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23.xml" ContentType="application/vnd.openxmlformats-officedocument.presentationml.slideLayout+xml"/>
  <Override PartName="/ppt/theme/theme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3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76" r:id="rId2"/>
    <p:sldMasterId id="2147484073" r:id="rId3"/>
  </p:sldMasterIdLst>
  <p:notesMasterIdLst>
    <p:notesMasterId r:id="rId12"/>
  </p:notesMasterIdLst>
  <p:handoutMasterIdLst>
    <p:handoutMasterId r:id="rId13"/>
  </p:handoutMasterIdLst>
  <p:sldIdLst>
    <p:sldId id="1483" r:id="rId4"/>
    <p:sldId id="1545" r:id="rId5"/>
    <p:sldId id="1548" r:id="rId6"/>
    <p:sldId id="1546" r:id="rId7"/>
    <p:sldId id="1547" r:id="rId8"/>
    <p:sldId id="1550" r:id="rId9"/>
    <p:sldId id="1551" r:id="rId10"/>
    <p:sldId id="1549" r:id="rId11"/>
  </p:sldIdLst>
  <p:sldSz cx="9144000" cy="5211763"/>
  <p:notesSz cx="6797675" cy="9874250"/>
  <p:custDataLst>
    <p:tags r:id="rId14"/>
  </p:custDataLst>
  <p:defaultTextStyle>
    <a:defPPr>
      <a:defRPr lang="de-DE"/>
    </a:defPPr>
    <a:lvl1pPr marL="0" algn="l" defTabSz="819965" rtl="0" eaLnBrk="1" latinLnBrk="0" hangingPunct="1">
      <a:defRPr sz="1600" kern="1200">
        <a:solidFill>
          <a:schemeClr val="tx1"/>
        </a:solidFill>
        <a:latin typeface="+mn-lt"/>
        <a:ea typeface="+mn-ea"/>
        <a:cs typeface="+mn-cs"/>
      </a:defRPr>
    </a:lvl1pPr>
    <a:lvl2pPr marL="409983" algn="l" defTabSz="819965" rtl="0" eaLnBrk="1" latinLnBrk="0" hangingPunct="1">
      <a:defRPr sz="1600" kern="1200">
        <a:solidFill>
          <a:schemeClr val="tx1"/>
        </a:solidFill>
        <a:latin typeface="+mn-lt"/>
        <a:ea typeface="+mn-ea"/>
        <a:cs typeface="+mn-cs"/>
      </a:defRPr>
    </a:lvl2pPr>
    <a:lvl3pPr marL="819965" algn="l" defTabSz="819965" rtl="0" eaLnBrk="1" latinLnBrk="0" hangingPunct="1">
      <a:defRPr sz="1600" kern="1200">
        <a:solidFill>
          <a:schemeClr val="tx1"/>
        </a:solidFill>
        <a:latin typeface="+mn-lt"/>
        <a:ea typeface="+mn-ea"/>
        <a:cs typeface="+mn-cs"/>
      </a:defRPr>
    </a:lvl3pPr>
    <a:lvl4pPr marL="1229948" algn="l" defTabSz="819965" rtl="0" eaLnBrk="1" latinLnBrk="0" hangingPunct="1">
      <a:defRPr sz="1600" kern="1200">
        <a:solidFill>
          <a:schemeClr val="tx1"/>
        </a:solidFill>
        <a:latin typeface="+mn-lt"/>
        <a:ea typeface="+mn-ea"/>
        <a:cs typeface="+mn-cs"/>
      </a:defRPr>
    </a:lvl4pPr>
    <a:lvl5pPr marL="1639928" algn="l" defTabSz="819965" rtl="0" eaLnBrk="1" latinLnBrk="0" hangingPunct="1">
      <a:defRPr sz="1600" kern="1200">
        <a:solidFill>
          <a:schemeClr val="tx1"/>
        </a:solidFill>
        <a:latin typeface="+mn-lt"/>
        <a:ea typeface="+mn-ea"/>
        <a:cs typeface="+mn-cs"/>
      </a:defRPr>
    </a:lvl5pPr>
    <a:lvl6pPr marL="2049910" algn="l" defTabSz="819965" rtl="0" eaLnBrk="1" latinLnBrk="0" hangingPunct="1">
      <a:defRPr sz="1600" kern="1200">
        <a:solidFill>
          <a:schemeClr val="tx1"/>
        </a:solidFill>
        <a:latin typeface="+mn-lt"/>
        <a:ea typeface="+mn-ea"/>
        <a:cs typeface="+mn-cs"/>
      </a:defRPr>
    </a:lvl6pPr>
    <a:lvl7pPr marL="2459891" algn="l" defTabSz="819965" rtl="0" eaLnBrk="1" latinLnBrk="0" hangingPunct="1">
      <a:defRPr sz="1600" kern="1200">
        <a:solidFill>
          <a:schemeClr val="tx1"/>
        </a:solidFill>
        <a:latin typeface="+mn-lt"/>
        <a:ea typeface="+mn-ea"/>
        <a:cs typeface="+mn-cs"/>
      </a:defRPr>
    </a:lvl7pPr>
    <a:lvl8pPr marL="2869874" algn="l" defTabSz="819965" rtl="0" eaLnBrk="1" latinLnBrk="0" hangingPunct="1">
      <a:defRPr sz="1600" kern="1200">
        <a:solidFill>
          <a:schemeClr val="tx1"/>
        </a:solidFill>
        <a:latin typeface="+mn-lt"/>
        <a:ea typeface="+mn-ea"/>
        <a:cs typeface="+mn-cs"/>
      </a:defRPr>
    </a:lvl8pPr>
    <a:lvl9pPr marL="3279857" algn="l" defTabSz="819965" rtl="0" eaLnBrk="1" latinLnBrk="0" hangingPunct="1">
      <a:defRPr sz="16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9CABA88-A329-47FA-82DA-171D836DD154}">
          <p14:sldIdLst>
            <p14:sldId id="1483"/>
            <p14:sldId id="1545"/>
            <p14:sldId id="1548"/>
            <p14:sldId id="1546"/>
            <p14:sldId id="1547"/>
            <p14:sldId id="1550"/>
            <p14:sldId id="1551"/>
            <p14:sldId id="1549"/>
          </p14:sldIdLst>
        </p14:section>
        <p14:section name="Updated Slides_Case Study" id="{BA5536B3-375D-42AC-95AF-D4378712B62A}">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ndis, Fred" initials="LF" lastIdx="7" clrIdx="0"/>
  <p:cmAuthor id="1" name="Young, Jacqueline D" initials="YJD" lastIdx="6" clrIdx="1">
    <p:extLst>
      <p:ext uri="{19B8F6BF-5375-455C-9EA6-DF929625EA0E}">
        <p15:presenceInfo xmlns:p15="http://schemas.microsoft.com/office/powerpoint/2012/main" userId="S-1-5-21-1531082355-734649621-3782574898-1576540" providerId="AD"/>
      </p:ext>
    </p:extLst>
  </p:cmAuthor>
  <p:cmAuthor id="2" name="supricha" initials="s" lastIdx="1" clrIdx="2"/>
  <p:cmAuthor id="3" name="fravince" initials="f" lastIdx="3" clrIdx="3"/>
  <p:cmAuthor id="4" name="Chandrashekar, Mahendra" initials="CM" lastIdx="2" clrIdx="4">
    <p:extLst>
      <p:ext uri="{19B8F6BF-5375-455C-9EA6-DF929625EA0E}">
        <p15:presenceInfo xmlns:p15="http://schemas.microsoft.com/office/powerpoint/2012/main" userId="S-1-5-21-954130684-3649123220-2484908513-4601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CC"/>
    <a:srgbClr val="000000"/>
    <a:srgbClr val="E7F9FF"/>
    <a:srgbClr val="FFBC1D"/>
    <a:srgbClr val="0365AC"/>
    <a:srgbClr val="7B88B1"/>
    <a:srgbClr val="0098CC"/>
    <a:srgbClr val="D03833"/>
    <a:srgbClr val="FFFFFF"/>
    <a:srgbClr val="E1F7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061" autoAdjust="0"/>
    <p:restoredTop sz="92876" autoAdjust="0"/>
  </p:normalViewPr>
  <p:slideViewPr>
    <p:cSldViewPr snapToGrid="0">
      <p:cViewPr varScale="1">
        <p:scale>
          <a:sx n="109" d="100"/>
          <a:sy n="109" d="100"/>
        </p:scale>
        <p:origin x="1046" y="62"/>
      </p:cViewPr>
      <p:guideLst/>
    </p:cSldViewPr>
  </p:slideViewPr>
  <p:notesTextViewPr>
    <p:cViewPr>
      <p:scale>
        <a:sx n="150" d="100"/>
        <a:sy n="150" d="100"/>
      </p:scale>
      <p:origin x="0" y="0"/>
    </p:cViewPr>
  </p:notesTextViewPr>
  <p:sorterViewPr>
    <p:cViewPr>
      <p:scale>
        <a:sx n="100" d="100"/>
        <a:sy n="100" d="100"/>
      </p:scale>
      <p:origin x="0" y="6768"/>
    </p:cViewPr>
  </p:sorterViewPr>
  <p:notesViewPr>
    <p:cSldViewPr snapToGrid="0">
      <p:cViewPr varScale="1">
        <p:scale>
          <a:sx n="45" d="100"/>
          <a:sy n="45" d="100"/>
        </p:scale>
        <p:origin x="1912" y="4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commentAuthors" Target="commentAuthors.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a:latin typeface="Arial" pitchFamily="34" charset="0"/>
                <a:cs typeface="Arial" pitchFamily="34" charset="0"/>
              </a:rPr>
              <a:t>© 2012 Capgemini. All </a:t>
            </a:r>
            <a:r>
              <a:rPr lang="de-DE" sz="800" err="1">
                <a:latin typeface="Arial" pitchFamily="34" charset="0"/>
                <a:cs typeface="Arial" pitchFamily="34" charset="0"/>
              </a:rPr>
              <a:t>rights</a:t>
            </a:r>
            <a:r>
              <a:rPr lang="de-DE" sz="800">
                <a:latin typeface="Arial" pitchFamily="34" charset="0"/>
                <a:cs typeface="Arial" pitchFamily="34" charset="0"/>
              </a:rPr>
              <a:t> </a:t>
            </a:r>
            <a:r>
              <a:rPr lang="de-DE" sz="800" err="1">
                <a:latin typeface="Arial" pitchFamily="34" charset="0"/>
                <a:cs typeface="Arial" pitchFamily="34" charset="0"/>
              </a:rPr>
              <a:t>reserved</a:t>
            </a:r>
            <a:r>
              <a:rPr lang="de-DE" sz="800">
                <a:latin typeface="Arial" pitchFamily="34" charset="0"/>
                <a:cs typeface="Arial" pitchFamily="34" charset="0"/>
              </a:rPr>
              <a:t>.</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a:latin typeface="Arial" pitchFamily="34" charset="0"/>
              <a:cs typeface="Arial" pitchFamily="34" charset="0"/>
            </a:endParaRPr>
          </a:p>
        </p:txBody>
      </p:sp>
    </p:spTree>
    <p:extLst>
      <p:ext uri="{BB962C8B-B14F-4D97-AF65-F5344CB8AC3E}">
        <p14:creationId xmlns:p14="http://schemas.microsoft.com/office/powerpoint/2010/main" val="3524054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3/5/2018</a:t>
            </a:fld>
            <a:endParaRPr lang="en-US" dirty="0"/>
          </a:p>
        </p:txBody>
      </p:sp>
      <p:sp>
        <p:nvSpPr>
          <p:cNvPr id="4" name="Slide Image Placeholder 3"/>
          <p:cNvSpPr>
            <a:spLocks noGrp="1" noRot="1" noChangeAspect="1"/>
          </p:cNvSpPr>
          <p:nvPr>
            <p:ph type="sldImg" idx="2"/>
          </p:nvPr>
        </p:nvSpPr>
        <p:spPr>
          <a:xfrm>
            <a:off x="152400" y="741363"/>
            <a:ext cx="649287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1243541892"/>
      </p:ext>
    </p:extLst>
  </p:cSld>
  <p:clrMap bg1="lt1" tx1="dk1" bg2="lt2" tx2="dk2" accent1="accent1" accent2="accent2" accent3="accent3" accent4="accent4" accent5="accent5" accent6="accent6" hlink="hlink" folHlink="folHlink"/>
  <p:notesStyle>
    <a:lvl1pPr marL="0" algn="l" defTabSz="782797" rtl="0" eaLnBrk="1" latinLnBrk="0" hangingPunct="1">
      <a:defRPr sz="1000" kern="1200">
        <a:solidFill>
          <a:schemeClr val="tx1"/>
        </a:solidFill>
        <a:latin typeface="+mn-lt"/>
        <a:ea typeface="+mn-ea"/>
        <a:cs typeface="+mn-cs"/>
      </a:defRPr>
    </a:lvl1pPr>
    <a:lvl2pPr marL="391399" algn="l" defTabSz="782797" rtl="0" eaLnBrk="1" latinLnBrk="0" hangingPunct="1">
      <a:defRPr sz="1000" kern="1200">
        <a:solidFill>
          <a:schemeClr val="tx1"/>
        </a:solidFill>
        <a:latin typeface="+mn-lt"/>
        <a:ea typeface="+mn-ea"/>
        <a:cs typeface="+mn-cs"/>
      </a:defRPr>
    </a:lvl2pPr>
    <a:lvl3pPr marL="782797" algn="l" defTabSz="782797" rtl="0" eaLnBrk="1" latinLnBrk="0" hangingPunct="1">
      <a:defRPr sz="1000" kern="1200">
        <a:solidFill>
          <a:schemeClr val="tx1"/>
        </a:solidFill>
        <a:latin typeface="+mn-lt"/>
        <a:ea typeface="+mn-ea"/>
        <a:cs typeface="+mn-cs"/>
      </a:defRPr>
    </a:lvl3pPr>
    <a:lvl4pPr marL="1174195" algn="l" defTabSz="782797" rtl="0" eaLnBrk="1" latinLnBrk="0" hangingPunct="1">
      <a:defRPr sz="1000" kern="1200">
        <a:solidFill>
          <a:schemeClr val="tx1"/>
        </a:solidFill>
        <a:latin typeface="+mn-lt"/>
        <a:ea typeface="+mn-ea"/>
        <a:cs typeface="+mn-cs"/>
      </a:defRPr>
    </a:lvl4pPr>
    <a:lvl5pPr marL="1565594" algn="l" defTabSz="782797" rtl="0" eaLnBrk="1" latinLnBrk="0" hangingPunct="1">
      <a:defRPr sz="1000" kern="1200">
        <a:solidFill>
          <a:schemeClr val="tx1"/>
        </a:solidFill>
        <a:latin typeface="+mn-lt"/>
        <a:ea typeface="+mn-ea"/>
        <a:cs typeface="+mn-cs"/>
      </a:defRPr>
    </a:lvl5pPr>
    <a:lvl6pPr marL="1956992" algn="l" defTabSz="782797" rtl="0" eaLnBrk="1" latinLnBrk="0" hangingPunct="1">
      <a:defRPr sz="1000" kern="1200">
        <a:solidFill>
          <a:schemeClr val="tx1"/>
        </a:solidFill>
        <a:latin typeface="+mn-lt"/>
        <a:ea typeface="+mn-ea"/>
        <a:cs typeface="+mn-cs"/>
      </a:defRPr>
    </a:lvl6pPr>
    <a:lvl7pPr marL="2348391" algn="l" defTabSz="782797" rtl="0" eaLnBrk="1" latinLnBrk="0" hangingPunct="1">
      <a:defRPr sz="1000" kern="1200">
        <a:solidFill>
          <a:schemeClr val="tx1"/>
        </a:solidFill>
        <a:latin typeface="+mn-lt"/>
        <a:ea typeface="+mn-ea"/>
        <a:cs typeface="+mn-cs"/>
      </a:defRPr>
    </a:lvl7pPr>
    <a:lvl8pPr marL="2739790" algn="l" defTabSz="782797" rtl="0" eaLnBrk="1" latinLnBrk="0" hangingPunct="1">
      <a:defRPr sz="1000" kern="1200">
        <a:solidFill>
          <a:schemeClr val="tx1"/>
        </a:solidFill>
        <a:latin typeface="+mn-lt"/>
        <a:ea typeface="+mn-ea"/>
        <a:cs typeface="+mn-cs"/>
      </a:defRPr>
    </a:lvl8pPr>
    <a:lvl9pPr marL="3131189" algn="l" defTabSz="782797"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820045" rtl="0" eaLnBrk="1" fontAlgn="auto" latinLnBrk="0" hangingPunct="1">
              <a:lnSpc>
                <a:spcPct val="100000"/>
              </a:lnSpc>
              <a:spcBef>
                <a:spcPts val="0"/>
              </a:spcBef>
              <a:spcAft>
                <a:spcPts val="0"/>
              </a:spcAft>
              <a:buClrTx/>
              <a:buSzTx/>
              <a:buFontTx/>
              <a:buNone/>
              <a:tabLst/>
              <a:defRPr/>
            </a:pPr>
            <a:fld id="{71E7D22E-2FCF-4181-8686-08BDCDF9406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20045" rtl="0" eaLnBrk="1" fontAlgn="auto" latinLnBrk="0" hangingPunct="1">
                <a:lnSpc>
                  <a:spcPct val="100000"/>
                </a:lnSpc>
                <a:spcBef>
                  <a:spcPts val="0"/>
                </a:spcBef>
                <a:spcAft>
                  <a:spcPts val="0"/>
                </a:spcAft>
                <a:buClrTx/>
                <a:buSzTx/>
                <a:buFontTx/>
                <a:buNone/>
                <a:tabLst/>
                <a:defRPr/>
              </a:pPr>
              <a:t>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201925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500" b="1" i="1" u="sng" dirty="0">
                <a:latin typeface="Calibri" panose="020F0502020204030204" pitchFamily="34" charset="0"/>
              </a:rPr>
              <a:t>Automation</a:t>
            </a:r>
          </a:p>
          <a:p>
            <a:pPr marL="171450" indent="-171450">
              <a:buFont typeface="Wingdings" panose="05000000000000000000" pitchFamily="2" charset="2"/>
              <a:buChar char="§"/>
            </a:pPr>
            <a:r>
              <a:rPr lang="en-US" sz="500" dirty="0">
                <a:latin typeface="Calibri" panose="020F0502020204030204" pitchFamily="34" charset="0"/>
              </a:rPr>
              <a:t>SLT Reporting Automation (</a:t>
            </a:r>
            <a:r>
              <a:rPr lang="en-US" sz="500" b="1" dirty="0">
                <a:latin typeface="Calibri" panose="020F0502020204030204" pitchFamily="34" charset="0"/>
              </a:rPr>
              <a:t>Reporting BOT</a:t>
            </a:r>
            <a:r>
              <a:rPr lang="en-US" sz="500" dirty="0">
                <a:latin typeface="Calibri" panose="020F0502020204030204" pitchFamily="34" charset="0"/>
              </a:rPr>
              <a:t>)</a:t>
            </a:r>
          </a:p>
          <a:p>
            <a:pPr marL="171450" marR="0" lvl="0" indent="-171450" algn="l" defTabSz="782874"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500" dirty="0">
                <a:latin typeface="Calibri" panose="020F0502020204030204" pitchFamily="34" charset="0"/>
              </a:rPr>
              <a:t>Portal Health Check Automation (</a:t>
            </a:r>
            <a:r>
              <a:rPr lang="en-US" sz="500" b="1" dirty="0">
                <a:latin typeface="Calibri" panose="020F0502020204030204" pitchFamily="34" charset="0"/>
              </a:rPr>
              <a:t>Health Check BOT</a:t>
            </a:r>
            <a:r>
              <a:rPr lang="en-US" sz="500" dirty="0">
                <a:latin typeface="Calibri" panose="020F0502020204030204" pitchFamily="34" charset="0"/>
              </a:rPr>
              <a:t>)</a:t>
            </a:r>
          </a:p>
          <a:p>
            <a:pPr marL="171450" indent="-171450">
              <a:buFont typeface="Wingdings" panose="05000000000000000000" pitchFamily="2" charset="2"/>
              <a:buChar char="§"/>
            </a:pPr>
            <a:r>
              <a:rPr lang="en-US" sz="500" dirty="0">
                <a:latin typeface="Calibri" panose="020F0502020204030204" pitchFamily="34" charset="0"/>
              </a:rPr>
              <a:t>Trigger Jobs only when files are available</a:t>
            </a:r>
          </a:p>
          <a:p>
            <a:pPr marL="171450" indent="-171450">
              <a:buFont typeface="Wingdings" panose="05000000000000000000" pitchFamily="2" charset="2"/>
              <a:buChar char="§"/>
            </a:pPr>
            <a:r>
              <a:rPr lang="en-US" sz="500" dirty="0">
                <a:latin typeface="Calibri" panose="020F0502020204030204" pitchFamily="34" charset="0"/>
              </a:rPr>
              <a:t>Automate Manual Process (Download/Monitoring/Recon/ Report Generation/cube refresh/ Year &amp; Month end activities)</a:t>
            </a:r>
          </a:p>
          <a:p>
            <a:pPr marL="171450" indent="-171450">
              <a:buFont typeface="Wingdings" panose="05000000000000000000" pitchFamily="2" charset="2"/>
              <a:buChar char="§"/>
            </a:pPr>
            <a:r>
              <a:rPr lang="en-US" sz="500" dirty="0">
                <a:latin typeface="Calibri" panose="020F0502020204030204" pitchFamily="34" charset="0"/>
              </a:rPr>
              <a:t>Automate Recurring SRs (Data Sync from Prod to QA, User Creation)</a:t>
            </a:r>
          </a:p>
          <a:p>
            <a:r>
              <a:rPr lang="en-US" sz="800" b="1" i="1" u="sng" dirty="0">
                <a:latin typeface="Calibri" panose="020F0502020204030204" pitchFamily="34" charset="0"/>
              </a:rPr>
              <a:t>Performance Tuning</a:t>
            </a:r>
          </a:p>
          <a:p>
            <a:pPr marL="171450" indent="-171450">
              <a:buFont typeface="Wingdings" panose="05000000000000000000" pitchFamily="2" charset="2"/>
              <a:buChar char="§"/>
            </a:pPr>
            <a:r>
              <a:rPr lang="en-US" sz="800" dirty="0">
                <a:latin typeface="Calibri" panose="020F0502020204030204" pitchFamily="34" charset="0"/>
              </a:rPr>
              <a:t>Performance tuning/Optimization of Long Running Jobs</a:t>
            </a:r>
          </a:p>
          <a:p>
            <a:r>
              <a:rPr lang="en-US" sz="800" b="1" i="1" u="sng" dirty="0">
                <a:latin typeface="Calibri" panose="020F0502020204030204" pitchFamily="34" charset="0"/>
              </a:rPr>
              <a:t>Lean &amp; Process Optimization</a:t>
            </a:r>
          </a:p>
          <a:p>
            <a:pPr marL="171450" indent="-171450">
              <a:buFont typeface="Wingdings" panose="05000000000000000000" pitchFamily="2" charset="2"/>
              <a:buChar char="§"/>
            </a:pPr>
            <a:r>
              <a:rPr lang="en-US" sz="800" dirty="0">
                <a:latin typeface="Calibri" panose="020F0502020204030204" pitchFamily="34" charset="0"/>
              </a:rPr>
              <a:t>Permanent Fixes done for Recurring Incidents</a:t>
            </a:r>
          </a:p>
          <a:p>
            <a:pPr marL="171450" indent="-171450">
              <a:buFont typeface="Wingdings" panose="05000000000000000000" pitchFamily="2" charset="2"/>
              <a:buChar char="§"/>
            </a:pPr>
            <a:r>
              <a:rPr lang="en-US" sz="800" dirty="0">
                <a:latin typeface="Calibri" panose="020F0502020204030204" pitchFamily="34" charset="0"/>
              </a:rPr>
              <a:t>Documentation of Year end activities, Traceability Matrix, SOP for frequent SRs, GCC Management Guide</a:t>
            </a:r>
          </a:p>
          <a:p>
            <a:pPr marL="171450" indent="-171450">
              <a:buFont typeface="Wingdings" panose="05000000000000000000" pitchFamily="2" charset="2"/>
              <a:buChar char="§"/>
            </a:pPr>
            <a:r>
              <a:rPr lang="en-US" sz="800" dirty="0">
                <a:latin typeface="Calibri" panose="020F0502020204030204" pitchFamily="34" charset="0"/>
              </a:rPr>
              <a:t>Others : Table </a:t>
            </a:r>
            <a:r>
              <a:rPr lang="en-US" sz="800" dirty="0" err="1">
                <a:latin typeface="Calibri" panose="020F0502020204030204" pitchFamily="34" charset="0"/>
              </a:rPr>
              <a:t>Partioning</a:t>
            </a:r>
            <a:r>
              <a:rPr lang="en-US" sz="800" dirty="0">
                <a:latin typeface="Calibri" panose="020F0502020204030204" pitchFamily="34" charset="0"/>
              </a:rPr>
              <a:t>, Source Control, removal of unused reports, reorganize </a:t>
            </a:r>
            <a:r>
              <a:rPr lang="en-US" sz="800" dirty="0" err="1">
                <a:latin typeface="Calibri" panose="020F0502020204030204" pitchFamily="34" charset="0"/>
              </a:rPr>
              <a:t>Cognos</a:t>
            </a:r>
            <a:r>
              <a:rPr lang="en-US" sz="800" dirty="0">
                <a:latin typeface="Calibri" panose="020F0502020204030204" pitchFamily="34" charset="0"/>
              </a:rPr>
              <a:t> folder structure</a:t>
            </a:r>
          </a:p>
        </p:txBody>
      </p:sp>
      <p:sp>
        <p:nvSpPr>
          <p:cNvPr id="4" name="Slide Number Placeholder 3"/>
          <p:cNvSpPr>
            <a:spLocks noGrp="1"/>
          </p:cNvSpPr>
          <p:nvPr>
            <p:ph type="sldNum" sz="quarter" idx="10"/>
          </p:nvPr>
        </p:nvSpPr>
        <p:spPr/>
        <p:txBody>
          <a:bodyPr/>
          <a:lstStyle/>
          <a:p>
            <a:pPr marL="0" marR="0" lvl="0" indent="0" algn="r" defTabSz="820045" rtl="0" eaLnBrk="1" fontAlgn="auto" latinLnBrk="0" hangingPunct="1">
              <a:lnSpc>
                <a:spcPct val="100000"/>
              </a:lnSpc>
              <a:spcBef>
                <a:spcPts val="0"/>
              </a:spcBef>
              <a:spcAft>
                <a:spcPts val="0"/>
              </a:spcAft>
              <a:buClrTx/>
              <a:buSzTx/>
              <a:buFontTx/>
              <a:buNone/>
              <a:tabLst/>
              <a:defRPr/>
            </a:pPr>
            <a:fld id="{71E7D22E-2FCF-4181-8686-08BDCDF9406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20045"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987069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t>Vibhas to include the Automation done in IQLIK, JSC-EDW</a:t>
            </a:r>
          </a:p>
        </p:txBody>
      </p:sp>
      <p:sp>
        <p:nvSpPr>
          <p:cNvPr id="819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56943" indent="-291131">
              <a:defRPr>
                <a:solidFill>
                  <a:schemeClr val="tx1"/>
                </a:solidFill>
                <a:latin typeface="Calibri" pitchFamily="34" charset="0"/>
              </a:defRPr>
            </a:lvl2pPr>
            <a:lvl3pPr marL="1164528" indent="-232904">
              <a:defRPr>
                <a:solidFill>
                  <a:schemeClr val="tx1"/>
                </a:solidFill>
                <a:latin typeface="Calibri" pitchFamily="34" charset="0"/>
              </a:defRPr>
            </a:lvl3pPr>
            <a:lvl4pPr marL="1630338" indent="-232904">
              <a:defRPr>
                <a:solidFill>
                  <a:schemeClr val="tx1"/>
                </a:solidFill>
                <a:latin typeface="Calibri" pitchFamily="34" charset="0"/>
              </a:defRPr>
            </a:lvl4pPr>
            <a:lvl5pPr marL="2096149" indent="-232904">
              <a:defRPr>
                <a:solidFill>
                  <a:schemeClr val="tx1"/>
                </a:solidFill>
                <a:latin typeface="Calibri" pitchFamily="34" charset="0"/>
              </a:defRPr>
            </a:lvl5pPr>
            <a:lvl6pPr marL="2561961" indent="-232904" fontAlgn="base">
              <a:spcBef>
                <a:spcPct val="0"/>
              </a:spcBef>
              <a:spcAft>
                <a:spcPct val="0"/>
              </a:spcAft>
              <a:defRPr>
                <a:solidFill>
                  <a:schemeClr val="tx1"/>
                </a:solidFill>
                <a:latin typeface="Calibri" pitchFamily="34" charset="0"/>
              </a:defRPr>
            </a:lvl6pPr>
            <a:lvl7pPr marL="3027770" indent="-232904" fontAlgn="base">
              <a:spcBef>
                <a:spcPct val="0"/>
              </a:spcBef>
              <a:spcAft>
                <a:spcPct val="0"/>
              </a:spcAft>
              <a:defRPr>
                <a:solidFill>
                  <a:schemeClr val="tx1"/>
                </a:solidFill>
                <a:latin typeface="Calibri" pitchFamily="34" charset="0"/>
              </a:defRPr>
            </a:lvl7pPr>
            <a:lvl8pPr marL="3493582" indent="-232904" fontAlgn="base">
              <a:spcBef>
                <a:spcPct val="0"/>
              </a:spcBef>
              <a:spcAft>
                <a:spcPct val="0"/>
              </a:spcAft>
              <a:defRPr>
                <a:solidFill>
                  <a:schemeClr val="tx1"/>
                </a:solidFill>
                <a:latin typeface="Calibri" pitchFamily="34" charset="0"/>
              </a:defRPr>
            </a:lvl8pPr>
            <a:lvl9pPr marL="3959394" indent="-232904" fontAlgn="base">
              <a:spcBef>
                <a:spcPct val="0"/>
              </a:spcBef>
              <a:spcAft>
                <a:spcPct val="0"/>
              </a:spcAft>
              <a:defRPr>
                <a:solidFill>
                  <a:schemeClr val="tx1"/>
                </a:solidFill>
                <a:latin typeface="Calibri"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F36E772-870C-478C-8173-1AC4537E9414}" type="slidenum">
              <a:rPr kumimoji="0" lang="en-US" altLang="en-US" sz="1800" b="0" i="0" u="none" strike="noStrike" kern="0" cap="none" spc="0" normalizeH="0" baseline="0" noProof="0" smtClean="0">
                <a:ln>
                  <a:noFill/>
                </a:ln>
                <a:solidFill>
                  <a:prstClr val="black"/>
                </a:solidFill>
                <a:effectLst/>
                <a:uLnTx/>
                <a:uFillTx/>
                <a:latin typeface="Calibri" pitchFamily="34" charset="0"/>
                <a:ea typeface="MS PGothic" pitchFamily="34" charset="-128"/>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altLang="en-US" sz="1800" b="0" i="0" u="none" strike="noStrike" kern="0" cap="none" spc="0" normalizeH="0" baseline="0" noProof="0">
              <a:ln>
                <a:noFill/>
              </a:ln>
              <a:solidFill>
                <a:prstClr val="black"/>
              </a:solidFill>
              <a:effectLst/>
              <a:uLnTx/>
              <a:uFillTx/>
              <a:latin typeface="Calibri" pitchFamily="34" charset="0"/>
              <a:ea typeface="MS PGothic" pitchFamily="34" charset="-128"/>
              <a:cs typeface="Arial" pitchFamily="34" charset="0"/>
            </a:endParaRPr>
          </a:p>
        </p:txBody>
      </p:sp>
    </p:spTree>
    <p:extLst>
      <p:ext uri="{BB962C8B-B14F-4D97-AF65-F5344CB8AC3E}">
        <p14:creationId xmlns:p14="http://schemas.microsoft.com/office/powerpoint/2010/main" val="5826843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t>Vibhas to include the Automation done in IQLIK, JSC-EDW</a:t>
            </a:r>
          </a:p>
        </p:txBody>
      </p:sp>
      <p:sp>
        <p:nvSpPr>
          <p:cNvPr id="819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56943" indent="-291131">
              <a:defRPr>
                <a:solidFill>
                  <a:schemeClr val="tx1"/>
                </a:solidFill>
                <a:latin typeface="Calibri" pitchFamily="34" charset="0"/>
              </a:defRPr>
            </a:lvl2pPr>
            <a:lvl3pPr marL="1164528" indent="-232904">
              <a:defRPr>
                <a:solidFill>
                  <a:schemeClr val="tx1"/>
                </a:solidFill>
                <a:latin typeface="Calibri" pitchFamily="34" charset="0"/>
              </a:defRPr>
            </a:lvl3pPr>
            <a:lvl4pPr marL="1630338" indent="-232904">
              <a:defRPr>
                <a:solidFill>
                  <a:schemeClr val="tx1"/>
                </a:solidFill>
                <a:latin typeface="Calibri" pitchFamily="34" charset="0"/>
              </a:defRPr>
            </a:lvl4pPr>
            <a:lvl5pPr marL="2096149" indent="-232904">
              <a:defRPr>
                <a:solidFill>
                  <a:schemeClr val="tx1"/>
                </a:solidFill>
                <a:latin typeface="Calibri" pitchFamily="34" charset="0"/>
              </a:defRPr>
            </a:lvl5pPr>
            <a:lvl6pPr marL="2561961" indent="-232904" fontAlgn="base">
              <a:spcBef>
                <a:spcPct val="0"/>
              </a:spcBef>
              <a:spcAft>
                <a:spcPct val="0"/>
              </a:spcAft>
              <a:defRPr>
                <a:solidFill>
                  <a:schemeClr val="tx1"/>
                </a:solidFill>
                <a:latin typeface="Calibri" pitchFamily="34" charset="0"/>
              </a:defRPr>
            </a:lvl6pPr>
            <a:lvl7pPr marL="3027770" indent="-232904" fontAlgn="base">
              <a:spcBef>
                <a:spcPct val="0"/>
              </a:spcBef>
              <a:spcAft>
                <a:spcPct val="0"/>
              </a:spcAft>
              <a:defRPr>
                <a:solidFill>
                  <a:schemeClr val="tx1"/>
                </a:solidFill>
                <a:latin typeface="Calibri" pitchFamily="34" charset="0"/>
              </a:defRPr>
            </a:lvl7pPr>
            <a:lvl8pPr marL="3493582" indent="-232904" fontAlgn="base">
              <a:spcBef>
                <a:spcPct val="0"/>
              </a:spcBef>
              <a:spcAft>
                <a:spcPct val="0"/>
              </a:spcAft>
              <a:defRPr>
                <a:solidFill>
                  <a:schemeClr val="tx1"/>
                </a:solidFill>
                <a:latin typeface="Calibri" pitchFamily="34" charset="0"/>
              </a:defRPr>
            </a:lvl8pPr>
            <a:lvl9pPr marL="3959394" indent="-232904" fontAlgn="base">
              <a:spcBef>
                <a:spcPct val="0"/>
              </a:spcBef>
              <a:spcAft>
                <a:spcPct val="0"/>
              </a:spcAft>
              <a:defRPr>
                <a:solidFill>
                  <a:schemeClr val="tx1"/>
                </a:solidFill>
                <a:latin typeface="Calibri"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fld id="{9F36E772-870C-478C-8173-1AC4537E9414}" type="slidenum">
              <a:rPr kumimoji="0" lang="en-US" altLang="en-US" sz="1800" b="0" i="0" u="none" strike="noStrike" kern="0" cap="none" spc="0" normalizeH="0" baseline="0" noProof="0" smtClean="0">
                <a:ln>
                  <a:noFill/>
                </a:ln>
                <a:solidFill>
                  <a:prstClr val="black"/>
                </a:solidFill>
                <a:effectLst/>
                <a:uLnTx/>
                <a:uFillTx/>
                <a:latin typeface="Calibri" pitchFamily="34" charset="0"/>
              </a:rPr>
              <a:pPr marL="0" marR="0" lvl="0" indent="0" defTabSz="914400" eaLnBrk="1" fontAlgn="base" latinLnBrk="0" hangingPunct="1">
                <a:lnSpc>
                  <a:spcPct val="100000"/>
                </a:lnSpc>
                <a:spcBef>
                  <a:spcPct val="0"/>
                </a:spcBef>
                <a:spcAft>
                  <a:spcPct val="0"/>
                </a:spcAft>
                <a:buClrTx/>
                <a:buSzTx/>
                <a:buFontTx/>
                <a:buNone/>
                <a:tabLst/>
                <a:defRPr/>
              </a:pPr>
              <a:t>7</a:t>
            </a:fld>
            <a:endParaRPr kumimoji="0" lang="en-US" altLang="en-US" sz="1800" b="0" i="0" u="none" strike="noStrike" kern="0" cap="none" spc="0" normalizeH="0" baseline="0" noProof="0">
              <a:ln>
                <a:noFill/>
              </a:ln>
              <a:solidFill>
                <a:prstClr val="black"/>
              </a:solidFill>
              <a:effectLst/>
              <a:uLnTx/>
              <a:uFillTx/>
              <a:latin typeface="Calibri" pitchFamily="34" charset="0"/>
            </a:endParaRPr>
          </a:p>
        </p:txBody>
      </p:sp>
    </p:spTree>
    <p:extLst>
      <p:ext uri="{BB962C8B-B14F-4D97-AF65-F5344CB8AC3E}">
        <p14:creationId xmlns:p14="http://schemas.microsoft.com/office/powerpoint/2010/main" val="23150586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820045" rtl="0" eaLnBrk="1" fontAlgn="auto" latinLnBrk="0" hangingPunct="1">
              <a:lnSpc>
                <a:spcPct val="100000"/>
              </a:lnSpc>
              <a:spcBef>
                <a:spcPts val="0"/>
              </a:spcBef>
              <a:spcAft>
                <a:spcPts val="0"/>
              </a:spcAft>
              <a:buClrTx/>
              <a:buSzTx/>
              <a:buFontTx/>
              <a:buNone/>
              <a:tabLst/>
              <a:defRPr/>
            </a:pPr>
            <a:fld id="{71E7D22E-2FCF-4181-8686-08BDCDF9406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20045"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4048937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5.svg"/><Relationship Id="rId3" Type="http://schemas.openxmlformats.org/officeDocument/2006/relationships/tags" Target="../tags/tag10.xml"/><Relationship Id="rId7" Type="http://schemas.openxmlformats.org/officeDocument/2006/relationships/image" Target="../media/image6.jpeg"/><Relationship Id="rId12" Type="http://schemas.openxmlformats.org/officeDocument/2006/relationships/image" Target="../media/image4.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slideMaster" Target="../slideMasters/slideMaster1.xml"/><Relationship Id="rId11" Type="http://schemas.openxmlformats.org/officeDocument/2006/relationships/image" Target="../media/image7.png"/><Relationship Id="rId5" Type="http://schemas.openxmlformats.org/officeDocument/2006/relationships/tags" Target="../tags/tag12.xml"/><Relationship Id="rId10" Type="http://schemas.openxmlformats.org/officeDocument/2006/relationships/image" Target="../media/image2.png"/><Relationship Id="rId4" Type="http://schemas.openxmlformats.org/officeDocument/2006/relationships/tags" Target="../tags/tag11.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15.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3.vml"/><Relationship Id="rId5" Type="http://schemas.openxmlformats.org/officeDocument/2006/relationships/image" Target="../media/image16.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emf"/><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8.jpeg"/><Relationship Id="rId5" Type="http://schemas.openxmlformats.org/officeDocument/2006/relationships/image" Target="../media/image17.emf"/><Relationship Id="rId4"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hyperlink" Target="http://www.capgemini.com/about/how-we-work/rightshorer" TargetMode="External"/><Relationship Id="rId3" Type="http://schemas.openxmlformats.org/officeDocument/2006/relationships/tags" Target="../tags/tag38.xml"/><Relationship Id="rId7" Type="http://schemas.openxmlformats.org/officeDocument/2006/relationships/hyperlink" Target="http://www.capgemini.com/about/how-we-work/the-collaborative-business-experiencetm" TargetMode="External"/><Relationship Id="rId2" Type="http://schemas.openxmlformats.org/officeDocument/2006/relationships/tags" Target="../tags/tag3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10" Type="http://schemas.openxmlformats.org/officeDocument/2006/relationships/image" Target="../media/image26.png"/><Relationship Id="rId4" Type="http://schemas.openxmlformats.org/officeDocument/2006/relationships/slideMaster" Target="../slideMasters/slideMaster2.xml"/><Relationship Id="rId9" Type="http://schemas.openxmlformats.org/officeDocument/2006/relationships/hyperlink" Target="http://www.capgemini.com/" TargetMode="Externa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1.xml"/><Relationship Id="rId7" Type="http://schemas.openxmlformats.org/officeDocument/2006/relationships/image" Target="../media/image9.emf"/><Relationship Id="rId2" Type="http://schemas.openxmlformats.org/officeDocument/2006/relationships/tags" Target="../tags/tag1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8.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Master" Target="../slideMasters/slideMaster1.xml"/><Relationship Id="rId7" Type="http://schemas.openxmlformats.org/officeDocument/2006/relationships/image" Target="../media/image11.emf"/><Relationship Id="rId2" Type="http://schemas.openxmlformats.org/officeDocument/2006/relationships/tags" Target="../tags/tag2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9.emf"/><Relationship Id="rId4" Type="http://schemas.openxmlformats.org/officeDocument/2006/relationships/image" Target="../media/image13.jpeg"/><Relationship Id="rId9" Type="http://schemas.openxmlformats.org/officeDocument/2006/relationships/image" Target="../media/image14.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pic>
        <p:nvPicPr>
          <p:cNvPr id="10" name="Picture 3" descr="D:\Jiksy\3. Pictures\shutterstock_114109927.jpg"/>
          <p:cNvPicPr>
            <a:picLocks noChangeAspect="1" noChangeArrowheads="1"/>
          </p:cNvPicPr>
          <p:nvPr/>
        </p:nvPicPr>
        <p:blipFill rotWithShape="1">
          <a:blip r:embed="rId7" cstate="print"/>
          <a:srcRect t="11010" b="16843"/>
          <a:stretch/>
        </p:blipFill>
        <p:spPr bwMode="auto">
          <a:xfrm>
            <a:off x="4" y="261292"/>
            <a:ext cx="9144443" cy="4950157"/>
          </a:xfrm>
          <a:prstGeom prst="rect">
            <a:avLst/>
          </a:prstGeom>
          <a:noFill/>
          <a:ln>
            <a:noFill/>
          </a:ln>
        </p:spPr>
      </p:pic>
      <p:sp>
        <p:nvSpPr>
          <p:cNvPr id="14" name="Rectangle 13"/>
          <p:cNvSpPr/>
          <p:nvPr/>
        </p:nvSpPr>
        <p:spPr>
          <a:xfrm>
            <a:off x="14" y="2"/>
            <a:ext cx="9143999" cy="5211763"/>
          </a:xfrm>
          <a:prstGeom prst="rect">
            <a:avLst/>
          </a:prstGeom>
          <a:gradFill flip="none" rotWithShape="1">
            <a:gsLst>
              <a:gs pos="14000">
                <a:schemeClr val="bg1"/>
              </a:gs>
              <a:gs pos="50000">
                <a:schemeClr val="bg1">
                  <a:shade val="67500"/>
                  <a:satMod val="115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4618" tIns="37311" rIns="74618" bIns="37311" rtlCol="0" anchor="ctr"/>
          <a:lstStyle/>
          <a:p>
            <a:pPr algn="ctr" defTabSz="781556"/>
            <a:endParaRPr lang="en-GB" sz="2000" dirty="0">
              <a:solidFill>
                <a:srgbClr val="998C85">
                  <a:lumMod val="50000"/>
                </a:srgbClr>
              </a:solidFill>
            </a:endParaRPr>
          </a:p>
        </p:txBody>
      </p:sp>
      <p:sp>
        <p:nvSpPr>
          <p:cNvPr id="17" name="Rectangle 7"/>
          <p:cNvSpPr/>
          <p:nvPr>
            <p:custDataLst>
              <p:tags r:id="rId2"/>
            </p:custDataLst>
          </p:nvPr>
        </p:nvSpPr>
        <p:spPr bwMode="auto">
          <a:xfrm>
            <a:off x="-1892" y="2"/>
            <a:ext cx="9146339" cy="203898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a:outerShdw blurRad="50800" dist="25400" dir="5400000" algn="t" rotWithShape="0">
              <a:schemeClr val="bg2">
                <a:lumMod val="50000"/>
                <a:alpha val="40000"/>
              </a:schemeClr>
            </a:outerShdw>
          </a:effectLst>
        </p:spPr>
        <p:txBody>
          <a:bodyPr wrap="square" lIns="28302" tIns="36793" rIns="28302" bIns="36793" rtlCol="0" anchor="ctr"/>
          <a:lstStyle/>
          <a:p>
            <a:pPr marL="0" algn="ctr" defTabSz="819965" rtl="0" eaLnBrk="1" fontAlgn="auto" latinLnBrk="0" hangingPunct="1">
              <a:spcBef>
                <a:spcPts val="0"/>
              </a:spcBef>
              <a:spcAft>
                <a:spcPts val="0"/>
              </a:spcAft>
            </a:pPr>
            <a:endParaRPr lang="en-US" sz="9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1" y="1"/>
          <a:ext cx="146538" cy="120643"/>
        </p:xfrm>
        <a:graphic>
          <a:graphicData uri="http://schemas.openxmlformats.org/presentationml/2006/ole">
            <mc:AlternateContent xmlns:mc="http://schemas.openxmlformats.org/markup-compatibility/2006">
              <mc:Choice xmlns:v="urn:schemas-microsoft-com:vml" Requires="v">
                <p:oleObj spid="_x0000_s141860" name="think-cell Slide" r:id="rId8" imgW="360" imgH="360" progId="">
                  <p:embed/>
                </p:oleObj>
              </mc:Choice>
              <mc:Fallback>
                <p:oleObj name="think-cell Slide" r:id="rId8" imgW="360" imgH="360" progId="">
                  <p:embed/>
                  <p:pic>
                    <p:nvPicPr>
                      <p:cNvPr id="0" name="Picture 26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1"/>
                        <a:ext cx="146538" cy="1206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custDataLst>
              <p:tags r:id="rId4"/>
            </p:custDataLst>
          </p:nvPr>
        </p:nvSpPr>
        <p:spPr>
          <a:xfrm>
            <a:off x="615462" y="3363497"/>
            <a:ext cx="6283176" cy="903372"/>
          </a:xfrm>
          <a:gradFill flip="none" rotWithShape="1">
            <a:gsLst>
              <a:gs pos="0">
                <a:schemeClr val="bg1"/>
              </a:gs>
              <a:gs pos="100000">
                <a:schemeClr val="bg1">
                  <a:alpha val="0"/>
                </a:schemeClr>
              </a:gs>
            </a:gsLst>
            <a:lin ang="0" scaled="1"/>
            <a:tileRect/>
          </a:gradFill>
          <a:effectLst>
            <a:outerShdw blurRad="12700" dist="12700" dir="2700000" sx="133000" sy="133000" algn="tl" rotWithShape="0">
              <a:schemeClr val="bg1">
                <a:alpha val="80000"/>
              </a:schemeClr>
            </a:outerShdw>
          </a:effectLst>
        </p:spPr>
        <p:txBody>
          <a:bodyPr lIns="0" tIns="28302" rIns="28302" bIns="28302" anchor="ctr" anchorCtr="0">
            <a:noAutofit/>
          </a:bodyPr>
          <a:lstStyle>
            <a:lvl1pPr algn="l">
              <a:lnSpc>
                <a:spcPct val="100000"/>
              </a:lnSpc>
              <a:defRPr sz="2600" b="1">
                <a:solidFill>
                  <a:schemeClr val="tx1"/>
                </a:solidFill>
                <a:effectLs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5"/>
            </p:custDataLst>
          </p:nvPr>
        </p:nvSpPr>
        <p:spPr>
          <a:xfrm>
            <a:off x="615466" y="4439781"/>
            <a:ext cx="6283175" cy="266683"/>
          </a:xfrm>
          <a:gradFill flip="none" rotWithShape="1">
            <a:gsLst>
              <a:gs pos="0">
                <a:schemeClr val="bg1"/>
              </a:gs>
              <a:gs pos="100000">
                <a:schemeClr val="bg1">
                  <a:alpha val="0"/>
                </a:schemeClr>
              </a:gs>
            </a:gsLst>
            <a:lin ang="0" scaled="1"/>
            <a:tileRect/>
          </a:gradFill>
          <a:effectLst>
            <a:outerShdw blurRad="12700" dist="12700" dir="2700000" sx="133000" sy="133000" algn="tl" rotWithShape="0">
              <a:schemeClr val="bg1">
                <a:alpha val="80000"/>
              </a:schemeClr>
            </a:outerShdw>
          </a:effectLst>
        </p:spPr>
        <p:txBody>
          <a:bodyPr lIns="0" tIns="0" rIns="0" bIns="0"/>
          <a:lstStyle>
            <a:lvl1pPr marL="0" indent="0" algn="l">
              <a:buNone/>
              <a:defRPr sz="1900" b="0">
                <a:solidFill>
                  <a:schemeClr val="tx1"/>
                </a:solidFill>
                <a:effectLst/>
              </a:defRPr>
            </a:lvl1pPr>
            <a:lvl2pPr marL="391399" indent="0" algn="ctr">
              <a:buNone/>
              <a:defRPr>
                <a:solidFill>
                  <a:schemeClr val="tx1">
                    <a:tint val="75000"/>
                  </a:schemeClr>
                </a:solidFill>
              </a:defRPr>
            </a:lvl2pPr>
            <a:lvl3pPr marL="782797" indent="0" algn="ctr">
              <a:buNone/>
              <a:defRPr>
                <a:solidFill>
                  <a:schemeClr val="tx1">
                    <a:tint val="75000"/>
                  </a:schemeClr>
                </a:solidFill>
              </a:defRPr>
            </a:lvl3pPr>
            <a:lvl4pPr marL="1174195" indent="0" algn="ctr">
              <a:buNone/>
              <a:defRPr>
                <a:solidFill>
                  <a:schemeClr val="tx1">
                    <a:tint val="75000"/>
                  </a:schemeClr>
                </a:solidFill>
              </a:defRPr>
            </a:lvl4pPr>
            <a:lvl5pPr marL="1565594" indent="0" algn="ctr">
              <a:buNone/>
              <a:defRPr>
                <a:solidFill>
                  <a:schemeClr val="tx1">
                    <a:tint val="75000"/>
                  </a:schemeClr>
                </a:solidFill>
              </a:defRPr>
            </a:lvl5pPr>
            <a:lvl6pPr marL="1956992" indent="0" algn="ctr">
              <a:buNone/>
              <a:defRPr>
                <a:solidFill>
                  <a:schemeClr val="tx1">
                    <a:tint val="75000"/>
                  </a:schemeClr>
                </a:solidFill>
              </a:defRPr>
            </a:lvl6pPr>
            <a:lvl7pPr marL="2348391" indent="0" algn="ctr">
              <a:buNone/>
              <a:defRPr>
                <a:solidFill>
                  <a:schemeClr val="tx1">
                    <a:tint val="75000"/>
                  </a:schemeClr>
                </a:solidFill>
              </a:defRPr>
            </a:lvl7pPr>
            <a:lvl8pPr marL="2739790" indent="0" algn="ctr">
              <a:buNone/>
              <a:defRPr>
                <a:solidFill>
                  <a:schemeClr val="tx1">
                    <a:tint val="75000"/>
                  </a:schemeClr>
                </a:solidFill>
              </a:defRPr>
            </a:lvl8pPr>
            <a:lvl9pPr marL="313118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2" name="Picture 8" descr="D:\Users\aganatra\Desktop\Logos\Sogeti.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2361474" y="526584"/>
            <a:ext cx="1613647" cy="36576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5" descr="D:\Users\aganatra\Desktop\Logos\JohnsonandJohnsonLogo.pn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7162133" y="549444"/>
            <a:ext cx="1680622" cy="320040"/>
          </a:xfrm>
          <a:prstGeom prst="rect">
            <a:avLst/>
          </a:prstGeom>
          <a:noFill/>
          <a:extLst>
            <a:ext uri="{909E8E84-426E-40DD-AFC4-6F175D3DCCD1}">
              <a14:hiddenFill xmlns:a14="http://schemas.microsoft.com/office/drawing/2010/main">
                <a:solidFill>
                  <a:srgbClr val="FFFFFF"/>
                </a:solidFill>
              </a14:hiddenFill>
            </a:ext>
          </a:extLst>
        </p:spPr>
      </p:pic>
      <p:pic>
        <p:nvPicPr>
          <p:cNvPr id="1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615951" y="526584"/>
            <a:ext cx="1639424" cy="36576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_subtitle_conten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467" y="1207"/>
          <a:ext cx="1465" cy="1206"/>
        </p:xfrm>
        <a:graphic>
          <a:graphicData uri="http://schemas.openxmlformats.org/presentationml/2006/ole">
            <mc:AlternateContent xmlns:mc="http://schemas.openxmlformats.org/markup-compatibility/2006">
              <mc:Choice xmlns:v="urn:schemas-microsoft-com:vml" Requires="v">
                <p:oleObj spid="_x0000_s1544269" name="think-cell Folie" r:id="rId4" imgW="360" imgH="360" progId="">
                  <p:embed/>
                </p:oleObj>
              </mc:Choice>
              <mc:Fallback>
                <p:oleObj name="think-cell Foli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207"/>
                        <a:ext cx="1465" cy="12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184639" y="538880"/>
            <a:ext cx="8774723" cy="348012"/>
          </a:xfrm>
        </p:spPr>
        <p:txBody>
          <a:bodyPr/>
          <a:lstStyle>
            <a:lvl1pPr>
              <a:defRPr sz="2100"/>
            </a:lvl1pPr>
          </a:lstStyle>
          <a:p>
            <a:endParaRPr lang="fr-FR" dirty="0"/>
          </a:p>
        </p:txBody>
      </p:sp>
      <p:sp>
        <p:nvSpPr>
          <p:cNvPr id="10" name="Text Placeholder 9"/>
          <p:cNvSpPr>
            <a:spLocks noGrp="1"/>
          </p:cNvSpPr>
          <p:nvPr>
            <p:ph type="body" sz="quarter" idx="21"/>
          </p:nvPr>
        </p:nvSpPr>
        <p:spPr>
          <a:xfrm>
            <a:off x="184931" y="1183506"/>
            <a:ext cx="8774432" cy="3610835"/>
          </a:xfrm>
          <a:prstGeom prst="rect">
            <a:avLst/>
          </a:prstGeom>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 Placeholder 11"/>
          <p:cNvSpPr>
            <a:spLocks noGrp="1"/>
          </p:cNvSpPr>
          <p:nvPr>
            <p:ph type="body" sz="quarter" idx="25"/>
          </p:nvPr>
        </p:nvSpPr>
        <p:spPr>
          <a:xfrm>
            <a:off x="184931" y="854705"/>
            <a:ext cx="8774432" cy="217522"/>
          </a:xfrm>
        </p:spPr>
        <p:txBody>
          <a:bodyPr>
            <a:noAutofit/>
          </a:bodyPr>
          <a:lstStyle>
            <a:lvl1pPr>
              <a:defRPr lang="en-GB" sz="1400" b="0" i="0" kern="1200" noProof="0" dirty="0" smtClean="0">
                <a:solidFill>
                  <a:schemeClr val="tx1"/>
                </a:solidFill>
                <a:effectLst/>
                <a:latin typeface="+mj-lt"/>
                <a:ea typeface="+mn-ea"/>
                <a:cs typeface="+mn-cs"/>
              </a:defRPr>
            </a:lvl1pPr>
          </a:lstStyle>
          <a:p>
            <a:pPr marL="0" marR="0" lvl="0" indent="0" algn="l" defTabSz="782924" rtl="0" eaLnBrk="1" fontAlgn="base" latinLnBrk="0" hangingPunct="1">
              <a:lnSpc>
                <a:spcPct val="90000"/>
              </a:lnSpc>
              <a:spcBef>
                <a:spcPts val="0"/>
              </a:spcBef>
              <a:spcAft>
                <a:spcPts val="343"/>
              </a:spcAft>
              <a:buClr>
                <a:srgbClr val="B10034"/>
              </a:buClr>
              <a:buSzPct val="100000"/>
              <a:buFont typeface="Wingdings" pitchFamily="2" charset="2"/>
              <a:buNone/>
              <a:tabLst/>
            </a:pPr>
            <a:endParaRPr lang="de-DE" dirty="0"/>
          </a:p>
        </p:txBody>
      </p:sp>
      <p:sp>
        <p:nvSpPr>
          <p:cNvPr id="17" name="Date Placeholder 16"/>
          <p:cNvSpPr>
            <a:spLocks noGrp="1"/>
          </p:cNvSpPr>
          <p:nvPr>
            <p:ph type="dt" sz="half" idx="26"/>
          </p:nvPr>
        </p:nvSpPr>
        <p:spPr>
          <a:xfrm>
            <a:off x="6559588" y="5082552"/>
            <a:ext cx="2133600" cy="93018"/>
          </a:xfrm>
          <a:prstGeom prst="rect">
            <a:avLst/>
          </a:prstGeom>
        </p:spPr>
        <p:txBody>
          <a:bodyPr/>
          <a:lstStyle>
            <a:lvl1pPr>
              <a:defRPr/>
            </a:lvl1pPr>
          </a:lstStyle>
          <a:p>
            <a:r>
              <a:rPr lang="en-US" dirty="0">
                <a:solidFill>
                  <a:srgbClr val="CED3D8">
                    <a:lumMod val="50000"/>
                  </a:srgbClr>
                </a:solidFill>
              </a:rPr>
              <a:t>© Capgemini Consulting 2017. All rights reserved.</a:t>
            </a:r>
            <a:endParaRPr lang="de-DE" dirty="0">
              <a:solidFill>
                <a:srgbClr val="CED3D8">
                  <a:lumMod val="50000"/>
                </a:srgbClr>
              </a:solidFill>
            </a:endParaRPr>
          </a:p>
        </p:txBody>
      </p:sp>
      <p:sp>
        <p:nvSpPr>
          <p:cNvPr id="18" name="Slide Number Placeholder 17"/>
          <p:cNvSpPr>
            <a:spLocks noGrp="1"/>
          </p:cNvSpPr>
          <p:nvPr>
            <p:ph type="sldNum" sz="quarter" idx="27"/>
          </p:nvPr>
        </p:nvSpPr>
        <p:spPr>
          <a:xfrm>
            <a:off x="8791537" y="5082552"/>
            <a:ext cx="299077" cy="93018"/>
          </a:xfrm>
          <a:prstGeom prst="rect">
            <a:avLst/>
          </a:prstGeom>
        </p:spPr>
        <p:txBody>
          <a:bodyPr/>
          <a:lstStyle>
            <a:lvl1pPr>
              <a:defRPr/>
            </a:lvl1pPr>
          </a:lstStyle>
          <a:p>
            <a:fld id="{856EEAF3-4C43-4DAF-AC23-4779633883E1}" type="slidenum">
              <a:rPr lang="de-DE" smtClean="0">
                <a:solidFill>
                  <a:srgbClr val="CED3D8">
                    <a:lumMod val="50000"/>
                  </a:srgbClr>
                </a:solidFill>
              </a:rPr>
              <a:pPr/>
              <a:t>‹#›</a:t>
            </a:fld>
            <a:endParaRPr lang="de-DE" dirty="0">
              <a:solidFill>
                <a:srgbClr val="CED3D8">
                  <a:lumMod val="50000"/>
                </a:srgbClr>
              </a:solidFill>
            </a:endParaRPr>
          </a:p>
        </p:txBody>
      </p:sp>
    </p:spTree>
    <p:extLst>
      <p:ext uri="{BB962C8B-B14F-4D97-AF65-F5344CB8AC3E}">
        <p14:creationId xmlns:p14="http://schemas.microsoft.com/office/powerpoint/2010/main" val="348995393"/>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7" y="1207"/>
          <a:ext cx="1465" cy="1206"/>
        </p:xfrm>
        <a:graphic>
          <a:graphicData uri="http://schemas.openxmlformats.org/presentationml/2006/ole">
            <mc:AlternateContent xmlns:mc="http://schemas.openxmlformats.org/markup-compatibility/2006">
              <mc:Choice xmlns:v="urn:schemas-microsoft-com:vml" Requires="v">
                <p:oleObj spid="_x0000_s1545293" name="think-cell Folie" r:id="rId4" imgW="360" imgH="360" progId="">
                  <p:embed/>
                </p:oleObj>
              </mc:Choice>
              <mc:Fallback>
                <p:oleObj name="think-cell Foli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207"/>
                        <a:ext cx="1465" cy="12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184639" y="538880"/>
            <a:ext cx="8774723" cy="348012"/>
          </a:xfrm>
        </p:spPr>
        <p:txBody>
          <a:bodyPr/>
          <a:lstStyle>
            <a:lvl1pPr>
              <a:defRPr sz="2100"/>
            </a:lvl1pPr>
          </a:lstStyle>
          <a:p>
            <a:endParaRPr lang="fr-FR" dirty="0"/>
          </a:p>
        </p:txBody>
      </p:sp>
      <p:sp>
        <p:nvSpPr>
          <p:cNvPr id="10" name="Text Placeholder 9"/>
          <p:cNvSpPr>
            <a:spLocks noGrp="1"/>
          </p:cNvSpPr>
          <p:nvPr>
            <p:ph type="body" sz="quarter" idx="21"/>
          </p:nvPr>
        </p:nvSpPr>
        <p:spPr>
          <a:xfrm>
            <a:off x="184931" y="854705"/>
            <a:ext cx="8774432" cy="217522"/>
          </a:xfrm>
        </p:spPr>
        <p:txBody>
          <a:bodyPr>
            <a:noAutofit/>
          </a:bodyPr>
          <a:lstStyle>
            <a:lvl1pPr>
              <a:defRPr lang="en-US" sz="1400" b="0" i="0" kern="1200" noProof="0" dirty="0" smtClean="0">
                <a:solidFill>
                  <a:schemeClr val="tx1"/>
                </a:solidFill>
                <a:effectLst/>
                <a:latin typeface="+mj-lt"/>
                <a:ea typeface="+mn-ea"/>
                <a:cs typeface="+mn-cs"/>
              </a:defRPr>
            </a:lvl1pPr>
          </a:lstStyle>
          <a:p>
            <a:pPr marL="0" marR="0" lvl="0" indent="0" algn="l" defTabSz="782924" rtl="0" eaLnBrk="1" fontAlgn="base" latinLnBrk="0" hangingPunct="1">
              <a:lnSpc>
                <a:spcPct val="90000"/>
              </a:lnSpc>
              <a:spcBef>
                <a:spcPts val="0"/>
              </a:spcBef>
              <a:spcAft>
                <a:spcPts val="343"/>
              </a:spcAft>
              <a:buClr>
                <a:srgbClr val="B10034"/>
              </a:buClr>
              <a:buSzPct val="100000"/>
              <a:buFont typeface="Wingdings" pitchFamily="2" charset="2"/>
              <a:buNone/>
              <a:tabLst/>
            </a:pPr>
            <a:endParaRPr lang="de-DE" dirty="0"/>
          </a:p>
        </p:txBody>
      </p:sp>
      <p:sp>
        <p:nvSpPr>
          <p:cNvPr id="15" name="Date Placeholder 14"/>
          <p:cNvSpPr>
            <a:spLocks noGrp="1"/>
          </p:cNvSpPr>
          <p:nvPr>
            <p:ph type="dt" sz="half" idx="22"/>
          </p:nvPr>
        </p:nvSpPr>
        <p:spPr>
          <a:xfrm>
            <a:off x="6559588" y="5082552"/>
            <a:ext cx="2133600" cy="93018"/>
          </a:xfrm>
          <a:prstGeom prst="rect">
            <a:avLst/>
          </a:prstGeom>
        </p:spPr>
        <p:txBody>
          <a:bodyPr/>
          <a:lstStyle>
            <a:lvl1pPr>
              <a:defRPr/>
            </a:lvl1pPr>
          </a:lstStyle>
          <a:p>
            <a:r>
              <a:rPr lang="en-US" dirty="0">
                <a:solidFill>
                  <a:srgbClr val="CED3D8">
                    <a:lumMod val="50000"/>
                  </a:srgbClr>
                </a:solidFill>
              </a:rPr>
              <a:t>© Capgemini Consulting 2017. All rights reserved.</a:t>
            </a:r>
            <a:endParaRPr lang="de-DE" dirty="0">
              <a:solidFill>
                <a:srgbClr val="CED3D8">
                  <a:lumMod val="50000"/>
                </a:srgbClr>
              </a:solidFill>
            </a:endParaRPr>
          </a:p>
        </p:txBody>
      </p:sp>
      <p:sp>
        <p:nvSpPr>
          <p:cNvPr id="16" name="Slide Number Placeholder 15"/>
          <p:cNvSpPr>
            <a:spLocks noGrp="1"/>
          </p:cNvSpPr>
          <p:nvPr>
            <p:ph type="sldNum" sz="quarter" idx="23"/>
          </p:nvPr>
        </p:nvSpPr>
        <p:spPr>
          <a:xfrm>
            <a:off x="8791537" y="5082552"/>
            <a:ext cx="299077" cy="93018"/>
          </a:xfrm>
          <a:prstGeom prst="rect">
            <a:avLst/>
          </a:prstGeom>
        </p:spPr>
        <p:txBody>
          <a:bodyPr/>
          <a:lstStyle>
            <a:lvl1pPr>
              <a:defRPr/>
            </a:lvl1pPr>
          </a:lstStyle>
          <a:p>
            <a:fld id="{856EEAF3-4C43-4DAF-AC23-4779633883E1}" type="slidenum">
              <a:rPr lang="de-DE" smtClean="0">
                <a:solidFill>
                  <a:srgbClr val="CED3D8">
                    <a:lumMod val="50000"/>
                  </a:srgbClr>
                </a:solidFill>
              </a:rPr>
              <a:pPr/>
              <a:t>‹#›</a:t>
            </a:fld>
            <a:endParaRPr lang="de-DE" dirty="0">
              <a:solidFill>
                <a:srgbClr val="CED3D8">
                  <a:lumMod val="50000"/>
                </a:srgbClr>
              </a:solidFill>
            </a:endParaRPr>
          </a:p>
        </p:txBody>
      </p:sp>
    </p:spTree>
    <p:extLst>
      <p:ext uri="{BB962C8B-B14F-4D97-AF65-F5344CB8AC3E}">
        <p14:creationId xmlns:p14="http://schemas.microsoft.com/office/powerpoint/2010/main" val="291493745"/>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2 lines_subtitle">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184639" y="538881"/>
            <a:ext cx="8774723" cy="638861"/>
          </a:xfrm>
        </p:spPr>
        <p:txBody>
          <a:bodyPr/>
          <a:lstStyle>
            <a:lvl1pPr>
              <a:defRPr sz="2100"/>
            </a:lvl1pPr>
          </a:lstStyle>
          <a:p>
            <a:r>
              <a:rPr lang="en-US" dirty="0"/>
              <a:t>Click to edit Master title style</a:t>
            </a:r>
            <a:br>
              <a:rPr lang="en-US" dirty="0"/>
            </a:br>
            <a:r>
              <a:rPr lang="en-US" dirty="0"/>
              <a:t>with 2 Lines</a:t>
            </a:r>
            <a:endParaRPr lang="fr-FR" dirty="0"/>
          </a:p>
        </p:txBody>
      </p:sp>
      <p:sp>
        <p:nvSpPr>
          <p:cNvPr id="12" name="Text Placeholder 11"/>
          <p:cNvSpPr>
            <a:spLocks noGrp="1"/>
          </p:cNvSpPr>
          <p:nvPr>
            <p:ph type="body" sz="quarter" idx="22"/>
          </p:nvPr>
        </p:nvSpPr>
        <p:spPr>
          <a:xfrm>
            <a:off x="184931" y="1073720"/>
            <a:ext cx="8774432" cy="217522"/>
          </a:xfrm>
        </p:spPr>
        <p:txBody>
          <a:bodyPr>
            <a:noAutofit/>
          </a:bodyPr>
          <a:lstStyle>
            <a:lvl1pPr>
              <a:defRPr lang="en-US" sz="1400" b="0" i="0" kern="1200" noProof="0" dirty="0" smtClean="0">
                <a:solidFill>
                  <a:schemeClr val="tx1"/>
                </a:solidFill>
                <a:effectLst/>
                <a:latin typeface="+mj-lt"/>
                <a:ea typeface="+mn-ea"/>
                <a:cs typeface="+mn-cs"/>
              </a:defRPr>
            </a:lvl1pPr>
          </a:lstStyle>
          <a:p>
            <a:pPr marL="0" marR="0" lvl="0" indent="0" algn="l" defTabSz="782924" rtl="0" eaLnBrk="1" fontAlgn="base" latinLnBrk="0" hangingPunct="1">
              <a:lnSpc>
                <a:spcPct val="90000"/>
              </a:lnSpc>
              <a:spcBef>
                <a:spcPts val="0"/>
              </a:spcBef>
              <a:spcAft>
                <a:spcPts val="343"/>
              </a:spcAft>
              <a:buClr>
                <a:srgbClr val="B10034"/>
              </a:buClr>
              <a:buSzPct val="100000"/>
              <a:buFont typeface="Wingdings" pitchFamily="2" charset="2"/>
              <a:buNone/>
              <a:tabLst/>
            </a:pPr>
            <a:r>
              <a:rPr lang="de-DE" dirty="0"/>
              <a:t>Textmasterformate durch Klicken bearbeiten</a:t>
            </a:r>
          </a:p>
        </p:txBody>
      </p:sp>
      <p:sp>
        <p:nvSpPr>
          <p:cNvPr id="15" name="Date Placeholder 14"/>
          <p:cNvSpPr>
            <a:spLocks noGrp="1"/>
          </p:cNvSpPr>
          <p:nvPr>
            <p:ph type="dt" sz="half" idx="23"/>
          </p:nvPr>
        </p:nvSpPr>
        <p:spPr>
          <a:xfrm>
            <a:off x="6559588" y="5082552"/>
            <a:ext cx="2133600" cy="93018"/>
          </a:xfrm>
          <a:prstGeom prst="rect">
            <a:avLst/>
          </a:prstGeom>
        </p:spPr>
        <p:txBody>
          <a:bodyPr/>
          <a:lstStyle>
            <a:lvl1pPr>
              <a:defRPr/>
            </a:lvl1pPr>
          </a:lstStyle>
          <a:p>
            <a:r>
              <a:rPr lang="en-US" dirty="0">
                <a:solidFill>
                  <a:srgbClr val="CED3D8">
                    <a:lumMod val="50000"/>
                  </a:srgbClr>
                </a:solidFill>
              </a:rPr>
              <a:t>© Capgemini Consulting 2017. All rights reserved.</a:t>
            </a:r>
            <a:endParaRPr lang="de-DE" dirty="0">
              <a:solidFill>
                <a:srgbClr val="CED3D8">
                  <a:lumMod val="50000"/>
                </a:srgbClr>
              </a:solidFill>
            </a:endParaRPr>
          </a:p>
        </p:txBody>
      </p:sp>
      <p:sp>
        <p:nvSpPr>
          <p:cNvPr id="16" name="Slide Number Placeholder 15"/>
          <p:cNvSpPr>
            <a:spLocks noGrp="1"/>
          </p:cNvSpPr>
          <p:nvPr>
            <p:ph type="sldNum" sz="quarter" idx="24"/>
          </p:nvPr>
        </p:nvSpPr>
        <p:spPr>
          <a:xfrm>
            <a:off x="8791537" y="5082552"/>
            <a:ext cx="299077" cy="93018"/>
          </a:xfrm>
          <a:prstGeom prst="rect">
            <a:avLst/>
          </a:prstGeom>
        </p:spPr>
        <p:txBody>
          <a:bodyPr/>
          <a:lstStyle>
            <a:lvl1pPr>
              <a:defRPr/>
            </a:lvl1pPr>
          </a:lstStyle>
          <a:p>
            <a:fld id="{856EEAF3-4C43-4DAF-AC23-4779633883E1}" type="slidenum">
              <a:rPr lang="de-DE" smtClean="0">
                <a:solidFill>
                  <a:srgbClr val="CED3D8">
                    <a:lumMod val="50000"/>
                  </a:srgbClr>
                </a:solidFill>
              </a:rPr>
              <a:pPr/>
              <a:t>‹#›</a:t>
            </a:fld>
            <a:endParaRPr lang="de-DE" dirty="0">
              <a:solidFill>
                <a:srgbClr val="CED3D8">
                  <a:lumMod val="50000"/>
                </a:srgbClr>
              </a:solidFill>
            </a:endParaRPr>
          </a:p>
        </p:txBody>
      </p:sp>
    </p:spTree>
    <p:extLst>
      <p:ext uri="{BB962C8B-B14F-4D97-AF65-F5344CB8AC3E}">
        <p14:creationId xmlns:p14="http://schemas.microsoft.com/office/powerpoint/2010/main" val="71964494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467" y="1207"/>
          <a:ext cx="1465" cy="1206"/>
        </p:xfrm>
        <a:graphic>
          <a:graphicData uri="http://schemas.openxmlformats.org/presentationml/2006/ole">
            <mc:AlternateContent xmlns:mc="http://schemas.openxmlformats.org/markup-compatibility/2006">
              <mc:Choice xmlns:v="urn:schemas-microsoft-com:vml" Requires="v">
                <p:oleObj spid="_x0000_s1546317" name="think-cell Folie" r:id="rId4" imgW="360" imgH="360" progId="">
                  <p:embed/>
                </p:oleObj>
              </mc:Choice>
              <mc:Fallback>
                <p:oleObj name="think-cell Foli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207"/>
                        <a:ext cx="1465" cy="12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p:nvPr>
        </p:nvSpPr>
        <p:spPr>
          <a:xfrm>
            <a:off x="184639" y="538880"/>
            <a:ext cx="8774723" cy="348012"/>
          </a:xfrm>
        </p:spPr>
        <p:txBody>
          <a:bodyPr/>
          <a:lstStyle>
            <a:lvl1pPr>
              <a:defRPr sz="2100"/>
            </a:lvl1pPr>
          </a:lstStyle>
          <a:p>
            <a:endParaRPr lang="de-DE" dirty="0"/>
          </a:p>
        </p:txBody>
      </p:sp>
      <p:sp>
        <p:nvSpPr>
          <p:cNvPr id="13" name="Date Placeholder 12"/>
          <p:cNvSpPr>
            <a:spLocks noGrp="1"/>
          </p:cNvSpPr>
          <p:nvPr>
            <p:ph type="dt" sz="half" idx="10"/>
          </p:nvPr>
        </p:nvSpPr>
        <p:spPr>
          <a:xfrm>
            <a:off x="6559588" y="5082552"/>
            <a:ext cx="2133600" cy="93018"/>
          </a:xfrm>
          <a:prstGeom prst="rect">
            <a:avLst/>
          </a:prstGeom>
        </p:spPr>
        <p:txBody>
          <a:bodyPr/>
          <a:lstStyle>
            <a:lvl1pPr>
              <a:defRPr/>
            </a:lvl1pPr>
          </a:lstStyle>
          <a:p>
            <a:r>
              <a:rPr lang="en-US" dirty="0">
                <a:solidFill>
                  <a:srgbClr val="CED3D8">
                    <a:lumMod val="50000"/>
                  </a:srgbClr>
                </a:solidFill>
              </a:rPr>
              <a:t>© Capgemini Consulting 2017. All rights reserved.</a:t>
            </a:r>
            <a:endParaRPr lang="de-DE" dirty="0">
              <a:solidFill>
                <a:srgbClr val="CED3D8">
                  <a:lumMod val="50000"/>
                </a:srgbClr>
              </a:solidFill>
            </a:endParaRPr>
          </a:p>
        </p:txBody>
      </p:sp>
      <p:sp>
        <p:nvSpPr>
          <p:cNvPr id="14" name="Slide Number Placeholder 13"/>
          <p:cNvSpPr>
            <a:spLocks noGrp="1"/>
          </p:cNvSpPr>
          <p:nvPr>
            <p:ph type="sldNum" sz="quarter" idx="11"/>
          </p:nvPr>
        </p:nvSpPr>
        <p:spPr>
          <a:xfrm>
            <a:off x="8791537" y="5082552"/>
            <a:ext cx="299077" cy="93018"/>
          </a:xfrm>
          <a:prstGeom prst="rect">
            <a:avLst/>
          </a:prstGeom>
        </p:spPr>
        <p:txBody>
          <a:bodyPr/>
          <a:lstStyle>
            <a:lvl1pPr>
              <a:defRPr/>
            </a:lvl1pPr>
          </a:lstStyle>
          <a:p>
            <a:fld id="{856EEAF3-4C43-4DAF-AC23-4779633883E1}" type="slidenum">
              <a:rPr lang="de-DE" smtClean="0">
                <a:solidFill>
                  <a:srgbClr val="CED3D8">
                    <a:lumMod val="50000"/>
                  </a:srgbClr>
                </a:solidFill>
              </a:rPr>
              <a:pPr/>
              <a:t>‹#›</a:t>
            </a:fld>
            <a:endParaRPr lang="de-DE" dirty="0">
              <a:solidFill>
                <a:srgbClr val="CED3D8">
                  <a:lumMod val="50000"/>
                </a:srgbClr>
              </a:solidFill>
            </a:endParaRPr>
          </a:p>
        </p:txBody>
      </p:sp>
    </p:spTree>
    <p:extLst>
      <p:ext uri="{BB962C8B-B14F-4D97-AF65-F5344CB8AC3E}">
        <p14:creationId xmlns:p14="http://schemas.microsoft.com/office/powerpoint/2010/main" val="2128367635"/>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_left_text_right">
    <p:spTree>
      <p:nvGrpSpPr>
        <p:cNvPr id="1" name=""/>
        <p:cNvGrpSpPr/>
        <p:nvPr/>
      </p:nvGrpSpPr>
      <p:grpSpPr>
        <a:xfrm>
          <a:off x="0" y="0"/>
          <a:ext cx="0" cy="0"/>
          <a:chOff x="0" y="0"/>
          <a:chExt cx="0" cy="0"/>
        </a:xfrm>
      </p:grpSpPr>
      <p:sp>
        <p:nvSpPr>
          <p:cNvPr id="2" name="Title 1"/>
          <p:cNvSpPr>
            <a:spLocks noGrp="1"/>
          </p:cNvSpPr>
          <p:nvPr>
            <p:ph type="title"/>
          </p:nvPr>
        </p:nvSpPr>
        <p:spPr>
          <a:xfrm>
            <a:off x="184639" y="538880"/>
            <a:ext cx="8774723" cy="348012"/>
          </a:xfrm>
        </p:spPr>
        <p:txBody>
          <a:bodyPr/>
          <a:lstStyle>
            <a:lvl1pPr>
              <a:defRPr sz="2100"/>
            </a:lvl1pPr>
          </a:lstStyle>
          <a:p>
            <a:endParaRPr lang="en-US" noProof="0" dirty="0"/>
          </a:p>
        </p:txBody>
      </p:sp>
      <p:sp>
        <p:nvSpPr>
          <p:cNvPr id="11" name="Text Placeholder 10"/>
          <p:cNvSpPr>
            <a:spLocks noGrp="1"/>
          </p:cNvSpPr>
          <p:nvPr>
            <p:ph type="body" sz="quarter" idx="14"/>
          </p:nvPr>
        </p:nvSpPr>
        <p:spPr>
          <a:xfrm>
            <a:off x="3175488" y="1183506"/>
            <a:ext cx="5783874" cy="3610835"/>
          </a:xfrm>
          <a:prstGeom prst="rect">
            <a:avLst/>
          </a:prstGeo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dirty="0" err="1"/>
              <a:t>Textmasterformate</a:t>
            </a:r>
            <a:r>
              <a:rPr lang="en-US" dirty="0"/>
              <a:t> </a:t>
            </a:r>
            <a:r>
              <a:rPr lang="en-US" dirty="0" err="1"/>
              <a:t>durch</a:t>
            </a:r>
            <a:r>
              <a:rPr lang="en-US" dirty="0"/>
              <a:t> </a:t>
            </a:r>
            <a:r>
              <a:rPr lang="en-US" dirty="0" err="1"/>
              <a:t>Klicken</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2" name="Content Placeholder 11"/>
          <p:cNvSpPr>
            <a:spLocks noGrp="1"/>
          </p:cNvSpPr>
          <p:nvPr>
            <p:ph sz="quarter" idx="19" hasCustomPrompt="1"/>
          </p:nvPr>
        </p:nvSpPr>
        <p:spPr>
          <a:xfrm>
            <a:off x="184929" y="1183506"/>
            <a:ext cx="2858243" cy="3610834"/>
          </a:xfrm>
          <a:prstGeom prst="rect">
            <a:avLst/>
          </a:prstGeom>
        </p:spPr>
        <p:txBody>
          <a:bodyPr/>
          <a:lstStyle>
            <a:lvl1pPr>
              <a:defRPr/>
            </a:lvl1pPr>
          </a:lstStyle>
          <a:p>
            <a:pPr lvl="0"/>
            <a:r>
              <a:rPr lang="en-US" dirty="0"/>
              <a:t>Click to insert a table, chart, picture etc.</a:t>
            </a:r>
          </a:p>
        </p:txBody>
      </p:sp>
      <p:sp>
        <p:nvSpPr>
          <p:cNvPr id="14" name="Text Placeholder 13"/>
          <p:cNvSpPr>
            <a:spLocks noGrp="1"/>
          </p:cNvSpPr>
          <p:nvPr>
            <p:ph type="body" sz="quarter" idx="23"/>
          </p:nvPr>
        </p:nvSpPr>
        <p:spPr>
          <a:xfrm>
            <a:off x="184931" y="854705"/>
            <a:ext cx="8774432" cy="217522"/>
          </a:xfrm>
        </p:spPr>
        <p:txBody>
          <a:bodyPr>
            <a:noAutofit/>
          </a:bodyPr>
          <a:lstStyle>
            <a:lvl1pPr>
              <a:defRPr lang="en-US" sz="1400" b="0" i="0" kern="1200" noProof="0" dirty="0" smtClean="0">
                <a:solidFill>
                  <a:schemeClr val="tx1"/>
                </a:solidFill>
                <a:effectLst/>
                <a:latin typeface="+mj-lt"/>
                <a:ea typeface="+mn-ea"/>
                <a:cs typeface="+mn-cs"/>
              </a:defRPr>
            </a:lvl1pPr>
          </a:lstStyle>
          <a:p>
            <a:pPr marL="0" marR="0" lvl="0" indent="0" algn="l" defTabSz="782924" rtl="0" eaLnBrk="1" fontAlgn="base" latinLnBrk="0" hangingPunct="1">
              <a:lnSpc>
                <a:spcPct val="90000"/>
              </a:lnSpc>
              <a:spcBef>
                <a:spcPts val="0"/>
              </a:spcBef>
              <a:spcAft>
                <a:spcPts val="343"/>
              </a:spcAft>
              <a:buClr>
                <a:srgbClr val="B10034"/>
              </a:buClr>
              <a:buSzPct val="100000"/>
              <a:buFont typeface="Wingdings" pitchFamily="2" charset="2"/>
              <a:buNone/>
              <a:tabLst/>
            </a:pPr>
            <a:endParaRPr lang="en-US" dirty="0"/>
          </a:p>
        </p:txBody>
      </p:sp>
      <p:sp>
        <p:nvSpPr>
          <p:cNvPr id="18" name="Date Placeholder 17"/>
          <p:cNvSpPr>
            <a:spLocks noGrp="1"/>
          </p:cNvSpPr>
          <p:nvPr>
            <p:ph type="dt" sz="half" idx="24"/>
          </p:nvPr>
        </p:nvSpPr>
        <p:spPr>
          <a:xfrm>
            <a:off x="6559588" y="5082552"/>
            <a:ext cx="2133600" cy="93018"/>
          </a:xfrm>
          <a:prstGeom prst="rect">
            <a:avLst/>
          </a:prstGeom>
        </p:spPr>
        <p:txBody>
          <a:bodyPr/>
          <a:lstStyle>
            <a:lvl1pPr>
              <a:defRPr/>
            </a:lvl1pPr>
          </a:lstStyle>
          <a:p>
            <a:r>
              <a:rPr lang="en-US" dirty="0">
                <a:solidFill>
                  <a:srgbClr val="CED3D8">
                    <a:lumMod val="50000"/>
                  </a:srgbClr>
                </a:solidFill>
              </a:rPr>
              <a:t>© Capgemini Consulting 2017. All rights reserved.</a:t>
            </a:r>
            <a:endParaRPr lang="de-DE" dirty="0">
              <a:solidFill>
                <a:srgbClr val="CED3D8">
                  <a:lumMod val="50000"/>
                </a:srgbClr>
              </a:solidFill>
            </a:endParaRPr>
          </a:p>
        </p:txBody>
      </p:sp>
      <p:sp>
        <p:nvSpPr>
          <p:cNvPr id="19" name="Slide Number Placeholder 18"/>
          <p:cNvSpPr>
            <a:spLocks noGrp="1"/>
          </p:cNvSpPr>
          <p:nvPr>
            <p:ph type="sldNum" sz="quarter" idx="25"/>
          </p:nvPr>
        </p:nvSpPr>
        <p:spPr>
          <a:xfrm>
            <a:off x="8791537" y="5082552"/>
            <a:ext cx="299077" cy="93018"/>
          </a:xfrm>
          <a:prstGeom prst="rect">
            <a:avLst/>
          </a:prstGeom>
        </p:spPr>
        <p:txBody>
          <a:bodyPr/>
          <a:lstStyle>
            <a:lvl1pPr>
              <a:defRPr/>
            </a:lvl1pPr>
          </a:lstStyle>
          <a:p>
            <a:fld id="{856EEAF3-4C43-4DAF-AC23-4779633883E1}" type="slidenum">
              <a:rPr lang="de-DE" smtClean="0">
                <a:solidFill>
                  <a:srgbClr val="CED3D8">
                    <a:lumMod val="50000"/>
                  </a:srgbClr>
                </a:solidFill>
              </a:rPr>
              <a:pPr/>
              <a:t>‹#›</a:t>
            </a:fld>
            <a:endParaRPr lang="de-DE" dirty="0">
              <a:solidFill>
                <a:srgbClr val="CED3D8">
                  <a:lumMod val="50000"/>
                </a:srgbClr>
              </a:solidFill>
            </a:endParaRPr>
          </a:p>
        </p:txBody>
      </p:sp>
    </p:spTree>
    <p:extLst>
      <p:ext uri="{BB962C8B-B14F-4D97-AF65-F5344CB8AC3E}">
        <p14:creationId xmlns:p14="http://schemas.microsoft.com/office/powerpoint/2010/main" val="20716043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_right_text_left">
    <p:spTree>
      <p:nvGrpSpPr>
        <p:cNvPr id="1" name=""/>
        <p:cNvGrpSpPr/>
        <p:nvPr/>
      </p:nvGrpSpPr>
      <p:grpSpPr>
        <a:xfrm>
          <a:off x="0" y="0"/>
          <a:ext cx="0" cy="0"/>
          <a:chOff x="0" y="0"/>
          <a:chExt cx="0" cy="0"/>
        </a:xfrm>
      </p:grpSpPr>
      <p:sp>
        <p:nvSpPr>
          <p:cNvPr id="2" name="Title 1"/>
          <p:cNvSpPr>
            <a:spLocks noGrp="1"/>
          </p:cNvSpPr>
          <p:nvPr>
            <p:ph type="title"/>
          </p:nvPr>
        </p:nvSpPr>
        <p:spPr>
          <a:xfrm>
            <a:off x="184639" y="538880"/>
            <a:ext cx="8774723" cy="348012"/>
          </a:xfrm>
        </p:spPr>
        <p:txBody>
          <a:bodyPr/>
          <a:lstStyle>
            <a:lvl1pPr>
              <a:defRPr sz="2100"/>
            </a:lvl1pPr>
          </a:lstStyle>
          <a:p>
            <a:endParaRPr lang="en-US" dirty="0"/>
          </a:p>
        </p:txBody>
      </p:sp>
      <p:sp>
        <p:nvSpPr>
          <p:cNvPr id="11" name="Text Placeholder 10"/>
          <p:cNvSpPr>
            <a:spLocks noGrp="1"/>
          </p:cNvSpPr>
          <p:nvPr>
            <p:ph type="body" sz="quarter" idx="14"/>
          </p:nvPr>
        </p:nvSpPr>
        <p:spPr>
          <a:xfrm>
            <a:off x="184638" y="1183506"/>
            <a:ext cx="5783873" cy="3610834"/>
          </a:xfrm>
          <a:prstGeom prst="rect">
            <a:avLst/>
          </a:prstGeo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dirty="0" err="1"/>
              <a:t>Textmasterformate</a:t>
            </a:r>
            <a:r>
              <a:rPr lang="en-US" dirty="0"/>
              <a:t> </a:t>
            </a:r>
            <a:r>
              <a:rPr lang="en-US" dirty="0" err="1"/>
              <a:t>durch</a:t>
            </a:r>
            <a:r>
              <a:rPr lang="en-US" dirty="0"/>
              <a:t> </a:t>
            </a:r>
            <a:r>
              <a:rPr lang="en-US" dirty="0" err="1"/>
              <a:t>Klicken</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3" name="Content Placeholder 12"/>
          <p:cNvSpPr>
            <a:spLocks noGrp="1"/>
          </p:cNvSpPr>
          <p:nvPr>
            <p:ph sz="quarter" idx="19" hasCustomPrompt="1"/>
          </p:nvPr>
        </p:nvSpPr>
        <p:spPr>
          <a:xfrm>
            <a:off x="6101121" y="1183506"/>
            <a:ext cx="2858242" cy="3610834"/>
          </a:xfrm>
          <a:prstGeom prst="rect">
            <a:avLst/>
          </a:prstGeom>
        </p:spPr>
        <p:txBody>
          <a:bodyPr/>
          <a:lstStyle/>
          <a:p>
            <a:pPr lvl="0"/>
            <a:r>
              <a:rPr lang="en-US" dirty="0"/>
              <a:t>Click to insert a table, chart, picture etc.</a:t>
            </a:r>
          </a:p>
        </p:txBody>
      </p:sp>
      <p:sp>
        <p:nvSpPr>
          <p:cNvPr id="14" name="Text Placeholder 13"/>
          <p:cNvSpPr>
            <a:spLocks noGrp="1"/>
          </p:cNvSpPr>
          <p:nvPr>
            <p:ph type="body" sz="quarter" idx="23"/>
          </p:nvPr>
        </p:nvSpPr>
        <p:spPr>
          <a:xfrm>
            <a:off x="184931" y="854705"/>
            <a:ext cx="8774432" cy="217522"/>
          </a:xfrm>
        </p:spPr>
        <p:txBody>
          <a:bodyPr>
            <a:noAutofit/>
          </a:bodyPr>
          <a:lstStyle>
            <a:lvl1pPr>
              <a:defRPr lang="en-US" sz="1400" b="0" i="0" kern="1200" noProof="0" dirty="0" smtClean="0">
                <a:solidFill>
                  <a:schemeClr val="tx1"/>
                </a:solidFill>
                <a:effectLst/>
                <a:latin typeface="+mj-lt"/>
                <a:ea typeface="+mn-ea"/>
                <a:cs typeface="+mn-cs"/>
              </a:defRPr>
            </a:lvl1pPr>
          </a:lstStyle>
          <a:p>
            <a:pPr marL="0" marR="0" lvl="0" indent="0" algn="l" defTabSz="782924" rtl="0" eaLnBrk="1" fontAlgn="base" latinLnBrk="0" hangingPunct="1">
              <a:lnSpc>
                <a:spcPct val="90000"/>
              </a:lnSpc>
              <a:spcBef>
                <a:spcPts val="0"/>
              </a:spcBef>
              <a:spcAft>
                <a:spcPts val="343"/>
              </a:spcAft>
              <a:buClr>
                <a:srgbClr val="B10034"/>
              </a:buClr>
              <a:buSzPct val="100000"/>
              <a:buFont typeface="Wingdings" pitchFamily="2" charset="2"/>
              <a:buNone/>
              <a:tabLst/>
            </a:pPr>
            <a:endParaRPr lang="en-US" dirty="0"/>
          </a:p>
        </p:txBody>
      </p:sp>
      <p:sp>
        <p:nvSpPr>
          <p:cNvPr id="18" name="Date Placeholder 17"/>
          <p:cNvSpPr>
            <a:spLocks noGrp="1"/>
          </p:cNvSpPr>
          <p:nvPr>
            <p:ph type="dt" sz="half" idx="24"/>
          </p:nvPr>
        </p:nvSpPr>
        <p:spPr>
          <a:xfrm>
            <a:off x="6559588" y="5082552"/>
            <a:ext cx="2133600" cy="93018"/>
          </a:xfrm>
          <a:prstGeom prst="rect">
            <a:avLst/>
          </a:prstGeom>
        </p:spPr>
        <p:txBody>
          <a:bodyPr/>
          <a:lstStyle>
            <a:lvl1pPr>
              <a:defRPr/>
            </a:lvl1pPr>
          </a:lstStyle>
          <a:p>
            <a:r>
              <a:rPr lang="en-US" dirty="0">
                <a:solidFill>
                  <a:srgbClr val="CED3D8">
                    <a:lumMod val="50000"/>
                  </a:srgbClr>
                </a:solidFill>
              </a:rPr>
              <a:t>© Capgemini Consulting 2017. All rights reserved.</a:t>
            </a:r>
            <a:endParaRPr lang="de-DE" dirty="0">
              <a:solidFill>
                <a:srgbClr val="CED3D8">
                  <a:lumMod val="50000"/>
                </a:srgbClr>
              </a:solidFill>
            </a:endParaRPr>
          </a:p>
        </p:txBody>
      </p:sp>
      <p:sp>
        <p:nvSpPr>
          <p:cNvPr id="19" name="Slide Number Placeholder 18"/>
          <p:cNvSpPr>
            <a:spLocks noGrp="1"/>
          </p:cNvSpPr>
          <p:nvPr>
            <p:ph type="sldNum" sz="quarter" idx="25"/>
          </p:nvPr>
        </p:nvSpPr>
        <p:spPr>
          <a:xfrm>
            <a:off x="8791537" y="5082552"/>
            <a:ext cx="299077" cy="93018"/>
          </a:xfrm>
          <a:prstGeom prst="rect">
            <a:avLst/>
          </a:prstGeom>
        </p:spPr>
        <p:txBody>
          <a:bodyPr/>
          <a:lstStyle>
            <a:lvl1pPr>
              <a:defRPr/>
            </a:lvl1pPr>
          </a:lstStyle>
          <a:p>
            <a:fld id="{856EEAF3-4C43-4DAF-AC23-4779633883E1}" type="slidenum">
              <a:rPr lang="de-DE" smtClean="0">
                <a:solidFill>
                  <a:srgbClr val="CED3D8">
                    <a:lumMod val="50000"/>
                  </a:srgbClr>
                </a:solidFill>
              </a:rPr>
              <a:pPr/>
              <a:t>‹#›</a:t>
            </a:fld>
            <a:endParaRPr lang="de-DE" dirty="0">
              <a:solidFill>
                <a:srgbClr val="CED3D8">
                  <a:lumMod val="50000"/>
                </a:srgbClr>
              </a:solidFill>
            </a:endParaRPr>
          </a:p>
        </p:txBody>
      </p:sp>
    </p:spTree>
    <p:extLst>
      <p:ext uri="{BB962C8B-B14F-4D97-AF65-F5344CB8AC3E}">
        <p14:creationId xmlns:p14="http://schemas.microsoft.com/office/powerpoint/2010/main" val="36776090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_left_text_right">
    <p:spTree>
      <p:nvGrpSpPr>
        <p:cNvPr id="1" name=""/>
        <p:cNvGrpSpPr/>
        <p:nvPr/>
      </p:nvGrpSpPr>
      <p:grpSpPr>
        <a:xfrm>
          <a:off x="0" y="0"/>
          <a:ext cx="0" cy="0"/>
          <a:chOff x="0" y="0"/>
          <a:chExt cx="0" cy="0"/>
        </a:xfrm>
      </p:grpSpPr>
      <p:sp>
        <p:nvSpPr>
          <p:cNvPr id="2" name="Title 1"/>
          <p:cNvSpPr>
            <a:spLocks noGrp="1"/>
          </p:cNvSpPr>
          <p:nvPr>
            <p:ph type="title"/>
          </p:nvPr>
        </p:nvSpPr>
        <p:spPr>
          <a:xfrm>
            <a:off x="184639" y="538880"/>
            <a:ext cx="8774723" cy="348012"/>
          </a:xfrm>
        </p:spPr>
        <p:txBody>
          <a:bodyPr/>
          <a:lstStyle>
            <a:lvl1pPr>
              <a:defRPr sz="2100"/>
            </a:lvl1pPr>
          </a:lstStyle>
          <a:p>
            <a:endParaRPr lang="de-DE" dirty="0"/>
          </a:p>
        </p:txBody>
      </p:sp>
      <p:sp>
        <p:nvSpPr>
          <p:cNvPr id="11" name="Text Placeholder 10"/>
          <p:cNvSpPr>
            <a:spLocks noGrp="1"/>
          </p:cNvSpPr>
          <p:nvPr>
            <p:ph type="body" sz="quarter" idx="14"/>
          </p:nvPr>
        </p:nvSpPr>
        <p:spPr>
          <a:xfrm>
            <a:off x="3175488" y="1183505"/>
            <a:ext cx="5783873" cy="1750934"/>
          </a:xfrm>
          <a:prstGeom prst="rect">
            <a:avLst/>
          </a:prstGeo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 Placeholder 11"/>
          <p:cNvSpPr>
            <a:spLocks noGrp="1"/>
          </p:cNvSpPr>
          <p:nvPr>
            <p:ph type="body" sz="quarter" idx="16"/>
          </p:nvPr>
        </p:nvSpPr>
        <p:spPr>
          <a:xfrm>
            <a:off x="3175489" y="3043406"/>
            <a:ext cx="5783873" cy="1750934"/>
          </a:xfrm>
          <a:prstGeom prst="rect">
            <a:avLst/>
          </a:prstGeo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6" name="Content Placeholder 15"/>
          <p:cNvSpPr>
            <a:spLocks noGrp="1"/>
          </p:cNvSpPr>
          <p:nvPr>
            <p:ph sz="quarter" idx="21" hasCustomPrompt="1"/>
          </p:nvPr>
        </p:nvSpPr>
        <p:spPr>
          <a:xfrm>
            <a:off x="252048" y="1183505"/>
            <a:ext cx="2858242" cy="1750934"/>
          </a:xfrm>
          <a:prstGeom prst="rect">
            <a:avLst/>
          </a:prstGeom>
        </p:spPr>
        <p:txBody>
          <a:bodyPr/>
          <a:lstStyle/>
          <a:p>
            <a:pPr lvl="0"/>
            <a:r>
              <a:rPr lang="en-US" dirty="0"/>
              <a:t>Click to insert a table, chart, picture etc.</a:t>
            </a:r>
          </a:p>
        </p:txBody>
      </p:sp>
      <p:sp>
        <p:nvSpPr>
          <p:cNvPr id="20" name="Content Placeholder 19"/>
          <p:cNvSpPr>
            <a:spLocks noGrp="1"/>
          </p:cNvSpPr>
          <p:nvPr>
            <p:ph sz="quarter" idx="22" hasCustomPrompt="1"/>
          </p:nvPr>
        </p:nvSpPr>
        <p:spPr>
          <a:xfrm>
            <a:off x="252046" y="3043406"/>
            <a:ext cx="2857597" cy="1750934"/>
          </a:xfrm>
          <a:prstGeom prst="rect">
            <a:avLst/>
          </a:prstGeom>
        </p:spPr>
        <p:txBody>
          <a:bodyPr/>
          <a:lstStyle/>
          <a:p>
            <a:pPr lvl="0"/>
            <a:r>
              <a:rPr lang="en-US" dirty="0"/>
              <a:t>Click to insert a table, chart, picture etc.</a:t>
            </a:r>
          </a:p>
        </p:txBody>
      </p:sp>
      <p:sp>
        <p:nvSpPr>
          <p:cNvPr id="17" name="Text Placeholder 16"/>
          <p:cNvSpPr>
            <a:spLocks noGrp="1"/>
          </p:cNvSpPr>
          <p:nvPr>
            <p:ph type="body" sz="quarter" idx="26"/>
          </p:nvPr>
        </p:nvSpPr>
        <p:spPr>
          <a:xfrm>
            <a:off x="184931" y="854705"/>
            <a:ext cx="8774432" cy="217522"/>
          </a:xfrm>
        </p:spPr>
        <p:txBody>
          <a:bodyPr>
            <a:noAutofit/>
          </a:bodyPr>
          <a:lstStyle>
            <a:lvl1pPr>
              <a:defRPr lang="en-US" sz="1400" b="0" i="0" kern="1200" noProof="0" dirty="0" smtClean="0">
                <a:solidFill>
                  <a:schemeClr val="tx1"/>
                </a:solidFill>
                <a:effectLst/>
                <a:latin typeface="+mj-lt"/>
                <a:ea typeface="+mn-ea"/>
                <a:cs typeface="+mn-cs"/>
              </a:defRPr>
            </a:lvl1pPr>
          </a:lstStyle>
          <a:p>
            <a:pPr marL="0" marR="0" lvl="0" indent="0" algn="l" defTabSz="782924" rtl="0" eaLnBrk="1" fontAlgn="base" latinLnBrk="0" hangingPunct="1">
              <a:lnSpc>
                <a:spcPct val="90000"/>
              </a:lnSpc>
              <a:spcBef>
                <a:spcPts val="0"/>
              </a:spcBef>
              <a:spcAft>
                <a:spcPts val="343"/>
              </a:spcAft>
              <a:buClr>
                <a:srgbClr val="B10034"/>
              </a:buClr>
              <a:buSzPct val="100000"/>
              <a:buFont typeface="Wingdings" pitchFamily="2" charset="2"/>
              <a:buNone/>
              <a:tabLst/>
            </a:pPr>
            <a:endParaRPr lang="de-DE" dirty="0"/>
          </a:p>
        </p:txBody>
      </p:sp>
      <p:sp>
        <p:nvSpPr>
          <p:cNvPr id="22" name="Date Placeholder 21"/>
          <p:cNvSpPr>
            <a:spLocks noGrp="1"/>
          </p:cNvSpPr>
          <p:nvPr>
            <p:ph type="dt" sz="half" idx="27"/>
          </p:nvPr>
        </p:nvSpPr>
        <p:spPr>
          <a:xfrm>
            <a:off x="6559588" y="5082552"/>
            <a:ext cx="2133600" cy="93018"/>
          </a:xfrm>
          <a:prstGeom prst="rect">
            <a:avLst/>
          </a:prstGeom>
        </p:spPr>
        <p:txBody>
          <a:bodyPr/>
          <a:lstStyle>
            <a:lvl1pPr>
              <a:defRPr/>
            </a:lvl1pPr>
          </a:lstStyle>
          <a:p>
            <a:r>
              <a:rPr lang="en-US" dirty="0">
                <a:solidFill>
                  <a:srgbClr val="CED3D8">
                    <a:lumMod val="50000"/>
                  </a:srgbClr>
                </a:solidFill>
              </a:rPr>
              <a:t>© Capgemini Consulting 2017. All rights reserved.</a:t>
            </a:r>
            <a:endParaRPr lang="de-DE" dirty="0">
              <a:solidFill>
                <a:srgbClr val="CED3D8">
                  <a:lumMod val="50000"/>
                </a:srgbClr>
              </a:solidFill>
            </a:endParaRPr>
          </a:p>
        </p:txBody>
      </p:sp>
      <p:sp>
        <p:nvSpPr>
          <p:cNvPr id="23" name="Slide Number Placeholder 22"/>
          <p:cNvSpPr>
            <a:spLocks noGrp="1"/>
          </p:cNvSpPr>
          <p:nvPr>
            <p:ph type="sldNum" sz="quarter" idx="28"/>
          </p:nvPr>
        </p:nvSpPr>
        <p:spPr>
          <a:xfrm>
            <a:off x="8791537" y="5082552"/>
            <a:ext cx="299077" cy="93018"/>
          </a:xfrm>
          <a:prstGeom prst="rect">
            <a:avLst/>
          </a:prstGeom>
        </p:spPr>
        <p:txBody>
          <a:bodyPr/>
          <a:lstStyle>
            <a:lvl1pPr>
              <a:defRPr/>
            </a:lvl1pPr>
          </a:lstStyle>
          <a:p>
            <a:fld id="{856EEAF3-4C43-4DAF-AC23-4779633883E1}" type="slidenum">
              <a:rPr lang="de-DE" smtClean="0">
                <a:solidFill>
                  <a:srgbClr val="CED3D8">
                    <a:lumMod val="50000"/>
                  </a:srgbClr>
                </a:solidFill>
              </a:rPr>
              <a:pPr/>
              <a:t>‹#›</a:t>
            </a:fld>
            <a:endParaRPr lang="de-DE" dirty="0">
              <a:solidFill>
                <a:srgbClr val="CED3D8">
                  <a:lumMod val="50000"/>
                </a:srgbClr>
              </a:solidFill>
            </a:endParaRPr>
          </a:p>
        </p:txBody>
      </p:sp>
    </p:spTree>
    <p:extLst>
      <p:ext uri="{BB962C8B-B14F-4D97-AF65-F5344CB8AC3E}">
        <p14:creationId xmlns:p14="http://schemas.microsoft.com/office/powerpoint/2010/main" val="42777904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_right_text_left">
    <p:spTree>
      <p:nvGrpSpPr>
        <p:cNvPr id="1" name=""/>
        <p:cNvGrpSpPr/>
        <p:nvPr/>
      </p:nvGrpSpPr>
      <p:grpSpPr>
        <a:xfrm>
          <a:off x="0" y="0"/>
          <a:ext cx="0" cy="0"/>
          <a:chOff x="0" y="0"/>
          <a:chExt cx="0" cy="0"/>
        </a:xfrm>
      </p:grpSpPr>
      <p:sp>
        <p:nvSpPr>
          <p:cNvPr id="2" name="Title 1"/>
          <p:cNvSpPr>
            <a:spLocks noGrp="1"/>
          </p:cNvSpPr>
          <p:nvPr>
            <p:ph type="title"/>
          </p:nvPr>
        </p:nvSpPr>
        <p:spPr>
          <a:xfrm>
            <a:off x="184639" y="538880"/>
            <a:ext cx="8774723" cy="348012"/>
          </a:xfrm>
        </p:spPr>
        <p:txBody>
          <a:bodyPr/>
          <a:lstStyle>
            <a:lvl1pPr>
              <a:defRPr sz="2100"/>
            </a:lvl1pPr>
          </a:lstStyle>
          <a:p>
            <a:r>
              <a:rPr lang="de-DE"/>
              <a:t>Titelmasterformat durch Klicken bearbeiten</a:t>
            </a:r>
          </a:p>
        </p:txBody>
      </p:sp>
      <p:sp>
        <p:nvSpPr>
          <p:cNvPr id="11" name="Text Placeholder 10"/>
          <p:cNvSpPr>
            <a:spLocks noGrp="1"/>
          </p:cNvSpPr>
          <p:nvPr>
            <p:ph type="body" sz="quarter" idx="14"/>
          </p:nvPr>
        </p:nvSpPr>
        <p:spPr>
          <a:xfrm>
            <a:off x="184638" y="1183505"/>
            <a:ext cx="5783873" cy="1750934"/>
          </a:xfrm>
          <a:prstGeom prst="rect">
            <a:avLst/>
          </a:prstGeo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 Placeholder 11"/>
          <p:cNvSpPr>
            <a:spLocks noGrp="1"/>
          </p:cNvSpPr>
          <p:nvPr>
            <p:ph type="body" sz="quarter" idx="16"/>
          </p:nvPr>
        </p:nvSpPr>
        <p:spPr>
          <a:xfrm>
            <a:off x="184638" y="3043406"/>
            <a:ext cx="5783873" cy="1750934"/>
          </a:xfrm>
          <a:prstGeom prst="rect">
            <a:avLst/>
          </a:prstGeo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16" name="Content Placeholder 15"/>
          <p:cNvSpPr>
            <a:spLocks noGrp="1"/>
          </p:cNvSpPr>
          <p:nvPr>
            <p:ph sz="quarter" idx="21" hasCustomPrompt="1"/>
          </p:nvPr>
        </p:nvSpPr>
        <p:spPr>
          <a:xfrm>
            <a:off x="6032989" y="1183505"/>
            <a:ext cx="2858242" cy="1750934"/>
          </a:xfrm>
          <a:prstGeom prst="rect">
            <a:avLst/>
          </a:prstGeom>
        </p:spPr>
        <p:txBody>
          <a:bodyPr/>
          <a:lstStyle/>
          <a:p>
            <a:pPr lvl="0"/>
            <a:r>
              <a:rPr lang="en-US" dirty="0"/>
              <a:t>Click to insert a table, chart, picture etc.</a:t>
            </a:r>
          </a:p>
        </p:txBody>
      </p:sp>
      <p:sp>
        <p:nvSpPr>
          <p:cNvPr id="18" name="Content Placeholder 17"/>
          <p:cNvSpPr>
            <a:spLocks noGrp="1"/>
          </p:cNvSpPr>
          <p:nvPr>
            <p:ph sz="quarter" idx="22" hasCustomPrompt="1"/>
          </p:nvPr>
        </p:nvSpPr>
        <p:spPr>
          <a:xfrm>
            <a:off x="6032989" y="3043406"/>
            <a:ext cx="2858242" cy="1750934"/>
          </a:xfrm>
          <a:prstGeom prst="rect">
            <a:avLst/>
          </a:prstGeom>
        </p:spPr>
        <p:txBody>
          <a:bodyPr/>
          <a:lstStyle/>
          <a:p>
            <a:pPr lvl="0"/>
            <a:r>
              <a:rPr lang="en-US" dirty="0"/>
              <a:t>Click to insert a table, chart, picture etc.</a:t>
            </a:r>
          </a:p>
        </p:txBody>
      </p:sp>
      <p:sp>
        <p:nvSpPr>
          <p:cNvPr id="17" name="Text Placeholder 16"/>
          <p:cNvSpPr>
            <a:spLocks noGrp="1"/>
          </p:cNvSpPr>
          <p:nvPr>
            <p:ph type="body" sz="quarter" idx="26"/>
          </p:nvPr>
        </p:nvSpPr>
        <p:spPr>
          <a:xfrm>
            <a:off x="184931" y="854705"/>
            <a:ext cx="8774432" cy="217522"/>
          </a:xfrm>
        </p:spPr>
        <p:txBody>
          <a:bodyPr>
            <a:noAutofit/>
          </a:bodyPr>
          <a:lstStyle>
            <a:lvl1pPr>
              <a:defRPr lang="en-US" sz="1400" b="0" i="0" kern="1200" noProof="0" dirty="0" smtClean="0">
                <a:solidFill>
                  <a:schemeClr val="tx1"/>
                </a:solidFill>
                <a:effectLst/>
                <a:latin typeface="+mj-lt"/>
                <a:ea typeface="+mn-ea"/>
                <a:cs typeface="+mn-cs"/>
              </a:defRPr>
            </a:lvl1pPr>
          </a:lstStyle>
          <a:p>
            <a:pPr marL="0" marR="0" lvl="0" indent="0" algn="l" defTabSz="782924" rtl="0" eaLnBrk="1" fontAlgn="base" latinLnBrk="0" hangingPunct="1">
              <a:lnSpc>
                <a:spcPct val="90000"/>
              </a:lnSpc>
              <a:spcBef>
                <a:spcPts val="0"/>
              </a:spcBef>
              <a:spcAft>
                <a:spcPts val="343"/>
              </a:spcAft>
              <a:buClr>
                <a:srgbClr val="B10034"/>
              </a:buClr>
              <a:buSzPct val="100000"/>
              <a:buFont typeface="Wingdings" pitchFamily="2" charset="2"/>
              <a:buNone/>
              <a:tabLst/>
            </a:pPr>
            <a:r>
              <a:rPr lang="de-DE" dirty="0"/>
              <a:t>Textmasterformate durch Klicken bearbeiten</a:t>
            </a:r>
          </a:p>
        </p:txBody>
      </p:sp>
      <p:sp>
        <p:nvSpPr>
          <p:cNvPr id="22" name="Date Placeholder 21"/>
          <p:cNvSpPr>
            <a:spLocks noGrp="1"/>
          </p:cNvSpPr>
          <p:nvPr>
            <p:ph type="dt" sz="half" idx="27"/>
          </p:nvPr>
        </p:nvSpPr>
        <p:spPr>
          <a:xfrm>
            <a:off x="6559588" y="5082552"/>
            <a:ext cx="2133600" cy="93018"/>
          </a:xfrm>
          <a:prstGeom prst="rect">
            <a:avLst/>
          </a:prstGeom>
        </p:spPr>
        <p:txBody>
          <a:bodyPr/>
          <a:lstStyle>
            <a:lvl1pPr>
              <a:defRPr/>
            </a:lvl1pPr>
          </a:lstStyle>
          <a:p>
            <a:r>
              <a:rPr lang="en-US" dirty="0">
                <a:solidFill>
                  <a:srgbClr val="CED3D8">
                    <a:lumMod val="50000"/>
                  </a:srgbClr>
                </a:solidFill>
              </a:rPr>
              <a:t>© Capgemini Consulting 2017. All rights reserved.</a:t>
            </a:r>
            <a:endParaRPr lang="de-DE" dirty="0">
              <a:solidFill>
                <a:srgbClr val="CED3D8">
                  <a:lumMod val="50000"/>
                </a:srgbClr>
              </a:solidFill>
            </a:endParaRPr>
          </a:p>
        </p:txBody>
      </p:sp>
      <p:sp>
        <p:nvSpPr>
          <p:cNvPr id="23" name="Slide Number Placeholder 22"/>
          <p:cNvSpPr>
            <a:spLocks noGrp="1"/>
          </p:cNvSpPr>
          <p:nvPr>
            <p:ph type="sldNum" sz="quarter" idx="28"/>
          </p:nvPr>
        </p:nvSpPr>
        <p:spPr>
          <a:xfrm>
            <a:off x="8791537" y="5082552"/>
            <a:ext cx="299077" cy="93018"/>
          </a:xfrm>
          <a:prstGeom prst="rect">
            <a:avLst/>
          </a:prstGeom>
        </p:spPr>
        <p:txBody>
          <a:bodyPr/>
          <a:lstStyle>
            <a:lvl1pPr>
              <a:defRPr/>
            </a:lvl1pPr>
          </a:lstStyle>
          <a:p>
            <a:fld id="{856EEAF3-4C43-4DAF-AC23-4779633883E1}" type="slidenum">
              <a:rPr lang="de-DE" smtClean="0">
                <a:solidFill>
                  <a:srgbClr val="CED3D8">
                    <a:lumMod val="50000"/>
                  </a:srgbClr>
                </a:solidFill>
              </a:rPr>
              <a:pPr/>
              <a:t>‹#›</a:t>
            </a:fld>
            <a:endParaRPr lang="de-DE" dirty="0">
              <a:solidFill>
                <a:srgbClr val="CED3D8">
                  <a:lumMod val="50000"/>
                </a:srgbClr>
              </a:solidFill>
            </a:endParaRPr>
          </a:p>
        </p:txBody>
      </p:sp>
    </p:spTree>
    <p:extLst>
      <p:ext uri="{BB962C8B-B14F-4D97-AF65-F5344CB8AC3E}">
        <p14:creationId xmlns:p14="http://schemas.microsoft.com/office/powerpoint/2010/main" val="37002634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s_portrait_size">
    <p:spTree>
      <p:nvGrpSpPr>
        <p:cNvPr id="1" name=""/>
        <p:cNvGrpSpPr/>
        <p:nvPr/>
      </p:nvGrpSpPr>
      <p:grpSpPr>
        <a:xfrm>
          <a:off x="0" y="0"/>
          <a:ext cx="0" cy="0"/>
          <a:chOff x="0" y="0"/>
          <a:chExt cx="0" cy="0"/>
        </a:xfrm>
      </p:grpSpPr>
      <p:sp>
        <p:nvSpPr>
          <p:cNvPr id="2" name="Title 1"/>
          <p:cNvSpPr>
            <a:spLocks noGrp="1"/>
          </p:cNvSpPr>
          <p:nvPr>
            <p:ph type="title"/>
          </p:nvPr>
        </p:nvSpPr>
        <p:spPr>
          <a:xfrm>
            <a:off x="184639" y="538880"/>
            <a:ext cx="8774723" cy="348012"/>
          </a:xfrm>
        </p:spPr>
        <p:txBody>
          <a:bodyPr/>
          <a:lstStyle>
            <a:lvl1pPr>
              <a:defRPr sz="2100"/>
            </a:lvl1pPr>
          </a:lstStyle>
          <a:p>
            <a:r>
              <a:rPr lang="de-DE"/>
              <a:t>Titelmasterformat durch Klicken bearbeiten</a:t>
            </a:r>
            <a:endParaRPr lang="de-DE" dirty="0"/>
          </a:p>
        </p:txBody>
      </p:sp>
      <p:sp>
        <p:nvSpPr>
          <p:cNvPr id="7" name="Picture Placeholder 6"/>
          <p:cNvSpPr>
            <a:spLocks noGrp="1"/>
          </p:cNvSpPr>
          <p:nvPr>
            <p:ph type="pic" sz="quarter" idx="13"/>
          </p:nvPr>
        </p:nvSpPr>
        <p:spPr>
          <a:xfrm>
            <a:off x="634709" y="1347223"/>
            <a:ext cx="697845" cy="766138"/>
          </a:xfrm>
          <a:prstGeom prst="rect">
            <a:avLst/>
          </a:prstGeom>
          <a:ln>
            <a:solidFill>
              <a:schemeClr val="accent5"/>
            </a:solidFill>
          </a:ln>
          <a:effectLst/>
        </p:spPr>
        <p:txBody>
          <a:bodyPr>
            <a:normAutofit/>
          </a:bodyPr>
          <a:lstStyle>
            <a:lvl1pPr>
              <a:defRPr sz="900"/>
            </a:lvl1pPr>
          </a:lstStyle>
          <a:p>
            <a:r>
              <a:rPr lang="de-DE"/>
              <a:t>Bild durch Klicken auf Symbol hinzufügen</a:t>
            </a:r>
          </a:p>
        </p:txBody>
      </p:sp>
      <p:sp>
        <p:nvSpPr>
          <p:cNvPr id="9" name="Picture Placeholder 8"/>
          <p:cNvSpPr>
            <a:spLocks noGrp="1"/>
          </p:cNvSpPr>
          <p:nvPr>
            <p:ph type="pic" sz="quarter" idx="15"/>
          </p:nvPr>
        </p:nvSpPr>
        <p:spPr>
          <a:xfrm>
            <a:off x="2067620" y="1347223"/>
            <a:ext cx="697845" cy="766138"/>
          </a:xfrm>
          <a:prstGeom prst="rect">
            <a:avLst/>
          </a:prstGeom>
          <a:ln>
            <a:solidFill>
              <a:schemeClr val="accent5"/>
            </a:solidFill>
          </a:ln>
          <a:effectLst/>
        </p:spPr>
        <p:txBody>
          <a:bodyPr>
            <a:normAutofit/>
          </a:bodyPr>
          <a:lstStyle>
            <a:lvl1pPr>
              <a:defRPr sz="900"/>
            </a:lvl1pPr>
          </a:lstStyle>
          <a:p>
            <a:r>
              <a:rPr lang="de-DE"/>
              <a:t>Bild durch Klicken auf Symbol hinzufügen</a:t>
            </a:r>
          </a:p>
        </p:txBody>
      </p:sp>
      <p:sp>
        <p:nvSpPr>
          <p:cNvPr id="15" name="Picture Placeholder 14"/>
          <p:cNvSpPr>
            <a:spLocks noGrp="1"/>
          </p:cNvSpPr>
          <p:nvPr>
            <p:ph type="pic" sz="quarter" idx="18"/>
          </p:nvPr>
        </p:nvSpPr>
        <p:spPr>
          <a:xfrm>
            <a:off x="3500531" y="1347223"/>
            <a:ext cx="697845" cy="766138"/>
          </a:xfrm>
          <a:prstGeom prst="rect">
            <a:avLst/>
          </a:prstGeom>
          <a:ln>
            <a:solidFill>
              <a:schemeClr val="accent5"/>
            </a:solidFill>
          </a:ln>
          <a:effectLst/>
        </p:spPr>
        <p:txBody>
          <a:bodyPr>
            <a:normAutofit/>
          </a:bodyPr>
          <a:lstStyle>
            <a:lvl1pPr>
              <a:defRPr sz="900"/>
            </a:lvl1pPr>
          </a:lstStyle>
          <a:p>
            <a:r>
              <a:rPr lang="de-DE"/>
              <a:t>Bild durch Klicken auf Symbol hinzufügen</a:t>
            </a:r>
          </a:p>
        </p:txBody>
      </p:sp>
      <p:sp>
        <p:nvSpPr>
          <p:cNvPr id="17" name="Picture Placeholder 16"/>
          <p:cNvSpPr>
            <a:spLocks noGrp="1"/>
          </p:cNvSpPr>
          <p:nvPr>
            <p:ph type="pic" sz="quarter" idx="19"/>
          </p:nvPr>
        </p:nvSpPr>
        <p:spPr>
          <a:xfrm>
            <a:off x="4933442" y="1347223"/>
            <a:ext cx="697845" cy="766138"/>
          </a:xfrm>
          <a:prstGeom prst="rect">
            <a:avLst/>
          </a:prstGeom>
          <a:ln>
            <a:solidFill>
              <a:schemeClr val="accent5"/>
            </a:solidFill>
          </a:ln>
          <a:effectLst/>
        </p:spPr>
        <p:txBody>
          <a:bodyPr>
            <a:normAutofit/>
          </a:bodyPr>
          <a:lstStyle>
            <a:lvl1pPr>
              <a:defRPr sz="900"/>
            </a:lvl1pPr>
          </a:lstStyle>
          <a:p>
            <a:r>
              <a:rPr lang="de-DE"/>
              <a:t>Bild durch Klicken auf Symbol hinzufügen</a:t>
            </a:r>
          </a:p>
        </p:txBody>
      </p:sp>
      <p:sp>
        <p:nvSpPr>
          <p:cNvPr id="19" name="Picture Placeholder 18"/>
          <p:cNvSpPr>
            <a:spLocks noGrp="1"/>
          </p:cNvSpPr>
          <p:nvPr>
            <p:ph type="pic" sz="quarter" idx="20"/>
          </p:nvPr>
        </p:nvSpPr>
        <p:spPr>
          <a:xfrm>
            <a:off x="6366352" y="1347223"/>
            <a:ext cx="697845" cy="766138"/>
          </a:xfrm>
          <a:prstGeom prst="rect">
            <a:avLst/>
          </a:prstGeom>
          <a:ln>
            <a:solidFill>
              <a:schemeClr val="accent5"/>
            </a:solidFill>
          </a:ln>
          <a:effectLst/>
        </p:spPr>
        <p:txBody>
          <a:bodyPr>
            <a:normAutofit/>
          </a:bodyPr>
          <a:lstStyle>
            <a:lvl1pPr>
              <a:defRPr sz="900"/>
            </a:lvl1pPr>
          </a:lstStyle>
          <a:p>
            <a:r>
              <a:rPr lang="de-DE"/>
              <a:t>Bild durch Klicken auf Symbol hinzufügen</a:t>
            </a:r>
          </a:p>
        </p:txBody>
      </p:sp>
      <p:sp>
        <p:nvSpPr>
          <p:cNvPr id="21" name="Picture Placeholder 20"/>
          <p:cNvSpPr>
            <a:spLocks noGrp="1"/>
          </p:cNvSpPr>
          <p:nvPr>
            <p:ph type="pic" sz="quarter" idx="21"/>
          </p:nvPr>
        </p:nvSpPr>
        <p:spPr>
          <a:xfrm>
            <a:off x="7799263" y="1347223"/>
            <a:ext cx="697845" cy="766138"/>
          </a:xfrm>
          <a:prstGeom prst="rect">
            <a:avLst/>
          </a:prstGeom>
          <a:ln>
            <a:solidFill>
              <a:schemeClr val="accent5"/>
            </a:solidFill>
          </a:ln>
          <a:effectLst/>
        </p:spPr>
        <p:txBody>
          <a:bodyPr>
            <a:normAutofit/>
          </a:bodyPr>
          <a:lstStyle>
            <a:lvl1pPr>
              <a:defRPr sz="900"/>
            </a:lvl1pPr>
          </a:lstStyle>
          <a:p>
            <a:r>
              <a:rPr lang="de-DE"/>
              <a:t>Bild durch Klicken auf Symbol hinzufügen</a:t>
            </a:r>
          </a:p>
        </p:txBody>
      </p:sp>
      <p:sp>
        <p:nvSpPr>
          <p:cNvPr id="23" name="Picture Placeholder 22"/>
          <p:cNvSpPr>
            <a:spLocks noGrp="1"/>
          </p:cNvSpPr>
          <p:nvPr>
            <p:ph type="pic" sz="quarter" idx="22"/>
          </p:nvPr>
        </p:nvSpPr>
        <p:spPr>
          <a:xfrm>
            <a:off x="634709" y="2551124"/>
            <a:ext cx="697845" cy="766138"/>
          </a:xfrm>
          <a:prstGeom prst="rect">
            <a:avLst/>
          </a:prstGeom>
          <a:ln>
            <a:solidFill>
              <a:schemeClr val="accent5"/>
            </a:solidFill>
          </a:ln>
          <a:effectLst/>
        </p:spPr>
        <p:txBody>
          <a:bodyPr>
            <a:normAutofit/>
          </a:bodyPr>
          <a:lstStyle>
            <a:lvl1pPr>
              <a:defRPr sz="900"/>
            </a:lvl1pPr>
          </a:lstStyle>
          <a:p>
            <a:r>
              <a:rPr lang="de-DE"/>
              <a:t>Bild durch Klicken auf Symbol hinzufügen</a:t>
            </a:r>
          </a:p>
        </p:txBody>
      </p:sp>
      <p:sp>
        <p:nvSpPr>
          <p:cNvPr id="25" name="Picture Placeholder 24"/>
          <p:cNvSpPr>
            <a:spLocks noGrp="1"/>
          </p:cNvSpPr>
          <p:nvPr>
            <p:ph type="pic" sz="quarter" idx="23"/>
          </p:nvPr>
        </p:nvSpPr>
        <p:spPr>
          <a:xfrm>
            <a:off x="2067620" y="2551124"/>
            <a:ext cx="697845" cy="766138"/>
          </a:xfrm>
          <a:prstGeom prst="rect">
            <a:avLst/>
          </a:prstGeom>
          <a:ln>
            <a:solidFill>
              <a:schemeClr val="accent5"/>
            </a:solidFill>
          </a:ln>
          <a:effectLst/>
        </p:spPr>
        <p:txBody>
          <a:bodyPr>
            <a:normAutofit/>
          </a:bodyPr>
          <a:lstStyle>
            <a:lvl1pPr>
              <a:defRPr sz="900"/>
            </a:lvl1pPr>
          </a:lstStyle>
          <a:p>
            <a:r>
              <a:rPr lang="de-DE"/>
              <a:t>Bild durch Klicken auf Symbol hinzufügen</a:t>
            </a:r>
          </a:p>
        </p:txBody>
      </p:sp>
      <p:sp>
        <p:nvSpPr>
          <p:cNvPr id="27" name="Picture Placeholder 26"/>
          <p:cNvSpPr>
            <a:spLocks noGrp="1"/>
          </p:cNvSpPr>
          <p:nvPr>
            <p:ph type="pic" sz="quarter" idx="24"/>
          </p:nvPr>
        </p:nvSpPr>
        <p:spPr>
          <a:xfrm>
            <a:off x="3500531" y="2551124"/>
            <a:ext cx="697845" cy="766138"/>
          </a:xfrm>
          <a:prstGeom prst="rect">
            <a:avLst/>
          </a:prstGeom>
          <a:ln>
            <a:solidFill>
              <a:schemeClr val="accent5"/>
            </a:solidFill>
          </a:ln>
          <a:effectLst/>
        </p:spPr>
        <p:txBody>
          <a:bodyPr>
            <a:normAutofit/>
          </a:bodyPr>
          <a:lstStyle>
            <a:lvl1pPr>
              <a:defRPr sz="900"/>
            </a:lvl1pPr>
          </a:lstStyle>
          <a:p>
            <a:r>
              <a:rPr lang="de-DE"/>
              <a:t>Bild durch Klicken auf Symbol hinzufügen</a:t>
            </a:r>
          </a:p>
        </p:txBody>
      </p:sp>
      <p:sp>
        <p:nvSpPr>
          <p:cNvPr id="29" name="Picture Placeholder 28"/>
          <p:cNvSpPr>
            <a:spLocks noGrp="1"/>
          </p:cNvSpPr>
          <p:nvPr>
            <p:ph type="pic" sz="quarter" idx="25"/>
          </p:nvPr>
        </p:nvSpPr>
        <p:spPr>
          <a:xfrm>
            <a:off x="4933442" y="2551124"/>
            <a:ext cx="697845" cy="766138"/>
          </a:xfrm>
          <a:prstGeom prst="rect">
            <a:avLst/>
          </a:prstGeom>
          <a:ln>
            <a:solidFill>
              <a:schemeClr val="accent5"/>
            </a:solidFill>
          </a:ln>
          <a:effectLst/>
        </p:spPr>
        <p:txBody>
          <a:bodyPr>
            <a:normAutofit/>
          </a:bodyPr>
          <a:lstStyle>
            <a:lvl1pPr>
              <a:defRPr sz="900"/>
            </a:lvl1pPr>
          </a:lstStyle>
          <a:p>
            <a:r>
              <a:rPr lang="de-DE"/>
              <a:t>Bild durch Klicken auf Symbol hinzufügen</a:t>
            </a:r>
          </a:p>
        </p:txBody>
      </p:sp>
      <p:sp>
        <p:nvSpPr>
          <p:cNvPr id="31" name="Picture Placeholder 30"/>
          <p:cNvSpPr>
            <a:spLocks noGrp="1"/>
          </p:cNvSpPr>
          <p:nvPr>
            <p:ph type="pic" sz="quarter" idx="26"/>
          </p:nvPr>
        </p:nvSpPr>
        <p:spPr>
          <a:xfrm>
            <a:off x="6366352" y="2551124"/>
            <a:ext cx="697845" cy="766138"/>
          </a:xfrm>
          <a:prstGeom prst="rect">
            <a:avLst/>
          </a:prstGeom>
          <a:ln>
            <a:solidFill>
              <a:schemeClr val="accent5"/>
            </a:solidFill>
          </a:ln>
          <a:effectLst/>
        </p:spPr>
        <p:txBody>
          <a:bodyPr>
            <a:normAutofit/>
          </a:bodyPr>
          <a:lstStyle>
            <a:lvl1pPr>
              <a:defRPr sz="900"/>
            </a:lvl1pPr>
          </a:lstStyle>
          <a:p>
            <a:r>
              <a:rPr lang="de-DE"/>
              <a:t>Bild durch Klicken auf Symbol hinzufügen</a:t>
            </a:r>
          </a:p>
        </p:txBody>
      </p:sp>
      <p:sp>
        <p:nvSpPr>
          <p:cNvPr id="33" name="Picture Placeholder 32"/>
          <p:cNvSpPr>
            <a:spLocks noGrp="1"/>
          </p:cNvSpPr>
          <p:nvPr>
            <p:ph type="pic" sz="quarter" idx="27"/>
          </p:nvPr>
        </p:nvSpPr>
        <p:spPr>
          <a:xfrm>
            <a:off x="7799263" y="2551124"/>
            <a:ext cx="697845" cy="766138"/>
          </a:xfrm>
          <a:prstGeom prst="rect">
            <a:avLst/>
          </a:prstGeom>
          <a:ln>
            <a:solidFill>
              <a:schemeClr val="accent5"/>
            </a:solidFill>
          </a:ln>
          <a:effectLst/>
        </p:spPr>
        <p:txBody>
          <a:bodyPr>
            <a:normAutofit/>
          </a:bodyPr>
          <a:lstStyle>
            <a:lvl1pPr>
              <a:defRPr sz="900"/>
            </a:lvl1pPr>
          </a:lstStyle>
          <a:p>
            <a:r>
              <a:rPr lang="de-DE"/>
              <a:t>Bild durch Klicken auf Symbol hinzufügen</a:t>
            </a:r>
          </a:p>
        </p:txBody>
      </p:sp>
      <p:sp>
        <p:nvSpPr>
          <p:cNvPr id="35" name="Picture Placeholder 34"/>
          <p:cNvSpPr>
            <a:spLocks noGrp="1"/>
          </p:cNvSpPr>
          <p:nvPr>
            <p:ph type="pic" sz="quarter" idx="28"/>
          </p:nvPr>
        </p:nvSpPr>
        <p:spPr>
          <a:xfrm>
            <a:off x="634709" y="3755024"/>
            <a:ext cx="697845" cy="766138"/>
          </a:xfrm>
          <a:prstGeom prst="rect">
            <a:avLst/>
          </a:prstGeom>
          <a:ln>
            <a:solidFill>
              <a:schemeClr val="accent5"/>
            </a:solidFill>
          </a:ln>
          <a:effectLst/>
        </p:spPr>
        <p:txBody>
          <a:bodyPr>
            <a:normAutofit/>
          </a:bodyPr>
          <a:lstStyle>
            <a:lvl1pPr>
              <a:defRPr sz="900"/>
            </a:lvl1pPr>
          </a:lstStyle>
          <a:p>
            <a:r>
              <a:rPr lang="de-DE"/>
              <a:t>Bild durch Klicken auf Symbol hinzufügen</a:t>
            </a:r>
          </a:p>
        </p:txBody>
      </p:sp>
      <p:sp>
        <p:nvSpPr>
          <p:cNvPr id="37" name="Picture Placeholder 36"/>
          <p:cNvSpPr>
            <a:spLocks noGrp="1"/>
          </p:cNvSpPr>
          <p:nvPr>
            <p:ph type="pic" sz="quarter" idx="29"/>
          </p:nvPr>
        </p:nvSpPr>
        <p:spPr>
          <a:xfrm>
            <a:off x="2067620" y="3755024"/>
            <a:ext cx="697845" cy="766138"/>
          </a:xfrm>
          <a:prstGeom prst="rect">
            <a:avLst/>
          </a:prstGeom>
          <a:ln>
            <a:solidFill>
              <a:schemeClr val="accent5"/>
            </a:solidFill>
          </a:ln>
          <a:effectLst/>
        </p:spPr>
        <p:txBody>
          <a:bodyPr>
            <a:normAutofit/>
          </a:bodyPr>
          <a:lstStyle>
            <a:lvl1pPr>
              <a:defRPr sz="900"/>
            </a:lvl1pPr>
          </a:lstStyle>
          <a:p>
            <a:r>
              <a:rPr lang="de-DE"/>
              <a:t>Bild durch Klicken auf Symbol hinzufügen</a:t>
            </a:r>
          </a:p>
        </p:txBody>
      </p:sp>
      <p:sp>
        <p:nvSpPr>
          <p:cNvPr id="39" name="Picture Placeholder 38"/>
          <p:cNvSpPr>
            <a:spLocks noGrp="1"/>
          </p:cNvSpPr>
          <p:nvPr>
            <p:ph type="pic" sz="quarter" idx="30"/>
          </p:nvPr>
        </p:nvSpPr>
        <p:spPr>
          <a:xfrm>
            <a:off x="3500531" y="3755024"/>
            <a:ext cx="697845" cy="766138"/>
          </a:xfrm>
          <a:prstGeom prst="rect">
            <a:avLst/>
          </a:prstGeom>
          <a:ln>
            <a:solidFill>
              <a:schemeClr val="accent5"/>
            </a:solidFill>
          </a:ln>
          <a:effectLst/>
        </p:spPr>
        <p:txBody>
          <a:bodyPr>
            <a:normAutofit/>
          </a:bodyPr>
          <a:lstStyle>
            <a:lvl1pPr>
              <a:defRPr sz="900"/>
            </a:lvl1pPr>
          </a:lstStyle>
          <a:p>
            <a:r>
              <a:rPr lang="de-DE"/>
              <a:t>Bild durch Klicken auf Symbol hinzufügen</a:t>
            </a:r>
          </a:p>
        </p:txBody>
      </p:sp>
      <p:sp>
        <p:nvSpPr>
          <p:cNvPr id="41" name="Picture Placeholder 40"/>
          <p:cNvSpPr>
            <a:spLocks noGrp="1"/>
          </p:cNvSpPr>
          <p:nvPr>
            <p:ph type="pic" sz="quarter" idx="31"/>
          </p:nvPr>
        </p:nvSpPr>
        <p:spPr>
          <a:xfrm>
            <a:off x="4933442" y="3755024"/>
            <a:ext cx="697845" cy="766138"/>
          </a:xfrm>
          <a:prstGeom prst="rect">
            <a:avLst/>
          </a:prstGeom>
          <a:ln>
            <a:solidFill>
              <a:schemeClr val="accent5"/>
            </a:solidFill>
          </a:ln>
          <a:effectLst/>
        </p:spPr>
        <p:txBody>
          <a:bodyPr>
            <a:normAutofit/>
          </a:bodyPr>
          <a:lstStyle>
            <a:lvl1pPr>
              <a:defRPr sz="900"/>
            </a:lvl1pPr>
          </a:lstStyle>
          <a:p>
            <a:r>
              <a:rPr lang="de-DE"/>
              <a:t>Bild durch Klicken auf Symbol hinzufügen</a:t>
            </a:r>
          </a:p>
        </p:txBody>
      </p:sp>
      <p:sp>
        <p:nvSpPr>
          <p:cNvPr id="43" name="Picture Placeholder 42"/>
          <p:cNvSpPr>
            <a:spLocks noGrp="1"/>
          </p:cNvSpPr>
          <p:nvPr>
            <p:ph type="pic" sz="quarter" idx="32"/>
          </p:nvPr>
        </p:nvSpPr>
        <p:spPr>
          <a:xfrm>
            <a:off x="6366352" y="3755024"/>
            <a:ext cx="697845" cy="766138"/>
          </a:xfrm>
          <a:prstGeom prst="rect">
            <a:avLst/>
          </a:prstGeom>
          <a:ln>
            <a:solidFill>
              <a:schemeClr val="accent5"/>
            </a:solidFill>
          </a:ln>
          <a:effectLst/>
        </p:spPr>
        <p:txBody>
          <a:bodyPr>
            <a:normAutofit/>
          </a:bodyPr>
          <a:lstStyle>
            <a:lvl1pPr>
              <a:defRPr sz="900"/>
            </a:lvl1pPr>
          </a:lstStyle>
          <a:p>
            <a:r>
              <a:rPr lang="de-DE"/>
              <a:t>Bild durch Klicken auf Symbol hinzufügen</a:t>
            </a:r>
          </a:p>
        </p:txBody>
      </p:sp>
      <p:sp>
        <p:nvSpPr>
          <p:cNvPr id="45" name="Picture Placeholder 44"/>
          <p:cNvSpPr>
            <a:spLocks noGrp="1"/>
          </p:cNvSpPr>
          <p:nvPr>
            <p:ph type="pic" sz="quarter" idx="33"/>
          </p:nvPr>
        </p:nvSpPr>
        <p:spPr>
          <a:xfrm>
            <a:off x="7799263" y="3755024"/>
            <a:ext cx="697845" cy="766138"/>
          </a:xfrm>
          <a:prstGeom prst="rect">
            <a:avLst/>
          </a:prstGeom>
          <a:ln>
            <a:solidFill>
              <a:schemeClr val="accent5"/>
            </a:solidFill>
          </a:ln>
          <a:effectLst/>
        </p:spPr>
        <p:txBody>
          <a:bodyPr>
            <a:normAutofit/>
          </a:bodyPr>
          <a:lstStyle>
            <a:lvl1pPr>
              <a:defRPr sz="900"/>
            </a:lvl1pPr>
          </a:lstStyle>
          <a:p>
            <a:r>
              <a:rPr lang="de-DE"/>
              <a:t>Bild durch Klicken auf Symbol hinzufügen</a:t>
            </a:r>
          </a:p>
        </p:txBody>
      </p:sp>
      <p:sp>
        <p:nvSpPr>
          <p:cNvPr id="32" name="Text Placeholder 31"/>
          <p:cNvSpPr>
            <a:spLocks noGrp="1"/>
          </p:cNvSpPr>
          <p:nvPr>
            <p:ph type="body" sz="quarter" idx="37"/>
          </p:nvPr>
        </p:nvSpPr>
        <p:spPr>
          <a:xfrm>
            <a:off x="184931" y="854705"/>
            <a:ext cx="8774432" cy="217522"/>
          </a:xfrm>
        </p:spPr>
        <p:txBody>
          <a:bodyPr>
            <a:noAutofit/>
          </a:bodyPr>
          <a:lstStyle>
            <a:lvl1pPr>
              <a:defRPr lang="en-US" sz="1400" b="0" i="0" kern="1200" noProof="0" dirty="0" smtClean="0">
                <a:solidFill>
                  <a:schemeClr val="tx1"/>
                </a:solidFill>
                <a:effectLst/>
                <a:latin typeface="+mj-lt"/>
                <a:ea typeface="+mn-ea"/>
                <a:cs typeface="+mn-cs"/>
              </a:defRPr>
            </a:lvl1pPr>
          </a:lstStyle>
          <a:p>
            <a:pPr marL="0" marR="0" lvl="0" indent="0" algn="l" defTabSz="782924" rtl="0" eaLnBrk="1" fontAlgn="base" latinLnBrk="0" hangingPunct="1">
              <a:lnSpc>
                <a:spcPct val="90000"/>
              </a:lnSpc>
              <a:spcBef>
                <a:spcPts val="0"/>
              </a:spcBef>
              <a:spcAft>
                <a:spcPts val="343"/>
              </a:spcAft>
              <a:buClr>
                <a:srgbClr val="B10034"/>
              </a:buClr>
              <a:buSzPct val="100000"/>
              <a:buFont typeface="Wingdings" pitchFamily="2" charset="2"/>
              <a:buNone/>
              <a:tabLst/>
            </a:pPr>
            <a:r>
              <a:rPr lang="de-DE" dirty="0"/>
              <a:t>Textmasterformate durch Klicken bearbeiten</a:t>
            </a:r>
          </a:p>
        </p:txBody>
      </p:sp>
      <p:sp>
        <p:nvSpPr>
          <p:cNvPr id="40" name="Date Placeholder 39"/>
          <p:cNvSpPr>
            <a:spLocks noGrp="1"/>
          </p:cNvSpPr>
          <p:nvPr>
            <p:ph type="dt" sz="half" idx="38"/>
          </p:nvPr>
        </p:nvSpPr>
        <p:spPr>
          <a:xfrm>
            <a:off x="6559588" y="5082552"/>
            <a:ext cx="2133600" cy="93018"/>
          </a:xfrm>
          <a:prstGeom prst="rect">
            <a:avLst/>
          </a:prstGeom>
        </p:spPr>
        <p:txBody>
          <a:bodyPr/>
          <a:lstStyle>
            <a:lvl1pPr>
              <a:defRPr/>
            </a:lvl1pPr>
          </a:lstStyle>
          <a:p>
            <a:r>
              <a:rPr lang="en-US" dirty="0">
                <a:solidFill>
                  <a:srgbClr val="CED3D8">
                    <a:lumMod val="50000"/>
                  </a:srgbClr>
                </a:solidFill>
              </a:rPr>
              <a:t>© Capgemini Consulting 2017. All rights reserved.</a:t>
            </a:r>
            <a:endParaRPr lang="de-DE" dirty="0">
              <a:solidFill>
                <a:srgbClr val="CED3D8">
                  <a:lumMod val="50000"/>
                </a:srgbClr>
              </a:solidFill>
            </a:endParaRPr>
          </a:p>
        </p:txBody>
      </p:sp>
      <p:sp>
        <p:nvSpPr>
          <p:cNvPr id="42" name="Slide Number Placeholder 41"/>
          <p:cNvSpPr>
            <a:spLocks noGrp="1"/>
          </p:cNvSpPr>
          <p:nvPr>
            <p:ph type="sldNum" sz="quarter" idx="39"/>
          </p:nvPr>
        </p:nvSpPr>
        <p:spPr>
          <a:xfrm>
            <a:off x="8791537" y="5082552"/>
            <a:ext cx="299077" cy="93018"/>
          </a:xfrm>
          <a:prstGeom prst="rect">
            <a:avLst/>
          </a:prstGeom>
        </p:spPr>
        <p:txBody>
          <a:bodyPr/>
          <a:lstStyle>
            <a:lvl1pPr>
              <a:defRPr/>
            </a:lvl1pPr>
          </a:lstStyle>
          <a:p>
            <a:fld id="{856EEAF3-4C43-4DAF-AC23-4779633883E1}" type="slidenum">
              <a:rPr lang="de-DE" smtClean="0">
                <a:solidFill>
                  <a:srgbClr val="CED3D8">
                    <a:lumMod val="50000"/>
                  </a:srgbClr>
                </a:solidFill>
              </a:rPr>
              <a:pPr/>
              <a:t>‹#›</a:t>
            </a:fld>
            <a:endParaRPr lang="de-DE" dirty="0">
              <a:solidFill>
                <a:srgbClr val="CED3D8">
                  <a:lumMod val="50000"/>
                </a:srgbClr>
              </a:solidFill>
            </a:endParaRPr>
          </a:p>
        </p:txBody>
      </p:sp>
    </p:spTree>
    <p:extLst>
      <p:ext uri="{BB962C8B-B14F-4D97-AF65-F5344CB8AC3E}">
        <p14:creationId xmlns:p14="http://schemas.microsoft.com/office/powerpoint/2010/main" val="23352390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_content_title_subtitle">
    <p:spTree>
      <p:nvGrpSpPr>
        <p:cNvPr id="1" name=""/>
        <p:cNvGrpSpPr/>
        <p:nvPr/>
      </p:nvGrpSpPr>
      <p:grpSpPr>
        <a:xfrm>
          <a:off x="0" y="0"/>
          <a:ext cx="0" cy="0"/>
          <a:chOff x="0" y="0"/>
          <a:chExt cx="0" cy="0"/>
        </a:xfrm>
      </p:grpSpPr>
      <p:sp>
        <p:nvSpPr>
          <p:cNvPr id="2" name="Title 1"/>
          <p:cNvSpPr>
            <a:spLocks noGrp="1"/>
          </p:cNvSpPr>
          <p:nvPr>
            <p:ph type="title"/>
          </p:nvPr>
        </p:nvSpPr>
        <p:spPr>
          <a:xfrm>
            <a:off x="184639" y="538880"/>
            <a:ext cx="8774723" cy="348012"/>
          </a:xfrm>
        </p:spPr>
        <p:txBody>
          <a:bodyPr/>
          <a:lstStyle>
            <a:lvl1pPr>
              <a:defRPr sz="2100"/>
            </a:lvl1pPr>
          </a:lstStyle>
          <a:p>
            <a:r>
              <a:rPr lang="de-DE"/>
              <a:t>Titelmasterformat durch Klicken bearbeiten</a:t>
            </a:r>
          </a:p>
        </p:txBody>
      </p:sp>
      <p:sp>
        <p:nvSpPr>
          <p:cNvPr id="9" name="Content Placeholder 8"/>
          <p:cNvSpPr>
            <a:spLocks noGrp="1"/>
          </p:cNvSpPr>
          <p:nvPr>
            <p:ph sz="quarter" idx="18" hasCustomPrompt="1"/>
          </p:nvPr>
        </p:nvSpPr>
        <p:spPr>
          <a:xfrm>
            <a:off x="252047" y="1183506"/>
            <a:ext cx="8639908" cy="3610834"/>
          </a:xfrm>
          <a:prstGeom prst="rect">
            <a:avLst/>
          </a:prstGeom>
        </p:spPr>
        <p:txBody>
          <a:bodyPr/>
          <a:lstStyle>
            <a:lvl1pPr>
              <a:defRPr baseline="0"/>
            </a:lvl1pPr>
          </a:lstStyle>
          <a:p>
            <a:pPr lvl="0"/>
            <a:r>
              <a:rPr lang="en-US" dirty="0"/>
              <a:t>Click to insert a table, chart, picture etc.</a:t>
            </a:r>
          </a:p>
        </p:txBody>
      </p:sp>
      <p:sp>
        <p:nvSpPr>
          <p:cNvPr id="11" name="Text Placeholder 10"/>
          <p:cNvSpPr>
            <a:spLocks noGrp="1"/>
          </p:cNvSpPr>
          <p:nvPr>
            <p:ph type="body" sz="quarter" idx="22"/>
          </p:nvPr>
        </p:nvSpPr>
        <p:spPr>
          <a:xfrm>
            <a:off x="184931" y="854705"/>
            <a:ext cx="8774432" cy="217522"/>
          </a:xfrm>
        </p:spPr>
        <p:txBody>
          <a:bodyPr>
            <a:noAutofit/>
          </a:bodyPr>
          <a:lstStyle>
            <a:lvl1pPr>
              <a:defRPr lang="en-US" sz="1400" b="0" i="0" kern="1200" noProof="0" dirty="0" smtClean="0">
                <a:solidFill>
                  <a:schemeClr val="tx1"/>
                </a:solidFill>
                <a:effectLst/>
                <a:latin typeface="+mj-lt"/>
                <a:ea typeface="+mn-ea"/>
                <a:cs typeface="+mn-cs"/>
              </a:defRPr>
            </a:lvl1pPr>
          </a:lstStyle>
          <a:p>
            <a:pPr marL="0" marR="0" lvl="0" indent="0" algn="l" defTabSz="782924" rtl="0" eaLnBrk="1" fontAlgn="base" latinLnBrk="0" hangingPunct="1">
              <a:lnSpc>
                <a:spcPct val="90000"/>
              </a:lnSpc>
              <a:spcBef>
                <a:spcPts val="0"/>
              </a:spcBef>
              <a:spcAft>
                <a:spcPts val="343"/>
              </a:spcAft>
              <a:buClr>
                <a:srgbClr val="B10034"/>
              </a:buClr>
              <a:buSzPct val="100000"/>
              <a:buFont typeface="Wingdings" pitchFamily="2" charset="2"/>
              <a:buNone/>
              <a:tabLst/>
            </a:pPr>
            <a:r>
              <a:rPr lang="de-DE" dirty="0"/>
              <a:t>Textmasterformate durch Klicken bearbeiten</a:t>
            </a:r>
          </a:p>
        </p:txBody>
      </p:sp>
      <p:sp>
        <p:nvSpPr>
          <p:cNvPr id="16" name="Date Placeholder 15"/>
          <p:cNvSpPr>
            <a:spLocks noGrp="1"/>
          </p:cNvSpPr>
          <p:nvPr>
            <p:ph type="dt" sz="half" idx="23"/>
          </p:nvPr>
        </p:nvSpPr>
        <p:spPr>
          <a:xfrm>
            <a:off x="6559588" y="5082552"/>
            <a:ext cx="2133600" cy="93018"/>
          </a:xfrm>
          <a:prstGeom prst="rect">
            <a:avLst/>
          </a:prstGeom>
        </p:spPr>
        <p:txBody>
          <a:bodyPr/>
          <a:lstStyle>
            <a:lvl1pPr>
              <a:defRPr/>
            </a:lvl1pPr>
          </a:lstStyle>
          <a:p>
            <a:r>
              <a:rPr lang="en-US" dirty="0">
                <a:solidFill>
                  <a:srgbClr val="CED3D8">
                    <a:lumMod val="50000"/>
                  </a:srgbClr>
                </a:solidFill>
              </a:rPr>
              <a:t>© Capgemini Consulting 2017. All rights reserved.</a:t>
            </a:r>
            <a:endParaRPr lang="de-DE" dirty="0">
              <a:solidFill>
                <a:srgbClr val="CED3D8">
                  <a:lumMod val="50000"/>
                </a:srgbClr>
              </a:solidFill>
            </a:endParaRPr>
          </a:p>
        </p:txBody>
      </p:sp>
      <p:sp>
        <p:nvSpPr>
          <p:cNvPr id="17" name="Slide Number Placeholder 16"/>
          <p:cNvSpPr>
            <a:spLocks noGrp="1"/>
          </p:cNvSpPr>
          <p:nvPr>
            <p:ph type="sldNum" sz="quarter" idx="24"/>
          </p:nvPr>
        </p:nvSpPr>
        <p:spPr>
          <a:xfrm>
            <a:off x="8791537" y="5082552"/>
            <a:ext cx="299077" cy="93018"/>
          </a:xfrm>
          <a:prstGeom prst="rect">
            <a:avLst/>
          </a:prstGeom>
        </p:spPr>
        <p:txBody>
          <a:bodyPr/>
          <a:lstStyle>
            <a:lvl1pPr>
              <a:defRPr/>
            </a:lvl1pPr>
          </a:lstStyle>
          <a:p>
            <a:fld id="{856EEAF3-4C43-4DAF-AC23-4779633883E1}" type="slidenum">
              <a:rPr lang="de-DE" smtClean="0">
                <a:solidFill>
                  <a:srgbClr val="CED3D8">
                    <a:lumMod val="50000"/>
                  </a:srgbClr>
                </a:solidFill>
              </a:rPr>
              <a:pPr/>
              <a:t>‹#›</a:t>
            </a:fld>
            <a:endParaRPr lang="de-DE" dirty="0">
              <a:solidFill>
                <a:srgbClr val="CED3D8">
                  <a:lumMod val="50000"/>
                </a:srgbClr>
              </a:solidFill>
            </a:endParaRPr>
          </a:p>
        </p:txBody>
      </p:sp>
    </p:spTree>
    <p:extLst>
      <p:ext uri="{BB962C8B-B14F-4D97-AF65-F5344CB8AC3E}">
        <p14:creationId xmlns:p14="http://schemas.microsoft.com/office/powerpoint/2010/main" val="4990461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35749" cy="109422"/>
        </p:xfrm>
        <a:graphic>
          <a:graphicData uri="http://schemas.openxmlformats.org/presentationml/2006/ole">
            <mc:AlternateContent xmlns:mc="http://schemas.openxmlformats.org/markup-compatibility/2006">
              <mc:Choice xmlns:v="urn:schemas-microsoft-com:vml" Requires="v">
                <p:oleObj spid="_x0000_s153623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3"/>
                        <a:ext cx="135749" cy="1094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8" name="Content Placeholder 7"/>
          <p:cNvSpPr>
            <a:spLocks noGrp="1"/>
          </p:cNvSpPr>
          <p:nvPr>
            <p:ph sz="quarter" idx="10"/>
          </p:nvPr>
        </p:nvSpPr>
        <p:spPr>
          <a:xfrm>
            <a:off x="298516" y="1141433"/>
            <a:ext cx="8554914" cy="3627387"/>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spTree>
    <p:extLst>
      <p:ext uri="{BB962C8B-B14F-4D97-AF65-F5344CB8AC3E}">
        <p14:creationId xmlns:p14="http://schemas.microsoft.com/office/powerpoint/2010/main" val="9151280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_contents_title_subtitle">
    <p:spTree>
      <p:nvGrpSpPr>
        <p:cNvPr id="1" name=""/>
        <p:cNvGrpSpPr/>
        <p:nvPr/>
      </p:nvGrpSpPr>
      <p:grpSpPr>
        <a:xfrm>
          <a:off x="0" y="0"/>
          <a:ext cx="0" cy="0"/>
          <a:chOff x="0" y="0"/>
          <a:chExt cx="0" cy="0"/>
        </a:xfrm>
      </p:grpSpPr>
      <p:sp>
        <p:nvSpPr>
          <p:cNvPr id="2" name="Title 1"/>
          <p:cNvSpPr>
            <a:spLocks noGrp="1"/>
          </p:cNvSpPr>
          <p:nvPr>
            <p:ph type="title"/>
          </p:nvPr>
        </p:nvSpPr>
        <p:spPr>
          <a:xfrm>
            <a:off x="184639" y="538880"/>
            <a:ext cx="8774723" cy="348012"/>
          </a:xfrm>
        </p:spPr>
        <p:txBody>
          <a:bodyPr/>
          <a:lstStyle>
            <a:lvl1pPr>
              <a:defRPr sz="2100"/>
            </a:lvl1pPr>
          </a:lstStyle>
          <a:p>
            <a:r>
              <a:rPr lang="de-DE"/>
              <a:t>Titelmasterformat durch Klicken bearbeiten</a:t>
            </a:r>
          </a:p>
        </p:txBody>
      </p:sp>
      <p:sp>
        <p:nvSpPr>
          <p:cNvPr id="11" name="Content Placeholder 10"/>
          <p:cNvSpPr>
            <a:spLocks noGrp="1"/>
          </p:cNvSpPr>
          <p:nvPr>
            <p:ph sz="quarter" idx="20" hasCustomPrompt="1"/>
          </p:nvPr>
        </p:nvSpPr>
        <p:spPr>
          <a:xfrm>
            <a:off x="252047" y="1183506"/>
            <a:ext cx="4187017" cy="3610834"/>
          </a:xfrm>
          <a:prstGeom prst="rect">
            <a:avLst/>
          </a:prstGeom>
        </p:spPr>
        <p:txBody>
          <a:bodyPr/>
          <a:lstStyle>
            <a:lvl1pPr>
              <a:defRPr/>
            </a:lvl1pPr>
          </a:lstStyle>
          <a:p>
            <a:pPr lvl="0"/>
            <a:r>
              <a:rPr lang="en-US" dirty="0"/>
              <a:t>Click to insert a table, chart, picture etc.</a:t>
            </a:r>
          </a:p>
        </p:txBody>
      </p:sp>
      <p:sp>
        <p:nvSpPr>
          <p:cNvPr id="14" name="Content Placeholder 13"/>
          <p:cNvSpPr>
            <a:spLocks noGrp="1"/>
          </p:cNvSpPr>
          <p:nvPr>
            <p:ph sz="quarter" idx="21" hasCustomPrompt="1"/>
          </p:nvPr>
        </p:nvSpPr>
        <p:spPr>
          <a:xfrm>
            <a:off x="4705350" y="1183506"/>
            <a:ext cx="4186605" cy="3610834"/>
          </a:xfrm>
          <a:prstGeom prst="rect">
            <a:avLst/>
          </a:prstGeom>
        </p:spPr>
        <p:txBody>
          <a:bodyPr/>
          <a:lstStyle>
            <a:lvl1pPr marL="0" marR="0" indent="0" algn="l" defTabSz="782924" rtl="0" eaLnBrk="1" fontAlgn="base" latinLnBrk="0" hangingPunct="1">
              <a:lnSpc>
                <a:spcPct val="90000"/>
              </a:lnSpc>
              <a:spcBef>
                <a:spcPts val="0"/>
              </a:spcBef>
              <a:spcAft>
                <a:spcPts val="343"/>
              </a:spcAft>
              <a:buClr>
                <a:srgbClr val="B10034"/>
              </a:buClr>
              <a:buSzPct val="100000"/>
              <a:buFont typeface="Wingdings" pitchFamily="2" charset="2"/>
              <a:buNone/>
              <a:tabLst/>
              <a:defRPr/>
            </a:lvl1pPr>
          </a:lstStyle>
          <a:p>
            <a:pPr lvl="0"/>
            <a:r>
              <a:rPr lang="en-US" dirty="0"/>
              <a:t>Click to insert a table, chart, picture etc.</a:t>
            </a:r>
          </a:p>
        </p:txBody>
      </p:sp>
      <p:sp>
        <p:nvSpPr>
          <p:cNvPr id="16" name="Text Placeholder 15"/>
          <p:cNvSpPr>
            <a:spLocks noGrp="1"/>
          </p:cNvSpPr>
          <p:nvPr>
            <p:ph type="body" sz="quarter" idx="26"/>
          </p:nvPr>
        </p:nvSpPr>
        <p:spPr>
          <a:xfrm>
            <a:off x="184931" y="854705"/>
            <a:ext cx="8774432" cy="217522"/>
          </a:xfrm>
        </p:spPr>
        <p:txBody>
          <a:bodyPr>
            <a:noAutofit/>
          </a:bodyPr>
          <a:lstStyle>
            <a:lvl1pPr>
              <a:defRPr lang="en-US" sz="1400" b="0" i="0" kern="1200" noProof="0" dirty="0" smtClean="0">
                <a:solidFill>
                  <a:schemeClr val="tx1"/>
                </a:solidFill>
                <a:effectLst/>
                <a:latin typeface="+mj-lt"/>
                <a:ea typeface="+mn-ea"/>
                <a:cs typeface="+mn-cs"/>
              </a:defRPr>
            </a:lvl1pPr>
          </a:lstStyle>
          <a:p>
            <a:pPr marL="0" marR="0" lvl="0" indent="0" algn="l" defTabSz="782924" rtl="0" eaLnBrk="1" fontAlgn="base" latinLnBrk="0" hangingPunct="1">
              <a:lnSpc>
                <a:spcPct val="90000"/>
              </a:lnSpc>
              <a:spcBef>
                <a:spcPts val="0"/>
              </a:spcBef>
              <a:spcAft>
                <a:spcPts val="343"/>
              </a:spcAft>
              <a:buClr>
                <a:srgbClr val="B10034"/>
              </a:buClr>
              <a:buSzPct val="100000"/>
              <a:buFont typeface="Wingdings" pitchFamily="2" charset="2"/>
              <a:buNone/>
              <a:tabLst/>
            </a:pPr>
            <a:r>
              <a:rPr lang="de-DE" dirty="0"/>
              <a:t>Textmasterformate durch Klicken bearbeiten</a:t>
            </a:r>
          </a:p>
        </p:txBody>
      </p:sp>
      <p:sp>
        <p:nvSpPr>
          <p:cNvPr id="18" name="Date Placeholder 17"/>
          <p:cNvSpPr>
            <a:spLocks noGrp="1"/>
          </p:cNvSpPr>
          <p:nvPr>
            <p:ph type="dt" sz="half" idx="27"/>
          </p:nvPr>
        </p:nvSpPr>
        <p:spPr>
          <a:xfrm>
            <a:off x="6559588" y="5082552"/>
            <a:ext cx="2133600" cy="93018"/>
          </a:xfrm>
          <a:prstGeom prst="rect">
            <a:avLst/>
          </a:prstGeom>
        </p:spPr>
        <p:txBody>
          <a:bodyPr/>
          <a:lstStyle>
            <a:lvl1pPr>
              <a:defRPr/>
            </a:lvl1pPr>
          </a:lstStyle>
          <a:p>
            <a:r>
              <a:rPr lang="en-US" dirty="0">
                <a:solidFill>
                  <a:srgbClr val="CED3D8">
                    <a:lumMod val="50000"/>
                  </a:srgbClr>
                </a:solidFill>
              </a:rPr>
              <a:t>© Capgemini Consulting 2017. All rights reserved.</a:t>
            </a:r>
            <a:endParaRPr lang="de-DE" dirty="0">
              <a:solidFill>
                <a:srgbClr val="CED3D8">
                  <a:lumMod val="50000"/>
                </a:srgbClr>
              </a:solidFill>
            </a:endParaRPr>
          </a:p>
        </p:txBody>
      </p:sp>
      <p:sp>
        <p:nvSpPr>
          <p:cNvPr id="19" name="Slide Number Placeholder 18"/>
          <p:cNvSpPr>
            <a:spLocks noGrp="1"/>
          </p:cNvSpPr>
          <p:nvPr>
            <p:ph type="sldNum" sz="quarter" idx="28"/>
          </p:nvPr>
        </p:nvSpPr>
        <p:spPr>
          <a:xfrm>
            <a:off x="8791537" y="5082552"/>
            <a:ext cx="299077" cy="93018"/>
          </a:xfrm>
          <a:prstGeom prst="rect">
            <a:avLst/>
          </a:prstGeom>
        </p:spPr>
        <p:txBody>
          <a:bodyPr/>
          <a:lstStyle>
            <a:lvl1pPr>
              <a:defRPr/>
            </a:lvl1pPr>
          </a:lstStyle>
          <a:p>
            <a:fld id="{856EEAF3-4C43-4DAF-AC23-4779633883E1}" type="slidenum">
              <a:rPr lang="de-DE" smtClean="0">
                <a:solidFill>
                  <a:srgbClr val="CED3D8">
                    <a:lumMod val="50000"/>
                  </a:srgbClr>
                </a:solidFill>
              </a:rPr>
              <a:pPr/>
              <a:t>‹#›</a:t>
            </a:fld>
            <a:endParaRPr lang="de-DE" dirty="0">
              <a:solidFill>
                <a:srgbClr val="CED3D8">
                  <a:lumMod val="50000"/>
                </a:srgbClr>
              </a:solidFill>
            </a:endParaRPr>
          </a:p>
        </p:txBody>
      </p:sp>
    </p:spTree>
    <p:extLst>
      <p:ext uri="{BB962C8B-B14F-4D97-AF65-F5344CB8AC3E}">
        <p14:creationId xmlns:p14="http://schemas.microsoft.com/office/powerpoint/2010/main" val="19588800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Title Sub Title">
    <p:spTree>
      <p:nvGrpSpPr>
        <p:cNvPr id="1" name=""/>
        <p:cNvGrpSpPr/>
        <p:nvPr/>
      </p:nvGrpSpPr>
      <p:grpSpPr>
        <a:xfrm>
          <a:off x="0" y="0"/>
          <a:ext cx="0" cy="0"/>
          <a:chOff x="0" y="0"/>
          <a:chExt cx="0" cy="0"/>
        </a:xfrm>
      </p:grpSpPr>
      <p:graphicFrame>
        <p:nvGraphicFramePr>
          <p:cNvPr id="4" name="Object 8" hidden="1"/>
          <p:cNvGraphicFramePr>
            <a:graphicFrameLocks noChangeAspect="1"/>
          </p:cNvGraphicFramePr>
          <p:nvPr>
            <p:custDataLst>
              <p:tags r:id="rId2"/>
            </p:custDataLst>
          </p:nvPr>
        </p:nvGraphicFramePr>
        <p:xfrm>
          <a:off x="1467" y="1207"/>
          <a:ext cx="1465" cy="1206"/>
        </p:xfrm>
        <a:graphic>
          <a:graphicData uri="http://schemas.openxmlformats.org/presentationml/2006/ole">
            <mc:AlternateContent xmlns:mc="http://schemas.openxmlformats.org/markup-compatibility/2006">
              <mc:Choice xmlns:v="urn:schemas-microsoft-com:vml" Requires="v">
                <p:oleObj spid="_x0000_s154734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207"/>
                        <a:ext cx="1465" cy="12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8" descr="Grey_Shadow_Bar.jpg"/>
          <p:cNvPicPr>
            <a:picLocks noChangeAspect="1"/>
          </p:cNvPicPr>
          <p:nvPr/>
        </p:nvPicPr>
        <p:blipFill>
          <a:blip r:embed="rId6" cstate="print"/>
          <a:srcRect/>
          <a:stretch>
            <a:fillRect/>
          </a:stretch>
        </p:blipFill>
        <p:spPr bwMode="auto">
          <a:xfrm>
            <a:off x="0" y="710586"/>
            <a:ext cx="9144000" cy="156835"/>
          </a:xfrm>
          <a:prstGeom prst="rect">
            <a:avLst/>
          </a:prstGeom>
          <a:noFill/>
          <a:ln w="9525">
            <a:noFill/>
            <a:miter lim="800000"/>
            <a:headEnd/>
            <a:tailEnd/>
          </a:ln>
        </p:spPr>
      </p:pic>
      <p:pic>
        <p:nvPicPr>
          <p:cNvPr id="8" name="Picture 2"/>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64123" y="4941524"/>
            <a:ext cx="2302120" cy="241285"/>
          </a:xfrm>
          <a:prstGeom prst="rect">
            <a:avLst/>
          </a:prstGeom>
          <a:noFill/>
          <a:ln w="9525">
            <a:noFill/>
            <a:miter lim="800000"/>
            <a:headEnd/>
            <a:tailEnd/>
          </a:ln>
        </p:spPr>
      </p:pic>
      <p:sp>
        <p:nvSpPr>
          <p:cNvPr id="9" name="Rectangle 8"/>
          <p:cNvSpPr/>
          <p:nvPr userDrawn="1"/>
        </p:nvSpPr>
        <p:spPr>
          <a:xfrm>
            <a:off x="323852" y="784179"/>
            <a:ext cx="8568103" cy="407169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78292" tIns="39146" rIns="78292" bIns="39146" anchor="ctr"/>
          <a:lstStyle/>
          <a:p>
            <a:pPr algn="ctr" defTabSz="914310" fontAlgn="base">
              <a:spcBef>
                <a:spcPct val="0"/>
              </a:spcBef>
              <a:spcAft>
                <a:spcPct val="0"/>
              </a:spcAft>
              <a:defRPr/>
            </a:pPr>
            <a:endParaRPr lang="fr-FR" sz="1200" dirty="0">
              <a:solidFill>
                <a:srgbClr val="000000">
                  <a:lumMod val="75000"/>
                  <a:lumOff val="25000"/>
                </a:srgbClr>
              </a:solidFill>
              <a:cs typeface="Calibri" pitchFamily="34" charset="0"/>
            </a:endParaRPr>
          </a:p>
        </p:txBody>
      </p:sp>
      <p:sp>
        <p:nvSpPr>
          <p:cNvPr id="10" name="Rectangle 9"/>
          <p:cNvSpPr/>
          <p:nvPr userDrawn="1"/>
        </p:nvSpPr>
        <p:spPr>
          <a:xfrm>
            <a:off x="323852" y="1084578"/>
            <a:ext cx="8568103" cy="377129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78292" tIns="39146" rIns="78292" bIns="39146" anchor="ctr"/>
          <a:lstStyle/>
          <a:p>
            <a:pPr algn="ctr" defTabSz="914310" fontAlgn="base">
              <a:spcBef>
                <a:spcPct val="0"/>
              </a:spcBef>
              <a:spcAft>
                <a:spcPct val="0"/>
              </a:spcAft>
              <a:defRPr/>
            </a:pPr>
            <a:endParaRPr lang="fr-FR" sz="1200" dirty="0">
              <a:solidFill>
                <a:srgbClr val="000000">
                  <a:lumMod val="75000"/>
                  <a:lumOff val="25000"/>
                </a:srgbClr>
              </a:solidFill>
              <a:cs typeface="Calibri" pitchFamily="34" charset="0"/>
            </a:endParaRPr>
          </a:p>
        </p:txBody>
      </p:sp>
      <p:sp>
        <p:nvSpPr>
          <p:cNvPr id="7" name="Content Placeholder 6"/>
          <p:cNvSpPr>
            <a:spLocks noGrp="1"/>
          </p:cNvSpPr>
          <p:nvPr>
            <p:ph sz="quarter" idx="11"/>
          </p:nvPr>
        </p:nvSpPr>
        <p:spPr>
          <a:xfrm>
            <a:off x="323850" y="784302"/>
            <a:ext cx="8568630" cy="300401"/>
          </a:xfrm>
          <a:noFill/>
          <a:ln w="9525">
            <a:noFill/>
            <a:miter lim="800000"/>
            <a:headEnd/>
            <a:tailEnd/>
          </a:ln>
        </p:spPr>
        <p:txBody>
          <a:bodyPr rtlCol="0">
            <a:noAutofit/>
          </a:bodyPr>
          <a:lstStyle>
            <a:lvl1pPr marL="0" indent="0" algn="ctr" rtl="0" eaLnBrk="1" fontAlgn="base" hangingPunct="1">
              <a:spcBef>
                <a:spcPct val="0"/>
              </a:spcBef>
              <a:spcAft>
                <a:spcPct val="0"/>
              </a:spcAft>
              <a:buNone/>
              <a:defRPr lang="en-GB" sz="1400" kern="1200" baseline="0" dirty="0">
                <a:solidFill>
                  <a:schemeClr val="accent2"/>
                </a:solidFill>
                <a:latin typeface="Calibri" pitchFamily="34" charset="0"/>
                <a:ea typeface="+mj-ea"/>
                <a:cs typeface="Calibri" pitchFamily="34" charset="0"/>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endParaRPr lang="en-GB"/>
          </a:p>
        </p:txBody>
      </p:sp>
      <p:sp>
        <p:nvSpPr>
          <p:cNvPr id="11" name="Slide Number Placeholder 2"/>
          <p:cNvSpPr>
            <a:spLocks noGrp="1"/>
          </p:cNvSpPr>
          <p:nvPr>
            <p:ph type="sldNum" sz="quarter" idx="12"/>
          </p:nvPr>
        </p:nvSpPr>
        <p:spPr>
          <a:xfrm>
            <a:off x="7010400" y="5101980"/>
            <a:ext cx="2133600" cy="113404"/>
          </a:xfrm>
          <a:prstGeom prst="rect">
            <a:avLst/>
          </a:prstGeom>
        </p:spPr>
        <p:txBody>
          <a:bodyPr/>
          <a:lstStyle>
            <a:lvl1pPr>
              <a:defRPr/>
            </a:lvl1pPr>
          </a:lstStyle>
          <a:p>
            <a:pPr>
              <a:defRPr/>
            </a:pPr>
            <a:fld id="{59D975A0-B378-4073-87AF-BA5CD97B6DEC}" type="slidenum">
              <a:rPr lang="en-US" smtClean="0">
                <a:solidFill>
                  <a:srgbClr val="CED3D8">
                    <a:lumMod val="50000"/>
                  </a:srgbClr>
                </a:solidFill>
              </a:rPr>
              <a:pPr>
                <a:defRPr/>
              </a:pPr>
              <a:t>‹#›</a:t>
            </a:fld>
            <a:endParaRPr lang="en-US" dirty="0">
              <a:solidFill>
                <a:srgbClr val="CED3D8">
                  <a:lumMod val="50000"/>
                </a:srgbClr>
              </a:solidFill>
            </a:endParaRPr>
          </a:p>
        </p:txBody>
      </p:sp>
      <p:sp>
        <p:nvSpPr>
          <p:cNvPr id="12" name="TextBox 11"/>
          <p:cNvSpPr txBox="1"/>
          <p:nvPr userDrawn="1"/>
        </p:nvSpPr>
        <p:spPr>
          <a:xfrm>
            <a:off x="6389078" y="4970479"/>
            <a:ext cx="2671397" cy="171390"/>
          </a:xfrm>
          <a:prstGeom prst="rect">
            <a:avLst/>
          </a:prstGeom>
          <a:noFill/>
        </p:spPr>
        <p:txBody>
          <a:bodyPr lIns="78292" tIns="39146" rIns="78292" bIns="39146">
            <a:spAutoFit/>
          </a:bodyPr>
          <a:lstStyle/>
          <a:p>
            <a:pPr algn="r" defTabSz="914310">
              <a:defRPr/>
            </a:pPr>
            <a:r>
              <a:rPr lang="en-GB" sz="600" dirty="0">
                <a:solidFill>
                  <a:srgbClr val="FFFFFF">
                    <a:lumMod val="50000"/>
                  </a:srgbClr>
                </a:solidFill>
                <a:cs typeface="Arial" charset="0"/>
              </a:rPr>
              <a:t>Copyright © 2016 Capgemini Consulting. All rights reserved.</a:t>
            </a:r>
          </a:p>
        </p:txBody>
      </p:sp>
    </p:spTree>
    <p:extLst>
      <p:ext uri="{BB962C8B-B14F-4D97-AF65-F5344CB8AC3E}">
        <p14:creationId xmlns:p14="http://schemas.microsoft.com/office/powerpoint/2010/main" val="1567962661"/>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678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0"/>
          <a:ext cx="135749" cy="109422"/>
        </p:xfrm>
        <a:graphic>
          <a:graphicData uri="http://schemas.openxmlformats.org/presentationml/2006/ole">
            <mc:AlternateContent xmlns:mc="http://schemas.openxmlformats.org/markup-compatibility/2006">
              <mc:Choice xmlns:v="urn:schemas-microsoft-com:vml" Requires="v">
                <p:oleObj spid="_x0000_s742938" name="think-cell Slide" r:id="rId5" imgW="360" imgH="360" progId="">
                  <p:embed/>
                </p:oleObj>
              </mc:Choice>
              <mc:Fallback>
                <p:oleObj name="think-cell Slide" r:id="rId5" imgW="360" imgH="360" progId="">
                  <p:embed/>
                  <p:pic>
                    <p:nvPicPr>
                      <p:cNvPr id="0" name="Picture 25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0"/>
                        <a:ext cx="135749" cy="1094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6" name="Rectangle 9"/>
          <p:cNvSpPr>
            <a:spLocks noChangeArrowheads="1"/>
          </p:cNvSpPr>
          <p:nvPr userDrawn="1">
            <p:custDataLst>
              <p:tags r:id="rId3"/>
            </p:custDataLst>
          </p:nvPr>
        </p:nvSpPr>
        <p:spPr bwMode="gray">
          <a:xfrm>
            <a:off x="1031966" y="2748868"/>
            <a:ext cx="3932160" cy="180615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gs>
                <a:gs pos="100000">
                  <a:schemeClr val="accent5">
                    <a:lumMod val="60000"/>
                    <a:lumOff val="40000"/>
                  </a:schemeClr>
                </a:gs>
              </a:gsLst>
              <a:lin ang="240000" scaled="0"/>
              <a:tileRect/>
            </a:gradFill>
            <a:prstDash val="solid"/>
            <a:round/>
          </a:ln>
          <a:effectLst/>
        </p:spPr>
        <p:txBody>
          <a:bodyPr wrap="square" lIns="308208" tIns="43621" rIns="184925" bIns="123283" rtlCol="0" anchor="b"/>
          <a:lstStyle/>
          <a:p>
            <a:pPr marL="0" marR="0" indent="0" algn="just" defTabSz="892916" rtl="0" eaLnBrk="1" fontAlgn="auto" latinLnBrk="0" hangingPunct="1">
              <a:lnSpc>
                <a:spcPct val="100000"/>
              </a:lnSpc>
              <a:spcBef>
                <a:spcPts val="0"/>
              </a:spcBef>
              <a:spcAft>
                <a:spcPts val="514"/>
              </a:spcAft>
              <a:buClrTx/>
              <a:buSzTx/>
              <a:buFontTx/>
              <a:buNone/>
              <a:tabLst/>
              <a:defRPr/>
            </a:pPr>
            <a:r>
              <a:rPr lang="en-US" sz="1500" b="1" kern="1200" dirty="0">
                <a:solidFill>
                  <a:schemeClr val="bg1"/>
                </a:solidFill>
                <a:latin typeface="Arial"/>
                <a:ea typeface="+mn-ea"/>
                <a:cs typeface="Arial"/>
              </a:rPr>
              <a:t>About Capgemini</a:t>
            </a:r>
          </a:p>
          <a:p>
            <a:pPr marL="0" marR="0" algn="just" rtl="0" eaLnBrk="1" latinLnBrk="0" hangingPunct="1">
              <a:spcBef>
                <a:spcPts val="514"/>
              </a:spcBef>
              <a:spcAft>
                <a:spcPts val="0"/>
              </a:spcAft>
            </a:pPr>
            <a:r>
              <a:rPr lang="en-US" sz="900" b="0" kern="1200" dirty="0">
                <a:solidFill>
                  <a:schemeClr val="bg1"/>
                </a:solidFill>
                <a:latin typeface="Arial"/>
                <a:ea typeface="+mn-ea"/>
                <a:cs typeface="Arial"/>
              </a:rPr>
              <a:t>Now with 180,000 people in over 40 countries, Capgemini is one of the world's foremost providers of consulting, technology and outsourcing services.</a:t>
            </a:r>
            <a:r>
              <a:rPr lang="fr-FR" sz="900" b="0" kern="1200" dirty="0">
                <a:solidFill>
                  <a:schemeClr val="bg1"/>
                </a:solidFill>
                <a:latin typeface="Arial"/>
                <a:ea typeface="+mn-ea"/>
                <a:cs typeface="Arial"/>
              </a:rPr>
              <a:t> </a:t>
            </a:r>
            <a:r>
              <a:rPr lang="en-US" sz="900" b="0" kern="1200" dirty="0">
                <a:solidFill>
                  <a:schemeClr val="bg1"/>
                </a:solidFill>
                <a:latin typeface="Arial"/>
                <a:ea typeface="+mn-ea"/>
                <a:cs typeface="Arial"/>
              </a:rPr>
              <a:t>The Group reported 2015 global revenues of EUR 11.9 billion.</a:t>
            </a:r>
          </a:p>
          <a:p>
            <a:pPr marL="0" marR="0" algn="just" rtl="0" eaLnBrk="1" latinLnBrk="0" hangingPunct="1">
              <a:spcBef>
                <a:spcPts val="514"/>
              </a:spcBef>
              <a:spcAft>
                <a:spcPts val="0"/>
              </a:spcAft>
            </a:pPr>
            <a:r>
              <a:rPr lang="en-US" sz="900" b="0" kern="1200" dirty="0">
                <a:solidFill>
                  <a:schemeClr val="bg1"/>
                </a:solidFill>
                <a:latin typeface="Arial"/>
                <a:ea typeface="+mn-ea"/>
                <a:cs typeface="Arial"/>
              </a:rPr>
              <a:t>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b="0" kern="1200" dirty="0">
                <a:solidFill>
                  <a:schemeClr val="bg1"/>
                </a:solidFill>
                <a:latin typeface="Arial"/>
                <a:ea typeface="+mn-ea"/>
                <a:cs typeface="Arial"/>
                <a:hlinkClick r:id="rId7"/>
              </a:rPr>
              <a:t>the Collaborative Business ExperienceTM</a:t>
            </a:r>
            <a:r>
              <a:rPr lang="en-US" sz="900" b="0" kern="1200" dirty="0">
                <a:solidFill>
                  <a:schemeClr val="bg1"/>
                </a:solidFill>
                <a:latin typeface="Arial"/>
                <a:ea typeface="+mn-ea"/>
                <a:cs typeface="Arial"/>
              </a:rPr>
              <a:t>, and draws on </a:t>
            </a:r>
            <a:r>
              <a:rPr lang="en-US" sz="900" b="0" kern="1200" dirty="0">
                <a:solidFill>
                  <a:schemeClr val="bg1"/>
                </a:solidFill>
                <a:latin typeface="Arial"/>
                <a:ea typeface="+mn-ea"/>
                <a:cs typeface="Arial"/>
                <a:hlinkClick r:id="rId8"/>
              </a:rPr>
              <a:t>Rightshore®</a:t>
            </a:r>
            <a:r>
              <a:rPr lang="en-US" sz="900" b="0" kern="1200" dirty="0">
                <a:solidFill>
                  <a:schemeClr val="bg1"/>
                </a:solidFill>
                <a:latin typeface="Arial"/>
                <a:ea typeface="+mn-ea"/>
                <a:cs typeface="Arial"/>
              </a:rPr>
              <a:t>, its worldwide delivery model.</a:t>
            </a:r>
          </a:p>
          <a:p>
            <a:pPr marL="0" marR="0" indent="0" algn="just" rtl="0" eaLnBrk="1" latinLnBrk="0" hangingPunct="1">
              <a:spcBef>
                <a:spcPts val="514"/>
              </a:spcBef>
            </a:pPr>
            <a:r>
              <a:rPr lang="en-US" sz="900" b="0" kern="1200" dirty="0">
                <a:solidFill>
                  <a:schemeClr val="bg1"/>
                </a:solidFill>
                <a:latin typeface="Arial"/>
                <a:ea typeface="+mn-ea"/>
                <a:cs typeface="Arial"/>
              </a:rPr>
              <a:t>Learn more about us at </a:t>
            </a:r>
            <a:r>
              <a:rPr lang="en-US" sz="900" b="0" kern="1200" dirty="0">
                <a:solidFill>
                  <a:schemeClr val="bg1"/>
                </a:solidFill>
                <a:latin typeface="Arial"/>
                <a:ea typeface="+mn-ea"/>
                <a:cs typeface="Arial"/>
                <a:hlinkClick r:id="rId9"/>
              </a:rPr>
              <a:t>www.capgemini.com</a:t>
            </a:r>
            <a:r>
              <a:rPr lang="en-US" sz="900" b="0" kern="1200" dirty="0">
                <a:solidFill>
                  <a:schemeClr val="bg1"/>
                </a:solidFill>
                <a:latin typeface="Arial"/>
                <a:ea typeface="+mn-ea"/>
                <a:cs typeface="Arial"/>
              </a:rPr>
              <a:t>.</a:t>
            </a:r>
          </a:p>
        </p:txBody>
      </p:sp>
      <p:pic>
        <p:nvPicPr>
          <p:cNvPr id="339" name="Image 337" descr="CBE_Label_ppt.png"/>
          <p:cNvPicPr>
            <a:picLocks noChangeAspect="1"/>
          </p:cNvPicPr>
          <p:nvPr userDrawn="1"/>
        </p:nvPicPr>
        <p:blipFill>
          <a:blip r:embed="rId10" cstate="screen"/>
          <a:stretch>
            <a:fillRect/>
          </a:stretch>
        </p:blipFill>
        <p:spPr>
          <a:xfrm>
            <a:off x="800979" y="2635743"/>
            <a:ext cx="479605" cy="397082"/>
          </a:xfrm>
          <a:prstGeom prst="rect">
            <a:avLst/>
          </a:prstGeom>
        </p:spPr>
      </p:pic>
      <p:grpSp>
        <p:nvGrpSpPr>
          <p:cNvPr id="2" name="Group 73"/>
          <p:cNvGrpSpPr/>
          <p:nvPr userDrawn="1"/>
        </p:nvGrpSpPr>
        <p:grpSpPr>
          <a:xfrm>
            <a:off x="5279735" y="2717371"/>
            <a:ext cx="3531804" cy="1388639"/>
            <a:chOff x="5722379" y="3575705"/>
            <a:chExt cx="3826121" cy="1827268"/>
          </a:xfrm>
        </p:grpSpPr>
        <p:grpSp>
          <p:nvGrpSpPr>
            <p:cNvPr id="3" name="Group 141"/>
            <p:cNvGrpSpPr/>
            <p:nvPr userDrawn="1"/>
          </p:nvGrpSpPr>
          <p:grpSpPr>
            <a:xfrm>
              <a:off x="5722379" y="3575705"/>
              <a:ext cx="3826121" cy="1827268"/>
              <a:chOff x="5722379" y="3575705"/>
              <a:chExt cx="3826121" cy="1827268"/>
            </a:xfrm>
          </p:grpSpPr>
          <p:grpSp>
            <p:nvGrpSpPr>
              <p:cNvPr id="4" name="Groupe 203"/>
              <p:cNvGrpSpPr/>
              <p:nvPr userDrawn="1"/>
            </p:nvGrpSpPr>
            <p:grpSpPr>
              <a:xfrm>
                <a:off x="5722379" y="3575705"/>
                <a:ext cx="3826121" cy="1827268"/>
                <a:chOff x="5421313" y="3175001"/>
                <a:chExt cx="4141788" cy="1978025"/>
              </a:xfrm>
            </p:grpSpPr>
            <p:sp>
              <p:nvSpPr>
                <p:cNvPr id="125"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noFill/>
                  </a:endParaRPr>
                </a:p>
              </p:txBody>
            </p:sp>
            <p:sp>
              <p:nvSpPr>
                <p:cNvPr id="141"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22"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solidFill>
                <a:schemeClr val="accent2"/>
              </a:solid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142"/>
            <p:cNvGrpSpPr/>
            <p:nvPr userDrawn="1"/>
          </p:nvGrpSpPr>
          <p:grpSpPr>
            <a:xfrm>
              <a:off x="6087506" y="3983383"/>
              <a:ext cx="3425744" cy="1287587"/>
              <a:chOff x="6087506" y="3983383"/>
              <a:chExt cx="3425744" cy="1287587"/>
            </a:xfrm>
          </p:grpSpPr>
          <p:sp>
            <p:nvSpPr>
              <p:cNvPr id="77" name="Oval 26"/>
              <p:cNvSpPr>
                <a:spLocks noChangeArrowheads="1"/>
              </p:cNvSpPr>
              <p:nvPr userDrawn="1"/>
            </p:nvSpPr>
            <p:spPr bwMode="auto">
              <a:xfrm>
                <a:off x="6496659" y="4839819"/>
                <a:ext cx="29330" cy="30797"/>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Oval 27"/>
              <p:cNvSpPr>
                <a:spLocks noChangeArrowheads="1"/>
              </p:cNvSpPr>
              <p:nvPr userDrawn="1"/>
            </p:nvSpPr>
            <p:spPr bwMode="auto">
              <a:xfrm>
                <a:off x="6437999" y="4602246"/>
                <a:ext cx="30797" cy="30797"/>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Oval 28"/>
              <p:cNvSpPr>
                <a:spLocks noChangeArrowheads="1"/>
              </p:cNvSpPr>
              <p:nvPr userDrawn="1"/>
            </p:nvSpPr>
            <p:spPr bwMode="auto">
              <a:xfrm>
                <a:off x="9114362" y="5037796"/>
                <a:ext cx="29330"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29"/>
              <p:cNvSpPr>
                <a:spLocks noChangeArrowheads="1"/>
              </p:cNvSpPr>
              <p:nvPr userDrawn="1"/>
            </p:nvSpPr>
            <p:spPr bwMode="auto">
              <a:xfrm>
                <a:off x="9483920" y="5240173"/>
                <a:ext cx="29330" cy="30797"/>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Oval 30"/>
              <p:cNvSpPr>
                <a:spLocks noChangeArrowheads="1"/>
              </p:cNvSpPr>
              <p:nvPr userDrawn="1"/>
            </p:nvSpPr>
            <p:spPr bwMode="auto">
              <a:xfrm>
                <a:off x="8816662" y="4660906"/>
                <a:ext cx="30797" cy="30797"/>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31"/>
              <p:cNvSpPr>
                <a:spLocks noChangeArrowheads="1"/>
              </p:cNvSpPr>
              <p:nvPr userDrawn="1"/>
            </p:nvSpPr>
            <p:spPr bwMode="auto">
              <a:xfrm>
                <a:off x="8643615" y="4250286"/>
                <a:ext cx="30797"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32"/>
              <p:cNvSpPr>
                <a:spLocks noChangeArrowheads="1"/>
              </p:cNvSpPr>
              <p:nvPr userDrawn="1"/>
            </p:nvSpPr>
            <p:spPr bwMode="auto">
              <a:xfrm>
                <a:off x="8894387" y="4499591"/>
                <a:ext cx="29330" cy="30797"/>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33"/>
              <p:cNvSpPr>
                <a:spLocks noChangeArrowheads="1"/>
              </p:cNvSpPr>
              <p:nvPr userDrawn="1"/>
            </p:nvSpPr>
            <p:spPr bwMode="auto">
              <a:xfrm>
                <a:off x="9061568" y="4156430"/>
                <a:ext cx="30797"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Oval 34"/>
              <p:cNvSpPr>
                <a:spLocks noChangeArrowheads="1"/>
              </p:cNvSpPr>
              <p:nvPr userDrawn="1"/>
            </p:nvSpPr>
            <p:spPr bwMode="auto">
              <a:xfrm>
                <a:off x="8351782" y="4437998"/>
                <a:ext cx="30797"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35"/>
              <p:cNvSpPr>
                <a:spLocks noChangeArrowheads="1"/>
              </p:cNvSpPr>
              <p:nvPr userDrawn="1"/>
            </p:nvSpPr>
            <p:spPr bwMode="auto">
              <a:xfrm>
                <a:off x="8086345" y="4451196"/>
                <a:ext cx="30797" cy="30797"/>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36"/>
              <p:cNvSpPr>
                <a:spLocks noChangeArrowheads="1"/>
              </p:cNvSpPr>
              <p:nvPr userDrawn="1"/>
            </p:nvSpPr>
            <p:spPr bwMode="auto">
              <a:xfrm>
                <a:off x="7666926" y="5033397"/>
                <a:ext cx="29330"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37"/>
              <p:cNvSpPr>
                <a:spLocks noChangeArrowheads="1"/>
              </p:cNvSpPr>
              <p:nvPr userDrawn="1"/>
            </p:nvSpPr>
            <p:spPr bwMode="auto">
              <a:xfrm>
                <a:off x="7436686" y="4118301"/>
                <a:ext cx="30797"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38"/>
              <p:cNvSpPr>
                <a:spLocks noChangeArrowheads="1"/>
              </p:cNvSpPr>
              <p:nvPr userDrawn="1"/>
            </p:nvSpPr>
            <p:spPr bwMode="auto">
              <a:xfrm>
                <a:off x="7376559" y="4103636"/>
                <a:ext cx="30797"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39"/>
              <p:cNvSpPr>
                <a:spLocks noChangeArrowheads="1"/>
              </p:cNvSpPr>
              <p:nvPr userDrawn="1"/>
            </p:nvSpPr>
            <p:spPr bwMode="auto">
              <a:xfrm>
                <a:off x="7556939" y="4077239"/>
                <a:ext cx="29330"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Oval 40"/>
              <p:cNvSpPr>
                <a:spLocks noChangeArrowheads="1"/>
              </p:cNvSpPr>
              <p:nvPr userDrawn="1"/>
            </p:nvSpPr>
            <p:spPr bwMode="auto">
              <a:xfrm>
                <a:off x="7457217" y="4175494"/>
                <a:ext cx="29330"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41"/>
              <p:cNvSpPr>
                <a:spLocks noChangeArrowheads="1"/>
              </p:cNvSpPr>
              <p:nvPr userDrawn="1"/>
            </p:nvSpPr>
            <p:spPr bwMode="auto">
              <a:xfrm>
                <a:off x="7549606" y="4169628"/>
                <a:ext cx="30797" cy="30797"/>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Oval 42"/>
              <p:cNvSpPr>
                <a:spLocks noChangeArrowheads="1"/>
              </p:cNvSpPr>
              <p:nvPr userDrawn="1"/>
            </p:nvSpPr>
            <p:spPr bwMode="auto">
              <a:xfrm>
                <a:off x="7568671" y="4135899"/>
                <a:ext cx="29330"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43"/>
              <p:cNvSpPr>
                <a:spLocks noChangeArrowheads="1"/>
              </p:cNvSpPr>
              <p:nvPr userDrawn="1"/>
            </p:nvSpPr>
            <p:spPr bwMode="auto">
              <a:xfrm>
                <a:off x="7405889" y="4247353"/>
                <a:ext cx="29330"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44"/>
              <p:cNvSpPr>
                <a:spLocks noChangeArrowheads="1"/>
              </p:cNvSpPr>
              <p:nvPr userDrawn="1"/>
            </p:nvSpPr>
            <p:spPr bwMode="auto">
              <a:xfrm>
                <a:off x="7351629" y="4357340"/>
                <a:ext cx="29330"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45"/>
              <p:cNvSpPr>
                <a:spLocks noChangeArrowheads="1"/>
              </p:cNvSpPr>
              <p:nvPr userDrawn="1"/>
            </p:nvSpPr>
            <p:spPr bwMode="auto">
              <a:xfrm>
                <a:off x="7561338" y="4234154"/>
                <a:ext cx="29330" cy="30797"/>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Oval 46"/>
              <p:cNvSpPr>
                <a:spLocks noChangeArrowheads="1"/>
              </p:cNvSpPr>
              <p:nvPr userDrawn="1"/>
            </p:nvSpPr>
            <p:spPr bwMode="auto">
              <a:xfrm>
                <a:off x="7592135" y="4171095"/>
                <a:ext cx="29330"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Oval 47"/>
              <p:cNvSpPr>
                <a:spLocks noChangeArrowheads="1"/>
              </p:cNvSpPr>
              <p:nvPr userDrawn="1"/>
            </p:nvSpPr>
            <p:spPr bwMode="auto">
              <a:xfrm>
                <a:off x="7627331" y="4152030"/>
                <a:ext cx="30797"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Oval 48"/>
              <p:cNvSpPr>
                <a:spLocks noChangeArrowheads="1"/>
              </p:cNvSpPr>
              <p:nvPr userDrawn="1"/>
            </p:nvSpPr>
            <p:spPr bwMode="auto">
              <a:xfrm>
                <a:off x="7627331" y="4190159"/>
                <a:ext cx="30797" cy="30797"/>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Oval 49"/>
              <p:cNvSpPr>
                <a:spLocks noChangeArrowheads="1"/>
              </p:cNvSpPr>
              <p:nvPr userDrawn="1"/>
            </p:nvSpPr>
            <p:spPr bwMode="auto">
              <a:xfrm>
                <a:off x="7707988" y="4232688"/>
                <a:ext cx="29330"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Oval 50"/>
              <p:cNvSpPr>
                <a:spLocks noChangeArrowheads="1"/>
              </p:cNvSpPr>
              <p:nvPr userDrawn="1"/>
            </p:nvSpPr>
            <p:spPr bwMode="auto">
              <a:xfrm>
                <a:off x="7669859" y="4209224"/>
                <a:ext cx="29330"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Oval 51"/>
              <p:cNvSpPr>
                <a:spLocks noChangeArrowheads="1"/>
              </p:cNvSpPr>
              <p:nvPr userDrawn="1"/>
            </p:nvSpPr>
            <p:spPr bwMode="auto">
              <a:xfrm>
                <a:off x="7659594" y="4112435"/>
                <a:ext cx="29330" cy="30797"/>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52"/>
              <p:cNvSpPr>
                <a:spLocks noChangeArrowheads="1"/>
              </p:cNvSpPr>
              <p:nvPr userDrawn="1"/>
            </p:nvSpPr>
            <p:spPr bwMode="auto">
              <a:xfrm>
                <a:off x="7707988" y="4191626"/>
                <a:ext cx="29330"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Oval 53"/>
              <p:cNvSpPr>
                <a:spLocks noChangeArrowheads="1"/>
              </p:cNvSpPr>
              <p:nvPr userDrawn="1"/>
            </p:nvSpPr>
            <p:spPr bwMode="auto">
              <a:xfrm>
                <a:off x="7665460" y="4157896"/>
                <a:ext cx="29330" cy="30797"/>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Oval 54"/>
              <p:cNvSpPr>
                <a:spLocks noChangeArrowheads="1"/>
              </p:cNvSpPr>
              <p:nvPr userDrawn="1"/>
            </p:nvSpPr>
            <p:spPr bwMode="auto">
              <a:xfrm>
                <a:off x="7360428" y="4253219"/>
                <a:ext cx="29330"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Oval 55"/>
              <p:cNvSpPr>
                <a:spLocks noChangeArrowheads="1"/>
              </p:cNvSpPr>
              <p:nvPr userDrawn="1"/>
            </p:nvSpPr>
            <p:spPr bwMode="auto">
              <a:xfrm>
                <a:off x="6597848" y="3983383"/>
                <a:ext cx="29330" cy="30797"/>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Oval 56"/>
              <p:cNvSpPr>
                <a:spLocks noChangeArrowheads="1"/>
              </p:cNvSpPr>
              <p:nvPr userDrawn="1"/>
            </p:nvSpPr>
            <p:spPr bwMode="auto">
              <a:xfrm>
                <a:off x="6143233" y="4068440"/>
                <a:ext cx="30797" cy="30797"/>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Oval 57"/>
              <p:cNvSpPr>
                <a:spLocks noChangeArrowheads="1"/>
              </p:cNvSpPr>
              <p:nvPr userDrawn="1"/>
            </p:nvSpPr>
            <p:spPr bwMode="auto">
              <a:xfrm>
                <a:off x="6087506" y="4358807"/>
                <a:ext cx="29330"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Oval 58"/>
              <p:cNvSpPr>
                <a:spLocks noChangeArrowheads="1"/>
              </p:cNvSpPr>
              <p:nvPr userDrawn="1"/>
            </p:nvSpPr>
            <p:spPr bwMode="auto">
              <a:xfrm>
                <a:off x="6251754" y="4467328"/>
                <a:ext cx="29330"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Oval 59"/>
              <p:cNvSpPr>
                <a:spLocks noChangeArrowheads="1"/>
              </p:cNvSpPr>
              <p:nvPr userDrawn="1"/>
            </p:nvSpPr>
            <p:spPr bwMode="auto">
              <a:xfrm>
                <a:off x="6709302" y="4745963"/>
                <a:ext cx="30797"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Oval 60"/>
              <p:cNvSpPr>
                <a:spLocks noChangeArrowheads="1"/>
              </p:cNvSpPr>
              <p:nvPr userDrawn="1"/>
            </p:nvSpPr>
            <p:spPr bwMode="auto">
              <a:xfrm>
                <a:off x="6565585" y="5001134"/>
                <a:ext cx="29330" cy="30797"/>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61"/>
              <p:cNvSpPr>
                <a:spLocks noChangeArrowheads="1"/>
              </p:cNvSpPr>
              <p:nvPr userDrawn="1"/>
            </p:nvSpPr>
            <p:spPr bwMode="auto">
              <a:xfrm>
                <a:off x="7537874" y="4128566"/>
                <a:ext cx="30797"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Oval 62"/>
              <p:cNvSpPr>
                <a:spLocks noChangeArrowheads="1"/>
              </p:cNvSpPr>
              <p:nvPr userDrawn="1"/>
            </p:nvSpPr>
            <p:spPr bwMode="auto">
              <a:xfrm>
                <a:off x="7520276" y="3987782"/>
                <a:ext cx="29330" cy="30797"/>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63"/>
              <p:cNvSpPr>
                <a:spLocks noChangeArrowheads="1"/>
              </p:cNvSpPr>
              <p:nvPr userDrawn="1"/>
            </p:nvSpPr>
            <p:spPr bwMode="auto">
              <a:xfrm>
                <a:off x="7574537" y="4002447"/>
                <a:ext cx="30797" cy="30797"/>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Oval 64"/>
              <p:cNvSpPr>
                <a:spLocks noChangeArrowheads="1"/>
              </p:cNvSpPr>
              <p:nvPr userDrawn="1"/>
            </p:nvSpPr>
            <p:spPr bwMode="auto">
              <a:xfrm>
                <a:off x="7688924" y="3990715"/>
                <a:ext cx="29330" cy="30797"/>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65"/>
              <p:cNvSpPr>
                <a:spLocks noChangeArrowheads="1"/>
              </p:cNvSpPr>
              <p:nvPr userDrawn="1"/>
            </p:nvSpPr>
            <p:spPr bwMode="auto">
              <a:xfrm>
                <a:off x="7595068" y="4118301"/>
                <a:ext cx="29330"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Oval 66"/>
              <p:cNvSpPr>
                <a:spLocks noChangeArrowheads="1"/>
              </p:cNvSpPr>
              <p:nvPr userDrawn="1"/>
            </p:nvSpPr>
            <p:spPr bwMode="auto">
              <a:xfrm>
                <a:off x="8692010" y="4637442"/>
                <a:ext cx="29330" cy="30797"/>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Oval 67"/>
              <p:cNvSpPr>
                <a:spLocks noChangeArrowheads="1"/>
              </p:cNvSpPr>
              <p:nvPr userDrawn="1"/>
            </p:nvSpPr>
            <p:spPr bwMode="auto">
              <a:xfrm>
                <a:off x="8724273" y="4525988"/>
                <a:ext cx="30797" cy="30797"/>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Oval 68"/>
              <p:cNvSpPr>
                <a:spLocks noChangeArrowheads="1"/>
              </p:cNvSpPr>
              <p:nvPr userDrawn="1"/>
            </p:nvSpPr>
            <p:spPr bwMode="auto">
              <a:xfrm>
                <a:off x="8848925" y="4398402"/>
                <a:ext cx="29330" cy="30797"/>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Oval 69"/>
              <p:cNvSpPr>
                <a:spLocks noChangeArrowheads="1"/>
              </p:cNvSpPr>
              <p:nvPr userDrawn="1"/>
            </p:nvSpPr>
            <p:spPr bwMode="auto">
              <a:xfrm>
                <a:off x="8001288" y="4436531"/>
                <a:ext cx="29330" cy="2933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Title-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9144000" cy="5211763"/>
          </a:xfrm>
          <a:prstGeom prst="rect">
            <a:avLst/>
          </a:prstGeom>
        </p:spPr>
      </p:pic>
    </p:spTree>
    <p:extLst>
      <p:ext uri="{BB962C8B-B14F-4D97-AF65-F5344CB8AC3E}">
        <p14:creationId xmlns:p14="http://schemas.microsoft.com/office/powerpoint/2010/main" val="1830684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_Title-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9144000" cy="5211763"/>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504083" y="4696431"/>
            <a:ext cx="1587184" cy="309697"/>
          </a:xfrm>
          <a:prstGeom prst="rect">
            <a:avLst/>
          </a:prstGeom>
        </p:spPr>
      </p:pic>
      <p:sp>
        <p:nvSpPr>
          <p:cNvPr id="5" name="Title 4"/>
          <p:cNvSpPr>
            <a:spLocks noGrp="1"/>
          </p:cNvSpPr>
          <p:nvPr>
            <p:ph type="title" hasCustomPrompt="1"/>
          </p:nvPr>
        </p:nvSpPr>
        <p:spPr>
          <a:xfrm>
            <a:off x="5334029" y="1794582"/>
            <a:ext cx="3563482" cy="1095297"/>
          </a:xfrm>
        </p:spPr>
        <p:txBody>
          <a:bodyPr/>
          <a:lstStyle>
            <a:lvl1pPr>
              <a:lnSpc>
                <a:spcPts val="4560"/>
              </a:lnSpc>
              <a:defRPr sz="5472" b="1" spc="-152" baseline="0">
                <a:latin typeface="Arial Narrow" panose="020B0606020202030204" pitchFamily="34" charset="0"/>
              </a:defRPr>
            </a:lvl1pPr>
          </a:lstStyle>
          <a:p>
            <a:r>
              <a:rPr lang="en-US"/>
              <a:t>CLICK TO EDIT MASTER TITLE STYLE</a:t>
            </a:r>
          </a:p>
        </p:txBody>
      </p:sp>
    </p:spTree>
    <p:extLst>
      <p:ext uri="{BB962C8B-B14F-4D97-AF65-F5344CB8AC3E}">
        <p14:creationId xmlns:p14="http://schemas.microsoft.com/office/powerpoint/2010/main" val="3870815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Intro">
    <p:spTree>
      <p:nvGrpSpPr>
        <p:cNvPr id="1" name=""/>
        <p:cNvGrpSpPr/>
        <p:nvPr/>
      </p:nvGrpSpPr>
      <p:grpSpPr>
        <a:xfrm>
          <a:off x="0" y="0"/>
          <a:ext cx="0" cy="0"/>
          <a:chOff x="0" y="0"/>
          <a:chExt cx="0" cy="0"/>
        </a:xfrm>
      </p:grpSpPr>
      <p:sp>
        <p:nvSpPr>
          <p:cNvPr id="3" name="Rectangle 2"/>
          <p:cNvSpPr/>
          <p:nvPr userDrawn="1"/>
        </p:nvSpPr>
        <p:spPr>
          <a:xfrm>
            <a:off x="0" y="1"/>
            <a:ext cx="9144000" cy="488038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16"/>
          </a:p>
        </p:txBody>
      </p:sp>
      <p:sp>
        <p:nvSpPr>
          <p:cNvPr id="8" name="Content Placeholder 2"/>
          <p:cNvSpPr>
            <a:spLocks noGrp="1"/>
          </p:cNvSpPr>
          <p:nvPr>
            <p:ph idx="1" hasCustomPrompt="1"/>
          </p:nvPr>
        </p:nvSpPr>
        <p:spPr>
          <a:xfrm>
            <a:off x="574698" y="2651747"/>
            <a:ext cx="6198157" cy="334223"/>
          </a:xfrm>
        </p:spPr>
        <p:txBody>
          <a:bodyPr anchor="b"/>
          <a:lstStyle>
            <a:lvl1pPr marL="0" indent="0">
              <a:buNone/>
              <a:defRPr sz="1824" baseline="0">
                <a:solidFill>
                  <a:srgbClr val="FFFFFF"/>
                </a:solidFill>
              </a:defRPr>
            </a:lvl1pPr>
            <a:lvl2pPr>
              <a:defRPr>
                <a:solidFill>
                  <a:schemeClr val="tx1">
                    <a:lumMod val="65000"/>
                    <a:lumOff val="35000"/>
                  </a:schemeClr>
                </a:solidFill>
              </a:defRPr>
            </a:lvl2pPr>
          </a:lstStyle>
          <a:p>
            <a:pPr lvl="0"/>
            <a:r>
              <a:rPr lang="en-US"/>
              <a:t>Section Headline</a:t>
            </a:r>
          </a:p>
        </p:txBody>
      </p:sp>
      <p:sp>
        <p:nvSpPr>
          <p:cNvPr id="9" name="Content Placeholder 2"/>
          <p:cNvSpPr>
            <a:spLocks noGrp="1"/>
          </p:cNvSpPr>
          <p:nvPr>
            <p:ph idx="10" hasCustomPrompt="1"/>
          </p:nvPr>
        </p:nvSpPr>
        <p:spPr>
          <a:xfrm>
            <a:off x="574698" y="3066056"/>
            <a:ext cx="6198157" cy="334223"/>
          </a:xfrm>
        </p:spPr>
        <p:txBody>
          <a:bodyPr anchor="b"/>
          <a:lstStyle>
            <a:lvl1pPr marL="0" indent="0">
              <a:buNone/>
              <a:defRPr sz="1368" baseline="0">
                <a:solidFill>
                  <a:srgbClr val="FFFFFF"/>
                </a:solidFill>
              </a:defRPr>
            </a:lvl1pPr>
            <a:lvl2pPr>
              <a:defRPr>
                <a:solidFill>
                  <a:schemeClr val="tx1">
                    <a:lumMod val="65000"/>
                    <a:lumOff val="35000"/>
                  </a:schemeClr>
                </a:solidFill>
              </a:defRPr>
            </a:lvl2pPr>
          </a:lstStyle>
          <a:p>
            <a:pPr lvl="0"/>
            <a:r>
              <a:rPr lang="en-US"/>
              <a:t>Section </a:t>
            </a:r>
            <a:r>
              <a:rPr lang="en-US" err="1"/>
              <a:t>SubHead</a:t>
            </a:r>
            <a:endParaRPr lang="en-US"/>
          </a:p>
        </p:txBody>
      </p:sp>
      <p:sp>
        <p:nvSpPr>
          <p:cNvPr id="11" name="Rectangle 10"/>
          <p:cNvSpPr/>
          <p:nvPr userDrawn="1"/>
        </p:nvSpPr>
        <p:spPr>
          <a:xfrm>
            <a:off x="0" y="4796236"/>
            <a:ext cx="9144000" cy="415526"/>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16"/>
          </a:p>
        </p:txBody>
      </p:sp>
      <p:pic>
        <p:nvPicPr>
          <p:cNvPr id="13" name="Picture 12"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6081" y="4863454"/>
            <a:ext cx="2594187" cy="284219"/>
          </a:xfrm>
          <a:prstGeom prst="rect">
            <a:avLst/>
          </a:prstGeom>
        </p:spPr>
      </p:pic>
      <p:sp>
        <p:nvSpPr>
          <p:cNvPr id="10" name="Text Placeholder 10"/>
          <p:cNvSpPr txBox="1">
            <a:spLocks/>
          </p:cNvSpPr>
          <p:nvPr userDrawn="1"/>
        </p:nvSpPr>
        <p:spPr bwMode="auto">
          <a:xfrm>
            <a:off x="8550964" y="4822617"/>
            <a:ext cx="688287" cy="419032"/>
          </a:xfrm>
          <a:prstGeom prst="rect">
            <a:avLst/>
          </a:prstGeom>
          <a:noFill/>
          <a:ln w="9525">
            <a:noFill/>
            <a:miter lim="800000"/>
            <a:headEnd/>
            <a:tailEnd/>
          </a:ln>
        </p:spPr>
        <p:txBody>
          <a:bodyPr lIns="69416" tIns="34709" rIns="208471" bIns="34709" anchor="ctr"/>
          <a:lstStyle/>
          <a:p>
            <a:pPr marL="259398" indent="-259398" algn="ctr" defTabSz="346266">
              <a:spcBef>
                <a:spcPct val="20000"/>
              </a:spcBef>
              <a:buFont typeface="Arial" pitchFamily="34" charset="0"/>
              <a:buNone/>
              <a:defRPr/>
            </a:pPr>
            <a:r>
              <a:rPr lang="en-US" sz="684">
                <a:solidFill>
                  <a:schemeClr val="bg1">
                    <a:lumMod val="65000"/>
                  </a:schemeClr>
                </a:solidFill>
                <a:cs typeface="Arial" pitchFamily="34" charset="0"/>
                <a:sym typeface="Arial" pitchFamily="34" charset="0"/>
              </a:rPr>
              <a:t>  </a:t>
            </a:r>
            <a:fld id="{C1209FD9-C7F3-4875-AF7D-3292D13E6022}" type="slidenum">
              <a:rPr lang="en-US" sz="684">
                <a:solidFill>
                  <a:srgbClr val="FFFFFF"/>
                </a:solidFill>
                <a:cs typeface="Arial" pitchFamily="34" charset="0"/>
                <a:sym typeface="Arial" pitchFamily="34" charset="0"/>
              </a:rPr>
              <a:pPr marL="259398" indent="-259398" algn="ctr" defTabSz="346266">
                <a:spcBef>
                  <a:spcPct val="20000"/>
                </a:spcBef>
                <a:buFont typeface="Arial" pitchFamily="34" charset="0"/>
                <a:buNone/>
                <a:defRPr/>
              </a:pPr>
              <a:t>‹#›</a:t>
            </a:fld>
            <a:endParaRPr lang="en-US" sz="684">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2540564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457200" y="222368"/>
            <a:ext cx="8229600" cy="368195"/>
          </a:xfrm>
          <a:prstGeom prst="rect">
            <a:avLst/>
          </a:prstGeom>
          <a:noFill/>
          <a:ln w="9525">
            <a:noFill/>
            <a:miter lim="800000"/>
            <a:headEnd/>
            <a:tailEnd/>
          </a:ln>
        </p:spPr>
        <p:txBody>
          <a:bodyPr vert="horz" wrap="square" lIns="0" tIns="0" rIns="91342" bIns="0" numCol="1" anchor="b" anchorCtr="0" compatLnSpc="1">
            <a:prstTxWarp prst="textNoShape">
              <a:avLst/>
            </a:prstTxWarp>
          </a:bodyPr>
          <a:lstStyle/>
          <a:p>
            <a:pPr lvl="0"/>
            <a:r>
              <a:rPr lang="en-US"/>
              <a:t>Click to edit Master title style</a:t>
            </a:r>
          </a:p>
        </p:txBody>
      </p:sp>
      <p:sp>
        <p:nvSpPr>
          <p:cNvPr id="5" name="Text Placeholder 2"/>
          <p:cNvSpPr>
            <a:spLocks noGrp="1"/>
          </p:cNvSpPr>
          <p:nvPr>
            <p:ph idx="1"/>
          </p:nvPr>
        </p:nvSpPr>
        <p:spPr bwMode="auto">
          <a:xfrm>
            <a:off x="457200" y="1050434"/>
            <a:ext cx="8229600" cy="36051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56845" indent="-156845">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84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NO Background">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457200" y="222368"/>
            <a:ext cx="8229600" cy="368195"/>
          </a:xfrm>
          <a:prstGeom prst="rect">
            <a:avLst/>
          </a:prstGeom>
          <a:noFill/>
          <a:ln w="9525">
            <a:noFill/>
            <a:miter lim="800000"/>
            <a:headEnd/>
            <a:tailEnd/>
          </a:ln>
        </p:spPr>
        <p:txBody>
          <a:bodyPr vert="horz" wrap="square" lIns="0" tIns="0" rIns="91342" bIns="0" numCol="1" anchor="b" anchorCtr="0" compatLnSpc="1">
            <a:prstTxWarp prst="textNoShape">
              <a:avLst/>
            </a:prstTxWarp>
          </a:bodyPr>
          <a:lstStyle/>
          <a:p>
            <a:pPr lvl="0"/>
            <a:r>
              <a:rPr lang="en-US"/>
              <a:t>Click to edit Master title style</a:t>
            </a:r>
          </a:p>
        </p:txBody>
      </p:sp>
      <p:sp>
        <p:nvSpPr>
          <p:cNvPr id="5" name="Text Placeholder 2"/>
          <p:cNvSpPr>
            <a:spLocks noGrp="1"/>
          </p:cNvSpPr>
          <p:nvPr>
            <p:ph idx="1"/>
          </p:nvPr>
        </p:nvSpPr>
        <p:spPr bwMode="auto">
          <a:xfrm>
            <a:off x="457200" y="1050434"/>
            <a:ext cx="8229600" cy="36051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56845" indent="-156845">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a:xfrm>
            <a:off x="0" y="4875356"/>
            <a:ext cx="9144000" cy="336406"/>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16"/>
          </a:p>
        </p:txBody>
      </p:sp>
      <p:sp>
        <p:nvSpPr>
          <p:cNvPr id="7" name="Text Placeholder 10"/>
          <p:cNvSpPr txBox="1">
            <a:spLocks/>
          </p:cNvSpPr>
          <p:nvPr userDrawn="1"/>
        </p:nvSpPr>
        <p:spPr bwMode="auto">
          <a:xfrm>
            <a:off x="8550964" y="4822617"/>
            <a:ext cx="688287" cy="419032"/>
          </a:xfrm>
          <a:prstGeom prst="rect">
            <a:avLst/>
          </a:prstGeom>
          <a:noFill/>
          <a:ln w="9525">
            <a:noFill/>
            <a:miter lim="800000"/>
            <a:headEnd/>
            <a:tailEnd/>
          </a:ln>
        </p:spPr>
        <p:txBody>
          <a:bodyPr lIns="69416" tIns="34709" rIns="208471" bIns="34709" anchor="ctr"/>
          <a:lstStyle/>
          <a:p>
            <a:pPr marL="259398" indent="-259398" algn="ctr" defTabSz="346266">
              <a:spcBef>
                <a:spcPct val="20000"/>
              </a:spcBef>
              <a:buFont typeface="Arial" pitchFamily="34" charset="0"/>
              <a:buNone/>
              <a:defRPr/>
            </a:pPr>
            <a:r>
              <a:rPr lang="en-US" sz="684">
                <a:solidFill>
                  <a:schemeClr val="bg1">
                    <a:lumMod val="65000"/>
                  </a:schemeClr>
                </a:solidFill>
                <a:cs typeface="Arial" pitchFamily="34" charset="0"/>
                <a:sym typeface="Arial" pitchFamily="34" charset="0"/>
              </a:rPr>
              <a:t>  </a:t>
            </a:r>
            <a:fld id="{C1209FD9-C7F3-4875-AF7D-3292D13E6022}" type="slidenum">
              <a:rPr lang="en-US" sz="684">
                <a:solidFill>
                  <a:srgbClr val="FFFFFF"/>
                </a:solidFill>
                <a:cs typeface="Arial" pitchFamily="34" charset="0"/>
                <a:sym typeface="Arial" pitchFamily="34" charset="0"/>
              </a:rPr>
              <a:pPr marL="259398" indent="-259398" algn="ctr" defTabSz="346266">
                <a:spcBef>
                  <a:spcPct val="20000"/>
                </a:spcBef>
                <a:buFont typeface="Arial" pitchFamily="34" charset="0"/>
                <a:buNone/>
                <a:defRPr/>
              </a:pPr>
              <a:t>‹#›</a:t>
            </a:fld>
            <a:endParaRPr lang="en-US" sz="684">
              <a:solidFill>
                <a:srgbClr val="FFFFFF"/>
              </a:solidFill>
              <a:cs typeface="Arial" pitchFamily="34" charset="0"/>
              <a:sym typeface="Arial" pitchFamily="34" charset="0"/>
            </a:endParaRPr>
          </a:p>
        </p:txBody>
      </p:sp>
      <p:pic>
        <p:nvPicPr>
          <p:cNvPr id="8" name="Picture 7"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6081" y="4897629"/>
            <a:ext cx="2594187" cy="284219"/>
          </a:xfrm>
          <a:prstGeom prst="rect">
            <a:avLst/>
          </a:prstGeom>
        </p:spPr>
      </p:pic>
    </p:spTree>
    <p:extLst>
      <p:ext uri="{BB962C8B-B14F-4D97-AF65-F5344CB8AC3E}">
        <p14:creationId xmlns:p14="http://schemas.microsoft.com/office/powerpoint/2010/main" val="2949003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11" name="Rectangle 10"/>
          <p:cNvSpPr/>
          <p:nvPr userDrawn="1"/>
        </p:nvSpPr>
        <p:spPr>
          <a:xfrm>
            <a:off x="0" y="4875356"/>
            <a:ext cx="9144000" cy="336406"/>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16"/>
          </a:p>
        </p:txBody>
      </p:sp>
      <p:pic>
        <p:nvPicPr>
          <p:cNvPr id="7" name="Picture 6"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6081" y="4897629"/>
            <a:ext cx="2594187" cy="284219"/>
          </a:xfrm>
          <a:prstGeom prst="rect">
            <a:avLst/>
          </a:prstGeom>
        </p:spPr>
      </p:pic>
      <p:sp>
        <p:nvSpPr>
          <p:cNvPr id="4" name="Title Placeholder 1"/>
          <p:cNvSpPr>
            <a:spLocks noGrp="1"/>
          </p:cNvSpPr>
          <p:nvPr>
            <p:ph type="title"/>
          </p:nvPr>
        </p:nvSpPr>
        <p:spPr bwMode="auto">
          <a:xfrm>
            <a:off x="457200" y="222368"/>
            <a:ext cx="8229600" cy="368195"/>
          </a:xfrm>
          <a:prstGeom prst="rect">
            <a:avLst/>
          </a:prstGeom>
          <a:noFill/>
          <a:ln w="9525">
            <a:noFill/>
            <a:miter lim="800000"/>
            <a:headEnd/>
            <a:tailEnd/>
          </a:ln>
        </p:spPr>
        <p:txBody>
          <a:bodyPr vert="horz" wrap="square" lIns="0" tIns="0" rIns="91342" bIns="0" numCol="1" anchor="b" anchorCtr="0" compatLnSpc="1">
            <a:prstTxWarp prst="textNoShape">
              <a:avLst/>
            </a:prstTxWarp>
          </a:bodyPr>
          <a:lstStyle/>
          <a:p>
            <a:pPr lvl="0"/>
            <a:r>
              <a:rPr lang="en-US"/>
              <a:t>Click to edit Master title style</a:t>
            </a:r>
          </a:p>
        </p:txBody>
      </p:sp>
      <p:sp>
        <p:nvSpPr>
          <p:cNvPr id="5" name="Text Placeholder 2"/>
          <p:cNvSpPr>
            <a:spLocks noGrp="1"/>
          </p:cNvSpPr>
          <p:nvPr>
            <p:ph idx="1"/>
          </p:nvPr>
        </p:nvSpPr>
        <p:spPr bwMode="auto">
          <a:xfrm>
            <a:off x="457200" y="1042353"/>
            <a:ext cx="8229600" cy="36132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0"/>
          <p:cNvSpPr txBox="1">
            <a:spLocks/>
          </p:cNvSpPr>
          <p:nvPr userDrawn="1"/>
        </p:nvSpPr>
        <p:spPr bwMode="auto">
          <a:xfrm>
            <a:off x="8550964" y="4822617"/>
            <a:ext cx="688287" cy="419032"/>
          </a:xfrm>
          <a:prstGeom prst="rect">
            <a:avLst/>
          </a:prstGeom>
          <a:noFill/>
          <a:ln w="9525">
            <a:noFill/>
            <a:miter lim="800000"/>
            <a:headEnd/>
            <a:tailEnd/>
          </a:ln>
        </p:spPr>
        <p:txBody>
          <a:bodyPr lIns="69416" tIns="34709" rIns="208471" bIns="34709" anchor="ctr"/>
          <a:lstStyle/>
          <a:p>
            <a:pPr marL="259398" indent="-259398" algn="ctr" defTabSz="346266">
              <a:spcBef>
                <a:spcPct val="20000"/>
              </a:spcBef>
              <a:buFont typeface="Arial" pitchFamily="34" charset="0"/>
              <a:buNone/>
              <a:defRPr/>
            </a:pPr>
            <a:r>
              <a:rPr lang="en-US" sz="684">
                <a:solidFill>
                  <a:schemeClr val="bg1">
                    <a:lumMod val="65000"/>
                  </a:schemeClr>
                </a:solidFill>
                <a:cs typeface="Arial" pitchFamily="34" charset="0"/>
                <a:sym typeface="Arial" pitchFamily="34" charset="0"/>
              </a:rPr>
              <a:t>  </a:t>
            </a:r>
            <a:fld id="{C1209FD9-C7F3-4875-AF7D-3292D13E6022}" type="slidenum">
              <a:rPr lang="en-US" sz="684">
                <a:solidFill>
                  <a:srgbClr val="FFFFFF"/>
                </a:solidFill>
                <a:cs typeface="Arial" pitchFamily="34" charset="0"/>
                <a:sym typeface="Arial" pitchFamily="34" charset="0"/>
              </a:rPr>
              <a:pPr marL="259398" indent="-259398" algn="ctr" defTabSz="346266">
                <a:spcBef>
                  <a:spcPct val="20000"/>
                </a:spcBef>
                <a:buFont typeface="Arial" pitchFamily="34" charset="0"/>
                <a:buNone/>
                <a:defRPr/>
              </a:pPr>
              <a:t>‹#›</a:t>
            </a:fld>
            <a:endParaRPr lang="en-US" sz="684">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405035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146538" cy="120643"/>
        </p:xfrm>
        <a:graphic>
          <a:graphicData uri="http://schemas.openxmlformats.org/presentationml/2006/ole">
            <mc:AlternateContent xmlns:mc="http://schemas.openxmlformats.org/markup-compatibility/2006">
              <mc:Choice xmlns:v="urn:schemas-microsoft-com:vml" Requires="v">
                <p:oleObj spid="_x0000_s122394" name="think-cell Slide" r:id="rId5" imgW="360" imgH="360" progId="">
                  <p:embed/>
                </p:oleObj>
              </mc:Choice>
              <mc:Fallback>
                <p:oleObj name="think-cell Slide" r:id="rId5" imgW="360" imgH="360" progId="">
                  <p:embed/>
                  <p:pic>
                    <p:nvPicPr>
                      <p:cNvPr id="0" name="Picture 25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538" cy="1206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2438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sp>
        <p:nvSpPr>
          <p:cNvPr id="14" name="Rectangle 13"/>
          <p:cNvSpPr/>
          <p:nvPr userDrawn="1"/>
        </p:nvSpPr>
        <p:spPr>
          <a:xfrm>
            <a:off x="0" y="4875356"/>
            <a:ext cx="9144000" cy="336406"/>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16"/>
          </a:p>
        </p:txBody>
      </p:sp>
      <p:sp>
        <p:nvSpPr>
          <p:cNvPr id="2" name="Rectangle 1"/>
          <p:cNvSpPr/>
          <p:nvPr userDrawn="1"/>
        </p:nvSpPr>
        <p:spPr>
          <a:xfrm>
            <a:off x="0" y="0"/>
            <a:ext cx="9144000" cy="487945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16"/>
          </a:p>
        </p:txBody>
      </p:sp>
      <p:pic>
        <p:nvPicPr>
          <p:cNvPr id="7" name="Picture 6"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6081" y="4909021"/>
            <a:ext cx="2594187" cy="284219"/>
          </a:xfrm>
          <a:prstGeom prst="rect">
            <a:avLst/>
          </a:prstGeom>
        </p:spPr>
      </p:pic>
      <p:sp>
        <p:nvSpPr>
          <p:cNvPr id="10" name="Text Placeholder 9"/>
          <p:cNvSpPr>
            <a:spLocks noGrp="1"/>
          </p:cNvSpPr>
          <p:nvPr>
            <p:ph type="body" sz="quarter" idx="10" hasCustomPrompt="1"/>
          </p:nvPr>
        </p:nvSpPr>
        <p:spPr>
          <a:xfrm>
            <a:off x="0" y="1917013"/>
            <a:ext cx="9144000" cy="740987"/>
          </a:xfrm>
        </p:spPr>
        <p:txBody>
          <a:bodyPr/>
          <a:lstStyle>
            <a:lvl1pPr marL="0" indent="0" algn="ctr">
              <a:buNone/>
              <a:defRPr sz="3952">
                <a:solidFill>
                  <a:srgbClr val="FFFFFF"/>
                </a:solidFill>
              </a:defRPr>
            </a:lvl1pPr>
          </a:lstStyle>
          <a:p>
            <a:pPr lvl="0"/>
            <a:r>
              <a:rPr lang="en-US"/>
              <a:t>Click to edit Title</a:t>
            </a:r>
          </a:p>
        </p:txBody>
      </p:sp>
      <p:sp>
        <p:nvSpPr>
          <p:cNvPr id="16" name="Text Placeholder 15"/>
          <p:cNvSpPr>
            <a:spLocks noGrp="1"/>
          </p:cNvSpPr>
          <p:nvPr>
            <p:ph type="body" sz="quarter" idx="11" hasCustomPrompt="1"/>
          </p:nvPr>
        </p:nvSpPr>
        <p:spPr>
          <a:xfrm>
            <a:off x="1717040" y="2657516"/>
            <a:ext cx="5730241" cy="1830150"/>
          </a:xfrm>
        </p:spPr>
        <p:txBody>
          <a:bodyPr/>
          <a:lstStyle>
            <a:lvl1pPr marL="0" marR="0" indent="0" algn="ctr" defTabSz="346266" rtl="0" eaLnBrk="1" fontAlgn="base" latinLnBrk="0" hangingPunct="1">
              <a:lnSpc>
                <a:spcPts val="2128"/>
              </a:lnSpc>
              <a:spcBef>
                <a:spcPts val="0"/>
              </a:spcBef>
              <a:spcAft>
                <a:spcPct val="0"/>
              </a:spcAft>
              <a:buClr>
                <a:schemeClr val="accent1"/>
              </a:buClr>
              <a:buSzTx/>
              <a:buFont typeface="Arial"/>
              <a:buNone/>
              <a:tabLst/>
              <a:defRPr sz="1292">
                <a:solidFill>
                  <a:srgbClr val="FFFFFF"/>
                </a:solidFill>
                <a:latin typeface="Georgia"/>
                <a:cs typeface="Georgia"/>
              </a:defRPr>
            </a:lvl1pPr>
            <a:lvl2pPr marL="236474" indent="0" algn="ctr">
              <a:buNone/>
              <a:defRPr sz="1216">
                <a:solidFill>
                  <a:srgbClr val="FFFFFF"/>
                </a:solidFill>
                <a:latin typeface="Georgia"/>
                <a:cs typeface="Georgia"/>
              </a:defRPr>
            </a:lvl2pPr>
            <a:lvl3pPr marL="515176" indent="0" algn="ctr">
              <a:buNone/>
              <a:defRPr sz="1216">
                <a:solidFill>
                  <a:srgbClr val="FFFFFF"/>
                </a:solidFill>
                <a:latin typeface="Georgia"/>
                <a:cs typeface="Georgia"/>
              </a:defRPr>
            </a:lvl3pPr>
            <a:lvl4pPr marL="722694" indent="0" algn="ctr">
              <a:buNone/>
              <a:defRPr sz="1216">
                <a:solidFill>
                  <a:srgbClr val="FFFFFF"/>
                </a:solidFill>
                <a:latin typeface="Georgia"/>
                <a:cs typeface="Georgia"/>
              </a:defRPr>
            </a:lvl4pPr>
            <a:lvl5pPr marL="931418" indent="0" algn="ctr">
              <a:buNone/>
              <a:defRPr sz="1216">
                <a:solidFill>
                  <a:srgbClr val="FFFFFF"/>
                </a:solidFill>
                <a:latin typeface="Georgia"/>
                <a:cs typeface="Georgia"/>
              </a:defRPr>
            </a:lvl5pPr>
          </a:lstStyle>
          <a:p>
            <a:pPr lvl="0"/>
            <a:r>
              <a:rPr lang="en-US"/>
              <a:t>Click to edit Description</a:t>
            </a:r>
          </a:p>
        </p:txBody>
      </p:sp>
      <p:sp>
        <p:nvSpPr>
          <p:cNvPr id="9" name="Text Placeholder 10"/>
          <p:cNvSpPr txBox="1">
            <a:spLocks/>
          </p:cNvSpPr>
          <p:nvPr userDrawn="1"/>
        </p:nvSpPr>
        <p:spPr bwMode="auto">
          <a:xfrm>
            <a:off x="8550964" y="4822617"/>
            <a:ext cx="688287" cy="419032"/>
          </a:xfrm>
          <a:prstGeom prst="rect">
            <a:avLst/>
          </a:prstGeom>
          <a:noFill/>
          <a:ln w="9525">
            <a:noFill/>
            <a:miter lim="800000"/>
            <a:headEnd/>
            <a:tailEnd/>
          </a:ln>
        </p:spPr>
        <p:txBody>
          <a:bodyPr lIns="69416" tIns="34709" rIns="208471" bIns="34709" anchor="ctr"/>
          <a:lstStyle/>
          <a:p>
            <a:pPr marL="259398" indent="-259398" algn="ctr" defTabSz="346266">
              <a:spcBef>
                <a:spcPct val="20000"/>
              </a:spcBef>
              <a:buFont typeface="Arial" pitchFamily="34" charset="0"/>
              <a:buNone/>
              <a:defRPr/>
            </a:pPr>
            <a:r>
              <a:rPr lang="en-US" sz="684">
                <a:solidFill>
                  <a:schemeClr val="bg1">
                    <a:lumMod val="65000"/>
                  </a:schemeClr>
                </a:solidFill>
                <a:cs typeface="Arial" pitchFamily="34" charset="0"/>
                <a:sym typeface="Arial" pitchFamily="34" charset="0"/>
              </a:rPr>
              <a:t>  </a:t>
            </a:r>
            <a:fld id="{C1209FD9-C7F3-4875-AF7D-3292D13E6022}" type="slidenum">
              <a:rPr lang="en-US" sz="684">
                <a:solidFill>
                  <a:srgbClr val="FFFFFF"/>
                </a:solidFill>
                <a:cs typeface="Arial" pitchFamily="34" charset="0"/>
                <a:sym typeface="Arial" pitchFamily="34" charset="0"/>
              </a:rPr>
              <a:pPr marL="259398" indent="-259398" algn="ctr" defTabSz="346266">
                <a:spcBef>
                  <a:spcPct val="20000"/>
                </a:spcBef>
                <a:buFont typeface="Arial" pitchFamily="34" charset="0"/>
                <a:buNone/>
                <a:defRPr/>
              </a:pPr>
              <a:t>‹#›</a:t>
            </a:fld>
            <a:endParaRPr lang="en-US" sz="684">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1066557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034272"/>
            <a:ext cx="4038600" cy="3620557"/>
          </a:xfrm>
        </p:spPr>
        <p:txBody>
          <a:bodyPr/>
          <a:lstStyle>
            <a:lvl1pPr>
              <a:defRPr sz="760"/>
            </a:lvl1pPr>
            <a:lvl2pPr>
              <a:defRPr sz="760"/>
            </a:lvl2pPr>
            <a:lvl3pPr>
              <a:defRPr sz="760"/>
            </a:lvl3pPr>
            <a:lvl4pPr>
              <a:defRPr sz="760"/>
            </a:lvl4pPr>
            <a:lvl5pPr>
              <a:defRPr sz="760"/>
            </a:lvl5pPr>
            <a:lvl6pPr>
              <a:defRPr sz="1368"/>
            </a:lvl6pPr>
            <a:lvl7pPr>
              <a:defRPr sz="1368"/>
            </a:lvl7pPr>
            <a:lvl8pPr>
              <a:defRPr sz="1368"/>
            </a:lvl8pPr>
            <a:lvl9pPr>
              <a:defRPr sz="136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034272"/>
            <a:ext cx="4038600" cy="3620557"/>
          </a:xfrm>
        </p:spPr>
        <p:txBody>
          <a:bodyPr/>
          <a:lstStyle>
            <a:lvl1pPr>
              <a:defRPr sz="760"/>
            </a:lvl1pPr>
            <a:lvl2pPr>
              <a:defRPr sz="760"/>
            </a:lvl2pPr>
            <a:lvl3pPr>
              <a:defRPr sz="760"/>
            </a:lvl3pPr>
            <a:lvl4pPr>
              <a:defRPr sz="760"/>
            </a:lvl4pPr>
            <a:lvl5pPr>
              <a:defRPr sz="760"/>
            </a:lvl5pPr>
            <a:lvl6pPr>
              <a:defRPr sz="1368"/>
            </a:lvl6pPr>
            <a:lvl7pPr>
              <a:defRPr sz="1368"/>
            </a:lvl7pPr>
            <a:lvl8pPr>
              <a:defRPr sz="1368"/>
            </a:lvl8pPr>
            <a:lvl9pPr>
              <a:defRPr sz="136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8461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457200" y="1034272"/>
            <a:ext cx="2633472" cy="3624082"/>
          </a:xfrm>
        </p:spPr>
        <p:txBody>
          <a:bodyPr/>
          <a:lstStyle>
            <a:lvl1pPr>
              <a:defRPr sz="912">
                <a:solidFill>
                  <a:schemeClr val="tx1">
                    <a:lumMod val="65000"/>
                    <a:lumOff val="35000"/>
                  </a:schemeClr>
                </a:solidFill>
              </a:defRPr>
            </a:lvl1pPr>
            <a:lvl2pPr>
              <a:defRPr sz="836">
                <a:solidFill>
                  <a:schemeClr val="tx1">
                    <a:lumMod val="65000"/>
                    <a:lumOff val="35000"/>
                  </a:schemeClr>
                </a:solidFill>
              </a:defRPr>
            </a:lvl2pPr>
            <a:lvl3pPr>
              <a:defRPr sz="798">
                <a:solidFill>
                  <a:schemeClr val="tx1">
                    <a:lumMod val="65000"/>
                    <a:lumOff val="35000"/>
                  </a:schemeClr>
                </a:solidFill>
              </a:defRPr>
            </a:lvl3pPr>
            <a:lvl4pPr>
              <a:defRPr sz="760">
                <a:solidFill>
                  <a:schemeClr val="tx1">
                    <a:lumMod val="65000"/>
                    <a:lumOff val="35000"/>
                  </a:schemeClr>
                </a:solidFill>
              </a:defRPr>
            </a:lvl4pPr>
            <a:lvl5pPr>
              <a:defRPr sz="760">
                <a:solidFill>
                  <a:schemeClr val="tx1">
                    <a:lumMod val="65000"/>
                    <a:lumOff val="35000"/>
                  </a:schemeClr>
                </a:solidFill>
              </a:defRPr>
            </a:lvl5pPr>
            <a:lvl6pPr>
              <a:defRPr sz="1216"/>
            </a:lvl6pPr>
            <a:lvl7pPr>
              <a:defRPr sz="1216"/>
            </a:lvl7pPr>
            <a:lvl8pPr>
              <a:defRPr sz="1216"/>
            </a:lvl8pPr>
            <a:lvl9pPr>
              <a:defRPr sz="121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3255265" y="1034272"/>
            <a:ext cx="2633472" cy="3624082"/>
          </a:xfrm>
        </p:spPr>
        <p:txBody>
          <a:bodyPr/>
          <a:lstStyle>
            <a:lvl1pPr>
              <a:defRPr sz="760">
                <a:solidFill>
                  <a:schemeClr val="tx1">
                    <a:lumMod val="65000"/>
                    <a:lumOff val="35000"/>
                  </a:schemeClr>
                </a:solidFill>
              </a:defRPr>
            </a:lvl1pPr>
            <a:lvl2pPr>
              <a:defRPr sz="760">
                <a:solidFill>
                  <a:schemeClr val="tx1">
                    <a:lumMod val="65000"/>
                    <a:lumOff val="35000"/>
                  </a:schemeClr>
                </a:solidFill>
              </a:defRPr>
            </a:lvl2pPr>
            <a:lvl3pPr>
              <a:defRPr sz="760">
                <a:solidFill>
                  <a:schemeClr val="tx1">
                    <a:lumMod val="65000"/>
                    <a:lumOff val="35000"/>
                  </a:schemeClr>
                </a:solidFill>
              </a:defRPr>
            </a:lvl3pPr>
            <a:lvl4pPr>
              <a:defRPr sz="760">
                <a:solidFill>
                  <a:schemeClr val="tx1">
                    <a:lumMod val="65000"/>
                    <a:lumOff val="35000"/>
                  </a:schemeClr>
                </a:solidFill>
              </a:defRPr>
            </a:lvl4pPr>
            <a:lvl5pPr>
              <a:defRPr sz="760">
                <a:solidFill>
                  <a:schemeClr val="tx1">
                    <a:lumMod val="65000"/>
                    <a:lumOff val="35000"/>
                  </a:schemeClr>
                </a:solidFill>
              </a:defRPr>
            </a:lvl5pPr>
            <a:lvl6pPr>
              <a:defRPr sz="1216"/>
            </a:lvl6pPr>
            <a:lvl7pPr>
              <a:defRPr sz="1216"/>
            </a:lvl7pPr>
            <a:lvl8pPr>
              <a:defRPr sz="1216"/>
            </a:lvl8pPr>
            <a:lvl9pPr>
              <a:defRPr sz="121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p:cNvSpPr>
            <a:spLocks noGrp="1"/>
          </p:cNvSpPr>
          <p:nvPr>
            <p:ph type="body" sz="quarter" idx="13"/>
          </p:nvPr>
        </p:nvSpPr>
        <p:spPr>
          <a:xfrm>
            <a:off x="6053328" y="1034272"/>
            <a:ext cx="2633472" cy="3624082"/>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3535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550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619025"/>
            <a:ext cx="7772400" cy="1117151"/>
          </a:xfrm>
        </p:spPr>
        <p:txBody>
          <a:bodyPr/>
          <a:lstStyle/>
          <a:p>
            <a:r>
              <a:rPr lang="en-US"/>
              <a:t>Click to edit Master title style</a:t>
            </a:r>
          </a:p>
        </p:txBody>
      </p:sp>
      <p:sp>
        <p:nvSpPr>
          <p:cNvPr id="3" name="Subtitle 2"/>
          <p:cNvSpPr>
            <a:spLocks noGrp="1"/>
          </p:cNvSpPr>
          <p:nvPr>
            <p:ph type="subTitle" idx="1"/>
          </p:nvPr>
        </p:nvSpPr>
        <p:spPr>
          <a:xfrm>
            <a:off x="1371600" y="2953332"/>
            <a:ext cx="6400800" cy="1331895"/>
          </a:xfrm>
        </p:spPr>
        <p:txBody>
          <a:bodyPr/>
          <a:lstStyle>
            <a:lvl1pPr marL="0" indent="0" algn="ctr">
              <a:buNone/>
              <a:defRPr>
                <a:solidFill>
                  <a:schemeClr val="tx1">
                    <a:tint val="75000"/>
                  </a:schemeClr>
                </a:solidFill>
              </a:defRPr>
            </a:lvl1pPr>
            <a:lvl2pPr marL="347472" indent="0" algn="ctr">
              <a:buNone/>
              <a:defRPr>
                <a:solidFill>
                  <a:schemeClr val="tx1">
                    <a:tint val="75000"/>
                  </a:schemeClr>
                </a:solidFill>
              </a:defRPr>
            </a:lvl2pPr>
            <a:lvl3pPr marL="694944" indent="0" algn="ctr">
              <a:buNone/>
              <a:defRPr>
                <a:solidFill>
                  <a:schemeClr val="tx1">
                    <a:tint val="75000"/>
                  </a:schemeClr>
                </a:solidFill>
              </a:defRPr>
            </a:lvl3pPr>
            <a:lvl4pPr marL="1042416" indent="0" algn="ctr">
              <a:buNone/>
              <a:defRPr>
                <a:solidFill>
                  <a:schemeClr val="tx1">
                    <a:tint val="75000"/>
                  </a:schemeClr>
                </a:solidFill>
              </a:defRPr>
            </a:lvl4pPr>
            <a:lvl5pPr marL="1389888" indent="0" algn="ctr">
              <a:buNone/>
              <a:defRPr>
                <a:solidFill>
                  <a:schemeClr val="tx1">
                    <a:tint val="75000"/>
                  </a:schemeClr>
                </a:solidFill>
              </a:defRPr>
            </a:lvl5pPr>
            <a:lvl6pPr marL="1737360" indent="0" algn="ctr">
              <a:buNone/>
              <a:defRPr>
                <a:solidFill>
                  <a:schemeClr val="tx1">
                    <a:tint val="75000"/>
                  </a:schemeClr>
                </a:solidFill>
              </a:defRPr>
            </a:lvl6pPr>
            <a:lvl7pPr marL="2084832" indent="0" algn="ctr">
              <a:buNone/>
              <a:defRPr>
                <a:solidFill>
                  <a:schemeClr val="tx1">
                    <a:tint val="75000"/>
                  </a:schemeClr>
                </a:solidFill>
              </a:defRPr>
            </a:lvl7pPr>
            <a:lvl8pPr marL="2432304" indent="0" algn="ctr">
              <a:buNone/>
              <a:defRPr>
                <a:solidFill>
                  <a:schemeClr val="tx1">
                    <a:tint val="75000"/>
                  </a:schemeClr>
                </a:solidFill>
              </a:defRPr>
            </a:lvl8pPr>
            <a:lvl9pPr marL="2779776"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4862003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146538" cy="120643"/>
        </p:xfrm>
        <a:graphic>
          <a:graphicData uri="http://schemas.openxmlformats.org/presentationml/2006/ole">
            <mc:AlternateContent xmlns:mc="http://schemas.openxmlformats.org/markup-compatibility/2006">
              <mc:Choice xmlns:v="urn:schemas-microsoft-com:vml" Requires="v">
                <p:oleObj spid="_x0000_s153813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46538" cy="1206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601917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146538" cy="120643"/>
        </p:xfrm>
        <a:graphic>
          <a:graphicData uri="http://schemas.openxmlformats.org/presentationml/2006/ole">
            <mc:AlternateContent xmlns:mc="http://schemas.openxmlformats.org/markup-compatibility/2006">
              <mc:Choice xmlns:v="urn:schemas-microsoft-com:vml" Requires="v">
                <p:oleObj spid="_x0000_s153915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46538" cy="1206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bwMode="auto">
          <a:xfrm>
            <a:off x="0" y="0"/>
            <a:ext cx="9144000" cy="5211763"/>
          </a:xfrm>
          <a:prstGeom prst="rect">
            <a:avLst/>
          </a:prstGeom>
          <a:solidFill>
            <a:schemeClr val="bg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a:ln>
                <a:noFill/>
              </a:ln>
              <a:solidFill>
                <a:schemeClr val="bg2">
                  <a:lumMod val="50000"/>
                </a:schemeClr>
              </a:solidFill>
              <a:effectLst/>
              <a:latin typeface="+mn-lt"/>
              <a:cs typeface="Arial" charset="0"/>
            </a:endParaRPr>
          </a:p>
        </p:txBody>
      </p:sp>
    </p:spTree>
    <p:extLst>
      <p:ext uri="{BB962C8B-B14F-4D97-AF65-F5344CB8AC3E}">
        <p14:creationId xmlns:p14="http://schemas.microsoft.com/office/powerpoint/2010/main" val="14295935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_slide">
    <p:spTree>
      <p:nvGrpSpPr>
        <p:cNvPr id="1" name=""/>
        <p:cNvGrpSpPr/>
        <p:nvPr/>
      </p:nvGrpSpPr>
      <p:grpSpPr>
        <a:xfrm>
          <a:off x="0" y="0"/>
          <a:ext cx="0" cy="0"/>
          <a:chOff x="0" y="0"/>
          <a:chExt cx="0" cy="0"/>
        </a:xfrm>
      </p:grpSpPr>
      <p:sp>
        <p:nvSpPr>
          <p:cNvPr id="14" name="Freeform 67"/>
          <p:cNvSpPr>
            <a:spLocks/>
          </p:cNvSpPr>
          <p:nvPr userDrawn="1"/>
        </p:nvSpPr>
        <p:spPr bwMode="auto">
          <a:xfrm>
            <a:off x="-5349" y="0"/>
            <a:ext cx="9165046" cy="4630752"/>
          </a:xfrm>
          <a:custGeom>
            <a:avLst/>
            <a:gdLst>
              <a:gd name="connsiteX0" fmla="*/ 10000 w 10000"/>
              <a:gd name="connsiteY0" fmla="*/ 6563 h 16563"/>
              <a:gd name="connsiteX1" fmla="*/ 7 w 10000"/>
              <a:gd name="connsiteY1" fmla="*/ 0 h 16563"/>
              <a:gd name="connsiteX2" fmla="*/ 0 w 10000"/>
              <a:gd name="connsiteY2" fmla="*/ 14916 h 16563"/>
              <a:gd name="connsiteX3" fmla="*/ 0 w 10000"/>
              <a:gd name="connsiteY3" fmla="*/ 14916 h 16563"/>
              <a:gd name="connsiteX4" fmla="*/ 0 w 10000"/>
              <a:gd name="connsiteY4" fmla="*/ 15092 h 16563"/>
              <a:gd name="connsiteX5" fmla="*/ 388 w 10000"/>
              <a:gd name="connsiteY5" fmla="*/ 15092 h 16563"/>
              <a:gd name="connsiteX6" fmla="*/ 626 w 10000"/>
              <a:gd name="connsiteY6" fmla="*/ 16563 h 16563"/>
              <a:gd name="connsiteX7" fmla="*/ 865 w 10000"/>
              <a:gd name="connsiteY7" fmla="*/ 15092 h 16563"/>
              <a:gd name="connsiteX8" fmla="*/ 1057 w 10000"/>
              <a:gd name="connsiteY8" fmla="*/ 15092 h 16563"/>
              <a:gd name="connsiteX9" fmla="*/ 2653 w 10000"/>
              <a:gd name="connsiteY9" fmla="*/ 15092 h 16563"/>
              <a:gd name="connsiteX10" fmla="*/ 5124 w 10000"/>
              <a:gd name="connsiteY10" fmla="*/ 15092 h 16563"/>
              <a:gd name="connsiteX11" fmla="*/ 7681 w 10000"/>
              <a:gd name="connsiteY11" fmla="*/ 15092 h 16563"/>
              <a:gd name="connsiteX12" fmla="*/ 9536 w 10000"/>
              <a:gd name="connsiteY12" fmla="*/ 15092 h 16563"/>
              <a:gd name="connsiteX13" fmla="*/ 9997 w 10000"/>
              <a:gd name="connsiteY13" fmla="*/ 15092 h 16563"/>
              <a:gd name="connsiteX14" fmla="*/ 10000 w 10000"/>
              <a:gd name="connsiteY14" fmla="*/ 14916 h 16563"/>
              <a:gd name="connsiteX15" fmla="*/ 10000 w 10000"/>
              <a:gd name="connsiteY15" fmla="*/ 14916 h 16563"/>
              <a:gd name="connsiteX16" fmla="*/ 10000 w 10000"/>
              <a:gd name="connsiteY16" fmla="*/ 6563 h 16563"/>
              <a:gd name="connsiteX0" fmla="*/ 9930 w 10000"/>
              <a:gd name="connsiteY0" fmla="*/ 0 h 16563"/>
              <a:gd name="connsiteX1" fmla="*/ 7 w 10000"/>
              <a:gd name="connsiteY1" fmla="*/ 0 h 16563"/>
              <a:gd name="connsiteX2" fmla="*/ 0 w 10000"/>
              <a:gd name="connsiteY2" fmla="*/ 14916 h 16563"/>
              <a:gd name="connsiteX3" fmla="*/ 0 w 10000"/>
              <a:gd name="connsiteY3" fmla="*/ 14916 h 16563"/>
              <a:gd name="connsiteX4" fmla="*/ 0 w 10000"/>
              <a:gd name="connsiteY4" fmla="*/ 15092 h 16563"/>
              <a:gd name="connsiteX5" fmla="*/ 388 w 10000"/>
              <a:gd name="connsiteY5" fmla="*/ 15092 h 16563"/>
              <a:gd name="connsiteX6" fmla="*/ 626 w 10000"/>
              <a:gd name="connsiteY6" fmla="*/ 16563 h 16563"/>
              <a:gd name="connsiteX7" fmla="*/ 865 w 10000"/>
              <a:gd name="connsiteY7" fmla="*/ 15092 h 16563"/>
              <a:gd name="connsiteX8" fmla="*/ 1057 w 10000"/>
              <a:gd name="connsiteY8" fmla="*/ 15092 h 16563"/>
              <a:gd name="connsiteX9" fmla="*/ 2653 w 10000"/>
              <a:gd name="connsiteY9" fmla="*/ 15092 h 16563"/>
              <a:gd name="connsiteX10" fmla="*/ 5124 w 10000"/>
              <a:gd name="connsiteY10" fmla="*/ 15092 h 16563"/>
              <a:gd name="connsiteX11" fmla="*/ 7681 w 10000"/>
              <a:gd name="connsiteY11" fmla="*/ 15092 h 16563"/>
              <a:gd name="connsiteX12" fmla="*/ 9536 w 10000"/>
              <a:gd name="connsiteY12" fmla="*/ 15092 h 16563"/>
              <a:gd name="connsiteX13" fmla="*/ 9997 w 10000"/>
              <a:gd name="connsiteY13" fmla="*/ 15092 h 16563"/>
              <a:gd name="connsiteX14" fmla="*/ 10000 w 10000"/>
              <a:gd name="connsiteY14" fmla="*/ 14916 h 16563"/>
              <a:gd name="connsiteX15" fmla="*/ 10000 w 10000"/>
              <a:gd name="connsiteY15" fmla="*/ 14916 h 16563"/>
              <a:gd name="connsiteX16" fmla="*/ 9930 w 10000"/>
              <a:gd name="connsiteY16" fmla="*/ 0 h 16563"/>
              <a:gd name="connsiteX0" fmla="*/ 9993 w 10016"/>
              <a:gd name="connsiteY0" fmla="*/ 0 h 16563"/>
              <a:gd name="connsiteX1" fmla="*/ 7 w 10016"/>
              <a:gd name="connsiteY1" fmla="*/ 0 h 16563"/>
              <a:gd name="connsiteX2" fmla="*/ 0 w 10016"/>
              <a:gd name="connsiteY2" fmla="*/ 14916 h 16563"/>
              <a:gd name="connsiteX3" fmla="*/ 0 w 10016"/>
              <a:gd name="connsiteY3" fmla="*/ 14916 h 16563"/>
              <a:gd name="connsiteX4" fmla="*/ 0 w 10016"/>
              <a:gd name="connsiteY4" fmla="*/ 15092 h 16563"/>
              <a:gd name="connsiteX5" fmla="*/ 388 w 10016"/>
              <a:gd name="connsiteY5" fmla="*/ 15092 h 16563"/>
              <a:gd name="connsiteX6" fmla="*/ 626 w 10016"/>
              <a:gd name="connsiteY6" fmla="*/ 16563 h 16563"/>
              <a:gd name="connsiteX7" fmla="*/ 865 w 10016"/>
              <a:gd name="connsiteY7" fmla="*/ 15092 h 16563"/>
              <a:gd name="connsiteX8" fmla="*/ 1057 w 10016"/>
              <a:gd name="connsiteY8" fmla="*/ 15092 h 16563"/>
              <a:gd name="connsiteX9" fmla="*/ 2653 w 10016"/>
              <a:gd name="connsiteY9" fmla="*/ 15092 h 16563"/>
              <a:gd name="connsiteX10" fmla="*/ 5124 w 10016"/>
              <a:gd name="connsiteY10" fmla="*/ 15092 h 16563"/>
              <a:gd name="connsiteX11" fmla="*/ 7681 w 10016"/>
              <a:gd name="connsiteY11" fmla="*/ 15092 h 16563"/>
              <a:gd name="connsiteX12" fmla="*/ 9536 w 10016"/>
              <a:gd name="connsiteY12" fmla="*/ 15092 h 16563"/>
              <a:gd name="connsiteX13" fmla="*/ 9997 w 10016"/>
              <a:gd name="connsiteY13" fmla="*/ 15092 h 16563"/>
              <a:gd name="connsiteX14" fmla="*/ 10000 w 10016"/>
              <a:gd name="connsiteY14" fmla="*/ 14916 h 16563"/>
              <a:gd name="connsiteX15" fmla="*/ 10000 w 10016"/>
              <a:gd name="connsiteY15" fmla="*/ 14916 h 16563"/>
              <a:gd name="connsiteX16" fmla="*/ 9993 w 10016"/>
              <a:gd name="connsiteY16" fmla="*/ 0 h 16563"/>
              <a:gd name="connsiteX0" fmla="*/ 9993 w 10000"/>
              <a:gd name="connsiteY0" fmla="*/ 0 h 16563"/>
              <a:gd name="connsiteX1" fmla="*/ 7 w 10000"/>
              <a:gd name="connsiteY1" fmla="*/ 0 h 16563"/>
              <a:gd name="connsiteX2" fmla="*/ 0 w 10000"/>
              <a:gd name="connsiteY2" fmla="*/ 14916 h 16563"/>
              <a:gd name="connsiteX3" fmla="*/ 0 w 10000"/>
              <a:gd name="connsiteY3" fmla="*/ 14916 h 16563"/>
              <a:gd name="connsiteX4" fmla="*/ 0 w 10000"/>
              <a:gd name="connsiteY4" fmla="*/ 15092 h 16563"/>
              <a:gd name="connsiteX5" fmla="*/ 388 w 10000"/>
              <a:gd name="connsiteY5" fmla="*/ 15092 h 16563"/>
              <a:gd name="connsiteX6" fmla="*/ 626 w 10000"/>
              <a:gd name="connsiteY6" fmla="*/ 16563 h 16563"/>
              <a:gd name="connsiteX7" fmla="*/ 865 w 10000"/>
              <a:gd name="connsiteY7" fmla="*/ 15092 h 16563"/>
              <a:gd name="connsiteX8" fmla="*/ 1057 w 10000"/>
              <a:gd name="connsiteY8" fmla="*/ 15092 h 16563"/>
              <a:gd name="connsiteX9" fmla="*/ 2653 w 10000"/>
              <a:gd name="connsiteY9" fmla="*/ 15092 h 16563"/>
              <a:gd name="connsiteX10" fmla="*/ 5124 w 10000"/>
              <a:gd name="connsiteY10" fmla="*/ 15092 h 16563"/>
              <a:gd name="connsiteX11" fmla="*/ 7681 w 10000"/>
              <a:gd name="connsiteY11" fmla="*/ 15092 h 16563"/>
              <a:gd name="connsiteX12" fmla="*/ 9536 w 10000"/>
              <a:gd name="connsiteY12" fmla="*/ 15092 h 16563"/>
              <a:gd name="connsiteX13" fmla="*/ 9997 w 10000"/>
              <a:gd name="connsiteY13" fmla="*/ 15092 h 16563"/>
              <a:gd name="connsiteX14" fmla="*/ 10000 w 10000"/>
              <a:gd name="connsiteY14" fmla="*/ 14916 h 16563"/>
              <a:gd name="connsiteX15" fmla="*/ 10000 w 10000"/>
              <a:gd name="connsiteY15" fmla="*/ 14916 h 16563"/>
              <a:gd name="connsiteX16" fmla="*/ 9993 w 10000"/>
              <a:gd name="connsiteY16" fmla="*/ 0 h 16563"/>
              <a:gd name="connsiteX0" fmla="*/ 8962 w 10000"/>
              <a:gd name="connsiteY0" fmla="*/ 0 h 16563"/>
              <a:gd name="connsiteX1" fmla="*/ 7 w 10000"/>
              <a:gd name="connsiteY1" fmla="*/ 0 h 16563"/>
              <a:gd name="connsiteX2" fmla="*/ 0 w 10000"/>
              <a:gd name="connsiteY2" fmla="*/ 14916 h 16563"/>
              <a:gd name="connsiteX3" fmla="*/ 0 w 10000"/>
              <a:gd name="connsiteY3" fmla="*/ 14916 h 16563"/>
              <a:gd name="connsiteX4" fmla="*/ 0 w 10000"/>
              <a:gd name="connsiteY4" fmla="*/ 15092 h 16563"/>
              <a:gd name="connsiteX5" fmla="*/ 388 w 10000"/>
              <a:gd name="connsiteY5" fmla="*/ 15092 h 16563"/>
              <a:gd name="connsiteX6" fmla="*/ 626 w 10000"/>
              <a:gd name="connsiteY6" fmla="*/ 16563 h 16563"/>
              <a:gd name="connsiteX7" fmla="*/ 865 w 10000"/>
              <a:gd name="connsiteY7" fmla="*/ 15092 h 16563"/>
              <a:gd name="connsiteX8" fmla="*/ 1057 w 10000"/>
              <a:gd name="connsiteY8" fmla="*/ 15092 h 16563"/>
              <a:gd name="connsiteX9" fmla="*/ 2653 w 10000"/>
              <a:gd name="connsiteY9" fmla="*/ 15092 h 16563"/>
              <a:gd name="connsiteX10" fmla="*/ 5124 w 10000"/>
              <a:gd name="connsiteY10" fmla="*/ 15092 h 16563"/>
              <a:gd name="connsiteX11" fmla="*/ 7681 w 10000"/>
              <a:gd name="connsiteY11" fmla="*/ 15092 h 16563"/>
              <a:gd name="connsiteX12" fmla="*/ 9536 w 10000"/>
              <a:gd name="connsiteY12" fmla="*/ 15092 h 16563"/>
              <a:gd name="connsiteX13" fmla="*/ 9997 w 10000"/>
              <a:gd name="connsiteY13" fmla="*/ 15092 h 16563"/>
              <a:gd name="connsiteX14" fmla="*/ 10000 w 10000"/>
              <a:gd name="connsiteY14" fmla="*/ 14916 h 16563"/>
              <a:gd name="connsiteX15" fmla="*/ 10000 w 10000"/>
              <a:gd name="connsiteY15" fmla="*/ 14916 h 16563"/>
              <a:gd name="connsiteX16" fmla="*/ 8962 w 10000"/>
              <a:gd name="connsiteY16" fmla="*/ 0 h 16563"/>
              <a:gd name="connsiteX0" fmla="*/ 8962 w 10000"/>
              <a:gd name="connsiteY0" fmla="*/ 0 h 16563"/>
              <a:gd name="connsiteX1" fmla="*/ 7 w 10000"/>
              <a:gd name="connsiteY1" fmla="*/ 0 h 16563"/>
              <a:gd name="connsiteX2" fmla="*/ 0 w 10000"/>
              <a:gd name="connsiteY2" fmla="*/ 14916 h 16563"/>
              <a:gd name="connsiteX3" fmla="*/ 0 w 10000"/>
              <a:gd name="connsiteY3" fmla="*/ 14916 h 16563"/>
              <a:gd name="connsiteX4" fmla="*/ 0 w 10000"/>
              <a:gd name="connsiteY4" fmla="*/ 15092 h 16563"/>
              <a:gd name="connsiteX5" fmla="*/ 388 w 10000"/>
              <a:gd name="connsiteY5" fmla="*/ 15092 h 16563"/>
              <a:gd name="connsiteX6" fmla="*/ 626 w 10000"/>
              <a:gd name="connsiteY6" fmla="*/ 16563 h 16563"/>
              <a:gd name="connsiteX7" fmla="*/ 865 w 10000"/>
              <a:gd name="connsiteY7" fmla="*/ 15092 h 16563"/>
              <a:gd name="connsiteX8" fmla="*/ 1057 w 10000"/>
              <a:gd name="connsiteY8" fmla="*/ 15092 h 16563"/>
              <a:gd name="connsiteX9" fmla="*/ 2653 w 10000"/>
              <a:gd name="connsiteY9" fmla="*/ 15092 h 16563"/>
              <a:gd name="connsiteX10" fmla="*/ 5124 w 10000"/>
              <a:gd name="connsiteY10" fmla="*/ 15092 h 16563"/>
              <a:gd name="connsiteX11" fmla="*/ 7681 w 10000"/>
              <a:gd name="connsiteY11" fmla="*/ 15092 h 16563"/>
              <a:gd name="connsiteX12" fmla="*/ 9997 w 10000"/>
              <a:gd name="connsiteY12" fmla="*/ 15092 h 16563"/>
              <a:gd name="connsiteX13" fmla="*/ 10000 w 10000"/>
              <a:gd name="connsiteY13" fmla="*/ 14916 h 16563"/>
              <a:gd name="connsiteX14" fmla="*/ 10000 w 10000"/>
              <a:gd name="connsiteY14" fmla="*/ 14916 h 16563"/>
              <a:gd name="connsiteX15" fmla="*/ 8962 w 10000"/>
              <a:gd name="connsiteY15" fmla="*/ 0 h 16563"/>
              <a:gd name="connsiteX0" fmla="*/ 8962 w 10000"/>
              <a:gd name="connsiteY0" fmla="*/ 0 h 16563"/>
              <a:gd name="connsiteX1" fmla="*/ 7 w 10000"/>
              <a:gd name="connsiteY1" fmla="*/ 0 h 16563"/>
              <a:gd name="connsiteX2" fmla="*/ 0 w 10000"/>
              <a:gd name="connsiteY2" fmla="*/ 14916 h 16563"/>
              <a:gd name="connsiteX3" fmla="*/ 0 w 10000"/>
              <a:gd name="connsiteY3" fmla="*/ 14916 h 16563"/>
              <a:gd name="connsiteX4" fmla="*/ 0 w 10000"/>
              <a:gd name="connsiteY4" fmla="*/ 15092 h 16563"/>
              <a:gd name="connsiteX5" fmla="*/ 388 w 10000"/>
              <a:gd name="connsiteY5" fmla="*/ 15092 h 16563"/>
              <a:gd name="connsiteX6" fmla="*/ 626 w 10000"/>
              <a:gd name="connsiteY6" fmla="*/ 16563 h 16563"/>
              <a:gd name="connsiteX7" fmla="*/ 865 w 10000"/>
              <a:gd name="connsiteY7" fmla="*/ 15092 h 16563"/>
              <a:gd name="connsiteX8" fmla="*/ 1057 w 10000"/>
              <a:gd name="connsiteY8" fmla="*/ 15092 h 16563"/>
              <a:gd name="connsiteX9" fmla="*/ 2653 w 10000"/>
              <a:gd name="connsiteY9" fmla="*/ 15092 h 16563"/>
              <a:gd name="connsiteX10" fmla="*/ 5124 w 10000"/>
              <a:gd name="connsiteY10" fmla="*/ 15092 h 16563"/>
              <a:gd name="connsiteX11" fmla="*/ 7681 w 10000"/>
              <a:gd name="connsiteY11" fmla="*/ 15092 h 16563"/>
              <a:gd name="connsiteX12" fmla="*/ 9997 w 10000"/>
              <a:gd name="connsiteY12" fmla="*/ 15092 h 16563"/>
              <a:gd name="connsiteX13" fmla="*/ 10000 w 10000"/>
              <a:gd name="connsiteY13" fmla="*/ 14916 h 16563"/>
              <a:gd name="connsiteX14" fmla="*/ 8962 w 10000"/>
              <a:gd name="connsiteY14" fmla="*/ 0 h 16563"/>
              <a:gd name="connsiteX0" fmla="*/ 8962 w 10000"/>
              <a:gd name="connsiteY0" fmla="*/ 0 h 16563"/>
              <a:gd name="connsiteX1" fmla="*/ 7 w 10000"/>
              <a:gd name="connsiteY1" fmla="*/ 0 h 16563"/>
              <a:gd name="connsiteX2" fmla="*/ 0 w 10000"/>
              <a:gd name="connsiteY2" fmla="*/ 14916 h 16563"/>
              <a:gd name="connsiteX3" fmla="*/ 0 w 10000"/>
              <a:gd name="connsiteY3" fmla="*/ 14916 h 16563"/>
              <a:gd name="connsiteX4" fmla="*/ 0 w 10000"/>
              <a:gd name="connsiteY4" fmla="*/ 15092 h 16563"/>
              <a:gd name="connsiteX5" fmla="*/ 388 w 10000"/>
              <a:gd name="connsiteY5" fmla="*/ 15092 h 16563"/>
              <a:gd name="connsiteX6" fmla="*/ 626 w 10000"/>
              <a:gd name="connsiteY6" fmla="*/ 16563 h 16563"/>
              <a:gd name="connsiteX7" fmla="*/ 865 w 10000"/>
              <a:gd name="connsiteY7" fmla="*/ 15092 h 16563"/>
              <a:gd name="connsiteX8" fmla="*/ 1057 w 10000"/>
              <a:gd name="connsiteY8" fmla="*/ 15092 h 16563"/>
              <a:gd name="connsiteX9" fmla="*/ 2653 w 10000"/>
              <a:gd name="connsiteY9" fmla="*/ 15092 h 16563"/>
              <a:gd name="connsiteX10" fmla="*/ 5124 w 10000"/>
              <a:gd name="connsiteY10" fmla="*/ 15092 h 16563"/>
              <a:gd name="connsiteX11" fmla="*/ 7681 w 10000"/>
              <a:gd name="connsiteY11" fmla="*/ 15092 h 16563"/>
              <a:gd name="connsiteX12" fmla="*/ 9997 w 10000"/>
              <a:gd name="connsiteY12" fmla="*/ 15092 h 16563"/>
              <a:gd name="connsiteX13" fmla="*/ 9739 w 10000"/>
              <a:gd name="connsiteY13" fmla="*/ 14471 h 16563"/>
              <a:gd name="connsiteX14" fmla="*/ 8962 w 10000"/>
              <a:gd name="connsiteY14" fmla="*/ 0 h 16563"/>
              <a:gd name="connsiteX0" fmla="*/ 8962 w 10627"/>
              <a:gd name="connsiteY0" fmla="*/ 0 h 16563"/>
              <a:gd name="connsiteX1" fmla="*/ 7 w 10627"/>
              <a:gd name="connsiteY1" fmla="*/ 0 h 16563"/>
              <a:gd name="connsiteX2" fmla="*/ 0 w 10627"/>
              <a:gd name="connsiteY2" fmla="*/ 14916 h 16563"/>
              <a:gd name="connsiteX3" fmla="*/ 0 w 10627"/>
              <a:gd name="connsiteY3" fmla="*/ 14916 h 16563"/>
              <a:gd name="connsiteX4" fmla="*/ 0 w 10627"/>
              <a:gd name="connsiteY4" fmla="*/ 15092 h 16563"/>
              <a:gd name="connsiteX5" fmla="*/ 388 w 10627"/>
              <a:gd name="connsiteY5" fmla="*/ 15092 h 16563"/>
              <a:gd name="connsiteX6" fmla="*/ 626 w 10627"/>
              <a:gd name="connsiteY6" fmla="*/ 16563 h 16563"/>
              <a:gd name="connsiteX7" fmla="*/ 865 w 10627"/>
              <a:gd name="connsiteY7" fmla="*/ 15092 h 16563"/>
              <a:gd name="connsiteX8" fmla="*/ 1057 w 10627"/>
              <a:gd name="connsiteY8" fmla="*/ 15092 h 16563"/>
              <a:gd name="connsiteX9" fmla="*/ 2653 w 10627"/>
              <a:gd name="connsiteY9" fmla="*/ 15092 h 16563"/>
              <a:gd name="connsiteX10" fmla="*/ 5124 w 10627"/>
              <a:gd name="connsiteY10" fmla="*/ 15092 h 16563"/>
              <a:gd name="connsiteX11" fmla="*/ 7681 w 10627"/>
              <a:gd name="connsiteY11" fmla="*/ 15092 h 16563"/>
              <a:gd name="connsiteX12" fmla="*/ 9997 w 10627"/>
              <a:gd name="connsiteY12" fmla="*/ 15092 h 16563"/>
              <a:gd name="connsiteX13" fmla="*/ 8962 w 10627"/>
              <a:gd name="connsiteY13" fmla="*/ 0 h 16563"/>
              <a:gd name="connsiteX0" fmla="*/ 8962 w 10627"/>
              <a:gd name="connsiteY0" fmla="*/ 0 h 16563"/>
              <a:gd name="connsiteX1" fmla="*/ 7 w 10627"/>
              <a:gd name="connsiteY1" fmla="*/ 0 h 16563"/>
              <a:gd name="connsiteX2" fmla="*/ 0 w 10627"/>
              <a:gd name="connsiteY2" fmla="*/ 14916 h 16563"/>
              <a:gd name="connsiteX3" fmla="*/ 0 w 10627"/>
              <a:gd name="connsiteY3" fmla="*/ 14916 h 16563"/>
              <a:gd name="connsiteX4" fmla="*/ 0 w 10627"/>
              <a:gd name="connsiteY4" fmla="*/ 15092 h 16563"/>
              <a:gd name="connsiteX5" fmla="*/ 388 w 10627"/>
              <a:gd name="connsiteY5" fmla="*/ 15092 h 16563"/>
              <a:gd name="connsiteX6" fmla="*/ 626 w 10627"/>
              <a:gd name="connsiteY6" fmla="*/ 16563 h 16563"/>
              <a:gd name="connsiteX7" fmla="*/ 865 w 10627"/>
              <a:gd name="connsiteY7" fmla="*/ 15092 h 16563"/>
              <a:gd name="connsiteX8" fmla="*/ 1057 w 10627"/>
              <a:gd name="connsiteY8" fmla="*/ 15092 h 16563"/>
              <a:gd name="connsiteX9" fmla="*/ 2653 w 10627"/>
              <a:gd name="connsiteY9" fmla="*/ 15092 h 16563"/>
              <a:gd name="connsiteX10" fmla="*/ 5124 w 10627"/>
              <a:gd name="connsiteY10" fmla="*/ 15092 h 16563"/>
              <a:gd name="connsiteX11" fmla="*/ 7681 w 10627"/>
              <a:gd name="connsiteY11" fmla="*/ 15092 h 16563"/>
              <a:gd name="connsiteX12" fmla="*/ 9997 w 10627"/>
              <a:gd name="connsiteY12" fmla="*/ 15092 h 16563"/>
              <a:gd name="connsiteX13" fmla="*/ 8962 w 10627"/>
              <a:gd name="connsiteY13" fmla="*/ 0 h 16563"/>
              <a:gd name="connsiteX0" fmla="*/ 8962 w 10627"/>
              <a:gd name="connsiteY0" fmla="*/ 0 h 16563"/>
              <a:gd name="connsiteX1" fmla="*/ 7 w 10627"/>
              <a:gd name="connsiteY1" fmla="*/ 0 h 16563"/>
              <a:gd name="connsiteX2" fmla="*/ 0 w 10627"/>
              <a:gd name="connsiteY2" fmla="*/ 14916 h 16563"/>
              <a:gd name="connsiteX3" fmla="*/ 0 w 10627"/>
              <a:gd name="connsiteY3" fmla="*/ 14916 h 16563"/>
              <a:gd name="connsiteX4" fmla="*/ 0 w 10627"/>
              <a:gd name="connsiteY4" fmla="*/ 15092 h 16563"/>
              <a:gd name="connsiteX5" fmla="*/ 388 w 10627"/>
              <a:gd name="connsiteY5" fmla="*/ 15092 h 16563"/>
              <a:gd name="connsiteX6" fmla="*/ 626 w 10627"/>
              <a:gd name="connsiteY6" fmla="*/ 16563 h 16563"/>
              <a:gd name="connsiteX7" fmla="*/ 865 w 10627"/>
              <a:gd name="connsiteY7" fmla="*/ 15092 h 16563"/>
              <a:gd name="connsiteX8" fmla="*/ 1057 w 10627"/>
              <a:gd name="connsiteY8" fmla="*/ 15092 h 16563"/>
              <a:gd name="connsiteX9" fmla="*/ 2653 w 10627"/>
              <a:gd name="connsiteY9" fmla="*/ 15092 h 16563"/>
              <a:gd name="connsiteX10" fmla="*/ 5124 w 10627"/>
              <a:gd name="connsiteY10" fmla="*/ 15092 h 16563"/>
              <a:gd name="connsiteX11" fmla="*/ 7681 w 10627"/>
              <a:gd name="connsiteY11" fmla="*/ 15092 h 16563"/>
              <a:gd name="connsiteX12" fmla="*/ 8962 w 10627"/>
              <a:gd name="connsiteY12" fmla="*/ 15036 h 16563"/>
              <a:gd name="connsiteX13" fmla="*/ 8962 w 10627"/>
              <a:gd name="connsiteY13" fmla="*/ 0 h 16563"/>
              <a:gd name="connsiteX0" fmla="*/ 8962 w 10627"/>
              <a:gd name="connsiteY0" fmla="*/ 0 h 16563"/>
              <a:gd name="connsiteX1" fmla="*/ 7 w 10627"/>
              <a:gd name="connsiteY1" fmla="*/ 0 h 16563"/>
              <a:gd name="connsiteX2" fmla="*/ 0 w 10627"/>
              <a:gd name="connsiteY2" fmla="*/ 14916 h 16563"/>
              <a:gd name="connsiteX3" fmla="*/ 0 w 10627"/>
              <a:gd name="connsiteY3" fmla="*/ 14916 h 16563"/>
              <a:gd name="connsiteX4" fmla="*/ 0 w 10627"/>
              <a:gd name="connsiteY4" fmla="*/ 15092 h 16563"/>
              <a:gd name="connsiteX5" fmla="*/ 388 w 10627"/>
              <a:gd name="connsiteY5" fmla="*/ 15092 h 16563"/>
              <a:gd name="connsiteX6" fmla="*/ 626 w 10627"/>
              <a:gd name="connsiteY6" fmla="*/ 16563 h 16563"/>
              <a:gd name="connsiteX7" fmla="*/ 865 w 10627"/>
              <a:gd name="connsiteY7" fmla="*/ 15092 h 16563"/>
              <a:gd name="connsiteX8" fmla="*/ 1057 w 10627"/>
              <a:gd name="connsiteY8" fmla="*/ 15092 h 16563"/>
              <a:gd name="connsiteX9" fmla="*/ 2653 w 10627"/>
              <a:gd name="connsiteY9" fmla="*/ 15092 h 16563"/>
              <a:gd name="connsiteX10" fmla="*/ 5124 w 10627"/>
              <a:gd name="connsiteY10" fmla="*/ 15092 h 16563"/>
              <a:gd name="connsiteX11" fmla="*/ 7681 w 10627"/>
              <a:gd name="connsiteY11" fmla="*/ 15092 h 16563"/>
              <a:gd name="connsiteX12" fmla="*/ 8962 w 10627"/>
              <a:gd name="connsiteY12" fmla="*/ 15036 h 16563"/>
              <a:gd name="connsiteX13" fmla="*/ 8962 w 10627"/>
              <a:gd name="connsiteY13" fmla="*/ 0 h 16563"/>
              <a:gd name="connsiteX0" fmla="*/ 8962 w 8968"/>
              <a:gd name="connsiteY0" fmla="*/ 0 h 16563"/>
              <a:gd name="connsiteX1" fmla="*/ 7 w 8968"/>
              <a:gd name="connsiteY1" fmla="*/ 0 h 16563"/>
              <a:gd name="connsiteX2" fmla="*/ 0 w 8968"/>
              <a:gd name="connsiteY2" fmla="*/ 14916 h 16563"/>
              <a:gd name="connsiteX3" fmla="*/ 0 w 8968"/>
              <a:gd name="connsiteY3" fmla="*/ 14916 h 16563"/>
              <a:gd name="connsiteX4" fmla="*/ 0 w 8968"/>
              <a:gd name="connsiteY4" fmla="*/ 15092 h 16563"/>
              <a:gd name="connsiteX5" fmla="*/ 388 w 8968"/>
              <a:gd name="connsiteY5" fmla="*/ 15092 h 16563"/>
              <a:gd name="connsiteX6" fmla="*/ 626 w 8968"/>
              <a:gd name="connsiteY6" fmla="*/ 16563 h 16563"/>
              <a:gd name="connsiteX7" fmla="*/ 865 w 8968"/>
              <a:gd name="connsiteY7" fmla="*/ 15092 h 16563"/>
              <a:gd name="connsiteX8" fmla="*/ 1057 w 8968"/>
              <a:gd name="connsiteY8" fmla="*/ 15092 h 16563"/>
              <a:gd name="connsiteX9" fmla="*/ 2653 w 8968"/>
              <a:gd name="connsiteY9" fmla="*/ 15092 h 16563"/>
              <a:gd name="connsiteX10" fmla="*/ 5124 w 8968"/>
              <a:gd name="connsiteY10" fmla="*/ 15092 h 16563"/>
              <a:gd name="connsiteX11" fmla="*/ 7681 w 8968"/>
              <a:gd name="connsiteY11" fmla="*/ 15092 h 16563"/>
              <a:gd name="connsiteX12" fmla="*/ 8962 w 8968"/>
              <a:gd name="connsiteY12" fmla="*/ 15036 h 16563"/>
              <a:gd name="connsiteX13" fmla="*/ 8962 w 8968"/>
              <a:gd name="connsiteY13" fmla="*/ 0 h 16563"/>
              <a:gd name="connsiteX0" fmla="*/ 9993 w 10009"/>
              <a:gd name="connsiteY0" fmla="*/ 0 h 10000"/>
              <a:gd name="connsiteX1" fmla="*/ 8 w 10009"/>
              <a:gd name="connsiteY1" fmla="*/ 0 h 10000"/>
              <a:gd name="connsiteX2" fmla="*/ 0 w 10009"/>
              <a:gd name="connsiteY2" fmla="*/ 9006 h 10000"/>
              <a:gd name="connsiteX3" fmla="*/ 0 w 10009"/>
              <a:gd name="connsiteY3" fmla="*/ 9006 h 10000"/>
              <a:gd name="connsiteX4" fmla="*/ 0 w 10009"/>
              <a:gd name="connsiteY4" fmla="*/ 9112 h 10000"/>
              <a:gd name="connsiteX5" fmla="*/ 433 w 10009"/>
              <a:gd name="connsiteY5" fmla="*/ 9112 h 10000"/>
              <a:gd name="connsiteX6" fmla="*/ 698 w 10009"/>
              <a:gd name="connsiteY6" fmla="*/ 10000 h 10000"/>
              <a:gd name="connsiteX7" fmla="*/ 965 w 10009"/>
              <a:gd name="connsiteY7" fmla="*/ 9112 h 10000"/>
              <a:gd name="connsiteX8" fmla="*/ 1179 w 10009"/>
              <a:gd name="connsiteY8" fmla="*/ 9112 h 10000"/>
              <a:gd name="connsiteX9" fmla="*/ 2958 w 10009"/>
              <a:gd name="connsiteY9" fmla="*/ 9112 h 10000"/>
              <a:gd name="connsiteX10" fmla="*/ 5714 w 10009"/>
              <a:gd name="connsiteY10" fmla="*/ 9112 h 10000"/>
              <a:gd name="connsiteX11" fmla="*/ 8565 w 10009"/>
              <a:gd name="connsiteY11" fmla="*/ 9112 h 10000"/>
              <a:gd name="connsiteX12" fmla="*/ 9993 w 10009"/>
              <a:gd name="connsiteY12" fmla="*/ 9078 h 10000"/>
              <a:gd name="connsiteX13" fmla="*/ 9993 w 10009"/>
              <a:gd name="connsiteY13" fmla="*/ 0 h 10000"/>
              <a:gd name="connsiteX0" fmla="*/ 9993 w 10009"/>
              <a:gd name="connsiteY0" fmla="*/ 0 h 10000"/>
              <a:gd name="connsiteX1" fmla="*/ 8 w 10009"/>
              <a:gd name="connsiteY1" fmla="*/ 0 h 10000"/>
              <a:gd name="connsiteX2" fmla="*/ 0 w 10009"/>
              <a:gd name="connsiteY2" fmla="*/ 9006 h 10000"/>
              <a:gd name="connsiteX3" fmla="*/ 0 w 10009"/>
              <a:gd name="connsiteY3" fmla="*/ 9006 h 10000"/>
              <a:gd name="connsiteX4" fmla="*/ 0 w 10009"/>
              <a:gd name="connsiteY4" fmla="*/ 9112 h 10000"/>
              <a:gd name="connsiteX5" fmla="*/ 433 w 10009"/>
              <a:gd name="connsiteY5" fmla="*/ 9112 h 10000"/>
              <a:gd name="connsiteX6" fmla="*/ 698 w 10009"/>
              <a:gd name="connsiteY6" fmla="*/ 10000 h 10000"/>
              <a:gd name="connsiteX7" fmla="*/ 965 w 10009"/>
              <a:gd name="connsiteY7" fmla="*/ 9112 h 10000"/>
              <a:gd name="connsiteX8" fmla="*/ 1179 w 10009"/>
              <a:gd name="connsiteY8" fmla="*/ 9112 h 10000"/>
              <a:gd name="connsiteX9" fmla="*/ 2958 w 10009"/>
              <a:gd name="connsiteY9" fmla="*/ 9112 h 10000"/>
              <a:gd name="connsiteX10" fmla="*/ 5714 w 10009"/>
              <a:gd name="connsiteY10" fmla="*/ 9112 h 10000"/>
              <a:gd name="connsiteX11" fmla="*/ 8565 w 10009"/>
              <a:gd name="connsiteY11" fmla="*/ 9112 h 10000"/>
              <a:gd name="connsiteX12" fmla="*/ 9993 w 10009"/>
              <a:gd name="connsiteY12" fmla="*/ 9078 h 10000"/>
              <a:gd name="connsiteX13" fmla="*/ 9993 w 10009"/>
              <a:gd name="connsiteY13" fmla="*/ 0 h 10000"/>
              <a:gd name="connsiteX0" fmla="*/ 9993 w 10009"/>
              <a:gd name="connsiteY0" fmla="*/ 0 h 10000"/>
              <a:gd name="connsiteX1" fmla="*/ 8 w 10009"/>
              <a:gd name="connsiteY1" fmla="*/ 0 h 10000"/>
              <a:gd name="connsiteX2" fmla="*/ 0 w 10009"/>
              <a:gd name="connsiteY2" fmla="*/ 9006 h 10000"/>
              <a:gd name="connsiteX3" fmla="*/ 0 w 10009"/>
              <a:gd name="connsiteY3" fmla="*/ 9006 h 10000"/>
              <a:gd name="connsiteX4" fmla="*/ 0 w 10009"/>
              <a:gd name="connsiteY4" fmla="*/ 9112 h 10000"/>
              <a:gd name="connsiteX5" fmla="*/ 433 w 10009"/>
              <a:gd name="connsiteY5" fmla="*/ 9112 h 10000"/>
              <a:gd name="connsiteX6" fmla="*/ 698 w 10009"/>
              <a:gd name="connsiteY6" fmla="*/ 10000 h 10000"/>
              <a:gd name="connsiteX7" fmla="*/ 965 w 10009"/>
              <a:gd name="connsiteY7" fmla="*/ 9112 h 10000"/>
              <a:gd name="connsiteX8" fmla="*/ 1179 w 10009"/>
              <a:gd name="connsiteY8" fmla="*/ 9112 h 10000"/>
              <a:gd name="connsiteX9" fmla="*/ 2958 w 10009"/>
              <a:gd name="connsiteY9" fmla="*/ 9112 h 10000"/>
              <a:gd name="connsiteX10" fmla="*/ 5714 w 10009"/>
              <a:gd name="connsiteY10" fmla="*/ 9112 h 10000"/>
              <a:gd name="connsiteX11" fmla="*/ 8565 w 10009"/>
              <a:gd name="connsiteY11" fmla="*/ 9112 h 10000"/>
              <a:gd name="connsiteX12" fmla="*/ 9993 w 10009"/>
              <a:gd name="connsiteY12" fmla="*/ 9078 h 10000"/>
              <a:gd name="connsiteX13" fmla="*/ 9993 w 10009"/>
              <a:gd name="connsiteY13" fmla="*/ 0 h 10000"/>
              <a:gd name="connsiteX0" fmla="*/ 9993 w 10009"/>
              <a:gd name="connsiteY0" fmla="*/ 0 h 10000"/>
              <a:gd name="connsiteX1" fmla="*/ 8 w 10009"/>
              <a:gd name="connsiteY1" fmla="*/ 0 h 10000"/>
              <a:gd name="connsiteX2" fmla="*/ 0 w 10009"/>
              <a:gd name="connsiteY2" fmla="*/ 9006 h 10000"/>
              <a:gd name="connsiteX3" fmla="*/ 0 w 10009"/>
              <a:gd name="connsiteY3" fmla="*/ 9006 h 10000"/>
              <a:gd name="connsiteX4" fmla="*/ 0 w 10009"/>
              <a:gd name="connsiteY4" fmla="*/ 9112 h 10000"/>
              <a:gd name="connsiteX5" fmla="*/ 433 w 10009"/>
              <a:gd name="connsiteY5" fmla="*/ 9112 h 10000"/>
              <a:gd name="connsiteX6" fmla="*/ 698 w 10009"/>
              <a:gd name="connsiteY6" fmla="*/ 10000 h 10000"/>
              <a:gd name="connsiteX7" fmla="*/ 965 w 10009"/>
              <a:gd name="connsiteY7" fmla="*/ 9112 h 10000"/>
              <a:gd name="connsiteX8" fmla="*/ 1179 w 10009"/>
              <a:gd name="connsiteY8" fmla="*/ 9112 h 10000"/>
              <a:gd name="connsiteX9" fmla="*/ 2958 w 10009"/>
              <a:gd name="connsiteY9" fmla="*/ 9112 h 10000"/>
              <a:gd name="connsiteX10" fmla="*/ 5714 w 10009"/>
              <a:gd name="connsiteY10" fmla="*/ 9112 h 10000"/>
              <a:gd name="connsiteX11" fmla="*/ 8565 w 10009"/>
              <a:gd name="connsiteY11" fmla="*/ 9112 h 10000"/>
              <a:gd name="connsiteX12" fmla="*/ 9993 w 10009"/>
              <a:gd name="connsiteY12" fmla="*/ 9078 h 10000"/>
              <a:gd name="connsiteX13" fmla="*/ 9993 w 10009"/>
              <a:gd name="connsiteY13" fmla="*/ 0 h 10000"/>
              <a:gd name="connsiteX0" fmla="*/ 9993 w 10009"/>
              <a:gd name="connsiteY0" fmla="*/ 0 h 10000"/>
              <a:gd name="connsiteX1" fmla="*/ 8 w 10009"/>
              <a:gd name="connsiteY1" fmla="*/ 0 h 10000"/>
              <a:gd name="connsiteX2" fmla="*/ 0 w 10009"/>
              <a:gd name="connsiteY2" fmla="*/ 9006 h 10000"/>
              <a:gd name="connsiteX3" fmla="*/ 0 w 10009"/>
              <a:gd name="connsiteY3" fmla="*/ 9006 h 10000"/>
              <a:gd name="connsiteX4" fmla="*/ 0 w 10009"/>
              <a:gd name="connsiteY4" fmla="*/ 9112 h 10000"/>
              <a:gd name="connsiteX5" fmla="*/ 433 w 10009"/>
              <a:gd name="connsiteY5" fmla="*/ 9112 h 10000"/>
              <a:gd name="connsiteX6" fmla="*/ 698 w 10009"/>
              <a:gd name="connsiteY6" fmla="*/ 10000 h 10000"/>
              <a:gd name="connsiteX7" fmla="*/ 965 w 10009"/>
              <a:gd name="connsiteY7" fmla="*/ 9112 h 10000"/>
              <a:gd name="connsiteX8" fmla="*/ 1179 w 10009"/>
              <a:gd name="connsiteY8" fmla="*/ 9112 h 10000"/>
              <a:gd name="connsiteX9" fmla="*/ 2958 w 10009"/>
              <a:gd name="connsiteY9" fmla="*/ 9112 h 10000"/>
              <a:gd name="connsiteX10" fmla="*/ 5714 w 10009"/>
              <a:gd name="connsiteY10" fmla="*/ 9112 h 10000"/>
              <a:gd name="connsiteX11" fmla="*/ 8565 w 10009"/>
              <a:gd name="connsiteY11" fmla="*/ 9112 h 10000"/>
              <a:gd name="connsiteX12" fmla="*/ 9993 w 10009"/>
              <a:gd name="connsiteY12" fmla="*/ 9078 h 10000"/>
              <a:gd name="connsiteX13" fmla="*/ 9993 w 10009"/>
              <a:gd name="connsiteY13" fmla="*/ 0 h 10000"/>
              <a:gd name="connsiteX0" fmla="*/ 9993 w 10084"/>
              <a:gd name="connsiteY0" fmla="*/ 0 h 10000"/>
              <a:gd name="connsiteX1" fmla="*/ 8 w 10084"/>
              <a:gd name="connsiteY1" fmla="*/ 0 h 10000"/>
              <a:gd name="connsiteX2" fmla="*/ 0 w 10084"/>
              <a:gd name="connsiteY2" fmla="*/ 9006 h 10000"/>
              <a:gd name="connsiteX3" fmla="*/ 0 w 10084"/>
              <a:gd name="connsiteY3" fmla="*/ 9006 h 10000"/>
              <a:gd name="connsiteX4" fmla="*/ 0 w 10084"/>
              <a:gd name="connsiteY4" fmla="*/ 9112 h 10000"/>
              <a:gd name="connsiteX5" fmla="*/ 433 w 10084"/>
              <a:gd name="connsiteY5" fmla="*/ 9112 h 10000"/>
              <a:gd name="connsiteX6" fmla="*/ 698 w 10084"/>
              <a:gd name="connsiteY6" fmla="*/ 10000 h 10000"/>
              <a:gd name="connsiteX7" fmla="*/ 965 w 10084"/>
              <a:gd name="connsiteY7" fmla="*/ 9112 h 10000"/>
              <a:gd name="connsiteX8" fmla="*/ 1179 w 10084"/>
              <a:gd name="connsiteY8" fmla="*/ 9112 h 10000"/>
              <a:gd name="connsiteX9" fmla="*/ 2958 w 10084"/>
              <a:gd name="connsiteY9" fmla="*/ 9112 h 10000"/>
              <a:gd name="connsiteX10" fmla="*/ 5714 w 10084"/>
              <a:gd name="connsiteY10" fmla="*/ 9112 h 10000"/>
              <a:gd name="connsiteX11" fmla="*/ 8565 w 10084"/>
              <a:gd name="connsiteY11" fmla="*/ 9112 h 10000"/>
              <a:gd name="connsiteX12" fmla="*/ 9993 w 10084"/>
              <a:gd name="connsiteY12" fmla="*/ 9078 h 10000"/>
              <a:gd name="connsiteX13" fmla="*/ 9993 w 10084"/>
              <a:gd name="connsiteY13" fmla="*/ 0 h 10000"/>
              <a:gd name="connsiteX0" fmla="*/ 9993 w 10084"/>
              <a:gd name="connsiteY0" fmla="*/ 0 h 10000"/>
              <a:gd name="connsiteX1" fmla="*/ 8 w 10084"/>
              <a:gd name="connsiteY1" fmla="*/ 0 h 10000"/>
              <a:gd name="connsiteX2" fmla="*/ 0 w 10084"/>
              <a:gd name="connsiteY2" fmla="*/ 9006 h 10000"/>
              <a:gd name="connsiteX3" fmla="*/ 0 w 10084"/>
              <a:gd name="connsiteY3" fmla="*/ 9006 h 10000"/>
              <a:gd name="connsiteX4" fmla="*/ 0 w 10084"/>
              <a:gd name="connsiteY4" fmla="*/ 9112 h 10000"/>
              <a:gd name="connsiteX5" fmla="*/ 433 w 10084"/>
              <a:gd name="connsiteY5" fmla="*/ 9112 h 10000"/>
              <a:gd name="connsiteX6" fmla="*/ 698 w 10084"/>
              <a:gd name="connsiteY6" fmla="*/ 10000 h 10000"/>
              <a:gd name="connsiteX7" fmla="*/ 965 w 10084"/>
              <a:gd name="connsiteY7" fmla="*/ 9112 h 10000"/>
              <a:gd name="connsiteX8" fmla="*/ 1179 w 10084"/>
              <a:gd name="connsiteY8" fmla="*/ 9112 h 10000"/>
              <a:gd name="connsiteX9" fmla="*/ 2958 w 10084"/>
              <a:gd name="connsiteY9" fmla="*/ 9112 h 10000"/>
              <a:gd name="connsiteX10" fmla="*/ 5714 w 10084"/>
              <a:gd name="connsiteY10" fmla="*/ 9112 h 10000"/>
              <a:gd name="connsiteX11" fmla="*/ 8565 w 10084"/>
              <a:gd name="connsiteY11" fmla="*/ 9112 h 10000"/>
              <a:gd name="connsiteX12" fmla="*/ 9993 w 10084"/>
              <a:gd name="connsiteY12" fmla="*/ 9078 h 10000"/>
              <a:gd name="connsiteX13" fmla="*/ 9993 w 10084"/>
              <a:gd name="connsiteY13" fmla="*/ 0 h 10000"/>
              <a:gd name="connsiteX0" fmla="*/ 9993 w 9998"/>
              <a:gd name="connsiteY0" fmla="*/ 0 h 10000"/>
              <a:gd name="connsiteX1" fmla="*/ 8 w 9998"/>
              <a:gd name="connsiteY1" fmla="*/ 0 h 10000"/>
              <a:gd name="connsiteX2" fmla="*/ 0 w 9998"/>
              <a:gd name="connsiteY2" fmla="*/ 9006 h 10000"/>
              <a:gd name="connsiteX3" fmla="*/ 0 w 9998"/>
              <a:gd name="connsiteY3" fmla="*/ 9006 h 10000"/>
              <a:gd name="connsiteX4" fmla="*/ 0 w 9998"/>
              <a:gd name="connsiteY4" fmla="*/ 9112 h 10000"/>
              <a:gd name="connsiteX5" fmla="*/ 433 w 9998"/>
              <a:gd name="connsiteY5" fmla="*/ 9112 h 10000"/>
              <a:gd name="connsiteX6" fmla="*/ 698 w 9998"/>
              <a:gd name="connsiteY6" fmla="*/ 10000 h 10000"/>
              <a:gd name="connsiteX7" fmla="*/ 965 w 9998"/>
              <a:gd name="connsiteY7" fmla="*/ 9112 h 10000"/>
              <a:gd name="connsiteX8" fmla="*/ 1179 w 9998"/>
              <a:gd name="connsiteY8" fmla="*/ 9112 h 10000"/>
              <a:gd name="connsiteX9" fmla="*/ 2958 w 9998"/>
              <a:gd name="connsiteY9" fmla="*/ 9112 h 10000"/>
              <a:gd name="connsiteX10" fmla="*/ 5714 w 9998"/>
              <a:gd name="connsiteY10" fmla="*/ 9112 h 10000"/>
              <a:gd name="connsiteX11" fmla="*/ 8565 w 9998"/>
              <a:gd name="connsiteY11" fmla="*/ 9112 h 10000"/>
              <a:gd name="connsiteX12" fmla="*/ 9993 w 9998"/>
              <a:gd name="connsiteY12" fmla="*/ 9078 h 10000"/>
              <a:gd name="connsiteX13" fmla="*/ 9993 w 9998"/>
              <a:gd name="connsiteY13" fmla="*/ 0 h 10000"/>
              <a:gd name="connsiteX0" fmla="*/ 9995 w 10000"/>
              <a:gd name="connsiteY0" fmla="*/ 0 h 10000"/>
              <a:gd name="connsiteX1" fmla="*/ 8 w 10000"/>
              <a:gd name="connsiteY1" fmla="*/ 0 h 10000"/>
              <a:gd name="connsiteX2" fmla="*/ 0 w 10000"/>
              <a:gd name="connsiteY2" fmla="*/ 9006 h 10000"/>
              <a:gd name="connsiteX3" fmla="*/ 0 w 10000"/>
              <a:gd name="connsiteY3" fmla="*/ 9006 h 10000"/>
              <a:gd name="connsiteX4" fmla="*/ 0 w 10000"/>
              <a:gd name="connsiteY4" fmla="*/ 9112 h 10000"/>
              <a:gd name="connsiteX5" fmla="*/ 433 w 10000"/>
              <a:gd name="connsiteY5" fmla="*/ 9112 h 10000"/>
              <a:gd name="connsiteX6" fmla="*/ 698 w 10000"/>
              <a:gd name="connsiteY6" fmla="*/ 10000 h 10000"/>
              <a:gd name="connsiteX7" fmla="*/ 965 w 10000"/>
              <a:gd name="connsiteY7" fmla="*/ 9112 h 10000"/>
              <a:gd name="connsiteX8" fmla="*/ 1179 w 10000"/>
              <a:gd name="connsiteY8" fmla="*/ 9112 h 10000"/>
              <a:gd name="connsiteX9" fmla="*/ 2959 w 10000"/>
              <a:gd name="connsiteY9" fmla="*/ 9112 h 10000"/>
              <a:gd name="connsiteX10" fmla="*/ 5715 w 10000"/>
              <a:gd name="connsiteY10" fmla="*/ 9112 h 10000"/>
              <a:gd name="connsiteX11" fmla="*/ 8567 w 10000"/>
              <a:gd name="connsiteY11" fmla="*/ 9112 h 10000"/>
              <a:gd name="connsiteX12" fmla="*/ 9995 w 10000"/>
              <a:gd name="connsiteY12" fmla="*/ 9078 h 10000"/>
              <a:gd name="connsiteX13" fmla="*/ 9995 w 10000"/>
              <a:gd name="connsiteY13" fmla="*/ 0 h 10000"/>
              <a:gd name="connsiteX0" fmla="*/ 9995 w 10000"/>
              <a:gd name="connsiteY0" fmla="*/ 0 h 10000"/>
              <a:gd name="connsiteX1" fmla="*/ 8 w 10000"/>
              <a:gd name="connsiteY1" fmla="*/ 0 h 10000"/>
              <a:gd name="connsiteX2" fmla="*/ 0 w 10000"/>
              <a:gd name="connsiteY2" fmla="*/ 9006 h 10000"/>
              <a:gd name="connsiteX3" fmla="*/ 0 w 10000"/>
              <a:gd name="connsiteY3" fmla="*/ 9006 h 10000"/>
              <a:gd name="connsiteX4" fmla="*/ 0 w 10000"/>
              <a:gd name="connsiteY4" fmla="*/ 9112 h 10000"/>
              <a:gd name="connsiteX5" fmla="*/ 433 w 10000"/>
              <a:gd name="connsiteY5" fmla="*/ 9112 h 10000"/>
              <a:gd name="connsiteX6" fmla="*/ 698 w 10000"/>
              <a:gd name="connsiteY6" fmla="*/ 10000 h 10000"/>
              <a:gd name="connsiteX7" fmla="*/ 965 w 10000"/>
              <a:gd name="connsiteY7" fmla="*/ 9112 h 10000"/>
              <a:gd name="connsiteX8" fmla="*/ 1179 w 10000"/>
              <a:gd name="connsiteY8" fmla="*/ 9112 h 10000"/>
              <a:gd name="connsiteX9" fmla="*/ 2959 w 10000"/>
              <a:gd name="connsiteY9" fmla="*/ 9112 h 10000"/>
              <a:gd name="connsiteX10" fmla="*/ 5715 w 10000"/>
              <a:gd name="connsiteY10" fmla="*/ 9112 h 10000"/>
              <a:gd name="connsiteX11" fmla="*/ 8521 w 10000"/>
              <a:gd name="connsiteY11" fmla="*/ 9078 h 10000"/>
              <a:gd name="connsiteX12" fmla="*/ 9995 w 10000"/>
              <a:gd name="connsiteY12" fmla="*/ 9078 h 10000"/>
              <a:gd name="connsiteX13" fmla="*/ 9995 w 10000"/>
              <a:gd name="connsiteY13" fmla="*/ 0 h 10000"/>
              <a:gd name="connsiteX0" fmla="*/ 9995 w 10000"/>
              <a:gd name="connsiteY0" fmla="*/ 0 h 10000"/>
              <a:gd name="connsiteX1" fmla="*/ 8 w 10000"/>
              <a:gd name="connsiteY1" fmla="*/ 0 h 10000"/>
              <a:gd name="connsiteX2" fmla="*/ 0 w 10000"/>
              <a:gd name="connsiteY2" fmla="*/ 9006 h 10000"/>
              <a:gd name="connsiteX3" fmla="*/ 0 w 10000"/>
              <a:gd name="connsiteY3" fmla="*/ 9006 h 10000"/>
              <a:gd name="connsiteX4" fmla="*/ 0 w 10000"/>
              <a:gd name="connsiteY4" fmla="*/ 9112 h 10000"/>
              <a:gd name="connsiteX5" fmla="*/ 433 w 10000"/>
              <a:gd name="connsiteY5" fmla="*/ 9112 h 10000"/>
              <a:gd name="connsiteX6" fmla="*/ 698 w 10000"/>
              <a:gd name="connsiteY6" fmla="*/ 10000 h 10000"/>
              <a:gd name="connsiteX7" fmla="*/ 965 w 10000"/>
              <a:gd name="connsiteY7" fmla="*/ 9112 h 10000"/>
              <a:gd name="connsiteX8" fmla="*/ 1179 w 10000"/>
              <a:gd name="connsiteY8" fmla="*/ 9112 h 10000"/>
              <a:gd name="connsiteX9" fmla="*/ 2959 w 10000"/>
              <a:gd name="connsiteY9" fmla="*/ 9112 h 10000"/>
              <a:gd name="connsiteX10" fmla="*/ 5715 w 10000"/>
              <a:gd name="connsiteY10" fmla="*/ 9112 h 10000"/>
              <a:gd name="connsiteX11" fmla="*/ 9995 w 10000"/>
              <a:gd name="connsiteY11" fmla="*/ 9078 h 10000"/>
              <a:gd name="connsiteX12" fmla="*/ 9995 w 10000"/>
              <a:gd name="connsiteY12" fmla="*/ 0 h 10000"/>
              <a:gd name="connsiteX0" fmla="*/ 9995 w 10000"/>
              <a:gd name="connsiteY0" fmla="*/ 0 h 10000"/>
              <a:gd name="connsiteX1" fmla="*/ 8 w 10000"/>
              <a:gd name="connsiteY1" fmla="*/ 0 h 10000"/>
              <a:gd name="connsiteX2" fmla="*/ 0 w 10000"/>
              <a:gd name="connsiteY2" fmla="*/ 9006 h 10000"/>
              <a:gd name="connsiteX3" fmla="*/ 0 w 10000"/>
              <a:gd name="connsiteY3" fmla="*/ 9006 h 10000"/>
              <a:gd name="connsiteX4" fmla="*/ 0 w 10000"/>
              <a:gd name="connsiteY4" fmla="*/ 9112 h 10000"/>
              <a:gd name="connsiteX5" fmla="*/ 433 w 10000"/>
              <a:gd name="connsiteY5" fmla="*/ 9112 h 10000"/>
              <a:gd name="connsiteX6" fmla="*/ 698 w 10000"/>
              <a:gd name="connsiteY6" fmla="*/ 10000 h 10000"/>
              <a:gd name="connsiteX7" fmla="*/ 965 w 10000"/>
              <a:gd name="connsiteY7" fmla="*/ 9112 h 10000"/>
              <a:gd name="connsiteX8" fmla="*/ 1179 w 10000"/>
              <a:gd name="connsiteY8" fmla="*/ 9112 h 10000"/>
              <a:gd name="connsiteX9" fmla="*/ 2959 w 10000"/>
              <a:gd name="connsiteY9" fmla="*/ 9112 h 10000"/>
              <a:gd name="connsiteX10" fmla="*/ 9995 w 10000"/>
              <a:gd name="connsiteY10" fmla="*/ 9078 h 10000"/>
              <a:gd name="connsiteX11" fmla="*/ 9995 w 10000"/>
              <a:gd name="connsiteY11" fmla="*/ 0 h 10000"/>
              <a:gd name="connsiteX0" fmla="*/ 9995 w 10000"/>
              <a:gd name="connsiteY0" fmla="*/ 0 h 10000"/>
              <a:gd name="connsiteX1" fmla="*/ 8 w 10000"/>
              <a:gd name="connsiteY1" fmla="*/ 0 h 10000"/>
              <a:gd name="connsiteX2" fmla="*/ 0 w 10000"/>
              <a:gd name="connsiteY2" fmla="*/ 9006 h 10000"/>
              <a:gd name="connsiteX3" fmla="*/ 0 w 10000"/>
              <a:gd name="connsiteY3" fmla="*/ 9006 h 10000"/>
              <a:gd name="connsiteX4" fmla="*/ 0 w 10000"/>
              <a:gd name="connsiteY4" fmla="*/ 9112 h 10000"/>
              <a:gd name="connsiteX5" fmla="*/ 433 w 10000"/>
              <a:gd name="connsiteY5" fmla="*/ 9112 h 10000"/>
              <a:gd name="connsiteX6" fmla="*/ 698 w 10000"/>
              <a:gd name="connsiteY6" fmla="*/ 10000 h 10000"/>
              <a:gd name="connsiteX7" fmla="*/ 965 w 10000"/>
              <a:gd name="connsiteY7" fmla="*/ 9112 h 10000"/>
              <a:gd name="connsiteX8" fmla="*/ 1179 w 10000"/>
              <a:gd name="connsiteY8" fmla="*/ 9112 h 10000"/>
              <a:gd name="connsiteX9" fmla="*/ 9995 w 10000"/>
              <a:gd name="connsiteY9" fmla="*/ 9078 h 10000"/>
              <a:gd name="connsiteX10" fmla="*/ 9995 w 10000"/>
              <a:gd name="connsiteY10" fmla="*/ 0 h 10000"/>
              <a:gd name="connsiteX0" fmla="*/ 9995 w 10000"/>
              <a:gd name="connsiteY0" fmla="*/ 0 h 10000"/>
              <a:gd name="connsiteX1" fmla="*/ 8 w 10000"/>
              <a:gd name="connsiteY1" fmla="*/ 0 h 10000"/>
              <a:gd name="connsiteX2" fmla="*/ 0 w 10000"/>
              <a:gd name="connsiteY2" fmla="*/ 9006 h 10000"/>
              <a:gd name="connsiteX3" fmla="*/ 7 w 10000"/>
              <a:gd name="connsiteY3" fmla="*/ 7032 h 10000"/>
              <a:gd name="connsiteX4" fmla="*/ 0 w 10000"/>
              <a:gd name="connsiteY4" fmla="*/ 9112 h 10000"/>
              <a:gd name="connsiteX5" fmla="*/ 433 w 10000"/>
              <a:gd name="connsiteY5" fmla="*/ 9112 h 10000"/>
              <a:gd name="connsiteX6" fmla="*/ 698 w 10000"/>
              <a:gd name="connsiteY6" fmla="*/ 10000 h 10000"/>
              <a:gd name="connsiteX7" fmla="*/ 965 w 10000"/>
              <a:gd name="connsiteY7" fmla="*/ 9112 h 10000"/>
              <a:gd name="connsiteX8" fmla="*/ 1179 w 10000"/>
              <a:gd name="connsiteY8" fmla="*/ 9112 h 10000"/>
              <a:gd name="connsiteX9" fmla="*/ 9995 w 10000"/>
              <a:gd name="connsiteY9" fmla="*/ 9078 h 10000"/>
              <a:gd name="connsiteX10" fmla="*/ 9995 w 10000"/>
              <a:gd name="connsiteY10" fmla="*/ 0 h 10000"/>
              <a:gd name="connsiteX0" fmla="*/ 10067 w 10072"/>
              <a:gd name="connsiteY0" fmla="*/ 0 h 10525"/>
              <a:gd name="connsiteX1" fmla="*/ 80 w 10072"/>
              <a:gd name="connsiteY1" fmla="*/ 0 h 10525"/>
              <a:gd name="connsiteX2" fmla="*/ 72 w 10072"/>
              <a:gd name="connsiteY2" fmla="*/ 9006 h 10525"/>
              <a:gd name="connsiteX3" fmla="*/ 72 w 10072"/>
              <a:gd name="connsiteY3" fmla="*/ 9112 h 10525"/>
              <a:gd name="connsiteX4" fmla="*/ 505 w 10072"/>
              <a:gd name="connsiteY4" fmla="*/ 9112 h 10525"/>
              <a:gd name="connsiteX5" fmla="*/ 770 w 10072"/>
              <a:gd name="connsiteY5" fmla="*/ 10000 h 10525"/>
              <a:gd name="connsiteX6" fmla="*/ 1037 w 10072"/>
              <a:gd name="connsiteY6" fmla="*/ 9112 h 10525"/>
              <a:gd name="connsiteX7" fmla="*/ 1251 w 10072"/>
              <a:gd name="connsiteY7" fmla="*/ 9112 h 10525"/>
              <a:gd name="connsiteX8" fmla="*/ 10067 w 10072"/>
              <a:gd name="connsiteY8" fmla="*/ 9078 h 10525"/>
              <a:gd name="connsiteX9" fmla="*/ 10067 w 10072"/>
              <a:gd name="connsiteY9" fmla="*/ 0 h 10525"/>
              <a:gd name="connsiteX0" fmla="*/ 10067 w 10072"/>
              <a:gd name="connsiteY0" fmla="*/ 0 h 10000"/>
              <a:gd name="connsiteX1" fmla="*/ 80 w 10072"/>
              <a:gd name="connsiteY1" fmla="*/ 0 h 10000"/>
              <a:gd name="connsiteX2" fmla="*/ 79 w 10072"/>
              <a:gd name="connsiteY2" fmla="*/ 7714 h 10000"/>
              <a:gd name="connsiteX3" fmla="*/ 72 w 10072"/>
              <a:gd name="connsiteY3" fmla="*/ 9112 h 10000"/>
              <a:gd name="connsiteX4" fmla="*/ 505 w 10072"/>
              <a:gd name="connsiteY4" fmla="*/ 9112 h 10000"/>
              <a:gd name="connsiteX5" fmla="*/ 770 w 10072"/>
              <a:gd name="connsiteY5" fmla="*/ 10000 h 10000"/>
              <a:gd name="connsiteX6" fmla="*/ 1037 w 10072"/>
              <a:gd name="connsiteY6" fmla="*/ 9112 h 10000"/>
              <a:gd name="connsiteX7" fmla="*/ 1251 w 10072"/>
              <a:gd name="connsiteY7" fmla="*/ 9112 h 10000"/>
              <a:gd name="connsiteX8" fmla="*/ 10067 w 10072"/>
              <a:gd name="connsiteY8" fmla="*/ 9078 h 10000"/>
              <a:gd name="connsiteX9" fmla="*/ 10067 w 10072"/>
              <a:gd name="connsiteY9" fmla="*/ 0 h 10000"/>
              <a:gd name="connsiteX0" fmla="*/ 11653 w 11658"/>
              <a:gd name="connsiteY0" fmla="*/ 0 h 10000"/>
              <a:gd name="connsiteX1" fmla="*/ 1666 w 11658"/>
              <a:gd name="connsiteY1" fmla="*/ 0 h 10000"/>
              <a:gd name="connsiteX2" fmla="*/ 1658 w 11658"/>
              <a:gd name="connsiteY2" fmla="*/ 9112 h 10000"/>
              <a:gd name="connsiteX3" fmla="*/ 2091 w 11658"/>
              <a:gd name="connsiteY3" fmla="*/ 9112 h 10000"/>
              <a:gd name="connsiteX4" fmla="*/ 2356 w 11658"/>
              <a:gd name="connsiteY4" fmla="*/ 10000 h 10000"/>
              <a:gd name="connsiteX5" fmla="*/ 2623 w 11658"/>
              <a:gd name="connsiteY5" fmla="*/ 9112 h 10000"/>
              <a:gd name="connsiteX6" fmla="*/ 2837 w 11658"/>
              <a:gd name="connsiteY6" fmla="*/ 9112 h 10000"/>
              <a:gd name="connsiteX7" fmla="*/ 11653 w 11658"/>
              <a:gd name="connsiteY7" fmla="*/ 9078 h 10000"/>
              <a:gd name="connsiteX8" fmla="*/ 11653 w 11658"/>
              <a:gd name="connsiteY8" fmla="*/ 0 h 10000"/>
              <a:gd name="connsiteX0" fmla="*/ 10066 w 10071"/>
              <a:gd name="connsiteY0" fmla="*/ 0 h 10000"/>
              <a:gd name="connsiteX1" fmla="*/ 79 w 10071"/>
              <a:gd name="connsiteY1" fmla="*/ 0 h 10000"/>
              <a:gd name="connsiteX2" fmla="*/ 71 w 10071"/>
              <a:gd name="connsiteY2" fmla="*/ 9112 h 10000"/>
              <a:gd name="connsiteX3" fmla="*/ 504 w 10071"/>
              <a:gd name="connsiteY3" fmla="*/ 9112 h 10000"/>
              <a:gd name="connsiteX4" fmla="*/ 769 w 10071"/>
              <a:gd name="connsiteY4" fmla="*/ 10000 h 10000"/>
              <a:gd name="connsiteX5" fmla="*/ 1036 w 10071"/>
              <a:gd name="connsiteY5" fmla="*/ 9112 h 10000"/>
              <a:gd name="connsiteX6" fmla="*/ 1250 w 10071"/>
              <a:gd name="connsiteY6" fmla="*/ 9112 h 10000"/>
              <a:gd name="connsiteX7" fmla="*/ 10066 w 10071"/>
              <a:gd name="connsiteY7" fmla="*/ 9078 h 10000"/>
              <a:gd name="connsiteX8" fmla="*/ 10066 w 10071"/>
              <a:gd name="connsiteY8" fmla="*/ 0 h 10000"/>
              <a:gd name="connsiteX0" fmla="*/ 9995 w 10000"/>
              <a:gd name="connsiteY0" fmla="*/ 0 h 10000"/>
              <a:gd name="connsiteX1" fmla="*/ 8 w 10000"/>
              <a:gd name="connsiteY1" fmla="*/ 0 h 10000"/>
              <a:gd name="connsiteX2" fmla="*/ 0 w 10000"/>
              <a:gd name="connsiteY2" fmla="*/ 9112 h 10000"/>
              <a:gd name="connsiteX3" fmla="*/ 433 w 10000"/>
              <a:gd name="connsiteY3" fmla="*/ 9112 h 10000"/>
              <a:gd name="connsiteX4" fmla="*/ 698 w 10000"/>
              <a:gd name="connsiteY4" fmla="*/ 10000 h 10000"/>
              <a:gd name="connsiteX5" fmla="*/ 965 w 10000"/>
              <a:gd name="connsiteY5" fmla="*/ 9112 h 10000"/>
              <a:gd name="connsiteX6" fmla="*/ 1179 w 10000"/>
              <a:gd name="connsiteY6" fmla="*/ 9112 h 10000"/>
              <a:gd name="connsiteX7" fmla="*/ 9995 w 10000"/>
              <a:gd name="connsiteY7" fmla="*/ 9078 h 10000"/>
              <a:gd name="connsiteX8" fmla="*/ 9995 w 10000"/>
              <a:gd name="connsiteY8" fmla="*/ 0 h 10000"/>
              <a:gd name="connsiteX0" fmla="*/ 9993 w 9998"/>
              <a:gd name="connsiteY0" fmla="*/ 0 h 10000"/>
              <a:gd name="connsiteX1" fmla="*/ 6 w 9998"/>
              <a:gd name="connsiteY1" fmla="*/ 0 h 10000"/>
              <a:gd name="connsiteX2" fmla="*/ 234 w 9998"/>
              <a:gd name="connsiteY2" fmla="*/ 9078 h 10000"/>
              <a:gd name="connsiteX3" fmla="*/ 431 w 9998"/>
              <a:gd name="connsiteY3" fmla="*/ 9112 h 10000"/>
              <a:gd name="connsiteX4" fmla="*/ 696 w 9998"/>
              <a:gd name="connsiteY4" fmla="*/ 10000 h 10000"/>
              <a:gd name="connsiteX5" fmla="*/ 963 w 9998"/>
              <a:gd name="connsiteY5" fmla="*/ 9112 h 10000"/>
              <a:gd name="connsiteX6" fmla="*/ 1177 w 9998"/>
              <a:gd name="connsiteY6" fmla="*/ 9112 h 10000"/>
              <a:gd name="connsiteX7" fmla="*/ 9993 w 9998"/>
              <a:gd name="connsiteY7" fmla="*/ 9078 h 10000"/>
              <a:gd name="connsiteX8" fmla="*/ 9993 w 9998"/>
              <a:gd name="connsiteY8" fmla="*/ 0 h 10000"/>
              <a:gd name="connsiteX0" fmla="*/ 9767 w 9772"/>
              <a:gd name="connsiteY0" fmla="*/ 0 h 10000"/>
              <a:gd name="connsiteX1" fmla="*/ 6 w 9772"/>
              <a:gd name="connsiteY1" fmla="*/ 0 h 10000"/>
              <a:gd name="connsiteX2" fmla="*/ 6 w 9772"/>
              <a:gd name="connsiteY2" fmla="*/ 9078 h 10000"/>
              <a:gd name="connsiteX3" fmla="*/ 203 w 9772"/>
              <a:gd name="connsiteY3" fmla="*/ 9112 h 10000"/>
              <a:gd name="connsiteX4" fmla="*/ 468 w 9772"/>
              <a:gd name="connsiteY4" fmla="*/ 10000 h 10000"/>
              <a:gd name="connsiteX5" fmla="*/ 735 w 9772"/>
              <a:gd name="connsiteY5" fmla="*/ 9112 h 10000"/>
              <a:gd name="connsiteX6" fmla="*/ 949 w 9772"/>
              <a:gd name="connsiteY6" fmla="*/ 9112 h 10000"/>
              <a:gd name="connsiteX7" fmla="*/ 9767 w 9772"/>
              <a:gd name="connsiteY7" fmla="*/ 9078 h 10000"/>
              <a:gd name="connsiteX8" fmla="*/ 9767 w 9772"/>
              <a:gd name="connsiteY8" fmla="*/ 0 h 10000"/>
              <a:gd name="connsiteX0" fmla="*/ 9990 w 9995"/>
              <a:gd name="connsiteY0" fmla="*/ 18860 h 28860"/>
              <a:gd name="connsiteX1" fmla="*/ 6 w 9995"/>
              <a:gd name="connsiteY1" fmla="*/ 0 h 28860"/>
              <a:gd name="connsiteX2" fmla="*/ 1 w 9995"/>
              <a:gd name="connsiteY2" fmla="*/ 27938 h 28860"/>
              <a:gd name="connsiteX3" fmla="*/ 203 w 9995"/>
              <a:gd name="connsiteY3" fmla="*/ 27972 h 28860"/>
              <a:gd name="connsiteX4" fmla="*/ 474 w 9995"/>
              <a:gd name="connsiteY4" fmla="*/ 28860 h 28860"/>
              <a:gd name="connsiteX5" fmla="*/ 747 w 9995"/>
              <a:gd name="connsiteY5" fmla="*/ 27972 h 28860"/>
              <a:gd name="connsiteX6" fmla="*/ 966 w 9995"/>
              <a:gd name="connsiteY6" fmla="*/ 27972 h 28860"/>
              <a:gd name="connsiteX7" fmla="*/ 9990 w 9995"/>
              <a:gd name="connsiteY7" fmla="*/ 27938 h 28860"/>
              <a:gd name="connsiteX8" fmla="*/ 9990 w 9995"/>
              <a:gd name="connsiteY8" fmla="*/ 18860 h 28860"/>
              <a:gd name="connsiteX0" fmla="*/ 10000 w 10005"/>
              <a:gd name="connsiteY0" fmla="*/ 0 h 10000"/>
              <a:gd name="connsiteX1" fmla="*/ 6 w 10005"/>
              <a:gd name="connsiteY1" fmla="*/ 0 h 10000"/>
              <a:gd name="connsiteX2" fmla="*/ 1 w 10005"/>
              <a:gd name="connsiteY2" fmla="*/ 9681 h 10000"/>
              <a:gd name="connsiteX3" fmla="*/ 203 w 10005"/>
              <a:gd name="connsiteY3" fmla="*/ 9692 h 10000"/>
              <a:gd name="connsiteX4" fmla="*/ 474 w 10005"/>
              <a:gd name="connsiteY4" fmla="*/ 10000 h 10000"/>
              <a:gd name="connsiteX5" fmla="*/ 747 w 10005"/>
              <a:gd name="connsiteY5" fmla="*/ 9692 h 10000"/>
              <a:gd name="connsiteX6" fmla="*/ 966 w 10005"/>
              <a:gd name="connsiteY6" fmla="*/ 9692 h 10000"/>
              <a:gd name="connsiteX7" fmla="*/ 9995 w 10005"/>
              <a:gd name="connsiteY7" fmla="*/ 9681 h 10000"/>
              <a:gd name="connsiteX8" fmla="*/ 10000 w 10005"/>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5" h="10000">
                <a:moveTo>
                  <a:pt x="10000" y="0"/>
                </a:moveTo>
                <a:lnTo>
                  <a:pt x="6" y="0"/>
                </a:lnTo>
                <a:cubicBezTo>
                  <a:pt x="0" y="533"/>
                  <a:pt x="4" y="9107"/>
                  <a:pt x="1" y="9681"/>
                </a:cubicBezTo>
                <a:lnTo>
                  <a:pt x="203" y="9692"/>
                </a:lnTo>
                <a:cubicBezTo>
                  <a:pt x="414" y="9692"/>
                  <a:pt x="471" y="9963"/>
                  <a:pt x="474" y="10000"/>
                </a:cubicBezTo>
                <a:cubicBezTo>
                  <a:pt x="482" y="9957"/>
                  <a:pt x="534" y="9692"/>
                  <a:pt x="747" y="9692"/>
                </a:cubicBezTo>
                <a:lnTo>
                  <a:pt x="966" y="9692"/>
                </a:lnTo>
                <a:lnTo>
                  <a:pt x="9995" y="9681"/>
                </a:lnTo>
                <a:cubicBezTo>
                  <a:pt x="9992" y="9351"/>
                  <a:pt x="10005" y="153"/>
                  <a:pt x="10000" y="0"/>
                </a:cubicBezTo>
                <a:close/>
              </a:path>
            </a:pathLst>
          </a:custGeom>
          <a:blipFill>
            <a:blip r:embed="rId4" cstate="print"/>
            <a:stretch>
              <a:fillRect/>
            </a:stretch>
          </a:blipFill>
          <a:ln w="9525">
            <a:noFill/>
            <a:round/>
            <a:headEnd/>
            <a:tailEnd/>
          </a:ln>
          <a:effectLst>
            <a:outerShdw blurRad="50800" dist="25400" dir="5400000" algn="t" rotWithShape="0">
              <a:schemeClr val="accent5">
                <a:lumMod val="60000"/>
                <a:lumOff val="40000"/>
                <a:alpha val="50000"/>
              </a:schemeClr>
            </a:outerShdw>
          </a:effectLst>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grpSp>
        <p:nvGrpSpPr>
          <p:cNvPr id="15" name="Group 14"/>
          <p:cNvGrpSpPr/>
          <p:nvPr userDrawn="1"/>
        </p:nvGrpSpPr>
        <p:grpSpPr>
          <a:xfrm>
            <a:off x="-25511" y="1117153"/>
            <a:ext cx="9169513" cy="3377995"/>
            <a:chOff x="-27638" y="1470025"/>
            <a:chExt cx="9933639" cy="4445001"/>
          </a:xfrm>
        </p:grpSpPr>
        <p:grpSp>
          <p:nvGrpSpPr>
            <p:cNvPr id="16" name="Group 15"/>
            <p:cNvGrpSpPr/>
            <p:nvPr userDrawn="1"/>
          </p:nvGrpSpPr>
          <p:grpSpPr>
            <a:xfrm>
              <a:off x="0" y="1500852"/>
              <a:ext cx="9906001" cy="4400551"/>
              <a:chOff x="0" y="1500852"/>
              <a:chExt cx="9906001" cy="4400551"/>
            </a:xfrm>
          </p:grpSpPr>
          <p:sp>
            <p:nvSpPr>
              <p:cNvPr id="57" name="Freeform 120"/>
              <p:cNvSpPr>
                <a:spLocks noEditPoints="1"/>
              </p:cNvSpPr>
              <p:nvPr userDrawn="1"/>
            </p:nvSpPr>
            <p:spPr bwMode="auto">
              <a:xfrm>
                <a:off x="8453438" y="3483640"/>
                <a:ext cx="752475" cy="1882775"/>
              </a:xfrm>
              <a:custGeom>
                <a:avLst/>
                <a:gdLst/>
                <a:ahLst/>
                <a:cxnLst>
                  <a:cxn ang="0">
                    <a:pos x="462" y="668"/>
                  </a:cxn>
                  <a:cxn ang="0">
                    <a:pos x="276" y="691"/>
                  </a:cxn>
                  <a:cxn ang="0">
                    <a:pos x="474" y="1186"/>
                  </a:cxn>
                  <a:cxn ang="0">
                    <a:pos x="146" y="709"/>
                  </a:cxn>
                  <a:cxn ang="0">
                    <a:pos x="474" y="1186"/>
                  </a:cxn>
                  <a:cxn ang="0">
                    <a:pos x="462" y="668"/>
                  </a:cxn>
                  <a:cxn ang="0">
                    <a:pos x="0" y="0"/>
                  </a:cxn>
                  <a:cxn ang="0">
                    <a:pos x="0" y="0"/>
                  </a:cxn>
                  <a:cxn ang="0">
                    <a:pos x="146" y="367"/>
                  </a:cxn>
                  <a:cxn ang="0">
                    <a:pos x="458" y="505"/>
                  </a:cxn>
                  <a:cxn ang="0">
                    <a:pos x="456" y="452"/>
                  </a:cxn>
                  <a:cxn ang="0">
                    <a:pos x="448" y="78"/>
                  </a:cxn>
                  <a:cxn ang="0">
                    <a:pos x="0" y="0"/>
                  </a:cxn>
                </a:cxnLst>
                <a:rect l="0" t="0" r="r" b="b"/>
                <a:pathLst>
                  <a:path w="474" h="1186">
                    <a:moveTo>
                      <a:pt x="462" y="668"/>
                    </a:moveTo>
                    <a:lnTo>
                      <a:pt x="276" y="691"/>
                    </a:lnTo>
                    <a:lnTo>
                      <a:pt x="474" y="1186"/>
                    </a:lnTo>
                    <a:lnTo>
                      <a:pt x="146" y="709"/>
                    </a:lnTo>
                    <a:lnTo>
                      <a:pt x="474" y="1186"/>
                    </a:lnTo>
                    <a:lnTo>
                      <a:pt x="462" y="668"/>
                    </a:lnTo>
                    <a:close/>
                    <a:moveTo>
                      <a:pt x="0" y="0"/>
                    </a:moveTo>
                    <a:lnTo>
                      <a:pt x="0" y="0"/>
                    </a:lnTo>
                    <a:lnTo>
                      <a:pt x="146" y="367"/>
                    </a:lnTo>
                    <a:lnTo>
                      <a:pt x="458" y="505"/>
                    </a:lnTo>
                    <a:lnTo>
                      <a:pt x="456" y="452"/>
                    </a:lnTo>
                    <a:lnTo>
                      <a:pt x="448" y="78"/>
                    </a:lnTo>
                    <a:lnTo>
                      <a:pt x="0" y="0"/>
                    </a:lnTo>
                    <a:close/>
                  </a:path>
                </a:pathLst>
              </a:custGeom>
              <a:gradFill flip="none" rotWithShape="1">
                <a:gsLst>
                  <a:gs pos="38000">
                    <a:srgbClr val="9D6182">
                      <a:alpha val="54000"/>
                    </a:srgbClr>
                  </a:gs>
                  <a:gs pos="100000">
                    <a:srgbClr val="77445E">
                      <a:alpha val="74000"/>
                    </a:srgbClr>
                  </a:gs>
                </a:gsLst>
                <a:lin ang="24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58" name="Freeform 121"/>
              <p:cNvSpPr>
                <a:spLocks noEditPoints="1"/>
              </p:cNvSpPr>
              <p:nvPr userDrawn="1"/>
            </p:nvSpPr>
            <p:spPr bwMode="auto">
              <a:xfrm>
                <a:off x="8453438" y="3483640"/>
                <a:ext cx="752475" cy="1882775"/>
              </a:xfrm>
              <a:custGeom>
                <a:avLst/>
                <a:gdLst/>
                <a:ahLst/>
                <a:cxnLst>
                  <a:cxn ang="0">
                    <a:pos x="462" y="668"/>
                  </a:cxn>
                  <a:cxn ang="0">
                    <a:pos x="276" y="691"/>
                  </a:cxn>
                  <a:cxn ang="0">
                    <a:pos x="474" y="1186"/>
                  </a:cxn>
                  <a:cxn ang="0">
                    <a:pos x="146" y="709"/>
                  </a:cxn>
                  <a:cxn ang="0">
                    <a:pos x="474" y="1186"/>
                  </a:cxn>
                  <a:cxn ang="0">
                    <a:pos x="462" y="668"/>
                  </a:cxn>
                  <a:cxn ang="0">
                    <a:pos x="0" y="0"/>
                  </a:cxn>
                  <a:cxn ang="0">
                    <a:pos x="0" y="0"/>
                  </a:cxn>
                  <a:cxn ang="0">
                    <a:pos x="146" y="367"/>
                  </a:cxn>
                  <a:cxn ang="0">
                    <a:pos x="458" y="505"/>
                  </a:cxn>
                  <a:cxn ang="0">
                    <a:pos x="456" y="452"/>
                  </a:cxn>
                  <a:cxn ang="0">
                    <a:pos x="448" y="78"/>
                  </a:cxn>
                  <a:cxn ang="0">
                    <a:pos x="0" y="0"/>
                  </a:cxn>
                </a:cxnLst>
                <a:rect l="0" t="0" r="r" b="b"/>
                <a:pathLst>
                  <a:path w="474" h="1186">
                    <a:moveTo>
                      <a:pt x="462" y="668"/>
                    </a:moveTo>
                    <a:lnTo>
                      <a:pt x="276" y="691"/>
                    </a:lnTo>
                    <a:lnTo>
                      <a:pt x="474" y="1186"/>
                    </a:lnTo>
                    <a:lnTo>
                      <a:pt x="146" y="709"/>
                    </a:lnTo>
                    <a:lnTo>
                      <a:pt x="474" y="1186"/>
                    </a:lnTo>
                    <a:lnTo>
                      <a:pt x="462" y="668"/>
                    </a:lnTo>
                    <a:moveTo>
                      <a:pt x="0" y="0"/>
                    </a:moveTo>
                    <a:lnTo>
                      <a:pt x="0" y="0"/>
                    </a:lnTo>
                    <a:lnTo>
                      <a:pt x="146" y="367"/>
                    </a:lnTo>
                    <a:lnTo>
                      <a:pt x="458" y="505"/>
                    </a:lnTo>
                    <a:lnTo>
                      <a:pt x="456" y="452"/>
                    </a:lnTo>
                    <a:lnTo>
                      <a:pt x="448" y="78"/>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59" name="Freeform 122"/>
              <p:cNvSpPr>
                <a:spLocks/>
              </p:cNvSpPr>
              <p:nvPr userDrawn="1"/>
            </p:nvSpPr>
            <p:spPr bwMode="auto">
              <a:xfrm>
                <a:off x="6716713" y="4609177"/>
                <a:ext cx="2489200" cy="757238"/>
              </a:xfrm>
              <a:custGeom>
                <a:avLst/>
                <a:gdLst/>
                <a:ahLst/>
                <a:cxnLst>
                  <a:cxn ang="0">
                    <a:pos x="1240" y="0"/>
                  </a:cxn>
                  <a:cxn ang="0">
                    <a:pos x="846" y="50"/>
                  </a:cxn>
                  <a:cxn ang="0">
                    <a:pos x="827" y="240"/>
                  </a:cxn>
                  <a:cxn ang="0">
                    <a:pos x="0" y="161"/>
                  </a:cxn>
                  <a:cxn ang="0">
                    <a:pos x="1568" y="477"/>
                  </a:cxn>
                  <a:cxn ang="0">
                    <a:pos x="1240" y="0"/>
                  </a:cxn>
                </a:cxnLst>
                <a:rect l="0" t="0" r="r" b="b"/>
                <a:pathLst>
                  <a:path w="1568" h="477">
                    <a:moveTo>
                      <a:pt x="1240" y="0"/>
                    </a:moveTo>
                    <a:lnTo>
                      <a:pt x="846" y="50"/>
                    </a:lnTo>
                    <a:lnTo>
                      <a:pt x="827" y="240"/>
                    </a:lnTo>
                    <a:lnTo>
                      <a:pt x="0" y="161"/>
                    </a:lnTo>
                    <a:lnTo>
                      <a:pt x="1568" y="477"/>
                    </a:lnTo>
                    <a:lnTo>
                      <a:pt x="1240" y="0"/>
                    </a:lnTo>
                    <a:close/>
                  </a:path>
                </a:pathLst>
              </a:custGeom>
              <a:solidFill>
                <a:srgbClr val="B58EA2"/>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60" name="Freeform 124"/>
              <p:cNvSpPr>
                <a:spLocks/>
              </p:cNvSpPr>
              <p:nvPr userDrawn="1"/>
            </p:nvSpPr>
            <p:spPr bwMode="auto">
              <a:xfrm>
                <a:off x="9183688" y="4486940"/>
                <a:ext cx="446088" cy="57150"/>
              </a:xfrm>
              <a:custGeom>
                <a:avLst/>
                <a:gdLst/>
                <a:ahLst/>
                <a:cxnLst>
                  <a:cxn ang="0">
                    <a:pos x="281" y="0"/>
                  </a:cxn>
                  <a:cxn ang="0">
                    <a:pos x="0" y="10"/>
                  </a:cxn>
                  <a:cxn ang="0">
                    <a:pos x="2" y="36"/>
                  </a:cxn>
                  <a:cxn ang="0">
                    <a:pos x="281" y="0"/>
                  </a:cxn>
                </a:cxnLst>
                <a:rect l="0" t="0" r="r" b="b"/>
                <a:pathLst>
                  <a:path w="281" h="36">
                    <a:moveTo>
                      <a:pt x="281" y="0"/>
                    </a:moveTo>
                    <a:lnTo>
                      <a:pt x="0" y="10"/>
                    </a:lnTo>
                    <a:lnTo>
                      <a:pt x="2" y="36"/>
                    </a:lnTo>
                    <a:lnTo>
                      <a:pt x="281" y="0"/>
                    </a:lnTo>
                    <a:close/>
                  </a:path>
                </a:pathLst>
              </a:custGeom>
              <a:gradFill>
                <a:gsLst>
                  <a:gs pos="0">
                    <a:srgbClr val="8E516E"/>
                  </a:gs>
                  <a:gs pos="31000">
                    <a:srgbClr val="95414F">
                      <a:alpha val="56000"/>
                    </a:srgbClr>
                  </a:gs>
                  <a:gs pos="95000">
                    <a:srgbClr val="8E516E"/>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61" name="Freeform 126"/>
              <p:cNvSpPr>
                <a:spLocks/>
              </p:cNvSpPr>
              <p:nvPr userDrawn="1"/>
            </p:nvSpPr>
            <p:spPr bwMode="auto">
              <a:xfrm>
                <a:off x="8685213" y="4066252"/>
                <a:ext cx="501650" cy="514350"/>
              </a:xfrm>
              <a:custGeom>
                <a:avLst/>
                <a:gdLst/>
                <a:ahLst/>
                <a:cxnLst>
                  <a:cxn ang="0">
                    <a:pos x="0" y="0"/>
                  </a:cxn>
                  <a:cxn ang="0">
                    <a:pos x="130" y="324"/>
                  </a:cxn>
                  <a:cxn ang="0">
                    <a:pos x="316" y="301"/>
                  </a:cxn>
                  <a:cxn ang="0">
                    <a:pos x="314" y="275"/>
                  </a:cxn>
                  <a:cxn ang="0">
                    <a:pos x="314" y="275"/>
                  </a:cxn>
                  <a:cxn ang="0">
                    <a:pos x="312" y="138"/>
                  </a:cxn>
                  <a:cxn ang="0">
                    <a:pos x="0" y="0"/>
                  </a:cxn>
                </a:cxnLst>
                <a:rect l="0" t="0" r="r" b="b"/>
                <a:pathLst>
                  <a:path w="316" h="324">
                    <a:moveTo>
                      <a:pt x="0" y="0"/>
                    </a:moveTo>
                    <a:lnTo>
                      <a:pt x="130" y="324"/>
                    </a:lnTo>
                    <a:lnTo>
                      <a:pt x="316" y="301"/>
                    </a:lnTo>
                    <a:lnTo>
                      <a:pt x="314" y="275"/>
                    </a:lnTo>
                    <a:lnTo>
                      <a:pt x="314" y="275"/>
                    </a:lnTo>
                    <a:lnTo>
                      <a:pt x="312" y="138"/>
                    </a:lnTo>
                    <a:lnTo>
                      <a:pt x="0" y="0"/>
                    </a:lnTo>
                    <a:close/>
                  </a:path>
                </a:pathLst>
              </a:custGeom>
              <a:solidFill>
                <a:srgbClr val="8D516F"/>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62" name="Freeform 127"/>
              <p:cNvSpPr>
                <a:spLocks/>
              </p:cNvSpPr>
              <p:nvPr userDrawn="1"/>
            </p:nvSpPr>
            <p:spPr bwMode="auto">
              <a:xfrm>
                <a:off x="8685213" y="4066252"/>
                <a:ext cx="501650" cy="514350"/>
              </a:xfrm>
              <a:custGeom>
                <a:avLst/>
                <a:gdLst/>
                <a:ahLst/>
                <a:cxnLst>
                  <a:cxn ang="0">
                    <a:pos x="0" y="0"/>
                  </a:cxn>
                  <a:cxn ang="0">
                    <a:pos x="130" y="324"/>
                  </a:cxn>
                  <a:cxn ang="0">
                    <a:pos x="316" y="301"/>
                  </a:cxn>
                  <a:cxn ang="0">
                    <a:pos x="314" y="275"/>
                  </a:cxn>
                  <a:cxn ang="0">
                    <a:pos x="314" y="275"/>
                  </a:cxn>
                  <a:cxn ang="0">
                    <a:pos x="312" y="138"/>
                  </a:cxn>
                  <a:cxn ang="0">
                    <a:pos x="0" y="0"/>
                  </a:cxn>
                </a:cxnLst>
                <a:rect l="0" t="0" r="r" b="b"/>
                <a:pathLst>
                  <a:path w="316" h="324">
                    <a:moveTo>
                      <a:pt x="0" y="0"/>
                    </a:moveTo>
                    <a:lnTo>
                      <a:pt x="130" y="324"/>
                    </a:lnTo>
                    <a:lnTo>
                      <a:pt x="316" y="301"/>
                    </a:lnTo>
                    <a:lnTo>
                      <a:pt x="314" y="275"/>
                    </a:lnTo>
                    <a:lnTo>
                      <a:pt x="314" y="275"/>
                    </a:lnTo>
                    <a:lnTo>
                      <a:pt x="312" y="138"/>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63" name="Freeform 128"/>
              <p:cNvSpPr>
                <a:spLocks/>
              </p:cNvSpPr>
              <p:nvPr userDrawn="1"/>
            </p:nvSpPr>
            <p:spPr bwMode="auto">
              <a:xfrm>
                <a:off x="8059738" y="3823365"/>
                <a:ext cx="625475" cy="865188"/>
              </a:xfrm>
              <a:custGeom>
                <a:avLst/>
                <a:gdLst/>
                <a:ahLst/>
                <a:cxnLst>
                  <a:cxn ang="0">
                    <a:pos x="56" y="0"/>
                  </a:cxn>
                  <a:cxn ang="0">
                    <a:pos x="56" y="0"/>
                  </a:cxn>
                  <a:cxn ang="0">
                    <a:pos x="0" y="545"/>
                  </a:cxn>
                  <a:cxn ang="0">
                    <a:pos x="394" y="495"/>
                  </a:cxn>
                  <a:cxn ang="0">
                    <a:pos x="56" y="0"/>
                  </a:cxn>
                </a:cxnLst>
                <a:rect l="0" t="0" r="r" b="b"/>
                <a:pathLst>
                  <a:path w="394" h="545">
                    <a:moveTo>
                      <a:pt x="56" y="0"/>
                    </a:moveTo>
                    <a:lnTo>
                      <a:pt x="56" y="0"/>
                    </a:lnTo>
                    <a:lnTo>
                      <a:pt x="0" y="545"/>
                    </a:lnTo>
                    <a:lnTo>
                      <a:pt x="394" y="495"/>
                    </a:lnTo>
                    <a:lnTo>
                      <a:pt x="56" y="0"/>
                    </a:lnTo>
                    <a:close/>
                  </a:path>
                </a:pathLst>
              </a:custGeom>
              <a:gradFill flip="none" rotWithShape="1">
                <a:gsLst>
                  <a:gs pos="59000">
                    <a:srgbClr val="77445E">
                      <a:alpha val="80000"/>
                    </a:srgbClr>
                  </a:gs>
                  <a:gs pos="100000">
                    <a:srgbClr val="9D6182">
                      <a:alpha val="70000"/>
                    </a:srgbClr>
                  </a:gs>
                </a:gsLst>
                <a:lin ang="126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64" name="Freeform 129"/>
              <p:cNvSpPr>
                <a:spLocks/>
              </p:cNvSpPr>
              <p:nvPr userDrawn="1"/>
            </p:nvSpPr>
            <p:spPr bwMode="auto">
              <a:xfrm>
                <a:off x="8059738" y="3823365"/>
                <a:ext cx="625475" cy="865188"/>
              </a:xfrm>
              <a:custGeom>
                <a:avLst/>
                <a:gdLst/>
                <a:ahLst/>
                <a:cxnLst>
                  <a:cxn ang="0">
                    <a:pos x="56" y="0"/>
                  </a:cxn>
                  <a:cxn ang="0">
                    <a:pos x="56" y="0"/>
                  </a:cxn>
                  <a:cxn ang="0">
                    <a:pos x="0" y="545"/>
                  </a:cxn>
                  <a:cxn ang="0">
                    <a:pos x="394" y="495"/>
                  </a:cxn>
                  <a:cxn ang="0">
                    <a:pos x="56" y="0"/>
                  </a:cxn>
                </a:cxnLst>
                <a:rect l="0" t="0" r="r" b="b"/>
                <a:pathLst>
                  <a:path w="394" h="545">
                    <a:moveTo>
                      <a:pt x="56" y="0"/>
                    </a:moveTo>
                    <a:lnTo>
                      <a:pt x="56" y="0"/>
                    </a:lnTo>
                    <a:lnTo>
                      <a:pt x="0" y="545"/>
                    </a:lnTo>
                    <a:lnTo>
                      <a:pt x="394" y="495"/>
                    </a:lnTo>
                    <a:lnTo>
                      <a:pt x="56"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65" name="Freeform 130"/>
              <p:cNvSpPr>
                <a:spLocks/>
              </p:cNvSpPr>
              <p:nvPr userDrawn="1"/>
            </p:nvSpPr>
            <p:spPr bwMode="auto">
              <a:xfrm>
                <a:off x="8148638" y="3483640"/>
                <a:ext cx="304800" cy="339725"/>
              </a:xfrm>
              <a:custGeom>
                <a:avLst/>
                <a:gdLst/>
                <a:ahLst/>
                <a:cxnLst>
                  <a:cxn ang="0">
                    <a:pos x="192" y="0"/>
                  </a:cxn>
                  <a:cxn ang="0">
                    <a:pos x="0" y="214"/>
                  </a:cxn>
                  <a:cxn ang="0">
                    <a:pos x="192" y="0"/>
                  </a:cxn>
                  <a:cxn ang="0">
                    <a:pos x="192" y="0"/>
                  </a:cxn>
                </a:cxnLst>
                <a:rect l="0" t="0" r="r" b="b"/>
                <a:pathLst>
                  <a:path w="192" h="214">
                    <a:moveTo>
                      <a:pt x="192" y="0"/>
                    </a:moveTo>
                    <a:lnTo>
                      <a:pt x="0" y="214"/>
                    </a:lnTo>
                    <a:lnTo>
                      <a:pt x="192" y="0"/>
                    </a:lnTo>
                    <a:lnTo>
                      <a:pt x="192" y="0"/>
                    </a:lnTo>
                    <a:close/>
                  </a:path>
                </a:pathLst>
              </a:custGeom>
              <a:solidFill>
                <a:srgbClr val="610035"/>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66" name="Freeform 131"/>
              <p:cNvSpPr>
                <a:spLocks/>
              </p:cNvSpPr>
              <p:nvPr userDrawn="1"/>
            </p:nvSpPr>
            <p:spPr bwMode="auto">
              <a:xfrm>
                <a:off x="8148638" y="3483640"/>
                <a:ext cx="304800" cy="339725"/>
              </a:xfrm>
              <a:custGeom>
                <a:avLst/>
                <a:gdLst/>
                <a:ahLst/>
                <a:cxnLst>
                  <a:cxn ang="0">
                    <a:pos x="192" y="0"/>
                  </a:cxn>
                  <a:cxn ang="0">
                    <a:pos x="0" y="214"/>
                  </a:cxn>
                  <a:cxn ang="0">
                    <a:pos x="192" y="0"/>
                  </a:cxn>
                  <a:cxn ang="0">
                    <a:pos x="192" y="0"/>
                  </a:cxn>
                </a:cxnLst>
                <a:rect l="0" t="0" r="r" b="b"/>
                <a:pathLst>
                  <a:path w="192" h="214">
                    <a:moveTo>
                      <a:pt x="192" y="0"/>
                    </a:moveTo>
                    <a:lnTo>
                      <a:pt x="0" y="214"/>
                    </a:lnTo>
                    <a:lnTo>
                      <a:pt x="192" y="0"/>
                    </a:lnTo>
                    <a:lnTo>
                      <a:pt x="192"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67" name="Freeform 132"/>
              <p:cNvSpPr>
                <a:spLocks noEditPoints="1"/>
              </p:cNvSpPr>
              <p:nvPr userDrawn="1"/>
            </p:nvSpPr>
            <p:spPr bwMode="auto">
              <a:xfrm>
                <a:off x="8148638" y="3483640"/>
                <a:ext cx="1057275" cy="1882775"/>
              </a:xfrm>
              <a:custGeom>
                <a:avLst/>
                <a:gdLst/>
                <a:ahLst/>
                <a:cxnLst>
                  <a:cxn ang="0">
                    <a:pos x="468" y="691"/>
                  </a:cxn>
                  <a:cxn ang="0">
                    <a:pos x="338" y="709"/>
                  </a:cxn>
                  <a:cxn ang="0">
                    <a:pos x="666" y="1186"/>
                  </a:cxn>
                  <a:cxn ang="0">
                    <a:pos x="468" y="691"/>
                  </a:cxn>
                  <a:cxn ang="0">
                    <a:pos x="192" y="0"/>
                  </a:cxn>
                  <a:cxn ang="0">
                    <a:pos x="0" y="214"/>
                  </a:cxn>
                  <a:cxn ang="0">
                    <a:pos x="338" y="367"/>
                  </a:cxn>
                  <a:cxn ang="0">
                    <a:pos x="192" y="0"/>
                  </a:cxn>
                </a:cxnLst>
                <a:rect l="0" t="0" r="r" b="b"/>
                <a:pathLst>
                  <a:path w="666" h="1186">
                    <a:moveTo>
                      <a:pt x="468" y="691"/>
                    </a:moveTo>
                    <a:lnTo>
                      <a:pt x="338" y="709"/>
                    </a:lnTo>
                    <a:lnTo>
                      <a:pt x="666" y="1186"/>
                    </a:lnTo>
                    <a:lnTo>
                      <a:pt x="468" y="691"/>
                    </a:lnTo>
                    <a:close/>
                    <a:moveTo>
                      <a:pt x="192" y="0"/>
                    </a:moveTo>
                    <a:lnTo>
                      <a:pt x="0" y="214"/>
                    </a:lnTo>
                    <a:lnTo>
                      <a:pt x="338" y="367"/>
                    </a:lnTo>
                    <a:lnTo>
                      <a:pt x="192" y="0"/>
                    </a:lnTo>
                    <a:close/>
                  </a:path>
                </a:pathLst>
              </a:custGeom>
              <a:gradFill flip="none" rotWithShape="1">
                <a:gsLst>
                  <a:gs pos="59000">
                    <a:srgbClr val="77445E">
                      <a:alpha val="80000"/>
                    </a:srgbClr>
                  </a:gs>
                  <a:gs pos="100000">
                    <a:srgbClr val="9D6182">
                      <a:alpha val="70000"/>
                    </a:srgbClr>
                  </a:gs>
                </a:gsLst>
                <a:lin ang="126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68" name="Freeform 133"/>
              <p:cNvSpPr>
                <a:spLocks noEditPoints="1"/>
              </p:cNvSpPr>
              <p:nvPr userDrawn="1"/>
            </p:nvSpPr>
            <p:spPr bwMode="auto">
              <a:xfrm>
                <a:off x="8148638" y="3483640"/>
                <a:ext cx="1057275" cy="1882775"/>
              </a:xfrm>
              <a:custGeom>
                <a:avLst/>
                <a:gdLst/>
                <a:ahLst/>
                <a:cxnLst>
                  <a:cxn ang="0">
                    <a:pos x="468" y="691"/>
                  </a:cxn>
                  <a:cxn ang="0">
                    <a:pos x="338" y="709"/>
                  </a:cxn>
                  <a:cxn ang="0">
                    <a:pos x="666" y="1186"/>
                  </a:cxn>
                  <a:cxn ang="0">
                    <a:pos x="468" y="691"/>
                  </a:cxn>
                  <a:cxn ang="0">
                    <a:pos x="192" y="0"/>
                  </a:cxn>
                  <a:cxn ang="0">
                    <a:pos x="0" y="214"/>
                  </a:cxn>
                  <a:cxn ang="0">
                    <a:pos x="338" y="367"/>
                  </a:cxn>
                  <a:cxn ang="0">
                    <a:pos x="192" y="0"/>
                  </a:cxn>
                </a:cxnLst>
                <a:rect l="0" t="0" r="r" b="b"/>
                <a:pathLst>
                  <a:path w="666" h="1186">
                    <a:moveTo>
                      <a:pt x="468" y="691"/>
                    </a:moveTo>
                    <a:lnTo>
                      <a:pt x="338" y="709"/>
                    </a:lnTo>
                    <a:lnTo>
                      <a:pt x="666" y="1186"/>
                    </a:lnTo>
                    <a:lnTo>
                      <a:pt x="468" y="691"/>
                    </a:lnTo>
                    <a:moveTo>
                      <a:pt x="192" y="0"/>
                    </a:moveTo>
                    <a:lnTo>
                      <a:pt x="0" y="214"/>
                    </a:lnTo>
                    <a:lnTo>
                      <a:pt x="338" y="367"/>
                    </a:lnTo>
                    <a:lnTo>
                      <a:pt x="192"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69" name="Freeform 134"/>
              <p:cNvSpPr>
                <a:spLocks/>
              </p:cNvSpPr>
              <p:nvPr userDrawn="1"/>
            </p:nvSpPr>
            <p:spPr bwMode="auto">
              <a:xfrm>
                <a:off x="8148638" y="3823365"/>
                <a:ext cx="742950" cy="785813"/>
              </a:xfrm>
              <a:custGeom>
                <a:avLst/>
                <a:gdLst/>
                <a:ahLst/>
                <a:cxnLst>
                  <a:cxn ang="0">
                    <a:pos x="0" y="0"/>
                  </a:cxn>
                  <a:cxn ang="0">
                    <a:pos x="338" y="495"/>
                  </a:cxn>
                  <a:cxn ang="0">
                    <a:pos x="468" y="477"/>
                  </a:cxn>
                  <a:cxn ang="0">
                    <a:pos x="338" y="153"/>
                  </a:cxn>
                  <a:cxn ang="0">
                    <a:pos x="0" y="0"/>
                  </a:cxn>
                </a:cxnLst>
                <a:rect l="0" t="0" r="r" b="b"/>
                <a:pathLst>
                  <a:path w="468" h="495">
                    <a:moveTo>
                      <a:pt x="0" y="0"/>
                    </a:moveTo>
                    <a:lnTo>
                      <a:pt x="338" y="495"/>
                    </a:lnTo>
                    <a:lnTo>
                      <a:pt x="468" y="477"/>
                    </a:lnTo>
                    <a:lnTo>
                      <a:pt x="338" y="153"/>
                    </a:lnTo>
                    <a:lnTo>
                      <a:pt x="0" y="0"/>
                    </a:lnTo>
                    <a:close/>
                  </a:path>
                </a:pathLst>
              </a:custGeom>
              <a:gradFill>
                <a:gsLst>
                  <a:gs pos="0">
                    <a:srgbClr val="65394F"/>
                  </a:gs>
                  <a:gs pos="100000">
                    <a:srgbClr val="65394F">
                      <a:alpha val="78000"/>
                    </a:srgbClr>
                  </a:gs>
                </a:gsLst>
                <a:lin ang="168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70" name="Freeform 135"/>
              <p:cNvSpPr>
                <a:spLocks/>
              </p:cNvSpPr>
              <p:nvPr userDrawn="1"/>
            </p:nvSpPr>
            <p:spPr bwMode="auto">
              <a:xfrm>
                <a:off x="8148638" y="3823365"/>
                <a:ext cx="742950" cy="785813"/>
              </a:xfrm>
              <a:custGeom>
                <a:avLst/>
                <a:gdLst/>
                <a:ahLst/>
                <a:cxnLst>
                  <a:cxn ang="0">
                    <a:pos x="0" y="0"/>
                  </a:cxn>
                  <a:cxn ang="0">
                    <a:pos x="338" y="495"/>
                  </a:cxn>
                  <a:cxn ang="0">
                    <a:pos x="468" y="477"/>
                  </a:cxn>
                  <a:cxn ang="0">
                    <a:pos x="338" y="153"/>
                  </a:cxn>
                  <a:cxn ang="0">
                    <a:pos x="0" y="0"/>
                  </a:cxn>
                </a:cxnLst>
                <a:rect l="0" t="0" r="r" b="b"/>
                <a:pathLst>
                  <a:path w="468" h="495">
                    <a:moveTo>
                      <a:pt x="0" y="0"/>
                    </a:moveTo>
                    <a:lnTo>
                      <a:pt x="338" y="495"/>
                    </a:lnTo>
                    <a:lnTo>
                      <a:pt x="468" y="477"/>
                    </a:lnTo>
                    <a:lnTo>
                      <a:pt x="338" y="153"/>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71" name="Freeform 136"/>
              <p:cNvSpPr>
                <a:spLocks noEditPoints="1"/>
              </p:cNvSpPr>
              <p:nvPr userDrawn="1"/>
            </p:nvSpPr>
            <p:spPr bwMode="auto">
              <a:xfrm>
                <a:off x="922338" y="2046952"/>
                <a:ext cx="1758950" cy="1770063"/>
              </a:xfrm>
              <a:custGeom>
                <a:avLst/>
                <a:gdLst/>
                <a:ahLst/>
                <a:cxnLst>
                  <a:cxn ang="0">
                    <a:pos x="307" y="729"/>
                  </a:cxn>
                  <a:cxn ang="0">
                    <a:pos x="0" y="1115"/>
                  </a:cxn>
                  <a:cxn ang="0">
                    <a:pos x="307" y="729"/>
                  </a:cxn>
                  <a:cxn ang="0">
                    <a:pos x="307" y="729"/>
                  </a:cxn>
                  <a:cxn ang="0">
                    <a:pos x="307" y="729"/>
                  </a:cxn>
                  <a:cxn ang="0">
                    <a:pos x="281" y="0"/>
                  </a:cxn>
                  <a:cxn ang="0">
                    <a:pos x="281" y="0"/>
                  </a:cxn>
                  <a:cxn ang="0">
                    <a:pos x="532" y="444"/>
                  </a:cxn>
                  <a:cxn ang="0">
                    <a:pos x="528" y="448"/>
                  </a:cxn>
                  <a:cxn ang="0">
                    <a:pos x="882" y="1084"/>
                  </a:cxn>
                  <a:cxn ang="0">
                    <a:pos x="884" y="1086"/>
                  </a:cxn>
                  <a:cxn ang="0">
                    <a:pos x="1066" y="935"/>
                  </a:cxn>
                  <a:cxn ang="0">
                    <a:pos x="1108" y="715"/>
                  </a:cxn>
                  <a:cxn ang="0">
                    <a:pos x="281" y="0"/>
                  </a:cxn>
                  <a:cxn ang="0">
                    <a:pos x="281" y="0"/>
                  </a:cxn>
                  <a:cxn ang="0">
                    <a:pos x="281" y="0"/>
                  </a:cxn>
                  <a:cxn ang="0">
                    <a:pos x="281" y="0"/>
                  </a:cxn>
                  <a:cxn ang="0">
                    <a:pos x="281" y="0"/>
                  </a:cxn>
                </a:cxnLst>
                <a:rect l="0" t="0" r="r" b="b"/>
                <a:pathLst>
                  <a:path w="1108" h="1115">
                    <a:moveTo>
                      <a:pt x="307" y="729"/>
                    </a:moveTo>
                    <a:lnTo>
                      <a:pt x="0" y="1115"/>
                    </a:lnTo>
                    <a:lnTo>
                      <a:pt x="307" y="729"/>
                    </a:lnTo>
                    <a:lnTo>
                      <a:pt x="307" y="729"/>
                    </a:lnTo>
                    <a:lnTo>
                      <a:pt x="307" y="729"/>
                    </a:lnTo>
                    <a:close/>
                    <a:moveTo>
                      <a:pt x="281" y="0"/>
                    </a:moveTo>
                    <a:lnTo>
                      <a:pt x="281" y="0"/>
                    </a:lnTo>
                    <a:lnTo>
                      <a:pt x="532" y="444"/>
                    </a:lnTo>
                    <a:lnTo>
                      <a:pt x="528" y="448"/>
                    </a:lnTo>
                    <a:lnTo>
                      <a:pt x="882" y="1084"/>
                    </a:lnTo>
                    <a:lnTo>
                      <a:pt x="884" y="1086"/>
                    </a:lnTo>
                    <a:lnTo>
                      <a:pt x="1066" y="935"/>
                    </a:lnTo>
                    <a:lnTo>
                      <a:pt x="1108" y="715"/>
                    </a:lnTo>
                    <a:lnTo>
                      <a:pt x="281" y="0"/>
                    </a:lnTo>
                    <a:close/>
                    <a:moveTo>
                      <a:pt x="281" y="0"/>
                    </a:moveTo>
                    <a:lnTo>
                      <a:pt x="281" y="0"/>
                    </a:lnTo>
                    <a:lnTo>
                      <a:pt x="281" y="0"/>
                    </a:lnTo>
                    <a:lnTo>
                      <a:pt x="281" y="0"/>
                    </a:lnTo>
                    <a:close/>
                  </a:path>
                </a:pathLst>
              </a:custGeom>
              <a:solidFill>
                <a:srgbClr val="CFB4C4"/>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72" name="Freeform 138"/>
              <p:cNvSpPr>
                <a:spLocks/>
              </p:cNvSpPr>
              <p:nvPr userDrawn="1"/>
            </p:nvSpPr>
            <p:spPr bwMode="auto">
              <a:xfrm>
                <a:off x="3924300" y="2440652"/>
                <a:ext cx="2046288" cy="1773238"/>
              </a:xfrm>
              <a:custGeom>
                <a:avLst/>
                <a:gdLst/>
                <a:ahLst/>
                <a:cxnLst>
                  <a:cxn ang="0">
                    <a:pos x="0" y="0"/>
                  </a:cxn>
                  <a:cxn ang="0">
                    <a:pos x="0" y="0"/>
                  </a:cxn>
                  <a:cxn ang="0">
                    <a:pos x="1115" y="1117"/>
                  </a:cxn>
                  <a:cxn ang="0">
                    <a:pos x="1289" y="580"/>
                  </a:cxn>
                  <a:cxn ang="0">
                    <a:pos x="0" y="0"/>
                  </a:cxn>
                </a:cxnLst>
                <a:rect l="0" t="0" r="r" b="b"/>
                <a:pathLst>
                  <a:path w="1289" h="1117">
                    <a:moveTo>
                      <a:pt x="0" y="0"/>
                    </a:moveTo>
                    <a:lnTo>
                      <a:pt x="0" y="0"/>
                    </a:lnTo>
                    <a:lnTo>
                      <a:pt x="1115" y="1117"/>
                    </a:lnTo>
                    <a:lnTo>
                      <a:pt x="1289" y="580"/>
                    </a:lnTo>
                    <a:lnTo>
                      <a:pt x="0" y="0"/>
                    </a:lnTo>
                    <a:close/>
                  </a:path>
                </a:pathLst>
              </a:custGeom>
              <a:gradFill flip="none" rotWithShape="1">
                <a:gsLst>
                  <a:gs pos="0">
                    <a:srgbClr val="77445E">
                      <a:alpha val="90000"/>
                    </a:srgbClr>
                  </a:gs>
                  <a:gs pos="100000">
                    <a:srgbClr val="9D6182">
                      <a:alpha val="49000"/>
                    </a:srgbClr>
                  </a:gs>
                </a:gsLst>
                <a:lin ang="126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73" name="Freeform 139"/>
              <p:cNvSpPr>
                <a:spLocks/>
              </p:cNvSpPr>
              <p:nvPr userDrawn="1"/>
            </p:nvSpPr>
            <p:spPr bwMode="auto">
              <a:xfrm>
                <a:off x="3924300" y="2440652"/>
                <a:ext cx="2046288" cy="1773238"/>
              </a:xfrm>
              <a:custGeom>
                <a:avLst/>
                <a:gdLst/>
                <a:ahLst/>
                <a:cxnLst>
                  <a:cxn ang="0">
                    <a:pos x="0" y="0"/>
                  </a:cxn>
                  <a:cxn ang="0">
                    <a:pos x="0" y="0"/>
                  </a:cxn>
                  <a:cxn ang="0">
                    <a:pos x="1115" y="1117"/>
                  </a:cxn>
                  <a:cxn ang="0">
                    <a:pos x="1289" y="580"/>
                  </a:cxn>
                  <a:cxn ang="0">
                    <a:pos x="0" y="0"/>
                  </a:cxn>
                </a:cxnLst>
                <a:rect l="0" t="0" r="r" b="b"/>
                <a:pathLst>
                  <a:path w="1289" h="1117">
                    <a:moveTo>
                      <a:pt x="0" y="0"/>
                    </a:moveTo>
                    <a:lnTo>
                      <a:pt x="0" y="0"/>
                    </a:lnTo>
                    <a:lnTo>
                      <a:pt x="1115" y="1117"/>
                    </a:lnTo>
                    <a:lnTo>
                      <a:pt x="1289" y="58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74" name="Freeform 140"/>
              <p:cNvSpPr>
                <a:spLocks noEditPoints="1"/>
              </p:cNvSpPr>
              <p:nvPr userDrawn="1"/>
            </p:nvSpPr>
            <p:spPr bwMode="auto">
              <a:xfrm>
                <a:off x="3924300" y="2440652"/>
                <a:ext cx="1770063" cy="2197100"/>
              </a:xfrm>
              <a:custGeom>
                <a:avLst/>
                <a:gdLst/>
                <a:ahLst/>
                <a:cxnLst>
                  <a:cxn ang="0">
                    <a:pos x="185" y="364"/>
                  </a:cxn>
                  <a:cxn ang="0">
                    <a:pos x="711" y="1384"/>
                  </a:cxn>
                  <a:cxn ang="0">
                    <a:pos x="713" y="1382"/>
                  </a:cxn>
                  <a:cxn ang="0">
                    <a:pos x="713" y="1382"/>
                  </a:cxn>
                  <a:cxn ang="0">
                    <a:pos x="185" y="364"/>
                  </a:cxn>
                  <a:cxn ang="0">
                    <a:pos x="0" y="0"/>
                  </a:cxn>
                  <a:cxn ang="0">
                    <a:pos x="1" y="6"/>
                  </a:cxn>
                  <a:cxn ang="0">
                    <a:pos x="1115" y="1117"/>
                  </a:cxn>
                  <a:cxn ang="0">
                    <a:pos x="0" y="0"/>
                  </a:cxn>
                </a:cxnLst>
                <a:rect l="0" t="0" r="r" b="b"/>
                <a:pathLst>
                  <a:path w="1115" h="1384">
                    <a:moveTo>
                      <a:pt x="185" y="364"/>
                    </a:moveTo>
                    <a:lnTo>
                      <a:pt x="711" y="1384"/>
                    </a:lnTo>
                    <a:lnTo>
                      <a:pt x="713" y="1382"/>
                    </a:lnTo>
                    <a:lnTo>
                      <a:pt x="713" y="1382"/>
                    </a:lnTo>
                    <a:lnTo>
                      <a:pt x="185" y="364"/>
                    </a:lnTo>
                    <a:close/>
                    <a:moveTo>
                      <a:pt x="0" y="0"/>
                    </a:moveTo>
                    <a:lnTo>
                      <a:pt x="1" y="6"/>
                    </a:lnTo>
                    <a:lnTo>
                      <a:pt x="1115" y="1117"/>
                    </a:lnTo>
                    <a:lnTo>
                      <a:pt x="0" y="0"/>
                    </a:lnTo>
                    <a:close/>
                  </a:path>
                </a:pathLst>
              </a:custGeom>
              <a:solidFill>
                <a:srgbClr val="25000B"/>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75" name="Freeform 141"/>
              <p:cNvSpPr>
                <a:spLocks noEditPoints="1"/>
              </p:cNvSpPr>
              <p:nvPr userDrawn="1"/>
            </p:nvSpPr>
            <p:spPr bwMode="auto">
              <a:xfrm>
                <a:off x="3924300" y="2440652"/>
                <a:ext cx="1770063" cy="2197100"/>
              </a:xfrm>
              <a:custGeom>
                <a:avLst/>
                <a:gdLst/>
                <a:ahLst/>
                <a:cxnLst>
                  <a:cxn ang="0">
                    <a:pos x="185" y="364"/>
                  </a:cxn>
                  <a:cxn ang="0">
                    <a:pos x="711" y="1384"/>
                  </a:cxn>
                  <a:cxn ang="0">
                    <a:pos x="713" y="1382"/>
                  </a:cxn>
                  <a:cxn ang="0">
                    <a:pos x="713" y="1382"/>
                  </a:cxn>
                  <a:cxn ang="0">
                    <a:pos x="185" y="364"/>
                  </a:cxn>
                  <a:cxn ang="0">
                    <a:pos x="0" y="0"/>
                  </a:cxn>
                  <a:cxn ang="0">
                    <a:pos x="1" y="6"/>
                  </a:cxn>
                  <a:cxn ang="0">
                    <a:pos x="1115" y="1117"/>
                  </a:cxn>
                  <a:cxn ang="0">
                    <a:pos x="0" y="0"/>
                  </a:cxn>
                </a:cxnLst>
                <a:rect l="0" t="0" r="r" b="b"/>
                <a:pathLst>
                  <a:path w="1115" h="1384">
                    <a:moveTo>
                      <a:pt x="185" y="364"/>
                    </a:moveTo>
                    <a:lnTo>
                      <a:pt x="711" y="1384"/>
                    </a:lnTo>
                    <a:lnTo>
                      <a:pt x="713" y="1382"/>
                    </a:lnTo>
                    <a:lnTo>
                      <a:pt x="713" y="1382"/>
                    </a:lnTo>
                    <a:lnTo>
                      <a:pt x="185" y="364"/>
                    </a:lnTo>
                    <a:moveTo>
                      <a:pt x="0" y="0"/>
                    </a:moveTo>
                    <a:lnTo>
                      <a:pt x="1" y="6"/>
                    </a:lnTo>
                    <a:lnTo>
                      <a:pt x="1115" y="1117"/>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76" name="Freeform 142"/>
              <p:cNvSpPr>
                <a:spLocks/>
              </p:cNvSpPr>
              <p:nvPr userDrawn="1"/>
            </p:nvSpPr>
            <p:spPr bwMode="auto">
              <a:xfrm>
                <a:off x="5408613" y="4707602"/>
                <a:ext cx="160338" cy="625475"/>
              </a:xfrm>
              <a:custGeom>
                <a:avLst/>
                <a:gdLst/>
                <a:ahLst/>
                <a:cxnLst>
                  <a:cxn ang="0">
                    <a:pos x="101" y="0"/>
                  </a:cxn>
                  <a:cxn ang="0">
                    <a:pos x="0" y="390"/>
                  </a:cxn>
                  <a:cxn ang="0">
                    <a:pos x="0" y="390"/>
                  </a:cxn>
                  <a:cxn ang="0">
                    <a:pos x="0" y="394"/>
                  </a:cxn>
                  <a:cxn ang="0">
                    <a:pos x="101" y="0"/>
                  </a:cxn>
                  <a:cxn ang="0">
                    <a:pos x="101" y="0"/>
                  </a:cxn>
                </a:cxnLst>
                <a:rect l="0" t="0" r="r" b="b"/>
                <a:pathLst>
                  <a:path w="101" h="394">
                    <a:moveTo>
                      <a:pt x="101" y="0"/>
                    </a:moveTo>
                    <a:lnTo>
                      <a:pt x="0" y="390"/>
                    </a:lnTo>
                    <a:lnTo>
                      <a:pt x="0" y="390"/>
                    </a:lnTo>
                    <a:lnTo>
                      <a:pt x="0" y="394"/>
                    </a:lnTo>
                    <a:lnTo>
                      <a:pt x="101" y="0"/>
                    </a:lnTo>
                    <a:lnTo>
                      <a:pt x="101" y="0"/>
                    </a:lnTo>
                    <a:close/>
                  </a:path>
                </a:pathLst>
              </a:custGeom>
              <a:solidFill>
                <a:srgbClr val="610035"/>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77" name="Freeform 143"/>
              <p:cNvSpPr>
                <a:spLocks/>
              </p:cNvSpPr>
              <p:nvPr userDrawn="1"/>
            </p:nvSpPr>
            <p:spPr bwMode="auto">
              <a:xfrm>
                <a:off x="5408613" y="4707602"/>
                <a:ext cx="160338" cy="625475"/>
              </a:xfrm>
              <a:custGeom>
                <a:avLst/>
                <a:gdLst/>
                <a:ahLst/>
                <a:cxnLst>
                  <a:cxn ang="0">
                    <a:pos x="101" y="0"/>
                  </a:cxn>
                  <a:cxn ang="0">
                    <a:pos x="0" y="390"/>
                  </a:cxn>
                  <a:cxn ang="0">
                    <a:pos x="0" y="390"/>
                  </a:cxn>
                  <a:cxn ang="0">
                    <a:pos x="0" y="394"/>
                  </a:cxn>
                  <a:cxn ang="0">
                    <a:pos x="101" y="0"/>
                  </a:cxn>
                  <a:cxn ang="0">
                    <a:pos x="101" y="0"/>
                  </a:cxn>
                </a:cxnLst>
                <a:rect l="0" t="0" r="r" b="b"/>
                <a:pathLst>
                  <a:path w="101" h="394">
                    <a:moveTo>
                      <a:pt x="101" y="0"/>
                    </a:moveTo>
                    <a:lnTo>
                      <a:pt x="0" y="390"/>
                    </a:lnTo>
                    <a:lnTo>
                      <a:pt x="0" y="390"/>
                    </a:lnTo>
                    <a:lnTo>
                      <a:pt x="0" y="394"/>
                    </a:lnTo>
                    <a:lnTo>
                      <a:pt x="101" y="0"/>
                    </a:lnTo>
                    <a:lnTo>
                      <a:pt x="101"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78" name="Rectangle 144"/>
              <p:cNvSpPr>
                <a:spLocks noChangeArrowheads="1"/>
              </p:cNvSpPr>
              <p:nvPr userDrawn="1"/>
            </p:nvSpPr>
            <p:spPr bwMode="auto">
              <a:xfrm>
                <a:off x="5056188" y="4634577"/>
                <a:ext cx="1588" cy="1588"/>
              </a:xfrm>
              <a:prstGeom prst="rect">
                <a:avLst/>
              </a:prstGeom>
              <a:solidFill>
                <a:srgbClr val="0E0002"/>
              </a:solidFill>
              <a:ln w="9525">
                <a:noFill/>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79" name="Rectangle 145"/>
              <p:cNvSpPr>
                <a:spLocks noChangeArrowheads="1"/>
              </p:cNvSpPr>
              <p:nvPr userDrawn="1"/>
            </p:nvSpPr>
            <p:spPr bwMode="auto">
              <a:xfrm>
                <a:off x="5056188" y="4634577"/>
                <a:ext cx="1588" cy="1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80" name="Freeform 146"/>
              <p:cNvSpPr>
                <a:spLocks noEditPoints="1"/>
              </p:cNvSpPr>
              <p:nvPr userDrawn="1"/>
            </p:nvSpPr>
            <p:spPr bwMode="auto">
              <a:xfrm>
                <a:off x="1454150" y="2440652"/>
                <a:ext cx="3598863" cy="2659063"/>
              </a:xfrm>
              <a:custGeom>
                <a:avLst/>
                <a:gdLst/>
                <a:ahLst/>
                <a:cxnLst>
                  <a:cxn ang="0">
                    <a:pos x="549" y="839"/>
                  </a:cxn>
                  <a:cxn ang="0">
                    <a:pos x="0" y="1297"/>
                  </a:cxn>
                  <a:cxn ang="0">
                    <a:pos x="899" y="1475"/>
                  </a:cxn>
                  <a:cxn ang="0">
                    <a:pos x="549" y="839"/>
                  </a:cxn>
                  <a:cxn ang="0">
                    <a:pos x="794" y="634"/>
                  </a:cxn>
                  <a:cxn ang="0">
                    <a:pos x="731" y="687"/>
                  </a:cxn>
                  <a:cxn ang="0">
                    <a:pos x="686" y="925"/>
                  </a:cxn>
                  <a:cxn ang="0">
                    <a:pos x="549" y="838"/>
                  </a:cxn>
                  <a:cxn ang="0">
                    <a:pos x="549" y="838"/>
                  </a:cxn>
                  <a:cxn ang="0">
                    <a:pos x="844" y="1030"/>
                  </a:cxn>
                  <a:cxn ang="0">
                    <a:pos x="794" y="634"/>
                  </a:cxn>
                  <a:cxn ang="0">
                    <a:pos x="1556" y="0"/>
                  </a:cxn>
                  <a:cxn ang="0">
                    <a:pos x="1556" y="0"/>
                  </a:cxn>
                  <a:cxn ang="0">
                    <a:pos x="1039" y="1158"/>
                  </a:cxn>
                  <a:cxn ang="0">
                    <a:pos x="1828" y="1675"/>
                  </a:cxn>
                  <a:cxn ang="0">
                    <a:pos x="1828" y="1675"/>
                  </a:cxn>
                  <a:cxn ang="0">
                    <a:pos x="2267" y="1384"/>
                  </a:cxn>
                  <a:cxn ang="0">
                    <a:pos x="1741" y="364"/>
                  </a:cxn>
                  <a:cxn ang="0">
                    <a:pos x="1556" y="4"/>
                  </a:cxn>
                  <a:cxn ang="0">
                    <a:pos x="1557" y="6"/>
                  </a:cxn>
                  <a:cxn ang="0">
                    <a:pos x="1556" y="0"/>
                  </a:cxn>
                </a:cxnLst>
                <a:rect l="0" t="0" r="r" b="b"/>
                <a:pathLst>
                  <a:path w="2267" h="1675">
                    <a:moveTo>
                      <a:pt x="549" y="839"/>
                    </a:moveTo>
                    <a:lnTo>
                      <a:pt x="0" y="1297"/>
                    </a:lnTo>
                    <a:lnTo>
                      <a:pt x="899" y="1475"/>
                    </a:lnTo>
                    <a:lnTo>
                      <a:pt x="549" y="839"/>
                    </a:lnTo>
                    <a:close/>
                    <a:moveTo>
                      <a:pt x="794" y="634"/>
                    </a:moveTo>
                    <a:lnTo>
                      <a:pt x="731" y="687"/>
                    </a:lnTo>
                    <a:lnTo>
                      <a:pt x="686" y="925"/>
                    </a:lnTo>
                    <a:lnTo>
                      <a:pt x="549" y="838"/>
                    </a:lnTo>
                    <a:lnTo>
                      <a:pt x="549" y="838"/>
                    </a:lnTo>
                    <a:lnTo>
                      <a:pt x="844" y="1030"/>
                    </a:lnTo>
                    <a:lnTo>
                      <a:pt x="794" y="634"/>
                    </a:lnTo>
                    <a:close/>
                    <a:moveTo>
                      <a:pt x="1556" y="0"/>
                    </a:moveTo>
                    <a:lnTo>
                      <a:pt x="1556" y="0"/>
                    </a:lnTo>
                    <a:lnTo>
                      <a:pt x="1039" y="1158"/>
                    </a:lnTo>
                    <a:lnTo>
                      <a:pt x="1828" y="1675"/>
                    </a:lnTo>
                    <a:lnTo>
                      <a:pt x="1828" y="1675"/>
                    </a:lnTo>
                    <a:lnTo>
                      <a:pt x="2267" y="1384"/>
                    </a:lnTo>
                    <a:lnTo>
                      <a:pt x="1741" y="364"/>
                    </a:lnTo>
                    <a:lnTo>
                      <a:pt x="1556" y="4"/>
                    </a:lnTo>
                    <a:lnTo>
                      <a:pt x="1557" y="6"/>
                    </a:lnTo>
                    <a:lnTo>
                      <a:pt x="1556" y="0"/>
                    </a:lnTo>
                    <a:close/>
                  </a:path>
                </a:pathLst>
              </a:custGeom>
              <a:gradFill flip="none" rotWithShape="1">
                <a:gsLst>
                  <a:gs pos="0">
                    <a:srgbClr val="77445E">
                      <a:alpha val="90000"/>
                    </a:srgbClr>
                  </a:gs>
                  <a:gs pos="100000">
                    <a:srgbClr val="9D6182">
                      <a:alpha val="49000"/>
                    </a:srgbClr>
                  </a:gs>
                </a:gsLst>
                <a:lin ang="126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81" name="Freeform 147"/>
              <p:cNvSpPr>
                <a:spLocks noEditPoints="1"/>
              </p:cNvSpPr>
              <p:nvPr userDrawn="1"/>
            </p:nvSpPr>
            <p:spPr bwMode="auto">
              <a:xfrm>
                <a:off x="1454150" y="2440652"/>
                <a:ext cx="3598863" cy="2659063"/>
              </a:xfrm>
              <a:custGeom>
                <a:avLst/>
                <a:gdLst/>
                <a:ahLst/>
                <a:cxnLst>
                  <a:cxn ang="0">
                    <a:pos x="549" y="839"/>
                  </a:cxn>
                  <a:cxn ang="0">
                    <a:pos x="0" y="1297"/>
                  </a:cxn>
                  <a:cxn ang="0">
                    <a:pos x="899" y="1475"/>
                  </a:cxn>
                  <a:cxn ang="0">
                    <a:pos x="549" y="839"/>
                  </a:cxn>
                  <a:cxn ang="0">
                    <a:pos x="794" y="634"/>
                  </a:cxn>
                  <a:cxn ang="0">
                    <a:pos x="731" y="687"/>
                  </a:cxn>
                  <a:cxn ang="0">
                    <a:pos x="686" y="925"/>
                  </a:cxn>
                  <a:cxn ang="0">
                    <a:pos x="549" y="838"/>
                  </a:cxn>
                  <a:cxn ang="0">
                    <a:pos x="549" y="838"/>
                  </a:cxn>
                  <a:cxn ang="0">
                    <a:pos x="844" y="1030"/>
                  </a:cxn>
                  <a:cxn ang="0">
                    <a:pos x="794" y="634"/>
                  </a:cxn>
                  <a:cxn ang="0">
                    <a:pos x="1556" y="0"/>
                  </a:cxn>
                  <a:cxn ang="0">
                    <a:pos x="1556" y="0"/>
                  </a:cxn>
                  <a:cxn ang="0">
                    <a:pos x="1039" y="1158"/>
                  </a:cxn>
                  <a:cxn ang="0">
                    <a:pos x="1828" y="1675"/>
                  </a:cxn>
                  <a:cxn ang="0">
                    <a:pos x="1828" y="1675"/>
                  </a:cxn>
                  <a:cxn ang="0">
                    <a:pos x="2267" y="1384"/>
                  </a:cxn>
                  <a:cxn ang="0">
                    <a:pos x="1741" y="364"/>
                  </a:cxn>
                  <a:cxn ang="0">
                    <a:pos x="1556" y="4"/>
                  </a:cxn>
                  <a:cxn ang="0">
                    <a:pos x="1557" y="6"/>
                  </a:cxn>
                  <a:cxn ang="0">
                    <a:pos x="1556" y="0"/>
                  </a:cxn>
                </a:cxnLst>
                <a:rect l="0" t="0" r="r" b="b"/>
                <a:pathLst>
                  <a:path w="2267" h="1675">
                    <a:moveTo>
                      <a:pt x="549" y="839"/>
                    </a:moveTo>
                    <a:lnTo>
                      <a:pt x="0" y="1297"/>
                    </a:lnTo>
                    <a:lnTo>
                      <a:pt x="899" y="1475"/>
                    </a:lnTo>
                    <a:lnTo>
                      <a:pt x="549" y="839"/>
                    </a:lnTo>
                    <a:moveTo>
                      <a:pt x="794" y="634"/>
                    </a:moveTo>
                    <a:lnTo>
                      <a:pt x="731" y="687"/>
                    </a:lnTo>
                    <a:lnTo>
                      <a:pt x="686" y="925"/>
                    </a:lnTo>
                    <a:lnTo>
                      <a:pt x="549" y="838"/>
                    </a:lnTo>
                    <a:lnTo>
                      <a:pt x="549" y="838"/>
                    </a:lnTo>
                    <a:lnTo>
                      <a:pt x="844" y="1030"/>
                    </a:lnTo>
                    <a:lnTo>
                      <a:pt x="794" y="634"/>
                    </a:lnTo>
                    <a:moveTo>
                      <a:pt x="1556" y="0"/>
                    </a:moveTo>
                    <a:lnTo>
                      <a:pt x="1556" y="0"/>
                    </a:lnTo>
                    <a:lnTo>
                      <a:pt x="1039" y="1158"/>
                    </a:lnTo>
                    <a:lnTo>
                      <a:pt x="1828" y="1675"/>
                    </a:lnTo>
                    <a:lnTo>
                      <a:pt x="1828" y="1675"/>
                    </a:lnTo>
                    <a:lnTo>
                      <a:pt x="2267" y="1384"/>
                    </a:lnTo>
                    <a:lnTo>
                      <a:pt x="1741" y="364"/>
                    </a:lnTo>
                    <a:lnTo>
                      <a:pt x="1556" y="4"/>
                    </a:lnTo>
                    <a:lnTo>
                      <a:pt x="1557" y="6"/>
                    </a:lnTo>
                    <a:lnTo>
                      <a:pt x="1556"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82" name="Freeform 148"/>
              <p:cNvSpPr>
                <a:spLocks/>
              </p:cNvSpPr>
              <p:nvPr userDrawn="1"/>
            </p:nvSpPr>
            <p:spPr bwMode="auto">
              <a:xfrm>
                <a:off x="2325688" y="3531265"/>
                <a:ext cx="288925" cy="377825"/>
              </a:xfrm>
              <a:custGeom>
                <a:avLst/>
                <a:gdLst/>
                <a:ahLst/>
                <a:cxnLst>
                  <a:cxn ang="0">
                    <a:pos x="182" y="0"/>
                  </a:cxn>
                  <a:cxn ang="0">
                    <a:pos x="0" y="151"/>
                  </a:cxn>
                  <a:cxn ang="0">
                    <a:pos x="137" y="238"/>
                  </a:cxn>
                  <a:cxn ang="0">
                    <a:pos x="182" y="0"/>
                  </a:cxn>
                </a:cxnLst>
                <a:rect l="0" t="0" r="r" b="b"/>
                <a:pathLst>
                  <a:path w="182" h="238">
                    <a:moveTo>
                      <a:pt x="182" y="0"/>
                    </a:moveTo>
                    <a:lnTo>
                      <a:pt x="0" y="151"/>
                    </a:lnTo>
                    <a:lnTo>
                      <a:pt x="137" y="238"/>
                    </a:lnTo>
                    <a:lnTo>
                      <a:pt x="182" y="0"/>
                    </a:lnTo>
                    <a:close/>
                  </a:path>
                </a:pathLst>
              </a:custGeom>
              <a:gradFill flip="none" rotWithShape="1">
                <a:gsLst>
                  <a:gs pos="0">
                    <a:srgbClr val="77445E">
                      <a:alpha val="90000"/>
                    </a:srgbClr>
                  </a:gs>
                  <a:gs pos="100000">
                    <a:srgbClr val="9D6182">
                      <a:alpha val="49000"/>
                    </a:srgbClr>
                  </a:gs>
                </a:gsLst>
                <a:lin ang="126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83" name="Freeform 149"/>
              <p:cNvSpPr>
                <a:spLocks/>
              </p:cNvSpPr>
              <p:nvPr userDrawn="1"/>
            </p:nvSpPr>
            <p:spPr bwMode="auto">
              <a:xfrm>
                <a:off x="2325688" y="3531265"/>
                <a:ext cx="288925" cy="377825"/>
              </a:xfrm>
              <a:custGeom>
                <a:avLst/>
                <a:gdLst/>
                <a:ahLst/>
                <a:cxnLst>
                  <a:cxn ang="0">
                    <a:pos x="182" y="0"/>
                  </a:cxn>
                  <a:cxn ang="0">
                    <a:pos x="0" y="151"/>
                  </a:cxn>
                  <a:cxn ang="0">
                    <a:pos x="137" y="238"/>
                  </a:cxn>
                  <a:cxn ang="0">
                    <a:pos x="182" y="0"/>
                  </a:cxn>
                </a:cxnLst>
                <a:rect l="0" t="0" r="r" b="b"/>
                <a:pathLst>
                  <a:path w="182" h="238">
                    <a:moveTo>
                      <a:pt x="182" y="0"/>
                    </a:moveTo>
                    <a:lnTo>
                      <a:pt x="0" y="151"/>
                    </a:lnTo>
                    <a:lnTo>
                      <a:pt x="137" y="238"/>
                    </a:lnTo>
                    <a:lnTo>
                      <a:pt x="182"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84" name="Freeform 150"/>
              <p:cNvSpPr>
                <a:spLocks/>
              </p:cNvSpPr>
              <p:nvPr userDrawn="1"/>
            </p:nvSpPr>
            <p:spPr bwMode="auto">
              <a:xfrm>
                <a:off x="982663" y="4499640"/>
                <a:ext cx="1898650" cy="744538"/>
              </a:xfrm>
              <a:custGeom>
                <a:avLst/>
                <a:gdLst/>
                <a:ahLst/>
                <a:cxnLst>
                  <a:cxn ang="0">
                    <a:pos x="297" y="0"/>
                  </a:cxn>
                  <a:cxn ang="0">
                    <a:pos x="0" y="469"/>
                  </a:cxn>
                  <a:cxn ang="0">
                    <a:pos x="1196" y="178"/>
                  </a:cxn>
                  <a:cxn ang="0">
                    <a:pos x="297" y="0"/>
                  </a:cxn>
                </a:cxnLst>
                <a:rect l="0" t="0" r="r" b="b"/>
                <a:pathLst>
                  <a:path w="1196" h="469">
                    <a:moveTo>
                      <a:pt x="297" y="0"/>
                    </a:moveTo>
                    <a:lnTo>
                      <a:pt x="0" y="469"/>
                    </a:lnTo>
                    <a:lnTo>
                      <a:pt x="1196" y="178"/>
                    </a:lnTo>
                    <a:lnTo>
                      <a:pt x="297" y="0"/>
                    </a:lnTo>
                    <a:close/>
                  </a:path>
                </a:pathLst>
              </a:custGeom>
              <a:gradFill>
                <a:gsLst>
                  <a:gs pos="0">
                    <a:srgbClr val="65394F">
                      <a:alpha val="84000"/>
                    </a:srgbClr>
                  </a:gs>
                  <a:gs pos="100000">
                    <a:srgbClr val="9D6182">
                      <a:alpha val="84000"/>
                    </a:srgbClr>
                  </a:gs>
                </a:gsLst>
                <a:lin ang="156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85" name="Freeform 151"/>
              <p:cNvSpPr>
                <a:spLocks/>
              </p:cNvSpPr>
              <p:nvPr userDrawn="1"/>
            </p:nvSpPr>
            <p:spPr bwMode="auto">
              <a:xfrm>
                <a:off x="982663" y="4499640"/>
                <a:ext cx="1898650" cy="744538"/>
              </a:xfrm>
              <a:custGeom>
                <a:avLst/>
                <a:gdLst/>
                <a:ahLst/>
                <a:cxnLst>
                  <a:cxn ang="0">
                    <a:pos x="297" y="0"/>
                  </a:cxn>
                  <a:cxn ang="0">
                    <a:pos x="0" y="469"/>
                  </a:cxn>
                  <a:cxn ang="0">
                    <a:pos x="1196" y="178"/>
                  </a:cxn>
                  <a:cxn ang="0">
                    <a:pos x="297" y="0"/>
                  </a:cxn>
                </a:cxnLst>
                <a:rect l="0" t="0" r="r" b="b"/>
                <a:pathLst>
                  <a:path w="1196" h="469">
                    <a:moveTo>
                      <a:pt x="297" y="0"/>
                    </a:moveTo>
                    <a:lnTo>
                      <a:pt x="0" y="469"/>
                    </a:lnTo>
                    <a:lnTo>
                      <a:pt x="1196" y="178"/>
                    </a:lnTo>
                    <a:lnTo>
                      <a:pt x="297"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86" name="Freeform 152"/>
              <p:cNvSpPr>
                <a:spLocks/>
              </p:cNvSpPr>
              <p:nvPr userDrawn="1"/>
            </p:nvSpPr>
            <p:spPr bwMode="auto">
              <a:xfrm>
                <a:off x="2681288" y="2440652"/>
                <a:ext cx="1243013" cy="1006475"/>
              </a:xfrm>
              <a:custGeom>
                <a:avLst/>
                <a:gdLst/>
                <a:ahLst/>
                <a:cxnLst>
                  <a:cxn ang="0">
                    <a:pos x="783" y="0"/>
                  </a:cxn>
                  <a:cxn ang="0">
                    <a:pos x="0" y="467"/>
                  </a:cxn>
                  <a:cxn ang="0">
                    <a:pos x="21" y="634"/>
                  </a:cxn>
                  <a:cxn ang="0">
                    <a:pos x="783" y="0"/>
                  </a:cxn>
                </a:cxnLst>
                <a:rect l="0" t="0" r="r" b="b"/>
                <a:pathLst>
                  <a:path w="783" h="634">
                    <a:moveTo>
                      <a:pt x="783" y="0"/>
                    </a:moveTo>
                    <a:lnTo>
                      <a:pt x="0" y="467"/>
                    </a:lnTo>
                    <a:lnTo>
                      <a:pt x="21" y="634"/>
                    </a:lnTo>
                    <a:lnTo>
                      <a:pt x="783" y="0"/>
                    </a:lnTo>
                    <a:close/>
                  </a:path>
                </a:pathLst>
              </a:custGeom>
              <a:gradFill>
                <a:gsLst>
                  <a:gs pos="0">
                    <a:srgbClr val="B58EA2"/>
                  </a:gs>
                  <a:gs pos="100000">
                    <a:srgbClr val="8D516F">
                      <a:alpha val="69000"/>
                    </a:srgbClr>
                  </a:gs>
                </a:gsLst>
                <a:lin ang="168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87" name="Freeform 153"/>
              <p:cNvSpPr>
                <a:spLocks/>
              </p:cNvSpPr>
              <p:nvPr userDrawn="1"/>
            </p:nvSpPr>
            <p:spPr bwMode="auto">
              <a:xfrm>
                <a:off x="2681288" y="2440652"/>
                <a:ext cx="1243013" cy="1006475"/>
              </a:xfrm>
              <a:custGeom>
                <a:avLst/>
                <a:gdLst/>
                <a:ahLst/>
                <a:cxnLst>
                  <a:cxn ang="0">
                    <a:pos x="783" y="0"/>
                  </a:cxn>
                  <a:cxn ang="0">
                    <a:pos x="0" y="467"/>
                  </a:cxn>
                  <a:cxn ang="0">
                    <a:pos x="21" y="634"/>
                  </a:cxn>
                  <a:cxn ang="0">
                    <a:pos x="783" y="0"/>
                  </a:cxn>
                </a:cxnLst>
                <a:rect l="0" t="0" r="r" b="b"/>
                <a:pathLst>
                  <a:path w="783" h="634">
                    <a:moveTo>
                      <a:pt x="783" y="0"/>
                    </a:moveTo>
                    <a:lnTo>
                      <a:pt x="0" y="467"/>
                    </a:lnTo>
                    <a:lnTo>
                      <a:pt x="21" y="634"/>
                    </a:lnTo>
                    <a:lnTo>
                      <a:pt x="78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88" name="Freeform 154"/>
              <p:cNvSpPr>
                <a:spLocks noEditPoints="1"/>
              </p:cNvSpPr>
              <p:nvPr userDrawn="1"/>
            </p:nvSpPr>
            <p:spPr bwMode="auto">
              <a:xfrm>
                <a:off x="2714625" y="2440652"/>
                <a:ext cx="1209675" cy="2341563"/>
              </a:xfrm>
              <a:custGeom>
                <a:avLst/>
                <a:gdLst/>
                <a:ahLst/>
                <a:cxnLst>
                  <a:cxn ang="0">
                    <a:pos x="105" y="1475"/>
                  </a:cxn>
                  <a:cxn ang="0">
                    <a:pos x="105" y="1475"/>
                  </a:cxn>
                  <a:cxn ang="0">
                    <a:pos x="762" y="0"/>
                  </a:cxn>
                  <a:cxn ang="0">
                    <a:pos x="0" y="634"/>
                  </a:cxn>
                  <a:cxn ang="0">
                    <a:pos x="50" y="1030"/>
                  </a:cxn>
                  <a:cxn ang="0">
                    <a:pos x="245" y="1158"/>
                  </a:cxn>
                  <a:cxn ang="0">
                    <a:pos x="762" y="0"/>
                  </a:cxn>
                </a:cxnLst>
                <a:rect l="0" t="0" r="r" b="b"/>
                <a:pathLst>
                  <a:path w="762" h="1475">
                    <a:moveTo>
                      <a:pt x="105" y="1475"/>
                    </a:moveTo>
                    <a:lnTo>
                      <a:pt x="105" y="1475"/>
                    </a:lnTo>
                    <a:close/>
                    <a:moveTo>
                      <a:pt x="762" y="0"/>
                    </a:moveTo>
                    <a:lnTo>
                      <a:pt x="0" y="634"/>
                    </a:lnTo>
                    <a:lnTo>
                      <a:pt x="50" y="1030"/>
                    </a:lnTo>
                    <a:lnTo>
                      <a:pt x="245" y="1158"/>
                    </a:lnTo>
                    <a:lnTo>
                      <a:pt x="762" y="0"/>
                    </a:lnTo>
                    <a:close/>
                  </a:path>
                </a:pathLst>
              </a:custGeom>
              <a:gradFill>
                <a:gsLst>
                  <a:gs pos="0">
                    <a:srgbClr val="723855">
                      <a:alpha val="92000"/>
                    </a:srgbClr>
                  </a:gs>
                  <a:gs pos="100000">
                    <a:srgbClr val="8D516F">
                      <a:alpha val="80000"/>
                    </a:srgbClr>
                  </a:gs>
                </a:gsLst>
                <a:lin ang="168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89" name="Freeform 156"/>
              <p:cNvSpPr>
                <a:spLocks/>
              </p:cNvSpPr>
              <p:nvPr userDrawn="1"/>
            </p:nvSpPr>
            <p:spPr bwMode="auto">
              <a:xfrm>
                <a:off x="5694363" y="3361402"/>
                <a:ext cx="539750" cy="852488"/>
              </a:xfrm>
              <a:custGeom>
                <a:avLst/>
                <a:gdLst/>
                <a:ahLst/>
                <a:cxnLst>
                  <a:cxn ang="0">
                    <a:pos x="174" y="0"/>
                  </a:cxn>
                  <a:cxn ang="0">
                    <a:pos x="174" y="0"/>
                  </a:cxn>
                  <a:cxn ang="0">
                    <a:pos x="0" y="537"/>
                  </a:cxn>
                  <a:cxn ang="0">
                    <a:pos x="340" y="333"/>
                  </a:cxn>
                  <a:cxn ang="0">
                    <a:pos x="174" y="0"/>
                  </a:cxn>
                </a:cxnLst>
                <a:rect l="0" t="0" r="r" b="b"/>
                <a:pathLst>
                  <a:path w="340" h="537">
                    <a:moveTo>
                      <a:pt x="174" y="0"/>
                    </a:moveTo>
                    <a:lnTo>
                      <a:pt x="174" y="0"/>
                    </a:lnTo>
                    <a:lnTo>
                      <a:pt x="0" y="537"/>
                    </a:lnTo>
                    <a:lnTo>
                      <a:pt x="340" y="333"/>
                    </a:lnTo>
                    <a:lnTo>
                      <a:pt x="174" y="0"/>
                    </a:lnTo>
                    <a:close/>
                  </a:path>
                </a:pathLst>
              </a:custGeom>
              <a:solidFill>
                <a:schemeClr val="tx2">
                  <a:alpha val="30000"/>
                </a:schemeClr>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90" name="Freeform 157"/>
              <p:cNvSpPr>
                <a:spLocks/>
              </p:cNvSpPr>
              <p:nvPr userDrawn="1"/>
            </p:nvSpPr>
            <p:spPr bwMode="auto">
              <a:xfrm>
                <a:off x="5694363" y="3361402"/>
                <a:ext cx="539750" cy="852488"/>
              </a:xfrm>
              <a:custGeom>
                <a:avLst/>
                <a:gdLst/>
                <a:ahLst/>
                <a:cxnLst>
                  <a:cxn ang="0">
                    <a:pos x="174" y="0"/>
                  </a:cxn>
                  <a:cxn ang="0">
                    <a:pos x="174" y="0"/>
                  </a:cxn>
                  <a:cxn ang="0">
                    <a:pos x="0" y="537"/>
                  </a:cxn>
                  <a:cxn ang="0">
                    <a:pos x="340" y="333"/>
                  </a:cxn>
                  <a:cxn ang="0">
                    <a:pos x="174" y="0"/>
                  </a:cxn>
                </a:cxnLst>
                <a:rect l="0" t="0" r="r" b="b"/>
                <a:pathLst>
                  <a:path w="340" h="537">
                    <a:moveTo>
                      <a:pt x="174" y="0"/>
                    </a:moveTo>
                    <a:lnTo>
                      <a:pt x="174" y="0"/>
                    </a:lnTo>
                    <a:lnTo>
                      <a:pt x="0" y="537"/>
                    </a:lnTo>
                    <a:lnTo>
                      <a:pt x="340" y="333"/>
                    </a:lnTo>
                    <a:lnTo>
                      <a:pt x="174"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91" name="Freeform 158"/>
              <p:cNvSpPr>
                <a:spLocks/>
              </p:cNvSpPr>
              <p:nvPr userDrawn="1"/>
            </p:nvSpPr>
            <p:spPr bwMode="auto">
              <a:xfrm>
                <a:off x="5694363" y="3890040"/>
                <a:ext cx="649288" cy="323850"/>
              </a:xfrm>
              <a:custGeom>
                <a:avLst/>
                <a:gdLst/>
                <a:ahLst/>
                <a:cxnLst>
                  <a:cxn ang="0">
                    <a:pos x="340" y="0"/>
                  </a:cxn>
                  <a:cxn ang="0">
                    <a:pos x="0" y="204"/>
                  </a:cxn>
                  <a:cxn ang="0">
                    <a:pos x="409" y="138"/>
                  </a:cxn>
                  <a:cxn ang="0">
                    <a:pos x="340" y="0"/>
                  </a:cxn>
                </a:cxnLst>
                <a:rect l="0" t="0" r="r" b="b"/>
                <a:pathLst>
                  <a:path w="409" h="204">
                    <a:moveTo>
                      <a:pt x="340" y="0"/>
                    </a:moveTo>
                    <a:lnTo>
                      <a:pt x="0" y="204"/>
                    </a:lnTo>
                    <a:lnTo>
                      <a:pt x="409" y="138"/>
                    </a:lnTo>
                    <a:lnTo>
                      <a:pt x="340" y="0"/>
                    </a:lnTo>
                    <a:close/>
                  </a:path>
                </a:pathLst>
              </a:custGeom>
              <a:gradFill flip="none" rotWithShape="1">
                <a:gsLst>
                  <a:gs pos="0">
                    <a:srgbClr val="77445E">
                      <a:alpha val="90000"/>
                    </a:srgbClr>
                  </a:gs>
                  <a:gs pos="100000">
                    <a:srgbClr val="9D6182">
                      <a:alpha val="65000"/>
                    </a:srgbClr>
                  </a:gs>
                </a:gsLst>
                <a:lin ang="36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92" name="Freeform 159"/>
              <p:cNvSpPr>
                <a:spLocks/>
              </p:cNvSpPr>
              <p:nvPr userDrawn="1"/>
            </p:nvSpPr>
            <p:spPr bwMode="auto">
              <a:xfrm>
                <a:off x="5694363" y="3890040"/>
                <a:ext cx="649288" cy="323850"/>
              </a:xfrm>
              <a:custGeom>
                <a:avLst/>
                <a:gdLst/>
                <a:ahLst/>
                <a:cxnLst>
                  <a:cxn ang="0">
                    <a:pos x="340" y="0"/>
                  </a:cxn>
                  <a:cxn ang="0">
                    <a:pos x="0" y="204"/>
                  </a:cxn>
                  <a:cxn ang="0">
                    <a:pos x="409" y="138"/>
                  </a:cxn>
                  <a:cxn ang="0">
                    <a:pos x="340" y="0"/>
                  </a:cxn>
                </a:cxnLst>
                <a:rect l="0" t="0" r="r" b="b"/>
                <a:pathLst>
                  <a:path w="409" h="204">
                    <a:moveTo>
                      <a:pt x="340" y="0"/>
                    </a:moveTo>
                    <a:lnTo>
                      <a:pt x="0" y="204"/>
                    </a:lnTo>
                    <a:lnTo>
                      <a:pt x="409" y="138"/>
                    </a:lnTo>
                    <a:lnTo>
                      <a:pt x="34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93" name="Freeform 160"/>
              <p:cNvSpPr>
                <a:spLocks/>
              </p:cNvSpPr>
              <p:nvPr userDrawn="1"/>
            </p:nvSpPr>
            <p:spPr bwMode="auto">
              <a:xfrm>
                <a:off x="5568950" y="4213890"/>
                <a:ext cx="1147763" cy="650875"/>
              </a:xfrm>
              <a:custGeom>
                <a:avLst/>
                <a:gdLst/>
                <a:ahLst/>
                <a:cxnLst>
                  <a:cxn ang="0">
                    <a:pos x="79" y="0"/>
                  </a:cxn>
                  <a:cxn ang="0">
                    <a:pos x="79" y="0"/>
                  </a:cxn>
                  <a:cxn ang="0">
                    <a:pos x="0" y="311"/>
                  </a:cxn>
                  <a:cxn ang="0">
                    <a:pos x="723" y="410"/>
                  </a:cxn>
                  <a:cxn ang="0">
                    <a:pos x="79" y="0"/>
                  </a:cxn>
                </a:cxnLst>
                <a:rect l="0" t="0" r="r" b="b"/>
                <a:pathLst>
                  <a:path w="723" h="410">
                    <a:moveTo>
                      <a:pt x="79" y="0"/>
                    </a:moveTo>
                    <a:lnTo>
                      <a:pt x="79" y="0"/>
                    </a:lnTo>
                    <a:lnTo>
                      <a:pt x="0" y="311"/>
                    </a:lnTo>
                    <a:lnTo>
                      <a:pt x="723" y="410"/>
                    </a:lnTo>
                    <a:lnTo>
                      <a:pt x="79" y="0"/>
                    </a:lnTo>
                    <a:close/>
                  </a:path>
                </a:pathLst>
              </a:custGeom>
              <a:gradFill flip="none" rotWithShape="1">
                <a:gsLst>
                  <a:gs pos="31000">
                    <a:srgbClr val="77445E">
                      <a:alpha val="90000"/>
                    </a:srgbClr>
                  </a:gs>
                  <a:gs pos="65000">
                    <a:schemeClr val="accent2">
                      <a:alpha val="40000"/>
                    </a:schemeClr>
                  </a:gs>
                  <a:gs pos="100000">
                    <a:srgbClr val="9D6182">
                      <a:alpha val="49000"/>
                    </a:srgbClr>
                  </a:gs>
                </a:gsLst>
                <a:lin ang="126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94" name="Freeform 161"/>
              <p:cNvSpPr>
                <a:spLocks/>
              </p:cNvSpPr>
              <p:nvPr userDrawn="1"/>
            </p:nvSpPr>
            <p:spPr bwMode="auto">
              <a:xfrm>
                <a:off x="5568950" y="4213890"/>
                <a:ext cx="1147763" cy="650875"/>
              </a:xfrm>
              <a:custGeom>
                <a:avLst/>
                <a:gdLst/>
                <a:ahLst/>
                <a:cxnLst>
                  <a:cxn ang="0">
                    <a:pos x="79" y="0"/>
                  </a:cxn>
                  <a:cxn ang="0">
                    <a:pos x="79" y="0"/>
                  </a:cxn>
                  <a:cxn ang="0">
                    <a:pos x="0" y="311"/>
                  </a:cxn>
                  <a:cxn ang="0">
                    <a:pos x="723" y="410"/>
                  </a:cxn>
                  <a:cxn ang="0">
                    <a:pos x="79" y="0"/>
                  </a:cxn>
                </a:cxnLst>
                <a:rect l="0" t="0" r="r" b="b"/>
                <a:pathLst>
                  <a:path w="723" h="410">
                    <a:moveTo>
                      <a:pt x="79" y="0"/>
                    </a:moveTo>
                    <a:lnTo>
                      <a:pt x="79" y="0"/>
                    </a:lnTo>
                    <a:lnTo>
                      <a:pt x="0" y="311"/>
                    </a:lnTo>
                    <a:lnTo>
                      <a:pt x="723" y="410"/>
                    </a:lnTo>
                    <a:lnTo>
                      <a:pt x="79"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95" name="Freeform 162"/>
              <p:cNvSpPr>
                <a:spLocks/>
              </p:cNvSpPr>
              <p:nvPr userDrawn="1"/>
            </p:nvSpPr>
            <p:spPr bwMode="auto">
              <a:xfrm>
                <a:off x="3925888" y="2450177"/>
                <a:ext cx="1768475" cy="2184400"/>
              </a:xfrm>
              <a:custGeom>
                <a:avLst/>
                <a:gdLst/>
                <a:ahLst/>
                <a:cxnLst>
                  <a:cxn ang="0">
                    <a:pos x="0" y="0"/>
                  </a:cxn>
                  <a:cxn ang="0">
                    <a:pos x="184" y="358"/>
                  </a:cxn>
                  <a:cxn ang="0">
                    <a:pos x="712" y="1376"/>
                  </a:cxn>
                  <a:cxn ang="0">
                    <a:pos x="1114" y="1111"/>
                  </a:cxn>
                  <a:cxn ang="0">
                    <a:pos x="0" y="0"/>
                  </a:cxn>
                </a:cxnLst>
                <a:rect l="0" t="0" r="r" b="b"/>
                <a:pathLst>
                  <a:path w="1114" h="1376">
                    <a:moveTo>
                      <a:pt x="0" y="0"/>
                    </a:moveTo>
                    <a:lnTo>
                      <a:pt x="184" y="358"/>
                    </a:lnTo>
                    <a:lnTo>
                      <a:pt x="712" y="1376"/>
                    </a:lnTo>
                    <a:lnTo>
                      <a:pt x="1114" y="1111"/>
                    </a:lnTo>
                    <a:lnTo>
                      <a:pt x="0" y="0"/>
                    </a:lnTo>
                    <a:close/>
                  </a:path>
                </a:pathLst>
              </a:custGeom>
              <a:solidFill>
                <a:srgbClr val="77445E"/>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96" name="Freeform 164"/>
              <p:cNvSpPr>
                <a:spLocks/>
              </p:cNvSpPr>
              <p:nvPr userDrawn="1"/>
            </p:nvSpPr>
            <p:spPr bwMode="auto">
              <a:xfrm>
                <a:off x="5568950" y="4213890"/>
                <a:ext cx="125413" cy="493713"/>
              </a:xfrm>
              <a:custGeom>
                <a:avLst/>
                <a:gdLst/>
                <a:ahLst/>
                <a:cxnLst>
                  <a:cxn ang="0">
                    <a:pos x="79" y="0"/>
                  </a:cxn>
                  <a:cxn ang="0">
                    <a:pos x="0" y="311"/>
                  </a:cxn>
                  <a:cxn ang="0">
                    <a:pos x="0" y="311"/>
                  </a:cxn>
                  <a:cxn ang="0">
                    <a:pos x="79" y="0"/>
                  </a:cxn>
                </a:cxnLst>
                <a:rect l="0" t="0" r="r" b="b"/>
                <a:pathLst>
                  <a:path w="79" h="311">
                    <a:moveTo>
                      <a:pt x="79" y="0"/>
                    </a:moveTo>
                    <a:lnTo>
                      <a:pt x="0" y="311"/>
                    </a:lnTo>
                    <a:lnTo>
                      <a:pt x="0" y="311"/>
                    </a:lnTo>
                    <a:lnTo>
                      <a:pt x="79" y="0"/>
                    </a:lnTo>
                    <a:close/>
                  </a:path>
                </a:pathLst>
              </a:custGeom>
              <a:solidFill>
                <a:srgbClr val="25000B"/>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97" name="Freeform 165"/>
              <p:cNvSpPr>
                <a:spLocks/>
              </p:cNvSpPr>
              <p:nvPr userDrawn="1"/>
            </p:nvSpPr>
            <p:spPr bwMode="auto">
              <a:xfrm>
                <a:off x="5568950" y="4213890"/>
                <a:ext cx="125413" cy="493713"/>
              </a:xfrm>
              <a:custGeom>
                <a:avLst/>
                <a:gdLst/>
                <a:ahLst/>
                <a:cxnLst>
                  <a:cxn ang="0">
                    <a:pos x="79" y="0"/>
                  </a:cxn>
                  <a:cxn ang="0">
                    <a:pos x="0" y="311"/>
                  </a:cxn>
                  <a:cxn ang="0">
                    <a:pos x="0" y="311"/>
                  </a:cxn>
                  <a:cxn ang="0">
                    <a:pos x="79" y="0"/>
                  </a:cxn>
                </a:cxnLst>
                <a:rect l="0" t="0" r="r" b="b"/>
                <a:pathLst>
                  <a:path w="79" h="311">
                    <a:moveTo>
                      <a:pt x="79" y="0"/>
                    </a:moveTo>
                    <a:lnTo>
                      <a:pt x="0" y="311"/>
                    </a:lnTo>
                    <a:lnTo>
                      <a:pt x="0" y="311"/>
                    </a:lnTo>
                    <a:lnTo>
                      <a:pt x="79"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98" name="Freeform 166"/>
              <p:cNvSpPr>
                <a:spLocks/>
              </p:cNvSpPr>
              <p:nvPr userDrawn="1"/>
            </p:nvSpPr>
            <p:spPr bwMode="auto">
              <a:xfrm>
                <a:off x="5056188" y="4213890"/>
                <a:ext cx="638175" cy="420688"/>
              </a:xfrm>
              <a:custGeom>
                <a:avLst/>
                <a:gdLst/>
                <a:ahLst/>
                <a:cxnLst>
                  <a:cxn ang="0">
                    <a:pos x="402" y="0"/>
                  </a:cxn>
                  <a:cxn ang="0">
                    <a:pos x="0" y="265"/>
                  </a:cxn>
                  <a:cxn ang="0">
                    <a:pos x="0" y="265"/>
                  </a:cxn>
                  <a:cxn ang="0">
                    <a:pos x="402" y="0"/>
                  </a:cxn>
                </a:cxnLst>
                <a:rect l="0" t="0" r="r" b="b"/>
                <a:pathLst>
                  <a:path w="402" h="265">
                    <a:moveTo>
                      <a:pt x="402" y="0"/>
                    </a:moveTo>
                    <a:lnTo>
                      <a:pt x="0" y="265"/>
                    </a:lnTo>
                    <a:lnTo>
                      <a:pt x="0" y="265"/>
                    </a:lnTo>
                    <a:lnTo>
                      <a:pt x="402" y="0"/>
                    </a:lnTo>
                    <a:close/>
                  </a:path>
                </a:pathLst>
              </a:custGeom>
              <a:solidFill>
                <a:srgbClr val="050000"/>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99" name="Freeform 167"/>
              <p:cNvSpPr>
                <a:spLocks/>
              </p:cNvSpPr>
              <p:nvPr userDrawn="1"/>
            </p:nvSpPr>
            <p:spPr bwMode="auto">
              <a:xfrm>
                <a:off x="5056188" y="4213890"/>
                <a:ext cx="638175" cy="420688"/>
              </a:xfrm>
              <a:custGeom>
                <a:avLst/>
                <a:gdLst/>
                <a:ahLst/>
                <a:cxnLst>
                  <a:cxn ang="0">
                    <a:pos x="402" y="0"/>
                  </a:cxn>
                  <a:cxn ang="0">
                    <a:pos x="0" y="265"/>
                  </a:cxn>
                  <a:cxn ang="0">
                    <a:pos x="0" y="265"/>
                  </a:cxn>
                  <a:cxn ang="0">
                    <a:pos x="402" y="0"/>
                  </a:cxn>
                </a:cxnLst>
                <a:rect l="0" t="0" r="r" b="b"/>
                <a:pathLst>
                  <a:path w="402" h="265">
                    <a:moveTo>
                      <a:pt x="402" y="0"/>
                    </a:moveTo>
                    <a:lnTo>
                      <a:pt x="0" y="265"/>
                    </a:lnTo>
                    <a:lnTo>
                      <a:pt x="0" y="265"/>
                    </a:lnTo>
                    <a:lnTo>
                      <a:pt x="402"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00" name="Freeform 170"/>
              <p:cNvSpPr>
                <a:spLocks/>
              </p:cNvSpPr>
              <p:nvPr userDrawn="1"/>
            </p:nvSpPr>
            <p:spPr bwMode="auto">
              <a:xfrm>
                <a:off x="5970588" y="3361402"/>
                <a:ext cx="950913" cy="528638"/>
              </a:xfrm>
              <a:custGeom>
                <a:avLst/>
                <a:gdLst/>
                <a:ahLst/>
                <a:cxnLst>
                  <a:cxn ang="0">
                    <a:pos x="0" y="0"/>
                  </a:cxn>
                  <a:cxn ang="0">
                    <a:pos x="166" y="333"/>
                  </a:cxn>
                  <a:cxn ang="0">
                    <a:pos x="599" y="73"/>
                  </a:cxn>
                  <a:cxn ang="0">
                    <a:pos x="0" y="0"/>
                  </a:cxn>
                </a:cxnLst>
                <a:rect l="0" t="0" r="r" b="b"/>
                <a:pathLst>
                  <a:path w="599" h="333">
                    <a:moveTo>
                      <a:pt x="0" y="0"/>
                    </a:moveTo>
                    <a:lnTo>
                      <a:pt x="166" y="333"/>
                    </a:lnTo>
                    <a:lnTo>
                      <a:pt x="599" y="73"/>
                    </a:lnTo>
                    <a:lnTo>
                      <a:pt x="0" y="0"/>
                    </a:lnTo>
                    <a:close/>
                  </a:path>
                </a:pathLst>
              </a:custGeom>
              <a:gradFill flip="none" rotWithShape="1">
                <a:gsLst>
                  <a:gs pos="0">
                    <a:srgbClr val="77445E">
                      <a:alpha val="90000"/>
                    </a:srgbClr>
                  </a:gs>
                  <a:gs pos="100000">
                    <a:srgbClr val="9D6182">
                      <a:alpha val="56000"/>
                    </a:srgbClr>
                  </a:gs>
                </a:gsLst>
                <a:lin ang="36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01" name="Freeform 171"/>
              <p:cNvSpPr>
                <a:spLocks/>
              </p:cNvSpPr>
              <p:nvPr userDrawn="1"/>
            </p:nvSpPr>
            <p:spPr bwMode="auto">
              <a:xfrm>
                <a:off x="5970588" y="3361402"/>
                <a:ext cx="950913" cy="528638"/>
              </a:xfrm>
              <a:custGeom>
                <a:avLst/>
                <a:gdLst/>
                <a:ahLst/>
                <a:cxnLst>
                  <a:cxn ang="0">
                    <a:pos x="0" y="0"/>
                  </a:cxn>
                  <a:cxn ang="0">
                    <a:pos x="166" y="333"/>
                  </a:cxn>
                  <a:cxn ang="0">
                    <a:pos x="599" y="73"/>
                  </a:cxn>
                  <a:cxn ang="0">
                    <a:pos x="0" y="0"/>
                  </a:cxn>
                </a:cxnLst>
                <a:rect l="0" t="0" r="r" b="b"/>
                <a:pathLst>
                  <a:path w="599" h="333">
                    <a:moveTo>
                      <a:pt x="0" y="0"/>
                    </a:moveTo>
                    <a:lnTo>
                      <a:pt x="166" y="333"/>
                    </a:lnTo>
                    <a:lnTo>
                      <a:pt x="599" y="73"/>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02" name="Freeform 172"/>
              <p:cNvSpPr>
                <a:spLocks/>
              </p:cNvSpPr>
              <p:nvPr userDrawn="1"/>
            </p:nvSpPr>
            <p:spPr bwMode="auto">
              <a:xfrm>
                <a:off x="6234113" y="3477290"/>
                <a:ext cx="687388" cy="631825"/>
              </a:xfrm>
              <a:custGeom>
                <a:avLst/>
                <a:gdLst/>
                <a:ahLst/>
                <a:cxnLst>
                  <a:cxn ang="0">
                    <a:pos x="433" y="0"/>
                  </a:cxn>
                  <a:cxn ang="0">
                    <a:pos x="0" y="260"/>
                  </a:cxn>
                  <a:cxn ang="0">
                    <a:pos x="69" y="398"/>
                  </a:cxn>
                  <a:cxn ang="0">
                    <a:pos x="381" y="349"/>
                  </a:cxn>
                  <a:cxn ang="0">
                    <a:pos x="433" y="0"/>
                  </a:cxn>
                </a:cxnLst>
                <a:rect l="0" t="0" r="r" b="b"/>
                <a:pathLst>
                  <a:path w="433" h="398">
                    <a:moveTo>
                      <a:pt x="433" y="0"/>
                    </a:moveTo>
                    <a:lnTo>
                      <a:pt x="0" y="260"/>
                    </a:lnTo>
                    <a:lnTo>
                      <a:pt x="69" y="398"/>
                    </a:lnTo>
                    <a:lnTo>
                      <a:pt x="381" y="349"/>
                    </a:lnTo>
                    <a:lnTo>
                      <a:pt x="433" y="0"/>
                    </a:lnTo>
                    <a:close/>
                  </a:path>
                </a:pathLst>
              </a:custGeom>
              <a:gradFill flip="none" rotWithShape="1">
                <a:gsLst>
                  <a:gs pos="0">
                    <a:srgbClr val="77445E">
                      <a:alpha val="90000"/>
                    </a:srgbClr>
                  </a:gs>
                  <a:gs pos="100000">
                    <a:srgbClr val="8D516F">
                      <a:alpha val="75000"/>
                    </a:srgbClr>
                  </a:gs>
                </a:gsLst>
                <a:lin ang="138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03" name="Freeform 173"/>
              <p:cNvSpPr>
                <a:spLocks/>
              </p:cNvSpPr>
              <p:nvPr userDrawn="1"/>
            </p:nvSpPr>
            <p:spPr bwMode="auto">
              <a:xfrm>
                <a:off x="6234113" y="3477290"/>
                <a:ext cx="687388" cy="631825"/>
              </a:xfrm>
              <a:custGeom>
                <a:avLst/>
                <a:gdLst/>
                <a:ahLst/>
                <a:cxnLst>
                  <a:cxn ang="0">
                    <a:pos x="433" y="0"/>
                  </a:cxn>
                  <a:cxn ang="0">
                    <a:pos x="0" y="260"/>
                  </a:cxn>
                  <a:cxn ang="0">
                    <a:pos x="69" y="398"/>
                  </a:cxn>
                  <a:cxn ang="0">
                    <a:pos x="381" y="349"/>
                  </a:cxn>
                  <a:cxn ang="0">
                    <a:pos x="433" y="0"/>
                  </a:cxn>
                </a:cxnLst>
                <a:rect l="0" t="0" r="r" b="b"/>
                <a:pathLst>
                  <a:path w="433" h="398">
                    <a:moveTo>
                      <a:pt x="433" y="0"/>
                    </a:moveTo>
                    <a:lnTo>
                      <a:pt x="0" y="260"/>
                    </a:lnTo>
                    <a:lnTo>
                      <a:pt x="69" y="398"/>
                    </a:lnTo>
                    <a:lnTo>
                      <a:pt x="381" y="349"/>
                    </a:lnTo>
                    <a:lnTo>
                      <a:pt x="43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04" name="Freeform 174"/>
              <p:cNvSpPr>
                <a:spLocks noEditPoints="1"/>
              </p:cNvSpPr>
              <p:nvPr userDrawn="1"/>
            </p:nvSpPr>
            <p:spPr bwMode="auto">
              <a:xfrm>
                <a:off x="6838950" y="1792952"/>
                <a:ext cx="1358900" cy="2238375"/>
              </a:xfrm>
              <a:custGeom>
                <a:avLst/>
                <a:gdLst/>
                <a:ahLst/>
                <a:cxnLst>
                  <a:cxn ang="0">
                    <a:pos x="566" y="986"/>
                  </a:cxn>
                  <a:cxn ang="0">
                    <a:pos x="52" y="1061"/>
                  </a:cxn>
                  <a:cxn ang="0">
                    <a:pos x="0" y="1410"/>
                  </a:cxn>
                  <a:cxn ang="0">
                    <a:pos x="311" y="1362"/>
                  </a:cxn>
                  <a:cxn ang="0">
                    <a:pos x="566" y="986"/>
                  </a:cxn>
                  <a:cxn ang="0">
                    <a:pos x="856" y="0"/>
                  </a:cxn>
                  <a:cxn ang="0">
                    <a:pos x="109" y="986"/>
                  </a:cxn>
                  <a:cxn ang="0">
                    <a:pos x="186" y="986"/>
                  </a:cxn>
                  <a:cxn ang="0">
                    <a:pos x="641" y="731"/>
                  </a:cxn>
                  <a:cxn ang="0">
                    <a:pos x="856" y="0"/>
                  </a:cxn>
                </a:cxnLst>
                <a:rect l="0" t="0" r="r" b="b"/>
                <a:pathLst>
                  <a:path w="856" h="1410">
                    <a:moveTo>
                      <a:pt x="566" y="986"/>
                    </a:moveTo>
                    <a:lnTo>
                      <a:pt x="52" y="1061"/>
                    </a:lnTo>
                    <a:lnTo>
                      <a:pt x="0" y="1410"/>
                    </a:lnTo>
                    <a:lnTo>
                      <a:pt x="311" y="1362"/>
                    </a:lnTo>
                    <a:lnTo>
                      <a:pt x="566" y="986"/>
                    </a:lnTo>
                    <a:close/>
                    <a:moveTo>
                      <a:pt x="856" y="0"/>
                    </a:moveTo>
                    <a:lnTo>
                      <a:pt x="109" y="986"/>
                    </a:lnTo>
                    <a:lnTo>
                      <a:pt x="186" y="986"/>
                    </a:lnTo>
                    <a:lnTo>
                      <a:pt x="641" y="731"/>
                    </a:lnTo>
                    <a:lnTo>
                      <a:pt x="856" y="0"/>
                    </a:lnTo>
                    <a:close/>
                  </a:path>
                </a:pathLst>
              </a:custGeom>
              <a:gradFill flip="none" rotWithShape="1">
                <a:gsLst>
                  <a:gs pos="38000">
                    <a:srgbClr val="9D6182">
                      <a:alpha val="81000"/>
                    </a:srgbClr>
                  </a:gs>
                  <a:gs pos="100000">
                    <a:srgbClr val="77445E">
                      <a:alpha val="74000"/>
                    </a:srgbClr>
                  </a:gs>
                </a:gsLst>
                <a:lin ang="24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05" name="Freeform 175"/>
              <p:cNvSpPr>
                <a:spLocks noEditPoints="1"/>
              </p:cNvSpPr>
              <p:nvPr userDrawn="1"/>
            </p:nvSpPr>
            <p:spPr bwMode="auto">
              <a:xfrm>
                <a:off x="6838950" y="1792952"/>
                <a:ext cx="1358900" cy="2238375"/>
              </a:xfrm>
              <a:custGeom>
                <a:avLst/>
                <a:gdLst/>
                <a:ahLst/>
                <a:cxnLst>
                  <a:cxn ang="0">
                    <a:pos x="566" y="986"/>
                  </a:cxn>
                  <a:cxn ang="0">
                    <a:pos x="52" y="1061"/>
                  </a:cxn>
                  <a:cxn ang="0">
                    <a:pos x="0" y="1410"/>
                  </a:cxn>
                  <a:cxn ang="0">
                    <a:pos x="311" y="1362"/>
                  </a:cxn>
                  <a:cxn ang="0">
                    <a:pos x="566" y="986"/>
                  </a:cxn>
                  <a:cxn ang="0">
                    <a:pos x="856" y="0"/>
                  </a:cxn>
                  <a:cxn ang="0">
                    <a:pos x="109" y="986"/>
                  </a:cxn>
                  <a:cxn ang="0">
                    <a:pos x="186" y="986"/>
                  </a:cxn>
                  <a:cxn ang="0">
                    <a:pos x="641" y="731"/>
                  </a:cxn>
                  <a:cxn ang="0">
                    <a:pos x="856" y="0"/>
                  </a:cxn>
                </a:cxnLst>
                <a:rect l="0" t="0" r="r" b="b"/>
                <a:pathLst>
                  <a:path w="856" h="1410">
                    <a:moveTo>
                      <a:pt x="566" y="986"/>
                    </a:moveTo>
                    <a:lnTo>
                      <a:pt x="52" y="1061"/>
                    </a:lnTo>
                    <a:lnTo>
                      <a:pt x="0" y="1410"/>
                    </a:lnTo>
                    <a:lnTo>
                      <a:pt x="311" y="1362"/>
                    </a:lnTo>
                    <a:lnTo>
                      <a:pt x="566" y="986"/>
                    </a:lnTo>
                    <a:moveTo>
                      <a:pt x="856" y="0"/>
                    </a:moveTo>
                    <a:lnTo>
                      <a:pt x="109" y="986"/>
                    </a:lnTo>
                    <a:lnTo>
                      <a:pt x="186" y="986"/>
                    </a:lnTo>
                    <a:lnTo>
                      <a:pt x="641" y="731"/>
                    </a:lnTo>
                    <a:lnTo>
                      <a:pt x="856"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06" name="Freeform 176"/>
              <p:cNvSpPr>
                <a:spLocks/>
              </p:cNvSpPr>
              <p:nvPr userDrawn="1"/>
            </p:nvSpPr>
            <p:spPr bwMode="auto">
              <a:xfrm>
                <a:off x="5970588" y="3358227"/>
                <a:ext cx="1041400" cy="119063"/>
              </a:xfrm>
              <a:custGeom>
                <a:avLst/>
                <a:gdLst/>
                <a:ahLst/>
                <a:cxnLst>
                  <a:cxn ang="0">
                    <a:pos x="656" y="0"/>
                  </a:cxn>
                  <a:cxn ang="0">
                    <a:pos x="0" y="2"/>
                  </a:cxn>
                  <a:cxn ang="0">
                    <a:pos x="599" y="75"/>
                  </a:cxn>
                  <a:cxn ang="0">
                    <a:pos x="656" y="0"/>
                  </a:cxn>
                </a:cxnLst>
                <a:rect l="0" t="0" r="r" b="b"/>
                <a:pathLst>
                  <a:path w="656" h="75">
                    <a:moveTo>
                      <a:pt x="656" y="0"/>
                    </a:moveTo>
                    <a:lnTo>
                      <a:pt x="0" y="2"/>
                    </a:lnTo>
                    <a:lnTo>
                      <a:pt x="599" y="75"/>
                    </a:lnTo>
                    <a:lnTo>
                      <a:pt x="656" y="0"/>
                    </a:lnTo>
                    <a:close/>
                  </a:path>
                </a:pathLst>
              </a:custGeom>
              <a:solidFill>
                <a:srgbClr val="77445E"/>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07" name="Freeform 177"/>
              <p:cNvSpPr>
                <a:spLocks/>
              </p:cNvSpPr>
              <p:nvPr userDrawn="1"/>
            </p:nvSpPr>
            <p:spPr bwMode="auto">
              <a:xfrm>
                <a:off x="5970588" y="3358227"/>
                <a:ext cx="1041400" cy="119063"/>
              </a:xfrm>
              <a:custGeom>
                <a:avLst/>
                <a:gdLst/>
                <a:ahLst/>
                <a:cxnLst>
                  <a:cxn ang="0">
                    <a:pos x="656" y="0"/>
                  </a:cxn>
                  <a:cxn ang="0">
                    <a:pos x="0" y="2"/>
                  </a:cxn>
                  <a:cxn ang="0">
                    <a:pos x="599" y="75"/>
                  </a:cxn>
                  <a:cxn ang="0">
                    <a:pos x="656" y="0"/>
                  </a:cxn>
                </a:cxnLst>
                <a:rect l="0" t="0" r="r" b="b"/>
                <a:pathLst>
                  <a:path w="656" h="75">
                    <a:moveTo>
                      <a:pt x="656" y="0"/>
                    </a:moveTo>
                    <a:lnTo>
                      <a:pt x="0" y="2"/>
                    </a:lnTo>
                    <a:lnTo>
                      <a:pt x="599" y="75"/>
                    </a:lnTo>
                    <a:lnTo>
                      <a:pt x="656"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08" name="Freeform 178"/>
              <p:cNvSpPr>
                <a:spLocks/>
              </p:cNvSpPr>
              <p:nvPr userDrawn="1"/>
            </p:nvSpPr>
            <p:spPr bwMode="auto">
              <a:xfrm>
                <a:off x="6921500" y="3358227"/>
                <a:ext cx="815975" cy="119063"/>
              </a:xfrm>
              <a:custGeom>
                <a:avLst/>
                <a:gdLst/>
                <a:ahLst/>
                <a:cxnLst>
                  <a:cxn ang="0">
                    <a:pos x="514" y="0"/>
                  </a:cxn>
                  <a:cxn ang="0">
                    <a:pos x="514" y="0"/>
                  </a:cxn>
                  <a:cxn ang="0">
                    <a:pos x="0" y="75"/>
                  </a:cxn>
                  <a:cxn ang="0">
                    <a:pos x="134" y="0"/>
                  </a:cxn>
                  <a:cxn ang="0">
                    <a:pos x="57" y="0"/>
                  </a:cxn>
                  <a:cxn ang="0">
                    <a:pos x="0" y="75"/>
                  </a:cxn>
                  <a:cxn ang="0">
                    <a:pos x="514" y="0"/>
                  </a:cxn>
                </a:cxnLst>
                <a:rect l="0" t="0" r="r" b="b"/>
                <a:pathLst>
                  <a:path w="514" h="75">
                    <a:moveTo>
                      <a:pt x="514" y="0"/>
                    </a:moveTo>
                    <a:lnTo>
                      <a:pt x="514" y="0"/>
                    </a:lnTo>
                    <a:lnTo>
                      <a:pt x="0" y="75"/>
                    </a:lnTo>
                    <a:lnTo>
                      <a:pt x="134" y="0"/>
                    </a:lnTo>
                    <a:lnTo>
                      <a:pt x="57" y="0"/>
                    </a:lnTo>
                    <a:lnTo>
                      <a:pt x="0" y="75"/>
                    </a:lnTo>
                    <a:lnTo>
                      <a:pt x="514" y="0"/>
                    </a:lnTo>
                    <a:close/>
                  </a:path>
                </a:pathLst>
              </a:custGeom>
              <a:solidFill>
                <a:srgbClr val="602A43"/>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09" name="Freeform 180"/>
              <p:cNvSpPr>
                <a:spLocks/>
              </p:cNvSpPr>
              <p:nvPr userDrawn="1"/>
            </p:nvSpPr>
            <p:spPr bwMode="auto">
              <a:xfrm>
                <a:off x="7332663" y="3358227"/>
                <a:ext cx="815975" cy="596900"/>
              </a:xfrm>
              <a:custGeom>
                <a:avLst/>
                <a:gdLst/>
                <a:ahLst/>
                <a:cxnLst>
                  <a:cxn ang="0">
                    <a:pos x="255" y="0"/>
                  </a:cxn>
                  <a:cxn ang="0">
                    <a:pos x="0" y="376"/>
                  </a:cxn>
                  <a:cxn ang="0">
                    <a:pos x="514" y="293"/>
                  </a:cxn>
                  <a:cxn ang="0">
                    <a:pos x="255" y="0"/>
                  </a:cxn>
                </a:cxnLst>
                <a:rect l="0" t="0" r="r" b="b"/>
                <a:pathLst>
                  <a:path w="514" h="376">
                    <a:moveTo>
                      <a:pt x="255" y="0"/>
                    </a:moveTo>
                    <a:lnTo>
                      <a:pt x="0" y="376"/>
                    </a:lnTo>
                    <a:lnTo>
                      <a:pt x="514" y="293"/>
                    </a:lnTo>
                    <a:lnTo>
                      <a:pt x="255" y="0"/>
                    </a:lnTo>
                    <a:close/>
                  </a:path>
                </a:pathLst>
              </a:custGeom>
              <a:gradFill flip="none" rotWithShape="1">
                <a:gsLst>
                  <a:gs pos="59000">
                    <a:srgbClr val="77445E">
                      <a:alpha val="80000"/>
                    </a:srgbClr>
                  </a:gs>
                  <a:gs pos="100000">
                    <a:srgbClr val="9D6182">
                      <a:alpha val="70000"/>
                    </a:srgbClr>
                  </a:gs>
                </a:gsLst>
                <a:lin ang="126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10" name="Freeform 181"/>
              <p:cNvSpPr>
                <a:spLocks/>
              </p:cNvSpPr>
              <p:nvPr userDrawn="1"/>
            </p:nvSpPr>
            <p:spPr bwMode="auto">
              <a:xfrm>
                <a:off x="7332663" y="3358227"/>
                <a:ext cx="815975" cy="596900"/>
              </a:xfrm>
              <a:custGeom>
                <a:avLst/>
                <a:gdLst/>
                <a:ahLst/>
                <a:cxnLst>
                  <a:cxn ang="0">
                    <a:pos x="255" y="0"/>
                  </a:cxn>
                  <a:cxn ang="0">
                    <a:pos x="0" y="376"/>
                  </a:cxn>
                  <a:cxn ang="0">
                    <a:pos x="514" y="293"/>
                  </a:cxn>
                  <a:cxn ang="0">
                    <a:pos x="255" y="0"/>
                  </a:cxn>
                </a:cxnLst>
                <a:rect l="0" t="0" r="r" b="b"/>
                <a:pathLst>
                  <a:path w="514" h="376">
                    <a:moveTo>
                      <a:pt x="255" y="0"/>
                    </a:moveTo>
                    <a:lnTo>
                      <a:pt x="0" y="376"/>
                    </a:lnTo>
                    <a:lnTo>
                      <a:pt x="514" y="293"/>
                    </a:lnTo>
                    <a:lnTo>
                      <a:pt x="255"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11" name="Freeform 182"/>
              <p:cNvSpPr>
                <a:spLocks/>
              </p:cNvSpPr>
              <p:nvPr userDrawn="1"/>
            </p:nvSpPr>
            <p:spPr bwMode="auto">
              <a:xfrm>
                <a:off x="8197850" y="1500852"/>
                <a:ext cx="873125" cy="292100"/>
              </a:xfrm>
              <a:custGeom>
                <a:avLst/>
                <a:gdLst/>
                <a:ahLst/>
                <a:cxnLst>
                  <a:cxn ang="0">
                    <a:pos x="447" y="0"/>
                  </a:cxn>
                  <a:cxn ang="0">
                    <a:pos x="0" y="184"/>
                  </a:cxn>
                  <a:cxn ang="0">
                    <a:pos x="550" y="172"/>
                  </a:cxn>
                  <a:cxn ang="0">
                    <a:pos x="550" y="172"/>
                  </a:cxn>
                  <a:cxn ang="0">
                    <a:pos x="550" y="172"/>
                  </a:cxn>
                  <a:cxn ang="0">
                    <a:pos x="550" y="172"/>
                  </a:cxn>
                  <a:cxn ang="0">
                    <a:pos x="447" y="0"/>
                  </a:cxn>
                </a:cxnLst>
                <a:rect l="0" t="0" r="r" b="b"/>
                <a:pathLst>
                  <a:path w="550" h="184">
                    <a:moveTo>
                      <a:pt x="447" y="0"/>
                    </a:moveTo>
                    <a:lnTo>
                      <a:pt x="0" y="184"/>
                    </a:lnTo>
                    <a:lnTo>
                      <a:pt x="550" y="172"/>
                    </a:lnTo>
                    <a:lnTo>
                      <a:pt x="550" y="172"/>
                    </a:lnTo>
                    <a:lnTo>
                      <a:pt x="550" y="172"/>
                    </a:lnTo>
                    <a:lnTo>
                      <a:pt x="550" y="172"/>
                    </a:lnTo>
                    <a:lnTo>
                      <a:pt x="447" y="0"/>
                    </a:lnTo>
                    <a:close/>
                  </a:path>
                </a:pathLst>
              </a:custGeom>
              <a:gradFill>
                <a:gsLst>
                  <a:gs pos="0">
                    <a:srgbClr val="8D516F">
                      <a:alpha val="64000"/>
                    </a:srgbClr>
                  </a:gs>
                  <a:gs pos="100000">
                    <a:srgbClr val="B58EA2">
                      <a:alpha val="52000"/>
                    </a:srgbClr>
                  </a:gs>
                </a:gsLst>
                <a:lin ang="126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12" name="Freeform 184"/>
              <p:cNvSpPr>
                <a:spLocks/>
              </p:cNvSpPr>
              <p:nvPr userDrawn="1"/>
            </p:nvSpPr>
            <p:spPr bwMode="auto">
              <a:xfrm>
                <a:off x="5694363" y="4109115"/>
                <a:ext cx="1022350" cy="755650"/>
              </a:xfrm>
              <a:custGeom>
                <a:avLst/>
                <a:gdLst/>
                <a:ahLst/>
                <a:cxnLst>
                  <a:cxn ang="0">
                    <a:pos x="409" y="0"/>
                  </a:cxn>
                  <a:cxn ang="0">
                    <a:pos x="0" y="66"/>
                  </a:cxn>
                  <a:cxn ang="0">
                    <a:pos x="644" y="476"/>
                  </a:cxn>
                  <a:cxn ang="0">
                    <a:pos x="409" y="0"/>
                  </a:cxn>
                </a:cxnLst>
                <a:rect l="0" t="0" r="r" b="b"/>
                <a:pathLst>
                  <a:path w="644" h="476">
                    <a:moveTo>
                      <a:pt x="409" y="0"/>
                    </a:moveTo>
                    <a:lnTo>
                      <a:pt x="0" y="66"/>
                    </a:lnTo>
                    <a:lnTo>
                      <a:pt x="644" y="476"/>
                    </a:lnTo>
                    <a:lnTo>
                      <a:pt x="409" y="0"/>
                    </a:lnTo>
                    <a:close/>
                  </a:path>
                </a:pathLst>
              </a:custGeom>
              <a:gradFill>
                <a:gsLst>
                  <a:gs pos="0">
                    <a:srgbClr val="65394F"/>
                  </a:gs>
                  <a:gs pos="100000">
                    <a:srgbClr val="65394F">
                      <a:alpha val="78000"/>
                    </a:srgbClr>
                  </a:gs>
                </a:gsLst>
                <a:lin ang="168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13" name="Freeform 185"/>
              <p:cNvSpPr>
                <a:spLocks/>
              </p:cNvSpPr>
              <p:nvPr userDrawn="1"/>
            </p:nvSpPr>
            <p:spPr bwMode="auto">
              <a:xfrm>
                <a:off x="5694363" y="4109115"/>
                <a:ext cx="1022350" cy="755650"/>
              </a:xfrm>
              <a:custGeom>
                <a:avLst/>
                <a:gdLst/>
                <a:ahLst/>
                <a:cxnLst>
                  <a:cxn ang="0">
                    <a:pos x="409" y="0"/>
                  </a:cxn>
                  <a:cxn ang="0">
                    <a:pos x="0" y="66"/>
                  </a:cxn>
                  <a:cxn ang="0">
                    <a:pos x="644" y="476"/>
                  </a:cxn>
                  <a:cxn ang="0">
                    <a:pos x="409" y="0"/>
                  </a:cxn>
                </a:cxnLst>
                <a:rect l="0" t="0" r="r" b="b"/>
                <a:pathLst>
                  <a:path w="644" h="476">
                    <a:moveTo>
                      <a:pt x="409" y="0"/>
                    </a:moveTo>
                    <a:lnTo>
                      <a:pt x="0" y="66"/>
                    </a:lnTo>
                    <a:lnTo>
                      <a:pt x="644" y="476"/>
                    </a:lnTo>
                    <a:lnTo>
                      <a:pt x="409"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14" name="Freeform 186"/>
              <p:cNvSpPr>
                <a:spLocks/>
              </p:cNvSpPr>
              <p:nvPr userDrawn="1"/>
            </p:nvSpPr>
            <p:spPr bwMode="auto">
              <a:xfrm>
                <a:off x="6343650" y="4031327"/>
                <a:ext cx="495300" cy="833438"/>
              </a:xfrm>
              <a:custGeom>
                <a:avLst/>
                <a:gdLst/>
                <a:ahLst/>
                <a:cxnLst>
                  <a:cxn ang="0">
                    <a:pos x="312" y="0"/>
                  </a:cxn>
                  <a:cxn ang="0">
                    <a:pos x="0" y="49"/>
                  </a:cxn>
                  <a:cxn ang="0">
                    <a:pos x="235" y="525"/>
                  </a:cxn>
                  <a:cxn ang="0">
                    <a:pos x="312" y="0"/>
                  </a:cxn>
                </a:cxnLst>
                <a:rect l="0" t="0" r="r" b="b"/>
                <a:pathLst>
                  <a:path w="312" h="525">
                    <a:moveTo>
                      <a:pt x="312" y="0"/>
                    </a:moveTo>
                    <a:lnTo>
                      <a:pt x="0" y="49"/>
                    </a:lnTo>
                    <a:lnTo>
                      <a:pt x="235" y="525"/>
                    </a:lnTo>
                    <a:lnTo>
                      <a:pt x="312" y="0"/>
                    </a:lnTo>
                    <a:close/>
                  </a:path>
                </a:pathLst>
              </a:custGeom>
              <a:gradFill>
                <a:gsLst>
                  <a:gs pos="0">
                    <a:srgbClr val="65394F"/>
                  </a:gs>
                  <a:gs pos="100000">
                    <a:srgbClr val="65394F">
                      <a:alpha val="78000"/>
                    </a:srgbClr>
                  </a:gs>
                </a:gsLst>
                <a:lin ang="168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15" name="Freeform 187"/>
              <p:cNvSpPr>
                <a:spLocks/>
              </p:cNvSpPr>
              <p:nvPr userDrawn="1"/>
            </p:nvSpPr>
            <p:spPr bwMode="auto">
              <a:xfrm>
                <a:off x="6343650" y="4031327"/>
                <a:ext cx="495300" cy="833438"/>
              </a:xfrm>
              <a:custGeom>
                <a:avLst/>
                <a:gdLst/>
                <a:ahLst/>
                <a:cxnLst>
                  <a:cxn ang="0">
                    <a:pos x="312" y="0"/>
                  </a:cxn>
                  <a:cxn ang="0">
                    <a:pos x="0" y="49"/>
                  </a:cxn>
                  <a:cxn ang="0">
                    <a:pos x="235" y="525"/>
                  </a:cxn>
                  <a:cxn ang="0">
                    <a:pos x="312" y="0"/>
                  </a:cxn>
                </a:cxnLst>
                <a:rect l="0" t="0" r="r" b="b"/>
                <a:pathLst>
                  <a:path w="312" h="525">
                    <a:moveTo>
                      <a:pt x="312" y="0"/>
                    </a:moveTo>
                    <a:lnTo>
                      <a:pt x="0" y="49"/>
                    </a:lnTo>
                    <a:lnTo>
                      <a:pt x="235" y="525"/>
                    </a:lnTo>
                    <a:lnTo>
                      <a:pt x="312"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16" name="Freeform 188"/>
              <p:cNvSpPr>
                <a:spLocks/>
              </p:cNvSpPr>
              <p:nvPr userDrawn="1"/>
            </p:nvSpPr>
            <p:spPr bwMode="auto">
              <a:xfrm>
                <a:off x="6716713" y="3955127"/>
                <a:ext cx="615950" cy="909638"/>
              </a:xfrm>
              <a:custGeom>
                <a:avLst/>
                <a:gdLst/>
                <a:ahLst/>
                <a:cxnLst>
                  <a:cxn ang="0">
                    <a:pos x="388" y="0"/>
                  </a:cxn>
                  <a:cxn ang="0">
                    <a:pos x="77" y="48"/>
                  </a:cxn>
                  <a:cxn ang="0">
                    <a:pos x="0" y="573"/>
                  </a:cxn>
                  <a:cxn ang="0">
                    <a:pos x="388" y="0"/>
                  </a:cxn>
                </a:cxnLst>
                <a:rect l="0" t="0" r="r" b="b"/>
                <a:pathLst>
                  <a:path w="388" h="573">
                    <a:moveTo>
                      <a:pt x="388" y="0"/>
                    </a:moveTo>
                    <a:lnTo>
                      <a:pt x="77" y="48"/>
                    </a:lnTo>
                    <a:lnTo>
                      <a:pt x="0" y="573"/>
                    </a:lnTo>
                    <a:lnTo>
                      <a:pt x="388" y="0"/>
                    </a:lnTo>
                    <a:close/>
                  </a:path>
                </a:pathLst>
              </a:custGeom>
              <a:gradFill>
                <a:gsLst>
                  <a:gs pos="0">
                    <a:srgbClr val="602A43"/>
                  </a:gs>
                  <a:gs pos="100000">
                    <a:srgbClr val="65394F"/>
                  </a:gs>
                </a:gsLst>
                <a:lin ang="12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17" name="Freeform 189"/>
              <p:cNvSpPr>
                <a:spLocks/>
              </p:cNvSpPr>
              <p:nvPr userDrawn="1"/>
            </p:nvSpPr>
            <p:spPr bwMode="auto">
              <a:xfrm>
                <a:off x="6716713" y="3955127"/>
                <a:ext cx="615950" cy="909638"/>
              </a:xfrm>
              <a:custGeom>
                <a:avLst/>
                <a:gdLst/>
                <a:ahLst/>
                <a:cxnLst>
                  <a:cxn ang="0">
                    <a:pos x="388" y="0"/>
                  </a:cxn>
                  <a:cxn ang="0">
                    <a:pos x="77" y="48"/>
                  </a:cxn>
                  <a:cxn ang="0">
                    <a:pos x="0" y="573"/>
                  </a:cxn>
                  <a:cxn ang="0">
                    <a:pos x="388" y="0"/>
                  </a:cxn>
                </a:cxnLst>
                <a:rect l="0" t="0" r="r" b="b"/>
                <a:pathLst>
                  <a:path w="388" h="573">
                    <a:moveTo>
                      <a:pt x="388" y="0"/>
                    </a:moveTo>
                    <a:lnTo>
                      <a:pt x="77" y="48"/>
                    </a:lnTo>
                    <a:lnTo>
                      <a:pt x="0" y="573"/>
                    </a:lnTo>
                    <a:lnTo>
                      <a:pt x="38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18" name="Freeform 190"/>
              <p:cNvSpPr>
                <a:spLocks/>
              </p:cNvSpPr>
              <p:nvPr userDrawn="1"/>
            </p:nvSpPr>
            <p:spPr bwMode="auto">
              <a:xfrm>
                <a:off x="6716713" y="3823365"/>
                <a:ext cx="1431925" cy="1041400"/>
              </a:xfrm>
              <a:custGeom>
                <a:avLst/>
                <a:gdLst/>
                <a:ahLst/>
                <a:cxnLst>
                  <a:cxn ang="0">
                    <a:pos x="902" y="0"/>
                  </a:cxn>
                  <a:cxn ang="0">
                    <a:pos x="388" y="83"/>
                  </a:cxn>
                  <a:cxn ang="0">
                    <a:pos x="0" y="656"/>
                  </a:cxn>
                  <a:cxn ang="0">
                    <a:pos x="902" y="0"/>
                  </a:cxn>
                </a:cxnLst>
                <a:rect l="0" t="0" r="r" b="b"/>
                <a:pathLst>
                  <a:path w="902" h="656">
                    <a:moveTo>
                      <a:pt x="902" y="0"/>
                    </a:moveTo>
                    <a:lnTo>
                      <a:pt x="388" y="83"/>
                    </a:lnTo>
                    <a:lnTo>
                      <a:pt x="0" y="656"/>
                    </a:lnTo>
                    <a:lnTo>
                      <a:pt x="902" y="0"/>
                    </a:lnTo>
                    <a:close/>
                  </a:path>
                </a:pathLst>
              </a:custGeom>
              <a:gradFill>
                <a:gsLst>
                  <a:gs pos="0">
                    <a:srgbClr val="65394F"/>
                  </a:gs>
                  <a:gs pos="100000">
                    <a:srgbClr val="65394F">
                      <a:alpha val="85000"/>
                    </a:srgbClr>
                  </a:gs>
                </a:gsLst>
                <a:lin ang="12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19" name="Freeform 191"/>
              <p:cNvSpPr>
                <a:spLocks/>
              </p:cNvSpPr>
              <p:nvPr userDrawn="1"/>
            </p:nvSpPr>
            <p:spPr bwMode="auto">
              <a:xfrm>
                <a:off x="6716713" y="3823365"/>
                <a:ext cx="1431925" cy="1041400"/>
              </a:xfrm>
              <a:custGeom>
                <a:avLst/>
                <a:gdLst/>
                <a:ahLst/>
                <a:cxnLst>
                  <a:cxn ang="0">
                    <a:pos x="902" y="0"/>
                  </a:cxn>
                  <a:cxn ang="0">
                    <a:pos x="388" y="83"/>
                  </a:cxn>
                  <a:cxn ang="0">
                    <a:pos x="0" y="656"/>
                  </a:cxn>
                  <a:cxn ang="0">
                    <a:pos x="902" y="0"/>
                  </a:cxn>
                </a:cxnLst>
                <a:rect l="0" t="0" r="r" b="b"/>
                <a:pathLst>
                  <a:path w="902" h="656">
                    <a:moveTo>
                      <a:pt x="902" y="0"/>
                    </a:moveTo>
                    <a:lnTo>
                      <a:pt x="388" y="83"/>
                    </a:lnTo>
                    <a:lnTo>
                      <a:pt x="0" y="656"/>
                    </a:lnTo>
                    <a:lnTo>
                      <a:pt x="902"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20" name="Freeform 192"/>
              <p:cNvSpPr>
                <a:spLocks/>
              </p:cNvSpPr>
              <p:nvPr userDrawn="1"/>
            </p:nvSpPr>
            <p:spPr bwMode="auto">
              <a:xfrm>
                <a:off x="6716713" y="4688552"/>
                <a:ext cx="1343025" cy="301625"/>
              </a:xfrm>
              <a:custGeom>
                <a:avLst/>
                <a:gdLst/>
                <a:ahLst/>
                <a:cxnLst>
                  <a:cxn ang="0">
                    <a:pos x="846" y="0"/>
                  </a:cxn>
                  <a:cxn ang="0">
                    <a:pos x="0" y="111"/>
                  </a:cxn>
                  <a:cxn ang="0">
                    <a:pos x="827" y="190"/>
                  </a:cxn>
                  <a:cxn ang="0">
                    <a:pos x="846" y="0"/>
                  </a:cxn>
                </a:cxnLst>
                <a:rect l="0" t="0" r="r" b="b"/>
                <a:pathLst>
                  <a:path w="846" h="190">
                    <a:moveTo>
                      <a:pt x="846" y="0"/>
                    </a:moveTo>
                    <a:lnTo>
                      <a:pt x="0" y="111"/>
                    </a:lnTo>
                    <a:lnTo>
                      <a:pt x="827" y="190"/>
                    </a:lnTo>
                    <a:lnTo>
                      <a:pt x="846" y="0"/>
                    </a:lnTo>
                    <a:close/>
                  </a:path>
                </a:pathLst>
              </a:custGeom>
              <a:solidFill>
                <a:srgbClr val="AE8399"/>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21" name="Freeform 193"/>
              <p:cNvSpPr>
                <a:spLocks/>
              </p:cNvSpPr>
              <p:nvPr userDrawn="1"/>
            </p:nvSpPr>
            <p:spPr bwMode="auto">
              <a:xfrm>
                <a:off x="6716713" y="4688552"/>
                <a:ext cx="1343025" cy="301625"/>
              </a:xfrm>
              <a:custGeom>
                <a:avLst/>
                <a:gdLst/>
                <a:ahLst/>
                <a:cxnLst>
                  <a:cxn ang="0">
                    <a:pos x="846" y="0"/>
                  </a:cxn>
                  <a:cxn ang="0">
                    <a:pos x="0" y="111"/>
                  </a:cxn>
                  <a:cxn ang="0">
                    <a:pos x="827" y="190"/>
                  </a:cxn>
                  <a:cxn ang="0">
                    <a:pos x="846" y="0"/>
                  </a:cxn>
                </a:cxnLst>
                <a:rect l="0" t="0" r="r" b="b"/>
                <a:pathLst>
                  <a:path w="846" h="190">
                    <a:moveTo>
                      <a:pt x="846" y="0"/>
                    </a:moveTo>
                    <a:lnTo>
                      <a:pt x="0" y="111"/>
                    </a:lnTo>
                    <a:lnTo>
                      <a:pt x="827" y="190"/>
                    </a:lnTo>
                    <a:lnTo>
                      <a:pt x="846" y="0"/>
                    </a:lnTo>
                  </a:path>
                </a:pathLst>
              </a:custGeom>
              <a:gradFill>
                <a:gsLst>
                  <a:gs pos="0">
                    <a:srgbClr val="65394F">
                      <a:alpha val="58000"/>
                    </a:srgbClr>
                  </a:gs>
                  <a:gs pos="42000">
                    <a:srgbClr val="8D516F">
                      <a:alpha val="45000"/>
                    </a:srgbClr>
                  </a:gs>
                </a:gsLst>
                <a:lin ang="156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22" name="Freeform 194"/>
              <p:cNvSpPr>
                <a:spLocks/>
              </p:cNvSpPr>
              <p:nvPr userDrawn="1"/>
            </p:nvSpPr>
            <p:spPr bwMode="auto">
              <a:xfrm>
                <a:off x="6716713" y="3823365"/>
                <a:ext cx="1431925" cy="1041400"/>
              </a:xfrm>
              <a:custGeom>
                <a:avLst/>
                <a:gdLst/>
                <a:ahLst/>
                <a:cxnLst>
                  <a:cxn ang="0">
                    <a:pos x="902" y="0"/>
                  </a:cxn>
                  <a:cxn ang="0">
                    <a:pos x="0" y="656"/>
                  </a:cxn>
                  <a:cxn ang="0">
                    <a:pos x="846" y="545"/>
                  </a:cxn>
                  <a:cxn ang="0">
                    <a:pos x="902" y="0"/>
                  </a:cxn>
                </a:cxnLst>
                <a:rect l="0" t="0" r="r" b="b"/>
                <a:pathLst>
                  <a:path w="902" h="656">
                    <a:moveTo>
                      <a:pt x="902" y="0"/>
                    </a:moveTo>
                    <a:lnTo>
                      <a:pt x="0" y="656"/>
                    </a:lnTo>
                    <a:lnTo>
                      <a:pt x="846" y="545"/>
                    </a:lnTo>
                    <a:lnTo>
                      <a:pt x="902" y="0"/>
                    </a:lnTo>
                    <a:close/>
                  </a:path>
                </a:pathLst>
              </a:custGeom>
              <a:gradFill>
                <a:gsLst>
                  <a:gs pos="0">
                    <a:srgbClr val="65394F">
                      <a:alpha val="75000"/>
                    </a:srgbClr>
                  </a:gs>
                  <a:gs pos="100000">
                    <a:srgbClr val="65394F">
                      <a:alpha val="76000"/>
                    </a:srgbClr>
                  </a:gs>
                </a:gsLst>
                <a:lin ang="168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23" name="Freeform 195"/>
              <p:cNvSpPr>
                <a:spLocks/>
              </p:cNvSpPr>
              <p:nvPr userDrawn="1"/>
            </p:nvSpPr>
            <p:spPr bwMode="auto">
              <a:xfrm>
                <a:off x="6716713" y="3823365"/>
                <a:ext cx="1431925" cy="1041400"/>
              </a:xfrm>
              <a:custGeom>
                <a:avLst/>
                <a:gdLst/>
                <a:ahLst/>
                <a:cxnLst>
                  <a:cxn ang="0">
                    <a:pos x="902" y="0"/>
                  </a:cxn>
                  <a:cxn ang="0">
                    <a:pos x="0" y="656"/>
                  </a:cxn>
                  <a:cxn ang="0">
                    <a:pos x="846" y="545"/>
                  </a:cxn>
                  <a:cxn ang="0">
                    <a:pos x="902" y="0"/>
                  </a:cxn>
                </a:cxnLst>
                <a:rect l="0" t="0" r="r" b="b"/>
                <a:pathLst>
                  <a:path w="902" h="656">
                    <a:moveTo>
                      <a:pt x="902" y="0"/>
                    </a:moveTo>
                    <a:lnTo>
                      <a:pt x="0" y="656"/>
                    </a:lnTo>
                    <a:lnTo>
                      <a:pt x="846" y="545"/>
                    </a:lnTo>
                    <a:lnTo>
                      <a:pt x="902"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24" name="Freeform 196"/>
              <p:cNvSpPr>
                <a:spLocks/>
              </p:cNvSpPr>
              <p:nvPr userDrawn="1"/>
            </p:nvSpPr>
            <p:spPr bwMode="auto">
              <a:xfrm>
                <a:off x="363538" y="4217065"/>
                <a:ext cx="1090613" cy="1027113"/>
              </a:xfrm>
              <a:custGeom>
                <a:avLst/>
                <a:gdLst/>
                <a:ahLst/>
                <a:cxnLst>
                  <a:cxn ang="0">
                    <a:pos x="0" y="0"/>
                  </a:cxn>
                  <a:cxn ang="0">
                    <a:pos x="390" y="647"/>
                  </a:cxn>
                  <a:cxn ang="0">
                    <a:pos x="687" y="178"/>
                  </a:cxn>
                  <a:cxn ang="0">
                    <a:pos x="0" y="0"/>
                  </a:cxn>
                </a:cxnLst>
                <a:rect l="0" t="0" r="r" b="b"/>
                <a:pathLst>
                  <a:path w="687" h="647">
                    <a:moveTo>
                      <a:pt x="0" y="0"/>
                    </a:moveTo>
                    <a:lnTo>
                      <a:pt x="390" y="647"/>
                    </a:lnTo>
                    <a:lnTo>
                      <a:pt x="687" y="178"/>
                    </a:lnTo>
                    <a:lnTo>
                      <a:pt x="0" y="0"/>
                    </a:lnTo>
                    <a:close/>
                  </a:path>
                </a:pathLst>
              </a:custGeom>
              <a:gradFill>
                <a:gsLst>
                  <a:gs pos="23000">
                    <a:srgbClr val="8E506C">
                      <a:alpha val="69000"/>
                    </a:srgbClr>
                  </a:gs>
                  <a:gs pos="50000">
                    <a:srgbClr val="B58EA2"/>
                  </a:gs>
                  <a:gs pos="100000">
                    <a:srgbClr val="CFB4C4">
                      <a:shade val="100000"/>
                      <a:satMod val="115000"/>
                    </a:srgbClr>
                  </a:gs>
                </a:gsLst>
                <a:lin ang="90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25" name="Freeform 197"/>
              <p:cNvSpPr>
                <a:spLocks/>
              </p:cNvSpPr>
              <p:nvPr userDrawn="1"/>
            </p:nvSpPr>
            <p:spPr bwMode="auto">
              <a:xfrm>
                <a:off x="363538" y="4217065"/>
                <a:ext cx="1090613" cy="1027113"/>
              </a:xfrm>
              <a:custGeom>
                <a:avLst/>
                <a:gdLst/>
                <a:ahLst/>
                <a:cxnLst>
                  <a:cxn ang="0">
                    <a:pos x="0" y="0"/>
                  </a:cxn>
                  <a:cxn ang="0">
                    <a:pos x="390" y="647"/>
                  </a:cxn>
                  <a:cxn ang="0">
                    <a:pos x="687" y="178"/>
                  </a:cxn>
                  <a:cxn ang="0">
                    <a:pos x="0" y="0"/>
                  </a:cxn>
                </a:cxnLst>
                <a:rect l="0" t="0" r="r" b="b"/>
                <a:pathLst>
                  <a:path w="687" h="647">
                    <a:moveTo>
                      <a:pt x="0" y="0"/>
                    </a:moveTo>
                    <a:lnTo>
                      <a:pt x="390" y="647"/>
                    </a:lnTo>
                    <a:lnTo>
                      <a:pt x="687" y="178"/>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26" name="Freeform 200"/>
              <p:cNvSpPr>
                <a:spLocks/>
              </p:cNvSpPr>
              <p:nvPr userDrawn="1"/>
            </p:nvSpPr>
            <p:spPr bwMode="auto">
              <a:xfrm>
                <a:off x="363538" y="2046952"/>
                <a:ext cx="1004888" cy="2170113"/>
              </a:xfrm>
              <a:custGeom>
                <a:avLst/>
                <a:gdLst/>
                <a:ahLst/>
                <a:cxnLst>
                  <a:cxn ang="0">
                    <a:pos x="633" y="0"/>
                  </a:cxn>
                  <a:cxn ang="0">
                    <a:pos x="0" y="1367"/>
                  </a:cxn>
                  <a:cxn ang="0">
                    <a:pos x="352" y="1115"/>
                  </a:cxn>
                  <a:cxn ang="0">
                    <a:pos x="633" y="0"/>
                  </a:cxn>
                </a:cxnLst>
                <a:rect l="0" t="0" r="r" b="b"/>
                <a:pathLst>
                  <a:path w="633" h="1367">
                    <a:moveTo>
                      <a:pt x="633" y="0"/>
                    </a:moveTo>
                    <a:lnTo>
                      <a:pt x="0" y="1367"/>
                    </a:lnTo>
                    <a:lnTo>
                      <a:pt x="352" y="1115"/>
                    </a:lnTo>
                    <a:lnTo>
                      <a:pt x="633" y="0"/>
                    </a:lnTo>
                    <a:close/>
                  </a:path>
                </a:pathLst>
              </a:custGeom>
              <a:gradFill flip="none" rotWithShape="1">
                <a:gsLst>
                  <a:gs pos="0">
                    <a:srgbClr val="AE8399"/>
                  </a:gs>
                  <a:gs pos="50000">
                    <a:schemeClr val="accent2">
                      <a:alpha val="26000"/>
                    </a:schemeClr>
                  </a:gs>
                  <a:gs pos="100000">
                    <a:srgbClr val="CFB4C4">
                      <a:shade val="100000"/>
                      <a:satMod val="115000"/>
                    </a:srgbClr>
                  </a:gs>
                </a:gsLst>
                <a:lin ang="90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27" name="Freeform 201"/>
              <p:cNvSpPr>
                <a:spLocks/>
              </p:cNvSpPr>
              <p:nvPr userDrawn="1"/>
            </p:nvSpPr>
            <p:spPr bwMode="auto">
              <a:xfrm>
                <a:off x="363538" y="2046952"/>
                <a:ext cx="1004888" cy="2170113"/>
              </a:xfrm>
              <a:custGeom>
                <a:avLst/>
                <a:gdLst/>
                <a:ahLst/>
                <a:cxnLst>
                  <a:cxn ang="0">
                    <a:pos x="633" y="0"/>
                  </a:cxn>
                  <a:cxn ang="0">
                    <a:pos x="0" y="1367"/>
                  </a:cxn>
                  <a:cxn ang="0">
                    <a:pos x="352" y="1115"/>
                  </a:cxn>
                  <a:cxn ang="0">
                    <a:pos x="633" y="0"/>
                  </a:cxn>
                </a:cxnLst>
                <a:rect l="0" t="0" r="r" b="b"/>
                <a:pathLst>
                  <a:path w="633" h="1367">
                    <a:moveTo>
                      <a:pt x="633" y="0"/>
                    </a:moveTo>
                    <a:lnTo>
                      <a:pt x="0" y="1367"/>
                    </a:lnTo>
                    <a:lnTo>
                      <a:pt x="352" y="1115"/>
                    </a:lnTo>
                    <a:lnTo>
                      <a:pt x="63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28" name="Freeform 202"/>
              <p:cNvSpPr>
                <a:spLocks noEditPoints="1"/>
              </p:cNvSpPr>
              <p:nvPr userDrawn="1"/>
            </p:nvSpPr>
            <p:spPr bwMode="auto">
              <a:xfrm>
                <a:off x="922338" y="2046952"/>
                <a:ext cx="487363" cy="1770063"/>
              </a:xfrm>
              <a:custGeom>
                <a:avLst/>
                <a:gdLst/>
                <a:ahLst/>
                <a:cxnLst>
                  <a:cxn ang="0">
                    <a:pos x="0" y="1115"/>
                  </a:cxn>
                  <a:cxn ang="0">
                    <a:pos x="0" y="1115"/>
                  </a:cxn>
                  <a:cxn ang="0">
                    <a:pos x="281" y="0"/>
                  </a:cxn>
                  <a:cxn ang="0">
                    <a:pos x="281" y="0"/>
                  </a:cxn>
                  <a:cxn ang="0">
                    <a:pos x="0" y="1115"/>
                  </a:cxn>
                  <a:cxn ang="0">
                    <a:pos x="307" y="729"/>
                  </a:cxn>
                  <a:cxn ang="0">
                    <a:pos x="281" y="0"/>
                  </a:cxn>
                </a:cxnLst>
                <a:rect l="0" t="0" r="r" b="b"/>
                <a:pathLst>
                  <a:path w="307" h="1115">
                    <a:moveTo>
                      <a:pt x="0" y="1115"/>
                    </a:moveTo>
                    <a:lnTo>
                      <a:pt x="0" y="1115"/>
                    </a:lnTo>
                    <a:close/>
                    <a:moveTo>
                      <a:pt x="281" y="0"/>
                    </a:moveTo>
                    <a:lnTo>
                      <a:pt x="281" y="0"/>
                    </a:lnTo>
                    <a:lnTo>
                      <a:pt x="0" y="1115"/>
                    </a:lnTo>
                    <a:lnTo>
                      <a:pt x="307" y="729"/>
                    </a:lnTo>
                    <a:lnTo>
                      <a:pt x="281" y="0"/>
                    </a:lnTo>
                    <a:close/>
                  </a:path>
                </a:pathLst>
              </a:custGeom>
              <a:solidFill>
                <a:schemeClr val="accent2">
                  <a:alpha val="9000"/>
                </a:schemeClr>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29" name="Freeform 204"/>
              <p:cNvSpPr>
                <a:spLocks/>
              </p:cNvSpPr>
              <p:nvPr userDrawn="1"/>
            </p:nvSpPr>
            <p:spPr bwMode="auto">
              <a:xfrm>
                <a:off x="1409700" y="3204240"/>
                <a:ext cx="912813" cy="606425"/>
              </a:xfrm>
              <a:custGeom>
                <a:avLst/>
                <a:gdLst/>
                <a:ahLst/>
                <a:cxnLst>
                  <a:cxn ang="0">
                    <a:pos x="0" y="0"/>
                  </a:cxn>
                  <a:cxn ang="0">
                    <a:pos x="14" y="382"/>
                  </a:cxn>
                  <a:cxn ang="0">
                    <a:pos x="575" y="355"/>
                  </a:cxn>
                  <a:cxn ang="0">
                    <a:pos x="0" y="0"/>
                  </a:cxn>
                </a:cxnLst>
                <a:rect l="0" t="0" r="r" b="b"/>
                <a:pathLst>
                  <a:path w="575" h="382">
                    <a:moveTo>
                      <a:pt x="0" y="0"/>
                    </a:moveTo>
                    <a:lnTo>
                      <a:pt x="14" y="382"/>
                    </a:lnTo>
                    <a:lnTo>
                      <a:pt x="575" y="355"/>
                    </a:lnTo>
                    <a:lnTo>
                      <a:pt x="0" y="0"/>
                    </a:lnTo>
                    <a:close/>
                  </a:path>
                </a:pathLst>
              </a:custGeom>
              <a:gradFill flip="none" rotWithShape="1">
                <a:gsLst>
                  <a:gs pos="0">
                    <a:srgbClr val="9D6182">
                      <a:alpha val="59000"/>
                    </a:srgbClr>
                  </a:gs>
                  <a:gs pos="100000">
                    <a:srgbClr val="B58EA2">
                      <a:alpha val="53000"/>
                    </a:srgbClr>
                  </a:gs>
                </a:gsLst>
                <a:lin ang="90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30" name="Freeform 205"/>
              <p:cNvSpPr>
                <a:spLocks/>
              </p:cNvSpPr>
              <p:nvPr userDrawn="1"/>
            </p:nvSpPr>
            <p:spPr bwMode="auto">
              <a:xfrm>
                <a:off x="1409700" y="3204240"/>
                <a:ext cx="912813" cy="606425"/>
              </a:xfrm>
              <a:custGeom>
                <a:avLst/>
                <a:gdLst/>
                <a:ahLst/>
                <a:cxnLst>
                  <a:cxn ang="0">
                    <a:pos x="0" y="0"/>
                  </a:cxn>
                  <a:cxn ang="0">
                    <a:pos x="14" y="382"/>
                  </a:cxn>
                  <a:cxn ang="0">
                    <a:pos x="575" y="355"/>
                  </a:cxn>
                  <a:cxn ang="0">
                    <a:pos x="0" y="0"/>
                  </a:cxn>
                </a:cxnLst>
                <a:rect l="0" t="0" r="r" b="b"/>
                <a:pathLst>
                  <a:path w="575" h="382">
                    <a:moveTo>
                      <a:pt x="0" y="0"/>
                    </a:moveTo>
                    <a:lnTo>
                      <a:pt x="14" y="382"/>
                    </a:lnTo>
                    <a:lnTo>
                      <a:pt x="575" y="355"/>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31" name="Freeform 206"/>
              <p:cNvSpPr>
                <a:spLocks/>
              </p:cNvSpPr>
              <p:nvPr userDrawn="1"/>
            </p:nvSpPr>
            <p:spPr bwMode="auto">
              <a:xfrm>
                <a:off x="1409700" y="2758152"/>
                <a:ext cx="912813" cy="1009650"/>
              </a:xfrm>
              <a:custGeom>
                <a:avLst/>
                <a:gdLst/>
                <a:ahLst/>
                <a:cxnLst>
                  <a:cxn ang="0">
                    <a:pos x="221" y="0"/>
                  </a:cxn>
                  <a:cxn ang="0">
                    <a:pos x="0" y="281"/>
                  </a:cxn>
                  <a:cxn ang="0">
                    <a:pos x="0" y="281"/>
                  </a:cxn>
                  <a:cxn ang="0">
                    <a:pos x="575" y="636"/>
                  </a:cxn>
                  <a:cxn ang="0">
                    <a:pos x="221" y="0"/>
                  </a:cxn>
                </a:cxnLst>
                <a:rect l="0" t="0" r="r" b="b"/>
                <a:pathLst>
                  <a:path w="575" h="636">
                    <a:moveTo>
                      <a:pt x="221" y="0"/>
                    </a:moveTo>
                    <a:lnTo>
                      <a:pt x="0" y="281"/>
                    </a:lnTo>
                    <a:lnTo>
                      <a:pt x="0" y="281"/>
                    </a:lnTo>
                    <a:lnTo>
                      <a:pt x="575" y="636"/>
                    </a:lnTo>
                    <a:lnTo>
                      <a:pt x="221" y="0"/>
                    </a:lnTo>
                    <a:close/>
                  </a:path>
                </a:pathLst>
              </a:custGeom>
              <a:solidFill>
                <a:srgbClr val="AE8399"/>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32" name="Freeform 207"/>
              <p:cNvSpPr>
                <a:spLocks/>
              </p:cNvSpPr>
              <p:nvPr userDrawn="1"/>
            </p:nvSpPr>
            <p:spPr bwMode="auto">
              <a:xfrm>
                <a:off x="1409700" y="2758152"/>
                <a:ext cx="912813" cy="1009650"/>
              </a:xfrm>
              <a:custGeom>
                <a:avLst/>
                <a:gdLst/>
                <a:ahLst/>
                <a:cxnLst>
                  <a:cxn ang="0">
                    <a:pos x="221" y="0"/>
                  </a:cxn>
                  <a:cxn ang="0">
                    <a:pos x="0" y="281"/>
                  </a:cxn>
                  <a:cxn ang="0">
                    <a:pos x="0" y="281"/>
                  </a:cxn>
                  <a:cxn ang="0">
                    <a:pos x="575" y="636"/>
                  </a:cxn>
                  <a:cxn ang="0">
                    <a:pos x="221" y="0"/>
                  </a:cxn>
                </a:cxnLst>
                <a:rect l="0" t="0" r="r" b="b"/>
                <a:pathLst>
                  <a:path w="575" h="636">
                    <a:moveTo>
                      <a:pt x="221" y="0"/>
                    </a:moveTo>
                    <a:lnTo>
                      <a:pt x="0" y="281"/>
                    </a:lnTo>
                    <a:lnTo>
                      <a:pt x="0" y="281"/>
                    </a:lnTo>
                    <a:lnTo>
                      <a:pt x="575" y="636"/>
                    </a:lnTo>
                    <a:lnTo>
                      <a:pt x="221"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33" name="Freeform 208"/>
              <p:cNvSpPr>
                <a:spLocks noEditPoints="1"/>
              </p:cNvSpPr>
              <p:nvPr userDrawn="1"/>
            </p:nvSpPr>
            <p:spPr bwMode="auto">
              <a:xfrm>
                <a:off x="1368425" y="2046952"/>
                <a:ext cx="392113" cy="1157288"/>
              </a:xfrm>
              <a:custGeom>
                <a:avLst/>
                <a:gdLst/>
                <a:ahLst/>
                <a:cxnLst>
                  <a:cxn ang="0">
                    <a:pos x="0" y="0"/>
                  </a:cxn>
                  <a:cxn ang="0">
                    <a:pos x="0" y="0"/>
                  </a:cxn>
                  <a:cxn ang="0">
                    <a:pos x="26" y="729"/>
                  </a:cxn>
                  <a:cxn ang="0">
                    <a:pos x="247" y="448"/>
                  </a:cxn>
                  <a:cxn ang="0">
                    <a:pos x="0" y="0"/>
                  </a:cxn>
                  <a:cxn ang="0">
                    <a:pos x="0" y="0"/>
                  </a:cxn>
                  <a:cxn ang="0">
                    <a:pos x="0" y="0"/>
                  </a:cxn>
                  <a:cxn ang="0">
                    <a:pos x="0" y="0"/>
                  </a:cxn>
                  <a:cxn ang="0">
                    <a:pos x="0" y="0"/>
                  </a:cxn>
                </a:cxnLst>
                <a:rect l="0" t="0" r="r" b="b"/>
                <a:pathLst>
                  <a:path w="247" h="729">
                    <a:moveTo>
                      <a:pt x="0" y="0"/>
                    </a:moveTo>
                    <a:lnTo>
                      <a:pt x="0" y="0"/>
                    </a:lnTo>
                    <a:lnTo>
                      <a:pt x="26" y="729"/>
                    </a:lnTo>
                    <a:lnTo>
                      <a:pt x="247" y="448"/>
                    </a:lnTo>
                    <a:lnTo>
                      <a:pt x="0" y="0"/>
                    </a:lnTo>
                    <a:close/>
                    <a:moveTo>
                      <a:pt x="0" y="0"/>
                    </a:moveTo>
                    <a:lnTo>
                      <a:pt x="0" y="0"/>
                    </a:lnTo>
                    <a:lnTo>
                      <a:pt x="0" y="0"/>
                    </a:lnTo>
                    <a:lnTo>
                      <a:pt x="0" y="0"/>
                    </a:lnTo>
                    <a:close/>
                  </a:path>
                </a:pathLst>
              </a:custGeom>
              <a:gradFill flip="none" rotWithShape="1">
                <a:gsLst>
                  <a:gs pos="0">
                    <a:srgbClr val="77445E">
                      <a:alpha val="90000"/>
                    </a:srgbClr>
                  </a:gs>
                  <a:gs pos="100000">
                    <a:srgbClr val="9D6182">
                      <a:alpha val="49000"/>
                    </a:srgbClr>
                  </a:gs>
                </a:gsLst>
                <a:lin ang="126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34" name="Freeform 210"/>
              <p:cNvSpPr>
                <a:spLocks/>
              </p:cNvSpPr>
              <p:nvPr userDrawn="1"/>
            </p:nvSpPr>
            <p:spPr bwMode="auto">
              <a:xfrm>
                <a:off x="363538" y="3817015"/>
                <a:ext cx="1090613" cy="682625"/>
              </a:xfrm>
              <a:custGeom>
                <a:avLst/>
                <a:gdLst/>
                <a:ahLst/>
                <a:cxnLst>
                  <a:cxn ang="0">
                    <a:pos x="352" y="0"/>
                  </a:cxn>
                  <a:cxn ang="0">
                    <a:pos x="352" y="0"/>
                  </a:cxn>
                  <a:cxn ang="0">
                    <a:pos x="0" y="252"/>
                  </a:cxn>
                  <a:cxn ang="0">
                    <a:pos x="687" y="430"/>
                  </a:cxn>
                  <a:cxn ang="0">
                    <a:pos x="352" y="0"/>
                  </a:cxn>
                </a:cxnLst>
                <a:rect l="0" t="0" r="r" b="b"/>
                <a:pathLst>
                  <a:path w="687" h="430">
                    <a:moveTo>
                      <a:pt x="352" y="0"/>
                    </a:moveTo>
                    <a:lnTo>
                      <a:pt x="352" y="0"/>
                    </a:lnTo>
                    <a:lnTo>
                      <a:pt x="0" y="252"/>
                    </a:lnTo>
                    <a:lnTo>
                      <a:pt x="687" y="430"/>
                    </a:lnTo>
                    <a:lnTo>
                      <a:pt x="352" y="0"/>
                    </a:lnTo>
                    <a:close/>
                  </a:path>
                </a:pathLst>
              </a:custGeom>
              <a:gradFill>
                <a:gsLst>
                  <a:gs pos="0">
                    <a:srgbClr val="77445E">
                      <a:alpha val="81000"/>
                    </a:srgbClr>
                  </a:gs>
                  <a:gs pos="0">
                    <a:schemeClr val="tx2">
                      <a:alpha val="57000"/>
                    </a:schemeClr>
                  </a:gs>
                  <a:gs pos="100000">
                    <a:srgbClr val="9D6182">
                      <a:alpha val="66000"/>
                    </a:srgbClr>
                  </a:gs>
                </a:gsLst>
                <a:lin ang="156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35" name="Freeform 211"/>
              <p:cNvSpPr>
                <a:spLocks/>
              </p:cNvSpPr>
              <p:nvPr userDrawn="1"/>
            </p:nvSpPr>
            <p:spPr bwMode="auto">
              <a:xfrm>
                <a:off x="363538" y="3817015"/>
                <a:ext cx="1090613" cy="682625"/>
              </a:xfrm>
              <a:custGeom>
                <a:avLst/>
                <a:gdLst/>
                <a:ahLst/>
                <a:cxnLst>
                  <a:cxn ang="0">
                    <a:pos x="352" y="0"/>
                  </a:cxn>
                  <a:cxn ang="0">
                    <a:pos x="352" y="0"/>
                  </a:cxn>
                  <a:cxn ang="0">
                    <a:pos x="0" y="252"/>
                  </a:cxn>
                  <a:cxn ang="0">
                    <a:pos x="687" y="430"/>
                  </a:cxn>
                  <a:cxn ang="0">
                    <a:pos x="352" y="0"/>
                  </a:cxn>
                </a:cxnLst>
                <a:rect l="0" t="0" r="r" b="b"/>
                <a:pathLst>
                  <a:path w="687" h="430">
                    <a:moveTo>
                      <a:pt x="352" y="0"/>
                    </a:moveTo>
                    <a:lnTo>
                      <a:pt x="352" y="0"/>
                    </a:lnTo>
                    <a:lnTo>
                      <a:pt x="0" y="252"/>
                    </a:lnTo>
                    <a:lnTo>
                      <a:pt x="687" y="430"/>
                    </a:lnTo>
                    <a:lnTo>
                      <a:pt x="352"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36" name="Freeform 212"/>
              <p:cNvSpPr>
                <a:spLocks/>
              </p:cNvSpPr>
              <p:nvPr userDrawn="1"/>
            </p:nvSpPr>
            <p:spPr bwMode="auto">
              <a:xfrm>
                <a:off x="922338" y="3204240"/>
                <a:ext cx="531813" cy="1295400"/>
              </a:xfrm>
              <a:custGeom>
                <a:avLst/>
                <a:gdLst/>
                <a:ahLst/>
                <a:cxnLst>
                  <a:cxn ang="0">
                    <a:pos x="307" y="0"/>
                  </a:cxn>
                  <a:cxn ang="0">
                    <a:pos x="0" y="386"/>
                  </a:cxn>
                  <a:cxn ang="0">
                    <a:pos x="335" y="816"/>
                  </a:cxn>
                  <a:cxn ang="0">
                    <a:pos x="307" y="0"/>
                  </a:cxn>
                </a:cxnLst>
                <a:rect l="0" t="0" r="r" b="b"/>
                <a:pathLst>
                  <a:path w="335" h="816">
                    <a:moveTo>
                      <a:pt x="307" y="0"/>
                    </a:moveTo>
                    <a:lnTo>
                      <a:pt x="0" y="386"/>
                    </a:lnTo>
                    <a:lnTo>
                      <a:pt x="335" y="816"/>
                    </a:lnTo>
                    <a:lnTo>
                      <a:pt x="307" y="0"/>
                    </a:lnTo>
                    <a:close/>
                  </a:path>
                </a:pathLst>
              </a:custGeom>
              <a:solidFill>
                <a:srgbClr val="AE8399"/>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37" name="Freeform 213"/>
              <p:cNvSpPr>
                <a:spLocks/>
              </p:cNvSpPr>
              <p:nvPr userDrawn="1"/>
            </p:nvSpPr>
            <p:spPr bwMode="auto">
              <a:xfrm>
                <a:off x="922338" y="3204240"/>
                <a:ext cx="531813" cy="1295400"/>
              </a:xfrm>
              <a:custGeom>
                <a:avLst/>
                <a:gdLst/>
                <a:ahLst/>
                <a:cxnLst>
                  <a:cxn ang="0">
                    <a:pos x="307" y="0"/>
                  </a:cxn>
                  <a:cxn ang="0">
                    <a:pos x="0" y="386"/>
                  </a:cxn>
                  <a:cxn ang="0">
                    <a:pos x="335" y="816"/>
                  </a:cxn>
                  <a:cxn ang="0">
                    <a:pos x="307" y="0"/>
                  </a:cxn>
                </a:cxnLst>
                <a:rect l="0" t="0" r="r" b="b"/>
                <a:pathLst>
                  <a:path w="335" h="816">
                    <a:moveTo>
                      <a:pt x="307" y="0"/>
                    </a:moveTo>
                    <a:lnTo>
                      <a:pt x="0" y="386"/>
                    </a:lnTo>
                    <a:lnTo>
                      <a:pt x="335" y="816"/>
                    </a:lnTo>
                    <a:lnTo>
                      <a:pt x="307"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38" name="Freeform 214"/>
              <p:cNvSpPr>
                <a:spLocks/>
              </p:cNvSpPr>
              <p:nvPr userDrawn="1"/>
            </p:nvSpPr>
            <p:spPr bwMode="auto">
              <a:xfrm>
                <a:off x="1728788" y="4782215"/>
                <a:ext cx="1679575" cy="1119188"/>
              </a:xfrm>
              <a:custGeom>
                <a:avLst/>
                <a:gdLst/>
                <a:ahLst/>
                <a:cxnLst>
                  <a:cxn ang="0">
                    <a:pos x="726" y="0"/>
                  </a:cxn>
                  <a:cxn ang="0">
                    <a:pos x="726" y="0"/>
                  </a:cxn>
                  <a:cxn ang="0">
                    <a:pos x="0" y="705"/>
                  </a:cxn>
                  <a:cxn ang="0">
                    <a:pos x="1058" y="705"/>
                  </a:cxn>
                  <a:cxn ang="0">
                    <a:pos x="726" y="0"/>
                  </a:cxn>
                </a:cxnLst>
                <a:rect l="0" t="0" r="r" b="b"/>
                <a:pathLst>
                  <a:path w="1058" h="705">
                    <a:moveTo>
                      <a:pt x="726" y="0"/>
                    </a:moveTo>
                    <a:lnTo>
                      <a:pt x="726" y="0"/>
                    </a:lnTo>
                    <a:lnTo>
                      <a:pt x="0" y="705"/>
                    </a:lnTo>
                    <a:lnTo>
                      <a:pt x="1058" y="705"/>
                    </a:lnTo>
                    <a:lnTo>
                      <a:pt x="726" y="0"/>
                    </a:lnTo>
                    <a:close/>
                  </a:path>
                </a:pathLst>
              </a:custGeom>
              <a:gradFill>
                <a:gsLst>
                  <a:gs pos="0">
                    <a:srgbClr val="65394F">
                      <a:alpha val="84000"/>
                    </a:srgbClr>
                  </a:gs>
                  <a:gs pos="100000">
                    <a:srgbClr val="9D6182">
                      <a:alpha val="85000"/>
                    </a:srgbClr>
                  </a:gs>
                  <a:gs pos="100000">
                    <a:srgbClr val="65394F"/>
                  </a:gs>
                </a:gsLst>
                <a:lin ang="162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39" name="Freeform 215"/>
              <p:cNvSpPr>
                <a:spLocks/>
              </p:cNvSpPr>
              <p:nvPr userDrawn="1"/>
            </p:nvSpPr>
            <p:spPr bwMode="auto">
              <a:xfrm>
                <a:off x="1728788" y="4782215"/>
                <a:ext cx="1679575" cy="1119188"/>
              </a:xfrm>
              <a:custGeom>
                <a:avLst/>
                <a:gdLst/>
                <a:ahLst/>
                <a:cxnLst>
                  <a:cxn ang="0">
                    <a:pos x="726" y="0"/>
                  </a:cxn>
                  <a:cxn ang="0">
                    <a:pos x="726" y="0"/>
                  </a:cxn>
                  <a:cxn ang="0">
                    <a:pos x="0" y="705"/>
                  </a:cxn>
                  <a:cxn ang="0">
                    <a:pos x="1058" y="705"/>
                  </a:cxn>
                  <a:cxn ang="0">
                    <a:pos x="726" y="0"/>
                  </a:cxn>
                </a:cxnLst>
                <a:rect l="0" t="0" r="r" b="b"/>
                <a:pathLst>
                  <a:path w="1058" h="705">
                    <a:moveTo>
                      <a:pt x="726" y="0"/>
                    </a:moveTo>
                    <a:lnTo>
                      <a:pt x="726" y="0"/>
                    </a:lnTo>
                    <a:lnTo>
                      <a:pt x="0" y="705"/>
                    </a:lnTo>
                    <a:lnTo>
                      <a:pt x="1058" y="705"/>
                    </a:lnTo>
                    <a:lnTo>
                      <a:pt x="726"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40" name="Freeform 216"/>
              <p:cNvSpPr>
                <a:spLocks noEditPoints="1"/>
              </p:cNvSpPr>
              <p:nvPr userDrawn="1"/>
            </p:nvSpPr>
            <p:spPr bwMode="auto">
              <a:xfrm>
                <a:off x="2322513" y="3767802"/>
                <a:ext cx="2033588" cy="2133600"/>
              </a:xfrm>
              <a:custGeom>
                <a:avLst/>
                <a:gdLst/>
                <a:ahLst/>
                <a:cxnLst>
                  <a:cxn ang="0">
                    <a:pos x="352" y="639"/>
                  </a:cxn>
                  <a:cxn ang="0">
                    <a:pos x="684" y="1344"/>
                  </a:cxn>
                  <a:cxn ang="0">
                    <a:pos x="1082" y="1344"/>
                  </a:cxn>
                  <a:cxn ang="0">
                    <a:pos x="1281" y="839"/>
                  </a:cxn>
                  <a:cxn ang="0">
                    <a:pos x="352" y="639"/>
                  </a:cxn>
                  <a:cxn ang="0">
                    <a:pos x="0" y="0"/>
                  </a:cxn>
                  <a:cxn ang="0">
                    <a:pos x="2" y="3"/>
                  </a:cxn>
                  <a:cxn ang="0">
                    <a:pos x="2" y="2"/>
                  </a:cxn>
                  <a:cxn ang="0">
                    <a:pos x="0" y="0"/>
                  </a:cxn>
                </a:cxnLst>
                <a:rect l="0" t="0" r="r" b="b"/>
                <a:pathLst>
                  <a:path w="1281" h="1344">
                    <a:moveTo>
                      <a:pt x="352" y="639"/>
                    </a:moveTo>
                    <a:lnTo>
                      <a:pt x="684" y="1344"/>
                    </a:lnTo>
                    <a:lnTo>
                      <a:pt x="1082" y="1344"/>
                    </a:lnTo>
                    <a:lnTo>
                      <a:pt x="1281" y="839"/>
                    </a:lnTo>
                    <a:lnTo>
                      <a:pt x="352" y="639"/>
                    </a:lnTo>
                    <a:close/>
                    <a:moveTo>
                      <a:pt x="0" y="0"/>
                    </a:moveTo>
                    <a:lnTo>
                      <a:pt x="2" y="3"/>
                    </a:lnTo>
                    <a:lnTo>
                      <a:pt x="2" y="2"/>
                    </a:lnTo>
                    <a:lnTo>
                      <a:pt x="0" y="0"/>
                    </a:lnTo>
                    <a:close/>
                  </a:path>
                </a:pathLst>
              </a:custGeom>
              <a:gradFill>
                <a:gsLst>
                  <a:gs pos="0">
                    <a:srgbClr val="65394F">
                      <a:alpha val="83000"/>
                    </a:srgbClr>
                  </a:gs>
                  <a:gs pos="48000">
                    <a:srgbClr val="77445E">
                      <a:alpha val="63000"/>
                    </a:srgbClr>
                  </a:gs>
                  <a:gs pos="100000">
                    <a:srgbClr val="65394F">
                      <a:alpha val="69000"/>
                    </a:srgbClr>
                  </a:gs>
                </a:gsLst>
                <a:lin ang="138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41" name="Freeform 217"/>
              <p:cNvSpPr>
                <a:spLocks noEditPoints="1"/>
              </p:cNvSpPr>
              <p:nvPr userDrawn="1"/>
            </p:nvSpPr>
            <p:spPr bwMode="auto">
              <a:xfrm>
                <a:off x="2322513" y="3767802"/>
                <a:ext cx="2033588" cy="2133600"/>
              </a:xfrm>
              <a:custGeom>
                <a:avLst/>
                <a:gdLst/>
                <a:ahLst/>
                <a:cxnLst>
                  <a:cxn ang="0">
                    <a:pos x="352" y="639"/>
                  </a:cxn>
                  <a:cxn ang="0">
                    <a:pos x="684" y="1344"/>
                  </a:cxn>
                  <a:cxn ang="0">
                    <a:pos x="1082" y="1344"/>
                  </a:cxn>
                  <a:cxn ang="0">
                    <a:pos x="1281" y="839"/>
                  </a:cxn>
                  <a:cxn ang="0">
                    <a:pos x="352" y="639"/>
                  </a:cxn>
                  <a:cxn ang="0">
                    <a:pos x="0" y="0"/>
                  </a:cxn>
                  <a:cxn ang="0">
                    <a:pos x="2" y="3"/>
                  </a:cxn>
                  <a:cxn ang="0">
                    <a:pos x="2" y="2"/>
                  </a:cxn>
                  <a:cxn ang="0">
                    <a:pos x="0" y="0"/>
                  </a:cxn>
                </a:cxnLst>
                <a:rect l="0" t="0" r="r" b="b"/>
                <a:pathLst>
                  <a:path w="1281" h="1344">
                    <a:moveTo>
                      <a:pt x="352" y="639"/>
                    </a:moveTo>
                    <a:lnTo>
                      <a:pt x="684" y="1344"/>
                    </a:lnTo>
                    <a:lnTo>
                      <a:pt x="1082" y="1344"/>
                    </a:lnTo>
                    <a:lnTo>
                      <a:pt x="1281" y="839"/>
                    </a:lnTo>
                    <a:lnTo>
                      <a:pt x="352" y="639"/>
                    </a:lnTo>
                    <a:moveTo>
                      <a:pt x="0" y="0"/>
                    </a:moveTo>
                    <a:lnTo>
                      <a:pt x="2" y="3"/>
                    </a:lnTo>
                    <a:lnTo>
                      <a:pt x="2" y="2"/>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42" name="Freeform 218"/>
              <p:cNvSpPr>
                <a:spLocks noEditPoints="1"/>
              </p:cNvSpPr>
              <p:nvPr userDrawn="1"/>
            </p:nvSpPr>
            <p:spPr bwMode="auto">
              <a:xfrm>
                <a:off x="2325688" y="3770977"/>
                <a:ext cx="2030413" cy="1328738"/>
              </a:xfrm>
              <a:custGeom>
                <a:avLst/>
                <a:gdLst/>
                <a:ahLst/>
                <a:cxnLst>
                  <a:cxn ang="0">
                    <a:pos x="490" y="320"/>
                  </a:cxn>
                  <a:cxn ang="0">
                    <a:pos x="350" y="637"/>
                  </a:cxn>
                  <a:cxn ang="0">
                    <a:pos x="1279" y="837"/>
                  </a:cxn>
                  <a:cxn ang="0">
                    <a:pos x="490" y="320"/>
                  </a:cxn>
                  <a:cxn ang="0">
                    <a:pos x="0" y="0"/>
                  </a:cxn>
                  <a:cxn ang="0">
                    <a:pos x="0" y="1"/>
                  </a:cxn>
                  <a:cxn ang="0">
                    <a:pos x="350" y="637"/>
                  </a:cxn>
                  <a:cxn ang="0">
                    <a:pos x="295" y="192"/>
                  </a:cxn>
                  <a:cxn ang="0">
                    <a:pos x="0" y="0"/>
                  </a:cxn>
                </a:cxnLst>
                <a:rect l="0" t="0" r="r" b="b"/>
                <a:pathLst>
                  <a:path w="1279" h="837">
                    <a:moveTo>
                      <a:pt x="490" y="320"/>
                    </a:moveTo>
                    <a:lnTo>
                      <a:pt x="350" y="637"/>
                    </a:lnTo>
                    <a:lnTo>
                      <a:pt x="1279" y="837"/>
                    </a:lnTo>
                    <a:lnTo>
                      <a:pt x="490" y="320"/>
                    </a:lnTo>
                    <a:close/>
                    <a:moveTo>
                      <a:pt x="0" y="0"/>
                    </a:moveTo>
                    <a:lnTo>
                      <a:pt x="0" y="1"/>
                    </a:lnTo>
                    <a:lnTo>
                      <a:pt x="350" y="637"/>
                    </a:lnTo>
                    <a:lnTo>
                      <a:pt x="295" y="192"/>
                    </a:lnTo>
                    <a:lnTo>
                      <a:pt x="0" y="0"/>
                    </a:lnTo>
                    <a:close/>
                  </a:path>
                </a:pathLst>
              </a:custGeom>
              <a:gradFill>
                <a:gsLst>
                  <a:gs pos="0">
                    <a:srgbClr val="65394F">
                      <a:alpha val="93000"/>
                    </a:srgbClr>
                  </a:gs>
                  <a:gs pos="100000">
                    <a:srgbClr val="723855"/>
                  </a:gs>
                </a:gsLst>
                <a:lin ang="168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43" name="Freeform 219"/>
              <p:cNvSpPr>
                <a:spLocks noEditPoints="1"/>
              </p:cNvSpPr>
              <p:nvPr userDrawn="1"/>
            </p:nvSpPr>
            <p:spPr bwMode="auto">
              <a:xfrm>
                <a:off x="2325688" y="3770977"/>
                <a:ext cx="2030413" cy="1328738"/>
              </a:xfrm>
              <a:custGeom>
                <a:avLst/>
                <a:gdLst/>
                <a:ahLst/>
                <a:cxnLst>
                  <a:cxn ang="0">
                    <a:pos x="490" y="320"/>
                  </a:cxn>
                  <a:cxn ang="0">
                    <a:pos x="350" y="637"/>
                  </a:cxn>
                  <a:cxn ang="0">
                    <a:pos x="1279" y="837"/>
                  </a:cxn>
                  <a:cxn ang="0">
                    <a:pos x="490" y="320"/>
                  </a:cxn>
                  <a:cxn ang="0">
                    <a:pos x="0" y="0"/>
                  </a:cxn>
                  <a:cxn ang="0">
                    <a:pos x="0" y="1"/>
                  </a:cxn>
                  <a:cxn ang="0">
                    <a:pos x="350" y="637"/>
                  </a:cxn>
                  <a:cxn ang="0">
                    <a:pos x="295" y="192"/>
                  </a:cxn>
                  <a:cxn ang="0">
                    <a:pos x="0" y="0"/>
                  </a:cxn>
                </a:cxnLst>
                <a:rect l="0" t="0" r="r" b="b"/>
                <a:pathLst>
                  <a:path w="1279" h="837">
                    <a:moveTo>
                      <a:pt x="490" y="320"/>
                    </a:moveTo>
                    <a:lnTo>
                      <a:pt x="350" y="637"/>
                    </a:lnTo>
                    <a:lnTo>
                      <a:pt x="1279" y="837"/>
                    </a:lnTo>
                    <a:lnTo>
                      <a:pt x="490" y="320"/>
                    </a:lnTo>
                    <a:moveTo>
                      <a:pt x="0" y="0"/>
                    </a:moveTo>
                    <a:lnTo>
                      <a:pt x="0" y="1"/>
                    </a:lnTo>
                    <a:lnTo>
                      <a:pt x="350" y="637"/>
                    </a:lnTo>
                    <a:lnTo>
                      <a:pt x="295" y="192"/>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44" name="Freeform 220"/>
              <p:cNvSpPr>
                <a:spLocks/>
              </p:cNvSpPr>
              <p:nvPr userDrawn="1"/>
            </p:nvSpPr>
            <p:spPr bwMode="auto">
              <a:xfrm>
                <a:off x="2794000" y="4075777"/>
                <a:ext cx="309563" cy="706438"/>
              </a:xfrm>
              <a:custGeom>
                <a:avLst/>
                <a:gdLst/>
                <a:ahLst/>
                <a:cxnLst>
                  <a:cxn ang="0">
                    <a:pos x="0" y="0"/>
                  </a:cxn>
                  <a:cxn ang="0">
                    <a:pos x="55" y="445"/>
                  </a:cxn>
                  <a:cxn ang="0">
                    <a:pos x="195" y="128"/>
                  </a:cxn>
                  <a:cxn ang="0">
                    <a:pos x="0" y="0"/>
                  </a:cxn>
                </a:cxnLst>
                <a:rect l="0" t="0" r="r" b="b"/>
                <a:pathLst>
                  <a:path w="195" h="445">
                    <a:moveTo>
                      <a:pt x="0" y="0"/>
                    </a:moveTo>
                    <a:lnTo>
                      <a:pt x="55" y="445"/>
                    </a:lnTo>
                    <a:lnTo>
                      <a:pt x="195" y="128"/>
                    </a:lnTo>
                    <a:lnTo>
                      <a:pt x="0" y="0"/>
                    </a:lnTo>
                    <a:close/>
                  </a:path>
                </a:pathLst>
              </a:custGeom>
              <a:gradFill>
                <a:gsLst>
                  <a:gs pos="0">
                    <a:srgbClr val="602A43">
                      <a:alpha val="88000"/>
                    </a:srgbClr>
                  </a:gs>
                  <a:gs pos="100000">
                    <a:srgbClr val="602A43"/>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45" name="Freeform 221"/>
              <p:cNvSpPr>
                <a:spLocks/>
              </p:cNvSpPr>
              <p:nvPr userDrawn="1"/>
            </p:nvSpPr>
            <p:spPr bwMode="auto">
              <a:xfrm>
                <a:off x="2794000" y="4075777"/>
                <a:ext cx="309563" cy="706438"/>
              </a:xfrm>
              <a:custGeom>
                <a:avLst/>
                <a:gdLst/>
                <a:ahLst/>
                <a:cxnLst>
                  <a:cxn ang="0">
                    <a:pos x="0" y="0"/>
                  </a:cxn>
                  <a:cxn ang="0">
                    <a:pos x="55" y="445"/>
                  </a:cxn>
                  <a:cxn ang="0">
                    <a:pos x="195" y="128"/>
                  </a:cxn>
                  <a:cxn ang="0">
                    <a:pos x="0" y="0"/>
                  </a:cxn>
                </a:cxnLst>
                <a:rect l="0" t="0" r="r" b="b"/>
                <a:pathLst>
                  <a:path w="195" h="445">
                    <a:moveTo>
                      <a:pt x="0" y="0"/>
                    </a:moveTo>
                    <a:lnTo>
                      <a:pt x="55" y="445"/>
                    </a:lnTo>
                    <a:lnTo>
                      <a:pt x="195" y="128"/>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46" name="Freeform 222"/>
              <p:cNvSpPr>
                <a:spLocks/>
              </p:cNvSpPr>
              <p:nvPr userDrawn="1"/>
            </p:nvSpPr>
            <p:spPr bwMode="auto">
              <a:xfrm>
                <a:off x="4040188" y="5099715"/>
                <a:ext cx="1368425" cy="801688"/>
              </a:xfrm>
              <a:custGeom>
                <a:avLst/>
                <a:gdLst/>
                <a:ahLst/>
                <a:cxnLst>
                  <a:cxn ang="0">
                    <a:pos x="199" y="0"/>
                  </a:cxn>
                  <a:cxn ang="0">
                    <a:pos x="199" y="0"/>
                  </a:cxn>
                  <a:cxn ang="0">
                    <a:pos x="0" y="505"/>
                  </a:cxn>
                  <a:cxn ang="0">
                    <a:pos x="403" y="505"/>
                  </a:cxn>
                  <a:cxn ang="0">
                    <a:pos x="862" y="143"/>
                  </a:cxn>
                  <a:cxn ang="0">
                    <a:pos x="860" y="143"/>
                  </a:cxn>
                  <a:cxn ang="0">
                    <a:pos x="199" y="0"/>
                  </a:cxn>
                </a:cxnLst>
                <a:rect l="0" t="0" r="r" b="b"/>
                <a:pathLst>
                  <a:path w="862" h="505">
                    <a:moveTo>
                      <a:pt x="199" y="0"/>
                    </a:moveTo>
                    <a:lnTo>
                      <a:pt x="199" y="0"/>
                    </a:lnTo>
                    <a:lnTo>
                      <a:pt x="0" y="505"/>
                    </a:lnTo>
                    <a:lnTo>
                      <a:pt x="403" y="505"/>
                    </a:lnTo>
                    <a:lnTo>
                      <a:pt x="862" y="143"/>
                    </a:lnTo>
                    <a:lnTo>
                      <a:pt x="860" y="143"/>
                    </a:lnTo>
                    <a:lnTo>
                      <a:pt x="199" y="0"/>
                    </a:lnTo>
                    <a:close/>
                  </a:path>
                </a:pathLst>
              </a:custGeom>
              <a:gradFill flip="none" rotWithShape="1">
                <a:gsLst>
                  <a:gs pos="0">
                    <a:srgbClr val="77445E">
                      <a:alpha val="77000"/>
                    </a:srgbClr>
                  </a:gs>
                  <a:gs pos="100000">
                    <a:srgbClr val="9D6182">
                      <a:alpha val="75000"/>
                    </a:srgbClr>
                  </a:gs>
                </a:gsLst>
                <a:lin ang="144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47" name="Freeform 223"/>
              <p:cNvSpPr>
                <a:spLocks/>
              </p:cNvSpPr>
              <p:nvPr userDrawn="1"/>
            </p:nvSpPr>
            <p:spPr bwMode="auto">
              <a:xfrm>
                <a:off x="4040188" y="5099715"/>
                <a:ext cx="1368425" cy="801688"/>
              </a:xfrm>
              <a:custGeom>
                <a:avLst/>
                <a:gdLst/>
                <a:ahLst/>
                <a:cxnLst>
                  <a:cxn ang="0">
                    <a:pos x="199" y="0"/>
                  </a:cxn>
                  <a:cxn ang="0">
                    <a:pos x="199" y="0"/>
                  </a:cxn>
                  <a:cxn ang="0">
                    <a:pos x="0" y="505"/>
                  </a:cxn>
                  <a:cxn ang="0">
                    <a:pos x="403" y="505"/>
                  </a:cxn>
                  <a:cxn ang="0">
                    <a:pos x="862" y="143"/>
                  </a:cxn>
                  <a:cxn ang="0">
                    <a:pos x="860" y="143"/>
                  </a:cxn>
                  <a:cxn ang="0">
                    <a:pos x="199" y="0"/>
                  </a:cxn>
                </a:cxnLst>
                <a:rect l="0" t="0" r="r" b="b"/>
                <a:pathLst>
                  <a:path w="862" h="505">
                    <a:moveTo>
                      <a:pt x="199" y="0"/>
                    </a:moveTo>
                    <a:lnTo>
                      <a:pt x="199" y="0"/>
                    </a:lnTo>
                    <a:lnTo>
                      <a:pt x="0" y="505"/>
                    </a:lnTo>
                    <a:lnTo>
                      <a:pt x="403" y="505"/>
                    </a:lnTo>
                    <a:lnTo>
                      <a:pt x="862" y="143"/>
                    </a:lnTo>
                    <a:lnTo>
                      <a:pt x="860" y="143"/>
                    </a:lnTo>
                    <a:lnTo>
                      <a:pt x="199"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48" name="Freeform 224"/>
              <p:cNvSpPr>
                <a:spLocks/>
              </p:cNvSpPr>
              <p:nvPr userDrawn="1"/>
            </p:nvSpPr>
            <p:spPr bwMode="auto">
              <a:xfrm>
                <a:off x="5053013" y="4634577"/>
                <a:ext cx="263525" cy="515938"/>
              </a:xfrm>
              <a:custGeom>
                <a:avLst/>
                <a:gdLst/>
                <a:ahLst/>
                <a:cxnLst>
                  <a:cxn ang="0">
                    <a:pos x="2" y="0"/>
                  </a:cxn>
                  <a:cxn ang="0">
                    <a:pos x="0" y="2"/>
                  </a:cxn>
                  <a:cxn ang="0">
                    <a:pos x="166" y="325"/>
                  </a:cxn>
                  <a:cxn ang="0">
                    <a:pos x="2" y="0"/>
                  </a:cxn>
                </a:cxnLst>
                <a:rect l="0" t="0" r="r" b="b"/>
                <a:pathLst>
                  <a:path w="166" h="325">
                    <a:moveTo>
                      <a:pt x="2" y="0"/>
                    </a:moveTo>
                    <a:lnTo>
                      <a:pt x="0" y="2"/>
                    </a:lnTo>
                    <a:lnTo>
                      <a:pt x="166" y="325"/>
                    </a:lnTo>
                    <a:lnTo>
                      <a:pt x="2" y="0"/>
                    </a:lnTo>
                    <a:close/>
                  </a:path>
                </a:pathLst>
              </a:custGeom>
              <a:solidFill>
                <a:srgbClr val="0E0002"/>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49" name="Freeform 225"/>
              <p:cNvSpPr>
                <a:spLocks/>
              </p:cNvSpPr>
              <p:nvPr userDrawn="1"/>
            </p:nvSpPr>
            <p:spPr bwMode="auto">
              <a:xfrm>
                <a:off x="5053013" y="4634577"/>
                <a:ext cx="263525" cy="515938"/>
              </a:xfrm>
              <a:custGeom>
                <a:avLst/>
                <a:gdLst/>
                <a:ahLst/>
                <a:cxnLst>
                  <a:cxn ang="0">
                    <a:pos x="2" y="0"/>
                  </a:cxn>
                  <a:cxn ang="0">
                    <a:pos x="0" y="2"/>
                  </a:cxn>
                  <a:cxn ang="0">
                    <a:pos x="166" y="325"/>
                  </a:cxn>
                  <a:cxn ang="0">
                    <a:pos x="2" y="0"/>
                  </a:cxn>
                </a:cxnLst>
                <a:rect l="0" t="0" r="r" b="b"/>
                <a:pathLst>
                  <a:path w="166" h="325">
                    <a:moveTo>
                      <a:pt x="2" y="0"/>
                    </a:moveTo>
                    <a:lnTo>
                      <a:pt x="0" y="2"/>
                    </a:lnTo>
                    <a:lnTo>
                      <a:pt x="166" y="325"/>
                    </a:lnTo>
                    <a:lnTo>
                      <a:pt x="2"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50" name="Rectangle 226"/>
              <p:cNvSpPr>
                <a:spLocks noChangeArrowheads="1"/>
              </p:cNvSpPr>
              <p:nvPr userDrawn="1"/>
            </p:nvSpPr>
            <p:spPr bwMode="auto">
              <a:xfrm>
                <a:off x="5405438" y="5326727"/>
                <a:ext cx="3175" cy="1588"/>
              </a:xfrm>
              <a:prstGeom prst="rect">
                <a:avLst/>
              </a:prstGeom>
              <a:solidFill>
                <a:srgbClr val="25000B"/>
              </a:solidFill>
              <a:ln w="9525">
                <a:noFill/>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51" name="Freeform 227"/>
              <p:cNvSpPr>
                <a:spLocks/>
              </p:cNvSpPr>
              <p:nvPr userDrawn="1"/>
            </p:nvSpPr>
            <p:spPr bwMode="auto">
              <a:xfrm>
                <a:off x="5405438" y="5326727"/>
                <a:ext cx="3175" cy="1588"/>
              </a:xfrm>
              <a:custGeom>
                <a:avLst/>
                <a:gdLst/>
                <a:ahLst/>
                <a:cxnLst>
                  <a:cxn ang="0">
                    <a:pos x="0" y="0"/>
                  </a:cxn>
                  <a:cxn ang="0">
                    <a:pos x="2" y="0"/>
                  </a:cxn>
                  <a:cxn ang="0">
                    <a:pos x="2" y="0"/>
                  </a:cxn>
                  <a:cxn ang="0">
                    <a:pos x="0" y="0"/>
                  </a:cxn>
                </a:cxnLst>
                <a:rect l="0" t="0" r="r" b="b"/>
                <a:pathLst>
                  <a:path w="2">
                    <a:moveTo>
                      <a:pt x="0" y="0"/>
                    </a:moveTo>
                    <a:lnTo>
                      <a:pt x="2" y="0"/>
                    </a:lnTo>
                    <a:lnTo>
                      <a:pt x="2"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52" name="Freeform 228"/>
              <p:cNvSpPr>
                <a:spLocks/>
              </p:cNvSpPr>
              <p:nvPr userDrawn="1"/>
            </p:nvSpPr>
            <p:spPr bwMode="auto">
              <a:xfrm>
                <a:off x="5056188" y="4634577"/>
                <a:ext cx="512763" cy="692150"/>
              </a:xfrm>
              <a:custGeom>
                <a:avLst/>
                <a:gdLst/>
                <a:ahLst/>
                <a:cxnLst>
                  <a:cxn ang="0">
                    <a:pos x="0" y="0"/>
                  </a:cxn>
                  <a:cxn ang="0">
                    <a:pos x="0" y="0"/>
                  </a:cxn>
                  <a:cxn ang="0">
                    <a:pos x="164" y="325"/>
                  </a:cxn>
                  <a:cxn ang="0">
                    <a:pos x="222" y="436"/>
                  </a:cxn>
                  <a:cxn ang="0">
                    <a:pos x="323" y="46"/>
                  </a:cxn>
                  <a:cxn ang="0">
                    <a:pos x="0" y="0"/>
                  </a:cxn>
                </a:cxnLst>
                <a:rect l="0" t="0" r="r" b="b"/>
                <a:pathLst>
                  <a:path w="323" h="436">
                    <a:moveTo>
                      <a:pt x="0" y="0"/>
                    </a:moveTo>
                    <a:lnTo>
                      <a:pt x="0" y="0"/>
                    </a:lnTo>
                    <a:lnTo>
                      <a:pt x="164" y="325"/>
                    </a:lnTo>
                    <a:lnTo>
                      <a:pt x="222" y="436"/>
                    </a:lnTo>
                    <a:lnTo>
                      <a:pt x="323" y="46"/>
                    </a:lnTo>
                    <a:lnTo>
                      <a:pt x="0" y="0"/>
                    </a:lnTo>
                    <a:close/>
                  </a:path>
                </a:pathLst>
              </a:custGeom>
              <a:solidFill>
                <a:srgbClr val="77445E"/>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53" name="Freeform 229"/>
              <p:cNvSpPr>
                <a:spLocks/>
              </p:cNvSpPr>
              <p:nvPr userDrawn="1"/>
            </p:nvSpPr>
            <p:spPr bwMode="auto">
              <a:xfrm>
                <a:off x="5056188" y="4634577"/>
                <a:ext cx="512763" cy="692150"/>
              </a:xfrm>
              <a:custGeom>
                <a:avLst/>
                <a:gdLst/>
                <a:ahLst/>
                <a:cxnLst>
                  <a:cxn ang="0">
                    <a:pos x="0" y="0"/>
                  </a:cxn>
                  <a:cxn ang="0">
                    <a:pos x="0" y="0"/>
                  </a:cxn>
                  <a:cxn ang="0">
                    <a:pos x="164" y="325"/>
                  </a:cxn>
                  <a:cxn ang="0">
                    <a:pos x="222" y="436"/>
                  </a:cxn>
                  <a:cxn ang="0">
                    <a:pos x="323" y="46"/>
                  </a:cxn>
                  <a:cxn ang="0">
                    <a:pos x="0" y="0"/>
                  </a:cxn>
                </a:cxnLst>
                <a:rect l="0" t="0" r="r" b="b"/>
                <a:pathLst>
                  <a:path w="323" h="436">
                    <a:moveTo>
                      <a:pt x="0" y="0"/>
                    </a:moveTo>
                    <a:lnTo>
                      <a:pt x="0" y="0"/>
                    </a:lnTo>
                    <a:lnTo>
                      <a:pt x="164" y="325"/>
                    </a:lnTo>
                    <a:lnTo>
                      <a:pt x="222" y="436"/>
                    </a:lnTo>
                    <a:lnTo>
                      <a:pt x="323" y="46"/>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54" name="Freeform 230"/>
              <p:cNvSpPr>
                <a:spLocks/>
              </p:cNvSpPr>
              <p:nvPr userDrawn="1"/>
            </p:nvSpPr>
            <p:spPr bwMode="auto">
              <a:xfrm>
                <a:off x="4356100" y="4637752"/>
                <a:ext cx="1049338" cy="688975"/>
              </a:xfrm>
              <a:custGeom>
                <a:avLst/>
                <a:gdLst/>
                <a:ahLst/>
                <a:cxnLst>
                  <a:cxn ang="0">
                    <a:pos x="439" y="0"/>
                  </a:cxn>
                  <a:cxn ang="0">
                    <a:pos x="0" y="291"/>
                  </a:cxn>
                  <a:cxn ang="0">
                    <a:pos x="661" y="434"/>
                  </a:cxn>
                  <a:cxn ang="0">
                    <a:pos x="605" y="323"/>
                  </a:cxn>
                  <a:cxn ang="0">
                    <a:pos x="439" y="0"/>
                  </a:cxn>
                </a:cxnLst>
                <a:rect l="0" t="0" r="r" b="b"/>
                <a:pathLst>
                  <a:path w="661" h="434">
                    <a:moveTo>
                      <a:pt x="439" y="0"/>
                    </a:moveTo>
                    <a:lnTo>
                      <a:pt x="0" y="291"/>
                    </a:lnTo>
                    <a:lnTo>
                      <a:pt x="661" y="434"/>
                    </a:lnTo>
                    <a:lnTo>
                      <a:pt x="605" y="323"/>
                    </a:lnTo>
                    <a:lnTo>
                      <a:pt x="439" y="0"/>
                    </a:lnTo>
                    <a:close/>
                  </a:path>
                </a:pathLst>
              </a:custGeom>
              <a:gradFill>
                <a:gsLst>
                  <a:gs pos="0">
                    <a:srgbClr val="65394F">
                      <a:alpha val="94000"/>
                    </a:srgbClr>
                  </a:gs>
                  <a:gs pos="100000">
                    <a:srgbClr val="9D6182">
                      <a:alpha val="85000"/>
                    </a:srgbClr>
                  </a:gs>
                  <a:gs pos="100000">
                    <a:srgbClr val="65394F"/>
                  </a:gs>
                </a:gsLst>
                <a:lin ang="144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55" name="Freeform 231"/>
              <p:cNvSpPr>
                <a:spLocks/>
              </p:cNvSpPr>
              <p:nvPr userDrawn="1"/>
            </p:nvSpPr>
            <p:spPr bwMode="auto">
              <a:xfrm>
                <a:off x="4356100" y="4637752"/>
                <a:ext cx="1049338" cy="688975"/>
              </a:xfrm>
              <a:custGeom>
                <a:avLst/>
                <a:gdLst/>
                <a:ahLst/>
                <a:cxnLst>
                  <a:cxn ang="0">
                    <a:pos x="439" y="0"/>
                  </a:cxn>
                  <a:cxn ang="0">
                    <a:pos x="0" y="291"/>
                  </a:cxn>
                  <a:cxn ang="0">
                    <a:pos x="661" y="434"/>
                  </a:cxn>
                  <a:cxn ang="0">
                    <a:pos x="605" y="323"/>
                  </a:cxn>
                  <a:cxn ang="0">
                    <a:pos x="439" y="0"/>
                  </a:cxn>
                </a:cxnLst>
                <a:rect l="0" t="0" r="r" b="b"/>
                <a:pathLst>
                  <a:path w="661" h="434">
                    <a:moveTo>
                      <a:pt x="439" y="0"/>
                    </a:moveTo>
                    <a:lnTo>
                      <a:pt x="0" y="291"/>
                    </a:lnTo>
                    <a:lnTo>
                      <a:pt x="661" y="434"/>
                    </a:lnTo>
                    <a:lnTo>
                      <a:pt x="605" y="323"/>
                    </a:lnTo>
                    <a:lnTo>
                      <a:pt x="439"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56" name="Freeform 232"/>
              <p:cNvSpPr>
                <a:spLocks/>
              </p:cNvSpPr>
              <p:nvPr userDrawn="1"/>
            </p:nvSpPr>
            <p:spPr bwMode="auto">
              <a:xfrm>
                <a:off x="5316538" y="5150515"/>
                <a:ext cx="92075" cy="176213"/>
              </a:xfrm>
              <a:custGeom>
                <a:avLst/>
                <a:gdLst/>
                <a:ahLst/>
                <a:cxnLst>
                  <a:cxn ang="0">
                    <a:pos x="0" y="0"/>
                  </a:cxn>
                  <a:cxn ang="0">
                    <a:pos x="56" y="111"/>
                  </a:cxn>
                  <a:cxn ang="0">
                    <a:pos x="58" y="111"/>
                  </a:cxn>
                  <a:cxn ang="0">
                    <a:pos x="0" y="0"/>
                  </a:cxn>
                </a:cxnLst>
                <a:rect l="0" t="0" r="r" b="b"/>
                <a:pathLst>
                  <a:path w="58" h="111">
                    <a:moveTo>
                      <a:pt x="0" y="0"/>
                    </a:moveTo>
                    <a:lnTo>
                      <a:pt x="56" y="111"/>
                    </a:lnTo>
                    <a:lnTo>
                      <a:pt x="58" y="111"/>
                    </a:lnTo>
                    <a:lnTo>
                      <a:pt x="0" y="0"/>
                    </a:lnTo>
                    <a:close/>
                  </a:path>
                </a:pathLst>
              </a:custGeom>
              <a:solidFill>
                <a:srgbClr val="0E0002"/>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57" name="Freeform 233"/>
              <p:cNvSpPr>
                <a:spLocks/>
              </p:cNvSpPr>
              <p:nvPr userDrawn="1"/>
            </p:nvSpPr>
            <p:spPr bwMode="auto">
              <a:xfrm>
                <a:off x="5316538" y="5150515"/>
                <a:ext cx="92075" cy="176213"/>
              </a:xfrm>
              <a:custGeom>
                <a:avLst/>
                <a:gdLst/>
                <a:ahLst/>
                <a:cxnLst>
                  <a:cxn ang="0">
                    <a:pos x="0" y="0"/>
                  </a:cxn>
                  <a:cxn ang="0">
                    <a:pos x="56" y="111"/>
                  </a:cxn>
                  <a:cxn ang="0">
                    <a:pos x="58" y="111"/>
                  </a:cxn>
                  <a:cxn ang="0">
                    <a:pos x="0" y="0"/>
                  </a:cxn>
                </a:cxnLst>
                <a:rect l="0" t="0" r="r" b="b"/>
                <a:pathLst>
                  <a:path w="58" h="111">
                    <a:moveTo>
                      <a:pt x="0" y="0"/>
                    </a:moveTo>
                    <a:lnTo>
                      <a:pt x="56" y="111"/>
                    </a:lnTo>
                    <a:lnTo>
                      <a:pt x="58" y="111"/>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58" name="Freeform 234"/>
              <p:cNvSpPr>
                <a:spLocks/>
              </p:cNvSpPr>
              <p:nvPr userDrawn="1"/>
            </p:nvSpPr>
            <p:spPr bwMode="auto">
              <a:xfrm>
                <a:off x="5056188" y="4213890"/>
                <a:ext cx="638175" cy="493713"/>
              </a:xfrm>
              <a:custGeom>
                <a:avLst/>
                <a:gdLst/>
                <a:ahLst/>
                <a:cxnLst>
                  <a:cxn ang="0">
                    <a:pos x="402" y="0"/>
                  </a:cxn>
                  <a:cxn ang="0">
                    <a:pos x="0" y="265"/>
                  </a:cxn>
                  <a:cxn ang="0">
                    <a:pos x="323" y="311"/>
                  </a:cxn>
                  <a:cxn ang="0">
                    <a:pos x="402" y="0"/>
                  </a:cxn>
                </a:cxnLst>
                <a:rect l="0" t="0" r="r" b="b"/>
                <a:pathLst>
                  <a:path w="402" h="311">
                    <a:moveTo>
                      <a:pt x="402" y="0"/>
                    </a:moveTo>
                    <a:lnTo>
                      <a:pt x="0" y="265"/>
                    </a:lnTo>
                    <a:lnTo>
                      <a:pt x="323" y="311"/>
                    </a:lnTo>
                    <a:lnTo>
                      <a:pt x="402" y="0"/>
                    </a:lnTo>
                    <a:close/>
                  </a:path>
                </a:pathLst>
              </a:custGeom>
              <a:gradFill>
                <a:gsLst>
                  <a:gs pos="0">
                    <a:srgbClr val="602A43">
                      <a:alpha val="89000"/>
                    </a:srgbClr>
                  </a:gs>
                  <a:gs pos="100000">
                    <a:srgbClr val="65394F">
                      <a:alpha val="92000"/>
                    </a:srgbClr>
                  </a:gs>
                </a:gsLst>
                <a:lin ang="168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59" name="Freeform 235"/>
              <p:cNvSpPr>
                <a:spLocks/>
              </p:cNvSpPr>
              <p:nvPr userDrawn="1"/>
            </p:nvSpPr>
            <p:spPr bwMode="auto">
              <a:xfrm>
                <a:off x="5056188" y="4213890"/>
                <a:ext cx="638175" cy="493713"/>
              </a:xfrm>
              <a:custGeom>
                <a:avLst/>
                <a:gdLst/>
                <a:ahLst/>
                <a:cxnLst>
                  <a:cxn ang="0">
                    <a:pos x="402" y="0"/>
                  </a:cxn>
                  <a:cxn ang="0">
                    <a:pos x="0" y="265"/>
                  </a:cxn>
                  <a:cxn ang="0">
                    <a:pos x="323" y="311"/>
                  </a:cxn>
                  <a:cxn ang="0">
                    <a:pos x="402" y="0"/>
                  </a:cxn>
                </a:cxnLst>
                <a:rect l="0" t="0" r="r" b="b"/>
                <a:pathLst>
                  <a:path w="402" h="311">
                    <a:moveTo>
                      <a:pt x="402" y="0"/>
                    </a:moveTo>
                    <a:lnTo>
                      <a:pt x="0" y="265"/>
                    </a:lnTo>
                    <a:lnTo>
                      <a:pt x="323" y="311"/>
                    </a:lnTo>
                    <a:lnTo>
                      <a:pt x="402"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60" name="Freeform 236"/>
              <p:cNvSpPr>
                <a:spLocks/>
              </p:cNvSpPr>
              <p:nvPr userDrawn="1"/>
            </p:nvSpPr>
            <p:spPr bwMode="auto">
              <a:xfrm>
                <a:off x="0" y="2046952"/>
                <a:ext cx="1368425" cy="2170113"/>
              </a:xfrm>
              <a:custGeom>
                <a:avLst/>
                <a:gdLst/>
                <a:ahLst/>
                <a:cxnLst>
                  <a:cxn ang="0">
                    <a:pos x="862" y="0"/>
                  </a:cxn>
                  <a:cxn ang="0">
                    <a:pos x="0" y="674"/>
                  </a:cxn>
                  <a:cxn ang="0">
                    <a:pos x="0" y="1321"/>
                  </a:cxn>
                  <a:cxn ang="0">
                    <a:pos x="229" y="1367"/>
                  </a:cxn>
                  <a:cxn ang="0">
                    <a:pos x="862" y="0"/>
                  </a:cxn>
                </a:cxnLst>
                <a:rect l="0" t="0" r="r" b="b"/>
                <a:pathLst>
                  <a:path w="862" h="1367">
                    <a:moveTo>
                      <a:pt x="862" y="0"/>
                    </a:moveTo>
                    <a:lnTo>
                      <a:pt x="0" y="674"/>
                    </a:lnTo>
                    <a:lnTo>
                      <a:pt x="0" y="1321"/>
                    </a:lnTo>
                    <a:lnTo>
                      <a:pt x="229" y="1367"/>
                    </a:lnTo>
                    <a:lnTo>
                      <a:pt x="862" y="0"/>
                    </a:lnTo>
                    <a:close/>
                  </a:path>
                </a:pathLst>
              </a:custGeom>
              <a:gradFill flip="none" rotWithShape="1">
                <a:gsLst>
                  <a:gs pos="0">
                    <a:srgbClr val="AE8399"/>
                  </a:gs>
                  <a:gs pos="50000">
                    <a:schemeClr val="accent2">
                      <a:alpha val="32000"/>
                    </a:schemeClr>
                  </a:gs>
                  <a:gs pos="100000">
                    <a:srgbClr val="CFB4C4">
                      <a:shade val="100000"/>
                      <a:satMod val="115000"/>
                    </a:srgbClr>
                  </a:gs>
                </a:gsLst>
                <a:lin ang="90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61" name="Freeform 237"/>
              <p:cNvSpPr>
                <a:spLocks/>
              </p:cNvSpPr>
              <p:nvPr userDrawn="1"/>
            </p:nvSpPr>
            <p:spPr bwMode="auto">
              <a:xfrm>
                <a:off x="0" y="2046952"/>
                <a:ext cx="1368425" cy="2170113"/>
              </a:xfrm>
              <a:custGeom>
                <a:avLst/>
                <a:gdLst/>
                <a:ahLst/>
                <a:cxnLst>
                  <a:cxn ang="0">
                    <a:pos x="862" y="0"/>
                  </a:cxn>
                  <a:cxn ang="0">
                    <a:pos x="0" y="674"/>
                  </a:cxn>
                  <a:cxn ang="0">
                    <a:pos x="0" y="1321"/>
                  </a:cxn>
                  <a:cxn ang="0">
                    <a:pos x="229" y="1367"/>
                  </a:cxn>
                  <a:cxn ang="0">
                    <a:pos x="862" y="0"/>
                  </a:cxn>
                </a:cxnLst>
                <a:rect l="0" t="0" r="r" b="b"/>
                <a:pathLst>
                  <a:path w="862" h="1367">
                    <a:moveTo>
                      <a:pt x="862" y="0"/>
                    </a:moveTo>
                    <a:lnTo>
                      <a:pt x="0" y="674"/>
                    </a:lnTo>
                    <a:lnTo>
                      <a:pt x="0" y="1321"/>
                    </a:lnTo>
                    <a:lnTo>
                      <a:pt x="229" y="1367"/>
                    </a:lnTo>
                    <a:lnTo>
                      <a:pt x="862"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62" name="Freeform 238"/>
              <p:cNvSpPr>
                <a:spLocks/>
              </p:cNvSpPr>
              <p:nvPr userDrawn="1"/>
            </p:nvSpPr>
            <p:spPr bwMode="auto">
              <a:xfrm>
                <a:off x="0" y="4217065"/>
                <a:ext cx="982663" cy="1027113"/>
              </a:xfrm>
              <a:custGeom>
                <a:avLst/>
                <a:gdLst/>
                <a:ahLst/>
                <a:cxnLst>
                  <a:cxn ang="0">
                    <a:pos x="229" y="0"/>
                  </a:cxn>
                  <a:cxn ang="0">
                    <a:pos x="0" y="307"/>
                  </a:cxn>
                  <a:cxn ang="0">
                    <a:pos x="0" y="588"/>
                  </a:cxn>
                  <a:cxn ang="0">
                    <a:pos x="0" y="588"/>
                  </a:cxn>
                  <a:cxn ang="0">
                    <a:pos x="619" y="647"/>
                  </a:cxn>
                  <a:cxn ang="0">
                    <a:pos x="229" y="0"/>
                  </a:cxn>
                </a:cxnLst>
                <a:rect l="0" t="0" r="r" b="b"/>
                <a:pathLst>
                  <a:path w="619" h="647">
                    <a:moveTo>
                      <a:pt x="229" y="0"/>
                    </a:moveTo>
                    <a:lnTo>
                      <a:pt x="0" y="307"/>
                    </a:lnTo>
                    <a:lnTo>
                      <a:pt x="0" y="588"/>
                    </a:lnTo>
                    <a:lnTo>
                      <a:pt x="0" y="588"/>
                    </a:lnTo>
                    <a:lnTo>
                      <a:pt x="619" y="647"/>
                    </a:lnTo>
                    <a:lnTo>
                      <a:pt x="229" y="0"/>
                    </a:lnTo>
                    <a:close/>
                  </a:path>
                </a:pathLst>
              </a:custGeom>
              <a:gradFill>
                <a:gsLst>
                  <a:gs pos="23000">
                    <a:srgbClr val="8E506C">
                      <a:alpha val="69000"/>
                    </a:srgbClr>
                  </a:gs>
                  <a:gs pos="50000">
                    <a:srgbClr val="B58EA2"/>
                  </a:gs>
                  <a:gs pos="100000">
                    <a:srgbClr val="CFB4C4">
                      <a:shade val="100000"/>
                      <a:satMod val="115000"/>
                    </a:srgbClr>
                  </a:gs>
                </a:gsLst>
                <a:lin ang="180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63" name="Freeform 239"/>
              <p:cNvSpPr>
                <a:spLocks/>
              </p:cNvSpPr>
              <p:nvPr userDrawn="1"/>
            </p:nvSpPr>
            <p:spPr bwMode="auto">
              <a:xfrm>
                <a:off x="0" y="4217065"/>
                <a:ext cx="982663" cy="1027113"/>
              </a:xfrm>
              <a:custGeom>
                <a:avLst/>
                <a:gdLst/>
                <a:ahLst/>
                <a:cxnLst>
                  <a:cxn ang="0">
                    <a:pos x="229" y="0"/>
                  </a:cxn>
                  <a:cxn ang="0">
                    <a:pos x="0" y="307"/>
                  </a:cxn>
                  <a:cxn ang="0">
                    <a:pos x="0" y="588"/>
                  </a:cxn>
                  <a:cxn ang="0">
                    <a:pos x="0" y="588"/>
                  </a:cxn>
                  <a:cxn ang="0">
                    <a:pos x="619" y="647"/>
                  </a:cxn>
                  <a:cxn ang="0">
                    <a:pos x="229" y="0"/>
                  </a:cxn>
                </a:cxnLst>
                <a:rect l="0" t="0" r="r" b="b"/>
                <a:pathLst>
                  <a:path w="619" h="647">
                    <a:moveTo>
                      <a:pt x="229" y="0"/>
                    </a:moveTo>
                    <a:lnTo>
                      <a:pt x="0" y="307"/>
                    </a:lnTo>
                    <a:lnTo>
                      <a:pt x="0" y="588"/>
                    </a:lnTo>
                    <a:lnTo>
                      <a:pt x="0" y="588"/>
                    </a:lnTo>
                    <a:lnTo>
                      <a:pt x="619" y="647"/>
                    </a:lnTo>
                    <a:lnTo>
                      <a:pt x="229"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64" name="Freeform 240"/>
              <p:cNvSpPr>
                <a:spLocks/>
              </p:cNvSpPr>
              <p:nvPr userDrawn="1"/>
            </p:nvSpPr>
            <p:spPr bwMode="auto">
              <a:xfrm>
                <a:off x="0" y="4144040"/>
                <a:ext cx="363538" cy="560388"/>
              </a:xfrm>
              <a:custGeom>
                <a:avLst/>
                <a:gdLst/>
                <a:ahLst/>
                <a:cxnLst>
                  <a:cxn ang="0">
                    <a:pos x="0" y="0"/>
                  </a:cxn>
                  <a:cxn ang="0">
                    <a:pos x="0" y="353"/>
                  </a:cxn>
                  <a:cxn ang="0">
                    <a:pos x="229" y="46"/>
                  </a:cxn>
                  <a:cxn ang="0">
                    <a:pos x="0" y="0"/>
                  </a:cxn>
                </a:cxnLst>
                <a:rect l="0" t="0" r="r" b="b"/>
                <a:pathLst>
                  <a:path w="229" h="353">
                    <a:moveTo>
                      <a:pt x="0" y="0"/>
                    </a:moveTo>
                    <a:lnTo>
                      <a:pt x="0" y="353"/>
                    </a:lnTo>
                    <a:lnTo>
                      <a:pt x="229" y="46"/>
                    </a:lnTo>
                    <a:lnTo>
                      <a:pt x="0" y="0"/>
                    </a:lnTo>
                    <a:close/>
                  </a:path>
                </a:pathLst>
              </a:custGeom>
              <a:gradFill>
                <a:gsLst>
                  <a:gs pos="0">
                    <a:srgbClr val="77445E">
                      <a:alpha val="81000"/>
                    </a:srgbClr>
                  </a:gs>
                  <a:gs pos="100000">
                    <a:srgbClr val="9D6182">
                      <a:alpha val="66000"/>
                    </a:srgbClr>
                  </a:gs>
                </a:gsLst>
                <a:lin ang="156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65" name="Freeform 241"/>
              <p:cNvSpPr>
                <a:spLocks/>
              </p:cNvSpPr>
              <p:nvPr userDrawn="1"/>
            </p:nvSpPr>
            <p:spPr bwMode="auto">
              <a:xfrm>
                <a:off x="0" y="4144040"/>
                <a:ext cx="363538" cy="560388"/>
              </a:xfrm>
              <a:custGeom>
                <a:avLst/>
                <a:gdLst/>
                <a:ahLst/>
                <a:cxnLst>
                  <a:cxn ang="0">
                    <a:pos x="0" y="0"/>
                  </a:cxn>
                  <a:cxn ang="0">
                    <a:pos x="0" y="353"/>
                  </a:cxn>
                  <a:cxn ang="0">
                    <a:pos x="229" y="46"/>
                  </a:cxn>
                  <a:cxn ang="0">
                    <a:pos x="0" y="0"/>
                  </a:cxn>
                </a:cxnLst>
                <a:rect l="0" t="0" r="r" b="b"/>
                <a:pathLst>
                  <a:path w="229" h="353">
                    <a:moveTo>
                      <a:pt x="0" y="0"/>
                    </a:moveTo>
                    <a:lnTo>
                      <a:pt x="0" y="353"/>
                    </a:lnTo>
                    <a:lnTo>
                      <a:pt x="229" y="46"/>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66" name="Freeform 242"/>
              <p:cNvSpPr>
                <a:spLocks/>
              </p:cNvSpPr>
              <p:nvPr userDrawn="1"/>
            </p:nvSpPr>
            <p:spPr bwMode="auto">
              <a:xfrm>
                <a:off x="0" y="4782215"/>
                <a:ext cx="2881313" cy="1119188"/>
              </a:xfrm>
              <a:custGeom>
                <a:avLst/>
                <a:gdLst/>
                <a:ahLst/>
                <a:cxnLst>
                  <a:cxn ang="0">
                    <a:pos x="1815" y="0"/>
                  </a:cxn>
                  <a:cxn ang="0">
                    <a:pos x="619" y="291"/>
                  </a:cxn>
                  <a:cxn ang="0">
                    <a:pos x="0" y="232"/>
                  </a:cxn>
                  <a:cxn ang="0">
                    <a:pos x="0" y="319"/>
                  </a:cxn>
                  <a:cxn ang="0">
                    <a:pos x="698" y="705"/>
                  </a:cxn>
                  <a:cxn ang="0">
                    <a:pos x="1089" y="705"/>
                  </a:cxn>
                  <a:cxn ang="0">
                    <a:pos x="1815" y="0"/>
                  </a:cxn>
                </a:cxnLst>
                <a:rect l="0" t="0" r="r" b="b"/>
                <a:pathLst>
                  <a:path w="1815" h="705">
                    <a:moveTo>
                      <a:pt x="1815" y="0"/>
                    </a:moveTo>
                    <a:lnTo>
                      <a:pt x="619" y="291"/>
                    </a:lnTo>
                    <a:lnTo>
                      <a:pt x="0" y="232"/>
                    </a:lnTo>
                    <a:lnTo>
                      <a:pt x="0" y="319"/>
                    </a:lnTo>
                    <a:lnTo>
                      <a:pt x="698" y="705"/>
                    </a:lnTo>
                    <a:lnTo>
                      <a:pt x="1089" y="705"/>
                    </a:lnTo>
                    <a:lnTo>
                      <a:pt x="1815" y="0"/>
                    </a:lnTo>
                    <a:close/>
                  </a:path>
                </a:pathLst>
              </a:custGeom>
              <a:gradFill>
                <a:gsLst>
                  <a:gs pos="0">
                    <a:srgbClr val="65394F">
                      <a:alpha val="94000"/>
                    </a:srgbClr>
                  </a:gs>
                  <a:gs pos="100000">
                    <a:schemeClr val="accent2">
                      <a:alpha val="31000"/>
                    </a:schemeClr>
                  </a:gs>
                  <a:gs pos="100000">
                    <a:srgbClr val="65394F"/>
                  </a:gs>
                </a:gsLst>
                <a:lin ang="144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67" name="Freeform 243"/>
              <p:cNvSpPr>
                <a:spLocks/>
              </p:cNvSpPr>
              <p:nvPr userDrawn="1"/>
            </p:nvSpPr>
            <p:spPr bwMode="auto">
              <a:xfrm>
                <a:off x="0" y="4782215"/>
                <a:ext cx="2881313" cy="1119188"/>
              </a:xfrm>
              <a:custGeom>
                <a:avLst/>
                <a:gdLst/>
                <a:ahLst/>
                <a:cxnLst>
                  <a:cxn ang="0">
                    <a:pos x="1815" y="0"/>
                  </a:cxn>
                  <a:cxn ang="0">
                    <a:pos x="619" y="291"/>
                  </a:cxn>
                  <a:cxn ang="0">
                    <a:pos x="0" y="232"/>
                  </a:cxn>
                  <a:cxn ang="0">
                    <a:pos x="0" y="319"/>
                  </a:cxn>
                  <a:cxn ang="0">
                    <a:pos x="698" y="705"/>
                  </a:cxn>
                  <a:cxn ang="0">
                    <a:pos x="1089" y="705"/>
                  </a:cxn>
                  <a:cxn ang="0">
                    <a:pos x="1815" y="0"/>
                  </a:cxn>
                </a:cxnLst>
                <a:rect l="0" t="0" r="r" b="b"/>
                <a:pathLst>
                  <a:path w="1815" h="705">
                    <a:moveTo>
                      <a:pt x="1815" y="0"/>
                    </a:moveTo>
                    <a:lnTo>
                      <a:pt x="619" y="291"/>
                    </a:lnTo>
                    <a:lnTo>
                      <a:pt x="0" y="232"/>
                    </a:lnTo>
                    <a:lnTo>
                      <a:pt x="0" y="319"/>
                    </a:lnTo>
                    <a:lnTo>
                      <a:pt x="698" y="705"/>
                    </a:lnTo>
                    <a:lnTo>
                      <a:pt x="1089" y="705"/>
                    </a:lnTo>
                    <a:lnTo>
                      <a:pt x="1815"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68" name="Freeform 244"/>
              <p:cNvSpPr>
                <a:spLocks/>
              </p:cNvSpPr>
              <p:nvPr userDrawn="1"/>
            </p:nvSpPr>
            <p:spPr bwMode="auto">
              <a:xfrm>
                <a:off x="0" y="5150515"/>
                <a:ext cx="982663" cy="93663"/>
              </a:xfrm>
              <a:custGeom>
                <a:avLst/>
                <a:gdLst/>
                <a:ahLst/>
                <a:cxnLst>
                  <a:cxn ang="0">
                    <a:pos x="0" y="0"/>
                  </a:cxn>
                  <a:cxn ang="0">
                    <a:pos x="0" y="0"/>
                  </a:cxn>
                  <a:cxn ang="0">
                    <a:pos x="619" y="59"/>
                  </a:cxn>
                  <a:cxn ang="0">
                    <a:pos x="0" y="0"/>
                  </a:cxn>
                </a:cxnLst>
                <a:rect l="0" t="0" r="r" b="b"/>
                <a:pathLst>
                  <a:path w="619" h="59">
                    <a:moveTo>
                      <a:pt x="0" y="0"/>
                    </a:moveTo>
                    <a:lnTo>
                      <a:pt x="0" y="0"/>
                    </a:lnTo>
                    <a:lnTo>
                      <a:pt x="619" y="59"/>
                    </a:lnTo>
                    <a:lnTo>
                      <a:pt x="0" y="0"/>
                    </a:lnTo>
                    <a:close/>
                  </a:path>
                </a:pathLst>
              </a:custGeom>
              <a:solidFill>
                <a:srgbClr val="25000B"/>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69" name="Freeform 245"/>
              <p:cNvSpPr>
                <a:spLocks/>
              </p:cNvSpPr>
              <p:nvPr userDrawn="1"/>
            </p:nvSpPr>
            <p:spPr bwMode="auto">
              <a:xfrm>
                <a:off x="0" y="5150515"/>
                <a:ext cx="982663" cy="93663"/>
              </a:xfrm>
              <a:custGeom>
                <a:avLst/>
                <a:gdLst/>
                <a:ahLst/>
                <a:cxnLst>
                  <a:cxn ang="0">
                    <a:pos x="0" y="0"/>
                  </a:cxn>
                  <a:cxn ang="0">
                    <a:pos x="0" y="0"/>
                  </a:cxn>
                  <a:cxn ang="0">
                    <a:pos x="619" y="59"/>
                  </a:cxn>
                  <a:cxn ang="0">
                    <a:pos x="0" y="0"/>
                  </a:cxn>
                </a:cxnLst>
                <a:rect l="0" t="0" r="r" b="b"/>
                <a:pathLst>
                  <a:path w="619" h="59">
                    <a:moveTo>
                      <a:pt x="0" y="0"/>
                    </a:moveTo>
                    <a:lnTo>
                      <a:pt x="0" y="0"/>
                    </a:lnTo>
                    <a:lnTo>
                      <a:pt x="619" y="59"/>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70" name="Freeform 246"/>
              <p:cNvSpPr>
                <a:spLocks noEditPoints="1"/>
              </p:cNvSpPr>
              <p:nvPr userDrawn="1"/>
            </p:nvSpPr>
            <p:spPr bwMode="auto">
              <a:xfrm>
                <a:off x="9431338" y="1843752"/>
                <a:ext cx="474663" cy="1322388"/>
              </a:xfrm>
              <a:custGeom>
                <a:avLst/>
                <a:gdLst/>
                <a:ahLst/>
                <a:cxnLst>
                  <a:cxn ang="0">
                    <a:pos x="299" y="67"/>
                  </a:cxn>
                  <a:cxn ang="0">
                    <a:pos x="113" y="524"/>
                  </a:cxn>
                  <a:cxn ang="0">
                    <a:pos x="299" y="833"/>
                  </a:cxn>
                  <a:cxn ang="0">
                    <a:pos x="299" y="67"/>
                  </a:cxn>
                  <a:cxn ang="0">
                    <a:pos x="299" y="0"/>
                  </a:cxn>
                  <a:cxn ang="0">
                    <a:pos x="0" y="336"/>
                  </a:cxn>
                  <a:cxn ang="0">
                    <a:pos x="299" y="0"/>
                  </a:cxn>
                </a:cxnLst>
                <a:rect l="0" t="0" r="r" b="b"/>
                <a:pathLst>
                  <a:path w="299" h="833">
                    <a:moveTo>
                      <a:pt x="299" y="67"/>
                    </a:moveTo>
                    <a:lnTo>
                      <a:pt x="113" y="524"/>
                    </a:lnTo>
                    <a:lnTo>
                      <a:pt x="299" y="833"/>
                    </a:lnTo>
                    <a:lnTo>
                      <a:pt x="299" y="67"/>
                    </a:lnTo>
                    <a:close/>
                    <a:moveTo>
                      <a:pt x="299" y="0"/>
                    </a:moveTo>
                    <a:lnTo>
                      <a:pt x="0" y="336"/>
                    </a:lnTo>
                    <a:lnTo>
                      <a:pt x="299" y="0"/>
                    </a:lnTo>
                    <a:close/>
                  </a:path>
                </a:pathLst>
              </a:custGeom>
              <a:gradFill>
                <a:gsLst>
                  <a:gs pos="0">
                    <a:srgbClr val="8D516F">
                      <a:alpha val="64000"/>
                    </a:srgbClr>
                  </a:gs>
                  <a:gs pos="100000">
                    <a:srgbClr val="B58EA2">
                      <a:alpha val="52000"/>
                    </a:srgbClr>
                  </a:gs>
                </a:gsLst>
                <a:lin ang="126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71" name="Freeform 248"/>
              <p:cNvSpPr>
                <a:spLocks noEditPoints="1"/>
              </p:cNvSpPr>
              <p:nvPr userDrawn="1"/>
            </p:nvSpPr>
            <p:spPr bwMode="auto">
              <a:xfrm>
                <a:off x="8453438" y="2704177"/>
                <a:ext cx="1452563" cy="1035050"/>
              </a:xfrm>
              <a:custGeom>
                <a:avLst/>
                <a:gdLst/>
                <a:ahLst/>
                <a:cxnLst>
                  <a:cxn ang="0">
                    <a:pos x="434" y="0"/>
                  </a:cxn>
                  <a:cxn ang="0">
                    <a:pos x="448" y="569"/>
                  </a:cxn>
                  <a:cxn ang="0">
                    <a:pos x="448" y="569"/>
                  </a:cxn>
                  <a:cxn ang="0">
                    <a:pos x="448" y="569"/>
                  </a:cxn>
                  <a:cxn ang="0">
                    <a:pos x="915" y="652"/>
                  </a:cxn>
                  <a:cxn ang="0">
                    <a:pos x="915" y="462"/>
                  </a:cxn>
                  <a:cxn ang="0">
                    <a:pos x="434" y="0"/>
                  </a:cxn>
                  <a:cxn ang="0">
                    <a:pos x="434" y="0"/>
                  </a:cxn>
                  <a:cxn ang="0">
                    <a:pos x="0" y="491"/>
                  </a:cxn>
                  <a:cxn ang="0">
                    <a:pos x="0" y="491"/>
                  </a:cxn>
                  <a:cxn ang="0">
                    <a:pos x="434" y="0"/>
                  </a:cxn>
                  <a:cxn ang="0">
                    <a:pos x="434" y="0"/>
                  </a:cxn>
                </a:cxnLst>
                <a:rect l="0" t="0" r="r" b="b"/>
                <a:pathLst>
                  <a:path w="915" h="652">
                    <a:moveTo>
                      <a:pt x="434" y="0"/>
                    </a:moveTo>
                    <a:lnTo>
                      <a:pt x="448" y="569"/>
                    </a:lnTo>
                    <a:lnTo>
                      <a:pt x="448" y="569"/>
                    </a:lnTo>
                    <a:lnTo>
                      <a:pt x="448" y="569"/>
                    </a:lnTo>
                    <a:lnTo>
                      <a:pt x="915" y="652"/>
                    </a:lnTo>
                    <a:lnTo>
                      <a:pt x="915" y="462"/>
                    </a:lnTo>
                    <a:lnTo>
                      <a:pt x="434" y="0"/>
                    </a:lnTo>
                    <a:close/>
                    <a:moveTo>
                      <a:pt x="434" y="0"/>
                    </a:moveTo>
                    <a:lnTo>
                      <a:pt x="0" y="491"/>
                    </a:lnTo>
                    <a:lnTo>
                      <a:pt x="0" y="491"/>
                    </a:lnTo>
                    <a:lnTo>
                      <a:pt x="434" y="0"/>
                    </a:lnTo>
                    <a:lnTo>
                      <a:pt x="434" y="0"/>
                    </a:lnTo>
                    <a:close/>
                  </a:path>
                </a:pathLst>
              </a:custGeom>
              <a:gradFill flip="none" rotWithShape="1">
                <a:gsLst>
                  <a:gs pos="0">
                    <a:srgbClr val="8D516F">
                      <a:alpha val="64000"/>
                    </a:srgbClr>
                  </a:gs>
                  <a:gs pos="100000">
                    <a:srgbClr val="B58EA2">
                      <a:alpha val="52000"/>
                    </a:srgbClr>
                  </a:gs>
                </a:gsLst>
                <a:lin ang="126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72" name="Freeform 249"/>
              <p:cNvSpPr>
                <a:spLocks noEditPoints="1"/>
              </p:cNvSpPr>
              <p:nvPr userDrawn="1"/>
            </p:nvSpPr>
            <p:spPr bwMode="auto">
              <a:xfrm>
                <a:off x="8453438" y="2704177"/>
                <a:ext cx="1452563" cy="1035050"/>
              </a:xfrm>
              <a:custGeom>
                <a:avLst/>
                <a:gdLst/>
                <a:ahLst/>
                <a:cxnLst>
                  <a:cxn ang="0">
                    <a:pos x="434" y="0"/>
                  </a:cxn>
                  <a:cxn ang="0">
                    <a:pos x="448" y="569"/>
                  </a:cxn>
                  <a:cxn ang="0">
                    <a:pos x="448" y="569"/>
                  </a:cxn>
                  <a:cxn ang="0">
                    <a:pos x="448" y="569"/>
                  </a:cxn>
                  <a:cxn ang="0">
                    <a:pos x="915" y="652"/>
                  </a:cxn>
                  <a:cxn ang="0">
                    <a:pos x="915" y="462"/>
                  </a:cxn>
                  <a:cxn ang="0">
                    <a:pos x="434" y="0"/>
                  </a:cxn>
                  <a:cxn ang="0">
                    <a:pos x="434" y="0"/>
                  </a:cxn>
                  <a:cxn ang="0">
                    <a:pos x="0" y="491"/>
                  </a:cxn>
                  <a:cxn ang="0">
                    <a:pos x="0" y="491"/>
                  </a:cxn>
                  <a:cxn ang="0">
                    <a:pos x="434" y="0"/>
                  </a:cxn>
                  <a:cxn ang="0">
                    <a:pos x="434" y="0"/>
                  </a:cxn>
                </a:cxnLst>
                <a:rect l="0" t="0" r="r" b="b"/>
                <a:pathLst>
                  <a:path w="915" h="652">
                    <a:moveTo>
                      <a:pt x="434" y="0"/>
                    </a:moveTo>
                    <a:lnTo>
                      <a:pt x="448" y="569"/>
                    </a:lnTo>
                    <a:lnTo>
                      <a:pt x="448" y="569"/>
                    </a:lnTo>
                    <a:lnTo>
                      <a:pt x="448" y="569"/>
                    </a:lnTo>
                    <a:lnTo>
                      <a:pt x="915" y="652"/>
                    </a:lnTo>
                    <a:lnTo>
                      <a:pt x="915" y="462"/>
                    </a:lnTo>
                    <a:lnTo>
                      <a:pt x="434" y="0"/>
                    </a:lnTo>
                    <a:moveTo>
                      <a:pt x="434" y="0"/>
                    </a:moveTo>
                    <a:lnTo>
                      <a:pt x="0" y="491"/>
                    </a:lnTo>
                    <a:lnTo>
                      <a:pt x="0" y="491"/>
                    </a:lnTo>
                    <a:lnTo>
                      <a:pt x="434" y="0"/>
                    </a:lnTo>
                    <a:lnTo>
                      <a:pt x="434"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73" name="Freeform 250"/>
              <p:cNvSpPr>
                <a:spLocks/>
              </p:cNvSpPr>
              <p:nvPr userDrawn="1"/>
            </p:nvSpPr>
            <p:spPr bwMode="auto">
              <a:xfrm>
                <a:off x="8453438" y="2704177"/>
                <a:ext cx="711200" cy="903288"/>
              </a:xfrm>
              <a:custGeom>
                <a:avLst/>
                <a:gdLst/>
                <a:ahLst/>
                <a:cxnLst>
                  <a:cxn ang="0">
                    <a:pos x="434" y="0"/>
                  </a:cxn>
                  <a:cxn ang="0">
                    <a:pos x="0" y="491"/>
                  </a:cxn>
                  <a:cxn ang="0">
                    <a:pos x="448" y="569"/>
                  </a:cxn>
                  <a:cxn ang="0">
                    <a:pos x="434" y="0"/>
                  </a:cxn>
                  <a:cxn ang="0">
                    <a:pos x="434" y="0"/>
                  </a:cxn>
                </a:cxnLst>
                <a:rect l="0" t="0" r="r" b="b"/>
                <a:pathLst>
                  <a:path w="448" h="569">
                    <a:moveTo>
                      <a:pt x="434" y="0"/>
                    </a:moveTo>
                    <a:lnTo>
                      <a:pt x="0" y="491"/>
                    </a:lnTo>
                    <a:lnTo>
                      <a:pt x="448" y="569"/>
                    </a:lnTo>
                    <a:lnTo>
                      <a:pt x="434" y="0"/>
                    </a:lnTo>
                    <a:lnTo>
                      <a:pt x="434" y="0"/>
                    </a:lnTo>
                    <a:close/>
                  </a:path>
                </a:pathLst>
              </a:custGeom>
              <a:gradFill flip="none" rotWithShape="1">
                <a:gsLst>
                  <a:gs pos="38000">
                    <a:srgbClr val="9D6182">
                      <a:alpha val="54000"/>
                    </a:srgbClr>
                  </a:gs>
                  <a:gs pos="100000">
                    <a:srgbClr val="77445E">
                      <a:alpha val="74000"/>
                    </a:srgbClr>
                  </a:gs>
                </a:gsLst>
                <a:lin ang="24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74" name="Freeform 251"/>
              <p:cNvSpPr>
                <a:spLocks/>
              </p:cNvSpPr>
              <p:nvPr userDrawn="1"/>
            </p:nvSpPr>
            <p:spPr bwMode="auto">
              <a:xfrm>
                <a:off x="8453438" y="2704177"/>
                <a:ext cx="711200" cy="903288"/>
              </a:xfrm>
              <a:custGeom>
                <a:avLst/>
                <a:gdLst/>
                <a:ahLst/>
                <a:cxnLst>
                  <a:cxn ang="0">
                    <a:pos x="434" y="0"/>
                  </a:cxn>
                  <a:cxn ang="0">
                    <a:pos x="0" y="491"/>
                  </a:cxn>
                  <a:cxn ang="0">
                    <a:pos x="448" y="569"/>
                  </a:cxn>
                  <a:cxn ang="0">
                    <a:pos x="434" y="0"/>
                  </a:cxn>
                  <a:cxn ang="0">
                    <a:pos x="434" y="0"/>
                  </a:cxn>
                </a:cxnLst>
                <a:rect l="0" t="0" r="r" b="b"/>
                <a:pathLst>
                  <a:path w="448" h="569">
                    <a:moveTo>
                      <a:pt x="434" y="0"/>
                    </a:moveTo>
                    <a:lnTo>
                      <a:pt x="0" y="491"/>
                    </a:lnTo>
                    <a:lnTo>
                      <a:pt x="448" y="569"/>
                    </a:lnTo>
                    <a:lnTo>
                      <a:pt x="434" y="0"/>
                    </a:lnTo>
                    <a:lnTo>
                      <a:pt x="434"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75" name="Freeform 252"/>
              <p:cNvSpPr>
                <a:spLocks/>
              </p:cNvSpPr>
              <p:nvPr userDrawn="1"/>
            </p:nvSpPr>
            <p:spPr bwMode="auto">
              <a:xfrm>
                <a:off x="9142413" y="2377152"/>
                <a:ext cx="763588" cy="1060450"/>
              </a:xfrm>
              <a:custGeom>
                <a:avLst/>
                <a:gdLst/>
                <a:ahLst/>
                <a:cxnLst>
                  <a:cxn ang="0">
                    <a:pos x="182" y="0"/>
                  </a:cxn>
                  <a:cxn ang="0">
                    <a:pos x="0" y="206"/>
                  </a:cxn>
                  <a:cxn ang="0">
                    <a:pos x="0" y="206"/>
                  </a:cxn>
                  <a:cxn ang="0">
                    <a:pos x="0" y="206"/>
                  </a:cxn>
                  <a:cxn ang="0">
                    <a:pos x="481" y="668"/>
                  </a:cxn>
                  <a:cxn ang="0">
                    <a:pos x="481" y="497"/>
                  </a:cxn>
                  <a:cxn ang="0">
                    <a:pos x="295" y="188"/>
                  </a:cxn>
                  <a:cxn ang="0">
                    <a:pos x="295" y="188"/>
                  </a:cxn>
                  <a:cxn ang="0">
                    <a:pos x="0" y="206"/>
                  </a:cxn>
                  <a:cxn ang="0">
                    <a:pos x="182" y="0"/>
                  </a:cxn>
                  <a:cxn ang="0">
                    <a:pos x="182" y="0"/>
                  </a:cxn>
                </a:cxnLst>
                <a:rect l="0" t="0" r="r" b="b"/>
                <a:pathLst>
                  <a:path w="481" h="668">
                    <a:moveTo>
                      <a:pt x="182" y="0"/>
                    </a:moveTo>
                    <a:lnTo>
                      <a:pt x="0" y="206"/>
                    </a:lnTo>
                    <a:lnTo>
                      <a:pt x="0" y="206"/>
                    </a:lnTo>
                    <a:lnTo>
                      <a:pt x="0" y="206"/>
                    </a:lnTo>
                    <a:lnTo>
                      <a:pt x="481" y="668"/>
                    </a:lnTo>
                    <a:lnTo>
                      <a:pt x="481" y="497"/>
                    </a:lnTo>
                    <a:lnTo>
                      <a:pt x="295" y="188"/>
                    </a:lnTo>
                    <a:lnTo>
                      <a:pt x="295" y="188"/>
                    </a:lnTo>
                    <a:lnTo>
                      <a:pt x="0" y="206"/>
                    </a:lnTo>
                    <a:lnTo>
                      <a:pt x="182" y="0"/>
                    </a:lnTo>
                    <a:lnTo>
                      <a:pt x="182" y="0"/>
                    </a:lnTo>
                    <a:close/>
                  </a:path>
                </a:pathLst>
              </a:custGeom>
              <a:gradFill flip="none" rotWithShape="1">
                <a:gsLst>
                  <a:gs pos="8000">
                    <a:srgbClr val="8D516F"/>
                  </a:gs>
                  <a:gs pos="100000">
                    <a:srgbClr val="9D6182">
                      <a:alpha val="70000"/>
                    </a:srgbClr>
                  </a:gs>
                </a:gsLst>
                <a:lin ang="126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76" name="Freeform 254"/>
              <p:cNvSpPr>
                <a:spLocks/>
              </p:cNvSpPr>
              <p:nvPr userDrawn="1"/>
            </p:nvSpPr>
            <p:spPr bwMode="auto">
              <a:xfrm>
                <a:off x="8197850" y="1773902"/>
                <a:ext cx="873125" cy="19050"/>
              </a:xfrm>
              <a:custGeom>
                <a:avLst/>
                <a:gdLst/>
                <a:ahLst/>
                <a:cxnLst>
                  <a:cxn ang="0">
                    <a:pos x="550" y="0"/>
                  </a:cxn>
                  <a:cxn ang="0">
                    <a:pos x="0" y="12"/>
                  </a:cxn>
                  <a:cxn ang="0">
                    <a:pos x="550" y="0"/>
                  </a:cxn>
                  <a:cxn ang="0">
                    <a:pos x="550" y="0"/>
                  </a:cxn>
                </a:cxnLst>
                <a:rect l="0" t="0" r="r" b="b"/>
                <a:pathLst>
                  <a:path w="550" h="12">
                    <a:moveTo>
                      <a:pt x="550" y="0"/>
                    </a:moveTo>
                    <a:lnTo>
                      <a:pt x="0" y="12"/>
                    </a:lnTo>
                    <a:lnTo>
                      <a:pt x="550" y="0"/>
                    </a:lnTo>
                    <a:lnTo>
                      <a:pt x="550" y="0"/>
                    </a:lnTo>
                    <a:close/>
                  </a:path>
                </a:pathLst>
              </a:custGeom>
              <a:gradFill>
                <a:gsLst>
                  <a:gs pos="0">
                    <a:srgbClr val="8E516E"/>
                  </a:gs>
                  <a:gs pos="31000">
                    <a:srgbClr val="95414F">
                      <a:alpha val="56000"/>
                    </a:srgbClr>
                  </a:gs>
                  <a:gs pos="95000">
                    <a:srgbClr val="8E516E"/>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77" name="Freeform 255"/>
              <p:cNvSpPr>
                <a:spLocks/>
              </p:cNvSpPr>
              <p:nvPr userDrawn="1"/>
            </p:nvSpPr>
            <p:spPr bwMode="auto">
              <a:xfrm>
                <a:off x="8197850" y="1773902"/>
                <a:ext cx="873125" cy="19050"/>
              </a:xfrm>
              <a:custGeom>
                <a:avLst/>
                <a:gdLst/>
                <a:ahLst/>
                <a:cxnLst>
                  <a:cxn ang="0">
                    <a:pos x="550" y="0"/>
                  </a:cxn>
                  <a:cxn ang="0">
                    <a:pos x="0" y="12"/>
                  </a:cxn>
                  <a:cxn ang="0">
                    <a:pos x="550" y="0"/>
                  </a:cxn>
                  <a:cxn ang="0">
                    <a:pos x="550" y="0"/>
                  </a:cxn>
                </a:cxnLst>
                <a:rect l="0" t="0" r="r" b="b"/>
                <a:pathLst>
                  <a:path w="550" h="12">
                    <a:moveTo>
                      <a:pt x="550" y="0"/>
                    </a:moveTo>
                    <a:lnTo>
                      <a:pt x="0" y="12"/>
                    </a:lnTo>
                    <a:lnTo>
                      <a:pt x="550" y="0"/>
                    </a:lnTo>
                    <a:lnTo>
                      <a:pt x="550" y="0"/>
                    </a:lnTo>
                  </a:path>
                </a:pathLst>
              </a:custGeom>
              <a:gradFill>
                <a:gsLst>
                  <a:gs pos="0">
                    <a:srgbClr val="8E516E"/>
                  </a:gs>
                  <a:gs pos="31000">
                    <a:srgbClr val="95414F">
                      <a:alpha val="56000"/>
                    </a:srgbClr>
                  </a:gs>
                  <a:gs pos="95000">
                    <a:srgbClr val="8E516E"/>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78" name="Freeform 256"/>
              <p:cNvSpPr>
                <a:spLocks/>
              </p:cNvSpPr>
              <p:nvPr userDrawn="1"/>
            </p:nvSpPr>
            <p:spPr bwMode="auto">
              <a:xfrm>
                <a:off x="9431338" y="2377152"/>
                <a:ext cx="179388" cy="298450"/>
              </a:xfrm>
              <a:custGeom>
                <a:avLst/>
                <a:gdLst/>
                <a:ahLst/>
                <a:cxnLst>
                  <a:cxn ang="0">
                    <a:pos x="0" y="0"/>
                  </a:cxn>
                  <a:cxn ang="0">
                    <a:pos x="0" y="0"/>
                  </a:cxn>
                  <a:cxn ang="0">
                    <a:pos x="113" y="188"/>
                  </a:cxn>
                  <a:cxn ang="0">
                    <a:pos x="113" y="188"/>
                  </a:cxn>
                  <a:cxn ang="0">
                    <a:pos x="0" y="0"/>
                  </a:cxn>
                </a:cxnLst>
                <a:rect l="0" t="0" r="r" b="b"/>
                <a:pathLst>
                  <a:path w="113" h="188">
                    <a:moveTo>
                      <a:pt x="0" y="0"/>
                    </a:moveTo>
                    <a:lnTo>
                      <a:pt x="0" y="0"/>
                    </a:lnTo>
                    <a:lnTo>
                      <a:pt x="113" y="188"/>
                    </a:lnTo>
                    <a:lnTo>
                      <a:pt x="113" y="188"/>
                    </a:lnTo>
                    <a:lnTo>
                      <a:pt x="0" y="0"/>
                    </a:lnTo>
                    <a:close/>
                  </a:path>
                </a:pathLst>
              </a:custGeom>
              <a:gradFill>
                <a:gsLst>
                  <a:gs pos="0">
                    <a:srgbClr val="8E516E"/>
                  </a:gs>
                  <a:gs pos="31000">
                    <a:srgbClr val="95414F">
                      <a:alpha val="56000"/>
                    </a:srgbClr>
                  </a:gs>
                  <a:gs pos="95000">
                    <a:srgbClr val="8E516E"/>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79" name="Freeform 257"/>
              <p:cNvSpPr>
                <a:spLocks/>
              </p:cNvSpPr>
              <p:nvPr userDrawn="1"/>
            </p:nvSpPr>
            <p:spPr bwMode="auto">
              <a:xfrm>
                <a:off x="9431338" y="2377152"/>
                <a:ext cx="179388" cy="298450"/>
              </a:xfrm>
              <a:custGeom>
                <a:avLst/>
                <a:gdLst/>
                <a:ahLst/>
                <a:cxnLst>
                  <a:cxn ang="0">
                    <a:pos x="0" y="0"/>
                  </a:cxn>
                  <a:cxn ang="0">
                    <a:pos x="0" y="0"/>
                  </a:cxn>
                  <a:cxn ang="0">
                    <a:pos x="113" y="188"/>
                  </a:cxn>
                  <a:cxn ang="0">
                    <a:pos x="113" y="188"/>
                  </a:cxn>
                  <a:cxn ang="0">
                    <a:pos x="0" y="0"/>
                  </a:cxn>
                </a:cxnLst>
                <a:rect l="0" t="0" r="r" b="b"/>
                <a:pathLst>
                  <a:path w="113" h="188">
                    <a:moveTo>
                      <a:pt x="0" y="0"/>
                    </a:moveTo>
                    <a:lnTo>
                      <a:pt x="0" y="0"/>
                    </a:lnTo>
                    <a:lnTo>
                      <a:pt x="113" y="188"/>
                    </a:lnTo>
                    <a:lnTo>
                      <a:pt x="113" y="188"/>
                    </a:lnTo>
                    <a:lnTo>
                      <a:pt x="0" y="0"/>
                    </a:lnTo>
                  </a:path>
                </a:pathLst>
              </a:custGeom>
              <a:gradFill>
                <a:gsLst>
                  <a:gs pos="0">
                    <a:srgbClr val="8E516E"/>
                  </a:gs>
                  <a:gs pos="31000">
                    <a:srgbClr val="95414F">
                      <a:alpha val="56000"/>
                    </a:srgbClr>
                  </a:gs>
                  <a:gs pos="95000">
                    <a:srgbClr val="8E516E"/>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80" name="Freeform 258"/>
              <p:cNvSpPr>
                <a:spLocks/>
              </p:cNvSpPr>
              <p:nvPr userDrawn="1"/>
            </p:nvSpPr>
            <p:spPr bwMode="auto">
              <a:xfrm>
                <a:off x="9431338" y="1843752"/>
                <a:ext cx="474663" cy="831850"/>
              </a:xfrm>
              <a:custGeom>
                <a:avLst/>
                <a:gdLst/>
                <a:ahLst/>
                <a:cxnLst>
                  <a:cxn ang="0">
                    <a:pos x="299" y="0"/>
                  </a:cxn>
                  <a:cxn ang="0">
                    <a:pos x="299" y="0"/>
                  </a:cxn>
                  <a:cxn ang="0">
                    <a:pos x="0" y="336"/>
                  </a:cxn>
                  <a:cxn ang="0">
                    <a:pos x="113" y="524"/>
                  </a:cxn>
                  <a:cxn ang="0">
                    <a:pos x="299" y="67"/>
                  </a:cxn>
                  <a:cxn ang="0">
                    <a:pos x="299" y="0"/>
                  </a:cxn>
                </a:cxnLst>
                <a:rect l="0" t="0" r="r" b="b"/>
                <a:pathLst>
                  <a:path w="299" h="524">
                    <a:moveTo>
                      <a:pt x="299" y="0"/>
                    </a:moveTo>
                    <a:lnTo>
                      <a:pt x="299" y="0"/>
                    </a:lnTo>
                    <a:lnTo>
                      <a:pt x="0" y="336"/>
                    </a:lnTo>
                    <a:lnTo>
                      <a:pt x="113" y="524"/>
                    </a:lnTo>
                    <a:lnTo>
                      <a:pt x="299" y="67"/>
                    </a:lnTo>
                    <a:lnTo>
                      <a:pt x="299" y="0"/>
                    </a:lnTo>
                    <a:close/>
                  </a:path>
                </a:pathLst>
              </a:custGeom>
              <a:gradFill flip="none" rotWithShape="1">
                <a:gsLst>
                  <a:gs pos="0">
                    <a:srgbClr val="77445E">
                      <a:alpha val="90000"/>
                    </a:srgbClr>
                  </a:gs>
                  <a:gs pos="100000">
                    <a:srgbClr val="9D6182">
                      <a:alpha val="49000"/>
                    </a:srgbClr>
                  </a:gs>
                </a:gsLst>
                <a:lin ang="126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81" name="Freeform 260"/>
              <p:cNvSpPr>
                <a:spLocks/>
              </p:cNvSpPr>
              <p:nvPr userDrawn="1"/>
            </p:nvSpPr>
            <p:spPr bwMode="auto">
              <a:xfrm>
                <a:off x="9142413" y="2377152"/>
                <a:ext cx="468313" cy="327025"/>
              </a:xfrm>
              <a:custGeom>
                <a:avLst/>
                <a:gdLst/>
                <a:ahLst/>
                <a:cxnLst>
                  <a:cxn ang="0">
                    <a:pos x="182" y="0"/>
                  </a:cxn>
                  <a:cxn ang="0">
                    <a:pos x="0" y="206"/>
                  </a:cxn>
                  <a:cxn ang="0">
                    <a:pos x="295" y="188"/>
                  </a:cxn>
                  <a:cxn ang="0">
                    <a:pos x="295" y="188"/>
                  </a:cxn>
                  <a:cxn ang="0">
                    <a:pos x="182" y="0"/>
                  </a:cxn>
                </a:cxnLst>
                <a:rect l="0" t="0" r="r" b="b"/>
                <a:pathLst>
                  <a:path w="295" h="206">
                    <a:moveTo>
                      <a:pt x="182" y="0"/>
                    </a:moveTo>
                    <a:lnTo>
                      <a:pt x="0" y="206"/>
                    </a:lnTo>
                    <a:lnTo>
                      <a:pt x="295" y="188"/>
                    </a:lnTo>
                    <a:lnTo>
                      <a:pt x="295" y="188"/>
                    </a:lnTo>
                    <a:lnTo>
                      <a:pt x="182" y="0"/>
                    </a:lnTo>
                    <a:close/>
                  </a:path>
                </a:pathLst>
              </a:custGeom>
              <a:solidFill>
                <a:srgbClr val="77445E"/>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82" name="Freeform 262"/>
              <p:cNvSpPr>
                <a:spLocks/>
              </p:cNvSpPr>
              <p:nvPr userDrawn="1"/>
            </p:nvSpPr>
            <p:spPr bwMode="auto">
              <a:xfrm>
                <a:off x="9070975" y="1758027"/>
                <a:ext cx="835025" cy="387350"/>
              </a:xfrm>
              <a:custGeom>
                <a:avLst/>
                <a:gdLst/>
                <a:ahLst/>
                <a:cxnLst>
                  <a:cxn ang="0">
                    <a:pos x="526" y="0"/>
                  </a:cxn>
                  <a:cxn ang="0">
                    <a:pos x="0" y="10"/>
                  </a:cxn>
                  <a:cxn ang="0">
                    <a:pos x="0" y="10"/>
                  </a:cxn>
                  <a:cxn ang="0">
                    <a:pos x="140" y="244"/>
                  </a:cxn>
                  <a:cxn ang="0">
                    <a:pos x="526" y="26"/>
                  </a:cxn>
                  <a:cxn ang="0">
                    <a:pos x="526" y="0"/>
                  </a:cxn>
                </a:cxnLst>
                <a:rect l="0" t="0" r="r" b="b"/>
                <a:pathLst>
                  <a:path w="526" h="244">
                    <a:moveTo>
                      <a:pt x="526" y="0"/>
                    </a:moveTo>
                    <a:lnTo>
                      <a:pt x="0" y="10"/>
                    </a:lnTo>
                    <a:lnTo>
                      <a:pt x="0" y="10"/>
                    </a:lnTo>
                    <a:lnTo>
                      <a:pt x="140" y="244"/>
                    </a:lnTo>
                    <a:lnTo>
                      <a:pt x="526" y="26"/>
                    </a:lnTo>
                    <a:lnTo>
                      <a:pt x="526" y="0"/>
                    </a:lnTo>
                    <a:close/>
                  </a:path>
                </a:pathLst>
              </a:custGeom>
              <a:solidFill>
                <a:srgbClr val="AE8399"/>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83" name="Freeform 264"/>
              <p:cNvSpPr>
                <a:spLocks noEditPoints="1"/>
              </p:cNvSpPr>
              <p:nvPr userDrawn="1"/>
            </p:nvSpPr>
            <p:spPr bwMode="auto">
              <a:xfrm>
                <a:off x="8197850" y="1773902"/>
                <a:ext cx="873125" cy="19050"/>
              </a:xfrm>
              <a:custGeom>
                <a:avLst/>
                <a:gdLst/>
                <a:ahLst/>
                <a:cxnLst>
                  <a:cxn ang="0">
                    <a:pos x="0" y="12"/>
                  </a:cxn>
                  <a:cxn ang="0">
                    <a:pos x="0" y="12"/>
                  </a:cxn>
                  <a:cxn ang="0">
                    <a:pos x="550" y="0"/>
                  </a:cxn>
                  <a:cxn ang="0">
                    <a:pos x="550" y="0"/>
                  </a:cxn>
                  <a:cxn ang="0">
                    <a:pos x="550" y="0"/>
                  </a:cxn>
                  <a:cxn ang="0">
                    <a:pos x="550" y="0"/>
                  </a:cxn>
                  <a:cxn ang="0">
                    <a:pos x="550" y="0"/>
                  </a:cxn>
                </a:cxnLst>
                <a:rect l="0" t="0" r="r" b="b"/>
                <a:pathLst>
                  <a:path w="550" h="12">
                    <a:moveTo>
                      <a:pt x="0" y="12"/>
                    </a:moveTo>
                    <a:lnTo>
                      <a:pt x="0" y="12"/>
                    </a:lnTo>
                    <a:close/>
                    <a:moveTo>
                      <a:pt x="550" y="0"/>
                    </a:moveTo>
                    <a:lnTo>
                      <a:pt x="550" y="0"/>
                    </a:lnTo>
                    <a:lnTo>
                      <a:pt x="550" y="0"/>
                    </a:lnTo>
                    <a:lnTo>
                      <a:pt x="550" y="0"/>
                    </a:lnTo>
                    <a:lnTo>
                      <a:pt x="550" y="0"/>
                    </a:lnTo>
                    <a:close/>
                  </a:path>
                </a:pathLst>
              </a:custGeom>
              <a:gradFill>
                <a:gsLst>
                  <a:gs pos="0">
                    <a:srgbClr val="8E516E"/>
                  </a:gs>
                  <a:gs pos="31000">
                    <a:srgbClr val="95414F">
                      <a:alpha val="56000"/>
                    </a:srgbClr>
                  </a:gs>
                  <a:gs pos="95000">
                    <a:srgbClr val="8E516E"/>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84" name="Freeform 265"/>
              <p:cNvSpPr>
                <a:spLocks noEditPoints="1"/>
              </p:cNvSpPr>
              <p:nvPr userDrawn="1"/>
            </p:nvSpPr>
            <p:spPr bwMode="auto">
              <a:xfrm>
                <a:off x="8197850" y="1773902"/>
                <a:ext cx="873125" cy="19050"/>
              </a:xfrm>
              <a:custGeom>
                <a:avLst/>
                <a:gdLst/>
                <a:ahLst/>
                <a:cxnLst>
                  <a:cxn ang="0">
                    <a:pos x="0" y="12"/>
                  </a:cxn>
                  <a:cxn ang="0">
                    <a:pos x="0" y="12"/>
                  </a:cxn>
                  <a:cxn ang="0">
                    <a:pos x="550" y="0"/>
                  </a:cxn>
                  <a:cxn ang="0">
                    <a:pos x="550" y="0"/>
                  </a:cxn>
                  <a:cxn ang="0">
                    <a:pos x="550" y="0"/>
                  </a:cxn>
                  <a:cxn ang="0">
                    <a:pos x="550" y="0"/>
                  </a:cxn>
                  <a:cxn ang="0">
                    <a:pos x="550" y="0"/>
                  </a:cxn>
                </a:cxnLst>
                <a:rect l="0" t="0" r="r" b="b"/>
                <a:pathLst>
                  <a:path w="550" h="12">
                    <a:moveTo>
                      <a:pt x="0" y="12"/>
                    </a:moveTo>
                    <a:lnTo>
                      <a:pt x="0" y="12"/>
                    </a:lnTo>
                    <a:moveTo>
                      <a:pt x="550" y="0"/>
                    </a:moveTo>
                    <a:lnTo>
                      <a:pt x="550" y="0"/>
                    </a:lnTo>
                    <a:lnTo>
                      <a:pt x="550" y="0"/>
                    </a:lnTo>
                    <a:lnTo>
                      <a:pt x="550" y="0"/>
                    </a:lnTo>
                    <a:lnTo>
                      <a:pt x="550" y="0"/>
                    </a:lnTo>
                  </a:path>
                </a:pathLst>
              </a:custGeom>
              <a:gradFill>
                <a:gsLst>
                  <a:gs pos="0">
                    <a:srgbClr val="8E516E"/>
                  </a:gs>
                  <a:gs pos="31000">
                    <a:srgbClr val="95414F">
                      <a:alpha val="56000"/>
                    </a:srgbClr>
                  </a:gs>
                  <a:gs pos="95000">
                    <a:srgbClr val="8E516E"/>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85" name="Freeform 266"/>
              <p:cNvSpPr>
                <a:spLocks/>
              </p:cNvSpPr>
              <p:nvPr userDrawn="1"/>
            </p:nvSpPr>
            <p:spPr bwMode="auto">
              <a:xfrm>
                <a:off x="7856538" y="1792952"/>
                <a:ext cx="976313" cy="1160463"/>
              </a:xfrm>
              <a:custGeom>
                <a:avLst/>
                <a:gdLst/>
                <a:ahLst/>
                <a:cxnLst>
                  <a:cxn ang="0">
                    <a:pos x="215" y="0"/>
                  </a:cxn>
                  <a:cxn ang="0">
                    <a:pos x="215" y="0"/>
                  </a:cxn>
                  <a:cxn ang="0">
                    <a:pos x="0" y="731"/>
                  </a:cxn>
                  <a:cxn ang="0">
                    <a:pos x="615" y="384"/>
                  </a:cxn>
                  <a:cxn ang="0">
                    <a:pos x="215" y="0"/>
                  </a:cxn>
                </a:cxnLst>
                <a:rect l="0" t="0" r="r" b="b"/>
                <a:pathLst>
                  <a:path w="615" h="731">
                    <a:moveTo>
                      <a:pt x="215" y="0"/>
                    </a:moveTo>
                    <a:lnTo>
                      <a:pt x="215" y="0"/>
                    </a:lnTo>
                    <a:lnTo>
                      <a:pt x="0" y="731"/>
                    </a:lnTo>
                    <a:lnTo>
                      <a:pt x="615" y="384"/>
                    </a:lnTo>
                    <a:lnTo>
                      <a:pt x="215" y="0"/>
                    </a:lnTo>
                    <a:close/>
                  </a:path>
                </a:pathLst>
              </a:custGeom>
              <a:gradFill>
                <a:gsLst>
                  <a:gs pos="0">
                    <a:srgbClr val="8D516F">
                      <a:alpha val="64000"/>
                    </a:srgbClr>
                  </a:gs>
                  <a:gs pos="100000">
                    <a:srgbClr val="B58EA2">
                      <a:alpha val="52000"/>
                    </a:srgbClr>
                  </a:gs>
                </a:gsLst>
                <a:lin ang="126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86" name="Freeform 268"/>
              <p:cNvSpPr>
                <a:spLocks/>
              </p:cNvSpPr>
              <p:nvPr userDrawn="1"/>
            </p:nvSpPr>
            <p:spPr bwMode="auto">
              <a:xfrm>
                <a:off x="8197850" y="1773902"/>
                <a:ext cx="1095375" cy="628650"/>
              </a:xfrm>
              <a:custGeom>
                <a:avLst/>
                <a:gdLst/>
                <a:ahLst/>
                <a:cxnLst>
                  <a:cxn ang="0">
                    <a:pos x="550" y="0"/>
                  </a:cxn>
                  <a:cxn ang="0">
                    <a:pos x="0" y="12"/>
                  </a:cxn>
                  <a:cxn ang="0">
                    <a:pos x="400" y="396"/>
                  </a:cxn>
                  <a:cxn ang="0">
                    <a:pos x="690" y="234"/>
                  </a:cxn>
                  <a:cxn ang="0">
                    <a:pos x="550" y="0"/>
                  </a:cxn>
                </a:cxnLst>
                <a:rect l="0" t="0" r="r" b="b"/>
                <a:pathLst>
                  <a:path w="690" h="396">
                    <a:moveTo>
                      <a:pt x="550" y="0"/>
                    </a:moveTo>
                    <a:lnTo>
                      <a:pt x="0" y="12"/>
                    </a:lnTo>
                    <a:lnTo>
                      <a:pt x="400" y="396"/>
                    </a:lnTo>
                    <a:lnTo>
                      <a:pt x="690" y="234"/>
                    </a:lnTo>
                    <a:lnTo>
                      <a:pt x="550" y="0"/>
                    </a:lnTo>
                    <a:close/>
                  </a:path>
                </a:pathLst>
              </a:custGeom>
              <a:gradFill flip="none" rotWithShape="1">
                <a:gsLst>
                  <a:gs pos="8000">
                    <a:srgbClr val="8D516F"/>
                  </a:gs>
                  <a:gs pos="100000">
                    <a:srgbClr val="9D6182">
                      <a:alpha val="70000"/>
                    </a:srgbClr>
                  </a:gs>
                </a:gsLst>
                <a:lin ang="126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87" name="Freeform 270"/>
              <p:cNvSpPr>
                <a:spLocks/>
              </p:cNvSpPr>
              <p:nvPr userDrawn="1"/>
            </p:nvSpPr>
            <p:spPr bwMode="auto">
              <a:xfrm>
                <a:off x="8197850" y="1773902"/>
                <a:ext cx="873125" cy="19050"/>
              </a:xfrm>
              <a:custGeom>
                <a:avLst/>
                <a:gdLst/>
                <a:ahLst/>
                <a:cxnLst>
                  <a:cxn ang="0">
                    <a:pos x="550" y="0"/>
                  </a:cxn>
                  <a:cxn ang="0">
                    <a:pos x="0" y="12"/>
                  </a:cxn>
                  <a:cxn ang="0">
                    <a:pos x="550" y="0"/>
                  </a:cxn>
                  <a:cxn ang="0">
                    <a:pos x="550" y="0"/>
                  </a:cxn>
                </a:cxnLst>
                <a:rect l="0" t="0" r="r" b="b"/>
                <a:pathLst>
                  <a:path w="550" h="12">
                    <a:moveTo>
                      <a:pt x="550" y="0"/>
                    </a:moveTo>
                    <a:lnTo>
                      <a:pt x="0" y="12"/>
                    </a:lnTo>
                    <a:lnTo>
                      <a:pt x="550" y="0"/>
                    </a:lnTo>
                    <a:lnTo>
                      <a:pt x="550" y="0"/>
                    </a:lnTo>
                    <a:close/>
                  </a:path>
                </a:pathLst>
              </a:custGeom>
              <a:gradFill>
                <a:gsLst>
                  <a:gs pos="0">
                    <a:srgbClr val="8E516E"/>
                  </a:gs>
                  <a:gs pos="31000">
                    <a:srgbClr val="95414F">
                      <a:alpha val="56000"/>
                    </a:srgbClr>
                  </a:gs>
                  <a:gs pos="95000">
                    <a:srgbClr val="8E516E"/>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88" name="Freeform 271"/>
              <p:cNvSpPr>
                <a:spLocks/>
              </p:cNvSpPr>
              <p:nvPr userDrawn="1"/>
            </p:nvSpPr>
            <p:spPr bwMode="auto">
              <a:xfrm>
                <a:off x="8197850" y="1773902"/>
                <a:ext cx="873125" cy="19050"/>
              </a:xfrm>
              <a:custGeom>
                <a:avLst/>
                <a:gdLst/>
                <a:ahLst/>
                <a:cxnLst>
                  <a:cxn ang="0">
                    <a:pos x="550" y="0"/>
                  </a:cxn>
                  <a:cxn ang="0">
                    <a:pos x="0" y="12"/>
                  </a:cxn>
                  <a:cxn ang="0">
                    <a:pos x="550" y="0"/>
                  </a:cxn>
                  <a:cxn ang="0">
                    <a:pos x="550" y="0"/>
                  </a:cxn>
                </a:cxnLst>
                <a:rect l="0" t="0" r="r" b="b"/>
                <a:pathLst>
                  <a:path w="550" h="12">
                    <a:moveTo>
                      <a:pt x="550" y="0"/>
                    </a:moveTo>
                    <a:lnTo>
                      <a:pt x="0" y="12"/>
                    </a:lnTo>
                    <a:lnTo>
                      <a:pt x="550" y="0"/>
                    </a:lnTo>
                    <a:lnTo>
                      <a:pt x="550" y="0"/>
                    </a:lnTo>
                  </a:path>
                </a:pathLst>
              </a:custGeom>
              <a:gradFill>
                <a:gsLst>
                  <a:gs pos="0">
                    <a:srgbClr val="8E516E"/>
                  </a:gs>
                  <a:gs pos="31000">
                    <a:srgbClr val="95414F">
                      <a:alpha val="56000"/>
                    </a:srgbClr>
                  </a:gs>
                  <a:gs pos="95000">
                    <a:srgbClr val="8E516E"/>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89" name="Freeform 272"/>
              <p:cNvSpPr>
                <a:spLocks noEditPoints="1"/>
              </p:cNvSpPr>
              <p:nvPr userDrawn="1"/>
            </p:nvSpPr>
            <p:spPr bwMode="auto">
              <a:xfrm>
                <a:off x="8453438" y="1812002"/>
                <a:ext cx="1452563" cy="1671638"/>
              </a:xfrm>
              <a:custGeom>
                <a:avLst/>
                <a:gdLst/>
                <a:ahLst/>
                <a:cxnLst>
                  <a:cxn ang="0">
                    <a:pos x="0" y="1053"/>
                  </a:cxn>
                  <a:cxn ang="0">
                    <a:pos x="0" y="1053"/>
                  </a:cxn>
                  <a:cxn ang="0">
                    <a:pos x="0" y="1053"/>
                  </a:cxn>
                  <a:cxn ang="0">
                    <a:pos x="0" y="1053"/>
                  </a:cxn>
                  <a:cxn ang="0">
                    <a:pos x="915" y="0"/>
                  </a:cxn>
                  <a:cxn ang="0">
                    <a:pos x="557" y="255"/>
                  </a:cxn>
                  <a:cxn ang="0">
                    <a:pos x="616" y="356"/>
                  </a:cxn>
                  <a:cxn ang="0">
                    <a:pos x="915" y="20"/>
                  </a:cxn>
                  <a:cxn ang="0">
                    <a:pos x="915" y="0"/>
                  </a:cxn>
                </a:cxnLst>
                <a:rect l="0" t="0" r="r" b="b"/>
                <a:pathLst>
                  <a:path w="915" h="1053">
                    <a:moveTo>
                      <a:pt x="0" y="1053"/>
                    </a:moveTo>
                    <a:lnTo>
                      <a:pt x="0" y="1053"/>
                    </a:lnTo>
                    <a:lnTo>
                      <a:pt x="0" y="1053"/>
                    </a:lnTo>
                    <a:lnTo>
                      <a:pt x="0" y="1053"/>
                    </a:lnTo>
                    <a:close/>
                    <a:moveTo>
                      <a:pt x="915" y="0"/>
                    </a:moveTo>
                    <a:lnTo>
                      <a:pt x="557" y="255"/>
                    </a:lnTo>
                    <a:lnTo>
                      <a:pt x="616" y="356"/>
                    </a:lnTo>
                    <a:lnTo>
                      <a:pt x="915" y="20"/>
                    </a:lnTo>
                    <a:lnTo>
                      <a:pt x="915" y="0"/>
                    </a:lnTo>
                    <a:close/>
                  </a:path>
                </a:pathLst>
              </a:custGeom>
              <a:gradFill>
                <a:gsLst>
                  <a:gs pos="0">
                    <a:srgbClr val="8D516F">
                      <a:alpha val="64000"/>
                    </a:srgbClr>
                  </a:gs>
                  <a:gs pos="100000">
                    <a:srgbClr val="B58EA2">
                      <a:alpha val="52000"/>
                    </a:srgbClr>
                  </a:gs>
                </a:gsLst>
                <a:lin ang="126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90" name="Freeform 274"/>
              <p:cNvSpPr>
                <a:spLocks/>
              </p:cNvSpPr>
              <p:nvPr userDrawn="1"/>
            </p:nvSpPr>
            <p:spPr bwMode="auto">
              <a:xfrm>
                <a:off x="8148638" y="3483640"/>
                <a:ext cx="304800" cy="339725"/>
              </a:xfrm>
              <a:custGeom>
                <a:avLst/>
                <a:gdLst/>
                <a:ahLst/>
                <a:cxnLst>
                  <a:cxn ang="0">
                    <a:pos x="192" y="0"/>
                  </a:cxn>
                  <a:cxn ang="0">
                    <a:pos x="0" y="214"/>
                  </a:cxn>
                  <a:cxn ang="0">
                    <a:pos x="192" y="0"/>
                  </a:cxn>
                  <a:cxn ang="0">
                    <a:pos x="192" y="0"/>
                  </a:cxn>
                  <a:cxn ang="0">
                    <a:pos x="192" y="0"/>
                  </a:cxn>
                </a:cxnLst>
                <a:rect l="0" t="0" r="r" b="b"/>
                <a:pathLst>
                  <a:path w="192" h="214">
                    <a:moveTo>
                      <a:pt x="192" y="0"/>
                    </a:moveTo>
                    <a:lnTo>
                      <a:pt x="0" y="214"/>
                    </a:lnTo>
                    <a:lnTo>
                      <a:pt x="192" y="0"/>
                    </a:lnTo>
                    <a:lnTo>
                      <a:pt x="192" y="0"/>
                    </a:lnTo>
                    <a:lnTo>
                      <a:pt x="192" y="0"/>
                    </a:lnTo>
                    <a:close/>
                  </a:path>
                </a:pathLst>
              </a:custGeom>
              <a:solidFill>
                <a:srgbClr val="25000B"/>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91" name="Freeform 275"/>
              <p:cNvSpPr>
                <a:spLocks/>
              </p:cNvSpPr>
              <p:nvPr userDrawn="1"/>
            </p:nvSpPr>
            <p:spPr bwMode="auto">
              <a:xfrm>
                <a:off x="8148638" y="3483640"/>
                <a:ext cx="304800" cy="339725"/>
              </a:xfrm>
              <a:custGeom>
                <a:avLst/>
                <a:gdLst/>
                <a:ahLst/>
                <a:cxnLst>
                  <a:cxn ang="0">
                    <a:pos x="192" y="0"/>
                  </a:cxn>
                  <a:cxn ang="0">
                    <a:pos x="0" y="214"/>
                  </a:cxn>
                  <a:cxn ang="0">
                    <a:pos x="192" y="0"/>
                  </a:cxn>
                  <a:cxn ang="0">
                    <a:pos x="192" y="0"/>
                  </a:cxn>
                  <a:cxn ang="0">
                    <a:pos x="192" y="0"/>
                  </a:cxn>
                </a:cxnLst>
                <a:rect l="0" t="0" r="r" b="b"/>
                <a:pathLst>
                  <a:path w="192" h="214">
                    <a:moveTo>
                      <a:pt x="192" y="0"/>
                    </a:moveTo>
                    <a:lnTo>
                      <a:pt x="0" y="214"/>
                    </a:lnTo>
                    <a:lnTo>
                      <a:pt x="192" y="0"/>
                    </a:lnTo>
                    <a:lnTo>
                      <a:pt x="192" y="0"/>
                    </a:lnTo>
                    <a:lnTo>
                      <a:pt x="192"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92" name="Freeform 276"/>
              <p:cNvSpPr>
                <a:spLocks/>
              </p:cNvSpPr>
              <p:nvPr userDrawn="1"/>
            </p:nvSpPr>
            <p:spPr bwMode="auto">
              <a:xfrm>
                <a:off x="7737475" y="3358227"/>
                <a:ext cx="715963" cy="465138"/>
              </a:xfrm>
              <a:custGeom>
                <a:avLst/>
                <a:gdLst/>
                <a:ahLst/>
                <a:cxnLst>
                  <a:cxn ang="0">
                    <a:pos x="0" y="0"/>
                  </a:cxn>
                  <a:cxn ang="0">
                    <a:pos x="259" y="293"/>
                  </a:cxn>
                  <a:cxn ang="0">
                    <a:pos x="451" y="79"/>
                  </a:cxn>
                  <a:cxn ang="0">
                    <a:pos x="0" y="0"/>
                  </a:cxn>
                </a:cxnLst>
                <a:rect l="0" t="0" r="r" b="b"/>
                <a:pathLst>
                  <a:path w="451" h="293">
                    <a:moveTo>
                      <a:pt x="0" y="0"/>
                    </a:moveTo>
                    <a:lnTo>
                      <a:pt x="259" y="293"/>
                    </a:lnTo>
                    <a:lnTo>
                      <a:pt x="451" y="79"/>
                    </a:lnTo>
                    <a:lnTo>
                      <a:pt x="0" y="0"/>
                    </a:lnTo>
                    <a:close/>
                  </a:path>
                </a:pathLst>
              </a:custGeom>
              <a:solidFill>
                <a:srgbClr val="77445E"/>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93" name="Freeform 277"/>
              <p:cNvSpPr>
                <a:spLocks/>
              </p:cNvSpPr>
              <p:nvPr userDrawn="1"/>
            </p:nvSpPr>
            <p:spPr bwMode="auto">
              <a:xfrm>
                <a:off x="7737475" y="3358227"/>
                <a:ext cx="715963" cy="465138"/>
              </a:xfrm>
              <a:custGeom>
                <a:avLst/>
                <a:gdLst/>
                <a:ahLst/>
                <a:cxnLst>
                  <a:cxn ang="0">
                    <a:pos x="0" y="0"/>
                  </a:cxn>
                  <a:cxn ang="0">
                    <a:pos x="259" y="293"/>
                  </a:cxn>
                  <a:cxn ang="0">
                    <a:pos x="451" y="79"/>
                  </a:cxn>
                  <a:cxn ang="0">
                    <a:pos x="0" y="0"/>
                  </a:cxn>
                </a:cxnLst>
                <a:rect l="0" t="0" r="r" b="b"/>
                <a:pathLst>
                  <a:path w="451" h="293">
                    <a:moveTo>
                      <a:pt x="0" y="0"/>
                    </a:moveTo>
                    <a:lnTo>
                      <a:pt x="259" y="293"/>
                    </a:lnTo>
                    <a:lnTo>
                      <a:pt x="451" y="79"/>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94" name="Freeform 278"/>
              <p:cNvSpPr>
                <a:spLocks/>
              </p:cNvSpPr>
              <p:nvPr userDrawn="1"/>
            </p:nvSpPr>
            <p:spPr bwMode="auto">
              <a:xfrm>
                <a:off x="7737475" y="2504152"/>
                <a:ext cx="1404938" cy="979488"/>
              </a:xfrm>
              <a:custGeom>
                <a:avLst/>
                <a:gdLst/>
                <a:ahLst/>
                <a:cxnLst>
                  <a:cxn ang="0">
                    <a:pos x="755" y="0"/>
                  </a:cxn>
                  <a:cxn ang="0">
                    <a:pos x="0" y="538"/>
                  </a:cxn>
                  <a:cxn ang="0">
                    <a:pos x="451" y="617"/>
                  </a:cxn>
                  <a:cxn ang="0">
                    <a:pos x="451" y="617"/>
                  </a:cxn>
                  <a:cxn ang="0">
                    <a:pos x="451" y="617"/>
                  </a:cxn>
                  <a:cxn ang="0">
                    <a:pos x="451" y="617"/>
                  </a:cxn>
                  <a:cxn ang="0">
                    <a:pos x="885" y="126"/>
                  </a:cxn>
                  <a:cxn ang="0">
                    <a:pos x="755" y="0"/>
                  </a:cxn>
                </a:cxnLst>
                <a:rect l="0" t="0" r="r" b="b"/>
                <a:pathLst>
                  <a:path w="885" h="617">
                    <a:moveTo>
                      <a:pt x="755" y="0"/>
                    </a:moveTo>
                    <a:lnTo>
                      <a:pt x="0" y="538"/>
                    </a:lnTo>
                    <a:lnTo>
                      <a:pt x="451" y="617"/>
                    </a:lnTo>
                    <a:lnTo>
                      <a:pt x="451" y="617"/>
                    </a:lnTo>
                    <a:lnTo>
                      <a:pt x="451" y="617"/>
                    </a:lnTo>
                    <a:lnTo>
                      <a:pt x="451" y="617"/>
                    </a:lnTo>
                    <a:lnTo>
                      <a:pt x="885" y="126"/>
                    </a:lnTo>
                    <a:lnTo>
                      <a:pt x="755" y="0"/>
                    </a:lnTo>
                    <a:close/>
                  </a:path>
                </a:pathLst>
              </a:custGeom>
              <a:gradFill flip="none" rotWithShape="1">
                <a:gsLst>
                  <a:gs pos="8000">
                    <a:srgbClr val="723855">
                      <a:alpha val="49000"/>
                    </a:srgbClr>
                  </a:gs>
                  <a:gs pos="100000">
                    <a:srgbClr val="9D6182">
                      <a:alpha val="70000"/>
                    </a:srgbClr>
                  </a:gs>
                </a:gsLst>
                <a:lin ang="126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95" name="Freeform 280"/>
              <p:cNvSpPr>
                <a:spLocks/>
              </p:cNvSpPr>
              <p:nvPr userDrawn="1"/>
            </p:nvSpPr>
            <p:spPr bwMode="auto">
              <a:xfrm>
                <a:off x="7737475" y="3358227"/>
                <a:ext cx="715963" cy="125413"/>
              </a:xfrm>
              <a:custGeom>
                <a:avLst/>
                <a:gdLst/>
                <a:ahLst/>
                <a:cxnLst>
                  <a:cxn ang="0">
                    <a:pos x="0" y="0"/>
                  </a:cxn>
                  <a:cxn ang="0">
                    <a:pos x="0" y="0"/>
                  </a:cxn>
                  <a:cxn ang="0">
                    <a:pos x="451" y="79"/>
                  </a:cxn>
                  <a:cxn ang="0">
                    <a:pos x="451" y="79"/>
                  </a:cxn>
                  <a:cxn ang="0">
                    <a:pos x="0" y="0"/>
                  </a:cxn>
                </a:cxnLst>
                <a:rect l="0" t="0" r="r" b="b"/>
                <a:pathLst>
                  <a:path w="451" h="79">
                    <a:moveTo>
                      <a:pt x="0" y="0"/>
                    </a:moveTo>
                    <a:lnTo>
                      <a:pt x="0" y="0"/>
                    </a:lnTo>
                    <a:lnTo>
                      <a:pt x="451" y="79"/>
                    </a:lnTo>
                    <a:lnTo>
                      <a:pt x="451" y="79"/>
                    </a:lnTo>
                    <a:lnTo>
                      <a:pt x="0" y="0"/>
                    </a:lnTo>
                    <a:close/>
                  </a:path>
                </a:pathLst>
              </a:custGeom>
              <a:gradFill>
                <a:gsLst>
                  <a:gs pos="0">
                    <a:srgbClr val="8E516E"/>
                  </a:gs>
                  <a:gs pos="31000">
                    <a:srgbClr val="95414F">
                      <a:alpha val="56000"/>
                    </a:srgbClr>
                  </a:gs>
                  <a:gs pos="95000">
                    <a:srgbClr val="8E516E"/>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96" name="Freeform 281"/>
              <p:cNvSpPr>
                <a:spLocks/>
              </p:cNvSpPr>
              <p:nvPr userDrawn="1"/>
            </p:nvSpPr>
            <p:spPr bwMode="auto">
              <a:xfrm>
                <a:off x="7737475" y="3358227"/>
                <a:ext cx="715963" cy="125413"/>
              </a:xfrm>
              <a:custGeom>
                <a:avLst/>
                <a:gdLst/>
                <a:ahLst/>
                <a:cxnLst>
                  <a:cxn ang="0">
                    <a:pos x="0" y="0"/>
                  </a:cxn>
                  <a:cxn ang="0">
                    <a:pos x="0" y="0"/>
                  </a:cxn>
                  <a:cxn ang="0">
                    <a:pos x="451" y="79"/>
                  </a:cxn>
                  <a:cxn ang="0">
                    <a:pos x="451" y="79"/>
                  </a:cxn>
                  <a:cxn ang="0">
                    <a:pos x="0" y="0"/>
                  </a:cxn>
                </a:cxnLst>
                <a:rect l="0" t="0" r="r" b="b"/>
                <a:pathLst>
                  <a:path w="451" h="79">
                    <a:moveTo>
                      <a:pt x="0" y="0"/>
                    </a:moveTo>
                    <a:lnTo>
                      <a:pt x="0" y="0"/>
                    </a:lnTo>
                    <a:lnTo>
                      <a:pt x="451" y="79"/>
                    </a:lnTo>
                    <a:lnTo>
                      <a:pt x="451" y="79"/>
                    </a:lnTo>
                    <a:lnTo>
                      <a:pt x="0" y="0"/>
                    </a:lnTo>
                  </a:path>
                </a:pathLst>
              </a:custGeom>
              <a:gradFill>
                <a:gsLst>
                  <a:gs pos="0">
                    <a:srgbClr val="8E516E"/>
                  </a:gs>
                  <a:gs pos="31000">
                    <a:srgbClr val="95414F">
                      <a:alpha val="56000"/>
                    </a:srgbClr>
                  </a:gs>
                  <a:gs pos="95000">
                    <a:srgbClr val="8E516E"/>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97" name="Freeform 282"/>
              <p:cNvSpPr>
                <a:spLocks/>
              </p:cNvSpPr>
              <p:nvPr userDrawn="1"/>
            </p:nvSpPr>
            <p:spPr bwMode="auto">
              <a:xfrm>
                <a:off x="8936038" y="2216815"/>
                <a:ext cx="495300" cy="487363"/>
              </a:xfrm>
              <a:custGeom>
                <a:avLst/>
                <a:gdLst/>
                <a:ahLst/>
                <a:cxnLst>
                  <a:cxn ang="0">
                    <a:pos x="253" y="0"/>
                  </a:cxn>
                  <a:cxn ang="0">
                    <a:pos x="0" y="181"/>
                  </a:cxn>
                  <a:cxn ang="0">
                    <a:pos x="130" y="307"/>
                  </a:cxn>
                  <a:cxn ang="0">
                    <a:pos x="312" y="101"/>
                  </a:cxn>
                  <a:cxn ang="0">
                    <a:pos x="253" y="0"/>
                  </a:cxn>
                </a:cxnLst>
                <a:rect l="0" t="0" r="r" b="b"/>
                <a:pathLst>
                  <a:path w="312" h="307">
                    <a:moveTo>
                      <a:pt x="253" y="0"/>
                    </a:moveTo>
                    <a:lnTo>
                      <a:pt x="0" y="181"/>
                    </a:lnTo>
                    <a:lnTo>
                      <a:pt x="130" y="307"/>
                    </a:lnTo>
                    <a:lnTo>
                      <a:pt x="312" y="101"/>
                    </a:lnTo>
                    <a:lnTo>
                      <a:pt x="253" y="0"/>
                    </a:lnTo>
                    <a:close/>
                  </a:path>
                </a:pathLst>
              </a:custGeom>
              <a:gradFill flip="none" rotWithShape="1">
                <a:gsLst>
                  <a:gs pos="8000">
                    <a:srgbClr val="8D516F"/>
                  </a:gs>
                  <a:gs pos="100000">
                    <a:srgbClr val="9D6182">
                      <a:alpha val="70000"/>
                    </a:srgbClr>
                  </a:gs>
                </a:gsLst>
                <a:lin ang="126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98" name="Freeform 284"/>
              <p:cNvSpPr>
                <a:spLocks/>
              </p:cNvSpPr>
              <p:nvPr userDrawn="1"/>
            </p:nvSpPr>
            <p:spPr bwMode="auto">
              <a:xfrm>
                <a:off x="7134225" y="2953415"/>
                <a:ext cx="722313" cy="404813"/>
              </a:xfrm>
              <a:custGeom>
                <a:avLst/>
                <a:gdLst/>
                <a:ahLst/>
                <a:cxnLst>
                  <a:cxn ang="0">
                    <a:pos x="455" y="0"/>
                  </a:cxn>
                  <a:cxn ang="0">
                    <a:pos x="0" y="255"/>
                  </a:cxn>
                  <a:cxn ang="0">
                    <a:pos x="380" y="255"/>
                  </a:cxn>
                  <a:cxn ang="0">
                    <a:pos x="455" y="0"/>
                  </a:cxn>
                </a:cxnLst>
                <a:rect l="0" t="0" r="r" b="b"/>
                <a:pathLst>
                  <a:path w="455" h="255">
                    <a:moveTo>
                      <a:pt x="455" y="0"/>
                    </a:moveTo>
                    <a:lnTo>
                      <a:pt x="0" y="255"/>
                    </a:lnTo>
                    <a:lnTo>
                      <a:pt x="380" y="255"/>
                    </a:lnTo>
                    <a:lnTo>
                      <a:pt x="455" y="0"/>
                    </a:lnTo>
                    <a:close/>
                  </a:path>
                </a:pathLst>
              </a:custGeom>
              <a:solidFill>
                <a:srgbClr val="77445E"/>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99" name="Freeform 285"/>
              <p:cNvSpPr>
                <a:spLocks/>
              </p:cNvSpPr>
              <p:nvPr userDrawn="1"/>
            </p:nvSpPr>
            <p:spPr bwMode="auto">
              <a:xfrm>
                <a:off x="7134225" y="2953415"/>
                <a:ext cx="722313" cy="404813"/>
              </a:xfrm>
              <a:custGeom>
                <a:avLst/>
                <a:gdLst/>
                <a:ahLst/>
                <a:cxnLst>
                  <a:cxn ang="0">
                    <a:pos x="455" y="0"/>
                  </a:cxn>
                  <a:cxn ang="0">
                    <a:pos x="0" y="255"/>
                  </a:cxn>
                  <a:cxn ang="0">
                    <a:pos x="380" y="255"/>
                  </a:cxn>
                  <a:cxn ang="0">
                    <a:pos x="455" y="0"/>
                  </a:cxn>
                </a:cxnLst>
                <a:rect l="0" t="0" r="r" b="b"/>
                <a:pathLst>
                  <a:path w="455" h="255">
                    <a:moveTo>
                      <a:pt x="455" y="0"/>
                    </a:moveTo>
                    <a:lnTo>
                      <a:pt x="0" y="255"/>
                    </a:lnTo>
                    <a:lnTo>
                      <a:pt x="380" y="255"/>
                    </a:lnTo>
                    <a:lnTo>
                      <a:pt x="455"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00" name="Freeform 286"/>
              <p:cNvSpPr>
                <a:spLocks/>
              </p:cNvSpPr>
              <p:nvPr userDrawn="1"/>
            </p:nvSpPr>
            <p:spPr bwMode="auto">
              <a:xfrm>
                <a:off x="6921500" y="3358227"/>
                <a:ext cx="815975" cy="119063"/>
              </a:xfrm>
              <a:custGeom>
                <a:avLst/>
                <a:gdLst/>
                <a:ahLst/>
                <a:cxnLst>
                  <a:cxn ang="0">
                    <a:pos x="514" y="0"/>
                  </a:cxn>
                  <a:cxn ang="0">
                    <a:pos x="134" y="0"/>
                  </a:cxn>
                  <a:cxn ang="0">
                    <a:pos x="0" y="75"/>
                  </a:cxn>
                  <a:cxn ang="0">
                    <a:pos x="514" y="0"/>
                  </a:cxn>
                </a:cxnLst>
                <a:rect l="0" t="0" r="r" b="b"/>
                <a:pathLst>
                  <a:path w="514" h="75">
                    <a:moveTo>
                      <a:pt x="514" y="0"/>
                    </a:moveTo>
                    <a:lnTo>
                      <a:pt x="134" y="0"/>
                    </a:lnTo>
                    <a:lnTo>
                      <a:pt x="0" y="75"/>
                    </a:lnTo>
                    <a:lnTo>
                      <a:pt x="514" y="0"/>
                    </a:lnTo>
                    <a:close/>
                  </a:path>
                </a:pathLst>
              </a:custGeom>
              <a:solidFill>
                <a:srgbClr val="602A43"/>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01" name="Freeform 288"/>
              <p:cNvSpPr>
                <a:spLocks/>
              </p:cNvSpPr>
              <p:nvPr userDrawn="1"/>
            </p:nvSpPr>
            <p:spPr bwMode="auto">
              <a:xfrm>
                <a:off x="9293225" y="1799302"/>
                <a:ext cx="612775" cy="417513"/>
              </a:xfrm>
              <a:custGeom>
                <a:avLst/>
                <a:gdLst/>
                <a:ahLst/>
                <a:cxnLst>
                  <a:cxn ang="0">
                    <a:pos x="386" y="0"/>
                  </a:cxn>
                  <a:cxn ang="0">
                    <a:pos x="0" y="218"/>
                  </a:cxn>
                  <a:cxn ang="0">
                    <a:pos x="28" y="263"/>
                  </a:cxn>
                  <a:cxn ang="0">
                    <a:pos x="386" y="8"/>
                  </a:cxn>
                  <a:cxn ang="0">
                    <a:pos x="386" y="0"/>
                  </a:cxn>
                </a:cxnLst>
                <a:rect l="0" t="0" r="r" b="b"/>
                <a:pathLst>
                  <a:path w="386" h="263">
                    <a:moveTo>
                      <a:pt x="386" y="0"/>
                    </a:moveTo>
                    <a:lnTo>
                      <a:pt x="0" y="218"/>
                    </a:lnTo>
                    <a:lnTo>
                      <a:pt x="28" y="263"/>
                    </a:lnTo>
                    <a:lnTo>
                      <a:pt x="386" y="8"/>
                    </a:lnTo>
                    <a:lnTo>
                      <a:pt x="386" y="0"/>
                    </a:lnTo>
                    <a:close/>
                  </a:path>
                </a:pathLst>
              </a:custGeom>
              <a:solidFill>
                <a:srgbClr val="9D6182"/>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02" name="Freeform 290"/>
              <p:cNvSpPr>
                <a:spLocks/>
              </p:cNvSpPr>
              <p:nvPr userDrawn="1"/>
            </p:nvSpPr>
            <p:spPr bwMode="auto">
              <a:xfrm>
                <a:off x="7737475" y="2402552"/>
                <a:ext cx="1198563" cy="955675"/>
              </a:xfrm>
              <a:custGeom>
                <a:avLst/>
                <a:gdLst/>
                <a:ahLst/>
                <a:cxnLst>
                  <a:cxn ang="0">
                    <a:pos x="690" y="0"/>
                  </a:cxn>
                  <a:cxn ang="0">
                    <a:pos x="75" y="347"/>
                  </a:cxn>
                  <a:cxn ang="0">
                    <a:pos x="0" y="602"/>
                  </a:cxn>
                  <a:cxn ang="0">
                    <a:pos x="755" y="64"/>
                  </a:cxn>
                  <a:cxn ang="0">
                    <a:pos x="690" y="0"/>
                  </a:cxn>
                </a:cxnLst>
                <a:rect l="0" t="0" r="r" b="b"/>
                <a:pathLst>
                  <a:path w="755" h="602">
                    <a:moveTo>
                      <a:pt x="690" y="0"/>
                    </a:moveTo>
                    <a:lnTo>
                      <a:pt x="75" y="347"/>
                    </a:lnTo>
                    <a:lnTo>
                      <a:pt x="0" y="602"/>
                    </a:lnTo>
                    <a:lnTo>
                      <a:pt x="755" y="64"/>
                    </a:lnTo>
                    <a:lnTo>
                      <a:pt x="690" y="0"/>
                    </a:lnTo>
                    <a:close/>
                  </a:path>
                </a:pathLst>
              </a:custGeom>
              <a:solidFill>
                <a:srgbClr val="8D516F"/>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03" name="Freeform 292"/>
              <p:cNvSpPr>
                <a:spLocks/>
              </p:cNvSpPr>
              <p:nvPr userDrawn="1"/>
            </p:nvSpPr>
            <p:spPr bwMode="auto">
              <a:xfrm>
                <a:off x="8832850" y="2145377"/>
                <a:ext cx="504825" cy="358775"/>
              </a:xfrm>
              <a:custGeom>
                <a:avLst/>
                <a:gdLst/>
                <a:ahLst/>
                <a:cxnLst>
                  <a:cxn ang="0">
                    <a:pos x="290" y="0"/>
                  </a:cxn>
                  <a:cxn ang="0">
                    <a:pos x="0" y="162"/>
                  </a:cxn>
                  <a:cxn ang="0">
                    <a:pos x="65" y="226"/>
                  </a:cxn>
                  <a:cxn ang="0">
                    <a:pos x="318" y="45"/>
                  </a:cxn>
                  <a:cxn ang="0">
                    <a:pos x="290" y="0"/>
                  </a:cxn>
                </a:cxnLst>
                <a:rect l="0" t="0" r="r" b="b"/>
                <a:pathLst>
                  <a:path w="318" h="226">
                    <a:moveTo>
                      <a:pt x="290" y="0"/>
                    </a:moveTo>
                    <a:lnTo>
                      <a:pt x="0" y="162"/>
                    </a:lnTo>
                    <a:lnTo>
                      <a:pt x="65" y="226"/>
                    </a:lnTo>
                    <a:lnTo>
                      <a:pt x="318" y="45"/>
                    </a:lnTo>
                    <a:lnTo>
                      <a:pt x="290" y="0"/>
                    </a:lnTo>
                    <a:close/>
                  </a:path>
                </a:pathLst>
              </a:custGeom>
              <a:solidFill>
                <a:srgbClr val="8D516F"/>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04" name="Freeform 294"/>
              <p:cNvSpPr>
                <a:spLocks/>
              </p:cNvSpPr>
              <p:nvPr userDrawn="1"/>
            </p:nvSpPr>
            <p:spPr bwMode="auto">
              <a:xfrm>
                <a:off x="9164638" y="3607465"/>
                <a:ext cx="741363" cy="879475"/>
              </a:xfrm>
              <a:custGeom>
                <a:avLst/>
                <a:gdLst/>
                <a:ahLst/>
                <a:cxnLst>
                  <a:cxn ang="0">
                    <a:pos x="0" y="0"/>
                  </a:cxn>
                  <a:cxn ang="0">
                    <a:pos x="8" y="374"/>
                  </a:cxn>
                  <a:cxn ang="0">
                    <a:pos x="10" y="427"/>
                  </a:cxn>
                  <a:cxn ang="0">
                    <a:pos x="293" y="554"/>
                  </a:cxn>
                  <a:cxn ang="0">
                    <a:pos x="467" y="194"/>
                  </a:cxn>
                  <a:cxn ang="0">
                    <a:pos x="467" y="83"/>
                  </a:cxn>
                  <a:cxn ang="0">
                    <a:pos x="0" y="0"/>
                  </a:cxn>
                </a:cxnLst>
                <a:rect l="0" t="0" r="r" b="b"/>
                <a:pathLst>
                  <a:path w="467" h="554">
                    <a:moveTo>
                      <a:pt x="0" y="0"/>
                    </a:moveTo>
                    <a:lnTo>
                      <a:pt x="8" y="374"/>
                    </a:lnTo>
                    <a:lnTo>
                      <a:pt x="10" y="427"/>
                    </a:lnTo>
                    <a:lnTo>
                      <a:pt x="293" y="554"/>
                    </a:lnTo>
                    <a:lnTo>
                      <a:pt x="467" y="194"/>
                    </a:lnTo>
                    <a:lnTo>
                      <a:pt x="467" y="83"/>
                    </a:lnTo>
                    <a:lnTo>
                      <a:pt x="0" y="0"/>
                    </a:lnTo>
                    <a:close/>
                  </a:path>
                </a:pathLst>
              </a:custGeom>
              <a:solidFill>
                <a:srgbClr val="B58EA2"/>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05" name="Freeform 295"/>
              <p:cNvSpPr>
                <a:spLocks/>
              </p:cNvSpPr>
              <p:nvPr userDrawn="1"/>
            </p:nvSpPr>
            <p:spPr bwMode="auto">
              <a:xfrm>
                <a:off x="9164638" y="3607465"/>
                <a:ext cx="741363" cy="879475"/>
              </a:xfrm>
              <a:custGeom>
                <a:avLst/>
                <a:gdLst/>
                <a:ahLst/>
                <a:cxnLst>
                  <a:cxn ang="0">
                    <a:pos x="0" y="0"/>
                  </a:cxn>
                  <a:cxn ang="0">
                    <a:pos x="8" y="374"/>
                  </a:cxn>
                  <a:cxn ang="0">
                    <a:pos x="10" y="427"/>
                  </a:cxn>
                  <a:cxn ang="0">
                    <a:pos x="293" y="554"/>
                  </a:cxn>
                  <a:cxn ang="0">
                    <a:pos x="467" y="194"/>
                  </a:cxn>
                  <a:cxn ang="0">
                    <a:pos x="467" y="83"/>
                  </a:cxn>
                  <a:cxn ang="0">
                    <a:pos x="0" y="0"/>
                  </a:cxn>
                </a:cxnLst>
                <a:rect l="0" t="0" r="r" b="b"/>
                <a:pathLst>
                  <a:path w="467" h="554">
                    <a:moveTo>
                      <a:pt x="0" y="0"/>
                    </a:moveTo>
                    <a:lnTo>
                      <a:pt x="8" y="374"/>
                    </a:lnTo>
                    <a:lnTo>
                      <a:pt x="10" y="427"/>
                    </a:lnTo>
                    <a:lnTo>
                      <a:pt x="293" y="554"/>
                    </a:lnTo>
                    <a:lnTo>
                      <a:pt x="467" y="194"/>
                    </a:lnTo>
                    <a:lnTo>
                      <a:pt x="467" y="83"/>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06" name="Freeform 296"/>
              <p:cNvSpPr>
                <a:spLocks/>
              </p:cNvSpPr>
              <p:nvPr userDrawn="1"/>
            </p:nvSpPr>
            <p:spPr bwMode="auto">
              <a:xfrm>
                <a:off x="9177338" y="4201190"/>
                <a:ext cx="3175" cy="84138"/>
              </a:xfrm>
              <a:custGeom>
                <a:avLst/>
                <a:gdLst/>
                <a:ahLst/>
                <a:cxnLst>
                  <a:cxn ang="0">
                    <a:pos x="0" y="0"/>
                  </a:cxn>
                  <a:cxn ang="0">
                    <a:pos x="2" y="53"/>
                  </a:cxn>
                  <a:cxn ang="0">
                    <a:pos x="2" y="53"/>
                  </a:cxn>
                  <a:cxn ang="0">
                    <a:pos x="0" y="0"/>
                  </a:cxn>
                </a:cxnLst>
                <a:rect l="0" t="0" r="r" b="b"/>
                <a:pathLst>
                  <a:path w="2" h="53">
                    <a:moveTo>
                      <a:pt x="0" y="0"/>
                    </a:moveTo>
                    <a:lnTo>
                      <a:pt x="2" y="53"/>
                    </a:lnTo>
                    <a:lnTo>
                      <a:pt x="2" y="53"/>
                    </a:lnTo>
                    <a:lnTo>
                      <a:pt x="0" y="0"/>
                    </a:lnTo>
                    <a:close/>
                  </a:path>
                </a:pathLst>
              </a:custGeom>
              <a:solidFill>
                <a:srgbClr val="25000B"/>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07" name="Freeform 297"/>
              <p:cNvSpPr>
                <a:spLocks/>
              </p:cNvSpPr>
              <p:nvPr userDrawn="1"/>
            </p:nvSpPr>
            <p:spPr bwMode="auto">
              <a:xfrm>
                <a:off x="9177338" y="4201190"/>
                <a:ext cx="3175" cy="84138"/>
              </a:xfrm>
              <a:custGeom>
                <a:avLst/>
                <a:gdLst/>
                <a:ahLst/>
                <a:cxnLst>
                  <a:cxn ang="0">
                    <a:pos x="0" y="0"/>
                  </a:cxn>
                  <a:cxn ang="0">
                    <a:pos x="2" y="53"/>
                  </a:cxn>
                  <a:cxn ang="0">
                    <a:pos x="2" y="53"/>
                  </a:cxn>
                  <a:cxn ang="0">
                    <a:pos x="0" y="0"/>
                  </a:cxn>
                </a:cxnLst>
                <a:rect l="0" t="0" r="r" b="b"/>
                <a:pathLst>
                  <a:path w="2" h="53">
                    <a:moveTo>
                      <a:pt x="0" y="0"/>
                    </a:moveTo>
                    <a:lnTo>
                      <a:pt x="2" y="53"/>
                    </a:lnTo>
                    <a:lnTo>
                      <a:pt x="2" y="53"/>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08" name="Freeform 298"/>
              <p:cNvSpPr>
                <a:spLocks/>
              </p:cNvSpPr>
              <p:nvPr userDrawn="1"/>
            </p:nvSpPr>
            <p:spPr bwMode="auto">
              <a:xfrm>
                <a:off x="9180513" y="4285327"/>
                <a:ext cx="449263" cy="217488"/>
              </a:xfrm>
              <a:custGeom>
                <a:avLst/>
                <a:gdLst/>
                <a:ahLst/>
                <a:cxnLst>
                  <a:cxn ang="0">
                    <a:pos x="0" y="0"/>
                  </a:cxn>
                  <a:cxn ang="0">
                    <a:pos x="2" y="137"/>
                  </a:cxn>
                  <a:cxn ang="0">
                    <a:pos x="283" y="127"/>
                  </a:cxn>
                  <a:cxn ang="0">
                    <a:pos x="0" y="0"/>
                  </a:cxn>
                </a:cxnLst>
                <a:rect l="0" t="0" r="r" b="b"/>
                <a:pathLst>
                  <a:path w="283" h="137">
                    <a:moveTo>
                      <a:pt x="0" y="0"/>
                    </a:moveTo>
                    <a:lnTo>
                      <a:pt x="2" y="137"/>
                    </a:lnTo>
                    <a:lnTo>
                      <a:pt x="283" y="127"/>
                    </a:lnTo>
                    <a:lnTo>
                      <a:pt x="0" y="0"/>
                    </a:lnTo>
                    <a:close/>
                  </a:path>
                </a:pathLst>
              </a:custGeom>
              <a:gradFill>
                <a:gsLst>
                  <a:gs pos="0">
                    <a:srgbClr val="8E516E"/>
                  </a:gs>
                  <a:gs pos="31000">
                    <a:srgbClr val="95414F">
                      <a:alpha val="56000"/>
                    </a:srgbClr>
                  </a:gs>
                  <a:gs pos="95000">
                    <a:srgbClr val="8E516E"/>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09" name="Freeform 299"/>
              <p:cNvSpPr>
                <a:spLocks/>
              </p:cNvSpPr>
              <p:nvPr userDrawn="1"/>
            </p:nvSpPr>
            <p:spPr bwMode="auto">
              <a:xfrm>
                <a:off x="9180513" y="4285327"/>
                <a:ext cx="449263" cy="217488"/>
              </a:xfrm>
              <a:custGeom>
                <a:avLst/>
                <a:gdLst/>
                <a:ahLst/>
                <a:cxnLst>
                  <a:cxn ang="0">
                    <a:pos x="0" y="0"/>
                  </a:cxn>
                  <a:cxn ang="0">
                    <a:pos x="2" y="137"/>
                  </a:cxn>
                  <a:cxn ang="0">
                    <a:pos x="283" y="127"/>
                  </a:cxn>
                  <a:cxn ang="0">
                    <a:pos x="0" y="0"/>
                  </a:cxn>
                </a:cxnLst>
                <a:rect l="0" t="0" r="r" b="b"/>
                <a:pathLst>
                  <a:path w="283" h="137">
                    <a:moveTo>
                      <a:pt x="0" y="0"/>
                    </a:moveTo>
                    <a:lnTo>
                      <a:pt x="2" y="137"/>
                    </a:lnTo>
                    <a:lnTo>
                      <a:pt x="283" y="127"/>
                    </a:lnTo>
                    <a:lnTo>
                      <a:pt x="0" y="0"/>
                    </a:lnTo>
                  </a:path>
                </a:pathLst>
              </a:custGeom>
              <a:gradFill flip="none" rotWithShape="1">
                <a:gsLst>
                  <a:gs pos="38000">
                    <a:srgbClr val="9D6182">
                      <a:alpha val="54000"/>
                    </a:srgbClr>
                  </a:gs>
                  <a:gs pos="100000">
                    <a:srgbClr val="77445E">
                      <a:alpha val="74000"/>
                    </a:srgbClr>
                  </a:gs>
                </a:gsLst>
                <a:lin ang="24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10" name="Freeform 300"/>
              <p:cNvSpPr>
                <a:spLocks/>
              </p:cNvSpPr>
              <p:nvPr userDrawn="1"/>
            </p:nvSpPr>
            <p:spPr bwMode="auto">
              <a:xfrm>
                <a:off x="9180513" y="4285327"/>
                <a:ext cx="3175" cy="217488"/>
              </a:xfrm>
              <a:custGeom>
                <a:avLst/>
                <a:gdLst/>
                <a:ahLst/>
                <a:cxnLst>
                  <a:cxn ang="0">
                    <a:pos x="0" y="0"/>
                  </a:cxn>
                  <a:cxn ang="0">
                    <a:pos x="2" y="137"/>
                  </a:cxn>
                  <a:cxn ang="0">
                    <a:pos x="0" y="0"/>
                  </a:cxn>
                  <a:cxn ang="0">
                    <a:pos x="0" y="0"/>
                  </a:cxn>
                </a:cxnLst>
                <a:rect l="0" t="0" r="r" b="b"/>
                <a:pathLst>
                  <a:path w="2" h="137">
                    <a:moveTo>
                      <a:pt x="0" y="0"/>
                    </a:moveTo>
                    <a:lnTo>
                      <a:pt x="2" y="137"/>
                    </a:lnTo>
                    <a:lnTo>
                      <a:pt x="0" y="0"/>
                    </a:lnTo>
                    <a:lnTo>
                      <a:pt x="0" y="0"/>
                    </a:lnTo>
                    <a:close/>
                  </a:path>
                </a:pathLst>
              </a:custGeom>
              <a:solidFill>
                <a:srgbClr val="0E0002"/>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11" name="Freeform 301"/>
              <p:cNvSpPr>
                <a:spLocks/>
              </p:cNvSpPr>
              <p:nvPr userDrawn="1"/>
            </p:nvSpPr>
            <p:spPr bwMode="auto">
              <a:xfrm>
                <a:off x="9180513" y="4285327"/>
                <a:ext cx="3175" cy="217488"/>
              </a:xfrm>
              <a:custGeom>
                <a:avLst/>
                <a:gdLst/>
                <a:ahLst/>
                <a:cxnLst>
                  <a:cxn ang="0">
                    <a:pos x="0" y="0"/>
                  </a:cxn>
                  <a:cxn ang="0">
                    <a:pos x="2" y="137"/>
                  </a:cxn>
                  <a:cxn ang="0">
                    <a:pos x="0" y="0"/>
                  </a:cxn>
                  <a:cxn ang="0">
                    <a:pos x="0" y="0"/>
                  </a:cxn>
                </a:cxnLst>
                <a:rect l="0" t="0" r="r" b="b"/>
                <a:pathLst>
                  <a:path w="2" h="137">
                    <a:moveTo>
                      <a:pt x="0" y="0"/>
                    </a:moveTo>
                    <a:lnTo>
                      <a:pt x="2" y="137"/>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12" name="Freeform 302"/>
              <p:cNvSpPr>
                <a:spLocks/>
              </p:cNvSpPr>
              <p:nvPr userDrawn="1"/>
            </p:nvSpPr>
            <p:spPr bwMode="auto">
              <a:xfrm>
                <a:off x="8907463" y="1500852"/>
                <a:ext cx="998538" cy="273050"/>
              </a:xfrm>
              <a:custGeom>
                <a:avLst/>
                <a:gdLst/>
                <a:ahLst/>
                <a:cxnLst>
                  <a:cxn ang="0">
                    <a:pos x="0" y="0"/>
                  </a:cxn>
                  <a:cxn ang="0">
                    <a:pos x="0" y="0"/>
                  </a:cxn>
                  <a:cxn ang="0">
                    <a:pos x="103" y="172"/>
                  </a:cxn>
                  <a:cxn ang="0">
                    <a:pos x="629" y="162"/>
                  </a:cxn>
                  <a:cxn ang="0">
                    <a:pos x="629" y="148"/>
                  </a:cxn>
                  <a:cxn ang="0">
                    <a:pos x="0" y="0"/>
                  </a:cxn>
                </a:cxnLst>
                <a:rect l="0" t="0" r="r" b="b"/>
                <a:pathLst>
                  <a:path w="629" h="172">
                    <a:moveTo>
                      <a:pt x="0" y="0"/>
                    </a:moveTo>
                    <a:lnTo>
                      <a:pt x="0" y="0"/>
                    </a:lnTo>
                    <a:lnTo>
                      <a:pt x="103" y="172"/>
                    </a:lnTo>
                    <a:lnTo>
                      <a:pt x="629" y="162"/>
                    </a:lnTo>
                    <a:lnTo>
                      <a:pt x="629" y="148"/>
                    </a:lnTo>
                    <a:lnTo>
                      <a:pt x="0" y="0"/>
                    </a:lnTo>
                    <a:close/>
                  </a:path>
                </a:pathLst>
              </a:custGeom>
              <a:solidFill>
                <a:srgbClr val="9D6182"/>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grpSp>
        <p:sp>
          <p:nvSpPr>
            <p:cNvPr id="17" name="Line 6"/>
            <p:cNvSpPr>
              <a:spLocks noChangeShapeType="1"/>
            </p:cNvSpPr>
            <p:nvPr userDrawn="1"/>
          </p:nvSpPr>
          <p:spPr bwMode="auto">
            <a:xfrm flipH="1">
              <a:off x="9436893" y="1844781"/>
              <a:ext cx="469105" cy="534088"/>
            </a:xfrm>
            <a:prstGeom prst="line">
              <a:avLst/>
            </a:pr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9" name="Freeform 7"/>
            <p:cNvSpPr>
              <a:spLocks/>
            </p:cNvSpPr>
            <p:nvPr userDrawn="1"/>
          </p:nvSpPr>
          <p:spPr bwMode="auto">
            <a:xfrm>
              <a:off x="6707187" y="1517650"/>
              <a:ext cx="3189288" cy="3371850"/>
            </a:xfrm>
            <a:custGeom>
              <a:avLst/>
              <a:gdLst>
                <a:gd name="connsiteX0" fmla="*/ 0 w 10000"/>
                <a:gd name="connsiteY0" fmla="*/ 10000 h 10000"/>
                <a:gd name="connsiteX1" fmla="*/ 683 w 10000"/>
                <a:gd name="connsiteY1" fmla="*/ 5766 h 10000"/>
                <a:gd name="connsiteX2" fmla="*/ 4440 w 10000"/>
                <a:gd name="connsiteY2" fmla="*/ 0 h 10000"/>
                <a:gd name="connsiteX3" fmla="*/ 10000 w 10000"/>
                <a:gd name="connsiteY3" fmla="*/ 697 h 10000"/>
              </a:gdLst>
              <a:ahLst/>
              <a:cxnLst>
                <a:cxn ang="0">
                  <a:pos x="connsiteX0" y="connsiteY0"/>
                </a:cxn>
                <a:cxn ang="0">
                  <a:pos x="connsiteX1" y="connsiteY1"/>
                </a:cxn>
                <a:cxn ang="0">
                  <a:pos x="connsiteX2" y="connsiteY2"/>
                </a:cxn>
                <a:cxn ang="0">
                  <a:pos x="connsiteX3" y="connsiteY3"/>
                </a:cxn>
              </a:cxnLst>
              <a:rect l="l" t="t" r="r" b="b"/>
              <a:pathLst>
                <a:path w="10000" h="10000">
                  <a:moveTo>
                    <a:pt x="0" y="10000"/>
                  </a:moveTo>
                  <a:cubicBezTo>
                    <a:pt x="228" y="8589"/>
                    <a:pt x="455" y="7177"/>
                    <a:pt x="683" y="5766"/>
                  </a:cubicBezTo>
                  <a:lnTo>
                    <a:pt x="4440" y="0"/>
                  </a:lnTo>
                  <a:lnTo>
                    <a:pt x="10000" y="697"/>
                  </a:ln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0" name="Freeform 8"/>
            <p:cNvSpPr>
              <a:spLocks/>
            </p:cNvSpPr>
            <p:nvPr userDrawn="1"/>
          </p:nvSpPr>
          <p:spPr bwMode="auto">
            <a:xfrm>
              <a:off x="8123237" y="1517649"/>
              <a:ext cx="1314476" cy="1950064"/>
            </a:xfrm>
            <a:custGeom>
              <a:avLst/>
              <a:gdLst>
                <a:gd name="connsiteX0" fmla="*/ 3807 w 10000"/>
                <a:gd name="connsiteY0" fmla="*/ 9977 h 9977"/>
                <a:gd name="connsiteX1" fmla="*/ 10000 w 10000"/>
                <a:gd name="connsiteY1" fmla="*/ 5214 h 9977"/>
                <a:gd name="connsiteX2" fmla="*/ 0 w 10000"/>
                <a:gd name="connsiteY2" fmla="*/ 0 h 9977"/>
                <a:gd name="connsiteX0" fmla="*/ 3807 w 10000"/>
                <a:gd name="connsiteY0" fmla="*/ 10000 h 10757"/>
                <a:gd name="connsiteX1" fmla="*/ 2677 w 10000"/>
                <a:gd name="connsiteY1" fmla="*/ 10753 h 10757"/>
                <a:gd name="connsiteX2" fmla="*/ 10000 w 10000"/>
                <a:gd name="connsiteY2" fmla="*/ 5226 h 10757"/>
                <a:gd name="connsiteX3" fmla="*/ 0 w 10000"/>
                <a:gd name="connsiteY3" fmla="*/ 0 h 10757"/>
                <a:gd name="connsiteX0" fmla="*/ 2309 w 10000"/>
                <a:gd name="connsiteY0" fmla="*/ 9348 h 10757"/>
                <a:gd name="connsiteX1" fmla="*/ 2677 w 10000"/>
                <a:gd name="connsiteY1" fmla="*/ 10753 h 10757"/>
                <a:gd name="connsiteX2" fmla="*/ 10000 w 10000"/>
                <a:gd name="connsiteY2" fmla="*/ 5226 h 10757"/>
                <a:gd name="connsiteX3" fmla="*/ 0 w 10000"/>
                <a:gd name="connsiteY3" fmla="*/ 0 h 10757"/>
                <a:gd name="connsiteX0" fmla="*/ 2677 w 10000"/>
                <a:gd name="connsiteY0" fmla="*/ 10753 h 10753"/>
                <a:gd name="connsiteX1" fmla="*/ 10000 w 10000"/>
                <a:gd name="connsiteY1" fmla="*/ 5226 h 10753"/>
                <a:gd name="connsiteX2" fmla="*/ 0 w 10000"/>
                <a:gd name="connsiteY2" fmla="*/ 0 h 10753"/>
                <a:gd name="connsiteX0" fmla="*/ 2677 w 10602"/>
                <a:gd name="connsiteY0" fmla="*/ 10753 h 10753"/>
                <a:gd name="connsiteX1" fmla="*/ 10602 w 10602"/>
                <a:gd name="connsiteY1" fmla="*/ 4781 h 10753"/>
                <a:gd name="connsiteX2" fmla="*/ 0 w 10602"/>
                <a:gd name="connsiteY2" fmla="*/ 0 h 10753"/>
              </a:gdLst>
              <a:ahLst/>
              <a:cxnLst>
                <a:cxn ang="0">
                  <a:pos x="connsiteX0" y="connsiteY0"/>
                </a:cxn>
                <a:cxn ang="0">
                  <a:pos x="connsiteX1" y="connsiteY1"/>
                </a:cxn>
                <a:cxn ang="0">
                  <a:pos x="connsiteX2" y="connsiteY2"/>
                </a:cxn>
              </a:cxnLst>
              <a:rect l="l" t="t" r="r" b="b"/>
              <a:pathLst>
                <a:path w="10602" h="10753">
                  <a:moveTo>
                    <a:pt x="2677" y="10753"/>
                  </a:moveTo>
                  <a:lnTo>
                    <a:pt x="10602" y="4781"/>
                  </a:lnTo>
                  <a:lnTo>
                    <a:pt x="0" y="0"/>
                  </a:ln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1" name="Line 9"/>
            <p:cNvSpPr>
              <a:spLocks noChangeShapeType="1"/>
            </p:cNvSpPr>
            <p:nvPr userDrawn="1"/>
          </p:nvSpPr>
          <p:spPr bwMode="auto">
            <a:xfrm>
              <a:off x="6958012" y="3476625"/>
              <a:ext cx="2193925" cy="1855788"/>
            </a:xfrm>
            <a:prstGeom prst="line">
              <a:avLst/>
            </a:pr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2" name="Freeform 10"/>
            <p:cNvSpPr>
              <a:spLocks/>
            </p:cNvSpPr>
            <p:nvPr userDrawn="1"/>
          </p:nvSpPr>
          <p:spPr bwMode="auto">
            <a:xfrm>
              <a:off x="979755" y="2067452"/>
              <a:ext cx="8463254" cy="3291094"/>
            </a:xfrm>
            <a:custGeom>
              <a:avLst/>
              <a:gdLst>
                <a:gd name="connsiteX0" fmla="*/ 467 w 10000"/>
                <a:gd name="connsiteY0" fmla="*/ 0 h 9881"/>
                <a:gd name="connsiteX1" fmla="*/ 2027 w 10000"/>
                <a:gd name="connsiteY1" fmla="*/ 3291 h 9881"/>
                <a:gd name="connsiteX2" fmla="*/ 3508 w 10000"/>
                <a:gd name="connsiteY2" fmla="*/ 1076 h 9881"/>
                <a:gd name="connsiteX3" fmla="*/ 7135 w 10000"/>
                <a:gd name="connsiteY3" fmla="*/ 4066 h 9881"/>
                <a:gd name="connsiteX4" fmla="*/ 10000 w 10000"/>
                <a:gd name="connsiteY4" fmla="*/ 1130 h 9881"/>
                <a:gd name="connsiteX5" fmla="*/ 9749 w 10000"/>
                <a:gd name="connsiteY5" fmla="*/ 9453 h 9881"/>
                <a:gd name="connsiteX6" fmla="*/ 8972 w 10000"/>
                <a:gd name="connsiteY6" fmla="*/ 3628 h 9881"/>
                <a:gd name="connsiteX7" fmla="*/ 6836 w 10000"/>
                <a:gd name="connsiteY7" fmla="*/ 8168 h 9881"/>
                <a:gd name="connsiteX8" fmla="*/ 3508 w 10000"/>
                <a:gd name="connsiteY8" fmla="*/ 1076 h 9881"/>
                <a:gd name="connsiteX9" fmla="*/ 5359 w 10000"/>
                <a:gd name="connsiteY9" fmla="*/ 9881 h 9881"/>
                <a:gd name="connsiteX10" fmla="*/ 5359 w 10000"/>
                <a:gd name="connsiteY10" fmla="*/ 9881 h 9881"/>
                <a:gd name="connsiteX11" fmla="*/ 2030 w 10000"/>
                <a:gd name="connsiteY11" fmla="*/ 3255 h 9881"/>
                <a:gd name="connsiteX12" fmla="*/ 0 w 10000"/>
                <a:gd name="connsiteY12" fmla="*/ 9271 h 9881"/>
                <a:gd name="connsiteX13" fmla="*/ 3508 w 10000"/>
                <a:gd name="connsiteY13" fmla="*/ 1076 h 9881"/>
                <a:gd name="connsiteX0" fmla="*/ 467 w 10000"/>
                <a:gd name="connsiteY0" fmla="*/ 0 h 10000"/>
                <a:gd name="connsiteX1" fmla="*/ 2027 w 10000"/>
                <a:gd name="connsiteY1" fmla="*/ 3331 h 10000"/>
                <a:gd name="connsiteX2" fmla="*/ 3508 w 10000"/>
                <a:gd name="connsiteY2" fmla="*/ 1089 h 10000"/>
                <a:gd name="connsiteX3" fmla="*/ 7135 w 10000"/>
                <a:gd name="connsiteY3" fmla="*/ 4115 h 10000"/>
                <a:gd name="connsiteX4" fmla="*/ 10000 w 10000"/>
                <a:gd name="connsiteY4" fmla="*/ 1144 h 10000"/>
                <a:gd name="connsiteX5" fmla="*/ 9749 w 10000"/>
                <a:gd name="connsiteY5" fmla="*/ 9567 h 10000"/>
                <a:gd name="connsiteX6" fmla="*/ 8972 w 10000"/>
                <a:gd name="connsiteY6" fmla="*/ 3672 h 10000"/>
                <a:gd name="connsiteX7" fmla="*/ 6836 w 10000"/>
                <a:gd name="connsiteY7" fmla="*/ 8266 h 10000"/>
                <a:gd name="connsiteX8" fmla="*/ 3508 w 10000"/>
                <a:gd name="connsiteY8" fmla="*/ 1089 h 10000"/>
                <a:gd name="connsiteX9" fmla="*/ 5359 w 10000"/>
                <a:gd name="connsiteY9" fmla="*/ 10000 h 10000"/>
                <a:gd name="connsiteX10" fmla="*/ 5359 w 10000"/>
                <a:gd name="connsiteY10" fmla="*/ 10000 h 10000"/>
                <a:gd name="connsiteX11" fmla="*/ 2025 w 10000"/>
                <a:gd name="connsiteY11" fmla="*/ 3239 h 10000"/>
                <a:gd name="connsiteX12" fmla="*/ 0 w 10000"/>
                <a:gd name="connsiteY12" fmla="*/ 9383 h 10000"/>
                <a:gd name="connsiteX13" fmla="*/ 3508 w 10000"/>
                <a:gd name="connsiteY13" fmla="*/ 1089 h 10000"/>
                <a:gd name="connsiteX0" fmla="*/ 467 w 10000"/>
                <a:gd name="connsiteY0" fmla="*/ 0 h 10000"/>
                <a:gd name="connsiteX1" fmla="*/ 2045 w 10000"/>
                <a:gd name="connsiteY1" fmla="*/ 3257 h 10000"/>
                <a:gd name="connsiteX2" fmla="*/ 3508 w 10000"/>
                <a:gd name="connsiteY2" fmla="*/ 1089 h 10000"/>
                <a:gd name="connsiteX3" fmla="*/ 7135 w 10000"/>
                <a:gd name="connsiteY3" fmla="*/ 4115 h 10000"/>
                <a:gd name="connsiteX4" fmla="*/ 10000 w 10000"/>
                <a:gd name="connsiteY4" fmla="*/ 1144 h 10000"/>
                <a:gd name="connsiteX5" fmla="*/ 9749 w 10000"/>
                <a:gd name="connsiteY5" fmla="*/ 9567 h 10000"/>
                <a:gd name="connsiteX6" fmla="*/ 8972 w 10000"/>
                <a:gd name="connsiteY6" fmla="*/ 3672 h 10000"/>
                <a:gd name="connsiteX7" fmla="*/ 6836 w 10000"/>
                <a:gd name="connsiteY7" fmla="*/ 8266 h 10000"/>
                <a:gd name="connsiteX8" fmla="*/ 3508 w 10000"/>
                <a:gd name="connsiteY8" fmla="*/ 1089 h 10000"/>
                <a:gd name="connsiteX9" fmla="*/ 5359 w 10000"/>
                <a:gd name="connsiteY9" fmla="*/ 10000 h 10000"/>
                <a:gd name="connsiteX10" fmla="*/ 5359 w 10000"/>
                <a:gd name="connsiteY10" fmla="*/ 10000 h 10000"/>
                <a:gd name="connsiteX11" fmla="*/ 2025 w 10000"/>
                <a:gd name="connsiteY11" fmla="*/ 3239 h 10000"/>
                <a:gd name="connsiteX12" fmla="*/ 0 w 10000"/>
                <a:gd name="connsiteY12" fmla="*/ 9383 h 10000"/>
                <a:gd name="connsiteX13" fmla="*/ 3508 w 10000"/>
                <a:gd name="connsiteY13" fmla="*/ 1089 h 10000"/>
                <a:gd name="connsiteX0" fmla="*/ 467 w 10000"/>
                <a:gd name="connsiteY0" fmla="*/ 0 h 10000"/>
                <a:gd name="connsiteX1" fmla="*/ 2045 w 10000"/>
                <a:gd name="connsiteY1" fmla="*/ 3257 h 10000"/>
                <a:gd name="connsiteX2" fmla="*/ 3508 w 10000"/>
                <a:gd name="connsiteY2" fmla="*/ 1089 h 10000"/>
                <a:gd name="connsiteX3" fmla="*/ 7135 w 10000"/>
                <a:gd name="connsiteY3" fmla="*/ 4115 h 10000"/>
                <a:gd name="connsiteX4" fmla="*/ 10000 w 10000"/>
                <a:gd name="connsiteY4" fmla="*/ 1144 h 10000"/>
                <a:gd name="connsiteX5" fmla="*/ 9749 w 10000"/>
                <a:gd name="connsiteY5" fmla="*/ 9567 h 10000"/>
                <a:gd name="connsiteX6" fmla="*/ 8972 w 10000"/>
                <a:gd name="connsiteY6" fmla="*/ 3672 h 10000"/>
                <a:gd name="connsiteX7" fmla="*/ 6836 w 10000"/>
                <a:gd name="connsiteY7" fmla="*/ 8266 h 10000"/>
                <a:gd name="connsiteX8" fmla="*/ 3508 w 10000"/>
                <a:gd name="connsiteY8" fmla="*/ 1089 h 10000"/>
                <a:gd name="connsiteX9" fmla="*/ 5359 w 10000"/>
                <a:gd name="connsiteY9" fmla="*/ 10000 h 10000"/>
                <a:gd name="connsiteX10" fmla="*/ 5359 w 10000"/>
                <a:gd name="connsiteY10" fmla="*/ 10000 h 10000"/>
                <a:gd name="connsiteX11" fmla="*/ 2022 w 10000"/>
                <a:gd name="connsiteY11" fmla="*/ 3221 h 10000"/>
                <a:gd name="connsiteX12" fmla="*/ 0 w 10000"/>
                <a:gd name="connsiteY12" fmla="*/ 9383 h 10000"/>
                <a:gd name="connsiteX13" fmla="*/ 3508 w 10000"/>
                <a:gd name="connsiteY13" fmla="*/ 1089 h 10000"/>
                <a:gd name="connsiteX0" fmla="*/ 467 w 10000"/>
                <a:gd name="connsiteY0" fmla="*/ 0 h 10000"/>
                <a:gd name="connsiteX1" fmla="*/ 2045 w 10000"/>
                <a:gd name="connsiteY1" fmla="*/ 3257 h 10000"/>
                <a:gd name="connsiteX2" fmla="*/ 3508 w 10000"/>
                <a:gd name="connsiteY2" fmla="*/ 1089 h 10000"/>
                <a:gd name="connsiteX3" fmla="*/ 7135 w 10000"/>
                <a:gd name="connsiteY3" fmla="*/ 4115 h 10000"/>
                <a:gd name="connsiteX4" fmla="*/ 10000 w 10000"/>
                <a:gd name="connsiteY4" fmla="*/ 1144 h 10000"/>
                <a:gd name="connsiteX5" fmla="*/ 9749 w 10000"/>
                <a:gd name="connsiteY5" fmla="*/ 9567 h 10000"/>
                <a:gd name="connsiteX6" fmla="*/ 8972 w 10000"/>
                <a:gd name="connsiteY6" fmla="*/ 3672 h 10000"/>
                <a:gd name="connsiteX7" fmla="*/ 6836 w 10000"/>
                <a:gd name="connsiteY7" fmla="*/ 8266 h 10000"/>
                <a:gd name="connsiteX8" fmla="*/ 3508 w 10000"/>
                <a:gd name="connsiteY8" fmla="*/ 1089 h 10000"/>
                <a:gd name="connsiteX9" fmla="*/ 5359 w 10000"/>
                <a:gd name="connsiteY9" fmla="*/ 10000 h 10000"/>
                <a:gd name="connsiteX10" fmla="*/ 5359 w 10000"/>
                <a:gd name="connsiteY10" fmla="*/ 10000 h 10000"/>
                <a:gd name="connsiteX11" fmla="*/ 2044 w 10000"/>
                <a:gd name="connsiteY11" fmla="*/ 3274 h 10000"/>
                <a:gd name="connsiteX12" fmla="*/ 0 w 10000"/>
                <a:gd name="connsiteY12" fmla="*/ 9383 h 10000"/>
                <a:gd name="connsiteX13" fmla="*/ 3508 w 10000"/>
                <a:gd name="connsiteY13" fmla="*/ 1089 h 10000"/>
                <a:gd name="connsiteX0" fmla="*/ 461 w 9994"/>
                <a:gd name="connsiteY0" fmla="*/ 0 h 10000"/>
                <a:gd name="connsiteX1" fmla="*/ 2039 w 9994"/>
                <a:gd name="connsiteY1" fmla="*/ 3257 h 10000"/>
                <a:gd name="connsiteX2" fmla="*/ 3502 w 9994"/>
                <a:gd name="connsiteY2" fmla="*/ 1089 h 10000"/>
                <a:gd name="connsiteX3" fmla="*/ 7129 w 9994"/>
                <a:gd name="connsiteY3" fmla="*/ 4115 h 10000"/>
                <a:gd name="connsiteX4" fmla="*/ 9994 w 9994"/>
                <a:gd name="connsiteY4" fmla="*/ 1144 h 10000"/>
                <a:gd name="connsiteX5" fmla="*/ 9743 w 9994"/>
                <a:gd name="connsiteY5" fmla="*/ 9567 h 10000"/>
                <a:gd name="connsiteX6" fmla="*/ 8966 w 9994"/>
                <a:gd name="connsiteY6" fmla="*/ 3672 h 10000"/>
                <a:gd name="connsiteX7" fmla="*/ 6830 w 9994"/>
                <a:gd name="connsiteY7" fmla="*/ 8266 h 10000"/>
                <a:gd name="connsiteX8" fmla="*/ 3502 w 9994"/>
                <a:gd name="connsiteY8" fmla="*/ 1089 h 10000"/>
                <a:gd name="connsiteX9" fmla="*/ 5353 w 9994"/>
                <a:gd name="connsiteY9" fmla="*/ 10000 h 10000"/>
                <a:gd name="connsiteX10" fmla="*/ 5353 w 9994"/>
                <a:gd name="connsiteY10" fmla="*/ 10000 h 10000"/>
                <a:gd name="connsiteX11" fmla="*/ 2038 w 9994"/>
                <a:gd name="connsiteY11" fmla="*/ 3274 h 10000"/>
                <a:gd name="connsiteX12" fmla="*/ 0 w 9994"/>
                <a:gd name="connsiteY12" fmla="*/ 9312 h 10000"/>
                <a:gd name="connsiteX13" fmla="*/ 3502 w 9994"/>
                <a:gd name="connsiteY13" fmla="*/ 1089 h 10000"/>
                <a:gd name="connsiteX0" fmla="*/ 487 w 10000"/>
                <a:gd name="connsiteY0" fmla="*/ 0 h 10017"/>
                <a:gd name="connsiteX1" fmla="*/ 2040 w 10000"/>
                <a:gd name="connsiteY1" fmla="*/ 3274 h 10017"/>
                <a:gd name="connsiteX2" fmla="*/ 3504 w 10000"/>
                <a:gd name="connsiteY2" fmla="*/ 1106 h 10017"/>
                <a:gd name="connsiteX3" fmla="*/ 7133 w 10000"/>
                <a:gd name="connsiteY3" fmla="*/ 4132 h 10017"/>
                <a:gd name="connsiteX4" fmla="*/ 10000 w 10000"/>
                <a:gd name="connsiteY4" fmla="*/ 1161 h 10017"/>
                <a:gd name="connsiteX5" fmla="*/ 9749 w 10000"/>
                <a:gd name="connsiteY5" fmla="*/ 9584 h 10017"/>
                <a:gd name="connsiteX6" fmla="*/ 8971 w 10000"/>
                <a:gd name="connsiteY6" fmla="*/ 3689 h 10017"/>
                <a:gd name="connsiteX7" fmla="*/ 6834 w 10000"/>
                <a:gd name="connsiteY7" fmla="*/ 8283 h 10017"/>
                <a:gd name="connsiteX8" fmla="*/ 3504 w 10000"/>
                <a:gd name="connsiteY8" fmla="*/ 1106 h 10017"/>
                <a:gd name="connsiteX9" fmla="*/ 5356 w 10000"/>
                <a:gd name="connsiteY9" fmla="*/ 10017 h 10017"/>
                <a:gd name="connsiteX10" fmla="*/ 5356 w 10000"/>
                <a:gd name="connsiteY10" fmla="*/ 10017 h 10017"/>
                <a:gd name="connsiteX11" fmla="*/ 2039 w 10000"/>
                <a:gd name="connsiteY11" fmla="*/ 3291 h 10017"/>
                <a:gd name="connsiteX12" fmla="*/ 0 w 10000"/>
                <a:gd name="connsiteY12" fmla="*/ 9329 h 10017"/>
                <a:gd name="connsiteX13" fmla="*/ 3504 w 10000"/>
                <a:gd name="connsiteY13" fmla="*/ 1106 h 10017"/>
                <a:gd name="connsiteX0" fmla="*/ 487 w 10000"/>
                <a:gd name="connsiteY0" fmla="*/ 0 h 10017"/>
                <a:gd name="connsiteX1" fmla="*/ 2040 w 10000"/>
                <a:gd name="connsiteY1" fmla="*/ 3274 h 10017"/>
                <a:gd name="connsiteX2" fmla="*/ 3504 w 10000"/>
                <a:gd name="connsiteY2" fmla="*/ 1106 h 10017"/>
                <a:gd name="connsiteX3" fmla="*/ 7133 w 10000"/>
                <a:gd name="connsiteY3" fmla="*/ 4132 h 10017"/>
                <a:gd name="connsiteX4" fmla="*/ 10000 w 10000"/>
                <a:gd name="connsiteY4" fmla="*/ 1161 h 10017"/>
                <a:gd name="connsiteX5" fmla="*/ 9749 w 10000"/>
                <a:gd name="connsiteY5" fmla="*/ 9584 h 10017"/>
                <a:gd name="connsiteX6" fmla="*/ 8971 w 10000"/>
                <a:gd name="connsiteY6" fmla="*/ 3689 h 10017"/>
                <a:gd name="connsiteX7" fmla="*/ 6834 w 10000"/>
                <a:gd name="connsiteY7" fmla="*/ 8283 h 10017"/>
                <a:gd name="connsiteX8" fmla="*/ 3504 w 10000"/>
                <a:gd name="connsiteY8" fmla="*/ 1106 h 10017"/>
                <a:gd name="connsiteX9" fmla="*/ 5356 w 10000"/>
                <a:gd name="connsiteY9" fmla="*/ 10017 h 10017"/>
                <a:gd name="connsiteX10" fmla="*/ 5356 w 10000"/>
                <a:gd name="connsiteY10" fmla="*/ 10017 h 10017"/>
                <a:gd name="connsiteX11" fmla="*/ 2032 w 10000"/>
                <a:gd name="connsiteY11" fmla="*/ 3324 h 10017"/>
                <a:gd name="connsiteX12" fmla="*/ 0 w 10000"/>
                <a:gd name="connsiteY12" fmla="*/ 9329 h 10017"/>
                <a:gd name="connsiteX13" fmla="*/ 3504 w 10000"/>
                <a:gd name="connsiteY13" fmla="*/ 1106 h 10017"/>
                <a:gd name="connsiteX0" fmla="*/ 487 w 10000"/>
                <a:gd name="connsiteY0" fmla="*/ 0 h 10017"/>
                <a:gd name="connsiteX1" fmla="*/ 2036 w 10000"/>
                <a:gd name="connsiteY1" fmla="*/ 3258 h 10017"/>
                <a:gd name="connsiteX2" fmla="*/ 3504 w 10000"/>
                <a:gd name="connsiteY2" fmla="*/ 1106 h 10017"/>
                <a:gd name="connsiteX3" fmla="*/ 7133 w 10000"/>
                <a:gd name="connsiteY3" fmla="*/ 4132 h 10017"/>
                <a:gd name="connsiteX4" fmla="*/ 10000 w 10000"/>
                <a:gd name="connsiteY4" fmla="*/ 1161 h 10017"/>
                <a:gd name="connsiteX5" fmla="*/ 9749 w 10000"/>
                <a:gd name="connsiteY5" fmla="*/ 9584 h 10017"/>
                <a:gd name="connsiteX6" fmla="*/ 8971 w 10000"/>
                <a:gd name="connsiteY6" fmla="*/ 3689 h 10017"/>
                <a:gd name="connsiteX7" fmla="*/ 6834 w 10000"/>
                <a:gd name="connsiteY7" fmla="*/ 8283 h 10017"/>
                <a:gd name="connsiteX8" fmla="*/ 3504 w 10000"/>
                <a:gd name="connsiteY8" fmla="*/ 1106 h 10017"/>
                <a:gd name="connsiteX9" fmla="*/ 5356 w 10000"/>
                <a:gd name="connsiteY9" fmla="*/ 10017 h 10017"/>
                <a:gd name="connsiteX10" fmla="*/ 5356 w 10000"/>
                <a:gd name="connsiteY10" fmla="*/ 10017 h 10017"/>
                <a:gd name="connsiteX11" fmla="*/ 2032 w 10000"/>
                <a:gd name="connsiteY11" fmla="*/ 3324 h 10017"/>
                <a:gd name="connsiteX12" fmla="*/ 0 w 10000"/>
                <a:gd name="connsiteY12" fmla="*/ 9329 h 10017"/>
                <a:gd name="connsiteX13" fmla="*/ 3504 w 10000"/>
                <a:gd name="connsiteY13" fmla="*/ 1106 h 10017"/>
                <a:gd name="connsiteX0" fmla="*/ 487 w 10000"/>
                <a:gd name="connsiteY0" fmla="*/ 0 h 10017"/>
                <a:gd name="connsiteX1" fmla="*/ 2036 w 10000"/>
                <a:gd name="connsiteY1" fmla="*/ 3258 h 10017"/>
                <a:gd name="connsiteX2" fmla="*/ 3504 w 10000"/>
                <a:gd name="connsiteY2" fmla="*/ 1106 h 10017"/>
                <a:gd name="connsiteX3" fmla="*/ 7133 w 10000"/>
                <a:gd name="connsiteY3" fmla="*/ 4132 h 10017"/>
                <a:gd name="connsiteX4" fmla="*/ 10000 w 10000"/>
                <a:gd name="connsiteY4" fmla="*/ 1161 h 10017"/>
                <a:gd name="connsiteX5" fmla="*/ 9749 w 10000"/>
                <a:gd name="connsiteY5" fmla="*/ 9584 h 10017"/>
                <a:gd name="connsiteX6" fmla="*/ 8971 w 10000"/>
                <a:gd name="connsiteY6" fmla="*/ 3689 h 10017"/>
                <a:gd name="connsiteX7" fmla="*/ 6843 w 10000"/>
                <a:gd name="connsiteY7" fmla="*/ 8234 h 10017"/>
                <a:gd name="connsiteX8" fmla="*/ 3504 w 10000"/>
                <a:gd name="connsiteY8" fmla="*/ 1106 h 10017"/>
                <a:gd name="connsiteX9" fmla="*/ 5356 w 10000"/>
                <a:gd name="connsiteY9" fmla="*/ 10017 h 10017"/>
                <a:gd name="connsiteX10" fmla="*/ 5356 w 10000"/>
                <a:gd name="connsiteY10" fmla="*/ 10017 h 10017"/>
                <a:gd name="connsiteX11" fmla="*/ 2032 w 10000"/>
                <a:gd name="connsiteY11" fmla="*/ 3324 h 10017"/>
                <a:gd name="connsiteX12" fmla="*/ 0 w 10000"/>
                <a:gd name="connsiteY12" fmla="*/ 9329 h 10017"/>
                <a:gd name="connsiteX13" fmla="*/ 3504 w 10000"/>
                <a:gd name="connsiteY13" fmla="*/ 1106 h 10017"/>
                <a:gd name="connsiteX0" fmla="*/ 487 w 10000"/>
                <a:gd name="connsiteY0" fmla="*/ 0 h 10017"/>
                <a:gd name="connsiteX1" fmla="*/ 2036 w 10000"/>
                <a:gd name="connsiteY1" fmla="*/ 3258 h 10017"/>
                <a:gd name="connsiteX2" fmla="*/ 3504 w 10000"/>
                <a:gd name="connsiteY2" fmla="*/ 1106 h 10017"/>
                <a:gd name="connsiteX3" fmla="*/ 7133 w 10000"/>
                <a:gd name="connsiteY3" fmla="*/ 4132 h 10017"/>
                <a:gd name="connsiteX4" fmla="*/ 10000 w 10000"/>
                <a:gd name="connsiteY4" fmla="*/ 1161 h 10017"/>
                <a:gd name="connsiteX5" fmla="*/ 9749 w 10000"/>
                <a:gd name="connsiteY5" fmla="*/ 9584 h 10017"/>
                <a:gd name="connsiteX6" fmla="*/ 8971 w 10000"/>
                <a:gd name="connsiteY6" fmla="*/ 3689 h 10017"/>
                <a:gd name="connsiteX7" fmla="*/ 6838 w 10000"/>
                <a:gd name="connsiteY7" fmla="*/ 8194 h 10017"/>
                <a:gd name="connsiteX8" fmla="*/ 3504 w 10000"/>
                <a:gd name="connsiteY8" fmla="*/ 1106 h 10017"/>
                <a:gd name="connsiteX9" fmla="*/ 5356 w 10000"/>
                <a:gd name="connsiteY9" fmla="*/ 10017 h 10017"/>
                <a:gd name="connsiteX10" fmla="*/ 5356 w 10000"/>
                <a:gd name="connsiteY10" fmla="*/ 10017 h 10017"/>
                <a:gd name="connsiteX11" fmla="*/ 2032 w 10000"/>
                <a:gd name="connsiteY11" fmla="*/ 3324 h 10017"/>
                <a:gd name="connsiteX12" fmla="*/ 0 w 10000"/>
                <a:gd name="connsiteY12" fmla="*/ 9329 h 10017"/>
                <a:gd name="connsiteX13" fmla="*/ 3504 w 10000"/>
                <a:gd name="connsiteY13" fmla="*/ 1106 h 10017"/>
                <a:gd name="connsiteX0" fmla="*/ 487 w 10000"/>
                <a:gd name="connsiteY0" fmla="*/ 0 h 10280"/>
                <a:gd name="connsiteX1" fmla="*/ 2036 w 10000"/>
                <a:gd name="connsiteY1" fmla="*/ 3258 h 10280"/>
                <a:gd name="connsiteX2" fmla="*/ 3504 w 10000"/>
                <a:gd name="connsiteY2" fmla="*/ 1106 h 10280"/>
                <a:gd name="connsiteX3" fmla="*/ 7133 w 10000"/>
                <a:gd name="connsiteY3" fmla="*/ 4132 h 10280"/>
                <a:gd name="connsiteX4" fmla="*/ 10000 w 10000"/>
                <a:gd name="connsiteY4" fmla="*/ 1161 h 10280"/>
                <a:gd name="connsiteX5" fmla="*/ 9749 w 10000"/>
                <a:gd name="connsiteY5" fmla="*/ 9584 h 10280"/>
                <a:gd name="connsiteX6" fmla="*/ 8971 w 10000"/>
                <a:gd name="connsiteY6" fmla="*/ 3689 h 10280"/>
                <a:gd name="connsiteX7" fmla="*/ 6838 w 10000"/>
                <a:gd name="connsiteY7" fmla="*/ 8194 h 10280"/>
                <a:gd name="connsiteX8" fmla="*/ 3504 w 10000"/>
                <a:gd name="connsiteY8" fmla="*/ 1106 h 10280"/>
                <a:gd name="connsiteX9" fmla="*/ 5356 w 10000"/>
                <a:gd name="connsiteY9" fmla="*/ 10017 h 10280"/>
                <a:gd name="connsiteX10" fmla="*/ 5431 w 10000"/>
                <a:gd name="connsiteY10" fmla="*/ 10280 h 10280"/>
                <a:gd name="connsiteX11" fmla="*/ 2032 w 10000"/>
                <a:gd name="connsiteY11" fmla="*/ 3324 h 10280"/>
                <a:gd name="connsiteX12" fmla="*/ 0 w 10000"/>
                <a:gd name="connsiteY12" fmla="*/ 9329 h 10280"/>
                <a:gd name="connsiteX13" fmla="*/ 3504 w 10000"/>
                <a:gd name="connsiteY13" fmla="*/ 1106 h 10280"/>
                <a:gd name="connsiteX0" fmla="*/ 487 w 10000"/>
                <a:gd name="connsiteY0" fmla="*/ 0 h 10387"/>
                <a:gd name="connsiteX1" fmla="*/ 2036 w 10000"/>
                <a:gd name="connsiteY1" fmla="*/ 3258 h 10387"/>
                <a:gd name="connsiteX2" fmla="*/ 3504 w 10000"/>
                <a:gd name="connsiteY2" fmla="*/ 1106 h 10387"/>
                <a:gd name="connsiteX3" fmla="*/ 7133 w 10000"/>
                <a:gd name="connsiteY3" fmla="*/ 4132 h 10387"/>
                <a:gd name="connsiteX4" fmla="*/ 10000 w 10000"/>
                <a:gd name="connsiteY4" fmla="*/ 1161 h 10387"/>
                <a:gd name="connsiteX5" fmla="*/ 9749 w 10000"/>
                <a:gd name="connsiteY5" fmla="*/ 9584 h 10387"/>
                <a:gd name="connsiteX6" fmla="*/ 8971 w 10000"/>
                <a:gd name="connsiteY6" fmla="*/ 3689 h 10387"/>
                <a:gd name="connsiteX7" fmla="*/ 6838 w 10000"/>
                <a:gd name="connsiteY7" fmla="*/ 8194 h 10387"/>
                <a:gd name="connsiteX8" fmla="*/ 3504 w 10000"/>
                <a:gd name="connsiteY8" fmla="*/ 1106 h 10387"/>
                <a:gd name="connsiteX9" fmla="*/ 5356 w 10000"/>
                <a:gd name="connsiteY9" fmla="*/ 10017 h 10387"/>
                <a:gd name="connsiteX10" fmla="*/ 2032 w 10000"/>
                <a:gd name="connsiteY10" fmla="*/ 3324 h 10387"/>
                <a:gd name="connsiteX11" fmla="*/ 0 w 10000"/>
                <a:gd name="connsiteY11" fmla="*/ 9329 h 10387"/>
                <a:gd name="connsiteX12" fmla="*/ 3504 w 10000"/>
                <a:gd name="connsiteY12" fmla="*/ 1106 h 10387"/>
                <a:gd name="connsiteX0" fmla="*/ 487 w 10000"/>
                <a:gd name="connsiteY0" fmla="*/ 0 h 10387"/>
                <a:gd name="connsiteX1" fmla="*/ 2036 w 10000"/>
                <a:gd name="connsiteY1" fmla="*/ 3258 h 10387"/>
                <a:gd name="connsiteX2" fmla="*/ 3504 w 10000"/>
                <a:gd name="connsiteY2" fmla="*/ 1106 h 10387"/>
                <a:gd name="connsiteX3" fmla="*/ 7133 w 10000"/>
                <a:gd name="connsiteY3" fmla="*/ 4132 h 10387"/>
                <a:gd name="connsiteX4" fmla="*/ 10000 w 10000"/>
                <a:gd name="connsiteY4" fmla="*/ 1161 h 10387"/>
                <a:gd name="connsiteX5" fmla="*/ 9749 w 10000"/>
                <a:gd name="connsiteY5" fmla="*/ 9584 h 10387"/>
                <a:gd name="connsiteX6" fmla="*/ 8971 w 10000"/>
                <a:gd name="connsiteY6" fmla="*/ 3689 h 10387"/>
                <a:gd name="connsiteX7" fmla="*/ 6838 w 10000"/>
                <a:gd name="connsiteY7" fmla="*/ 8194 h 10387"/>
                <a:gd name="connsiteX8" fmla="*/ 3504 w 10000"/>
                <a:gd name="connsiteY8" fmla="*/ 1106 h 10387"/>
                <a:gd name="connsiteX9" fmla="*/ 5356 w 10000"/>
                <a:gd name="connsiteY9" fmla="*/ 10017 h 10387"/>
                <a:gd name="connsiteX10" fmla="*/ 2032 w 10000"/>
                <a:gd name="connsiteY10" fmla="*/ 3324 h 10387"/>
                <a:gd name="connsiteX11" fmla="*/ 0 w 10000"/>
                <a:gd name="connsiteY11" fmla="*/ 9329 h 10387"/>
                <a:gd name="connsiteX12" fmla="*/ 3504 w 10000"/>
                <a:gd name="connsiteY12" fmla="*/ 1106 h 10387"/>
                <a:gd name="connsiteX0" fmla="*/ 487 w 10000"/>
                <a:gd name="connsiteY0" fmla="*/ 0 h 10387"/>
                <a:gd name="connsiteX1" fmla="*/ 2036 w 10000"/>
                <a:gd name="connsiteY1" fmla="*/ 3258 h 10387"/>
                <a:gd name="connsiteX2" fmla="*/ 3504 w 10000"/>
                <a:gd name="connsiteY2" fmla="*/ 1106 h 10387"/>
                <a:gd name="connsiteX3" fmla="*/ 7133 w 10000"/>
                <a:gd name="connsiteY3" fmla="*/ 4132 h 10387"/>
                <a:gd name="connsiteX4" fmla="*/ 10000 w 10000"/>
                <a:gd name="connsiteY4" fmla="*/ 1161 h 10387"/>
                <a:gd name="connsiteX5" fmla="*/ 9749 w 10000"/>
                <a:gd name="connsiteY5" fmla="*/ 9584 h 10387"/>
                <a:gd name="connsiteX6" fmla="*/ 8971 w 10000"/>
                <a:gd name="connsiteY6" fmla="*/ 3689 h 10387"/>
                <a:gd name="connsiteX7" fmla="*/ 6838 w 10000"/>
                <a:gd name="connsiteY7" fmla="*/ 8194 h 10387"/>
                <a:gd name="connsiteX8" fmla="*/ 3504 w 10000"/>
                <a:gd name="connsiteY8" fmla="*/ 1106 h 10387"/>
                <a:gd name="connsiteX9" fmla="*/ 5356 w 10000"/>
                <a:gd name="connsiteY9" fmla="*/ 10017 h 10387"/>
                <a:gd name="connsiteX10" fmla="*/ 2032 w 10000"/>
                <a:gd name="connsiteY10" fmla="*/ 3324 h 10387"/>
                <a:gd name="connsiteX11" fmla="*/ 0 w 10000"/>
                <a:gd name="connsiteY11" fmla="*/ 9329 h 10387"/>
                <a:gd name="connsiteX12" fmla="*/ 3504 w 10000"/>
                <a:gd name="connsiteY12" fmla="*/ 1106 h 10387"/>
                <a:gd name="connsiteX0" fmla="*/ 487 w 10000"/>
                <a:gd name="connsiteY0" fmla="*/ 0 h 10387"/>
                <a:gd name="connsiteX1" fmla="*/ 2036 w 10000"/>
                <a:gd name="connsiteY1" fmla="*/ 3258 h 10387"/>
                <a:gd name="connsiteX2" fmla="*/ 3504 w 10000"/>
                <a:gd name="connsiteY2" fmla="*/ 1106 h 10387"/>
                <a:gd name="connsiteX3" fmla="*/ 7133 w 10000"/>
                <a:gd name="connsiteY3" fmla="*/ 4132 h 10387"/>
                <a:gd name="connsiteX4" fmla="*/ 10000 w 10000"/>
                <a:gd name="connsiteY4" fmla="*/ 1161 h 10387"/>
                <a:gd name="connsiteX5" fmla="*/ 9749 w 10000"/>
                <a:gd name="connsiteY5" fmla="*/ 9584 h 10387"/>
                <a:gd name="connsiteX6" fmla="*/ 8971 w 10000"/>
                <a:gd name="connsiteY6" fmla="*/ 3689 h 10387"/>
                <a:gd name="connsiteX7" fmla="*/ 6838 w 10000"/>
                <a:gd name="connsiteY7" fmla="*/ 8194 h 10387"/>
                <a:gd name="connsiteX8" fmla="*/ 3504 w 10000"/>
                <a:gd name="connsiteY8" fmla="*/ 1106 h 10387"/>
                <a:gd name="connsiteX9" fmla="*/ 5356 w 10000"/>
                <a:gd name="connsiteY9" fmla="*/ 10017 h 10387"/>
                <a:gd name="connsiteX10" fmla="*/ 2032 w 10000"/>
                <a:gd name="connsiteY10" fmla="*/ 3324 h 10387"/>
                <a:gd name="connsiteX11" fmla="*/ 0 w 10000"/>
                <a:gd name="connsiteY11" fmla="*/ 9329 h 10387"/>
                <a:gd name="connsiteX12" fmla="*/ 3504 w 10000"/>
                <a:gd name="connsiteY12" fmla="*/ 1106 h 10387"/>
                <a:gd name="connsiteX0" fmla="*/ 487 w 10000"/>
                <a:gd name="connsiteY0" fmla="*/ 0 h 10387"/>
                <a:gd name="connsiteX1" fmla="*/ 2036 w 10000"/>
                <a:gd name="connsiteY1" fmla="*/ 3258 h 10387"/>
                <a:gd name="connsiteX2" fmla="*/ 3504 w 10000"/>
                <a:gd name="connsiteY2" fmla="*/ 1106 h 10387"/>
                <a:gd name="connsiteX3" fmla="*/ 7133 w 10000"/>
                <a:gd name="connsiteY3" fmla="*/ 4132 h 10387"/>
                <a:gd name="connsiteX4" fmla="*/ 10000 w 10000"/>
                <a:gd name="connsiteY4" fmla="*/ 1161 h 10387"/>
                <a:gd name="connsiteX5" fmla="*/ 9749 w 10000"/>
                <a:gd name="connsiteY5" fmla="*/ 9584 h 10387"/>
                <a:gd name="connsiteX6" fmla="*/ 8971 w 10000"/>
                <a:gd name="connsiteY6" fmla="*/ 3689 h 10387"/>
                <a:gd name="connsiteX7" fmla="*/ 6838 w 10000"/>
                <a:gd name="connsiteY7" fmla="*/ 8194 h 10387"/>
                <a:gd name="connsiteX8" fmla="*/ 3504 w 10000"/>
                <a:gd name="connsiteY8" fmla="*/ 1106 h 10387"/>
                <a:gd name="connsiteX9" fmla="*/ 5356 w 10000"/>
                <a:gd name="connsiteY9" fmla="*/ 10017 h 10387"/>
                <a:gd name="connsiteX10" fmla="*/ 2032 w 10000"/>
                <a:gd name="connsiteY10" fmla="*/ 3324 h 10387"/>
                <a:gd name="connsiteX11" fmla="*/ 0 w 10000"/>
                <a:gd name="connsiteY11" fmla="*/ 9329 h 10387"/>
                <a:gd name="connsiteX12" fmla="*/ 3504 w 10000"/>
                <a:gd name="connsiteY12" fmla="*/ 1106 h 10387"/>
                <a:gd name="connsiteX0" fmla="*/ 487 w 10000"/>
                <a:gd name="connsiteY0" fmla="*/ 0 h 10017"/>
                <a:gd name="connsiteX1" fmla="*/ 2036 w 10000"/>
                <a:gd name="connsiteY1" fmla="*/ 3258 h 10017"/>
                <a:gd name="connsiteX2" fmla="*/ 3504 w 10000"/>
                <a:gd name="connsiteY2" fmla="*/ 1106 h 10017"/>
                <a:gd name="connsiteX3" fmla="*/ 7133 w 10000"/>
                <a:gd name="connsiteY3" fmla="*/ 4132 h 10017"/>
                <a:gd name="connsiteX4" fmla="*/ 10000 w 10000"/>
                <a:gd name="connsiteY4" fmla="*/ 1161 h 10017"/>
                <a:gd name="connsiteX5" fmla="*/ 9749 w 10000"/>
                <a:gd name="connsiteY5" fmla="*/ 9584 h 10017"/>
                <a:gd name="connsiteX6" fmla="*/ 8971 w 10000"/>
                <a:gd name="connsiteY6" fmla="*/ 3689 h 10017"/>
                <a:gd name="connsiteX7" fmla="*/ 6838 w 10000"/>
                <a:gd name="connsiteY7" fmla="*/ 8194 h 10017"/>
                <a:gd name="connsiteX8" fmla="*/ 3504 w 10000"/>
                <a:gd name="connsiteY8" fmla="*/ 1106 h 10017"/>
                <a:gd name="connsiteX9" fmla="*/ 5356 w 10000"/>
                <a:gd name="connsiteY9" fmla="*/ 10017 h 10017"/>
                <a:gd name="connsiteX10" fmla="*/ 2032 w 10000"/>
                <a:gd name="connsiteY10" fmla="*/ 3324 h 10017"/>
                <a:gd name="connsiteX11" fmla="*/ 0 w 10000"/>
                <a:gd name="connsiteY11" fmla="*/ 9329 h 10017"/>
                <a:gd name="connsiteX12" fmla="*/ 3504 w 10000"/>
                <a:gd name="connsiteY12" fmla="*/ 1106 h 10017"/>
                <a:gd name="connsiteX0" fmla="*/ 487 w 10000"/>
                <a:gd name="connsiteY0" fmla="*/ 0 h 10017"/>
                <a:gd name="connsiteX1" fmla="*/ 2036 w 10000"/>
                <a:gd name="connsiteY1" fmla="*/ 3258 h 10017"/>
                <a:gd name="connsiteX2" fmla="*/ 3504 w 10000"/>
                <a:gd name="connsiteY2" fmla="*/ 1106 h 10017"/>
                <a:gd name="connsiteX3" fmla="*/ 7133 w 10000"/>
                <a:gd name="connsiteY3" fmla="*/ 4132 h 10017"/>
                <a:gd name="connsiteX4" fmla="*/ 10000 w 10000"/>
                <a:gd name="connsiteY4" fmla="*/ 1161 h 10017"/>
                <a:gd name="connsiteX5" fmla="*/ 9749 w 10000"/>
                <a:gd name="connsiteY5" fmla="*/ 9584 h 10017"/>
                <a:gd name="connsiteX6" fmla="*/ 8971 w 10000"/>
                <a:gd name="connsiteY6" fmla="*/ 3689 h 10017"/>
                <a:gd name="connsiteX7" fmla="*/ 6838 w 10000"/>
                <a:gd name="connsiteY7" fmla="*/ 8194 h 10017"/>
                <a:gd name="connsiteX8" fmla="*/ 3504 w 10000"/>
                <a:gd name="connsiteY8" fmla="*/ 1106 h 10017"/>
                <a:gd name="connsiteX9" fmla="*/ 5356 w 10000"/>
                <a:gd name="connsiteY9" fmla="*/ 10017 h 10017"/>
                <a:gd name="connsiteX10" fmla="*/ 2032 w 10000"/>
                <a:gd name="connsiteY10" fmla="*/ 3324 h 10017"/>
                <a:gd name="connsiteX11" fmla="*/ 0 w 10000"/>
                <a:gd name="connsiteY11" fmla="*/ 9329 h 10017"/>
                <a:gd name="connsiteX12" fmla="*/ 3504 w 10000"/>
                <a:gd name="connsiteY12" fmla="*/ 1106 h 10017"/>
                <a:gd name="connsiteX0" fmla="*/ 487 w 10000"/>
                <a:gd name="connsiteY0" fmla="*/ 0 h 9584"/>
                <a:gd name="connsiteX1" fmla="*/ 2036 w 10000"/>
                <a:gd name="connsiteY1" fmla="*/ 3258 h 9584"/>
                <a:gd name="connsiteX2" fmla="*/ 3504 w 10000"/>
                <a:gd name="connsiteY2" fmla="*/ 1106 h 9584"/>
                <a:gd name="connsiteX3" fmla="*/ 7133 w 10000"/>
                <a:gd name="connsiteY3" fmla="*/ 4132 h 9584"/>
                <a:gd name="connsiteX4" fmla="*/ 10000 w 10000"/>
                <a:gd name="connsiteY4" fmla="*/ 1161 h 9584"/>
                <a:gd name="connsiteX5" fmla="*/ 9749 w 10000"/>
                <a:gd name="connsiteY5" fmla="*/ 9584 h 9584"/>
                <a:gd name="connsiteX6" fmla="*/ 8971 w 10000"/>
                <a:gd name="connsiteY6" fmla="*/ 3689 h 9584"/>
                <a:gd name="connsiteX7" fmla="*/ 6838 w 10000"/>
                <a:gd name="connsiteY7" fmla="*/ 8194 h 9584"/>
                <a:gd name="connsiteX8" fmla="*/ 3504 w 10000"/>
                <a:gd name="connsiteY8" fmla="*/ 1106 h 9584"/>
                <a:gd name="connsiteX9" fmla="*/ 5297 w 10000"/>
                <a:gd name="connsiteY9" fmla="*/ 9538 h 9584"/>
                <a:gd name="connsiteX10" fmla="*/ 2032 w 10000"/>
                <a:gd name="connsiteY10" fmla="*/ 3324 h 9584"/>
                <a:gd name="connsiteX11" fmla="*/ 0 w 10000"/>
                <a:gd name="connsiteY11" fmla="*/ 9329 h 9584"/>
                <a:gd name="connsiteX12" fmla="*/ 3504 w 10000"/>
                <a:gd name="connsiteY12" fmla="*/ 1106 h 9584"/>
                <a:gd name="connsiteX0" fmla="*/ 487 w 10000"/>
                <a:gd name="connsiteY0" fmla="*/ 0 h 10000"/>
                <a:gd name="connsiteX1" fmla="*/ 2036 w 10000"/>
                <a:gd name="connsiteY1" fmla="*/ 3399 h 10000"/>
                <a:gd name="connsiteX2" fmla="*/ 3504 w 10000"/>
                <a:gd name="connsiteY2" fmla="*/ 1154 h 10000"/>
                <a:gd name="connsiteX3" fmla="*/ 7133 w 10000"/>
                <a:gd name="connsiteY3" fmla="*/ 4311 h 10000"/>
                <a:gd name="connsiteX4" fmla="*/ 10000 w 10000"/>
                <a:gd name="connsiteY4" fmla="*/ 1211 h 10000"/>
                <a:gd name="connsiteX5" fmla="*/ 9749 w 10000"/>
                <a:gd name="connsiteY5" fmla="*/ 10000 h 10000"/>
                <a:gd name="connsiteX6" fmla="*/ 8971 w 10000"/>
                <a:gd name="connsiteY6" fmla="*/ 3849 h 10000"/>
                <a:gd name="connsiteX7" fmla="*/ 6838 w 10000"/>
                <a:gd name="connsiteY7" fmla="*/ 8550 h 10000"/>
                <a:gd name="connsiteX8" fmla="*/ 3504 w 10000"/>
                <a:gd name="connsiteY8" fmla="*/ 1154 h 10000"/>
                <a:gd name="connsiteX9" fmla="*/ 5297 w 10000"/>
                <a:gd name="connsiteY9" fmla="*/ 9952 h 10000"/>
                <a:gd name="connsiteX10" fmla="*/ 2032 w 10000"/>
                <a:gd name="connsiteY10" fmla="*/ 3468 h 10000"/>
                <a:gd name="connsiteX11" fmla="*/ 0 w 10000"/>
                <a:gd name="connsiteY11" fmla="*/ 9734 h 10000"/>
                <a:gd name="connsiteX12" fmla="*/ 3504 w 10000"/>
                <a:gd name="connsiteY12" fmla="*/ 1154 h 10000"/>
                <a:gd name="connsiteX0" fmla="*/ 487 w 10000"/>
                <a:gd name="connsiteY0" fmla="*/ 0 h 10000"/>
                <a:gd name="connsiteX1" fmla="*/ 2036 w 10000"/>
                <a:gd name="connsiteY1" fmla="*/ 3399 h 10000"/>
                <a:gd name="connsiteX2" fmla="*/ 3504 w 10000"/>
                <a:gd name="connsiteY2" fmla="*/ 1154 h 10000"/>
                <a:gd name="connsiteX3" fmla="*/ 7133 w 10000"/>
                <a:gd name="connsiteY3" fmla="*/ 4311 h 10000"/>
                <a:gd name="connsiteX4" fmla="*/ 10000 w 10000"/>
                <a:gd name="connsiteY4" fmla="*/ 1211 h 10000"/>
                <a:gd name="connsiteX5" fmla="*/ 9749 w 10000"/>
                <a:gd name="connsiteY5" fmla="*/ 10000 h 10000"/>
                <a:gd name="connsiteX6" fmla="*/ 8971 w 10000"/>
                <a:gd name="connsiteY6" fmla="*/ 3849 h 10000"/>
                <a:gd name="connsiteX7" fmla="*/ 6838 w 10000"/>
                <a:gd name="connsiteY7" fmla="*/ 8550 h 10000"/>
                <a:gd name="connsiteX8" fmla="*/ 3504 w 10000"/>
                <a:gd name="connsiteY8" fmla="*/ 1154 h 10000"/>
                <a:gd name="connsiteX9" fmla="*/ 5297 w 10000"/>
                <a:gd name="connsiteY9" fmla="*/ 9952 h 10000"/>
                <a:gd name="connsiteX10" fmla="*/ 2032 w 10000"/>
                <a:gd name="connsiteY10" fmla="*/ 3468 h 10000"/>
                <a:gd name="connsiteX11" fmla="*/ 0 w 10000"/>
                <a:gd name="connsiteY11" fmla="*/ 9734 h 10000"/>
                <a:gd name="connsiteX12" fmla="*/ 3504 w 10000"/>
                <a:gd name="connsiteY12" fmla="*/ 1154 h 10000"/>
                <a:gd name="connsiteX0" fmla="*/ 487 w 10000"/>
                <a:gd name="connsiteY0" fmla="*/ 0 h 10000"/>
                <a:gd name="connsiteX1" fmla="*/ 2036 w 10000"/>
                <a:gd name="connsiteY1" fmla="*/ 3399 h 10000"/>
                <a:gd name="connsiteX2" fmla="*/ 3504 w 10000"/>
                <a:gd name="connsiteY2" fmla="*/ 1154 h 10000"/>
                <a:gd name="connsiteX3" fmla="*/ 7133 w 10000"/>
                <a:gd name="connsiteY3" fmla="*/ 4311 h 10000"/>
                <a:gd name="connsiteX4" fmla="*/ 10000 w 10000"/>
                <a:gd name="connsiteY4" fmla="*/ 1211 h 10000"/>
                <a:gd name="connsiteX5" fmla="*/ 9749 w 10000"/>
                <a:gd name="connsiteY5" fmla="*/ 10000 h 10000"/>
                <a:gd name="connsiteX6" fmla="*/ 8971 w 10000"/>
                <a:gd name="connsiteY6" fmla="*/ 3849 h 10000"/>
                <a:gd name="connsiteX7" fmla="*/ 6838 w 10000"/>
                <a:gd name="connsiteY7" fmla="*/ 8550 h 10000"/>
                <a:gd name="connsiteX8" fmla="*/ 3504 w 10000"/>
                <a:gd name="connsiteY8" fmla="*/ 1154 h 10000"/>
                <a:gd name="connsiteX9" fmla="*/ 5297 w 10000"/>
                <a:gd name="connsiteY9" fmla="*/ 9952 h 10000"/>
                <a:gd name="connsiteX10" fmla="*/ 2032 w 10000"/>
                <a:gd name="connsiteY10" fmla="*/ 3468 h 10000"/>
                <a:gd name="connsiteX11" fmla="*/ 0 w 10000"/>
                <a:gd name="connsiteY11" fmla="*/ 9734 h 10000"/>
                <a:gd name="connsiteX12" fmla="*/ 3540 w 10000"/>
                <a:gd name="connsiteY12" fmla="*/ 857 h 10000"/>
                <a:gd name="connsiteX0" fmla="*/ 487 w 10000"/>
                <a:gd name="connsiteY0" fmla="*/ 0 h 10000"/>
                <a:gd name="connsiteX1" fmla="*/ 2036 w 10000"/>
                <a:gd name="connsiteY1" fmla="*/ 3399 h 10000"/>
                <a:gd name="connsiteX2" fmla="*/ 3504 w 10000"/>
                <a:gd name="connsiteY2" fmla="*/ 1154 h 10000"/>
                <a:gd name="connsiteX3" fmla="*/ 7133 w 10000"/>
                <a:gd name="connsiteY3" fmla="*/ 4311 h 10000"/>
                <a:gd name="connsiteX4" fmla="*/ 10000 w 10000"/>
                <a:gd name="connsiteY4" fmla="*/ 1211 h 10000"/>
                <a:gd name="connsiteX5" fmla="*/ 9749 w 10000"/>
                <a:gd name="connsiteY5" fmla="*/ 10000 h 10000"/>
                <a:gd name="connsiteX6" fmla="*/ 8971 w 10000"/>
                <a:gd name="connsiteY6" fmla="*/ 3849 h 10000"/>
                <a:gd name="connsiteX7" fmla="*/ 6838 w 10000"/>
                <a:gd name="connsiteY7" fmla="*/ 8550 h 10000"/>
                <a:gd name="connsiteX8" fmla="*/ 3626 w 10000"/>
                <a:gd name="connsiteY8" fmla="*/ 1076 h 10000"/>
                <a:gd name="connsiteX9" fmla="*/ 5297 w 10000"/>
                <a:gd name="connsiteY9" fmla="*/ 9952 h 10000"/>
                <a:gd name="connsiteX10" fmla="*/ 2032 w 10000"/>
                <a:gd name="connsiteY10" fmla="*/ 3468 h 10000"/>
                <a:gd name="connsiteX11" fmla="*/ 0 w 10000"/>
                <a:gd name="connsiteY11" fmla="*/ 9734 h 10000"/>
                <a:gd name="connsiteX12" fmla="*/ 3540 w 10000"/>
                <a:gd name="connsiteY12" fmla="*/ 857 h 10000"/>
                <a:gd name="connsiteX0" fmla="*/ 487 w 10000"/>
                <a:gd name="connsiteY0" fmla="*/ 0 h 10000"/>
                <a:gd name="connsiteX1" fmla="*/ 2036 w 10000"/>
                <a:gd name="connsiteY1" fmla="*/ 3399 h 10000"/>
                <a:gd name="connsiteX2" fmla="*/ 3504 w 10000"/>
                <a:gd name="connsiteY2" fmla="*/ 1154 h 10000"/>
                <a:gd name="connsiteX3" fmla="*/ 7133 w 10000"/>
                <a:gd name="connsiteY3" fmla="*/ 4311 h 10000"/>
                <a:gd name="connsiteX4" fmla="*/ 10000 w 10000"/>
                <a:gd name="connsiteY4" fmla="*/ 1211 h 10000"/>
                <a:gd name="connsiteX5" fmla="*/ 9749 w 10000"/>
                <a:gd name="connsiteY5" fmla="*/ 10000 h 10000"/>
                <a:gd name="connsiteX6" fmla="*/ 8971 w 10000"/>
                <a:gd name="connsiteY6" fmla="*/ 3849 h 10000"/>
                <a:gd name="connsiteX7" fmla="*/ 6838 w 10000"/>
                <a:gd name="connsiteY7" fmla="*/ 8550 h 10000"/>
                <a:gd name="connsiteX8" fmla="*/ 3626 w 10000"/>
                <a:gd name="connsiteY8" fmla="*/ 1076 h 10000"/>
                <a:gd name="connsiteX9" fmla="*/ 5297 w 10000"/>
                <a:gd name="connsiteY9" fmla="*/ 9952 h 10000"/>
                <a:gd name="connsiteX10" fmla="*/ 2032 w 10000"/>
                <a:gd name="connsiteY10" fmla="*/ 3468 h 10000"/>
                <a:gd name="connsiteX11" fmla="*/ 0 w 10000"/>
                <a:gd name="connsiteY11" fmla="*/ 9734 h 10000"/>
                <a:gd name="connsiteX12" fmla="*/ 3540 w 10000"/>
                <a:gd name="connsiteY12" fmla="*/ 857 h 10000"/>
                <a:gd name="connsiteX0" fmla="*/ 487 w 10000"/>
                <a:gd name="connsiteY0" fmla="*/ 0 h 10000"/>
                <a:gd name="connsiteX1" fmla="*/ 2036 w 10000"/>
                <a:gd name="connsiteY1" fmla="*/ 3399 h 10000"/>
                <a:gd name="connsiteX2" fmla="*/ 3504 w 10000"/>
                <a:gd name="connsiteY2" fmla="*/ 1154 h 10000"/>
                <a:gd name="connsiteX3" fmla="*/ 7133 w 10000"/>
                <a:gd name="connsiteY3" fmla="*/ 4311 h 10000"/>
                <a:gd name="connsiteX4" fmla="*/ 10000 w 10000"/>
                <a:gd name="connsiteY4" fmla="*/ 1211 h 10000"/>
                <a:gd name="connsiteX5" fmla="*/ 9749 w 10000"/>
                <a:gd name="connsiteY5" fmla="*/ 10000 h 10000"/>
                <a:gd name="connsiteX6" fmla="*/ 8971 w 10000"/>
                <a:gd name="connsiteY6" fmla="*/ 3849 h 10000"/>
                <a:gd name="connsiteX7" fmla="*/ 6838 w 10000"/>
                <a:gd name="connsiteY7" fmla="*/ 8550 h 10000"/>
                <a:gd name="connsiteX8" fmla="*/ 3507 w 10000"/>
                <a:gd name="connsiteY8" fmla="*/ 1144 h 10000"/>
                <a:gd name="connsiteX9" fmla="*/ 5297 w 10000"/>
                <a:gd name="connsiteY9" fmla="*/ 9952 h 10000"/>
                <a:gd name="connsiteX10" fmla="*/ 2032 w 10000"/>
                <a:gd name="connsiteY10" fmla="*/ 3468 h 10000"/>
                <a:gd name="connsiteX11" fmla="*/ 0 w 10000"/>
                <a:gd name="connsiteY11" fmla="*/ 9734 h 10000"/>
                <a:gd name="connsiteX12" fmla="*/ 3540 w 10000"/>
                <a:gd name="connsiteY12" fmla="*/ 857 h 10000"/>
                <a:gd name="connsiteX0" fmla="*/ 487 w 10000"/>
                <a:gd name="connsiteY0" fmla="*/ 0 h 10000"/>
                <a:gd name="connsiteX1" fmla="*/ 2036 w 10000"/>
                <a:gd name="connsiteY1" fmla="*/ 3399 h 10000"/>
                <a:gd name="connsiteX2" fmla="*/ 3504 w 10000"/>
                <a:gd name="connsiteY2" fmla="*/ 1154 h 10000"/>
                <a:gd name="connsiteX3" fmla="*/ 7133 w 10000"/>
                <a:gd name="connsiteY3" fmla="*/ 4311 h 10000"/>
                <a:gd name="connsiteX4" fmla="*/ 10000 w 10000"/>
                <a:gd name="connsiteY4" fmla="*/ 1211 h 10000"/>
                <a:gd name="connsiteX5" fmla="*/ 9749 w 10000"/>
                <a:gd name="connsiteY5" fmla="*/ 10000 h 10000"/>
                <a:gd name="connsiteX6" fmla="*/ 8971 w 10000"/>
                <a:gd name="connsiteY6" fmla="*/ 3849 h 10000"/>
                <a:gd name="connsiteX7" fmla="*/ 6838 w 10000"/>
                <a:gd name="connsiteY7" fmla="*/ 8550 h 10000"/>
                <a:gd name="connsiteX8" fmla="*/ 3507 w 10000"/>
                <a:gd name="connsiteY8" fmla="*/ 1144 h 10000"/>
                <a:gd name="connsiteX9" fmla="*/ 5297 w 10000"/>
                <a:gd name="connsiteY9" fmla="*/ 9952 h 10000"/>
                <a:gd name="connsiteX10" fmla="*/ 2032 w 10000"/>
                <a:gd name="connsiteY10" fmla="*/ 3468 h 10000"/>
                <a:gd name="connsiteX11" fmla="*/ 0 w 10000"/>
                <a:gd name="connsiteY11" fmla="*/ 9734 h 10000"/>
                <a:gd name="connsiteX12" fmla="*/ 3510 w 10000"/>
                <a:gd name="connsiteY12" fmla="*/ 1144 h 10000"/>
                <a:gd name="connsiteX0" fmla="*/ 487 w 10000"/>
                <a:gd name="connsiteY0" fmla="*/ 0 h 10000"/>
                <a:gd name="connsiteX1" fmla="*/ 2036 w 10000"/>
                <a:gd name="connsiteY1" fmla="*/ 3399 h 10000"/>
                <a:gd name="connsiteX2" fmla="*/ 3504 w 10000"/>
                <a:gd name="connsiteY2" fmla="*/ 1154 h 10000"/>
                <a:gd name="connsiteX3" fmla="*/ 7133 w 10000"/>
                <a:gd name="connsiteY3" fmla="*/ 4311 h 10000"/>
                <a:gd name="connsiteX4" fmla="*/ 10000 w 10000"/>
                <a:gd name="connsiteY4" fmla="*/ 1211 h 10000"/>
                <a:gd name="connsiteX5" fmla="*/ 9749 w 10000"/>
                <a:gd name="connsiteY5" fmla="*/ 10000 h 10000"/>
                <a:gd name="connsiteX6" fmla="*/ 8971 w 10000"/>
                <a:gd name="connsiteY6" fmla="*/ 3849 h 10000"/>
                <a:gd name="connsiteX7" fmla="*/ 6838 w 10000"/>
                <a:gd name="connsiteY7" fmla="*/ 8550 h 10000"/>
                <a:gd name="connsiteX8" fmla="*/ 3507 w 10000"/>
                <a:gd name="connsiteY8" fmla="*/ 1144 h 10000"/>
                <a:gd name="connsiteX9" fmla="*/ 5297 w 10000"/>
                <a:gd name="connsiteY9" fmla="*/ 9952 h 10000"/>
                <a:gd name="connsiteX10" fmla="*/ 2032 w 10000"/>
                <a:gd name="connsiteY10" fmla="*/ 3468 h 10000"/>
                <a:gd name="connsiteX11" fmla="*/ 0 w 10000"/>
                <a:gd name="connsiteY11" fmla="*/ 9734 h 10000"/>
                <a:gd name="connsiteX12" fmla="*/ 3454 w 10000"/>
                <a:gd name="connsiteY12" fmla="*/ 1076 h 10000"/>
                <a:gd name="connsiteX0" fmla="*/ 487 w 10000"/>
                <a:gd name="connsiteY0" fmla="*/ 0 h 10000"/>
                <a:gd name="connsiteX1" fmla="*/ 2036 w 10000"/>
                <a:gd name="connsiteY1" fmla="*/ 3399 h 10000"/>
                <a:gd name="connsiteX2" fmla="*/ 3504 w 10000"/>
                <a:gd name="connsiteY2" fmla="*/ 1154 h 10000"/>
                <a:gd name="connsiteX3" fmla="*/ 7133 w 10000"/>
                <a:gd name="connsiteY3" fmla="*/ 4311 h 10000"/>
                <a:gd name="connsiteX4" fmla="*/ 10000 w 10000"/>
                <a:gd name="connsiteY4" fmla="*/ 1211 h 10000"/>
                <a:gd name="connsiteX5" fmla="*/ 9749 w 10000"/>
                <a:gd name="connsiteY5" fmla="*/ 10000 h 10000"/>
                <a:gd name="connsiteX6" fmla="*/ 8971 w 10000"/>
                <a:gd name="connsiteY6" fmla="*/ 3849 h 10000"/>
                <a:gd name="connsiteX7" fmla="*/ 6838 w 10000"/>
                <a:gd name="connsiteY7" fmla="*/ 8550 h 10000"/>
                <a:gd name="connsiteX8" fmla="*/ 3525 w 10000"/>
                <a:gd name="connsiteY8" fmla="*/ 1183 h 10000"/>
                <a:gd name="connsiteX9" fmla="*/ 5297 w 10000"/>
                <a:gd name="connsiteY9" fmla="*/ 9952 h 10000"/>
                <a:gd name="connsiteX10" fmla="*/ 2032 w 10000"/>
                <a:gd name="connsiteY10" fmla="*/ 3468 h 10000"/>
                <a:gd name="connsiteX11" fmla="*/ 0 w 10000"/>
                <a:gd name="connsiteY11" fmla="*/ 9734 h 10000"/>
                <a:gd name="connsiteX12" fmla="*/ 3454 w 10000"/>
                <a:gd name="connsiteY12" fmla="*/ 1076 h 10000"/>
                <a:gd name="connsiteX0" fmla="*/ 487 w 10000"/>
                <a:gd name="connsiteY0" fmla="*/ 0 h 10000"/>
                <a:gd name="connsiteX1" fmla="*/ 2036 w 10000"/>
                <a:gd name="connsiteY1" fmla="*/ 3399 h 10000"/>
                <a:gd name="connsiteX2" fmla="*/ 3504 w 10000"/>
                <a:gd name="connsiteY2" fmla="*/ 1154 h 10000"/>
                <a:gd name="connsiteX3" fmla="*/ 7133 w 10000"/>
                <a:gd name="connsiteY3" fmla="*/ 4311 h 10000"/>
                <a:gd name="connsiteX4" fmla="*/ 10000 w 10000"/>
                <a:gd name="connsiteY4" fmla="*/ 1211 h 10000"/>
                <a:gd name="connsiteX5" fmla="*/ 9749 w 10000"/>
                <a:gd name="connsiteY5" fmla="*/ 10000 h 10000"/>
                <a:gd name="connsiteX6" fmla="*/ 8971 w 10000"/>
                <a:gd name="connsiteY6" fmla="*/ 3849 h 10000"/>
                <a:gd name="connsiteX7" fmla="*/ 6838 w 10000"/>
                <a:gd name="connsiteY7" fmla="*/ 8550 h 10000"/>
                <a:gd name="connsiteX8" fmla="*/ 3525 w 10000"/>
                <a:gd name="connsiteY8" fmla="*/ 1183 h 10000"/>
                <a:gd name="connsiteX9" fmla="*/ 5297 w 10000"/>
                <a:gd name="connsiteY9" fmla="*/ 9952 h 10000"/>
                <a:gd name="connsiteX10" fmla="*/ 2032 w 10000"/>
                <a:gd name="connsiteY10" fmla="*/ 3468 h 10000"/>
                <a:gd name="connsiteX11" fmla="*/ 0 w 10000"/>
                <a:gd name="connsiteY11" fmla="*/ 9734 h 10000"/>
                <a:gd name="connsiteX12" fmla="*/ 3504 w 10000"/>
                <a:gd name="connsiteY12" fmla="*/ 1151 h 10000"/>
                <a:gd name="connsiteX0" fmla="*/ 487 w 10000"/>
                <a:gd name="connsiteY0" fmla="*/ 0 h 10000"/>
                <a:gd name="connsiteX1" fmla="*/ 2036 w 10000"/>
                <a:gd name="connsiteY1" fmla="*/ 3399 h 10000"/>
                <a:gd name="connsiteX2" fmla="*/ 3504 w 10000"/>
                <a:gd name="connsiteY2" fmla="*/ 1154 h 10000"/>
                <a:gd name="connsiteX3" fmla="*/ 7133 w 10000"/>
                <a:gd name="connsiteY3" fmla="*/ 4311 h 10000"/>
                <a:gd name="connsiteX4" fmla="*/ 10000 w 10000"/>
                <a:gd name="connsiteY4" fmla="*/ 1211 h 10000"/>
                <a:gd name="connsiteX5" fmla="*/ 9749 w 10000"/>
                <a:gd name="connsiteY5" fmla="*/ 10000 h 10000"/>
                <a:gd name="connsiteX6" fmla="*/ 8971 w 10000"/>
                <a:gd name="connsiteY6" fmla="*/ 3849 h 10000"/>
                <a:gd name="connsiteX7" fmla="*/ 6838 w 10000"/>
                <a:gd name="connsiteY7" fmla="*/ 8550 h 10000"/>
                <a:gd name="connsiteX8" fmla="*/ 3525 w 10000"/>
                <a:gd name="connsiteY8" fmla="*/ 1183 h 10000"/>
                <a:gd name="connsiteX9" fmla="*/ 5297 w 10000"/>
                <a:gd name="connsiteY9" fmla="*/ 9952 h 10000"/>
                <a:gd name="connsiteX10" fmla="*/ 2032 w 10000"/>
                <a:gd name="connsiteY10" fmla="*/ 3468 h 10000"/>
                <a:gd name="connsiteX11" fmla="*/ 0 w 10000"/>
                <a:gd name="connsiteY11" fmla="*/ 9734 h 10000"/>
                <a:gd name="connsiteX12" fmla="*/ 3504 w 10000"/>
                <a:gd name="connsiteY12" fmla="*/ 1151 h 10000"/>
                <a:gd name="connsiteX0" fmla="*/ 487 w 10000"/>
                <a:gd name="connsiteY0" fmla="*/ 0 h 10000"/>
                <a:gd name="connsiteX1" fmla="*/ 2036 w 10000"/>
                <a:gd name="connsiteY1" fmla="*/ 3399 h 10000"/>
                <a:gd name="connsiteX2" fmla="*/ 3504 w 10000"/>
                <a:gd name="connsiteY2" fmla="*/ 1154 h 10000"/>
                <a:gd name="connsiteX3" fmla="*/ 7133 w 10000"/>
                <a:gd name="connsiteY3" fmla="*/ 4311 h 10000"/>
                <a:gd name="connsiteX4" fmla="*/ 10000 w 10000"/>
                <a:gd name="connsiteY4" fmla="*/ 1211 h 10000"/>
                <a:gd name="connsiteX5" fmla="*/ 9749 w 10000"/>
                <a:gd name="connsiteY5" fmla="*/ 10000 h 10000"/>
                <a:gd name="connsiteX6" fmla="*/ 9097 w 10000"/>
                <a:gd name="connsiteY6" fmla="*/ 3793 h 10000"/>
                <a:gd name="connsiteX7" fmla="*/ 6838 w 10000"/>
                <a:gd name="connsiteY7" fmla="*/ 8550 h 10000"/>
                <a:gd name="connsiteX8" fmla="*/ 3525 w 10000"/>
                <a:gd name="connsiteY8" fmla="*/ 1183 h 10000"/>
                <a:gd name="connsiteX9" fmla="*/ 5297 w 10000"/>
                <a:gd name="connsiteY9" fmla="*/ 9952 h 10000"/>
                <a:gd name="connsiteX10" fmla="*/ 2032 w 10000"/>
                <a:gd name="connsiteY10" fmla="*/ 3468 h 10000"/>
                <a:gd name="connsiteX11" fmla="*/ 0 w 10000"/>
                <a:gd name="connsiteY11" fmla="*/ 9734 h 10000"/>
                <a:gd name="connsiteX12" fmla="*/ 3504 w 10000"/>
                <a:gd name="connsiteY12" fmla="*/ 1151 h 10000"/>
                <a:gd name="connsiteX0" fmla="*/ 487 w 10000"/>
                <a:gd name="connsiteY0" fmla="*/ 0 h 10000"/>
                <a:gd name="connsiteX1" fmla="*/ 2036 w 10000"/>
                <a:gd name="connsiteY1" fmla="*/ 3399 h 10000"/>
                <a:gd name="connsiteX2" fmla="*/ 3504 w 10000"/>
                <a:gd name="connsiteY2" fmla="*/ 1154 h 10000"/>
                <a:gd name="connsiteX3" fmla="*/ 7133 w 10000"/>
                <a:gd name="connsiteY3" fmla="*/ 4311 h 10000"/>
                <a:gd name="connsiteX4" fmla="*/ 10000 w 10000"/>
                <a:gd name="connsiteY4" fmla="*/ 1211 h 10000"/>
                <a:gd name="connsiteX5" fmla="*/ 9749 w 10000"/>
                <a:gd name="connsiteY5" fmla="*/ 10000 h 10000"/>
                <a:gd name="connsiteX6" fmla="*/ 9068 w 10000"/>
                <a:gd name="connsiteY6" fmla="*/ 3884 h 10000"/>
                <a:gd name="connsiteX7" fmla="*/ 6838 w 10000"/>
                <a:gd name="connsiteY7" fmla="*/ 8550 h 10000"/>
                <a:gd name="connsiteX8" fmla="*/ 3525 w 10000"/>
                <a:gd name="connsiteY8" fmla="*/ 1183 h 10000"/>
                <a:gd name="connsiteX9" fmla="*/ 5297 w 10000"/>
                <a:gd name="connsiteY9" fmla="*/ 9952 h 10000"/>
                <a:gd name="connsiteX10" fmla="*/ 2032 w 10000"/>
                <a:gd name="connsiteY10" fmla="*/ 3468 h 10000"/>
                <a:gd name="connsiteX11" fmla="*/ 0 w 10000"/>
                <a:gd name="connsiteY11" fmla="*/ 9734 h 10000"/>
                <a:gd name="connsiteX12" fmla="*/ 3504 w 10000"/>
                <a:gd name="connsiteY12" fmla="*/ 1151 h 10000"/>
                <a:gd name="connsiteX0" fmla="*/ 487 w 10000"/>
                <a:gd name="connsiteY0" fmla="*/ 0 h 10000"/>
                <a:gd name="connsiteX1" fmla="*/ 2036 w 10000"/>
                <a:gd name="connsiteY1" fmla="*/ 3399 h 10000"/>
                <a:gd name="connsiteX2" fmla="*/ 3504 w 10000"/>
                <a:gd name="connsiteY2" fmla="*/ 1154 h 10000"/>
                <a:gd name="connsiteX3" fmla="*/ 7133 w 10000"/>
                <a:gd name="connsiteY3" fmla="*/ 4311 h 10000"/>
                <a:gd name="connsiteX4" fmla="*/ 10000 w 10000"/>
                <a:gd name="connsiteY4" fmla="*/ 1211 h 10000"/>
                <a:gd name="connsiteX5" fmla="*/ 9749 w 10000"/>
                <a:gd name="connsiteY5" fmla="*/ 10000 h 10000"/>
                <a:gd name="connsiteX6" fmla="*/ 8917 w 10000"/>
                <a:gd name="connsiteY6" fmla="*/ 4248 h 10000"/>
                <a:gd name="connsiteX7" fmla="*/ 6838 w 10000"/>
                <a:gd name="connsiteY7" fmla="*/ 8550 h 10000"/>
                <a:gd name="connsiteX8" fmla="*/ 3525 w 10000"/>
                <a:gd name="connsiteY8" fmla="*/ 1183 h 10000"/>
                <a:gd name="connsiteX9" fmla="*/ 5297 w 10000"/>
                <a:gd name="connsiteY9" fmla="*/ 9952 h 10000"/>
                <a:gd name="connsiteX10" fmla="*/ 2032 w 10000"/>
                <a:gd name="connsiteY10" fmla="*/ 3468 h 10000"/>
                <a:gd name="connsiteX11" fmla="*/ 0 w 10000"/>
                <a:gd name="connsiteY11" fmla="*/ 9734 h 10000"/>
                <a:gd name="connsiteX12" fmla="*/ 3504 w 10000"/>
                <a:gd name="connsiteY12" fmla="*/ 1151 h 10000"/>
                <a:gd name="connsiteX0" fmla="*/ 487 w 10000"/>
                <a:gd name="connsiteY0" fmla="*/ 0 h 10000"/>
                <a:gd name="connsiteX1" fmla="*/ 2036 w 10000"/>
                <a:gd name="connsiteY1" fmla="*/ 3399 h 10000"/>
                <a:gd name="connsiteX2" fmla="*/ 3504 w 10000"/>
                <a:gd name="connsiteY2" fmla="*/ 1154 h 10000"/>
                <a:gd name="connsiteX3" fmla="*/ 7133 w 10000"/>
                <a:gd name="connsiteY3" fmla="*/ 4311 h 10000"/>
                <a:gd name="connsiteX4" fmla="*/ 10000 w 10000"/>
                <a:gd name="connsiteY4" fmla="*/ 1211 h 10000"/>
                <a:gd name="connsiteX5" fmla="*/ 9749 w 10000"/>
                <a:gd name="connsiteY5" fmla="*/ 10000 h 10000"/>
                <a:gd name="connsiteX6" fmla="*/ 8917 w 10000"/>
                <a:gd name="connsiteY6" fmla="*/ 4248 h 10000"/>
                <a:gd name="connsiteX7" fmla="*/ 6838 w 10000"/>
                <a:gd name="connsiteY7" fmla="*/ 8550 h 10000"/>
                <a:gd name="connsiteX8" fmla="*/ 3525 w 10000"/>
                <a:gd name="connsiteY8" fmla="*/ 1183 h 10000"/>
                <a:gd name="connsiteX9" fmla="*/ 5297 w 10000"/>
                <a:gd name="connsiteY9" fmla="*/ 9952 h 10000"/>
                <a:gd name="connsiteX10" fmla="*/ 2032 w 10000"/>
                <a:gd name="connsiteY10" fmla="*/ 3468 h 10000"/>
                <a:gd name="connsiteX11" fmla="*/ 0 w 10000"/>
                <a:gd name="connsiteY11" fmla="*/ 9734 h 10000"/>
                <a:gd name="connsiteX12" fmla="*/ 3504 w 10000"/>
                <a:gd name="connsiteY12" fmla="*/ 1151 h 10000"/>
                <a:gd name="connsiteX0" fmla="*/ 487 w 10000"/>
                <a:gd name="connsiteY0" fmla="*/ 0 h 10000"/>
                <a:gd name="connsiteX1" fmla="*/ 2036 w 10000"/>
                <a:gd name="connsiteY1" fmla="*/ 3399 h 10000"/>
                <a:gd name="connsiteX2" fmla="*/ 3504 w 10000"/>
                <a:gd name="connsiteY2" fmla="*/ 1154 h 10000"/>
                <a:gd name="connsiteX3" fmla="*/ 7133 w 10000"/>
                <a:gd name="connsiteY3" fmla="*/ 4311 h 10000"/>
                <a:gd name="connsiteX4" fmla="*/ 10000 w 10000"/>
                <a:gd name="connsiteY4" fmla="*/ 1211 h 10000"/>
                <a:gd name="connsiteX5" fmla="*/ 9749 w 10000"/>
                <a:gd name="connsiteY5" fmla="*/ 10000 h 10000"/>
                <a:gd name="connsiteX6" fmla="*/ 8915 w 10000"/>
                <a:gd name="connsiteY6" fmla="*/ 4284 h 10000"/>
                <a:gd name="connsiteX7" fmla="*/ 6838 w 10000"/>
                <a:gd name="connsiteY7" fmla="*/ 8550 h 10000"/>
                <a:gd name="connsiteX8" fmla="*/ 3525 w 10000"/>
                <a:gd name="connsiteY8" fmla="*/ 1183 h 10000"/>
                <a:gd name="connsiteX9" fmla="*/ 5297 w 10000"/>
                <a:gd name="connsiteY9" fmla="*/ 9952 h 10000"/>
                <a:gd name="connsiteX10" fmla="*/ 2032 w 10000"/>
                <a:gd name="connsiteY10" fmla="*/ 3468 h 10000"/>
                <a:gd name="connsiteX11" fmla="*/ 0 w 10000"/>
                <a:gd name="connsiteY11" fmla="*/ 9734 h 10000"/>
                <a:gd name="connsiteX12" fmla="*/ 3504 w 10000"/>
                <a:gd name="connsiteY12" fmla="*/ 1151 h 10000"/>
                <a:gd name="connsiteX0" fmla="*/ 487 w 10000"/>
                <a:gd name="connsiteY0" fmla="*/ 0 h 10000"/>
                <a:gd name="connsiteX1" fmla="*/ 2036 w 10000"/>
                <a:gd name="connsiteY1" fmla="*/ 3399 h 10000"/>
                <a:gd name="connsiteX2" fmla="*/ 3504 w 10000"/>
                <a:gd name="connsiteY2" fmla="*/ 1154 h 10000"/>
                <a:gd name="connsiteX3" fmla="*/ 7133 w 10000"/>
                <a:gd name="connsiteY3" fmla="*/ 4311 h 10000"/>
                <a:gd name="connsiteX4" fmla="*/ 10000 w 10000"/>
                <a:gd name="connsiteY4" fmla="*/ 1211 h 10000"/>
                <a:gd name="connsiteX5" fmla="*/ 9749 w 10000"/>
                <a:gd name="connsiteY5" fmla="*/ 10000 h 10000"/>
                <a:gd name="connsiteX6" fmla="*/ 8915 w 10000"/>
                <a:gd name="connsiteY6" fmla="*/ 4284 h 10000"/>
                <a:gd name="connsiteX7" fmla="*/ 6838 w 10000"/>
                <a:gd name="connsiteY7" fmla="*/ 8550 h 10000"/>
                <a:gd name="connsiteX8" fmla="*/ 3525 w 10000"/>
                <a:gd name="connsiteY8" fmla="*/ 1183 h 10000"/>
                <a:gd name="connsiteX9" fmla="*/ 5297 w 10000"/>
                <a:gd name="connsiteY9" fmla="*/ 9952 h 10000"/>
                <a:gd name="connsiteX10" fmla="*/ 2032 w 10000"/>
                <a:gd name="connsiteY10" fmla="*/ 3468 h 10000"/>
                <a:gd name="connsiteX11" fmla="*/ 0 w 10000"/>
                <a:gd name="connsiteY11" fmla="*/ 9734 h 10000"/>
                <a:gd name="connsiteX12" fmla="*/ 3504 w 10000"/>
                <a:gd name="connsiteY12" fmla="*/ 1151 h 10000"/>
                <a:gd name="connsiteX0" fmla="*/ 487 w 10000"/>
                <a:gd name="connsiteY0" fmla="*/ 0 h 9952"/>
                <a:gd name="connsiteX1" fmla="*/ 2036 w 10000"/>
                <a:gd name="connsiteY1" fmla="*/ 3399 h 9952"/>
                <a:gd name="connsiteX2" fmla="*/ 3504 w 10000"/>
                <a:gd name="connsiteY2" fmla="*/ 1154 h 9952"/>
                <a:gd name="connsiteX3" fmla="*/ 7133 w 10000"/>
                <a:gd name="connsiteY3" fmla="*/ 4311 h 9952"/>
                <a:gd name="connsiteX4" fmla="*/ 10000 w 10000"/>
                <a:gd name="connsiteY4" fmla="*/ 1211 h 9952"/>
                <a:gd name="connsiteX5" fmla="*/ 9786 w 10000"/>
                <a:gd name="connsiteY5" fmla="*/ 9909 h 9952"/>
                <a:gd name="connsiteX6" fmla="*/ 8915 w 10000"/>
                <a:gd name="connsiteY6" fmla="*/ 4284 h 9952"/>
                <a:gd name="connsiteX7" fmla="*/ 6838 w 10000"/>
                <a:gd name="connsiteY7" fmla="*/ 8550 h 9952"/>
                <a:gd name="connsiteX8" fmla="*/ 3525 w 10000"/>
                <a:gd name="connsiteY8" fmla="*/ 1183 h 9952"/>
                <a:gd name="connsiteX9" fmla="*/ 5297 w 10000"/>
                <a:gd name="connsiteY9" fmla="*/ 9952 h 9952"/>
                <a:gd name="connsiteX10" fmla="*/ 2032 w 10000"/>
                <a:gd name="connsiteY10" fmla="*/ 3468 h 9952"/>
                <a:gd name="connsiteX11" fmla="*/ 0 w 10000"/>
                <a:gd name="connsiteY11" fmla="*/ 9734 h 9952"/>
                <a:gd name="connsiteX12" fmla="*/ 3504 w 10000"/>
                <a:gd name="connsiteY12" fmla="*/ 1151 h 9952"/>
                <a:gd name="connsiteX0" fmla="*/ 487 w 10103"/>
                <a:gd name="connsiteY0" fmla="*/ 0 h 10000"/>
                <a:gd name="connsiteX1" fmla="*/ 2036 w 10103"/>
                <a:gd name="connsiteY1" fmla="*/ 3415 h 10000"/>
                <a:gd name="connsiteX2" fmla="*/ 3504 w 10103"/>
                <a:gd name="connsiteY2" fmla="*/ 1160 h 10000"/>
                <a:gd name="connsiteX3" fmla="*/ 7133 w 10103"/>
                <a:gd name="connsiteY3" fmla="*/ 4332 h 10000"/>
                <a:gd name="connsiteX4" fmla="*/ 10103 w 10103"/>
                <a:gd name="connsiteY4" fmla="*/ 970 h 10000"/>
                <a:gd name="connsiteX5" fmla="*/ 9786 w 10103"/>
                <a:gd name="connsiteY5" fmla="*/ 9957 h 10000"/>
                <a:gd name="connsiteX6" fmla="*/ 8915 w 10103"/>
                <a:gd name="connsiteY6" fmla="*/ 4305 h 10000"/>
                <a:gd name="connsiteX7" fmla="*/ 6838 w 10103"/>
                <a:gd name="connsiteY7" fmla="*/ 8591 h 10000"/>
                <a:gd name="connsiteX8" fmla="*/ 3525 w 10103"/>
                <a:gd name="connsiteY8" fmla="*/ 1189 h 10000"/>
                <a:gd name="connsiteX9" fmla="*/ 5297 w 10103"/>
                <a:gd name="connsiteY9" fmla="*/ 10000 h 10000"/>
                <a:gd name="connsiteX10" fmla="*/ 2032 w 10103"/>
                <a:gd name="connsiteY10" fmla="*/ 3485 h 10000"/>
                <a:gd name="connsiteX11" fmla="*/ 0 w 10103"/>
                <a:gd name="connsiteY11" fmla="*/ 9781 h 10000"/>
                <a:gd name="connsiteX12" fmla="*/ 3504 w 10103"/>
                <a:gd name="connsiteY12" fmla="*/ 1157 h 10000"/>
                <a:gd name="connsiteX0" fmla="*/ 487 w 10103"/>
                <a:gd name="connsiteY0" fmla="*/ 0 h 10072"/>
                <a:gd name="connsiteX1" fmla="*/ 2036 w 10103"/>
                <a:gd name="connsiteY1" fmla="*/ 3415 h 10072"/>
                <a:gd name="connsiteX2" fmla="*/ 3504 w 10103"/>
                <a:gd name="connsiteY2" fmla="*/ 1160 h 10072"/>
                <a:gd name="connsiteX3" fmla="*/ 7133 w 10103"/>
                <a:gd name="connsiteY3" fmla="*/ 4332 h 10072"/>
                <a:gd name="connsiteX4" fmla="*/ 10103 w 10103"/>
                <a:gd name="connsiteY4" fmla="*/ 970 h 10072"/>
                <a:gd name="connsiteX5" fmla="*/ 9800 w 10103"/>
                <a:gd name="connsiteY5" fmla="*/ 10072 h 10072"/>
                <a:gd name="connsiteX6" fmla="*/ 8915 w 10103"/>
                <a:gd name="connsiteY6" fmla="*/ 4305 h 10072"/>
                <a:gd name="connsiteX7" fmla="*/ 6838 w 10103"/>
                <a:gd name="connsiteY7" fmla="*/ 8591 h 10072"/>
                <a:gd name="connsiteX8" fmla="*/ 3525 w 10103"/>
                <a:gd name="connsiteY8" fmla="*/ 1189 h 10072"/>
                <a:gd name="connsiteX9" fmla="*/ 5297 w 10103"/>
                <a:gd name="connsiteY9" fmla="*/ 10000 h 10072"/>
                <a:gd name="connsiteX10" fmla="*/ 2032 w 10103"/>
                <a:gd name="connsiteY10" fmla="*/ 3485 h 10072"/>
                <a:gd name="connsiteX11" fmla="*/ 0 w 10103"/>
                <a:gd name="connsiteY11" fmla="*/ 9781 h 10072"/>
                <a:gd name="connsiteX12" fmla="*/ 3504 w 10103"/>
                <a:gd name="connsiteY12" fmla="*/ 1157 h 10072"/>
                <a:gd name="connsiteX0" fmla="*/ 487 w 10103"/>
                <a:gd name="connsiteY0" fmla="*/ 0 h 10072"/>
                <a:gd name="connsiteX1" fmla="*/ 2036 w 10103"/>
                <a:gd name="connsiteY1" fmla="*/ 3415 h 10072"/>
                <a:gd name="connsiteX2" fmla="*/ 3504 w 10103"/>
                <a:gd name="connsiteY2" fmla="*/ 1160 h 10072"/>
                <a:gd name="connsiteX3" fmla="*/ 7133 w 10103"/>
                <a:gd name="connsiteY3" fmla="*/ 4332 h 10072"/>
                <a:gd name="connsiteX4" fmla="*/ 10103 w 10103"/>
                <a:gd name="connsiteY4" fmla="*/ 970 h 10072"/>
                <a:gd name="connsiteX5" fmla="*/ 9800 w 10103"/>
                <a:gd name="connsiteY5" fmla="*/ 10072 h 10072"/>
                <a:gd name="connsiteX6" fmla="*/ 8915 w 10103"/>
                <a:gd name="connsiteY6" fmla="*/ 4305 h 10072"/>
                <a:gd name="connsiteX7" fmla="*/ 6838 w 10103"/>
                <a:gd name="connsiteY7" fmla="*/ 8591 h 10072"/>
                <a:gd name="connsiteX8" fmla="*/ 3525 w 10103"/>
                <a:gd name="connsiteY8" fmla="*/ 1189 h 10072"/>
                <a:gd name="connsiteX9" fmla="*/ 5297 w 10103"/>
                <a:gd name="connsiteY9" fmla="*/ 10000 h 10072"/>
                <a:gd name="connsiteX10" fmla="*/ 2032 w 10103"/>
                <a:gd name="connsiteY10" fmla="*/ 3485 h 10072"/>
                <a:gd name="connsiteX11" fmla="*/ 0 w 10103"/>
                <a:gd name="connsiteY11" fmla="*/ 9781 h 10072"/>
                <a:gd name="connsiteX12" fmla="*/ 3504 w 10103"/>
                <a:gd name="connsiteY12" fmla="*/ 1157 h 1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103" h="10072">
                  <a:moveTo>
                    <a:pt x="487" y="0"/>
                  </a:moveTo>
                  <a:lnTo>
                    <a:pt x="2036" y="3415"/>
                  </a:lnTo>
                  <a:lnTo>
                    <a:pt x="3504" y="1160"/>
                  </a:lnTo>
                  <a:lnTo>
                    <a:pt x="7133" y="4332"/>
                  </a:lnTo>
                  <a:lnTo>
                    <a:pt x="10103" y="970"/>
                  </a:lnTo>
                  <a:cubicBezTo>
                    <a:pt x="10019" y="3914"/>
                    <a:pt x="9884" y="7128"/>
                    <a:pt x="9800" y="10072"/>
                  </a:cubicBezTo>
                  <a:cubicBezTo>
                    <a:pt x="9521" y="8106"/>
                    <a:pt x="8989" y="4756"/>
                    <a:pt x="8915" y="4305"/>
                  </a:cubicBezTo>
                  <a:lnTo>
                    <a:pt x="6838" y="8591"/>
                  </a:lnTo>
                  <a:lnTo>
                    <a:pt x="3525" y="1189"/>
                  </a:lnTo>
                  <a:cubicBezTo>
                    <a:pt x="3636" y="1697"/>
                    <a:pt x="5175" y="9512"/>
                    <a:pt x="5297" y="10000"/>
                  </a:cubicBezTo>
                  <a:cubicBezTo>
                    <a:pt x="5259" y="9913"/>
                    <a:pt x="2743" y="4942"/>
                    <a:pt x="2032" y="3485"/>
                  </a:cubicBezTo>
                  <a:lnTo>
                    <a:pt x="0" y="9781"/>
                  </a:lnTo>
                  <a:lnTo>
                    <a:pt x="3504" y="1157"/>
                  </a:ln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3" name="Freeform 11"/>
            <p:cNvSpPr>
              <a:spLocks/>
            </p:cNvSpPr>
            <p:nvPr userDrawn="1"/>
          </p:nvSpPr>
          <p:spPr bwMode="auto">
            <a:xfrm>
              <a:off x="1374775" y="2047876"/>
              <a:ext cx="7793037" cy="3284538"/>
            </a:xfrm>
            <a:custGeom>
              <a:avLst/>
              <a:gdLst>
                <a:gd name="connsiteX0" fmla="*/ 0 w 10000"/>
                <a:gd name="connsiteY0" fmla="*/ 0 h 10000"/>
                <a:gd name="connsiteX1" fmla="*/ 1942 w 10000"/>
                <a:gd name="connsiteY1" fmla="*/ 8391 h 10000"/>
                <a:gd name="connsiteX2" fmla="*/ 3262 w 10000"/>
                <a:gd name="connsiteY2" fmla="*/ 1209 h 10000"/>
                <a:gd name="connsiteX3" fmla="*/ 5552 w 10000"/>
                <a:gd name="connsiteY3" fmla="*/ 7040 h 10000"/>
                <a:gd name="connsiteX4" fmla="*/ 5911 w 10000"/>
                <a:gd name="connsiteY4" fmla="*/ 3954 h 10000"/>
                <a:gd name="connsiteX5" fmla="*/ 9163 w 10000"/>
                <a:gd name="connsiteY5" fmla="*/ 3857 h 10000"/>
                <a:gd name="connsiteX6" fmla="*/ 5552 w 10000"/>
                <a:gd name="connsiteY6" fmla="*/ 7040 h 10000"/>
                <a:gd name="connsiteX7" fmla="*/ 10000 w 10000"/>
                <a:gd name="connsiteY7" fmla="*/ 10000 h 10000"/>
                <a:gd name="connsiteX0" fmla="*/ 0 w 10000"/>
                <a:gd name="connsiteY0" fmla="*/ 0 h 10000"/>
                <a:gd name="connsiteX1" fmla="*/ 1927 w 10000"/>
                <a:gd name="connsiteY1" fmla="*/ 8372 h 10000"/>
                <a:gd name="connsiteX2" fmla="*/ 3262 w 10000"/>
                <a:gd name="connsiteY2" fmla="*/ 1209 h 10000"/>
                <a:gd name="connsiteX3" fmla="*/ 5552 w 10000"/>
                <a:gd name="connsiteY3" fmla="*/ 7040 h 10000"/>
                <a:gd name="connsiteX4" fmla="*/ 5911 w 10000"/>
                <a:gd name="connsiteY4" fmla="*/ 3954 h 10000"/>
                <a:gd name="connsiteX5" fmla="*/ 9163 w 10000"/>
                <a:gd name="connsiteY5" fmla="*/ 3857 h 10000"/>
                <a:gd name="connsiteX6" fmla="*/ 5552 w 10000"/>
                <a:gd name="connsiteY6" fmla="*/ 7040 h 10000"/>
                <a:gd name="connsiteX7" fmla="*/ 10000 w 10000"/>
                <a:gd name="connsiteY7" fmla="*/ 10000 h 10000"/>
                <a:gd name="connsiteX0" fmla="*/ 0 w 10000"/>
                <a:gd name="connsiteY0" fmla="*/ 0 h 10000"/>
                <a:gd name="connsiteX1" fmla="*/ 1927 w 10000"/>
                <a:gd name="connsiteY1" fmla="*/ 8372 h 10000"/>
                <a:gd name="connsiteX2" fmla="*/ 3262 w 10000"/>
                <a:gd name="connsiteY2" fmla="*/ 1209 h 10000"/>
                <a:gd name="connsiteX3" fmla="*/ 5552 w 10000"/>
                <a:gd name="connsiteY3" fmla="*/ 7040 h 10000"/>
                <a:gd name="connsiteX4" fmla="*/ 5895 w 10000"/>
                <a:gd name="connsiteY4" fmla="*/ 4006 h 10000"/>
                <a:gd name="connsiteX5" fmla="*/ 9163 w 10000"/>
                <a:gd name="connsiteY5" fmla="*/ 3857 h 10000"/>
                <a:gd name="connsiteX6" fmla="*/ 5552 w 10000"/>
                <a:gd name="connsiteY6" fmla="*/ 7040 h 10000"/>
                <a:gd name="connsiteX7" fmla="*/ 10000 w 10000"/>
                <a:gd name="connsiteY7" fmla="*/ 10000 h 10000"/>
                <a:gd name="connsiteX0" fmla="*/ 0 w 10000"/>
                <a:gd name="connsiteY0" fmla="*/ 0 h 10000"/>
                <a:gd name="connsiteX1" fmla="*/ 1927 w 10000"/>
                <a:gd name="connsiteY1" fmla="*/ 8372 h 10000"/>
                <a:gd name="connsiteX2" fmla="*/ 3262 w 10000"/>
                <a:gd name="connsiteY2" fmla="*/ 1209 h 10000"/>
                <a:gd name="connsiteX3" fmla="*/ 5552 w 10000"/>
                <a:gd name="connsiteY3" fmla="*/ 7040 h 10000"/>
                <a:gd name="connsiteX4" fmla="*/ 5895 w 10000"/>
                <a:gd name="connsiteY4" fmla="*/ 4006 h 10000"/>
                <a:gd name="connsiteX5" fmla="*/ 9087 w 10000"/>
                <a:gd name="connsiteY5" fmla="*/ 3984 h 10000"/>
                <a:gd name="connsiteX6" fmla="*/ 5552 w 10000"/>
                <a:gd name="connsiteY6" fmla="*/ 7040 h 10000"/>
                <a:gd name="connsiteX7" fmla="*/ 10000 w 10000"/>
                <a:gd name="connsiteY7" fmla="*/ 10000 h 10000"/>
                <a:gd name="connsiteX0" fmla="*/ 0 w 10000"/>
                <a:gd name="connsiteY0" fmla="*/ 0 h 10000"/>
                <a:gd name="connsiteX1" fmla="*/ 1927 w 10000"/>
                <a:gd name="connsiteY1" fmla="*/ 8372 h 10000"/>
                <a:gd name="connsiteX2" fmla="*/ 3262 w 10000"/>
                <a:gd name="connsiteY2" fmla="*/ 1209 h 10000"/>
                <a:gd name="connsiteX3" fmla="*/ 5552 w 10000"/>
                <a:gd name="connsiteY3" fmla="*/ 7040 h 10000"/>
                <a:gd name="connsiteX4" fmla="*/ 5895 w 10000"/>
                <a:gd name="connsiteY4" fmla="*/ 4006 h 10000"/>
                <a:gd name="connsiteX5" fmla="*/ 9152 w 10000"/>
                <a:gd name="connsiteY5" fmla="*/ 3928 h 10000"/>
                <a:gd name="connsiteX6" fmla="*/ 5552 w 10000"/>
                <a:gd name="connsiteY6" fmla="*/ 7040 h 10000"/>
                <a:gd name="connsiteX7" fmla="*/ 10000 w 10000"/>
                <a:gd name="connsiteY7" fmla="*/ 10000 h 10000"/>
                <a:gd name="connsiteX0" fmla="*/ 0 w 10000"/>
                <a:gd name="connsiteY0" fmla="*/ 0 h 10000"/>
                <a:gd name="connsiteX1" fmla="*/ 1927 w 10000"/>
                <a:gd name="connsiteY1" fmla="*/ 8372 h 10000"/>
                <a:gd name="connsiteX2" fmla="*/ 3262 w 10000"/>
                <a:gd name="connsiteY2" fmla="*/ 1209 h 10000"/>
                <a:gd name="connsiteX3" fmla="*/ 5552 w 10000"/>
                <a:gd name="connsiteY3" fmla="*/ 7040 h 10000"/>
                <a:gd name="connsiteX4" fmla="*/ 5895 w 10000"/>
                <a:gd name="connsiteY4" fmla="*/ 4006 h 10000"/>
                <a:gd name="connsiteX5" fmla="*/ 9152 w 10000"/>
                <a:gd name="connsiteY5" fmla="*/ 3928 h 10000"/>
                <a:gd name="connsiteX6" fmla="*/ 5548 w 10000"/>
                <a:gd name="connsiteY6" fmla="*/ 6648 h 10000"/>
                <a:gd name="connsiteX7" fmla="*/ 10000 w 10000"/>
                <a:gd name="connsiteY7" fmla="*/ 10000 h 10000"/>
                <a:gd name="connsiteX0" fmla="*/ 0 w 10000"/>
                <a:gd name="connsiteY0" fmla="*/ 0 h 10000"/>
                <a:gd name="connsiteX1" fmla="*/ 1927 w 10000"/>
                <a:gd name="connsiteY1" fmla="*/ 8372 h 10000"/>
                <a:gd name="connsiteX2" fmla="*/ 3262 w 10000"/>
                <a:gd name="connsiteY2" fmla="*/ 1209 h 10000"/>
                <a:gd name="connsiteX3" fmla="*/ 5551 w 10000"/>
                <a:gd name="connsiteY3" fmla="*/ 6662 h 10000"/>
                <a:gd name="connsiteX4" fmla="*/ 5895 w 10000"/>
                <a:gd name="connsiteY4" fmla="*/ 4006 h 10000"/>
                <a:gd name="connsiteX5" fmla="*/ 9152 w 10000"/>
                <a:gd name="connsiteY5" fmla="*/ 3928 h 10000"/>
                <a:gd name="connsiteX6" fmla="*/ 5548 w 10000"/>
                <a:gd name="connsiteY6" fmla="*/ 6648 h 10000"/>
                <a:gd name="connsiteX7" fmla="*/ 10000 w 10000"/>
                <a:gd name="connsiteY7" fmla="*/ 10000 h 10000"/>
                <a:gd name="connsiteX0" fmla="*/ 0 w 10000"/>
                <a:gd name="connsiteY0" fmla="*/ 0 h 10000"/>
                <a:gd name="connsiteX1" fmla="*/ 1927 w 10000"/>
                <a:gd name="connsiteY1" fmla="*/ 8372 h 10000"/>
                <a:gd name="connsiteX2" fmla="*/ 3262 w 10000"/>
                <a:gd name="connsiteY2" fmla="*/ 1209 h 10000"/>
                <a:gd name="connsiteX3" fmla="*/ 5551 w 10000"/>
                <a:gd name="connsiteY3" fmla="*/ 6662 h 10000"/>
                <a:gd name="connsiteX4" fmla="*/ 5895 w 10000"/>
                <a:gd name="connsiteY4" fmla="*/ 4006 h 10000"/>
                <a:gd name="connsiteX5" fmla="*/ 9152 w 10000"/>
                <a:gd name="connsiteY5" fmla="*/ 3928 h 10000"/>
                <a:gd name="connsiteX6" fmla="*/ 5568 w 10000"/>
                <a:gd name="connsiteY6" fmla="*/ 6687 h 10000"/>
                <a:gd name="connsiteX7" fmla="*/ 10000 w 10000"/>
                <a:gd name="connsiteY7" fmla="*/ 10000 h 10000"/>
                <a:gd name="connsiteX0" fmla="*/ 0 w 10000"/>
                <a:gd name="connsiteY0" fmla="*/ 0 h 10000"/>
                <a:gd name="connsiteX1" fmla="*/ 1927 w 10000"/>
                <a:gd name="connsiteY1" fmla="*/ 8372 h 10000"/>
                <a:gd name="connsiteX2" fmla="*/ 3262 w 10000"/>
                <a:gd name="connsiteY2" fmla="*/ 1209 h 10000"/>
                <a:gd name="connsiteX3" fmla="*/ 5550 w 10000"/>
                <a:gd name="connsiteY3" fmla="*/ 6643 h 10000"/>
                <a:gd name="connsiteX4" fmla="*/ 5895 w 10000"/>
                <a:gd name="connsiteY4" fmla="*/ 4006 h 10000"/>
                <a:gd name="connsiteX5" fmla="*/ 9152 w 10000"/>
                <a:gd name="connsiteY5" fmla="*/ 3928 h 10000"/>
                <a:gd name="connsiteX6" fmla="*/ 5568 w 10000"/>
                <a:gd name="connsiteY6" fmla="*/ 6687 h 10000"/>
                <a:gd name="connsiteX7" fmla="*/ 10000 w 10000"/>
                <a:gd name="connsiteY7" fmla="*/ 10000 h 10000"/>
                <a:gd name="connsiteX0" fmla="*/ 0 w 10000"/>
                <a:gd name="connsiteY0" fmla="*/ 0 h 10000"/>
                <a:gd name="connsiteX1" fmla="*/ 1927 w 10000"/>
                <a:gd name="connsiteY1" fmla="*/ 8372 h 10000"/>
                <a:gd name="connsiteX2" fmla="*/ 3262 w 10000"/>
                <a:gd name="connsiteY2" fmla="*/ 1209 h 10000"/>
                <a:gd name="connsiteX3" fmla="*/ 5550 w 10000"/>
                <a:gd name="connsiteY3" fmla="*/ 6643 h 10000"/>
                <a:gd name="connsiteX4" fmla="*/ 5895 w 10000"/>
                <a:gd name="connsiteY4" fmla="*/ 4006 h 10000"/>
                <a:gd name="connsiteX5" fmla="*/ 9152 w 10000"/>
                <a:gd name="connsiteY5" fmla="*/ 3928 h 10000"/>
                <a:gd name="connsiteX6" fmla="*/ 5535 w 10000"/>
                <a:gd name="connsiteY6" fmla="*/ 6646 h 10000"/>
                <a:gd name="connsiteX7" fmla="*/ 10000 w 10000"/>
                <a:gd name="connsiteY7" fmla="*/ 10000 h 10000"/>
                <a:gd name="connsiteX0" fmla="*/ 0 w 10000"/>
                <a:gd name="connsiteY0" fmla="*/ 0 h 10000"/>
                <a:gd name="connsiteX1" fmla="*/ 1927 w 10000"/>
                <a:gd name="connsiteY1" fmla="*/ 8372 h 10000"/>
                <a:gd name="connsiteX2" fmla="*/ 3266 w 10000"/>
                <a:gd name="connsiteY2" fmla="*/ 1183 h 10000"/>
                <a:gd name="connsiteX3" fmla="*/ 5550 w 10000"/>
                <a:gd name="connsiteY3" fmla="*/ 6643 h 10000"/>
                <a:gd name="connsiteX4" fmla="*/ 5895 w 10000"/>
                <a:gd name="connsiteY4" fmla="*/ 4006 h 10000"/>
                <a:gd name="connsiteX5" fmla="*/ 9152 w 10000"/>
                <a:gd name="connsiteY5" fmla="*/ 3928 h 10000"/>
                <a:gd name="connsiteX6" fmla="*/ 5535 w 10000"/>
                <a:gd name="connsiteY6" fmla="*/ 6646 h 10000"/>
                <a:gd name="connsiteX7" fmla="*/ 10000 w 10000"/>
                <a:gd name="connsiteY7" fmla="*/ 10000 h 10000"/>
                <a:gd name="connsiteX0" fmla="*/ 0 w 10000"/>
                <a:gd name="connsiteY0" fmla="*/ 0 h 10000"/>
                <a:gd name="connsiteX1" fmla="*/ 1927 w 10000"/>
                <a:gd name="connsiteY1" fmla="*/ 8372 h 10000"/>
                <a:gd name="connsiteX2" fmla="*/ 3266 w 10000"/>
                <a:gd name="connsiteY2" fmla="*/ 1183 h 10000"/>
                <a:gd name="connsiteX3" fmla="*/ 5550 w 10000"/>
                <a:gd name="connsiteY3" fmla="*/ 6643 h 10000"/>
                <a:gd name="connsiteX4" fmla="*/ 5895 w 10000"/>
                <a:gd name="connsiteY4" fmla="*/ 4006 h 10000"/>
                <a:gd name="connsiteX5" fmla="*/ 9281 w 10000"/>
                <a:gd name="connsiteY5" fmla="*/ 3872 h 10000"/>
                <a:gd name="connsiteX6" fmla="*/ 5535 w 10000"/>
                <a:gd name="connsiteY6" fmla="*/ 6646 h 10000"/>
                <a:gd name="connsiteX7" fmla="*/ 10000 w 10000"/>
                <a:gd name="connsiteY7" fmla="*/ 10000 h 10000"/>
                <a:gd name="connsiteX0" fmla="*/ 0 w 10000"/>
                <a:gd name="connsiteY0" fmla="*/ 0 h 10000"/>
                <a:gd name="connsiteX1" fmla="*/ 1927 w 10000"/>
                <a:gd name="connsiteY1" fmla="*/ 8372 h 10000"/>
                <a:gd name="connsiteX2" fmla="*/ 3266 w 10000"/>
                <a:gd name="connsiteY2" fmla="*/ 1183 h 10000"/>
                <a:gd name="connsiteX3" fmla="*/ 5550 w 10000"/>
                <a:gd name="connsiteY3" fmla="*/ 6643 h 10000"/>
                <a:gd name="connsiteX4" fmla="*/ 5895 w 10000"/>
                <a:gd name="connsiteY4" fmla="*/ 4006 h 10000"/>
                <a:gd name="connsiteX5" fmla="*/ 9232 w 10000"/>
                <a:gd name="connsiteY5" fmla="*/ 3930 h 10000"/>
                <a:gd name="connsiteX6" fmla="*/ 5535 w 10000"/>
                <a:gd name="connsiteY6" fmla="*/ 6646 h 10000"/>
                <a:gd name="connsiteX7" fmla="*/ 10000 w 10000"/>
                <a:gd name="connsiteY7" fmla="*/ 10000 h 10000"/>
                <a:gd name="connsiteX0" fmla="*/ 0 w 10000"/>
                <a:gd name="connsiteY0" fmla="*/ 0 h 10000"/>
                <a:gd name="connsiteX1" fmla="*/ 1927 w 10000"/>
                <a:gd name="connsiteY1" fmla="*/ 8372 h 10000"/>
                <a:gd name="connsiteX2" fmla="*/ 3266 w 10000"/>
                <a:gd name="connsiteY2" fmla="*/ 1183 h 10000"/>
                <a:gd name="connsiteX3" fmla="*/ 5550 w 10000"/>
                <a:gd name="connsiteY3" fmla="*/ 6643 h 10000"/>
                <a:gd name="connsiteX4" fmla="*/ 5895 w 10000"/>
                <a:gd name="connsiteY4" fmla="*/ 4006 h 10000"/>
                <a:gd name="connsiteX5" fmla="*/ 9070 w 10000"/>
                <a:gd name="connsiteY5" fmla="*/ 4330 h 10000"/>
                <a:gd name="connsiteX6" fmla="*/ 5535 w 10000"/>
                <a:gd name="connsiteY6" fmla="*/ 6646 h 10000"/>
                <a:gd name="connsiteX7" fmla="*/ 10000 w 10000"/>
                <a:gd name="connsiteY7" fmla="*/ 10000 h 10000"/>
                <a:gd name="connsiteX0" fmla="*/ 0 w 10000"/>
                <a:gd name="connsiteY0" fmla="*/ 0 h 10000"/>
                <a:gd name="connsiteX1" fmla="*/ 1927 w 10000"/>
                <a:gd name="connsiteY1" fmla="*/ 8372 h 10000"/>
                <a:gd name="connsiteX2" fmla="*/ 3266 w 10000"/>
                <a:gd name="connsiteY2" fmla="*/ 1183 h 10000"/>
                <a:gd name="connsiteX3" fmla="*/ 5550 w 10000"/>
                <a:gd name="connsiteY3" fmla="*/ 6643 h 10000"/>
                <a:gd name="connsiteX4" fmla="*/ 5895 w 10000"/>
                <a:gd name="connsiteY4" fmla="*/ 4006 h 10000"/>
                <a:gd name="connsiteX5" fmla="*/ 9077 w 10000"/>
                <a:gd name="connsiteY5" fmla="*/ 4328 h 10000"/>
                <a:gd name="connsiteX6" fmla="*/ 5535 w 10000"/>
                <a:gd name="connsiteY6" fmla="*/ 6646 h 10000"/>
                <a:gd name="connsiteX7" fmla="*/ 10000 w 10000"/>
                <a:gd name="connsiteY7" fmla="*/ 10000 h 10000"/>
                <a:gd name="connsiteX0" fmla="*/ 0 w 10000"/>
                <a:gd name="connsiteY0" fmla="*/ 0 h 10000"/>
                <a:gd name="connsiteX1" fmla="*/ 1927 w 10000"/>
                <a:gd name="connsiteY1" fmla="*/ 8372 h 10000"/>
                <a:gd name="connsiteX2" fmla="*/ 3266 w 10000"/>
                <a:gd name="connsiteY2" fmla="*/ 1183 h 10000"/>
                <a:gd name="connsiteX3" fmla="*/ 5550 w 10000"/>
                <a:gd name="connsiteY3" fmla="*/ 6643 h 10000"/>
                <a:gd name="connsiteX4" fmla="*/ 5895 w 10000"/>
                <a:gd name="connsiteY4" fmla="*/ 4006 h 10000"/>
                <a:gd name="connsiteX5" fmla="*/ 8182 w 10000"/>
                <a:gd name="connsiteY5" fmla="*/ 4248 h 10000"/>
                <a:gd name="connsiteX6" fmla="*/ 9077 w 10000"/>
                <a:gd name="connsiteY6" fmla="*/ 4328 h 10000"/>
                <a:gd name="connsiteX7" fmla="*/ 5535 w 10000"/>
                <a:gd name="connsiteY7" fmla="*/ 6646 h 10000"/>
                <a:gd name="connsiteX8" fmla="*/ 10000 w 10000"/>
                <a:gd name="connsiteY8" fmla="*/ 10000 h 10000"/>
                <a:gd name="connsiteX0" fmla="*/ 0 w 10000"/>
                <a:gd name="connsiteY0" fmla="*/ 0 h 10000"/>
                <a:gd name="connsiteX1" fmla="*/ 1927 w 10000"/>
                <a:gd name="connsiteY1" fmla="*/ 8372 h 10000"/>
                <a:gd name="connsiteX2" fmla="*/ 3266 w 10000"/>
                <a:gd name="connsiteY2" fmla="*/ 1183 h 10000"/>
                <a:gd name="connsiteX3" fmla="*/ 5550 w 10000"/>
                <a:gd name="connsiteY3" fmla="*/ 6643 h 10000"/>
                <a:gd name="connsiteX4" fmla="*/ 5895 w 10000"/>
                <a:gd name="connsiteY4" fmla="*/ 4006 h 10000"/>
                <a:gd name="connsiteX5" fmla="*/ 8103 w 10000"/>
                <a:gd name="connsiteY5" fmla="*/ 3986 h 10000"/>
                <a:gd name="connsiteX6" fmla="*/ 9077 w 10000"/>
                <a:gd name="connsiteY6" fmla="*/ 4328 h 10000"/>
                <a:gd name="connsiteX7" fmla="*/ 5535 w 10000"/>
                <a:gd name="connsiteY7" fmla="*/ 6646 h 10000"/>
                <a:gd name="connsiteX8" fmla="*/ 10000 w 10000"/>
                <a:gd name="connsiteY8" fmla="*/ 10000 h 10000"/>
                <a:gd name="connsiteX0" fmla="*/ 0 w 10000"/>
                <a:gd name="connsiteY0" fmla="*/ 0 h 10000"/>
                <a:gd name="connsiteX1" fmla="*/ 1927 w 10000"/>
                <a:gd name="connsiteY1" fmla="*/ 8372 h 10000"/>
                <a:gd name="connsiteX2" fmla="*/ 3266 w 10000"/>
                <a:gd name="connsiteY2" fmla="*/ 1183 h 10000"/>
                <a:gd name="connsiteX3" fmla="*/ 5550 w 10000"/>
                <a:gd name="connsiteY3" fmla="*/ 6643 h 10000"/>
                <a:gd name="connsiteX4" fmla="*/ 5895 w 10000"/>
                <a:gd name="connsiteY4" fmla="*/ 4006 h 10000"/>
                <a:gd name="connsiteX5" fmla="*/ 8195 w 10000"/>
                <a:gd name="connsiteY5" fmla="*/ 3986 h 10000"/>
                <a:gd name="connsiteX6" fmla="*/ 9077 w 10000"/>
                <a:gd name="connsiteY6" fmla="*/ 4328 h 10000"/>
                <a:gd name="connsiteX7" fmla="*/ 5535 w 10000"/>
                <a:gd name="connsiteY7" fmla="*/ 6646 h 10000"/>
                <a:gd name="connsiteX8" fmla="*/ 10000 w 10000"/>
                <a:gd name="connsiteY8" fmla="*/ 10000 h 10000"/>
                <a:gd name="connsiteX0" fmla="*/ 0 w 10000"/>
                <a:gd name="connsiteY0" fmla="*/ 0 h 10000"/>
                <a:gd name="connsiteX1" fmla="*/ 1927 w 10000"/>
                <a:gd name="connsiteY1" fmla="*/ 8372 h 10000"/>
                <a:gd name="connsiteX2" fmla="*/ 3266 w 10000"/>
                <a:gd name="connsiteY2" fmla="*/ 1183 h 10000"/>
                <a:gd name="connsiteX3" fmla="*/ 5550 w 10000"/>
                <a:gd name="connsiteY3" fmla="*/ 6643 h 10000"/>
                <a:gd name="connsiteX4" fmla="*/ 5895 w 10000"/>
                <a:gd name="connsiteY4" fmla="*/ 4006 h 10000"/>
                <a:gd name="connsiteX5" fmla="*/ 8195 w 10000"/>
                <a:gd name="connsiteY5" fmla="*/ 3986 h 10000"/>
                <a:gd name="connsiteX6" fmla="*/ 9069 w 10000"/>
                <a:gd name="connsiteY6" fmla="*/ 4348 h 10000"/>
                <a:gd name="connsiteX7" fmla="*/ 5535 w 10000"/>
                <a:gd name="connsiteY7" fmla="*/ 6646 h 10000"/>
                <a:gd name="connsiteX8" fmla="*/ 10000 w 10000"/>
                <a:gd name="connsiteY8" fmla="*/ 10000 h 10000"/>
                <a:gd name="connsiteX0" fmla="*/ 0 w 10000"/>
                <a:gd name="connsiteY0" fmla="*/ 0 h 10000"/>
                <a:gd name="connsiteX1" fmla="*/ 1942 w 10000"/>
                <a:gd name="connsiteY1" fmla="*/ 8411 h 10000"/>
                <a:gd name="connsiteX2" fmla="*/ 3266 w 10000"/>
                <a:gd name="connsiteY2" fmla="*/ 1183 h 10000"/>
                <a:gd name="connsiteX3" fmla="*/ 5550 w 10000"/>
                <a:gd name="connsiteY3" fmla="*/ 6643 h 10000"/>
                <a:gd name="connsiteX4" fmla="*/ 5895 w 10000"/>
                <a:gd name="connsiteY4" fmla="*/ 4006 h 10000"/>
                <a:gd name="connsiteX5" fmla="*/ 8195 w 10000"/>
                <a:gd name="connsiteY5" fmla="*/ 3986 h 10000"/>
                <a:gd name="connsiteX6" fmla="*/ 9069 w 10000"/>
                <a:gd name="connsiteY6" fmla="*/ 4348 h 10000"/>
                <a:gd name="connsiteX7" fmla="*/ 5535 w 10000"/>
                <a:gd name="connsiteY7" fmla="*/ 6646 h 10000"/>
                <a:gd name="connsiteX8" fmla="*/ 10000 w 10000"/>
                <a:gd name="connsiteY8" fmla="*/ 10000 h 10000"/>
                <a:gd name="connsiteX0" fmla="*/ 0 w 10000"/>
                <a:gd name="connsiteY0" fmla="*/ 0 h 10000"/>
                <a:gd name="connsiteX1" fmla="*/ 1951 w 10000"/>
                <a:gd name="connsiteY1" fmla="*/ 8400 h 10000"/>
                <a:gd name="connsiteX2" fmla="*/ 3266 w 10000"/>
                <a:gd name="connsiteY2" fmla="*/ 1183 h 10000"/>
                <a:gd name="connsiteX3" fmla="*/ 5550 w 10000"/>
                <a:gd name="connsiteY3" fmla="*/ 6643 h 10000"/>
                <a:gd name="connsiteX4" fmla="*/ 5895 w 10000"/>
                <a:gd name="connsiteY4" fmla="*/ 4006 h 10000"/>
                <a:gd name="connsiteX5" fmla="*/ 8195 w 10000"/>
                <a:gd name="connsiteY5" fmla="*/ 3986 h 10000"/>
                <a:gd name="connsiteX6" fmla="*/ 9069 w 10000"/>
                <a:gd name="connsiteY6" fmla="*/ 4348 h 10000"/>
                <a:gd name="connsiteX7" fmla="*/ 5535 w 10000"/>
                <a:gd name="connsiteY7" fmla="*/ 6646 h 10000"/>
                <a:gd name="connsiteX8" fmla="*/ 10000 w 10000"/>
                <a:gd name="connsiteY8" fmla="*/ 10000 h 10000"/>
                <a:gd name="connsiteX0" fmla="*/ 0 w 10000"/>
                <a:gd name="connsiteY0" fmla="*/ 0 h 10000"/>
                <a:gd name="connsiteX1" fmla="*/ 1926 w 10000"/>
                <a:gd name="connsiteY1" fmla="*/ 8403 h 10000"/>
                <a:gd name="connsiteX2" fmla="*/ 3266 w 10000"/>
                <a:gd name="connsiteY2" fmla="*/ 1183 h 10000"/>
                <a:gd name="connsiteX3" fmla="*/ 5550 w 10000"/>
                <a:gd name="connsiteY3" fmla="*/ 6643 h 10000"/>
                <a:gd name="connsiteX4" fmla="*/ 5895 w 10000"/>
                <a:gd name="connsiteY4" fmla="*/ 4006 h 10000"/>
                <a:gd name="connsiteX5" fmla="*/ 8195 w 10000"/>
                <a:gd name="connsiteY5" fmla="*/ 3986 h 10000"/>
                <a:gd name="connsiteX6" fmla="*/ 9069 w 10000"/>
                <a:gd name="connsiteY6" fmla="*/ 4348 h 10000"/>
                <a:gd name="connsiteX7" fmla="*/ 5535 w 10000"/>
                <a:gd name="connsiteY7" fmla="*/ 6646 h 10000"/>
                <a:gd name="connsiteX8" fmla="*/ 10000 w 10000"/>
                <a:gd name="connsiteY8" fmla="*/ 10000 h 10000"/>
                <a:gd name="connsiteX0" fmla="*/ 0 w 10000"/>
                <a:gd name="connsiteY0" fmla="*/ 0 h 10000"/>
                <a:gd name="connsiteX1" fmla="*/ 1935 w 10000"/>
                <a:gd name="connsiteY1" fmla="*/ 8363 h 10000"/>
                <a:gd name="connsiteX2" fmla="*/ 3266 w 10000"/>
                <a:gd name="connsiteY2" fmla="*/ 1183 h 10000"/>
                <a:gd name="connsiteX3" fmla="*/ 5550 w 10000"/>
                <a:gd name="connsiteY3" fmla="*/ 6643 h 10000"/>
                <a:gd name="connsiteX4" fmla="*/ 5895 w 10000"/>
                <a:gd name="connsiteY4" fmla="*/ 4006 h 10000"/>
                <a:gd name="connsiteX5" fmla="*/ 8195 w 10000"/>
                <a:gd name="connsiteY5" fmla="*/ 3986 h 10000"/>
                <a:gd name="connsiteX6" fmla="*/ 9069 w 10000"/>
                <a:gd name="connsiteY6" fmla="*/ 4348 h 10000"/>
                <a:gd name="connsiteX7" fmla="*/ 5535 w 10000"/>
                <a:gd name="connsiteY7" fmla="*/ 6646 h 10000"/>
                <a:gd name="connsiteX8" fmla="*/ 10000 w 10000"/>
                <a:gd name="connsiteY8" fmla="*/ 10000 h 10000"/>
                <a:gd name="connsiteX0" fmla="*/ 0 w 10000"/>
                <a:gd name="connsiteY0" fmla="*/ 0 h 10000"/>
                <a:gd name="connsiteX1" fmla="*/ 1929 w 10000"/>
                <a:gd name="connsiteY1" fmla="*/ 8327 h 10000"/>
                <a:gd name="connsiteX2" fmla="*/ 3266 w 10000"/>
                <a:gd name="connsiteY2" fmla="*/ 1183 h 10000"/>
                <a:gd name="connsiteX3" fmla="*/ 5550 w 10000"/>
                <a:gd name="connsiteY3" fmla="*/ 6643 h 10000"/>
                <a:gd name="connsiteX4" fmla="*/ 5895 w 10000"/>
                <a:gd name="connsiteY4" fmla="*/ 4006 h 10000"/>
                <a:gd name="connsiteX5" fmla="*/ 8195 w 10000"/>
                <a:gd name="connsiteY5" fmla="*/ 3986 h 10000"/>
                <a:gd name="connsiteX6" fmla="*/ 9069 w 10000"/>
                <a:gd name="connsiteY6" fmla="*/ 4348 h 10000"/>
                <a:gd name="connsiteX7" fmla="*/ 5535 w 10000"/>
                <a:gd name="connsiteY7" fmla="*/ 6646 h 10000"/>
                <a:gd name="connsiteX8" fmla="*/ 10000 w 10000"/>
                <a:gd name="connsiteY8"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0" y="0"/>
                  </a:moveTo>
                  <a:lnTo>
                    <a:pt x="1929" y="8327"/>
                  </a:lnTo>
                  <a:lnTo>
                    <a:pt x="3266" y="1183"/>
                  </a:lnTo>
                  <a:lnTo>
                    <a:pt x="5550" y="6643"/>
                  </a:lnTo>
                  <a:cubicBezTo>
                    <a:pt x="5670" y="5614"/>
                    <a:pt x="5775" y="5035"/>
                    <a:pt x="5895" y="4006"/>
                  </a:cubicBezTo>
                  <a:lnTo>
                    <a:pt x="8195" y="3986"/>
                  </a:lnTo>
                  <a:lnTo>
                    <a:pt x="9069" y="4348"/>
                  </a:lnTo>
                  <a:lnTo>
                    <a:pt x="5535" y="6646"/>
                  </a:lnTo>
                  <a:lnTo>
                    <a:pt x="10000" y="10000"/>
                  </a:ln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4" name="Line 12"/>
            <p:cNvSpPr>
              <a:spLocks noChangeShapeType="1"/>
            </p:cNvSpPr>
            <p:nvPr userDrawn="1"/>
          </p:nvSpPr>
          <p:spPr bwMode="auto">
            <a:xfrm flipH="1" flipV="1">
              <a:off x="5965824" y="3363913"/>
              <a:ext cx="739775" cy="1498600"/>
            </a:xfrm>
            <a:prstGeom prst="line">
              <a:avLst/>
            </a:pr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5" name="Line 13"/>
            <p:cNvSpPr>
              <a:spLocks noChangeShapeType="1"/>
            </p:cNvSpPr>
            <p:nvPr userDrawn="1"/>
          </p:nvSpPr>
          <p:spPr bwMode="auto">
            <a:xfrm flipH="1" flipV="1">
              <a:off x="2873375" y="4785677"/>
              <a:ext cx="2534444" cy="530225"/>
            </a:xfrm>
            <a:prstGeom prst="line">
              <a:avLst/>
            </a:pr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6" name="Freeform 14"/>
            <p:cNvSpPr>
              <a:spLocks/>
            </p:cNvSpPr>
            <p:nvPr userDrawn="1"/>
          </p:nvSpPr>
          <p:spPr bwMode="auto">
            <a:xfrm>
              <a:off x="9442445" y="2384680"/>
              <a:ext cx="458797" cy="774168"/>
            </a:xfrm>
            <a:custGeom>
              <a:avLst/>
              <a:gdLst>
                <a:gd name="connsiteX0" fmla="*/ 8512 w 8512"/>
                <a:gd name="connsiteY0" fmla="*/ 10921 h 10921"/>
                <a:gd name="connsiteX1" fmla="*/ 0 w 8512"/>
                <a:gd name="connsiteY1" fmla="*/ 0 h 10921"/>
                <a:gd name="connsiteX2" fmla="*/ 8512 w 8512"/>
                <a:gd name="connsiteY2" fmla="*/ 2461 h 10921"/>
                <a:gd name="connsiteX0" fmla="*/ 9948 w 10000"/>
                <a:gd name="connsiteY0" fmla="*/ 7966 h 7966"/>
                <a:gd name="connsiteX1" fmla="*/ 0 w 10000"/>
                <a:gd name="connsiteY1" fmla="*/ 0 h 7966"/>
                <a:gd name="connsiteX2" fmla="*/ 10000 w 10000"/>
                <a:gd name="connsiteY2" fmla="*/ 2253 h 7966"/>
                <a:gd name="connsiteX0" fmla="*/ 10105 w 10105"/>
                <a:gd name="connsiteY0" fmla="*/ 10155 h 10155"/>
                <a:gd name="connsiteX1" fmla="*/ 0 w 10105"/>
                <a:gd name="connsiteY1" fmla="*/ 0 h 10155"/>
                <a:gd name="connsiteX2" fmla="*/ 10000 w 10105"/>
                <a:gd name="connsiteY2" fmla="*/ 2828 h 10155"/>
              </a:gdLst>
              <a:ahLst/>
              <a:cxnLst>
                <a:cxn ang="0">
                  <a:pos x="connsiteX0" y="connsiteY0"/>
                </a:cxn>
                <a:cxn ang="0">
                  <a:pos x="connsiteX1" y="connsiteY1"/>
                </a:cxn>
                <a:cxn ang="0">
                  <a:pos x="connsiteX2" y="connsiteY2"/>
                </a:cxn>
              </a:cxnLst>
              <a:rect l="l" t="t" r="r" b="b"/>
              <a:pathLst>
                <a:path w="10105" h="10155">
                  <a:moveTo>
                    <a:pt x="10105" y="10155"/>
                  </a:moveTo>
                  <a:lnTo>
                    <a:pt x="0" y="0"/>
                  </a:lnTo>
                  <a:lnTo>
                    <a:pt x="10000" y="2828"/>
                  </a:ln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7" name="Line 15"/>
            <p:cNvSpPr>
              <a:spLocks noChangeShapeType="1"/>
            </p:cNvSpPr>
            <p:nvPr userDrawn="1"/>
          </p:nvSpPr>
          <p:spPr bwMode="auto">
            <a:xfrm flipV="1">
              <a:off x="9151937" y="4446588"/>
              <a:ext cx="744538" cy="908050"/>
            </a:xfrm>
            <a:prstGeom prst="line">
              <a:avLst/>
            </a:pr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8" name="Line 16"/>
            <p:cNvSpPr>
              <a:spLocks noChangeShapeType="1"/>
            </p:cNvSpPr>
            <p:nvPr userDrawn="1"/>
          </p:nvSpPr>
          <p:spPr bwMode="auto">
            <a:xfrm flipH="1" flipV="1">
              <a:off x="8453438" y="3474243"/>
              <a:ext cx="1452562" cy="264320"/>
            </a:xfrm>
            <a:prstGeom prst="line">
              <a:avLst/>
            </a:pr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9" name="Line 17"/>
            <p:cNvSpPr>
              <a:spLocks noChangeShapeType="1"/>
            </p:cNvSpPr>
            <p:nvPr userDrawn="1"/>
          </p:nvSpPr>
          <p:spPr bwMode="auto">
            <a:xfrm flipV="1">
              <a:off x="6705600" y="4073524"/>
              <a:ext cx="3190875" cy="796131"/>
            </a:xfrm>
            <a:prstGeom prst="line">
              <a:avLst/>
            </a:pr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30" name="Freeform 18"/>
            <p:cNvSpPr>
              <a:spLocks/>
            </p:cNvSpPr>
            <p:nvPr userDrawn="1"/>
          </p:nvSpPr>
          <p:spPr bwMode="auto">
            <a:xfrm>
              <a:off x="347662" y="3211751"/>
              <a:ext cx="5618163" cy="1596787"/>
            </a:xfrm>
            <a:custGeom>
              <a:avLst/>
              <a:gdLst>
                <a:gd name="connsiteX0" fmla="*/ 10000 w 10000"/>
                <a:gd name="connsiteY0" fmla="*/ 563 h 5851"/>
                <a:gd name="connsiteX1" fmla="*/ 4496 w 10000"/>
                <a:gd name="connsiteY1" fmla="*/ 5851 h 5851"/>
                <a:gd name="connsiteX2" fmla="*/ 4134 w 10000"/>
                <a:gd name="connsiteY2" fmla="*/ 0 h 5851"/>
                <a:gd name="connsiteX3" fmla="*/ 0 w 10000"/>
                <a:gd name="connsiteY3" fmla="*/ 3771 h 5851"/>
                <a:gd name="connsiteX0" fmla="*/ 10000 w 10000"/>
                <a:gd name="connsiteY0" fmla="*/ 951 h 9989"/>
                <a:gd name="connsiteX1" fmla="*/ 4496 w 10000"/>
                <a:gd name="connsiteY1" fmla="*/ 9989 h 9989"/>
                <a:gd name="connsiteX2" fmla="*/ 4162 w 10000"/>
                <a:gd name="connsiteY2" fmla="*/ 0 h 9989"/>
                <a:gd name="connsiteX3" fmla="*/ 0 w 10000"/>
                <a:gd name="connsiteY3" fmla="*/ 6434 h 9989"/>
              </a:gdLst>
              <a:ahLst/>
              <a:cxnLst>
                <a:cxn ang="0">
                  <a:pos x="connsiteX0" y="connsiteY0"/>
                </a:cxn>
                <a:cxn ang="0">
                  <a:pos x="connsiteX1" y="connsiteY1"/>
                </a:cxn>
                <a:cxn ang="0">
                  <a:pos x="connsiteX2" y="connsiteY2"/>
                </a:cxn>
                <a:cxn ang="0">
                  <a:pos x="connsiteX3" y="connsiteY3"/>
                </a:cxn>
              </a:cxnLst>
              <a:rect l="l" t="t" r="r" b="b"/>
              <a:pathLst>
                <a:path w="10000" h="9989">
                  <a:moveTo>
                    <a:pt x="10000" y="951"/>
                  </a:moveTo>
                  <a:lnTo>
                    <a:pt x="4496" y="9989"/>
                  </a:lnTo>
                  <a:cubicBezTo>
                    <a:pt x="4375" y="6656"/>
                    <a:pt x="4283" y="3333"/>
                    <a:pt x="4162" y="0"/>
                  </a:cubicBezTo>
                  <a:lnTo>
                    <a:pt x="0" y="6434"/>
                  </a:ln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31" name="Oval 19"/>
            <p:cNvSpPr>
              <a:spLocks noChangeArrowheads="1"/>
            </p:cNvSpPr>
            <p:nvPr userDrawn="1"/>
          </p:nvSpPr>
          <p:spPr bwMode="auto">
            <a:xfrm>
              <a:off x="6866734" y="3409950"/>
              <a:ext cx="133200" cy="13335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32" name="Oval 20"/>
            <p:cNvSpPr>
              <a:spLocks noChangeArrowheads="1"/>
            </p:cNvSpPr>
            <p:nvPr userDrawn="1"/>
          </p:nvSpPr>
          <p:spPr bwMode="auto">
            <a:xfrm>
              <a:off x="8075612" y="1470025"/>
              <a:ext cx="96838" cy="96838"/>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33" name="Oval 21"/>
            <p:cNvSpPr>
              <a:spLocks noChangeArrowheads="1"/>
            </p:cNvSpPr>
            <p:nvPr userDrawn="1"/>
          </p:nvSpPr>
          <p:spPr bwMode="auto">
            <a:xfrm>
              <a:off x="6656387" y="4826002"/>
              <a:ext cx="98425" cy="96838"/>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34" name="Oval 22"/>
            <p:cNvSpPr>
              <a:spLocks noChangeArrowheads="1"/>
            </p:cNvSpPr>
            <p:nvPr userDrawn="1"/>
          </p:nvSpPr>
          <p:spPr bwMode="auto">
            <a:xfrm>
              <a:off x="9394034" y="2331543"/>
              <a:ext cx="98425" cy="98425"/>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35" name="Freeform 23"/>
            <p:cNvSpPr>
              <a:spLocks/>
            </p:cNvSpPr>
            <p:nvPr userDrawn="1"/>
          </p:nvSpPr>
          <p:spPr bwMode="auto">
            <a:xfrm>
              <a:off x="5338724" y="5262629"/>
              <a:ext cx="150813" cy="151200"/>
            </a:xfrm>
            <a:custGeom>
              <a:avLst/>
              <a:gdLst/>
              <a:ahLst/>
              <a:cxnLst>
                <a:cxn ang="0">
                  <a:pos x="4" y="28"/>
                </a:cxn>
                <a:cxn ang="0">
                  <a:pos x="29" y="3"/>
                </a:cxn>
                <a:cxn ang="0">
                  <a:pos x="44" y="19"/>
                </a:cxn>
                <a:cxn ang="0">
                  <a:pos x="19" y="44"/>
                </a:cxn>
                <a:cxn ang="0">
                  <a:pos x="4" y="28"/>
                </a:cxn>
              </a:cxnLst>
              <a:rect l="0" t="0" r="r" b="b"/>
              <a:pathLst>
                <a:path w="48" h="47">
                  <a:moveTo>
                    <a:pt x="4" y="28"/>
                  </a:moveTo>
                  <a:cubicBezTo>
                    <a:pt x="0" y="13"/>
                    <a:pt x="14" y="0"/>
                    <a:pt x="29" y="3"/>
                  </a:cubicBezTo>
                  <a:cubicBezTo>
                    <a:pt x="36" y="5"/>
                    <a:pt x="43" y="11"/>
                    <a:pt x="44" y="19"/>
                  </a:cubicBezTo>
                  <a:cubicBezTo>
                    <a:pt x="48" y="34"/>
                    <a:pt x="34" y="47"/>
                    <a:pt x="19" y="44"/>
                  </a:cubicBezTo>
                  <a:cubicBezTo>
                    <a:pt x="12" y="42"/>
                    <a:pt x="5" y="36"/>
                    <a:pt x="4" y="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36" name="Freeform 24"/>
            <p:cNvSpPr>
              <a:spLocks/>
            </p:cNvSpPr>
            <p:nvPr userDrawn="1"/>
          </p:nvSpPr>
          <p:spPr bwMode="auto">
            <a:xfrm>
              <a:off x="1304925" y="2009775"/>
              <a:ext cx="112713" cy="115888"/>
            </a:xfrm>
            <a:custGeom>
              <a:avLst/>
              <a:gdLst/>
              <a:ahLst/>
              <a:cxnLst>
                <a:cxn ang="0">
                  <a:pos x="3" y="23"/>
                </a:cxn>
                <a:cxn ang="0">
                  <a:pos x="22" y="3"/>
                </a:cxn>
                <a:cxn ang="0">
                  <a:pos x="33" y="14"/>
                </a:cxn>
                <a:cxn ang="0">
                  <a:pos x="13" y="33"/>
                </a:cxn>
                <a:cxn ang="0">
                  <a:pos x="3" y="23"/>
                </a:cxn>
              </a:cxnLst>
              <a:rect l="0" t="0" r="r" b="b"/>
              <a:pathLst>
                <a:path w="36" h="37">
                  <a:moveTo>
                    <a:pt x="3" y="23"/>
                  </a:moveTo>
                  <a:cubicBezTo>
                    <a:pt x="0" y="11"/>
                    <a:pt x="10" y="0"/>
                    <a:pt x="22" y="3"/>
                  </a:cubicBezTo>
                  <a:cubicBezTo>
                    <a:pt x="27" y="5"/>
                    <a:pt x="31" y="9"/>
                    <a:pt x="33" y="14"/>
                  </a:cubicBezTo>
                  <a:cubicBezTo>
                    <a:pt x="36" y="26"/>
                    <a:pt x="25" y="37"/>
                    <a:pt x="13" y="33"/>
                  </a:cubicBezTo>
                  <a:cubicBezTo>
                    <a:pt x="8" y="32"/>
                    <a:pt x="4" y="28"/>
                    <a:pt x="3" y="2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37" name="Oval 25"/>
            <p:cNvSpPr>
              <a:spLocks noChangeArrowheads="1"/>
            </p:cNvSpPr>
            <p:nvPr userDrawn="1"/>
          </p:nvSpPr>
          <p:spPr bwMode="auto">
            <a:xfrm>
              <a:off x="2622550" y="3143250"/>
              <a:ext cx="98425" cy="98425"/>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38" name="Freeform 26"/>
            <p:cNvSpPr>
              <a:spLocks/>
            </p:cNvSpPr>
            <p:nvPr userDrawn="1"/>
          </p:nvSpPr>
          <p:spPr bwMode="auto">
            <a:xfrm>
              <a:off x="928686" y="5207795"/>
              <a:ext cx="115200" cy="115200"/>
            </a:xfrm>
            <a:custGeom>
              <a:avLst/>
              <a:gdLst/>
              <a:ahLst/>
              <a:cxnLst>
                <a:cxn ang="0">
                  <a:pos x="2" y="19"/>
                </a:cxn>
                <a:cxn ang="0">
                  <a:pos x="19" y="1"/>
                </a:cxn>
                <a:cxn ang="0">
                  <a:pos x="32" y="14"/>
                </a:cxn>
                <a:cxn ang="0">
                  <a:pos x="14" y="31"/>
                </a:cxn>
                <a:cxn ang="0">
                  <a:pos x="2" y="19"/>
                </a:cxn>
              </a:cxnLst>
              <a:rect l="0" t="0" r="r" b="b"/>
              <a:pathLst>
                <a:path w="34" h="33">
                  <a:moveTo>
                    <a:pt x="2" y="19"/>
                  </a:moveTo>
                  <a:cubicBezTo>
                    <a:pt x="0" y="8"/>
                    <a:pt x="9" y="0"/>
                    <a:pt x="19" y="1"/>
                  </a:cubicBezTo>
                  <a:cubicBezTo>
                    <a:pt x="26" y="2"/>
                    <a:pt x="31" y="7"/>
                    <a:pt x="32" y="14"/>
                  </a:cubicBezTo>
                  <a:cubicBezTo>
                    <a:pt x="34" y="24"/>
                    <a:pt x="25" y="33"/>
                    <a:pt x="14" y="31"/>
                  </a:cubicBezTo>
                  <a:cubicBezTo>
                    <a:pt x="8" y="30"/>
                    <a:pt x="3" y="25"/>
                    <a:pt x="2" y="1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39" name="Oval 27"/>
            <p:cNvSpPr>
              <a:spLocks noChangeArrowheads="1"/>
            </p:cNvSpPr>
            <p:nvPr userDrawn="1"/>
          </p:nvSpPr>
          <p:spPr bwMode="auto">
            <a:xfrm>
              <a:off x="306387" y="4192588"/>
              <a:ext cx="96838" cy="96838"/>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40" name="Oval 28"/>
            <p:cNvSpPr>
              <a:spLocks noChangeArrowheads="1"/>
            </p:cNvSpPr>
            <p:nvPr userDrawn="1"/>
          </p:nvSpPr>
          <p:spPr bwMode="auto">
            <a:xfrm>
              <a:off x="8418190" y="3438880"/>
              <a:ext cx="66675" cy="66675"/>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41" name="Oval 29"/>
            <p:cNvSpPr>
              <a:spLocks noChangeArrowheads="1"/>
            </p:cNvSpPr>
            <p:nvPr userDrawn="1"/>
          </p:nvSpPr>
          <p:spPr bwMode="auto">
            <a:xfrm>
              <a:off x="5916612" y="3313113"/>
              <a:ext cx="96838" cy="96838"/>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42" name="Oval 30"/>
            <p:cNvSpPr>
              <a:spLocks noChangeArrowheads="1"/>
            </p:cNvSpPr>
            <p:nvPr userDrawn="1"/>
          </p:nvSpPr>
          <p:spPr bwMode="auto">
            <a:xfrm>
              <a:off x="5650757" y="4177208"/>
              <a:ext cx="97200" cy="96838"/>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43" name="Oval 31"/>
            <p:cNvSpPr>
              <a:spLocks noChangeArrowheads="1"/>
            </p:cNvSpPr>
            <p:nvPr userDrawn="1"/>
          </p:nvSpPr>
          <p:spPr bwMode="auto">
            <a:xfrm>
              <a:off x="3881437" y="2411413"/>
              <a:ext cx="66675" cy="66675"/>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44" name="Oval 32"/>
            <p:cNvSpPr>
              <a:spLocks noChangeArrowheads="1"/>
            </p:cNvSpPr>
            <p:nvPr userDrawn="1"/>
          </p:nvSpPr>
          <p:spPr bwMode="auto">
            <a:xfrm>
              <a:off x="9106692" y="5260976"/>
              <a:ext cx="128588" cy="128588"/>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45" name="Oval 33"/>
            <p:cNvSpPr>
              <a:spLocks noChangeArrowheads="1"/>
            </p:cNvSpPr>
            <p:nvPr userDrawn="1"/>
          </p:nvSpPr>
          <p:spPr bwMode="auto">
            <a:xfrm>
              <a:off x="2843211" y="4761708"/>
              <a:ext cx="68400" cy="66675"/>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46" name="Line 34"/>
            <p:cNvSpPr>
              <a:spLocks noChangeShapeType="1"/>
            </p:cNvSpPr>
            <p:nvPr userDrawn="1"/>
          </p:nvSpPr>
          <p:spPr bwMode="auto">
            <a:xfrm flipV="1">
              <a:off x="976313" y="4783930"/>
              <a:ext cx="1895475" cy="454819"/>
            </a:xfrm>
            <a:prstGeom prst="line">
              <a:avLst/>
            </a:pr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47" name="Line 35"/>
            <p:cNvSpPr>
              <a:spLocks noChangeShapeType="1"/>
            </p:cNvSpPr>
            <p:nvPr userDrawn="1"/>
          </p:nvSpPr>
          <p:spPr bwMode="auto">
            <a:xfrm>
              <a:off x="4835525" y="5913438"/>
              <a:ext cx="1588" cy="1588"/>
            </a:xfrm>
            <a:prstGeom prst="line">
              <a:avLst/>
            </a:pr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48" name="Line 36"/>
            <p:cNvSpPr>
              <a:spLocks noChangeShapeType="1"/>
            </p:cNvSpPr>
            <p:nvPr userDrawn="1"/>
          </p:nvSpPr>
          <p:spPr bwMode="auto">
            <a:xfrm>
              <a:off x="3392487" y="5913438"/>
              <a:ext cx="1588" cy="1588"/>
            </a:xfrm>
            <a:prstGeom prst="line">
              <a:avLst/>
            </a:pr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49" name="Freeform 37"/>
            <p:cNvSpPr>
              <a:spLocks/>
            </p:cNvSpPr>
            <p:nvPr userDrawn="1"/>
          </p:nvSpPr>
          <p:spPr bwMode="auto">
            <a:xfrm>
              <a:off x="1731962" y="4784672"/>
              <a:ext cx="1660525" cy="1128766"/>
            </a:xfrm>
            <a:custGeom>
              <a:avLst/>
              <a:gdLst>
                <a:gd name="connsiteX0" fmla="*/ 0 w 10000"/>
                <a:gd name="connsiteY0" fmla="*/ 10216 h 10216"/>
                <a:gd name="connsiteX1" fmla="*/ 6874 w 10000"/>
                <a:gd name="connsiteY1" fmla="*/ 0 h 10216"/>
                <a:gd name="connsiteX2" fmla="*/ 10000 w 10000"/>
                <a:gd name="connsiteY2" fmla="*/ 10216 h 10216"/>
              </a:gdLst>
              <a:ahLst/>
              <a:cxnLst>
                <a:cxn ang="0">
                  <a:pos x="connsiteX0" y="connsiteY0"/>
                </a:cxn>
                <a:cxn ang="0">
                  <a:pos x="connsiteX1" y="connsiteY1"/>
                </a:cxn>
                <a:cxn ang="0">
                  <a:pos x="connsiteX2" y="connsiteY2"/>
                </a:cxn>
              </a:cxnLst>
              <a:rect l="l" t="t" r="r" b="b"/>
              <a:pathLst>
                <a:path w="10000" h="10216">
                  <a:moveTo>
                    <a:pt x="0" y="10216"/>
                  </a:moveTo>
                  <a:lnTo>
                    <a:pt x="6874" y="0"/>
                  </a:lnTo>
                  <a:lnTo>
                    <a:pt x="10000" y="10216"/>
                  </a:ln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50" name="Line 38"/>
            <p:cNvSpPr>
              <a:spLocks noChangeShapeType="1"/>
            </p:cNvSpPr>
            <p:nvPr userDrawn="1"/>
          </p:nvSpPr>
          <p:spPr bwMode="auto">
            <a:xfrm>
              <a:off x="1731962" y="5913438"/>
              <a:ext cx="1588" cy="1588"/>
            </a:xfrm>
            <a:prstGeom prst="line">
              <a:avLst/>
            </a:pr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51" name="Line 39"/>
            <p:cNvSpPr>
              <a:spLocks noChangeShapeType="1"/>
            </p:cNvSpPr>
            <p:nvPr userDrawn="1"/>
          </p:nvSpPr>
          <p:spPr bwMode="auto">
            <a:xfrm>
              <a:off x="1354137" y="5913438"/>
              <a:ext cx="1588" cy="1588"/>
            </a:xfrm>
            <a:prstGeom prst="line">
              <a:avLst/>
            </a:pr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52" name="Freeform 40"/>
            <p:cNvSpPr>
              <a:spLocks/>
            </p:cNvSpPr>
            <p:nvPr userDrawn="1"/>
          </p:nvSpPr>
          <p:spPr bwMode="auto">
            <a:xfrm>
              <a:off x="-27638" y="2057399"/>
              <a:ext cx="1385135" cy="2157416"/>
            </a:xfrm>
            <a:custGeom>
              <a:avLst/>
              <a:gdLst>
                <a:gd name="connsiteX0" fmla="*/ 114 w 10000"/>
                <a:gd name="connsiteY0" fmla="*/ 9569 h 10000"/>
                <a:gd name="connsiteX1" fmla="*/ 2650 w 10000"/>
                <a:gd name="connsiteY1" fmla="*/ 10000 h 10000"/>
                <a:gd name="connsiteX2" fmla="*/ 10000 w 10000"/>
                <a:gd name="connsiteY2" fmla="*/ 0 h 10000"/>
                <a:gd name="connsiteX3" fmla="*/ 0 w 10000"/>
                <a:gd name="connsiteY3" fmla="*/ 4938 h 10000"/>
                <a:gd name="connsiteX0" fmla="*/ 114 w 10000"/>
                <a:gd name="connsiteY0" fmla="*/ 9569 h 9898"/>
                <a:gd name="connsiteX1" fmla="*/ 2622 w 10000"/>
                <a:gd name="connsiteY1" fmla="*/ 9898 h 9898"/>
                <a:gd name="connsiteX2" fmla="*/ 10000 w 10000"/>
                <a:gd name="connsiteY2" fmla="*/ 0 h 9898"/>
                <a:gd name="connsiteX3" fmla="*/ 0 w 10000"/>
                <a:gd name="connsiteY3" fmla="*/ 4938 h 9898"/>
                <a:gd name="connsiteX0" fmla="*/ 201 w 10087"/>
                <a:gd name="connsiteY0" fmla="*/ 9668 h 10000"/>
                <a:gd name="connsiteX1" fmla="*/ 2709 w 10087"/>
                <a:gd name="connsiteY1" fmla="*/ 10000 h 10000"/>
                <a:gd name="connsiteX2" fmla="*/ 10087 w 10087"/>
                <a:gd name="connsiteY2" fmla="*/ 0 h 10000"/>
                <a:gd name="connsiteX3" fmla="*/ 0 w 10087"/>
                <a:gd name="connsiteY3" fmla="*/ 4989 h 10000"/>
                <a:gd name="connsiteX0" fmla="*/ 201 w 10087"/>
                <a:gd name="connsiteY0" fmla="*/ 9668 h 9971"/>
                <a:gd name="connsiteX1" fmla="*/ 2802 w 10087"/>
                <a:gd name="connsiteY1" fmla="*/ 9971 h 9971"/>
                <a:gd name="connsiteX2" fmla="*/ 10087 w 10087"/>
                <a:gd name="connsiteY2" fmla="*/ 0 h 9971"/>
                <a:gd name="connsiteX3" fmla="*/ 0 w 10087"/>
                <a:gd name="connsiteY3" fmla="*/ 4989 h 9971"/>
                <a:gd name="connsiteX0" fmla="*/ 233 w 10000"/>
                <a:gd name="connsiteY0" fmla="*/ 9681 h 10000"/>
                <a:gd name="connsiteX1" fmla="*/ 2778 w 10000"/>
                <a:gd name="connsiteY1" fmla="*/ 10000 h 10000"/>
                <a:gd name="connsiteX2" fmla="*/ 10000 w 10000"/>
                <a:gd name="connsiteY2" fmla="*/ 0 h 10000"/>
                <a:gd name="connsiteX3" fmla="*/ 0 w 10000"/>
                <a:gd name="connsiteY3" fmla="*/ 5004 h 10000"/>
                <a:gd name="connsiteX0" fmla="*/ 233 w 10000"/>
                <a:gd name="connsiteY0" fmla="*/ 9681 h 10000"/>
                <a:gd name="connsiteX1" fmla="*/ 200 w 10000"/>
                <a:gd name="connsiteY1" fmla="*/ 9695 h 10000"/>
                <a:gd name="connsiteX2" fmla="*/ 2778 w 10000"/>
                <a:gd name="connsiteY2" fmla="*/ 10000 h 10000"/>
                <a:gd name="connsiteX3" fmla="*/ 10000 w 10000"/>
                <a:gd name="connsiteY3" fmla="*/ 0 h 10000"/>
                <a:gd name="connsiteX4" fmla="*/ 0 w 10000"/>
                <a:gd name="connsiteY4" fmla="*/ 5004 h 10000"/>
                <a:gd name="connsiteX0" fmla="*/ 233 w 10000"/>
                <a:gd name="connsiteY0" fmla="*/ 9681 h 10000"/>
                <a:gd name="connsiteX1" fmla="*/ 200 w 10000"/>
                <a:gd name="connsiteY1" fmla="*/ 9362 h 10000"/>
                <a:gd name="connsiteX2" fmla="*/ 2778 w 10000"/>
                <a:gd name="connsiteY2" fmla="*/ 10000 h 10000"/>
                <a:gd name="connsiteX3" fmla="*/ 10000 w 10000"/>
                <a:gd name="connsiteY3" fmla="*/ 0 h 10000"/>
                <a:gd name="connsiteX4" fmla="*/ 0 w 10000"/>
                <a:gd name="connsiteY4" fmla="*/ 5004 h 10000"/>
                <a:gd name="connsiteX0" fmla="*/ 233 w 10000"/>
                <a:gd name="connsiteY0" fmla="*/ 9681 h 11614"/>
                <a:gd name="connsiteX1" fmla="*/ 2778 w 10000"/>
                <a:gd name="connsiteY1" fmla="*/ 10000 h 11614"/>
                <a:gd name="connsiteX2" fmla="*/ 10000 w 10000"/>
                <a:gd name="connsiteY2" fmla="*/ 0 h 11614"/>
                <a:gd name="connsiteX3" fmla="*/ 0 w 10000"/>
                <a:gd name="connsiteY3" fmla="*/ 5004 h 11614"/>
                <a:gd name="connsiteX0" fmla="*/ 233 w 10000"/>
                <a:gd name="connsiteY0" fmla="*/ 9681 h 11614"/>
                <a:gd name="connsiteX1" fmla="*/ 2778 w 10000"/>
                <a:gd name="connsiteY1" fmla="*/ 10000 h 11614"/>
                <a:gd name="connsiteX2" fmla="*/ 10000 w 10000"/>
                <a:gd name="connsiteY2" fmla="*/ 0 h 11614"/>
                <a:gd name="connsiteX3" fmla="*/ 0 w 10000"/>
                <a:gd name="connsiteY3" fmla="*/ 5004 h 11614"/>
                <a:gd name="connsiteX0" fmla="*/ 233 w 10000"/>
                <a:gd name="connsiteY0" fmla="*/ 9681 h 10000"/>
                <a:gd name="connsiteX1" fmla="*/ 2778 w 10000"/>
                <a:gd name="connsiteY1" fmla="*/ 10000 h 10000"/>
                <a:gd name="connsiteX2" fmla="*/ 10000 w 10000"/>
                <a:gd name="connsiteY2" fmla="*/ 0 h 10000"/>
                <a:gd name="connsiteX3" fmla="*/ 0 w 10000"/>
                <a:gd name="connsiteY3" fmla="*/ 5004 h 10000"/>
                <a:gd name="connsiteX0" fmla="*/ 233 w 10000"/>
                <a:gd name="connsiteY0" fmla="*/ 9681 h 10000"/>
                <a:gd name="connsiteX1" fmla="*/ 234 w 10000"/>
                <a:gd name="connsiteY1" fmla="*/ 9675 h 10000"/>
                <a:gd name="connsiteX2" fmla="*/ 2778 w 10000"/>
                <a:gd name="connsiteY2" fmla="*/ 10000 h 10000"/>
                <a:gd name="connsiteX3" fmla="*/ 10000 w 10000"/>
                <a:gd name="connsiteY3" fmla="*/ 0 h 10000"/>
                <a:gd name="connsiteX4" fmla="*/ 0 w 10000"/>
                <a:gd name="connsiteY4" fmla="*/ 5004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233" y="9681"/>
                  </a:moveTo>
                  <a:cubicBezTo>
                    <a:pt x="239" y="9681"/>
                    <a:pt x="228" y="9675"/>
                    <a:pt x="234" y="9675"/>
                  </a:cubicBezTo>
                  <a:lnTo>
                    <a:pt x="2778" y="10000"/>
                  </a:lnTo>
                  <a:lnTo>
                    <a:pt x="10000" y="0"/>
                  </a:lnTo>
                  <a:lnTo>
                    <a:pt x="0" y="5004"/>
                  </a:ln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53" name="Freeform 41"/>
            <p:cNvSpPr>
              <a:spLocks/>
            </p:cNvSpPr>
            <p:nvPr userDrawn="1"/>
          </p:nvSpPr>
          <p:spPr bwMode="auto">
            <a:xfrm>
              <a:off x="-11113" y="4022726"/>
              <a:ext cx="5720328" cy="1232220"/>
            </a:xfrm>
            <a:custGeom>
              <a:avLst/>
              <a:gdLst>
                <a:gd name="connsiteX0" fmla="*/ 0 w 10000"/>
                <a:gd name="connsiteY0" fmla="*/ 4911 h 10148"/>
                <a:gd name="connsiteX1" fmla="*/ 1791 w 10000"/>
                <a:gd name="connsiteY1" fmla="*/ 10148 h 10148"/>
                <a:gd name="connsiteX2" fmla="*/ 635 w 10000"/>
                <a:gd name="connsiteY2" fmla="*/ 1743 h 10148"/>
                <a:gd name="connsiteX3" fmla="*/ 5063 w 10000"/>
                <a:gd name="connsiteY3" fmla="*/ 6298 h 10148"/>
                <a:gd name="connsiteX4" fmla="*/ 10000 w 10000"/>
                <a:gd name="connsiteY4" fmla="*/ 2774 h 10148"/>
                <a:gd name="connsiteX5" fmla="*/ 0 w 10000"/>
                <a:gd name="connsiteY5" fmla="*/ 0 h 10148"/>
                <a:gd name="connsiteX0" fmla="*/ 0 w 10000"/>
                <a:gd name="connsiteY0" fmla="*/ 4911 h 10148"/>
                <a:gd name="connsiteX1" fmla="*/ 1791 w 10000"/>
                <a:gd name="connsiteY1" fmla="*/ 10148 h 10148"/>
                <a:gd name="connsiteX2" fmla="*/ 635 w 10000"/>
                <a:gd name="connsiteY2" fmla="*/ 1743 h 10148"/>
                <a:gd name="connsiteX3" fmla="*/ 5084 w 10000"/>
                <a:gd name="connsiteY3" fmla="*/ 6325 h 10148"/>
                <a:gd name="connsiteX4" fmla="*/ 10000 w 10000"/>
                <a:gd name="connsiteY4" fmla="*/ 2774 h 10148"/>
                <a:gd name="connsiteX5" fmla="*/ 0 w 10000"/>
                <a:gd name="connsiteY5" fmla="*/ 0 h 10148"/>
                <a:gd name="connsiteX0" fmla="*/ 0 w 10000"/>
                <a:gd name="connsiteY0" fmla="*/ 4911 h 10148"/>
                <a:gd name="connsiteX1" fmla="*/ 1791 w 10000"/>
                <a:gd name="connsiteY1" fmla="*/ 10148 h 10148"/>
                <a:gd name="connsiteX2" fmla="*/ 635 w 10000"/>
                <a:gd name="connsiteY2" fmla="*/ 1743 h 10148"/>
                <a:gd name="connsiteX3" fmla="*/ 5084 w 10000"/>
                <a:gd name="connsiteY3" fmla="*/ 6200 h 10148"/>
                <a:gd name="connsiteX4" fmla="*/ 10000 w 10000"/>
                <a:gd name="connsiteY4" fmla="*/ 2774 h 10148"/>
                <a:gd name="connsiteX5" fmla="*/ 0 w 10000"/>
                <a:gd name="connsiteY5" fmla="*/ 0 h 10148"/>
                <a:gd name="connsiteX0" fmla="*/ 0 w 10000"/>
                <a:gd name="connsiteY0" fmla="*/ 4911 h 10148"/>
                <a:gd name="connsiteX1" fmla="*/ 1791 w 10000"/>
                <a:gd name="connsiteY1" fmla="*/ 10148 h 10148"/>
                <a:gd name="connsiteX2" fmla="*/ 635 w 10000"/>
                <a:gd name="connsiteY2" fmla="*/ 1743 h 10148"/>
                <a:gd name="connsiteX3" fmla="*/ 5080 w 10000"/>
                <a:gd name="connsiteY3" fmla="*/ 6285 h 10148"/>
                <a:gd name="connsiteX4" fmla="*/ 10000 w 10000"/>
                <a:gd name="connsiteY4" fmla="*/ 2774 h 10148"/>
                <a:gd name="connsiteX5" fmla="*/ 0 w 10000"/>
                <a:gd name="connsiteY5" fmla="*/ 0 h 10148"/>
                <a:gd name="connsiteX0" fmla="*/ 0 w 10040"/>
                <a:gd name="connsiteY0" fmla="*/ 4911 h 10148"/>
                <a:gd name="connsiteX1" fmla="*/ 1791 w 10040"/>
                <a:gd name="connsiteY1" fmla="*/ 10148 h 10148"/>
                <a:gd name="connsiteX2" fmla="*/ 635 w 10040"/>
                <a:gd name="connsiteY2" fmla="*/ 1743 h 10148"/>
                <a:gd name="connsiteX3" fmla="*/ 5080 w 10040"/>
                <a:gd name="connsiteY3" fmla="*/ 6285 h 10148"/>
                <a:gd name="connsiteX4" fmla="*/ 10040 w 10040"/>
                <a:gd name="connsiteY4" fmla="*/ 1627 h 10148"/>
                <a:gd name="connsiteX5" fmla="*/ 0 w 10040"/>
                <a:gd name="connsiteY5" fmla="*/ 0 h 10148"/>
                <a:gd name="connsiteX0" fmla="*/ 0 w 10040"/>
                <a:gd name="connsiteY0" fmla="*/ 4911 h 10148"/>
                <a:gd name="connsiteX1" fmla="*/ 1791 w 10040"/>
                <a:gd name="connsiteY1" fmla="*/ 10148 h 10148"/>
                <a:gd name="connsiteX2" fmla="*/ 635 w 10040"/>
                <a:gd name="connsiteY2" fmla="*/ 1743 h 10148"/>
                <a:gd name="connsiteX3" fmla="*/ 5101 w 10040"/>
                <a:gd name="connsiteY3" fmla="*/ 6198 h 10148"/>
                <a:gd name="connsiteX4" fmla="*/ 10040 w 10040"/>
                <a:gd name="connsiteY4" fmla="*/ 1627 h 10148"/>
                <a:gd name="connsiteX5" fmla="*/ 0 w 10040"/>
                <a:gd name="connsiteY5" fmla="*/ 0 h 10148"/>
                <a:gd name="connsiteX0" fmla="*/ 0 w 10040"/>
                <a:gd name="connsiteY0" fmla="*/ 4911 h 9914"/>
                <a:gd name="connsiteX1" fmla="*/ 1746 w 10040"/>
                <a:gd name="connsiteY1" fmla="*/ 9914 h 9914"/>
                <a:gd name="connsiteX2" fmla="*/ 635 w 10040"/>
                <a:gd name="connsiteY2" fmla="*/ 1743 h 9914"/>
                <a:gd name="connsiteX3" fmla="*/ 5101 w 10040"/>
                <a:gd name="connsiteY3" fmla="*/ 6198 h 9914"/>
                <a:gd name="connsiteX4" fmla="*/ 10040 w 10040"/>
                <a:gd name="connsiteY4" fmla="*/ 1627 h 9914"/>
                <a:gd name="connsiteX5" fmla="*/ 0 w 10040"/>
                <a:gd name="connsiteY5" fmla="*/ 0 h 9914"/>
                <a:gd name="connsiteX0" fmla="*/ 0 w 10000"/>
                <a:gd name="connsiteY0" fmla="*/ 4954 h 9961"/>
                <a:gd name="connsiteX1" fmla="*/ 1744 w 10000"/>
                <a:gd name="connsiteY1" fmla="*/ 9961 h 9961"/>
                <a:gd name="connsiteX2" fmla="*/ 632 w 10000"/>
                <a:gd name="connsiteY2" fmla="*/ 1758 h 9961"/>
                <a:gd name="connsiteX3" fmla="*/ 5081 w 10000"/>
                <a:gd name="connsiteY3" fmla="*/ 6252 h 9961"/>
                <a:gd name="connsiteX4" fmla="*/ 10000 w 10000"/>
                <a:gd name="connsiteY4" fmla="*/ 1641 h 9961"/>
                <a:gd name="connsiteX5" fmla="*/ 0 w 10000"/>
                <a:gd name="connsiteY5" fmla="*/ 0 h 9961"/>
                <a:gd name="connsiteX0" fmla="*/ 0 w 10000"/>
                <a:gd name="connsiteY0" fmla="*/ 4973 h 10000"/>
                <a:gd name="connsiteX1" fmla="*/ 1744 w 10000"/>
                <a:gd name="connsiteY1" fmla="*/ 10000 h 10000"/>
                <a:gd name="connsiteX2" fmla="*/ 632 w 10000"/>
                <a:gd name="connsiteY2" fmla="*/ 1765 h 10000"/>
                <a:gd name="connsiteX3" fmla="*/ 5081 w 10000"/>
                <a:gd name="connsiteY3" fmla="*/ 6276 h 10000"/>
                <a:gd name="connsiteX4" fmla="*/ 10000 w 10000"/>
                <a:gd name="connsiteY4" fmla="*/ 1647 h 10000"/>
                <a:gd name="connsiteX5" fmla="*/ 0 w 10000"/>
                <a:gd name="connsiteY5" fmla="*/ 0 h 10000"/>
                <a:gd name="connsiteX0" fmla="*/ 0 w 10000"/>
                <a:gd name="connsiteY0" fmla="*/ 4973 h 10000"/>
                <a:gd name="connsiteX1" fmla="*/ 1744 w 10000"/>
                <a:gd name="connsiteY1" fmla="*/ 10000 h 10000"/>
                <a:gd name="connsiteX2" fmla="*/ 632 w 10000"/>
                <a:gd name="connsiteY2" fmla="*/ 1765 h 10000"/>
                <a:gd name="connsiteX3" fmla="*/ 2559 w 10000"/>
                <a:gd name="connsiteY3" fmla="*/ 3801 h 10000"/>
                <a:gd name="connsiteX4" fmla="*/ 5081 w 10000"/>
                <a:gd name="connsiteY4" fmla="*/ 6276 h 10000"/>
                <a:gd name="connsiteX5" fmla="*/ 10000 w 10000"/>
                <a:gd name="connsiteY5" fmla="*/ 1647 h 10000"/>
                <a:gd name="connsiteX6" fmla="*/ 0 w 10000"/>
                <a:gd name="connsiteY6" fmla="*/ 0 h 10000"/>
                <a:gd name="connsiteX0" fmla="*/ 0 w 10000"/>
                <a:gd name="connsiteY0" fmla="*/ 4973 h 10000"/>
                <a:gd name="connsiteX1" fmla="*/ 1744 w 10000"/>
                <a:gd name="connsiteY1" fmla="*/ 10000 h 10000"/>
                <a:gd name="connsiteX2" fmla="*/ 632 w 10000"/>
                <a:gd name="connsiteY2" fmla="*/ 1765 h 10000"/>
                <a:gd name="connsiteX3" fmla="*/ 2559 w 10000"/>
                <a:gd name="connsiteY3" fmla="*/ 3801 h 10000"/>
                <a:gd name="connsiteX4" fmla="*/ 5081 w 10000"/>
                <a:gd name="connsiteY4" fmla="*/ 6276 h 10000"/>
                <a:gd name="connsiteX5" fmla="*/ 10000 w 10000"/>
                <a:gd name="connsiteY5" fmla="*/ 1647 h 10000"/>
                <a:gd name="connsiteX6" fmla="*/ 0 w 10000"/>
                <a:gd name="connsiteY6" fmla="*/ 0 h 10000"/>
                <a:gd name="connsiteX0" fmla="*/ 0 w 10000"/>
                <a:gd name="connsiteY0" fmla="*/ 4973 h 10000"/>
                <a:gd name="connsiteX1" fmla="*/ 1744 w 10000"/>
                <a:gd name="connsiteY1" fmla="*/ 10000 h 10000"/>
                <a:gd name="connsiteX2" fmla="*/ 632 w 10000"/>
                <a:gd name="connsiteY2" fmla="*/ 1765 h 10000"/>
                <a:gd name="connsiteX3" fmla="*/ 2559 w 10000"/>
                <a:gd name="connsiteY3" fmla="*/ 3801 h 10000"/>
                <a:gd name="connsiteX4" fmla="*/ 5081 w 10000"/>
                <a:gd name="connsiteY4" fmla="*/ 6276 h 10000"/>
                <a:gd name="connsiteX5" fmla="*/ 10000 w 10000"/>
                <a:gd name="connsiteY5" fmla="*/ 1647 h 10000"/>
                <a:gd name="connsiteX6" fmla="*/ 0 w 10000"/>
                <a:gd name="connsiteY6" fmla="*/ 0 h 10000"/>
                <a:gd name="connsiteX0" fmla="*/ 0 w 10000"/>
                <a:gd name="connsiteY0" fmla="*/ 4973 h 10000"/>
                <a:gd name="connsiteX1" fmla="*/ 1744 w 10000"/>
                <a:gd name="connsiteY1" fmla="*/ 10000 h 10000"/>
                <a:gd name="connsiteX2" fmla="*/ 632 w 10000"/>
                <a:gd name="connsiteY2" fmla="*/ 1765 h 10000"/>
                <a:gd name="connsiteX3" fmla="*/ 2559 w 10000"/>
                <a:gd name="connsiteY3" fmla="*/ 3801 h 10000"/>
                <a:gd name="connsiteX4" fmla="*/ 5081 w 10000"/>
                <a:gd name="connsiteY4" fmla="*/ 6276 h 10000"/>
                <a:gd name="connsiteX5" fmla="*/ 10000 w 10000"/>
                <a:gd name="connsiteY5" fmla="*/ 1647 h 10000"/>
                <a:gd name="connsiteX6" fmla="*/ 0 w 10000"/>
                <a:gd name="connsiteY6" fmla="*/ 0 h 10000"/>
                <a:gd name="connsiteX0" fmla="*/ 0 w 10000"/>
                <a:gd name="connsiteY0" fmla="*/ 4973 h 10000"/>
                <a:gd name="connsiteX1" fmla="*/ 1744 w 10000"/>
                <a:gd name="connsiteY1" fmla="*/ 10000 h 10000"/>
                <a:gd name="connsiteX2" fmla="*/ 632 w 10000"/>
                <a:gd name="connsiteY2" fmla="*/ 1765 h 10000"/>
                <a:gd name="connsiteX3" fmla="*/ 2559 w 10000"/>
                <a:gd name="connsiteY3" fmla="*/ 3801 h 10000"/>
                <a:gd name="connsiteX4" fmla="*/ 5081 w 10000"/>
                <a:gd name="connsiteY4" fmla="*/ 6276 h 10000"/>
                <a:gd name="connsiteX5" fmla="*/ 10000 w 10000"/>
                <a:gd name="connsiteY5" fmla="*/ 1647 h 10000"/>
                <a:gd name="connsiteX6" fmla="*/ 0 w 10000"/>
                <a:gd name="connsiteY6" fmla="*/ 0 h 10000"/>
                <a:gd name="connsiteX0" fmla="*/ 0 w 10000"/>
                <a:gd name="connsiteY0" fmla="*/ 4973 h 10000"/>
                <a:gd name="connsiteX1" fmla="*/ 1744 w 10000"/>
                <a:gd name="connsiteY1" fmla="*/ 10000 h 10000"/>
                <a:gd name="connsiteX2" fmla="*/ 632 w 10000"/>
                <a:gd name="connsiteY2" fmla="*/ 1765 h 10000"/>
                <a:gd name="connsiteX3" fmla="*/ 2559 w 10000"/>
                <a:gd name="connsiteY3" fmla="*/ 3801 h 10000"/>
                <a:gd name="connsiteX4" fmla="*/ 5081 w 10000"/>
                <a:gd name="connsiteY4" fmla="*/ 6276 h 10000"/>
                <a:gd name="connsiteX5" fmla="*/ 10000 w 10000"/>
                <a:gd name="connsiteY5" fmla="*/ 1647 h 10000"/>
                <a:gd name="connsiteX6" fmla="*/ 0 w 10000"/>
                <a:gd name="connsiteY6" fmla="*/ 0 h 10000"/>
                <a:gd name="connsiteX0" fmla="*/ 0 w 10000"/>
                <a:gd name="connsiteY0" fmla="*/ 4973 h 10000"/>
                <a:gd name="connsiteX1" fmla="*/ 1744 w 10000"/>
                <a:gd name="connsiteY1" fmla="*/ 10000 h 10000"/>
                <a:gd name="connsiteX2" fmla="*/ 632 w 10000"/>
                <a:gd name="connsiteY2" fmla="*/ 1765 h 10000"/>
                <a:gd name="connsiteX3" fmla="*/ 2559 w 10000"/>
                <a:gd name="connsiteY3" fmla="*/ 3801 h 10000"/>
                <a:gd name="connsiteX4" fmla="*/ 5081 w 10000"/>
                <a:gd name="connsiteY4" fmla="*/ 6276 h 10000"/>
                <a:gd name="connsiteX5" fmla="*/ 10000 w 10000"/>
                <a:gd name="connsiteY5" fmla="*/ 1647 h 10000"/>
                <a:gd name="connsiteX6" fmla="*/ 0 w 10000"/>
                <a:gd name="connsiteY6" fmla="*/ 0 h 10000"/>
                <a:gd name="connsiteX0" fmla="*/ 0 w 10000"/>
                <a:gd name="connsiteY0" fmla="*/ 4973 h 10000"/>
                <a:gd name="connsiteX1" fmla="*/ 1744 w 10000"/>
                <a:gd name="connsiteY1" fmla="*/ 10000 h 10000"/>
                <a:gd name="connsiteX2" fmla="*/ 632 w 10000"/>
                <a:gd name="connsiteY2" fmla="*/ 1765 h 10000"/>
                <a:gd name="connsiteX3" fmla="*/ 2636 w 10000"/>
                <a:gd name="connsiteY3" fmla="*/ 3948 h 10000"/>
                <a:gd name="connsiteX4" fmla="*/ 5081 w 10000"/>
                <a:gd name="connsiteY4" fmla="*/ 6276 h 10000"/>
                <a:gd name="connsiteX5" fmla="*/ 10000 w 10000"/>
                <a:gd name="connsiteY5" fmla="*/ 1647 h 10000"/>
                <a:gd name="connsiteX6" fmla="*/ 0 w 10000"/>
                <a:gd name="connsiteY6" fmla="*/ 0 h 10000"/>
                <a:gd name="connsiteX0" fmla="*/ 0 w 10000"/>
                <a:gd name="connsiteY0" fmla="*/ 4973 h 10000"/>
                <a:gd name="connsiteX1" fmla="*/ 1744 w 10000"/>
                <a:gd name="connsiteY1" fmla="*/ 10000 h 10000"/>
                <a:gd name="connsiteX2" fmla="*/ 632 w 10000"/>
                <a:gd name="connsiteY2" fmla="*/ 1765 h 10000"/>
                <a:gd name="connsiteX3" fmla="*/ 2547 w 10000"/>
                <a:gd name="connsiteY3" fmla="*/ 3840 h 10000"/>
                <a:gd name="connsiteX4" fmla="*/ 5081 w 10000"/>
                <a:gd name="connsiteY4" fmla="*/ 6276 h 10000"/>
                <a:gd name="connsiteX5" fmla="*/ 10000 w 10000"/>
                <a:gd name="connsiteY5" fmla="*/ 1647 h 10000"/>
                <a:gd name="connsiteX6" fmla="*/ 0 w 10000"/>
                <a:gd name="connsiteY6" fmla="*/ 0 h 10000"/>
                <a:gd name="connsiteX0" fmla="*/ 0 w 10000"/>
                <a:gd name="connsiteY0" fmla="*/ 4973 h 10000"/>
                <a:gd name="connsiteX1" fmla="*/ 1744 w 10000"/>
                <a:gd name="connsiteY1" fmla="*/ 10000 h 10000"/>
                <a:gd name="connsiteX2" fmla="*/ 632 w 10000"/>
                <a:gd name="connsiteY2" fmla="*/ 1765 h 10000"/>
                <a:gd name="connsiteX3" fmla="*/ 2564 w 10000"/>
                <a:gd name="connsiteY3" fmla="*/ 3859 h 10000"/>
                <a:gd name="connsiteX4" fmla="*/ 5081 w 10000"/>
                <a:gd name="connsiteY4" fmla="*/ 6276 h 10000"/>
                <a:gd name="connsiteX5" fmla="*/ 10000 w 10000"/>
                <a:gd name="connsiteY5" fmla="*/ 1647 h 10000"/>
                <a:gd name="connsiteX6" fmla="*/ 0 w 10000"/>
                <a:gd name="connsiteY6" fmla="*/ 0 h 10000"/>
                <a:gd name="connsiteX0" fmla="*/ 0 w 10000"/>
                <a:gd name="connsiteY0" fmla="*/ 4973 h 10000"/>
                <a:gd name="connsiteX1" fmla="*/ 1744 w 10000"/>
                <a:gd name="connsiteY1" fmla="*/ 10000 h 10000"/>
                <a:gd name="connsiteX2" fmla="*/ 646 w 10000"/>
                <a:gd name="connsiteY2" fmla="*/ 1733 h 10000"/>
                <a:gd name="connsiteX3" fmla="*/ 2564 w 10000"/>
                <a:gd name="connsiteY3" fmla="*/ 3859 h 10000"/>
                <a:gd name="connsiteX4" fmla="*/ 5081 w 10000"/>
                <a:gd name="connsiteY4" fmla="*/ 6276 h 10000"/>
                <a:gd name="connsiteX5" fmla="*/ 10000 w 10000"/>
                <a:gd name="connsiteY5" fmla="*/ 1647 h 10000"/>
                <a:gd name="connsiteX6" fmla="*/ 0 w 10000"/>
                <a:gd name="connsiteY6" fmla="*/ 0 h 10000"/>
                <a:gd name="connsiteX0" fmla="*/ 0 w 10000"/>
                <a:gd name="connsiteY0" fmla="*/ 4973 h 10000"/>
                <a:gd name="connsiteX1" fmla="*/ 1744 w 10000"/>
                <a:gd name="connsiteY1" fmla="*/ 10000 h 10000"/>
                <a:gd name="connsiteX2" fmla="*/ 646 w 10000"/>
                <a:gd name="connsiteY2" fmla="*/ 1733 h 10000"/>
                <a:gd name="connsiteX3" fmla="*/ 2564 w 10000"/>
                <a:gd name="connsiteY3" fmla="*/ 3859 h 10000"/>
                <a:gd name="connsiteX4" fmla="*/ 5081 w 10000"/>
                <a:gd name="connsiteY4" fmla="*/ 6276 h 10000"/>
                <a:gd name="connsiteX5" fmla="*/ 10000 w 10000"/>
                <a:gd name="connsiteY5" fmla="*/ 1647 h 10000"/>
                <a:gd name="connsiteX6" fmla="*/ 0 w 10000"/>
                <a:gd name="connsiteY6" fmla="*/ 0 h 10000"/>
                <a:gd name="connsiteX0" fmla="*/ 0 w 10000"/>
                <a:gd name="connsiteY0" fmla="*/ 4973 h 10000"/>
                <a:gd name="connsiteX1" fmla="*/ 1744 w 10000"/>
                <a:gd name="connsiteY1" fmla="*/ 10000 h 10000"/>
                <a:gd name="connsiteX2" fmla="*/ 646 w 10000"/>
                <a:gd name="connsiteY2" fmla="*/ 1733 h 10000"/>
                <a:gd name="connsiteX3" fmla="*/ 2564 w 10000"/>
                <a:gd name="connsiteY3" fmla="*/ 3859 h 10000"/>
                <a:gd name="connsiteX4" fmla="*/ 5081 w 10000"/>
                <a:gd name="connsiteY4" fmla="*/ 6276 h 10000"/>
                <a:gd name="connsiteX5" fmla="*/ 10000 w 10000"/>
                <a:gd name="connsiteY5" fmla="*/ 1647 h 10000"/>
                <a:gd name="connsiteX6" fmla="*/ 0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0" y="4973"/>
                  </a:moveTo>
                  <a:lnTo>
                    <a:pt x="1744" y="10000"/>
                  </a:lnTo>
                  <a:lnTo>
                    <a:pt x="646" y="1733"/>
                  </a:lnTo>
                  <a:cubicBezTo>
                    <a:pt x="1196" y="2303"/>
                    <a:pt x="1785" y="2965"/>
                    <a:pt x="2564" y="3859"/>
                  </a:cubicBezTo>
                  <a:cubicBezTo>
                    <a:pt x="2715" y="4015"/>
                    <a:pt x="3904" y="5054"/>
                    <a:pt x="5081" y="6276"/>
                  </a:cubicBezTo>
                  <a:lnTo>
                    <a:pt x="10000" y="1647"/>
                  </a:lnTo>
                  <a:lnTo>
                    <a:pt x="0" y="0"/>
                  </a:ln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54" name="Freeform 42"/>
            <p:cNvSpPr>
              <a:spLocks/>
            </p:cNvSpPr>
            <p:nvPr userDrawn="1"/>
          </p:nvSpPr>
          <p:spPr bwMode="auto">
            <a:xfrm>
              <a:off x="-11113" y="4230362"/>
              <a:ext cx="5701526" cy="1683076"/>
            </a:xfrm>
            <a:custGeom>
              <a:avLst/>
              <a:gdLst>
                <a:gd name="connsiteX0" fmla="*/ 8507 w 10007"/>
                <a:gd name="connsiteY0" fmla="*/ 10078 h 10078"/>
                <a:gd name="connsiteX1" fmla="*/ 9615 w 10007"/>
                <a:gd name="connsiteY1" fmla="*/ 7483 h 10078"/>
                <a:gd name="connsiteX2" fmla="*/ 10007 w 10007"/>
                <a:gd name="connsiteY2" fmla="*/ 0 h 10078"/>
                <a:gd name="connsiteX3" fmla="*/ 638 w 10007"/>
                <a:gd name="connsiteY3" fmla="*/ 78 h 10078"/>
                <a:gd name="connsiteX4" fmla="*/ 0 w 10007"/>
                <a:gd name="connsiteY4" fmla="*/ 2987 h 10078"/>
                <a:gd name="connsiteX0" fmla="*/ 8507 w 10007"/>
                <a:gd name="connsiteY0" fmla="*/ 10078 h 10078"/>
                <a:gd name="connsiteX1" fmla="*/ 9508 w 10007"/>
                <a:gd name="connsiteY1" fmla="*/ 6557 h 10078"/>
                <a:gd name="connsiteX2" fmla="*/ 10007 w 10007"/>
                <a:gd name="connsiteY2" fmla="*/ 0 h 10078"/>
                <a:gd name="connsiteX3" fmla="*/ 638 w 10007"/>
                <a:gd name="connsiteY3" fmla="*/ 78 h 10078"/>
                <a:gd name="connsiteX4" fmla="*/ 0 w 10007"/>
                <a:gd name="connsiteY4" fmla="*/ 2987 h 10078"/>
                <a:gd name="connsiteX0" fmla="*/ 8507 w 10007"/>
                <a:gd name="connsiteY0" fmla="*/ 10078 h 10078"/>
                <a:gd name="connsiteX1" fmla="*/ 9508 w 10007"/>
                <a:gd name="connsiteY1" fmla="*/ 6557 h 10078"/>
                <a:gd name="connsiteX2" fmla="*/ 10007 w 10007"/>
                <a:gd name="connsiteY2" fmla="*/ 0 h 10078"/>
                <a:gd name="connsiteX3" fmla="*/ 638 w 10007"/>
                <a:gd name="connsiteY3" fmla="*/ 78 h 10078"/>
                <a:gd name="connsiteX4" fmla="*/ 0 w 10007"/>
                <a:gd name="connsiteY4" fmla="*/ 2987 h 10078"/>
                <a:gd name="connsiteX0" fmla="*/ 8507 w 10007"/>
                <a:gd name="connsiteY0" fmla="*/ 10078 h 10078"/>
                <a:gd name="connsiteX1" fmla="*/ 9508 w 10007"/>
                <a:gd name="connsiteY1" fmla="*/ 6557 h 10078"/>
                <a:gd name="connsiteX2" fmla="*/ 10007 w 10007"/>
                <a:gd name="connsiteY2" fmla="*/ 0 h 10078"/>
                <a:gd name="connsiteX3" fmla="*/ 638 w 10007"/>
                <a:gd name="connsiteY3" fmla="*/ 78 h 10078"/>
                <a:gd name="connsiteX4" fmla="*/ 0 w 10007"/>
                <a:gd name="connsiteY4" fmla="*/ 2987 h 10078"/>
                <a:gd name="connsiteX0" fmla="*/ 8507 w 10007"/>
                <a:gd name="connsiteY0" fmla="*/ 10078 h 10078"/>
                <a:gd name="connsiteX1" fmla="*/ 9508 w 10007"/>
                <a:gd name="connsiteY1" fmla="*/ 6557 h 10078"/>
                <a:gd name="connsiteX2" fmla="*/ 10007 w 10007"/>
                <a:gd name="connsiteY2" fmla="*/ 0 h 10078"/>
                <a:gd name="connsiteX3" fmla="*/ 640 w 10007"/>
                <a:gd name="connsiteY3" fmla="*/ 97 h 10078"/>
                <a:gd name="connsiteX4" fmla="*/ 0 w 10007"/>
                <a:gd name="connsiteY4" fmla="*/ 2987 h 10078"/>
                <a:gd name="connsiteX0" fmla="*/ 8507 w 10007"/>
                <a:gd name="connsiteY0" fmla="*/ 10078 h 10078"/>
                <a:gd name="connsiteX1" fmla="*/ 9508 w 10007"/>
                <a:gd name="connsiteY1" fmla="*/ 6557 h 10078"/>
                <a:gd name="connsiteX2" fmla="*/ 10007 w 10007"/>
                <a:gd name="connsiteY2" fmla="*/ 0 h 10078"/>
                <a:gd name="connsiteX3" fmla="*/ 621 w 10007"/>
                <a:gd name="connsiteY3" fmla="*/ 102 h 10078"/>
                <a:gd name="connsiteX4" fmla="*/ 0 w 10007"/>
                <a:gd name="connsiteY4" fmla="*/ 2987 h 10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7" h="10078">
                  <a:moveTo>
                    <a:pt x="8507" y="10078"/>
                  </a:moveTo>
                  <a:lnTo>
                    <a:pt x="9508" y="6557"/>
                  </a:lnTo>
                  <a:cubicBezTo>
                    <a:pt x="9675" y="4353"/>
                    <a:pt x="9837" y="2363"/>
                    <a:pt x="10007" y="0"/>
                  </a:cubicBezTo>
                  <a:lnTo>
                    <a:pt x="621" y="102"/>
                  </a:lnTo>
                  <a:lnTo>
                    <a:pt x="0" y="2987"/>
                  </a:ln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55" name="Freeform 43"/>
            <p:cNvSpPr>
              <a:spLocks/>
            </p:cNvSpPr>
            <p:nvPr userDrawn="1"/>
          </p:nvSpPr>
          <p:spPr bwMode="auto">
            <a:xfrm>
              <a:off x="-54" y="5157238"/>
              <a:ext cx="1354191" cy="756200"/>
            </a:xfrm>
            <a:custGeom>
              <a:avLst/>
              <a:gdLst>
                <a:gd name="connsiteX0" fmla="*/ 0 w 10000"/>
                <a:gd name="connsiteY0" fmla="*/ 0 h 10000"/>
                <a:gd name="connsiteX1" fmla="*/ 7132 w 10000"/>
                <a:gd name="connsiteY1" fmla="*/ 935 h 10000"/>
                <a:gd name="connsiteX2" fmla="*/ 10000 w 10000"/>
                <a:gd name="connsiteY2" fmla="*/ 10000 h 10000"/>
                <a:gd name="connsiteX0" fmla="*/ 0 w 9919"/>
                <a:gd name="connsiteY0" fmla="*/ 0 h 10244"/>
                <a:gd name="connsiteX1" fmla="*/ 7051 w 9919"/>
                <a:gd name="connsiteY1" fmla="*/ 1179 h 10244"/>
                <a:gd name="connsiteX2" fmla="*/ 9919 w 9919"/>
                <a:gd name="connsiteY2" fmla="*/ 10244 h 10244"/>
                <a:gd name="connsiteX0" fmla="*/ 0 w 10000"/>
                <a:gd name="connsiteY0" fmla="*/ 0 h 10000"/>
                <a:gd name="connsiteX1" fmla="*/ 7109 w 10000"/>
                <a:gd name="connsiteY1" fmla="*/ 1151 h 10000"/>
                <a:gd name="connsiteX2" fmla="*/ 10000 w 10000"/>
                <a:gd name="connsiteY2" fmla="*/ 10000 h 10000"/>
              </a:gdLst>
              <a:ahLst/>
              <a:cxnLst>
                <a:cxn ang="0">
                  <a:pos x="connsiteX0" y="connsiteY0"/>
                </a:cxn>
                <a:cxn ang="0">
                  <a:pos x="connsiteX1" y="connsiteY1"/>
                </a:cxn>
                <a:cxn ang="0">
                  <a:pos x="connsiteX2" y="connsiteY2"/>
                </a:cxn>
              </a:cxnLst>
              <a:rect l="l" t="t" r="r" b="b"/>
              <a:pathLst>
                <a:path w="10000" h="10000">
                  <a:moveTo>
                    <a:pt x="0" y="0"/>
                  </a:moveTo>
                  <a:lnTo>
                    <a:pt x="7109" y="1151"/>
                  </a:lnTo>
                  <a:lnTo>
                    <a:pt x="10000" y="10000"/>
                  </a:ln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56" name="Oval 19"/>
            <p:cNvSpPr>
              <a:spLocks noChangeAspect="1" noChangeArrowheads="1"/>
            </p:cNvSpPr>
            <p:nvPr userDrawn="1"/>
          </p:nvSpPr>
          <p:spPr bwMode="auto">
            <a:xfrm>
              <a:off x="7706047" y="3313553"/>
              <a:ext cx="72000" cy="72081"/>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grpSp>
      <p:sp>
        <p:nvSpPr>
          <p:cNvPr id="213" name="Rectangle 212"/>
          <p:cNvSpPr/>
          <p:nvPr userDrawn="1"/>
        </p:nvSpPr>
        <p:spPr>
          <a:xfrm>
            <a:off x="6566124" y="345332"/>
            <a:ext cx="2577877" cy="307638"/>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896" tIns="0" rIns="308238" bIns="0" rtlCol="0" anchor="ctr"/>
          <a:lstStyle/>
          <a:p>
            <a:pPr algn="r" defTabSz="914310" fontAlgn="base">
              <a:spcBef>
                <a:spcPct val="0"/>
              </a:spcBef>
              <a:spcAft>
                <a:spcPct val="0"/>
              </a:spcAft>
            </a:pPr>
            <a:r>
              <a:rPr lang="en-US" sz="1200" dirty="0">
                <a:solidFill>
                  <a:srgbClr val="000000"/>
                </a:solidFill>
                <a:effectLst>
                  <a:outerShdw blurRad="50800" dist="25400" dir="2700000" algn="tl" rotWithShape="0">
                    <a:prstClr val="black">
                      <a:alpha val="24000"/>
                    </a:prstClr>
                  </a:outerShdw>
                </a:effectLst>
              </a:rPr>
              <a:t>Leader in Digital Transformation</a:t>
            </a:r>
          </a:p>
        </p:txBody>
      </p:sp>
      <p:sp>
        <p:nvSpPr>
          <p:cNvPr id="214" name="Subtitle 2"/>
          <p:cNvSpPr>
            <a:spLocks noGrp="1"/>
          </p:cNvSpPr>
          <p:nvPr>
            <p:ph type="subTitle" idx="1" hasCustomPrompt="1"/>
          </p:nvPr>
        </p:nvSpPr>
        <p:spPr>
          <a:xfrm>
            <a:off x="317990" y="3094169"/>
            <a:ext cx="6180923" cy="256149"/>
          </a:xfrm>
          <a:prstGeom prst="rect">
            <a:avLst/>
          </a:prstGeom>
          <a:solidFill>
            <a:schemeClr val="bg1">
              <a:alpha val="80000"/>
            </a:schemeClr>
          </a:solidFill>
        </p:spPr>
        <p:txBody>
          <a:bodyPr wrap="square" lIns="77059" tIns="30824" rIns="77059" bIns="30824">
            <a:spAutoFit/>
          </a:bodyPr>
          <a:lstStyle>
            <a:lvl1pPr marL="0" indent="0" algn="l">
              <a:spcAft>
                <a:spcPts val="0"/>
              </a:spcAft>
              <a:buNone/>
              <a:defRPr lang="fr-FR" sz="1400" b="0" i="0" kern="1200" noProof="0" dirty="0" smtClean="0">
                <a:solidFill>
                  <a:schemeClr val="tx1"/>
                </a:solidFill>
                <a:effectLst>
                  <a:outerShdw blurRad="50800" dist="25400" dir="2700000" algn="tl" rotWithShape="0">
                    <a:prstClr val="black">
                      <a:alpha val="24000"/>
                    </a:prstClr>
                  </a:outerShdw>
                </a:effectLst>
                <a:latin typeface="+mj-lt"/>
                <a:ea typeface="+mn-ea"/>
                <a:cs typeface="+mn-cs"/>
              </a:defRPr>
            </a:lvl1pPr>
            <a:lvl2pPr marL="391438" indent="0" algn="ctr">
              <a:buNone/>
              <a:defRPr>
                <a:solidFill>
                  <a:schemeClr val="tx1">
                    <a:tint val="75000"/>
                  </a:schemeClr>
                </a:solidFill>
              </a:defRPr>
            </a:lvl2pPr>
            <a:lvl3pPr marL="782874" indent="0" algn="ctr">
              <a:buNone/>
              <a:defRPr>
                <a:solidFill>
                  <a:schemeClr val="tx1">
                    <a:tint val="75000"/>
                  </a:schemeClr>
                </a:solidFill>
              </a:defRPr>
            </a:lvl3pPr>
            <a:lvl4pPr marL="1174311" indent="0" algn="ctr">
              <a:buNone/>
              <a:defRPr>
                <a:solidFill>
                  <a:schemeClr val="tx1">
                    <a:tint val="75000"/>
                  </a:schemeClr>
                </a:solidFill>
              </a:defRPr>
            </a:lvl4pPr>
            <a:lvl5pPr marL="1565748" indent="0" algn="ctr">
              <a:buNone/>
              <a:defRPr>
                <a:solidFill>
                  <a:schemeClr val="tx1">
                    <a:tint val="75000"/>
                  </a:schemeClr>
                </a:solidFill>
              </a:defRPr>
            </a:lvl5pPr>
            <a:lvl6pPr marL="1957185" indent="0" algn="ctr">
              <a:buNone/>
              <a:defRPr>
                <a:solidFill>
                  <a:schemeClr val="tx1">
                    <a:tint val="75000"/>
                  </a:schemeClr>
                </a:solidFill>
              </a:defRPr>
            </a:lvl6pPr>
            <a:lvl7pPr marL="2348622" indent="0" algn="ctr">
              <a:buNone/>
              <a:defRPr>
                <a:solidFill>
                  <a:schemeClr val="tx1">
                    <a:tint val="75000"/>
                  </a:schemeClr>
                </a:solidFill>
              </a:defRPr>
            </a:lvl7pPr>
            <a:lvl8pPr marL="2740060" indent="0" algn="ctr">
              <a:buNone/>
              <a:defRPr>
                <a:solidFill>
                  <a:schemeClr val="tx1">
                    <a:tint val="75000"/>
                  </a:schemeClr>
                </a:solidFill>
              </a:defRPr>
            </a:lvl8pPr>
            <a:lvl9pPr marL="3131497"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graphicFrame>
        <p:nvGraphicFramePr>
          <p:cNvPr id="5" name="Object 4" hidden="1"/>
          <p:cNvGraphicFramePr>
            <a:graphicFrameLocks noChangeAspect="1"/>
          </p:cNvGraphicFramePr>
          <p:nvPr userDrawn="1">
            <p:custDataLst>
              <p:tags r:id="rId2"/>
            </p:custDataLst>
          </p:nvPr>
        </p:nvGraphicFramePr>
        <p:xfrm>
          <a:off x="1" y="1"/>
          <a:ext cx="146538" cy="120643"/>
        </p:xfrm>
        <a:graphic>
          <a:graphicData uri="http://schemas.openxmlformats.org/presentationml/2006/ole">
            <mc:AlternateContent xmlns:mc="http://schemas.openxmlformats.org/markup-compatibility/2006">
              <mc:Choice xmlns:v="urn:schemas-microsoft-com:vml" Requires="v">
                <p:oleObj spid="_x0000_s1540173" name="think-cell Folie" r:id="rId5" imgW="360" imgH="360" progId="">
                  <p:embed/>
                </p:oleObj>
              </mc:Choice>
              <mc:Fallback>
                <p:oleObj name="think-cell Foli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46538" cy="1206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Picture 2"/>
          <p:cNvPicPr>
            <a:picLocks noChangeAspect="1" noChangeArrowheads="1"/>
          </p:cNvPicPr>
          <p:nvPr userDrawn="1"/>
        </p:nvPicPr>
        <p:blipFill>
          <a:blip r:embed="rId7" cstate="print">
            <a:extLst>
              <a:ext uri="{28A0092B-C50C-407E-A947-70E740481C1C}">
                <a14:useLocalDpi xmlns:a14="http://schemas.microsoft.com/office/drawing/2010/main"/>
              </a:ext>
            </a:extLst>
          </a:blip>
          <a:srcRect t="7561" b="11951"/>
          <a:stretch>
            <a:fillRect/>
          </a:stretch>
        </p:blipFill>
        <p:spPr bwMode="auto">
          <a:xfrm>
            <a:off x="176138" y="4717664"/>
            <a:ext cx="3127057" cy="266469"/>
          </a:xfrm>
          <a:prstGeom prst="rect">
            <a:avLst/>
          </a:prstGeom>
          <a:noFill/>
          <a:ln>
            <a:noFill/>
          </a:ln>
        </p:spPr>
      </p:pic>
      <p:sp>
        <p:nvSpPr>
          <p:cNvPr id="12" name="Title 11"/>
          <p:cNvSpPr>
            <a:spLocks noGrp="1"/>
          </p:cNvSpPr>
          <p:nvPr userDrawn="1">
            <p:ph type="title" hasCustomPrompt="1"/>
          </p:nvPr>
        </p:nvSpPr>
        <p:spPr>
          <a:xfrm>
            <a:off x="317990" y="2490504"/>
            <a:ext cx="6180923" cy="498449"/>
          </a:xfrm>
          <a:solidFill>
            <a:schemeClr val="bg1">
              <a:alpha val="80000"/>
            </a:schemeClr>
          </a:solidFill>
        </p:spPr>
        <p:txBody>
          <a:bodyPr vert="horz" wrap="square" lIns="77059" tIns="61648" rIns="77059" bIns="61648" rtlCol="0" anchor="b" anchorCtr="0">
            <a:spAutoFit/>
          </a:bodyPr>
          <a:lstStyle>
            <a:lvl1pPr>
              <a:defRPr lang="de-DE" sz="2700" b="0" cap="none" dirty="0"/>
            </a:lvl1pPr>
          </a:lstStyle>
          <a:p>
            <a:pPr lvl="0"/>
            <a:r>
              <a:rPr lang="en-US" dirty="0"/>
              <a:t>Click to edit master title style</a:t>
            </a:r>
            <a:endParaRPr lang="de-DE" dirty="0"/>
          </a:p>
        </p:txBody>
      </p:sp>
      <p:pic>
        <p:nvPicPr>
          <p:cNvPr id="119056" name="Picture 272" descr="Image result for bnp paribas cib logo"/>
          <p:cNvPicPr>
            <a:picLocks noChangeAspect="1" noChangeArrowheads="1"/>
          </p:cNvPicPr>
          <p:nvPr userDrawn="1"/>
        </p:nvPicPr>
        <p:blipFill>
          <a:blip r:embed="rId8" cstate="print">
            <a:extLst>
              <a:ext uri="{28A0092B-C50C-407E-A947-70E740481C1C}">
                <a14:useLocalDpi xmlns:a14="http://schemas.microsoft.com/office/drawing/2010/main"/>
              </a:ext>
            </a:extLst>
          </a:blip>
          <a:srcRect/>
          <a:stretch>
            <a:fillRect/>
          </a:stretch>
        </p:blipFill>
        <p:spPr bwMode="auto">
          <a:xfrm>
            <a:off x="5768475" y="4665184"/>
            <a:ext cx="3127057" cy="371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07714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_contents full pictur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466" y="1207"/>
          <a:ext cx="1465" cy="1206"/>
        </p:xfrm>
        <a:graphic>
          <a:graphicData uri="http://schemas.openxmlformats.org/presentationml/2006/ole">
            <mc:AlternateContent xmlns:mc="http://schemas.openxmlformats.org/markup-compatibility/2006">
              <mc:Choice xmlns:v="urn:schemas-microsoft-com:vml" Requires="v">
                <p:oleObj spid="_x0000_s1541197" name="think-cell Folie" r:id="rId4" imgW="360" imgH="360" progId="">
                  <p:embed/>
                </p:oleObj>
              </mc:Choice>
              <mc:Fallback>
                <p:oleObj name="think-cell Foli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207"/>
                        <a:ext cx="1465" cy="12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CC_AgendaTitle"/>
          <p:cNvSpPr>
            <a:spLocks noGrp="1"/>
          </p:cNvSpPr>
          <p:nvPr>
            <p:ph type="title" hasCustomPrompt="1"/>
          </p:nvPr>
        </p:nvSpPr>
        <p:spPr>
          <a:xfrm>
            <a:off x="517285" y="889782"/>
            <a:ext cx="8442078" cy="348012"/>
          </a:xfrm>
          <a:prstGeom prst="rect">
            <a:avLst/>
          </a:prstGeom>
        </p:spPr>
        <p:txBody>
          <a:bodyPr lIns="77059" rIns="77059" anchor="b" anchorCtr="0"/>
          <a:lstStyle>
            <a:lvl1pPr algn="l">
              <a:defRPr sz="2100" b="1" cap="none" baseline="0">
                <a:solidFill>
                  <a:schemeClr val="tx1"/>
                </a:solidFill>
              </a:defRPr>
            </a:lvl1pPr>
          </a:lstStyle>
          <a:p>
            <a:r>
              <a:rPr lang="en-US" dirty="0"/>
              <a:t>Click to edit master title style</a:t>
            </a:r>
            <a:endParaRPr lang="en-GB" dirty="0"/>
          </a:p>
        </p:txBody>
      </p:sp>
      <p:sp>
        <p:nvSpPr>
          <p:cNvPr id="13" name="Rectangle 6"/>
          <p:cNvSpPr>
            <a:spLocks noChangeArrowheads="1"/>
          </p:cNvSpPr>
          <p:nvPr userDrawn="1"/>
        </p:nvSpPr>
        <p:spPr bwMode="auto">
          <a:xfrm rot="16200000">
            <a:off x="4544976" y="-4544976"/>
            <a:ext cx="54048" cy="9144000"/>
          </a:xfrm>
          <a:prstGeom prst="rect">
            <a:avLst/>
          </a:prstGeom>
          <a:solidFill>
            <a:srgbClr val="31404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0" name="Date Placeholder 19"/>
          <p:cNvSpPr>
            <a:spLocks noGrp="1"/>
          </p:cNvSpPr>
          <p:nvPr>
            <p:ph type="dt" sz="half" idx="12"/>
          </p:nvPr>
        </p:nvSpPr>
        <p:spPr>
          <a:xfrm>
            <a:off x="6559588" y="5082552"/>
            <a:ext cx="2133600" cy="93018"/>
          </a:xfrm>
          <a:prstGeom prst="rect">
            <a:avLst/>
          </a:prstGeom>
        </p:spPr>
        <p:txBody>
          <a:bodyPr/>
          <a:lstStyle>
            <a:lvl1pPr>
              <a:defRPr/>
            </a:lvl1pPr>
          </a:lstStyle>
          <a:p>
            <a:r>
              <a:rPr lang="en-US" dirty="0">
                <a:solidFill>
                  <a:srgbClr val="CED3D8">
                    <a:lumMod val="50000"/>
                  </a:srgbClr>
                </a:solidFill>
              </a:rPr>
              <a:t>© Capgemini Consulting 2017. All rights reserved.</a:t>
            </a:r>
            <a:endParaRPr lang="de-DE" dirty="0">
              <a:solidFill>
                <a:srgbClr val="CED3D8">
                  <a:lumMod val="50000"/>
                </a:srgbClr>
              </a:solidFill>
            </a:endParaRPr>
          </a:p>
        </p:txBody>
      </p:sp>
      <p:sp>
        <p:nvSpPr>
          <p:cNvPr id="21" name="Slide Number Placeholder 20"/>
          <p:cNvSpPr>
            <a:spLocks noGrp="1"/>
          </p:cNvSpPr>
          <p:nvPr>
            <p:ph type="sldNum" sz="quarter" idx="13"/>
          </p:nvPr>
        </p:nvSpPr>
        <p:spPr>
          <a:xfrm>
            <a:off x="8791537" y="5082552"/>
            <a:ext cx="299077" cy="93018"/>
          </a:xfrm>
          <a:prstGeom prst="rect">
            <a:avLst/>
          </a:prstGeom>
        </p:spPr>
        <p:txBody>
          <a:bodyPr/>
          <a:lstStyle>
            <a:lvl1pPr>
              <a:defRPr/>
            </a:lvl1pPr>
          </a:lstStyle>
          <a:p>
            <a:fld id="{856EEAF3-4C43-4DAF-AC23-4779633883E1}" type="slidenum">
              <a:rPr lang="de-DE" smtClean="0">
                <a:solidFill>
                  <a:srgbClr val="CED3D8">
                    <a:lumMod val="50000"/>
                  </a:srgbClr>
                </a:solidFill>
              </a:rPr>
              <a:pPr/>
              <a:t>‹#›</a:t>
            </a:fld>
            <a:endParaRPr lang="de-DE" dirty="0">
              <a:solidFill>
                <a:srgbClr val="CED3D8">
                  <a:lumMod val="50000"/>
                </a:srgbClr>
              </a:solidFill>
            </a:endParaRPr>
          </a:p>
        </p:txBody>
      </p:sp>
      <p:sp>
        <p:nvSpPr>
          <p:cNvPr id="12" name="CC_AgendaTextBox"/>
          <p:cNvSpPr>
            <a:spLocks noGrp="1"/>
          </p:cNvSpPr>
          <p:nvPr>
            <p:ph type="body" sz="quarter" idx="15"/>
          </p:nvPr>
        </p:nvSpPr>
        <p:spPr>
          <a:xfrm>
            <a:off x="517285" y="1347580"/>
            <a:ext cx="8442078" cy="3501997"/>
          </a:xfrm>
        </p:spPr>
        <p:txBody>
          <a:bodyPr>
            <a:normAutofit/>
          </a:bodyPr>
          <a:lstStyle>
            <a:lvl1pPr marL="150876" indent="-150876">
              <a:spcBef>
                <a:spcPts val="514"/>
              </a:spcBef>
              <a:buFontTx/>
              <a:buBlip>
                <a:blip r:embed="rId6"/>
              </a:buBlip>
              <a:defRPr sz="1400"/>
            </a:lvl1pPr>
            <a:lvl2pPr marL="308549" indent="-157672">
              <a:spcBef>
                <a:spcPts val="514"/>
              </a:spcBef>
              <a:buFont typeface="Symbol" pitchFamily="18" charset="2"/>
              <a:buChar char="-"/>
              <a:defRPr sz="1400"/>
            </a:lvl2pPr>
            <a:lvl3pPr marL="460784" indent="-152235">
              <a:spcBef>
                <a:spcPts val="514"/>
              </a:spcBef>
              <a:buFont typeface="Arial" pitchFamily="34" charset="0"/>
              <a:buChar char="•"/>
              <a:defRPr sz="1400"/>
            </a:lvl3pPr>
            <a:lvl4pPr marL="611659" indent="-150876">
              <a:spcBef>
                <a:spcPts val="514"/>
              </a:spcBef>
              <a:buFont typeface="Symbol" pitchFamily="18" charset="2"/>
              <a:buChar char="-"/>
              <a:defRPr sz="1400"/>
            </a:lvl4pPr>
            <a:lvl5pPr marL="769332" indent="-157672">
              <a:spcBef>
                <a:spcPts val="514"/>
              </a:spcBef>
              <a:defRPr sz="1200"/>
            </a:lvl5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429902251"/>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_contents half picture">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
            <a:ext cx="3176114" cy="5211763"/>
          </a:xfrm>
          <a:prstGeom prst="rect">
            <a:avLst/>
          </a:prstGeom>
          <a:blipFill dpi="0" rotWithShape="1">
            <a:blip r:embed="rId4" cstate="print">
              <a:extLst>
                <a:ext uri="{28A0092B-C50C-407E-A947-70E740481C1C}">
                  <a14:useLocalDpi xmlns:a14="http://schemas.microsoft.com/office/drawing/2010/main"/>
                </a:ext>
              </a:extLst>
            </a:blip>
            <a:srcRec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8292" tIns="39146" rIns="78292" bIns="39146" rtlCol="0" anchor="t" anchorCtr="0"/>
          <a:lstStyle/>
          <a:p>
            <a:pPr algn="ctr" defTabSz="914310" fontAlgn="base">
              <a:lnSpc>
                <a:spcPct val="90000"/>
              </a:lnSpc>
              <a:spcAft>
                <a:spcPct val="0"/>
              </a:spcAft>
            </a:pPr>
            <a:endParaRPr lang="de-DE" sz="1200" dirty="0">
              <a:solidFill>
                <a:srgbClr val="000000">
                  <a:lumMod val="85000"/>
                  <a:lumOff val="15000"/>
                </a:srgbClr>
              </a:solidFill>
            </a:endParaRPr>
          </a:p>
        </p:txBody>
      </p:sp>
      <p:sp>
        <p:nvSpPr>
          <p:cNvPr id="12" name="Freeform 67"/>
          <p:cNvSpPr>
            <a:spLocks/>
          </p:cNvSpPr>
          <p:nvPr userDrawn="1"/>
        </p:nvSpPr>
        <p:spPr bwMode="auto">
          <a:xfrm>
            <a:off x="-2595" y="-17"/>
            <a:ext cx="9149655" cy="526377"/>
          </a:xfrm>
          <a:custGeom>
            <a:avLst/>
            <a:gdLst>
              <a:gd name="connsiteX0" fmla="*/ 10000 w 10000"/>
              <a:gd name="connsiteY0" fmla="*/ 6563 h 16563"/>
              <a:gd name="connsiteX1" fmla="*/ 7 w 10000"/>
              <a:gd name="connsiteY1" fmla="*/ 0 h 16563"/>
              <a:gd name="connsiteX2" fmla="*/ 0 w 10000"/>
              <a:gd name="connsiteY2" fmla="*/ 14916 h 16563"/>
              <a:gd name="connsiteX3" fmla="*/ 0 w 10000"/>
              <a:gd name="connsiteY3" fmla="*/ 14916 h 16563"/>
              <a:gd name="connsiteX4" fmla="*/ 0 w 10000"/>
              <a:gd name="connsiteY4" fmla="*/ 15092 h 16563"/>
              <a:gd name="connsiteX5" fmla="*/ 388 w 10000"/>
              <a:gd name="connsiteY5" fmla="*/ 15092 h 16563"/>
              <a:gd name="connsiteX6" fmla="*/ 626 w 10000"/>
              <a:gd name="connsiteY6" fmla="*/ 16563 h 16563"/>
              <a:gd name="connsiteX7" fmla="*/ 865 w 10000"/>
              <a:gd name="connsiteY7" fmla="*/ 15092 h 16563"/>
              <a:gd name="connsiteX8" fmla="*/ 1057 w 10000"/>
              <a:gd name="connsiteY8" fmla="*/ 15092 h 16563"/>
              <a:gd name="connsiteX9" fmla="*/ 2653 w 10000"/>
              <a:gd name="connsiteY9" fmla="*/ 15092 h 16563"/>
              <a:gd name="connsiteX10" fmla="*/ 5124 w 10000"/>
              <a:gd name="connsiteY10" fmla="*/ 15092 h 16563"/>
              <a:gd name="connsiteX11" fmla="*/ 7681 w 10000"/>
              <a:gd name="connsiteY11" fmla="*/ 15092 h 16563"/>
              <a:gd name="connsiteX12" fmla="*/ 9536 w 10000"/>
              <a:gd name="connsiteY12" fmla="*/ 15092 h 16563"/>
              <a:gd name="connsiteX13" fmla="*/ 9997 w 10000"/>
              <a:gd name="connsiteY13" fmla="*/ 15092 h 16563"/>
              <a:gd name="connsiteX14" fmla="*/ 10000 w 10000"/>
              <a:gd name="connsiteY14" fmla="*/ 14916 h 16563"/>
              <a:gd name="connsiteX15" fmla="*/ 10000 w 10000"/>
              <a:gd name="connsiteY15" fmla="*/ 14916 h 16563"/>
              <a:gd name="connsiteX16" fmla="*/ 10000 w 10000"/>
              <a:gd name="connsiteY16" fmla="*/ 6563 h 16563"/>
              <a:gd name="connsiteX0" fmla="*/ 9930 w 10000"/>
              <a:gd name="connsiteY0" fmla="*/ 0 h 16563"/>
              <a:gd name="connsiteX1" fmla="*/ 7 w 10000"/>
              <a:gd name="connsiteY1" fmla="*/ 0 h 16563"/>
              <a:gd name="connsiteX2" fmla="*/ 0 w 10000"/>
              <a:gd name="connsiteY2" fmla="*/ 14916 h 16563"/>
              <a:gd name="connsiteX3" fmla="*/ 0 w 10000"/>
              <a:gd name="connsiteY3" fmla="*/ 14916 h 16563"/>
              <a:gd name="connsiteX4" fmla="*/ 0 w 10000"/>
              <a:gd name="connsiteY4" fmla="*/ 15092 h 16563"/>
              <a:gd name="connsiteX5" fmla="*/ 388 w 10000"/>
              <a:gd name="connsiteY5" fmla="*/ 15092 h 16563"/>
              <a:gd name="connsiteX6" fmla="*/ 626 w 10000"/>
              <a:gd name="connsiteY6" fmla="*/ 16563 h 16563"/>
              <a:gd name="connsiteX7" fmla="*/ 865 w 10000"/>
              <a:gd name="connsiteY7" fmla="*/ 15092 h 16563"/>
              <a:gd name="connsiteX8" fmla="*/ 1057 w 10000"/>
              <a:gd name="connsiteY8" fmla="*/ 15092 h 16563"/>
              <a:gd name="connsiteX9" fmla="*/ 2653 w 10000"/>
              <a:gd name="connsiteY9" fmla="*/ 15092 h 16563"/>
              <a:gd name="connsiteX10" fmla="*/ 5124 w 10000"/>
              <a:gd name="connsiteY10" fmla="*/ 15092 h 16563"/>
              <a:gd name="connsiteX11" fmla="*/ 7681 w 10000"/>
              <a:gd name="connsiteY11" fmla="*/ 15092 h 16563"/>
              <a:gd name="connsiteX12" fmla="*/ 9536 w 10000"/>
              <a:gd name="connsiteY12" fmla="*/ 15092 h 16563"/>
              <a:gd name="connsiteX13" fmla="*/ 9997 w 10000"/>
              <a:gd name="connsiteY13" fmla="*/ 15092 h 16563"/>
              <a:gd name="connsiteX14" fmla="*/ 10000 w 10000"/>
              <a:gd name="connsiteY14" fmla="*/ 14916 h 16563"/>
              <a:gd name="connsiteX15" fmla="*/ 10000 w 10000"/>
              <a:gd name="connsiteY15" fmla="*/ 14916 h 16563"/>
              <a:gd name="connsiteX16" fmla="*/ 9930 w 10000"/>
              <a:gd name="connsiteY16" fmla="*/ 0 h 16563"/>
              <a:gd name="connsiteX0" fmla="*/ 9993 w 10016"/>
              <a:gd name="connsiteY0" fmla="*/ 0 h 16563"/>
              <a:gd name="connsiteX1" fmla="*/ 7 w 10016"/>
              <a:gd name="connsiteY1" fmla="*/ 0 h 16563"/>
              <a:gd name="connsiteX2" fmla="*/ 0 w 10016"/>
              <a:gd name="connsiteY2" fmla="*/ 14916 h 16563"/>
              <a:gd name="connsiteX3" fmla="*/ 0 w 10016"/>
              <a:gd name="connsiteY3" fmla="*/ 14916 h 16563"/>
              <a:gd name="connsiteX4" fmla="*/ 0 w 10016"/>
              <a:gd name="connsiteY4" fmla="*/ 15092 h 16563"/>
              <a:gd name="connsiteX5" fmla="*/ 388 w 10016"/>
              <a:gd name="connsiteY5" fmla="*/ 15092 h 16563"/>
              <a:gd name="connsiteX6" fmla="*/ 626 w 10016"/>
              <a:gd name="connsiteY6" fmla="*/ 16563 h 16563"/>
              <a:gd name="connsiteX7" fmla="*/ 865 w 10016"/>
              <a:gd name="connsiteY7" fmla="*/ 15092 h 16563"/>
              <a:gd name="connsiteX8" fmla="*/ 1057 w 10016"/>
              <a:gd name="connsiteY8" fmla="*/ 15092 h 16563"/>
              <a:gd name="connsiteX9" fmla="*/ 2653 w 10016"/>
              <a:gd name="connsiteY9" fmla="*/ 15092 h 16563"/>
              <a:gd name="connsiteX10" fmla="*/ 5124 w 10016"/>
              <a:gd name="connsiteY10" fmla="*/ 15092 h 16563"/>
              <a:gd name="connsiteX11" fmla="*/ 7681 w 10016"/>
              <a:gd name="connsiteY11" fmla="*/ 15092 h 16563"/>
              <a:gd name="connsiteX12" fmla="*/ 9536 w 10016"/>
              <a:gd name="connsiteY12" fmla="*/ 15092 h 16563"/>
              <a:gd name="connsiteX13" fmla="*/ 9997 w 10016"/>
              <a:gd name="connsiteY13" fmla="*/ 15092 h 16563"/>
              <a:gd name="connsiteX14" fmla="*/ 10000 w 10016"/>
              <a:gd name="connsiteY14" fmla="*/ 14916 h 16563"/>
              <a:gd name="connsiteX15" fmla="*/ 10000 w 10016"/>
              <a:gd name="connsiteY15" fmla="*/ 14916 h 16563"/>
              <a:gd name="connsiteX16" fmla="*/ 9993 w 10016"/>
              <a:gd name="connsiteY16" fmla="*/ 0 h 16563"/>
              <a:gd name="connsiteX0" fmla="*/ 9993 w 10000"/>
              <a:gd name="connsiteY0" fmla="*/ 0 h 16563"/>
              <a:gd name="connsiteX1" fmla="*/ 7 w 10000"/>
              <a:gd name="connsiteY1" fmla="*/ 0 h 16563"/>
              <a:gd name="connsiteX2" fmla="*/ 0 w 10000"/>
              <a:gd name="connsiteY2" fmla="*/ 14916 h 16563"/>
              <a:gd name="connsiteX3" fmla="*/ 0 w 10000"/>
              <a:gd name="connsiteY3" fmla="*/ 14916 h 16563"/>
              <a:gd name="connsiteX4" fmla="*/ 0 w 10000"/>
              <a:gd name="connsiteY4" fmla="*/ 15092 h 16563"/>
              <a:gd name="connsiteX5" fmla="*/ 388 w 10000"/>
              <a:gd name="connsiteY5" fmla="*/ 15092 h 16563"/>
              <a:gd name="connsiteX6" fmla="*/ 626 w 10000"/>
              <a:gd name="connsiteY6" fmla="*/ 16563 h 16563"/>
              <a:gd name="connsiteX7" fmla="*/ 865 w 10000"/>
              <a:gd name="connsiteY7" fmla="*/ 15092 h 16563"/>
              <a:gd name="connsiteX8" fmla="*/ 1057 w 10000"/>
              <a:gd name="connsiteY8" fmla="*/ 15092 h 16563"/>
              <a:gd name="connsiteX9" fmla="*/ 2653 w 10000"/>
              <a:gd name="connsiteY9" fmla="*/ 15092 h 16563"/>
              <a:gd name="connsiteX10" fmla="*/ 5124 w 10000"/>
              <a:gd name="connsiteY10" fmla="*/ 15092 h 16563"/>
              <a:gd name="connsiteX11" fmla="*/ 7681 w 10000"/>
              <a:gd name="connsiteY11" fmla="*/ 15092 h 16563"/>
              <a:gd name="connsiteX12" fmla="*/ 9536 w 10000"/>
              <a:gd name="connsiteY12" fmla="*/ 15092 h 16563"/>
              <a:gd name="connsiteX13" fmla="*/ 9997 w 10000"/>
              <a:gd name="connsiteY13" fmla="*/ 15092 h 16563"/>
              <a:gd name="connsiteX14" fmla="*/ 10000 w 10000"/>
              <a:gd name="connsiteY14" fmla="*/ 14916 h 16563"/>
              <a:gd name="connsiteX15" fmla="*/ 10000 w 10000"/>
              <a:gd name="connsiteY15" fmla="*/ 14916 h 16563"/>
              <a:gd name="connsiteX16" fmla="*/ 9993 w 10000"/>
              <a:gd name="connsiteY16" fmla="*/ 0 h 16563"/>
              <a:gd name="connsiteX0" fmla="*/ 8962 w 10000"/>
              <a:gd name="connsiteY0" fmla="*/ 0 h 16563"/>
              <a:gd name="connsiteX1" fmla="*/ 7 w 10000"/>
              <a:gd name="connsiteY1" fmla="*/ 0 h 16563"/>
              <a:gd name="connsiteX2" fmla="*/ 0 w 10000"/>
              <a:gd name="connsiteY2" fmla="*/ 14916 h 16563"/>
              <a:gd name="connsiteX3" fmla="*/ 0 w 10000"/>
              <a:gd name="connsiteY3" fmla="*/ 14916 h 16563"/>
              <a:gd name="connsiteX4" fmla="*/ 0 w 10000"/>
              <a:gd name="connsiteY4" fmla="*/ 15092 h 16563"/>
              <a:gd name="connsiteX5" fmla="*/ 388 w 10000"/>
              <a:gd name="connsiteY5" fmla="*/ 15092 h 16563"/>
              <a:gd name="connsiteX6" fmla="*/ 626 w 10000"/>
              <a:gd name="connsiteY6" fmla="*/ 16563 h 16563"/>
              <a:gd name="connsiteX7" fmla="*/ 865 w 10000"/>
              <a:gd name="connsiteY7" fmla="*/ 15092 h 16563"/>
              <a:gd name="connsiteX8" fmla="*/ 1057 w 10000"/>
              <a:gd name="connsiteY8" fmla="*/ 15092 h 16563"/>
              <a:gd name="connsiteX9" fmla="*/ 2653 w 10000"/>
              <a:gd name="connsiteY9" fmla="*/ 15092 h 16563"/>
              <a:gd name="connsiteX10" fmla="*/ 5124 w 10000"/>
              <a:gd name="connsiteY10" fmla="*/ 15092 h 16563"/>
              <a:gd name="connsiteX11" fmla="*/ 7681 w 10000"/>
              <a:gd name="connsiteY11" fmla="*/ 15092 h 16563"/>
              <a:gd name="connsiteX12" fmla="*/ 9536 w 10000"/>
              <a:gd name="connsiteY12" fmla="*/ 15092 h 16563"/>
              <a:gd name="connsiteX13" fmla="*/ 9997 w 10000"/>
              <a:gd name="connsiteY13" fmla="*/ 15092 h 16563"/>
              <a:gd name="connsiteX14" fmla="*/ 10000 w 10000"/>
              <a:gd name="connsiteY14" fmla="*/ 14916 h 16563"/>
              <a:gd name="connsiteX15" fmla="*/ 10000 w 10000"/>
              <a:gd name="connsiteY15" fmla="*/ 14916 h 16563"/>
              <a:gd name="connsiteX16" fmla="*/ 8962 w 10000"/>
              <a:gd name="connsiteY16" fmla="*/ 0 h 16563"/>
              <a:gd name="connsiteX0" fmla="*/ 8962 w 10000"/>
              <a:gd name="connsiteY0" fmla="*/ 0 h 16563"/>
              <a:gd name="connsiteX1" fmla="*/ 7 w 10000"/>
              <a:gd name="connsiteY1" fmla="*/ 0 h 16563"/>
              <a:gd name="connsiteX2" fmla="*/ 0 w 10000"/>
              <a:gd name="connsiteY2" fmla="*/ 14916 h 16563"/>
              <a:gd name="connsiteX3" fmla="*/ 0 w 10000"/>
              <a:gd name="connsiteY3" fmla="*/ 14916 h 16563"/>
              <a:gd name="connsiteX4" fmla="*/ 0 w 10000"/>
              <a:gd name="connsiteY4" fmla="*/ 15092 h 16563"/>
              <a:gd name="connsiteX5" fmla="*/ 388 w 10000"/>
              <a:gd name="connsiteY5" fmla="*/ 15092 h 16563"/>
              <a:gd name="connsiteX6" fmla="*/ 626 w 10000"/>
              <a:gd name="connsiteY6" fmla="*/ 16563 h 16563"/>
              <a:gd name="connsiteX7" fmla="*/ 865 w 10000"/>
              <a:gd name="connsiteY7" fmla="*/ 15092 h 16563"/>
              <a:gd name="connsiteX8" fmla="*/ 1057 w 10000"/>
              <a:gd name="connsiteY8" fmla="*/ 15092 h 16563"/>
              <a:gd name="connsiteX9" fmla="*/ 2653 w 10000"/>
              <a:gd name="connsiteY9" fmla="*/ 15092 h 16563"/>
              <a:gd name="connsiteX10" fmla="*/ 5124 w 10000"/>
              <a:gd name="connsiteY10" fmla="*/ 15092 h 16563"/>
              <a:gd name="connsiteX11" fmla="*/ 7681 w 10000"/>
              <a:gd name="connsiteY11" fmla="*/ 15092 h 16563"/>
              <a:gd name="connsiteX12" fmla="*/ 9997 w 10000"/>
              <a:gd name="connsiteY12" fmla="*/ 15092 h 16563"/>
              <a:gd name="connsiteX13" fmla="*/ 10000 w 10000"/>
              <a:gd name="connsiteY13" fmla="*/ 14916 h 16563"/>
              <a:gd name="connsiteX14" fmla="*/ 10000 w 10000"/>
              <a:gd name="connsiteY14" fmla="*/ 14916 h 16563"/>
              <a:gd name="connsiteX15" fmla="*/ 8962 w 10000"/>
              <a:gd name="connsiteY15" fmla="*/ 0 h 16563"/>
              <a:gd name="connsiteX0" fmla="*/ 8962 w 10000"/>
              <a:gd name="connsiteY0" fmla="*/ 0 h 16563"/>
              <a:gd name="connsiteX1" fmla="*/ 7 w 10000"/>
              <a:gd name="connsiteY1" fmla="*/ 0 h 16563"/>
              <a:gd name="connsiteX2" fmla="*/ 0 w 10000"/>
              <a:gd name="connsiteY2" fmla="*/ 14916 h 16563"/>
              <a:gd name="connsiteX3" fmla="*/ 0 w 10000"/>
              <a:gd name="connsiteY3" fmla="*/ 14916 h 16563"/>
              <a:gd name="connsiteX4" fmla="*/ 0 w 10000"/>
              <a:gd name="connsiteY4" fmla="*/ 15092 h 16563"/>
              <a:gd name="connsiteX5" fmla="*/ 388 w 10000"/>
              <a:gd name="connsiteY5" fmla="*/ 15092 h 16563"/>
              <a:gd name="connsiteX6" fmla="*/ 626 w 10000"/>
              <a:gd name="connsiteY6" fmla="*/ 16563 h 16563"/>
              <a:gd name="connsiteX7" fmla="*/ 865 w 10000"/>
              <a:gd name="connsiteY7" fmla="*/ 15092 h 16563"/>
              <a:gd name="connsiteX8" fmla="*/ 1057 w 10000"/>
              <a:gd name="connsiteY8" fmla="*/ 15092 h 16563"/>
              <a:gd name="connsiteX9" fmla="*/ 2653 w 10000"/>
              <a:gd name="connsiteY9" fmla="*/ 15092 h 16563"/>
              <a:gd name="connsiteX10" fmla="*/ 5124 w 10000"/>
              <a:gd name="connsiteY10" fmla="*/ 15092 h 16563"/>
              <a:gd name="connsiteX11" fmla="*/ 7681 w 10000"/>
              <a:gd name="connsiteY11" fmla="*/ 15092 h 16563"/>
              <a:gd name="connsiteX12" fmla="*/ 9997 w 10000"/>
              <a:gd name="connsiteY12" fmla="*/ 15092 h 16563"/>
              <a:gd name="connsiteX13" fmla="*/ 10000 w 10000"/>
              <a:gd name="connsiteY13" fmla="*/ 14916 h 16563"/>
              <a:gd name="connsiteX14" fmla="*/ 8962 w 10000"/>
              <a:gd name="connsiteY14" fmla="*/ 0 h 16563"/>
              <a:gd name="connsiteX0" fmla="*/ 8962 w 10000"/>
              <a:gd name="connsiteY0" fmla="*/ 0 h 16563"/>
              <a:gd name="connsiteX1" fmla="*/ 7 w 10000"/>
              <a:gd name="connsiteY1" fmla="*/ 0 h 16563"/>
              <a:gd name="connsiteX2" fmla="*/ 0 w 10000"/>
              <a:gd name="connsiteY2" fmla="*/ 14916 h 16563"/>
              <a:gd name="connsiteX3" fmla="*/ 0 w 10000"/>
              <a:gd name="connsiteY3" fmla="*/ 14916 h 16563"/>
              <a:gd name="connsiteX4" fmla="*/ 0 w 10000"/>
              <a:gd name="connsiteY4" fmla="*/ 15092 h 16563"/>
              <a:gd name="connsiteX5" fmla="*/ 388 w 10000"/>
              <a:gd name="connsiteY5" fmla="*/ 15092 h 16563"/>
              <a:gd name="connsiteX6" fmla="*/ 626 w 10000"/>
              <a:gd name="connsiteY6" fmla="*/ 16563 h 16563"/>
              <a:gd name="connsiteX7" fmla="*/ 865 w 10000"/>
              <a:gd name="connsiteY7" fmla="*/ 15092 h 16563"/>
              <a:gd name="connsiteX8" fmla="*/ 1057 w 10000"/>
              <a:gd name="connsiteY8" fmla="*/ 15092 h 16563"/>
              <a:gd name="connsiteX9" fmla="*/ 2653 w 10000"/>
              <a:gd name="connsiteY9" fmla="*/ 15092 h 16563"/>
              <a:gd name="connsiteX10" fmla="*/ 5124 w 10000"/>
              <a:gd name="connsiteY10" fmla="*/ 15092 h 16563"/>
              <a:gd name="connsiteX11" fmla="*/ 7681 w 10000"/>
              <a:gd name="connsiteY11" fmla="*/ 15092 h 16563"/>
              <a:gd name="connsiteX12" fmla="*/ 9997 w 10000"/>
              <a:gd name="connsiteY12" fmla="*/ 15092 h 16563"/>
              <a:gd name="connsiteX13" fmla="*/ 9739 w 10000"/>
              <a:gd name="connsiteY13" fmla="*/ 14471 h 16563"/>
              <a:gd name="connsiteX14" fmla="*/ 8962 w 10000"/>
              <a:gd name="connsiteY14" fmla="*/ 0 h 16563"/>
              <a:gd name="connsiteX0" fmla="*/ 8962 w 10627"/>
              <a:gd name="connsiteY0" fmla="*/ 0 h 16563"/>
              <a:gd name="connsiteX1" fmla="*/ 7 w 10627"/>
              <a:gd name="connsiteY1" fmla="*/ 0 h 16563"/>
              <a:gd name="connsiteX2" fmla="*/ 0 w 10627"/>
              <a:gd name="connsiteY2" fmla="*/ 14916 h 16563"/>
              <a:gd name="connsiteX3" fmla="*/ 0 w 10627"/>
              <a:gd name="connsiteY3" fmla="*/ 14916 h 16563"/>
              <a:gd name="connsiteX4" fmla="*/ 0 w 10627"/>
              <a:gd name="connsiteY4" fmla="*/ 15092 h 16563"/>
              <a:gd name="connsiteX5" fmla="*/ 388 w 10627"/>
              <a:gd name="connsiteY5" fmla="*/ 15092 h 16563"/>
              <a:gd name="connsiteX6" fmla="*/ 626 w 10627"/>
              <a:gd name="connsiteY6" fmla="*/ 16563 h 16563"/>
              <a:gd name="connsiteX7" fmla="*/ 865 w 10627"/>
              <a:gd name="connsiteY7" fmla="*/ 15092 h 16563"/>
              <a:gd name="connsiteX8" fmla="*/ 1057 w 10627"/>
              <a:gd name="connsiteY8" fmla="*/ 15092 h 16563"/>
              <a:gd name="connsiteX9" fmla="*/ 2653 w 10627"/>
              <a:gd name="connsiteY9" fmla="*/ 15092 h 16563"/>
              <a:gd name="connsiteX10" fmla="*/ 5124 w 10627"/>
              <a:gd name="connsiteY10" fmla="*/ 15092 h 16563"/>
              <a:gd name="connsiteX11" fmla="*/ 7681 w 10627"/>
              <a:gd name="connsiteY11" fmla="*/ 15092 h 16563"/>
              <a:gd name="connsiteX12" fmla="*/ 9997 w 10627"/>
              <a:gd name="connsiteY12" fmla="*/ 15092 h 16563"/>
              <a:gd name="connsiteX13" fmla="*/ 8962 w 10627"/>
              <a:gd name="connsiteY13" fmla="*/ 0 h 16563"/>
              <a:gd name="connsiteX0" fmla="*/ 8962 w 10627"/>
              <a:gd name="connsiteY0" fmla="*/ 0 h 16563"/>
              <a:gd name="connsiteX1" fmla="*/ 7 w 10627"/>
              <a:gd name="connsiteY1" fmla="*/ 0 h 16563"/>
              <a:gd name="connsiteX2" fmla="*/ 0 w 10627"/>
              <a:gd name="connsiteY2" fmla="*/ 14916 h 16563"/>
              <a:gd name="connsiteX3" fmla="*/ 0 w 10627"/>
              <a:gd name="connsiteY3" fmla="*/ 14916 h 16563"/>
              <a:gd name="connsiteX4" fmla="*/ 0 w 10627"/>
              <a:gd name="connsiteY4" fmla="*/ 15092 h 16563"/>
              <a:gd name="connsiteX5" fmla="*/ 388 w 10627"/>
              <a:gd name="connsiteY5" fmla="*/ 15092 h 16563"/>
              <a:gd name="connsiteX6" fmla="*/ 626 w 10627"/>
              <a:gd name="connsiteY6" fmla="*/ 16563 h 16563"/>
              <a:gd name="connsiteX7" fmla="*/ 865 w 10627"/>
              <a:gd name="connsiteY7" fmla="*/ 15092 h 16563"/>
              <a:gd name="connsiteX8" fmla="*/ 1057 w 10627"/>
              <a:gd name="connsiteY8" fmla="*/ 15092 h 16563"/>
              <a:gd name="connsiteX9" fmla="*/ 2653 w 10627"/>
              <a:gd name="connsiteY9" fmla="*/ 15092 h 16563"/>
              <a:gd name="connsiteX10" fmla="*/ 5124 w 10627"/>
              <a:gd name="connsiteY10" fmla="*/ 15092 h 16563"/>
              <a:gd name="connsiteX11" fmla="*/ 7681 w 10627"/>
              <a:gd name="connsiteY11" fmla="*/ 15092 h 16563"/>
              <a:gd name="connsiteX12" fmla="*/ 9997 w 10627"/>
              <a:gd name="connsiteY12" fmla="*/ 15092 h 16563"/>
              <a:gd name="connsiteX13" fmla="*/ 8962 w 10627"/>
              <a:gd name="connsiteY13" fmla="*/ 0 h 16563"/>
              <a:gd name="connsiteX0" fmla="*/ 8962 w 10627"/>
              <a:gd name="connsiteY0" fmla="*/ 0 h 16563"/>
              <a:gd name="connsiteX1" fmla="*/ 7 w 10627"/>
              <a:gd name="connsiteY1" fmla="*/ 0 h 16563"/>
              <a:gd name="connsiteX2" fmla="*/ 0 w 10627"/>
              <a:gd name="connsiteY2" fmla="*/ 14916 h 16563"/>
              <a:gd name="connsiteX3" fmla="*/ 0 w 10627"/>
              <a:gd name="connsiteY3" fmla="*/ 14916 h 16563"/>
              <a:gd name="connsiteX4" fmla="*/ 0 w 10627"/>
              <a:gd name="connsiteY4" fmla="*/ 15092 h 16563"/>
              <a:gd name="connsiteX5" fmla="*/ 388 w 10627"/>
              <a:gd name="connsiteY5" fmla="*/ 15092 h 16563"/>
              <a:gd name="connsiteX6" fmla="*/ 626 w 10627"/>
              <a:gd name="connsiteY6" fmla="*/ 16563 h 16563"/>
              <a:gd name="connsiteX7" fmla="*/ 865 w 10627"/>
              <a:gd name="connsiteY7" fmla="*/ 15092 h 16563"/>
              <a:gd name="connsiteX8" fmla="*/ 1057 w 10627"/>
              <a:gd name="connsiteY8" fmla="*/ 15092 h 16563"/>
              <a:gd name="connsiteX9" fmla="*/ 2653 w 10627"/>
              <a:gd name="connsiteY9" fmla="*/ 15092 h 16563"/>
              <a:gd name="connsiteX10" fmla="*/ 5124 w 10627"/>
              <a:gd name="connsiteY10" fmla="*/ 15092 h 16563"/>
              <a:gd name="connsiteX11" fmla="*/ 7681 w 10627"/>
              <a:gd name="connsiteY11" fmla="*/ 15092 h 16563"/>
              <a:gd name="connsiteX12" fmla="*/ 8962 w 10627"/>
              <a:gd name="connsiteY12" fmla="*/ 15036 h 16563"/>
              <a:gd name="connsiteX13" fmla="*/ 8962 w 10627"/>
              <a:gd name="connsiteY13" fmla="*/ 0 h 16563"/>
              <a:gd name="connsiteX0" fmla="*/ 8962 w 10627"/>
              <a:gd name="connsiteY0" fmla="*/ 0 h 16563"/>
              <a:gd name="connsiteX1" fmla="*/ 7 w 10627"/>
              <a:gd name="connsiteY1" fmla="*/ 0 h 16563"/>
              <a:gd name="connsiteX2" fmla="*/ 0 w 10627"/>
              <a:gd name="connsiteY2" fmla="*/ 14916 h 16563"/>
              <a:gd name="connsiteX3" fmla="*/ 0 w 10627"/>
              <a:gd name="connsiteY3" fmla="*/ 14916 h 16563"/>
              <a:gd name="connsiteX4" fmla="*/ 0 w 10627"/>
              <a:gd name="connsiteY4" fmla="*/ 15092 h 16563"/>
              <a:gd name="connsiteX5" fmla="*/ 388 w 10627"/>
              <a:gd name="connsiteY5" fmla="*/ 15092 h 16563"/>
              <a:gd name="connsiteX6" fmla="*/ 626 w 10627"/>
              <a:gd name="connsiteY6" fmla="*/ 16563 h 16563"/>
              <a:gd name="connsiteX7" fmla="*/ 865 w 10627"/>
              <a:gd name="connsiteY7" fmla="*/ 15092 h 16563"/>
              <a:gd name="connsiteX8" fmla="*/ 1057 w 10627"/>
              <a:gd name="connsiteY8" fmla="*/ 15092 h 16563"/>
              <a:gd name="connsiteX9" fmla="*/ 2653 w 10627"/>
              <a:gd name="connsiteY9" fmla="*/ 15092 h 16563"/>
              <a:gd name="connsiteX10" fmla="*/ 5124 w 10627"/>
              <a:gd name="connsiteY10" fmla="*/ 15092 h 16563"/>
              <a:gd name="connsiteX11" fmla="*/ 7681 w 10627"/>
              <a:gd name="connsiteY11" fmla="*/ 15092 h 16563"/>
              <a:gd name="connsiteX12" fmla="*/ 8962 w 10627"/>
              <a:gd name="connsiteY12" fmla="*/ 15036 h 16563"/>
              <a:gd name="connsiteX13" fmla="*/ 8962 w 10627"/>
              <a:gd name="connsiteY13" fmla="*/ 0 h 16563"/>
              <a:gd name="connsiteX0" fmla="*/ 8962 w 8968"/>
              <a:gd name="connsiteY0" fmla="*/ 0 h 16563"/>
              <a:gd name="connsiteX1" fmla="*/ 7 w 8968"/>
              <a:gd name="connsiteY1" fmla="*/ 0 h 16563"/>
              <a:gd name="connsiteX2" fmla="*/ 0 w 8968"/>
              <a:gd name="connsiteY2" fmla="*/ 14916 h 16563"/>
              <a:gd name="connsiteX3" fmla="*/ 0 w 8968"/>
              <a:gd name="connsiteY3" fmla="*/ 14916 h 16563"/>
              <a:gd name="connsiteX4" fmla="*/ 0 w 8968"/>
              <a:gd name="connsiteY4" fmla="*/ 15092 h 16563"/>
              <a:gd name="connsiteX5" fmla="*/ 388 w 8968"/>
              <a:gd name="connsiteY5" fmla="*/ 15092 h 16563"/>
              <a:gd name="connsiteX6" fmla="*/ 626 w 8968"/>
              <a:gd name="connsiteY6" fmla="*/ 16563 h 16563"/>
              <a:gd name="connsiteX7" fmla="*/ 865 w 8968"/>
              <a:gd name="connsiteY7" fmla="*/ 15092 h 16563"/>
              <a:gd name="connsiteX8" fmla="*/ 1057 w 8968"/>
              <a:gd name="connsiteY8" fmla="*/ 15092 h 16563"/>
              <a:gd name="connsiteX9" fmla="*/ 2653 w 8968"/>
              <a:gd name="connsiteY9" fmla="*/ 15092 h 16563"/>
              <a:gd name="connsiteX10" fmla="*/ 5124 w 8968"/>
              <a:gd name="connsiteY10" fmla="*/ 15092 h 16563"/>
              <a:gd name="connsiteX11" fmla="*/ 7681 w 8968"/>
              <a:gd name="connsiteY11" fmla="*/ 15092 h 16563"/>
              <a:gd name="connsiteX12" fmla="*/ 8962 w 8968"/>
              <a:gd name="connsiteY12" fmla="*/ 15036 h 16563"/>
              <a:gd name="connsiteX13" fmla="*/ 8962 w 8968"/>
              <a:gd name="connsiteY13" fmla="*/ 0 h 16563"/>
              <a:gd name="connsiteX0" fmla="*/ 9993 w 10009"/>
              <a:gd name="connsiteY0" fmla="*/ 0 h 10000"/>
              <a:gd name="connsiteX1" fmla="*/ 8 w 10009"/>
              <a:gd name="connsiteY1" fmla="*/ 0 h 10000"/>
              <a:gd name="connsiteX2" fmla="*/ 0 w 10009"/>
              <a:gd name="connsiteY2" fmla="*/ 9006 h 10000"/>
              <a:gd name="connsiteX3" fmla="*/ 0 w 10009"/>
              <a:gd name="connsiteY3" fmla="*/ 9006 h 10000"/>
              <a:gd name="connsiteX4" fmla="*/ 0 w 10009"/>
              <a:gd name="connsiteY4" fmla="*/ 9112 h 10000"/>
              <a:gd name="connsiteX5" fmla="*/ 433 w 10009"/>
              <a:gd name="connsiteY5" fmla="*/ 9112 h 10000"/>
              <a:gd name="connsiteX6" fmla="*/ 698 w 10009"/>
              <a:gd name="connsiteY6" fmla="*/ 10000 h 10000"/>
              <a:gd name="connsiteX7" fmla="*/ 965 w 10009"/>
              <a:gd name="connsiteY7" fmla="*/ 9112 h 10000"/>
              <a:gd name="connsiteX8" fmla="*/ 1179 w 10009"/>
              <a:gd name="connsiteY8" fmla="*/ 9112 h 10000"/>
              <a:gd name="connsiteX9" fmla="*/ 2958 w 10009"/>
              <a:gd name="connsiteY9" fmla="*/ 9112 h 10000"/>
              <a:gd name="connsiteX10" fmla="*/ 5714 w 10009"/>
              <a:gd name="connsiteY10" fmla="*/ 9112 h 10000"/>
              <a:gd name="connsiteX11" fmla="*/ 8565 w 10009"/>
              <a:gd name="connsiteY11" fmla="*/ 9112 h 10000"/>
              <a:gd name="connsiteX12" fmla="*/ 9993 w 10009"/>
              <a:gd name="connsiteY12" fmla="*/ 9078 h 10000"/>
              <a:gd name="connsiteX13" fmla="*/ 9993 w 10009"/>
              <a:gd name="connsiteY13" fmla="*/ 0 h 10000"/>
              <a:gd name="connsiteX0" fmla="*/ 9993 w 10009"/>
              <a:gd name="connsiteY0" fmla="*/ 0 h 10000"/>
              <a:gd name="connsiteX1" fmla="*/ 8 w 10009"/>
              <a:gd name="connsiteY1" fmla="*/ 0 h 10000"/>
              <a:gd name="connsiteX2" fmla="*/ 0 w 10009"/>
              <a:gd name="connsiteY2" fmla="*/ 9006 h 10000"/>
              <a:gd name="connsiteX3" fmla="*/ 0 w 10009"/>
              <a:gd name="connsiteY3" fmla="*/ 9006 h 10000"/>
              <a:gd name="connsiteX4" fmla="*/ 0 w 10009"/>
              <a:gd name="connsiteY4" fmla="*/ 9112 h 10000"/>
              <a:gd name="connsiteX5" fmla="*/ 433 w 10009"/>
              <a:gd name="connsiteY5" fmla="*/ 9112 h 10000"/>
              <a:gd name="connsiteX6" fmla="*/ 698 w 10009"/>
              <a:gd name="connsiteY6" fmla="*/ 10000 h 10000"/>
              <a:gd name="connsiteX7" fmla="*/ 965 w 10009"/>
              <a:gd name="connsiteY7" fmla="*/ 9112 h 10000"/>
              <a:gd name="connsiteX8" fmla="*/ 1179 w 10009"/>
              <a:gd name="connsiteY8" fmla="*/ 9112 h 10000"/>
              <a:gd name="connsiteX9" fmla="*/ 2958 w 10009"/>
              <a:gd name="connsiteY9" fmla="*/ 9112 h 10000"/>
              <a:gd name="connsiteX10" fmla="*/ 5714 w 10009"/>
              <a:gd name="connsiteY10" fmla="*/ 9112 h 10000"/>
              <a:gd name="connsiteX11" fmla="*/ 8565 w 10009"/>
              <a:gd name="connsiteY11" fmla="*/ 9112 h 10000"/>
              <a:gd name="connsiteX12" fmla="*/ 9993 w 10009"/>
              <a:gd name="connsiteY12" fmla="*/ 9078 h 10000"/>
              <a:gd name="connsiteX13" fmla="*/ 9993 w 10009"/>
              <a:gd name="connsiteY13" fmla="*/ 0 h 10000"/>
              <a:gd name="connsiteX0" fmla="*/ 9993 w 10009"/>
              <a:gd name="connsiteY0" fmla="*/ 0 h 10000"/>
              <a:gd name="connsiteX1" fmla="*/ 8 w 10009"/>
              <a:gd name="connsiteY1" fmla="*/ 0 h 10000"/>
              <a:gd name="connsiteX2" fmla="*/ 0 w 10009"/>
              <a:gd name="connsiteY2" fmla="*/ 9006 h 10000"/>
              <a:gd name="connsiteX3" fmla="*/ 0 w 10009"/>
              <a:gd name="connsiteY3" fmla="*/ 9006 h 10000"/>
              <a:gd name="connsiteX4" fmla="*/ 0 w 10009"/>
              <a:gd name="connsiteY4" fmla="*/ 9112 h 10000"/>
              <a:gd name="connsiteX5" fmla="*/ 433 w 10009"/>
              <a:gd name="connsiteY5" fmla="*/ 9112 h 10000"/>
              <a:gd name="connsiteX6" fmla="*/ 698 w 10009"/>
              <a:gd name="connsiteY6" fmla="*/ 10000 h 10000"/>
              <a:gd name="connsiteX7" fmla="*/ 965 w 10009"/>
              <a:gd name="connsiteY7" fmla="*/ 9112 h 10000"/>
              <a:gd name="connsiteX8" fmla="*/ 1179 w 10009"/>
              <a:gd name="connsiteY8" fmla="*/ 9112 h 10000"/>
              <a:gd name="connsiteX9" fmla="*/ 2958 w 10009"/>
              <a:gd name="connsiteY9" fmla="*/ 9112 h 10000"/>
              <a:gd name="connsiteX10" fmla="*/ 5714 w 10009"/>
              <a:gd name="connsiteY10" fmla="*/ 9112 h 10000"/>
              <a:gd name="connsiteX11" fmla="*/ 8565 w 10009"/>
              <a:gd name="connsiteY11" fmla="*/ 9112 h 10000"/>
              <a:gd name="connsiteX12" fmla="*/ 9993 w 10009"/>
              <a:gd name="connsiteY12" fmla="*/ 9078 h 10000"/>
              <a:gd name="connsiteX13" fmla="*/ 9993 w 10009"/>
              <a:gd name="connsiteY13" fmla="*/ 0 h 10000"/>
              <a:gd name="connsiteX0" fmla="*/ 9993 w 10009"/>
              <a:gd name="connsiteY0" fmla="*/ 0 h 10000"/>
              <a:gd name="connsiteX1" fmla="*/ 8 w 10009"/>
              <a:gd name="connsiteY1" fmla="*/ 0 h 10000"/>
              <a:gd name="connsiteX2" fmla="*/ 0 w 10009"/>
              <a:gd name="connsiteY2" fmla="*/ 9006 h 10000"/>
              <a:gd name="connsiteX3" fmla="*/ 0 w 10009"/>
              <a:gd name="connsiteY3" fmla="*/ 9006 h 10000"/>
              <a:gd name="connsiteX4" fmla="*/ 0 w 10009"/>
              <a:gd name="connsiteY4" fmla="*/ 9112 h 10000"/>
              <a:gd name="connsiteX5" fmla="*/ 433 w 10009"/>
              <a:gd name="connsiteY5" fmla="*/ 9112 h 10000"/>
              <a:gd name="connsiteX6" fmla="*/ 698 w 10009"/>
              <a:gd name="connsiteY6" fmla="*/ 10000 h 10000"/>
              <a:gd name="connsiteX7" fmla="*/ 965 w 10009"/>
              <a:gd name="connsiteY7" fmla="*/ 9112 h 10000"/>
              <a:gd name="connsiteX8" fmla="*/ 1179 w 10009"/>
              <a:gd name="connsiteY8" fmla="*/ 9112 h 10000"/>
              <a:gd name="connsiteX9" fmla="*/ 2958 w 10009"/>
              <a:gd name="connsiteY9" fmla="*/ 9112 h 10000"/>
              <a:gd name="connsiteX10" fmla="*/ 5714 w 10009"/>
              <a:gd name="connsiteY10" fmla="*/ 9112 h 10000"/>
              <a:gd name="connsiteX11" fmla="*/ 8565 w 10009"/>
              <a:gd name="connsiteY11" fmla="*/ 9112 h 10000"/>
              <a:gd name="connsiteX12" fmla="*/ 9993 w 10009"/>
              <a:gd name="connsiteY12" fmla="*/ 9078 h 10000"/>
              <a:gd name="connsiteX13" fmla="*/ 9993 w 10009"/>
              <a:gd name="connsiteY13" fmla="*/ 0 h 10000"/>
              <a:gd name="connsiteX0" fmla="*/ 9993 w 10009"/>
              <a:gd name="connsiteY0" fmla="*/ 0 h 10000"/>
              <a:gd name="connsiteX1" fmla="*/ 8 w 10009"/>
              <a:gd name="connsiteY1" fmla="*/ 0 h 10000"/>
              <a:gd name="connsiteX2" fmla="*/ 0 w 10009"/>
              <a:gd name="connsiteY2" fmla="*/ 9006 h 10000"/>
              <a:gd name="connsiteX3" fmla="*/ 0 w 10009"/>
              <a:gd name="connsiteY3" fmla="*/ 9006 h 10000"/>
              <a:gd name="connsiteX4" fmla="*/ 0 w 10009"/>
              <a:gd name="connsiteY4" fmla="*/ 9112 h 10000"/>
              <a:gd name="connsiteX5" fmla="*/ 433 w 10009"/>
              <a:gd name="connsiteY5" fmla="*/ 9112 h 10000"/>
              <a:gd name="connsiteX6" fmla="*/ 698 w 10009"/>
              <a:gd name="connsiteY6" fmla="*/ 10000 h 10000"/>
              <a:gd name="connsiteX7" fmla="*/ 965 w 10009"/>
              <a:gd name="connsiteY7" fmla="*/ 9112 h 10000"/>
              <a:gd name="connsiteX8" fmla="*/ 1179 w 10009"/>
              <a:gd name="connsiteY8" fmla="*/ 9112 h 10000"/>
              <a:gd name="connsiteX9" fmla="*/ 2958 w 10009"/>
              <a:gd name="connsiteY9" fmla="*/ 9112 h 10000"/>
              <a:gd name="connsiteX10" fmla="*/ 5714 w 10009"/>
              <a:gd name="connsiteY10" fmla="*/ 9112 h 10000"/>
              <a:gd name="connsiteX11" fmla="*/ 8565 w 10009"/>
              <a:gd name="connsiteY11" fmla="*/ 9112 h 10000"/>
              <a:gd name="connsiteX12" fmla="*/ 9993 w 10009"/>
              <a:gd name="connsiteY12" fmla="*/ 9078 h 10000"/>
              <a:gd name="connsiteX13" fmla="*/ 9993 w 10009"/>
              <a:gd name="connsiteY13" fmla="*/ 0 h 10000"/>
              <a:gd name="connsiteX0" fmla="*/ 9993 w 10084"/>
              <a:gd name="connsiteY0" fmla="*/ 0 h 10000"/>
              <a:gd name="connsiteX1" fmla="*/ 8 w 10084"/>
              <a:gd name="connsiteY1" fmla="*/ 0 h 10000"/>
              <a:gd name="connsiteX2" fmla="*/ 0 w 10084"/>
              <a:gd name="connsiteY2" fmla="*/ 9006 h 10000"/>
              <a:gd name="connsiteX3" fmla="*/ 0 w 10084"/>
              <a:gd name="connsiteY3" fmla="*/ 9006 h 10000"/>
              <a:gd name="connsiteX4" fmla="*/ 0 w 10084"/>
              <a:gd name="connsiteY4" fmla="*/ 9112 h 10000"/>
              <a:gd name="connsiteX5" fmla="*/ 433 w 10084"/>
              <a:gd name="connsiteY5" fmla="*/ 9112 h 10000"/>
              <a:gd name="connsiteX6" fmla="*/ 698 w 10084"/>
              <a:gd name="connsiteY6" fmla="*/ 10000 h 10000"/>
              <a:gd name="connsiteX7" fmla="*/ 965 w 10084"/>
              <a:gd name="connsiteY7" fmla="*/ 9112 h 10000"/>
              <a:gd name="connsiteX8" fmla="*/ 1179 w 10084"/>
              <a:gd name="connsiteY8" fmla="*/ 9112 h 10000"/>
              <a:gd name="connsiteX9" fmla="*/ 2958 w 10084"/>
              <a:gd name="connsiteY9" fmla="*/ 9112 h 10000"/>
              <a:gd name="connsiteX10" fmla="*/ 5714 w 10084"/>
              <a:gd name="connsiteY10" fmla="*/ 9112 h 10000"/>
              <a:gd name="connsiteX11" fmla="*/ 8565 w 10084"/>
              <a:gd name="connsiteY11" fmla="*/ 9112 h 10000"/>
              <a:gd name="connsiteX12" fmla="*/ 9993 w 10084"/>
              <a:gd name="connsiteY12" fmla="*/ 9078 h 10000"/>
              <a:gd name="connsiteX13" fmla="*/ 9993 w 10084"/>
              <a:gd name="connsiteY13" fmla="*/ 0 h 10000"/>
              <a:gd name="connsiteX0" fmla="*/ 9993 w 10084"/>
              <a:gd name="connsiteY0" fmla="*/ 0 h 10000"/>
              <a:gd name="connsiteX1" fmla="*/ 8 w 10084"/>
              <a:gd name="connsiteY1" fmla="*/ 0 h 10000"/>
              <a:gd name="connsiteX2" fmla="*/ 0 w 10084"/>
              <a:gd name="connsiteY2" fmla="*/ 9006 h 10000"/>
              <a:gd name="connsiteX3" fmla="*/ 0 w 10084"/>
              <a:gd name="connsiteY3" fmla="*/ 9006 h 10000"/>
              <a:gd name="connsiteX4" fmla="*/ 0 w 10084"/>
              <a:gd name="connsiteY4" fmla="*/ 9112 h 10000"/>
              <a:gd name="connsiteX5" fmla="*/ 433 w 10084"/>
              <a:gd name="connsiteY5" fmla="*/ 9112 h 10000"/>
              <a:gd name="connsiteX6" fmla="*/ 698 w 10084"/>
              <a:gd name="connsiteY6" fmla="*/ 10000 h 10000"/>
              <a:gd name="connsiteX7" fmla="*/ 965 w 10084"/>
              <a:gd name="connsiteY7" fmla="*/ 9112 h 10000"/>
              <a:gd name="connsiteX8" fmla="*/ 1179 w 10084"/>
              <a:gd name="connsiteY8" fmla="*/ 9112 h 10000"/>
              <a:gd name="connsiteX9" fmla="*/ 2958 w 10084"/>
              <a:gd name="connsiteY9" fmla="*/ 9112 h 10000"/>
              <a:gd name="connsiteX10" fmla="*/ 5714 w 10084"/>
              <a:gd name="connsiteY10" fmla="*/ 9112 h 10000"/>
              <a:gd name="connsiteX11" fmla="*/ 8565 w 10084"/>
              <a:gd name="connsiteY11" fmla="*/ 9112 h 10000"/>
              <a:gd name="connsiteX12" fmla="*/ 9993 w 10084"/>
              <a:gd name="connsiteY12" fmla="*/ 9078 h 10000"/>
              <a:gd name="connsiteX13" fmla="*/ 9993 w 10084"/>
              <a:gd name="connsiteY13" fmla="*/ 0 h 10000"/>
              <a:gd name="connsiteX0" fmla="*/ 9993 w 9998"/>
              <a:gd name="connsiteY0" fmla="*/ 0 h 10000"/>
              <a:gd name="connsiteX1" fmla="*/ 8 w 9998"/>
              <a:gd name="connsiteY1" fmla="*/ 0 h 10000"/>
              <a:gd name="connsiteX2" fmla="*/ 0 w 9998"/>
              <a:gd name="connsiteY2" fmla="*/ 9006 h 10000"/>
              <a:gd name="connsiteX3" fmla="*/ 0 w 9998"/>
              <a:gd name="connsiteY3" fmla="*/ 9006 h 10000"/>
              <a:gd name="connsiteX4" fmla="*/ 0 w 9998"/>
              <a:gd name="connsiteY4" fmla="*/ 9112 h 10000"/>
              <a:gd name="connsiteX5" fmla="*/ 433 w 9998"/>
              <a:gd name="connsiteY5" fmla="*/ 9112 h 10000"/>
              <a:gd name="connsiteX6" fmla="*/ 698 w 9998"/>
              <a:gd name="connsiteY6" fmla="*/ 10000 h 10000"/>
              <a:gd name="connsiteX7" fmla="*/ 965 w 9998"/>
              <a:gd name="connsiteY7" fmla="*/ 9112 h 10000"/>
              <a:gd name="connsiteX8" fmla="*/ 1179 w 9998"/>
              <a:gd name="connsiteY8" fmla="*/ 9112 h 10000"/>
              <a:gd name="connsiteX9" fmla="*/ 2958 w 9998"/>
              <a:gd name="connsiteY9" fmla="*/ 9112 h 10000"/>
              <a:gd name="connsiteX10" fmla="*/ 5714 w 9998"/>
              <a:gd name="connsiteY10" fmla="*/ 9112 h 10000"/>
              <a:gd name="connsiteX11" fmla="*/ 8565 w 9998"/>
              <a:gd name="connsiteY11" fmla="*/ 9112 h 10000"/>
              <a:gd name="connsiteX12" fmla="*/ 9993 w 9998"/>
              <a:gd name="connsiteY12" fmla="*/ 9078 h 10000"/>
              <a:gd name="connsiteX13" fmla="*/ 9993 w 9998"/>
              <a:gd name="connsiteY13" fmla="*/ 0 h 10000"/>
              <a:gd name="connsiteX0" fmla="*/ 9995 w 10000"/>
              <a:gd name="connsiteY0" fmla="*/ 0 h 10000"/>
              <a:gd name="connsiteX1" fmla="*/ 8 w 10000"/>
              <a:gd name="connsiteY1" fmla="*/ 0 h 10000"/>
              <a:gd name="connsiteX2" fmla="*/ 0 w 10000"/>
              <a:gd name="connsiteY2" fmla="*/ 9006 h 10000"/>
              <a:gd name="connsiteX3" fmla="*/ 0 w 10000"/>
              <a:gd name="connsiteY3" fmla="*/ 9006 h 10000"/>
              <a:gd name="connsiteX4" fmla="*/ 0 w 10000"/>
              <a:gd name="connsiteY4" fmla="*/ 9112 h 10000"/>
              <a:gd name="connsiteX5" fmla="*/ 433 w 10000"/>
              <a:gd name="connsiteY5" fmla="*/ 9112 h 10000"/>
              <a:gd name="connsiteX6" fmla="*/ 698 w 10000"/>
              <a:gd name="connsiteY6" fmla="*/ 10000 h 10000"/>
              <a:gd name="connsiteX7" fmla="*/ 965 w 10000"/>
              <a:gd name="connsiteY7" fmla="*/ 9112 h 10000"/>
              <a:gd name="connsiteX8" fmla="*/ 1179 w 10000"/>
              <a:gd name="connsiteY8" fmla="*/ 9112 h 10000"/>
              <a:gd name="connsiteX9" fmla="*/ 2959 w 10000"/>
              <a:gd name="connsiteY9" fmla="*/ 9112 h 10000"/>
              <a:gd name="connsiteX10" fmla="*/ 5715 w 10000"/>
              <a:gd name="connsiteY10" fmla="*/ 9112 h 10000"/>
              <a:gd name="connsiteX11" fmla="*/ 8567 w 10000"/>
              <a:gd name="connsiteY11" fmla="*/ 9112 h 10000"/>
              <a:gd name="connsiteX12" fmla="*/ 9995 w 10000"/>
              <a:gd name="connsiteY12" fmla="*/ 9078 h 10000"/>
              <a:gd name="connsiteX13" fmla="*/ 9995 w 10000"/>
              <a:gd name="connsiteY13" fmla="*/ 0 h 10000"/>
              <a:gd name="connsiteX0" fmla="*/ 9995 w 10000"/>
              <a:gd name="connsiteY0" fmla="*/ 0 h 10000"/>
              <a:gd name="connsiteX1" fmla="*/ 8 w 10000"/>
              <a:gd name="connsiteY1" fmla="*/ 0 h 10000"/>
              <a:gd name="connsiteX2" fmla="*/ 0 w 10000"/>
              <a:gd name="connsiteY2" fmla="*/ 9006 h 10000"/>
              <a:gd name="connsiteX3" fmla="*/ 0 w 10000"/>
              <a:gd name="connsiteY3" fmla="*/ 9006 h 10000"/>
              <a:gd name="connsiteX4" fmla="*/ 0 w 10000"/>
              <a:gd name="connsiteY4" fmla="*/ 9112 h 10000"/>
              <a:gd name="connsiteX5" fmla="*/ 433 w 10000"/>
              <a:gd name="connsiteY5" fmla="*/ 9112 h 10000"/>
              <a:gd name="connsiteX6" fmla="*/ 698 w 10000"/>
              <a:gd name="connsiteY6" fmla="*/ 10000 h 10000"/>
              <a:gd name="connsiteX7" fmla="*/ 965 w 10000"/>
              <a:gd name="connsiteY7" fmla="*/ 9112 h 10000"/>
              <a:gd name="connsiteX8" fmla="*/ 1179 w 10000"/>
              <a:gd name="connsiteY8" fmla="*/ 9112 h 10000"/>
              <a:gd name="connsiteX9" fmla="*/ 2959 w 10000"/>
              <a:gd name="connsiteY9" fmla="*/ 9112 h 10000"/>
              <a:gd name="connsiteX10" fmla="*/ 5715 w 10000"/>
              <a:gd name="connsiteY10" fmla="*/ 9112 h 10000"/>
              <a:gd name="connsiteX11" fmla="*/ 8521 w 10000"/>
              <a:gd name="connsiteY11" fmla="*/ 9078 h 10000"/>
              <a:gd name="connsiteX12" fmla="*/ 9995 w 10000"/>
              <a:gd name="connsiteY12" fmla="*/ 9078 h 10000"/>
              <a:gd name="connsiteX13" fmla="*/ 9995 w 10000"/>
              <a:gd name="connsiteY13" fmla="*/ 0 h 10000"/>
              <a:gd name="connsiteX0" fmla="*/ 9995 w 10000"/>
              <a:gd name="connsiteY0" fmla="*/ 0 h 10000"/>
              <a:gd name="connsiteX1" fmla="*/ 8 w 10000"/>
              <a:gd name="connsiteY1" fmla="*/ 0 h 10000"/>
              <a:gd name="connsiteX2" fmla="*/ 0 w 10000"/>
              <a:gd name="connsiteY2" fmla="*/ 9006 h 10000"/>
              <a:gd name="connsiteX3" fmla="*/ 0 w 10000"/>
              <a:gd name="connsiteY3" fmla="*/ 9006 h 10000"/>
              <a:gd name="connsiteX4" fmla="*/ 0 w 10000"/>
              <a:gd name="connsiteY4" fmla="*/ 9112 h 10000"/>
              <a:gd name="connsiteX5" fmla="*/ 433 w 10000"/>
              <a:gd name="connsiteY5" fmla="*/ 9112 h 10000"/>
              <a:gd name="connsiteX6" fmla="*/ 698 w 10000"/>
              <a:gd name="connsiteY6" fmla="*/ 10000 h 10000"/>
              <a:gd name="connsiteX7" fmla="*/ 965 w 10000"/>
              <a:gd name="connsiteY7" fmla="*/ 9112 h 10000"/>
              <a:gd name="connsiteX8" fmla="*/ 1179 w 10000"/>
              <a:gd name="connsiteY8" fmla="*/ 9112 h 10000"/>
              <a:gd name="connsiteX9" fmla="*/ 2959 w 10000"/>
              <a:gd name="connsiteY9" fmla="*/ 9112 h 10000"/>
              <a:gd name="connsiteX10" fmla="*/ 5715 w 10000"/>
              <a:gd name="connsiteY10" fmla="*/ 9112 h 10000"/>
              <a:gd name="connsiteX11" fmla="*/ 9995 w 10000"/>
              <a:gd name="connsiteY11" fmla="*/ 9078 h 10000"/>
              <a:gd name="connsiteX12" fmla="*/ 9995 w 10000"/>
              <a:gd name="connsiteY12" fmla="*/ 0 h 10000"/>
              <a:gd name="connsiteX0" fmla="*/ 9995 w 10000"/>
              <a:gd name="connsiteY0" fmla="*/ 0 h 10000"/>
              <a:gd name="connsiteX1" fmla="*/ 8 w 10000"/>
              <a:gd name="connsiteY1" fmla="*/ 0 h 10000"/>
              <a:gd name="connsiteX2" fmla="*/ 0 w 10000"/>
              <a:gd name="connsiteY2" fmla="*/ 9006 h 10000"/>
              <a:gd name="connsiteX3" fmla="*/ 0 w 10000"/>
              <a:gd name="connsiteY3" fmla="*/ 9006 h 10000"/>
              <a:gd name="connsiteX4" fmla="*/ 0 w 10000"/>
              <a:gd name="connsiteY4" fmla="*/ 9112 h 10000"/>
              <a:gd name="connsiteX5" fmla="*/ 433 w 10000"/>
              <a:gd name="connsiteY5" fmla="*/ 9112 h 10000"/>
              <a:gd name="connsiteX6" fmla="*/ 698 w 10000"/>
              <a:gd name="connsiteY6" fmla="*/ 10000 h 10000"/>
              <a:gd name="connsiteX7" fmla="*/ 965 w 10000"/>
              <a:gd name="connsiteY7" fmla="*/ 9112 h 10000"/>
              <a:gd name="connsiteX8" fmla="*/ 1179 w 10000"/>
              <a:gd name="connsiteY8" fmla="*/ 9112 h 10000"/>
              <a:gd name="connsiteX9" fmla="*/ 2959 w 10000"/>
              <a:gd name="connsiteY9" fmla="*/ 9112 h 10000"/>
              <a:gd name="connsiteX10" fmla="*/ 9995 w 10000"/>
              <a:gd name="connsiteY10" fmla="*/ 9078 h 10000"/>
              <a:gd name="connsiteX11" fmla="*/ 9995 w 10000"/>
              <a:gd name="connsiteY11" fmla="*/ 0 h 10000"/>
              <a:gd name="connsiteX0" fmla="*/ 9995 w 10000"/>
              <a:gd name="connsiteY0" fmla="*/ 0 h 10000"/>
              <a:gd name="connsiteX1" fmla="*/ 8 w 10000"/>
              <a:gd name="connsiteY1" fmla="*/ 0 h 10000"/>
              <a:gd name="connsiteX2" fmla="*/ 0 w 10000"/>
              <a:gd name="connsiteY2" fmla="*/ 9006 h 10000"/>
              <a:gd name="connsiteX3" fmla="*/ 0 w 10000"/>
              <a:gd name="connsiteY3" fmla="*/ 9006 h 10000"/>
              <a:gd name="connsiteX4" fmla="*/ 0 w 10000"/>
              <a:gd name="connsiteY4" fmla="*/ 9112 h 10000"/>
              <a:gd name="connsiteX5" fmla="*/ 433 w 10000"/>
              <a:gd name="connsiteY5" fmla="*/ 9112 h 10000"/>
              <a:gd name="connsiteX6" fmla="*/ 698 w 10000"/>
              <a:gd name="connsiteY6" fmla="*/ 10000 h 10000"/>
              <a:gd name="connsiteX7" fmla="*/ 965 w 10000"/>
              <a:gd name="connsiteY7" fmla="*/ 9112 h 10000"/>
              <a:gd name="connsiteX8" fmla="*/ 1179 w 10000"/>
              <a:gd name="connsiteY8" fmla="*/ 9112 h 10000"/>
              <a:gd name="connsiteX9" fmla="*/ 9995 w 10000"/>
              <a:gd name="connsiteY9" fmla="*/ 9078 h 10000"/>
              <a:gd name="connsiteX10" fmla="*/ 9995 w 10000"/>
              <a:gd name="connsiteY10" fmla="*/ 0 h 10000"/>
              <a:gd name="connsiteX0" fmla="*/ 9995 w 10000"/>
              <a:gd name="connsiteY0" fmla="*/ 0 h 10000"/>
              <a:gd name="connsiteX1" fmla="*/ 8 w 10000"/>
              <a:gd name="connsiteY1" fmla="*/ 0 h 10000"/>
              <a:gd name="connsiteX2" fmla="*/ 0 w 10000"/>
              <a:gd name="connsiteY2" fmla="*/ 9006 h 10000"/>
              <a:gd name="connsiteX3" fmla="*/ 7 w 10000"/>
              <a:gd name="connsiteY3" fmla="*/ 7032 h 10000"/>
              <a:gd name="connsiteX4" fmla="*/ 0 w 10000"/>
              <a:gd name="connsiteY4" fmla="*/ 9112 h 10000"/>
              <a:gd name="connsiteX5" fmla="*/ 433 w 10000"/>
              <a:gd name="connsiteY5" fmla="*/ 9112 h 10000"/>
              <a:gd name="connsiteX6" fmla="*/ 698 w 10000"/>
              <a:gd name="connsiteY6" fmla="*/ 10000 h 10000"/>
              <a:gd name="connsiteX7" fmla="*/ 965 w 10000"/>
              <a:gd name="connsiteY7" fmla="*/ 9112 h 10000"/>
              <a:gd name="connsiteX8" fmla="*/ 1179 w 10000"/>
              <a:gd name="connsiteY8" fmla="*/ 9112 h 10000"/>
              <a:gd name="connsiteX9" fmla="*/ 9995 w 10000"/>
              <a:gd name="connsiteY9" fmla="*/ 9078 h 10000"/>
              <a:gd name="connsiteX10" fmla="*/ 9995 w 10000"/>
              <a:gd name="connsiteY10" fmla="*/ 0 h 10000"/>
              <a:gd name="connsiteX0" fmla="*/ 10067 w 10072"/>
              <a:gd name="connsiteY0" fmla="*/ 0 h 10525"/>
              <a:gd name="connsiteX1" fmla="*/ 80 w 10072"/>
              <a:gd name="connsiteY1" fmla="*/ 0 h 10525"/>
              <a:gd name="connsiteX2" fmla="*/ 72 w 10072"/>
              <a:gd name="connsiteY2" fmla="*/ 9006 h 10525"/>
              <a:gd name="connsiteX3" fmla="*/ 72 w 10072"/>
              <a:gd name="connsiteY3" fmla="*/ 9112 h 10525"/>
              <a:gd name="connsiteX4" fmla="*/ 505 w 10072"/>
              <a:gd name="connsiteY4" fmla="*/ 9112 h 10525"/>
              <a:gd name="connsiteX5" fmla="*/ 770 w 10072"/>
              <a:gd name="connsiteY5" fmla="*/ 10000 h 10525"/>
              <a:gd name="connsiteX6" fmla="*/ 1037 w 10072"/>
              <a:gd name="connsiteY6" fmla="*/ 9112 h 10525"/>
              <a:gd name="connsiteX7" fmla="*/ 1251 w 10072"/>
              <a:gd name="connsiteY7" fmla="*/ 9112 h 10525"/>
              <a:gd name="connsiteX8" fmla="*/ 10067 w 10072"/>
              <a:gd name="connsiteY8" fmla="*/ 9078 h 10525"/>
              <a:gd name="connsiteX9" fmla="*/ 10067 w 10072"/>
              <a:gd name="connsiteY9" fmla="*/ 0 h 10525"/>
              <a:gd name="connsiteX0" fmla="*/ 10067 w 10072"/>
              <a:gd name="connsiteY0" fmla="*/ 0 h 10000"/>
              <a:gd name="connsiteX1" fmla="*/ 80 w 10072"/>
              <a:gd name="connsiteY1" fmla="*/ 0 h 10000"/>
              <a:gd name="connsiteX2" fmla="*/ 79 w 10072"/>
              <a:gd name="connsiteY2" fmla="*/ 7714 h 10000"/>
              <a:gd name="connsiteX3" fmla="*/ 72 w 10072"/>
              <a:gd name="connsiteY3" fmla="*/ 9112 h 10000"/>
              <a:gd name="connsiteX4" fmla="*/ 505 w 10072"/>
              <a:gd name="connsiteY4" fmla="*/ 9112 h 10000"/>
              <a:gd name="connsiteX5" fmla="*/ 770 w 10072"/>
              <a:gd name="connsiteY5" fmla="*/ 10000 h 10000"/>
              <a:gd name="connsiteX6" fmla="*/ 1037 w 10072"/>
              <a:gd name="connsiteY6" fmla="*/ 9112 h 10000"/>
              <a:gd name="connsiteX7" fmla="*/ 1251 w 10072"/>
              <a:gd name="connsiteY7" fmla="*/ 9112 h 10000"/>
              <a:gd name="connsiteX8" fmla="*/ 10067 w 10072"/>
              <a:gd name="connsiteY8" fmla="*/ 9078 h 10000"/>
              <a:gd name="connsiteX9" fmla="*/ 10067 w 10072"/>
              <a:gd name="connsiteY9" fmla="*/ 0 h 10000"/>
              <a:gd name="connsiteX0" fmla="*/ 11653 w 11658"/>
              <a:gd name="connsiteY0" fmla="*/ 0 h 10000"/>
              <a:gd name="connsiteX1" fmla="*/ 1666 w 11658"/>
              <a:gd name="connsiteY1" fmla="*/ 0 h 10000"/>
              <a:gd name="connsiteX2" fmla="*/ 1658 w 11658"/>
              <a:gd name="connsiteY2" fmla="*/ 9112 h 10000"/>
              <a:gd name="connsiteX3" fmla="*/ 2091 w 11658"/>
              <a:gd name="connsiteY3" fmla="*/ 9112 h 10000"/>
              <a:gd name="connsiteX4" fmla="*/ 2356 w 11658"/>
              <a:gd name="connsiteY4" fmla="*/ 10000 h 10000"/>
              <a:gd name="connsiteX5" fmla="*/ 2623 w 11658"/>
              <a:gd name="connsiteY5" fmla="*/ 9112 h 10000"/>
              <a:gd name="connsiteX6" fmla="*/ 2837 w 11658"/>
              <a:gd name="connsiteY6" fmla="*/ 9112 h 10000"/>
              <a:gd name="connsiteX7" fmla="*/ 11653 w 11658"/>
              <a:gd name="connsiteY7" fmla="*/ 9078 h 10000"/>
              <a:gd name="connsiteX8" fmla="*/ 11653 w 11658"/>
              <a:gd name="connsiteY8" fmla="*/ 0 h 10000"/>
              <a:gd name="connsiteX0" fmla="*/ 10066 w 10071"/>
              <a:gd name="connsiteY0" fmla="*/ 0 h 10000"/>
              <a:gd name="connsiteX1" fmla="*/ 79 w 10071"/>
              <a:gd name="connsiteY1" fmla="*/ 0 h 10000"/>
              <a:gd name="connsiteX2" fmla="*/ 71 w 10071"/>
              <a:gd name="connsiteY2" fmla="*/ 9112 h 10000"/>
              <a:gd name="connsiteX3" fmla="*/ 504 w 10071"/>
              <a:gd name="connsiteY3" fmla="*/ 9112 h 10000"/>
              <a:gd name="connsiteX4" fmla="*/ 769 w 10071"/>
              <a:gd name="connsiteY4" fmla="*/ 10000 h 10000"/>
              <a:gd name="connsiteX5" fmla="*/ 1036 w 10071"/>
              <a:gd name="connsiteY5" fmla="*/ 9112 h 10000"/>
              <a:gd name="connsiteX6" fmla="*/ 1250 w 10071"/>
              <a:gd name="connsiteY6" fmla="*/ 9112 h 10000"/>
              <a:gd name="connsiteX7" fmla="*/ 10066 w 10071"/>
              <a:gd name="connsiteY7" fmla="*/ 9078 h 10000"/>
              <a:gd name="connsiteX8" fmla="*/ 10066 w 10071"/>
              <a:gd name="connsiteY8" fmla="*/ 0 h 10000"/>
              <a:gd name="connsiteX0" fmla="*/ 9995 w 10000"/>
              <a:gd name="connsiteY0" fmla="*/ 0 h 10000"/>
              <a:gd name="connsiteX1" fmla="*/ 8 w 10000"/>
              <a:gd name="connsiteY1" fmla="*/ 0 h 10000"/>
              <a:gd name="connsiteX2" fmla="*/ 0 w 10000"/>
              <a:gd name="connsiteY2" fmla="*/ 9112 h 10000"/>
              <a:gd name="connsiteX3" fmla="*/ 433 w 10000"/>
              <a:gd name="connsiteY3" fmla="*/ 9112 h 10000"/>
              <a:gd name="connsiteX4" fmla="*/ 698 w 10000"/>
              <a:gd name="connsiteY4" fmla="*/ 10000 h 10000"/>
              <a:gd name="connsiteX5" fmla="*/ 965 w 10000"/>
              <a:gd name="connsiteY5" fmla="*/ 9112 h 10000"/>
              <a:gd name="connsiteX6" fmla="*/ 1179 w 10000"/>
              <a:gd name="connsiteY6" fmla="*/ 9112 h 10000"/>
              <a:gd name="connsiteX7" fmla="*/ 9995 w 10000"/>
              <a:gd name="connsiteY7" fmla="*/ 9078 h 10000"/>
              <a:gd name="connsiteX8" fmla="*/ 9995 w 10000"/>
              <a:gd name="connsiteY8" fmla="*/ 0 h 10000"/>
              <a:gd name="connsiteX0" fmla="*/ 9993 w 9998"/>
              <a:gd name="connsiteY0" fmla="*/ 0 h 10000"/>
              <a:gd name="connsiteX1" fmla="*/ 6 w 9998"/>
              <a:gd name="connsiteY1" fmla="*/ 0 h 10000"/>
              <a:gd name="connsiteX2" fmla="*/ 234 w 9998"/>
              <a:gd name="connsiteY2" fmla="*/ 9078 h 10000"/>
              <a:gd name="connsiteX3" fmla="*/ 431 w 9998"/>
              <a:gd name="connsiteY3" fmla="*/ 9112 h 10000"/>
              <a:gd name="connsiteX4" fmla="*/ 696 w 9998"/>
              <a:gd name="connsiteY4" fmla="*/ 10000 h 10000"/>
              <a:gd name="connsiteX5" fmla="*/ 963 w 9998"/>
              <a:gd name="connsiteY5" fmla="*/ 9112 h 10000"/>
              <a:gd name="connsiteX6" fmla="*/ 1177 w 9998"/>
              <a:gd name="connsiteY6" fmla="*/ 9112 h 10000"/>
              <a:gd name="connsiteX7" fmla="*/ 9993 w 9998"/>
              <a:gd name="connsiteY7" fmla="*/ 9078 h 10000"/>
              <a:gd name="connsiteX8" fmla="*/ 9993 w 9998"/>
              <a:gd name="connsiteY8" fmla="*/ 0 h 10000"/>
              <a:gd name="connsiteX0" fmla="*/ 9767 w 9772"/>
              <a:gd name="connsiteY0" fmla="*/ 0 h 10000"/>
              <a:gd name="connsiteX1" fmla="*/ 6 w 9772"/>
              <a:gd name="connsiteY1" fmla="*/ 0 h 10000"/>
              <a:gd name="connsiteX2" fmla="*/ 6 w 9772"/>
              <a:gd name="connsiteY2" fmla="*/ 9078 h 10000"/>
              <a:gd name="connsiteX3" fmla="*/ 203 w 9772"/>
              <a:gd name="connsiteY3" fmla="*/ 9112 h 10000"/>
              <a:gd name="connsiteX4" fmla="*/ 468 w 9772"/>
              <a:gd name="connsiteY4" fmla="*/ 10000 h 10000"/>
              <a:gd name="connsiteX5" fmla="*/ 735 w 9772"/>
              <a:gd name="connsiteY5" fmla="*/ 9112 h 10000"/>
              <a:gd name="connsiteX6" fmla="*/ 949 w 9772"/>
              <a:gd name="connsiteY6" fmla="*/ 9112 h 10000"/>
              <a:gd name="connsiteX7" fmla="*/ 9767 w 9772"/>
              <a:gd name="connsiteY7" fmla="*/ 9078 h 10000"/>
              <a:gd name="connsiteX8" fmla="*/ 9767 w 9772"/>
              <a:gd name="connsiteY8" fmla="*/ 0 h 10000"/>
              <a:gd name="connsiteX0" fmla="*/ 9995 w 10000"/>
              <a:gd name="connsiteY0" fmla="*/ 6075 h 10000"/>
              <a:gd name="connsiteX1" fmla="*/ 6 w 10000"/>
              <a:gd name="connsiteY1" fmla="*/ 0 h 10000"/>
              <a:gd name="connsiteX2" fmla="*/ 6 w 10000"/>
              <a:gd name="connsiteY2" fmla="*/ 9078 h 10000"/>
              <a:gd name="connsiteX3" fmla="*/ 208 w 10000"/>
              <a:gd name="connsiteY3" fmla="*/ 9112 h 10000"/>
              <a:gd name="connsiteX4" fmla="*/ 479 w 10000"/>
              <a:gd name="connsiteY4" fmla="*/ 10000 h 10000"/>
              <a:gd name="connsiteX5" fmla="*/ 752 w 10000"/>
              <a:gd name="connsiteY5" fmla="*/ 9112 h 10000"/>
              <a:gd name="connsiteX6" fmla="*/ 971 w 10000"/>
              <a:gd name="connsiteY6" fmla="*/ 9112 h 10000"/>
              <a:gd name="connsiteX7" fmla="*/ 9995 w 10000"/>
              <a:gd name="connsiteY7" fmla="*/ 9078 h 10000"/>
              <a:gd name="connsiteX8" fmla="*/ 9995 w 10000"/>
              <a:gd name="connsiteY8" fmla="*/ 6075 h 10000"/>
              <a:gd name="connsiteX0" fmla="*/ 9995 w 10000"/>
              <a:gd name="connsiteY0" fmla="*/ 0 h 3925"/>
              <a:gd name="connsiteX1" fmla="*/ 6 w 10000"/>
              <a:gd name="connsiteY1" fmla="*/ 0 h 3925"/>
              <a:gd name="connsiteX2" fmla="*/ 6 w 10000"/>
              <a:gd name="connsiteY2" fmla="*/ 3003 h 3925"/>
              <a:gd name="connsiteX3" fmla="*/ 208 w 10000"/>
              <a:gd name="connsiteY3" fmla="*/ 3037 h 3925"/>
              <a:gd name="connsiteX4" fmla="*/ 479 w 10000"/>
              <a:gd name="connsiteY4" fmla="*/ 3925 h 3925"/>
              <a:gd name="connsiteX5" fmla="*/ 752 w 10000"/>
              <a:gd name="connsiteY5" fmla="*/ 3037 h 3925"/>
              <a:gd name="connsiteX6" fmla="*/ 971 w 10000"/>
              <a:gd name="connsiteY6" fmla="*/ 3037 h 3925"/>
              <a:gd name="connsiteX7" fmla="*/ 9995 w 10000"/>
              <a:gd name="connsiteY7" fmla="*/ 3003 h 3925"/>
              <a:gd name="connsiteX8" fmla="*/ 9995 w 10000"/>
              <a:gd name="connsiteY8" fmla="*/ 0 h 3925"/>
              <a:gd name="connsiteX0" fmla="*/ 9995 w 10000"/>
              <a:gd name="connsiteY0" fmla="*/ 0 h 10000"/>
              <a:gd name="connsiteX1" fmla="*/ 6 w 10000"/>
              <a:gd name="connsiteY1" fmla="*/ 0 h 10000"/>
              <a:gd name="connsiteX2" fmla="*/ 13 w 10000"/>
              <a:gd name="connsiteY2" fmla="*/ 7676 h 10000"/>
              <a:gd name="connsiteX3" fmla="*/ 208 w 10000"/>
              <a:gd name="connsiteY3" fmla="*/ 7738 h 10000"/>
              <a:gd name="connsiteX4" fmla="*/ 479 w 10000"/>
              <a:gd name="connsiteY4" fmla="*/ 10000 h 10000"/>
              <a:gd name="connsiteX5" fmla="*/ 752 w 10000"/>
              <a:gd name="connsiteY5" fmla="*/ 7738 h 10000"/>
              <a:gd name="connsiteX6" fmla="*/ 971 w 10000"/>
              <a:gd name="connsiteY6" fmla="*/ 7738 h 10000"/>
              <a:gd name="connsiteX7" fmla="*/ 9995 w 10000"/>
              <a:gd name="connsiteY7" fmla="*/ 7651 h 10000"/>
              <a:gd name="connsiteX8" fmla="*/ 9995 w 10000"/>
              <a:gd name="connsiteY8" fmla="*/ 0 h 10000"/>
              <a:gd name="connsiteX0" fmla="*/ 9982 w 9987"/>
              <a:gd name="connsiteY0" fmla="*/ 0 h 10000"/>
              <a:gd name="connsiteX1" fmla="*/ 7 w 9987"/>
              <a:gd name="connsiteY1" fmla="*/ 432 h 10000"/>
              <a:gd name="connsiteX2" fmla="*/ 0 w 9987"/>
              <a:gd name="connsiteY2" fmla="*/ 7676 h 10000"/>
              <a:gd name="connsiteX3" fmla="*/ 195 w 9987"/>
              <a:gd name="connsiteY3" fmla="*/ 7738 h 10000"/>
              <a:gd name="connsiteX4" fmla="*/ 466 w 9987"/>
              <a:gd name="connsiteY4" fmla="*/ 10000 h 10000"/>
              <a:gd name="connsiteX5" fmla="*/ 739 w 9987"/>
              <a:gd name="connsiteY5" fmla="*/ 7738 h 10000"/>
              <a:gd name="connsiteX6" fmla="*/ 958 w 9987"/>
              <a:gd name="connsiteY6" fmla="*/ 7738 h 10000"/>
              <a:gd name="connsiteX7" fmla="*/ 9982 w 9987"/>
              <a:gd name="connsiteY7" fmla="*/ 7651 h 10000"/>
              <a:gd name="connsiteX8" fmla="*/ 9982 w 9987"/>
              <a:gd name="connsiteY8" fmla="*/ 0 h 10000"/>
              <a:gd name="connsiteX0" fmla="*/ 9999 w 10004"/>
              <a:gd name="connsiteY0" fmla="*/ 0 h 10000"/>
              <a:gd name="connsiteX1" fmla="*/ 6 w 10004"/>
              <a:gd name="connsiteY1" fmla="*/ 403 h 10000"/>
              <a:gd name="connsiteX2" fmla="*/ 4 w 10004"/>
              <a:gd name="connsiteY2" fmla="*/ 7676 h 10000"/>
              <a:gd name="connsiteX3" fmla="*/ 199 w 10004"/>
              <a:gd name="connsiteY3" fmla="*/ 7738 h 10000"/>
              <a:gd name="connsiteX4" fmla="*/ 471 w 10004"/>
              <a:gd name="connsiteY4" fmla="*/ 10000 h 10000"/>
              <a:gd name="connsiteX5" fmla="*/ 744 w 10004"/>
              <a:gd name="connsiteY5" fmla="*/ 7738 h 10000"/>
              <a:gd name="connsiteX6" fmla="*/ 963 w 10004"/>
              <a:gd name="connsiteY6" fmla="*/ 7738 h 10000"/>
              <a:gd name="connsiteX7" fmla="*/ 9999 w 10004"/>
              <a:gd name="connsiteY7" fmla="*/ 7651 h 10000"/>
              <a:gd name="connsiteX8" fmla="*/ 9999 w 10004"/>
              <a:gd name="connsiteY8" fmla="*/ 0 h 10000"/>
              <a:gd name="connsiteX0" fmla="*/ 9995 w 10000"/>
              <a:gd name="connsiteY0" fmla="*/ 0 h 10000"/>
              <a:gd name="connsiteX1" fmla="*/ 2 w 10000"/>
              <a:gd name="connsiteY1" fmla="*/ 403 h 10000"/>
              <a:gd name="connsiteX2" fmla="*/ 0 w 10000"/>
              <a:gd name="connsiteY2" fmla="*/ 7676 h 10000"/>
              <a:gd name="connsiteX3" fmla="*/ 195 w 10000"/>
              <a:gd name="connsiteY3" fmla="*/ 7738 h 10000"/>
              <a:gd name="connsiteX4" fmla="*/ 467 w 10000"/>
              <a:gd name="connsiteY4" fmla="*/ 10000 h 10000"/>
              <a:gd name="connsiteX5" fmla="*/ 740 w 10000"/>
              <a:gd name="connsiteY5" fmla="*/ 7738 h 10000"/>
              <a:gd name="connsiteX6" fmla="*/ 959 w 10000"/>
              <a:gd name="connsiteY6" fmla="*/ 7738 h 10000"/>
              <a:gd name="connsiteX7" fmla="*/ 9995 w 10000"/>
              <a:gd name="connsiteY7" fmla="*/ 7651 h 10000"/>
              <a:gd name="connsiteX8" fmla="*/ 9995 w 10000"/>
              <a:gd name="connsiteY8" fmla="*/ 0 h 10000"/>
              <a:gd name="connsiteX0" fmla="*/ 9995 w 10000"/>
              <a:gd name="connsiteY0" fmla="*/ 0 h 10000"/>
              <a:gd name="connsiteX1" fmla="*/ 3 w 10000"/>
              <a:gd name="connsiteY1" fmla="*/ 1642 h 10000"/>
              <a:gd name="connsiteX2" fmla="*/ 0 w 10000"/>
              <a:gd name="connsiteY2" fmla="*/ 7676 h 10000"/>
              <a:gd name="connsiteX3" fmla="*/ 195 w 10000"/>
              <a:gd name="connsiteY3" fmla="*/ 7738 h 10000"/>
              <a:gd name="connsiteX4" fmla="*/ 467 w 10000"/>
              <a:gd name="connsiteY4" fmla="*/ 10000 h 10000"/>
              <a:gd name="connsiteX5" fmla="*/ 740 w 10000"/>
              <a:gd name="connsiteY5" fmla="*/ 7738 h 10000"/>
              <a:gd name="connsiteX6" fmla="*/ 959 w 10000"/>
              <a:gd name="connsiteY6" fmla="*/ 7738 h 10000"/>
              <a:gd name="connsiteX7" fmla="*/ 9995 w 10000"/>
              <a:gd name="connsiteY7" fmla="*/ 7651 h 10000"/>
              <a:gd name="connsiteX8" fmla="*/ 9995 w 10000"/>
              <a:gd name="connsiteY8" fmla="*/ 0 h 10000"/>
              <a:gd name="connsiteX0" fmla="*/ 9995 w 10017"/>
              <a:gd name="connsiteY0" fmla="*/ 0 h 10000"/>
              <a:gd name="connsiteX1" fmla="*/ 3 w 10017"/>
              <a:gd name="connsiteY1" fmla="*/ 1642 h 10000"/>
              <a:gd name="connsiteX2" fmla="*/ 0 w 10017"/>
              <a:gd name="connsiteY2" fmla="*/ 7676 h 10000"/>
              <a:gd name="connsiteX3" fmla="*/ 195 w 10017"/>
              <a:gd name="connsiteY3" fmla="*/ 7738 h 10000"/>
              <a:gd name="connsiteX4" fmla="*/ 467 w 10017"/>
              <a:gd name="connsiteY4" fmla="*/ 10000 h 10000"/>
              <a:gd name="connsiteX5" fmla="*/ 740 w 10017"/>
              <a:gd name="connsiteY5" fmla="*/ 7738 h 10000"/>
              <a:gd name="connsiteX6" fmla="*/ 959 w 10017"/>
              <a:gd name="connsiteY6" fmla="*/ 7738 h 10000"/>
              <a:gd name="connsiteX7" fmla="*/ 10017 w 10017"/>
              <a:gd name="connsiteY7" fmla="*/ 7676 h 10000"/>
              <a:gd name="connsiteX8" fmla="*/ 9995 w 10017"/>
              <a:gd name="connsiteY8" fmla="*/ 0 h 10000"/>
              <a:gd name="connsiteX0" fmla="*/ 10015 w 10020"/>
              <a:gd name="connsiteY0" fmla="*/ 0 h 8358"/>
              <a:gd name="connsiteX1" fmla="*/ 3 w 10020"/>
              <a:gd name="connsiteY1" fmla="*/ 0 h 8358"/>
              <a:gd name="connsiteX2" fmla="*/ 0 w 10020"/>
              <a:gd name="connsiteY2" fmla="*/ 6034 h 8358"/>
              <a:gd name="connsiteX3" fmla="*/ 195 w 10020"/>
              <a:gd name="connsiteY3" fmla="*/ 6096 h 8358"/>
              <a:gd name="connsiteX4" fmla="*/ 467 w 10020"/>
              <a:gd name="connsiteY4" fmla="*/ 8358 h 8358"/>
              <a:gd name="connsiteX5" fmla="*/ 740 w 10020"/>
              <a:gd name="connsiteY5" fmla="*/ 6096 h 8358"/>
              <a:gd name="connsiteX6" fmla="*/ 959 w 10020"/>
              <a:gd name="connsiteY6" fmla="*/ 6096 h 8358"/>
              <a:gd name="connsiteX7" fmla="*/ 10017 w 10020"/>
              <a:gd name="connsiteY7" fmla="*/ 6034 h 8358"/>
              <a:gd name="connsiteX8" fmla="*/ 10015 w 10020"/>
              <a:gd name="connsiteY8" fmla="*/ 0 h 8358"/>
              <a:gd name="connsiteX0" fmla="*/ 9995 w 9998"/>
              <a:gd name="connsiteY0" fmla="*/ 0 h 10000"/>
              <a:gd name="connsiteX1" fmla="*/ 3 w 9998"/>
              <a:gd name="connsiteY1" fmla="*/ 0 h 10000"/>
              <a:gd name="connsiteX2" fmla="*/ 0 w 9998"/>
              <a:gd name="connsiteY2" fmla="*/ 7219 h 10000"/>
              <a:gd name="connsiteX3" fmla="*/ 195 w 9998"/>
              <a:gd name="connsiteY3" fmla="*/ 7294 h 10000"/>
              <a:gd name="connsiteX4" fmla="*/ 466 w 9998"/>
              <a:gd name="connsiteY4" fmla="*/ 10000 h 10000"/>
              <a:gd name="connsiteX5" fmla="*/ 739 w 9998"/>
              <a:gd name="connsiteY5" fmla="*/ 7294 h 10000"/>
              <a:gd name="connsiteX6" fmla="*/ 957 w 9998"/>
              <a:gd name="connsiteY6" fmla="*/ 7294 h 10000"/>
              <a:gd name="connsiteX7" fmla="*/ 9997 w 9998"/>
              <a:gd name="connsiteY7" fmla="*/ 7219 h 10000"/>
              <a:gd name="connsiteX8" fmla="*/ 9995 w 9998"/>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98" h="10000">
                <a:moveTo>
                  <a:pt x="9995" y="0"/>
                </a:moveTo>
                <a:lnTo>
                  <a:pt x="3" y="0"/>
                </a:lnTo>
                <a:cubicBezTo>
                  <a:pt x="2" y="5197"/>
                  <a:pt x="3" y="2178"/>
                  <a:pt x="0" y="7219"/>
                </a:cubicBezTo>
                <a:lnTo>
                  <a:pt x="195" y="7294"/>
                </a:lnTo>
                <a:cubicBezTo>
                  <a:pt x="406" y="7294"/>
                  <a:pt x="463" y="9677"/>
                  <a:pt x="466" y="10000"/>
                </a:cubicBezTo>
                <a:cubicBezTo>
                  <a:pt x="474" y="9622"/>
                  <a:pt x="526" y="7294"/>
                  <a:pt x="739" y="7294"/>
                </a:cubicBezTo>
                <a:lnTo>
                  <a:pt x="957" y="7294"/>
                </a:lnTo>
                <a:lnTo>
                  <a:pt x="9997" y="7219"/>
                </a:lnTo>
                <a:cubicBezTo>
                  <a:pt x="9994" y="4317"/>
                  <a:pt x="9998" y="1074"/>
                  <a:pt x="9995" y="0"/>
                </a:cubicBezTo>
                <a:close/>
              </a:path>
            </a:pathLst>
          </a:custGeom>
          <a:solidFill>
            <a:schemeClr val="bg1"/>
          </a:solidFill>
          <a:ln w="9525">
            <a:noFill/>
            <a:round/>
            <a:headEnd/>
            <a:tailEnd/>
          </a:ln>
          <a:effectLst>
            <a:outerShdw blurRad="50800" dist="25400" dir="5400000" algn="t" rotWithShape="0">
              <a:schemeClr val="accent5">
                <a:lumMod val="60000"/>
                <a:lumOff val="40000"/>
                <a:alpha val="50000"/>
              </a:schemeClr>
            </a:outerShdw>
          </a:effectLst>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pic>
        <p:nvPicPr>
          <p:cNvPr id="13" name="Picture 2"/>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246590" y="143289"/>
            <a:ext cx="2132572" cy="223534"/>
          </a:xfrm>
          <a:prstGeom prst="rect">
            <a:avLst/>
          </a:prstGeom>
          <a:noFill/>
          <a:ln w="9525">
            <a:noFill/>
            <a:miter lim="800000"/>
            <a:headEnd/>
            <a:tailEnd/>
          </a:ln>
          <a:effectLst/>
        </p:spPr>
      </p:pic>
      <p:graphicFrame>
        <p:nvGraphicFramePr>
          <p:cNvPr id="11" name="Object 10" hidden="1"/>
          <p:cNvGraphicFramePr>
            <a:graphicFrameLocks noChangeAspect="1"/>
          </p:cNvGraphicFramePr>
          <p:nvPr>
            <p:custDataLst>
              <p:tags r:id="rId2"/>
            </p:custDataLst>
            <p:extLst/>
          </p:nvPr>
        </p:nvGraphicFramePr>
        <p:xfrm>
          <a:off x="1466" y="1207"/>
          <a:ext cx="1465" cy="1206"/>
        </p:xfrm>
        <a:graphic>
          <a:graphicData uri="http://schemas.openxmlformats.org/presentationml/2006/ole">
            <mc:AlternateContent xmlns:mc="http://schemas.openxmlformats.org/markup-compatibility/2006">
              <mc:Choice xmlns:v="urn:schemas-microsoft-com:vml" Requires="v">
                <p:oleObj spid="_x0000_s1542221" name="think-cell Folie" r:id="rId6" imgW="360" imgH="360" progId="">
                  <p:embed/>
                </p:oleObj>
              </mc:Choice>
              <mc:Fallback>
                <p:oleObj name="think-cell Foli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66" y="1207"/>
                        <a:ext cx="1465" cy="12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CC_AgendaTitle"/>
          <p:cNvSpPr>
            <a:spLocks noGrp="1"/>
          </p:cNvSpPr>
          <p:nvPr userDrawn="1">
            <p:ph type="title" hasCustomPrompt="1"/>
          </p:nvPr>
        </p:nvSpPr>
        <p:spPr>
          <a:xfrm>
            <a:off x="4704943" y="889782"/>
            <a:ext cx="4254420" cy="348012"/>
          </a:xfrm>
          <a:prstGeom prst="rect">
            <a:avLst/>
          </a:prstGeom>
        </p:spPr>
        <p:txBody>
          <a:bodyPr lIns="77059" rIns="77059" anchor="b" anchorCtr="0"/>
          <a:lstStyle>
            <a:lvl1pPr algn="l">
              <a:defRPr sz="2100" b="1" cap="none" baseline="0">
                <a:solidFill>
                  <a:schemeClr val="tx1"/>
                </a:solidFill>
              </a:defRPr>
            </a:lvl1pPr>
          </a:lstStyle>
          <a:p>
            <a:r>
              <a:rPr lang="en-US" dirty="0"/>
              <a:t>Click to edit title style</a:t>
            </a:r>
            <a:endParaRPr lang="en-GB" dirty="0"/>
          </a:p>
        </p:txBody>
      </p:sp>
      <p:sp>
        <p:nvSpPr>
          <p:cNvPr id="24" name="Date Placeholder 23"/>
          <p:cNvSpPr>
            <a:spLocks noGrp="1"/>
          </p:cNvSpPr>
          <p:nvPr userDrawn="1">
            <p:ph type="dt" sz="half" idx="12"/>
          </p:nvPr>
        </p:nvSpPr>
        <p:spPr>
          <a:xfrm>
            <a:off x="6559588" y="5082552"/>
            <a:ext cx="2133600" cy="93018"/>
          </a:xfrm>
          <a:prstGeom prst="rect">
            <a:avLst/>
          </a:prstGeom>
        </p:spPr>
        <p:txBody>
          <a:bodyPr/>
          <a:lstStyle>
            <a:lvl1pPr>
              <a:defRPr/>
            </a:lvl1pPr>
          </a:lstStyle>
          <a:p>
            <a:r>
              <a:rPr lang="en-US" dirty="0">
                <a:solidFill>
                  <a:srgbClr val="CED3D8">
                    <a:lumMod val="50000"/>
                  </a:srgbClr>
                </a:solidFill>
              </a:rPr>
              <a:t>© Capgemini Consulting 2017. All rights reserved.</a:t>
            </a:r>
            <a:endParaRPr lang="de-DE" dirty="0">
              <a:solidFill>
                <a:srgbClr val="CED3D8">
                  <a:lumMod val="50000"/>
                </a:srgbClr>
              </a:solidFill>
            </a:endParaRPr>
          </a:p>
        </p:txBody>
      </p:sp>
      <p:sp>
        <p:nvSpPr>
          <p:cNvPr id="25" name="Slide Number Placeholder 24"/>
          <p:cNvSpPr>
            <a:spLocks noGrp="1"/>
          </p:cNvSpPr>
          <p:nvPr userDrawn="1">
            <p:ph type="sldNum" sz="quarter" idx="13"/>
          </p:nvPr>
        </p:nvSpPr>
        <p:spPr>
          <a:xfrm>
            <a:off x="8791537" y="5082552"/>
            <a:ext cx="299077" cy="93018"/>
          </a:xfrm>
          <a:prstGeom prst="rect">
            <a:avLst/>
          </a:prstGeom>
        </p:spPr>
        <p:txBody>
          <a:bodyPr/>
          <a:lstStyle>
            <a:lvl1pPr>
              <a:defRPr/>
            </a:lvl1pPr>
          </a:lstStyle>
          <a:p>
            <a:fld id="{856EEAF3-4C43-4DAF-AC23-4779633883E1}" type="slidenum">
              <a:rPr lang="de-DE" smtClean="0">
                <a:solidFill>
                  <a:srgbClr val="CED3D8">
                    <a:lumMod val="50000"/>
                  </a:srgbClr>
                </a:solidFill>
              </a:rPr>
              <a:pPr/>
              <a:t>‹#›</a:t>
            </a:fld>
            <a:endParaRPr lang="de-DE" dirty="0">
              <a:solidFill>
                <a:srgbClr val="CED3D8">
                  <a:lumMod val="50000"/>
                </a:srgbClr>
              </a:solidFill>
            </a:endParaRPr>
          </a:p>
        </p:txBody>
      </p:sp>
      <p:sp>
        <p:nvSpPr>
          <p:cNvPr id="18" name="CC_AgendaTextBox"/>
          <p:cNvSpPr>
            <a:spLocks noGrp="1"/>
          </p:cNvSpPr>
          <p:nvPr userDrawn="1">
            <p:ph type="body" sz="quarter" idx="14"/>
          </p:nvPr>
        </p:nvSpPr>
        <p:spPr>
          <a:xfrm>
            <a:off x="4704943" y="1347580"/>
            <a:ext cx="4254419" cy="3501997"/>
          </a:xfrm>
        </p:spPr>
        <p:txBody>
          <a:bodyPr>
            <a:normAutofit/>
          </a:bodyPr>
          <a:lstStyle>
            <a:lvl1pPr marL="150876" indent="-150876">
              <a:spcBef>
                <a:spcPts val="514"/>
              </a:spcBef>
              <a:buFontTx/>
              <a:buBlip>
                <a:blip r:embed="rId8"/>
              </a:buBlip>
              <a:defRPr sz="1400"/>
            </a:lvl1pPr>
            <a:lvl2pPr marL="308549" indent="-157672">
              <a:spcBef>
                <a:spcPts val="514"/>
              </a:spcBef>
              <a:buFont typeface="Symbol" pitchFamily="18" charset="2"/>
              <a:buChar char="-"/>
              <a:defRPr sz="1400"/>
            </a:lvl2pPr>
            <a:lvl3pPr marL="460784" indent="-152235">
              <a:spcBef>
                <a:spcPts val="514"/>
              </a:spcBef>
              <a:buFont typeface="Arial" pitchFamily="34" charset="0"/>
              <a:buChar char="•"/>
              <a:defRPr sz="1400"/>
            </a:lvl3pPr>
            <a:lvl4pPr marL="611659" indent="-150876">
              <a:spcBef>
                <a:spcPts val="514"/>
              </a:spcBef>
              <a:buFont typeface="Symbol" pitchFamily="18" charset="2"/>
              <a:buChar char="-"/>
              <a:defRPr sz="1400"/>
            </a:lvl4pPr>
            <a:lvl5pPr marL="769332" indent="-157672">
              <a:spcBef>
                <a:spcPts val="514"/>
              </a:spcBef>
              <a:defRPr sz="1200"/>
            </a:lvl5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4" name="Picture 272" descr="Image result for bnp paribas cib logo"/>
          <p:cNvPicPr>
            <a:picLocks noChangeAspect="1" noChangeArrowheads="1"/>
          </p:cNvPicPr>
          <p:nvPr userDrawn="1"/>
        </p:nvPicPr>
        <p:blipFill>
          <a:blip r:embed="rId9" cstate="print">
            <a:extLst>
              <a:ext uri="{28A0092B-C50C-407E-A947-70E740481C1C}">
                <a14:useLocalDpi xmlns:a14="http://schemas.microsoft.com/office/drawing/2010/main"/>
              </a:ext>
            </a:extLst>
          </a:blip>
          <a:srcRect/>
          <a:stretch>
            <a:fillRect/>
          </a:stretch>
        </p:blipFill>
        <p:spPr bwMode="auto">
          <a:xfrm>
            <a:off x="6982523" y="87774"/>
            <a:ext cx="1909656" cy="226827"/>
          </a:xfrm>
          <a:prstGeom prst="rect">
            <a:avLst/>
          </a:prstGeom>
          <a:noFill/>
          <a:extLst>
            <a:ext uri="{909E8E84-426E-40DD-AFC4-6F175D3DCCD1}">
              <a14:hiddenFill xmlns:a14="http://schemas.microsoft.com/office/drawing/2010/main">
                <a:solidFill>
                  <a:srgbClr val="FFFFFF"/>
                </a:solidFill>
              </a14:hiddenFill>
            </a:ext>
          </a:extLst>
        </p:spPr>
      </p:pic>
      <p:sp>
        <p:nvSpPr>
          <p:cNvPr id="15" name="AutoShape 5"/>
          <p:cNvSpPr>
            <a:spLocks noChangeAspect="1" noChangeArrowheads="1" noTextEdit="1"/>
          </p:cNvSpPr>
          <p:nvPr userDrawn="1"/>
        </p:nvSpPr>
        <p:spPr bwMode="auto">
          <a:xfrm>
            <a:off x="1" y="2011113"/>
            <a:ext cx="3175489" cy="3200650"/>
          </a:xfrm>
          <a:prstGeom prst="rect">
            <a:avLst/>
          </a:prstGeom>
          <a:noFill/>
          <a:ln w="9525">
            <a:noFill/>
            <a:miter lim="800000"/>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6" name="Freeform 7"/>
          <p:cNvSpPr>
            <a:spLocks/>
          </p:cNvSpPr>
          <p:nvPr userDrawn="1"/>
        </p:nvSpPr>
        <p:spPr bwMode="auto">
          <a:xfrm>
            <a:off x="4396" y="2540735"/>
            <a:ext cx="106974" cy="536860"/>
          </a:xfrm>
          <a:custGeom>
            <a:avLst/>
            <a:gdLst/>
            <a:ahLst/>
            <a:cxnLst>
              <a:cxn ang="0">
                <a:pos x="0" y="0"/>
              </a:cxn>
              <a:cxn ang="0">
                <a:pos x="73" y="117"/>
              </a:cxn>
              <a:cxn ang="0">
                <a:pos x="66" y="393"/>
              </a:cxn>
              <a:cxn ang="0">
                <a:pos x="0" y="445"/>
              </a:cxn>
              <a:cxn ang="0">
                <a:pos x="0" y="20"/>
              </a:cxn>
              <a:cxn ang="0">
                <a:pos x="0" y="0"/>
              </a:cxn>
            </a:cxnLst>
            <a:rect l="0" t="0" r="r" b="b"/>
            <a:pathLst>
              <a:path w="73" h="445">
                <a:moveTo>
                  <a:pt x="0" y="0"/>
                </a:moveTo>
                <a:lnTo>
                  <a:pt x="73" y="117"/>
                </a:lnTo>
                <a:lnTo>
                  <a:pt x="66" y="393"/>
                </a:lnTo>
                <a:lnTo>
                  <a:pt x="0" y="445"/>
                </a:lnTo>
                <a:lnTo>
                  <a:pt x="0" y="20"/>
                </a:lnTo>
                <a:lnTo>
                  <a:pt x="0" y="0"/>
                </a:lnTo>
                <a:close/>
              </a:path>
            </a:pathLst>
          </a:custGeom>
          <a:gradFill>
            <a:gsLst>
              <a:gs pos="0">
                <a:srgbClr val="602A43">
                  <a:alpha val="59000"/>
                </a:srgbClr>
              </a:gs>
              <a:gs pos="100000">
                <a:srgbClr val="602A43">
                  <a:alpha val="84000"/>
                </a:srgbClr>
              </a:gs>
            </a:gsLst>
            <a:lin ang="16800000" scaled="0"/>
          </a:grad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7" name="Freeform 8"/>
          <p:cNvSpPr>
            <a:spLocks/>
          </p:cNvSpPr>
          <p:nvPr userDrawn="1"/>
        </p:nvSpPr>
        <p:spPr bwMode="auto">
          <a:xfrm>
            <a:off x="4396" y="2540735"/>
            <a:ext cx="106974" cy="536860"/>
          </a:xfrm>
          <a:custGeom>
            <a:avLst/>
            <a:gdLst/>
            <a:ahLst/>
            <a:cxnLst>
              <a:cxn ang="0">
                <a:pos x="0" y="0"/>
              </a:cxn>
              <a:cxn ang="0">
                <a:pos x="73" y="117"/>
              </a:cxn>
              <a:cxn ang="0">
                <a:pos x="66" y="393"/>
              </a:cxn>
              <a:cxn ang="0">
                <a:pos x="0" y="445"/>
              </a:cxn>
              <a:cxn ang="0">
                <a:pos x="0" y="20"/>
              </a:cxn>
              <a:cxn ang="0">
                <a:pos x="0" y="0"/>
              </a:cxn>
            </a:cxnLst>
            <a:rect l="0" t="0" r="r" b="b"/>
            <a:pathLst>
              <a:path w="73" h="445">
                <a:moveTo>
                  <a:pt x="0" y="0"/>
                </a:moveTo>
                <a:lnTo>
                  <a:pt x="73" y="117"/>
                </a:lnTo>
                <a:lnTo>
                  <a:pt x="66" y="393"/>
                </a:lnTo>
                <a:lnTo>
                  <a:pt x="0" y="445"/>
                </a:lnTo>
                <a:lnTo>
                  <a:pt x="0" y="20"/>
                </a:lnTo>
                <a:lnTo>
                  <a:pt x="0" y="0"/>
                </a:lnTo>
              </a:path>
            </a:pathLst>
          </a:custGeom>
          <a:no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19" name="Freeform 9"/>
          <p:cNvSpPr>
            <a:spLocks/>
          </p:cNvSpPr>
          <p:nvPr userDrawn="1"/>
        </p:nvSpPr>
        <p:spPr bwMode="auto">
          <a:xfrm>
            <a:off x="101112" y="2014732"/>
            <a:ext cx="1601666" cy="1000128"/>
          </a:xfrm>
          <a:custGeom>
            <a:avLst/>
            <a:gdLst/>
            <a:ahLst/>
            <a:cxnLst>
              <a:cxn ang="0">
                <a:pos x="1093" y="0"/>
              </a:cxn>
              <a:cxn ang="0">
                <a:pos x="7" y="553"/>
              </a:cxn>
              <a:cxn ang="0">
                <a:pos x="0" y="829"/>
              </a:cxn>
              <a:cxn ang="0">
                <a:pos x="0" y="829"/>
              </a:cxn>
              <a:cxn ang="0">
                <a:pos x="1093" y="0"/>
              </a:cxn>
            </a:cxnLst>
            <a:rect l="0" t="0" r="r" b="b"/>
            <a:pathLst>
              <a:path w="1093" h="829">
                <a:moveTo>
                  <a:pt x="1093" y="0"/>
                </a:moveTo>
                <a:lnTo>
                  <a:pt x="7" y="553"/>
                </a:lnTo>
                <a:lnTo>
                  <a:pt x="0" y="829"/>
                </a:lnTo>
                <a:lnTo>
                  <a:pt x="0" y="829"/>
                </a:lnTo>
                <a:lnTo>
                  <a:pt x="1093" y="0"/>
                </a:lnTo>
                <a:close/>
              </a:path>
            </a:pathLst>
          </a:custGeom>
          <a:gradFill>
            <a:gsLst>
              <a:gs pos="0">
                <a:srgbClr val="8D516F">
                  <a:alpha val="64000"/>
                </a:srgbClr>
              </a:gs>
              <a:gs pos="29000">
                <a:schemeClr val="accent2">
                  <a:alpha val="64000"/>
                </a:schemeClr>
              </a:gs>
              <a:gs pos="100000">
                <a:srgbClr val="B58EA2">
                  <a:alpha val="52000"/>
                </a:srgbClr>
              </a:gs>
            </a:gsLst>
            <a:lin ang="12600000" scaled="0"/>
          </a:grad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0" name="Freeform 10"/>
          <p:cNvSpPr>
            <a:spLocks/>
          </p:cNvSpPr>
          <p:nvPr userDrawn="1"/>
        </p:nvSpPr>
        <p:spPr bwMode="auto">
          <a:xfrm>
            <a:off x="101112" y="2014732"/>
            <a:ext cx="1601666" cy="1000128"/>
          </a:xfrm>
          <a:custGeom>
            <a:avLst/>
            <a:gdLst/>
            <a:ahLst/>
            <a:cxnLst>
              <a:cxn ang="0">
                <a:pos x="1093" y="0"/>
              </a:cxn>
              <a:cxn ang="0">
                <a:pos x="7" y="553"/>
              </a:cxn>
              <a:cxn ang="0">
                <a:pos x="0" y="829"/>
              </a:cxn>
              <a:cxn ang="0">
                <a:pos x="0" y="829"/>
              </a:cxn>
              <a:cxn ang="0">
                <a:pos x="1093" y="0"/>
              </a:cxn>
            </a:cxnLst>
            <a:rect l="0" t="0" r="r" b="b"/>
            <a:pathLst>
              <a:path w="1093" h="829">
                <a:moveTo>
                  <a:pt x="1093" y="0"/>
                </a:moveTo>
                <a:lnTo>
                  <a:pt x="7" y="553"/>
                </a:lnTo>
                <a:lnTo>
                  <a:pt x="0" y="829"/>
                </a:lnTo>
                <a:lnTo>
                  <a:pt x="0" y="829"/>
                </a:lnTo>
                <a:lnTo>
                  <a:pt x="1093" y="0"/>
                </a:lnTo>
              </a:path>
            </a:pathLst>
          </a:custGeom>
          <a:no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1" name="Freeform 11"/>
          <p:cNvSpPr>
            <a:spLocks/>
          </p:cNvSpPr>
          <p:nvPr userDrawn="1"/>
        </p:nvSpPr>
        <p:spPr bwMode="auto">
          <a:xfrm>
            <a:off x="101113" y="2681886"/>
            <a:ext cx="10258" cy="332974"/>
          </a:xfrm>
          <a:custGeom>
            <a:avLst/>
            <a:gdLst/>
            <a:ahLst/>
            <a:cxnLst>
              <a:cxn ang="0">
                <a:pos x="7" y="0"/>
              </a:cxn>
              <a:cxn ang="0">
                <a:pos x="0" y="276"/>
              </a:cxn>
              <a:cxn ang="0">
                <a:pos x="0" y="276"/>
              </a:cxn>
              <a:cxn ang="0">
                <a:pos x="7" y="0"/>
              </a:cxn>
            </a:cxnLst>
            <a:rect l="0" t="0" r="r" b="b"/>
            <a:pathLst>
              <a:path w="7" h="276">
                <a:moveTo>
                  <a:pt x="7" y="0"/>
                </a:moveTo>
                <a:lnTo>
                  <a:pt x="0" y="276"/>
                </a:lnTo>
                <a:lnTo>
                  <a:pt x="0" y="276"/>
                </a:lnTo>
                <a:lnTo>
                  <a:pt x="7" y="0"/>
                </a:lnTo>
                <a:close/>
              </a:path>
            </a:pathLst>
          </a:custGeom>
          <a:solidFill>
            <a:srgbClr val="25000B"/>
          </a:solid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2" name="Freeform 12"/>
          <p:cNvSpPr>
            <a:spLocks/>
          </p:cNvSpPr>
          <p:nvPr userDrawn="1"/>
        </p:nvSpPr>
        <p:spPr bwMode="auto">
          <a:xfrm>
            <a:off x="101113" y="2681886"/>
            <a:ext cx="10258" cy="332974"/>
          </a:xfrm>
          <a:custGeom>
            <a:avLst/>
            <a:gdLst/>
            <a:ahLst/>
            <a:cxnLst>
              <a:cxn ang="0">
                <a:pos x="7" y="0"/>
              </a:cxn>
              <a:cxn ang="0">
                <a:pos x="0" y="276"/>
              </a:cxn>
              <a:cxn ang="0">
                <a:pos x="0" y="276"/>
              </a:cxn>
              <a:cxn ang="0">
                <a:pos x="7" y="0"/>
              </a:cxn>
            </a:cxnLst>
            <a:rect l="0" t="0" r="r" b="b"/>
            <a:pathLst>
              <a:path w="7" h="276">
                <a:moveTo>
                  <a:pt x="7" y="0"/>
                </a:moveTo>
                <a:lnTo>
                  <a:pt x="0" y="276"/>
                </a:lnTo>
                <a:lnTo>
                  <a:pt x="0" y="276"/>
                </a:lnTo>
                <a:lnTo>
                  <a:pt x="7" y="0"/>
                </a:lnTo>
              </a:path>
            </a:pathLst>
          </a:custGeom>
          <a:no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3" name="Freeform 13"/>
          <p:cNvSpPr>
            <a:spLocks/>
          </p:cNvSpPr>
          <p:nvPr userDrawn="1"/>
        </p:nvSpPr>
        <p:spPr bwMode="auto">
          <a:xfrm>
            <a:off x="7604" y="2521953"/>
            <a:ext cx="106974" cy="458442"/>
          </a:xfrm>
          <a:custGeom>
            <a:avLst/>
            <a:gdLst/>
            <a:ahLst/>
            <a:cxnLst>
              <a:cxn ang="0">
                <a:pos x="0" y="0"/>
              </a:cxn>
              <a:cxn ang="0">
                <a:pos x="0" y="380"/>
              </a:cxn>
              <a:cxn ang="0">
                <a:pos x="73" y="117"/>
              </a:cxn>
              <a:cxn ang="0">
                <a:pos x="0" y="0"/>
              </a:cxn>
            </a:cxnLst>
            <a:rect l="0" t="0" r="r" b="b"/>
            <a:pathLst>
              <a:path w="73" h="380">
                <a:moveTo>
                  <a:pt x="0" y="0"/>
                </a:moveTo>
                <a:lnTo>
                  <a:pt x="0" y="380"/>
                </a:lnTo>
                <a:lnTo>
                  <a:pt x="73" y="117"/>
                </a:lnTo>
                <a:lnTo>
                  <a:pt x="0" y="0"/>
                </a:lnTo>
                <a:close/>
              </a:path>
            </a:pathLst>
          </a:custGeom>
          <a:gradFill>
            <a:gsLst>
              <a:gs pos="23000">
                <a:schemeClr val="accent2">
                  <a:alpha val="45000"/>
                </a:schemeClr>
              </a:gs>
              <a:gs pos="100000">
                <a:srgbClr val="B58EA2"/>
              </a:gs>
            </a:gsLst>
            <a:lin ang="14400000" scaled="0"/>
          </a:grad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6" name="Freeform 15"/>
          <p:cNvSpPr>
            <a:spLocks/>
          </p:cNvSpPr>
          <p:nvPr userDrawn="1"/>
        </p:nvSpPr>
        <p:spPr bwMode="auto">
          <a:xfrm>
            <a:off x="41032" y="4694207"/>
            <a:ext cx="1475643" cy="513938"/>
          </a:xfrm>
          <a:custGeom>
            <a:avLst/>
            <a:gdLst/>
            <a:ahLst/>
            <a:cxnLst>
              <a:cxn ang="0">
                <a:pos x="0" y="0"/>
              </a:cxn>
              <a:cxn ang="0">
                <a:pos x="0" y="0"/>
              </a:cxn>
              <a:cxn ang="0">
                <a:pos x="94" y="426"/>
              </a:cxn>
              <a:cxn ang="0">
                <a:pos x="1007" y="426"/>
              </a:cxn>
              <a:cxn ang="0">
                <a:pos x="839" y="426"/>
              </a:cxn>
              <a:cxn ang="0">
                <a:pos x="0" y="0"/>
              </a:cxn>
            </a:cxnLst>
            <a:rect l="0" t="0" r="r" b="b"/>
            <a:pathLst>
              <a:path w="1007" h="426">
                <a:moveTo>
                  <a:pt x="0" y="0"/>
                </a:moveTo>
                <a:lnTo>
                  <a:pt x="0" y="0"/>
                </a:lnTo>
                <a:lnTo>
                  <a:pt x="94" y="426"/>
                </a:lnTo>
                <a:lnTo>
                  <a:pt x="1007" y="426"/>
                </a:lnTo>
                <a:lnTo>
                  <a:pt x="839" y="426"/>
                </a:lnTo>
                <a:lnTo>
                  <a:pt x="0" y="0"/>
                </a:lnTo>
                <a:close/>
              </a:path>
            </a:pathLst>
          </a:custGeom>
          <a:gradFill>
            <a:gsLst>
              <a:gs pos="23000">
                <a:srgbClr val="8E506C">
                  <a:alpha val="90000"/>
                </a:srgbClr>
              </a:gs>
              <a:gs pos="50000">
                <a:srgbClr val="8D516F"/>
              </a:gs>
              <a:gs pos="100000">
                <a:schemeClr val="accent2">
                  <a:lumMod val="75000"/>
                  <a:alpha val="59000"/>
                </a:schemeClr>
              </a:gs>
            </a:gsLst>
            <a:lin ang="6600000" scaled="0"/>
          </a:grad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7" name="Freeform 16"/>
          <p:cNvSpPr>
            <a:spLocks/>
          </p:cNvSpPr>
          <p:nvPr userDrawn="1"/>
        </p:nvSpPr>
        <p:spPr bwMode="auto">
          <a:xfrm>
            <a:off x="41032" y="4694207"/>
            <a:ext cx="1475643" cy="513938"/>
          </a:xfrm>
          <a:custGeom>
            <a:avLst/>
            <a:gdLst/>
            <a:ahLst/>
            <a:cxnLst>
              <a:cxn ang="0">
                <a:pos x="0" y="0"/>
              </a:cxn>
              <a:cxn ang="0">
                <a:pos x="0" y="0"/>
              </a:cxn>
              <a:cxn ang="0">
                <a:pos x="94" y="426"/>
              </a:cxn>
              <a:cxn ang="0">
                <a:pos x="1007" y="426"/>
              </a:cxn>
              <a:cxn ang="0">
                <a:pos x="839" y="426"/>
              </a:cxn>
              <a:cxn ang="0">
                <a:pos x="0" y="0"/>
              </a:cxn>
            </a:cxnLst>
            <a:rect l="0" t="0" r="r" b="b"/>
            <a:pathLst>
              <a:path w="1007" h="426">
                <a:moveTo>
                  <a:pt x="0" y="0"/>
                </a:moveTo>
                <a:lnTo>
                  <a:pt x="0" y="0"/>
                </a:lnTo>
                <a:lnTo>
                  <a:pt x="94" y="426"/>
                </a:lnTo>
                <a:lnTo>
                  <a:pt x="1007" y="426"/>
                </a:lnTo>
                <a:lnTo>
                  <a:pt x="839" y="426"/>
                </a:lnTo>
                <a:lnTo>
                  <a:pt x="0" y="0"/>
                </a:lnTo>
              </a:path>
            </a:pathLst>
          </a:custGeom>
          <a:no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8" name="Freeform 17"/>
          <p:cNvSpPr>
            <a:spLocks/>
          </p:cNvSpPr>
          <p:nvPr userDrawn="1"/>
        </p:nvSpPr>
        <p:spPr bwMode="auto">
          <a:xfrm>
            <a:off x="4398" y="4694207"/>
            <a:ext cx="174381" cy="513938"/>
          </a:xfrm>
          <a:custGeom>
            <a:avLst/>
            <a:gdLst/>
            <a:ahLst/>
            <a:cxnLst>
              <a:cxn ang="0">
                <a:pos x="25" y="0"/>
              </a:cxn>
              <a:cxn ang="0">
                <a:pos x="0" y="26"/>
              </a:cxn>
              <a:cxn ang="0">
                <a:pos x="0" y="426"/>
              </a:cxn>
              <a:cxn ang="0">
                <a:pos x="119" y="426"/>
              </a:cxn>
              <a:cxn ang="0">
                <a:pos x="25" y="0"/>
              </a:cxn>
            </a:cxnLst>
            <a:rect l="0" t="0" r="r" b="b"/>
            <a:pathLst>
              <a:path w="119" h="426">
                <a:moveTo>
                  <a:pt x="25" y="0"/>
                </a:moveTo>
                <a:lnTo>
                  <a:pt x="0" y="26"/>
                </a:lnTo>
                <a:lnTo>
                  <a:pt x="0" y="426"/>
                </a:lnTo>
                <a:lnTo>
                  <a:pt x="119" y="426"/>
                </a:lnTo>
                <a:lnTo>
                  <a:pt x="25" y="0"/>
                </a:lnTo>
                <a:close/>
              </a:path>
            </a:pathLst>
          </a:custGeom>
          <a:gradFill>
            <a:gsLst>
              <a:gs pos="0">
                <a:srgbClr val="65394F">
                  <a:alpha val="84000"/>
                </a:srgbClr>
              </a:gs>
              <a:gs pos="47000">
                <a:schemeClr val="accent2">
                  <a:alpha val="36000"/>
                </a:schemeClr>
              </a:gs>
              <a:gs pos="100000">
                <a:srgbClr val="65394F"/>
              </a:gs>
            </a:gsLst>
            <a:lin ang="16200000" scaled="0"/>
          </a:grad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29" name="Freeform 18"/>
          <p:cNvSpPr>
            <a:spLocks/>
          </p:cNvSpPr>
          <p:nvPr userDrawn="1"/>
        </p:nvSpPr>
        <p:spPr bwMode="auto">
          <a:xfrm>
            <a:off x="4398" y="4694207"/>
            <a:ext cx="174381" cy="513938"/>
          </a:xfrm>
          <a:custGeom>
            <a:avLst/>
            <a:gdLst/>
            <a:ahLst/>
            <a:cxnLst>
              <a:cxn ang="0">
                <a:pos x="25" y="0"/>
              </a:cxn>
              <a:cxn ang="0">
                <a:pos x="0" y="26"/>
              </a:cxn>
              <a:cxn ang="0">
                <a:pos x="0" y="426"/>
              </a:cxn>
              <a:cxn ang="0">
                <a:pos x="119" y="426"/>
              </a:cxn>
              <a:cxn ang="0">
                <a:pos x="25" y="0"/>
              </a:cxn>
            </a:cxnLst>
            <a:rect l="0" t="0" r="r" b="b"/>
            <a:pathLst>
              <a:path w="119" h="426">
                <a:moveTo>
                  <a:pt x="25" y="0"/>
                </a:moveTo>
                <a:lnTo>
                  <a:pt x="0" y="26"/>
                </a:lnTo>
                <a:lnTo>
                  <a:pt x="0" y="426"/>
                </a:lnTo>
                <a:lnTo>
                  <a:pt x="119" y="426"/>
                </a:lnTo>
                <a:lnTo>
                  <a:pt x="25" y="0"/>
                </a:lnTo>
              </a:path>
            </a:pathLst>
          </a:custGeom>
          <a:no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30" name="Freeform 19"/>
          <p:cNvSpPr>
            <a:spLocks/>
          </p:cNvSpPr>
          <p:nvPr userDrawn="1"/>
        </p:nvSpPr>
        <p:spPr bwMode="auto">
          <a:xfrm>
            <a:off x="2069123" y="4953588"/>
            <a:ext cx="1091712" cy="254556"/>
          </a:xfrm>
          <a:custGeom>
            <a:avLst/>
            <a:gdLst/>
            <a:ahLst/>
            <a:cxnLst>
              <a:cxn ang="0">
                <a:pos x="366" y="0"/>
              </a:cxn>
              <a:cxn ang="0">
                <a:pos x="363" y="3"/>
              </a:cxn>
              <a:cxn ang="0">
                <a:pos x="414" y="211"/>
              </a:cxn>
              <a:cxn ang="0">
                <a:pos x="0" y="211"/>
              </a:cxn>
              <a:cxn ang="0">
                <a:pos x="745" y="211"/>
              </a:cxn>
              <a:cxn ang="0">
                <a:pos x="417" y="211"/>
              </a:cxn>
              <a:cxn ang="0">
                <a:pos x="366" y="0"/>
              </a:cxn>
            </a:cxnLst>
            <a:rect l="0" t="0" r="r" b="b"/>
            <a:pathLst>
              <a:path w="745" h="211">
                <a:moveTo>
                  <a:pt x="366" y="0"/>
                </a:moveTo>
                <a:lnTo>
                  <a:pt x="363" y="3"/>
                </a:lnTo>
                <a:lnTo>
                  <a:pt x="414" y="211"/>
                </a:lnTo>
                <a:lnTo>
                  <a:pt x="0" y="211"/>
                </a:lnTo>
                <a:lnTo>
                  <a:pt x="745" y="211"/>
                </a:lnTo>
                <a:lnTo>
                  <a:pt x="417" y="211"/>
                </a:lnTo>
                <a:lnTo>
                  <a:pt x="366" y="0"/>
                </a:lnTo>
                <a:close/>
              </a:path>
            </a:pathLst>
          </a:custGeom>
          <a:solidFill>
            <a:srgbClr val="610035"/>
          </a:solid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31" name="Freeform 20"/>
          <p:cNvSpPr>
            <a:spLocks/>
          </p:cNvSpPr>
          <p:nvPr userDrawn="1"/>
        </p:nvSpPr>
        <p:spPr bwMode="auto">
          <a:xfrm>
            <a:off x="2069123" y="4953588"/>
            <a:ext cx="1091712" cy="254556"/>
          </a:xfrm>
          <a:custGeom>
            <a:avLst/>
            <a:gdLst/>
            <a:ahLst/>
            <a:cxnLst>
              <a:cxn ang="0">
                <a:pos x="366" y="0"/>
              </a:cxn>
              <a:cxn ang="0">
                <a:pos x="363" y="3"/>
              </a:cxn>
              <a:cxn ang="0">
                <a:pos x="414" y="211"/>
              </a:cxn>
              <a:cxn ang="0">
                <a:pos x="0" y="211"/>
              </a:cxn>
              <a:cxn ang="0">
                <a:pos x="745" y="211"/>
              </a:cxn>
              <a:cxn ang="0">
                <a:pos x="417" y="211"/>
              </a:cxn>
              <a:cxn ang="0">
                <a:pos x="366" y="0"/>
              </a:cxn>
            </a:cxnLst>
            <a:rect l="0" t="0" r="r" b="b"/>
            <a:pathLst>
              <a:path w="745" h="211">
                <a:moveTo>
                  <a:pt x="366" y="0"/>
                </a:moveTo>
                <a:lnTo>
                  <a:pt x="363" y="3"/>
                </a:lnTo>
                <a:lnTo>
                  <a:pt x="414" y="211"/>
                </a:lnTo>
                <a:lnTo>
                  <a:pt x="0" y="211"/>
                </a:lnTo>
                <a:lnTo>
                  <a:pt x="745" y="211"/>
                </a:lnTo>
                <a:lnTo>
                  <a:pt x="417" y="211"/>
                </a:lnTo>
                <a:lnTo>
                  <a:pt x="366" y="0"/>
                </a:lnTo>
              </a:path>
            </a:pathLst>
          </a:custGeom>
          <a:no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32" name="Freeform 21"/>
          <p:cNvSpPr>
            <a:spLocks noEditPoints="1"/>
          </p:cNvSpPr>
          <p:nvPr userDrawn="1"/>
        </p:nvSpPr>
        <p:spPr bwMode="auto">
          <a:xfrm>
            <a:off x="4396" y="2014733"/>
            <a:ext cx="2596662" cy="3193412"/>
          </a:xfrm>
          <a:custGeom>
            <a:avLst/>
            <a:gdLst/>
            <a:ahLst/>
            <a:cxnLst>
              <a:cxn ang="0">
                <a:pos x="0" y="2127"/>
              </a:cxn>
              <a:cxn ang="0">
                <a:pos x="0" y="2211"/>
              </a:cxn>
              <a:cxn ang="0">
                <a:pos x="25" y="2221"/>
              </a:cxn>
              <a:cxn ang="0">
                <a:pos x="0" y="2127"/>
              </a:cxn>
              <a:cxn ang="0">
                <a:pos x="66" y="829"/>
              </a:cxn>
              <a:cxn ang="0">
                <a:pos x="0" y="881"/>
              </a:cxn>
              <a:cxn ang="0">
                <a:pos x="0" y="1431"/>
              </a:cxn>
              <a:cxn ang="0">
                <a:pos x="48" y="1486"/>
              </a:cxn>
              <a:cxn ang="0">
                <a:pos x="66" y="829"/>
              </a:cxn>
              <a:cxn ang="0">
                <a:pos x="1159" y="0"/>
              </a:cxn>
              <a:cxn ang="0">
                <a:pos x="1159" y="0"/>
              </a:cxn>
              <a:cxn ang="0">
                <a:pos x="267" y="1746"/>
              </a:cxn>
              <a:cxn ang="0">
                <a:pos x="1032" y="2647"/>
              </a:cxn>
              <a:cxn ang="0">
                <a:pos x="1409" y="2647"/>
              </a:cxn>
              <a:cxn ang="0">
                <a:pos x="1772" y="2439"/>
              </a:cxn>
              <a:cxn ang="0">
                <a:pos x="1159" y="0"/>
              </a:cxn>
            </a:cxnLst>
            <a:rect l="0" t="0" r="r" b="b"/>
            <a:pathLst>
              <a:path w="1772" h="2647">
                <a:moveTo>
                  <a:pt x="0" y="2127"/>
                </a:moveTo>
                <a:lnTo>
                  <a:pt x="0" y="2211"/>
                </a:lnTo>
                <a:lnTo>
                  <a:pt x="25" y="2221"/>
                </a:lnTo>
                <a:lnTo>
                  <a:pt x="0" y="2127"/>
                </a:lnTo>
                <a:close/>
                <a:moveTo>
                  <a:pt x="66" y="829"/>
                </a:moveTo>
                <a:lnTo>
                  <a:pt x="0" y="881"/>
                </a:lnTo>
                <a:lnTo>
                  <a:pt x="0" y="1431"/>
                </a:lnTo>
                <a:lnTo>
                  <a:pt x="48" y="1486"/>
                </a:lnTo>
                <a:lnTo>
                  <a:pt x="66" y="829"/>
                </a:lnTo>
                <a:close/>
                <a:moveTo>
                  <a:pt x="1159" y="0"/>
                </a:moveTo>
                <a:lnTo>
                  <a:pt x="1159" y="0"/>
                </a:lnTo>
                <a:lnTo>
                  <a:pt x="267" y="1746"/>
                </a:lnTo>
                <a:lnTo>
                  <a:pt x="1032" y="2647"/>
                </a:lnTo>
                <a:lnTo>
                  <a:pt x="1409" y="2647"/>
                </a:lnTo>
                <a:lnTo>
                  <a:pt x="1772" y="2439"/>
                </a:lnTo>
                <a:lnTo>
                  <a:pt x="1159" y="0"/>
                </a:lnTo>
                <a:close/>
              </a:path>
            </a:pathLst>
          </a:custGeom>
          <a:gradFill>
            <a:gsLst>
              <a:gs pos="0">
                <a:srgbClr val="65394F">
                  <a:alpha val="60000"/>
                </a:srgbClr>
              </a:gs>
              <a:gs pos="36000">
                <a:schemeClr val="accent2">
                  <a:alpha val="41000"/>
                </a:schemeClr>
              </a:gs>
              <a:gs pos="100000">
                <a:srgbClr val="65394F">
                  <a:alpha val="78000"/>
                </a:srgbClr>
              </a:gs>
            </a:gsLst>
            <a:lin ang="16800000" scaled="0"/>
          </a:grad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33" name="Freeform 22"/>
          <p:cNvSpPr>
            <a:spLocks noEditPoints="1"/>
          </p:cNvSpPr>
          <p:nvPr userDrawn="1"/>
        </p:nvSpPr>
        <p:spPr bwMode="auto">
          <a:xfrm>
            <a:off x="4396" y="2014733"/>
            <a:ext cx="2596662" cy="3193412"/>
          </a:xfrm>
          <a:custGeom>
            <a:avLst/>
            <a:gdLst/>
            <a:ahLst/>
            <a:cxnLst>
              <a:cxn ang="0">
                <a:pos x="0" y="2127"/>
              </a:cxn>
              <a:cxn ang="0">
                <a:pos x="0" y="2211"/>
              </a:cxn>
              <a:cxn ang="0">
                <a:pos x="25" y="2221"/>
              </a:cxn>
              <a:cxn ang="0">
                <a:pos x="0" y="2127"/>
              </a:cxn>
              <a:cxn ang="0">
                <a:pos x="66" y="829"/>
              </a:cxn>
              <a:cxn ang="0">
                <a:pos x="0" y="881"/>
              </a:cxn>
              <a:cxn ang="0">
                <a:pos x="0" y="1431"/>
              </a:cxn>
              <a:cxn ang="0">
                <a:pos x="48" y="1486"/>
              </a:cxn>
              <a:cxn ang="0">
                <a:pos x="66" y="829"/>
              </a:cxn>
              <a:cxn ang="0">
                <a:pos x="1159" y="0"/>
              </a:cxn>
              <a:cxn ang="0">
                <a:pos x="1159" y="0"/>
              </a:cxn>
              <a:cxn ang="0">
                <a:pos x="267" y="1746"/>
              </a:cxn>
              <a:cxn ang="0">
                <a:pos x="1032" y="2647"/>
              </a:cxn>
              <a:cxn ang="0">
                <a:pos x="1409" y="2647"/>
              </a:cxn>
              <a:cxn ang="0">
                <a:pos x="1772" y="2439"/>
              </a:cxn>
              <a:cxn ang="0">
                <a:pos x="1159" y="0"/>
              </a:cxn>
            </a:cxnLst>
            <a:rect l="0" t="0" r="r" b="b"/>
            <a:pathLst>
              <a:path w="1772" h="2647">
                <a:moveTo>
                  <a:pt x="0" y="2127"/>
                </a:moveTo>
                <a:lnTo>
                  <a:pt x="0" y="2211"/>
                </a:lnTo>
                <a:lnTo>
                  <a:pt x="25" y="2221"/>
                </a:lnTo>
                <a:lnTo>
                  <a:pt x="0" y="2127"/>
                </a:lnTo>
                <a:moveTo>
                  <a:pt x="66" y="829"/>
                </a:moveTo>
                <a:lnTo>
                  <a:pt x="0" y="881"/>
                </a:lnTo>
                <a:lnTo>
                  <a:pt x="0" y="1431"/>
                </a:lnTo>
                <a:lnTo>
                  <a:pt x="48" y="1486"/>
                </a:lnTo>
                <a:lnTo>
                  <a:pt x="66" y="829"/>
                </a:lnTo>
                <a:moveTo>
                  <a:pt x="1159" y="0"/>
                </a:moveTo>
                <a:lnTo>
                  <a:pt x="1159" y="0"/>
                </a:lnTo>
                <a:lnTo>
                  <a:pt x="267" y="1746"/>
                </a:lnTo>
                <a:lnTo>
                  <a:pt x="1032" y="2647"/>
                </a:lnTo>
                <a:lnTo>
                  <a:pt x="1409" y="2647"/>
                </a:lnTo>
                <a:lnTo>
                  <a:pt x="1772" y="2439"/>
                </a:lnTo>
                <a:lnTo>
                  <a:pt x="1159" y="0"/>
                </a:lnTo>
              </a:path>
            </a:pathLst>
          </a:custGeom>
          <a:no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34" name="Freeform 23"/>
          <p:cNvSpPr>
            <a:spLocks/>
          </p:cNvSpPr>
          <p:nvPr userDrawn="1"/>
        </p:nvSpPr>
        <p:spPr bwMode="auto">
          <a:xfrm>
            <a:off x="74736" y="2014734"/>
            <a:ext cx="1628043" cy="2106421"/>
          </a:xfrm>
          <a:custGeom>
            <a:avLst/>
            <a:gdLst/>
            <a:ahLst/>
            <a:cxnLst>
              <a:cxn ang="0">
                <a:pos x="1111" y="0"/>
              </a:cxn>
              <a:cxn ang="0">
                <a:pos x="1111" y="0"/>
              </a:cxn>
              <a:cxn ang="0">
                <a:pos x="18" y="829"/>
              </a:cxn>
              <a:cxn ang="0">
                <a:pos x="0" y="1486"/>
              </a:cxn>
              <a:cxn ang="0">
                <a:pos x="219" y="1746"/>
              </a:cxn>
              <a:cxn ang="0">
                <a:pos x="1111" y="0"/>
              </a:cxn>
            </a:cxnLst>
            <a:rect l="0" t="0" r="r" b="b"/>
            <a:pathLst>
              <a:path w="1111" h="1746">
                <a:moveTo>
                  <a:pt x="1111" y="0"/>
                </a:moveTo>
                <a:lnTo>
                  <a:pt x="1111" y="0"/>
                </a:lnTo>
                <a:lnTo>
                  <a:pt x="18" y="829"/>
                </a:lnTo>
                <a:lnTo>
                  <a:pt x="0" y="1486"/>
                </a:lnTo>
                <a:lnTo>
                  <a:pt x="219" y="1746"/>
                </a:lnTo>
                <a:lnTo>
                  <a:pt x="1111" y="0"/>
                </a:lnTo>
                <a:close/>
              </a:path>
            </a:pathLst>
          </a:custGeom>
          <a:gradFill flip="none" rotWithShape="1">
            <a:gsLst>
              <a:gs pos="38000">
                <a:srgbClr val="9D6182">
                  <a:alpha val="81000"/>
                </a:srgbClr>
              </a:gs>
              <a:gs pos="100000">
                <a:schemeClr val="accent2"/>
              </a:gs>
              <a:gs pos="100000">
                <a:srgbClr val="77445E">
                  <a:alpha val="74000"/>
                </a:srgbClr>
              </a:gs>
            </a:gsLst>
            <a:lin ang="2400000" scaled="0"/>
            <a:tileRect/>
          </a:grad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35" name="Freeform 24"/>
          <p:cNvSpPr>
            <a:spLocks/>
          </p:cNvSpPr>
          <p:nvPr userDrawn="1"/>
        </p:nvSpPr>
        <p:spPr bwMode="auto">
          <a:xfrm>
            <a:off x="74736" y="2014734"/>
            <a:ext cx="1628043" cy="2106421"/>
          </a:xfrm>
          <a:custGeom>
            <a:avLst/>
            <a:gdLst/>
            <a:ahLst/>
            <a:cxnLst>
              <a:cxn ang="0">
                <a:pos x="1111" y="0"/>
              </a:cxn>
              <a:cxn ang="0">
                <a:pos x="1111" y="0"/>
              </a:cxn>
              <a:cxn ang="0">
                <a:pos x="18" y="829"/>
              </a:cxn>
              <a:cxn ang="0">
                <a:pos x="0" y="1486"/>
              </a:cxn>
              <a:cxn ang="0">
                <a:pos x="219" y="1746"/>
              </a:cxn>
              <a:cxn ang="0">
                <a:pos x="1111" y="0"/>
              </a:cxn>
            </a:cxnLst>
            <a:rect l="0" t="0" r="r" b="b"/>
            <a:pathLst>
              <a:path w="1111" h="1746">
                <a:moveTo>
                  <a:pt x="1111" y="0"/>
                </a:moveTo>
                <a:lnTo>
                  <a:pt x="1111" y="0"/>
                </a:lnTo>
                <a:lnTo>
                  <a:pt x="18" y="829"/>
                </a:lnTo>
                <a:lnTo>
                  <a:pt x="0" y="1486"/>
                </a:lnTo>
                <a:lnTo>
                  <a:pt x="219" y="1746"/>
                </a:lnTo>
                <a:lnTo>
                  <a:pt x="1111" y="0"/>
                </a:lnTo>
              </a:path>
            </a:pathLst>
          </a:custGeom>
          <a:no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36" name="Freeform 25"/>
          <p:cNvSpPr>
            <a:spLocks noEditPoints="1"/>
          </p:cNvSpPr>
          <p:nvPr userDrawn="1"/>
        </p:nvSpPr>
        <p:spPr bwMode="auto">
          <a:xfrm>
            <a:off x="4398" y="3741128"/>
            <a:ext cx="1512277" cy="1467015"/>
          </a:xfrm>
          <a:custGeom>
            <a:avLst/>
            <a:gdLst/>
            <a:ahLst/>
            <a:cxnLst>
              <a:cxn ang="0">
                <a:pos x="267" y="315"/>
              </a:cxn>
              <a:cxn ang="0">
                <a:pos x="25" y="790"/>
              </a:cxn>
              <a:cxn ang="0">
                <a:pos x="864" y="1216"/>
              </a:cxn>
              <a:cxn ang="0">
                <a:pos x="1032" y="1216"/>
              </a:cxn>
              <a:cxn ang="0">
                <a:pos x="267" y="315"/>
              </a:cxn>
              <a:cxn ang="0">
                <a:pos x="0" y="0"/>
              </a:cxn>
              <a:cxn ang="0">
                <a:pos x="0" y="696"/>
              </a:cxn>
              <a:cxn ang="0">
                <a:pos x="25" y="790"/>
              </a:cxn>
              <a:cxn ang="0">
                <a:pos x="25" y="790"/>
              </a:cxn>
              <a:cxn ang="0">
                <a:pos x="48" y="55"/>
              </a:cxn>
              <a:cxn ang="0">
                <a:pos x="0" y="0"/>
              </a:cxn>
            </a:cxnLst>
            <a:rect l="0" t="0" r="r" b="b"/>
            <a:pathLst>
              <a:path w="1032" h="1216">
                <a:moveTo>
                  <a:pt x="267" y="315"/>
                </a:moveTo>
                <a:lnTo>
                  <a:pt x="25" y="790"/>
                </a:lnTo>
                <a:lnTo>
                  <a:pt x="864" y="1216"/>
                </a:lnTo>
                <a:lnTo>
                  <a:pt x="1032" y="1216"/>
                </a:lnTo>
                <a:lnTo>
                  <a:pt x="267" y="315"/>
                </a:lnTo>
                <a:close/>
                <a:moveTo>
                  <a:pt x="0" y="0"/>
                </a:moveTo>
                <a:lnTo>
                  <a:pt x="0" y="696"/>
                </a:lnTo>
                <a:lnTo>
                  <a:pt x="25" y="790"/>
                </a:lnTo>
                <a:lnTo>
                  <a:pt x="25" y="790"/>
                </a:lnTo>
                <a:lnTo>
                  <a:pt x="48" y="55"/>
                </a:lnTo>
                <a:lnTo>
                  <a:pt x="0" y="0"/>
                </a:lnTo>
                <a:close/>
              </a:path>
            </a:pathLst>
          </a:custGeom>
          <a:gradFill>
            <a:gsLst>
              <a:gs pos="25000">
                <a:srgbClr val="602A43">
                  <a:alpha val="89000"/>
                </a:srgbClr>
              </a:gs>
              <a:gs pos="100000">
                <a:srgbClr val="602A43"/>
              </a:gs>
            </a:gsLst>
            <a:lin ang="16800000" scaled="0"/>
          </a:grad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37" name="Freeform 27"/>
          <p:cNvSpPr>
            <a:spLocks/>
          </p:cNvSpPr>
          <p:nvPr userDrawn="1"/>
        </p:nvSpPr>
        <p:spPr bwMode="auto">
          <a:xfrm>
            <a:off x="41032" y="3807484"/>
            <a:ext cx="354623" cy="886724"/>
          </a:xfrm>
          <a:custGeom>
            <a:avLst/>
            <a:gdLst/>
            <a:ahLst/>
            <a:cxnLst>
              <a:cxn ang="0">
                <a:pos x="23" y="0"/>
              </a:cxn>
              <a:cxn ang="0">
                <a:pos x="0" y="735"/>
              </a:cxn>
              <a:cxn ang="0">
                <a:pos x="242" y="260"/>
              </a:cxn>
              <a:cxn ang="0">
                <a:pos x="23" y="0"/>
              </a:cxn>
            </a:cxnLst>
            <a:rect l="0" t="0" r="r" b="b"/>
            <a:pathLst>
              <a:path w="242" h="735">
                <a:moveTo>
                  <a:pt x="23" y="0"/>
                </a:moveTo>
                <a:lnTo>
                  <a:pt x="0" y="735"/>
                </a:lnTo>
                <a:lnTo>
                  <a:pt x="242" y="260"/>
                </a:lnTo>
                <a:lnTo>
                  <a:pt x="23" y="0"/>
                </a:lnTo>
                <a:close/>
              </a:path>
            </a:pathLst>
          </a:custGeom>
          <a:gradFill>
            <a:gsLst>
              <a:gs pos="0">
                <a:srgbClr val="65394F">
                  <a:alpha val="84000"/>
                </a:srgbClr>
              </a:gs>
              <a:gs pos="100000">
                <a:schemeClr val="accent2">
                  <a:alpha val="50000"/>
                </a:schemeClr>
              </a:gs>
              <a:gs pos="100000">
                <a:srgbClr val="9D6182">
                  <a:alpha val="85000"/>
                </a:srgbClr>
              </a:gs>
              <a:gs pos="100000">
                <a:srgbClr val="65394F"/>
              </a:gs>
            </a:gsLst>
            <a:lin ang="16200000" scaled="0"/>
          </a:grad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38" name="Freeform 28"/>
          <p:cNvSpPr>
            <a:spLocks/>
          </p:cNvSpPr>
          <p:nvPr userDrawn="1"/>
        </p:nvSpPr>
        <p:spPr bwMode="auto">
          <a:xfrm>
            <a:off x="41032" y="3807484"/>
            <a:ext cx="354623" cy="886724"/>
          </a:xfrm>
          <a:custGeom>
            <a:avLst/>
            <a:gdLst/>
            <a:ahLst/>
            <a:cxnLst>
              <a:cxn ang="0">
                <a:pos x="23" y="0"/>
              </a:cxn>
              <a:cxn ang="0">
                <a:pos x="0" y="735"/>
              </a:cxn>
              <a:cxn ang="0">
                <a:pos x="242" y="260"/>
              </a:cxn>
              <a:cxn ang="0">
                <a:pos x="23" y="0"/>
              </a:cxn>
            </a:cxnLst>
            <a:rect l="0" t="0" r="r" b="b"/>
            <a:pathLst>
              <a:path w="242" h="735">
                <a:moveTo>
                  <a:pt x="23" y="0"/>
                </a:moveTo>
                <a:lnTo>
                  <a:pt x="0" y="735"/>
                </a:lnTo>
                <a:lnTo>
                  <a:pt x="242" y="260"/>
                </a:lnTo>
                <a:lnTo>
                  <a:pt x="23" y="0"/>
                </a:lnTo>
              </a:path>
            </a:pathLst>
          </a:custGeom>
          <a:no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39" name="Freeform 29"/>
          <p:cNvSpPr>
            <a:spLocks/>
          </p:cNvSpPr>
          <p:nvPr userDrawn="1"/>
        </p:nvSpPr>
        <p:spPr bwMode="auto">
          <a:xfrm>
            <a:off x="2069125" y="4957206"/>
            <a:ext cx="606669" cy="250937"/>
          </a:xfrm>
          <a:custGeom>
            <a:avLst/>
            <a:gdLst/>
            <a:ahLst/>
            <a:cxnLst>
              <a:cxn ang="0">
                <a:pos x="363" y="0"/>
              </a:cxn>
              <a:cxn ang="0">
                <a:pos x="0" y="208"/>
              </a:cxn>
              <a:cxn ang="0">
                <a:pos x="414" y="208"/>
              </a:cxn>
              <a:cxn ang="0">
                <a:pos x="363" y="0"/>
              </a:cxn>
            </a:cxnLst>
            <a:rect l="0" t="0" r="r" b="b"/>
            <a:pathLst>
              <a:path w="414" h="208">
                <a:moveTo>
                  <a:pt x="363" y="0"/>
                </a:moveTo>
                <a:lnTo>
                  <a:pt x="0" y="208"/>
                </a:lnTo>
                <a:lnTo>
                  <a:pt x="414" y="208"/>
                </a:lnTo>
                <a:lnTo>
                  <a:pt x="363" y="0"/>
                </a:lnTo>
                <a:close/>
              </a:path>
            </a:pathLst>
          </a:custGeom>
          <a:gradFill>
            <a:gsLst>
              <a:gs pos="0">
                <a:srgbClr val="602A43"/>
              </a:gs>
              <a:gs pos="23000">
                <a:srgbClr val="65394F"/>
              </a:gs>
            </a:gsLst>
            <a:lin ang="1200000" scaled="0"/>
          </a:grad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40" name="Freeform 30"/>
          <p:cNvSpPr>
            <a:spLocks/>
          </p:cNvSpPr>
          <p:nvPr userDrawn="1"/>
        </p:nvSpPr>
        <p:spPr bwMode="auto">
          <a:xfrm>
            <a:off x="2069125" y="4957206"/>
            <a:ext cx="606669" cy="250937"/>
          </a:xfrm>
          <a:custGeom>
            <a:avLst/>
            <a:gdLst/>
            <a:ahLst/>
            <a:cxnLst>
              <a:cxn ang="0">
                <a:pos x="363" y="0"/>
              </a:cxn>
              <a:cxn ang="0">
                <a:pos x="0" y="208"/>
              </a:cxn>
              <a:cxn ang="0">
                <a:pos x="414" y="208"/>
              </a:cxn>
              <a:cxn ang="0">
                <a:pos x="363" y="0"/>
              </a:cxn>
            </a:cxnLst>
            <a:rect l="0" t="0" r="r" b="b"/>
            <a:pathLst>
              <a:path w="414" h="208">
                <a:moveTo>
                  <a:pt x="363" y="0"/>
                </a:moveTo>
                <a:lnTo>
                  <a:pt x="0" y="208"/>
                </a:lnTo>
                <a:lnTo>
                  <a:pt x="414" y="208"/>
                </a:lnTo>
                <a:lnTo>
                  <a:pt x="363" y="0"/>
                </a:lnTo>
              </a:path>
            </a:pathLst>
          </a:custGeom>
          <a:no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41" name="Freeform 31"/>
          <p:cNvSpPr>
            <a:spLocks/>
          </p:cNvSpPr>
          <p:nvPr userDrawn="1"/>
        </p:nvSpPr>
        <p:spPr bwMode="auto">
          <a:xfrm>
            <a:off x="2605455" y="4948762"/>
            <a:ext cx="2931" cy="4826"/>
          </a:xfrm>
          <a:custGeom>
            <a:avLst/>
            <a:gdLst/>
            <a:ahLst/>
            <a:cxnLst>
              <a:cxn ang="0">
                <a:pos x="2" y="0"/>
              </a:cxn>
              <a:cxn ang="0">
                <a:pos x="0" y="4"/>
              </a:cxn>
              <a:cxn ang="0">
                <a:pos x="0" y="4"/>
              </a:cxn>
              <a:cxn ang="0">
                <a:pos x="2" y="4"/>
              </a:cxn>
              <a:cxn ang="0">
                <a:pos x="2" y="0"/>
              </a:cxn>
            </a:cxnLst>
            <a:rect l="0" t="0" r="r" b="b"/>
            <a:pathLst>
              <a:path w="2" h="4">
                <a:moveTo>
                  <a:pt x="2" y="0"/>
                </a:moveTo>
                <a:lnTo>
                  <a:pt x="0" y="4"/>
                </a:lnTo>
                <a:lnTo>
                  <a:pt x="0" y="4"/>
                </a:lnTo>
                <a:lnTo>
                  <a:pt x="2" y="4"/>
                </a:lnTo>
                <a:lnTo>
                  <a:pt x="2" y="0"/>
                </a:lnTo>
                <a:close/>
              </a:path>
            </a:pathLst>
          </a:custGeom>
          <a:solidFill>
            <a:srgbClr val="610035"/>
          </a:solid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42" name="Freeform 32"/>
          <p:cNvSpPr>
            <a:spLocks/>
          </p:cNvSpPr>
          <p:nvPr userDrawn="1"/>
        </p:nvSpPr>
        <p:spPr bwMode="auto">
          <a:xfrm>
            <a:off x="2605455" y="4948762"/>
            <a:ext cx="2931" cy="4826"/>
          </a:xfrm>
          <a:custGeom>
            <a:avLst/>
            <a:gdLst/>
            <a:ahLst/>
            <a:cxnLst>
              <a:cxn ang="0">
                <a:pos x="2" y="0"/>
              </a:cxn>
              <a:cxn ang="0">
                <a:pos x="0" y="4"/>
              </a:cxn>
              <a:cxn ang="0">
                <a:pos x="0" y="4"/>
              </a:cxn>
              <a:cxn ang="0">
                <a:pos x="2" y="4"/>
              </a:cxn>
              <a:cxn ang="0">
                <a:pos x="2" y="0"/>
              </a:cxn>
            </a:cxnLst>
            <a:rect l="0" t="0" r="r" b="b"/>
            <a:pathLst>
              <a:path w="2" h="4">
                <a:moveTo>
                  <a:pt x="2" y="0"/>
                </a:moveTo>
                <a:lnTo>
                  <a:pt x="0" y="4"/>
                </a:lnTo>
                <a:lnTo>
                  <a:pt x="0" y="4"/>
                </a:lnTo>
                <a:lnTo>
                  <a:pt x="2" y="4"/>
                </a:lnTo>
                <a:lnTo>
                  <a:pt x="2" y="0"/>
                </a:lnTo>
              </a:path>
            </a:pathLst>
          </a:custGeom>
          <a:no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43" name="Freeform 33"/>
          <p:cNvSpPr>
            <a:spLocks/>
          </p:cNvSpPr>
          <p:nvPr userDrawn="1"/>
        </p:nvSpPr>
        <p:spPr bwMode="auto">
          <a:xfrm>
            <a:off x="2605455" y="4953588"/>
            <a:ext cx="555381" cy="254556"/>
          </a:xfrm>
          <a:custGeom>
            <a:avLst/>
            <a:gdLst/>
            <a:ahLst/>
            <a:cxnLst>
              <a:cxn ang="0">
                <a:pos x="2" y="0"/>
              </a:cxn>
              <a:cxn ang="0">
                <a:pos x="0" y="0"/>
              </a:cxn>
              <a:cxn ang="0">
                <a:pos x="51" y="211"/>
              </a:cxn>
              <a:cxn ang="0">
                <a:pos x="379" y="211"/>
              </a:cxn>
              <a:cxn ang="0">
                <a:pos x="56" y="211"/>
              </a:cxn>
              <a:cxn ang="0">
                <a:pos x="2" y="0"/>
              </a:cxn>
            </a:cxnLst>
            <a:rect l="0" t="0" r="r" b="b"/>
            <a:pathLst>
              <a:path w="379" h="211">
                <a:moveTo>
                  <a:pt x="2" y="0"/>
                </a:moveTo>
                <a:lnTo>
                  <a:pt x="0" y="0"/>
                </a:lnTo>
                <a:lnTo>
                  <a:pt x="51" y="211"/>
                </a:lnTo>
                <a:lnTo>
                  <a:pt x="379" y="211"/>
                </a:lnTo>
                <a:lnTo>
                  <a:pt x="56" y="211"/>
                </a:lnTo>
                <a:lnTo>
                  <a:pt x="2" y="0"/>
                </a:lnTo>
                <a:close/>
              </a:path>
            </a:pathLst>
          </a:custGeom>
          <a:solidFill>
            <a:srgbClr val="25000B"/>
          </a:solid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44" name="Freeform 34"/>
          <p:cNvSpPr>
            <a:spLocks/>
          </p:cNvSpPr>
          <p:nvPr userDrawn="1"/>
        </p:nvSpPr>
        <p:spPr bwMode="auto">
          <a:xfrm>
            <a:off x="2605455" y="4953588"/>
            <a:ext cx="555381" cy="254556"/>
          </a:xfrm>
          <a:custGeom>
            <a:avLst/>
            <a:gdLst/>
            <a:ahLst/>
            <a:cxnLst>
              <a:cxn ang="0">
                <a:pos x="2" y="0"/>
              </a:cxn>
              <a:cxn ang="0">
                <a:pos x="0" y="0"/>
              </a:cxn>
              <a:cxn ang="0">
                <a:pos x="51" y="211"/>
              </a:cxn>
              <a:cxn ang="0">
                <a:pos x="379" y="211"/>
              </a:cxn>
              <a:cxn ang="0">
                <a:pos x="56" y="211"/>
              </a:cxn>
              <a:cxn ang="0">
                <a:pos x="2" y="0"/>
              </a:cxn>
            </a:cxnLst>
            <a:rect l="0" t="0" r="r" b="b"/>
            <a:pathLst>
              <a:path w="379" h="211">
                <a:moveTo>
                  <a:pt x="2" y="0"/>
                </a:moveTo>
                <a:lnTo>
                  <a:pt x="0" y="0"/>
                </a:lnTo>
                <a:lnTo>
                  <a:pt x="51" y="211"/>
                </a:lnTo>
                <a:lnTo>
                  <a:pt x="379" y="211"/>
                </a:lnTo>
                <a:lnTo>
                  <a:pt x="56" y="211"/>
                </a:lnTo>
                <a:lnTo>
                  <a:pt x="2" y="0"/>
                </a:lnTo>
              </a:path>
            </a:pathLst>
          </a:custGeom>
          <a:no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45" name="Freeform 35"/>
          <p:cNvSpPr>
            <a:spLocks/>
          </p:cNvSpPr>
          <p:nvPr userDrawn="1"/>
        </p:nvSpPr>
        <p:spPr bwMode="auto">
          <a:xfrm>
            <a:off x="1718897" y="2030417"/>
            <a:ext cx="1456592" cy="3177728"/>
          </a:xfrm>
          <a:custGeom>
            <a:avLst/>
            <a:gdLst/>
            <a:ahLst/>
            <a:cxnLst>
              <a:cxn ang="0">
                <a:pos x="0" y="0"/>
              </a:cxn>
              <a:cxn ang="0">
                <a:pos x="607" y="2419"/>
              </a:cxn>
              <a:cxn ang="0">
                <a:pos x="994" y="2198"/>
              </a:cxn>
              <a:cxn ang="0">
                <a:pos x="994" y="2608"/>
              </a:cxn>
              <a:cxn ang="0">
                <a:pos x="984" y="2634"/>
              </a:cxn>
              <a:cxn ang="0">
                <a:pos x="994" y="2634"/>
              </a:cxn>
              <a:cxn ang="0">
                <a:pos x="994" y="846"/>
              </a:cxn>
              <a:cxn ang="0">
                <a:pos x="0" y="0"/>
              </a:cxn>
            </a:cxnLst>
            <a:rect l="0" t="0" r="r" b="b"/>
            <a:pathLst>
              <a:path w="994" h="2634">
                <a:moveTo>
                  <a:pt x="0" y="0"/>
                </a:moveTo>
                <a:lnTo>
                  <a:pt x="607" y="2419"/>
                </a:lnTo>
                <a:lnTo>
                  <a:pt x="994" y="2198"/>
                </a:lnTo>
                <a:lnTo>
                  <a:pt x="994" y="2608"/>
                </a:lnTo>
                <a:lnTo>
                  <a:pt x="984" y="2634"/>
                </a:lnTo>
                <a:lnTo>
                  <a:pt x="994" y="2634"/>
                </a:lnTo>
                <a:lnTo>
                  <a:pt x="994" y="846"/>
                </a:lnTo>
                <a:lnTo>
                  <a:pt x="0" y="0"/>
                </a:lnTo>
                <a:close/>
              </a:path>
            </a:pathLst>
          </a:custGeom>
          <a:gradFill>
            <a:gsLst>
              <a:gs pos="0">
                <a:srgbClr val="8D516F">
                  <a:alpha val="64000"/>
                </a:srgbClr>
              </a:gs>
              <a:gs pos="100000">
                <a:srgbClr val="B58EA2">
                  <a:alpha val="52000"/>
                </a:srgbClr>
              </a:gs>
            </a:gsLst>
            <a:lin ang="12600000" scaled="0"/>
          </a:grad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46" name="Freeform 36"/>
          <p:cNvSpPr>
            <a:spLocks/>
          </p:cNvSpPr>
          <p:nvPr userDrawn="1"/>
        </p:nvSpPr>
        <p:spPr bwMode="auto">
          <a:xfrm>
            <a:off x="1718897" y="2030417"/>
            <a:ext cx="1456592" cy="3177728"/>
          </a:xfrm>
          <a:custGeom>
            <a:avLst/>
            <a:gdLst/>
            <a:ahLst/>
            <a:cxnLst>
              <a:cxn ang="0">
                <a:pos x="0" y="0"/>
              </a:cxn>
              <a:cxn ang="0">
                <a:pos x="607" y="2419"/>
              </a:cxn>
              <a:cxn ang="0">
                <a:pos x="994" y="2198"/>
              </a:cxn>
              <a:cxn ang="0">
                <a:pos x="994" y="2608"/>
              </a:cxn>
              <a:cxn ang="0">
                <a:pos x="984" y="2634"/>
              </a:cxn>
              <a:cxn ang="0">
                <a:pos x="994" y="2634"/>
              </a:cxn>
              <a:cxn ang="0">
                <a:pos x="994" y="846"/>
              </a:cxn>
              <a:cxn ang="0">
                <a:pos x="0" y="0"/>
              </a:cxn>
            </a:cxnLst>
            <a:rect l="0" t="0" r="r" b="b"/>
            <a:pathLst>
              <a:path w="994" h="2634">
                <a:moveTo>
                  <a:pt x="0" y="0"/>
                </a:moveTo>
                <a:lnTo>
                  <a:pt x="607" y="2419"/>
                </a:lnTo>
                <a:lnTo>
                  <a:pt x="994" y="2198"/>
                </a:lnTo>
                <a:lnTo>
                  <a:pt x="994" y="2608"/>
                </a:lnTo>
                <a:lnTo>
                  <a:pt x="984" y="2634"/>
                </a:lnTo>
                <a:lnTo>
                  <a:pt x="994" y="2634"/>
                </a:lnTo>
                <a:lnTo>
                  <a:pt x="994" y="846"/>
                </a:lnTo>
                <a:lnTo>
                  <a:pt x="0" y="0"/>
                </a:lnTo>
              </a:path>
            </a:pathLst>
          </a:custGeom>
          <a:no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47" name="Freeform 37"/>
          <p:cNvSpPr>
            <a:spLocks/>
          </p:cNvSpPr>
          <p:nvPr userDrawn="1"/>
        </p:nvSpPr>
        <p:spPr bwMode="auto">
          <a:xfrm>
            <a:off x="2608385" y="4682141"/>
            <a:ext cx="567104" cy="526002"/>
          </a:xfrm>
          <a:custGeom>
            <a:avLst/>
            <a:gdLst/>
            <a:ahLst/>
            <a:cxnLst>
              <a:cxn ang="0">
                <a:pos x="387" y="0"/>
              </a:cxn>
              <a:cxn ang="0">
                <a:pos x="0" y="221"/>
              </a:cxn>
              <a:cxn ang="0">
                <a:pos x="0" y="225"/>
              </a:cxn>
              <a:cxn ang="0">
                <a:pos x="387" y="0"/>
              </a:cxn>
              <a:cxn ang="0">
                <a:pos x="387" y="407"/>
              </a:cxn>
              <a:cxn ang="0">
                <a:pos x="377" y="436"/>
              </a:cxn>
              <a:cxn ang="0">
                <a:pos x="377" y="436"/>
              </a:cxn>
              <a:cxn ang="0">
                <a:pos x="387" y="410"/>
              </a:cxn>
              <a:cxn ang="0">
                <a:pos x="387" y="0"/>
              </a:cxn>
            </a:cxnLst>
            <a:rect l="0" t="0" r="r" b="b"/>
            <a:pathLst>
              <a:path w="387" h="436">
                <a:moveTo>
                  <a:pt x="387" y="0"/>
                </a:moveTo>
                <a:lnTo>
                  <a:pt x="0" y="221"/>
                </a:lnTo>
                <a:lnTo>
                  <a:pt x="0" y="225"/>
                </a:lnTo>
                <a:lnTo>
                  <a:pt x="387" y="0"/>
                </a:lnTo>
                <a:lnTo>
                  <a:pt x="387" y="407"/>
                </a:lnTo>
                <a:lnTo>
                  <a:pt x="377" y="436"/>
                </a:lnTo>
                <a:lnTo>
                  <a:pt x="377" y="436"/>
                </a:lnTo>
                <a:lnTo>
                  <a:pt x="387" y="410"/>
                </a:lnTo>
                <a:lnTo>
                  <a:pt x="387" y="0"/>
                </a:lnTo>
                <a:close/>
              </a:path>
            </a:pathLst>
          </a:custGeom>
          <a:solidFill>
            <a:srgbClr val="25000B"/>
          </a:solid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48" name="Freeform 38"/>
          <p:cNvSpPr>
            <a:spLocks/>
          </p:cNvSpPr>
          <p:nvPr userDrawn="1"/>
        </p:nvSpPr>
        <p:spPr bwMode="auto">
          <a:xfrm>
            <a:off x="2608385" y="4682141"/>
            <a:ext cx="567104" cy="526002"/>
          </a:xfrm>
          <a:custGeom>
            <a:avLst/>
            <a:gdLst/>
            <a:ahLst/>
            <a:cxnLst>
              <a:cxn ang="0">
                <a:pos x="387" y="0"/>
              </a:cxn>
              <a:cxn ang="0">
                <a:pos x="0" y="221"/>
              </a:cxn>
              <a:cxn ang="0">
                <a:pos x="0" y="225"/>
              </a:cxn>
              <a:cxn ang="0">
                <a:pos x="387" y="0"/>
              </a:cxn>
              <a:cxn ang="0">
                <a:pos x="387" y="407"/>
              </a:cxn>
              <a:cxn ang="0">
                <a:pos x="377" y="436"/>
              </a:cxn>
              <a:cxn ang="0">
                <a:pos x="377" y="436"/>
              </a:cxn>
              <a:cxn ang="0">
                <a:pos x="387" y="410"/>
              </a:cxn>
              <a:cxn ang="0">
                <a:pos x="387" y="0"/>
              </a:cxn>
            </a:cxnLst>
            <a:rect l="0" t="0" r="r" b="b"/>
            <a:pathLst>
              <a:path w="387" h="436">
                <a:moveTo>
                  <a:pt x="387" y="0"/>
                </a:moveTo>
                <a:lnTo>
                  <a:pt x="0" y="221"/>
                </a:lnTo>
                <a:lnTo>
                  <a:pt x="0" y="225"/>
                </a:lnTo>
                <a:lnTo>
                  <a:pt x="387" y="0"/>
                </a:lnTo>
                <a:lnTo>
                  <a:pt x="387" y="407"/>
                </a:lnTo>
                <a:lnTo>
                  <a:pt x="377" y="436"/>
                </a:lnTo>
                <a:lnTo>
                  <a:pt x="377" y="436"/>
                </a:lnTo>
                <a:lnTo>
                  <a:pt x="387" y="410"/>
                </a:lnTo>
                <a:lnTo>
                  <a:pt x="387" y="0"/>
                </a:lnTo>
              </a:path>
            </a:pathLst>
          </a:custGeom>
          <a:no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49" name="Freeform 39"/>
          <p:cNvSpPr>
            <a:spLocks/>
          </p:cNvSpPr>
          <p:nvPr userDrawn="1"/>
        </p:nvSpPr>
        <p:spPr bwMode="auto">
          <a:xfrm>
            <a:off x="2608385" y="4682141"/>
            <a:ext cx="567104" cy="526002"/>
          </a:xfrm>
          <a:custGeom>
            <a:avLst/>
            <a:gdLst/>
            <a:ahLst/>
            <a:cxnLst>
              <a:cxn ang="0">
                <a:pos x="387" y="0"/>
              </a:cxn>
              <a:cxn ang="0">
                <a:pos x="0" y="225"/>
              </a:cxn>
              <a:cxn ang="0">
                <a:pos x="54" y="436"/>
              </a:cxn>
              <a:cxn ang="0">
                <a:pos x="377" y="436"/>
              </a:cxn>
              <a:cxn ang="0">
                <a:pos x="387" y="407"/>
              </a:cxn>
              <a:cxn ang="0">
                <a:pos x="387" y="0"/>
              </a:cxn>
            </a:cxnLst>
            <a:rect l="0" t="0" r="r" b="b"/>
            <a:pathLst>
              <a:path w="387" h="436">
                <a:moveTo>
                  <a:pt x="387" y="0"/>
                </a:moveTo>
                <a:lnTo>
                  <a:pt x="0" y="225"/>
                </a:lnTo>
                <a:lnTo>
                  <a:pt x="54" y="436"/>
                </a:lnTo>
                <a:lnTo>
                  <a:pt x="377" y="436"/>
                </a:lnTo>
                <a:lnTo>
                  <a:pt x="387" y="407"/>
                </a:lnTo>
                <a:lnTo>
                  <a:pt x="387" y="0"/>
                </a:lnTo>
                <a:close/>
              </a:path>
            </a:pathLst>
          </a:custGeom>
          <a:gradFill>
            <a:gsLst>
              <a:gs pos="0">
                <a:srgbClr val="65394F"/>
              </a:gs>
              <a:gs pos="100000">
                <a:srgbClr val="65394F">
                  <a:alpha val="78000"/>
                </a:srgbClr>
              </a:gs>
            </a:gsLst>
            <a:lin ang="16800000" scaled="0"/>
          </a:grad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50" name="Freeform 40"/>
          <p:cNvSpPr>
            <a:spLocks/>
          </p:cNvSpPr>
          <p:nvPr userDrawn="1"/>
        </p:nvSpPr>
        <p:spPr bwMode="auto">
          <a:xfrm>
            <a:off x="2608385" y="4682141"/>
            <a:ext cx="567104" cy="526002"/>
          </a:xfrm>
          <a:custGeom>
            <a:avLst/>
            <a:gdLst/>
            <a:ahLst/>
            <a:cxnLst>
              <a:cxn ang="0">
                <a:pos x="387" y="0"/>
              </a:cxn>
              <a:cxn ang="0">
                <a:pos x="0" y="225"/>
              </a:cxn>
              <a:cxn ang="0">
                <a:pos x="54" y="436"/>
              </a:cxn>
              <a:cxn ang="0">
                <a:pos x="377" y="436"/>
              </a:cxn>
              <a:cxn ang="0">
                <a:pos x="387" y="407"/>
              </a:cxn>
              <a:cxn ang="0">
                <a:pos x="387" y="0"/>
              </a:cxn>
            </a:cxnLst>
            <a:rect l="0" t="0" r="r" b="b"/>
            <a:pathLst>
              <a:path w="387" h="436">
                <a:moveTo>
                  <a:pt x="387" y="0"/>
                </a:moveTo>
                <a:lnTo>
                  <a:pt x="0" y="225"/>
                </a:lnTo>
                <a:lnTo>
                  <a:pt x="54" y="436"/>
                </a:lnTo>
                <a:lnTo>
                  <a:pt x="377" y="436"/>
                </a:lnTo>
                <a:lnTo>
                  <a:pt x="387" y="407"/>
                </a:lnTo>
                <a:lnTo>
                  <a:pt x="387" y="0"/>
                </a:lnTo>
              </a:path>
            </a:pathLst>
          </a:custGeom>
          <a:noFill/>
          <a:ln w="9525">
            <a:noFill/>
            <a:round/>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51" name="Freeform 5"/>
          <p:cNvSpPr>
            <a:spLocks/>
          </p:cNvSpPr>
          <p:nvPr userDrawn="1"/>
        </p:nvSpPr>
        <p:spPr bwMode="auto">
          <a:xfrm>
            <a:off x="776894" y="3268211"/>
            <a:ext cx="2397129" cy="1416345"/>
          </a:xfrm>
          <a:custGeom>
            <a:avLst/>
            <a:gdLst>
              <a:gd name="connsiteX0" fmla="*/ 10094 w 10094"/>
              <a:gd name="connsiteY0" fmla="*/ 10000 h 10000"/>
              <a:gd name="connsiteX1" fmla="*/ 0 w 10094"/>
              <a:gd name="connsiteY1" fmla="*/ 1660 h 10000"/>
              <a:gd name="connsiteX2" fmla="*/ 5571 w 10094"/>
              <a:gd name="connsiteY2" fmla="*/ 0 h 10000"/>
              <a:gd name="connsiteX3" fmla="*/ 10094 w 10094"/>
              <a:gd name="connsiteY3" fmla="*/ 2700 h 10000"/>
              <a:gd name="connsiteX4" fmla="*/ 10094 w 10094"/>
              <a:gd name="connsiteY4" fmla="*/ 10000 h 10000"/>
              <a:gd name="connsiteX0" fmla="*/ 10115 w 10115"/>
              <a:gd name="connsiteY0" fmla="*/ 10000 h 10000"/>
              <a:gd name="connsiteX1" fmla="*/ 0 w 10115"/>
              <a:gd name="connsiteY1" fmla="*/ 1662 h 10000"/>
              <a:gd name="connsiteX2" fmla="*/ 5592 w 10115"/>
              <a:gd name="connsiteY2" fmla="*/ 0 h 10000"/>
              <a:gd name="connsiteX3" fmla="*/ 10115 w 10115"/>
              <a:gd name="connsiteY3" fmla="*/ 2700 h 10000"/>
              <a:gd name="connsiteX4" fmla="*/ 10115 w 10115"/>
              <a:gd name="connsiteY4" fmla="*/ 10000 h 10000"/>
              <a:gd name="connsiteX0" fmla="*/ 10005 w 10005"/>
              <a:gd name="connsiteY0" fmla="*/ 10000 h 10000"/>
              <a:gd name="connsiteX1" fmla="*/ 0 w 10005"/>
              <a:gd name="connsiteY1" fmla="*/ 1636 h 10000"/>
              <a:gd name="connsiteX2" fmla="*/ 5482 w 10005"/>
              <a:gd name="connsiteY2" fmla="*/ 0 h 10000"/>
              <a:gd name="connsiteX3" fmla="*/ 10005 w 10005"/>
              <a:gd name="connsiteY3" fmla="*/ 2700 h 10000"/>
              <a:gd name="connsiteX4" fmla="*/ 10005 w 10005"/>
              <a:gd name="connsiteY4" fmla="*/ 10000 h 10000"/>
              <a:gd name="connsiteX0" fmla="*/ 9999 w 9999"/>
              <a:gd name="connsiteY0" fmla="*/ 10000 h 10000"/>
              <a:gd name="connsiteX1" fmla="*/ 0 w 9999"/>
              <a:gd name="connsiteY1" fmla="*/ 1587 h 10000"/>
              <a:gd name="connsiteX2" fmla="*/ 5476 w 9999"/>
              <a:gd name="connsiteY2" fmla="*/ 0 h 10000"/>
              <a:gd name="connsiteX3" fmla="*/ 9999 w 9999"/>
              <a:gd name="connsiteY3" fmla="*/ 2700 h 10000"/>
              <a:gd name="connsiteX4" fmla="*/ 9999 w 9999"/>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99" h="10000">
                <a:moveTo>
                  <a:pt x="9999" y="10000"/>
                </a:moveTo>
                <a:lnTo>
                  <a:pt x="0" y="1587"/>
                </a:lnTo>
                <a:lnTo>
                  <a:pt x="5476" y="0"/>
                </a:lnTo>
                <a:lnTo>
                  <a:pt x="9999" y="2700"/>
                </a:lnTo>
                <a:lnTo>
                  <a:pt x="9999" y="10000"/>
                </a:lnTo>
                <a:close/>
              </a:path>
            </a:pathLst>
          </a:custGeom>
          <a:solidFill>
            <a:schemeClr val="tx2">
              <a:alpha val="18000"/>
            </a:schemeClr>
          </a:solidFill>
          <a:ln w="15875" cap="flat">
            <a:noFill/>
            <a:prstDash val="solid"/>
            <a:miter lim="800000"/>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en-GB" sz="1800" dirty="0">
              <a:solidFill>
                <a:srgbClr val="000000"/>
              </a:solidFill>
              <a:cs typeface="Arial" charset="0"/>
            </a:endParaRPr>
          </a:p>
        </p:txBody>
      </p:sp>
      <p:sp>
        <p:nvSpPr>
          <p:cNvPr id="52" name="Freeform 6"/>
          <p:cNvSpPr>
            <a:spLocks/>
          </p:cNvSpPr>
          <p:nvPr userDrawn="1"/>
        </p:nvSpPr>
        <p:spPr bwMode="auto">
          <a:xfrm>
            <a:off x="1707172" y="3268210"/>
            <a:ext cx="961292" cy="1939934"/>
          </a:xfrm>
          <a:custGeom>
            <a:avLst/>
            <a:gdLst/>
            <a:ahLst/>
            <a:cxnLst>
              <a:cxn ang="0">
                <a:pos x="258" y="0"/>
              </a:cxn>
              <a:cxn ang="0">
                <a:pos x="0" y="1608"/>
              </a:cxn>
              <a:cxn ang="0">
                <a:pos x="656" y="1608"/>
              </a:cxn>
              <a:cxn ang="0">
                <a:pos x="258" y="0"/>
              </a:cxn>
            </a:cxnLst>
            <a:rect l="0" t="0" r="r" b="b"/>
            <a:pathLst>
              <a:path w="656" h="1608">
                <a:moveTo>
                  <a:pt x="258" y="0"/>
                </a:moveTo>
                <a:lnTo>
                  <a:pt x="0" y="1608"/>
                </a:lnTo>
                <a:lnTo>
                  <a:pt x="656" y="1608"/>
                </a:lnTo>
                <a:lnTo>
                  <a:pt x="258" y="0"/>
                </a:lnTo>
                <a:close/>
              </a:path>
            </a:pathLst>
          </a:custGeom>
          <a:solidFill>
            <a:schemeClr val="tx2">
              <a:alpha val="18000"/>
            </a:schemeClr>
          </a:solidFill>
          <a:ln w="15875" cap="flat">
            <a:noFill/>
            <a:prstDash val="solid"/>
            <a:miter lim="800000"/>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en-GB" sz="1800" dirty="0">
              <a:solidFill>
                <a:srgbClr val="000000"/>
              </a:solidFill>
              <a:cs typeface="Arial" charset="0"/>
            </a:endParaRPr>
          </a:p>
        </p:txBody>
      </p:sp>
      <p:sp>
        <p:nvSpPr>
          <p:cNvPr id="53" name="Freeform 7"/>
          <p:cNvSpPr>
            <a:spLocks/>
          </p:cNvSpPr>
          <p:nvPr userDrawn="1"/>
        </p:nvSpPr>
        <p:spPr bwMode="auto">
          <a:xfrm>
            <a:off x="2089637" y="3268210"/>
            <a:ext cx="1084385" cy="1939934"/>
          </a:xfrm>
          <a:custGeom>
            <a:avLst/>
            <a:gdLst/>
            <a:ahLst/>
            <a:cxnLst>
              <a:cxn ang="0">
                <a:pos x="0" y="0"/>
              </a:cxn>
              <a:cxn ang="0">
                <a:pos x="401" y="1608"/>
              </a:cxn>
              <a:cxn ang="0">
                <a:pos x="740" y="1608"/>
              </a:cxn>
              <a:cxn ang="0">
                <a:pos x="740" y="1174"/>
              </a:cxn>
              <a:cxn ang="0">
                <a:pos x="0" y="0"/>
              </a:cxn>
            </a:cxnLst>
            <a:rect l="0" t="0" r="r" b="b"/>
            <a:pathLst>
              <a:path w="740" h="1608">
                <a:moveTo>
                  <a:pt x="0" y="0"/>
                </a:moveTo>
                <a:lnTo>
                  <a:pt x="401" y="1608"/>
                </a:lnTo>
                <a:lnTo>
                  <a:pt x="740" y="1608"/>
                </a:lnTo>
                <a:lnTo>
                  <a:pt x="740" y="1174"/>
                </a:lnTo>
                <a:lnTo>
                  <a:pt x="0" y="0"/>
                </a:lnTo>
                <a:close/>
              </a:path>
            </a:pathLst>
          </a:custGeom>
          <a:solidFill>
            <a:schemeClr val="tx2">
              <a:alpha val="18000"/>
            </a:schemeClr>
          </a:solidFill>
          <a:ln w="15875" cap="flat">
            <a:noFill/>
            <a:prstDash val="solid"/>
            <a:miter lim="800000"/>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en-GB" sz="1800" dirty="0">
              <a:solidFill>
                <a:srgbClr val="000000"/>
              </a:solidFill>
              <a:cs typeface="Arial" charset="0"/>
            </a:endParaRPr>
          </a:p>
        </p:txBody>
      </p:sp>
      <p:sp>
        <p:nvSpPr>
          <p:cNvPr id="54" name="Freeform 8"/>
          <p:cNvSpPr>
            <a:spLocks/>
          </p:cNvSpPr>
          <p:nvPr userDrawn="1"/>
        </p:nvSpPr>
        <p:spPr bwMode="auto">
          <a:xfrm>
            <a:off x="768660" y="3496380"/>
            <a:ext cx="2400965" cy="1188174"/>
          </a:xfrm>
          <a:custGeom>
            <a:avLst/>
            <a:gdLst>
              <a:gd name="connsiteX0" fmla="*/ 10003 w 10003"/>
              <a:gd name="connsiteY0" fmla="*/ 6389 h 10109"/>
              <a:gd name="connsiteX1" fmla="*/ 0 w 10003"/>
              <a:gd name="connsiteY1" fmla="*/ 0 h 10109"/>
              <a:gd name="connsiteX2" fmla="*/ 10003 w 10003"/>
              <a:gd name="connsiteY2" fmla="*/ 10109 h 10109"/>
              <a:gd name="connsiteX3" fmla="*/ 10003 w 10003"/>
              <a:gd name="connsiteY3" fmla="*/ 6389 h 10109"/>
              <a:gd name="connsiteX0" fmla="*/ 10006 w 10006"/>
              <a:gd name="connsiteY0" fmla="*/ 6356 h 10076"/>
              <a:gd name="connsiteX1" fmla="*/ 0 w 10006"/>
              <a:gd name="connsiteY1" fmla="*/ 0 h 10076"/>
              <a:gd name="connsiteX2" fmla="*/ 10006 w 10006"/>
              <a:gd name="connsiteY2" fmla="*/ 10076 h 10076"/>
              <a:gd name="connsiteX3" fmla="*/ 10006 w 10006"/>
              <a:gd name="connsiteY3" fmla="*/ 6356 h 10076"/>
              <a:gd name="connsiteX0" fmla="*/ 10015 w 10015"/>
              <a:gd name="connsiteY0" fmla="*/ 6402 h 10122"/>
              <a:gd name="connsiteX1" fmla="*/ 0 w 10015"/>
              <a:gd name="connsiteY1" fmla="*/ 0 h 10122"/>
              <a:gd name="connsiteX2" fmla="*/ 10015 w 10015"/>
              <a:gd name="connsiteY2" fmla="*/ 10122 h 10122"/>
              <a:gd name="connsiteX3" fmla="*/ 10015 w 10015"/>
              <a:gd name="connsiteY3" fmla="*/ 6402 h 10122"/>
            </a:gdLst>
            <a:ahLst/>
            <a:cxnLst>
              <a:cxn ang="0">
                <a:pos x="connsiteX0" y="connsiteY0"/>
              </a:cxn>
              <a:cxn ang="0">
                <a:pos x="connsiteX1" y="connsiteY1"/>
              </a:cxn>
              <a:cxn ang="0">
                <a:pos x="connsiteX2" y="connsiteY2"/>
              </a:cxn>
              <a:cxn ang="0">
                <a:pos x="connsiteX3" y="connsiteY3"/>
              </a:cxn>
            </a:cxnLst>
            <a:rect l="l" t="t" r="r" b="b"/>
            <a:pathLst>
              <a:path w="10015" h="10122">
                <a:moveTo>
                  <a:pt x="10015" y="6402"/>
                </a:moveTo>
                <a:lnTo>
                  <a:pt x="0" y="0"/>
                </a:lnTo>
                <a:lnTo>
                  <a:pt x="10015" y="10122"/>
                </a:lnTo>
                <a:lnTo>
                  <a:pt x="10015" y="6402"/>
                </a:lnTo>
                <a:close/>
              </a:path>
            </a:pathLst>
          </a:custGeom>
          <a:gradFill>
            <a:gsLst>
              <a:gs pos="0">
                <a:srgbClr val="602A43">
                  <a:alpha val="88000"/>
                </a:srgbClr>
              </a:gs>
              <a:gs pos="100000">
                <a:srgbClr val="602A43"/>
              </a:gs>
              <a:gs pos="24000">
                <a:schemeClr val="accent2">
                  <a:alpha val="25000"/>
                </a:schemeClr>
              </a:gs>
            </a:gsLst>
            <a:lin ang="5400000" scaled="0"/>
          </a:gradFill>
          <a:ln w="15875" cap="flat">
            <a:noFill/>
            <a:prstDash val="solid"/>
            <a:miter lim="800000"/>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en-GB" sz="1800" dirty="0">
              <a:solidFill>
                <a:srgbClr val="000000"/>
              </a:solidFill>
              <a:cs typeface="Arial" charset="0"/>
            </a:endParaRPr>
          </a:p>
        </p:txBody>
      </p:sp>
      <p:sp>
        <p:nvSpPr>
          <p:cNvPr id="55" name="Freeform 9"/>
          <p:cNvSpPr>
            <a:spLocks/>
          </p:cNvSpPr>
          <p:nvPr userDrawn="1"/>
        </p:nvSpPr>
        <p:spPr bwMode="auto">
          <a:xfrm>
            <a:off x="-13190" y="2019560"/>
            <a:ext cx="2381086" cy="1955617"/>
          </a:xfrm>
          <a:custGeom>
            <a:avLst/>
            <a:gdLst>
              <a:gd name="connsiteX0" fmla="*/ 0 w 10055"/>
              <a:gd name="connsiteY0" fmla="*/ 10000 h 10000"/>
              <a:gd name="connsiteX1" fmla="*/ 10055 w 10055"/>
              <a:gd name="connsiteY1" fmla="*/ 2441 h 10000"/>
              <a:gd name="connsiteX2" fmla="*/ 7215 w 10055"/>
              <a:gd name="connsiteY2" fmla="*/ 0 h 10000"/>
              <a:gd name="connsiteX3" fmla="*/ 0 w 10055"/>
              <a:gd name="connsiteY3" fmla="*/ 8957 h 10000"/>
              <a:gd name="connsiteX4" fmla="*/ 0 w 10055"/>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5" h="10000">
                <a:moveTo>
                  <a:pt x="0" y="10000"/>
                </a:moveTo>
                <a:lnTo>
                  <a:pt x="10055" y="2441"/>
                </a:lnTo>
                <a:lnTo>
                  <a:pt x="7215" y="0"/>
                </a:lnTo>
                <a:lnTo>
                  <a:pt x="0" y="8957"/>
                </a:lnTo>
                <a:lnTo>
                  <a:pt x="0" y="10000"/>
                </a:lnTo>
                <a:close/>
              </a:path>
            </a:pathLst>
          </a:custGeom>
          <a:solidFill>
            <a:schemeClr val="tx2">
              <a:alpha val="18000"/>
            </a:schemeClr>
          </a:solidFill>
          <a:ln w="15875" cap="flat">
            <a:noFill/>
            <a:prstDash val="solid"/>
            <a:miter lim="800000"/>
            <a:headEnd/>
            <a:tailEnd/>
          </a:ln>
        </p:spPr>
        <p:txBody>
          <a:bodyPr vert="horz" wrap="square" lIns="78292" tIns="39146" rIns="78292" bIns="39146" numCol="1" anchor="t" anchorCtr="0" compatLnSpc="1">
            <a:prstTxWarp prst="textNoShape">
              <a:avLst/>
            </a:prstTxWarp>
          </a:bodyPr>
          <a:lstStyle/>
          <a:p>
            <a:pPr defTabSz="914310" fontAlgn="base">
              <a:spcBef>
                <a:spcPct val="0"/>
              </a:spcBef>
              <a:spcAft>
                <a:spcPct val="0"/>
              </a:spcAft>
            </a:pPr>
            <a:endParaRPr lang="en-GB" sz="1800" dirty="0">
              <a:solidFill>
                <a:srgbClr val="000000"/>
              </a:solidFill>
              <a:cs typeface="Arial" charset="0"/>
            </a:endParaRPr>
          </a:p>
        </p:txBody>
      </p:sp>
      <p:grpSp>
        <p:nvGrpSpPr>
          <p:cNvPr id="56" name="Group 55"/>
          <p:cNvGrpSpPr/>
          <p:nvPr userDrawn="1"/>
        </p:nvGrpSpPr>
        <p:grpSpPr>
          <a:xfrm>
            <a:off x="-14806" y="1927953"/>
            <a:ext cx="3196976" cy="3280739"/>
            <a:chOff x="4813028" y="1891490"/>
            <a:chExt cx="3467373" cy="4321986"/>
          </a:xfrm>
        </p:grpSpPr>
        <p:sp>
          <p:nvSpPr>
            <p:cNvPr id="57" name="Line 45"/>
            <p:cNvSpPr>
              <a:spLocks noChangeShapeType="1"/>
            </p:cNvSpPr>
            <p:nvPr/>
          </p:nvSpPr>
          <p:spPr bwMode="auto">
            <a:xfrm flipH="1" flipV="1">
              <a:off x="4930776" y="2887663"/>
              <a:ext cx="2292350" cy="3325813"/>
            </a:xfrm>
            <a:prstGeom prst="line">
              <a:avLst/>
            </a:prstGeom>
            <a:no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58" name="Freeform 46"/>
            <p:cNvSpPr>
              <a:spLocks/>
            </p:cNvSpPr>
            <p:nvPr/>
          </p:nvSpPr>
          <p:spPr bwMode="auto">
            <a:xfrm>
              <a:off x="6670676" y="1968501"/>
              <a:ext cx="1609725" cy="4244975"/>
            </a:xfrm>
            <a:custGeom>
              <a:avLst/>
              <a:gdLst/>
              <a:ahLst/>
              <a:cxnLst>
                <a:cxn ang="0">
                  <a:pos x="1014" y="1581"/>
                </a:cxn>
                <a:cxn ang="0">
                  <a:pos x="0" y="0"/>
                </a:cxn>
                <a:cxn ang="0">
                  <a:pos x="666" y="2674"/>
                </a:cxn>
              </a:cxnLst>
              <a:rect l="0" t="0" r="r" b="b"/>
              <a:pathLst>
                <a:path w="1014" h="2674">
                  <a:moveTo>
                    <a:pt x="1014" y="1581"/>
                  </a:moveTo>
                  <a:lnTo>
                    <a:pt x="0" y="0"/>
                  </a:lnTo>
                  <a:lnTo>
                    <a:pt x="666" y="2674"/>
                  </a:lnTo>
                </a:path>
              </a:pathLst>
            </a:custGeom>
            <a:no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59" name="Freeform 47"/>
            <p:cNvSpPr>
              <a:spLocks/>
            </p:cNvSpPr>
            <p:nvPr/>
          </p:nvSpPr>
          <p:spPr bwMode="auto">
            <a:xfrm>
              <a:off x="4834074" y="2011308"/>
              <a:ext cx="3432206" cy="1020887"/>
            </a:xfrm>
            <a:custGeom>
              <a:avLst/>
              <a:gdLst>
                <a:gd name="connsiteX0" fmla="*/ 0 w 10000"/>
                <a:gd name="connsiteY0" fmla="*/ 6783 h 10000"/>
                <a:gd name="connsiteX1" fmla="*/ 344 w 10000"/>
                <a:gd name="connsiteY1" fmla="*/ 8400 h 10000"/>
                <a:gd name="connsiteX2" fmla="*/ 5357 w 10000"/>
                <a:gd name="connsiteY2" fmla="*/ 0 h 10000"/>
                <a:gd name="connsiteX3" fmla="*/ 10000 w 10000"/>
                <a:gd name="connsiteY3" fmla="*/ 10000 h 10000"/>
                <a:gd name="connsiteX0" fmla="*/ 0 w 10000"/>
                <a:gd name="connsiteY0" fmla="*/ 6392 h 9609"/>
                <a:gd name="connsiteX1" fmla="*/ 344 w 10000"/>
                <a:gd name="connsiteY1" fmla="*/ 8009 h 9609"/>
                <a:gd name="connsiteX2" fmla="*/ 5368 w 10000"/>
                <a:gd name="connsiteY2" fmla="*/ 0 h 9609"/>
                <a:gd name="connsiteX3" fmla="*/ 10000 w 10000"/>
                <a:gd name="connsiteY3" fmla="*/ 9609 h 9609"/>
                <a:gd name="connsiteX0" fmla="*/ 0 w 10000"/>
                <a:gd name="connsiteY0" fmla="*/ 6622 h 9970"/>
                <a:gd name="connsiteX1" fmla="*/ 344 w 10000"/>
                <a:gd name="connsiteY1" fmla="*/ 8305 h 9970"/>
                <a:gd name="connsiteX2" fmla="*/ 5331 w 10000"/>
                <a:gd name="connsiteY2" fmla="*/ 0 h 9970"/>
                <a:gd name="connsiteX3" fmla="*/ 10000 w 10000"/>
                <a:gd name="connsiteY3" fmla="*/ 9970 h 9970"/>
                <a:gd name="connsiteX0" fmla="*/ 0 w 9977"/>
                <a:gd name="connsiteY0" fmla="*/ 6652 h 10000"/>
                <a:gd name="connsiteX1" fmla="*/ 321 w 9977"/>
                <a:gd name="connsiteY1" fmla="*/ 8330 h 10000"/>
                <a:gd name="connsiteX2" fmla="*/ 5308 w 9977"/>
                <a:gd name="connsiteY2" fmla="*/ 0 h 10000"/>
                <a:gd name="connsiteX3" fmla="*/ 9977 w 9977"/>
                <a:gd name="connsiteY3" fmla="*/ 10000 h 10000"/>
                <a:gd name="connsiteX0" fmla="*/ 0 w 10000"/>
                <a:gd name="connsiteY0" fmla="*/ 6652 h 10000"/>
                <a:gd name="connsiteX1" fmla="*/ 337 w 10000"/>
                <a:gd name="connsiteY1" fmla="*/ 8249 h 10000"/>
                <a:gd name="connsiteX2" fmla="*/ 5320 w 10000"/>
                <a:gd name="connsiteY2" fmla="*/ 0 h 10000"/>
                <a:gd name="connsiteX3" fmla="*/ 10000 w 10000"/>
                <a:gd name="connsiteY3" fmla="*/ 10000 h 10000"/>
                <a:gd name="connsiteX0" fmla="*/ 0 w 9963"/>
                <a:gd name="connsiteY0" fmla="*/ 6521 h 10000"/>
                <a:gd name="connsiteX1" fmla="*/ 300 w 9963"/>
                <a:gd name="connsiteY1" fmla="*/ 8249 h 10000"/>
                <a:gd name="connsiteX2" fmla="*/ 5283 w 9963"/>
                <a:gd name="connsiteY2" fmla="*/ 0 h 10000"/>
                <a:gd name="connsiteX3" fmla="*/ 9963 w 9963"/>
                <a:gd name="connsiteY3" fmla="*/ 10000 h 10000"/>
                <a:gd name="connsiteX0" fmla="*/ 0 w 10000"/>
                <a:gd name="connsiteY0" fmla="*/ 6521 h 10000"/>
                <a:gd name="connsiteX1" fmla="*/ 301 w 10000"/>
                <a:gd name="connsiteY1" fmla="*/ 8249 h 10000"/>
                <a:gd name="connsiteX2" fmla="*/ 5303 w 10000"/>
                <a:gd name="connsiteY2" fmla="*/ 0 h 10000"/>
                <a:gd name="connsiteX3" fmla="*/ 10000 w 10000"/>
                <a:gd name="connsiteY3" fmla="*/ 10000 h 10000"/>
                <a:gd name="connsiteX0" fmla="*/ 0 w 10000"/>
                <a:gd name="connsiteY0" fmla="*/ 6521 h 10000"/>
                <a:gd name="connsiteX1" fmla="*/ 316 w 10000"/>
                <a:gd name="connsiteY1" fmla="*/ 8259 h 10000"/>
                <a:gd name="connsiteX2" fmla="*/ 5303 w 10000"/>
                <a:gd name="connsiteY2" fmla="*/ 0 h 10000"/>
                <a:gd name="connsiteX3" fmla="*/ 10000 w 10000"/>
                <a:gd name="connsiteY3" fmla="*/ 10000 h 10000"/>
                <a:gd name="connsiteX0" fmla="*/ 0 w 10000"/>
                <a:gd name="connsiteY0" fmla="*/ 6521 h 10000"/>
                <a:gd name="connsiteX1" fmla="*/ 316 w 10000"/>
                <a:gd name="connsiteY1" fmla="*/ 8259 h 10000"/>
                <a:gd name="connsiteX2" fmla="*/ 5303 w 10000"/>
                <a:gd name="connsiteY2" fmla="*/ 0 h 10000"/>
                <a:gd name="connsiteX3" fmla="*/ 10000 w 10000"/>
                <a:gd name="connsiteY3" fmla="*/ 10000 h 10000"/>
                <a:gd name="connsiteX0" fmla="*/ 0 w 10000"/>
                <a:gd name="connsiteY0" fmla="*/ 6521 h 10000"/>
                <a:gd name="connsiteX1" fmla="*/ 316 w 10000"/>
                <a:gd name="connsiteY1" fmla="*/ 8259 h 10000"/>
                <a:gd name="connsiteX2" fmla="*/ 5303 w 10000"/>
                <a:gd name="connsiteY2" fmla="*/ 0 h 10000"/>
                <a:gd name="connsiteX3" fmla="*/ 10000 w 10000"/>
                <a:gd name="connsiteY3" fmla="*/ 10000 h 10000"/>
                <a:gd name="connsiteX0" fmla="*/ 0 w 9966"/>
                <a:gd name="connsiteY0" fmla="*/ 6521 h 9796"/>
                <a:gd name="connsiteX1" fmla="*/ 316 w 9966"/>
                <a:gd name="connsiteY1" fmla="*/ 8259 h 9796"/>
                <a:gd name="connsiteX2" fmla="*/ 5303 w 9966"/>
                <a:gd name="connsiteY2" fmla="*/ 0 h 9796"/>
                <a:gd name="connsiteX3" fmla="*/ 9966 w 9966"/>
                <a:gd name="connsiteY3" fmla="*/ 9796 h 9796"/>
                <a:gd name="connsiteX0" fmla="*/ 0 w 9993"/>
                <a:gd name="connsiteY0" fmla="*/ 6657 h 9931"/>
                <a:gd name="connsiteX1" fmla="*/ 317 w 9993"/>
                <a:gd name="connsiteY1" fmla="*/ 8431 h 9931"/>
                <a:gd name="connsiteX2" fmla="*/ 5321 w 9993"/>
                <a:gd name="connsiteY2" fmla="*/ 0 h 9931"/>
                <a:gd name="connsiteX3" fmla="*/ 9993 w 9993"/>
                <a:gd name="connsiteY3" fmla="*/ 9931 h 9931"/>
              </a:gdLst>
              <a:ahLst/>
              <a:cxnLst>
                <a:cxn ang="0">
                  <a:pos x="connsiteX0" y="connsiteY0"/>
                </a:cxn>
                <a:cxn ang="0">
                  <a:pos x="connsiteX1" y="connsiteY1"/>
                </a:cxn>
                <a:cxn ang="0">
                  <a:pos x="connsiteX2" y="connsiteY2"/>
                </a:cxn>
                <a:cxn ang="0">
                  <a:pos x="connsiteX3" y="connsiteY3"/>
                </a:cxn>
              </a:cxnLst>
              <a:rect l="l" t="t" r="r" b="b"/>
              <a:pathLst>
                <a:path w="9993" h="9931">
                  <a:moveTo>
                    <a:pt x="0" y="6657"/>
                  </a:moveTo>
                  <a:cubicBezTo>
                    <a:pt x="14" y="6613"/>
                    <a:pt x="201" y="7856"/>
                    <a:pt x="317" y="8431"/>
                  </a:cubicBezTo>
                  <a:lnTo>
                    <a:pt x="5321" y="0"/>
                  </a:lnTo>
                  <a:lnTo>
                    <a:pt x="9993" y="9931"/>
                  </a:lnTo>
                </a:path>
              </a:pathLst>
            </a:custGeom>
            <a:no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60" name="Freeform 48"/>
            <p:cNvSpPr>
              <a:spLocks/>
            </p:cNvSpPr>
            <p:nvPr/>
          </p:nvSpPr>
          <p:spPr bwMode="auto">
            <a:xfrm>
              <a:off x="4852988" y="1992909"/>
              <a:ext cx="3419475" cy="3564930"/>
            </a:xfrm>
            <a:custGeom>
              <a:avLst/>
              <a:gdLst>
                <a:gd name="connsiteX0" fmla="*/ 0 w 10000"/>
                <a:gd name="connsiteY0" fmla="*/ 10137 h 10137"/>
                <a:gd name="connsiteX1" fmla="*/ 5342 w 10000"/>
                <a:gd name="connsiteY1" fmla="*/ 0 h 10137"/>
                <a:gd name="connsiteX2" fmla="*/ 10000 w 10000"/>
                <a:gd name="connsiteY2" fmla="*/ 8850 h 10137"/>
                <a:gd name="connsiteX0" fmla="*/ 0 w 10000"/>
                <a:gd name="connsiteY0" fmla="*/ 9932 h 9932"/>
                <a:gd name="connsiteX1" fmla="*/ 5307 w 10000"/>
                <a:gd name="connsiteY1" fmla="*/ 0 h 9932"/>
                <a:gd name="connsiteX2" fmla="*/ 10000 w 10000"/>
                <a:gd name="connsiteY2" fmla="*/ 8645 h 9932"/>
                <a:gd name="connsiteX0" fmla="*/ 0 w 10000"/>
                <a:gd name="connsiteY0" fmla="*/ 10000 h 10000"/>
                <a:gd name="connsiteX1" fmla="*/ 5307 w 10000"/>
                <a:gd name="connsiteY1" fmla="*/ 0 h 10000"/>
                <a:gd name="connsiteX2" fmla="*/ 10000 w 10000"/>
                <a:gd name="connsiteY2" fmla="*/ 8704 h 10000"/>
              </a:gdLst>
              <a:ahLst/>
              <a:cxnLst>
                <a:cxn ang="0">
                  <a:pos x="connsiteX0" y="connsiteY0"/>
                </a:cxn>
                <a:cxn ang="0">
                  <a:pos x="connsiteX1" y="connsiteY1"/>
                </a:cxn>
                <a:cxn ang="0">
                  <a:pos x="connsiteX2" y="connsiteY2"/>
                </a:cxn>
              </a:cxnLst>
              <a:rect l="l" t="t" r="r" b="b"/>
              <a:pathLst>
                <a:path w="10000" h="10000">
                  <a:moveTo>
                    <a:pt x="0" y="10000"/>
                  </a:moveTo>
                  <a:lnTo>
                    <a:pt x="5307" y="0"/>
                  </a:lnTo>
                  <a:lnTo>
                    <a:pt x="10000" y="8704"/>
                  </a:lnTo>
                </a:path>
              </a:pathLst>
            </a:custGeom>
            <a:no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61" name="Line 49"/>
            <p:cNvSpPr>
              <a:spLocks noChangeShapeType="1"/>
            </p:cNvSpPr>
            <p:nvPr/>
          </p:nvSpPr>
          <p:spPr bwMode="auto">
            <a:xfrm flipH="1" flipV="1">
              <a:off x="4852988" y="5557838"/>
              <a:ext cx="1150938" cy="655638"/>
            </a:xfrm>
            <a:prstGeom prst="line">
              <a:avLst/>
            </a:prstGeom>
            <a:no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62" name="Freeform 51"/>
            <p:cNvSpPr>
              <a:spLocks/>
            </p:cNvSpPr>
            <p:nvPr/>
          </p:nvSpPr>
          <p:spPr bwMode="auto">
            <a:xfrm>
              <a:off x="4872137" y="2928783"/>
              <a:ext cx="3400326" cy="2620904"/>
            </a:xfrm>
            <a:custGeom>
              <a:avLst/>
              <a:gdLst>
                <a:gd name="connsiteX0" fmla="*/ 10000 w 10000"/>
                <a:gd name="connsiteY0" fmla="*/ 5179 h 9846"/>
                <a:gd name="connsiteX1" fmla="*/ 0 w 10000"/>
                <a:gd name="connsiteY1" fmla="*/ 9846 h 9846"/>
                <a:gd name="connsiteX2" fmla="*/ 306 w 10000"/>
                <a:gd name="connsiteY2" fmla="*/ 0 h 9846"/>
                <a:gd name="connsiteX0" fmla="*/ 9944 w 9944"/>
                <a:gd name="connsiteY0" fmla="*/ 5260 h 9969"/>
                <a:gd name="connsiteX1" fmla="*/ 0 w 9944"/>
                <a:gd name="connsiteY1" fmla="*/ 9969 h 9969"/>
                <a:gd name="connsiteX2" fmla="*/ 250 w 9944"/>
                <a:gd name="connsiteY2" fmla="*/ 0 h 9969"/>
              </a:gdLst>
              <a:ahLst/>
              <a:cxnLst>
                <a:cxn ang="0">
                  <a:pos x="connsiteX0" y="connsiteY0"/>
                </a:cxn>
                <a:cxn ang="0">
                  <a:pos x="connsiteX1" y="connsiteY1"/>
                </a:cxn>
                <a:cxn ang="0">
                  <a:pos x="connsiteX2" y="connsiteY2"/>
                </a:cxn>
              </a:cxnLst>
              <a:rect l="l" t="t" r="r" b="b"/>
              <a:pathLst>
                <a:path w="9944" h="9969">
                  <a:moveTo>
                    <a:pt x="9944" y="5260"/>
                  </a:moveTo>
                  <a:lnTo>
                    <a:pt x="0" y="9969"/>
                  </a:lnTo>
                  <a:cubicBezTo>
                    <a:pt x="76" y="6584"/>
                    <a:pt x="174" y="3385"/>
                    <a:pt x="250" y="0"/>
                  </a:cubicBezTo>
                </a:path>
              </a:pathLst>
            </a:custGeom>
            <a:no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63" name="Line 58"/>
            <p:cNvSpPr>
              <a:spLocks noChangeShapeType="1"/>
            </p:cNvSpPr>
            <p:nvPr/>
          </p:nvSpPr>
          <p:spPr bwMode="auto">
            <a:xfrm>
              <a:off x="4852988" y="5557838"/>
              <a:ext cx="142875" cy="655638"/>
            </a:xfrm>
            <a:prstGeom prst="line">
              <a:avLst/>
            </a:prstGeom>
            <a:no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64" name="Line 59"/>
            <p:cNvSpPr>
              <a:spLocks noChangeShapeType="1"/>
            </p:cNvSpPr>
            <p:nvPr/>
          </p:nvSpPr>
          <p:spPr bwMode="auto">
            <a:xfrm>
              <a:off x="4852988" y="5557838"/>
              <a:ext cx="3419475" cy="26988"/>
            </a:xfrm>
            <a:prstGeom prst="line">
              <a:avLst/>
            </a:prstGeom>
            <a:noFill/>
            <a:ln w="79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14310" fontAlgn="base">
                <a:spcBef>
                  <a:spcPct val="0"/>
                </a:spcBef>
                <a:spcAft>
                  <a:spcPct val="0"/>
                </a:spcAft>
              </a:pPr>
              <a:endParaRPr lang="de-DE" sz="1800" dirty="0">
                <a:solidFill>
                  <a:srgbClr val="000000"/>
                </a:solidFill>
                <a:cs typeface="Arial" charset="0"/>
              </a:endParaRPr>
            </a:p>
          </p:txBody>
        </p:sp>
        <p:sp>
          <p:nvSpPr>
            <p:cNvPr id="65" name="Oval 64"/>
            <p:cNvSpPr>
              <a:spLocks noChangeAspect="1"/>
            </p:cNvSpPr>
            <p:nvPr/>
          </p:nvSpPr>
          <p:spPr>
            <a:xfrm>
              <a:off x="4872752" y="2796295"/>
              <a:ext cx="144020" cy="14402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310" fontAlgn="base">
                <a:lnSpc>
                  <a:spcPct val="90000"/>
                </a:lnSpc>
                <a:spcAft>
                  <a:spcPct val="0"/>
                </a:spcAft>
              </a:pPr>
              <a:endParaRPr lang="de-DE" sz="1200" dirty="0" err="1">
                <a:solidFill>
                  <a:srgbClr val="000000"/>
                </a:solidFill>
              </a:endParaRPr>
            </a:p>
          </p:txBody>
        </p:sp>
        <p:sp>
          <p:nvSpPr>
            <p:cNvPr id="66" name="Oval 65"/>
            <p:cNvSpPr>
              <a:spLocks noChangeAspect="1"/>
            </p:cNvSpPr>
            <p:nvPr/>
          </p:nvSpPr>
          <p:spPr>
            <a:xfrm>
              <a:off x="6571802" y="1891490"/>
              <a:ext cx="180000" cy="18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310" fontAlgn="base">
                <a:lnSpc>
                  <a:spcPct val="90000"/>
                </a:lnSpc>
                <a:spcAft>
                  <a:spcPct val="0"/>
                </a:spcAft>
              </a:pPr>
              <a:endParaRPr lang="de-DE" sz="1200" dirty="0" err="1">
                <a:solidFill>
                  <a:srgbClr val="000000"/>
                </a:solidFill>
              </a:endParaRPr>
            </a:p>
          </p:txBody>
        </p:sp>
        <p:sp>
          <p:nvSpPr>
            <p:cNvPr id="67" name="Oval 66"/>
            <p:cNvSpPr>
              <a:spLocks noChangeAspect="1"/>
            </p:cNvSpPr>
            <p:nvPr/>
          </p:nvSpPr>
          <p:spPr>
            <a:xfrm>
              <a:off x="6337666" y="4941210"/>
              <a:ext cx="108000" cy="108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310" fontAlgn="base">
                <a:lnSpc>
                  <a:spcPct val="90000"/>
                </a:lnSpc>
                <a:spcAft>
                  <a:spcPct val="0"/>
                </a:spcAft>
              </a:pPr>
              <a:endParaRPr lang="de-DE" sz="1200" dirty="0" err="1">
                <a:solidFill>
                  <a:srgbClr val="000000"/>
                </a:solidFill>
              </a:endParaRPr>
            </a:p>
          </p:txBody>
        </p:sp>
        <p:sp>
          <p:nvSpPr>
            <p:cNvPr id="70" name="Oval 69"/>
            <p:cNvSpPr>
              <a:spLocks noChangeAspect="1"/>
            </p:cNvSpPr>
            <p:nvPr/>
          </p:nvSpPr>
          <p:spPr>
            <a:xfrm>
              <a:off x="7882828" y="4373368"/>
              <a:ext cx="108000" cy="108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310" fontAlgn="base">
                <a:lnSpc>
                  <a:spcPct val="90000"/>
                </a:lnSpc>
                <a:spcAft>
                  <a:spcPct val="0"/>
                </a:spcAft>
              </a:pPr>
              <a:endParaRPr lang="de-DE" sz="1200" dirty="0" err="1">
                <a:solidFill>
                  <a:srgbClr val="000000"/>
                </a:solidFill>
              </a:endParaRPr>
            </a:p>
          </p:txBody>
        </p:sp>
        <p:sp>
          <p:nvSpPr>
            <p:cNvPr id="71" name="Oval 70"/>
            <p:cNvSpPr>
              <a:spLocks noChangeAspect="1"/>
            </p:cNvSpPr>
            <p:nvPr/>
          </p:nvSpPr>
          <p:spPr>
            <a:xfrm>
              <a:off x="4813028" y="5505006"/>
              <a:ext cx="108000" cy="108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310" fontAlgn="base">
                <a:lnSpc>
                  <a:spcPct val="90000"/>
                </a:lnSpc>
                <a:spcAft>
                  <a:spcPct val="0"/>
                </a:spcAft>
              </a:pPr>
              <a:endParaRPr lang="de-DE" sz="1200" dirty="0" err="1">
                <a:solidFill>
                  <a:srgbClr val="000000"/>
                </a:solidFill>
              </a:endParaRPr>
            </a:p>
          </p:txBody>
        </p:sp>
      </p:grpSp>
      <p:sp>
        <p:nvSpPr>
          <p:cNvPr id="72" name="Rectangle 71"/>
          <p:cNvSpPr/>
          <p:nvPr userDrawn="1"/>
        </p:nvSpPr>
        <p:spPr>
          <a:xfrm>
            <a:off x="0" y="4560225"/>
            <a:ext cx="2495551" cy="307638"/>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896" tIns="0" rIns="123295" bIns="0" rtlCol="0" anchor="ctr"/>
          <a:lstStyle/>
          <a:p>
            <a:pPr algn="r" defTabSz="914310" fontAlgn="base">
              <a:spcBef>
                <a:spcPct val="0"/>
              </a:spcBef>
              <a:spcAft>
                <a:spcPct val="0"/>
              </a:spcAft>
            </a:pPr>
            <a:r>
              <a:rPr lang="en-US" sz="1200" dirty="0">
                <a:solidFill>
                  <a:srgbClr val="000000"/>
                </a:solidFill>
                <a:effectLst>
                  <a:outerShdw blurRad="50800" dist="25400" dir="2700000" algn="tl" rotWithShape="0">
                    <a:prstClr val="black">
                      <a:alpha val="24000"/>
                    </a:prstClr>
                  </a:outerShdw>
                </a:effectLst>
              </a:rPr>
              <a:t>Leader in Digital Transformation</a:t>
            </a:r>
          </a:p>
        </p:txBody>
      </p:sp>
    </p:spTree>
    <p:extLst>
      <p:ext uri="{BB962C8B-B14F-4D97-AF65-F5344CB8AC3E}">
        <p14:creationId xmlns:p14="http://schemas.microsoft.com/office/powerpoint/2010/main" val="2626809144"/>
      </p:ext>
    </p:extLst>
  </p:cSld>
  <p:clrMapOvr>
    <a:overrideClrMapping bg1="lt1" tx1="dk1" bg2="lt2" tx2="dk2" accent1="accent1" accent2="accent2" accent3="accent3" accent4="accent4" accent5="accent5" accent6="accent6" hlink="hlink" folHlink="folHlink"/>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_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0"/>
          <a:ext cx="135749" cy="109422"/>
        </p:xfrm>
        <a:graphic>
          <a:graphicData uri="http://schemas.openxmlformats.org/presentationml/2006/ole">
            <mc:AlternateContent xmlns:mc="http://schemas.openxmlformats.org/markup-compatibility/2006">
              <mc:Choice xmlns:v="urn:schemas-microsoft-com:vml" Requires="v">
                <p:oleObj spid="_x0000_s1543245" name="think-cell Folie" r:id="rId4" imgW="360" imgH="360" progId="">
                  <p:embed/>
                </p:oleObj>
              </mc:Choice>
              <mc:Fallback>
                <p:oleObj name="think-cell Foli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35749" cy="1094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184639" y="538880"/>
            <a:ext cx="8774723" cy="348012"/>
          </a:xfrm>
        </p:spPr>
        <p:txBody>
          <a:bodyPr/>
          <a:lstStyle>
            <a:lvl1pPr>
              <a:defRPr sz="2100"/>
            </a:lvl1pPr>
          </a:lstStyle>
          <a:p>
            <a:r>
              <a:rPr lang="en-US" noProof="0" dirty="0"/>
              <a:t>Click to edit Master title style</a:t>
            </a:r>
            <a:endParaRPr lang="en-US" dirty="0"/>
          </a:p>
        </p:txBody>
      </p:sp>
      <p:sp>
        <p:nvSpPr>
          <p:cNvPr id="9" name="Text Placeholder 8"/>
          <p:cNvSpPr>
            <a:spLocks noGrp="1"/>
          </p:cNvSpPr>
          <p:nvPr>
            <p:ph type="body" sz="quarter" idx="13"/>
          </p:nvPr>
        </p:nvSpPr>
        <p:spPr>
          <a:xfrm>
            <a:off x="184931" y="1073720"/>
            <a:ext cx="8774432" cy="3720620"/>
          </a:xfrm>
          <a:prstGeom prst="rect">
            <a:avLst/>
          </a:prstGeo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Date Placeholder 14"/>
          <p:cNvSpPr>
            <a:spLocks noGrp="1"/>
          </p:cNvSpPr>
          <p:nvPr>
            <p:ph type="dt" sz="half" idx="14"/>
          </p:nvPr>
        </p:nvSpPr>
        <p:spPr>
          <a:xfrm>
            <a:off x="6559588" y="5082552"/>
            <a:ext cx="2133600" cy="93018"/>
          </a:xfrm>
          <a:prstGeom prst="rect">
            <a:avLst/>
          </a:prstGeom>
        </p:spPr>
        <p:txBody>
          <a:bodyPr/>
          <a:lstStyle>
            <a:lvl1pPr>
              <a:defRPr/>
            </a:lvl1pPr>
          </a:lstStyle>
          <a:p>
            <a:r>
              <a:rPr lang="en-US" dirty="0">
                <a:solidFill>
                  <a:srgbClr val="CED3D8">
                    <a:lumMod val="50000"/>
                  </a:srgbClr>
                </a:solidFill>
              </a:rPr>
              <a:t>© Capgemini Consulting 2017. All rights reserved.</a:t>
            </a:r>
            <a:endParaRPr lang="de-DE" dirty="0">
              <a:solidFill>
                <a:srgbClr val="CED3D8">
                  <a:lumMod val="50000"/>
                </a:srgbClr>
              </a:solidFill>
            </a:endParaRPr>
          </a:p>
        </p:txBody>
      </p:sp>
      <p:sp>
        <p:nvSpPr>
          <p:cNvPr id="16" name="Slide Number Placeholder 15"/>
          <p:cNvSpPr>
            <a:spLocks noGrp="1"/>
          </p:cNvSpPr>
          <p:nvPr>
            <p:ph type="sldNum" sz="quarter" idx="15"/>
          </p:nvPr>
        </p:nvSpPr>
        <p:spPr>
          <a:xfrm>
            <a:off x="8791537" y="5082552"/>
            <a:ext cx="299077" cy="93018"/>
          </a:xfrm>
          <a:prstGeom prst="rect">
            <a:avLst/>
          </a:prstGeom>
        </p:spPr>
        <p:txBody>
          <a:bodyPr/>
          <a:lstStyle>
            <a:lvl1pPr>
              <a:defRPr/>
            </a:lvl1pPr>
          </a:lstStyle>
          <a:p>
            <a:fld id="{856EEAF3-4C43-4DAF-AC23-4779633883E1}" type="slidenum">
              <a:rPr lang="de-DE" smtClean="0">
                <a:solidFill>
                  <a:srgbClr val="CED3D8">
                    <a:lumMod val="50000"/>
                  </a:srgbClr>
                </a:solidFill>
              </a:rPr>
              <a:pPr/>
              <a:t>‹#›</a:t>
            </a:fld>
            <a:endParaRPr lang="de-DE" dirty="0">
              <a:solidFill>
                <a:srgbClr val="CED3D8">
                  <a:lumMod val="50000"/>
                </a:srgbClr>
              </a:solidFill>
            </a:endParaRPr>
          </a:p>
        </p:txBody>
      </p:sp>
    </p:spTree>
    <p:extLst>
      <p:ext uri="{BB962C8B-B14F-4D97-AF65-F5344CB8AC3E}">
        <p14:creationId xmlns:p14="http://schemas.microsoft.com/office/powerpoint/2010/main" val="18900338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32" Type="http://schemas.openxmlformats.org/officeDocument/2006/relationships/oleObject" Target="../embeddings/oleObject1.bin"/><Relationship Id="rId37" Type="http://schemas.openxmlformats.org/officeDocument/2006/relationships/image" Target="../media/image5.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tags" Target="../tags/tag5.xml"/><Relationship Id="rId36"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tags" Target="../tags/tag36.xml"/><Relationship Id="rId18" Type="http://schemas.openxmlformats.org/officeDocument/2006/relationships/image" Target="../media/image19.png"/><Relationship Id="rId26" Type="http://schemas.openxmlformats.org/officeDocument/2006/relationships/image" Target="../media/image23.gif"/><Relationship Id="rId3" Type="http://schemas.openxmlformats.org/officeDocument/2006/relationships/vmlDrawing" Target="../drawings/vmlDrawing15.vml"/><Relationship Id="rId21" Type="http://schemas.openxmlformats.org/officeDocument/2006/relationships/hyperlink" Target="http://www.twitter.com/capgemini" TargetMode="External"/><Relationship Id="rId7" Type="http://schemas.openxmlformats.org/officeDocument/2006/relationships/tags" Target="../tags/tag30.xml"/><Relationship Id="rId12" Type="http://schemas.openxmlformats.org/officeDocument/2006/relationships/tags" Target="../tags/tag35.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2.xml"/><Relationship Id="rId16" Type="http://schemas.openxmlformats.org/officeDocument/2006/relationships/hyperlink" Target="http://www.capgemini.com/" TargetMode="External"/><Relationship Id="rId20" Type="http://schemas.openxmlformats.org/officeDocument/2006/relationships/image" Target="../media/image20.png"/><Relationship Id="rId1" Type="http://schemas.openxmlformats.org/officeDocument/2006/relationships/slideLayout" Target="../slideLayouts/slideLayout23.xml"/><Relationship Id="rId6" Type="http://schemas.openxmlformats.org/officeDocument/2006/relationships/tags" Target="../tags/tag29.xml"/><Relationship Id="rId11" Type="http://schemas.openxmlformats.org/officeDocument/2006/relationships/tags" Target="../tags/tag34.xml"/><Relationship Id="rId24" Type="http://schemas.openxmlformats.org/officeDocument/2006/relationships/image" Target="../media/image22.png"/><Relationship Id="rId5" Type="http://schemas.openxmlformats.org/officeDocument/2006/relationships/tags" Target="../tags/tag28.xml"/><Relationship Id="rId15" Type="http://schemas.openxmlformats.org/officeDocument/2006/relationships/image" Target="../media/image1.emf"/><Relationship Id="rId23" Type="http://schemas.openxmlformats.org/officeDocument/2006/relationships/hyperlink" Target="http://www.youtube.com/capgemini" TargetMode="External"/><Relationship Id="rId28" Type="http://schemas.openxmlformats.org/officeDocument/2006/relationships/image" Target="../media/image25.png"/><Relationship Id="rId10" Type="http://schemas.openxmlformats.org/officeDocument/2006/relationships/tags" Target="../tags/tag33.xml"/><Relationship Id="rId19" Type="http://schemas.openxmlformats.org/officeDocument/2006/relationships/hyperlink" Target="http://www.linkedin.com/company/capgemini" TargetMode="Externa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oleObject" Target="../embeddings/oleObject15.bin"/><Relationship Id="rId22" Type="http://schemas.openxmlformats.org/officeDocument/2006/relationships/image" Target="../media/image21.png"/><Relationship Id="rId27" Type="http://schemas.openxmlformats.org/officeDocument/2006/relationships/image" Target="../media/image24.tif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18" Type="http://schemas.openxmlformats.org/officeDocument/2006/relationships/image" Target="../media/image28.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image" Target="../media/image27.emf"/><Relationship Id="rId2" Type="http://schemas.openxmlformats.org/officeDocument/2006/relationships/slideLayout" Target="../slideLayouts/slideLayout25.xml"/><Relationship Id="rId16" Type="http://schemas.openxmlformats.org/officeDocument/2006/relationships/oleObject" Target="../embeddings/oleObject17.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39.xml"/><Relationship Id="rId10" Type="http://schemas.openxmlformats.org/officeDocument/2006/relationships/slideLayout" Target="../slideLayouts/slideLayout33.xml"/><Relationship Id="rId19" Type="http://schemas.openxmlformats.org/officeDocument/2006/relationships/image" Target="../media/image29.pn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vmlDrawing" Target="../drawings/vmlDrawing17.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1" y="1"/>
          <a:ext cx="146538" cy="120643"/>
        </p:xfrm>
        <a:graphic>
          <a:graphicData uri="http://schemas.openxmlformats.org/presentationml/2006/ole">
            <mc:AlternateContent xmlns:mc="http://schemas.openxmlformats.org/markup-compatibility/2006">
              <mc:Choice xmlns:v="urn:schemas-microsoft-com:vml" Requires="v">
                <p:oleObj spid="_x0000_s2596" name="think-cell Slide" r:id="rId32" imgW="360" imgH="360" progId="">
                  <p:embed/>
                </p:oleObj>
              </mc:Choice>
              <mc:Fallback>
                <p:oleObj name="think-cell Slide" r:id="rId32" imgW="360" imgH="360" progId="">
                  <p:embed/>
                  <p:pic>
                    <p:nvPicPr>
                      <p:cNvPr id="0" name="Picture 259"/>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 y="1"/>
                        <a:ext cx="146538" cy="1206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6"/>
            </p:custDataLst>
          </p:nvPr>
        </p:nvSpPr>
        <p:spPr>
          <a:xfrm>
            <a:off x="298450" y="117020"/>
            <a:ext cx="8530495" cy="371089"/>
          </a:xfrm>
          <a:prstGeom prst="rect">
            <a:avLst/>
          </a:prstGeom>
        </p:spPr>
        <p:txBody>
          <a:bodyPr vert="horz" lIns="0" tIns="28302" rIns="0" bIns="28302" rtlCol="0" anchor="t" anchorCtr="0">
            <a:spAutoFit/>
          </a:bodyPr>
          <a:lstStyle/>
          <a:p>
            <a:r>
              <a:rPr lang="en-US" noProof="0" dirty="0"/>
              <a:t>Click to edit Master title style</a:t>
            </a:r>
          </a:p>
        </p:txBody>
      </p:sp>
      <p:sp>
        <p:nvSpPr>
          <p:cNvPr id="3" name="Text Placeholder 2"/>
          <p:cNvSpPr>
            <a:spLocks noGrp="1"/>
          </p:cNvSpPr>
          <p:nvPr>
            <p:ph type="body" idx="1"/>
            <p:custDataLst>
              <p:tags r:id="rId27"/>
            </p:custDataLst>
          </p:nvPr>
        </p:nvSpPr>
        <p:spPr>
          <a:xfrm>
            <a:off x="315060" y="1136454"/>
            <a:ext cx="8513885" cy="3626518"/>
          </a:xfrm>
          <a:prstGeom prst="rect">
            <a:avLst/>
          </a:prstGeom>
        </p:spPr>
        <p:txBody>
          <a:bodyPr vert="horz" lIns="0" tIns="28302" rIns="28302" bIns="28302"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8"/>
            </p:custDataLst>
          </p:nvPr>
        </p:nvSpPr>
        <p:spPr>
          <a:xfrm>
            <a:off x="8837695" y="5057345"/>
            <a:ext cx="89768" cy="92333"/>
          </a:xfrm>
          <a:prstGeom prst="rect">
            <a:avLst/>
          </a:prstGeom>
          <a:noFill/>
        </p:spPr>
        <p:txBody>
          <a:bodyPr wrap="none" lIns="0" tIns="0" rIns="0" bIns="0" rtlCol="0" anchor="ctr">
            <a:spAutoFit/>
          </a:bodyPr>
          <a:lstStyle/>
          <a:p>
            <a:pPr algn="ctr"/>
            <a:fld id="{6A895693-0027-4F28-9367-92E39A51F51C}" type="slidenum">
              <a:rPr lang="en-US" sz="600" smtClean="0">
                <a:solidFill>
                  <a:schemeClr val="tx1"/>
                </a:solidFill>
                <a:latin typeface="Calibri" pitchFamily="34" charset="0"/>
              </a:rPr>
              <a:pPr algn="ctr"/>
              <a:t>‹#›</a:t>
            </a:fld>
            <a:endParaRPr lang="en-US" sz="600" dirty="0">
              <a:solidFill>
                <a:schemeClr val="tx1"/>
              </a:solidFill>
              <a:latin typeface="Calibri" pitchFamily="34" charset="0"/>
            </a:endParaRPr>
          </a:p>
        </p:txBody>
      </p:sp>
      <p:sp>
        <p:nvSpPr>
          <p:cNvPr id="9" name="Freeform 4"/>
          <p:cNvSpPr>
            <a:spLocks/>
          </p:cNvSpPr>
          <p:nvPr>
            <p:custDataLst>
              <p:tags r:id="rId29"/>
            </p:custDataLst>
          </p:nvPr>
        </p:nvSpPr>
        <p:spPr bwMode="auto">
          <a:xfrm>
            <a:off x="4" y="514034"/>
            <a:ext cx="9143999" cy="553339"/>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5239" tIns="42620" rIns="85239" bIns="42620" numCol="1" anchor="t" anchorCtr="0" compatLnSpc="1">
            <a:prstTxWarp prst="textNoShape">
              <a:avLst/>
            </a:prstTxWarp>
          </a:bodyPr>
          <a:lstStyle/>
          <a:p>
            <a:endParaRPr lang="fr-FR" dirty="0">
              <a:solidFill>
                <a:schemeClr val="tx1"/>
              </a:solidFill>
              <a:latin typeface="Calibri" pitchFamily="34" charset="0"/>
            </a:endParaRPr>
          </a:p>
        </p:txBody>
      </p:sp>
      <p:sp>
        <p:nvSpPr>
          <p:cNvPr id="12" name="Rectangle 11"/>
          <p:cNvSpPr>
            <a:spLocks noChangeArrowheads="1"/>
          </p:cNvSpPr>
          <p:nvPr>
            <p:custDataLst>
              <p:tags r:id="rId30"/>
            </p:custDataLst>
          </p:nvPr>
        </p:nvSpPr>
        <p:spPr bwMode="auto">
          <a:xfrm>
            <a:off x="6043248" y="5033480"/>
            <a:ext cx="2635961" cy="139454"/>
          </a:xfrm>
          <a:prstGeom prst="rect">
            <a:avLst/>
          </a:prstGeom>
          <a:noFill/>
          <a:ln w="19050">
            <a:noFill/>
            <a:miter lim="800000"/>
            <a:headEnd/>
            <a:tailEnd/>
          </a:ln>
          <a:effectLst/>
        </p:spPr>
        <p:txBody>
          <a:bodyPr wrap="square" lIns="30818" tIns="30818" rIns="30818" bIns="30818" anchor="b" anchorCtr="0">
            <a:noAutofit/>
          </a:bodyPr>
          <a:lstStyle/>
          <a:p>
            <a:pPr marL="0" marR="0" lvl="0" indent="0" algn="r" defTabSz="852232"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1"/>
                </a:solidFill>
                <a:latin typeface="Calibri" pitchFamily="34" charset="0"/>
                <a:cs typeface="Helvetica Light"/>
              </a:rPr>
              <a:t>Copyright</a:t>
            </a:r>
            <a:r>
              <a:rPr lang="en-US" altLang="en-US" sz="600" b="0" i="0" baseline="30000" noProof="0" dirty="0">
                <a:solidFill>
                  <a:schemeClr val="tx1"/>
                </a:solidFill>
                <a:latin typeface="Calibri" pitchFamily="34" charset="0"/>
                <a:cs typeface="Helvetica Light"/>
              </a:rPr>
              <a:t>©</a:t>
            </a:r>
            <a:r>
              <a:rPr lang="en-US" altLang="en-US" sz="600" b="0" i="0" noProof="0" dirty="0">
                <a:solidFill>
                  <a:schemeClr val="tx1"/>
                </a:solidFill>
                <a:latin typeface="Calibri" pitchFamily="34" charset="0"/>
                <a:cs typeface="Helvetica Light"/>
              </a:rPr>
              <a:t> Capgemini 2017. All Rights Reserved</a:t>
            </a:r>
          </a:p>
        </p:txBody>
      </p:sp>
      <p:cxnSp>
        <p:nvCxnSpPr>
          <p:cNvPr id="14" name="Straight Connector 5"/>
          <p:cNvCxnSpPr/>
          <p:nvPr>
            <p:custDataLst>
              <p:tags r:id="rId31"/>
            </p:custDataLst>
          </p:nvPr>
        </p:nvCxnSpPr>
        <p:spPr>
          <a:xfrm flipH="1">
            <a:off x="4" y="4835358"/>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8" name="Picture 8" descr="D:\Users\aganatra\Desktop\Logos\Sogeti.png"/>
          <p:cNvPicPr>
            <a:picLocks noChangeAspect="1" noChangeArrowheads="1"/>
          </p:cNvPicPr>
          <p:nvPr userDrawn="1"/>
        </p:nvPicPr>
        <p:blipFill>
          <a:blip r:embed="rId34" cstate="print">
            <a:extLst>
              <a:ext uri="{28A0092B-C50C-407E-A947-70E740481C1C}">
                <a14:useLocalDpi xmlns:a14="http://schemas.microsoft.com/office/drawing/2010/main" val="0"/>
              </a:ext>
            </a:extLst>
          </a:blip>
          <a:srcRect/>
          <a:stretch>
            <a:fillRect/>
          </a:stretch>
        </p:blipFill>
        <p:spPr bwMode="auto">
          <a:xfrm>
            <a:off x="1419153" y="4910656"/>
            <a:ext cx="1008529" cy="2286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descr="D:\Users\aganatra\Desktop\Logos\JohnsonandJohnsonLogo.png"/>
          <p:cNvPicPr>
            <a:picLocks noChangeAspect="1" noChangeArrowheads="1"/>
          </p:cNvPicPr>
          <p:nvPr userDrawn="1"/>
        </p:nvPicPr>
        <p:blipFill>
          <a:blip r:embed="rId35" cstate="print">
            <a:extLst>
              <a:ext uri="{28A0092B-C50C-407E-A947-70E740481C1C}">
                <a14:useLocalDpi xmlns:a14="http://schemas.microsoft.com/office/drawing/2010/main" val="0"/>
              </a:ext>
            </a:extLst>
          </a:blip>
          <a:srcRect/>
          <a:stretch>
            <a:fillRect/>
          </a:stretch>
        </p:blipFill>
        <p:spPr bwMode="auto">
          <a:xfrm>
            <a:off x="4091824" y="4924372"/>
            <a:ext cx="1056391" cy="201168"/>
          </a:xfrm>
          <a:prstGeom prst="rect">
            <a:avLst/>
          </a:prstGeom>
          <a:noFill/>
          <a:extLst>
            <a:ext uri="{909E8E84-426E-40DD-AFC4-6F175D3DCCD1}">
              <a14:hiddenFill xmlns:a14="http://schemas.microsoft.com/office/drawing/2010/main">
                <a:solidFill>
                  <a:srgbClr val="FFFFFF"/>
                </a:solidFill>
              </a14:hiddenFill>
            </a:ext>
          </a:extLst>
        </p:spPr>
      </p:pic>
      <p:pic>
        <p:nvPicPr>
          <p:cNvPr id="1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36">
            <a:extLst>
              <a:ext uri="{96DAC541-7B7A-43D3-8B79-37D633B846F1}">
                <asvg:svgBlip xmlns:asvg="http://schemas.microsoft.com/office/drawing/2016/SVG/main" r:embed="rId37"/>
              </a:ext>
            </a:extLst>
          </a:blip>
          <a:stretch>
            <a:fillRect/>
          </a:stretch>
        </p:blipFill>
        <p:spPr>
          <a:xfrm>
            <a:off x="315059" y="4910656"/>
            <a:ext cx="1024640" cy="228600"/>
          </a:xfrm>
          <a:prstGeom prst="rect">
            <a:avLst/>
          </a:prstGeom>
        </p:spPr>
      </p:pic>
    </p:spTree>
  </p:cSld>
  <p:clrMap bg1="lt1" tx1="dk1" bg2="lt2" tx2="dk2" accent1="accent1" accent2="accent2" accent3="accent3" accent4="accent4" accent5="accent5" accent6="accent6" hlink="hlink" folHlink="folHlink"/>
  <p:sldLayoutIdLst>
    <p:sldLayoutId id="2147483969" r:id="rId1"/>
    <p:sldLayoutId id="2147484051" r:id="rId2"/>
    <p:sldLayoutId id="2147483964" r:id="rId3"/>
    <p:sldLayoutId id="2147484052" r:id="rId4"/>
    <p:sldLayoutId id="2147484053" r:id="rId5"/>
    <p:sldLayoutId id="2147484055" r:id="rId6"/>
    <p:sldLayoutId id="2147484056" r:id="rId7"/>
    <p:sldLayoutId id="2147484057" r:id="rId8"/>
    <p:sldLayoutId id="2147484058" r:id="rId9"/>
    <p:sldLayoutId id="2147484059" r:id="rId10"/>
    <p:sldLayoutId id="2147484060" r:id="rId11"/>
    <p:sldLayoutId id="2147484061" r:id="rId12"/>
    <p:sldLayoutId id="2147484062" r:id="rId13"/>
    <p:sldLayoutId id="2147484064" r:id="rId14"/>
    <p:sldLayoutId id="2147484065" r:id="rId15"/>
    <p:sldLayoutId id="2147484066" r:id="rId16"/>
    <p:sldLayoutId id="2147484067" r:id="rId17"/>
    <p:sldLayoutId id="2147484068" r:id="rId18"/>
    <p:sldLayoutId id="2147484069" r:id="rId19"/>
    <p:sldLayoutId id="2147484070" r:id="rId20"/>
    <p:sldLayoutId id="2147484071" r:id="rId21"/>
    <p:sldLayoutId id="2147484072" r:id="rId22"/>
  </p:sldLayoutIdLst>
  <p:txStyles>
    <p:titleStyle>
      <a:lvl1pPr algn="l" defTabSz="782797" rtl="0" eaLnBrk="1" latinLnBrk="0" hangingPunct="1">
        <a:lnSpc>
          <a:spcPct val="85000"/>
        </a:lnSpc>
        <a:spcBef>
          <a:spcPct val="0"/>
        </a:spcBef>
        <a:buNone/>
        <a:defRPr sz="2400" b="1" kern="1200">
          <a:solidFill>
            <a:schemeClr val="tx1"/>
          </a:solidFill>
          <a:latin typeface="Calibri" pitchFamily="34" charset="0"/>
          <a:ea typeface="+mj-ea"/>
          <a:cs typeface="+mj-cs"/>
        </a:defRPr>
      </a:lvl1pPr>
    </p:titleStyle>
    <p:bodyStyle>
      <a:lvl1pPr marL="195711" indent="-195711" algn="l" defTabSz="782797" rtl="0" eaLnBrk="1" latinLnBrk="0" hangingPunct="1">
        <a:spcBef>
          <a:spcPts val="0"/>
        </a:spcBef>
        <a:spcAft>
          <a:spcPts val="514"/>
        </a:spcAft>
        <a:buClr>
          <a:schemeClr val="accent5"/>
        </a:buClr>
        <a:buFont typeface="Wingdings" pitchFamily="2" charset="2"/>
        <a:buChar char="§"/>
        <a:defRPr sz="1700" b="0" kern="1200">
          <a:solidFill>
            <a:schemeClr val="tx1"/>
          </a:solidFill>
          <a:latin typeface="Calibri" pitchFamily="34" charset="0"/>
          <a:ea typeface="+mn-ea"/>
          <a:cs typeface="+mn-cs"/>
        </a:defRPr>
      </a:lvl1pPr>
      <a:lvl2pPr marL="391423" indent="-195711" algn="l" defTabSz="782797" rtl="0" eaLnBrk="1" latinLnBrk="0" hangingPunct="1">
        <a:spcBef>
          <a:spcPts val="0"/>
        </a:spcBef>
        <a:spcAft>
          <a:spcPts val="514"/>
        </a:spcAft>
        <a:buClr>
          <a:schemeClr val="accent3"/>
        </a:buClr>
        <a:buFont typeface="Arial" pitchFamily="34" charset="0"/>
        <a:buChar char="•"/>
        <a:defRPr sz="1500" b="0" kern="1200">
          <a:solidFill>
            <a:schemeClr val="tx1"/>
          </a:solidFill>
          <a:latin typeface="Calibri" pitchFamily="34" charset="0"/>
          <a:ea typeface="+mn-ea"/>
          <a:cs typeface="+mn-cs"/>
        </a:defRPr>
      </a:lvl2pPr>
      <a:lvl3pPr marL="587135" indent="-195711" algn="l" defTabSz="782797" rtl="0" eaLnBrk="1" latinLnBrk="0" hangingPunct="1">
        <a:spcBef>
          <a:spcPts val="0"/>
        </a:spcBef>
        <a:spcAft>
          <a:spcPts val="514"/>
        </a:spcAft>
        <a:buClr>
          <a:schemeClr val="accent2"/>
        </a:buClr>
        <a:buFont typeface="Arial" pitchFamily="34" charset="0"/>
        <a:buChar char="–"/>
        <a:defRPr sz="1400" kern="1200">
          <a:solidFill>
            <a:schemeClr val="tx1"/>
          </a:solidFill>
          <a:latin typeface="Calibri" pitchFamily="34" charset="0"/>
          <a:ea typeface="+mn-ea"/>
          <a:cs typeface="+mn-cs"/>
        </a:defRPr>
      </a:lvl3pPr>
      <a:lvl4pPr marL="782847" marR="0" indent="-195711" algn="l" defTabSz="782797" rtl="0" eaLnBrk="1" fontAlgn="auto" latinLnBrk="0" hangingPunct="1">
        <a:lnSpc>
          <a:spcPct val="100000"/>
        </a:lnSpc>
        <a:spcBef>
          <a:spcPts val="0"/>
        </a:spcBef>
        <a:spcAft>
          <a:spcPts val="0"/>
        </a:spcAft>
        <a:buClr>
          <a:schemeClr val="tx2"/>
        </a:buClr>
        <a:buSzTx/>
        <a:buFont typeface="Courier New" pitchFamily="49" charset="0"/>
        <a:buChar char="o"/>
        <a:tabLst/>
        <a:defRPr sz="1200" kern="1200">
          <a:solidFill>
            <a:schemeClr val="tx1"/>
          </a:solidFill>
          <a:latin typeface="Calibri" pitchFamily="34" charset="0"/>
          <a:ea typeface="+mn-ea"/>
          <a:cs typeface="+mn-cs"/>
        </a:defRPr>
      </a:lvl4pPr>
      <a:lvl5pPr marL="1378050" indent="-165801" algn="l" defTabSz="782797" rtl="0" eaLnBrk="1" latinLnBrk="0" hangingPunct="1">
        <a:spcBef>
          <a:spcPts val="0"/>
        </a:spcBef>
        <a:buClr>
          <a:srgbClr val="B1B1B1"/>
        </a:buClr>
        <a:buFont typeface="Arial" pitchFamily="34" charset="0"/>
        <a:buChar char="–"/>
        <a:defRPr sz="1500" kern="1200">
          <a:solidFill>
            <a:srgbClr val="494949"/>
          </a:solidFill>
          <a:latin typeface="+mn-lt"/>
          <a:ea typeface="+mn-ea"/>
          <a:cs typeface="+mn-cs"/>
        </a:defRPr>
      </a:lvl5pPr>
      <a:lvl6pPr marL="2152692" indent="-195699" algn="l" defTabSz="782797"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44090" indent="-195699" algn="l" defTabSz="782797"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35488" indent="-195699" algn="l" defTabSz="782797"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26886" indent="-195699" algn="l" defTabSz="782797"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82797" rtl="0" eaLnBrk="1" latinLnBrk="0" hangingPunct="1">
        <a:defRPr sz="1500" kern="1200">
          <a:solidFill>
            <a:schemeClr val="tx1"/>
          </a:solidFill>
          <a:latin typeface="+mn-lt"/>
          <a:ea typeface="+mn-ea"/>
          <a:cs typeface="+mn-cs"/>
        </a:defRPr>
      </a:lvl1pPr>
      <a:lvl2pPr marL="391399" algn="l" defTabSz="782797" rtl="0" eaLnBrk="1" latinLnBrk="0" hangingPunct="1">
        <a:defRPr sz="1500" kern="1200">
          <a:solidFill>
            <a:schemeClr val="tx1"/>
          </a:solidFill>
          <a:latin typeface="+mn-lt"/>
          <a:ea typeface="+mn-ea"/>
          <a:cs typeface="+mn-cs"/>
        </a:defRPr>
      </a:lvl2pPr>
      <a:lvl3pPr marL="782797" algn="l" defTabSz="782797" rtl="0" eaLnBrk="1" latinLnBrk="0" hangingPunct="1">
        <a:defRPr sz="1500" kern="1200">
          <a:solidFill>
            <a:schemeClr val="tx1"/>
          </a:solidFill>
          <a:latin typeface="+mn-lt"/>
          <a:ea typeface="+mn-ea"/>
          <a:cs typeface="+mn-cs"/>
        </a:defRPr>
      </a:lvl3pPr>
      <a:lvl4pPr marL="1174195" algn="l" defTabSz="782797" rtl="0" eaLnBrk="1" latinLnBrk="0" hangingPunct="1">
        <a:defRPr sz="1500" kern="1200">
          <a:solidFill>
            <a:schemeClr val="tx1"/>
          </a:solidFill>
          <a:latin typeface="+mn-lt"/>
          <a:ea typeface="+mn-ea"/>
          <a:cs typeface="+mn-cs"/>
        </a:defRPr>
      </a:lvl4pPr>
      <a:lvl5pPr marL="1565594" algn="l" defTabSz="782797" rtl="0" eaLnBrk="1" latinLnBrk="0" hangingPunct="1">
        <a:defRPr sz="1500" kern="1200">
          <a:solidFill>
            <a:schemeClr val="tx1"/>
          </a:solidFill>
          <a:latin typeface="+mn-lt"/>
          <a:ea typeface="+mn-ea"/>
          <a:cs typeface="+mn-cs"/>
        </a:defRPr>
      </a:lvl5pPr>
      <a:lvl6pPr marL="1956992" algn="l" defTabSz="782797" rtl="0" eaLnBrk="1" latinLnBrk="0" hangingPunct="1">
        <a:defRPr sz="1500" kern="1200">
          <a:solidFill>
            <a:schemeClr val="tx1"/>
          </a:solidFill>
          <a:latin typeface="+mn-lt"/>
          <a:ea typeface="+mn-ea"/>
          <a:cs typeface="+mn-cs"/>
        </a:defRPr>
      </a:lvl6pPr>
      <a:lvl7pPr marL="2348391" algn="l" defTabSz="782797" rtl="0" eaLnBrk="1" latinLnBrk="0" hangingPunct="1">
        <a:defRPr sz="1500" kern="1200">
          <a:solidFill>
            <a:schemeClr val="tx1"/>
          </a:solidFill>
          <a:latin typeface="+mn-lt"/>
          <a:ea typeface="+mn-ea"/>
          <a:cs typeface="+mn-cs"/>
        </a:defRPr>
      </a:lvl7pPr>
      <a:lvl8pPr marL="2739790" algn="l" defTabSz="782797" rtl="0" eaLnBrk="1" latinLnBrk="0" hangingPunct="1">
        <a:defRPr sz="1500" kern="1200">
          <a:solidFill>
            <a:schemeClr val="tx1"/>
          </a:solidFill>
          <a:latin typeface="+mn-lt"/>
          <a:ea typeface="+mn-ea"/>
          <a:cs typeface="+mn-cs"/>
        </a:defRPr>
      </a:lvl8pPr>
      <a:lvl9pPr marL="3131189" algn="l" defTabSz="782797" rtl="0" eaLnBrk="1" latinLnBrk="0" hangingPunct="1">
        <a:defRPr sz="15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15" userDrawn="1">
          <p15:clr>
            <a:srgbClr val="F26B43"/>
          </p15:clr>
        </p15:guide>
        <p15:guide id="2" pos="188" userDrawn="1">
          <p15:clr>
            <a:srgbClr val="F26B43"/>
          </p15:clr>
        </p15:guide>
        <p15:guide id="3" pos="556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4"/>
            </p:custDataLst>
          </p:nvPr>
        </p:nvGraphicFramePr>
        <p:xfrm>
          <a:off x="0" y="1"/>
          <a:ext cx="146538" cy="120643"/>
        </p:xfrm>
        <a:graphic>
          <a:graphicData uri="http://schemas.openxmlformats.org/presentationml/2006/ole">
            <mc:AlternateContent xmlns:mc="http://schemas.openxmlformats.org/markup-compatibility/2006">
              <mc:Choice xmlns:v="urn:schemas-microsoft-com:vml" Requires="v">
                <p:oleObj spid="_x0000_s261659" name="think-cell Slide" r:id="rId14" imgW="360" imgH="360" progId="">
                  <p:embed/>
                </p:oleObj>
              </mc:Choice>
              <mc:Fallback>
                <p:oleObj name="think-cell Slide" r:id="rId14" imgW="360" imgH="360" progId="">
                  <p:embed/>
                  <p:pic>
                    <p:nvPicPr>
                      <p:cNvPr id="0" name="Picture 260"/>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1"/>
                        <a:ext cx="146538" cy="1206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0" y="1281225"/>
            <a:ext cx="9144000" cy="393053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5648998">
                <a:moveTo>
                  <a:pt x="10562847" y="0"/>
                </a:moveTo>
                <a:lnTo>
                  <a:pt x="10562847" y="5648998"/>
                </a:lnTo>
                <a:cubicBezTo>
                  <a:pt x="10190428" y="4911661"/>
                  <a:pt x="9462356" y="4792975"/>
                  <a:pt x="9024770" y="4808920"/>
                </a:cubicBezTo>
                <a:lnTo>
                  <a:pt x="2295231" y="4794064"/>
                </a:lnTo>
                <a:cubicBezTo>
                  <a:pt x="1854598" y="4794612"/>
                  <a:pt x="1423669" y="4544310"/>
                  <a:pt x="1200559" y="4072264"/>
                </a:cubicBezTo>
                <a:cubicBezTo>
                  <a:pt x="965203" y="4750718"/>
                  <a:pt x="278640" y="4795049"/>
                  <a:pt x="0" y="4795927"/>
                </a:cubicBezTo>
                <a:lnTo>
                  <a:pt x="0" y="0"/>
                </a:lnTo>
              </a:path>
            </a:pathLst>
          </a:custGeom>
          <a:gradFill>
            <a:gsLst>
              <a:gs pos="0">
                <a:schemeClr val="tx1"/>
              </a:gs>
              <a:gs pos="100000">
                <a:schemeClr val="accent5"/>
              </a:gs>
              <a:gs pos="100000">
                <a:schemeClr val="accent5"/>
              </a:gs>
            </a:gsLst>
            <a:lin ang="18900000" scaled="1"/>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28302" tIns="36793" rIns="28302" bIns="36793" rtlCol="0" anchor="ctr"/>
          <a:lstStyle/>
          <a:p>
            <a:pPr marL="0" algn="ctr" defTabSz="819965" rtl="0" eaLnBrk="1" fontAlgn="auto" latinLnBrk="0" hangingPunct="1">
              <a:spcBef>
                <a:spcPts val="0"/>
              </a:spcBef>
              <a:spcAft>
                <a:spcPts val="0"/>
              </a:spcAft>
            </a:pPr>
            <a:endParaRPr lang="en-US" sz="900" kern="1200" dirty="0">
              <a:solidFill>
                <a:schemeClr val="bg1"/>
              </a:solidFill>
              <a:latin typeface="Arial"/>
              <a:ea typeface="+mn-ea"/>
              <a:cs typeface="Arial"/>
            </a:endParaRPr>
          </a:p>
        </p:txBody>
      </p:sp>
      <p:sp>
        <p:nvSpPr>
          <p:cNvPr id="22" name="Rectangle 21"/>
          <p:cNvSpPr/>
          <p:nvPr>
            <p:custDataLst>
              <p:tags r:id="rId6"/>
            </p:custDataLst>
          </p:nvPr>
        </p:nvSpPr>
        <p:spPr>
          <a:xfrm>
            <a:off x="5099002" y="4728561"/>
            <a:ext cx="4045000" cy="334156"/>
          </a:xfrm>
          <a:prstGeom prst="rect">
            <a:avLst/>
          </a:prstGeom>
        </p:spPr>
        <p:txBody>
          <a:bodyPr wrap="square" lIns="28302" tIns="28302" rIns="283027" bIns="28302" anchor="b" anchorCtr="0">
            <a:spAutoFit/>
          </a:bodyPr>
          <a:lstStyle/>
          <a:p>
            <a:pPr algn="r"/>
            <a:r>
              <a:rPr lang="en-US" sz="600" dirty="0">
                <a:solidFill>
                  <a:schemeClr val="bg1"/>
                </a:solidFill>
                <a:latin typeface="Arial"/>
                <a:cs typeface="Arial"/>
              </a:rPr>
              <a:t>The information contained in this presentation is proprietary.</a:t>
            </a:r>
            <a:br>
              <a:rPr lang="en-US" sz="600" dirty="0">
                <a:solidFill>
                  <a:schemeClr val="bg1"/>
                </a:solidFill>
                <a:latin typeface="Arial"/>
                <a:cs typeface="Arial"/>
              </a:rPr>
            </a:br>
            <a:r>
              <a:rPr lang="en-US" sz="600" dirty="0">
                <a:solidFill>
                  <a:schemeClr val="bg1"/>
                </a:solidFill>
                <a:latin typeface="Arial"/>
                <a:cs typeface="Arial"/>
              </a:rPr>
              <a:t>Copyright © 2015 Capgemini. All rights reserved.</a:t>
            </a:r>
          </a:p>
          <a:p>
            <a:pPr marL="0" marR="0" indent="0" algn="r" defTabSz="819965" rtl="0" eaLnBrk="1" fontAlgn="auto" latinLnBrk="0" hangingPunct="1">
              <a:lnSpc>
                <a:spcPct val="100000"/>
              </a:lnSpc>
              <a:spcBef>
                <a:spcPts val="0"/>
              </a:spcBef>
              <a:spcAft>
                <a:spcPts val="0"/>
              </a:spcAft>
              <a:buClrTx/>
              <a:buSzTx/>
              <a:buFontTx/>
              <a:buNone/>
              <a:tabLst/>
              <a:defRPr/>
            </a:pPr>
            <a:r>
              <a:rPr lang="en-US" sz="600" dirty="0">
                <a:solidFill>
                  <a:schemeClr val="bg1"/>
                </a:solidFill>
                <a:latin typeface="Arial"/>
                <a:cs typeface="Arial"/>
              </a:rPr>
              <a:t>Rightshore</a:t>
            </a:r>
            <a:r>
              <a:rPr lang="en-US" sz="600" baseline="30000" dirty="0">
                <a:solidFill>
                  <a:schemeClr val="bg1"/>
                </a:solidFill>
                <a:latin typeface="Arial"/>
                <a:cs typeface="Arial"/>
              </a:rPr>
              <a:t>®</a:t>
            </a:r>
            <a:r>
              <a:rPr lang="en-US" sz="600" dirty="0">
                <a:solidFill>
                  <a:schemeClr val="bg1"/>
                </a:solidFill>
                <a:latin typeface="Arial"/>
                <a:cs typeface="Arial"/>
              </a:rPr>
              <a:t> is a trademark belonging to Capgemini.</a:t>
            </a:r>
          </a:p>
        </p:txBody>
      </p:sp>
      <p:sp>
        <p:nvSpPr>
          <p:cNvPr id="23" name="Rectangle 22">
            <a:hlinkClick r:id="rId16"/>
          </p:cNvPr>
          <p:cNvSpPr/>
          <p:nvPr>
            <p:custDataLst>
              <p:tags r:id="rId7"/>
            </p:custDataLst>
          </p:nvPr>
        </p:nvSpPr>
        <p:spPr>
          <a:xfrm>
            <a:off x="6648891" y="4113071"/>
            <a:ext cx="2495109" cy="323854"/>
          </a:xfrm>
          <a:prstGeom prst="rect">
            <a:avLst/>
          </a:prstGeom>
        </p:spPr>
        <p:txBody>
          <a:bodyPr wrap="none" lIns="30821" tIns="30821" rIns="308208" bIns="30821" anchor="b" anchorCtr="0">
            <a:spAutoFit/>
          </a:bodyPr>
          <a:lstStyle/>
          <a:p>
            <a:pPr algn="r"/>
            <a:r>
              <a:rPr lang="en-US" sz="1700" b="1" dirty="0">
                <a:solidFill>
                  <a:schemeClr val="bg1"/>
                </a:solidFill>
                <a:latin typeface="Arial" pitchFamily="34" charset="0"/>
                <a:cs typeface="Arial" pitchFamily="34" charset="0"/>
              </a:rPr>
              <a:t>www.capgemini.com</a:t>
            </a:r>
          </a:p>
        </p:txBody>
      </p:sp>
      <p:pic>
        <p:nvPicPr>
          <p:cNvPr id="24" name="Picture 3" descr="C:\Users\UserSim\Desktop\DS_icons\128x128 shadows\facebook.png">
            <a:hlinkClick r:id="rId17"/>
          </p:cNvPr>
          <p:cNvPicPr>
            <a:picLocks noChangeAspect="1" noChangeArrowheads="1"/>
          </p:cNvPicPr>
          <p:nvPr>
            <p:custDataLst>
              <p:tags r:id="rId8"/>
            </p:custDataLst>
          </p:nvPr>
        </p:nvPicPr>
        <p:blipFill>
          <a:blip r:embed="rId18" cstate="email"/>
          <a:srcRect/>
          <a:stretch>
            <a:fillRect/>
          </a:stretch>
        </p:blipFill>
        <p:spPr bwMode="auto">
          <a:xfrm>
            <a:off x="7328543" y="4508462"/>
            <a:ext cx="256821" cy="200453"/>
          </a:xfrm>
          <a:prstGeom prst="rect">
            <a:avLst/>
          </a:prstGeom>
          <a:noFill/>
        </p:spPr>
      </p:pic>
      <p:pic>
        <p:nvPicPr>
          <p:cNvPr id="25" name="Picture 4" descr="C:\Users\UserSim\Desktop\DS_icons\128x128 shadows\linkedin.png">
            <a:hlinkClick r:id="rId19"/>
          </p:cNvPr>
          <p:cNvPicPr>
            <a:picLocks noChangeAspect="1" noChangeArrowheads="1"/>
          </p:cNvPicPr>
          <p:nvPr>
            <p:custDataLst>
              <p:tags r:id="rId9"/>
            </p:custDataLst>
          </p:nvPr>
        </p:nvPicPr>
        <p:blipFill>
          <a:blip r:embed="rId20" cstate="email"/>
          <a:srcRect/>
          <a:stretch>
            <a:fillRect/>
          </a:stretch>
        </p:blipFill>
        <p:spPr bwMode="auto">
          <a:xfrm>
            <a:off x="7638153" y="4508461"/>
            <a:ext cx="259674" cy="202680"/>
          </a:xfrm>
          <a:prstGeom prst="rect">
            <a:avLst/>
          </a:prstGeom>
          <a:noFill/>
        </p:spPr>
      </p:pic>
      <p:pic>
        <p:nvPicPr>
          <p:cNvPr id="26" name="Picture 5" descr="C:\Users\UserSim\Desktop\DS_icons\128x128 shadows\twitter.png">
            <a:hlinkClick r:id="rId21"/>
          </p:cNvPr>
          <p:cNvPicPr>
            <a:picLocks noChangeAspect="1" noChangeArrowheads="1"/>
          </p:cNvPicPr>
          <p:nvPr>
            <p:custDataLst>
              <p:tags r:id="rId10"/>
            </p:custDataLst>
          </p:nvPr>
        </p:nvPicPr>
        <p:blipFill>
          <a:blip r:embed="rId22" cstate="email"/>
          <a:srcRect/>
          <a:stretch>
            <a:fillRect/>
          </a:stretch>
        </p:blipFill>
        <p:spPr bwMode="auto">
          <a:xfrm>
            <a:off x="8218819" y="4508461"/>
            <a:ext cx="259674" cy="202680"/>
          </a:xfrm>
          <a:prstGeom prst="rect">
            <a:avLst/>
          </a:prstGeom>
          <a:noFill/>
        </p:spPr>
      </p:pic>
      <p:pic>
        <p:nvPicPr>
          <p:cNvPr id="27" name="Picture 6" descr="C:\Users\UserSim\Desktop\DS_icons\128x128 shadows\youtube.png">
            <a:hlinkClick r:id="rId23"/>
          </p:cNvPr>
          <p:cNvPicPr>
            <a:picLocks noChangeAspect="1" noChangeArrowheads="1"/>
          </p:cNvPicPr>
          <p:nvPr>
            <p:custDataLst>
              <p:tags r:id="rId11"/>
            </p:custDataLst>
          </p:nvPr>
        </p:nvPicPr>
        <p:blipFill>
          <a:blip r:embed="rId24" cstate="email"/>
          <a:srcRect/>
          <a:stretch>
            <a:fillRect/>
          </a:stretch>
        </p:blipFill>
        <p:spPr bwMode="auto">
          <a:xfrm>
            <a:off x="8531283" y="4508461"/>
            <a:ext cx="259674" cy="202680"/>
          </a:xfrm>
          <a:prstGeom prst="rect">
            <a:avLst/>
          </a:prstGeom>
          <a:noFill/>
        </p:spPr>
      </p:pic>
      <p:pic>
        <p:nvPicPr>
          <p:cNvPr id="28" name="Image 22" descr="Picto_Slideshare.gif">
            <a:hlinkClick r:id="rId25"/>
          </p:cNvPr>
          <p:cNvPicPr preferRelativeResize="0">
            <a:picLocks/>
          </p:cNvPicPr>
          <p:nvPr>
            <p:custDataLst>
              <p:tags r:id="rId12"/>
            </p:custDataLst>
          </p:nvPr>
        </p:nvPicPr>
        <p:blipFill>
          <a:blip r:embed="rId26" cstate="email"/>
          <a:srcRect l="4793" t="6316" r="5718" b="7969"/>
          <a:stretch>
            <a:fillRect/>
          </a:stretch>
        </p:blipFill>
        <p:spPr>
          <a:xfrm>
            <a:off x="7950618" y="4508463"/>
            <a:ext cx="215411" cy="180964"/>
          </a:xfrm>
          <a:prstGeom prst="roundRect">
            <a:avLst/>
          </a:prstGeom>
          <a:effectLst>
            <a:outerShdw blurRad="38100" dist="25400" dir="5400000" sx="98000" sy="98000" algn="t" rotWithShape="0">
              <a:schemeClr val="tx2">
                <a:alpha val="51000"/>
              </a:schemeClr>
            </a:outerShdw>
          </a:effectLst>
        </p:spPr>
      </p:pic>
      <p:pic>
        <p:nvPicPr>
          <p:cNvPr id="13" name="Image 10" descr="Capgemini_logo_lr.tif"/>
          <p:cNvPicPr>
            <a:picLocks noChangeAspect="1"/>
          </p:cNvPicPr>
          <p:nvPr userDrawn="1">
            <p:custDataLst>
              <p:tags r:id="rId13"/>
            </p:custDataLst>
          </p:nvPr>
        </p:nvPicPr>
        <p:blipFill>
          <a:blip r:embed="rId27" cstate="email"/>
          <a:stretch>
            <a:fillRect/>
          </a:stretch>
        </p:blipFill>
        <p:spPr>
          <a:xfrm>
            <a:off x="585623" y="641325"/>
            <a:ext cx="2912091" cy="589724"/>
          </a:xfrm>
          <a:prstGeom prst="rect">
            <a:avLst/>
          </a:prstGeom>
        </p:spPr>
      </p:pic>
      <p:pic>
        <p:nvPicPr>
          <p:cNvPr id="18" name="Picture 2" descr="https://www.uk.capgemini.com/sites/default/files/en-gb/2015/05/01_salesforce_global_strategic_consulting_partner_1.png"/>
          <p:cNvPicPr>
            <a:picLocks noChangeAspect="1" noChangeArrowheads="1"/>
          </p:cNvPicPr>
          <p:nvPr userDrawn="1"/>
        </p:nvPicPr>
        <p:blipFill>
          <a:blip r:embed="rId28" cstate="print"/>
          <a:srcRect/>
          <a:stretch>
            <a:fillRect/>
          </a:stretch>
        </p:blipFill>
        <p:spPr bwMode="auto">
          <a:xfrm>
            <a:off x="6566022" y="726381"/>
            <a:ext cx="1996224" cy="419617"/>
          </a:xfrm>
          <a:prstGeom prst="rect">
            <a:avLst/>
          </a:prstGeom>
          <a:noFill/>
        </p:spPr>
      </p:pic>
    </p:spTree>
  </p:cSld>
  <p:clrMap bg1="lt1" tx1="dk1" bg2="lt2" tx2="dk2" accent1="accent1" accent2="accent2" accent3="accent3" accent4="accent4" accent5="accent5" accent6="accent6" hlink="hlink" folHlink="folHlink"/>
  <p:sldLayoutIdLst>
    <p:sldLayoutId id="2147483992" r:id="rId1"/>
  </p:sldLayoutIdLst>
  <p:txStyles>
    <p:titleStyle>
      <a:lvl1pPr algn="ctr" defTabSz="718888" rtl="0" eaLnBrk="1" latinLnBrk="0" hangingPunct="1">
        <a:spcBef>
          <a:spcPct val="0"/>
        </a:spcBef>
        <a:buNone/>
        <a:defRPr sz="3400" kern="1200">
          <a:solidFill>
            <a:schemeClr val="tx1"/>
          </a:solidFill>
          <a:latin typeface="+mj-lt"/>
          <a:ea typeface="+mj-ea"/>
          <a:cs typeface="+mj-cs"/>
        </a:defRPr>
      </a:lvl1pPr>
    </p:titleStyle>
    <p:bodyStyle>
      <a:lvl1pPr marL="269582" indent="-269582" algn="l" defTabSz="718888" rtl="0" eaLnBrk="1" latinLnBrk="0" hangingPunct="1">
        <a:spcBef>
          <a:spcPct val="20000"/>
        </a:spcBef>
        <a:buFont typeface="Arial" pitchFamily="34" charset="0"/>
        <a:buChar char="•"/>
        <a:defRPr sz="2500" kern="1200">
          <a:solidFill>
            <a:schemeClr val="tx1"/>
          </a:solidFill>
          <a:latin typeface="+mn-lt"/>
          <a:ea typeface="+mn-ea"/>
          <a:cs typeface="+mn-cs"/>
        </a:defRPr>
      </a:lvl1pPr>
      <a:lvl2pPr marL="584097" indent="-224653" algn="l" defTabSz="718888"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898611" indent="-179721" algn="l" defTabSz="718888" rtl="0" eaLnBrk="1" latinLnBrk="0" hangingPunct="1">
        <a:spcBef>
          <a:spcPct val="20000"/>
        </a:spcBef>
        <a:buFont typeface="Arial" pitchFamily="34" charset="0"/>
        <a:buChar char="•"/>
        <a:defRPr sz="1900" kern="1200">
          <a:solidFill>
            <a:schemeClr val="tx1"/>
          </a:solidFill>
          <a:latin typeface="+mn-lt"/>
          <a:ea typeface="+mn-ea"/>
          <a:cs typeface="+mn-cs"/>
        </a:defRPr>
      </a:lvl3pPr>
      <a:lvl4pPr marL="1258054" indent="-179721" algn="l" defTabSz="718888"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617498" indent="-179721" algn="l" defTabSz="718888"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976942" indent="-179721" algn="l" defTabSz="71888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336386" indent="-179721" algn="l" defTabSz="71888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95830" indent="-179721" algn="l" defTabSz="71888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3055273" indent="-179721" algn="l" defTabSz="71888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718888" rtl="0" eaLnBrk="1" latinLnBrk="0" hangingPunct="1">
        <a:defRPr sz="1500" kern="1200">
          <a:solidFill>
            <a:schemeClr val="tx1"/>
          </a:solidFill>
          <a:latin typeface="+mn-lt"/>
          <a:ea typeface="+mn-ea"/>
          <a:cs typeface="+mn-cs"/>
        </a:defRPr>
      </a:lvl1pPr>
      <a:lvl2pPr marL="359445" algn="l" defTabSz="718888" rtl="0" eaLnBrk="1" latinLnBrk="0" hangingPunct="1">
        <a:defRPr sz="1500" kern="1200">
          <a:solidFill>
            <a:schemeClr val="tx1"/>
          </a:solidFill>
          <a:latin typeface="+mn-lt"/>
          <a:ea typeface="+mn-ea"/>
          <a:cs typeface="+mn-cs"/>
        </a:defRPr>
      </a:lvl2pPr>
      <a:lvl3pPr marL="718888" algn="l" defTabSz="718888" rtl="0" eaLnBrk="1" latinLnBrk="0" hangingPunct="1">
        <a:defRPr sz="1500" kern="1200">
          <a:solidFill>
            <a:schemeClr val="tx1"/>
          </a:solidFill>
          <a:latin typeface="+mn-lt"/>
          <a:ea typeface="+mn-ea"/>
          <a:cs typeface="+mn-cs"/>
        </a:defRPr>
      </a:lvl3pPr>
      <a:lvl4pPr marL="1078332" algn="l" defTabSz="718888" rtl="0" eaLnBrk="1" latinLnBrk="0" hangingPunct="1">
        <a:defRPr sz="1500" kern="1200">
          <a:solidFill>
            <a:schemeClr val="tx1"/>
          </a:solidFill>
          <a:latin typeface="+mn-lt"/>
          <a:ea typeface="+mn-ea"/>
          <a:cs typeface="+mn-cs"/>
        </a:defRPr>
      </a:lvl4pPr>
      <a:lvl5pPr marL="1437776" algn="l" defTabSz="718888" rtl="0" eaLnBrk="1" latinLnBrk="0" hangingPunct="1">
        <a:defRPr sz="1500" kern="1200">
          <a:solidFill>
            <a:schemeClr val="tx1"/>
          </a:solidFill>
          <a:latin typeface="+mn-lt"/>
          <a:ea typeface="+mn-ea"/>
          <a:cs typeface="+mn-cs"/>
        </a:defRPr>
      </a:lvl5pPr>
      <a:lvl6pPr marL="1797220" algn="l" defTabSz="718888" rtl="0" eaLnBrk="1" latinLnBrk="0" hangingPunct="1">
        <a:defRPr sz="1500" kern="1200">
          <a:solidFill>
            <a:schemeClr val="tx1"/>
          </a:solidFill>
          <a:latin typeface="+mn-lt"/>
          <a:ea typeface="+mn-ea"/>
          <a:cs typeface="+mn-cs"/>
        </a:defRPr>
      </a:lvl6pPr>
      <a:lvl7pPr marL="2156664" algn="l" defTabSz="718888" rtl="0" eaLnBrk="1" latinLnBrk="0" hangingPunct="1">
        <a:defRPr sz="1500" kern="1200">
          <a:solidFill>
            <a:schemeClr val="tx1"/>
          </a:solidFill>
          <a:latin typeface="+mn-lt"/>
          <a:ea typeface="+mn-ea"/>
          <a:cs typeface="+mn-cs"/>
        </a:defRPr>
      </a:lvl7pPr>
      <a:lvl8pPr marL="2516107" algn="l" defTabSz="718888" rtl="0" eaLnBrk="1" latinLnBrk="0" hangingPunct="1">
        <a:defRPr sz="1500" kern="1200">
          <a:solidFill>
            <a:schemeClr val="tx1"/>
          </a:solidFill>
          <a:latin typeface="+mn-lt"/>
          <a:ea typeface="+mn-ea"/>
          <a:cs typeface="+mn-cs"/>
        </a:defRPr>
      </a:lvl8pPr>
      <a:lvl9pPr marL="2875552" algn="l" defTabSz="718888" rtl="0" eaLnBrk="1" latinLnBrk="0" hangingPunct="1">
        <a:defRPr sz="15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5"/>
            </p:custDataLst>
            <p:extLst/>
          </p:nvPr>
        </p:nvGraphicFramePr>
        <p:xfrm>
          <a:off x="1589" y="1207"/>
          <a:ext cx="1587" cy="1206"/>
        </p:xfrm>
        <a:graphic>
          <a:graphicData uri="http://schemas.openxmlformats.org/presentationml/2006/ole">
            <mc:AlternateContent xmlns:mc="http://schemas.openxmlformats.org/markup-compatibility/2006">
              <mc:Choice xmlns:v="urn:schemas-microsoft-com:vml" Requires="v">
                <p:oleObj spid="_x0000_s1548294" name="think-cell Slide" r:id="rId16" imgW="360" imgH="360" progId="">
                  <p:embed/>
                </p:oleObj>
              </mc:Choice>
              <mc:Fallback>
                <p:oleObj name="think-cell Slide" r:id="rId16" imgW="360" imgH="360" progId="">
                  <p:embed/>
                  <p:pic>
                    <p:nvPicPr>
                      <p:cNvPr id="3" name="Object 2"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9" y="1207"/>
                        <a:ext cx="1587" cy="12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rotWithShape="1">
          <a:blip r:embed="rId18" cstate="print">
            <a:extLst>
              <a:ext uri="{28A0092B-C50C-407E-A947-70E740481C1C}">
                <a14:useLocalDpi xmlns:a14="http://schemas.microsoft.com/office/drawing/2010/main" val="0"/>
              </a:ext>
            </a:extLst>
          </a:blip>
          <a:srcRect t="18516" r="11828"/>
          <a:stretch/>
        </p:blipFill>
        <p:spPr>
          <a:xfrm>
            <a:off x="0" y="378196"/>
            <a:ext cx="9131968" cy="4863453"/>
          </a:xfrm>
          <a:prstGeom prst="rect">
            <a:avLst/>
          </a:prstGeom>
        </p:spPr>
      </p:pic>
      <p:sp>
        <p:nvSpPr>
          <p:cNvPr id="9" name="Rectangle 8"/>
          <p:cNvSpPr/>
          <p:nvPr/>
        </p:nvSpPr>
        <p:spPr>
          <a:xfrm>
            <a:off x="0" y="4875356"/>
            <a:ext cx="9144000" cy="336406"/>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16"/>
          </a:p>
        </p:txBody>
      </p:sp>
      <p:sp>
        <p:nvSpPr>
          <p:cNvPr id="2051" name="Title Placeholder 1"/>
          <p:cNvSpPr>
            <a:spLocks noGrp="1"/>
          </p:cNvSpPr>
          <p:nvPr>
            <p:ph type="title"/>
          </p:nvPr>
        </p:nvSpPr>
        <p:spPr bwMode="auto">
          <a:xfrm>
            <a:off x="457200" y="222368"/>
            <a:ext cx="8229600" cy="36819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a:t>Click to edit Master title style</a:t>
            </a:r>
          </a:p>
        </p:txBody>
      </p:sp>
      <p:sp>
        <p:nvSpPr>
          <p:cNvPr id="2052" name="Text Placeholder 2"/>
          <p:cNvSpPr>
            <a:spLocks noGrp="1"/>
          </p:cNvSpPr>
          <p:nvPr>
            <p:ph type="body" idx="1"/>
          </p:nvPr>
        </p:nvSpPr>
        <p:spPr bwMode="auto">
          <a:xfrm>
            <a:off x="457200" y="1042353"/>
            <a:ext cx="8229600" cy="36132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Text</a:t>
            </a:r>
          </a:p>
        </p:txBody>
      </p:sp>
      <p:sp>
        <p:nvSpPr>
          <p:cNvPr id="1030" name="Text Placeholder 10"/>
          <p:cNvSpPr txBox="1">
            <a:spLocks/>
          </p:cNvSpPr>
          <p:nvPr/>
        </p:nvSpPr>
        <p:spPr bwMode="auto">
          <a:xfrm>
            <a:off x="8550964" y="4822617"/>
            <a:ext cx="688287" cy="419032"/>
          </a:xfrm>
          <a:prstGeom prst="rect">
            <a:avLst/>
          </a:prstGeom>
          <a:noFill/>
          <a:ln w="9525">
            <a:noFill/>
            <a:miter lim="800000"/>
            <a:headEnd/>
            <a:tailEnd/>
          </a:ln>
        </p:spPr>
        <p:txBody>
          <a:bodyPr lIns="69416" tIns="34709" rIns="208471" bIns="34709" anchor="ctr"/>
          <a:lstStyle/>
          <a:p>
            <a:pPr marL="259398" indent="-259398" algn="ctr" defTabSz="346266">
              <a:spcBef>
                <a:spcPct val="20000"/>
              </a:spcBef>
              <a:buFont typeface="Arial" pitchFamily="34" charset="0"/>
              <a:buNone/>
              <a:defRPr/>
            </a:pPr>
            <a:r>
              <a:rPr lang="en-US" sz="684">
                <a:solidFill>
                  <a:schemeClr val="bg1">
                    <a:lumMod val="65000"/>
                  </a:schemeClr>
                </a:solidFill>
                <a:cs typeface="Arial" pitchFamily="34" charset="0"/>
                <a:sym typeface="Arial" pitchFamily="34" charset="0"/>
              </a:rPr>
              <a:t>  </a:t>
            </a:r>
            <a:fld id="{C1209FD9-C7F3-4875-AF7D-3292D13E6022}" type="slidenum">
              <a:rPr lang="en-US" sz="684">
                <a:solidFill>
                  <a:srgbClr val="FFFFFF"/>
                </a:solidFill>
                <a:cs typeface="Arial" pitchFamily="34" charset="0"/>
                <a:sym typeface="Arial" pitchFamily="34" charset="0"/>
              </a:rPr>
              <a:pPr marL="259398" indent="-259398" algn="ctr" defTabSz="346266">
                <a:spcBef>
                  <a:spcPct val="20000"/>
                </a:spcBef>
                <a:buFont typeface="Arial" pitchFamily="34" charset="0"/>
                <a:buNone/>
                <a:defRPr/>
              </a:pPr>
              <a:t>‹#›</a:t>
            </a:fld>
            <a:endParaRPr lang="en-US" sz="684">
              <a:solidFill>
                <a:srgbClr val="FFFFFF"/>
              </a:solidFill>
              <a:cs typeface="Arial" pitchFamily="34" charset="0"/>
              <a:sym typeface="Arial" pitchFamily="34" charset="0"/>
            </a:endParaRPr>
          </a:p>
        </p:txBody>
      </p:sp>
      <p:pic>
        <p:nvPicPr>
          <p:cNvPr id="12" name="Picture 11" descr="jnj_InformationTechnology_logo_horizontal_RGB_White.png"/>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86081" y="4897629"/>
            <a:ext cx="2594187" cy="284219"/>
          </a:xfrm>
          <a:prstGeom prst="rect">
            <a:avLst/>
          </a:prstGeom>
        </p:spPr>
      </p:pic>
    </p:spTree>
    <p:extLst>
      <p:ext uri="{BB962C8B-B14F-4D97-AF65-F5344CB8AC3E}">
        <p14:creationId xmlns:p14="http://schemas.microsoft.com/office/powerpoint/2010/main" val="1384496039"/>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346266" rtl="0" eaLnBrk="1" fontAlgn="base" hangingPunct="1">
        <a:spcBef>
          <a:spcPct val="0"/>
        </a:spcBef>
        <a:spcAft>
          <a:spcPct val="0"/>
        </a:spcAft>
        <a:defRPr sz="1824" kern="1200">
          <a:solidFill>
            <a:schemeClr val="accent5"/>
          </a:solidFill>
          <a:latin typeface="Arial" panose="020B0604020202020204" pitchFamily="34" charset="0"/>
          <a:ea typeface="MS PGothic" pitchFamily="34" charset="-128"/>
          <a:cs typeface="Arial" panose="020B0604020202020204" pitchFamily="34" charset="0"/>
        </a:defRPr>
      </a:lvl1pPr>
      <a:lvl2pPr algn="l" defTabSz="346266" rtl="0" eaLnBrk="1" fontAlgn="base" hangingPunct="1">
        <a:spcBef>
          <a:spcPct val="0"/>
        </a:spcBef>
        <a:spcAft>
          <a:spcPct val="0"/>
        </a:spcAft>
        <a:defRPr sz="2280">
          <a:solidFill>
            <a:schemeClr val="tx1"/>
          </a:solidFill>
          <a:latin typeface="Georgia" pitchFamily="34" charset="0"/>
          <a:ea typeface="MS PGothic" pitchFamily="34" charset="-128"/>
          <a:cs typeface="Georgia" pitchFamily="34" charset="0"/>
        </a:defRPr>
      </a:lvl2pPr>
      <a:lvl3pPr algn="l" defTabSz="346266" rtl="0" eaLnBrk="1" fontAlgn="base" hangingPunct="1">
        <a:spcBef>
          <a:spcPct val="0"/>
        </a:spcBef>
        <a:spcAft>
          <a:spcPct val="0"/>
        </a:spcAft>
        <a:defRPr sz="2280">
          <a:solidFill>
            <a:schemeClr val="tx1"/>
          </a:solidFill>
          <a:latin typeface="Georgia" pitchFamily="34" charset="0"/>
          <a:ea typeface="MS PGothic" pitchFamily="34" charset="-128"/>
          <a:cs typeface="Georgia" pitchFamily="34" charset="0"/>
        </a:defRPr>
      </a:lvl3pPr>
      <a:lvl4pPr algn="l" defTabSz="346266" rtl="0" eaLnBrk="1" fontAlgn="base" hangingPunct="1">
        <a:spcBef>
          <a:spcPct val="0"/>
        </a:spcBef>
        <a:spcAft>
          <a:spcPct val="0"/>
        </a:spcAft>
        <a:defRPr sz="2280">
          <a:solidFill>
            <a:schemeClr val="tx1"/>
          </a:solidFill>
          <a:latin typeface="Georgia" pitchFamily="34" charset="0"/>
          <a:ea typeface="MS PGothic" pitchFamily="34" charset="-128"/>
          <a:cs typeface="Georgia" pitchFamily="34" charset="0"/>
        </a:defRPr>
      </a:lvl4pPr>
      <a:lvl5pPr algn="l" defTabSz="346266" rtl="0" eaLnBrk="1" fontAlgn="base" hangingPunct="1">
        <a:spcBef>
          <a:spcPct val="0"/>
        </a:spcBef>
        <a:spcAft>
          <a:spcPct val="0"/>
        </a:spcAft>
        <a:defRPr sz="2280">
          <a:solidFill>
            <a:schemeClr val="tx1"/>
          </a:solidFill>
          <a:latin typeface="Georgia" pitchFamily="34" charset="0"/>
          <a:ea typeface="MS PGothic" pitchFamily="34" charset="-128"/>
          <a:cs typeface="Georgia" pitchFamily="34" charset="0"/>
        </a:defRPr>
      </a:lvl5pPr>
      <a:lvl6pPr marL="347107" algn="l" defTabSz="347107" rtl="0" eaLnBrk="1" fontAlgn="base" hangingPunct="1">
        <a:spcBef>
          <a:spcPct val="0"/>
        </a:spcBef>
        <a:spcAft>
          <a:spcPct val="0"/>
        </a:spcAft>
        <a:defRPr sz="2280">
          <a:solidFill>
            <a:schemeClr val="tx1"/>
          </a:solidFill>
          <a:latin typeface="Georgia" pitchFamily="34" charset="0"/>
          <a:ea typeface="ＭＳ Ｐゴシック" pitchFamily="34" charset="-128"/>
        </a:defRPr>
      </a:lvl6pPr>
      <a:lvl7pPr marL="694217" algn="l" defTabSz="347107" rtl="0" eaLnBrk="1" fontAlgn="base" hangingPunct="1">
        <a:spcBef>
          <a:spcPct val="0"/>
        </a:spcBef>
        <a:spcAft>
          <a:spcPct val="0"/>
        </a:spcAft>
        <a:defRPr sz="2280">
          <a:solidFill>
            <a:schemeClr val="tx1"/>
          </a:solidFill>
          <a:latin typeface="Georgia" pitchFamily="34" charset="0"/>
          <a:ea typeface="ＭＳ Ｐゴシック" pitchFamily="34" charset="-128"/>
        </a:defRPr>
      </a:lvl7pPr>
      <a:lvl8pPr marL="1041327" algn="l" defTabSz="347107" rtl="0" eaLnBrk="1" fontAlgn="base" hangingPunct="1">
        <a:spcBef>
          <a:spcPct val="0"/>
        </a:spcBef>
        <a:spcAft>
          <a:spcPct val="0"/>
        </a:spcAft>
        <a:defRPr sz="2280">
          <a:solidFill>
            <a:schemeClr val="tx1"/>
          </a:solidFill>
          <a:latin typeface="Georgia" pitchFamily="34" charset="0"/>
          <a:ea typeface="ＭＳ Ｐゴシック" pitchFamily="34" charset="-128"/>
        </a:defRPr>
      </a:lvl8pPr>
      <a:lvl9pPr marL="1388436" algn="l" defTabSz="347107" rtl="0" eaLnBrk="1" fontAlgn="base" hangingPunct="1">
        <a:spcBef>
          <a:spcPct val="0"/>
        </a:spcBef>
        <a:spcAft>
          <a:spcPct val="0"/>
        </a:spcAft>
        <a:defRPr sz="2280">
          <a:solidFill>
            <a:schemeClr val="tx1"/>
          </a:solidFill>
          <a:latin typeface="Georgia" pitchFamily="34" charset="0"/>
          <a:ea typeface="ＭＳ Ｐゴシック" pitchFamily="34" charset="-128"/>
        </a:defRPr>
      </a:lvl9pPr>
    </p:titleStyle>
    <p:bodyStyle>
      <a:lvl1pPr marL="156845" indent="-156845" algn="l" defTabSz="346266" rtl="0" eaLnBrk="1" fontAlgn="base" hangingPunct="1">
        <a:spcBef>
          <a:spcPts val="0"/>
        </a:spcBef>
        <a:spcAft>
          <a:spcPts val="456"/>
        </a:spcAft>
        <a:buClr>
          <a:schemeClr val="tx1">
            <a:lumMod val="65000"/>
            <a:lumOff val="35000"/>
          </a:schemeClr>
        </a:buClr>
        <a:buSzPct val="120000"/>
        <a:buFont typeface="Arial" pitchFamily="34" charset="0"/>
        <a:buChar char="•"/>
        <a:defRPr sz="760" kern="1200">
          <a:solidFill>
            <a:schemeClr val="accent3"/>
          </a:solidFill>
          <a:latin typeface="Georgia" panose="02040502050405020303" pitchFamily="18" charset="0"/>
          <a:ea typeface="MS PGothic" pitchFamily="34" charset="-128"/>
          <a:cs typeface="Arial"/>
        </a:defRPr>
      </a:lvl1pPr>
      <a:lvl2pPr marL="347472" indent="-110998" algn="l" defTabSz="346266" rtl="0" eaLnBrk="1" fontAlgn="base" hangingPunct="1">
        <a:spcBef>
          <a:spcPts val="0"/>
        </a:spcBef>
        <a:spcAft>
          <a:spcPts val="456"/>
        </a:spcAft>
        <a:buClr>
          <a:schemeClr val="tx1">
            <a:lumMod val="65000"/>
            <a:lumOff val="35000"/>
          </a:schemeClr>
        </a:buClr>
        <a:buFont typeface="Arial" pitchFamily="34" charset="0"/>
        <a:buChar char="–"/>
        <a:defRPr sz="760" kern="1200">
          <a:solidFill>
            <a:schemeClr val="accent3"/>
          </a:solidFill>
          <a:latin typeface="Georgia" panose="02040502050405020303" pitchFamily="18" charset="0"/>
          <a:ea typeface="MS PGothic" pitchFamily="34" charset="-128"/>
          <a:cs typeface="Arial"/>
        </a:defRPr>
      </a:lvl2pPr>
      <a:lvl3pPr marL="693738" indent="-178562" algn="l" defTabSz="346266" rtl="0" eaLnBrk="1" fontAlgn="base" hangingPunct="1">
        <a:spcBef>
          <a:spcPts val="0"/>
        </a:spcBef>
        <a:spcAft>
          <a:spcPts val="456"/>
        </a:spcAft>
        <a:buClr>
          <a:schemeClr val="tx1">
            <a:lumMod val="65000"/>
            <a:lumOff val="35000"/>
          </a:schemeClr>
        </a:buClr>
        <a:buFont typeface="Arial" pitchFamily="34" charset="0"/>
        <a:buChar char="•"/>
        <a:defRPr sz="760" kern="1200">
          <a:solidFill>
            <a:schemeClr val="accent3"/>
          </a:solidFill>
          <a:latin typeface="Georgia" panose="02040502050405020303" pitchFamily="18" charset="0"/>
          <a:ea typeface="MS PGothic" pitchFamily="34" charset="-128"/>
          <a:cs typeface="Arial"/>
        </a:defRPr>
      </a:lvl3pPr>
      <a:lvl4pPr marL="901256" indent="-178562" algn="l" defTabSz="346266" rtl="0" eaLnBrk="1" fontAlgn="base" hangingPunct="1">
        <a:spcBef>
          <a:spcPts val="0"/>
        </a:spcBef>
        <a:spcAft>
          <a:spcPts val="456"/>
        </a:spcAft>
        <a:buClr>
          <a:schemeClr val="tx1">
            <a:lumMod val="65000"/>
            <a:lumOff val="35000"/>
          </a:schemeClr>
        </a:buClr>
        <a:buFont typeface="Arial" pitchFamily="34" charset="0"/>
        <a:buChar char="–"/>
        <a:defRPr sz="760" kern="1200">
          <a:solidFill>
            <a:schemeClr val="accent3"/>
          </a:solidFill>
          <a:latin typeface="Georgia" panose="02040502050405020303" pitchFamily="18" charset="0"/>
          <a:ea typeface="MS PGothic" pitchFamily="34" charset="-128"/>
          <a:cs typeface="Arial"/>
        </a:defRPr>
      </a:lvl4pPr>
      <a:lvl5pPr marL="1109980" indent="-178562" algn="l" defTabSz="346266" rtl="0" eaLnBrk="1" fontAlgn="base" hangingPunct="1">
        <a:spcBef>
          <a:spcPts val="0"/>
        </a:spcBef>
        <a:spcAft>
          <a:spcPts val="456"/>
        </a:spcAft>
        <a:buClr>
          <a:schemeClr val="tx1">
            <a:lumMod val="65000"/>
            <a:lumOff val="35000"/>
          </a:schemeClr>
        </a:buClr>
        <a:buFont typeface="Arial" pitchFamily="34" charset="0"/>
        <a:buChar char="»"/>
        <a:defRPr sz="760" kern="1200">
          <a:solidFill>
            <a:schemeClr val="accent3"/>
          </a:solidFill>
          <a:latin typeface="Georgia" panose="02040502050405020303" pitchFamily="18" charset="0"/>
          <a:ea typeface="MS PGothic" pitchFamily="34" charset="-128"/>
          <a:cs typeface="Arial"/>
        </a:defRPr>
      </a:lvl5pPr>
      <a:lvl6pPr marL="1909085" indent="-173550" algn="l" defTabSz="347107" rtl="0" eaLnBrk="1" latinLnBrk="0" hangingPunct="1">
        <a:spcBef>
          <a:spcPct val="20000"/>
        </a:spcBef>
        <a:buFont typeface="Arial"/>
        <a:buChar char="•"/>
        <a:defRPr sz="1520" kern="1200">
          <a:solidFill>
            <a:schemeClr val="tx1"/>
          </a:solidFill>
          <a:latin typeface="+mn-lt"/>
          <a:ea typeface="+mn-ea"/>
          <a:cs typeface="+mn-cs"/>
        </a:defRPr>
      </a:lvl6pPr>
      <a:lvl7pPr marL="2256195" indent="-173550" algn="l" defTabSz="347107" rtl="0" eaLnBrk="1" latinLnBrk="0" hangingPunct="1">
        <a:spcBef>
          <a:spcPct val="20000"/>
        </a:spcBef>
        <a:buFont typeface="Arial"/>
        <a:buChar char="•"/>
        <a:defRPr sz="1520" kern="1200">
          <a:solidFill>
            <a:schemeClr val="tx1"/>
          </a:solidFill>
          <a:latin typeface="+mn-lt"/>
          <a:ea typeface="+mn-ea"/>
          <a:cs typeface="+mn-cs"/>
        </a:defRPr>
      </a:lvl7pPr>
      <a:lvl8pPr marL="2603303" indent="-173550" algn="l" defTabSz="347107" rtl="0" eaLnBrk="1" latinLnBrk="0" hangingPunct="1">
        <a:spcBef>
          <a:spcPct val="20000"/>
        </a:spcBef>
        <a:buFont typeface="Arial"/>
        <a:buChar char="•"/>
        <a:defRPr sz="1520" kern="1200">
          <a:solidFill>
            <a:schemeClr val="tx1"/>
          </a:solidFill>
          <a:latin typeface="+mn-lt"/>
          <a:ea typeface="+mn-ea"/>
          <a:cs typeface="+mn-cs"/>
        </a:defRPr>
      </a:lvl8pPr>
      <a:lvl9pPr marL="2950414" indent="-173550" algn="l" defTabSz="347107" rtl="0" eaLnBrk="1" latinLnBrk="0" hangingPunct="1">
        <a:spcBef>
          <a:spcPct val="20000"/>
        </a:spcBef>
        <a:buFont typeface="Arial"/>
        <a:buChar char="•"/>
        <a:defRPr sz="1520" kern="1200">
          <a:solidFill>
            <a:schemeClr val="tx1"/>
          </a:solidFill>
          <a:latin typeface="+mn-lt"/>
          <a:ea typeface="+mn-ea"/>
          <a:cs typeface="+mn-cs"/>
        </a:defRPr>
      </a:lvl9pPr>
    </p:bodyStyle>
    <p:otherStyle>
      <a:defPPr>
        <a:defRPr lang="en-US"/>
      </a:defPPr>
      <a:lvl1pPr marL="0" algn="l" defTabSz="347107" rtl="0" eaLnBrk="1" latinLnBrk="0" hangingPunct="1">
        <a:defRPr sz="1368" kern="1200">
          <a:solidFill>
            <a:schemeClr val="tx1"/>
          </a:solidFill>
          <a:latin typeface="+mn-lt"/>
          <a:ea typeface="+mn-ea"/>
          <a:cs typeface="+mn-cs"/>
        </a:defRPr>
      </a:lvl1pPr>
      <a:lvl2pPr marL="347107" algn="l" defTabSz="347107" rtl="0" eaLnBrk="1" latinLnBrk="0" hangingPunct="1">
        <a:defRPr sz="1368" kern="1200">
          <a:solidFill>
            <a:schemeClr val="tx1"/>
          </a:solidFill>
          <a:latin typeface="+mn-lt"/>
          <a:ea typeface="+mn-ea"/>
          <a:cs typeface="+mn-cs"/>
        </a:defRPr>
      </a:lvl2pPr>
      <a:lvl3pPr marL="694217" algn="l" defTabSz="347107" rtl="0" eaLnBrk="1" latinLnBrk="0" hangingPunct="1">
        <a:defRPr sz="1368" kern="1200">
          <a:solidFill>
            <a:schemeClr val="tx1"/>
          </a:solidFill>
          <a:latin typeface="+mn-lt"/>
          <a:ea typeface="+mn-ea"/>
          <a:cs typeface="+mn-cs"/>
        </a:defRPr>
      </a:lvl3pPr>
      <a:lvl4pPr marL="1041327" algn="l" defTabSz="347107" rtl="0" eaLnBrk="1" latinLnBrk="0" hangingPunct="1">
        <a:defRPr sz="1368" kern="1200">
          <a:solidFill>
            <a:schemeClr val="tx1"/>
          </a:solidFill>
          <a:latin typeface="+mn-lt"/>
          <a:ea typeface="+mn-ea"/>
          <a:cs typeface="+mn-cs"/>
        </a:defRPr>
      </a:lvl4pPr>
      <a:lvl5pPr marL="1388436" algn="l" defTabSz="347107" rtl="0" eaLnBrk="1" latinLnBrk="0" hangingPunct="1">
        <a:defRPr sz="1368" kern="1200">
          <a:solidFill>
            <a:schemeClr val="tx1"/>
          </a:solidFill>
          <a:latin typeface="+mn-lt"/>
          <a:ea typeface="+mn-ea"/>
          <a:cs typeface="+mn-cs"/>
        </a:defRPr>
      </a:lvl5pPr>
      <a:lvl6pPr marL="1735539" algn="l" defTabSz="347107" rtl="0" eaLnBrk="1" latinLnBrk="0" hangingPunct="1">
        <a:defRPr sz="1368" kern="1200">
          <a:solidFill>
            <a:schemeClr val="tx1"/>
          </a:solidFill>
          <a:latin typeface="+mn-lt"/>
          <a:ea typeface="+mn-ea"/>
          <a:cs typeface="+mn-cs"/>
        </a:defRPr>
      </a:lvl6pPr>
      <a:lvl7pPr marL="2082645" algn="l" defTabSz="347107" rtl="0" eaLnBrk="1" latinLnBrk="0" hangingPunct="1">
        <a:defRPr sz="1368" kern="1200">
          <a:solidFill>
            <a:schemeClr val="tx1"/>
          </a:solidFill>
          <a:latin typeface="+mn-lt"/>
          <a:ea typeface="+mn-ea"/>
          <a:cs typeface="+mn-cs"/>
        </a:defRPr>
      </a:lvl7pPr>
      <a:lvl8pPr marL="2429750" algn="l" defTabSz="347107" rtl="0" eaLnBrk="1" latinLnBrk="0" hangingPunct="1">
        <a:defRPr sz="1368" kern="1200">
          <a:solidFill>
            <a:schemeClr val="tx1"/>
          </a:solidFill>
          <a:latin typeface="+mn-lt"/>
          <a:ea typeface="+mn-ea"/>
          <a:cs typeface="+mn-cs"/>
        </a:defRPr>
      </a:lvl8pPr>
      <a:lvl9pPr marL="2776867" algn="l" defTabSz="347107" rtl="0" eaLnBrk="1" latinLnBrk="0" hangingPunct="1">
        <a:defRPr sz="136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18" Type="http://schemas.openxmlformats.org/officeDocument/2006/relationships/image" Target="../media/image49.png"/><Relationship Id="rId3" Type="http://schemas.openxmlformats.org/officeDocument/2006/relationships/image" Target="../media/image34.png"/><Relationship Id="rId21" Type="http://schemas.openxmlformats.org/officeDocument/2006/relationships/image" Target="../media/image52.png"/><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png"/><Relationship Id="rId25" Type="http://schemas.openxmlformats.org/officeDocument/2006/relationships/image" Target="../media/image56.png"/><Relationship Id="rId2" Type="http://schemas.openxmlformats.org/officeDocument/2006/relationships/image" Target="../media/image33.jpeg"/><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slideLayout" Target="../slideLayouts/slideLayout3.xml"/><Relationship Id="rId6" Type="http://schemas.openxmlformats.org/officeDocument/2006/relationships/image" Target="../media/image37.png"/><Relationship Id="rId11" Type="http://schemas.openxmlformats.org/officeDocument/2006/relationships/image" Target="../media/image42.png"/><Relationship Id="rId24" Type="http://schemas.openxmlformats.org/officeDocument/2006/relationships/image" Target="../media/image55.png"/><Relationship Id="rId5" Type="http://schemas.openxmlformats.org/officeDocument/2006/relationships/image" Target="../media/image36.png"/><Relationship Id="rId15" Type="http://schemas.openxmlformats.org/officeDocument/2006/relationships/image" Target="../media/image46.png"/><Relationship Id="rId23" Type="http://schemas.openxmlformats.org/officeDocument/2006/relationships/image" Target="../media/image54.png"/><Relationship Id="rId10" Type="http://schemas.openxmlformats.org/officeDocument/2006/relationships/image" Target="../media/image41.png"/><Relationship Id="rId19" Type="http://schemas.openxmlformats.org/officeDocument/2006/relationships/image" Target="../media/image50.pn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45.png"/><Relationship Id="rId22" Type="http://schemas.openxmlformats.org/officeDocument/2006/relationships/image" Target="../media/image53.png"/></Relationships>
</file>

<file path=ppt/slides/_rels/slide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3.xml.rels><?xml version="1.0" encoding="UTF-8" standalone="yes"?>
<Relationships xmlns="http://schemas.openxmlformats.org/package/2006/relationships"><Relationship Id="rId8" Type="http://schemas.openxmlformats.org/officeDocument/2006/relationships/image" Target="../media/image66.jpg"/><Relationship Id="rId3" Type="http://schemas.openxmlformats.org/officeDocument/2006/relationships/image" Target="../media/image61.png"/><Relationship Id="rId7" Type="http://schemas.openxmlformats.org/officeDocument/2006/relationships/image" Target="../media/image65.emf"/><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64.pn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jpg"/></Relationships>
</file>

<file path=ppt/slides/_rels/slide4.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emf"/><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66.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 Id="rId9" Type="http://schemas.openxmlformats.org/officeDocument/2006/relationships/image" Target="../media/image7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450" y="117020"/>
            <a:ext cx="8530495" cy="373847"/>
          </a:xfrm>
        </p:spPr>
        <p:txBody>
          <a:bodyPr/>
          <a:lstStyle/>
          <a:p>
            <a:r>
              <a:rPr lang="en-US" dirty="0"/>
              <a:t>Johnson and Johnson Data &amp; Analytics Capability Overview </a:t>
            </a:r>
          </a:p>
        </p:txBody>
      </p:sp>
      <p:grpSp>
        <p:nvGrpSpPr>
          <p:cNvPr id="44" name="Group 43"/>
          <p:cNvGrpSpPr/>
          <p:nvPr/>
        </p:nvGrpSpPr>
        <p:grpSpPr>
          <a:xfrm>
            <a:off x="836408" y="1021652"/>
            <a:ext cx="2598420" cy="1263830"/>
            <a:chOff x="1376680" y="1021652"/>
            <a:chExt cx="2598420" cy="1263830"/>
          </a:xfrm>
        </p:grpSpPr>
        <p:pic>
          <p:nvPicPr>
            <p:cNvPr id="3" name="Picture 1"/>
            <p:cNvPicPr>
              <a:picLocks noChangeAspect="1" noChangeArrowheads="1"/>
            </p:cNvPicPr>
            <p:nvPr/>
          </p:nvPicPr>
          <p:blipFill>
            <a:blip r:embed="rId2" cstate="print"/>
            <a:stretch>
              <a:fillRect/>
            </a:stretch>
          </p:blipFill>
          <p:spPr bwMode="auto">
            <a:xfrm>
              <a:off x="1376680" y="1021652"/>
              <a:ext cx="2598420" cy="1263830"/>
            </a:xfrm>
            <a:prstGeom prst="rect">
              <a:avLst/>
            </a:prstGeom>
            <a:noFill/>
            <a:ln>
              <a:noFill/>
            </a:ln>
          </p:spPr>
        </p:pic>
        <p:sp>
          <p:nvSpPr>
            <p:cNvPr id="4" name="Oval 3"/>
            <p:cNvSpPr/>
            <p:nvPr/>
          </p:nvSpPr>
          <p:spPr bwMode="auto">
            <a:xfrm>
              <a:off x="1761898" y="1400998"/>
              <a:ext cx="73152" cy="73152"/>
            </a:xfrm>
            <a:prstGeom prst="ellipse">
              <a:avLst/>
            </a:prstGeom>
            <a:solidFill>
              <a:srgbClr val="FF0000"/>
            </a:solidFill>
            <a:ln w="635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310" rtl="0" eaLnBrk="0" fontAlgn="base" latinLnBrk="0" hangingPunct="0">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effectLst/>
                <a:uLnTx/>
                <a:uFillTx/>
                <a:latin typeface="Calibri" panose="020F0502020204030204" pitchFamily="34" charset="0"/>
                <a:cs typeface="Arial" pitchFamily="34" charset="0"/>
              </a:endParaRPr>
            </a:p>
          </p:txBody>
        </p:sp>
        <p:sp>
          <p:nvSpPr>
            <p:cNvPr id="5" name="Oval 4"/>
            <p:cNvSpPr/>
            <p:nvPr/>
          </p:nvSpPr>
          <p:spPr bwMode="auto">
            <a:xfrm>
              <a:off x="2598825" y="1364797"/>
              <a:ext cx="73152" cy="73152"/>
            </a:xfrm>
            <a:prstGeom prst="ellipse">
              <a:avLst/>
            </a:prstGeom>
            <a:solidFill>
              <a:srgbClr val="FF0000"/>
            </a:solidFill>
            <a:ln w="635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310" rtl="0" eaLnBrk="0" fontAlgn="base" latinLnBrk="0" hangingPunct="0">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effectLst/>
                <a:uLnTx/>
                <a:uFillTx/>
                <a:latin typeface="Calibri" panose="020F0502020204030204" pitchFamily="34" charset="0"/>
                <a:cs typeface="Arial" pitchFamily="34" charset="0"/>
              </a:endParaRPr>
            </a:p>
          </p:txBody>
        </p:sp>
        <p:sp>
          <p:nvSpPr>
            <p:cNvPr id="6" name="Oval 5"/>
            <p:cNvSpPr/>
            <p:nvPr/>
          </p:nvSpPr>
          <p:spPr bwMode="auto">
            <a:xfrm>
              <a:off x="2162361" y="1797319"/>
              <a:ext cx="73152" cy="73152"/>
            </a:xfrm>
            <a:prstGeom prst="ellipse">
              <a:avLst/>
            </a:prstGeom>
            <a:solidFill>
              <a:srgbClr val="FF0000"/>
            </a:solidFill>
            <a:ln w="635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310" rtl="0" eaLnBrk="0" fontAlgn="base" latinLnBrk="0" hangingPunct="0">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effectLst/>
                <a:uLnTx/>
                <a:uFillTx/>
                <a:latin typeface="Calibri" panose="020F0502020204030204" pitchFamily="34" charset="0"/>
                <a:cs typeface="Arial" pitchFamily="34" charset="0"/>
              </a:endParaRPr>
            </a:p>
          </p:txBody>
        </p:sp>
        <p:sp>
          <p:nvSpPr>
            <p:cNvPr id="7" name="Oval 6"/>
            <p:cNvSpPr/>
            <p:nvPr/>
          </p:nvSpPr>
          <p:spPr bwMode="auto">
            <a:xfrm>
              <a:off x="3131780" y="1631643"/>
              <a:ext cx="73152" cy="73152"/>
            </a:xfrm>
            <a:prstGeom prst="ellipse">
              <a:avLst/>
            </a:prstGeom>
            <a:solidFill>
              <a:srgbClr val="FF0000"/>
            </a:solidFill>
            <a:ln w="635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310" rtl="0" eaLnBrk="0" fontAlgn="base" latinLnBrk="0" hangingPunct="0">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effectLst/>
                <a:uLnTx/>
                <a:uFillTx/>
                <a:latin typeface="Calibri" panose="020F0502020204030204" pitchFamily="34" charset="0"/>
                <a:cs typeface="Arial" pitchFamily="34" charset="0"/>
              </a:endParaRPr>
            </a:p>
          </p:txBody>
        </p:sp>
        <p:sp>
          <p:nvSpPr>
            <p:cNvPr id="8" name="Oval 7"/>
            <p:cNvSpPr/>
            <p:nvPr/>
          </p:nvSpPr>
          <p:spPr bwMode="auto">
            <a:xfrm>
              <a:off x="3688964" y="1995497"/>
              <a:ext cx="73152" cy="73152"/>
            </a:xfrm>
            <a:prstGeom prst="ellipse">
              <a:avLst/>
            </a:prstGeom>
            <a:solidFill>
              <a:srgbClr val="FF0000"/>
            </a:solidFill>
            <a:ln w="635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310" rtl="0" eaLnBrk="0" fontAlgn="base" latinLnBrk="0" hangingPunct="0">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effectLst/>
                <a:uLnTx/>
                <a:uFillTx/>
                <a:latin typeface="Calibri" panose="020F0502020204030204" pitchFamily="34" charset="0"/>
                <a:cs typeface="Arial" pitchFamily="34" charset="0"/>
              </a:endParaRPr>
            </a:p>
          </p:txBody>
        </p:sp>
        <p:sp>
          <p:nvSpPr>
            <p:cNvPr id="9" name="TextBox 8"/>
            <p:cNvSpPr txBox="1"/>
            <p:nvPr/>
          </p:nvSpPr>
          <p:spPr>
            <a:xfrm>
              <a:off x="1461384" y="1205297"/>
              <a:ext cx="674179" cy="215444"/>
            </a:xfrm>
            <a:prstGeom prst="rect">
              <a:avLst/>
            </a:prstGeom>
            <a:noFill/>
          </p:spPr>
          <p:txBody>
            <a:bodyPr wrap="square" rtlCol="0">
              <a:spAutoFit/>
            </a:bodyPr>
            <a:lstStyle/>
            <a:p>
              <a:pPr algn="ctr"/>
              <a:r>
                <a:rPr lang="en-US" sz="800" b="1" dirty="0">
                  <a:latin typeface="Calibri" panose="020F0502020204030204" pitchFamily="34" charset="0"/>
                </a:rPr>
                <a:t>USA</a:t>
              </a:r>
            </a:p>
          </p:txBody>
        </p:sp>
        <p:sp>
          <p:nvSpPr>
            <p:cNvPr id="10" name="TextBox 9"/>
            <p:cNvSpPr txBox="1"/>
            <p:nvPr/>
          </p:nvSpPr>
          <p:spPr>
            <a:xfrm>
              <a:off x="2160508" y="1923789"/>
              <a:ext cx="485479" cy="215444"/>
            </a:xfrm>
            <a:prstGeom prst="rect">
              <a:avLst/>
            </a:prstGeom>
            <a:noFill/>
          </p:spPr>
          <p:txBody>
            <a:bodyPr wrap="square" rtlCol="0">
              <a:spAutoFit/>
            </a:bodyPr>
            <a:lstStyle/>
            <a:p>
              <a:pPr algn="ctr"/>
              <a:r>
                <a:rPr lang="en-US" sz="800" b="1" dirty="0">
                  <a:latin typeface="Calibri" panose="020F0502020204030204" pitchFamily="34" charset="0"/>
                </a:rPr>
                <a:t>BRAZIL</a:t>
              </a:r>
            </a:p>
          </p:txBody>
        </p:sp>
        <p:sp>
          <p:nvSpPr>
            <p:cNvPr id="11" name="TextBox 10"/>
            <p:cNvSpPr txBox="1"/>
            <p:nvPr/>
          </p:nvSpPr>
          <p:spPr>
            <a:xfrm>
              <a:off x="2573552" y="1244357"/>
              <a:ext cx="674179" cy="215444"/>
            </a:xfrm>
            <a:prstGeom prst="rect">
              <a:avLst/>
            </a:prstGeom>
            <a:noFill/>
          </p:spPr>
          <p:txBody>
            <a:bodyPr wrap="square" rtlCol="0">
              <a:spAutoFit/>
            </a:bodyPr>
            <a:lstStyle/>
            <a:p>
              <a:pPr algn="ctr"/>
              <a:r>
                <a:rPr lang="en-US" sz="800" b="1" dirty="0">
                  <a:latin typeface="Calibri" panose="020F0502020204030204" pitchFamily="34" charset="0"/>
                </a:rPr>
                <a:t>BELGIUM</a:t>
              </a:r>
            </a:p>
          </p:txBody>
        </p:sp>
        <p:cxnSp>
          <p:nvCxnSpPr>
            <p:cNvPr id="12" name="Straight Connector 11"/>
            <p:cNvCxnSpPr>
              <a:stCxn id="4" idx="6"/>
              <a:endCxn id="7" idx="2"/>
            </p:cNvCxnSpPr>
            <p:nvPr/>
          </p:nvCxnSpPr>
          <p:spPr bwMode="auto">
            <a:xfrm>
              <a:off x="1835050" y="1437574"/>
              <a:ext cx="1296730" cy="230645"/>
            </a:xfrm>
            <a:prstGeom prst="line">
              <a:avLst/>
            </a:prstGeom>
            <a:solidFill>
              <a:schemeClr val="tx2"/>
            </a:solidFill>
            <a:ln w="6350" cap="flat" cmpd="sng" algn="ctr">
              <a:solidFill>
                <a:schemeClr val="accent3"/>
              </a:solidFill>
              <a:prstDash val="sysDash"/>
              <a:round/>
              <a:headEnd type="none" w="med" len="med"/>
              <a:tailEnd type="none" w="med" len="med"/>
            </a:ln>
            <a:effectLst/>
          </p:spPr>
        </p:cxnSp>
        <p:cxnSp>
          <p:nvCxnSpPr>
            <p:cNvPr id="13" name="Straight Connector 12"/>
            <p:cNvCxnSpPr>
              <a:stCxn id="6" idx="6"/>
              <a:endCxn id="7" idx="2"/>
            </p:cNvCxnSpPr>
            <p:nvPr/>
          </p:nvCxnSpPr>
          <p:spPr bwMode="auto">
            <a:xfrm flipV="1">
              <a:off x="2235513" y="1668219"/>
              <a:ext cx="896267" cy="165676"/>
            </a:xfrm>
            <a:prstGeom prst="line">
              <a:avLst/>
            </a:prstGeom>
            <a:solidFill>
              <a:schemeClr val="tx2"/>
            </a:solidFill>
            <a:ln w="6350" cap="flat" cmpd="sng" algn="ctr">
              <a:solidFill>
                <a:schemeClr val="accent3"/>
              </a:solidFill>
              <a:prstDash val="sysDash"/>
              <a:round/>
              <a:headEnd type="none" w="med" len="med"/>
              <a:tailEnd type="none" w="med" len="med"/>
            </a:ln>
            <a:effectLst/>
          </p:spPr>
        </p:cxnSp>
        <p:cxnSp>
          <p:nvCxnSpPr>
            <p:cNvPr id="14" name="Straight Connector 13"/>
            <p:cNvCxnSpPr>
              <a:stCxn id="5" idx="6"/>
              <a:endCxn id="7" idx="2"/>
            </p:cNvCxnSpPr>
            <p:nvPr/>
          </p:nvCxnSpPr>
          <p:spPr bwMode="auto">
            <a:xfrm>
              <a:off x="2671977" y="1401373"/>
              <a:ext cx="459803" cy="266846"/>
            </a:xfrm>
            <a:prstGeom prst="line">
              <a:avLst/>
            </a:prstGeom>
            <a:solidFill>
              <a:schemeClr val="tx2"/>
            </a:solidFill>
            <a:ln w="6350" cap="flat" cmpd="sng" algn="ctr">
              <a:solidFill>
                <a:schemeClr val="accent3"/>
              </a:solidFill>
              <a:prstDash val="sysDash"/>
              <a:round/>
              <a:headEnd type="none" w="med" len="med"/>
              <a:tailEnd type="none" w="med" len="med"/>
            </a:ln>
            <a:effectLst/>
          </p:spPr>
        </p:cxnSp>
        <p:sp>
          <p:nvSpPr>
            <p:cNvPr id="15" name="Oval 14"/>
            <p:cNvSpPr/>
            <p:nvPr/>
          </p:nvSpPr>
          <p:spPr bwMode="auto">
            <a:xfrm>
              <a:off x="3480288" y="1830719"/>
              <a:ext cx="73152" cy="73152"/>
            </a:xfrm>
            <a:prstGeom prst="ellipse">
              <a:avLst/>
            </a:prstGeom>
            <a:solidFill>
              <a:srgbClr val="FF0000"/>
            </a:solidFill>
            <a:ln w="635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310" rtl="0" eaLnBrk="0" fontAlgn="base" latinLnBrk="0" hangingPunct="0">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effectLst/>
                <a:uLnTx/>
                <a:uFillTx/>
                <a:latin typeface="Calibri" panose="020F0502020204030204" pitchFamily="34" charset="0"/>
                <a:cs typeface="Arial" pitchFamily="34" charset="0"/>
              </a:endParaRPr>
            </a:p>
          </p:txBody>
        </p:sp>
      </p:grpSp>
      <p:graphicFrame>
        <p:nvGraphicFramePr>
          <p:cNvPr id="17" name="Table 16"/>
          <p:cNvGraphicFramePr>
            <a:graphicFrameLocks noGrp="1"/>
          </p:cNvGraphicFramePr>
          <p:nvPr>
            <p:extLst>
              <p:ext uri="{D42A27DB-BD31-4B8C-83A1-F6EECF244321}">
                <p14:modId xmlns:p14="http://schemas.microsoft.com/office/powerpoint/2010/main" val="3069636604"/>
              </p:ext>
            </p:extLst>
          </p:nvPr>
        </p:nvGraphicFramePr>
        <p:xfrm>
          <a:off x="298450" y="3715648"/>
          <a:ext cx="4278630" cy="1021080"/>
        </p:xfrm>
        <a:graphic>
          <a:graphicData uri="http://schemas.openxmlformats.org/drawingml/2006/table">
            <a:tbl>
              <a:tblPr firstRow="1" bandRow="1">
                <a:tableStyleId>{5C22544A-7EE6-4342-B048-85BDC9FD1C3A}</a:tableStyleId>
              </a:tblPr>
              <a:tblGrid>
                <a:gridCol w="316230">
                  <a:extLst>
                    <a:ext uri="{9D8B030D-6E8A-4147-A177-3AD203B41FA5}">
                      <a16:colId xmlns:a16="http://schemas.microsoft.com/office/drawing/2014/main" val="20000"/>
                    </a:ext>
                  </a:extLst>
                </a:gridCol>
                <a:gridCol w="2179320">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1417320">
                  <a:extLst>
                    <a:ext uri="{9D8B030D-6E8A-4147-A177-3AD203B41FA5}">
                      <a16:colId xmlns:a16="http://schemas.microsoft.com/office/drawing/2014/main" val="20003"/>
                    </a:ext>
                  </a:extLst>
                </a:gridCol>
              </a:tblGrid>
              <a:tr h="118965">
                <a:tc gridSpan="4">
                  <a:txBody>
                    <a:bodyPr/>
                    <a:lstStyle/>
                    <a:p>
                      <a:pPr algn="ctr"/>
                      <a:r>
                        <a:rPr lang="en-US" sz="800" b="1" i="0" dirty="0">
                          <a:solidFill>
                            <a:schemeClr val="bg1"/>
                          </a:solidFill>
                          <a:latin typeface="Calibri" pitchFamily="34" charset="0"/>
                        </a:rPr>
                        <a:t>200+ Support Professionals with Data &amp; Analytics expertise</a:t>
                      </a:r>
                    </a:p>
                  </a:txBody>
                  <a:tcPr>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endParaRPr lang="sv-SE" dirty="0"/>
                    </a:p>
                  </a:txBody>
                  <a:tcPr>
                    <a:lnL w="3175" cap="flat" cmpd="sng" algn="ctr">
                      <a:solidFill>
                        <a:schemeClr val="accent2"/>
                      </a:solidFill>
                      <a:prstDash val="solid"/>
                      <a:round/>
                      <a:headEnd type="none" w="med" len="med"/>
                      <a:tailEnd type="none" w="med" len="med"/>
                    </a:lnL>
                    <a:lnR w="3175" cap="flat" cmpd="sng" algn="ctr">
                      <a:solidFill>
                        <a:schemeClr val="accent2"/>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solidFill>
                      <a:schemeClr val="bg1"/>
                    </a:solidFill>
                  </a:tcPr>
                </a:tc>
                <a:tc hMerge="1">
                  <a:txBody>
                    <a:bodyPr/>
                    <a:lstStyle/>
                    <a:p>
                      <a:pPr algn="ctr"/>
                      <a:endParaRPr lang="en-US" sz="800" b="1" i="0" dirty="0">
                        <a:solidFill>
                          <a:schemeClr val="bg1"/>
                        </a:solidFill>
                        <a:latin typeface="Calibri" pitchFamily="34" charset="0"/>
                      </a:endParaRPr>
                    </a:p>
                  </a:txBody>
                  <a:tcPr>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pPr algn="ctr"/>
                      <a:endParaRPr lang="en-US" sz="800" b="1" i="0" dirty="0">
                        <a:solidFill>
                          <a:schemeClr val="bg1"/>
                        </a:solidFill>
                        <a:latin typeface="Calibri" pitchFamily="34" charset="0"/>
                      </a:endParaRPr>
                    </a:p>
                  </a:txBody>
                  <a:tcPr>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186944">
                <a:tc>
                  <a:txBody>
                    <a:bodyPr/>
                    <a:lstStyle/>
                    <a:p>
                      <a:r>
                        <a:rPr lang="sv-SE" sz="700" b="1" i="0" dirty="0">
                          <a:solidFill>
                            <a:schemeClr val="tx1"/>
                          </a:solidFill>
                          <a:latin typeface="Calibri" pitchFamily="34" charset="0"/>
                        </a:rPr>
                        <a:t>57+</a:t>
                      </a:r>
                    </a:p>
                  </a:txBody>
                  <a:tcPr>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sv-SE" sz="700" i="0" dirty="0">
                          <a:solidFill>
                            <a:schemeClr val="tx1"/>
                          </a:solidFill>
                          <a:latin typeface="Calibri" pitchFamily="34" charset="0"/>
                        </a:rPr>
                        <a:t>Spotfire, Tableau, Microstrategy, Qliksense/</a:t>
                      </a:r>
                      <a:br>
                        <a:rPr lang="sv-SE" sz="700" i="0" dirty="0">
                          <a:solidFill>
                            <a:schemeClr val="tx1"/>
                          </a:solidFill>
                          <a:latin typeface="Calibri" pitchFamily="34" charset="0"/>
                        </a:rPr>
                      </a:br>
                      <a:r>
                        <a:rPr lang="sv-SE" sz="700" i="0" dirty="0">
                          <a:solidFill>
                            <a:schemeClr val="tx1"/>
                          </a:solidFill>
                          <a:latin typeface="Calibri" pitchFamily="34" charset="0"/>
                        </a:rPr>
                        <a:t>Qlikview, Cognos, SSRS</a:t>
                      </a:r>
                    </a:p>
                  </a:txBody>
                  <a:tcPr>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sv-SE" sz="700" b="1" i="0" dirty="0">
                          <a:solidFill>
                            <a:schemeClr val="tx1"/>
                          </a:solidFill>
                          <a:latin typeface="Calibri" pitchFamily="34" charset="0"/>
                        </a:rPr>
                        <a:t>12 +</a:t>
                      </a:r>
                    </a:p>
                  </a:txBody>
                  <a:tcPr>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sv-SE" sz="700" b="0" i="0" dirty="0">
                          <a:solidFill>
                            <a:schemeClr val="tx1"/>
                          </a:solidFill>
                          <a:latin typeface="Calibri" pitchFamily="34" charset="0"/>
                        </a:rPr>
                        <a:t>.NET, MVC, Python Script, Windows Power Shell, Angular JS</a:t>
                      </a:r>
                    </a:p>
                  </a:txBody>
                  <a:tcPr>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18965">
                <a:tc>
                  <a:txBody>
                    <a:bodyPr/>
                    <a:lstStyle/>
                    <a:p>
                      <a:r>
                        <a:rPr lang="sv-SE" sz="700" b="1" i="0" dirty="0">
                          <a:solidFill>
                            <a:schemeClr val="tx1"/>
                          </a:solidFill>
                          <a:latin typeface="Calibri" pitchFamily="34" charset="0"/>
                        </a:rPr>
                        <a:t>66+</a:t>
                      </a:r>
                    </a:p>
                  </a:txBody>
                  <a:tcPr>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700" i="0" dirty="0">
                          <a:solidFill>
                            <a:schemeClr val="tx1"/>
                          </a:solidFill>
                          <a:latin typeface="Calibri" pitchFamily="34" charset="0"/>
                        </a:rPr>
                        <a:t>Informatica, Alteryx, Talend, Cognos DM, Kalido, MDM</a:t>
                      </a:r>
                      <a:endParaRPr lang="sv-SE" sz="700" i="0" dirty="0">
                        <a:solidFill>
                          <a:schemeClr val="tx1"/>
                        </a:solidFill>
                        <a:latin typeface="Calibri" pitchFamily="34" charset="0"/>
                      </a:endParaRPr>
                    </a:p>
                  </a:txBody>
                  <a:tcPr>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sv-SE" sz="700" b="1" i="0" dirty="0">
                          <a:solidFill>
                            <a:schemeClr val="tx1"/>
                          </a:solidFill>
                          <a:latin typeface="Calibri" pitchFamily="34" charset="0"/>
                        </a:rPr>
                        <a:t>7 +</a:t>
                      </a:r>
                    </a:p>
                  </a:txBody>
                  <a:tcPr>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sv-SE" sz="700" i="0" dirty="0">
                          <a:solidFill>
                            <a:schemeClr val="tx1"/>
                          </a:solidFill>
                          <a:latin typeface="Calibri" pitchFamily="34" charset="0"/>
                        </a:rPr>
                        <a:t>SAP BW,</a:t>
                      </a:r>
                      <a:r>
                        <a:rPr lang="sv-SE" sz="700" i="0" baseline="0" dirty="0">
                          <a:solidFill>
                            <a:schemeClr val="tx1"/>
                          </a:solidFill>
                          <a:latin typeface="Calibri" pitchFamily="34" charset="0"/>
                        </a:rPr>
                        <a:t> SAP ABAP</a:t>
                      </a:r>
                      <a:endParaRPr lang="sv-SE" sz="700" i="0" dirty="0">
                        <a:solidFill>
                          <a:schemeClr val="tx1"/>
                        </a:solidFill>
                        <a:latin typeface="Calibri" pitchFamily="34" charset="0"/>
                      </a:endParaRPr>
                    </a:p>
                  </a:txBody>
                  <a:tcPr>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86944">
                <a:tc>
                  <a:txBody>
                    <a:bodyPr/>
                    <a:lstStyle/>
                    <a:p>
                      <a:r>
                        <a:rPr lang="sv-SE" sz="700" b="1" i="0" dirty="0">
                          <a:solidFill>
                            <a:schemeClr val="tx1"/>
                          </a:solidFill>
                          <a:latin typeface="Calibri" pitchFamily="34" charset="0"/>
                        </a:rPr>
                        <a:t>55+</a:t>
                      </a:r>
                    </a:p>
                  </a:txBody>
                  <a:tcPr>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700" i="0" dirty="0">
                          <a:solidFill>
                            <a:schemeClr val="tx1"/>
                          </a:solidFill>
                          <a:latin typeface="Calibri" pitchFamily="34" charset="0"/>
                        </a:rPr>
                        <a:t>AWS</a:t>
                      </a:r>
                      <a:r>
                        <a:rPr lang="en-US" sz="700" i="0" baseline="0" dirty="0">
                          <a:solidFill>
                            <a:schemeClr val="tx1"/>
                          </a:solidFill>
                          <a:latin typeface="Calibri" pitchFamily="34" charset="0"/>
                        </a:rPr>
                        <a:t>, Redshift, Oracle, SQL Server, Teradata</a:t>
                      </a:r>
                      <a:endParaRPr lang="sv-SE" sz="700" i="0" dirty="0">
                        <a:solidFill>
                          <a:schemeClr val="tx1"/>
                        </a:solidFill>
                        <a:latin typeface="Calibri" pitchFamily="34" charset="0"/>
                      </a:endParaRPr>
                    </a:p>
                  </a:txBody>
                  <a:tcPr>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sv-SE" sz="700" b="1" i="0" dirty="0">
                          <a:solidFill>
                            <a:schemeClr val="tx1"/>
                          </a:solidFill>
                          <a:latin typeface="Calibri" pitchFamily="34" charset="0"/>
                        </a:rPr>
                        <a:t>15 + </a:t>
                      </a:r>
                    </a:p>
                  </a:txBody>
                  <a:tcPr>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sv-SE" sz="700" i="0" dirty="0">
                          <a:solidFill>
                            <a:schemeClr val="tx1"/>
                          </a:solidFill>
                          <a:latin typeface="Calibri" pitchFamily="34" charset="0"/>
                        </a:rPr>
                        <a:t>SLMs</a:t>
                      </a:r>
                      <a:r>
                        <a:rPr lang="sv-SE" sz="700" i="0" baseline="0" dirty="0">
                          <a:solidFill>
                            <a:schemeClr val="tx1"/>
                          </a:solidFill>
                          <a:latin typeface="Calibri" pitchFamily="34" charset="0"/>
                        </a:rPr>
                        <a:t> &amp; Scrum Masters</a:t>
                      </a:r>
                      <a:r>
                        <a:rPr lang="sv-SE" sz="700" i="0" dirty="0">
                          <a:solidFill>
                            <a:schemeClr val="tx1"/>
                          </a:solidFill>
                          <a:latin typeface="Calibri" pitchFamily="34" charset="0"/>
                        </a:rPr>
                        <a:t> with rich BI Experience/Expertise</a:t>
                      </a:r>
                    </a:p>
                  </a:txBody>
                  <a:tcPr>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20" name="Rectangle 19"/>
          <p:cNvSpPr/>
          <p:nvPr/>
        </p:nvSpPr>
        <p:spPr>
          <a:xfrm>
            <a:off x="3592158" y="1308074"/>
            <a:ext cx="1076115" cy="707886"/>
          </a:xfrm>
          <a:prstGeom prst="rect">
            <a:avLst/>
          </a:prstGeom>
        </p:spPr>
        <p:txBody>
          <a:bodyPr wrap="square">
            <a:spAutoFit/>
          </a:bodyPr>
          <a:lstStyle/>
          <a:p>
            <a:pPr defTabSz="914342">
              <a:defRPr/>
            </a:pPr>
            <a:r>
              <a:rPr lang="en-US" sz="800" b="1" dirty="0">
                <a:latin typeface="Calibri" panose="020F0502020204030204" pitchFamily="34" charset="0"/>
              </a:rPr>
              <a:t>Support offices: </a:t>
            </a:r>
          </a:p>
          <a:p>
            <a:pPr marL="195711" indent="-195711" defTabSz="782797">
              <a:buClr>
                <a:schemeClr val="accent5"/>
              </a:buClr>
              <a:buFont typeface="Wingdings" pitchFamily="2" charset="2"/>
              <a:buChar char="§"/>
              <a:defRPr/>
            </a:pPr>
            <a:r>
              <a:rPr lang="en-US" sz="800" dirty="0">
                <a:latin typeface="Calibri" pitchFamily="34" charset="0"/>
              </a:rPr>
              <a:t>Bangalore, India</a:t>
            </a:r>
          </a:p>
          <a:p>
            <a:pPr marL="195711" indent="-195711" defTabSz="782797">
              <a:buClr>
                <a:schemeClr val="accent5"/>
              </a:buClr>
              <a:buFont typeface="Wingdings" pitchFamily="2" charset="2"/>
              <a:buChar char="§"/>
              <a:defRPr/>
            </a:pPr>
            <a:r>
              <a:rPr lang="en-US" sz="800" dirty="0">
                <a:latin typeface="Calibri" pitchFamily="34" charset="0"/>
              </a:rPr>
              <a:t>New Jersey, USA</a:t>
            </a:r>
          </a:p>
          <a:p>
            <a:pPr marL="195711" indent="-195711" defTabSz="782797">
              <a:buClr>
                <a:schemeClr val="accent5"/>
              </a:buClr>
              <a:buFont typeface="Wingdings" pitchFamily="2" charset="2"/>
              <a:buChar char="§"/>
              <a:defRPr/>
            </a:pPr>
            <a:r>
              <a:rPr lang="en-US" sz="800" dirty="0">
                <a:latin typeface="Calibri" pitchFamily="34" charset="0"/>
              </a:rPr>
              <a:t>Brazil</a:t>
            </a:r>
          </a:p>
          <a:p>
            <a:pPr marL="195711" indent="-195711" defTabSz="782797">
              <a:buClr>
                <a:schemeClr val="accent5"/>
              </a:buClr>
              <a:buFont typeface="Wingdings" pitchFamily="2" charset="2"/>
              <a:buChar char="§"/>
              <a:defRPr/>
            </a:pPr>
            <a:r>
              <a:rPr lang="en-US" sz="800" dirty="0">
                <a:latin typeface="Calibri" pitchFamily="34" charset="0"/>
              </a:rPr>
              <a:t>Belgium</a:t>
            </a:r>
          </a:p>
        </p:txBody>
      </p:sp>
      <p:grpSp>
        <p:nvGrpSpPr>
          <p:cNvPr id="86" name="Group 85"/>
          <p:cNvGrpSpPr/>
          <p:nvPr/>
        </p:nvGrpSpPr>
        <p:grpSpPr>
          <a:xfrm>
            <a:off x="298450" y="2390487"/>
            <a:ext cx="4278630" cy="1220156"/>
            <a:chOff x="298450" y="2334607"/>
            <a:chExt cx="4278630" cy="1220156"/>
          </a:xfrm>
        </p:grpSpPr>
        <p:pic>
          <p:nvPicPr>
            <p:cNvPr id="21" name="Picture 20"/>
            <p:cNvPicPr>
              <a:picLocks noChangeAspect="1"/>
            </p:cNvPicPr>
            <p:nvPr/>
          </p:nvPicPr>
          <p:blipFill>
            <a:blip r:embed="rId3"/>
            <a:stretch>
              <a:fillRect/>
            </a:stretch>
          </p:blipFill>
          <p:spPr>
            <a:xfrm>
              <a:off x="908815" y="2615076"/>
              <a:ext cx="3057900" cy="890050"/>
            </a:xfrm>
            <a:prstGeom prst="rect">
              <a:avLst/>
            </a:prstGeom>
            <a:noFill/>
            <a:ln>
              <a:noFill/>
            </a:ln>
          </p:spPr>
        </p:pic>
        <p:sp>
          <p:nvSpPr>
            <p:cNvPr id="22" name="Rectangle 21"/>
            <p:cNvSpPr/>
            <p:nvPr/>
          </p:nvSpPr>
          <p:spPr>
            <a:xfrm>
              <a:off x="298450" y="2334607"/>
              <a:ext cx="4278630" cy="230832"/>
            </a:xfrm>
            <a:prstGeom prst="rect">
              <a:avLst/>
            </a:prstGeom>
            <a:solidFill>
              <a:schemeClr val="accent5"/>
            </a:solidFill>
            <a:ln w="6350">
              <a:solidFill>
                <a:schemeClr val="accent5"/>
              </a:solidFill>
            </a:ln>
          </p:spPr>
          <p:txBody>
            <a:bodyPr wrap="square">
              <a:spAutoFit/>
            </a:bodyPr>
            <a:lstStyle/>
            <a:p>
              <a:pPr algn="ctr" defTabSz="914342">
                <a:defRPr/>
              </a:pPr>
              <a:r>
                <a:rPr lang="en-US" sz="900" b="1" dirty="0">
                  <a:solidFill>
                    <a:schemeClr val="bg1"/>
                  </a:solidFill>
                  <a:latin typeface="Calibri" panose="020F0502020204030204" pitchFamily="34" charset="0"/>
                </a:rPr>
                <a:t>24x7 “Follow- the-Sun” support model with local language support</a:t>
              </a:r>
              <a:endParaRPr lang="en-US" sz="900" dirty="0">
                <a:solidFill>
                  <a:schemeClr val="bg1"/>
                </a:solidFill>
                <a:latin typeface="Calibri" pitchFamily="34" charset="0"/>
              </a:endParaRPr>
            </a:p>
          </p:txBody>
        </p:sp>
        <p:sp>
          <p:nvSpPr>
            <p:cNvPr id="24" name="Rectangle 23"/>
            <p:cNvSpPr/>
            <p:nvPr/>
          </p:nvSpPr>
          <p:spPr>
            <a:xfrm>
              <a:off x="298450" y="2561684"/>
              <a:ext cx="4278630" cy="993079"/>
            </a:xfrm>
            <a:prstGeom prst="rect">
              <a:avLst/>
            </a:prstGeom>
            <a:noFill/>
            <a:ln w="6350">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171450" indent="-171450" defTabSz="914400">
                <a:buClr>
                  <a:srgbClr val="0098C7"/>
                </a:buClr>
                <a:buFont typeface="Wingdings" pitchFamily="2" charset="2"/>
                <a:buChar char="§"/>
              </a:pPr>
              <a:endParaRPr lang="fr-FR" sz="800" dirty="0">
                <a:solidFill>
                  <a:schemeClr val="tx1"/>
                </a:solidFill>
                <a:latin typeface="Calibri" panose="020F0502020204030204" pitchFamily="34" charset="0"/>
              </a:endParaRPr>
            </a:p>
          </p:txBody>
        </p:sp>
      </p:grpSp>
      <p:cxnSp>
        <p:nvCxnSpPr>
          <p:cNvPr id="45" name="Straight Connector 44"/>
          <p:cNvCxnSpPr/>
          <p:nvPr/>
        </p:nvCxnSpPr>
        <p:spPr bwMode="auto">
          <a:xfrm>
            <a:off x="4668273" y="1021652"/>
            <a:ext cx="0" cy="3738411"/>
          </a:xfrm>
          <a:prstGeom prst="line">
            <a:avLst/>
          </a:prstGeom>
          <a:solidFill>
            <a:schemeClr val="tx2"/>
          </a:solidFill>
          <a:ln w="9525" cap="flat" cmpd="sng" algn="ctr">
            <a:solidFill>
              <a:schemeClr val="bg1">
                <a:lumMod val="50000"/>
              </a:schemeClr>
            </a:solidFill>
            <a:prstDash val="dash"/>
            <a:round/>
            <a:headEnd type="none" w="med" len="med"/>
            <a:tailEnd type="none" w="med" len="med"/>
          </a:ln>
          <a:effectLst/>
        </p:spPr>
      </p:cxnSp>
      <p:sp>
        <p:nvSpPr>
          <p:cNvPr id="47" name="Rectangle 46"/>
          <p:cNvSpPr/>
          <p:nvPr/>
        </p:nvSpPr>
        <p:spPr bwMode="auto">
          <a:xfrm>
            <a:off x="4825548" y="1021652"/>
            <a:ext cx="4003397" cy="3715076"/>
          </a:xfrm>
          <a:prstGeom prst="rect">
            <a:avLst/>
          </a:prstGeom>
          <a:solidFill>
            <a:schemeClr val="accent5"/>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a:ln>
                <a:noFill/>
              </a:ln>
              <a:solidFill>
                <a:schemeClr val="bg2">
                  <a:lumMod val="50000"/>
                </a:schemeClr>
              </a:solidFill>
              <a:effectLst/>
              <a:latin typeface="Calibri" panose="020F0502020204030204" pitchFamily="34" charset="0"/>
              <a:cs typeface="Arial" charset="0"/>
            </a:endParaRPr>
          </a:p>
        </p:txBody>
      </p:sp>
      <p:cxnSp>
        <p:nvCxnSpPr>
          <p:cNvPr id="92" name="Straight Connector 91"/>
          <p:cNvCxnSpPr/>
          <p:nvPr/>
        </p:nvCxnSpPr>
        <p:spPr bwMode="auto">
          <a:xfrm>
            <a:off x="4862124" y="1444540"/>
            <a:ext cx="3931920" cy="0"/>
          </a:xfrm>
          <a:prstGeom prst="line">
            <a:avLst/>
          </a:prstGeom>
          <a:solidFill>
            <a:schemeClr val="tx2"/>
          </a:solidFill>
          <a:ln w="6350" cap="flat" cmpd="sng" algn="ctr">
            <a:solidFill>
              <a:schemeClr val="bg1"/>
            </a:solidFill>
            <a:prstDash val="solid"/>
            <a:round/>
            <a:headEnd type="none" w="med" len="med"/>
            <a:tailEnd type="none" w="med" len="med"/>
          </a:ln>
          <a:effectLst/>
        </p:spPr>
      </p:cxnSp>
      <p:grpSp>
        <p:nvGrpSpPr>
          <p:cNvPr id="133" name="Group 132"/>
          <p:cNvGrpSpPr/>
          <p:nvPr/>
        </p:nvGrpSpPr>
        <p:grpSpPr>
          <a:xfrm>
            <a:off x="5271518" y="2742763"/>
            <a:ext cx="3113133" cy="646331"/>
            <a:chOff x="4964067" y="3103963"/>
            <a:chExt cx="3113133" cy="646331"/>
          </a:xfrm>
        </p:grpSpPr>
        <p:sp>
          <p:nvSpPr>
            <p:cNvPr id="94" name="TextBox 93"/>
            <p:cNvSpPr txBox="1"/>
            <p:nvPr/>
          </p:nvSpPr>
          <p:spPr>
            <a:xfrm>
              <a:off x="4964067" y="3211685"/>
              <a:ext cx="921447" cy="430887"/>
            </a:xfrm>
            <a:prstGeom prst="rect">
              <a:avLst/>
            </a:prstGeom>
            <a:noFill/>
          </p:spPr>
          <p:txBody>
            <a:bodyPr wrap="square" rtlCol="0">
              <a:spAutoFit/>
            </a:bodyPr>
            <a:lstStyle/>
            <a:p>
              <a:r>
                <a:rPr lang="en-US" sz="1100" b="1" dirty="0">
                  <a:solidFill>
                    <a:schemeClr val="bg1"/>
                  </a:solidFill>
                  <a:latin typeface="Calibri" panose="020F0502020204030204" pitchFamily="34" charset="0"/>
                </a:rPr>
                <a:t>SECTOR SUPPORTED</a:t>
              </a:r>
            </a:p>
          </p:txBody>
        </p:sp>
        <p:sp>
          <p:nvSpPr>
            <p:cNvPr id="95" name="TextBox 94"/>
            <p:cNvSpPr txBox="1"/>
            <p:nvPr/>
          </p:nvSpPr>
          <p:spPr>
            <a:xfrm>
              <a:off x="6024033" y="3103963"/>
              <a:ext cx="2053167" cy="646331"/>
            </a:xfrm>
            <a:prstGeom prst="rect">
              <a:avLst/>
            </a:prstGeom>
            <a:noFill/>
          </p:spPr>
          <p:txBody>
            <a:bodyPr wrap="square" rtlCol="0">
              <a:spAutoFit/>
            </a:bodyPr>
            <a:lstStyle/>
            <a:p>
              <a:pPr marL="195711" indent="-195711" defTabSz="782797">
                <a:buClr>
                  <a:schemeClr val="bg1"/>
                </a:buClr>
                <a:buFont typeface="Wingdings" pitchFamily="2" charset="2"/>
                <a:buChar char="§"/>
                <a:defRPr/>
              </a:pPr>
              <a:r>
                <a:rPr lang="en-US" sz="900" b="1" dirty="0">
                  <a:solidFill>
                    <a:schemeClr val="bg1"/>
                  </a:solidFill>
                  <a:latin typeface="Calibri" pitchFamily="34" charset="0"/>
                </a:rPr>
                <a:t>CONSUMER </a:t>
              </a:r>
            </a:p>
            <a:p>
              <a:pPr marL="195711" indent="-195711" defTabSz="782797">
                <a:buClr>
                  <a:schemeClr val="bg1"/>
                </a:buClr>
                <a:buFont typeface="Wingdings" pitchFamily="2" charset="2"/>
                <a:buChar char="§"/>
                <a:defRPr/>
              </a:pPr>
              <a:r>
                <a:rPr lang="en-US" sz="900" b="1" dirty="0">
                  <a:solidFill>
                    <a:schemeClr val="bg1"/>
                  </a:solidFill>
                  <a:latin typeface="Calibri" pitchFamily="34" charset="0"/>
                </a:rPr>
                <a:t>PHARMA</a:t>
              </a:r>
            </a:p>
            <a:p>
              <a:pPr marL="195711" indent="-195711" defTabSz="782797">
                <a:buClr>
                  <a:schemeClr val="bg1"/>
                </a:buClr>
                <a:buFont typeface="Wingdings" pitchFamily="2" charset="2"/>
                <a:buChar char="§"/>
                <a:defRPr/>
              </a:pPr>
              <a:r>
                <a:rPr lang="en-US" sz="900" b="1" dirty="0">
                  <a:solidFill>
                    <a:schemeClr val="bg1"/>
                  </a:solidFill>
                  <a:latin typeface="Calibri" pitchFamily="34" charset="0"/>
                </a:rPr>
                <a:t>CONSUMER MED TECH &amp; DEVICES</a:t>
              </a:r>
            </a:p>
            <a:p>
              <a:pPr marL="195711" indent="-195711" defTabSz="782797">
                <a:buClr>
                  <a:schemeClr val="bg1"/>
                </a:buClr>
                <a:buFont typeface="Wingdings" pitchFamily="2" charset="2"/>
                <a:buChar char="§"/>
                <a:defRPr/>
              </a:pPr>
              <a:r>
                <a:rPr lang="en-US" sz="900" b="1" dirty="0">
                  <a:solidFill>
                    <a:schemeClr val="bg1"/>
                  </a:solidFill>
                  <a:latin typeface="Calibri" pitchFamily="34" charset="0"/>
                </a:rPr>
                <a:t>CORPORATE</a:t>
              </a:r>
            </a:p>
          </p:txBody>
        </p:sp>
      </p:grpSp>
      <p:sp>
        <p:nvSpPr>
          <p:cNvPr id="97" name="TextBox 96"/>
          <p:cNvSpPr txBox="1"/>
          <p:nvPr/>
        </p:nvSpPr>
        <p:spPr>
          <a:xfrm>
            <a:off x="4825548" y="2243540"/>
            <a:ext cx="4005072" cy="261610"/>
          </a:xfrm>
          <a:prstGeom prst="rect">
            <a:avLst/>
          </a:prstGeom>
          <a:noFill/>
        </p:spPr>
        <p:txBody>
          <a:bodyPr wrap="square" rtlCol="0">
            <a:spAutoFit/>
          </a:bodyPr>
          <a:lstStyle/>
          <a:p>
            <a:pPr algn="ctr"/>
            <a:r>
              <a:rPr lang="en-US" sz="900" dirty="0">
                <a:solidFill>
                  <a:schemeClr val="bg1"/>
                </a:solidFill>
                <a:latin typeface="Calibri" panose="020F0502020204030204" pitchFamily="34" charset="0"/>
              </a:rPr>
              <a:t>SUPPORTING </a:t>
            </a:r>
            <a:r>
              <a:rPr lang="en-US" sz="1100" b="1" dirty="0">
                <a:solidFill>
                  <a:schemeClr val="bg1"/>
                </a:solidFill>
                <a:latin typeface="Calibri" panose="020F0502020204030204" pitchFamily="34" charset="0"/>
              </a:rPr>
              <a:t>65+</a:t>
            </a:r>
            <a:r>
              <a:rPr lang="en-US" sz="900" b="1" dirty="0">
                <a:solidFill>
                  <a:schemeClr val="bg1"/>
                </a:solidFill>
                <a:latin typeface="Calibri" panose="020F0502020204030204" pitchFamily="34" charset="0"/>
              </a:rPr>
              <a:t> </a:t>
            </a:r>
            <a:r>
              <a:rPr lang="en-US" sz="900" dirty="0">
                <a:solidFill>
                  <a:schemeClr val="bg1"/>
                </a:solidFill>
                <a:latin typeface="Calibri" panose="020F0502020204030204" pitchFamily="34" charset="0"/>
              </a:rPr>
              <a:t>APPLICATIONS + IMPLEMENTING </a:t>
            </a:r>
            <a:r>
              <a:rPr lang="en-US" sz="1100" b="1" dirty="0">
                <a:solidFill>
                  <a:schemeClr val="bg1"/>
                </a:solidFill>
                <a:latin typeface="Calibri" panose="020F0502020204030204" pitchFamily="34" charset="0"/>
              </a:rPr>
              <a:t>11+</a:t>
            </a:r>
            <a:r>
              <a:rPr lang="en-US" sz="900" dirty="0">
                <a:solidFill>
                  <a:schemeClr val="bg1"/>
                </a:solidFill>
                <a:latin typeface="Calibri" panose="020F0502020204030204" pitchFamily="34" charset="0"/>
              </a:rPr>
              <a:t> SOLUTIONS </a:t>
            </a:r>
          </a:p>
        </p:txBody>
      </p:sp>
      <p:sp>
        <p:nvSpPr>
          <p:cNvPr id="98" name="TextBox 97"/>
          <p:cNvSpPr txBox="1"/>
          <p:nvPr/>
        </p:nvSpPr>
        <p:spPr>
          <a:xfrm>
            <a:off x="4825548" y="2497151"/>
            <a:ext cx="4005072" cy="261610"/>
          </a:xfrm>
          <a:prstGeom prst="rect">
            <a:avLst/>
          </a:prstGeom>
          <a:noFill/>
        </p:spPr>
        <p:txBody>
          <a:bodyPr wrap="square" rtlCol="0">
            <a:spAutoFit/>
          </a:bodyPr>
          <a:lstStyle/>
          <a:p>
            <a:pPr algn="ctr"/>
            <a:r>
              <a:rPr lang="en-US" sz="1100" b="1" dirty="0">
                <a:solidFill>
                  <a:schemeClr val="bg1"/>
                </a:solidFill>
                <a:latin typeface="Calibri" panose="020F0502020204030204" pitchFamily="34" charset="0"/>
              </a:rPr>
              <a:t>ASPAC – </a:t>
            </a:r>
            <a:r>
              <a:rPr lang="en-US" sz="1100" b="1" dirty="0">
                <a:solidFill>
                  <a:schemeClr val="bg1">
                    <a:lumMod val="95000"/>
                  </a:schemeClr>
                </a:solidFill>
                <a:latin typeface="Calibri" pitchFamily="34" charset="0"/>
              </a:rPr>
              <a:t>02+03</a:t>
            </a:r>
            <a:r>
              <a:rPr lang="en-US" sz="1100" b="1" dirty="0">
                <a:solidFill>
                  <a:schemeClr val="bg1"/>
                </a:solidFill>
                <a:latin typeface="Calibri" pitchFamily="34" charset="0"/>
              </a:rPr>
              <a:t> | NA – </a:t>
            </a:r>
            <a:r>
              <a:rPr lang="en-US" sz="1100" b="1" dirty="0">
                <a:solidFill>
                  <a:schemeClr val="bg1">
                    <a:lumMod val="95000"/>
                  </a:schemeClr>
                </a:solidFill>
                <a:latin typeface="Calibri" pitchFamily="34" charset="0"/>
              </a:rPr>
              <a:t>72+07</a:t>
            </a:r>
            <a:r>
              <a:rPr lang="en-US" sz="1100" b="1" dirty="0">
                <a:solidFill>
                  <a:schemeClr val="bg1"/>
                </a:solidFill>
                <a:latin typeface="Calibri" pitchFamily="34" charset="0"/>
              </a:rPr>
              <a:t> | LATAM – </a:t>
            </a:r>
            <a:r>
              <a:rPr lang="en-US" sz="1100" b="1" dirty="0">
                <a:solidFill>
                  <a:schemeClr val="bg1">
                    <a:lumMod val="95000"/>
                  </a:schemeClr>
                </a:solidFill>
                <a:latin typeface="Calibri" pitchFamily="34" charset="0"/>
              </a:rPr>
              <a:t>20</a:t>
            </a:r>
            <a:r>
              <a:rPr lang="en-US" sz="1100" b="1" dirty="0">
                <a:solidFill>
                  <a:schemeClr val="bg1"/>
                </a:solidFill>
                <a:latin typeface="Calibri" pitchFamily="34" charset="0"/>
              </a:rPr>
              <a:t> | EMEA – </a:t>
            </a:r>
            <a:r>
              <a:rPr lang="en-US" sz="1100" b="1" dirty="0">
                <a:solidFill>
                  <a:schemeClr val="bg1">
                    <a:lumMod val="95000"/>
                  </a:schemeClr>
                </a:solidFill>
                <a:latin typeface="Calibri" pitchFamily="34" charset="0"/>
              </a:rPr>
              <a:t>04+01</a:t>
            </a:r>
          </a:p>
        </p:txBody>
      </p:sp>
      <p:sp>
        <p:nvSpPr>
          <p:cNvPr id="100" name="TextBox 99"/>
          <p:cNvSpPr txBox="1"/>
          <p:nvPr/>
        </p:nvSpPr>
        <p:spPr>
          <a:xfrm>
            <a:off x="4825548" y="3373096"/>
            <a:ext cx="4005072" cy="261610"/>
          </a:xfrm>
          <a:prstGeom prst="rect">
            <a:avLst/>
          </a:prstGeom>
          <a:noFill/>
        </p:spPr>
        <p:txBody>
          <a:bodyPr wrap="square" rtlCol="0">
            <a:spAutoFit/>
          </a:bodyPr>
          <a:lstStyle/>
          <a:p>
            <a:pPr algn="ctr"/>
            <a:r>
              <a:rPr lang="en-US" sz="1100" b="1" dirty="0">
                <a:solidFill>
                  <a:schemeClr val="bg1"/>
                </a:solidFill>
                <a:latin typeface="Calibri" panose="020F0502020204030204" pitchFamily="34" charset="0"/>
              </a:rPr>
              <a:t>FULL STACK OF BI TECHNOLOGY</a:t>
            </a:r>
          </a:p>
        </p:txBody>
      </p:sp>
      <p:sp>
        <p:nvSpPr>
          <p:cNvPr id="101" name="Rectangle 100"/>
          <p:cNvSpPr/>
          <p:nvPr/>
        </p:nvSpPr>
        <p:spPr bwMode="auto">
          <a:xfrm>
            <a:off x="4850862" y="3589868"/>
            <a:ext cx="3952768" cy="1120183"/>
          </a:xfrm>
          <a:prstGeom prst="rect">
            <a:avLst/>
          </a:prstGeom>
          <a:solidFill>
            <a:schemeClr val="bg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900" b="1" i="0" u="none" strike="noStrike" cap="none" normalizeH="0" baseline="0" dirty="0">
              <a:ln>
                <a:noFill/>
              </a:ln>
              <a:solidFill>
                <a:schemeClr val="bg2">
                  <a:lumMod val="50000"/>
                </a:schemeClr>
              </a:solidFill>
              <a:effectLst/>
              <a:latin typeface="Calibri" panose="020F0502020204030204" pitchFamily="34" charset="0"/>
              <a:cs typeface="Arial" charset="0"/>
            </a:endParaRPr>
          </a:p>
        </p:txBody>
      </p:sp>
      <p:grpSp>
        <p:nvGrpSpPr>
          <p:cNvPr id="130" name="Group 129"/>
          <p:cNvGrpSpPr/>
          <p:nvPr/>
        </p:nvGrpSpPr>
        <p:grpSpPr>
          <a:xfrm>
            <a:off x="4862125" y="1436541"/>
            <a:ext cx="3931919" cy="415498"/>
            <a:chOff x="4861287" y="1658433"/>
            <a:chExt cx="3931919" cy="415498"/>
          </a:xfrm>
        </p:grpSpPr>
        <p:sp>
          <p:nvSpPr>
            <p:cNvPr id="90" name="TextBox 89"/>
            <p:cNvSpPr txBox="1"/>
            <p:nvPr/>
          </p:nvSpPr>
          <p:spPr>
            <a:xfrm>
              <a:off x="4861287" y="1658433"/>
              <a:ext cx="1818914" cy="415498"/>
            </a:xfrm>
            <a:prstGeom prst="rect">
              <a:avLst/>
            </a:prstGeom>
            <a:noFill/>
          </p:spPr>
          <p:txBody>
            <a:bodyPr wrap="square" rtlCol="0">
              <a:spAutoFit/>
            </a:bodyPr>
            <a:lstStyle/>
            <a:p>
              <a:pPr marL="287338" indent="-287338"/>
              <a:r>
                <a:rPr lang="en-US" sz="1100" b="1" dirty="0">
                  <a:solidFill>
                    <a:schemeClr val="bg1"/>
                  </a:solidFill>
                  <a:latin typeface="Calibri" panose="020F0502020204030204" pitchFamily="34" charset="0"/>
                </a:rPr>
                <a:t>70+</a:t>
              </a:r>
              <a:r>
                <a:rPr lang="en-US" sz="1100" dirty="0">
                  <a:solidFill>
                    <a:schemeClr val="bg1"/>
                  </a:solidFill>
                  <a:latin typeface="Calibri" panose="020F0502020204030204" pitchFamily="34" charset="0"/>
                </a:rPr>
                <a:t> </a:t>
              </a:r>
              <a:r>
                <a:rPr lang="en-US" sz="900" dirty="0">
                  <a:solidFill>
                    <a:schemeClr val="bg1"/>
                  </a:solidFill>
                  <a:latin typeface="Calibri" panose="020F0502020204030204" pitchFamily="34" charset="0"/>
                </a:rPr>
                <a:t>PROVIDING 24x7 COVERAGE FROM INDIA</a:t>
              </a:r>
            </a:p>
          </p:txBody>
        </p:sp>
        <p:sp>
          <p:nvSpPr>
            <p:cNvPr id="124" name="TextBox 123"/>
            <p:cNvSpPr txBox="1"/>
            <p:nvPr/>
          </p:nvSpPr>
          <p:spPr>
            <a:xfrm>
              <a:off x="6776603" y="1658433"/>
              <a:ext cx="2016603" cy="261610"/>
            </a:xfrm>
            <a:prstGeom prst="rect">
              <a:avLst/>
            </a:prstGeom>
            <a:noFill/>
          </p:spPr>
          <p:txBody>
            <a:bodyPr wrap="square" rtlCol="0">
              <a:spAutoFit/>
            </a:bodyPr>
            <a:lstStyle/>
            <a:p>
              <a:pPr marL="287338" indent="-287338"/>
              <a:r>
                <a:rPr lang="en-US" sz="1100" b="1" dirty="0">
                  <a:solidFill>
                    <a:schemeClr val="bg1"/>
                  </a:solidFill>
                  <a:latin typeface="Calibri" panose="020F0502020204030204" pitchFamily="34" charset="0"/>
                </a:rPr>
                <a:t>90+ </a:t>
              </a:r>
              <a:r>
                <a:rPr lang="en-US" sz="900" dirty="0">
                  <a:solidFill>
                    <a:schemeClr val="bg1"/>
                  </a:solidFill>
                  <a:latin typeface="Calibri" panose="020F0502020204030204" pitchFamily="34" charset="0"/>
                </a:rPr>
                <a:t>OFF-SHORE RESOURCES IN INDIA</a:t>
              </a:r>
            </a:p>
          </p:txBody>
        </p:sp>
      </p:grpSp>
      <p:grpSp>
        <p:nvGrpSpPr>
          <p:cNvPr id="129" name="Group 128"/>
          <p:cNvGrpSpPr/>
          <p:nvPr/>
        </p:nvGrpSpPr>
        <p:grpSpPr>
          <a:xfrm>
            <a:off x="4862124" y="1844040"/>
            <a:ext cx="3931920" cy="415498"/>
            <a:chOff x="4861286" y="2105325"/>
            <a:chExt cx="3931920" cy="415498"/>
          </a:xfrm>
        </p:grpSpPr>
        <p:sp>
          <p:nvSpPr>
            <p:cNvPr id="91" name="TextBox 90"/>
            <p:cNvSpPr txBox="1"/>
            <p:nvPr/>
          </p:nvSpPr>
          <p:spPr>
            <a:xfrm>
              <a:off x="4861286" y="2105325"/>
              <a:ext cx="1818915" cy="415498"/>
            </a:xfrm>
            <a:prstGeom prst="rect">
              <a:avLst/>
            </a:prstGeom>
            <a:noFill/>
          </p:spPr>
          <p:txBody>
            <a:bodyPr wrap="square" rtlCol="0">
              <a:spAutoFit/>
            </a:bodyPr>
            <a:lstStyle>
              <a:defPPr>
                <a:defRPr lang="de-DE"/>
              </a:defPPr>
            </a:lstStyle>
            <a:p>
              <a:pPr marL="287338" indent="-287338"/>
              <a:r>
                <a:rPr lang="en-US" sz="1100" b="1" dirty="0">
                  <a:solidFill>
                    <a:schemeClr val="bg1"/>
                  </a:solidFill>
                  <a:latin typeface="Calibri" panose="020F0502020204030204" pitchFamily="34" charset="0"/>
                </a:rPr>
                <a:t>20+</a:t>
              </a:r>
              <a:r>
                <a:rPr lang="en-US" sz="1100" dirty="0">
                  <a:solidFill>
                    <a:schemeClr val="bg1"/>
                  </a:solidFill>
                  <a:latin typeface="Calibri" panose="020F0502020204030204" pitchFamily="34" charset="0"/>
                </a:rPr>
                <a:t> </a:t>
              </a:r>
              <a:r>
                <a:rPr lang="en-US" sz="900" dirty="0">
                  <a:solidFill>
                    <a:schemeClr val="bg1"/>
                  </a:solidFill>
                  <a:latin typeface="Calibri" panose="020F0502020204030204" pitchFamily="34" charset="0"/>
                </a:rPr>
                <a:t>ON-SITE RESOURCES IN USA, BELGIUM &amp; BRAZIL </a:t>
              </a:r>
            </a:p>
          </p:txBody>
        </p:sp>
        <p:sp>
          <p:nvSpPr>
            <p:cNvPr id="125" name="TextBox 124"/>
            <p:cNvSpPr txBox="1"/>
            <p:nvPr/>
          </p:nvSpPr>
          <p:spPr>
            <a:xfrm>
              <a:off x="6804523" y="2105325"/>
              <a:ext cx="1988683" cy="261610"/>
            </a:xfrm>
            <a:prstGeom prst="rect">
              <a:avLst/>
            </a:prstGeom>
            <a:noFill/>
          </p:spPr>
          <p:txBody>
            <a:bodyPr wrap="square" rtlCol="0">
              <a:spAutoFit/>
            </a:bodyPr>
            <a:lstStyle>
              <a:defPPr>
                <a:defRPr lang="de-DE"/>
              </a:defPPr>
            </a:lstStyle>
            <a:p>
              <a:r>
                <a:rPr lang="en-US" sz="1100" b="1" dirty="0">
                  <a:solidFill>
                    <a:schemeClr val="bg1"/>
                  </a:solidFill>
                  <a:latin typeface="Calibri" panose="020F0502020204030204" pitchFamily="34" charset="0"/>
                </a:rPr>
                <a:t>20+</a:t>
              </a:r>
              <a:r>
                <a:rPr lang="en-US" sz="1100" dirty="0">
                  <a:solidFill>
                    <a:schemeClr val="bg1"/>
                  </a:solidFill>
                  <a:latin typeface="Calibri" panose="020F0502020204030204" pitchFamily="34" charset="0"/>
                </a:rPr>
                <a:t> </a:t>
              </a:r>
              <a:r>
                <a:rPr lang="en-US" sz="900" dirty="0">
                  <a:solidFill>
                    <a:schemeClr val="bg1"/>
                  </a:solidFill>
                  <a:latin typeface="Calibri" panose="020F0502020204030204" pitchFamily="34" charset="0"/>
                </a:rPr>
                <a:t>ON-SITE RESOURCES IN USA </a:t>
              </a:r>
            </a:p>
          </p:txBody>
        </p:sp>
      </p:grpSp>
      <p:cxnSp>
        <p:nvCxnSpPr>
          <p:cNvPr id="126" name="Straight Connector 125"/>
          <p:cNvCxnSpPr/>
          <p:nvPr/>
        </p:nvCxnSpPr>
        <p:spPr bwMode="auto">
          <a:xfrm>
            <a:off x="6714795" y="1565816"/>
            <a:ext cx="0" cy="564447"/>
          </a:xfrm>
          <a:prstGeom prst="line">
            <a:avLst/>
          </a:prstGeom>
          <a:solidFill>
            <a:schemeClr val="tx2"/>
          </a:solidFill>
          <a:ln w="6350" cap="flat" cmpd="sng" algn="ctr">
            <a:solidFill>
              <a:schemeClr val="bg1"/>
            </a:solidFill>
            <a:prstDash val="solid"/>
            <a:round/>
            <a:headEnd type="none" w="med" len="med"/>
            <a:tailEnd type="none" w="med" len="med"/>
          </a:ln>
          <a:effectLst/>
        </p:spPr>
      </p:cxnSp>
      <p:sp>
        <p:nvSpPr>
          <p:cNvPr id="128" name="TextBox 127"/>
          <p:cNvSpPr txBox="1"/>
          <p:nvPr/>
        </p:nvSpPr>
        <p:spPr>
          <a:xfrm>
            <a:off x="4825548" y="1021652"/>
            <a:ext cx="4005072" cy="430887"/>
          </a:xfrm>
          <a:prstGeom prst="rect">
            <a:avLst/>
          </a:prstGeom>
          <a:noFill/>
        </p:spPr>
        <p:txBody>
          <a:bodyPr wrap="square" rtlCol="0">
            <a:spAutoFit/>
          </a:bodyPr>
          <a:lstStyle/>
          <a:p>
            <a:pPr algn="ctr"/>
            <a:r>
              <a:rPr lang="en-US" sz="1100" b="1" dirty="0">
                <a:solidFill>
                  <a:schemeClr val="bg1"/>
                </a:solidFill>
                <a:latin typeface="Calibri" panose="020F0502020204030204" pitchFamily="34" charset="0"/>
              </a:rPr>
              <a:t>200+</a:t>
            </a:r>
            <a:r>
              <a:rPr lang="en-US" sz="1100" dirty="0">
                <a:solidFill>
                  <a:schemeClr val="bg1"/>
                </a:solidFill>
                <a:latin typeface="Calibri" panose="020F0502020204030204" pitchFamily="34" charset="0"/>
              </a:rPr>
              <a:t> </a:t>
            </a:r>
            <a:r>
              <a:rPr lang="en-US" sz="900" dirty="0">
                <a:solidFill>
                  <a:schemeClr val="bg1"/>
                </a:solidFill>
                <a:latin typeface="Calibri" panose="020F0502020204030204" pitchFamily="34" charset="0"/>
              </a:rPr>
              <a:t>DEDICATED D&amp;A PROFESSIONALS</a:t>
            </a:r>
            <a:br>
              <a:rPr lang="en-US" sz="1200" dirty="0">
                <a:solidFill>
                  <a:schemeClr val="bg1"/>
                </a:solidFill>
                <a:latin typeface="Calibri" panose="020F0502020204030204" pitchFamily="34" charset="0"/>
              </a:rPr>
            </a:br>
            <a:r>
              <a:rPr lang="en-US" sz="1100" b="1" dirty="0">
                <a:solidFill>
                  <a:schemeClr val="bg1"/>
                </a:solidFill>
                <a:latin typeface="Calibri" panose="020F0502020204030204" pitchFamily="34" charset="0"/>
              </a:rPr>
              <a:t>90+</a:t>
            </a:r>
            <a:r>
              <a:rPr lang="en-US" sz="1100" dirty="0">
                <a:latin typeface="Calibri" panose="020F0502020204030204" pitchFamily="34" charset="0"/>
              </a:rPr>
              <a:t> </a:t>
            </a:r>
            <a:r>
              <a:rPr lang="en-US" sz="900" dirty="0">
                <a:solidFill>
                  <a:schemeClr val="bg1"/>
                </a:solidFill>
                <a:latin typeface="Calibri" panose="020F0502020204030204" pitchFamily="34" charset="0"/>
              </a:rPr>
              <a:t>IN SUPPORT &amp; </a:t>
            </a:r>
            <a:r>
              <a:rPr lang="en-US" sz="1100" b="1" dirty="0">
                <a:solidFill>
                  <a:schemeClr val="bg1"/>
                </a:solidFill>
                <a:latin typeface="Calibri" panose="020F0502020204030204" pitchFamily="34" charset="0"/>
              </a:rPr>
              <a:t>110+</a:t>
            </a:r>
            <a:r>
              <a:rPr lang="en-US" sz="1100" dirty="0">
                <a:latin typeface="Calibri" panose="020F0502020204030204" pitchFamily="34" charset="0"/>
              </a:rPr>
              <a:t> </a:t>
            </a:r>
            <a:r>
              <a:rPr lang="en-US" sz="900" dirty="0">
                <a:solidFill>
                  <a:schemeClr val="bg1"/>
                </a:solidFill>
                <a:latin typeface="Calibri" panose="020F0502020204030204" pitchFamily="34" charset="0"/>
              </a:rPr>
              <a:t>IN BUILD </a:t>
            </a:r>
          </a:p>
        </p:txBody>
      </p:sp>
      <p:cxnSp>
        <p:nvCxnSpPr>
          <p:cNvPr id="131" name="Straight Connector 130"/>
          <p:cNvCxnSpPr/>
          <p:nvPr/>
        </p:nvCxnSpPr>
        <p:spPr bwMode="auto">
          <a:xfrm>
            <a:off x="4862124" y="2251539"/>
            <a:ext cx="3931920" cy="0"/>
          </a:xfrm>
          <a:prstGeom prst="line">
            <a:avLst/>
          </a:prstGeom>
          <a:solidFill>
            <a:schemeClr val="tx2"/>
          </a:solidFill>
          <a:ln w="6350" cap="flat" cmpd="sng" algn="ctr">
            <a:solidFill>
              <a:schemeClr val="bg1"/>
            </a:solidFill>
            <a:prstDash val="solid"/>
            <a:round/>
            <a:headEnd type="none" w="med" len="med"/>
            <a:tailEnd type="none" w="med" len="med"/>
          </a:ln>
          <a:effectLst/>
        </p:spPr>
      </p:cxnSp>
      <p:cxnSp>
        <p:nvCxnSpPr>
          <p:cNvPr id="132" name="Straight Connector 131"/>
          <p:cNvCxnSpPr/>
          <p:nvPr/>
        </p:nvCxnSpPr>
        <p:spPr bwMode="auto">
          <a:xfrm>
            <a:off x="4862124" y="2750762"/>
            <a:ext cx="3931920" cy="0"/>
          </a:xfrm>
          <a:prstGeom prst="line">
            <a:avLst/>
          </a:prstGeom>
          <a:solidFill>
            <a:schemeClr val="tx2"/>
          </a:solidFill>
          <a:ln w="6350" cap="flat" cmpd="sng" algn="ctr">
            <a:solidFill>
              <a:schemeClr val="bg1"/>
            </a:solidFill>
            <a:prstDash val="solid"/>
            <a:round/>
            <a:headEnd type="none" w="med" len="med"/>
            <a:tailEnd type="none" w="med" len="med"/>
          </a:ln>
          <a:effectLst/>
        </p:spPr>
      </p:cxnSp>
      <p:cxnSp>
        <p:nvCxnSpPr>
          <p:cNvPr id="134" name="Straight Connector 133"/>
          <p:cNvCxnSpPr/>
          <p:nvPr/>
        </p:nvCxnSpPr>
        <p:spPr bwMode="auto">
          <a:xfrm>
            <a:off x="4862124" y="3381095"/>
            <a:ext cx="3931920" cy="0"/>
          </a:xfrm>
          <a:prstGeom prst="line">
            <a:avLst/>
          </a:prstGeom>
          <a:solidFill>
            <a:schemeClr val="tx2"/>
          </a:solidFill>
          <a:ln w="6350" cap="flat" cmpd="sng" algn="ctr">
            <a:solidFill>
              <a:schemeClr val="bg1"/>
            </a:solidFill>
            <a:prstDash val="solid"/>
            <a:round/>
            <a:headEnd type="none" w="med" len="med"/>
            <a:tailEnd type="none" w="med" len="med"/>
          </a:ln>
          <a:effectLst/>
        </p:spPr>
      </p:cxnSp>
      <p:grpSp>
        <p:nvGrpSpPr>
          <p:cNvPr id="135" name="Group 134"/>
          <p:cNvGrpSpPr/>
          <p:nvPr/>
        </p:nvGrpSpPr>
        <p:grpSpPr>
          <a:xfrm>
            <a:off x="4965954" y="3666289"/>
            <a:ext cx="3765233" cy="963901"/>
            <a:chOff x="9689804" y="3758248"/>
            <a:chExt cx="4322161" cy="903888"/>
          </a:xfrm>
        </p:grpSpPr>
        <p:pic>
          <p:nvPicPr>
            <p:cNvPr id="102" name="Picture 101" descr="2000px-SAP_2011_logo_svg.png"/>
            <p:cNvPicPr>
              <a:picLocks noChangeAspect="1"/>
            </p:cNvPicPr>
            <p:nvPr/>
          </p:nvPicPr>
          <p:blipFill>
            <a:blip r:embed="rId4" cstate="print"/>
            <a:stretch>
              <a:fillRect/>
            </a:stretch>
          </p:blipFill>
          <p:spPr>
            <a:xfrm>
              <a:off x="10299403" y="4479254"/>
              <a:ext cx="358587" cy="182880"/>
            </a:xfrm>
            <a:prstGeom prst="rect">
              <a:avLst/>
            </a:prstGeom>
          </p:spPr>
        </p:pic>
        <p:pic>
          <p:nvPicPr>
            <p:cNvPr id="103" name="Picture 102" descr="teradata-logo.png"/>
            <p:cNvPicPr>
              <a:picLocks noChangeAspect="1"/>
            </p:cNvPicPr>
            <p:nvPr/>
          </p:nvPicPr>
          <p:blipFill>
            <a:blip r:embed="rId5" cstate="print"/>
            <a:stretch>
              <a:fillRect/>
            </a:stretch>
          </p:blipFill>
          <p:spPr>
            <a:xfrm>
              <a:off x="12661889" y="4221326"/>
              <a:ext cx="509298" cy="182880"/>
            </a:xfrm>
            <a:prstGeom prst="rect">
              <a:avLst/>
            </a:prstGeom>
          </p:spPr>
        </p:pic>
        <p:pic>
          <p:nvPicPr>
            <p:cNvPr id="104" name="Picture 10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886315" y="4017588"/>
              <a:ext cx="545674" cy="135120"/>
            </a:xfrm>
            <a:prstGeom prst="rect">
              <a:avLst/>
            </a:prstGeom>
          </p:spPr>
        </p:pic>
        <p:pic>
          <p:nvPicPr>
            <p:cNvPr id="105" name="Picture 10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706509" y="3758248"/>
              <a:ext cx="807842" cy="168003"/>
            </a:xfrm>
            <a:prstGeom prst="rect">
              <a:avLst/>
            </a:prstGeom>
          </p:spPr>
        </p:pic>
        <p:pic>
          <p:nvPicPr>
            <p:cNvPr id="106" name="Picture 105">
              <a:extLst/>
            </p:cNvPr>
            <p:cNvPicPr>
              <a:picLocks noChangeAspect="1"/>
            </p:cNvPicPr>
            <p:nvPr/>
          </p:nvPicPr>
          <p:blipFill>
            <a:blip r:embed="rId8"/>
            <a:stretch>
              <a:fillRect/>
            </a:stretch>
          </p:blipFill>
          <p:spPr>
            <a:xfrm>
              <a:off x="11635743" y="3758248"/>
              <a:ext cx="628058" cy="157103"/>
            </a:xfrm>
            <a:prstGeom prst="rect">
              <a:avLst/>
            </a:prstGeom>
          </p:spPr>
        </p:pic>
        <p:pic>
          <p:nvPicPr>
            <p:cNvPr id="107" name="Content Placeholder 3">
              <a:extLst/>
            </p:cNvPr>
            <p:cNvPicPr>
              <a:picLocks noChangeAspect="1"/>
            </p:cNvPicPr>
            <p:nvPr/>
          </p:nvPicPr>
          <p:blipFill>
            <a:blip r:embed="rId9"/>
            <a:stretch>
              <a:fillRect/>
            </a:stretch>
          </p:blipFill>
          <p:spPr>
            <a:xfrm>
              <a:off x="9689804" y="3985530"/>
              <a:ext cx="431960" cy="169057"/>
            </a:xfrm>
            <a:prstGeom prst="rect">
              <a:avLst/>
            </a:prstGeom>
          </p:spPr>
        </p:pic>
        <p:pic>
          <p:nvPicPr>
            <p:cNvPr id="108" name="Picture 107">
              <a:extLst/>
            </p:cNvPr>
            <p:cNvPicPr>
              <a:picLocks noChangeAspect="1"/>
            </p:cNvPicPr>
            <p:nvPr/>
          </p:nvPicPr>
          <p:blipFill>
            <a:blip r:embed="rId10"/>
            <a:stretch>
              <a:fillRect/>
            </a:stretch>
          </p:blipFill>
          <p:spPr>
            <a:xfrm>
              <a:off x="9689804" y="4479256"/>
              <a:ext cx="365646" cy="182880"/>
            </a:xfrm>
            <a:prstGeom prst="rect">
              <a:avLst/>
            </a:prstGeom>
          </p:spPr>
        </p:pic>
        <p:pic>
          <p:nvPicPr>
            <p:cNvPr id="109" name="Picture 108">
              <a:extLst/>
            </p:cNvPr>
            <p:cNvPicPr>
              <a:picLocks noChangeAspect="1"/>
            </p:cNvPicPr>
            <p:nvPr/>
          </p:nvPicPr>
          <p:blipFill>
            <a:blip r:embed="rId11"/>
            <a:stretch>
              <a:fillRect/>
            </a:stretch>
          </p:blipFill>
          <p:spPr>
            <a:xfrm>
              <a:off x="10847775" y="4479254"/>
              <a:ext cx="596960" cy="182880"/>
            </a:xfrm>
            <a:prstGeom prst="rect">
              <a:avLst/>
            </a:prstGeom>
          </p:spPr>
        </p:pic>
        <p:pic>
          <p:nvPicPr>
            <p:cNvPr id="110" name="Picture 10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689804" y="3758248"/>
              <a:ext cx="781874" cy="144983"/>
            </a:xfrm>
            <a:prstGeom prst="rect">
              <a:avLst/>
            </a:prstGeom>
          </p:spPr>
        </p:pic>
        <p:pic>
          <p:nvPicPr>
            <p:cNvPr id="111" name="Picture 110"/>
            <p:cNvPicPr>
              <a:picLocks noChangeAspect="1"/>
            </p:cNvPicPr>
            <p:nvPr/>
          </p:nvPicPr>
          <p:blipFill rotWithShape="1">
            <a:blip r:embed="rId13" cstate="print">
              <a:extLst>
                <a:ext uri="{28A0092B-C50C-407E-A947-70E740481C1C}">
                  <a14:useLocalDpi xmlns:a14="http://schemas.microsoft.com/office/drawing/2010/main" val="0"/>
                </a:ext>
              </a:extLst>
            </a:blip>
            <a:srcRect t="40799" b="38015"/>
            <a:stretch/>
          </p:blipFill>
          <p:spPr>
            <a:xfrm>
              <a:off x="12397471" y="3758248"/>
              <a:ext cx="714422" cy="151362"/>
            </a:xfrm>
            <a:prstGeom prst="rect">
              <a:avLst/>
            </a:prstGeom>
          </p:spPr>
        </p:pic>
        <p:pic>
          <p:nvPicPr>
            <p:cNvPr id="112" name="Picture 11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3322480" y="3758248"/>
              <a:ext cx="689485" cy="163026"/>
            </a:xfrm>
            <a:prstGeom prst="rect">
              <a:avLst/>
            </a:prstGeom>
          </p:spPr>
        </p:pic>
        <p:pic>
          <p:nvPicPr>
            <p:cNvPr id="113" name="Picture 11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185425" y="3990253"/>
              <a:ext cx="497586" cy="171493"/>
            </a:xfrm>
            <a:prstGeom prst="rect">
              <a:avLst/>
            </a:prstGeom>
          </p:spPr>
        </p:pic>
        <p:pic>
          <p:nvPicPr>
            <p:cNvPr id="114" name="Picture 11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771883" y="4002538"/>
              <a:ext cx="502418" cy="182880"/>
            </a:xfrm>
            <a:prstGeom prst="rect">
              <a:avLst/>
            </a:prstGeom>
          </p:spPr>
        </p:pic>
        <p:pic>
          <p:nvPicPr>
            <p:cNvPr id="115" name="Picture 114"/>
            <p:cNvPicPr>
              <a:picLocks noChangeAspect="1"/>
            </p:cNvPicPr>
            <p:nvPr/>
          </p:nvPicPr>
          <p:blipFill rotWithShape="1">
            <a:blip r:embed="rId17" cstate="print">
              <a:extLst>
                <a:ext uri="{28A0092B-C50C-407E-A947-70E740481C1C}">
                  <a14:useLocalDpi xmlns:a14="http://schemas.microsoft.com/office/drawing/2010/main" val="0"/>
                </a:ext>
              </a:extLst>
            </a:blip>
            <a:srcRect l="9424" t="30859" r="49204" b="13769"/>
            <a:stretch/>
          </p:blipFill>
          <p:spPr>
            <a:xfrm>
              <a:off x="11363173" y="4000944"/>
              <a:ext cx="427145" cy="182880"/>
            </a:xfrm>
            <a:prstGeom prst="rect">
              <a:avLst/>
            </a:prstGeom>
          </p:spPr>
        </p:pic>
        <p:pic>
          <p:nvPicPr>
            <p:cNvPr id="116" name="Picture 115"/>
            <p:cNvPicPr>
              <a:picLocks noChangeAspect="1"/>
            </p:cNvPicPr>
            <p:nvPr/>
          </p:nvPicPr>
          <p:blipFill>
            <a:blip r:embed="rId18"/>
            <a:stretch>
              <a:fillRect/>
            </a:stretch>
          </p:blipFill>
          <p:spPr>
            <a:xfrm>
              <a:off x="12580545" y="3988589"/>
              <a:ext cx="1431420" cy="173157"/>
            </a:xfrm>
            <a:prstGeom prst="rect">
              <a:avLst/>
            </a:prstGeom>
          </p:spPr>
        </p:pic>
        <p:pic>
          <p:nvPicPr>
            <p:cNvPr id="117" name="Picture 116"/>
            <p:cNvPicPr>
              <a:picLocks noChangeAspect="1"/>
            </p:cNvPicPr>
            <p:nvPr/>
          </p:nvPicPr>
          <p:blipFill>
            <a:blip r:embed="rId19"/>
            <a:stretch>
              <a:fillRect/>
            </a:stretch>
          </p:blipFill>
          <p:spPr>
            <a:xfrm>
              <a:off x="9689804" y="4236885"/>
              <a:ext cx="885732" cy="160073"/>
            </a:xfrm>
            <a:prstGeom prst="rect">
              <a:avLst/>
            </a:prstGeom>
          </p:spPr>
        </p:pic>
        <p:pic>
          <p:nvPicPr>
            <p:cNvPr id="118" name="Picture 117"/>
            <p:cNvPicPr>
              <a:picLocks noChangeAspect="1"/>
            </p:cNvPicPr>
            <p:nvPr/>
          </p:nvPicPr>
          <p:blipFill rotWithShape="1">
            <a:blip r:embed="rId20" cstate="print">
              <a:extLst>
                <a:ext uri="{28A0092B-C50C-407E-A947-70E740481C1C}">
                  <a14:useLocalDpi xmlns:a14="http://schemas.microsoft.com/office/drawing/2010/main" val="0"/>
                </a:ext>
              </a:extLst>
            </a:blip>
            <a:srcRect l="22366" t="16982" r="21919" b="16840"/>
            <a:stretch/>
          </p:blipFill>
          <p:spPr>
            <a:xfrm>
              <a:off x="12062774" y="4221326"/>
              <a:ext cx="292821" cy="182880"/>
            </a:xfrm>
            <a:prstGeom prst="rect">
              <a:avLst/>
            </a:prstGeom>
          </p:spPr>
        </p:pic>
        <p:pic>
          <p:nvPicPr>
            <p:cNvPr id="119" name="Picture 118"/>
            <p:cNvPicPr>
              <a:picLocks noChangeAspect="1"/>
            </p:cNvPicPr>
            <p:nvPr/>
          </p:nvPicPr>
          <p:blipFill rotWithShape="1">
            <a:blip r:embed="rId21" cstate="print">
              <a:extLst>
                <a:ext uri="{28A0092B-C50C-407E-A947-70E740481C1C}">
                  <a14:useLocalDpi xmlns:a14="http://schemas.microsoft.com/office/drawing/2010/main" val="0"/>
                </a:ext>
              </a:extLst>
            </a:blip>
            <a:srcRect t="37311" b="36411"/>
            <a:stretch/>
          </p:blipFill>
          <p:spPr>
            <a:xfrm>
              <a:off x="10949546" y="4241255"/>
              <a:ext cx="649510" cy="170685"/>
            </a:xfrm>
            <a:prstGeom prst="rect">
              <a:avLst/>
            </a:prstGeom>
          </p:spPr>
        </p:pic>
        <p:pic>
          <p:nvPicPr>
            <p:cNvPr id="120" name="Picture 119"/>
            <p:cNvPicPr>
              <a:picLocks noChangeAspect="1"/>
            </p:cNvPicPr>
            <p:nvPr/>
          </p:nvPicPr>
          <p:blipFill rotWithShape="1">
            <a:blip r:embed="rId22" cstate="print">
              <a:extLst>
                <a:ext uri="{28A0092B-C50C-407E-A947-70E740481C1C}">
                  <a14:useLocalDpi xmlns:a14="http://schemas.microsoft.com/office/drawing/2010/main" val="0"/>
                </a:ext>
              </a:extLst>
            </a:blip>
            <a:srcRect l="11368" t="22288" r="12109" b="21267"/>
            <a:stretch/>
          </p:blipFill>
          <p:spPr>
            <a:xfrm>
              <a:off x="13516104" y="4229061"/>
              <a:ext cx="495861" cy="182880"/>
            </a:xfrm>
            <a:prstGeom prst="rect">
              <a:avLst/>
            </a:prstGeom>
          </p:spPr>
        </p:pic>
        <p:pic>
          <p:nvPicPr>
            <p:cNvPr id="121" name="Picture 120"/>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3291773" y="4479254"/>
              <a:ext cx="720192" cy="182880"/>
            </a:xfrm>
            <a:prstGeom prst="rect">
              <a:avLst/>
            </a:prstGeom>
          </p:spPr>
        </p:pic>
        <p:pic>
          <p:nvPicPr>
            <p:cNvPr id="122" name="Picture 121"/>
            <p:cNvPicPr>
              <a:picLocks noChangeAspect="1"/>
            </p:cNvPicPr>
            <p:nvPr/>
          </p:nvPicPr>
          <p:blipFill rotWithShape="1">
            <a:blip r:embed="rId24" cstate="print">
              <a:extLst>
                <a:ext uri="{28A0092B-C50C-407E-A947-70E740481C1C}">
                  <a14:useLocalDpi xmlns:a14="http://schemas.microsoft.com/office/drawing/2010/main" val="0"/>
                </a:ext>
              </a:extLst>
            </a:blip>
            <a:srcRect t="16196" b="19137"/>
            <a:stretch/>
          </p:blipFill>
          <p:spPr>
            <a:xfrm>
              <a:off x="12414793" y="4479254"/>
              <a:ext cx="524475" cy="182880"/>
            </a:xfrm>
            <a:prstGeom prst="rect">
              <a:avLst/>
            </a:prstGeom>
          </p:spPr>
        </p:pic>
        <p:pic>
          <p:nvPicPr>
            <p:cNvPr id="123" name="Picture 122"/>
            <p:cNvPicPr>
              <a:picLocks noChangeAspect="1"/>
            </p:cNvPicPr>
            <p:nvPr/>
          </p:nvPicPr>
          <p:blipFill rotWithShape="1">
            <a:blip r:embed="rId25" cstate="print">
              <a:extLst>
                <a:ext uri="{28A0092B-C50C-407E-A947-70E740481C1C}">
                  <a14:useLocalDpi xmlns:a14="http://schemas.microsoft.com/office/drawing/2010/main" val="0"/>
                </a:ext>
              </a:extLst>
            </a:blip>
            <a:srcRect l="8990" t="19331" r="8090" b="22829"/>
            <a:stretch/>
          </p:blipFill>
          <p:spPr>
            <a:xfrm>
              <a:off x="11656491" y="4479254"/>
              <a:ext cx="565490" cy="182880"/>
            </a:xfrm>
            <a:prstGeom prst="rect">
              <a:avLst/>
            </a:prstGeom>
          </p:spPr>
        </p:pic>
      </p:grpSp>
    </p:spTree>
    <p:extLst>
      <p:ext uri="{BB962C8B-B14F-4D97-AF65-F5344CB8AC3E}">
        <p14:creationId xmlns:p14="http://schemas.microsoft.com/office/powerpoint/2010/main" val="20079285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7" name="Rounded Rectangle 2786"/>
          <p:cNvSpPr/>
          <p:nvPr/>
        </p:nvSpPr>
        <p:spPr bwMode="auto">
          <a:xfrm>
            <a:off x="59269" y="3191933"/>
            <a:ext cx="8961120" cy="1554480"/>
          </a:xfrm>
          <a:prstGeom prst="roundRect">
            <a:avLst/>
          </a:prstGeom>
          <a:solidFill>
            <a:schemeClr val="tx1">
              <a:lumMod val="25000"/>
              <a:lumOff val="75000"/>
            </a:schemeClr>
          </a:solidFill>
          <a:ln w="6350" cap="flat" cmpd="sng" algn="ctr">
            <a:solidFill>
              <a:schemeClr val="tx2">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85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B1B3B4">
                  <a:lumMod val="50000"/>
                </a:srgbClr>
              </a:solidFill>
              <a:effectLst/>
              <a:uLnTx/>
              <a:uFillTx/>
              <a:latin typeface="Arial"/>
              <a:ea typeface="+mn-ea"/>
              <a:cs typeface="Arial" charset="0"/>
            </a:endParaRPr>
          </a:p>
        </p:txBody>
      </p:sp>
      <p:sp>
        <p:nvSpPr>
          <p:cNvPr id="4" name="Title 3"/>
          <p:cNvSpPr>
            <a:spLocks noGrp="1"/>
          </p:cNvSpPr>
          <p:nvPr>
            <p:ph type="title"/>
          </p:nvPr>
        </p:nvSpPr>
        <p:spPr/>
        <p:txBody>
          <a:bodyPr/>
          <a:lstStyle/>
          <a:p>
            <a:r>
              <a:rPr lang="en-US" sz="2400" dirty="0"/>
              <a:t>BI-AM Engagement Overview</a:t>
            </a:r>
          </a:p>
        </p:txBody>
      </p:sp>
      <p:grpSp>
        <p:nvGrpSpPr>
          <p:cNvPr id="12" name="Group 11"/>
          <p:cNvGrpSpPr/>
          <p:nvPr/>
        </p:nvGrpSpPr>
        <p:grpSpPr>
          <a:xfrm>
            <a:off x="5819989" y="1167783"/>
            <a:ext cx="3200400" cy="1934402"/>
            <a:chOff x="3791042" y="1204032"/>
            <a:chExt cx="5751978" cy="3482550"/>
          </a:xfrm>
        </p:grpSpPr>
        <p:grpSp>
          <p:nvGrpSpPr>
            <p:cNvPr id="13" name="Group 12"/>
            <p:cNvGrpSpPr/>
            <p:nvPr/>
          </p:nvGrpSpPr>
          <p:grpSpPr>
            <a:xfrm>
              <a:off x="3791042" y="1209852"/>
              <a:ext cx="4832258" cy="3059637"/>
              <a:chOff x="3791042" y="1209852"/>
              <a:chExt cx="4832258" cy="3059637"/>
            </a:xfrm>
          </p:grpSpPr>
          <p:sp>
            <p:nvSpPr>
              <p:cNvPr id="1410" name="Rectangle 1409"/>
              <p:cNvSpPr/>
              <p:nvPr/>
            </p:nvSpPr>
            <p:spPr bwMode="auto">
              <a:xfrm>
                <a:off x="4894924" y="2406370"/>
                <a:ext cx="257131" cy="198045"/>
              </a:xfrm>
              <a:prstGeom prst="rect">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310" rtl="0" eaLnBrk="0" fontAlgn="base" latinLnBrk="0" hangingPunct="0">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9F958F">
                      <a:lumMod val="50000"/>
                    </a:srgbClr>
                  </a:solidFill>
                  <a:effectLst/>
                  <a:uLnTx/>
                  <a:uFillTx/>
                  <a:latin typeface="Calibri" pitchFamily="34" charset="0"/>
                  <a:ea typeface="+mn-ea"/>
                  <a:cs typeface="Arial" pitchFamily="34" charset="0"/>
                </a:endParaRPr>
              </a:p>
            </p:txBody>
          </p:sp>
          <p:sp>
            <p:nvSpPr>
              <p:cNvPr id="1411" name="Freeform 1220"/>
              <p:cNvSpPr>
                <a:spLocks/>
              </p:cNvSpPr>
              <p:nvPr/>
            </p:nvSpPr>
            <p:spPr bwMode="auto">
              <a:xfrm>
                <a:off x="4279099" y="1716919"/>
                <a:ext cx="1114806" cy="875196"/>
              </a:xfrm>
              <a:custGeom>
                <a:avLst/>
                <a:gdLst/>
                <a:ahLst/>
                <a:cxnLst>
                  <a:cxn ang="0">
                    <a:pos x="1062" y="671"/>
                  </a:cxn>
                  <a:cxn ang="0">
                    <a:pos x="1091" y="700"/>
                  </a:cxn>
                  <a:cxn ang="0">
                    <a:pos x="1126" y="763"/>
                  </a:cxn>
                  <a:cxn ang="0">
                    <a:pos x="1083" y="803"/>
                  </a:cxn>
                  <a:cxn ang="0">
                    <a:pos x="1090" y="764"/>
                  </a:cxn>
                  <a:cxn ang="0">
                    <a:pos x="1000" y="774"/>
                  </a:cxn>
                  <a:cxn ang="0">
                    <a:pos x="833" y="838"/>
                  </a:cxn>
                  <a:cxn ang="0">
                    <a:pos x="855" y="784"/>
                  </a:cxn>
                  <a:cxn ang="0">
                    <a:pos x="830" y="757"/>
                  </a:cxn>
                  <a:cxn ang="0">
                    <a:pos x="753" y="697"/>
                  </a:cxn>
                  <a:cxn ang="0">
                    <a:pos x="672" y="706"/>
                  </a:cxn>
                  <a:cxn ang="0">
                    <a:pos x="249" y="687"/>
                  </a:cxn>
                  <a:cxn ang="0">
                    <a:pos x="219" y="662"/>
                  </a:cxn>
                  <a:cxn ang="0">
                    <a:pos x="196" y="642"/>
                  </a:cxn>
                  <a:cxn ang="0">
                    <a:pos x="171" y="596"/>
                  </a:cxn>
                  <a:cxn ang="0">
                    <a:pos x="156" y="535"/>
                  </a:cxn>
                  <a:cxn ang="0">
                    <a:pos x="62" y="447"/>
                  </a:cxn>
                  <a:cxn ang="0">
                    <a:pos x="39" y="118"/>
                  </a:cxn>
                  <a:cxn ang="0">
                    <a:pos x="94" y="120"/>
                  </a:cxn>
                  <a:cxn ang="0">
                    <a:pos x="161" y="75"/>
                  </a:cxn>
                  <a:cxn ang="0">
                    <a:pos x="140" y="106"/>
                  </a:cxn>
                  <a:cxn ang="0">
                    <a:pos x="213" y="110"/>
                  </a:cxn>
                  <a:cxn ang="0">
                    <a:pos x="233" y="81"/>
                  </a:cxn>
                  <a:cxn ang="0">
                    <a:pos x="307" y="113"/>
                  </a:cxn>
                  <a:cxn ang="0">
                    <a:pos x="379" y="152"/>
                  </a:cxn>
                  <a:cxn ang="0">
                    <a:pos x="421" y="173"/>
                  </a:cxn>
                  <a:cxn ang="0">
                    <a:pos x="463" y="186"/>
                  </a:cxn>
                  <a:cxn ang="0">
                    <a:pos x="480" y="160"/>
                  </a:cxn>
                  <a:cxn ang="0">
                    <a:pos x="476" y="149"/>
                  </a:cxn>
                  <a:cxn ang="0">
                    <a:pos x="505" y="135"/>
                  </a:cxn>
                  <a:cxn ang="0">
                    <a:pos x="556" y="173"/>
                  </a:cxn>
                  <a:cxn ang="0">
                    <a:pos x="622" y="168"/>
                  </a:cxn>
                  <a:cxn ang="0">
                    <a:pos x="633" y="154"/>
                  </a:cxn>
                  <a:cxn ang="0">
                    <a:pos x="650" y="163"/>
                  </a:cxn>
                  <a:cxn ang="0">
                    <a:pos x="670" y="118"/>
                  </a:cxn>
                  <a:cxn ang="0">
                    <a:pos x="634" y="43"/>
                  </a:cxn>
                  <a:cxn ang="0">
                    <a:pos x="682" y="30"/>
                  </a:cxn>
                  <a:cxn ang="0">
                    <a:pos x="692" y="99"/>
                  </a:cxn>
                  <a:cxn ang="0">
                    <a:pos x="740" y="115"/>
                  </a:cxn>
                  <a:cxn ang="0">
                    <a:pos x="800" y="133"/>
                  </a:cxn>
                  <a:cxn ang="0">
                    <a:pos x="836" y="115"/>
                  </a:cxn>
                  <a:cxn ang="0">
                    <a:pos x="849" y="195"/>
                  </a:cxn>
                  <a:cxn ang="0">
                    <a:pos x="785" y="219"/>
                  </a:cxn>
                  <a:cxn ang="0">
                    <a:pos x="771" y="264"/>
                  </a:cxn>
                  <a:cxn ang="0">
                    <a:pos x="717" y="321"/>
                  </a:cxn>
                  <a:cxn ang="0">
                    <a:pos x="702" y="315"/>
                  </a:cxn>
                  <a:cxn ang="0">
                    <a:pos x="676" y="370"/>
                  </a:cxn>
                  <a:cxn ang="0">
                    <a:pos x="691" y="495"/>
                  </a:cxn>
                  <a:cxn ang="0">
                    <a:pos x="826" y="555"/>
                  </a:cxn>
                  <a:cxn ang="0">
                    <a:pos x="872" y="642"/>
                  </a:cxn>
                  <a:cxn ang="0">
                    <a:pos x="872" y="569"/>
                  </a:cxn>
                  <a:cxn ang="0">
                    <a:pos x="904" y="434"/>
                  </a:cxn>
                  <a:cxn ang="0">
                    <a:pos x="900" y="376"/>
                  </a:cxn>
                  <a:cxn ang="0">
                    <a:pos x="971" y="373"/>
                  </a:cxn>
                  <a:cxn ang="0">
                    <a:pos x="1009" y="401"/>
                  </a:cxn>
                  <a:cxn ang="0">
                    <a:pos x="1019" y="450"/>
                  </a:cxn>
                  <a:cxn ang="0">
                    <a:pos x="1045" y="474"/>
                  </a:cxn>
                  <a:cxn ang="0">
                    <a:pos x="1090" y="426"/>
                  </a:cxn>
                  <a:cxn ang="0">
                    <a:pos x="1112" y="459"/>
                  </a:cxn>
                  <a:cxn ang="0">
                    <a:pos x="1126" y="497"/>
                  </a:cxn>
                  <a:cxn ang="0">
                    <a:pos x="1147" y="551"/>
                  </a:cxn>
                  <a:cxn ang="0">
                    <a:pos x="1161" y="581"/>
                  </a:cxn>
                  <a:cxn ang="0">
                    <a:pos x="1196" y="590"/>
                  </a:cxn>
                </a:cxnLst>
                <a:rect l="0" t="0" r="r" b="b"/>
                <a:pathLst>
                  <a:path w="1216" h="840">
                    <a:moveTo>
                      <a:pt x="1212" y="622"/>
                    </a:moveTo>
                    <a:lnTo>
                      <a:pt x="1215" y="626"/>
                    </a:lnTo>
                    <a:lnTo>
                      <a:pt x="1211" y="632"/>
                    </a:lnTo>
                    <a:lnTo>
                      <a:pt x="1206" y="636"/>
                    </a:lnTo>
                    <a:lnTo>
                      <a:pt x="1202" y="641"/>
                    </a:lnTo>
                    <a:lnTo>
                      <a:pt x="1199" y="641"/>
                    </a:lnTo>
                    <a:lnTo>
                      <a:pt x="1197" y="642"/>
                    </a:lnTo>
                    <a:lnTo>
                      <a:pt x="1187" y="642"/>
                    </a:lnTo>
                    <a:lnTo>
                      <a:pt x="1176" y="646"/>
                    </a:lnTo>
                    <a:lnTo>
                      <a:pt x="1173" y="648"/>
                    </a:lnTo>
                    <a:lnTo>
                      <a:pt x="1170" y="652"/>
                    </a:lnTo>
                    <a:lnTo>
                      <a:pt x="1168" y="652"/>
                    </a:lnTo>
                    <a:lnTo>
                      <a:pt x="1161" y="662"/>
                    </a:lnTo>
                    <a:lnTo>
                      <a:pt x="1158" y="664"/>
                    </a:lnTo>
                    <a:lnTo>
                      <a:pt x="1155" y="668"/>
                    </a:lnTo>
                    <a:lnTo>
                      <a:pt x="1152" y="670"/>
                    </a:lnTo>
                    <a:lnTo>
                      <a:pt x="1151" y="670"/>
                    </a:lnTo>
                    <a:lnTo>
                      <a:pt x="1150" y="668"/>
                    </a:lnTo>
                    <a:lnTo>
                      <a:pt x="1151" y="665"/>
                    </a:lnTo>
                    <a:lnTo>
                      <a:pt x="1150" y="665"/>
                    </a:lnTo>
                    <a:lnTo>
                      <a:pt x="1148" y="670"/>
                    </a:lnTo>
                    <a:lnTo>
                      <a:pt x="1131" y="673"/>
                    </a:lnTo>
                    <a:lnTo>
                      <a:pt x="1129" y="673"/>
                    </a:lnTo>
                    <a:lnTo>
                      <a:pt x="1129" y="671"/>
                    </a:lnTo>
                    <a:lnTo>
                      <a:pt x="1126" y="670"/>
                    </a:lnTo>
                    <a:lnTo>
                      <a:pt x="1110" y="668"/>
                    </a:lnTo>
                    <a:lnTo>
                      <a:pt x="1106" y="670"/>
                    </a:lnTo>
                    <a:lnTo>
                      <a:pt x="1090" y="668"/>
                    </a:lnTo>
                    <a:lnTo>
                      <a:pt x="1083" y="670"/>
                    </a:lnTo>
                    <a:lnTo>
                      <a:pt x="1077" y="668"/>
                    </a:lnTo>
                    <a:lnTo>
                      <a:pt x="1073" y="670"/>
                    </a:lnTo>
                    <a:lnTo>
                      <a:pt x="1070" y="668"/>
                    </a:lnTo>
                    <a:lnTo>
                      <a:pt x="1067" y="670"/>
                    </a:lnTo>
                    <a:lnTo>
                      <a:pt x="1064" y="670"/>
                    </a:lnTo>
                    <a:lnTo>
                      <a:pt x="1062" y="671"/>
                    </a:lnTo>
                    <a:lnTo>
                      <a:pt x="1062" y="673"/>
                    </a:lnTo>
                    <a:lnTo>
                      <a:pt x="1060" y="673"/>
                    </a:lnTo>
                    <a:lnTo>
                      <a:pt x="1058" y="673"/>
                    </a:lnTo>
                    <a:lnTo>
                      <a:pt x="1057" y="674"/>
                    </a:lnTo>
                    <a:lnTo>
                      <a:pt x="1054" y="680"/>
                    </a:lnTo>
                    <a:lnTo>
                      <a:pt x="1049" y="689"/>
                    </a:lnTo>
                    <a:lnTo>
                      <a:pt x="1049" y="690"/>
                    </a:lnTo>
                    <a:lnTo>
                      <a:pt x="1039" y="690"/>
                    </a:lnTo>
                    <a:lnTo>
                      <a:pt x="1036" y="693"/>
                    </a:lnTo>
                    <a:lnTo>
                      <a:pt x="1035" y="693"/>
                    </a:lnTo>
                    <a:lnTo>
                      <a:pt x="1035" y="694"/>
                    </a:lnTo>
                    <a:lnTo>
                      <a:pt x="1029" y="699"/>
                    </a:lnTo>
                    <a:lnTo>
                      <a:pt x="1028" y="700"/>
                    </a:lnTo>
                    <a:lnTo>
                      <a:pt x="1020" y="712"/>
                    </a:lnTo>
                    <a:lnTo>
                      <a:pt x="1017" y="715"/>
                    </a:lnTo>
                    <a:lnTo>
                      <a:pt x="1015" y="715"/>
                    </a:lnTo>
                    <a:lnTo>
                      <a:pt x="1015" y="719"/>
                    </a:lnTo>
                    <a:lnTo>
                      <a:pt x="1009" y="729"/>
                    </a:lnTo>
                    <a:lnTo>
                      <a:pt x="1007" y="729"/>
                    </a:lnTo>
                    <a:lnTo>
                      <a:pt x="996" y="742"/>
                    </a:lnTo>
                    <a:lnTo>
                      <a:pt x="994" y="742"/>
                    </a:lnTo>
                    <a:lnTo>
                      <a:pt x="999" y="742"/>
                    </a:lnTo>
                    <a:lnTo>
                      <a:pt x="1001" y="739"/>
                    </a:lnTo>
                    <a:lnTo>
                      <a:pt x="1001" y="739"/>
                    </a:lnTo>
                    <a:lnTo>
                      <a:pt x="1003" y="738"/>
                    </a:lnTo>
                    <a:lnTo>
                      <a:pt x="1028" y="710"/>
                    </a:lnTo>
                    <a:lnTo>
                      <a:pt x="1029" y="709"/>
                    </a:lnTo>
                    <a:lnTo>
                      <a:pt x="1032" y="707"/>
                    </a:lnTo>
                    <a:lnTo>
                      <a:pt x="1060" y="693"/>
                    </a:lnTo>
                    <a:lnTo>
                      <a:pt x="1074" y="691"/>
                    </a:lnTo>
                    <a:lnTo>
                      <a:pt x="1081" y="691"/>
                    </a:lnTo>
                    <a:lnTo>
                      <a:pt x="1091" y="697"/>
                    </a:lnTo>
                    <a:lnTo>
                      <a:pt x="1093" y="702"/>
                    </a:lnTo>
                    <a:lnTo>
                      <a:pt x="1091" y="700"/>
                    </a:lnTo>
                    <a:lnTo>
                      <a:pt x="1091" y="700"/>
                    </a:lnTo>
                    <a:lnTo>
                      <a:pt x="1093" y="703"/>
                    </a:lnTo>
                    <a:lnTo>
                      <a:pt x="1093" y="707"/>
                    </a:lnTo>
                    <a:lnTo>
                      <a:pt x="1080" y="716"/>
                    </a:lnTo>
                    <a:lnTo>
                      <a:pt x="1074" y="716"/>
                    </a:lnTo>
                    <a:lnTo>
                      <a:pt x="1071" y="715"/>
                    </a:lnTo>
                    <a:lnTo>
                      <a:pt x="1061" y="718"/>
                    </a:lnTo>
                    <a:lnTo>
                      <a:pt x="1060" y="718"/>
                    </a:lnTo>
                    <a:lnTo>
                      <a:pt x="1064" y="718"/>
                    </a:lnTo>
                    <a:lnTo>
                      <a:pt x="1071" y="721"/>
                    </a:lnTo>
                    <a:lnTo>
                      <a:pt x="1073" y="723"/>
                    </a:lnTo>
                    <a:lnTo>
                      <a:pt x="1073" y="725"/>
                    </a:lnTo>
                    <a:lnTo>
                      <a:pt x="1081" y="721"/>
                    </a:lnTo>
                    <a:lnTo>
                      <a:pt x="1081" y="721"/>
                    </a:lnTo>
                    <a:lnTo>
                      <a:pt x="1081" y="722"/>
                    </a:lnTo>
                    <a:lnTo>
                      <a:pt x="1084" y="722"/>
                    </a:lnTo>
                    <a:lnTo>
                      <a:pt x="1086" y="723"/>
                    </a:lnTo>
                    <a:lnTo>
                      <a:pt x="1086" y="726"/>
                    </a:lnTo>
                    <a:lnTo>
                      <a:pt x="1083" y="732"/>
                    </a:lnTo>
                    <a:lnTo>
                      <a:pt x="1078" y="737"/>
                    </a:lnTo>
                    <a:lnTo>
                      <a:pt x="1078" y="738"/>
                    </a:lnTo>
                    <a:lnTo>
                      <a:pt x="1081" y="737"/>
                    </a:lnTo>
                    <a:lnTo>
                      <a:pt x="1084" y="738"/>
                    </a:lnTo>
                    <a:lnTo>
                      <a:pt x="1084" y="742"/>
                    </a:lnTo>
                    <a:lnTo>
                      <a:pt x="1087" y="753"/>
                    </a:lnTo>
                    <a:lnTo>
                      <a:pt x="1090" y="754"/>
                    </a:lnTo>
                    <a:lnTo>
                      <a:pt x="1089" y="754"/>
                    </a:lnTo>
                    <a:lnTo>
                      <a:pt x="1093" y="755"/>
                    </a:lnTo>
                    <a:lnTo>
                      <a:pt x="1099" y="757"/>
                    </a:lnTo>
                    <a:lnTo>
                      <a:pt x="1100" y="758"/>
                    </a:lnTo>
                    <a:lnTo>
                      <a:pt x="1097" y="760"/>
                    </a:lnTo>
                    <a:lnTo>
                      <a:pt x="1097" y="761"/>
                    </a:lnTo>
                    <a:lnTo>
                      <a:pt x="1115" y="766"/>
                    </a:lnTo>
                    <a:lnTo>
                      <a:pt x="1115" y="767"/>
                    </a:lnTo>
                    <a:lnTo>
                      <a:pt x="1120" y="766"/>
                    </a:lnTo>
                    <a:lnTo>
                      <a:pt x="1126" y="763"/>
                    </a:lnTo>
                    <a:lnTo>
                      <a:pt x="1128" y="766"/>
                    </a:lnTo>
                    <a:lnTo>
                      <a:pt x="1126" y="767"/>
                    </a:lnTo>
                    <a:lnTo>
                      <a:pt x="1128" y="767"/>
                    </a:lnTo>
                    <a:lnTo>
                      <a:pt x="1131" y="767"/>
                    </a:lnTo>
                    <a:lnTo>
                      <a:pt x="1134" y="767"/>
                    </a:lnTo>
                    <a:lnTo>
                      <a:pt x="1136" y="770"/>
                    </a:lnTo>
                    <a:lnTo>
                      <a:pt x="1135" y="771"/>
                    </a:lnTo>
                    <a:lnTo>
                      <a:pt x="1134" y="773"/>
                    </a:lnTo>
                    <a:lnTo>
                      <a:pt x="1138" y="773"/>
                    </a:lnTo>
                    <a:lnTo>
                      <a:pt x="1139" y="774"/>
                    </a:lnTo>
                    <a:lnTo>
                      <a:pt x="1138" y="776"/>
                    </a:lnTo>
                    <a:lnTo>
                      <a:pt x="1135" y="774"/>
                    </a:lnTo>
                    <a:lnTo>
                      <a:pt x="1134" y="776"/>
                    </a:lnTo>
                    <a:lnTo>
                      <a:pt x="1131" y="776"/>
                    </a:lnTo>
                    <a:lnTo>
                      <a:pt x="1120" y="782"/>
                    </a:lnTo>
                    <a:lnTo>
                      <a:pt x="1119" y="782"/>
                    </a:lnTo>
                    <a:lnTo>
                      <a:pt x="1118" y="783"/>
                    </a:lnTo>
                    <a:lnTo>
                      <a:pt x="1116" y="783"/>
                    </a:lnTo>
                    <a:lnTo>
                      <a:pt x="1113" y="784"/>
                    </a:lnTo>
                    <a:lnTo>
                      <a:pt x="1110" y="786"/>
                    </a:lnTo>
                    <a:lnTo>
                      <a:pt x="1110" y="784"/>
                    </a:lnTo>
                    <a:lnTo>
                      <a:pt x="1106" y="787"/>
                    </a:lnTo>
                    <a:lnTo>
                      <a:pt x="1103" y="786"/>
                    </a:lnTo>
                    <a:lnTo>
                      <a:pt x="1103" y="789"/>
                    </a:lnTo>
                    <a:lnTo>
                      <a:pt x="1103" y="790"/>
                    </a:lnTo>
                    <a:lnTo>
                      <a:pt x="1100" y="790"/>
                    </a:lnTo>
                    <a:lnTo>
                      <a:pt x="1099" y="789"/>
                    </a:lnTo>
                    <a:lnTo>
                      <a:pt x="1099" y="787"/>
                    </a:lnTo>
                    <a:lnTo>
                      <a:pt x="1096" y="790"/>
                    </a:lnTo>
                    <a:lnTo>
                      <a:pt x="1094" y="789"/>
                    </a:lnTo>
                    <a:lnTo>
                      <a:pt x="1093" y="790"/>
                    </a:lnTo>
                    <a:lnTo>
                      <a:pt x="1093" y="795"/>
                    </a:lnTo>
                    <a:lnTo>
                      <a:pt x="1090" y="796"/>
                    </a:lnTo>
                    <a:lnTo>
                      <a:pt x="1086" y="802"/>
                    </a:lnTo>
                    <a:lnTo>
                      <a:pt x="1083" y="803"/>
                    </a:lnTo>
                    <a:lnTo>
                      <a:pt x="1081" y="806"/>
                    </a:lnTo>
                    <a:lnTo>
                      <a:pt x="1080" y="806"/>
                    </a:lnTo>
                    <a:lnTo>
                      <a:pt x="1078" y="806"/>
                    </a:lnTo>
                    <a:lnTo>
                      <a:pt x="1078" y="809"/>
                    </a:lnTo>
                    <a:lnTo>
                      <a:pt x="1077" y="811"/>
                    </a:lnTo>
                    <a:lnTo>
                      <a:pt x="1075" y="811"/>
                    </a:lnTo>
                    <a:lnTo>
                      <a:pt x="1073" y="809"/>
                    </a:lnTo>
                    <a:lnTo>
                      <a:pt x="1071" y="806"/>
                    </a:lnTo>
                    <a:lnTo>
                      <a:pt x="1070" y="805"/>
                    </a:lnTo>
                    <a:lnTo>
                      <a:pt x="1068" y="803"/>
                    </a:lnTo>
                    <a:lnTo>
                      <a:pt x="1067" y="796"/>
                    </a:lnTo>
                    <a:lnTo>
                      <a:pt x="1067" y="793"/>
                    </a:lnTo>
                    <a:lnTo>
                      <a:pt x="1070" y="789"/>
                    </a:lnTo>
                    <a:lnTo>
                      <a:pt x="1068" y="790"/>
                    </a:lnTo>
                    <a:lnTo>
                      <a:pt x="1065" y="792"/>
                    </a:lnTo>
                    <a:lnTo>
                      <a:pt x="1067" y="790"/>
                    </a:lnTo>
                    <a:lnTo>
                      <a:pt x="1071" y="786"/>
                    </a:lnTo>
                    <a:lnTo>
                      <a:pt x="1073" y="787"/>
                    </a:lnTo>
                    <a:lnTo>
                      <a:pt x="1075" y="786"/>
                    </a:lnTo>
                    <a:lnTo>
                      <a:pt x="1075" y="784"/>
                    </a:lnTo>
                    <a:lnTo>
                      <a:pt x="1090" y="774"/>
                    </a:lnTo>
                    <a:lnTo>
                      <a:pt x="1091" y="776"/>
                    </a:lnTo>
                    <a:lnTo>
                      <a:pt x="1091" y="777"/>
                    </a:lnTo>
                    <a:lnTo>
                      <a:pt x="1094" y="779"/>
                    </a:lnTo>
                    <a:lnTo>
                      <a:pt x="1097" y="776"/>
                    </a:lnTo>
                    <a:lnTo>
                      <a:pt x="1099" y="774"/>
                    </a:lnTo>
                    <a:lnTo>
                      <a:pt x="1106" y="774"/>
                    </a:lnTo>
                    <a:lnTo>
                      <a:pt x="1106" y="771"/>
                    </a:lnTo>
                    <a:lnTo>
                      <a:pt x="1099" y="773"/>
                    </a:lnTo>
                    <a:lnTo>
                      <a:pt x="1091" y="771"/>
                    </a:lnTo>
                    <a:lnTo>
                      <a:pt x="1089" y="773"/>
                    </a:lnTo>
                    <a:lnTo>
                      <a:pt x="1086" y="773"/>
                    </a:lnTo>
                    <a:lnTo>
                      <a:pt x="1086" y="770"/>
                    </a:lnTo>
                    <a:lnTo>
                      <a:pt x="1091" y="764"/>
                    </a:lnTo>
                    <a:lnTo>
                      <a:pt x="1090" y="764"/>
                    </a:lnTo>
                    <a:lnTo>
                      <a:pt x="1089" y="761"/>
                    </a:lnTo>
                    <a:lnTo>
                      <a:pt x="1087" y="767"/>
                    </a:lnTo>
                    <a:lnTo>
                      <a:pt x="1083" y="767"/>
                    </a:lnTo>
                    <a:lnTo>
                      <a:pt x="1073" y="774"/>
                    </a:lnTo>
                    <a:lnTo>
                      <a:pt x="1070" y="776"/>
                    </a:lnTo>
                    <a:lnTo>
                      <a:pt x="1068" y="774"/>
                    </a:lnTo>
                    <a:lnTo>
                      <a:pt x="1064" y="777"/>
                    </a:lnTo>
                    <a:lnTo>
                      <a:pt x="1057" y="779"/>
                    </a:lnTo>
                    <a:lnTo>
                      <a:pt x="1055" y="777"/>
                    </a:lnTo>
                    <a:lnTo>
                      <a:pt x="1052" y="777"/>
                    </a:lnTo>
                    <a:lnTo>
                      <a:pt x="1052" y="777"/>
                    </a:lnTo>
                    <a:lnTo>
                      <a:pt x="1051" y="777"/>
                    </a:lnTo>
                    <a:lnTo>
                      <a:pt x="1049" y="777"/>
                    </a:lnTo>
                    <a:lnTo>
                      <a:pt x="1046" y="776"/>
                    </a:lnTo>
                    <a:lnTo>
                      <a:pt x="1046" y="773"/>
                    </a:lnTo>
                    <a:lnTo>
                      <a:pt x="1046" y="769"/>
                    </a:lnTo>
                    <a:lnTo>
                      <a:pt x="1042" y="767"/>
                    </a:lnTo>
                    <a:lnTo>
                      <a:pt x="1042" y="739"/>
                    </a:lnTo>
                    <a:lnTo>
                      <a:pt x="1035" y="732"/>
                    </a:lnTo>
                    <a:lnTo>
                      <a:pt x="1033" y="732"/>
                    </a:lnTo>
                    <a:lnTo>
                      <a:pt x="1032" y="735"/>
                    </a:lnTo>
                    <a:lnTo>
                      <a:pt x="1028" y="737"/>
                    </a:lnTo>
                    <a:lnTo>
                      <a:pt x="1023" y="735"/>
                    </a:lnTo>
                    <a:lnTo>
                      <a:pt x="1023" y="732"/>
                    </a:lnTo>
                    <a:lnTo>
                      <a:pt x="1020" y="731"/>
                    </a:lnTo>
                    <a:lnTo>
                      <a:pt x="1019" y="731"/>
                    </a:lnTo>
                    <a:lnTo>
                      <a:pt x="1017" y="732"/>
                    </a:lnTo>
                    <a:lnTo>
                      <a:pt x="1006" y="758"/>
                    </a:lnTo>
                    <a:lnTo>
                      <a:pt x="1004" y="767"/>
                    </a:lnTo>
                    <a:lnTo>
                      <a:pt x="1001" y="771"/>
                    </a:lnTo>
                    <a:lnTo>
                      <a:pt x="1001" y="773"/>
                    </a:lnTo>
                    <a:lnTo>
                      <a:pt x="1001" y="774"/>
                    </a:lnTo>
                    <a:lnTo>
                      <a:pt x="1001" y="774"/>
                    </a:lnTo>
                    <a:lnTo>
                      <a:pt x="1000" y="774"/>
                    </a:lnTo>
                    <a:lnTo>
                      <a:pt x="1000" y="774"/>
                    </a:lnTo>
                    <a:lnTo>
                      <a:pt x="1000" y="776"/>
                    </a:lnTo>
                    <a:lnTo>
                      <a:pt x="997" y="774"/>
                    </a:lnTo>
                    <a:lnTo>
                      <a:pt x="994" y="776"/>
                    </a:lnTo>
                    <a:lnTo>
                      <a:pt x="991" y="776"/>
                    </a:lnTo>
                    <a:lnTo>
                      <a:pt x="990" y="777"/>
                    </a:lnTo>
                    <a:lnTo>
                      <a:pt x="988" y="782"/>
                    </a:lnTo>
                    <a:lnTo>
                      <a:pt x="939" y="782"/>
                    </a:lnTo>
                    <a:lnTo>
                      <a:pt x="930" y="787"/>
                    </a:lnTo>
                    <a:lnTo>
                      <a:pt x="929" y="789"/>
                    </a:lnTo>
                    <a:lnTo>
                      <a:pt x="926" y="793"/>
                    </a:lnTo>
                    <a:lnTo>
                      <a:pt x="911" y="799"/>
                    </a:lnTo>
                    <a:lnTo>
                      <a:pt x="911" y="798"/>
                    </a:lnTo>
                    <a:lnTo>
                      <a:pt x="909" y="798"/>
                    </a:lnTo>
                    <a:lnTo>
                      <a:pt x="907" y="799"/>
                    </a:lnTo>
                    <a:lnTo>
                      <a:pt x="909" y="799"/>
                    </a:lnTo>
                    <a:lnTo>
                      <a:pt x="910" y="802"/>
                    </a:lnTo>
                    <a:lnTo>
                      <a:pt x="911" y="802"/>
                    </a:lnTo>
                    <a:lnTo>
                      <a:pt x="909" y="803"/>
                    </a:lnTo>
                    <a:lnTo>
                      <a:pt x="907" y="802"/>
                    </a:lnTo>
                    <a:lnTo>
                      <a:pt x="895" y="800"/>
                    </a:lnTo>
                    <a:lnTo>
                      <a:pt x="879" y="805"/>
                    </a:lnTo>
                    <a:lnTo>
                      <a:pt x="871" y="815"/>
                    </a:lnTo>
                    <a:lnTo>
                      <a:pt x="877" y="816"/>
                    </a:lnTo>
                    <a:lnTo>
                      <a:pt x="882" y="815"/>
                    </a:lnTo>
                    <a:lnTo>
                      <a:pt x="884" y="824"/>
                    </a:lnTo>
                    <a:lnTo>
                      <a:pt x="872" y="822"/>
                    </a:lnTo>
                    <a:lnTo>
                      <a:pt x="865" y="825"/>
                    </a:lnTo>
                    <a:lnTo>
                      <a:pt x="861" y="828"/>
                    </a:lnTo>
                    <a:lnTo>
                      <a:pt x="852" y="827"/>
                    </a:lnTo>
                    <a:lnTo>
                      <a:pt x="846" y="830"/>
                    </a:lnTo>
                    <a:lnTo>
                      <a:pt x="845" y="830"/>
                    </a:lnTo>
                    <a:lnTo>
                      <a:pt x="843" y="834"/>
                    </a:lnTo>
                    <a:lnTo>
                      <a:pt x="842" y="834"/>
                    </a:lnTo>
                    <a:lnTo>
                      <a:pt x="839" y="834"/>
                    </a:lnTo>
                    <a:lnTo>
                      <a:pt x="833" y="838"/>
                    </a:lnTo>
                    <a:lnTo>
                      <a:pt x="833" y="840"/>
                    </a:lnTo>
                    <a:lnTo>
                      <a:pt x="829" y="840"/>
                    </a:lnTo>
                    <a:lnTo>
                      <a:pt x="827" y="840"/>
                    </a:lnTo>
                    <a:lnTo>
                      <a:pt x="824" y="840"/>
                    </a:lnTo>
                    <a:lnTo>
                      <a:pt x="824" y="837"/>
                    </a:lnTo>
                    <a:lnTo>
                      <a:pt x="826" y="834"/>
                    </a:lnTo>
                    <a:lnTo>
                      <a:pt x="826" y="832"/>
                    </a:lnTo>
                    <a:lnTo>
                      <a:pt x="827" y="832"/>
                    </a:lnTo>
                    <a:lnTo>
                      <a:pt x="830" y="834"/>
                    </a:lnTo>
                    <a:lnTo>
                      <a:pt x="832" y="834"/>
                    </a:lnTo>
                    <a:lnTo>
                      <a:pt x="833" y="832"/>
                    </a:lnTo>
                    <a:lnTo>
                      <a:pt x="833" y="831"/>
                    </a:lnTo>
                    <a:lnTo>
                      <a:pt x="833" y="830"/>
                    </a:lnTo>
                    <a:lnTo>
                      <a:pt x="832" y="830"/>
                    </a:lnTo>
                    <a:lnTo>
                      <a:pt x="832" y="827"/>
                    </a:lnTo>
                    <a:lnTo>
                      <a:pt x="833" y="818"/>
                    </a:lnTo>
                    <a:lnTo>
                      <a:pt x="836" y="818"/>
                    </a:lnTo>
                    <a:lnTo>
                      <a:pt x="837" y="818"/>
                    </a:lnTo>
                    <a:lnTo>
                      <a:pt x="837" y="816"/>
                    </a:lnTo>
                    <a:lnTo>
                      <a:pt x="840" y="815"/>
                    </a:lnTo>
                    <a:lnTo>
                      <a:pt x="843" y="814"/>
                    </a:lnTo>
                    <a:lnTo>
                      <a:pt x="843" y="798"/>
                    </a:lnTo>
                    <a:lnTo>
                      <a:pt x="849" y="787"/>
                    </a:lnTo>
                    <a:lnTo>
                      <a:pt x="849" y="784"/>
                    </a:lnTo>
                    <a:lnTo>
                      <a:pt x="846" y="777"/>
                    </a:lnTo>
                    <a:lnTo>
                      <a:pt x="845" y="777"/>
                    </a:lnTo>
                    <a:lnTo>
                      <a:pt x="845" y="776"/>
                    </a:lnTo>
                    <a:lnTo>
                      <a:pt x="845" y="776"/>
                    </a:lnTo>
                    <a:lnTo>
                      <a:pt x="849" y="776"/>
                    </a:lnTo>
                    <a:lnTo>
                      <a:pt x="852" y="783"/>
                    </a:lnTo>
                    <a:lnTo>
                      <a:pt x="852" y="783"/>
                    </a:lnTo>
                    <a:lnTo>
                      <a:pt x="853" y="782"/>
                    </a:lnTo>
                    <a:lnTo>
                      <a:pt x="853" y="782"/>
                    </a:lnTo>
                    <a:lnTo>
                      <a:pt x="853" y="784"/>
                    </a:lnTo>
                    <a:lnTo>
                      <a:pt x="855" y="784"/>
                    </a:lnTo>
                    <a:lnTo>
                      <a:pt x="855" y="789"/>
                    </a:lnTo>
                    <a:lnTo>
                      <a:pt x="856" y="786"/>
                    </a:lnTo>
                    <a:lnTo>
                      <a:pt x="858" y="786"/>
                    </a:lnTo>
                    <a:lnTo>
                      <a:pt x="859" y="787"/>
                    </a:lnTo>
                    <a:lnTo>
                      <a:pt x="864" y="790"/>
                    </a:lnTo>
                    <a:lnTo>
                      <a:pt x="866" y="790"/>
                    </a:lnTo>
                    <a:lnTo>
                      <a:pt x="868" y="789"/>
                    </a:lnTo>
                    <a:lnTo>
                      <a:pt x="868" y="787"/>
                    </a:lnTo>
                    <a:lnTo>
                      <a:pt x="866" y="784"/>
                    </a:lnTo>
                    <a:lnTo>
                      <a:pt x="866" y="783"/>
                    </a:lnTo>
                    <a:lnTo>
                      <a:pt x="868" y="783"/>
                    </a:lnTo>
                    <a:lnTo>
                      <a:pt x="869" y="784"/>
                    </a:lnTo>
                    <a:lnTo>
                      <a:pt x="871" y="784"/>
                    </a:lnTo>
                    <a:lnTo>
                      <a:pt x="872" y="784"/>
                    </a:lnTo>
                    <a:lnTo>
                      <a:pt x="872" y="784"/>
                    </a:lnTo>
                    <a:lnTo>
                      <a:pt x="872" y="782"/>
                    </a:lnTo>
                    <a:lnTo>
                      <a:pt x="869" y="782"/>
                    </a:lnTo>
                    <a:lnTo>
                      <a:pt x="868" y="779"/>
                    </a:lnTo>
                    <a:lnTo>
                      <a:pt x="868" y="777"/>
                    </a:lnTo>
                    <a:lnTo>
                      <a:pt x="868" y="776"/>
                    </a:lnTo>
                    <a:lnTo>
                      <a:pt x="868" y="773"/>
                    </a:lnTo>
                    <a:lnTo>
                      <a:pt x="866" y="773"/>
                    </a:lnTo>
                    <a:lnTo>
                      <a:pt x="864" y="773"/>
                    </a:lnTo>
                    <a:lnTo>
                      <a:pt x="864" y="770"/>
                    </a:lnTo>
                    <a:lnTo>
                      <a:pt x="861" y="769"/>
                    </a:lnTo>
                    <a:lnTo>
                      <a:pt x="859" y="764"/>
                    </a:lnTo>
                    <a:lnTo>
                      <a:pt x="849" y="761"/>
                    </a:lnTo>
                    <a:lnTo>
                      <a:pt x="846" y="761"/>
                    </a:lnTo>
                    <a:lnTo>
                      <a:pt x="846" y="760"/>
                    </a:lnTo>
                    <a:lnTo>
                      <a:pt x="846" y="758"/>
                    </a:lnTo>
                    <a:lnTo>
                      <a:pt x="842" y="760"/>
                    </a:lnTo>
                    <a:lnTo>
                      <a:pt x="834" y="758"/>
                    </a:lnTo>
                    <a:lnTo>
                      <a:pt x="833" y="757"/>
                    </a:lnTo>
                    <a:lnTo>
                      <a:pt x="832" y="757"/>
                    </a:lnTo>
                    <a:lnTo>
                      <a:pt x="830" y="757"/>
                    </a:lnTo>
                    <a:lnTo>
                      <a:pt x="829" y="755"/>
                    </a:lnTo>
                    <a:lnTo>
                      <a:pt x="826" y="757"/>
                    </a:lnTo>
                    <a:lnTo>
                      <a:pt x="824" y="757"/>
                    </a:lnTo>
                    <a:lnTo>
                      <a:pt x="814" y="754"/>
                    </a:lnTo>
                    <a:lnTo>
                      <a:pt x="811" y="754"/>
                    </a:lnTo>
                    <a:lnTo>
                      <a:pt x="810" y="754"/>
                    </a:lnTo>
                    <a:lnTo>
                      <a:pt x="810" y="753"/>
                    </a:lnTo>
                    <a:lnTo>
                      <a:pt x="807" y="748"/>
                    </a:lnTo>
                    <a:lnTo>
                      <a:pt x="807" y="748"/>
                    </a:lnTo>
                    <a:lnTo>
                      <a:pt x="805" y="750"/>
                    </a:lnTo>
                    <a:lnTo>
                      <a:pt x="805" y="751"/>
                    </a:lnTo>
                    <a:lnTo>
                      <a:pt x="804" y="751"/>
                    </a:lnTo>
                    <a:lnTo>
                      <a:pt x="804" y="751"/>
                    </a:lnTo>
                    <a:lnTo>
                      <a:pt x="804" y="750"/>
                    </a:lnTo>
                    <a:lnTo>
                      <a:pt x="804" y="750"/>
                    </a:lnTo>
                    <a:lnTo>
                      <a:pt x="804" y="748"/>
                    </a:lnTo>
                    <a:lnTo>
                      <a:pt x="804" y="745"/>
                    </a:lnTo>
                    <a:lnTo>
                      <a:pt x="804" y="745"/>
                    </a:lnTo>
                    <a:lnTo>
                      <a:pt x="804" y="744"/>
                    </a:lnTo>
                    <a:lnTo>
                      <a:pt x="805" y="742"/>
                    </a:lnTo>
                    <a:lnTo>
                      <a:pt x="801" y="741"/>
                    </a:lnTo>
                    <a:lnTo>
                      <a:pt x="801" y="737"/>
                    </a:lnTo>
                    <a:lnTo>
                      <a:pt x="801" y="732"/>
                    </a:lnTo>
                    <a:lnTo>
                      <a:pt x="798" y="728"/>
                    </a:lnTo>
                    <a:lnTo>
                      <a:pt x="797" y="726"/>
                    </a:lnTo>
                    <a:lnTo>
                      <a:pt x="798" y="719"/>
                    </a:lnTo>
                    <a:lnTo>
                      <a:pt x="787" y="721"/>
                    </a:lnTo>
                    <a:lnTo>
                      <a:pt x="784" y="718"/>
                    </a:lnTo>
                    <a:lnTo>
                      <a:pt x="776" y="703"/>
                    </a:lnTo>
                    <a:lnTo>
                      <a:pt x="775" y="703"/>
                    </a:lnTo>
                    <a:lnTo>
                      <a:pt x="771" y="702"/>
                    </a:lnTo>
                    <a:lnTo>
                      <a:pt x="768" y="702"/>
                    </a:lnTo>
                    <a:lnTo>
                      <a:pt x="768" y="712"/>
                    </a:lnTo>
                    <a:lnTo>
                      <a:pt x="762" y="700"/>
                    </a:lnTo>
                    <a:lnTo>
                      <a:pt x="753" y="697"/>
                    </a:lnTo>
                    <a:lnTo>
                      <a:pt x="752" y="699"/>
                    </a:lnTo>
                    <a:lnTo>
                      <a:pt x="752" y="699"/>
                    </a:lnTo>
                    <a:lnTo>
                      <a:pt x="752" y="705"/>
                    </a:lnTo>
                    <a:lnTo>
                      <a:pt x="752" y="705"/>
                    </a:lnTo>
                    <a:lnTo>
                      <a:pt x="749" y="706"/>
                    </a:lnTo>
                    <a:lnTo>
                      <a:pt x="747" y="709"/>
                    </a:lnTo>
                    <a:lnTo>
                      <a:pt x="747" y="709"/>
                    </a:lnTo>
                    <a:lnTo>
                      <a:pt x="746" y="707"/>
                    </a:lnTo>
                    <a:lnTo>
                      <a:pt x="749" y="703"/>
                    </a:lnTo>
                    <a:lnTo>
                      <a:pt x="749" y="702"/>
                    </a:lnTo>
                    <a:lnTo>
                      <a:pt x="744" y="710"/>
                    </a:lnTo>
                    <a:lnTo>
                      <a:pt x="742" y="712"/>
                    </a:lnTo>
                    <a:lnTo>
                      <a:pt x="742" y="709"/>
                    </a:lnTo>
                    <a:lnTo>
                      <a:pt x="742" y="706"/>
                    </a:lnTo>
                    <a:lnTo>
                      <a:pt x="739" y="710"/>
                    </a:lnTo>
                    <a:lnTo>
                      <a:pt x="737" y="715"/>
                    </a:lnTo>
                    <a:lnTo>
                      <a:pt x="736" y="716"/>
                    </a:lnTo>
                    <a:lnTo>
                      <a:pt x="736" y="716"/>
                    </a:lnTo>
                    <a:lnTo>
                      <a:pt x="730" y="719"/>
                    </a:lnTo>
                    <a:lnTo>
                      <a:pt x="728" y="719"/>
                    </a:lnTo>
                    <a:lnTo>
                      <a:pt x="724" y="718"/>
                    </a:lnTo>
                    <a:lnTo>
                      <a:pt x="718" y="718"/>
                    </a:lnTo>
                    <a:lnTo>
                      <a:pt x="714" y="716"/>
                    </a:lnTo>
                    <a:lnTo>
                      <a:pt x="711" y="716"/>
                    </a:lnTo>
                    <a:lnTo>
                      <a:pt x="708" y="718"/>
                    </a:lnTo>
                    <a:lnTo>
                      <a:pt x="707" y="718"/>
                    </a:lnTo>
                    <a:lnTo>
                      <a:pt x="702" y="716"/>
                    </a:lnTo>
                    <a:lnTo>
                      <a:pt x="701" y="713"/>
                    </a:lnTo>
                    <a:lnTo>
                      <a:pt x="692" y="709"/>
                    </a:lnTo>
                    <a:lnTo>
                      <a:pt x="691" y="707"/>
                    </a:lnTo>
                    <a:lnTo>
                      <a:pt x="686" y="706"/>
                    </a:lnTo>
                    <a:lnTo>
                      <a:pt x="679" y="705"/>
                    </a:lnTo>
                    <a:lnTo>
                      <a:pt x="678" y="706"/>
                    </a:lnTo>
                    <a:lnTo>
                      <a:pt x="675" y="706"/>
                    </a:lnTo>
                    <a:lnTo>
                      <a:pt x="672" y="706"/>
                    </a:lnTo>
                    <a:lnTo>
                      <a:pt x="672" y="706"/>
                    </a:lnTo>
                    <a:lnTo>
                      <a:pt x="672" y="705"/>
                    </a:lnTo>
                    <a:lnTo>
                      <a:pt x="667" y="703"/>
                    </a:lnTo>
                    <a:lnTo>
                      <a:pt x="663" y="703"/>
                    </a:lnTo>
                    <a:lnTo>
                      <a:pt x="663" y="703"/>
                    </a:lnTo>
                    <a:lnTo>
                      <a:pt x="662" y="703"/>
                    </a:lnTo>
                    <a:lnTo>
                      <a:pt x="659" y="697"/>
                    </a:lnTo>
                    <a:lnTo>
                      <a:pt x="659" y="697"/>
                    </a:lnTo>
                    <a:lnTo>
                      <a:pt x="656" y="689"/>
                    </a:lnTo>
                    <a:lnTo>
                      <a:pt x="653" y="689"/>
                    </a:lnTo>
                    <a:lnTo>
                      <a:pt x="653" y="699"/>
                    </a:lnTo>
                    <a:lnTo>
                      <a:pt x="260" y="697"/>
                    </a:lnTo>
                    <a:lnTo>
                      <a:pt x="260" y="696"/>
                    </a:lnTo>
                    <a:lnTo>
                      <a:pt x="258" y="696"/>
                    </a:lnTo>
                    <a:lnTo>
                      <a:pt x="257" y="696"/>
                    </a:lnTo>
                    <a:lnTo>
                      <a:pt x="257" y="696"/>
                    </a:lnTo>
                    <a:lnTo>
                      <a:pt x="257" y="694"/>
                    </a:lnTo>
                    <a:lnTo>
                      <a:pt x="260" y="693"/>
                    </a:lnTo>
                    <a:lnTo>
                      <a:pt x="262" y="693"/>
                    </a:lnTo>
                    <a:lnTo>
                      <a:pt x="262" y="691"/>
                    </a:lnTo>
                    <a:lnTo>
                      <a:pt x="261" y="691"/>
                    </a:lnTo>
                    <a:lnTo>
                      <a:pt x="261" y="691"/>
                    </a:lnTo>
                    <a:lnTo>
                      <a:pt x="261" y="691"/>
                    </a:lnTo>
                    <a:lnTo>
                      <a:pt x="258" y="691"/>
                    </a:lnTo>
                    <a:lnTo>
                      <a:pt x="254" y="691"/>
                    </a:lnTo>
                    <a:lnTo>
                      <a:pt x="254" y="691"/>
                    </a:lnTo>
                    <a:lnTo>
                      <a:pt x="254" y="690"/>
                    </a:lnTo>
                    <a:lnTo>
                      <a:pt x="254" y="689"/>
                    </a:lnTo>
                    <a:lnTo>
                      <a:pt x="254" y="689"/>
                    </a:lnTo>
                    <a:lnTo>
                      <a:pt x="254" y="689"/>
                    </a:lnTo>
                    <a:lnTo>
                      <a:pt x="254" y="681"/>
                    </a:lnTo>
                    <a:lnTo>
                      <a:pt x="254" y="681"/>
                    </a:lnTo>
                    <a:lnTo>
                      <a:pt x="252" y="683"/>
                    </a:lnTo>
                    <a:lnTo>
                      <a:pt x="251" y="684"/>
                    </a:lnTo>
                    <a:lnTo>
                      <a:pt x="249" y="687"/>
                    </a:lnTo>
                    <a:lnTo>
                      <a:pt x="248" y="687"/>
                    </a:lnTo>
                    <a:lnTo>
                      <a:pt x="246" y="686"/>
                    </a:lnTo>
                    <a:lnTo>
                      <a:pt x="246" y="684"/>
                    </a:lnTo>
                    <a:lnTo>
                      <a:pt x="248" y="681"/>
                    </a:lnTo>
                    <a:lnTo>
                      <a:pt x="246" y="681"/>
                    </a:lnTo>
                    <a:lnTo>
                      <a:pt x="246" y="680"/>
                    </a:lnTo>
                    <a:lnTo>
                      <a:pt x="245" y="680"/>
                    </a:lnTo>
                    <a:lnTo>
                      <a:pt x="245" y="678"/>
                    </a:lnTo>
                    <a:lnTo>
                      <a:pt x="245" y="678"/>
                    </a:lnTo>
                    <a:lnTo>
                      <a:pt x="244" y="677"/>
                    </a:lnTo>
                    <a:lnTo>
                      <a:pt x="244" y="674"/>
                    </a:lnTo>
                    <a:lnTo>
                      <a:pt x="242" y="676"/>
                    </a:lnTo>
                    <a:lnTo>
                      <a:pt x="244" y="677"/>
                    </a:lnTo>
                    <a:lnTo>
                      <a:pt x="244" y="678"/>
                    </a:lnTo>
                    <a:lnTo>
                      <a:pt x="242" y="677"/>
                    </a:lnTo>
                    <a:lnTo>
                      <a:pt x="241" y="678"/>
                    </a:lnTo>
                    <a:lnTo>
                      <a:pt x="239" y="680"/>
                    </a:lnTo>
                    <a:lnTo>
                      <a:pt x="236" y="680"/>
                    </a:lnTo>
                    <a:lnTo>
                      <a:pt x="233" y="677"/>
                    </a:lnTo>
                    <a:lnTo>
                      <a:pt x="230" y="674"/>
                    </a:lnTo>
                    <a:lnTo>
                      <a:pt x="233" y="671"/>
                    </a:lnTo>
                    <a:lnTo>
                      <a:pt x="233" y="671"/>
                    </a:lnTo>
                    <a:lnTo>
                      <a:pt x="233" y="670"/>
                    </a:lnTo>
                    <a:lnTo>
                      <a:pt x="233" y="668"/>
                    </a:lnTo>
                    <a:lnTo>
                      <a:pt x="233" y="665"/>
                    </a:lnTo>
                    <a:lnTo>
                      <a:pt x="232" y="665"/>
                    </a:lnTo>
                    <a:lnTo>
                      <a:pt x="230" y="667"/>
                    </a:lnTo>
                    <a:lnTo>
                      <a:pt x="229" y="667"/>
                    </a:lnTo>
                    <a:lnTo>
                      <a:pt x="229" y="665"/>
                    </a:lnTo>
                    <a:lnTo>
                      <a:pt x="228" y="664"/>
                    </a:lnTo>
                    <a:lnTo>
                      <a:pt x="228" y="664"/>
                    </a:lnTo>
                    <a:lnTo>
                      <a:pt x="225" y="665"/>
                    </a:lnTo>
                    <a:lnTo>
                      <a:pt x="222" y="664"/>
                    </a:lnTo>
                    <a:lnTo>
                      <a:pt x="220" y="664"/>
                    </a:lnTo>
                    <a:lnTo>
                      <a:pt x="219" y="662"/>
                    </a:lnTo>
                    <a:lnTo>
                      <a:pt x="217" y="664"/>
                    </a:lnTo>
                    <a:lnTo>
                      <a:pt x="217" y="665"/>
                    </a:lnTo>
                    <a:lnTo>
                      <a:pt x="216" y="664"/>
                    </a:lnTo>
                    <a:lnTo>
                      <a:pt x="209" y="664"/>
                    </a:lnTo>
                    <a:lnTo>
                      <a:pt x="207" y="662"/>
                    </a:lnTo>
                    <a:lnTo>
                      <a:pt x="214" y="661"/>
                    </a:lnTo>
                    <a:lnTo>
                      <a:pt x="214" y="660"/>
                    </a:lnTo>
                    <a:lnTo>
                      <a:pt x="212" y="660"/>
                    </a:lnTo>
                    <a:lnTo>
                      <a:pt x="212" y="657"/>
                    </a:lnTo>
                    <a:lnTo>
                      <a:pt x="210" y="657"/>
                    </a:lnTo>
                    <a:lnTo>
                      <a:pt x="209" y="655"/>
                    </a:lnTo>
                    <a:lnTo>
                      <a:pt x="209" y="655"/>
                    </a:lnTo>
                    <a:lnTo>
                      <a:pt x="210" y="655"/>
                    </a:lnTo>
                    <a:lnTo>
                      <a:pt x="212" y="655"/>
                    </a:lnTo>
                    <a:lnTo>
                      <a:pt x="210" y="654"/>
                    </a:lnTo>
                    <a:lnTo>
                      <a:pt x="206" y="652"/>
                    </a:lnTo>
                    <a:lnTo>
                      <a:pt x="204" y="655"/>
                    </a:lnTo>
                    <a:lnTo>
                      <a:pt x="203" y="654"/>
                    </a:lnTo>
                    <a:lnTo>
                      <a:pt x="199" y="654"/>
                    </a:lnTo>
                    <a:lnTo>
                      <a:pt x="199" y="654"/>
                    </a:lnTo>
                    <a:lnTo>
                      <a:pt x="199" y="655"/>
                    </a:lnTo>
                    <a:lnTo>
                      <a:pt x="197" y="655"/>
                    </a:lnTo>
                    <a:lnTo>
                      <a:pt x="193" y="652"/>
                    </a:lnTo>
                    <a:lnTo>
                      <a:pt x="190" y="649"/>
                    </a:lnTo>
                    <a:lnTo>
                      <a:pt x="190" y="648"/>
                    </a:lnTo>
                    <a:lnTo>
                      <a:pt x="190" y="646"/>
                    </a:lnTo>
                    <a:lnTo>
                      <a:pt x="191" y="646"/>
                    </a:lnTo>
                    <a:lnTo>
                      <a:pt x="193" y="646"/>
                    </a:lnTo>
                    <a:lnTo>
                      <a:pt x="194" y="646"/>
                    </a:lnTo>
                    <a:lnTo>
                      <a:pt x="193" y="645"/>
                    </a:lnTo>
                    <a:lnTo>
                      <a:pt x="193" y="644"/>
                    </a:lnTo>
                    <a:lnTo>
                      <a:pt x="190" y="645"/>
                    </a:lnTo>
                    <a:lnTo>
                      <a:pt x="190" y="644"/>
                    </a:lnTo>
                    <a:lnTo>
                      <a:pt x="193" y="642"/>
                    </a:lnTo>
                    <a:lnTo>
                      <a:pt x="196" y="642"/>
                    </a:lnTo>
                    <a:lnTo>
                      <a:pt x="196" y="642"/>
                    </a:lnTo>
                    <a:lnTo>
                      <a:pt x="193" y="641"/>
                    </a:lnTo>
                    <a:lnTo>
                      <a:pt x="193" y="639"/>
                    </a:lnTo>
                    <a:lnTo>
                      <a:pt x="194" y="638"/>
                    </a:lnTo>
                    <a:lnTo>
                      <a:pt x="193" y="635"/>
                    </a:lnTo>
                    <a:lnTo>
                      <a:pt x="190" y="639"/>
                    </a:lnTo>
                    <a:lnTo>
                      <a:pt x="188" y="639"/>
                    </a:lnTo>
                    <a:lnTo>
                      <a:pt x="188" y="639"/>
                    </a:lnTo>
                    <a:lnTo>
                      <a:pt x="187" y="633"/>
                    </a:lnTo>
                    <a:lnTo>
                      <a:pt x="188" y="630"/>
                    </a:lnTo>
                    <a:lnTo>
                      <a:pt x="187" y="630"/>
                    </a:lnTo>
                    <a:lnTo>
                      <a:pt x="187" y="629"/>
                    </a:lnTo>
                    <a:lnTo>
                      <a:pt x="188" y="625"/>
                    </a:lnTo>
                    <a:lnTo>
                      <a:pt x="187" y="623"/>
                    </a:lnTo>
                    <a:lnTo>
                      <a:pt x="187" y="623"/>
                    </a:lnTo>
                    <a:lnTo>
                      <a:pt x="187" y="622"/>
                    </a:lnTo>
                    <a:lnTo>
                      <a:pt x="187" y="620"/>
                    </a:lnTo>
                    <a:lnTo>
                      <a:pt x="184" y="622"/>
                    </a:lnTo>
                    <a:lnTo>
                      <a:pt x="181" y="622"/>
                    </a:lnTo>
                    <a:lnTo>
                      <a:pt x="181" y="620"/>
                    </a:lnTo>
                    <a:lnTo>
                      <a:pt x="183" y="620"/>
                    </a:lnTo>
                    <a:lnTo>
                      <a:pt x="183" y="619"/>
                    </a:lnTo>
                    <a:lnTo>
                      <a:pt x="181" y="617"/>
                    </a:lnTo>
                    <a:lnTo>
                      <a:pt x="180" y="617"/>
                    </a:lnTo>
                    <a:lnTo>
                      <a:pt x="177" y="617"/>
                    </a:lnTo>
                    <a:lnTo>
                      <a:pt x="175" y="617"/>
                    </a:lnTo>
                    <a:lnTo>
                      <a:pt x="174" y="617"/>
                    </a:lnTo>
                    <a:lnTo>
                      <a:pt x="174" y="613"/>
                    </a:lnTo>
                    <a:lnTo>
                      <a:pt x="172" y="613"/>
                    </a:lnTo>
                    <a:lnTo>
                      <a:pt x="171" y="610"/>
                    </a:lnTo>
                    <a:lnTo>
                      <a:pt x="169" y="609"/>
                    </a:lnTo>
                    <a:lnTo>
                      <a:pt x="169" y="607"/>
                    </a:lnTo>
                    <a:lnTo>
                      <a:pt x="171" y="603"/>
                    </a:lnTo>
                    <a:lnTo>
                      <a:pt x="171" y="597"/>
                    </a:lnTo>
                    <a:lnTo>
                      <a:pt x="171" y="596"/>
                    </a:lnTo>
                    <a:lnTo>
                      <a:pt x="169" y="596"/>
                    </a:lnTo>
                    <a:lnTo>
                      <a:pt x="168" y="596"/>
                    </a:lnTo>
                    <a:lnTo>
                      <a:pt x="168" y="597"/>
                    </a:lnTo>
                    <a:lnTo>
                      <a:pt x="167" y="597"/>
                    </a:lnTo>
                    <a:lnTo>
                      <a:pt x="167" y="596"/>
                    </a:lnTo>
                    <a:lnTo>
                      <a:pt x="167" y="596"/>
                    </a:lnTo>
                    <a:lnTo>
                      <a:pt x="156" y="584"/>
                    </a:lnTo>
                    <a:lnTo>
                      <a:pt x="155" y="583"/>
                    </a:lnTo>
                    <a:lnTo>
                      <a:pt x="156" y="581"/>
                    </a:lnTo>
                    <a:lnTo>
                      <a:pt x="156" y="580"/>
                    </a:lnTo>
                    <a:lnTo>
                      <a:pt x="158" y="580"/>
                    </a:lnTo>
                    <a:lnTo>
                      <a:pt x="158" y="578"/>
                    </a:lnTo>
                    <a:lnTo>
                      <a:pt x="155" y="578"/>
                    </a:lnTo>
                    <a:lnTo>
                      <a:pt x="154" y="577"/>
                    </a:lnTo>
                    <a:lnTo>
                      <a:pt x="151" y="574"/>
                    </a:lnTo>
                    <a:lnTo>
                      <a:pt x="151" y="574"/>
                    </a:lnTo>
                    <a:lnTo>
                      <a:pt x="151" y="569"/>
                    </a:lnTo>
                    <a:lnTo>
                      <a:pt x="152" y="567"/>
                    </a:lnTo>
                    <a:lnTo>
                      <a:pt x="154" y="565"/>
                    </a:lnTo>
                    <a:lnTo>
                      <a:pt x="155" y="567"/>
                    </a:lnTo>
                    <a:lnTo>
                      <a:pt x="155" y="567"/>
                    </a:lnTo>
                    <a:lnTo>
                      <a:pt x="155" y="565"/>
                    </a:lnTo>
                    <a:lnTo>
                      <a:pt x="155" y="564"/>
                    </a:lnTo>
                    <a:lnTo>
                      <a:pt x="155" y="561"/>
                    </a:lnTo>
                    <a:lnTo>
                      <a:pt x="156" y="559"/>
                    </a:lnTo>
                    <a:lnTo>
                      <a:pt x="156" y="559"/>
                    </a:lnTo>
                    <a:lnTo>
                      <a:pt x="156" y="558"/>
                    </a:lnTo>
                    <a:lnTo>
                      <a:pt x="155" y="558"/>
                    </a:lnTo>
                    <a:lnTo>
                      <a:pt x="155" y="555"/>
                    </a:lnTo>
                    <a:lnTo>
                      <a:pt x="156" y="555"/>
                    </a:lnTo>
                    <a:lnTo>
                      <a:pt x="156" y="553"/>
                    </a:lnTo>
                    <a:lnTo>
                      <a:pt x="156" y="552"/>
                    </a:lnTo>
                    <a:lnTo>
                      <a:pt x="155" y="548"/>
                    </a:lnTo>
                    <a:lnTo>
                      <a:pt x="156" y="536"/>
                    </a:lnTo>
                    <a:lnTo>
                      <a:pt x="156" y="535"/>
                    </a:lnTo>
                    <a:lnTo>
                      <a:pt x="156" y="535"/>
                    </a:lnTo>
                    <a:lnTo>
                      <a:pt x="155" y="532"/>
                    </a:lnTo>
                    <a:lnTo>
                      <a:pt x="151" y="530"/>
                    </a:lnTo>
                    <a:lnTo>
                      <a:pt x="142" y="524"/>
                    </a:lnTo>
                    <a:lnTo>
                      <a:pt x="133" y="521"/>
                    </a:lnTo>
                    <a:lnTo>
                      <a:pt x="130" y="520"/>
                    </a:lnTo>
                    <a:lnTo>
                      <a:pt x="127" y="516"/>
                    </a:lnTo>
                    <a:lnTo>
                      <a:pt x="126" y="508"/>
                    </a:lnTo>
                    <a:lnTo>
                      <a:pt x="123" y="505"/>
                    </a:lnTo>
                    <a:lnTo>
                      <a:pt x="123" y="504"/>
                    </a:lnTo>
                    <a:lnTo>
                      <a:pt x="123" y="504"/>
                    </a:lnTo>
                    <a:lnTo>
                      <a:pt x="123" y="503"/>
                    </a:lnTo>
                    <a:lnTo>
                      <a:pt x="119" y="495"/>
                    </a:lnTo>
                    <a:lnTo>
                      <a:pt x="117" y="491"/>
                    </a:lnTo>
                    <a:lnTo>
                      <a:pt x="116" y="491"/>
                    </a:lnTo>
                    <a:lnTo>
                      <a:pt x="100" y="460"/>
                    </a:lnTo>
                    <a:lnTo>
                      <a:pt x="94" y="458"/>
                    </a:lnTo>
                    <a:lnTo>
                      <a:pt x="94" y="456"/>
                    </a:lnTo>
                    <a:lnTo>
                      <a:pt x="94" y="456"/>
                    </a:lnTo>
                    <a:lnTo>
                      <a:pt x="93" y="452"/>
                    </a:lnTo>
                    <a:lnTo>
                      <a:pt x="90" y="449"/>
                    </a:lnTo>
                    <a:lnTo>
                      <a:pt x="85" y="440"/>
                    </a:lnTo>
                    <a:lnTo>
                      <a:pt x="84" y="440"/>
                    </a:lnTo>
                    <a:lnTo>
                      <a:pt x="82" y="439"/>
                    </a:lnTo>
                    <a:lnTo>
                      <a:pt x="81" y="434"/>
                    </a:lnTo>
                    <a:lnTo>
                      <a:pt x="79" y="433"/>
                    </a:lnTo>
                    <a:lnTo>
                      <a:pt x="78" y="433"/>
                    </a:lnTo>
                    <a:lnTo>
                      <a:pt x="72" y="437"/>
                    </a:lnTo>
                    <a:lnTo>
                      <a:pt x="66" y="439"/>
                    </a:lnTo>
                    <a:lnTo>
                      <a:pt x="65" y="440"/>
                    </a:lnTo>
                    <a:lnTo>
                      <a:pt x="65" y="443"/>
                    </a:lnTo>
                    <a:lnTo>
                      <a:pt x="65" y="444"/>
                    </a:lnTo>
                    <a:lnTo>
                      <a:pt x="63" y="444"/>
                    </a:lnTo>
                    <a:lnTo>
                      <a:pt x="62" y="446"/>
                    </a:lnTo>
                    <a:lnTo>
                      <a:pt x="62" y="447"/>
                    </a:lnTo>
                    <a:lnTo>
                      <a:pt x="61" y="450"/>
                    </a:lnTo>
                    <a:lnTo>
                      <a:pt x="58" y="452"/>
                    </a:lnTo>
                    <a:lnTo>
                      <a:pt x="53" y="455"/>
                    </a:lnTo>
                    <a:lnTo>
                      <a:pt x="49" y="456"/>
                    </a:lnTo>
                    <a:lnTo>
                      <a:pt x="49" y="456"/>
                    </a:lnTo>
                    <a:lnTo>
                      <a:pt x="49" y="455"/>
                    </a:lnTo>
                    <a:lnTo>
                      <a:pt x="46" y="447"/>
                    </a:lnTo>
                    <a:lnTo>
                      <a:pt x="42" y="443"/>
                    </a:lnTo>
                    <a:lnTo>
                      <a:pt x="46" y="440"/>
                    </a:lnTo>
                    <a:lnTo>
                      <a:pt x="45" y="439"/>
                    </a:lnTo>
                    <a:lnTo>
                      <a:pt x="40" y="436"/>
                    </a:lnTo>
                    <a:lnTo>
                      <a:pt x="45" y="439"/>
                    </a:lnTo>
                    <a:lnTo>
                      <a:pt x="43" y="440"/>
                    </a:lnTo>
                    <a:lnTo>
                      <a:pt x="40" y="440"/>
                    </a:lnTo>
                    <a:lnTo>
                      <a:pt x="39" y="442"/>
                    </a:lnTo>
                    <a:lnTo>
                      <a:pt x="26" y="424"/>
                    </a:lnTo>
                    <a:lnTo>
                      <a:pt x="26" y="424"/>
                    </a:lnTo>
                    <a:lnTo>
                      <a:pt x="26" y="417"/>
                    </a:lnTo>
                    <a:lnTo>
                      <a:pt x="17" y="417"/>
                    </a:lnTo>
                    <a:lnTo>
                      <a:pt x="14" y="421"/>
                    </a:lnTo>
                    <a:lnTo>
                      <a:pt x="13" y="421"/>
                    </a:lnTo>
                    <a:lnTo>
                      <a:pt x="8" y="418"/>
                    </a:lnTo>
                    <a:lnTo>
                      <a:pt x="5" y="421"/>
                    </a:lnTo>
                    <a:lnTo>
                      <a:pt x="0" y="418"/>
                    </a:lnTo>
                    <a:lnTo>
                      <a:pt x="0" y="97"/>
                    </a:lnTo>
                    <a:lnTo>
                      <a:pt x="1" y="97"/>
                    </a:lnTo>
                    <a:lnTo>
                      <a:pt x="5" y="99"/>
                    </a:lnTo>
                    <a:lnTo>
                      <a:pt x="18" y="100"/>
                    </a:lnTo>
                    <a:lnTo>
                      <a:pt x="18" y="102"/>
                    </a:lnTo>
                    <a:lnTo>
                      <a:pt x="24" y="102"/>
                    </a:lnTo>
                    <a:lnTo>
                      <a:pt x="34" y="116"/>
                    </a:lnTo>
                    <a:lnTo>
                      <a:pt x="36" y="116"/>
                    </a:lnTo>
                    <a:lnTo>
                      <a:pt x="37" y="118"/>
                    </a:lnTo>
                    <a:lnTo>
                      <a:pt x="37" y="115"/>
                    </a:lnTo>
                    <a:lnTo>
                      <a:pt x="39" y="118"/>
                    </a:lnTo>
                    <a:lnTo>
                      <a:pt x="45" y="123"/>
                    </a:lnTo>
                    <a:lnTo>
                      <a:pt x="46" y="125"/>
                    </a:lnTo>
                    <a:lnTo>
                      <a:pt x="49" y="128"/>
                    </a:lnTo>
                    <a:lnTo>
                      <a:pt x="52" y="128"/>
                    </a:lnTo>
                    <a:lnTo>
                      <a:pt x="55" y="128"/>
                    </a:lnTo>
                    <a:lnTo>
                      <a:pt x="59" y="131"/>
                    </a:lnTo>
                    <a:lnTo>
                      <a:pt x="61" y="131"/>
                    </a:lnTo>
                    <a:lnTo>
                      <a:pt x="62" y="129"/>
                    </a:lnTo>
                    <a:lnTo>
                      <a:pt x="63" y="131"/>
                    </a:lnTo>
                    <a:lnTo>
                      <a:pt x="63" y="129"/>
                    </a:lnTo>
                    <a:lnTo>
                      <a:pt x="63" y="128"/>
                    </a:lnTo>
                    <a:lnTo>
                      <a:pt x="69" y="129"/>
                    </a:lnTo>
                    <a:lnTo>
                      <a:pt x="69" y="131"/>
                    </a:lnTo>
                    <a:lnTo>
                      <a:pt x="72" y="132"/>
                    </a:lnTo>
                    <a:lnTo>
                      <a:pt x="79" y="139"/>
                    </a:lnTo>
                    <a:lnTo>
                      <a:pt x="82" y="139"/>
                    </a:lnTo>
                    <a:lnTo>
                      <a:pt x="84" y="139"/>
                    </a:lnTo>
                    <a:lnTo>
                      <a:pt x="82" y="138"/>
                    </a:lnTo>
                    <a:lnTo>
                      <a:pt x="79" y="133"/>
                    </a:lnTo>
                    <a:lnTo>
                      <a:pt x="79" y="131"/>
                    </a:lnTo>
                    <a:lnTo>
                      <a:pt x="78" y="129"/>
                    </a:lnTo>
                    <a:lnTo>
                      <a:pt x="79" y="129"/>
                    </a:lnTo>
                    <a:lnTo>
                      <a:pt x="84" y="131"/>
                    </a:lnTo>
                    <a:lnTo>
                      <a:pt x="85" y="131"/>
                    </a:lnTo>
                    <a:lnTo>
                      <a:pt x="88" y="131"/>
                    </a:lnTo>
                    <a:lnTo>
                      <a:pt x="90" y="132"/>
                    </a:lnTo>
                    <a:lnTo>
                      <a:pt x="91" y="136"/>
                    </a:lnTo>
                    <a:lnTo>
                      <a:pt x="93" y="138"/>
                    </a:lnTo>
                    <a:lnTo>
                      <a:pt x="95" y="141"/>
                    </a:lnTo>
                    <a:lnTo>
                      <a:pt x="97" y="144"/>
                    </a:lnTo>
                    <a:lnTo>
                      <a:pt x="98" y="141"/>
                    </a:lnTo>
                    <a:lnTo>
                      <a:pt x="97" y="136"/>
                    </a:lnTo>
                    <a:lnTo>
                      <a:pt x="91" y="125"/>
                    </a:lnTo>
                    <a:lnTo>
                      <a:pt x="91" y="123"/>
                    </a:lnTo>
                    <a:lnTo>
                      <a:pt x="94" y="120"/>
                    </a:lnTo>
                    <a:lnTo>
                      <a:pt x="95" y="118"/>
                    </a:lnTo>
                    <a:lnTo>
                      <a:pt x="100" y="115"/>
                    </a:lnTo>
                    <a:lnTo>
                      <a:pt x="101" y="113"/>
                    </a:lnTo>
                    <a:lnTo>
                      <a:pt x="103" y="113"/>
                    </a:lnTo>
                    <a:lnTo>
                      <a:pt x="104" y="112"/>
                    </a:lnTo>
                    <a:lnTo>
                      <a:pt x="110" y="110"/>
                    </a:lnTo>
                    <a:lnTo>
                      <a:pt x="111" y="109"/>
                    </a:lnTo>
                    <a:lnTo>
                      <a:pt x="114" y="106"/>
                    </a:lnTo>
                    <a:lnTo>
                      <a:pt x="114" y="102"/>
                    </a:lnTo>
                    <a:lnTo>
                      <a:pt x="116" y="99"/>
                    </a:lnTo>
                    <a:lnTo>
                      <a:pt x="117" y="100"/>
                    </a:lnTo>
                    <a:lnTo>
                      <a:pt x="117" y="100"/>
                    </a:lnTo>
                    <a:lnTo>
                      <a:pt x="119" y="99"/>
                    </a:lnTo>
                    <a:lnTo>
                      <a:pt x="120" y="96"/>
                    </a:lnTo>
                    <a:lnTo>
                      <a:pt x="122" y="96"/>
                    </a:lnTo>
                    <a:lnTo>
                      <a:pt x="122" y="97"/>
                    </a:lnTo>
                    <a:lnTo>
                      <a:pt x="126" y="97"/>
                    </a:lnTo>
                    <a:lnTo>
                      <a:pt x="127" y="96"/>
                    </a:lnTo>
                    <a:lnTo>
                      <a:pt x="127" y="94"/>
                    </a:lnTo>
                    <a:lnTo>
                      <a:pt x="130" y="94"/>
                    </a:lnTo>
                    <a:lnTo>
                      <a:pt x="136" y="90"/>
                    </a:lnTo>
                    <a:lnTo>
                      <a:pt x="136" y="87"/>
                    </a:lnTo>
                    <a:lnTo>
                      <a:pt x="140" y="88"/>
                    </a:lnTo>
                    <a:lnTo>
                      <a:pt x="142" y="86"/>
                    </a:lnTo>
                    <a:lnTo>
                      <a:pt x="143" y="84"/>
                    </a:lnTo>
                    <a:lnTo>
                      <a:pt x="143" y="81"/>
                    </a:lnTo>
                    <a:lnTo>
                      <a:pt x="148" y="80"/>
                    </a:lnTo>
                    <a:lnTo>
                      <a:pt x="149" y="78"/>
                    </a:lnTo>
                    <a:lnTo>
                      <a:pt x="152" y="81"/>
                    </a:lnTo>
                    <a:lnTo>
                      <a:pt x="154" y="81"/>
                    </a:lnTo>
                    <a:lnTo>
                      <a:pt x="155" y="83"/>
                    </a:lnTo>
                    <a:lnTo>
                      <a:pt x="158" y="81"/>
                    </a:lnTo>
                    <a:lnTo>
                      <a:pt x="159" y="78"/>
                    </a:lnTo>
                    <a:lnTo>
                      <a:pt x="159" y="77"/>
                    </a:lnTo>
                    <a:lnTo>
                      <a:pt x="161" y="75"/>
                    </a:lnTo>
                    <a:lnTo>
                      <a:pt x="162" y="77"/>
                    </a:lnTo>
                    <a:lnTo>
                      <a:pt x="164" y="78"/>
                    </a:lnTo>
                    <a:lnTo>
                      <a:pt x="164" y="83"/>
                    </a:lnTo>
                    <a:lnTo>
                      <a:pt x="164" y="83"/>
                    </a:lnTo>
                    <a:lnTo>
                      <a:pt x="161" y="86"/>
                    </a:lnTo>
                    <a:lnTo>
                      <a:pt x="151" y="93"/>
                    </a:lnTo>
                    <a:lnTo>
                      <a:pt x="149" y="97"/>
                    </a:lnTo>
                    <a:lnTo>
                      <a:pt x="146" y="99"/>
                    </a:lnTo>
                    <a:lnTo>
                      <a:pt x="142" y="103"/>
                    </a:lnTo>
                    <a:lnTo>
                      <a:pt x="139" y="102"/>
                    </a:lnTo>
                    <a:lnTo>
                      <a:pt x="129" y="104"/>
                    </a:lnTo>
                    <a:lnTo>
                      <a:pt x="127" y="107"/>
                    </a:lnTo>
                    <a:lnTo>
                      <a:pt x="126" y="110"/>
                    </a:lnTo>
                    <a:lnTo>
                      <a:pt x="127" y="109"/>
                    </a:lnTo>
                    <a:lnTo>
                      <a:pt x="123" y="113"/>
                    </a:lnTo>
                    <a:lnTo>
                      <a:pt x="123" y="115"/>
                    </a:lnTo>
                    <a:lnTo>
                      <a:pt x="122" y="115"/>
                    </a:lnTo>
                    <a:lnTo>
                      <a:pt x="119" y="119"/>
                    </a:lnTo>
                    <a:lnTo>
                      <a:pt x="119" y="118"/>
                    </a:lnTo>
                    <a:lnTo>
                      <a:pt x="117" y="116"/>
                    </a:lnTo>
                    <a:lnTo>
                      <a:pt x="114" y="122"/>
                    </a:lnTo>
                    <a:lnTo>
                      <a:pt x="114" y="123"/>
                    </a:lnTo>
                    <a:lnTo>
                      <a:pt x="116" y="123"/>
                    </a:lnTo>
                    <a:lnTo>
                      <a:pt x="119" y="120"/>
                    </a:lnTo>
                    <a:lnTo>
                      <a:pt x="126" y="119"/>
                    </a:lnTo>
                    <a:lnTo>
                      <a:pt x="130" y="113"/>
                    </a:lnTo>
                    <a:lnTo>
                      <a:pt x="132" y="112"/>
                    </a:lnTo>
                    <a:lnTo>
                      <a:pt x="130" y="110"/>
                    </a:lnTo>
                    <a:lnTo>
                      <a:pt x="133" y="109"/>
                    </a:lnTo>
                    <a:lnTo>
                      <a:pt x="135" y="109"/>
                    </a:lnTo>
                    <a:lnTo>
                      <a:pt x="135" y="112"/>
                    </a:lnTo>
                    <a:lnTo>
                      <a:pt x="136" y="109"/>
                    </a:lnTo>
                    <a:lnTo>
                      <a:pt x="136" y="112"/>
                    </a:lnTo>
                    <a:lnTo>
                      <a:pt x="139" y="107"/>
                    </a:lnTo>
                    <a:lnTo>
                      <a:pt x="140" y="106"/>
                    </a:lnTo>
                    <a:lnTo>
                      <a:pt x="142" y="109"/>
                    </a:lnTo>
                    <a:lnTo>
                      <a:pt x="142" y="118"/>
                    </a:lnTo>
                    <a:lnTo>
                      <a:pt x="151" y="100"/>
                    </a:lnTo>
                    <a:lnTo>
                      <a:pt x="151" y="97"/>
                    </a:lnTo>
                    <a:lnTo>
                      <a:pt x="158" y="96"/>
                    </a:lnTo>
                    <a:lnTo>
                      <a:pt x="161" y="93"/>
                    </a:lnTo>
                    <a:lnTo>
                      <a:pt x="168" y="91"/>
                    </a:lnTo>
                    <a:lnTo>
                      <a:pt x="172" y="87"/>
                    </a:lnTo>
                    <a:lnTo>
                      <a:pt x="171" y="91"/>
                    </a:lnTo>
                    <a:lnTo>
                      <a:pt x="171" y="91"/>
                    </a:lnTo>
                    <a:lnTo>
                      <a:pt x="168" y="97"/>
                    </a:lnTo>
                    <a:lnTo>
                      <a:pt x="174" y="93"/>
                    </a:lnTo>
                    <a:lnTo>
                      <a:pt x="180" y="87"/>
                    </a:lnTo>
                    <a:lnTo>
                      <a:pt x="181" y="84"/>
                    </a:lnTo>
                    <a:lnTo>
                      <a:pt x="180" y="81"/>
                    </a:lnTo>
                    <a:lnTo>
                      <a:pt x="181" y="80"/>
                    </a:lnTo>
                    <a:lnTo>
                      <a:pt x="188" y="77"/>
                    </a:lnTo>
                    <a:lnTo>
                      <a:pt x="190" y="75"/>
                    </a:lnTo>
                    <a:lnTo>
                      <a:pt x="185" y="74"/>
                    </a:lnTo>
                    <a:lnTo>
                      <a:pt x="184" y="72"/>
                    </a:lnTo>
                    <a:lnTo>
                      <a:pt x="184" y="71"/>
                    </a:lnTo>
                    <a:lnTo>
                      <a:pt x="184" y="70"/>
                    </a:lnTo>
                    <a:lnTo>
                      <a:pt x="184" y="68"/>
                    </a:lnTo>
                    <a:lnTo>
                      <a:pt x="181" y="68"/>
                    </a:lnTo>
                    <a:lnTo>
                      <a:pt x="181" y="67"/>
                    </a:lnTo>
                    <a:lnTo>
                      <a:pt x="183" y="64"/>
                    </a:lnTo>
                    <a:lnTo>
                      <a:pt x="184" y="62"/>
                    </a:lnTo>
                    <a:lnTo>
                      <a:pt x="187" y="64"/>
                    </a:lnTo>
                    <a:lnTo>
                      <a:pt x="197" y="77"/>
                    </a:lnTo>
                    <a:lnTo>
                      <a:pt x="197" y="84"/>
                    </a:lnTo>
                    <a:lnTo>
                      <a:pt x="204" y="100"/>
                    </a:lnTo>
                    <a:lnTo>
                      <a:pt x="207" y="102"/>
                    </a:lnTo>
                    <a:lnTo>
                      <a:pt x="209" y="106"/>
                    </a:lnTo>
                    <a:lnTo>
                      <a:pt x="209" y="106"/>
                    </a:lnTo>
                    <a:lnTo>
                      <a:pt x="213" y="110"/>
                    </a:lnTo>
                    <a:lnTo>
                      <a:pt x="216" y="112"/>
                    </a:lnTo>
                    <a:lnTo>
                      <a:pt x="222" y="112"/>
                    </a:lnTo>
                    <a:lnTo>
                      <a:pt x="222" y="110"/>
                    </a:lnTo>
                    <a:lnTo>
                      <a:pt x="222" y="110"/>
                    </a:lnTo>
                    <a:lnTo>
                      <a:pt x="225" y="110"/>
                    </a:lnTo>
                    <a:lnTo>
                      <a:pt x="225" y="109"/>
                    </a:lnTo>
                    <a:lnTo>
                      <a:pt x="223" y="107"/>
                    </a:lnTo>
                    <a:lnTo>
                      <a:pt x="219" y="109"/>
                    </a:lnTo>
                    <a:lnTo>
                      <a:pt x="219" y="106"/>
                    </a:lnTo>
                    <a:lnTo>
                      <a:pt x="223" y="106"/>
                    </a:lnTo>
                    <a:lnTo>
                      <a:pt x="225" y="104"/>
                    </a:lnTo>
                    <a:lnTo>
                      <a:pt x="223" y="104"/>
                    </a:lnTo>
                    <a:lnTo>
                      <a:pt x="220" y="100"/>
                    </a:lnTo>
                    <a:lnTo>
                      <a:pt x="223" y="99"/>
                    </a:lnTo>
                    <a:lnTo>
                      <a:pt x="226" y="97"/>
                    </a:lnTo>
                    <a:lnTo>
                      <a:pt x="226" y="96"/>
                    </a:lnTo>
                    <a:lnTo>
                      <a:pt x="223" y="94"/>
                    </a:lnTo>
                    <a:lnTo>
                      <a:pt x="223" y="91"/>
                    </a:lnTo>
                    <a:lnTo>
                      <a:pt x="225" y="94"/>
                    </a:lnTo>
                    <a:lnTo>
                      <a:pt x="229" y="88"/>
                    </a:lnTo>
                    <a:lnTo>
                      <a:pt x="230" y="86"/>
                    </a:lnTo>
                    <a:lnTo>
                      <a:pt x="229" y="86"/>
                    </a:lnTo>
                    <a:lnTo>
                      <a:pt x="228" y="86"/>
                    </a:lnTo>
                    <a:lnTo>
                      <a:pt x="226" y="88"/>
                    </a:lnTo>
                    <a:lnTo>
                      <a:pt x="226" y="87"/>
                    </a:lnTo>
                    <a:lnTo>
                      <a:pt x="225" y="86"/>
                    </a:lnTo>
                    <a:lnTo>
                      <a:pt x="226" y="83"/>
                    </a:lnTo>
                    <a:lnTo>
                      <a:pt x="228" y="84"/>
                    </a:lnTo>
                    <a:lnTo>
                      <a:pt x="230" y="83"/>
                    </a:lnTo>
                    <a:lnTo>
                      <a:pt x="232" y="84"/>
                    </a:lnTo>
                    <a:lnTo>
                      <a:pt x="232" y="87"/>
                    </a:lnTo>
                    <a:lnTo>
                      <a:pt x="233" y="84"/>
                    </a:lnTo>
                    <a:lnTo>
                      <a:pt x="235" y="84"/>
                    </a:lnTo>
                    <a:lnTo>
                      <a:pt x="235" y="83"/>
                    </a:lnTo>
                    <a:lnTo>
                      <a:pt x="233" y="81"/>
                    </a:lnTo>
                    <a:lnTo>
                      <a:pt x="232" y="80"/>
                    </a:lnTo>
                    <a:lnTo>
                      <a:pt x="236" y="80"/>
                    </a:lnTo>
                    <a:lnTo>
                      <a:pt x="236" y="81"/>
                    </a:lnTo>
                    <a:lnTo>
                      <a:pt x="236" y="83"/>
                    </a:lnTo>
                    <a:lnTo>
                      <a:pt x="236" y="93"/>
                    </a:lnTo>
                    <a:lnTo>
                      <a:pt x="235" y="94"/>
                    </a:lnTo>
                    <a:lnTo>
                      <a:pt x="235" y="97"/>
                    </a:lnTo>
                    <a:lnTo>
                      <a:pt x="236" y="97"/>
                    </a:lnTo>
                    <a:lnTo>
                      <a:pt x="239" y="96"/>
                    </a:lnTo>
                    <a:lnTo>
                      <a:pt x="242" y="97"/>
                    </a:lnTo>
                    <a:lnTo>
                      <a:pt x="235" y="110"/>
                    </a:lnTo>
                    <a:lnTo>
                      <a:pt x="235" y="107"/>
                    </a:lnTo>
                    <a:lnTo>
                      <a:pt x="235" y="110"/>
                    </a:lnTo>
                    <a:lnTo>
                      <a:pt x="235" y="112"/>
                    </a:lnTo>
                    <a:lnTo>
                      <a:pt x="241" y="112"/>
                    </a:lnTo>
                    <a:lnTo>
                      <a:pt x="242" y="110"/>
                    </a:lnTo>
                    <a:lnTo>
                      <a:pt x="244" y="112"/>
                    </a:lnTo>
                    <a:lnTo>
                      <a:pt x="248" y="112"/>
                    </a:lnTo>
                    <a:lnTo>
                      <a:pt x="249" y="110"/>
                    </a:lnTo>
                    <a:lnTo>
                      <a:pt x="251" y="107"/>
                    </a:lnTo>
                    <a:lnTo>
                      <a:pt x="252" y="104"/>
                    </a:lnTo>
                    <a:lnTo>
                      <a:pt x="255" y="93"/>
                    </a:lnTo>
                    <a:lnTo>
                      <a:pt x="257" y="93"/>
                    </a:lnTo>
                    <a:lnTo>
                      <a:pt x="261" y="91"/>
                    </a:lnTo>
                    <a:lnTo>
                      <a:pt x="264" y="93"/>
                    </a:lnTo>
                    <a:lnTo>
                      <a:pt x="268" y="93"/>
                    </a:lnTo>
                    <a:lnTo>
                      <a:pt x="268" y="94"/>
                    </a:lnTo>
                    <a:lnTo>
                      <a:pt x="274" y="93"/>
                    </a:lnTo>
                    <a:lnTo>
                      <a:pt x="280" y="94"/>
                    </a:lnTo>
                    <a:lnTo>
                      <a:pt x="287" y="102"/>
                    </a:lnTo>
                    <a:lnTo>
                      <a:pt x="293" y="109"/>
                    </a:lnTo>
                    <a:lnTo>
                      <a:pt x="297" y="112"/>
                    </a:lnTo>
                    <a:lnTo>
                      <a:pt x="303" y="112"/>
                    </a:lnTo>
                    <a:lnTo>
                      <a:pt x="305" y="113"/>
                    </a:lnTo>
                    <a:lnTo>
                      <a:pt x="307" y="113"/>
                    </a:lnTo>
                    <a:lnTo>
                      <a:pt x="313" y="116"/>
                    </a:lnTo>
                    <a:lnTo>
                      <a:pt x="315" y="116"/>
                    </a:lnTo>
                    <a:lnTo>
                      <a:pt x="318" y="116"/>
                    </a:lnTo>
                    <a:lnTo>
                      <a:pt x="319" y="119"/>
                    </a:lnTo>
                    <a:lnTo>
                      <a:pt x="332" y="128"/>
                    </a:lnTo>
                    <a:lnTo>
                      <a:pt x="338" y="128"/>
                    </a:lnTo>
                    <a:lnTo>
                      <a:pt x="339" y="129"/>
                    </a:lnTo>
                    <a:lnTo>
                      <a:pt x="342" y="129"/>
                    </a:lnTo>
                    <a:lnTo>
                      <a:pt x="342" y="129"/>
                    </a:lnTo>
                    <a:lnTo>
                      <a:pt x="350" y="131"/>
                    </a:lnTo>
                    <a:lnTo>
                      <a:pt x="352" y="129"/>
                    </a:lnTo>
                    <a:lnTo>
                      <a:pt x="355" y="133"/>
                    </a:lnTo>
                    <a:lnTo>
                      <a:pt x="357" y="131"/>
                    </a:lnTo>
                    <a:lnTo>
                      <a:pt x="352" y="126"/>
                    </a:lnTo>
                    <a:lnTo>
                      <a:pt x="355" y="126"/>
                    </a:lnTo>
                    <a:lnTo>
                      <a:pt x="357" y="126"/>
                    </a:lnTo>
                    <a:lnTo>
                      <a:pt x="360" y="128"/>
                    </a:lnTo>
                    <a:lnTo>
                      <a:pt x="360" y="126"/>
                    </a:lnTo>
                    <a:lnTo>
                      <a:pt x="367" y="128"/>
                    </a:lnTo>
                    <a:lnTo>
                      <a:pt x="365" y="129"/>
                    </a:lnTo>
                    <a:lnTo>
                      <a:pt x="368" y="131"/>
                    </a:lnTo>
                    <a:lnTo>
                      <a:pt x="370" y="133"/>
                    </a:lnTo>
                    <a:lnTo>
                      <a:pt x="371" y="132"/>
                    </a:lnTo>
                    <a:lnTo>
                      <a:pt x="371" y="133"/>
                    </a:lnTo>
                    <a:lnTo>
                      <a:pt x="377" y="136"/>
                    </a:lnTo>
                    <a:lnTo>
                      <a:pt x="381" y="144"/>
                    </a:lnTo>
                    <a:lnTo>
                      <a:pt x="381" y="149"/>
                    </a:lnTo>
                    <a:lnTo>
                      <a:pt x="383" y="147"/>
                    </a:lnTo>
                    <a:lnTo>
                      <a:pt x="383" y="149"/>
                    </a:lnTo>
                    <a:lnTo>
                      <a:pt x="383" y="151"/>
                    </a:lnTo>
                    <a:lnTo>
                      <a:pt x="384" y="154"/>
                    </a:lnTo>
                    <a:lnTo>
                      <a:pt x="381" y="152"/>
                    </a:lnTo>
                    <a:lnTo>
                      <a:pt x="380" y="155"/>
                    </a:lnTo>
                    <a:lnTo>
                      <a:pt x="379" y="155"/>
                    </a:lnTo>
                    <a:lnTo>
                      <a:pt x="379" y="152"/>
                    </a:lnTo>
                    <a:lnTo>
                      <a:pt x="374" y="154"/>
                    </a:lnTo>
                    <a:lnTo>
                      <a:pt x="370" y="154"/>
                    </a:lnTo>
                    <a:lnTo>
                      <a:pt x="373" y="155"/>
                    </a:lnTo>
                    <a:lnTo>
                      <a:pt x="371" y="157"/>
                    </a:lnTo>
                    <a:lnTo>
                      <a:pt x="365" y="157"/>
                    </a:lnTo>
                    <a:lnTo>
                      <a:pt x="367" y="158"/>
                    </a:lnTo>
                    <a:lnTo>
                      <a:pt x="365" y="160"/>
                    </a:lnTo>
                    <a:lnTo>
                      <a:pt x="365" y="163"/>
                    </a:lnTo>
                    <a:lnTo>
                      <a:pt x="361" y="165"/>
                    </a:lnTo>
                    <a:lnTo>
                      <a:pt x="363" y="167"/>
                    </a:lnTo>
                    <a:lnTo>
                      <a:pt x="364" y="167"/>
                    </a:lnTo>
                    <a:lnTo>
                      <a:pt x="367" y="167"/>
                    </a:lnTo>
                    <a:lnTo>
                      <a:pt x="364" y="168"/>
                    </a:lnTo>
                    <a:lnTo>
                      <a:pt x="374" y="173"/>
                    </a:lnTo>
                    <a:lnTo>
                      <a:pt x="376" y="171"/>
                    </a:lnTo>
                    <a:lnTo>
                      <a:pt x="377" y="171"/>
                    </a:lnTo>
                    <a:lnTo>
                      <a:pt x="379" y="173"/>
                    </a:lnTo>
                    <a:lnTo>
                      <a:pt x="381" y="173"/>
                    </a:lnTo>
                    <a:lnTo>
                      <a:pt x="384" y="174"/>
                    </a:lnTo>
                    <a:lnTo>
                      <a:pt x="390" y="174"/>
                    </a:lnTo>
                    <a:lnTo>
                      <a:pt x="393" y="174"/>
                    </a:lnTo>
                    <a:lnTo>
                      <a:pt x="397" y="174"/>
                    </a:lnTo>
                    <a:lnTo>
                      <a:pt x="397" y="174"/>
                    </a:lnTo>
                    <a:lnTo>
                      <a:pt x="400" y="176"/>
                    </a:lnTo>
                    <a:lnTo>
                      <a:pt x="408" y="174"/>
                    </a:lnTo>
                    <a:lnTo>
                      <a:pt x="408" y="173"/>
                    </a:lnTo>
                    <a:lnTo>
                      <a:pt x="413" y="173"/>
                    </a:lnTo>
                    <a:lnTo>
                      <a:pt x="412" y="174"/>
                    </a:lnTo>
                    <a:lnTo>
                      <a:pt x="415" y="174"/>
                    </a:lnTo>
                    <a:lnTo>
                      <a:pt x="413" y="174"/>
                    </a:lnTo>
                    <a:lnTo>
                      <a:pt x="415" y="171"/>
                    </a:lnTo>
                    <a:lnTo>
                      <a:pt x="416" y="174"/>
                    </a:lnTo>
                    <a:lnTo>
                      <a:pt x="419" y="174"/>
                    </a:lnTo>
                    <a:lnTo>
                      <a:pt x="419" y="173"/>
                    </a:lnTo>
                    <a:lnTo>
                      <a:pt x="421" y="173"/>
                    </a:lnTo>
                    <a:lnTo>
                      <a:pt x="422" y="168"/>
                    </a:lnTo>
                    <a:lnTo>
                      <a:pt x="425" y="168"/>
                    </a:lnTo>
                    <a:lnTo>
                      <a:pt x="425" y="173"/>
                    </a:lnTo>
                    <a:lnTo>
                      <a:pt x="428" y="173"/>
                    </a:lnTo>
                    <a:lnTo>
                      <a:pt x="429" y="171"/>
                    </a:lnTo>
                    <a:lnTo>
                      <a:pt x="432" y="167"/>
                    </a:lnTo>
                    <a:lnTo>
                      <a:pt x="435" y="164"/>
                    </a:lnTo>
                    <a:lnTo>
                      <a:pt x="438" y="164"/>
                    </a:lnTo>
                    <a:lnTo>
                      <a:pt x="440" y="163"/>
                    </a:lnTo>
                    <a:lnTo>
                      <a:pt x="442" y="165"/>
                    </a:lnTo>
                    <a:lnTo>
                      <a:pt x="441" y="167"/>
                    </a:lnTo>
                    <a:lnTo>
                      <a:pt x="442" y="168"/>
                    </a:lnTo>
                    <a:lnTo>
                      <a:pt x="444" y="167"/>
                    </a:lnTo>
                    <a:lnTo>
                      <a:pt x="445" y="171"/>
                    </a:lnTo>
                    <a:lnTo>
                      <a:pt x="445" y="173"/>
                    </a:lnTo>
                    <a:lnTo>
                      <a:pt x="444" y="173"/>
                    </a:lnTo>
                    <a:lnTo>
                      <a:pt x="450" y="174"/>
                    </a:lnTo>
                    <a:lnTo>
                      <a:pt x="448" y="173"/>
                    </a:lnTo>
                    <a:lnTo>
                      <a:pt x="456" y="173"/>
                    </a:lnTo>
                    <a:lnTo>
                      <a:pt x="456" y="176"/>
                    </a:lnTo>
                    <a:lnTo>
                      <a:pt x="456" y="177"/>
                    </a:lnTo>
                    <a:lnTo>
                      <a:pt x="456" y="179"/>
                    </a:lnTo>
                    <a:lnTo>
                      <a:pt x="457" y="180"/>
                    </a:lnTo>
                    <a:lnTo>
                      <a:pt x="456" y="183"/>
                    </a:lnTo>
                    <a:lnTo>
                      <a:pt x="457" y="186"/>
                    </a:lnTo>
                    <a:lnTo>
                      <a:pt x="457" y="184"/>
                    </a:lnTo>
                    <a:lnTo>
                      <a:pt x="458" y="184"/>
                    </a:lnTo>
                    <a:lnTo>
                      <a:pt x="458" y="181"/>
                    </a:lnTo>
                    <a:lnTo>
                      <a:pt x="460" y="177"/>
                    </a:lnTo>
                    <a:lnTo>
                      <a:pt x="460" y="177"/>
                    </a:lnTo>
                    <a:lnTo>
                      <a:pt x="460" y="180"/>
                    </a:lnTo>
                    <a:lnTo>
                      <a:pt x="461" y="180"/>
                    </a:lnTo>
                    <a:lnTo>
                      <a:pt x="461" y="183"/>
                    </a:lnTo>
                    <a:lnTo>
                      <a:pt x="461" y="186"/>
                    </a:lnTo>
                    <a:lnTo>
                      <a:pt x="463" y="186"/>
                    </a:lnTo>
                    <a:lnTo>
                      <a:pt x="464" y="184"/>
                    </a:lnTo>
                    <a:lnTo>
                      <a:pt x="466" y="189"/>
                    </a:lnTo>
                    <a:lnTo>
                      <a:pt x="469" y="189"/>
                    </a:lnTo>
                    <a:lnTo>
                      <a:pt x="471" y="196"/>
                    </a:lnTo>
                    <a:lnTo>
                      <a:pt x="470" y="199"/>
                    </a:lnTo>
                    <a:lnTo>
                      <a:pt x="467" y="197"/>
                    </a:lnTo>
                    <a:lnTo>
                      <a:pt x="464" y="199"/>
                    </a:lnTo>
                    <a:lnTo>
                      <a:pt x="464" y="199"/>
                    </a:lnTo>
                    <a:lnTo>
                      <a:pt x="464" y="200"/>
                    </a:lnTo>
                    <a:lnTo>
                      <a:pt x="470" y="209"/>
                    </a:lnTo>
                    <a:lnTo>
                      <a:pt x="471" y="209"/>
                    </a:lnTo>
                    <a:lnTo>
                      <a:pt x="473" y="205"/>
                    </a:lnTo>
                    <a:lnTo>
                      <a:pt x="474" y="205"/>
                    </a:lnTo>
                    <a:lnTo>
                      <a:pt x="476" y="206"/>
                    </a:lnTo>
                    <a:lnTo>
                      <a:pt x="479" y="203"/>
                    </a:lnTo>
                    <a:lnTo>
                      <a:pt x="480" y="203"/>
                    </a:lnTo>
                    <a:lnTo>
                      <a:pt x="477" y="199"/>
                    </a:lnTo>
                    <a:lnTo>
                      <a:pt x="480" y="196"/>
                    </a:lnTo>
                    <a:lnTo>
                      <a:pt x="480" y="196"/>
                    </a:lnTo>
                    <a:lnTo>
                      <a:pt x="477" y="196"/>
                    </a:lnTo>
                    <a:lnTo>
                      <a:pt x="473" y="186"/>
                    </a:lnTo>
                    <a:lnTo>
                      <a:pt x="474" y="184"/>
                    </a:lnTo>
                    <a:lnTo>
                      <a:pt x="474" y="180"/>
                    </a:lnTo>
                    <a:lnTo>
                      <a:pt x="473" y="179"/>
                    </a:lnTo>
                    <a:lnTo>
                      <a:pt x="473" y="177"/>
                    </a:lnTo>
                    <a:lnTo>
                      <a:pt x="470" y="176"/>
                    </a:lnTo>
                    <a:lnTo>
                      <a:pt x="469" y="173"/>
                    </a:lnTo>
                    <a:lnTo>
                      <a:pt x="470" y="168"/>
                    </a:lnTo>
                    <a:lnTo>
                      <a:pt x="471" y="168"/>
                    </a:lnTo>
                    <a:lnTo>
                      <a:pt x="473" y="167"/>
                    </a:lnTo>
                    <a:lnTo>
                      <a:pt x="474" y="165"/>
                    </a:lnTo>
                    <a:lnTo>
                      <a:pt x="471" y="165"/>
                    </a:lnTo>
                    <a:lnTo>
                      <a:pt x="474" y="161"/>
                    </a:lnTo>
                    <a:lnTo>
                      <a:pt x="477" y="161"/>
                    </a:lnTo>
                    <a:lnTo>
                      <a:pt x="480" y="160"/>
                    </a:lnTo>
                    <a:lnTo>
                      <a:pt x="480" y="158"/>
                    </a:lnTo>
                    <a:lnTo>
                      <a:pt x="480" y="160"/>
                    </a:lnTo>
                    <a:lnTo>
                      <a:pt x="487" y="158"/>
                    </a:lnTo>
                    <a:lnTo>
                      <a:pt x="486" y="155"/>
                    </a:lnTo>
                    <a:lnTo>
                      <a:pt x="489" y="155"/>
                    </a:lnTo>
                    <a:lnTo>
                      <a:pt x="492" y="155"/>
                    </a:lnTo>
                    <a:lnTo>
                      <a:pt x="492" y="151"/>
                    </a:lnTo>
                    <a:lnTo>
                      <a:pt x="492" y="149"/>
                    </a:lnTo>
                    <a:lnTo>
                      <a:pt x="493" y="154"/>
                    </a:lnTo>
                    <a:lnTo>
                      <a:pt x="495" y="149"/>
                    </a:lnTo>
                    <a:lnTo>
                      <a:pt x="496" y="147"/>
                    </a:lnTo>
                    <a:lnTo>
                      <a:pt x="496" y="145"/>
                    </a:lnTo>
                    <a:lnTo>
                      <a:pt x="499" y="144"/>
                    </a:lnTo>
                    <a:lnTo>
                      <a:pt x="498" y="142"/>
                    </a:lnTo>
                    <a:lnTo>
                      <a:pt x="499" y="141"/>
                    </a:lnTo>
                    <a:lnTo>
                      <a:pt x="499" y="138"/>
                    </a:lnTo>
                    <a:lnTo>
                      <a:pt x="498" y="139"/>
                    </a:lnTo>
                    <a:lnTo>
                      <a:pt x="498" y="138"/>
                    </a:lnTo>
                    <a:lnTo>
                      <a:pt x="489" y="141"/>
                    </a:lnTo>
                    <a:lnTo>
                      <a:pt x="490" y="144"/>
                    </a:lnTo>
                    <a:lnTo>
                      <a:pt x="486" y="145"/>
                    </a:lnTo>
                    <a:lnTo>
                      <a:pt x="489" y="149"/>
                    </a:lnTo>
                    <a:lnTo>
                      <a:pt x="489" y="147"/>
                    </a:lnTo>
                    <a:lnTo>
                      <a:pt x="489" y="151"/>
                    </a:lnTo>
                    <a:lnTo>
                      <a:pt x="487" y="152"/>
                    </a:lnTo>
                    <a:lnTo>
                      <a:pt x="487" y="151"/>
                    </a:lnTo>
                    <a:lnTo>
                      <a:pt x="487" y="149"/>
                    </a:lnTo>
                    <a:lnTo>
                      <a:pt x="486" y="151"/>
                    </a:lnTo>
                    <a:lnTo>
                      <a:pt x="486" y="149"/>
                    </a:lnTo>
                    <a:lnTo>
                      <a:pt x="483" y="149"/>
                    </a:lnTo>
                    <a:lnTo>
                      <a:pt x="482" y="149"/>
                    </a:lnTo>
                    <a:lnTo>
                      <a:pt x="480" y="152"/>
                    </a:lnTo>
                    <a:lnTo>
                      <a:pt x="480" y="151"/>
                    </a:lnTo>
                    <a:lnTo>
                      <a:pt x="476" y="151"/>
                    </a:lnTo>
                    <a:lnTo>
                      <a:pt x="476" y="149"/>
                    </a:lnTo>
                    <a:lnTo>
                      <a:pt x="471" y="151"/>
                    </a:lnTo>
                    <a:lnTo>
                      <a:pt x="470" y="152"/>
                    </a:lnTo>
                    <a:lnTo>
                      <a:pt x="471" y="154"/>
                    </a:lnTo>
                    <a:lnTo>
                      <a:pt x="473" y="154"/>
                    </a:lnTo>
                    <a:lnTo>
                      <a:pt x="473" y="155"/>
                    </a:lnTo>
                    <a:lnTo>
                      <a:pt x="474" y="157"/>
                    </a:lnTo>
                    <a:lnTo>
                      <a:pt x="471" y="157"/>
                    </a:lnTo>
                    <a:lnTo>
                      <a:pt x="470" y="158"/>
                    </a:lnTo>
                    <a:lnTo>
                      <a:pt x="469" y="158"/>
                    </a:lnTo>
                    <a:lnTo>
                      <a:pt x="470" y="157"/>
                    </a:lnTo>
                    <a:lnTo>
                      <a:pt x="464" y="158"/>
                    </a:lnTo>
                    <a:lnTo>
                      <a:pt x="464" y="155"/>
                    </a:lnTo>
                    <a:lnTo>
                      <a:pt x="463" y="157"/>
                    </a:lnTo>
                    <a:lnTo>
                      <a:pt x="463" y="155"/>
                    </a:lnTo>
                    <a:lnTo>
                      <a:pt x="461" y="155"/>
                    </a:lnTo>
                    <a:lnTo>
                      <a:pt x="461" y="152"/>
                    </a:lnTo>
                    <a:lnTo>
                      <a:pt x="458" y="154"/>
                    </a:lnTo>
                    <a:lnTo>
                      <a:pt x="457" y="152"/>
                    </a:lnTo>
                    <a:lnTo>
                      <a:pt x="458" y="149"/>
                    </a:lnTo>
                    <a:lnTo>
                      <a:pt x="460" y="147"/>
                    </a:lnTo>
                    <a:lnTo>
                      <a:pt x="460" y="145"/>
                    </a:lnTo>
                    <a:lnTo>
                      <a:pt x="463" y="141"/>
                    </a:lnTo>
                    <a:lnTo>
                      <a:pt x="464" y="139"/>
                    </a:lnTo>
                    <a:lnTo>
                      <a:pt x="473" y="138"/>
                    </a:lnTo>
                    <a:lnTo>
                      <a:pt x="483" y="133"/>
                    </a:lnTo>
                    <a:lnTo>
                      <a:pt x="485" y="131"/>
                    </a:lnTo>
                    <a:lnTo>
                      <a:pt x="489" y="131"/>
                    </a:lnTo>
                    <a:lnTo>
                      <a:pt x="489" y="128"/>
                    </a:lnTo>
                    <a:lnTo>
                      <a:pt x="492" y="129"/>
                    </a:lnTo>
                    <a:lnTo>
                      <a:pt x="495" y="126"/>
                    </a:lnTo>
                    <a:lnTo>
                      <a:pt x="498" y="128"/>
                    </a:lnTo>
                    <a:lnTo>
                      <a:pt x="498" y="129"/>
                    </a:lnTo>
                    <a:lnTo>
                      <a:pt x="501" y="129"/>
                    </a:lnTo>
                    <a:lnTo>
                      <a:pt x="501" y="133"/>
                    </a:lnTo>
                    <a:lnTo>
                      <a:pt x="505" y="135"/>
                    </a:lnTo>
                    <a:lnTo>
                      <a:pt x="502" y="136"/>
                    </a:lnTo>
                    <a:lnTo>
                      <a:pt x="505" y="139"/>
                    </a:lnTo>
                    <a:lnTo>
                      <a:pt x="505" y="142"/>
                    </a:lnTo>
                    <a:lnTo>
                      <a:pt x="506" y="142"/>
                    </a:lnTo>
                    <a:lnTo>
                      <a:pt x="506" y="145"/>
                    </a:lnTo>
                    <a:lnTo>
                      <a:pt x="505" y="145"/>
                    </a:lnTo>
                    <a:lnTo>
                      <a:pt x="503" y="145"/>
                    </a:lnTo>
                    <a:lnTo>
                      <a:pt x="503" y="147"/>
                    </a:lnTo>
                    <a:lnTo>
                      <a:pt x="505" y="147"/>
                    </a:lnTo>
                    <a:lnTo>
                      <a:pt x="506" y="149"/>
                    </a:lnTo>
                    <a:lnTo>
                      <a:pt x="509" y="149"/>
                    </a:lnTo>
                    <a:lnTo>
                      <a:pt x="509" y="151"/>
                    </a:lnTo>
                    <a:lnTo>
                      <a:pt x="512" y="154"/>
                    </a:lnTo>
                    <a:lnTo>
                      <a:pt x="516" y="155"/>
                    </a:lnTo>
                    <a:lnTo>
                      <a:pt x="516" y="155"/>
                    </a:lnTo>
                    <a:lnTo>
                      <a:pt x="516" y="160"/>
                    </a:lnTo>
                    <a:lnTo>
                      <a:pt x="518" y="163"/>
                    </a:lnTo>
                    <a:lnTo>
                      <a:pt x="521" y="161"/>
                    </a:lnTo>
                    <a:lnTo>
                      <a:pt x="524" y="163"/>
                    </a:lnTo>
                    <a:lnTo>
                      <a:pt x="527" y="161"/>
                    </a:lnTo>
                    <a:lnTo>
                      <a:pt x="530" y="163"/>
                    </a:lnTo>
                    <a:lnTo>
                      <a:pt x="530" y="161"/>
                    </a:lnTo>
                    <a:lnTo>
                      <a:pt x="531" y="161"/>
                    </a:lnTo>
                    <a:lnTo>
                      <a:pt x="532" y="160"/>
                    </a:lnTo>
                    <a:lnTo>
                      <a:pt x="532" y="157"/>
                    </a:lnTo>
                    <a:lnTo>
                      <a:pt x="537" y="158"/>
                    </a:lnTo>
                    <a:lnTo>
                      <a:pt x="537" y="163"/>
                    </a:lnTo>
                    <a:lnTo>
                      <a:pt x="543" y="168"/>
                    </a:lnTo>
                    <a:lnTo>
                      <a:pt x="544" y="173"/>
                    </a:lnTo>
                    <a:lnTo>
                      <a:pt x="547" y="173"/>
                    </a:lnTo>
                    <a:lnTo>
                      <a:pt x="550" y="176"/>
                    </a:lnTo>
                    <a:lnTo>
                      <a:pt x="553" y="176"/>
                    </a:lnTo>
                    <a:lnTo>
                      <a:pt x="553" y="173"/>
                    </a:lnTo>
                    <a:lnTo>
                      <a:pt x="554" y="174"/>
                    </a:lnTo>
                    <a:lnTo>
                      <a:pt x="556" y="173"/>
                    </a:lnTo>
                    <a:lnTo>
                      <a:pt x="557" y="174"/>
                    </a:lnTo>
                    <a:lnTo>
                      <a:pt x="559" y="174"/>
                    </a:lnTo>
                    <a:lnTo>
                      <a:pt x="562" y="176"/>
                    </a:lnTo>
                    <a:lnTo>
                      <a:pt x="566" y="173"/>
                    </a:lnTo>
                    <a:lnTo>
                      <a:pt x="572" y="174"/>
                    </a:lnTo>
                    <a:lnTo>
                      <a:pt x="576" y="173"/>
                    </a:lnTo>
                    <a:lnTo>
                      <a:pt x="579" y="170"/>
                    </a:lnTo>
                    <a:lnTo>
                      <a:pt x="588" y="171"/>
                    </a:lnTo>
                    <a:lnTo>
                      <a:pt x="591" y="170"/>
                    </a:lnTo>
                    <a:lnTo>
                      <a:pt x="595" y="174"/>
                    </a:lnTo>
                    <a:lnTo>
                      <a:pt x="595" y="173"/>
                    </a:lnTo>
                    <a:lnTo>
                      <a:pt x="596" y="173"/>
                    </a:lnTo>
                    <a:lnTo>
                      <a:pt x="596" y="174"/>
                    </a:lnTo>
                    <a:lnTo>
                      <a:pt x="602" y="173"/>
                    </a:lnTo>
                    <a:lnTo>
                      <a:pt x="607" y="173"/>
                    </a:lnTo>
                    <a:lnTo>
                      <a:pt x="604" y="170"/>
                    </a:lnTo>
                    <a:lnTo>
                      <a:pt x="604" y="168"/>
                    </a:lnTo>
                    <a:lnTo>
                      <a:pt x="602" y="165"/>
                    </a:lnTo>
                    <a:lnTo>
                      <a:pt x="601" y="163"/>
                    </a:lnTo>
                    <a:lnTo>
                      <a:pt x="602" y="161"/>
                    </a:lnTo>
                    <a:lnTo>
                      <a:pt x="604" y="161"/>
                    </a:lnTo>
                    <a:lnTo>
                      <a:pt x="605" y="163"/>
                    </a:lnTo>
                    <a:lnTo>
                      <a:pt x="607" y="164"/>
                    </a:lnTo>
                    <a:lnTo>
                      <a:pt x="608" y="167"/>
                    </a:lnTo>
                    <a:lnTo>
                      <a:pt x="608" y="170"/>
                    </a:lnTo>
                    <a:lnTo>
                      <a:pt x="609" y="173"/>
                    </a:lnTo>
                    <a:lnTo>
                      <a:pt x="612" y="174"/>
                    </a:lnTo>
                    <a:lnTo>
                      <a:pt x="614" y="176"/>
                    </a:lnTo>
                    <a:lnTo>
                      <a:pt x="617" y="177"/>
                    </a:lnTo>
                    <a:lnTo>
                      <a:pt x="618" y="179"/>
                    </a:lnTo>
                    <a:lnTo>
                      <a:pt x="621" y="179"/>
                    </a:lnTo>
                    <a:lnTo>
                      <a:pt x="624" y="176"/>
                    </a:lnTo>
                    <a:lnTo>
                      <a:pt x="624" y="167"/>
                    </a:lnTo>
                    <a:lnTo>
                      <a:pt x="622" y="167"/>
                    </a:lnTo>
                    <a:lnTo>
                      <a:pt x="622" y="168"/>
                    </a:lnTo>
                    <a:lnTo>
                      <a:pt x="620" y="168"/>
                    </a:lnTo>
                    <a:lnTo>
                      <a:pt x="620" y="167"/>
                    </a:lnTo>
                    <a:lnTo>
                      <a:pt x="618" y="164"/>
                    </a:lnTo>
                    <a:lnTo>
                      <a:pt x="614" y="165"/>
                    </a:lnTo>
                    <a:lnTo>
                      <a:pt x="612" y="167"/>
                    </a:lnTo>
                    <a:lnTo>
                      <a:pt x="612" y="171"/>
                    </a:lnTo>
                    <a:lnTo>
                      <a:pt x="611" y="170"/>
                    </a:lnTo>
                    <a:lnTo>
                      <a:pt x="609" y="164"/>
                    </a:lnTo>
                    <a:lnTo>
                      <a:pt x="605" y="160"/>
                    </a:lnTo>
                    <a:lnTo>
                      <a:pt x="608" y="161"/>
                    </a:lnTo>
                    <a:lnTo>
                      <a:pt x="608" y="157"/>
                    </a:lnTo>
                    <a:lnTo>
                      <a:pt x="605" y="154"/>
                    </a:lnTo>
                    <a:lnTo>
                      <a:pt x="605" y="152"/>
                    </a:lnTo>
                    <a:lnTo>
                      <a:pt x="602" y="149"/>
                    </a:lnTo>
                    <a:lnTo>
                      <a:pt x="604" y="149"/>
                    </a:lnTo>
                    <a:lnTo>
                      <a:pt x="605" y="151"/>
                    </a:lnTo>
                    <a:lnTo>
                      <a:pt x="607" y="149"/>
                    </a:lnTo>
                    <a:lnTo>
                      <a:pt x="607" y="149"/>
                    </a:lnTo>
                    <a:lnTo>
                      <a:pt x="609" y="149"/>
                    </a:lnTo>
                    <a:lnTo>
                      <a:pt x="611" y="151"/>
                    </a:lnTo>
                    <a:lnTo>
                      <a:pt x="617" y="149"/>
                    </a:lnTo>
                    <a:lnTo>
                      <a:pt x="617" y="149"/>
                    </a:lnTo>
                    <a:lnTo>
                      <a:pt x="612" y="144"/>
                    </a:lnTo>
                    <a:lnTo>
                      <a:pt x="614" y="142"/>
                    </a:lnTo>
                    <a:lnTo>
                      <a:pt x="617" y="144"/>
                    </a:lnTo>
                    <a:lnTo>
                      <a:pt x="617" y="145"/>
                    </a:lnTo>
                    <a:lnTo>
                      <a:pt x="620" y="149"/>
                    </a:lnTo>
                    <a:lnTo>
                      <a:pt x="618" y="145"/>
                    </a:lnTo>
                    <a:lnTo>
                      <a:pt x="622" y="145"/>
                    </a:lnTo>
                    <a:lnTo>
                      <a:pt x="624" y="149"/>
                    </a:lnTo>
                    <a:lnTo>
                      <a:pt x="628" y="151"/>
                    </a:lnTo>
                    <a:lnTo>
                      <a:pt x="627" y="152"/>
                    </a:lnTo>
                    <a:lnTo>
                      <a:pt x="628" y="154"/>
                    </a:lnTo>
                    <a:lnTo>
                      <a:pt x="633" y="152"/>
                    </a:lnTo>
                    <a:lnTo>
                      <a:pt x="633" y="154"/>
                    </a:lnTo>
                    <a:lnTo>
                      <a:pt x="631" y="157"/>
                    </a:lnTo>
                    <a:lnTo>
                      <a:pt x="631" y="160"/>
                    </a:lnTo>
                    <a:lnTo>
                      <a:pt x="630" y="161"/>
                    </a:lnTo>
                    <a:lnTo>
                      <a:pt x="631" y="163"/>
                    </a:lnTo>
                    <a:lnTo>
                      <a:pt x="633" y="161"/>
                    </a:lnTo>
                    <a:lnTo>
                      <a:pt x="634" y="164"/>
                    </a:lnTo>
                    <a:lnTo>
                      <a:pt x="634" y="158"/>
                    </a:lnTo>
                    <a:lnTo>
                      <a:pt x="640" y="154"/>
                    </a:lnTo>
                    <a:lnTo>
                      <a:pt x="640" y="155"/>
                    </a:lnTo>
                    <a:lnTo>
                      <a:pt x="640" y="164"/>
                    </a:lnTo>
                    <a:lnTo>
                      <a:pt x="638" y="168"/>
                    </a:lnTo>
                    <a:lnTo>
                      <a:pt x="638" y="173"/>
                    </a:lnTo>
                    <a:lnTo>
                      <a:pt x="640" y="177"/>
                    </a:lnTo>
                    <a:lnTo>
                      <a:pt x="634" y="180"/>
                    </a:lnTo>
                    <a:lnTo>
                      <a:pt x="636" y="184"/>
                    </a:lnTo>
                    <a:lnTo>
                      <a:pt x="640" y="184"/>
                    </a:lnTo>
                    <a:lnTo>
                      <a:pt x="640" y="190"/>
                    </a:lnTo>
                    <a:lnTo>
                      <a:pt x="644" y="187"/>
                    </a:lnTo>
                    <a:lnTo>
                      <a:pt x="646" y="189"/>
                    </a:lnTo>
                    <a:lnTo>
                      <a:pt x="647" y="186"/>
                    </a:lnTo>
                    <a:lnTo>
                      <a:pt x="647" y="189"/>
                    </a:lnTo>
                    <a:lnTo>
                      <a:pt x="646" y="190"/>
                    </a:lnTo>
                    <a:lnTo>
                      <a:pt x="647" y="193"/>
                    </a:lnTo>
                    <a:lnTo>
                      <a:pt x="650" y="193"/>
                    </a:lnTo>
                    <a:lnTo>
                      <a:pt x="652" y="189"/>
                    </a:lnTo>
                    <a:lnTo>
                      <a:pt x="650" y="184"/>
                    </a:lnTo>
                    <a:lnTo>
                      <a:pt x="650" y="180"/>
                    </a:lnTo>
                    <a:lnTo>
                      <a:pt x="649" y="177"/>
                    </a:lnTo>
                    <a:lnTo>
                      <a:pt x="646" y="174"/>
                    </a:lnTo>
                    <a:lnTo>
                      <a:pt x="647" y="164"/>
                    </a:lnTo>
                    <a:lnTo>
                      <a:pt x="646" y="161"/>
                    </a:lnTo>
                    <a:lnTo>
                      <a:pt x="647" y="161"/>
                    </a:lnTo>
                    <a:lnTo>
                      <a:pt x="649" y="160"/>
                    </a:lnTo>
                    <a:lnTo>
                      <a:pt x="650" y="161"/>
                    </a:lnTo>
                    <a:lnTo>
                      <a:pt x="650" y="163"/>
                    </a:lnTo>
                    <a:lnTo>
                      <a:pt x="652" y="161"/>
                    </a:lnTo>
                    <a:lnTo>
                      <a:pt x="654" y="161"/>
                    </a:lnTo>
                    <a:lnTo>
                      <a:pt x="657" y="163"/>
                    </a:lnTo>
                    <a:lnTo>
                      <a:pt x="659" y="163"/>
                    </a:lnTo>
                    <a:lnTo>
                      <a:pt x="660" y="158"/>
                    </a:lnTo>
                    <a:lnTo>
                      <a:pt x="662" y="157"/>
                    </a:lnTo>
                    <a:lnTo>
                      <a:pt x="665" y="155"/>
                    </a:lnTo>
                    <a:lnTo>
                      <a:pt x="665" y="152"/>
                    </a:lnTo>
                    <a:lnTo>
                      <a:pt x="666" y="148"/>
                    </a:lnTo>
                    <a:lnTo>
                      <a:pt x="673" y="144"/>
                    </a:lnTo>
                    <a:lnTo>
                      <a:pt x="675" y="141"/>
                    </a:lnTo>
                    <a:lnTo>
                      <a:pt x="672" y="141"/>
                    </a:lnTo>
                    <a:lnTo>
                      <a:pt x="672" y="128"/>
                    </a:lnTo>
                    <a:lnTo>
                      <a:pt x="669" y="125"/>
                    </a:lnTo>
                    <a:lnTo>
                      <a:pt x="667" y="128"/>
                    </a:lnTo>
                    <a:lnTo>
                      <a:pt x="667" y="129"/>
                    </a:lnTo>
                    <a:lnTo>
                      <a:pt x="667" y="132"/>
                    </a:lnTo>
                    <a:lnTo>
                      <a:pt x="669" y="131"/>
                    </a:lnTo>
                    <a:lnTo>
                      <a:pt x="670" y="129"/>
                    </a:lnTo>
                    <a:lnTo>
                      <a:pt x="667" y="135"/>
                    </a:lnTo>
                    <a:lnTo>
                      <a:pt x="662" y="136"/>
                    </a:lnTo>
                    <a:lnTo>
                      <a:pt x="659" y="136"/>
                    </a:lnTo>
                    <a:lnTo>
                      <a:pt x="659" y="133"/>
                    </a:lnTo>
                    <a:lnTo>
                      <a:pt x="660" y="128"/>
                    </a:lnTo>
                    <a:lnTo>
                      <a:pt x="660" y="128"/>
                    </a:lnTo>
                    <a:lnTo>
                      <a:pt x="663" y="128"/>
                    </a:lnTo>
                    <a:lnTo>
                      <a:pt x="665" y="122"/>
                    </a:lnTo>
                    <a:lnTo>
                      <a:pt x="665" y="119"/>
                    </a:lnTo>
                    <a:lnTo>
                      <a:pt x="663" y="120"/>
                    </a:lnTo>
                    <a:lnTo>
                      <a:pt x="663" y="116"/>
                    </a:lnTo>
                    <a:lnTo>
                      <a:pt x="666" y="112"/>
                    </a:lnTo>
                    <a:lnTo>
                      <a:pt x="670" y="110"/>
                    </a:lnTo>
                    <a:lnTo>
                      <a:pt x="672" y="109"/>
                    </a:lnTo>
                    <a:lnTo>
                      <a:pt x="670" y="113"/>
                    </a:lnTo>
                    <a:lnTo>
                      <a:pt x="670" y="118"/>
                    </a:lnTo>
                    <a:lnTo>
                      <a:pt x="670" y="119"/>
                    </a:lnTo>
                    <a:lnTo>
                      <a:pt x="673" y="115"/>
                    </a:lnTo>
                    <a:lnTo>
                      <a:pt x="675" y="110"/>
                    </a:lnTo>
                    <a:lnTo>
                      <a:pt x="673" y="106"/>
                    </a:lnTo>
                    <a:lnTo>
                      <a:pt x="670" y="106"/>
                    </a:lnTo>
                    <a:lnTo>
                      <a:pt x="666" y="109"/>
                    </a:lnTo>
                    <a:lnTo>
                      <a:pt x="663" y="109"/>
                    </a:lnTo>
                    <a:lnTo>
                      <a:pt x="659" y="102"/>
                    </a:lnTo>
                    <a:lnTo>
                      <a:pt x="657" y="100"/>
                    </a:lnTo>
                    <a:lnTo>
                      <a:pt x="659" y="102"/>
                    </a:lnTo>
                    <a:lnTo>
                      <a:pt x="657" y="103"/>
                    </a:lnTo>
                    <a:lnTo>
                      <a:pt x="654" y="102"/>
                    </a:lnTo>
                    <a:lnTo>
                      <a:pt x="654" y="100"/>
                    </a:lnTo>
                    <a:lnTo>
                      <a:pt x="650" y="99"/>
                    </a:lnTo>
                    <a:lnTo>
                      <a:pt x="650" y="96"/>
                    </a:lnTo>
                    <a:lnTo>
                      <a:pt x="650" y="94"/>
                    </a:lnTo>
                    <a:lnTo>
                      <a:pt x="643" y="96"/>
                    </a:lnTo>
                    <a:lnTo>
                      <a:pt x="640" y="93"/>
                    </a:lnTo>
                    <a:lnTo>
                      <a:pt x="638" y="91"/>
                    </a:lnTo>
                    <a:lnTo>
                      <a:pt x="640" y="90"/>
                    </a:lnTo>
                    <a:lnTo>
                      <a:pt x="636" y="87"/>
                    </a:lnTo>
                    <a:lnTo>
                      <a:pt x="634" y="84"/>
                    </a:lnTo>
                    <a:lnTo>
                      <a:pt x="633" y="83"/>
                    </a:lnTo>
                    <a:lnTo>
                      <a:pt x="633" y="68"/>
                    </a:lnTo>
                    <a:lnTo>
                      <a:pt x="634" y="68"/>
                    </a:lnTo>
                    <a:lnTo>
                      <a:pt x="634" y="68"/>
                    </a:lnTo>
                    <a:lnTo>
                      <a:pt x="637" y="61"/>
                    </a:lnTo>
                    <a:lnTo>
                      <a:pt x="638" y="61"/>
                    </a:lnTo>
                    <a:lnTo>
                      <a:pt x="638" y="62"/>
                    </a:lnTo>
                    <a:lnTo>
                      <a:pt x="640" y="61"/>
                    </a:lnTo>
                    <a:lnTo>
                      <a:pt x="640" y="58"/>
                    </a:lnTo>
                    <a:lnTo>
                      <a:pt x="638" y="58"/>
                    </a:lnTo>
                    <a:lnTo>
                      <a:pt x="636" y="52"/>
                    </a:lnTo>
                    <a:lnTo>
                      <a:pt x="634" y="51"/>
                    </a:lnTo>
                    <a:lnTo>
                      <a:pt x="634" y="43"/>
                    </a:lnTo>
                    <a:lnTo>
                      <a:pt x="636" y="40"/>
                    </a:lnTo>
                    <a:lnTo>
                      <a:pt x="636" y="40"/>
                    </a:lnTo>
                    <a:lnTo>
                      <a:pt x="636" y="32"/>
                    </a:lnTo>
                    <a:lnTo>
                      <a:pt x="637" y="30"/>
                    </a:lnTo>
                    <a:lnTo>
                      <a:pt x="638" y="30"/>
                    </a:lnTo>
                    <a:lnTo>
                      <a:pt x="638" y="29"/>
                    </a:lnTo>
                    <a:lnTo>
                      <a:pt x="638" y="27"/>
                    </a:lnTo>
                    <a:lnTo>
                      <a:pt x="641" y="26"/>
                    </a:lnTo>
                    <a:lnTo>
                      <a:pt x="646" y="32"/>
                    </a:lnTo>
                    <a:lnTo>
                      <a:pt x="647" y="32"/>
                    </a:lnTo>
                    <a:lnTo>
                      <a:pt x="647" y="27"/>
                    </a:lnTo>
                    <a:lnTo>
                      <a:pt x="647" y="22"/>
                    </a:lnTo>
                    <a:lnTo>
                      <a:pt x="646" y="22"/>
                    </a:lnTo>
                    <a:lnTo>
                      <a:pt x="644" y="20"/>
                    </a:lnTo>
                    <a:lnTo>
                      <a:pt x="643" y="17"/>
                    </a:lnTo>
                    <a:lnTo>
                      <a:pt x="649" y="9"/>
                    </a:lnTo>
                    <a:lnTo>
                      <a:pt x="652" y="0"/>
                    </a:lnTo>
                    <a:lnTo>
                      <a:pt x="654" y="0"/>
                    </a:lnTo>
                    <a:lnTo>
                      <a:pt x="657" y="0"/>
                    </a:lnTo>
                    <a:lnTo>
                      <a:pt x="659" y="0"/>
                    </a:lnTo>
                    <a:lnTo>
                      <a:pt x="662" y="3"/>
                    </a:lnTo>
                    <a:lnTo>
                      <a:pt x="662" y="4"/>
                    </a:lnTo>
                    <a:lnTo>
                      <a:pt x="660" y="6"/>
                    </a:lnTo>
                    <a:lnTo>
                      <a:pt x="660" y="7"/>
                    </a:lnTo>
                    <a:lnTo>
                      <a:pt x="660" y="10"/>
                    </a:lnTo>
                    <a:lnTo>
                      <a:pt x="663" y="7"/>
                    </a:lnTo>
                    <a:lnTo>
                      <a:pt x="663" y="13"/>
                    </a:lnTo>
                    <a:lnTo>
                      <a:pt x="665" y="10"/>
                    </a:lnTo>
                    <a:lnTo>
                      <a:pt x="666" y="9"/>
                    </a:lnTo>
                    <a:lnTo>
                      <a:pt x="669" y="11"/>
                    </a:lnTo>
                    <a:lnTo>
                      <a:pt x="673" y="9"/>
                    </a:lnTo>
                    <a:lnTo>
                      <a:pt x="672" y="16"/>
                    </a:lnTo>
                    <a:lnTo>
                      <a:pt x="673" y="19"/>
                    </a:lnTo>
                    <a:lnTo>
                      <a:pt x="676" y="20"/>
                    </a:lnTo>
                    <a:lnTo>
                      <a:pt x="682" y="30"/>
                    </a:lnTo>
                    <a:lnTo>
                      <a:pt x="683" y="49"/>
                    </a:lnTo>
                    <a:lnTo>
                      <a:pt x="683" y="49"/>
                    </a:lnTo>
                    <a:lnTo>
                      <a:pt x="683" y="51"/>
                    </a:lnTo>
                    <a:lnTo>
                      <a:pt x="686" y="52"/>
                    </a:lnTo>
                    <a:lnTo>
                      <a:pt x="686" y="56"/>
                    </a:lnTo>
                    <a:lnTo>
                      <a:pt x="691" y="56"/>
                    </a:lnTo>
                    <a:lnTo>
                      <a:pt x="692" y="59"/>
                    </a:lnTo>
                    <a:lnTo>
                      <a:pt x="694" y="65"/>
                    </a:lnTo>
                    <a:lnTo>
                      <a:pt x="697" y="71"/>
                    </a:lnTo>
                    <a:lnTo>
                      <a:pt x="697" y="74"/>
                    </a:lnTo>
                    <a:lnTo>
                      <a:pt x="698" y="74"/>
                    </a:lnTo>
                    <a:lnTo>
                      <a:pt x="698" y="72"/>
                    </a:lnTo>
                    <a:lnTo>
                      <a:pt x="699" y="71"/>
                    </a:lnTo>
                    <a:lnTo>
                      <a:pt x="701" y="72"/>
                    </a:lnTo>
                    <a:lnTo>
                      <a:pt x="701" y="77"/>
                    </a:lnTo>
                    <a:lnTo>
                      <a:pt x="702" y="78"/>
                    </a:lnTo>
                    <a:lnTo>
                      <a:pt x="704" y="80"/>
                    </a:lnTo>
                    <a:lnTo>
                      <a:pt x="699" y="81"/>
                    </a:lnTo>
                    <a:lnTo>
                      <a:pt x="692" y="78"/>
                    </a:lnTo>
                    <a:lnTo>
                      <a:pt x="691" y="78"/>
                    </a:lnTo>
                    <a:lnTo>
                      <a:pt x="691" y="78"/>
                    </a:lnTo>
                    <a:lnTo>
                      <a:pt x="691" y="81"/>
                    </a:lnTo>
                    <a:lnTo>
                      <a:pt x="691" y="81"/>
                    </a:lnTo>
                    <a:lnTo>
                      <a:pt x="691" y="83"/>
                    </a:lnTo>
                    <a:lnTo>
                      <a:pt x="695" y="83"/>
                    </a:lnTo>
                    <a:lnTo>
                      <a:pt x="698" y="87"/>
                    </a:lnTo>
                    <a:lnTo>
                      <a:pt x="695" y="91"/>
                    </a:lnTo>
                    <a:lnTo>
                      <a:pt x="692" y="91"/>
                    </a:lnTo>
                    <a:lnTo>
                      <a:pt x="691" y="93"/>
                    </a:lnTo>
                    <a:lnTo>
                      <a:pt x="689" y="93"/>
                    </a:lnTo>
                    <a:lnTo>
                      <a:pt x="689" y="94"/>
                    </a:lnTo>
                    <a:lnTo>
                      <a:pt x="686" y="96"/>
                    </a:lnTo>
                    <a:lnTo>
                      <a:pt x="688" y="97"/>
                    </a:lnTo>
                    <a:lnTo>
                      <a:pt x="688" y="99"/>
                    </a:lnTo>
                    <a:lnTo>
                      <a:pt x="692" y="99"/>
                    </a:lnTo>
                    <a:lnTo>
                      <a:pt x="695" y="104"/>
                    </a:lnTo>
                    <a:lnTo>
                      <a:pt x="698" y="106"/>
                    </a:lnTo>
                    <a:lnTo>
                      <a:pt x="702" y="104"/>
                    </a:lnTo>
                    <a:lnTo>
                      <a:pt x="704" y="102"/>
                    </a:lnTo>
                    <a:lnTo>
                      <a:pt x="707" y="100"/>
                    </a:lnTo>
                    <a:lnTo>
                      <a:pt x="707" y="103"/>
                    </a:lnTo>
                    <a:lnTo>
                      <a:pt x="705" y="104"/>
                    </a:lnTo>
                    <a:lnTo>
                      <a:pt x="707" y="104"/>
                    </a:lnTo>
                    <a:lnTo>
                      <a:pt x="708" y="107"/>
                    </a:lnTo>
                    <a:lnTo>
                      <a:pt x="710" y="106"/>
                    </a:lnTo>
                    <a:lnTo>
                      <a:pt x="713" y="107"/>
                    </a:lnTo>
                    <a:lnTo>
                      <a:pt x="713" y="106"/>
                    </a:lnTo>
                    <a:lnTo>
                      <a:pt x="714" y="109"/>
                    </a:lnTo>
                    <a:lnTo>
                      <a:pt x="713" y="112"/>
                    </a:lnTo>
                    <a:lnTo>
                      <a:pt x="713" y="113"/>
                    </a:lnTo>
                    <a:lnTo>
                      <a:pt x="710" y="112"/>
                    </a:lnTo>
                    <a:lnTo>
                      <a:pt x="708" y="112"/>
                    </a:lnTo>
                    <a:lnTo>
                      <a:pt x="705" y="112"/>
                    </a:lnTo>
                    <a:lnTo>
                      <a:pt x="713" y="120"/>
                    </a:lnTo>
                    <a:lnTo>
                      <a:pt x="714" y="122"/>
                    </a:lnTo>
                    <a:lnTo>
                      <a:pt x="715" y="123"/>
                    </a:lnTo>
                    <a:lnTo>
                      <a:pt x="717" y="128"/>
                    </a:lnTo>
                    <a:lnTo>
                      <a:pt x="717" y="129"/>
                    </a:lnTo>
                    <a:lnTo>
                      <a:pt x="720" y="133"/>
                    </a:lnTo>
                    <a:lnTo>
                      <a:pt x="718" y="145"/>
                    </a:lnTo>
                    <a:lnTo>
                      <a:pt x="721" y="152"/>
                    </a:lnTo>
                    <a:lnTo>
                      <a:pt x="726" y="145"/>
                    </a:lnTo>
                    <a:lnTo>
                      <a:pt x="726" y="139"/>
                    </a:lnTo>
                    <a:lnTo>
                      <a:pt x="727" y="138"/>
                    </a:lnTo>
                    <a:lnTo>
                      <a:pt x="728" y="138"/>
                    </a:lnTo>
                    <a:lnTo>
                      <a:pt x="728" y="125"/>
                    </a:lnTo>
                    <a:lnTo>
                      <a:pt x="731" y="120"/>
                    </a:lnTo>
                    <a:lnTo>
                      <a:pt x="733" y="116"/>
                    </a:lnTo>
                    <a:lnTo>
                      <a:pt x="736" y="115"/>
                    </a:lnTo>
                    <a:lnTo>
                      <a:pt x="740" y="115"/>
                    </a:lnTo>
                    <a:lnTo>
                      <a:pt x="742" y="120"/>
                    </a:lnTo>
                    <a:lnTo>
                      <a:pt x="744" y="125"/>
                    </a:lnTo>
                    <a:lnTo>
                      <a:pt x="752" y="131"/>
                    </a:lnTo>
                    <a:lnTo>
                      <a:pt x="756" y="154"/>
                    </a:lnTo>
                    <a:lnTo>
                      <a:pt x="755" y="155"/>
                    </a:lnTo>
                    <a:lnTo>
                      <a:pt x="752" y="154"/>
                    </a:lnTo>
                    <a:lnTo>
                      <a:pt x="750" y="154"/>
                    </a:lnTo>
                    <a:lnTo>
                      <a:pt x="750" y="149"/>
                    </a:lnTo>
                    <a:lnTo>
                      <a:pt x="749" y="155"/>
                    </a:lnTo>
                    <a:lnTo>
                      <a:pt x="749" y="160"/>
                    </a:lnTo>
                    <a:lnTo>
                      <a:pt x="749" y="167"/>
                    </a:lnTo>
                    <a:lnTo>
                      <a:pt x="760" y="190"/>
                    </a:lnTo>
                    <a:lnTo>
                      <a:pt x="763" y="193"/>
                    </a:lnTo>
                    <a:lnTo>
                      <a:pt x="766" y="192"/>
                    </a:lnTo>
                    <a:lnTo>
                      <a:pt x="768" y="187"/>
                    </a:lnTo>
                    <a:lnTo>
                      <a:pt x="769" y="186"/>
                    </a:lnTo>
                    <a:lnTo>
                      <a:pt x="771" y="187"/>
                    </a:lnTo>
                    <a:lnTo>
                      <a:pt x="772" y="186"/>
                    </a:lnTo>
                    <a:lnTo>
                      <a:pt x="772" y="186"/>
                    </a:lnTo>
                    <a:lnTo>
                      <a:pt x="773" y="187"/>
                    </a:lnTo>
                    <a:lnTo>
                      <a:pt x="775" y="176"/>
                    </a:lnTo>
                    <a:lnTo>
                      <a:pt x="778" y="170"/>
                    </a:lnTo>
                    <a:lnTo>
                      <a:pt x="781" y="165"/>
                    </a:lnTo>
                    <a:lnTo>
                      <a:pt x="784" y="157"/>
                    </a:lnTo>
                    <a:lnTo>
                      <a:pt x="784" y="154"/>
                    </a:lnTo>
                    <a:lnTo>
                      <a:pt x="785" y="152"/>
                    </a:lnTo>
                    <a:lnTo>
                      <a:pt x="787" y="139"/>
                    </a:lnTo>
                    <a:lnTo>
                      <a:pt x="787" y="138"/>
                    </a:lnTo>
                    <a:lnTo>
                      <a:pt x="791" y="138"/>
                    </a:lnTo>
                    <a:lnTo>
                      <a:pt x="791" y="135"/>
                    </a:lnTo>
                    <a:lnTo>
                      <a:pt x="792" y="136"/>
                    </a:lnTo>
                    <a:lnTo>
                      <a:pt x="795" y="135"/>
                    </a:lnTo>
                    <a:lnTo>
                      <a:pt x="798" y="136"/>
                    </a:lnTo>
                    <a:lnTo>
                      <a:pt x="801" y="135"/>
                    </a:lnTo>
                    <a:lnTo>
                      <a:pt x="800" y="133"/>
                    </a:lnTo>
                    <a:lnTo>
                      <a:pt x="797" y="133"/>
                    </a:lnTo>
                    <a:lnTo>
                      <a:pt x="795" y="132"/>
                    </a:lnTo>
                    <a:lnTo>
                      <a:pt x="797" y="129"/>
                    </a:lnTo>
                    <a:lnTo>
                      <a:pt x="795" y="129"/>
                    </a:lnTo>
                    <a:lnTo>
                      <a:pt x="798" y="129"/>
                    </a:lnTo>
                    <a:lnTo>
                      <a:pt x="798" y="126"/>
                    </a:lnTo>
                    <a:lnTo>
                      <a:pt x="798" y="126"/>
                    </a:lnTo>
                    <a:lnTo>
                      <a:pt x="801" y="126"/>
                    </a:lnTo>
                    <a:lnTo>
                      <a:pt x="801" y="123"/>
                    </a:lnTo>
                    <a:lnTo>
                      <a:pt x="800" y="123"/>
                    </a:lnTo>
                    <a:lnTo>
                      <a:pt x="797" y="122"/>
                    </a:lnTo>
                    <a:lnTo>
                      <a:pt x="794" y="120"/>
                    </a:lnTo>
                    <a:lnTo>
                      <a:pt x="792" y="118"/>
                    </a:lnTo>
                    <a:lnTo>
                      <a:pt x="791" y="115"/>
                    </a:lnTo>
                    <a:lnTo>
                      <a:pt x="791" y="112"/>
                    </a:lnTo>
                    <a:lnTo>
                      <a:pt x="791" y="110"/>
                    </a:lnTo>
                    <a:lnTo>
                      <a:pt x="791" y="106"/>
                    </a:lnTo>
                    <a:lnTo>
                      <a:pt x="791" y="103"/>
                    </a:lnTo>
                    <a:lnTo>
                      <a:pt x="789" y="100"/>
                    </a:lnTo>
                    <a:lnTo>
                      <a:pt x="791" y="93"/>
                    </a:lnTo>
                    <a:lnTo>
                      <a:pt x="795" y="94"/>
                    </a:lnTo>
                    <a:lnTo>
                      <a:pt x="798" y="93"/>
                    </a:lnTo>
                    <a:lnTo>
                      <a:pt x="804" y="91"/>
                    </a:lnTo>
                    <a:lnTo>
                      <a:pt x="808" y="93"/>
                    </a:lnTo>
                    <a:lnTo>
                      <a:pt x="811" y="96"/>
                    </a:lnTo>
                    <a:lnTo>
                      <a:pt x="817" y="99"/>
                    </a:lnTo>
                    <a:lnTo>
                      <a:pt x="823" y="99"/>
                    </a:lnTo>
                    <a:lnTo>
                      <a:pt x="826" y="100"/>
                    </a:lnTo>
                    <a:lnTo>
                      <a:pt x="829" y="99"/>
                    </a:lnTo>
                    <a:lnTo>
                      <a:pt x="830" y="97"/>
                    </a:lnTo>
                    <a:lnTo>
                      <a:pt x="832" y="100"/>
                    </a:lnTo>
                    <a:lnTo>
                      <a:pt x="832" y="106"/>
                    </a:lnTo>
                    <a:lnTo>
                      <a:pt x="830" y="107"/>
                    </a:lnTo>
                    <a:lnTo>
                      <a:pt x="832" y="107"/>
                    </a:lnTo>
                    <a:lnTo>
                      <a:pt x="836" y="115"/>
                    </a:lnTo>
                    <a:lnTo>
                      <a:pt x="836" y="118"/>
                    </a:lnTo>
                    <a:lnTo>
                      <a:pt x="836" y="118"/>
                    </a:lnTo>
                    <a:lnTo>
                      <a:pt x="843" y="116"/>
                    </a:lnTo>
                    <a:lnTo>
                      <a:pt x="846" y="119"/>
                    </a:lnTo>
                    <a:lnTo>
                      <a:pt x="849" y="119"/>
                    </a:lnTo>
                    <a:lnTo>
                      <a:pt x="849" y="122"/>
                    </a:lnTo>
                    <a:lnTo>
                      <a:pt x="846" y="125"/>
                    </a:lnTo>
                    <a:lnTo>
                      <a:pt x="842" y="129"/>
                    </a:lnTo>
                    <a:lnTo>
                      <a:pt x="840" y="132"/>
                    </a:lnTo>
                    <a:lnTo>
                      <a:pt x="849" y="133"/>
                    </a:lnTo>
                    <a:lnTo>
                      <a:pt x="850" y="136"/>
                    </a:lnTo>
                    <a:lnTo>
                      <a:pt x="850" y="141"/>
                    </a:lnTo>
                    <a:lnTo>
                      <a:pt x="849" y="142"/>
                    </a:lnTo>
                    <a:lnTo>
                      <a:pt x="846" y="145"/>
                    </a:lnTo>
                    <a:lnTo>
                      <a:pt x="843" y="145"/>
                    </a:lnTo>
                    <a:lnTo>
                      <a:pt x="842" y="149"/>
                    </a:lnTo>
                    <a:lnTo>
                      <a:pt x="840" y="148"/>
                    </a:lnTo>
                    <a:lnTo>
                      <a:pt x="839" y="144"/>
                    </a:lnTo>
                    <a:lnTo>
                      <a:pt x="837" y="145"/>
                    </a:lnTo>
                    <a:lnTo>
                      <a:pt x="836" y="147"/>
                    </a:lnTo>
                    <a:lnTo>
                      <a:pt x="832" y="145"/>
                    </a:lnTo>
                    <a:lnTo>
                      <a:pt x="832" y="147"/>
                    </a:lnTo>
                    <a:lnTo>
                      <a:pt x="836" y="152"/>
                    </a:lnTo>
                    <a:lnTo>
                      <a:pt x="834" y="154"/>
                    </a:lnTo>
                    <a:lnTo>
                      <a:pt x="834" y="154"/>
                    </a:lnTo>
                    <a:lnTo>
                      <a:pt x="836" y="155"/>
                    </a:lnTo>
                    <a:lnTo>
                      <a:pt x="836" y="158"/>
                    </a:lnTo>
                    <a:lnTo>
                      <a:pt x="840" y="157"/>
                    </a:lnTo>
                    <a:lnTo>
                      <a:pt x="839" y="165"/>
                    </a:lnTo>
                    <a:lnTo>
                      <a:pt x="839" y="168"/>
                    </a:lnTo>
                    <a:lnTo>
                      <a:pt x="850" y="184"/>
                    </a:lnTo>
                    <a:lnTo>
                      <a:pt x="850" y="186"/>
                    </a:lnTo>
                    <a:lnTo>
                      <a:pt x="849" y="187"/>
                    </a:lnTo>
                    <a:lnTo>
                      <a:pt x="849" y="192"/>
                    </a:lnTo>
                    <a:lnTo>
                      <a:pt x="849" y="195"/>
                    </a:lnTo>
                    <a:lnTo>
                      <a:pt x="848" y="196"/>
                    </a:lnTo>
                    <a:lnTo>
                      <a:pt x="848" y="197"/>
                    </a:lnTo>
                    <a:lnTo>
                      <a:pt x="845" y="200"/>
                    </a:lnTo>
                    <a:lnTo>
                      <a:pt x="840" y="205"/>
                    </a:lnTo>
                    <a:lnTo>
                      <a:pt x="839" y="206"/>
                    </a:lnTo>
                    <a:lnTo>
                      <a:pt x="832" y="216"/>
                    </a:lnTo>
                    <a:lnTo>
                      <a:pt x="826" y="218"/>
                    </a:lnTo>
                    <a:lnTo>
                      <a:pt x="826" y="221"/>
                    </a:lnTo>
                    <a:lnTo>
                      <a:pt x="823" y="224"/>
                    </a:lnTo>
                    <a:lnTo>
                      <a:pt x="820" y="224"/>
                    </a:lnTo>
                    <a:lnTo>
                      <a:pt x="820" y="222"/>
                    </a:lnTo>
                    <a:lnTo>
                      <a:pt x="818" y="221"/>
                    </a:lnTo>
                    <a:lnTo>
                      <a:pt x="813" y="216"/>
                    </a:lnTo>
                    <a:lnTo>
                      <a:pt x="811" y="212"/>
                    </a:lnTo>
                    <a:lnTo>
                      <a:pt x="810" y="215"/>
                    </a:lnTo>
                    <a:lnTo>
                      <a:pt x="810" y="216"/>
                    </a:lnTo>
                    <a:lnTo>
                      <a:pt x="813" y="222"/>
                    </a:lnTo>
                    <a:lnTo>
                      <a:pt x="813" y="225"/>
                    </a:lnTo>
                    <a:lnTo>
                      <a:pt x="816" y="229"/>
                    </a:lnTo>
                    <a:lnTo>
                      <a:pt x="814" y="231"/>
                    </a:lnTo>
                    <a:lnTo>
                      <a:pt x="814" y="229"/>
                    </a:lnTo>
                    <a:lnTo>
                      <a:pt x="811" y="229"/>
                    </a:lnTo>
                    <a:lnTo>
                      <a:pt x="808" y="225"/>
                    </a:lnTo>
                    <a:lnTo>
                      <a:pt x="805" y="225"/>
                    </a:lnTo>
                    <a:lnTo>
                      <a:pt x="805" y="224"/>
                    </a:lnTo>
                    <a:lnTo>
                      <a:pt x="804" y="224"/>
                    </a:lnTo>
                    <a:lnTo>
                      <a:pt x="804" y="229"/>
                    </a:lnTo>
                    <a:lnTo>
                      <a:pt x="800" y="228"/>
                    </a:lnTo>
                    <a:lnTo>
                      <a:pt x="798" y="229"/>
                    </a:lnTo>
                    <a:lnTo>
                      <a:pt x="795" y="226"/>
                    </a:lnTo>
                    <a:lnTo>
                      <a:pt x="795" y="228"/>
                    </a:lnTo>
                    <a:lnTo>
                      <a:pt x="792" y="216"/>
                    </a:lnTo>
                    <a:lnTo>
                      <a:pt x="789" y="216"/>
                    </a:lnTo>
                    <a:lnTo>
                      <a:pt x="785" y="221"/>
                    </a:lnTo>
                    <a:lnTo>
                      <a:pt x="785" y="219"/>
                    </a:lnTo>
                    <a:lnTo>
                      <a:pt x="784" y="219"/>
                    </a:lnTo>
                    <a:lnTo>
                      <a:pt x="776" y="218"/>
                    </a:lnTo>
                    <a:lnTo>
                      <a:pt x="773" y="219"/>
                    </a:lnTo>
                    <a:lnTo>
                      <a:pt x="773" y="221"/>
                    </a:lnTo>
                    <a:lnTo>
                      <a:pt x="772" y="222"/>
                    </a:lnTo>
                    <a:lnTo>
                      <a:pt x="773" y="225"/>
                    </a:lnTo>
                    <a:lnTo>
                      <a:pt x="779" y="228"/>
                    </a:lnTo>
                    <a:lnTo>
                      <a:pt x="781" y="228"/>
                    </a:lnTo>
                    <a:lnTo>
                      <a:pt x="782" y="229"/>
                    </a:lnTo>
                    <a:lnTo>
                      <a:pt x="782" y="235"/>
                    </a:lnTo>
                    <a:lnTo>
                      <a:pt x="781" y="235"/>
                    </a:lnTo>
                    <a:lnTo>
                      <a:pt x="781" y="237"/>
                    </a:lnTo>
                    <a:lnTo>
                      <a:pt x="775" y="247"/>
                    </a:lnTo>
                    <a:lnTo>
                      <a:pt x="773" y="250"/>
                    </a:lnTo>
                    <a:lnTo>
                      <a:pt x="773" y="251"/>
                    </a:lnTo>
                    <a:lnTo>
                      <a:pt x="769" y="253"/>
                    </a:lnTo>
                    <a:lnTo>
                      <a:pt x="768" y="257"/>
                    </a:lnTo>
                    <a:lnTo>
                      <a:pt x="766" y="258"/>
                    </a:lnTo>
                    <a:lnTo>
                      <a:pt x="755" y="260"/>
                    </a:lnTo>
                    <a:lnTo>
                      <a:pt x="752" y="256"/>
                    </a:lnTo>
                    <a:lnTo>
                      <a:pt x="744" y="248"/>
                    </a:lnTo>
                    <a:lnTo>
                      <a:pt x="744" y="248"/>
                    </a:lnTo>
                    <a:lnTo>
                      <a:pt x="739" y="245"/>
                    </a:lnTo>
                    <a:lnTo>
                      <a:pt x="733" y="241"/>
                    </a:lnTo>
                    <a:lnTo>
                      <a:pt x="731" y="241"/>
                    </a:lnTo>
                    <a:lnTo>
                      <a:pt x="728" y="242"/>
                    </a:lnTo>
                    <a:lnTo>
                      <a:pt x="726" y="241"/>
                    </a:lnTo>
                    <a:lnTo>
                      <a:pt x="724" y="244"/>
                    </a:lnTo>
                    <a:lnTo>
                      <a:pt x="728" y="247"/>
                    </a:lnTo>
                    <a:lnTo>
                      <a:pt x="740" y="260"/>
                    </a:lnTo>
                    <a:lnTo>
                      <a:pt x="753" y="263"/>
                    </a:lnTo>
                    <a:lnTo>
                      <a:pt x="756" y="263"/>
                    </a:lnTo>
                    <a:lnTo>
                      <a:pt x="768" y="263"/>
                    </a:lnTo>
                    <a:lnTo>
                      <a:pt x="769" y="264"/>
                    </a:lnTo>
                    <a:lnTo>
                      <a:pt x="771" y="264"/>
                    </a:lnTo>
                    <a:lnTo>
                      <a:pt x="768" y="270"/>
                    </a:lnTo>
                    <a:lnTo>
                      <a:pt x="768" y="273"/>
                    </a:lnTo>
                    <a:lnTo>
                      <a:pt x="765" y="276"/>
                    </a:lnTo>
                    <a:lnTo>
                      <a:pt x="765" y="280"/>
                    </a:lnTo>
                    <a:lnTo>
                      <a:pt x="762" y="282"/>
                    </a:lnTo>
                    <a:lnTo>
                      <a:pt x="760" y="286"/>
                    </a:lnTo>
                    <a:lnTo>
                      <a:pt x="758" y="288"/>
                    </a:lnTo>
                    <a:lnTo>
                      <a:pt x="758" y="292"/>
                    </a:lnTo>
                    <a:lnTo>
                      <a:pt x="753" y="299"/>
                    </a:lnTo>
                    <a:lnTo>
                      <a:pt x="752" y="299"/>
                    </a:lnTo>
                    <a:lnTo>
                      <a:pt x="749" y="302"/>
                    </a:lnTo>
                    <a:lnTo>
                      <a:pt x="744" y="305"/>
                    </a:lnTo>
                    <a:lnTo>
                      <a:pt x="740" y="304"/>
                    </a:lnTo>
                    <a:lnTo>
                      <a:pt x="739" y="305"/>
                    </a:lnTo>
                    <a:lnTo>
                      <a:pt x="733" y="301"/>
                    </a:lnTo>
                    <a:lnTo>
                      <a:pt x="733" y="302"/>
                    </a:lnTo>
                    <a:lnTo>
                      <a:pt x="733" y="304"/>
                    </a:lnTo>
                    <a:lnTo>
                      <a:pt x="731" y="301"/>
                    </a:lnTo>
                    <a:lnTo>
                      <a:pt x="730" y="301"/>
                    </a:lnTo>
                    <a:lnTo>
                      <a:pt x="728" y="299"/>
                    </a:lnTo>
                    <a:lnTo>
                      <a:pt x="727" y="299"/>
                    </a:lnTo>
                    <a:lnTo>
                      <a:pt x="728" y="302"/>
                    </a:lnTo>
                    <a:lnTo>
                      <a:pt x="728" y="304"/>
                    </a:lnTo>
                    <a:lnTo>
                      <a:pt x="728" y="306"/>
                    </a:lnTo>
                    <a:lnTo>
                      <a:pt x="728" y="306"/>
                    </a:lnTo>
                    <a:lnTo>
                      <a:pt x="727" y="306"/>
                    </a:lnTo>
                    <a:lnTo>
                      <a:pt x="726" y="305"/>
                    </a:lnTo>
                    <a:lnTo>
                      <a:pt x="726" y="308"/>
                    </a:lnTo>
                    <a:lnTo>
                      <a:pt x="727" y="311"/>
                    </a:lnTo>
                    <a:lnTo>
                      <a:pt x="723" y="317"/>
                    </a:lnTo>
                    <a:lnTo>
                      <a:pt x="721" y="317"/>
                    </a:lnTo>
                    <a:lnTo>
                      <a:pt x="721" y="319"/>
                    </a:lnTo>
                    <a:lnTo>
                      <a:pt x="720" y="319"/>
                    </a:lnTo>
                    <a:lnTo>
                      <a:pt x="718" y="318"/>
                    </a:lnTo>
                    <a:lnTo>
                      <a:pt x="717" y="321"/>
                    </a:lnTo>
                    <a:lnTo>
                      <a:pt x="715" y="319"/>
                    </a:lnTo>
                    <a:lnTo>
                      <a:pt x="714" y="318"/>
                    </a:lnTo>
                    <a:lnTo>
                      <a:pt x="713" y="317"/>
                    </a:lnTo>
                    <a:lnTo>
                      <a:pt x="710" y="315"/>
                    </a:lnTo>
                    <a:lnTo>
                      <a:pt x="707" y="312"/>
                    </a:lnTo>
                    <a:lnTo>
                      <a:pt x="705" y="314"/>
                    </a:lnTo>
                    <a:lnTo>
                      <a:pt x="704" y="309"/>
                    </a:lnTo>
                    <a:lnTo>
                      <a:pt x="702" y="312"/>
                    </a:lnTo>
                    <a:lnTo>
                      <a:pt x="699" y="312"/>
                    </a:lnTo>
                    <a:lnTo>
                      <a:pt x="698" y="311"/>
                    </a:lnTo>
                    <a:lnTo>
                      <a:pt x="698" y="312"/>
                    </a:lnTo>
                    <a:lnTo>
                      <a:pt x="695" y="312"/>
                    </a:lnTo>
                    <a:lnTo>
                      <a:pt x="689" y="309"/>
                    </a:lnTo>
                    <a:lnTo>
                      <a:pt x="688" y="308"/>
                    </a:lnTo>
                    <a:lnTo>
                      <a:pt x="676" y="302"/>
                    </a:lnTo>
                    <a:lnTo>
                      <a:pt x="675" y="306"/>
                    </a:lnTo>
                    <a:lnTo>
                      <a:pt x="675" y="308"/>
                    </a:lnTo>
                    <a:lnTo>
                      <a:pt x="678" y="309"/>
                    </a:lnTo>
                    <a:lnTo>
                      <a:pt x="679" y="309"/>
                    </a:lnTo>
                    <a:lnTo>
                      <a:pt x="679" y="308"/>
                    </a:lnTo>
                    <a:lnTo>
                      <a:pt x="679" y="306"/>
                    </a:lnTo>
                    <a:lnTo>
                      <a:pt x="681" y="308"/>
                    </a:lnTo>
                    <a:lnTo>
                      <a:pt x="688" y="311"/>
                    </a:lnTo>
                    <a:lnTo>
                      <a:pt x="689" y="312"/>
                    </a:lnTo>
                    <a:lnTo>
                      <a:pt x="689" y="314"/>
                    </a:lnTo>
                    <a:lnTo>
                      <a:pt x="691" y="312"/>
                    </a:lnTo>
                    <a:lnTo>
                      <a:pt x="697" y="314"/>
                    </a:lnTo>
                    <a:lnTo>
                      <a:pt x="697" y="315"/>
                    </a:lnTo>
                    <a:lnTo>
                      <a:pt x="694" y="317"/>
                    </a:lnTo>
                    <a:lnTo>
                      <a:pt x="694" y="318"/>
                    </a:lnTo>
                    <a:lnTo>
                      <a:pt x="695" y="318"/>
                    </a:lnTo>
                    <a:lnTo>
                      <a:pt x="697" y="317"/>
                    </a:lnTo>
                    <a:lnTo>
                      <a:pt x="698" y="315"/>
                    </a:lnTo>
                    <a:lnTo>
                      <a:pt x="701" y="314"/>
                    </a:lnTo>
                    <a:lnTo>
                      <a:pt x="702" y="315"/>
                    </a:lnTo>
                    <a:lnTo>
                      <a:pt x="704" y="317"/>
                    </a:lnTo>
                    <a:lnTo>
                      <a:pt x="707" y="319"/>
                    </a:lnTo>
                    <a:lnTo>
                      <a:pt x="710" y="321"/>
                    </a:lnTo>
                    <a:lnTo>
                      <a:pt x="711" y="322"/>
                    </a:lnTo>
                    <a:lnTo>
                      <a:pt x="713" y="321"/>
                    </a:lnTo>
                    <a:lnTo>
                      <a:pt x="714" y="322"/>
                    </a:lnTo>
                    <a:lnTo>
                      <a:pt x="714" y="324"/>
                    </a:lnTo>
                    <a:lnTo>
                      <a:pt x="715" y="327"/>
                    </a:lnTo>
                    <a:lnTo>
                      <a:pt x="717" y="334"/>
                    </a:lnTo>
                    <a:lnTo>
                      <a:pt x="717" y="337"/>
                    </a:lnTo>
                    <a:lnTo>
                      <a:pt x="717" y="338"/>
                    </a:lnTo>
                    <a:lnTo>
                      <a:pt x="715" y="340"/>
                    </a:lnTo>
                    <a:lnTo>
                      <a:pt x="710" y="340"/>
                    </a:lnTo>
                    <a:lnTo>
                      <a:pt x="708" y="341"/>
                    </a:lnTo>
                    <a:lnTo>
                      <a:pt x="705" y="343"/>
                    </a:lnTo>
                    <a:lnTo>
                      <a:pt x="697" y="343"/>
                    </a:lnTo>
                    <a:lnTo>
                      <a:pt x="694" y="343"/>
                    </a:lnTo>
                    <a:lnTo>
                      <a:pt x="691" y="343"/>
                    </a:lnTo>
                    <a:lnTo>
                      <a:pt x="691" y="344"/>
                    </a:lnTo>
                    <a:lnTo>
                      <a:pt x="692" y="349"/>
                    </a:lnTo>
                    <a:lnTo>
                      <a:pt x="697" y="347"/>
                    </a:lnTo>
                    <a:lnTo>
                      <a:pt x="698" y="350"/>
                    </a:lnTo>
                    <a:lnTo>
                      <a:pt x="694" y="350"/>
                    </a:lnTo>
                    <a:lnTo>
                      <a:pt x="692" y="350"/>
                    </a:lnTo>
                    <a:lnTo>
                      <a:pt x="689" y="350"/>
                    </a:lnTo>
                    <a:lnTo>
                      <a:pt x="688" y="357"/>
                    </a:lnTo>
                    <a:lnTo>
                      <a:pt x="689" y="366"/>
                    </a:lnTo>
                    <a:lnTo>
                      <a:pt x="685" y="360"/>
                    </a:lnTo>
                    <a:lnTo>
                      <a:pt x="683" y="362"/>
                    </a:lnTo>
                    <a:lnTo>
                      <a:pt x="683" y="363"/>
                    </a:lnTo>
                    <a:lnTo>
                      <a:pt x="681" y="365"/>
                    </a:lnTo>
                    <a:lnTo>
                      <a:pt x="681" y="366"/>
                    </a:lnTo>
                    <a:lnTo>
                      <a:pt x="681" y="369"/>
                    </a:lnTo>
                    <a:lnTo>
                      <a:pt x="681" y="370"/>
                    </a:lnTo>
                    <a:lnTo>
                      <a:pt x="676" y="370"/>
                    </a:lnTo>
                    <a:lnTo>
                      <a:pt x="676" y="373"/>
                    </a:lnTo>
                    <a:lnTo>
                      <a:pt x="678" y="373"/>
                    </a:lnTo>
                    <a:lnTo>
                      <a:pt x="675" y="379"/>
                    </a:lnTo>
                    <a:lnTo>
                      <a:pt x="667" y="385"/>
                    </a:lnTo>
                    <a:lnTo>
                      <a:pt x="662" y="385"/>
                    </a:lnTo>
                    <a:lnTo>
                      <a:pt x="660" y="386"/>
                    </a:lnTo>
                    <a:lnTo>
                      <a:pt x="666" y="391"/>
                    </a:lnTo>
                    <a:lnTo>
                      <a:pt x="665" y="399"/>
                    </a:lnTo>
                    <a:lnTo>
                      <a:pt x="665" y="401"/>
                    </a:lnTo>
                    <a:lnTo>
                      <a:pt x="662" y="401"/>
                    </a:lnTo>
                    <a:lnTo>
                      <a:pt x="662" y="408"/>
                    </a:lnTo>
                    <a:lnTo>
                      <a:pt x="660" y="411"/>
                    </a:lnTo>
                    <a:lnTo>
                      <a:pt x="659" y="411"/>
                    </a:lnTo>
                    <a:lnTo>
                      <a:pt x="659" y="412"/>
                    </a:lnTo>
                    <a:lnTo>
                      <a:pt x="657" y="449"/>
                    </a:lnTo>
                    <a:lnTo>
                      <a:pt x="654" y="453"/>
                    </a:lnTo>
                    <a:lnTo>
                      <a:pt x="657" y="453"/>
                    </a:lnTo>
                    <a:lnTo>
                      <a:pt x="660" y="459"/>
                    </a:lnTo>
                    <a:lnTo>
                      <a:pt x="662" y="460"/>
                    </a:lnTo>
                    <a:lnTo>
                      <a:pt x="662" y="460"/>
                    </a:lnTo>
                    <a:lnTo>
                      <a:pt x="663" y="460"/>
                    </a:lnTo>
                    <a:lnTo>
                      <a:pt x="665" y="468"/>
                    </a:lnTo>
                    <a:lnTo>
                      <a:pt x="665" y="466"/>
                    </a:lnTo>
                    <a:lnTo>
                      <a:pt x="666" y="460"/>
                    </a:lnTo>
                    <a:lnTo>
                      <a:pt x="666" y="460"/>
                    </a:lnTo>
                    <a:lnTo>
                      <a:pt x="673" y="460"/>
                    </a:lnTo>
                    <a:lnTo>
                      <a:pt x="675" y="460"/>
                    </a:lnTo>
                    <a:lnTo>
                      <a:pt x="676" y="460"/>
                    </a:lnTo>
                    <a:lnTo>
                      <a:pt x="678" y="460"/>
                    </a:lnTo>
                    <a:lnTo>
                      <a:pt x="681" y="462"/>
                    </a:lnTo>
                    <a:lnTo>
                      <a:pt x="681" y="463"/>
                    </a:lnTo>
                    <a:lnTo>
                      <a:pt x="682" y="471"/>
                    </a:lnTo>
                    <a:lnTo>
                      <a:pt x="686" y="481"/>
                    </a:lnTo>
                    <a:lnTo>
                      <a:pt x="686" y="491"/>
                    </a:lnTo>
                    <a:lnTo>
                      <a:pt x="691" y="495"/>
                    </a:lnTo>
                    <a:lnTo>
                      <a:pt x="691" y="504"/>
                    </a:lnTo>
                    <a:lnTo>
                      <a:pt x="689" y="507"/>
                    </a:lnTo>
                    <a:lnTo>
                      <a:pt x="686" y="510"/>
                    </a:lnTo>
                    <a:lnTo>
                      <a:pt x="686" y="510"/>
                    </a:lnTo>
                    <a:lnTo>
                      <a:pt x="692" y="507"/>
                    </a:lnTo>
                    <a:lnTo>
                      <a:pt x="692" y="510"/>
                    </a:lnTo>
                    <a:lnTo>
                      <a:pt x="692" y="510"/>
                    </a:lnTo>
                    <a:lnTo>
                      <a:pt x="710" y="501"/>
                    </a:lnTo>
                    <a:lnTo>
                      <a:pt x="715" y="503"/>
                    </a:lnTo>
                    <a:lnTo>
                      <a:pt x="720" y="505"/>
                    </a:lnTo>
                    <a:lnTo>
                      <a:pt x="721" y="508"/>
                    </a:lnTo>
                    <a:lnTo>
                      <a:pt x="731" y="513"/>
                    </a:lnTo>
                    <a:lnTo>
                      <a:pt x="737" y="513"/>
                    </a:lnTo>
                    <a:lnTo>
                      <a:pt x="752" y="521"/>
                    </a:lnTo>
                    <a:lnTo>
                      <a:pt x="759" y="532"/>
                    </a:lnTo>
                    <a:lnTo>
                      <a:pt x="759" y="533"/>
                    </a:lnTo>
                    <a:lnTo>
                      <a:pt x="760" y="535"/>
                    </a:lnTo>
                    <a:lnTo>
                      <a:pt x="760" y="535"/>
                    </a:lnTo>
                    <a:lnTo>
                      <a:pt x="763" y="535"/>
                    </a:lnTo>
                    <a:lnTo>
                      <a:pt x="763" y="536"/>
                    </a:lnTo>
                    <a:lnTo>
                      <a:pt x="765" y="536"/>
                    </a:lnTo>
                    <a:lnTo>
                      <a:pt x="768" y="536"/>
                    </a:lnTo>
                    <a:lnTo>
                      <a:pt x="769" y="536"/>
                    </a:lnTo>
                    <a:lnTo>
                      <a:pt x="773" y="539"/>
                    </a:lnTo>
                    <a:lnTo>
                      <a:pt x="784" y="542"/>
                    </a:lnTo>
                    <a:lnTo>
                      <a:pt x="787" y="545"/>
                    </a:lnTo>
                    <a:lnTo>
                      <a:pt x="788" y="546"/>
                    </a:lnTo>
                    <a:lnTo>
                      <a:pt x="791" y="549"/>
                    </a:lnTo>
                    <a:lnTo>
                      <a:pt x="792" y="551"/>
                    </a:lnTo>
                    <a:lnTo>
                      <a:pt x="787" y="562"/>
                    </a:lnTo>
                    <a:lnTo>
                      <a:pt x="792" y="552"/>
                    </a:lnTo>
                    <a:lnTo>
                      <a:pt x="821" y="553"/>
                    </a:lnTo>
                    <a:lnTo>
                      <a:pt x="823" y="552"/>
                    </a:lnTo>
                    <a:lnTo>
                      <a:pt x="826" y="552"/>
                    </a:lnTo>
                    <a:lnTo>
                      <a:pt x="826" y="555"/>
                    </a:lnTo>
                    <a:lnTo>
                      <a:pt x="829" y="555"/>
                    </a:lnTo>
                    <a:lnTo>
                      <a:pt x="832" y="555"/>
                    </a:lnTo>
                    <a:lnTo>
                      <a:pt x="833" y="556"/>
                    </a:lnTo>
                    <a:lnTo>
                      <a:pt x="834" y="555"/>
                    </a:lnTo>
                    <a:lnTo>
                      <a:pt x="836" y="562"/>
                    </a:lnTo>
                    <a:lnTo>
                      <a:pt x="833" y="580"/>
                    </a:lnTo>
                    <a:lnTo>
                      <a:pt x="836" y="585"/>
                    </a:lnTo>
                    <a:lnTo>
                      <a:pt x="837" y="600"/>
                    </a:lnTo>
                    <a:lnTo>
                      <a:pt x="836" y="603"/>
                    </a:lnTo>
                    <a:lnTo>
                      <a:pt x="834" y="607"/>
                    </a:lnTo>
                    <a:lnTo>
                      <a:pt x="836" y="610"/>
                    </a:lnTo>
                    <a:lnTo>
                      <a:pt x="837" y="610"/>
                    </a:lnTo>
                    <a:lnTo>
                      <a:pt x="837" y="612"/>
                    </a:lnTo>
                    <a:lnTo>
                      <a:pt x="840" y="614"/>
                    </a:lnTo>
                    <a:lnTo>
                      <a:pt x="842" y="616"/>
                    </a:lnTo>
                    <a:lnTo>
                      <a:pt x="845" y="617"/>
                    </a:lnTo>
                    <a:lnTo>
                      <a:pt x="848" y="623"/>
                    </a:lnTo>
                    <a:lnTo>
                      <a:pt x="848" y="625"/>
                    </a:lnTo>
                    <a:lnTo>
                      <a:pt x="845" y="625"/>
                    </a:lnTo>
                    <a:lnTo>
                      <a:pt x="837" y="629"/>
                    </a:lnTo>
                    <a:lnTo>
                      <a:pt x="837" y="629"/>
                    </a:lnTo>
                    <a:lnTo>
                      <a:pt x="846" y="628"/>
                    </a:lnTo>
                    <a:lnTo>
                      <a:pt x="849" y="628"/>
                    </a:lnTo>
                    <a:lnTo>
                      <a:pt x="858" y="636"/>
                    </a:lnTo>
                    <a:lnTo>
                      <a:pt x="861" y="644"/>
                    </a:lnTo>
                    <a:lnTo>
                      <a:pt x="859" y="645"/>
                    </a:lnTo>
                    <a:lnTo>
                      <a:pt x="853" y="652"/>
                    </a:lnTo>
                    <a:lnTo>
                      <a:pt x="861" y="646"/>
                    </a:lnTo>
                    <a:lnTo>
                      <a:pt x="862" y="646"/>
                    </a:lnTo>
                    <a:lnTo>
                      <a:pt x="866" y="649"/>
                    </a:lnTo>
                    <a:lnTo>
                      <a:pt x="868" y="649"/>
                    </a:lnTo>
                    <a:lnTo>
                      <a:pt x="872" y="652"/>
                    </a:lnTo>
                    <a:lnTo>
                      <a:pt x="872" y="651"/>
                    </a:lnTo>
                    <a:lnTo>
                      <a:pt x="872" y="644"/>
                    </a:lnTo>
                    <a:lnTo>
                      <a:pt x="872" y="642"/>
                    </a:lnTo>
                    <a:lnTo>
                      <a:pt x="875" y="642"/>
                    </a:lnTo>
                    <a:lnTo>
                      <a:pt x="875" y="639"/>
                    </a:lnTo>
                    <a:lnTo>
                      <a:pt x="877" y="639"/>
                    </a:lnTo>
                    <a:lnTo>
                      <a:pt x="878" y="639"/>
                    </a:lnTo>
                    <a:lnTo>
                      <a:pt x="878" y="641"/>
                    </a:lnTo>
                    <a:lnTo>
                      <a:pt x="882" y="642"/>
                    </a:lnTo>
                    <a:lnTo>
                      <a:pt x="882" y="648"/>
                    </a:lnTo>
                    <a:lnTo>
                      <a:pt x="884" y="646"/>
                    </a:lnTo>
                    <a:lnTo>
                      <a:pt x="887" y="646"/>
                    </a:lnTo>
                    <a:lnTo>
                      <a:pt x="887" y="644"/>
                    </a:lnTo>
                    <a:lnTo>
                      <a:pt x="887" y="644"/>
                    </a:lnTo>
                    <a:lnTo>
                      <a:pt x="887" y="641"/>
                    </a:lnTo>
                    <a:lnTo>
                      <a:pt x="885" y="641"/>
                    </a:lnTo>
                    <a:lnTo>
                      <a:pt x="882" y="636"/>
                    </a:lnTo>
                    <a:lnTo>
                      <a:pt x="882" y="635"/>
                    </a:lnTo>
                    <a:lnTo>
                      <a:pt x="885" y="633"/>
                    </a:lnTo>
                    <a:lnTo>
                      <a:pt x="885" y="632"/>
                    </a:lnTo>
                    <a:lnTo>
                      <a:pt x="887" y="630"/>
                    </a:lnTo>
                    <a:lnTo>
                      <a:pt x="890" y="626"/>
                    </a:lnTo>
                    <a:lnTo>
                      <a:pt x="891" y="626"/>
                    </a:lnTo>
                    <a:lnTo>
                      <a:pt x="895" y="626"/>
                    </a:lnTo>
                    <a:lnTo>
                      <a:pt x="897" y="625"/>
                    </a:lnTo>
                    <a:lnTo>
                      <a:pt x="897" y="625"/>
                    </a:lnTo>
                    <a:lnTo>
                      <a:pt x="894" y="625"/>
                    </a:lnTo>
                    <a:lnTo>
                      <a:pt x="891" y="625"/>
                    </a:lnTo>
                    <a:lnTo>
                      <a:pt x="890" y="623"/>
                    </a:lnTo>
                    <a:lnTo>
                      <a:pt x="888" y="619"/>
                    </a:lnTo>
                    <a:lnTo>
                      <a:pt x="887" y="619"/>
                    </a:lnTo>
                    <a:lnTo>
                      <a:pt x="885" y="614"/>
                    </a:lnTo>
                    <a:lnTo>
                      <a:pt x="885" y="613"/>
                    </a:lnTo>
                    <a:lnTo>
                      <a:pt x="887" y="612"/>
                    </a:lnTo>
                    <a:lnTo>
                      <a:pt x="885" y="610"/>
                    </a:lnTo>
                    <a:lnTo>
                      <a:pt x="884" y="587"/>
                    </a:lnTo>
                    <a:lnTo>
                      <a:pt x="875" y="571"/>
                    </a:lnTo>
                    <a:lnTo>
                      <a:pt x="872" y="569"/>
                    </a:lnTo>
                    <a:lnTo>
                      <a:pt x="906" y="546"/>
                    </a:lnTo>
                    <a:lnTo>
                      <a:pt x="901" y="549"/>
                    </a:lnTo>
                    <a:lnTo>
                      <a:pt x="914" y="529"/>
                    </a:lnTo>
                    <a:lnTo>
                      <a:pt x="917" y="529"/>
                    </a:lnTo>
                    <a:lnTo>
                      <a:pt x="919" y="530"/>
                    </a:lnTo>
                    <a:lnTo>
                      <a:pt x="922" y="530"/>
                    </a:lnTo>
                    <a:lnTo>
                      <a:pt x="922" y="527"/>
                    </a:lnTo>
                    <a:lnTo>
                      <a:pt x="920" y="527"/>
                    </a:lnTo>
                    <a:lnTo>
                      <a:pt x="919" y="521"/>
                    </a:lnTo>
                    <a:lnTo>
                      <a:pt x="919" y="519"/>
                    </a:lnTo>
                    <a:lnTo>
                      <a:pt x="916" y="527"/>
                    </a:lnTo>
                    <a:lnTo>
                      <a:pt x="914" y="526"/>
                    </a:lnTo>
                    <a:lnTo>
                      <a:pt x="913" y="508"/>
                    </a:lnTo>
                    <a:lnTo>
                      <a:pt x="911" y="507"/>
                    </a:lnTo>
                    <a:lnTo>
                      <a:pt x="903" y="474"/>
                    </a:lnTo>
                    <a:lnTo>
                      <a:pt x="901" y="474"/>
                    </a:lnTo>
                    <a:lnTo>
                      <a:pt x="885" y="462"/>
                    </a:lnTo>
                    <a:lnTo>
                      <a:pt x="885" y="459"/>
                    </a:lnTo>
                    <a:lnTo>
                      <a:pt x="885" y="459"/>
                    </a:lnTo>
                    <a:lnTo>
                      <a:pt x="885" y="455"/>
                    </a:lnTo>
                    <a:lnTo>
                      <a:pt x="885" y="452"/>
                    </a:lnTo>
                    <a:lnTo>
                      <a:pt x="887" y="452"/>
                    </a:lnTo>
                    <a:lnTo>
                      <a:pt x="891" y="449"/>
                    </a:lnTo>
                    <a:lnTo>
                      <a:pt x="895" y="449"/>
                    </a:lnTo>
                    <a:lnTo>
                      <a:pt x="897" y="447"/>
                    </a:lnTo>
                    <a:lnTo>
                      <a:pt x="900" y="447"/>
                    </a:lnTo>
                    <a:lnTo>
                      <a:pt x="900" y="443"/>
                    </a:lnTo>
                    <a:lnTo>
                      <a:pt x="898" y="443"/>
                    </a:lnTo>
                    <a:lnTo>
                      <a:pt x="898" y="440"/>
                    </a:lnTo>
                    <a:lnTo>
                      <a:pt x="900" y="437"/>
                    </a:lnTo>
                    <a:lnTo>
                      <a:pt x="904" y="437"/>
                    </a:lnTo>
                    <a:lnTo>
                      <a:pt x="904" y="439"/>
                    </a:lnTo>
                    <a:lnTo>
                      <a:pt x="910" y="437"/>
                    </a:lnTo>
                    <a:lnTo>
                      <a:pt x="906" y="436"/>
                    </a:lnTo>
                    <a:lnTo>
                      <a:pt x="904" y="434"/>
                    </a:lnTo>
                    <a:lnTo>
                      <a:pt x="906" y="430"/>
                    </a:lnTo>
                    <a:lnTo>
                      <a:pt x="907" y="430"/>
                    </a:lnTo>
                    <a:lnTo>
                      <a:pt x="909" y="427"/>
                    </a:lnTo>
                    <a:lnTo>
                      <a:pt x="907" y="427"/>
                    </a:lnTo>
                    <a:lnTo>
                      <a:pt x="900" y="427"/>
                    </a:lnTo>
                    <a:lnTo>
                      <a:pt x="900" y="424"/>
                    </a:lnTo>
                    <a:lnTo>
                      <a:pt x="901" y="426"/>
                    </a:lnTo>
                    <a:lnTo>
                      <a:pt x="903" y="424"/>
                    </a:lnTo>
                    <a:lnTo>
                      <a:pt x="904" y="421"/>
                    </a:lnTo>
                    <a:lnTo>
                      <a:pt x="903" y="420"/>
                    </a:lnTo>
                    <a:lnTo>
                      <a:pt x="901" y="420"/>
                    </a:lnTo>
                    <a:lnTo>
                      <a:pt x="900" y="414"/>
                    </a:lnTo>
                    <a:lnTo>
                      <a:pt x="901" y="410"/>
                    </a:lnTo>
                    <a:lnTo>
                      <a:pt x="900" y="408"/>
                    </a:lnTo>
                    <a:lnTo>
                      <a:pt x="898" y="407"/>
                    </a:lnTo>
                    <a:lnTo>
                      <a:pt x="904" y="405"/>
                    </a:lnTo>
                    <a:lnTo>
                      <a:pt x="904" y="405"/>
                    </a:lnTo>
                    <a:lnTo>
                      <a:pt x="901" y="405"/>
                    </a:lnTo>
                    <a:lnTo>
                      <a:pt x="900" y="404"/>
                    </a:lnTo>
                    <a:lnTo>
                      <a:pt x="898" y="405"/>
                    </a:lnTo>
                    <a:lnTo>
                      <a:pt x="895" y="405"/>
                    </a:lnTo>
                    <a:lnTo>
                      <a:pt x="894" y="402"/>
                    </a:lnTo>
                    <a:lnTo>
                      <a:pt x="894" y="399"/>
                    </a:lnTo>
                    <a:lnTo>
                      <a:pt x="897" y="395"/>
                    </a:lnTo>
                    <a:lnTo>
                      <a:pt x="898" y="391"/>
                    </a:lnTo>
                    <a:lnTo>
                      <a:pt x="900" y="389"/>
                    </a:lnTo>
                    <a:lnTo>
                      <a:pt x="900" y="386"/>
                    </a:lnTo>
                    <a:lnTo>
                      <a:pt x="900" y="385"/>
                    </a:lnTo>
                    <a:lnTo>
                      <a:pt x="901" y="383"/>
                    </a:lnTo>
                    <a:lnTo>
                      <a:pt x="901" y="381"/>
                    </a:lnTo>
                    <a:lnTo>
                      <a:pt x="904" y="381"/>
                    </a:lnTo>
                    <a:lnTo>
                      <a:pt x="904" y="375"/>
                    </a:lnTo>
                    <a:lnTo>
                      <a:pt x="903" y="378"/>
                    </a:lnTo>
                    <a:lnTo>
                      <a:pt x="901" y="378"/>
                    </a:lnTo>
                    <a:lnTo>
                      <a:pt x="900" y="376"/>
                    </a:lnTo>
                    <a:lnTo>
                      <a:pt x="897" y="376"/>
                    </a:lnTo>
                    <a:lnTo>
                      <a:pt x="895" y="373"/>
                    </a:lnTo>
                    <a:lnTo>
                      <a:pt x="894" y="370"/>
                    </a:lnTo>
                    <a:lnTo>
                      <a:pt x="893" y="367"/>
                    </a:lnTo>
                    <a:lnTo>
                      <a:pt x="893" y="362"/>
                    </a:lnTo>
                    <a:lnTo>
                      <a:pt x="894" y="360"/>
                    </a:lnTo>
                    <a:lnTo>
                      <a:pt x="897" y="357"/>
                    </a:lnTo>
                    <a:lnTo>
                      <a:pt x="901" y="350"/>
                    </a:lnTo>
                    <a:lnTo>
                      <a:pt x="903" y="350"/>
                    </a:lnTo>
                    <a:lnTo>
                      <a:pt x="903" y="351"/>
                    </a:lnTo>
                    <a:lnTo>
                      <a:pt x="913" y="351"/>
                    </a:lnTo>
                    <a:lnTo>
                      <a:pt x="920" y="353"/>
                    </a:lnTo>
                    <a:lnTo>
                      <a:pt x="922" y="354"/>
                    </a:lnTo>
                    <a:lnTo>
                      <a:pt x="922" y="356"/>
                    </a:lnTo>
                    <a:lnTo>
                      <a:pt x="924" y="356"/>
                    </a:lnTo>
                    <a:lnTo>
                      <a:pt x="929" y="357"/>
                    </a:lnTo>
                    <a:lnTo>
                      <a:pt x="930" y="357"/>
                    </a:lnTo>
                    <a:lnTo>
                      <a:pt x="930" y="360"/>
                    </a:lnTo>
                    <a:lnTo>
                      <a:pt x="930" y="360"/>
                    </a:lnTo>
                    <a:lnTo>
                      <a:pt x="933" y="359"/>
                    </a:lnTo>
                    <a:lnTo>
                      <a:pt x="938" y="359"/>
                    </a:lnTo>
                    <a:lnTo>
                      <a:pt x="938" y="360"/>
                    </a:lnTo>
                    <a:lnTo>
                      <a:pt x="938" y="362"/>
                    </a:lnTo>
                    <a:lnTo>
                      <a:pt x="942" y="362"/>
                    </a:lnTo>
                    <a:lnTo>
                      <a:pt x="942" y="360"/>
                    </a:lnTo>
                    <a:lnTo>
                      <a:pt x="943" y="359"/>
                    </a:lnTo>
                    <a:lnTo>
                      <a:pt x="952" y="356"/>
                    </a:lnTo>
                    <a:lnTo>
                      <a:pt x="955" y="353"/>
                    </a:lnTo>
                    <a:lnTo>
                      <a:pt x="964" y="357"/>
                    </a:lnTo>
                    <a:lnTo>
                      <a:pt x="967" y="360"/>
                    </a:lnTo>
                    <a:lnTo>
                      <a:pt x="969" y="363"/>
                    </a:lnTo>
                    <a:lnTo>
                      <a:pt x="972" y="363"/>
                    </a:lnTo>
                    <a:lnTo>
                      <a:pt x="974" y="365"/>
                    </a:lnTo>
                    <a:lnTo>
                      <a:pt x="974" y="366"/>
                    </a:lnTo>
                    <a:lnTo>
                      <a:pt x="971" y="373"/>
                    </a:lnTo>
                    <a:lnTo>
                      <a:pt x="971" y="372"/>
                    </a:lnTo>
                    <a:lnTo>
                      <a:pt x="972" y="373"/>
                    </a:lnTo>
                    <a:lnTo>
                      <a:pt x="974" y="372"/>
                    </a:lnTo>
                    <a:lnTo>
                      <a:pt x="974" y="369"/>
                    </a:lnTo>
                    <a:lnTo>
                      <a:pt x="975" y="369"/>
                    </a:lnTo>
                    <a:lnTo>
                      <a:pt x="978" y="370"/>
                    </a:lnTo>
                    <a:lnTo>
                      <a:pt x="978" y="373"/>
                    </a:lnTo>
                    <a:lnTo>
                      <a:pt x="980" y="376"/>
                    </a:lnTo>
                    <a:lnTo>
                      <a:pt x="980" y="378"/>
                    </a:lnTo>
                    <a:lnTo>
                      <a:pt x="978" y="379"/>
                    </a:lnTo>
                    <a:lnTo>
                      <a:pt x="978" y="381"/>
                    </a:lnTo>
                    <a:lnTo>
                      <a:pt x="981" y="381"/>
                    </a:lnTo>
                    <a:lnTo>
                      <a:pt x="983" y="378"/>
                    </a:lnTo>
                    <a:lnTo>
                      <a:pt x="984" y="378"/>
                    </a:lnTo>
                    <a:lnTo>
                      <a:pt x="985" y="378"/>
                    </a:lnTo>
                    <a:lnTo>
                      <a:pt x="988" y="379"/>
                    </a:lnTo>
                    <a:lnTo>
                      <a:pt x="987" y="382"/>
                    </a:lnTo>
                    <a:lnTo>
                      <a:pt x="985" y="382"/>
                    </a:lnTo>
                    <a:lnTo>
                      <a:pt x="984" y="383"/>
                    </a:lnTo>
                    <a:lnTo>
                      <a:pt x="984" y="386"/>
                    </a:lnTo>
                    <a:lnTo>
                      <a:pt x="985" y="389"/>
                    </a:lnTo>
                    <a:lnTo>
                      <a:pt x="988" y="391"/>
                    </a:lnTo>
                    <a:lnTo>
                      <a:pt x="987" y="392"/>
                    </a:lnTo>
                    <a:lnTo>
                      <a:pt x="987" y="394"/>
                    </a:lnTo>
                    <a:lnTo>
                      <a:pt x="993" y="392"/>
                    </a:lnTo>
                    <a:lnTo>
                      <a:pt x="994" y="392"/>
                    </a:lnTo>
                    <a:lnTo>
                      <a:pt x="996" y="395"/>
                    </a:lnTo>
                    <a:lnTo>
                      <a:pt x="997" y="398"/>
                    </a:lnTo>
                    <a:lnTo>
                      <a:pt x="999" y="395"/>
                    </a:lnTo>
                    <a:lnTo>
                      <a:pt x="1003" y="397"/>
                    </a:lnTo>
                    <a:lnTo>
                      <a:pt x="1006" y="395"/>
                    </a:lnTo>
                    <a:lnTo>
                      <a:pt x="1007" y="397"/>
                    </a:lnTo>
                    <a:lnTo>
                      <a:pt x="1007" y="398"/>
                    </a:lnTo>
                    <a:lnTo>
                      <a:pt x="1007" y="401"/>
                    </a:lnTo>
                    <a:lnTo>
                      <a:pt x="1009" y="401"/>
                    </a:lnTo>
                    <a:lnTo>
                      <a:pt x="1015" y="398"/>
                    </a:lnTo>
                    <a:lnTo>
                      <a:pt x="1013" y="397"/>
                    </a:lnTo>
                    <a:lnTo>
                      <a:pt x="1016" y="395"/>
                    </a:lnTo>
                    <a:lnTo>
                      <a:pt x="1019" y="399"/>
                    </a:lnTo>
                    <a:lnTo>
                      <a:pt x="1019" y="401"/>
                    </a:lnTo>
                    <a:lnTo>
                      <a:pt x="1019" y="402"/>
                    </a:lnTo>
                    <a:lnTo>
                      <a:pt x="1015" y="407"/>
                    </a:lnTo>
                    <a:lnTo>
                      <a:pt x="1015" y="411"/>
                    </a:lnTo>
                    <a:lnTo>
                      <a:pt x="1015" y="414"/>
                    </a:lnTo>
                    <a:lnTo>
                      <a:pt x="1015" y="415"/>
                    </a:lnTo>
                    <a:lnTo>
                      <a:pt x="1016" y="415"/>
                    </a:lnTo>
                    <a:lnTo>
                      <a:pt x="1016" y="420"/>
                    </a:lnTo>
                    <a:lnTo>
                      <a:pt x="1019" y="424"/>
                    </a:lnTo>
                    <a:lnTo>
                      <a:pt x="1015" y="424"/>
                    </a:lnTo>
                    <a:lnTo>
                      <a:pt x="1015" y="426"/>
                    </a:lnTo>
                    <a:lnTo>
                      <a:pt x="1015" y="426"/>
                    </a:lnTo>
                    <a:lnTo>
                      <a:pt x="1000" y="426"/>
                    </a:lnTo>
                    <a:lnTo>
                      <a:pt x="997" y="424"/>
                    </a:lnTo>
                    <a:lnTo>
                      <a:pt x="994" y="424"/>
                    </a:lnTo>
                    <a:lnTo>
                      <a:pt x="993" y="424"/>
                    </a:lnTo>
                    <a:lnTo>
                      <a:pt x="997" y="426"/>
                    </a:lnTo>
                    <a:lnTo>
                      <a:pt x="1003" y="428"/>
                    </a:lnTo>
                    <a:lnTo>
                      <a:pt x="1012" y="428"/>
                    </a:lnTo>
                    <a:lnTo>
                      <a:pt x="1015" y="428"/>
                    </a:lnTo>
                    <a:lnTo>
                      <a:pt x="1019" y="431"/>
                    </a:lnTo>
                    <a:lnTo>
                      <a:pt x="1019" y="434"/>
                    </a:lnTo>
                    <a:lnTo>
                      <a:pt x="1019" y="436"/>
                    </a:lnTo>
                    <a:lnTo>
                      <a:pt x="1019" y="437"/>
                    </a:lnTo>
                    <a:lnTo>
                      <a:pt x="1015" y="444"/>
                    </a:lnTo>
                    <a:lnTo>
                      <a:pt x="1016" y="446"/>
                    </a:lnTo>
                    <a:lnTo>
                      <a:pt x="1020" y="444"/>
                    </a:lnTo>
                    <a:lnTo>
                      <a:pt x="1022" y="446"/>
                    </a:lnTo>
                    <a:lnTo>
                      <a:pt x="1020" y="447"/>
                    </a:lnTo>
                    <a:lnTo>
                      <a:pt x="1017" y="449"/>
                    </a:lnTo>
                    <a:lnTo>
                      <a:pt x="1019" y="450"/>
                    </a:lnTo>
                    <a:lnTo>
                      <a:pt x="1020" y="450"/>
                    </a:lnTo>
                    <a:lnTo>
                      <a:pt x="1022" y="452"/>
                    </a:lnTo>
                    <a:lnTo>
                      <a:pt x="1022" y="453"/>
                    </a:lnTo>
                    <a:lnTo>
                      <a:pt x="1022" y="455"/>
                    </a:lnTo>
                    <a:lnTo>
                      <a:pt x="1020" y="455"/>
                    </a:lnTo>
                    <a:lnTo>
                      <a:pt x="1020" y="453"/>
                    </a:lnTo>
                    <a:lnTo>
                      <a:pt x="1015" y="458"/>
                    </a:lnTo>
                    <a:lnTo>
                      <a:pt x="1015" y="456"/>
                    </a:lnTo>
                    <a:lnTo>
                      <a:pt x="1013" y="455"/>
                    </a:lnTo>
                    <a:lnTo>
                      <a:pt x="1010" y="455"/>
                    </a:lnTo>
                    <a:lnTo>
                      <a:pt x="1012" y="458"/>
                    </a:lnTo>
                    <a:lnTo>
                      <a:pt x="1012" y="459"/>
                    </a:lnTo>
                    <a:lnTo>
                      <a:pt x="1006" y="460"/>
                    </a:lnTo>
                    <a:lnTo>
                      <a:pt x="1007" y="462"/>
                    </a:lnTo>
                    <a:lnTo>
                      <a:pt x="1012" y="462"/>
                    </a:lnTo>
                    <a:lnTo>
                      <a:pt x="1013" y="463"/>
                    </a:lnTo>
                    <a:lnTo>
                      <a:pt x="1020" y="458"/>
                    </a:lnTo>
                    <a:lnTo>
                      <a:pt x="1030" y="456"/>
                    </a:lnTo>
                    <a:lnTo>
                      <a:pt x="1032" y="458"/>
                    </a:lnTo>
                    <a:lnTo>
                      <a:pt x="1035" y="463"/>
                    </a:lnTo>
                    <a:lnTo>
                      <a:pt x="1035" y="465"/>
                    </a:lnTo>
                    <a:lnTo>
                      <a:pt x="1036" y="469"/>
                    </a:lnTo>
                    <a:lnTo>
                      <a:pt x="1035" y="476"/>
                    </a:lnTo>
                    <a:lnTo>
                      <a:pt x="1020" y="485"/>
                    </a:lnTo>
                    <a:lnTo>
                      <a:pt x="1035" y="478"/>
                    </a:lnTo>
                    <a:lnTo>
                      <a:pt x="1038" y="468"/>
                    </a:lnTo>
                    <a:lnTo>
                      <a:pt x="1041" y="465"/>
                    </a:lnTo>
                    <a:lnTo>
                      <a:pt x="1039" y="471"/>
                    </a:lnTo>
                    <a:lnTo>
                      <a:pt x="1039" y="472"/>
                    </a:lnTo>
                    <a:lnTo>
                      <a:pt x="1042" y="469"/>
                    </a:lnTo>
                    <a:lnTo>
                      <a:pt x="1042" y="472"/>
                    </a:lnTo>
                    <a:lnTo>
                      <a:pt x="1042" y="474"/>
                    </a:lnTo>
                    <a:lnTo>
                      <a:pt x="1042" y="478"/>
                    </a:lnTo>
                    <a:lnTo>
                      <a:pt x="1042" y="478"/>
                    </a:lnTo>
                    <a:lnTo>
                      <a:pt x="1045" y="474"/>
                    </a:lnTo>
                    <a:lnTo>
                      <a:pt x="1052" y="469"/>
                    </a:lnTo>
                    <a:lnTo>
                      <a:pt x="1058" y="468"/>
                    </a:lnTo>
                    <a:lnTo>
                      <a:pt x="1061" y="459"/>
                    </a:lnTo>
                    <a:lnTo>
                      <a:pt x="1064" y="460"/>
                    </a:lnTo>
                    <a:lnTo>
                      <a:pt x="1067" y="462"/>
                    </a:lnTo>
                    <a:lnTo>
                      <a:pt x="1068" y="465"/>
                    </a:lnTo>
                    <a:lnTo>
                      <a:pt x="1067" y="469"/>
                    </a:lnTo>
                    <a:lnTo>
                      <a:pt x="1070" y="462"/>
                    </a:lnTo>
                    <a:lnTo>
                      <a:pt x="1065" y="456"/>
                    </a:lnTo>
                    <a:lnTo>
                      <a:pt x="1068" y="459"/>
                    </a:lnTo>
                    <a:lnTo>
                      <a:pt x="1070" y="458"/>
                    </a:lnTo>
                    <a:lnTo>
                      <a:pt x="1071" y="456"/>
                    </a:lnTo>
                    <a:lnTo>
                      <a:pt x="1070" y="456"/>
                    </a:lnTo>
                    <a:lnTo>
                      <a:pt x="1070" y="453"/>
                    </a:lnTo>
                    <a:lnTo>
                      <a:pt x="1073" y="453"/>
                    </a:lnTo>
                    <a:lnTo>
                      <a:pt x="1073" y="450"/>
                    </a:lnTo>
                    <a:lnTo>
                      <a:pt x="1071" y="446"/>
                    </a:lnTo>
                    <a:lnTo>
                      <a:pt x="1073" y="447"/>
                    </a:lnTo>
                    <a:lnTo>
                      <a:pt x="1074" y="446"/>
                    </a:lnTo>
                    <a:lnTo>
                      <a:pt x="1077" y="444"/>
                    </a:lnTo>
                    <a:lnTo>
                      <a:pt x="1077" y="442"/>
                    </a:lnTo>
                    <a:lnTo>
                      <a:pt x="1078" y="440"/>
                    </a:lnTo>
                    <a:lnTo>
                      <a:pt x="1074" y="433"/>
                    </a:lnTo>
                    <a:lnTo>
                      <a:pt x="1078" y="424"/>
                    </a:lnTo>
                    <a:lnTo>
                      <a:pt x="1081" y="423"/>
                    </a:lnTo>
                    <a:lnTo>
                      <a:pt x="1083" y="421"/>
                    </a:lnTo>
                    <a:lnTo>
                      <a:pt x="1083" y="420"/>
                    </a:lnTo>
                    <a:lnTo>
                      <a:pt x="1084" y="417"/>
                    </a:lnTo>
                    <a:lnTo>
                      <a:pt x="1086" y="417"/>
                    </a:lnTo>
                    <a:lnTo>
                      <a:pt x="1089" y="418"/>
                    </a:lnTo>
                    <a:lnTo>
                      <a:pt x="1089" y="420"/>
                    </a:lnTo>
                    <a:lnTo>
                      <a:pt x="1089" y="421"/>
                    </a:lnTo>
                    <a:lnTo>
                      <a:pt x="1090" y="421"/>
                    </a:lnTo>
                    <a:lnTo>
                      <a:pt x="1090" y="423"/>
                    </a:lnTo>
                    <a:lnTo>
                      <a:pt x="1090" y="426"/>
                    </a:lnTo>
                    <a:lnTo>
                      <a:pt x="1090" y="428"/>
                    </a:lnTo>
                    <a:lnTo>
                      <a:pt x="1089" y="430"/>
                    </a:lnTo>
                    <a:lnTo>
                      <a:pt x="1091" y="428"/>
                    </a:lnTo>
                    <a:lnTo>
                      <a:pt x="1093" y="430"/>
                    </a:lnTo>
                    <a:lnTo>
                      <a:pt x="1093" y="436"/>
                    </a:lnTo>
                    <a:lnTo>
                      <a:pt x="1096" y="436"/>
                    </a:lnTo>
                    <a:lnTo>
                      <a:pt x="1094" y="437"/>
                    </a:lnTo>
                    <a:lnTo>
                      <a:pt x="1094" y="439"/>
                    </a:lnTo>
                    <a:lnTo>
                      <a:pt x="1097" y="439"/>
                    </a:lnTo>
                    <a:lnTo>
                      <a:pt x="1100" y="439"/>
                    </a:lnTo>
                    <a:lnTo>
                      <a:pt x="1096" y="443"/>
                    </a:lnTo>
                    <a:lnTo>
                      <a:pt x="1099" y="444"/>
                    </a:lnTo>
                    <a:lnTo>
                      <a:pt x="1100" y="446"/>
                    </a:lnTo>
                    <a:lnTo>
                      <a:pt x="1102" y="444"/>
                    </a:lnTo>
                    <a:lnTo>
                      <a:pt x="1103" y="444"/>
                    </a:lnTo>
                    <a:lnTo>
                      <a:pt x="1103" y="447"/>
                    </a:lnTo>
                    <a:lnTo>
                      <a:pt x="1105" y="446"/>
                    </a:lnTo>
                    <a:lnTo>
                      <a:pt x="1105" y="447"/>
                    </a:lnTo>
                    <a:lnTo>
                      <a:pt x="1105" y="450"/>
                    </a:lnTo>
                    <a:lnTo>
                      <a:pt x="1102" y="452"/>
                    </a:lnTo>
                    <a:lnTo>
                      <a:pt x="1097" y="452"/>
                    </a:lnTo>
                    <a:lnTo>
                      <a:pt x="1093" y="453"/>
                    </a:lnTo>
                    <a:lnTo>
                      <a:pt x="1093" y="455"/>
                    </a:lnTo>
                    <a:lnTo>
                      <a:pt x="1096" y="453"/>
                    </a:lnTo>
                    <a:lnTo>
                      <a:pt x="1097" y="453"/>
                    </a:lnTo>
                    <a:lnTo>
                      <a:pt x="1099" y="453"/>
                    </a:lnTo>
                    <a:lnTo>
                      <a:pt x="1103" y="453"/>
                    </a:lnTo>
                    <a:lnTo>
                      <a:pt x="1106" y="452"/>
                    </a:lnTo>
                    <a:lnTo>
                      <a:pt x="1107" y="452"/>
                    </a:lnTo>
                    <a:lnTo>
                      <a:pt x="1106" y="455"/>
                    </a:lnTo>
                    <a:lnTo>
                      <a:pt x="1107" y="456"/>
                    </a:lnTo>
                    <a:lnTo>
                      <a:pt x="1107" y="458"/>
                    </a:lnTo>
                    <a:lnTo>
                      <a:pt x="1107" y="459"/>
                    </a:lnTo>
                    <a:lnTo>
                      <a:pt x="1107" y="459"/>
                    </a:lnTo>
                    <a:lnTo>
                      <a:pt x="1112" y="459"/>
                    </a:lnTo>
                    <a:lnTo>
                      <a:pt x="1110" y="462"/>
                    </a:lnTo>
                    <a:lnTo>
                      <a:pt x="1110" y="463"/>
                    </a:lnTo>
                    <a:lnTo>
                      <a:pt x="1113" y="463"/>
                    </a:lnTo>
                    <a:lnTo>
                      <a:pt x="1112" y="465"/>
                    </a:lnTo>
                    <a:lnTo>
                      <a:pt x="1106" y="466"/>
                    </a:lnTo>
                    <a:lnTo>
                      <a:pt x="1105" y="466"/>
                    </a:lnTo>
                    <a:lnTo>
                      <a:pt x="1103" y="466"/>
                    </a:lnTo>
                    <a:lnTo>
                      <a:pt x="1103" y="468"/>
                    </a:lnTo>
                    <a:lnTo>
                      <a:pt x="1105" y="469"/>
                    </a:lnTo>
                    <a:lnTo>
                      <a:pt x="1116" y="468"/>
                    </a:lnTo>
                    <a:lnTo>
                      <a:pt x="1116" y="471"/>
                    </a:lnTo>
                    <a:lnTo>
                      <a:pt x="1115" y="472"/>
                    </a:lnTo>
                    <a:lnTo>
                      <a:pt x="1115" y="474"/>
                    </a:lnTo>
                    <a:lnTo>
                      <a:pt x="1116" y="474"/>
                    </a:lnTo>
                    <a:lnTo>
                      <a:pt x="1113" y="475"/>
                    </a:lnTo>
                    <a:lnTo>
                      <a:pt x="1110" y="476"/>
                    </a:lnTo>
                    <a:lnTo>
                      <a:pt x="1107" y="481"/>
                    </a:lnTo>
                    <a:lnTo>
                      <a:pt x="1110" y="481"/>
                    </a:lnTo>
                    <a:lnTo>
                      <a:pt x="1112" y="478"/>
                    </a:lnTo>
                    <a:lnTo>
                      <a:pt x="1115" y="478"/>
                    </a:lnTo>
                    <a:lnTo>
                      <a:pt x="1116" y="476"/>
                    </a:lnTo>
                    <a:lnTo>
                      <a:pt x="1119" y="481"/>
                    </a:lnTo>
                    <a:lnTo>
                      <a:pt x="1118" y="481"/>
                    </a:lnTo>
                    <a:lnTo>
                      <a:pt x="1116" y="482"/>
                    </a:lnTo>
                    <a:lnTo>
                      <a:pt x="1116" y="484"/>
                    </a:lnTo>
                    <a:lnTo>
                      <a:pt x="1119" y="482"/>
                    </a:lnTo>
                    <a:lnTo>
                      <a:pt x="1122" y="484"/>
                    </a:lnTo>
                    <a:lnTo>
                      <a:pt x="1122" y="485"/>
                    </a:lnTo>
                    <a:lnTo>
                      <a:pt x="1123" y="488"/>
                    </a:lnTo>
                    <a:lnTo>
                      <a:pt x="1126" y="490"/>
                    </a:lnTo>
                    <a:lnTo>
                      <a:pt x="1126" y="491"/>
                    </a:lnTo>
                    <a:lnTo>
                      <a:pt x="1122" y="495"/>
                    </a:lnTo>
                    <a:lnTo>
                      <a:pt x="1119" y="495"/>
                    </a:lnTo>
                    <a:lnTo>
                      <a:pt x="1119" y="497"/>
                    </a:lnTo>
                    <a:lnTo>
                      <a:pt x="1126" y="497"/>
                    </a:lnTo>
                    <a:lnTo>
                      <a:pt x="1128" y="500"/>
                    </a:lnTo>
                    <a:lnTo>
                      <a:pt x="1126" y="501"/>
                    </a:lnTo>
                    <a:lnTo>
                      <a:pt x="1132" y="504"/>
                    </a:lnTo>
                    <a:lnTo>
                      <a:pt x="1134" y="507"/>
                    </a:lnTo>
                    <a:lnTo>
                      <a:pt x="1128" y="513"/>
                    </a:lnTo>
                    <a:lnTo>
                      <a:pt x="1129" y="516"/>
                    </a:lnTo>
                    <a:lnTo>
                      <a:pt x="1126" y="516"/>
                    </a:lnTo>
                    <a:lnTo>
                      <a:pt x="1119" y="513"/>
                    </a:lnTo>
                    <a:lnTo>
                      <a:pt x="1119" y="514"/>
                    </a:lnTo>
                    <a:lnTo>
                      <a:pt x="1122" y="514"/>
                    </a:lnTo>
                    <a:lnTo>
                      <a:pt x="1122" y="516"/>
                    </a:lnTo>
                    <a:lnTo>
                      <a:pt x="1112" y="517"/>
                    </a:lnTo>
                    <a:lnTo>
                      <a:pt x="1128" y="519"/>
                    </a:lnTo>
                    <a:lnTo>
                      <a:pt x="1129" y="520"/>
                    </a:lnTo>
                    <a:lnTo>
                      <a:pt x="1126" y="520"/>
                    </a:lnTo>
                    <a:lnTo>
                      <a:pt x="1125" y="521"/>
                    </a:lnTo>
                    <a:lnTo>
                      <a:pt x="1125" y="523"/>
                    </a:lnTo>
                    <a:lnTo>
                      <a:pt x="1129" y="524"/>
                    </a:lnTo>
                    <a:lnTo>
                      <a:pt x="1129" y="526"/>
                    </a:lnTo>
                    <a:lnTo>
                      <a:pt x="1126" y="526"/>
                    </a:lnTo>
                    <a:lnTo>
                      <a:pt x="1126" y="529"/>
                    </a:lnTo>
                    <a:lnTo>
                      <a:pt x="1134" y="527"/>
                    </a:lnTo>
                    <a:lnTo>
                      <a:pt x="1135" y="533"/>
                    </a:lnTo>
                    <a:lnTo>
                      <a:pt x="1136" y="535"/>
                    </a:lnTo>
                    <a:lnTo>
                      <a:pt x="1135" y="536"/>
                    </a:lnTo>
                    <a:lnTo>
                      <a:pt x="1142" y="536"/>
                    </a:lnTo>
                    <a:lnTo>
                      <a:pt x="1144" y="539"/>
                    </a:lnTo>
                    <a:lnTo>
                      <a:pt x="1145" y="540"/>
                    </a:lnTo>
                    <a:lnTo>
                      <a:pt x="1147" y="540"/>
                    </a:lnTo>
                    <a:lnTo>
                      <a:pt x="1148" y="539"/>
                    </a:lnTo>
                    <a:lnTo>
                      <a:pt x="1148" y="542"/>
                    </a:lnTo>
                    <a:lnTo>
                      <a:pt x="1148" y="545"/>
                    </a:lnTo>
                    <a:lnTo>
                      <a:pt x="1150" y="545"/>
                    </a:lnTo>
                    <a:lnTo>
                      <a:pt x="1150" y="548"/>
                    </a:lnTo>
                    <a:lnTo>
                      <a:pt x="1147" y="551"/>
                    </a:lnTo>
                    <a:lnTo>
                      <a:pt x="1147" y="552"/>
                    </a:lnTo>
                    <a:lnTo>
                      <a:pt x="1150" y="551"/>
                    </a:lnTo>
                    <a:lnTo>
                      <a:pt x="1154" y="552"/>
                    </a:lnTo>
                    <a:lnTo>
                      <a:pt x="1155" y="552"/>
                    </a:lnTo>
                    <a:lnTo>
                      <a:pt x="1158" y="551"/>
                    </a:lnTo>
                    <a:lnTo>
                      <a:pt x="1158" y="552"/>
                    </a:lnTo>
                    <a:lnTo>
                      <a:pt x="1161" y="553"/>
                    </a:lnTo>
                    <a:lnTo>
                      <a:pt x="1157" y="561"/>
                    </a:lnTo>
                    <a:lnTo>
                      <a:pt x="1163" y="555"/>
                    </a:lnTo>
                    <a:lnTo>
                      <a:pt x="1165" y="553"/>
                    </a:lnTo>
                    <a:lnTo>
                      <a:pt x="1165" y="556"/>
                    </a:lnTo>
                    <a:lnTo>
                      <a:pt x="1165" y="556"/>
                    </a:lnTo>
                    <a:lnTo>
                      <a:pt x="1167" y="555"/>
                    </a:lnTo>
                    <a:lnTo>
                      <a:pt x="1168" y="561"/>
                    </a:lnTo>
                    <a:lnTo>
                      <a:pt x="1170" y="562"/>
                    </a:lnTo>
                    <a:lnTo>
                      <a:pt x="1177" y="564"/>
                    </a:lnTo>
                    <a:lnTo>
                      <a:pt x="1179" y="564"/>
                    </a:lnTo>
                    <a:lnTo>
                      <a:pt x="1179" y="562"/>
                    </a:lnTo>
                    <a:lnTo>
                      <a:pt x="1181" y="559"/>
                    </a:lnTo>
                    <a:lnTo>
                      <a:pt x="1183" y="562"/>
                    </a:lnTo>
                    <a:lnTo>
                      <a:pt x="1183" y="564"/>
                    </a:lnTo>
                    <a:lnTo>
                      <a:pt x="1186" y="565"/>
                    </a:lnTo>
                    <a:lnTo>
                      <a:pt x="1187" y="567"/>
                    </a:lnTo>
                    <a:lnTo>
                      <a:pt x="1189" y="567"/>
                    </a:lnTo>
                    <a:lnTo>
                      <a:pt x="1190" y="569"/>
                    </a:lnTo>
                    <a:lnTo>
                      <a:pt x="1189" y="571"/>
                    </a:lnTo>
                    <a:lnTo>
                      <a:pt x="1189" y="572"/>
                    </a:lnTo>
                    <a:lnTo>
                      <a:pt x="1189" y="572"/>
                    </a:lnTo>
                    <a:lnTo>
                      <a:pt x="1186" y="574"/>
                    </a:lnTo>
                    <a:lnTo>
                      <a:pt x="1184" y="572"/>
                    </a:lnTo>
                    <a:lnTo>
                      <a:pt x="1183" y="572"/>
                    </a:lnTo>
                    <a:lnTo>
                      <a:pt x="1179" y="575"/>
                    </a:lnTo>
                    <a:lnTo>
                      <a:pt x="1179" y="575"/>
                    </a:lnTo>
                    <a:lnTo>
                      <a:pt x="1174" y="578"/>
                    </a:lnTo>
                    <a:lnTo>
                      <a:pt x="1161" y="581"/>
                    </a:lnTo>
                    <a:lnTo>
                      <a:pt x="1160" y="583"/>
                    </a:lnTo>
                    <a:lnTo>
                      <a:pt x="1163" y="583"/>
                    </a:lnTo>
                    <a:lnTo>
                      <a:pt x="1170" y="580"/>
                    </a:lnTo>
                    <a:lnTo>
                      <a:pt x="1171" y="580"/>
                    </a:lnTo>
                    <a:lnTo>
                      <a:pt x="1158" y="585"/>
                    </a:lnTo>
                    <a:lnTo>
                      <a:pt x="1155" y="585"/>
                    </a:lnTo>
                    <a:lnTo>
                      <a:pt x="1151" y="591"/>
                    </a:lnTo>
                    <a:lnTo>
                      <a:pt x="1148" y="591"/>
                    </a:lnTo>
                    <a:lnTo>
                      <a:pt x="1145" y="588"/>
                    </a:lnTo>
                    <a:lnTo>
                      <a:pt x="1142" y="588"/>
                    </a:lnTo>
                    <a:lnTo>
                      <a:pt x="1138" y="588"/>
                    </a:lnTo>
                    <a:lnTo>
                      <a:pt x="1138" y="590"/>
                    </a:lnTo>
                    <a:lnTo>
                      <a:pt x="1147" y="593"/>
                    </a:lnTo>
                    <a:lnTo>
                      <a:pt x="1150" y="594"/>
                    </a:lnTo>
                    <a:lnTo>
                      <a:pt x="1148" y="600"/>
                    </a:lnTo>
                    <a:lnTo>
                      <a:pt x="1155" y="597"/>
                    </a:lnTo>
                    <a:lnTo>
                      <a:pt x="1157" y="594"/>
                    </a:lnTo>
                    <a:lnTo>
                      <a:pt x="1163" y="590"/>
                    </a:lnTo>
                    <a:lnTo>
                      <a:pt x="1167" y="588"/>
                    </a:lnTo>
                    <a:lnTo>
                      <a:pt x="1170" y="584"/>
                    </a:lnTo>
                    <a:lnTo>
                      <a:pt x="1173" y="583"/>
                    </a:lnTo>
                    <a:lnTo>
                      <a:pt x="1180" y="581"/>
                    </a:lnTo>
                    <a:lnTo>
                      <a:pt x="1184" y="581"/>
                    </a:lnTo>
                    <a:lnTo>
                      <a:pt x="1186" y="581"/>
                    </a:lnTo>
                    <a:lnTo>
                      <a:pt x="1180" y="580"/>
                    </a:lnTo>
                    <a:lnTo>
                      <a:pt x="1176" y="580"/>
                    </a:lnTo>
                    <a:lnTo>
                      <a:pt x="1181" y="578"/>
                    </a:lnTo>
                    <a:lnTo>
                      <a:pt x="1192" y="578"/>
                    </a:lnTo>
                    <a:lnTo>
                      <a:pt x="1193" y="580"/>
                    </a:lnTo>
                    <a:lnTo>
                      <a:pt x="1192" y="583"/>
                    </a:lnTo>
                    <a:lnTo>
                      <a:pt x="1193" y="588"/>
                    </a:lnTo>
                    <a:lnTo>
                      <a:pt x="1192" y="590"/>
                    </a:lnTo>
                    <a:lnTo>
                      <a:pt x="1192" y="597"/>
                    </a:lnTo>
                    <a:lnTo>
                      <a:pt x="1192" y="597"/>
                    </a:lnTo>
                    <a:lnTo>
                      <a:pt x="1196" y="590"/>
                    </a:lnTo>
                    <a:lnTo>
                      <a:pt x="1197" y="588"/>
                    </a:lnTo>
                    <a:lnTo>
                      <a:pt x="1200" y="588"/>
                    </a:lnTo>
                    <a:lnTo>
                      <a:pt x="1203" y="588"/>
                    </a:lnTo>
                    <a:lnTo>
                      <a:pt x="1202" y="590"/>
                    </a:lnTo>
                    <a:lnTo>
                      <a:pt x="1211" y="593"/>
                    </a:lnTo>
                    <a:lnTo>
                      <a:pt x="1212" y="594"/>
                    </a:lnTo>
                    <a:lnTo>
                      <a:pt x="1209" y="596"/>
                    </a:lnTo>
                    <a:lnTo>
                      <a:pt x="1212" y="597"/>
                    </a:lnTo>
                    <a:lnTo>
                      <a:pt x="1213" y="598"/>
                    </a:lnTo>
                    <a:lnTo>
                      <a:pt x="1213" y="600"/>
                    </a:lnTo>
                    <a:lnTo>
                      <a:pt x="1215" y="601"/>
                    </a:lnTo>
                    <a:lnTo>
                      <a:pt x="1215" y="603"/>
                    </a:lnTo>
                    <a:lnTo>
                      <a:pt x="1213" y="603"/>
                    </a:lnTo>
                    <a:lnTo>
                      <a:pt x="1212" y="604"/>
                    </a:lnTo>
                    <a:lnTo>
                      <a:pt x="1206" y="603"/>
                    </a:lnTo>
                    <a:lnTo>
                      <a:pt x="1208" y="606"/>
                    </a:lnTo>
                    <a:lnTo>
                      <a:pt x="1209" y="606"/>
                    </a:lnTo>
                    <a:lnTo>
                      <a:pt x="1212" y="606"/>
                    </a:lnTo>
                    <a:lnTo>
                      <a:pt x="1212" y="610"/>
                    </a:lnTo>
                    <a:lnTo>
                      <a:pt x="1212" y="610"/>
                    </a:lnTo>
                    <a:lnTo>
                      <a:pt x="1212" y="612"/>
                    </a:lnTo>
                    <a:lnTo>
                      <a:pt x="1213" y="616"/>
                    </a:lnTo>
                    <a:lnTo>
                      <a:pt x="1211" y="616"/>
                    </a:lnTo>
                    <a:lnTo>
                      <a:pt x="1211" y="617"/>
                    </a:lnTo>
                    <a:lnTo>
                      <a:pt x="1215" y="619"/>
                    </a:lnTo>
                    <a:lnTo>
                      <a:pt x="1216" y="622"/>
                    </a:lnTo>
                    <a:lnTo>
                      <a:pt x="1211" y="620"/>
                    </a:lnTo>
                    <a:lnTo>
                      <a:pt x="1212" y="622"/>
                    </a:lnTo>
                  </a:path>
                </a:pathLst>
              </a:custGeom>
              <a:solidFill>
                <a:srgbClr val="1375A1"/>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12" name="Freeform 6"/>
              <p:cNvSpPr>
                <a:spLocks/>
              </p:cNvSpPr>
              <p:nvPr/>
            </p:nvSpPr>
            <p:spPr bwMode="auto">
              <a:xfrm>
                <a:off x="6572792" y="2766545"/>
                <a:ext cx="8778" cy="22311"/>
              </a:xfrm>
              <a:custGeom>
                <a:avLst/>
                <a:gdLst/>
                <a:ahLst/>
                <a:cxnLst>
                  <a:cxn ang="0">
                    <a:pos x="9" y="18"/>
                  </a:cxn>
                  <a:cxn ang="0">
                    <a:pos x="9" y="16"/>
                  </a:cxn>
                  <a:cxn ang="0">
                    <a:pos x="9" y="13"/>
                  </a:cxn>
                  <a:cxn ang="0">
                    <a:pos x="9" y="10"/>
                  </a:cxn>
                  <a:cxn ang="0">
                    <a:pos x="10" y="3"/>
                  </a:cxn>
                  <a:cxn ang="0">
                    <a:pos x="10" y="3"/>
                  </a:cxn>
                  <a:cxn ang="0">
                    <a:pos x="9" y="3"/>
                  </a:cxn>
                  <a:cxn ang="0">
                    <a:pos x="8" y="2"/>
                  </a:cxn>
                  <a:cxn ang="0">
                    <a:pos x="8" y="0"/>
                  </a:cxn>
                  <a:cxn ang="0">
                    <a:pos x="6" y="0"/>
                  </a:cxn>
                  <a:cxn ang="0">
                    <a:pos x="5" y="0"/>
                  </a:cxn>
                  <a:cxn ang="0">
                    <a:pos x="3" y="0"/>
                  </a:cxn>
                  <a:cxn ang="0">
                    <a:pos x="3" y="2"/>
                  </a:cxn>
                  <a:cxn ang="0">
                    <a:pos x="3" y="3"/>
                  </a:cxn>
                  <a:cxn ang="0">
                    <a:pos x="2" y="6"/>
                  </a:cxn>
                  <a:cxn ang="0">
                    <a:pos x="2" y="9"/>
                  </a:cxn>
                  <a:cxn ang="0">
                    <a:pos x="2" y="10"/>
                  </a:cxn>
                  <a:cxn ang="0">
                    <a:pos x="2" y="12"/>
                  </a:cxn>
                  <a:cxn ang="0">
                    <a:pos x="5" y="12"/>
                  </a:cxn>
                  <a:cxn ang="0">
                    <a:pos x="5" y="12"/>
                  </a:cxn>
                  <a:cxn ang="0">
                    <a:pos x="6" y="13"/>
                  </a:cxn>
                  <a:cxn ang="0">
                    <a:pos x="5" y="13"/>
                  </a:cxn>
                  <a:cxn ang="0">
                    <a:pos x="3" y="13"/>
                  </a:cxn>
                  <a:cxn ang="0">
                    <a:pos x="3" y="15"/>
                  </a:cxn>
                  <a:cxn ang="0">
                    <a:pos x="2" y="18"/>
                  </a:cxn>
                  <a:cxn ang="0">
                    <a:pos x="0" y="18"/>
                  </a:cxn>
                  <a:cxn ang="0">
                    <a:pos x="0" y="19"/>
                  </a:cxn>
                  <a:cxn ang="0">
                    <a:pos x="2" y="21"/>
                  </a:cxn>
                  <a:cxn ang="0">
                    <a:pos x="2" y="21"/>
                  </a:cxn>
                  <a:cxn ang="0">
                    <a:pos x="5" y="19"/>
                  </a:cxn>
                  <a:cxn ang="0">
                    <a:pos x="8" y="18"/>
                  </a:cxn>
                  <a:cxn ang="0">
                    <a:pos x="9" y="18"/>
                  </a:cxn>
                </a:cxnLst>
                <a:rect l="0" t="0" r="r" b="b"/>
                <a:pathLst>
                  <a:path w="10" h="21">
                    <a:moveTo>
                      <a:pt x="9" y="18"/>
                    </a:moveTo>
                    <a:lnTo>
                      <a:pt x="9" y="16"/>
                    </a:lnTo>
                    <a:lnTo>
                      <a:pt x="9" y="13"/>
                    </a:lnTo>
                    <a:lnTo>
                      <a:pt x="9" y="10"/>
                    </a:lnTo>
                    <a:lnTo>
                      <a:pt x="10" y="3"/>
                    </a:lnTo>
                    <a:lnTo>
                      <a:pt x="10" y="3"/>
                    </a:lnTo>
                    <a:lnTo>
                      <a:pt x="9" y="3"/>
                    </a:lnTo>
                    <a:lnTo>
                      <a:pt x="8" y="2"/>
                    </a:lnTo>
                    <a:lnTo>
                      <a:pt x="8" y="0"/>
                    </a:lnTo>
                    <a:lnTo>
                      <a:pt x="6" y="0"/>
                    </a:lnTo>
                    <a:lnTo>
                      <a:pt x="5" y="0"/>
                    </a:lnTo>
                    <a:lnTo>
                      <a:pt x="3" y="0"/>
                    </a:lnTo>
                    <a:lnTo>
                      <a:pt x="3" y="2"/>
                    </a:lnTo>
                    <a:lnTo>
                      <a:pt x="3" y="3"/>
                    </a:lnTo>
                    <a:lnTo>
                      <a:pt x="2" y="6"/>
                    </a:lnTo>
                    <a:lnTo>
                      <a:pt x="2" y="9"/>
                    </a:lnTo>
                    <a:lnTo>
                      <a:pt x="2" y="10"/>
                    </a:lnTo>
                    <a:lnTo>
                      <a:pt x="2" y="12"/>
                    </a:lnTo>
                    <a:lnTo>
                      <a:pt x="5" y="12"/>
                    </a:lnTo>
                    <a:lnTo>
                      <a:pt x="5" y="12"/>
                    </a:lnTo>
                    <a:lnTo>
                      <a:pt x="6" y="13"/>
                    </a:lnTo>
                    <a:lnTo>
                      <a:pt x="5" y="13"/>
                    </a:lnTo>
                    <a:lnTo>
                      <a:pt x="3" y="13"/>
                    </a:lnTo>
                    <a:lnTo>
                      <a:pt x="3" y="15"/>
                    </a:lnTo>
                    <a:lnTo>
                      <a:pt x="2" y="18"/>
                    </a:lnTo>
                    <a:lnTo>
                      <a:pt x="0" y="18"/>
                    </a:lnTo>
                    <a:lnTo>
                      <a:pt x="0" y="19"/>
                    </a:lnTo>
                    <a:lnTo>
                      <a:pt x="2" y="21"/>
                    </a:lnTo>
                    <a:lnTo>
                      <a:pt x="2" y="21"/>
                    </a:lnTo>
                    <a:lnTo>
                      <a:pt x="5" y="19"/>
                    </a:lnTo>
                    <a:lnTo>
                      <a:pt x="8" y="18"/>
                    </a:lnTo>
                    <a:lnTo>
                      <a:pt x="9" y="18"/>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13" name="Freeform 7"/>
              <p:cNvSpPr>
                <a:spLocks/>
              </p:cNvSpPr>
              <p:nvPr/>
            </p:nvSpPr>
            <p:spPr bwMode="auto">
              <a:xfrm>
                <a:off x="6572792" y="2766545"/>
                <a:ext cx="8778" cy="22311"/>
              </a:xfrm>
              <a:custGeom>
                <a:avLst/>
                <a:gdLst/>
                <a:ahLst/>
                <a:cxnLst>
                  <a:cxn ang="0">
                    <a:pos x="9" y="18"/>
                  </a:cxn>
                  <a:cxn ang="0">
                    <a:pos x="9" y="16"/>
                  </a:cxn>
                  <a:cxn ang="0">
                    <a:pos x="9" y="13"/>
                  </a:cxn>
                  <a:cxn ang="0">
                    <a:pos x="9" y="10"/>
                  </a:cxn>
                  <a:cxn ang="0">
                    <a:pos x="10" y="3"/>
                  </a:cxn>
                  <a:cxn ang="0">
                    <a:pos x="10" y="3"/>
                  </a:cxn>
                  <a:cxn ang="0">
                    <a:pos x="9" y="3"/>
                  </a:cxn>
                  <a:cxn ang="0">
                    <a:pos x="8" y="2"/>
                  </a:cxn>
                  <a:cxn ang="0">
                    <a:pos x="8" y="0"/>
                  </a:cxn>
                  <a:cxn ang="0">
                    <a:pos x="6" y="0"/>
                  </a:cxn>
                  <a:cxn ang="0">
                    <a:pos x="5" y="0"/>
                  </a:cxn>
                  <a:cxn ang="0">
                    <a:pos x="3" y="0"/>
                  </a:cxn>
                  <a:cxn ang="0">
                    <a:pos x="3" y="2"/>
                  </a:cxn>
                  <a:cxn ang="0">
                    <a:pos x="3" y="3"/>
                  </a:cxn>
                  <a:cxn ang="0">
                    <a:pos x="2" y="6"/>
                  </a:cxn>
                  <a:cxn ang="0">
                    <a:pos x="2" y="9"/>
                  </a:cxn>
                  <a:cxn ang="0">
                    <a:pos x="2" y="10"/>
                  </a:cxn>
                  <a:cxn ang="0">
                    <a:pos x="2" y="12"/>
                  </a:cxn>
                  <a:cxn ang="0">
                    <a:pos x="5" y="12"/>
                  </a:cxn>
                  <a:cxn ang="0">
                    <a:pos x="5" y="12"/>
                  </a:cxn>
                  <a:cxn ang="0">
                    <a:pos x="6" y="13"/>
                  </a:cxn>
                  <a:cxn ang="0">
                    <a:pos x="5" y="13"/>
                  </a:cxn>
                  <a:cxn ang="0">
                    <a:pos x="3" y="13"/>
                  </a:cxn>
                  <a:cxn ang="0">
                    <a:pos x="3" y="15"/>
                  </a:cxn>
                  <a:cxn ang="0">
                    <a:pos x="2" y="18"/>
                  </a:cxn>
                  <a:cxn ang="0">
                    <a:pos x="0" y="18"/>
                  </a:cxn>
                  <a:cxn ang="0">
                    <a:pos x="0" y="19"/>
                  </a:cxn>
                  <a:cxn ang="0">
                    <a:pos x="2" y="21"/>
                  </a:cxn>
                  <a:cxn ang="0">
                    <a:pos x="2" y="21"/>
                  </a:cxn>
                  <a:cxn ang="0">
                    <a:pos x="5" y="19"/>
                  </a:cxn>
                  <a:cxn ang="0">
                    <a:pos x="8" y="18"/>
                  </a:cxn>
                  <a:cxn ang="0">
                    <a:pos x="9" y="18"/>
                  </a:cxn>
                </a:cxnLst>
                <a:rect l="0" t="0" r="r" b="b"/>
                <a:pathLst>
                  <a:path w="10" h="21">
                    <a:moveTo>
                      <a:pt x="9" y="18"/>
                    </a:moveTo>
                    <a:lnTo>
                      <a:pt x="9" y="16"/>
                    </a:lnTo>
                    <a:lnTo>
                      <a:pt x="9" y="13"/>
                    </a:lnTo>
                    <a:lnTo>
                      <a:pt x="9" y="10"/>
                    </a:lnTo>
                    <a:lnTo>
                      <a:pt x="10" y="3"/>
                    </a:lnTo>
                    <a:lnTo>
                      <a:pt x="10" y="3"/>
                    </a:lnTo>
                    <a:lnTo>
                      <a:pt x="9" y="3"/>
                    </a:lnTo>
                    <a:lnTo>
                      <a:pt x="8" y="2"/>
                    </a:lnTo>
                    <a:lnTo>
                      <a:pt x="8" y="0"/>
                    </a:lnTo>
                    <a:lnTo>
                      <a:pt x="6" y="0"/>
                    </a:lnTo>
                    <a:lnTo>
                      <a:pt x="5" y="0"/>
                    </a:lnTo>
                    <a:lnTo>
                      <a:pt x="3" y="0"/>
                    </a:lnTo>
                    <a:lnTo>
                      <a:pt x="3" y="2"/>
                    </a:lnTo>
                    <a:lnTo>
                      <a:pt x="3" y="3"/>
                    </a:lnTo>
                    <a:lnTo>
                      <a:pt x="2" y="6"/>
                    </a:lnTo>
                    <a:lnTo>
                      <a:pt x="2" y="9"/>
                    </a:lnTo>
                    <a:lnTo>
                      <a:pt x="2" y="10"/>
                    </a:lnTo>
                    <a:lnTo>
                      <a:pt x="2" y="12"/>
                    </a:lnTo>
                    <a:lnTo>
                      <a:pt x="5" y="12"/>
                    </a:lnTo>
                    <a:lnTo>
                      <a:pt x="5" y="12"/>
                    </a:lnTo>
                    <a:lnTo>
                      <a:pt x="6" y="13"/>
                    </a:lnTo>
                    <a:lnTo>
                      <a:pt x="5" y="13"/>
                    </a:lnTo>
                    <a:lnTo>
                      <a:pt x="3" y="13"/>
                    </a:lnTo>
                    <a:lnTo>
                      <a:pt x="3" y="15"/>
                    </a:lnTo>
                    <a:lnTo>
                      <a:pt x="2" y="18"/>
                    </a:lnTo>
                    <a:lnTo>
                      <a:pt x="0" y="18"/>
                    </a:lnTo>
                    <a:lnTo>
                      <a:pt x="0" y="19"/>
                    </a:lnTo>
                    <a:lnTo>
                      <a:pt x="2" y="21"/>
                    </a:lnTo>
                    <a:lnTo>
                      <a:pt x="2" y="21"/>
                    </a:lnTo>
                    <a:lnTo>
                      <a:pt x="5" y="19"/>
                    </a:lnTo>
                    <a:lnTo>
                      <a:pt x="8" y="18"/>
                    </a:lnTo>
                    <a:lnTo>
                      <a:pt x="9" y="18"/>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14" name="Freeform 8"/>
              <p:cNvSpPr>
                <a:spLocks/>
              </p:cNvSpPr>
              <p:nvPr/>
            </p:nvSpPr>
            <p:spPr bwMode="auto">
              <a:xfrm>
                <a:off x="6563136" y="2783786"/>
                <a:ext cx="3511" cy="8113"/>
              </a:xfrm>
              <a:custGeom>
                <a:avLst/>
                <a:gdLst/>
                <a:ahLst/>
                <a:cxnLst>
                  <a:cxn ang="0">
                    <a:pos x="0" y="8"/>
                  </a:cxn>
                  <a:cxn ang="0">
                    <a:pos x="2" y="6"/>
                  </a:cxn>
                  <a:cxn ang="0">
                    <a:pos x="2" y="5"/>
                  </a:cxn>
                  <a:cxn ang="0">
                    <a:pos x="4" y="2"/>
                  </a:cxn>
                  <a:cxn ang="0">
                    <a:pos x="4" y="0"/>
                  </a:cxn>
                  <a:cxn ang="0">
                    <a:pos x="0" y="5"/>
                  </a:cxn>
                  <a:cxn ang="0">
                    <a:pos x="0" y="8"/>
                  </a:cxn>
                </a:cxnLst>
                <a:rect l="0" t="0" r="r" b="b"/>
                <a:pathLst>
                  <a:path w="4" h="8">
                    <a:moveTo>
                      <a:pt x="0" y="8"/>
                    </a:moveTo>
                    <a:lnTo>
                      <a:pt x="2" y="6"/>
                    </a:lnTo>
                    <a:lnTo>
                      <a:pt x="2" y="5"/>
                    </a:lnTo>
                    <a:lnTo>
                      <a:pt x="4" y="2"/>
                    </a:lnTo>
                    <a:lnTo>
                      <a:pt x="4" y="0"/>
                    </a:lnTo>
                    <a:lnTo>
                      <a:pt x="0" y="5"/>
                    </a:lnTo>
                    <a:lnTo>
                      <a:pt x="0" y="8"/>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15" name="Freeform 9"/>
              <p:cNvSpPr>
                <a:spLocks/>
              </p:cNvSpPr>
              <p:nvPr/>
            </p:nvSpPr>
            <p:spPr bwMode="auto">
              <a:xfrm>
                <a:off x="6563136" y="2783786"/>
                <a:ext cx="3511" cy="8113"/>
              </a:xfrm>
              <a:custGeom>
                <a:avLst/>
                <a:gdLst/>
                <a:ahLst/>
                <a:cxnLst>
                  <a:cxn ang="0">
                    <a:pos x="0" y="8"/>
                  </a:cxn>
                  <a:cxn ang="0">
                    <a:pos x="2" y="6"/>
                  </a:cxn>
                  <a:cxn ang="0">
                    <a:pos x="2" y="5"/>
                  </a:cxn>
                  <a:cxn ang="0">
                    <a:pos x="4" y="2"/>
                  </a:cxn>
                  <a:cxn ang="0">
                    <a:pos x="4" y="0"/>
                  </a:cxn>
                  <a:cxn ang="0">
                    <a:pos x="0" y="5"/>
                  </a:cxn>
                  <a:cxn ang="0">
                    <a:pos x="0" y="8"/>
                  </a:cxn>
                </a:cxnLst>
                <a:rect l="0" t="0" r="r" b="b"/>
                <a:pathLst>
                  <a:path w="4" h="8">
                    <a:moveTo>
                      <a:pt x="0" y="8"/>
                    </a:moveTo>
                    <a:lnTo>
                      <a:pt x="2" y="6"/>
                    </a:lnTo>
                    <a:lnTo>
                      <a:pt x="2" y="5"/>
                    </a:lnTo>
                    <a:lnTo>
                      <a:pt x="4" y="2"/>
                    </a:lnTo>
                    <a:lnTo>
                      <a:pt x="4" y="0"/>
                    </a:lnTo>
                    <a:lnTo>
                      <a:pt x="0" y="5"/>
                    </a:lnTo>
                    <a:lnTo>
                      <a:pt x="0" y="8"/>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16" name="Freeform 10"/>
              <p:cNvSpPr>
                <a:spLocks/>
              </p:cNvSpPr>
              <p:nvPr/>
            </p:nvSpPr>
            <p:spPr bwMode="auto">
              <a:xfrm>
                <a:off x="5050686" y="3160029"/>
                <a:ext cx="3511" cy="7099"/>
              </a:xfrm>
              <a:custGeom>
                <a:avLst/>
                <a:gdLst/>
                <a:ahLst/>
                <a:cxnLst>
                  <a:cxn ang="0">
                    <a:pos x="1" y="0"/>
                  </a:cxn>
                  <a:cxn ang="0">
                    <a:pos x="1" y="0"/>
                  </a:cxn>
                  <a:cxn ang="0">
                    <a:pos x="1" y="0"/>
                  </a:cxn>
                  <a:cxn ang="0">
                    <a:pos x="0" y="3"/>
                  </a:cxn>
                  <a:cxn ang="0">
                    <a:pos x="0" y="4"/>
                  </a:cxn>
                  <a:cxn ang="0">
                    <a:pos x="1" y="6"/>
                  </a:cxn>
                  <a:cxn ang="0">
                    <a:pos x="3" y="2"/>
                  </a:cxn>
                  <a:cxn ang="0">
                    <a:pos x="1" y="0"/>
                  </a:cxn>
                </a:cxnLst>
                <a:rect l="0" t="0" r="r" b="b"/>
                <a:pathLst>
                  <a:path w="3" h="6">
                    <a:moveTo>
                      <a:pt x="1" y="0"/>
                    </a:moveTo>
                    <a:lnTo>
                      <a:pt x="1" y="0"/>
                    </a:lnTo>
                    <a:lnTo>
                      <a:pt x="1" y="0"/>
                    </a:lnTo>
                    <a:lnTo>
                      <a:pt x="0" y="3"/>
                    </a:lnTo>
                    <a:lnTo>
                      <a:pt x="0" y="4"/>
                    </a:lnTo>
                    <a:lnTo>
                      <a:pt x="1" y="6"/>
                    </a:lnTo>
                    <a:lnTo>
                      <a:pt x="3" y="2"/>
                    </a:lnTo>
                    <a:lnTo>
                      <a:pt x="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17" name="Freeform 11"/>
              <p:cNvSpPr>
                <a:spLocks/>
              </p:cNvSpPr>
              <p:nvPr/>
            </p:nvSpPr>
            <p:spPr bwMode="auto">
              <a:xfrm>
                <a:off x="5050686" y="3160029"/>
                <a:ext cx="3511" cy="7099"/>
              </a:xfrm>
              <a:custGeom>
                <a:avLst/>
                <a:gdLst/>
                <a:ahLst/>
                <a:cxnLst>
                  <a:cxn ang="0">
                    <a:pos x="1" y="0"/>
                  </a:cxn>
                  <a:cxn ang="0">
                    <a:pos x="1" y="0"/>
                  </a:cxn>
                  <a:cxn ang="0">
                    <a:pos x="1" y="0"/>
                  </a:cxn>
                  <a:cxn ang="0">
                    <a:pos x="0" y="3"/>
                  </a:cxn>
                  <a:cxn ang="0">
                    <a:pos x="0" y="4"/>
                  </a:cxn>
                  <a:cxn ang="0">
                    <a:pos x="1" y="6"/>
                  </a:cxn>
                  <a:cxn ang="0">
                    <a:pos x="3" y="2"/>
                  </a:cxn>
                  <a:cxn ang="0">
                    <a:pos x="1" y="0"/>
                  </a:cxn>
                </a:cxnLst>
                <a:rect l="0" t="0" r="r" b="b"/>
                <a:pathLst>
                  <a:path w="3" h="6">
                    <a:moveTo>
                      <a:pt x="1" y="0"/>
                    </a:moveTo>
                    <a:lnTo>
                      <a:pt x="1" y="0"/>
                    </a:lnTo>
                    <a:lnTo>
                      <a:pt x="1" y="0"/>
                    </a:lnTo>
                    <a:lnTo>
                      <a:pt x="0" y="3"/>
                    </a:lnTo>
                    <a:lnTo>
                      <a:pt x="0" y="4"/>
                    </a:lnTo>
                    <a:lnTo>
                      <a:pt x="1" y="6"/>
                    </a:lnTo>
                    <a:lnTo>
                      <a:pt x="3" y="2"/>
                    </a:lnTo>
                    <a:lnTo>
                      <a:pt x="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18" name="Freeform 12"/>
              <p:cNvSpPr>
                <a:spLocks/>
              </p:cNvSpPr>
              <p:nvPr/>
            </p:nvSpPr>
            <p:spPr bwMode="auto">
              <a:xfrm>
                <a:off x="5274525" y="2768573"/>
                <a:ext cx="878" cy="3043"/>
              </a:xfrm>
              <a:custGeom>
                <a:avLst/>
                <a:gdLst/>
                <a:ahLst/>
                <a:cxnLst>
                  <a:cxn ang="0">
                    <a:pos x="1" y="1"/>
                  </a:cxn>
                  <a:cxn ang="0">
                    <a:pos x="1" y="0"/>
                  </a:cxn>
                  <a:cxn ang="0">
                    <a:pos x="1" y="1"/>
                  </a:cxn>
                  <a:cxn ang="0">
                    <a:pos x="0" y="3"/>
                  </a:cxn>
                  <a:cxn ang="0">
                    <a:pos x="0" y="3"/>
                  </a:cxn>
                  <a:cxn ang="0">
                    <a:pos x="1" y="3"/>
                  </a:cxn>
                  <a:cxn ang="0">
                    <a:pos x="1" y="1"/>
                  </a:cxn>
                </a:cxnLst>
                <a:rect l="0" t="0" r="r" b="b"/>
                <a:pathLst>
                  <a:path w="1" h="3">
                    <a:moveTo>
                      <a:pt x="1" y="1"/>
                    </a:moveTo>
                    <a:lnTo>
                      <a:pt x="1" y="0"/>
                    </a:lnTo>
                    <a:lnTo>
                      <a:pt x="1" y="1"/>
                    </a:lnTo>
                    <a:lnTo>
                      <a:pt x="0" y="3"/>
                    </a:lnTo>
                    <a:lnTo>
                      <a:pt x="0" y="3"/>
                    </a:lnTo>
                    <a:lnTo>
                      <a:pt x="1" y="3"/>
                    </a:lnTo>
                    <a:lnTo>
                      <a:pt x="1" y="1"/>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19" name="Freeform 13"/>
              <p:cNvSpPr>
                <a:spLocks/>
              </p:cNvSpPr>
              <p:nvPr/>
            </p:nvSpPr>
            <p:spPr bwMode="auto">
              <a:xfrm>
                <a:off x="5274525" y="2768573"/>
                <a:ext cx="878" cy="3043"/>
              </a:xfrm>
              <a:custGeom>
                <a:avLst/>
                <a:gdLst/>
                <a:ahLst/>
                <a:cxnLst>
                  <a:cxn ang="0">
                    <a:pos x="1" y="1"/>
                  </a:cxn>
                  <a:cxn ang="0">
                    <a:pos x="1" y="0"/>
                  </a:cxn>
                  <a:cxn ang="0">
                    <a:pos x="1" y="1"/>
                  </a:cxn>
                  <a:cxn ang="0">
                    <a:pos x="0" y="3"/>
                  </a:cxn>
                  <a:cxn ang="0">
                    <a:pos x="0" y="3"/>
                  </a:cxn>
                  <a:cxn ang="0">
                    <a:pos x="1" y="3"/>
                  </a:cxn>
                  <a:cxn ang="0">
                    <a:pos x="1" y="1"/>
                  </a:cxn>
                </a:cxnLst>
                <a:rect l="0" t="0" r="r" b="b"/>
                <a:pathLst>
                  <a:path w="1" h="3">
                    <a:moveTo>
                      <a:pt x="1" y="1"/>
                    </a:moveTo>
                    <a:lnTo>
                      <a:pt x="1" y="0"/>
                    </a:lnTo>
                    <a:lnTo>
                      <a:pt x="1" y="1"/>
                    </a:lnTo>
                    <a:lnTo>
                      <a:pt x="0" y="3"/>
                    </a:lnTo>
                    <a:lnTo>
                      <a:pt x="0" y="3"/>
                    </a:lnTo>
                    <a:lnTo>
                      <a:pt x="1" y="3"/>
                    </a:lnTo>
                    <a:lnTo>
                      <a:pt x="1" y="1"/>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20" name="Freeform 14"/>
              <p:cNvSpPr>
                <a:spLocks/>
              </p:cNvSpPr>
              <p:nvPr/>
            </p:nvSpPr>
            <p:spPr bwMode="auto">
              <a:xfrm>
                <a:off x="5098087" y="2996753"/>
                <a:ext cx="26334" cy="12170"/>
              </a:xfrm>
              <a:custGeom>
                <a:avLst/>
                <a:gdLst/>
                <a:ahLst/>
                <a:cxnLst>
                  <a:cxn ang="0">
                    <a:pos x="16" y="2"/>
                  </a:cxn>
                  <a:cxn ang="0">
                    <a:pos x="17" y="2"/>
                  </a:cxn>
                  <a:cxn ang="0">
                    <a:pos x="20" y="3"/>
                  </a:cxn>
                  <a:cxn ang="0">
                    <a:pos x="21" y="5"/>
                  </a:cxn>
                  <a:cxn ang="0">
                    <a:pos x="26" y="5"/>
                  </a:cxn>
                  <a:cxn ang="0">
                    <a:pos x="29" y="9"/>
                  </a:cxn>
                  <a:cxn ang="0">
                    <a:pos x="26" y="10"/>
                  </a:cxn>
                  <a:cxn ang="0">
                    <a:pos x="21" y="9"/>
                  </a:cxn>
                  <a:cxn ang="0">
                    <a:pos x="18" y="10"/>
                  </a:cxn>
                  <a:cxn ang="0">
                    <a:pos x="17" y="10"/>
                  </a:cxn>
                  <a:cxn ang="0">
                    <a:pos x="16" y="12"/>
                  </a:cxn>
                  <a:cxn ang="0">
                    <a:pos x="13" y="12"/>
                  </a:cxn>
                  <a:cxn ang="0">
                    <a:pos x="11" y="10"/>
                  </a:cxn>
                  <a:cxn ang="0">
                    <a:pos x="8" y="10"/>
                  </a:cxn>
                  <a:cxn ang="0">
                    <a:pos x="4" y="6"/>
                  </a:cxn>
                  <a:cxn ang="0">
                    <a:pos x="1" y="5"/>
                  </a:cxn>
                  <a:cxn ang="0">
                    <a:pos x="0" y="3"/>
                  </a:cxn>
                  <a:cxn ang="0">
                    <a:pos x="0" y="2"/>
                  </a:cxn>
                  <a:cxn ang="0">
                    <a:pos x="5" y="0"/>
                  </a:cxn>
                  <a:cxn ang="0">
                    <a:pos x="16" y="2"/>
                  </a:cxn>
                </a:cxnLst>
                <a:rect l="0" t="0" r="r" b="b"/>
                <a:pathLst>
                  <a:path w="29" h="12">
                    <a:moveTo>
                      <a:pt x="16" y="2"/>
                    </a:moveTo>
                    <a:lnTo>
                      <a:pt x="17" y="2"/>
                    </a:lnTo>
                    <a:lnTo>
                      <a:pt x="20" y="3"/>
                    </a:lnTo>
                    <a:lnTo>
                      <a:pt x="21" y="5"/>
                    </a:lnTo>
                    <a:lnTo>
                      <a:pt x="26" y="5"/>
                    </a:lnTo>
                    <a:lnTo>
                      <a:pt x="29" y="9"/>
                    </a:lnTo>
                    <a:lnTo>
                      <a:pt x="26" y="10"/>
                    </a:lnTo>
                    <a:lnTo>
                      <a:pt x="21" y="9"/>
                    </a:lnTo>
                    <a:lnTo>
                      <a:pt x="18" y="10"/>
                    </a:lnTo>
                    <a:lnTo>
                      <a:pt x="17" y="10"/>
                    </a:lnTo>
                    <a:lnTo>
                      <a:pt x="16" y="12"/>
                    </a:lnTo>
                    <a:lnTo>
                      <a:pt x="13" y="12"/>
                    </a:lnTo>
                    <a:lnTo>
                      <a:pt x="11" y="10"/>
                    </a:lnTo>
                    <a:lnTo>
                      <a:pt x="8" y="10"/>
                    </a:lnTo>
                    <a:lnTo>
                      <a:pt x="4" y="6"/>
                    </a:lnTo>
                    <a:lnTo>
                      <a:pt x="1" y="5"/>
                    </a:lnTo>
                    <a:lnTo>
                      <a:pt x="0" y="3"/>
                    </a:lnTo>
                    <a:lnTo>
                      <a:pt x="0" y="2"/>
                    </a:lnTo>
                    <a:lnTo>
                      <a:pt x="5" y="0"/>
                    </a:lnTo>
                    <a:lnTo>
                      <a:pt x="16"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21" name="Freeform 15"/>
              <p:cNvSpPr>
                <a:spLocks/>
              </p:cNvSpPr>
              <p:nvPr/>
            </p:nvSpPr>
            <p:spPr bwMode="auto">
              <a:xfrm>
                <a:off x="5098087" y="2996753"/>
                <a:ext cx="26334" cy="12170"/>
              </a:xfrm>
              <a:custGeom>
                <a:avLst/>
                <a:gdLst/>
                <a:ahLst/>
                <a:cxnLst>
                  <a:cxn ang="0">
                    <a:pos x="16" y="2"/>
                  </a:cxn>
                  <a:cxn ang="0">
                    <a:pos x="17" y="2"/>
                  </a:cxn>
                  <a:cxn ang="0">
                    <a:pos x="20" y="3"/>
                  </a:cxn>
                  <a:cxn ang="0">
                    <a:pos x="21" y="5"/>
                  </a:cxn>
                  <a:cxn ang="0">
                    <a:pos x="26" y="5"/>
                  </a:cxn>
                  <a:cxn ang="0">
                    <a:pos x="29" y="9"/>
                  </a:cxn>
                  <a:cxn ang="0">
                    <a:pos x="26" y="10"/>
                  </a:cxn>
                  <a:cxn ang="0">
                    <a:pos x="21" y="9"/>
                  </a:cxn>
                  <a:cxn ang="0">
                    <a:pos x="18" y="10"/>
                  </a:cxn>
                  <a:cxn ang="0">
                    <a:pos x="17" y="10"/>
                  </a:cxn>
                  <a:cxn ang="0">
                    <a:pos x="16" y="12"/>
                  </a:cxn>
                  <a:cxn ang="0">
                    <a:pos x="13" y="12"/>
                  </a:cxn>
                  <a:cxn ang="0">
                    <a:pos x="11" y="10"/>
                  </a:cxn>
                  <a:cxn ang="0">
                    <a:pos x="8" y="10"/>
                  </a:cxn>
                  <a:cxn ang="0">
                    <a:pos x="4" y="6"/>
                  </a:cxn>
                  <a:cxn ang="0">
                    <a:pos x="1" y="5"/>
                  </a:cxn>
                  <a:cxn ang="0">
                    <a:pos x="0" y="3"/>
                  </a:cxn>
                  <a:cxn ang="0">
                    <a:pos x="0" y="2"/>
                  </a:cxn>
                  <a:cxn ang="0">
                    <a:pos x="5" y="0"/>
                  </a:cxn>
                  <a:cxn ang="0">
                    <a:pos x="16" y="2"/>
                  </a:cxn>
                </a:cxnLst>
                <a:rect l="0" t="0" r="r" b="b"/>
                <a:pathLst>
                  <a:path w="29" h="12">
                    <a:moveTo>
                      <a:pt x="16" y="2"/>
                    </a:moveTo>
                    <a:lnTo>
                      <a:pt x="17" y="2"/>
                    </a:lnTo>
                    <a:lnTo>
                      <a:pt x="20" y="3"/>
                    </a:lnTo>
                    <a:lnTo>
                      <a:pt x="21" y="5"/>
                    </a:lnTo>
                    <a:lnTo>
                      <a:pt x="26" y="5"/>
                    </a:lnTo>
                    <a:lnTo>
                      <a:pt x="29" y="9"/>
                    </a:lnTo>
                    <a:lnTo>
                      <a:pt x="26" y="10"/>
                    </a:lnTo>
                    <a:lnTo>
                      <a:pt x="21" y="9"/>
                    </a:lnTo>
                    <a:lnTo>
                      <a:pt x="18" y="10"/>
                    </a:lnTo>
                    <a:lnTo>
                      <a:pt x="17" y="10"/>
                    </a:lnTo>
                    <a:lnTo>
                      <a:pt x="16" y="12"/>
                    </a:lnTo>
                    <a:lnTo>
                      <a:pt x="13" y="12"/>
                    </a:lnTo>
                    <a:lnTo>
                      <a:pt x="11" y="10"/>
                    </a:lnTo>
                    <a:lnTo>
                      <a:pt x="8" y="10"/>
                    </a:lnTo>
                    <a:lnTo>
                      <a:pt x="4" y="6"/>
                    </a:lnTo>
                    <a:lnTo>
                      <a:pt x="1" y="5"/>
                    </a:lnTo>
                    <a:lnTo>
                      <a:pt x="0" y="3"/>
                    </a:lnTo>
                    <a:lnTo>
                      <a:pt x="0" y="2"/>
                    </a:lnTo>
                    <a:lnTo>
                      <a:pt x="5" y="0"/>
                    </a:lnTo>
                    <a:lnTo>
                      <a:pt x="16"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22" name="Freeform 16"/>
              <p:cNvSpPr>
                <a:spLocks/>
              </p:cNvSpPr>
              <p:nvPr/>
            </p:nvSpPr>
            <p:spPr bwMode="auto">
              <a:xfrm>
                <a:off x="5148121" y="3954094"/>
                <a:ext cx="13167" cy="34480"/>
              </a:xfrm>
              <a:custGeom>
                <a:avLst/>
                <a:gdLst/>
                <a:ahLst/>
                <a:cxnLst>
                  <a:cxn ang="0">
                    <a:pos x="7" y="0"/>
                  </a:cxn>
                  <a:cxn ang="0">
                    <a:pos x="8" y="0"/>
                  </a:cxn>
                  <a:cxn ang="0">
                    <a:pos x="8" y="2"/>
                  </a:cxn>
                  <a:cxn ang="0">
                    <a:pos x="10" y="2"/>
                  </a:cxn>
                  <a:cxn ang="0">
                    <a:pos x="11" y="2"/>
                  </a:cxn>
                  <a:cxn ang="0">
                    <a:pos x="14" y="13"/>
                  </a:cxn>
                  <a:cxn ang="0">
                    <a:pos x="13" y="13"/>
                  </a:cxn>
                  <a:cxn ang="0">
                    <a:pos x="11" y="16"/>
                  </a:cxn>
                  <a:cxn ang="0">
                    <a:pos x="10" y="16"/>
                  </a:cxn>
                  <a:cxn ang="0">
                    <a:pos x="10" y="17"/>
                  </a:cxn>
                  <a:cxn ang="0">
                    <a:pos x="8" y="17"/>
                  </a:cxn>
                  <a:cxn ang="0">
                    <a:pos x="10" y="20"/>
                  </a:cxn>
                  <a:cxn ang="0">
                    <a:pos x="11" y="20"/>
                  </a:cxn>
                  <a:cxn ang="0">
                    <a:pos x="13" y="21"/>
                  </a:cxn>
                  <a:cxn ang="0">
                    <a:pos x="10" y="21"/>
                  </a:cxn>
                  <a:cxn ang="0">
                    <a:pos x="11" y="26"/>
                  </a:cxn>
                  <a:cxn ang="0">
                    <a:pos x="11" y="29"/>
                  </a:cxn>
                  <a:cxn ang="0">
                    <a:pos x="10" y="29"/>
                  </a:cxn>
                  <a:cxn ang="0">
                    <a:pos x="10" y="32"/>
                  </a:cxn>
                  <a:cxn ang="0">
                    <a:pos x="8" y="33"/>
                  </a:cxn>
                  <a:cxn ang="0">
                    <a:pos x="1" y="32"/>
                  </a:cxn>
                  <a:cxn ang="0">
                    <a:pos x="0" y="27"/>
                  </a:cxn>
                  <a:cxn ang="0">
                    <a:pos x="4" y="2"/>
                  </a:cxn>
                  <a:cxn ang="0">
                    <a:pos x="6" y="2"/>
                  </a:cxn>
                  <a:cxn ang="0">
                    <a:pos x="7" y="0"/>
                  </a:cxn>
                </a:cxnLst>
                <a:rect l="0" t="0" r="r" b="b"/>
                <a:pathLst>
                  <a:path w="14" h="33">
                    <a:moveTo>
                      <a:pt x="7" y="0"/>
                    </a:moveTo>
                    <a:lnTo>
                      <a:pt x="8" y="0"/>
                    </a:lnTo>
                    <a:lnTo>
                      <a:pt x="8" y="2"/>
                    </a:lnTo>
                    <a:lnTo>
                      <a:pt x="10" y="2"/>
                    </a:lnTo>
                    <a:lnTo>
                      <a:pt x="11" y="2"/>
                    </a:lnTo>
                    <a:lnTo>
                      <a:pt x="14" y="13"/>
                    </a:lnTo>
                    <a:lnTo>
                      <a:pt x="13" y="13"/>
                    </a:lnTo>
                    <a:lnTo>
                      <a:pt x="11" y="16"/>
                    </a:lnTo>
                    <a:lnTo>
                      <a:pt x="10" y="16"/>
                    </a:lnTo>
                    <a:lnTo>
                      <a:pt x="10" y="17"/>
                    </a:lnTo>
                    <a:lnTo>
                      <a:pt x="8" y="17"/>
                    </a:lnTo>
                    <a:lnTo>
                      <a:pt x="10" y="20"/>
                    </a:lnTo>
                    <a:lnTo>
                      <a:pt x="11" y="20"/>
                    </a:lnTo>
                    <a:lnTo>
                      <a:pt x="13" y="21"/>
                    </a:lnTo>
                    <a:lnTo>
                      <a:pt x="10" y="21"/>
                    </a:lnTo>
                    <a:lnTo>
                      <a:pt x="11" y="26"/>
                    </a:lnTo>
                    <a:lnTo>
                      <a:pt x="11" y="29"/>
                    </a:lnTo>
                    <a:lnTo>
                      <a:pt x="10" y="29"/>
                    </a:lnTo>
                    <a:lnTo>
                      <a:pt x="10" y="32"/>
                    </a:lnTo>
                    <a:lnTo>
                      <a:pt x="8" y="33"/>
                    </a:lnTo>
                    <a:lnTo>
                      <a:pt x="1" y="32"/>
                    </a:lnTo>
                    <a:lnTo>
                      <a:pt x="0" y="27"/>
                    </a:lnTo>
                    <a:lnTo>
                      <a:pt x="4" y="2"/>
                    </a:lnTo>
                    <a:lnTo>
                      <a:pt x="6" y="2"/>
                    </a:lnTo>
                    <a:lnTo>
                      <a:pt x="7"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23" name="Freeform 17"/>
              <p:cNvSpPr>
                <a:spLocks/>
              </p:cNvSpPr>
              <p:nvPr/>
            </p:nvSpPr>
            <p:spPr bwMode="auto">
              <a:xfrm>
                <a:off x="5148121" y="3954094"/>
                <a:ext cx="13167" cy="34480"/>
              </a:xfrm>
              <a:custGeom>
                <a:avLst/>
                <a:gdLst/>
                <a:ahLst/>
                <a:cxnLst>
                  <a:cxn ang="0">
                    <a:pos x="7" y="0"/>
                  </a:cxn>
                  <a:cxn ang="0">
                    <a:pos x="8" y="0"/>
                  </a:cxn>
                  <a:cxn ang="0">
                    <a:pos x="8" y="2"/>
                  </a:cxn>
                  <a:cxn ang="0">
                    <a:pos x="10" y="2"/>
                  </a:cxn>
                  <a:cxn ang="0">
                    <a:pos x="11" y="2"/>
                  </a:cxn>
                  <a:cxn ang="0">
                    <a:pos x="14" y="13"/>
                  </a:cxn>
                  <a:cxn ang="0">
                    <a:pos x="13" y="13"/>
                  </a:cxn>
                  <a:cxn ang="0">
                    <a:pos x="11" y="16"/>
                  </a:cxn>
                  <a:cxn ang="0">
                    <a:pos x="10" y="16"/>
                  </a:cxn>
                  <a:cxn ang="0">
                    <a:pos x="10" y="17"/>
                  </a:cxn>
                  <a:cxn ang="0">
                    <a:pos x="8" y="17"/>
                  </a:cxn>
                  <a:cxn ang="0">
                    <a:pos x="10" y="20"/>
                  </a:cxn>
                  <a:cxn ang="0">
                    <a:pos x="11" y="20"/>
                  </a:cxn>
                  <a:cxn ang="0">
                    <a:pos x="13" y="21"/>
                  </a:cxn>
                  <a:cxn ang="0">
                    <a:pos x="10" y="21"/>
                  </a:cxn>
                  <a:cxn ang="0">
                    <a:pos x="11" y="26"/>
                  </a:cxn>
                  <a:cxn ang="0">
                    <a:pos x="11" y="29"/>
                  </a:cxn>
                  <a:cxn ang="0">
                    <a:pos x="10" y="29"/>
                  </a:cxn>
                  <a:cxn ang="0">
                    <a:pos x="10" y="32"/>
                  </a:cxn>
                  <a:cxn ang="0">
                    <a:pos x="8" y="33"/>
                  </a:cxn>
                  <a:cxn ang="0">
                    <a:pos x="1" y="32"/>
                  </a:cxn>
                  <a:cxn ang="0">
                    <a:pos x="0" y="27"/>
                  </a:cxn>
                  <a:cxn ang="0">
                    <a:pos x="4" y="2"/>
                  </a:cxn>
                  <a:cxn ang="0">
                    <a:pos x="6" y="2"/>
                  </a:cxn>
                  <a:cxn ang="0">
                    <a:pos x="7" y="0"/>
                  </a:cxn>
                </a:cxnLst>
                <a:rect l="0" t="0" r="r" b="b"/>
                <a:pathLst>
                  <a:path w="14" h="33">
                    <a:moveTo>
                      <a:pt x="7" y="0"/>
                    </a:moveTo>
                    <a:lnTo>
                      <a:pt x="8" y="0"/>
                    </a:lnTo>
                    <a:lnTo>
                      <a:pt x="8" y="2"/>
                    </a:lnTo>
                    <a:lnTo>
                      <a:pt x="10" y="2"/>
                    </a:lnTo>
                    <a:lnTo>
                      <a:pt x="11" y="2"/>
                    </a:lnTo>
                    <a:lnTo>
                      <a:pt x="14" y="13"/>
                    </a:lnTo>
                    <a:lnTo>
                      <a:pt x="13" y="13"/>
                    </a:lnTo>
                    <a:lnTo>
                      <a:pt x="11" y="16"/>
                    </a:lnTo>
                    <a:lnTo>
                      <a:pt x="10" y="16"/>
                    </a:lnTo>
                    <a:lnTo>
                      <a:pt x="10" y="17"/>
                    </a:lnTo>
                    <a:lnTo>
                      <a:pt x="8" y="17"/>
                    </a:lnTo>
                    <a:lnTo>
                      <a:pt x="10" y="20"/>
                    </a:lnTo>
                    <a:lnTo>
                      <a:pt x="11" y="20"/>
                    </a:lnTo>
                    <a:lnTo>
                      <a:pt x="13" y="21"/>
                    </a:lnTo>
                    <a:lnTo>
                      <a:pt x="10" y="21"/>
                    </a:lnTo>
                    <a:lnTo>
                      <a:pt x="11" y="26"/>
                    </a:lnTo>
                    <a:lnTo>
                      <a:pt x="11" y="29"/>
                    </a:lnTo>
                    <a:lnTo>
                      <a:pt x="10" y="29"/>
                    </a:lnTo>
                    <a:lnTo>
                      <a:pt x="10" y="32"/>
                    </a:lnTo>
                    <a:lnTo>
                      <a:pt x="8" y="33"/>
                    </a:lnTo>
                    <a:lnTo>
                      <a:pt x="1" y="32"/>
                    </a:lnTo>
                    <a:lnTo>
                      <a:pt x="0" y="27"/>
                    </a:lnTo>
                    <a:lnTo>
                      <a:pt x="4" y="2"/>
                    </a:lnTo>
                    <a:lnTo>
                      <a:pt x="6" y="2"/>
                    </a:lnTo>
                    <a:lnTo>
                      <a:pt x="7"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24" name="Freeform 18"/>
              <p:cNvSpPr>
                <a:spLocks/>
              </p:cNvSpPr>
              <p:nvPr/>
            </p:nvSpPr>
            <p:spPr bwMode="auto">
              <a:xfrm>
                <a:off x="5161289" y="4007843"/>
                <a:ext cx="7900" cy="11156"/>
              </a:xfrm>
              <a:custGeom>
                <a:avLst/>
                <a:gdLst/>
                <a:ahLst/>
                <a:cxnLst>
                  <a:cxn ang="0">
                    <a:pos x="6" y="0"/>
                  </a:cxn>
                  <a:cxn ang="0">
                    <a:pos x="6" y="0"/>
                  </a:cxn>
                  <a:cxn ang="0">
                    <a:pos x="9" y="1"/>
                  </a:cxn>
                  <a:cxn ang="0">
                    <a:pos x="9" y="3"/>
                  </a:cxn>
                  <a:cxn ang="0">
                    <a:pos x="9" y="4"/>
                  </a:cxn>
                  <a:cxn ang="0">
                    <a:pos x="9" y="6"/>
                  </a:cxn>
                  <a:cxn ang="0">
                    <a:pos x="9" y="9"/>
                  </a:cxn>
                  <a:cxn ang="0">
                    <a:pos x="6" y="10"/>
                  </a:cxn>
                  <a:cxn ang="0">
                    <a:pos x="5" y="10"/>
                  </a:cxn>
                  <a:cxn ang="0">
                    <a:pos x="2" y="10"/>
                  </a:cxn>
                  <a:cxn ang="0">
                    <a:pos x="0" y="6"/>
                  </a:cxn>
                  <a:cxn ang="0">
                    <a:pos x="0" y="4"/>
                  </a:cxn>
                  <a:cxn ang="0">
                    <a:pos x="6" y="0"/>
                  </a:cxn>
                </a:cxnLst>
                <a:rect l="0" t="0" r="r" b="b"/>
                <a:pathLst>
                  <a:path w="9" h="10">
                    <a:moveTo>
                      <a:pt x="6" y="0"/>
                    </a:moveTo>
                    <a:lnTo>
                      <a:pt x="6" y="0"/>
                    </a:lnTo>
                    <a:lnTo>
                      <a:pt x="9" y="1"/>
                    </a:lnTo>
                    <a:lnTo>
                      <a:pt x="9" y="3"/>
                    </a:lnTo>
                    <a:lnTo>
                      <a:pt x="9" y="4"/>
                    </a:lnTo>
                    <a:lnTo>
                      <a:pt x="9" y="6"/>
                    </a:lnTo>
                    <a:lnTo>
                      <a:pt x="9" y="9"/>
                    </a:lnTo>
                    <a:lnTo>
                      <a:pt x="6" y="10"/>
                    </a:lnTo>
                    <a:lnTo>
                      <a:pt x="5" y="10"/>
                    </a:lnTo>
                    <a:lnTo>
                      <a:pt x="2" y="10"/>
                    </a:lnTo>
                    <a:lnTo>
                      <a:pt x="0" y="6"/>
                    </a:lnTo>
                    <a:lnTo>
                      <a:pt x="0" y="4"/>
                    </a:lnTo>
                    <a:lnTo>
                      <a:pt x="6"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25" name="Freeform 19"/>
              <p:cNvSpPr>
                <a:spLocks/>
              </p:cNvSpPr>
              <p:nvPr/>
            </p:nvSpPr>
            <p:spPr bwMode="auto">
              <a:xfrm>
                <a:off x="5161289" y="4007843"/>
                <a:ext cx="7900" cy="11156"/>
              </a:xfrm>
              <a:custGeom>
                <a:avLst/>
                <a:gdLst/>
                <a:ahLst/>
                <a:cxnLst>
                  <a:cxn ang="0">
                    <a:pos x="6" y="0"/>
                  </a:cxn>
                  <a:cxn ang="0">
                    <a:pos x="6" y="0"/>
                  </a:cxn>
                  <a:cxn ang="0">
                    <a:pos x="9" y="1"/>
                  </a:cxn>
                  <a:cxn ang="0">
                    <a:pos x="9" y="3"/>
                  </a:cxn>
                  <a:cxn ang="0">
                    <a:pos x="9" y="4"/>
                  </a:cxn>
                  <a:cxn ang="0">
                    <a:pos x="9" y="6"/>
                  </a:cxn>
                  <a:cxn ang="0">
                    <a:pos x="9" y="9"/>
                  </a:cxn>
                  <a:cxn ang="0">
                    <a:pos x="6" y="10"/>
                  </a:cxn>
                  <a:cxn ang="0">
                    <a:pos x="5" y="10"/>
                  </a:cxn>
                  <a:cxn ang="0">
                    <a:pos x="2" y="10"/>
                  </a:cxn>
                  <a:cxn ang="0">
                    <a:pos x="0" y="6"/>
                  </a:cxn>
                  <a:cxn ang="0">
                    <a:pos x="0" y="4"/>
                  </a:cxn>
                  <a:cxn ang="0">
                    <a:pos x="6" y="0"/>
                  </a:cxn>
                </a:cxnLst>
                <a:rect l="0" t="0" r="r" b="b"/>
                <a:pathLst>
                  <a:path w="9" h="10">
                    <a:moveTo>
                      <a:pt x="6" y="0"/>
                    </a:moveTo>
                    <a:lnTo>
                      <a:pt x="6" y="0"/>
                    </a:lnTo>
                    <a:lnTo>
                      <a:pt x="9" y="1"/>
                    </a:lnTo>
                    <a:lnTo>
                      <a:pt x="9" y="3"/>
                    </a:lnTo>
                    <a:lnTo>
                      <a:pt x="9" y="4"/>
                    </a:lnTo>
                    <a:lnTo>
                      <a:pt x="9" y="6"/>
                    </a:lnTo>
                    <a:lnTo>
                      <a:pt x="9" y="9"/>
                    </a:lnTo>
                    <a:lnTo>
                      <a:pt x="6" y="10"/>
                    </a:lnTo>
                    <a:lnTo>
                      <a:pt x="5" y="10"/>
                    </a:lnTo>
                    <a:lnTo>
                      <a:pt x="2" y="10"/>
                    </a:lnTo>
                    <a:lnTo>
                      <a:pt x="0" y="6"/>
                    </a:lnTo>
                    <a:lnTo>
                      <a:pt x="0" y="4"/>
                    </a:lnTo>
                    <a:lnTo>
                      <a:pt x="6"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26" name="Freeform 20"/>
              <p:cNvSpPr>
                <a:spLocks/>
              </p:cNvSpPr>
              <p:nvPr/>
            </p:nvSpPr>
            <p:spPr bwMode="auto">
              <a:xfrm>
                <a:off x="5149000" y="4011900"/>
                <a:ext cx="6144" cy="3043"/>
              </a:xfrm>
              <a:custGeom>
                <a:avLst/>
                <a:gdLst/>
                <a:ahLst/>
                <a:cxnLst>
                  <a:cxn ang="0">
                    <a:pos x="0" y="0"/>
                  </a:cxn>
                  <a:cxn ang="0">
                    <a:pos x="3" y="0"/>
                  </a:cxn>
                  <a:cxn ang="0">
                    <a:pos x="5" y="2"/>
                  </a:cxn>
                  <a:cxn ang="0">
                    <a:pos x="6" y="2"/>
                  </a:cxn>
                  <a:cxn ang="0">
                    <a:pos x="2" y="3"/>
                  </a:cxn>
                  <a:cxn ang="0">
                    <a:pos x="0" y="2"/>
                  </a:cxn>
                  <a:cxn ang="0">
                    <a:pos x="0" y="0"/>
                  </a:cxn>
                </a:cxnLst>
                <a:rect l="0" t="0" r="r" b="b"/>
                <a:pathLst>
                  <a:path w="6" h="3">
                    <a:moveTo>
                      <a:pt x="0" y="0"/>
                    </a:moveTo>
                    <a:lnTo>
                      <a:pt x="3" y="0"/>
                    </a:lnTo>
                    <a:lnTo>
                      <a:pt x="5" y="2"/>
                    </a:lnTo>
                    <a:lnTo>
                      <a:pt x="6" y="2"/>
                    </a:lnTo>
                    <a:lnTo>
                      <a:pt x="2" y="3"/>
                    </a:lnTo>
                    <a:lnTo>
                      <a:pt x="0" y="2"/>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27" name="Freeform 21"/>
              <p:cNvSpPr>
                <a:spLocks/>
              </p:cNvSpPr>
              <p:nvPr/>
            </p:nvSpPr>
            <p:spPr bwMode="auto">
              <a:xfrm>
                <a:off x="5149000" y="4011900"/>
                <a:ext cx="6144" cy="3043"/>
              </a:xfrm>
              <a:custGeom>
                <a:avLst/>
                <a:gdLst/>
                <a:ahLst/>
                <a:cxnLst>
                  <a:cxn ang="0">
                    <a:pos x="0" y="0"/>
                  </a:cxn>
                  <a:cxn ang="0">
                    <a:pos x="3" y="0"/>
                  </a:cxn>
                  <a:cxn ang="0">
                    <a:pos x="5" y="2"/>
                  </a:cxn>
                  <a:cxn ang="0">
                    <a:pos x="6" y="2"/>
                  </a:cxn>
                  <a:cxn ang="0">
                    <a:pos x="2" y="3"/>
                  </a:cxn>
                  <a:cxn ang="0">
                    <a:pos x="0" y="2"/>
                  </a:cxn>
                  <a:cxn ang="0">
                    <a:pos x="0" y="0"/>
                  </a:cxn>
                </a:cxnLst>
                <a:rect l="0" t="0" r="r" b="b"/>
                <a:pathLst>
                  <a:path w="6" h="3">
                    <a:moveTo>
                      <a:pt x="0" y="0"/>
                    </a:moveTo>
                    <a:lnTo>
                      <a:pt x="3" y="0"/>
                    </a:lnTo>
                    <a:lnTo>
                      <a:pt x="5" y="2"/>
                    </a:lnTo>
                    <a:lnTo>
                      <a:pt x="6" y="2"/>
                    </a:lnTo>
                    <a:lnTo>
                      <a:pt x="2" y="3"/>
                    </a:lnTo>
                    <a:lnTo>
                      <a:pt x="0" y="2"/>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28" name="Freeform 22"/>
              <p:cNvSpPr>
                <a:spLocks/>
              </p:cNvSpPr>
              <p:nvPr/>
            </p:nvSpPr>
            <p:spPr bwMode="auto">
              <a:xfrm>
                <a:off x="5149000" y="4018998"/>
                <a:ext cx="4389" cy="3042"/>
              </a:xfrm>
              <a:custGeom>
                <a:avLst/>
                <a:gdLst/>
                <a:ahLst/>
                <a:cxnLst>
                  <a:cxn ang="0">
                    <a:pos x="2" y="3"/>
                  </a:cxn>
                  <a:cxn ang="0">
                    <a:pos x="0" y="1"/>
                  </a:cxn>
                  <a:cxn ang="0">
                    <a:pos x="0" y="1"/>
                  </a:cxn>
                  <a:cxn ang="0">
                    <a:pos x="3" y="0"/>
                  </a:cxn>
                  <a:cxn ang="0">
                    <a:pos x="5" y="0"/>
                  </a:cxn>
                  <a:cxn ang="0">
                    <a:pos x="5" y="1"/>
                  </a:cxn>
                  <a:cxn ang="0">
                    <a:pos x="5" y="1"/>
                  </a:cxn>
                  <a:cxn ang="0">
                    <a:pos x="2" y="3"/>
                  </a:cxn>
                </a:cxnLst>
                <a:rect l="0" t="0" r="r" b="b"/>
                <a:pathLst>
                  <a:path w="5" h="3">
                    <a:moveTo>
                      <a:pt x="2" y="3"/>
                    </a:moveTo>
                    <a:lnTo>
                      <a:pt x="0" y="1"/>
                    </a:lnTo>
                    <a:lnTo>
                      <a:pt x="0" y="1"/>
                    </a:lnTo>
                    <a:lnTo>
                      <a:pt x="3" y="0"/>
                    </a:lnTo>
                    <a:lnTo>
                      <a:pt x="5" y="0"/>
                    </a:lnTo>
                    <a:lnTo>
                      <a:pt x="5" y="1"/>
                    </a:lnTo>
                    <a:lnTo>
                      <a:pt x="5" y="1"/>
                    </a:lnTo>
                    <a:lnTo>
                      <a:pt x="2"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29" name="Freeform 23"/>
              <p:cNvSpPr>
                <a:spLocks/>
              </p:cNvSpPr>
              <p:nvPr/>
            </p:nvSpPr>
            <p:spPr bwMode="auto">
              <a:xfrm>
                <a:off x="5149000" y="4018998"/>
                <a:ext cx="4389" cy="3042"/>
              </a:xfrm>
              <a:custGeom>
                <a:avLst/>
                <a:gdLst/>
                <a:ahLst/>
                <a:cxnLst>
                  <a:cxn ang="0">
                    <a:pos x="2" y="3"/>
                  </a:cxn>
                  <a:cxn ang="0">
                    <a:pos x="0" y="1"/>
                  </a:cxn>
                  <a:cxn ang="0">
                    <a:pos x="0" y="1"/>
                  </a:cxn>
                  <a:cxn ang="0">
                    <a:pos x="3" y="0"/>
                  </a:cxn>
                  <a:cxn ang="0">
                    <a:pos x="5" y="0"/>
                  </a:cxn>
                  <a:cxn ang="0">
                    <a:pos x="5" y="1"/>
                  </a:cxn>
                  <a:cxn ang="0">
                    <a:pos x="5" y="1"/>
                  </a:cxn>
                  <a:cxn ang="0">
                    <a:pos x="2" y="3"/>
                  </a:cxn>
                </a:cxnLst>
                <a:rect l="0" t="0" r="r" b="b"/>
                <a:pathLst>
                  <a:path w="5" h="3">
                    <a:moveTo>
                      <a:pt x="2" y="3"/>
                    </a:moveTo>
                    <a:lnTo>
                      <a:pt x="0" y="1"/>
                    </a:lnTo>
                    <a:lnTo>
                      <a:pt x="0" y="1"/>
                    </a:lnTo>
                    <a:lnTo>
                      <a:pt x="3" y="0"/>
                    </a:lnTo>
                    <a:lnTo>
                      <a:pt x="5" y="0"/>
                    </a:lnTo>
                    <a:lnTo>
                      <a:pt x="5" y="1"/>
                    </a:lnTo>
                    <a:lnTo>
                      <a:pt x="5" y="1"/>
                    </a:lnTo>
                    <a:lnTo>
                      <a:pt x="2"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30" name="Freeform 24"/>
              <p:cNvSpPr>
                <a:spLocks/>
              </p:cNvSpPr>
              <p:nvPr/>
            </p:nvSpPr>
            <p:spPr bwMode="auto">
              <a:xfrm>
                <a:off x="5150755" y="4022041"/>
                <a:ext cx="7022" cy="4056"/>
              </a:xfrm>
              <a:custGeom>
                <a:avLst/>
                <a:gdLst/>
                <a:ahLst/>
                <a:cxnLst>
                  <a:cxn ang="0">
                    <a:pos x="0" y="1"/>
                  </a:cxn>
                  <a:cxn ang="0">
                    <a:pos x="0" y="1"/>
                  </a:cxn>
                  <a:cxn ang="0">
                    <a:pos x="0" y="0"/>
                  </a:cxn>
                  <a:cxn ang="0">
                    <a:pos x="5" y="0"/>
                  </a:cxn>
                  <a:cxn ang="0">
                    <a:pos x="7" y="3"/>
                  </a:cxn>
                  <a:cxn ang="0">
                    <a:pos x="7" y="4"/>
                  </a:cxn>
                  <a:cxn ang="0">
                    <a:pos x="3" y="1"/>
                  </a:cxn>
                  <a:cxn ang="0">
                    <a:pos x="0" y="1"/>
                  </a:cxn>
                </a:cxnLst>
                <a:rect l="0" t="0" r="r" b="b"/>
                <a:pathLst>
                  <a:path w="7" h="4">
                    <a:moveTo>
                      <a:pt x="0" y="1"/>
                    </a:moveTo>
                    <a:lnTo>
                      <a:pt x="0" y="1"/>
                    </a:lnTo>
                    <a:lnTo>
                      <a:pt x="0" y="0"/>
                    </a:lnTo>
                    <a:lnTo>
                      <a:pt x="5" y="0"/>
                    </a:lnTo>
                    <a:lnTo>
                      <a:pt x="7" y="3"/>
                    </a:lnTo>
                    <a:lnTo>
                      <a:pt x="7" y="4"/>
                    </a:lnTo>
                    <a:lnTo>
                      <a:pt x="3" y="1"/>
                    </a:lnTo>
                    <a:lnTo>
                      <a:pt x="0"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31" name="Freeform 25"/>
              <p:cNvSpPr>
                <a:spLocks/>
              </p:cNvSpPr>
              <p:nvPr/>
            </p:nvSpPr>
            <p:spPr bwMode="auto">
              <a:xfrm>
                <a:off x="5150755" y="4022041"/>
                <a:ext cx="7022" cy="4056"/>
              </a:xfrm>
              <a:custGeom>
                <a:avLst/>
                <a:gdLst/>
                <a:ahLst/>
                <a:cxnLst>
                  <a:cxn ang="0">
                    <a:pos x="0" y="1"/>
                  </a:cxn>
                  <a:cxn ang="0">
                    <a:pos x="0" y="1"/>
                  </a:cxn>
                  <a:cxn ang="0">
                    <a:pos x="0" y="0"/>
                  </a:cxn>
                  <a:cxn ang="0">
                    <a:pos x="5" y="0"/>
                  </a:cxn>
                  <a:cxn ang="0">
                    <a:pos x="7" y="3"/>
                  </a:cxn>
                  <a:cxn ang="0">
                    <a:pos x="7" y="4"/>
                  </a:cxn>
                  <a:cxn ang="0">
                    <a:pos x="3" y="1"/>
                  </a:cxn>
                  <a:cxn ang="0">
                    <a:pos x="0" y="1"/>
                  </a:cxn>
                </a:cxnLst>
                <a:rect l="0" t="0" r="r" b="b"/>
                <a:pathLst>
                  <a:path w="7" h="4">
                    <a:moveTo>
                      <a:pt x="0" y="1"/>
                    </a:moveTo>
                    <a:lnTo>
                      <a:pt x="0" y="1"/>
                    </a:lnTo>
                    <a:lnTo>
                      <a:pt x="0" y="0"/>
                    </a:lnTo>
                    <a:lnTo>
                      <a:pt x="5" y="0"/>
                    </a:lnTo>
                    <a:lnTo>
                      <a:pt x="7" y="3"/>
                    </a:lnTo>
                    <a:lnTo>
                      <a:pt x="7" y="4"/>
                    </a:lnTo>
                    <a:lnTo>
                      <a:pt x="3" y="1"/>
                    </a:lnTo>
                    <a:lnTo>
                      <a:pt x="0"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32" name="Freeform 26"/>
              <p:cNvSpPr>
                <a:spLocks/>
              </p:cNvSpPr>
              <p:nvPr/>
            </p:nvSpPr>
            <p:spPr bwMode="auto">
              <a:xfrm>
                <a:off x="5151632" y="4025083"/>
                <a:ext cx="4389" cy="3042"/>
              </a:xfrm>
              <a:custGeom>
                <a:avLst/>
                <a:gdLst/>
                <a:ahLst/>
                <a:cxnLst>
                  <a:cxn ang="0">
                    <a:pos x="0" y="0"/>
                  </a:cxn>
                  <a:cxn ang="0">
                    <a:pos x="2" y="1"/>
                  </a:cxn>
                  <a:cxn ang="0">
                    <a:pos x="4" y="3"/>
                  </a:cxn>
                  <a:cxn ang="0">
                    <a:pos x="2" y="1"/>
                  </a:cxn>
                  <a:cxn ang="0">
                    <a:pos x="0" y="0"/>
                  </a:cxn>
                </a:cxnLst>
                <a:rect l="0" t="0" r="r" b="b"/>
                <a:pathLst>
                  <a:path w="4" h="3">
                    <a:moveTo>
                      <a:pt x="0" y="0"/>
                    </a:moveTo>
                    <a:lnTo>
                      <a:pt x="2" y="1"/>
                    </a:lnTo>
                    <a:lnTo>
                      <a:pt x="4" y="3"/>
                    </a:lnTo>
                    <a:lnTo>
                      <a:pt x="2" y="1"/>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33" name="Freeform 27"/>
              <p:cNvSpPr>
                <a:spLocks/>
              </p:cNvSpPr>
              <p:nvPr/>
            </p:nvSpPr>
            <p:spPr bwMode="auto">
              <a:xfrm>
                <a:off x="5151632" y="4025083"/>
                <a:ext cx="4389" cy="3042"/>
              </a:xfrm>
              <a:custGeom>
                <a:avLst/>
                <a:gdLst/>
                <a:ahLst/>
                <a:cxnLst>
                  <a:cxn ang="0">
                    <a:pos x="0" y="0"/>
                  </a:cxn>
                  <a:cxn ang="0">
                    <a:pos x="2" y="1"/>
                  </a:cxn>
                  <a:cxn ang="0">
                    <a:pos x="4" y="3"/>
                  </a:cxn>
                  <a:cxn ang="0">
                    <a:pos x="2" y="1"/>
                  </a:cxn>
                  <a:cxn ang="0">
                    <a:pos x="0" y="0"/>
                  </a:cxn>
                </a:cxnLst>
                <a:rect l="0" t="0" r="r" b="b"/>
                <a:pathLst>
                  <a:path w="4" h="3">
                    <a:moveTo>
                      <a:pt x="0" y="0"/>
                    </a:moveTo>
                    <a:lnTo>
                      <a:pt x="2" y="1"/>
                    </a:lnTo>
                    <a:lnTo>
                      <a:pt x="4" y="3"/>
                    </a:lnTo>
                    <a:lnTo>
                      <a:pt x="2" y="1"/>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34" name="Freeform 28"/>
              <p:cNvSpPr>
                <a:spLocks/>
              </p:cNvSpPr>
              <p:nvPr/>
            </p:nvSpPr>
            <p:spPr bwMode="auto">
              <a:xfrm>
                <a:off x="5155144" y="4036238"/>
                <a:ext cx="2634" cy="3043"/>
              </a:xfrm>
              <a:custGeom>
                <a:avLst/>
                <a:gdLst/>
                <a:ahLst/>
                <a:cxnLst>
                  <a:cxn ang="0">
                    <a:pos x="0" y="0"/>
                  </a:cxn>
                  <a:cxn ang="0">
                    <a:pos x="1" y="0"/>
                  </a:cxn>
                  <a:cxn ang="0">
                    <a:pos x="1" y="0"/>
                  </a:cxn>
                  <a:cxn ang="0">
                    <a:pos x="3" y="3"/>
                  </a:cxn>
                  <a:cxn ang="0">
                    <a:pos x="1" y="3"/>
                  </a:cxn>
                  <a:cxn ang="0">
                    <a:pos x="0" y="2"/>
                  </a:cxn>
                  <a:cxn ang="0">
                    <a:pos x="0" y="0"/>
                  </a:cxn>
                </a:cxnLst>
                <a:rect l="0" t="0" r="r" b="b"/>
                <a:pathLst>
                  <a:path w="3" h="3">
                    <a:moveTo>
                      <a:pt x="0" y="0"/>
                    </a:moveTo>
                    <a:lnTo>
                      <a:pt x="1" y="0"/>
                    </a:lnTo>
                    <a:lnTo>
                      <a:pt x="1" y="0"/>
                    </a:lnTo>
                    <a:lnTo>
                      <a:pt x="3" y="3"/>
                    </a:lnTo>
                    <a:lnTo>
                      <a:pt x="1" y="3"/>
                    </a:lnTo>
                    <a:lnTo>
                      <a:pt x="0" y="2"/>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35" name="Freeform 29"/>
              <p:cNvSpPr>
                <a:spLocks/>
              </p:cNvSpPr>
              <p:nvPr/>
            </p:nvSpPr>
            <p:spPr bwMode="auto">
              <a:xfrm>
                <a:off x="5155144" y="4036238"/>
                <a:ext cx="2634" cy="3043"/>
              </a:xfrm>
              <a:custGeom>
                <a:avLst/>
                <a:gdLst/>
                <a:ahLst/>
                <a:cxnLst>
                  <a:cxn ang="0">
                    <a:pos x="0" y="0"/>
                  </a:cxn>
                  <a:cxn ang="0">
                    <a:pos x="1" y="0"/>
                  </a:cxn>
                  <a:cxn ang="0">
                    <a:pos x="1" y="0"/>
                  </a:cxn>
                  <a:cxn ang="0">
                    <a:pos x="3" y="3"/>
                  </a:cxn>
                  <a:cxn ang="0">
                    <a:pos x="1" y="3"/>
                  </a:cxn>
                  <a:cxn ang="0">
                    <a:pos x="0" y="2"/>
                  </a:cxn>
                  <a:cxn ang="0">
                    <a:pos x="0" y="0"/>
                  </a:cxn>
                </a:cxnLst>
                <a:rect l="0" t="0" r="r" b="b"/>
                <a:pathLst>
                  <a:path w="3" h="3">
                    <a:moveTo>
                      <a:pt x="0" y="0"/>
                    </a:moveTo>
                    <a:lnTo>
                      <a:pt x="1" y="0"/>
                    </a:lnTo>
                    <a:lnTo>
                      <a:pt x="1" y="0"/>
                    </a:lnTo>
                    <a:lnTo>
                      <a:pt x="3" y="3"/>
                    </a:lnTo>
                    <a:lnTo>
                      <a:pt x="1" y="3"/>
                    </a:lnTo>
                    <a:lnTo>
                      <a:pt x="0" y="2"/>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36" name="Freeform 30"/>
              <p:cNvSpPr>
                <a:spLocks/>
              </p:cNvSpPr>
              <p:nvPr/>
            </p:nvSpPr>
            <p:spPr bwMode="auto">
              <a:xfrm>
                <a:off x="5145489" y="4074776"/>
                <a:ext cx="5267" cy="4056"/>
              </a:xfrm>
              <a:custGeom>
                <a:avLst/>
                <a:gdLst/>
                <a:ahLst/>
                <a:cxnLst>
                  <a:cxn ang="0">
                    <a:pos x="4" y="4"/>
                  </a:cxn>
                  <a:cxn ang="0">
                    <a:pos x="3" y="4"/>
                  </a:cxn>
                  <a:cxn ang="0">
                    <a:pos x="0" y="4"/>
                  </a:cxn>
                  <a:cxn ang="0">
                    <a:pos x="0" y="1"/>
                  </a:cxn>
                  <a:cxn ang="0">
                    <a:pos x="1" y="1"/>
                  </a:cxn>
                  <a:cxn ang="0">
                    <a:pos x="1" y="0"/>
                  </a:cxn>
                  <a:cxn ang="0">
                    <a:pos x="4" y="3"/>
                  </a:cxn>
                  <a:cxn ang="0">
                    <a:pos x="6" y="4"/>
                  </a:cxn>
                  <a:cxn ang="0">
                    <a:pos x="4" y="4"/>
                  </a:cxn>
                </a:cxnLst>
                <a:rect l="0" t="0" r="r" b="b"/>
                <a:pathLst>
                  <a:path w="6" h="4">
                    <a:moveTo>
                      <a:pt x="4" y="4"/>
                    </a:moveTo>
                    <a:lnTo>
                      <a:pt x="3" y="4"/>
                    </a:lnTo>
                    <a:lnTo>
                      <a:pt x="0" y="4"/>
                    </a:lnTo>
                    <a:lnTo>
                      <a:pt x="0" y="1"/>
                    </a:lnTo>
                    <a:lnTo>
                      <a:pt x="1" y="1"/>
                    </a:lnTo>
                    <a:lnTo>
                      <a:pt x="1" y="0"/>
                    </a:lnTo>
                    <a:lnTo>
                      <a:pt x="4" y="3"/>
                    </a:lnTo>
                    <a:lnTo>
                      <a:pt x="6" y="4"/>
                    </a:lnTo>
                    <a:lnTo>
                      <a:pt x="4" y="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37" name="Freeform 31"/>
              <p:cNvSpPr>
                <a:spLocks/>
              </p:cNvSpPr>
              <p:nvPr/>
            </p:nvSpPr>
            <p:spPr bwMode="auto">
              <a:xfrm>
                <a:off x="5145489" y="4074776"/>
                <a:ext cx="5267" cy="4056"/>
              </a:xfrm>
              <a:custGeom>
                <a:avLst/>
                <a:gdLst/>
                <a:ahLst/>
                <a:cxnLst>
                  <a:cxn ang="0">
                    <a:pos x="4" y="4"/>
                  </a:cxn>
                  <a:cxn ang="0">
                    <a:pos x="3" y="4"/>
                  </a:cxn>
                  <a:cxn ang="0">
                    <a:pos x="0" y="4"/>
                  </a:cxn>
                  <a:cxn ang="0">
                    <a:pos x="0" y="1"/>
                  </a:cxn>
                  <a:cxn ang="0">
                    <a:pos x="1" y="1"/>
                  </a:cxn>
                  <a:cxn ang="0">
                    <a:pos x="1" y="0"/>
                  </a:cxn>
                  <a:cxn ang="0">
                    <a:pos x="4" y="3"/>
                  </a:cxn>
                  <a:cxn ang="0">
                    <a:pos x="6" y="4"/>
                  </a:cxn>
                  <a:cxn ang="0">
                    <a:pos x="4" y="4"/>
                  </a:cxn>
                </a:cxnLst>
                <a:rect l="0" t="0" r="r" b="b"/>
                <a:pathLst>
                  <a:path w="6" h="4">
                    <a:moveTo>
                      <a:pt x="4" y="4"/>
                    </a:moveTo>
                    <a:lnTo>
                      <a:pt x="3" y="4"/>
                    </a:lnTo>
                    <a:lnTo>
                      <a:pt x="0" y="4"/>
                    </a:lnTo>
                    <a:lnTo>
                      <a:pt x="0" y="1"/>
                    </a:lnTo>
                    <a:lnTo>
                      <a:pt x="1" y="1"/>
                    </a:lnTo>
                    <a:lnTo>
                      <a:pt x="1" y="0"/>
                    </a:lnTo>
                    <a:lnTo>
                      <a:pt x="4" y="3"/>
                    </a:lnTo>
                    <a:lnTo>
                      <a:pt x="6" y="4"/>
                    </a:lnTo>
                    <a:lnTo>
                      <a:pt x="4" y="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38" name="Freeform 32"/>
              <p:cNvSpPr>
                <a:spLocks/>
              </p:cNvSpPr>
              <p:nvPr/>
            </p:nvSpPr>
            <p:spPr bwMode="auto">
              <a:xfrm>
                <a:off x="5136710" y="4077818"/>
                <a:ext cx="4389" cy="3042"/>
              </a:xfrm>
              <a:custGeom>
                <a:avLst/>
                <a:gdLst/>
                <a:ahLst/>
                <a:cxnLst>
                  <a:cxn ang="0">
                    <a:pos x="5" y="0"/>
                  </a:cxn>
                  <a:cxn ang="0">
                    <a:pos x="5" y="1"/>
                  </a:cxn>
                  <a:cxn ang="0">
                    <a:pos x="4" y="3"/>
                  </a:cxn>
                  <a:cxn ang="0">
                    <a:pos x="1" y="3"/>
                  </a:cxn>
                  <a:cxn ang="0">
                    <a:pos x="0" y="3"/>
                  </a:cxn>
                  <a:cxn ang="0">
                    <a:pos x="1" y="1"/>
                  </a:cxn>
                  <a:cxn ang="0">
                    <a:pos x="3" y="0"/>
                  </a:cxn>
                  <a:cxn ang="0">
                    <a:pos x="5" y="0"/>
                  </a:cxn>
                </a:cxnLst>
                <a:rect l="0" t="0" r="r" b="b"/>
                <a:pathLst>
                  <a:path w="5" h="3">
                    <a:moveTo>
                      <a:pt x="5" y="0"/>
                    </a:moveTo>
                    <a:lnTo>
                      <a:pt x="5" y="1"/>
                    </a:lnTo>
                    <a:lnTo>
                      <a:pt x="4" y="3"/>
                    </a:lnTo>
                    <a:lnTo>
                      <a:pt x="1" y="3"/>
                    </a:lnTo>
                    <a:lnTo>
                      <a:pt x="0" y="3"/>
                    </a:lnTo>
                    <a:lnTo>
                      <a:pt x="1" y="1"/>
                    </a:lnTo>
                    <a:lnTo>
                      <a:pt x="3" y="0"/>
                    </a:lnTo>
                    <a:lnTo>
                      <a:pt x="5"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39" name="Freeform 33"/>
              <p:cNvSpPr>
                <a:spLocks/>
              </p:cNvSpPr>
              <p:nvPr/>
            </p:nvSpPr>
            <p:spPr bwMode="auto">
              <a:xfrm>
                <a:off x="5136710" y="4077818"/>
                <a:ext cx="4389" cy="3042"/>
              </a:xfrm>
              <a:custGeom>
                <a:avLst/>
                <a:gdLst/>
                <a:ahLst/>
                <a:cxnLst>
                  <a:cxn ang="0">
                    <a:pos x="5" y="0"/>
                  </a:cxn>
                  <a:cxn ang="0">
                    <a:pos x="5" y="1"/>
                  </a:cxn>
                  <a:cxn ang="0">
                    <a:pos x="4" y="3"/>
                  </a:cxn>
                  <a:cxn ang="0">
                    <a:pos x="1" y="3"/>
                  </a:cxn>
                  <a:cxn ang="0">
                    <a:pos x="0" y="3"/>
                  </a:cxn>
                  <a:cxn ang="0">
                    <a:pos x="1" y="1"/>
                  </a:cxn>
                  <a:cxn ang="0">
                    <a:pos x="3" y="0"/>
                  </a:cxn>
                  <a:cxn ang="0">
                    <a:pos x="5" y="0"/>
                  </a:cxn>
                </a:cxnLst>
                <a:rect l="0" t="0" r="r" b="b"/>
                <a:pathLst>
                  <a:path w="5" h="3">
                    <a:moveTo>
                      <a:pt x="5" y="0"/>
                    </a:moveTo>
                    <a:lnTo>
                      <a:pt x="5" y="1"/>
                    </a:lnTo>
                    <a:lnTo>
                      <a:pt x="4" y="3"/>
                    </a:lnTo>
                    <a:lnTo>
                      <a:pt x="1" y="3"/>
                    </a:lnTo>
                    <a:lnTo>
                      <a:pt x="0" y="3"/>
                    </a:lnTo>
                    <a:lnTo>
                      <a:pt x="1" y="1"/>
                    </a:lnTo>
                    <a:lnTo>
                      <a:pt x="3" y="0"/>
                    </a:lnTo>
                    <a:lnTo>
                      <a:pt x="5"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40" name="Freeform 34"/>
              <p:cNvSpPr>
                <a:spLocks/>
              </p:cNvSpPr>
              <p:nvPr/>
            </p:nvSpPr>
            <p:spPr bwMode="auto">
              <a:xfrm>
                <a:off x="5139344" y="4085931"/>
                <a:ext cx="3511" cy="6085"/>
              </a:xfrm>
              <a:custGeom>
                <a:avLst/>
                <a:gdLst/>
                <a:ahLst/>
                <a:cxnLst>
                  <a:cxn ang="0">
                    <a:pos x="0" y="0"/>
                  </a:cxn>
                  <a:cxn ang="0">
                    <a:pos x="0" y="0"/>
                  </a:cxn>
                  <a:cxn ang="0">
                    <a:pos x="4" y="2"/>
                  </a:cxn>
                  <a:cxn ang="0">
                    <a:pos x="4" y="3"/>
                  </a:cxn>
                  <a:cxn ang="0">
                    <a:pos x="4" y="5"/>
                  </a:cxn>
                  <a:cxn ang="0">
                    <a:pos x="4" y="5"/>
                  </a:cxn>
                  <a:cxn ang="0">
                    <a:pos x="2" y="6"/>
                  </a:cxn>
                  <a:cxn ang="0">
                    <a:pos x="0" y="0"/>
                  </a:cxn>
                </a:cxnLst>
                <a:rect l="0" t="0" r="r" b="b"/>
                <a:pathLst>
                  <a:path w="4" h="6">
                    <a:moveTo>
                      <a:pt x="0" y="0"/>
                    </a:moveTo>
                    <a:lnTo>
                      <a:pt x="0" y="0"/>
                    </a:lnTo>
                    <a:lnTo>
                      <a:pt x="4" y="2"/>
                    </a:lnTo>
                    <a:lnTo>
                      <a:pt x="4" y="3"/>
                    </a:lnTo>
                    <a:lnTo>
                      <a:pt x="4" y="5"/>
                    </a:lnTo>
                    <a:lnTo>
                      <a:pt x="4" y="5"/>
                    </a:lnTo>
                    <a:lnTo>
                      <a:pt x="2" y="6"/>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41" name="Freeform 35"/>
              <p:cNvSpPr>
                <a:spLocks/>
              </p:cNvSpPr>
              <p:nvPr/>
            </p:nvSpPr>
            <p:spPr bwMode="auto">
              <a:xfrm>
                <a:off x="5139344" y="4085931"/>
                <a:ext cx="3511" cy="6085"/>
              </a:xfrm>
              <a:custGeom>
                <a:avLst/>
                <a:gdLst/>
                <a:ahLst/>
                <a:cxnLst>
                  <a:cxn ang="0">
                    <a:pos x="0" y="0"/>
                  </a:cxn>
                  <a:cxn ang="0">
                    <a:pos x="0" y="0"/>
                  </a:cxn>
                  <a:cxn ang="0">
                    <a:pos x="4" y="2"/>
                  </a:cxn>
                  <a:cxn ang="0">
                    <a:pos x="4" y="3"/>
                  </a:cxn>
                  <a:cxn ang="0">
                    <a:pos x="4" y="5"/>
                  </a:cxn>
                  <a:cxn ang="0">
                    <a:pos x="4" y="5"/>
                  </a:cxn>
                  <a:cxn ang="0">
                    <a:pos x="2" y="6"/>
                  </a:cxn>
                  <a:cxn ang="0">
                    <a:pos x="0" y="0"/>
                  </a:cxn>
                </a:cxnLst>
                <a:rect l="0" t="0" r="r" b="b"/>
                <a:pathLst>
                  <a:path w="4" h="6">
                    <a:moveTo>
                      <a:pt x="0" y="0"/>
                    </a:moveTo>
                    <a:lnTo>
                      <a:pt x="0" y="0"/>
                    </a:lnTo>
                    <a:lnTo>
                      <a:pt x="4" y="2"/>
                    </a:lnTo>
                    <a:lnTo>
                      <a:pt x="4" y="3"/>
                    </a:lnTo>
                    <a:lnTo>
                      <a:pt x="4" y="5"/>
                    </a:lnTo>
                    <a:lnTo>
                      <a:pt x="4" y="5"/>
                    </a:lnTo>
                    <a:lnTo>
                      <a:pt x="2" y="6"/>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42" name="Freeform 36"/>
              <p:cNvSpPr>
                <a:spLocks/>
              </p:cNvSpPr>
              <p:nvPr/>
            </p:nvSpPr>
            <p:spPr bwMode="auto">
              <a:xfrm>
                <a:off x="5134955" y="4084917"/>
                <a:ext cx="5267" cy="13184"/>
              </a:xfrm>
              <a:custGeom>
                <a:avLst/>
                <a:gdLst/>
                <a:ahLst/>
                <a:cxnLst>
                  <a:cxn ang="0">
                    <a:pos x="0" y="3"/>
                  </a:cxn>
                  <a:cxn ang="0">
                    <a:pos x="0" y="1"/>
                  </a:cxn>
                  <a:cxn ang="0">
                    <a:pos x="2" y="0"/>
                  </a:cxn>
                  <a:cxn ang="0">
                    <a:pos x="6" y="10"/>
                  </a:cxn>
                  <a:cxn ang="0">
                    <a:pos x="6" y="12"/>
                  </a:cxn>
                  <a:cxn ang="0">
                    <a:pos x="5" y="12"/>
                  </a:cxn>
                  <a:cxn ang="0">
                    <a:pos x="5" y="12"/>
                  </a:cxn>
                  <a:cxn ang="0">
                    <a:pos x="3" y="9"/>
                  </a:cxn>
                  <a:cxn ang="0">
                    <a:pos x="2" y="6"/>
                  </a:cxn>
                  <a:cxn ang="0">
                    <a:pos x="0" y="3"/>
                  </a:cxn>
                </a:cxnLst>
                <a:rect l="0" t="0" r="r" b="b"/>
                <a:pathLst>
                  <a:path w="6" h="12">
                    <a:moveTo>
                      <a:pt x="0" y="3"/>
                    </a:moveTo>
                    <a:lnTo>
                      <a:pt x="0" y="1"/>
                    </a:lnTo>
                    <a:lnTo>
                      <a:pt x="2" y="0"/>
                    </a:lnTo>
                    <a:lnTo>
                      <a:pt x="6" y="10"/>
                    </a:lnTo>
                    <a:lnTo>
                      <a:pt x="6" y="12"/>
                    </a:lnTo>
                    <a:lnTo>
                      <a:pt x="5" y="12"/>
                    </a:lnTo>
                    <a:lnTo>
                      <a:pt x="5" y="12"/>
                    </a:lnTo>
                    <a:lnTo>
                      <a:pt x="3" y="9"/>
                    </a:lnTo>
                    <a:lnTo>
                      <a:pt x="2" y="6"/>
                    </a:lnTo>
                    <a:lnTo>
                      <a:pt x="0"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43" name="Freeform 37"/>
              <p:cNvSpPr>
                <a:spLocks/>
              </p:cNvSpPr>
              <p:nvPr/>
            </p:nvSpPr>
            <p:spPr bwMode="auto">
              <a:xfrm>
                <a:off x="5134955" y="4084917"/>
                <a:ext cx="5267" cy="13184"/>
              </a:xfrm>
              <a:custGeom>
                <a:avLst/>
                <a:gdLst/>
                <a:ahLst/>
                <a:cxnLst>
                  <a:cxn ang="0">
                    <a:pos x="0" y="3"/>
                  </a:cxn>
                  <a:cxn ang="0">
                    <a:pos x="0" y="1"/>
                  </a:cxn>
                  <a:cxn ang="0">
                    <a:pos x="2" y="0"/>
                  </a:cxn>
                  <a:cxn ang="0">
                    <a:pos x="6" y="10"/>
                  </a:cxn>
                  <a:cxn ang="0">
                    <a:pos x="6" y="12"/>
                  </a:cxn>
                  <a:cxn ang="0">
                    <a:pos x="5" y="12"/>
                  </a:cxn>
                  <a:cxn ang="0">
                    <a:pos x="5" y="12"/>
                  </a:cxn>
                  <a:cxn ang="0">
                    <a:pos x="3" y="9"/>
                  </a:cxn>
                  <a:cxn ang="0">
                    <a:pos x="2" y="6"/>
                  </a:cxn>
                  <a:cxn ang="0">
                    <a:pos x="0" y="3"/>
                  </a:cxn>
                </a:cxnLst>
                <a:rect l="0" t="0" r="r" b="b"/>
                <a:pathLst>
                  <a:path w="6" h="12">
                    <a:moveTo>
                      <a:pt x="0" y="3"/>
                    </a:moveTo>
                    <a:lnTo>
                      <a:pt x="0" y="1"/>
                    </a:lnTo>
                    <a:lnTo>
                      <a:pt x="2" y="0"/>
                    </a:lnTo>
                    <a:lnTo>
                      <a:pt x="6" y="10"/>
                    </a:lnTo>
                    <a:lnTo>
                      <a:pt x="6" y="12"/>
                    </a:lnTo>
                    <a:lnTo>
                      <a:pt x="5" y="12"/>
                    </a:lnTo>
                    <a:lnTo>
                      <a:pt x="5" y="12"/>
                    </a:lnTo>
                    <a:lnTo>
                      <a:pt x="3" y="9"/>
                    </a:lnTo>
                    <a:lnTo>
                      <a:pt x="2" y="6"/>
                    </a:lnTo>
                    <a:lnTo>
                      <a:pt x="0"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44" name="Freeform 38"/>
              <p:cNvSpPr>
                <a:spLocks/>
              </p:cNvSpPr>
              <p:nvPr/>
            </p:nvSpPr>
            <p:spPr bwMode="auto">
              <a:xfrm>
                <a:off x="5141099" y="4094044"/>
                <a:ext cx="5267" cy="5071"/>
              </a:xfrm>
              <a:custGeom>
                <a:avLst/>
                <a:gdLst/>
                <a:ahLst/>
                <a:cxnLst>
                  <a:cxn ang="0">
                    <a:pos x="0" y="0"/>
                  </a:cxn>
                  <a:cxn ang="0">
                    <a:pos x="3" y="0"/>
                  </a:cxn>
                  <a:cxn ang="0">
                    <a:pos x="5" y="1"/>
                  </a:cxn>
                  <a:cxn ang="0">
                    <a:pos x="6" y="3"/>
                  </a:cxn>
                  <a:cxn ang="0">
                    <a:pos x="6" y="4"/>
                  </a:cxn>
                  <a:cxn ang="0">
                    <a:pos x="2" y="3"/>
                  </a:cxn>
                  <a:cxn ang="0">
                    <a:pos x="0" y="1"/>
                  </a:cxn>
                  <a:cxn ang="0">
                    <a:pos x="0" y="0"/>
                  </a:cxn>
                  <a:cxn ang="0">
                    <a:pos x="0" y="0"/>
                  </a:cxn>
                </a:cxnLst>
                <a:rect l="0" t="0" r="r" b="b"/>
                <a:pathLst>
                  <a:path w="6" h="4">
                    <a:moveTo>
                      <a:pt x="0" y="0"/>
                    </a:moveTo>
                    <a:lnTo>
                      <a:pt x="3" y="0"/>
                    </a:lnTo>
                    <a:lnTo>
                      <a:pt x="5" y="1"/>
                    </a:lnTo>
                    <a:lnTo>
                      <a:pt x="6" y="3"/>
                    </a:lnTo>
                    <a:lnTo>
                      <a:pt x="6" y="4"/>
                    </a:lnTo>
                    <a:lnTo>
                      <a:pt x="2" y="3"/>
                    </a:lnTo>
                    <a:lnTo>
                      <a:pt x="0" y="1"/>
                    </a:lnTo>
                    <a:lnTo>
                      <a:pt x="0" y="0"/>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45" name="Freeform 39"/>
              <p:cNvSpPr>
                <a:spLocks/>
              </p:cNvSpPr>
              <p:nvPr/>
            </p:nvSpPr>
            <p:spPr bwMode="auto">
              <a:xfrm>
                <a:off x="5141099" y="4094044"/>
                <a:ext cx="5267" cy="5071"/>
              </a:xfrm>
              <a:custGeom>
                <a:avLst/>
                <a:gdLst/>
                <a:ahLst/>
                <a:cxnLst>
                  <a:cxn ang="0">
                    <a:pos x="0" y="0"/>
                  </a:cxn>
                  <a:cxn ang="0">
                    <a:pos x="3" y="0"/>
                  </a:cxn>
                  <a:cxn ang="0">
                    <a:pos x="5" y="1"/>
                  </a:cxn>
                  <a:cxn ang="0">
                    <a:pos x="6" y="3"/>
                  </a:cxn>
                  <a:cxn ang="0">
                    <a:pos x="6" y="4"/>
                  </a:cxn>
                  <a:cxn ang="0">
                    <a:pos x="2" y="3"/>
                  </a:cxn>
                  <a:cxn ang="0">
                    <a:pos x="0" y="1"/>
                  </a:cxn>
                  <a:cxn ang="0">
                    <a:pos x="0" y="0"/>
                  </a:cxn>
                  <a:cxn ang="0">
                    <a:pos x="0" y="0"/>
                  </a:cxn>
                </a:cxnLst>
                <a:rect l="0" t="0" r="r" b="b"/>
                <a:pathLst>
                  <a:path w="6" h="4">
                    <a:moveTo>
                      <a:pt x="0" y="0"/>
                    </a:moveTo>
                    <a:lnTo>
                      <a:pt x="3" y="0"/>
                    </a:lnTo>
                    <a:lnTo>
                      <a:pt x="5" y="1"/>
                    </a:lnTo>
                    <a:lnTo>
                      <a:pt x="6" y="3"/>
                    </a:lnTo>
                    <a:lnTo>
                      <a:pt x="6" y="4"/>
                    </a:lnTo>
                    <a:lnTo>
                      <a:pt x="2" y="3"/>
                    </a:lnTo>
                    <a:lnTo>
                      <a:pt x="0" y="1"/>
                    </a:lnTo>
                    <a:lnTo>
                      <a:pt x="0" y="0"/>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46" name="Freeform 40"/>
              <p:cNvSpPr>
                <a:spLocks/>
              </p:cNvSpPr>
              <p:nvPr/>
            </p:nvSpPr>
            <p:spPr bwMode="auto">
              <a:xfrm>
                <a:off x="5134955" y="4094044"/>
                <a:ext cx="1756" cy="8113"/>
              </a:xfrm>
              <a:custGeom>
                <a:avLst/>
                <a:gdLst/>
                <a:ahLst/>
                <a:cxnLst>
                  <a:cxn ang="0">
                    <a:pos x="0" y="3"/>
                  </a:cxn>
                  <a:cxn ang="0">
                    <a:pos x="0" y="1"/>
                  </a:cxn>
                  <a:cxn ang="0">
                    <a:pos x="2" y="0"/>
                  </a:cxn>
                  <a:cxn ang="0">
                    <a:pos x="2" y="1"/>
                  </a:cxn>
                  <a:cxn ang="0">
                    <a:pos x="2" y="4"/>
                  </a:cxn>
                  <a:cxn ang="0">
                    <a:pos x="2" y="5"/>
                  </a:cxn>
                  <a:cxn ang="0">
                    <a:pos x="0" y="7"/>
                  </a:cxn>
                  <a:cxn ang="0">
                    <a:pos x="0" y="5"/>
                  </a:cxn>
                  <a:cxn ang="0">
                    <a:pos x="0" y="3"/>
                  </a:cxn>
                </a:cxnLst>
                <a:rect l="0" t="0" r="r" b="b"/>
                <a:pathLst>
                  <a:path w="2" h="7">
                    <a:moveTo>
                      <a:pt x="0" y="3"/>
                    </a:moveTo>
                    <a:lnTo>
                      <a:pt x="0" y="1"/>
                    </a:lnTo>
                    <a:lnTo>
                      <a:pt x="2" y="0"/>
                    </a:lnTo>
                    <a:lnTo>
                      <a:pt x="2" y="1"/>
                    </a:lnTo>
                    <a:lnTo>
                      <a:pt x="2" y="4"/>
                    </a:lnTo>
                    <a:lnTo>
                      <a:pt x="2" y="5"/>
                    </a:lnTo>
                    <a:lnTo>
                      <a:pt x="0" y="7"/>
                    </a:lnTo>
                    <a:lnTo>
                      <a:pt x="0" y="5"/>
                    </a:lnTo>
                    <a:lnTo>
                      <a:pt x="0"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47" name="Freeform 41"/>
              <p:cNvSpPr>
                <a:spLocks/>
              </p:cNvSpPr>
              <p:nvPr/>
            </p:nvSpPr>
            <p:spPr bwMode="auto">
              <a:xfrm>
                <a:off x="5134955" y="4094044"/>
                <a:ext cx="1756" cy="8113"/>
              </a:xfrm>
              <a:custGeom>
                <a:avLst/>
                <a:gdLst/>
                <a:ahLst/>
                <a:cxnLst>
                  <a:cxn ang="0">
                    <a:pos x="0" y="3"/>
                  </a:cxn>
                  <a:cxn ang="0">
                    <a:pos x="0" y="1"/>
                  </a:cxn>
                  <a:cxn ang="0">
                    <a:pos x="2" y="0"/>
                  </a:cxn>
                  <a:cxn ang="0">
                    <a:pos x="2" y="1"/>
                  </a:cxn>
                  <a:cxn ang="0">
                    <a:pos x="2" y="4"/>
                  </a:cxn>
                  <a:cxn ang="0">
                    <a:pos x="2" y="5"/>
                  </a:cxn>
                  <a:cxn ang="0">
                    <a:pos x="0" y="7"/>
                  </a:cxn>
                  <a:cxn ang="0">
                    <a:pos x="0" y="5"/>
                  </a:cxn>
                  <a:cxn ang="0">
                    <a:pos x="0" y="3"/>
                  </a:cxn>
                </a:cxnLst>
                <a:rect l="0" t="0" r="r" b="b"/>
                <a:pathLst>
                  <a:path w="2" h="7">
                    <a:moveTo>
                      <a:pt x="0" y="3"/>
                    </a:moveTo>
                    <a:lnTo>
                      <a:pt x="0" y="1"/>
                    </a:lnTo>
                    <a:lnTo>
                      <a:pt x="2" y="0"/>
                    </a:lnTo>
                    <a:lnTo>
                      <a:pt x="2" y="1"/>
                    </a:lnTo>
                    <a:lnTo>
                      <a:pt x="2" y="4"/>
                    </a:lnTo>
                    <a:lnTo>
                      <a:pt x="2" y="5"/>
                    </a:lnTo>
                    <a:lnTo>
                      <a:pt x="0" y="7"/>
                    </a:lnTo>
                    <a:lnTo>
                      <a:pt x="0" y="5"/>
                    </a:lnTo>
                    <a:lnTo>
                      <a:pt x="0"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48" name="Freeform 42"/>
              <p:cNvSpPr>
                <a:spLocks/>
              </p:cNvSpPr>
              <p:nvPr/>
            </p:nvSpPr>
            <p:spPr bwMode="auto">
              <a:xfrm>
                <a:off x="5137588" y="4100129"/>
                <a:ext cx="10534" cy="30424"/>
              </a:xfrm>
              <a:custGeom>
                <a:avLst/>
                <a:gdLst/>
                <a:ahLst/>
                <a:cxnLst>
                  <a:cxn ang="0">
                    <a:pos x="3" y="6"/>
                  </a:cxn>
                  <a:cxn ang="0">
                    <a:pos x="4" y="6"/>
                  </a:cxn>
                  <a:cxn ang="0">
                    <a:pos x="3" y="3"/>
                  </a:cxn>
                  <a:cxn ang="0">
                    <a:pos x="3" y="2"/>
                  </a:cxn>
                  <a:cxn ang="0">
                    <a:pos x="4" y="0"/>
                  </a:cxn>
                  <a:cxn ang="0">
                    <a:pos x="6" y="0"/>
                  </a:cxn>
                  <a:cxn ang="0">
                    <a:pos x="9" y="3"/>
                  </a:cxn>
                  <a:cxn ang="0">
                    <a:pos x="12" y="27"/>
                  </a:cxn>
                  <a:cxn ang="0">
                    <a:pos x="10" y="30"/>
                  </a:cxn>
                  <a:cxn ang="0">
                    <a:pos x="7" y="30"/>
                  </a:cxn>
                  <a:cxn ang="0">
                    <a:pos x="6" y="27"/>
                  </a:cxn>
                  <a:cxn ang="0">
                    <a:pos x="6" y="21"/>
                  </a:cxn>
                  <a:cxn ang="0">
                    <a:pos x="6" y="19"/>
                  </a:cxn>
                  <a:cxn ang="0">
                    <a:pos x="6" y="18"/>
                  </a:cxn>
                  <a:cxn ang="0">
                    <a:pos x="2" y="16"/>
                  </a:cxn>
                  <a:cxn ang="0">
                    <a:pos x="0" y="14"/>
                  </a:cxn>
                  <a:cxn ang="0">
                    <a:pos x="0" y="12"/>
                  </a:cxn>
                  <a:cxn ang="0">
                    <a:pos x="2" y="12"/>
                  </a:cxn>
                  <a:cxn ang="0">
                    <a:pos x="4" y="14"/>
                  </a:cxn>
                  <a:cxn ang="0">
                    <a:pos x="4" y="11"/>
                  </a:cxn>
                  <a:cxn ang="0">
                    <a:pos x="3" y="11"/>
                  </a:cxn>
                  <a:cxn ang="0">
                    <a:pos x="2" y="9"/>
                  </a:cxn>
                  <a:cxn ang="0">
                    <a:pos x="2" y="8"/>
                  </a:cxn>
                  <a:cxn ang="0">
                    <a:pos x="3" y="6"/>
                  </a:cxn>
                </a:cxnLst>
                <a:rect l="0" t="0" r="r" b="b"/>
                <a:pathLst>
                  <a:path w="12" h="30">
                    <a:moveTo>
                      <a:pt x="3" y="6"/>
                    </a:moveTo>
                    <a:lnTo>
                      <a:pt x="4" y="6"/>
                    </a:lnTo>
                    <a:lnTo>
                      <a:pt x="3" y="3"/>
                    </a:lnTo>
                    <a:lnTo>
                      <a:pt x="3" y="2"/>
                    </a:lnTo>
                    <a:lnTo>
                      <a:pt x="4" y="0"/>
                    </a:lnTo>
                    <a:lnTo>
                      <a:pt x="6" y="0"/>
                    </a:lnTo>
                    <a:lnTo>
                      <a:pt x="9" y="3"/>
                    </a:lnTo>
                    <a:lnTo>
                      <a:pt x="12" y="27"/>
                    </a:lnTo>
                    <a:lnTo>
                      <a:pt x="10" y="30"/>
                    </a:lnTo>
                    <a:lnTo>
                      <a:pt x="7" y="30"/>
                    </a:lnTo>
                    <a:lnTo>
                      <a:pt x="6" y="27"/>
                    </a:lnTo>
                    <a:lnTo>
                      <a:pt x="6" y="21"/>
                    </a:lnTo>
                    <a:lnTo>
                      <a:pt x="6" y="19"/>
                    </a:lnTo>
                    <a:lnTo>
                      <a:pt x="6" y="18"/>
                    </a:lnTo>
                    <a:lnTo>
                      <a:pt x="2" y="16"/>
                    </a:lnTo>
                    <a:lnTo>
                      <a:pt x="0" y="14"/>
                    </a:lnTo>
                    <a:lnTo>
                      <a:pt x="0" y="12"/>
                    </a:lnTo>
                    <a:lnTo>
                      <a:pt x="2" y="12"/>
                    </a:lnTo>
                    <a:lnTo>
                      <a:pt x="4" y="14"/>
                    </a:lnTo>
                    <a:lnTo>
                      <a:pt x="4" y="11"/>
                    </a:lnTo>
                    <a:lnTo>
                      <a:pt x="3" y="11"/>
                    </a:lnTo>
                    <a:lnTo>
                      <a:pt x="2" y="9"/>
                    </a:lnTo>
                    <a:lnTo>
                      <a:pt x="2" y="8"/>
                    </a:lnTo>
                    <a:lnTo>
                      <a:pt x="3" y="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49" name="Freeform 43"/>
              <p:cNvSpPr>
                <a:spLocks/>
              </p:cNvSpPr>
              <p:nvPr/>
            </p:nvSpPr>
            <p:spPr bwMode="auto">
              <a:xfrm>
                <a:off x="5137588" y="4100129"/>
                <a:ext cx="10534" cy="30424"/>
              </a:xfrm>
              <a:custGeom>
                <a:avLst/>
                <a:gdLst/>
                <a:ahLst/>
                <a:cxnLst>
                  <a:cxn ang="0">
                    <a:pos x="3" y="6"/>
                  </a:cxn>
                  <a:cxn ang="0">
                    <a:pos x="4" y="6"/>
                  </a:cxn>
                  <a:cxn ang="0">
                    <a:pos x="3" y="3"/>
                  </a:cxn>
                  <a:cxn ang="0">
                    <a:pos x="3" y="2"/>
                  </a:cxn>
                  <a:cxn ang="0">
                    <a:pos x="4" y="0"/>
                  </a:cxn>
                  <a:cxn ang="0">
                    <a:pos x="6" y="0"/>
                  </a:cxn>
                  <a:cxn ang="0">
                    <a:pos x="9" y="3"/>
                  </a:cxn>
                  <a:cxn ang="0">
                    <a:pos x="12" y="27"/>
                  </a:cxn>
                  <a:cxn ang="0">
                    <a:pos x="10" y="30"/>
                  </a:cxn>
                  <a:cxn ang="0">
                    <a:pos x="7" y="30"/>
                  </a:cxn>
                  <a:cxn ang="0">
                    <a:pos x="6" y="27"/>
                  </a:cxn>
                  <a:cxn ang="0">
                    <a:pos x="6" y="21"/>
                  </a:cxn>
                  <a:cxn ang="0">
                    <a:pos x="6" y="19"/>
                  </a:cxn>
                  <a:cxn ang="0">
                    <a:pos x="6" y="18"/>
                  </a:cxn>
                  <a:cxn ang="0">
                    <a:pos x="2" y="16"/>
                  </a:cxn>
                  <a:cxn ang="0">
                    <a:pos x="0" y="14"/>
                  </a:cxn>
                  <a:cxn ang="0">
                    <a:pos x="0" y="12"/>
                  </a:cxn>
                  <a:cxn ang="0">
                    <a:pos x="2" y="12"/>
                  </a:cxn>
                  <a:cxn ang="0">
                    <a:pos x="4" y="14"/>
                  </a:cxn>
                  <a:cxn ang="0">
                    <a:pos x="4" y="11"/>
                  </a:cxn>
                  <a:cxn ang="0">
                    <a:pos x="3" y="11"/>
                  </a:cxn>
                  <a:cxn ang="0">
                    <a:pos x="2" y="9"/>
                  </a:cxn>
                  <a:cxn ang="0">
                    <a:pos x="2" y="8"/>
                  </a:cxn>
                  <a:cxn ang="0">
                    <a:pos x="3" y="6"/>
                  </a:cxn>
                </a:cxnLst>
                <a:rect l="0" t="0" r="r" b="b"/>
                <a:pathLst>
                  <a:path w="12" h="30">
                    <a:moveTo>
                      <a:pt x="3" y="6"/>
                    </a:moveTo>
                    <a:lnTo>
                      <a:pt x="4" y="6"/>
                    </a:lnTo>
                    <a:lnTo>
                      <a:pt x="3" y="3"/>
                    </a:lnTo>
                    <a:lnTo>
                      <a:pt x="3" y="2"/>
                    </a:lnTo>
                    <a:lnTo>
                      <a:pt x="4" y="0"/>
                    </a:lnTo>
                    <a:lnTo>
                      <a:pt x="6" y="0"/>
                    </a:lnTo>
                    <a:lnTo>
                      <a:pt x="9" y="3"/>
                    </a:lnTo>
                    <a:lnTo>
                      <a:pt x="12" y="27"/>
                    </a:lnTo>
                    <a:lnTo>
                      <a:pt x="10" y="30"/>
                    </a:lnTo>
                    <a:lnTo>
                      <a:pt x="7" y="30"/>
                    </a:lnTo>
                    <a:lnTo>
                      <a:pt x="6" y="27"/>
                    </a:lnTo>
                    <a:lnTo>
                      <a:pt x="6" y="21"/>
                    </a:lnTo>
                    <a:lnTo>
                      <a:pt x="6" y="19"/>
                    </a:lnTo>
                    <a:lnTo>
                      <a:pt x="6" y="18"/>
                    </a:lnTo>
                    <a:lnTo>
                      <a:pt x="2" y="16"/>
                    </a:lnTo>
                    <a:lnTo>
                      <a:pt x="0" y="14"/>
                    </a:lnTo>
                    <a:lnTo>
                      <a:pt x="0" y="12"/>
                    </a:lnTo>
                    <a:lnTo>
                      <a:pt x="2" y="12"/>
                    </a:lnTo>
                    <a:lnTo>
                      <a:pt x="4" y="14"/>
                    </a:lnTo>
                    <a:lnTo>
                      <a:pt x="4" y="11"/>
                    </a:lnTo>
                    <a:lnTo>
                      <a:pt x="3" y="11"/>
                    </a:lnTo>
                    <a:lnTo>
                      <a:pt x="2" y="9"/>
                    </a:lnTo>
                    <a:lnTo>
                      <a:pt x="2" y="8"/>
                    </a:lnTo>
                    <a:lnTo>
                      <a:pt x="3" y="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50" name="Freeform 44"/>
              <p:cNvSpPr>
                <a:spLocks/>
              </p:cNvSpPr>
              <p:nvPr/>
            </p:nvSpPr>
            <p:spPr bwMode="auto">
              <a:xfrm>
                <a:off x="5133199" y="4121425"/>
                <a:ext cx="4389" cy="4056"/>
              </a:xfrm>
              <a:custGeom>
                <a:avLst/>
                <a:gdLst/>
                <a:ahLst/>
                <a:cxnLst>
                  <a:cxn ang="0">
                    <a:pos x="0" y="1"/>
                  </a:cxn>
                  <a:cxn ang="0">
                    <a:pos x="0" y="0"/>
                  </a:cxn>
                  <a:cxn ang="0">
                    <a:pos x="0" y="0"/>
                  </a:cxn>
                  <a:cxn ang="0">
                    <a:pos x="3" y="0"/>
                  </a:cxn>
                  <a:cxn ang="0">
                    <a:pos x="4" y="4"/>
                  </a:cxn>
                  <a:cxn ang="0">
                    <a:pos x="4" y="4"/>
                  </a:cxn>
                  <a:cxn ang="0">
                    <a:pos x="1" y="4"/>
                  </a:cxn>
                  <a:cxn ang="0">
                    <a:pos x="0" y="3"/>
                  </a:cxn>
                  <a:cxn ang="0">
                    <a:pos x="0" y="1"/>
                  </a:cxn>
                </a:cxnLst>
                <a:rect l="0" t="0" r="r" b="b"/>
                <a:pathLst>
                  <a:path w="4" h="4">
                    <a:moveTo>
                      <a:pt x="0" y="1"/>
                    </a:moveTo>
                    <a:lnTo>
                      <a:pt x="0" y="0"/>
                    </a:lnTo>
                    <a:lnTo>
                      <a:pt x="0" y="0"/>
                    </a:lnTo>
                    <a:lnTo>
                      <a:pt x="3" y="0"/>
                    </a:lnTo>
                    <a:lnTo>
                      <a:pt x="4" y="4"/>
                    </a:lnTo>
                    <a:lnTo>
                      <a:pt x="4" y="4"/>
                    </a:lnTo>
                    <a:lnTo>
                      <a:pt x="1" y="4"/>
                    </a:lnTo>
                    <a:lnTo>
                      <a:pt x="0" y="3"/>
                    </a:lnTo>
                    <a:lnTo>
                      <a:pt x="0"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51" name="Freeform 45"/>
              <p:cNvSpPr>
                <a:spLocks/>
              </p:cNvSpPr>
              <p:nvPr/>
            </p:nvSpPr>
            <p:spPr bwMode="auto">
              <a:xfrm>
                <a:off x="5133199" y="4121425"/>
                <a:ext cx="4389" cy="4056"/>
              </a:xfrm>
              <a:custGeom>
                <a:avLst/>
                <a:gdLst/>
                <a:ahLst/>
                <a:cxnLst>
                  <a:cxn ang="0">
                    <a:pos x="0" y="1"/>
                  </a:cxn>
                  <a:cxn ang="0">
                    <a:pos x="0" y="0"/>
                  </a:cxn>
                  <a:cxn ang="0">
                    <a:pos x="0" y="0"/>
                  </a:cxn>
                  <a:cxn ang="0">
                    <a:pos x="3" y="0"/>
                  </a:cxn>
                  <a:cxn ang="0">
                    <a:pos x="4" y="4"/>
                  </a:cxn>
                  <a:cxn ang="0">
                    <a:pos x="4" y="4"/>
                  </a:cxn>
                  <a:cxn ang="0">
                    <a:pos x="1" y="4"/>
                  </a:cxn>
                  <a:cxn ang="0">
                    <a:pos x="0" y="3"/>
                  </a:cxn>
                  <a:cxn ang="0">
                    <a:pos x="0" y="1"/>
                  </a:cxn>
                </a:cxnLst>
                <a:rect l="0" t="0" r="r" b="b"/>
                <a:pathLst>
                  <a:path w="4" h="4">
                    <a:moveTo>
                      <a:pt x="0" y="1"/>
                    </a:moveTo>
                    <a:lnTo>
                      <a:pt x="0" y="0"/>
                    </a:lnTo>
                    <a:lnTo>
                      <a:pt x="0" y="0"/>
                    </a:lnTo>
                    <a:lnTo>
                      <a:pt x="3" y="0"/>
                    </a:lnTo>
                    <a:lnTo>
                      <a:pt x="4" y="4"/>
                    </a:lnTo>
                    <a:lnTo>
                      <a:pt x="4" y="4"/>
                    </a:lnTo>
                    <a:lnTo>
                      <a:pt x="1" y="4"/>
                    </a:lnTo>
                    <a:lnTo>
                      <a:pt x="0" y="3"/>
                    </a:lnTo>
                    <a:lnTo>
                      <a:pt x="0"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52" name="Freeform 46"/>
              <p:cNvSpPr>
                <a:spLocks/>
              </p:cNvSpPr>
              <p:nvPr/>
            </p:nvSpPr>
            <p:spPr bwMode="auto">
              <a:xfrm>
                <a:off x="5136710" y="4132582"/>
                <a:ext cx="6144" cy="9127"/>
              </a:xfrm>
              <a:custGeom>
                <a:avLst/>
                <a:gdLst/>
                <a:ahLst/>
                <a:cxnLst>
                  <a:cxn ang="0">
                    <a:pos x="0" y="3"/>
                  </a:cxn>
                  <a:cxn ang="0">
                    <a:pos x="0" y="2"/>
                  </a:cxn>
                  <a:cxn ang="0">
                    <a:pos x="0" y="0"/>
                  </a:cxn>
                  <a:cxn ang="0">
                    <a:pos x="3" y="2"/>
                  </a:cxn>
                  <a:cxn ang="0">
                    <a:pos x="4" y="0"/>
                  </a:cxn>
                  <a:cxn ang="0">
                    <a:pos x="5" y="0"/>
                  </a:cxn>
                  <a:cxn ang="0">
                    <a:pos x="7" y="2"/>
                  </a:cxn>
                  <a:cxn ang="0">
                    <a:pos x="5" y="5"/>
                  </a:cxn>
                  <a:cxn ang="0">
                    <a:pos x="5" y="8"/>
                  </a:cxn>
                  <a:cxn ang="0">
                    <a:pos x="3" y="6"/>
                  </a:cxn>
                  <a:cxn ang="0">
                    <a:pos x="1" y="5"/>
                  </a:cxn>
                  <a:cxn ang="0">
                    <a:pos x="0" y="6"/>
                  </a:cxn>
                  <a:cxn ang="0">
                    <a:pos x="0" y="3"/>
                  </a:cxn>
                </a:cxnLst>
                <a:rect l="0" t="0" r="r" b="b"/>
                <a:pathLst>
                  <a:path w="7" h="8">
                    <a:moveTo>
                      <a:pt x="0" y="3"/>
                    </a:moveTo>
                    <a:lnTo>
                      <a:pt x="0" y="2"/>
                    </a:lnTo>
                    <a:lnTo>
                      <a:pt x="0" y="0"/>
                    </a:lnTo>
                    <a:lnTo>
                      <a:pt x="3" y="2"/>
                    </a:lnTo>
                    <a:lnTo>
                      <a:pt x="4" y="0"/>
                    </a:lnTo>
                    <a:lnTo>
                      <a:pt x="5" y="0"/>
                    </a:lnTo>
                    <a:lnTo>
                      <a:pt x="7" y="2"/>
                    </a:lnTo>
                    <a:lnTo>
                      <a:pt x="5" y="5"/>
                    </a:lnTo>
                    <a:lnTo>
                      <a:pt x="5" y="8"/>
                    </a:lnTo>
                    <a:lnTo>
                      <a:pt x="3" y="6"/>
                    </a:lnTo>
                    <a:lnTo>
                      <a:pt x="1" y="5"/>
                    </a:lnTo>
                    <a:lnTo>
                      <a:pt x="0" y="6"/>
                    </a:lnTo>
                    <a:lnTo>
                      <a:pt x="0"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53" name="Freeform 47"/>
              <p:cNvSpPr>
                <a:spLocks/>
              </p:cNvSpPr>
              <p:nvPr/>
            </p:nvSpPr>
            <p:spPr bwMode="auto">
              <a:xfrm>
                <a:off x="5136710" y="4132582"/>
                <a:ext cx="6144" cy="9127"/>
              </a:xfrm>
              <a:custGeom>
                <a:avLst/>
                <a:gdLst/>
                <a:ahLst/>
                <a:cxnLst>
                  <a:cxn ang="0">
                    <a:pos x="0" y="3"/>
                  </a:cxn>
                  <a:cxn ang="0">
                    <a:pos x="0" y="2"/>
                  </a:cxn>
                  <a:cxn ang="0">
                    <a:pos x="0" y="0"/>
                  </a:cxn>
                  <a:cxn ang="0">
                    <a:pos x="3" y="2"/>
                  </a:cxn>
                  <a:cxn ang="0">
                    <a:pos x="4" y="0"/>
                  </a:cxn>
                  <a:cxn ang="0">
                    <a:pos x="5" y="0"/>
                  </a:cxn>
                  <a:cxn ang="0">
                    <a:pos x="7" y="2"/>
                  </a:cxn>
                  <a:cxn ang="0">
                    <a:pos x="5" y="5"/>
                  </a:cxn>
                  <a:cxn ang="0">
                    <a:pos x="5" y="8"/>
                  </a:cxn>
                  <a:cxn ang="0">
                    <a:pos x="3" y="6"/>
                  </a:cxn>
                  <a:cxn ang="0">
                    <a:pos x="1" y="5"/>
                  </a:cxn>
                  <a:cxn ang="0">
                    <a:pos x="0" y="6"/>
                  </a:cxn>
                  <a:cxn ang="0">
                    <a:pos x="0" y="3"/>
                  </a:cxn>
                </a:cxnLst>
                <a:rect l="0" t="0" r="r" b="b"/>
                <a:pathLst>
                  <a:path w="7" h="8">
                    <a:moveTo>
                      <a:pt x="0" y="3"/>
                    </a:moveTo>
                    <a:lnTo>
                      <a:pt x="0" y="2"/>
                    </a:lnTo>
                    <a:lnTo>
                      <a:pt x="0" y="0"/>
                    </a:lnTo>
                    <a:lnTo>
                      <a:pt x="3" y="2"/>
                    </a:lnTo>
                    <a:lnTo>
                      <a:pt x="4" y="0"/>
                    </a:lnTo>
                    <a:lnTo>
                      <a:pt x="5" y="0"/>
                    </a:lnTo>
                    <a:lnTo>
                      <a:pt x="7" y="2"/>
                    </a:lnTo>
                    <a:lnTo>
                      <a:pt x="5" y="5"/>
                    </a:lnTo>
                    <a:lnTo>
                      <a:pt x="5" y="8"/>
                    </a:lnTo>
                    <a:lnTo>
                      <a:pt x="3" y="6"/>
                    </a:lnTo>
                    <a:lnTo>
                      <a:pt x="1" y="5"/>
                    </a:lnTo>
                    <a:lnTo>
                      <a:pt x="0" y="6"/>
                    </a:lnTo>
                    <a:lnTo>
                      <a:pt x="0"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54" name="Freeform 48"/>
              <p:cNvSpPr>
                <a:spLocks/>
              </p:cNvSpPr>
              <p:nvPr/>
            </p:nvSpPr>
            <p:spPr bwMode="auto">
              <a:xfrm>
                <a:off x="5143733" y="4138666"/>
                <a:ext cx="7900" cy="10141"/>
              </a:xfrm>
              <a:custGeom>
                <a:avLst/>
                <a:gdLst/>
                <a:ahLst/>
                <a:cxnLst>
                  <a:cxn ang="0">
                    <a:pos x="5" y="7"/>
                  </a:cxn>
                  <a:cxn ang="0">
                    <a:pos x="2" y="7"/>
                  </a:cxn>
                  <a:cxn ang="0">
                    <a:pos x="2" y="6"/>
                  </a:cxn>
                  <a:cxn ang="0">
                    <a:pos x="0" y="1"/>
                  </a:cxn>
                  <a:cxn ang="0">
                    <a:pos x="0" y="0"/>
                  </a:cxn>
                  <a:cxn ang="0">
                    <a:pos x="2" y="0"/>
                  </a:cxn>
                  <a:cxn ang="0">
                    <a:pos x="8" y="6"/>
                  </a:cxn>
                  <a:cxn ang="0">
                    <a:pos x="9" y="10"/>
                  </a:cxn>
                  <a:cxn ang="0">
                    <a:pos x="8" y="10"/>
                  </a:cxn>
                  <a:cxn ang="0">
                    <a:pos x="5" y="7"/>
                  </a:cxn>
                </a:cxnLst>
                <a:rect l="0" t="0" r="r" b="b"/>
                <a:pathLst>
                  <a:path w="9" h="10">
                    <a:moveTo>
                      <a:pt x="5" y="7"/>
                    </a:moveTo>
                    <a:lnTo>
                      <a:pt x="2" y="7"/>
                    </a:lnTo>
                    <a:lnTo>
                      <a:pt x="2" y="6"/>
                    </a:lnTo>
                    <a:lnTo>
                      <a:pt x="0" y="1"/>
                    </a:lnTo>
                    <a:lnTo>
                      <a:pt x="0" y="0"/>
                    </a:lnTo>
                    <a:lnTo>
                      <a:pt x="2" y="0"/>
                    </a:lnTo>
                    <a:lnTo>
                      <a:pt x="8" y="6"/>
                    </a:lnTo>
                    <a:lnTo>
                      <a:pt x="9" y="10"/>
                    </a:lnTo>
                    <a:lnTo>
                      <a:pt x="8" y="10"/>
                    </a:lnTo>
                    <a:lnTo>
                      <a:pt x="5" y="7"/>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55" name="Freeform 49"/>
              <p:cNvSpPr>
                <a:spLocks/>
              </p:cNvSpPr>
              <p:nvPr/>
            </p:nvSpPr>
            <p:spPr bwMode="auto">
              <a:xfrm>
                <a:off x="5143733" y="4138666"/>
                <a:ext cx="7900" cy="10141"/>
              </a:xfrm>
              <a:custGeom>
                <a:avLst/>
                <a:gdLst/>
                <a:ahLst/>
                <a:cxnLst>
                  <a:cxn ang="0">
                    <a:pos x="5" y="7"/>
                  </a:cxn>
                  <a:cxn ang="0">
                    <a:pos x="2" y="7"/>
                  </a:cxn>
                  <a:cxn ang="0">
                    <a:pos x="2" y="6"/>
                  </a:cxn>
                  <a:cxn ang="0">
                    <a:pos x="0" y="1"/>
                  </a:cxn>
                  <a:cxn ang="0">
                    <a:pos x="0" y="0"/>
                  </a:cxn>
                  <a:cxn ang="0">
                    <a:pos x="2" y="0"/>
                  </a:cxn>
                  <a:cxn ang="0">
                    <a:pos x="8" y="6"/>
                  </a:cxn>
                  <a:cxn ang="0">
                    <a:pos x="9" y="10"/>
                  </a:cxn>
                  <a:cxn ang="0">
                    <a:pos x="8" y="10"/>
                  </a:cxn>
                  <a:cxn ang="0">
                    <a:pos x="5" y="7"/>
                  </a:cxn>
                </a:cxnLst>
                <a:rect l="0" t="0" r="r" b="b"/>
                <a:pathLst>
                  <a:path w="9" h="10">
                    <a:moveTo>
                      <a:pt x="5" y="7"/>
                    </a:moveTo>
                    <a:lnTo>
                      <a:pt x="2" y="7"/>
                    </a:lnTo>
                    <a:lnTo>
                      <a:pt x="2" y="6"/>
                    </a:lnTo>
                    <a:lnTo>
                      <a:pt x="0" y="1"/>
                    </a:lnTo>
                    <a:lnTo>
                      <a:pt x="0" y="0"/>
                    </a:lnTo>
                    <a:lnTo>
                      <a:pt x="2" y="0"/>
                    </a:lnTo>
                    <a:lnTo>
                      <a:pt x="8" y="6"/>
                    </a:lnTo>
                    <a:lnTo>
                      <a:pt x="9" y="10"/>
                    </a:lnTo>
                    <a:lnTo>
                      <a:pt x="8" y="10"/>
                    </a:lnTo>
                    <a:lnTo>
                      <a:pt x="5" y="7"/>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56" name="Freeform 50"/>
              <p:cNvSpPr>
                <a:spLocks/>
              </p:cNvSpPr>
              <p:nvPr/>
            </p:nvSpPr>
            <p:spPr bwMode="auto">
              <a:xfrm>
                <a:off x="5142855" y="4144751"/>
                <a:ext cx="5267" cy="13184"/>
              </a:xfrm>
              <a:custGeom>
                <a:avLst/>
                <a:gdLst/>
                <a:ahLst/>
                <a:cxnLst>
                  <a:cxn ang="0">
                    <a:pos x="6" y="7"/>
                  </a:cxn>
                  <a:cxn ang="0">
                    <a:pos x="4" y="10"/>
                  </a:cxn>
                  <a:cxn ang="0">
                    <a:pos x="4" y="13"/>
                  </a:cxn>
                  <a:cxn ang="0">
                    <a:pos x="3" y="11"/>
                  </a:cxn>
                  <a:cxn ang="0">
                    <a:pos x="0" y="5"/>
                  </a:cxn>
                  <a:cxn ang="0">
                    <a:pos x="0" y="0"/>
                  </a:cxn>
                  <a:cxn ang="0">
                    <a:pos x="0" y="1"/>
                  </a:cxn>
                  <a:cxn ang="0">
                    <a:pos x="4" y="3"/>
                  </a:cxn>
                  <a:cxn ang="0">
                    <a:pos x="6" y="7"/>
                  </a:cxn>
                </a:cxnLst>
                <a:rect l="0" t="0" r="r" b="b"/>
                <a:pathLst>
                  <a:path w="6" h="13">
                    <a:moveTo>
                      <a:pt x="6" y="7"/>
                    </a:moveTo>
                    <a:lnTo>
                      <a:pt x="4" y="10"/>
                    </a:lnTo>
                    <a:lnTo>
                      <a:pt x="4" y="13"/>
                    </a:lnTo>
                    <a:lnTo>
                      <a:pt x="3" y="11"/>
                    </a:lnTo>
                    <a:lnTo>
                      <a:pt x="0" y="5"/>
                    </a:lnTo>
                    <a:lnTo>
                      <a:pt x="0" y="0"/>
                    </a:lnTo>
                    <a:lnTo>
                      <a:pt x="0" y="1"/>
                    </a:lnTo>
                    <a:lnTo>
                      <a:pt x="4" y="3"/>
                    </a:lnTo>
                    <a:lnTo>
                      <a:pt x="6" y="7"/>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57" name="Freeform 51"/>
              <p:cNvSpPr>
                <a:spLocks/>
              </p:cNvSpPr>
              <p:nvPr/>
            </p:nvSpPr>
            <p:spPr bwMode="auto">
              <a:xfrm>
                <a:off x="5142855" y="4144751"/>
                <a:ext cx="5267" cy="13184"/>
              </a:xfrm>
              <a:custGeom>
                <a:avLst/>
                <a:gdLst/>
                <a:ahLst/>
                <a:cxnLst>
                  <a:cxn ang="0">
                    <a:pos x="6" y="7"/>
                  </a:cxn>
                  <a:cxn ang="0">
                    <a:pos x="4" y="10"/>
                  </a:cxn>
                  <a:cxn ang="0">
                    <a:pos x="4" y="13"/>
                  </a:cxn>
                  <a:cxn ang="0">
                    <a:pos x="3" y="11"/>
                  </a:cxn>
                  <a:cxn ang="0">
                    <a:pos x="0" y="5"/>
                  </a:cxn>
                  <a:cxn ang="0">
                    <a:pos x="0" y="0"/>
                  </a:cxn>
                  <a:cxn ang="0">
                    <a:pos x="0" y="1"/>
                  </a:cxn>
                  <a:cxn ang="0">
                    <a:pos x="4" y="3"/>
                  </a:cxn>
                  <a:cxn ang="0">
                    <a:pos x="6" y="7"/>
                  </a:cxn>
                </a:cxnLst>
                <a:rect l="0" t="0" r="r" b="b"/>
                <a:pathLst>
                  <a:path w="6" h="13">
                    <a:moveTo>
                      <a:pt x="6" y="7"/>
                    </a:moveTo>
                    <a:lnTo>
                      <a:pt x="4" y="10"/>
                    </a:lnTo>
                    <a:lnTo>
                      <a:pt x="4" y="13"/>
                    </a:lnTo>
                    <a:lnTo>
                      <a:pt x="3" y="11"/>
                    </a:lnTo>
                    <a:lnTo>
                      <a:pt x="0" y="5"/>
                    </a:lnTo>
                    <a:lnTo>
                      <a:pt x="0" y="0"/>
                    </a:lnTo>
                    <a:lnTo>
                      <a:pt x="0" y="1"/>
                    </a:lnTo>
                    <a:lnTo>
                      <a:pt x="4" y="3"/>
                    </a:lnTo>
                    <a:lnTo>
                      <a:pt x="6" y="7"/>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58" name="Freeform 52"/>
              <p:cNvSpPr>
                <a:spLocks/>
              </p:cNvSpPr>
              <p:nvPr/>
            </p:nvSpPr>
            <p:spPr bwMode="auto">
              <a:xfrm>
                <a:off x="5141099" y="4157934"/>
                <a:ext cx="4389" cy="6085"/>
              </a:xfrm>
              <a:custGeom>
                <a:avLst/>
                <a:gdLst/>
                <a:ahLst/>
                <a:cxnLst>
                  <a:cxn ang="0">
                    <a:pos x="0" y="4"/>
                  </a:cxn>
                  <a:cxn ang="0">
                    <a:pos x="2" y="3"/>
                  </a:cxn>
                  <a:cxn ang="0">
                    <a:pos x="3" y="0"/>
                  </a:cxn>
                  <a:cxn ang="0">
                    <a:pos x="5" y="0"/>
                  </a:cxn>
                  <a:cxn ang="0">
                    <a:pos x="5" y="4"/>
                  </a:cxn>
                  <a:cxn ang="0">
                    <a:pos x="3" y="6"/>
                  </a:cxn>
                  <a:cxn ang="0">
                    <a:pos x="2" y="4"/>
                  </a:cxn>
                  <a:cxn ang="0">
                    <a:pos x="0" y="4"/>
                  </a:cxn>
                </a:cxnLst>
                <a:rect l="0" t="0" r="r" b="b"/>
                <a:pathLst>
                  <a:path w="5" h="6">
                    <a:moveTo>
                      <a:pt x="0" y="4"/>
                    </a:moveTo>
                    <a:lnTo>
                      <a:pt x="2" y="3"/>
                    </a:lnTo>
                    <a:lnTo>
                      <a:pt x="3" y="0"/>
                    </a:lnTo>
                    <a:lnTo>
                      <a:pt x="5" y="0"/>
                    </a:lnTo>
                    <a:lnTo>
                      <a:pt x="5" y="4"/>
                    </a:lnTo>
                    <a:lnTo>
                      <a:pt x="3" y="6"/>
                    </a:lnTo>
                    <a:lnTo>
                      <a:pt x="2" y="4"/>
                    </a:lnTo>
                    <a:lnTo>
                      <a:pt x="0" y="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59" name="Freeform 53"/>
              <p:cNvSpPr>
                <a:spLocks/>
              </p:cNvSpPr>
              <p:nvPr/>
            </p:nvSpPr>
            <p:spPr bwMode="auto">
              <a:xfrm>
                <a:off x="5141099" y="4157934"/>
                <a:ext cx="4389" cy="6085"/>
              </a:xfrm>
              <a:custGeom>
                <a:avLst/>
                <a:gdLst/>
                <a:ahLst/>
                <a:cxnLst>
                  <a:cxn ang="0">
                    <a:pos x="0" y="4"/>
                  </a:cxn>
                  <a:cxn ang="0">
                    <a:pos x="2" y="3"/>
                  </a:cxn>
                  <a:cxn ang="0">
                    <a:pos x="3" y="0"/>
                  </a:cxn>
                  <a:cxn ang="0">
                    <a:pos x="5" y="0"/>
                  </a:cxn>
                  <a:cxn ang="0">
                    <a:pos x="5" y="4"/>
                  </a:cxn>
                  <a:cxn ang="0">
                    <a:pos x="3" y="6"/>
                  </a:cxn>
                  <a:cxn ang="0">
                    <a:pos x="2" y="4"/>
                  </a:cxn>
                  <a:cxn ang="0">
                    <a:pos x="0" y="4"/>
                  </a:cxn>
                </a:cxnLst>
                <a:rect l="0" t="0" r="r" b="b"/>
                <a:pathLst>
                  <a:path w="5" h="6">
                    <a:moveTo>
                      <a:pt x="0" y="4"/>
                    </a:moveTo>
                    <a:lnTo>
                      <a:pt x="2" y="3"/>
                    </a:lnTo>
                    <a:lnTo>
                      <a:pt x="3" y="0"/>
                    </a:lnTo>
                    <a:lnTo>
                      <a:pt x="5" y="0"/>
                    </a:lnTo>
                    <a:lnTo>
                      <a:pt x="5" y="4"/>
                    </a:lnTo>
                    <a:lnTo>
                      <a:pt x="3" y="6"/>
                    </a:lnTo>
                    <a:lnTo>
                      <a:pt x="2" y="4"/>
                    </a:lnTo>
                    <a:lnTo>
                      <a:pt x="0" y="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60" name="Freeform 54"/>
              <p:cNvSpPr>
                <a:spLocks/>
              </p:cNvSpPr>
              <p:nvPr/>
            </p:nvSpPr>
            <p:spPr bwMode="auto">
              <a:xfrm>
                <a:off x="5141099" y="4169090"/>
                <a:ext cx="1756" cy="12170"/>
              </a:xfrm>
              <a:custGeom>
                <a:avLst/>
                <a:gdLst/>
                <a:ahLst/>
                <a:cxnLst>
                  <a:cxn ang="0">
                    <a:pos x="2" y="11"/>
                  </a:cxn>
                  <a:cxn ang="0">
                    <a:pos x="0" y="11"/>
                  </a:cxn>
                  <a:cxn ang="0">
                    <a:pos x="0" y="3"/>
                  </a:cxn>
                  <a:cxn ang="0">
                    <a:pos x="0" y="2"/>
                  </a:cxn>
                  <a:cxn ang="0">
                    <a:pos x="2" y="0"/>
                  </a:cxn>
                  <a:cxn ang="0">
                    <a:pos x="2" y="0"/>
                  </a:cxn>
                  <a:cxn ang="0">
                    <a:pos x="2" y="11"/>
                  </a:cxn>
                  <a:cxn ang="0">
                    <a:pos x="2" y="11"/>
                  </a:cxn>
                </a:cxnLst>
                <a:rect l="0" t="0" r="r" b="b"/>
                <a:pathLst>
                  <a:path w="2" h="11">
                    <a:moveTo>
                      <a:pt x="2" y="11"/>
                    </a:moveTo>
                    <a:lnTo>
                      <a:pt x="0" y="11"/>
                    </a:lnTo>
                    <a:lnTo>
                      <a:pt x="0" y="3"/>
                    </a:lnTo>
                    <a:lnTo>
                      <a:pt x="0" y="2"/>
                    </a:lnTo>
                    <a:lnTo>
                      <a:pt x="2" y="0"/>
                    </a:lnTo>
                    <a:lnTo>
                      <a:pt x="2" y="0"/>
                    </a:lnTo>
                    <a:lnTo>
                      <a:pt x="2" y="11"/>
                    </a:lnTo>
                    <a:lnTo>
                      <a:pt x="2" y="1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61" name="Freeform 55"/>
              <p:cNvSpPr>
                <a:spLocks/>
              </p:cNvSpPr>
              <p:nvPr/>
            </p:nvSpPr>
            <p:spPr bwMode="auto">
              <a:xfrm>
                <a:off x="5141099" y="4169090"/>
                <a:ext cx="1756" cy="12170"/>
              </a:xfrm>
              <a:custGeom>
                <a:avLst/>
                <a:gdLst/>
                <a:ahLst/>
                <a:cxnLst>
                  <a:cxn ang="0">
                    <a:pos x="2" y="11"/>
                  </a:cxn>
                  <a:cxn ang="0">
                    <a:pos x="0" y="11"/>
                  </a:cxn>
                  <a:cxn ang="0">
                    <a:pos x="0" y="3"/>
                  </a:cxn>
                  <a:cxn ang="0">
                    <a:pos x="0" y="2"/>
                  </a:cxn>
                  <a:cxn ang="0">
                    <a:pos x="2" y="0"/>
                  </a:cxn>
                  <a:cxn ang="0">
                    <a:pos x="2" y="0"/>
                  </a:cxn>
                  <a:cxn ang="0">
                    <a:pos x="2" y="11"/>
                  </a:cxn>
                  <a:cxn ang="0">
                    <a:pos x="2" y="11"/>
                  </a:cxn>
                </a:cxnLst>
                <a:rect l="0" t="0" r="r" b="b"/>
                <a:pathLst>
                  <a:path w="2" h="11">
                    <a:moveTo>
                      <a:pt x="2" y="11"/>
                    </a:moveTo>
                    <a:lnTo>
                      <a:pt x="0" y="11"/>
                    </a:lnTo>
                    <a:lnTo>
                      <a:pt x="0" y="3"/>
                    </a:lnTo>
                    <a:lnTo>
                      <a:pt x="0" y="2"/>
                    </a:lnTo>
                    <a:lnTo>
                      <a:pt x="2" y="0"/>
                    </a:lnTo>
                    <a:lnTo>
                      <a:pt x="2" y="0"/>
                    </a:lnTo>
                    <a:lnTo>
                      <a:pt x="2" y="11"/>
                    </a:lnTo>
                    <a:lnTo>
                      <a:pt x="2" y="1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62" name="Freeform 56"/>
              <p:cNvSpPr>
                <a:spLocks/>
              </p:cNvSpPr>
              <p:nvPr/>
            </p:nvSpPr>
            <p:spPr bwMode="auto">
              <a:xfrm>
                <a:off x="5150755" y="4166047"/>
                <a:ext cx="4389" cy="9128"/>
              </a:xfrm>
              <a:custGeom>
                <a:avLst/>
                <a:gdLst/>
                <a:ahLst/>
                <a:cxnLst>
                  <a:cxn ang="0">
                    <a:pos x="3" y="2"/>
                  </a:cxn>
                  <a:cxn ang="0">
                    <a:pos x="4" y="8"/>
                  </a:cxn>
                  <a:cxn ang="0">
                    <a:pos x="3" y="6"/>
                  </a:cxn>
                  <a:cxn ang="0">
                    <a:pos x="1" y="5"/>
                  </a:cxn>
                  <a:cxn ang="0">
                    <a:pos x="0" y="3"/>
                  </a:cxn>
                  <a:cxn ang="0">
                    <a:pos x="0" y="0"/>
                  </a:cxn>
                  <a:cxn ang="0">
                    <a:pos x="1" y="0"/>
                  </a:cxn>
                  <a:cxn ang="0">
                    <a:pos x="3" y="2"/>
                  </a:cxn>
                </a:cxnLst>
                <a:rect l="0" t="0" r="r" b="b"/>
                <a:pathLst>
                  <a:path w="4" h="8">
                    <a:moveTo>
                      <a:pt x="3" y="2"/>
                    </a:moveTo>
                    <a:lnTo>
                      <a:pt x="4" y="8"/>
                    </a:lnTo>
                    <a:lnTo>
                      <a:pt x="3" y="6"/>
                    </a:lnTo>
                    <a:lnTo>
                      <a:pt x="1" y="5"/>
                    </a:lnTo>
                    <a:lnTo>
                      <a:pt x="0" y="3"/>
                    </a:lnTo>
                    <a:lnTo>
                      <a:pt x="0" y="0"/>
                    </a:lnTo>
                    <a:lnTo>
                      <a:pt x="1" y="0"/>
                    </a:lnTo>
                    <a:lnTo>
                      <a:pt x="3"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63" name="Freeform 57"/>
              <p:cNvSpPr>
                <a:spLocks/>
              </p:cNvSpPr>
              <p:nvPr/>
            </p:nvSpPr>
            <p:spPr bwMode="auto">
              <a:xfrm>
                <a:off x="5150755" y="4166047"/>
                <a:ext cx="4389" cy="9128"/>
              </a:xfrm>
              <a:custGeom>
                <a:avLst/>
                <a:gdLst/>
                <a:ahLst/>
                <a:cxnLst>
                  <a:cxn ang="0">
                    <a:pos x="3" y="2"/>
                  </a:cxn>
                  <a:cxn ang="0">
                    <a:pos x="4" y="8"/>
                  </a:cxn>
                  <a:cxn ang="0">
                    <a:pos x="3" y="6"/>
                  </a:cxn>
                  <a:cxn ang="0">
                    <a:pos x="1" y="5"/>
                  </a:cxn>
                  <a:cxn ang="0">
                    <a:pos x="0" y="3"/>
                  </a:cxn>
                  <a:cxn ang="0">
                    <a:pos x="0" y="0"/>
                  </a:cxn>
                  <a:cxn ang="0">
                    <a:pos x="1" y="0"/>
                  </a:cxn>
                  <a:cxn ang="0">
                    <a:pos x="3" y="2"/>
                  </a:cxn>
                </a:cxnLst>
                <a:rect l="0" t="0" r="r" b="b"/>
                <a:pathLst>
                  <a:path w="4" h="8">
                    <a:moveTo>
                      <a:pt x="3" y="2"/>
                    </a:moveTo>
                    <a:lnTo>
                      <a:pt x="4" y="8"/>
                    </a:lnTo>
                    <a:lnTo>
                      <a:pt x="3" y="6"/>
                    </a:lnTo>
                    <a:lnTo>
                      <a:pt x="1" y="5"/>
                    </a:lnTo>
                    <a:lnTo>
                      <a:pt x="0" y="3"/>
                    </a:lnTo>
                    <a:lnTo>
                      <a:pt x="0" y="0"/>
                    </a:lnTo>
                    <a:lnTo>
                      <a:pt x="1" y="0"/>
                    </a:lnTo>
                    <a:lnTo>
                      <a:pt x="3"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64" name="Freeform 58"/>
              <p:cNvSpPr>
                <a:spLocks/>
              </p:cNvSpPr>
              <p:nvPr/>
            </p:nvSpPr>
            <p:spPr bwMode="auto">
              <a:xfrm>
                <a:off x="5155144" y="4161991"/>
                <a:ext cx="2634" cy="7099"/>
              </a:xfrm>
              <a:custGeom>
                <a:avLst/>
                <a:gdLst/>
                <a:ahLst/>
                <a:cxnLst>
                  <a:cxn ang="0">
                    <a:pos x="3" y="3"/>
                  </a:cxn>
                  <a:cxn ang="0">
                    <a:pos x="3" y="4"/>
                  </a:cxn>
                  <a:cxn ang="0">
                    <a:pos x="3" y="7"/>
                  </a:cxn>
                  <a:cxn ang="0">
                    <a:pos x="1" y="4"/>
                  </a:cxn>
                  <a:cxn ang="0">
                    <a:pos x="0" y="2"/>
                  </a:cxn>
                  <a:cxn ang="0">
                    <a:pos x="0" y="0"/>
                  </a:cxn>
                  <a:cxn ang="0">
                    <a:pos x="1" y="3"/>
                  </a:cxn>
                  <a:cxn ang="0">
                    <a:pos x="3" y="3"/>
                  </a:cxn>
                </a:cxnLst>
                <a:rect l="0" t="0" r="r" b="b"/>
                <a:pathLst>
                  <a:path w="3" h="7">
                    <a:moveTo>
                      <a:pt x="3" y="3"/>
                    </a:moveTo>
                    <a:lnTo>
                      <a:pt x="3" y="4"/>
                    </a:lnTo>
                    <a:lnTo>
                      <a:pt x="3" y="7"/>
                    </a:lnTo>
                    <a:lnTo>
                      <a:pt x="1" y="4"/>
                    </a:lnTo>
                    <a:lnTo>
                      <a:pt x="0" y="2"/>
                    </a:lnTo>
                    <a:lnTo>
                      <a:pt x="0" y="0"/>
                    </a:lnTo>
                    <a:lnTo>
                      <a:pt x="1" y="3"/>
                    </a:lnTo>
                    <a:lnTo>
                      <a:pt x="3"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65" name="Freeform 59"/>
              <p:cNvSpPr>
                <a:spLocks/>
              </p:cNvSpPr>
              <p:nvPr/>
            </p:nvSpPr>
            <p:spPr bwMode="auto">
              <a:xfrm>
                <a:off x="5155144" y="4161991"/>
                <a:ext cx="2634" cy="7099"/>
              </a:xfrm>
              <a:custGeom>
                <a:avLst/>
                <a:gdLst/>
                <a:ahLst/>
                <a:cxnLst>
                  <a:cxn ang="0">
                    <a:pos x="3" y="3"/>
                  </a:cxn>
                  <a:cxn ang="0">
                    <a:pos x="3" y="4"/>
                  </a:cxn>
                  <a:cxn ang="0">
                    <a:pos x="3" y="7"/>
                  </a:cxn>
                  <a:cxn ang="0">
                    <a:pos x="1" y="4"/>
                  </a:cxn>
                  <a:cxn ang="0">
                    <a:pos x="0" y="2"/>
                  </a:cxn>
                  <a:cxn ang="0">
                    <a:pos x="0" y="0"/>
                  </a:cxn>
                  <a:cxn ang="0">
                    <a:pos x="1" y="3"/>
                  </a:cxn>
                  <a:cxn ang="0">
                    <a:pos x="3" y="3"/>
                  </a:cxn>
                </a:cxnLst>
                <a:rect l="0" t="0" r="r" b="b"/>
                <a:pathLst>
                  <a:path w="3" h="7">
                    <a:moveTo>
                      <a:pt x="3" y="3"/>
                    </a:moveTo>
                    <a:lnTo>
                      <a:pt x="3" y="4"/>
                    </a:lnTo>
                    <a:lnTo>
                      <a:pt x="3" y="7"/>
                    </a:lnTo>
                    <a:lnTo>
                      <a:pt x="1" y="4"/>
                    </a:lnTo>
                    <a:lnTo>
                      <a:pt x="0" y="2"/>
                    </a:lnTo>
                    <a:lnTo>
                      <a:pt x="0" y="0"/>
                    </a:lnTo>
                    <a:lnTo>
                      <a:pt x="1" y="3"/>
                    </a:lnTo>
                    <a:lnTo>
                      <a:pt x="3"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66" name="Freeform 60"/>
              <p:cNvSpPr>
                <a:spLocks/>
              </p:cNvSpPr>
              <p:nvPr/>
            </p:nvSpPr>
            <p:spPr bwMode="auto">
              <a:xfrm>
                <a:off x="5158656" y="4178217"/>
                <a:ext cx="28090" cy="35495"/>
              </a:xfrm>
              <a:custGeom>
                <a:avLst/>
                <a:gdLst/>
                <a:ahLst/>
                <a:cxnLst>
                  <a:cxn ang="0">
                    <a:pos x="2" y="4"/>
                  </a:cxn>
                  <a:cxn ang="0">
                    <a:pos x="2" y="4"/>
                  </a:cxn>
                  <a:cxn ang="0">
                    <a:pos x="2" y="3"/>
                  </a:cxn>
                  <a:cxn ang="0">
                    <a:pos x="2" y="3"/>
                  </a:cxn>
                  <a:cxn ang="0">
                    <a:pos x="3" y="4"/>
                  </a:cxn>
                  <a:cxn ang="0">
                    <a:pos x="5" y="4"/>
                  </a:cxn>
                  <a:cxn ang="0">
                    <a:pos x="6" y="3"/>
                  </a:cxn>
                  <a:cxn ang="0">
                    <a:pos x="8" y="3"/>
                  </a:cxn>
                  <a:cxn ang="0">
                    <a:pos x="9" y="3"/>
                  </a:cxn>
                  <a:cxn ang="0">
                    <a:pos x="9" y="7"/>
                  </a:cxn>
                  <a:cxn ang="0">
                    <a:pos x="10" y="5"/>
                  </a:cxn>
                  <a:cxn ang="0">
                    <a:pos x="12" y="3"/>
                  </a:cxn>
                  <a:cxn ang="0">
                    <a:pos x="10" y="1"/>
                  </a:cxn>
                  <a:cxn ang="0">
                    <a:pos x="10" y="0"/>
                  </a:cxn>
                  <a:cxn ang="0">
                    <a:pos x="12" y="0"/>
                  </a:cxn>
                  <a:cxn ang="0">
                    <a:pos x="13" y="1"/>
                  </a:cxn>
                  <a:cxn ang="0">
                    <a:pos x="15" y="7"/>
                  </a:cxn>
                  <a:cxn ang="0">
                    <a:pos x="12" y="10"/>
                  </a:cxn>
                  <a:cxn ang="0">
                    <a:pos x="10" y="14"/>
                  </a:cxn>
                  <a:cxn ang="0">
                    <a:pos x="12" y="16"/>
                  </a:cxn>
                  <a:cxn ang="0">
                    <a:pos x="13" y="17"/>
                  </a:cxn>
                  <a:cxn ang="0">
                    <a:pos x="15" y="18"/>
                  </a:cxn>
                  <a:cxn ang="0">
                    <a:pos x="16" y="20"/>
                  </a:cxn>
                  <a:cxn ang="0">
                    <a:pos x="21" y="16"/>
                  </a:cxn>
                  <a:cxn ang="0">
                    <a:pos x="29" y="16"/>
                  </a:cxn>
                  <a:cxn ang="0">
                    <a:pos x="31" y="17"/>
                  </a:cxn>
                  <a:cxn ang="0">
                    <a:pos x="31" y="20"/>
                  </a:cxn>
                  <a:cxn ang="0">
                    <a:pos x="22" y="26"/>
                  </a:cxn>
                  <a:cxn ang="0">
                    <a:pos x="21" y="26"/>
                  </a:cxn>
                  <a:cxn ang="0">
                    <a:pos x="19" y="26"/>
                  </a:cxn>
                  <a:cxn ang="0">
                    <a:pos x="19" y="27"/>
                  </a:cxn>
                  <a:cxn ang="0">
                    <a:pos x="19" y="27"/>
                  </a:cxn>
                  <a:cxn ang="0">
                    <a:pos x="18" y="27"/>
                  </a:cxn>
                  <a:cxn ang="0">
                    <a:pos x="16" y="29"/>
                  </a:cxn>
                  <a:cxn ang="0">
                    <a:pos x="16" y="30"/>
                  </a:cxn>
                  <a:cxn ang="0">
                    <a:pos x="16" y="30"/>
                  </a:cxn>
                  <a:cxn ang="0">
                    <a:pos x="16" y="33"/>
                  </a:cxn>
                  <a:cxn ang="0">
                    <a:pos x="16" y="34"/>
                  </a:cxn>
                  <a:cxn ang="0">
                    <a:pos x="15" y="33"/>
                  </a:cxn>
                  <a:cxn ang="0">
                    <a:pos x="8" y="27"/>
                  </a:cxn>
                  <a:cxn ang="0">
                    <a:pos x="8" y="27"/>
                  </a:cxn>
                  <a:cxn ang="0">
                    <a:pos x="9" y="26"/>
                  </a:cxn>
                  <a:cxn ang="0">
                    <a:pos x="12" y="27"/>
                  </a:cxn>
                  <a:cxn ang="0">
                    <a:pos x="13" y="27"/>
                  </a:cxn>
                  <a:cxn ang="0">
                    <a:pos x="13" y="26"/>
                  </a:cxn>
                  <a:cxn ang="0">
                    <a:pos x="12" y="24"/>
                  </a:cxn>
                  <a:cxn ang="0">
                    <a:pos x="10" y="21"/>
                  </a:cxn>
                  <a:cxn ang="0">
                    <a:pos x="10" y="23"/>
                  </a:cxn>
                  <a:cxn ang="0">
                    <a:pos x="9" y="23"/>
                  </a:cxn>
                  <a:cxn ang="0">
                    <a:pos x="5" y="23"/>
                  </a:cxn>
                  <a:cxn ang="0">
                    <a:pos x="6" y="21"/>
                  </a:cxn>
                  <a:cxn ang="0">
                    <a:pos x="6" y="20"/>
                  </a:cxn>
                  <a:cxn ang="0">
                    <a:pos x="3" y="20"/>
                  </a:cxn>
                  <a:cxn ang="0">
                    <a:pos x="2" y="18"/>
                  </a:cxn>
                  <a:cxn ang="0">
                    <a:pos x="3" y="17"/>
                  </a:cxn>
                  <a:cxn ang="0">
                    <a:pos x="2" y="16"/>
                  </a:cxn>
                  <a:cxn ang="0">
                    <a:pos x="0" y="17"/>
                  </a:cxn>
                  <a:cxn ang="0">
                    <a:pos x="2" y="4"/>
                  </a:cxn>
                </a:cxnLst>
                <a:rect l="0" t="0" r="r" b="b"/>
                <a:pathLst>
                  <a:path w="31" h="34">
                    <a:moveTo>
                      <a:pt x="2" y="4"/>
                    </a:moveTo>
                    <a:lnTo>
                      <a:pt x="2" y="4"/>
                    </a:lnTo>
                    <a:lnTo>
                      <a:pt x="2" y="3"/>
                    </a:lnTo>
                    <a:lnTo>
                      <a:pt x="2" y="3"/>
                    </a:lnTo>
                    <a:lnTo>
                      <a:pt x="3" y="4"/>
                    </a:lnTo>
                    <a:lnTo>
                      <a:pt x="5" y="4"/>
                    </a:lnTo>
                    <a:lnTo>
                      <a:pt x="6" y="3"/>
                    </a:lnTo>
                    <a:lnTo>
                      <a:pt x="8" y="3"/>
                    </a:lnTo>
                    <a:lnTo>
                      <a:pt x="9" y="3"/>
                    </a:lnTo>
                    <a:lnTo>
                      <a:pt x="9" y="7"/>
                    </a:lnTo>
                    <a:lnTo>
                      <a:pt x="10" y="5"/>
                    </a:lnTo>
                    <a:lnTo>
                      <a:pt x="12" y="3"/>
                    </a:lnTo>
                    <a:lnTo>
                      <a:pt x="10" y="1"/>
                    </a:lnTo>
                    <a:lnTo>
                      <a:pt x="10" y="0"/>
                    </a:lnTo>
                    <a:lnTo>
                      <a:pt x="12" y="0"/>
                    </a:lnTo>
                    <a:lnTo>
                      <a:pt x="13" y="1"/>
                    </a:lnTo>
                    <a:lnTo>
                      <a:pt x="15" y="7"/>
                    </a:lnTo>
                    <a:lnTo>
                      <a:pt x="12" y="10"/>
                    </a:lnTo>
                    <a:lnTo>
                      <a:pt x="10" y="14"/>
                    </a:lnTo>
                    <a:lnTo>
                      <a:pt x="12" y="16"/>
                    </a:lnTo>
                    <a:lnTo>
                      <a:pt x="13" y="17"/>
                    </a:lnTo>
                    <a:lnTo>
                      <a:pt x="15" y="18"/>
                    </a:lnTo>
                    <a:lnTo>
                      <a:pt x="16" y="20"/>
                    </a:lnTo>
                    <a:lnTo>
                      <a:pt x="21" y="16"/>
                    </a:lnTo>
                    <a:lnTo>
                      <a:pt x="29" y="16"/>
                    </a:lnTo>
                    <a:lnTo>
                      <a:pt x="31" y="17"/>
                    </a:lnTo>
                    <a:lnTo>
                      <a:pt x="31" y="20"/>
                    </a:lnTo>
                    <a:lnTo>
                      <a:pt x="22" y="26"/>
                    </a:lnTo>
                    <a:lnTo>
                      <a:pt x="21" y="26"/>
                    </a:lnTo>
                    <a:lnTo>
                      <a:pt x="19" y="26"/>
                    </a:lnTo>
                    <a:lnTo>
                      <a:pt x="19" y="27"/>
                    </a:lnTo>
                    <a:lnTo>
                      <a:pt x="19" y="27"/>
                    </a:lnTo>
                    <a:lnTo>
                      <a:pt x="18" y="27"/>
                    </a:lnTo>
                    <a:lnTo>
                      <a:pt x="16" y="29"/>
                    </a:lnTo>
                    <a:lnTo>
                      <a:pt x="16" y="30"/>
                    </a:lnTo>
                    <a:lnTo>
                      <a:pt x="16" y="30"/>
                    </a:lnTo>
                    <a:lnTo>
                      <a:pt x="16" y="33"/>
                    </a:lnTo>
                    <a:lnTo>
                      <a:pt x="16" y="34"/>
                    </a:lnTo>
                    <a:lnTo>
                      <a:pt x="15" y="33"/>
                    </a:lnTo>
                    <a:lnTo>
                      <a:pt x="8" y="27"/>
                    </a:lnTo>
                    <a:lnTo>
                      <a:pt x="8" y="27"/>
                    </a:lnTo>
                    <a:lnTo>
                      <a:pt x="9" y="26"/>
                    </a:lnTo>
                    <a:lnTo>
                      <a:pt x="12" y="27"/>
                    </a:lnTo>
                    <a:lnTo>
                      <a:pt x="13" y="27"/>
                    </a:lnTo>
                    <a:lnTo>
                      <a:pt x="13" y="26"/>
                    </a:lnTo>
                    <a:lnTo>
                      <a:pt x="12" y="24"/>
                    </a:lnTo>
                    <a:lnTo>
                      <a:pt x="10" y="21"/>
                    </a:lnTo>
                    <a:lnTo>
                      <a:pt x="10" y="23"/>
                    </a:lnTo>
                    <a:lnTo>
                      <a:pt x="9" y="23"/>
                    </a:lnTo>
                    <a:lnTo>
                      <a:pt x="5" y="23"/>
                    </a:lnTo>
                    <a:lnTo>
                      <a:pt x="6" y="21"/>
                    </a:lnTo>
                    <a:lnTo>
                      <a:pt x="6" y="20"/>
                    </a:lnTo>
                    <a:lnTo>
                      <a:pt x="3" y="20"/>
                    </a:lnTo>
                    <a:lnTo>
                      <a:pt x="2" y="18"/>
                    </a:lnTo>
                    <a:lnTo>
                      <a:pt x="3" y="17"/>
                    </a:lnTo>
                    <a:lnTo>
                      <a:pt x="2" y="16"/>
                    </a:lnTo>
                    <a:lnTo>
                      <a:pt x="0" y="17"/>
                    </a:lnTo>
                    <a:lnTo>
                      <a:pt x="2" y="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67" name="Freeform 61"/>
              <p:cNvSpPr>
                <a:spLocks/>
              </p:cNvSpPr>
              <p:nvPr/>
            </p:nvSpPr>
            <p:spPr bwMode="auto">
              <a:xfrm>
                <a:off x="5158656" y="4178217"/>
                <a:ext cx="28090" cy="35495"/>
              </a:xfrm>
              <a:custGeom>
                <a:avLst/>
                <a:gdLst/>
                <a:ahLst/>
                <a:cxnLst>
                  <a:cxn ang="0">
                    <a:pos x="2" y="4"/>
                  </a:cxn>
                  <a:cxn ang="0">
                    <a:pos x="2" y="4"/>
                  </a:cxn>
                  <a:cxn ang="0">
                    <a:pos x="2" y="3"/>
                  </a:cxn>
                  <a:cxn ang="0">
                    <a:pos x="2" y="3"/>
                  </a:cxn>
                  <a:cxn ang="0">
                    <a:pos x="3" y="4"/>
                  </a:cxn>
                  <a:cxn ang="0">
                    <a:pos x="5" y="4"/>
                  </a:cxn>
                  <a:cxn ang="0">
                    <a:pos x="6" y="3"/>
                  </a:cxn>
                  <a:cxn ang="0">
                    <a:pos x="8" y="3"/>
                  </a:cxn>
                  <a:cxn ang="0">
                    <a:pos x="9" y="3"/>
                  </a:cxn>
                  <a:cxn ang="0">
                    <a:pos x="9" y="7"/>
                  </a:cxn>
                  <a:cxn ang="0">
                    <a:pos x="10" y="5"/>
                  </a:cxn>
                  <a:cxn ang="0">
                    <a:pos x="12" y="3"/>
                  </a:cxn>
                  <a:cxn ang="0">
                    <a:pos x="10" y="1"/>
                  </a:cxn>
                  <a:cxn ang="0">
                    <a:pos x="10" y="0"/>
                  </a:cxn>
                  <a:cxn ang="0">
                    <a:pos x="12" y="0"/>
                  </a:cxn>
                  <a:cxn ang="0">
                    <a:pos x="13" y="1"/>
                  </a:cxn>
                  <a:cxn ang="0">
                    <a:pos x="15" y="7"/>
                  </a:cxn>
                  <a:cxn ang="0">
                    <a:pos x="12" y="10"/>
                  </a:cxn>
                  <a:cxn ang="0">
                    <a:pos x="10" y="14"/>
                  </a:cxn>
                  <a:cxn ang="0">
                    <a:pos x="12" y="16"/>
                  </a:cxn>
                  <a:cxn ang="0">
                    <a:pos x="13" y="17"/>
                  </a:cxn>
                  <a:cxn ang="0">
                    <a:pos x="15" y="18"/>
                  </a:cxn>
                  <a:cxn ang="0">
                    <a:pos x="16" y="20"/>
                  </a:cxn>
                  <a:cxn ang="0">
                    <a:pos x="21" y="16"/>
                  </a:cxn>
                  <a:cxn ang="0">
                    <a:pos x="29" y="16"/>
                  </a:cxn>
                  <a:cxn ang="0">
                    <a:pos x="31" y="17"/>
                  </a:cxn>
                  <a:cxn ang="0">
                    <a:pos x="31" y="20"/>
                  </a:cxn>
                  <a:cxn ang="0">
                    <a:pos x="22" y="26"/>
                  </a:cxn>
                  <a:cxn ang="0">
                    <a:pos x="21" y="26"/>
                  </a:cxn>
                  <a:cxn ang="0">
                    <a:pos x="19" y="26"/>
                  </a:cxn>
                  <a:cxn ang="0">
                    <a:pos x="19" y="27"/>
                  </a:cxn>
                  <a:cxn ang="0">
                    <a:pos x="19" y="27"/>
                  </a:cxn>
                  <a:cxn ang="0">
                    <a:pos x="18" y="27"/>
                  </a:cxn>
                  <a:cxn ang="0">
                    <a:pos x="16" y="29"/>
                  </a:cxn>
                  <a:cxn ang="0">
                    <a:pos x="16" y="30"/>
                  </a:cxn>
                  <a:cxn ang="0">
                    <a:pos x="16" y="30"/>
                  </a:cxn>
                  <a:cxn ang="0">
                    <a:pos x="16" y="33"/>
                  </a:cxn>
                  <a:cxn ang="0">
                    <a:pos x="16" y="34"/>
                  </a:cxn>
                  <a:cxn ang="0">
                    <a:pos x="15" y="33"/>
                  </a:cxn>
                  <a:cxn ang="0">
                    <a:pos x="8" y="27"/>
                  </a:cxn>
                  <a:cxn ang="0">
                    <a:pos x="8" y="27"/>
                  </a:cxn>
                  <a:cxn ang="0">
                    <a:pos x="9" y="26"/>
                  </a:cxn>
                  <a:cxn ang="0">
                    <a:pos x="12" y="27"/>
                  </a:cxn>
                  <a:cxn ang="0">
                    <a:pos x="13" y="27"/>
                  </a:cxn>
                  <a:cxn ang="0">
                    <a:pos x="13" y="26"/>
                  </a:cxn>
                  <a:cxn ang="0">
                    <a:pos x="12" y="24"/>
                  </a:cxn>
                  <a:cxn ang="0">
                    <a:pos x="10" y="21"/>
                  </a:cxn>
                  <a:cxn ang="0">
                    <a:pos x="10" y="23"/>
                  </a:cxn>
                  <a:cxn ang="0">
                    <a:pos x="9" y="23"/>
                  </a:cxn>
                  <a:cxn ang="0">
                    <a:pos x="5" y="23"/>
                  </a:cxn>
                  <a:cxn ang="0">
                    <a:pos x="6" y="21"/>
                  </a:cxn>
                  <a:cxn ang="0">
                    <a:pos x="6" y="20"/>
                  </a:cxn>
                  <a:cxn ang="0">
                    <a:pos x="3" y="20"/>
                  </a:cxn>
                  <a:cxn ang="0">
                    <a:pos x="2" y="18"/>
                  </a:cxn>
                  <a:cxn ang="0">
                    <a:pos x="3" y="17"/>
                  </a:cxn>
                  <a:cxn ang="0">
                    <a:pos x="2" y="16"/>
                  </a:cxn>
                  <a:cxn ang="0">
                    <a:pos x="0" y="17"/>
                  </a:cxn>
                  <a:cxn ang="0">
                    <a:pos x="2" y="4"/>
                  </a:cxn>
                </a:cxnLst>
                <a:rect l="0" t="0" r="r" b="b"/>
                <a:pathLst>
                  <a:path w="31" h="34">
                    <a:moveTo>
                      <a:pt x="2" y="4"/>
                    </a:moveTo>
                    <a:lnTo>
                      <a:pt x="2" y="4"/>
                    </a:lnTo>
                    <a:lnTo>
                      <a:pt x="2" y="3"/>
                    </a:lnTo>
                    <a:lnTo>
                      <a:pt x="2" y="3"/>
                    </a:lnTo>
                    <a:lnTo>
                      <a:pt x="3" y="4"/>
                    </a:lnTo>
                    <a:lnTo>
                      <a:pt x="5" y="4"/>
                    </a:lnTo>
                    <a:lnTo>
                      <a:pt x="6" y="3"/>
                    </a:lnTo>
                    <a:lnTo>
                      <a:pt x="8" y="3"/>
                    </a:lnTo>
                    <a:lnTo>
                      <a:pt x="9" y="3"/>
                    </a:lnTo>
                    <a:lnTo>
                      <a:pt x="9" y="7"/>
                    </a:lnTo>
                    <a:lnTo>
                      <a:pt x="10" y="5"/>
                    </a:lnTo>
                    <a:lnTo>
                      <a:pt x="12" y="3"/>
                    </a:lnTo>
                    <a:lnTo>
                      <a:pt x="10" y="1"/>
                    </a:lnTo>
                    <a:lnTo>
                      <a:pt x="10" y="0"/>
                    </a:lnTo>
                    <a:lnTo>
                      <a:pt x="12" y="0"/>
                    </a:lnTo>
                    <a:lnTo>
                      <a:pt x="13" y="1"/>
                    </a:lnTo>
                    <a:lnTo>
                      <a:pt x="15" y="7"/>
                    </a:lnTo>
                    <a:lnTo>
                      <a:pt x="12" y="10"/>
                    </a:lnTo>
                    <a:lnTo>
                      <a:pt x="10" y="14"/>
                    </a:lnTo>
                    <a:lnTo>
                      <a:pt x="12" y="16"/>
                    </a:lnTo>
                    <a:lnTo>
                      <a:pt x="13" y="17"/>
                    </a:lnTo>
                    <a:lnTo>
                      <a:pt x="15" y="18"/>
                    </a:lnTo>
                    <a:lnTo>
                      <a:pt x="16" y="20"/>
                    </a:lnTo>
                    <a:lnTo>
                      <a:pt x="21" y="16"/>
                    </a:lnTo>
                    <a:lnTo>
                      <a:pt x="29" y="16"/>
                    </a:lnTo>
                    <a:lnTo>
                      <a:pt x="31" y="17"/>
                    </a:lnTo>
                    <a:lnTo>
                      <a:pt x="31" y="20"/>
                    </a:lnTo>
                    <a:lnTo>
                      <a:pt x="22" y="26"/>
                    </a:lnTo>
                    <a:lnTo>
                      <a:pt x="21" y="26"/>
                    </a:lnTo>
                    <a:lnTo>
                      <a:pt x="19" y="26"/>
                    </a:lnTo>
                    <a:lnTo>
                      <a:pt x="19" y="27"/>
                    </a:lnTo>
                    <a:lnTo>
                      <a:pt x="19" y="27"/>
                    </a:lnTo>
                    <a:lnTo>
                      <a:pt x="18" y="27"/>
                    </a:lnTo>
                    <a:lnTo>
                      <a:pt x="16" y="29"/>
                    </a:lnTo>
                    <a:lnTo>
                      <a:pt x="16" y="30"/>
                    </a:lnTo>
                    <a:lnTo>
                      <a:pt x="16" y="30"/>
                    </a:lnTo>
                    <a:lnTo>
                      <a:pt x="16" y="33"/>
                    </a:lnTo>
                    <a:lnTo>
                      <a:pt x="16" y="34"/>
                    </a:lnTo>
                    <a:lnTo>
                      <a:pt x="15" y="33"/>
                    </a:lnTo>
                    <a:lnTo>
                      <a:pt x="8" y="27"/>
                    </a:lnTo>
                    <a:lnTo>
                      <a:pt x="8" y="27"/>
                    </a:lnTo>
                    <a:lnTo>
                      <a:pt x="9" y="26"/>
                    </a:lnTo>
                    <a:lnTo>
                      <a:pt x="12" y="27"/>
                    </a:lnTo>
                    <a:lnTo>
                      <a:pt x="13" y="27"/>
                    </a:lnTo>
                    <a:lnTo>
                      <a:pt x="13" y="26"/>
                    </a:lnTo>
                    <a:lnTo>
                      <a:pt x="12" y="24"/>
                    </a:lnTo>
                    <a:lnTo>
                      <a:pt x="10" y="21"/>
                    </a:lnTo>
                    <a:lnTo>
                      <a:pt x="10" y="23"/>
                    </a:lnTo>
                    <a:lnTo>
                      <a:pt x="9" y="23"/>
                    </a:lnTo>
                    <a:lnTo>
                      <a:pt x="5" y="23"/>
                    </a:lnTo>
                    <a:lnTo>
                      <a:pt x="6" y="21"/>
                    </a:lnTo>
                    <a:lnTo>
                      <a:pt x="6" y="20"/>
                    </a:lnTo>
                    <a:lnTo>
                      <a:pt x="3" y="20"/>
                    </a:lnTo>
                    <a:lnTo>
                      <a:pt x="2" y="18"/>
                    </a:lnTo>
                    <a:lnTo>
                      <a:pt x="3" y="17"/>
                    </a:lnTo>
                    <a:lnTo>
                      <a:pt x="2" y="16"/>
                    </a:lnTo>
                    <a:lnTo>
                      <a:pt x="0" y="17"/>
                    </a:lnTo>
                    <a:lnTo>
                      <a:pt x="2" y="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68" name="Freeform 62"/>
              <p:cNvSpPr>
                <a:spLocks/>
              </p:cNvSpPr>
              <p:nvPr/>
            </p:nvSpPr>
            <p:spPr bwMode="auto">
              <a:xfrm>
                <a:off x="5155144" y="4188358"/>
                <a:ext cx="2634" cy="6085"/>
              </a:xfrm>
              <a:custGeom>
                <a:avLst/>
                <a:gdLst/>
                <a:ahLst/>
                <a:cxnLst>
                  <a:cxn ang="0">
                    <a:pos x="3" y="0"/>
                  </a:cxn>
                  <a:cxn ang="0">
                    <a:pos x="3" y="0"/>
                  </a:cxn>
                  <a:cxn ang="0">
                    <a:pos x="3" y="4"/>
                  </a:cxn>
                  <a:cxn ang="0">
                    <a:pos x="1" y="6"/>
                  </a:cxn>
                  <a:cxn ang="0">
                    <a:pos x="1" y="6"/>
                  </a:cxn>
                  <a:cxn ang="0">
                    <a:pos x="0" y="4"/>
                  </a:cxn>
                  <a:cxn ang="0">
                    <a:pos x="1" y="3"/>
                  </a:cxn>
                  <a:cxn ang="0">
                    <a:pos x="1" y="3"/>
                  </a:cxn>
                  <a:cxn ang="0">
                    <a:pos x="1" y="3"/>
                  </a:cxn>
                  <a:cxn ang="0">
                    <a:pos x="0" y="3"/>
                  </a:cxn>
                  <a:cxn ang="0">
                    <a:pos x="0" y="1"/>
                  </a:cxn>
                  <a:cxn ang="0">
                    <a:pos x="0" y="0"/>
                  </a:cxn>
                  <a:cxn ang="0">
                    <a:pos x="3" y="0"/>
                  </a:cxn>
                </a:cxnLst>
                <a:rect l="0" t="0" r="r" b="b"/>
                <a:pathLst>
                  <a:path w="3" h="6">
                    <a:moveTo>
                      <a:pt x="3" y="0"/>
                    </a:moveTo>
                    <a:lnTo>
                      <a:pt x="3" y="0"/>
                    </a:lnTo>
                    <a:lnTo>
                      <a:pt x="3" y="4"/>
                    </a:lnTo>
                    <a:lnTo>
                      <a:pt x="1" y="6"/>
                    </a:lnTo>
                    <a:lnTo>
                      <a:pt x="1" y="6"/>
                    </a:lnTo>
                    <a:lnTo>
                      <a:pt x="0" y="4"/>
                    </a:lnTo>
                    <a:lnTo>
                      <a:pt x="1" y="3"/>
                    </a:lnTo>
                    <a:lnTo>
                      <a:pt x="1" y="3"/>
                    </a:lnTo>
                    <a:lnTo>
                      <a:pt x="1" y="3"/>
                    </a:lnTo>
                    <a:lnTo>
                      <a:pt x="0" y="3"/>
                    </a:lnTo>
                    <a:lnTo>
                      <a:pt x="0" y="1"/>
                    </a:lnTo>
                    <a:lnTo>
                      <a:pt x="0" y="0"/>
                    </a:lnTo>
                    <a:lnTo>
                      <a:pt x="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69" name="Freeform 63"/>
              <p:cNvSpPr>
                <a:spLocks/>
              </p:cNvSpPr>
              <p:nvPr/>
            </p:nvSpPr>
            <p:spPr bwMode="auto">
              <a:xfrm>
                <a:off x="5155144" y="4188358"/>
                <a:ext cx="2634" cy="6085"/>
              </a:xfrm>
              <a:custGeom>
                <a:avLst/>
                <a:gdLst/>
                <a:ahLst/>
                <a:cxnLst>
                  <a:cxn ang="0">
                    <a:pos x="3" y="0"/>
                  </a:cxn>
                  <a:cxn ang="0">
                    <a:pos x="3" y="0"/>
                  </a:cxn>
                  <a:cxn ang="0">
                    <a:pos x="3" y="4"/>
                  </a:cxn>
                  <a:cxn ang="0">
                    <a:pos x="1" y="6"/>
                  </a:cxn>
                  <a:cxn ang="0">
                    <a:pos x="1" y="6"/>
                  </a:cxn>
                  <a:cxn ang="0">
                    <a:pos x="0" y="4"/>
                  </a:cxn>
                  <a:cxn ang="0">
                    <a:pos x="1" y="3"/>
                  </a:cxn>
                  <a:cxn ang="0">
                    <a:pos x="1" y="3"/>
                  </a:cxn>
                  <a:cxn ang="0">
                    <a:pos x="1" y="3"/>
                  </a:cxn>
                  <a:cxn ang="0">
                    <a:pos x="0" y="3"/>
                  </a:cxn>
                  <a:cxn ang="0">
                    <a:pos x="0" y="1"/>
                  </a:cxn>
                  <a:cxn ang="0">
                    <a:pos x="0" y="0"/>
                  </a:cxn>
                  <a:cxn ang="0">
                    <a:pos x="3" y="0"/>
                  </a:cxn>
                </a:cxnLst>
                <a:rect l="0" t="0" r="r" b="b"/>
                <a:pathLst>
                  <a:path w="3" h="6">
                    <a:moveTo>
                      <a:pt x="3" y="0"/>
                    </a:moveTo>
                    <a:lnTo>
                      <a:pt x="3" y="0"/>
                    </a:lnTo>
                    <a:lnTo>
                      <a:pt x="3" y="4"/>
                    </a:lnTo>
                    <a:lnTo>
                      <a:pt x="1" y="6"/>
                    </a:lnTo>
                    <a:lnTo>
                      <a:pt x="1" y="6"/>
                    </a:lnTo>
                    <a:lnTo>
                      <a:pt x="0" y="4"/>
                    </a:lnTo>
                    <a:lnTo>
                      <a:pt x="1" y="3"/>
                    </a:lnTo>
                    <a:lnTo>
                      <a:pt x="1" y="3"/>
                    </a:lnTo>
                    <a:lnTo>
                      <a:pt x="1" y="3"/>
                    </a:lnTo>
                    <a:lnTo>
                      <a:pt x="0" y="3"/>
                    </a:lnTo>
                    <a:lnTo>
                      <a:pt x="0" y="1"/>
                    </a:lnTo>
                    <a:lnTo>
                      <a:pt x="0" y="0"/>
                    </a:lnTo>
                    <a:lnTo>
                      <a:pt x="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70" name="Freeform 64"/>
              <p:cNvSpPr>
                <a:spLocks/>
              </p:cNvSpPr>
              <p:nvPr/>
            </p:nvSpPr>
            <p:spPr bwMode="auto">
              <a:xfrm>
                <a:off x="5145489" y="4195458"/>
                <a:ext cx="20189" cy="15211"/>
              </a:xfrm>
              <a:custGeom>
                <a:avLst/>
                <a:gdLst/>
                <a:ahLst/>
                <a:cxnLst>
                  <a:cxn ang="0">
                    <a:pos x="0" y="0"/>
                  </a:cxn>
                  <a:cxn ang="0">
                    <a:pos x="0" y="0"/>
                  </a:cxn>
                  <a:cxn ang="0">
                    <a:pos x="3" y="3"/>
                  </a:cxn>
                  <a:cxn ang="0">
                    <a:pos x="16" y="9"/>
                  </a:cxn>
                  <a:cxn ang="0">
                    <a:pos x="16" y="12"/>
                  </a:cxn>
                  <a:cxn ang="0">
                    <a:pos x="16" y="12"/>
                  </a:cxn>
                  <a:cxn ang="0">
                    <a:pos x="17" y="10"/>
                  </a:cxn>
                  <a:cxn ang="0">
                    <a:pos x="17" y="10"/>
                  </a:cxn>
                  <a:cxn ang="0">
                    <a:pos x="19" y="12"/>
                  </a:cxn>
                  <a:cxn ang="0">
                    <a:pos x="22" y="13"/>
                  </a:cxn>
                  <a:cxn ang="0">
                    <a:pos x="22" y="15"/>
                  </a:cxn>
                  <a:cxn ang="0">
                    <a:pos x="19" y="15"/>
                  </a:cxn>
                  <a:cxn ang="0">
                    <a:pos x="16" y="13"/>
                  </a:cxn>
                  <a:cxn ang="0">
                    <a:pos x="14" y="12"/>
                  </a:cxn>
                  <a:cxn ang="0">
                    <a:pos x="11" y="9"/>
                  </a:cxn>
                  <a:cxn ang="0">
                    <a:pos x="11" y="9"/>
                  </a:cxn>
                  <a:cxn ang="0">
                    <a:pos x="11" y="10"/>
                  </a:cxn>
                  <a:cxn ang="0">
                    <a:pos x="10" y="10"/>
                  </a:cxn>
                  <a:cxn ang="0">
                    <a:pos x="1" y="6"/>
                  </a:cxn>
                  <a:cxn ang="0">
                    <a:pos x="0" y="0"/>
                  </a:cxn>
                </a:cxnLst>
                <a:rect l="0" t="0" r="r" b="b"/>
                <a:pathLst>
                  <a:path w="22" h="15">
                    <a:moveTo>
                      <a:pt x="0" y="0"/>
                    </a:moveTo>
                    <a:lnTo>
                      <a:pt x="0" y="0"/>
                    </a:lnTo>
                    <a:lnTo>
                      <a:pt x="3" y="3"/>
                    </a:lnTo>
                    <a:lnTo>
                      <a:pt x="16" y="9"/>
                    </a:lnTo>
                    <a:lnTo>
                      <a:pt x="16" y="12"/>
                    </a:lnTo>
                    <a:lnTo>
                      <a:pt x="16" y="12"/>
                    </a:lnTo>
                    <a:lnTo>
                      <a:pt x="17" y="10"/>
                    </a:lnTo>
                    <a:lnTo>
                      <a:pt x="17" y="10"/>
                    </a:lnTo>
                    <a:lnTo>
                      <a:pt x="19" y="12"/>
                    </a:lnTo>
                    <a:lnTo>
                      <a:pt x="22" y="13"/>
                    </a:lnTo>
                    <a:lnTo>
                      <a:pt x="22" y="15"/>
                    </a:lnTo>
                    <a:lnTo>
                      <a:pt x="19" y="15"/>
                    </a:lnTo>
                    <a:lnTo>
                      <a:pt x="16" y="13"/>
                    </a:lnTo>
                    <a:lnTo>
                      <a:pt x="14" y="12"/>
                    </a:lnTo>
                    <a:lnTo>
                      <a:pt x="11" y="9"/>
                    </a:lnTo>
                    <a:lnTo>
                      <a:pt x="11" y="9"/>
                    </a:lnTo>
                    <a:lnTo>
                      <a:pt x="11" y="10"/>
                    </a:lnTo>
                    <a:lnTo>
                      <a:pt x="10" y="10"/>
                    </a:lnTo>
                    <a:lnTo>
                      <a:pt x="1" y="6"/>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71" name="Freeform 65"/>
              <p:cNvSpPr>
                <a:spLocks/>
              </p:cNvSpPr>
              <p:nvPr/>
            </p:nvSpPr>
            <p:spPr bwMode="auto">
              <a:xfrm>
                <a:off x="5145489" y="4195458"/>
                <a:ext cx="20189" cy="15211"/>
              </a:xfrm>
              <a:custGeom>
                <a:avLst/>
                <a:gdLst/>
                <a:ahLst/>
                <a:cxnLst>
                  <a:cxn ang="0">
                    <a:pos x="0" y="0"/>
                  </a:cxn>
                  <a:cxn ang="0">
                    <a:pos x="0" y="0"/>
                  </a:cxn>
                  <a:cxn ang="0">
                    <a:pos x="3" y="3"/>
                  </a:cxn>
                  <a:cxn ang="0">
                    <a:pos x="16" y="9"/>
                  </a:cxn>
                  <a:cxn ang="0">
                    <a:pos x="16" y="12"/>
                  </a:cxn>
                  <a:cxn ang="0">
                    <a:pos x="16" y="12"/>
                  </a:cxn>
                  <a:cxn ang="0">
                    <a:pos x="17" y="10"/>
                  </a:cxn>
                  <a:cxn ang="0">
                    <a:pos x="17" y="10"/>
                  </a:cxn>
                  <a:cxn ang="0">
                    <a:pos x="19" y="12"/>
                  </a:cxn>
                  <a:cxn ang="0">
                    <a:pos x="22" y="13"/>
                  </a:cxn>
                  <a:cxn ang="0">
                    <a:pos x="22" y="15"/>
                  </a:cxn>
                  <a:cxn ang="0">
                    <a:pos x="19" y="15"/>
                  </a:cxn>
                  <a:cxn ang="0">
                    <a:pos x="16" y="13"/>
                  </a:cxn>
                  <a:cxn ang="0">
                    <a:pos x="14" y="12"/>
                  </a:cxn>
                  <a:cxn ang="0">
                    <a:pos x="11" y="9"/>
                  </a:cxn>
                  <a:cxn ang="0">
                    <a:pos x="11" y="9"/>
                  </a:cxn>
                  <a:cxn ang="0">
                    <a:pos x="11" y="10"/>
                  </a:cxn>
                  <a:cxn ang="0">
                    <a:pos x="10" y="10"/>
                  </a:cxn>
                  <a:cxn ang="0">
                    <a:pos x="1" y="6"/>
                  </a:cxn>
                  <a:cxn ang="0">
                    <a:pos x="0" y="0"/>
                  </a:cxn>
                </a:cxnLst>
                <a:rect l="0" t="0" r="r" b="b"/>
                <a:pathLst>
                  <a:path w="22" h="15">
                    <a:moveTo>
                      <a:pt x="0" y="0"/>
                    </a:moveTo>
                    <a:lnTo>
                      <a:pt x="0" y="0"/>
                    </a:lnTo>
                    <a:lnTo>
                      <a:pt x="3" y="3"/>
                    </a:lnTo>
                    <a:lnTo>
                      <a:pt x="16" y="9"/>
                    </a:lnTo>
                    <a:lnTo>
                      <a:pt x="16" y="12"/>
                    </a:lnTo>
                    <a:lnTo>
                      <a:pt x="16" y="12"/>
                    </a:lnTo>
                    <a:lnTo>
                      <a:pt x="17" y="10"/>
                    </a:lnTo>
                    <a:lnTo>
                      <a:pt x="17" y="10"/>
                    </a:lnTo>
                    <a:lnTo>
                      <a:pt x="19" y="12"/>
                    </a:lnTo>
                    <a:lnTo>
                      <a:pt x="22" y="13"/>
                    </a:lnTo>
                    <a:lnTo>
                      <a:pt x="22" y="15"/>
                    </a:lnTo>
                    <a:lnTo>
                      <a:pt x="19" y="15"/>
                    </a:lnTo>
                    <a:lnTo>
                      <a:pt x="16" y="13"/>
                    </a:lnTo>
                    <a:lnTo>
                      <a:pt x="14" y="12"/>
                    </a:lnTo>
                    <a:lnTo>
                      <a:pt x="11" y="9"/>
                    </a:lnTo>
                    <a:lnTo>
                      <a:pt x="11" y="9"/>
                    </a:lnTo>
                    <a:lnTo>
                      <a:pt x="11" y="10"/>
                    </a:lnTo>
                    <a:lnTo>
                      <a:pt x="10" y="10"/>
                    </a:lnTo>
                    <a:lnTo>
                      <a:pt x="1" y="6"/>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72" name="Freeform 66"/>
              <p:cNvSpPr>
                <a:spLocks/>
              </p:cNvSpPr>
              <p:nvPr/>
            </p:nvSpPr>
            <p:spPr bwMode="auto">
              <a:xfrm>
                <a:off x="5143733" y="4169090"/>
                <a:ext cx="1756" cy="10141"/>
              </a:xfrm>
              <a:custGeom>
                <a:avLst/>
                <a:gdLst/>
                <a:ahLst/>
                <a:cxnLst>
                  <a:cxn ang="0">
                    <a:pos x="2" y="0"/>
                  </a:cxn>
                  <a:cxn ang="0">
                    <a:pos x="2" y="2"/>
                  </a:cxn>
                  <a:cxn ang="0">
                    <a:pos x="2" y="8"/>
                  </a:cxn>
                  <a:cxn ang="0">
                    <a:pos x="2" y="9"/>
                  </a:cxn>
                  <a:cxn ang="0">
                    <a:pos x="0" y="9"/>
                  </a:cxn>
                  <a:cxn ang="0">
                    <a:pos x="0" y="9"/>
                  </a:cxn>
                  <a:cxn ang="0">
                    <a:pos x="0" y="5"/>
                  </a:cxn>
                  <a:cxn ang="0">
                    <a:pos x="2" y="3"/>
                  </a:cxn>
                  <a:cxn ang="0">
                    <a:pos x="0" y="0"/>
                  </a:cxn>
                  <a:cxn ang="0">
                    <a:pos x="2" y="0"/>
                  </a:cxn>
                  <a:cxn ang="0">
                    <a:pos x="2" y="0"/>
                  </a:cxn>
                </a:cxnLst>
                <a:rect l="0" t="0" r="r" b="b"/>
                <a:pathLst>
                  <a:path w="2" h="9">
                    <a:moveTo>
                      <a:pt x="2" y="0"/>
                    </a:moveTo>
                    <a:lnTo>
                      <a:pt x="2" y="2"/>
                    </a:lnTo>
                    <a:lnTo>
                      <a:pt x="2" y="8"/>
                    </a:lnTo>
                    <a:lnTo>
                      <a:pt x="2" y="9"/>
                    </a:lnTo>
                    <a:lnTo>
                      <a:pt x="0" y="9"/>
                    </a:lnTo>
                    <a:lnTo>
                      <a:pt x="0" y="9"/>
                    </a:lnTo>
                    <a:lnTo>
                      <a:pt x="0" y="5"/>
                    </a:lnTo>
                    <a:lnTo>
                      <a:pt x="2" y="3"/>
                    </a:lnTo>
                    <a:lnTo>
                      <a:pt x="0" y="0"/>
                    </a:lnTo>
                    <a:lnTo>
                      <a:pt x="2" y="0"/>
                    </a:lnTo>
                    <a:lnTo>
                      <a:pt x="2"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73" name="Freeform 67"/>
              <p:cNvSpPr>
                <a:spLocks/>
              </p:cNvSpPr>
              <p:nvPr/>
            </p:nvSpPr>
            <p:spPr bwMode="auto">
              <a:xfrm>
                <a:off x="5143733" y="4169090"/>
                <a:ext cx="1756" cy="10141"/>
              </a:xfrm>
              <a:custGeom>
                <a:avLst/>
                <a:gdLst/>
                <a:ahLst/>
                <a:cxnLst>
                  <a:cxn ang="0">
                    <a:pos x="2" y="0"/>
                  </a:cxn>
                  <a:cxn ang="0">
                    <a:pos x="2" y="2"/>
                  </a:cxn>
                  <a:cxn ang="0">
                    <a:pos x="2" y="8"/>
                  </a:cxn>
                  <a:cxn ang="0">
                    <a:pos x="2" y="9"/>
                  </a:cxn>
                  <a:cxn ang="0">
                    <a:pos x="0" y="9"/>
                  </a:cxn>
                  <a:cxn ang="0">
                    <a:pos x="0" y="9"/>
                  </a:cxn>
                  <a:cxn ang="0">
                    <a:pos x="0" y="5"/>
                  </a:cxn>
                  <a:cxn ang="0">
                    <a:pos x="2" y="3"/>
                  </a:cxn>
                  <a:cxn ang="0">
                    <a:pos x="0" y="0"/>
                  </a:cxn>
                  <a:cxn ang="0">
                    <a:pos x="2" y="0"/>
                  </a:cxn>
                  <a:cxn ang="0">
                    <a:pos x="2" y="0"/>
                  </a:cxn>
                </a:cxnLst>
                <a:rect l="0" t="0" r="r" b="b"/>
                <a:pathLst>
                  <a:path w="2" h="9">
                    <a:moveTo>
                      <a:pt x="2" y="0"/>
                    </a:moveTo>
                    <a:lnTo>
                      <a:pt x="2" y="2"/>
                    </a:lnTo>
                    <a:lnTo>
                      <a:pt x="2" y="8"/>
                    </a:lnTo>
                    <a:lnTo>
                      <a:pt x="2" y="9"/>
                    </a:lnTo>
                    <a:lnTo>
                      <a:pt x="0" y="9"/>
                    </a:lnTo>
                    <a:lnTo>
                      <a:pt x="0" y="9"/>
                    </a:lnTo>
                    <a:lnTo>
                      <a:pt x="0" y="5"/>
                    </a:lnTo>
                    <a:lnTo>
                      <a:pt x="2" y="3"/>
                    </a:lnTo>
                    <a:lnTo>
                      <a:pt x="0" y="0"/>
                    </a:lnTo>
                    <a:lnTo>
                      <a:pt x="2" y="0"/>
                    </a:lnTo>
                    <a:lnTo>
                      <a:pt x="2"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74" name="Freeform 68"/>
              <p:cNvSpPr>
                <a:spLocks/>
              </p:cNvSpPr>
              <p:nvPr/>
            </p:nvSpPr>
            <p:spPr bwMode="auto">
              <a:xfrm>
                <a:off x="5157777" y="4210670"/>
                <a:ext cx="20189" cy="19269"/>
              </a:xfrm>
              <a:custGeom>
                <a:avLst/>
                <a:gdLst/>
                <a:ahLst/>
                <a:cxnLst>
                  <a:cxn ang="0">
                    <a:pos x="1" y="0"/>
                  </a:cxn>
                  <a:cxn ang="0">
                    <a:pos x="3" y="0"/>
                  </a:cxn>
                  <a:cxn ang="0">
                    <a:pos x="4" y="0"/>
                  </a:cxn>
                  <a:cxn ang="0">
                    <a:pos x="4" y="1"/>
                  </a:cxn>
                  <a:cxn ang="0">
                    <a:pos x="7" y="1"/>
                  </a:cxn>
                  <a:cxn ang="0">
                    <a:pos x="7" y="2"/>
                  </a:cxn>
                  <a:cxn ang="0">
                    <a:pos x="9" y="2"/>
                  </a:cxn>
                  <a:cxn ang="0">
                    <a:pos x="9" y="1"/>
                  </a:cxn>
                  <a:cxn ang="0">
                    <a:pos x="9" y="1"/>
                  </a:cxn>
                  <a:cxn ang="0">
                    <a:pos x="10" y="1"/>
                  </a:cxn>
                  <a:cxn ang="0">
                    <a:pos x="11" y="2"/>
                  </a:cxn>
                  <a:cxn ang="0">
                    <a:pos x="13" y="1"/>
                  </a:cxn>
                  <a:cxn ang="0">
                    <a:pos x="14" y="5"/>
                  </a:cxn>
                  <a:cxn ang="0">
                    <a:pos x="16" y="4"/>
                  </a:cxn>
                  <a:cxn ang="0">
                    <a:pos x="17" y="4"/>
                  </a:cxn>
                  <a:cxn ang="0">
                    <a:pos x="17" y="5"/>
                  </a:cxn>
                  <a:cxn ang="0">
                    <a:pos x="17" y="7"/>
                  </a:cxn>
                  <a:cxn ang="0">
                    <a:pos x="20" y="8"/>
                  </a:cxn>
                  <a:cxn ang="0">
                    <a:pos x="22" y="10"/>
                  </a:cxn>
                  <a:cxn ang="0">
                    <a:pos x="22" y="11"/>
                  </a:cxn>
                  <a:cxn ang="0">
                    <a:pos x="19" y="11"/>
                  </a:cxn>
                  <a:cxn ang="0">
                    <a:pos x="19" y="16"/>
                  </a:cxn>
                  <a:cxn ang="0">
                    <a:pos x="19" y="16"/>
                  </a:cxn>
                  <a:cxn ang="0">
                    <a:pos x="16" y="16"/>
                  </a:cxn>
                  <a:cxn ang="0">
                    <a:pos x="16" y="14"/>
                  </a:cxn>
                  <a:cxn ang="0">
                    <a:pos x="16" y="16"/>
                  </a:cxn>
                  <a:cxn ang="0">
                    <a:pos x="16" y="17"/>
                  </a:cxn>
                  <a:cxn ang="0">
                    <a:pos x="14" y="18"/>
                  </a:cxn>
                  <a:cxn ang="0">
                    <a:pos x="13" y="17"/>
                  </a:cxn>
                  <a:cxn ang="0">
                    <a:pos x="11" y="17"/>
                  </a:cxn>
                  <a:cxn ang="0">
                    <a:pos x="10" y="17"/>
                  </a:cxn>
                  <a:cxn ang="0">
                    <a:pos x="13" y="16"/>
                  </a:cxn>
                  <a:cxn ang="0">
                    <a:pos x="7" y="14"/>
                  </a:cxn>
                  <a:cxn ang="0">
                    <a:pos x="6" y="14"/>
                  </a:cxn>
                  <a:cxn ang="0">
                    <a:pos x="6" y="10"/>
                  </a:cxn>
                  <a:cxn ang="0">
                    <a:pos x="4" y="8"/>
                  </a:cxn>
                  <a:cxn ang="0">
                    <a:pos x="3" y="4"/>
                  </a:cxn>
                  <a:cxn ang="0">
                    <a:pos x="0" y="1"/>
                  </a:cxn>
                  <a:cxn ang="0">
                    <a:pos x="0" y="1"/>
                  </a:cxn>
                  <a:cxn ang="0">
                    <a:pos x="1" y="0"/>
                  </a:cxn>
                </a:cxnLst>
                <a:rect l="0" t="0" r="r" b="b"/>
                <a:pathLst>
                  <a:path w="22" h="18">
                    <a:moveTo>
                      <a:pt x="1" y="0"/>
                    </a:moveTo>
                    <a:lnTo>
                      <a:pt x="3" y="0"/>
                    </a:lnTo>
                    <a:lnTo>
                      <a:pt x="4" y="0"/>
                    </a:lnTo>
                    <a:lnTo>
                      <a:pt x="4" y="1"/>
                    </a:lnTo>
                    <a:lnTo>
                      <a:pt x="7" y="1"/>
                    </a:lnTo>
                    <a:lnTo>
                      <a:pt x="7" y="2"/>
                    </a:lnTo>
                    <a:lnTo>
                      <a:pt x="9" y="2"/>
                    </a:lnTo>
                    <a:lnTo>
                      <a:pt x="9" y="1"/>
                    </a:lnTo>
                    <a:lnTo>
                      <a:pt x="9" y="1"/>
                    </a:lnTo>
                    <a:lnTo>
                      <a:pt x="10" y="1"/>
                    </a:lnTo>
                    <a:lnTo>
                      <a:pt x="11" y="2"/>
                    </a:lnTo>
                    <a:lnTo>
                      <a:pt x="13" y="1"/>
                    </a:lnTo>
                    <a:lnTo>
                      <a:pt x="14" y="5"/>
                    </a:lnTo>
                    <a:lnTo>
                      <a:pt x="16" y="4"/>
                    </a:lnTo>
                    <a:lnTo>
                      <a:pt x="17" y="4"/>
                    </a:lnTo>
                    <a:lnTo>
                      <a:pt x="17" y="5"/>
                    </a:lnTo>
                    <a:lnTo>
                      <a:pt x="17" y="7"/>
                    </a:lnTo>
                    <a:lnTo>
                      <a:pt x="20" y="8"/>
                    </a:lnTo>
                    <a:lnTo>
                      <a:pt x="22" y="10"/>
                    </a:lnTo>
                    <a:lnTo>
                      <a:pt x="22" y="11"/>
                    </a:lnTo>
                    <a:lnTo>
                      <a:pt x="19" y="11"/>
                    </a:lnTo>
                    <a:lnTo>
                      <a:pt x="19" y="16"/>
                    </a:lnTo>
                    <a:lnTo>
                      <a:pt x="19" y="16"/>
                    </a:lnTo>
                    <a:lnTo>
                      <a:pt x="16" y="16"/>
                    </a:lnTo>
                    <a:lnTo>
                      <a:pt x="16" y="14"/>
                    </a:lnTo>
                    <a:lnTo>
                      <a:pt x="16" y="16"/>
                    </a:lnTo>
                    <a:lnTo>
                      <a:pt x="16" y="17"/>
                    </a:lnTo>
                    <a:lnTo>
                      <a:pt x="14" y="18"/>
                    </a:lnTo>
                    <a:lnTo>
                      <a:pt x="13" y="17"/>
                    </a:lnTo>
                    <a:lnTo>
                      <a:pt x="11" y="17"/>
                    </a:lnTo>
                    <a:lnTo>
                      <a:pt x="10" y="17"/>
                    </a:lnTo>
                    <a:lnTo>
                      <a:pt x="13" y="16"/>
                    </a:lnTo>
                    <a:lnTo>
                      <a:pt x="7" y="14"/>
                    </a:lnTo>
                    <a:lnTo>
                      <a:pt x="6" y="14"/>
                    </a:lnTo>
                    <a:lnTo>
                      <a:pt x="6" y="10"/>
                    </a:lnTo>
                    <a:lnTo>
                      <a:pt x="4" y="8"/>
                    </a:lnTo>
                    <a:lnTo>
                      <a:pt x="3" y="4"/>
                    </a:lnTo>
                    <a:lnTo>
                      <a:pt x="0" y="1"/>
                    </a:lnTo>
                    <a:lnTo>
                      <a:pt x="0" y="1"/>
                    </a:lnTo>
                    <a:lnTo>
                      <a:pt x="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75" name="Freeform 69"/>
              <p:cNvSpPr>
                <a:spLocks/>
              </p:cNvSpPr>
              <p:nvPr/>
            </p:nvSpPr>
            <p:spPr bwMode="auto">
              <a:xfrm>
                <a:off x="5157777" y="4210670"/>
                <a:ext cx="20189" cy="19269"/>
              </a:xfrm>
              <a:custGeom>
                <a:avLst/>
                <a:gdLst/>
                <a:ahLst/>
                <a:cxnLst>
                  <a:cxn ang="0">
                    <a:pos x="1" y="0"/>
                  </a:cxn>
                  <a:cxn ang="0">
                    <a:pos x="3" y="0"/>
                  </a:cxn>
                  <a:cxn ang="0">
                    <a:pos x="4" y="0"/>
                  </a:cxn>
                  <a:cxn ang="0">
                    <a:pos x="4" y="1"/>
                  </a:cxn>
                  <a:cxn ang="0">
                    <a:pos x="7" y="1"/>
                  </a:cxn>
                  <a:cxn ang="0">
                    <a:pos x="7" y="2"/>
                  </a:cxn>
                  <a:cxn ang="0">
                    <a:pos x="9" y="2"/>
                  </a:cxn>
                  <a:cxn ang="0">
                    <a:pos x="9" y="1"/>
                  </a:cxn>
                  <a:cxn ang="0">
                    <a:pos x="9" y="1"/>
                  </a:cxn>
                  <a:cxn ang="0">
                    <a:pos x="10" y="1"/>
                  </a:cxn>
                  <a:cxn ang="0">
                    <a:pos x="11" y="2"/>
                  </a:cxn>
                  <a:cxn ang="0">
                    <a:pos x="13" y="1"/>
                  </a:cxn>
                  <a:cxn ang="0">
                    <a:pos x="14" y="5"/>
                  </a:cxn>
                  <a:cxn ang="0">
                    <a:pos x="16" y="4"/>
                  </a:cxn>
                  <a:cxn ang="0">
                    <a:pos x="17" y="4"/>
                  </a:cxn>
                  <a:cxn ang="0">
                    <a:pos x="17" y="5"/>
                  </a:cxn>
                  <a:cxn ang="0">
                    <a:pos x="17" y="7"/>
                  </a:cxn>
                  <a:cxn ang="0">
                    <a:pos x="20" y="8"/>
                  </a:cxn>
                  <a:cxn ang="0">
                    <a:pos x="22" y="10"/>
                  </a:cxn>
                  <a:cxn ang="0">
                    <a:pos x="22" y="11"/>
                  </a:cxn>
                  <a:cxn ang="0">
                    <a:pos x="19" y="11"/>
                  </a:cxn>
                  <a:cxn ang="0">
                    <a:pos x="19" y="16"/>
                  </a:cxn>
                  <a:cxn ang="0">
                    <a:pos x="19" y="16"/>
                  </a:cxn>
                  <a:cxn ang="0">
                    <a:pos x="16" y="16"/>
                  </a:cxn>
                  <a:cxn ang="0">
                    <a:pos x="16" y="14"/>
                  </a:cxn>
                  <a:cxn ang="0">
                    <a:pos x="16" y="16"/>
                  </a:cxn>
                  <a:cxn ang="0">
                    <a:pos x="16" y="17"/>
                  </a:cxn>
                  <a:cxn ang="0">
                    <a:pos x="14" y="18"/>
                  </a:cxn>
                  <a:cxn ang="0">
                    <a:pos x="13" y="17"/>
                  </a:cxn>
                  <a:cxn ang="0">
                    <a:pos x="11" y="17"/>
                  </a:cxn>
                  <a:cxn ang="0">
                    <a:pos x="10" y="17"/>
                  </a:cxn>
                  <a:cxn ang="0">
                    <a:pos x="13" y="16"/>
                  </a:cxn>
                  <a:cxn ang="0">
                    <a:pos x="7" y="14"/>
                  </a:cxn>
                  <a:cxn ang="0">
                    <a:pos x="6" y="14"/>
                  </a:cxn>
                  <a:cxn ang="0">
                    <a:pos x="6" y="10"/>
                  </a:cxn>
                  <a:cxn ang="0">
                    <a:pos x="4" y="8"/>
                  </a:cxn>
                  <a:cxn ang="0">
                    <a:pos x="3" y="4"/>
                  </a:cxn>
                  <a:cxn ang="0">
                    <a:pos x="0" y="1"/>
                  </a:cxn>
                  <a:cxn ang="0">
                    <a:pos x="0" y="1"/>
                  </a:cxn>
                  <a:cxn ang="0">
                    <a:pos x="1" y="0"/>
                  </a:cxn>
                </a:cxnLst>
                <a:rect l="0" t="0" r="r" b="b"/>
                <a:pathLst>
                  <a:path w="22" h="18">
                    <a:moveTo>
                      <a:pt x="1" y="0"/>
                    </a:moveTo>
                    <a:lnTo>
                      <a:pt x="3" y="0"/>
                    </a:lnTo>
                    <a:lnTo>
                      <a:pt x="4" y="0"/>
                    </a:lnTo>
                    <a:lnTo>
                      <a:pt x="4" y="1"/>
                    </a:lnTo>
                    <a:lnTo>
                      <a:pt x="7" y="1"/>
                    </a:lnTo>
                    <a:lnTo>
                      <a:pt x="7" y="2"/>
                    </a:lnTo>
                    <a:lnTo>
                      <a:pt x="9" y="2"/>
                    </a:lnTo>
                    <a:lnTo>
                      <a:pt x="9" y="1"/>
                    </a:lnTo>
                    <a:lnTo>
                      <a:pt x="9" y="1"/>
                    </a:lnTo>
                    <a:lnTo>
                      <a:pt x="10" y="1"/>
                    </a:lnTo>
                    <a:lnTo>
                      <a:pt x="11" y="2"/>
                    </a:lnTo>
                    <a:lnTo>
                      <a:pt x="13" y="1"/>
                    </a:lnTo>
                    <a:lnTo>
                      <a:pt x="14" y="5"/>
                    </a:lnTo>
                    <a:lnTo>
                      <a:pt x="16" y="4"/>
                    </a:lnTo>
                    <a:lnTo>
                      <a:pt x="17" y="4"/>
                    </a:lnTo>
                    <a:lnTo>
                      <a:pt x="17" y="5"/>
                    </a:lnTo>
                    <a:lnTo>
                      <a:pt x="17" y="7"/>
                    </a:lnTo>
                    <a:lnTo>
                      <a:pt x="20" y="8"/>
                    </a:lnTo>
                    <a:lnTo>
                      <a:pt x="22" y="10"/>
                    </a:lnTo>
                    <a:lnTo>
                      <a:pt x="22" y="11"/>
                    </a:lnTo>
                    <a:lnTo>
                      <a:pt x="19" y="11"/>
                    </a:lnTo>
                    <a:lnTo>
                      <a:pt x="19" y="16"/>
                    </a:lnTo>
                    <a:lnTo>
                      <a:pt x="19" y="16"/>
                    </a:lnTo>
                    <a:lnTo>
                      <a:pt x="16" y="16"/>
                    </a:lnTo>
                    <a:lnTo>
                      <a:pt x="16" y="14"/>
                    </a:lnTo>
                    <a:lnTo>
                      <a:pt x="16" y="16"/>
                    </a:lnTo>
                    <a:lnTo>
                      <a:pt x="16" y="17"/>
                    </a:lnTo>
                    <a:lnTo>
                      <a:pt x="14" y="18"/>
                    </a:lnTo>
                    <a:lnTo>
                      <a:pt x="13" y="17"/>
                    </a:lnTo>
                    <a:lnTo>
                      <a:pt x="11" y="17"/>
                    </a:lnTo>
                    <a:lnTo>
                      <a:pt x="10" y="17"/>
                    </a:lnTo>
                    <a:lnTo>
                      <a:pt x="13" y="16"/>
                    </a:lnTo>
                    <a:lnTo>
                      <a:pt x="7" y="14"/>
                    </a:lnTo>
                    <a:lnTo>
                      <a:pt x="6" y="14"/>
                    </a:lnTo>
                    <a:lnTo>
                      <a:pt x="6" y="10"/>
                    </a:lnTo>
                    <a:lnTo>
                      <a:pt x="4" y="8"/>
                    </a:lnTo>
                    <a:lnTo>
                      <a:pt x="3" y="4"/>
                    </a:lnTo>
                    <a:lnTo>
                      <a:pt x="0" y="1"/>
                    </a:lnTo>
                    <a:lnTo>
                      <a:pt x="0" y="1"/>
                    </a:lnTo>
                    <a:lnTo>
                      <a:pt x="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76" name="Freeform 70"/>
              <p:cNvSpPr>
                <a:spLocks/>
              </p:cNvSpPr>
              <p:nvPr/>
            </p:nvSpPr>
            <p:spPr bwMode="auto">
              <a:xfrm>
                <a:off x="5177967" y="4222838"/>
                <a:ext cx="14045" cy="12170"/>
              </a:xfrm>
              <a:custGeom>
                <a:avLst/>
                <a:gdLst/>
                <a:ahLst/>
                <a:cxnLst>
                  <a:cxn ang="0">
                    <a:pos x="4" y="0"/>
                  </a:cxn>
                  <a:cxn ang="0">
                    <a:pos x="4" y="0"/>
                  </a:cxn>
                  <a:cxn ang="0">
                    <a:pos x="5" y="2"/>
                  </a:cxn>
                  <a:cxn ang="0">
                    <a:pos x="5" y="2"/>
                  </a:cxn>
                  <a:cxn ang="0">
                    <a:pos x="7" y="3"/>
                  </a:cxn>
                  <a:cxn ang="0">
                    <a:pos x="7" y="3"/>
                  </a:cxn>
                  <a:cxn ang="0">
                    <a:pos x="7" y="5"/>
                  </a:cxn>
                  <a:cxn ang="0">
                    <a:pos x="7" y="6"/>
                  </a:cxn>
                  <a:cxn ang="0">
                    <a:pos x="7" y="5"/>
                  </a:cxn>
                  <a:cxn ang="0">
                    <a:pos x="8" y="3"/>
                  </a:cxn>
                  <a:cxn ang="0">
                    <a:pos x="10" y="3"/>
                  </a:cxn>
                  <a:cxn ang="0">
                    <a:pos x="11" y="5"/>
                  </a:cxn>
                  <a:cxn ang="0">
                    <a:pos x="11" y="5"/>
                  </a:cxn>
                  <a:cxn ang="0">
                    <a:pos x="13" y="7"/>
                  </a:cxn>
                  <a:cxn ang="0">
                    <a:pos x="14" y="7"/>
                  </a:cxn>
                  <a:cxn ang="0">
                    <a:pos x="16" y="7"/>
                  </a:cxn>
                  <a:cxn ang="0">
                    <a:pos x="16" y="9"/>
                  </a:cxn>
                  <a:cxn ang="0">
                    <a:pos x="16" y="10"/>
                  </a:cxn>
                  <a:cxn ang="0">
                    <a:pos x="16" y="12"/>
                  </a:cxn>
                  <a:cxn ang="0">
                    <a:pos x="13" y="12"/>
                  </a:cxn>
                  <a:cxn ang="0">
                    <a:pos x="11" y="9"/>
                  </a:cxn>
                  <a:cxn ang="0">
                    <a:pos x="7" y="9"/>
                  </a:cxn>
                  <a:cxn ang="0">
                    <a:pos x="5" y="10"/>
                  </a:cxn>
                  <a:cxn ang="0">
                    <a:pos x="7" y="10"/>
                  </a:cxn>
                  <a:cxn ang="0">
                    <a:pos x="7" y="10"/>
                  </a:cxn>
                  <a:cxn ang="0">
                    <a:pos x="4" y="10"/>
                  </a:cxn>
                  <a:cxn ang="0">
                    <a:pos x="4" y="9"/>
                  </a:cxn>
                  <a:cxn ang="0">
                    <a:pos x="3" y="7"/>
                  </a:cxn>
                  <a:cxn ang="0">
                    <a:pos x="1" y="7"/>
                  </a:cxn>
                  <a:cxn ang="0">
                    <a:pos x="0" y="2"/>
                  </a:cxn>
                  <a:cxn ang="0">
                    <a:pos x="1" y="2"/>
                  </a:cxn>
                  <a:cxn ang="0">
                    <a:pos x="3" y="2"/>
                  </a:cxn>
                  <a:cxn ang="0">
                    <a:pos x="3" y="0"/>
                  </a:cxn>
                  <a:cxn ang="0">
                    <a:pos x="4" y="0"/>
                  </a:cxn>
                </a:cxnLst>
                <a:rect l="0" t="0" r="r" b="b"/>
                <a:pathLst>
                  <a:path w="16" h="12">
                    <a:moveTo>
                      <a:pt x="4" y="0"/>
                    </a:moveTo>
                    <a:lnTo>
                      <a:pt x="4" y="0"/>
                    </a:lnTo>
                    <a:lnTo>
                      <a:pt x="5" y="2"/>
                    </a:lnTo>
                    <a:lnTo>
                      <a:pt x="5" y="2"/>
                    </a:lnTo>
                    <a:lnTo>
                      <a:pt x="7" y="3"/>
                    </a:lnTo>
                    <a:lnTo>
                      <a:pt x="7" y="3"/>
                    </a:lnTo>
                    <a:lnTo>
                      <a:pt x="7" y="5"/>
                    </a:lnTo>
                    <a:lnTo>
                      <a:pt x="7" y="6"/>
                    </a:lnTo>
                    <a:lnTo>
                      <a:pt x="7" y="5"/>
                    </a:lnTo>
                    <a:lnTo>
                      <a:pt x="8" y="3"/>
                    </a:lnTo>
                    <a:lnTo>
                      <a:pt x="10" y="3"/>
                    </a:lnTo>
                    <a:lnTo>
                      <a:pt x="11" y="5"/>
                    </a:lnTo>
                    <a:lnTo>
                      <a:pt x="11" y="5"/>
                    </a:lnTo>
                    <a:lnTo>
                      <a:pt x="13" y="7"/>
                    </a:lnTo>
                    <a:lnTo>
                      <a:pt x="14" y="7"/>
                    </a:lnTo>
                    <a:lnTo>
                      <a:pt x="16" y="7"/>
                    </a:lnTo>
                    <a:lnTo>
                      <a:pt x="16" y="9"/>
                    </a:lnTo>
                    <a:lnTo>
                      <a:pt x="16" y="10"/>
                    </a:lnTo>
                    <a:lnTo>
                      <a:pt x="16" y="12"/>
                    </a:lnTo>
                    <a:lnTo>
                      <a:pt x="13" y="12"/>
                    </a:lnTo>
                    <a:lnTo>
                      <a:pt x="11" y="9"/>
                    </a:lnTo>
                    <a:lnTo>
                      <a:pt x="7" y="9"/>
                    </a:lnTo>
                    <a:lnTo>
                      <a:pt x="5" y="10"/>
                    </a:lnTo>
                    <a:lnTo>
                      <a:pt x="7" y="10"/>
                    </a:lnTo>
                    <a:lnTo>
                      <a:pt x="7" y="10"/>
                    </a:lnTo>
                    <a:lnTo>
                      <a:pt x="4" y="10"/>
                    </a:lnTo>
                    <a:lnTo>
                      <a:pt x="4" y="9"/>
                    </a:lnTo>
                    <a:lnTo>
                      <a:pt x="3" y="7"/>
                    </a:lnTo>
                    <a:lnTo>
                      <a:pt x="1" y="7"/>
                    </a:lnTo>
                    <a:lnTo>
                      <a:pt x="0" y="2"/>
                    </a:lnTo>
                    <a:lnTo>
                      <a:pt x="1" y="2"/>
                    </a:lnTo>
                    <a:lnTo>
                      <a:pt x="3" y="2"/>
                    </a:lnTo>
                    <a:lnTo>
                      <a:pt x="3" y="0"/>
                    </a:lnTo>
                    <a:lnTo>
                      <a:pt x="4"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77" name="Freeform 71"/>
              <p:cNvSpPr>
                <a:spLocks/>
              </p:cNvSpPr>
              <p:nvPr/>
            </p:nvSpPr>
            <p:spPr bwMode="auto">
              <a:xfrm>
                <a:off x="5177967" y="4222838"/>
                <a:ext cx="14045" cy="12170"/>
              </a:xfrm>
              <a:custGeom>
                <a:avLst/>
                <a:gdLst/>
                <a:ahLst/>
                <a:cxnLst>
                  <a:cxn ang="0">
                    <a:pos x="4" y="0"/>
                  </a:cxn>
                  <a:cxn ang="0">
                    <a:pos x="4" y="0"/>
                  </a:cxn>
                  <a:cxn ang="0">
                    <a:pos x="5" y="2"/>
                  </a:cxn>
                  <a:cxn ang="0">
                    <a:pos x="5" y="2"/>
                  </a:cxn>
                  <a:cxn ang="0">
                    <a:pos x="7" y="3"/>
                  </a:cxn>
                  <a:cxn ang="0">
                    <a:pos x="7" y="3"/>
                  </a:cxn>
                  <a:cxn ang="0">
                    <a:pos x="7" y="5"/>
                  </a:cxn>
                  <a:cxn ang="0">
                    <a:pos x="7" y="6"/>
                  </a:cxn>
                  <a:cxn ang="0">
                    <a:pos x="7" y="5"/>
                  </a:cxn>
                  <a:cxn ang="0">
                    <a:pos x="8" y="3"/>
                  </a:cxn>
                  <a:cxn ang="0">
                    <a:pos x="10" y="3"/>
                  </a:cxn>
                  <a:cxn ang="0">
                    <a:pos x="11" y="5"/>
                  </a:cxn>
                  <a:cxn ang="0">
                    <a:pos x="11" y="5"/>
                  </a:cxn>
                  <a:cxn ang="0">
                    <a:pos x="13" y="7"/>
                  </a:cxn>
                  <a:cxn ang="0">
                    <a:pos x="14" y="7"/>
                  </a:cxn>
                  <a:cxn ang="0">
                    <a:pos x="16" y="7"/>
                  </a:cxn>
                  <a:cxn ang="0">
                    <a:pos x="16" y="9"/>
                  </a:cxn>
                  <a:cxn ang="0">
                    <a:pos x="16" y="10"/>
                  </a:cxn>
                  <a:cxn ang="0">
                    <a:pos x="16" y="12"/>
                  </a:cxn>
                  <a:cxn ang="0">
                    <a:pos x="13" y="12"/>
                  </a:cxn>
                  <a:cxn ang="0">
                    <a:pos x="11" y="9"/>
                  </a:cxn>
                  <a:cxn ang="0">
                    <a:pos x="7" y="9"/>
                  </a:cxn>
                  <a:cxn ang="0">
                    <a:pos x="5" y="10"/>
                  </a:cxn>
                  <a:cxn ang="0">
                    <a:pos x="7" y="10"/>
                  </a:cxn>
                  <a:cxn ang="0">
                    <a:pos x="7" y="10"/>
                  </a:cxn>
                  <a:cxn ang="0">
                    <a:pos x="4" y="10"/>
                  </a:cxn>
                  <a:cxn ang="0">
                    <a:pos x="4" y="9"/>
                  </a:cxn>
                  <a:cxn ang="0">
                    <a:pos x="3" y="7"/>
                  </a:cxn>
                  <a:cxn ang="0">
                    <a:pos x="1" y="7"/>
                  </a:cxn>
                  <a:cxn ang="0">
                    <a:pos x="0" y="2"/>
                  </a:cxn>
                  <a:cxn ang="0">
                    <a:pos x="1" y="2"/>
                  </a:cxn>
                  <a:cxn ang="0">
                    <a:pos x="3" y="2"/>
                  </a:cxn>
                  <a:cxn ang="0">
                    <a:pos x="3" y="0"/>
                  </a:cxn>
                  <a:cxn ang="0">
                    <a:pos x="4" y="0"/>
                  </a:cxn>
                </a:cxnLst>
                <a:rect l="0" t="0" r="r" b="b"/>
                <a:pathLst>
                  <a:path w="16" h="12">
                    <a:moveTo>
                      <a:pt x="4" y="0"/>
                    </a:moveTo>
                    <a:lnTo>
                      <a:pt x="4" y="0"/>
                    </a:lnTo>
                    <a:lnTo>
                      <a:pt x="5" y="2"/>
                    </a:lnTo>
                    <a:lnTo>
                      <a:pt x="5" y="2"/>
                    </a:lnTo>
                    <a:lnTo>
                      <a:pt x="7" y="3"/>
                    </a:lnTo>
                    <a:lnTo>
                      <a:pt x="7" y="3"/>
                    </a:lnTo>
                    <a:lnTo>
                      <a:pt x="7" y="5"/>
                    </a:lnTo>
                    <a:lnTo>
                      <a:pt x="7" y="6"/>
                    </a:lnTo>
                    <a:lnTo>
                      <a:pt x="7" y="5"/>
                    </a:lnTo>
                    <a:lnTo>
                      <a:pt x="8" y="3"/>
                    </a:lnTo>
                    <a:lnTo>
                      <a:pt x="10" y="3"/>
                    </a:lnTo>
                    <a:lnTo>
                      <a:pt x="11" y="5"/>
                    </a:lnTo>
                    <a:lnTo>
                      <a:pt x="11" y="5"/>
                    </a:lnTo>
                    <a:lnTo>
                      <a:pt x="13" y="7"/>
                    </a:lnTo>
                    <a:lnTo>
                      <a:pt x="14" y="7"/>
                    </a:lnTo>
                    <a:lnTo>
                      <a:pt x="16" y="7"/>
                    </a:lnTo>
                    <a:lnTo>
                      <a:pt x="16" y="9"/>
                    </a:lnTo>
                    <a:lnTo>
                      <a:pt x="16" y="10"/>
                    </a:lnTo>
                    <a:lnTo>
                      <a:pt x="16" y="12"/>
                    </a:lnTo>
                    <a:lnTo>
                      <a:pt x="13" y="12"/>
                    </a:lnTo>
                    <a:lnTo>
                      <a:pt x="11" y="9"/>
                    </a:lnTo>
                    <a:lnTo>
                      <a:pt x="7" y="9"/>
                    </a:lnTo>
                    <a:lnTo>
                      <a:pt x="5" y="10"/>
                    </a:lnTo>
                    <a:lnTo>
                      <a:pt x="7" y="10"/>
                    </a:lnTo>
                    <a:lnTo>
                      <a:pt x="7" y="10"/>
                    </a:lnTo>
                    <a:lnTo>
                      <a:pt x="4" y="10"/>
                    </a:lnTo>
                    <a:lnTo>
                      <a:pt x="4" y="9"/>
                    </a:lnTo>
                    <a:lnTo>
                      <a:pt x="3" y="7"/>
                    </a:lnTo>
                    <a:lnTo>
                      <a:pt x="1" y="7"/>
                    </a:lnTo>
                    <a:lnTo>
                      <a:pt x="0" y="2"/>
                    </a:lnTo>
                    <a:lnTo>
                      <a:pt x="1" y="2"/>
                    </a:lnTo>
                    <a:lnTo>
                      <a:pt x="3" y="2"/>
                    </a:lnTo>
                    <a:lnTo>
                      <a:pt x="3" y="0"/>
                    </a:lnTo>
                    <a:lnTo>
                      <a:pt x="4"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78" name="Freeform 72"/>
              <p:cNvSpPr>
                <a:spLocks/>
              </p:cNvSpPr>
              <p:nvPr/>
            </p:nvSpPr>
            <p:spPr bwMode="auto">
              <a:xfrm>
                <a:off x="5194646" y="4215740"/>
                <a:ext cx="7022" cy="17240"/>
              </a:xfrm>
              <a:custGeom>
                <a:avLst/>
                <a:gdLst/>
                <a:ahLst/>
                <a:cxnLst>
                  <a:cxn ang="0">
                    <a:pos x="4" y="0"/>
                  </a:cxn>
                  <a:cxn ang="0">
                    <a:pos x="5" y="1"/>
                  </a:cxn>
                  <a:cxn ang="0">
                    <a:pos x="7" y="13"/>
                  </a:cxn>
                  <a:cxn ang="0">
                    <a:pos x="5" y="12"/>
                  </a:cxn>
                  <a:cxn ang="0">
                    <a:pos x="4" y="10"/>
                  </a:cxn>
                  <a:cxn ang="0">
                    <a:pos x="2" y="10"/>
                  </a:cxn>
                  <a:cxn ang="0">
                    <a:pos x="2" y="12"/>
                  </a:cxn>
                  <a:cxn ang="0">
                    <a:pos x="4" y="14"/>
                  </a:cxn>
                  <a:cxn ang="0">
                    <a:pos x="4" y="16"/>
                  </a:cxn>
                  <a:cxn ang="0">
                    <a:pos x="7" y="16"/>
                  </a:cxn>
                  <a:cxn ang="0">
                    <a:pos x="7" y="17"/>
                  </a:cxn>
                  <a:cxn ang="0">
                    <a:pos x="5" y="17"/>
                  </a:cxn>
                  <a:cxn ang="0">
                    <a:pos x="4" y="16"/>
                  </a:cxn>
                  <a:cxn ang="0">
                    <a:pos x="0" y="12"/>
                  </a:cxn>
                  <a:cxn ang="0">
                    <a:pos x="0" y="7"/>
                  </a:cxn>
                  <a:cxn ang="0">
                    <a:pos x="1" y="7"/>
                  </a:cxn>
                  <a:cxn ang="0">
                    <a:pos x="2" y="7"/>
                  </a:cxn>
                  <a:cxn ang="0">
                    <a:pos x="2" y="7"/>
                  </a:cxn>
                  <a:cxn ang="0">
                    <a:pos x="2" y="4"/>
                  </a:cxn>
                  <a:cxn ang="0">
                    <a:pos x="2" y="4"/>
                  </a:cxn>
                  <a:cxn ang="0">
                    <a:pos x="4" y="0"/>
                  </a:cxn>
                </a:cxnLst>
                <a:rect l="0" t="0" r="r" b="b"/>
                <a:pathLst>
                  <a:path w="7" h="17">
                    <a:moveTo>
                      <a:pt x="4" y="0"/>
                    </a:moveTo>
                    <a:lnTo>
                      <a:pt x="5" y="1"/>
                    </a:lnTo>
                    <a:lnTo>
                      <a:pt x="7" y="13"/>
                    </a:lnTo>
                    <a:lnTo>
                      <a:pt x="5" y="12"/>
                    </a:lnTo>
                    <a:lnTo>
                      <a:pt x="4" y="10"/>
                    </a:lnTo>
                    <a:lnTo>
                      <a:pt x="2" y="10"/>
                    </a:lnTo>
                    <a:lnTo>
                      <a:pt x="2" y="12"/>
                    </a:lnTo>
                    <a:lnTo>
                      <a:pt x="4" y="14"/>
                    </a:lnTo>
                    <a:lnTo>
                      <a:pt x="4" y="16"/>
                    </a:lnTo>
                    <a:lnTo>
                      <a:pt x="7" y="16"/>
                    </a:lnTo>
                    <a:lnTo>
                      <a:pt x="7" y="17"/>
                    </a:lnTo>
                    <a:lnTo>
                      <a:pt x="5" y="17"/>
                    </a:lnTo>
                    <a:lnTo>
                      <a:pt x="4" y="16"/>
                    </a:lnTo>
                    <a:lnTo>
                      <a:pt x="0" y="12"/>
                    </a:lnTo>
                    <a:lnTo>
                      <a:pt x="0" y="7"/>
                    </a:lnTo>
                    <a:lnTo>
                      <a:pt x="1" y="7"/>
                    </a:lnTo>
                    <a:lnTo>
                      <a:pt x="2" y="7"/>
                    </a:lnTo>
                    <a:lnTo>
                      <a:pt x="2" y="7"/>
                    </a:lnTo>
                    <a:lnTo>
                      <a:pt x="2" y="4"/>
                    </a:lnTo>
                    <a:lnTo>
                      <a:pt x="2" y="4"/>
                    </a:lnTo>
                    <a:lnTo>
                      <a:pt x="4"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79" name="Freeform 73"/>
              <p:cNvSpPr>
                <a:spLocks/>
              </p:cNvSpPr>
              <p:nvPr/>
            </p:nvSpPr>
            <p:spPr bwMode="auto">
              <a:xfrm>
                <a:off x="5194646" y="4215740"/>
                <a:ext cx="7022" cy="17240"/>
              </a:xfrm>
              <a:custGeom>
                <a:avLst/>
                <a:gdLst/>
                <a:ahLst/>
                <a:cxnLst>
                  <a:cxn ang="0">
                    <a:pos x="4" y="0"/>
                  </a:cxn>
                  <a:cxn ang="0">
                    <a:pos x="5" y="1"/>
                  </a:cxn>
                  <a:cxn ang="0">
                    <a:pos x="7" y="13"/>
                  </a:cxn>
                  <a:cxn ang="0">
                    <a:pos x="5" y="12"/>
                  </a:cxn>
                  <a:cxn ang="0">
                    <a:pos x="4" y="10"/>
                  </a:cxn>
                  <a:cxn ang="0">
                    <a:pos x="2" y="10"/>
                  </a:cxn>
                  <a:cxn ang="0">
                    <a:pos x="2" y="12"/>
                  </a:cxn>
                  <a:cxn ang="0">
                    <a:pos x="4" y="14"/>
                  </a:cxn>
                  <a:cxn ang="0">
                    <a:pos x="4" y="16"/>
                  </a:cxn>
                  <a:cxn ang="0">
                    <a:pos x="7" y="16"/>
                  </a:cxn>
                  <a:cxn ang="0">
                    <a:pos x="7" y="17"/>
                  </a:cxn>
                  <a:cxn ang="0">
                    <a:pos x="5" y="17"/>
                  </a:cxn>
                  <a:cxn ang="0">
                    <a:pos x="4" y="16"/>
                  </a:cxn>
                  <a:cxn ang="0">
                    <a:pos x="0" y="12"/>
                  </a:cxn>
                  <a:cxn ang="0">
                    <a:pos x="0" y="7"/>
                  </a:cxn>
                  <a:cxn ang="0">
                    <a:pos x="1" y="7"/>
                  </a:cxn>
                  <a:cxn ang="0">
                    <a:pos x="2" y="7"/>
                  </a:cxn>
                  <a:cxn ang="0">
                    <a:pos x="2" y="7"/>
                  </a:cxn>
                  <a:cxn ang="0">
                    <a:pos x="2" y="4"/>
                  </a:cxn>
                  <a:cxn ang="0">
                    <a:pos x="2" y="4"/>
                  </a:cxn>
                  <a:cxn ang="0">
                    <a:pos x="4" y="0"/>
                  </a:cxn>
                </a:cxnLst>
                <a:rect l="0" t="0" r="r" b="b"/>
                <a:pathLst>
                  <a:path w="7" h="17">
                    <a:moveTo>
                      <a:pt x="4" y="0"/>
                    </a:moveTo>
                    <a:lnTo>
                      <a:pt x="5" y="1"/>
                    </a:lnTo>
                    <a:lnTo>
                      <a:pt x="7" y="13"/>
                    </a:lnTo>
                    <a:lnTo>
                      <a:pt x="5" y="12"/>
                    </a:lnTo>
                    <a:lnTo>
                      <a:pt x="4" y="10"/>
                    </a:lnTo>
                    <a:lnTo>
                      <a:pt x="2" y="10"/>
                    </a:lnTo>
                    <a:lnTo>
                      <a:pt x="2" y="12"/>
                    </a:lnTo>
                    <a:lnTo>
                      <a:pt x="4" y="14"/>
                    </a:lnTo>
                    <a:lnTo>
                      <a:pt x="4" y="16"/>
                    </a:lnTo>
                    <a:lnTo>
                      <a:pt x="7" y="16"/>
                    </a:lnTo>
                    <a:lnTo>
                      <a:pt x="7" y="17"/>
                    </a:lnTo>
                    <a:lnTo>
                      <a:pt x="5" y="17"/>
                    </a:lnTo>
                    <a:lnTo>
                      <a:pt x="4" y="16"/>
                    </a:lnTo>
                    <a:lnTo>
                      <a:pt x="0" y="12"/>
                    </a:lnTo>
                    <a:lnTo>
                      <a:pt x="0" y="7"/>
                    </a:lnTo>
                    <a:lnTo>
                      <a:pt x="1" y="7"/>
                    </a:lnTo>
                    <a:lnTo>
                      <a:pt x="2" y="7"/>
                    </a:lnTo>
                    <a:lnTo>
                      <a:pt x="2" y="7"/>
                    </a:lnTo>
                    <a:lnTo>
                      <a:pt x="2" y="4"/>
                    </a:lnTo>
                    <a:lnTo>
                      <a:pt x="2" y="4"/>
                    </a:lnTo>
                    <a:lnTo>
                      <a:pt x="4"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80" name="Freeform 74"/>
              <p:cNvSpPr>
                <a:spLocks/>
              </p:cNvSpPr>
              <p:nvPr/>
            </p:nvSpPr>
            <p:spPr bwMode="auto">
              <a:xfrm>
                <a:off x="5192012" y="4252249"/>
                <a:ext cx="4389" cy="4056"/>
              </a:xfrm>
              <a:custGeom>
                <a:avLst/>
                <a:gdLst/>
                <a:ahLst/>
                <a:cxnLst>
                  <a:cxn ang="0">
                    <a:pos x="0" y="3"/>
                  </a:cxn>
                  <a:cxn ang="0">
                    <a:pos x="0" y="1"/>
                  </a:cxn>
                  <a:cxn ang="0">
                    <a:pos x="1" y="0"/>
                  </a:cxn>
                  <a:cxn ang="0">
                    <a:pos x="1" y="0"/>
                  </a:cxn>
                  <a:cxn ang="0">
                    <a:pos x="3" y="0"/>
                  </a:cxn>
                  <a:cxn ang="0">
                    <a:pos x="4" y="1"/>
                  </a:cxn>
                  <a:cxn ang="0">
                    <a:pos x="4" y="3"/>
                  </a:cxn>
                  <a:cxn ang="0">
                    <a:pos x="4" y="4"/>
                  </a:cxn>
                  <a:cxn ang="0">
                    <a:pos x="3" y="4"/>
                  </a:cxn>
                  <a:cxn ang="0">
                    <a:pos x="0" y="3"/>
                  </a:cxn>
                </a:cxnLst>
                <a:rect l="0" t="0" r="r" b="b"/>
                <a:pathLst>
                  <a:path w="4" h="4">
                    <a:moveTo>
                      <a:pt x="0" y="3"/>
                    </a:moveTo>
                    <a:lnTo>
                      <a:pt x="0" y="1"/>
                    </a:lnTo>
                    <a:lnTo>
                      <a:pt x="1" y="0"/>
                    </a:lnTo>
                    <a:lnTo>
                      <a:pt x="1" y="0"/>
                    </a:lnTo>
                    <a:lnTo>
                      <a:pt x="3" y="0"/>
                    </a:lnTo>
                    <a:lnTo>
                      <a:pt x="4" y="1"/>
                    </a:lnTo>
                    <a:lnTo>
                      <a:pt x="4" y="3"/>
                    </a:lnTo>
                    <a:lnTo>
                      <a:pt x="4" y="4"/>
                    </a:lnTo>
                    <a:lnTo>
                      <a:pt x="3" y="4"/>
                    </a:lnTo>
                    <a:lnTo>
                      <a:pt x="0"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81" name="Freeform 75"/>
              <p:cNvSpPr>
                <a:spLocks/>
              </p:cNvSpPr>
              <p:nvPr/>
            </p:nvSpPr>
            <p:spPr bwMode="auto">
              <a:xfrm>
                <a:off x="5192012" y="4252249"/>
                <a:ext cx="4389" cy="4056"/>
              </a:xfrm>
              <a:custGeom>
                <a:avLst/>
                <a:gdLst/>
                <a:ahLst/>
                <a:cxnLst>
                  <a:cxn ang="0">
                    <a:pos x="0" y="3"/>
                  </a:cxn>
                  <a:cxn ang="0">
                    <a:pos x="0" y="1"/>
                  </a:cxn>
                  <a:cxn ang="0">
                    <a:pos x="1" y="0"/>
                  </a:cxn>
                  <a:cxn ang="0">
                    <a:pos x="1" y="0"/>
                  </a:cxn>
                  <a:cxn ang="0">
                    <a:pos x="3" y="0"/>
                  </a:cxn>
                  <a:cxn ang="0">
                    <a:pos x="4" y="1"/>
                  </a:cxn>
                  <a:cxn ang="0">
                    <a:pos x="4" y="3"/>
                  </a:cxn>
                  <a:cxn ang="0">
                    <a:pos x="4" y="4"/>
                  </a:cxn>
                  <a:cxn ang="0">
                    <a:pos x="3" y="4"/>
                  </a:cxn>
                  <a:cxn ang="0">
                    <a:pos x="0" y="3"/>
                  </a:cxn>
                </a:cxnLst>
                <a:rect l="0" t="0" r="r" b="b"/>
                <a:pathLst>
                  <a:path w="4" h="4">
                    <a:moveTo>
                      <a:pt x="0" y="3"/>
                    </a:moveTo>
                    <a:lnTo>
                      <a:pt x="0" y="1"/>
                    </a:lnTo>
                    <a:lnTo>
                      <a:pt x="1" y="0"/>
                    </a:lnTo>
                    <a:lnTo>
                      <a:pt x="1" y="0"/>
                    </a:lnTo>
                    <a:lnTo>
                      <a:pt x="3" y="0"/>
                    </a:lnTo>
                    <a:lnTo>
                      <a:pt x="4" y="1"/>
                    </a:lnTo>
                    <a:lnTo>
                      <a:pt x="4" y="3"/>
                    </a:lnTo>
                    <a:lnTo>
                      <a:pt x="4" y="4"/>
                    </a:lnTo>
                    <a:lnTo>
                      <a:pt x="3" y="4"/>
                    </a:lnTo>
                    <a:lnTo>
                      <a:pt x="0"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82" name="Freeform 76"/>
              <p:cNvSpPr>
                <a:spLocks/>
              </p:cNvSpPr>
              <p:nvPr/>
            </p:nvSpPr>
            <p:spPr bwMode="auto">
              <a:xfrm>
                <a:off x="5197279" y="4255292"/>
                <a:ext cx="4389" cy="4056"/>
              </a:xfrm>
              <a:custGeom>
                <a:avLst/>
                <a:gdLst/>
                <a:ahLst/>
                <a:cxnLst>
                  <a:cxn ang="0">
                    <a:pos x="5" y="4"/>
                  </a:cxn>
                  <a:cxn ang="0">
                    <a:pos x="3" y="3"/>
                  </a:cxn>
                  <a:cxn ang="0">
                    <a:pos x="2" y="3"/>
                  </a:cxn>
                  <a:cxn ang="0">
                    <a:pos x="0" y="1"/>
                  </a:cxn>
                  <a:cxn ang="0">
                    <a:pos x="0" y="0"/>
                  </a:cxn>
                  <a:cxn ang="0">
                    <a:pos x="2" y="0"/>
                  </a:cxn>
                  <a:cxn ang="0">
                    <a:pos x="3" y="0"/>
                  </a:cxn>
                  <a:cxn ang="0">
                    <a:pos x="5" y="0"/>
                  </a:cxn>
                  <a:cxn ang="0">
                    <a:pos x="5" y="1"/>
                  </a:cxn>
                  <a:cxn ang="0">
                    <a:pos x="5" y="4"/>
                  </a:cxn>
                </a:cxnLst>
                <a:rect l="0" t="0" r="r" b="b"/>
                <a:pathLst>
                  <a:path w="5" h="4">
                    <a:moveTo>
                      <a:pt x="5" y="4"/>
                    </a:moveTo>
                    <a:lnTo>
                      <a:pt x="3" y="3"/>
                    </a:lnTo>
                    <a:lnTo>
                      <a:pt x="2" y="3"/>
                    </a:lnTo>
                    <a:lnTo>
                      <a:pt x="0" y="1"/>
                    </a:lnTo>
                    <a:lnTo>
                      <a:pt x="0" y="0"/>
                    </a:lnTo>
                    <a:lnTo>
                      <a:pt x="2" y="0"/>
                    </a:lnTo>
                    <a:lnTo>
                      <a:pt x="3" y="0"/>
                    </a:lnTo>
                    <a:lnTo>
                      <a:pt x="5" y="0"/>
                    </a:lnTo>
                    <a:lnTo>
                      <a:pt x="5" y="1"/>
                    </a:lnTo>
                    <a:lnTo>
                      <a:pt x="5" y="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83" name="Freeform 77"/>
              <p:cNvSpPr>
                <a:spLocks/>
              </p:cNvSpPr>
              <p:nvPr/>
            </p:nvSpPr>
            <p:spPr bwMode="auto">
              <a:xfrm>
                <a:off x="5197279" y="4255292"/>
                <a:ext cx="4389" cy="4056"/>
              </a:xfrm>
              <a:custGeom>
                <a:avLst/>
                <a:gdLst/>
                <a:ahLst/>
                <a:cxnLst>
                  <a:cxn ang="0">
                    <a:pos x="5" y="4"/>
                  </a:cxn>
                  <a:cxn ang="0">
                    <a:pos x="3" y="3"/>
                  </a:cxn>
                  <a:cxn ang="0">
                    <a:pos x="2" y="3"/>
                  </a:cxn>
                  <a:cxn ang="0">
                    <a:pos x="0" y="1"/>
                  </a:cxn>
                  <a:cxn ang="0">
                    <a:pos x="0" y="0"/>
                  </a:cxn>
                  <a:cxn ang="0">
                    <a:pos x="2" y="0"/>
                  </a:cxn>
                  <a:cxn ang="0">
                    <a:pos x="3" y="0"/>
                  </a:cxn>
                  <a:cxn ang="0">
                    <a:pos x="5" y="0"/>
                  </a:cxn>
                  <a:cxn ang="0">
                    <a:pos x="5" y="1"/>
                  </a:cxn>
                  <a:cxn ang="0">
                    <a:pos x="5" y="4"/>
                  </a:cxn>
                </a:cxnLst>
                <a:rect l="0" t="0" r="r" b="b"/>
                <a:pathLst>
                  <a:path w="5" h="4">
                    <a:moveTo>
                      <a:pt x="5" y="4"/>
                    </a:moveTo>
                    <a:lnTo>
                      <a:pt x="3" y="3"/>
                    </a:lnTo>
                    <a:lnTo>
                      <a:pt x="2" y="3"/>
                    </a:lnTo>
                    <a:lnTo>
                      <a:pt x="0" y="1"/>
                    </a:lnTo>
                    <a:lnTo>
                      <a:pt x="0" y="0"/>
                    </a:lnTo>
                    <a:lnTo>
                      <a:pt x="2" y="0"/>
                    </a:lnTo>
                    <a:lnTo>
                      <a:pt x="3" y="0"/>
                    </a:lnTo>
                    <a:lnTo>
                      <a:pt x="5" y="0"/>
                    </a:lnTo>
                    <a:lnTo>
                      <a:pt x="5" y="1"/>
                    </a:lnTo>
                    <a:lnTo>
                      <a:pt x="5" y="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84" name="Freeform 78"/>
              <p:cNvSpPr>
                <a:spLocks/>
              </p:cNvSpPr>
              <p:nvPr/>
            </p:nvSpPr>
            <p:spPr bwMode="auto">
              <a:xfrm>
                <a:off x="5207812" y="4248193"/>
                <a:ext cx="9656" cy="5071"/>
              </a:xfrm>
              <a:custGeom>
                <a:avLst/>
                <a:gdLst/>
                <a:ahLst/>
                <a:cxnLst>
                  <a:cxn ang="0">
                    <a:pos x="10" y="3"/>
                  </a:cxn>
                  <a:cxn ang="0">
                    <a:pos x="10" y="3"/>
                  </a:cxn>
                  <a:cxn ang="0">
                    <a:pos x="0" y="4"/>
                  </a:cxn>
                  <a:cxn ang="0">
                    <a:pos x="0" y="4"/>
                  </a:cxn>
                  <a:cxn ang="0">
                    <a:pos x="0" y="3"/>
                  </a:cxn>
                  <a:cxn ang="0">
                    <a:pos x="0" y="1"/>
                  </a:cxn>
                  <a:cxn ang="0">
                    <a:pos x="2" y="0"/>
                  </a:cxn>
                  <a:cxn ang="0">
                    <a:pos x="2" y="1"/>
                  </a:cxn>
                  <a:cxn ang="0">
                    <a:pos x="4" y="0"/>
                  </a:cxn>
                  <a:cxn ang="0">
                    <a:pos x="9" y="1"/>
                  </a:cxn>
                  <a:cxn ang="0">
                    <a:pos x="10" y="3"/>
                  </a:cxn>
                </a:cxnLst>
                <a:rect l="0" t="0" r="r" b="b"/>
                <a:pathLst>
                  <a:path w="10" h="4">
                    <a:moveTo>
                      <a:pt x="10" y="3"/>
                    </a:moveTo>
                    <a:lnTo>
                      <a:pt x="10" y="3"/>
                    </a:lnTo>
                    <a:lnTo>
                      <a:pt x="0" y="4"/>
                    </a:lnTo>
                    <a:lnTo>
                      <a:pt x="0" y="4"/>
                    </a:lnTo>
                    <a:lnTo>
                      <a:pt x="0" y="3"/>
                    </a:lnTo>
                    <a:lnTo>
                      <a:pt x="0" y="1"/>
                    </a:lnTo>
                    <a:lnTo>
                      <a:pt x="2" y="0"/>
                    </a:lnTo>
                    <a:lnTo>
                      <a:pt x="2" y="1"/>
                    </a:lnTo>
                    <a:lnTo>
                      <a:pt x="4" y="0"/>
                    </a:lnTo>
                    <a:lnTo>
                      <a:pt x="9" y="1"/>
                    </a:lnTo>
                    <a:lnTo>
                      <a:pt x="10"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85" name="Freeform 79"/>
              <p:cNvSpPr>
                <a:spLocks/>
              </p:cNvSpPr>
              <p:nvPr/>
            </p:nvSpPr>
            <p:spPr bwMode="auto">
              <a:xfrm>
                <a:off x="5207812" y="4248193"/>
                <a:ext cx="9656" cy="5071"/>
              </a:xfrm>
              <a:custGeom>
                <a:avLst/>
                <a:gdLst/>
                <a:ahLst/>
                <a:cxnLst>
                  <a:cxn ang="0">
                    <a:pos x="10" y="3"/>
                  </a:cxn>
                  <a:cxn ang="0">
                    <a:pos x="10" y="3"/>
                  </a:cxn>
                  <a:cxn ang="0">
                    <a:pos x="0" y="4"/>
                  </a:cxn>
                  <a:cxn ang="0">
                    <a:pos x="0" y="4"/>
                  </a:cxn>
                  <a:cxn ang="0">
                    <a:pos x="0" y="3"/>
                  </a:cxn>
                  <a:cxn ang="0">
                    <a:pos x="0" y="1"/>
                  </a:cxn>
                  <a:cxn ang="0">
                    <a:pos x="2" y="0"/>
                  </a:cxn>
                  <a:cxn ang="0">
                    <a:pos x="2" y="1"/>
                  </a:cxn>
                  <a:cxn ang="0">
                    <a:pos x="4" y="0"/>
                  </a:cxn>
                  <a:cxn ang="0">
                    <a:pos x="9" y="1"/>
                  </a:cxn>
                  <a:cxn ang="0">
                    <a:pos x="10" y="3"/>
                  </a:cxn>
                </a:cxnLst>
                <a:rect l="0" t="0" r="r" b="b"/>
                <a:pathLst>
                  <a:path w="10" h="4">
                    <a:moveTo>
                      <a:pt x="10" y="3"/>
                    </a:moveTo>
                    <a:lnTo>
                      <a:pt x="10" y="3"/>
                    </a:lnTo>
                    <a:lnTo>
                      <a:pt x="0" y="4"/>
                    </a:lnTo>
                    <a:lnTo>
                      <a:pt x="0" y="4"/>
                    </a:lnTo>
                    <a:lnTo>
                      <a:pt x="0" y="3"/>
                    </a:lnTo>
                    <a:lnTo>
                      <a:pt x="0" y="1"/>
                    </a:lnTo>
                    <a:lnTo>
                      <a:pt x="2" y="0"/>
                    </a:lnTo>
                    <a:lnTo>
                      <a:pt x="2" y="1"/>
                    </a:lnTo>
                    <a:lnTo>
                      <a:pt x="4" y="0"/>
                    </a:lnTo>
                    <a:lnTo>
                      <a:pt x="9" y="1"/>
                    </a:lnTo>
                    <a:lnTo>
                      <a:pt x="10"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86" name="Freeform 80"/>
              <p:cNvSpPr>
                <a:spLocks/>
              </p:cNvSpPr>
              <p:nvPr/>
            </p:nvSpPr>
            <p:spPr bwMode="auto">
              <a:xfrm>
                <a:off x="5206935" y="4249206"/>
                <a:ext cx="26334" cy="20283"/>
              </a:xfrm>
              <a:custGeom>
                <a:avLst/>
                <a:gdLst/>
                <a:ahLst/>
                <a:cxnLst>
                  <a:cxn ang="0">
                    <a:pos x="0" y="6"/>
                  </a:cxn>
                  <a:cxn ang="0">
                    <a:pos x="0" y="6"/>
                  </a:cxn>
                  <a:cxn ang="0">
                    <a:pos x="20" y="0"/>
                  </a:cxn>
                  <a:cxn ang="0">
                    <a:pos x="21" y="0"/>
                  </a:cxn>
                  <a:cxn ang="0">
                    <a:pos x="23" y="3"/>
                  </a:cxn>
                  <a:cxn ang="0">
                    <a:pos x="23" y="5"/>
                  </a:cxn>
                  <a:cxn ang="0">
                    <a:pos x="20" y="6"/>
                  </a:cxn>
                  <a:cxn ang="0">
                    <a:pos x="18" y="5"/>
                  </a:cxn>
                  <a:cxn ang="0">
                    <a:pos x="16" y="3"/>
                  </a:cxn>
                  <a:cxn ang="0">
                    <a:pos x="14" y="5"/>
                  </a:cxn>
                  <a:cxn ang="0">
                    <a:pos x="17" y="6"/>
                  </a:cxn>
                  <a:cxn ang="0">
                    <a:pos x="23" y="8"/>
                  </a:cxn>
                  <a:cxn ang="0">
                    <a:pos x="24" y="8"/>
                  </a:cxn>
                  <a:cxn ang="0">
                    <a:pos x="24" y="9"/>
                  </a:cxn>
                  <a:cxn ang="0">
                    <a:pos x="24" y="9"/>
                  </a:cxn>
                  <a:cxn ang="0">
                    <a:pos x="21" y="9"/>
                  </a:cxn>
                  <a:cxn ang="0">
                    <a:pos x="20" y="9"/>
                  </a:cxn>
                  <a:cxn ang="0">
                    <a:pos x="20" y="11"/>
                  </a:cxn>
                  <a:cxn ang="0">
                    <a:pos x="24" y="12"/>
                  </a:cxn>
                  <a:cxn ang="0">
                    <a:pos x="26" y="12"/>
                  </a:cxn>
                  <a:cxn ang="0">
                    <a:pos x="26" y="13"/>
                  </a:cxn>
                  <a:cxn ang="0">
                    <a:pos x="27" y="15"/>
                  </a:cxn>
                  <a:cxn ang="0">
                    <a:pos x="27" y="16"/>
                  </a:cxn>
                  <a:cxn ang="0">
                    <a:pos x="29" y="19"/>
                  </a:cxn>
                  <a:cxn ang="0">
                    <a:pos x="29" y="19"/>
                  </a:cxn>
                  <a:cxn ang="0">
                    <a:pos x="27" y="19"/>
                  </a:cxn>
                  <a:cxn ang="0">
                    <a:pos x="26" y="18"/>
                  </a:cxn>
                  <a:cxn ang="0">
                    <a:pos x="26" y="16"/>
                  </a:cxn>
                  <a:cxn ang="0">
                    <a:pos x="24" y="15"/>
                  </a:cxn>
                  <a:cxn ang="0">
                    <a:pos x="24" y="15"/>
                  </a:cxn>
                  <a:cxn ang="0">
                    <a:pos x="21" y="13"/>
                  </a:cxn>
                  <a:cxn ang="0">
                    <a:pos x="18" y="15"/>
                  </a:cxn>
                  <a:cxn ang="0">
                    <a:pos x="16" y="13"/>
                  </a:cxn>
                  <a:cxn ang="0">
                    <a:pos x="16" y="11"/>
                  </a:cxn>
                  <a:cxn ang="0">
                    <a:pos x="14" y="11"/>
                  </a:cxn>
                  <a:cxn ang="0">
                    <a:pos x="14" y="9"/>
                  </a:cxn>
                  <a:cxn ang="0">
                    <a:pos x="13" y="9"/>
                  </a:cxn>
                  <a:cxn ang="0">
                    <a:pos x="10" y="8"/>
                  </a:cxn>
                  <a:cxn ang="0">
                    <a:pos x="8" y="9"/>
                  </a:cxn>
                  <a:cxn ang="0">
                    <a:pos x="10" y="12"/>
                  </a:cxn>
                  <a:cxn ang="0">
                    <a:pos x="13" y="15"/>
                  </a:cxn>
                  <a:cxn ang="0">
                    <a:pos x="8" y="15"/>
                  </a:cxn>
                  <a:cxn ang="0">
                    <a:pos x="7" y="13"/>
                  </a:cxn>
                  <a:cxn ang="0">
                    <a:pos x="7" y="12"/>
                  </a:cxn>
                  <a:cxn ang="0">
                    <a:pos x="4" y="11"/>
                  </a:cxn>
                  <a:cxn ang="0">
                    <a:pos x="4" y="11"/>
                  </a:cxn>
                  <a:cxn ang="0">
                    <a:pos x="8" y="8"/>
                  </a:cxn>
                  <a:cxn ang="0">
                    <a:pos x="8" y="8"/>
                  </a:cxn>
                  <a:cxn ang="0">
                    <a:pos x="8" y="8"/>
                  </a:cxn>
                  <a:cxn ang="0">
                    <a:pos x="7" y="8"/>
                  </a:cxn>
                  <a:cxn ang="0">
                    <a:pos x="4" y="9"/>
                  </a:cxn>
                  <a:cxn ang="0">
                    <a:pos x="1" y="9"/>
                  </a:cxn>
                  <a:cxn ang="0">
                    <a:pos x="0" y="9"/>
                  </a:cxn>
                  <a:cxn ang="0">
                    <a:pos x="0" y="8"/>
                  </a:cxn>
                  <a:cxn ang="0">
                    <a:pos x="0" y="6"/>
                  </a:cxn>
                </a:cxnLst>
                <a:rect l="0" t="0" r="r" b="b"/>
                <a:pathLst>
                  <a:path w="29" h="19">
                    <a:moveTo>
                      <a:pt x="0" y="6"/>
                    </a:moveTo>
                    <a:lnTo>
                      <a:pt x="0" y="6"/>
                    </a:lnTo>
                    <a:lnTo>
                      <a:pt x="20" y="0"/>
                    </a:lnTo>
                    <a:lnTo>
                      <a:pt x="21" y="0"/>
                    </a:lnTo>
                    <a:lnTo>
                      <a:pt x="23" y="3"/>
                    </a:lnTo>
                    <a:lnTo>
                      <a:pt x="23" y="5"/>
                    </a:lnTo>
                    <a:lnTo>
                      <a:pt x="20" y="6"/>
                    </a:lnTo>
                    <a:lnTo>
                      <a:pt x="18" y="5"/>
                    </a:lnTo>
                    <a:lnTo>
                      <a:pt x="16" y="3"/>
                    </a:lnTo>
                    <a:lnTo>
                      <a:pt x="14" y="5"/>
                    </a:lnTo>
                    <a:lnTo>
                      <a:pt x="17" y="6"/>
                    </a:lnTo>
                    <a:lnTo>
                      <a:pt x="23" y="8"/>
                    </a:lnTo>
                    <a:lnTo>
                      <a:pt x="24" y="8"/>
                    </a:lnTo>
                    <a:lnTo>
                      <a:pt x="24" y="9"/>
                    </a:lnTo>
                    <a:lnTo>
                      <a:pt x="24" y="9"/>
                    </a:lnTo>
                    <a:lnTo>
                      <a:pt x="21" y="9"/>
                    </a:lnTo>
                    <a:lnTo>
                      <a:pt x="20" y="9"/>
                    </a:lnTo>
                    <a:lnTo>
                      <a:pt x="20" y="11"/>
                    </a:lnTo>
                    <a:lnTo>
                      <a:pt x="24" y="12"/>
                    </a:lnTo>
                    <a:lnTo>
                      <a:pt x="26" y="12"/>
                    </a:lnTo>
                    <a:lnTo>
                      <a:pt x="26" y="13"/>
                    </a:lnTo>
                    <a:lnTo>
                      <a:pt x="27" y="15"/>
                    </a:lnTo>
                    <a:lnTo>
                      <a:pt x="27" y="16"/>
                    </a:lnTo>
                    <a:lnTo>
                      <a:pt x="29" y="19"/>
                    </a:lnTo>
                    <a:lnTo>
                      <a:pt x="29" y="19"/>
                    </a:lnTo>
                    <a:lnTo>
                      <a:pt x="27" y="19"/>
                    </a:lnTo>
                    <a:lnTo>
                      <a:pt x="26" y="18"/>
                    </a:lnTo>
                    <a:lnTo>
                      <a:pt x="26" y="16"/>
                    </a:lnTo>
                    <a:lnTo>
                      <a:pt x="24" y="15"/>
                    </a:lnTo>
                    <a:lnTo>
                      <a:pt x="24" y="15"/>
                    </a:lnTo>
                    <a:lnTo>
                      <a:pt x="21" y="13"/>
                    </a:lnTo>
                    <a:lnTo>
                      <a:pt x="18" y="15"/>
                    </a:lnTo>
                    <a:lnTo>
                      <a:pt x="16" y="13"/>
                    </a:lnTo>
                    <a:lnTo>
                      <a:pt x="16" y="11"/>
                    </a:lnTo>
                    <a:lnTo>
                      <a:pt x="14" y="11"/>
                    </a:lnTo>
                    <a:lnTo>
                      <a:pt x="14" y="9"/>
                    </a:lnTo>
                    <a:lnTo>
                      <a:pt x="13" y="9"/>
                    </a:lnTo>
                    <a:lnTo>
                      <a:pt x="10" y="8"/>
                    </a:lnTo>
                    <a:lnTo>
                      <a:pt x="8" y="9"/>
                    </a:lnTo>
                    <a:lnTo>
                      <a:pt x="10" y="12"/>
                    </a:lnTo>
                    <a:lnTo>
                      <a:pt x="13" y="15"/>
                    </a:lnTo>
                    <a:lnTo>
                      <a:pt x="8" y="15"/>
                    </a:lnTo>
                    <a:lnTo>
                      <a:pt x="7" y="13"/>
                    </a:lnTo>
                    <a:lnTo>
                      <a:pt x="7" y="12"/>
                    </a:lnTo>
                    <a:lnTo>
                      <a:pt x="4" y="11"/>
                    </a:lnTo>
                    <a:lnTo>
                      <a:pt x="4" y="11"/>
                    </a:lnTo>
                    <a:lnTo>
                      <a:pt x="8" y="8"/>
                    </a:lnTo>
                    <a:lnTo>
                      <a:pt x="8" y="8"/>
                    </a:lnTo>
                    <a:lnTo>
                      <a:pt x="8" y="8"/>
                    </a:lnTo>
                    <a:lnTo>
                      <a:pt x="7" y="8"/>
                    </a:lnTo>
                    <a:lnTo>
                      <a:pt x="4" y="9"/>
                    </a:lnTo>
                    <a:lnTo>
                      <a:pt x="1" y="9"/>
                    </a:lnTo>
                    <a:lnTo>
                      <a:pt x="0" y="9"/>
                    </a:lnTo>
                    <a:lnTo>
                      <a:pt x="0" y="8"/>
                    </a:lnTo>
                    <a:lnTo>
                      <a:pt x="0" y="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87" name="Freeform 81"/>
              <p:cNvSpPr>
                <a:spLocks/>
              </p:cNvSpPr>
              <p:nvPr/>
            </p:nvSpPr>
            <p:spPr bwMode="auto">
              <a:xfrm>
                <a:off x="5206935" y="4249206"/>
                <a:ext cx="26334" cy="20283"/>
              </a:xfrm>
              <a:custGeom>
                <a:avLst/>
                <a:gdLst/>
                <a:ahLst/>
                <a:cxnLst>
                  <a:cxn ang="0">
                    <a:pos x="0" y="6"/>
                  </a:cxn>
                  <a:cxn ang="0">
                    <a:pos x="0" y="6"/>
                  </a:cxn>
                  <a:cxn ang="0">
                    <a:pos x="20" y="0"/>
                  </a:cxn>
                  <a:cxn ang="0">
                    <a:pos x="21" y="0"/>
                  </a:cxn>
                  <a:cxn ang="0">
                    <a:pos x="23" y="3"/>
                  </a:cxn>
                  <a:cxn ang="0">
                    <a:pos x="23" y="5"/>
                  </a:cxn>
                  <a:cxn ang="0">
                    <a:pos x="20" y="6"/>
                  </a:cxn>
                  <a:cxn ang="0">
                    <a:pos x="18" y="5"/>
                  </a:cxn>
                  <a:cxn ang="0">
                    <a:pos x="16" y="3"/>
                  </a:cxn>
                  <a:cxn ang="0">
                    <a:pos x="14" y="5"/>
                  </a:cxn>
                  <a:cxn ang="0">
                    <a:pos x="17" y="6"/>
                  </a:cxn>
                  <a:cxn ang="0">
                    <a:pos x="23" y="8"/>
                  </a:cxn>
                  <a:cxn ang="0">
                    <a:pos x="24" y="8"/>
                  </a:cxn>
                  <a:cxn ang="0">
                    <a:pos x="24" y="9"/>
                  </a:cxn>
                  <a:cxn ang="0">
                    <a:pos x="24" y="9"/>
                  </a:cxn>
                  <a:cxn ang="0">
                    <a:pos x="21" y="9"/>
                  </a:cxn>
                  <a:cxn ang="0">
                    <a:pos x="20" y="9"/>
                  </a:cxn>
                  <a:cxn ang="0">
                    <a:pos x="20" y="11"/>
                  </a:cxn>
                  <a:cxn ang="0">
                    <a:pos x="24" y="12"/>
                  </a:cxn>
                  <a:cxn ang="0">
                    <a:pos x="26" y="12"/>
                  </a:cxn>
                  <a:cxn ang="0">
                    <a:pos x="26" y="13"/>
                  </a:cxn>
                  <a:cxn ang="0">
                    <a:pos x="27" y="15"/>
                  </a:cxn>
                  <a:cxn ang="0">
                    <a:pos x="27" y="16"/>
                  </a:cxn>
                  <a:cxn ang="0">
                    <a:pos x="29" y="19"/>
                  </a:cxn>
                  <a:cxn ang="0">
                    <a:pos x="29" y="19"/>
                  </a:cxn>
                  <a:cxn ang="0">
                    <a:pos x="27" y="19"/>
                  </a:cxn>
                  <a:cxn ang="0">
                    <a:pos x="26" y="18"/>
                  </a:cxn>
                  <a:cxn ang="0">
                    <a:pos x="26" y="16"/>
                  </a:cxn>
                  <a:cxn ang="0">
                    <a:pos x="24" y="15"/>
                  </a:cxn>
                  <a:cxn ang="0">
                    <a:pos x="24" y="15"/>
                  </a:cxn>
                  <a:cxn ang="0">
                    <a:pos x="21" y="13"/>
                  </a:cxn>
                  <a:cxn ang="0">
                    <a:pos x="18" y="15"/>
                  </a:cxn>
                  <a:cxn ang="0">
                    <a:pos x="16" y="13"/>
                  </a:cxn>
                  <a:cxn ang="0">
                    <a:pos x="16" y="11"/>
                  </a:cxn>
                  <a:cxn ang="0">
                    <a:pos x="14" y="11"/>
                  </a:cxn>
                  <a:cxn ang="0">
                    <a:pos x="14" y="9"/>
                  </a:cxn>
                  <a:cxn ang="0">
                    <a:pos x="13" y="9"/>
                  </a:cxn>
                  <a:cxn ang="0">
                    <a:pos x="10" y="8"/>
                  </a:cxn>
                  <a:cxn ang="0">
                    <a:pos x="8" y="9"/>
                  </a:cxn>
                  <a:cxn ang="0">
                    <a:pos x="10" y="12"/>
                  </a:cxn>
                  <a:cxn ang="0">
                    <a:pos x="13" y="15"/>
                  </a:cxn>
                  <a:cxn ang="0">
                    <a:pos x="8" y="15"/>
                  </a:cxn>
                  <a:cxn ang="0">
                    <a:pos x="7" y="13"/>
                  </a:cxn>
                  <a:cxn ang="0">
                    <a:pos x="7" y="12"/>
                  </a:cxn>
                  <a:cxn ang="0">
                    <a:pos x="4" y="11"/>
                  </a:cxn>
                  <a:cxn ang="0">
                    <a:pos x="4" y="11"/>
                  </a:cxn>
                  <a:cxn ang="0">
                    <a:pos x="8" y="8"/>
                  </a:cxn>
                  <a:cxn ang="0">
                    <a:pos x="8" y="8"/>
                  </a:cxn>
                  <a:cxn ang="0">
                    <a:pos x="8" y="8"/>
                  </a:cxn>
                  <a:cxn ang="0">
                    <a:pos x="7" y="8"/>
                  </a:cxn>
                  <a:cxn ang="0">
                    <a:pos x="4" y="9"/>
                  </a:cxn>
                  <a:cxn ang="0">
                    <a:pos x="1" y="9"/>
                  </a:cxn>
                  <a:cxn ang="0">
                    <a:pos x="0" y="9"/>
                  </a:cxn>
                  <a:cxn ang="0">
                    <a:pos x="0" y="8"/>
                  </a:cxn>
                  <a:cxn ang="0">
                    <a:pos x="0" y="6"/>
                  </a:cxn>
                </a:cxnLst>
                <a:rect l="0" t="0" r="r" b="b"/>
                <a:pathLst>
                  <a:path w="29" h="19">
                    <a:moveTo>
                      <a:pt x="0" y="6"/>
                    </a:moveTo>
                    <a:lnTo>
                      <a:pt x="0" y="6"/>
                    </a:lnTo>
                    <a:lnTo>
                      <a:pt x="20" y="0"/>
                    </a:lnTo>
                    <a:lnTo>
                      <a:pt x="21" y="0"/>
                    </a:lnTo>
                    <a:lnTo>
                      <a:pt x="23" y="3"/>
                    </a:lnTo>
                    <a:lnTo>
                      <a:pt x="23" y="5"/>
                    </a:lnTo>
                    <a:lnTo>
                      <a:pt x="20" y="6"/>
                    </a:lnTo>
                    <a:lnTo>
                      <a:pt x="18" y="5"/>
                    </a:lnTo>
                    <a:lnTo>
                      <a:pt x="16" y="3"/>
                    </a:lnTo>
                    <a:lnTo>
                      <a:pt x="14" y="5"/>
                    </a:lnTo>
                    <a:lnTo>
                      <a:pt x="17" y="6"/>
                    </a:lnTo>
                    <a:lnTo>
                      <a:pt x="23" y="8"/>
                    </a:lnTo>
                    <a:lnTo>
                      <a:pt x="24" y="8"/>
                    </a:lnTo>
                    <a:lnTo>
                      <a:pt x="24" y="9"/>
                    </a:lnTo>
                    <a:lnTo>
                      <a:pt x="24" y="9"/>
                    </a:lnTo>
                    <a:lnTo>
                      <a:pt x="21" y="9"/>
                    </a:lnTo>
                    <a:lnTo>
                      <a:pt x="20" y="9"/>
                    </a:lnTo>
                    <a:lnTo>
                      <a:pt x="20" y="11"/>
                    </a:lnTo>
                    <a:lnTo>
                      <a:pt x="24" y="12"/>
                    </a:lnTo>
                    <a:lnTo>
                      <a:pt x="26" y="12"/>
                    </a:lnTo>
                    <a:lnTo>
                      <a:pt x="26" y="13"/>
                    </a:lnTo>
                    <a:lnTo>
                      <a:pt x="27" y="15"/>
                    </a:lnTo>
                    <a:lnTo>
                      <a:pt x="27" y="16"/>
                    </a:lnTo>
                    <a:lnTo>
                      <a:pt x="29" y="19"/>
                    </a:lnTo>
                    <a:lnTo>
                      <a:pt x="29" y="19"/>
                    </a:lnTo>
                    <a:lnTo>
                      <a:pt x="27" y="19"/>
                    </a:lnTo>
                    <a:lnTo>
                      <a:pt x="26" y="18"/>
                    </a:lnTo>
                    <a:lnTo>
                      <a:pt x="26" y="16"/>
                    </a:lnTo>
                    <a:lnTo>
                      <a:pt x="24" y="15"/>
                    </a:lnTo>
                    <a:lnTo>
                      <a:pt x="24" y="15"/>
                    </a:lnTo>
                    <a:lnTo>
                      <a:pt x="21" y="13"/>
                    </a:lnTo>
                    <a:lnTo>
                      <a:pt x="18" y="15"/>
                    </a:lnTo>
                    <a:lnTo>
                      <a:pt x="16" y="13"/>
                    </a:lnTo>
                    <a:lnTo>
                      <a:pt x="16" y="11"/>
                    </a:lnTo>
                    <a:lnTo>
                      <a:pt x="14" y="11"/>
                    </a:lnTo>
                    <a:lnTo>
                      <a:pt x="14" y="9"/>
                    </a:lnTo>
                    <a:lnTo>
                      <a:pt x="13" y="9"/>
                    </a:lnTo>
                    <a:lnTo>
                      <a:pt x="10" y="8"/>
                    </a:lnTo>
                    <a:lnTo>
                      <a:pt x="8" y="9"/>
                    </a:lnTo>
                    <a:lnTo>
                      <a:pt x="10" y="12"/>
                    </a:lnTo>
                    <a:lnTo>
                      <a:pt x="13" y="15"/>
                    </a:lnTo>
                    <a:lnTo>
                      <a:pt x="8" y="15"/>
                    </a:lnTo>
                    <a:lnTo>
                      <a:pt x="7" y="13"/>
                    </a:lnTo>
                    <a:lnTo>
                      <a:pt x="7" y="12"/>
                    </a:lnTo>
                    <a:lnTo>
                      <a:pt x="4" y="11"/>
                    </a:lnTo>
                    <a:lnTo>
                      <a:pt x="4" y="11"/>
                    </a:lnTo>
                    <a:lnTo>
                      <a:pt x="8" y="8"/>
                    </a:lnTo>
                    <a:lnTo>
                      <a:pt x="8" y="8"/>
                    </a:lnTo>
                    <a:lnTo>
                      <a:pt x="8" y="8"/>
                    </a:lnTo>
                    <a:lnTo>
                      <a:pt x="7" y="8"/>
                    </a:lnTo>
                    <a:lnTo>
                      <a:pt x="4" y="9"/>
                    </a:lnTo>
                    <a:lnTo>
                      <a:pt x="1" y="9"/>
                    </a:lnTo>
                    <a:lnTo>
                      <a:pt x="0" y="9"/>
                    </a:lnTo>
                    <a:lnTo>
                      <a:pt x="0" y="8"/>
                    </a:lnTo>
                    <a:lnTo>
                      <a:pt x="0" y="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88" name="Freeform 82"/>
              <p:cNvSpPr>
                <a:spLocks/>
              </p:cNvSpPr>
              <p:nvPr/>
            </p:nvSpPr>
            <p:spPr bwMode="auto">
              <a:xfrm>
                <a:off x="5228002" y="4249206"/>
                <a:ext cx="15800" cy="12170"/>
              </a:xfrm>
              <a:custGeom>
                <a:avLst/>
                <a:gdLst/>
                <a:ahLst/>
                <a:cxnLst>
                  <a:cxn ang="0">
                    <a:pos x="3" y="2"/>
                  </a:cxn>
                  <a:cxn ang="0">
                    <a:pos x="3" y="2"/>
                  </a:cxn>
                  <a:cxn ang="0">
                    <a:pos x="0" y="2"/>
                  </a:cxn>
                  <a:cxn ang="0">
                    <a:pos x="0" y="0"/>
                  </a:cxn>
                  <a:cxn ang="0">
                    <a:pos x="7" y="0"/>
                  </a:cxn>
                  <a:cxn ang="0">
                    <a:pos x="16" y="0"/>
                  </a:cxn>
                  <a:cxn ang="0">
                    <a:pos x="17" y="2"/>
                  </a:cxn>
                  <a:cxn ang="0">
                    <a:pos x="17" y="8"/>
                  </a:cxn>
                  <a:cxn ang="0">
                    <a:pos x="17" y="8"/>
                  </a:cxn>
                  <a:cxn ang="0">
                    <a:pos x="16" y="9"/>
                  </a:cxn>
                  <a:cxn ang="0">
                    <a:pos x="14" y="9"/>
                  </a:cxn>
                  <a:cxn ang="0">
                    <a:pos x="13" y="11"/>
                  </a:cxn>
                  <a:cxn ang="0">
                    <a:pos x="13" y="9"/>
                  </a:cxn>
                  <a:cxn ang="0">
                    <a:pos x="13" y="8"/>
                  </a:cxn>
                  <a:cxn ang="0">
                    <a:pos x="11" y="8"/>
                  </a:cxn>
                  <a:cxn ang="0">
                    <a:pos x="10" y="8"/>
                  </a:cxn>
                  <a:cxn ang="0">
                    <a:pos x="10" y="8"/>
                  </a:cxn>
                  <a:cxn ang="0">
                    <a:pos x="9" y="9"/>
                  </a:cxn>
                  <a:cxn ang="0">
                    <a:pos x="9" y="8"/>
                  </a:cxn>
                  <a:cxn ang="0">
                    <a:pos x="9" y="8"/>
                  </a:cxn>
                  <a:cxn ang="0">
                    <a:pos x="4" y="6"/>
                  </a:cxn>
                  <a:cxn ang="0">
                    <a:pos x="3" y="2"/>
                  </a:cxn>
                </a:cxnLst>
                <a:rect l="0" t="0" r="r" b="b"/>
                <a:pathLst>
                  <a:path w="17" h="11">
                    <a:moveTo>
                      <a:pt x="3" y="2"/>
                    </a:moveTo>
                    <a:lnTo>
                      <a:pt x="3" y="2"/>
                    </a:lnTo>
                    <a:lnTo>
                      <a:pt x="0" y="2"/>
                    </a:lnTo>
                    <a:lnTo>
                      <a:pt x="0" y="0"/>
                    </a:lnTo>
                    <a:lnTo>
                      <a:pt x="7" y="0"/>
                    </a:lnTo>
                    <a:lnTo>
                      <a:pt x="16" y="0"/>
                    </a:lnTo>
                    <a:lnTo>
                      <a:pt x="17" y="2"/>
                    </a:lnTo>
                    <a:lnTo>
                      <a:pt x="17" y="8"/>
                    </a:lnTo>
                    <a:lnTo>
                      <a:pt x="17" y="8"/>
                    </a:lnTo>
                    <a:lnTo>
                      <a:pt x="16" y="9"/>
                    </a:lnTo>
                    <a:lnTo>
                      <a:pt x="14" y="9"/>
                    </a:lnTo>
                    <a:lnTo>
                      <a:pt x="13" y="11"/>
                    </a:lnTo>
                    <a:lnTo>
                      <a:pt x="13" y="9"/>
                    </a:lnTo>
                    <a:lnTo>
                      <a:pt x="13" y="8"/>
                    </a:lnTo>
                    <a:lnTo>
                      <a:pt x="11" y="8"/>
                    </a:lnTo>
                    <a:lnTo>
                      <a:pt x="10" y="8"/>
                    </a:lnTo>
                    <a:lnTo>
                      <a:pt x="10" y="8"/>
                    </a:lnTo>
                    <a:lnTo>
                      <a:pt x="9" y="9"/>
                    </a:lnTo>
                    <a:lnTo>
                      <a:pt x="9" y="8"/>
                    </a:lnTo>
                    <a:lnTo>
                      <a:pt x="9" y="8"/>
                    </a:lnTo>
                    <a:lnTo>
                      <a:pt x="4" y="6"/>
                    </a:lnTo>
                    <a:lnTo>
                      <a:pt x="3"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89" name="Freeform 83"/>
              <p:cNvSpPr>
                <a:spLocks/>
              </p:cNvSpPr>
              <p:nvPr/>
            </p:nvSpPr>
            <p:spPr bwMode="auto">
              <a:xfrm>
                <a:off x="5228002" y="4249206"/>
                <a:ext cx="15800" cy="12170"/>
              </a:xfrm>
              <a:custGeom>
                <a:avLst/>
                <a:gdLst/>
                <a:ahLst/>
                <a:cxnLst>
                  <a:cxn ang="0">
                    <a:pos x="3" y="2"/>
                  </a:cxn>
                  <a:cxn ang="0">
                    <a:pos x="3" y="2"/>
                  </a:cxn>
                  <a:cxn ang="0">
                    <a:pos x="0" y="2"/>
                  </a:cxn>
                  <a:cxn ang="0">
                    <a:pos x="0" y="0"/>
                  </a:cxn>
                  <a:cxn ang="0">
                    <a:pos x="7" y="0"/>
                  </a:cxn>
                  <a:cxn ang="0">
                    <a:pos x="16" y="0"/>
                  </a:cxn>
                  <a:cxn ang="0">
                    <a:pos x="17" y="2"/>
                  </a:cxn>
                  <a:cxn ang="0">
                    <a:pos x="17" y="8"/>
                  </a:cxn>
                  <a:cxn ang="0">
                    <a:pos x="17" y="8"/>
                  </a:cxn>
                  <a:cxn ang="0">
                    <a:pos x="16" y="9"/>
                  </a:cxn>
                  <a:cxn ang="0">
                    <a:pos x="14" y="9"/>
                  </a:cxn>
                  <a:cxn ang="0">
                    <a:pos x="13" y="11"/>
                  </a:cxn>
                  <a:cxn ang="0">
                    <a:pos x="13" y="9"/>
                  </a:cxn>
                  <a:cxn ang="0">
                    <a:pos x="13" y="8"/>
                  </a:cxn>
                  <a:cxn ang="0">
                    <a:pos x="11" y="8"/>
                  </a:cxn>
                  <a:cxn ang="0">
                    <a:pos x="10" y="8"/>
                  </a:cxn>
                  <a:cxn ang="0">
                    <a:pos x="10" y="8"/>
                  </a:cxn>
                  <a:cxn ang="0">
                    <a:pos x="9" y="9"/>
                  </a:cxn>
                  <a:cxn ang="0">
                    <a:pos x="9" y="8"/>
                  </a:cxn>
                  <a:cxn ang="0">
                    <a:pos x="9" y="8"/>
                  </a:cxn>
                  <a:cxn ang="0">
                    <a:pos x="4" y="6"/>
                  </a:cxn>
                  <a:cxn ang="0">
                    <a:pos x="3" y="2"/>
                  </a:cxn>
                </a:cxnLst>
                <a:rect l="0" t="0" r="r" b="b"/>
                <a:pathLst>
                  <a:path w="17" h="11">
                    <a:moveTo>
                      <a:pt x="3" y="2"/>
                    </a:moveTo>
                    <a:lnTo>
                      <a:pt x="3" y="2"/>
                    </a:lnTo>
                    <a:lnTo>
                      <a:pt x="0" y="2"/>
                    </a:lnTo>
                    <a:lnTo>
                      <a:pt x="0" y="0"/>
                    </a:lnTo>
                    <a:lnTo>
                      <a:pt x="7" y="0"/>
                    </a:lnTo>
                    <a:lnTo>
                      <a:pt x="16" y="0"/>
                    </a:lnTo>
                    <a:lnTo>
                      <a:pt x="17" y="2"/>
                    </a:lnTo>
                    <a:lnTo>
                      <a:pt x="17" y="8"/>
                    </a:lnTo>
                    <a:lnTo>
                      <a:pt x="17" y="8"/>
                    </a:lnTo>
                    <a:lnTo>
                      <a:pt x="16" y="9"/>
                    </a:lnTo>
                    <a:lnTo>
                      <a:pt x="14" y="9"/>
                    </a:lnTo>
                    <a:lnTo>
                      <a:pt x="13" y="11"/>
                    </a:lnTo>
                    <a:lnTo>
                      <a:pt x="13" y="9"/>
                    </a:lnTo>
                    <a:lnTo>
                      <a:pt x="13" y="8"/>
                    </a:lnTo>
                    <a:lnTo>
                      <a:pt x="11" y="8"/>
                    </a:lnTo>
                    <a:lnTo>
                      <a:pt x="10" y="8"/>
                    </a:lnTo>
                    <a:lnTo>
                      <a:pt x="10" y="8"/>
                    </a:lnTo>
                    <a:lnTo>
                      <a:pt x="9" y="9"/>
                    </a:lnTo>
                    <a:lnTo>
                      <a:pt x="9" y="8"/>
                    </a:lnTo>
                    <a:lnTo>
                      <a:pt x="9" y="8"/>
                    </a:lnTo>
                    <a:lnTo>
                      <a:pt x="4" y="6"/>
                    </a:lnTo>
                    <a:lnTo>
                      <a:pt x="3"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90" name="Freeform 84"/>
              <p:cNvSpPr>
                <a:spLocks/>
              </p:cNvSpPr>
              <p:nvPr/>
            </p:nvSpPr>
            <p:spPr bwMode="auto">
              <a:xfrm>
                <a:off x="5249069" y="4258334"/>
                <a:ext cx="2633" cy="1014"/>
              </a:xfrm>
              <a:custGeom>
                <a:avLst/>
                <a:gdLst/>
                <a:ahLst/>
                <a:cxnLst>
                  <a:cxn ang="0">
                    <a:pos x="2" y="0"/>
                  </a:cxn>
                  <a:cxn ang="0">
                    <a:pos x="3" y="0"/>
                  </a:cxn>
                  <a:cxn ang="0">
                    <a:pos x="3" y="0"/>
                  </a:cxn>
                  <a:cxn ang="0">
                    <a:pos x="3" y="1"/>
                  </a:cxn>
                  <a:cxn ang="0">
                    <a:pos x="2" y="1"/>
                  </a:cxn>
                  <a:cxn ang="0">
                    <a:pos x="2" y="1"/>
                  </a:cxn>
                  <a:cxn ang="0">
                    <a:pos x="0" y="0"/>
                  </a:cxn>
                  <a:cxn ang="0">
                    <a:pos x="2" y="0"/>
                  </a:cxn>
                </a:cxnLst>
                <a:rect l="0" t="0" r="r" b="b"/>
                <a:pathLst>
                  <a:path w="3" h="1">
                    <a:moveTo>
                      <a:pt x="2" y="0"/>
                    </a:moveTo>
                    <a:lnTo>
                      <a:pt x="3" y="0"/>
                    </a:lnTo>
                    <a:lnTo>
                      <a:pt x="3" y="0"/>
                    </a:lnTo>
                    <a:lnTo>
                      <a:pt x="3" y="1"/>
                    </a:lnTo>
                    <a:lnTo>
                      <a:pt x="2" y="1"/>
                    </a:lnTo>
                    <a:lnTo>
                      <a:pt x="2" y="1"/>
                    </a:lnTo>
                    <a:lnTo>
                      <a:pt x="0" y="0"/>
                    </a:lnTo>
                    <a:lnTo>
                      <a:pt x="2"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91" name="Freeform 85"/>
              <p:cNvSpPr>
                <a:spLocks/>
              </p:cNvSpPr>
              <p:nvPr/>
            </p:nvSpPr>
            <p:spPr bwMode="auto">
              <a:xfrm>
                <a:off x="5249069" y="4258334"/>
                <a:ext cx="2633" cy="1014"/>
              </a:xfrm>
              <a:custGeom>
                <a:avLst/>
                <a:gdLst/>
                <a:ahLst/>
                <a:cxnLst>
                  <a:cxn ang="0">
                    <a:pos x="2" y="0"/>
                  </a:cxn>
                  <a:cxn ang="0">
                    <a:pos x="3" y="0"/>
                  </a:cxn>
                  <a:cxn ang="0">
                    <a:pos x="3" y="0"/>
                  </a:cxn>
                  <a:cxn ang="0">
                    <a:pos x="3" y="1"/>
                  </a:cxn>
                  <a:cxn ang="0">
                    <a:pos x="2" y="1"/>
                  </a:cxn>
                  <a:cxn ang="0">
                    <a:pos x="2" y="1"/>
                  </a:cxn>
                  <a:cxn ang="0">
                    <a:pos x="0" y="0"/>
                  </a:cxn>
                  <a:cxn ang="0">
                    <a:pos x="2" y="0"/>
                  </a:cxn>
                </a:cxnLst>
                <a:rect l="0" t="0" r="r" b="b"/>
                <a:pathLst>
                  <a:path w="3" h="1">
                    <a:moveTo>
                      <a:pt x="2" y="0"/>
                    </a:moveTo>
                    <a:lnTo>
                      <a:pt x="3" y="0"/>
                    </a:lnTo>
                    <a:lnTo>
                      <a:pt x="3" y="0"/>
                    </a:lnTo>
                    <a:lnTo>
                      <a:pt x="3" y="1"/>
                    </a:lnTo>
                    <a:lnTo>
                      <a:pt x="2" y="1"/>
                    </a:lnTo>
                    <a:lnTo>
                      <a:pt x="2" y="1"/>
                    </a:lnTo>
                    <a:lnTo>
                      <a:pt x="0" y="0"/>
                    </a:lnTo>
                    <a:lnTo>
                      <a:pt x="2"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92" name="Freeform 86"/>
              <p:cNvSpPr>
                <a:spLocks/>
              </p:cNvSpPr>
              <p:nvPr/>
            </p:nvSpPr>
            <p:spPr bwMode="auto">
              <a:xfrm>
                <a:off x="5243803" y="4252249"/>
                <a:ext cx="4389" cy="3042"/>
              </a:xfrm>
              <a:custGeom>
                <a:avLst/>
                <a:gdLst/>
                <a:ahLst/>
                <a:cxnLst>
                  <a:cxn ang="0">
                    <a:pos x="5" y="3"/>
                  </a:cxn>
                  <a:cxn ang="0">
                    <a:pos x="3" y="3"/>
                  </a:cxn>
                  <a:cxn ang="0">
                    <a:pos x="0" y="0"/>
                  </a:cxn>
                  <a:cxn ang="0">
                    <a:pos x="0" y="0"/>
                  </a:cxn>
                  <a:cxn ang="0">
                    <a:pos x="3" y="0"/>
                  </a:cxn>
                  <a:cxn ang="0">
                    <a:pos x="5" y="1"/>
                  </a:cxn>
                  <a:cxn ang="0">
                    <a:pos x="5" y="3"/>
                  </a:cxn>
                </a:cxnLst>
                <a:rect l="0" t="0" r="r" b="b"/>
                <a:pathLst>
                  <a:path w="5" h="3">
                    <a:moveTo>
                      <a:pt x="5" y="3"/>
                    </a:moveTo>
                    <a:lnTo>
                      <a:pt x="3" y="3"/>
                    </a:lnTo>
                    <a:lnTo>
                      <a:pt x="0" y="0"/>
                    </a:lnTo>
                    <a:lnTo>
                      <a:pt x="0" y="0"/>
                    </a:lnTo>
                    <a:lnTo>
                      <a:pt x="3" y="0"/>
                    </a:lnTo>
                    <a:lnTo>
                      <a:pt x="5" y="1"/>
                    </a:lnTo>
                    <a:lnTo>
                      <a:pt x="5"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93" name="Freeform 87"/>
              <p:cNvSpPr>
                <a:spLocks/>
              </p:cNvSpPr>
              <p:nvPr/>
            </p:nvSpPr>
            <p:spPr bwMode="auto">
              <a:xfrm>
                <a:off x="5243803" y="4252249"/>
                <a:ext cx="4389" cy="3042"/>
              </a:xfrm>
              <a:custGeom>
                <a:avLst/>
                <a:gdLst/>
                <a:ahLst/>
                <a:cxnLst>
                  <a:cxn ang="0">
                    <a:pos x="5" y="3"/>
                  </a:cxn>
                  <a:cxn ang="0">
                    <a:pos x="3" y="3"/>
                  </a:cxn>
                  <a:cxn ang="0">
                    <a:pos x="0" y="0"/>
                  </a:cxn>
                  <a:cxn ang="0">
                    <a:pos x="0" y="0"/>
                  </a:cxn>
                  <a:cxn ang="0">
                    <a:pos x="3" y="0"/>
                  </a:cxn>
                  <a:cxn ang="0">
                    <a:pos x="5" y="1"/>
                  </a:cxn>
                  <a:cxn ang="0">
                    <a:pos x="5" y="3"/>
                  </a:cxn>
                </a:cxnLst>
                <a:rect l="0" t="0" r="r" b="b"/>
                <a:pathLst>
                  <a:path w="5" h="3">
                    <a:moveTo>
                      <a:pt x="5" y="3"/>
                    </a:moveTo>
                    <a:lnTo>
                      <a:pt x="3" y="3"/>
                    </a:lnTo>
                    <a:lnTo>
                      <a:pt x="0" y="0"/>
                    </a:lnTo>
                    <a:lnTo>
                      <a:pt x="0" y="0"/>
                    </a:lnTo>
                    <a:lnTo>
                      <a:pt x="3" y="0"/>
                    </a:lnTo>
                    <a:lnTo>
                      <a:pt x="5" y="1"/>
                    </a:lnTo>
                    <a:lnTo>
                      <a:pt x="5"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94" name="Freeform 88"/>
              <p:cNvSpPr>
                <a:spLocks/>
              </p:cNvSpPr>
              <p:nvPr/>
            </p:nvSpPr>
            <p:spPr bwMode="auto">
              <a:xfrm>
                <a:off x="5245558" y="4258334"/>
                <a:ext cx="878" cy="3042"/>
              </a:xfrm>
              <a:custGeom>
                <a:avLst/>
                <a:gdLst/>
                <a:ahLst/>
                <a:cxnLst>
                  <a:cxn ang="0">
                    <a:pos x="1" y="3"/>
                  </a:cxn>
                  <a:cxn ang="0">
                    <a:pos x="0" y="3"/>
                  </a:cxn>
                  <a:cxn ang="0">
                    <a:pos x="0" y="3"/>
                  </a:cxn>
                  <a:cxn ang="0">
                    <a:pos x="0" y="1"/>
                  </a:cxn>
                  <a:cxn ang="0">
                    <a:pos x="0" y="0"/>
                  </a:cxn>
                  <a:cxn ang="0">
                    <a:pos x="1" y="0"/>
                  </a:cxn>
                  <a:cxn ang="0">
                    <a:pos x="1" y="1"/>
                  </a:cxn>
                  <a:cxn ang="0">
                    <a:pos x="1" y="3"/>
                  </a:cxn>
                </a:cxnLst>
                <a:rect l="0" t="0" r="r" b="b"/>
                <a:pathLst>
                  <a:path w="1" h="3">
                    <a:moveTo>
                      <a:pt x="1" y="3"/>
                    </a:moveTo>
                    <a:lnTo>
                      <a:pt x="0" y="3"/>
                    </a:lnTo>
                    <a:lnTo>
                      <a:pt x="0" y="3"/>
                    </a:lnTo>
                    <a:lnTo>
                      <a:pt x="0" y="1"/>
                    </a:lnTo>
                    <a:lnTo>
                      <a:pt x="0" y="0"/>
                    </a:lnTo>
                    <a:lnTo>
                      <a:pt x="1" y="0"/>
                    </a:lnTo>
                    <a:lnTo>
                      <a:pt x="1" y="1"/>
                    </a:lnTo>
                    <a:lnTo>
                      <a:pt x="1"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95" name="Freeform 89"/>
              <p:cNvSpPr>
                <a:spLocks/>
              </p:cNvSpPr>
              <p:nvPr/>
            </p:nvSpPr>
            <p:spPr bwMode="auto">
              <a:xfrm>
                <a:off x="5245558" y="4258334"/>
                <a:ext cx="878" cy="3042"/>
              </a:xfrm>
              <a:custGeom>
                <a:avLst/>
                <a:gdLst/>
                <a:ahLst/>
                <a:cxnLst>
                  <a:cxn ang="0">
                    <a:pos x="1" y="3"/>
                  </a:cxn>
                  <a:cxn ang="0">
                    <a:pos x="0" y="3"/>
                  </a:cxn>
                  <a:cxn ang="0">
                    <a:pos x="0" y="3"/>
                  </a:cxn>
                  <a:cxn ang="0">
                    <a:pos x="0" y="1"/>
                  </a:cxn>
                  <a:cxn ang="0">
                    <a:pos x="0" y="0"/>
                  </a:cxn>
                  <a:cxn ang="0">
                    <a:pos x="1" y="0"/>
                  </a:cxn>
                  <a:cxn ang="0">
                    <a:pos x="1" y="1"/>
                  </a:cxn>
                  <a:cxn ang="0">
                    <a:pos x="1" y="3"/>
                  </a:cxn>
                </a:cxnLst>
                <a:rect l="0" t="0" r="r" b="b"/>
                <a:pathLst>
                  <a:path w="1" h="3">
                    <a:moveTo>
                      <a:pt x="1" y="3"/>
                    </a:moveTo>
                    <a:lnTo>
                      <a:pt x="0" y="3"/>
                    </a:lnTo>
                    <a:lnTo>
                      <a:pt x="0" y="3"/>
                    </a:lnTo>
                    <a:lnTo>
                      <a:pt x="0" y="1"/>
                    </a:lnTo>
                    <a:lnTo>
                      <a:pt x="0" y="0"/>
                    </a:lnTo>
                    <a:lnTo>
                      <a:pt x="1" y="0"/>
                    </a:lnTo>
                    <a:lnTo>
                      <a:pt x="1" y="1"/>
                    </a:lnTo>
                    <a:lnTo>
                      <a:pt x="1"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96" name="Freeform 90"/>
              <p:cNvSpPr>
                <a:spLocks/>
              </p:cNvSpPr>
              <p:nvPr/>
            </p:nvSpPr>
            <p:spPr bwMode="auto">
              <a:xfrm>
                <a:off x="4924283" y="3272598"/>
                <a:ext cx="8778" cy="20283"/>
              </a:xfrm>
              <a:custGeom>
                <a:avLst/>
                <a:gdLst/>
                <a:ahLst/>
                <a:cxnLst>
                  <a:cxn ang="0">
                    <a:pos x="3" y="0"/>
                  </a:cxn>
                  <a:cxn ang="0">
                    <a:pos x="4" y="5"/>
                  </a:cxn>
                  <a:cxn ang="0">
                    <a:pos x="7" y="8"/>
                  </a:cxn>
                  <a:cxn ang="0">
                    <a:pos x="9" y="14"/>
                  </a:cxn>
                  <a:cxn ang="0">
                    <a:pos x="9" y="16"/>
                  </a:cxn>
                  <a:cxn ang="0">
                    <a:pos x="7" y="17"/>
                  </a:cxn>
                  <a:cxn ang="0">
                    <a:pos x="4" y="19"/>
                  </a:cxn>
                  <a:cxn ang="0">
                    <a:pos x="1" y="17"/>
                  </a:cxn>
                  <a:cxn ang="0">
                    <a:pos x="1" y="16"/>
                  </a:cxn>
                  <a:cxn ang="0">
                    <a:pos x="1" y="14"/>
                  </a:cxn>
                  <a:cxn ang="0">
                    <a:pos x="1" y="13"/>
                  </a:cxn>
                  <a:cxn ang="0">
                    <a:pos x="3" y="13"/>
                  </a:cxn>
                  <a:cxn ang="0">
                    <a:pos x="4" y="10"/>
                  </a:cxn>
                  <a:cxn ang="0">
                    <a:pos x="6" y="8"/>
                  </a:cxn>
                  <a:cxn ang="0">
                    <a:pos x="3" y="5"/>
                  </a:cxn>
                  <a:cxn ang="0">
                    <a:pos x="1" y="4"/>
                  </a:cxn>
                  <a:cxn ang="0">
                    <a:pos x="0" y="4"/>
                  </a:cxn>
                  <a:cxn ang="0">
                    <a:pos x="0" y="3"/>
                  </a:cxn>
                  <a:cxn ang="0">
                    <a:pos x="0" y="1"/>
                  </a:cxn>
                  <a:cxn ang="0">
                    <a:pos x="3" y="0"/>
                  </a:cxn>
                </a:cxnLst>
                <a:rect l="0" t="0" r="r" b="b"/>
                <a:pathLst>
                  <a:path w="9" h="19">
                    <a:moveTo>
                      <a:pt x="3" y="0"/>
                    </a:moveTo>
                    <a:lnTo>
                      <a:pt x="4" y="5"/>
                    </a:lnTo>
                    <a:lnTo>
                      <a:pt x="7" y="8"/>
                    </a:lnTo>
                    <a:lnTo>
                      <a:pt x="9" y="14"/>
                    </a:lnTo>
                    <a:lnTo>
                      <a:pt x="9" y="16"/>
                    </a:lnTo>
                    <a:lnTo>
                      <a:pt x="7" y="17"/>
                    </a:lnTo>
                    <a:lnTo>
                      <a:pt x="4" y="19"/>
                    </a:lnTo>
                    <a:lnTo>
                      <a:pt x="1" y="17"/>
                    </a:lnTo>
                    <a:lnTo>
                      <a:pt x="1" y="16"/>
                    </a:lnTo>
                    <a:lnTo>
                      <a:pt x="1" y="14"/>
                    </a:lnTo>
                    <a:lnTo>
                      <a:pt x="1" y="13"/>
                    </a:lnTo>
                    <a:lnTo>
                      <a:pt x="3" y="13"/>
                    </a:lnTo>
                    <a:lnTo>
                      <a:pt x="4" y="10"/>
                    </a:lnTo>
                    <a:lnTo>
                      <a:pt x="6" y="8"/>
                    </a:lnTo>
                    <a:lnTo>
                      <a:pt x="3" y="5"/>
                    </a:lnTo>
                    <a:lnTo>
                      <a:pt x="1" y="4"/>
                    </a:lnTo>
                    <a:lnTo>
                      <a:pt x="0" y="4"/>
                    </a:lnTo>
                    <a:lnTo>
                      <a:pt x="0" y="3"/>
                    </a:lnTo>
                    <a:lnTo>
                      <a:pt x="0" y="1"/>
                    </a:lnTo>
                    <a:lnTo>
                      <a:pt x="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97" name="Freeform 91"/>
              <p:cNvSpPr>
                <a:spLocks/>
              </p:cNvSpPr>
              <p:nvPr/>
            </p:nvSpPr>
            <p:spPr bwMode="auto">
              <a:xfrm>
                <a:off x="4924283" y="3272598"/>
                <a:ext cx="8778" cy="20283"/>
              </a:xfrm>
              <a:custGeom>
                <a:avLst/>
                <a:gdLst/>
                <a:ahLst/>
                <a:cxnLst>
                  <a:cxn ang="0">
                    <a:pos x="3" y="0"/>
                  </a:cxn>
                  <a:cxn ang="0">
                    <a:pos x="4" y="5"/>
                  </a:cxn>
                  <a:cxn ang="0">
                    <a:pos x="7" y="8"/>
                  </a:cxn>
                  <a:cxn ang="0">
                    <a:pos x="9" y="14"/>
                  </a:cxn>
                  <a:cxn ang="0">
                    <a:pos x="9" y="16"/>
                  </a:cxn>
                  <a:cxn ang="0">
                    <a:pos x="7" y="17"/>
                  </a:cxn>
                  <a:cxn ang="0">
                    <a:pos x="4" y="19"/>
                  </a:cxn>
                  <a:cxn ang="0">
                    <a:pos x="1" y="17"/>
                  </a:cxn>
                  <a:cxn ang="0">
                    <a:pos x="1" y="16"/>
                  </a:cxn>
                  <a:cxn ang="0">
                    <a:pos x="1" y="14"/>
                  </a:cxn>
                  <a:cxn ang="0">
                    <a:pos x="1" y="13"/>
                  </a:cxn>
                  <a:cxn ang="0">
                    <a:pos x="3" y="13"/>
                  </a:cxn>
                  <a:cxn ang="0">
                    <a:pos x="4" y="10"/>
                  </a:cxn>
                  <a:cxn ang="0">
                    <a:pos x="6" y="8"/>
                  </a:cxn>
                  <a:cxn ang="0">
                    <a:pos x="3" y="5"/>
                  </a:cxn>
                  <a:cxn ang="0">
                    <a:pos x="1" y="4"/>
                  </a:cxn>
                  <a:cxn ang="0">
                    <a:pos x="0" y="4"/>
                  </a:cxn>
                  <a:cxn ang="0">
                    <a:pos x="0" y="3"/>
                  </a:cxn>
                  <a:cxn ang="0">
                    <a:pos x="0" y="1"/>
                  </a:cxn>
                  <a:cxn ang="0">
                    <a:pos x="3" y="0"/>
                  </a:cxn>
                </a:cxnLst>
                <a:rect l="0" t="0" r="r" b="b"/>
                <a:pathLst>
                  <a:path w="9" h="19">
                    <a:moveTo>
                      <a:pt x="3" y="0"/>
                    </a:moveTo>
                    <a:lnTo>
                      <a:pt x="4" y="5"/>
                    </a:lnTo>
                    <a:lnTo>
                      <a:pt x="7" y="8"/>
                    </a:lnTo>
                    <a:lnTo>
                      <a:pt x="9" y="14"/>
                    </a:lnTo>
                    <a:lnTo>
                      <a:pt x="9" y="16"/>
                    </a:lnTo>
                    <a:lnTo>
                      <a:pt x="7" y="17"/>
                    </a:lnTo>
                    <a:lnTo>
                      <a:pt x="4" y="19"/>
                    </a:lnTo>
                    <a:lnTo>
                      <a:pt x="1" y="17"/>
                    </a:lnTo>
                    <a:lnTo>
                      <a:pt x="1" y="16"/>
                    </a:lnTo>
                    <a:lnTo>
                      <a:pt x="1" y="14"/>
                    </a:lnTo>
                    <a:lnTo>
                      <a:pt x="1" y="13"/>
                    </a:lnTo>
                    <a:lnTo>
                      <a:pt x="3" y="13"/>
                    </a:lnTo>
                    <a:lnTo>
                      <a:pt x="4" y="10"/>
                    </a:lnTo>
                    <a:lnTo>
                      <a:pt x="6" y="8"/>
                    </a:lnTo>
                    <a:lnTo>
                      <a:pt x="3" y="5"/>
                    </a:lnTo>
                    <a:lnTo>
                      <a:pt x="1" y="4"/>
                    </a:lnTo>
                    <a:lnTo>
                      <a:pt x="0" y="4"/>
                    </a:lnTo>
                    <a:lnTo>
                      <a:pt x="0" y="3"/>
                    </a:lnTo>
                    <a:lnTo>
                      <a:pt x="0" y="1"/>
                    </a:lnTo>
                    <a:lnTo>
                      <a:pt x="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98" name="Freeform 92"/>
              <p:cNvSpPr>
                <a:spLocks/>
              </p:cNvSpPr>
              <p:nvPr/>
            </p:nvSpPr>
            <p:spPr bwMode="auto">
              <a:xfrm>
                <a:off x="4933938" y="3277667"/>
                <a:ext cx="2634" cy="3043"/>
              </a:xfrm>
              <a:custGeom>
                <a:avLst/>
                <a:gdLst/>
                <a:ahLst/>
                <a:cxnLst>
                  <a:cxn ang="0">
                    <a:pos x="1" y="0"/>
                  </a:cxn>
                  <a:cxn ang="0">
                    <a:pos x="0" y="0"/>
                  </a:cxn>
                  <a:cxn ang="0">
                    <a:pos x="0" y="2"/>
                  </a:cxn>
                  <a:cxn ang="0">
                    <a:pos x="0" y="2"/>
                  </a:cxn>
                  <a:cxn ang="0">
                    <a:pos x="1" y="3"/>
                  </a:cxn>
                  <a:cxn ang="0">
                    <a:pos x="3" y="3"/>
                  </a:cxn>
                  <a:cxn ang="0">
                    <a:pos x="3" y="2"/>
                  </a:cxn>
                  <a:cxn ang="0">
                    <a:pos x="3" y="0"/>
                  </a:cxn>
                  <a:cxn ang="0">
                    <a:pos x="1" y="0"/>
                  </a:cxn>
                </a:cxnLst>
                <a:rect l="0" t="0" r="r" b="b"/>
                <a:pathLst>
                  <a:path w="3" h="3">
                    <a:moveTo>
                      <a:pt x="1" y="0"/>
                    </a:moveTo>
                    <a:lnTo>
                      <a:pt x="0" y="0"/>
                    </a:lnTo>
                    <a:lnTo>
                      <a:pt x="0" y="2"/>
                    </a:lnTo>
                    <a:lnTo>
                      <a:pt x="0" y="2"/>
                    </a:lnTo>
                    <a:lnTo>
                      <a:pt x="1" y="3"/>
                    </a:lnTo>
                    <a:lnTo>
                      <a:pt x="3" y="3"/>
                    </a:lnTo>
                    <a:lnTo>
                      <a:pt x="3" y="2"/>
                    </a:lnTo>
                    <a:lnTo>
                      <a:pt x="3" y="0"/>
                    </a:lnTo>
                    <a:lnTo>
                      <a:pt x="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99" name="Freeform 93"/>
              <p:cNvSpPr>
                <a:spLocks/>
              </p:cNvSpPr>
              <p:nvPr/>
            </p:nvSpPr>
            <p:spPr bwMode="auto">
              <a:xfrm>
                <a:off x="4933938" y="3277667"/>
                <a:ext cx="2634" cy="3043"/>
              </a:xfrm>
              <a:custGeom>
                <a:avLst/>
                <a:gdLst/>
                <a:ahLst/>
                <a:cxnLst>
                  <a:cxn ang="0">
                    <a:pos x="1" y="0"/>
                  </a:cxn>
                  <a:cxn ang="0">
                    <a:pos x="0" y="0"/>
                  </a:cxn>
                  <a:cxn ang="0">
                    <a:pos x="0" y="2"/>
                  </a:cxn>
                  <a:cxn ang="0">
                    <a:pos x="0" y="2"/>
                  </a:cxn>
                  <a:cxn ang="0">
                    <a:pos x="1" y="3"/>
                  </a:cxn>
                  <a:cxn ang="0">
                    <a:pos x="3" y="3"/>
                  </a:cxn>
                  <a:cxn ang="0">
                    <a:pos x="3" y="2"/>
                  </a:cxn>
                  <a:cxn ang="0">
                    <a:pos x="3" y="0"/>
                  </a:cxn>
                  <a:cxn ang="0">
                    <a:pos x="1" y="0"/>
                  </a:cxn>
                </a:cxnLst>
                <a:rect l="0" t="0" r="r" b="b"/>
                <a:pathLst>
                  <a:path w="3" h="3">
                    <a:moveTo>
                      <a:pt x="1" y="0"/>
                    </a:moveTo>
                    <a:lnTo>
                      <a:pt x="0" y="0"/>
                    </a:lnTo>
                    <a:lnTo>
                      <a:pt x="0" y="2"/>
                    </a:lnTo>
                    <a:lnTo>
                      <a:pt x="0" y="2"/>
                    </a:lnTo>
                    <a:lnTo>
                      <a:pt x="1" y="3"/>
                    </a:lnTo>
                    <a:lnTo>
                      <a:pt x="3" y="3"/>
                    </a:lnTo>
                    <a:lnTo>
                      <a:pt x="3" y="2"/>
                    </a:lnTo>
                    <a:lnTo>
                      <a:pt x="3" y="0"/>
                    </a:lnTo>
                    <a:lnTo>
                      <a:pt x="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00" name="Freeform 94"/>
              <p:cNvSpPr>
                <a:spLocks/>
              </p:cNvSpPr>
              <p:nvPr/>
            </p:nvSpPr>
            <p:spPr bwMode="auto">
              <a:xfrm>
                <a:off x="4939205" y="3283753"/>
                <a:ext cx="3511" cy="3043"/>
              </a:xfrm>
              <a:custGeom>
                <a:avLst/>
                <a:gdLst/>
                <a:ahLst/>
                <a:cxnLst>
                  <a:cxn ang="0">
                    <a:pos x="4" y="0"/>
                  </a:cxn>
                  <a:cxn ang="0">
                    <a:pos x="4" y="3"/>
                  </a:cxn>
                  <a:cxn ang="0">
                    <a:pos x="3" y="3"/>
                  </a:cxn>
                  <a:cxn ang="0">
                    <a:pos x="0" y="3"/>
                  </a:cxn>
                  <a:cxn ang="0">
                    <a:pos x="0" y="3"/>
                  </a:cxn>
                  <a:cxn ang="0">
                    <a:pos x="0" y="0"/>
                  </a:cxn>
                  <a:cxn ang="0">
                    <a:pos x="0" y="0"/>
                  </a:cxn>
                  <a:cxn ang="0">
                    <a:pos x="1" y="0"/>
                  </a:cxn>
                  <a:cxn ang="0">
                    <a:pos x="3" y="0"/>
                  </a:cxn>
                  <a:cxn ang="0">
                    <a:pos x="4" y="0"/>
                  </a:cxn>
                </a:cxnLst>
                <a:rect l="0" t="0" r="r" b="b"/>
                <a:pathLst>
                  <a:path w="4" h="3">
                    <a:moveTo>
                      <a:pt x="4" y="0"/>
                    </a:moveTo>
                    <a:lnTo>
                      <a:pt x="4" y="3"/>
                    </a:lnTo>
                    <a:lnTo>
                      <a:pt x="3" y="3"/>
                    </a:lnTo>
                    <a:lnTo>
                      <a:pt x="0" y="3"/>
                    </a:lnTo>
                    <a:lnTo>
                      <a:pt x="0" y="3"/>
                    </a:lnTo>
                    <a:lnTo>
                      <a:pt x="0" y="0"/>
                    </a:lnTo>
                    <a:lnTo>
                      <a:pt x="0" y="0"/>
                    </a:lnTo>
                    <a:lnTo>
                      <a:pt x="1" y="0"/>
                    </a:lnTo>
                    <a:lnTo>
                      <a:pt x="3" y="0"/>
                    </a:lnTo>
                    <a:lnTo>
                      <a:pt x="4"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01" name="Freeform 95"/>
              <p:cNvSpPr>
                <a:spLocks/>
              </p:cNvSpPr>
              <p:nvPr/>
            </p:nvSpPr>
            <p:spPr bwMode="auto">
              <a:xfrm>
                <a:off x="4939205" y="3283753"/>
                <a:ext cx="3511" cy="3043"/>
              </a:xfrm>
              <a:custGeom>
                <a:avLst/>
                <a:gdLst/>
                <a:ahLst/>
                <a:cxnLst>
                  <a:cxn ang="0">
                    <a:pos x="4" y="0"/>
                  </a:cxn>
                  <a:cxn ang="0">
                    <a:pos x="4" y="3"/>
                  </a:cxn>
                  <a:cxn ang="0">
                    <a:pos x="3" y="3"/>
                  </a:cxn>
                  <a:cxn ang="0">
                    <a:pos x="0" y="3"/>
                  </a:cxn>
                  <a:cxn ang="0">
                    <a:pos x="0" y="3"/>
                  </a:cxn>
                  <a:cxn ang="0">
                    <a:pos x="0" y="0"/>
                  </a:cxn>
                  <a:cxn ang="0">
                    <a:pos x="0" y="0"/>
                  </a:cxn>
                  <a:cxn ang="0">
                    <a:pos x="1" y="0"/>
                  </a:cxn>
                  <a:cxn ang="0">
                    <a:pos x="3" y="0"/>
                  </a:cxn>
                  <a:cxn ang="0">
                    <a:pos x="4" y="0"/>
                  </a:cxn>
                </a:cxnLst>
                <a:rect l="0" t="0" r="r" b="b"/>
                <a:pathLst>
                  <a:path w="4" h="3">
                    <a:moveTo>
                      <a:pt x="4" y="0"/>
                    </a:moveTo>
                    <a:lnTo>
                      <a:pt x="4" y="3"/>
                    </a:lnTo>
                    <a:lnTo>
                      <a:pt x="3" y="3"/>
                    </a:lnTo>
                    <a:lnTo>
                      <a:pt x="0" y="3"/>
                    </a:lnTo>
                    <a:lnTo>
                      <a:pt x="0" y="3"/>
                    </a:lnTo>
                    <a:lnTo>
                      <a:pt x="0" y="0"/>
                    </a:lnTo>
                    <a:lnTo>
                      <a:pt x="0" y="0"/>
                    </a:lnTo>
                    <a:lnTo>
                      <a:pt x="1" y="0"/>
                    </a:lnTo>
                    <a:lnTo>
                      <a:pt x="3" y="0"/>
                    </a:lnTo>
                    <a:lnTo>
                      <a:pt x="4"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02" name="Freeform 96"/>
              <p:cNvSpPr>
                <a:spLocks/>
              </p:cNvSpPr>
              <p:nvPr/>
            </p:nvSpPr>
            <p:spPr bwMode="auto">
              <a:xfrm>
                <a:off x="4948861" y="3286795"/>
                <a:ext cx="5267" cy="3042"/>
              </a:xfrm>
              <a:custGeom>
                <a:avLst/>
                <a:gdLst/>
                <a:ahLst/>
                <a:cxnLst>
                  <a:cxn ang="0">
                    <a:pos x="5" y="0"/>
                  </a:cxn>
                  <a:cxn ang="0">
                    <a:pos x="5" y="0"/>
                  </a:cxn>
                  <a:cxn ang="0">
                    <a:pos x="5" y="0"/>
                  </a:cxn>
                  <a:cxn ang="0">
                    <a:pos x="5" y="1"/>
                  </a:cxn>
                  <a:cxn ang="0">
                    <a:pos x="3" y="3"/>
                  </a:cxn>
                  <a:cxn ang="0">
                    <a:pos x="2" y="3"/>
                  </a:cxn>
                  <a:cxn ang="0">
                    <a:pos x="0" y="3"/>
                  </a:cxn>
                  <a:cxn ang="0">
                    <a:pos x="0" y="1"/>
                  </a:cxn>
                  <a:cxn ang="0">
                    <a:pos x="3" y="0"/>
                  </a:cxn>
                  <a:cxn ang="0">
                    <a:pos x="5" y="0"/>
                  </a:cxn>
                </a:cxnLst>
                <a:rect l="0" t="0" r="r" b="b"/>
                <a:pathLst>
                  <a:path w="5" h="3">
                    <a:moveTo>
                      <a:pt x="5" y="0"/>
                    </a:moveTo>
                    <a:lnTo>
                      <a:pt x="5" y="0"/>
                    </a:lnTo>
                    <a:lnTo>
                      <a:pt x="5" y="0"/>
                    </a:lnTo>
                    <a:lnTo>
                      <a:pt x="5" y="1"/>
                    </a:lnTo>
                    <a:lnTo>
                      <a:pt x="3" y="3"/>
                    </a:lnTo>
                    <a:lnTo>
                      <a:pt x="2" y="3"/>
                    </a:lnTo>
                    <a:lnTo>
                      <a:pt x="0" y="3"/>
                    </a:lnTo>
                    <a:lnTo>
                      <a:pt x="0" y="1"/>
                    </a:lnTo>
                    <a:lnTo>
                      <a:pt x="3" y="0"/>
                    </a:lnTo>
                    <a:lnTo>
                      <a:pt x="5"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03" name="Freeform 97"/>
              <p:cNvSpPr>
                <a:spLocks/>
              </p:cNvSpPr>
              <p:nvPr/>
            </p:nvSpPr>
            <p:spPr bwMode="auto">
              <a:xfrm>
                <a:off x="4948861" y="3286795"/>
                <a:ext cx="5267" cy="3042"/>
              </a:xfrm>
              <a:custGeom>
                <a:avLst/>
                <a:gdLst/>
                <a:ahLst/>
                <a:cxnLst>
                  <a:cxn ang="0">
                    <a:pos x="5" y="0"/>
                  </a:cxn>
                  <a:cxn ang="0">
                    <a:pos x="5" y="0"/>
                  </a:cxn>
                  <a:cxn ang="0">
                    <a:pos x="5" y="0"/>
                  </a:cxn>
                  <a:cxn ang="0">
                    <a:pos x="5" y="1"/>
                  </a:cxn>
                  <a:cxn ang="0">
                    <a:pos x="3" y="3"/>
                  </a:cxn>
                  <a:cxn ang="0">
                    <a:pos x="2" y="3"/>
                  </a:cxn>
                  <a:cxn ang="0">
                    <a:pos x="0" y="3"/>
                  </a:cxn>
                  <a:cxn ang="0">
                    <a:pos x="0" y="1"/>
                  </a:cxn>
                  <a:cxn ang="0">
                    <a:pos x="3" y="0"/>
                  </a:cxn>
                  <a:cxn ang="0">
                    <a:pos x="5" y="0"/>
                  </a:cxn>
                </a:cxnLst>
                <a:rect l="0" t="0" r="r" b="b"/>
                <a:pathLst>
                  <a:path w="5" h="3">
                    <a:moveTo>
                      <a:pt x="5" y="0"/>
                    </a:moveTo>
                    <a:lnTo>
                      <a:pt x="5" y="0"/>
                    </a:lnTo>
                    <a:lnTo>
                      <a:pt x="5" y="0"/>
                    </a:lnTo>
                    <a:lnTo>
                      <a:pt x="5" y="1"/>
                    </a:lnTo>
                    <a:lnTo>
                      <a:pt x="3" y="3"/>
                    </a:lnTo>
                    <a:lnTo>
                      <a:pt x="2" y="3"/>
                    </a:lnTo>
                    <a:lnTo>
                      <a:pt x="0" y="3"/>
                    </a:lnTo>
                    <a:lnTo>
                      <a:pt x="0" y="1"/>
                    </a:lnTo>
                    <a:lnTo>
                      <a:pt x="3" y="0"/>
                    </a:lnTo>
                    <a:lnTo>
                      <a:pt x="5"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04" name="Freeform 98"/>
              <p:cNvSpPr>
                <a:spLocks/>
              </p:cNvSpPr>
              <p:nvPr/>
            </p:nvSpPr>
            <p:spPr bwMode="auto">
              <a:xfrm>
                <a:off x="4922527" y="3279696"/>
                <a:ext cx="2633" cy="4056"/>
              </a:xfrm>
              <a:custGeom>
                <a:avLst/>
                <a:gdLst/>
                <a:ahLst/>
                <a:cxnLst>
                  <a:cxn ang="0">
                    <a:pos x="3" y="0"/>
                  </a:cxn>
                  <a:cxn ang="0">
                    <a:pos x="3" y="0"/>
                  </a:cxn>
                  <a:cxn ang="0">
                    <a:pos x="3" y="3"/>
                  </a:cxn>
                  <a:cxn ang="0">
                    <a:pos x="2" y="3"/>
                  </a:cxn>
                  <a:cxn ang="0">
                    <a:pos x="2" y="1"/>
                  </a:cxn>
                  <a:cxn ang="0">
                    <a:pos x="0" y="1"/>
                  </a:cxn>
                  <a:cxn ang="0">
                    <a:pos x="0" y="0"/>
                  </a:cxn>
                  <a:cxn ang="0">
                    <a:pos x="3" y="0"/>
                  </a:cxn>
                </a:cxnLst>
                <a:rect l="0" t="0" r="r" b="b"/>
                <a:pathLst>
                  <a:path w="3" h="3">
                    <a:moveTo>
                      <a:pt x="3" y="0"/>
                    </a:moveTo>
                    <a:lnTo>
                      <a:pt x="3" y="0"/>
                    </a:lnTo>
                    <a:lnTo>
                      <a:pt x="3" y="3"/>
                    </a:lnTo>
                    <a:lnTo>
                      <a:pt x="2" y="3"/>
                    </a:lnTo>
                    <a:lnTo>
                      <a:pt x="2" y="1"/>
                    </a:lnTo>
                    <a:lnTo>
                      <a:pt x="0" y="1"/>
                    </a:lnTo>
                    <a:lnTo>
                      <a:pt x="0" y="0"/>
                    </a:lnTo>
                    <a:lnTo>
                      <a:pt x="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05" name="Freeform 99"/>
              <p:cNvSpPr>
                <a:spLocks/>
              </p:cNvSpPr>
              <p:nvPr/>
            </p:nvSpPr>
            <p:spPr bwMode="auto">
              <a:xfrm>
                <a:off x="4922527" y="3279696"/>
                <a:ext cx="2633" cy="4056"/>
              </a:xfrm>
              <a:custGeom>
                <a:avLst/>
                <a:gdLst/>
                <a:ahLst/>
                <a:cxnLst>
                  <a:cxn ang="0">
                    <a:pos x="3" y="0"/>
                  </a:cxn>
                  <a:cxn ang="0">
                    <a:pos x="3" y="0"/>
                  </a:cxn>
                  <a:cxn ang="0">
                    <a:pos x="3" y="3"/>
                  </a:cxn>
                  <a:cxn ang="0">
                    <a:pos x="2" y="3"/>
                  </a:cxn>
                  <a:cxn ang="0">
                    <a:pos x="2" y="1"/>
                  </a:cxn>
                  <a:cxn ang="0">
                    <a:pos x="0" y="1"/>
                  </a:cxn>
                  <a:cxn ang="0">
                    <a:pos x="0" y="0"/>
                  </a:cxn>
                  <a:cxn ang="0">
                    <a:pos x="3" y="0"/>
                  </a:cxn>
                </a:cxnLst>
                <a:rect l="0" t="0" r="r" b="b"/>
                <a:pathLst>
                  <a:path w="3" h="3">
                    <a:moveTo>
                      <a:pt x="3" y="0"/>
                    </a:moveTo>
                    <a:lnTo>
                      <a:pt x="3" y="0"/>
                    </a:lnTo>
                    <a:lnTo>
                      <a:pt x="3" y="3"/>
                    </a:lnTo>
                    <a:lnTo>
                      <a:pt x="2" y="3"/>
                    </a:lnTo>
                    <a:lnTo>
                      <a:pt x="2" y="1"/>
                    </a:lnTo>
                    <a:lnTo>
                      <a:pt x="0" y="1"/>
                    </a:lnTo>
                    <a:lnTo>
                      <a:pt x="0" y="0"/>
                    </a:lnTo>
                    <a:lnTo>
                      <a:pt x="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06" name="Freeform 100"/>
              <p:cNvSpPr>
                <a:spLocks/>
              </p:cNvSpPr>
              <p:nvPr/>
            </p:nvSpPr>
            <p:spPr bwMode="auto">
              <a:xfrm>
                <a:off x="6374409" y="2147924"/>
                <a:ext cx="6144" cy="13184"/>
              </a:xfrm>
              <a:custGeom>
                <a:avLst/>
                <a:gdLst/>
                <a:ahLst/>
                <a:cxnLst>
                  <a:cxn ang="0">
                    <a:pos x="6" y="1"/>
                  </a:cxn>
                  <a:cxn ang="0">
                    <a:pos x="3" y="0"/>
                  </a:cxn>
                  <a:cxn ang="0">
                    <a:pos x="3" y="0"/>
                  </a:cxn>
                  <a:cxn ang="0">
                    <a:pos x="1" y="1"/>
                  </a:cxn>
                  <a:cxn ang="0">
                    <a:pos x="3" y="3"/>
                  </a:cxn>
                  <a:cxn ang="0">
                    <a:pos x="1" y="4"/>
                  </a:cxn>
                  <a:cxn ang="0">
                    <a:pos x="0" y="3"/>
                  </a:cxn>
                  <a:cxn ang="0">
                    <a:pos x="0" y="9"/>
                  </a:cxn>
                  <a:cxn ang="0">
                    <a:pos x="4" y="9"/>
                  </a:cxn>
                  <a:cxn ang="0">
                    <a:pos x="6" y="12"/>
                  </a:cxn>
                  <a:cxn ang="0">
                    <a:pos x="7" y="10"/>
                  </a:cxn>
                  <a:cxn ang="0">
                    <a:pos x="4" y="9"/>
                  </a:cxn>
                  <a:cxn ang="0">
                    <a:pos x="4" y="7"/>
                  </a:cxn>
                  <a:cxn ang="0">
                    <a:pos x="6" y="6"/>
                  </a:cxn>
                  <a:cxn ang="0">
                    <a:pos x="7" y="4"/>
                  </a:cxn>
                  <a:cxn ang="0">
                    <a:pos x="7" y="3"/>
                  </a:cxn>
                  <a:cxn ang="0">
                    <a:pos x="6" y="1"/>
                  </a:cxn>
                </a:cxnLst>
                <a:rect l="0" t="0" r="r" b="b"/>
                <a:pathLst>
                  <a:path w="7" h="12">
                    <a:moveTo>
                      <a:pt x="6" y="1"/>
                    </a:moveTo>
                    <a:lnTo>
                      <a:pt x="3" y="0"/>
                    </a:lnTo>
                    <a:lnTo>
                      <a:pt x="3" y="0"/>
                    </a:lnTo>
                    <a:lnTo>
                      <a:pt x="1" y="1"/>
                    </a:lnTo>
                    <a:lnTo>
                      <a:pt x="3" y="3"/>
                    </a:lnTo>
                    <a:lnTo>
                      <a:pt x="1" y="4"/>
                    </a:lnTo>
                    <a:lnTo>
                      <a:pt x="0" y="3"/>
                    </a:lnTo>
                    <a:lnTo>
                      <a:pt x="0" y="9"/>
                    </a:lnTo>
                    <a:lnTo>
                      <a:pt x="4" y="9"/>
                    </a:lnTo>
                    <a:lnTo>
                      <a:pt x="6" y="12"/>
                    </a:lnTo>
                    <a:lnTo>
                      <a:pt x="7" y="10"/>
                    </a:lnTo>
                    <a:lnTo>
                      <a:pt x="4" y="9"/>
                    </a:lnTo>
                    <a:lnTo>
                      <a:pt x="4" y="7"/>
                    </a:lnTo>
                    <a:lnTo>
                      <a:pt x="6" y="6"/>
                    </a:lnTo>
                    <a:lnTo>
                      <a:pt x="7" y="4"/>
                    </a:lnTo>
                    <a:lnTo>
                      <a:pt x="7" y="3"/>
                    </a:lnTo>
                    <a:lnTo>
                      <a:pt x="6"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07" name="Freeform 101"/>
              <p:cNvSpPr>
                <a:spLocks/>
              </p:cNvSpPr>
              <p:nvPr/>
            </p:nvSpPr>
            <p:spPr bwMode="auto">
              <a:xfrm>
                <a:off x="6374409" y="2147924"/>
                <a:ext cx="6144" cy="13184"/>
              </a:xfrm>
              <a:custGeom>
                <a:avLst/>
                <a:gdLst/>
                <a:ahLst/>
                <a:cxnLst>
                  <a:cxn ang="0">
                    <a:pos x="6" y="1"/>
                  </a:cxn>
                  <a:cxn ang="0">
                    <a:pos x="3" y="0"/>
                  </a:cxn>
                  <a:cxn ang="0">
                    <a:pos x="3" y="0"/>
                  </a:cxn>
                  <a:cxn ang="0">
                    <a:pos x="1" y="1"/>
                  </a:cxn>
                  <a:cxn ang="0">
                    <a:pos x="3" y="3"/>
                  </a:cxn>
                  <a:cxn ang="0">
                    <a:pos x="1" y="4"/>
                  </a:cxn>
                  <a:cxn ang="0">
                    <a:pos x="0" y="3"/>
                  </a:cxn>
                  <a:cxn ang="0">
                    <a:pos x="0" y="9"/>
                  </a:cxn>
                  <a:cxn ang="0">
                    <a:pos x="4" y="9"/>
                  </a:cxn>
                  <a:cxn ang="0">
                    <a:pos x="6" y="12"/>
                  </a:cxn>
                  <a:cxn ang="0">
                    <a:pos x="7" y="10"/>
                  </a:cxn>
                  <a:cxn ang="0">
                    <a:pos x="4" y="9"/>
                  </a:cxn>
                  <a:cxn ang="0">
                    <a:pos x="4" y="7"/>
                  </a:cxn>
                  <a:cxn ang="0">
                    <a:pos x="6" y="6"/>
                  </a:cxn>
                  <a:cxn ang="0">
                    <a:pos x="7" y="4"/>
                  </a:cxn>
                  <a:cxn ang="0">
                    <a:pos x="7" y="3"/>
                  </a:cxn>
                  <a:cxn ang="0">
                    <a:pos x="6" y="1"/>
                  </a:cxn>
                </a:cxnLst>
                <a:rect l="0" t="0" r="r" b="b"/>
                <a:pathLst>
                  <a:path w="7" h="12">
                    <a:moveTo>
                      <a:pt x="6" y="1"/>
                    </a:moveTo>
                    <a:lnTo>
                      <a:pt x="3" y="0"/>
                    </a:lnTo>
                    <a:lnTo>
                      <a:pt x="3" y="0"/>
                    </a:lnTo>
                    <a:lnTo>
                      <a:pt x="1" y="1"/>
                    </a:lnTo>
                    <a:lnTo>
                      <a:pt x="3" y="3"/>
                    </a:lnTo>
                    <a:lnTo>
                      <a:pt x="1" y="4"/>
                    </a:lnTo>
                    <a:lnTo>
                      <a:pt x="0" y="3"/>
                    </a:lnTo>
                    <a:lnTo>
                      <a:pt x="0" y="9"/>
                    </a:lnTo>
                    <a:lnTo>
                      <a:pt x="4" y="9"/>
                    </a:lnTo>
                    <a:lnTo>
                      <a:pt x="6" y="12"/>
                    </a:lnTo>
                    <a:lnTo>
                      <a:pt x="7" y="10"/>
                    </a:lnTo>
                    <a:lnTo>
                      <a:pt x="4" y="9"/>
                    </a:lnTo>
                    <a:lnTo>
                      <a:pt x="4" y="7"/>
                    </a:lnTo>
                    <a:lnTo>
                      <a:pt x="6" y="6"/>
                    </a:lnTo>
                    <a:lnTo>
                      <a:pt x="7" y="4"/>
                    </a:lnTo>
                    <a:lnTo>
                      <a:pt x="7" y="3"/>
                    </a:lnTo>
                    <a:lnTo>
                      <a:pt x="6"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08" name="Freeform 102"/>
              <p:cNvSpPr>
                <a:spLocks/>
              </p:cNvSpPr>
              <p:nvPr/>
            </p:nvSpPr>
            <p:spPr bwMode="auto">
              <a:xfrm>
                <a:off x="6400743" y="2151980"/>
                <a:ext cx="2633" cy="5071"/>
              </a:xfrm>
              <a:custGeom>
                <a:avLst/>
                <a:gdLst/>
                <a:ahLst/>
                <a:cxnLst>
                  <a:cxn ang="0">
                    <a:pos x="3" y="2"/>
                  </a:cxn>
                  <a:cxn ang="0">
                    <a:pos x="1" y="0"/>
                  </a:cxn>
                  <a:cxn ang="0">
                    <a:pos x="0" y="2"/>
                  </a:cxn>
                  <a:cxn ang="0">
                    <a:pos x="0" y="3"/>
                  </a:cxn>
                  <a:cxn ang="0">
                    <a:pos x="0" y="5"/>
                  </a:cxn>
                  <a:cxn ang="0">
                    <a:pos x="1" y="5"/>
                  </a:cxn>
                  <a:cxn ang="0">
                    <a:pos x="3" y="2"/>
                  </a:cxn>
                </a:cxnLst>
                <a:rect l="0" t="0" r="r" b="b"/>
                <a:pathLst>
                  <a:path w="3" h="5">
                    <a:moveTo>
                      <a:pt x="3" y="2"/>
                    </a:moveTo>
                    <a:lnTo>
                      <a:pt x="1" y="0"/>
                    </a:lnTo>
                    <a:lnTo>
                      <a:pt x="0" y="2"/>
                    </a:lnTo>
                    <a:lnTo>
                      <a:pt x="0" y="3"/>
                    </a:lnTo>
                    <a:lnTo>
                      <a:pt x="0" y="5"/>
                    </a:lnTo>
                    <a:lnTo>
                      <a:pt x="1" y="5"/>
                    </a:lnTo>
                    <a:lnTo>
                      <a:pt x="3"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09" name="Freeform 103"/>
              <p:cNvSpPr>
                <a:spLocks/>
              </p:cNvSpPr>
              <p:nvPr/>
            </p:nvSpPr>
            <p:spPr bwMode="auto">
              <a:xfrm>
                <a:off x="6400743" y="2151980"/>
                <a:ext cx="2633" cy="5071"/>
              </a:xfrm>
              <a:custGeom>
                <a:avLst/>
                <a:gdLst/>
                <a:ahLst/>
                <a:cxnLst>
                  <a:cxn ang="0">
                    <a:pos x="3" y="2"/>
                  </a:cxn>
                  <a:cxn ang="0">
                    <a:pos x="1" y="0"/>
                  </a:cxn>
                  <a:cxn ang="0">
                    <a:pos x="0" y="2"/>
                  </a:cxn>
                  <a:cxn ang="0">
                    <a:pos x="0" y="3"/>
                  </a:cxn>
                  <a:cxn ang="0">
                    <a:pos x="0" y="5"/>
                  </a:cxn>
                  <a:cxn ang="0">
                    <a:pos x="1" y="5"/>
                  </a:cxn>
                  <a:cxn ang="0">
                    <a:pos x="3" y="2"/>
                  </a:cxn>
                </a:cxnLst>
                <a:rect l="0" t="0" r="r" b="b"/>
                <a:pathLst>
                  <a:path w="3" h="5">
                    <a:moveTo>
                      <a:pt x="3" y="2"/>
                    </a:moveTo>
                    <a:lnTo>
                      <a:pt x="1" y="0"/>
                    </a:lnTo>
                    <a:lnTo>
                      <a:pt x="0" y="2"/>
                    </a:lnTo>
                    <a:lnTo>
                      <a:pt x="0" y="3"/>
                    </a:lnTo>
                    <a:lnTo>
                      <a:pt x="0" y="5"/>
                    </a:lnTo>
                    <a:lnTo>
                      <a:pt x="1" y="5"/>
                    </a:lnTo>
                    <a:lnTo>
                      <a:pt x="3"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10" name="Freeform 104"/>
              <p:cNvSpPr>
                <a:spLocks/>
              </p:cNvSpPr>
              <p:nvPr/>
            </p:nvSpPr>
            <p:spPr bwMode="auto">
              <a:xfrm>
                <a:off x="6409521" y="2150967"/>
                <a:ext cx="6144" cy="7099"/>
              </a:xfrm>
              <a:custGeom>
                <a:avLst/>
                <a:gdLst/>
                <a:ahLst/>
                <a:cxnLst>
                  <a:cxn ang="0">
                    <a:pos x="4" y="7"/>
                  </a:cxn>
                  <a:cxn ang="0">
                    <a:pos x="5" y="7"/>
                  </a:cxn>
                  <a:cxn ang="0">
                    <a:pos x="7" y="0"/>
                  </a:cxn>
                  <a:cxn ang="0">
                    <a:pos x="5" y="1"/>
                  </a:cxn>
                  <a:cxn ang="0">
                    <a:pos x="3" y="3"/>
                  </a:cxn>
                  <a:cxn ang="0">
                    <a:pos x="1" y="6"/>
                  </a:cxn>
                  <a:cxn ang="0">
                    <a:pos x="1" y="6"/>
                  </a:cxn>
                  <a:cxn ang="0">
                    <a:pos x="0" y="7"/>
                  </a:cxn>
                  <a:cxn ang="0">
                    <a:pos x="3" y="7"/>
                  </a:cxn>
                  <a:cxn ang="0">
                    <a:pos x="4" y="7"/>
                  </a:cxn>
                </a:cxnLst>
                <a:rect l="0" t="0" r="r" b="b"/>
                <a:pathLst>
                  <a:path w="7" h="7">
                    <a:moveTo>
                      <a:pt x="4" y="7"/>
                    </a:moveTo>
                    <a:lnTo>
                      <a:pt x="5" y="7"/>
                    </a:lnTo>
                    <a:lnTo>
                      <a:pt x="7" y="0"/>
                    </a:lnTo>
                    <a:lnTo>
                      <a:pt x="5" y="1"/>
                    </a:lnTo>
                    <a:lnTo>
                      <a:pt x="3" y="3"/>
                    </a:lnTo>
                    <a:lnTo>
                      <a:pt x="1" y="6"/>
                    </a:lnTo>
                    <a:lnTo>
                      <a:pt x="1" y="6"/>
                    </a:lnTo>
                    <a:lnTo>
                      <a:pt x="0" y="7"/>
                    </a:lnTo>
                    <a:lnTo>
                      <a:pt x="3" y="7"/>
                    </a:lnTo>
                    <a:lnTo>
                      <a:pt x="4" y="7"/>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11" name="Freeform 105"/>
              <p:cNvSpPr>
                <a:spLocks/>
              </p:cNvSpPr>
              <p:nvPr/>
            </p:nvSpPr>
            <p:spPr bwMode="auto">
              <a:xfrm>
                <a:off x="6409521" y="2150967"/>
                <a:ext cx="6144" cy="7099"/>
              </a:xfrm>
              <a:custGeom>
                <a:avLst/>
                <a:gdLst/>
                <a:ahLst/>
                <a:cxnLst>
                  <a:cxn ang="0">
                    <a:pos x="4" y="7"/>
                  </a:cxn>
                  <a:cxn ang="0">
                    <a:pos x="5" y="7"/>
                  </a:cxn>
                  <a:cxn ang="0">
                    <a:pos x="7" y="0"/>
                  </a:cxn>
                  <a:cxn ang="0">
                    <a:pos x="5" y="1"/>
                  </a:cxn>
                  <a:cxn ang="0">
                    <a:pos x="3" y="3"/>
                  </a:cxn>
                  <a:cxn ang="0">
                    <a:pos x="1" y="6"/>
                  </a:cxn>
                  <a:cxn ang="0">
                    <a:pos x="1" y="6"/>
                  </a:cxn>
                  <a:cxn ang="0">
                    <a:pos x="0" y="7"/>
                  </a:cxn>
                  <a:cxn ang="0">
                    <a:pos x="3" y="7"/>
                  </a:cxn>
                  <a:cxn ang="0">
                    <a:pos x="4" y="7"/>
                  </a:cxn>
                </a:cxnLst>
                <a:rect l="0" t="0" r="r" b="b"/>
                <a:pathLst>
                  <a:path w="7" h="7">
                    <a:moveTo>
                      <a:pt x="4" y="7"/>
                    </a:moveTo>
                    <a:lnTo>
                      <a:pt x="5" y="7"/>
                    </a:lnTo>
                    <a:lnTo>
                      <a:pt x="7" y="0"/>
                    </a:lnTo>
                    <a:lnTo>
                      <a:pt x="5" y="1"/>
                    </a:lnTo>
                    <a:lnTo>
                      <a:pt x="3" y="3"/>
                    </a:lnTo>
                    <a:lnTo>
                      <a:pt x="1" y="6"/>
                    </a:lnTo>
                    <a:lnTo>
                      <a:pt x="1" y="6"/>
                    </a:lnTo>
                    <a:lnTo>
                      <a:pt x="0" y="7"/>
                    </a:lnTo>
                    <a:lnTo>
                      <a:pt x="3" y="7"/>
                    </a:lnTo>
                    <a:lnTo>
                      <a:pt x="4" y="7"/>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12" name="Freeform 106"/>
              <p:cNvSpPr>
                <a:spLocks/>
              </p:cNvSpPr>
              <p:nvPr/>
            </p:nvSpPr>
            <p:spPr bwMode="auto">
              <a:xfrm>
                <a:off x="6283118" y="2663103"/>
                <a:ext cx="38623" cy="29410"/>
              </a:xfrm>
              <a:custGeom>
                <a:avLst/>
                <a:gdLst/>
                <a:ahLst/>
                <a:cxnLst>
                  <a:cxn ang="0">
                    <a:pos x="43" y="0"/>
                  </a:cxn>
                  <a:cxn ang="0">
                    <a:pos x="43" y="0"/>
                  </a:cxn>
                  <a:cxn ang="0">
                    <a:pos x="43" y="0"/>
                  </a:cxn>
                  <a:cxn ang="0">
                    <a:pos x="42" y="3"/>
                  </a:cxn>
                  <a:cxn ang="0">
                    <a:pos x="36" y="16"/>
                  </a:cxn>
                  <a:cxn ang="0">
                    <a:pos x="36" y="17"/>
                  </a:cxn>
                  <a:cxn ang="0">
                    <a:pos x="37" y="17"/>
                  </a:cxn>
                  <a:cxn ang="0">
                    <a:pos x="39" y="22"/>
                  </a:cxn>
                  <a:cxn ang="0">
                    <a:pos x="36" y="29"/>
                  </a:cxn>
                  <a:cxn ang="0">
                    <a:pos x="30" y="28"/>
                  </a:cxn>
                  <a:cxn ang="0">
                    <a:pos x="24" y="23"/>
                  </a:cxn>
                  <a:cxn ang="0">
                    <a:pos x="17" y="20"/>
                  </a:cxn>
                  <a:cxn ang="0">
                    <a:pos x="8" y="15"/>
                  </a:cxn>
                  <a:cxn ang="0">
                    <a:pos x="1" y="12"/>
                  </a:cxn>
                  <a:cxn ang="0">
                    <a:pos x="0" y="10"/>
                  </a:cxn>
                  <a:cxn ang="0">
                    <a:pos x="0" y="7"/>
                  </a:cxn>
                  <a:cxn ang="0">
                    <a:pos x="0" y="4"/>
                  </a:cxn>
                  <a:cxn ang="0">
                    <a:pos x="1" y="3"/>
                  </a:cxn>
                  <a:cxn ang="0">
                    <a:pos x="1" y="1"/>
                  </a:cxn>
                  <a:cxn ang="0">
                    <a:pos x="4" y="4"/>
                  </a:cxn>
                  <a:cxn ang="0">
                    <a:pos x="6" y="3"/>
                  </a:cxn>
                  <a:cxn ang="0">
                    <a:pos x="10" y="1"/>
                  </a:cxn>
                  <a:cxn ang="0">
                    <a:pos x="16" y="4"/>
                  </a:cxn>
                  <a:cxn ang="0">
                    <a:pos x="16" y="6"/>
                  </a:cxn>
                  <a:cxn ang="0">
                    <a:pos x="30" y="3"/>
                  </a:cxn>
                  <a:cxn ang="0">
                    <a:pos x="32" y="1"/>
                  </a:cxn>
                  <a:cxn ang="0">
                    <a:pos x="37" y="1"/>
                  </a:cxn>
                  <a:cxn ang="0">
                    <a:pos x="39" y="1"/>
                  </a:cxn>
                  <a:cxn ang="0">
                    <a:pos x="42" y="0"/>
                  </a:cxn>
                  <a:cxn ang="0">
                    <a:pos x="43" y="0"/>
                  </a:cxn>
                </a:cxnLst>
                <a:rect l="0" t="0" r="r" b="b"/>
                <a:pathLst>
                  <a:path w="43" h="29">
                    <a:moveTo>
                      <a:pt x="43" y="0"/>
                    </a:moveTo>
                    <a:lnTo>
                      <a:pt x="43" y="0"/>
                    </a:lnTo>
                    <a:lnTo>
                      <a:pt x="43" y="0"/>
                    </a:lnTo>
                    <a:lnTo>
                      <a:pt x="42" y="3"/>
                    </a:lnTo>
                    <a:lnTo>
                      <a:pt x="36" y="16"/>
                    </a:lnTo>
                    <a:lnTo>
                      <a:pt x="36" y="17"/>
                    </a:lnTo>
                    <a:lnTo>
                      <a:pt x="37" y="17"/>
                    </a:lnTo>
                    <a:lnTo>
                      <a:pt x="39" y="22"/>
                    </a:lnTo>
                    <a:lnTo>
                      <a:pt x="36" y="29"/>
                    </a:lnTo>
                    <a:lnTo>
                      <a:pt x="30" y="28"/>
                    </a:lnTo>
                    <a:lnTo>
                      <a:pt x="24" y="23"/>
                    </a:lnTo>
                    <a:lnTo>
                      <a:pt x="17" y="20"/>
                    </a:lnTo>
                    <a:lnTo>
                      <a:pt x="8" y="15"/>
                    </a:lnTo>
                    <a:lnTo>
                      <a:pt x="1" y="12"/>
                    </a:lnTo>
                    <a:lnTo>
                      <a:pt x="0" y="10"/>
                    </a:lnTo>
                    <a:lnTo>
                      <a:pt x="0" y="7"/>
                    </a:lnTo>
                    <a:lnTo>
                      <a:pt x="0" y="4"/>
                    </a:lnTo>
                    <a:lnTo>
                      <a:pt x="1" y="3"/>
                    </a:lnTo>
                    <a:lnTo>
                      <a:pt x="1" y="1"/>
                    </a:lnTo>
                    <a:lnTo>
                      <a:pt x="4" y="4"/>
                    </a:lnTo>
                    <a:lnTo>
                      <a:pt x="6" y="3"/>
                    </a:lnTo>
                    <a:lnTo>
                      <a:pt x="10" y="1"/>
                    </a:lnTo>
                    <a:lnTo>
                      <a:pt x="16" y="4"/>
                    </a:lnTo>
                    <a:lnTo>
                      <a:pt x="16" y="6"/>
                    </a:lnTo>
                    <a:lnTo>
                      <a:pt x="30" y="3"/>
                    </a:lnTo>
                    <a:lnTo>
                      <a:pt x="32" y="1"/>
                    </a:lnTo>
                    <a:lnTo>
                      <a:pt x="37" y="1"/>
                    </a:lnTo>
                    <a:lnTo>
                      <a:pt x="39" y="1"/>
                    </a:lnTo>
                    <a:lnTo>
                      <a:pt x="42" y="0"/>
                    </a:lnTo>
                    <a:lnTo>
                      <a:pt x="4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13" name="Freeform 107"/>
              <p:cNvSpPr>
                <a:spLocks/>
              </p:cNvSpPr>
              <p:nvPr/>
            </p:nvSpPr>
            <p:spPr bwMode="auto">
              <a:xfrm>
                <a:off x="6283118" y="2663103"/>
                <a:ext cx="38623" cy="29410"/>
              </a:xfrm>
              <a:custGeom>
                <a:avLst/>
                <a:gdLst/>
                <a:ahLst/>
                <a:cxnLst>
                  <a:cxn ang="0">
                    <a:pos x="43" y="0"/>
                  </a:cxn>
                  <a:cxn ang="0">
                    <a:pos x="43" y="0"/>
                  </a:cxn>
                  <a:cxn ang="0">
                    <a:pos x="43" y="0"/>
                  </a:cxn>
                  <a:cxn ang="0">
                    <a:pos x="42" y="3"/>
                  </a:cxn>
                  <a:cxn ang="0">
                    <a:pos x="36" y="16"/>
                  </a:cxn>
                  <a:cxn ang="0">
                    <a:pos x="36" y="17"/>
                  </a:cxn>
                  <a:cxn ang="0">
                    <a:pos x="37" y="17"/>
                  </a:cxn>
                  <a:cxn ang="0">
                    <a:pos x="39" y="22"/>
                  </a:cxn>
                  <a:cxn ang="0">
                    <a:pos x="36" y="29"/>
                  </a:cxn>
                  <a:cxn ang="0">
                    <a:pos x="30" y="28"/>
                  </a:cxn>
                  <a:cxn ang="0">
                    <a:pos x="24" y="23"/>
                  </a:cxn>
                  <a:cxn ang="0">
                    <a:pos x="17" y="20"/>
                  </a:cxn>
                  <a:cxn ang="0">
                    <a:pos x="8" y="15"/>
                  </a:cxn>
                  <a:cxn ang="0">
                    <a:pos x="1" y="12"/>
                  </a:cxn>
                  <a:cxn ang="0">
                    <a:pos x="0" y="10"/>
                  </a:cxn>
                  <a:cxn ang="0">
                    <a:pos x="0" y="7"/>
                  </a:cxn>
                  <a:cxn ang="0">
                    <a:pos x="0" y="4"/>
                  </a:cxn>
                  <a:cxn ang="0">
                    <a:pos x="1" y="3"/>
                  </a:cxn>
                  <a:cxn ang="0">
                    <a:pos x="1" y="1"/>
                  </a:cxn>
                  <a:cxn ang="0">
                    <a:pos x="4" y="4"/>
                  </a:cxn>
                  <a:cxn ang="0">
                    <a:pos x="6" y="3"/>
                  </a:cxn>
                  <a:cxn ang="0">
                    <a:pos x="10" y="1"/>
                  </a:cxn>
                  <a:cxn ang="0">
                    <a:pos x="16" y="4"/>
                  </a:cxn>
                  <a:cxn ang="0">
                    <a:pos x="16" y="6"/>
                  </a:cxn>
                  <a:cxn ang="0">
                    <a:pos x="30" y="3"/>
                  </a:cxn>
                  <a:cxn ang="0">
                    <a:pos x="32" y="1"/>
                  </a:cxn>
                  <a:cxn ang="0">
                    <a:pos x="37" y="1"/>
                  </a:cxn>
                  <a:cxn ang="0">
                    <a:pos x="39" y="1"/>
                  </a:cxn>
                  <a:cxn ang="0">
                    <a:pos x="42" y="0"/>
                  </a:cxn>
                  <a:cxn ang="0">
                    <a:pos x="43" y="0"/>
                  </a:cxn>
                </a:cxnLst>
                <a:rect l="0" t="0" r="r" b="b"/>
                <a:pathLst>
                  <a:path w="43" h="29">
                    <a:moveTo>
                      <a:pt x="43" y="0"/>
                    </a:moveTo>
                    <a:lnTo>
                      <a:pt x="43" y="0"/>
                    </a:lnTo>
                    <a:lnTo>
                      <a:pt x="43" y="0"/>
                    </a:lnTo>
                    <a:lnTo>
                      <a:pt x="42" y="3"/>
                    </a:lnTo>
                    <a:lnTo>
                      <a:pt x="36" y="16"/>
                    </a:lnTo>
                    <a:lnTo>
                      <a:pt x="36" y="17"/>
                    </a:lnTo>
                    <a:lnTo>
                      <a:pt x="37" y="17"/>
                    </a:lnTo>
                    <a:lnTo>
                      <a:pt x="39" y="22"/>
                    </a:lnTo>
                    <a:lnTo>
                      <a:pt x="36" y="29"/>
                    </a:lnTo>
                    <a:lnTo>
                      <a:pt x="30" y="28"/>
                    </a:lnTo>
                    <a:lnTo>
                      <a:pt x="24" y="23"/>
                    </a:lnTo>
                    <a:lnTo>
                      <a:pt x="17" y="20"/>
                    </a:lnTo>
                    <a:lnTo>
                      <a:pt x="8" y="15"/>
                    </a:lnTo>
                    <a:lnTo>
                      <a:pt x="1" y="12"/>
                    </a:lnTo>
                    <a:lnTo>
                      <a:pt x="0" y="10"/>
                    </a:lnTo>
                    <a:lnTo>
                      <a:pt x="0" y="7"/>
                    </a:lnTo>
                    <a:lnTo>
                      <a:pt x="0" y="4"/>
                    </a:lnTo>
                    <a:lnTo>
                      <a:pt x="1" y="3"/>
                    </a:lnTo>
                    <a:lnTo>
                      <a:pt x="1" y="1"/>
                    </a:lnTo>
                    <a:lnTo>
                      <a:pt x="4" y="4"/>
                    </a:lnTo>
                    <a:lnTo>
                      <a:pt x="6" y="3"/>
                    </a:lnTo>
                    <a:lnTo>
                      <a:pt x="10" y="1"/>
                    </a:lnTo>
                    <a:lnTo>
                      <a:pt x="16" y="4"/>
                    </a:lnTo>
                    <a:lnTo>
                      <a:pt x="16" y="6"/>
                    </a:lnTo>
                    <a:lnTo>
                      <a:pt x="30" y="3"/>
                    </a:lnTo>
                    <a:lnTo>
                      <a:pt x="32" y="1"/>
                    </a:lnTo>
                    <a:lnTo>
                      <a:pt x="37" y="1"/>
                    </a:lnTo>
                    <a:lnTo>
                      <a:pt x="39" y="1"/>
                    </a:lnTo>
                    <a:lnTo>
                      <a:pt x="42" y="0"/>
                    </a:lnTo>
                    <a:lnTo>
                      <a:pt x="4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14" name="Freeform 108"/>
              <p:cNvSpPr>
                <a:spLocks/>
              </p:cNvSpPr>
              <p:nvPr/>
            </p:nvSpPr>
            <p:spPr bwMode="auto">
              <a:xfrm>
                <a:off x="6226939" y="2605298"/>
                <a:ext cx="18433" cy="46651"/>
              </a:xfrm>
              <a:custGeom>
                <a:avLst/>
                <a:gdLst/>
                <a:ahLst/>
                <a:cxnLst>
                  <a:cxn ang="0">
                    <a:pos x="13" y="0"/>
                  </a:cxn>
                  <a:cxn ang="0">
                    <a:pos x="16" y="1"/>
                  </a:cxn>
                  <a:cxn ang="0">
                    <a:pos x="16" y="1"/>
                  </a:cxn>
                  <a:cxn ang="0">
                    <a:pos x="17" y="3"/>
                  </a:cxn>
                  <a:cxn ang="0">
                    <a:pos x="20" y="10"/>
                  </a:cxn>
                  <a:cxn ang="0">
                    <a:pos x="20" y="35"/>
                  </a:cxn>
                  <a:cxn ang="0">
                    <a:pos x="19" y="36"/>
                  </a:cxn>
                  <a:cxn ang="0">
                    <a:pos x="19" y="38"/>
                  </a:cxn>
                  <a:cxn ang="0">
                    <a:pos x="17" y="39"/>
                  </a:cxn>
                  <a:cxn ang="0">
                    <a:pos x="14" y="39"/>
                  </a:cxn>
                  <a:cxn ang="0">
                    <a:pos x="13" y="39"/>
                  </a:cxn>
                  <a:cxn ang="0">
                    <a:pos x="11" y="42"/>
                  </a:cxn>
                  <a:cxn ang="0">
                    <a:pos x="10" y="43"/>
                  </a:cxn>
                  <a:cxn ang="0">
                    <a:pos x="7" y="45"/>
                  </a:cxn>
                  <a:cxn ang="0">
                    <a:pos x="3" y="39"/>
                  </a:cxn>
                  <a:cxn ang="0">
                    <a:pos x="3" y="36"/>
                  </a:cxn>
                  <a:cxn ang="0">
                    <a:pos x="3" y="35"/>
                  </a:cxn>
                  <a:cxn ang="0">
                    <a:pos x="3" y="33"/>
                  </a:cxn>
                  <a:cxn ang="0">
                    <a:pos x="3" y="27"/>
                  </a:cxn>
                  <a:cxn ang="0">
                    <a:pos x="4" y="27"/>
                  </a:cxn>
                  <a:cxn ang="0">
                    <a:pos x="4" y="26"/>
                  </a:cxn>
                  <a:cxn ang="0">
                    <a:pos x="3" y="24"/>
                  </a:cxn>
                  <a:cxn ang="0">
                    <a:pos x="3" y="17"/>
                  </a:cxn>
                  <a:cxn ang="0">
                    <a:pos x="1" y="13"/>
                  </a:cxn>
                  <a:cxn ang="0">
                    <a:pos x="1" y="13"/>
                  </a:cxn>
                  <a:cxn ang="0">
                    <a:pos x="0" y="13"/>
                  </a:cxn>
                  <a:cxn ang="0">
                    <a:pos x="0" y="11"/>
                  </a:cxn>
                  <a:cxn ang="0">
                    <a:pos x="0" y="6"/>
                  </a:cxn>
                  <a:cxn ang="0">
                    <a:pos x="0" y="6"/>
                  </a:cxn>
                  <a:cxn ang="0">
                    <a:pos x="1" y="9"/>
                  </a:cxn>
                  <a:cxn ang="0">
                    <a:pos x="4" y="7"/>
                  </a:cxn>
                  <a:cxn ang="0">
                    <a:pos x="10" y="3"/>
                  </a:cxn>
                  <a:cxn ang="0">
                    <a:pos x="11" y="1"/>
                  </a:cxn>
                  <a:cxn ang="0">
                    <a:pos x="13" y="0"/>
                  </a:cxn>
                </a:cxnLst>
                <a:rect l="0" t="0" r="r" b="b"/>
                <a:pathLst>
                  <a:path w="20" h="45">
                    <a:moveTo>
                      <a:pt x="13" y="0"/>
                    </a:moveTo>
                    <a:lnTo>
                      <a:pt x="16" y="1"/>
                    </a:lnTo>
                    <a:lnTo>
                      <a:pt x="16" y="1"/>
                    </a:lnTo>
                    <a:lnTo>
                      <a:pt x="17" y="3"/>
                    </a:lnTo>
                    <a:lnTo>
                      <a:pt x="20" y="10"/>
                    </a:lnTo>
                    <a:lnTo>
                      <a:pt x="20" y="35"/>
                    </a:lnTo>
                    <a:lnTo>
                      <a:pt x="19" y="36"/>
                    </a:lnTo>
                    <a:lnTo>
                      <a:pt x="19" y="38"/>
                    </a:lnTo>
                    <a:lnTo>
                      <a:pt x="17" y="39"/>
                    </a:lnTo>
                    <a:lnTo>
                      <a:pt x="14" y="39"/>
                    </a:lnTo>
                    <a:lnTo>
                      <a:pt x="13" y="39"/>
                    </a:lnTo>
                    <a:lnTo>
                      <a:pt x="11" y="42"/>
                    </a:lnTo>
                    <a:lnTo>
                      <a:pt x="10" y="43"/>
                    </a:lnTo>
                    <a:lnTo>
                      <a:pt x="7" y="45"/>
                    </a:lnTo>
                    <a:lnTo>
                      <a:pt x="3" y="39"/>
                    </a:lnTo>
                    <a:lnTo>
                      <a:pt x="3" y="36"/>
                    </a:lnTo>
                    <a:lnTo>
                      <a:pt x="3" y="35"/>
                    </a:lnTo>
                    <a:lnTo>
                      <a:pt x="3" y="33"/>
                    </a:lnTo>
                    <a:lnTo>
                      <a:pt x="3" y="27"/>
                    </a:lnTo>
                    <a:lnTo>
                      <a:pt x="4" y="27"/>
                    </a:lnTo>
                    <a:lnTo>
                      <a:pt x="4" y="26"/>
                    </a:lnTo>
                    <a:lnTo>
                      <a:pt x="3" y="24"/>
                    </a:lnTo>
                    <a:lnTo>
                      <a:pt x="3" y="17"/>
                    </a:lnTo>
                    <a:lnTo>
                      <a:pt x="1" y="13"/>
                    </a:lnTo>
                    <a:lnTo>
                      <a:pt x="1" y="13"/>
                    </a:lnTo>
                    <a:lnTo>
                      <a:pt x="0" y="13"/>
                    </a:lnTo>
                    <a:lnTo>
                      <a:pt x="0" y="11"/>
                    </a:lnTo>
                    <a:lnTo>
                      <a:pt x="0" y="6"/>
                    </a:lnTo>
                    <a:lnTo>
                      <a:pt x="0" y="6"/>
                    </a:lnTo>
                    <a:lnTo>
                      <a:pt x="1" y="9"/>
                    </a:lnTo>
                    <a:lnTo>
                      <a:pt x="4" y="7"/>
                    </a:lnTo>
                    <a:lnTo>
                      <a:pt x="10" y="3"/>
                    </a:lnTo>
                    <a:lnTo>
                      <a:pt x="11" y="1"/>
                    </a:lnTo>
                    <a:lnTo>
                      <a:pt x="13"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15" name="Freeform 109"/>
              <p:cNvSpPr>
                <a:spLocks/>
              </p:cNvSpPr>
              <p:nvPr/>
            </p:nvSpPr>
            <p:spPr bwMode="auto">
              <a:xfrm>
                <a:off x="6226939" y="2605298"/>
                <a:ext cx="18433" cy="46651"/>
              </a:xfrm>
              <a:custGeom>
                <a:avLst/>
                <a:gdLst/>
                <a:ahLst/>
                <a:cxnLst>
                  <a:cxn ang="0">
                    <a:pos x="13" y="0"/>
                  </a:cxn>
                  <a:cxn ang="0">
                    <a:pos x="16" y="1"/>
                  </a:cxn>
                  <a:cxn ang="0">
                    <a:pos x="16" y="1"/>
                  </a:cxn>
                  <a:cxn ang="0">
                    <a:pos x="17" y="3"/>
                  </a:cxn>
                  <a:cxn ang="0">
                    <a:pos x="20" y="10"/>
                  </a:cxn>
                  <a:cxn ang="0">
                    <a:pos x="20" y="35"/>
                  </a:cxn>
                  <a:cxn ang="0">
                    <a:pos x="19" y="36"/>
                  </a:cxn>
                  <a:cxn ang="0">
                    <a:pos x="19" y="38"/>
                  </a:cxn>
                  <a:cxn ang="0">
                    <a:pos x="17" y="39"/>
                  </a:cxn>
                  <a:cxn ang="0">
                    <a:pos x="14" y="39"/>
                  </a:cxn>
                  <a:cxn ang="0">
                    <a:pos x="13" y="39"/>
                  </a:cxn>
                  <a:cxn ang="0">
                    <a:pos x="11" y="42"/>
                  </a:cxn>
                  <a:cxn ang="0">
                    <a:pos x="10" y="43"/>
                  </a:cxn>
                  <a:cxn ang="0">
                    <a:pos x="7" y="45"/>
                  </a:cxn>
                  <a:cxn ang="0">
                    <a:pos x="3" y="39"/>
                  </a:cxn>
                  <a:cxn ang="0">
                    <a:pos x="3" y="36"/>
                  </a:cxn>
                  <a:cxn ang="0">
                    <a:pos x="3" y="35"/>
                  </a:cxn>
                  <a:cxn ang="0">
                    <a:pos x="3" y="33"/>
                  </a:cxn>
                  <a:cxn ang="0">
                    <a:pos x="3" y="27"/>
                  </a:cxn>
                  <a:cxn ang="0">
                    <a:pos x="4" y="27"/>
                  </a:cxn>
                  <a:cxn ang="0">
                    <a:pos x="4" y="26"/>
                  </a:cxn>
                  <a:cxn ang="0">
                    <a:pos x="3" y="24"/>
                  </a:cxn>
                  <a:cxn ang="0">
                    <a:pos x="3" y="17"/>
                  </a:cxn>
                  <a:cxn ang="0">
                    <a:pos x="1" y="13"/>
                  </a:cxn>
                  <a:cxn ang="0">
                    <a:pos x="1" y="13"/>
                  </a:cxn>
                  <a:cxn ang="0">
                    <a:pos x="0" y="13"/>
                  </a:cxn>
                  <a:cxn ang="0">
                    <a:pos x="0" y="11"/>
                  </a:cxn>
                  <a:cxn ang="0">
                    <a:pos x="0" y="6"/>
                  </a:cxn>
                  <a:cxn ang="0">
                    <a:pos x="0" y="6"/>
                  </a:cxn>
                  <a:cxn ang="0">
                    <a:pos x="1" y="9"/>
                  </a:cxn>
                  <a:cxn ang="0">
                    <a:pos x="4" y="7"/>
                  </a:cxn>
                  <a:cxn ang="0">
                    <a:pos x="10" y="3"/>
                  </a:cxn>
                  <a:cxn ang="0">
                    <a:pos x="11" y="1"/>
                  </a:cxn>
                  <a:cxn ang="0">
                    <a:pos x="13" y="0"/>
                  </a:cxn>
                </a:cxnLst>
                <a:rect l="0" t="0" r="r" b="b"/>
                <a:pathLst>
                  <a:path w="20" h="45">
                    <a:moveTo>
                      <a:pt x="13" y="0"/>
                    </a:moveTo>
                    <a:lnTo>
                      <a:pt x="16" y="1"/>
                    </a:lnTo>
                    <a:lnTo>
                      <a:pt x="16" y="1"/>
                    </a:lnTo>
                    <a:lnTo>
                      <a:pt x="17" y="3"/>
                    </a:lnTo>
                    <a:lnTo>
                      <a:pt x="20" y="10"/>
                    </a:lnTo>
                    <a:lnTo>
                      <a:pt x="20" y="35"/>
                    </a:lnTo>
                    <a:lnTo>
                      <a:pt x="19" y="36"/>
                    </a:lnTo>
                    <a:lnTo>
                      <a:pt x="19" y="38"/>
                    </a:lnTo>
                    <a:lnTo>
                      <a:pt x="17" y="39"/>
                    </a:lnTo>
                    <a:lnTo>
                      <a:pt x="14" y="39"/>
                    </a:lnTo>
                    <a:lnTo>
                      <a:pt x="13" y="39"/>
                    </a:lnTo>
                    <a:lnTo>
                      <a:pt x="11" y="42"/>
                    </a:lnTo>
                    <a:lnTo>
                      <a:pt x="10" y="43"/>
                    </a:lnTo>
                    <a:lnTo>
                      <a:pt x="7" y="45"/>
                    </a:lnTo>
                    <a:lnTo>
                      <a:pt x="3" y="39"/>
                    </a:lnTo>
                    <a:lnTo>
                      <a:pt x="3" y="36"/>
                    </a:lnTo>
                    <a:lnTo>
                      <a:pt x="3" y="35"/>
                    </a:lnTo>
                    <a:lnTo>
                      <a:pt x="3" y="33"/>
                    </a:lnTo>
                    <a:lnTo>
                      <a:pt x="3" y="27"/>
                    </a:lnTo>
                    <a:lnTo>
                      <a:pt x="4" y="27"/>
                    </a:lnTo>
                    <a:lnTo>
                      <a:pt x="4" y="26"/>
                    </a:lnTo>
                    <a:lnTo>
                      <a:pt x="3" y="24"/>
                    </a:lnTo>
                    <a:lnTo>
                      <a:pt x="3" y="17"/>
                    </a:lnTo>
                    <a:lnTo>
                      <a:pt x="1" y="13"/>
                    </a:lnTo>
                    <a:lnTo>
                      <a:pt x="1" y="13"/>
                    </a:lnTo>
                    <a:lnTo>
                      <a:pt x="0" y="13"/>
                    </a:lnTo>
                    <a:lnTo>
                      <a:pt x="0" y="11"/>
                    </a:lnTo>
                    <a:lnTo>
                      <a:pt x="0" y="6"/>
                    </a:lnTo>
                    <a:lnTo>
                      <a:pt x="0" y="6"/>
                    </a:lnTo>
                    <a:lnTo>
                      <a:pt x="1" y="9"/>
                    </a:lnTo>
                    <a:lnTo>
                      <a:pt x="4" y="7"/>
                    </a:lnTo>
                    <a:lnTo>
                      <a:pt x="10" y="3"/>
                    </a:lnTo>
                    <a:lnTo>
                      <a:pt x="11" y="1"/>
                    </a:lnTo>
                    <a:lnTo>
                      <a:pt x="13"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16" name="Freeform 110"/>
              <p:cNvSpPr>
                <a:spLocks/>
              </p:cNvSpPr>
              <p:nvPr/>
            </p:nvSpPr>
            <p:spPr bwMode="auto">
              <a:xfrm>
                <a:off x="6438488" y="2614426"/>
                <a:ext cx="3511" cy="4056"/>
              </a:xfrm>
              <a:custGeom>
                <a:avLst/>
                <a:gdLst/>
                <a:ahLst/>
                <a:cxnLst>
                  <a:cxn ang="0">
                    <a:pos x="3" y="4"/>
                  </a:cxn>
                  <a:cxn ang="0">
                    <a:pos x="4" y="2"/>
                  </a:cxn>
                  <a:cxn ang="0">
                    <a:pos x="4" y="2"/>
                  </a:cxn>
                  <a:cxn ang="0">
                    <a:pos x="4" y="1"/>
                  </a:cxn>
                  <a:cxn ang="0">
                    <a:pos x="3" y="0"/>
                  </a:cxn>
                  <a:cxn ang="0">
                    <a:pos x="0" y="2"/>
                  </a:cxn>
                  <a:cxn ang="0">
                    <a:pos x="1" y="4"/>
                  </a:cxn>
                  <a:cxn ang="0">
                    <a:pos x="3" y="4"/>
                  </a:cxn>
                  <a:cxn ang="0">
                    <a:pos x="3" y="4"/>
                  </a:cxn>
                </a:cxnLst>
                <a:rect l="0" t="0" r="r" b="b"/>
                <a:pathLst>
                  <a:path w="4" h="4">
                    <a:moveTo>
                      <a:pt x="3" y="4"/>
                    </a:moveTo>
                    <a:lnTo>
                      <a:pt x="4" y="2"/>
                    </a:lnTo>
                    <a:lnTo>
                      <a:pt x="4" y="2"/>
                    </a:lnTo>
                    <a:lnTo>
                      <a:pt x="4" y="1"/>
                    </a:lnTo>
                    <a:lnTo>
                      <a:pt x="3" y="0"/>
                    </a:lnTo>
                    <a:lnTo>
                      <a:pt x="0" y="2"/>
                    </a:lnTo>
                    <a:lnTo>
                      <a:pt x="1" y="4"/>
                    </a:lnTo>
                    <a:lnTo>
                      <a:pt x="3" y="4"/>
                    </a:lnTo>
                    <a:lnTo>
                      <a:pt x="3" y="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17" name="Freeform 111"/>
              <p:cNvSpPr>
                <a:spLocks/>
              </p:cNvSpPr>
              <p:nvPr/>
            </p:nvSpPr>
            <p:spPr bwMode="auto">
              <a:xfrm>
                <a:off x="6438488" y="2614426"/>
                <a:ext cx="3511" cy="4056"/>
              </a:xfrm>
              <a:custGeom>
                <a:avLst/>
                <a:gdLst/>
                <a:ahLst/>
                <a:cxnLst>
                  <a:cxn ang="0">
                    <a:pos x="3" y="4"/>
                  </a:cxn>
                  <a:cxn ang="0">
                    <a:pos x="4" y="2"/>
                  </a:cxn>
                  <a:cxn ang="0">
                    <a:pos x="4" y="2"/>
                  </a:cxn>
                  <a:cxn ang="0">
                    <a:pos x="4" y="1"/>
                  </a:cxn>
                  <a:cxn ang="0">
                    <a:pos x="3" y="0"/>
                  </a:cxn>
                  <a:cxn ang="0">
                    <a:pos x="0" y="2"/>
                  </a:cxn>
                  <a:cxn ang="0">
                    <a:pos x="1" y="4"/>
                  </a:cxn>
                  <a:cxn ang="0">
                    <a:pos x="3" y="4"/>
                  </a:cxn>
                  <a:cxn ang="0">
                    <a:pos x="3" y="4"/>
                  </a:cxn>
                </a:cxnLst>
                <a:rect l="0" t="0" r="r" b="b"/>
                <a:pathLst>
                  <a:path w="4" h="4">
                    <a:moveTo>
                      <a:pt x="3" y="4"/>
                    </a:moveTo>
                    <a:lnTo>
                      <a:pt x="4" y="2"/>
                    </a:lnTo>
                    <a:lnTo>
                      <a:pt x="4" y="2"/>
                    </a:lnTo>
                    <a:lnTo>
                      <a:pt x="4" y="1"/>
                    </a:lnTo>
                    <a:lnTo>
                      <a:pt x="3" y="0"/>
                    </a:lnTo>
                    <a:lnTo>
                      <a:pt x="0" y="2"/>
                    </a:lnTo>
                    <a:lnTo>
                      <a:pt x="1" y="4"/>
                    </a:lnTo>
                    <a:lnTo>
                      <a:pt x="3" y="4"/>
                    </a:lnTo>
                    <a:lnTo>
                      <a:pt x="3" y="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18" name="Freeform 112"/>
              <p:cNvSpPr>
                <a:spLocks/>
              </p:cNvSpPr>
              <p:nvPr/>
            </p:nvSpPr>
            <p:spPr bwMode="auto">
              <a:xfrm>
                <a:off x="6444633" y="2630651"/>
                <a:ext cx="6144" cy="3043"/>
              </a:xfrm>
              <a:custGeom>
                <a:avLst/>
                <a:gdLst/>
                <a:ahLst/>
                <a:cxnLst>
                  <a:cxn ang="0">
                    <a:pos x="6" y="2"/>
                  </a:cxn>
                  <a:cxn ang="0">
                    <a:pos x="4" y="2"/>
                  </a:cxn>
                  <a:cxn ang="0">
                    <a:pos x="4" y="0"/>
                  </a:cxn>
                  <a:cxn ang="0">
                    <a:pos x="3" y="0"/>
                  </a:cxn>
                  <a:cxn ang="0">
                    <a:pos x="1" y="0"/>
                  </a:cxn>
                  <a:cxn ang="0">
                    <a:pos x="0" y="3"/>
                  </a:cxn>
                  <a:cxn ang="0">
                    <a:pos x="1" y="3"/>
                  </a:cxn>
                  <a:cxn ang="0">
                    <a:pos x="3" y="3"/>
                  </a:cxn>
                  <a:cxn ang="0">
                    <a:pos x="4" y="3"/>
                  </a:cxn>
                  <a:cxn ang="0">
                    <a:pos x="6" y="2"/>
                  </a:cxn>
                </a:cxnLst>
                <a:rect l="0" t="0" r="r" b="b"/>
                <a:pathLst>
                  <a:path w="6" h="3">
                    <a:moveTo>
                      <a:pt x="6" y="2"/>
                    </a:moveTo>
                    <a:lnTo>
                      <a:pt x="4" y="2"/>
                    </a:lnTo>
                    <a:lnTo>
                      <a:pt x="4" y="0"/>
                    </a:lnTo>
                    <a:lnTo>
                      <a:pt x="3" y="0"/>
                    </a:lnTo>
                    <a:lnTo>
                      <a:pt x="1" y="0"/>
                    </a:lnTo>
                    <a:lnTo>
                      <a:pt x="0" y="3"/>
                    </a:lnTo>
                    <a:lnTo>
                      <a:pt x="1" y="3"/>
                    </a:lnTo>
                    <a:lnTo>
                      <a:pt x="3" y="3"/>
                    </a:lnTo>
                    <a:lnTo>
                      <a:pt x="4" y="3"/>
                    </a:lnTo>
                    <a:lnTo>
                      <a:pt x="6"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19" name="Freeform 113"/>
              <p:cNvSpPr>
                <a:spLocks/>
              </p:cNvSpPr>
              <p:nvPr/>
            </p:nvSpPr>
            <p:spPr bwMode="auto">
              <a:xfrm>
                <a:off x="6444633" y="2630651"/>
                <a:ext cx="6144" cy="3043"/>
              </a:xfrm>
              <a:custGeom>
                <a:avLst/>
                <a:gdLst/>
                <a:ahLst/>
                <a:cxnLst>
                  <a:cxn ang="0">
                    <a:pos x="6" y="2"/>
                  </a:cxn>
                  <a:cxn ang="0">
                    <a:pos x="4" y="2"/>
                  </a:cxn>
                  <a:cxn ang="0">
                    <a:pos x="4" y="0"/>
                  </a:cxn>
                  <a:cxn ang="0">
                    <a:pos x="3" y="0"/>
                  </a:cxn>
                  <a:cxn ang="0">
                    <a:pos x="1" y="0"/>
                  </a:cxn>
                  <a:cxn ang="0">
                    <a:pos x="0" y="3"/>
                  </a:cxn>
                  <a:cxn ang="0">
                    <a:pos x="1" y="3"/>
                  </a:cxn>
                  <a:cxn ang="0">
                    <a:pos x="3" y="3"/>
                  </a:cxn>
                  <a:cxn ang="0">
                    <a:pos x="4" y="3"/>
                  </a:cxn>
                  <a:cxn ang="0">
                    <a:pos x="6" y="2"/>
                  </a:cxn>
                </a:cxnLst>
                <a:rect l="0" t="0" r="r" b="b"/>
                <a:pathLst>
                  <a:path w="6" h="3">
                    <a:moveTo>
                      <a:pt x="6" y="2"/>
                    </a:moveTo>
                    <a:lnTo>
                      <a:pt x="4" y="2"/>
                    </a:lnTo>
                    <a:lnTo>
                      <a:pt x="4" y="0"/>
                    </a:lnTo>
                    <a:lnTo>
                      <a:pt x="3" y="0"/>
                    </a:lnTo>
                    <a:lnTo>
                      <a:pt x="1" y="0"/>
                    </a:lnTo>
                    <a:lnTo>
                      <a:pt x="0" y="3"/>
                    </a:lnTo>
                    <a:lnTo>
                      <a:pt x="1" y="3"/>
                    </a:lnTo>
                    <a:lnTo>
                      <a:pt x="3" y="3"/>
                    </a:lnTo>
                    <a:lnTo>
                      <a:pt x="4" y="3"/>
                    </a:lnTo>
                    <a:lnTo>
                      <a:pt x="6"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20" name="Freeform 114"/>
              <p:cNvSpPr>
                <a:spLocks/>
              </p:cNvSpPr>
              <p:nvPr/>
            </p:nvSpPr>
            <p:spPr bwMode="auto">
              <a:xfrm>
                <a:off x="6456923" y="2641807"/>
                <a:ext cx="8778" cy="7099"/>
              </a:xfrm>
              <a:custGeom>
                <a:avLst/>
                <a:gdLst/>
                <a:ahLst/>
                <a:cxnLst>
                  <a:cxn ang="0">
                    <a:pos x="9" y="5"/>
                  </a:cxn>
                  <a:cxn ang="0">
                    <a:pos x="10" y="7"/>
                  </a:cxn>
                  <a:cxn ang="0">
                    <a:pos x="7" y="0"/>
                  </a:cxn>
                  <a:cxn ang="0">
                    <a:pos x="0" y="3"/>
                  </a:cxn>
                  <a:cxn ang="0">
                    <a:pos x="0" y="4"/>
                  </a:cxn>
                  <a:cxn ang="0">
                    <a:pos x="1" y="5"/>
                  </a:cxn>
                  <a:cxn ang="0">
                    <a:pos x="3" y="4"/>
                  </a:cxn>
                  <a:cxn ang="0">
                    <a:pos x="4" y="4"/>
                  </a:cxn>
                  <a:cxn ang="0">
                    <a:pos x="4" y="5"/>
                  </a:cxn>
                  <a:cxn ang="0">
                    <a:pos x="6" y="7"/>
                  </a:cxn>
                  <a:cxn ang="0">
                    <a:pos x="9" y="5"/>
                  </a:cxn>
                  <a:cxn ang="0">
                    <a:pos x="9" y="5"/>
                  </a:cxn>
                  <a:cxn ang="0">
                    <a:pos x="9" y="5"/>
                  </a:cxn>
                </a:cxnLst>
                <a:rect l="0" t="0" r="r" b="b"/>
                <a:pathLst>
                  <a:path w="10" h="7">
                    <a:moveTo>
                      <a:pt x="9" y="5"/>
                    </a:moveTo>
                    <a:lnTo>
                      <a:pt x="10" y="7"/>
                    </a:lnTo>
                    <a:lnTo>
                      <a:pt x="7" y="0"/>
                    </a:lnTo>
                    <a:lnTo>
                      <a:pt x="0" y="3"/>
                    </a:lnTo>
                    <a:lnTo>
                      <a:pt x="0" y="4"/>
                    </a:lnTo>
                    <a:lnTo>
                      <a:pt x="1" y="5"/>
                    </a:lnTo>
                    <a:lnTo>
                      <a:pt x="3" y="4"/>
                    </a:lnTo>
                    <a:lnTo>
                      <a:pt x="4" y="4"/>
                    </a:lnTo>
                    <a:lnTo>
                      <a:pt x="4" y="5"/>
                    </a:lnTo>
                    <a:lnTo>
                      <a:pt x="6" y="7"/>
                    </a:lnTo>
                    <a:lnTo>
                      <a:pt x="9" y="5"/>
                    </a:lnTo>
                    <a:lnTo>
                      <a:pt x="9" y="5"/>
                    </a:lnTo>
                    <a:lnTo>
                      <a:pt x="9" y="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21" name="Freeform 115"/>
              <p:cNvSpPr>
                <a:spLocks/>
              </p:cNvSpPr>
              <p:nvPr/>
            </p:nvSpPr>
            <p:spPr bwMode="auto">
              <a:xfrm>
                <a:off x="6456923" y="2641807"/>
                <a:ext cx="8778" cy="7099"/>
              </a:xfrm>
              <a:custGeom>
                <a:avLst/>
                <a:gdLst/>
                <a:ahLst/>
                <a:cxnLst>
                  <a:cxn ang="0">
                    <a:pos x="9" y="5"/>
                  </a:cxn>
                  <a:cxn ang="0">
                    <a:pos x="10" y="7"/>
                  </a:cxn>
                  <a:cxn ang="0">
                    <a:pos x="7" y="0"/>
                  </a:cxn>
                  <a:cxn ang="0">
                    <a:pos x="0" y="3"/>
                  </a:cxn>
                  <a:cxn ang="0">
                    <a:pos x="0" y="4"/>
                  </a:cxn>
                  <a:cxn ang="0">
                    <a:pos x="1" y="5"/>
                  </a:cxn>
                  <a:cxn ang="0">
                    <a:pos x="3" y="4"/>
                  </a:cxn>
                  <a:cxn ang="0">
                    <a:pos x="4" y="4"/>
                  </a:cxn>
                  <a:cxn ang="0">
                    <a:pos x="4" y="5"/>
                  </a:cxn>
                  <a:cxn ang="0">
                    <a:pos x="6" y="7"/>
                  </a:cxn>
                  <a:cxn ang="0">
                    <a:pos x="9" y="5"/>
                  </a:cxn>
                  <a:cxn ang="0">
                    <a:pos x="9" y="5"/>
                  </a:cxn>
                  <a:cxn ang="0">
                    <a:pos x="9" y="5"/>
                  </a:cxn>
                </a:cxnLst>
                <a:rect l="0" t="0" r="r" b="b"/>
                <a:pathLst>
                  <a:path w="10" h="7">
                    <a:moveTo>
                      <a:pt x="9" y="5"/>
                    </a:moveTo>
                    <a:lnTo>
                      <a:pt x="10" y="7"/>
                    </a:lnTo>
                    <a:lnTo>
                      <a:pt x="7" y="0"/>
                    </a:lnTo>
                    <a:lnTo>
                      <a:pt x="0" y="3"/>
                    </a:lnTo>
                    <a:lnTo>
                      <a:pt x="0" y="4"/>
                    </a:lnTo>
                    <a:lnTo>
                      <a:pt x="1" y="5"/>
                    </a:lnTo>
                    <a:lnTo>
                      <a:pt x="3" y="4"/>
                    </a:lnTo>
                    <a:lnTo>
                      <a:pt x="4" y="4"/>
                    </a:lnTo>
                    <a:lnTo>
                      <a:pt x="4" y="5"/>
                    </a:lnTo>
                    <a:lnTo>
                      <a:pt x="6" y="7"/>
                    </a:lnTo>
                    <a:lnTo>
                      <a:pt x="9" y="5"/>
                    </a:lnTo>
                    <a:lnTo>
                      <a:pt x="9" y="5"/>
                    </a:lnTo>
                    <a:lnTo>
                      <a:pt x="9" y="5"/>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22" name="Freeform 116"/>
              <p:cNvSpPr>
                <a:spLocks/>
              </p:cNvSpPr>
              <p:nvPr/>
            </p:nvSpPr>
            <p:spPr bwMode="auto">
              <a:xfrm>
                <a:off x="6456923" y="2656005"/>
                <a:ext cx="2633" cy="8113"/>
              </a:xfrm>
              <a:custGeom>
                <a:avLst/>
                <a:gdLst/>
                <a:ahLst/>
                <a:cxnLst>
                  <a:cxn ang="0">
                    <a:pos x="1" y="7"/>
                  </a:cxn>
                  <a:cxn ang="0">
                    <a:pos x="3" y="6"/>
                  </a:cxn>
                  <a:cxn ang="0">
                    <a:pos x="3" y="2"/>
                  </a:cxn>
                  <a:cxn ang="0">
                    <a:pos x="3" y="0"/>
                  </a:cxn>
                  <a:cxn ang="0">
                    <a:pos x="0" y="0"/>
                  </a:cxn>
                  <a:cxn ang="0">
                    <a:pos x="0" y="2"/>
                  </a:cxn>
                  <a:cxn ang="0">
                    <a:pos x="1" y="5"/>
                  </a:cxn>
                  <a:cxn ang="0">
                    <a:pos x="0" y="6"/>
                  </a:cxn>
                  <a:cxn ang="0">
                    <a:pos x="0" y="7"/>
                  </a:cxn>
                  <a:cxn ang="0">
                    <a:pos x="1" y="7"/>
                  </a:cxn>
                </a:cxnLst>
                <a:rect l="0" t="0" r="r" b="b"/>
                <a:pathLst>
                  <a:path w="3" h="7">
                    <a:moveTo>
                      <a:pt x="1" y="7"/>
                    </a:moveTo>
                    <a:lnTo>
                      <a:pt x="3" y="6"/>
                    </a:lnTo>
                    <a:lnTo>
                      <a:pt x="3" y="2"/>
                    </a:lnTo>
                    <a:lnTo>
                      <a:pt x="3" y="0"/>
                    </a:lnTo>
                    <a:lnTo>
                      <a:pt x="0" y="0"/>
                    </a:lnTo>
                    <a:lnTo>
                      <a:pt x="0" y="2"/>
                    </a:lnTo>
                    <a:lnTo>
                      <a:pt x="1" y="5"/>
                    </a:lnTo>
                    <a:lnTo>
                      <a:pt x="0" y="6"/>
                    </a:lnTo>
                    <a:lnTo>
                      <a:pt x="0" y="7"/>
                    </a:lnTo>
                    <a:lnTo>
                      <a:pt x="1" y="7"/>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23" name="Freeform 117"/>
              <p:cNvSpPr>
                <a:spLocks/>
              </p:cNvSpPr>
              <p:nvPr/>
            </p:nvSpPr>
            <p:spPr bwMode="auto">
              <a:xfrm>
                <a:off x="6456923" y="2656005"/>
                <a:ext cx="2633" cy="8113"/>
              </a:xfrm>
              <a:custGeom>
                <a:avLst/>
                <a:gdLst/>
                <a:ahLst/>
                <a:cxnLst>
                  <a:cxn ang="0">
                    <a:pos x="1" y="7"/>
                  </a:cxn>
                  <a:cxn ang="0">
                    <a:pos x="3" y="6"/>
                  </a:cxn>
                  <a:cxn ang="0">
                    <a:pos x="3" y="2"/>
                  </a:cxn>
                  <a:cxn ang="0">
                    <a:pos x="3" y="0"/>
                  </a:cxn>
                  <a:cxn ang="0">
                    <a:pos x="0" y="0"/>
                  </a:cxn>
                  <a:cxn ang="0">
                    <a:pos x="0" y="2"/>
                  </a:cxn>
                  <a:cxn ang="0">
                    <a:pos x="1" y="5"/>
                  </a:cxn>
                  <a:cxn ang="0">
                    <a:pos x="0" y="6"/>
                  </a:cxn>
                  <a:cxn ang="0">
                    <a:pos x="0" y="7"/>
                  </a:cxn>
                  <a:cxn ang="0">
                    <a:pos x="1" y="7"/>
                  </a:cxn>
                </a:cxnLst>
                <a:rect l="0" t="0" r="r" b="b"/>
                <a:pathLst>
                  <a:path w="3" h="7">
                    <a:moveTo>
                      <a:pt x="1" y="7"/>
                    </a:moveTo>
                    <a:lnTo>
                      <a:pt x="3" y="6"/>
                    </a:lnTo>
                    <a:lnTo>
                      <a:pt x="3" y="2"/>
                    </a:lnTo>
                    <a:lnTo>
                      <a:pt x="3" y="0"/>
                    </a:lnTo>
                    <a:lnTo>
                      <a:pt x="0" y="0"/>
                    </a:lnTo>
                    <a:lnTo>
                      <a:pt x="0" y="2"/>
                    </a:lnTo>
                    <a:lnTo>
                      <a:pt x="1" y="5"/>
                    </a:lnTo>
                    <a:lnTo>
                      <a:pt x="0" y="6"/>
                    </a:lnTo>
                    <a:lnTo>
                      <a:pt x="0" y="7"/>
                    </a:lnTo>
                    <a:lnTo>
                      <a:pt x="1" y="7"/>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24" name="Freeform 118"/>
              <p:cNvSpPr>
                <a:spLocks/>
              </p:cNvSpPr>
              <p:nvPr/>
            </p:nvSpPr>
            <p:spPr bwMode="auto">
              <a:xfrm>
                <a:off x="6480623" y="2696570"/>
                <a:ext cx="8778" cy="10141"/>
              </a:xfrm>
              <a:custGeom>
                <a:avLst/>
                <a:gdLst/>
                <a:ahLst/>
                <a:cxnLst>
                  <a:cxn ang="0">
                    <a:pos x="6" y="6"/>
                  </a:cxn>
                  <a:cxn ang="0">
                    <a:pos x="6" y="6"/>
                  </a:cxn>
                  <a:cxn ang="0">
                    <a:pos x="7" y="5"/>
                  </a:cxn>
                  <a:cxn ang="0">
                    <a:pos x="7" y="3"/>
                  </a:cxn>
                  <a:cxn ang="0">
                    <a:pos x="9" y="0"/>
                  </a:cxn>
                  <a:cxn ang="0">
                    <a:pos x="4" y="2"/>
                  </a:cxn>
                  <a:cxn ang="0">
                    <a:pos x="2" y="5"/>
                  </a:cxn>
                  <a:cxn ang="0">
                    <a:pos x="0" y="6"/>
                  </a:cxn>
                  <a:cxn ang="0">
                    <a:pos x="0" y="9"/>
                  </a:cxn>
                  <a:cxn ang="0">
                    <a:pos x="6" y="6"/>
                  </a:cxn>
                </a:cxnLst>
                <a:rect l="0" t="0" r="r" b="b"/>
                <a:pathLst>
                  <a:path w="9" h="9">
                    <a:moveTo>
                      <a:pt x="6" y="6"/>
                    </a:moveTo>
                    <a:lnTo>
                      <a:pt x="6" y="6"/>
                    </a:lnTo>
                    <a:lnTo>
                      <a:pt x="7" y="5"/>
                    </a:lnTo>
                    <a:lnTo>
                      <a:pt x="7" y="3"/>
                    </a:lnTo>
                    <a:lnTo>
                      <a:pt x="9" y="0"/>
                    </a:lnTo>
                    <a:lnTo>
                      <a:pt x="4" y="2"/>
                    </a:lnTo>
                    <a:lnTo>
                      <a:pt x="2" y="5"/>
                    </a:lnTo>
                    <a:lnTo>
                      <a:pt x="0" y="6"/>
                    </a:lnTo>
                    <a:lnTo>
                      <a:pt x="0" y="9"/>
                    </a:lnTo>
                    <a:lnTo>
                      <a:pt x="6" y="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25" name="Freeform 119"/>
              <p:cNvSpPr>
                <a:spLocks/>
              </p:cNvSpPr>
              <p:nvPr/>
            </p:nvSpPr>
            <p:spPr bwMode="auto">
              <a:xfrm>
                <a:off x="6480623" y="2696570"/>
                <a:ext cx="8778" cy="10141"/>
              </a:xfrm>
              <a:custGeom>
                <a:avLst/>
                <a:gdLst/>
                <a:ahLst/>
                <a:cxnLst>
                  <a:cxn ang="0">
                    <a:pos x="6" y="6"/>
                  </a:cxn>
                  <a:cxn ang="0">
                    <a:pos x="6" y="6"/>
                  </a:cxn>
                  <a:cxn ang="0">
                    <a:pos x="7" y="5"/>
                  </a:cxn>
                  <a:cxn ang="0">
                    <a:pos x="7" y="3"/>
                  </a:cxn>
                  <a:cxn ang="0">
                    <a:pos x="9" y="0"/>
                  </a:cxn>
                  <a:cxn ang="0">
                    <a:pos x="4" y="2"/>
                  </a:cxn>
                  <a:cxn ang="0">
                    <a:pos x="2" y="5"/>
                  </a:cxn>
                  <a:cxn ang="0">
                    <a:pos x="0" y="6"/>
                  </a:cxn>
                  <a:cxn ang="0">
                    <a:pos x="0" y="9"/>
                  </a:cxn>
                  <a:cxn ang="0">
                    <a:pos x="6" y="6"/>
                  </a:cxn>
                </a:cxnLst>
                <a:rect l="0" t="0" r="r" b="b"/>
                <a:pathLst>
                  <a:path w="9" h="9">
                    <a:moveTo>
                      <a:pt x="6" y="6"/>
                    </a:moveTo>
                    <a:lnTo>
                      <a:pt x="6" y="6"/>
                    </a:lnTo>
                    <a:lnTo>
                      <a:pt x="7" y="5"/>
                    </a:lnTo>
                    <a:lnTo>
                      <a:pt x="7" y="3"/>
                    </a:lnTo>
                    <a:lnTo>
                      <a:pt x="9" y="0"/>
                    </a:lnTo>
                    <a:lnTo>
                      <a:pt x="4" y="2"/>
                    </a:lnTo>
                    <a:lnTo>
                      <a:pt x="2" y="5"/>
                    </a:lnTo>
                    <a:lnTo>
                      <a:pt x="0" y="6"/>
                    </a:lnTo>
                    <a:lnTo>
                      <a:pt x="0" y="9"/>
                    </a:lnTo>
                    <a:lnTo>
                      <a:pt x="6" y="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26" name="Freeform 120"/>
              <p:cNvSpPr>
                <a:spLocks/>
              </p:cNvSpPr>
              <p:nvPr/>
            </p:nvSpPr>
            <p:spPr bwMode="auto">
              <a:xfrm>
                <a:off x="6427077" y="2712796"/>
                <a:ext cx="35112" cy="12170"/>
              </a:xfrm>
              <a:custGeom>
                <a:avLst/>
                <a:gdLst/>
                <a:ahLst/>
                <a:cxnLst>
                  <a:cxn ang="0">
                    <a:pos x="21" y="4"/>
                  </a:cxn>
                  <a:cxn ang="0">
                    <a:pos x="18" y="3"/>
                  </a:cxn>
                  <a:cxn ang="0">
                    <a:pos x="11" y="4"/>
                  </a:cxn>
                  <a:cxn ang="0">
                    <a:pos x="10" y="3"/>
                  </a:cxn>
                  <a:cxn ang="0">
                    <a:pos x="8" y="3"/>
                  </a:cxn>
                  <a:cxn ang="0">
                    <a:pos x="8" y="1"/>
                  </a:cxn>
                  <a:cxn ang="0">
                    <a:pos x="8" y="0"/>
                  </a:cxn>
                  <a:cxn ang="0">
                    <a:pos x="5" y="1"/>
                  </a:cxn>
                  <a:cxn ang="0">
                    <a:pos x="4" y="0"/>
                  </a:cxn>
                  <a:cxn ang="0">
                    <a:pos x="2" y="0"/>
                  </a:cxn>
                  <a:cxn ang="0">
                    <a:pos x="1" y="1"/>
                  </a:cxn>
                  <a:cxn ang="0">
                    <a:pos x="0" y="1"/>
                  </a:cxn>
                  <a:cxn ang="0">
                    <a:pos x="0" y="7"/>
                  </a:cxn>
                  <a:cxn ang="0">
                    <a:pos x="8" y="7"/>
                  </a:cxn>
                  <a:cxn ang="0">
                    <a:pos x="13" y="7"/>
                  </a:cxn>
                  <a:cxn ang="0">
                    <a:pos x="14" y="9"/>
                  </a:cxn>
                  <a:cxn ang="0">
                    <a:pos x="16" y="10"/>
                  </a:cxn>
                  <a:cxn ang="0">
                    <a:pos x="17" y="12"/>
                  </a:cxn>
                  <a:cxn ang="0">
                    <a:pos x="34" y="10"/>
                  </a:cxn>
                  <a:cxn ang="0">
                    <a:pos x="37" y="12"/>
                  </a:cxn>
                  <a:cxn ang="0">
                    <a:pos x="39" y="7"/>
                  </a:cxn>
                  <a:cxn ang="0">
                    <a:pos x="39" y="6"/>
                  </a:cxn>
                  <a:cxn ang="0">
                    <a:pos x="33" y="7"/>
                  </a:cxn>
                  <a:cxn ang="0">
                    <a:pos x="31" y="7"/>
                  </a:cxn>
                  <a:cxn ang="0">
                    <a:pos x="30" y="6"/>
                  </a:cxn>
                  <a:cxn ang="0">
                    <a:pos x="23" y="6"/>
                  </a:cxn>
                  <a:cxn ang="0">
                    <a:pos x="21" y="4"/>
                  </a:cxn>
                  <a:cxn ang="0">
                    <a:pos x="21" y="4"/>
                  </a:cxn>
                </a:cxnLst>
                <a:rect l="0" t="0" r="r" b="b"/>
                <a:pathLst>
                  <a:path w="39" h="12">
                    <a:moveTo>
                      <a:pt x="21" y="4"/>
                    </a:moveTo>
                    <a:lnTo>
                      <a:pt x="18" y="3"/>
                    </a:lnTo>
                    <a:lnTo>
                      <a:pt x="11" y="4"/>
                    </a:lnTo>
                    <a:lnTo>
                      <a:pt x="10" y="3"/>
                    </a:lnTo>
                    <a:lnTo>
                      <a:pt x="8" y="3"/>
                    </a:lnTo>
                    <a:lnTo>
                      <a:pt x="8" y="1"/>
                    </a:lnTo>
                    <a:lnTo>
                      <a:pt x="8" y="0"/>
                    </a:lnTo>
                    <a:lnTo>
                      <a:pt x="5" y="1"/>
                    </a:lnTo>
                    <a:lnTo>
                      <a:pt x="4" y="0"/>
                    </a:lnTo>
                    <a:lnTo>
                      <a:pt x="2" y="0"/>
                    </a:lnTo>
                    <a:lnTo>
                      <a:pt x="1" y="1"/>
                    </a:lnTo>
                    <a:lnTo>
                      <a:pt x="0" y="1"/>
                    </a:lnTo>
                    <a:lnTo>
                      <a:pt x="0" y="7"/>
                    </a:lnTo>
                    <a:lnTo>
                      <a:pt x="8" y="7"/>
                    </a:lnTo>
                    <a:lnTo>
                      <a:pt x="13" y="7"/>
                    </a:lnTo>
                    <a:lnTo>
                      <a:pt x="14" y="9"/>
                    </a:lnTo>
                    <a:lnTo>
                      <a:pt x="16" y="10"/>
                    </a:lnTo>
                    <a:lnTo>
                      <a:pt x="17" y="12"/>
                    </a:lnTo>
                    <a:lnTo>
                      <a:pt x="34" y="10"/>
                    </a:lnTo>
                    <a:lnTo>
                      <a:pt x="37" y="12"/>
                    </a:lnTo>
                    <a:lnTo>
                      <a:pt x="39" y="7"/>
                    </a:lnTo>
                    <a:lnTo>
                      <a:pt x="39" y="6"/>
                    </a:lnTo>
                    <a:lnTo>
                      <a:pt x="33" y="7"/>
                    </a:lnTo>
                    <a:lnTo>
                      <a:pt x="31" y="7"/>
                    </a:lnTo>
                    <a:lnTo>
                      <a:pt x="30" y="6"/>
                    </a:lnTo>
                    <a:lnTo>
                      <a:pt x="23" y="6"/>
                    </a:lnTo>
                    <a:lnTo>
                      <a:pt x="21" y="4"/>
                    </a:lnTo>
                    <a:lnTo>
                      <a:pt x="21" y="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27" name="Freeform 121"/>
              <p:cNvSpPr>
                <a:spLocks/>
              </p:cNvSpPr>
              <p:nvPr/>
            </p:nvSpPr>
            <p:spPr bwMode="auto">
              <a:xfrm>
                <a:off x="6427077" y="2712796"/>
                <a:ext cx="35112" cy="12170"/>
              </a:xfrm>
              <a:custGeom>
                <a:avLst/>
                <a:gdLst/>
                <a:ahLst/>
                <a:cxnLst>
                  <a:cxn ang="0">
                    <a:pos x="21" y="4"/>
                  </a:cxn>
                  <a:cxn ang="0">
                    <a:pos x="18" y="3"/>
                  </a:cxn>
                  <a:cxn ang="0">
                    <a:pos x="11" y="4"/>
                  </a:cxn>
                  <a:cxn ang="0">
                    <a:pos x="10" y="3"/>
                  </a:cxn>
                  <a:cxn ang="0">
                    <a:pos x="8" y="3"/>
                  </a:cxn>
                  <a:cxn ang="0">
                    <a:pos x="8" y="1"/>
                  </a:cxn>
                  <a:cxn ang="0">
                    <a:pos x="8" y="0"/>
                  </a:cxn>
                  <a:cxn ang="0">
                    <a:pos x="5" y="1"/>
                  </a:cxn>
                  <a:cxn ang="0">
                    <a:pos x="4" y="0"/>
                  </a:cxn>
                  <a:cxn ang="0">
                    <a:pos x="2" y="0"/>
                  </a:cxn>
                  <a:cxn ang="0">
                    <a:pos x="1" y="1"/>
                  </a:cxn>
                  <a:cxn ang="0">
                    <a:pos x="0" y="1"/>
                  </a:cxn>
                  <a:cxn ang="0">
                    <a:pos x="0" y="7"/>
                  </a:cxn>
                  <a:cxn ang="0">
                    <a:pos x="8" y="7"/>
                  </a:cxn>
                  <a:cxn ang="0">
                    <a:pos x="13" y="7"/>
                  </a:cxn>
                  <a:cxn ang="0">
                    <a:pos x="14" y="9"/>
                  </a:cxn>
                  <a:cxn ang="0">
                    <a:pos x="16" y="10"/>
                  </a:cxn>
                  <a:cxn ang="0">
                    <a:pos x="17" y="12"/>
                  </a:cxn>
                  <a:cxn ang="0">
                    <a:pos x="34" y="10"/>
                  </a:cxn>
                  <a:cxn ang="0">
                    <a:pos x="37" y="12"/>
                  </a:cxn>
                  <a:cxn ang="0">
                    <a:pos x="39" y="7"/>
                  </a:cxn>
                  <a:cxn ang="0">
                    <a:pos x="39" y="6"/>
                  </a:cxn>
                  <a:cxn ang="0">
                    <a:pos x="33" y="7"/>
                  </a:cxn>
                  <a:cxn ang="0">
                    <a:pos x="31" y="7"/>
                  </a:cxn>
                  <a:cxn ang="0">
                    <a:pos x="30" y="6"/>
                  </a:cxn>
                  <a:cxn ang="0">
                    <a:pos x="23" y="6"/>
                  </a:cxn>
                  <a:cxn ang="0">
                    <a:pos x="21" y="4"/>
                  </a:cxn>
                  <a:cxn ang="0">
                    <a:pos x="21" y="4"/>
                  </a:cxn>
                </a:cxnLst>
                <a:rect l="0" t="0" r="r" b="b"/>
                <a:pathLst>
                  <a:path w="39" h="12">
                    <a:moveTo>
                      <a:pt x="21" y="4"/>
                    </a:moveTo>
                    <a:lnTo>
                      <a:pt x="18" y="3"/>
                    </a:lnTo>
                    <a:lnTo>
                      <a:pt x="11" y="4"/>
                    </a:lnTo>
                    <a:lnTo>
                      <a:pt x="10" y="3"/>
                    </a:lnTo>
                    <a:lnTo>
                      <a:pt x="8" y="3"/>
                    </a:lnTo>
                    <a:lnTo>
                      <a:pt x="8" y="1"/>
                    </a:lnTo>
                    <a:lnTo>
                      <a:pt x="8" y="0"/>
                    </a:lnTo>
                    <a:lnTo>
                      <a:pt x="5" y="1"/>
                    </a:lnTo>
                    <a:lnTo>
                      <a:pt x="4" y="0"/>
                    </a:lnTo>
                    <a:lnTo>
                      <a:pt x="2" y="0"/>
                    </a:lnTo>
                    <a:lnTo>
                      <a:pt x="1" y="1"/>
                    </a:lnTo>
                    <a:lnTo>
                      <a:pt x="0" y="1"/>
                    </a:lnTo>
                    <a:lnTo>
                      <a:pt x="0" y="7"/>
                    </a:lnTo>
                    <a:lnTo>
                      <a:pt x="8" y="7"/>
                    </a:lnTo>
                    <a:lnTo>
                      <a:pt x="13" y="7"/>
                    </a:lnTo>
                    <a:lnTo>
                      <a:pt x="14" y="9"/>
                    </a:lnTo>
                    <a:lnTo>
                      <a:pt x="16" y="10"/>
                    </a:lnTo>
                    <a:lnTo>
                      <a:pt x="17" y="12"/>
                    </a:lnTo>
                    <a:lnTo>
                      <a:pt x="34" y="10"/>
                    </a:lnTo>
                    <a:lnTo>
                      <a:pt x="37" y="12"/>
                    </a:lnTo>
                    <a:lnTo>
                      <a:pt x="39" y="7"/>
                    </a:lnTo>
                    <a:lnTo>
                      <a:pt x="39" y="6"/>
                    </a:lnTo>
                    <a:lnTo>
                      <a:pt x="33" y="7"/>
                    </a:lnTo>
                    <a:lnTo>
                      <a:pt x="31" y="7"/>
                    </a:lnTo>
                    <a:lnTo>
                      <a:pt x="30" y="6"/>
                    </a:lnTo>
                    <a:lnTo>
                      <a:pt x="23" y="6"/>
                    </a:lnTo>
                    <a:lnTo>
                      <a:pt x="21" y="4"/>
                    </a:lnTo>
                    <a:lnTo>
                      <a:pt x="21" y="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28" name="Freeform 122"/>
              <p:cNvSpPr>
                <a:spLocks/>
              </p:cNvSpPr>
              <p:nvPr/>
            </p:nvSpPr>
            <p:spPr bwMode="auto">
              <a:xfrm>
                <a:off x="6441122" y="2669188"/>
                <a:ext cx="3511" cy="6085"/>
              </a:xfrm>
              <a:custGeom>
                <a:avLst/>
                <a:gdLst/>
                <a:ahLst/>
                <a:cxnLst>
                  <a:cxn ang="0">
                    <a:pos x="4" y="6"/>
                  </a:cxn>
                  <a:cxn ang="0">
                    <a:pos x="4" y="4"/>
                  </a:cxn>
                  <a:cxn ang="0">
                    <a:pos x="4" y="3"/>
                  </a:cxn>
                  <a:cxn ang="0">
                    <a:pos x="4" y="1"/>
                  </a:cxn>
                  <a:cxn ang="0">
                    <a:pos x="2" y="1"/>
                  </a:cxn>
                  <a:cxn ang="0">
                    <a:pos x="0" y="0"/>
                  </a:cxn>
                  <a:cxn ang="0">
                    <a:pos x="0" y="1"/>
                  </a:cxn>
                  <a:cxn ang="0">
                    <a:pos x="1" y="3"/>
                  </a:cxn>
                  <a:cxn ang="0">
                    <a:pos x="2" y="6"/>
                  </a:cxn>
                  <a:cxn ang="0">
                    <a:pos x="4" y="6"/>
                  </a:cxn>
                </a:cxnLst>
                <a:rect l="0" t="0" r="r" b="b"/>
                <a:pathLst>
                  <a:path w="4" h="6">
                    <a:moveTo>
                      <a:pt x="4" y="6"/>
                    </a:moveTo>
                    <a:lnTo>
                      <a:pt x="4" y="4"/>
                    </a:lnTo>
                    <a:lnTo>
                      <a:pt x="4" y="3"/>
                    </a:lnTo>
                    <a:lnTo>
                      <a:pt x="4" y="1"/>
                    </a:lnTo>
                    <a:lnTo>
                      <a:pt x="2" y="1"/>
                    </a:lnTo>
                    <a:lnTo>
                      <a:pt x="0" y="0"/>
                    </a:lnTo>
                    <a:lnTo>
                      <a:pt x="0" y="1"/>
                    </a:lnTo>
                    <a:lnTo>
                      <a:pt x="1" y="3"/>
                    </a:lnTo>
                    <a:lnTo>
                      <a:pt x="2" y="6"/>
                    </a:lnTo>
                    <a:lnTo>
                      <a:pt x="4" y="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29" name="Freeform 123"/>
              <p:cNvSpPr>
                <a:spLocks/>
              </p:cNvSpPr>
              <p:nvPr/>
            </p:nvSpPr>
            <p:spPr bwMode="auto">
              <a:xfrm>
                <a:off x="6441122" y="2669188"/>
                <a:ext cx="3511" cy="6085"/>
              </a:xfrm>
              <a:custGeom>
                <a:avLst/>
                <a:gdLst/>
                <a:ahLst/>
                <a:cxnLst>
                  <a:cxn ang="0">
                    <a:pos x="4" y="6"/>
                  </a:cxn>
                  <a:cxn ang="0">
                    <a:pos x="4" y="4"/>
                  </a:cxn>
                  <a:cxn ang="0">
                    <a:pos x="4" y="3"/>
                  </a:cxn>
                  <a:cxn ang="0">
                    <a:pos x="4" y="1"/>
                  </a:cxn>
                  <a:cxn ang="0">
                    <a:pos x="2" y="1"/>
                  </a:cxn>
                  <a:cxn ang="0">
                    <a:pos x="0" y="0"/>
                  </a:cxn>
                  <a:cxn ang="0">
                    <a:pos x="0" y="1"/>
                  </a:cxn>
                  <a:cxn ang="0">
                    <a:pos x="1" y="3"/>
                  </a:cxn>
                  <a:cxn ang="0">
                    <a:pos x="2" y="6"/>
                  </a:cxn>
                  <a:cxn ang="0">
                    <a:pos x="4" y="6"/>
                  </a:cxn>
                </a:cxnLst>
                <a:rect l="0" t="0" r="r" b="b"/>
                <a:pathLst>
                  <a:path w="4" h="6">
                    <a:moveTo>
                      <a:pt x="4" y="6"/>
                    </a:moveTo>
                    <a:lnTo>
                      <a:pt x="4" y="4"/>
                    </a:lnTo>
                    <a:lnTo>
                      <a:pt x="4" y="3"/>
                    </a:lnTo>
                    <a:lnTo>
                      <a:pt x="4" y="1"/>
                    </a:lnTo>
                    <a:lnTo>
                      <a:pt x="2" y="1"/>
                    </a:lnTo>
                    <a:lnTo>
                      <a:pt x="0" y="0"/>
                    </a:lnTo>
                    <a:lnTo>
                      <a:pt x="0" y="1"/>
                    </a:lnTo>
                    <a:lnTo>
                      <a:pt x="1" y="3"/>
                    </a:lnTo>
                    <a:lnTo>
                      <a:pt x="2" y="6"/>
                    </a:lnTo>
                    <a:lnTo>
                      <a:pt x="4" y="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30" name="Freeform 124"/>
              <p:cNvSpPr>
                <a:spLocks/>
              </p:cNvSpPr>
              <p:nvPr/>
            </p:nvSpPr>
            <p:spPr bwMode="auto">
              <a:xfrm>
                <a:off x="6450778" y="2683386"/>
                <a:ext cx="2634" cy="5071"/>
              </a:xfrm>
              <a:custGeom>
                <a:avLst/>
                <a:gdLst/>
                <a:ahLst/>
                <a:cxnLst>
                  <a:cxn ang="0">
                    <a:pos x="0" y="5"/>
                  </a:cxn>
                  <a:cxn ang="0">
                    <a:pos x="3" y="5"/>
                  </a:cxn>
                  <a:cxn ang="0">
                    <a:pos x="3" y="0"/>
                  </a:cxn>
                  <a:cxn ang="0">
                    <a:pos x="1" y="0"/>
                  </a:cxn>
                  <a:cxn ang="0">
                    <a:pos x="0" y="2"/>
                  </a:cxn>
                  <a:cxn ang="0">
                    <a:pos x="0" y="5"/>
                  </a:cxn>
                  <a:cxn ang="0">
                    <a:pos x="0" y="5"/>
                  </a:cxn>
                </a:cxnLst>
                <a:rect l="0" t="0" r="r" b="b"/>
                <a:pathLst>
                  <a:path w="3" h="5">
                    <a:moveTo>
                      <a:pt x="0" y="5"/>
                    </a:moveTo>
                    <a:lnTo>
                      <a:pt x="3" y="5"/>
                    </a:lnTo>
                    <a:lnTo>
                      <a:pt x="3" y="0"/>
                    </a:lnTo>
                    <a:lnTo>
                      <a:pt x="1" y="0"/>
                    </a:lnTo>
                    <a:lnTo>
                      <a:pt x="0" y="2"/>
                    </a:lnTo>
                    <a:lnTo>
                      <a:pt x="0" y="5"/>
                    </a:lnTo>
                    <a:lnTo>
                      <a:pt x="0" y="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31" name="Freeform 125"/>
              <p:cNvSpPr>
                <a:spLocks/>
              </p:cNvSpPr>
              <p:nvPr/>
            </p:nvSpPr>
            <p:spPr bwMode="auto">
              <a:xfrm>
                <a:off x="6450778" y="2683386"/>
                <a:ext cx="2634" cy="5071"/>
              </a:xfrm>
              <a:custGeom>
                <a:avLst/>
                <a:gdLst/>
                <a:ahLst/>
                <a:cxnLst>
                  <a:cxn ang="0">
                    <a:pos x="0" y="5"/>
                  </a:cxn>
                  <a:cxn ang="0">
                    <a:pos x="3" y="5"/>
                  </a:cxn>
                  <a:cxn ang="0">
                    <a:pos x="3" y="0"/>
                  </a:cxn>
                  <a:cxn ang="0">
                    <a:pos x="1" y="0"/>
                  </a:cxn>
                  <a:cxn ang="0">
                    <a:pos x="0" y="2"/>
                  </a:cxn>
                  <a:cxn ang="0">
                    <a:pos x="0" y="5"/>
                  </a:cxn>
                  <a:cxn ang="0">
                    <a:pos x="0" y="5"/>
                  </a:cxn>
                </a:cxnLst>
                <a:rect l="0" t="0" r="r" b="b"/>
                <a:pathLst>
                  <a:path w="3" h="5">
                    <a:moveTo>
                      <a:pt x="0" y="5"/>
                    </a:moveTo>
                    <a:lnTo>
                      <a:pt x="3" y="5"/>
                    </a:lnTo>
                    <a:lnTo>
                      <a:pt x="3" y="0"/>
                    </a:lnTo>
                    <a:lnTo>
                      <a:pt x="1" y="0"/>
                    </a:lnTo>
                    <a:lnTo>
                      <a:pt x="0" y="2"/>
                    </a:lnTo>
                    <a:lnTo>
                      <a:pt x="0" y="5"/>
                    </a:lnTo>
                    <a:lnTo>
                      <a:pt x="0" y="5"/>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32" name="Freeform 126"/>
              <p:cNvSpPr>
                <a:spLocks/>
              </p:cNvSpPr>
              <p:nvPr/>
            </p:nvSpPr>
            <p:spPr bwMode="auto">
              <a:xfrm>
                <a:off x="6394599" y="2663103"/>
                <a:ext cx="29845" cy="33467"/>
              </a:xfrm>
              <a:custGeom>
                <a:avLst/>
                <a:gdLst/>
                <a:ahLst/>
                <a:cxnLst>
                  <a:cxn ang="0">
                    <a:pos x="13" y="0"/>
                  </a:cxn>
                  <a:cxn ang="0">
                    <a:pos x="10" y="0"/>
                  </a:cxn>
                  <a:cxn ang="0">
                    <a:pos x="6" y="3"/>
                  </a:cxn>
                  <a:cxn ang="0">
                    <a:pos x="4" y="1"/>
                  </a:cxn>
                  <a:cxn ang="0">
                    <a:pos x="1" y="7"/>
                  </a:cxn>
                  <a:cxn ang="0">
                    <a:pos x="0" y="9"/>
                  </a:cxn>
                  <a:cxn ang="0">
                    <a:pos x="1" y="13"/>
                  </a:cxn>
                  <a:cxn ang="0">
                    <a:pos x="6" y="15"/>
                  </a:cxn>
                  <a:cxn ang="0">
                    <a:pos x="7" y="17"/>
                  </a:cxn>
                  <a:cxn ang="0">
                    <a:pos x="7" y="22"/>
                  </a:cxn>
                  <a:cxn ang="0">
                    <a:pos x="7" y="26"/>
                  </a:cxn>
                  <a:cxn ang="0">
                    <a:pos x="8" y="28"/>
                  </a:cxn>
                  <a:cxn ang="0">
                    <a:pos x="10" y="28"/>
                  </a:cxn>
                  <a:cxn ang="0">
                    <a:pos x="11" y="25"/>
                  </a:cxn>
                  <a:cxn ang="0">
                    <a:pos x="13" y="23"/>
                  </a:cxn>
                  <a:cxn ang="0">
                    <a:pos x="14" y="25"/>
                  </a:cxn>
                  <a:cxn ang="0">
                    <a:pos x="16" y="26"/>
                  </a:cxn>
                  <a:cxn ang="0">
                    <a:pos x="17" y="33"/>
                  </a:cxn>
                  <a:cxn ang="0">
                    <a:pos x="19" y="33"/>
                  </a:cxn>
                  <a:cxn ang="0">
                    <a:pos x="20" y="29"/>
                  </a:cxn>
                  <a:cxn ang="0">
                    <a:pos x="21" y="28"/>
                  </a:cxn>
                  <a:cxn ang="0">
                    <a:pos x="24" y="31"/>
                  </a:cxn>
                  <a:cxn ang="0">
                    <a:pos x="26" y="32"/>
                  </a:cxn>
                  <a:cxn ang="0">
                    <a:pos x="27" y="33"/>
                  </a:cxn>
                  <a:cxn ang="0">
                    <a:pos x="26" y="20"/>
                  </a:cxn>
                  <a:cxn ang="0">
                    <a:pos x="24" y="17"/>
                  </a:cxn>
                  <a:cxn ang="0">
                    <a:pos x="23" y="15"/>
                  </a:cxn>
                  <a:cxn ang="0">
                    <a:pos x="27" y="17"/>
                  </a:cxn>
                  <a:cxn ang="0">
                    <a:pos x="29" y="19"/>
                  </a:cxn>
                  <a:cxn ang="0">
                    <a:pos x="29" y="17"/>
                  </a:cxn>
                  <a:cxn ang="0">
                    <a:pos x="32" y="16"/>
                  </a:cxn>
                  <a:cxn ang="0">
                    <a:pos x="33" y="16"/>
                  </a:cxn>
                  <a:cxn ang="0">
                    <a:pos x="33" y="15"/>
                  </a:cxn>
                  <a:cxn ang="0">
                    <a:pos x="30" y="12"/>
                  </a:cxn>
                  <a:cxn ang="0">
                    <a:pos x="27" y="9"/>
                  </a:cxn>
                  <a:cxn ang="0">
                    <a:pos x="27" y="6"/>
                  </a:cxn>
                  <a:cxn ang="0">
                    <a:pos x="16" y="1"/>
                  </a:cxn>
                  <a:cxn ang="0">
                    <a:pos x="14" y="1"/>
                  </a:cxn>
                  <a:cxn ang="0">
                    <a:pos x="13" y="0"/>
                  </a:cxn>
                </a:cxnLst>
                <a:rect l="0" t="0" r="r" b="b"/>
                <a:pathLst>
                  <a:path w="33" h="33">
                    <a:moveTo>
                      <a:pt x="13" y="0"/>
                    </a:moveTo>
                    <a:lnTo>
                      <a:pt x="10" y="0"/>
                    </a:lnTo>
                    <a:lnTo>
                      <a:pt x="6" y="3"/>
                    </a:lnTo>
                    <a:lnTo>
                      <a:pt x="4" y="1"/>
                    </a:lnTo>
                    <a:lnTo>
                      <a:pt x="1" y="7"/>
                    </a:lnTo>
                    <a:lnTo>
                      <a:pt x="0" y="9"/>
                    </a:lnTo>
                    <a:lnTo>
                      <a:pt x="1" y="13"/>
                    </a:lnTo>
                    <a:lnTo>
                      <a:pt x="6" y="15"/>
                    </a:lnTo>
                    <a:lnTo>
                      <a:pt x="7" y="17"/>
                    </a:lnTo>
                    <a:lnTo>
                      <a:pt x="7" y="22"/>
                    </a:lnTo>
                    <a:lnTo>
                      <a:pt x="7" y="26"/>
                    </a:lnTo>
                    <a:lnTo>
                      <a:pt x="8" y="28"/>
                    </a:lnTo>
                    <a:lnTo>
                      <a:pt x="10" y="28"/>
                    </a:lnTo>
                    <a:lnTo>
                      <a:pt x="11" y="25"/>
                    </a:lnTo>
                    <a:lnTo>
                      <a:pt x="13" y="23"/>
                    </a:lnTo>
                    <a:lnTo>
                      <a:pt x="14" y="25"/>
                    </a:lnTo>
                    <a:lnTo>
                      <a:pt x="16" y="26"/>
                    </a:lnTo>
                    <a:lnTo>
                      <a:pt x="17" y="33"/>
                    </a:lnTo>
                    <a:lnTo>
                      <a:pt x="19" y="33"/>
                    </a:lnTo>
                    <a:lnTo>
                      <a:pt x="20" y="29"/>
                    </a:lnTo>
                    <a:lnTo>
                      <a:pt x="21" y="28"/>
                    </a:lnTo>
                    <a:lnTo>
                      <a:pt x="24" y="31"/>
                    </a:lnTo>
                    <a:lnTo>
                      <a:pt x="26" y="32"/>
                    </a:lnTo>
                    <a:lnTo>
                      <a:pt x="27" y="33"/>
                    </a:lnTo>
                    <a:lnTo>
                      <a:pt x="26" y="20"/>
                    </a:lnTo>
                    <a:lnTo>
                      <a:pt x="24" y="17"/>
                    </a:lnTo>
                    <a:lnTo>
                      <a:pt x="23" y="15"/>
                    </a:lnTo>
                    <a:lnTo>
                      <a:pt x="27" y="17"/>
                    </a:lnTo>
                    <a:lnTo>
                      <a:pt x="29" y="19"/>
                    </a:lnTo>
                    <a:lnTo>
                      <a:pt x="29" y="17"/>
                    </a:lnTo>
                    <a:lnTo>
                      <a:pt x="32" y="16"/>
                    </a:lnTo>
                    <a:lnTo>
                      <a:pt x="33" y="16"/>
                    </a:lnTo>
                    <a:lnTo>
                      <a:pt x="33" y="15"/>
                    </a:lnTo>
                    <a:lnTo>
                      <a:pt x="30" y="12"/>
                    </a:lnTo>
                    <a:lnTo>
                      <a:pt x="27" y="9"/>
                    </a:lnTo>
                    <a:lnTo>
                      <a:pt x="27" y="6"/>
                    </a:lnTo>
                    <a:lnTo>
                      <a:pt x="16" y="1"/>
                    </a:lnTo>
                    <a:lnTo>
                      <a:pt x="14" y="1"/>
                    </a:lnTo>
                    <a:lnTo>
                      <a:pt x="1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33" name="Freeform 127"/>
              <p:cNvSpPr>
                <a:spLocks/>
              </p:cNvSpPr>
              <p:nvPr/>
            </p:nvSpPr>
            <p:spPr bwMode="auto">
              <a:xfrm>
                <a:off x="6394599" y="2663103"/>
                <a:ext cx="29845" cy="33467"/>
              </a:xfrm>
              <a:custGeom>
                <a:avLst/>
                <a:gdLst/>
                <a:ahLst/>
                <a:cxnLst>
                  <a:cxn ang="0">
                    <a:pos x="13" y="0"/>
                  </a:cxn>
                  <a:cxn ang="0">
                    <a:pos x="10" y="0"/>
                  </a:cxn>
                  <a:cxn ang="0">
                    <a:pos x="6" y="3"/>
                  </a:cxn>
                  <a:cxn ang="0">
                    <a:pos x="4" y="1"/>
                  </a:cxn>
                  <a:cxn ang="0">
                    <a:pos x="1" y="7"/>
                  </a:cxn>
                  <a:cxn ang="0">
                    <a:pos x="0" y="9"/>
                  </a:cxn>
                  <a:cxn ang="0">
                    <a:pos x="1" y="13"/>
                  </a:cxn>
                  <a:cxn ang="0">
                    <a:pos x="6" y="15"/>
                  </a:cxn>
                  <a:cxn ang="0">
                    <a:pos x="7" y="17"/>
                  </a:cxn>
                  <a:cxn ang="0">
                    <a:pos x="7" y="22"/>
                  </a:cxn>
                  <a:cxn ang="0">
                    <a:pos x="7" y="26"/>
                  </a:cxn>
                  <a:cxn ang="0">
                    <a:pos x="8" y="28"/>
                  </a:cxn>
                  <a:cxn ang="0">
                    <a:pos x="10" y="28"/>
                  </a:cxn>
                  <a:cxn ang="0">
                    <a:pos x="11" y="25"/>
                  </a:cxn>
                  <a:cxn ang="0">
                    <a:pos x="13" y="23"/>
                  </a:cxn>
                  <a:cxn ang="0">
                    <a:pos x="14" y="25"/>
                  </a:cxn>
                  <a:cxn ang="0">
                    <a:pos x="16" y="26"/>
                  </a:cxn>
                  <a:cxn ang="0">
                    <a:pos x="17" y="33"/>
                  </a:cxn>
                  <a:cxn ang="0">
                    <a:pos x="19" y="33"/>
                  </a:cxn>
                  <a:cxn ang="0">
                    <a:pos x="20" y="29"/>
                  </a:cxn>
                  <a:cxn ang="0">
                    <a:pos x="21" y="28"/>
                  </a:cxn>
                  <a:cxn ang="0">
                    <a:pos x="24" y="31"/>
                  </a:cxn>
                  <a:cxn ang="0">
                    <a:pos x="26" y="32"/>
                  </a:cxn>
                  <a:cxn ang="0">
                    <a:pos x="27" y="33"/>
                  </a:cxn>
                  <a:cxn ang="0">
                    <a:pos x="26" y="20"/>
                  </a:cxn>
                  <a:cxn ang="0">
                    <a:pos x="24" y="17"/>
                  </a:cxn>
                  <a:cxn ang="0">
                    <a:pos x="23" y="15"/>
                  </a:cxn>
                  <a:cxn ang="0">
                    <a:pos x="27" y="17"/>
                  </a:cxn>
                  <a:cxn ang="0">
                    <a:pos x="29" y="19"/>
                  </a:cxn>
                  <a:cxn ang="0">
                    <a:pos x="29" y="17"/>
                  </a:cxn>
                  <a:cxn ang="0">
                    <a:pos x="32" y="16"/>
                  </a:cxn>
                  <a:cxn ang="0">
                    <a:pos x="33" y="16"/>
                  </a:cxn>
                  <a:cxn ang="0">
                    <a:pos x="33" y="15"/>
                  </a:cxn>
                  <a:cxn ang="0">
                    <a:pos x="30" y="12"/>
                  </a:cxn>
                  <a:cxn ang="0">
                    <a:pos x="27" y="9"/>
                  </a:cxn>
                  <a:cxn ang="0">
                    <a:pos x="27" y="6"/>
                  </a:cxn>
                  <a:cxn ang="0">
                    <a:pos x="16" y="1"/>
                  </a:cxn>
                  <a:cxn ang="0">
                    <a:pos x="14" y="1"/>
                  </a:cxn>
                  <a:cxn ang="0">
                    <a:pos x="13" y="0"/>
                  </a:cxn>
                </a:cxnLst>
                <a:rect l="0" t="0" r="r" b="b"/>
                <a:pathLst>
                  <a:path w="33" h="33">
                    <a:moveTo>
                      <a:pt x="13" y="0"/>
                    </a:moveTo>
                    <a:lnTo>
                      <a:pt x="10" y="0"/>
                    </a:lnTo>
                    <a:lnTo>
                      <a:pt x="6" y="3"/>
                    </a:lnTo>
                    <a:lnTo>
                      <a:pt x="4" y="1"/>
                    </a:lnTo>
                    <a:lnTo>
                      <a:pt x="1" y="7"/>
                    </a:lnTo>
                    <a:lnTo>
                      <a:pt x="0" y="9"/>
                    </a:lnTo>
                    <a:lnTo>
                      <a:pt x="1" y="13"/>
                    </a:lnTo>
                    <a:lnTo>
                      <a:pt x="6" y="15"/>
                    </a:lnTo>
                    <a:lnTo>
                      <a:pt x="7" y="17"/>
                    </a:lnTo>
                    <a:lnTo>
                      <a:pt x="7" y="22"/>
                    </a:lnTo>
                    <a:lnTo>
                      <a:pt x="7" y="26"/>
                    </a:lnTo>
                    <a:lnTo>
                      <a:pt x="8" y="28"/>
                    </a:lnTo>
                    <a:lnTo>
                      <a:pt x="10" y="28"/>
                    </a:lnTo>
                    <a:lnTo>
                      <a:pt x="11" y="25"/>
                    </a:lnTo>
                    <a:lnTo>
                      <a:pt x="13" y="23"/>
                    </a:lnTo>
                    <a:lnTo>
                      <a:pt x="14" y="25"/>
                    </a:lnTo>
                    <a:lnTo>
                      <a:pt x="16" y="26"/>
                    </a:lnTo>
                    <a:lnTo>
                      <a:pt x="17" y="33"/>
                    </a:lnTo>
                    <a:lnTo>
                      <a:pt x="19" y="33"/>
                    </a:lnTo>
                    <a:lnTo>
                      <a:pt x="20" y="29"/>
                    </a:lnTo>
                    <a:lnTo>
                      <a:pt x="21" y="28"/>
                    </a:lnTo>
                    <a:lnTo>
                      <a:pt x="24" y="31"/>
                    </a:lnTo>
                    <a:lnTo>
                      <a:pt x="26" y="32"/>
                    </a:lnTo>
                    <a:lnTo>
                      <a:pt x="27" y="33"/>
                    </a:lnTo>
                    <a:lnTo>
                      <a:pt x="26" y="20"/>
                    </a:lnTo>
                    <a:lnTo>
                      <a:pt x="24" y="17"/>
                    </a:lnTo>
                    <a:lnTo>
                      <a:pt x="23" y="15"/>
                    </a:lnTo>
                    <a:lnTo>
                      <a:pt x="27" y="17"/>
                    </a:lnTo>
                    <a:lnTo>
                      <a:pt x="29" y="19"/>
                    </a:lnTo>
                    <a:lnTo>
                      <a:pt x="29" y="17"/>
                    </a:lnTo>
                    <a:lnTo>
                      <a:pt x="32" y="16"/>
                    </a:lnTo>
                    <a:lnTo>
                      <a:pt x="33" y="16"/>
                    </a:lnTo>
                    <a:lnTo>
                      <a:pt x="33" y="15"/>
                    </a:lnTo>
                    <a:lnTo>
                      <a:pt x="30" y="12"/>
                    </a:lnTo>
                    <a:lnTo>
                      <a:pt x="27" y="9"/>
                    </a:lnTo>
                    <a:lnTo>
                      <a:pt x="27" y="6"/>
                    </a:lnTo>
                    <a:lnTo>
                      <a:pt x="16" y="1"/>
                    </a:lnTo>
                    <a:lnTo>
                      <a:pt x="14" y="1"/>
                    </a:lnTo>
                    <a:lnTo>
                      <a:pt x="1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34" name="Freeform 128"/>
              <p:cNvSpPr>
                <a:spLocks/>
              </p:cNvSpPr>
              <p:nvPr/>
            </p:nvSpPr>
            <p:spPr bwMode="auto">
              <a:xfrm>
                <a:off x="6385820" y="2661075"/>
                <a:ext cx="4389" cy="6085"/>
              </a:xfrm>
              <a:custGeom>
                <a:avLst/>
                <a:gdLst/>
                <a:ahLst/>
                <a:cxnLst>
                  <a:cxn ang="0">
                    <a:pos x="4" y="5"/>
                  </a:cxn>
                  <a:cxn ang="0">
                    <a:pos x="5" y="2"/>
                  </a:cxn>
                  <a:cxn ang="0">
                    <a:pos x="4" y="2"/>
                  </a:cxn>
                  <a:cxn ang="0">
                    <a:pos x="2" y="0"/>
                  </a:cxn>
                  <a:cxn ang="0">
                    <a:pos x="0" y="2"/>
                  </a:cxn>
                  <a:cxn ang="0">
                    <a:pos x="1" y="4"/>
                  </a:cxn>
                  <a:cxn ang="0">
                    <a:pos x="2" y="4"/>
                  </a:cxn>
                  <a:cxn ang="0">
                    <a:pos x="4" y="5"/>
                  </a:cxn>
                </a:cxnLst>
                <a:rect l="0" t="0" r="r" b="b"/>
                <a:pathLst>
                  <a:path w="5" h="5">
                    <a:moveTo>
                      <a:pt x="4" y="5"/>
                    </a:moveTo>
                    <a:lnTo>
                      <a:pt x="5" y="2"/>
                    </a:lnTo>
                    <a:lnTo>
                      <a:pt x="4" y="2"/>
                    </a:lnTo>
                    <a:lnTo>
                      <a:pt x="2" y="0"/>
                    </a:lnTo>
                    <a:lnTo>
                      <a:pt x="0" y="2"/>
                    </a:lnTo>
                    <a:lnTo>
                      <a:pt x="1" y="4"/>
                    </a:lnTo>
                    <a:lnTo>
                      <a:pt x="2" y="4"/>
                    </a:lnTo>
                    <a:lnTo>
                      <a:pt x="4" y="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35" name="Freeform 129"/>
              <p:cNvSpPr>
                <a:spLocks/>
              </p:cNvSpPr>
              <p:nvPr/>
            </p:nvSpPr>
            <p:spPr bwMode="auto">
              <a:xfrm>
                <a:off x="6385820" y="2661075"/>
                <a:ext cx="4389" cy="6085"/>
              </a:xfrm>
              <a:custGeom>
                <a:avLst/>
                <a:gdLst/>
                <a:ahLst/>
                <a:cxnLst>
                  <a:cxn ang="0">
                    <a:pos x="4" y="5"/>
                  </a:cxn>
                  <a:cxn ang="0">
                    <a:pos x="5" y="2"/>
                  </a:cxn>
                  <a:cxn ang="0">
                    <a:pos x="4" y="2"/>
                  </a:cxn>
                  <a:cxn ang="0">
                    <a:pos x="2" y="0"/>
                  </a:cxn>
                  <a:cxn ang="0">
                    <a:pos x="0" y="2"/>
                  </a:cxn>
                  <a:cxn ang="0">
                    <a:pos x="1" y="4"/>
                  </a:cxn>
                  <a:cxn ang="0">
                    <a:pos x="2" y="4"/>
                  </a:cxn>
                  <a:cxn ang="0">
                    <a:pos x="4" y="5"/>
                  </a:cxn>
                </a:cxnLst>
                <a:rect l="0" t="0" r="r" b="b"/>
                <a:pathLst>
                  <a:path w="5" h="5">
                    <a:moveTo>
                      <a:pt x="4" y="5"/>
                    </a:moveTo>
                    <a:lnTo>
                      <a:pt x="5" y="2"/>
                    </a:lnTo>
                    <a:lnTo>
                      <a:pt x="4" y="2"/>
                    </a:lnTo>
                    <a:lnTo>
                      <a:pt x="2" y="0"/>
                    </a:lnTo>
                    <a:lnTo>
                      <a:pt x="0" y="2"/>
                    </a:lnTo>
                    <a:lnTo>
                      <a:pt x="1" y="4"/>
                    </a:lnTo>
                    <a:lnTo>
                      <a:pt x="2" y="4"/>
                    </a:lnTo>
                    <a:lnTo>
                      <a:pt x="4" y="5"/>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36" name="Freeform 130"/>
              <p:cNvSpPr>
                <a:spLocks/>
              </p:cNvSpPr>
              <p:nvPr/>
            </p:nvSpPr>
            <p:spPr bwMode="auto">
              <a:xfrm>
                <a:off x="6418299" y="2648906"/>
                <a:ext cx="21067" cy="21297"/>
              </a:xfrm>
              <a:custGeom>
                <a:avLst/>
                <a:gdLst/>
                <a:ahLst/>
                <a:cxnLst>
                  <a:cxn ang="0">
                    <a:pos x="23" y="17"/>
                  </a:cxn>
                  <a:cxn ang="0">
                    <a:pos x="23" y="17"/>
                  </a:cxn>
                  <a:cxn ang="0">
                    <a:pos x="23" y="16"/>
                  </a:cxn>
                  <a:cxn ang="0">
                    <a:pos x="19" y="14"/>
                  </a:cxn>
                  <a:cxn ang="0">
                    <a:pos x="17" y="10"/>
                  </a:cxn>
                  <a:cxn ang="0">
                    <a:pos x="17" y="9"/>
                  </a:cxn>
                  <a:cxn ang="0">
                    <a:pos x="16" y="7"/>
                  </a:cxn>
                  <a:cxn ang="0">
                    <a:pos x="13" y="6"/>
                  </a:cxn>
                  <a:cxn ang="0">
                    <a:pos x="10" y="4"/>
                  </a:cxn>
                  <a:cxn ang="0">
                    <a:pos x="6" y="1"/>
                  </a:cxn>
                  <a:cxn ang="0">
                    <a:pos x="6" y="0"/>
                  </a:cxn>
                  <a:cxn ang="0">
                    <a:pos x="4" y="0"/>
                  </a:cxn>
                  <a:cxn ang="0">
                    <a:pos x="0" y="3"/>
                  </a:cxn>
                  <a:cxn ang="0">
                    <a:pos x="3" y="3"/>
                  </a:cxn>
                  <a:cxn ang="0">
                    <a:pos x="9" y="9"/>
                  </a:cxn>
                  <a:cxn ang="0">
                    <a:pos x="9" y="10"/>
                  </a:cxn>
                  <a:cxn ang="0">
                    <a:pos x="11" y="12"/>
                  </a:cxn>
                  <a:cxn ang="0">
                    <a:pos x="14" y="12"/>
                  </a:cxn>
                  <a:cxn ang="0">
                    <a:pos x="17" y="14"/>
                  </a:cxn>
                  <a:cxn ang="0">
                    <a:pos x="17" y="16"/>
                  </a:cxn>
                  <a:cxn ang="0">
                    <a:pos x="19" y="17"/>
                  </a:cxn>
                  <a:cxn ang="0">
                    <a:pos x="20" y="19"/>
                  </a:cxn>
                  <a:cxn ang="0">
                    <a:pos x="23" y="20"/>
                  </a:cxn>
                  <a:cxn ang="0">
                    <a:pos x="23" y="17"/>
                  </a:cxn>
                </a:cxnLst>
                <a:rect l="0" t="0" r="r" b="b"/>
                <a:pathLst>
                  <a:path w="23" h="20">
                    <a:moveTo>
                      <a:pt x="23" y="17"/>
                    </a:moveTo>
                    <a:lnTo>
                      <a:pt x="23" y="17"/>
                    </a:lnTo>
                    <a:lnTo>
                      <a:pt x="23" y="16"/>
                    </a:lnTo>
                    <a:lnTo>
                      <a:pt x="19" y="14"/>
                    </a:lnTo>
                    <a:lnTo>
                      <a:pt x="17" y="10"/>
                    </a:lnTo>
                    <a:lnTo>
                      <a:pt x="17" y="9"/>
                    </a:lnTo>
                    <a:lnTo>
                      <a:pt x="16" y="7"/>
                    </a:lnTo>
                    <a:lnTo>
                      <a:pt x="13" y="6"/>
                    </a:lnTo>
                    <a:lnTo>
                      <a:pt x="10" y="4"/>
                    </a:lnTo>
                    <a:lnTo>
                      <a:pt x="6" y="1"/>
                    </a:lnTo>
                    <a:lnTo>
                      <a:pt x="6" y="0"/>
                    </a:lnTo>
                    <a:lnTo>
                      <a:pt x="4" y="0"/>
                    </a:lnTo>
                    <a:lnTo>
                      <a:pt x="0" y="3"/>
                    </a:lnTo>
                    <a:lnTo>
                      <a:pt x="3" y="3"/>
                    </a:lnTo>
                    <a:lnTo>
                      <a:pt x="9" y="9"/>
                    </a:lnTo>
                    <a:lnTo>
                      <a:pt x="9" y="10"/>
                    </a:lnTo>
                    <a:lnTo>
                      <a:pt x="11" y="12"/>
                    </a:lnTo>
                    <a:lnTo>
                      <a:pt x="14" y="12"/>
                    </a:lnTo>
                    <a:lnTo>
                      <a:pt x="17" y="14"/>
                    </a:lnTo>
                    <a:lnTo>
                      <a:pt x="17" y="16"/>
                    </a:lnTo>
                    <a:lnTo>
                      <a:pt x="19" y="17"/>
                    </a:lnTo>
                    <a:lnTo>
                      <a:pt x="20" y="19"/>
                    </a:lnTo>
                    <a:lnTo>
                      <a:pt x="23" y="20"/>
                    </a:lnTo>
                    <a:lnTo>
                      <a:pt x="23" y="17"/>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37" name="Freeform 131"/>
              <p:cNvSpPr>
                <a:spLocks/>
              </p:cNvSpPr>
              <p:nvPr/>
            </p:nvSpPr>
            <p:spPr bwMode="auto">
              <a:xfrm>
                <a:off x="6418299" y="2648906"/>
                <a:ext cx="21067" cy="21297"/>
              </a:xfrm>
              <a:custGeom>
                <a:avLst/>
                <a:gdLst/>
                <a:ahLst/>
                <a:cxnLst>
                  <a:cxn ang="0">
                    <a:pos x="23" y="17"/>
                  </a:cxn>
                  <a:cxn ang="0">
                    <a:pos x="23" y="17"/>
                  </a:cxn>
                  <a:cxn ang="0">
                    <a:pos x="23" y="16"/>
                  </a:cxn>
                  <a:cxn ang="0">
                    <a:pos x="19" y="14"/>
                  </a:cxn>
                  <a:cxn ang="0">
                    <a:pos x="17" y="10"/>
                  </a:cxn>
                  <a:cxn ang="0">
                    <a:pos x="17" y="9"/>
                  </a:cxn>
                  <a:cxn ang="0">
                    <a:pos x="16" y="7"/>
                  </a:cxn>
                  <a:cxn ang="0">
                    <a:pos x="13" y="6"/>
                  </a:cxn>
                  <a:cxn ang="0">
                    <a:pos x="10" y="4"/>
                  </a:cxn>
                  <a:cxn ang="0">
                    <a:pos x="6" y="1"/>
                  </a:cxn>
                  <a:cxn ang="0">
                    <a:pos x="6" y="0"/>
                  </a:cxn>
                  <a:cxn ang="0">
                    <a:pos x="4" y="0"/>
                  </a:cxn>
                  <a:cxn ang="0">
                    <a:pos x="0" y="3"/>
                  </a:cxn>
                  <a:cxn ang="0">
                    <a:pos x="3" y="3"/>
                  </a:cxn>
                  <a:cxn ang="0">
                    <a:pos x="9" y="9"/>
                  </a:cxn>
                  <a:cxn ang="0">
                    <a:pos x="9" y="10"/>
                  </a:cxn>
                  <a:cxn ang="0">
                    <a:pos x="11" y="12"/>
                  </a:cxn>
                  <a:cxn ang="0">
                    <a:pos x="14" y="12"/>
                  </a:cxn>
                  <a:cxn ang="0">
                    <a:pos x="17" y="14"/>
                  </a:cxn>
                  <a:cxn ang="0">
                    <a:pos x="17" y="16"/>
                  </a:cxn>
                  <a:cxn ang="0">
                    <a:pos x="19" y="17"/>
                  </a:cxn>
                  <a:cxn ang="0">
                    <a:pos x="20" y="19"/>
                  </a:cxn>
                  <a:cxn ang="0">
                    <a:pos x="23" y="20"/>
                  </a:cxn>
                  <a:cxn ang="0">
                    <a:pos x="23" y="17"/>
                  </a:cxn>
                </a:cxnLst>
                <a:rect l="0" t="0" r="r" b="b"/>
                <a:pathLst>
                  <a:path w="23" h="20">
                    <a:moveTo>
                      <a:pt x="23" y="17"/>
                    </a:moveTo>
                    <a:lnTo>
                      <a:pt x="23" y="17"/>
                    </a:lnTo>
                    <a:lnTo>
                      <a:pt x="23" y="16"/>
                    </a:lnTo>
                    <a:lnTo>
                      <a:pt x="19" y="14"/>
                    </a:lnTo>
                    <a:lnTo>
                      <a:pt x="17" y="10"/>
                    </a:lnTo>
                    <a:lnTo>
                      <a:pt x="17" y="9"/>
                    </a:lnTo>
                    <a:lnTo>
                      <a:pt x="16" y="7"/>
                    </a:lnTo>
                    <a:lnTo>
                      <a:pt x="13" y="6"/>
                    </a:lnTo>
                    <a:lnTo>
                      <a:pt x="10" y="4"/>
                    </a:lnTo>
                    <a:lnTo>
                      <a:pt x="6" y="1"/>
                    </a:lnTo>
                    <a:lnTo>
                      <a:pt x="6" y="0"/>
                    </a:lnTo>
                    <a:lnTo>
                      <a:pt x="4" y="0"/>
                    </a:lnTo>
                    <a:lnTo>
                      <a:pt x="0" y="3"/>
                    </a:lnTo>
                    <a:lnTo>
                      <a:pt x="3" y="3"/>
                    </a:lnTo>
                    <a:lnTo>
                      <a:pt x="9" y="9"/>
                    </a:lnTo>
                    <a:lnTo>
                      <a:pt x="9" y="10"/>
                    </a:lnTo>
                    <a:lnTo>
                      <a:pt x="11" y="12"/>
                    </a:lnTo>
                    <a:lnTo>
                      <a:pt x="14" y="12"/>
                    </a:lnTo>
                    <a:lnTo>
                      <a:pt x="17" y="14"/>
                    </a:lnTo>
                    <a:lnTo>
                      <a:pt x="17" y="16"/>
                    </a:lnTo>
                    <a:lnTo>
                      <a:pt x="19" y="17"/>
                    </a:lnTo>
                    <a:lnTo>
                      <a:pt x="20" y="19"/>
                    </a:lnTo>
                    <a:lnTo>
                      <a:pt x="23" y="20"/>
                    </a:lnTo>
                    <a:lnTo>
                      <a:pt x="23" y="17"/>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38" name="Freeform 132"/>
              <p:cNvSpPr>
                <a:spLocks/>
              </p:cNvSpPr>
              <p:nvPr/>
            </p:nvSpPr>
            <p:spPr bwMode="auto">
              <a:xfrm>
                <a:off x="6375287" y="2635722"/>
                <a:ext cx="5267" cy="6085"/>
              </a:xfrm>
              <a:custGeom>
                <a:avLst/>
                <a:gdLst/>
                <a:ahLst/>
                <a:cxnLst>
                  <a:cxn ang="0">
                    <a:pos x="6" y="6"/>
                  </a:cxn>
                  <a:cxn ang="0">
                    <a:pos x="6" y="6"/>
                  </a:cxn>
                  <a:cxn ang="0">
                    <a:pos x="3" y="0"/>
                  </a:cxn>
                  <a:cxn ang="0">
                    <a:pos x="2" y="0"/>
                  </a:cxn>
                  <a:cxn ang="0">
                    <a:pos x="0" y="0"/>
                  </a:cxn>
                  <a:cxn ang="0">
                    <a:pos x="2" y="4"/>
                  </a:cxn>
                  <a:cxn ang="0">
                    <a:pos x="5" y="6"/>
                  </a:cxn>
                  <a:cxn ang="0">
                    <a:pos x="6" y="6"/>
                  </a:cxn>
                </a:cxnLst>
                <a:rect l="0" t="0" r="r" b="b"/>
                <a:pathLst>
                  <a:path w="6" h="6">
                    <a:moveTo>
                      <a:pt x="6" y="6"/>
                    </a:moveTo>
                    <a:lnTo>
                      <a:pt x="6" y="6"/>
                    </a:lnTo>
                    <a:lnTo>
                      <a:pt x="3" y="0"/>
                    </a:lnTo>
                    <a:lnTo>
                      <a:pt x="2" y="0"/>
                    </a:lnTo>
                    <a:lnTo>
                      <a:pt x="0" y="0"/>
                    </a:lnTo>
                    <a:lnTo>
                      <a:pt x="2" y="4"/>
                    </a:lnTo>
                    <a:lnTo>
                      <a:pt x="5" y="6"/>
                    </a:lnTo>
                    <a:lnTo>
                      <a:pt x="6" y="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39" name="Freeform 133"/>
              <p:cNvSpPr>
                <a:spLocks/>
              </p:cNvSpPr>
              <p:nvPr/>
            </p:nvSpPr>
            <p:spPr bwMode="auto">
              <a:xfrm>
                <a:off x="6375287" y="2635722"/>
                <a:ext cx="5267" cy="6085"/>
              </a:xfrm>
              <a:custGeom>
                <a:avLst/>
                <a:gdLst/>
                <a:ahLst/>
                <a:cxnLst>
                  <a:cxn ang="0">
                    <a:pos x="6" y="6"/>
                  </a:cxn>
                  <a:cxn ang="0">
                    <a:pos x="6" y="6"/>
                  </a:cxn>
                  <a:cxn ang="0">
                    <a:pos x="3" y="0"/>
                  </a:cxn>
                  <a:cxn ang="0">
                    <a:pos x="2" y="0"/>
                  </a:cxn>
                  <a:cxn ang="0">
                    <a:pos x="0" y="0"/>
                  </a:cxn>
                  <a:cxn ang="0">
                    <a:pos x="2" y="4"/>
                  </a:cxn>
                  <a:cxn ang="0">
                    <a:pos x="5" y="6"/>
                  </a:cxn>
                  <a:cxn ang="0">
                    <a:pos x="6" y="6"/>
                  </a:cxn>
                </a:cxnLst>
                <a:rect l="0" t="0" r="r" b="b"/>
                <a:pathLst>
                  <a:path w="6" h="6">
                    <a:moveTo>
                      <a:pt x="6" y="6"/>
                    </a:moveTo>
                    <a:lnTo>
                      <a:pt x="6" y="6"/>
                    </a:lnTo>
                    <a:lnTo>
                      <a:pt x="3" y="0"/>
                    </a:lnTo>
                    <a:lnTo>
                      <a:pt x="2" y="0"/>
                    </a:lnTo>
                    <a:lnTo>
                      <a:pt x="0" y="0"/>
                    </a:lnTo>
                    <a:lnTo>
                      <a:pt x="2" y="4"/>
                    </a:lnTo>
                    <a:lnTo>
                      <a:pt x="5" y="6"/>
                    </a:lnTo>
                    <a:lnTo>
                      <a:pt x="6" y="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40" name="Freeform 134"/>
              <p:cNvSpPr>
                <a:spLocks/>
              </p:cNvSpPr>
              <p:nvPr/>
            </p:nvSpPr>
            <p:spPr bwMode="auto">
              <a:xfrm>
                <a:off x="6840521" y="2862888"/>
                <a:ext cx="11412" cy="7099"/>
              </a:xfrm>
              <a:custGeom>
                <a:avLst/>
                <a:gdLst/>
                <a:ahLst/>
                <a:cxnLst>
                  <a:cxn ang="0">
                    <a:pos x="13" y="0"/>
                  </a:cxn>
                  <a:cxn ang="0">
                    <a:pos x="12" y="0"/>
                  </a:cxn>
                  <a:cxn ang="0">
                    <a:pos x="7" y="0"/>
                  </a:cxn>
                  <a:cxn ang="0">
                    <a:pos x="6" y="3"/>
                  </a:cxn>
                  <a:cxn ang="0">
                    <a:pos x="0" y="6"/>
                  </a:cxn>
                  <a:cxn ang="0">
                    <a:pos x="0" y="7"/>
                  </a:cxn>
                  <a:cxn ang="0">
                    <a:pos x="7" y="4"/>
                  </a:cxn>
                  <a:cxn ang="0">
                    <a:pos x="13" y="0"/>
                  </a:cxn>
                </a:cxnLst>
                <a:rect l="0" t="0" r="r" b="b"/>
                <a:pathLst>
                  <a:path w="13" h="7">
                    <a:moveTo>
                      <a:pt x="13" y="0"/>
                    </a:moveTo>
                    <a:lnTo>
                      <a:pt x="12" y="0"/>
                    </a:lnTo>
                    <a:lnTo>
                      <a:pt x="7" y="0"/>
                    </a:lnTo>
                    <a:lnTo>
                      <a:pt x="6" y="3"/>
                    </a:lnTo>
                    <a:lnTo>
                      <a:pt x="0" y="6"/>
                    </a:lnTo>
                    <a:lnTo>
                      <a:pt x="0" y="7"/>
                    </a:lnTo>
                    <a:lnTo>
                      <a:pt x="7" y="4"/>
                    </a:lnTo>
                    <a:lnTo>
                      <a:pt x="1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41" name="Freeform 135"/>
              <p:cNvSpPr>
                <a:spLocks/>
              </p:cNvSpPr>
              <p:nvPr/>
            </p:nvSpPr>
            <p:spPr bwMode="auto">
              <a:xfrm>
                <a:off x="6840521" y="2862888"/>
                <a:ext cx="11412" cy="7099"/>
              </a:xfrm>
              <a:custGeom>
                <a:avLst/>
                <a:gdLst/>
                <a:ahLst/>
                <a:cxnLst>
                  <a:cxn ang="0">
                    <a:pos x="13" y="0"/>
                  </a:cxn>
                  <a:cxn ang="0">
                    <a:pos x="12" y="0"/>
                  </a:cxn>
                  <a:cxn ang="0">
                    <a:pos x="7" y="0"/>
                  </a:cxn>
                  <a:cxn ang="0">
                    <a:pos x="6" y="3"/>
                  </a:cxn>
                  <a:cxn ang="0">
                    <a:pos x="0" y="6"/>
                  </a:cxn>
                  <a:cxn ang="0">
                    <a:pos x="0" y="7"/>
                  </a:cxn>
                  <a:cxn ang="0">
                    <a:pos x="7" y="4"/>
                  </a:cxn>
                  <a:cxn ang="0">
                    <a:pos x="13" y="0"/>
                  </a:cxn>
                </a:cxnLst>
                <a:rect l="0" t="0" r="r" b="b"/>
                <a:pathLst>
                  <a:path w="13" h="7">
                    <a:moveTo>
                      <a:pt x="13" y="0"/>
                    </a:moveTo>
                    <a:lnTo>
                      <a:pt x="12" y="0"/>
                    </a:lnTo>
                    <a:lnTo>
                      <a:pt x="7" y="0"/>
                    </a:lnTo>
                    <a:lnTo>
                      <a:pt x="6" y="3"/>
                    </a:lnTo>
                    <a:lnTo>
                      <a:pt x="0" y="6"/>
                    </a:lnTo>
                    <a:lnTo>
                      <a:pt x="0" y="7"/>
                    </a:lnTo>
                    <a:lnTo>
                      <a:pt x="7" y="4"/>
                    </a:lnTo>
                    <a:lnTo>
                      <a:pt x="1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42" name="Freeform 136"/>
              <p:cNvSpPr>
                <a:spLocks/>
              </p:cNvSpPr>
              <p:nvPr/>
            </p:nvSpPr>
            <p:spPr bwMode="auto">
              <a:xfrm>
                <a:off x="6883534" y="2963287"/>
                <a:ext cx="3511" cy="6085"/>
              </a:xfrm>
              <a:custGeom>
                <a:avLst/>
                <a:gdLst/>
                <a:ahLst/>
                <a:cxnLst>
                  <a:cxn ang="0">
                    <a:pos x="0" y="6"/>
                  </a:cxn>
                  <a:cxn ang="0">
                    <a:pos x="1" y="6"/>
                  </a:cxn>
                  <a:cxn ang="0">
                    <a:pos x="1" y="6"/>
                  </a:cxn>
                  <a:cxn ang="0">
                    <a:pos x="2" y="5"/>
                  </a:cxn>
                  <a:cxn ang="0">
                    <a:pos x="2" y="5"/>
                  </a:cxn>
                  <a:cxn ang="0">
                    <a:pos x="2" y="3"/>
                  </a:cxn>
                  <a:cxn ang="0">
                    <a:pos x="4" y="2"/>
                  </a:cxn>
                  <a:cxn ang="0">
                    <a:pos x="4" y="2"/>
                  </a:cxn>
                  <a:cxn ang="0">
                    <a:pos x="4" y="2"/>
                  </a:cxn>
                  <a:cxn ang="0">
                    <a:pos x="4" y="0"/>
                  </a:cxn>
                  <a:cxn ang="0">
                    <a:pos x="4" y="0"/>
                  </a:cxn>
                  <a:cxn ang="0">
                    <a:pos x="2" y="0"/>
                  </a:cxn>
                  <a:cxn ang="0">
                    <a:pos x="1" y="3"/>
                  </a:cxn>
                  <a:cxn ang="0">
                    <a:pos x="0" y="5"/>
                  </a:cxn>
                  <a:cxn ang="0">
                    <a:pos x="1" y="5"/>
                  </a:cxn>
                  <a:cxn ang="0">
                    <a:pos x="0" y="6"/>
                  </a:cxn>
                  <a:cxn ang="0">
                    <a:pos x="0" y="6"/>
                  </a:cxn>
                </a:cxnLst>
                <a:rect l="0" t="0" r="r" b="b"/>
                <a:pathLst>
                  <a:path w="4" h="6">
                    <a:moveTo>
                      <a:pt x="0" y="6"/>
                    </a:moveTo>
                    <a:lnTo>
                      <a:pt x="1" y="6"/>
                    </a:lnTo>
                    <a:lnTo>
                      <a:pt x="1" y="6"/>
                    </a:lnTo>
                    <a:lnTo>
                      <a:pt x="2" y="5"/>
                    </a:lnTo>
                    <a:lnTo>
                      <a:pt x="2" y="5"/>
                    </a:lnTo>
                    <a:lnTo>
                      <a:pt x="2" y="3"/>
                    </a:lnTo>
                    <a:lnTo>
                      <a:pt x="4" y="2"/>
                    </a:lnTo>
                    <a:lnTo>
                      <a:pt x="4" y="2"/>
                    </a:lnTo>
                    <a:lnTo>
                      <a:pt x="4" y="2"/>
                    </a:lnTo>
                    <a:lnTo>
                      <a:pt x="4" y="0"/>
                    </a:lnTo>
                    <a:lnTo>
                      <a:pt x="4" y="0"/>
                    </a:lnTo>
                    <a:lnTo>
                      <a:pt x="2" y="0"/>
                    </a:lnTo>
                    <a:lnTo>
                      <a:pt x="1" y="3"/>
                    </a:lnTo>
                    <a:lnTo>
                      <a:pt x="0" y="5"/>
                    </a:lnTo>
                    <a:lnTo>
                      <a:pt x="1" y="5"/>
                    </a:lnTo>
                    <a:lnTo>
                      <a:pt x="0" y="6"/>
                    </a:lnTo>
                    <a:lnTo>
                      <a:pt x="0" y="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43" name="Freeform 137"/>
              <p:cNvSpPr>
                <a:spLocks/>
              </p:cNvSpPr>
              <p:nvPr/>
            </p:nvSpPr>
            <p:spPr bwMode="auto">
              <a:xfrm>
                <a:off x="6883534" y="2963287"/>
                <a:ext cx="3511" cy="6085"/>
              </a:xfrm>
              <a:custGeom>
                <a:avLst/>
                <a:gdLst/>
                <a:ahLst/>
                <a:cxnLst>
                  <a:cxn ang="0">
                    <a:pos x="0" y="6"/>
                  </a:cxn>
                  <a:cxn ang="0">
                    <a:pos x="1" y="6"/>
                  </a:cxn>
                  <a:cxn ang="0">
                    <a:pos x="1" y="6"/>
                  </a:cxn>
                  <a:cxn ang="0">
                    <a:pos x="2" y="5"/>
                  </a:cxn>
                  <a:cxn ang="0">
                    <a:pos x="2" y="5"/>
                  </a:cxn>
                  <a:cxn ang="0">
                    <a:pos x="2" y="3"/>
                  </a:cxn>
                  <a:cxn ang="0">
                    <a:pos x="4" y="2"/>
                  </a:cxn>
                  <a:cxn ang="0">
                    <a:pos x="4" y="2"/>
                  </a:cxn>
                  <a:cxn ang="0">
                    <a:pos x="4" y="2"/>
                  </a:cxn>
                  <a:cxn ang="0">
                    <a:pos x="4" y="0"/>
                  </a:cxn>
                  <a:cxn ang="0">
                    <a:pos x="4" y="0"/>
                  </a:cxn>
                  <a:cxn ang="0">
                    <a:pos x="2" y="0"/>
                  </a:cxn>
                  <a:cxn ang="0">
                    <a:pos x="1" y="3"/>
                  </a:cxn>
                  <a:cxn ang="0">
                    <a:pos x="0" y="5"/>
                  </a:cxn>
                  <a:cxn ang="0">
                    <a:pos x="1" y="5"/>
                  </a:cxn>
                  <a:cxn ang="0">
                    <a:pos x="0" y="6"/>
                  </a:cxn>
                  <a:cxn ang="0">
                    <a:pos x="0" y="6"/>
                  </a:cxn>
                </a:cxnLst>
                <a:rect l="0" t="0" r="r" b="b"/>
                <a:pathLst>
                  <a:path w="4" h="6">
                    <a:moveTo>
                      <a:pt x="0" y="6"/>
                    </a:moveTo>
                    <a:lnTo>
                      <a:pt x="1" y="6"/>
                    </a:lnTo>
                    <a:lnTo>
                      <a:pt x="1" y="6"/>
                    </a:lnTo>
                    <a:lnTo>
                      <a:pt x="2" y="5"/>
                    </a:lnTo>
                    <a:lnTo>
                      <a:pt x="2" y="5"/>
                    </a:lnTo>
                    <a:lnTo>
                      <a:pt x="2" y="3"/>
                    </a:lnTo>
                    <a:lnTo>
                      <a:pt x="4" y="2"/>
                    </a:lnTo>
                    <a:lnTo>
                      <a:pt x="4" y="2"/>
                    </a:lnTo>
                    <a:lnTo>
                      <a:pt x="4" y="2"/>
                    </a:lnTo>
                    <a:lnTo>
                      <a:pt x="4" y="0"/>
                    </a:lnTo>
                    <a:lnTo>
                      <a:pt x="4" y="0"/>
                    </a:lnTo>
                    <a:lnTo>
                      <a:pt x="2" y="0"/>
                    </a:lnTo>
                    <a:lnTo>
                      <a:pt x="1" y="3"/>
                    </a:lnTo>
                    <a:lnTo>
                      <a:pt x="0" y="5"/>
                    </a:lnTo>
                    <a:lnTo>
                      <a:pt x="1" y="5"/>
                    </a:lnTo>
                    <a:lnTo>
                      <a:pt x="0" y="6"/>
                    </a:lnTo>
                    <a:lnTo>
                      <a:pt x="0" y="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44" name="Freeform 138"/>
              <p:cNvSpPr>
                <a:spLocks/>
              </p:cNvSpPr>
              <p:nvPr/>
            </p:nvSpPr>
            <p:spPr bwMode="auto">
              <a:xfrm>
                <a:off x="7325946" y="3073827"/>
                <a:ext cx="7022" cy="30424"/>
              </a:xfrm>
              <a:custGeom>
                <a:avLst/>
                <a:gdLst/>
                <a:ahLst/>
                <a:cxnLst>
                  <a:cxn ang="0">
                    <a:pos x="6" y="0"/>
                  </a:cxn>
                  <a:cxn ang="0">
                    <a:pos x="0" y="24"/>
                  </a:cxn>
                  <a:cxn ang="0">
                    <a:pos x="0" y="26"/>
                  </a:cxn>
                  <a:cxn ang="0">
                    <a:pos x="1" y="29"/>
                  </a:cxn>
                  <a:cxn ang="0">
                    <a:pos x="3" y="28"/>
                  </a:cxn>
                  <a:cxn ang="0">
                    <a:pos x="3" y="26"/>
                  </a:cxn>
                  <a:cxn ang="0">
                    <a:pos x="6" y="10"/>
                  </a:cxn>
                  <a:cxn ang="0">
                    <a:pos x="4" y="9"/>
                  </a:cxn>
                  <a:cxn ang="0">
                    <a:pos x="4" y="8"/>
                  </a:cxn>
                  <a:cxn ang="0">
                    <a:pos x="6" y="6"/>
                  </a:cxn>
                  <a:cxn ang="0">
                    <a:pos x="7" y="0"/>
                  </a:cxn>
                  <a:cxn ang="0">
                    <a:pos x="6" y="0"/>
                  </a:cxn>
                </a:cxnLst>
                <a:rect l="0" t="0" r="r" b="b"/>
                <a:pathLst>
                  <a:path w="7" h="29">
                    <a:moveTo>
                      <a:pt x="6" y="0"/>
                    </a:moveTo>
                    <a:lnTo>
                      <a:pt x="0" y="24"/>
                    </a:lnTo>
                    <a:lnTo>
                      <a:pt x="0" y="26"/>
                    </a:lnTo>
                    <a:lnTo>
                      <a:pt x="1" y="29"/>
                    </a:lnTo>
                    <a:lnTo>
                      <a:pt x="3" y="28"/>
                    </a:lnTo>
                    <a:lnTo>
                      <a:pt x="3" y="26"/>
                    </a:lnTo>
                    <a:lnTo>
                      <a:pt x="6" y="10"/>
                    </a:lnTo>
                    <a:lnTo>
                      <a:pt x="4" y="9"/>
                    </a:lnTo>
                    <a:lnTo>
                      <a:pt x="4" y="8"/>
                    </a:lnTo>
                    <a:lnTo>
                      <a:pt x="6" y="6"/>
                    </a:lnTo>
                    <a:lnTo>
                      <a:pt x="7" y="0"/>
                    </a:lnTo>
                    <a:lnTo>
                      <a:pt x="6"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45" name="Freeform 139"/>
              <p:cNvSpPr>
                <a:spLocks/>
              </p:cNvSpPr>
              <p:nvPr/>
            </p:nvSpPr>
            <p:spPr bwMode="auto">
              <a:xfrm>
                <a:off x="7325946" y="3073827"/>
                <a:ext cx="7022" cy="30424"/>
              </a:xfrm>
              <a:custGeom>
                <a:avLst/>
                <a:gdLst/>
                <a:ahLst/>
                <a:cxnLst>
                  <a:cxn ang="0">
                    <a:pos x="6" y="0"/>
                  </a:cxn>
                  <a:cxn ang="0">
                    <a:pos x="0" y="24"/>
                  </a:cxn>
                  <a:cxn ang="0">
                    <a:pos x="0" y="26"/>
                  </a:cxn>
                  <a:cxn ang="0">
                    <a:pos x="1" y="29"/>
                  </a:cxn>
                  <a:cxn ang="0">
                    <a:pos x="3" y="28"/>
                  </a:cxn>
                  <a:cxn ang="0">
                    <a:pos x="3" y="26"/>
                  </a:cxn>
                  <a:cxn ang="0">
                    <a:pos x="6" y="10"/>
                  </a:cxn>
                  <a:cxn ang="0">
                    <a:pos x="4" y="9"/>
                  </a:cxn>
                  <a:cxn ang="0">
                    <a:pos x="4" y="8"/>
                  </a:cxn>
                  <a:cxn ang="0">
                    <a:pos x="6" y="6"/>
                  </a:cxn>
                  <a:cxn ang="0">
                    <a:pos x="7" y="0"/>
                  </a:cxn>
                  <a:cxn ang="0">
                    <a:pos x="6" y="0"/>
                  </a:cxn>
                </a:cxnLst>
                <a:rect l="0" t="0" r="r" b="b"/>
                <a:pathLst>
                  <a:path w="7" h="29">
                    <a:moveTo>
                      <a:pt x="6" y="0"/>
                    </a:moveTo>
                    <a:lnTo>
                      <a:pt x="0" y="24"/>
                    </a:lnTo>
                    <a:lnTo>
                      <a:pt x="0" y="26"/>
                    </a:lnTo>
                    <a:lnTo>
                      <a:pt x="1" y="29"/>
                    </a:lnTo>
                    <a:lnTo>
                      <a:pt x="3" y="28"/>
                    </a:lnTo>
                    <a:lnTo>
                      <a:pt x="3" y="26"/>
                    </a:lnTo>
                    <a:lnTo>
                      <a:pt x="6" y="10"/>
                    </a:lnTo>
                    <a:lnTo>
                      <a:pt x="4" y="9"/>
                    </a:lnTo>
                    <a:lnTo>
                      <a:pt x="4" y="8"/>
                    </a:lnTo>
                    <a:lnTo>
                      <a:pt x="6" y="6"/>
                    </a:lnTo>
                    <a:lnTo>
                      <a:pt x="7" y="0"/>
                    </a:lnTo>
                    <a:lnTo>
                      <a:pt x="6"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46" name="Freeform 140"/>
              <p:cNvSpPr>
                <a:spLocks/>
              </p:cNvSpPr>
              <p:nvPr/>
            </p:nvSpPr>
            <p:spPr bwMode="auto">
              <a:xfrm>
                <a:off x="7340868" y="3167127"/>
                <a:ext cx="2634" cy="7099"/>
              </a:xfrm>
              <a:custGeom>
                <a:avLst/>
                <a:gdLst/>
                <a:ahLst/>
                <a:cxnLst>
                  <a:cxn ang="0">
                    <a:pos x="3" y="1"/>
                  </a:cxn>
                  <a:cxn ang="0">
                    <a:pos x="1" y="0"/>
                  </a:cxn>
                  <a:cxn ang="0">
                    <a:pos x="0" y="1"/>
                  </a:cxn>
                  <a:cxn ang="0">
                    <a:pos x="0" y="4"/>
                  </a:cxn>
                  <a:cxn ang="0">
                    <a:pos x="1" y="7"/>
                  </a:cxn>
                  <a:cxn ang="0">
                    <a:pos x="3" y="6"/>
                  </a:cxn>
                  <a:cxn ang="0">
                    <a:pos x="3" y="3"/>
                  </a:cxn>
                  <a:cxn ang="0">
                    <a:pos x="3" y="0"/>
                  </a:cxn>
                  <a:cxn ang="0">
                    <a:pos x="3" y="1"/>
                  </a:cxn>
                </a:cxnLst>
                <a:rect l="0" t="0" r="r" b="b"/>
                <a:pathLst>
                  <a:path w="3" h="7">
                    <a:moveTo>
                      <a:pt x="3" y="1"/>
                    </a:moveTo>
                    <a:lnTo>
                      <a:pt x="1" y="0"/>
                    </a:lnTo>
                    <a:lnTo>
                      <a:pt x="0" y="1"/>
                    </a:lnTo>
                    <a:lnTo>
                      <a:pt x="0" y="4"/>
                    </a:lnTo>
                    <a:lnTo>
                      <a:pt x="1" y="7"/>
                    </a:lnTo>
                    <a:lnTo>
                      <a:pt x="3" y="6"/>
                    </a:lnTo>
                    <a:lnTo>
                      <a:pt x="3" y="3"/>
                    </a:lnTo>
                    <a:lnTo>
                      <a:pt x="3" y="0"/>
                    </a:lnTo>
                    <a:lnTo>
                      <a:pt x="3"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47" name="Freeform 141"/>
              <p:cNvSpPr>
                <a:spLocks/>
              </p:cNvSpPr>
              <p:nvPr/>
            </p:nvSpPr>
            <p:spPr bwMode="auto">
              <a:xfrm>
                <a:off x="7340868" y="3167127"/>
                <a:ext cx="2634" cy="7099"/>
              </a:xfrm>
              <a:custGeom>
                <a:avLst/>
                <a:gdLst/>
                <a:ahLst/>
                <a:cxnLst>
                  <a:cxn ang="0">
                    <a:pos x="3" y="1"/>
                  </a:cxn>
                  <a:cxn ang="0">
                    <a:pos x="1" y="0"/>
                  </a:cxn>
                  <a:cxn ang="0">
                    <a:pos x="0" y="1"/>
                  </a:cxn>
                  <a:cxn ang="0">
                    <a:pos x="0" y="4"/>
                  </a:cxn>
                  <a:cxn ang="0">
                    <a:pos x="1" y="7"/>
                  </a:cxn>
                  <a:cxn ang="0">
                    <a:pos x="3" y="6"/>
                  </a:cxn>
                  <a:cxn ang="0">
                    <a:pos x="3" y="3"/>
                  </a:cxn>
                  <a:cxn ang="0">
                    <a:pos x="3" y="0"/>
                  </a:cxn>
                  <a:cxn ang="0">
                    <a:pos x="3" y="1"/>
                  </a:cxn>
                </a:cxnLst>
                <a:rect l="0" t="0" r="r" b="b"/>
                <a:pathLst>
                  <a:path w="3" h="7">
                    <a:moveTo>
                      <a:pt x="3" y="1"/>
                    </a:moveTo>
                    <a:lnTo>
                      <a:pt x="1" y="0"/>
                    </a:lnTo>
                    <a:lnTo>
                      <a:pt x="0" y="1"/>
                    </a:lnTo>
                    <a:lnTo>
                      <a:pt x="0" y="4"/>
                    </a:lnTo>
                    <a:lnTo>
                      <a:pt x="1" y="7"/>
                    </a:lnTo>
                    <a:lnTo>
                      <a:pt x="3" y="6"/>
                    </a:lnTo>
                    <a:lnTo>
                      <a:pt x="3" y="3"/>
                    </a:lnTo>
                    <a:lnTo>
                      <a:pt x="3" y="0"/>
                    </a:lnTo>
                    <a:lnTo>
                      <a:pt x="3" y="1"/>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48" name="Freeform 142"/>
              <p:cNvSpPr>
                <a:spLocks/>
              </p:cNvSpPr>
              <p:nvPr/>
            </p:nvSpPr>
            <p:spPr bwMode="auto">
              <a:xfrm>
                <a:off x="7476049" y="3119463"/>
                <a:ext cx="878" cy="6085"/>
              </a:xfrm>
              <a:custGeom>
                <a:avLst/>
                <a:gdLst/>
                <a:ahLst/>
                <a:cxnLst>
                  <a:cxn ang="0">
                    <a:pos x="0" y="0"/>
                  </a:cxn>
                  <a:cxn ang="0">
                    <a:pos x="1" y="1"/>
                  </a:cxn>
                  <a:cxn ang="0">
                    <a:pos x="1" y="4"/>
                  </a:cxn>
                  <a:cxn ang="0">
                    <a:pos x="1" y="6"/>
                  </a:cxn>
                  <a:cxn ang="0">
                    <a:pos x="0" y="3"/>
                  </a:cxn>
                  <a:cxn ang="0">
                    <a:pos x="0" y="1"/>
                  </a:cxn>
                  <a:cxn ang="0">
                    <a:pos x="0" y="0"/>
                  </a:cxn>
                </a:cxnLst>
                <a:rect l="0" t="0" r="r" b="b"/>
                <a:pathLst>
                  <a:path w="1" h="6">
                    <a:moveTo>
                      <a:pt x="0" y="0"/>
                    </a:moveTo>
                    <a:lnTo>
                      <a:pt x="1" y="1"/>
                    </a:lnTo>
                    <a:lnTo>
                      <a:pt x="1" y="4"/>
                    </a:lnTo>
                    <a:lnTo>
                      <a:pt x="1" y="6"/>
                    </a:lnTo>
                    <a:lnTo>
                      <a:pt x="0" y="3"/>
                    </a:lnTo>
                    <a:lnTo>
                      <a:pt x="0" y="1"/>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49" name="Freeform 143"/>
              <p:cNvSpPr>
                <a:spLocks/>
              </p:cNvSpPr>
              <p:nvPr/>
            </p:nvSpPr>
            <p:spPr bwMode="auto">
              <a:xfrm>
                <a:off x="7476049" y="3119463"/>
                <a:ext cx="878" cy="6085"/>
              </a:xfrm>
              <a:custGeom>
                <a:avLst/>
                <a:gdLst/>
                <a:ahLst/>
                <a:cxnLst>
                  <a:cxn ang="0">
                    <a:pos x="0" y="0"/>
                  </a:cxn>
                  <a:cxn ang="0">
                    <a:pos x="1" y="1"/>
                  </a:cxn>
                  <a:cxn ang="0">
                    <a:pos x="1" y="4"/>
                  </a:cxn>
                  <a:cxn ang="0">
                    <a:pos x="1" y="6"/>
                  </a:cxn>
                  <a:cxn ang="0">
                    <a:pos x="0" y="3"/>
                  </a:cxn>
                  <a:cxn ang="0">
                    <a:pos x="0" y="1"/>
                  </a:cxn>
                  <a:cxn ang="0">
                    <a:pos x="0" y="0"/>
                  </a:cxn>
                </a:cxnLst>
                <a:rect l="0" t="0" r="r" b="b"/>
                <a:pathLst>
                  <a:path w="1" h="6">
                    <a:moveTo>
                      <a:pt x="0" y="0"/>
                    </a:moveTo>
                    <a:lnTo>
                      <a:pt x="1" y="1"/>
                    </a:lnTo>
                    <a:lnTo>
                      <a:pt x="1" y="4"/>
                    </a:lnTo>
                    <a:lnTo>
                      <a:pt x="1" y="6"/>
                    </a:lnTo>
                    <a:lnTo>
                      <a:pt x="0" y="3"/>
                    </a:lnTo>
                    <a:lnTo>
                      <a:pt x="0" y="1"/>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50" name="Freeform 144"/>
              <p:cNvSpPr>
                <a:spLocks/>
              </p:cNvSpPr>
              <p:nvPr/>
            </p:nvSpPr>
            <p:spPr bwMode="auto">
              <a:xfrm>
                <a:off x="7804346" y="2736121"/>
                <a:ext cx="1756" cy="4056"/>
              </a:xfrm>
              <a:custGeom>
                <a:avLst/>
                <a:gdLst/>
                <a:ahLst/>
                <a:cxnLst>
                  <a:cxn ang="0">
                    <a:pos x="2" y="0"/>
                  </a:cxn>
                  <a:cxn ang="0">
                    <a:pos x="0" y="2"/>
                  </a:cxn>
                  <a:cxn ang="0">
                    <a:pos x="0" y="3"/>
                  </a:cxn>
                  <a:cxn ang="0">
                    <a:pos x="2" y="2"/>
                  </a:cxn>
                  <a:cxn ang="0">
                    <a:pos x="2" y="0"/>
                  </a:cxn>
                </a:cxnLst>
                <a:rect l="0" t="0" r="r" b="b"/>
                <a:pathLst>
                  <a:path w="2" h="3">
                    <a:moveTo>
                      <a:pt x="2" y="0"/>
                    </a:moveTo>
                    <a:lnTo>
                      <a:pt x="0" y="2"/>
                    </a:lnTo>
                    <a:lnTo>
                      <a:pt x="0" y="3"/>
                    </a:lnTo>
                    <a:lnTo>
                      <a:pt x="2" y="2"/>
                    </a:lnTo>
                    <a:lnTo>
                      <a:pt x="2"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51" name="Freeform 145"/>
              <p:cNvSpPr>
                <a:spLocks/>
              </p:cNvSpPr>
              <p:nvPr/>
            </p:nvSpPr>
            <p:spPr bwMode="auto">
              <a:xfrm>
                <a:off x="7804346" y="2736121"/>
                <a:ext cx="1756" cy="4056"/>
              </a:xfrm>
              <a:custGeom>
                <a:avLst/>
                <a:gdLst/>
                <a:ahLst/>
                <a:cxnLst>
                  <a:cxn ang="0">
                    <a:pos x="2" y="0"/>
                  </a:cxn>
                  <a:cxn ang="0">
                    <a:pos x="0" y="2"/>
                  </a:cxn>
                  <a:cxn ang="0">
                    <a:pos x="0" y="3"/>
                  </a:cxn>
                  <a:cxn ang="0">
                    <a:pos x="2" y="2"/>
                  </a:cxn>
                  <a:cxn ang="0">
                    <a:pos x="2" y="0"/>
                  </a:cxn>
                </a:cxnLst>
                <a:rect l="0" t="0" r="r" b="b"/>
                <a:pathLst>
                  <a:path w="2" h="3">
                    <a:moveTo>
                      <a:pt x="2" y="0"/>
                    </a:moveTo>
                    <a:lnTo>
                      <a:pt x="0" y="2"/>
                    </a:lnTo>
                    <a:lnTo>
                      <a:pt x="0" y="3"/>
                    </a:lnTo>
                    <a:lnTo>
                      <a:pt x="2" y="2"/>
                    </a:lnTo>
                    <a:lnTo>
                      <a:pt x="2"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52" name="Freeform 146"/>
              <p:cNvSpPr>
                <a:spLocks/>
              </p:cNvSpPr>
              <p:nvPr/>
            </p:nvSpPr>
            <p:spPr bwMode="auto">
              <a:xfrm>
                <a:off x="7806980" y="2730036"/>
                <a:ext cx="1756" cy="6085"/>
              </a:xfrm>
              <a:custGeom>
                <a:avLst/>
                <a:gdLst/>
                <a:ahLst/>
                <a:cxnLst>
                  <a:cxn ang="0">
                    <a:pos x="0" y="0"/>
                  </a:cxn>
                  <a:cxn ang="0">
                    <a:pos x="2" y="0"/>
                  </a:cxn>
                  <a:cxn ang="0">
                    <a:pos x="2" y="3"/>
                  </a:cxn>
                  <a:cxn ang="0">
                    <a:pos x="2" y="6"/>
                  </a:cxn>
                  <a:cxn ang="0">
                    <a:pos x="0" y="3"/>
                  </a:cxn>
                  <a:cxn ang="0">
                    <a:pos x="0" y="2"/>
                  </a:cxn>
                  <a:cxn ang="0">
                    <a:pos x="0" y="0"/>
                  </a:cxn>
                </a:cxnLst>
                <a:rect l="0" t="0" r="r" b="b"/>
                <a:pathLst>
                  <a:path w="2" h="6">
                    <a:moveTo>
                      <a:pt x="0" y="0"/>
                    </a:moveTo>
                    <a:lnTo>
                      <a:pt x="2" y="0"/>
                    </a:lnTo>
                    <a:lnTo>
                      <a:pt x="2" y="3"/>
                    </a:lnTo>
                    <a:lnTo>
                      <a:pt x="2" y="6"/>
                    </a:lnTo>
                    <a:lnTo>
                      <a:pt x="0" y="3"/>
                    </a:lnTo>
                    <a:lnTo>
                      <a:pt x="0" y="2"/>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53" name="Freeform 147"/>
              <p:cNvSpPr>
                <a:spLocks/>
              </p:cNvSpPr>
              <p:nvPr/>
            </p:nvSpPr>
            <p:spPr bwMode="auto">
              <a:xfrm>
                <a:off x="7806980" y="2730036"/>
                <a:ext cx="1756" cy="6085"/>
              </a:xfrm>
              <a:custGeom>
                <a:avLst/>
                <a:gdLst/>
                <a:ahLst/>
                <a:cxnLst>
                  <a:cxn ang="0">
                    <a:pos x="0" y="0"/>
                  </a:cxn>
                  <a:cxn ang="0">
                    <a:pos x="2" y="0"/>
                  </a:cxn>
                  <a:cxn ang="0">
                    <a:pos x="2" y="3"/>
                  </a:cxn>
                  <a:cxn ang="0">
                    <a:pos x="2" y="6"/>
                  </a:cxn>
                  <a:cxn ang="0">
                    <a:pos x="0" y="3"/>
                  </a:cxn>
                  <a:cxn ang="0">
                    <a:pos x="0" y="2"/>
                  </a:cxn>
                  <a:cxn ang="0">
                    <a:pos x="0" y="0"/>
                  </a:cxn>
                </a:cxnLst>
                <a:rect l="0" t="0" r="r" b="b"/>
                <a:pathLst>
                  <a:path w="2" h="6">
                    <a:moveTo>
                      <a:pt x="0" y="0"/>
                    </a:moveTo>
                    <a:lnTo>
                      <a:pt x="2" y="0"/>
                    </a:lnTo>
                    <a:lnTo>
                      <a:pt x="2" y="3"/>
                    </a:lnTo>
                    <a:lnTo>
                      <a:pt x="2" y="6"/>
                    </a:lnTo>
                    <a:lnTo>
                      <a:pt x="0" y="3"/>
                    </a:lnTo>
                    <a:lnTo>
                      <a:pt x="0" y="2"/>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54" name="Freeform 148"/>
              <p:cNvSpPr>
                <a:spLocks/>
              </p:cNvSpPr>
              <p:nvPr/>
            </p:nvSpPr>
            <p:spPr bwMode="auto">
              <a:xfrm>
                <a:off x="7826292" y="2676287"/>
                <a:ext cx="1756" cy="3042"/>
              </a:xfrm>
              <a:custGeom>
                <a:avLst/>
                <a:gdLst/>
                <a:ahLst/>
                <a:cxnLst>
                  <a:cxn ang="0">
                    <a:pos x="1" y="0"/>
                  </a:cxn>
                  <a:cxn ang="0">
                    <a:pos x="0" y="2"/>
                  </a:cxn>
                  <a:cxn ang="0">
                    <a:pos x="0" y="2"/>
                  </a:cxn>
                  <a:cxn ang="0">
                    <a:pos x="1" y="3"/>
                  </a:cxn>
                  <a:cxn ang="0">
                    <a:pos x="2" y="2"/>
                  </a:cxn>
                  <a:cxn ang="0">
                    <a:pos x="1" y="0"/>
                  </a:cxn>
                </a:cxnLst>
                <a:rect l="0" t="0" r="r" b="b"/>
                <a:pathLst>
                  <a:path w="2" h="3">
                    <a:moveTo>
                      <a:pt x="1" y="0"/>
                    </a:moveTo>
                    <a:lnTo>
                      <a:pt x="0" y="2"/>
                    </a:lnTo>
                    <a:lnTo>
                      <a:pt x="0" y="2"/>
                    </a:lnTo>
                    <a:lnTo>
                      <a:pt x="1" y="3"/>
                    </a:lnTo>
                    <a:lnTo>
                      <a:pt x="2" y="2"/>
                    </a:lnTo>
                    <a:lnTo>
                      <a:pt x="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55" name="Freeform 149"/>
              <p:cNvSpPr>
                <a:spLocks/>
              </p:cNvSpPr>
              <p:nvPr/>
            </p:nvSpPr>
            <p:spPr bwMode="auto">
              <a:xfrm>
                <a:off x="7826292" y="2676287"/>
                <a:ext cx="1756" cy="3042"/>
              </a:xfrm>
              <a:custGeom>
                <a:avLst/>
                <a:gdLst/>
                <a:ahLst/>
                <a:cxnLst>
                  <a:cxn ang="0">
                    <a:pos x="1" y="0"/>
                  </a:cxn>
                  <a:cxn ang="0">
                    <a:pos x="0" y="2"/>
                  </a:cxn>
                  <a:cxn ang="0">
                    <a:pos x="0" y="2"/>
                  </a:cxn>
                  <a:cxn ang="0">
                    <a:pos x="1" y="3"/>
                  </a:cxn>
                  <a:cxn ang="0">
                    <a:pos x="2" y="2"/>
                  </a:cxn>
                  <a:cxn ang="0">
                    <a:pos x="1" y="0"/>
                  </a:cxn>
                </a:cxnLst>
                <a:rect l="0" t="0" r="r" b="b"/>
                <a:pathLst>
                  <a:path w="2" h="3">
                    <a:moveTo>
                      <a:pt x="1" y="0"/>
                    </a:moveTo>
                    <a:lnTo>
                      <a:pt x="0" y="2"/>
                    </a:lnTo>
                    <a:lnTo>
                      <a:pt x="0" y="2"/>
                    </a:lnTo>
                    <a:lnTo>
                      <a:pt x="1" y="3"/>
                    </a:lnTo>
                    <a:lnTo>
                      <a:pt x="2" y="2"/>
                    </a:lnTo>
                    <a:lnTo>
                      <a:pt x="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56" name="Freeform 150"/>
              <p:cNvSpPr>
                <a:spLocks/>
              </p:cNvSpPr>
              <p:nvPr/>
            </p:nvSpPr>
            <p:spPr bwMode="auto">
              <a:xfrm>
                <a:off x="7765723" y="2750319"/>
                <a:ext cx="8778" cy="6085"/>
              </a:xfrm>
              <a:custGeom>
                <a:avLst/>
                <a:gdLst/>
                <a:ahLst/>
                <a:cxnLst>
                  <a:cxn ang="0">
                    <a:pos x="2" y="3"/>
                  </a:cxn>
                  <a:cxn ang="0">
                    <a:pos x="0" y="5"/>
                  </a:cxn>
                  <a:cxn ang="0">
                    <a:pos x="0" y="6"/>
                  </a:cxn>
                  <a:cxn ang="0">
                    <a:pos x="7" y="6"/>
                  </a:cxn>
                  <a:cxn ang="0">
                    <a:pos x="10" y="3"/>
                  </a:cxn>
                  <a:cxn ang="0">
                    <a:pos x="10" y="0"/>
                  </a:cxn>
                  <a:cxn ang="0">
                    <a:pos x="6" y="0"/>
                  </a:cxn>
                  <a:cxn ang="0">
                    <a:pos x="2" y="3"/>
                  </a:cxn>
                </a:cxnLst>
                <a:rect l="0" t="0" r="r" b="b"/>
                <a:pathLst>
                  <a:path w="10" h="6">
                    <a:moveTo>
                      <a:pt x="2" y="3"/>
                    </a:moveTo>
                    <a:lnTo>
                      <a:pt x="0" y="5"/>
                    </a:lnTo>
                    <a:lnTo>
                      <a:pt x="0" y="6"/>
                    </a:lnTo>
                    <a:lnTo>
                      <a:pt x="7" y="6"/>
                    </a:lnTo>
                    <a:lnTo>
                      <a:pt x="10" y="3"/>
                    </a:lnTo>
                    <a:lnTo>
                      <a:pt x="10" y="0"/>
                    </a:lnTo>
                    <a:lnTo>
                      <a:pt x="6" y="0"/>
                    </a:lnTo>
                    <a:lnTo>
                      <a:pt x="2"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57" name="Freeform 151"/>
              <p:cNvSpPr>
                <a:spLocks/>
              </p:cNvSpPr>
              <p:nvPr/>
            </p:nvSpPr>
            <p:spPr bwMode="auto">
              <a:xfrm>
                <a:off x="7765723" y="2750319"/>
                <a:ext cx="8778" cy="6085"/>
              </a:xfrm>
              <a:custGeom>
                <a:avLst/>
                <a:gdLst/>
                <a:ahLst/>
                <a:cxnLst>
                  <a:cxn ang="0">
                    <a:pos x="2" y="3"/>
                  </a:cxn>
                  <a:cxn ang="0">
                    <a:pos x="0" y="5"/>
                  </a:cxn>
                  <a:cxn ang="0">
                    <a:pos x="0" y="6"/>
                  </a:cxn>
                  <a:cxn ang="0">
                    <a:pos x="7" y="6"/>
                  </a:cxn>
                  <a:cxn ang="0">
                    <a:pos x="10" y="3"/>
                  </a:cxn>
                  <a:cxn ang="0">
                    <a:pos x="10" y="0"/>
                  </a:cxn>
                  <a:cxn ang="0">
                    <a:pos x="6" y="0"/>
                  </a:cxn>
                  <a:cxn ang="0">
                    <a:pos x="2" y="3"/>
                  </a:cxn>
                </a:cxnLst>
                <a:rect l="0" t="0" r="r" b="b"/>
                <a:pathLst>
                  <a:path w="10" h="6">
                    <a:moveTo>
                      <a:pt x="2" y="3"/>
                    </a:moveTo>
                    <a:lnTo>
                      <a:pt x="0" y="5"/>
                    </a:lnTo>
                    <a:lnTo>
                      <a:pt x="0" y="6"/>
                    </a:lnTo>
                    <a:lnTo>
                      <a:pt x="7" y="6"/>
                    </a:lnTo>
                    <a:lnTo>
                      <a:pt x="10" y="3"/>
                    </a:lnTo>
                    <a:lnTo>
                      <a:pt x="10" y="0"/>
                    </a:lnTo>
                    <a:lnTo>
                      <a:pt x="6" y="0"/>
                    </a:lnTo>
                    <a:lnTo>
                      <a:pt x="2"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58" name="Freeform 152"/>
              <p:cNvSpPr>
                <a:spLocks/>
              </p:cNvSpPr>
              <p:nvPr/>
            </p:nvSpPr>
            <p:spPr bwMode="auto">
              <a:xfrm>
                <a:off x="8126499" y="2905481"/>
                <a:ext cx="878" cy="1014"/>
              </a:xfrm>
              <a:custGeom>
                <a:avLst/>
                <a:gdLst/>
                <a:ahLst/>
                <a:cxnLst>
                  <a:cxn ang="0">
                    <a:pos x="1" y="0"/>
                  </a:cxn>
                  <a:cxn ang="0">
                    <a:pos x="1" y="0"/>
                  </a:cxn>
                  <a:cxn ang="0">
                    <a:pos x="0" y="0"/>
                  </a:cxn>
                  <a:cxn ang="0">
                    <a:pos x="1" y="0"/>
                  </a:cxn>
                  <a:cxn ang="0">
                    <a:pos x="1" y="0"/>
                  </a:cxn>
                  <a:cxn ang="0">
                    <a:pos x="0" y="0"/>
                  </a:cxn>
                  <a:cxn ang="0">
                    <a:pos x="0" y="0"/>
                  </a:cxn>
                  <a:cxn ang="0">
                    <a:pos x="0" y="0"/>
                  </a:cxn>
                  <a:cxn ang="0">
                    <a:pos x="1" y="0"/>
                  </a:cxn>
                </a:cxnLst>
                <a:rect l="0" t="0" r="r" b="b"/>
                <a:pathLst>
                  <a:path w="1">
                    <a:moveTo>
                      <a:pt x="1" y="0"/>
                    </a:moveTo>
                    <a:lnTo>
                      <a:pt x="1" y="0"/>
                    </a:lnTo>
                    <a:lnTo>
                      <a:pt x="0" y="0"/>
                    </a:lnTo>
                    <a:lnTo>
                      <a:pt x="1" y="0"/>
                    </a:lnTo>
                    <a:lnTo>
                      <a:pt x="1" y="0"/>
                    </a:lnTo>
                    <a:lnTo>
                      <a:pt x="0" y="0"/>
                    </a:lnTo>
                    <a:lnTo>
                      <a:pt x="0" y="0"/>
                    </a:lnTo>
                    <a:lnTo>
                      <a:pt x="0" y="0"/>
                    </a:lnTo>
                    <a:lnTo>
                      <a:pt x="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59" name="Freeform 153"/>
              <p:cNvSpPr>
                <a:spLocks/>
              </p:cNvSpPr>
              <p:nvPr/>
            </p:nvSpPr>
            <p:spPr bwMode="auto">
              <a:xfrm>
                <a:off x="8126499" y="2905481"/>
                <a:ext cx="878" cy="1014"/>
              </a:xfrm>
              <a:custGeom>
                <a:avLst/>
                <a:gdLst/>
                <a:ahLst/>
                <a:cxnLst>
                  <a:cxn ang="0">
                    <a:pos x="1" y="0"/>
                  </a:cxn>
                  <a:cxn ang="0">
                    <a:pos x="1" y="0"/>
                  </a:cxn>
                  <a:cxn ang="0">
                    <a:pos x="0" y="0"/>
                  </a:cxn>
                  <a:cxn ang="0">
                    <a:pos x="1" y="0"/>
                  </a:cxn>
                  <a:cxn ang="0">
                    <a:pos x="1" y="0"/>
                  </a:cxn>
                  <a:cxn ang="0">
                    <a:pos x="0" y="0"/>
                  </a:cxn>
                  <a:cxn ang="0">
                    <a:pos x="0" y="0"/>
                  </a:cxn>
                  <a:cxn ang="0">
                    <a:pos x="0" y="0"/>
                  </a:cxn>
                  <a:cxn ang="0">
                    <a:pos x="1" y="0"/>
                  </a:cxn>
                </a:cxnLst>
                <a:rect l="0" t="0" r="r" b="b"/>
                <a:pathLst>
                  <a:path w="1">
                    <a:moveTo>
                      <a:pt x="1" y="0"/>
                    </a:moveTo>
                    <a:lnTo>
                      <a:pt x="1" y="0"/>
                    </a:lnTo>
                    <a:lnTo>
                      <a:pt x="0" y="0"/>
                    </a:lnTo>
                    <a:lnTo>
                      <a:pt x="1" y="0"/>
                    </a:lnTo>
                    <a:lnTo>
                      <a:pt x="1" y="0"/>
                    </a:lnTo>
                    <a:lnTo>
                      <a:pt x="0" y="0"/>
                    </a:lnTo>
                    <a:lnTo>
                      <a:pt x="0" y="0"/>
                    </a:lnTo>
                    <a:lnTo>
                      <a:pt x="0" y="0"/>
                    </a:lnTo>
                    <a:lnTo>
                      <a:pt x="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60" name="Freeform 154"/>
              <p:cNvSpPr>
                <a:spLocks/>
              </p:cNvSpPr>
              <p:nvPr/>
            </p:nvSpPr>
            <p:spPr bwMode="auto">
              <a:xfrm>
                <a:off x="8015018" y="2974442"/>
                <a:ext cx="878" cy="1014"/>
              </a:xfrm>
              <a:custGeom>
                <a:avLst/>
                <a:gdLst/>
                <a:ahLst/>
                <a:cxnLst>
                  <a:cxn ang="0">
                    <a:pos x="0" y="0"/>
                  </a:cxn>
                  <a:cxn ang="0">
                    <a:pos x="1" y="0"/>
                  </a:cxn>
                  <a:cxn ang="0">
                    <a:pos x="0" y="0"/>
                  </a:cxn>
                  <a:cxn ang="0">
                    <a:pos x="0" y="0"/>
                  </a:cxn>
                  <a:cxn ang="0">
                    <a:pos x="0" y="0"/>
                  </a:cxn>
                  <a:cxn ang="0">
                    <a:pos x="0" y="0"/>
                  </a:cxn>
                </a:cxnLst>
                <a:rect l="0" t="0" r="r" b="b"/>
                <a:pathLst>
                  <a:path w="1">
                    <a:moveTo>
                      <a:pt x="0" y="0"/>
                    </a:moveTo>
                    <a:lnTo>
                      <a:pt x="1" y="0"/>
                    </a:lnTo>
                    <a:lnTo>
                      <a:pt x="0" y="0"/>
                    </a:lnTo>
                    <a:lnTo>
                      <a:pt x="0" y="0"/>
                    </a:lnTo>
                    <a:lnTo>
                      <a:pt x="0" y="0"/>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61" name="Freeform 155"/>
              <p:cNvSpPr>
                <a:spLocks/>
              </p:cNvSpPr>
              <p:nvPr/>
            </p:nvSpPr>
            <p:spPr bwMode="auto">
              <a:xfrm>
                <a:off x="8015018" y="2974442"/>
                <a:ext cx="878" cy="1014"/>
              </a:xfrm>
              <a:custGeom>
                <a:avLst/>
                <a:gdLst/>
                <a:ahLst/>
                <a:cxnLst>
                  <a:cxn ang="0">
                    <a:pos x="0" y="0"/>
                  </a:cxn>
                  <a:cxn ang="0">
                    <a:pos x="1" y="0"/>
                  </a:cxn>
                  <a:cxn ang="0">
                    <a:pos x="0" y="0"/>
                  </a:cxn>
                  <a:cxn ang="0">
                    <a:pos x="0" y="0"/>
                  </a:cxn>
                  <a:cxn ang="0">
                    <a:pos x="0" y="0"/>
                  </a:cxn>
                  <a:cxn ang="0">
                    <a:pos x="0" y="0"/>
                  </a:cxn>
                </a:cxnLst>
                <a:rect l="0" t="0" r="r" b="b"/>
                <a:pathLst>
                  <a:path w="1">
                    <a:moveTo>
                      <a:pt x="0" y="0"/>
                    </a:moveTo>
                    <a:lnTo>
                      <a:pt x="1" y="0"/>
                    </a:lnTo>
                    <a:lnTo>
                      <a:pt x="0" y="0"/>
                    </a:lnTo>
                    <a:lnTo>
                      <a:pt x="0" y="0"/>
                    </a:lnTo>
                    <a:lnTo>
                      <a:pt x="0" y="0"/>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62" name="Freeform 156"/>
              <p:cNvSpPr>
                <a:spLocks/>
              </p:cNvSpPr>
              <p:nvPr/>
            </p:nvSpPr>
            <p:spPr bwMode="auto">
              <a:xfrm>
                <a:off x="8021163" y="3002838"/>
                <a:ext cx="878" cy="1014"/>
              </a:xfrm>
              <a:custGeom>
                <a:avLst/>
                <a:gdLst/>
                <a:ahLst/>
                <a:cxnLst>
                  <a:cxn ang="0">
                    <a:pos x="1" y="0"/>
                  </a:cxn>
                  <a:cxn ang="0">
                    <a:pos x="1" y="0"/>
                  </a:cxn>
                  <a:cxn ang="0">
                    <a:pos x="1" y="0"/>
                  </a:cxn>
                  <a:cxn ang="0">
                    <a:pos x="1" y="1"/>
                  </a:cxn>
                  <a:cxn ang="0">
                    <a:pos x="0" y="1"/>
                  </a:cxn>
                  <a:cxn ang="0">
                    <a:pos x="0" y="0"/>
                  </a:cxn>
                  <a:cxn ang="0">
                    <a:pos x="1" y="0"/>
                  </a:cxn>
                </a:cxnLst>
                <a:rect l="0" t="0" r="r" b="b"/>
                <a:pathLst>
                  <a:path w="1" h="1">
                    <a:moveTo>
                      <a:pt x="1" y="0"/>
                    </a:moveTo>
                    <a:lnTo>
                      <a:pt x="1" y="0"/>
                    </a:lnTo>
                    <a:lnTo>
                      <a:pt x="1" y="0"/>
                    </a:lnTo>
                    <a:lnTo>
                      <a:pt x="1" y="1"/>
                    </a:lnTo>
                    <a:lnTo>
                      <a:pt x="0" y="1"/>
                    </a:lnTo>
                    <a:lnTo>
                      <a:pt x="0" y="0"/>
                    </a:lnTo>
                    <a:lnTo>
                      <a:pt x="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63" name="Freeform 157"/>
              <p:cNvSpPr>
                <a:spLocks/>
              </p:cNvSpPr>
              <p:nvPr/>
            </p:nvSpPr>
            <p:spPr bwMode="auto">
              <a:xfrm>
                <a:off x="8021163" y="3002838"/>
                <a:ext cx="878" cy="1014"/>
              </a:xfrm>
              <a:custGeom>
                <a:avLst/>
                <a:gdLst/>
                <a:ahLst/>
                <a:cxnLst>
                  <a:cxn ang="0">
                    <a:pos x="1" y="0"/>
                  </a:cxn>
                  <a:cxn ang="0">
                    <a:pos x="1" y="0"/>
                  </a:cxn>
                  <a:cxn ang="0">
                    <a:pos x="1" y="0"/>
                  </a:cxn>
                  <a:cxn ang="0">
                    <a:pos x="1" y="1"/>
                  </a:cxn>
                  <a:cxn ang="0">
                    <a:pos x="0" y="1"/>
                  </a:cxn>
                  <a:cxn ang="0">
                    <a:pos x="0" y="0"/>
                  </a:cxn>
                  <a:cxn ang="0">
                    <a:pos x="1" y="0"/>
                  </a:cxn>
                </a:cxnLst>
                <a:rect l="0" t="0" r="r" b="b"/>
                <a:pathLst>
                  <a:path w="1" h="1">
                    <a:moveTo>
                      <a:pt x="1" y="0"/>
                    </a:moveTo>
                    <a:lnTo>
                      <a:pt x="1" y="0"/>
                    </a:lnTo>
                    <a:lnTo>
                      <a:pt x="1" y="0"/>
                    </a:lnTo>
                    <a:lnTo>
                      <a:pt x="1" y="1"/>
                    </a:lnTo>
                    <a:lnTo>
                      <a:pt x="0" y="1"/>
                    </a:lnTo>
                    <a:lnTo>
                      <a:pt x="0" y="0"/>
                    </a:lnTo>
                    <a:lnTo>
                      <a:pt x="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64" name="Freeform 158"/>
              <p:cNvSpPr>
                <a:spLocks/>
              </p:cNvSpPr>
              <p:nvPr/>
            </p:nvSpPr>
            <p:spPr bwMode="auto">
              <a:xfrm>
                <a:off x="8019408" y="3050502"/>
                <a:ext cx="1756" cy="1015"/>
              </a:xfrm>
              <a:custGeom>
                <a:avLst/>
                <a:gdLst/>
                <a:ahLst/>
                <a:cxnLst>
                  <a:cxn ang="0">
                    <a:pos x="2" y="1"/>
                  </a:cxn>
                  <a:cxn ang="0">
                    <a:pos x="2" y="0"/>
                  </a:cxn>
                  <a:cxn ang="0">
                    <a:pos x="2" y="1"/>
                  </a:cxn>
                  <a:cxn ang="0">
                    <a:pos x="0" y="1"/>
                  </a:cxn>
                  <a:cxn ang="0">
                    <a:pos x="0" y="1"/>
                  </a:cxn>
                  <a:cxn ang="0">
                    <a:pos x="0" y="0"/>
                  </a:cxn>
                  <a:cxn ang="0">
                    <a:pos x="2" y="1"/>
                  </a:cxn>
                  <a:cxn ang="0">
                    <a:pos x="2" y="1"/>
                  </a:cxn>
                </a:cxnLst>
                <a:rect l="0" t="0" r="r" b="b"/>
                <a:pathLst>
                  <a:path w="2" h="1">
                    <a:moveTo>
                      <a:pt x="2" y="1"/>
                    </a:moveTo>
                    <a:lnTo>
                      <a:pt x="2" y="0"/>
                    </a:lnTo>
                    <a:lnTo>
                      <a:pt x="2" y="1"/>
                    </a:lnTo>
                    <a:lnTo>
                      <a:pt x="0" y="1"/>
                    </a:lnTo>
                    <a:lnTo>
                      <a:pt x="0" y="1"/>
                    </a:lnTo>
                    <a:lnTo>
                      <a:pt x="0" y="0"/>
                    </a:lnTo>
                    <a:lnTo>
                      <a:pt x="2" y="1"/>
                    </a:lnTo>
                    <a:lnTo>
                      <a:pt x="2"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65" name="Freeform 159"/>
              <p:cNvSpPr>
                <a:spLocks/>
              </p:cNvSpPr>
              <p:nvPr/>
            </p:nvSpPr>
            <p:spPr bwMode="auto">
              <a:xfrm>
                <a:off x="8019408" y="3050502"/>
                <a:ext cx="1756" cy="1015"/>
              </a:xfrm>
              <a:custGeom>
                <a:avLst/>
                <a:gdLst/>
                <a:ahLst/>
                <a:cxnLst>
                  <a:cxn ang="0">
                    <a:pos x="2" y="1"/>
                  </a:cxn>
                  <a:cxn ang="0">
                    <a:pos x="2" y="0"/>
                  </a:cxn>
                  <a:cxn ang="0">
                    <a:pos x="2" y="1"/>
                  </a:cxn>
                  <a:cxn ang="0">
                    <a:pos x="0" y="1"/>
                  </a:cxn>
                  <a:cxn ang="0">
                    <a:pos x="0" y="1"/>
                  </a:cxn>
                  <a:cxn ang="0">
                    <a:pos x="0" y="0"/>
                  </a:cxn>
                  <a:cxn ang="0">
                    <a:pos x="2" y="1"/>
                  </a:cxn>
                  <a:cxn ang="0">
                    <a:pos x="2" y="1"/>
                  </a:cxn>
                </a:cxnLst>
                <a:rect l="0" t="0" r="r" b="b"/>
                <a:pathLst>
                  <a:path w="2" h="1">
                    <a:moveTo>
                      <a:pt x="2" y="1"/>
                    </a:moveTo>
                    <a:lnTo>
                      <a:pt x="2" y="0"/>
                    </a:lnTo>
                    <a:lnTo>
                      <a:pt x="2" y="1"/>
                    </a:lnTo>
                    <a:lnTo>
                      <a:pt x="0" y="1"/>
                    </a:lnTo>
                    <a:lnTo>
                      <a:pt x="0" y="1"/>
                    </a:lnTo>
                    <a:lnTo>
                      <a:pt x="0" y="0"/>
                    </a:lnTo>
                    <a:lnTo>
                      <a:pt x="2" y="1"/>
                    </a:lnTo>
                    <a:lnTo>
                      <a:pt x="2"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66" name="Freeform 160"/>
              <p:cNvSpPr>
                <a:spLocks/>
              </p:cNvSpPr>
              <p:nvPr/>
            </p:nvSpPr>
            <p:spPr bwMode="auto">
              <a:xfrm>
                <a:off x="8007996" y="3073827"/>
                <a:ext cx="2634" cy="3042"/>
              </a:xfrm>
              <a:custGeom>
                <a:avLst/>
                <a:gdLst/>
                <a:ahLst/>
                <a:cxnLst>
                  <a:cxn ang="0">
                    <a:pos x="3" y="0"/>
                  </a:cxn>
                  <a:cxn ang="0">
                    <a:pos x="3" y="0"/>
                  </a:cxn>
                  <a:cxn ang="0">
                    <a:pos x="3" y="2"/>
                  </a:cxn>
                  <a:cxn ang="0">
                    <a:pos x="2" y="2"/>
                  </a:cxn>
                  <a:cxn ang="0">
                    <a:pos x="2" y="3"/>
                  </a:cxn>
                  <a:cxn ang="0">
                    <a:pos x="0" y="3"/>
                  </a:cxn>
                  <a:cxn ang="0">
                    <a:pos x="0" y="3"/>
                  </a:cxn>
                  <a:cxn ang="0">
                    <a:pos x="0" y="2"/>
                  </a:cxn>
                  <a:cxn ang="0">
                    <a:pos x="0" y="2"/>
                  </a:cxn>
                  <a:cxn ang="0">
                    <a:pos x="3" y="0"/>
                  </a:cxn>
                </a:cxnLst>
                <a:rect l="0" t="0" r="r" b="b"/>
                <a:pathLst>
                  <a:path w="3" h="3">
                    <a:moveTo>
                      <a:pt x="3" y="0"/>
                    </a:moveTo>
                    <a:lnTo>
                      <a:pt x="3" y="0"/>
                    </a:lnTo>
                    <a:lnTo>
                      <a:pt x="3" y="2"/>
                    </a:lnTo>
                    <a:lnTo>
                      <a:pt x="2" y="2"/>
                    </a:lnTo>
                    <a:lnTo>
                      <a:pt x="2" y="3"/>
                    </a:lnTo>
                    <a:lnTo>
                      <a:pt x="0" y="3"/>
                    </a:lnTo>
                    <a:lnTo>
                      <a:pt x="0" y="3"/>
                    </a:lnTo>
                    <a:lnTo>
                      <a:pt x="0" y="2"/>
                    </a:lnTo>
                    <a:lnTo>
                      <a:pt x="0" y="2"/>
                    </a:lnTo>
                    <a:lnTo>
                      <a:pt x="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67" name="Freeform 161"/>
              <p:cNvSpPr>
                <a:spLocks/>
              </p:cNvSpPr>
              <p:nvPr/>
            </p:nvSpPr>
            <p:spPr bwMode="auto">
              <a:xfrm>
                <a:off x="8007996" y="3073827"/>
                <a:ext cx="2634" cy="3042"/>
              </a:xfrm>
              <a:custGeom>
                <a:avLst/>
                <a:gdLst/>
                <a:ahLst/>
                <a:cxnLst>
                  <a:cxn ang="0">
                    <a:pos x="3" y="0"/>
                  </a:cxn>
                  <a:cxn ang="0">
                    <a:pos x="3" y="0"/>
                  </a:cxn>
                  <a:cxn ang="0">
                    <a:pos x="3" y="2"/>
                  </a:cxn>
                  <a:cxn ang="0">
                    <a:pos x="2" y="2"/>
                  </a:cxn>
                  <a:cxn ang="0">
                    <a:pos x="2" y="3"/>
                  </a:cxn>
                  <a:cxn ang="0">
                    <a:pos x="0" y="3"/>
                  </a:cxn>
                  <a:cxn ang="0">
                    <a:pos x="0" y="3"/>
                  </a:cxn>
                  <a:cxn ang="0">
                    <a:pos x="0" y="2"/>
                  </a:cxn>
                  <a:cxn ang="0">
                    <a:pos x="0" y="2"/>
                  </a:cxn>
                  <a:cxn ang="0">
                    <a:pos x="3" y="0"/>
                  </a:cxn>
                </a:cxnLst>
                <a:rect l="0" t="0" r="r" b="b"/>
                <a:pathLst>
                  <a:path w="3" h="3">
                    <a:moveTo>
                      <a:pt x="3" y="0"/>
                    </a:moveTo>
                    <a:lnTo>
                      <a:pt x="3" y="0"/>
                    </a:lnTo>
                    <a:lnTo>
                      <a:pt x="3" y="2"/>
                    </a:lnTo>
                    <a:lnTo>
                      <a:pt x="2" y="2"/>
                    </a:lnTo>
                    <a:lnTo>
                      <a:pt x="2" y="3"/>
                    </a:lnTo>
                    <a:lnTo>
                      <a:pt x="0" y="3"/>
                    </a:lnTo>
                    <a:lnTo>
                      <a:pt x="0" y="3"/>
                    </a:lnTo>
                    <a:lnTo>
                      <a:pt x="0" y="2"/>
                    </a:lnTo>
                    <a:lnTo>
                      <a:pt x="0" y="2"/>
                    </a:lnTo>
                    <a:lnTo>
                      <a:pt x="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68" name="Freeform 162"/>
              <p:cNvSpPr>
                <a:spLocks/>
              </p:cNvSpPr>
              <p:nvPr/>
            </p:nvSpPr>
            <p:spPr bwMode="auto">
              <a:xfrm>
                <a:off x="7814880" y="3445000"/>
                <a:ext cx="5267" cy="6085"/>
              </a:xfrm>
              <a:custGeom>
                <a:avLst/>
                <a:gdLst/>
                <a:ahLst/>
                <a:cxnLst>
                  <a:cxn ang="0">
                    <a:pos x="1" y="6"/>
                  </a:cxn>
                  <a:cxn ang="0">
                    <a:pos x="0" y="6"/>
                  </a:cxn>
                  <a:cxn ang="0">
                    <a:pos x="0" y="3"/>
                  </a:cxn>
                  <a:cxn ang="0">
                    <a:pos x="0" y="3"/>
                  </a:cxn>
                  <a:cxn ang="0">
                    <a:pos x="0" y="2"/>
                  </a:cxn>
                  <a:cxn ang="0">
                    <a:pos x="1" y="0"/>
                  </a:cxn>
                  <a:cxn ang="0">
                    <a:pos x="3" y="0"/>
                  </a:cxn>
                  <a:cxn ang="0">
                    <a:pos x="4" y="3"/>
                  </a:cxn>
                  <a:cxn ang="0">
                    <a:pos x="6" y="6"/>
                  </a:cxn>
                  <a:cxn ang="0">
                    <a:pos x="1" y="6"/>
                  </a:cxn>
                </a:cxnLst>
                <a:rect l="0" t="0" r="r" b="b"/>
                <a:pathLst>
                  <a:path w="6" h="6">
                    <a:moveTo>
                      <a:pt x="1" y="6"/>
                    </a:moveTo>
                    <a:lnTo>
                      <a:pt x="0" y="6"/>
                    </a:lnTo>
                    <a:lnTo>
                      <a:pt x="0" y="3"/>
                    </a:lnTo>
                    <a:lnTo>
                      <a:pt x="0" y="3"/>
                    </a:lnTo>
                    <a:lnTo>
                      <a:pt x="0" y="2"/>
                    </a:lnTo>
                    <a:lnTo>
                      <a:pt x="1" y="0"/>
                    </a:lnTo>
                    <a:lnTo>
                      <a:pt x="3" y="0"/>
                    </a:lnTo>
                    <a:lnTo>
                      <a:pt x="4" y="3"/>
                    </a:lnTo>
                    <a:lnTo>
                      <a:pt x="6" y="6"/>
                    </a:lnTo>
                    <a:lnTo>
                      <a:pt x="1" y="6"/>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69" name="Freeform 163"/>
              <p:cNvSpPr>
                <a:spLocks/>
              </p:cNvSpPr>
              <p:nvPr/>
            </p:nvSpPr>
            <p:spPr bwMode="auto">
              <a:xfrm>
                <a:off x="7814880" y="3445000"/>
                <a:ext cx="5267" cy="6085"/>
              </a:xfrm>
              <a:custGeom>
                <a:avLst/>
                <a:gdLst/>
                <a:ahLst/>
                <a:cxnLst>
                  <a:cxn ang="0">
                    <a:pos x="1" y="6"/>
                  </a:cxn>
                  <a:cxn ang="0">
                    <a:pos x="0" y="6"/>
                  </a:cxn>
                  <a:cxn ang="0">
                    <a:pos x="0" y="3"/>
                  </a:cxn>
                  <a:cxn ang="0">
                    <a:pos x="0" y="3"/>
                  </a:cxn>
                  <a:cxn ang="0">
                    <a:pos x="0" y="2"/>
                  </a:cxn>
                  <a:cxn ang="0">
                    <a:pos x="1" y="0"/>
                  </a:cxn>
                  <a:cxn ang="0">
                    <a:pos x="3" y="0"/>
                  </a:cxn>
                  <a:cxn ang="0">
                    <a:pos x="4" y="3"/>
                  </a:cxn>
                  <a:cxn ang="0">
                    <a:pos x="6" y="6"/>
                  </a:cxn>
                  <a:cxn ang="0">
                    <a:pos x="1" y="6"/>
                  </a:cxn>
                </a:cxnLst>
                <a:rect l="0" t="0" r="r" b="b"/>
                <a:pathLst>
                  <a:path w="6" h="6">
                    <a:moveTo>
                      <a:pt x="1" y="6"/>
                    </a:moveTo>
                    <a:lnTo>
                      <a:pt x="0" y="6"/>
                    </a:lnTo>
                    <a:lnTo>
                      <a:pt x="0" y="3"/>
                    </a:lnTo>
                    <a:lnTo>
                      <a:pt x="0" y="3"/>
                    </a:lnTo>
                    <a:lnTo>
                      <a:pt x="0" y="2"/>
                    </a:lnTo>
                    <a:lnTo>
                      <a:pt x="1" y="0"/>
                    </a:lnTo>
                    <a:lnTo>
                      <a:pt x="3" y="0"/>
                    </a:lnTo>
                    <a:lnTo>
                      <a:pt x="4" y="3"/>
                    </a:lnTo>
                    <a:lnTo>
                      <a:pt x="6" y="6"/>
                    </a:lnTo>
                    <a:lnTo>
                      <a:pt x="1" y="6"/>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70" name="Freeform 164"/>
              <p:cNvSpPr>
                <a:spLocks/>
              </p:cNvSpPr>
              <p:nvPr/>
            </p:nvSpPr>
            <p:spPr bwMode="auto">
              <a:xfrm>
                <a:off x="7818391" y="3441957"/>
                <a:ext cx="14923" cy="9128"/>
              </a:xfrm>
              <a:custGeom>
                <a:avLst/>
                <a:gdLst/>
                <a:ahLst/>
                <a:cxnLst>
                  <a:cxn ang="0">
                    <a:pos x="0" y="0"/>
                  </a:cxn>
                  <a:cxn ang="0">
                    <a:pos x="0" y="2"/>
                  </a:cxn>
                  <a:cxn ang="0">
                    <a:pos x="2" y="2"/>
                  </a:cxn>
                  <a:cxn ang="0">
                    <a:pos x="3" y="3"/>
                  </a:cxn>
                  <a:cxn ang="0">
                    <a:pos x="5" y="3"/>
                  </a:cxn>
                  <a:cxn ang="0">
                    <a:pos x="9" y="2"/>
                  </a:cxn>
                  <a:cxn ang="0">
                    <a:pos x="9" y="3"/>
                  </a:cxn>
                  <a:cxn ang="0">
                    <a:pos x="13" y="0"/>
                  </a:cxn>
                  <a:cxn ang="0">
                    <a:pos x="13" y="0"/>
                  </a:cxn>
                  <a:cxn ang="0">
                    <a:pos x="15" y="2"/>
                  </a:cxn>
                  <a:cxn ang="0">
                    <a:pos x="16" y="5"/>
                  </a:cxn>
                  <a:cxn ang="0">
                    <a:pos x="13" y="8"/>
                  </a:cxn>
                  <a:cxn ang="0">
                    <a:pos x="10" y="9"/>
                  </a:cxn>
                  <a:cxn ang="0">
                    <a:pos x="8" y="9"/>
                  </a:cxn>
                  <a:cxn ang="0">
                    <a:pos x="2" y="6"/>
                  </a:cxn>
                  <a:cxn ang="0">
                    <a:pos x="0" y="0"/>
                  </a:cxn>
                </a:cxnLst>
                <a:rect l="0" t="0" r="r" b="b"/>
                <a:pathLst>
                  <a:path w="16" h="9">
                    <a:moveTo>
                      <a:pt x="0" y="0"/>
                    </a:moveTo>
                    <a:lnTo>
                      <a:pt x="0" y="2"/>
                    </a:lnTo>
                    <a:lnTo>
                      <a:pt x="2" y="2"/>
                    </a:lnTo>
                    <a:lnTo>
                      <a:pt x="3" y="3"/>
                    </a:lnTo>
                    <a:lnTo>
                      <a:pt x="5" y="3"/>
                    </a:lnTo>
                    <a:lnTo>
                      <a:pt x="9" y="2"/>
                    </a:lnTo>
                    <a:lnTo>
                      <a:pt x="9" y="3"/>
                    </a:lnTo>
                    <a:lnTo>
                      <a:pt x="13" y="0"/>
                    </a:lnTo>
                    <a:lnTo>
                      <a:pt x="13" y="0"/>
                    </a:lnTo>
                    <a:lnTo>
                      <a:pt x="15" y="2"/>
                    </a:lnTo>
                    <a:lnTo>
                      <a:pt x="16" y="5"/>
                    </a:lnTo>
                    <a:lnTo>
                      <a:pt x="13" y="8"/>
                    </a:lnTo>
                    <a:lnTo>
                      <a:pt x="10" y="9"/>
                    </a:lnTo>
                    <a:lnTo>
                      <a:pt x="8" y="9"/>
                    </a:lnTo>
                    <a:lnTo>
                      <a:pt x="2" y="6"/>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71" name="Freeform 165"/>
              <p:cNvSpPr>
                <a:spLocks/>
              </p:cNvSpPr>
              <p:nvPr/>
            </p:nvSpPr>
            <p:spPr bwMode="auto">
              <a:xfrm>
                <a:off x="7818391" y="3441957"/>
                <a:ext cx="14923" cy="9128"/>
              </a:xfrm>
              <a:custGeom>
                <a:avLst/>
                <a:gdLst/>
                <a:ahLst/>
                <a:cxnLst>
                  <a:cxn ang="0">
                    <a:pos x="0" y="0"/>
                  </a:cxn>
                  <a:cxn ang="0">
                    <a:pos x="0" y="2"/>
                  </a:cxn>
                  <a:cxn ang="0">
                    <a:pos x="2" y="2"/>
                  </a:cxn>
                  <a:cxn ang="0">
                    <a:pos x="3" y="3"/>
                  </a:cxn>
                  <a:cxn ang="0">
                    <a:pos x="5" y="3"/>
                  </a:cxn>
                  <a:cxn ang="0">
                    <a:pos x="9" y="2"/>
                  </a:cxn>
                  <a:cxn ang="0">
                    <a:pos x="9" y="3"/>
                  </a:cxn>
                  <a:cxn ang="0">
                    <a:pos x="13" y="0"/>
                  </a:cxn>
                  <a:cxn ang="0">
                    <a:pos x="13" y="0"/>
                  </a:cxn>
                  <a:cxn ang="0">
                    <a:pos x="15" y="2"/>
                  </a:cxn>
                  <a:cxn ang="0">
                    <a:pos x="16" y="5"/>
                  </a:cxn>
                  <a:cxn ang="0">
                    <a:pos x="13" y="8"/>
                  </a:cxn>
                  <a:cxn ang="0">
                    <a:pos x="10" y="9"/>
                  </a:cxn>
                  <a:cxn ang="0">
                    <a:pos x="8" y="9"/>
                  </a:cxn>
                  <a:cxn ang="0">
                    <a:pos x="2" y="6"/>
                  </a:cxn>
                  <a:cxn ang="0">
                    <a:pos x="0" y="0"/>
                  </a:cxn>
                </a:cxnLst>
                <a:rect l="0" t="0" r="r" b="b"/>
                <a:pathLst>
                  <a:path w="16" h="9">
                    <a:moveTo>
                      <a:pt x="0" y="0"/>
                    </a:moveTo>
                    <a:lnTo>
                      <a:pt x="0" y="2"/>
                    </a:lnTo>
                    <a:lnTo>
                      <a:pt x="2" y="2"/>
                    </a:lnTo>
                    <a:lnTo>
                      <a:pt x="3" y="3"/>
                    </a:lnTo>
                    <a:lnTo>
                      <a:pt x="5" y="3"/>
                    </a:lnTo>
                    <a:lnTo>
                      <a:pt x="9" y="2"/>
                    </a:lnTo>
                    <a:lnTo>
                      <a:pt x="9" y="3"/>
                    </a:lnTo>
                    <a:lnTo>
                      <a:pt x="13" y="0"/>
                    </a:lnTo>
                    <a:lnTo>
                      <a:pt x="13" y="0"/>
                    </a:lnTo>
                    <a:lnTo>
                      <a:pt x="15" y="2"/>
                    </a:lnTo>
                    <a:lnTo>
                      <a:pt x="16" y="5"/>
                    </a:lnTo>
                    <a:lnTo>
                      <a:pt x="13" y="8"/>
                    </a:lnTo>
                    <a:lnTo>
                      <a:pt x="10" y="9"/>
                    </a:lnTo>
                    <a:lnTo>
                      <a:pt x="8" y="9"/>
                    </a:lnTo>
                    <a:lnTo>
                      <a:pt x="2" y="6"/>
                    </a:lnTo>
                    <a:lnTo>
                      <a:pt x="0"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72" name="Freeform 166"/>
              <p:cNvSpPr>
                <a:spLocks/>
              </p:cNvSpPr>
              <p:nvPr/>
            </p:nvSpPr>
            <p:spPr bwMode="auto">
              <a:xfrm>
                <a:off x="7898271" y="3440943"/>
                <a:ext cx="2633" cy="6085"/>
              </a:xfrm>
              <a:custGeom>
                <a:avLst/>
                <a:gdLst/>
                <a:ahLst/>
                <a:cxnLst>
                  <a:cxn ang="0">
                    <a:pos x="0" y="6"/>
                  </a:cxn>
                  <a:cxn ang="0">
                    <a:pos x="0" y="6"/>
                  </a:cxn>
                  <a:cxn ang="0">
                    <a:pos x="0" y="1"/>
                  </a:cxn>
                  <a:cxn ang="0">
                    <a:pos x="2" y="0"/>
                  </a:cxn>
                  <a:cxn ang="0">
                    <a:pos x="3" y="0"/>
                  </a:cxn>
                  <a:cxn ang="0">
                    <a:pos x="3" y="1"/>
                  </a:cxn>
                  <a:cxn ang="0">
                    <a:pos x="0" y="6"/>
                  </a:cxn>
                </a:cxnLst>
                <a:rect l="0" t="0" r="r" b="b"/>
                <a:pathLst>
                  <a:path w="3" h="6">
                    <a:moveTo>
                      <a:pt x="0" y="6"/>
                    </a:moveTo>
                    <a:lnTo>
                      <a:pt x="0" y="6"/>
                    </a:lnTo>
                    <a:lnTo>
                      <a:pt x="0" y="1"/>
                    </a:lnTo>
                    <a:lnTo>
                      <a:pt x="2" y="0"/>
                    </a:lnTo>
                    <a:lnTo>
                      <a:pt x="3" y="0"/>
                    </a:lnTo>
                    <a:lnTo>
                      <a:pt x="3" y="1"/>
                    </a:lnTo>
                    <a:lnTo>
                      <a:pt x="0" y="6"/>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73" name="Freeform 167"/>
              <p:cNvSpPr>
                <a:spLocks/>
              </p:cNvSpPr>
              <p:nvPr/>
            </p:nvSpPr>
            <p:spPr bwMode="auto">
              <a:xfrm>
                <a:off x="7898271" y="3440943"/>
                <a:ext cx="2633" cy="6085"/>
              </a:xfrm>
              <a:custGeom>
                <a:avLst/>
                <a:gdLst/>
                <a:ahLst/>
                <a:cxnLst>
                  <a:cxn ang="0">
                    <a:pos x="0" y="6"/>
                  </a:cxn>
                  <a:cxn ang="0">
                    <a:pos x="0" y="6"/>
                  </a:cxn>
                  <a:cxn ang="0">
                    <a:pos x="0" y="1"/>
                  </a:cxn>
                  <a:cxn ang="0">
                    <a:pos x="2" y="0"/>
                  </a:cxn>
                  <a:cxn ang="0">
                    <a:pos x="3" y="0"/>
                  </a:cxn>
                  <a:cxn ang="0">
                    <a:pos x="3" y="1"/>
                  </a:cxn>
                  <a:cxn ang="0">
                    <a:pos x="0" y="6"/>
                  </a:cxn>
                </a:cxnLst>
                <a:rect l="0" t="0" r="r" b="b"/>
                <a:pathLst>
                  <a:path w="3" h="6">
                    <a:moveTo>
                      <a:pt x="0" y="6"/>
                    </a:moveTo>
                    <a:lnTo>
                      <a:pt x="0" y="6"/>
                    </a:lnTo>
                    <a:lnTo>
                      <a:pt x="0" y="1"/>
                    </a:lnTo>
                    <a:lnTo>
                      <a:pt x="2" y="0"/>
                    </a:lnTo>
                    <a:lnTo>
                      <a:pt x="3" y="0"/>
                    </a:lnTo>
                    <a:lnTo>
                      <a:pt x="3" y="1"/>
                    </a:lnTo>
                    <a:lnTo>
                      <a:pt x="0" y="6"/>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74" name="Freeform 168"/>
              <p:cNvSpPr>
                <a:spLocks/>
              </p:cNvSpPr>
              <p:nvPr/>
            </p:nvSpPr>
            <p:spPr bwMode="auto">
              <a:xfrm>
                <a:off x="7898271" y="3480494"/>
                <a:ext cx="6144" cy="8113"/>
              </a:xfrm>
              <a:custGeom>
                <a:avLst/>
                <a:gdLst/>
                <a:ahLst/>
                <a:cxnLst>
                  <a:cxn ang="0">
                    <a:pos x="0" y="0"/>
                  </a:cxn>
                  <a:cxn ang="0">
                    <a:pos x="0" y="0"/>
                  </a:cxn>
                  <a:cxn ang="0">
                    <a:pos x="2" y="1"/>
                  </a:cxn>
                  <a:cxn ang="0">
                    <a:pos x="2" y="0"/>
                  </a:cxn>
                  <a:cxn ang="0">
                    <a:pos x="3" y="1"/>
                  </a:cxn>
                  <a:cxn ang="0">
                    <a:pos x="5" y="0"/>
                  </a:cxn>
                  <a:cxn ang="0">
                    <a:pos x="6" y="6"/>
                  </a:cxn>
                  <a:cxn ang="0">
                    <a:pos x="6" y="7"/>
                  </a:cxn>
                  <a:cxn ang="0">
                    <a:pos x="5" y="8"/>
                  </a:cxn>
                  <a:cxn ang="0">
                    <a:pos x="2" y="7"/>
                  </a:cxn>
                  <a:cxn ang="0">
                    <a:pos x="0" y="6"/>
                  </a:cxn>
                  <a:cxn ang="0">
                    <a:pos x="0" y="0"/>
                  </a:cxn>
                </a:cxnLst>
                <a:rect l="0" t="0" r="r" b="b"/>
                <a:pathLst>
                  <a:path w="6" h="8">
                    <a:moveTo>
                      <a:pt x="0" y="0"/>
                    </a:moveTo>
                    <a:lnTo>
                      <a:pt x="0" y="0"/>
                    </a:lnTo>
                    <a:lnTo>
                      <a:pt x="2" y="1"/>
                    </a:lnTo>
                    <a:lnTo>
                      <a:pt x="2" y="0"/>
                    </a:lnTo>
                    <a:lnTo>
                      <a:pt x="3" y="1"/>
                    </a:lnTo>
                    <a:lnTo>
                      <a:pt x="5" y="0"/>
                    </a:lnTo>
                    <a:lnTo>
                      <a:pt x="6" y="6"/>
                    </a:lnTo>
                    <a:lnTo>
                      <a:pt x="6" y="7"/>
                    </a:lnTo>
                    <a:lnTo>
                      <a:pt x="5" y="8"/>
                    </a:lnTo>
                    <a:lnTo>
                      <a:pt x="2" y="7"/>
                    </a:lnTo>
                    <a:lnTo>
                      <a:pt x="0" y="6"/>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75" name="Freeform 169"/>
              <p:cNvSpPr>
                <a:spLocks/>
              </p:cNvSpPr>
              <p:nvPr/>
            </p:nvSpPr>
            <p:spPr bwMode="auto">
              <a:xfrm>
                <a:off x="7898271" y="3480494"/>
                <a:ext cx="6144" cy="8113"/>
              </a:xfrm>
              <a:custGeom>
                <a:avLst/>
                <a:gdLst/>
                <a:ahLst/>
                <a:cxnLst>
                  <a:cxn ang="0">
                    <a:pos x="0" y="0"/>
                  </a:cxn>
                  <a:cxn ang="0">
                    <a:pos x="0" y="0"/>
                  </a:cxn>
                  <a:cxn ang="0">
                    <a:pos x="2" y="1"/>
                  </a:cxn>
                  <a:cxn ang="0">
                    <a:pos x="2" y="0"/>
                  </a:cxn>
                  <a:cxn ang="0">
                    <a:pos x="3" y="1"/>
                  </a:cxn>
                  <a:cxn ang="0">
                    <a:pos x="5" y="0"/>
                  </a:cxn>
                  <a:cxn ang="0">
                    <a:pos x="6" y="6"/>
                  </a:cxn>
                  <a:cxn ang="0">
                    <a:pos x="6" y="7"/>
                  </a:cxn>
                  <a:cxn ang="0">
                    <a:pos x="5" y="8"/>
                  </a:cxn>
                  <a:cxn ang="0">
                    <a:pos x="2" y="7"/>
                  </a:cxn>
                  <a:cxn ang="0">
                    <a:pos x="0" y="6"/>
                  </a:cxn>
                  <a:cxn ang="0">
                    <a:pos x="0" y="0"/>
                  </a:cxn>
                </a:cxnLst>
                <a:rect l="0" t="0" r="r" b="b"/>
                <a:pathLst>
                  <a:path w="6" h="8">
                    <a:moveTo>
                      <a:pt x="0" y="0"/>
                    </a:moveTo>
                    <a:lnTo>
                      <a:pt x="0" y="0"/>
                    </a:lnTo>
                    <a:lnTo>
                      <a:pt x="2" y="1"/>
                    </a:lnTo>
                    <a:lnTo>
                      <a:pt x="2" y="0"/>
                    </a:lnTo>
                    <a:lnTo>
                      <a:pt x="3" y="1"/>
                    </a:lnTo>
                    <a:lnTo>
                      <a:pt x="5" y="0"/>
                    </a:lnTo>
                    <a:lnTo>
                      <a:pt x="6" y="6"/>
                    </a:lnTo>
                    <a:lnTo>
                      <a:pt x="6" y="7"/>
                    </a:lnTo>
                    <a:lnTo>
                      <a:pt x="5" y="8"/>
                    </a:lnTo>
                    <a:lnTo>
                      <a:pt x="2" y="7"/>
                    </a:lnTo>
                    <a:lnTo>
                      <a:pt x="0" y="6"/>
                    </a:lnTo>
                    <a:lnTo>
                      <a:pt x="0"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76" name="Freeform 170"/>
              <p:cNvSpPr>
                <a:spLocks/>
              </p:cNvSpPr>
              <p:nvPr/>
            </p:nvSpPr>
            <p:spPr bwMode="auto">
              <a:xfrm>
                <a:off x="7935139" y="3521059"/>
                <a:ext cx="7022" cy="4056"/>
              </a:xfrm>
              <a:custGeom>
                <a:avLst/>
                <a:gdLst/>
                <a:ahLst/>
                <a:cxnLst>
                  <a:cxn ang="0">
                    <a:pos x="5" y="0"/>
                  </a:cxn>
                  <a:cxn ang="0">
                    <a:pos x="7" y="0"/>
                  </a:cxn>
                  <a:cxn ang="0">
                    <a:pos x="8" y="1"/>
                  </a:cxn>
                  <a:cxn ang="0">
                    <a:pos x="7" y="1"/>
                  </a:cxn>
                  <a:cxn ang="0">
                    <a:pos x="4" y="3"/>
                  </a:cxn>
                  <a:cxn ang="0">
                    <a:pos x="4" y="3"/>
                  </a:cxn>
                  <a:cxn ang="0">
                    <a:pos x="4" y="4"/>
                  </a:cxn>
                  <a:cxn ang="0">
                    <a:pos x="1" y="4"/>
                  </a:cxn>
                  <a:cxn ang="0">
                    <a:pos x="0" y="3"/>
                  </a:cxn>
                  <a:cxn ang="0">
                    <a:pos x="1" y="1"/>
                  </a:cxn>
                  <a:cxn ang="0">
                    <a:pos x="2" y="1"/>
                  </a:cxn>
                  <a:cxn ang="0">
                    <a:pos x="4" y="0"/>
                  </a:cxn>
                  <a:cxn ang="0">
                    <a:pos x="5" y="0"/>
                  </a:cxn>
                </a:cxnLst>
                <a:rect l="0" t="0" r="r" b="b"/>
                <a:pathLst>
                  <a:path w="8" h="4">
                    <a:moveTo>
                      <a:pt x="5" y="0"/>
                    </a:moveTo>
                    <a:lnTo>
                      <a:pt x="7" y="0"/>
                    </a:lnTo>
                    <a:lnTo>
                      <a:pt x="8" y="1"/>
                    </a:lnTo>
                    <a:lnTo>
                      <a:pt x="7" y="1"/>
                    </a:lnTo>
                    <a:lnTo>
                      <a:pt x="4" y="3"/>
                    </a:lnTo>
                    <a:lnTo>
                      <a:pt x="4" y="3"/>
                    </a:lnTo>
                    <a:lnTo>
                      <a:pt x="4" y="4"/>
                    </a:lnTo>
                    <a:lnTo>
                      <a:pt x="1" y="4"/>
                    </a:lnTo>
                    <a:lnTo>
                      <a:pt x="0" y="3"/>
                    </a:lnTo>
                    <a:lnTo>
                      <a:pt x="1" y="1"/>
                    </a:lnTo>
                    <a:lnTo>
                      <a:pt x="2" y="1"/>
                    </a:lnTo>
                    <a:lnTo>
                      <a:pt x="4" y="0"/>
                    </a:lnTo>
                    <a:lnTo>
                      <a:pt x="5"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77" name="Freeform 171"/>
              <p:cNvSpPr>
                <a:spLocks/>
              </p:cNvSpPr>
              <p:nvPr/>
            </p:nvSpPr>
            <p:spPr bwMode="auto">
              <a:xfrm>
                <a:off x="7935139" y="3521059"/>
                <a:ext cx="7022" cy="4056"/>
              </a:xfrm>
              <a:custGeom>
                <a:avLst/>
                <a:gdLst/>
                <a:ahLst/>
                <a:cxnLst>
                  <a:cxn ang="0">
                    <a:pos x="5" y="0"/>
                  </a:cxn>
                  <a:cxn ang="0">
                    <a:pos x="7" y="0"/>
                  </a:cxn>
                  <a:cxn ang="0">
                    <a:pos x="8" y="1"/>
                  </a:cxn>
                  <a:cxn ang="0">
                    <a:pos x="7" y="1"/>
                  </a:cxn>
                  <a:cxn ang="0">
                    <a:pos x="4" y="3"/>
                  </a:cxn>
                  <a:cxn ang="0">
                    <a:pos x="4" y="3"/>
                  </a:cxn>
                  <a:cxn ang="0">
                    <a:pos x="4" y="4"/>
                  </a:cxn>
                  <a:cxn ang="0">
                    <a:pos x="1" y="4"/>
                  </a:cxn>
                  <a:cxn ang="0">
                    <a:pos x="0" y="3"/>
                  </a:cxn>
                  <a:cxn ang="0">
                    <a:pos x="1" y="1"/>
                  </a:cxn>
                  <a:cxn ang="0">
                    <a:pos x="2" y="1"/>
                  </a:cxn>
                  <a:cxn ang="0">
                    <a:pos x="4" y="0"/>
                  </a:cxn>
                  <a:cxn ang="0">
                    <a:pos x="5" y="0"/>
                  </a:cxn>
                </a:cxnLst>
                <a:rect l="0" t="0" r="r" b="b"/>
                <a:pathLst>
                  <a:path w="8" h="4">
                    <a:moveTo>
                      <a:pt x="5" y="0"/>
                    </a:moveTo>
                    <a:lnTo>
                      <a:pt x="7" y="0"/>
                    </a:lnTo>
                    <a:lnTo>
                      <a:pt x="8" y="1"/>
                    </a:lnTo>
                    <a:lnTo>
                      <a:pt x="7" y="1"/>
                    </a:lnTo>
                    <a:lnTo>
                      <a:pt x="4" y="3"/>
                    </a:lnTo>
                    <a:lnTo>
                      <a:pt x="4" y="3"/>
                    </a:lnTo>
                    <a:lnTo>
                      <a:pt x="4" y="4"/>
                    </a:lnTo>
                    <a:lnTo>
                      <a:pt x="1" y="4"/>
                    </a:lnTo>
                    <a:lnTo>
                      <a:pt x="0" y="3"/>
                    </a:lnTo>
                    <a:lnTo>
                      <a:pt x="1" y="1"/>
                    </a:lnTo>
                    <a:lnTo>
                      <a:pt x="2" y="1"/>
                    </a:lnTo>
                    <a:lnTo>
                      <a:pt x="4" y="0"/>
                    </a:lnTo>
                    <a:lnTo>
                      <a:pt x="5"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78" name="Freeform 172"/>
              <p:cNvSpPr>
                <a:spLocks/>
              </p:cNvSpPr>
              <p:nvPr/>
            </p:nvSpPr>
            <p:spPr bwMode="auto">
              <a:xfrm>
                <a:off x="8115088" y="3650868"/>
                <a:ext cx="3511" cy="16227"/>
              </a:xfrm>
              <a:custGeom>
                <a:avLst/>
                <a:gdLst/>
                <a:ahLst/>
                <a:cxnLst>
                  <a:cxn ang="0">
                    <a:pos x="1" y="1"/>
                  </a:cxn>
                  <a:cxn ang="0">
                    <a:pos x="2" y="0"/>
                  </a:cxn>
                  <a:cxn ang="0">
                    <a:pos x="4" y="4"/>
                  </a:cxn>
                  <a:cxn ang="0">
                    <a:pos x="4" y="9"/>
                  </a:cxn>
                  <a:cxn ang="0">
                    <a:pos x="1" y="16"/>
                  </a:cxn>
                  <a:cxn ang="0">
                    <a:pos x="0" y="16"/>
                  </a:cxn>
                  <a:cxn ang="0">
                    <a:pos x="0" y="9"/>
                  </a:cxn>
                  <a:cxn ang="0">
                    <a:pos x="2" y="3"/>
                  </a:cxn>
                  <a:cxn ang="0">
                    <a:pos x="1" y="1"/>
                  </a:cxn>
                </a:cxnLst>
                <a:rect l="0" t="0" r="r" b="b"/>
                <a:pathLst>
                  <a:path w="4" h="16">
                    <a:moveTo>
                      <a:pt x="1" y="1"/>
                    </a:moveTo>
                    <a:lnTo>
                      <a:pt x="2" y="0"/>
                    </a:lnTo>
                    <a:lnTo>
                      <a:pt x="4" y="4"/>
                    </a:lnTo>
                    <a:lnTo>
                      <a:pt x="4" y="9"/>
                    </a:lnTo>
                    <a:lnTo>
                      <a:pt x="1" y="16"/>
                    </a:lnTo>
                    <a:lnTo>
                      <a:pt x="0" y="16"/>
                    </a:lnTo>
                    <a:lnTo>
                      <a:pt x="0" y="9"/>
                    </a:lnTo>
                    <a:lnTo>
                      <a:pt x="2" y="3"/>
                    </a:lnTo>
                    <a:lnTo>
                      <a:pt x="1" y="1"/>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79" name="Freeform 173"/>
              <p:cNvSpPr>
                <a:spLocks/>
              </p:cNvSpPr>
              <p:nvPr/>
            </p:nvSpPr>
            <p:spPr bwMode="auto">
              <a:xfrm>
                <a:off x="8115088" y="3650868"/>
                <a:ext cx="3511" cy="16227"/>
              </a:xfrm>
              <a:custGeom>
                <a:avLst/>
                <a:gdLst/>
                <a:ahLst/>
                <a:cxnLst>
                  <a:cxn ang="0">
                    <a:pos x="1" y="1"/>
                  </a:cxn>
                  <a:cxn ang="0">
                    <a:pos x="2" y="0"/>
                  </a:cxn>
                  <a:cxn ang="0">
                    <a:pos x="4" y="4"/>
                  </a:cxn>
                  <a:cxn ang="0">
                    <a:pos x="4" y="9"/>
                  </a:cxn>
                  <a:cxn ang="0">
                    <a:pos x="1" y="16"/>
                  </a:cxn>
                  <a:cxn ang="0">
                    <a:pos x="0" y="16"/>
                  </a:cxn>
                  <a:cxn ang="0">
                    <a:pos x="0" y="9"/>
                  </a:cxn>
                  <a:cxn ang="0">
                    <a:pos x="2" y="3"/>
                  </a:cxn>
                  <a:cxn ang="0">
                    <a:pos x="1" y="1"/>
                  </a:cxn>
                </a:cxnLst>
                <a:rect l="0" t="0" r="r" b="b"/>
                <a:pathLst>
                  <a:path w="4" h="16">
                    <a:moveTo>
                      <a:pt x="1" y="1"/>
                    </a:moveTo>
                    <a:lnTo>
                      <a:pt x="2" y="0"/>
                    </a:lnTo>
                    <a:lnTo>
                      <a:pt x="4" y="4"/>
                    </a:lnTo>
                    <a:lnTo>
                      <a:pt x="4" y="9"/>
                    </a:lnTo>
                    <a:lnTo>
                      <a:pt x="1" y="16"/>
                    </a:lnTo>
                    <a:lnTo>
                      <a:pt x="0" y="16"/>
                    </a:lnTo>
                    <a:lnTo>
                      <a:pt x="0" y="9"/>
                    </a:lnTo>
                    <a:lnTo>
                      <a:pt x="2" y="3"/>
                    </a:lnTo>
                    <a:lnTo>
                      <a:pt x="1" y="1"/>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80" name="Freeform 174"/>
              <p:cNvSpPr>
                <a:spLocks/>
              </p:cNvSpPr>
              <p:nvPr/>
            </p:nvSpPr>
            <p:spPr bwMode="auto">
              <a:xfrm>
                <a:off x="8119477" y="3694476"/>
                <a:ext cx="2633" cy="4056"/>
              </a:xfrm>
              <a:custGeom>
                <a:avLst/>
                <a:gdLst/>
                <a:ahLst/>
                <a:cxnLst>
                  <a:cxn ang="0">
                    <a:pos x="2" y="0"/>
                  </a:cxn>
                  <a:cxn ang="0">
                    <a:pos x="2" y="0"/>
                  </a:cxn>
                  <a:cxn ang="0">
                    <a:pos x="3" y="0"/>
                  </a:cxn>
                  <a:cxn ang="0">
                    <a:pos x="2" y="4"/>
                  </a:cxn>
                  <a:cxn ang="0">
                    <a:pos x="2" y="3"/>
                  </a:cxn>
                  <a:cxn ang="0">
                    <a:pos x="0" y="2"/>
                  </a:cxn>
                  <a:cxn ang="0">
                    <a:pos x="2" y="0"/>
                  </a:cxn>
                  <a:cxn ang="0">
                    <a:pos x="0" y="2"/>
                  </a:cxn>
                  <a:cxn ang="0">
                    <a:pos x="2" y="0"/>
                  </a:cxn>
                </a:cxnLst>
                <a:rect l="0" t="0" r="r" b="b"/>
                <a:pathLst>
                  <a:path w="3" h="4">
                    <a:moveTo>
                      <a:pt x="2" y="0"/>
                    </a:moveTo>
                    <a:lnTo>
                      <a:pt x="2" y="0"/>
                    </a:lnTo>
                    <a:lnTo>
                      <a:pt x="3" y="0"/>
                    </a:lnTo>
                    <a:lnTo>
                      <a:pt x="2" y="4"/>
                    </a:lnTo>
                    <a:lnTo>
                      <a:pt x="2" y="3"/>
                    </a:lnTo>
                    <a:lnTo>
                      <a:pt x="0" y="2"/>
                    </a:lnTo>
                    <a:lnTo>
                      <a:pt x="2" y="0"/>
                    </a:lnTo>
                    <a:lnTo>
                      <a:pt x="0" y="2"/>
                    </a:lnTo>
                    <a:lnTo>
                      <a:pt x="2"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81" name="Freeform 175"/>
              <p:cNvSpPr>
                <a:spLocks/>
              </p:cNvSpPr>
              <p:nvPr/>
            </p:nvSpPr>
            <p:spPr bwMode="auto">
              <a:xfrm>
                <a:off x="8119477" y="3694476"/>
                <a:ext cx="2633" cy="4056"/>
              </a:xfrm>
              <a:custGeom>
                <a:avLst/>
                <a:gdLst/>
                <a:ahLst/>
                <a:cxnLst>
                  <a:cxn ang="0">
                    <a:pos x="2" y="0"/>
                  </a:cxn>
                  <a:cxn ang="0">
                    <a:pos x="2" y="0"/>
                  </a:cxn>
                  <a:cxn ang="0">
                    <a:pos x="3" y="0"/>
                  </a:cxn>
                  <a:cxn ang="0">
                    <a:pos x="2" y="4"/>
                  </a:cxn>
                  <a:cxn ang="0">
                    <a:pos x="2" y="3"/>
                  </a:cxn>
                  <a:cxn ang="0">
                    <a:pos x="0" y="2"/>
                  </a:cxn>
                  <a:cxn ang="0">
                    <a:pos x="2" y="0"/>
                  </a:cxn>
                  <a:cxn ang="0">
                    <a:pos x="0" y="2"/>
                  </a:cxn>
                  <a:cxn ang="0">
                    <a:pos x="2" y="0"/>
                  </a:cxn>
                </a:cxnLst>
                <a:rect l="0" t="0" r="r" b="b"/>
                <a:pathLst>
                  <a:path w="3" h="4">
                    <a:moveTo>
                      <a:pt x="2" y="0"/>
                    </a:moveTo>
                    <a:lnTo>
                      <a:pt x="2" y="0"/>
                    </a:lnTo>
                    <a:lnTo>
                      <a:pt x="3" y="0"/>
                    </a:lnTo>
                    <a:lnTo>
                      <a:pt x="2" y="4"/>
                    </a:lnTo>
                    <a:lnTo>
                      <a:pt x="2" y="3"/>
                    </a:lnTo>
                    <a:lnTo>
                      <a:pt x="0" y="2"/>
                    </a:lnTo>
                    <a:lnTo>
                      <a:pt x="2" y="0"/>
                    </a:lnTo>
                    <a:lnTo>
                      <a:pt x="0" y="2"/>
                    </a:lnTo>
                    <a:lnTo>
                      <a:pt x="2"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82" name="Freeform 176"/>
              <p:cNvSpPr>
                <a:spLocks/>
              </p:cNvSpPr>
              <p:nvPr/>
            </p:nvSpPr>
            <p:spPr bwMode="auto">
              <a:xfrm>
                <a:off x="7900027" y="3837468"/>
                <a:ext cx="20189" cy="8113"/>
              </a:xfrm>
              <a:custGeom>
                <a:avLst/>
                <a:gdLst/>
                <a:ahLst/>
                <a:cxnLst>
                  <a:cxn ang="0">
                    <a:pos x="0" y="4"/>
                  </a:cxn>
                  <a:cxn ang="0">
                    <a:pos x="1" y="3"/>
                  </a:cxn>
                  <a:cxn ang="0">
                    <a:pos x="11" y="0"/>
                  </a:cxn>
                  <a:cxn ang="0">
                    <a:pos x="14" y="1"/>
                  </a:cxn>
                  <a:cxn ang="0">
                    <a:pos x="14" y="3"/>
                  </a:cxn>
                  <a:cxn ang="0">
                    <a:pos x="20" y="4"/>
                  </a:cxn>
                  <a:cxn ang="0">
                    <a:pos x="22" y="5"/>
                  </a:cxn>
                  <a:cxn ang="0">
                    <a:pos x="16" y="5"/>
                  </a:cxn>
                  <a:cxn ang="0">
                    <a:pos x="16" y="7"/>
                  </a:cxn>
                  <a:cxn ang="0">
                    <a:pos x="13" y="8"/>
                  </a:cxn>
                  <a:cxn ang="0">
                    <a:pos x="11" y="8"/>
                  </a:cxn>
                  <a:cxn ang="0">
                    <a:pos x="1" y="7"/>
                  </a:cxn>
                  <a:cxn ang="0">
                    <a:pos x="0" y="5"/>
                  </a:cxn>
                  <a:cxn ang="0">
                    <a:pos x="0" y="4"/>
                  </a:cxn>
                </a:cxnLst>
                <a:rect l="0" t="0" r="r" b="b"/>
                <a:pathLst>
                  <a:path w="22" h="8">
                    <a:moveTo>
                      <a:pt x="0" y="4"/>
                    </a:moveTo>
                    <a:lnTo>
                      <a:pt x="1" y="3"/>
                    </a:lnTo>
                    <a:lnTo>
                      <a:pt x="11" y="0"/>
                    </a:lnTo>
                    <a:lnTo>
                      <a:pt x="14" y="1"/>
                    </a:lnTo>
                    <a:lnTo>
                      <a:pt x="14" y="3"/>
                    </a:lnTo>
                    <a:lnTo>
                      <a:pt x="20" y="4"/>
                    </a:lnTo>
                    <a:lnTo>
                      <a:pt x="22" y="5"/>
                    </a:lnTo>
                    <a:lnTo>
                      <a:pt x="16" y="5"/>
                    </a:lnTo>
                    <a:lnTo>
                      <a:pt x="16" y="7"/>
                    </a:lnTo>
                    <a:lnTo>
                      <a:pt x="13" y="8"/>
                    </a:lnTo>
                    <a:lnTo>
                      <a:pt x="11" y="8"/>
                    </a:lnTo>
                    <a:lnTo>
                      <a:pt x="1" y="7"/>
                    </a:lnTo>
                    <a:lnTo>
                      <a:pt x="0" y="5"/>
                    </a:lnTo>
                    <a:lnTo>
                      <a:pt x="0" y="4"/>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83" name="Freeform 177"/>
              <p:cNvSpPr>
                <a:spLocks/>
              </p:cNvSpPr>
              <p:nvPr/>
            </p:nvSpPr>
            <p:spPr bwMode="auto">
              <a:xfrm>
                <a:off x="7900027" y="3837468"/>
                <a:ext cx="20189" cy="8113"/>
              </a:xfrm>
              <a:custGeom>
                <a:avLst/>
                <a:gdLst/>
                <a:ahLst/>
                <a:cxnLst>
                  <a:cxn ang="0">
                    <a:pos x="0" y="4"/>
                  </a:cxn>
                  <a:cxn ang="0">
                    <a:pos x="1" y="3"/>
                  </a:cxn>
                  <a:cxn ang="0">
                    <a:pos x="11" y="0"/>
                  </a:cxn>
                  <a:cxn ang="0">
                    <a:pos x="14" y="1"/>
                  </a:cxn>
                  <a:cxn ang="0">
                    <a:pos x="14" y="3"/>
                  </a:cxn>
                  <a:cxn ang="0">
                    <a:pos x="20" y="4"/>
                  </a:cxn>
                  <a:cxn ang="0">
                    <a:pos x="22" y="5"/>
                  </a:cxn>
                  <a:cxn ang="0">
                    <a:pos x="16" y="5"/>
                  </a:cxn>
                  <a:cxn ang="0">
                    <a:pos x="16" y="7"/>
                  </a:cxn>
                  <a:cxn ang="0">
                    <a:pos x="13" y="8"/>
                  </a:cxn>
                  <a:cxn ang="0">
                    <a:pos x="11" y="8"/>
                  </a:cxn>
                  <a:cxn ang="0">
                    <a:pos x="1" y="7"/>
                  </a:cxn>
                  <a:cxn ang="0">
                    <a:pos x="0" y="5"/>
                  </a:cxn>
                  <a:cxn ang="0">
                    <a:pos x="0" y="4"/>
                  </a:cxn>
                </a:cxnLst>
                <a:rect l="0" t="0" r="r" b="b"/>
                <a:pathLst>
                  <a:path w="22" h="8">
                    <a:moveTo>
                      <a:pt x="0" y="4"/>
                    </a:moveTo>
                    <a:lnTo>
                      <a:pt x="1" y="3"/>
                    </a:lnTo>
                    <a:lnTo>
                      <a:pt x="11" y="0"/>
                    </a:lnTo>
                    <a:lnTo>
                      <a:pt x="14" y="1"/>
                    </a:lnTo>
                    <a:lnTo>
                      <a:pt x="14" y="3"/>
                    </a:lnTo>
                    <a:lnTo>
                      <a:pt x="20" y="4"/>
                    </a:lnTo>
                    <a:lnTo>
                      <a:pt x="22" y="5"/>
                    </a:lnTo>
                    <a:lnTo>
                      <a:pt x="16" y="5"/>
                    </a:lnTo>
                    <a:lnTo>
                      <a:pt x="16" y="7"/>
                    </a:lnTo>
                    <a:lnTo>
                      <a:pt x="13" y="8"/>
                    </a:lnTo>
                    <a:lnTo>
                      <a:pt x="11" y="8"/>
                    </a:lnTo>
                    <a:lnTo>
                      <a:pt x="1" y="7"/>
                    </a:lnTo>
                    <a:lnTo>
                      <a:pt x="0" y="5"/>
                    </a:lnTo>
                    <a:lnTo>
                      <a:pt x="0" y="4"/>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84" name="Freeform 178"/>
              <p:cNvSpPr>
                <a:spLocks/>
              </p:cNvSpPr>
              <p:nvPr/>
            </p:nvSpPr>
            <p:spPr bwMode="auto">
              <a:xfrm>
                <a:off x="8048375" y="3914542"/>
                <a:ext cx="6145" cy="10141"/>
              </a:xfrm>
              <a:custGeom>
                <a:avLst/>
                <a:gdLst/>
                <a:ahLst/>
                <a:cxnLst>
                  <a:cxn ang="0">
                    <a:pos x="0" y="1"/>
                  </a:cxn>
                  <a:cxn ang="0">
                    <a:pos x="1" y="0"/>
                  </a:cxn>
                  <a:cxn ang="0">
                    <a:pos x="6" y="4"/>
                  </a:cxn>
                  <a:cxn ang="0">
                    <a:pos x="7" y="7"/>
                  </a:cxn>
                  <a:cxn ang="0">
                    <a:pos x="7" y="10"/>
                  </a:cxn>
                  <a:cxn ang="0">
                    <a:pos x="4" y="10"/>
                  </a:cxn>
                  <a:cxn ang="0">
                    <a:pos x="3" y="7"/>
                  </a:cxn>
                  <a:cxn ang="0">
                    <a:pos x="1" y="4"/>
                  </a:cxn>
                  <a:cxn ang="0">
                    <a:pos x="0" y="3"/>
                  </a:cxn>
                  <a:cxn ang="0">
                    <a:pos x="0" y="1"/>
                  </a:cxn>
                </a:cxnLst>
                <a:rect l="0" t="0" r="r" b="b"/>
                <a:pathLst>
                  <a:path w="7" h="10">
                    <a:moveTo>
                      <a:pt x="0" y="1"/>
                    </a:moveTo>
                    <a:lnTo>
                      <a:pt x="1" y="0"/>
                    </a:lnTo>
                    <a:lnTo>
                      <a:pt x="6" y="4"/>
                    </a:lnTo>
                    <a:lnTo>
                      <a:pt x="7" y="7"/>
                    </a:lnTo>
                    <a:lnTo>
                      <a:pt x="7" y="10"/>
                    </a:lnTo>
                    <a:lnTo>
                      <a:pt x="4" y="10"/>
                    </a:lnTo>
                    <a:lnTo>
                      <a:pt x="3" y="7"/>
                    </a:lnTo>
                    <a:lnTo>
                      <a:pt x="1" y="4"/>
                    </a:lnTo>
                    <a:lnTo>
                      <a:pt x="0" y="3"/>
                    </a:lnTo>
                    <a:lnTo>
                      <a:pt x="0" y="1"/>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85" name="Freeform 179"/>
              <p:cNvSpPr>
                <a:spLocks/>
              </p:cNvSpPr>
              <p:nvPr/>
            </p:nvSpPr>
            <p:spPr bwMode="auto">
              <a:xfrm>
                <a:off x="8048375" y="3914542"/>
                <a:ext cx="6145" cy="10141"/>
              </a:xfrm>
              <a:custGeom>
                <a:avLst/>
                <a:gdLst/>
                <a:ahLst/>
                <a:cxnLst>
                  <a:cxn ang="0">
                    <a:pos x="0" y="1"/>
                  </a:cxn>
                  <a:cxn ang="0">
                    <a:pos x="1" y="0"/>
                  </a:cxn>
                  <a:cxn ang="0">
                    <a:pos x="6" y="4"/>
                  </a:cxn>
                  <a:cxn ang="0">
                    <a:pos x="7" y="7"/>
                  </a:cxn>
                  <a:cxn ang="0">
                    <a:pos x="7" y="10"/>
                  </a:cxn>
                  <a:cxn ang="0">
                    <a:pos x="4" y="10"/>
                  </a:cxn>
                  <a:cxn ang="0">
                    <a:pos x="3" y="7"/>
                  </a:cxn>
                  <a:cxn ang="0">
                    <a:pos x="1" y="4"/>
                  </a:cxn>
                  <a:cxn ang="0">
                    <a:pos x="0" y="3"/>
                  </a:cxn>
                  <a:cxn ang="0">
                    <a:pos x="0" y="1"/>
                  </a:cxn>
                </a:cxnLst>
                <a:rect l="0" t="0" r="r" b="b"/>
                <a:pathLst>
                  <a:path w="7" h="10">
                    <a:moveTo>
                      <a:pt x="0" y="1"/>
                    </a:moveTo>
                    <a:lnTo>
                      <a:pt x="1" y="0"/>
                    </a:lnTo>
                    <a:lnTo>
                      <a:pt x="6" y="4"/>
                    </a:lnTo>
                    <a:lnTo>
                      <a:pt x="7" y="7"/>
                    </a:lnTo>
                    <a:lnTo>
                      <a:pt x="7" y="10"/>
                    </a:lnTo>
                    <a:lnTo>
                      <a:pt x="4" y="10"/>
                    </a:lnTo>
                    <a:lnTo>
                      <a:pt x="3" y="7"/>
                    </a:lnTo>
                    <a:lnTo>
                      <a:pt x="1" y="4"/>
                    </a:lnTo>
                    <a:lnTo>
                      <a:pt x="0" y="3"/>
                    </a:lnTo>
                    <a:lnTo>
                      <a:pt x="0" y="1"/>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86" name="Freeform 180"/>
              <p:cNvSpPr>
                <a:spLocks/>
              </p:cNvSpPr>
              <p:nvPr/>
            </p:nvSpPr>
            <p:spPr bwMode="auto">
              <a:xfrm>
                <a:off x="8051008" y="3925699"/>
                <a:ext cx="5267" cy="3042"/>
              </a:xfrm>
              <a:custGeom>
                <a:avLst/>
                <a:gdLst/>
                <a:ahLst/>
                <a:cxnLst>
                  <a:cxn ang="0">
                    <a:pos x="1" y="2"/>
                  </a:cxn>
                  <a:cxn ang="0">
                    <a:pos x="0" y="0"/>
                  </a:cxn>
                  <a:cxn ang="0">
                    <a:pos x="4" y="0"/>
                  </a:cxn>
                  <a:cxn ang="0">
                    <a:pos x="6" y="0"/>
                  </a:cxn>
                  <a:cxn ang="0">
                    <a:pos x="6" y="2"/>
                  </a:cxn>
                  <a:cxn ang="0">
                    <a:pos x="4" y="3"/>
                  </a:cxn>
                  <a:cxn ang="0">
                    <a:pos x="1" y="2"/>
                  </a:cxn>
                </a:cxnLst>
                <a:rect l="0" t="0" r="r" b="b"/>
                <a:pathLst>
                  <a:path w="6" h="3">
                    <a:moveTo>
                      <a:pt x="1" y="2"/>
                    </a:moveTo>
                    <a:lnTo>
                      <a:pt x="0" y="0"/>
                    </a:lnTo>
                    <a:lnTo>
                      <a:pt x="4" y="0"/>
                    </a:lnTo>
                    <a:lnTo>
                      <a:pt x="6" y="0"/>
                    </a:lnTo>
                    <a:lnTo>
                      <a:pt x="6" y="2"/>
                    </a:lnTo>
                    <a:lnTo>
                      <a:pt x="4" y="3"/>
                    </a:lnTo>
                    <a:lnTo>
                      <a:pt x="1" y="2"/>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87" name="Freeform 181"/>
              <p:cNvSpPr>
                <a:spLocks/>
              </p:cNvSpPr>
              <p:nvPr/>
            </p:nvSpPr>
            <p:spPr bwMode="auto">
              <a:xfrm>
                <a:off x="8051008" y="3925699"/>
                <a:ext cx="5267" cy="3042"/>
              </a:xfrm>
              <a:custGeom>
                <a:avLst/>
                <a:gdLst/>
                <a:ahLst/>
                <a:cxnLst>
                  <a:cxn ang="0">
                    <a:pos x="1" y="2"/>
                  </a:cxn>
                  <a:cxn ang="0">
                    <a:pos x="0" y="0"/>
                  </a:cxn>
                  <a:cxn ang="0">
                    <a:pos x="4" y="0"/>
                  </a:cxn>
                  <a:cxn ang="0">
                    <a:pos x="6" y="0"/>
                  </a:cxn>
                  <a:cxn ang="0">
                    <a:pos x="6" y="2"/>
                  </a:cxn>
                  <a:cxn ang="0">
                    <a:pos x="4" y="3"/>
                  </a:cxn>
                  <a:cxn ang="0">
                    <a:pos x="1" y="2"/>
                  </a:cxn>
                </a:cxnLst>
                <a:rect l="0" t="0" r="r" b="b"/>
                <a:pathLst>
                  <a:path w="6" h="3">
                    <a:moveTo>
                      <a:pt x="1" y="2"/>
                    </a:moveTo>
                    <a:lnTo>
                      <a:pt x="0" y="0"/>
                    </a:lnTo>
                    <a:lnTo>
                      <a:pt x="4" y="0"/>
                    </a:lnTo>
                    <a:lnTo>
                      <a:pt x="6" y="0"/>
                    </a:lnTo>
                    <a:lnTo>
                      <a:pt x="6" y="2"/>
                    </a:lnTo>
                    <a:lnTo>
                      <a:pt x="4" y="3"/>
                    </a:lnTo>
                    <a:lnTo>
                      <a:pt x="1" y="2"/>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88" name="Freeform 182"/>
              <p:cNvSpPr>
                <a:spLocks/>
              </p:cNvSpPr>
              <p:nvPr/>
            </p:nvSpPr>
            <p:spPr bwMode="auto">
              <a:xfrm>
                <a:off x="8007996" y="3931783"/>
                <a:ext cx="48279" cy="59833"/>
              </a:xfrm>
              <a:custGeom>
                <a:avLst/>
                <a:gdLst/>
                <a:ahLst/>
                <a:cxnLst>
                  <a:cxn ang="0">
                    <a:pos x="0" y="0"/>
                  </a:cxn>
                  <a:cxn ang="0">
                    <a:pos x="0" y="2"/>
                  </a:cxn>
                  <a:cxn ang="0">
                    <a:pos x="5" y="3"/>
                  </a:cxn>
                  <a:cxn ang="0">
                    <a:pos x="6" y="3"/>
                  </a:cxn>
                  <a:cxn ang="0">
                    <a:pos x="8" y="3"/>
                  </a:cxn>
                  <a:cxn ang="0">
                    <a:pos x="18" y="9"/>
                  </a:cxn>
                  <a:cxn ang="0">
                    <a:pos x="27" y="10"/>
                  </a:cxn>
                  <a:cxn ang="0">
                    <a:pos x="32" y="7"/>
                  </a:cxn>
                  <a:cxn ang="0">
                    <a:pos x="38" y="6"/>
                  </a:cxn>
                  <a:cxn ang="0">
                    <a:pos x="41" y="3"/>
                  </a:cxn>
                  <a:cxn ang="0">
                    <a:pos x="44" y="5"/>
                  </a:cxn>
                  <a:cxn ang="0">
                    <a:pos x="45" y="3"/>
                  </a:cxn>
                  <a:cxn ang="0">
                    <a:pos x="48" y="3"/>
                  </a:cxn>
                  <a:cxn ang="0">
                    <a:pos x="50" y="6"/>
                  </a:cxn>
                  <a:cxn ang="0">
                    <a:pos x="51" y="28"/>
                  </a:cxn>
                  <a:cxn ang="0">
                    <a:pos x="53" y="29"/>
                  </a:cxn>
                  <a:cxn ang="0">
                    <a:pos x="51" y="32"/>
                  </a:cxn>
                  <a:cxn ang="0">
                    <a:pos x="51" y="28"/>
                  </a:cxn>
                  <a:cxn ang="0">
                    <a:pos x="50" y="25"/>
                  </a:cxn>
                  <a:cxn ang="0">
                    <a:pos x="47" y="32"/>
                  </a:cxn>
                  <a:cxn ang="0">
                    <a:pos x="47" y="35"/>
                  </a:cxn>
                  <a:cxn ang="0">
                    <a:pos x="45" y="35"/>
                  </a:cxn>
                  <a:cxn ang="0">
                    <a:pos x="45" y="41"/>
                  </a:cxn>
                  <a:cxn ang="0">
                    <a:pos x="44" y="41"/>
                  </a:cxn>
                  <a:cxn ang="0">
                    <a:pos x="43" y="41"/>
                  </a:cxn>
                  <a:cxn ang="0">
                    <a:pos x="41" y="41"/>
                  </a:cxn>
                  <a:cxn ang="0">
                    <a:pos x="40" y="42"/>
                  </a:cxn>
                  <a:cxn ang="0">
                    <a:pos x="40" y="44"/>
                  </a:cxn>
                  <a:cxn ang="0">
                    <a:pos x="40" y="47"/>
                  </a:cxn>
                  <a:cxn ang="0">
                    <a:pos x="37" y="47"/>
                  </a:cxn>
                  <a:cxn ang="0">
                    <a:pos x="37" y="50"/>
                  </a:cxn>
                  <a:cxn ang="0">
                    <a:pos x="35" y="48"/>
                  </a:cxn>
                  <a:cxn ang="0">
                    <a:pos x="34" y="48"/>
                  </a:cxn>
                  <a:cxn ang="0">
                    <a:pos x="32" y="50"/>
                  </a:cxn>
                  <a:cxn ang="0">
                    <a:pos x="32" y="54"/>
                  </a:cxn>
                  <a:cxn ang="0">
                    <a:pos x="31" y="57"/>
                  </a:cxn>
                  <a:cxn ang="0">
                    <a:pos x="29" y="57"/>
                  </a:cxn>
                  <a:cxn ang="0">
                    <a:pos x="27" y="55"/>
                  </a:cxn>
                  <a:cxn ang="0">
                    <a:pos x="25" y="55"/>
                  </a:cxn>
                  <a:cxn ang="0">
                    <a:pos x="24" y="55"/>
                  </a:cxn>
                  <a:cxn ang="0">
                    <a:pos x="21" y="54"/>
                  </a:cxn>
                  <a:cxn ang="0">
                    <a:pos x="19" y="54"/>
                  </a:cxn>
                  <a:cxn ang="0">
                    <a:pos x="18" y="53"/>
                  </a:cxn>
                  <a:cxn ang="0">
                    <a:pos x="19" y="53"/>
                  </a:cxn>
                  <a:cxn ang="0">
                    <a:pos x="21" y="51"/>
                  </a:cxn>
                  <a:cxn ang="0">
                    <a:pos x="18" y="51"/>
                  </a:cxn>
                  <a:cxn ang="0">
                    <a:pos x="16" y="50"/>
                  </a:cxn>
                  <a:cxn ang="0">
                    <a:pos x="9" y="39"/>
                  </a:cxn>
                  <a:cxn ang="0">
                    <a:pos x="6" y="28"/>
                  </a:cxn>
                  <a:cxn ang="0">
                    <a:pos x="9" y="34"/>
                  </a:cxn>
                  <a:cxn ang="0">
                    <a:pos x="12" y="31"/>
                  </a:cxn>
                  <a:cxn ang="0">
                    <a:pos x="9" y="29"/>
                  </a:cxn>
                  <a:cxn ang="0">
                    <a:pos x="0" y="10"/>
                  </a:cxn>
                  <a:cxn ang="0">
                    <a:pos x="0" y="0"/>
                  </a:cxn>
                </a:cxnLst>
                <a:rect l="0" t="0" r="r" b="b"/>
                <a:pathLst>
                  <a:path w="53" h="57">
                    <a:moveTo>
                      <a:pt x="0" y="0"/>
                    </a:moveTo>
                    <a:lnTo>
                      <a:pt x="0" y="2"/>
                    </a:lnTo>
                    <a:lnTo>
                      <a:pt x="5" y="3"/>
                    </a:lnTo>
                    <a:lnTo>
                      <a:pt x="6" y="3"/>
                    </a:lnTo>
                    <a:lnTo>
                      <a:pt x="8" y="3"/>
                    </a:lnTo>
                    <a:lnTo>
                      <a:pt x="18" y="9"/>
                    </a:lnTo>
                    <a:lnTo>
                      <a:pt x="27" y="10"/>
                    </a:lnTo>
                    <a:lnTo>
                      <a:pt x="32" y="7"/>
                    </a:lnTo>
                    <a:lnTo>
                      <a:pt x="38" y="6"/>
                    </a:lnTo>
                    <a:lnTo>
                      <a:pt x="41" y="3"/>
                    </a:lnTo>
                    <a:lnTo>
                      <a:pt x="44" y="5"/>
                    </a:lnTo>
                    <a:lnTo>
                      <a:pt x="45" y="3"/>
                    </a:lnTo>
                    <a:lnTo>
                      <a:pt x="48" y="3"/>
                    </a:lnTo>
                    <a:lnTo>
                      <a:pt x="50" y="6"/>
                    </a:lnTo>
                    <a:lnTo>
                      <a:pt x="51" y="28"/>
                    </a:lnTo>
                    <a:lnTo>
                      <a:pt x="53" y="29"/>
                    </a:lnTo>
                    <a:lnTo>
                      <a:pt x="51" y="32"/>
                    </a:lnTo>
                    <a:lnTo>
                      <a:pt x="51" y="28"/>
                    </a:lnTo>
                    <a:lnTo>
                      <a:pt x="50" y="25"/>
                    </a:lnTo>
                    <a:lnTo>
                      <a:pt x="47" y="32"/>
                    </a:lnTo>
                    <a:lnTo>
                      <a:pt x="47" y="35"/>
                    </a:lnTo>
                    <a:lnTo>
                      <a:pt x="45" y="35"/>
                    </a:lnTo>
                    <a:lnTo>
                      <a:pt x="45" y="41"/>
                    </a:lnTo>
                    <a:lnTo>
                      <a:pt x="44" y="41"/>
                    </a:lnTo>
                    <a:lnTo>
                      <a:pt x="43" y="41"/>
                    </a:lnTo>
                    <a:lnTo>
                      <a:pt x="41" y="41"/>
                    </a:lnTo>
                    <a:lnTo>
                      <a:pt x="40" y="42"/>
                    </a:lnTo>
                    <a:lnTo>
                      <a:pt x="40" y="44"/>
                    </a:lnTo>
                    <a:lnTo>
                      <a:pt x="40" y="47"/>
                    </a:lnTo>
                    <a:lnTo>
                      <a:pt x="37" y="47"/>
                    </a:lnTo>
                    <a:lnTo>
                      <a:pt x="37" y="50"/>
                    </a:lnTo>
                    <a:lnTo>
                      <a:pt x="35" y="48"/>
                    </a:lnTo>
                    <a:lnTo>
                      <a:pt x="34" y="48"/>
                    </a:lnTo>
                    <a:lnTo>
                      <a:pt x="32" y="50"/>
                    </a:lnTo>
                    <a:lnTo>
                      <a:pt x="32" y="54"/>
                    </a:lnTo>
                    <a:lnTo>
                      <a:pt x="31" y="57"/>
                    </a:lnTo>
                    <a:lnTo>
                      <a:pt x="29" y="57"/>
                    </a:lnTo>
                    <a:lnTo>
                      <a:pt x="27" y="55"/>
                    </a:lnTo>
                    <a:lnTo>
                      <a:pt x="25" y="55"/>
                    </a:lnTo>
                    <a:lnTo>
                      <a:pt x="24" y="55"/>
                    </a:lnTo>
                    <a:lnTo>
                      <a:pt x="21" y="54"/>
                    </a:lnTo>
                    <a:lnTo>
                      <a:pt x="19" y="54"/>
                    </a:lnTo>
                    <a:lnTo>
                      <a:pt x="18" y="53"/>
                    </a:lnTo>
                    <a:lnTo>
                      <a:pt x="19" y="53"/>
                    </a:lnTo>
                    <a:lnTo>
                      <a:pt x="21" y="51"/>
                    </a:lnTo>
                    <a:lnTo>
                      <a:pt x="18" y="51"/>
                    </a:lnTo>
                    <a:lnTo>
                      <a:pt x="16" y="50"/>
                    </a:lnTo>
                    <a:lnTo>
                      <a:pt x="9" y="39"/>
                    </a:lnTo>
                    <a:lnTo>
                      <a:pt x="6" y="28"/>
                    </a:lnTo>
                    <a:lnTo>
                      <a:pt x="9" y="34"/>
                    </a:lnTo>
                    <a:lnTo>
                      <a:pt x="12" y="31"/>
                    </a:lnTo>
                    <a:lnTo>
                      <a:pt x="9" y="29"/>
                    </a:lnTo>
                    <a:lnTo>
                      <a:pt x="0" y="10"/>
                    </a:lnTo>
                    <a:lnTo>
                      <a:pt x="0"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89" name="Freeform 184"/>
              <p:cNvSpPr>
                <a:spLocks/>
              </p:cNvSpPr>
              <p:nvPr/>
            </p:nvSpPr>
            <p:spPr bwMode="auto">
              <a:xfrm>
                <a:off x="7594552" y="3433844"/>
                <a:ext cx="527558" cy="470557"/>
              </a:xfrm>
              <a:custGeom>
                <a:avLst/>
                <a:gdLst/>
                <a:ahLst/>
                <a:cxnLst>
                  <a:cxn ang="0">
                    <a:pos x="25" y="163"/>
                  </a:cxn>
                  <a:cxn ang="0">
                    <a:pos x="64" y="145"/>
                  </a:cxn>
                  <a:cxn ang="0">
                    <a:pos x="122" y="113"/>
                  </a:cxn>
                  <a:cxn ang="0">
                    <a:pos x="135" y="87"/>
                  </a:cxn>
                  <a:cxn ang="0">
                    <a:pos x="150" y="89"/>
                  </a:cxn>
                  <a:cxn ang="0">
                    <a:pos x="159" y="81"/>
                  </a:cxn>
                  <a:cxn ang="0">
                    <a:pos x="167" y="63"/>
                  </a:cxn>
                  <a:cxn ang="0">
                    <a:pos x="182" y="48"/>
                  </a:cxn>
                  <a:cxn ang="0">
                    <a:pos x="192" y="45"/>
                  </a:cxn>
                  <a:cxn ang="0">
                    <a:pos x="212" y="66"/>
                  </a:cxn>
                  <a:cxn ang="0">
                    <a:pos x="233" y="66"/>
                  </a:cxn>
                  <a:cxn ang="0">
                    <a:pos x="237" y="41"/>
                  </a:cxn>
                  <a:cxn ang="0">
                    <a:pos x="252" y="28"/>
                  </a:cxn>
                  <a:cxn ang="0">
                    <a:pos x="273" y="12"/>
                  </a:cxn>
                  <a:cxn ang="0">
                    <a:pos x="269" y="12"/>
                  </a:cxn>
                  <a:cxn ang="0">
                    <a:pos x="281" y="13"/>
                  </a:cxn>
                  <a:cxn ang="0">
                    <a:pos x="301" y="19"/>
                  </a:cxn>
                  <a:cxn ang="0">
                    <a:pos x="323" y="18"/>
                  </a:cxn>
                  <a:cxn ang="0">
                    <a:pos x="328" y="20"/>
                  </a:cxn>
                  <a:cxn ang="0">
                    <a:pos x="331" y="31"/>
                  </a:cxn>
                  <a:cxn ang="0">
                    <a:pos x="323" y="44"/>
                  </a:cxn>
                  <a:cxn ang="0">
                    <a:pos x="331" y="73"/>
                  </a:cxn>
                  <a:cxn ang="0">
                    <a:pos x="382" y="103"/>
                  </a:cxn>
                  <a:cxn ang="0">
                    <a:pos x="408" y="19"/>
                  </a:cxn>
                  <a:cxn ang="0">
                    <a:pos x="421" y="3"/>
                  </a:cxn>
                  <a:cxn ang="0">
                    <a:pos x="433" y="39"/>
                  </a:cxn>
                  <a:cxn ang="0">
                    <a:pos x="455" y="60"/>
                  </a:cxn>
                  <a:cxn ang="0">
                    <a:pos x="469" y="106"/>
                  </a:cxn>
                  <a:cxn ang="0">
                    <a:pos x="474" y="122"/>
                  </a:cxn>
                  <a:cxn ang="0">
                    <a:pos x="501" y="138"/>
                  </a:cxn>
                  <a:cxn ang="0">
                    <a:pos x="519" y="169"/>
                  </a:cxn>
                  <a:cxn ang="0">
                    <a:pos x="533" y="172"/>
                  </a:cxn>
                  <a:cxn ang="0">
                    <a:pos x="558" y="208"/>
                  </a:cxn>
                  <a:cxn ang="0">
                    <a:pos x="569" y="244"/>
                  </a:cxn>
                  <a:cxn ang="0">
                    <a:pos x="567" y="314"/>
                  </a:cxn>
                  <a:cxn ang="0">
                    <a:pos x="543" y="352"/>
                  </a:cxn>
                  <a:cxn ang="0">
                    <a:pos x="532" y="384"/>
                  </a:cxn>
                  <a:cxn ang="0">
                    <a:pos x="522" y="422"/>
                  </a:cxn>
                  <a:cxn ang="0">
                    <a:pos x="472" y="442"/>
                  </a:cxn>
                  <a:cxn ang="0">
                    <a:pos x="466" y="442"/>
                  </a:cxn>
                  <a:cxn ang="0">
                    <a:pos x="455" y="432"/>
                  </a:cxn>
                  <a:cxn ang="0">
                    <a:pos x="429" y="443"/>
                  </a:cxn>
                  <a:cxn ang="0">
                    <a:pos x="378" y="411"/>
                  </a:cxn>
                  <a:cxn ang="0">
                    <a:pos x="356" y="388"/>
                  </a:cxn>
                  <a:cxn ang="0">
                    <a:pos x="342" y="381"/>
                  </a:cxn>
                  <a:cxn ang="0">
                    <a:pos x="352" y="352"/>
                  </a:cxn>
                  <a:cxn ang="0">
                    <a:pos x="343" y="350"/>
                  </a:cxn>
                  <a:cxn ang="0">
                    <a:pos x="323" y="374"/>
                  </a:cxn>
                  <a:cxn ang="0">
                    <a:pos x="317" y="368"/>
                  </a:cxn>
                  <a:cxn ang="0">
                    <a:pos x="298" y="339"/>
                  </a:cxn>
                  <a:cxn ang="0">
                    <a:pos x="273" y="326"/>
                  </a:cxn>
                  <a:cxn ang="0">
                    <a:pos x="170" y="336"/>
                  </a:cxn>
                  <a:cxn ang="0">
                    <a:pos x="127" y="356"/>
                  </a:cxn>
                  <a:cxn ang="0">
                    <a:pos x="82" y="368"/>
                  </a:cxn>
                  <a:cxn ang="0">
                    <a:pos x="47" y="374"/>
                  </a:cxn>
                  <a:cxn ang="0">
                    <a:pos x="37" y="342"/>
                  </a:cxn>
                  <a:cxn ang="0">
                    <a:pos x="13" y="254"/>
                  </a:cxn>
                  <a:cxn ang="0">
                    <a:pos x="3" y="234"/>
                  </a:cxn>
                  <a:cxn ang="0">
                    <a:pos x="8" y="231"/>
                  </a:cxn>
                  <a:cxn ang="0">
                    <a:pos x="2" y="204"/>
                  </a:cxn>
                </a:cxnLst>
                <a:rect l="0" t="0" r="r" b="b"/>
                <a:pathLst>
                  <a:path w="575" h="451">
                    <a:moveTo>
                      <a:pt x="10" y="164"/>
                    </a:moveTo>
                    <a:lnTo>
                      <a:pt x="12" y="163"/>
                    </a:lnTo>
                    <a:lnTo>
                      <a:pt x="12" y="167"/>
                    </a:lnTo>
                    <a:lnTo>
                      <a:pt x="12" y="169"/>
                    </a:lnTo>
                    <a:lnTo>
                      <a:pt x="12" y="170"/>
                    </a:lnTo>
                    <a:lnTo>
                      <a:pt x="12" y="170"/>
                    </a:lnTo>
                    <a:lnTo>
                      <a:pt x="12" y="174"/>
                    </a:lnTo>
                    <a:lnTo>
                      <a:pt x="13" y="174"/>
                    </a:lnTo>
                    <a:lnTo>
                      <a:pt x="15" y="173"/>
                    </a:lnTo>
                    <a:lnTo>
                      <a:pt x="19" y="164"/>
                    </a:lnTo>
                    <a:lnTo>
                      <a:pt x="25" y="163"/>
                    </a:lnTo>
                    <a:lnTo>
                      <a:pt x="26" y="160"/>
                    </a:lnTo>
                    <a:lnTo>
                      <a:pt x="31" y="160"/>
                    </a:lnTo>
                    <a:lnTo>
                      <a:pt x="34" y="156"/>
                    </a:lnTo>
                    <a:lnTo>
                      <a:pt x="37" y="154"/>
                    </a:lnTo>
                    <a:lnTo>
                      <a:pt x="38" y="151"/>
                    </a:lnTo>
                    <a:lnTo>
                      <a:pt x="51" y="144"/>
                    </a:lnTo>
                    <a:lnTo>
                      <a:pt x="51" y="145"/>
                    </a:lnTo>
                    <a:lnTo>
                      <a:pt x="56" y="145"/>
                    </a:lnTo>
                    <a:lnTo>
                      <a:pt x="57" y="145"/>
                    </a:lnTo>
                    <a:lnTo>
                      <a:pt x="60" y="147"/>
                    </a:lnTo>
                    <a:lnTo>
                      <a:pt x="64" y="145"/>
                    </a:lnTo>
                    <a:lnTo>
                      <a:pt x="70" y="141"/>
                    </a:lnTo>
                    <a:lnTo>
                      <a:pt x="77" y="140"/>
                    </a:lnTo>
                    <a:lnTo>
                      <a:pt x="83" y="135"/>
                    </a:lnTo>
                    <a:lnTo>
                      <a:pt x="87" y="135"/>
                    </a:lnTo>
                    <a:lnTo>
                      <a:pt x="89" y="137"/>
                    </a:lnTo>
                    <a:lnTo>
                      <a:pt x="111" y="131"/>
                    </a:lnTo>
                    <a:lnTo>
                      <a:pt x="118" y="124"/>
                    </a:lnTo>
                    <a:lnTo>
                      <a:pt x="119" y="122"/>
                    </a:lnTo>
                    <a:lnTo>
                      <a:pt x="119" y="119"/>
                    </a:lnTo>
                    <a:lnTo>
                      <a:pt x="122" y="115"/>
                    </a:lnTo>
                    <a:lnTo>
                      <a:pt x="122" y="113"/>
                    </a:lnTo>
                    <a:lnTo>
                      <a:pt x="124" y="113"/>
                    </a:lnTo>
                    <a:lnTo>
                      <a:pt x="130" y="108"/>
                    </a:lnTo>
                    <a:lnTo>
                      <a:pt x="130" y="106"/>
                    </a:lnTo>
                    <a:lnTo>
                      <a:pt x="130" y="106"/>
                    </a:lnTo>
                    <a:lnTo>
                      <a:pt x="127" y="99"/>
                    </a:lnTo>
                    <a:lnTo>
                      <a:pt x="127" y="95"/>
                    </a:lnTo>
                    <a:lnTo>
                      <a:pt x="130" y="92"/>
                    </a:lnTo>
                    <a:lnTo>
                      <a:pt x="131" y="92"/>
                    </a:lnTo>
                    <a:lnTo>
                      <a:pt x="132" y="92"/>
                    </a:lnTo>
                    <a:lnTo>
                      <a:pt x="132" y="89"/>
                    </a:lnTo>
                    <a:lnTo>
                      <a:pt x="135" y="87"/>
                    </a:lnTo>
                    <a:lnTo>
                      <a:pt x="137" y="87"/>
                    </a:lnTo>
                    <a:lnTo>
                      <a:pt x="135" y="86"/>
                    </a:lnTo>
                    <a:lnTo>
                      <a:pt x="137" y="83"/>
                    </a:lnTo>
                    <a:lnTo>
                      <a:pt x="137" y="83"/>
                    </a:lnTo>
                    <a:lnTo>
                      <a:pt x="146" y="99"/>
                    </a:lnTo>
                    <a:lnTo>
                      <a:pt x="147" y="99"/>
                    </a:lnTo>
                    <a:lnTo>
                      <a:pt x="147" y="97"/>
                    </a:lnTo>
                    <a:lnTo>
                      <a:pt x="147" y="93"/>
                    </a:lnTo>
                    <a:lnTo>
                      <a:pt x="148" y="93"/>
                    </a:lnTo>
                    <a:lnTo>
                      <a:pt x="150" y="93"/>
                    </a:lnTo>
                    <a:lnTo>
                      <a:pt x="150" y="89"/>
                    </a:lnTo>
                    <a:lnTo>
                      <a:pt x="148" y="86"/>
                    </a:lnTo>
                    <a:lnTo>
                      <a:pt x="147" y="86"/>
                    </a:lnTo>
                    <a:lnTo>
                      <a:pt x="147" y="84"/>
                    </a:lnTo>
                    <a:lnTo>
                      <a:pt x="147" y="80"/>
                    </a:lnTo>
                    <a:lnTo>
                      <a:pt x="148" y="79"/>
                    </a:lnTo>
                    <a:lnTo>
                      <a:pt x="150" y="80"/>
                    </a:lnTo>
                    <a:lnTo>
                      <a:pt x="153" y="80"/>
                    </a:lnTo>
                    <a:lnTo>
                      <a:pt x="156" y="84"/>
                    </a:lnTo>
                    <a:lnTo>
                      <a:pt x="160" y="84"/>
                    </a:lnTo>
                    <a:lnTo>
                      <a:pt x="160" y="83"/>
                    </a:lnTo>
                    <a:lnTo>
                      <a:pt x="159" y="81"/>
                    </a:lnTo>
                    <a:lnTo>
                      <a:pt x="159" y="79"/>
                    </a:lnTo>
                    <a:lnTo>
                      <a:pt x="161" y="76"/>
                    </a:lnTo>
                    <a:lnTo>
                      <a:pt x="163" y="74"/>
                    </a:lnTo>
                    <a:lnTo>
                      <a:pt x="161" y="70"/>
                    </a:lnTo>
                    <a:lnTo>
                      <a:pt x="163" y="68"/>
                    </a:lnTo>
                    <a:lnTo>
                      <a:pt x="164" y="67"/>
                    </a:lnTo>
                    <a:lnTo>
                      <a:pt x="167" y="68"/>
                    </a:lnTo>
                    <a:lnTo>
                      <a:pt x="167" y="68"/>
                    </a:lnTo>
                    <a:lnTo>
                      <a:pt x="166" y="66"/>
                    </a:lnTo>
                    <a:lnTo>
                      <a:pt x="166" y="64"/>
                    </a:lnTo>
                    <a:lnTo>
                      <a:pt x="167" y="63"/>
                    </a:lnTo>
                    <a:lnTo>
                      <a:pt x="172" y="64"/>
                    </a:lnTo>
                    <a:lnTo>
                      <a:pt x="172" y="63"/>
                    </a:lnTo>
                    <a:lnTo>
                      <a:pt x="170" y="60"/>
                    </a:lnTo>
                    <a:lnTo>
                      <a:pt x="170" y="57"/>
                    </a:lnTo>
                    <a:lnTo>
                      <a:pt x="176" y="55"/>
                    </a:lnTo>
                    <a:lnTo>
                      <a:pt x="177" y="55"/>
                    </a:lnTo>
                    <a:lnTo>
                      <a:pt x="179" y="57"/>
                    </a:lnTo>
                    <a:lnTo>
                      <a:pt x="182" y="55"/>
                    </a:lnTo>
                    <a:lnTo>
                      <a:pt x="183" y="52"/>
                    </a:lnTo>
                    <a:lnTo>
                      <a:pt x="183" y="51"/>
                    </a:lnTo>
                    <a:lnTo>
                      <a:pt x="182" y="48"/>
                    </a:lnTo>
                    <a:lnTo>
                      <a:pt x="182" y="47"/>
                    </a:lnTo>
                    <a:lnTo>
                      <a:pt x="183" y="48"/>
                    </a:lnTo>
                    <a:lnTo>
                      <a:pt x="183" y="51"/>
                    </a:lnTo>
                    <a:lnTo>
                      <a:pt x="186" y="50"/>
                    </a:lnTo>
                    <a:lnTo>
                      <a:pt x="186" y="48"/>
                    </a:lnTo>
                    <a:lnTo>
                      <a:pt x="188" y="48"/>
                    </a:lnTo>
                    <a:lnTo>
                      <a:pt x="188" y="50"/>
                    </a:lnTo>
                    <a:lnTo>
                      <a:pt x="189" y="50"/>
                    </a:lnTo>
                    <a:lnTo>
                      <a:pt x="192" y="48"/>
                    </a:lnTo>
                    <a:lnTo>
                      <a:pt x="193" y="47"/>
                    </a:lnTo>
                    <a:lnTo>
                      <a:pt x="192" y="45"/>
                    </a:lnTo>
                    <a:lnTo>
                      <a:pt x="195" y="45"/>
                    </a:lnTo>
                    <a:lnTo>
                      <a:pt x="195" y="45"/>
                    </a:lnTo>
                    <a:lnTo>
                      <a:pt x="198" y="47"/>
                    </a:lnTo>
                    <a:lnTo>
                      <a:pt x="199" y="47"/>
                    </a:lnTo>
                    <a:lnTo>
                      <a:pt x="205" y="50"/>
                    </a:lnTo>
                    <a:lnTo>
                      <a:pt x="209" y="55"/>
                    </a:lnTo>
                    <a:lnTo>
                      <a:pt x="212" y="58"/>
                    </a:lnTo>
                    <a:lnTo>
                      <a:pt x="211" y="66"/>
                    </a:lnTo>
                    <a:lnTo>
                      <a:pt x="212" y="66"/>
                    </a:lnTo>
                    <a:lnTo>
                      <a:pt x="212" y="67"/>
                    </a:lnTo>
                    <a:lnTo>
                      <a:pt x="212" y="66"/>
                    </a:lnTo>
                    <a:lnTo>
                      <a:pt x="214" y="64"/>
                    </a:lnTo>
                    <a:lnTo>
                      <a:pt x="212" y="63"/>
                    </a:lnTo>
                    <a:lnTo>
                      <a:pt x="214" y="61"/>
                    </a:lnTo>
                    <a:lnTo>
                      <a:pt x="215" y="61"/>
                    </a:lnTo>
                    <a:lnTo>
                      <a:pt x="215" y="61"/>
                    </a:lnTo>
                    <a:lnTo>
                      <a:pt x="217" y="61"/>
                    </a:lnTo>
                    <a:lnTo>
                      <a:pt x="217" y="60"/>
                    </a:lnTo>
                    <a:lnTo>
                      <a:pt x="218" y="60"/>
                    </a:lnTo>
                    <a:lnTo>
                      <a:pt x="221" y="60"/>
                    </a:lnTo>
                    <a:lnTo>
                      <a:pt x="227" y="60"/>
                    </a:lnTo>
                    <a:lnTo>
                      <a:pt x="233" y="66"/>
                    </a:lnTo>
                    <a:lnTo>
                      <a:pt x="234" y="66"/>
                    </a:lnTo>
                    <a:lnTo>
                      <a:pt x="234" y="61"/>
                    </a:lnTo>
                    <a:lnTo>
                      <a:pt x="236" y="60"/>
                    </a:lnTo>
                    <a:lnTo>
                      <a:pt x="236" y="60"/>
                    </a:lnTo>
                    <a:lnTo>
                      <a:pt x="230" y="52"/>
                    </a:lnTo>
                    <a:lnTo>
                      <a:pt x="231" y="48"/>
                    </a:lnTo>
                    <a:lnTo>
                      <a:pt x="231" y="50"/>
                    </a:lnTo>
                    <a:lnTo>
                      <a:pt x="233" y="48"/>
                    </a:lnTo>
                    <a:lnTo>
                      <a:pt x="236" y="44"/>
                    </a:lnTo>
                    <a:lnTo>
                      <a:pt x="236" y="42"/>
                    </a:lnTo>
                    <a:lnTo>
                      <a:pt x="237" y="41"/>
                    </a:lnTo>
                    <a:lnTo>
                      <a:pt x="241" y="41"/>
                    </a:lnTo>
                    <a:lnTo>
                      <a:pt x="243" y="39"/>
                    </a:lnTo>
                    <a:lnTo>
                      <a:pt x="243" y="36"/>
                    </a:lnTo>
                    <a:lnTo>
                      <a:pt x="241" y="36"/>
                    </a:lnTo>
                    <a:lnTo>
                      <a:pt x="241" y="35"/>
                    </a:lnTo>
                    <a:lnTo>
                      <a:pt x="241" y="32"/>
                    </a:lnTo>
                    <a:lnTo>
                      <a:pt x="243" y="29"/>
                    </a:lnTo>
                    <a:lnTo>
                      <a:pt x="247" y="28"/>
                    </a:lnTo>
                    <a:lnTo>
                      <a:pt x="247" y="26"/>
                    </a:lnTo>
                    <a:lnTo>
                      <a:pt x="250" y="26"/>
                    </a:lnTo>
                    <a:lnTo>
                      <a:pt x="252" y="28"/>
                    </a:lnTo>
                    <a:lnTo>
                      <a:pt x="253" y="29"/>
                    </a:lnTo>
                    <a:lnTo>
                      <a:pt x="253" y="28"/>
                    </a:lnTo>
                    <a:lnTo>
                      <a:pt x="252" y="25"/>
                    </a:lnTo>
                    <a:lnTo>
                      <a:pt x="252" y="25"/>
                    </a:lnTo>
                    <a:lnTo>
                      <a:pt x="253" y="22"/>
                    </a:lnTo>
                    <a:lnTo>
                      <a:pt x="257" y="23"/>
                    </a:lnTo>
                    <a:lnTo>
                      <a:pt x="257" y="22"/>
                    </a:lnTo>
                    <a:lnTo>
                      <a:pt x="269" y="23"/>
                    </a:lnTo>
                    <a:lnTo>
                      <a:pt x="276" y="20"/>
                    </a:lnTo>
                    <a:lnTo>
                      <a:pt x="276" y="13"/>
                    </a:lnTo>
                    <a:lnTo>
                      <a:pt x="273" y="12"/>
                    </a:lnTo>
                    <a:lnTo>
                      <a:pt x="272" y="12"/>
                    </a:lnTo>
                    <a:lnTo>
                      <a:pt x="269" y="12"/>
                    </a:lnTo>
                    <a:lnTo>
                      <a:pt x="266" y="9"/>
                    </a:lnTo>
                    <a:lnTo>
                      <a:pt x="263" y="9"/>
                    </a:lnTo>
                    <a:lnTo>
                      <a:pt x="265" y="9"/>
                    </a:lnTo>
                    <a:lnTo>
                      <a:pt x="265" y="7"/>
                    </a:lnTo>
                    <a:lnTo>
                      <a:pt x="266" y="9"/>
                    </a:lnTo>
                    <a:lnTo>
                      <a:pt x="266" y="7"/>
                    </a:lnTo>
                    <a:lnTo>
                      <a:pt x="267" y="6"/>
                    </a:lnTo>
                    <a:lnTo>
                      <a:pt x="267" y="7"/>
                    </a:lnTo>
                    <a:lnTo>
                      <a:pt x="269" y="12"/>
                    </a:lnTo>
                    <a:lnTo>
                      <a:pt x="269" y="9"/>
                    </a:lnTo>
                    <a:lnTo>
                      <a:pt x="269" y="7"/>
                    </a:lnTo>
                    <a:lnTo>
                      <a:pt x="270" y="7"/>
                    </a:lnTo>
                    <a:lnTo>
                      <a:pt x="272" y="9"/>
                    </a:lnTo>
                    <a:lnTo>
                      <a:pt x="273" y="7"/>
                    </a:lnTo>
                    <a:lnTo>
                      <a:pt x="275" y="10"/>
                    </a:lnTo>
                    <a:lnTo>
                      <a:pt x="278" y="12"/>
                    </a:lnTo>
                    <a:lnTo>
                      <a:pt x="278" y="10"/>
                    </a:lnTo>
                    <a:lnTo>
                      <a:pt x="279" y="10"/>
                    </a:lnTo>
                    <a:lnTo>
                      <a:pt x="281" y="10"/>
                    </a:lnTo>
                    <a:lnTo>
                      <a:pt x="281" y="13"/>
                    </a:lnTo>
                    <a:lnTo>
                      <a:pt x="283" y="15"/>
                    </a:lnTo>
                    <a:lnTo>
                      <a:pt x="286" y="16"/>
                    </a:lnTo>
                    <a:lnTo>
                      <a:pt x="288" y="16"/>
                    </a:lnTo>
                    <a:lnTo>
                      <a:pt x="289" y="16"/>
                    </a:lnTo>
                    <a:lnTo>
                      <a:pt x="289" y="16"/>
                    </a:lnTo>
                    <a:lnTo>
                      <a:pt x="292" y="15"/>
                    </a:lnTo>
                    <a:lnTo>
                      <a:pt x="292" y="16"/>
                    </a:lnTo>
                    <a:lnTo>
                      <a:pt x="294" y="18"/>
                    </a:lnTo>
                    <a:lnTo>
                      <a:pt x="297" y="18"/>
                    </a:lnTo>
                    <a:lnTo>
                      <a:pt x="298" y="19"/>
                    </a:lnTo>
                    <a:lnTo>
                      <a:pt x="301" y="19"/>
                    </a:lnTo>
                    <a:lnTo>
                      <a:pt x="302" y="20"/>
                    </a:lnTo>
                    <a:lnTo>
                      <a:pt x="305" y="19"/>
                    </a:lnTo>
                    <a:lnTo>
                      <a:pt x="305" y="19"/>
                    </a:lnTo>
                    <a:lnTo>
                      <a:pt x="307" y="20"/>
                    </a:lnTo>
                    <a:lnTo>
                      <a:pt x="310" y="20"/>
                    </a:lnTo>
                    <a:lnTo>
                      <a:pt x="311" y="22"/>
                    </a:lnTo>
                    <a:lnTo>
                      <a:pt x="312" y="23"/>
                    </a:lnTo>
                    <a:lnTo>
                      <a:pt x="315" y="20"/>
                    </a:lnTo>
                    <a:lnTo>
                      <a:pt x="318" y="19"/>
                    </a:lnTo>
                    <a:lnTo>
                      <a:pt x="320" y="19"/>
                    </a:lnTo>
                    <a:lnTo>
                      <a:pt x="323" y="18"/>
                    </a:lnTo>
                    <a:lnTo>
                      <a:pt x="321" y="20"/>
                    </a:lnTo>
                    <a:lnTo>
                      <a:pt x="321" y="22"/>
                    </a:lnTo>
                    <a:lnTo>
                      <a:pt x="323" y="22"/>
                    </a:lnTo>
                    <a:lnTo>
                      <a:pt x="324" y="20"/>
                    </a:lnTo>
                    <a:lnTo>
                      <a:pt x="324" y="22"/>
                    </a:lnTo>
                    <a:lnTo>
                      <a:pt x="324" y="26"/>
                    </a:lnTo>
                    <a:lnTo>
                      <a:pt x="324" y="26"/>
                    </a:lnTo>
                    <a:lnTo>
                      <a:pt x="327" y="26"/>
                    </a:lnTo>
                    <a:lnTo>
                      <a:pt x="328" y="23"/>
                    </a:lnTo>
                    <a:lnTo>
                      <a:pt x="327" y="22"/>
                    </a:lnTo>
                    <a:lnTo>
                      <a:pt x="328" y="20"/>
                    </a:lnTo>
                    <a:lnTo>
                      <a:pt x="330" y="18"/>
                    </a:lnTo>
                    <a:lnTo>
                      <a:pt x="331" y="19"/>
                    </a:lnTo>
                    <a:lnTo>
                      <a:pt x="331" y="19"/>
                    </a:lnTo>
                    <a:lnTo>
                      <a:pt x="333" y="23"/>
                    </a:lnTo>
                    <a:lnTo>
                      <a:pt x="334" y="22"/>
                    </a:lnTo>
                    <a:lnTo>
                      <a:pt x="336" y="22"/>
                    </a:lnTo>
                    <a:lnTo>
                      <a:pt x="337" y="23"/>
                    </a:lnTo>
                    <a:lnTo>
                      <a:pt x="334" y="29"/>
                    </a:lnTo>
                    <a:lnTo>
                      <a:pt x="333" y="31"/>
                    </a:lnTo>
                    <a:lnTo>
                      <a:pt x="331" y="31"/>
                    </a:lnTo>
                    <a:lnTo>
                      <a:pt x="331" y="31"/>
                    </a:lnTo>
                    <a:lnTo>
                      <a:pt x="333" y="34"/>
                    </a:lnTo>
                    <a:lnTo>
                      <a:pt x="331" y="36"/>
                    </a:lnTo>
                    <a:lnTo>
                      <a:pt x="330" y="36"/>
                    </a:lnTo>
                    <a:lnTo>
                      <a:pt x="328" y="36"/>
                    </a:lnTo>
                    <a:lnTo>
                      <a:pt x="327" y="35"/>
                    </a:lnTo>
                    <a:lnTo>
                      <a:pt x="327" y="36"/>
                    </a:lnTo>
                    <a:lnTo>
                      <a:pt x="327" y="39"/>
                    </a:lnTo>
                    <a:lnTo>
                      <a:pt x="326" y="39"/>
                    </a:lnTo>
                    <a:lnTo>
                      <a:pt x="326" y="36"/>
                    </a:lnTo>
                    <a:lnTo>
                      <a:pt x="324" y="36"/>
                    </a:lnTo>
                    <a:lnTo>
                      <a:pt x="323" y="44"/>
                    </a:lnTo>
                    <a:lnTo>
                      <a:pt x="326" y="44"/>
                    </a:lnTo>
                    <a:lnTo>
                      <a:pt x="324" y="48"/>
                    </a:lnTo>
                    <a:lnTo>
                      <a:pt x="324" y="50"/>
                    </a:lnTo>
                    <a:lnTo>
                      <a:pt x="318" y="60"/>
                    </a:lnTo>
                    <a:lnTo>
                      <a:pt x="318" y="63"/>
                    </a:lnTo>
                    <a:lnTo>
                      <a:pt x="320" y="63"/>
                    </a:lnTo>
                    <a:lnTo>
                      <a:pt x="321" y="66"/>
                    </a:lnTo>
                    <a:lnTo>
                      <a:pt x="323" y="64"/>
                    </a:lnTo>
                    <a:lnTo>
                      <a:pt x="326" y="67"/>
                    </a:lnTo>
                    <a:lnTo>
                      <a:pt x="330" y="68"/>
                    </a:lnTo>
                    <a:lnTo>
                      <a:pt x="331" y="73"/>
                    </a:lnTo>
                    <a:lnTo>
                      <a:pt x="331" y="77"/>
                    </a:lnTo>
                    <a:lnTo>
                      <a:pt x="333" y="74"/>
                    </a:lnTo>
                    <a:lnTo>
                      <a:pt x="339" y="76"/>
                    </a:lnTo>
                    <a:lnTo>
                      <a:pt x="343" y="76"/>
                    </a:lnTo>
                    <a:lnTo>
                      <a:pt x="343" y="79"/>
                    </a:lnTo>
                    <a:lnTo>
                      <a:pt x="352" y="83"/>
                    </a:lnTo>
                    <a:lnTo>
                      <a:pt x="355" y="86"/>
                    </a:lnTo>
                    <a:lnTo>
                      <a:pt x="366" y="89"/>
                    </a:lnTo>
                    <a:lnTo>
                      <a:pt x="369" y="92"/>
                    </a:lnTo>
                    <a:lnTo>
                      <a:pt x="371" y="96"/>
                    </a:lnTo>
                    <a:lnTo>
                      <a:pt x="382" y="103"/>
                    </a:lnTo>
                    <a:lnTo>
                      <a:pt x="394" y="99"/>
                    </a:lnTo>
                    <a:lnTo>
                      <a:pt x="394" y="97"/>
                    </a:lnTo>
                    <a:lnTo>
                      <a:pt x="405" y="64"/>
                    </a:lnTo>
                    <a:lnTo>
                      <a:pt x="403" y="42"/>
                    </a:lnTo>
                    <a:lnTo>
                      <a:pt x="405" y="36"/>
                    </a:lnTo>
                    <a:lnTo>
                      <a:pt x="405" y="32"/>
                    </a:lnTo>
                    <a:lnTo>
                      <a:pt x="405" y="31"/>
                    </a:lnTo>
                    <a:lnTo>
                      <a:pt x="407" y="28"/>
                    </a:lnTo>
                    <a:lnTo>
                      <a:pt x="404" y="28"/>
                    </a:lnTo>
                    <a:lnTo>
                      <a:pt x="405" y="19"/>
                    </a:lnTo>
                    <a:lnTo>
                      <a:pt x="408" y="19"/>
                    </a:lnTo>
                    <a:lnTo>
                      <a:pt x="411" y="12"/>
                    </a:lnTo>
                    <a:lnTo>
                      <a:pt x="414" y="7"/>
                    </a:lnTo>
                    <a:lnTo>
                      <a:pt x="414" y="3"/>
                    </a:lnTo>
                    <a:lnTo>
                      <a:pt x="416" y="3"/>
                    </a:lnTo>
                    <a:lnTo>
                      <a:pt x="416" y="2"/>
                    </a:lnTo>
                    <a:lnTo>
                      <a:pt x="418" y="0"/>
                    </a:lnTo>
                    <a:lnTo>
                      <a:pt x="420" y="0"/>
                    </a:lnTo>
                    <a:lnTo>
                      <a:pt x="421" y="0"/>
                    </a:lnTo>
                    <a:lnTo>
                      <a:pt x="421" y="2"/>
                    </a:lnTo>
                    <a:lnTo>
                      <a:pt x="421" y="3"/>
                    </a:lnTo>
                    <a:lnTo>
                      <a:pt x="421" y="3"/>
                    </a:lnTo>
                    <a:lnTo>
                      <a:pt x="421" y="4"/>
                    </a:lnTo>
                    <a:lnTo>
                      <a:pt x="423" y="18"/>
                    </a:lnTo>
                    <a:lnTo>
                      <a:pt x="426" y="18"/>
                    </a:lnTo>
                    <a:lnTo>
                      <a:pt x="426" y="19"/>
                    </a:lnTo>
                    <a:lnTo>
                      <a:pt x="426" y="22"/>
                    </a:lnTo>
                    <a:lnTo>
                      <a:pt x="427" y="23"/>
                    </a:lnTo>
                    <a:lnTo>
                      <a:pt x="429" y="26"/>
                    </a:lnTo>
                    <a:lnTo>
                      <a:pt x="430" y="28"/>
                    </a:lnTo>
                    <a:lnTo>
                      <a:pt x="430" y="31"/>
                    </a:lnTo>
                    <a:lnTo>
                      <a:pt x="430" y="32"/>
                    </a:lnTo>
                    <a:lnTo>
                      <a:pt x="433" y="39"/>
                    </a:lnTo>
                    <a:lnTo>
                      <a:pt x="433" y="44"/>
                    </a:lnTo>
                    <a:lnTo>
                      <a:pt x="434" y="51"/>
                    </a:lnTo>
                    <a:lnTo>
                      <a:pt x="437" y="54"/>
                    </a:lnTo>
                    <a:lnTo>
                      <a:pt x="439" y="54"/>
                    </a:lnTo>
                    <a:lnTo>
                      <a:pt x="442" y="51"/>
                    </a:lnTo>
                    <a:lnTo>
                      <a:pt x="445" y="51"/>
                    </a:lnTo>
                    <a:lnTo>
                      <a:pt x="448" y="51"/>
                    </a:lnTo>
                    <a:lnTo>
                      <a:pt x="449" y="55"/>
                    </a:lnTo>
                    <a:lnTo>
                      <a:pt x="452" y="57"/>
                    </a:lnTo>
                    <a:lnTo>
                      <a:pt x="453" y="58"/>
                    </a:lnTo>
                    <a:lnTo>
                      <a:pt x="455" y="60"/>
                    </a:lnTo>
                    <a:lnTo>
                      <a:pt x="458" y="63"/>
                    </a:lnTo>
                    <a:lnTo>
                      <a:pt x="458" y="66"/>
                    </a:lnTo>
                    <a:lnTo>
                      <a:pt x="458" y="67"/>
                    </a:lnTo>
                    <a:lnTo>
                      <a:pt x="458" y="71"/>
                    </a:lnTo>
                    <a:lnTo>
                      <a:pt x="458" y="74"/>
                    </a:lnTo>
                    <a:lnTo>
                      <a:pt x="458" y="76"/>
                    </a:lnTo>
                    <a:lnTo>
                      <a:pt x="459" y="79"/>
                    </a:lnTo>
                    <a:lnTo>
                      <a:pt x="461" y="86"/>
                    </a:lnTo>
                    <a:lnTo>
                      <a:pt x="463" y="90"/>
                    </a:lnTo>
                    <a:lnTo>
                      <a:pt x="466" y="90"/>
                    </a:lnTo>
                    <a:lnTo>
                      <a:pt x="469" y="106"/>
                    </a:lnTo>
                    <a:lnTo>
                      <a:pt x="468" y="111"/>
                    </a:lnTo>
                    <a:lnTo>
                      <a:pt x="469" y="113"/>
                    </a:lnTo>
                    <a:lnTo>
                      <a:pt x="471" y="115"/>
                    </a:lnTo>
                    <a:lnTo>
                      <a:pt x="472" y="115"/>
                    </a:lnTo>
                    <a:lnTo>
                      <a:pt x="472" y="116"/>
                    </a:lnTo>
                    <a:lnTo>
                      <a:pt x="472" y="115"/>
                    </a:lnTo>
                    <a:lnTo>
                      <a:pt x="472" y="116"/>
                    </a:lnTo>
                    <a:lnTo>
                      <a:pt x="472" y="116"/>
                    </a:lnTo>
                    <a:lnTo>
                      <a:pt x="472" y="118"/>
                    </a:lnTo>
                    <a:lnTo>
                      <a:pt x="472" y="119"/>
                    </a:lnTo>
                    <a:lnTo>
                      <a:pt x="474" y="122"/>
                    </a:lnTo>
                    <a:lnTo>
                      <a:pt x="477" y="122"/>
                    </a:lnTo>
                    <a:lnTo>
                      <a:pt x="478" y="125"/>
                    </a:lnTo>
                    <a:lnTo>
                      <a:pt x="485" y="127"/>
                    </a:lnTo>
                    <a:lnTo>
                      <a:pt x="487" y="127"/>
                    </a:lnTo>
                    <a:lnTo>
                      <a:pt x="488" y="125"/>
                    </a:lnTo>
                    <a:lnTo>
                      <a:pt x="490" y="132"/>
                    </a:lnTo>
                    <a:lnTo>
                      <a:pt x="491" y="134"/>
                    </a:lnTo>
                    <a:lnTo>
                      <a:pt x="494" y="132"/>
                    </a:lnTo>
                    <a:lnTo>
                      <a:pt x="495" y="134"/>
                    </a:lnTo>
                    <a:lnTo>
                      <a:pt x="498" y="134"/>
                    </a:lnTo>
                    <a:lnTo>
                      <a:pt x="501" y="138"/>
                    </a:lnTo>
                    <a:lnTo>
                      <a:pt x="503" y="137"/>
                    </a:lnTo>
                    <a:lnTo>
                      <a:pt x="509" y="141"/>
                    </a:lnTo>
                    <a:lnTo>
                      <a:pt x="509" y="144"/>
                    </a:lnTo>
                    <a:lnTo>
                      <a:pt x="507" y="144"/>
                    </a:lnTo>
                    <a:lnTo>
                      <a:pt x="507" y="147"/>
                    </a:lnTo>
                    <a:lnTo>
                      <a:pt x="509" y="148"/>
                    </a:lnTo>
                    <a:lnTo>
                      <a:pt x="511" y="148"/>
                    </a:lnTo>
                    <a:lnTo>
                      <a:pt x="514" y="159"/>
                    </a:lnTo>
                    <a:lnTo>
                      <a:pt x="517" y="159"/>
                    </a:lnTo>
                    <a:lnTo>
                      <a:pt x="517" y="167"/>
                    </a:lnTo>
                    <a:lnTo>
                      <a:pt x="519" y="169"/>
                    </a:lnTo>
                    <a:lnTo>
                      <a:pt x="519" y="170"/>
                    </a:lnTo>
                    <a:lnTo>
                      <a:pt x="520" y="172"/>
                    </a:lnTo>
                    <a:lnTo>
                      <a:pt x="520" y="174"/>
                    </a:lnTo>
                    <a:lnTo>
                      <a:pt x="522" y="174"/>
                    </a:lnTo>
                    <a:lnTo>
                      <a:pt x="522" y="173"/>
                    </a:lnTo>
                    <a:lnTo>
                      <a:pt x="523" y="173"/>
                    </a:lnTo>
                    <a:lnTo>
                      <a:pt x="523" y="170"/>
                    </a:lnTo>
                    <a:lnTo>
                      <a:pt x="524" y="169"/>
                    </a:lnTo>
                    <a:lnTo>
                      <a:pt x="526" y="170"/>
                    </a:lnTo>
                    <a:lnTo>
                      <a:pt x="532" y="174"/>
                    </a:lnTo>
                    <a:lnTo>
                      <a:pt x="533" y="172"/>
                    </a:lnTo>
                    <a:lnTo>
                      <a:pt x="533" y="172"/>
                    </a:lnTo>
                    <a:lnTo>
                      <a:pt x="535" y="174"/>
                    </a:lnTo>
                    <a:lnTo>
                      <a:pt x="535" y="174"/>
                    </a:lnTo>
                    <a:lnTo>
                      <a:pt x="538" y="190"/>
                    </a:lnTo>
                    <a:lnTo>
                      <a:pt x="545" y="198"/>
                    </a:lnTo>
                    <a:lnTo>
                      <a:pt x="548" y="198"/>
                    </a:lnTo>
                    <a:lnTo>
                      <a:pt x="549" y="198"/>
                    </a:lnTo>
                    <a:lnTo>
                      <a:pt x="552" y="204"/>
                    </a:lnTo>
                    <a:lnTo>
                      <a:pt x="554" y="205"/>
                    </a:lnTo>
                    <a:lnTo>
                      <a:pt x="555" y="206"/>
                    </a:lnTo>
                    <a:lnTo>
                      <a:pt x="558" y="208"/>
                    </a:lnTo>
                    <a:lnTo>
                      <a:pt x="558" y="209"/>
                    </a:lnTo>
                    <a:lnTo>
                      <a:pt x="561" y="214"/>
                    </a:lnTo>
                    <a:lnTo>
                      <a:pt x="561" y="215"/>
                    </a:lnTo>
                    <a:lnTo>
                      <a:pt x="564" y="217"/>
                    </a:lnTo>
                    <a:lnTo>
                      <a:pt x="565" y="224"/>
                    </a:lnTo>
                    <a:lnTo>
                      <a:pt x="567" y="227"/>
                    </a:lnTo>
                    <a:lnTo>
                      <a:pt x="568" y="225"/>
                    </a:lnTo>
                    <a:lnTo>
                      <a:pt x="568" y="230"/>
                    </a:lnTo>
                    <a:lnTo>
                      <a:pt x="568" y="234"/>
                    </a:lnTo>
                    <a:lnTo>
                      <a:pt x="569" y="246"/>
                    </a:lnTo>
                    <a:lnTo>
                      <a:pt x="569" y="244"/>
                    </a:lnTo>
                    <a:lnTo>
                      <a:pt x="568" y="247"/>
                    </a:lnTo>
                    <a:lnTo>
                      <a:pt x="569" y="247"/>
                    </a:lnTo>
                    <a:lnTo>
                      <a:pt x="569" y="250"/>
                    </a:lnTo>
                    <a:lnTo>
                      <a:pt x="569" y="250"/>
                    </a:lnTo>
                    <a:lnTo>
                      <a:pt x="575" y="266"/>
                    </a:lnTo>
                    <a:lnTo>
                      <a:pt x="571" y="297"/>
                    </a:lnTo>
                    <a:lnTo>
                      <a:pt x="569" y="297"/>
                    </a:lnTo>
                    <a:lnTo>
                      <a:pt x="568" y="302"/>
                    </a:lnTo>
                    <a:lnTo>
                      <a:pt x="568" y="311"/>
                    </a:lnTo>
                    <a:lnTo>
                      <a:pt x="567" y="313"/>
                    </a:lnTo>
                    <a:lnTo>
                      <a:pt x="567" y="314"/>
                    </a:lnTo>
                    <a:lnTo>
                      <a:pt x="561" y="329"/>
                    </a:lnTo>
                    <a:lnTo>
                      <a:pt x="559" y="330"/>
                    </a:lnTo>
                    <a:lnTo>
                      <a:pt x="559" y="331"/>
                    </a:lnTo>
                    <a:lnTo>
                      <a:pt x="559" y="333"/>
                    </a:lnTo>
                    <a:lnTo>
                      <a:pt x="556" y="337"/>
                    </a:lnTo>
                    <a:lnTo>
                      <a:pt x="555" y="337"/>
                    </a:lnTo>
                    <a:lnTo>
                      <a:pt x="554" y="339"/>
                    </a:lnTo>
                    <a:lnTo>
                      <a:pt x="555" y="339"/>
                    </a:lnTo>
                    <a:lnTo>
                      <a:pt x="551" y="342"/>
                    </a:lnTo>
                    <a:lnTo>
                      <a:pt x="545" y="352"/>
                    </a:lnTo>
                    <a:lnTo>
                      <a:pt x="543" y="352"/>
                    </a:lnTo>
                    <a:lnTo>
                      <a:pt x="542" y="353"/>
                    </a:lnTo>
                    <a:lnTo>
                      <a:pt x="542" y="353"/>
                    </a:lnTo>
                    <a:lnTo>
                      <a:pt x="543" y="355"/>
                    </a:lnTo>
                    <a:lnTo>
                      <a:pt x="543" y="358"/>
                    </a:lnTo>
                    <a:lnTo>
                      <a:pt x="542" y="360"/>
                    </a:lnTo>
                    <a:lnTo>
                      <a:pt x="542" y="360"/>
                    </a:lnTo>
                    <a:lnTo>
                      <a:pt x="542" y="363"/>
                    </a:lnTo>
                    <a:lnTo>
                      <a:pt x="539" y="366"/>
                    </a:lnTo>
                    <a:lnTo>
                      <a:pt x="536" y="381"/>
                    </a:lnTo>
                    <a:lnTo>
                      <a:pt x="533" y="379"/>
                    </a:lnTo>
                    <a:lnTo>
                      <a:pt x="532" y="384"/>
                    </a:lnTo>
                    <a:lnTo>
                      <a:pt x="530" y="385"/>
                    </a:lnTo>
                    <a:lnTo>
                      <a:pt x="530" y="388"/>
                    </a:lnTo>
                    <a:lnTo>
                      <a:pt x="529" y="390"/>
                    </a:lnTo>
                    <a:lnTo>
                      <a:pt x="527" y="391"/>
                    </a:lnTo>
                    <a:lnTo>
                      <a:pt x="527" y="398"/>
                    </a:lnTo>
                    <a:lnTo>
                      <a:pt x="527" y="401"/>
                    </a:lnTo>
                    <a:lnTo>
                      <a:pt x="524" y="411"/>
                    </a:lnTo>
                    <a:lnTo>
                      <a:pt x="526" y="419"/>
                    </a:lnTo>
                    <a:lnTo>
                      <a:pt x="524" y="423"/>
                    </a:lnTo>
                    <a:lnTo>
                      <a:pt x="522" y="422"/>
                    </a:lnTo>
                    <a:lnTo>
                      <a:pt x="522" y="422"/>
                    </a:lnTo>
                    <a:lnTo>
                      <a:pt x="520" y="424"/>
                    </a:lnTo>
                    <a:lnTo>
                      <a:pt x="501" y="426"/>
                    </a:lnTo>
                    <a:lnTo>
                      <a:pt x="487" y="436"/>
                    </a:lnTo>
                    <a:lnTo>
                      <a:pt x="485" y="438"/>
                    </a:lnTo>
                    <a:lnTo>
                      <a:pt x="484" y="439"/>
                    </a:lnTo>
                    <a:lnTo>
                      <a:pt x="481" y="440"/>
                    </a:lnTo>
                    <a:lnTo>
                      <a:pt x="479" y="442"/>
                    </a:lnTo>
                    <a:lnTo>
                      <a:pt x="478" y="442"/>
                    </a:lnTo>
                    <a:lnTo>
                      <a:pt x="475" y="442"/>
                    </a:lnTo>
                    <a:lnTo>
                      <a:pt x="474" y="442"/>
                    </a:lnTo>
                    <a:lnTo>
                      <a:pt x="472" y="442"/>
                    </a:lnTo>
                    <a:lnTo>
                      <a:pt x="472" y="445"/>
                    </a:lnTo>
                    <a:lnTo>
                      <a:pt x="472" y="446"/>
                    </a:lnTo>
                    <a:lnTo>
                      <a:pt x="474" y="445"/>
                    </a:lnTo>
                    <a:lnTo>
                      <a:pt x="475" y="443"/>
                    </a:lnTo>
                    <a:lnTo>
                      <a:pt x="477" y="443"/>
                    </a:lnTo>
                    <a:lnTo>
                      <a:pt x="475" y="449"/>
                    </a:lnTo>
                    <a:lnTo>
                      <a:pt x="474" y="451"/>
                    </a:lnTo>
                    <a:lnTo>
                      <a:pt x="471" y="445"/>
                    </a:lnTo>
                    <a:lnTo>
                      <a:pt x="469" y="445"/>
                    </a:lnTo>
                    <a:lnTo>
                      <a:pt x="466" y="445"/>
                    </a:lnTo>
                    <a:lnTo>
                      <a:pt x="466" y="442"/>
                    </a:lnTo>
                    <a:lnTo>
                      <a:pt x="463" y="442"/>
                    </a:lnTo>
                    <a:lnTo>
                      <a:pt x="461" y="440"/>
                    </a:lnTo>
                    <a:lnTo>
                      <a:pt x="461" y="439"/>
                    </a:lnTo>
                    <a:lnTo>
                      <a:pt x="462" y="436"/>
                    </a:lnTo>
                    <a:lnTo>
                      <a:pt x="459" y="433"/>
                    </a:lnTo>
                    <a:lnTo>
                      <a:pt x="456" y="436"/>
                    </a:lnTo>
                    <a:lnTo>
                      <a:pt x="455" y="438"/>
                    </a:lnTo>
                    <a:lnTo>
                      <a:pt x="452" y="436"/>
                    </a:lnTo>
                    <a:lnTo>
                      <a:pt x="450" y="435"/>
                    </a:lnTo>
                    <a:lnTo>
                      <a:pt x="453" y="435"/>
                    </a:lnTo>
                    <a:lnTo>
                      <a:pt x="455" y="432"/>
                    </a:lnTo>
                    <a:lnTo>
                      <a:pt x="453" y="429"/>
                    </a:lnTo>
                    <a:lnTo>
                      <a:pt x="452" y="427"/>
                    </a:lnTo>
                    <a:lnTo>
                      <a:pt x="448" y="430"/>
                    </a:lnTo>
                    <a:lnTo>
                      <a:pt x="445" y="430"/>
                    </a:lnTo>
                    <a:lnTo>
                      <a:pt x="449" y="433"/>
                    </a:lnTo>
                    <a:lnTo>
                      <a:pt x="449" y="433"/>
                    </a:lnTo>
                    <a:lnTo>
                      <a:pt x="443" y="436"/>
                    </a:lnTo>
                    <a:lnTo>
                      <a:pt x="440" y="438"/>
                    </a:lnTo>
                    <a:lnTo>
                      <a:pt x="439" y="442"/>
                    </a:lnTo>
                    <a:lnTo>
                      <a:pt x="430" y="445"/>
                    </a:lnTo>
                    <a:lnTo>
                      <a:pt x="429" y="443"/>
                    </a:lnTo>
                    <a:lnTo>
                      <a:pt x="408" y="435"/>
                    </a:lnTo>
                    <a:lnTo>
                      <a:pt x="405" y="435"/>
                    </a:lnTo>
                    <a:lnTo>
                      <a:pt x="404" y="436"/>
                    </a:lnTo>
                    <a:lnTo>
                      <a:pt x="401" y="433"/>
                    </a:lnTo>
                    <a:lnTo>
                      <a:pt x="397" y="430"/>
                    </a:lnTo>
                    <a:lnTo>
                      <a:pt x="392" y="430"/>
                    </a:lnTo>
                    <a:lnTo>
                      <a:pt x="388" y="427"/>
                    </a:lnTo>
                    <a:lnTo>
                      <a:pt x="385" y="424"/>
                    </a:lnTo>
                    <a:lnTo>
                      <a:pt x="384" y="422"/>
                    </a:lnTo>
                    <a:lnTo>
                      <a:pt x="382" y="420"/>
                    </a:lnTo>
                    <a:lnTo>
                      <a:pt x="378" y="411"/>
                    </a:lnTo>
                    <a:lnTo>
                      <a:pt x="378" y="410"/>
                    </a:lnTo>
                    <a:lnTo>
                      <a:pt x="379" y="408"/>
                    </a:lnTo>
                    <a:lnTo>
                      <a:pt x="379" y="404"/>
                    </a:lnTo>
                    <a:lnTo>
                      <a:pt x="376" y="397"/>
                    </a:lnTo>
                    <a:lnTo>
                      <a:pt x="371" y="388"/>
                    </a:lnTo>
                    <a:lnTo>
                      <a:pt x="373" y="385"/>
                    </a:lnTo>
                    <a:lnTo>
                      <a:pt x="372" y="384"/>
                    </a:lnTo>
                    <a:lnTo>
                      <a:pt x="369" y="384"/>
                    </a:lnTo>
                    <a:lnTo>
                      <a:pt x="360" y="388"/>
                    </a:lnTo>
                    <a:lnTo>
                      <a:pt x="358" y="388"/>
                    </a:lnTo>
                    <a:lnTo>
                      <a:pt x="356" y="388"/>
                    </a:lnTo>
                    <a:lnTo>
                      <a:pt x="360" y="381"/>
                    </a:lnTo>
                    <a:lnTo>
                      <a:pt x="360" y="376"/>
                    </a:lnTo>
                    <a:lnTo>
                      <a:pt x="360" y="372"/>
                    </a:lnTo>
                    <a:lnTo>
                      <a:pt x="359" y="368"/>
                    </a:lnTo>
                    <a:lnTo>
                      <a:pt x="355" y="363"/>
                    </a:lnTo>
                    <a:lnTo>
                      <a:pt x="352" y="369"/>
                    </a:lnTo>
                    <a:lnTo>
                      <a:pt x="350" y="379"/>
                    </a:lnTo>
                    <a:lnTo>
                      <a:pt x="350" y="379"/>
                    </a:lnTo>
                    <a:lnTo>
                      <a:pt x="347" y="379"/>
                    </a:lnTo>
                    <a:lnTo>
                      <a:pt x="344" y="381"/>
                    </a:lnTo>
                    <a:lnTo>
                      <a:pt x="342" y="381"/>
                    </a:lnTo>
                    <a:lnTo>
                      <a:pt x="339" y="382"/>
                    </a:lnTo>
                    <a:lnTo>
                      <a:pt x="337" y="381"/>
                    </a:lnTo>
                    <a:lnTo>
                      <a:pt x="339" y="375"/>
                    </a:lnTo>
                    <a:lnTo>
                      <a:pt x="343" y="376"/>
                    </a:lnTo>
                    <a:lnTo>
                      <a:pt x="346" y="374"/>
                    </a:lnTo>
                    <a:lnTo>
                      <a:pt x="346" y="368"/>
                    </a:lnTo>
                    <a:lnTo>
                      <a:pt x="346" y="366"/>
                    </a:lnTo>
                    <a:lnTo>
                      <a:pt x="346" y="362"/>
                    </a:lnTo>
                    <a:lnTo>
                      <a:pt x="349" y="355"/>
                    </a:lnTo>
                    <a:lnTo>
                      <a:pt x="350" y="355"/>
                    </a:lnTo>
                    <a:lnTo>
                      <a:pt x="352" y="352"/>
                    </a:lnTo>
                    <a:lnTo>
                      <a:pt x="352" y="345"/>
                    </a:lnTo>
                    <a:lnTo>
                      <a:pt x="353" y="346"/>
                    </a:lnTo>
                    <a:lnTo>
                      <a:pt x="353" y="342"/>
                    </a:lnTo>
                    <a:lnTo>
                      <a:pt x="353" y="339"/>
                    </a:lnTo>
                    <a:lnTo>
                      <a:pt x="352" y="339"/>
                    </a:lnTo>
                    <a:lnTo>
                      <a:pt x="352" y="336"/>
                    </a:lnTo>
                    <a:lnTo>
                      <a:pt x="350" y="334"/>
                    </a:lnTo>
                    <a:lnTo>
                      <a:pt x="350" y="336"/>
                    </a:lnTo>
                    <a:lnTo>
                      <a:pt x="350" y="342"/>
                    </a:lnTo>
                    <a:lnTo>
                      <a:pt x="349" y="342"/>
                    </a:lnTo>
                    <a:lnTo>
                      <a:pt x="343" y="350"/>
                    </a:lnTo>
                    <a:lnTo>
                      <a:pt x="343" y="353"/>
                    </a:lnTo>
                    <a:lnTo>
                      <a:pt x="342" y="355"/>
                    </a:lnTo>
                    <a:lnTo>
                      <a:pt x="339" y="355"/>
                    </a:lnTo>
                    <a:lnTo>
                      <a:pt x="339" y="355"/>
                    </a:lnTo>
                    <a:lnTo>
                      <a:pt x="337" y="356"/>
                    </a:lnTo>
                    <a:lnTo>
                      <a:pt x="334" y="358"/>
                    </a:lnTo>
                    <a:lnTo>
                      <a:pt x="333" y="360"/>
                    </a:lnTo>
                    <a:lnTo>
                      <a:pt x="331" y="360"/>
                    </a:lnTo>
                    <a:lnTo>
                      <a:pt x="330" y="365"/>
                    </a:lnTo>
                    <a:lnTo>
                      <a:pt x="324" y="369"/>
                    </a:lnTo>
                    <a:lnTo>
                      <a:pt x="323" y="374"/>
                    </a:lnTo>
                    <a:lnTo>
                      <a:pt x="324" y="372"/>
                    </a:lnTo>
                    <a:lnTo>
                      <a:pt x="324" y="378"/>
                    </a:lnTo>
                    <a:lnTo>
                      <a:pt x="323" y="376"/>
                    </a:lnTo>
                    <a:lnTo>
                      <a:pt x="321" y="376"/>
                    </a:lnTo>
                    <a:lnTo>
                      <a:pt x="320" y="374"/>
                    </a:lnTo>
                    <a:lnTo>
                      <a:pt x="317" y="372"/>
                    </a:lnTo>
                    <a:lnTo>
                      <a:pt x="315" y="371"/>
                    </a:lnTo>
                    <a:lnTo>
                      <a:pt x="312" y="369"/>
                    </a:lnTo>
                    <a:lnTo>
                      <a:pt x="312" y="368"/>
                    </a:lnTo>
                    <a:lnTo>
                      <a:pt x="317" y="371"/>
                    </a:lnTo>
                    <a:lnTo>
                      <a:pt x="317" y="368"/>
                    </a:lnTo>
                    <a:lnTo>
                      <a:pt x="317" y="365"/>
                    </a:lnTo>
                    <a:lnTo>
                      <a:pt x="315" y="363"/>
                    </a:lnTo>
                    <a:lnTo>
                      <a:pt x="314" y="359"/>
                    </a:lnTo>
                    <a:lnTo>
                      <a:pt x="312" y="356"/>
                    </a:lnTo>
                    <a:lnTo>
                      <a:pt x="310" y="355"/>
                    </a:lnTo>
                    <a:lnTo>
                      <a:pt x="310" y="349"/>
                    </a:lnTo>
                    <a:lnTo>
                      <a:pt x="307" y="346"/>
                    </a:lnTo>
                    <a:lnTo>
                      <a:pt x="305" y="346"/>
                    </a:lnTo>
                    <a:lnTo>
                      <a:pt x="299" y="343"/>
                    </a:lnTo>
                    <a:lnTo>
                      <a:pt x="298" y="342"/>
                    </a:lnTo>
                    <a:lnTo>
                      <a:pt x="298" y="339"/>
                    </a:lnTo>
                    <a:lnTo>
                      <a:pt x="299" y="339"/>
                    </a:lnTo>
                    <a:lnTo>
                      <a:pt x="299" y="334"/>
                    </a:lnTo>
                    <a:lnTo>
                      <a:pt x="295" y="334"/>
                    </a:lnTo>
                    <a:lnTo>
                      <a:pt x="289" y="329"/>
                    </a:lnTo>
                    <a:lnTo>
                      <a:pt x="288" y="327"/>
                    </a:lnTo>
                    <a:lnTo>
                      <a:pt x="288" y="330"/>
                    </a:lnTo>
                    <a:lnTo>
                      <a:pt x="285" y="329"/>
                    </a:lnTo>
                    <a:lnTo>
                      <a:pt x="278" y="324"/>
                    </a:lnTo>
                    <a:lnTo>
                      <a:pt x="276" y="326"/>
                    </a:lnTo>
                    <a:lnTo>
                      <a:pt x="273" y="327"/>
                    </a:lnTo>
                    <a:lnTo>
                      <a:pt x="273" y="326"/>
                    </a:lnTo>
                    <a:lnTo>
                      <a:pt x="272" y="326"/>
                    </a:lnTo>
                    <a:lnTo>
                      <a:pt x="265" y="320"/>
                    </a:lnTo>
                    <a:lnTo>
                      <a:pt x="257" y="318"/>
                    </a:lnTo>
                    <a:lnTo>
                      <a:pt x="228" y="318"/>
                    </a:lnTo>
                    <a:lnTo>
                      <a:pt x="212" y="327"/>
                    </a:lnTo>
                    <a:lnTo>
                      <a:pt x="207" y="327"/>
                    </a:lnTo>
                    <a:lnTo>
                      <a:pt x="202" y="330"/>
                    </a:lnTo>
                    <a:lnTo>
                      <a:pt x="188" y="330"/>
                    </a:lnTo>
                    <a:lnTo>
                      <a:pt x="185" y="329"/>
                    </a:lnTo>
                    <a:lnTo>
                      <a:pt x="180" y="330"/>
                    </a:lnTo>
                    <a:lnTo>
                      <a:pt x="170" y="336"/>
                    </a:lnTo>
                    <a:lnTo>
                      <a:pt x="166" y="337"/>
                    </a:lnTo>
                    <a:lnTo>
                      <a:pt x="163" y="340"/>
                    </a:lnTo>
                    <a:lnTo>
                      <a:pt x="159" y="340"/>
                    </a:lnTo>
                    <a:lnTo>
                      <a:pt x="156" y="343"/>
                    </a:lnTo>
                    <a:lnTo>
                      <a:pt x="150" y="356"/>
                    </a:lnTo>
                    <a:lnTo>
                      <a:pt x="144" y="358"/>
                    </a:lnTo>
                    <a:lnTo>
                      <a:pt x="143" y="358"/>
                    </a:lnTo>
                    <a:lnTo>
                      <a:pt x="140" y="356"/>
                    </a:lnTo>
                    <a:lnTo>
                      <a:pt x="128" y="358"/>
                    </a:lnTo>
                    <a:lnTo>
                      <a:pt x="127" y="356"/>
                    </a:lnTo>
                    <a:lnTo>
                      <a:pt x="127" y="356"/>
                    </a:lnTo>
                    <a:lnTo>
                      <a:pt x="121" y="356"/>
                    </a:lnTo>
                    <a:lnTo>
                      <a:pt x="112" y="356"/>
                    </a:lnTo>
                    <a:lnTo>
                      <a:pt x="109" y="358"/>
                    </a:lnTo>
                    <a:lnTo>
                      <a:pt x="98" y="358"/>
                    </a:lnTo>
                    <a:lnTo>
                      <a:pt x="95" y="359"/>
                    </a:lnTo>
                    <a:lnTo>
                      <a:pt x="92" y="360"/>
                    </a:lnTo>
                    <a:lnTo>
                      <a:pt x="90" y="363"/>
                    </a:lnTo>
                    <a:lnTo>
                      <a:pt x="92" y="365"/>
                    </a:lnTo>
                    <a:lnTo>
                      <a:pt x="90" y="365"/>
                    </a:lnTo>
                    <a:lnTo>
                      <a:pt x="89" y="366"/>
                    </a:lnTo>
                    <a:lnTo>
                      <a:pt x="82" y="368"/>
                    </a:lnTo>
                    <a:lnTo>
                      <a:pt x="76" y="372"/>
                    </a:lnTo>
                    <a:lnTo>
                      <a:pt x="74" y="374"/>
                    </a:lnTo>
                    <a:lnTo>
                      <a:pt x="73" y="376"/>
                    </a:lnTo>
                    <a:lnTo>
                      <a:pt x="70" y="376"/>
                    </a:lnTo>
                    <a:lnTo>
                      <a:pt x="69" y="375"/>
                    </a:lnTo>
                    <a:lnTo>
                      <a:pt x="67" y="378"/>
                    </a:lnTo>
                    <a:lnTo>
                      <a:pt x="66" y="378"/>
                    </a:lnTo>
                    <a:lnTo>
                      <a:pt x="63" y="378"/>
                    </a:lnTo>
                    <a:lnTo>
                      <a:pt x="61" y="376"/>
                    </a:lnTo>
                    <a:lnTo>
                      <a:pt x="50" y="376"/>
                    </a:lnTo>
                    <a:lnTo>
                      <a:pt x="47" y="374"/>
                    </a:lnTo>
                    <a:lnTo>
                      <a:pt x="45" y="374"/>
                    </a:lnTo>
                    <a:lnTo>
                      <a:pt x="45" y="374"/>
                    </a:lnTo>
                    <a:lnTo>
                      <a:pt x="42" y="374"/>
                    </a:lnTo>
                    <a:lnTo>
                      <a:pt x="34" y="365"/>
                    </a:lnTo>
                    <a:lnTo>
                      <a:pt x="28" y="363"/>
                    </a:lnTo>
                    <a:lnTo>
                      <a:pt x="28" y="352"/>
                    </a:lnTo>
                    <a:lnTo>
                      <a:pt x="28" y="352"/>
                    </a:lnTo>
                    <a:lnTo>
                      <a:pt x="31" y="353"/>
                    </a:lnTo>
                    <a:lnTo>
                      <a:pt x="32" y="352"/>
                    </a:lnTo>
                    <a:lnTo>
                      <a:pt x="37" y="345"/>
                    </a:lnTo>
                    <a:lnTo>
                      <a:pt x="37" y="342"/>
                    </a:lnTo>
                    <a:lnTo>
                      <a:pt x="35" y="339"/>
                    </a:lnTo>
                    <a:lnTo>
                      <a:pt x="35" y="334"/>
                    </a:lnTo>
                    <a:lnTo>
                      <a:pt x="37" y="336"/>
                    </a:lnTo>
                    <a:lnTo>
                      <a:pt x="37" y="334"/>
                    </a:lnTo>
                    <a:lnTo>
                      <a:pt x="37" y="320"/>
                    </a:lnTo>
                    <a:lnTo>
                      <a:pt x="28" y="302"/>
                    </a:lnTo>
                    <a:lnTo>
                      <a:pt x="25" y="283"/>
                    </a:lnTo>
                    <a:lnTo>
                      <a:pt x="21" y="273"/>
                    </a:lnTo>
                    <a:lnTo>
                      <a:pt x="19" y="269"/>
                    </a:lnTo>
                    <a:lnTo>
                      <a:pt x="13" y="260"/>
                    </a:lnTo>
                    <a:lnTo>
                      <a:pt x="13" y="254"/>
                    </a:lnTo>
                    <a:lnTo>
                      <a:pt x="10" y="244"/>
                    </a:lnTo>
                    <a:lnTo>
                      <a:pt x="8" y="243"/>
                    </a:lnTo>
                    <a:lnTo>
                      <a:pt x="3" y="238"/>
                    </a:lnTo>
                    <a:lnTo>
                      <a:pt x="3" y="236"/>
                    </a:lnTo>
                    <a:lnTo>
                      <a:pt x="2" y="234"/>
                    </a:lnTo>
                    <a:lnTo>
                      <a:pt x="0" y="233"/>
                    </a:lnTo>
                    <a:lnTo>
                      <a:pt x="0" y="231"/>
                    </a:lnTo>
                    <a:lnTo>
                      <a:pt x="0" y="231"/>
                    </a:lnTo>
                    <a:lnTo>
                      <a:pt x="2" y="233"/>
                    </a:lnTo>
                    <a:lnTo>
                      <a:pt x="3" y="233"/>
                    </a:lnTo>
                    <a:lnTo>
                      <a:pt x="3" y="234"/>
                    </a:lnTo>
                    <a:lnTo>
                      <a:pt x="5" y="237"/>
                    </a:lnTo>
                    <a:lnTo>
                      <a:pt x="5" y="236"/>
                    </a:lnTo>
                    <a:lnTo>
                      <a:pt x="6" y="238"/>
                    </a:lnTo>
                    <a:lnTo>
                      <a:pt x="8" y="238"/>
                    </a:lnTo>
                    <a:lnTo>
                      <a:pt x="9" y="237"/>
                    </a:lnTo>
                    <a:lnTo>
                      <a:pt x="9" y="234"/>
                    </a:lnTo>
                    <a:lnTo>
                      <a:pt x="6" y="233"/>
                    </a:lnTo>
                    <a:lnTo>
                      <a:pt x="3" y="224"/>
                    </a:lnTo>
                    <a:lnTo>
                      <a:pt x="3" y="222"/>
                    </a:lnTo>
                    <a:lnTo>
                      <a:pt x="5" y="222"/>
                    </a:lnTo>
                    <a:lnTo>
                      <a:pt x="8" y="231"/>
                    </a:lnTo>
                    <a:lnTo>
                      <a:pt x="9" y="230"/>
                    </a:lnTo>
                    <a:lnTo>
                      <a:pt x="10" y="234"/>
                    </a:lnTo>
                    <a:lnTo>
                      <a:pt x="12" y="234"/>
                    </a:lnTo>
                    <a:lnTo>
                      <a:pt x="13" y="233"/>
                    </a:lnTo>
                    <a:lnTo>
                      <a:pt x="13" y="230"/>
                    </a:lnTo>
                    <a:lnTo>
                      <a:pt x="13" y="225"/>
                    </a:lnTo>
                    <a:lnTo>
                      <a:pt x="12" y="222"/>
                    </a:lnTo>
                    <a:lnTo>
                      <a:pt x="10" y="220"/>
                    </a:lnTo>
                    <a:lnTo>
                      <a:pt x="9" y="221"/>
                    </a:lnTo>
                    <a:lnTo>
                      <a:pt x="10" y="218"/>
                    </a:lnTo>
                    <a:lnTo>
                      <a:pt x="2" y="204"/>
                    </a:lnTo>
                    <a:lnTo>
                      <a:pt x="2" y="196"/>
                    </a:lnTo>
                    <a:lnTo>
                      <a:pt x="3" y="193"/>
                    </a:lnTo>
                    <a:lnTo>
                      <a:pt x="8" y="190"/>
                    </a:lnTo>
                    <a:lnTo>
                      <a:pt x="8" y="180"/>
                    </a:lnTo>
                    <a:lnTo>
                      <a:pt x="6" y="177"/>
                    </a:lnTo>
                    <a:lnTo>
                      <a:pt x="10" y="164"/>
                    </a:lnTo>
                    <a:lnTo>
                      <a:pt x="10" y="164"/>
                    </a:lnTo>
                    <a:close/>
                  </a:path>
                </a:pathLst>
              </a:custGeom>
              <a:solidFill>
                <a:srgbClr val="65DAFF"/>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90" name="Freeform 186"/>
              <p:cNvSpPr>
                <a:spLocks/>
              </p:cNvSpPr>
              <p:nvPr/>
            </p:nvSpPr>
            <p:spPr bwMode="auto">
              <a:xfrm>
                <a:off x="5744149" y="2656005"/>
                <a:ext cx="1756" cy="2028"/>
              </a:xfrm>
              <a:custGeom>
                <a:avLst/>
                <a:gdLst/>
                <a:ahLst/>
                <a:cxnLst>
                  <a:cxn ang="0">
                    <a:pos x="2" y="0"/>
                  </a:cxn>
                  <a:cxn ang="0">
                    <a:pos x="0" y="2"/>
                  </a:cxn>
                  <a:cxn ang="0">
                    <a:pos x="2" y="2"/>
                  </a:cxn>
                  <a:cxn ang="0">
                    <a:pos x="2" y="2"/>
                  </a:cxn>
                  <a:cxn ang="0">
                    <a:pos x="2" y="0"/>
                  </a:cxn>
                </a:cxnLst>
                <a:rect l="0" t="0" r="r" b="b"/>
                <a:pathLst>
                  <a:path w="2" h="2">
                    <a:moveTo>
                      <a:pt x="2" y="0"/>
                    </a:moveTo>
                    <a:lnTo>
                      <a:pt x="0" y="2"/>
                    </a:lnTo>
                    <a:lnTo>
                      <a:pt x="2" y="2"/>
                    </a:lnTo>
                    <a:lnTo>
                      <a:pt x="2" y="2"/>
                    </a:lnTo>
                    <a:lnTo>
                      <a:pt x="2"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91" name="Freeform 187"/>
              <p:cNvSpPr>
                <a:spLocks/>
              </p:cNvSpPr>
              <p:nvPr/>
            </p:nvSpPr>
            <p:spPr bwMode="auto">
              <a:xfrm>
                <a:off x="5744149" y="2656005"/>
                <a:ext cx="1756" cy="2028"/>
              </a:xfrm>
              <a:custGeom>
                <a:avLst/>
                <a:gdLst/>
                <a:ahLst/>
                <a:cxnLst>
                  <a:cxn ang="0">
                    <a:pos x="2" y="0"/>
                  </a:cxn>
                  <a:cxn ang="0">
                    <a:pos x="0" y="2"/>
                  </a:cxn>
                  <a:cxn ang="0">
                    <a:pos x="2" y="2"/>
                  </a:cxn>
                  <a:cxn ang="0">
                    <a:pos x="2" y="2"/>
                  </a:cxn>
                  <a:cxn ang="0">
                    <a:pos x="2" y="0"/>
                  </a:cxn>
                </a:cxnLst>
                <a:rect l="0" t="0" r="r" b="b"/>
                <a:pathLst>
                  <a:path w="2" h="2">
                    <a:moveTo>
                      <a:pt x="2" y="0"/>
                    </a:moveTo>
                    <a:lnTo>
                      <a:pt x="0" y="2"/>
                    </a:lnTo>
                    <a:lnTo>
                      <a:pt x="2" y="2"/>
                    </a:lnTo>
                    <a:lnTo>
                      <a:pt x="2" y="2"/>
                    </a:lnTo>
                    <a:lnTo>
                      <a:pt x="2"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92" name="Freeform 188"/>
              <p:cNvSpPr>
                <a:spLocks/>
              </p:cNvSpPr>
              <p:nvPr/>
            </p:nvSpPr>
            <p:spPr bwMode="auto">
              <a:xfrm>
                <a:off x="5748537" y="2658033"/>
                <a:ext cx="5267" cy="3042"/>
              </a:xfrm>
              <a:custGeom>
                <a:avLst/>
                <a:gdLst/>
                <a:ahLst/>
                <a:cxnLst>
                  <a:cxn ang="0">
                    <a:pos x="4" y="3"/>
                  </a:cxn>
                  <a:cxn ang="0">
                    <a:pos x="5" y="3"/>
                  </a:cxn>
                  <a:cxn ang="0">
                    <a:pos x="4" y="1"/>
                  </a:cxn>
                  <a:cxn ang="0">
                    <a:pos x="1" y="0"/>
                  </a:cxn>
                  <a:cxn ang="0">
                    <a:pos x="0" y="0"/>
                  </a:cxn>
                  <a:cxn ang="0">
                    <a:pos x="0" y="1"/>
                  </a:cxn>
                  <a:cxn ang="0">
                    <a:pos x="1" y="3"/>
                  </a:cxn>
                  <a:cxn ang="0">
                    <a:pos x="2" y="3"/>
                  </a:cxn>
                  <a:cxn ang="0">
                    <a:pos x="4" y="3"/>
                  </a:cxn>
                </a:cxnLst>
                <a:rect l="0" t="0" r="r" b="b"/>
                <a:pathLst>
                  <a:path w="5" h="3">
                    <a:moveTo>
                      <a:pt x="4" y="3"/>
                    </a:moveTo>
                    <a:lnTo>
                      <a:pt x="5" y="3"/>
                    </a:lnTo>
                    <a:lnTo>
                      <a:pt x="4" y="1"/>
                    </a:lnTo>
                    <a:lnTo>
                      <a:pt x="1" y="0"/>
                    </a:lnTo>
                    <a:lnTo>
                      <a:pt x="0" y="0"/>
                    </a:lnTo>
                    <a:lnTo>
                      <a:pt x="0" y="1"/>
                    </a:lnTo>
                    <a:lnTo>
                      <a:pt x="1" y="3"/>
                    </a:lnTo>
                    <a:lnTo>
                      <a:pt x="2" y="3"/>
                    </a:lnTo>
                    <a:lnTo>
                      <a:pt x="4"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93" name="Freeform 189"/>
              <p:cNvSpPr>
                <a:spLocks/>
              </p:cNvSpPr>
              <p:nvPr/>
            </p:nvSpPr>
            <p:spPr bwMode="auto">
              <a:xfrm>
                <a:off x="5748537" y="2658033"/>
                <a:ext cx="5267" cy="3042"/>
              </a:xfrm>
              <a:custGeom>
                <a:avLst/>
                <a:gdLst/>
                <a:ahLst/>
                <a:cxnLst>
                  <a:cxn ang="0">
                    <a:pos x="4" y="3"/>
                  </a:cxn>
                  <a:cxn ang="0">
                    <a:pos x="5" y="3"/>
                  </a:cxn>
                  <a:cxn ang="0">
                    <a:pos x="4" y="1"/>
                  </a:cxn>
                  <a:cxn ang="0">
                    <a:pos x="1" y="0"/>
                  </a:cxn>
                  <a:cxn ang="0">
                    <a:pos x="0" y="0"/>
                  </a:cxn>
                  <a:cxn ang="0">
                    <a:pos x="0" y="1"/>
                  </a:cxn>
                  <a:cxn ang="0">
                    <a:pos x="1" y="3"/>
                  </a:cxn>
                  <a:cxn ang="0">
                    <a:pos x="2" y="3"/>
                  </a:cxn>
                  <a:cxn ang="0">
                    <a:pos x="4" y="3"/>
                  </a:cxn>
                </a:cxnLst>
                <a:rect l="0" t="0" r="r" b="b"/>
                <a:pathLst>
                  <a:path w="5" h="3">
                    <a:moveTo>
                      <a:pt x="4" y="3"/>
                    </a:moveTo>
                    <a:lnTo>
                      <a:pt x="5" y="3"/>
                    </a:lnTo>
                    <a:lnTo>
                      <a:pt x="4" y="1"/>
                    </a:lnTo>
                    <a:lnTo>
                      <a:pt x="1" y="0"/>
                    </a:lnTo>
                    <a:lnTo>
                      <a:pt x="0" y="0"/>
                    </a:lnTo>
                    <a:lnTo>
                      <a:pt x="0" y="1"/>
                    </a:lnTo>
                    <a:lnTo>
                      <a:pt x="1" y="3"/>
                    </a:lnTo>
                    <a:lnTo>
                      <a:pt x="2" y="3"/>
                    </a:lnTo>
                    <a:lnTo>
                      <a:pt x="4"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94" name="Freeform 190"/>
              <p:cNvSpPr>
                <a:spLocks/>
              </p:cNvSpPr>
              <p:nvPr/>
            </p:nvSpPr>
            <p:spPr bwMode="auto">
              <a:xfrm>
                <a:off x="5752926" y="2654991"/>
                <a:ext cx="5267" cy="3043"/>
              </a:xfrm>
              <a:custGeom>
                <a:avLst/>
                <a:gdLst/>
                <a:ahLst/>
                <a:cxnLst>
                  <a:cxn ang="0">
                    <a:pos x="6" y="3"/>
                  </a:cxn>
                  <a:cxn ang="0">
                    <a:pos x="6" y="1"/>
                  </a:cxn>
                  <a:cxn ang="0">
                    <a:pos x="0" y="0"/>
                  </a:cxn>
                  <a:cxn ang="0">
                    <a:pos x="0" y="0"/>
                  </a:cxn>
                  <a:cxn ang="0">
                    <a:pos x="3" y="3"/>
                  </a:cxn>
                  <a:cxn ang="0">
                    <a:pos x="4" y="3"/>
                  </a:cxn>
                  <a:cxn ang="0">
                    <a:pos x="6" y="3"/>
                  </a:cxn>
                </a:cxnLst>
                <a:rect l="0" t="0" r="r" b="b"/>
                <a:pathLst>
                  <a:path w="6" h="3">
                    <a:moveTo>
                      <a:pt x="6" y="3"/>
                    </a:moveTo>
                    <a:lnTo>
                      <a:pt x="6" y="1"/>
                    </a:lnTo>
                    <a:lnTo>
                      <a:pt x="0" y="0"/>
                    </a:lnTo>
                    <a:lnTo>
                      <a:pt x="0" y="0"/>
                    </a:lnTo>
                    <a:lnTo>
                      <a:pt x="3" y="3"/>
                    </a:lnTo>
                    <a:lnTo>
                      <a:pt x="4" y="3"/>
                    </a:lnTo>
                    <a:lnTo>
                      <a:pt x="6"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95" name="Freeform 191"/>
              <p:cNvSpPr>
                <a:spLocks/>
              </p:cNvSpPr>
              <p:nvPr/>
            </p:nvSpPr>
            <p:spPr bwMode="auto">
              <a:xfrm>
                <a:off x="5752926" y="2654991"/>
                <a:ext cx="5267" cy="3043"/>
              </a:xfrm>
              <a:custGeom>
                <a:avLst/>
                <a:gdLst/>
                <a:ahLst/>
                <a:cxnLst>
                  <a:cxn ang="0">
                    <a:pos x="6" y="3"/>
                  </a:cxn>
                  <a:cxn ang="0">
                    <a:pos x="6" y="1"/>
                  </a:cxn>
                  <a:cxn ang="0">
                    <a:pos x="0" y="0"/>
                  </a:cxn>
                  <a:cxn ang="0">
                    <a:pos x="0" y="0"/>
                  </a:cxn>
                  <a:cxn ang="0">
                    <a:pos x="3" y="3"/>
                  </a:cxn>
                  <a:cxn ang="0">
                    <a:pos x="4" y="3"/>
                  </a:cxn>
                  <a:cxn ang="0">
                    <a:pos x="6" y="3"/>
                  </a:cxn>
                </a:cxnLst>
                <a:rect l="0" t="0" r="r" b="b"/>
                <a:pathLst>
                  <a:path w="6" h="3">
                    <a:moveTo>
                      <a:pt x="6" y="3"/>
                    </a:moveTo>
                    <a:lnTo>
                      <a:pt x="6" y="1"/>
                    </a:lnTo>
                    <a:lnTo>
                      <a:pt x="0" y="0"/>
                    </a:lnTo>
                    <a:lnTo>
                      <a:pt x="0" y="0"/>
                    </a:lnTo>
                    <a:lnTo>
                      <a:pt x="3" y="3"/>
                    </a:lnTo>
                    <a:lnTo>
                      <a:pt x="4" y="3"/>
                    </a:lnTo>
                    <a:lnTo>
                      <a:pt x="6"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96" name="Freeform 192"/>
              <p:cNvSpPr>
                <a:spLocks/>
              </p:cNvSpPr>
              <p:nvPr/>
            </p:nvSpPr>
            <p:spPr bwMode="auto">
              <a:xfrm>
                <a:off x="5762582" y="2652962"/>
                <a:ext cx="4389" cy="3043"/>
              </a:xfrm>
              <a:custGeom>
                <a:avLst/>
                <a:gdLst/>
                <a:ahLst/>
                <a:cxnLst>
                  <a:cxn ang="0">
                    <a:pos x="3" y="0"/>
                  </a:cxn>
                  <a:cxn ang="0">
                    <a:pos x="3" y="0"/>
                  </a:cxn>
                  <a:cxn ang="0">
                    <a:pos x="0" y="0"/>
                  </a:cxn>
                  <a:cxn ang="0">
                    <a:pos x="0" y="2"/>
                  </a:cxn>
                  <a:cxn ang="0">
                    <a:pos x="2" y="3"/>
                  </a:cxn>
                  <a:cxn ang="0">
                    <a:pos x="3" y="3"/>
                  </a:cxn>
                  <a:cxn ang="0">
                    <a:pos x="5" y="2"/>
                  </a:cxn>
                  <a:cxn ang="0">
                    <a:pos x="3" y="0"/>
                  </a:cxn>
                </a:cxnLst>
                <a:rect l="0" t="0" r="r" b="b"/>
                <a:pathLst>
                  <a:path w="5" h="3">
                    <a:moveTo>
                      <a:pt x="3" y="0"/>
                    </a:moveTo>
                    <a:lnTo>
                      <a:pt x="3" y="0"/>
                    </a:lnTo>
                    <a:lnTo>
                      <a:pt x="0" y="0"/>
                    </a:lnTo>
                    <a:lnTo>
                      <a:pt x="0" y="2"/>
                    </a:lnTo>
                    <a:lnTo>
                      <a:pt x="2" y="3"/>
                    </a:lnTo>
                    <a:lnTo>
                      <a:pt x="3" y="3"/>
                    </a:lnTo>
                    <a:lnTo>
                      <a:pt x="5" y="2"/>
                    </a:lnTo>
                    <a:lnTo>
                      <a:pt x="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97" name="Freeform 193"/>
              <p:cNvSpPr>
                <a:spLocks/>
              </p:cNvSpPr>
              <p:nvPr/>
            </p:nvSpPr>
            <p:spPr bwMode="auto">
              <a:xfrm>
                <a:off x="5762582" y="2652962"/>
                <a:ext cx="4389" cy="3043"/>
              </a:xfrm>
              <a:custGeom>
                <a:avLst/>
                <a:gdLst/>
                <a:ahLst/>
                <a:cxnLst>
                  <a:cxn ang="0">
                    <a:pos x="3" y="0"/>
                  </a:cxn>
                  <a:cxn ang="0">
                    <a:pos x="3" y="0"/>
                  </a:cxn>
                  <a:cxn ang="0">
                    <a:pos x="0" y="0"/>
                  </a:cxn>
                  <a:cxn ang="0">
                    <a:pos x="0" y="2"/>
                  </a:cxn>
                  <a:cxn ang="0">
                    <a:pos x="2" y="3"/>
                  </a:cxn>
                  <a:cxn ang="0">
                    <a:pos x="3" y="3"/>
                  </a:cxn>
                  <a:cxn ang="0">
                    <a:pos x="5" y="2"/>
                  </a:cxn>
                  <a:cxn ang="0">
                    <a:pos x="3" y="0"/>
                  </a:cxn>
                </a:cxnLst>
                <a:rect l="0" t="0" r="r" b="b"/>
                <a:pathLst>
                  <a:path w="5" h="3">
                    <a:moveTo>
                      <a:pt x="3" y="0"/>
                    </a:moveTo>
                    <a:lnTo>
                      <a:pt x="3" y="0"/>
                    </a:lnTo>
                    <a:lnTo>
                      <a:pt x="0" y="0"/>
                    </a:lnTo>
                    <a:lnTo>
                      <a:pt x="0" y="2"/>
                    </a:lnTo>
                    <a:lnTo>
                      <a:pt x="2" y="3"/>
                    </a:lnTo>
                    <a:lnTo>
                      <a:pt x="3" y="3"/>
                    </a:lnTo>
                    <a:lnTo>
                      <a:pt x="5" y="2"/>
                    </a:lnTo>
                    <a:lnTo>
                      <a:pt x="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98" name="Freeform 194"/>
              <p:cNvSpPr>
                <a:spLocks/>
              </p:cNvSpPr>
              <p:nvPr/>
            </p:nvSpPr>
            <p:spPr bwMode="auto">
              <a:xfrm>
                <a:off x="5782772" y="2672231"/>
                <a:ext cx="9655" cy="3042"/>
              </a:xfrm>
              <a:custGeom>
                <a:avLst/>
                <a:gdLst/>
                <a:ahLst/>
                <a:cxnLst>
                  <a:cxn ang="0">
                    <a:pos x="10" y="0"/>
                  </a:cxn>
                  <a:cxn ang="0">
                    <a:pos x="9" y="0"/>
                  </a:cxn>
                  <a:cxn ang="0">
                    <a:pos x="0" y="0"/>
                  </a:cxn>
                  <a:cxn ang="0">
                    <a:pos x="0" y="0"/>
                  </a:cxn>
                  <a:cxn ang="0">
                    <a:pos x="6" y="3"/>
                  </a:cxn>
                  <a:cxn ang="0">
                    <a:pos x="9" y="1"/>
                  </a:cxn>
                  <a:cxn ang="0">
                    <a:pos x="10" y="0"/>
                  </a:cxn>
                </a:cxnLst>
                <a:rect l="0" t="0" r="r" b="b"/>
                <a:pathLst>
                  <a:path w="10" h="3">
                    <a:moveTo>
                      <a:pt x="10" y="0"/>
                    </a:moveTo>
                    <a:lnTo>
                      <a:pt x="9" y="0"/>
                    </a:lnTo>
                    <a:lnTo>
                      <a:pt x="0" y="0"/>
                    </a:lnTo>
                    <a:lnTo>
                      <a:pt x="0" y="0"/>
                    </a:lnTo>
                    <a:lnTo>
                      <a:pt x="6" y="3"/>
                    </a:lnTo>
                    <a:lnTo>
                      <a:pt x="9" y="1"/>
                    </a:lnTo>
                    <a:lnTo>
                      <a:pt x="1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99" name="Freeform 195"/>
              <p:cNvSpPr>
                <a:spLocks/>
              </p:cNvSpPr>
              <p:nvPr/>
            </p:nvSpPr>
            <p:spPr bwMode="auto">
              <a:xfrm>
                <a:off x="5782772" y="2672231"/>
                <a:ext cx="9655" cy="3042"/>
              </a:xfrm>
              <a:custGeom>
                <a:avLst/>
                <a:gdLst/>
                <a:ahLst/>
                <a:cxnLst>
                  <a:cxn ang="0">
                    <a:pos x="10" y="0"/>
                  </a:cxn>
                  <a:cxn ang="0">
                    <a:pos x="9" y="0"/>
                  </a:cxn>
                  <a:cxn ang="0">
                    <a:pos x="0" y="0"/>
                  </a:cxn>
                  <a:cxn ang="0">
                    <a:pos x="0" y="0"/>
                  </a:cxn>
                  <a:cxn ang="0">
                    <a:pos x="6" y="3"/>
                  </a:cxn>
                  <a:cxn ang="0">
                    <a:pos x="9" y="1"/>
                  </a:cxn>
                  <a:cxn ang="0">
                    <a:pos x="10" y="0"/>
                  </a:cxn>
                </a:cxnLst>
                <a:rect l="0" t="0" r="r" b="b"/>
                <a:pathLst>
                  <a:path w="10" h="3">
                    <a:moveTo>
                      <a:pt x="10" y="0"/>
                    </a:moveTo>
                    <a:lnTo>
                      <a:pt x="9" y="0"/>
                    </a:lnTo>
                    <a:lnTo>
                      <a:pt x="0" y="0"/>
                    </a:lnTo>
                    <a:lnTo>
                      <a:pt x="0" y="0"/>
                    </a:lnTo>
                    <a:lnTo>
                      <a:pt x="6" y="3"/>
                    </a:lnTo>
                    <a:lnTo>
                      <a:pt x="9" y="1"/>
                    </a:lnTo>
                    <a:lnTo>
                      <a:pt x="1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00" name="Freeform 196"/>
              <p:cNvSpPr>
                <a:spLocks/>
              </p:cNvSpPr>
              <p:nvPr/>
            </p:nvSpPr>
            <p:spPr bwMode="auto">
              <a:xfrm>
                <a:off x="5792428" y="2686429"/>
                <a:ext cx="1756" cy="2028"/>
              </a:xfrm>
              <a:custGeom>
                <a:avLst/>
                <a:gdLst/>
                <a:ahLst/>
                <a:cxnLst>
                  <a:cxn ang="0">
                    <a:pos x="2" y="0"/>
                  </a:cxn>
                  <a:cxn ang="0">
                    <a:pos x="2" y="0"/>
                  </a:cxn>
                  <a:cxn ang="0">
                    <a:pos x="2" y="0"/>
                  </a:cxn>
                  <a:cxn ang="0">
                    <a:pos x="0" y="0"/>
                  </a:cxn>
                  <a:cxn ang="0">
                    <a:pos x="0" y="2"/>
                  </a:cxn>
                  <a:cxn ang="0">
                    <a:pos x="2" y="0"/>
                  </a:cxn>
                </a:cxnLst>
                <a:rect l="0" t="0" r="r" b="b"/>
                <a:pathLst>
                  <a:path w="2" h="2">
                    <a:moveTo>
                      <a:pt x="2" y="0"/>
                    </a:moveTo>
                    <a:lnTo>
                      <a:pt x="2" y="0"/>
                    </a:lnTo>
                    <a:lnTo>
                      <a:pt x="2" y="0"/>
                    </a:lnTo>
                    <a:lnTo>
                      <a:pt x="0" y="0"/>
                    </a:lnTo>
                    <a:lnTo>
                      <a:pt x="0" y="2"/>
                    </a:lnTo>
                    <a:lnTo>
                      <a:pt x="2"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01" name="Freeform 197"/>
              <p:cNvSpPr>
                <a:spLocks/>
              </p:cNvSpPr>
              <p:nvPr/>
            </p:nvSpPr>
            <p:spPr bwMode="auto">
              <a:xfrm>
                <a:off x="5792428" y="2686429"/>
                <a:ext cx="1756" cy="2028"/>
              </a:xfrm>
              <a:custGeom>
                <a:avLst/>
                <a:gdLst/>
                <a:ahLst/>
                <a:cxnLst>
                  <a:cxn ang="0">
                    <a:pos x="2" y="0"/>
                  </a:cxn>
                  <a:cxn ang="0">
                    <a:pos x="2" y="0"/>
                  </a:cxn>
                  <a:cxn ang="0">
                    <a:pos x="2" y="0"/>
                  </a:cxn>
                  <a:cxn ang="0">
                    <a:pos x="0" y="0"/>
                  </a:cxn>
                  <a:cxn ang="0">
                    <a:pos x="0" y="2"/>
                  </a:cxn>
                  <a:cxn ang="0">
                    <a:pos x="2" y="0"/>
                  </a:cxn>
                </a:cxnLst>
                <a:rect l="0" t="0" r="r" b="b"/>
                <a:pathLst>
                  <a:path w="2" h="2">
                    <a:moveTo>
                      <a:pt x="2" y="0"/>
                    </a:moveTo>
                    <a:lnTo>
                      <a:pt x="2" y="0"/>
                    </a:lnTo>
                    <a:lnTo>
                      <a:pt x="2" y="0"/>
                    </a:lnTo>
                    <a:lnTo>
                      <a:pt x="0" y="0"/>
                    </a:lnTo>
                    <a:lnTo>
                      <a:pt x="0" y="2"/>
                    </a:lnTo>
                    <a:lnTo>
                      <a:pt x="2"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02" name="Freeform 198"/>
              <p:cNvSpPr>
                <a:spLocks/>
              </p:cNvSpPr>
              <p:nvPr/>
            </p:nvSpPr>
            <p:spPr bwMode="auto">
              <a:xfrm>
                <a:off x="6683395" y="3443985"/>
                <a:ext cx="2633" cy="7099"/>
              </a:xfrm>
              <a:custGeom>
                <a:avLst/>
                <a:gdLst/>
                <a:ahLst/>
                <a:cxnLst>
                  <a:cxn ang="0">
                    <a:pos x="1" y="0"/>
                  </a:cxn>
                  <a:cxn ang="0">
                    <a:pos x="3" y="0"/>
                  </a:cxn>
                  <a:cxn ang="0">
                    <a:pos x="1" y="3"/>
                  </a:cxn>
                  <a:cxn ang="0">
                    <a:pos x="3" y="6"/>
                  </a:cxn>
                  <a:cxn ang="0">
                    <a:pos x="3" y="7"/>
                  </a:cxn>
                  <a:cxn ang="0">
                    <a:pos x="3" y="7"/>
                  </a:cxn>
                  <a:cxn ang="0">
                    <a:pos x="1" y="7"/>
                  </a:cxn>
                  <a:cxn ang="0">
                    <a:pos x="1" y="6"/>
                  </a:cxn>
                  <a:cxn ang="0">
                    <a:pos x="0" y="6"/>
                  </a:cxn>
                  <a:cxn ang="0">
                    <a:pos x="0" y="4"/>
                  </a:cxn>
                  <a:cxn ang="0">
                    <a:pos x="0" y="3"/>
                  </a:cxn>
                  <a:cxn ang="0">
                    <a:pos x="0" y="0"/>
                  </a:cxn>
                  <a:cxn ang="0">
                    <a:pos x="0" y="0"/>
                  </a:cxn>
                  <a:cxn ang="0">
                    <a:pos x="1" y="0"/>
                  </a:cxn>
                  <a:cxn ang="0">
                    <a:pos x="1" y="0"/>
                  </a:cxn>
                </a:cxnLst>
                <a:rect l="0" t="0" r="r" b="b"/>
                <a:pathLst>
                  <a:path w="3" h="7">
                    <a:moveTo>
                      <a:pt x="1" y="0"/>
                    </a:moveTo>
                    <a:lnTo>
                      <a:pt x="3" y="0"/>
                    </a:lnTo>
                    <a:lnTo>
                      <a:pt x="1" y="3"/>
                    </a:lnTo>
                    <a:lnTo>
                      <a:pt x="3" y="6"/>
                    </a:lnTo>
                    <a:lnTo>
                      <a:pt x="3" y="7"/>
                    </a:lnTo>
                    <a:lnTo>
                      <a:pt x="3" y="7"/>
                    </a:lnTo>
                    <a:lnTo>
                      <a:pt x="1" y="7"/>
                    </a:lnTo>
                    <a:lnTo>
                      <a:pt x="1" y="6"/>
                    </a:lnTo>
                    <a:lnTo>
                      <a:pt x="0" y="6"/>
                    </a:lnTo>
                    <a:lnTo>
                      <a:pt x="0" y="4"/>
                    </a:lnTo>
                    <a:lnTo>
                      <a:pt x="0" y="3"/>
                    </a:lnTo>
                    <a:lnTo>
                      <a:pt x="0" y="0"/>
                    </a:lnTo>
                    <a:lnTo>
                      <a:pt x="0" y="0"/>
                    </a:lnTo>
                    <a:lnTo>
                      <a:pt x="1" y="0"/>
                    </a:lnTo>
                    <a:lnTo>
                      <a:pt x="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03" name="Freeform 199"/>
              <p:cNvSpPr>
                <a:spLocks/>
              </p:cNvSpPr>
              <p:nvPr/>
            </p:nvSpPr>
            <p:spPr bwMode="auto">
              <a:xfrm>
                <a:off x="6683395" y="3443985"/>
                <a:ext cx="2633" cy="7099"/>
              </a:xfrm>
              <a:custGeom>
                <a:avLst/>
                <a:gdLst/>
                <a:ahLst/>
                <a:cxnLst>
                  <a:cxn ang="0">
                    <a:pos x="1" y="0"/>
                  </a:cxn>
                  <a:cxn ang="0">
                    <a:pos x="3" y="0"/>
                  </a:cxn>
                  <a:cxn ang="0">
                    <a:pos x="1" y="3"/>
                  </a:cxn>
                  <a:cxn ang="0">
                    <a:pos x="3" y="6"/>
                  </a:cxn>
                  <a:cxn ang="0">
                    <a:pos x="3" y="7"/>
                  </a:cxn>
                  <a:cxn ang="0">
                    <a:pos x="3" y="7"/>
                  </a:cxn>
                  <a:cxn ang="0">
                    <a:pos x="1" y="7"/>
                  </a:cxn>
                  <a:cxn ang="0">
                    <a:pos x="1" y="6"/>
                  </a:cxn>
                  <a:cxn ang="0">
                    <a:pos x="0" y="6"/>
                  </a:cxn>
                  <a:cxn ang="0">
                    <a:pos x="0" y="4"/>
                  </a:cxn>
                  <a:cxn ang="0">
                    <a:pos x="0" y="3"/>
                  </a:cxn>
                  <a:cxn ang="0">
                    <a:pos x="0" y="0"/>
                  </a:cxn>
                  <a:cxn ang="0">
                    <a:pos x="0" y="0"/>
                  </a:cxn>
                  <a:cxn ang="0">
                    <a:pos x="1" y="0"/>
                  </a:cxn>
                  <a:cxn ang="0">
                    <a:pos x="1" y="0"/>
                  </a:cxn>
                </a:cxnLst>
                <a:rect l="0" t="0" r="r" b="b"/>
                <a:pathLst>
                  <a:path w="3" h="7">
                    <a:moveTo>
                      <a:pt x="1" y="0"/>
                    </a:moveTo>
                    <a:lnTo>
                      <a:pt x="3" y="0"/>
                    </a:lnTo>
                    <a:lnTo>
                      <a:pt x="1" y="3"/>
                    </a:lnTo>
                    <a:lnTo>
                      <a:pt x="3" y="6"/>
                    </a:lnTo>
                    <a:lnTo>
                      <a:pt x="3" y="7"/>
                    </a:lnTo>
                    <a:lnTo>
                      <a:pt x="3" y="7"/>
                    </a:lnTo>
                    <a:lnTo>
                      <a:pt x="1" y="7"/>
                    </a:lnTo>
                    <a:lnTo>
                      <a:pt x="1" y="6"/>
                    </a:lnTo>
                    <a:lnTo>
                      <a:pt x="0" y="6"/>
                    </a:lnTo>
                    <a:lnTo>
                      <a:pt x="0" y="4"/>
                    </a:lnTo>
                    <a:lnTo>
                      <a:pt x="0" y="3"/>
                    </a:lnTo>
                    <a:lnTo>
                      <a:pt x="0" y="0"/>
                    </a:lnTo>
                    <a:lnTo>
                      <a:pt x="0" y="0"/>
                    </a:lnTo>
                    <a:lnTo>
                      <a:pt x="1" y="0"/>
                    </a:lnTo>
                    <a:lnTo>
                      <a:pt x="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04" name="Freeform 200"/>
              <p:cNvSpPr>
                <a:spLocks/>
              </p:cNvSpPr>
              <p:nvPr/>
            </p:nvSpPr>
            <p:spPr bwMode="auto">
              <a:xfrm>
                <a:off x="6688662" y="3457169"/>
                <a:ext cx="1756" cy="1014"/>
              </a:xfrm>
              <a:custGeom>
                <a:avLst/>
                <a:gdLst/>
                <a:ahLst/>
                <a:cxnLst>
                  <a:cxn ang="0">
                    <a:pos x="2" y="1"/>
                  </a:cxn>
                  <a:cxn ang="0">
                    <a:pos x="2" y="1"/>
                  </a:cxn>
                  <a:cxn ang="0">
                    <a:pos x="1" y="1"/>
                  </a:cxn>
                  <a:cxn ang="0">
                    <a:pos x="1" y="1"/>
                  </a:cxn>
                  <a:cxn ang="0">
                    <a:pos x="0" y="1"/>
                  </a:cxn>
                  <a:cxn ang="0">
                    <a:pos x="0" y="0"/>
                  </a:cxn>
                  <a:cxn ang="0">
                    <a:pos x="0" y="0"/>
                  </a:cxn>
                  <a:cxn ang="0">
                    <a:pos x="2" y="1"/>
                  </a:cxn>
                  <a:cxn ang="0">
                    <a:pos x="2" y="1"/>
                  </a:cxn>
                </a:cxnLst>
                <a:rect l="0" t="0" r="r" b="b"/>
                <a:pathLst>
                  <a:path w="2" h="1">
                    <a:moveTo>
                      <a:pt x="2" y="1"/>
                    </a:moveTo>
                    <a:lnTo>
                      <a:pt x="2" y="1"/>
                    </a:lnTo>
                    <a:lnTo>
                      <a:pt x="1" y="1"/>
                    </a:lnTo>
                    <a:lnTo>
                      <a:pt x="1" y="1"/>
                    </a:lnTo>
                    <a:lnTo>
                      <a:pt x="0" y="1"/>
                    </a:lnTo>
                    <a:lnTo>
                      <a:pt x="0" y="0"/>
                    </a:lnTo>
                    <a:lnTo>
                      <a:pt x="0" y="0"/>
                    </a:lnTo>
                    <a:lnTo>
                      <a:pt x="2" y="1"/>
                    </a:lnTo>
                    <a:lnTo>
                      <a:pt x="2"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05" name="Freeform 201"/>
              <p:cNvSpPr>
                <a:spLocks/>
              </p:cNvSpPr>
              <p:nvPr/>
            </p:nvSpPr>
            <p:spPr bwMode="auto">
              <a:xfrm>
                <a:off x="6688662" y="3457169"/>
                <a:ext cx="1756" cy="1014"/>
              </a:xfrm>
              <a:custGeom>
                <a:avLst/>
                <a:gdLst/>
                <a:ahLst/>
                <a:cxnLst>
                  <a:cxn ang="0">
                    <a:pos x="2" y="1"/>
                  </a:cxn>
                  <a:cxn ang="0">
                    <a:pos x="2" y="1"/>
                  </a:cxn>
                  <a:cxn ang="0">
                    <a:pos x="1" y="1"/>
                  </a:cxn>
                  <a:cxn ang="0">
                    <a:pos x="1" y="1"/>
                  </a:cxn>
                  <a:cxn ang="0">
                    <a:pos x="0" y="1"/>
                  </a:cxn>
                  <a:cxn ang="0">
                    <a:pos x="0" y="0"/>
                  </a:cxn>
                  <a:cxn ang="0">
                    <a:pos x="0" y="0"/>
                  </a:cxn>
                  <a:cxn ang="0">
                    <a:pos x="2" y="1"/>
                  </a:cxn>
                  <a:cxn ang="0">
                    <a:pos x="2" y="1"/>
                  </a:cxn>
                </a:cxnLst>
                <a:rect l="0" t="0" r="r" b="b"/>
                <a:pathLst>
                  <a:path w="2" h="1">
                    <a:moveTo>
                      <a:pt x="2" y="1"/>
                    </a:moveTo>
                    <a:lnTo>
                      <a:pt x="2" y="1"/>
                    </a:lnTo>
                    <a:lnTo>
                      <a:pt x="1" y="1"/>
                    </a:lnTo>
                    <a:lnTo>
                      <a:pt x="1" y="1"/>
                    </a:lnTo>
                    <a:lnTo>
                      <a:pt x="0" y="1"/>
                    </a:lnTo>
                    <a:lnTo>
                      <a:pt x="0" y="0"/>
                    </a:lnTo>
                    <a:lnTo>
                      <a:pt x="0" y="0"/>
                    </a:lnTo>
                    <a:lnTo>
                      <a:pt x="2" y="1"/>
                    </a:lnTo>
                    <a:lnTo>
                      <a:pt x="2"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06" name="Freeform 202"/>
              <p:cNvSpPr>
                <a:spLocks/>
              </p:cNvSpPr>
              <p:nvPr/>
            </p:nvSpPr>
            <p:spPr bwMode="auto">
              <a:xfrm>
                <a:off x="6696562" y="3454126"/>
                <a:ext cx="4389" cy="4056"/>
              </a:xfrm>
              <a:custGeom>
                <a:avLst/>
                <a:gdLst/>
                <a:ahLst/>
                <a:cxnLst>
                  <a:cxn ang="0">
                    <a:pos x="3" y="0"/>
                  </a:cxn>
                  <a:cxn ang="0">
                    <a:pos x="5" y="1"/>
                  </a:cxn>
                  <a:cxn ang="0">
                    <a:pos x="5" y="4"/>
                  </a:cxn>
                  <a:cxn ang="0">
                    <a:pos x="3" y="4"/>
                  </a:cxn>
                  <a:cxn ang="0">
                    <a:pos x="3" y="4"/>
                  </a:cxn>
                  <a:cxn ang="0">
                    <a:pos x="3" y="3"/>
                  </a:cxn>
                  <a:cxn ang="0">
                    <a:pos x="2" y="3"/>
                  </a:cxn>
                  <a:cxn ang="0">
                    <a:pos x="0" y="3"/>
                  </a:cxn>
                  <a:cxn ang="0">
                    <a:pos x="0" y="1"/>
                  </a:cxn>
                  <a:cxn ang="0">
                    <a:pos x="2" y="1"/>
                  </a:cxn>
                  <a:cxn ang="0">
                    <a:pos x="3" y="1"/>
                  </a:cxn>
                  <a:cxn ang="0">
                    <a:pos x="3" y="0"/>
                  </a:cxn>
                </a:cxnLst>
                <a:rect l="0" t="0" r="r" b="b"/>
                <a:pathLst>
                  <a:path w="5" h="4">
                    <a:moveTo>
                      <a:pt x="3" y="0"/>
                    </a:moveTo>
                    <a:lnTo>
                      <a:pt x="5" y="1"/>
                    </a:lnTo>
                    <a:lnTo>
                      <a:pt x="5" y="4"/>
                    </a:lnTo>
                    <a:lnTo>
                      <a:pt x="3" y="4"/>
                    </a:lnTo>
                    <a:lnTo>
                      <a:pt x="3" y="4"/>
                    </a:lnTo>
                    <a:lnTo>
                      <a:pt x="3" y="3"/>
                    </a:lnTo>
                    <a:lnTo>
                      <a:pt x="2" y="3"/>
                    </a:lnTo>
                    <a:lnTo>
                      <a:pt x="0" y="3"/>
                    </a:lnTo>
                    <a:lnTo>
                      <a:pt x="0" y="1"/>
                    </a:lnTo>
                    <a:lnTo>
                      <a:pt x="2" y="1"/>
                    </a:lnTo>
                    <a:lnTo>
                      <a:pt x="3" y="1"/>
                    </a:lnTo>
                    <a:lnTo>
                      <a:pt x="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07" name="Freeform 203"/>
              <p:cNvSpPr>
                <a:spLocks/>
              </p:cNvSpPr>
              <p:nvPr/>
            </p:nvSpPr>
            <p:spPr bwMode="auto">
              <a:xfrm>
                <a:off x="6696562" y="3454126"/>
                <a:ext cx="4389" cy="4056"/>
              </a:xfrm>
              <a:custGeom>
                <a:avLst/>
                <a:gdLst/>
                <a:ahLst/>
                <a:cxnLst>
                  <a:cxn ang="0">
                    <a:pos x="3" y="0"/>
                  </a:cxn>
                  <a:cxn ang="0">
                    <a:pos x="5" y="1"/>
                  </a:cxn>
                  <a:cxn ang="0">
                    <a:pos x="5" y="4"/>
                  </a:cxn>
                  <a:cxn ang="0">
                    <a:pos x="3" y="4"/>
                  </a:cxn>
                  <a:cxn ang="0">
                    <a:pos x="3" y="4"/>
                  </a:cxn>
                  <a:cxn ang="0">
                    <a:pos x="3" y="3"/>
                  </a:cxn>
                  <a:cxn ang="0">
                    <a:pos x="2" y="3"/>
                  </a:cxn>
                  <a:cxn ang="0">
                    <a:pos x="0" y="3"/>
                  </a:cxn>
                  <a:cxn ang="0">
                    <a:pos x="0" y="1"/>
                  </a:cxn>
                  <a:cxn ang="0">
                    <a:pos x="2" y="1"/>
                  </a:cxn>
                  <a:cxn ang="0">
                    <a:pos x="3" y="1"/>
                  </a:cxn>
                  <a:cxn ang="0">
                    <a:pos x="3" y="0"/>
                  </a:cxn>
                </a:cxnLst>
                <a:rect l="0" t="0" r="r" b="b"/>
                <a:pathLst>
                  <a:path w="5" h="4">
                    <a:moveTo>
                      <a:pt x="3" y="0"/>
                    </a:moveTo>
                    <a:lnTo>
                      <a:pt x="5" y="1"/>
                    </a:lnTo>
                    <a:lnTo>
                      <a:pt x="5" y="4"/>
                    </a:lnTo>
                    <a:lnTo>
                      <a:pt x="3" y="4"/>
                    </a:lnTo>
                    <a:lnTo>
                      <a:pt x="3" y="4"/>
                    </a:lnTo>
                    <a:lnTo>
                      <a:pt x="3" y="3"/>
                    </a:lnTo>
                    <a:lnTo>
                      <a:pt x="2" y="3"/>
                    </a:lnTo>
                    <a:lnTo>
                      <a:pt x="0" y="3"/>
                    </a:lnTo>
                    <a:lnTo>
                      <a:pt x="0" y="1"/>
                    </a:lnTo>
                    <a:lnTo>
                      <a:pt x="2" y="1"/>
                    </a:lnTo>
                    <a:lnTo>
                      <a:pt x="3" y="1"/>
                    </a:lnTo>
                    <a:lnTo>
                      <a:pt x="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08" name="Freeform 204"/>
              <p:cNvSpPr>
                <a:spLocks/>
              </p:cNvSpPr>
              <p:nvPr/>
            </p:nvSpPr>
            <p:spPr bwMode="auto">
              <a:xfrm>
                <a:off x="6707096" y="3464268"/>
                <a:ext cx="2634" cy="5071"/>
              </a:xfrm>
              <a:custGeom>
                <a:avLst/>
                <a:gdLst/>
                <a:ahLst/>
                <a:cxnLst>
                  <a:cxn ang="0">
                    <a:pos x="3" y="0"/>
                  </a:cxn>
                  <a:cxn ang="0">
                    <a:pos x="1" y="2"/>
                  </a:cxn>
                  <a:cxn ang="0">
                    <a:pos x="3" y="3"/>
                  </a:cxn>
                  <a:cxn ang="0">
                    <a:pos x="1" y="3"/>
                  </a:cxn>
                  <a:cxn ang="0">
                    <a:pos x="1" y="5"/>
                  </a:cxn>
                  <a:cxn ang="0">
                    <a:pos x="0" y="3"/>
                  </a:cxn>
                  <a:cxn ang="0">
                    <a:pos x="0" y="2"/>
                  </a:cxn>
                  <a:cxn ang="0">
                    <a:pos x="0" y="2"/>
                  </a:cxn>
                  <a:cxn ang="0">
                    <a:pos x="0" y="0"/>
                  </a:cxn>
                  <a:cxn ang="0">
                    <a:pos x="0" y="0"/>
                  </a:cxn>
                  <a:cxn ang="0">
                    <a:pos x="0" y="0"/>
                  </a:cxn>
                  <a:cxn ang="0">
                    <a:pos x="3" y="0"/>
                  </a:cxn>
                </a:cxnLst>
                <a:rect l="0" t="0" r="r" b="b"/>
                <a:pathLst>
                  <a:path w="3" h="5">
                    <a:moveTo>
                      <a:pt x="3" y="0"/>
                    </a:moveTo>
                    <a:lnTo>
                      <a:pt x="1" y="2"/>
                    </a:lnTo>
                    <a:lnTo>
                      <a:pt x="3" y="3"/>
                    </a:lnTo>
                    <a:lnTo>
                      <a:pt x="1" y="3"/>
                    </a:lnTo>
                    <a:lnTo>
                      <a:pt x="1" y="5"/>
                    </a:lnTo>
                    <a:lnTo>
                      <a:pt x="0" y="3"/>
                    </a:lnTo>
                    <a:lnTo>
                      <a:pt x="0" y="2"/>
                    </a:lnTo>
                    <a:lnTo>
                      <a:pt x="0" y="2"/>
                    </a:lnTo>
                    <a:lnTo>
                      <a:pt x="0" y="0"/>
                    </a:lnTo>
                    <a:lnTo>
                      <a:pt x="0" y="0"/>
                    </a:lnTo>
                    <a:lnTo>
                      <a:pt x="0" y="0"/>
                    </a:lnTo>
                    <a:lnTo>
                      <a:pt x="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09" name="Freeform 205"/>
              <p:cNvSpPr>
                <a:spLocks/>
              </p:cNvSpPr>
              <p:nvPr/>
            </p:nvSpPr>
            <p:spPr bwMode="auto">
              <a:xfrm>
                <a:off x="6707096" y="3464268"/>
                <a:ext cx="2634" cy="5071"/>
              </a:xfrm>
              <a:custGeom>
                <a:avLst/>
                <a:gdLst/>
                <a:ahLst/>
                <a:cxnLst>
                  <a:cxn ang="0">
                    <a:pos x="3" y="0"/>
                  </a:cxn>
                  <a:cxn ang="0">
                    <a:pos x="1" y="2"/>
                  </a:cxn>
                  <a:cxn ang="0">
                    <a:pos x="3" y="3"/>
                  </a:cxn>
                  <a:cxn ang="0">
                    <a:pos x="1" y="3"/>
                  </a:cxn>
                  <a:cxn ang="0">
                    <a:pos x="1" y="5"/>
                  </a:cxn>
                  <a:cxn ang="0">
                    <a:pos x="0" y="3"/>
                  </a:cxn>
                  <a:cxn ang="0">
                    <a:pos x="0" y="2"/>
                  </a:cxn>
                  <a:cxn ang="0">
                    <a:pos x="0" y="2"/>
                  </a:cxn>
                  <a:cxn ang="0">
                    <a:pos x="0" y="0"/>
                  </a:cxn>
                  <a:cxn ang="0">
                    <a:pos x="0" y="0"/>
                  </a:cxn>
                  <a:cxn ang="0">
                    <a:pos x="0" y="0"/>
                  </a:cxn>
                  <a:cxn ang="0">
                    <a:pos x="3" y="0"/>
                  </a:cxn>
                </a:cxnLst>
                <a:rect l="0" t="0" r="r" b="b"/>
                <a:pathLst>
                  <a:path w="3" h="5">
                    <a:moveTo>
                      <a:pt x="3" y="0"/>
                    </a:moveTo>
                    <a:lnTo>
                      <a:pt x="1" y="2"/>
                    </a:lnTo>
                    <a:lnTo>
                      <a:pt x="3" y="3"/>
                    </a:lnTo>
                    <a:lnTo>
                      <a:pt x="1" y="3"/>
                    </a:lnTo>
                    <a:lnTo>
                      <a:pt x="1" y="5"/>
                    </a:lnTo>
                    <a:lnTo>
                      <a:pt x="0" y="3"/>
                    </a:lnTo>
                    <a:lnTo>
                      <a:pt x="0" y="2"/>
                    </a:lnTo>
                    <a:lnTo>
                      <a:pt x="0" y="2"/>
                    </a:lnTo>
                    <a:lnTo>
                      <a:pt x="0" y="0"/>
                    </a:lnTo>
                    <a:lnTo>
                      <a:pt x="0" y="0"/>
                    </a:lnTo>
                    <a:lnTo>
                      <a:pt x="0" y="0"/>
                    </a:lnTo>
                    <a:lnTo>
                      <a:pt x="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10" name="Freeform 207"/>
              <p:cNvSpPr>
                <a:spLocks/>
              </p:cNvSpPr>
              <p:nvPr/>
            </p:nvSpPr>
            <p:spPr bwMode="auto">
              <a:xfrm>
                <a:off x="5908297" y="3110336"/>
                <a:ext cx="3511" cy="2028"/>
              </a:xfrm>
              <a:custGeom>
                <a:avLst/>
                <a:gdLst/>
                <a:ahLst/>
                <a:cxnLst>
                  <a:cxn ang="0">
                    <a:pos x="4" y="0"/>
                  </a:cxn>
                  <a:cxn ang="0">
                    <a:pos x="1" y="0"/>
                  </a:cxn>
                  <a:cxn ang="0">
                    <a:pos x="0" y="0"/>
                  </a:cxn>
                  <a:cxn ang="0">
                    <a:pos x="1" y="2"/>
                  </a:cxn>
                  <a:cxn ang="0">
                    <a:pos x="3" y="2"/>
                  </a:cxn>
                  <a:cxn ang="0">
                    <a:pos x="4" y="0"/>
                  </a:cxn>
                </a:cxnLst>
                <a:rect l="0" t="0" r="r" b="b"/>
                <a:pathLst>
                  <a:path w="4" h="2">
                    <a:moveTo>
                      <a:pt x="4" y="0"/>
                    </a:moveTo>
                    <a:lnTo>
                      <a:pt x="1" y="0"/>
                    </a:lnTo>
                    <a:lnTo>
                      <a:pt x="0" y="0"/>
                    </a:lnTo>
                    <a:lnTo>
                      <a:pt x="1" y="2"/>
                    </a:lnTo>
                    <a:lnTo>
                      <a:pt x="3" y="2"/>
                    </a:lnTo>
                    <a:lnTo>
                      <a:pt x="4"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11" name="Freeform 208"/>
              <p:cNvSpPr>
                <a:spLocks/>
              </p:cNvSpPr>
              <p:nvPr/>
            </p:nvSpPr>
            <p:spPr bwMode="auto">
              <a:xfrm>
                <a:off x="5908297" y="3110336"/>
                <a:ext cx="3511" cy="2028"/>
              </a:xfrm>
              <a:custGeom>
                <a:avLst/>
                <a:gdLst/>
                <a:ahLst/>
                <a:cxnLst>
                  <a:cxn ang="0">
                    <a:pos x="4" y="0"/>
                  </a:cxn>
                  <a:cxn ang="0">
                    <a:pos x="1" y="0"/>
                  </a:cxn>
                  <a:cxn ang="0">
                    <a:pos x="0" y="0"/>
                  </a:cxn>
                  <a:cxn ang="0">
                    <a:pos x="1" y="2"/>
                  </a:cxn>
                  <a:cxn ang="0">
                    <a:pos x="3" y="2"/>
                  </a:cxn>
                  <a:cxn ang="0">
                    <a:pos x="4" y="0"/>
                  </a:cxn>
                </a:cxnLst>
                <a:rect l="0" t="0" r="r" b="b"/>
                <a:pathLst>
                  <a:path w="4" h="2">
                    <a:moveTo>
                      <a:pt x="4" y="0"/>
                    </a:moveTo>
                    <a:lnTo>
                      <a:pt x="1" y="0"/>
                    </a:lnTo>
                    <a:lnTo>
                      <a:pt x="0" y="0"/>
                    </a:lnTo>
                    <a:lnTo>
                      <a:pt x="1" y="2"/>
                    </a:lnTo>
                    <a:lnTo>
                      <a:pt x="3" y="2"/>
                    </a:lnTo>
                    <a:lnTo>
                      <a:pt x="4"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12" name="Freeform 209"/>
              <p:cNvSpPr>
                <a:spLocks/>
              </p:cNvSpPr>
              <p:nvPr/>
            </p:nvSpPr>
            <p:spPr bwMode="auto">
              <a:xfrm>
                <a:off x="6229572" y="3217834"/>
                <a:ext cx="4389" cy="9127"/>
              </a:xfrm>
              <a:custGeom>
                <a:avLst/>
                <a:gdLst/>
                <a:ahLst/>
                <a:cxnLst>
                  <a:cxn ang="0">
                    <a:pos x="5" y="3"/>
                  </a:cxn>
                  <a:cxn ang="0">
                    <a:pos x="5" y="5"/>
                  </a:cxn>
                  <a:cxn ang="0">
                    <a:pos x="5" y="8"/>
                  </a:cxn>
                  <a:cxn ang="0">
                    <a:pos x="4" y="8"/>
                  </a:cxn>
                  <a:cxn ang="0">
                    <a:pos x="3" y="9"/>
                  </a:cxn>
                  <a:cxn ang="0">
                    <a:pos x="1" y="9"/>
                  </a:cxn>
                  <a:cxn ang="0">
                    <a:pos x="0" y="8"/>
                  </a:cxn>
                  <a:cxn ang="0">
                    <a:pos x="0" y="6"/>
                  </a:cxn>
                  <a:cxn ang="0">
                    <a:pos x="3" y="0"/>
                  </a:cxn>
                  <a:cxn ang="0">
                    <a:pos x="4" y="0"/>
                  </a:cxn>
                  <a:cxn ang="0">
                    <a:pos x="5" y="3"/>
                  </a:cxn>
                </a:cxnLst>
                <a:rect l="0" t="0" r="r" b="b"/>
                <a:pathLst>
                  <a:path w="5" h="9">
                    <a:moveTo>
                      <a:pt x="5" y="3"/>
                    </a:moveTo>
                    <a:lnTo>
                      <a:pt x="5" y="5"/>
                    </a:lnTo>
                    <a:lnTo>
                      <a:pt x="5" y="8"/>
                    </a:lnTo>
                    <a:lnTo>
                      <a:pt x="4" y="8"/>
                    </a:lnTo>
                    <a:lnTo>
                      <a:pt x="3" y="9"/>
                    </a:lnTo>
                    <a:lnTo>
                      <a:pt x="1" y="9"/>
                    </a:lnTo>
                    <a:lnTo>
                      <a:pt x="0" y="8"/>
                    </a:lnTo>
                    <a:lnTo>
                      <a:pt x="0" y="6"/>
                    </a:lnTo>
                    <a:lnTo>
                      <a:pt x="3" y="0"/>
                    </a:lnTo>
                    <a:lnTo>
                      <a:pt x="4" y="0"/>
                    </a:lnTo>
                    <a:lnTo>
                      <a:pt x="5"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13" name="Freeform 210"/>
              <p:cNvSpPr>
                <a:spLocks/>
              </p:cNvSpPr>
              <p:nvPr/>
            </p:nvSpPr>
            <p:spPr bwMode="auto">
              <a:xfrm>
                <a:off x="6229572" y="3217834"/>
                <a:ext cx="4389" cy="9127"/>
              </a:xfrm>
              <a:custGeom>
                <a:avLst/>
                <a:gdLst/>
                <a:ahLst/>
                <a:cxnLst>
                  <a:cxn ang="0">
                    <a:pos x="5" y="3"/>
                  </a:cxn>
                  <a:cxn ang="0">
                    <a:pos x="5" y="5"/>
                  </a:cxn>
                  <a:cxn ang="0">
                    <a:pos x="5" y="8"/>
                  </a:cxn>
                  <a:cxn ang="0">
                    <a:pos x="4" y="8"/>
                  </a:cxn>
                  <a:cxn ang="0">
                    <a:pos x="3" y="9"/>
                  </a:cxn>
                  <a:cxn ang="0">
                    <a:pos x="1" y="9"/>
                  </a:cxn>
                  <a:cxn ang="0">
                    <a:pos x="0" y="8"/>
                  </a:cxn>
                  <a:cxn ang="0">
                    <a:pos x="0" y="6"/>
                  </a:cxn>
                  <a:cxn ang="0">
                    <a:pos x="3" y="0"/>
                  </a:cxn>
                  <a:cxn ang="0">
                    <a:pos x="4" y="0"/>
                  </a:cxn>
                  <a:cxn ang="0">
                    <a:pos x="5" y="3"/>
                  </a:cxn>
                </a:cxnLst>
                <a:rect l="0" t="0" r="r" b="b"/>
                <a:pathLst>
                  <a:path w="5" h="9">
                    <a:moveTo>
                      <a:pt x="5" y="3"/>
                    </a:moveTo>
                    <a:lnTo>
                      <a:pt x="5" y="5"/>
                    </a:lnTo>
                    <a:lnTo>
                      <a:pt x="5" y="8"/>
                    </a:lnTo>
                    <a:lnTo>
                      <a:pt x="4" y="8"/>
                    </a:lnTo>
                    <a:lnTo>
                      <a:pt x="3" y="9"/>
                    </a:lnTo>
                    <a:lnTo>
                      <a:pt x="1" y="9"/>
                    </a:lnTo>
                    <a:lnTo>
                      <a:pt x="0" y="8"/>
                    </a:lnTo>
                    <a:lnTo>
                      <a:pt x="0" y="6"/>
                    </a:lnTo>
                    <a:lnTo>
                      <a:pt x="3" y="0"/>
                    </a:lnTo>
                    <a:lnTo>
                      <a:pt x="4" y="0"/>
                    </a:lnTo>
                    <a:lnTo>
                      <a:pt x="5"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14" name="Freeform 213"/>
              <p:cNvSpPr>
                <a:spLocks/>
              </p:cNvSpPr>
              <p:nvPr/>
            </p:nvSpPr>
            <p:spPr bwMode="auto">
              <a:xfrm>
                <a:off x="6639506" y="3033262"/>
                <a:ext cx="2633" cy="3042"/>
              </a:xfrm>
              <a:custGeom>
                <a:avLst/>
                <a:gdLst/>
                <a:ahLst/>
                <a:cxnLst>
                  <a:cxn ang="0">
                    <a:pos x="1" y="1"/>
                  </a:cxn>
                  <a:cxn ang="0">
                    <a:pos x="1" y="1"/>
                  </a:cxn>
                  <a:cxn ang="0">
                    <a:pos x="1" y="1"/>
                  </a:cxn>
                  <a:cxn ang="0">
                    <a:pos x="0" y="1"/>
                  </a:cxn>
                  <a:cxn ang="0">
                    <a:pos x="0" y="3"/>
                  </a:cxn>
                  <a:cxn ang="0">
                    <a:pos x="1" y="3"/>
                  </a:cxn>
                  <a:cxn ang="0">
                    <a:pos x="1" y="3"/>
                  </a:cxn>
                  <a:cxn ang="0">
                    <a:pos x="3" y="3"/>
                  </a:cxn>
                  <a:cxn ang="0">
                    <a:pos x="3" y="3"/>
                  </a:cxn>
                  <a:cxn ang="0">
                    <a:pos x="3" y="1"/>
                  </a:cxn>
                  <a:cxn ang="0">
                    <a:pos x="1" y="0"/>
                  </a:cxn>
                  <a:cxn ang="0">
                    <a:pos x="1" y="1"/>
                  </a:cxn>
                  <a:cxn ang="0">
                    <a:pos x="1" y="1"/>
                  </a:cxn>
                </a:cxnLst>
                <a:rect l="0" t="0" r="r" b="b"/>
                <a:pathLst>
                  <a:path w="3" h="3">
                    <a:moveTo>
                      <a:pt x="1" y="1"/>
                    </a:moveTo>
                    <a:lnTo>
                      <a:pt x="1" y="1"/>
                    </a:lnTo>
                    <a:lnTo>
                      <a:pt x="1" y="1"/>
                    </a:lnTo>
                    <a:lnTo>
                      <a:pt x="0" y="1"/>
                    </a:lnTo>
                    <a:lnTo>
                      <a:pt x="0" y="3"/>
                    </a:lnTo>
                    <a:lnTo>
                      <a:pt x="1" y="3"/>
                    </a:lnTo>
                    <a:lnTo>
                      <a:pt x="1" y="3"/>
                    </a:lnTo>
                    <a:lnTo>
                      <a:pt x="3" y="3"/>
                    </a:lnTo>
                    <a:lnTo>
                      <a:pt x="3" y="3"/>
                    </a:lnTo>
                    <a:lnTo>
                      <a:pt x="3" y="1"/>
                    </a:lnTo>
                    <a:lnTo>
                      <a:pt x="1" y="0"/>
                    </a:lnTo>
                    <a:lnTo>
                      <a:pt x="1" y="1"/>
                    </a:lnTo>
                    <a:lnTo>
                      <a:pt x="1"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15" name="Freeform 214"/>
              <p:cNvSpPr>
                <a:spLocks/>
              </p:cNvSpPr>
              <p:nvPr/>
            </p:nvSpPr>
            <p:spPr bwMode="auto">
              <a:xfrm>
                <a:off x="6639506" y="3033262"/>
                <a:ext cx="2633" cy="3042"/>
              </a:xfrm>
              <a:custGeom>
                <a:avLst/>
                <a:gdLst/>
                <a:ahLst/>
                <a:cxnLst>
                  <a:cxn ang="0">
                    <a:pos x="1" y="1"/>
                  </a:cxn>
                  <a:cxn ang="0">
                    <a:pos x="1" y="1"/>
                  </a:cxn>
                  <a:cxn ang="0">
                    <a:pos x="1" y="1"/>
                  </a:cxn>
                  <a:cxn ang="0">
                    <a:pos x="0" y="1"/>
                  </a:cxn>
                  <a:cxn ang="0">
                    <a:pos x="0" y="3"/>
                  </a:cxn>
                  <a:cxn ang="0">
                    <a:pos x="1" y="3"/>
                  </a:cxn>
                  <a:cxn ang="0">
                    <a:pos x="1" y="3"/>
                  </a:cxn>
                  <a:cxn ang="0">
                    <a:pos x="3" y="3"/>
                  </a:cxn>
                  <a:cxn ang="0">
                    <a:pos x="3" y="3"/>
                  </a:cxn>
                  <a:cxn ang="0">
                    <a:pos x="3" y="1"/>
                  </a:cxn>
                  <a:cxn ang="0">
                    <a:pos x="1" y="0"/>
                  </a:cxn>
                  <a:cxn ang="0">
                    <a:pos x="1" y="1"/>
                  </a:cxn>
                  <a:cxn ang="0">
                    <a:pos x="1" y="1"/>
                  </a:cxn>
                </a:cxnLst>
                <a:rect l="0" t="0" r="r" b="b"/>
                <a:pathLst>
                  <a:path w="3" h="3">
                    <a:moveTo>
                      <a:pt x="1" y="1"/>
                    </a:moveTo>
                    <a:lnTo>
                      <a:pt x="1" y="1"/>
                    </a:lnTo>
                    <a:lnTo>
                      <a:pt x="1" y="1"/>
                    </a:lnTo>
                    <a:lnTo>
                      <a:pt x="0" y="1"/>
                    </a:lnTo>
                    <a:lnTo>
                      <a:pt x="0" y="3"/>
                    </a:lnTo>
                    <a:lnTo>
                      <a:pt x="1" y="3"/>
                    </a:lnTo>
                    <a:lnTo>
                      <a:pt x="1" y="3"/>
                    </a:lnTo>
                    <a:lnTo>
                      <a:pt x="3" y="3"/>
                    </a:lnTo>
                    <a:lnTo>
                      <a:pt x="3" y="3"/>
                    </a:lnTo>
                    <a:lnTo>
                      <a:pt x="3" y="1"/>
                    </a:lnTo>
                    <a:lnTo>
                      <a:pt x="1" y="0"/>
                    </a:lnTo>
                    <a:lnTo>
                      <a:pt x="1" y="1"/>
                    </a:lnTo>
                    <a:lnTo>
                      <a:pt x="1"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16" name="Freeform 215"/>
              <p:cNvSpPr>
                <a:spLocks/>
              </p:cNvSpPr>
              <p:nvPr/>
            </p:nvSpPr>
            <p:spPr bwMode="auto">
              <a:xfrm>
                <a:off x="6639506" y="3037318"/>
                <a:ext cx="6144" cy="5071"/>
              </a:xfrm>
              <a:custGeom>
                <a:avLst/>
                <a:gdLst/>
                <a:ahLst/>
                <a:cxnLst>
                  <a:cxn ang="0">
                    <a:pos x="4" y="3"/>
                  </a:cxn>
                  <a:cxn ang="0">
                    <a:pos x="4" y="5"/>
                  </a:cxn>
                  <a:cxn ang="0">
                    <a:pos x="4" y="5"/>
                  </a:cxn>
                  <a:cxn ang="0">
                    <a:pos x="3" y="3"/>
                  </a:cxn>
                  <a:cxn ang="0">
                    <a:pos x="3" y="2"/>
                  </a:cxn>
                  <a:cxn ang="0">
                    <a:pos x="1" y="0"/>
                  </a:cxn>
                  <a:cxn ang="0">
                    <a:pos x="1" y="0"/>
                  </a:cxn>
                  <a:cxn ang="0">
                    <a:pos x="0" y="2"/>
                  </a:cxn>
                  <a:cxn ang="0">
                    <a:pos x="0" y="2"/>
                  </a:cxn>
                  <a:cxn ang="0">
                    <a:pos x="0" y="2"/>
                  </a:cxn>
                  <a:cxn ang="0">
                    <a:pos x="1" y="2"/>
                  </a:cxn>
                  <a:cxn ang="0">
                    <a:pos x="1" y="2"/>
                  </a:cxn>
                  <a:cxn ang="0">
                    <a:pos x="1" y="3"/>
                  </a:cxn>
                  <a:cxn ang="0">
                    <a:pos x="1" y="5"/>
                  </a:cxn>
                  <a:cxn ang="0">
                    <a:pos x="0" y="3"/>
                  </a:cxn>
                  <a:cxn ang="0">
                    <a:pos x="0" y="3"/>
                  </a:cxn>
                  <a:cxn ang="0">
                    <a:pos x="1" y="5"/>
                  </a:cxn>
                  <a:cxn ang="0">
                    <a:pos x="6" y="5"/>
                  </a:cxn>
                  <a:cxn ang="0">
                    <a:pos x="7" y="5"/>
                  </a:cxn>
                  <a:cxn ang="0">
                    <a:pos x="6" y="5"/>
                  </a:cxn>
                  <a:cxn ang="0">
                    <a:pos x="6" y="3"/>
                  </a:cxn>
                  <a:cxn ang="0">
                    <a:pos x="6" y="3"/>
                  </a:cxn>
                  <a:cxn ang="0">
                    <a:pos x="4" y="3"/>
                  </a:cxn>
                  <a:cxn ang="0">
                    <a:pos x="4" y="3"/>
                  </a:cxn>
                </a:cxnLst>
                <a:rect l="0" t="0" r="r" b="b"/>
                <a:pathLst>
                  <a:path w="7" h="5">
                    <a:moveTo>
                      <a:pt x="4" y="3"/>
                    </a:moveTo>
                    <a:lnTo>
                      <a:pt x="4" y="5"/>
                    </a:lnTo>
                    <a:lnTo>
                      <a:pt x="4" y="5"/>
                    </a:lnTo>
                    <a:lnTo>
                      <a:pt x="3" y="3"/>
                    </a:lnTo>
                    <a:lnTo>
                      <a:pt x="3" y="2"/>
                    </a:lnTo>
                    <a:lnTo>
                      <a:pt x="1" y="0"/>
                    </a:lnTo>
                    <a:lnTo>
                      <a:pt x="1" y="0"/>
                    </a:lnTo>
                    <a:lnTo>
                      <a:pt x="0" y="2"/>
                    </a:lnTo>
                    <a:lnTo>
                      <a:pt x="0" y="2"/>
                    </a:lnTo>
                    <a:lnTo>
                      <a:pt x="0" y="2"/>
                    </a:lnTo>
                    <a:lnTo>
                      <a:pt x="1" y="2"/>
                    </a:lnTo>
                    <a:lnTo>
                      <a:pt x="1" y="2"/>
                    </a:lnTo>
                    <a:lnTo>
                      <a:pt x="1" y="3"/>
                    </a:lnTo>
                    <a:lnTo>
                      <a:pt x="1" y="5"/>
                    </a:lnTo>
                    <a:lnTo>
                      <a:pt x="0" y="3"/>
                    </a:lnTo>
                    <a:lnTo>
                      <a:pt x="0" y="3"/>
                    </a:lnTo>
                    <a:lnTo>
                      <a:pt x="1" y="5"/>
                    </a:lnTo>
                    <a:lnTo>
                      <a:pt x="6" y="5"/>
                    </a:lnTo>
                    <a:lnTo>
                      <a:pt x="7" y="5"/>
                    </a:lnTo>
                    <a:lnTo>
                      <a:pt x="6" y="5"/>
                    </a:lnTo>
                    <a:lnTo>
                      <a:pt x="6" y="3"/>
                    </a:lnTo>
                    <a:lnTo>
                      <a:pt x="6" y="3"/>
                    </a:lnTo>
                    <a:lnTo>
                      <a:pt x="4" y="3"/>
                    </a:lnTo>
                    <a:lnTo>
                      <a:pt x="4"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17" name="Freeform 216"/>
              <p:cNvSpPr>
                <a:spLocks/>
              </p:cNvSpPr>
              <p:nvPr/>
            </p:nvSpPr>
            <p:spPr bwMode="auto">
              <a:xfrm>
                <a:off x="6639506" y="3037318"/>
                <a:ext cx="6144" cy="5071"/>
              </a:xfrm>
              <a:custGeom>
                <a:avLst/>
                <a:gdLst/>
                <a:ahLst/>
                <a:cxnLst>
                  <a:cxn ang="0">
                    <a:pos x="4" y="3"/>
                  </a:cxn>
                  <a:cxn ang="0">
                    <a:pos x="4" y="5"/>
                  </a:cxn>
                  <a:cxn ang="0">
                    <a:pos x="4" y="5"/>
                  </a:cxn>
                  <a:cxn ang="0">
                    <a:pos x="3" y="3"/>
                  </a:cxn>
                  <a:cxn ang="0">
                    <a:pos x="3" y="2"/>
                  </a:cxn>
                  <a:cxn ang="0">
                    <a:pos x="1" y="0"/>
                  </a:cxn>
                  <a:cxn ang="0">
                    <a:pos x="1" y="0"/>
                  </a:cxn>
                  <a:cxn ang="0">
                    <a:pos x="0" y="2"/>
                  </a:cxn>
                  <a:cxn ang="0">
                    <a:pos x="0" y="2"/>
                  </a:cxn>
                  <a:cxn ang="0">
                    <a:pos x="0" y="2"/>
                  </a:cxn>
                  <a:cxn ang="0">
                    <a:pos x="1" y="2"/>
                  </a:cxn>
                  <a:cxn ang="0">
                    <a:pos x="1" y="2"/>
                  </a:cxn>
                  <a:cxn ang="0">
                    <a:pos x="1" y="3"/>
                  </a:cxn>
                  <a:cxn ang="0">
                    <a:pos x="1" y="5"/>
                  </a:cxn>
                  <a:cxn ang="0">
                    <a:pos x="0" y="3"/>
                  </a:cxn>
                  <a:cxn ang="0">
                    <a:pos x="0" y="3"/>
                  </a:cxn>
                  <a:cxn ang="0">
                    <a:pos x="1" y="5"/>
                  </a:cxn>
                  <a:cxn ang="0">
                    <a:pos x="6" y="5"/>
                  </a:cxn>
                  <a:cxn ang="0">
                    <a:pos x="7" y="5"/>
                  </a:cxn>
                  <a:cxn ang="0">
                    <a:pos x="6" y="5"/>
                  </a:cxn>
                  <a:cxn ang="0">
                    <a:pos x="6" y="3"/>
                  </a:cxn>
                  <a:cxn ang="0">
                    <a:pos x="6" y="3"/>
                  </a:cxn>
                  <a:cxn ang="0">
                    <a:pos x="4" y="3"/>
                  </a:cxn>
                  <a:cxn ang="0">
                    <a:pos x="4" y="3"/>
                  </a:cxn>
                </a:cxnLst>
                <a:rect l="0" t="0" r="r" b="b"/>
                <a:pathLst>
                  <a:path w="7" h="5">
                    <a:moveTo>
                      <a:pt x="4" y="3"/>
                    </a:moveTo>
                    <a:lnTo>
                      <a:pt x="4" y="5"/>
                    </a:lnTo>
                    <a:lnTo>
                      <a:pt x="4" y="5"/>
                    </a:lnTo>
                    <a:lnTo>
                      <a:pt x="3" y="3"/>
                    </a:lnTo>
                    <a:lnTo>
                      <a:pt x="3" y="2"/>
                    </a:lnTo>
                    <a:lnTo>
                      <a:pt x="1" y="0"/>
                    </a:lnTo>
                    <a:lnTo>
                      <a:pt x="1" y="0"/>
                    </a:lnTo>
                    <a:lnTo>
                      <a:pt x="0" y="2"/>
                    </a:lnTo>
                    <a:lnTo>
                      <a:pt x="0" y="2"/>
                    </a:lnTo>
                    <a:lnTo>
                      <a:pt x="0" y="2"/>
                    </a:lnTo>
                    <a:lnTo>
                      <a:pt x="1" y="2"/>
                    </a:lnTo>
                    <a:lnTo>
                      <a:pt x="1" y="2"/>
                    </a:lnTo>
                    <a:lnTo>
                      <a:pt x="1" y="3"/>
                    </a:lnTo>
                    <a:lnTo>
                      <a:pt x="1" y="5"/>
                    </a:lnTo>
                    <a:lnTo>
                      <a:pt x="0" y="3"/>
                    </a:lnTo>
                    <a:lnTo>
                      <a:pt x="0" y="3"/>
                    </a:lnTo>
                    <a:lnTo>
                      <a:pt x="1" y="5"/>
                    </a:lnTo>
                    <a:lnTo>
                      <a:pt x="6" y="5"/>
                    </a:lnTo>
                    <a:lnTo>
                      <a:pt x="7" y="5"/>
                    </a:lnTo>
                    <a:lnTo>
                      <a:pt x="6" y="5"/>
                    </a:lnTo>
                    <a:lnTo>
                      <a:pt x="6" y="3"/>
                    </a:lnTo>
                    <a:lnTo>
                      <a:pt x="6" y="3"/>
                    </a:lnTo>
                    <a:lnTo>
                      <a:pt x="4" y="3"/>
                    </a:lnTo>
                    <a:lnTo>
                      <a:pt x="4"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18" name="Freeform 217"/>
              <p:cNvSpPr>
                <a:spLocks/>
              </p:cNvSpPr>
              <p:nvPr/>
            </p:nvSpPr>
            <p:spPr bwMode="auto">
              <a:xfrm>
                <a:off x="6722896" y="3414576"/>
                <a:ext cx="4389" cy="2028"/>
              </a:xfrm>
              <a:custGeom>
                <a:avLst/>
                <a:gdLst/>
                <a:ahLst/>
                <a:cxnLst>
                  <a:cxn ang="0">
                    <a:pos x="2" y="0"/>
                  </a:cxn>
                  <a:cxn ang="0">
                    <a:pos x="3" y="0"/>
                  </a:cxn>
                  <a:cxn ang="0">
                    <a:pos x="2" y="0"/>
                  </a:cxn>
                  <a:cxn ang="0">
                    <a:pos x="0" y="0"/>
                  </a:cxn>
                  <a:cxn ang="0">
                    <a:pos x="2" y="2"/>
                  </a:cxn>
                  <a:cxn ang="0">
                    <a:pos x="5" y="0"/>
                  </a:cxn>
                  <a:cxn ang="0">
                    <a:pos x="2" y="0"/>
                  </a:cxn>
                </a:cxnLst>
                <a:rect l="0" t="0" r="r" b="b"/>
                <a:pathLst>
                  <a:path w="5" h="2">
                    <a:moveTo>
                      <a:pt x="2" y="0"/>
                    </a:moveTo>
                    <a:lnTo>
                      <a:pt x="3" y="0"/>
                    </a:lnTo>
                    <a:lnTo>
                      <a:pt x="2" y="0"/>
                    </a:lnTo>
                    <a:lnTo>
                      <a:pt x="0" y="0"/>
                    </a:lnTo>
                    <a:lnTo>
                      <a:pt x="2" y="2"/>
                    </a:lnTo>
                    <a:lnTo>
                      <a:pt x="5" y="0"/>
                    </a:lnTo>
                    <a:lnTo>
                      <a:pt x="2"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19" name="Freeform 218"/>
              <p:cNvSpPr>
                <a:spLocks/>
              </p:cNvSpPr>
              <p:nvPr/>
            </p:nvSpPr>
            <p:spPr bwMode="auto">
              <a:xfrm>
                <a:off x="6722896" y="3414576"/>
                <a:ext cx="4389" cy="2028"/>
              </a:xfrm>
              <a:custGeom>
                <a:avLst/>
                <a:gdLst/>
                <a:ahLst/>
                <a:cxnLst>
                  <a:cxn ang="0">
                    <a:pos x="2" y="0"/>
                  </a:cxn>
                  <a:cxn ang="0">
                    <a:pos x="3" y="0"/>
                  </a:cxn>
                  <a:cxn ang="0">
                    <a:pos x="2" y="0"/>
                  </a:cxn>
                  <a:cxn ang="0">
                    <a:pos x="0" y="0"/>
                  </a:cxn>
                  <a:cxn ang="0">
                    <a:pos x="2" y="2"/>
                  </a:cxn>
                  <a:cxn ang="0">
                    <a:pos x="5" y="0"/>
                  </a:cxn>
                  <a:cxn ang="0">
                    <a:pos x="2" y="0"/>
                  </a:cxn>
                </a:cxnLst>
                <a:rect l="0" t="0" r="r" b="b"/>
                <a:pathLst>
                  <a:path w="5" h="2">
                    <a:moveTo>
                      <a:pt x="2" y="0"/>
                    </a:moveTo>
                    <a:lnTo>
                      <a:pt x="3" y="0"/>
                    </a:lnTo>
                    <a:lnTo>
                      <a:pt x="2" y="0"/>
                    </a:lnTo>
                    <a:lnTo>
                      <a:pt x="0" y="0"/>
                    </a:lnTo>
                    <a:lnTo>
                      <a:pt x="2" y="2"/>
                    </a:lnTo>
                    <a:lnTo>
                      <a:pt x="5" y="0"/>
                    </a:lnTo>
                    <a:lnTo>
                      <a:pt x="2"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20" name="Freeform 219"/>
              <p:cNvSpPr>
                <a:spLocks/>
              </p:cNvSpPr>
              <p:nvPr/>
            </p:nvSpPr>
            <p:spPr bwMode="auto">
              <a:xfrm>
                <a:off x="6292773" y="2919679"/>
                <a:ext cx="140448" cy="244406"/>
              </a:xfrm>
              <a:custGeom>
                <a:avLst/>
                <a:gdLst/>
                <a:ahLst/>
                <a:cxnLst>
                  <a:cxn ang="0">
                    <a:pos x="25" y="32"/>
                  </a:cxn>
                  <a:cxn ang="0">
                    <a:pos x="28" y="38"/>
                  </a:cxn>
                  <a:cxn ang="0">
                    <a:pos x="38" y="45"/>
                  </a:cxn>
                  <a:cxn ang="0">
                    <a:pos x="29" y="97"/>
                  </a:cxn>
                  <a:cxn ang="0">
                    <a:pos x="5" y="128"/>
                  </a:cxn>
                  <a:cxn ang="0">
                    <a:pos x="3" y="131"/>
                  </a:cxn>
                  <a:cxn ang="0">
                    <a:pos x="0" y="132"/>
                  </a:cxn>
                  <a:cxn ang="0">
                    <a:pos x="5" y="137"/>
                  </a:cxn>
                  <a:cxn ang="0">
                    <a:pos x="8" y="140"/>
                  </a:cxn>
                  <a:cxn ang="0">
                    <a:pos x="11" y="147"/>
                  </a:cxn>
                  <a:cxn ang="0">
                    <a:pos x="18" y="147"/>
                  </a:cxn>
                  <a:cxn ang="0">
                    <a:pos x="24" y="148"/>
                  </a:cxn>
                  <a:cxn ang="0">
                    <a:pos x="25" y="153"/>
                  </a:cxn>
                  <a:cxn ang="0">
                    <a:pos x="22" y="157"/>
                  </a:cxn>
                  <a:cxn ang="0">
                    <a:pos x="19" y="160"/>
                  </a:cxn>
                  <a:cxn ang="0">
                    <a:pos x="22" y="170"/>
                  </a:cxn>
                  <a:cxn ang="0">
                    <a:pos x="26" y="195"/>
                  </a:cxn>
                  <a:cxn ang="0">
                    <a:pos x="28" y="199"/>
                  </a:cxn>
                  <a:cxn ang="0">
                    <a:pos x="18" y="198"/>
                  </a:cxn>
                  <a:cxn ang="0">
                    <a:pos x="12" y="199"/>
                  </a:cxn>
                  <a:cxn ang="0">
                    <a:pos x="11" y="205"/>
                  </a:cxn>
                  <a:cxn ang="0">
                    <a:pos x="13" y="212"/>
                  </a:cxn>
                  <a:cxn ang="0">
                    <a:pos x="21" y="215"/>
                  </a:cxn>
                  <a:cxn ang="0">
                    <a:pos x="28" y="235"/>
                  </a:cxn>
                  <a:cxn ang="0">
                    <a:pos x="29" y="235"/>
                  </a:cxn>
                  <a:cxn ang="0">
                    <a:pos x="37" y="235"/>
                  </a:cxn>
                  <a:cxn ang="0">
                    <a:pos x="40" y="233"/>
                  </a:cxn>
                  <a:cxn ang="0">
                    <a:pos x="44" y="230"/>
                  </a:cxn>
                  <a:cxn ang="0">
                    <a:pos x="45" y="230"/>
                  </a:cxn>
                  <a:cxn ang="0">
                    <a:pos x="47" y="230"/>
                  </a:cxn>
                  <a:cxn ang="0">
                    <a:pos x="48" y="231"/>
                  </a:cxn>
                  <a:cxn ang="0">
                    <a:pos x="51" y="233"/>
                  </a:cxn>
                  <a:cxn ang="0">
                    <a:pos x="56" y="231"/>
                  </a:cxn>
                  <a:cxn ang="0">
                    <a:pos x="64" y="227"/>
                  </a:cxn>
                  <a:cxn ang="0">
                    <a:pos x="70" y="227"/>
                  </a:cxn>
                  <a:cxn ang="0">
                    <a:pos x="76" y="227"/>
                  </a:cxn>
                  <a:cxn ang="0">
                    <a:pos x="77" y="224"/>
                  </a:cxn>
                  <a:cxn ang="0">
                    <a:pos x="79" y="222"/>
                  </a:cxn>
                  <a:cxn ang="0">
                    <a:pos x="82" y="219"/>
                  </a:cxn>
                  <a:cxn ang="0">
                    <a:pos x="82" y="217"/>
                  </a:cxn>
                  <a:cxn ang="0">
                    <a:pos x="80" y="215"/>
                  </a:cxn>
                  <a:cxn ang="0">
                    <a:pos x="98" y="211"/>
                  </a:cxn>
                  <a:cxn ang="0">
                    <a:pos x="102" y="209"/>
                  </a:cxn>
                  <a:cxn ang="0">
                    <a:pos x="108" y="206"/>
                  </a:cxn>
                  <a:cxn ang="0">
                    <a:pos x="111" y="202"/>
                  </a:cxn>
                  <a:cxn ang="0">
                    <a:pos x="115" y="198"/>
                  </a:cxn>
                  <a:cxn ang="0">
                    <a:pos x="118" y="195"/>
                  </a:cxn>
                  <a:cxn ang="0">
                    <a:pos x="119" y="190"/>
                  </a:cxn>
                  <a:cxn ang="0">
                    <a:pos x="122" y="186"/>
                  </a:cxn>
                  <a:cxn ang="0">
                    <a:pos x="135" y="177"/>
                  </a:cxn>
                  <a:cxn ang="0">
                    <a:pos x="132" y="176"/>
                  </a:cxn>
                  <a:cxn ang="0">
                    <a:pos x="128" y="163"/>
                  </a:cxn>
                  <a:cxn ang="0">
                    <a:pos x="122" y="160"/>
                  </a:cxn>
                  <a:cxn ang="0">
                    <a:pos x="122" y="154"/>
                  </a:cxn>
                  <a:cxn ang="0">
                    <a:pos x="125" y="142"/>
                  </a:cxn>
                  <a:cxn ang="0">
                    <a:pos x="128" y="141"/>
                  </a:cxn>
                  <a:cxn ang="0">
                    <a:pos x="128" y="138"/>
                  </a:cxn>
                  <a:cxn ang="0">
                    <a:pos x="137" y="121"/>
                  </a:cxn>
                  <a:cxn ang="0">
                    <a:pos x="138" y="116"/>
                  </a:cxn>
                  <a:cxn ang="0">
                    <a:pos x="153" y="60"/>
                  </a:cxn>
                  <a:cxn ang="0">
                    <a:pos x="38" y="0"/>
                  </a:cxn>
                  <a:cxn ang="0">
                    <a:pos x="24" y="28"/>
                  </a:cxn>
                </a:cxnLst>
                <a:rect l="0" t="0" r="r" b="b"/>
                <a:pathLst>
                  <a:path w="153" h="235">
                    <a:moveTo>
                      <a:pt x="24" y="28"/>
                    </a:moveTo>
                    <a:lnTo>
                      <a:pt x="25" y="32"/>
                    </a:lnTo>
                    <a:lnTo>
                      <a:pt x="25" y="32"/>
                    </a:lnTo>
                    <a:lnTo>
                      <a:pt x="28" y="38"/>
                    </a:lnTo>
                    <a:lnTo>
                      <a:pt x="31" y="41"/>
                    </a:lnTo>
                    <a:lnTo>
                      <a:pt x="38" y="45"/>
                    </a:lnTo>
                    <a:lnTo>
                      <a:pt x="34" y="51"/>
                    </a:lnTo>
                    <a:lnTo>
                      <a:pt x="29" y="97"/>
                    </a:lnTo>
                    <a:lnTo>
                      <a:pt x="5" y="125"/>
                    </a:lnTo>
                    <a:lnTo>
                      <a:pt x="5" y="128"/>
                    </a:lnTo>
                    <a:lnTo>
                      <a:pt x="3" y="128"/>
                    </a:lnTo>
                    <a:lnTo>
                      <a:pt x="3" y="131"/>
                    </a:lnTo>
                    <a:lnTo>
                      <a:pt x="2" y="131"/>
                    </a:lnTo>
                    <a:lnTo>
                      <a:pt x="0" y="132"/>
                    </a:lnTo>
                    <a:lnTo>
                      <a:pt x="0" y="135"/>
                    </a:lnTo>
                    <a:lnTo>
                      <a:pt x="5" y="137"/>
                    </a:lnTo>
                    <a:lnTo>
                      <a:pt x="6" y="138"/>
                    </a:lnTo>
                    <a:lnTo>
                      <a:pt x="8" y="140"/>
                    </a:lnTo>
                    <a:lnTo>
                      <a:pt x="9" y="141"/>
                    </a:lnTo>
                    <a:lnTo>
                      <a:pt x="11" y="147"/>
                    </a:lnTo>
                    <a:lnTo>
                      <a:pt x="15" y="148"/>
                    </a:lnTo>
                    <a:lnTo>
                      <a:pt x="18" y="147"/>
                    </a:lnTo>
                    <a:lnTo>
                      <a:pt x="22" y="148"/>
                    </a:lnTo>
                    <a:lnTo>
                      <a:pt x="24" y="148"/>
                    </a:lnTo>
                    <a:lnTo>
                      <a:pt x="25" y="151"/>
                    </a:lnTo>
                    <a:lnTo>
                      <a:pt x="25" y="153"/>
                    </a:lnTo>
                    <a:lnTo>
                      <a:pt x="25" y="156"/>
                    </a:lnTo>
                    <a:lnTo>
                      <a:pt x="22" y="157"/>
                    </a:lnTo>
                    <a:lnTo>
                      <a:pt x="18" y="158"/>
                    </a:lnTo>
                    <a:lnTo>
                      <a:pt x="19" y="160"/>
                    </a:lnTo>
                    <a:lnTo>
                      <a:pt x="21" y="167"/>
                    </a:lnTo>
                    <a:lnTo>
                      <a:pt x="22" y="170"/>
                    </a:lnTo>
                    <a:lnTo>
                      <a:pt x="21" y="185"/>
                    </a:lnTo>
                    <a:lnTo>
                      <a:pt x="26" y="195"/>
                    </a:lnTo>
                    <a:lnTo>
                      <a:pt x="28" y="199"/>
                    </a:lnTo>
                    <a:lnTo>
                      <a:pt x="28" y="199"/>
                    </a:lnTo>
                    <a:lnTo>
                      <a:pt x="26" y="199"/>
                    </a:lnTo>
                    <a:lnTo>
                      <a:pt x="18" y="198"/>
                    </a:lnTo>
                    <a:lnTo>
                      <a:pt x="13" y="199"/>
                    </a:lnTo>
                    <a:lnTo>
                      <a:pt x="12" y="199"/>
                    </a:lnTo>
                    <a:lnTo>
                      <a:pt x="11" y="201"/>
                    </a:lnTo>
                    <a:lnTo>
                      <a:pt x="11" y="205"/>
                    </a:lnTo>
                    <a:lnTo>
                      <a:pt x="11" y="208"/>
                    </a:lnTo>
                    <a:lnTo>
                      <a:pt x="13" y="212"/>
                    </a:lnTo>
                    <a:lnTo>
                      <a:pt x="15" y="214"/>
                    </a:lnTo>
                    <a:lnTo>
                      <a:pt x="21" y="215"/>
                    </a:lnTo>
                    <a:lnTo>
                      <a:pt x="22" y="215"/>
                    </a:lnTo>
                    <a:lnTo>
                      <a:pt x="28" y="235"/>
                    </a:lnTo>
                    <a:lnTo>
                      <a:pt x="29" y="235"/>
                    </a:lnTo>
                    <a:lnTo>
                      <a:pt x="29" y="235"/>
                    </a:lnTo>
                    <a:lnTo>
                      <a:pt x="35" y="234"/>
                    </a:lnTo>
                    <a:lnTo>
                      <a:pt x="37" y="235"/>
                    </a:lnTo>
                    <a:lnTo>
                      <a:pt x="38" y="234"/>
                    </a:lnTo>
                    <a:lnTo>
                      <a:pt x="40" y="233"/>
                    </a:lnTo>
                    <a:lnTo>
                      <a:pt x="44" y="233"/>
                    </a:lnTo>
                    <a:lnTo>
                      <a:pt x="44" y="230"/>
                    </a:lnTo>
                    <a:lnTo>
                      <a:pt x="45" y="230"/>
                    </a:lnTo>
                    <a:lnTo>
                      <a:pt x="45" y="230"/>
                    </a:lnTo>
                    <a:lnTo>
                      <a:pt x="47" y="230"/>
                    </a:lnTo>
                    <a:lnTo>
                      <a:pt x="47" y="230"/>
                    </a:lnTo>
                    <a:lnTo>
                      <a:pt x="48" y="231"/>
                    </a:lnTo>
                    <a:lnTo>
                      <a:pt x="48" y="231"/>
                    </a:lnTo>
                    <a:lnTo>
                      <a:pt x="51" y="234"/>
                    </a:lnTo>
                    <a:lnTo>
                      <a:pt x="51" y="233"/>
                    </a:lnTo>
                    <a:lnTo>
                      <a:pt x="53" y="233"/>
                    </a:lnTo>
                    <a:lnTo>
                      <a:pt x="56" y="231"/>
                    </a:lnTo>
                    <a:lnTo>
                      <a:pt x="58" y="230"/>
                    </a:lnTo>
                    <a:lnTo>
                      <a:pt x="64" y="227"/>
                    </a:lnTo>
                    <a:lnTo>
                      <a:pt x="67" y="228"/>
                    </a:lnTo>
                    <a:lnTo>
                      <a:pt x="70" y="227"/>
                    </a:lnTo>
                    <a:lnTo>
                      <a:pt x="76" y="227"/>
                    </a:lnTo>
                    <a:lnTo>
                      <a:pt x="76" y="227"/>
                    </a:lnTo>
                    <a:lnTo>
                      <a:pt x="76" y="225"/>
                    </a:lnTo>
                    <a:lnTo>
                      <a:pt x="77" y="224"/>
                    </a:lnTo>
                    <a:lnTo>
                      <a:pt x="79" y="224"/>
                    </a:lnTo>
                    <a:lnTo>
                      <a:pt x="79" y="222"/>
                    </a:lnTo>
                    <a:lnTo>
                      <a:pt x="80" y="221"/>
                    </a:lnTo>
                    <a:lnTo>
                      <a:pt x="82" y="219"/>
                    </a:lnTo>
                    <a:lnTo>
                      <a:pt x="82" y="219"/>
                    </a:lnTo>
                    <a:lnTo>
                      <a:pt x="82" y="217"/>
                    </a:lnTo>
                    <a:lnTo>
                      <a:pt x="80" y="215"/>
                    </a:lnTo>
                    <a:lnTo>
                      <a:pt x="80" y="215"/>
                    </a:lnTo>
                    <a:lnTo>
                      <a:pt x="80" y="214"/>
                    </a:lnTo>
                    <a:lnTo>
                      <a:pt x="98" y="211"/>
                    </a:lnTo>
                    <a:lnTo>
                      <a:pt x="99" y="211"/>
                    </a:lnTo>
                    <a:lnTo>
                      <a:pt x="102" y="209"/>
                    </a:lnTo>
                    <a:lnTo>
                      <a:pt x="103" y="208"/>
                    </a:lnTo>
                    <a:lnTo>
                      <a:pt x="108" y="206"/>
                    </a:lnTo>
                    <a:lnTo>
                      <a:pt x="109" y="205"/>
                    </a:lnTo>
                    <a:lnTo>
                      <a:pt x="111" y="202"/>
                    </a:lnTo>
                    <a:lnTo>
                      <a:pt x="115" y="199"/>
                    </a:lnTo>
                    <a:lnTo>
                      <a:pt x="115" y="198"/>
                    </a:lnTo>
                    <a:lnTo>
                      <a:pt x="117" y="198"/>
                    </a:lnTo>
                    <a:lnTo>
                      <a:pt x="118" y="195"/>
                    </a:lnTo>
                    <a:lnTo>
                      <a:pt x="119" y="195"/>
                    </a:lnTo>
                    <a:lnTo>
                      <a:pt x="119" y="190"/>
                    </a:lnTo>
                    <a:lnTo>
                      <a:pt x="121" y="187"/>
                    </a:lnTo>
                    <a:lnTo>
                      <a:pt x="122" y="186"/>
                    </a:lnTo>
                    <a:lnTo>
                      <a:pt x="135" y="183"/>
                    </a:lnTo>
                    <a:lnTo>
                      <a:pt x="135" y="177"/>
                    </a:lnTo>
                    <a:lnTo>
                      <a:pt x="134" y="177"/>
                    </a:lnTo>
                    <a:lnTo>
                      <a:pt x="132" y="176"/>
                    </a:lnTo>
                    <a:lnTo>
                      <a:pt x="132" y="176"/>
                    </a:lnTo>
                    <a:lnTo>
                      <a:pt x="128" y="163"/>
                    </a:lnTo>
                    <a:lnTo>
                      <a:pt x="128" y="158"/>
                    </a:lnTo>
                    <a:lnTo>
                      <a:pt x="122" y="160"/>
                    </a:lnTo>
                    <a:lnTo>
                      <a:pt x="122" y="160"/>
                    </a:lnTo>
                    <a:lnTo>
                      <a:pt x="122" y="154"/>
                    </a:lnTo>
                    <a:lnTo>
                      <a:pt x="125" y="150"/>
                    </a:lnTo>
                    <a:lnTo>
                      <a:pt x="125" y="142"/>
                    </a:lnTo>
                    <a:lnTo>
                      <a:pt x="125" y="141"/>
                    </a:lnTo>
                    <a:lnTo>
                      <a:pt x="128" y="141"/>
                    </a:lnTo>
                    <a:lnTo>
                      <a:pt x="128" y="140"/>
                    </a:lnTo>
                    <a:lnTo>
                      <a:pt x="128" y="138"/>
                    </a:lnTo>
                    <a:lnTo>
                      <a:pt x="128" y="134"/>
                    </a:lnTo>
                    <a:lnTo>
                      <a:pt x="137" y="121"/>
                    </a:lnTo>
                    <a:lnTo>
                      <a:pt x="137" y="116"/>
                    </a:lnTo>
                    <a:lnTo>
                      <a:pt x="138" y="116"/>
                    </a:lnTo>
                    <a:lnTo>
                      <a:pt x="153" y="115"/>
                    </a:lnTo>
                    <a:lnTo>
                      <a:pt x="153" y="60"/>
                    </a:lnTo>
                    <a:lnTo>
                      <a:pt x="150" y="60"/>
                    </a:lnTo>
                    <a:lnTo>
                      <a:pt x="38" y="0"/>
                    </a:lnTo>
                    <a:lnTo>
                      <a:pt x="24" y="6"/>
                    </a:lnTo>
                    <a:lnTo>
                      <a:pt x="24" y="28"/>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21" name="Freeform 220"/>
              <p:cNvSpPr>
                <a:spLocks/>
              </p:cNvSpPr>
              <p:nvPr/>
            </p:nvSpPr>
            <p:spPr bwMode="auto">
              <a:xfrm>
                <a:off x="6292773" y="2919679"/>
                <a:ext cx="140448" cy="244406"/>
              </a:xfrm>
              <a:custGeom>
                <a:avLst/>
                <a:gdLst/>
                <a:ahLst/>
                <a:cxnLst>
                  <a:cxn ang="0">
                    <a:pos x="25" y="32"/>
                  </a:cxn>
                  <a:cxn ang="0">
                    <a:pos x="28" y="38"/>
                  </a:cxn>
                  <a:cxn ang="0">
                    <a:pos x="38" y="45"/>
                  </a:cxn>
                  <a:cxn ang="0">
                    <a:pos x="29" y="97"/>
                  </a:cxn>
                  <a:cxn ang="0">
                    <a:pos x="5" y="128"/>
                  </a:cxn>
                  <a:cxn ang="0">
                    <a:pos x="3" y="131"/>
                  </a:cxn>
                  <a:cxn ang="0">
                    <a:pos x="0" y="132"/>
                  </a:cxn>
                  <a:cxn ang="0">
                    <a:pos x="5" y="137"/>
                  </a:cxn>
                  <a:cxn ang="0">
                    <a:pos x="8" y="140"/>
                  </a:cxn>
                  <a:cxn ang="0">
                    <a:pos x="11" y="147"/>
                  </a:cxn>
                  <a:cxn ang="0">
                    <a:pos x="18" y="147"/>
                  </a:cxn>
                  <a:cxn ang="0">
                    <a:pos x="24" y="148"/>
                  </a:cxn>
                  <a:cxn ang="0">
                    <a:pos x="25" y="153"/>
                  </a:cxn>
                  <a:cxn ang="0">
                    <a:pos x="22" y="157"/>
                  </a:cxn>
                  <a:cxn ang="0">
                    <a:pos x="19" y="160"/>
                  </a:cxn>
                  <a:cxn ang="0">
                    <a:pos x="22" y="170"/>
                  </a:cxn>
                  <a:cxn ang="0">
                    <a:pos x="26" y="195"/>
                  </a:cxn>
                  <a:cxn ang="0">
                    <a:pos x="28" y="199"/>
                  </a:cxn>
                  <a:cxn ang="0">
                    <a:pos x="18" y="198"/>
                  </a:cxn>
                  <a:cxn ang="0">
                    <a:pos x="12" y="199"/>
                  </a:cxn>
                  <a:cxn ang="0">
                    <a:pos x="11" y="205"/>
                  </a:cxn>
                  <a:cxn ang="0">
                    <a:pos x="13" y="212"/>
                  </a:cxn>
                  <a:cxn ang="0">
                    <a:pos x="21" y="215"/>
                  </a:cxn>
                  <a:cxn ang="0">
                    <a:pos x="28" y="235"/>
                  </a:cxn>
                  <a:cxn ang="0">
                    <a:pos x="29" y="235"/>
                  </a:cxn>
                  <a:cxn ang="0">
                    <a:pos x="37" y="235"/>
                  </a:cxn>
                  <a:cxn ang="0">
                    <a:pos x="40" y="233"/>
                  </a:cxn>
                  <a:cxn ang="0">
                    <a:pos x="44" y="230"/>
                  </a:cxn>
                  <a:cxn ang="0">
                    <a:pos x="45" y="230"/>
                  </a:cxn>
                  <a:cxn ang="0">
                    <a:pos x="47" y="230"/>
                  </a:cxn>
                  <a:cxn ang="0">
                    <a:pos x="48" y="231"/>
                  </a:cxn>
                  <a:cxn ang="0">
                    <a:pos x="51" y="233"/>
                  </a:cxn>
                  <a:cxn ang="0">
                    <a:pos x="56" y="231"/>
                  </a:cxn>
                  <a:cxn ang="0">
                    <a:pos x="64" y="227"/>
                  </a:cxn>
                  <a:cxn ang="0">
                    <a:pos x="70" y="227"/>
                  </a:cxn>
                  <a:cxn ang="0">
                    <a:pos x="76" y="227"/>
                  </a:cxn>
                  <a:cxn ang="0">
                    <a:pos x="77" y="224"/>
                  </a:cxn>
                  <a:cxn ang="0">
                    <a:pos x="79" y="222"/>
                  </a:cxn>
                  <a:cxn ang="0">
                    <a:pos x="82" y="219"/>
                  </a:cxn>
                  <a:cxn ang="0">
                    <a:pos x="82" y="217"/>
                  </a:cxn>
                  <a:cxn ang="0">
                    <a:pos x="80" y="215"/>
                  </a:cxn>
                  <a:cxn ang="0">
                    <a:pos x="98" y="211"/>
                  </a:cxn>
                  <a:cxn ang="0">
                    <a:pos x="102" y="209"/>
                  </a:cxn>
                  <a:cxn ang="0">
                    <a:pos x="108" y="206"/>
                  </a:cxn>
                  <a:cxn ang="0">
                    <a:pos x="111" y="202"/>
                  </a:cxn>
                  <a:cxn ang="0">
                    <a:pos x="115" y="198"/>
                  </a:cxn>
                  <a:cxn ang="0">
                    <a:pos x="118" y="195"/>
                  </a:cxn>
                  <a:cxn ang="0">
                    <a:pos x="119" y="190"/>
                  </a:cxn>
                  <a:cxn ang="0">
                    <a:pos x="122" y="186"/>
                  </a:cxn>
                  <a:cxn ang="0">
                    <a:pos x="135" y="177"/>
                  </a:cxn>
                  <a:cxn ang="0">
                    <a:pos x="132" y="176"/>
                  </a:cxn>
                  <a:cxn ang="0">
                    <a:pos x="128" y="163"/>
                  </a:cxn>
                  <a:cxn ang="0">
                    <a:pos x="122" y="160"/>
                  </a:cxn>
                  <a:cxn ang="0">
                    <a:pos x="122" y="154"/>
                  </a:cxn>
                  <a:cxn ang="0">
                    <a:pos x="125" y="142"/>
                  </a:cxn>
                  <a:cxn ang="0">
                    <a:pos x="128" y="141"/>
                  </a:cxn>
                  <a:cxn ang="0">
                    <a:pos x="128" y="138"/>
                  </a:cxn>
                  <a:cxn ang="0">
                    <a:pos x="137" y="121"/>
                  </a:cxn>
                  <a:cxn ang="0">
                    <a:pos x="138" y="116"/>
                  </a:cxn>
                  <a:cxn ang="0">
                    <a:pos x="153" y="60"/>
                  </a:cxn>
                  <a:cxn ang="0">
                    <a:pos x="38" y="0"/>
                  </a:cxn>
                  <a:cxn ang="0">
                    <a:pos x="24" y="28"/>
                  </a:cxn>
                </a:cxnLst>
                <a:rect l="0" t="0" r="r" b="b"/>
                <a:pathLst>
                  <a:path w="153" h="235">
                    <a:moveTo>
                      <a:pt x="24" y="28"/>
                    </a:moveTo>
                    <a:lnTo>
                      <a:pt x="25" y="32"/>
                    </a:lnTo>
                    <a:lnTo>
                      <a:pt x="25" y="32"/>
                    </a:lnTo>
                    <a:lnTo>
                      <a:pt x="28" y="38"/>
                    </a:lnTo>
                    <a:lnTo>
                      <a:pt x="31" y="41"/>
                    </a:lnTo>
                    <a:lnTo>
                      <a:pt x="38" y="45"/>
                    </a:lnTo>
                    <a:lnTo>
                      <a:pt x="34" y="51"/>
                    </a:lnTo>
                    <a:lnTo>
                      <a:pt x="29" y="97"/>
                    </a:lnTo>
                    <a:lnTo>
                      <a:pt x="5" y="125"/>
                    </a:lnTo>
                    <a:lnTo>
                      <a:pt x="5" y="128"/>
                    </a:lnTo>
                    <a:lnTo>
                      <a:pt x="3" y="128"/>
                    </a:lnTo>
                    <a:lnTo>
                      <a:pt x="3" y="131"/>
                    </a:lnTo>
                    <a:lnTo>
                      <a:pt x="2" y="131"/>
                    </a:lnTo>
                    <a:lnTo>
                      <a:pt x="0" y="132"/>
                    </a:lnTo>
                    <a:lnTo>
                      <a:pt x="0" y="135"/>
                    </a:lnTo>
                    <a:lnTo>
                      <a:pt x="5" y="137"/>
                    </a:lnTo>
                    <a:lnTo>
                      <a:pt x="6" y="138"/>
                    </a:lnTo>
                    <a:lnTo>
                      <a:pt x="8" y="140"/>
                    </a:lnTo>
                    <a:lnTo>
                      <a:pt x="9" y="141"/>
                    </a:lnTo>
                    <a:lnTo>
                      <a:pt x="11" y="147"/>
                    </a:lnTo>
                    <a:lnTo>
                      <a:pt x="15" y="148"/>
                    </a:lnTo>
                    <a:lnTo>
                      <a:pt x="18" y="147"/>
                    </a:lnTo>
                    <a:lnTo>
                      <a:pt x="22" y="148"/>
                    </a:lnTo>
                    <a:lnTo>
                      <a:pt x="24" y="148"/>
                    </a:lnTo>
                    <a:lnTo>
                      <a:pt x="25" y="151"/>
                    </a:lnTo>
                    <a:lnTo>
                      <a:pt x="25" y="153"/>
                    </a:lnTo>
                    <a:lnTo>
                      <a:pt x="25" y="156"/>
                    </a:lnTo>
                    <a:lnTo>
                      <a:pt x="22" y="157"/>
                    </a:lnTo>
                    <a:lnTo>
                      <a:pt x="18" y="158"/>
                    </a:lnTo>
                    <a:lnTo>
                      <a:pt x="19" y="160"/>
                    </a:lnTo>
                    <a:lnTo>
                      <a:pt x="21" y="167"/>
                    </a:lnTo>
                    <a:lnTo>
                      <a:pt x="22" y="170"/>
                    </a:lnTo>
                    <a:lnTo>
                      <a:pt x="21" y="185"/>
                    </a:lnTo>
                    <a:lnTo>
                      <a:pt x="26" y="195"/>
                    </a:lnTo>
                    <a:lnTo>
                      <a:pt x="28" y="199"/>
                    </a:lnTo>
                    <a:lnTo>
                      <a:pt x="28" y="199"/>
                    </a:lnTo>
                    <a:lnTo>
                      <a:pt x="26" y="199"/>
                    </a:lnTo>
                    <a:lnTo>
                      <a:pt x="18" y="198"/>
                    </a:lnTo>
                    <a:lnTo>
                      <a:pt x="13" y="199"/>
                    </a:lnTo>
                    <a:lnTo>
                      <a:pt x="12" y="199"/>
                    </a:lnTo>
                    <a:lnTo>
                      <a:pt x="11" y="201"/>
                    </a:lnTo>
                    <a:lnTo>
                      <a:pt x="11" y="205"/>
                    </a:lnTo>
                    <a:lnTo>
                      <a:pt x="11" y="208"/>
                    </a:lnTo>
                    <a:lnTo>
                      <a:pt x="13" y="212"/>
                    </a:lnTo>
                    <a:lnTo>
                      <a:pt x="15" y="214"/>
                    </a:lnTo>
                    <a:lnTo>
                      <a:pt x="21" y="215"/>
                    </a:lnTo>
                    <a:lnTo>
                      <a:pt x="22" y="215"/>
                    </a:lnTo>
                    <a:lnTo>
                      <a:pt x="28" y="235"/>
                    </a:lnTo>
                    <a:lnTo>
                      <a:pt x="29" y="235"/>
                    </a:lnTo>
                    <a:lnTo>
                      <a:pt x="29" y="235"/>
                    </a:lnTo>
                    <a:lnTo>
                      <a:pt x="35" y="234"/>
                    </a:lnTo>
                    <a:lnTo>
                      <a:pt x="37" y="235"/>
                    </a:lnTo>
                    <a:lnTo>
                      <a:pt x="38" y="234"/>
                    </a:lnTo>
                    <a:lnTo>
                      <a:pt x="40" y="233"/>
                    </a:lnTo>
                    <a:lnTo>
                      <a:pt x="44" y="233"/>
                    </a:lnTo>
                    <a:lnTo>
                      <a:pt x="44" y="230"/>
                    </a:lnTo>
                    <a:lnTo>
                      <a:pt x="45" y="230"/>
                    </a:lnTo>
                    <a:lnTo>
                      <a:pt x="45" y="230"/>
                    </a:lnTo>
                    <a:lnTo>
                      <a:pt x="47" y="230"/>
                    </a:lnTo>
                    <a:lnTo>
                      <a:pt x="47" y="230"/>
                    </a:lnTo>
                    <a:lnTo>
                      <a:pt x="48" y="231"/>
                    </a:lnTo>
                    <a:lnTo>
                      <a:pt x="48" y="231"/>
                    </a:lnTo>
                    <a:lnTo>
                      <a:pt x="51" y="234"/>
                    </a:lnTo>
                    <a:lnTo>
                      <a:pt x="51" y="233"/>
                    </a:lnTo>
                    <a:lnTo>
                      <a:pt x="53" y="233"/>
                    </a:lnTo>
                    <a:lnTo>
                      <a:pt x="56" y="231"/>
                    </a:lnTo>
                    <a:lnTo>
                      <a:pt x="58" y="230"/>
                    </a:lnTo>
                    <a:lnTo>
                      <a:pt x="64" y="227"/>
                    </a:lnTo>
                    <a:lnTo>
                      <a:pt x="67" y="228"/>
                    </a:lnTo>
                    <a:lnTo>
                      <a:pt x="70" y="227"/>
                    </a:lnTo>
                    <a:lnTo>
                      <a:pt x="76" y="227"/>
                    </a:lnTo>
                    <a:lnTo>
                      <a:pt x="76" y="227"/>
                    </a:lnTo>
                    <a:lnTo>
                      <a:pt x="76" y="225"/>
                    </a:lnTo>
                    <a:lnTo>
                      <a:pt x="77" y="224"/>
                    </a:lnTo>
                    <a:lnTo>
                      <a:pt x="79" y="224"/>
                    </a:lnTo>
                    <a:lnTo>
                      <a:pt x="79" y="222"/>
                    </a:lnTo>
                    <a:lnTo>
                      <a:pt x="80" y="221"/>
                    </a:lnTo>
                    <a:lnTo>
                      <a:pt x="82" y="219"/>
                    </a:lnTo>
                    <a:lnTo>
                      <a:pt x="82" y="219"/>
                    </a:lnTo>
                    <a:lnTo>
                      <a:pt x="82" y="217"/>
                    </a:lnTo>
                    <a:lnTo>
                      <a:pt x="80" y="215"/>
                    </a:lnTo>
                    <a:lnTo>
                      <a:pt x="80" y="215"/>
                    </a:lnTo>
                    <a:lnTo>
                      <a:pt x="80" y="214"/>
                    </a:lnTo>
                    <a:lnTo>
                      <a:pt x="98" y="211"/>
                    </a:lnTo>
                    <a:lnTo>
                      <a:pt x="99" y="211"/>
                    </a:lnTo>
                    <a:lnTo>
                      <a:pt x="102" y="209"/>
                    </a:lnTo>
                    <a:lnTo>
                      <a:pt x="103" y="208"/>
                    </a:lnTo>
                    <a:lnTo>
                      <a:pt x="108" y="206"/>
                    </a:lnTo>
                    <a:lnTo>
                      <a:pt x="109" y="205"/>
                    </a:lnTo>
                    <a:lnTo>
                      <a:pt x="111" y="202"/>
                    </a:lnTo>
                    <a:lnTo>
                      <a:pt x="115" y="199"/>
                    </a:lnTo>
                    <a:lnTo>
                      <a:pt x="115" y="198"/>
                    </a:lnTo>
                    <a:lnTo>
                      <a:pt x="117" y="198"/>
                    </a:lnTo>
                    <a:lnTo>
                      <a:pt x="118" y="195"/>
                    </a:lnTo>
                    <a:lnTo>
                      <a:pt x="119" y="195"/>
                    </a:lnTo>
                    <a:lnTo>
                      <a:pt x="119" y="190"/>
                    </a:lnTo>
                    <a:lnTo>
                      <a:pt x="121" y="187"/>
                    </a:lnTo>
                    <a:lnTo>
                      <a:pt x="122" y="186"/>
                    </a:lnTo>
                    <a:lnTo>
                      <a:pt x="135" y="183"/>
                    </a:lnTo>
                    <a:lnTo>
                      <a:pt x="135" y="177"/>
                    </a:lnTo>
                    <a:lnTo>
                      <a:pt x="134" y="177"/>
                    </a:lnTo>
                    <a:lnTo>
                      <a:pt x="132" y="176"/>
                    </a:lnTo>
                    <a:lnTo>
                      <a:pt x="132" y="176"/>
                    </a:lnTo>
                    <a:lnTo>
                      <a:pt x="128" y="163"/>
                    </a:lnTo>
                    <a:lnTo>
                      <a:pt x="128" y="158"/>
                    </a:lnTo>
                    <a:lnTo>
                      <a:pt x="122" y="160"/>
                    </a:lnTo>
                    <a:lnTo>
                      <a:pt x="122" y="160"/>
                    </a:lnTo>
                    <a:lnTo>
                      <a:pt x="122" y="154"/>
                    </a:lnTo>
                    <a:lnTo>
                      <a:pt x="125" y="150"/>
                    </a:lnTo>
                    <a:lnTo>
                      <a:pt x="125" y="142"/>
                    </a:lnTo>
                    <a:lnTo>
                      <a:pt x="125" y="141"/>
                    </a:lnTo>
                    <a:lnTo>
                      <a:pt x="128" y="141"/>
                    </a:lnTo>
                    <a:lnTo>
                      <a:pt x="128" y="140"/>
                    </a:lnTo>
                    <a:lnTo>
                      <a:pt x="128" y="138"/>
                    </a:lnTo>
                    <a:lnTo>
                      <a:pt x="128" y="134"/>
                    </a:lnTo>
                    <a:lnTo>
                      <a:pt x="137" y="121"/>
                    </a:lnTo>
                    <a:lnTo>
                      <a:pt x="137" y="116"/>
                    </a:lnTo>
                    <a:lnTo>
                      <a:pt x="138" y="116"/>
                    </a:lnTo>
                    <a:lnTo>
                      <a:pt x="153" y="115"/>
                    </a:lnTo>
                    <a:lnTo>
                      <a:pt x="153" y="60"/>
                    </a:lnTo>
                    <a:lnTo>
                      <a:pt x="150" y="60"/>
                    </a:lnTo>
                    <a:lnTo>
                      <a:pt x="38" y="0"/>
                    </a:lnTo>
                    <a:lnTo>
                      <a:pt x="24" y="6"/>
                    </a:lnTo>
                    <a:lnTo>
                      <a:pt x="24" y="28"/>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22" name="Freeform 221"/>
              <p:cNvSpPr>
                <a:spLocks/>
              </p:cNvSpPr>
              <p:nvPr/>
            </p:nvSpPr>
            <p:spPr bwMode="auto">
              <a:xfrm>
                <a:off x="4976073" y="3051517"/>
                <a:ext cx="56179" cy="62876"/>
              </a:xfrm>
              <a:custGeom>
                <a:avLst/>
                <a:gdLst/>
                <a:ahLst/>
                <a:cxnLst>
                  <a:cxn ang="0">
                    <a:pos x="61" y="0"/>
                  </a:cxn>
                  <a:cxn ang="0">
                    <a:pos x="58" y="0"/>
                  </a:cxn>
                  <a:cxn ang="0">
                    <a:pos x="54" y="2"/>
                  </a:cxn>
                  <a:cxn ang="0">
                    <a:pos x="54" y="3"/>
                  </a:cxn>
                  <a:cxn ang="0">
                    <a:pos x="51" y="3"/>
                  </a:cxn>
                  <a:cxn ang="0">
                    <a:pos x="50" y="3"/>
                  </a:cxn>
                  <a:cxn ang="0">
                    <a:pos x="47" y="5"/>
                  </a:cxn>
                  <a:cxn ang="0">
                    <a:pos x="43" y="5"/>
                  </a:cxn>
                  <a:cxn ang="0">
                    <a:pos x="43" y="5"/>
                  </a:cxn>
                  <a:cxn ang="0">
                    <a:pos x="41" y="3"/>
                  </a:cxn>
                  <a:cxn ang="0">
                    <a:pos x="40" y="3"/>
                  </a:cxn>
                  <a:cxn ang="0">
                    <a:pos x="40" y="3"/>
                  </a:cxn>
                  <a:cxn ang="0">
                    <a:pos x="38" y="5"/>
                  </a:cxn>
                  <a:cxn ang="0">
                    <a:pos x="38" y="5"/>
                  </a:cxn>
                  <a:cxn ang="0">
                    <a:pos x="37" y="6"/>
                  </a:cxn>
                  <a:cxn ang="0">
                    <a:pos x="35" y="11"/>
                  </a:cxn>
                  <a:cxn ang="0">
                    <a:pos x="35" y="11"/>
                  </a:cxn>
                  <a:cxn ang="0">
                    <a:pos x="32" y="11"/>
                  </a:cxn>
                  <a:cxn ang="0">
                    <a:pos x="31" y="12"/>
                  </a:cxn>
                  <a:cxn ang="0">
                    <a:pos x="31" y="14"/>
                  </a:cxn>
                  <a:cxn ang="0">
                    <a:pos x="29" y="14"/>
                  </a:cxn>
                  <a:cxn ang="0">
                    <a:pos x="29" y="15"/>
                  </a:cxn>
                  <a:cxn ang="0">
                    <a:pos x="27" y="15"/>
                  </a:cxn>
                  <a:cxn ang="0">
                    <a:pos x="27" y="16"/>
                  </a:cxn>
                  <a:cxn ang="0">
                    <a:pos x="27" y="16"/>
                  </a:cxn>
                  <a:cxn ang="0">
                    <a:pos x="25" y="16"/>
                  </a:cxn>
                  <a:cxn ang="0">
                    <a:pos x="22" y="15"/>
                  </a:cxn>
                  <a:cxn ang="0">
                    <a:pos x="21" y="14"/>
                  </a:cxn>
                  <a:cxn ang="0">
                    <a:pos x="18" y="19"/>
                  </a:cxn>
                  <a:cxn ang="0">
                    <a:pos x="12" y="19"/>
                  </a:cxn>
                  <a:cxn ang="0">
                    <a:pos x="12" y="21"/>
                  </a:cxn>
                  <a:cxn ang="0">
                    <a:pos x="12" y="25"/>
                  </a:cxn>
                  <a:cxn ang="0">
                    <a:pos x="11" y="25"/>
                  </a:cxn>
                  <a:cxn ang="0">
                    <a:pos x="9" y="27"/>
                  </a:cxn>
                  <a:cxn ang="0">
                    <a:pos x="9" y="28"/>
                  </a:cxn>
                  <a:cxn ang="0">
                    <a:pos x="8" y="30"/>
                  </a:cxn>
                  <a:cxn ang="0">
                    <a:pos x="0" y="30"/>
                  </a:cxn>
                  <a:cxn ang="0">
                    <a:pos x="0" y="31"/>
                  </a:cxn>
                  <a:cxn ang="0">
                    <a:pos x="25" y="56"/>
                  </a:cxn>
                  <a:cxn ang="0">
                    <a:pos x="25" y="57"/>
                  </a:cxn>
                  <a:cxn ang="0">
                    <a:pos x="27" y="57"/>
                  </a:cxn>
                  <a:cxn ang="0">
                    <a:pos x="27" y="57"/>
                  </a:cxn>
                  <a:cxn ang="0">
                    <a:pos x="28" y="56"/>
                  </a:cxn>
                  <a:cxn ang="0">
                    <a:pos x="29" y="56"/>
                  </a:cxn>
                  <a:cxn ang="0">
                    <a:pos x="38" y="59"/>
                  </a:cxn>
                  <a:cxn ang="0">
                    <a:pos x="43" y="59"/>
                  </a:cxn>
                  <a:cxn ang="0">
                    <a:pos x="50" y="61"/>
                  </a:cxn>
                  <a:cxn ang="0">
                    <a:pos x="56" y="60"/>
                  </a:cxn>
                  <a:cxn ang="0">
                    <a:pos x="56" y="59"/>
                  </a:cxn>
                  <a:cxn ang="0">
                    <a:pos x="54" y="56"/>
                  </a:cxn>
                  <a:cxn ang="0">
                    <a:pos x="53" y="51"/>
                  </a:cxn>
                  <a:cxn ang="0">
                    <a:pos x="54" y="50"/>
                  </a:cxn>
                  <a:cxn ang="0">
                    <a:pos x="61" y="0"/>
                  </a:cxn>
                </a:cxnLst>
                <a:rect l="0" t="0" r="r" b="b"/>
                <a:pathLst>
                  <a:path w="61" h="61">
                    <a:moveTo>
                      <a:pt x="61" y="0"/>
                    </a:moveTo>
                    <a:lnTo>
                      <a:pt x="58" y="0"/>
                    </a:lnTo>
                    <a:lnTo>
                      <a:pt x="54" y="2"/>
                    </a:lnTo>
                    <a:lnTo>
                      <a:pt x="54" y="3"/>
                    </a:lnTo>
                    <a:lnTo>
                      <a:pt x="51" y="3"/>
                    </a:lnTo>
                    <a:lnTo>
                      <a:pt x="50" y="3"/>
                    </a:lnTo>
                    <a:lnTo>
                      <a:pt x="47" y="5"/>
                    </a:lnTo>
                    <a:lnTo>
                      <a:pt x="43" y="5"/>
                    </a:lnTo>
                    <a:lnTo>
                      <a:pt x="43" y="5"/>
                    </a:lnTo>
                    <a:lnTo>
                      <a:pt x="41" y="3"/>
                    </a:lnTo>
                    <a:lnTo>
                      <a:pt x="40" y="3"/>
                    </a:lnTo>
                    <a:lnTo>
                      <a:pt x="40" y="3"/>
                    </a:lnTo>
                    <a:lnTo>
                      <a:pt x="38" y="5"/>
                    </a:lnTo>
                    <a:lnTo>
                      <a:pt x="38" y="5"/>
                    </a:lnTo>
                    <a:lnTo>
                      <a:pt x="37" y="6"/>
                    </a:lnTo>
                    <a:lnTo>
                      <a:pt x="35" y="11"/>
                    </a:lnTo>
                    <a:lnTo>
                      <a:pt x="35" y="11"/>
                    </a:lnTo>
                    <a:lnTo>
                      <a:pt x="32" y="11"/>
                    </a:lnTo>
                    <a:lnTo>
                      <a:pt x="31" y="12"/>
                    </a:lnTo>
                    <a:lnTo>
                      <a:pt x="31" y="14"/>
                    </a:lnTo>
                    <a:lnTo>
                      <a:pt x="29" y="14"/>
                    </a:lnTo>
                    <a:lnTo>
                      <a:pt x="29" y="15"/>
                    </a:lnTo>
                    <a:lnTo>
                      <a:pt x="27" y="15"/>
                    </a:lnTo>
                    <a:lnTo>
                      <a:pt x="27" y="16"/>
                    </a:lnTo>
                    <a:lnTo>
                      <a:pt x="27" y="16"/>
                    </a:lnTo>
                    <a:lnTo>
                      <a:pt x="25" y="16"/>
                    </a:lnTo>
                    <a:lnTo>
                      <a:pt x="22" y="15"/>
                    </a:lnTo>
                    <a:lnTo>
                      <a:pt x="21" y="14"/>
                    </a:lnTo>
                    <a:lnTo>
                      <a:pt x="18" y="19"/>
                    </a:lnTo>
                    <a:lnTo>
                      <a:pt x="12" y="19"/>
                    </a:lnTo>
                    <a:lnTo>
                      <a:pt x="12" y="21"/>
                    </a:lnTo>
                    <a:lnTo>
                      <a:pt x="12" y="25"/>
                    </a:lnTo>
                    <a:lnTo>
                      <a:pt x="11" y="25"/>
                    </a:lnTo>
                    <a:lnTo>
                      <a:pt x="9" y="27"/>
                    </a:lnTo>
                    <a:lnTo>
                      <a:pt x="9" y="28"/>
                    </a:lnTo>
                    <a:lnTo>
                      <a:pt x="8" y="30"/>
                    </a:lnTo>
                    <a:lnTo>
                      <a:pt x="0" y="30"/>
                    </a:lnTo>
                    <a:lnTo>
                      <a:pt x="0" y="31"/>
                    </a:lnTo>
                    <a:lnTo>
                      <a:pt x="25" y="56"/>
                    </a:lnTo>
                    <a:lnTo>
                      <a:pt x="25" y="57"/>
                    </a:lnTo>
                    <a:lnTo>
                      <a:pt x="27" y="57"/>
                    </a:lnTo>
                    <a:lnTo>
                      <a:pt x="27" y="57"/>
                    </a:lnTo>
                    <a:lnTo>
                      <a:pt x="28" y="56"/>
                    </a:lnTo>
                    <a:lnTo>
                      <a:pt x="29" y="56"/>
                    </a:lnTo>
                    <a:lnTo>
                      <a:pt x="38" y="59"/>
                    </a:lnTo>
                    <a:lnTo>
                      <a:pt x="43" y="59"/>
                    </a:lnTo>
                    <a:lnTo>
                      <a:pt x="50" y="61"/>
                    </a:lnTo>
                    <a:lnTo>
                      <a:pt x="56" y="60"/>
                    </a:lnTo>
                    <a:lnTo>
                      <a:pt x="56" y="59"/>
                    </a:lnTo>
                    <a:lnTo>
                      <a:pt x="54" y="56"/>
                    </a:lnTo>
                    <a:lnTo>
                      <a:pt x="53" y="51"/>
                    </a:lnTo>
                    <a:lnTo>
                      <a:pt x="54" y="50"/>
                    </a:lnTo>
                    <a:lnTo>
                      <a:pt x="6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23" name="Freeform 222"/>
              <p:cNvSpPr>
                <a:spLocks/>
              </p:cNvSpPr>
              <p:nvPr/>
            </p:nvSpPr>
            <p:spPr bwMode="auto">
              <a:xfrm>
                <a:off x="4976073" y="3051517"/>
                <a:ext cx="56179" cy="62876"/>
              </a:xfrm>
              <a:custGeom>
                <a:avLst/>
                <a:gdLst/>
                <a:ahLst/>
                <a:cxnLst>
                  <a:cxn ang="0">
                    <a:pos x="61" y="0"/>
                  </a:cxn>
                  <a:cxn ang="0">
                    <a:pos x="58" y="0"/>
                  </a:cxn>
                  <a:cxn ang="0">
                    <a:pos x="54" y="2"/>
                  </a:cxn>
                  <a:cxn ang="0">
                    <a:pos x="54" y="3"/>
                  </a:cxn>
                  <a:cxn ang="0">
                    <a:pos x="51" y="3"/>
                  </a:cxn>
                  <a:cxn ang="0">
                    <a:pos x="50" y="3"/>
                  </a:cxn>
                  <a:cxn ang="0">
                    <a:pos x="47" y="5"/>
                  </a:cxn>
                  <a:cxn ang="0">
                    <a:pos x="43" y="5"/>
                  </a:cxn>
                  <a:cxn ang="0">
                    <a:pos x="43" y="5"/>
                  </a:cxn>
                  <a:cxn ang="0">
                    <a:pos x="41" y="3"/>
                  </a:cxn>
                  <a:cxn ang="0">
                    <a:pos x="40" y="3"/>
                  </a:cxn>
                  <a:cxn ang="0">
                    <a:pos x="40" y="3"/>
                  </a:cxn>
                  <a:cxn ang="0">
                    <a:pos x="38" y="5"/>
                  </a:cxn>
                  <a:cxn ang="0">
                    <a:pos x="38" y="5"/>
                  </a:cxn>
                  <a:cxn ang="0">
                    <a:pos x="37" y="6"/>
                  </a:cxn>
                  <a:cxn ang="0">
                    <a:pos x="35" y="11"/>
                  </a:cxn>
                  <a:cxn ang="0">
                    <a:pos x="35" y="11"/>
                  </a:cxn>
                  <a:cxn ang="0">
                    <a:pos x="32" y="11"/>
                  </a:cxn>
                  <a:cxn ang="0">
                    <a:pos x="31" y="12"/>
                  </a:cxn>
                  <a:cxn ang="0">
                    <a:pos x="31" y="14"/>
                  </a:cxn>
                  <a:cxn ang="0">
                    <a:pos x="29" y="14"/>
                  </a:cxn>
                  <a:cxn ang="0">
                    <a:pos x="29" y="15"/>
                  </a:cxn>
                  <a:cxn ang="0">
                    <a:pos x="27" y="15"/>
                  </a:cxn>
                  <a:cxn ang="0">
                    <a:pos x="27" y="16"/>
                  </a:cxn>
                  <a:cxn ang="0">
                    <a:pos x="27" y="16"/>
                  </a:cxn>
                  <a:cxn ang="0">
                    <a:pos x="25" y="16"/>
                  </a:cxn>
                  <a:cxn ang="0">
                    <a:pos x="22" y="15"/>
                  </a:cxn>
                  <a:cxn ang="0">
                    <a:pos x="21" y="14"/>
                  </a:cxn>
                  <a:cxn ang="0">
                    <a:pos x="18" y="19"/>
                  </a:cxn>
                  <a:cxn ang="0">
                    <a:pos x="12" y="19"/>
                  </a:cxn>
                  <a:cxn ang="0">
                    <a:pos x="12" y="21"/>
                  </a:cxn>
                  <a:cxn ang="0">
                    <a:pos x="12" y="25"/>
                  </a:cxn>
                  <a:cxn ang="0">
                    <a:pos x="11" y="25"/>
                  </a:cxn>
                  <a:cxn ang="0">
                    <a:pos x="9" y="27"/>
                  </a:cxn>
                  <a:cxn ang="0">
                    <a:pos x="9" y="28"/>
                  </a:cxn>
                  <a:cxn ang="0">
                    <a:pos x="8" y="30"/>
                  </a:cxn>
                  <a:cxn ang="0">
                    <a:pos x="0" y="30"/>
                  </a:cxn>
                  <a:cxn ang="0">
                    <a:pos x="0" y="31"/>
                  </a:cxn>
                  <a:cxn ang="0">
                    <a:pos x="25" y="56"/>
                  </a:cxn>
                  <a:cxn ang="0">
                    <a:pos x="25" y="57"/>
                  </a:cxn>
                  <a:cxn ang="0">
                    <a:pos x="27" y="57"/>
                  </a:cxn>
                  <a:cxn ang="0">
                    <a:pos x="27" y="57"/>
                  </a:cxn>
                  <a:cxn ang="0">
                    <a:pos x="28" y="56"/>
                  </a:cxn>
                  <a:cxn ang="0">
                    <a:pos x="29" y="56"/>
                  </a:cxn>
                  <a:cxn ang="0">
                    <a:pos x="38" y="59"/>
                  </a:cxn>
                  <a:cxn ang="0">
                    <a:pos x="43" y="59"/>
                  </a:cxn>
                  <a:cxn ang="0">
                    <a:pos x="50" y="61"/>
                  </a:cxn>
                  <a:cxn ang="0">
                    <a:pos x="56" y="60"/>
                  </a:cxn>
                  <a:cxn ang="0">
                    <a:pos x="56" y="59"/>
                  </a:cxn>
                  <a:cxn ang="0">
                    <a:pos x="54" y="56"/>
                  </a:cxn>
                  <a:cxn ang="0">
                    <a:pos x="53" y="51"/>
                  </a:cxn>
                  <a:cxn ang="0">
                    <a:pos x="54" y="50"/>
                  </a:cxn>
                  <a:cxn ang="0">
                    <a:pos x="61" y="0"/>
                  </a:cxn>
                </a:cxnLst>
                <a:rect l="0" t="0" r="r" b="b"/>
                <a:pathLst>
                  <a:path w="61" h="61">
                    <a:moveTo>
                      <a:pt x="61" y="0"/>
                    </a:moveTo>
                    <a:lnTo>
                      <a:pt x="58" y="0"/>
                    </a:lnTo>
                    <a:lnTo>
                      <a:pt x="54" y="2"/>
                    </a:lnTo>
                    <a:lnTo>
                      <a:pt x="54" y="3"/>
                    </a:lnTo>
                    <a:lnTo>
                      <a:pt x="51" y="3"/>
                    </a:lnTo>
                    <a:lnTo>
                      <a:pt x="50" y="3"/>
                    </a:lnTo>
                    <a:lnTo>
                      <a:pt x="47" y="5"/>
                    </a:lnTo>
                    <a:lnTo>
                      <a:pt x="43" y="5"/>
                    </a:lnTo>
                    <a:lnTo>
                      <a:pt x="43" y="5"/>
                    </a:lnTo>
                    <a:lnTo>
                      <a:pt x="41" y="3"/>
                    </a:lnTo>
                    <a:lnTo>
                      <a:pt x="40" y="3"/>
                    </a:lnTo>
                    <a:lnTo>
                      <a:pt x="40" y="3"/>
                    </a:lnTo>
                    <a:lnTo>
                      <a:pt x="38" y="5"/>
                    </a:lnTo>
                    <a:lnTo>
                      <a:pt x="38" y="5"/>
                    </a:lnTo>
                    <a:lnTo>
                      <a:pt x="37" y="6"/>
                    </a:lnTo>
                    <a:lnTo>
                      <a:pt x="35" y="11"/>
                    </a:lnTo>
                    <a:lnTo>
                      <a:pt x="35" y="11"/>
                    </a:lnTo>
                    <a:lnTo>
                      <a:pt x="32" y="11"/>
                    </a:lnTo>
                    <a:lnTo>
                      <a:pt x="31" y="12"/>
                    </a:lnTo>
                    <a:lnTo>
                      <a:pt x="31" y="14"/>
                    </a:lnTo>
                    <a:lnTo>
                      <a:pt x="29" y="14"/>
                    </a:lnTo>
                    <a:lnTo>
                      <a:pt x="29" y="15"/>
                    </a:lnTo>
                    <a:lnTo>
                      <a:pt x="27" y="15"/>
                    </a:lnTo>
                    <a:lnTo>
                      <a:pt x="27" y="16"/>
                    </a:lnTo>
                    <a:lnTo>
                      <a:pt x="27" y="16"/>
                    </a:lnTo>
                    <a:lnTo>
                      <a:pt x="25" y="16"/>
                    </a:lnTo>
                    <a:lnTo>
                      <a:pt x="22" y="15"/>
                    </a:lnTo>
                    <a:lnTo>
                      <a:pt x="21" y="14"/>
                    </a:lnTo>
                    <a:lnTo>
                      <a:pt x="18" y="19"/>
                    </a:lnTo>
                    <a:lnTo>
                      <a:pt x="12" y="19"/>
                    </a:lnTo>
                    <a:lnTo>
                      <a:pt x="12" y="21"/>
                    </a:lnTo>
                    <a:lnTo>
                      <a:pt x="12" y="25"/>
                    </a:lnTo>
                    <a:lnTo>
                      <a:pt x="11" y="25"/>
                    </a:lnTo>
                    <a:lnTo>
                      <a:pt x="9" y="27"/>
                    </a:lnTo>
                    <a:lnTo>
                      <a:pt x="9" y="28"/>
                    </a:lnTo>
                    <a:lnTo>
                      <a:pt x="8" y="30"/>
                    </a:lnTo>
                    <a:lnTo>
                      <a:pt x="0" y="30"/>
                    </a:lnTo>
                    <a:lnTo>
                      <a:pt x="0" y="31"/>
                    </a:lnTo>
                    <a:lnTo>
                      <a:pt x="25" y="56"/>
                    </a:lnTo>
                    <a:lnTo>
                      <a:pt x="25" y="57"/>
                    </a:lnTo>
                    <a:lnTo>
                      <a:pt x="27" y="57"/>
                    </a:lnTo>
                    <a:lnTo>
                      <a:pt x="27" y="57"/>
                    </a:lnTo>
                    <a:lnTo>
                      <a:pt x="28" y="56"/>
                    </a:lnTo>
                    <a:lnTo>
                      <a:pt x="29" y="56"/>
                    </a:lnTo>
                    <a:lnTo>
                      <a:pt x="38" y="59"/>
                    </a:lnTo>
                    <a:lnTo>
                      <a:pt x="43" y="59"/>
                    </a:lnTo>
                    <a:lnTo>
                      <a:pt x="50" y="61"/>
                    </a:lnTo>
                    <a:lnTo>
                      <a:pt x="56" y="60"/>
                    </a:lnTo>
                    <a:lnTo>
                      <a:pt x="56" y="59"/>
                    </a:lnTo>
                    <a:lnTo>
                      <a:pt x="54" y="56"/>
                    </a:lnTo>
                    <a:lnTo>
                      <a:pt x="53" y="51"/>
                    </a:lnTo>
                    <a:lnTo>
                      <a:pt x="54" y="50"/>
                    </a:lnTo>
                    <a:lnTo>
                      <a:pt x="6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24" name="Freeform 223"/>
              <p:cNvSpPr>
                <a:spLocks/>
              </p:cNvSpPr>
              <p:nvPr/>
            </p:nvSpPr>
            <p:spPr bwMode="auto">
              <a:xfrm>
                <a:off x="5036641" y="3133661"/>
                <a:ext cx="73735" cy="34480"/>
              </a:xfrm>
              <a:custGeom>
                <a:avLst/>
                <a:gdLst/>
                <a:ahLst/>
                <a:cxnLst>
                  <a:cxn ang="0">
                    <a:pos x="6" y="0"/>
                  </a:cxn>
                  <a:cxn ang="0">
                    <a:pos x="4" y="0"/>
                  </a:cxn>
                  <a:cxn ang="0">
                    <a:pos x="1" y="1"/>
                  </a:cxn>
                  <a:cxn ang="0">
                    <a:pos x="3" y="6"/>
                  </a:cxn>
                  <a:cxn ang="0">
                    <a:pos x="3" y="9"/>
                  </a:cxn>
                  <a:cxn ang="0">
                    <a:pos x="1" y="10"/>
                  </a:cxn>
                  <a:cxn ang="0">
                    <a:pos x="0" y="17"/>
                  </a:cxn>
                  <a:cxn ang="0">
                    <a:pos x="1" y="20"/>
                  </a:cxn>
                  <a:cxn ang="0">
                    <a:pos x="1" y="19"/>
                  </a:cxn>
                  <a:cxn ang="0">
                    <a:pos x="10" y="19"/>
                  </a:cxn>
                  <a:cxn ang="0">
                    <a:pos x="17" y="20"/>
                  </a:cxn>
                  <a:cxn ang="0">
                    <a:pos x="23" y="28"/>
                  </a:cxn>
                  <a:cxn ang="0">
                    <a:pos x="26" y="26"/>
                  </a:cxn>
                  <a:cxn ang="0">
                    <a:pos x="30" y="33"/>
                  </a:cxn>
                  <a:cxn ang="0">
                    <a:pos x="40" y="29"/>
                  </a:cxn>
                  <a:cxn ang="0">
                    <a:pos x="36" y="23"/>
                  </a:cxn>
                  <a:cxn ang="0">
                    <a:pos x="35" y="22"/>
                  </a:cxn>
                  <a:cxn ang="0">
                    <a:pos x="40" y="17"/>
                  </a:cxn>
                  <a:cxn ang="0">
                    <a:pos x="45" y="14"/>
                  </a:cxn>
                  <a:cxn ang="0">
                    <a:pos x="49" y="9"/>
                  </a:cxn>
                  <a:cxn ang="0">
                    <a:pos x="53" y="9"/>
                  </a:cxn>
                  <a:cxn ang="0">
                    <a:pos x="65" y="16"/>
                  </a:cxn>
                  <a:cxn ang="0">
                    <a:pos x="68" y="16"/>
                  </a:cxn>
                  <a:cxn ang="0">
                    <a:pos x="69" y="17"/>
                  </a:cxn>
                  <a:cxn ang="0">
                    <a:pos x="67" y="20"/>
                  </a:cxn>
                  <a:cxn ang="0">
                    <a:pos x="67" y="26"/>
                  </a:cxn>
                  <a:cxn ang="0">
                    <a:pos x="72" y="32"/>
                  </a:cxn>
                  <a:cxn ang="0">
                    <a:pos x="72" y="30"/>
                  </a:cxn>
                  <a:cxn ang="0">
                    <a:pos x="75" y="28"/>
                  </a:cxn>
                  <a:cxn ang="0">
                    <a:pos x="77" y="28"/>
                  </a:cxn>
                  <a:cxn ang="0">
                    <a:pos x="81" y="22"/>
                  </a:cxn>
                  <a:cxn ang="0">
                    <a:pos x="81" y="22"/>
                  </a:cxn>
                  <a:cxn ang="0">
                    <a:pos x="80" y="17"/>
                  </a:cxn>
                  <a:cxn ang="0">
                    <a:pos x="78" y="16"/>
                  </a:cxn>
                  <a:cxn ang="0">
                    <a:pos x="80" y="13"/>
                  </a:cxn>
                  <a:cxn ang="0">
                    <a:pos x="56" y="1"/>
                  </a:cxn>
                  <a:cxn ang="0">
                    <a:pos x="46" y="0"/>
                  </a:cxn>
                  <a:cxn ang="0">
                    <a:pos x="45" y="6"/>
                  </a:cxn>
                  <a:cxn ang="0">
                    <a:pos x="42" y="7"/>
                  </a:cxn>
                  <a:cxn ang="0">
                    <a:pos x="40" y="4"/>
                  </a:cxn>
                  <a:cxn ang="0">
                    <a:pos x="35" y="7"/>
                  </a:cxn>
                  <a:cxn ang="0">
                    <a:pos x="27" y="10"/>
                  </a:cxn>
                  <a:cxn ang="0">
                    <a:pos x="23" y="10"/>
                  </a:cxn>
                  <a:cxn ang="0">
                    <a:pos x="11" y="9"/>
                  </a:cxn>
                  <a:cxn ang="0">
                    <a:pos x="11" y="6"/>
                  </a:cxn>
                  <a:cxn ang="0">
                    <a:pos x="8" y="1"/>
                  </a:cxn>
                  <a:cxn ang="0">
                    <a:pos x="6" y="0"/>
                  </a:cxn>
                </a:cxnLst>
                <a:rect l="0" t="0" r="r" b="b"/>
                <a:pathLst>
                  <a:path w="81" h="33">
                    <a:moveTo>
                      <a:pt x="6" y="0"/>
                    </a:moveTo>
                    <a:lnTo>
                      <a:pt x="6" y="0"/>
                    </a:lnTo>
                    <a:lnTo>
                      <a:pt x="4" y="0"/>
                    </a:lnTo>
                    <a:lnTo>
                      <a:pt x="4" y="0"/>
                    </a:lnTo>
                    <a:lnTo>
                      <a:pt x="3" y="0"/>
                    </a:lnTo>
                    <a:lnTo>
                      <a:pt x="1" y="1"/>
                    </a:lnTo>
                    <a:lnTo>
                      <a:pt x="1" y="6"/>
                    </a:lnTo>
                    <a:lnTo>
                      <a:pt x="3" y="6"/>
                    </a:lnTo>
                    <a:lnTo>
                      <a:pt x="4" y="7"/>
                    </a:lnTo>
                    <a:lnTo>
                      <a:pt x="3" y="9"/>
                    </a:lnTo>
                    <a:lnTo>
                      <a:pt x="3" y="10"/>
                    </a:lnTo>
                    <a:lnTo>
                      <a:pt x="1" y="10"/>
                    </a:lnTo>
                    <a:lnTo>
                      <a:pt x="3" y="14"/>
                    </a:lnTo>
                    <a:lnTo>
                      <a:pt x="0" y="17"/>
                    </a:lnTo>
                    <a:lnTo>
                      <a:pt x="0" y="17"/>
                    </a:lnTo>
                    <a:lnTo>
                      <a:pt x="1" y="20"/>
                    </a:lnTo>
                    <a:lnTo>
                      <a:pt x="1" y="20"/>
                    </a:lnTo>
                    <a:lnTo>
                      <a:pt x="1" y="19"/>
                    </a:lnTo>
                    <a:lnTo>
                      <a:pt x="3" y="17"/>
                    </a:lnTo>
                    <a:lnTo>
                      <a:pt x="10" y="19"/>
                    </a:lnTo>
                    <a:lnTo>
                      <a:pt x="14" y="20"/>
                    </a:lnTo>
                    <a:lnTo>
                      <a:pt x="17" y="20"/>
                    </a:lnTo>
                    <a:lnTo>
                      <a:pt x="17" y="20"/>
                    </a:lnTo>
                    <a:lnTo>
                      <a:pt x="23" y="28"/>
                    </a:lnTo>
                    <a:lnTo>
                      <a:pt x="24" y="28"/>
                    </a:lnTo>
                    <a:lnTo>
                      <a:pt x="26" y="26"/>
                    </a:lnTo>
                    <a:lnTo>
                      <a:pt x="27" y="26"/>
                    </a:lnTo>
                    <a:lnTo>
                      <a:pt x="30" y="33"/>
                    </a:lnTo>
                    <a:lnTo>
                      <a:pt x="35" y="33"/>
                    </a:lnTo>
                    <a:lnTo>
                      <a:pt x="40" y="29"/>
                    </a:lnTo>
                    <a:lnTo>
                      <a:pt x="40" y="28"/>
                    </a:lnTo>
                    <a:lnTo>
                      <a:pt x="36" y="23"/>
                    </a:lnTo>
                    <a:lnTo>
                      <a:pt x="35" y="23"/>
                    </a:lnTo>
                    <a:lnTo>
                      <a:pt x="35" y="22"/>
                    </a:lnTo>
                    <a:lnTo>
                      <a:pt x="36" y="20"/>
                    </a:lnTo>
                    <a:lnTo>
                      <a:pt x="40" y="17"/>
                    </a:lnTo>
                    <a:lnTo>
                      <a:pt x="40" y="17"/>
                    </a:lnTo>
                    <a:lnTo>
                      <a:pt x="45" y="14"/>
                    </a:lnTo>
                    <a:lnTo>
                      <a:pt x="48" y="10"/>
                    </a:lnTo>
                    <a:lnTo>
                      <a:pt x="49" y="9"/>
                    </a:lnTo>
                    <a:lnTo>
                      <a:pt x="52" y="9"/>
                    </a:lnTo>
                    <a:lnTo>
                      <a:pt x="53" y="9"/>
                    </a:lnTo>
                    <a:lnTo>
                      <a:pt x="62" y="13"/>
                    </a:lnTo>
                    <a:lnTo>
                      <a:pt x="65" y="16"/>
                    </a:lnTo>
                    <a:lnTo>
                      <a:pt x="67" y="16"/>
                    </a:lnTo>
                    <a:lnTo>
                      <a:pt x="68" y="16"/>
                    </a:lnTo>
                    <a:lnTo>
                      <a:pt x="69" y="17"/>
                    </a:lnTo>
                    <a:lnTo>
                      <a:pt x="69" y="17"/>
                    </a:lnTo>
                    <a:lnTo>
                      <a:pt x="69" y="17"/>
                    </a:lnTo>
                    <a:lnTo>
                      <a:pt x="67" y="20"/>
                    </a:lnTo>
                    <a:lnTo>
                      <a:pt x="67" y="23"/>
                    </a:lnTo>
                    <a:lnTo>
                      <a:pt x="67" y="26"/>
                    </a:lnTo>
                    <a:lnTo>
                      <a:pt x="69" y="30"/>
                    </a:lnTo>
                    <a:lnTo>
                      <a:pt x="72" y="32"/>
                    </a:lnTo>
                    <a:lnTo>
                      <a:pt x="72" y="32"/>
                    </a:lnTo>
                    <a:lnTo>
                      <a:pt x="72" y="30"/>
                    </a:lnTo>
                    <a:lnTo>
                      <a:pt x="74" y="29"/>
                    </a:lnTo>
                    <a:lnTo>
                      <a:pt x="75" y="28"/>
                    </a:lnTo>
                    <a:lnTo>
                      <a:pt x="75" y="28"/>
                    </a:lnTo>
                    <a:lnTo>
                      <a:pt x="77" y="28"/>
                    </a:lnTo>
                    <a:lnTo>
                      <a:pt x="81" y="23"/>
                    </a:lnTo>
                    <a:lnTo>
                      <a:pt x="81" y="22"/>
                    </a:lnTo>
                    <a:lnTo>
                      <a:pt x="81" y="22"/>
                    </a:lnTo>
                    <a:lnTo>
                      <a:pt x="81" y="22"/>
                    </a:lnTo>
                    <a:lnTo>
                      <a:pt x="81" y="19"/>
                    </a:lnTo>
                    <a:lnTo>
                      <a:pt x="80" y="17"/>
                    </a:lnTo>
                    <a:lnTo>
                      <a:pt x="78" y="17"/>
                    </a:lnTo>
                    <a:lnTo>
                      <a:pt x="78" y="16"/>
                    </a:lnTo>
                    <a:lnTo>
                      <a:pt x="78" y="14"/>
                    </a:lnTo>
                    <a:lnTo>
                      <a:pt x="80" y="13"/>
                    </a:lnTo>
                    <a:lnTo>
                      <a:pt x="68" y="4"/>
                    </a:lnTo>
                    <a:lnTo>
                      <a:pt x="56" y="1"/>
                    </a:lnTo>
                    <a:lnTo>
                      <a:pt x="53" y="0"/>
                    </a:lnTo>
                    <a:lnTo>
                      <a:pt x="46" y="0"/>
                    </a:lnTo>
                    <a:lnTo>
                      <a:pt x="45" y="1"/>
                    </a:lnTo>
                    <a:lnTo>
                      <a:pt x="45" y="6"/>
                    </a:lnTo>
                    <a:lnTo>
                      <a:pt x="43" y="7"/>
                    </a:lnTo>
                    <a:lnTo>
                      <a:pt x="42" y="7"/>
                    </a:lnTo>
                    <a:lnTo>
                      <a:pt x="42" y="4"/>
                    </a:lnTo>
                    <a:lnTo>
                      <a:pt x="40" y="4"/>
                    </a:lnTo>
                    <a:lnTo>
                      <a:pt x="40" y="4"/>
                    </a:lnTo>
                    <a:lnTo>
                      <a:pt x="35" y="7"/>
                    </a:lnTo>
                    <a:lnTo>
                      <a:pt x="30" y="9"/>
                    </a:lnTo>
                    <a:lnTo>
                      <a:pt x="27" y="10"/>
                    </a:lnTo>
                    <a:lnTo>
                      <a:pt x="27" y="10"/>
                    </a:lnTo>
                    <a:lnTo>
                      <a:pt x="23" y="10"/>
                    </a:lnTo>
                    <a:lnTo>
                      <a:pt x="17" y="9"/>
                    </a:lnTo>
                    <a:lnTo>
                      <a:pt x="11" y="9"/>
                    </a:lnTo>
                    <a:lnTo>
                      <a:pt x="11" y="7"/>
                    </a:lnTo>
                    <a:lnTo>
                      <a:pt x="11" y="6"/>
                    </a:lnTo>
                    <a:lnTo>
                      <a:pt x="10" y="4"/>
                    </a:lnTo>
                    <a:lnTo>
                      <a:pt x="8" y="1"/>
                    </a:lnTo>
                    <a:lnTo>
                      <a:pt x="8" y="1"/>
                    </a:lnTo>
                    <a:lnTo>
                      <a:pt x="6" y="0"/>
                    </a:lnTo>
                    <a:lnTo>
                      <a:pt x="6"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25" name="Freeform 224"/>
              <p:cNvSpPr>
                <a:spLocks/>
              </p:cNvSpPr>
              <p:nvPr/>
            </p:nvSpPr>
            <p:spPr bwMode="auto">
              <a:xfrm>
                <a:off x="5036641" y="3133661"/>
                <a:ext cx="73735" cy="34480"/>
              </a:xfrm>
              <a:custGeom>
                <a:avLst/>
                <a:gdLst/>
                <a:ahLst/>
                <a:cxnLst>
                  <a:cxn ang="0">
                    <a:pos x="6" y="0"/>
                  </a:cxn>
                  <a:cxn ang="0">
                    <a:pos x="4" y="0"/>
                  </a:cxn>
                  <a:cxn ang="0">
                    <a:pos x="1" y="1"/>
                  </a:cxn>
                  <a:cxn ang="0">
                    <a:pos x="3" y="6"/>
                  </a:cxn>
                  <a:cxn ang="0">
                    <a:pos x="3" y="9"/>
                  </a:cxn>
                  <a:cxn ang="0">
                    <a:pos x="1" y="10"/>
                  </a:cxn>
                  <a:cxn ang="0">
                    <a:pos x="0" y="17"/>
                  </a:cxn>
                  <a:cxn ang="0">
                    <a:pos x="1" y="20"/>
                  </a:cxn>
                  <a:cxn ang="0">
                    <a:pos x="1" y="19"/>
                  </a:cxn>
                  <a:cxn ang="0">
                    <a:pos x="10" y="19"/>
                  </a:cxn>
                  <a:cxn ang="0">
                    <a:pos x="17" y="20"/>
                  </a:cxn>
                  <a:cxn ang="0">
                    <a:pos x="23" y="28"/>
                  </a:cxn>
                  <a:cxn ang="0">
                    <a:pos x="26" y="26"/>
                  </a:cxn>
                  <a:cxn ang="0">
                    <a:pos x="30" y="33"/>
                  </a:cxn>
                  <a:cxn ang="0">
                    <a:pos x="40" y="29"/>
                  </a:cxn>
                  <a:cxn ang="0">
                    <a:pos x="36" y="23"/>
                  </a:cxn>
                  <a:cxn ang="0">
                    <a:pos x="35" y="22"/>
                  </a:cxn>
                  <a:cxn ang="0">
                    <a:pos x="40" y="17"/>
                  </a:cxn>
                  <a:cxn ang="0">
                    <a:pos x="45" y="14"/>
                  </a:cxn>
                  <a:cxn ang="0">
                    <a:pos x="49" y="9"/>
                  </a:cxn>
                  <a:cxn ang="0">
                    <a:pos x="53" y="9"/>
                  </a:cxn>
                  <a:cxn ang="0">
                    <a:pos x="65" y="16"/>
                  </a:cxn>
                  <a:cxn ang="0">
                    <a:pos x="68" y="16"/>
                  </a:cxn>
                  <a:cxn ang="0">
                    <a:pos x="69" y="17"/>
                  </a:cxn>
                  <a:cxn ang="0">
                    <a:pos x="67" y="20"/>
                  </a:cxn>
                  <a:cxn ang="0">
                    <a:pos x="67" y="26"/>
                  </a:cxn>
                  <a:cxn ang="0">
                    <a:pos x="72" y="32"/>
                  </a:cxn>
                  <a:cxn ang="0">
                    <a:pos x="72" y="30"/>
                  </a:cxn>
                  <a:cxn ang="0">
                    <a:pos x="75" y="28"/>
                  </a:cxn>
                  <a:cxn ang="0">
                    <a:pos x="77" y="28"/>
                  </a:cxn>
                  <a:cxn ang="0">
                    <a:pos x="81" y="22"/>
                  </a:cxn>
                  <a:cxn ang="0">
                    <a:pos x="81" y="22"/>
                  </a:cxn>
                  <a:cxn ang="0">
                    <a:pos x="80" y="17"/>
                  </a:cxn>
                  <a:cxn ang="0">
                    <a:pos x="78" y="16"/>
                  </a:cxn>
                  <a:cxn ang="0">
                    <a:pos x="80" y="13"/>
                  </a:cxn>
                  <a:cxn ang="0">
                    <a:pos x="56" y="1"/>
                  </a:cxn>
                  <a:cxn ang="0">
                    <a:pos x="46" y="0"/>
                  </a:cxn>
                  <a:cxn ang="0">
                    <a:pos x="45" y="6"/>
                  </a:cxn>
                  <a:cxn ang="0">
                    <a:pos x="42" y="7"/>
                  </a:cxn>
                  <a:cxn ang="0">
                    <a:pos x="40" y="4"/>
                  </a:cxn>
                  <a:cxn ang="0">
                    <a:pos x="35" y="7"/>
                  </a:cxn>
                  <a:cxn ang="0">
                    <a:pos x="27" y="10"/>
                  </a:cxn>
                  <a:cxn ang="0">
                    <a:pos x="23" y="10"/>
                  </a:cxn>
                  <a:cxn ang="0">
                    <a:pos x="11" y="9"/>
                  </a:cxn>
                  <a:cxn ang="0">
                    <a:pos x="11" y="6"/>
                  </a:cxn>
                  <a:cxn ang="0">
                    <a:pos x="8" y="1"/>
                  </a:cxn>
                  <a:cxn ang="0">
                    <a:pos x="6" y="0"/>
                  </a:cxn>
                </a:cxnLst>
                <a:rect l="0" t="0" r="r" b="b"/>
                <a:pathLst>
                  <a:path w="81" h="33">
                    <a:moveTo>
                      <a:pt x="6" y="0"/>
                    </a:moveTo>
                    <a:lnTo>
                      <a:pt x="6" y="0"/>
                    </a:lnTo>
                    <a:lnTo>
                      <a:pt x="4" y="0"/>
                    </a:lnTo>
                    <a:lnTo>
                      <a:pt x="4" y="0"/>
                    </a:lnTo>
                    <a:lnTo>
                      <a:pt x="3" y="0"/>
                    </a:lnTo>
                    <a:lnTo>
                      <a:pt x="1" y="1"/>
                    </a:lnTo>
                    <a:lnTo>
                      <a:pt x="1" y="6"/>
                    </a:lnTo>
                    <a:lnTo>
                      <a:pt x="3" y="6"/>
                    </a:lnTo>
                    <a:lnTo>
                      <a:pt x="4" y="7"/>
                    </a:lnTo>
                    <a:lnTo>
                      <a:pt x="3" y="9"/>
                    </a:lnTo>
                    <a:lnTo>
                      <a:pt x="3" y="10"/>
                    </a:lnTo>
                    <a:lnTo>
                      <a:pt x="1" y="10"/>
                    </a:lnTo>
                    <a:lnTo>
                      <a:pt x="3" y="14"/>
                    </a:lnTo>
                    <a:lnTo>
                      <a:pt x="0" y="17"/>
                    </a:lnTo>
                    <a:lnTo>
                      <a:pt x="0" y="17"/>
                    </a:lnTo>
                    <a:lnTo>
                      <a:pt x="1" y="20"/>
                    </a:lnTo>
                    <a:lnTo>
                      <a:pt x="1" y="20"/>
                    </a:lnTo>
                    <a:lnTo>
                      <a:pt x="1" y="19"/>
                    </a:lnTo>
                    <a:lnTo>
                      <a:pt x="3" y="17"/>
                    </a:lnTo>
                    <a:lnTo>
                      <a:pt x="10" y="19"/>
                    </a:lnTo>
                    <a:lnTo>
                      <a:pt x="14" y="20"/>
                    </a:lnTo>
                    <a:lnTo>
                      <a:pt x="17" y="20"/>
                    </a:lnTo>
                    <a:lnTo>
                      <a:pt x="17" y="20"/>
                    </a:lnTo>
                    <a:lnTo>
                      <a:pt x="23" y="28"/>
                    </a:lnTo>
                    <a:lnTo>
                      <a:pt x="24" y="28"/>
                    </a:lnTo>
                    <a:lnTo>
                      <a:pt x="26" y="26"/>
                    </a:lnTo>
                    <a:lnTo>
                      <a:pt x="27" y="26"/>
                    </a:lnTo>
                    <a:lnTo>
                      <a:pt x="30" y="33"/>
                    </a:lnTo>
                    <a:lnTo>
                      <a:pt x="35" y="33"/>
                    </a:lnTo>
                    <a:lnTo>
                      <a:pt x="40" y="29"/>
                    </a:lnTo>
                    <a:lnTo>
                      <a:pt x="40" y="28"/>
                    </a:lnTo>
                    <a:lnTo>
                      <a:pt x="36" y="23"/>
                    </a:lnTo>
                    <a:lnTo>
                      <a:pt x="35" y="23"/>
                    </a:lnTo>
                    <a:lnTo>
                      <a:pt x="35" y="22"/>
                    </a:lnTo>
                    <a:lnTo>
                      <a:pt x="36" y="20"/>
                    </a:lnTo>
                    <a:lnTo>
                      <a:pt x="40" y="17"/>
                    </a:lnTo>
                    <a:lnTo>
                      <a:pt x="40" y="17"/>
                    </a:lnTo>
                    <a:lnTo>
                      <a:pt x="45" y="14"/>
                    </a:lnTo>
                    <a:lnTo>
                      <a:pt x="48" y="10"/>
                    </a:lnTo>
                    <a:lnTo>
                      <a:pt x="49" y="9"/>
                    </a:lnTo>
                    <a:lnTo>
                      <a:pt x="52" y="9"/>
                    </a:lnTo>
                    <a:lnTo>
                      <a:pt x="53" y="9"/>
                    </a:lnTo>
                    <a:lnTo>
                      <a:pt x="62" y="13"/>
                    </a:lnTo>
                    <a:lnTo>
                      <a:pt x="65" y="16"/>
                    </a:lnTo>
                    <a:lnTo>
                      <a:pt x="67" y="16"/>
                    </a:lnTo>
                    <a:lnTo>
                      <a:pt x="68" y="16"/>
                    </a:lnTo>
                    <a:lnTo>
                      <a:pt x="69" y="17"/>
                    </a:lnTo>
                    <a:lnTo>
                      <a:pt x="69" y="17"/>
                    </a:lnTo>
                    <a:lnTo>
                      <a:pt x="69" y="17"/>
                    </a:lnTo>
                    <a:lnTo>
                      <a:pt x="67" y="20"/>
                    </a:lnTo>
                    <a:lnTo>
                      <a:pt x="67" y="23"/>
                    </a:lnTo>
                    <a:lnTo>
                      <a:pt x="67" y="26"/>
                    </a:lnTo>
                    <a:lnTo>
                      <a:pt x="69" y="30"/>
                    </a:lnTo>
                    <a:lnTo>
                      <a:pt x="72" y="32"/>
                    </a:lnTo>
                    <a:lnTo>
                      <a:pt x="72" y="32"/>
                    </a:lnTo>
                    <a:lnTo>
                      <a:pt x="72" y="30"/>
                    </a:lnTo>
                    <a:lnTo>
                      <a:pt x="74" y="29"/>
                    </a:lnTo>
                    <a:lnTo>
                      <a:pt x="75" y="28"/>
                    </a:lnTo>
                    <a:lnTo>
                      <a:pt x="75" y="28"/>
                    </a:lnTo>
                    <a:lnTo>
                      <a:pt x="77" y="28"/>
                    </a:lnTo>
                    <a:lnTo>
                      <a:pt x="81" y="23"/>
                    </a:lnTo>
                    <a:lnTo>
                      <a:pt x="81" y="22"/>
                    </a:lnTo>
                    <a:lnTo>
                      <a:pt x="81" y="22"/>
                    </a:lnTo>
                    <a:lnTo>
                      <a:pt x="81" y="22"/>
                    </a:lnTo>
                    <a:lnTo>
                      <a:pt x="81" y="19"/>
                    </a:lnTo>
                    <a:lnTo>
                      <a:pt x="80" y="17"/>
                    </a:lnTo>
                    <a:lnTo>
                      <a:pt x="78" y="17"/>
                    </a:lnTo>
                    <a:lnTo>
                      <a:pt x="78" y="16"/>
                    </a:lnTo>
                    <a:lnTo>
                      <a:pt x="78" y="14"/>
                    </a:lnTo>
                    <a:lnTo>
                      <a:pt x="80" y="13"/>
                    </a:lnTo>
                    <a:lnTo>
                      <a:pt x="68" y="4"/>
                    </a:lnTo>
                    <a:lnTo>
                      <a:pt x="56" y="1"/>
                    </a:lnTo>
                    <a:lnTo>
                      <a:pt x="53" y="0"/>
                    </a:lnTo>
                    <a:lnTo>
                      <a:pt x="46" y="0"/>
                    </a:lnTo>
                    <a:lnTo>
                      <a:pt x="45" y="1"/>
                    </a:lnTo>
                    <a:lnTo>
                      <a:pt x="45" y="6"/>
                    </a:lnTo>
                    <a:lnTo>
                      <a:pt x="43" y="7"/>
                    </a:lnTo>
                    <a:lnTo>
                      <a:pt x="42" y="7"/>
                    </a:lnTo>
                    <a:lnTo>
                      <a:pt x="42" y="4"/>
                    </a:lnTo>
                    <a:lnTo>
                      <a:pt x="40" y="4"/>
                    </a:lnTo>
                    <a:lnTo>
                      <a:pt x="40" y="4"/>
                    </a:lnTo>
                    <a:lnTo>
                      <a:pt x="35" y="7"/>
                    </a:lnTo>
                    <a:lnTo>
                      <a:pt x="30" y="9"/>
                    </a:lnTo>
                    <a:lnTo>
                      <a:pt x="27" y="10"/>
                    </a:lnTo>
                    <a:lnTo>
                      <a:pt x="27" y="10"/>
                    </a:lnTo>
                    <a:lnTo>
                      <a:pt x="23" y="10"/>
                    </a:lnTo>
                    <a:lnTo>
                      <a:pt x="17" y="9"/>
                    </a:lnTo>
                    <a:lnTo>
                      <a:pt x="11" y="9"/>
                    </a:lnTo>
                    <a:lnTo>
                      <a:pt x="11" y="7"/>
                    </a:lnTo>
                    <a:lnTo>
                      <a:pt x="11" y="6"/>
                    </a:lnTo>
                    <a:lnTo>
                      <a:pt x="10" y="4"/>
                    </a:lnTo>
                    <a:lnTo>
                      <a:pt x="8" y="1"/>
                    </a:lnTo>
                    <a:lnTo>
                      <a:pt x="8" y="1"/>
                    </a:lnTo>
                    <a:lnTo>
                      <a:pt x="6" y="0"/>
                    </a:lnTo>
                    <a:lnTo>
                      <a:pt x="6"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26" name="Freeform 225"/>
              <p:cNvSpPr>
                <a:spLocks/>
              </p:cNvSpPr>
              <p:nvPr/>
            </p:nvSpPr>
            <p:spPr bwMode="auto">
              <a:xfrm>
                <a:off x="4915505" y="3006894"/>
                <a:ext cx="50034" cy="63890"/>
              </a:xfrm>
              <a:custGeom>
                <a:avLst/>
                <a:gdLst/>
                <a:ahLst/>
                <a:cxnLst>
                  <a:cxn ang="0">
                    <a:pos x="19" y="0"/>
                  </a:cxn>
                  <a:cxn ang="0">
                    <a:pos x="10" y="8"/>
                  </a:cxn>
                  <a:cxn ang="0">
                    <a:pos x="21" y="16"/>
                  </a:cxn>
                  <a:cxn ang="0">
                    <a:pos x="24" y="21"/>
                  </a:cxn>
                  <a:cxn ang="0">
                    <a:pos x="24" y="25"/>
                  </a:cxn>
                  <a:cxn ang="0">
                    <a:pos x="24" y="25"/>
                  </a:cxn>
                  <a:cxn ang="0">
                    <a:pos x="4" y="35"/>
                  </a:cxn>
                  <a:cxn ang="0">
                    <a:pos x="3" y="41"/>
                  </a:cxn>
                  <a:cxn ang="0">
                    <a:pos x="3" y="42"/>
                  </a:cxn>
                  <a:cxn ang="0">
                    <a:pos x="1" y="44"/>
                  </a:cxn>
                  <a:cxn ang="0">
                    <a:pos x="0" y="48"/>
                  </a:cxn>
                  <a:cxn ang="0">
                    <a:pos x="3" y="50"/>
                  </a:cxn>
                  <a:cxn ang="0">
                    <a:pos x="4" y="53"/>
                  </a:cxn>
                  <a:cxn ang="0">
                    <a:pos x="13" y="57"/>
                  </a:cxn>
                  <a:cxn ang="0">
                    <a:pos x="32" y="61"/>
                  </a:cxn>
                  <a:cxn ang="0">
                    <a:pos x="33" y="57"/>
                  </a:cxn>
                  <a:cxn ang="0">
                    <a:pos x="36" y="56"/>
                  </a:cxn>
                  <a:cxn ang="0">
                    <a:pos x="39" y="53"/>
                  </a:cxn>
                  <a:cxn ang="0">
                    <a:pos x="40" y="50"/>
                  </a:cxn>
                  <a:cxn ang="0">
                    <a:pos x="40" y="48"/>
                  </a:cxn>
                  <a:cxn ang="0">
                    <a:pos x="43" y="47"/>
                  </a:cxn>
                  <a:cxn ang="0">
                    <a:pos x="42" y="45"/>
                  </a:cxn>
                  <a:cxn ang="0">
                    <a:pos x="43" y="42"/>
                  </a:cxn>
                  <a:cxn ang="0">
                    <a:pos x="45" y="41"/>
                  </a:cxn>
                  <a:cxn ang="0">
                    <a:pos x="55" y="34"/>
                  </a:cxn>
                  <a:cxn ang="0">
                    <a:pos x="55" y="31"/>
                  </a:cxn>
                  <a:cxn ang="0">
                    <a:pos x="55" y="31"/>
                  </a:cxn>
                  <a:cxn ang="0">
                    <a:pos x="53" y="29"/>
                  </a:cxn>
                  <a:cxn ang="0">
                    <a:pos x="50" y="31"/>
                  </a:cxn>
                  <a:cxn ang="0">
                    <a:pos x="48" y="28"/>
                  </a:cxn>
                  <a:cxn ang="0">
                    <a:pos x="45" y="28"/>
                  </a:cxn>
                  <a:cxn ang="0">
                    <a:pos x="43" y="28"/>
                  </a:cxn>
                </a:cxnLst>
                <a:rect l="0" t="0" r="r" b="b"/>
                <a:pathLst>
                  <a:path w="55" h="61">
                    <a:moveTo>
                      <a:pt x="43" y="0"/>
                    </a:moveTo>
                    <a:lnTo>
                      <a:pt x="19" y="0"/>
                    </a:lnTo>
                    <a:lnTo>
                      <a:pt x="19" y="8"/>
                    </a:lnTo>
                    <a:lnTo>
                      <a:pt x="10" y="8"/>
                    </a:lnTo>
                    <a:lnTo>
                      <a:pt x="10" y="6"/>
                    </a:lnTo>
                    <a:lnTo>
                      <a:pt x="21" y="16"/>
                    </a:lnTo>
                    <a:lnTo>
                      <a:pt x="21" y="18"/>
                    </a:lnTo>
                    <a:lnTo>
                      <a:pt x="24" y="21"/>
                    </a:lnTo>
                    <a:lnTo>
                      <a:pt x="24" y="22"/>
                    </a:lnTo>
                    <a:lnTo>
                      <a:pt x="24" y="25"/>
                    </a:lnTo>
                    <a:lnTo>
                      <a:pt x="24" y="25"/>
                    </a:lnTo>
                    <a:lnTo>
                      <a:pt x="24" y="25"/>
                    </a:lnTo>
                    <a:lnTo>
                      <a:pt x="11" y="26"/>
                    </a:lnTo>
                    <a:lnTo>
                      <a:pt x="4" y="35"/>
                    </a:lnTo>
                    <a:lnTo>
                      <a:pt x="4" y="37"/>
                    </a:lnTo>
                    <a:lnTo>
                      <a:pt x="3" y="41"/>
                    </a:lnTo>
                    <a:lnTo>
                      <a:pt x="1" y="41"/>
                    </a:lnTo>
                    <a:lnTo>
                      <a:pt x="3" y="42"/>
                    </a:lnTo>
                    <a:lnTo>
                      <a:pt x="3" y="44"/>
                    </a:lnTo>
                    <a:lnTo>
                      <a:pt x="1" y="44"/>
                    </a:lnTo>
                    <a:lnTo>
                      <a:pt x="1" y="48"/>
                    </a:lnTo>
                    <a:lnTo>
                      <a:pt x="0" y="48"/>
                    </a:lnTo>
                    <a:lnTo>
                      <a:pt x="1" y="50"/>
                    </a:lnTo>
                    <a:lnTo>
                      <a:pt x="3" y="50"/>
                    </a:lnTo>
                    <a:lnTo>
                      <a:pt x="3" y="51"/>
                    </a:lnTo>
                    <a:lnTo>
                      <a:pt x="4" y="53"/>
                    </a:lnTo>
                    <a:lnTo>
                      <a:pt x="5" y="53"/>
                    </a:lnTo>
                    <a:lnTo>
                      <a:pt x="13" y="57"/>
                    </a:lnTo>
                    <a:lnTo>
                      <a:pt x="29" y="60"/>
                    </a:lnTo>
                    <a:lnTo>
                      <a:pt x="32" y="61"/>
                    </a:lnTo>
                    <a:lnTo>
                      <a:pt x="32" y="60"/>
                    </a:lnTo>
                    <a:lnTo>
                      <a:pt x="33" y="57"/>
                    </a:lnTo>
                    <a:lnTo>
                      <a:pt x="34" y="57"/>
                    </a:lnTo>
                    <a:lnTo>
                      <a:pt x="36" y="56"/>
                    </a:lnTo>
                    <a:lnTo>
                      <a:pt x="37" y="54"/>
                    </a:lnTo>
                    <a:lnTo>
                      <a:pt x="39" y="53"/>
                    </a:lnTo>
                    <a:lnTo>
                      <a:pt x="39" y="51"/>
                    </a:lnTo>
                    <a:lnTo>
                      <a:pt x="40" y="50"/>
                    </a:lnTo>
                    <a:lnTo>
                      <a:pt x="40" y="50"/>
                    </a:lnTo>
                    <a:lnTo>
                      <a:pt x="40" y="48"/>
                    </a:lnTo>
                    <a:lnTo>
                      <a:pt x="43" y="47"/>
                    </a:lnTo>
                    <a:lnTo>
                      <a:pt x="43" y="47"/>
                    </a:lnTo>
                    <a:lnTo>
                      <a:pt x="43" y="45"/>
                    </a:lnTo>
                    <a:lnTo>
                      <a:pt x="42" y="45"/>
                    </a:lnTo>
                    <a:lnTo>
                      <a:pt x="42" y="44"/>
                    </a:lnTo>
                    <a:lnTo>
                      <a:pt x="43" y="42"/>
                    </a:lnTo>
                    <a:lnTo>
                      <a:pt x="45" y="41"/>
                    </a:lnTo>
                    <a:lnTo>
                      <a:pt x="45" y="41"/>
                    </a:lnTo>
                    <a:lnTo>
                      <a:pt x="46" y="40"/>
                    </a:lnTo>
                    <a:lnTo>
                      <a:pt x="55" y="34"/>
                    </a:lnTo>
                    <a:lnTo>
                      <a:pt x="55" y="32"/>
                    </a:lnTo>
                    <a:lnTo>
                      <a:pt x="55" y="31"/>
                    </a:lnTo>
                    <a:lnTo>
                      <a:pt x="55" y="31"/>
                    </a:lnTo>
                    <a:lnTo>
                      <a:pt x="55" y="31"/>
                    </a:lnTo>
                    <a:lnTo>
                      <a:pt x="55" y="31"/>
                    </a:lnTo>
                    <a:lnTo>
                      <a:pt x="53" y="29"/>
                    </a:lnTo>
                    <a:lnTo>
                      <a:pt x="50" y="31"/>
                    </a:lnTo>
                    <a:lnTo>
                      <a:pt x="50" y="31"/>
                    </a:lnTo>
                    <a:lnTo>
                      <a:pt x="49" y="29"/>
                    </a:lnTo>
                    <a:lnTo>
                      <a:pt x="48" y="28"/>
                    </a:lnTo>
                    <a:lnTo>
                      <a:pt x="48" y="28"/>
                    </a:lnTo>
                    <a:lnTo>
                      <a:pt x="45" y="28"/>
                    </a:lnTo>
                    <a:lnTo>
                      <a:pt x="43" y="28"/>
                    </a:lnTo>
                    <a:lnTo>
                      <a:pt x="43" y="28"/>
                    </a:lnTo>
                    <a:lnTo>
                      <a:pt x="4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27" name="Freeform 226"/>
              <p:cNvSpPr>
                <a:spLocks/>
              </p:cNvSpPr>
              <p:nvPr/>
            </p:nvSpPr>
            <p:spPr bwMode="auto">
              <a:xfrm>
                <a:off x="4915505" y="3006894"/>
                <a:ext cx="50034" cy="63890"/>
              </a:xfrm>
              <a:custGeom>
                <a:avLst/>
                <a:gdLst/>
                <a:ahLst/>
                <a:cxnLst>
                  <a:cxn ang="0">
                    <a:pos x="19" y="0"/>
                  </a:cxn>
                  <a:cxn ang="0">
                    <a:pos x="10" y="8"/>
                  </a:cxn>
                  <a:cxn ang="0">
                    <a:pos x="21" y="16"/>
                  </a:cxn>
                  <a:cxn ang="0">
                    <a:pos x="24" y="21"/>
                  </a:cxn>
                  <a:cxn ang="0">
                    <a:pos x="24" y="25"/>
                  </a:cxn>
                  <a:cxn ang="0">
                    <a:pos x="24" y="25"/>
                  </a:cxn>
                  <a:cxn ang="0">
                    <a:pos x="4" y="35"/>
                  </a:cxn>
                  <a:cxn ang="0">
                    <a:pos x="3" y="41"/>
                  </a:cxn>
                  <a:cxn ang="0">
                    <a:pos x="3" y="42"/>
                  </a:cxn>
                  <a:cxn ang="0">
                    <a:pos x="1" y="44"/>
                  </a:cxn>
                  <a:cxn ang="0">
                    <a:pos x="0" y="48"/>
                  </a:cxn>
                  <a:cxn ang="0">
                    <a:pos x="3" y="50"/>
                  </a:cxn>
                  <a:cxn ang="0">
                    <a:pos x="4" y="53"/>
                  </a:cxn>
                  <a:cxn ang="0">
                    <a:pos x="13" y="57"/>
                  </a:cxn>
                  <a:cxn ang="0">
                    <a:pos x="32" y="61"/>
                  </a:cxn>
                  <a:cxn ang="0">
                    <a:pos x="33" y="57"/>
                  </a:cxn>
                  <a:cxn ang="0">
                    <a:pos x="36" y="56"/>
                  </a:cxn>
                  <a:cxn ang="0">
                    <a:pos x="39" y="53"/>
                  </a:cxn>
                  <a:cxn ang="0">
                    <a:pos x="40" y="50"/>
                  </a:cxn>
                  <a:cxn ang="0">
                    <a:pos x="40" y="48"/>
                  </a:cxn>
                  <a:cxn ang="0">
                    <a:pos x="43" y="47"/>
                  </a:cxn>
                  <a:cxn ang="0">
                    <a:pos x="42" y="45"/>
                  </a:cxn>
                  <a:cxn ang="0">
                    <a:pos x="43" y="42"/>
                  </a:cxn>
                  <a:cxn ang="0">
                    <a:pos x="45" y="41"/>
                  </a:cxn>
                  <a:cxn ang="0">
                    <a:pos x="55" y="34"/>
                  </a:cxn>
                  <a:cxn ang="0">
                    <a:pos x="55" y="31"/>
                  </a:cxn>
                  <a:cxn ang="0">
                    <a:pos x="55" y="31"/>
                  </a:cxn>
                  <a:cxn ang="0">
                    <a:pos x="53" y="29"/>
                  </a:cxn>
                  <a:cxn ang="0">
                    <a:pos x="50" y="31"/>
                  </a:cxn>
                  <a:cxn ang="0">
                    <a:pos x="48" y="28"/>
                  </a:cxn>
                  <a:cxn ang="0">
                    <a:pos x="45" y="28"/>
                  </a:cxn>
                  <a:cxn ang="0">
                    <a:pos x="43" y="28"/>
                  </a:cxn>
                </a:cxnLst>
                <a:rect l="0" t="0" r="r" b="b"/>
                <a:pathLst>
                  <a:path w="55" h="61">
                    <a:moveTo>
                      <a:pt x="43" y="0"/>
                    </a:moveTo>
                    <a:lnTo>
                      <a:pt x="19" y="0"/>
                    </a:lnTo>
                    <a:lnTo>
                      <a:pt x="19" y="8"/>
                    </a:lnTo>
                    <a:lnTo>
                      <a:pt x="10" y="8"/>
                    </a:lnTo>
                    <a:lnTo>
                      <a:pt x="10" y="6"/>
                    </a:lnTo>
                    <a:lnTo>
                      <a:pt x="21" y="16"/>
                    </a:lnTo>
                    <a:lnTo>
                      <a:pt x="21" y="18"/>
                    </a:lnTo>
                    <a:lnTo>
                      <a:pt x="24" y="21"/>
                    </a:lnTo>
                    <a:lnTo>
                      <a:pt x="24" y="22"/>
                    </a:lnTo>
                    <a:lnTo>
                      <a:pt x="24" y="25"/>
                    </a:lnTo>
                    <a:lnTo>
                      <a:pt x="24" y="25"/>
                    </a:lnTo>
                    <a:lnTo>
                      <a:pt x="24" y="25"/>
                    </a:lnTo>
                    <a:lnTo>
                      <a:pt x="11" y="26"/>
                    </a:lnTo>
                    <a:lnTo>
                      <a:pt x="4" y="35"/>
                    </a:lnTo>
                    <a:lnTo>
                      <a:pt x="4" y="37"/>
                    </a:lnTo>
                    <a:lnTo>
                      <a:pt x="3" y="41"/>
                    </a:lnTo>
                    <a:lnTo>
                      <a:pt x="1" y="41"/>
                    </a:lnTo>
                    <a:lnTo>
                      <a:pt x="3" y="42"/>
                    </a:lnTo>
                    <a:lnTo>
                      <a:pt x="3" y="44"/>
                    </a:lnTo>
                    <a:lnTo>
                      <a:pt x="1" y="44"/>
                    </a:lnTo>
                    <a:lnTo>
                      <a:pt x="1" y="48"/>
                    </a:lnTo>
                    <a:lnTo>
                      <a:pt x="0" y="48"/>
                    </a:lnTo>
                    <a:lnTo>
                      <a:pt x="1" y="50"/>
                    </a:lnTo>
                    <a:lnTo>
                      <a:pt x="3" y="50"/>
                    </a:lnTo>
                    <a:lnTo>
                      <a:pt x="3" y="51"/>
                    </a:lnTo>
                    <a:lnTo>
                      <a:pt x="4" y="53"/>
                    </a:lnTo>
                    <a:lnTo>
                      <a:pt x="5" y="53"/>
                    </a:lnTo>
                    <a:lnTo>
                      <a:pt x="13" y="57"/>
                    </a:lnTo>
                    <a:lnTo>
                      <a:pt x="29" y="60"/>
                    </a:lnTo>
                    <a:lnTo>
                      <a:pt x="32" y="61"/>
                    </a:lnTo>
                    <a:lnTo>
                      <a:pt x="32" y="60"/>
                    </a:lnTo>
                    <a:lnTo>
                      <a:pt x="33" y="57"/>
                    </a:lnTo>
                    <a:lnTo>
                      <a:pt x="34" y="57"/>
                    </a:lnTo>
                    <a:lnTo>
                      <a:pt x="36" y="56"/>
                    </a:lnTo>
                    <a:lnTo>
                      <a:pt x="37" y="54"/>
                    </a:lnTo>
                    <a:lnTo>
                      <a:pt x="39" y="53"/>
                    </a:lnTo>
                    <a:lnTo>
                      <a:pt x="39" y="51"/>
                    </a:lnTo>
                    <a:lnTo>
                      <a:pt x="40" y="50"/>
                    </a:lnTo>
                    <a:lnTo>
                      <a:pt x="40" y="50"/>
                    </a:lnTo>
                    <a:lnTo>
                      <a:pt x="40" y="48"/>
                    </a:lnTo>
                    <a:lnTo>
                      <a:pt x="43" y="47"/>
                    </a:lnTo>
                    <a:lnTo>
                      <a:pt x="43" y="47"/>
                    </a:lnTo>
                    <a:lnTo>
                      <a:pt x="43" y="45"/>
                    </a:lnTo>
                    <a:lnTo>
                      <a:pt x="42" y="45"/>
                    </a:lnTo>
                    <a:lnTo>
                      <a:pt x="42" y="44"/>
                    </a:lnTo>
                    <a:lnTo>
                      <a:pt x="43" y="42"/>
                    </a:lnTo>
                    <a:lnTo>
                      <a:pt x="45" y="41"/>
                    </a:lnTo>
                    <a:lnTo>
                      <a:pt x="45" y="41"/>
                    </a:lnTo>
                    <a:lnTo>
                      <a:pt x="46" y="40"/>
                    </a:lnTo>
                    <a:lnTo>
                      <a:pt x="55" y="34"/>
                    </a:lnTo>
                    <a:lnTo>
                      <a:pt x="55" y="32"/>
                    </a:lnTo>
                    <a:lnTo>
                      <a:pt x="55" y="31"/>
                    </a:lnTo>
                    <a:lnTo>
                      <a:pt x="55" y="31"/>
                    </a:lnTo>
                    <a:lnTo>
                      <a:pt x="55" y="31"/>
                    </a:lnTo>
                    <a:lnTo>
                      <a:pt x="55" y="31"/>
                    </a:lnTo>
                    <a:lnTo>
                      <a:pt x="53" y="29"/>
                    </a:lnTo>
                    <a:lnTo>
                      <a:pt x="50" y="31"/>
                    </a:lnTo>
                    <a:lnTo>
                      <a:pt x="50" y="31"/>
                    </a:lnTo>
                    <a:lnTo>
                      <a:pt x="49" y="29"/>
                    </a:lnTo>
                    <a:lnTo>
                      <a:pt x="48" y="28"/>
                    </a:lnTo>
                    <a:lnTo>
                      <a:pt x="48" y="28"/>
                    </a:lnTo>
                    <a:lnTo>
                      <a:pt x="45" y="28"/>
                    </a:lnTo>
                    <a:lnTo>
                      <a:pt x="43" y="28"/>
                    </a:lnTo>
                    <a:lnTo>
                      <a:pt x="43" y="28"/>
                    </a:lnTo>
                    <a:lnTo>
                      <a:pt x="4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28" name="Freeform 227"/>
              <p:cNvSpPr>
                <a:spLocks/>
              </p:cNvSpPr>
              <p:nvPr/>
            </p:nvSpPr>
            <p:spPr bwMode="auto">
              <a:xfrm>
                <a:off x="5181478" y="2976470"/>
                <a:ext cx="44768" cy="33466"/>
              </a:xfrm>
              <a:custGeom>
                <a:avLst/>
                <a:gdLst/>
                <a:ahLst/>
                <a:cxnLst>
                  <a:cxn ang="0">
                    <a:pos x="1" y="1"/>
                  </a:cxn>
                  <a:cxn ang="0">
                    <a:pos x="1" y="0"/>
                  </a:cxn>
                  <a:cxn ang="0">
                    <a:pos x="3" y="0"/>
                  </a:cxn>
                  <a:cxn ang="0">
                    <a:pos x="16" y="0"/>
                  </a:cxn>
                  <a:cxn ang="0">
                    <a:pos x="23" y="3"/>
                  </a:cxn>
                  <a:cxn ang="0">
                    <a:pos x="26" y="3"/>
                  </a:cxn>
                  <a:cxn ang="0">
                    <a:pos x="28" y="4"/>
                  </a:cxn>
                  <a:cxn ang="0">
                    <a:pos x="29" y="7"/>
                  </a:cxn>
                  <a:cxn ang="0">
                    <a:pos x="29" y="7"/>
                  </a:cxn>
                  <a:cxn ang="0">
                    <a:pos x="36" y="9"/>
                  </a:cxn>
                  <a:cxn ang="0">
                    <a:pos x="38" y="9"/>
                  </a:cxn>
                  <a:cxn ang="0">
                    <a:pos x="38" y="10"/>
                  </a:cxn>
                  <a:cxn ang="0">
                    <a:pos x="35" y="10"/>
                  </a:cxn>
                  <a:cxn ang="0">
                    <a:pos x="33" y="10"/>
                  </a:cxn>
                  <a:cxn ang="0">
                    <a:pos x="33" y="11"/>
                  </a:cxn>
                  <a:cxn ang="0">
                    <a:pos x="36" y="13"/>
                  </a:cxn>
                  <a:cxn ang="0">
                    <a:pos x="44" y="13"/>
                  </a:cxn>
                  <a:cxn ang="0">
                    <a:pos x="48" y="17"/>
                  </a:cxn>
                  <a:cxn ang="0">
                    <a:pos x="49" y="17"/>
                  </a:cxn>
                  <a:cxn ang="0">
                    <a:pos x="49" y="19"/>
                  </a:cxn>
                  <a:cxn ang="0">
                    <a:pos x="49" y="20"/>
                  </a:cxn>
                  <a:cxn ang="0">
                    <a:pos x="48" y="23"/>
                  </a:cxn>
                  <a:cxn ang="0">
                    <a:pos x="46" y="25"/>
                  </a:cxn>
                  <a:cxn ang="0">
                    <a:pos x="44" y="25"/>
                  </a:cxn>
                  <a:cxn ang="0">
                    <a:pos x="42" y="23"/>
                  </a:cxn>
                  <a:cxn ang="0">
                    <a:pos x="39" y="22"/>
                  </a:cxn>
                  <a:cxn ang="0">
                    <a:pos x="26" y="22"/>
                  </a:cxn>
                  <a:cxn ang="0">
                    <a:pos x="25" y="23"/>
                  </a:cxn>
                  <a:cxn ang="0">
                    <a:pos x="25" y="25"/>
                  </a:cxn>
                  <a:cxn ang="0">
                    <a:pos x="25" y="25"/>
                  </a:cxn>
                  <a:cxn ang="0">
                    <a:pos x="19" y="26"/>
                  </a:cxn>
                  <a:cxn ang="0">
                    <a:pos x="17" y="23"/>
                  </a:cxn>
                  <a:cxn ang="0">
                    <a:pos x="17" y="23"/>
                  </a:cxn>
                  <a:cxn ang="0">
                    <a:pos x="15" y="22"/>
                  </a:cxn>
                  <a:cxn ang="0">
                    <a:pos x="13" y="23"/>
                  </a:cxn>
                  <a:cxn ang="0">
                    <a:pos x="9" y="30"/>
                  </a:cxn>
                  <a:cxn ang="0">
                    <a:pos x="7" y="30"/>
                  </a:cxn>
                  <a:cxn ang="0">
                    <a:pos x="6" y="33"/>
                  </a:cxn>
                  <a:cxn ang="0">
                    <a:pos x="4" y="33"/>
                  </a:cxn>
                  <a:cxn ang="0">
                    <a:pos x="4" y="33"/>
                  </a:cxn>
                  <a:cxn ang="0">
                    <a:pos x="3" y="32"/>
                  </a:cxn>
                  <a:cxn ang="0">
                    <a:pos x="1" y="30"/>
                  </a:cxn>
                  <a:cxn ang="0">
                    <a:pos x="1" y="29"/>
                  </a:cxn>
                  <a:cxn ang="0">
                    <a:pos x="1" y="27"/>
                  </a:cxn>
                  <a:cxn ang="0">
                    <a:pos x="1" y="27"/>
                  </a:cxn>
                  <a:cxn ang="0">
                    <a:pos x="1" y="23"/>
                  </a:cxn>
                  <a:cxn ang="0">
                    <a:pos x="1" y="22"/>
                  </a:cxn>
                  <a:cxn ang="0">
                    <a:pos x="0" y="20"/>
                  </a:cxn>
                  <a:cxn ang="0">
                    <a:pos x="0" y="19"/>
                  </a:cxn>
                  <a:cxn ang="0">
                    <a:pos x="0" y="19"/>
                  </a:cxn>
                  <a:cxn ang="0">
                    <a:pos x="3" y="17"/>
                  </a:cxn>
                  <a:cxn ang="0">
                    <a:pos x="3" y="13"/>
                  </a:cxn>
                  <a:cxn ang="0">
                    <a:pos x="3" y="11"/>
                  </a:cxn>
                  <a:cxn ang="0">
                    <a:pos x="3" y="10"/>
                  </a:cxn>
                  <a:cxn ang="0">
                    <a:pos x="3" y="9"/>
                  </a:cxn>
                  <a:cxn ang="0">
                    <a:pos x="3" y="6"/>
                  </a:cxn>
                  <a:cxn ang="0">
                    <a:pos x="3" y="3"/>
                  </a:cxn>
                  <a:cxn ang="0">
                    <a:pos x="1" y="1"/>
                  </a:cxn>
                  <a:cxn ang="0">
                    <a:pos x="1" y="1"/>
                  </a:cxn>
                </a:cxnLst>
                <a:rect l="0" t="0" r="r" b="b"/>
                <a:pathLst>
                  <a:path w="49" h="33">
                    <a:moveTo>
                      <a:pt x="1" y="1"/>
                    </a:moveTo>
                    <a:lnTo>
                      <a:pt x="1" y="0"/>
                    </a:lnTo>
                    <a:lnTo>
                      <a:pt x="3" y="0"/>
                    </a:lnTo>
                    <a:lnTo>
                      <a:pt x="16" y="0"/>
                    </a:lnTo>
                    <a:lnTo>
                      <a:pt x="23" y="3"/>
                    </a:lnTo>
                    <a:lnTo>
                      <a:pt x="26" y="3"/>
                    </a:lnTo>
                    <a:lnTo>
                      <a:pt x="28" y="4"/>
                    </a:lnTo>
                    <a:lnTo>
                      <a:pt x="29" y="7"/>
                    </a:lnTo>
                    <a:lnTo>
                      <a:pt x="29" y="7"/>
                    </a:lnTo>
                    <a:lnTo>
                      <a:pt x="36" y="9"/>
                    </a:lnTo>
                    <a:lnTo>
                      <a:pt x="38" y="9"/>
                    </a:lnTo>
                    <a:lnTo>
                      <a:pt x="38" y="10"/>
                    </a:lnTo>
                    <a:lnTo>
                      <a:pt x="35" y="10"/>
                    </a:lnTo>
                    <a:lnTo>
                      <a:pt x="33" y="10"/>
                    </a:lnTo>
                    <a:lnTo>
                      <a:pt x="33" y="11"/>
                    </a:lnTo>
                    <a:lnTo>
                      <a:pt x="36" y="13"/>
                    </a:lnTo>
                    <a:lnTo>
                      <a:pt x="44" y="13"/>
                    </a:lnTo>
                    <a:lnTo>
                      <a:pt x="48" y="17"/>
                    </a:lnTo>
                    <a:lnTo>
                      <a:pt x="49" y="17"/>
                    </a:lnTo>
                    <a:lnTo>
                      <a:pt x="49" y="19"/>
                    </a:lnTo>
                    <a:lnTo>
                      <a:pt x="49" y="20"/>
                    </a:lnTo>
                    <a:lnTo>
                      <a:pt x="48" y="23"/>
                    </a:lnTo>
                    <a:lnTo>
                      <a:pt x="46" y="25"/>
                    </a:lnTo>
                    <a:lnTo>
                      <a:pt x="44" y="25"/>
                    </a:lnTo>
                    <a:lnTo>
                      <a:pt x="42" y="23"/>
                    </a:lnTo>
                    <a:lnTo>
                      <a:pt x="39" y="22"/>
                    </a:lnTo>
                    <a:lnTo>
                      <a:pt x="26" y="22"/>
                    </a:lnTo>
                    <a:lnTo>
                      <a:pt x="25" y="23"/>
                    </a:lnTo>
                    <a:lnTo>
                      <a:pt x="25" y="25"/>
                    </a:lnTo>
                    <a:lnTo>
                      <a:pt x="25" y="25"/>
                    </a:lnTo>
                    <a:lnTo>
                      <a:pt x="19" y="26"/>
                    </a:lnTo>
                    <a:lnTo>
                      <a:pt x="17" y="23"/>
                    </a:lnTo>
                    <a:lnTo>
                      <a:pt x="17" y="23"/>
                    </a:lnTo>
                    <a:lnTo>
                      <a:pt x="15" y="22"/>
                    </a:lnTo>
                    <a:lnTo>
                      <a:pt x="13" y="23"/>
                    </a:lnTo>
                    <a:lnTo>
                      <a:pt x="9" y="30"/>
                    </a:lnTo>
                    <a:lnTo>
                      <a:pt x="7" y="30"/>
                    </a:lnTo>
                    <a:lnTo>
                      <a:pt x="6" y="33"/>
                    </a:lnTo>
                    <a:lnTo>
                      <a:pt x="4" y="33"/>
                    </a:lnTo>
                    <a:lnTo>
                      <a:pt x="4" y="33"/>
                    </a:lnTo>
                    <a:lnTo>
                      <a:pt x="3" y="32"/>
                    </a:lnTo>
                    <a:lnTo>
                      <a:pt x="1" y="30"/>
                    </a:lnTo>
                    <a:lnTo>
                      <a:pt x="1" y="29"/>
                    </a:lnTo>
                    <a:lnTo>
                      <a:pt x="1" y="27"/>
                    </a:lnTo>
                    <a:lnTo>
                      <a:pt x="1" y="27"/>
                    </a:lnTo>
                    <a:lnTo>
                      <a:pt x="1" y="23"/>
                    </a:lnTo>
                    <a:lnTo>
                      <a:pt x="1" y="22"/>
                    </a:lnTo>
                    <a:lnTo>
                      <a:pt x="0" y="20"/>
                    </a:lnTo>
                    <a:lnTo>
                      <a:pt x="0" y="19"/>
                    </a:lnTo>
                    <a:lnTo>
                      <a:pt x="0" y="19"/>
                    </a:lnTo>
                    <a:lnTo>
                      <a:pt x="3" y="17"/>
                    </a:lnTo>
                    <a:lnTo>
                      <a:pt x="3" y="13"/>
                    </a:lnTo>
                    <a:lnTo>
                      <a:pt x="3" y="11"/>
                    </a:lnTo>
                    <a:lnTo>
                      <a:pt x="3" y="10"/>
                    </a:lnTo>
                    <a:lnTo>
                      <a:pt x="3" y="9"/>
                    </a:lnTo>
                    <a:lnTo>
                      <a:pt x="3" y="6"/>
                    </a:lnTo>
                    <a:lnTo>
                      <a:pt x="3" y="3"/>
                    </a:lnTo>
                    <a:lnTo>
                      <a:pt x="1" y="1"/>
                    </a:lnTo>
                    <a:lnTo>
                      <a:pt x="1"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29" name="Freeform 228"/>
              <p:cNvSpPr>
                <a:spLocks/>
              </p:cNvSpPr>
              <p:nvPr/>
            </p:nvSpPr>
            <p:spPr bwMode="auto">
              <a:xfrm>
                <a:off x="5181478" y="2976470"/>
                <a:ext cx="44768" cy="33466"/>
              </a:xfrm>
              <a:custGeom>
                <a:avLst/>
                <a:gdLst/>
                <a:ahLst/>
                <a:cxnLst>
                  <a:cxn ang="0">
                    <a:pos x="1" y="1"/>
                  </a:cxn>
                  <a:cxn ang="0">
                    <a:pos x="1" y="0"/>
                  </a:cxn>
                  <a:cxn ang="0">
                    <a:pos x="3" y="0"/>
                  </a:cxn>
                  <a:cxn ang="0">
                    <a:pos x="16" y="0"/>
                  </a:cxn>
                  <a:cxn ang="0">
                    <a:pos x="23" y="3"/>
                  </a:cxn>
                  <a:cxn ang="0">
                    <a:pos x="26" y="3"/>
                  </a:cxn>
                  <a:cxn ang="0">
                    <a:pos x="28" y="4"/>
                  </a:cxn>
                  <a:cxn ang="0">
                    <a:pos x="29" y="7"/>
                  </a:cxn>
                  <a:cxn ang="0">
                    <a:pos x="29" y="7"/>
                  </a:cxn>
                  <a:cxn ang="0">
                    <a:pos x="36" y="9"/>
                  </a:cxn>
                  <a:cxn ang="0">
                    <a:pos x="38" y="9"/>
                  </a:cxn>
                  <a:cxn ang="0">
                    <a:pos x="38" y="10"/>
                  </a:cxn>
                  <a:cxn ang="0">
                    <a:pos x="35" y="10"/>
                  </a:cxn>
                  <a:cxn ang="0">
                    <a:pos x="33" y="10"/>
                  </a:cxn>
                  <a:cxn ang="0">
                    <a:pos x="33" y="11"/>
                  </a:cxn>
                  <a:cxn ang="0">
                    <a:pos x="36" y="13"/>
                  </a:cxn>
                  <a:cxn ang="0">
                    <a:pos x="44" y="13"/>
                  </a:cxn>
                  <a:cxn ang="0">
                    <a:pos x="48" y="17"/>
                  </a:cxn>
                  <a:cxn ang="0">
                    <a:pos x="49" y="17"/>
                  </a:cxn>
                  <a:cxn ang="0">
                    <a:pos x="49" y="19"/>
                  </a:cxn>
                  <a:cxn ang="0">
                    <a:pos x="49" y="20"/>
                  </a:cxn>
                  <a:cxn ang="0">
                    <a:pos x="48" y="23"/>
                  </a:cxn>
                  <a:cxn ang="0">
                    <a:pos x="46" y="25"/>
                  </a:cxn>
                  <a:cxn ang="0">
                    <a:pos x="44" y="25"/>
                  </a:cxn>
                  <a:cxn ang="0">
                    <a:pos x="42" y="23"/>
                  </a:cxn>
                  <a:cxn ang="0">
                    <a:pos x="39" y="22"/>
                  </a:cxn>
                  <a:cxn ang="0">
                    <a:pos x="26" y="22"/>
                  </a:cxn>
                  <a:cxn ang="0">
                    <a:pos x="25" y="23"/>
                  </a:cxn>
                  <a:cxn ang="0">
                    <a:pos x="25" y="25"/>
                  </a:cxn>
                  <a:cxn ang="0">
                    <a:pos x="25" y="25"/>
                  </a:cxn>
                  <a:cxn ang="0">
                    <a:pos x="19" y="26"/>
                  </a:cxn>
                  <a:cxn ang="0">
                    <a:pos x="17" y="23"/>
                  </a:cxn>
                  <a:cxn ang="0">
                    <a:pos x="17" y="23"/>
                  </a:cxn>
                  <a:cxn ang="0">
                    <a:pos x="15" y="22"/>
                  </a:cxn>
                  <a:cxn ang="0">
                    <a:pos x="13" y="23"/>
                  </a:cxn>
                  <a:cxn ang="0">
                    <a:pos x="9" y="30"/>
                  </a:cxn>
                  <a:cxn ang="0">
                    <a:pos x="7" y="30"/>
                  </a:cxn>
                  <a:cxn ang="0">
                    <a:pos x="6" y="33"/>
                  </a:cxn>
                  <a:cxn ang="0">
                    <a:pos x="4" y="33"/>
                  </a:cxn>
                  <a:cxn ang="0">
                    <a:pos x="4" y="33"/>
                  </a:cxn>
                  <a:cxn ang="0">
                    <a:pos x="3" y="32"/>
                  </a:cxn>
                  <a:cxn ang="0">
                    <a:pos x="1" y="30"/>
                  </a:cxn>
                  <a:cxn ang="0">
                    <a:pos x="1" y="29"/>
                  </a:cxn>
                  <a:cxn ang="0">
                    <a:pos x="1" y="27"/>
                  </a:cxn>
                  <a:cxn ang="0">
                    <a:pos x="1" y="27"/>
                  </a:cxn>
                  <a:cxn ang="0">
                    <a:pos x="1" y="23"/>
                  </a:cxn>
                  <a:cxn ang="0">
                    <a:pos x="1" y="22"/>
                  </a:cxn>
                  <a:cxn ang="0">
                    <a:pos x="0" y="20"/>
                  </a:cxn>
                  <a:cxn ang="0">
                    <a:pos x="0" y="19"/>
                  </a:cxn>
                  <a:cxn ang="0">
                    <a:pos x="0" y="19"/>
                  </a:cxn>
                  <a:cxn ang="0">
                    <a:pos x="3" y="17"/>
                  </a:cxn>
                  <a:cxn ang="0">
                    <a:pos x="3" y="13"/>
                  </a:cxn>
                  <a:cxn ang="0">
                    <a:pos x="3" y="11"/>
                  </a:cxn>
                  <a:cxn ang="0">
                    <a:pos x="3" y="10"/>
                  </a:cxn>
                  <a:cxn ang="0">
                    <a:pos x="3" y="9"/>
                  </a:cxn>
                  <a:cxn ang="0">
                    <a:pos x="3" y="6"/>
                  </a:cxn>
                  <a:cxn ang="0">
                    <a:pos x="3" y="3"/>
                  </a:cxn>
                  <a:cxn ang="0">
                    <a:pos x="1" y="1"/>
                  </a:cxn>
                  <a:cxn ang="0">
                    <a:pos x="1" y="1"/>
                  </a:cxn>
                </a:cxnLst>
                <a:rect l="0" t="0" r="r" b="b"/>
                <a:pathLst>
                  <a:path w="49" h="33">
                    <a:moveTo>
                      <a:pt x="1" y="1"/>
                    </a:moveTo>
                    <a:lnTo>
                      <a:pt x="1" y="0"/>
                    </a:lnTo>
                    <a:lnTo>
                      <a:pt x="3" y="0"/>
                    </a:lnTo>
                    <a:lnTo>
                      <a:pt x="16" y="0"/>
                    </a:lnTo>
                    <a:lnTo>
                      <a:pt x="23" y="3"/>
                    </a:lnTo>
                    <a:lnTo>
                      <a:pt x="26" y="3"/>
                    </a:lnTo>
                    <a:lnTo>
                      <a:pt x="28" y="4"/>
                    </a:lnTo>
                    <a:lnTo>
                      <a:pt x="29" y="7"/>
                    </a:lnTo>
                    <a:lnTo>
                      <a:pt x="29" y="7"/>
                    </a:lnTo>
                    <a:lnTo>
                      <a:pt x="36" y="9"/>
                    </a:lnTo>
                    <a:lnTo>
                      <a:pt x="38" y="9"/>
                    </a:lnTo>
                    <a:lnTo>
                      <a:pt x="38" y="10"/>
                    </a:lnTo>
                    <a:lnTo>
                      <a:pt x="35" y="10"/>
                    </a:lnTo>
                    <a:lnTo>
                      <a:pt x="33" y="10"/>
                    </a:lnTo>
                    <a:lnTo>
                      <a:pt x="33" y="11"/>
                    </a:lnTo>
                    <a:lnTo>
                      <a:pt x="36" y="13"/>
                    </a:lnTo>
                    <a:lnTo>
                      <a:pt x="44" y="13"/>
                    </a:lnTo>
                    <a:lnTo>
                      <a:pt x="48" y="17"/>
                    </a:lnTo>
                    <a:lnTo>
                      <a:pt x="49" y="17"/>
                    </a:lnTo>
                    <a:lnTo>
                      <a:pt x="49" y="19"/>
                    </a:lnTo>
                    <a:lnTo>
                      <a:pt x="49" y="20"/>
                    </a:lnTo>
                    <a:lnTo>
                      <a:pt x="48" y="23"/>
                    </a:lnTo>
                    <a:lnTo>
                      <a:pt x="46" y="25"/>
                    </a:lnTo>
                    <a:lnTo>
                      <a:pt x="44" y="25"/>
                    </a:lnTo>
                    <a:lnTo>
                      <a:pt x="42" y="23"/>
                    </a:lnTo>
                    <a:lnTo>
                      <a:pt x="39" y="22"/>
                    </a:lnTo>
                    <a:lnTo>
                      <a:pt x="26" y="22"/>
                    </a:lnTo>
                    <a:lnTo>
                      <a:pt x="25" y="23"/>
                    </a:lnTo>
                    <a:lnTo>
                      <a:pt x="25" y="25"/>
                    </a:lnTo>
                    <a:lnTo>
                      <a:pt x="25" y="25"/>
                    </a:lnTo>
                    <a:lnTo>
                      <a:pt x="19" y="26"/>
                    </a:lnTo>
                    <a:lnTo>
                      <a:pt x="17" y="23"/>
                    </a:lnTo>
                    <a:lnTo>
                      <a:pt x="17" y="23"/>
                    </a:lnTo>
                    <a:lnTo>
                      <a:pt x="15" y="22"/>
                    </a:lnTo>
                    <a:lnTo>
                      <a:pt x="13" y="23"/>
                    </a:lnTo>
                    <a:lnTo>
                      <a:pt x="9" y="30"/>
                    </a:lnTo>
                    <a:lnTo>
                      <a:pt x="7" y="30"/>
                    </a:lnTo>
                    <a:lnTo>
                      <a:pt x="6" y="33"/>
                    </a:lnTo>
                    <a:lnTo>
                      <a:pt x="4" y="33"/>
                    </a:lnTo>
                    <a:lnTo>
                      <a:pt x="4" y="33"/>
                    </a:lnTo>
                    <a:lnTo>
                      <a:pt x="3" y="32"/>
                    </a:lnTo>
                    <a:lnTo>
                      <a:pt x="1" y="30"/>
                    </a:lnTo>
                    <a:lnTo>
                      <a:pt x="1" y="29"/>
                    </a:lnTo>
                    <a:lnTo>
                      <a:pt x="1" y="27"/>
                    </a:lnTo>
                    <a:lnTo>
                      <a:pt x="1" y="27"/>
                    </a:lnTo>
                    <a:lnTo>
                      <a:pt x="1" y="23"/>
                    </a:lnTo>
                    <a:lnTo>
                      <a:pt x="1" y="22"/>
                    </a:lnTo>
                    <a:lnTo>
                      <a:pt x="0" y="20"/>
                    </a:lnTo>
                    <a:lnTo>
                      <a:pt x="0" y="19"/>
                    </a:lnTo>
                    <a:lnTo>
                      <a:pt x="0" y="19"/>
                    </a:lnTo>
                    <a:lnTo>
                      <a:pt x="3" y="17"/>
                    </a:lnTo>
                    <a:lnTo>
                      <a:pt x="3" y="13"/>
                    </a:lnTo>
                    <a:lnTo>
                      <a:pt x="3" y="11"/>
                    </a:lnTo>
                    <a:lnTo>
                      <a:pt x="3" y="10"/>
                    </a:lnTo>
                    <a:lnTo>
                      <a:pt x="3" y="9"/>
                    </a:lnTo>
                    <a:lnTo>
                      <a:pt x="3" y="6"/>
                    </a:lnTo>
                    <a:lnTo>
                      <a:pt x="3" y="3"/>
                    </a:lnTo>
                    <a:lnTo>
                      <a:pt x="1" y="1"/>
                    </a:lnTo>
                    <a:lnTo>
                      <a:pt x="1"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30" name="Freeform 229"/>
              <p:cNvSpPr>
                <a:spLocks/>
              </p:cNvSpPr>
              <p:nvPr/>
            </p:nvSpPr>
            <p:spPr bwMode="auto">
              <a:xfrm>
                <a:off x="5163044" y="3094110"/>
                <a:ext cx="174682" cy="170374"/>
              </a:xfrm>
              <a:custGeom>
                <a:avLst/>
                <a:gdLst/>
                <a:ahLst/>
                <a:cxnLst>
                  <a:cxn ang="0">
                    <a:pos x="20" y="10"/>
                  </a:cxn>
                  <a:cxn ang="0">
                    <a:pos x="23" y="19"/>
                  </a:cxn>
                  <a:cxn ang="0">
                    <a:pos x="19" y="29"/>
                  </a:cxn>
                  <a:cxn ang="0">
                    <a:pos x="21" y="39"/>
                  </a:cxn>
                  <a:cxn ang="0">
                    <a:pos x="29" y="45"/>
                  </a:cxn>
                  <a:cxn ang="0">
                    <a:pos x="26" y="20"/>
                  </a:cxn>
                  <a:cxn ang="0">
                    <a:pos x="30" y="18"/>
                  </a:cxn>
                  <a:cxn ang="0">
                    <a:pos x="49" y="9"/>
                  </a:cxn>
                  <a:cxn ang="0">
                    <a:pos x="43" y="7"/>
                  </a:cxn>
                  <a:cxn ang="0">
                    <a:pos x="48" y="0"/>
                  </a:cxn>
                  <a:cxn ang="0">
                    <a:pos x="52" y="7"/>
                  </a:cxn>
                  <a:cxn ang="0">
                    <a:pos x="72" y="23"/>
                  </a:cxn>
                  <a:cxn ang="0">
                    <a:pos x="104" y="25"/>
                  </a:cxn>
                  <a:cxn ang="0">
                    <a:pos x="123" y="29"/>
                  </a:cxn>
                  <a:cxn ang="0">
                    <a:pos x="136" y="23"/>
                  </a:cxn>
                  <a:cxn ang="0">
                    <a:pos x="130" y="22"/>
                  </a:cxn>
                  <a:cxn ang="0">
                    <a:pos x="156" y="23"/>
                  </a:cxn>
                  <a:cxn ang="0">
                    <a:pos x="148" y="25"/>
                  </a:cxn>
                  <a:cxn ang="0">
                    <a:pos x="152" y="29"/>
                  </a:cxn>
                  <a:cxn ang="0">
                    <a:pos x="156" y="35"/>
                  </a:cxn>
                  <a:cxn ang="0">
                    <a:pos x="174" y="39"/>
                  </a:cxn>
                  <a:cxn ang="0">
                    <a:pos x="178" y="51"/>
                  </a:cxn>
                  <a:cxn ang="0">
                    <a:pos x="175" y="54"/>
                  </a:cxn>
                  <a:cxn ang="0">
                    <a:pos x="186" y="52"/>
                  </a:cxn>
                  <a:cxn ang="0">
                    <a:pos x="191" y="58"/>
                  </a:cxn>
                  <a:cxn ang="0">
                    <a:pos x="187" y="61"/>
                  </a:cxn>
                  <a:cxn ang="0">
                    <a:pos x="178" y="66"/>
                  </a:cxn>
                  <a:cxn ang="0">
                    <a:pos x="180" y="73"/>
                  </a:cxn>
                  <a:cxn ang="0">
                    <a:pos x="181" y="76"/>
                  </a:cxn>
                  <a:cxn ang="0">
                    <a:pos x="171" y="87"/>
                  </a:cxn>
                  <a:cxn ang="0">
                    <a:pos x="180" y="100"/>
                  </a:cxn>
                  <a:cxn ang="0">
                    <a:pos x="175" y="109"/>
                  </a:cxn>
                  <a:cxn ang="0">
                    <a:pos x="164" y="115"/>
                  </a:cxn>
                  <a:cxn ang="0">
                    <a:pos x="141" y="119"/>
                  </a:cxn>
                  <a:cxn ang="0">
                    <a:pos x="122" y="116"/>
                  </a:cxn>
                  <a:cxn ang="0">
                    <a:pos x="127" y="132"/>
                  </a:cxn>
                  <a:cxn ang="0">
                    <a:pos x="141" y="141"/>
                  </a:cxn>
                  <a:cxn ang="0">
                    <a:pos x="136" y="145"/>
                  </a:cxn>
                  <a:cxn ang="0">
                    <a:pos x="130" y="148"/>
                  </a:cxn>
                  <a:cxn ang="0">
                    <a:pos x="125" y="154"/>
                  </a:cxn>
                  <a:cxn ang="0">
                    <a:pos x="109" y="163"/>
                  </a:cxn>
                  <a:cxn ang="0">
                    <a:pos x="94" y="160"/>
                  </a:cxn>
                  <a:cxn ang="0">
                    <a:pos x="82" y="129"/>
                  </a:cxn>
                  <a:cxn ang="0">
                    <a:pos x="85" y="127"/>
                  </a:cxn>
                  <a:cxn ang="0">
                    <a:pos x="81" y="119"/>
                  </a:cxn>
                  <a:cxn ang="0">
                    <a:pos x="77" y="109"/>
                  </a:cxn>
                  <a:cxn ang="0">
                    <a:pos x="78" y="99"/>
                  </a:cxn>
                  <a:cxn ang="0">
                    <a:pos x="82" y="90"/>
                  </a:cxn>
                  <a:cxn ang="0">
                    <a:pos x="81" y="86"/>
                  </a:cxn>
                  <a:cxn ang="0">
                    <a:pos x="59" y="87"/>
                  </a:cxn>
                  <a:cxn ang="0">
                    <a:pos x="55" y="87"/>
                  </a:cxn>
                  <a:cxn ang="0">
                    <a:pos x="27" y="74"/>
                  </a:cxn>
                  <a:cxn ang="0">
                    <a:pos x="13" y="68"/>
                  </a:cxn>
                  <a:cxn ang="0">
                    <a:pos x="10" y="55"/>
                  </a:cxn>
                  <a:cxn ang="0">
                    <a:pos x="5" y="44"/>
                  </a:cxn>
                  <a:cxn ang="0">
                    <a:pos x="23" y="6"/>
                  </a:cxn>
                </a:cxnLst>
                <a:rect l="0" t="0" r="r" b="b"/>
                <a:pathLst>
                  <a:path w="191" h="164">
                    <a:moveTo>
                      <a:pt x="27" y="6"/>
                    </a:moveTo>
                    <a:lnTo>
                      <a:pt x="24" y="7"/>
                    </a:lnTo>
                    <a:lnTo>
                      <a:pt x="20" y="9"/>
                    </a:lnTo>
                    <a:lnTo>
                      <a:pt x="20" y="10"/>
                    </a:lnTo>
                    <a:lnTo>
                      <a:pt x="21" y="15"/>
                    </a:lnTo>
                    <a:lnTo>
                      <a:pt x="23" y="18"/>
                    </a:lnTo>
                    <a:lnTo>
                      <a:pt x="24" y="18"/>
                    </a:lnTo>
                    <a:lnTo>
                      <a:pt x="23" y="19"/>
                    </a:lnTo>
                    <a:lnTo>
                      <a:pt x="23" y="19"/>
                    </a:lnTo>
                    <a:lnTo>
                      <a:pt x="24" y="20"/>
                    </a:lnTo>
                    <a:lnTo>
                      <a:pt x="23" y="25"/>
                    </a:lnTo>
                    <a:lnTo>
                      <a:pt x="19" y="29"/>
                    </a:lnTo>
                    <a:lnTo>
                      <a:pt x="19" y="31"/>
                    </a:lnTo>
                    <a:lnTo>
                      <a:pt x="19" y="36"/>
                    </a:lnTo>
                    <a:lnTo>
                      <a:pt x="20" y="38"/>
                    </a:lnTo>
                    <a:lnTo>
                      <a:pt x="21" y="39"/>
                    </a:lnTo>
                    <a:lnTo>
                      <a:pt x="24" y="45"/>
                    </a:lnTo>
                    <a:lnTo>
                      <a:pt x="24" y="45"/>
                    </a:lnTo>
                    <a:lnTo>
                      <a:pt x="26" y="45"/>
                    </a:lnTo>
                    <a:lnTo>
                      <a:pt x="29" y="45"/>
                    </a:lnTo>
                    <a:lnTo>
                      <a:pt x="32" y="42"/>
                    </a:lnTo>
                    <a:lnTo>
                      <a:pt x="32" y="35"/>
                    </a:lnTo>
                    <a:lnTo>
                      <a:pt x="26" y="26"/>
                    </a:lnTo>
                    <a:lnTo>
                      <a:pt x="26" y="20"/>
                    </a:lnTo>
                    <a:lnTo>
                      <a:pt x="27" y="19"/>
                    </a:lnTo>
                    <a:lnTo>
                      <a:pt x="27" y="19"/>
                    </a:lnTo>
                    <a:lnTo>
                      <a:pt x="29" y="18"/>
                    </a:lnTo>
                    <a:lnTo>
                      <a:pt x="30" y="18"/>
                    </a:lnTo>
                    <a:lnTo>
                      <a:pt x="35" y="13"/>
                    </a:lnTo>
                    <a:lnTo>
                      <a:pt x="51" y="10"/>
                    </a:lnTo>
                    <a:lnTo>
                      <a:pt x="51" y="9"/>
                    </a:lnTo>
                    <a:lnTo>
                      <a:pt x="49" y="9"/>
                    </a:lnTo>
                    <a:lnTo>
                      <a:pt x="49" y="7"/>
                    </a:lnTo>
                    <a:lnTo>
                      <a:pt x="45" y="7"/>
                    </a:lnTo>
                    <a:lnTo>
                      <a:pt x="43" y="7"/>
                    </a:lnTo>
                    <a:lnTo>
                      <a:pt x="43" y="7"/>
                    </a:lnTo>
                    <a:lnTo>
                      <a:pt x="43" y="7"/>
                    </a:lnTo>
                    <a:lnTo>
                      <a:pt x="45" y="2"/>
                    </a:lnTo>
                    <a:lnTo>
                      <a:pt x="46" y="0"/>
                    </a:lnTo>
                    <a:lnTo>
                      <a:pt x="48" y="0"/>
                    </a:lnTo>
                    <a:lnTo>
                      <a:pt x="49" y="0"/>
                    </a:lnTo>
                    <a:lnTo>
                      <a:pt x="49" y="2"/>
                    </a:lnTo>
                    <a:lnTo>
                      <a:pt x="51" y="7"/>
                    </a:lnTo>
                    <a:lnTo>
                      <a:pt x="52" y="7"/>
                    </a:lnTo>
                    <a:lnTo>
                      <a:pt x="53" y="10"/>
                    </a:lnTo>
                    <a:lnTo>
                      <a:pt x="69" y="15"/>
                    </a:lnTo>
                    <a:lnTo>
                      <a:pt x="71" y="16"/>
                    </a:lnTo>
                    <a:lnTo>
                      <a:pt x="72" y="23"/>
                    </a:lnTo>
                    <a:lnTo>
                      <a:pt x="75" y="25"/>
                    </a:lnTo>
                    <a:lnTo>
                      <a:pt x="103" y="23"/>
                    </a:lnTo>
                    <a:lnTo>
                      <a:pt x="103" y="23"/>
                    </a:lnTo>
                    <a:lnTo>
                      <a:pt x="104" y="25"/>
                    </a:lnTo>
                    <a:lnTo>
                      <a:pt x="104" y="26"/>
                    </a:lnTo>
                    <a:lnTo>
                      <a:pt x="106" y="28"/>
                    </a:lnTo>
                    <a:lnTo>
                      <a:pt x="111" y="29"/>
                    </a:lnTo>
                    <a:lnTo>
                      <a:pt x="123" y="29"/>
                    </a:lnTo>
                    <a:lnTo>
                      <a:pt x="127" y="26"/>
                    </a:lnTo>
                    <a:lnTo>
                      <a:pt x="135" y="25"/>
                    </a:lnTo>
                    <a:lnTo>
                      <a:pt x="136" y="25"/>
                    </a:lnTo>
                    <a:lnTo>
                      <a:pt x="136" y="23"/>
                    </a:lnTo>
                    <a:lnTo>
                      <a:pt x="130" y="23"/>
                    </a:lnTo>
                    <a:lnTo>
                      <a:pt x="129" y="23"/>
                    </a:lnTo>
                    <a:lnTo>
                      <a:pt x="129" y="23"/>
                    </a:lnTo>
                    <a:lnTo>
                      <a:pt x="130" y="22"/>
                    </a:lnTo>
                    <a:lnTo>
                      <a:pt x="159" y="22"/>
                    </a:lnTo>
                    <a:lnTo>
                      <a:pt x="159" y="22"/>
                    </a:lnTo>
                    <a:lnTo>
                      <a:pt x="159" y="23"/>
                    </a:lnTo>
                    <a:lnTo>
                      <a:pt x="156" y="23"/>
                    </a:lnTo>
                    <a:lnTo>
                      <a:pt x="156" y="23"/>
                    </a:lnTo>
                    <a:lnTo>
                      <a:pt x="155" y="25"/>
                    </a:lnTo>
                    <a:lnTo>
                      <a:pt x="152" y="25"/>
                    </a:lnTo>
                    <a:lnTo>
                      <a:pt x="148" y="25"/>
                    </a:lnTo>
                    <a:lnTo>
                      <a:pt x="146" y="26"/>
                    </a:lnTo>
                    <a:lnTo>
                      <a:pt x="148" y="26"/>
                    </a:lnTo>
                    <a:lnTo>
                      <a:pt x="151" y="28"/>
                    </a:lnTo>
                    <a:lnTo>
                      <a:pt x="152" y="29"/>
                    </a:lnTo>
                    <a:lnTo>
                      <a:pt x="152" y="31"/>
                    </a:lnTo>
                    <a:lnTo>
                      <a:pt x="155" y="32"/>
                    </a:lnTo>
                    <a:lnTo>
                      <a:pt x="155" y="34"/>
                    </a:lnTo>
                    <a:lnTo>
                      <a:pt x="156" y="35"/>
                    </a:lnTo>
                    <a:lnTo>
                      <a:pt x="159" y="35"/>
                    </a:lnTo>
                    <a:lnTo>
                      <a:pt x="165" y="35"/>
                    </a:lnTo>
                    <a:lnTo>
                      <a:pt x="171" y="39"/>
                    </a:lnTo>
                    <a:lnTo>
                      <a:pt x="174" y="39"/>
                    </a:lnTo>
                    <a:lnTo>
                      <a:pt x="175" y="41"/>
                    </a:lnTo>
                    <a:lnTo>
                      <a:pt x="178" y="47"/>
                    </a:lnTo>
                    <a:lnTo>
                      <a:pt x="178" y="50"/>
                    </a:lnTo>
                    <a:lnTo>
                      <a:pt x="178" y="51"/>
                    </a:lnTo>
                    <a:lnTo>
                      <a:pt x="177" y="52"/>
                    </a:lnTo>
                    <a:lnTo>
                      <a:pt x="175" y="52"/>
                    </a:lnTo>
                    <a:lnTo>
                      <a:pt x="175" y="54"/>
                    </a:lnTo>
                    <a:lnTo>
                      <a:pt x="175" y="54"/>
                    </a:lnTo>
                    <a:lnTo>
                      <a:pt x="181" y="55"/>
                    </a:lnTo>
                    <a:lnTo>
                      <a:pt x="181" y="54"/>
                    </a:lnTo>
                    <a:lnTo>
                      <a:pt x="184" y="52"/>
                    </a:lnTo>
                    <a:lnTo>
                      <a:pt x="186" y="52"/>
                    </a:lnTo>
                    <a:lnTo>
                      <a:pt x="190" y="54"/>
                    </a:lnTo>
                    <a:lnTo>
                      <a:pt x="191" y="55"/>
                    </a:lnTo>
                    <a:lnTo>
                      <a:pt x="191" y="57"/>
                    </a:lnTo>
                    <a:lnTo>
                      <a:pt x="191" y="58"/>
                    </a:lnTo>
                    <a:lnTo>
                      <a:pt x="191" y="60"/>
                    </a:lnTo>
                    <a:lnTo>
                      <a:pt x="190" y="60"/>
                    </a:lnTo>
                    <a:lnTo>
                      <a:pt x="188" y="60"/>
                    </a:lnTo>
                    <a:lnTo>
                      <a:pt x="187" y="61"/>
                    </a:lnTo>
                    <a:lnTo>
                      <a:pt x="183" y="63"/>
                    </a:lnTo>
                    <a:lnTo>
                      <a:pt x="181" y="64"/>
                    </a:lnTo>
                    <a:lnTo>
                      <a:pt x="181" y="64"/>
                    </a:lnTo>
                    <a:lnTo>
                      <a:pt x="178" y="66"/>
                    </a:lnTo>
                    <a:lnTo>
                      <a:pt x="178" y="66"/>
                    </a:lnTo>
                    <a:lnTo>
                      <a:pt x="177" y="67"/>
                    </a:lnTo>
                    <a:lnTo>
                      <a:pt x="178" y="73"/>
                    </a:lnTo>
                    <a:lnTo>
                      <a:pt x="180" y="73"/>
                    </a:lnTo>
                    <a:lnTo>
                      <a:pt x="181" y="73"/>
                    </a:lnTo>
                    <a:lnTo>
                      <a:pt x="181" y="73"/>
                    </a:lnTo>
                    <a:lnTo>
                      <a:pt x="183" y="74"/>
                    </a:lnTo>
                    <a:lnTo>
                      <a:pt x="181" y="76"/>
                    </a:lnTo>
                    <a:lnTo>
                      <a:pt x="174" y="79"/>
                    </a:lnTo>
                    <a:lnTo>
                      <a:pt x="174" y="80"/>
                    </a:lnTo>
                    <a:lnTo>
                      <a:pt x="174" y="83"/>
                    </a:lnTo>
                    <a:lnTo>
                      <a:pt x="171" y="87"/>
                    </a:lnTo>
                    <a:lnTo>
                      <a:pt x="171" y="87"/>
                    </a:lnTo>
                    <a:lnTo>
                      <a:pt x="171" y="89"/>
                    </a:lnTo>
                    <a:lnTo>
                      <a:pt x="171" y="89"/>
                    </a:lnTo>
                    <a:lnTo>
                      <a:pt x="180" y="100"/>
                    </a:lnTo>
                    <a:lnTo>
                      <a:pt x="180" y="100"/>
                    </a:lnTo>
                    <a:lnTo>
                      <a:pt x="180" y="105"/>
                    </a:lnTo>
                    <a:lnTo>
                      <a:pt x="175" y="109"/>
                    </a:lnTo>
                    <a:lnTo>
                      <a:pt x="175" y="109"/>
                    </a:lnTo>
                    <a:lnTo>
                      <a:pt x="171" y="111"/>
                    </a:lnTo>
                    <a:lnTo>
                      <a:pt x="167" y="112"/>
                    </a:lnTo>
                    <a:lnTo>
                      <a:pt x="165" y="115"/>
                    </a:lnTo>
                    <a:lnTo>
                      <a:pt x="164" y="115"/>
                    </a:lnTo>
                    <a:lnTo>
                      <a:pt x="148" y="118"/>
                    </a:lnTo>
                    <a:lnTo>
                      <a:pt x="146" y="119"/>
                    </a:lnTo>
                    <a:lnTo>
                      <a:pt x="146" y="119"/>
                    </a:lnTo>
                    <a:lnTo>
                      <a:pt x="141" y="119"/>
                    </a:lnTo>
                    <a:lnTo>
                      <a:pt x="122" y="113"/>
                    </a:lnTo>
                    <a:lnTo>
                      <a:pt x="122" y="113"/>
                    </a:lnTo>
                    <a:lnTo>
                      <a:pt x="120" y="113"/>
                    </a:lnTo>
                    <a:lnTo>
                      <a:pt x="122" y="116"/>
                    </a:lnTo>
                    <a:lnTo>
                      <a:pt x="122" y="118"/>
                    </a:lnTo>
                    <a:lnTo>
                      <a:pt x="127" y="121"/>
                    </a:lnTo>
                    <a:lnTo>
                      <a:pt x="129" y="122"/>
                    </a:lnTo>
                    <a:lnTo>
                      <a:pt x="127" y="132"/>
                    </a:lnTo>
                    <a:lnTo>
                      <a:pt x="130" y="140"/>
                    </a:lnTo>
                    <a:lnTo>
                      <a:pt x="133" y="141"/>
                    </a:lnTo>
                    <a:lnTo>
                      <a:pt x="135" y="141"/>
                    </a:lnTo>
                    <a:lnTo>
                      <a:pt x="141" y="141"/>
                    </a:lnTo>
                    <a:lnTo>
                      <a:pt x="141" y="143"/>
                    </a:lnTo>
                    <a:lnTo>
                      <a:pt x="141" y="144"/>
                    </a:lnTo>
                    <a:lnTo>
                      <a:pt x="138" y="144"/>
                    </a:lnTo>
                    <a:lnTo>
                      <a:pt x="136" y="145"/>
                    </a:lnTo>
                    <a:lnTo>
                      <a:pt x="135" y="145"/>
                    </a:lnTo>
                    <a:lnTo>
                      <a:pt x="133" y="147"/>
                    </a:lnTo>
                    <a:lnTo>
                      <a:pt x="132" y="147"/>
                    </a:lnTo>
                    <a:lnTo>
                      <a:pt x="130" y="148"/>
                    </a:lnTo>
                    <a:lnTo>
                      <a:pt x="129" y="153"/>
                    </a:lnTo>
                    <a:lnTo>
                      <a:pt x="127" y="154"/>
                    </a:lnTo>
                    <a:lnTo>
                      <a:pt x="126" y="154"/>
                    </a:lnTo>
                    <a:lnTo>
                      <a:pt x="125" y="154"/>
                    </a:lnTo>
                    <a:lnTo>
                      <a:pt x="123" y="156"/>
                    </a:lnTo>
                    <a:lnTo>
                      <a:pt x="122" y="157"/>
                    </a:lnTo>
                    <a:lnTo>
                      <a:pt x="111" y="160"/>
                    </a:lnTo>
                    <a:lnTo>
                      <a:pt x="109" y="163"/>
                    </a:lnTo>
                    <a:lnTo>
                      <a:pt x="98" y="164"/>
                    </a:lnTo>
                    <a:lnTo>
                      <a:pt x="98" y="163"/>
                    </a:lnTo>
                    <a:lnTo>
                      <a:pt x="98" y="163"/>
                    </a:lnTo>
                    <a:lnTo>
                      <a:pt x="94" y="160"/>
                    </a:lnTo>
                    <a:lnTo>
                      <a:pt x="82" y="138"/>
                    </a:lnTo>
                    <a:lnTo>
                      <a:pt x="78" y="135"/>
                    </a:lnTo>
                    <a:lnTo>
                      <a:pt x="78" y="134"/>
                    </a:lnTo>
                    <a:lnTo>
                      <a:pt x="82" y="129"/>
                    </a:lnTo>
                    <a:lnTo>
                      <a:pt x="84" y="129"/>
                    </a:lnTo>
                    <a:lnTo>
                      <a:pt x="84" y="128"/>
                    </a:lnTo>
                    <a:lnTo>
                      <a:pt x="85" y="128"/>
                    </a:lnTo>
                    <a:lnTo>
                      <a:pt x="85" y="127"/>
                    </a:lnTo>
                    <a:lnTo>
                      <a:pt x="85" y="125"/>
                    </a:lnTo>
                    <a:lnTo>
                      <a:pt x="84" y="124"/>
                    </a:lnTo>
                    <a:lnTo>
                      <a:pt x="82" y="121"/>
                    </a:lnTo>
                    <a:lnTo>
                      <a:pt x="81" y="119"/>
                    </a:lnTo>
                    <a:lnTo>
                      <a:pt x="80" y="118"/>
                    </a:lnTo>
                    <a:lnTo>
                      <a:pt x="78" y="118"/>
                    </a:lnTo>
                    <a:lnTo>
                      <a:pt x="78" y="111"/>
                    </a:lnTo>
                    <a:lnTo>
                      <a:pt x="77" y="109"/>
                    </a:lnTo>
                    <a:lnTo>
                      <a:pt x="77" y="106"/>
                    </a:lnTo>
                    <a:lnTo>
                      <a:pt x="78" y="105"/>
                    </a:lnTo>
                    <a:lnTo>
                      <a:pt x="78" y="102"/>
                    </a:lnTo>
                    <a:lnTo>
                      <a:pt x="78" y="99"/>
                    </a:lnTo>
                    <a:lnTo>
                      <a:pt x="81" y="96"/>
                    </a:lnTo>
                    <a:lnTo>
                      <a:pt x="81" y="93"/>
                    </a:lnTo>
                    <a:lnTo>
                      <a:pt x="81" y="92"/>
                    </a:lnTo>
                    <a:lnTo>
                      <a:pt x="82" y="90"/>
                    </a:lnTo>
                    <a:lnTo>
                      <a:pt x="82" y="89"/>
                    </a:lnTo>
                    <a:lnTo>
                      <a:pt x="82" y="86"/>
                    </a:lnTo>
                    <a:lnTo>
                      <a:pt x="81" y="86"/>
                    </a:lnTo>
                    <a:lnTo>
                      <a:pt x="81" y="86"/>
                    </a:lnTo>
                    <a:lnTo>
                      <a:pt x="71" y="89"/>
                    </a:lnTo>
                    <a:lnTo>
                      <a:pt x="66" y="87"/>
                    </a:lnTo>
                    <a:lnTo>
                      <a:pt x="62" y="86"/>
                    </a:lnTo>
                    <a:lnTo>
                      <a:pt x="59" y="87"/>
                    </a:lnTo>
                    <a:lnTo>
                      <a:pt x="59" y="87"/>
                    </a:lnTo>
                    <a:lnTo>
                      <a:pt x="55" y="87"/>
                    </a:lnTo>
                    <a:lnTo>
                      <a:pt x="55" y="87"/>
                    </a:lnTo>
                    <a:lnTo>
                      <a:pt x="55" y="87"/>
                    </a:lnTo>
                    <a:lnTo>
                      <a:pt x="46" y="77"/>
                    </a:lnTo>
                    <a:lnTo>
                      <a:pt x="46" y="76"/>
                    </a:lnTo>
                    <a:lnTo>
                      <a:pt x="39" y="73"/>
                    </a:lnTo>
                    <a:lnTo>
                      <a:pt x="27" y="74"/>
                    </a:lnTo>
                    <a:lnTo>
                      <a:pt x="19" y="73"/>
                    </a:lnTo>
                    <a:lnTo>
                      <a:pt x="17" y="71"/>
                    </a:lnTo>
                    <a:lnTo>
                      <a:pt x="16" y="70"/>
                    </a:lnTo>
                    <a:lnTo>
                      <a:pt x="13" y="68"/>
                    </a:lnTo>
                    <a:lnTo>
                      <a:pt x="13" y="68"/>
                    </a:lnTo>
                    <a:lnTo>
                      <a:pt x="13" y="57"/>
                    </a:lnTo>
                    <a:lnTo>
                      <a:pt x="11" y="55"/>
                    </a:lnTo>
                    <a:lnTo>
                      <a:pt x="10" y="55"/>
                    </a:lnTo>
                    <a:lnTo>
                      <a:pt x="10" y="54"/>
                    </a:lnTo>
                    <a:lnTo>
                      <a:pt x="8" y="52"/>
                    </a:lnTo>
                    <a:lnTo>
                      <a:pt x="5" y="44"/>
                    </a:lnTo>
                    <a:lnTo>
                      <a:pt x="5" y="44"/>
                    </a:lnTo>
                    <a:lnTo>
                      <a:pt x="0" y="44"/>
                    </a:lnTo>
                    <a:lnTo>
                      <a:pt x="5" y="25"/>
                    </a:lnTo>
                    <a:lnTo>
                      <a:pt x="20" y="7"/>
                    </a:lnTo>
                    <a:lnTo>
                      <a:pt x="23" y="6"/>
                    </a:lnTo>
                    <a:lnTo>
                      <a:pt x="27" y="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31" name="Freeform 230"/>
              <p:cNvSpPr>
                <a:spLocks/>
              </p:cNvSpPr>
              <p:nvPr/>
            </p:nvSpPr>
            <p:spPr bwMode="auto">
              <a:xfrm>
                <a:off x="5163044" y="3094110"/>
                <a:ext cx="174682" cy="170374"/>
              </a:xfrm>
              <a:custGeom>
                <a:avLst/>
                <a:gdLst/>
                <a:ahLst/>
                <a:cxnLst>
                  <a:cxn ang="0">
                    <a:pos x="20" y="10"/>
                  </a:cxn>
                  <a:cxn ang="0">
                    <a:pos x="23" y="19"/>
                  </a:cxn>
                  <a:cxn ang="0">
                    <a:pos x="19" y="29"/>
                  </a:cxn>
                  <a:cxn ang="0">
                    <a:pos x="21" y="39"/>
                  </a:cxn>
                  <a:cxn ang="0">
                    <a:pos x="29" y="45"/>
                  </a:cxn>
                  <a:cxn ang="0">
                    <a:pos x="26" y="20"/>
                  </a:cxn>
                  <a:cxn ang="0">
                    <a:pos x="30" y="18"/>
                  </a:cxn>
                  <a:cxn ang="0">
                    <a:pos x="49" y="9"/>
                  </a:cxn>
                  <a:cxn ang="0">
                    <a:pos x="43" y="7"/>
                  </a:cxn>
                  <a:cxn ang="0">
                    <a:pos x="48" y="0"/>
                  </a:cxn>
                  <a:cxn ang="0">
                    <a:pos x="52" y="7"/>
                  </a:cxn>
                  <a:cxn ang="0">
                    <a:pos x="72" y="23"/>
                  </a:cxn>
                  <a:cxn ang="0">
                    <a:pos x="104" y="25"/>
                  </a:cxn>
                  <a:cxn ang="0">
                    <a:pos x="123" y="29"/>
                  </a:cxn>
                  <a:cxn ang="0">
                    <a:pos x="136" y="23"/>
                  </a:cxn>
                  <a:cxn ang="0">
                    <a:pos x="130" y="22"/>
                  </a:cxn>
                  <a:cxn ang="0">
                    <a:pos x="156" y="23"/>
                  </a:cxn>
                  <a:cxn ang="0">
                    <a:pos x="148" y="25"/>
                  </a:cxn>
                  <a:cxn ang="0">
                    <a:pos x="152" y="29"/>
                  </a:cxn>
                  <a:cxn ang="0">
                    <a:pos x="156" y="35"/>
                  </a:cxn>
                  <a:cxn ang="0">
                    <a:pos x="174" y="39"/>
                  </a:cxn>
                  <a:cxn ang="0">
                    <a:pos x="178" y="51"/>
                  </a:cxn>
                  <a:cxn ang="0">
                    <a:pos x="175" y="54"/>
                  </a:cxn>
                  <a:cxn ang="0">
                    <a:pos x="186" y="52"/>
                  </a:cxn>
                  <a:cxn ang="0">
                    <a:pos x="191" y="58"/>
                  </a:cxn>
                  <a:cxn ang="0">
                    <a:pos x="187" y="61"/>
                  </a:cxn>
                  <a:cxn ang="0">
                    <a:pos x="178" y="66"/>
                  </a:cxn>
                  <a:cxn ang="0">
                    <a:pos x="180" y="73"/>
                  </a:cxn>
                  <a:cxn ang="0">
                    <a:pos x="181" y="76"/>
                  </a:cxn>
                  <a:cxn ang="0">
                    <a:pos x="171" y="87"/>
                  </a:cxn>
                  <a:cxn ang="0">
                    <a:pos x="180" y="100"/>
                  </a:cxn>
                  <a:cxn ang="0">
                    <a:pos x="175" y="109"/>
                  </a:cxn>
                  <a:cxn ang="0">
                    <a:pos x="164" y="115"/>
                  </a:cxn>
                  <a:cxn ang="0">
                    <a:pos x="141" y="119"/>
                  </a:cxn>
                  <a:cxn ang="0">
                    <a:pos x="122" y="116"/>
                  </a:cxn>
                  <a:cxn ang="0">
                    <a:pos x="127" y="132"/>
                  </a:cxn>
                  <a:cxn ang="0">
                    <a:pos x="141" y="141"/>
                  </a:cxn>
                  <a:cxn ang="0">
                    <a:pos x="136" y="145"/>
                  </a:cxn>
                  <a:cxn ang="0">
                    <a:pos x="130" y="148"/>
                  </a:cxn>
                  <a:cxn ang="0">
                    <a:pos x="125" y="154"/>
                  </a:cxn>
                  <a:cxn ang="0">
                    <a:pos x="109" y="163"/>
                  </a:cxn>
                  <a:cxn ang="0">
                    <a:pos x="94" y="160"/>
                  </a:cxn>
                  <a:cxn ang="0">
                    <a:pos x="82" y="129"/>
                  </a:cxn>
                  <a:cxn ang="0">
                    <a:pos x="85" y="127"/>
                  </a:cxn>
                  <a:cxn ang="0">
                    <a:pos x="81" y="119"/>
                  </a:cxn>
                  <a:cxn ang="0">
                    <a:pos x="77" y="109"/>
                  </a:cxn>
                  <a:cxn ang="0">
                    <a:pos x="78" y="99"/>
                  </a:cxn>
                  <a:cxn ang="0">
                    <a:pos x="82" y="90"/>
                  </a:cxn>
                  <a:cxn ang="0">
                    <a:pos x="81" y="86"/>
                  </a:cxn>
                  <a:cxn ang="0">
                    <a:pos x="59" y="87"/>
                  </a:cxn>
                  <a:cxn ang="0">
                    <a:pos x="55" y="87"/>
                  </a:cxn>
                  <a:cxn ang="0">
                    <a:pos x="27" y="74"/>
                  </a:cxn>
                  <a:cxn ang="0">
                    <a:pos x="13" y="68"/>
                  </a:cxn>
                  <a:cxn ang="0">
                    <a:pos x="10" y="55"/>
                  </a:cxn>
                  <a:cxn ang="0">
                    <a:pos x="5" y="44"/>
                  </a:cxn>
                  <a:cxn ang="0">
                    <a:pos x="23" y="6"/>
                  </a:cxn>
                </a:cxnLst>
                <a:rect l="0" t="0" r="r" b="b"/>
                <a:pathLst>
                  <a:path w="191" h="164">
                    <a:moveTo>
                      <a:pt x="27" y="6"/>
                    </a:moveTo>
                    <a:lnTo>
                      <a:pt x="24" y="7"/>
                    </a:lnTo>
                    <a:lnTo>
                      <a:pt x="20" y="9"/>
                    </a:lnTo>
                    <a:lnTo>
                      <a:pt x="20" y="10"/>
                    </a:lnTo>
                    <a:lnTo>
                      <a:pt x="21" y="15"/>
                    </a:lnTo>
                    <a:lnTo>
                      <a:pt x="23" y="18"/>
                    </a:lnTo>
                    <a:lnTo>
                      <a:pt x="24" y="18"/>
                    </a:lnTo>
                    <a:lnTo>
                      <a:pt x="23" y="19"/>
                    </a:lnTo>
                    <a:lnTo>
                      <a:pt x="23" y="19"/>
                    </a:lnTo>
                    <a:lnTo>
                      <a:pt x="24" y="20"/>
                    </a:lnTo>
                    <a:lnTo>
                      <a:pt x="23" y="25"/>
                    </a:lnTo>
                    <a:lnTo>
                      <a:pt x="19" y="29"/>
                    </a:lnTo>
                    <a:lnTo>
                      <a:pt x="19" y="31"/>
                    </a:lnTo>
                    <a:lnTo>
                      <a:pt x="19" y="36"/>
                    </a:lnTo>
                    <a:lnTo>
                      <a:pt x="20" y="38"/>
                    </a:lnTo>
                    <a:lnTo>
                      <a:pt x="21" y="39"/>
                    </a:lnTo>
                    <a:lnTo>
                      <a:pt x="24" y="45"/>
                    </a:lnTo>
                    <a:lnTo>
                      <a:pt x="24" y="45"/>
                    </a:lnTo>
                    <a:lnTo>
                      <a:pt x="26" y="45"/>
                    </a:lnTo>
                    <a:lnTo>
                      <a:pt x="29" y="45"/>
                    </a:lnTo>
                    <a:lnTo>
                      <a:pt x="32" y="42"/>
                    </a:lnTo>
                    <a:lnTo>
                      <a:pt x="32" y="35"/>
                    </a:lnTo>
                    <a:lnTo>
                      <a:pt x="26" y="26"/>
                    </a:lnTo>
                    <a:lnTo>
                      <a:pt x="26" y="20"/>
                    </a:lnTo>
                    <a:lnTo>
                      <a:pt x="27" y="19"/>
                    </a:lnTo>
                    <a:lnTo>
                      <a:pt x="27" y="19"/>
                    </a:lnTo>
                    <a:lnTo>
                      <a:pt x="29" y="18"/>
                    </a:lnTo>
                    <a:lnTo>
                      <a:pt x="30" y="18"/>
                    </a:lnTo>
                    <a:lnTo>
                      <a:pt x="35" y="13"/>
                    </a:lnTo>
                    <a:lnTo>
                      <a:pt x="51" y="10"/>
                    </a:lnTo>
                    <a:lnTo>
                      <a:pt x="51" y="9"/>
                    </a:lnTo>
                    <a:lnTo>
                      <a:pt x="49" y="9"/>
                    </a:lnTo>
                    <a:lnTo>
                      <a:pt x="49" y="7"/>
                    </a:lnTo>
                    <a:lnTo>
                      <a:pt x="45" y="7"/>
                    </a:lnTo>
                    <a:lnTo>
                      <a:pt x="43" y="7"/>
                    </a:lnTo>
                    <a:lnTo>
                      <a:pt x="43" y="7"/>
                    </a:lnTo>
                    <a:lnTo>
                      <a:pt x="43" y="7"/>
                    </a:lnTo>
                    <a:lnTo>
                      <a:pt x="45" y="2"/>
                    </a:lnTo>
                    <a:lnTo>
                      <a:pt x="46" y="0"/>
                    </a:lnTo>
                    <a:lnTo>
                      <a:pt x="48" y="0"/>
                    </a:lnTo>
                    <a:lnTo>
                      <a:pt x="49" y="0"/>
                    </a:lnTo>
                    <a:lnTo>
                      <a:pt x="49" y="2"/>
                    </a:lnTo>
                    <a:lnTo>
                      <a:pt x="51" y="7"/>
                    </a:lnTo>
                    <a:lnTo>
                      <a:pt x="52" y="7"/>
                    </a:lnTo>
                    <a:lnTo>
                      <a:pt x="53" y="10"/>
                    </a:lnTo>
                    <a:lnTo>
                      <a:pt x="69" y="15"/>
                    </a:lnTo>
                    <a:lnTo>
                      <a:pt x="71" y="16"/>
                    </a:lnTo>
                    <a:lnTo>
                      <a:pt x="72" y="23"/>
                    </a:lnTo>
                    <a:lnTo>
                      <a:pt x="75" y="25"/>
                    </a:lnTo>
                    <a:lnTo>
                      <a:pt x="103" y="23"/>
                    </a:lnTo>
                    <a:lnTo>
                      <a:pt x="103" y="23"/>
                    </a:lnTo>
                    <a:lnTo>
                      <a:pt x="104" y="25"/>
                    </a:lnTo>
                    <a:lnTo>
                      <a:pt x="104" y="26"/>
                    </a:lnTo>
                    <a:lnTo>
                      <a:pt x="106" y="28"/>
                    </a:lnTo>
                    <a:lnTo>
                      <a:pt x="111" y="29"/>
                    </a:lnTo>
                    <a:lnTo>
                      <a:pt x="123" y="29"/>
                    </a:lnTo>
                    <a:lnTo>
                      <a:pt x="127" y="26"/>
                    </a:lnTo>
                    <a:lnTo>
                      <a:pt x="135" y="25"/>
                    </a:lnTo>
                    <a:lnTo>
                      <a:pt x="136" y="25"/>
                    </a:lnTo>
                    <a:lnTo>
                      <a:pt x="136" y="23"/>
                    </a:lnTo>
                    <a:lnTo>
                      <a:pt x="130" y="23"/>
                    </a:lnTo>
                    <a:lnTo>
                      <a:pt x="129" y="23"/>
                    </a:lnTo>
                    <a:lnTo>
                      <a:pt x="129" y="23"/>
                    </a:lnTo>
                    <a:lnTo>
                      <a:pt x="130" y="22"/>
                    </a:lnTo>
                    <a:lnTo>
                      <a:pt x="159" y="22"/>
                    </a:lnTo>
                    <a:lnTo>
                      <a:pt x="159" y="22"/>
                    </a:lnTo>
                    <a:lnTo>
                      <a:pt x="159" y="23"/>
                    </a:lnTo>
                    <a:lnTo>
                      <a:pt x="156" y="23"/>
                    </a:lnTo>
                    <a:lnTo>
                      <a:pt x="156" y="23"/>
                    </a:lnTo>
                    <a:lnTo>
                      <a:pt x="155" y="25"/>
                    </a:lnTo>
                    <a:lnTo>
                      <a:pt x="152" y="25"/>
                    </a:lnTo>
                    <a:lnTo>
                      <a:pt x="148" y="25"/>
                    </a:lnTo>
                    <a:lnTo>
                      <a:pt x="146" y="26"/>
                    </a:lnTo>
                    <a:lnTo>
                      <a:pt x="148" y="26"/>
                    </a:lnTo>
                    <a:lnTo>
                      <a:pt x="151" y="28"/>
                    </a:lnTo>
                    <a:lnTo>
                      <a:pt x="152" y="29"/>
                    </a:lnTo>
                    <a:lnTo>
                      <a:pt x="152" y="31"/>
                    </a:lnTo>
                    <a:lnTo>
                      <a:pt x="155" y="32"/>
                    </a:lnTo>
                    <a:lnTo>
                      <a:pt x="155" y="34"/>
                    </a:lnTo>
                    <a:lnTo>
                      <a:pt x="156" y="35"/>
                    </a:lnTo>
                    <a:lnTo>
                      <a:pt x="159" y="35"/>
                    </a:lnTo>
                    <a:lnTo>
                      <a:pt x="165" y="35"/>
                    </a:lnTo>
                    <a:lnTo>
                      <a:pt x="171" y="39"/>
                    </a:lnTo>
                    <a:lnTo>
                      <a:pt x="174" y="39"/>
                    </a:lnTo>
                    <a:lnTo>
                      <a:pt x="175" y="41"/>
                    </a:lnTo>
                    <a:lnTo>
                      <a:pt x="178" y="47"/>
                    </a:lnTo>
                    <a:lnTo>
                      <a:pt x="178" y="50"/>
                    </a:lnTo>
                    <a:lnTo>
                      <a:pt x="178" y="51"/>
                    </a:lnTo>
                    <a:lnTo>
                      <a:pt x="177" y="52"/>
                    </a:lnTo>
                    <a:lnTo>
                      <a:pt x="175" y="52"/>
                    </a:lnTo>
                    <a:lnTo>
                      <a:pt x="175" y="54"/>
                    </a:lnTo>
                    <a:lnTo>
                      <a:pt x="175" y="54"/>
                    </a:lnTo>
                    <a:lnTo>
                      <a:pt x="181" y="55"/>
                    </a:lnTo>
                    <a:lnTo>
                      <a:pt x="181" y="54"/>
                    </a:lnTo>
                    <a:lnTo>
                      <a:pt x="184" y="52"/>
                    </a:lnTo>
                    <a:lnTo>
                      <a:pt x="186" y="52"/>
                    </a:lnTo>
                    <a:lnTo>
                      <a:pt x="190" y="54"/>
                    </a:lnTo>
                    <a:lnTo>
                      <a:pt x="191" y="55"/>
                    </a:lnTo>
                    <a:lnTo>
                      <a:pt x="191" y="57"/>
                    </a:lnTo>
                    <a:lnTo>
                      <a:pt x="191" y="58"/>
                    </a:lnTo>
                    <a:lnTo>
                      <a:pt x="191" y="60"/>
                    </a:lnTo>
                    <a:lnTo>
                      <a:pt x="190" y="60"/>
                    </a:lnTo>
                    <a:lnTo>
                      <a:pt x="188" y="60"/>
                    </a:lnTo>
                    <a:lnTo>
                      <a:pt x="187" y="61"/>
                    </a:lnTo>
                    <a:lnTo>
                      <a:pt x="183" y="63"/>
                    </a:lnTo>
                    <a:lnTo>
                      <a:pt x="181" y="64"/>
                    </a:lnTo>
                    <a:lnTo>
                      <a:pt x="181" y="64"/>
                    </a:lnTo>
                    <a:lnTo>
                      <a:pt x="178" y="66"/>
                    </a:lnTo>
                    <a:lnTo>
                      <a:pt x="178" y="66"/>
                    </a:lnTo>
                    <a:lnTo>
                      <a:pt x="177" y="67"/>
                    </a:lnTo>
                    <a:lnTo>
                      <a:pt x="178" y="73"/>
                    </a:lnTo>
                    <a:lnTo>
                      <a:pt x="180" y="73"/>
                    </a:lnTo>
                    <a:lnTo>
                      <a:pt x="181" y="73"/>
                    </a:lnTo>
                    <a:lnTo>
                      <a:pt x="181" y="73"/>
                    </a:lnTo>
                    <a:lnTo>
                      <a:pt x="183" y="74"/>
                    </a:lnTo>
                    <a:lnTo>
                      <a:pt x="181" y="76"/>
                    </a:lnTo>
                    <a:lnTo>
                      <a:pt x="174" y="79"/>
                    </a:lnTo>
                    <a:lnTo>
                      <a:pt x="174" y="80"/>
                    </a:lnTo>
                    <a:lnTo>
                      <a:pt x="174" y="83"/>
                    </a:lnTo>
                    <a:lnTo>
                      <a:pt x="171" y="87"/>
                    </a:lnTo>
                    <a:lnTo>
                      <a:pt x="171" y="87"/>
                    </a:lnTo>
                    <a:lnTo>
                      <a:pt x="171" y="89"/>
                    </a:lnTo>
                    <a:lnTo>
                      <a:pt x="171" y="89"/>
                    </a:lnTo>
                    <a:lnTo>
                      <a:pt x="180" y="100"/>
                    </a:lnTo>
                    <a:lnTo>
                      <a:pt x="180" y="100"/>
                    </a:lnTo>
                    <a:lnTo>
                      <a:pt x="180" y="105"/>
                    </a:lnTo>
                    <a:lnTo>
                      <a:pt x="175" y="109"/>
                    </a:lnTo>
                    <a:lnTo>
                      <a:pt x="175" y="109"/>
                    </a:lnTo>
                    <a:lnTo>
                      <a:pt x="171" y="111"/>
                    </a:lnTo>
                    <a:lnTo>
                      <a:pt x="167" y="112"/>
                    </a:lnTo>
                    <a:lnTo>
                      <a:pt x="165" y="115"/>
                    </a:lnTo>
                    <a:lnTo>
                      <a:pt x="164" y="115"/>
                    </a:lnTo>
                    <a:lnTo>
                      <a:pt x="148" y="118"/>
                    </a:lnTo>
                    <a:lnTo>
                      <a:pt x="146" y="119"/>
                    </a:lnTo>
                    <a:lnTo>
                      <a:pt x="146" y="119"/>
                    </a:lnTo>
                    <a:lnTo>
                      <a:pt x="141" y="119"/>
                    </a:lnTo>
                    <a:lnTo>
                      <a:pt x="122" y="113"/>
                    </a:lnTo>
                    <a:lnTo>
                      <a:pt x="122" y="113"/>
                    </a:lnTo>
                    <a:lnTo>
                      <a:pt x="120" y="113"/>
                    </a:lnTo>
                    <a:lnTo>
                      <a:pt x="122" y="116"/>
                    </a:lnTo>
                    <a:lnTo>
                      <a:pt x="122" y="118"/>
                    </a:lnTo>
                    <a:lnTo>
                      <a:pt x="127" y="121"/>
                    </a:lnTo>
                    <a:lnTo>
                      <a:pt x="129" y="122"/>
                    </a:lnTo>
                    <a:lnTo>
                      <a:pt x="127" y="132"/>
                    </a:lnTo>
                    <a:lnTo>
                      <a:pt x="130" y="140"/>
                    </a:lnTo>
                    <a:lnTo>
                      <a:pt x="133" y="141"/>
                    </a:lnTo>
                    <a:lnTo>
                      <a:pt x="135" y="141"/>
                    </a:lnTo>
                    <a:lnTo>
                      <a:pt x="141" y="141"/>
                    </a:lnTo>
                    <a:lnTo>
                      <a:pt x="141" y="143"/>
                    </a:lnTo>
                    <a:lnTo>
                      <a:pt x="141" y="144"/>
                    </a:lnTo>
                    <a:lnTo>
                      <a:pt x="138" y="144"/>
                    </a:lnTo>
                    <a:lnTo>
                      <a:pt x="136" y="145"/>
                    </a:lnTo>
                    <a:lnTo>
                      <a:pt x="135" y="145"/>
                    </a:lnTo>
                    <a:lnTo>
                      <a:pt x="133" y="147"/>
                    </a:lnTo>
                    <a:lnTo>
                      <a:pt x="132" y="147"/>
                    </a:lnTo>
                    <a:lnTo>
                      <a:pt x="130" y="148"/>
                    </a:lnTo>
                    <a:lnTo>
                      <a:pt x="129" y="153"/>
                    </a:lnTo>
                    <a:lnTo>
                      <a:pt x="127" y="154"/>
                    </a:lnTo>
                    <a:lnTo>
                      <a:pt x="126" y="154"/>
                    </a:lnTo>
                    <a:lnTo>
                      <a:pt x="125" y="154"/>
                    </a:lnTo>
                    <a:lnTo>
                      <a:pt x="123" y="156"/>
                    </a:lnTo>
                    <a:lnTo>
                      <a:pt x="122" y="157"/>
                    </a:lnTo>
                    <a:lnTo>
                      <a:pt x="111" y="160"/>
                    </a:lnTo>
                    <a:lnTo>
                      <a:pt x="109" y="163"/>
                    </a:lnTo>
                    <a:lnTo>
                      <a:pt x="98" y="164"/>
                    </a:lnTo>
                    <a:lnTo>
                      <a:pt x="98" y="163"/>
                    </a:lnTo>
                    <a:lnTo>
                      <a:pt x="98" y="163"/>
                    </a:lnTo>
                    <a:lnTo>
                      <a:pt x="94" y="160"/>
                    </a:lnTo>
                    <a:lnTo>
                      <a:pt x="82" y="138"/>
                    </a:lnTo>
                    <a:lnTo>
                      <a:pt x="78" y="135"/>
                    </a:lnTo>
                    <a:lnTo>
                      <a:pt x="78" y="134"/>
                    </a:lnTo>
                    <a:lnTo>
                      <a:pt x="82" y="129"/>
                    </a:lnTo>
                    <a:lnTo>
                      <a:pt x="84" y="129"/>
                    </a:lnTo>
                    <a:lnTo>
                      <a:pt x="84" y="128"/>
                    </a:lnTo>
                    <a:lnTo>
                      <a:pt x="85" y="128"/>
                    </a:lnTo>
                    <a:lnTo>
                      <a:pt x="85" y="127"/>
                    </a:lnTo>
                    <a:lnTo>
                      <a:pt x="85" y="125"/>
                    </a:lnTo>
                    <a:lnTo>
                      <a:pt x="84" y="124"/>
                    </a:lnTo>
                    <a:lnTo>
                      <a:pt x="82" y="121"/>
                    </a:lnTo>
                    <a:lnTo>
                      <a:pt x="81" y="119"/>
                    </a:lnTo>
                    <a:lnTo>
                      <a:pt x="80" y="118"/>
                    </a:lnTo>
                    <a:lnTo>
                      <a:pt x="78" y="118"/>
                    </a:lnTo>
                    <a:lnTo>
                      <a:pt x="78" y="111"/>
                    </a:lnTo>
                    <a:lnTo>
                      <a:pt x="77" y="109"/>
                    </a:lnTo>
                    <a:lnTo>
                      <a:pt x="77" y="106"/>
                    </a:lnTo>
                    <a:lnTo>
                      <a:pt x="78" y="105"/>
                    </a:lnTo>
                    <a:lnTo>
                      <a:pt x="78" y="102"/>
                    </a:lnTo>
                    <a:lnTo>
                      <a:pt x="78" y="99"/>
                    </a:lnTo>
                    <a:lnTo>
                      <a:pt x="81" y="96"/>
                    </a:lnTo>
                    <a:lnTo>
                      <a:pt x="81" y="93"/>
                    </a:lnTo>
                    <a:lnTo>
                      <a:pt x="81" y="92"/>
                    </a:lnTo>
                    <a:lnTo>
                      <a:pt x="82" y="90"/>
                    </a:lnTo>
                    <a:lnTo>
                      <a:pt x="82" y="89"/>
                    </a:lnTo>
                    <a:lnTo>
                      <a:pt x="82" y="86"/>
                    </a:lnTo>
                    <a:lnTo>
                      <a:pt x="81" y="86"/>
                    </a:lnTo>
                    <a:lnTo>
                      <a:pt x="81" y="86"/>
                    </a:lnTo>
                    <a:lnTo>
                      <a:pt x="71" y="89"/>
                    </a:lnTo>
                    <a:lnTo>
                      <a:pt x="66" y="87"/>
                    </a:lnTo>
                    <a:lnTo>
                      <a:pt x="62" y="86"/>
                    </a:lnTo>
                    <a:lnTo>
                      <a:pt x="59" y="87"/>
                    </a:lnTo>
                    <a:lnTo>
                      <a:pt x="59" y="87"/>
                    </a:lnTo>
                    <a:lnTo>
                      <a:pt x="55" y="87"/>
                    </a:lnTo>
                    <a:lnTo>
                      <a:pt x="55" y="87"/>
                    </a:lnTo>
                    <a:lnTo>
                      <a:pt x="55" y="87"/>
                    </a:lnTo>
                    <a:lnTo>
                      <a:pt x="46" y="77"/>
                    </a:lnTo>
                    <a:lnTo>
                      <a:pt x="46" y="76"/>
                    </a:lnTo>
                    <a:lnTo>
                      <a:pt x="39" y="73"/>
                    </a:lnTo>
                    <a:lnTo>
                      <a:pt x="27" y="74"/>
                    </a:lnTo>
                    <a:lnTo>
                      <a:pt x="19" y="73"/>
                    </a:lnTo>
                    <a:lnTo>
                      <a:pt x="17" y="71"/>
                    </a:lnTo>
                    <a:lnTo>
                      <a:pt x="16" y="70"/>
                    </a:lnTo>
                    <a:lnTo>
                      <a:pt x="13" y="68"/>
                    </a:lnTo>
                    <a:lnTo>
                      <a:pt x="13" y="68"/>
                    </a:lnTo>
                    <a:lnTo>
                      <a:pt x="13" y="57"/>
                    </a:lnTo>
                    <a:lnTo>
                      <a:pt x="11" y="55"/>
                    </a:lnTo>
                    <a:lnTo>
                      <a:pt x="10" y="55"/>
                    </a:lnTo>
                    <a:lnTo>
                      <a:pt x="10" y="54"/>
                    </a:lnTo>
                    <a:lnTo>
                      <a:pt x="8" y="52"/>
                    </a:lnTo>
                    <a:lnTo>
                      <a:pt x="5" y="44"/>
                    </a:lnTo>
                    <a:lnTo>
                      <a:pt x="5" y="44"/>
                    </a:lnTo>
                    <a:lnTo>
                      <a:pt x="0" y="44"/>
                    </a:lnTo>
                    <a:lnTo>
                      <a:pt x="5" y="25"/>
                    </a:lnTo>
                    <a:lnTo>
                      <a:pt x="20" y="7"/>
                    </a:lnTo>
                    <a:lnTo>
                      <a:pt x="23" y="6"/>
                    </a:lnTo>
                    <a:lnTo>
                      <a:pt x="27" y="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32" name="Freeform 231"/>
              <p:cNvSpPr>
                <a:spLocks/>
              </p:cNvSpPr>
              <p:nvPr/>
            </p:nvSpPr>
            <p:spPr bwMode="auto">
              <a:xfrm>
                <a:off x="5063853" y="3256371"/>
                <a:ext cx="73735" cy="93300"/>
              </a:xfrm>
              <a:custGeom>
                <a:avLst/>
                <a:gdLst/>
                <a:ahLst/>
                <a:cxnLst>
                  <a:cxn ang="0">
                    <a:pos x="29" y="0"/>
                  </a:cxn>
                  <a:cxn ang="0">
                    <a:pos x="51" y="16"/>
                  </a:cxn>
                  <a:cxn ang="0">
                    <a:pos x="66" y="16"/>
                  </a:cxn>
                  <a:cxn ang="0">
                    <a:pos x="68" y="14"/>
                  </a:cxn>
                  <a:cxn ang="0">
                    <a:pos x="79" y="20"/>
                  </a:cxn>
                  <a:cxn ang="0">
                    <a:pos x="76" y="20"/>
                  </a:cxn>
                  <a:cxn ang="0">
                    <a:pos x="76" y="23"/>
                  </a:cxn>
                  <a:cxn ang="0">
                    <a:pos x="79" y="27"/>
                  </a:cxn>
                  <a:cxn ang="0">
                    <a:pos x="80" y="32"/>
                  </a:cxn>
                  <a:cxn ang="0">
                    <a:pos x="73" y="43"/>
                  </a:cxn>
                  <a:cxn ang="0">
                    <a:pos x="39" y="64"/>
                  </a:cxn>
                  <a:cxn ang="0">
                    <a:pos x="38" y="66"/>
                  </a:cxn>
                  <a:cxn ang="0">
                    <a:pos x="37" y="69"/>
                  </a:cxn>
                  <a:cxn ang="0">
                    <a:pos x="35" y="68"/>
                  </a:cxn>
                  <a:cxn ang="0">
                    <a:pos x="35" y="69"/>
                  </a:cxn>
                  <a:cxn ang="0">
                    <a:pos x="29" y="85"/>
                  </a:cxn>
                  <a:cxn ang="0">
                    <a:pos x="26" y="85"/>
                  </a:cxn>
                  <a:cxn ang="0">
                    <a:pos x="22" y="90"/>
                  </a:cxn>
                  <a:cxn ang="0">
                    <a:pos x="18" y="82"/>
                  </a:cxn>
                  <a:cxn ang="0">
                    <a:pos x="12" y="82"/>
                  </a:cxn>
                  <a:cxn ang="0">
                    <a:pos x="9" y="81"/>
                  </a:cxn>
                  <a:cxn ang="0">
                    <a:pos x="5" y="82"/>
                  </a:cxn>
                  <a:cxn ang="0">
                    <a:pos x="5" y="78"/>
                  </a:cxn>
                  <a:cxn ang="0">
                    <a:pos x="3" y="77"/>
                  </a:cxn>
                  <a:cxn ang="0">
                    <a:pos x="8" y="75"/>
                  </a:cxn>
                  <a:cxn ang="0">
                    <a:pos x="9" y="71"/>
                  </a:cxn>
                  <a:cxn ang="0">
                    <a:pos x="8" y="68"/>
                  </a:cxn>
                  <a:cxn ang="0">
                    <a:pos x="8" y="68"/>
                  </a:cxn>
                  <a:cxn ang="0">
                    <a:pos x="12" y="65"/>
                  </a:cxn>
                  <a:cxn ang="0">
                    <a:pos x="15" y="55"/>
                  </a:cxn>
                  <a:cxn ang="0">
                    <a:pos x="13" y="53"/>
                  </a:cxn>
                  <a:cxn ang="0">
                    <a:pos x="8" y="56"/>
                  </a:cxn>
                  <a:cxn ang="0">
                    <a:pos x="5" y="53"/>
                  </a:cxn>
                  <a:cxn ang="0">
                    <a:pos x="0" y="50"/>
                  </a:cxn>
                  <a:cxn ang="0">
                    <a:pos x="0" y="32"/>
                  </a:cxn>
                  <a:cxn ang="0">
                    <a:pos x="6" y="29"/>
                  </a:cxn>
                  <a:cxn ang="0">
                    <a:pos x="12" y="17"/>
                  </a:cxn>
                  <a:cxn ang="0">
                    <a:pos x="12" y="7"/>
                  </a:cxn>
                  <a:cxn ang="0">
                    <a:pos x="23" y="3"/>
                  </a:cxn>
                  <a:cxn ang="0">
                    <a:pos x="28" y="0"/>
                  </a:cxn>
                </a:cxnLst>
                <a:rect l="0" t="0" r="r" b="b"/>
                <a:pathLst>
                  <a:path w="80" h="90">
                    <a:moveTo>
                      <a:pt x="28" y="0"/>
                    </a:moveTo>
                    <a:lnTo>
                      <a:pt x="29" y="0"/>
                    </a:lnTo>
                    <a:lnTo>
                      <a:pt x="50" y="10"/>
                    </a:lnTo>
                    <a:lnTo>
                      <a:pt x="51" y="16"/>
                    </a:lnTo>
                    <a:lnTo>
                      <a:pt x="66" y="16"/>
                    </a:lnTo>
                    <a:lnTo>
                      <a:pt x="66" y="16"/>
                    </a:lnTo>
                    <a:lnTo>
                      <a:pt x="67" y="14"/>
                    </a:lnTo>
                    <a:lnTo>
                      <a:pt x="68" y="14"/>
                    </a:lnTo>
                    <a:lnTo>
                      <a:pt x="77" y="19"/>
                    </a:lnTo>
                    <a:lnTo>
                      <a:pt x="79" y="20"/>
                    </a:lnTo>
                    <a:lnTo>
                      <a:pt x="79" y="20"/>
                    </a:lnTo>
                    <a:lnTo>
                      <a:pt x="76" y="20"/>
                    </a:lnTo>
                    <a:lnTo>
                      <a:pt x="76" y="21"/>
                    </a:lnTo>
                    <a:lnTo>
                      <a:pt x="76" y="23"/>
                    </a:lnTo>
                    <a:lnTo>
                      <a:pt x="79" y="26"/>
                    </a:lnTo>
                    <a:lnTo>
                      <a:pt x="79" y="27"/>
                    </a:lnTo>
                    <a:lnTo>
                      <a:pt x="80" y="32"/>
                    </a:lnTo>
                    <a:lnTo>
                      <a:pt x="80" y="32"/>
                    </a:lnTo>
                    <a:lnTo>
                      <a:pt x="79" y="32"/>
                    </a:lnTo>
                    <a:lnTo>
                      <a:pt x="73" y="43"/>
                    </a:lnTo>
                    <a:lnTo>
                      <a:pt x="60" y="55"/>
                    </a:lnTo>
                    <a:lnTo>
                      <a:pt x="39" y="64"/>
                    </a:lnTo>
                    <a:lnTo>
                      <a:pt x="39" y="64"/>
                    </a:lnTo>
                    <a:lnTo>
                      <a:pt x="38" y="66"/>
                    </a:lnTo>
                    <a:lnTo>
                      <a:pt x="38" y="68"/>
                    </a:lnTo>
                    <a:lnTo>
                      <a:pt x="37" y="69"/>
                    </a:lnTo>
                    <a:lnTo>
                      <a:pt x="37" y="69"/>
                    </a:lnTo>
                    <a:lnTo>
                      <a:pt x="35" y="68"/>
                    </a:lnTo>
                    <a:lnTo>
                      <a:pt x="35" y="68"/>
                    </a:lnTo>
                    <a:lnTo>
                      <a:pt x="35" y="69"/>
                    </a:lnTo>
                    <a:lnTo>
                      <a:pt x="31" y="74"/>
                    </a:lnTo>
                    <a:lnTo>
                      <a:pt x="29" y="85"/>
                    </a:lnTo>
                    <a:lnTo>
                      <a:pt x="29" y="85"/>
                    </a:lnTo>
                    <a:lnTo>
                      <a:pt x="26" y="85"/>
                    </a:lnTo>
                    <a:lnTo>
                      <a:pt x="25" y="88"/>
                    </a:lnTo>
                    <a:lnTo>
                      <a:pt x="22" y="90"/>
                    </a:lnTo>
                    <a:lnTo>
                      <a:pt x="21" y="88"/>
                    </a:lnTo>
                    <a:lnTo>
                      <a:pt x="18" y="82"/>
                    </a:lnTo>
                    <a:lnTo>
                      <a:pt x="13" y="82"/>
                    </a:lnTo>
                    <a:lnTo>
                      <a:pt x="12" y="82"/>
                    </a:lnTo>
                    <a:lnTo>
                      <a:pt x="10" y="81"/>
                    </a:lnTo>
                    <a:lnTo>
                      <a:pt x="9" y="81"/>
                    </a:lnTo>
                    <a:lnTo>
                      <a:pt x="6" y="82"/>
                    </a:lnTo>
                    <a:lnTo>
                      <a:pt x="5" y="82"/>
                    </a:lnTo>
                    <a:lnTo>
                      <a:pt x="5" y="82"/>
                    </a:lnTo>
                    <a:lnTo>
                      <a:pt x="5" y="78"/>
                    </a:lnTo>
                    <a:lnTo>
                      <a:pt x="3" y="78"/>
                    </a:lnTo>
                    <a:lnTo>
                      <a:pt x="3" y="77"/>
                    </a:lnTo>
                    <a:lnTo>
                      <a:pt x="5" y="75"/>
                    </a:lnTo>
                    <a:lnTo>
                      <a:pt x="8" y="75"/>
                    </a:lnTo>
                    <a:lnTo>
                      <a:pt x="9" y="74"/>
                    </a:lnTo>
                    <a:lnTo>
                      <a:pt x="9" y="71"/>
                    </a:lnTo>
                    <a:lnTo>
                      <a:pt x="8" y="71"/>
                    </a:lnTo>
                    <a:lnTo>
                      <a:pt x="8" y="68"/>
                    </a:lnTo>
                    <a:lnTo>
                      <a:pt x="8" y="68"/>
                    </a:lnTo>
                    <a:lnTo>
                      <a:pt x="8" y="68"/>
                    </a:lnTo>
                    <a:lnTo>
                      <a:pt x="8" y="66"/>
                    </a:lnTo>
                    <a:lnTo>
                      <a:pt x="12" y="65"/>
                    </a:lnTo>
                    <a:lnTo>
                      <a:pt x="13" y="62"/>
                    </a:lnTo>
                    <a:lnTo>
                      <a:pt x="15" y="55"/>
                    </a:lnTo>
                    <a:lnTo>
                      <a:pt x="15" y="53"/>
                    </a:lnTo>
                    <a:lnTo>
                      <a:pt x="13" y="53"/>
                    </a:lnTo>
                    <a:lnTo>
                      <a:pt x="13" y="49"/>
                    </a:lnTo>
                    <a:lnTo>
                      <a:pt x="8" y="56"/>
                    </a:lnTo>
                    <a:lnTo>
                      <a:pt x="6" y="55"/>
                    </a:lnTo>
                    <a:lnTo>
                      <a:pt x="5" y="53"/>
                    </a:lnTo>
                    <a:lnTo>
                      <a:pt x="3" y="53"/>
                    </a:lnTo>
                    <a:lnTo>
                      <a:pt x="0" y="50"/>
                    </a:lnTo>
                    <a:lnTo>
                      <a:pt x="0" y="33"/>
                    </a:lnTo>
                    <a:lnTo>
                      <a:pt x="0" y="32"/>
                    </a:lnTo>
                    <a:lnTo>
                      <a:pt x="5" y="32"/>
                    </a:lnTo>
                    <a:lnTo>
                      <a:pt x="6" y="29"/>
                    </a:lnTo>
                    <a:lnTo>
                      <a:pt x="8" y="23"/>
                    </a:lnTo>
                    <a:lnTo>
                      <a:pt x="12" y="17"/>
                    </a:lnTo>
                    <a:lnTo>
                      <a:pt x="10" y="8"/>
                    </a:lnTo>
                    <a:lnTo>
                      <a:pt x="12" y="7"/>
                    </a:lnTo>
                    <a:lnTo>
                      <a:pt x="18" y="7"/>
                    </a:lnTo>
                    <a:lnTo>
                      <a:pt x="23" y="3"/>
                    </a:lnTo>
                    <a:lnTo>
                      <a:pt x="26" y="1"/>
                    </a:lnTo>
                    <a:lnTo>
                      <a:pt x="28"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33" name="Freeform 232"/>
              <p:cNvSpPr>
                <a:spLocks/>
              </p:cNvSpPr>
              <p:nvPr/>
            </p:nvSpPr>
            <p:spPr bwMode="auto">
              <a:xfrm>
                <a:off x="5063853" y="3256371"/>
                <a:ext cx="73735" cy="93300"/>
              </a:xfrm>
              <a:custGeom>
                <a:avLst/>
                <a:gdLst/>
                <a:ahLst/>
                <a:cxnLst>
                  <a:cxn ang="0">
                    <a:pos x="29" y="0"/>
                  </a:cxn>
                  <a:cxn ang="0">
                    <a:pos x="51" y="16"/>
                  </a:cxn>
                  <a:cxn ang="0">
                    <a:pos x="66" y="16"/>
                  </a:cxn>
                  <a:cxn ang="0">
                    <a:pos x="68" y="14"/>
                  </a:cxn>
                  <a:cxn ang="0">
                    <a:pos x="79" y="20"/>
                  </a:cxn>
                  <a:cxn ang="0">
                    <a:pos x="76" y="20"/>
                  </a:cxn>
                  <a:cxn ang="0">
                    <a:pos x="76" y="23"/>
                  </a:cxn>
                  <a:cxn ang="0">
                    <a:pos x="79" y="27"/>
                  </a:cxn>
                  <a:cxn ang="0">
                    <a:pos x="80" y="32"/>
                  </a:cxn>
                  <a:cxn ang="0">
                    <a:pos x="73" y="43"/>
                  </a:cxn>
                  <a:cxn ang="0">
                    <a:pos x="39" y="64"/>
                  </a:cxn>
                  <a:cxn ang="0">
                    <a:pos x="38" y="66"/>
                  </a:cxn>
                  <a:cxn ang="0">
                    <a:pos x="37" y="69"/>
                  </a:cxn>
                  <a:cxn ang="0">
                    <a:pos x="35" y="68"/>
                  </a:cxn>
                  <a:cxn ang="0">
                    <a:pos x="35" y="69"/>
                  </a:cxn>
                  <a:cxn ang="0">
                    <a:pos x="29" y="85"/>
                  </a:cxn>
                  <a:cxn ang="0">
                    <a:pos x="26" y="85"/>
                  </a:cxn>
                  <a:cxn ang="0">
                    <a:pos x="22" y="90"/>
                  </a:cxn>
                  <a:cxn ang="0">
                    <a:pos x="18" y="82"/>
                  </a:cxn>
                  <a:cxn ang="0">
                    <a:pos x="12" y="82"/>
                  </a:cxn>
                  <a:cxn ang="0">
                    <a:pos x="9" y="81"/>
                  </a:cxn>
                  <a:cxn ang="0">
                    <a:pos x="5" y="82"/>
                  </a:cxn>
                  <a:cxn ang="0">
                    <a:pos x="5" y="78"/>
                  </a:cxn>
                  <a:cxn ang="0">
                    <a:pos x="3" y="77"/>
                  </a:cxn>
                  <a:cxn ang="0">
                    <a:pos x="8" y="75"/>
                  </a:cxn>
                  <a:cxn ang="0">
                    <a:pos x="9" y="71"/>
                  </a:cxn>
                  <a:cxn ang="0">
                    <a:pos x="8" y="68"/>
                  </a:cxn>
                  <a:cxn ang="0">
                    <a:pos x="8" y="68"/>
                  </a:cxn>
                  <a:cxn ang="0">
                    <a:pos x="12" y="65"/>
                  </a:cxn>
                  <a:cxn ang="0">
                    <a:pos x="15" y="55"/>
                  </a:cxn>
                  <a:cxn ang="0">
                    <a:pos x="13" y="53"/>
                  </a:cxn>
                  <a:cxn ang="0">
                    <a:pos x="8" y="56"/>
                  </a:cxn>
                  <a:cxn ang="0">
                    <a:pos x="5" y="53"/>
                  </a:cxn>
                  <a:cxn ang="0">
                    <a:pos x="0" y="50"/>
                  </a:cxn>
                  <a:cxn ang="0">
                    <a:pos x="0" y="32"/>
                  </a:cxn>
                  <a:cxn ang="0">
                    <a:pos x="6" y="29"/>
                  </a:cxn>
                  <a:cxn ang="0">
                    <a:pos x="12" y="17"/>
                  </a:cxn>
                  <a:cxn ang="0">
                    <a:pos x="12" y="7"/>
                  </a:cxn>
                  <a:cxn ang="0">
                    <a:pos x="23" y="3"/>
                  </a:cxn>
                  <a:cxn ang="0">
                    <a:pos x="28" y="0"/>
                  </a:cxn>
                </a:cxnLst>
                <a:rect l="0" t="0" r="r" b="b"/>
                <a:pathLst>
                  <a:path w="80" h="90">
                    <a:moveTo>
                      <a:pt x="28" y="0"/>
                    </a:moveTo>
                    <a:lnTo>
                      <a:pt x="29" y="0"/>
                    </a:lnTo>
                    <a:lnTo>
                      <a:pt x="50" y="10"/>
                    </a:lnTo>
                    <a:lnTo>
                      <a:pt x="51" y="16"/>
                    </a:lnTo>
                    <a:lnTo>
                      <a:pt x="66" y="16"/>
                    </a:lnTo>
                    <a:lnTo>
                      <a:pt x="66" y="16"/>
                    </a:lnTo>
                    <a:lnTo>
                      <a:pt x="67" y="14"/>
                    </a:lnTo>
                    <a:lnTo>
                      <a:pt x="68" y="14"/>
                    </a:lnTo>
                    <a:lnTo>
                      <a:pt x="77" y="19"/>
                    </a:lnTo>
                    <a:lnTo>
                      <a:pt x="79" y="20"/>
                    </a:lnTo>
                    <a:lnTo>
                      <a:pt x="79" y="20"/>
                    </a:lnTo>
                    <a:lnTo>
                      <a:pt x="76" y="20"/>
                    </a:lnTo>
                    <a:lnTo>
                      <a:pt x="76" y="21"/>
                    </a:lnTo>
                    <a:lnTo>
                      <a:pt x="76" y="23"/>
                    </a:lnTo>
                    <a:lnTo>
                      <a:pt x="79" y="26"/>
                    </a:lnTo>
                    <a:lnTo>
                      <a:pt x="79" y="27"/>
                    </a:lnTo>
                    <a:lnTo>
                      <a:pt x="80" y="32"/>
                    </a:lnTo>
                    <a:lnTo>
                      <a:pt x="80" y="32"/>
                    </a:lnTo>
                    <a:lnTo>
                      <a:pt x="79" y="32"/>
                    </a:lnTo>
                    <a:lnTo>
                      <a:pt x="73" y="43"/>
                    </a:lnTo>
                    <a:lnTo>
                      <a:pt x="60" y="55"/>
                    </a:lnTo>
                    <a:lnTo>
                      <a:pt x="39" y="64"/>
                    </a:lnTo>
                    <a:lnTo>
                      <a:pt x="39" y="64"/>
                    </a:lnTo>
                    <a:lnTo>
                      <a:pt x="38" y="66"/>
                    </a:lnTo>
                    <a:lnTo>
                      <a:pt x="38" y="68"/>
                    </a:lnTo>
                    <a:lnTo>
                      <a:pt x="37" y="69"/>
                    </a:lnTo>
                    <a:lnTo>
                      <a:pt x="37" y="69"/>
                    </a:lnTo>
                    <a:lnTo>
                      <a:pt x="35" y="68"/>
                    </a:lnTo>
                    <a:lnTo>
                      <a:pt x="35" y="68"/>
                    </a:lnTo>
                    <a:lnTo>
                      <a:pt x="35" y="69"/>
                    </a:lnTo>
                    <a:lnTo>
                      <a:pt x="31" y="74"/>
                    </a:lnTo>
                    <a:lnTo>
                      <a:pt x="29" y="85"/>
                    </a:lnTo>
                    <a:lnTo>
                      <a:pt x="29" y="85"/>
                    </a:lnTo>
                    <a:lnTo>
                      <a:pt x="26" y="85"/>
                    </a:lnTo>
                    <a:lnTo>
                      <a:pt x="25" y="88"/>
                    </a:lnTo>
                    <a:lnTo>
                      <a:pt x="22" y="90"/>
                    </a:lnTo>
                    <a:lnTo>
                      <a:pt x="21" y="88"/>
                    </a:lnTo>
                    <a:lnTo>
                      <a:pt x="18" y="82"/>
                    </a:lnTo>
                    <a:lnTo>
                      <a:pt x="13" y="82"/>
                    </a:lnTo>
                    <a:lnTo>
                      <a:pt x="12" y="82"/>
                    </a:lnTo>
                    <a:lnTo>
                      <a:pt x="10" y="81"/>
                    </a:lnTo>
                    <a:lnTo>
                      <a:pt x="9" y="81"/>
                    </a:lnTo>
                    <a:lnTo>
                      <a:pt x="6" y="82"/>
                    </a:lnTo>
                    <a:lnTo>
                      <a:pt x="5" y="82"/>
                    </a:lnTo>
                    <a:lnTo>
                      <a:pt x="5" y="82"/>
                    </a:lnTo>
                    <a:lnTo>
                      <a:pt x="5" y="78"/>
                    </a:lnTo>
                    <a:lnTo>
                      <a:pt x="3" y="78"/>
                    </a:lnTo>
                    <a:lnTo>
                      <a:pt x="3" y="77"/>
                    </a:lnTo>
                    <a:lnTo>
                      <a:pt x="5" y="75"/>
                    </a:lnTo>
                    <a:lnTo>
                      <a:pt x="8" y="75"/>
                    </a:lnTo>
                    <a:lnTo>
                      <a:pt x="9" y="74"/>
                    </a:lnTo>
                    <a:lnTo>
                      <a:pt x="9" y="71"/>
                    </a:lnTo>
                    <a:lnTo>
                      <a:pt x="8" y="71"/>
                    </a:lnTo>
                    <a:lnTo>
                      <a:pt x="8" y="68"/>
                    </a:lnTo>
                    <a:lnTo>
                      <a:pt x="8" y="68"/>
                    </a:lnTo>
                    <a:lnTo>
                      <a:pt x="8" y="68"/>
                    </a:lnTo>
                    <a:lnTo>
                      <a:pt x="8" y="66"/>
                    </a:lnTo>
                    <a:lnTo>
                      <a:pt x="12" y="65"/>
                    </a:lnTo>
                    <a:lnTo>
                      <a:pt x="13" y="62"/>
                    </a:lnTo>
                    <a:lnTo>
                      <a:pt x="15" y="55"/>
                    </a:lnTo>
                    <a:lnTo>
                      <a:pt x="15" y="53"/>
                    </a:lnTo>
                    <a:lnTo>
                      <a:pt x="13" y="53"/>
                    </a:lnTo>
                    <a:lnTo>
                      <a:pt x="13" y="49"/>
                    </a:lnTo>
                    <a:lnTo>
                      <a:pt x="8" y="56"/>
                    </a:lnTo>
                    <a:lnTo>
                      <a:pt x="6" y="55"/>
                    </a:lnTo>
                    <a:lnTo>
                      <a:pt x="5" y="53"/>
                    </a:lnTo>
                    <a:lnTo>
                      <a:pt x="3" y="53"/>
                    </a:lnTo>
                    <a:lnTo>
                      <a:pt x="0" y="50"/>
                    </a:lnTo>
                    <a:lnTo>
                      <a:pt x="0" y="33"/>
                    </a:lnTo>
                    <a:lnTo>
                      <a:pt x="0" y="32"/>
                    </a:lnTo>
                    <a:lnTo>
                      <a:pt x="5" y="32"/>
                    </a:lnTo>
                    <a:lnTo>
                      <a:pt x="6" y="29"/>
                    </a:lnTo>
                    <a:lnTo>
                      <a:pt x="8" y="23"/>
                    </a:lnTo>
                    <a:lnTo>
                      <a:pt x="12" y="17"/>
                    </a:lnTo>
                    <a:lnTo>
                      <a:pt x="10" y="8"/>
                    </a:lnTo>
                    <a:lnTo>
                      <a:pt x="12" y="7"/>
                    </a:lnTo>
                    <a:lnTo>
                      <a:pt x="18" y="7"/>
                    </a:lnTo>
                    <a:lnTo>
                      <a:pt x="23" y="3"/>
                    </a:lnTo>
                    <a:lnTo>
                      <a:pt x="26" y="1"/>
                    </a:lnTo>
                    <a:lnTo>
                      <a:pt x="28"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34" name="Freeform 233"/>
              <p:cNvSpPr>
                <a:spLocks/>
              </p:cNvSpPr>
              <p:nvPr/>
            </p:nvSpPr>
            <p:spPr bwMode="auto">
              <a:xfrm>
                <a:off x="5301737" y="3564667"/>
                <a:ext cx="108847" cy="131837"/>
              </a:xfrm>
              <a:custGeom>
                <a:avLst/>
                <a:gdLst/>
                <a:ahLst/>
                <a:cxnLst>
                  <a:cxn ang="0">
                    <a:pos x="0" y="47"/>
                  </a:cxn>
                  <a:cxn ang="0">
                    <a:pos x="4" y="32"/>
                  </a:cxn>
                  <a:cxn ang="0">
                    <a:pos x="4" y="22"/>
                  </a:cxn>
                  <a:cxn ang="0">
                    <a:pos x="10" y="13"/>
                  </a:cxn>
                  <a:cxn ang="0">
                    <a:pos x="11" y="7"/>
                  </a:cxn>
                  <a:cxn ang="0">
                    <a:pos x="39" y="0"/>
                  </a:cxn>
                  <a:cxn ang="0">
                    <a:pos x="55" y="0"/>
                  </a:cxn>
                  <a:cxn ang="0">
                    <a:pos x="65" y="13"/>
                  </a:cxn>
                  <a:cxn ang="0">
                    <a:pos x="65" y="13"/>
                  </a:cxn>
                  <a:cxn ang="0">
                    <a:pos x="65" y="15"/>
                  </a:cxn>
                  <a:cxn ang="0">
                    <a:pos x="66" y="18"/>
                  </a:cxn>
                  <a:cxn ang="0">
                    <a:pos x="66" y="39"/>
                  </a:cxn>
                  <a:cxn ang="0">
                    <a:pos x="68" y="42"/>
                  </a:cxn>
                  <a:cxn ang="0">
                    <a:pos x="75" y="45"/>
                  </a:cxn>
                  <a:cxn ang="0">
                    <a:pos x="87" y="45"/>
                  </a:cxn>
                  <a:cxn ang="0">
                    <a:pos x="87" y="44"/>
                  </a:cxn>
                  <a:cxn ang="0">
                    <a:pos x="90" y="44"/>
                  </a:cxn>
                  <a:cxn ang="0">
                    <a:pos x="91" y="45"/>
                  </a:cxn>
                  <a:cxn ang="0">
                    <a:pos x="97" y="47"/>
                  </a:cxn>
                  <a:cxn ang="0">
                    <a:pos x="98" y="49"/>
                  </a:cxn>
                  <a:cxn ang="0">
                    <a:pos x="101" y="67"/>
                  </a:cxn>
                  <a:cxn ang="0">
                    <a:pos x="103" y="70"/>
                  </a:cxn>
                  <a:cxn ang="0">
                    <a:pos x="106" y="71"/>
                  </a:cxn>
                  <a:cxn ang="0">
                    <a:pos x="109" y="71"/>
                  </a:cxn>
                  <a:cxn ang="0">
                    <a:pos x="110" y="70"/>
                  </a:cxn>
                  <a:cxn ang="0">
                    <a:pos x="116" y="70"/>
                  </a:cxn>
                  <a:cxn ang="0">
                    <a:pos x="117" y="71"/>
                  </a:cxn>
                  <a:cxn ang="0">
                    <a:pos x="119" y="73"/>
                  </a:cxn>
                  <a:cxn ang="0">
                    <a:pos x="114" y="109"/>
                  </a:cxn>
                  <a:cxn ang="0">
                    <a:pos x="111" y="113"/>
                  </a:cxn>
                  <a:cxn ang="0">
                    <a:pos x="100" y="124"/>
                  </a:cxn>
                  <a:cxn ang="0">
                    <a:pos x="100" y="124"/>
                  </a:cxn>
                  <a:cxn ang="0">
                    <a:pos x="100" y="124"/>
                  </a:cxn>
                  <a:cxn ang="0">
                    <a:pos x="97" y="125"/>
                  </a:cxn>
                  <a:cxn ang="0">
                    <a:pos x="94" y="125"/>
                  </a:cxn>
                  <a:cxn ang="0">
                    <a:pos x="91" y="125"/>
                  </a:cxn>
                  <a:cxn ang="0">
                    <a:pos x="91" y="127"/>
                  </a:cxn>
                  <a:cxn ang="0">
                    <a:pos x="87" y="127"/>
                  </a:cxn>
                  <a:cxn ang="0">
                    <a:pos x="85" y="127"/>
                  </a:cxn>
                  <a:cxn ang="0">
                    <a:pos x="82" y="127"/>
                  </a:cxn>
                  <a:cxn ang="0">
                    <a:pos x="74" y="122"/>
                  </a:cxn>
                  <a:cxn ang="0">
                    <a:pos x="61" y="121"/>
                  </a:cxn>
                  <a:cxn ang="0">
                    <a:pos x="59" y="121"/>
                  </a:cxn>
                  <a:cxn ang="0">
                    <a:pos x="59" y="116"/>
                  </a:cxn>
                  <a:cxn ang="0">
                    <a:pos x="69" y="99"/>
                  </a:cxn>
                  <a:cxn ang="0">
                    <a:pos x="69" y="96"/>
                  </a:cxn>
                  <a:cxn ang="0">
                    <a:pos x="69" y="93"/>
                  </a:cxn>
                  <a:cxn ang="0">
                    <a:pos x="68" y="92"/>
                  </a:cxn>
                  <a:cxn ang="0">
                    <a:pos x="66" y="90"/>
                  </a:cxn>
                  <a:cxn ang="0">
                    <a:pos x="65" y="89"/>
                  </a:cxn>
                  <a:cxn ang="0">
                    <a:pos x="61" y="87"/>
                  </a:cxn>
                  <a:cxn ang="0">
                    <a:pos x="59" y="84"/>
                  </a:cxn>
                  <a:cxn ang="0">
                    <a:pos x="42" y="76"/>
                  </a:cxn>
                  <a:cxn ang="0">
                    <a:pos x="27" y="73"/>
                  </a:cxn>
                  <a:cxn ang="0">
                    <a:pos x="26" y="71"/>
                  </a:cxn>
                  <a:cxn ang="0">
                    <a:pos x="23" y="67"/>
                  </a:cxn>
                  <a:cxn ang="0">
                    <a:pos x="11" y="58"/>
                  </a:cxn>
                  <a:cxn ang="0">
                    <a:pos x="4" y="48"/>
                  </a:cxn>
                  <a:cxn ang="0">
                    <a:pos x="0" y="47"/>
                  </a:cxn>
                </a:cxnLst>
                <a:rect l="0" t="0" r="r" b="b"/>
                <a:pathLst>
                  <a:path w="119" h="127">
                    <a:moveTo>
                      <a:pt x="0" y="47"/>
                    </a:moveTo>
                    <a:lnTo>
                      <a:pt x="4" y="32"/>
                    </a:lnTo>
                    <a:lnTo>
                      <a:pt x="4" y="22"/>
                    </a:lnTo>
                    <a:lnTo>
                      <a:pt x="10" y="13"/>
                    </a:lnTo>
                    <a:lnTo>
                      <a:pt x="11" y="7"/>
                    </a:lnTo>
                    <a:lnTo>
                      <a:pt x="39" y="0"/>
                    </a:lnTo>
                    <a:lnTo>
                      <a:pt x="55" y="0"/>
                    </a:lnTo>
                    <a:lnTo>
                      <a:pt x="65" y="13"/>
                    </a:lnTo>
                    <a:lnTo>
                      <a:pt x="65" y="13"/>
                    </a:lnTo>
                    <a:lnTo>
                      <a:pt x="65" y="15"/>
                    </a:lnTo>
                    <a:lnTo>
                      <a:pt x="66" y="18"/>
                    </a:lnTo>
                    <a:lnTo>
                      <a:pt x="66" y="39"/>
                    </a:lnTo>
                    <a:lnTo>
                      <a:pt x="68" y="42"/>
                    </a:lnTo>
                    <a:lnTo>
                      <a:pt x="75" y="45"/>
                    </a:lnTo>
                    <a:lnTo>
                      <a:pt x="87" y="45"/>
                    </a:lnTo>
                    <a:lnTo>
                      <a:pt x="87" y="44"/>
                    </a:lnTo>
                    <a:lnTo>
                      <a:pt x="90" y="44"/>
                    </a:lnTo>
                    <a:lnTo>
                      <a:pt x="91" y="45"/>
                    </a:lnTo>
                    <a:lnTo>
                      <a:pt x="97" y="47"/>
                    </a:lnTo>
                    <a:lnTo>
                      <a:pt x="98" y="49"/>
                    </a:lnTo>
                    <a:lnTo>
                      <a:pt x="101" y="67"/>
                    </a:lnTo>
                    <a:lnTo>
                      <a:pt x="103" y="70"/>
                    </a:lnTo>
                    <a:lnTo>
                      <a:pt x="106" y="71"/>
                    </a:lnTo>
                    <a:lnTo>
                      <a:pt x="109" y="71"/>
                    </a:lnTo>
                    <a:lnTo>
                      <a:pt x="110" y="70"/>
                    </a:lnTo>
                    <a:lnTo>
                      <a:pt x="116" y="70"/>
                    </a:lnTo>
                    <a:lnTo>
                      <a:pt x="117" y="71"/>
                    </a:lnTo>
                    <a:lnTo>
                      <a:pt x="119" y="73"/>
                    </a:lnTo>
                    <a:lnTo>
                      <a:pt x="114" y="109"/>
                    </a:lnTo>
                    <a:lnTo>
                      <a:pt x="111" y="113"/>
                    </a:lnTo>
                    <a:lnTo>
                      <a:pt x="100" y="124"/>
                    </a:lnTo>
                    <a:lnTo>
                      <a:pt x="100" y="124"/>
                    </a:lnTo>
                    <a:lnTo>
                      <a:pt x="100" y="124"/>
                    </a:lnTo>
                    <a:lnTo>
                      <a:pt x="97" y="125"/>
                    </a:lnTo>
                    <a:lnTo>
                      <a:pt x="94" y="125"/>
                    </a:lnTo>
                    <a:lnTo>
                      <a:pt x="91" y="125"/>
                    </a:lnTo>
                    <a:lnTo>
                      <a:pt x="91" y="127"/>
                    </a:lnTo>
                    <a:lnTo>
                      <a:pt x="87" y="127"/>
                    </a:lnTo>
                    <a:lnTo>
                      <a:pt x="85" y="127"/>
                    </a:lnTo>
                    <a:lnTo>
                      <a:pt x="82" y="127"/>
                    </a:lnTo>
                    <a:lnTo>
                      <a:pt x="74" y="122"/>
                    </a:lnTo>
                    <a:lnTo>
                      <a:pt x="61" y="121"/>
                    </a:lnTo>
                    <a:lnTo>
                      <a:pt x="59" y="121"/>
                    </a:lnTo>
                    <a:lnTo>
                      <a:pt x="59" y="116"/>
                    </a:lnTo>
                    <a:lnTo>
                      <a:pt x="69" y="99"/>
                    </a:lnTo>
                    <a:lnTo>
                      <a:pt x="69" y="96"/>
                    </a:lnTo>
                    <a:lnTo>
                      <a:pt x="69" y="93"/>
                    </a:lnTo>
                    <a:lnTo>
                      <a:pt x="68" y="92"/>
                    </a:lnTo>
                    <a:lnTo>
                      <a:pt x="66" y="90"/>
                    </a:lnTo>
                    <a:lnTo>
                      <a:pt x="65" y="89"/>
                    </a:lnTo>
                    <a:lnTo>
                      <a:pt x="61" y="87"/>
                    </a:lnTo>
                    <a:lnTo>
                      <a:pt x="59" y="84"/>
                    </a:lnTo>
                    <a:lnTo>
                      <a:pt x="42" y="76"/>
                    </a:lnTo>
                    <a:lnTo>
                      <a:pt x="27" y="73"/>
                    </a:lnTo>
                    <a:lnTo>
                      <a:pt x="26" y="71"/>
                    </a:lnTo>
                    <a:lnTo>
                      <a:pt x="23" y="67"/>
                    </a:lnTo>
                    <a:lnTo>
                      <a:pt x="11" y="58"/>
                    </a:lnTo>
                    <a:lnTo>
                      <a:pt x="4" y="48"/>
                    </a:lnTo>
                    <a:lnTo>
                      <a:pt x="0" y="47"/>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35" name="Freeform 234"/>
              <p:cNvSpPr>
                <a:spLocks/>
              </p:cNvSpPr>
              <p:nvPr/>
            </p:nvSpPr>
            <p:spPr bwMode="auto">
              <a:xfrm>
                <a:off x="5301737" y="3564667"/>
                <a:ext cx="108847" cy="131837"/>
              </a:xfrm>
              <a:custGeom>
                <a:avLst/>
                <a:gdLst/>
                <a:ahLst/>
                <a:cxnLst>
                  <a:cxn ang="0">
                    <a:pos x="0" y="47"/>
                  </a:cxn>
                  <a:cxn ang="0">
                    <a:pos x="4" y="32"/>
                  </a:cxn>
                  <a:cxn ang="0">
                    <a:pos x="4" y="22"/>
                  </a:cxn>
                  <a:cxn ang="0">
                    <a:pos x="10" y="13"/>
                  </a:cxn>
                  <a:cxn ang="0">
                    <a:pos x="11" y="7"/>
                  </a:cxn>
                  <a:cxn ang="0">
                    <a:pos x="39" y="0"/>
                  </a:cxn>
                  <a:cxn ang="0">
                    <a:pos x="55" y="0"/>
                  </a:cxn>
                  <a:cxn ang="0">
                    <a:pos x="65" y="13"/>
                  </a:cxn>
                  <a:cxn ang="0">
                    <a:pos x="65" y="13"/>
                  </a:cxn>
                  <a:cxn ang="0">
                    <a:pos x="65" y="15"/>
                  </a:cxn>
                  <a:cxn ang="0">
                    <a:pos x="66" y="18"/>
                  </a:cxn>
                  <a:cxn ang="0">
                    <a:pos x="66" y="39"/>
                  </a:cxn>
                  <a:cxn ang="0">
                    <a:pos x="68" y="42"/>
                  </a:cxn>
                  <a:cxn ang="0">
                    <a:pos x="75" y="45"/>
                  </a:cxn>
                  <a:cxn ang="0">
                    <a:pos x="87" y="45"/>
                  </a:cxn>
                  <a:cxn ang="0">
                    <a:pos x="87" y="44"/>
                  </a:cxn>
                  <a:cxn ang="0">
                    <a:pos x="90" y="44"/>
                  </a:cxn>
                  <a:cxn ang="0">
                    <a:pos x="91" y="45"/>
                  </a:cxn>
                  <a:cxn ang="0">
                    <a:pos x="97" y="47"/>
                  </a:cxn>
                  <a:cxn ang="0">
                    <a:pos x="98" y="49"/>
                  </a:cxn>
                  <a:cxn ang="0">
                    <a:pos x="101" y="67"/>
                  </a:cxn>
                  <a:cxn ang="0">
                    <a:pos x="103" y="70"/>
                  </a:cxn>
                  <a:cxn ang="0">
                    <a:pos x="106" y="71"/>
                  </a:cxn>
                  <a:cxn ang="0">
                    <a:pos x="109" y="71"/>
                  </a:cxn>
                  <a:cxn ang="0">
                    <a:pos x="110" y="70"/>
                  </a:cxn>
                  <a:cxn ang="0">
                    <a:pos x="116" y="70"/>
                  </a:cxn>
                  <a:cxn ang="0">
                    <a:pos x="117" y="71"/>
                  </a:cxn>
                  <a:cxn ang="0">
                    <a:pos x="119" y="73"/>
                  </a:cxn>
                  <a:cxn ang="0">
                    <a:pos x="114" y="109"/>
                  </a:cxn>
                  <a:cxn ang="0">
                    <a:pos x="111" y="113"/>
                  </a:cxn>
                  <a:cxn ang="0">
                    <a:pos x="100" y="124"/>
                  </a:cxn>
                  <a:cxn ang="0">
                    <a:pos x="100" y="124"/>
                  </a:cxn>
                  <a:cxn ang="0">
                    <a:pos x="100" y="124"/>
                  </a:cxn>
                  <a:cxn ang="0">
                    <a:pos x="97" y="125"/>
                  </a:cxn>
                  <a:cxn ang="0">
                    <a:pos x="94" y="125"/>
                  </a:cxn>
                  <a:cxn ang="0">
                    <a:pos x="91" y="125"/>
                  </a:cxn>
                  <a:cxn ang="0">
                    <a:pos x="91" y="127"/>
                  </a:cxn>
                  <a:cxn ang="0">
                    <a:pos x="87" y="127"/>
                  </a:cxn>
                  <a:cxn ang="0">
                    <a:pos x="85" y="127"/>
                  </a:cxn>
                  <a:cxn ang="0">
                    <a:pos x="82" y="127"/>
                  </a:cxn>
                  <a:cxn ang="0">
                    <a:pos x="74" y="122"/>
                  </a:cxn>
                  <a:cxn ang="0">
                    <a:pos x="61" y="121"/>
                  </a:cxn>
                  <a:cxn ang="0">
                    <a:pos x="59" y="121"/>
                  </a:cxn>
                  <a:cxn ang="0">
                    <a:pos x="59" y="116"/>
                  </a:cxn>
                  <a:cxn ang="0">
                    <a:pos x="69" y="99"/>
                  </a:cxn>
                  <a:cxn ang="0">
                    <a:pos x="69" y="96"/>
                  </a:cxn>
                  <a:cxn ang="0">
                    <a:pos x="69" y="93"/>
                  </a:cxn>
                  <a:cxn ang="0">
                    <a:pos x="68" y="92"/>
                  </a:cxn>
                  <a:cxn ang="0">
                    <a:pos x="66" y="90"/>
                  </a:cxn>
                  <a:cxn ang="0">
                    <a:pos x="65" y="89"/>
                  </a:cxn>
                  <a:cxn ang="0">
                    <a:pos x="61" y="87"/>
                  </a:cxn>
                  <a:cxn ang="0">
                    <a:pos x="59" y="84"/>
                  </a:cxn>
                  <a:cxn ang="0">
                    <a:pos x="42" y="76"/>
                  </a:cxn>
                  <a:cxn ang="0">
                    <a:pos x="27" y="73"/>
                  </a:cxn>
                  <a:cxn ang="0">
                    <a:pos x="26" y="71"/>
                  </a:cxn>
                  <a:cxn ang="0">
                    <a:pos x="23" y="67"/>
                  </a:cxn>
                  <a:cxn ang="0">
                    <a:pos x="11" y="58"/>
                  </a:cxn>
                  <a:cxn ang="0">
                    <a:pos x="4" y="48"/>
                  </a:cxn>
                  <a:cxn ang="0">
                    <a:pos x="0" y="47"/>
                  </a:cxn>
                </a:cxnLst>
                <a:rect l="0" t="0" r="r" b="b"/>
                <a:pathLst>
                  <a:path w="119" h="127">
                    <a:moveTo>
                      <a:pt x="0" y="47"/>
                    </a:moveTo>
                    <a:lnTo>
                      <a:pt x="4" y="32"/>
                    </a:lnTo>
                    <a:lnTo>
                      <a:pt x="4" y="22"/>
                    </a:lnTo>
                    <a:lnTo>
                      <a:pt x="10" y="13"/>
                    </a:lnTo>
                    <a:lnTo>
                      <a:pt x="11" y="7"/>
                    </a:lnTo>
                    <a:lnTo>
                      <a:pt x="39" y="0"/>
                    </a:lnTo>
                    <a:lnTo>
                      <a:pt x="55" y="0"/>
                    </a:lnTo>
                    <a:lnTo>
                      <a:pt x="65" y="13"/>
                    </a:lnTo>
                    <a:lnTo>
                      <a:pt x="65" y="13"/>
                    </a:lnTo>
                    <a:lnTo>
                      <a:pt x="65" y="15"/>
                    </a:lnTo>
                    <a:lnTo>
                      <a:pt x="66" y="18"/>
                    </a:lnTo>
                    <a:lnTo>
                      <a:pt x="66" y="39"/>
                    </a:lnTo>
                    <a:lnTo>
                      <a:pt x="68" y="42"/>
                    </a:lnTo>
                    <a:lnTo>
                      <a:pt x="75" y="45"/>
                    </a:lnTo>
                    <a:lnTo>
                      <a:pt x="87" y="45"/>
                    </a:lnTo>
                    <a:lnTo>
                      <a:pt x="87" y="44"/>
                    </a:lnTo>
                    <a:lnTo>
                      <a:pt x="90" y="44"/>
                    </a:lnTo>
                    <a:lnTo>
                      <a:pt x="91" y="45"/>
                    </a:lnTo>
                    <a:lnTo>
                      <a:pt x="97" y="47"/>
                    </a:lnTo>
                    <a:lnTo>
                      <a:pt x="98" y="49"/>
                    </a:lnTo>
                    <a:lnTo>
                      <a:pt x="101" y="67"/>
                    </a:lnTo>
                    <a:lnTo>
                      <a:pt x="103" y="70"/>
                    </a:lnTo>
                    <a:lnTo>
                      <a:pt x="106" y="71"/>
                    </a:lnTo>
                    <a:lnTo>
                      <a:pt x="109" y="71"/>
                    </a:lnTo>
                    <a:lnTo>
                      <a:pt x="110" y="70"/>
                    </a:lnTo>
                    <a:lnTo>
                      <a:pt x="116" y="70"/>
                    </a:lnTo>
                    <a:lnTo>
                      <a:pt x="117" y="71"/>
                    </a:lnTo>
                    <a:lnTo>
                      <a:pt x="119" y="73"/>
                    </a:lnTo>
                    <a:lnTo>
                      <a:pt x="114" y="109"/>
                    </a:lnTo>
                    <a:lnTo>
                      <a:pt x="111" y="113"/>
                    </a:lnTo>
                    <a:lnTo>
                      <a:pt x="100" y="124"/>
                    </a:lnTo>
                    <a:lnTo>
                      <a:pt x="100" y="124"/>
                    </a:lnTo>
                    <a:lnTo>
                      <a:pt x="100" y="124"/>
                    </a:lnTo>
                    <a:lnTo>
                      <a:pt x="97" y="125"/>
                    </a:lnTo>
                    <a:lnTo>
                      <a:pt x="94" y="125"/>
                    </a:lnTo>
                    <a:lnTo>
                      <a:pt x="91" y="125"/>
                    </a:lnTo>
                    <a:lnTo>
                      <a:pt x="91" y="127"/>
                    </a:lnTo>
                    <a:lnTo>
                      <a:pt x="87" y="127"/>
                    </a:lnTo>
                    <a:lnTo>
                      <a:pt x="85" y="127"/>
                    </a:lnTo>
                    <a:lnTo>
                      <a:pt x="82" y="127"/>
                    </a:lnTo>
                    <a:lnTo>
                      <a:pt x="74" y="122"/>
                    </a:lnTo>
                    <a:lnTo>
                      <a:pt x="61" y="121"/>
                    </a:lnTo>
                    <a:lnTo>
                      <a:pt x="59" y="121"/>
                    </a:lnTo>
                    <a:lnTo>
                      <a:pt x="59" y="116"/>
                    </a:lnTo>
                    <a:lnTo>
                      <a:pt x="69" y="99"/>
                    </a:lnTo>
                    <a:lnTo>
                      <a:pt x="69" y="96"/>
                    </a:lnTo>
                    <a:lnTo>
                      <a:pt x="69" y="93"/>
                    </a:lnTo>
                    <a:lnTo>
                      <a:pt x="68" y="92"/>
                    </a:lnTo>
                    <a:lnTo>
                      <a:pt x="66" y="90"/>
                    </a:lnTo>
                    <a:lnTo>
                      <a:pt x="65" y="89"/>
                    </a:lnTo>
                    <a:lnTo>
                      <a:pt x="61" y="87"/>
                    </a:lnTo>
                    <a:lnTo>
                      <a:pt x="59" y="84"/>
                    </a:lnTo>
                    <a:lnTo>
                      <a:pt x="42" y="76"/>
                    </a:lnTo>
                    <a:lnTo>
                      <a:pt x="27" y="73"/>
                    </a:lnTo>
                    <a:lnTo>
                      <a:pt x="26" y="71"/>
                    </a:lnTo>
                    <a:lnTo>
                      <a:pt x="23" y="67"/>
                    </a:lnTo>
                    <a:lnTo>
                      <a:pt x="11" y="58"/>
                    </a:lnTo>
                    <a:lnTo>
                      <a:pt x="4" y="48"/>
                    </a:lnTo>
                    <a:lnTo>
                      <a:pt x="0" y="47"/>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36" name="Freeform 235"/>
              <p:cNvSpPr>
                <a:spLocks/>
              </p:cNvSpPr>
              <p:nvPr/>
            </p:nvSpPr>
            <p:spPr bwMode="auto">
              <a:xfrm>
                <a:off x="5133199" y="3537286"/>
                <a:ext cx="109725" cy="685554"/>
              </a:xfrm>
              <a:custGeom>
                <a:avLst/>
                <a:gdLst/>
                <a:ahLst/>
                <a:cxnLst>
                  <a:cxn ang="0">
                    <a:pos x="98" y="29"/>
                  </a:cxn>
                  <a:cxn ang="0">
                    <a:pos x="96" y="41"/>
                  </a:cxn>
                  <a:cxn ang="0">
                    <a:pos x="107" y="80"/>
                  </a:cxn>
                  <a:cxn ang="0">
                    <a:pos x="119" y="83"/>
                  </a:cxn>
                  <a:cxn ang="0">
                    <a:pos x="98" y="145"/>
                  </a:cxn>
                  <a:cxn ang="0">
                    <a:pos x="72" y="211"/>
                  </a:cxn>
                  <a:cxn ang="0">
                    <a:pos x="80" y="263"/>
                  </a:cxn>
                  <a:cxn ang="0">
                    <a:pos x="68" y="301"/>
                  </a:cxn>
                  <a:cxn ang="0">
                    <a:pos x="62" y="344"/>
                  </a:cxn>
                  <a:cxn ang="0">
                    <a:pos x="49" y="424"/>
                  </a:cxn>
                  <a:cxn ang="0">
                    <a:pos x="53" y="452"/>
                  </a:cxn>
                  <a:cxn ang="0">
                    <a:pos x="55" y="463"/>
                  </a:cxn>
                  <a:cxn ang="0">
                    <a:pos x="43" y="527"/>
                  </a:cxn>
                  <a:cxn ang="0">
                    <a:pos x="30" y="581"/>
                  </a:cxn>
                  <a:cxn ang="0">
                    <a:pos x="43" y="584"/>
                  </a:cxn>
                  <a:cxn ang="0">
                    <a:pos x="68" y="616"/>
                  </a:cxn>
                  <a:cxn ang="0">
                    <a:pos x="85" y="622"/>
                  </a:cxn>
                  <a:cxn ang="0">
                    <a:pos x="64" y="657"/>
                  </a:cxn>
                  <a:cxn ang="0">
                    <a:pos x="46" y="645"/>
                  </a:cxn>
                  <a:cxn ang="0">
                    <a:pos x="61" y="639"/>
                  </a:cxn>
                  <a:cxn ang="0">
                    <a:pos x="43" y="626"/>
                  </a:cxn>
                  <a:cxn ang="0">
                    <a:pos x="43" y="613"/>
                  </a:cxn>
                  <a:cxn ang="0">
                    <a:pos x="37" y="609"/>
                  </a:cxn>
                  <a:cxn ang="0">
                    <a:pos x="32" y="616"/>
                  </a:cxn>
                  <a:cxn ang="0">
                    <a:pos x="20" y="588"/>
                  </a:cxn>
                  <a:cxn ang="0">
                    <a:pos x="20" y="583"/>
                  </a:cxn>
                  <a:cxn ang="0">
                    <a:pos x="17" y="570"/>
                  </a:cxn>
                  <a:cxn ang="0">
                    <a:pos x="23" y="558"/>
                  </a:cxn>
                  <a:cxn ang="0">
                    <a:pos x="19" y="542"/>
                  </a:cxn>
                  <a:cxn ang="0">
                    <a:pos x="17" y="536"/>
                  </a:cxn>
                  <a:cxn ang="0">
                    <a:pos x="20" y="526"/>
                  </a:cxn>
                  <a:cxn ang="0">
                    <a:pos x="19" y="520"/>
                  </a:cxn>
                  <a:cxn ang="0">
                    <a:pos x="22" y="504"/>
                  </a:cxn>
                  <a:cxn ang="0">
                    <a:pos x="6" y="497"/>
                  </a:cxn>
                  <a:cxn ang="0">
                    <a:pos x="4" y="493"/>
                  </a:cxn>
                  <a:cxn ang="0">
                    <a:pos x="7" y="484"/>
                  </a:cxn>
                  <a:cxn ang="0">
                    <a:pos x="20" y="487"/>
                  </a:cxn>
                  <a:cxn ang="0">
                    <a:pos x="24" y="495"/>
                  </a:cxn>
                  <a:cxn ang="0">
                    <a:pos x="30" y="482"/>
                  </a:cxn>
                  <a:cxn ang="0">
                    <a:pos x="32" y="477"/>
                  </a:cxn>
                  <a:cxn ang="0">
                    <a:pos x="37" y="474"/>
                  </a:cxn>
                  <a:cxn ang="0">
                    <a:pos x="35" y="463"/>
                  </a:cxn>
                  <a:cxn ang="0">
                    <a:pos x="33" y="449"/>
                  </a:cxn>
                  <a:cxn ang="0">
                    <a:pos x="37" y="439"/>
                  </a:cxn>
                  <a:cxn ang="0">
                    <a:pos x="39" y="418"/>
                  </a:cxn>
                  <a:cxn ang="0">
                    <a:pos x="43" y="405"/>
                  </a:cxn>
                  <a:cxn ang="0">
                    <a:pos x="43" y="400"/>
                  </a:cxn>
                  <a:cxn ang="0">
                    <a:pos x="30" y="401"/>
                  </a:cxn>
                  <a:cxn ang="0">
                    <a:pos x="26" y="366"/>
                  </a:cxn>
                  <a:cxn ang="0">
                    <a:pos x="27" y="340"/>
                  </a:cxn>
                  <a:cxn ang="0">
                    <a:pos x="35" y="307"/>
                  </a:cxn>
                  <a:cxn ang="0">
                    <a:pos x="53" y="247"/>
                  </a:cxn>
                  <a:cxn ang="0">
                    <a:pos x="62" y="157"/>
                  </a:cxn>
                  <a:cxn ang="0">
                    <a:pos x="71" y="91"/>
                  </a:cxn>
                  <a:cxn ang="0">
                    <a:pos x="74" y="9"/>
                  </a:cxn>
                  <a:cxn ang="0">
                    <a:pos x="84" y="0"/>
                  </a:cxn>
                </a:cxnLst>
                <a:rect l="0" t="0" r="r" b="b"/>
                <a:pathLst>
                  <a:path w="119" h="658">
                    <a:moveTo>
                      <a:pt x="84" y="0"/>
                    </a:moveTo>
                    <a:lnTo>
                      <a:pt x="84" y="0"/>
                    </a:lnTo>
                    <a:lnTo>
                      <a:pt x="87" y="4"/>
                    </a:lnTo>
                    <a:lnTo>
                      <a:pt x="88" y="4"/>
                    </a:lnTo>
                    <a:lnTo>
                      <a:pt x="90" y="7"/>
                    </a:lnTo>
                    <a:lnTo>
                      <a:pt x="93" y="20"/>
                    </a:lnTo>
                    <a:lnTo>
                      <a:pt x="98" y="26"/>
                    </a:lnTo>
                    <a:lnTo>
                      <a:pt x="98" y="29"/>
                    </a:lnTo>
                    <a:lnTo>
                      <a:pt x="98" y="30"/>
                    </a:lnTo>
                    <a:lnTo>
                      <a:pt x="98" y="32"/>
                    </a:lnTo>
                    <a:lnTo>
                      <a:pt x="98" y="33"/>
                    </a:lnTo>
                    <a:lnTo>
                      <a:pt x="98" y="35"/>
                    </a:lnTo>
                    <a:lnTo>
                      <a:pt x="98" y="35"/>
                    </a:lnTo>
                    <a:lnTo>
                      <a:pt x="96" y="35"/>
                    </a:lnTo>
                    <a:lnTo>
                      <a:pt x="96" y="36"/>
                    </a:lnTo>
                    <a:lnTo>
                      <a:pt x="96" y="41"/>
                    </a:lnTo>
                    <a:lnTo>
                      <a:pt x="97" y="42"/>
                    </a:lnTo>
                    <a:lnTo>
                      <a:pt x="98" y="42"/>
                    </a:lnTo>
                    <a:lnTo>
                      <a:pt x="98" y="46"/>
                    </a:lnTo>
                    <a:lnTo>
                      <a:pt x="98" y="48"/>
                    </a:lnTo>
                    <a:lnTo>
                      <a:pt x="101" y="51"/>
                    </a:lnTo>
                    <a:lnTo>
                      <a:pt x="103" y="57"/>
                    </a:lnTo>
                    <a:lnTo>
                      <a:pt x="104" y="60"/>
                    </a:lnTo>
                    <a:lnTo>
                      <a:pt x="107" y="80"/>
                    </a:lnTo>
                    <a:lnTo>
                      <a:pt x="109" y="81"/>
                    </a:lnTo>
                    <a:lnTo>
                      <a:pt x="114" y="81"/>
                    </a:lnTo>
                    <a:lnTo>
                      <a:pt x="116" y="80"/>
                    </a:lnTo>
                    <a:lnTo>
                      <a:pt x="117" y="80"/>
                    </a:lnTo>
                    <a:lnTo>
                      <a:pt x="117" y="81"/>
                    </a:lnTo>
                    <a:lnTo>
                      <a:pt x="119" y="81"/>
                    </a:lnTo>
                    <a:lnTo>
                      <a:pt x="119" y="81"/>
                    </a:lnTo>
                    <a:lnTo>
                      <a:pt x="119" y="83"/>
                    </a:lnTo>
                    <a:lnTo>
                      <a:pt x="117" y="99"/>
                    </a:lnTo>
                    <a:lnTo>
                      <a:pt x="100" y="106"/>
                    </a:lnTo>
                    <a:lnTo>
                      <a:pt x="100" y="115"/>
                    </a:lnTo>
                    <a:lnTo>
                      <a:pt x="98" y="116"/>
                    </a:lnTo>
                    <a:lnTo>
                      <a:pt x="98" y="118"/>
                    </a:lnTo>
                    <a:lnTo>
                      <a:pt x="101" y="142"/>
                    </a:lnTo>
                    <a:lnTo>
                      <a:pt x="101" y="144"/>
                    </a:lnTo>
                    <a:lnTo>
                      <a:pt x="98" y="145"/>
                    </a:lnTo>
                    <a:lnTo>
                      <a:pt x="93" y="150"/>
                    </a:lnTo>
                    <a:lnTo>
                      <a:pt x="91" y="155"/>
                    </a:lnTo>
                    <a:lnTo>
                      <a:pt x="85" y="163"/>
                    </a:lnTo>
                    <a:lnTo>
                      <a:pt x="78" y="198"/>
                    </a:lnTo>
                    <a:lnTo>
                      <a:pt x="77" y="199"/>
                    </a:lnTo>
                    <a:lnTo>
                      <a:pt x="77" y="202"/>
                    </a:lnTo>
                    <a:lnTo>
                      <a:pt x="75" y="203"/>
                    </a:lnTo>
                    <a:lnTo>
                      <a:pt x="72" y="211"/>
                    </a:lnTo>
                    <a:lnTo>
                      <a:pt x="72" y="212"/>
                    </a:lnTo>
                    <a:lnTo>
                      <a:pt x="71" y="222"/>
                    </a:lnTo>
                    <a:lnTo>
                      <a:pt x="72" y="224"/>
                    </a:lnTo>
                    <a:lnTo>
                      <a:pt x="72" y="232"/>
                    </a:lnTo>
                    <a:lnTo>
                      <a:pt x="77" y="241"/>
                    </a:lnTo>
                    <a:lnTo>
                      <a:pt x="77" y="246"/>
                    </a:lnTo>
                    <a:lnTo>
                      <a:pt x="78" y="248"/>
                    </a:lnTo>
                    <a:lnTo>
                      <a:pt x="80" y="263"/>
                    </a:lnTo>
                    <a:lnTo>
                      <a:pt x="75" y="272"/>
                    </a:lnTo>
                    <a:lnTo>
                      <a:pt x="74" y="279"/>
                    </a:lnTo>
                    <a:lnTo>
                      <a:pt x="74" y="280"/>
                    </a:lnTo>
                    <a:lnTo>
                      <a:pt x="71" y="282"/>
                    </a:lnTo>
                    <a:lnTo>
                      <a:pt x="71" y="296"/>
                    </a:lnTo>
                    <a:lnTo>
                      <a:pt x="69" y="298"/>
                    </a:lnTo>
                    <a:lnTo>
                      <a:pt x="68" y="299"/>
                    </a:lnTo>
                    <a:lnTo>
                      <a:pt x="68" y="301"/>
                    </a:lnTo>
                    <a:lnTo>
                      <a:pt x="68" y="302"/>
                    </a:lnTo>
                    <a:lnTo>
                      <a:pt x="67" y="302"/>
                    </a:lnTo>
                    <a:lnTo>
                      <a:pt x="65" y="302"/>
                    </a:lnTo>
                    <a:lnTo>
                      <a:pt x="64" y="305"/>
                    </a:lnTo>
                    <a:lnTo>
                      <a:pt x="62" y="336"/>
                    </a:lnTo>
                    <a:lnTo>
                      <a:pt x="64" y="339"/>
                    </a:lnTo>
                    <a:lnTo>
                      <a:pt x="64" y="341"/>
                    </a:lnTo>
                    <a:lnTo>
                      <a:pt x="62" y="344"/>
                    </a:lnTo>
                    <a:lnTo>
                      <a:pt x="59" y="347"/>
                    </a:lnTo>
                    <a:lnTo>
                      <a:pt x="51" y="392"/>
                    </a:lnTo>
                    <a:lnTo>
                      <a:pt x="52" y="397"/>
                    </a:lnTo>
                    <a:lnTo>
                      <a:pt x="53" y="398"/>
                    </a:lnTo>
                    <a:lnTo>
                      <a:pt x="53" y="400"/>
                    </a:lnTo>
                    <a:lnTo>
                      <a:pt x="53" y="404"/>
                    </a:lnTo>
                    <a:lnTo>
                      <a:pt x="51" y="410"/>
                    </a:lnTo>
                    <a:lnTo>
                      <a:pt x="49" y="424"/>
                    </a:lnTo>
                    <a:lnTo>
                      <a:pt x="49" y="426"/>
                    </a:lnTo>
                    <a:lnTo>
                      <a:pt x="51" y="427"/>
                    </a:lnTo>
                    <a:lnTo>
                      <a:pt x="51" y="436"/>
                    </a:lnTo>
                    <a:lnTo>
                      <a:pt x="52" y="439"/>
                    </a:lnTo>
                    <a:lnTo>
                      <a:pt x="53" y="442"/>
                    </a:lnTo>
                    <a:lnTo>
                      <a:pt x="52" y="450"/>
                    </a:lnTo>
                    <a:lnTo>
                      <a:pt x="52" y="452"/>
                    </a:lnTo>
                    <a:lnTo>
                      <a:pt x="53" y="452"/>
                    </a:lnTo>
                    <a:lnTo>
                      <a:pt x="58" y="453"/>
                    </a:lnTo>
                    <a:lnTo>
                      <a:pt x="59" y="455"/>
                    </a:lnTo>
                    <a:lnTo>
                      <a:pt x="59" y="458"/>
                    </a:lnTo>
                    <a:lnTo>
                      <a:pt x="59" y="459"/>
                    </a:lnTo>
                    <a:lnTo>
                      <a:pt x="52" y="459"/>
                    </a:lnTo>
                    <a:lnTo>
                      <a:pt x="51" y="459"/>
                    </a:lnTo>
                    <a:lnTo>
                      <a:pt x="52" y="462"/>
                    </a:lnTo>
                    <a:lnTo>
                      <a:pt x="55" y="463"/>
                    </a:lnTo>
                    <a:lnTo>
                      <a:pt x="58" y="466"/>
                    </a:lnTo>
                    <a:lnTo>
                      <a:pt x="58" y="469"/>
                    </a:lnTo>
                    <a:lnTo>
                      <a:pt x="55" y="472"/>
                    </a:lnTo>
                    <a:lnTo>
                      <a:pt x="55" y="497"/>
                    </a:lnTo>
                    <a:lnTo>
                      <a:pt x="43" y="520"/>
                    </a:lnTo>
                    <a:lnTo>
                      <a:pt x="43" y="525"/>
                    </a:lnTo>
                    <a:lnTo>
                      <a:pt x="43" y="525"/>
                    </a:lnTo>
                    <a:lnTo>
                      <a:pt x="43" y="527"/>
                    </a:lnTo>
                    <a:lnTo>
                      <a:pt x="45" y="527"/>
                    </a:lnTo>
                    <a:lnTo>
                      <a:pt x="45" y="532"/>
                    </a:lnTo>
                    <a:lnTo>
                      <a:pt x="45" y="533"/>
                    </a:lnTo>
                    <a:lnTo>
                      <a:pt x="45" y="535"/>
                    </a:lnTo>
                    <a:lnTo>
                      <a:pt x="42" y="545"/>
                    </a:lnTo>
                    <a:lnTo>
                      <a:pt x="35" y="556"/>
                    </a:lnTo>
                    <a:lnTo>
                      <a:pt x="35" y="556"/>
                    </a:lnTo>
                    <a:lnTo>
                      <a:pt x="30" y="581"/>
                    </a:lnTo>
                    <a:lnTo>
                      <a:pt x="30" y="583"/>
                    </a:lnTo>
                    <a:lnTo>
                      <a:pt x="32" y="588"/>
                    </a:lnTo>
                    <a:lnTo>
                      <a:pt x="33" y="588"/>
                    </a:lnTo>
                    <a:lnTo>
                      <a:pt x="35" y="587"/>
                    </a:lnTo>
                    <a:lnTo>
                      <a:pt x="35" y="586"/>
                    </a:lnTo>
                    <a:lnTo>
                      <a:pt x="37" y="584"/>
                    </a:lnTo>
                    <a:lnTo>
                      <a:pt x="42" y="586"/>
                    </a:lnTo>
                    <a:lnTo>
                      <a:pt x="43" y="584"/>
                    </a:lnTo>
                    <a:lnTo>
                      <a:pt x="43" y="584"/>
                    </a:lnTo>
                    <a:lnTo>
                      <a:pt x="45" y="584"/>
                    </a:lnTo>
                    <a:lnTo>
                      <a:pt x="45" y="584"/>
                    </a:lnTo>
                    <a:lnTo>
                      <a:pt x="46" y="609"/>
                    </a:lnTo>
                    <a:lnTo>
                      <a:pt x="49" y="615"/>
                    </a:lnTo>
                    <a:lnTo>
                      <a:pt x="52" y="616"/>
                    </a:lnTo>
                    <a:lnTo>
                      <a:pt x="67" y="616"/>
                    </a:lnTo>
                    <a:lnTo>
                      <a:pt x="68" y="616"/>
                    </a:lnTo>
                    <a:lnTo>
                      <a:pt x="81" y="616"/>
                    </a:lnTo>
                    <a:lnTo>
                      <a:pt x="101" y="622"/>
                    </a:lnTo>
                    <a:lnTo>
                      <a:pt x="101" y="622"/>
                    </a:lnTo>
                    <a:lnTo>
                      <a:pt x="101" y="622"/>
                    </a:lnTo>
                    <a:lnTo>
                      <a:pt x="96" y="622"/>
                    </a:lnTo>
                    <a:lnTo>
                      <a:pt x="91" y="620"/>
                    </a:lnTo>
                    <a:lnTo>
                      <a:pt x="90" y="619"/>
                    </a:lnTo>
                    <a:lnTo>
                      <a:pt x="85" y="622"/>
                    </a:lnTo>
                    <a:lnTo>
                      <a:pt x="84" y="625"/>
                    </a:lnTo>
                    <a:lnTo>
                      <a:pt x="80" y="626"/>
                    </a:lnTo>
                    <a:lnTo>
                      <a:pt x="75" y="629"/>
                    </a:lnTo>
                    <a:lnTo>
                      <a:pt x="72" y="631"/>
                    </a:lnTo>
                    <a:lnTo>
                      <a:pt x="71" y="631"/>
                    </a:lnTo>
                    <a:lnTo>
                      <a:pt x="67" y="632"/>
                    </a:lnTo>
                    <a:lnTo>
                      <a:pt x="64" y="655"/>
                    </a:lnTo>
                    <a:lnTo>
                      <a:pt x="64" y="657"/>
                    </a:lnTo>
                    <a:lnTo>
                      <a:pt x="62" y="657"/>
                    </a:lnTo>
                    <a:lnTo>
                      <a:pt x="61" y="658"/>
                    </a:lnTo>
                    <a:lnTo>
                      <a:pt x="58" y="657"/>
                    </a:lnTo>
                    <a:lnTo>
                      <a:pt x="55" y="655"/>
                    </a:lnTo>
                    <a:lnTo>
                      <a:pt x="51" y="654"/>
                    </a:lnTo>
                    <a:lnTo>
                      <a:pt x="48" y="651"/>
                    </a:lnTo>
                    <a:lnTo>
                      <a:pt x="46" y="648"/>
                    </a:lnTo>
                    <a:lnTo>
                      <a:pt x="46" y="645"/>
                    </a:lnTo>
                    <a:lnTo>
                      <a:pt x="48" y="645"/>
                    </a:lnTo>
                    <a:lnTo>
                      <a:pt x="49" y="647"/>
                    </a:lnTo>
                    <a:lnTo>
                      <a:pt x="49" y="648"/>
                    </a:lnTo>
                    <a:lnTo>
                      <a:pt x="51" y="647"/>
                    </a:lnTo>
                    <a:lnTo>
                      <a:pt x="52" y="645"/>
                    </a:lnTo>
                    <a:lnTo>
                      <a:pt x="53" y="644"/>
                    </a:lnTo>
                    <a:lnTo>
                      <a:pt x="56" y="644"/>
                    </a:lnTo>
                    <a:lnTo>
                      <a:pt x="61" y="639"/>
                    </a:lnTo>
                    <a:lnTo>
                      <a:pt x="64" y="635"/>
                    </a:lnTo>
                    <a:lnTo>
                      <a:pt x="61" y="633"/>
                    </a:lnTo>
                    <a:lnTo>
                      <a:pt x="56" y="628"/>
                    </a:lnTo>
                    <a:lnTo>
                      <a:pt x="49" y="626"/>
                    </a:lnTo>
                    <a:lnTo>
                      <a:pt x="45" y="628"/>
                    </a:lnTo>
                    <a:lnTo>
                      <a:pt x="43" y="629"/>
                    </a:lnTo>
                    <a:lnTo>
                      <a:pt x="43" y="628"/>
                    </a:lnTo>
                    <a:lnTo>
                      <a:pt x="43" y="626"/>
                    </a:lnTo>
                    <a:lnTo>
                      <a:pt x="39" y="628"/>
                    </a:lnTo>
                    <a:lnTo>
                      <a:pt x="39" y="626"/>
                    </a:lnTo>
                    <a:lnTo>
                      <a:pt x="40" y="625"/>
                    </a:lnTo>
                    <a:lnTo>
                      <a:pt x="43" y="623"/>
                    </a:lnTo>
                    <a:lnTo>
                      <a:pt x="43" y="620"/>
                    </a:lnTo>
                    <a:lnTo>
                      <a:pt x="43" y="618"/>
                    </a:lnTo>
                    <a:lnTo>
                      <a:pt x="40" y="615"/>
                    </a:lnTo>
                    <a:lnTo>
                      <a:pt x="43" y="613"/>
                    </a:lnTo>
                    <a:lnTo>
                      <a:pt x="43" y="609"/>
                    </a:lnTo>
                    <a:lnTo>
                      <a:pt x="37" y="603"/>
                    </a:lnTo>
                    <a:lnTo>
                      <a:pt x="35" y="602"/>
                    </a:lnTo>
                    <a:lnTo>
                      <a:pt x="33" y="602"/>
                    </a:lnTo>
                    <a:lnTo>
                      <a:pt x="40" y="607"/>
                    </a:lnTo>
                    <a:lnTo>
                      <a:pt x="40" y="609"/>
                    </a:lnTo>
                    <a:lnTo>
                      <a:pt x="39" y="610"/>
                    </a:lnTo>
                    <a:lnTo>
                      <a:pt x="37" y="609"/>
                    </a:lnTo>
                    <a:lnTo>
                      <a:pt x="35" y="607"/>
                    </a:lnTo>
                    <a:lnTo>
                      <a:pt x="35" y="607"/>
                    </a:lnTo>
                    <a:lnTo>
                      <a:pt x="36" y="610"/>
                    </a:lnTo>
                    <a:lnTo>
                      <a:pt x="35" y="613"/>
                    </a:lnTo>
                    <a:lnTo>
                      <a:pt x="35" y="615"/>
                    </a:lnTo>
                    <a:lnTo>
                      <a:pt x="30" y="604"/>
                    </a:lnTo>
                    <a:lnTo>
                      <a:pt x="32" y="609"/>
                    </a:lnTo>
                    <a:lnTo>
                      <a:pt x="32" y="616"/>
                    </a:lnTo>
                    <a:lnTo>
                      <a:pt x="30" y="616"/>
                    </a:lnTo>
                    <a:lnTo>
                      <a:pt x="29" y="615"/>
                    </a:lnTo>
                    <a:lnTo>
                      <a:pt x="29" y="612"/>
                    </a:lnTo>
                    <a:lnTo>
                      <a:pt x="29" y="606"/>
                    </a:lnTo>
                    <a:lnTo>
                      <a:pt x="27" y="600"/>
                    </a:lnTo>
                    <a:lnTo>
                      <a:pt x="20" y="594"/>
                    </a:lnTo>
                    <a:lnTo>
                      <a:pt x="20" y="591"/>
                    </a:lnTo>
                    <a:lnTo>
                      <a:pt x="20" y="588"/>
                    </a:lnTo>
                    <a:lnTo>
                      <a:pt x="23" y="588"/>
                    </a:lnTo>
                    <a:lnTo>
                      <a:pt x="26" y="588"/>
                    </a:lnTo>
                    <a:lnTo>
                      <a:pt x="26" y="586"/>
                    </a:lnTo>
                    <a:lnTo>
                      <a:pt x="24" y="584"/>
                    </a:lnTo>
                    <a:lnTo>
                      <a:pt x="24" y="586"/>
                    </a:lnTo>
                    <a:lnTo>
                      <a:pt x="23" y="586"/>
                    </a:lnTo>
                    <a:lnTo>
                      <a:pt x="22" y="584"/>
                    </a:lnTo>
                    <a:lnTo>
                      <a:pt x="20" y="583"/>
                    </a:lnTo>
                    <a:lnTo>
                      <a:pt x="20" y="580"/>
                    </a:lnTo>
                    <a:lnTo>
                      <a:pt x="24" y="581"/>
                    </a:lnTo>
                    <a:lnTo>
                      <a:pt x="22" y="578"/>
                    </a:lnTo>
                    <a:lnTo>
                      <a:pt x="19" y="578"/>
                    </a:lnTo>
                    <a:lnTo>
                      <a:pt x="17" y="577"/>
                    </a:lnTo>
                    <a:lnTo>
                      <a:pt x="16" y="575"/>
                    </a:lnTo>
                    <a:lnTo>
                      <a:pt x="14" y="572"/>
                    </a:lnTo>
                    <a:lnTo>
                      <a:pt x="17" y="570"/>
                    </a:lnTo>
                    <a:lnTo>
                      <a:pt x="17" y="565"/>
                    </a:lnTo>
                    <a:lnTo>
                      <a:pt x="19" y="564"/>
                    </a:lnTo>
                    <a:lnTo>
                      <a:pt x="19" y="562"/>
                    </a:lnTo>
                    <a:lnTo>
                      <a:pt x="22" y="559"/>
                    </a:lnTo>
                    <a:lnTo>
                      <a:pt x="24" y="561"/>
                    </a:lnTo>
                    <a:lnTo>
                      <a:pt x="24" y="561"/>
                    </a:lnTo>
                    <a:lnTo>
                      <a:pt x="24" y="559"/>
                    </a:lnTo>
                    <a:lnTo>
                      <a:pt x="23" y="558"/>
                    </a:lnTo>
                    <a:lnTo>
                      <a:pt x="23" y="556"/>
                    </a:lnTo>
                    <a:lnTo>
                      <a:pt x="24" y="549"/>
                    </a:lnTo>
                    <a:lnTo>
                      <a:pt x="24" y="551"/>
                    </a:lnTo>
                    <a:lnTo>
                      <a:pt x="22" y="552"/>
                    </a:lnTo>
                    <a:lnTo>
                      <a:pt x="20" y="556"/>
                    </a:lnTo>
                    <a:lnTo>
                      <a:pt x="19" y="556"/>
                    </a:lnTo>
                    <a:lnTo>
                      <a:pt x="17" y="542"/>
                    </a:lnTo>
                    <a:lnTo>
                      <a:pt x="19" y="542"/>
                    </a:lnTo>
                    <a:lnTo>
                      <a:pt x="20" y="542"/>
                    </a:lnTo>
                    <a:lnTo>
                      <a:pt x="17" y="539"/>
                    </a:lnTo>
                    <a:lnTo>
                      <a:pt x="19" y="536"/>
                    </a:lnTo>
                    <a:lnTo>
                      <a:pt x="23" y="536"/>
                    </a:lnTo>
                    <a:lnTo>
                      <a:pt x="24" y="539"/>
                    </a:lnTo>
                    <a:lnTo>
                      <a:pt x="24" y="533"/>
                    </a:lnTo>
                    <a:lnTo>
                      <a:pt x="23" y="535"/>
                    </a:lnTo>
                    <a:lnTo>
                      <a:pt x="17" y="536"/>
                    </a:lnTo>
                    <a:lnTo>
                      <a:pt x="16" y="535"/>
                    </a:lnTo>
                    <a:lnTo>
                      <a:pt x="16" y="532"/>
                    </a:lnTo>
                    <a:lnTo>
                      <a:pt x="14" y="530"/>
                    </a:lnTo>
                    <a:lnTo>
                      <a:pt x="14" y="525"/>
                    </a:lnTo>
                    <a:lnTo>
                      <a:pt x="17" y="526"/>
                    </a:lnTo>
                    <a:lnTo>
                      <a:pt x="19" y="530"/>
                    </a:lnTo>
                    <a:lnTo>
                      <a:pt x="19" y="527"/>
                    </a:lnTo>
                    <a:lnTo>
                      <a:pt x="20" y="526"/>
                    </a:lnTo>
                    <a:lnTo>
                      <a:pt x="26" y="527"/>
                    </a:lnTo>
                    <a:lnTo>
                      <a:pt x="29" y="530"/>
                    </a:lnTo>
                    <a:lnTo>
                      <a:pt x="32" y="530"/>
                    </a:lnTo>
                    <a:lnTo>
                      <a:pt x="27" y="527"/>
                    </a:lnTo>
                    <a:lnTo>
                      <a:pt x="24" y="519"/>
                    </a:lnTo>
                    <a:lnTo>
                      <a:pt x="24" y="522"/>
                    </a:lnTo>
                    <a:lnTo>
                      <a:pt x="20" y="522"/>
                    </a:lnTo>
                    <a:lnTo>
                      <a:pt x="19" y="520"/>
                    </a:lnTo>
                    <a:lnTo>
                      <a:pt x="20" y="519"/>
                    </a:lnTo>
                    <a:lnTo>
                      <a:pt x="22" y="517"/>
                    </a:lnTo>
                    <a:lnTo>
                      <a:pt x="16" y="514"/>
                    </a:lnTo>
                    <a:lnTo>
                      <a:pt x="16" y="513"/>
                    </a:lnTo>
                    <a:lnTo>
                      <a:pt x="16" y="511"/>
                    </a:lnTo>
                    <a:lnTo>
                      <a:pt x="22" y="509"/>
                    </a:lnTo>
                    <a:lnTo>
                      <a:pt x="20" y="507"/>
                    </a:lnTo>
                    <a:lnTo>
                      <a:pt x="22" y="504"/>
                    </a:lnTo>
                    <a:lnTo>
                      <a:pt x="22" y="504"/>
                    </a:lnTo>
                    <a:lnTo>
                      <a:pt x="20" y="501"/>
                    </a:lnTo>
                    <a:lnTo>
                      <a:pt x="17" y="498"/>
                    </a:lnTo>
                    <a:lnTo>
                      <a:pt x="14" y="498"/>
                    </a:lnTo>
                    <a:lnTo>
                      <a:pt x="13" y="501"/>
                    </a:lnTo>
                    <a:lnTo>
                      <a:pt x="11" y="501"/>
                    </a:lnTo>
                    <a:lnTo>
                      <a:pt x="8" y="500"/>
                    </a:lnTo>
                    <a:lnTo>
                      <a:pt x="6" y="497"/>
                    </a:lnTo>
                    <a:lnTo>
                      <a:pt x="1" y="498"/>
                    </a:lnTo>
                    <a:lnTo>
                      <a:pt x="3" y="500"/>
                    </a:lnTo>
                    <a:lnTo>
                      <a:pt x="3" y="501"/>
                    </a:lnTo>
                    <a:lnTo>
                      <a:pt x="3" y="504"/>
                    </a:lnTo>
                    <a:lnTo>
                      <a:pt x="0" y="503"/>
                    </a:lnTo>
                    <a:lnTo>
                      <a:pt x="0" y="501"/>
                    </a:lnTo>
                    <a:lnTo>
                      <a:pt x="0" y="495"/>
                    </a:lnTo>
                    <a:lnTo>
                      <a:pt x="4" y="493"/>
                    </a:lnTo>
                    <a:lnTo>
                      <a:pt x="7" y="490"/>
                    </a:lnTo>
                    <a:lnTo>
                      <a:pt x="8" y="490"/>
                    </a:lnTo>
                    <a:lnTo>
                      <a:pt x="11" y="488"/>
                    </a:lnTo>
                    <a:lnTo>
                      <a:pt x="11" y="487"/>
                    </a:lnTo>
                    <a:lnTo>
                      <a:pt x="10" y="485"/>
                    </a:lnTo>
                    <a:lnTo>
                      <a:pt x="8" y="487"/>
                    </a:lnTo>
                    <a:lnTo>
                      <a:pt x="8" y="485"/>
                    </a:lnTo>
                    <a:lnTo>
                      <a:pt x="7" y="484"/>
                    </a:lnTo>
                    <a:lnTo>
                      <a:pt x="7" y="482"/>
                    </a:lnTo>
                    <a:lnTo>
                      <a:pt x="11" y="481"/>
                    </a:lnTo>
                    <a:lnTo>
                      <a:pt x="14" y="482"/>
                    </a:lnTo>
                    <a:lnTo>
                      <a:pt x="14" y="482"/>
                    </a:lnTo>
                    <a:lnTo>
                      <a:pt x="17" y="481"/>
                    </a:lnTo>
                    <a:lnTo>
                      <a:pt x="20" y="484"/>
                    </a:lnTo>
                    <a:lnTo>
                      <a:pt x="19" y="485"/>
                    </a:lnTo>
                    <a:lnTo>
                      <a:pt x="20" y="487"/>
                    </a:lnTo>
                    <a:lnTo>
                      <a:pt x="20" y="485"/>
                    </a:lnTo>
                    <a:lnTo>
                      <a:pt x="22" y="487"/>
                    </a:lnTo>
                    <a:lnTo>
                      <a:pt x="19" y="491"/>
                    </a:lnTo>
                    <a:lnTo>
                      <a:pt x="20" y="493"/>
                    </a:lnTo>
                    <a:lnTo>
                      <a:pt x="22" y="493"/>
                    </a:lnTo>
                    <a:lnTo>
                      <a:pt x="23" y="491"/>
                    </a:lnTo>
                    <a:lnTo>
                      <a:pt x="24" y="490"/>
                    </a:lnTo>
                    <a:lnTo>
                      <a:pt x="24" y="495"/>
                    </a:lnTo>
                    <a:lnTo>
                      <a:pt x="26" y="494"/>
                    </a:lnTo>
                    <a:lnTo>
                      <a:pt x="26" y="493"/>
                    </a:lnTo>
                    <a:lnTo>
                      <a:pt x="29" y="490"/>
                    </a:lnTo>
                    <a:lnTo>
                      <a:pt x="30" y="490"/>
                    </a:lnTo>
                    <a:lnTo>
                      <a:pt x="30" y="488"/>
                    </a:lnTo>
                    <a:lnTo>
                      <a:pt x="32" y="482"/>
                    </a:lnTo>
                    <a:lnTo>
                      <a:pt x="32" y="481"/>
                    </a:lnTo>
                    <a:lnTo>
                      <a:pt x="30" y="482"/>
                    </a:lnTo>
                    <a:lnTo>
                      <a:pt x="27" y="488"/>
                    </a:lnTo>
                    <a:lnTo>
                      <a:pt x="29" y="482"/>
                    </a:lnTo>
                    <a:lnTo>
                      <a:pt x="29" y="481"/>
                    </a:lnTo>
                    <a:lnTo>
                      <a:pt x="29" y="481"/>
                    </a:lnTo>
                    <a:lnTo>
                      <a:pt x="33" y="479"/>
                    </a:lnTo>
                    <a:lnTo>
                      <a:pt x="30" y="479"/>
                    </a:lnTo>
                    <a:lnTo>
                      <a:pt x="30" y="478"/>
                    </a:lnTo>
                    <a:lnTo>
                      <a:pt x="32" y="477"/>
                    </a:lnTo>
                    <a:lnTo>
                      <a:pt x="33" y="475"/>
                    </a:lnTo>
                    <a:lnTo>
                      <a:pt x="33" y="475"/>
                    </a:lnTo>
                    <a:lnTo>
                      <a:pt x="32" y="475"/>
                    </a:lnTo>
                    <a:lnTo>
                      <a:pt x="29" y="477"/>
                    </a:lnTo>
                    <a:lnTo>
                      <a:pt x="29" y="474"/>
                    </a:lnTo>
                    <a:lnTo>
                      <a:pt x="32" y="471"/>
                    </a:lnTo>
                    <a:lnTo>
                      <a:pt x="32" y="471"/>
                    </a:lnTo>
                    <a:lnTo>
                      <a:pt x="37" y="474"/>
                    </a:lnTo>
                    <a:lnTo>
                      <a:pt x="39" y="474"/>
                    </a:lnTo>
                    <a:lnTo>
                      <a:pt x="39" y="472"/>
                    </a:lnTo>
                    <a:lnTo>
                      <a:pt x="36" y="472"/>
                    </a:lnTo>
                    <a:lnTo>
                      <a:pt x="33" y="469"/>
                    </a:lnTo>
                    <a:lnTo>
                      <a:pt x="30" y="469"/>
                    </a:lnTo>
                    <a:lnTo>
                      <a:pt x="32" y="465"/>
                    </a:lnTo>
                    <a:lnTo>
                      <a:pt x="32" y="463"/>
                    </a:lnTo>
                    <a:lnTo>
                      <a:pt x="35" y="463"/>
                    </a:lnTo>
                    <a:lnTo>
                      <a:pt x="37" y="463"/>
                    </a:lnTo>
                    <a:lnTo>
                      <a:pt x="40" y="461"/>
                    </a:lnTo>
                    <a:lnTo>
                      <a:pt x="40" y="459"/>
                    </a:lnTo>
                    <a:lnTo>
                      <a:pt x="40" y="455"/>
                    </a:lnTo>
                    <a:lnTo>
                      <a:pt x="39" y="452"/>
                    </a:lnTo>
                    <a:lnTo>
                      <a:pt x="37" y="452"/>
                    </a:lnTo>
                    <a:lnTo>
                      <a:pt x="35" y="449"/>
                    </a:lnTo>
                    <a:lnTo>
                      <a:pt x="33" y="449"/>
                    </a:lnTo>
                    <a:lnTo>
                      <a:pt x="32" y="447"/>
                    </a:lnTo>
                    <a:lnTo>
                      <a:pt x="32" y="447"/>
                    </a:lnTo>
                    <a:lnTo>
                      <a:pt x="33" y="447"/>
                    </a:lnTo>
                    <a:lnTo>
                      <a:pt x="33" y="446"/>
                    </a:lnTo>
                    <a:lnTo>
                      <a:pt x="35" y="445"/>
                    </a:lnTo>
                    <a:lnTo>
                      <a:pt x="36" y="442"/>
                    </a:lnTo>
                    <a:lnTo>
                      <a:pt x="37" y="439"/>
                    </a:lnTo>
                    <a:lnTo>
                      <a:pt x="37" y="439"/>
                    </a:lnTo>
                    <a:lnTo>
                      <a:pt x="37" y="436"/>
                    </a:lnTo>
                    <a:lnTo>
                      <a:pt x="36" y="434"/>
                    </a:lnTo>
                    <a:lnTo>
                      <a:pt x="36" y="433"/>
                    </a:lnTo>
                    <a:lnTo>
                      <a:pt x="36" y="432"/>
                    </a:lnTo>
                    <a:lnTo>
                      <a:pt x="36" y="430"/>
                    </a:lnTo>
                    <a:lnTo>
                      <a:pt x="37" y="429"/>
                    </a:lnTo>
                    <a:lnTo>
                      <a:pt x="39" y="424"/>
                    </a:lnTo>
                    <a:lnTo>
                      <a:pt x="39" y="418"/>
                    </a:lnTo>
                    <a:lnTo>
                      <a:pt x="40" y="416"/>
                    </a:lnTo>
                    <a:lnTo>
                      <a:pt x="42" y="417"/>
                    </a:lnTo>
                    <a:lnTo>
                      <a:pt x="40" y="416"/>
                    </a:lnTo>
                    <a:lnTo>
                      <a:pt x="40" y="413"/>
                    </a:lnTo>
                    <a:lnTo>
                      <a:pt x="40" y="410"/>
                    </a:lnTo>
                    <a:lnTo>
                      <a:pt x="43" y="411"/>
                    </a:lnTo>
                    <a:lnTo>
                      <a:pt x="45" y="414"/>
                    </a:lnTo>
                    <a:lnTo>
                      <a:pt x="43" y="405"/>
                    </a:lnTo>
                    <a:lnTo>
                      <a:pt x="42" y="405"/>
                    </a:lnTo>
                    <a:lnTo>
                      <a:pt x="39" y="405"/>
                    </a:lnTo>
                    <a:lnTo>
                      <a:pt x="40" y="402"/>
                    </a:lnTo>
                    <a:lnTo>
                      <a:pt x="42" y="401"/>
                    </a:lnTo>
                    <a:lnTo>
                      <a:pt x="45" y="400"/>
                    </a:lnTo>
                    <a:lnTo>
                      <a:pt x="46" y="398"/>
                    </a:lnTo>
                    <a:lnTo>
                      <a:pt x="46" y="398"/>
                    </a:lnTo>
                    <a:lnTo>
                      <a:pt x="43" y="400"/>
                    </a:lnTo>
                    <a:lnTo>
                      <a:pt x="42" y="400"/>
                    </a:lnTo>
                    <a:lnTo>
                      <a:pt x="40" y="398"/>
                    </a:lnTo>
                    <a:lnTo>
                      <a:pt x="39" y="397"/>
                    </a:lnTo>
                    <a:lnTo>
                      <a:pt x="36" y="397"/>
                    </a:lnTo>
                    <a:lnTo>
                      <a:pt x="35" y="397"/>
                    </a:lnTo>
                    <a:lnTo>
                      <a:pt x="35" y="400"/>
                    </a:lnTo>
                    <a:lnTo>
                      <a:pt x="33" y="400"/>
                    </a:lnTo>
                    <a:lnTo>
                      <a:pt x="30" y="401"/>
                    </a:lnTo>
                    <a:lnTo>
                      <a:pt x="26" y="400"/>
                    </a:lnTo>
                    <a:lnTo>
                      <a:pt x="26" y="398"/>
                    </a:lnTo>
                    <a:lnTo>
                      <a:pt x="26" y="397"/>
                    </a:lnTo>
                    <a:lnTo>
                      <a:pt x="24" y="395"/>
                    </a:lnTo>
                    <a:lnTo>
                      <a:pt x="24" y="394"/>
                    </a:lnTo>
                    <a:lnTo>
                      <a:pt x="24" y="381"/>
                    </a:lnTo>
                    <a:lnTo>
                      <a:pt x="26" y="378"/>
                    </a:lnTo>
                    <a:lnTo>
                      <a:pt x="26" y="366"/>
                    </a:lnTo>
                    <a:lnTo>
                      <a:pt x="29" y="365"/>
                    </a:lnTo>
                    <a:lnTo>
                      <a:pt x="29" y="363"/>
                    </a:lnTo>
                    <a:lnTo>
                      <a:pt x="30" y="362"/>
                    </a:lnTo>
                    <a:lnTo>
                      <a:pt x="32" y="359"/>
                    </a:lnTo>
                    <a:lnTo>
                      <a:pt x="30" y="346"/>
                    </a:lnTo>
                    <a:lnTo>
                      <a:pt x="27" y="341"/>
                    </a:lnTo>
                    <a:lnTo>
                      <a:pt x="27" y="340"/>
                    </a:lnTo>
                    <a:lnTo>
                      <a:pt x="27" y="340"/>
                    </a:lnTo>
                    <a:lnTo>
                      <a:pt x="29" y="334"/>
                    </a:lnTo>
                    <a:lnTo>
                      <a:pt x="26" y="327"/>
                    </a:lnTo>
                    <a:lnTo>
                      <a:pt x="27" y="318"/>
                    </a:lnTo>
                    <a:lnTo>
                      <a:pt x="29" y="315"/>
                    </a:lnTo>
                    <a:lnTo>
                      <a:pt x="32" y="317"/>
                    </a:lnTo>
                    <a:lnTo>
                      <a:pt x="33" y="315"/>
                    </a:lnTo>
                    <a:lnTo>
                      <a:pt x="33" y="307"/>
                    </a:lnTo>
                    <a:lnTo>
                      <a:pt x="35" y="307"/>
                    </a:lnTo>
                    <a:lnTo>
                      <a:pt x="35" y="308"/>
                    </a:lnTo>
                    <a:lnTo>
                      <a:pt x="36" y="307"/>
                    </a:lnTo>
                    <a:lnTo>
                      <a:pt x="51" y="270"/>
                    </a:lnTo>
                    <a:lnTo>
                      <a:pt x="51" y="266"/>
                    </a:lnTo>
                    <a:lnTo>
                      <a:pt x="51" y="266"/>
                    </a:lnTo>
                    <a:lnTo>
                      <a:pt x="52" y="259"/>
                    </a:lnTo>
                    <a:lnTo>
                      <a:pt x="53" y="256"/>
                    </a:lnTo>
                    <a:lnTo>
                      <a:pt x="53" y="247"/>
                    </a:lnTo>
                    <a:lnTo>
                      <a:pt x="56" y="241"/>
                    </a:lnTo>
                    <a:lnTo>
                      <a:pt x="55" y="199"/>
                    </a:lnTo>
                    <a:lnTo>
                      <a:pt x="58" y="196"/>
                    </a:lnTo>
                    <a:lnTo>
                      <a:pt x="59" y="192"/>
                    </a:lnTo>
                    <a:lnTo>
                      <a:pt x="55" y="180"/>
                    </a:lnTo>
                    <a:lnTo>
                      <a:pt x="56" y="179"/>
                    </a:lnTo>
                    <a:lnTo>
                      <a:pt x="59" y="173"/>
                    </a:lnTo>
                    <a:lnTo>
                      <a:pt x="62" y="157"/>
                    </a:lnTo>
                    <a:lnTo>
                      <a:pt x="64" y="154"/>
                    </a:lnTo>
                    <a:lnTo>
                      <a:pt x="64" y="148"/>
                    </a:lnTo>
                    <a:lnTo>
                      <a:pt x="67" y="147"/>
                    </a:lnTo>
                    <a:lnTo>
                      <a:pt x="68" y="134"/>
                    </a:lnTo>
                    <a:lnTo>
                      <a:pt x="68" y="126"/>
                    </a:lnTo>
                    <a:lnTo>
                      <a:pt x="69" y="122"/>
                    </a:lnTo>
                    <a:lnTo>
                      <a:pt x="71" y="121"/>
                    </a:lnTo>
                    <a:lnTo>
                      <a:pt x="71" y="91"/>
                    </a:lnTo>
                    <a:lnTo>
                      <a:pt x="69" y="89"/>
                    </a:lnTo>
                    <a:lnTo>
                      <a:pt x="71" y="84"/>
                    </a:lnTo>
                    <a:lnTo>
                      <a:pt x="72" y="83"/>
                    </a:lnTo>
                    <a:lnTo>
                      <a:pt x="72" y="83"/>
                    </a:lnTo>
                    <a:lnTo>
                      <a:pt x="74" y="81"/>
                    </a:lnTo>
                    <a:lnTo>
                      <a:pt x="77" y="58"/>
                    </a:lnTo>
                    <a:lnTo>
                      <a:pt x="71" y="10"/>
                    </a:lnTo>
                    <a:lnTo>
                      <a:pt x="74" y="9"/>
                    </a:lnTo>
                    <a:lnTo>
                      <a:pt x="74" y="7"/>
                    </a:lnTo>
                    <a:lnTo>
                      <a:pt x="78" y="7"/>
                    </a:lnTo>
                    <a:lnTo>
                      <a:pt x="80" y="7"/>
                    </a:lnTo>
                    <a:lnTo>
                      <a:pt x="81" y="7"/>
                    </a:lnTo>
                    <a:lnTo>
                      <a:pt x="81" y="4"/>
                    </a:lnTo>
                    <a:lnTo>
                      <a:pt x="83" y="1"/>
                    </a:lnTo>
                    <a:lnTo>
                      <a:pt x="83" y="1"/>
                    </a:lnTo>
                    <a:lnTo>
                      <a:pt x="84"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37" name="Freeform 237"/>
              <p:cNvSpPr>
                <a:spLocks/>
              </p:cNvSpPr>
              <p:nvPr/>
            </p:nvSpPr>
            <p:spPr bwMode="auto">
              <a:xfrm>
                <a:off x="5187623" y="4188358"/>
                <a:ext cx="35989" cy="63891"/>
              </a:xfrm>
              <a:custGeom>
                <a:avLst/>
                <a:gdLst/>
                <a:ahLst/>
                <a:cxnLst>
                  <a:cxn ang="0">
                    <a:pos x="37" y="58"/>
                  </a:cxn>
                  <a:cxn ang="0">
                    <a:pos x="35" y="59"/>
                  </a:cxn>
                  <a:cxn ang="0">
                    <a:pos x="29" y="58"/>
                  </a:cxn>
                  <a:cxn ang="0">
                    <a:pos x="19" y="58"/>
                  </a:cxn>
                  <a:cxn ang="0">
                    <a:pos x="10" y="56"/>
                  </a:cxn>
                  <a:cxn ang="0">
                    <a:pos x="8" y="56"/>
                  </a:cxn>
                  <a:cxn ang="0">
                    <a:pos x="8" y="55"/>
                  </a:cxn>
                  <a:cxn ang="0">
                    <a:pos x="6" y="54"/>
                  </a:cxn>
                  <a:cxn ang="0">
                    <a:pos x="5" y="52"/>
                  </a:cxn>
                  <a:cxn ang="0">
                    <a:pos x="0" y="52"/>
                  </a:cxn>
                  <a:cxn ang="0">
                    <a:pos x="2" y="51"/>
                  </a:cxn>
                  <a:cxn ang="0">
                    <a:pos x="5" y="48"/>
                  </a:cxn>
                  <a:cxn ang="0">
                    <a:pos x="6" y="46"/>
                  </a:cxn>
                  <a:cxn ang="0">
                    <a:pos x="9" y="46"/>
                  </a:cxn>
                  <a:cxn ang="0">
                    <a:pos x="9" y="43"/>
                  </a:cxn>
                  <a:cxn ang="0">
                    <a:pos x="6" y="39"/>
                  </a:cxn>
                  <a:cxn ang="0">
                    <a:pos x="16" y="48"/>
                  </a:cxn>
                  <a:cxn ang="0">
                    <a:pos x="19" y="46"/>
                  </a:cxn>
                  <a:cxn ang="0">
                    <a:pos x="16" y="43"/>
                  </a:cxn>
                  <a:cxn ang="0">
                    <a:pos x="21" y="46"/>
                  </a:cxn>
                  <a:cxn ang="0">
                    <a:pos x="24" y="43"/>
                  </a:cxn>
                  <a:cxn ang="0">
                    <a:pos x="26" y="45"/>
                  </a:cxn>
                  <a:cxn ang="0">
                    <a:pos x="28" y="43"/>
                  </a:cxn>
                  <a:cxn ang="0">
                    <a:pos x="19" y="39"/>
                  </a:cxn>
                  <a:cxn ang="0">
                    <a:pos x="18" y="29"/>
                  </a:cxn>
                  <a:cxn ang="0">
                    <a:pos x="22" y="27"/>
                  </a:cxn>
                  <a:cxn ang="0">
                    <a:pos x="29" y="23"/>
                  </a:cxn>
                  <a:cxn ang="0">
                    <a:pos x="26" y="20"/>
                  </a:cxn>
                  <a:cxn ang="0">
                    <a:pos x="18" y="23"/>
                  </a:cxn>
                  <a:cxn ang="0">
                    <a:pos x="13" y="19"/>
                  </a:cxn>
                  <a:cxn ang="0">
                    <a:pos x="15" y="11"/>
                  </a:cxn>
                  <a:cxn ang="0">
                    <a:pos x="18" y="13"/>
                  </a:cxn>
                  <a:cxn ang="0">
                    <a:pos x="16" y="8"/>
                  </a:cxn>
                  <a:cxn ang="0">
                    <a:pos x="13" y="7"/>
                  </a:cxn>
                  <a:cxn ang="0">
                    <a:pos x="19" y="7"/>
                  </a:cxn>
                  <a:cxn ang="0">
                    <a:pos x="24" y="6"/>
                  </a:cxn>
                  <a:cxn ang="0">
                    <a:pos x="28" y="0"/>
                  </a:cxn>
                  <a:cxn ang="0">
                    <a:pos x="32" y="4"/>
                  </a:cxn>
                  <a:cxn ang="0">
                    <a:pos x="38" y="1"/>
                  </a:cxn>
                  <a:cxn ang="0">
                    <a:pos x="39" y="58"/>
                  </a:cxn>
                </a:cxnLst>
                <a:rect l="0" t="0" r="r" b="b"/>
                <a:pathLst>
                  <a:path w="39" h="61">
                    <a:moveTo>
                      <a:pt x="39" y="58"/>
                    </a:moveTo>
                    <a:lnTo>
                      <a:pt x="37" y="58"/>
                    </a:lnTo>
                    <a:lnTo>
                      <a:pt x="38" y="59"/>
                    </a:lnTo>
                    <a:lnTo>
                      <a:pt x="35" y="59"/>
                    </a:lnTo>
                    <a:lnTo>
                      <a:pt x="34" y="61"/>
                    </a:lnTo>
                    <a:lnTo>
                      <a:pt x="29" y="58"/>
                    </a:lnTo>
                    <a:lnTo>
                      <a:pt x="21" y="56"/>
                    </a:lnTo>
                    <a:lnTo>
                      <a:pt x="19" y="58"/>
                    </a:lnTo>
                    <a:lnTo>
                      <a:pt x="16" y="58"/>
                    </a:lnTo>
                    <a:lnTo>
                      <a:pt x="10" y="56"/>
                    </a:lnTo>
                    <a:lnTo>
                      <a:pt x="9" y="56"/>
                    </a:lnTo>
                    <a:lnTo>
                      <a:pt x="8" y="56"/>
                    </a:lnTo>
                    <a:lnTo>
                      <a:pt x="8" y="55"/>
                    </a:lnTo>
                    <a:lnTo>
                      <a:pt x="8" y="55"/>
                    </a:lnTo>
                    <a:lnTo>
                      <a:pt x="6" y="55"/>
                    </a:lnTo>
                    <a:lnTo>
                      <a:pt x="6" y="54"/>
                    </a:lnTo>
                    <a:lnTo>
                      <a:pt x="8" y="52"/>
                    </a:lnTo>
                    <a:lnTo>
                      <a:pt x="5" y="52"/>
                    </a:lnTo>
                    <a:lnTo>
                      <a:pt x="3" y="52"/>
                    </a:lnTo>
                    <a:lnTo>
                      <a:pt x="0" y="52"/>
                    </a:lnTo>
                    <a:lnTo>
                      <a:pt x="2" y="52"/>
                    </a:lnTo>
                    <a:lnTo>
                      <a:pt x="2" y="51"/>
                    </a:lnTo>
                    <a:lnTo>
                      <a:pt x="0" y="49"/>
                    </a:lnTo>
                    <a:lnTo>
                      <a:pt x="5" y="48"/>
                    </a:lnTo>
                    <a:lnTo>
                      <a:pt x="5" y="46"/>
                    </a:lnTo>
                    <a:lnTo>
                      <a:pt x="6" y="46"/>
                    </a:lnTo>
                    <a:lnTo>
                      <a:pt x="8" y="45"/>
                    </a:lnTo>
                    <a:lnTo>
                      <a:pt x="9" y="46"/>
                    </a:lnTo>
                    <a:lnTo>
                      <a:pt x="9" y="45"/>
                    </a:lnTo>
                    <a:lnTo>
                      <a:pt x="9" y="43"/>
                    </a:lnTo>
                    <a:lnTo>
                      <a:pt x="6" y="40"/>
                    </a:lnTo>
                    <a:lnTo>
                      <a:pt x="6" y="39"/>
                    </a:lnTo>
                    <a:lnTo>
                      <a:pt x="15" y="46"/>
                    </a:lnTo>
                    <a:lnTo>
                      <a:pt x="16" y="48"/>
                    </a:lnTo>
                    <a:lnTo>
                      <a:pt x="18" y="46"/>
                    </a:lnTo>
                    <a:lnTo>
                      <a:pt x="19" y="46"/>
                    </a:lnTo>
                    <a:lnTo>
                      <a:pt x="16" y="45"/>
                    </a:lnTo>
                    <a:lnTo>
                      <a:pt x="16" y="43"/>
                    </a:lnTo>
                    <a:lnTo>
                      <a:pt x="18" y="42"/>
                    </a:lnTo>
                    <a:lnTo>
                      <a:pt x="21" y="46"/>
                    </a:lnTo>
                    <a:lnTo>
                      <a:pt x="22" y="43"/>
                    </a:lnTo>
                    <a:lnTo>
                      <a:pt x="24" y="43"/>
                    </a:lnTo>
                    <a:lnTo>
                      <a:pt x="26" y="46"/>
                    </a:lnTo>
                    <a:lnTo>
                      <a:pt x="26" y="45"/>
                    </a:lnTo>
                    <a:lnTo>
                      <a:pt x="29" y="45"/>
                    </a:lnTo>
                    <a:lnTo>
                      <a:pt x="28" y="43"/>
                    </a:lnTo>
                    <a:lnTo>
                      <a:pt x="19" y="40"/>
                    </a:lnTo>
                    <a:lnTo>
                      <a:pt x="19" y="39"/>
                    </a:lnTo>
                    <a:lnTo>
                      <a:pt x="18" y="30"/>
                    </a:lnTo>
                    <a:lnTo>
                      <a:pt x="18" y="29"/>
                    </a:lnTo>
                    <a:lnTo>
                      <a:pt x="21" y="29"/>
                    </a:lnTo>
                    <a:lnTo>
                      <a:pt x="22" y="27"/>
                    </a:lnTo>
                    <a:lnTo>
                      <a:pt x="28" y="26"/>
                    </a:lnTo>
                    <a:lnTo>
                      <a:pt x="29" y="23"/>
                    </a:lnTo>
                    <a:lnTo>
                      <a:pt x="28" y="20"/>
                    </a:lnTo>
                    <a:lnTo>
                      <a:pt x="26" y="20"/>
                    </a:lnTo>
                    <a:lnTo>
                      <a:pt x="22" y="20"/>
                    </a:lnTo>
                    <a:lnTo>
                      <a:pt x="18" y="23"/>
                    </a:lnTo>
                    <a:lnTo>
                      <a:pt x="13" y="20"/>
                    </a:lnTo>
                    <a:lnTo>
                      <a:pt x="13" y="19"/>
                    </a:lnTo>
                    <a:lnTo>
                      <a:pt x="13" y="13"/>
                    </a:lnTo>
                    <a:lnTo>
                      <a:pt x="15" y="11"/>
                    </a:lnTo>
                    <a:lnTo>
                      <a:pt x="16" y="13"/>
                    </a:lnTo>
                    <a:lnTo>
                      <a:pt x="18" y="13"/>
                    </a:lnTo>
                    <a:lnTo>
                      <a:pt x="18" y="11"/>
                    </a:lnTo>
                    <a:lnTo>
                      <a:pt x="16" y="8"/>
                    </a:lnTo>
                    <a:lnTo>
                      <a:pt x="16" y="7"/>
                    </a:lnTo>
                    <a:lnTo>
                      <a:pt x="13" y="7"/>
                    </a:lnTo>
                    <a:lnTo>
                      <a:pt x="18" y="6"/>
                    </a:lnTo>
                    <a:lnTo>
                      <a:pt x="19" y="7"/>
                    </a:lnTo>
                    <a:lnTo>
                      <a:pt x="21" y="7"/>
                    </a:lnTo>
                    <a:lnTo>
                      <a:pt x="24" y="6"/>
                    </a:lnTo>
                    <a:lnTo>
                      <a:pt x="25" y="1"/>
                    </a:lnTo>
                    <a:lnTo>
                      <a:pt x="28" y="0"/>
                    </a:lnTo>
                    <a:lnTo>
                      <a:pt x="29" y="4"/>
                    </a:lnTo>
                    <a:lnTo>
                      <a:pt x="32" y="4"/>
                    </a:lnTo>
                    <a:lnTo>
                      <a:pt x="35" y="3"/>
                    </a:lnTo>
                    <a:lnTo>
                      <a:pt x="38" y="1"/>
                    </a:lnTo>
                    <a:lnTo>
                      <a:pt x="39" y="4"/>
                    </a:lnTo>
                    <a:lnTo>
                      <a:pt x="39" y="58"/>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38" name="Freeform 238"/>
              <p:cNvSpPr>
                <a:spLocks/>
              </p:cNvSpPr>
              <p:nvPr/>
            </p:nvSpPr>
            <p:spPr bwMode="auto">
              <a:xfrm>
                <a:off x="5187623" y="4188358"/>
                <a:ext cx="35989" cy="63891"/>
              </a:xfrm>
              <a:custGeom>
                <a:avLst/>
                <a:gdLst/>
                <a:ahLst/>
                <a:cxnLst>
                  <a:cxn ang="0">
                    <a:pos x="37" y="58"/>
                  </a:cxn>
                  <a:cxn ang="0">
                    <a:pos x="35" y="59"/>
                  </a:cxn>
                  <a:cxn ang="0">
                    <a:pos x="29" y="58"/>
                  </a:cxn>
                  <a:cxn ang="0">
                    <a:pos x="19" y="58"/>
                  </a:cxn>
                  <a:cxn ang="0">
                    <a:pos x="10" y="56"/>
                  </a:cxn>
                  <a:cxn ang="0">
                    <a:pos x="8" y="56"/>
                  </a:cxn>
                  <a:cxn ang="0">
                    <a:pos x="8" y="55"/>
                  </a:cxn>
                  <a:cxn ang="0">
                    <a:pos x="6" y="54"/>
                  </a:cxn>
                  <a:cxn ang="0">
                    <a:pos x="5" y="52"/>
                  </a:cxn>
                  <a:cxn ang="0">
                    <a:pos x="0" y="52"/>
                  </a:cxn>
                  <a:cxn ang="0">
                    <a:pos x="2" y="51"/>
                  </a:cxn>
                  <a:cxn ang="0">
                    <a:pos x="5" y="48"/>
                  </a:cxn>
                  <a:cxn ang="0">
                    <a:pos x="6" y="46"/>
                  </a:cxn>
                  <a:cxn ang="0">
                    <a:pos x="9" y="46"/>
                  </a:cxn>
                  <a:cxn ang="0">
                    <a:pos x="9" y="43"/>
                  </a:cxn>
                  <a:cxn ang="0">
                    <a:pos x="6" y="39"/>
                  </a:cxn>
                  <a:cxn ang="0">
                    <a:pos x="16" y="48"/>
                  </a:cxn>
                  <a:cxn ang="0">
                    <a:pos x="19" y="46"/>
                  </a:cxn>
                  <a:cxn ang="0">
                    <a:pos x="16" y="43"/>
                  </a:cxn>
                  <a:cxn ang="0">
                    <a:pos x="21" y="46"/>
                  </a:cxn>
                  <a:cxn ang="0">
                    <a:pos x="24" y="43"/>
                  </a:cxn>
                  <a:cxn ang="0">
                    <a:pos x="26" y="45"/>
                  </a:cxn>
                  <a:cxn ang="0">
                    <a:pos x="28" y="43"/>
                  </a:cxn>
                  <a:cxn ang="0">
                    <a:pos x="19" y="39"/>
                  </a:cxn>
                  <a:cxn ang="0">
                    <a:pos x="18" y="29"/>
                  </a:cxn>
                  <a:cxn ang="0">
                    <a:pos x="22" y="27"/>
                  </a:cxn>
                  <a:cxn ang="0">
                    <a:pos x="29" y="23"/>
                  </a:cxn>
                  <a:cxn ang="0">
                    <a:pos x="26" y="20"/>
                  </a:cxn>
                  <a:cxn ang="0">
                    <a:pos x="18" y="23"/>
                  </a:cxn>
                  <a:cxn ang="0">
                    <a:pos x="13" y="19"/>
                  </a:cxn>
                  <a:cxn ang="0">
                    <a:pos x="15" y="11"/>
                  </a:cxn>
                  <a:cxn ang="0">
                    <a:pos x="18" y="13"/>
                  </a:cxn>
                  <a:cxn ang="0">
                    <a:pos x="16" y="8"/>
                  </a:cxn>
                  <a:cxn ang="0">
                    <a:pos x="13" y="7"/>
                  </a:cxn>
                  <a:cxn ang="0">
                    <a:pos x="19" y="7"/>
                  </a:cxn>
                  <a:cxn ang="0">
                    <a:pos x="24" y="6"/>
                  </a:cxn>
                  <a:cxn ang="0">
                    <a:pos x="28" y="0"/>
                  </a:cxn>
                  <a:cxn ang="0">
                    <a:pos x="32" y="4"/>
                  </a:cxn>
                  <a:cxn ang="0">
                    <a:pos x="38" y="1"/>
                  </a:cxn>
                  <a:cxn ang="0">
                    <a:pos x="39" y="58"/>
                  </a:cxn>
                </a:cxnLst>
                <a:rect l="0" t="0" r="r" b="b"/>
                <a:pathLst>
                  <a:path w="39" h="61">
                    <a:moveTo>
                      <a:pt x="39" y="58"/>
                    </a:moveTo>
                    <a:lnTo>
                      <a:pt x="37" y="58"/>
                    </a:lnTo>
                    <a:lnTo>
                      <a:pt x="38" y="59"/>
                    </a:lnTo>
                    <a:lnTo>
                      <a:pt x="35" y="59"/>
                    </a:lnTo>
                    <a:lnTo>
                      <a:pt x="34" y="61"/>
                    </a:lnTo>
                    <a:lnTo>
                      <a:pt x="29" y="58"/>
                    </a:lnTo>
                    <a:lnTo>
                      <a:pt x="21" y="56"/>
                    </a:lnTo>
                    <a:lnTo>
                      <a:pt x="19" y="58"/>
                    </a:lnTo>
                    <a:lnTo>
                      <a:pt x="16" y="58"/>
                    </a:lnTo>
                    <a:lnTo>
                      <a:pt x="10" y="56"/>
                    </a:lnTo>
                    <a:lnTo>
                      <a:pt x="9" y="56"/>
                    </a:lnTo>
                    <a:lnTo>
                      <a:pt x="8" y="56"/>
                    </a:lnTo>
                    <a:lnTo>
                      <a:pt x="8" y="55"/>
                    </a:lnTo>
                    <a:lnTo>
                      <a:pt x="8" y="55"/>
                    </a:lnTo>
                    <a:lnTo>
                      <a:pt x="6" y="55"/>
                    </a:lnTo>
                    <a:lnTo>
                      <a:pt x="6" y="54"/>
                    </a:lnTo>
                    <a:lnTo>
                      <a:pt x="8" y="52"/>
                    </a:lnTo>
                    <a:lnTo>
                      <a:pt x="5" y="52"/>
                    </a:lnTo>
                    <a:lnTo>
                      <a:pt x="3" y="52"/>
                    </a:lnTo>
                    <a:lnTo>
                      <a:pt x="0" y="52"/>
                    </a:lnTo>
                    <a:lnTo>
                      <a:pt x="2" y="52"/>
                    </a:lnTo>
                    <a:lnTo>
                      <a:pt x="2" y="51"/>
                    </a:lnTo>
                    <a:lnTo>
                      <a:pt x="0" y="49"/>
                    </a:lnTo>
                    <a:lnTo>
                      <a:pt x="5" y="48"/>
                    </a:lnTo>
                    <a:lnTo>
                      <a:pt x="5" y="46"/>
                    </a:lnTo>
                    <a:lnTo>
                      <a:pt x="6" y="46"/>
                    </a:lnTo>
                    <a:lnTo>
                      <a:pt x="8" y="45"/>
                    </a:lnTo>
                    <a:lnTo>
                      <a:pt x="9" y="46"/>
                    </a:lnTo>
                    <a:lnTo>
                      <a:pt x="9" y="45"/>
                    </a:lnTo>
                    <a:lnTo>
                      <a:pt x="9" y="43"/>
                    </a:lnTo>
                    <a:lnTo>
                      <a:pt x="6" y="40"/>
                    </a:lnTo>
                    <a:lnTo>
                      <a:pt x="6" y="39"/>
                    </a:lnTo>
                    <a:lnTo>
                      <a:pt x="15" y="46"/>
                    </a:lnTo>
                    <a:lnTo>
                      <a:pt x="16" y="48"/>
                    </a:lnTo>
                    <a:lnTo>
                      <a:pt x="18" y="46"/>
                    </a:lnTo>
                    <a:lnTo>
                      <a:pt x="19" y="46"/>
                    </a:lnTo>
                    <a:lnTo>
                      <a:pt x="16" y="45"/>
                    </a:lnTo>
                    <a:lnTo>
                      <a:pt x="16" y="43"/>
                    </a:lnTo>
                    <a:lnTo>
                      <a:pt x="18" y="42"/>
                    </a:lnTo>
                    <a:lnTo>
                      <a:pt x="21" y="46"/>
                    </a:lnTo>
                    <a:lnTo>
                      <a:pt x="22" y="43"/>
                    </a:lnTo>
                    <a:lnTo>
                      <a:pt x="24" y="43"/>
                    </a:lnTo>
                    <a:lnTo>
                      <a:pt x="26" y="46"/>
                    </a:lnTo>
                    <a:lnTo>
                      <a:pt x="26" y="45"/>
                    </a:lnTo>
                    <a:lnTo>
                      <a:pt x="29" y="45"/>
                    </a:lnTo>
                    <a:lnTo>
                      <a:pt x="28" y="43"/>
                    </a:lnTo>
                    <a:lnTo>
                      <a:pt x="19" y="40"/>
                    </a:lnTo>
                    <a:lnTo>
                      <a:pt x="19" y="39"/>
                    </a:lnTo>
                    <a:lnTo>
                      <a:pt x="18" y="30"/>
                    </a:lnTo>
                    <a:lnTo>
                      <a:pt x="18" y="29"/>
                    </a:lnTo>
                    <a:lnTo>
                      <a:pt x="21" y="29"/>
                    </a:lnTo>
                    <a:lnTo>
                      <a:pt x="22" y="27"/>
                    </a:lnTo>
                    <a:lnTo>
                      <a:pt x="28" y="26"/>
                    </a:lnTo>
                    <a:lnTo>
                      <a:pt x="29" y="23"/>
                    </a:lnTo>
                    <a:lnTo>
                      <a:pt x="28" y="20"/>
                    </a:lnTo>
                    <a:lnTo>
                      <a:pt x="26" y="20"/>
                    </a:lnTo>
                    <a:lnTo>
                      <a:pt x="22" y="20"/>
                    </a:lnTo>
                    <a:lnTo>
                      <a:pt x="18" y="23"/>
                    </a:lnTo>
                    <a:lnTo>
                      <a:pt x="13" y="20"/>
                    </a:lnTo>
                    <a:lnTo>
                      <a:pt x="13" y="19"/>
                    </a:lnTo>
                    <a:lnTo>
                      <a:pt x="13" y="13"/>
                    </a:lnTo>
                    <a:lnTo>
                      <a:pt x="15" y="11"/>
                    </a:lnTo>
                    <a:lnTo>
                      <a:pt x="16" y="13"/>
                    </a:lnTo>
                    <a:lnTo>
                      <a:pt x="18" y="13"/>
                    </a:lnTo>
                    <a:lnTo>
                      <a:pt x="18" y="11"/>
                    </a:lnTo>
                    <a:lnTo>
                      <a:pt x="16" y="8"/>
                    </a:lnTo>
                    <a:lnTo>
                      <a:pt x="16" y="7"/>
                    </a:lnTo>
                    <a:lnTo>
                      <a:pt x="13" y="7"/>
                    </a:lnTo>
                    <a:lnTo>
                      <a:pt x="18" y="6"/>
                    </a:lnTo>
                    <a:lnTo>
                      <a:pt x="19" y="7"/>
                    </a:lnTo>
                    <a:lnTo>
                      <a:pt x="21" y="7"/>
                    </a:lnTo>
                    <a:lnTo>
                      <a:pt x="24" y="6"/>
                    </a:lnTo>
                    <a:lnTo>
                      <a:pt x="25" y="1"/>
                    </a:lnTo>
                    <a:lnTo>
                      <a:pt x="28" y="0"/>
                    </a:lnTo>
                    <a:lnTo>
                      <a:pt x="29" y="4"/>
                    </a:lnTo>
                    <a:lnTo>
                      <a:pt x="32" y="4"/>
                    </a:lnTo>
                    <a:lnTo>
                      <a:pt x="35" y="3"/>
                    </a:lnTo>
                    <a:lnTo>
                      <a:pt x="38" y="1"/>
                    </a:lnTo>
                    <a:lnTo>
                      <a:pt x="39" y="4"/>
                    </a:lnTo>
                    <a:lnTo>
                      <a:pt x="39" y="58"/>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39" name="Freeform 239"/>
              <p:cNvSpPr>
                <a:spLocks/>
              </p:cNvSpPr>
              <p:nvPr/>
            </p:nvSpPr>
            <p:spPr bwMode="auto">
              <a:xfrm>
                <a:off x="6387576" y="1803119"/>
                <a:ext cx="140448" cy="362045"/>
              </a:xfrm>
              <a:custGeom>
                <a:avLst/>
                <a:gdLst/>
                <a:ahLst/>
                <a:cxnLst>
                  <a:cxn ang="0">
                    <a:pos x="19" y="61"/>
                  </a:cxn>
                  <a:cxn ang="0">
                    <a:pos x="41" y="93"/>
                  </a:cxn>
                  <a:cxn ang="0">
                    <a:pos x="43" y="113"/>
                  </a:cxn>
                  <a:cxn ang="0">
                    <a:pos x="45" y="138"/>
                  </a:cxn>
                  <a:cxn ang="0">
                    <a:pos x="53" y="159"/>
                  </a:cxn>
                  <a:cxn ang="0">
                    <a:pos x="57" y="161"/>
                  </a:cxn>
                  <a:cxn ang="0">
                    <a:pos x="69" y="177"/>
                  </a:cxn>
                  <a:cxn ang="0">
                    <a:pos x="67" y="191"/>
                  </a:cxn>
                  <a:cxn ang="0">
                    <a:pos x="59" y="194"/>
                  </a:cxn>
                  <a:cxn ang="0">
                    <a:pos x="27" y="242"/>
                  </a:cxn>
                  <a:cxn ang="0">
                    <a:pos x="16" y="245"/>
                  </a:cxn>
                  <a:cxn ang="0">
                    <a:pos x="11" y="252"/>
                  </a:cxn>
                  <a:cxn ang="0">
                    <a:pos x="8" y="257"/>
                  </a:cxn>
                  <a:cxn ang="0">
                    <a:pos x="9" y="276"/>
                  </a:cxn>
                  <a:cxn ang="0">
                    <a:pos x="12" y="295"/>
                  </a:cxn>
                  <a:cxn ang="0">
                    <a:pos x="14" y="298"/>
                  </a:cxn>
                  <a:cxn ang="0">
                    <a:pos x="11" y="302"/>
                  </a:cxn>
                  <a:cxn ang="0">
                    <a:pos x="9" y="312"/>
                  </a:cxn>
                  <a:cxn ang="0">
                    <a:pos x="9" y="318"/>
                  </a:cxn>
                  <a:cxn ang="0">
                    <a:pos x="11" y="322"/>
                  </a:cxn>
                  <a:cxn ang="0">
                    <a:pos x="25" y="331"/>
                  </a:cxn>
                  <a:cxn ang="0">
                    <a:pos x="31" y="332"/>
                  </a:cxn>
                  <a:cxn ang="0">
                    <a:pos x="34" y="343"/>
                  </a:cxn>
                  <a:cxn ang="0">
                    <a:pos x="34" y="347"/>
                  </a:cxn>
                  <a:cxn ang="0">
                    <a:pos x="40" y="344"/>
                  </a:cxn>
                  <a:cxn ang="0">
                    <a:pos x="51" y="340"/>
                  </a:cxn>
                  <a:cxn ang="0">
                    <a:pos x="60" y="337"/>
                  </a:cxn>
                  <a:cxn ang="0">
                    <a:pos x="70" y="331"/>
                  </a:cxn>
                  <a:cxn ang="0">
                    <a:pos x="76" y="329"/>
                  </a:cxn>
                  <a:cxn ang="0">
                    <a:pos x="86" y="329"/>
                  </a:cxn>
                  <a:cxn ang="0">
                    <a:pos x="99" y="327"/>
                  </a:cxn>
                  <a:cxn ang="0">
                    <a:pos x="154" y="263"/>
                  </a:cxn>
                  <a:cxn ang="0">
                    <a:pos x="149" y="245"/>
                  </a:cxn>
                  <a:cxn ang="0">
                    <a:pos x="143" y="218"/>
                  </a:cxn>
                  <a:cxn ang="0">
                    <a:pos x="137" y="200"/>
                  </a:cxn>
                  <a:cxn ang="0">
                    <a:pos x="133" y="186"/>
                  </a:cxn>
                  <a:cxn ang="0">
                    <a:pos x="137" y="165"/>
                  </a:cxn>
                  <a:cxn ang="0">
                    <a:pos x="134" y="91"/>
                  </a:cxn>
                  <a:cxn ang="0">
                    <a:pos x="117" y="74"/>
                  </a:cxn>
                  <a:cxn ang="0">
                    <a:pos x="115" y="49"/>
                  </a:cxn>
                  <a:cxn ang="0">
                    <a:pos x="118" y="36"/>
                  </a:cxn>
                  <a:cxn ang="0">
                    <a:pos x="118" y="10"/>
                  </a:cxn>
                  <a:cxn ang="0">
                    <a:pos x="106" y="0"/>
                  </a:cxn>
                  <a:cxn ang="0">
                    <a:pos x="74" y="20"/>
                  </a:cxn>
                  <a:cxn ang="0">
                    <a:pos x="57" y="56"/>
                  </a:cxn>
                  <a:cxn ang="0">
                    <a:pos x="44" y="53"/>
                  </a:cxn>
                  <a:cxn ang="0">
                    <a:pos x="27" y="52"/>
                  </a:cxn>
                  <a:cxn ang="0">
                    <a:pos x="11" y="30"/>
                  </a:cxn>
                  <a:cxn ang="0">
                    <a:pos x="3" y="37"/>
                  </a:cxn>
                </a:cxnLst>
                <a:rect l="0" t="0" r="r" b="b"/>
                <a:pathLst>
                  <a:path w="154" h="347">
                    <a:moveTo>
                      <a:pt x="0" y="40"/>
                    </a:moveTo>
                    <a:lnTo>
                      <a:pt x="0" y="40"/>
                    </a:lnTo>
                    <a:lnTo>
                      <a:pt x="2" y="42"/>
                    </a:lnTo>
                    <a:lnTo>
                      <a:pt x="19" y="61"/>
                    </a:lnTo>
                    <a:lnTo>
                      <a:pt x="29" y="64"/>
                    </a:lnTo>
                    <a:lnTo>
                      <a:pt x="34" y="68"/>
                    </a:lnTo>
                    <a:lnTo>
                      <a:pt x="43" y="85"/>
                    </a:lnTo>
                    <a:lnTo>
                      <a:pt x="41" y="93"/>
                    </a:lnTo>
                    <a:lnTo>
                      <a:pt x="41" y="101"/>
                    </a:lnTo>
                    <a:lnTo>
                      <a:pt x="43" y="103"/>
                    </a:lnTo>
                    <a:lnTo>
                      <a:pt x="44" y="107"/>
                    </a:lnTo>
                    <a:lnTo>
                      <a:pt x="43" y="113"/>
                    </a:lnTo>
                    <a:lnTo>
                      <a:pt x="43" y="117"/>
                    </a:lnTo>
                    <a:lnTo>
                      <a:pt x="48" y="129"/>
                    </a:lnTo>
                    <a:lnTo>
                      <a:pt x="48" y="135"/>
                    </a:lnTo>
                    <a:lnTo>
                      <a:pt x="45" y="138"/>
                    </a:lnTo>
                    <a:lnTo>
                      <a:pt x="44" y="142"/>
                    </a:lnTo>
                    <a:lnTo>
                      <a:pt x="50" y="157"/>
                    </a:lnTo>
                    <a:lnTo>
                      <a:pt x="51" y="159"/>
                    </a:lnTo>
                    <a:lnTo>
                      <a:pt x="53" y="159"/>
                    </a:lnTo>
                    <a:lnTo>
                      <a:pt x="53" y="161"/>
                    </a:lnTo>
                    <a:lnTo>
                      <a:pt x="56" y="162"/>
                    </a:lnTo>
                    <a:lnTo>
                      <a:pt x="57" y="161"/>
                    </a:lnTo>
                    <a:lnTo>
                      <a:pt x="57" y="161"/>
                    </a:lnTo>
                    <a:lnTo>
                      <a:pt x="59" y="165"/>
                    </a:lnTo>
                    <a:lnTo>
                      <a:pt x="63" y="168"/>
                    </a:lnTo>
                    <a:lnTo>
                      <a:pt x="67" y="174"/>
                    </a:lnTo>
                    <a:lnTo>
                      <a:pt x="69" y="177"/>
                    </a:lnTo>
                    <a:lnTo>
                      <a:pt x="67" y="186"/>
                    </a:lnTo>
                    <a:lnTo>
                      <a:pt x="70" y="190"/>
                    </a:lnTo>
                    <a:lnTo>
                      <a:pt x="69" y="190"/>
                    </a:lnTo>
                    <a:lnTo>
                      <a:pt x="67" y="191"/>
                    </a:lnTo>
                    <a:lnTo>
                      <a:pt x="69" y="194"/>
                    </a:lnTo>
                    <a:lnTo>
                      <a:pt x="66" y="193"/>
                    </a:lnTo>
                    <a:lnTo>
                      <a:pt x="63" y="193"/>
                    </a:lnTo>
                    <a:lnTo>
                      <a:pt x="59" y="194"/>
                    </a:lnTo>
                    <a:lnTo>
                      <a:pt x="56" y="205"/>
                    </a:lnTo>
                    <a:lnTo>
                      <a:pt x="31" y="238"/>
                    </a:lnTo>
                    <a:lnTo>
                      <a:pt x="28" y="239"/>
                    </a:lnTo>
                    <a:lnTo>
                      <a:pt x="27" y="242"/>
                    </a:lnTo>
                    <a:lnTo>
                      <a:pt x="25" y="244"/>
                    </a:lnTo>
                    <a:lnTo>
                      <a:pt x="24" y="247"/>
                    </a:lnTo>
                    <a:lnTo>
                      <a:pt x="18" y="247"/>
                    </a:lnTo>
                    <a:lnTo>
                      <a:pt x="16" y="245"/>
                    </a:lnTo>
                    <a:lnTo>
                      <a:pt x="15" y="250"/>
                    </a:lnTo>
                    <a:lnTo>
                      <a:pt x="16" y="252"/>
                    </a:lnTo>
                    <a:lnTo>
                      <a:pt x="15" y="252"/>
                    </a:lnTo>
                    <a:lnTo>
                      <a:pt x="11" y="252"/>
                    </a:lnTo>
                    <a:lnTo>
                      <a:pt x="11" y="254"/>
                    </a:lnTo>
                    <a:lnTo>
                      <a:pt x="11" y="257"/>
                    </a:lnTo>
                    <a:lnTo>
                      <a:pt x="9" y="257"/>
                    </a:lnTo>
                    <a:lnTo>
                      <a:pt x="8" y="257"/>
                    </a:lnTo>
                    <a:lnTo>
                      <a:pt x="6" y="264"/>
                    </a:lnTo>
                    <a:lnTo>
                      <a:pt x="6" y="271"/>
                    </a:lnTo>
                    <a:lnTo>
                      <a:pt x="8" y="273"/>
                    </a:lnTo>
                    <a:lnTo>
                      <a:pt x="9" y="276"/>
                    </a:lnTo>
                    <a:lnTo>
                      <a:pt x="8" y="283"/>
                    </a:lnTo>
                    <a:lnTo>
                      <a:pt x="9" y="286"/>
                    </a:lnTo>
                    <a:lnTo>
                      <a:pt x="11" y="287"/>
                    </a:lnTo>
                    <a:lnTo>
                      <a:pt x="12" y="295"/>
                    </a:lnTo>
                    <a:lnTo>
                      <a:pt x="14" y="296"/>
                    </a:lnTo>
                    <a:lnTo>
                      <a:pt x="15" y="298"/>
                    </a:lnTo>
                    <a:lnTo>
                      <a:pt x="15" y="299"/>
                    </a:lnTo>
                    <a:lnTo>
                      <a:pt x="14" y="298"/>
                    </a:lnTo>
                    <a:lnTo>
                      <a:pt x="12" y="298"/>
                    </a:lnTo>
                    <a:lnTo>
                      <a:pt x="12" y="299"/>
                    </a:lnTo>
                    <a:lnTo>
                      <a:pt x="12" y="300"/>
                    </a:lnTo>
                    <a:lnTo>
                      <a:pt x="11" y="302"/>
                    </a:lnTo>
                    <a:lnTo>
                      <a:pt x="12" y="305"/>
                    </a:lnTo>
                    <a:lnTo>
                      <a:pt x="12" y="308"/>
                    </a:lnTo>
                    <a:lnTo>
                      <a:pt x="11" y="312"/>
                    </a:lnTo>
                    <a:lnTo>
                      <a:pt x="9" y="312"/>
                    </a:lnTo>
                    <a:lnTo>
                      <a:pt x="9" y="315"/>
                    </a:lnTo>
                    <a:lnTo>
                      <a:pt x="9" y="316"/>
                    </a:lnTo>
                    <a:lnTo>
                      <a:pt x="9" y="318"/>
                    </a:lnTo>
                    <a:lnTo>
                      <a:pt x="9" y="318"/>
                    </a:lnTo>
                    <a:lnTo>
                      <a:pt x="9" y="319"/>
                    </a:lnTo>
                    <a:lnTo>
                      <a:pt x="12" y="321"/>
                    </a:lnTo>
                    <a:lnTo>
                      <a:pt x="12" y="322"/>
                    </a:lnTo>
                    <a:lnTo>
                      <a:pt x="11" y="322"/>
                    </a:lnTo>
                    <a:lnTo>
                      <a:pt x="11" y="324"/>
                    </a:lnTo>
                    <a:lnTo>
                      <a:pt x="14" y="324"/>
                    </a:lnTo>
                    <a:lnTo>
                      <a:pt x="18" y="328"/>
                    </a:lnTo>
                    <a:lnTo>
                      <a:pt x="25" y="331"/>
                    </a:lnTo>
                    <a:lnTo>
                      <a:pt x="27" y="331"/>
                    </a:lnTo>
                    <a:lnTo>
                      <a:pt x="25" y="334"/>
                    </a:lnTo>
                    <a:lnTo>
                      <a:pt x="28" y="335"/>
                    </a:lnTo>
                    <a:lnTo>
                      <a:pt x="31" y="332"/>
                    </a:lnTo>
                    <a:lnTo>
                      <a:pt x="32" y="334"/>
                    </a:lnTo>
                    <a:lnTo>
                      <a:pt x="32" y="337"/>
                    </a:lnTo>
                    <a:lnTo>
                      <a:pt x="34" y="341"/>
                    </a:lnTo>
                    <a:lnTo>
                      <a:pt x="34" y="343"/>
                    </a:lnTo>
                    <a:lnTo>
                      <a:pt x="35" y="344"/>
                    </a:lnTo>
                    <a:lnTo>
                      <a:pt x="35" y="345"/>
                    </a:lnTo>
                    <a:lnTo>
                      <a:pt x="32" y="347"/>
                    </a:lnTo>
                    <a:lnTo>
                      <a:pt x="34" y="347"/>
                    </a:lnTo>
                    <a:lnTo>
                      <a:pt x="37" y="345"/>
                    </a:lnTo>
                    <a:lnTo>
                      <a:pt x="40" y="341"/>
                    </a:lnTo>
                    <a:lnTo>
                      <a:pt x="40" y="341"/>
                    </a:lnTo>
                    <a:lnTo>
                      <a:pt x="40" y="344"/>
                    </a:lnTo>
                    <a:lnTo>
                      <a:pt x="41" y="344"/>
                    </a:lnTo>
                    <a:lnTo>
                      <a:pt x="47" y="341"/>
                    </a:lnTo>
                    <a:lnTo>
                      <a:pt x="50" y="341"/>
                    </a:lnTo>
                    <a:lnTo>
                      <a:pt x="51" y="340"/>
                    </a:lnTo>
                    <a:lnTo>
                      <a:pt x="53" y="341"/>
                    </a:lnTo>
                    <a:lnTo>
                      <a:pt x="53" y="341"/>
                    </a:lnTo>
                    <a:lnTo>
                      <a:pt x="57" y="337"/>
                    </a:lnTo>
                    <a:lnTo>
                      <a:pt x="60" y="337"/>
                    </a:lnTo>
                    <a:lnTo>
                      <a:pt x="61" y="337"/>
                    </a:lnTo>
                    <a:lnTo>
                      <a:pt x="66" y="335"/>
                    </a:lnTo>
                    <a:lnTo>
                      <a:pt x="67" y="335"/>
                    </a:lnTo>
                    <a:lnTo>
                      <a:pt x="70" y="331"/>
                    </a:lnTo>
                    <a:lnTo>
                      <a:pt x="70" y="334"/>
                    </a:lnTo>
                    <a:lnTo>
                      <a:pt x="76" y="331"/>
                    </a:lnTo>
                    <a:lnTo>
                      <a:pt x="74" y="329"/>
                    </a:lnTo>
                    <a:lnTo>
                      <a:pt x="76" y="329"/>
                    </a:lnTo>
                    <a:lnTo>
                      <a:pt x="77" y="331"/>
                    </a:lnTo>
                    <a:lnTo>
                      <a:pt x="79" y="331"/>
                    </a:lnTo>
                    <a:lnTo>
                      <a:pt x="80" y="329"/>
                    </a:lnTo>
                    <a:lnTo>
                      <a:pt x="86" y="329"/>
                    </a:lnTo>
                    <a:lnTo>
                      <a:pt x="92" y="327"/>
                    </a:lnTo>
                    <a:lnTo>
                      <a:pt x="93" y="328"/>
                    </a:lnTo>
                    <a:lnTo>
                      <a:pt x="98" y="328"/>
                    </a:lnTo>
                    <a:lnTo>
                      <a:pt x="99" y="327"/>
                    </a:lnTo>
                    <a:lnTo>
                      <a:pt x="101" y="327"/>
                    </a:lnTo>
                    <a:lnTo>
                      <a:pt x="101" y="327"/>
                    </a:lnTo>
                    <a:lnTo>
                      <a:pt x="146" y="277"/>
                    </a:lnTo>
                    <a:lnTo>
                      <a:pt x="154" y="263"/>
                    </a:lnTo>
                    <a:lnTo>
                      <a:pt x="154" y="252"/>
                    </a:lnTo>
                    <a:lnTo>
                      <a:pt x="153" y="254"/>
                    </a:lnTo>
                    <a:lnTo>
                      <a:pt x="150" y="250"/>
                    </a:lnTo>
                    <a:lnTo>
                      <a:pt x="149" y="245"/>
                    </a:lnTo>
                    <a:lnTo>
                      <a:pt x="141" y="239"/>
                    </a:lnTo>
                    <a:lnTo>
                      <a:pt x="140" y="235"/>
                    </a:lnTo>
                    <a:lnTo>
                      <a:pt x="137" y="231"/>
                    </a:lnTo>
                    <a:lnTo>
                      <a:pt x="143" y="218"/>
                    </a:lnTo>
                    <a:lnTo>
                      <a:pt x="143" y="213"/>
                    </a:lnTo>
                    <a:lnTo>
                      <a:pt x="138" y="209"/>
                    </a:lnTo>
                    <a:lnTo>
                      <a:pt x="137" y="205"/>
                    </a:lnTo>
                    <a:lnTo>
                      <a:pt x="137" y="200"/>
                    </a:lnTo>
                    <a:lnTo>
                      <a:pt x="135" y="196"/>
                    </a:lnTo>
                    <a:lnTo>
                      <a:pt x="131" y="194"/>
                    </a:lnTo>
                    <a:lnTo>
                      <a:pt x="131" y="189"/>
                    </a:lnTo>
                    <a:lnTo>
                      <a:pt x="133" y="186"/>
                    </a:lnTo>
                    <a:lnTo>
                      <a:pt x="133" y="181"/>
                    </a:lnTo>
                    <a:lnTo>
                      <a:pt x="131" y="178"/>
                    </a:lnTo>
                    <a:lnTo>
                      <a:pt x="133" y="168"/>
                    </a:lnTo>
                    <a:lnTo>
                      <a:pt x="137" y="165"/>
                    </a:lnTo>
                    <a:lnTo>
                      <a:pt x="124" y="128"/>
                    </a:lnTo>
                    <a:lnTo>
                      <a:pt x="124" y="122"/>
                    </a:lnTo>
                    <a:lnTo>
                      <a:pt x="134" y="97"/>
                    </a:lnTo>
                    <a:lnTo>
                      <a:pt x="134" y="91"/>
                    </a:lnTo>
                    <a:lnTo>
                      <a:pt x="125" y="78"/>
                    </a:lnTo>
                    <a:lnTo>
                      <a:pt x="122" y="75"/>
                    </a:lnTo>
                    <a:lnTo>
                      <a:pt x="118" y="75"/>
                    </a:lnTo>
                    <a:lnTo>
                      <a:pt x="117" y="74"/>
                    </a:lnTo>
                    <a:lnTo>
                      <a:pt x="115" y="71"/>
                    </a:lnTo>
                    <a:lnTo>
                      <a:pt x="112" y="59"/>
                    </a:lnTo>
                    <a:lnTo>
                      <a:pt x="117" y="50"/>
                    </a:lnTo>
                    <a:lnTo>
                      <a:pt x="115" y="49"/>
                    </a:lnTo>
                    <a:lnTo>
                      <a:pt x="114" y="48"/>
                    </a:lnTo>
                    <a:lnTo>
                      <a:pt x="121" y="40"/>
                    </a:lnTo>
                    <a:lnTo>
                      <a:pt x="118" y="39"/>
                    </a:lnTo>
                    <a:lnTo>
                      <a:pt x="118" y="36"/>
                    </a:lnTo>
                    <a:lnTo>
                      <a:pt x="120" y="32"/>
                    </a:lnTo>
                    <a:lnTo>
                      <a:pt x="125" y="26"/>
                    </a:lnTo>
                    <a:lnTo>
                      <a:pt x="122" y="14"/>
                    </a:lnTo>
                    <a:lnTo>
                      <a:pt x="118" y="10"/>
                    </a:lnTo>
                    <a:lnTo>
                      <a:pt x="114" y="8"/>
                    </a:lnTo>
                    <a:lnTo>
                      <a:pt x="111" y="5"/>
                    </a:lnTo>
                    <a:lnTo>
                      <a:pt x="108" y="1"/>
                    </a:lnTo>
                    <a:lnTo>
                      <a:pt x="106" y="0"/>
                    </a:lnTo>
                    <a:lnTo>
                      <a:pt x="83" y="5"/>
                    </a:lnTo>
                    <a:lnTo>
                      <a:pt x="80" y="8"/>
                    </a:lnTo>
                    <a:lnTo>
                      <a:pt x="77" y="11"/>
                    </a:lnTo>
                    <a:lnTo>
                      <a:pt x="74" y="20"/>
                    </a:lnTo>
                    <a:lnTo>
                      <a:pt x="73" y="43"/>
                    </a:lnTo>
                    <a:lnTo>
                      <a:pt x="67" y="48"/>
                    </a:lnTo>
                    <a:lnTo>
                      <a:pt x="64" y="52"/>
                    </a:lnTo>
                    <a:lnTo>
                      <a:pt x="57" y="56"/>
                    </a:lnTo>
                    <a:lnTo>
                      <a:pt x="54" y="55"/>
                    </a:lnTo>
                    <a:lnTo>
                      <a:pt x="51" y="49"/>
                    </a:lnTo>
                    <a:lnTo>
                      <a:pt x="48" y="48"/>
                    </a:lnTo>
                    <a:lnTo>
                      <a:pt x="44" y="53"/>
                    </a:lnTo>
                    <a:lnTo>
                      <a:pt x="41" y="55"/>
                    </a:lnTo>
                    <a:lnTo>
                      <a:pt x="38" y="55"/>
                    </a:lnTo>
                    <a:lnTo>
                      <a:pt x="34" y="53"/>
                    </a:lnTo>
                    <a:lnTo>
                      <a:pt x="27" y="52"/>
                    </a:lnTo>
                    <a:lnTo>
                      <a:pt x="25" y="50"/>
                    </a:lnTo>
                    <a:lnTo>
                      <a:pt x="24" y="46"/>
                    </a:lnTo>
                    <a:lnTo>
                      <a:pt x="14" y="32"/>
                    </a:lnTo>
                    <a:lnTo>
                      <a:pt x="11" y="30"/>
                    </a:lnTo>
                    <a:lnTo>
                      <a:pt x="6" y="32"/>
                    </a:lnTo>
                    <a:lnTo>
                      <a:pt x="8" y="37"/>
                    </a:lnTo>
                    <a:lnTo>
                      <a:pt x="5" y="39"/>
                    </a:lnTo>
                    <a:lnTo>
                      <a:pt x="3" y="37"/>
                    </a:lnTo>
                    <a:lnTo>
                      <a:pt x="0" y="37"/>
                    </a:lnTo>
                    <a:lnTo>
                      <a:pt x="0" y="4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40" name="Freeform 240"/>
              <p:cNvSpPr>
                <a:spLocks/>
              </p:cNvSpPr>
              <p:nvPr/>
            </p:nvSpPr>
            <p:spPr bwMode="auto">
              <a:xfrm>
                <a:off x="6387576" y="1803119"/>
                <a:ext cx="140448" cy="362045"/>
              </a:xfrm>
              <a:custGeom>
                <a:avLst/>
                <a:gdLst/>
                <a:ahLst/>
                <a:cxnLst>
                  <a:cxn ang="0">
                    <a:pos x="19" y="61"/>
                  </a:cxn>
                  <a:cxn ang="0">
                    <a:pos x="41" y="93"/>
                  </a:cxn>
                  <a:cxn ang="0">
                    <a:pos x="43" y="113"/>
                  </a:cxn>
                  <a:cxn ang="0">
                    <a:pos x="45" y="138"/>
                  </a:cxn>
                  <a:cxn ang="0">
                    <a:pos x="53" y="159"/>
                  </a:cxn>
                  <a:cxn ang="0">
                    <a:pos x="57" y="161"/>
                  </a:cxn>
                  <a:cxn ang="0">
                    <a:pos x="69" y="177"/>
                  </a:cxn>
                  <a:cxn ang="0">
                    <a:pos x="67" y="191"/>
                  </a:cxn>
                  <a:cxn ang="0">
                    <a:pos x="59" y="194"/>
                  </a:cxn>
                  <a:cxn ang="0">
                    <a:pos x="27" y="242"/>
                  </a:cxn>
                  <a:cxn ang="0">
                    <a:pos x="16" y="245"/>
                  </a:cxn>
                  <a:cxn ang="0">
                    <a:pos x="11" y="252"/>
                  </a:cxn>
                  <a:cxn ang="0">
                    <a:pos x="8" y="257"/>
                  </a:cxn>
                  <a:cxn ang="0">
                    <a:pos x="9" y="276"/>
                  </a:cxn>
                  <a:cxn ang="0">
                    <a:pos x="12" y="295"/>
                  </a:cxn>
                  <a:cxn ang="0">
                    <a:pos x="14" y="298"/>
                  </a:cxn>
                  <a:cxn ang="0">
                    <a:pos x="11" y="302"/>
                  </a:cxn>
                  <a:cxn ang="0">
                    <a:pos x="9" y="312"/>
                  </a:cxn>
                  <a:cxn ang="0">
                    <a:pos x="9" y="318"/>
                  </a:cxn>
                  <a:cxn ang="0">
                    <a:pos x="11" y="322"/>
                  </a:cxn>
                  <a:cxn ang="0">
                    <a:pos x="25" y="331"/>
                  </a:cxn>
                  <a:cxn ang="0">
                    <a:pos x="31" y="332"/>
                  </a:cxn>
                  <a:cxn ang="0">
                    <a:pos x="34" y="343"/>
                  </a:cxn>
                  <a:cxn ang="0">
                    <a:pos x="34" y="347"/>
                  </a:cxn>
                  <a:cxn ang="0">
                    <a:pos x="40" y="344"/>
                  </a:cxn>
                  <a:cxn ang="0">
                    <a:pos x="51" y="340"/>
                  </a:cxn>
                  <a:cxn ang="0">
                    <a:pos x="60" y="337"/>
                  </a:cxn>
                  <a:cxn ang="0">
                    <a:pos x="70" y="331"/>
                  </a:cxn>
                  <a:cxn ang="0">
                    <a:pos x="76" y="329"/>
                  </a:cxn>
                  <a:cxn ang="0">
                    <a:pos x="86" y="329"/>
                  </a:cxn>
                  <a:cxn ang="0">
                    <a:pos x="99" y="327"/>
                  </a:cxn>
                  <a:cxn ang="0">
                    <a:pos x="154" y="263"/>
                  </a:cxn>
                  <a:cxn ang="0">
                    <a:pos x="149" y="245"/>
                  </a:cxn>
                  <a:cxn ang="0">
                    <a:pos x="143" y="218"/>
                  </a:cxn>
                  <a:cxn ang="0">
                    <a:pos x="137" y="200"/>
                  </a:cxn>
                  <a:cxn ang="0">
                    <a:pos x="133" y="186"/>
                  </a:cxn>
                  <a:cxn ang="0">
                    <a:pos x="137" y="165"/>
                  </a:cxn>
                  <a:cxn ang="0">
                    <a:pos x="134" y="91"/>
                  </a:cxn>
                  <a:cxn ang="0">
                    <a:pos x="117" y="74"/>
                  </a:cxn>
                  <a:cxn ang="0">
                    <a:pos x="115" y="49"/>
                  </a:cxn>
                  <a:cxn ang="0">
                    <a:pos x="118" y="36"/>
                  </a:cxn>
                  <a:cxn ang="0">
                    <a:pos x="118" y="10"/>
                  </a:cxn>
                  <a:cxn ang="0">
                    <a:pos x="106" y="0"/>
                  </a:cxn>
                  <a:cxn ang="0">
                    <a:pos x="74" y="20"/>
                  </a:cxn>
                  <a:cxn ang="0">
                    <a:pos x="57" y="56"/>
                  </a:cxn>
                  <a:cxn ang="0">
                    <a:pos x="44" y="53"/>
                  </a:cxn>
                  <a:cxn ang="0">
                    <a:pos x="27" y="52"/>
                  </a:cxn>
                  <a:cxn ang="0">
                    <a:pos x="11" y="30"/>
                  </a:cxn>
                  <a:cxn ang="0">
                    <a:pos x="3" y="37"/>
                  </a:cxn>
                </a:cxnLst>
                <a:rect l="0" t="0" r="r" b="b"/>
                <a:pathLst>
                  <a:path w="154" h="347">
                    <a:moveTo>
                      <a:pt x="0" y="40"/>
                    </a:moveTo>
                    <a:lnTo>
                      <a:pt x="0" y="40"/>
                    </a:lnTo>
                    <a:lnTo>
                      <a:pt x="2" y="42"/>
                    </a:lnTo>
                    <a:lnTo>
                      <a:pt x="19" y="61"/>
                    </a:lnTo>
                    <a:lnTo>
                      <a:pt x="29" y="64"/>
                    </a:lnTo>
                    <a:lnTo>
                      <a:pt x="34" y="68"/>
                    </a:lnTo>
                    <a:lnTo>
                      <a:pt x="43" y="85"/>
                    </a:lnTo>
                    <a:lnTo>
                      <a:pt x="41" y="93"/>
                    </a:lnTo>
                    <a:lnTo>
                      <a:pt x="41" y="101"/>
                    </a:lnTo>
                    <a:lnTo>
                      <a:pt x="43" y="103"/>
                    </a:lnTo>
                    <a:lnTo>
                      <a:pt x="44" y="107"/>
                    </a:lnTo>
                    <a:lnTo>
                      <a:pt x="43" y="113"/>
                    </a:lnTo>
                    <a:lnTo>
                      <a:pt x="43" y="117"/>
                    </a:lnTo>
                    <a:lnTo>
                      <a:pt x="48" y="129"/>
                    </a:lnTo>
                    <a:lnTo>
                      <a:pt x="48" y="135"/>
                    </a:lnTo>
                    <a:lnTo>
                      <a:pt x="45" y="138"/>
                    </a:lnTo>
                    <a:lnTo>
                      <a:pt x="44" y="142"/>
                    </a:lnTo>
                    <a:lnTo>
                      <a:pt x="50" y="157"/>
                    </a:lnTo>
                    <a:lnTo>
                      <a:pt x="51" y="159"/>
                    </a:lnTo>
                    <a:lnTo>
                      <a:pt x="53" y="159"/>
                    </a:lnTo>
                    <a:lnTo>
                      <a:pt x="53" y="161"/>
                    </a:lnTo>
                    <a:lnTo>
                      <a:pt x="56" y="162"/>
                    </a:lnTo>
                    <a:lnTo>
                      <a:pt x="57" y="161"/>
                    </a:lnTo>
                    <a:lnTo>
                      <a:pt x="57" y="161"/>
                    </a:lnTo>
                    <a:lnTo>
                      <a:pt x="59" y="165"/>
                    </a:lnTo>
                    <a:lnTo>
                      <a:pt x="63" y="168"/>
                    </a:lnTo>
                    <a:lnTo>
                      <a:pt x="67" y="174"/>
                    </a:lnTo>
                    <a:lnTo>
                      <a:pt x="69" y="177"/>
                    </a:lnTo>
                    <a:lnTo>
                      <a:pt x="67" y="186"/>
                    </a:lnTo>
                    <a:lnTo>
                      <a:pt x="70" y="190"/>
                    </a:lnTo>
                    <a:lnTo>
                      <a:pt x="69" y="190"/>
                    </a:lnTo>
                    <a:lnTo>
                      <a:pt x="67" y="191"/>
                    </a:lnTo>
                    <a:lnTo>
                      <a:pt x="69" y="194"/>
                    </a:lnTo>
                    <a:lnTo>
                      <a:pt x="66" y="193"/>
                    </a:lnTo>
                    <a:lnTo>
                      <a:pt x="63" y="193"/>
                    </a:lnTo>
                    <a:lnTo>
                      <a:pt x="59" y="194"/>
                    </a:lnTo>
                    <a:lnTo>
                      <a:pt x="56" y="205"/>
                    </a:lnTo>
                    <a:lnTo>
                      <a:pt x="31" y="238"/>
                    </a:lnTo>
                    <a:lnTo>
                      <a:pt x="28" y="239"/>
                    </a:lnTo>
                    <a:lnTo>
                      <a:pt x="27" y="242"/>
                    </a:lnTo>
                    <a:lnTo>
                      <a:pt x="25" y="244"/>
                    </a:lnTo>
                    <a:lnTo>
                      <a:pt x="24" y="247"/>
                    </a:lnTo>
                    <a:lnTo>
                      <a:pt x="18" y="247"/>
                    </a:lnTo>
                    <a:lnTo>
                      <a:pt x="16" y="245"/>
                    </a:lnTo>
                    <a:lnTo>
                      <a:pt x="15" y="250"/>
                    </a:lnTo>
                    <a:lnTo>
                      <a:pt x="16" y="252"/>
                    </a:lnTo>
                    <a:lnTo>
                      <a:pt x="15" y="252"/>
                    </a:lnTo>
                    <a:lnTo>
                      <a:pt x="11" y="252"/>
                    </a:lnTo>
                    <a:lnTo>
                      <a:pt x="11" y="254"/>
                    </a:lnTo>
                    <a:lnTo>
                      <a:pt x="11" y="257"/>
                    </a:lnTo>
                    <a:lnTo>
                      <a:pt x="9" y="257"/>
                    </a:lnTo>
                    <a:lnTo>
                      <a:pt x="8" y="257"/>
                    </a:lnTo>
                    <a:lnTo>
                      <a:pt x="6" y="264"/>
                    </a:lnTo>
                    <a:lnTo>
                      <a:pt x="6" y="271"/>
                    </a:lnTo>
                    <a:lnTo>
                      <a:pt x="8" y="273"/>
                    </a:lnTo>
                    <a:lnTo>
                      <a:pt x="9" y="276"/>
                    </a:lnTo>
                    <a:lnTo>
                      <a:pt x="8" y="283"/>
                    </a:lnTo>
                    <a:lnTo>
                      <a:pt x="9" y="286"/>
                    </a:lnTo>
                    <a:lnTo>
                      <a:pt x="11" y="287"/>
                    </a:lnTo>
                    <a:lnTo>
                      <a:pt x="12" y="295"/>
                    </a:lnTo>
                    <a:lnTo>
                      <a:pt x="14" y="296"/>
                    </a:lnTo>
                    <a:lnTo>
                      <a:pt x="15" y="298"/>
                    </a:lnTo>
                    <a:lnTo>
                      <a:pt x="15" y="299"/>
                    </a:lnTo>
                    <a:lnTo>
                      <a:pt x="14" y="298"/>
                    </a:lnTo>
                    <a:lnTo>
                      <a:pt x="12" y="298"/>
                    </a:lnTo>
                    <a:lnTo>
                      <a:pt x="12" y="299"/>
                    </a:lnTo>
                    <a:lnTo>
                      <a:pt x="12" y="300"/>
                    </a:lnTo>
                    <a:lnTo>
                      <a:pt x="11" y="302"/>
                    </a:lnTo>
                    <a:lnTo>
                      <a:pt x="12" y="305"/>
                    </a:lnTo>
                    <a:lnTo>
                      <a:pt x="12" y="308"/>
                    </a:lnTo>
                    <a:lnTo>
                      <a:pt x="11" y="312"/>
                    </a:lnTo>
                    <a:lnTo>
                      <a:pt x="9" y="312"/>
                    </a:lnTo>
                    <a:lnTo>
                      <a:pt x="9" y="315"/>
                    </a:lnTo>
                    <a:lnTo>
                      <a:pt x="9" y="316"/>
                    </a:lnTo>
                    <a:lnTo>
                      <a:pt x="9" y="318"/>
                    </a:lnTo>
                    <a:lnTo>
                      <a:pt x="9" y="318"/>
                    </a:lnTo>
                    <a:lnTo>
                      <a:pt x="9" y="319"/>
                    </a:lnTo>
                    <a:lnTo>
                      <a:pt x="12" y="321"/>
                    </a:lnTo>
                    <a:lnTo>
                      <a:pt x="12" y="322"/>
                    </a:lnTo>
                    <a:lnTo>
                      <a:pt x="11" y="322"/>
                    </a:lnTo>
                    <a:lnTo>
                      <a:pt x="11" y="324"/>
                    </a:lnTo>
                    <a:lnTo>
                      <a:pt x="14" y="324"/>
                    </a:lnTo>
                    <a:lnTo>
                      <a:pt x="18" y="328"/>
                    </a:lnTo>
                    <a:lnTo>
                      <a:pt x="25" y="331"/>
                    </a:lnTo>
                    <a:lnTo>
                      <a:pt x="27" y="331"/>
                    </a:lnTo>
                    <a:lnTo>
                      <a:pt x="25" y="334"/>
                    </a:lnTo>
                    <a:lnTo>
                      <a:pt x="28" y="335"/>
                    </a:lnTo>
                    <a:lnTo>
                      <a:pt x="31" y="332"/>
                    </a:lnTo>
                    <a:lnTo>
                      <a:pt x="32" y="334"/>
                    </a:lnTo>
                    <a:lnTo>
                      <a:pt x="32" y="337"/>
                    </a:lnTo>
                    <a:lnTo>
                      <a:pt x="34" y="341"/>
                    </a:lnTo>
                    <a:lnTo>
                      <a:pt x="34" y="343"/>
                    </a:lnTo>
                    <a:lnTo>
                      <a:pt x="35" y="344"/>
                    </a:lnTo>
                    <a:lnTo>
                      <a:pt x="35" y="345"/>
                    </a:lnTo>
                    <a:lnTo>
                      <a:pt x="32" y="347"/>
                    </a:lnTo>
                    <a:lnTo>
                      <a:pt x="34" y="347"/>
                    </a:lnTo>
                    <a:lnTo>
                      <a:pt x="37" y="345"/>
                    </a:lnTo>
                    <a:lnTo>
                      <a:pt x="40" y="341"/>
                    </a:lnTo>
                    <a:lnTo>
                      <a:pt x="40" y="341"/>
                    </a:lnTo>
                    <a:lnTo>
                      <a:pt x="40" y="344"/>
                    </a:lnTo>
                    <a:lnTo>
                      <a:pt x="41" y="344"/>
                    </a:lnTo>
                    <a:lnTo>
                      <a:pt x="47" y="341"/>
                    </a:lnTo>
                    <a:lnTo>
                      <a:pt x="50" y="341"/>
                    </a:lnTo>
                    <a:lnTo>
                      <a:pt x="51" y="340"/>
                    </a:lnTo>
                    <a:lnTo>
                      <a:pt x="53" y="341"/>
                    </a:lnTo>
                    <a:lnTo>
                      <a:pt x="53" y="341"/>
                    </a:lnTo>
                    <a:lnTo>
                      <a:pt x="57" y="337"/>
                    </a:lnTo>
                    <a:lnTo>
                      <a:pt x="60" y="337"/>
                    </a:lnTo>
                    <a:lnTo>
                      <a:pt x="61" y="337"/>
                    </a:lnTo>
                    <a:lnTo>
                      <a:pt x="66" y="335"/>
                    </a:lnTo>
                    <a:lnTo>
                      <a:pt x="67" y="335"/>
                    </a:lnTo>
                    <a:lnTo>
                      <a:pt x="70" y="331"/>
                    </a:lnTo>
                    <a:lnTo>
                      <a:pt x="70" y="334"/>
                    </a:lnTo>
                    <a:lnTo>
                      <a:pt x="76" y="331"/>
                    </a:lnTo>
                    <a:lnTo>
                      <a:pt x="74" y="329"/>
                    </a:lnTo>
                    <a:lnTo>
                      <a:pt x="76" y="329"/>
                    </a:lnTo>
                    <a:lnTo>
                      <a:pt x="77" y="331"/>
                    </a:lnTo>
                    <a:lnTo>
                      <a:pt x="79" y="331"/>
                    </a:lnTo>
                    <a:lnTo>
                      <a:pt x="80" y="329"/>
                    </a:lnTo>
                    <a:lnTo>
                      <a:pt x="86" y="329"/>
                    </a:lnTo>
                    <a:lnTo>
                      <a:pt x="92" y="327"/>
                    </a:lnTo>
                    <a:lnTo>
                      <a:pt x="93" y="328"/>
                    </a:lnTo>
                    <a:lnTo>
                      <a:pt x="98" y="328"/>
                    </a:lnTo>
                    <a:lnTo>
                      <a:pt x="99" y="327"/>
                    </a:lnTo>
                    <a:lnTo>
                      <a:pt x="101" y="327"/>
                    </a:lnTo>
                    <a:lnTo>
                      <a:pt x="101" y="327"/>
                    </a:lnTo>
                    <a:lnTo>
                      <a:pt x="146" y="277"/>
                    </a:lnTo>
                    <a:lnTo>
                      <a:pt x="154" y="263"/>
                    </a:lnTo>
                    <a:lnTo>
                      <a:pt x="154" y="252"/>
                    </a:lnTo>
                    <a:lnTo>
                      <a:pt x="153" y="254"/>
                    </a:lnTo>
                    <a:lnTo>
                      <a:pt x="150" y="250"/>
                    </a:lnTo>
                    <a:lnTo>
                      <a:pt x="149" y="245"/>
                    </a:lnTo>
                    <a:lnTo>
                      <a:pt x="141" y="239"/>
                    </a:lnTo>
                    <a:lnTo>
                      <a:pt x="140" y="235"/>
                    </a:lnTo>
                    <a:lnTo>
                      <a:pt x="137" y="231"/>
                    </a:lnTo>
                    <a:lnTo>
                      <a:pt x="143" y="218"/>
                    </a:lnTo>
                    <a:lnTo>
                      <a:pt x="143" y="213"/>
                    </a:lnTo>
                    <a:lnTo>
                      <a:pt x="138" y="209"/>
                    </a:lnTo>
                    <a:lnTo>
                      <a:pt x="137" y="205"/>
                    </a:lnTo>
                    <a:lnTo>
                      <a:pt x="137" y="200"/>
                    </a:lnTo>
                    <a:lnTo>
                      <a:pt x="135" y="196"/>
                    </a:lnTo>
                    <a:lnTo>
                      <a:pt x="131" y="194"/>
                    </a:lnTo>
                    <a:lnTo>
                      <a:pt x="131" y="189"/>
                    </a:lnTo>
                    <a:lnTo>
                      <a:pt x="133" y="186"/>
                    </a:lnTo>
                    <a:lnTo>
                      <a:pt x="133" y="181"/>
                    </a:lnTo>
                    <a:lnTo>
                      <a:pt x="131" y="178"/>
                    </a:lnTo>
                    <a:lnTo>
                      <a:pt x="133" y="168"/>
                    </a:lnTo>
                    <a:lnTo>
                      <a:pt x="137" y="165"/>
                    </a:lnTo>
                    <a:lnTo>
                      <a:pt x="124" y="128"/>
                    </a:lnTo>
                    <a:lnTo>
                      <a:pt x="124" y="122"/>
                    </a:lnTo>
                    <a:lnTo>
                      <a:pt x="134" y="97"/>
                    </a:lnTo>
                    <a:lnTo>
                      <a:pt x="134" y="91"/>
                    </a:lnTo>
                    <a:lnTo>
                      <a:pt x="125" y="78"/>
                    </a:lnTo>
                    <a:lnTo>
                      <a:pt x="122" y="75"/>
                    </a:lnTo>
                    <a:lnTo>
                      <a:pt x="118" y="75"/>
                    </a:lnTo>
                    <a:lnTo>
                      <a:pt x="117" y="74"/>
                    </a:lnTo>
                    <a:lnTo>
                      <a:pt x="115" y="71"/>
                    </a:lnTo>
                    <a:lnTo>
                      <a:pt x="112" y="59"/>
                    </a:lnTo>
                    <a:lnTo>
                      <a:pt x="117" y="50"/>
                    </a:lnTo>
                    <a:lnTo>
                      <a:pt x="115" y="49"/>
                    </a:lnTo>
                    <a:lnTo>
                      <a:pt x="114" y="48"/>
                    </a:lnTo>
                    <a:lnTo>
                      <a:pt x="121" y="40"/>
                    </a:lnTo>
                    <a:lnTo>
                      <a:pt x="118" y="39"/>
                    </a:lnTo>
                    <a:lnTo>
                      <a:pt x="118" y="36"/>
                    </a:lnTo>
                    <a:lnTo>
                      <a:pt x="120" y="32"/>
                    </a:lnTo>
                    <a:lnTo>
                      <a:pt x="125" y="26"/>
                    </a:lnTo>
                    <a:lnTo>
                      <a:pt x="122" y="14"/>
                    </a:lnTo>
                    <a:lnTo>
                      <a:pt x="118" y="10"/>
                    </a:lnTo>
                    <a:lnTo>
                      <a:pt x="114" y="8"/>
                    </a:lnTo>
                    <a:lnTo>
                      <a:pt x="111" y="5"/>
                    </a:lnTo>
                    <a:lnTo>
                      <a:pt x="108" y="1"/>
                    </a:lnTo>
                    <a:lnTo>
                      <a:pt x="106" y="0"/>
                    </a:lnTo>
                    <a:lnTo>
                      <a:pt x="83" y="5"/>
                    </a:lnTo>
                    <a:lnTo>
                      <a:pt x="80" y="8"/>
                    </a:lnTo>
                    <a:lnTo>
                      <a:pt x="77" y="11"/>
                    </a:lnTo>
                    <a:lnTo>
                      <a:pt x="74" y="20"/>
                    </a:lnTo>
                    <a:lnTo>
                      <a:pt x="73" y="43"/>
                    </a:lnTo>
                    <a:lnTo>
                      <a:pt x="67" y="48"/>
                    </a:lnTo>
                    <a:lnTo>
                      <a:pt x="64" y="52"/>
                    </a:lnTo>
                    <a:lnTo>
                      <a:pt x="57" y="56"/>
                    </a:lnTo>
                    <a:lnTo>
                      <a:pt x="54" y="55"/>
                    </a:lnTo>
                    <a:lnTo>
                      <a:pt x="51" y="49"/>
                    </a:lnTo>
                    <a:lnTo>
                      <a:pt x="48" y="48"/>
                    </a:lnTo>
                    <a:lnTo>
                      <a:pt x="44" y="53"/>
                    </a:lnTo>
                    <a:lnTo>
                      <a:pt x="41" y="55"/>
                    </a:lnTo>
                    <a:lnTo>
                      <a:pt x="38" y="55"/>
                    </a:lnTo>
                    <a:lnTo>
                      <a:pt x="34" y="53"/>
                    </a:lnTo>
                    <a:lnTo>
                      <a:pt x="27" y="52"/>
                    </a:lnTo>
                    <a:lnTo>
                      <a:pt x="25" y="50"/>
                    </a:lnTo>
                    <a:lnTo>
                      <a:pt x="24" y="46"/>
                    </a:lnTo>
                    <a:lnTo>
                      <a:pt x="14" y="32"/>
                    </a:lnTo>
                    <a:lnTo>
                      <a:pt x="11" y="30"/>
                    </a:lnTo>
                    <a:lnTo>
                      <a:pt x="6" y="32"/>
                    </a:lnTo>
                    <a:lnTo>
                      <a:pt x="8" y="37"/>
                    </a:lnTo>
                    <a:lnTo>
                      <a:pt x="5" y="39"/>
                    </a:lnTo>
                    <a:lnTo>
                      <a:pt x="3" y="37"/>
                    </a:lnTo>
                    <a:lnTo>
                      <a:pt x="0" y="37"/>
                    </a:lnTo>
                    <a:lnTo>
                      <a:pt x="0" y="40"/>
                    </a:lnTo>
                  </a:path>
                </a:pathLst>
              </a:custGeom>
              <a:solidFill>
                <a:srgbClr val="29CCFF"/>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41" name="Freeform 241"/>
              <p:cNvSpPr>
                <a:spLocks/>
              </p:cNvSpPr>
              <p:nvPr/>
            </p:nvSpPr>
            <p:spPr bwMode="auto">
              <a:xfrm>
                <a:off x="6206749" y="2485631"/>
                <a:ext cx="152737" cy="184572"/>
              </a:xfrm>
              <a:custGeom>
                <a:avLst/>
                <a:gdLst/>
                <a:ahLst/>
                <a:cxnLst>
                  <a:cxn ang="0">
                    <a:pos x="52" y="9"/>
                  </a:cxn>
                  <a:cxn ang="0">
                    <a:pos x="48" y="12"/>
                  </a:cxn>
                  <a:cxn ang="0">
                    <a:pos x="48" y="16"/>
                  </a:cxn>
                  <a:cxn ang="0">
                    <a:pos x="36" y="13"/>
                  </a:cxn>
                  <a:cxn ang="0">
                    <a:pos x="32" y="23"/>
                  </a:cxn>
                  <a:cxn ang="0">
                    <a:pos x="29" y="20"/>
                  </a:cxn>
                  <a:cxn ang="0">
                    <a:pos x="20" y="15"/>
                  </a:cxn>
                  <a:cxn ang="0">
                    <a:pos x="16" y="23"/>
                  </a:cxn>
                  <a:cxn ang="0">
                    <a:pos x="4" y="36"/>
                  </a:cxn>
                  <a:cxn ang="0">
                    <a:pos x="0" y="42"/>
                  </a:cxn>
                  <a:cxn ang="0">
                    <a:pos x="3" y="46"/>
                  </a:cxn>
                  <a:cxn ang="0">
                    <a:pos x="3" y="55"/>
                  </a:cxn>
                  <a:cxn ang="0">
                    <a:pos x="12" y="61"/>
                  </a:cxn>
                  <a:cxn ang="0">
                    <a:pos x="12" y="65"/>
                  </a:cxn>
                  <a:cxn ang="0">
                    <a:pos x="20" y="62"/>
                  </a:cxn>
                  <a:cxn ang="0">
                    <a:pos x="25" y="57"/>
                  </a:cxn>
                  <a:cxn ang="0">
                    <a:pos x="49" y="62"/>
                  </a:cxn>
                  <a:cxn ang="0">
                    <a:pos x="62" y="90"/>
                  </a:cxn>
                  <a:cxn ang="0">
                    <a:pos x="67" y="93"/>
                  </a:cxn>
                  <a:cxn ang="0">
                    <a:pos x="75" y="100"/>
                  </a:cxn>
                  <a:cxn ang="0">
                    <a:pos x="100" y="115"/>
                  </a:cxn>
                  <a:cxn ang="0">
                    <a:pos x="109" y="124"/>
                  </a:cxn>
                  <a:cxn ang="0">
                    <a:pos x="113" y="126"/>
                  </a:cxn>
                  <a:cxn ang="0">
                    <a:pos x="118" y="131"/>
                  </a:cxn>
                  <a:cxn ang="0">
                    <a:pos x="120" y="137"/>
                  </a:cxn>
                  <a:cxn ang="0">
                    <a:pos x="126" y="137"/>
                  </a:cxn>
                  <a:cxn ang="0">
                    <a:pos x="131" y="166"/>
                  </a:cxn>
                  <a:cxn ang="0">
                    <a:pos x="129" y="176"/>
                  </a:cxn>
                  <a:cxn ang="0">
                    <a:pos x="134" y="176"/>
                  </a:cxn>
                  <a:cxn ang="0">
                    <a:pos x="139" y="169"/>
                  </a:cxn>
                  <a:cxn ang="0">
                    <a:pos x="141" y="160"/>
                  </a:cxn>
                  <a:cxn ang="0">
                    <a:pos x="148" y="157"/>
                  </a:cxn>
                  <a:cxn ang="0">
                    <a:pos x="144" y="147"/>
                  </a:cxn>
                  <a:cxn ang="0">
                    <a:pos x="141" y="135"/>
                  </a:cxn>
                  <a:cxn ang="0">
                    <a:pos x="154" y="132"/>
                  </a:cxn>
                  <a:cxn ang="0">
                    <a:pos x="166" y="141"/>
                  </a:cxn>
                  <a:cxn ang="0">
                    <a:pos x="160" y="125"/>
                  </a:cxn>
                  <a:cxn ang="0">
                    <a:pos x="132" y="112"/>
                  </a:cxn>
                  <a:cxn ang="0">
                    <a:pos x="131" y="109"/>
                  </a:cxn>
                  <a:cxn ang="0">
                    <a:pos x="134" y="103"/>
                  </a:cxn>
                  <a:cxn ang="0">
                    <a:pos x="129" y="102"/>
                  </a:cxn>
                  <a:cxn ang="0">
                    <a:pos x="120" y="102"/>
                  </a:cxn>
                  <a:cxn ang="0">
                    <a:pos x="113" y="99"/>
                  </a:cxn>
                  <a:cxn ang="0">
                    <a:pos x="105" y="90"/>
                  </a:cxn>
                  <a:cxn ang="0">
                    <a:pos x="94" y="70"/>
                  </a:cxn>
                  <a:cxn ang="0">
                    <a:pos x="80" y="55"/>
                  </a:cxn>
                  <a:cxn ang="0">
                    <a:pos x="81" y="42"/>
                  </a:cxn>
                  <a:cxn ang="0">
                    <a:pos x="78" y="36"/>
                  </a:cxn>
                  <a:cxn ang="0">
                    <a:pos x="83" y="32"/>
                  </a:cxn>
                  <a:cxn ang="0">
                    <a:pos x="94" y="29"/>
                  </a:cxn>
                  <a:cxn ang="0">
                    <a:pos x="99" y="29"/>
                  </a:cxn>
                  <a:cxn ang="0">
                    <a:pos x="100" y="32"/>
                  </a:cxn>
                  <a:cxn ang="0">
                    <a:pos x="102" y="29"/>
                  </a:cxn>
                  <a:cxn ang="0">
                    <a:pos x="100" y="26"/>
                  </a:cxn>
                  <a:cxn ang="0">
                    <a:pos x="97" y="23"/>
                  </a:cxn>
                  <a:cxn ang="0">
                    <a:pos x="96" y="17"/>
                  </a:cxn>
                  <a:cxn ang="0">
                    <a:pos x="96" y="15"/>
                  </a:cxn>
                  <a:cxn ang="0">
                    <a:pos x="83" y="7"/>
                  </a:cxn>
                  <a:cxn ang="0">
                    <a:pos x="77" y="1"/>
                  </a:cxn>
                  <a:cxn ang="0">
                    <a:pos x="74" y="0"/>
                  </a:cxn>
                  <a:cxn ang="0">
                    <a:pos x="52" y="4"/>
                  </a:cxn>
                </a:cxnLst>
                <a:rect l="0" t="0" r="r" b="b"/>
                <a:pathLst>
                  <a:path w="167" h="177">
                    <a:moveTo>
                      <a:pt x="52" y="4"/>
                    </a:moveTo>
                    <a:lnTo>
                      <a:pt x="51" y="7"/>
                    </a:lnTo>
                    <a:lnTo>
                      <a:pt x="52" y="9"/>
                    </a:lnTo>
                    <a:lnTo>
                      <a:pt x="51" y="10"/>
                    </a:lnTo>
                    <a:lnTo>
                      <a:pt x="48" y="10"/>
                    </a:lnTo>
                    <a:lnTo>
                      <a:pt x="48" y="12"/>
                    </a:lnTo>
                    <a:lnTo>
                      <a:pt x="48" y="13"/>
                    </a:lnTo>
                    <a:lnTo>
                      <a:pt x="48" y="15"/>
                    </a:lnTo>
                    <a:lnTo>
                      <a:pt x="48" y="16"/>
                    </a:lnTo>
                    <a:lnTo>
                      <a:pt x="39" y="15"/>
                    </a:lnTo>
                    <a:lnTo>
                      <a:pt x="38" y="13"/>
                    </a:lnTo>
                    <a:lnTo>
                      <a:pt x="36" y="13"/>
                    </a:lnTo>
                    <a:lnTo>
                      <a:pt x="35" y="16"/>
                    </a:lnTo>
                    <a:lnTo>
                      <a:pt x="33" y="20"/>
                    </a:lnTo>
                    <a:lnTo>
                      <a:pt x="32" y="23"/>
                    </a:lnTo>
                    <a:lnTo>
                      <a:pt x="32" y="25"/>
                    </a:lnTo>
                    <a:lnTo>
                      <a:pt x="30" y="23"/>
                    </a:lnTo>
                    <a:lnTo>
                      <a:pt x="29" y="20"/>
                    </a:lnTo>
                    <a:lnTo>
                      <a:pt x="25" y="19"/>
                    </a:lnTo>
                    <a:lnTo>
                      <a:pt x="23" y="13"/>
                    </a:lnTo>
                    <a:lnTo>
                      <a:pt x="20" y="15"/>
                    </a:lnTo>
                    <a:lnTo>
                      <a:pt x="19" y="17"/>
                    </a:lnTo>
                    <a:lnTo>
                      <a:pt x="19" y="19"/>
                    </a:lnTo>
                    <a:lnTo>
                      <a:pt x="16" y="23"/>
                    </a:lnTo>
                    <a:lnTo>
                      <a:pt x="1" y="25"/>
                    </a:lnTo>
                    <a:lnTo>
                      <a:pt x="1" y="26"/>
                    </a:lnTo>
                    <a:lnTo>
                      <a:pt x="4" y="36"/>
                    </a:lnTo>
                    <a:lnTo>
                      <a:pt x="1" y="39"/>
                    </a:lnTo>
                    <a:lnTo>
                      <a:pt x="0" y="41"/>
                    </a:lnTo>
                    <a:lnTo>
                      <a:pt x="0" y="42"/>
                    </a:lnTo>
                    <a:lnTo>
                      <a:pt x="0" y="44"/>
                    </a:lnTo>
                    <a:lnTo>
                      <a:pt x="0" y="45"/>
                    </a:lnTo>
                    <a:lnTo>
                      <a:pt x="3" y="46"/>
                    </a:lnTo>
                    <a:lnTo>
                      <a:pt x="3" y="48"/>
                    </a:lnTo>
                    <a:lnTo>
                      <a:pt x="3" y="51"/>
                    </a:lnTo>
                    <a:lnTo>
                      <a:pt x="3" y="55"/>
                    </a:lnTo>
                    <a:lnTo>
                      <a:pt x="4" y="58"/>
                    </a:lnTo>
                    <a:lnTo>
                      <a:pt x="12" y="60"/>
                    </a:lnTo>
                    <a:lnTo>
                      <a:pt x="12" y="61"/>
                    </a:lnTo>
                    <a:lnTo>
                      <a:pt x="12" y="62"/>
                    </a:lnTo>
                    <a:lnTo>
                      <a:pt x="12" y="65"/>
                    </a:lnTo>
                    <a:lnTo>
                      <a:pt x="12" y="65"/>
                    </a:lnTo>
                    <a:lnTo>
                      <a:pt x="16" y="65"/>
                    </a:lnTo>
                    <a:lnTo>
                      <a:pt x="20" y="64"/>
                    </a:lnTo>
                    <a:lnTo>
                      <a:pt x="20" y="62"/>
                    </a:lnTo>
                    <a:lnTo>
                      <a:pt x="23" y="58"/>
                    </a:lnTo>
                    <a:lnTo>
                      <a:pt x="25" y="58"/>
                    </a:lnTo>
                    <a:lnTo>
                      <a:pt x="25" y="57"/>
                    </a:lnTo>
                    <a:lnTo>
                      <a:pt x="29" y="54"/>
                    </a:lnTo>
                    <a:lnTo>
                      <a:pt x="35" y="55"/>
                    </a:lnTo>
                    <a:lnTo>
                      <a:pt x="49" y="62"/>
                    </a:lnTo>
                    <a:lnTo>
                      <a:pt x="55" y="78"/>
                    </a:lnTo>
                    <a:lnTo>
                      <a:pt x="55" y="81"/>
                    </a:lnTo>
                    <a:lnTo>
                      <a:pt x="62" y="90"/>
                    </a:lnTo>
                    <a:lnTo>
                      <a:pt x="64" y="93"/>
                    </a:lnTo>
                    <a:lnTo>
                      <a:pt x="65" y="93"/>
                    </a:lnTo>
                    <a:lnTo>
                      <a:pt x="67" y="93"/>
                    </a:lnTo>
                    <a:lnTo>
                      <a:pt x="70" y="94"/>
                    </a:lnTo>
                    <a:lnTo>
                      <a:pt x="73" y="100"/>
                    </a:lnTo>
                    <a:lnTo>
                      <a:pt x="75" y="100"/>
                    </a:lnTo>
                    <a:lnTo>
                      <a:pt x="90" y="115"/>
                    </a:lnTo>
                    <a:lnTo>
                      <a:pt x="91" y="115"/>
                    </a:lnTo>
                    <a:lnTo>
                      <a:pt x="100" y="115"/>
                    </a:lnTo>
                    <a:lnTo>
                      <a:pt x="103" y="119"/>
                    </a:lnTo>
                    <a:lnTo>
                      <a:pt x="105" y="122"/>
                    </a:lnTo>
                    <a:lnTo>
                      <a:pt x="109" y="124"/>
                    </a:lnTo>
                    <a:lnTo>
                      <a:pt x="109" y="125"/>
                    </a:lnTo>
                    <a:lnTo>
                      <a:pt x="109" y="126"/>
                    </a:lnTo>
                    <a:lnTo>
                      <a:pt x="113" y="126"/>
                    </a:lnTo>
                    <a:lnTo>
                      <a:pt x="115" y="126"/>
                    </a:lnTo>
                    <a:lnTo>
                      <a:pt x="116" y="128"/>
                    </a:lnTo>
                    <a:lnTo>
                      <a:pt x="118" y="131"/>
                    </a:lnTo>
                    <a:lnTo>
                      <a:pt x="118" y="132"/>
                    </a:lnTo>
                    <a:lnTo>
                      <a:pt x="118" y="135"/>
                    </a:lnTo>
                    <a:lnTo>
                      <a:pt x="120" y="137"/>
                    </a:lnTo>
                    <a:lnTo>
                      <a:pt x="123" y="139"/>
                    </a:lnTo>
                    <a:lnTo>
                      <a:pt x="125" y="137"/>
                    </a:lnTo>
                    <a:lnTo>
                      <a:pt x="126" y="137"/>
                    </a:lnTo>
                    <a:lnTo>
                      <a:pt x="135" y="160"/>
                    </a:lnTo>
                    <a:lnTo>
                      <a:pt x="129" y="163"/>
                    </a:lnTo>
                    <a:lnTo>
                      <a:pt x="131" y="166"/>
                    </a:lnTo>
                    <a:lnTo>
                      <a:pt x="128" y="171"/>
                    </a:lnTo>
                    <a:lnTo>
                      <a:pt x="128" y="176"/>
                    </a:lnTo>
                    <a:lnTo>
                      <a:pt x="129" y="176"/>
                    </a:lnTo>
                    <a:lnTo>
                      <a:pt x="129" y="177"/>
                    </a:lnTo>
                    <a:lnTo>
                      <a:pt x="132" y="176"/>
                    </a:lnTo>
                    <a:lnTo>
                      <a:pt x="134" y="176"/>
                    </a:lnTo>
                    <a:lnTo>
                      <a:pt x="136" y="170"/>
                    </a:lnTo>
                    <a:lnTo>
                      <a:pt x="138" y="169"/>
                    </a:lnTo>
                    <a:lnTo>
                      <a:pt x="139" y="169"/>
                    </a:lnTo>
                    <a:lnTo>
                      <a:pt x="141" y="167"/>
                    </a:lnTo>
                    <a:lnTo>
                      <a:pt x="141" y="161"/>
                    </a:lnTo>
                    <a:lnTo>
                      <a:pt x="141" y="160"/>
                    </a:lnTo>
                    <a:lnTo>
                      <a:pt x="147" y="157"/>
                    </a:lnTo>
                    <a:lnTo>
                      <a:pt x="147" y="157"/>
                    </a:lnTo>
                    <a:lnTo>
                      <a:pt x="148" y="157"/>
                    </a:lnTo>
                    <a:lnTo>
                      <a:pt x="147" y="150"/>
                    </a:lnTo>
                    <a:lnTo>
                      <a:pt x="147" y="148"/>
                    </a:lnTo>
                    <a:lnTo>
                      <a:pt x="144" y="147"/>
                    </a:lnTo>
                    <a:lnTo>
                      <a:pt x="142" y="144"/>
                    </a:lnTo>
                    <a:lnTo>
                      <a:pt x="139" y="144"/>
                    </a:lnTo>
                    <a:lnTo>
                      <a:pt x="141" y="135"/>
                    </a:lnTo>
                    <a:lnTo>
                      <a:pt x="147" y="129"/>
                    </a:lnTo>
                    <a:lnTo>
                      <a:pt x="150" y="129"/>
                    </a:lnTo>
                    <a:lnTo>
                      <a:pt x="154" y="132"/>
                    </a:lnTo>
                    <a:lnTo>
                      <a:pt x="160" y="134"/>
                    </a:lnTo>
                    <a:lnTo>
                      <a:pt x="163" y="139"/>
                    </a:lnTo>
                    <a:lnTo>
                      <a:pt x="166" y="141"/>
                    </a:lnTo>
                    <a:lnTo>
                      <a:pt x="166" y="141"/>
                    </a:lnTo>
                    <a:lnTo>
                      <a:pt x="167" y="137"/>
                    </a:lnTo>
                    <a:lnTo>
                      <a:pt x="160" y="125"/>
                    </a:lnTo>
                    <a:lnTo>
                      <a:pt x="151" y="122"/>
                    </a:lnTo>
                    <a:lnTo>
                      <a:pt x="148" y="119"/>
                    </a:lnTo>
                    <a:lnTo>
                      <a:pt x="132" y="112"/>
                    </a:lnTo>
                    <a:lnTo>
                      <a:pt x="131" y="112"/>
                    </a:lnTo>
                    <a:lnTo>
                      <a:pt x="131" y="110"/>
                    </a:lnTo>
                    <a:lnTo>
                      <a:pt x="131" y="109"/>
                    </a:lnTo>
                    <a:lnTo>
                      <a:pt x="132" y="108"/>
                    </a:lnTo>
                    <a:lnTo>
                      <a:pt x="134" y="106"/>
                    </a:lnTo>
                    <a:lnTo>
                      <a:pt x="134" y="103"/>
                    </a:lnTo>
                    <a:lnTo>
                      <a:pt x="132" y="102"/>
                    </a:lnTo>
                    <a:lnTo>
                      <a:pt x="129" y="102"/>
                    </a:lnTo>
                    <a:lnTo>
                      <a:pt x="129" y="102"/>
                    </a:lnTo>
                    <a:lnTo>
                      <a:pt x="131" y="102"/>
                    </a:lnTo>
                    <a:lnTo>
                      <a:pt x="129" y="102"/>
                    </a:lnTo>
                    <a:lnTo>
                      <a:pt x="120" y="102"/>
                    </a:lnTo>
                    <a:lnTo>
                      <a:pt x="120" y="105"/>
                    </a:lnTo>
                    <a:lnTo>
                      <a:pt x="115" y="99"/>
                    </a:lnTo>
                    <a:lnTo>
                      <a:pt x="113" y="99"/>
                    </a:lnTo>
                    <a:lnTo>
                      <a:pt x="113" y="97"/>
                    </a:lnTo>
                    <a:lnTo>
                      <a:pt x="112" y="97"/>
                    </a:lnTo>
                    <a:lnTo>
                      <a:pt x="105" y="90"/>
                    </a:lnTo>
                    <a:lnTo>
                      <a:pt x="97" y="70"/>
                    </a:lnTo>
                    <a:lnTo>
                      <a:pt x="96" y="70"/>
                    </a:lnTo>
                    <a:lnTo>
                      <a:pt x="94" y="70"/>
                    </a:lnTo>
                    <a:lnTo>
                      <a:pt x="94" y="68"/>
                    </a:lnTo>
                    <a:lnTo>
                      <a:pt x="83" y="61"/>
                    </a:lnTo>
                    <a:lnTo>
                      <a:pt x="80" y="55"/>
                    </a:lnTo>
                    <a:lnTo>
                      <a:pt x="80" y="45"/>
                    </a:lnTo>
                    <a:lnTo>
                      <a:pt x="81" y="45"/>
                    </a:lnTo>
                    <a:lnTo>
                      <a:pt x="81" y="42"/>
                    </a:lnTo>
                    <a:lnTo>
                      <a:pt x="81" y="41"/>
                    </a:lnTo>
                    <a:lnTo>
                      <a:pt x="78" y="41"/>
                    </a:lnTo>
                    <a:lnTo>
                      <a:pt x="78" y="36"/>
                    </a:lnTo>
                    <a:lnTo>
                      <a:pt x="78" y="35"/>
                    </a:lnTo>
                    <a:lnTo>
                      <a:pt x="81" y="32"/>
                    </a:lnTo>
                    <a:lnTo>
                      <a:pt x="83" y="32"/>
                    </a:lnTo>
                    <a:lnTo>
                      <a:pt x="83" y="33"/>
                    </a:lnTo>
                    <a:lnTo>
                      <a:pt x="93" y="28"/>
                    </a:lnTo>
                    <a:lnTo>
                      <a:pt x="94" y="29"/>
                    </a:lnTo>
                    <a:lnTo>
                      <a:pt x="97" y="28"/>
                    </a:lnTo>
                    <a:lnTo>
                      <a:pt x="99" y="28"/>
                    </a:lnTo>
                    <a:lnTo>
                      <a:pt x="99" y="29"/>
                    </a:lnTo>
                    <a:lnTo>
                      <a:pt x="99" y="31"/>
                    </a:lnTo>
                    <a:lnTo>
                      <a:pt x="99" y="32"/>
                    </a:lnTo>
                    <a:lnTo>
                      <a:pt x="100" y="32"/>
                    </a:lnTo>
                    <a:lnTo>
                      <a:pt x="102" y="32"/>
                    </a:lnTo>
                    <a:lnTo>
                      <a:pt x="102" y="31"/>
                    </a:lnTo>
                    <a:lnTo>
                      <a:pt x="102" y="29"/>
                    </a:lnTo>
                    <a:lnTo>
                      <a:pt x="102" y="29"/>
                    </a:lnTo>
                    <a:lnTo>
                      <a:pt x="100" y="28"/>
                    </a:lnTo>
                    <a:lnTo>
                      <a:pt x="100" y="26"/>
                    </a:lnTo>
                    <a:lnTo>
                      <a:pt x="99" y="26"/>
                    </a:lnTo>
                    <a:lnTo>
                      <a:pt x="97" y="25"/>
                    </a:lnTo>
                    <a:lnTo>
                      <a:pt x="97" y="23"/>
                    </a:lnTo>
                    <a:lnTo>
                      <a:pt x="96" y="22"/>
                    </a:lnTo>
                    <a:lnTo>
                      <a:pt x="97" y="17"/>
                    </a:lnTo>
                    <a:lnTo>
                      <a:pt x="96" y="17"/>
                    </a:lnTo>
                    <a:lnTo>
                      <a:pt x="96" y="17"/>
                    </a:lnTo>
                    <a:lnTo>
                      <a:pt x="96" y="16"/>
                    </a:lnTo>
                    <a:lnTo>
                      <a:pt x="96" y="15"/>
                    </a:lnTo>
                    <a:lnTo>
                      <a:pt x="99" y="12"/>
                    </a:lnTo>
                    <a:lnTo>
                      <a:pt x="84" y="10"/>
                    </a:lnTo>
                    <a:lnTo>
                      <a:pt x="83" y="7"/>
                    </a:lnTo>
                    <a:lnTo>
                      <a:pt x="81" y="7"/>
                    </a:lnTo>
                    <a:lnTo>
                      <a:pt x="78" y="6"/>
                    </a:lnTo>
                    <a:lnTo>
                      <a:pt x="77" y="1"/>
                    </a:lnTo>
                    <a:lnTo>
                      <a:pt x="77" y="0"/>
                    </a:lnTo>
                    <a:lnTo>
                      <a:pt x="75" y="0"/>
                    </a:lnTo>
                    <a:lnTo>
                      <a:pt x="74" y="0"/>
                    </a:lnTo>
                    <a:lnTo>
                      <a:pt x="74" y="1"/>
                    </a:lnTo>
                    <a:lnTo>
                      <a:pt x="55" y="6"/>
                    </a:lnTo>
                    <a:lnTo>
                      <a:pt x="52" y="4"/>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42" name="Freeform 242"/>
              <p:cNvSpPr>
                <a:spLocks/>
              </p:cNvSpPr>
              <p:nvPr/>
            </p:nvSpPr>
            <p:spPr bwMode="auto">
              <a:xfrm>
                <a:off x="6206749" y="2485631"/>
                <a:ext cx="152737" cy="184572"/>
              </a:xfrm>
              <a:custGeom>
                <a:avLst/>
                <a:gdLst/>
                <a:ahLst/>
                <a:cxnLst>
                  <a:cxn ang="0">
                    <a:pos x="52" y="9"/>
                  </a:cxn>
                  <a:cxn ang="0">
                    <a:pos x="48" y="12"/>
                  </a:cxn>
                  <a:cxn ang="0">
                    <a:pos x="48" y="16"/>
                  </a:cxn>
                  <a:cxn ang="0">
                    <a:pos x="36" y="13"/>
                  </a:cxn>
                  <a:cxn ang="0">
                    <a:pos x="32" y="23"/>
                  </a:cxn>
                  <a:cxn ang="0">
                    <a:pos x="29" y="20"/>
                  </a:cxn>
                  <a:cxn ang="0">
                    <a:pos x="20" y="15"/>
                  </a:cxn>
                  <a:cxn ang="0">
                    <a:pos x="16" y="23"/>
                  </a:cxn>
                  <a:cxn ang="0">
                    <a:pos x="4" y="36"/>
                  </a:cxn>
                  <a:cxn ang="0">
                    <a:pos x="0" y="42"/>
                  </a:cxn>
                  <a:cxn ang="0">
                    <a:pos x="3" y="46"/>
                  </a:cxn>
                  <a:cxn ang="0">
                    <a:pos x="3" y="55"/>
                  </a:cxn>
                  <a:cxn ang="0">
                    <a:pos x="12" y="61"/>
                  </a:cxn>
                  <a:cxn ang="0">
                    <a:pos x="12" y="65"/>
                  </a:cxn>
                  <a:cxn ang="0">
                    <a:pos x="20" y="62"/>
                  </a:cxn>
                  <a:cxn ang="0">
                    <a:pos x="25" y="57"/>
                  </a:cxn>
                  <a:cxn ang="0">
                    <a:pos x="49" y="62"/>
                  </a:cxn>
                  <a:cxn ang="0">
                    <a:pos x="62" y="90"/>
                  </a:cxn>
                  <a:cxn ang="0">
                    <a:pos x="67" y="93"/>
                  </a:cxn>
                  <a:cxn ang="0">
                    <a:pos x="75" y="100"/>
                  </a:cxn>
                  <a:cxn ang="0">
                    <a:pos x="100" y="115"/>
                  </a:cxn>
                  <a:cxn ang="0">
                    <a:pos x="109" y="124"/>
                  </a:cxn>
                  <a:cxn ang="0">
                    <a:pos x="113" y="126"/>
                  </a:cxn>
                  <a:cxn ang="0">
                    <a:pos x="118" y="131"/>
                  </a:cxn>
                  <a:cxn ang="0">
                    <a:pos x="120" y="137"/>
                  </a:cxn>
                  <a:cxn ang="0">
                    <a:pos x="126" y="137"/>
                  </a:cxn>
                  <a:cxn ang="0">
                    <a:pos x="131" y="166"/>
                  </a:cxn>
                  <a:cxn ang="0">
                    <a:pos x="129" y="176"/>
                  </a:cxn>
                  <a:cxn ang="0">
                    <a:pos x="134" y="176"/>
                  </a:cxn>
                  <a:cxn ang="0">
                    <a:pos x="139" y="169"/>
                  </a:cxn>
                  <a:cxn ang="0">
                    <a:pos x="141" y="160"/>
                  </a:cxn>
                  <a:cxn ang="0">
                    <a:pos x="148" y="157"/>
                  </a:cxn>
                  <a:cxn ang="0">
                    <a:pos x="144" y="147"/>
                  </a:cxn>
                  <a:cxn ang="0">
                    <a:pos x="141" y="135"/>
                  </a:cxn>
                  <a:cxn ang="0">
                    <a:pos x="154" y="132"/>
                  </a:cxn>
                  <a:cxn ang="0">
                    <a:pos x="166" y="141"/>
                  </a:cxn>
                  <a:cxn ang="0">
                    <a:pos x="160" y="125"/>
                  </a:cxn>
                  <a:cxn ang="0">
                    <a:pos x="132" y="112"/>
                  </a:cxn>
                  <a:cxn ang="0">
                    <a:pos x="131" y="109"/>
                  </a:cxn>
                  <a:cxn ang="0">
                    <a:pos x="134" y="103"/>
                  </a:cxn>
                  <a:cxn ang="0">
                    <a:pos x="129" y="102"/>
                  </a:cxn>
                  <a:cxn ang="0">
                    <a:pos x="120" y="102"/>
                  </a:cxn>
                  <a:cxn ang="0">
                    <a:pos x="113" y="99"/>
                  </a:cxn>
                  <a:cxn ang="0">
                    <a:pos x="105" y="90"/>
                  </a:cxn>
                  <a:cxn ang="0">
                    <a:pos x="94" y="70"/>
                  </a:cxn>
                  <a:cxn ang="0">
                    <a:pos x="80" y="55"/>
                  </a:cxn>
                  <a:cxn ang="0">
                    <a:pos x="81" y="42"/>
                  </a:cxn>
                  <a:cxn ang="0">
                    <a:pos x="78" y="36"/>
                  </a:cxn>
                  <a:cxn ang="0">
                    <a:pos x="83" y="32"/>
                  </a:cxn>
                  <a:cxn ang="0">
                    <a:pos x="94" y="29"/>
                  </a:cxn>
                  <a:cxn ang="0">
                    <a:pos x="99" y="29"/>
                  </a:cxn>
                  <a:cxn ang="0">
                    <a:pos x="100" y="32"/>
                  </a:cxn>
                  <a:cxn ang="0">
                    <a:pos x="102" y="29"/>
                  </a:cxn>
                  <a:cxn ang="0">
                    <a:pos x="100" y="26"/>
                  </a:cxn>
                  <a:cxn ang="0">
                    <a:pos x="97" y="23"/>
                  </a:cxn>
                  <a:cxn ang="0">
                    <a:pos x="96" y="17"/>
                  </a:cxn>
                  <a:cxn ang="0">
                    <a:pos x="96" y="15"/>
                  </a:cxn>
                  <a:cxn ang="0">
                    <a:pos x="83" y="7"/>
                  </a:cxn>
                  <a:cxn ang="0">
                    <a:pos x="77" y="1"/>
                  </a:cxn>
                  <a:cxn ang="0">
                    <a:pos x="74" y="0"/>
                  </a:cxn>
                  <a:cxn ang="0">
                    <a:pos x="52" y="4"/>
                  </a:cxn>
                </a:cxnLst>
                <a:rect l="0" t="0" r="r" b="b"/>
                <a:pathLst>
                  <a:path w="167" h="177">
                    <a:moveTo>
                      <a:pt x="52" y="4"/>
                    </a:moveTo>
                    <a:lnTo>
                      <a:pt x="51" y="7"/>
                    </a:lnTo>
                    <a:lnTo>
                      <a:pt x="52" y="9"/>
                    </a:lnTo>
                    <a:lnTo>
                      <a:pt x="51" y="10"/>
                    </a:lnTo>
                    <a:lnTo>
                      <a:pt x="48" y="10"/>
                    </a:lnTo>
                    <a:lnTo>
                      <a:pt x="48" y="12"/>
                    </a:lnTo>
                    <a:lnTo>
                      <a:pt x="48" y="13"/>
                    </a:lnTo>
                    <a:lnTo>
                      <a:pt x="48" y="15"/>
                    </a:lnTo>
                    <a:lnTo>
                      <a:pt x="48" y="16"/>
                    </a:lnTo>
                    <a:lnTo>
                      <a:pt x="39" y="15"/>
                    </a:lnTo>
                    <a:lnTo>
                      <a:pt x="38" y="13"/>
                    </a:lnTo>
                    <a:lnTo>
                      <a:pt x="36" y="13"/>
                    </a:lnTo>
                    <a:lnTo>
                      <a:pt x="35" y="16"/>
                    </a:lnTo>
                    <a:lnTo>
                      <a:pt x="33" y="20"/>
                    </a:lnTo>
                    <a:lnTo>
                      <a:pt x="32" y="23"/>
                    </a:lnTo>
                    <a:lnTo>
                      <a:pt x="32" y="25"/>
                    </a:lnTo>
                    <a:lnTo>
                      <a:pt x="30" y="23"/>
                    </a:lnTo>
                    <a:lnTo>
                      <a:pt x="29" y="20"/>
                    </a:lnTo>
                    <a:lnTo>
                      <a:pt x="25" y="19"/>
                    </a:lnTo>
                    <a:lnTo>
                      <a:pt x="23" y="13"/>
                    </a:lnTo>
                    <a:lnTo>
                      <a:pt x="20" y="15"/>
                    </a:lnTo>
                    <a:lnTo>
                      <a:pt x="19" y="17"/>
                    </a:lnTo>
                    <a:lnTo>
                      <a:pt x="19" y="19"/>
                    </a:lnTo>
                    <a:lnTo>
                      <a:pt x="16" y="23"/>
                    </a:lnTo>
                    <a:lnTo>
                      <a:pt x="1" y="25"/>
                    </a:lnTo>
                    <a:lnTo>
                      <a:pt x="1" y="26"/>
                    </a:lnTo>
                    <a:lnTo>
                      <a:pt x="4" y="36"/>
                    </a:lnTo>
                    <a:lnTo>
                      <a:pt x="1" y="39"/>
                    </a:lnTo>
                    <a:lnTo>
                      <a:pt x="0" y="41"/>
                    </a:lnTo>
                    <a:lnTo>
                      <a:pt x="0" y="42"/>
                    </a:lnTo>
                    <a:lnTo>
                      <a:pt x="0" y="44"/>
                    </a:lnTo>
                    <a:lnTo>
                      <a:pt x="0" y="45"/>
                    </a:lnTo>
                    <a:lnTo>
                      <a:pt x="3" y="46"/>
                    </a:lnTo>
                    <a:lnTo>
                      <a:pt x="3" y="48"/>
                    </a:lnTo>
                    <a:lnTo>
                      <a:pt x="3" y="51"/>
                    </a:lnTo>
                    <a:lnTo>
                      <a:pt x="3" y="55"/>
                    </a:lnTo>
                    <a:lnTo>
                      <a:pt x="4" y="58"/>
                    </a:lnTo>
                    <a:lnTo>
                      <a:pt x="12" y="60"/>
                    </a:lnTo>
                    <a:lnTo>
                      <a:pt x="12" y="61"/>
                    </a:lnTo>
                    <a:lnTo>
                      <a:pt x="12" y="62"/>
                    </a:lnTo>
                    <a:lnTo>
                      <a:pt x="12" y="65"/>
                    </a:lnTo>
                    <a:lnTo>
                      <a:pt x="12" y="65"/>
                    </a:lnTo>
                    <a:lnTo>
                      <a:pt x="16" y="65"/>
                    </a:lnTo>
                    <a:lnTo>
                      <a:pt x="20" y="64"/>
                    </a:lnTo>
                    <a:lnTo>
                      <a:pt x="20" y="62"/>
                    </a:lnTo>
                    <a:lnTo>
                      <a:pt x="23" y="58"/>
                    </a:lnTo>
                    <a:lnTo>
                      <a:pt x="25" y="58"/>
                    </a:lnTo>
                    <a:lnTo>
                      <a:pt x="25" y="57"/>
                    </a:lnTo>
                    <a:lnTo>
                      <a:pt x="29" y="54"/>
                    </a:lnTo>
                    <a:lnTo>
                      <a:pt x="35" y="55"/>
                    </a:lnTo>
                    <a:lnTo>
                      <a:pt x="49" y="62"/>
                    </a:lnTo>
                    <a:lnTo>
                      <a:pt x="55" y="78"/>
                    </a:lnTo>
                    <a:lnTo>
                      <a:pt x="55" y="81"/>
                    </a:lnTo>
                    <a:lnTo>
                      <a:pt x="62" y="90"/>
                    </a:lnTo>
                    <a:lnTo>
                      <a:pt x="64" y="93"/>
                    </a:lnTo>
                    <a:lnTo>
                      <a:pt x="65" y="93"/>
                    </a:lnTo>
                    <a:lnTo>
                      <a:pt x="67" y="93"/>
                    </a:lnTo>
                    <a:lnTo>
                      <a:pt x="70" y="94"/>
                    </a:lnTo>
                    <a:lnTo>
                      <a:pt x="73" y="100"/>
                    </a:lnTo>
                    <a:lnTo>
                      <a:pt x="75" y="100"/>
                    </a:lnTo>
                    <a:lnTo>
                      <a:pt x="90" y="115"/>
                    </a:lnTo>
                    <a:lnTo>
                      <a:pt x="91" y="115"/>
                    </a:lnTo>
                    <a:lnTo>
                      <a:pt x="100" y="115"/>
                    </a:lnTo>
                    <a:lnTo>
                      <a:pt x="103" y="119"/>
                    </a:lnTo>
                    <a:lnTo>
                      <a:pt x="105" y="122"/>
                    </a:lnTo>
                    <a:lnTo>
                      <a:pt x="109" y="124"/>
                    </a:lnTo>
                    <a:lnTo>
                      <a:pt x="109" y="125"/>
                    </a:lnTo>
                    <a:lnTo>
                      <a:pt x="109" y="126"/>
                    </a:lnTo>
                    <a:lnTo>
                      <a:pt x="113" y="126"/>
                    </a:lnTo>
                    <a:lnTo>
                      <a:pt x="115" y="126"/>
                    </a:lnTo>
                    <a:lnTo>
                      <a:pt x="116" y="128"/>
                    </a:lnTo>
                    <a:lnTo>
                      <a:pt x="118" y="131"/>
                    </a:lnTo>
                    <a:lnTo>
                      <a:pt x="118" y="132"/>
                    </a:lnTo>
                    <a:lnTo>
                      <a:pt x="118" y="135"/>
                    </a:lnTo>
                    <a:lnTo>
                      <a:pt x="120" y="137"/>
                    </a:lnTo>
                    <a:lnTo>
                      <a:pt x="123" y="139"/>
                    </a:lnTo>
                    <a:lnTo>
                      <a:pt x="125" y="137"/>
                    </a:lnTo>
                    <a:lnTo>
                      <a:pt x="126" y="137"/>
                    </a:lnTo>
                    <a:lnTo>
                      <a:pt x="135" y="160"/>
                    </a:lnTo>
                    <a:lnTo>
                      <a:pt x="129" y="163"/>
                    </a:lnTo>
                    <a:lnTo>
                      <a:pt x="131" y="166"/>
                    </a:lnTo>
                    <a:lnTo>
                      <a:pt x="128" y="171"/>
                    </a:lnTo>
                    <a:lnTo>
                      <a:pt x="128" y="176"/>
                    </a:lnTo>
                    <a:lnTo>
                      <a:pt x="129" y="176"/>
                    </a:lnTo>
                    <a:lnTo>
                      <a:pt x="129" y="177"/>
                    </a:lnTo>
                    <a:lnTo>
                      <a:pt x="132" y="176"/>
                    </a:lnTo>
                    <a:lnTo>
                      <a:pt x="134" y="176"/>
                    </a:lnTo>
                    <a:lnTo>
                      <a:pt x="136" y="170"/>
                    </a:lnTo>
                    <a:lnTo>
                      <a:pt x="138" y="169"/>
                    </a:lnTo>
                    <a:lnTo>
                      <a:pt x="139" y="169"/>
                    </a:lnTo>
                    <a:lnTo>
                      <a:pt x="141" y="167"/>
                    </a:lnTo>
                    <a:lnTo>
                      <a:pt x="141" y="161"/>
                    </a:lnTo>
                    <a:lnTo>
                      <a:pt x="141" y="160"/>
                    </a:lnTo>
                    <a:lnTo>
                      <a:pt x="147" y="157"/>
                    </a:lnTo>
                    <a:lnTo>
                      <a:pt x="147" y="157"/>
                    </a:lnTo>
                    <a:lnTo>
                      <a:pt x="148" y="157"/>
                    </a:lnTo>
                    <a:lnTo>
                      <a:pt x="147" y="150"/>
                    </a:lnTo>
                    <a:lnTo>
                      <a:pt x="147" y="148"/>
                    </a:lnTo>
                    <a:lnTo>
                      <a:pt x="144" y="147"/>
                    </a:lnTo>
                    <a:lnTo>
                      <a:pt x="142" y="144"/>
                    </a:lnTo>
                    <a:lnTo>
                      <a:pt x="139" y="144"/>
                    </a:lnTo>
                    <a:lnTo>
                      <a:pt x="141" y="135"/>
                    </a:lnTo>
                    <a:lnTo>
                      <a:pt x="147" y="129"/>
                    </a:lnTo>
                    <a:lnTo>
                      <a:pt x="150" y="129"/>
                    </a:lnTo>
                    <a:lnTo>
                      <a:pt x="154" y="132"/>
                    </a:lnTo>
                    <a:lnTo>
                      <a:pt x="160" y="134"/>
                    </a:lnTo>
                    <a:lnTo>
                      <a:pt x="163" y="139"/>
                    </a:lnTo>
                    <a:lnTo>
                      <a:pt x="166" y="141"/>
                    </a:lnTo>
                    <a:lnTo>
                      <a:pt x="166" y="141"/>
                    </a:lnTo>
                    <a:lnTo>
                      <a:pt x="167" y="137"/>
                    </a:lnTo>
                    <a:lnTo>
                      <a:pt x="160" y="125"/>
                    </a:lnTo>
                    <a:lnTo>
                      <a:pt x="151" y="122"/>
                    </a:lnTo>
                    <a:lnTo>
                      <a:pt x="148" y="119"/>
                    </a:lnTo>
                    <a:lnTo>
                      <a:pt x="132" y="112"/>
                    </a:lnTo>
                    <a:lnTo>
                      <a:pt x="131" y="112"/>
                    </a:lnTo>
                    <a:lnTo>
                      <a:pt x="131" y="110"/>
                    </a:lnTo>
                    <a:lnTo>
                      <a:pt x="131" y="109"/>
                    </a:lnTo>
                    <a:lnTo>
                      <a:pt x="132" y="108"/>
                    </a:lnTo>
                    <a:lnTo>
                      <a:pt x="134" y="106"/>
                    </a:lnTo>
                    <a:lnTo>
                      <a:pt x="134" y="103"/>
                    </a:lnTo>
                    <a:lnTo>
                      <a:pt x="132" y="102"/>
                    </a:lnTo>
                    <a:lnTo>
                      <a:pt x="129" y="102"/>
                    </a:lnTo>
                    <a:lnTo>
                      <a:pt x="129" y="102"/>
                    </a:lnTo>
                    <a:lnTo>
                      <a:pt x="131" y="102"/>
                    </a:lnTo>
                    <a:lnTo>
                      <a:pt x="129" y="102"/>
                    </a:lnTo>
                    <a:lnTo>
                      <a:pt x="120" y="102"/>
                    </a:lnTo>
                    <a:lnTo>
                      <a:pt x="120" y="105"/>
                    </a:lnTo>
                    <a:lnTo>
                      <a:pt x="115" y="99"/>
                    </a:lnTo>
                    <a:lnTo>
                      <a:pt x="113" y="99"/>
                    </a:lnTo>
                    <a:lnTo>
                      <a:pt x="113" y="97"/>
                    </a:lnTo>
                    <a:lnTo>
                      <a:pt x="112" y="97"/>
                    </a:lnTo>
                    <a:lnTo>
                      <a:pt x="105" y="90"/>
                    </a:lnTo>
                    <a:lnTo>
                      <a:pt x="97" y="70"/>
                    </a:lnTo>
                    <a:lnTo>
                      <a:pt x="96" y="70"/>
                    </a:lnTo>
                    <a:lnTo>
                      <a:pt x="94" y="70"/>
                    </a:lnTo>
                    <a:lnTo>
                      <a:pt x="94" y="68"/>
                    </a:lnTo>
                    <a:lnTo>
                      <a:pt x="83" y="61"/>
                    </a:lnTo>
                    <a:lnTo>
                      <a:pt x="80" y="55"/>
                    </a:lnTo>
                    <a:lnTo>
                      <a:pt x="80" y="45"/>
                    </a:lnTo>
                    <a:lnTo>
                      <a:pt x="81" y="45"/>
                    </a:lnTo>
                    <a:lnTo>
                      <a:pt x="81" y="42"/>
                    </a:lnTo>
                    <a:lnTo>
                      <a:pt x="81" y="41"/>
                    </a:lnTo>
                    <a:lnTo>
                      <a:pt x="78" y="41"/>
                    </a:lnTo>
                    <a:lnTo>
                      <a:pt x="78" y="36"/>
                    </a:lnTo>
                    <a:lnTo>
                      <a:pt x="78" y="35"/>
                    </a:lnTo>
                    <a:lnTo>
                      <a:pt x="81" y="32"/>
                    </a:lnTo>
                    <a:lnTo>
                      <a:pt x="83" y="32"/>
                    </a:lnTo>
                    <a:lnTo>
                      <a:pt x="83" y="33"/>
                    </a:lnTo>
                    <a:lnTo>
                      <a:pt x="93" y="28"/>
                    </a:lnTo>
                    <a:lnTo>
                      <a:pt x="94" y="29"/>
                    </a:lnTo>
                    <a:lnTo>
                      <a:pt x="97" y="28"/>
                    </a:lnTo>
                    <a:lnTo>
                      <a:pt x="99" y="28"/>
                    </a:lnTo>
                    <a:lnTo>
                      <a:pt x="99" y="29"/>
                    </a:lnTo>
                    <a:lnTo>
                      <a:pt x="99" y="31"/>
                    </a:lnTo>
                    <a:lnTo>
                      <a:pt x="99" y="32"/>
                    </a:lnTo>
                    <a:lnTo>
                      <a:pt x="100" y="32"/>
                    </a:lnTo>
                    <a:lnTo>
                      <a:pt x="102" y="32"/>
                    </a:lnTo>
                    <a:lnTo>
                      <a:pt x="102" y="31"/>
                    </a:lnTo>
                    <a:lnTo>
                      <a:pt x="102" y="29"/>
                    </a:lnTo>
                    <a:lnTo>
                      <a:pt x="102" y="29"/>
                    </a:lnTo>
                    <a:lnTo>
                      <a:pt x="100" y="28"/>
                    </a:lnTo>
                    <a:lnTo>
                      <a:pt x="100" y="26"/>
                    </a:lnTo>
                    <a:lnTo>
                      <a:pt x="99" y="26"/>
                    </a:lnTo>
                    <a:lnTo>
                      <a:pt x="97" y="25"/>
                    </a:lnTo>
                    <a:lnTo>
                      <a:pt x="97" y="23"/>
                    </a:lnTo>
                    <a:lnTo>
                      <a:pt x="96" y="22"/>
                    </a:lnTo>
                    <a:lnTo>
                      <a:pt x="97" y="17"/>
                    </a:lnTo>
                    <a:lnTo>
                      <a:pt x="96" y="17"/>
                    </a:lnTo>
                    <a:lnTo>
                      <a:pt x="96" y="17"/>
                    </a:lnTo>
                    <a:lnTo>
                      <a:pt x="96" y="16"/>
                    </a:lnTo>
                    <a:lnTo>
                      <a:pt x="96" y="15"/>
                    </a:lnTo>
                    <a:lnTo>
                      <a:pt x="99" y="12"/>
                    </a:lnTo>
                    <a:lnTo>
                      <a:pt x="84" y="10"/>
                    </a:lnTo>
                    <a:lnTo>
                      <a:pt x="83" y="7"/>
                    </a:lnTo>
                    <a:lnTo>
                      <a:pt x="81" y="7"/>
                    </a:lnTo>
                    <a:lnTo>
                      <a:pt x="78" y="6"/>
                    </a:lnTo>
                    <a:lnTo>
                      <a:pt x="77" y="1"/>
                    </a:lnTo>
                    <a:lnTo>
                      <a:pt x="77" y="0"/>
                    </a:lnTo>
                    <a:lnTo>
                      <a:pt x="75" y="0"/>
                    </a:lnTo>
                    <a:lnTo>
                      <a:pt x="74" y="0"/>
                    </a:lnTo>
                    <a:lnTo>
                      <a:pt x="74" y="1"/>
                    </a:lnTo>
                    <a:lnTo>
                      <a:pt x="55" y="6"/>
                    </a:lnTo>
                    <a:lnTo>
                      <a:pt x="52" y="4"/>
                    </a:lnTo>
                  </a:path>
                </a:pathLst>
              </a:custGeom>
              <a:solidFill>
                <a:srgbClr val="00AFE6"/>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43" name="Freeform 243"/>
              <p:cNvSpPr>
                <a:spLocks/>
              </p:cNvSpPr>
              <p:nvPr/>
            </p:nvSpPr>
            <p:spPr bwMode="auto">
              <a:xfrm>
                <a:off x="6324374" y="2522139"/>
                <a:ext cx="50912" cy="58819"/>
              </a:xfrm>
              <a:custGeom>
                <a:avLst/>
                <a:gdLst/>
                <a:ahLst/>
                <a:cxnLst>
                  <a:cxn ang="0">
                    <a:pos x="38" y="54"/>
                  </a:cxn>
                  <a:cxn ang="0">
                    <a:pos x="33" y="51"/>
                  </a:cxn>
                  <a:cxn ang="0">
                    <a:pos x="30" y="48"/>
                  </a:cxn>
                  <a:cxn ang="0">
                    <a:pos x="26" y="46"/>
                  </a:cxn>
                  <a:cxn ang="0">
                    <a:pos x="22" y="36"/>
                  </a:cxn>
                  <a:cxn ang="0">
                    <a:pos x="14" y="30"/>
                  </a:cxn>
                  <a:cxn ang="0">
                    <a:pos x="8" y="25"/>
                  </a:cxn>
                  <a:cxn ang="0">
                    <a:pos x="6" y="19"/>
                  </a:cxn>
                  <a:cxn ang="0">
                    <a:pos x="6" y="16"/>
                  </a:cxn>
                  <a:cxn ang="0">
                    <a:pos x="3" y="11"/>
                  </a:cxn>
                  <a:cxn ang="0">
                    <a:pos x="1" y="7"/>
                  </a:cxn>
                  <a:cxn ang="0">
                    <a:pos x="3" y="0"/>
                  </a:cxn>
                  <a:cxn ang="0">
                    <a:pos x="8" y="6"/>
                  </a:cxn>
                  <a:cxn ang="0">
                    <a:pos x="16" y="1"/>
                  </a:cxn>
                  <a:cxn ang="0">
                    <a:pos x="20" y="3"/>
                  </a:cxn>
                  <a:cxn ang="0">
                    <a:pos x="23" y="3"/>
                  </a:cxn>
                  <a:cxn ang="0">
                    <a:pos x="29" y="3"/>
                  </a:cxn>
                  <a:cxn ang="0">
                    <a:pos x="33" y="3"/>
                  </a:cxn>
                  <a:cxn ang="0">
                    <a:pos x="35" y="4"/>
                  </a:cxn>
                  <a:cxn ang="0">
                    <a:pos x="40" y="6"/>
                  </a:cxn>
                  <a:cxn ang="0">
                    <a:pos x="42" y="4"/>
                  </a:cxn>
                  <a:cxn ang="0">
                    <a:pos x="43" y="7"/>
                  </a:cxn>
                  <a:cxn ang="0">
                    <a:pos x="49" y="7"/>
                  </a:cxn>
                  <a:cxn ang="0">
                    <a:pos x="52" y="10"/>
                  </a:cxn>
                  <a:cxn ang="0">
                    <a:pos x="49" y="16"/>
                  </a:cxn>
                  <a:cxn ang="0">
                    <a:pos x="48" y="19"/>
                  </a:cxn>
                  <a:cxn ang="0">
                    <a:pos x="51" y="20"/>
                  </a:cxn>
                  <a:cxn ang="0">
                    <a:pos x="53" y="23"/>
                  </a:cxn>
                  <a:cxn ang="0">
                    <a:pos x="53" y="23"/>
                  </a:cxn>
                  <a:cxn ang="0">
                    <a:pos x="56" y="26"/>
                  </a:cxn>
                  <a:cxn ang="0">
                    <a:pos x="52" y="26"/>
                  </a:cxn>
                  <a:cxn ang="0">
                    <a:pos x="53" y="30"/>
                  </a:cxn>
                  <a:cxn ang="0">
                    <a:pos x="53" y="35"/>
                  </a:cxn>
                  <a:cxn ang="0">
                    <a:pos x="51" y="35"/>
                  </a:cxn>
                  <a:cxn ang="0">
                    <a:pos x="49" y="36"/>
                  </a:cxn>
                  <a:cxn ang="0">
                    <a:pos x="46" y="35"/>
                  </a:cxn>
                  <a:cxn ang="0">
                    <a:pos x="48" y="38"/>
                  </a:cxn>
                  <a:cxn ang="0">
                    <a:pos x="48" y="41"/>
                  </a:cxn>
                  <a:cxn ang="0">
                    <a:pos x="46" y="41"/>
                  </a:cxn>
                  <a:cxn ang="0">
                    <a:pos x="45" y="39"/>
                  </a:cxn>
                  <a:cxn ang="0">
                    <a:pos x="42" y="42"/>
                  </a:cxn>
                  <a:cxn ang="0">
                    <a:pos x="40" y="45"/>
                  </a:cxn>
                  <a:cxn ang="0">
                    <a:pos x="39" y="48"/>
                  </a:cxn>
                  <a:cxn ang="0">
                    <a:pos x="40" y="51"/>
                  </a:cxn>
                  <a:cxn ang="0">
                    <a:pos x="39" y="57"/>
                  </a:cxn>
                </a:cxnLst>
                <a:rect l="0" t="0" r="r" b="b"/>
                <a:pathLst>
                  <a:path w="56" h="57">
                    <a:moveTo>
                      <a:pt x="39" y="57"/>
                    </a:moveTo>
                    <a:lnTo>
                      <a:pt x="39" y="55"/>
                    </a:lnTo>
                    <a:lnTo>
                      <a:pt x="38" y="54"/>
                    </a:lnTo>
                    <a:lnTo>
                      <a:pt x="38" y="54"/>
                    </a:lnTo>
                    <a:lnTo>
                      <a:pt x="36" y="52"/>
                    </a:lnTo>
                    <a:lnTo>
                      <a:pt x="33" y="51"/>
                    </a:lnTo>
                    <a:lnTo>
                      <a:pt x="32" y="51"/>
                    </a:lnTo>
                    <a:lnTo>
                      <a:pt x="30" y="48"/>
                    </a:lnTo>
                    <a:lnTo>
                      <a:pt x="30" y="48"/>
                    </a:lnTo>
                    <a:lnTo>
                      <a:pt x="27" y="46"/>
                    </a:lnTo>
                    <a:lnTo>
                      <a:pt x="26" y="48"/>
                    </a:lnTo>
                    <a:lnTo>
                      <a:pt x="26" y="46"/>
                    </a:lnTo>
                    <a:lnTo>
                      <a:pt x="27" y="46"/>
                    </a:lnTo>
                    <a:lnTo>
                      <a:pt x="22" y="39"/>
                    </a:lnTo>
                    <a:lnTo>
                      <a:pt x="22" y="36"/>
                    </a:lnTo>
                    <a:lnTo>
                      <a:pt x="20" y="36"/>
                    </a:lnTo>
                    <a:lnTo>
                      <a:pt x="19" y="35"/>
                    </a:lnTo>
                    <a:lnTo>
                      <a:pt x="14" y="30"/>
                    </a:lnTo>
                    <a:lnTo>
                      <a:pt x="13" y="29"/>
                    </a:lnTo>
                    <a:lnTo>
                      <a:pt x="11" y="25"/>
                    </a:lnTo>
                    <a:lnTo>
                      <a:pt x="8" y="25"/>
                    </a:lnTo>
                    <a:lnTo>
                      <a:pt x="7" y="22"/>
                    </a:lnTo>
                    <a:lnTo>
                      <a:pt x="6" y="22"/>
                    </a:lnTo>
                    <a:lnTo>
                      <a:pt x="6" y="19"/>
                    </a:lnTo>
                    <a:lnTo>
                      <a:pt x="7" y="19"/>
                    </a:lnTo>
                    <a:lnTo>
                      <a:pt x="6" y="17"/>
                    </a:lnTo>
                    <a:lnTo>
                      <a:pt x="6" y="16"/>
                    </a:lnTo>
                    <a:lnTo>
                      <a:pt x="4" y="14"/>
                    </a:lnTo>
                    <a:lnTo>
                      <a:pt x="3" y="11"/>
                    </a:lnTo>
                    <a:lnTo>
                      <a:pt x="3" y="11"/>
                    </a:lnTo>
                    <a:lnTo>
                      <a:pt x="0" y="9"/>
                    </a:lnTo>
                    <a:lnTo>
                      <a:pt x="0" y="9"/>
                    </a:lnTo>
                    <a:lnTo>
                      <a:pt x="1" y="7"/>
                    </a:lnTo>
                    <a:lnTo>
                      <a:pt x="1" y="7"/>
                    </a:lnTo>
                    <a:lnTo>
                      <a:pt x="1" y="1"/>
                    </a:lnTo>
                    <a:lnTo>
                      <a:pt x="3" y="0"/>
                    </a:lnTo>
                    <a:lnTo>
                      <a:pt x="4" y="1"/>
                    </a:lnTo>
                    <a:lnTo>
                      <a:pt x="4" y="1"/>
                    </a:lnTo>
                    <a:lnTo>
                      <a:pt x="8" y="6"/>
                    </a:lnTo>
                    <a:lnTo>
                      <a:pt x="8" y="6"/>
                    </a:lnTo>
                    <a:lnTo>
                      <a:pt x="11" y="1"/>
                    </a:lnTo>
                    <a:lnTo>
                      <a:pt x="16" y="1"/>
                    </a:lnTo>
                    <a:lnTo>
                      <a:pt x="17" y="0"/>
                    </a:lnTo>
                    <a:lnTo>
                      <a:pt x="17" y="0"/>
                    </a:lnTo>
                    <a:lnTo>
                      <a:pt x="20" y="3"/>
                    </a:lnTo>
                    <a:lnTo>
                      <a:pt x="22" y="3"/>
                    </a:lnTo>
                    <a:lnTo>
                      <a:pt x="22" y="1"/>
                    </a:lnTo>
                    <a:lnTo>
                      <a:pt x="23" y="3"/>
                    </a:lnTo>
                    <a:lnTo>
                      <a:pt x="27" y="3"/>
                    </a:lnTo>
                    <a:lnTo>
                      <a:pt x="27" y="3"/>
                    </a:lnTo>
                    <a:lnTo>
                      <a:pt x="29" y="3"/>
                    </a:lnTo>
                    <a:lnTo>
                      <a:pt x="30" y="4"/>
                    </a:lnTo>
                    <a:lnTo>
                      <a:pt x="30" y="4"/>
                    </a:lnTo>
                    <a:lnTo>
                      <a:pt x="33" y="3"/>
                    </a:lnTo>
                    <a:lnTo>
                      <a:pt x="33" y="3"/>
                    </a:lnTo>
                    <a:lnTo>
                      <a:pt x="35" y="4"/>
                    </a:lnTo>
                    <a:lnTo>
                      <a:pt x="35" y="4"/>
                    </a:lnTo>
                    <a:lnTo>
                      <a:pt x="36" y="3"/>
                    </a:lnTo>
                    <a:lnTo>
                      <a:pt x="39" y="4"/>
                    </a:lnTo>
                    <a:lnTo>
                      <a:pt x="40" y="6"/>
                    </a:lnTo>
                    <a:lnTo>
                      <a:pt x="40" y="4"/>
                    </a:lnTo>
                    <a:lnTo>
                      <a:pt x="40" y="4"/>
                    </a:lnTo>
                    <a:lnTo>
                      <a:pt x="42" y="4"/>
                    </a:lnTo>
                    <a:lnTo>
                      <a:pt x="43" y="6"/>
                    </a:lnTo>
                    <a:lnTo>
                      <a:pt x="43" y="7"/>
                    </a:lnTo>
                    <a:lnTo>
                      <a:pt x="43" y="7"/>
                    </a:lnTo>
                    <a:lnTo>
                      <a:pt x="45" y="9"/>
                    </a:lnTo>
                    <a:lnTo>
                      <a:pt x="48" y="9"/>
                    </a:lnTo>
                    <a:lnTo>
                      <a:pt x="49" y="7"/>
                    </a:lnTo>
                    <a:lnTo>
                      <a:pt x="52" y="7"/>
                    </a:lnTo>
                    <a:lnTo>
                      <a:pt x="52" y="9"/>
                    </a:lnTo>
                    <a:lnTo>
                      <a:pt x="52" y="10"/>
                    </a:lnTo>
                    <a:lnTo>
                      <a:pt x="52" y="10"/>
                    </a:lnTo>
                    <a:lnTo>
                      <a:pt x="49" y="16"/>
                    </a:lnTo>
                    <a:lnTo>
                      <a:pt x="49" y="16"/>
                    </a:lnTo>
                    <a:lnTo>
                      <a:pt x="49" y="16"/>
                    </a:lnTo>
                    <a:lnTo>
                      <a:pt x="49" y="17"/>
                    </a:lnTo>
                    <a:lnTo>
                      <a:pt x="48" y="19"/>
                    </a:lnTo>
                    <a:lnTo>
                      <a:pt x="49" y="20"/>
                    </a:lnTo>
                    <a:lnTo>
                      <a:pt x="49" y="20"/>
                    </a:lnTo>
                    <a:lnTo>
                      <a:pt x="51" y="20"/>
                    </a:lnTo>
                    <a:lnTo>
                      <a:pt x="51" y="20"/>
                    </a:lnTo>
                    <a:lnTo>
                      <a:pt x="52" y="22"/>
                    </a:lnTo>
                    <a:lnTo>
                      <a:pt x="53" y="23"/>
                    </a:lnTo>
                    <a:lnTo>
                      <a:pt x="53" y="23"/>
                    </a:lnTo>
                    <a:lnTo>
                      <a:pt x="53" y="23"/>
                    </a:lnTo>
                    <a:lnTo>
                      <a:pt x="53" y="23"/>
                    </a:lnTo>
                    <a:lnTo>
                      <a:pt x="55" y="25"/>
                    </a:lnTo>
                    <a:lnTo>
                      <a:pt x="56" y="25"/>
                    </a:lnTo>
                    <a:lnTo>
                      <a:pt x="56" y="26"/>
                    </a:lnTo>
                    <a:lnTo>
                      <a:pt x="55" y="26"/>
                    </a:lnTo>
                    <a:lnTo>
                      <a:pt x="52" y="26"/>
                    </a:lnTo>
                    <a:lnTo>
                      <a:pt x="52" y="26"/>
                    </a:lnTo>
                    <a:lnTo>
                      <a:pt x="51" y="26"/>
                    </a:lnTo>
                    <a:lnTo>
                      <a:pt x="51" y="26"/>
                    </a:lnTo>
                    <a:lnTo>
                      <a:pt x="53" y="30"/>
                    </a:lnTo>
                    <a:lnTo>
                      <a:pt x="55" y="30"/>
                    </a:lnTo>
                    <a:lnTo>
                      <a:pt x="53" y="33"/>
                    </a:lnTo>
                    <a:lnTo>
                      <a:pt x="53" y="35"/>
                    </a:lnTo>
                    <a:lnTo>
                      <a:pt x="52" y="33"/>
                    </a:lnTo>
                    <a:lnTo>
                      <a:pt x="52" y="33"/>
                    </a:lnTo>
                    <a:lnTo>
                      <a:pt x="51" y="35"/>
                    </a:lnTo>
                    <a:lnTo>
                      <a:pt x="51" y="35"/>
                    </a:lnTo>
                    <a:lnTo>
                      <a:pt x="49" y="35"/>
                    </a:lnTo>
                    <a:lnTo>
                      <a:pt x="49" y="36"/>
                    </a:lnTo>
                    <a:lnTo>
                      <a:pt x="48" y="36"/>
                    </a:lnTo>
                    <a:lnTo>
                      <a:pt x="48" y="35"/>
                    </a:lnTo>
                    <a:lnTo>
                      <a:pt x="46" y="35"/>
                    </a:lnTo>
                    <a:lnTo>
                      <a:pt x="46" y="36"/>
                    </a:lnTo>
                    <a:lnTo>
                      <a:pt x="46" y="36"/>
                    </a:lnTo>
                    <a:lnTo>
                      <a:pt x="48" y="38"/>
                    </a:lnTo>
                    <a:lnTo>
                      <a:pt x="48" y="38"/>
                    </a:lnTo>
                    <a:lnTo>
                      <a:pt x="48" y="39"/>
                    </a:lnTo>
                    <a:lnTo>
                      <a:pt x="48" y="41"/>
                    </a:lnTo>
                    <a:lnTo>
                      <a:pt x="48" y="41"/>
                    </a:lnTo>
                    <a:lnTo>
                      <a:pt x="48" y="41"/>
                    </a:lnTo>
                    <a:lnTo>
                      <a:pt x="46" y="41"/>
                    </a:lnTo>
                    <a:lnTo>
                      <a:pt x="46" y="39"/>
                    </a:lnTo>
                    <a:lnTo>
                      <a:pt x="46" y="39"/>
                    </a:lnTo>
                    <a:lnTo>
                      <a:pt x="45" y="39"/>
                    </a:lnTo>
                    <a:lnTo>
                      <a:pt x="42" y="41"/>
                    </a:lnTo>
                    <a:lnTo>
                      <a:pt x="42" y="42"/>
                    </a:lnTo>
                    <a:lnTo>
                      <a:pt x="42" y="42"/>
                    </a:lnTo>
                    <a:lnTo>
                      <a:pt x="42" y="45"/>
                    </a:lnTo>
                    <a:lnTo>
                      <a:pt x="40" y="45"/>
                    </a:lnTo>
                    <a:lnTo>
                      <a:pt x="40" y="45"/>
                    </a:lnTo>
                    <a:lnTo>
                      <a:pt x="39" y="46"/>
                    </a:lnTo>
                    <a:lnTo>
                      <a:pt x="39" y="48"/>
                    </a:lnTo>
                    <a:lnTo>
                      <a:pt x="39" y="48"/>
                    </a:lnTo>
                    <a:lnTo>
                      <a:pt x="39" y="49"/>
                    </a:lnTo>
                    <a:lnTo>
                      <a:pt x="39" y="51"/>
                    </a:lnTo>
                    <a:lnTo>
                      <a:pt x="40" y="51"/>
                    </a:lnTo>
                    <a:lnTo>
                      <a:pt x="40" y="52"/>
                    </a:lnTo>
                    <a:lnTo>
                      <a:pt x="39" y="55"/>
                    </a:lnTo>
                    <a:lnTo>
                      <a:pt x="39" y="57"/>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44" name="Freeform 244"/>
              <p:cNvSpPr>
                <a:spLocks/>
              </p:cNvSpPr>
              <p:nvPr/>
            </p:nvSpPr>
            <p:spPr bwMode="auto">
              <a:xfrm>
                <a:off x="6324374" y="2522139"/>
                <a:ext cx="50912" cy="58819"/>
              </a:xfrm>
              <a:custGeom>
                <a:avLst/>
                <a:gdLst/>
                <a:ahLst/>
                <a:cxnLst>
                  <a:cxn ang="0">
                    <a:pos x="38" y="54"/>
                  </a:cxn>
                  <a:cxn ang="0">
                    <a:pos x="33" y="51"/>
                  </a:cxn>
                  <a:cxn ang="0">
                    <a:pos x="30" y="48"/>
                  </a:cxn>
                  <a:cxn ang="0">
                    <a:pos x="26" y="46"/>
                  </a:cxn>
                  <a:cxn ang="0">
                    <a:pos x="22" y="36"/>
                  </a:cxn>
                  <a:cxn ang="0">
                    <a:pos x="14" y="30"/>
                  </a:cxn>
                  <a:cxn ang="0">
                    <a:pos x="8" y="25"/>
                  </a:cxn>
                  <a:cxn ang="0">
                    <a:pos x="6" y="19"/>
                  </a:cxn>
                  <a:cxn ang="0">
                    <a:pos x="6" y="16"/>
                  </a:cxn>
                  <a:cxn ang="0">
                    <a:pos x="3" y="11"/>
                  </a:cxn>
                  <a:cxn ang="0">
                    <a:pos x="1" y="7"/>
                  </a:cxn>
                  <a:cxn ang="0">
                    <a:pos x="3" y="0"/>
                  </a:cxn>
                  <a:cxn ang="0">
                    <a:pos x="8" y="6"/>
                  </a:cxn>
                  <a:cxn ang="0">
                    <a:pos x="16" y="1"/>
                  </a:cxn>
                  <a:cxn ang="0">
                    <a:pos x="20" y="3"/>
                  </a:cxn>
                  <a:cxn ang="0">
                    <a:pos x="23" y="3"/>
                  </a:cxn>
                  <a:cxn ang="0">
                    <a:pos x="29" y="3"/>
                  </a:cxn>
                  <a:cxn ang="0">
                    <a:pos x="33" y="3"/>
                  </a:cxn>
                  <a:cxn ang="0">
                    <a:pos x="35" y="4"/>
                  </a:cxn>
                  <a:cxn ang="0">
                    <a:pos x="40" y="6"/>
                  </a:cxn>
                  <a:cxn ang="0">
                    <a:pos x="42" y="4"/>
                  </a:cxn>
                  <a:cxn ang="0">
                    <a:pos x="43" y="7"/>
                  </a:cxn>
                  <a:cxn ang="0">
                    <a:pos x="49" y="7"/>
                  </a:cxn>
                  <a:cxn ang="0">
                    <a:pos x="52" y="10"/>
                  </a:cxn>
                  <a:cxn ang="0">
                    <a:pos x="49" y="16"/>
                  </a:cxn>
                  <a:cxn ang="0">
                    <a:pos x="48" y="19"/>
                  </a:cxn>
                  <a:cxn ang="0">
                    <a:pos x="51" y="20"/>
                  </a:cxn>
                  <a:cxn ang="0">
                    <a:pos x="53" y="23"/>
                  </a:cxn>
                  <a:cxn ang="0">
                    <a:pos x="53" y="23"/>
                  </a:cxn>
                  <a:cxn ang="0">
                    <a:pos x="56" y="26"/>
                  </a:cxn>
                  <a:cxn ang="0">
                    <a:pos x="52" y="26"/>
                  </a:cxn>
                  <a:cxn ang="0">
                    <a:pos x="53" y="30"/>
                  </a:cxn>
                  <a:cxn ang="0">
                    <a:pos x="53" y="35"/>
                  </a:cxn>
                  <a:cxn ang="0">
                    <a:pos x="51" y="35"/>
                  </a:cxn>
                  <a:cxn ang="0">
                    <a:pos x="49" y="36"/>
                  </a:cxn>
                  <a:cxn ang="0">
                    <a:pos x="46" y="35"/>
                  </a:cxn>
                  <a:cxn ang="0">
                    <a:pos x="48" y="38"/>
                  </a:cxn>
                  <a:cxn ang="0">
                    <a:pos x="48" y="41"/>
                  </a:cxn>
                  <a:cxn ang="0">
                    <a:pos x="46" y="41"/>
                  </a:cxn>
                  <a:cxn ang="0">
                    <a:pos x="45" y="39"/>
                  </a:cxn>
                  <a:cxn ang="0">
                    <a:pos x="42" y="42"/>
                  </a:cxn>
                  <a:cxn ang="0">
                    <a:pos x="40" y="45"/>
                  </a:cxn>
                  <a:cxn ang="0">
                    <a:pos x="39" y="48"/>
                  </a:cxn>
                  <a:cxn ang="0">
                    <a:pos x="40" y="51"/>
                  </a:cxn>
                  <a:cxn ang="0">
                    <a:pos x="39" y="57"/>
                  </a:cxn>
                </a:cxnLst>
                <a:rect l="0" t="0" r="r" b="b"/>
                <a:pathLst>
                  <a:path w="56" h="57">
                    <a:moveTo>
                      <a:pt x="39" y="57"/>
                    </a:moveTo>
                    <a:lnTo>
                      <a:pt x="39" y="55"/>
                    </a:lnTo>
                    <a:lnTo>
                      <a:pt x="38" y="54"/>
                    </a:lnTo>
                    <a:lnTo>
                      <a:pt x="38" y="54"/>
                    </a:lnTo>
                    <a:lnTo>
                      <a:pt x="36" y="52"/>
                    </a:lnTo>
                    <a:lnTo>
                      <a:pt x="33" y="51"/>
                    </a:lnTo>
                    <a:lnTo>
                      <a:pt x="32" y="51"/>
                    </a:lnTo>
                    <a:lnTo>
                      <a:pt x="30" y="48"/>
                    </a:lnTo>
                    <a:lnTo>
                      <a:pt x="30" y="48"/>
                    </a:lnTo>
                    <a:lnTo>
                      <a:pt x="27" y="46"/>
                    </a:lnTo>
                    <a:lnTo>
                      <a:pt x="26" y="48"/>
                    </a:lnTo>
                    <a:lnTo>
                      <a:pt x="26" y="46"/>
                    </a:lnTo>
                    <a:lnTo>
                      <a:pt x="27" y="46"/>
                    </a:lnTo>
                    <a:lnTo>
                      <a:pt x="22" y="39"/>
                    </a:lnTo>
                    <a:lnTo>
                      <a:pt x="22" y="36"/>
                    </a:lnTo>
                    <a:lnTo>
                      <a:pt x="20" y="36"/>
                    </a:lnTo>
                    <a:lnTo>
                      <a:pt x="19" y="35"/>
                    </a:lnTo>
                    <a:lnTo>
                      <a:pt x="14" y="30"/>
                    </a:lnTo>
                    <a:lnTo>
                      <a:pt x="13" y="29"/>
                    </a:lnTo>
                    <a:lnTo>
                      <a:pt x="11" y="25"/>
                    </a:lnTo>
                    <a:lnTo>
                      <a:pt x="8" y="25"/>
                    </a:lnTo>
                    <a:lnTo>
                      <a:pt x="7" y="22"/>
                    </a:lnTo>
                    <a:lnTo>
                      <a:pt x="6" y="22"/>
                    </a:lnTo>
                    <a:lnTo>
                      <a:pt x="6" y="19"/>
                    </a:lnTo>
                    <a:lnTo>
                      <a:pt x="7" y="19"/>
                    </a:lnTo>
                    <a:lnTo>
                      <a:pt x="6" y="17"/>
                    </a:lnTo>
                    <a:lnTo>
                      <a:pt x="6" y="16"/>
                    </a:lnTo>
                    <a:lnTo>
                      <a:pt x="4" y="14"/>
                    </a:lnTo>
                    <a:lnTo>
                      <a:pt x="3" y="11"/>
                    </a:lnTo>
                    <a:lnTo>
                      <a:pt x="3" y="11"/>
                    </a:lnTo>
                    <a:lnTo>
                      <a:pt x="0" y="9"/>
                    </a:lnTo>
                    <a:lnTo>
                      <a:pt x="0" y="9"/>
                    </a:lnTo>
                    <a:lnTo>
                      <a:pt x="1" y="7"/>
                    </a:lnTo>
                    <a:lnTo>
                      <a:pt x="1" y="7"/>
                    </a:lnTo>
                    <a:lnTo>
                      <a:pt x="1" y="1"/>
                    </a:lnTo>
                    <a:lnTo>
                      <a:pt x="3" y="0"/>
                    </a:lnTo>
                    <a:lnTo>
                      <a:pt x="4" y="1"/>
                    </a:lnTo>
                    <a:lnTo>
                      <a:pt x="4" y="1"/>
                    </a:lnTo>
                    <a:lnTo>
                      <a:pt x="8" y="6"/>
                    </a:lnTo>
                    <a:lnTo>
                      <a:pt x="8" y="6"/>
                    </a:lnTo>
                    <a:lnTo>
                      <a:pt x="11" y="1"/>
                    </a:lnTo>
                    <a:lnTo>
                      <a:pt x="16" y="1"/>
                    </a:lnTo>
                    <a:lnTo>
                      <a:pt x="17" y="0"/>
                    </a:lnTo>
                    <a:lnTo>
                      <a:pt x="17" y="0"/>
                    </a:lnTo>
                    <a:lnTo>
                      <a:pt x="20" y="3"/>
                    </a:lnTo>
                    <a:lnTo>
                      <a:pt x="22" y="3"/>
                    </a:lnTo>
                    <a:lnTo>
                      <a:pt x="22" y="1"/>
                    </a:lnTo>
                    <a:lnTo>
                      <a:pt x="23" y="3"/>
                    </a:lnTo>
                    <a:lnTo>
                      <a:pt x="27" y="3"/>
                    </a:lnTo>
                    <a:lnTo>
                      <a:pt x="27" y="3"/>
                    </a:lnTo>
                    <a:lnTo>
                      <a:pt x="29" y="3"/>
                    </a:lnTo>
                    <a:lnTo>
                      <a:pt x="30" y="4"/>
                    </a:lnTo>
                    <a:lnTo>
                      <a:pt x="30" y="4"/>
                    </a:lnTo>
                    <a:lnTo>
                      <a:pt x="33" y="3"/>
                    </a:lnTo>
                    <a:lnTo>
                      <a:pt x="33" y="3"/>
                    </a:lnTo>
                    <a:lnTo>
                      <a:pt x="35" y="4"/>
                    </a:lnTo>
                    <a:lnTo>
                      <a:pt x="35" y="4"/>
                    </a:lnTo>
                    <a:lnTo>
                      <a:pt x="36" y="3"/>
                    </a:lnTo>
                    <a:lnTo>
                      <a:pt x="39" y="4"/>
                    </a:lnTo>
                    <a:lnTo>
                      <a:pt x="40" y="6"/>
                    </a:lnTo>
                    <a:lnTo>
                      <a:pt x="40" y="4"/>
                    </a:lnTo>
                    <a:lnTo>
                      <a:pt x="40" y="4"/>
                    </a:lnTo>
                    <a:lnTo>
                      <a:pt x="42" y="4"/>
                    </a:lnTo>
                    <a:lnTo>
                      <a:pt x="43" y="6"/>
                    </a:lnTo>
                    <a:lnTo>
                      <a:pt x="43" y="7"/>
                    </a:lnTo>
                    <a:lnTo>
                      <a:pt x="43" y="7"/>
                    </a:lnTo>
                    <a:lnTo>
                      <a:pt x="45" y="9"/>
                    </a:lnTo>
                    <a:lnTo>
                      <a:pt x="48" y="9"/>
                    </a:lnTo>
                    <a:lnTo>
                      <a:pt x="49" y="7"/>
                    </a:lnTo>
                    <a:lnTo>
                      <a:pt x="52" y="7"/>
                    </a:lnTo>
                    <a:lnTo>
                      <a:pt x="52" y="9"/>
                    </a:lnTo>
                    <a:lnTo>
                      <a:pt x="52" y="10"/>
                    </a:lnTo>
                    <a:lnTo>
                      <a:pt x="52" y="10"/>
                    </a:lnTo>
                    <a:lnTo>
                      <a:pt x="49" y="16"/>
                    </a:lnTo>
                    <a:lnTo>
                      <a:pt x="49" y="16"/>
                    </a:lnTo>
                    <a:lnTo>
                      <a:pt x="49" y="16"/>
                    </a:lnTo>
                    <a:lnTo>
                      <a:pt x="49" y="17"/>
                    </a:lnTo>
                    <a:lnTo>
                      <a:pt x="48" y="19"/>
                    </a:lnTo>
                    <a:lnTo>
                      <a:pt x="49" y="20"/>
                    </a:lnTo>
                    <a:lnTo>
                      <a:pt x="49" y="20"/>
                    </a:lnTo>
                    <a:lnTo>
                      <a:pt x="51" y="20"/>
                    </a:lnTo>
                    <a:lnTo>
                      <a:pt x="51" y="20"/>
                    </a:lnTo>
                    <a:lnTo>
                      <a:pt x="52" y="22"/>
                    </a:lnTo>
                    <a:lnTo>
                      <a:pt x="53" y="23"/>
                    </a:lnTo>
                    <a:lnTo>
                      <a:pt x="53" y="23"/>
                    </a:lnTo>
                    <a:lnTo>
                      <a:pt x="53" y="23"/>
                    </a:lnTo>
                    <a:lnTo>
                      <a:pt x="53" y="23"/>
                    </a:lnTo>
                    <a:lnTo>
                      <a:pt x="55" y="25"/>
                    </a:lnTo>
                    <a:lnTo>
                      <a:pt x="56" y="25"/>
                    </a:lnTo>
                    <a:lnTo>
                      <a:pt x="56" y="26"/>
                    </a:lnTo>
                    <a:lnTo>
                      <a:pt x="55" y="26"/>
                    </a:lnTo>
                    <a:lnTo>
                      <a:pt x="52" y="26"/>
                    </a:lnTo>
                    <a:lnTo>
                      <a:pt x="52" y="26"/>
                    </a:lnTo>
                    <a:lnTo>
                      <a:pt x="51" y="26"/>
                    </a:lnTo>
                    <a:lnTo>
                      <a:pt x="51" y="26"/>
                    </a:lnTo>
                    <a:lnTo>
                      <a:pt x="53" y="30"/>
                    </a:lnTo>
                    <a:lnTo>
                      <a:pt x="55" y="30"/>
                    </a:lnTo>
                    <a:lnTo>
                      <a:pt x="53" y="33"/>
                    </a:lnTo>
                    <a:lnTo>
                      <a:pt x="53" y="35"/>
                    </a:lnTo>
                    <a:lnTo>
                      <a:pt x="52" y="33"/>
                    </a:lnTo>
                    <a:lnTo>
                      <a:pt x="52" y="33"/>
                    </a:lnTo>
                    <a:lnTo>
                      <a:pt x="51" y="35"/>
                    </a:lnTo>
                    <a:lnTo>
                      <a:pt x="51" y="35"/>
                    </a:lnTo>
                    <a:lnTo>
                      <a:pt x="49" y="35"/>
                    </a:lnTo>
                    <a:lnTo>
                      <a:pt x="49" y="36"/>
                    </a:lnTo>
                    <a:lnTo>
                      <a:pt x="48" y="36"/>
                    </a:lnTo>
                    <a:lnTo>
                      <a:pt x="48" y="35"/>
                    </a:lnTo>
                    <a:lnTo>
                      <a:pt x="46" y="35"/>
                    </a:lnTo>
                    <a:lnTo>
                      <a:pt x="46" y="36"/>
                    </a:lnTo>
                    <a:lnTo>
                      <a:pt x="46" y="36"/>
                    </a:lnTo>
                    <a:lnTo>
                      <a:pt x="48" y="38"/>
                    </a:lnTo>
                    <a:lnTo>
                      <a:pt x="48" y="38"/>
                    </a:lnTo>
                    <a:lnTo>
                      <a:pt x="48" y="39"/>
                    </a:lnTo>
                    <a:lnTo>
                      <a:pt x="48" y="41"/>
                    </a:lnTo>
                    <a:lnTo>
                      <a:pt x="48" y="41"/>
                    </a:lnTo>
                    <a:lnTo>
                      <a:pt x="48" y="41"/>
                    </a:lnTo>
                    <a:lnTo>
                      <a:pt x="46" y="41"/>
                    </a:lnTo>
                    <a:lnTo>
                      <a:pt x="46" y="39"/>
                    </a:lnTo>
                    <a:lnTo>
                      <a:pt x="46" y="39"/>
                    </a:lnTo>
                    <a:lnTo>
                      <a:pt x="45" y="39"/>
                    </a:lnTo>
                    <a:lnTo>
                      <a:pt x="42" y="41"/>
                    </a:lnTo>
                    <a:lnTo>
                      <a:pt x="42" y="42"/>
                    </a:lnTo>
                    <a:lnTo>
                      <a:pt x="42" y="42"/>
                    </a:lnTo>
                    <a:lnTo>
                      <a:pt x="42" y="45"/>
                    </a:lnTo>
                    <a:lnTo>
                      <a:pt x="40" y="45"/>
                    </a:lnTo>
                    <a:lnTo>
                      <a:pt x="40" y="45"/>
                    </a:lnTo>
                    <a:lnTo>
                      <a:pt x="39" y="46"/>
                    </a:lnTo>
                    <a:lnTo>
                      <a:pt x="39" y="48"/>
                    </a:lnTo>
                    <a:lnTo>
                      <a:pt x="39" y="48"/>
                    </a:lnTo>
                    <a:lnTo>
                      <a:pt x="39" y="49"/>
                    </a:lnTo>
                    <a:lnTo>
                      <a:pt x="39" y="51"/>
                    </a:lnTo>
                    <a:lnTo>
                      <a:pt x="40" y="51"/>
                    </a:lnTo>
                    <a:lnTo>
                      <a:pt x="40" y="52"/>
                    </a:lnTo>
                    <a:lnTo>
                      <a:pt x="39" y="55"/>
                    </a:lnTo>
                    <a:lnTo>
                      <a:pt x="39" y="57"/>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45" name="Freeform 245"/>
              <p:cNvSpPr>
                <a:spLocks/>
              </p:cNvSpPr>
              <p:nvPr/>
            </p:nvSpPr>
            <p:spPr bwMode="auto">
              <a:xfrm>
                <a:off x="6382309" y="2595157"/>
                <a:ext cx="83391" cy="80116"/>
              </a:xfrm>
              <a:custGeom>
                <a:avLst/>
                <a:gdLst/>
                <a:ahLst/>
                <a:cxnLst>
                  <a:cxn ang="0">
                    <a:pos x="81" y="19"/>
                  </a:cxn>
                  <a:cxn ang="0">
                    <a:pos x="65" y="17"/>
                  </a:cxn>
                  <a:cxn ang="0">
                    <a:pos x="61" y="16"/>
                  </a:cxn>
                  <a:cxn ang="0">
                    <a:pos x="53" y="20"/>
                  </a:cxn>
                  <a:cxn ang="0">
                    <a:pos x="52" y="24"/>
                  </a:cxn>
                  <a:cxn ang="0">
                    <a:pos x="58" y="29"/>
                  </a:cxn>
                  <a:cxn ang="0">
                    <a:pos x="55" y="29"/>
                  </a:cxn>
                  <a:cxn ang="0">
                    <a:pos x="50" y="29"/>
                  </a:cxn>
                  <a:cxn ang="0">
                    <a:pos x="53" y="34"/>
                  </a:cxn>
                  <a:cxn ang="0">
                    <a:pos x="48" y="29"/>
                  </a:cxn>
                  <a:cxn ang="0">
                    <a:pos x="46" y="32"/>
                  </a:cxn>
                  <a:cxn ang="0">
                    <a:pos x="48" y="34"/>
                  </a:cxn>
                  <a:cxn ang="0">
                    <a:pos x="43" y="29"/>
                  </a:cxn>
                  <a:cxn ang="0">
                    <a:pos x="37" y="24"/>
                  </a:cxn>
                  <a:cxn ang="0">
                    <a:pos x="34" y="24"/>
                  </a:cxn>
                  <a:cxn ang="0">
                    <a:pos x="36" y="36"/>
                  </a:cxn>
                  <a:cxn ang="0">
                    <a:pos x="42" y="45"/>
                  </a:cxn>
                  <a:cxn ang="0">
                    <a:pos x="43" y="50"/>
                  </a:cxn>
                  <a:cxn ang="0">
                    <a:pos x="42" y="48"/>
                  </a:cxn>
                  <a:cxn ang="0">
                    <a:pos x="39" y="46"/>
                  </a:cxn>
                  <a:cxn ang="0">
                    <a:pos x="39" y="52"/>
                  </a:cxn>
                  <a:cxn ang="0">
                    <a:pos x="33" y="53"/>
                  </a:cxn>
                  <a:cxn ang="0">
                    <a:pos x="42" y="58"/>
                  </a:cxn>
                  <a:cxn ang="0">
                    <a:pos x="45" y="62"/>
                  </a:cxn>
                  <a:cxn ang="0">
                    <a:pos x="50" y="65"/>
                  </a:cxn>
                  <a:cxn ang="0">
                    <a:pos x="53" y="66"/>
                  </a:cxn>
                  <a:cxn ang="0">
                    <a:pos x="50" y="74"/>
                  </a:cxn>
                  <a:cxn ang="0">
                    <a:pos x="40" y="71"/>
                  </a:cxn>
                  <a:cxn ang="0">
                    <a:pos x="42" y="69"/>
                  </a:cxn>
                  <a:cxn ang="0">
                    <a:pos x="39" y="66"/>
                  </a:cxn>
                  <a:cxn ang="0">
                    <a:pos x="33" y="65"/>
                  </a:cxn>
                  <a:cxn ang="0">
                    <a:pos x="27" y="65"/>
                  </a:cxn>
                  <a:cxn ang="0">
                    <a:pos x="20" y="65"/>
                  </a:cxn>
                  <a:cxn ang="0">
                    <a:pos x="16" y="64"/>
                  </a:cxn>
                  <a:cxn ang="0">
                    <a:pos x="14" y="65"/>
                  </a:cxn>
                  <a:cxn ang="0">
                    <a:pos x="10" y="55"/>
                  </a:cxn>
                  <a:cxn ang="0">
                    <a:pos x="13" y="52"/>
                  </a:cxn>
                  <a:cxn ang="0">
                    <a:pos x="7" y="53"/>
                  </a:cxn>
                  <a:cxn ang="0">
                    <a:pos x="1" y="45"/>
                  </a:cxn>
                  <a:cxn ang="0">
                    <a:pos x="0" y="39"/>
                  </a:cxn>
                  <a:cxn ang="0">
                    <a:pos x="0" y="40"/>
                  </a:cxn>
                  <a:cxn ang="0">
                    <a:pos x="3" y="36"/>
                  </a:cxn>
                  <a:cxn ang="0">
                    <a:pos x="7" y="32"/>
                  </a:cxn>
                  <a:cxn ang="0">
                    <a:pos x="11" y="24"/>
                  </a:cxn>
                  <a:cxn ang="0">
                    <a:pos x="20" y="17"/>
                  </a:cxn>
                  <a:cxn ang="0">
                    <a:pos x="29" y="11"/>
                  </a:cxn>
                  <a:cxn ang="0">
                    <a:pos x="37" y="8"/>
                  </a:cxn>
                  <a:cxn ang="0">
                    <a:pos x="66" y="7"/>
                  </a:cxn>
                  <a:cxn ang="0">
                    <a:pos x="81" y="8"/>
                  </a:cxn>
                  <a:cxn ang="0">
                    <a:pos x="84" y="0"/>
                  </a:cxn>
                  <a:cxn ang="0">
                    <a:pos x="88" y="1"/>
                  </a:cxn>
                  <a:cxn ang="0">
                    <a:pos x="90" y="7"/>
                  </a:cxn>
                  <a:cxn ang="0">
                    <a:pos x="85" y="17"/>
                  </a:cxn>
                </a:cxnLst>
                <a:rect l="0" t="0" r="r" b="b"/>
                <a:pathLst>
                  <a:path w="91" h="77">
                    <a:moveTo>
                      <a:pt x="84" y="20"/>
                    </a:moveTo>
                    <a:lnTo>
                      <a:pt x="81" y="19"/>
                    </a:lnTo>
                    <a:lnTo>
                      <a:pt x="69" y="16"/>
                    </a:lnTo>
                    <a:lnTo>
                      <a:pt x="65" y="17"/>
                    </a:lnTo>
                    <a:lnTo>
                      <a:pt x="64" y="17"/>
                    </a:lnTo>
                    <a:lnTo>
                      <a:pt x="61" y="16"/>
                    </a:lnTo>
                    <a:lnTo>
                      <a:pt x="58" y="19"/>
                    </a:lnTo>
                    <a:lnTo>
                      <a:pt x="53" y="20"/>
                    </a:lnTo>
                    <a:lnTo>
                      <a:pt x="49" y="23"/>
                    </a:lnTo>
                    <a:lnTo>
                      <a:pt x="52" y="24"/>
                    </a:lnTo>
                    <a:lnTo>
                      <a:pt x="55" y="26"/>
                    </a:lnTo>
                    <a:lnTo>
                      <a:pt x="58" y="29"/>
                    </a:lnTo>
                    <a:lnTo>
                      <a:pt x="58" y="30"/>
                    </a:lnTo>
                    <a:lnTo>
                      <a:pt x="55" y="29"/>
                    </a:lnTo>
                    <a:lnTo>
                      <a:pt x="52" y="27"/>
                    </a:lnTo>
                    <a:lnTo>
                      <a:pt x="50" y="29"/>
                    </a:lnTo>
                    <a:lnTo>
                      <a:pt x="53" y="32"/>
                    </a:lnTo>
                    <a:lnTo>
                      <a:pt x="53" y="34"/>
                    </a:lnTo>
                    <a:lnTo>
                      <a:pt x="50" y="30"/>
                    </a:lnTo>
                    <a:lnTo>
                      <a:pt x="48" y="29"/>
                    </a:lnTo>
                    <a:lnTo>
                      <a:pt x="46" y="29"/>
                    </a:lnTo>
                    <a:lnTo>
                      <a:pt x="46" y="32"/>
                    </a:lnTo>
                    <a:lnTo>
                      <a:pt x="49" y="34"/>
                    </a:lnTo>
                    <a:lnTo>
                      <a:pt x="48" y="34"/>
                    </a:lnTo>
                    <a:lnTo>
                      <a:pt x="45" y="33"/>
                    </a:lnTo>
                    <a:lnTo>
                      <a:pt x="43" y="29"/>
                    </a:lnTo>
                    <a:lnTo>
                      <a:pt x="37" y="26"/>
                    </a:lnTo>
                    <a:lnTo>
                      <a:pt x="37" y="24"/>
                    </a:lnTo>
                    <a:lnTo>
                      <a:pt x="39" y="23"/>
                    </a:lnTo>
                    <a:lnTo>
                      <a:pt x="34" y="24"/>
                    </a:lnTo>
                    <a:lnTo>
                      <a:pt x="34" y="34"/>
                    </a:lnTo>
                    <a:lnTo>
                      <a:pt x="36" y="36"/>
                    </a:lnTo>
                    <a:lnTo>
                      <a:pt x="37" y="40"/>
                    </a:lnTo>
                    <a:lnTo>
                      <a:pt x="42" y="45"/>
                    </a:lnTo>
                    <a:lnTo>
                      <a:pt x="43" y="49"/>
                    </a:lnTo>
                    <a:lnTo>
                      <a:pt x="43" y="50"/>
                    </a:lnTo>
                    <a:lnTo>
                      <a:pt x="42" y="50"/>
                    </a:lnTo>
                    <a:lnTo>
                      <a:pt x="42" y="48"/>
                    </a:lnTo>
                    <a:lnTo>
                      <a:pt x="40" y="46"/>
                    </a:lnTo>
                    <a:lnTo>
                      <a:pt x="39" y="46"/>
                    </a:lnTo>
                    <a:lnTo>
                      <a:pt x="37" y="49"/>
                    </a:lnTo>
                    <a:lnTo>
                      <a:pt x="39" y="52"/>
                    </a:lnTo>
                    <a:lnTo>
                      <a:pt x="39" y="53"/>
                    </a:lnTo>
                    <a:lnTo>
                      <a:pt x="33" y="53"/>
                    </a:lnTo>
                    <a:lnTo>
                      <a:pt x="34" y="55"/>
                    </a:lnTo>
                    <a:lnTo>
                      <a:pt x="42" y="58"/>
                    </a:lnTo>
                    <a:lnTo>
                      <a:pt x="43" y="59"/>
                    </a:lnTo>
                    <a:lnTo>
                      <a:pt x="45" y="62"/>
                    </a:lnTo>
                    <a:lnTo>
                      <a:pt x="46" y="62"/>
                    </a:lnTo>
                    <a:lnTo>
                      <a:pt x="50" y="65"/>
                    </a:lnTo>
                    <a:lnTo>
                      <a:pt x="52" y="65"/>
                    </a:lnTo>
                    <a:lnTo>
                      <a:pt x="53" y="66"/>
                    </a:lnTo>
                    <a:lnTo>
                      <a:pt x="55" y="77"/>
                    </a:lnTo>
                    <a:lnTo>
                      <a:pt x="50" y="74"/>
                    </a:lnTo>
                    <a:lnTo>
                      <a:pt x="48" y="71"/>
                    </a:lnTo>
                    <a:lnTo>
                      <a:pt x="40" y="71"/>
                    </a:lnTo>
                    <a:lnTo>
                      <a:pt x="39" y="71"/>
                    </a:lnTo>
                    <a:lnTo>
                      <a:pt x="42" y="69"/>
                    </a:lnTo>
                    <a:lnTo>
                      <a:pt x="42" y="68"/>
                    </a:lnTo>
                    <a:lnTo>
                      <a:pt x="39" y="66"/>
                    </a:lnTo>
                    <a:lnTo>
                      <a:pt x="34" y="64"/>
                    </a:lnTo>
                    <a:lnTo>
                      <a:pt x="33" y="65"/>
                    </a:lnTo>
                    <a:lnTo>
                      <a:pt x="32" y="64"/>
                    </a:lnTo>
                    <a:lnTo>
                      <a:pt x="27" y="65"/>
                    </a:lnTo>
                    <a:lnTo>
                      <a:pt x="24" y="64"/>
                    </a:lnTo>
                    <a:lnTo>
                      <a:pt x="20" y="65"/>
                    </a:lnTo>
                    <a:lnTo>
                      <a:pt x="17" y="64"/>
                    </a:lnTo>
                    <a:lnTo>
                      <a:pt x="16" y="64"/>
                    </a:lnTo>
                    <a:lnTo>
                      <a:pt x="16" y="64"/>
                    </a:lnTo>
                    <a:lnTo>
                      <a:pt x="14" y="65"/>
                    </a:lnTo>
                    <a:lnTo>
                      <a:pt x="8" y="55"/>
                    </a:lnTo>
                    <a:lnTo>
                      <a:pt x="10" y="55"/>
                    </a:lnTo>
                    <a:lnTo>
                      <a:pt x="13" y="55"/>
                    </a:lnTo>
                    <a:lnTo>
                      <a:pt x="13" y="52"/>
                    </a:lnTo>
                    <a:lnTo>
                      <a:pt x="8" y="50"/>
                    </a:lnTo>
                    <a:lnTo>
                      <a:pt x="7" y="53"/>
                    </a:lnTo>
                    <a:lnTo>
                      <a:pt x="4" y="46"/>
                    </a:lnTo>
                    <a:lnTo>
                      <a:pt x="1" y="45"/>
                    </a:lnTo>
                    <a:lnTo>
                      <a:pt x="0" y="40"/>
                    </a:lnTo>
                    <a:lnTo>
                      <a:pt x="0" y="39"/>
                    </a:lnTo>
                    <a:lnTo>
                      <a:pt x="0" y="39"/>
                    </a:lnTo>
                    <a:lnTo>
                      <a:pt x="0" y="40"/>
                    </a:lnTo>
                    <a:lnTo>
                      <a:pt x="1" y="37"/>
                    </a:lnTo>
                    <a:lnTo>
                      <a:pt x="3" y="36"/>
                    </a:lnTo>
                    <a:lnTo>
                      <a:pt x="4" y="33"/>
                    </a:lnTo>
                    <a:lnTo>
                      <a:pt x="7" y="32"/>
                    </a:lnTo>
                    <a:lnTo>
                      <a:pt x="8" y="27"/>
                    </a:lnTo>
                    <a:lnTo>
                      <a:pt x="11" y="24"/>
                    </a:lnTo>
                    <a:lnTo>
                      <a:pt x="11" y="17"/>
                    </a:lnTo>
                    <a:lnTo>
                      <a:pt x="20" y="17"/>
                    </a:lnTo>
                    <a:lnTo>
                      <a:pt x="23" y="14"/>
                    </a:lnTo>
                    <a:lnTo>
                      <a:pt x="29" y="11"/>
                    </a:lnTo>
                    <a:lnTo>
                      <a:pt x="33" y="11"/>
                    </a:lnTo>
                    <a:lnTo>
                      <a:pt x="37" y="8"/>
                    </a:lnTo>
                    <a:lnTo>
                      <a:pt x="64" y="4"/>
                    </a:lnTo>
                    <a:lnTo>
                      <a:pt x="66" y="7"/>
                    </a:lnTo>
                    <a:lnTo>
                      <a:pt x="75" y="10"/>
                    </a:lnTo>
                    <a:lnTo>
                      <a:pt x="81" y="8"/>
                    </a:lnTo>
                    <a:lnTo>
                      <a:pt x="84" y="5"/>
                    </a:lnTo>
                    <a:lnTo>
                      <a:pt x="84" y="0"/>
                    </a:lnTo>
                    <a:lnTo>
                      <a:pt x="88" y="0"/>
                    </a:lnTo>
                    <a:lnTo>
                      <a:pt x="88" y="1"/>
                    </a:lnTo>
                    <a:lnTo>
                      <a:pt x="91" y="4"/>
                    </a:lnTo>
                    <a:lnTo>
                      <a:pt x="90" y="7"/>
                    </a:lnTo>
                    <a:lnTo>
                      <a:pt x="87" y="8"/>
                    </a:lnTo>
                    <a:lnTo>
                      <a:pt x="85" y="17"/>
                    </a:lnTo>
                    <a:lnTo>
                      <a:pt x="84" y="2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46" name="Freeform 246"/>
              <p:cNvSpPr>
                <a:spLocks/>
              </p:cNvSpPr>
              <p:nvPr/>
            </p:nvSpPr>
            <p:spPr bwMode="auto">
              <a:xfrm>
                <a:off x="6382309" y="2595157"/>
                <a:ext cx="83391" cy="80116"/>
              </a:xfrm>
              <a:custGeom>
                <a:avLst/>
                <a:gdLst/>
                <a:ahLst/>
                <a:cxnLst>
                  <a:cxn ang="0">
                    <a:pos x="81" y="19"/>
                  </a:cxn>
                  <a:cxn ang="0">
                    <a:pos x="65" y="17"/>
                  </a:cxn>
                  <a:cxn ang="0">
                    <a:pos x="61" y="16"/>
                  </a:cxn>
                  <a:cxn ang="0">
                    <a:pos x="53" y="20"/>
                  </a:cxn>
                  <a:cxn ang="0">
                    <a:pos x="52" y="24"/>
                  </a:cxn>
                  <a:cxn ang="0">
                    <a:pos x="58" y="29"/>
                  </a:cxn>
                  <a:cxn ang="0">
                    <a:pos x="55" y="29"/>
                  </a:cxn>
                  <a:cxn ang="0">
                    <a:pos x="50" y="29"/>
                  </a:cxn>
                  <a:cxn ang="0">
                    <a:pos x="53" y="34"/>
                  </a:cxn>
                  <a:cxn ang="0">
                    <a:pos x="48" y="29"/>
                  </a:cxn>
                  <a:cxn ang="0">
                    <a:pos x="46" y="32"/>
                  </a:cxn>
                  <a:cxn ang="0">
                    <a:pos x="48" y="34"/>
                  </a:cxn>
                  <a:cxn ang="0">
                    <a:pos x="43" y="29"/>
                  </a:cxn>
                  <a:cxn ang="0">
                    <a:pos x="37" y="24"/>
                  </a:cxn>
                  <a:cxn ang="0">
                    <a:pos x="34" y="24"/>
                  </a:cxn>
                  <a:cxn ang="0">
                    <a:pos x="36" y="36"/>
                  </a:cxn>
                  <a:cxn ang="0">
                    <a:pos x="42" y="45"/>
                  </a:cxn>
                  <a:cxn ang="0">
                    <a:pos x="43" y="50"/>
                  </a:cxn>
                  <a:cxn ang="0">
                    <a:pos x="42" y="48"/>
                  </a:cxn>
                  <a:cxn ang="0">
                    <a:pos x="39" y="46"/>
                  </a:cxn>
                  <a:cxn ang="0">
                    <a:pos x="39" y="52"/>
                  </a:cxn>
                  <a:cxn ang="0">
                    <a:pos x="33" y="53"/>
                  </a:cxn>
                  <a:cxn ang="0">
                    <a:pos x="42" y="58"/>
                  </a:cxn>
                  <a:cxn ang="0">
                    <a:pos x="45" y="62"/>
                  </a:cxn>
                  <a:cxn ang="0">
                    <a:pos x="50" y="65"/>
                  </a:cxn>
                  <a:cxn ang="0">
                    <a:pos x="53" y="66"/>
                  </a:cxn>
                  <a:cxn ang="0">
                    <a:pos x="50" y="74"/>
                  </a:cxn>
                  <a:cxn ang="0">
                    <a:pos x="40" y="71"/>
                  </a:cxn>
                  <a:cxn ang="0">
                    <a:pos x="42" y="69"/>
                  </a:cxn>
                  <a:cxn ang="0">
                    <a:pos x="39" y="66"/>
                  </a:cxn>
                  <a:cxn ang="0">
                    <a:pos x="33" y="65"/>
                  </a:cxn>
                  <a:cxn ang="0">
                    <a:pos x="27" y="65"/>
                  </a:cxn>
                  <a:cxn ang="0">
                    <a:pos x="20" y="65"/>
                  </a:cxn>
                  <a:cxn ang="0">
                    <a:pos x="16" y="64"/>
                  </a:cxn>
                  <a:cxn ang="0">
                    <a:pos x="14" y="65"/>
                  </a:cxn>
                  <a:cxn ang="0">
                    <a:pos x="10" y="55"/>
                  </a:cxn>
                  <a:cxn ang="0">
                    <a:pos x="13" y="52"/>
                  </a:cxn>
                  <a:cxn ang="0">
                    <a:pos x="7" y="53"/>
                  </a:cxn>
                  <a:cxn ang="0">
                    <a:pos x="1" y="45"/>
                  </a:cxn>
                  <a:cxn ang="0">
                    <a:pos x="0" y="39"/>
                  </a:cxn>
                  <a:cxn ang="0">
                    <a:pos x="0" y="40"/>
                  </a:cxn>
                  <a:cxn ang="0">
                    <a:pos x="3" y="36"/>
                  </a:cxn>
                  <a:cxn ang="0">
                    <a:pos x="7" y="32"/>
                  </a:cxn>
                  <a:cxn ang="0">
                    <a:pos x="11" y="24"/>
                  </a:cxn>
                  <a:cxn ang="0">
                    <a:pos x="20" y="17"/>
                  </a:cxn>
                  <a:cxn ang="0">
                    <a:pos x="29" y="11"/>
                  </a:cxn>
                  <a:cxn ang="0">
                    <a:pos x="37" y="8"/>
                  </a:cxn>
                  <a:cxn ang="0">
                    <a:pos x="66" y="7"/>
                  </a:cxn>
                  <a:cxn ang="0">
                    <a:pos x="81" y="8"/>
                  </a:cxn>
                  <a:cxn ang="0">
                    <a:pos x="84" y="0"/>
                  </a:cxn>
                  <a:cxn ang="0">
                    <a:pos x="88" y="1"/>
                  </a:cxn>
                  <a:cxn ang="0">
                    <a:pos x="90" y="7"/>
                  </a:cxn>
                  <a:cxn ang="0">
                    <a:pos x="85" y="17"/>
                  </a:cxn>
                </a:cxnLst>
                <a:rect l="0" t="0" r="r" b="b"/>
                <a:pathLst>
                  <a:path w="91" h="77">
                    <a:moveTo>
                      <a:pt x="84" y="20"/>
                    </a:moveTo>
                    <a:lnTo>
                      <a:pt x="81" y="19"/>
                    </a:lnTo>
                    <a:lnTo>
                      <a:pt x="69" y="16"/>
                    </a:lnTo>
                    <a:lnTo>
                      <a:pt x="65" y="17"/>
                    </a:lnTo>
                    <a:lnTo>
                      <a:pt x="64" y="17"/>
                    </a:lnTo>
                    <a:lnTo>
                      <a:pt x="61" y="16"/>
                    </a:lnTo>
                    <a:lnTo>
                      <a:pt x="58" y="19"/>
                    </a:lnTo>
                    <a:lnTo>
                      <a:pt x="53" y="20"/>
                    </a:lnTo>
                    <a:lnTo>
                      <a:pt x="49" y="23"/>
                    </a:lnTo>
                    <a:lnTo>
                      <a:pt x="52" y="24"/>
                    </a:lnTo>
                    <a:lnTo>
                      <a:pt x="55" y="26"/>
                    </a:lnTo>
                    <a:lnTo>
                      <a:pt x="58" y="29"/>
                    </a:lnTo>
                    <a:lnTo>
                      <a:pt x="58" y="30"/>
                    </a:lnTo>
                    <a:lnTo>
                      <a:pt x="55" y="29"/>
                    </a:lnTo>
                    <a:lnTo>
                      <a:pt x="52" y="27"/>
                    </a:lnTo>
                    <a:lnTo>
                      <a:pt x="50" y="29"/>
                    </a:lnTo>
                    <a:lnTo>
                      <a:pt x="53" y="32"/>
                    </a:lnTo>
                    <a:lnTo>
                      <a:pt x="53" y="34"/>
                    </a:lnTo>
                    <a:lnTo>
                      <a:pt x="50" y="30"/>
                    </a:lnTo>
                    <a:lnTo>
                      <a:pt x="48" y="29"/>
                    </a:lnTo>
                    <a:lnTo>
                      <a:pt x="46" y="29"/>
                    </a:lnTo>
                    <a:lnTo>
                      <a:pt x="46" y="32"/>
                    </a:lnTo>
                    <a:lnTo>
                      <a:pt x="49" y="34"/>
                    </a:lnTo>
                    <a:lnTo>
                      <a:pt x="48" y="34"/>
                    </a:lnTo>
                    <a:lnTo>
                      <a:pt x="45" y="33"/>
                    </a:lnTo>
                    <a:lnTo>
                      <a:pt x="43" y="29"/>
                    </a:lnTo>
                    <a:lnTo>
                      <a:pt x="37" y="26"/>
                    </a:lnTo>
                    <a:lnTo>
                      <a:pt x="37" y="24"/>
                    </a:lnTo>
                    <a:lnTo>
                      <a:pt x="39" y="23"/>
                    </a:lnTo>
                    <a:lnTo>
                      <a:pt x="34" y="24"/>
                    </a:lnTo>
                    <a:lnTo>
                      <a:pt x="34" y="34"/>
                    </a:lnTo>
                    <a:lnTo>
                      <a:pt x="36" y="36"/>
                    </a:lnTo>
                    <a:lnTo>
                      <a:pt x="37" y="40"/>
                    </a:lnTo>
                    <a:lnTo>
                      <a:pt x="42" y="45"/>
                    </a:lnTo>
                    <a:lnTo>
                      <a:pt x="43" y="49"/>
                    </a:lnTo>
                    <a:lnTo>
                      <a:pt x="43" y="50"/>
                    </a:lnTo>
                    <a:lnTo>
                      <a:pt x="42" y="50"/>
                    </a:lnTo>
                    <a:lnTo>
                      <a:pt x="42" y="48"/>
                    </a:lnTo>
                    <a:lnTo>
                      <a:pt x="40" y="46"/>
                    </a:lnTo>
                    <a:lnTo>
                      <a:pt x="39" y="46"/>
                    </a:lnTo>
                    <a:lnTo>
                      <a:pt x="37" y="49"/>
                    </a:lnTo>
                    <a:lnTo>
                      <a:pt x="39" y="52"/>
                    </a:lnTo>
                    <a:lnTo>
                      <a:pt x="39" y="53"/>
                    </a:lnTo>
                    <a:lnTo>
                      <a:pt x="33" y="53"/>
                    </a:lnTo>
                    <a:lnTo>
                      <a:pt x="34" y="55"/>
                    </a:lnTo>
                    <a:lnTo>
                      <a:pt x="42" y="58"/>
                    </a:lnTo>
                    <a:lnTo>
                      <a:pt x="43" y="59"/>
                    </a:lnTo>
                    <a:lnTo>
                      <a:pt x="45" y="62"/>
                    </a:lnTo>
                    <a:lnTo>
                      <a:pt x="46" y="62"/>
                    </a:lnTo>
                    <a:lnTo>
                      <a:pt x="50" y="65"/>
                    </a:lnTo>
                    <a:lnTo>
                      <a:pt x="52" y="65"/>
                    </a:lnTo>
                    <a:lnTo>
                      <a:pt x="53" y="66"/>
                    </a:lnTo>
                    <a:lnTo>
                      <a:pt x="55" y="77"/>
                    </a:lnTo>
                    <a:lnTo>
                      <a:pt x="50" y="74"/>
                    </a:lnTo>
                    <a:lnTo>
                      <a:pt x="48" y="71"/>
                    </a:lnTo>
                    <a:lnTo>
                      <a:pt x="40" y="71"/>
                    </a:lnTo>
                    <a:lnTo>
                      <a:pt x="39" y="71"/>
                    </a:lnTo>
                    <a:lnTo>
                      <a:pt x="42" y="69"/>
                    </a:lnTo>
                    <a:lnTo>
                      <a:pt x="42" y="68"/>
                    </a:lnTo>
                    <a:lnTo>
                      <a:pt x="39" y="66"/>
                    </a:lnTo>
                    <a:lnTo>
                      <a:pt x="34" y="64"/>
                    </a:lnTo>
                    <a:lnTo>
                      <a:pt x="33" y="65"/>
                    </a:lnTo>
                    <a:lnTo>
                      <a:pt x="32" y="64"/>
                    </a:lnTo>
                    <a:lnTo>
                      <a:pt x="27" y="65"/>
                    </a:lnTo>
                    <a:lnTo>
                      <a:pt x="24" y="64"/>
                    </a:lnTo>
                    <a:lnTo>
                      <a:pt x="20" y="65"/>
                    </a:lnTo>
                    <a:lnTo>
                      <a:pt x="17" y="64"/>
                    </a:lnTo>
                    <a:lnTo>
                      <a:pt x="16" y="64"/>
                    </a:lnTo>
                    <a:lnTo>
                      <a:pt x="16" y="64"/>
                    </a:lnTo>
                    <a:lnTo>
                      <a:pt x="14" y="65"/>
                    </a:lnTo>
                    <a:lnTo>
                      <a:pt x="8" y="55"/>
                    </a:lnTo>
                    <a:lnTo>
                      <a:pt x="10" y="55"/>
                    </a:lnTo>
                    <a:lnTo>
                      <a:pt x="13" y="55"/>
                    </a:lnTo>
                    <a:lnTo>
                      <a:pt x="13" y="52"/>
                    </a:lnTo>
                    <a:lnTo>
                      <a:pt x="8" y="50"/>
                    </a:lnTo>
                    <a:lnTo>
                      <a:pt x="7" y="53"/>
                    </a:lnTo>
                    <a:lnTo>
                      <a:pt x="4" y="46"/>
                    </a:lnTo>
                    <a:lnTo>
                      <a:pt x="1" y="45"/>
                    </a:lnTo>
                    <a:lnTo>
                      <a:pt x="0" y="40"/>
                    </a:lnTo>
                    <a:lnTo>
                      <a:pt x="0" y="39"/>
                    </a:lnTo>
                    <a:lnTo>
                      <a:pt x="0" y="39"/>
                    </a:lnTo>
                    <a:lnTo>
                      <a:pt x="0" y="40"/>
                    </a:lnTo>
                    <a:lnTo>
                      <a:pt x="1" y="37"/>
                    </a:lnTo>
                    <a:lnTo>
                      <a:pt x="3" y="36"/>
                    </a:lnTo>
                    <a:lnTo>
                      <a:pt x="4" y="33"/>
                    </a:lnTo>
                    <a:lnTo>
                      <a:pt x="7" y="32"/>
                    </a:lnTo>
                    <a:lnTo>
                      <a:pt x="8" y="27"/>
                    </a:lnTo>
                    <a:lnTo>
                      <a:pt x="11" y="24"/>
                    </a:lnTo>
                    <a:lnTo>
                      <a:pt x="11" y="17"/>
                    </a:lnTo>
                    <a:lnTo>
                      <a:pt x="20" y="17"/>
                    </a:lnTo>
                    <a:lnTo>
                      <a:pt x="23" y="14"/>
                    </a:lnTo>
                    <a:lnTo>
                      <a:pt x="29" y="11"/>
                    </a:lnTo>
                    <a:lnTo>
                      <a:pt x="33" y="11"/>
                    </a:lnTo>
                    <a:lnTo>
                      <a:pt x="37" y="8"/>
                    </a:lnTo>
                    <a:lnTo>
                      <a:pt x="64" y="4"/>
                    </a:lnTo>
                    <a:lnTo>
                      <a:pt x="66" y="7"/>
                    </a:lnTo>
                    <a:lnTo>
                      <a:pt x="75" y="10"/>
                    </a:lnTo>
                    <a:lnTo>
                      <a:pt x="81" y="8"/>
                    </a:lnTo>
                    <a:lnTo>
                      <a:pt x="84" y="5"/>
                    </a:lnTo>
                    <a:lnTo>
                      <a:pt x="84" y="0"/>
                    </a:lnTo>
                    <a:lnTo>
                      <a:pt x="88" y="0"/>
                    </a:lnTo>
                    <a:lnTo>
                      <a:pt x="88" y="1"/>
                    </a:lnTo>
                    <a:lnTo>
                      <a:pt x="91" y="4"/>
                    </a:lnTo>
                    <a:lnTo>
                      <a:pt x="90" y="7"/>
                    </a:lnTo>
                    <a:lnTo>
                      <a:pt x="87" y="8"/>
                    </a:lnTo>
                    <a:lnTo>
                      <a:pt x="85" y="17"/>
                    </a:lnTo>
                    <a:lnTo>
                      <a:pt x="84" y="2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47" name="Freeform 247"/>
              <p:cNvSpPr>
                <a:spLocks/>
              </p:cNvSpPr>
              <p:nvPr/>
            </p:nvSpPr>
            <p:spPr bwMode="auto">
              <a:xfrm>
                <a:off x="6575426" y="2726994"/>
                <a:ext cx="22823" cy="31438"/>
              </a:xfrm>
              <a:custGeom>
                <a:avLst/>
                <a:gdLst/>
                <a:ahLst/>
                <a:cxnLst>
                  <a:cxn ang="0">
                    <a:pos x="9" y="27"/>
                  </a:cxn>
                  <a:cxn ang="0">
                    <a:pos x="10" y="25"/>
                  </a:cxn>
                  <a:cxn ang="0">
                    <a:pos x="12" y="25"/>
                  </a:cxn>
                  <a:cxn ang="0">
                    <a:pos x="12" y="24"/>
                  </a:cxn>
                  <a:cxn ang="0">
                    <a:pos x="15" y="21"/>
                  </a:cxn>
                  <a:cxn ang="0">
                    <a:pos x="15" y="21"/>
                  </a:cxn>
                  <a:cxn ang="0">
                    <a:pos x="15" y="19"/>
                  </a:cxn>
                  <a:cxn ang="0">
                    <a:pos x="13" y="19"/>
                  </a:cxn>
                  <a:cxn ang="0">
                    <a:pos x="13" y="19"/>
                  </a:cxn>
                  <a:cxn ang="0">
                    <a:pos x="15" y="18"/>
                  </a:cxn>
                  <a:cxn ang="0">
                    <a:pos x="15" y="18"/>
                  </a:cxn>
                  <a:cxn ang="0">
                    <a:pos x="16" y="16"/>
                  </a:cxn>
                  <a:cxn ang="0">
                    <a:pos x="19" y="16"/>
                  </a:cxn>
                  <a:cxn ang="0">
                    <a:pos x="20" y="16"/>
                  </a:cxn>
                  <a:cxn ang="0">
                    <a:pos x="20" y="16"/>
                  </a:cxn>
                  <a:cxn ang="0">
                    <a:pos x="20" y="16"/>
                  </a:cxn>
                  <a:cxn ang="0">
                    <a:pos x="20" y="15"/>
                  </a:cxn>
                  <a:cxn ang="0">
                    <a:pos x="19" y="15"/>
                  </a:cxn>
                  <a:cxn ang="0">
                    <a:pos x="19" y="14"/>
                  </a:cxn>
                  <a:cxn ang="0">
                    <a:pos x="20" y="14"/>
                  </a:cxn>
                  <a:cxn ang="0">
                    <a:pos x="20" y="12"/>
                  </a:cxn>
                  <a:cxn ang="0">
                    <a:pos x="22" y="12"/>
                  </a:cxn>
                  <a:cxn ang="0">
                    <a:pos x="23" y="11"/>
                  </a:cxn>
                  <a:cxn ang="0">
                    <a:pos x="23" y="11"/>
                  </a:cxn>
                  <a:cxn ang="0">
                    <a:pos x="23" y="9"/>
                  </a:cxn>
                  <a:cxn ang="0">
                    <a:pos x="25" y="9"/>
                  </a:cxn>
                  <a:cxn ang="0">
                    <a:pos x="23" y="9"/>
                  </a:cxn>
                  <a:cxn ang="0">
                    <a:pos x="23" y="8"/>
                  </a:cxn>
                  <a:cxn ang="0">
                    <a:pos x="23" y="6"/>
                  </a:cxn>
                  <a:cxn ang="0">
                    <a:pos x="23" y="5"/>
                  </a:cxn>
                  <a:cxn ang="0">
                    <a:pos x="22" y="5"/>
                  </a:cxn>
                  <a:cxn ang="0">
                    <a:pos x="22" y="3"/>
                  </a:cxn>
                  <a:cxn ang="0">
                    <a:pos x="20" y="3"/>
                  </a:cxn>
                  <a:cxn ang="0">
                    <a:pos x="20" y="3"/>
                  </a:cxn>
                  <a:cxn ang="0">
                    <a:pos x="20" y="3"/>
                  </a:cxn>
                  <a:cxn ang="0">
                    <a:pos x="20" y="2"/>
                  </a:cxn>
                  <a:cxn ang="0">
                    <a:pos x="22" y="2"/>
                  </a:cxn>
                  <a:cxn ang="0">
                    <a:pos x="22" y="2"/>
                  </a:cxn>
                  <a:cxn ang="0">
                    <a:pos x="22" y="0"/>
                  </a:cxn>
                  <a:cxn ang="0">
                    <a:pos x="20" y="0"/>
                  </a:cxn>
                  <a:cxn ang="0">
                    <a:pos x="20" y="0"/>
                  </a:cxn>
                  <a:cxn ang="0">
                    <a:pos x="19" y="0"/>
                  </a:cxn>
                  <a:cxn ang="0">
                    <a:pos x="19" y="0"/>
                  </a:cxn>
                  <a:cxn ang="0">
                    <a:pos x="15" y="0"/>
                  </a:cxn>
                  <a:cxn ang="0">
                    <a:pos x="15" y="3"/>
                  </a:cxn>
                  <a:cxn ang="0">
                    <a:pos x="10" y="8"/>
                  </a:cxn>
                  <a:cxn ang="0">
                    <a:pos x="9" y="14"/>
                  </a:cxn>
                  <a:cxn ang="0">
                    <a:pos x="7" y="14"/>
                  </a:cxn>
                  <a:cxn ang="0">
                    <a:pos x="7" y="15"/>
                  </a:cxn>
                  <a:cxn ang="0">
                    <a:pos x="6" y="15"/>
                  </a:cxn>
                  <a:cxn ang="0">
                    <a:pos x="0" y="28"/>
                  </a:cxn>
                  <a:cxn ang="0">
                    <a:pos x="0" y="30"/>
                  </a:cxn>
                  <a:cxn ang="0">
                    <a:pos x="3" y="30"/>
                  </a:cxn>
                  <a:cxn ang="0">
                    <a:pos x="5" y="30"/>
                  </a:cxn>
                  <a:cxn ang="0">
                    <a:pos x="5" y="30"/>
                  </a:cxn>
                  <a:cxn ang="0">
                    <a:pos x="6" y="30"/>
                  </a:cxn>
                  <a:cxn ang="0">
                    <a:pos x="7" y="30"/>
                  </a:cxn>
                  <a:cxn ang="0">
                    <a:pos x="7" y="27"/>
                  </a:cxn>
                  <a:cxn ang="0">
                    <a:pos x="7" y="25"/>
                  </a:cxn>
                  <a:cxn ang="0">
                    <a:pos x="9" y="25"/>
                  </a:cxn>
                  <a:cxn ang="0">
                    <a:pos x="9" y="27"/>
                  </a:cxn>
                </a:cxnLst>
                <a:rect l="0" t="0" r="r" b="b"/>
                <a:pathLst>
                  <a:path w="25" h="30">
                    <a:moveTo>
                      <a:pt x="9" y="27"/>
                    </a:moveTo>
                    <a:lnTo>
                      <a:pt x="10" y="25"/>
                    </a:lnTo>
                    <a:lnTo>
                      <a:pt x="12" y="25"/>
                    </a:lnTo>
                    <a:lnTo>
                      <a:pt x="12" y="24"/>
                    </a:lnTo>
                    <a:lnTo>
                      <a:pt x="15" y="21"/>
                    </a:lnTo>
                    <a:lnTo>
                      <a:pt x="15" y="21"/>
                    </a:lnTo>
                    <a:lnTo>
                      <a:pt x="15" y="19"/>
                    </a:lnTo>
                    <a:lnTo>
                      <a:pt x="13" y="19"/>
                    </a:lnTo>
                    <a:lnTo>
                      <a:pt x="13" y="19"/>
                    </a:lnTo>
                    <a:lnTo>
                      <a:pt x="15" y="18"/>
                    </a:lnTo>
                    <a:lnTo>
                      <a:pt x="15" y="18"/>
                    </a:lnTo>
                    <a:lnTo>
                      <a:pt x="16" y="16"/>
                    </a:lnTo>
                    <a:lnTo>
                      <a:pt x="19" y="16"/>
                    </a:lnTo>
                    <a:lnTo>
                      <a:pt x="20" y="16"/>
                    </a:lnTo>
                    <a:lnTo>
                      <a:pt x="20" y="16"/>
                    </a:lnTo>
                    <a:lnTo>
                      <a:pt x="20" y="16"/>
                    </a:lnTo>
                    <a:lnTo>
                      <a:pt x="20" y="15"/>
                    </a:lnTo>
                    <a:lnTo>
                      <a:pt x="19" y="15"/>
                    </a:lnTo>
                    <a:lnTo>
                      <a:pt x="19" y="14"/>
                    </a:lnTo>
                    <a:lnTo>
                      <a:pt x="20" y="14"/>
                    </a:lnTo>
                    <a:lnTo>
                      <a:pt x="20" y="12"/>
                    </a:lnTo>
                    <a:lnTo>
                      <a:pt x="22" y="12"/>
                    </a:lnTo>
                    <a:lnTo>
                      <a:pt x="23" y="11"/>
                    </a:lnTo>
                    <a:lnTo>
                      <a:pt x="23" y="11"/>
                    </a:lnTo>
                    <a:lnTo>
                      <a:pt x="23" y="9"/>
                    </a:lnTo>
                    <a:lnTo>
                      <a:pt x="25" y="9"/>
                    </a:lnTo>
                    <a:lnTo>
                      <a:pt x="23" y="9"/>
                    </a:lnTo>
                    <a:lnTo>
                      <a:pt x="23" y="8"/>
                    </a:lnTo>
                    <a:lnTo>
                      <a:pt x="23" y="6"/>
                    </a:lnTo>
                    <a:lnTo>
                      <a:pt x="23" y="5"/>
                    </a:lnTo>
                    <a:lnTo>
                      <a:pt x="22" y="5"/>
                    </a:lnTo>
                    <a:lnTo>
                      <a:pt x="22" y="3"/>
                    </a:lnTo>
                    <a:lnTo>
                      <a:pt x="20" y="3"/>
                    </a:lnTo>
                    <a:lnTo>
                      <a:pt x="20" y="3"/>
                    </a:lnTo>
                    <a:lnTo>
                      <a:pt x="20" y="3"/>
                    </a:lnTo>
                    <a:lnTo>
                      <a:pt x="20" y="2"/>
                    </a:lnTo>
                    <a:lnTo>
                      <a:pt x="22" y="2"/>
                    </a:lnTo>
                    <a:lnTo>
                      <a:pt x="22" y="2"/>
                    </a:lnTo>
                    <a:lnTo>
                      <a:pt x="22" y="0"/>
                    </a:lnTo>
                    <a:lnTo>
                      <a:pt x="20" y="0"/>
                    </a:lnTo>
                    <a:lnTo>
                      <a:pt x="20" y="0"/>
                    </a:lnTo>
                    <a:lnTo>
                      <a:pt x="19" y="0"/>
                    </a:lnTo>
                    <a:lnTo>
                      <a:pt x="19" y="0"/>
                    </a:lnTo>
                    <a:lnTo>
                      <a:pt x="15" y="0"/>
                    </a:lnTo>
                    <a:lnTo>
                      <a:pt x="15" y="3"/>
                    </a:lnTo>
                    <a:lnTo>
                      <a:pt x="10" y="8"/>
                    </a:lnTo>
                    <a:lnTo>
                      <a:pt x="9" y="14"/>
                    </a:lnTo>
                    <a:lnTo>
                      <a:pt x="7" y="14"/>
                    </a:lnTo>
                    <a:lnTo>
                      <a:pt x="7" y="15"/>
                    </a:lnTo>
                    <a:lnTo>
                      <a:pt x="6" y="15"/>
                    </a:lnTo>
                    <a:lnTo>
                      <a:pt x="0" y="28"/>
                    </a:lnTo>
                    <a:lnTo>
                      <a:pt x="0" y="30"/>
                    </a:lnTo>
                    <a:lnTo>
                      <a:pt x="3" y="30"/>
                    </a:lnTo>
                    <a:lnTo>
                      <a:pt x="5" y="30"/>
                    </a:lnTo>
                    <a:lnTo>
                      <a:pt x="5" y="30"/>
                    </a:lnTo>
                    <a:lnTo>
                      <a:pt x="6" y="30"/>
                    </a:lnTo>
                    <a:lnTo>
                      <a:pt x="7" y="30"/>
                    </a:lnTo>
                    <a:lnTo>
                      <a:pt x="7" y="27"/>
                    </a:lnTo>
                    <a:lnTo>
                      <a:pt x="7" y="25"/>
                    </a:lnTo>
                    <a:lnTo>
                      <a:pt x="9" y="25"/>
                    </a:lnTo>
                    <a:lnTo>
                      <a:pt x="9" y="27"/>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48" name="Freeform 248"/>
              <p:cNvSpPr>
                <a:spLocks/>
              </p:cNvSpPr>
              <p:nvPr/>
            </p:nvSpPr>
            <p:spPr bwMode="auto">
              <a:xfrm>
                <a:off x="6575426" y="2726994"/>
                <a:ext cx="22823" cy="31438"/>
              </a:xfrm>
              <a:custGeom>
                <a:avLst/>
                <a:gdLst/>
                <a:ahLst/>
                <a:cxnLst>
                  <a:cxn ang="0">
                    <a:pos x="9" y="27"/>
                  </a:cxn>
                  <a:cxn ang="0">
                    <a:pos x="10" y="25"/>
                  </a:cxn>
                  <a:cxn ang="0">
                    <a:pos x="12" y="25"/>
                  </a:cxn>
                  <a:cxn ang="0">
                    <a:pos x="12" y="24"/>
                  </a:cxn>
                  <a:cxn ang="0">
                    <a:pos x="15" y="21"/>
                  </a:cxn>
                  <a:cxn ang="0">
                    <a:pos x="15" y="21"/>
                  </a:cxn>
                  <a:cxn ang="0">
                    <a:pos x="15" y="19"/>
                  </a:cxn>
                  <a:cxn ang="0">
                    <a:pos x="13" y="19"/>
                  </a:cxn>
                  <a:cxn ang="0">
                    <a:pos x="13" y="19"/>
                  </a:cxn>
                  <a:cxn ang="0">
                    <a:pos x="15" y="18"/>
                  </a:cxn>
                  <a:cxn ang="0">
                    <a:pos x="15" y="18"/>
                  </a:cxn>
                  <a:cxn ang="0">
                    <a:pos x="16" y="16"/>
                  </a:cxn>
                  <a:cxn ang="0">
                    <a:pos x="19" y="16"/>
                  </a:cxn>
                  <a:cxn ang="0">
                    <a:pos x="20" y="16"/>
                  </a:cxn>
                  <a:cxn ang="0">
                    <a:pos x="20" y="16"/>
                  </a:cxn>
                  <a:cxn ang="0">
                    <a:pos x="20" y="16"/>
                  </a:cxn>
                  <a:cxn ang="0">
                    <a:pos x="20" y="15"/>
                  </a:cxn>
                  <a:cxn ang="0">
                    <a:pos x="19" y="15"/>
                  </a:cxn>
                  <a:cxn ang="0">
                    <a:pos x="19" y="14"/>
                  </a:cxn>
                  <a:cxn ang="0">
                    <a:pos x="20" y="14"/>
                  </a:cxn>
                  <a:cxn ang="0">
                    <a:pos x="20" y="12"/>
                  </a:cxn>
                  <a:cxn ang="0">
                    <a:pos x="22" y="12"/>
                  </a:cxn>
                  <a:cxn ang="0">
                    <a:pos x="23" y="11"/>
                  </a:cxn>
                  <a:cxn ang="0">
                    <a:pos x="23" y="11"/>
                  </a:cxn>
                  <a:cxn ang="0">
                    <a:pos x="23" y="9"/>
                  </a:cxn>
                  <a:cxn ang="0">
                    <a:pos x="25" y="9"/>
                  </a:cxn>
                  <a:cxn ang="0">
                    <a:pos x="23" y="9"/>
                  </a:cxn>
                  <a:cxn ang="0">
                    <a:pos x="23" y="8"/>
                  </a:cxn>
                  <a:cxn ang="0">
                    <a:pos x="23" y="6"/>
                  </a:cxn>
                  <a:cxn ang="0">
                    <a:pos x="23" y="5"/>
                  </a:cxn>
                  <a:cxn ang="0">
                    <a:pos x="22" y="5"/>
                  </a:cxn>
                  <a:cxn ang="0">
                    <a:pos x="22" y="3"/>
                  </a:cxn>
                  <a:cxn ang="0">
                    <a:pos x="20" y="3"/>
                  </a:cxn>
                  <a:cxn ang="0">
                    <a:pos x="20" y="3"/>
                  </a:cxn>
                  <a:cxn ang="0">
                    <a:pos x="20" y="3"/>
                  </a:cxn>
                  <a:cxn ang="0">
                    <a:pos x="20" y="2"/>
                  </a:cxn>
                  <a:cxn ang="0">
                    <a:pos x="22" y="2"/>
                  </a:cxn>
                  <a:cxn ang="0">
                    <a:pos x="22" y="2"/>
                  </a:cxn>
                  <a:cxn ang="0">
                    <a:pos x="22" y="0"/>
                  </a:cxn>
                  <a:cxn ang="0">
                    <a:pos x="20" y="0"/>
                  </a:cxn>
                  <a:cxn ang="0">
                    <a:pos x="20" y="0"/>
                  </a:cxn>
                  <a:cxn ang="0">
                    <a:pos x="19" y="0"/>
                  </a:cxn>
                  <a:cxn ang="0">
                    <a:pos x="19" y="0"/>
                  </a:cxn>
                  <a:cxn ang="0">
                    <a:pos x="15" y="0"/>
                  </a:cxn>
                  <a:cxn ang="0">
                    <a:pos x="15" y="3"/>
                  </a:cxn>
                  <a:cxn ang="0">
                    <a:pos x="10" y="8"/>
                  </a:cxn>
                  <a:cxn ang="0">
                    <a:pos x="9" y="14"/>
                  </a:cxn>
                  <a:cxn ang="0">
                    <a:pos x="7" y="14"/>
                  </a:cxn>
                  <a:cxn ang="0">
                    <a:pos x="7" y="15"/>
                  </a:cxn>
                  <a:cxn ang="0">
                    <a:pos x="6" y="15"/>
                  </a:cxn>
                  <a:cxn ang="0">
                    <a:pos x="0" y="28"/>
                  </a:cxn>
                  <a:cxn ang="0">
                    <a:pos x="0" y="30"/>
                  </a:cxn>
                  <a:cxn ang="0">
                    <a:pos x="3" y="30"/>
                  </a:cxn>
                  <a:cxn ang="0">
                    <a:pos x="5" y="30"/>
                  </a:cxn>
                  <a:cxn ang="0">
                    <a:pos x="5" y="30"/>
                  </a:cxn>
                  <a:cxn ang="0">
                    <a:pos x="6" y="30"/>
                  </a:cxn>
                  <a:cxn ang="0">
                    <a:pos x="7" y="30"/>
                  </a:cxn>
                  <a:cxn ang="0">
                    <a:pos x="7" y="27"/>
                  </a:cxn>
                  <a:cxn ang="0">
                    <a:pos x="7" y="25"/>
                  </a:cxn>
                  <a:cxn ang="0">
                    <a:pos x="9" y="25"/>
                  </a:cxn>
                  <a:cxn ang="0">
                    <a:pos x="9" y="27"/>
                  </a:cxn>
                </a:cxnLst>
                <a:rect l="0" t="0" r="r" b="b"/>
                <a:pathLst>
                  <a:path w="25" h="30">
                    <a:moveTo>
                      <a:pt x="9" y="27"/>
                    </a:moveTo>
                    <a:lnTo>
                      <a:pt x="10" y="25"/>
                    </a:lnTo>
                    <a:lnTo>
                      <a:pt x="12" y="25"/>
                    </a:lnTo>
                    <a:lnTo>
                      <a:pt x="12" y="24"/>
                    </a:lnTo>
                    <a:lnTo>
                      <a:pt x="15" y="21"/>
                    </a:lnTo>
                    <a:lnTo>
                      <a:pt x="15" y="21"/>
                    </a:lnTo>
                    <a:lnTo>
                      <a:pt x="15" y="19"/>
                    </a:lnTo>
                    <a:lnTo>
                      <a:pt x="13" y="19"/>
                    </a:lnTo>
                    <a:lnTo>
                      <a:pt x="13" y="19"/>
                    </a:lnTo>
                    <a:lnTo>
                      <a:pt x="15" y="18"/>
                    </a:lnTo>
                    <a:lnTo>
                      <a:pt x="15" y="18"/>
                    </a:lnTo>
                    <a:lnTo>
                      <a:pt x="16" y="16"/>
                    </a:lnTo>
                    <a:lnTo>
                      <a:pt x="19" y="16"/>
                    </a:lnTo>
                    <a:lnTo>
                      <a:pt x="20" y="16"/>
                    </a:lnTo>
                    <a:lnTo>
                      <a:pt x="20" y="16"/>
                    </a:lnTo>
                    <a:lnTo>
                      <a:pt x="20" y="16"/>
                    </a:lnTo>
                    <a:lnTo>
                      <a:pt x="20" y="15"/>
                    </a:lnTo>
                    <a:lnTo>
                      <a:pt x="19" y="15"/>
                    </a:lnTo>
                    <a:lnTo>
                      <a:pt x="19" y="14"/>
                    </a:lnTo>
                    <a:lnTo>
                      <a:pt x="20" y="14"/>
                    </a:lnTo>
                    <a:lnTo>
                      <a:pt x="20" y="12"/>
                    </a:lnTo>
                    <a:lnTo>
                      <a:pt x="22" y="12"/>
                    </a:lnTo>
                    <a:lnTo>
                      <a:pt x="23" y="11"/>
                    </a:lnTo>
                    <a:lnTo>
                      <a:pt x="23" y="11"/>
                    </a:lnTo>
                    <a:lnTo>
                      <a:pt x="23" y="9"/>
                    </a:lnTo>
                    <a:lnTo>
                      <a:pt x="25" y="9"/>
                    </a:lnTo>
                    <a:lnTo>
                      <a:pt x="23" y="9"/>
                    </a:lnTo>
                    <a:lnTo>
                      <a:pt x="23" y="8"/>
                    </a:lnTo>
                    <a:lnTo>
                      <a:pt x="23" y="6"/>
                    </a:lnTo>
                    <a:lnTo>
                      <a:pt x="23" y="5"/>
                    </a:lnTo>
                    <a:lnTo>
                      <a:pt x="22" y="5"/>
                    </a:lnTo>
                    <a:lnTo>
                      <a:pt x="22" y="3"/>
                    </a:lnTo>
                    <a:lnTo>
                      <a:pt x="20" y="3"/>
                    </a:lnTo>
                    <a:lnTo>
                      <a:pt x="20" y="3"/>
                    </a:lnTo>
                    <a:lnTo>
                      <a:pt x="20" y="3"/>
                    </a:lnTo>
                    <a:lnTo>
                      <a:pt x="20" y="2"/>
                    </a:lnTo>
                    <a:lnTo>
                      <a:pt x="22" y="2"/>
                    </a:lnTo>
                    <a:lnTo>
                      <a:pt x="22" y="2"/>
                    </a:lnTo>
                    <a:lnTo>
                      <a:pt x="22" y="0"/>
                    </a:lnTo>
                    <a:lnTo>
                      <a:pt x="20" y="0"/>
                    </a:lnTo>
                    <a:lnTo>
                      <a:pt x="20" y="0"/>
                    </a:lnTo>
                    <a:lnTo>
                      <a:pt x="19" y="0"/>
                    </a:lnTo>
                    <a:lnTo>
                      <a:pt x="19" y="0"/>
                    </a:lnTo>
                    <a:lnTo>
                      <a:pt x="15" y="0"/>
                    </a:lnTo>
                    <a:lnTo>
                      <a:pt x="15" y="3"/>
                    </a:lnTo>
                    <a:lnTo>
                      <a:pt x="10" y="8"/>
                    </a:lnTo>
                    <a:lnTo>
                      <a:pt x="9" y="14"/>
                    </a:lnTo>
                    <a:lnTo>
                      <a:pt x="7" y="14"/>
                    </a:lnTo>
                    <a:lnTo>
                      <a:pt x="7" y="15"/>
                    </a:lnTo>
                    <a:lnTo>
                      <a:pt x="6" y="15"/>
                    </a:lnTo>
                    <a:lnTo>
                      <a:pt x="0" y="28"/>
                    </a:lnTo>
                    <a:lnTo>
                      <a:pt x="0" y="30"/>
                    </a:lnTo>
                    <a:lnTo>
                      <a:pt x="3" y="30"/>
                    </a:lnTo>
                    <a:lnTo>
                      <a:pt x="5" y="30"/>
                    </a:lnTo>
                    <a:lnTo>
                      <a:pt x="5" y="30"/>
                    </a:lnTo>
                    <a:lnTo>
                      <a:pt x="6" y="30"/>
                    </a:lnTo>
                    <a:lnTo>
                      <a:pt x="7" y="30"/>
                    </a:lnTo>
                    <a:lnTo>
                      <a:pt x="7" y="27"/>
                    </a:lnTo>
                    <a:lnTo>
                      <a:pt x="7" y="25"/>
                    </a:lnTo>
                    <a:lnTo>
                      <a:pt x="9" y="25"/>
                    </a:lnTo>
                    <a:lnTo>
                      <a:pt x="9" y="27"/>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49" name="Freeform 249"/>
              <p:cNvSpPr>
                <a:spLocks/>
              </p:cNvSpPr>
              <p:nvPr/>
            </p:nvSpPr>
            <p:spPr bwMode="auto">
              <a:xfrm>
                <a:off x="6849299" y="2873029"/>
                <a:ext cx="5267" cy="10141"/>
              </a:xfrm>
              <a:custGeom>
                <a:avLst/>
                <a:gdLst/>
                <a:ahLst/>
                <a:cxnLst>
                  <a:cxn ang="0">
                    <a:pos x="0" y="3"/>
                  </a:cxn>
                  <a:cxn ang="0">
                    <a:pos x="0" y="4"/>
                  </a:cxn>
                  <a:cxn ang="0">
                    <a:pos x="2" y="6"/>
                  </a:cxn>
                  <a:cxn ang="0">
                    <a:pos x="0" y="7"/>
                  </a:cxn>
                  <a:cxn ang="0">
                    <a:pos x="2" y="7"/>
                  </a:cxn>
                  <a:cxn ang="0">
                    <a:pos x="0" y="9"/>
                  </a:cxn>
                  <a:cxn ang="0">
                    <a:pos x="2" y="10"/>
                  </a:cxn>
                  <a:cxn ang="0">
                    <a:pos x="3" y="10"/>
                  </a:cxn>
                  <a:cxn ang="0">
                    <a:pos x="3" y="9"/>
                  </a:cxn>
                  <a:cxn ang="0">
                    <a:pos x="5" y="7"/>
                  </a:cxn>
                  <a:cxn ang="0">
                    <a:pos x="5" y="4"/>
                  </a:cxn>
                  <a:cxn ang="0">
                    <a:pos x="5" y="3"/>
                  </a:cxn>
                  <a:cxn ang="0">
                    <a:pos x="5" y="3"/>
                  </a:cxn>
                  <a:cxn ang="0">
                    <a:pos x="6" y="1"/>
                  </a:cxn>
                  <a:cxn ang="0">
                    <a:pos x="6" y="0"/>
                  </a:cxn>
                  <a:cxn ang="0">
                    <a:pos x="5" y="0"/>
                  </a:cxn>
                  <a:cxn ang="0">
                    <a:pos x="3" y="1"/>
                  </a:cxn>
                  <a:cxn ang="0">
                    <a:pos x="2" y="1"/>
                  </a:cxn>
                  <a:cxn ang="0">
                    <a:pos x="0" y="3"/>
                  </a:cxn>
                </a:cxnLst>
                <a:rect l="0" t="0" r="r" b="b"/>
                <a:pathLst>
                  <a:path w="6" h="10">
                    <a:moveTo>
                      <a:pt x="0" y="3"/>
                    </a:moveTo>
                    <a:lnTo>
                      <a:pt x="0" y="4"/>
                    </a:lnTo>
                    <a:lnTo>
                      <a:pt x="2" y="6"/>
                    </a:lnTo>
                    <a:lnTo>
                      <a:pt x="0" y="7"/>
                    </a:lnTo>
                    <a:lnTo>
                      <a:pt x="2" y="7"/>
                    </a:lnTo>
                    <a:lnTo>
                      <a:pt x="0" y="9"/>
                    </a:lnTo>
                    <a:lnTo>
                      <a:pt x="2" y="10"/>
                    </a:lnTo>
                    <a:lnTo>
                      <a:pt x="3" y="10"/>
                    </a:lnTo>
                    <a:lnTo>
                      <a:pt x="3" y="9"/>
                    </a:lnTo>
                    <a:lnTo>
                      <a:pt x="5" y="7"/>
                    </a:lnTo>
                    <a:lnTo>
                      <a:pt x="5" y="4"/>
                    </a:lnTo>
                    <a:lnTo>
                      <a:pt x="5" y="3"/>
                    </a:lnTo>
                    <a:lnTo>
                      <a:pt x="5" y="3"/>
                    </a:lnTo>
                    <a:lnTo>
                      <a:pt x="6" y="1"/>
                    </a:lnTo>
                    <a:lnTo>
                      <a:pt x="6" y="0"/>
                    </a:lnTo>
                    <a:lnTo>
                      <a:pt x="5" y="0"/>
                    </a:lnTo>
                    <a:lnTo>
                      <a:pt x="3" y="1"/>
                    </a:lnTo>
                    <a:lnTo>
                      <a:pt x="2" y="1"/>
                    </a:lnTo>
                    <a:lnTo>
                      <a:pt x="0"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50" name="Freeform 250"/>
              <p:cNvSpPr>
                <a:spLocks/>
              </p:cNvSpPr>
              <p:nvPr/>
            </p:nvSpPr>
            <p:spPr bwMode="auto">
              <a:xfrm>
                <a:off x="6849299" y="2873029"/>
                <a:ext cx="5267" cy="10141"/>
              </a:xfrm>
              <a:custGeom>
                <a:avLst/>
                <a:gdLst/>
                <a:ahLst/>
                <a:cxnLst>
                  <a:cxn ang="0">
                    <a:pos x="0" y="3"/>
                  </a:cxn>
                  <a:cxn ang="0">
                    <a:pos x="0" y="4"/>
                  </a:cxn>
                  <a:cxn ang="0">
                    <a:pos x="2" y="6"/>
                  </a:cxn>
                  <a:cxn ang="0">
                    <a:pos x="0" y="7"/>
                  </a:cxn>
                  <a:cxn ang="0">
                    <a:pos x="2" y="7"/>
                  </a:cxn>
                  <a:cxn ang="0">
                    <a:pos x="0" y="9"/>
                  </a:cxn>
                  <a:cxn ang="0">
                    <a:pos x="2" y="10"/>
                  </a:cxn>
                  <a:cxn ang="0">
                    <a:pos x="3" y="10"/>
                  </a:cxn>
                  <a:cxn ang="0">
                    <a:pos x="3" y="9"/>
                  </a:cxn>
                  <a:cxn ang="0">
                    <a:pos x="5" y="7"/>
                  </a:cxn>
                  <a:cxn ang="0">
                    <a:pos x="5" y="4"/>
                  </a:cxn>
                  <a:cxn ang="0">
                    <a:pos x="5" y="3"/>
                  </a:cxn>
                  <a:cxn ang="0">
                    <a:pos x="5" y="3"/>
                  </a:cxn>
                  <a:cxn ang="0">
                    <a:pos x="6" y="1"/>
                  </a:cxn>
                  <a:cxn ang="0">
                    <a:pos x="6" y="0"/>
                  </a:cxn>
                  <a:cxn ang="0">
                    <a:pos x="5" y="0"/>
                  </a:cxn>
                  <a:cxn ang="0">
                    <a:pos x="3" y="1"/>
                  </a:cxn>
                  <a:cxn ang="0">
                    <a:pos x="2" y="1"/>
                  </a:cxn>
                  <a:cxn ang="0">
                    <a:pos x="0" y="3"/>
                  </a:cxn>
                </a:cxnLst>
                <a:rect l="0" t="0" r="r" b="b"/>
                <a:pathLst>
                  <a:path w="6" h="10">
                    <a:moveTo>
                      <a:pt x="0" y="3"/>
                    </a:moveTo>
                    <a:lnTo>
                      <a:pt x="0" y="4"/>
                    </a:lnTo>
                    <a:lnTo>
                      <a:pt x="2" y="6"/>
                    </a:lnTo>
                    <a:lnTo>
                      <a:pt x="0" y="7"/>
                    </a:lnTo>
                    <a:lnTo>
                      <a:pt x="2" y="7"/>
                    </a:lnTo>
                    <a:lnTo>
                      <a:pt x="0" y="9"/>
                    </a:lnTo>
                    <a:lnTo>
                      <a:pt x="2" y="10"/>
                    </a:lnTo>
                    <a:lnTo>
                      <a:pt x="3" y="10"/>
                    </a:lnTo>
                    <a:lnTo>
                      <a:pt x="3" y="9"/>
                    </a:lnTo>
                    <a:lnTo>
                      <a:pt x="5" y="7"/>
                    </a:lnTo>
                    <a:lnTo>
                      <a:pt x="5" y="4"/>
                    </a:lnTo>
                    <a:lnTo>
                      <a:pt x="5" y="3"/>
                    </a:lnTo>
                    <a:lnTo>
                      <a:pt x="5" y="3"/>
                    </a:lnTo>
                    <a:lnTo>
                      <a:pt x="6" y="1"/>
                    </a:lnTo>
                    <a:lnTo>
                      <a:pt x="6" y="0"/>
                    </a:lnTo>
                    <a:lnTo>
                      <a:pt x="5" y="0"/>
                    </a:lnTo>
                    <a:lnTo>
                      <a:pt x="3" y="1"/>
                    </a:lnTo>
                    <a:lnTo>
                      <a:pt x="2" y="1"/>
                    </a:lnTo>
                    <a:lnTo>
                      <a:pt x="0"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51" name="Freeform 1650"/>
              <p:cNvSpPr>
                <a:spLocks/>
              </p:cNvSpPr>
              <p:nvPr/>
            </p:nvSpPr>
            <p:spPr bwMode="auto">
              <a:xfrm>
                <a:off x="7452348" y="2922722"/>
                <a:ext cx="93924" cy="225137"/>
              </a:xfrm>
              <a:custGeom>
                <a:avLst/>
                <a:gdLst/>
                <a:ahLst/>
                <a:cxnLst>
                  <a:cxn ang="0">
                    <a:pos x="62" y="199"/>
                  </a:cxn>
                  <a:cxn ang="0">
                    <a:pos x="63" y="196"/>
                  </a:cxn>
                  <a:cxn ang="0">
                    <a:pos x="65" y="192"/>
                  </a:cxn>
                  <a:cxn ang="0">
                    <a:pos x="69" y="189"/>
                  </a:cxn>
                  <a:cxn ang="0">
                    <a:pos x="82" y="184"/>
                  </a:cxn>
                  <a:cxn ang="0">
                    <a:pos x="95" y="177"/>
                  </a:cxn>
                  <a:cxn ang="0">
                    <a:pos x="100" y="171"/>
                  </a:cxn>
                  <a:cxn ang="0">
                    <a:pos x="100" y="169"/>
                  </a:cxn>
                  <a:cxn ang="0">
                    <a:pos x="100" y="160"/>
                  </a:cxn>
                  <a:cxn ang="0">
                    <a:pos x="101" y="157"/>
                  </a:cxn>
                  <a:cxn ang="0">
                    <a:pos x="101" y="153"/>
                  </a:cxn>
                  <a:cxn ang="0">
                    <a:pos x="87" y="110"/>
                  </a:cxn>
                  <a:cxn ang="0">
                    <a:pos x="85" y="107"/>
                  </a:cxn>
                  <a:cxn ang="0">
                    <a:pos x="79" y="103"/>
                  </a:cxn>
                  <a:cxn ang="0">
                    <a:pos x="50" y="70"/>
                  </a:cxn>
                  <a:cxn ang="0">
                    <a:pos x="62" y="44"/>
                  </a:cxn>
                  <a:cxn ang="0">
                    <a:pos x="74" y="32"/>
                  </a:cxn>
                  <a:cxn ang="0">
                    <a:pos x="81" y="28"/>
                  </a:cxn>
                  <a:cxn ang="0">
                    <a:pos x="81" y="26"/>
                  </a:cxn>
                  <a:cxn ang="0">
                    <a:pos x="66" y="20"/>
                  </a:cxn>
                  <a:cxn ang="0">
                    <a:pos x="63" y="9"/>
                  </a:cxn>
                  <a:cxn ang="0">
                    <a:pos x="43" y="0"/>
                  </a:cxn>
                  <a:cxn ang="0">
                    <a:pos x="31" y="7"/>
                  </a:cxn>
                  <a:cxn ang="0">
                    <a:pos x="24" y="10"/>
                  </a:cxn>
                  <a:cxn ang="0">
                    <a:pos x="18" y="9"/>
                  </a:cxn>
                  <a:cxn ang="0">
                    <a:pos x="11" y="10"/>
                  </a:cxn>
                  <a:cxn ang="0">
                    <a:pos x="5" y="7"/>
                  </a:cxn>
                  <a:cxn ang="0">
                    <a:pos x="1" y="13"/>
                  </a:cxn>
                  <a:cxn ang="0">
                    <a:pos x="10" y="29"/>
                  </a:cxn>
                  <a:cxn ang="0">
                    <a:pos x="20" y="36"/>
                  </a:cxn>
                  <a:cxn ang="0">
                    <a:pos x="33" y="41"/>
                  </a:cxn>
                  <a:cxn ang="0">
                    <a:pos x="36" y="46"/>
                  </a:cxn>
                  <a:cxn ang="0">
                    <a:pos x="33" y="54"/>
                  </a:cxn>
                  <a:cxn ang="0">
                    <a:pos x="26" y="55"/>
                  </a:cxn>
                  <a:cxn ang="0">
                    <a:pos x="42" y="70"/>
                  </a:cxn>
                  <a:cxn ang="0">
                    <a:pos x="49" y="81"/>
                  </a:cxn>
                  <a:cxn ang="0">
                    <a:pos x="59" y="90"/>
                  </a:cxn>
                  <a:cxn ang="0">
                    <a:pos x="62" y="97"/>
                  </a:cxn>
                  <a:cxn ang="0">
                    <a:pos x="71" y="105"/>
                  </a:cxn>
                  <a:cxn ang="0">
                    <a:pos x="78" y="145"/>
                  </a:cxn>
                  <a:cxn ang="0">
                    <a:pos x="72" y="163"/>
                  </a:cxn>
                  <a:cxn ang="0">
                    <a:pos x="61" y="169"/>
                  </a:cxn>
                  <a:cxn ang="0">
                    <a:pos x="53" y="176"/>
                  </a:cxn>
                  <a:cxn ang="0">
                    <a:pos x="47" y="183"/>
                  </a:cxn>
                  <a:cxn ang="0">
                    <a:pos x="40" y="183"/>
                  </a:cxn>
                  <a:cxn ang="0">
                    <a:pos x="33" y="189"/>
                  </a:cxn>
                  <a:cxn ang="0">
                    <a:pos x="42" y="195"/>
                  </a:cxn>
                  <a:cxn ang="0">
                    <a:pos x="40" y="214"/>
                  </a:cxn>
                  <a:cxn ang="0">
                    <a:pos x="42" y="216"/>
                  </a:cxn>
                  <a:cxn ang="0">
                    <a:pos x="56" y="203"/>
                  </a:cxn>
                </a:cxnLst>
                <a:rect l="0" t="0" r="r" b="b"/>
                <a:pathLst>
                  <a:path w="103" h="216">
                    <a:moveTo>
                      <a:pt x="59" y="200"/>
                    </a:moveTo>
                    <a:lnTo>
                      <a:pt x="62" y="202"/>
                    </a:lnTo>
                    <a:lnTo>
                      <a:pt x="62" y="199"/>
                    </a:lnTo>
                    <a:lnTo>
                      <a:pt x="61" y="198"/>
                    </a:lnTo>
                    <a:lnTo>
                      <a:pt x="62" y="196"/>
                    </a:lnTo>
                    <a:lnTo>
                      <a:pt x="63" y="196"/>
                    </a:lnTo>
                    <a:lnTo>
                      <a:pt x="63" y="195"/>
                    </a:lnTo>
                    <a:lnTo>
                      <a:pt x="65" y="195"/>
                    </a:lnTo>
                    <a:lnTo>
                      <a:pt x="65" y="192"/>
                    </a:lnTo>
                    <a:lnTo>
                      <a:pt x="65" y="192"/>
                    </a:lnTo>
                    <a:lnTo>
                      <a:pt x="66" y="190"/>
                    </a:lnTo>
                    <a:lnTo>
                      <a:pt x="69" y="189"/>
                    </a:lnTo>
                    <a:lnTo>
                      <a:pt x="71" y="190"/>
                    </a:lnTo>
                    <a:lnTo>
                      <a:pt x="74" y="190"/>
                    </a:lnTo>
                    <a:lnTo>
                      <a:pt x="82" y="184"/>
                    </a:lnTo>
                    <a:lnTo>
                      <a:pt x="85" y="183"/>
                    </a:lnTo>
                    <a:lnTo>
                      <a:pt x="92" y="179"/>
                    </a:lnTo>
                    <a:lnTo>
                      <a:pt x="95" y="177"/>
                    </a:lnTo>
                    <a:lnTo>
                      <a:pt x="97" y="177"/>
                    </a:lnTo>
                    <a:lnTo>
                      <a:pt x="98" y="173"/>
                    </a:lnTo>
                    <a:lnTo>
                      <a:pt x="100" y="171"/>
                    </a:lnTo>
                    <a:lnTo>
                      <a:pt x="100" y="170"/>
                    </a:lnTo>
                    <a:lnTo>
                      <a:pt x="100" y="169"/>
                    </a:lnTo>
                    <a:lnTo>
                      <a:pt x="100" y="169"/>
                    </a:lnTo>
                    <a:lnTo>
                      <a:pt x="100" y="169"/>
                    </a:lnTo>
                    <a:lnTo>
                      <a:pt x="100" y="161"/>
                    </a:lnTo>
                    <a:lnTo>
                      <a:pt x="100" y="160"/>
                    </a:lnTo>
                    <a:lnTo>
                      <a:pt x="100" y="161"/>
                    </a:lnTo>
                    <a:lnTo>
                      <a:pt x="100" y="158"/>
                    </a:lnTo>
                    <a:lnTo>
                      <a:pt x="101" y="157"/>
                    </a:lnTo>
                    <a:lnTo>
                      <a:pt x="103" y="157"/>
                    </a:lnTo>
                    <a:lnTo>
                      <a:pt x="103" y="158"/>
                    </a:lnTo>
                    <a:lnTo>
                      <a:pt x="101" y="153"/>
                    </a:lnTo>
                    <a:lnTo>
                      <a:pt x="101" y="153"/>
                    </a:lnTo>
                    <a:lnTo>
                      <a:pt x="94" y="119"/>
                    </a:lnTo>
                    <a:lnTo>
                      <a:pt x="87" y="110"/>
                    </a:lnTo>
                    <a:lnTo>
                      <a:pt x="87" y="106"/>
                    </a:lnTo>
                    <a:lnTo>
                      <a:pt x="87" y="107"/>
                    </a:lnTo>
                    <a:lnTo>
                      <a:pt x="85" y="107"/>
                    </a:lnTo>
                    <a:lnTo>
                      <a:pt x="85" y="106"/>
                    </a:lnTo>
                    <a:lnTo>
                      <a:pt x="84" y="105"/>
                    </a:lnTo>
                    <a:lnTo>
                      <a:pt x="79" y="103"/>
                    </a:lnTo>
                    <a:lnTo>
                      <a:pt x="61" y="84"/>
                    </a:lnTo>
                    <a:lnTo>
                      <a:pt x="59" y="77"/>
                    </a:lnTo>
                    <a:lnTo>
                      <a:pt x="50" y="70"/>
                    </a:lnTo>
                    <a:lnTo>
                      <a:pt x="49" y="67"/>
                    </a:lnTo>
                    <a:lnTo>
                      <a:pt x="55" y="51"/>
                    </a:lnTo>
                    <a:lnTo>
                      <a:pt x="62" y="44"/>
                    </a:lnTo>
                    <a:lnTo>
                      <a:pt x="63" y="39"/>
                    </a:lnTo>
                    <a:lnTo>
                      <a:pt x="66" y="36"/>
                    </a:lnTo>
                    <a:lnTo>
                      <a:pt x="74" y="32"/>
                    </a:lnTo>
                    <a:lnTo>
                      <a:pt x="74" y="30"/>
                    </a:lnTo>
                    <a:lnTo>
                      <a:pt x="79" y="28"/>
                    </a:lnTo>
                    <a:lnTo>
                      <a:pt x="81" y="28"/>
                    </a:lnTo>
                    <a:lnTo>
                      <a:pt x="82" y="28"/>
                    </a:lnTo>
                    <a:lnTo>
                      <a:pt x="82" y="26"/>
                    </a:lnTo>
                    <a:lnTo>
                      <a:pt x="81" y="26"/>
                    </a:lnTo>
                    <a:lnTo>
                      <a:pt x="74" y="25"/>
                    </a:lnTo>
                    <a:lnTo>
                      <a:pt x="72" y="23"/>
                    </a:lnTo>
                    <a:lnTo>
                      <a:pt x="66" y="20"/>
                    </a:lnTo>
                    <a:lnTo>
                      <a:pt x="63" y="17"/>
                    </a:lnTo>
                    <a:lnTo>
                      <a:pt x="62" y="13"/>
                    </a:lnTo>
                    <a:lnTo>
                      <a:pt x="63" y="9"/>
                    </a:lnTo>
                    <a:lnTo>
                      <a:pt x="63" y="7"/>
                    </a:lnTo>
                    <a:lnTo>
                      <a:pt x="55" y="6"/>
                    </a:lnTo>
                    <a:lnTo>
                      <a:pt x="43" y="0"/>
                    </a:lnTo>
                    <a:lnTo>
                      <a:pt x="42" y="0"/>
                    </a:lnTo>
                    <a:lnTo>
                      <a:pt x="36" y="6"/>
                    </a:lnTo>
                    <a:lnTo>
                      <a:pt x="31" y="7"/>
                    </a:lnTo>
                    <a:lnTo>
                      <a:pt x="29" y="7"/>
                    </a:lnTo>
                    <a:lnTo>
                      <a:pt x="27" y="9"/>
                    </a:lnTo>
                    <a:lnTo>
                      <a:pt x="24" y="10"/>
                    </a:lnTo>
                    <a:lnTo>
                      <a:pt x="23" y="9"/>
                    </a:lnTo>
                    <a:lnTo>
                      <a:pt x="20" y="10"/>
                    </a:lnTo>
                    <a:lnTo>
                      <a:pt x="18" y="9"/>
                    </a:lnTo>
                    <a:lnTo>
                      <a:pt x="17" y="9"/>
                    </a:lnTo>
                    <a:lnTo>
                      <a:pt x="13" y="12"/>
                    </a:lnTo>
                    <a:lnTo>
                      <a:pt x="11" y="10"/>
                    </a:lnTo>
                    <a:lnTo>
                      <a:pt x="10" y="9"/>
                    </a:lnTo>
                    <a:lnTo>
                      <a:pt x="5" y="9"/>
                    </a:lnTo>
                    <a:lnTo>
                      <a:pt x="5" y="7"/>
                    </a:lnTo>
                    <a:lnTo>
                      <a:pt x="4" y="9"/>
                    </a:lnTo>
                    <a:lnTo>
                      <a:pt x="1" y="12"/>
                    </a:lnTo>
                    <a:lnTo>
                      <a:pt x="1" y="13"/>
                    </a:lnTo>
                    <a:lnTo>
                      <a:pt x="0" y="12"/>
                    </a:lnTo>
                    <a:lnTo>
                      <a:pt x="11" y="26"/>
                    </a:lnTo>
                    <a:lnTo>
                      <a:pt x="10" y="29"/>
                    </a:lnTo>
                    <a:lnTo>
                      <a:pt x="11" y="32"/>
                    </a:lnTo>
                    <a:lnTo>
                      <a:pt x="14" y="35"/>
                    </a:lnTo>
                    <a:lnTo>
                      <a:pt x="20" y="36"/>
                    </a:lnTo>
                    <a:lnTo>
                      <a:pt x="24" y="35"/>
                    </a:lnTo>
                    <a:lnTo>
                      <a:pt x="29" y="35"/>
                    </a:lnTo>
                    <a:lnTo>
                      <a:pt x="33" y="41"/>
                    </a:lnTo>
                    <a:lnTo>
                      <a:pt x="33" y="42"/>
                    </a:lnTo>
                    <a:lnTo>
                      <a:pt x="36" y="44"/>
                    </a:lnTo>
                    <a:lnTo>
                      <a:pt x="36" y="46"/>
                    </a:lnTo>
                    <a:lnTo>
                      <a:pt x="37" y="48"/>
                    </a:lnTo>
                    <a:lnTo>
                      <a:pt x="37" y="49"/>
                    </a:lnTo>
                    <a:lnTo>
                      <a:pt x="33" y="54"/>
                    </a:lnTo>
                    <a:lnTo>
                      <a:pt x="29" y="54"/>
                    </a:lnTo>
                    <a:lnTo>
                      <a:pt x="27" y="54"/>
                    </a:lnTo>
                    <a:lnTo>
                      <a:pt x="26" y="55"/>
                    </a:lnTo>
                    <a:lnTo>
                      <a:pt x="26" y="58"/>
                    </a:lnTo>
                    <a:lnTo>
                      <a:pt x="26" y="60"/>
                    </a:lnTo>
                    <a:lnTo>
                      <a:pt x="42" y="70"/>
                    </a:lnTo>
                    <a:lnTo>
                      <a:pt x="42" y="73"/>
                    </a:lnTo>
                    <a:lnTo>
                      <a:pt x="47" y="78"/>
                    </a:lnTo>
                    <a:lnTo>
                      <a:pt x="49" y="81"/>
                    </a:lnTo>
                    <a:lnTo>
                      <a:pt x="53" y="86"/>
                    </a:lnTo>
                    <a:lnTo>
                      <a:pt x="55" y="86"/>
                    </a:lnTo>
                    <a:lnTo>
                      <a:pt x="59" y="90"/>
                    </a:lnTo>
                    <a:lnTo>
                      <a:pt x="62" y="96"/>
                    </a:lnTo>
                    <a:lnTo>
                      <a:pt x="62" y="97"/>
                    </a:lnTo>
                    <a:lnTo>
                      <a:pt x="62" y="97"/>
                    </a:lnTo>
                    <a:lnTo>
                      <a:pt x="62" y="100"/>
                    </a:lnTo>
                    <a:lnTo>
                      <a:pt x="65" y="100"/>
                    </a:lnTo>
                    <a:lnTo>
                      <a:pt x="71" y="105"/>
                    </a:lnTo>
                    <a:lnTo>
                      <a:pt x="75" y="116"/>
                    </a:lnTo>
                    <a:lnTo>
                      <a:pt x="75" y="141"/>
                    </a:lnTo>
                    <a:lnTo>
                      <a:pt x="78" y="145"/>
                    </a:lnTo>
                    <a:lnTo>
                      <a:pt x="76" y="161"/>
                    </a:lnTo>
                    <a:lnTo>
                      <a:pt x="75" y="163"/>
                    </a:lnTo>
                    <a:lnTo>
                      <a:pt x="72" y="163"/>
                    </a:lnTo>
                    <a:lnTo>
                      <a:pt x="68" y="166"/>
                    </a:lnTo>
                    <a:lnTo>
                      <a:pt x="66" y="166"/>
                    </a:lnTo>
                    <a:lnTo>
                      <a:pt x="61" y="169"/>
                    </a:lnTo>
                    <a:lnTo>
                      <a:pt x="61" y="170"/>
                    </a:lnTo>
                    <a:lnTo>
                      <a:pt x="53" y="171"/>
                    </a:lnTo>
                    <a:lnTo>
                      <a:pt x="53" y="176"/>
                    </a:lnTo>
                    <a:lnTo>
                      <a:pt x="53" y="180"/>
                    </a:lnTo>
                    <a:lnTo>
                      <a:pt x="50" y="182"/>
                    </a:lnTo>
                    <a:lnTo>
                      <a:pt x="47" y="183"/>
                    </a:lnTo>
                    <a:lnTo>
                      <a:pt x="45" y="184"/>
                    </a:lnTo>
                    <a:lnTo>
                      <a:pt x="42" y="183"/>
                    </a:lnTo>
                    <a:lnTo>
                      <a:pt x="40" y="183"/>
                    </a:lnTo>
                    <a:lnTo>
                      <a:pt x="40" y="186"/>
                    </a:lnTo>
                    <a:lnTo>
                      <a:pt x="39" y="187"/>
                    </a:lnTo>
                    <a:lnTo>
                      <a:pt x="33" y="189"/>
                    </a:lnTo>
                    <a:lnTo>
                      <a:pt x="34" y="192"/>
                    </a:lnTo>
                    <a:lnTo>
                      <a:pt x="40" y="193"/>
                    </a:lnTo>
                    <a:lnTo>
                      <a:pt x="42" y="195"/>
                    </a:lnTo>
                    <a:lnTo>
                      <a:pt x="39" y="200"/>
                    </a:lnTo>
                    <a:lnTo>
                      <a:pt x="39" y="208"/>
                    </a:lnTo>
                    <a:lnTo>
                      <a:pt x="40" y="214"/>
                    </a:lnTo>
                    <a:lnTo>
                      <a:pt x="39" y="215"/>
                    </a:lnTo>
                    <a:lnTo>
                      <a:pt x="39" y="216"/>
                    </a:lnTo>
                    <a:lnTo>
                      <a:pt x="42" y="216"/>
                    </a:lnTo>
                    <a:lnTo>
                      <a:pt x="50" y="208"/>
                    </a:lnTo>
                    <a:lnTo>
                      <a:pt x="56" y="205"/>
                    </a:lnTo>
                    <a:lnTo>
                      <a:pt x="56" y="203"/>
                    </a:lnTo>
                    <a:lnTo>
                      <a:pt x="56" y="202"/>
                    </a:lnTo>
                    <a:lnTo>
                      <a:pt x="59" y="20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52" name="Freeform 1651"/>
              <p:cNvSpPr>
                <a:spLocks/>
              </p:cNvSpPr>
              <p:nvPr/>
            </p:nvSpPr>
            <p:spPr bwMode="auto">
              <a:xfrm>
                <a:off x="7451915" y="2922957"/>
                <a:ext cx="94456" cy="224943"/>
              </a:xfrm>
              <a:custGeom>
                <a:avLst/>
                <a:gdLst>
                  <a:gd name="T0" fmla="*/ 2147483647 w 103"/>
                  <a:gd name="T1" fmla="*/ 2147483647 h 216"/>
                  <a:gd name="T2" fmla="*/ 2147483647 w 103"/>
                  <a:gd name="T3" fmla="*/ 2147483647 h 216"/>
                  <a:gd name="T4" fmla="*/ 2147483647 w 103"/>
                  <a:gd name="T5" fmla="*/ 2147483647 h 216"/>
                  <a:gd name="T6" fmla="*/ 2147483647 w 103"/>
                  <a:gd name="T7" fmla="*/ 2147483647 h 216"/>
                  <a:gd name="T8" fmla="*/ 2147483647 w 103"/>
                  <a:gd name="T9" fmla="*/ 2147483647 h 216"/>
                  <a:gd name="T10" fmla="*/ 2147483647 w 103"/>
                  <a:gd name="T11" fmla="*/ 2147483647 h 216"/>
                  <a:gd name="T12" fmla="*/ 2147483647 w 103"/>
                  <a:gd name="T13" fmla="*/ 2147483647 h 216"/>
                  <a:gd name="T14" fmla="*/ 2147483647 w 103"/>
                  <a:gd name="T15" fmla="*/ 2147483647 h 216"/>
                  <a:gd name="T16" fmla="*/ 2147483647 w 103"/>
                  <a:gd name="T17" fmla="*/ 2147483647 h 216"/>
                  <a:gd name="T18" fmla="*/ 2147483647 w 103"/>
                  <a:gd name="T19" fmla="*/ 2147483647 h 216"/>
                  <a:gd name="T20" fmla="*/ 2147483647 w 103"/>
                  <a:gd name="T21" fmla="*/ 2147483647 h 216"/>
                  <a:gd name="T22" fmla="*/ 2147483647 w 103"/>
                  <a:gd name="T23" fmla="*/ 2147483647 h 216"/>
                  <a:gd name="T24" fmla="*/ 2147483647 w 103"/>
                  <a:gd name="T25" fmla="*/ 2147483647 h 216"/>
                  <a:gd name="T26" fmla="*/ 2147483647 w 103"/>
                  <a:gd name="T27" fmla="*/ 2147483647 h 216"/>
                  <a:gd name="T28" fmla="*/ 2147483647 w 103"/>
                  <a:gd name="T29" fmla="*/ 2147483647 h 216"/>
                  <a:gd name="T30" fmla="*/ 2147483647 w 103"/>
                  <a:gd name="T31" fmla="*/ 2147483647 h 216"/>
                  <a:gd name="T32" fmla="*/ 2147483647 w 103"/>
                  <a:gd name="T33" fmla="*/ 2147483647 h 216"/>
                  <a:gd name="T34" fmla="*/ 2147483647 w 103"/>
                  <a:gd name="T35" fmla="*/ 2147483647 h 216"/>
                  <a:gd name="T36" fmla="*/ 2147483647 w 103"/>
                  <a:gd name="T37" fmla="*/ 2147483647 h 216"/>
                  <a:gd name="T38" fmla="*/ 2147483647 w 103"/>
                  <a:gd name="T39" fmla="*/ 2147483647 h 216"/>
                  <a:gd name="T40" fmla="*/ 2147483647 w 103"/>
                  <a:gd name="T41" fmla="*/ 2147483647 h 216"/>
                  <a:gd name="T42" fmla="*/ 2147483647 w 103"/>
                  <a:gd name="T43" fmla="*/ 0 h 216"/>
                  <a:gd name="T44" fmla="*/ 2147483647 w 103"/>
                  <a:gd name="T45" fmla="*/ 2147483647 h 216"/>
                  <a:gd name="T46" fmla="*/ 2147483647 w 103"/>
                  <a:gd name="T47" fmla="*/ 2147483647 h 216"/>
                  <a:gd name="T48" fmla="*/ 2147483647 w 103"/>
                  <a:gd name="T49" fmla="*/ 2147483647 h 216"/>
                  <a:gd name="T50" fmla="*/ 2147483647 w 103"/>
                  <a:gd name="T51" fmla="*/ 2147483647 h 216"/>
                  <a:gd name="T52" fmla="*/ 2147483647 w 103"/>
                  <a:gd name="T53" fmla="*/ 2147483647 h 216"/>
                  <a:gd name="T54" fmla="*/ 2147483647 w 103"/>
                  <a:gd name="T55" fmla="*/ 2147483647 h 216"/>
                  <a:gd name="T56" fmla="*/ 2147483647 w 103"/>
                  <a:gd name="T57" fmla="*/ 2147483647 h 216"/>
                  <a:gd name="T58" fmla="*/ 2147483647 w 103"/>
                  <a:gd name="T59" fmla="*/ 2147483647 h 216"/>
                  <a:gd name="T60" fmla="*/ 2147483647 w 103"/>
                  <a:gd name="T61" fmla="*/ 2147483647 h 216"/>
                  <a:gd name="T62" fmla="*/ 2147483647 w 103"/>
                  <a:gd name="T63" fmla="*/ 2147483647 h 216"/>
                  <a:gd name="T64" fmla="*/ 2147483647 w 103"/>
                  <a:gd name="T65" fmla="*/ 2147483647 h 216"/>
                  <a:gd name="T66" fmla="*/ 2147483647 w 103"/>
                  <a:gd name="T67" fmla="*/ 2147483647 h 216"/>
                  <a:gd name="T68" fmla="*/ 2147483647 w 103"/>
                  <a:gd name="T69" fmla="*/ 2147483647 h 216"/>
                  <a:gd name="T70" fmla="*/ 2147483647 w 103"/>
                  <a:gd name="T71" fmla="*/ 2147483647 h 216"/>
                  <a:gd name="T72" fmla="*/ 2147483647 w 103"/>
                  <a:gd name="T73" fmla="*/ 2147483647 h 216"/>
                  <a:gd name="T74" fmla="*/ 2147483647 w 103"/>
                  <a:gd name="T75" fmla="*/ 2147483647 h 216"/>
                  <a:gd name="T76" fmla="*/ 2147483647 w 103"/>
                  <a:gd name="T77" fmla="*/ 2147483647 h 216"/>
                  <a:gd name="T78" fmla="*/ 2147483647 w 103"/>
                  <a:gd name="T79" fmla="*/ 2147483647 h 216"/>
                  <a:gd name="T80" fmla="*/ 2147483647 w 103"/>
                  <a:gd name="T81" fmla="*/ 2147483647 h 216"/>
                  <a:gd name="T82" fmla="*/ 2147483647 w 103"/>
                  <a:gd name="T83" fmla="*/ 2147483647 h 216"/>
                  <a:gd name="T84" fmla="*/ 2147483647 w 103"/>
                  <a:gd name="T85" fmla="*/ 2147483647 h 216"/>
                  <a:gd name="T86" fmla="*/ 2147483647 w 103"/>
                  <a:gd name="T87" fmla="*/ 2147483647 h 216"/>
                  <a:gd name="T88" fmla="*/ 2147483647 w 103"/>
                  <a:gd name="T89" fmla="*/ 2147483647 h 216"/>
                  <a:gd name="T90" fmla="*/ 2147483647 w 103"/>
                  <a:gd name="T91" fmla="*/ 2147483647 h 216"/>
                  <a:gd name="T92" fmla="*/ 2147483647 w 103"/>
                  <a:gd name="T93" fmla="*/ 2147483647 h 216"/>
                  <a:gd name="T94" fmla="*/ 2147483647 w 103"/>
                  <a:gd name="T95" fmla="*/ 2147483647 h 216"/>
                  <a:gd name="T96" fmla="*/ 2147483647 w 103"/>
                  <a:gd name="T97" fmla="*/ 2147483647 h 216"/>
                  <a:gd name="T98" fmla="*/ 2147483647 w 103"/>
                  <a:gd name="T99" fmla="*/ 2147483647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03"/>
                  <a:gd name="T151" fmla="*/ 0 h 216"/>
                  <a:gd name="T152" fmla="*/ 103 w 103"/>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03" h="216">
                    <a:moveTo>
                      <a:pt x="59" y="200"/>
                    </a:moveTo>
                    <a:lnTo>
                      <a:pt x="62" y="202"/>
                    </a:lnTo>
                    <a:lnTo>
                      <a:pt x="62" y="199"/>
                    </a:lnTo>
                    <a:lnTo>
                      <a:pt x="61" y="198"/>
                    </a:lnTo>
                    <a:lnTo>
                      <a:pt x="62" y="196"/>
                    </a:lnTo>
                    <a:lnTo>
                      <a:pt x="63" y="196"/>
                    </a:lnTo>
                    <a:lnTo>
                      <a:pt x="63" y="195"/>
                    </a:lnTo>
                    <a:lnTo>
                      <a:pt x="65" y="195"/>
                    </a:lnTo>
                    <a:lnTo>
                      <a:pt x="65" y="192"/>
                    </a:lnTo>
                    <a:lnTo>
                      <a:pt x="66" y="190"/>
                    </a:lnTo>
                    <a:lnTo>
                      <a:pt x="69" y="189"/>
                    </a:lnTo>
                    <a:lnTo>
                      <a:pt x="71" y="190"/>
                    </a:lnTo>
                    <a:lnTo>
                      <a:pt x="74" y="190"/>
                    </a:lnTo>
                    <a:lnTo>
                      <a:pt x="82" y="184"/>
                    </a:lnTo>
                    <a:lnTo>
                      <a:pt x="85" y="183"/>
                    </a:lnTo>
                    <a:lnTo>
                      <a:pt x="92" y="179"/>
                    </a:lnTo>
                    <a:lnTo>
                      <a:pt x="95" y="177"/>
                    </a:lnTo>
                    <a:lnTo>
                      <a:pt x="97" y="177"/>
                    </a:lnTo>
                    <a:lnTo>
                      <a:pt x="98" y="173"/>
                    </a:lnTo>
                    <a:lnTo>
                      <a:pt x="100" y="171"/>
                    </a:lnTo>
                    <a:lnTo>
                      <a:pt x="100" y="170"/>
                    </a:lnTo>
                    <a:lnTo>
                      <a:pt x="100" y="169"/>
                    </a:lnTo>
                    <a:lnTo>
                      <a:pt x="100" y="161"/>
                    </a:lnTo>
                    <a:lnTo>
                      <a:pt x="100" y="160"/>
                    </a:lnTo>
                    <a:lnTo>
                      <a:pt x="100" y="161"/>
                    </a:lnTo>
                    <a:lnTo>
                      <a:pt x="100" y="158"/>
                    </a:lnTo>
                    <a:lnTo>
                      <a:pt x="101" y="157"/>
                    </a:lnTo>
                    <a:lnTo>
                      <a:pt x="103" y="157"/>
                    </a:lnTo>
                    <a:lnTo>
                      <a:pt x="103" y="158"/>
                    </a:lnTo>
                    <a:lnTo>
                      <a:pt x="101" y="153"/>
                    </a:lnTo>
                    <a:lnTo>
                      <a:pt x="94" y="119"/>
                    </a:lnTo>
                    <a:lnTo>
                      <a:pt x="87" y="110"/>
                    </a:lnTo>
                    <a:lnTo>
                      <a:pt x="87" y="106"/>
                    </a:lnTo>
                    <a:lnTo>
                      <a:pt x="87" y="107"/>
                    </a:lnTo>
                    <a:lnTo>
                      <a:pt x="85" y="107"/>
                    </a:lnTo>
                    <a:lnTo>
                      <a:pt x="85" y="106"/>
                    </a:lnTo>
                    <a:lnTo>
                      <a:pt x="84" y="105"/>
                    </a:lnTo>
                    <a:lnTo>
                      <a:pt x="79" y="103"/>
                    </a:lnTo>
                    <a:lnTo>
                      <a:pt x="61" y="84"/>
                    </a:lnTo>
                    <a:lnTo>
                      <a:pt x="59" y="77"/>
                    </a:lnTo>
                    <a:lnTo>
                      <a:pt x="50" y="70"/>
                    </a:lnTo>
                    <a:lnTo>
                      <a:pt x="49" y="67"/>
                    </a:lnTo>
                    <a:lnTo>
                      <a:pt x="55" y="51"/>
                    </a:lnTo>
                    <a:lnTo>
                      <a:pt x="62" y="44"/>
                    </a:lnTo>
                    <a:lnTo>
                      <a:pt x="63" y="39"/>
                    </a:lnTo>
                    <a:lnTo>
                      <a:pt x="66" y="36"/>
                    </a:lnTo>
                    <a:lnTo>
                      <a:pt x="74" y="32"/>
                    </a:lnTo>
                    <a:lnTo>
                      <a:pt x="74" y="30"/>
                    </a:lnTo>
                    <a:lnTo>
                      <a:pt x="79" y="28"/>
                    </a:lnTo>
                    <a:lnTo>
                      <a:pt x="81" y="28"/>
                    </a:lnTo>
                    <a:lnTo>
                      <a:pt x="82" y="28"/>
                    </a:lnTo>
                    <a:lnTo>
                      <a:pt x="82" y="26"/>
                    </a:lnTo>
                    <a:lnTo>
                      <a:pt x="81" y="26"/>
                    </a:lnTo>
                    <a:lnTo>
                      <a:pt x="74" y="25"/>
                    </a:lnTo>
                    <a:lnTo>
                      <a:pt x="72" y="23"/>
                    </a:lnTo>
                    <a:lnTo>
                      <a:pt x="66" y="20"/>
                    </a:lnTo>
                    <a:lnTo>
                      <a:pt x="63" y="17"/>
                    </a:lnTo>
                    <a:lnTo>
                      <a:pt x="62" y="13"/>
                    </a:lnTo>
                    <a:lnTo>
                      <a:pt x="63" y="9"/>
                    </a:lnTo>
                    <a:lnTo>
                      <a:pt x="63" y="7"/>
                    </a:lnTo>
                    <a:lnTo>
                      <a:pt x="55" y="6"/>
                    </a:lnTo>
                    <a:lnTo>
                      <a:pt x="43" y="0"/>
                    </a:lnTo>
                    <a:lnTo>
                      <a:pt x="42" y="0"/>
                    </a:lnTo>
                    <a:lnTo>
                      <a:pt x="36" y="6"/>
                    </a:lnTo>
                    <a:lnTo>
                      <a:pt x="31" y="7"/>
                    </a:lnTo>
                    <a:lnTo>
                      <a:pt x="29" y="7"/>
                    </a:lnTo>
                    <a:lnTo>
                      <a:pt x="27" y="9"/>
                    </a:lnTo>
                    <a:lnTo>
                      <a:pt x="24" y="10"/>
                    </a:lnTo>
                    <a:lnTo>
                      <a:pt x="23" y="9"/>
                    </a:lnTo>
                    <a:lnTo>
                      <a:pt x="20" y="10"/>
                    </a:lnTo>
                    <a:lnTo>
                      <a:pt x="18" y="9"/>
                    </a:lnTo>
                    <a:lnTo>
                      <a:pt x="17" y="9"/>
                    </a:lnTo>
                    <a:lnTo>
                      <a:pt x="13" y="12"/>
                    </a:lnTo>
                    <a:lnTo>
                      <a:pt x="11" y="10"/>
                    </a:lnTo>
                    <a:lnTo>
                      <a:pt x="10" y="9"/>
                    </a:lnTo>
                    <a:lnTo>
                      <a:pt x="5" y="9"/>
                    </a:lnTo>
                    <a:lnTo>
                      <a:pt x="5" y="7"/>
                    </a:lnTo>
                    <a:lnTo>
                      <a:pt x="4" y="9"/>
                    </a:lnTo>
                    <a:lnTo>
                      <a:pt x="1" y="12"/>
                    </a:lnTo>
                    <a:lnTo>
                      <a:pt x="1" y="13"/>
                    </a:lnTo>
                    <a:lnTo>
                      <a:pt x="0" y="12"/>
                    </a:lnTo>
                    <a:lnTo>
                      <a:pt x="11" y="26"/>
                    </a:lnTo>
                    <a:lnTo>
                      <a:pt x="10" y="29"/>
                    </a:lnTo>
                    <a:lnTo>
                      <a:pt x="11" y="32"/>
                    </a:lnTo>
                    <a:lnTo>
                      <a:pt x="14" y="35"/>
                    </a:lnTo>
                    <a:lnTo>
                      <a:pt x="20" y="36"/>
                    </a:lnTo>
                    <a:lnTo>
                      <a:pt x="24" y="35"/>
                    </a:lnTo>
                    <a:lnTo>
                      <a:pt x="29" y="35"/>
                    </a:lnTo>
                    <a:lnTo>
                      <a:pt x="33" y="41"/>
                    </a:lnTo>
                    <a:lnTo>
                      <a:pt x="33" y="42"/>
                    </a:lnTo>
                    <a:lnTo>
                      <a:pt x="36" y="44"/>
                    </a:lnTo>
                    <a:lnTo>
                      <a:pt x="36" y="46"/>
                    </a:lnTo>
                    <a:lnTo>
                      <a:pt x="37" y="48"/>
                    </a:lnTo>
                    <a:lnTo>
                      <a:pt x="37" y="49"/>
                    </a:lnTo>
                    <a:lnTo>
                      <a:pt x="33" y="54"/>
                    </a:lnTo>
                    <a:lnTo>
                      <a:pt x="29" y="54"/>
                    </a:lnTo>
                    <a:lnTo>
                      <a:pt x="27" y="54"/>
                    </a:lnTo>
                    <a:lnTo>
                      <a:pt x="26" y="55"/>
                    </a:lnTo>
                    <a:lnTo>
                      <a:pt x="26" y="58"/>
                    </a:lnTo>
                    <a:lnTo>
                      <a:pt x="26" y="60"/>
                    </a:lnTo>
                    <a:lnTo>
                      <a:pt x="42" y="70"/>
                    </a:lnTo>
                    <a:lnTo>
                      <a:pt x="42" y="73"/>
                    </a:lnTo>
                    <a:lnTo>
                      <a:pt x="47" y="78"/>
                    </a:lnTo>
                    <a:lnTo>
                      <a:pt x="49" y="81"/>
                    </a:lnTo>
                    <a:lnTo>
                      <a:pt x="53" y="86"/>
                    </a:lnTo>
                    <a:lnTo>
                      <a:pt x="55" y="86"/>
                    </a:lnTo>
                    <a:lnTo>
                      <a:pt x="59" y="90"/>
                    </a:lnTo>
                    <a:lnTo>
                      <a:pt x="62" y="96"/>
                    </a:lnTo>
                    <a:lnTo>
                      <a:pt x="62" y="97"/>
                    </a:lnTo>
                    <a:lnTo>
                      <a:pt x="62" y="100"/>
                    </a:lnTo>
                    <a:lnTo>
                      <a:pt x="65" y="100"/>
                    </a:lnTo>
                    <a:lnTo>
                      <a:pt x="71" y="105"/>
                    </a:lnTo>
                    <a:lnTo>
                      <a:pt x="75" y="116"/>
                    </a:lnTo>
                    <a:lnTo>
                      <a:pt x="75" y="141"/>
                    </a:lnTo>
                    <a:lnTo>
                      <a:pt x="78" y="145"/>
                    </a:lnTo>
                    <a:lnTo>
                      <a:pt x="76" y="161"/>
                    </a:lnTo>
                    <a:lnTo>
                      <a:pt x="75" y="163"/>
                    </a:lnTo>
                    <a:lnTo>
                      <a:pt x="72" y="163"/>
                    </a:lnTo>
                    <a:lnTo>
                      <a:pt x="68" y="166"/>
                    </a:lnTo>
                    <a:lnTo>
                      <a:pt x="66" y="166"/>
                    </a:lnTo>
                    <a:lnTo>
                      <a:pt x="61" y="169"/>
                    </a:lnTo>
                    <a:lnTo>
                      <a:pt x="61" y="170"/>
                    </a:lnTo>
                    <a:lnTo>
                      <a:pt x="53" y="171"/>
                    </a:lnTo>
                    <a:lnTo>
                      <a:pt x="53" y="176"/>
                    </a:lnTo>
                    <a:lnTo>
                      <a:pt x="53" y="180"/>
                    </a:lnTo>
                    <a:lnTo>
                      <a:pt x="50" y="182"/>
                    </a:lnTo>
                    <a:lnTo>
                      <a:pt x="47" y="183"/>
                    </a:lnTo>
                    <a:lnTo>
                      <a:pt x="45" y="184"/>
                    </a:lnTo>
                    <a:lnTo>
                      <a:pt x="42" y="183"/>
                    </a:lnTo>
                    <a:lnTo>
                      <a:pt x="40" y="183"/>
                    </a:lnTo>
                    <a:lnTo>
                      <a:pt x="40" y="186"/>
                    </a:lnTo>
                    <a:lnTo>
                      <a:pt x="39" y="187"/>
                    </a:lnTo>
                    <a:lnTo>
                      <a:pt x="33" y="189"/>
                    </a:lnTo>
                    <a:lnTo>
                      <a:pt x="34" y="192"/>
                    </a:lnTo>
                    <a:lnTo>
                      <a:pt x="40" y="193"/>
                    </a:lnTo>
                    <a:lnTo>
                      <a:pt x="42" y="195"/>
                    </a:lnTo>
                    <a:lnTo>
                      <a:pt x="39" y="200"/>
                    </a:lnTo>
                    <a:lnTo>
                      <a:pt x="39" y="208"/>
                    </a:lnTo>
                    <a:lnTo>
                      <a:pt x="40" y="214"/>
                    </a:lnTo>
                    <a:lnTo>
                      <a:pt x="39" y="215"/>
                    </a:lnTo>
                    <a:lnTo>
                      <a:pt x="39" y="216"/>
                    </a:lnTo>
                    <a:lnTo>
                      <a:pt x="42" y="216"/>
                    </a:lnTo>
                    <a:lnTo>
                      <a:pt x="50" y="208"/>
                    </a:lnTo>
                    <a:lnTo>
                      <a:pt x="56" y="205"/>
                    </a:lnTo>
                    <a:lnTo>
                      <a:pt x="56" y="203"/>
                    </a:lnTo>
                    <a:lnTo>
                      <a:pt x="56" y="202"/>
                    </a:lnTo>
                    <a:lnTo>
                      <a:pt x="59" y="20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53" name="Freeform 1652"/>
              <p:cNvSpPr>
                <a:spLocks/>
              </p:cNvSpPr>
              <p:nvPr/>
            </p:nvSpPr>
            <p:spPr bwMode="auto">
              <a:xfrm>
                <a:off x="7764845" y="2659047"/>
                <a:ext cx="44767" cy="76060"/>
              </a:xfrm>
              <a:custGeom>
                <a:avLst/>
                <a:gdLst/>
                <a:ahLst/>
                <a:cxnLst>
                  <a:cxn ang="0">
                    <a:pos x="48" y="23"/>
                  </a:cxn>
                  <a:cxn ang="0">
                    <a:pos x="49" y="44"/>
                  </a:cxn>
                  <a:cxn ang="0">
                    <a:pos x="43" y="58"/>
                  </a:cxn>
                  <a:cxn ang="0">
                    <a:pos x="35" y="58"/>
                  </a:cxn>
                  <a:cxn ang="0">
                    <a:pos x="30" y="63"/>
                  </a:cxn>
                  <a:cxn ang="0">
                    <a:pos x="26" y="61"/>
                  </a:cxn>
                  <a:cxn ang="0">
                    <a:pos x="23" y="65"/>
                  </a:cxn>
                  <a:cxn ang="0">
                    <a:pos x="22" y="67"/>
                  </a:cxn>
                  <a:cxn ang="0">
                    <a:pos x="19" y="64"/>
                  </a:cxn>
                  <a:cxn ang="0">
                    <a:pos x="17" y="70"/>
                  </a:cxn>
                  <a:cxn ang="0">
                    <a:pos x="16" y="68"/>
                  </a:cxn>
                  <a:cxn ang="0">
                    <a:pos x="17" y="65"/>
                  </a:cxn>
                  <a:cxn ang="0">
                    <a:pos x="11" y="71"/>
                  </a:cxn>
                  <a:cxn ang="0">
                    <a:pos x="10" y="70"/>
                  </a:cxn>
                  <a:cxn ang="0">
                    <a:pos x="6" y="70"/>
                  </a:cxn>
                  <a:cxn ang="0">
                    <a:pos x="3" y="73"/>
                  </a:cxn>
                  <a:cxn ang="0">
                    <a:pos x="3" y="67"/>
                  </a:cxn>
                  <a:cxn ang="0">
                    <a:pos x="6" y="67"/>
                  </a:cxn>
                  <a:cxn ang="0">
                    <a:pos x="6" y="64"/>
                  </a:cxn>
                  <a:cxn ang="0">
                    <a:pos x="3" y="64"/>
                  </a:cxn>
                  <a:cxn ang="0">
                    <a:pos x="4" y="58"/>
                  </a:cxn>
                  <a:cxn ang="0">
                    <a:pos x="6" y="51"/>
                  </a:cxn>
                  <a:cxn ang="0">
                    <a:pos x="8" y="47"/>
                  </a:cxn>
                  <a:cxn ang="0">
                    <a:pos x="8" y="44"/>
                  </a:cxn>
                  <a:cxn ang="0">
                    <a:pos x="6" y="34"/>
                  </a:cxn>
                  <a:cxn ang="0">
                    <a:pos x="4" y="35"/>
                  </a:cxn>
                  <a:cxn ang="0">
                    <a:pos x="1" y="34"/>
                  </a:cxn>
                  <a:cxn ang="0">
                    <a:pos x="0" y="31"/>
                  </a:cxn>
                  <a:cxn ang="0">
                    <a:pos x="8" y="28"/>
                  </a:cxn>
                  <a:cxn ang="0">
                    <a:pos x="11" y="29"/>
                  </a:cxn>
                  <a:cxn ang="0">
                    <a:pos x="10" y="25"/>
                  </a:cxn>
                  <a:cxn ang="0">
                    <a:pos x="10" y="22"/>
                  </a:cxn>
                  <a:cxn ang="0">
                    <a:pos x="8" y="20"/>
                  </a:cxn>
                  <a:cxn ang="0">
                    <a:pos x="7" y="19"/>
                  </a:cxn>
                  <a:cxn ang="0">
                    <a:pos x="7" y="18"/>
                  </a:cxn>
                  <a:cxn ang="0">
                    <a:pos x="6" y="15"/>
                  </a:cxn>
                  <a:cxn ang="0">
                    <a:pos x="6" y="13"/>
                  </a:cxn>
                  <a:cxn ang="0">
                    <a:pos x="24" y="4"/>
                  </a:cxn>
                  <a:cxn ang="0">
                    <a:pos x="33" y="0"/>
                  </a:cxn>
                </a:cxnLst>
                <a:rect l="0" t="0" r="r" b="b"/>
                <a:pathLst>
                  <a:path w="49" h="73">
                    <a:moveTo>
                      <a:pt x="33" y="0"/>
                    </a:moveTo>
                    <a:lnTo>
                      <a:pt x="48" y="23"/>
                    </a:lnTo>
                    <a:lnTo>
                      <a:pt x="48" y="44"/>
                    </a:lnTo>
                    <a:lnTo>
                      <a:pt x="49" y="44"/>
                    </a:lnTo>
                    <a:lnTo>
                      <a:pt x="46" y="55"/>
                    </a:lnTo>
                    <a:lnTo>
                      <a:pt x="43" y="58"/>
                    </a:lnTo>
                    <a:lnTo>
                      <a:pt x="37" y="60"/>
                    </a:lnTo>
                    <a:lnTo>
                      <a:pt x="35" y="58"/>
                    </a:lnTo>
                    <a:lnTo>
                      <a:pt x="32" y="65"/>
                    </a:lnTo>
                    <a:lnTo>
                      <a:pt x="30" y="63"/>
                    </a:lnTo>
                    <a:lnTo>
                      <a:pt x="29" y="63"/>
                    </a:lnTo>
                    <a:lnTo>
                      <a:pt x="26" y="61"/>
                    </a:lnTo>
                    <a:lnTo>
                      <a:pt x="22" y="63"/>
                    </a:lnTo>
                    <a:lnTo>
                      <a:pt x="23" y="65"/>
                    </a:lnTo>
                    <a:lnTo>
                      <a:pt x="23" y="67"/>
                    </a:lnTo>
                    <a:lnTo>
                      <a:pt x="22" y="67"/>
                    </a:lnTo>
                    <a:lnTo>
                      <a:pt x="20" y="65"/>
                    </a:lnTo>
                    <a:lnTo>
                      <a:pt x="19" y="64"/>
                    </a:lnTo>
                    <a:lnTo>
                      <a:pt x="19" y="68"/>
                    </a:lnTo>
                    <a:lnTo>
                      <a:pt x="17" y="70"/>
                    </a:lnTo>
                    <a:lnTo>
                      <a:pt x="16" y="70"/>
                    </a:lnTo>
                    <a:lnTo>
                      <a:pt x="16" y="68"/>
                    </a:lnTo>
                    <a:lnTo>
                      <a:pt x="17" y="67"/>
                    </a:lnTo>
                    <a:lnTo>
                      <a:pt x="17" y="65"/>
                    </a:lnTo>
                    <a:lnTo>
                      <a:pt x="13" y="68"/>
                    </a:lnTo>
                    <a:lnTo>
                      <a:pt x="11" y="71"/>
                    </a:lnTo>
                    <a:lnTo>
                      <a:pt x="10" y="71"/>
                    </a:lnTo>
                    <a:lnTo>
                      <a:pt x="10" y="70"/>
                    </a:lnTo>
                    <a:lnTo>
                      <a:pt x="6" y="73"/>
                    </a:lnTo>
                    <a:lnTo>
                      <a:pt x="6" y="70"/>
                    </a:lnTo>
                    <a:lnTo>
                      <a:pt x="3" y="71"/>
                    </a:lnTo>
                    <a:lnTo>
                      <a:pt x="3" y="73"/>
                    </a:lnTo>
                    <a:lnTo>
                      <a:pt x="1" y="73"/>
                    </a:lnTo>
                    <a:lnTo>
                      <a:pt x="3" y="67"/>
                    </a:lnTo>
                    <a:lnTo>
                      <a:pt x="6" y="68"/>
                    </a:lnTo>
                    <a:lnTo>
                      <a:pt x="6" y="67"/>
                    </a:lnTo>
                    <a:lnTo>
                      <a:pt x="7" y="65"/>
                    </a:lnTo>
                    <a:lnTo>
                      <a:pt x="6" y="64"/>
                    </a:lnTo>
                    <a:lnTo>
                      <a:pt x="4" y="65"/>
                    </a:lnTo>
                    <a:lnTo>
                      <a:pt x="3" y="64"/>
                    </a:lnTo>
                    <a:lnTo>
                      <a:pt x="4" y="60"/>
                    </a:lnTo>
                    <a:lnTo>
                      <a:pt x="4" y="58"/>
                    </a:lnTo>
                    <a:lnTo>
                      <a:pt x="7" y="52"/>
                    </a:lnTo>
                    <a:lnTo>
                      <a:pt x="6" y="51"/>
                    </a:lnTo>
                    <a:lnTo>
                      <a:pt x="8" y="50"/>
                    </a:lnTo>
                    <a:lnTo>
                      <a:pt x="8" y="47"/>
                    </a:lnTo>
                    <a:lnTo>
                      <a:pt x="8" y="45"/>
                    </a:lnTo>
                    <a:lnTo>
                      <a:pt x="8" y="44"/>
                    </a:lnTo>
                    <a:lnTo>
                      <a:pt x="7" y="42"/>
                    </a:lnTo>
                    <a:lnTo>
                      <a:pt x="6" y="34"/>
                    </a:lnTo>
                    <a:lnTo>
                      <a:pt x="4" y="32"/>
                    </a:lnTo>
                    <a:lnTo>
                      <a:pt x="4" y="35"/>
                    </a:lnTo>
                    <a:lnTo>
                      <a:pt x="3" y="36"/>
                    </a:lnTo>
                    <a:lnTo>
                      <a:pt x="1" y="34"/>
                    </a:lnTo>
                    <a:lnTo>
                      <a:pt x="0" y="34"/>
                    </a:lnTo>
                    <a:lnTo>
                      <a:pt x="0" y="31"/>
                    </a:lnTo>
                    <a:lnTo>
                      <a:pt x="3" y="29"/>
                    </a:lnTo>
                    <a:lnTo>
                      <a:pt x="8" y="28"/>
                    </a:lnTo>
                    <a:lnTo>
                      <a:pt x="10" y="29"/>
                    </a:lnTo>
                    <a:lnTo>
                      <a:pt x="11" y="29"/>
                    </a:lnTo>
                    <a:lnTo>
                      <a:pt x="10" y="28"/>
                    </a:lnTo>
                    <a:lnTo>
                      <a:pt x="10" y="25"/>
                    </a:lnTo>
                    <a:lnTo>
                      <a:pt x="8" y="23"/>
                    </a:lnTo>
                    <a:lnTo>
                      <a:pt x="10" y="22"/>
                    </a:lnTo>
                    <a:lnTo>
                      <a:pt x="10" y="22"/>
                    </a:lnTo>
                    <a:lnTo>
                      <a:pt x="8" y="20"/>
                    </a:lnTo>
                    <a:lnTo>
                      <a:pt x="8" y="20"/>
                    </a:lnTo>
                    <a:lnTo>
                      <a:pt x="7" y="19"/>
                    </a:lnTo>
                    <a:lnTo>
                      <a:pt x="7" y="18"/>
                    </a:lnTo>
                    <a:lnTo>
                      <a:pt x="7" y="18"/>
                    </a:lnTo>
                    <a:lnTo>
                      <a:pt x="6" y="16"/>
                    </a:lnTo>
                    <a:lnTo>
                      <a:pt x="6" y="15"/>
                    </a:lnTo>
                    <a:lnTo>
                      <a:pt x="6" y="13"/>
                    </a:lnTo>
                    <a:lnTo>
                      <a:pt x="6" y="13"/>
                    </a:lnTo>
                    <a:lnTo>
                      <a:pt x="16" y="4"/>
                    </a:lnTo>
                    <a:lnTo>
                      <a:pt x="24" y="4"/>
                    </a:lnTo>
                    <a:lnTo>
                      <a:pt x="29" y="3"/>
                    </a:lnTo>
                    <a:lnTo>
                      <a:pt x="3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54" name="Freeform 1653"/>
              <p:cNvSpPr>
                <a:spLocks/>
              </p:cNvSpPr>
              <p:nvPr/>
            </p:nvSpPr>
            <p:spPr bwMode="auto">
              <a:xfrm>
                <a:off x="7764845" y="2659047"/>
                <a:ext cx="44767" cy="76060"/>
              </a:xfrm>
              <a:custGeom>
                <a:avLst/>
                <a:gdLst/>
                <a:ahLst/>
                <a:cxnLst>
                  <a:cxn ang="0">
                    <a:pos x="48" y="23"/>
                  </a:cxn>
                  <a:cxn ang="0">
                    <a:pos x="49" y="44"/>
                  </a:cxn>
                  <a:cxn ang="0">
                    <a:pos x="43" y="58"/>
                  </a:cxn>
                  <a:cxn ang="0">
                    <a:pos x="35" y="58"/>
                  </a:cxn>
                  <a:cxn ang="0">
                    <a:pos x="30" y="63"/>
                  </a:cxn>
                  <a:cxn ang="0">
                    <a:pos x="26" y="61"/>
                  </a:cxn>
                  <a:cxn ang="0">
                    <a:pos x="23" y="65"/>
                  </a:cxn>
                  <a:cxn ang="0">
                    <a:pos x="22" y="67"/>
                  </a:cxn>
                  <a:cxn ang="0">
                    <a:pos x="19" y="64"/>
                  </a:cxn>
                  <a:cxn ang="0">
                    <a:pos x="17" y="70"/>
                  </a:cxn>
                  <a:cxn ang="0">
                    <a:pos x="16" y="68"/>
                  </a:cxn>
                  <a:cxn ang="0">
                    <a:pos x="17" y="65"/>
                  </a:cxn>
                  <a:cxn ang="0">
                    <a:pos x="11" y="71"/>
                  </a:cxn>
                  <a:cxn ang="0">
                    <a:pos x="10" y="70"/>
                  </a:cxn>
                  <a:cxn ang="0">
                    <a:pos x="6" y="70"/>
                  </a:cxn>
                  <a:cxn ang="0">
                    <a:pos x="3" y="73"/>
                  </a:cxn>
                  <a:cxn ang="0">
                    <a:pos x="3" y="67"/>
                  </a:cxn>
                  <a:cxn ang="0">
                    <a:pos x="6" y="67"/>
                  </a:cxn>
                  <a:cxn ang="0">
                    <a:pos x="6" y="64"/>
                  </a:cxn>
                  <a:cxn ang="0">
                    <a:pos x="3" y="64"/>
                  </a:cxn>
                  <a:cxn ang="0">
                    <a:pos x="4" y="58"/>
                  </a:cxn>
                  <a:cxn ang="0">
                    <a:pos x="6" y="51"/>
                  </a:cxn>
                  <a:cxn ang="0">
                    <a:pos x="8" y="47"/>
                  </a:cxn>
                  <a:cxn ang="0">
                    <a:pos x="8" y="44"/>
                  </a:cxn>
                  <a:cxn ang="0">
                    <a:pos x="6" y="34"/>
                  </a:cxn>
                  <a:cxn ang="0">
                    <a:pos x="4" y="35"/>
                  </a:cxn>
                  <a:cxn ang="0">
                    <a:pos x="1" y="34"/>
                  </a:cxn>
                  <a:cxn ang="0">
                    <a:pos x="0" y="31"/>
                  </a:cxn>
                  <a:cxn ang="0">
                    <a:pos x="8" y="28"/>
                  </a:cxn>
                  <a:cxn ang="0">
                    <a:pos x="11" y="29"/>
                  </a:cxn>
                  <a:cxn ang="0">
                    <a:pos x="10" y="25"/>
                  </a:cxn>
                  <a:cxn ang="0">
                    <a:pos x="10" y="22"/>
                  </a:cxn>
                  <a:cxn ang="0">
                    <a:pos x="8" y="20"/>
                  </a:cxn>
                  <a:cxn ang="0">
                    <a:pos x="7" y="19"/>
                  </a:cxn>
                  <a:cxn ang="0">
                    <a:pos x="7" y="18"/>
                  </a:cxn>
                  <a:cxn ang="0">
                    <a:pos x="6" y="15"/>
                  </a:cxn>
                  <a:cxn ang="0">
                    <a:pos x="6" y="13"/>
                  </a:cxn>
                  <a:cxn ang="0">
                    <a:pos x="24" y="4"/>
                  </a:cxn>
                  <a:cxn ang="0">
                    <a:pos x="33" y="0"/>
                  </a:cxn>
                </a:cxnLst>
                <a:rect l="0" t="0" r="r" b="b"/>
                <a:pathLst>
                  <a:path w="49" h="73">
                    <a:moveTo>
                      <a:pt x="33" y="0"/>
                    </a:moveTo>
                    <a:lnTo>
                      <a:pt x="48" y="23"/>
                    </a:lnTo>
                    <a:lnTo>
                      <a:pt x="48" y="44"/>
                    </a:lnTo>
                    <a:lnTo>
                      <a:pt x="49" y="44"/>
                    </a:lnTo>
                    <a:lnTo>
                      <a:pt x="46" y="55"/>
                    </a:lnTo>
                    <a:lnTo>
                      <a:pt x="43" y="58"/>
                    </a:lnTo>
                    <a:lnTo>
                      <a:pt x="37" y="60"/>
                    </a:lnTo>
                    <a:lnTo>
                      <a:pt x="35" y="58"/>
                    </a:lnTo>
                    <a:lnTo>
                      <a:pt x="32" y="65"/>
                    </a:lnTo>
                    <a:lnTo>
                      <a:pt x="30" y="63"/>
                    </a:lnTo>
                    <a:lnTo>
                      <a:pt x="29" y="63"/>
                    </a:lnTo>
                    <a:lnTo>
                      <a:pt x="26" y="61"/>
                    </a:lnTo>
                    <a:lnTo>
                      <a:pt x="22" y="63"/>
                    </a:lnTo>
                    <a:lnTo>
                      <a:pt x="23" y="65"/>
                    </a:lnTo>
                    <a:lnTo>
                      <a:pt x="23" y="67"/>
                    </a:lnTo>
                    <a:lnTo>
                      <a:pt x="22" y="67"/>
                    </a:lnTo>
                    <a:lnTo>
                      <a:pt x="20" y="65"/>
                    </a:lnTo>
                    <a:lnTo>
                      <a:pt x="19" y="64"/>
                    </a:lnTo>
                    <a:lnTo>
                      <a:pt x="19" y="68"/>
                    </a:lnTo>
                    <a:lnTo>
                      <a:pt x="17" y="70"/>
                    </a:lnTo>
                    <a:lnTo>
                      <a:pt x="16" y="70"/>
                    </a:lnTo>
                    <a:lnTo>
                      <a:pt x="16" y="68"/>
                    </a:lnTo>
                    <a:lnTo>
                      <a:pt x="17" y="67"/>
                    </a:lnTo>
                    <a:lnTo>
                      <a:pt x="17" y="65"/>
                    </a:lnTo>
                    <a:lnTo>
                      <a:pt x="13" y="68"/>
                    </a:lnTo>
                    <a:lnTo>
                      <a:pt x="11" y="71"/>
                    </a:lnTo>
                    <a:lnTo>
                      <a:pt x="10" y="71"/>
                    </a:lnTo>
                    <a:lnTo>
                      <a:pt x="10" y="70"/>
                    </a:lnTo>
                    <a:lnTo>
                      <a:pt x="6" y="73"/>
                    </a:lnTo>
                    <a:lnTo>
                      <a:pt x="6" y="70"/>
                    </a:lnTo>
                    <a:lnTo>
                      <a:pt x="3" y="71"/>
                    </a:lnTo>
                    <a:lnTo>
                      <a:pt x="3" y="73"/>
                    </a:lnTo>
                    <a:lnTo>
                      <a:pt x="1" y="73"/>
                    </a:lnTo>
                    <a:lnTo>
                      <a:pt x="3" y="67"/>
                    </a:lnTo>
                    <a:lnTo>
                      <a:pt x="6" y="68"/>
                    </a:lnTo>
                    <a:lnTo>
                      <a:pt x="6" y="67"/>
                    </a:lnTo>
                    <a:lnTo>
                      <a:pt x="7" y="65"/>
                    </a:lnTo>
                    <a:lnTo>
                      <a:pt x="6" y="64"/>
                    </a:lnTo>
                    <a:lnTo>
                      <a:pt x="4" y="65"/>
                    </a:lnTo>
                    <a:lnTo>
                      <a:pt x="3" y="64"/>
                    </a:lnTo>
                    <a:lnTo>
                      <a:pt x="4" y="60"/>
                    </a:lnTo>
                    <a:lnTo>
                      <a:pt x="4" y="58"/>
                    </a:lnTo>
                    <a:lnTo>
                      <a:pt x="7" y="52"/>
                    </a:lnTo>
                    <a:lnTo>
                      <a:pt x="6" y="51"/>
                    </a:lnTo>
                    <a:lnTo>
                      <a:pt x="8" y="50"/>
                    </a:lnTo>
                    <a:lnTo>
                      <a:pt x="8" y="47"/>
                    </a:lnTo>
                    <a:lnTo>
                      <a:pt x="8" y="45"/>
                    </a:lnTo>
                    <a:lnTo>
                      <a:pt x="8" y="44"/>
                    </a:lnTo>
                    <a:lnTo>
                      <a:pt x="7" y="42"/>
                    </a:lnTo>
                    <a:lnTo>
                      <a:pt x="6" y="34"/>
                    </a:lnTo>
                    <a:lnTo>
                      <a:pt x="4" y="32"/>
                    </a:lnTo>
                    <a:lnTo>
                      <a:pt x="4" y="35"/>
                    </a:lnTo>
                    <a:lnTo>
                      <a:pt x="3" y="36"/>
                    </a:lnTo>
                    <a:lnTo>
                      <a:pt x="1" y="34"/>
                    </a:lnTo>
                    <a:lnTo>
                      <a:pt x="0" y="34"/>
                    </a:lnTo>
                    <a:lnTo>
                      <a:pt x="0" y="31"/>
                    </a:lnTo>
                    <a:lnTo>
                      <a:pt x="3" y="29"/>
                    </a:lnTo>
                    <a:lnTo>
                      <a:pt x="8" y="28"/>
                    </a:lnTo>
                    <a:lnTo>
                      <a:pt x="10" y="29"/>
                    </a:lnTo>
                    <a:lnTo>
                      <a:pt x="11" y="29"/>
                    </a:lnTo>
                    <a:lnTo>
                      <a:pt x="10" y="28"/>
                    </a:lnTo>
                    <a:lnTo>
                      <a:pt x="10" y="25"/>
                    </a:lnTo>
                    <a:lnTo>
                      <a:pt x="8" y="23"/>
                    </a:lnTo>
                    <a:lnTo>
                      <a:pt x="10" y="22"/>
                    </a:lnTo>
                    <a:lnTo>
                      <a:pt x="10" y="22"/>
                    </a:lnTo>
                    <a:lnTo>
                      <a:pt x="8" y="20"/>
                    </a:lnTo>
                    <a:lnTo>
                      <a:pt x="8" y="20"/>
                    </a:lnTo>
                    <a:lnTo>
                      <a:pt x="7" y="19"/>
                    </a:lnTo>
                    <a:lnTo>
                      <a:pt x="7" y="18"/>
                    </a:lnTo>
                    <a:lnTo>
                      <a:pt x="7" y="18"/>
                    </a:lnTo>
                    <a:lnTo>
                      <a:pt x="6" y="16"/>
                    </a:lnTo>
                    <a:lnTo>
                      <a:pt x="6" y="15"/>
                    </a:lnTo>
                    <a:lnTo>
                      <a:pt x="6" y="13"/>
                    </a:lnTo>
                    <a:lnTo>
                      <a:pt x="6" y="13"/>
                    </a:lnTo>
                    <a:lnTo>
                      <a:pt x="16" y="4"/>
                    </a:lnTo>
                    <a:lnTo>
                      <a:pt x="24" y="4"/>
                    </a:lnTo>
                    <a:lnTo>
                      <a:pt x="29" y="3"/>
                    </a:lnTo>
                    <a:lnTo>
                      <a:pt x="3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55" name="Freeform 1654"/>
              <p:cNvSpPr>
                <a:spLocks/>
              </p:cNvSpPr>
              <p:nvPr/>
            </p:nvSpPr>
            <p:spPr bwMode="auto">
              <a:xfrm>
                <a:off x="7548907" y="3173212"/>
                <a:ext cx="125525" cy="88229"/>
              </a:xfrm>
              <a:custGeom>
                <a:avLst/>
                <a:gdLst/>
                <a:ahLst/>
                <a:cxnLst>
                  <a:cxn ang="0">
                    <a:pos x="71" y="40"/>
                  </a:cxn>
                  <a:cxn ang="0">
                    <a:pos x="74" y="39"/>
                  </a:cxn>
                  <a:cxn ang="0">
                    <a:pos x="76" y="30"/>
                  </a:cxn>
                  <a:cxn ang="0">
                    <a:pos x="79" y="35"/>
                  </a:cxn>
                  <a:cxn ang="0">
                    <a:pos x="82" y="35"/>
                  </a:cxn>
                  <a:cxn ang="0">
                    <a:pos x="79" y="29"/>
                  </a:cxn>
                  <a:cxn ang="0">
                    <a:pos x="85" y="24"/>
                  </a:cxn>
                  <a:cxn ang="0">
                    <a:pos x="84" y="20"/>
                  </a:cxn>
                  <a:cxn ang="0">
                    <a:pos x="92" y="13"/>
                  </a:cxn>
                  <a:cxn ang="0">
                    <a:pos x="100" y="1"/>
                  </a:cxn>
                  <a:cxn ang="0">
                    <a:pos x="103" y="0"/>
                  </a:cxn>
                  <a:cxn ang="0">
                    <a:pos x="101" y="6"/>
                  </a:cxn>
                  <a:cxn ang="0">
                    <a:pos x="107" y="0"/>
                  </a:cxn>
                  <a:cxn ang="0">
                    <a:pos x="111" y="6"/>
                  </a:cxn>
                  <a:cxn ang="0">
                    <a:pos x="116" y="10"/>
                  </a:cxn>
                  <a:cxn ang="0">
                    <a:pos x="116" y="14"/>
                  </a:cxn>
                  <a:cxn ang="0">
                    <a:pos x="119" y="13"/>
                  </a:cxn>
                  <a:cxn ang="0">
                    <a:pos x="120" y="16"/>
                  </a:cxn>
                  <a:cxn ang="0">
                    <a:pos x="121" y="17"/>
                  </a:cxn>
                  <a:cxn ang="0">
                    <a:pos x="130" y="20"/>
                  </a:cxn>
                  <a:cxn ang="0">
                    <a:pos x="137" y="24"/>
                  </a:cxn>
                  <a:cxn ang="0">
                    <a:pos x="124" y="27"/>
                  </a:cxn>
                  <a:cxn ang="0">
                    <a:pos x="123" y="32"/>
                  </a:cxn>
                  <a:cxn ang="0">
                    <a:pos x="127" y="35"/>
                  </a:cxn>
                  <a:cxn ang="0">
                    <a:pos x="117" y="37"/>
                  </a:cxn>
                  <a:cxn ang="0">
                    <a:pos x="114" y="37"/>
                  </a:cxn>
                  <a:cxn ang="0">
                    <a:pos x="107" y="36"/>
                  </a:cxn>
                  <a:cxn ang="0">
                    <a:pos x="84" y="52"/>
                  </a:cxn>
                  <a:cxn ang="0">
                    <a:pos x="68" y="77"/>
                  </a:cxn>
                  <a:cxn ang="0">
                    <a:pos x="47" y="78"/>
                  </a:cxn>
                  <a:cxn ang="0">
                    <a:pos x="39" y="77"/>
                  </a:cxn>
                  <a:cxn ang="0">
                    <a:pos x="30" y="84"/>
                  </a:cxn>
                  <a:cxn ang="0">
                    <a:pos x="20" y="84"/>
                  </a:cxn>
                  <a:cxn ang="0">
                    <a:pos x="10" y="84"/>
                  </a:cxn>
                  <a:cxn ang="0">
                    <a:pos x="1" y="68"/>
                  </a:cxn>
                  <a:cxn ang="0">
                    <a:pos x="4" y="71"/>
                  </a:cxn>
                  <a:cxn ang="0">
                    <a:pos x="15" y="74"/>
                  </a:cxn>
                  <a:cxn ang="0">
                    <a:pos x="23" y="65"/>
                  </a:cxn>
                  <a:cxn ang="0">
                    <a:pos x="27" y="65"/>
                  </a:cxn>
                  <a:cxn ang="0">
                    <a:pos x="29" y="58"/>
                  </a:cxn>
                  <a:cxn ang="0">
                    <a:pos x="36" y="56"/>
                  </a:cxn>
                  <a:cxn ang="0">
                    <a:pos x="46" y="55"/>
                  </a:cxn>
                  <a:cxn ang="0">
                    <a:pos x="62" y="33"/>
                  </a:cxn>
                </a:cxnLst>
                <a:rect l="0" t="0" r="r" b="b"/>
                <a:pathLst>
                  <a:path w="137" h="85">
                    <a:moveTo>
                      <a:pt x="62" y="33"/>
                    </a:moveTo>
                    <a:lnTo>
                      <a:pt x="63" y="33"/>
                    </a:lnTo>
                    <a:lnTo>
                      <a:pt x="71" y="40"/>
                    </a:lnTo>
                    <a:lnTo>
                      <a:pt x="72" y="40"/>
                    </a:lnTo>
                    <a:lnTo>
                      <a:pt x="72" y="40"/>
                    </a:lnTo>
                    <a:lnTo>
                      <a:pt x="74" y="39"/>
                    </a:lnTo>
                    <a:lnTo>
                      <a:pt x="74" y="32"/>
                    </a:lnTo>
                    <a:lnTo>
                      <a:pt x="75" y="30"/>
                    </a:lnTo>
                    <a:lnTo>
                      <a:pt x="76" y="30"/>
                    </a:lnTo>
                    <a:lnTo>
                      <a:pt x="76" y="30"/>
                    </a:lnTo>
                    <a:lnTo>
                      <a:pt x="78" y="32"/>
                    </a:lnTo>
                    <a:lnTo>
                      <a:pt x="79" y="35"/>
                    </a:lnTo>
                    <a:lnTo>
                      <a:pt x="81" y="36"/>
                    </a:lnTo>
                    <a:lnTo>
                      <a:pt x="82" y="36"/>
                    </a:lnTo>
                    <a:lnTo>
                      <a:pt x="82" y="35"/>
                    </a:lnTo>
                    <a:lnTo>
                      <a:pt x="82" y="32"/>
                    </a:lnTo>
                    <a:lnTo>
                      <a:pt x="81" y="29"/>
                    </a:lnTo>
                    <a:lnTo>
                      <a:pt x="79" y="29"/>
                    </a:lnTo>
                    <a:lnTo>
                      <a:pt x="82" y="27"/>
                    </a:lnTo>
                    <a:lnTo>
                      <a:pt x="82" y="27"/>
                    </a:lnTo>
                    <a:lnTo>
                      <a:pt x="85" y="24"/>
                    </a:lnTo>
                    <a:lnTo>
                      <a:pt x="84" y="23"/>
                    </a:lnTo>
                    <a:lnTo>
                      <a:pt x="82" y="22"/>
                    </a:lnTo>
                    <a:lnTo>
                      <a:pt x="84" y="20"/>
                    </a:lnTo>
                    <a:lnTo>
                      <a:pt x="85" y="20"/>
                    </a:lnTo>
                    <a:lnTo>
                      <a:pt x="88" y="20"/>
                    </a:lnTo>
                    <a:lnTo>
                      <a:pt x="92" y="13"/>
                    </a:lnTo>
                    <a:lnTo>
                      <a:pt x="92" y="11"/>
                    </a:lnTo>
                    <a:lnTo>
                      <a:pt x="100" y="3"/>
                    </a:lnTo>
                    <a:lnTo>
                      <a:pt x="100" y="1"/>
                    </a:lnTo>
                    <a:lnTo>
                      <a:pt x="101" y="0"/>
                    </a:lnTo>
                    <a:lnTo>
                      <a:pt x="103" y="0"/>
                    </a:lnTo>
                    <a:lnTo>
                      <a:pt x="103" y="0"/>
                    </a:lnTo>
                    <a:lnTo>
                      <a:pt x="103" y="3"/>
                    </a:lnTo>
                    <a:lnTo>
                      <a:pt x="101" y="4"/>
                    </a:lnTo>
                    <a:lnTo>
                      <a:pt x="101" y="6"/>
                    </a:lnTo>
                    <a:lnTo>
                      <a:pt x="104" y="1"/>
                    </a:lnTo>
                    <a:lnTo>
                      <a:pt x="106" y="0"/>
                    </a:lnTo>
                    <a:lnTo>
                      <a:pt x="107" y="0"/>
                    </a:lnTo>
                    <a:lnTo>
                      <a:pt x="108" y="1"/>
                    </a:lnTo>
                    <a:lnTo>
                      <a:pt x="110" y="4"/>
                    </a:lnTo>
                    <a:lnTo>
                      <a:pt x="111" y="6"/>
                    </a:lnTo>
                    <a:lnTo>
                      <a:pt x="113" y="4"/>
                    </a:lnTo>
                    <a:lnTo>
                      <a:pt x="114" y="7"/>
                    </a:lnTo>
                    <a:lnTo>
                      <a:pt x="116" y="10"/>
                    </a:lnTo>
                    <a:lnTo>
                      <a:pt x="114" y="11"/>
                    </a:lnTo>
                    <a:lnTo>
                      <a:pt x="114" y="14"/>
                    </a:lnTo>
                    <a:lnTo>
                      <a:pt x="116" y="14"/>
                    </a:lnTo>
                    <a:lnTo>
                      <a:pt x="116" y="14"/>
                    </a:lnTo>
                    <a:lnTo>
                      <a:pt x="117" y="14"/>
                    </a:lnTo>
                    <a:lnTo>
                      <a:pt x="119" y="13"/>
                    </a:lnTo>
                    <a:lnTo>
                      <a:pt x="120" y="13"/>
                    </a:lnTo>
                    <a:lnTo>
                      <a:pt x="120" y="14"/>
                    </a:lnTo>
                    <a:lnTo>
                      <a:pt x="120" y="16"/>
                    </a:lnTo>
                    <a:lnTo>
                      <a:pt x="119" y="17"/>
                    </a:lnTo>
                    <a:lnTo>
                      <a:pt x="120" y="17"/>
                    </a:lnTo>
                    <a:lnTo>
                      <a:pt x="121" y="17"/>
                    </a:lnTo>
                    <a:lnTo>
                      <a:pt x="123" y="16"/>
                    </a:lnTo>
                    <a:lnTo>
                      <a:pt x="124" y="17"/>
                    </a:lnTo>
                    <a:lnTo>
                      <a:pt x="130" y="20"/>
                    </a:lnTo>
                    <a:lnTo>
                      <a:pt x="136" y="22"/>
                    </a:lnTo>
                    <a:lnTo>
                      <a:pt x="137" y="23"/>
                    </a:lnTo>
                    <a:lnTo>
                      <a:pt x="137" y="24"/>
                    </a:lnTo>
                    <a:lnTo>
                      <a:pt x="136" y="26"/>
                    </a:lnTo>
                    <a:lnTo>
                      <a:pt x="127" y="29"/>
                    </a:lnTo>
                    <a:lnTo>
                      <a:pt x="124" y="27"/>
                    </a:lnTo>
                    <a:lnTo>
                      <a:pt x="123" y="29"/>
                    </a:lnTo>
                    <a:lnTo>
                      <a:pt x="123" y="30"/>
                    </a:lnTo>
                    <a:lnTo>
                      <a:pt x="123" y="32"/>
                    </a:lnTo>
                    <a:lnTo>
                      <a:pt x="124" y="33"/>
                    </a:lnTo>
                    <a:lnTo>
                      <a:pt x="126" y="35"/>
                    </a:lnTo>
                    <a:lnTo>
                      <a:pt x="127" y="35"/>
                    </a:lnTo>
                    <a:lnTo>
                      <a:pt x="127" y="36"/>
                    </a:lnTo>
                    <a:lnTo>
                      <a:pt x="120" y="37"/>
                    </a:lnTo>
                    <a:lnTo>
                      <a:pt x="117" y="37"/>
                    </a:lnTo>
                    <a:lnTo>
                      <a:pt x="116" y="36"/>
                    </a:lnTo>
                    <a:lnTo>
                      <a:pt x="116" y="36"/>
                    </a:lnTo>
                    <a:lnTo>
                      <a:pt x="114" y="37"/>
                    </a:lnTo>
                    <a:lnTo>
                      <a:pt x="114" y="39"/>
                    </a:lnTo>
                    <a:lnTo>
                      <a:pt x="108" y="37"/>
                    </a:lnTo>
                    <a:lnTo>
                      <a:pt x="107" y="36"/>
                    </a:lnTo>
                    <a:lnTo>
                      <a:pt x="88" y="36"/>
                    </a:lnTo>
                    <a:lnTo>
                      <a:pt x="87" y="39"/>
                    </a:lnTo>
                    <a:lnTo>
                      <a:pt x="84" y="52"/>
                    </a:lnTo>
                    <a:lnTo>
                      <a:pt x="76" y="59"/>
                    </a:lnTo>
                    <a:lnTo>
                      <a:pt x="71" y="75"/>
                    </a:lnTo>
                    <a:lnTo>
                      <a:pt x="68" y="77"/>
                    </a:lnTo>
                    <a:lnTo>
                      <a:pt x="56" y="81"/>
                    </a:lnTo>
                    <a:lnTo>
                      <a:pt x="55" y="81"/>
                    </a:lnTo>
                    <a:lnTo>
                      <a:pt x="47" y="78"/>
                    </a:lnTo>
                    <a:lnTo>
                      <a:pt x="47" y="77"/>
                    </a:lnTo>
                    <a:lnTo>
                      <a:pt x="46" y="77"/>
                    </a:lnTo>
                    <a:lnTo>
                      <a:pt x="39" y="77"/>
                    </a:lnTo>
                    <a:lnTo>
                      <a:pt x="37" y="77"/>
                    </a:lnTo>
                    <a:lnTo>
                      <a:pt x="31" y="84"/>
                    </a:lnTo>
                    <a:lnTo>
                      <a:pt x="30" y="84"/>
                    </a:lnTo>
                    <a:lnTo>
                      <a:pt x="24" y="84"/>
                    </a:lnTo>
                    <a:lnTo>
                      <a:pt x="23" y="85"/>
                    </a:lnTo>
                    <a:lnTo>
                      <a:pt x="20" y="84"/>
                    </a:lnTo>
                    <a:lnTo>
                      <a:pt x="17" y="84"/>
                    </a:lnTo>
                    <a:lnTo>
                      <a:pt x="14" y="85"/>
                    </a:lnTo>
                    <a:lnTo>
                      <a:pt x="10" y="84"/>
                    </a:lnTo>
                    <a:lnTo>
                      <a:pt x="0" y="71"/>
                    </a:lnTo>
                    <a:lnTo>
                      <a:pt x="0" y="69"/>
                    </a:lnTo>
                    <a:lnTo>
                      <a:pt x="1" y="68"/>
                    </a:lnTo>
                    <a:lnTo>
                      <a:pt x="1" y="68"/>
                    </a:lnTo>
                    <a:lnTo>
                      <a:pt x="2" y="71"/>
                    </a:lnTo>
                    <a:lnTo>
                      <a:pt x="4" y="71"/>
                    </a:lnTo>
                    <a:lnTo>
                      <a:pt x="8" y="74"/>
                    </a:lnTo>
                    <a:lnTo>
                      <a:pt x="11" y="72"/>
                    </a:lnTo>
                    <a:lnTo>
                      <a:pt x="15" y="74"/>
                    </a:lnTo>
                    <a:lnTo>
                      <a:pt x="21" y="75"/>
                    </a:lnTo>
                    <a:lnTo>
                      <a:pt x="24" y="68"/>
                    </a:lnTo>
                    <a:lnTo>
                      <a:pt x="23" y="65"/>
                    </a:lnTo>
                    <a:lnTo>
                      <a:pt x="24" y="64"/>
                    </a:lnTo>
                    <a:lnTo>
                      <a:pt x="26" y="65"/>
                    </a:lnTo>
                    <a:lnTo>
                      <a:pt x="27" y="65"/>
                    </a:lnTo>
                    <a:lnTo>
                      <a:pt x="27" y="61"/>
                    </a:lnTo>
                    <a:lnTo>
                      <a:pt x="27" y="61"/>
                    </a:lnTo>
                    <a:lnTo>
                      <a:pt x="29" y="58"/>
                    </a:lnTo>
                    <a:lnTo>
                      <a:pt x="30" y="56"/>
                    </a:lnTo>
                    <a:lnTo>
                      <a:pt x="34" y="56"/>
                    </a:lnTo>
                    <a:lnTo>
                      <a:pt x="36" y="56"/>
                    </a:lnTo>
                    <a:lnTo>
                      <a:pt x="36" y="56"/>
                    </a:lnTo>
                    <a:lnTo>
                      <a:pt x="45" y="55"/>
                    </a:lnTo>
                    <a:lnTo>
                      <a:pt x="46" y="55"/>
                    </a:lnTo>
                    <a:lnTo>
                      <a:pt x="62" y="36"/>
                    </a:lnTo>
                    <a:lnTo>
                      <a:pt x="62" y="33"/>
                    </a:lnTo>
                    <a:lnTo>
                      <a:pt x="62" y="33"/>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56" name="Freeform 1655"/>
              <p:cNvSpPr>
                <a:spLocks/>
              </p:cNvSpPr>
              <p:nvPr/>
            </p:nvSpPr>
            <p:spPr bwMode="auto">
              <a:xfrm>
                <a:off x="5900397" y="3067742"/>
                <a:ext cx="40379" cy="12170"/>
              </a:xfrm>
              <a:custGeom>
                <a:avLst/>
                <a:gdLst/>
                <a:ahLst/>
                <a:cxnLst>
                  <a:cxn ang="0">
                    <a:pos x="0" y="12"/>
                  </a:cxn>
                  <a:cxn ang="0">
                    <a:pos x="1" y="11"/>
                  </a:cxn>
                  <a:cxn ang="0">
                    <a:pos x="13" y="9"/>
                  </a:cxn>
                  <a:cxn ang="0">
                    <a:pos x="15" y="9"/>
                  </a:cxn>
                  <a:cxn ang="0">
                    <a:pos x="15" y="8"/>
                  </a:cxn>
                  <a:cxn ang="0">
                    <a:pos x="16" y="8"/>
                  </a:cxn>
                  <a:cxn ang="0">
                    <a:pos x="17" y="8"/>
                  </a:cxn>
                  <a:cxn ang="0">
                    <a:pos x="20" y="8"/>
                  </a:cxn>
                  <a:cxn ang="0">
                    <a:pos x="22" y="6"/>
                  </a:cxn>
                  <a:cxn ang="0">
                    <a:pos x="23" y="5"/>
                  </a:cxn>
                  <a:cxn ang="0">
                    <a:pos x="23" y="5"/>
                  </a:cxn>
                  <a:cxn ang="0">
                    <a:pos x="25" y="5"/>
                  </a:cxn>
                  <a:cxn ang="0">
                    <a:pos x="26" y="6"/>
                  </a:cxn>
                  <a:cxn ang="0">
                    <a:pos x="28" y="6"/>
                  </a:cxn>
                  <a:cxn ang="0">
                    <a:pos x="31" y="8"/>
                  </a:cxn>
                  <a:cxn ang="0">
                    <a:pos x="32" y="8"/>
                  </a:cxn>
                  <a:cxn ang="0">
                    <a:pos x="35" y="9"/>
                  </a:cxn>
                  <a:cxn ang="0">
                    <a:pos x="36" y="9"/>
                  </a:cxn>
                  <a:cxn ang="0">
                    <a:pos x="38" y="9"/>
                  </a:cxn>
                  <a:cxn ang="0">
                    <a:pos x="39" y="9"/>
                  </a:cxn>
                  <a:cxn ang="0">
                    <a:pos x="42" y="8"/>
                  </a:cxn>
                  <a:cxn ang="0">
                    <a:pos x="44" y="8"/>
                  </a:cxn>
                  <a:cxn ang="0">
                    <a:pos x="44" y="6"/>
                  </a:cxn>
                  <a:cxn ang="0">
                    <a:pos x="42" y="5"/>
                  </a:cxn>
                  <a:cxn ang="0">
                    <a:pos x="42" y="5"/>
                  </a:cxn>
                  <a:cxn ang="0">
                    <a:pos x="42" y="5"/>
                  </a:cxn>
                  <a:cxn ang="0">
                    <a:pos x="41" y="5"/>
                  </a:cxn>
                  <a:cxn ang="0">
                    <a:pos x="39" y="5"/>
                  </a:cxn>
                  <a:cxn ang="0">
                    <a:pos x="36" y="6"/>
                  </a:cxn>
                  <a:cxn ang="0">
                    <a:pos x="35" y="6"/>
                  </a:cxn>
                  <a:cxn ang="0">
                    <a:pos x="33" y="5"/>
                  </a:cxn>
                  <a:cxn ang="0">
                    <a:pos x="32" y="3"/>
                  </a:cxn>
                  <a:cxn ang="0">
                    <a:pos x="32" y="3"/>
                  </a:cxn>
                  <a:cxn ang="0">
                    <a:pos x="29" y="3"/>
                  </a:cxn>
                  <a:cxn ang="0">
                    <a:pos x="26" y="2"/>
                  </a:cxn>
                  <a:cxn ang="0">
                    <a:pos x="25" y="0"/>
                  </a:cxn>
                  <a:cxn ang="0">
                    <a:pos x="25" y="0"/>
                  </a:cxn>
                  <a:cxn ang="0">
                    <a:pos x="22" y="2"/>
                  </a:cxn>
                  <a:cxn ang="0">
                    <a:pos x="20" y="2"/>
                  </a:cxn>
                  <a:cxn ang="0">
                    <a:pos x="19" y="2"/>
                  </a:cxn>
                  <a:cxn ang="0">
                    <a:pos x="17" y="5"/>
                  </a:cxn>
                  <a:cxn ang="0">
                    <a:pos x="3" y="5"/>
                  </a:cxn>
                  <a:cxn ang="0">
                    <a:pos x="3" y="5"/>
                  </a:cxn>
                  <a:cxn ang="0">
                    <a:pos x="3" y="6"/>
                  </a:cxn>
                  <a:cxn ang="0">
                    <a:pos x="1" y="6"/>
                  </a:cxn>
                  <a:cxn ang="0">
                    <a:pos x="1" y="6"/>
                  </a:cxn>
                  <a:cxn ang="0">
                    <a:pos x="0" y="8"/>
                  </a:cxn>
                  <a:cxn ang="0">
                    <a:pos x="0" y="8"/>
                  </a:cxn>
                  <a:cxn ang="0">
                    <a:pos x="0" y="12"/>
                  </a:cxn>
                  <a:cxn ang="0">
                    <a:pos x="0" y="12"/>
                  </a:cxn>
                  <a:cxn ang="0">
                    <a:pos x="0" y="12"/>
                  </a:cxn>
                </a:cxnLst>
                <a:rect l="0" t="0" r="r" b="b"/>
                <a:pathLst>
                  <a:path w="44" h="12">
                    <a:moveTo>
                      <a:pt x="0" y="12"/>
                    </a:moveTo>
                    <a:lnTo>
                      <a:pt x="1" y="11"/>
                    </a:lnTo>
                    <a:lnTo>
                      <a:pt x="13" y="9"/>
                    </a:lnTo>
                    <a:lnTo>
                      <a:pt x="15" y="9"/>
                    </a:lnTo>
                    <a:lnTo>
                      <a:pt x="15" y="8"/>
                    </a:lnTo>
                    <a:lnTo>
                      <a:pt x="16" y="8"/>
                    </a:lnTo>
                    <a:lnTo>
                      <a:pt x="17" y="8"/>
                    </a:lnTo>
                    <a:lnTo>
                      <a:pt x="20" y="8"/>
                    </a:lnTo>
                    <a:lnTo>
                      <a:pt x="22" y="6"/>
                    </a:lnTo>
                    <a:lnTo>
                      <a:pt x="23" y="5"/>
                    </a:lnTo>
                    <a:lnTo>
                      <a:pt x="23" y="5"/>
                    </a:lnTo>
                    <a:lnTo>
                      <a:pt x="25" y="5"/>
                    </a:lnTo>
                    <a:lnTo>
                      <a:pt x="26" y="6"/>
                    </a:lnTo>
                    <a:lnTo>
                      <a:pt x="28" y="6"/>
                    </a:lnTo>
                    <a:lnTo>
                      <a:pt x="31" y="8"/>
                    </a:lnTo>
                    <a:lnTo>
                      <a:pt x="32" y="8"/>
                    </a:lnTo>
                    <a:lnTo>
                      <a:pt x="35" y="9"/>
                    </a:lnTo>
                    <a:lnTo>
                      <a:pt x="36" y="9"/>
                    </a:lnTo>
                    <a:lnTo>
                      <a:pt x="38" y="9"/>
                    </a:lnTo>
                    <a:lnTo>
                      <a:pt x="39" y="9"/>
                    </a:lnTo>
                    <a:lnTo>
                      <a:pt x="42" y="8"/>
                    </a:lnTo>
                    <a:lnTo>
                      <a:pt x="44" y="8"/>
                    </a:lnTo>
                    <a:lnTo>
                      <a:pt x="44" y="6"/>
                    </a:lnTo>
                    <a:lnTo>
                      <a:pt x="42" y="5"/>
                    </a:lnTo>
                    <a:lnTo>
                      <a:pt x="42" y="5"/>
                    </a:lnTo>
                    <a:lnTo>
                      <a:pt x="42" y="5"/>
                    </a:lnTo>
                    <a:lnTo>
                      <a:pt x="41" y="5"/>
                    </a:lnTo>
                    <a:lnTo>
                      <a:pt x="39" y="5"/>
                    </a:lnTo>
                    <a:lnTo>
                      <a:pt x="36" y="6"/>
                    </a:lnTo>
                    <a:lnTo>
                      <a:pt x="35" y="6"/>
                    </a:lnTo>
                    <a:lnTo>
                      <a:pt x="33" y="5"/>
                    </a:lnTo>
                    <a:lnTo>
                      <a:pt x="32" y="3"/>
                    </a:lnTo>
                    <a:lnTo>
                      <a:pt x="32" y="3"/>
                    </a:lnTo>
                    <a:lnTo>
                      <a:pt x="29" y="3"/>
                    </a:lnTo>
                    <a:lnTo>
                      <a:pt x="26" y="2"/>
                    </a:lnTo>
                    <a:lnTo>
                      <a:pt x="25" y="0"/>
                    </a:lnTo>
                    <a:lnTo>
                      <a:pt x="25" y="0"/>
                    </a:lnTo>
                    <a:lnTo>
                      <a:pt x="22" y="2"/>
                    </a:lnTo>
                    <a:lnTo>
                      <a:pt x="20" y="2"/>
                    </a:lnTo>
                    <a:lnTo>
                      <a:pt x="19" y="2"/>
                    </a:lnTo>
                    <a:lnTo>
                      <a:pt x="17" y="5"/>
                    </a:lnTo>
                    <a:lnTo>
                      <a:pt x="3" y="5"/>
                    </a:lnTo>
                    <a:lnTo>
                      <a:pt x="3" y="5"/>
                    </a:lnTo>
                    <a:lnTo>
                      <a:pt x="3" y="6"/>
                    </a:lnTo>
                    <a:lnTo>
                      <a:pt x="1" y="6"/>
                    </a:lnTo>
                    <a:lnTo>
                      <a:pt x="1" y="6"/>
                    </a:lnTo>
                    <a:lnTo>
                      <a:pt x="0" y="8"/>
                    </a:lnTo>
                    <a:lnTo>
                      <a:pt x="0" y="8"/>
                    </a:lnTo>
                    <a:lnTo>
                      <a:pt x="0" y="12"/>
                    </a:lnTo>
                    <a:lnTo>
                      <a:pt x="0" y="12"/>
                    </a:lnTo>
                    <a:lnTo>
                      <a:pt x="0" y="1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57" name="Freeform 1656"/>
              <p:cNvSpPr>
                <a:spLocks/>
              </p:cNvSpPr>
              <p:nvPr/>
            </p:nvSpPr>
            <p:spPr bwMode="auto">
              <a:xfrm>
                <a:off x="5900397" y="3067742"/>
                <a:ext cx="40379" cy="12170"/>
              </a:xfrm>
              <a:custGeom>
                <a:avLst/>
                <a:gdLst/>
                <a:ahLst/>
                <a:cxnLst>
                  <a:cxn ang="0">
                    <a:pos x="0" y="12"/>
                  </a:cxn>
                  <a:cxn ang="0">
                    <a:pos x="1" y="11"/>
                  </a:cxn>
                  <a:cxn ang="0">
                    <a:pos x="13" y="9"/>
                  </a:cxn>
                  <a:cxn ang="0">
                    <a:pos x="15" y="9"/>
                  </a:cxn>
                  <a:cxn ang="0">
                    <a:pos x="15" y="8"/>
                  </a:cxn>
                  <a:cxn ang="0">
                    <a:pos x="16" y="8"/>
                  </a:cxn>
                  <a:cxn ang="0">
                    <a:pos x="17" y="8"/>
                  </a:cxn>
                  <a:cxn ang="0">
                    <a:pos x="20" y="8"/>
                  </a:cxn>
                  <a:cxn ang="0">
                    <a:pos x="22" y="6"/>
                  </a:cxn>
                  <a:cxn ang="0">
                    <a:pos x="23" y="5"/>
                  </a:cxn>
                  <a:cxn ang="0">
                    <a:pos x="23" y="5"/>
                  </a:cxn>
                  <a:cxn ang="0">
                    <a:pos x="25" y="5"/>
                  </a:cxn>
                  <a:cxn ang="0">
                    <a:pos x="26" y="6"/>
                  </a:cxn>
                  <a:cxn ang="0">
                    <a:pos x="28" y="6"/>
                  </a:cxn>
                  <a:cxn ang="0">
                    <a:pos x="31" y="8"/>
                  </a:cxn>
                  <a:cxn ang="0">
                    <a:pos x="32" y="8"/>
                  </a:cxn>
                  <a:cxn ang="0">
                    <a:pos x="35" y="9"/>
                  </a:cxn>
                  <a:cxn ang="0">
                    <a:pos x="36" y="9"/>
                  </a:cxn>
                  <a:cxn ang="0">
                    <a:pos x="38" y="9"/>
                  </a:cxn>
                  <a:cxn ang="0">
                    <a:pos x="39" y="9"/>
                  </a:cxn>
                  <a:cxn ang="0">
                    <a:pos x="42" y="8"/>
                  </a:cxn>
                  <a:cxn ang="0">
                    <a:pos x="44" y="8"/>
                  </a:cxn>
                  <a:cxn ang="0">
                    <a:pos x="44" y="6"/>
                  </a:cxn>
                  <a:cxn ang="0">
                    <a:pos x="42" y="5"/>
                  </a:cxn>
                  <a:cxn ang="0">
                    <a:pos x="42" y="5"/>
                  </a:cxn>
                  <a:cxn ang="0">
                    <a:pos x="42" y="5"/>
                  </a:cxn>
                  <a:cxn ang="0">
                    <a:pos x="41" y="5"/>
                  </a:cxn>
                  <a:cxn ang="0">
                    <a:pos x="39" y="5"/>
                  </a:cxn>
                  <a:cxn ang="0">
                    <a:pos x="36" y="6"/>
                  </a:cxn>
                  <a:cxn ang="0">
                    <a:pos x="35" y="6"/>
                  </a:cxn>
                  <a:cxn ang="0">
                    <a:pos x="33" y="5"/>
                  </a:cxn>
                  <a:cxn ang="0">
                    <a:pos x="32" y="3"/>
                  </a:cxn>
                  <a:cxn ang="0">
                    <a:pos x="32" y="3"/>
                  </a:cxn>
                  <a:cxn ang="0">
                    <a:pos x="29" y="3"/>
                  </a:cxn>
                  <a:cxn ang="0">
                    <a:pos x="26" y="2"/>
                  </a:cxn>
                  <a:cxn ang="0">
                    <a:pos x="25" y="0"/>
                  </a:cxn>
                  <a:cxn ang="0">
                    <a:pos x="25" y="0"/>
                  </a:cxn>
                  <a:cxn ang="0">
                    <a:pos x="22" y="2"/>
                  </a:cxn>
                  <a:cxn ang="0">
                    <a:pos x="20" y="2"/>
                  </a:cxn>
                  <a:cxn ang="0">
                    <a:pos x="19" y="2"/>
                  </a:cxn>
                  <a:cxn ang="0">
                    <a:pos x="17" y="5"/>
                  </a:cxn>
                  <a:cxn ang="0">
                    <a:pos x="3" y="5"/>
                  </a:cxn>
                  <a:cxn ang="0">
                    <a:pos x="3" y="5"/>
                  </a:cxn>
                  <a:cxn ang="0">
                    <a:pos x="3" y="6"/>
                  </a:cxn>
                  <a:cxn ang="0">
                    <a:pos x="1" y="6"/>
                  </a:cxn>
                  <a:cxn ang="0">
                    <a:pos x="1" y="6"/>
                  </a:cxn>
                  <a:cxn ang="0">
                    <a:pos x="0" y="8"/>
                  </a:cxn>
                  <a:cxn ang="0">
                    <a:pos x="0" y="8"/>
                  </a:cxn>
                  <a:cxn ang="0">
                    <a:pos x="0" y="12"/>
                  </a:cxn>
                  <a:cxn ang="0">
                    <a:pos x="0" y="12"/>
                  </a:cxn>
                  <a:cxn ang="0">
                    <a:pos x="0" y="12"/>
                  </a:cxn>
                </a:cxnLst>
                <a:rect l="0" t="0" r="r" b="b"/>
                <a:pathLst>
                  <a:path w="44" h="12">
                    <a:moveTo>
                      <a:pt x="0" y="12"/>
                    </a:moveTo>
                    <a:lnTo>
                      <a:pt x="1" y="11"/>
                    </a:lnTo>
                    <a:lnTo>
                      <a:pt x="13" y="9"/>
                    </a:lnTo>
                    <a:lnTo>
                      <a:pt x="15" y="9"/>
                    </a:lnTo>
                    <a:lnTo>
                      <a:pt x="15" y="8"/>
                    </a:lnTo>
                    <a:lnTo>
                      <a:pt x="16" y="8"/>
                    </a:lnTo>
                    <a:lnTo>
                      <a:pt x="17" y="8"/>
                    </a:lnTo>
                    <a:lnTo>
                      <a:pt x="20" y="8"/>
                    </a:lnTo>
                    <a:lnTo>
                      <a:pt x="22" y="6"/>
                    </a:lnTo>
                    <a:lnTo>
                      <a:pt x="23" y="5"/>
                    </a:lnTo>
                    <a:lnTo>
                      <a:pt x="23" y="5"/>
                    </a:lnTo>
                    <a:lnTo>
                      <a:pt x="25" y="5"/>
                    </a:lnTo>
                    <a:lnTo>
                      <a:pt x="26" y="6"/>
                    </a:lnTo>
                    <a:lnTo>
                      <a:pt x="28" y="6"/>
                    </a:lnTo>
                    <a:lnTo>
                      <a:pt x="31" y="8"/>
                    </a:lnTo>
                    <a:lnTo>
                      <a:pt x="32" y="8"/>
                    </a:lnTo>
                    <a:lnTo>
                      <a:pt x="35" y="9"/>
                    </a:lnTo>
                    <a:lnTo>
                      <a:pt x="36" y="9"/>
                    </a:lnTo>
                    <a:lnTo>
                      <a:pt x="38" y="9"/>
                    </a:lnTo>
                    <a:lnTo>
                      <a:pt x="39" y="9"/>
                    </a:lnTo>
                    <a:lnTo>
                      <a:pt x="42" y="8"/>
                    </a:lnTo>
                    <a:lnTo>
                      <a:pt x="44" y="8"/>
                    </a:lnTo>
                    <a:lnTo>
                      <a:pt x="44" y="6"/>
                    </a:lnTo>
                    <a:lnTo>
                      <a:pt x="42" y="5"/>
                    </a:lnTo>
                    <a:lnTo>
                      <a:pt x="42" y="5"/>
                    </a:lnTo>
                    <a:lnTo>
                      <a:pt x="42" y="5"/>
                    </a:lnTo>
                    <a:lnTo>
                      <a:pt x="41" y="5"/>
                    </a:lnTo>
                    <a:lnTo>
                      <a:pt x="39" y="5"/>
                    </a:lnTo>
                    <a:lnTo>
                      <a:pt x="36" y="6"/>
                    </a:lnTo>
                    <a:lnTo>
                      <a:pt x="35" y="6"/>
                    </a:lnTo>
                    <a:lnTo>
                      <a:pt x="33" y="5"/>
                    </a:lnTo>
                    <a:lnTo>
                      <a:pt x="32" y="3"/>
                    </a:lnTo>
                    <a:lnTo>
                      <a:pt x="32" y="3"/>
                    </a:lnTo>
                    <a:lnTo>
                      <a:pt x="29" y="3"/>
                    </a:lnTo>
                    <a:lnTo>
                      <a:pt x="26" y="2"/>
                    </a:lnTo>
                    <a:lnTo>
                      <a:pt x="25" y="0"/>
                    </a:lnTo>
                    <a:lnTo>
                      <a:pt x="25" y="0"/>
                    </a:lnTo>
                    <a:lnTo>
                      <a:pt x="22" y="2"/>
                    </a:lnTo>
                    <a:lnTo>
                      <a:pt x="20" y="2"/>
                    </a:lnTo>
                    <a:lnTo>
                      <a:pt x="19" y="2"/>
                    </a:lnTo>
                    <a:lnTo>
                      <a:pt x="17" y="5"/>
                    </a:lnTo>
                    <a:lnTo>
                      <a:pt x="3" y="5"/>
                    </a:lnTo>
                    <a:lnTo>
                      <a:pt x="3" y="5"/>
                    </a:lnTo>
                    <a:lnTo>
                      <a:pt x="3" y="6"/>
                    </a:lnTo>
                    <a:lnTo>
                      <a:pt x="1" y="6"/>
                    </a:lnTo>
                    <a:lnTo>
                      <a:pt x="1" y="6"/>
                    </a:lnTo>
                    <a:lnTo>
                      <a:pt x="0" y="8"/>
                    </a:lnTo>
                    <a:lnTo>
                      <a:pt x="0" y="8"/>
                    </a:lnTo>
                    <a:lnTo>
                      <a:pt x="0" y="12"/>
                    </a:lnTo>
                    <a:lnTo>
                      <a:pt x="0" y="12"/>
                    </a:lnTo>
                    <a:lnTo>
                      <a:pt x="0" y="1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58" name="Freeform 1657"/>
              <p:cNvSpPr>
                <a:spLocks/>
              </p:cNvSpPr>
              <p:nvPr/>
            </p:nvSpPr>
            <p:spPr bwMode="auto">
              <a:xfrm>
                <a:off x="5900397" y="3083969"/>
                <a:ext cx="41256" cy="28396"/>
              </a:xfrm>
              <a:custGeom>
                <a:avLst/>
                <a:gdLst/>
                <a:ahLst/>
                <a:cxnLst>
                  <a:cxn ang="0">
                    <a:pos x="44" y="0"/>
                  </a:cxn>
                  <a:cxn ang="0">
                    <a:pos x="44" y="3"/>
                  </a:cxn>
                  <a:cxn ang="0">
                    <a:pos x="45" y="5"/>
                  </a:cxn>
                  <a:cxn ang="0">
                    <a:pos x="45" y="6"/>
                  </a:cxn>
                  <a:cxn ang="0">
                    <a:pos x="45" y="8"/>
                  </a:cxn>
                  <a:cxn ang="0">
                    <a:pos x="44" y="8"/>
                  </a:cxn>
                  <a:cxn ang="0">
                    <a:pos x="42" y="8"/>
                  </a:cxn>
                  <a:cxn ang="0">
                    <a:pos x="42" y="8"/>
                  </a:cxn>
                  <a:cxn ang="0">
                    <a:pos x="41" y="9"/>
                  </a:cxn>
                  <a:cxn ang="0">
                    <a:pos x="42" y="11"/>
                  </a:cxn>
                  <a:cxn ang="0">
                    <a:pos x="44" y="11"/>
                  </a:cxn>
                  <a:cxn ang="0">
                    <a:pos x="44" y="16"/>
                  </a:cxn>
                  <a:cxn ang="0">
                    <a:pos x="42" y="16"/>
                  </a:cxn>
                  <a:cxn ang="0">
                    <a:pos x="41" y="16"/>
                  </a:cxn>
                  <a:cxn ang="0">
                    <a:pos x="36" y="16"/>
                  </a:cxn>
                  <a:cxn ang="0">
                    <a:pos x="32" y="18"/>
                  </a:cxn>
                  <a:cxn ang="0">
                    <a:pos x="31" y="19"/>
                  </a:cxn>
                  <a:cxn ang="0">
                    <a:pos x="28" y="25"/>
                  </a:cxn>
                  <a:cxn ang="0">
                    <a:pos x="26" y="27"/>
                  </a:cxn>
                  <a:cxn ang="0">
                    <a:pos x="25" y="27"/>
                  </a:cxn>
                  <a:cxn ang="0">
                    <a:pos x="25" y="25"/>
                  </a:cxn>
                  <a:cxn ang="0">
                    <a:pos x="25" y="25"/>
                  </a:cxn>
                  <a:cxn ang="0">
                    <a:pos x="22" y="25"/>
                  </a:cxn>
                  <a:cxn ang="0">
                    <a:pos x="22" y="25"/>
                  </a:cxn>
                  <a:cxn ang="0">
                    <a:pos x="20" y="24"/>
                  </a:cxn>
                  <a:cxn ang="0">
                    <a:pos x="19" y="22"/>
                  </a:cxn>
                  <a:cxn ang="0">
                    <a:pos x="20" y="19"/>
                  </a:cxn>
                  <a:cxn ang="0">
                    <a:pos x="19" y="16"/>
                  </a:cxn>
                  <a:cxn ang="0">
                    <a:pos x="20" y="15"/>
                  </a:cxn>
                  <a:cxn ang="0">
                    <a:pos x="28" y="14"/>
                  </a:cxn>
                  <a:cxn ang="0">
                    <a:pos x="28" y="14"/>
                  </a:cxn>
                  <a:cxn ang="0">
                    <a:pos x="19" y="14"/>
                  </a:cxn>
                  <a:cxn ang="0">
                    <a:pos x="16" y="16"/>
                  </a:cxn>
                  <a:cxn ang="0">
                    <a:pos x="13" y="16"/>
                  </a:cxn>
                  <a:cxn ang="0">
                    <a:pos x="13" y="16"/>
                  </a:cxn>
                  <a:cxn ang="0">
                    <a:pos x="12" y="14"/>
                  </a:cxn>
                  <a:cxn ang="0">
                    <a:pos x="10" y="14"/>
                  </a:cxn>
                  <a:cxn ang="0">
                    <a:pos x="9" y="14"/>
                  </a:cxn>
                  <a:cxn ang="0">
                    <a:pos x="7" y="12"/>
                  </a:cxn>
                  <a:cxn ang="0">
                    <a:pos x="7" y="9"/>
                  </a:cxn>
                  <a:cxn ang="0">
                    <a:pos x="1" y="8"/>
                  </a:cxn>
                  <a:cxn ang="0">
                    <a:pos x="0" y="6"/>
                  </a:cxn>
                  <a:cxn ang="0">
                    <a:pos x="0" y="5"/>
                  </a:cxn>
                  <a:cxn ang="0">
                    <a:pos x="1" y="6"/>
                  </a:cxn>
                  <a:cxn ang="0">
                    <a:pos x="3" y="6"/>
                  </a:cxn>
                  <a:cxn ang="0">
                    <a:pos x="4" y="6"/>
                  </a:cxn>
                  <a:cxn ang="0">
                    <a:pos x="7" y="5"/>
                  </a:cxn>
                  <a:cxn ang="0">
                    <a:pos x="16" y="5"/>
                  </a:cxn>
                  <a:cxn ang="0">
                    <a:pos x="23" y="2"/>
                  </a:cxn>
                  <a:cxn ang="0">
                    <a:pos x="44" y="0"/>
                  </a:cxn>
                </a:cxnLst>
                <a:rect l="0" t="0" r="r" b="b"/>
                <a:pathLst>
                  <a:path w="45" h="27">
                    <a:moveTo>
                      <a:pt x="44" y="0"/>
                    </a:moveTo>
                    <a:lnTo>
                      <a:pt x="44" y="3"/>
                    </a:lnTo>
                    <a:lnTo>
                      <a:pt x="45" y="5"/>
                    </a:lnTo>
                    <a:lnTo>
                      <a:pt x="45" y="6"/>
                    </a:lnTo>
                    <a:lnTo>
                      <a:pt x="45" y="8"/>
                    </a:lnTo>
                    <a:lnTo>
                      <a:pt x="44" y="8"/>
                    </a:lnTo>
                    <a:lnTo>
                      <a:pt x="42" y="8"/>
                    </a:lnTo>
                    <a:lnTo>
                      <a:pt x="42" y="8"/>
                    </a:lnTo>
                    <a:lnTo>
                      <a:pt x="41" y="9"/>
                    </a:lnTo>
                    <a:lnTo>
                      <a:pt x="42" y="11"/>
                    </a:lnTo>
                    <a:lnTo>
                      <a:pt x="44" y="11"/>
                    </a:lnTo>
                    <a:lnTo>
                      <a:pt x="44" y="16"/>
                    </a:lnTo>
                    <a:lnTo>
                      <a:pt x="42" y="16"/>
                    </a:lnTo>
                    <a:lnTo>
                      <a:pt x="41" y="16"/>
                    </a:lnTo>
                    <a:lnTo>
                      <a:pt x="36" y="16"/>
                    </a:lnTo>
                    <a:lnTo>
                      <a:pt x="32" y="18"/>
                    </a:lnTo>
                    <a:lnTo>
                      <a:pt x="31" y="19"/>
                    </a:lnTo>
                    <a:lnTo>
                      <a:pt x="28" y="25"/>
                    </a:lnTo>
                    <a:lnTo>
                      <a:pt x="26" y="27"/>
                    </a:lnTo>
                    <a:lnTo>
                      <a:pt x="25" y="27"/>
                    </a:lnTo>
                    <a:lnTo>
                      <a:pt x="25" y="25"/>
                    </a:lnTo>
                    <a:lnTo>
                      <a:pt x="25" y="25"/>
                    </a:lnTo>
                    <a:lnTo>
                      <a:pt x="22" y="25"/>
                    </a:lnTo>
                    <a:lnTo>
                      <a:pt x="22" y="25"/>
                    </a:lnTo>
                    <a:lnTo>
                      <a:pt x="20" y="24"/>
                    </a:lnTo>
                    <a:lnTo>
                      <a:pt x="19" y="22"/>
                    </a:lnTo>
                    <a:lnTo>
                      <a:pt x="20" y="19"/>
                    </a:lnTo>
                    <a:lnTo>
                      <a:pt x="19" y="16"/>
                    </a:lnTo>
                    <a:lnTo>
                      <a:pt x="20" y="15"/>
                    </a:lnTo>
                    <a:lnTo>
                      <a:pt x="28" y="14"/>
                    </a:lnTo>
                    <a:lnTo>
                      <a:pt x="28" y="14"/>
                    </a:lnTo>
                    <a:lnTo>
                      <a:pt x="19" y="14"/>
                    </a:lnTo>
                    <a:lnTo>
                      <a:pt x="16" y="16"/>
                    </a:lnTo>
                    <a:lnTo>
                      <a:pt x="13" y="16"/>
                    </a:lnTo>
                    <a:lnTo>
                      <a:pt x="13" y="16"/>
                    </a:lnTo>
                    <a:lnTo>
                      <a:pt x="12" y="14"/>
                    </a:lnTo>
                    <a:lnTo>
                      <a:pt x="10" y="14"/>
                    </a:lnTo>
                    <a:lnTo>
                      <a:pt x="9" y="14"/>
                    </a:lnTo>
                    <a:lnTo>
                      <a:pt x="7" y="12"/>
                    </a:lnTo>
                    <a:lnTo>
                      <a:pt x="7" y="9"/>
                    </a:lnTo>
                    <a:lnTo>
                      <a:pt x="1" y="8"/>
                    </a:lnTo>
                    <a:lnTo>
                      <a:pt x="0" y="6"/>
                    </a:lnTo>
                    <a:lnTo>
                      <a:pt x="0" y="5"/>
                    </a:lnTo>
                    <a:lnTo>
                      <a:pt x="1" y="6"/>
                    </a:lnTo>
                    <a:lnTo>
                      <a:pt x="3" y="6"/>
                    </a:lnTo>
                    <a:lnTo>
                      <a:pt x="4" y="6"/>
                    </a:lnTo>
                    <a:lnTo>
                      <a:pt x="7" y="5"/>
                    </a:lnTo>
                    <a:lnTo>
                      <a:pt x="16" y="5"/>
                    </a:lnTo>
                    <a:lnTo>
                      <a:pt x="23" y="2"/>
                    </a:lnTo>
                    <a:lnTo>
                      <a:pt x="44"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59" name="Freeform 1658"/>
              <p:cNvSpPr>
                <a:spLocks/>
              </p:cNvSpPr>
              <p:nvPr/>
            </p:nvSpPr>
            <p:spPr bwMode="auto">
              <a:xfrm>
                <a:off x="5900397" y="3083969"/>
                <a:ext cx="41256" cy="28396"/>
              </a:xfrm>
              <a:custGeom>
                <a:avLst/>
                <a:gdLst/>
                <a:ahLst/>
                <a:cxnLst>
                  <a:cxn ang="0">
                    <a:pos x="44" y="0"/>
                  </a:cxn>
                  <a:cxn ang="0">
                    <a:pos x="44" y="3"/>
                  </a:cxn>
                  <a:cxn ang="0">
                    <a:pos x="45" y="5"/>
                  </a:cxn>
                  <a:cxn ang="0">
                    <a:pos x="45" y="6"/>
                  </a:cxn>
                  <a:cxn ang="0">
                    <a:pos x="45" y="8"/>
                  </a:cxn>
                  <a:cxn ang="0">
                    <a:pos x="44" y="8"/>
                  </a:cxn>
                  <a:cxn ang="0">
                    <a:pos x="42" y="8"/>
                  </a:cxn>
                  <a:cxn ang="0">
                    <a:pos x="42" y="8"/>
                  </a:cxn>
                  <a:cxn ang="0">
                    <a:pos x="41" y="9"/>
                  </a:cxn>
                  <a:cxn ang="0">
                    <a:pos x="42" y="11"/>
                  </a:cxn>
                  <a:cxn ang="0">
                    <a:pos x="44" y="11"/>
                  </a:cxn>
                  <a:cxn ang="0">
                    <a:pos x="44" y="16"/>
                  </a:cxn>
                  <a:cxn ang="0">
                    <a:pos x="42" y="16"/>
                  </a:cxn>
                  <a:cxn ang="0">
                    <a:pos x="41" y="16"/>
                  </a:cxn>
                  <a:cxn ang="0">
                    <a:pos x="36" y="16"/>
                  </a:cxn>
                  <a:cxn ang="0">
                    <a:pos x="32" y="18"/>
                  </a:cxn>
                  <a:cxn ang="0">
                    <a:pos x="31" y="19"/>
                  </a:cxn>
                  <a:cxn ang="0">
                    <a:pos x="28" y="25"/>
                  </a:cxn>
                  <a:cxn ang="0">
                    <a:pos x="26" y="27"/>
                  </a:cxn>
                  <a:cxn ang="0">
                    <a:pos x="25" y="27"/>
                  </a:cxn>
                  <a:cxn ang="0">
                    <a:pos x="25" y="25"/>
                  </a:cxn>
                  <a:cxn ang="0">
                    <a:pos x="25" y="25"/>
                  </a:cxn>
                  <a:cxn ang="0">
                    <a:pos x="22" y="25"/>
                  </a:cxn>
                  <a:cxn ang="0">
                    <a:pos x="22" y="25"/>
                  </a:cxn>
                  <a:cxn ang="0">
                    <a:pos x="20" y="24"/>
                  </a:cxn>
                  <a:cxn ang="0">
                    <a:pos x="19" y="22"/>
                  </a:cxn>
                  <a:cxn ang="0">
                    <a:pos x="20" y="19"/>
                  </a:cxn>
                  <a:cxn ang="0">
                    <a:pos x="19" y="16"/>
                  </a:cxn>
                  <a:cxn ang="0">
                    <a:pos x="20" y="15"/>
                  </a:cxn>
                  <a:cxn ang="0">
                    <a:pos x="28" y="14"/>
                  </a:cxn>
                  <a:cxn ang="0">
                    <a:pos x="28" y="14"/>
                  </a:cxn>
                  <a:cxn ang="0">
                    <a:pos x="19" y="14"/>
                  </a:cxn>
                  <a:cxn ang="0">
                    <a:pos x="16" y="16"/>
                  </a:cxn>
                  <a:cxn ang="0">
                    <a:pos x="13" y="16"/>
                  </a:cxn>
                  <a:cxn ang="0">
                    <a:pos x="13" y="16"/>
                  </a:cxn>
                  <a:cxn ang="0">
                    <a:pos x="12" y="14"/>
                  </a:cxn>
                  <a:cxn ang="0">
                    <a:pos x="10" y="14"/>
                  </a:cxn>
                  <a:cxn ang="0">
                    <a:pos x="9" y="14"/>
                  </a:cxn>
                  <a:cxn ang="0">
                    <a:pos x="7" y="12"/>
                  </a:cxn>
                  <a:cxn ang="0">
                    <a:pos x="7" y="9"/>
                  </a:cxn>
                  <a:cxn ang="0">
                    <a:pos x="1" y="8"/>
                  </a:cxn>
                  <a:cxn ang="0">
                    <a:pos x="0" y="6"/>
                  </a:cxn>
                  <a:cxn ang="0">
                    <a:pos x="0" y="5"/>
                  </a:cxn>
                  <a:cxn ang="0">
                    <a:pos x="1" y="6"/>
                  </a:cxn>
                  <a:cxn ang="0">
                    <a:pos x="3" y="6"/>
                  </a:cxn>
                  <a:cxn ang="0">
                    <a:pos x="4" y="6"/>
                  </a:cxn>
                  <a:cxn ang="0">
                    <a:pos x="7" y="5"/>
                  </a:cxn>
                  <a:cxn ang="0">
                    <a:pos x="16" y="5"/>
                  </a:cxn>
                  <a:cxn ang="0">
                    <a:pos x="23" y="2"/>
                  </a:cxn>
                  <a:cxn ang="0">
                    <a:pos x="44" y="0"/>
                  </a:cxn>
                </a:cxnLst>
                <a:rect l="0" t="0" r="r" b="b"/>
                <a:pathLst>
                  <a:path w="45" h="27">
                    <a:moveTo>
                      <a:pt x="44" y="0"/>
                    </a:moveTo>
                    <a:lnTo>
                      <a:pt x="44" y="3"/>
                    </a:lnTo>
                    <a:lnTo>
                      <a:pt x="45" y="5"/>
                    </a:lnTo>
                    <a:lnTo>
                      <a:pt x="45" y="6"/>
                    </a:lnTo>
                    <a:lnTo>
                      <a:pt x="45" y="8"/>
                    </a:lnTo>
                    <a:lnTo>
                      <a:pt x="44" y="8"/>
                    </a:lnTo>
                    <a:lnTo>
                      <a:pt x="42" y="8"/>
                    </a:lnTo>
                    <a:lnTo>
                      <a:pt x="42" y="8"/>
                    </a:lnTo>
                    <a:lnTo>
                      <a:pt x="41" y="9"/>
                    </a:lnTo>
                    <a:lnTo>
                      <a:pt x="42" y="11"/>
                    </a:lnTo>
                    <a:lnTo>
                      <a:pt x="44" y="11"/>
                    </a:lnTo>
                    <a:lnTo>
                      <a:pt x="44" y="16"/>
                    </a:lnTo>
                    <a:lnTo>
                      <a:pt x="42" y="16"/>
                    </a:lnTo>
                    <a:lnTo>
                      <a:pt x="41" y="16"/>
                    </a:lnTo>
                    <a:lnTo>
                      <a:pt x="36" y="16"/>
                    </a:lnTo>
                    <a:lnTo>
                      <a:pt x="32" y="18"/>
                    </a:lnTo>
                    <a:lnTo>
                      <a:pt x="31" y="19"/>
                    </a:lnTo>
                    <a:lnTo>
                      <a:pt x="28" y="25"/>
                    </a:lnTo>
                    <a:lnTo>
                      <a:pt x="26" y="27"/>
                    </a:lnTo>
                    <a:lnTo>
                      <a:pt x="25" y="27"/>
                    </a:lnTo>
                    <a:lnTo>
                      <a:pt x="25" y="25"/>
                    </a:lnTo>
                    <a:lnTo>
                      <a:pt x="25" y="25"/>
                    </a:lnTo>
                    <a:lnTo>
                      <a:pt x="22" y="25"/>
                    </a:lnTo>
                    <a:lnTo>
                      <a:pt x="22" y="25"/>
                    </a:lnTo>
                    <a:lnTo>
                      <a:pt x="20" y="24"/>
                    </a:lnTo>
                    <a:lnTo>
                      <a:pt x="19" y="22"/>
                    </a:lnTo>
                    <a:lnTo>
                      <a:pt x="20" y="19"/>
                    </a:lnTo>
                    <a:lnTo>
                      <a:pt x="19" y="16"/>
                    </a:lnTo>
                    <a:lnTo>
                      <a:pt x="20" y="15"/>
                    </a:lnTo>
                    <a:lnTo>
                      <a:pt x="28" y="14"/>
                    </a:lnTo>
                    <a:lnTo>
                      <a:pt x="28" y="14"/>
                    </a:lnTo>
                    <a:lnTo>
                      <a:pt x="19" y="14"/>
                    </a:lnTo>
                    <a:lnTo>
                      <a:pt x="16" y="16"/>
                    </a:lnTo>
                    <a:lnTo>
                      <a:pt x="13" y="16"/>
                    </a:lnTo>
                    <a:lnTo>
                      <a:pt x="13" y="16"/>
                    </a:lnTo>
                    <a:lnTo>
                      <a:pt x="12" y="14"/>
                    </a:lnTo>
                    <a:lnTo>
                      <a:pt x="10" y="14"/>
                    </a:lnTo>
                    <a:lnTo>
                      <a:pt x="9" y="14"/>
                    </a:lnTo>
                    <a:lnTo>
                      <a:pt x="7" y="12"/>
                    </a:lnTo>
                    <a:lnTo>
                      <a:pt x="7" y="9"/>
                    </a:lnTo>
                    <a:lnTo>
                      <a:pt x="1" y="8"/>
                    </a:lnTo>
                    <a:lnTo>
                      <a:pt x="0" y="6"/>
                    </a:lnTo>
                    <a:lnTo>
                      <a:pt x="0" y="5"/>
                    </a:lnTo>
                    <a:lnTo>
                      <a:pt x="1" y="6"/>
                    </a:lnTo>
                    <a:lnTo>
                      <a:pt x="3" y="6"/>
                    </a:lnTo>
                    <a:lnTo>
                      <a:pt x="4" y="6"/>
                    </a:lnTo>
                    <a:lnTo>
                      <a:pt x="7" y="5"/>
                    </a:lnTo>
                    <a:lnTo>
                      <a:pt x="16" y="5"/>
                    </a:lnTo>
                    <a:lnTo>
                      <a:pt x="23" y="2"/>
                    </a:lnTo>
                    <a:lnTo>
                      <a:pt x="44"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60" name="Freeform 1659"/>
              <p:cNvSpPr>
                <a:spLocks/>
              </p:cNvSpPr>
              <p:nvPr/>
            </p:nvSpPr>
            <p:spPr bwMode="auto">
              <a:xfrm>
                <a:off x="5969743" y="3147859"/>
                <a:ext cx="53546" cy="62876"/>
              </a:xfrm>
              <a:custGeom>
                <a:avLst/>
                <a:gdLst/>
                <a:ahLst/>
                <a:cxnLst>
                  <a:cxn ang="0">
                    <a:pos x="0" y="22"/>
                  </a:cxn>
                  <a:cxn ang="0">
                    <a:pos x="1" y="21"/>
                  </a:cxn>
                  <a:cxn ang="0">
                    <a:pos x="2" y="19"/>
                  </a:cxn>
                  <a:cxn ang="0">
                    <a:pos x="4" y="18"/>
                  </a:cxn>
                  <a:cxn ang="0">
                    <a:pos x="8" y="15"/>
                  </a:cxn>
                  <a:cxn ang="0">
                    <a:pos x="11" y="12"/>
                  </a:cxn>
                  <a:cxn ang="0">
                    <a:pos x="13" y="11"/>
                  </a:cxn>
                  <a:cxn ang="0">
                    <a:pos x="13" y="6"/>
                  </a:cxn>
                  <a:cxn ang="0">
                    <a:pos x="17" y="5"/>
                  </a:cxn>
                  <a:cxn ang="0">
                    <a:pos x="16" y="3"/>
                  </a:cxn>
                  <a:cxn ang="0">
                    <a:pos x="17" y="2"/>
                  </a:cxn>
                  <a:cxn ang="0">
                    <a:pos x="18" y="0"/>
                  </a:cxn>
                  <a:cxn ang="0">
                    <a:pos x="21" y="2"/>
                  </a:cxn>
                  <a:cxn ang="0">
                    <a:pos x="24" y="0"/>
                  </a:cxn>
                  <a:cxn ang="0">
                    <a:pos x="24" y="0"/>
                  </a:cxn>
                  <a:cxn ang="0">
                    <a:pos x="27" y="3"/>
                  </a:cxn>
                  <a:cxn ang="0">
                    <a:pos x="29" y="6"/>
                  </a:cxn>
                  <a:cxn ang="0">
                    <a:pos x="30" y="11"/>
                  </a:cxn>
                  <a:cxn ang="0">
                    <a:pos x="29" y="16"/>
                  </a:cxn>
                  <a:cxn ang="0">
                    <a:pos x="27" y="16"/>
                  </a:cxn>
                  <a:cxn ang="0">
                    <a:pos x="29" y="18"/>
                  </a:cxn>
                  <a:cxn ang="0">
                    <a:pos x="30" y="16"/>
                  </a:cxn>
                  <a:cxn ang="0">
                    <a:pos x="34" y="19"/>
                  </a:cxn>
                  <a:cxn ang="0">
                    <a:pos x="37" y="18"/>
                  </a:cxn>
                  <a:cxn ang="0">
                    <a:pos x="39" y="16"/>
                  </a:cxn>
                  <a:cxn ang="0">
                    <a:pos x="39" y="14"/>
                  </a:cxn>
                  <a:cxn ang="0">
                    <a:pos x="43" y="16"/>
                  </a:cxn>
                  <a:cxn ang="0">
                    <a:pos x="43" y="19"/>
                  </a:cxn>
                  <a:cxn ang="0">
                    <a:pos x="45" y="21"/>
                  </a:cxn>
                  <a:cxn ang="0">
                    <a:pos x="45" y="25"/>
                  </a:cxn>
                  <a:cxn ang="0">
                    <a:pos x="40" y="30"/>
                  </a:cxn>
                  <a:cxn ang="0">
                    <a:pos x="42" y="30"/>
                  </a:cxn>
                  <a:cxn ang="0">
                    <a:pos x="43" y="30"/>
                  </a:cxn>
                  <a:cxn ang="0">
                    <a:pos x="43" y="31"/>
                  </a:cxn>
                  <a:cxn ang="0">
                    <a:pos x="46" y="32"/>
                  </a:cxn>
                  <a:cxn ang="0">
                    <a:pos x="49" y="32"/>
                  </a:cxn>
                  <a:cxn ang="0">
                    <a:pos x="50" y="35"/>
                  </a:cxn>
                  <a:cxn ang="0">
                    <a:pos x="53" y="38"/>
                  </a:cxn>
                  <a:cxn ang="0">
                    <a:pos x="56" y="40"/>
                  </a:cxn>
                  <a:cxn ang="0">
                    <a:pos x="58" y="40"/>
                  </a:cxn>
                  <a:cxn ang="0">
                    <a:pos x="58" y="43"/>
                  </a:cxn>
                  <a:cxn ang="0">
                    <a:pos x="58" y="46"/>
                  </a:cxn>
                  <a:cxn ang="0">
                    <a:pos x="56" y="47"/>
                  </a:cxn>
                  <a:cxn ang="0">
                    <a:pos x="56" y="50"/>
                  </a:cxn>
                  <a:cxn ang="0">
                    <a:pos x="55" y="50"/>
                  </a:cxn>
                  <a:cxn ang="0">
                    <a:pos x="55" y="53"/>
                  </a:cxn>
                  <a:cxn ang="0">
                    <a:pos x="50" y="59"/>
                  </a:cxn>
                  <a:cxn ang="0">
                    <a:pos x="36" y="53"/>
                  </a:cxn>
                  <a:cxn ang="0">
                    <a:pos x="30" y="48"/>
                  </a:cxn>
                  <a:cxn ang="0">
                    <a:pos x="8" y="32"/>
                  </a:cxn>
                  <a:cxn ang="0">
                    <a:pos x="4" y="28"/>
                  </a:cxn>
                  <a:cxn ang="0">
                    <a:pos x="4" y="25"/>
                  </a:cxn>
                  <a:cxn ang="0">
                    <a:pos x="0" y="24"/>
                  </a:cxn>
                  <a:cxn ang="0">
                    <a:pos x="0" y="24"/>
                  </a:cxn>
                  <a:cxn ang="0">
                    <a:pos x="0" y="22"/>
                  </a:cxn>
                </a:cxnLst>
                <a:rect l="0" t="0" r="r" b="b"/>
                <a:pathLst>
                  <a:path w="58" h="60">
                    <a:moveTo>
                      <a:pt x="0" y="22"/>
                    </a:moveTo>
                    <a:lnTo>
                      <a:pt x="0" y="22"/>
                    </a:lnTo>
                    <a:lnTo>
                      <a:pt x="1" y="22"/>
                    </a:lnTo>
                    <a:lnTo>
                      <a:pt x="1" y="21"/>
                    </a:lnTo>
                    <a:lnTo>
                      <a:pt x="2" y="19"/>
                    </a:lnTo>
                    <a:lnTo>
                      <a:pt x="2" y="19"/>
                    </a:lnTo>
                    <a:lnTo>
                      <a:pt x="2" y="18"/>
                    </a:lnTo>
                    <a:lnTo>
                      <a:pt x="4" y="18"/>
                    </a:lnTo>
                    <a:lnTo>
                      <a:pt x="7" y="15"/>
                    </a:lnTo>
                    <a:lnTo>
                      <a:pt x="8" y="15"/>
                    </a:lnTo>
                    <a:lnTo>
                      <a:pt x="10" y="14"/>
                    </a:lnTo>
                    <a:lnTo>
                      <a:pt x="11" y="12"/>
                    </a:lnTo>
                    <a:lnTo>
                      <a:pt x="11" y="12"/>
                    </a:lnTo>
                    <a:lnTo>
                      <a:pt x="13" y="11"/>
                    </a:lnTo>
                    <a:lnTo>
                      <a:pt x="13" y="8"/>
                    </a:lnTo>
                    <a:lnTo>
                      <a:pt x="13" y="6"/>
                    </a:lnTo>
                    <a:lnTo>
                      <a:pt x="14" y="5"/>
                    </a:lnTo>
                    <a:lnTo>
                      <a:pt x="17" y="5"/>
                    </a:lnTo>
                    <a:lnTo>
                      <a:pt x="17" y="5"/>
                    </a:lnTo>
                    <a:lnTo>
                      <a:pt x="16" y="3"/>
                    </a:lnTo>
                    <a:lnTo>
                      <a:pt x="16" y="2"/>
                    </a:lnTo>
                    <a:lnTo>
                      <a:pt x="17" y="2"/>
                    </a:lnTo>
                    <a:lnTo>
                      <a:pt x="17" y="0"/>
                    </a:lnTo>
                    <a:lnTo>
                      <a:pt x="18" y="0"/>
                    </a:lnTo>
                    <a:lnTo>
                      <a:pt x="21" y="2"/>
                    </a:lnTo>
                    <a:lnTo>
                      <a:pt x="21" y="2"/>
                    </a:lnTo>
                    <a:lnTo>
                      <a:pt x="21" y="2"/>
                    </a:lnTo>
                    <a:lnTo>
                      <a:pt x="24" y="0"/>
                    </a:lnTo>
                    <a:lnTo>
                      <a:pt x="24" y="0"/>
                    </a:lnTo>
                    <a:lnTo>
                      <a:pt x="24" y="0"/>
                    </a:lnTo>
                    <a:lnTo>
                      <a:pt x="26" y="2"/>
                    </a:lnTo>
                    <a:lnTo>
                      <a:pt x="27" y="3"/>
                    </a:lnTo>
                    <a:lnTo>
                      <a:pt x="27" y="5"/>
                    </a:lnTo>
                    <a:lnTo>
                      <a:pt x="29" y="6"/>
                    </a:lnTo>
                    <a:lnTo>
                      <a:pt x="29" y="11"/>
                    </a:lnTo>
                    <a:lnTo>
                      <a:pt x="30" y="11"/>
                    </a:lnTo>
                    <a:lnTo>
                      <a:pt x="30" y="15"/>
                    </a:lnTo>
                    <a:lnTo>
                      <a:pt x="29" y="16"/>
                    </a:lnTo>
                    <a:lnTo>
                      <a:pt x="27" y="16"/>
                    </a:lnTo>
                    <a:lnTo>
                      <a:pt x="27" y="16"/>
                    </a:lnTo>
                    <a:lnTo>
                      <a:pt x="27" y="18"/>
                    </a:lnTo>
                    <a:lnTo>
                      <a:pt x="29" y="18"/>
                    </a:lnTo>
                    <a:lnTo>
                      <a:pt x="30" y="16"/>
                    </a:lnTo>
                    <a:lnTo>
                      <a:pt x="30" y="16"/>
                    </a:lnTo>
                    <a:lnTo>
                      <a:pt x="33" y="19"/>
                    </a:lnTo>
                    <a:lnTo>
                      <a:pt x="34" y="19"/>
                    </a:lnTo>
                    <a:lnTo>
                      <a:pt x="36" y="19"/>
                    </a:lnTo>
                    <a:lnTo>
                      <a:pt x="37" y="18"/>
                    </a:lnTo>
                    <a:lnTo>
                      <a:pt x="37" y="18"/>
                    </a:lnTo>
                    <a:lnTo>
                      <a:pt x="39" y="16"/>
                    </a:lnTo>
                    <a:lnTo>
                      <a:pt x="39" y="14"/>
                    </a:lnTo>
                    <a:lnTo>
                      <a:pt x="39" y="14"/>
                    </a:lnTo>
                    <a:lnTo>
                      <a:pt x="42" y="14"/>
                    </a:lnTo>
                    <a:lnTo>
                      <a:pt x="43" y="16"/>
                    </a:lnTo>
                    <a:lnTo>
                      <a:pt x="43" y="18"/>
                    </a:lnTo>
                    <a:lnTo>
                      <a:pt x="43" y="19"/>
                    </a:lnTo>
                    <a:lnTo>
                      <a:pt x="45" y="19"/>
                    </a:lnTo>
                    <a:lnTo>
                      <a:pt x="45" y="21"/>
                    </a:lnTo>
                    <a:lnTo>
                      <a:pt x="45" y="21"/>
                    </a:lnTo>
                    <a:lnTo>
                      <a:pt x="45" y="25"/>
                    </a:lnTo>
                    <a:lnTo>
                      <a:pt x="42" y="28"/>
                    </a:lnTo>
                    <a:lnTo>
                      <a:pt x="40" y="30"/>
                    </a:lnTo>
                    <a:lnTo>
                      <a:pt x="42" y="30"/>
                    </a:lnTo>
                    <a:lnTo>
                      <a:pt x="42" y="30"/>
                    </a:lnTo>
                    <a:lnTo>
                      <a:pt x="42" y="30"/>
                    </a:lnTo>
                    <a:lnTo>
                      <a:pt x="43" y="30"/>
                    </a:lnTo>
                    <a:lnTo>
                      <a:pt x="43" y="31"/>
                    </a:lnTo>
                    <a:lnTo>
                      <a:pt x="43" y="31"/>
                    </a:lnTo>
                    <a:lnTo>
                      <a:pt x="45" y="31"/>
                    </a:lnTo>
                    <a:lnTo>
                      <a:pt x="46" y="32"/>
                    </a:lnTo>
                    <a:lnTo>
                      <a:pt x="49" y="32"/>
                    </a:lnTo>
                    <a:lnTo>
                      <a:pt x="49" y="32"/>
                    </a:lnTo>
                    <a:lnTo>
                      <a:pt x="50" y="34"/>
                    </a:lnTo>
                    <a:lnTo>
                      <a:pt x="50" y="35"/>
                    </a:lnTo>
                    <a:lnTo>
                      <a:pt x="52" y="35"/>
                    </a:lnTo>
                    <a:lnTo>
                      <a:pt x="53" y="38"/>
                    </a:lnTo>
                    <a:lnTo>
                      <a:pt x="55" y="38"/>
                    </a:lnTo>
                    <a:lnTo>
                      <a:pt x="56" y="40"/>
                    </a:lnTo>
                    <a:lnTo>
                      <a:pt x="58" y="38"/>
                    </a:lnTo>
                    <a:lnTo>
                      <a:pt x="58" y="40"/>
                    </a:lnTo>
                    <a:lnTo>
                      <a:pt x="58" y="41"/>
                    </a:lnTo>
                    <a:lnTo>
                      <a:pt x="58" y="43"/>
                    </a:lnTo>
                    <a:lnTo>
                      <a:pt x="58" y="46"/>
                    </a:lnTo>
                    <a:lnTo>
                      <a:pt x="58" y="46"/>
                    </a:lnTo>
                    <a:lnTo>
                      <a:pt x="58" y="47"/>
                    </a:lnTo>
                    <a:lnTo>
                      <a:pt x="56" y="47"/>
                    </a:lnTo>
                    <a:lnTo>
                      <a:pt x="56" y="47"/>
                    </a:lnTo>
                    <a:lnTo>
                      <a:pt x="56" y="50"/>
                    </a:lnTo>
                    <a:lnTo>
                      <a:pt x="56" y="50"/>
                    </a:lnTo>
                    <a:lnTo>
                      <a:pt x="55" y="50"/>
                    </a:lnTo>
                    <a:lnTo>
                      <a:pt x="56" y="51"/>
                    </a:lnTo>
                    <a:lnTo>
                      <a:pt x="55" y="53"/>
                    </a:lnTo>
                    <a:lnTo>
                      <a:pt x="55" y="60"/>
                    </a:lnTo>
                    <a:lnTo>
                      <a:pt x="50" y="59"/>
                    </a:lnTo>
                    <a:lnTo>
                      <a:pt x="49" y="57"/>
                    </a:lnTo>
                    <a:lnTo>
                      <a:pt x="36" y="53"/>
                    </a:lnTo>
                    <a:lnTo>
                      <a:pt x="33" y="50"/>
                    </a:lnTo>
                    <a:lnTo>
                      <a:pt x="30" y="48"/>
                    </a:lnTo>
                    <a:lnTo>
                      <a:pt x="14" y="34"/>
                    </a:lnTo>
                    <a:lnTo>
                      <a:pt x="8" y="32"/>
                    </a:lnTo>
                    <a:lnTo>
                      <a:pt x="7" y="28"/>
                    </a:lnTo>
                    <a:lnTo>
                      <a:pt x="4" y="28"/>
                    </a:lnTo>
                    <a:lnTo>
                      <a:pt x="2" y="27"/>
                    </a:lnTo>
                    <a:lnTo>
                      <a:pt x="4" y="25"/>
                    </a:lnTo>
                    <a:lnTo>
                      <a:pt x="2" y="25"/>
                    </a:lnTo>
                    <a:lnTo>
                      <a:pt x="0" y="24"/>
                    </a:lnTo>
                    <a:lnTo>
                      <a:pt x="0" y="24"/>
                    </a:lnTo>
                    <a:lnTo>
                      <a:pt x="0" y="24"/>
                    </a:lnTo>
                    <a:lnTo>
                      <a:pt x="0" y="22"/>
                    </a:lnTo>
                    <a:lnTo>
                      <a:pt x="0" y="2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61" name="Freeform 1660"/>
              <p:cNvSpPr>
                <a:spLocks/>
              </p:cNvSpPr>
              <p:nvPr/>
            </p:nvSpPr>
            <p:spPr bwMode="auto">
              <a:xfrm>
                <a:off x="5969743" y="3147859"/>
                <a:ext cx="53546" cy="62876"/>
              </a:xfrm>
              <a:custGeom>
                <a:avLst/>
                <a:gdLst/>
                <a:ahLst/>
                <a:cxnLst>
                  <a:cxn ang="0">
                    <a:pos x="0" y="22"/>
                  </a:cxn>
                  <a:cxn ang="0">
                    <a:pos x="1" y="21"/>
                  </a:cxn>
                  <a:cxn ang="0">
                    <a:pos x="2" y="19"/>
                  </a:cxn>
                  <a:cxn ang="0">
                    <a:pos x="4" y="18"/>
                  </a:cxn>
                  <a:cxn ang="0">
                    <a:pos x="8" y="15"/>
                  </a:cxn>
                  <a:cxn ang="0">
                    <a:pos x="11" y="12"/>
                  </a:cxn>
                  <a:cxn ang="0">
                    <a:pos x="13" y="11"/>
                  </a:cxn>
                  <a:cxn ang="0">
                    <a:pos x="13" y="6"/>
                  </a:cxn>
                  <a:cxn ang="0">
                    <a:pos x="17" y="5"/>
                  </a:cxn>
                  <a:cxn ang="0">
                    <a:pos x="16" y="3"/>
                  </a:cxn>
                  <a:cxn ang="0">
                    <a:pos x="17" y="2"/>
                  </a:cxn>
                  <a:cxn ang="0">
                    <a:pos x="18" y="0"/>
                  </a:cxn>
                  <a:cxn ang="0">
                    <a:pos x="21" y="2"/>
                  </a:cxn>
                  <a:cxn ang="0">
                    <a:pos x="24" y="0"/>
                  </a:cxn>
                  <a:cxn ang="0">
                    <a:pos x="24" y="0"/>
                  </a:cxn>
                  <a:cxn ang="0">
                    <a:pos x="27" y="3"/>
                  </a:cxn>
                  <a:cxn ang="0">
                    <a:pos x="29" y="6"/>
                  </a:cxn>
                  <a:cxn ang="0">
                    <a:pos x="30" y="11"/>
                  </a:cxn>
                  <a:cxn ang="0">
                    <a:pos x="29" y="16"/>
                  </a:cxn>
                  <a:cxn ang="0">
                    <a:pos x="27" y="16"/>
                  </a:cxn>
                  <a:cxn ang="0">
                    <a:pos x="29" y="18"/>
                  </a:cxn>
                  <a:cxn ang="0">
                    <a:pos x="30" y="16"/>
                  </a:cxn>
                  <a:cxn ang="0">
                    <a:pos x="34" y="19"/>
                  </a:cxn>
                  <a:cxn ang="0">
                    <a:pos x="37" y="18"/>
                  </a:cxn>
                  <a:cxn ang="0">
                    <a:pos x="39" y="16"/>
                  </a:cxn>
                  <a:cxn ang="0">
                    <a:pos x="39" y="14"/>
                  </a:cxn>
                  <a:cxn ang="0">
                    <a:pos x="43" y="16"/>
                  </a:cxn>
                  <a:cxn ang="0">
                    <a:pos x="43" y="19"/>
                  </a:cxn>
                  <a:cxn ang="0">
                    <a:pos x="45" y="21"/>
                  </a:cxn>
                  <a:cxn ang="0">
                    <a:pos x="45" y="25"/>
                  </a:cxn>
                  <a:cxn ang="0">
                    <a:pos x="40" y="30"/>
                  </a:cxn>
                  <a:cxn ang="0">
                    <a:pos x="42" y="30"/>
                  </a:cxn>
                  <a:cxn ang="0">
                    <a:pos x="43" y="30"/>
                  </a:cxn>
                  <a:cxn ang="0">
                    <a:pos x="43" y="31"/>
                  </a:cxn>
                  <a:cxn ang="0">
                    <a:pos x="46" y="32"/>
                  </a:cxn>
                  <a:cxn ang="0">
                    <a:pos x="49" y="32"/>
                  </a:cxn>
                  <a:cxn ang="0">
                    <a:pos x="50" y="35"/>
                  </a:cxn>
                  <a:cxn ang="0">
                    <a:pos x="53" y="38"/>
                  </a:cxn>
                  <a:cxn ang="0">
                    <a:pos x="56" y="40"/>
                  </a:cxn>
                  <a:cxn ang="0">
                    <a:pos x="58" y="40"/>
                  </a:cxn>
                  <a:cxn ang="0">
                    <a:pos x="58" y="43"/>
                  </a:cxn>
                  <a:cxn ang="0">
                    <a:pos x="58" y="46"/>
                  </a:cxn>
                  <a:cxn ang="0">
                    <a:pos x="56" y="47"/>
                  </a:cxn>
                  <a:cxn ang="0">
                    <a:pos x="56" y="50"/>
                  </a:cxn>
                  <a:cxn ang="0">
                    <a:pos x="55" y="50"/>
                  </a:cxn>
                  <a:cxn ang="0">
                    <a:pos x="55" y="53"/>
                  </a:cxn>
                  <a:cxn ang="0">
                    <a:pos x="50" y="59"/>
                  </a:cxn>
                  <a:cxn ang="0">
                    <a:pos x="36" y="53"/>
                  </a:cxn>
                  <a:cxn ang="0">
                    <a:pos x="30" y="48"/>
                  </a:cxn>
                  <a:cxn ang="0">
                    <a:pos x="8" y="32"/>
                  </a:cxn>
                  <a:cxn ang="0">
                    <a:pos x="4" y="28"/>
                  </a:cxn>
                  <a:cxn ang="0">
                    <a:pos x="4" y="25"/>
                  </a:cxn>
                  <a:cxn ang="0">
                    <a:pos x="0" y="24"/>
                  </a:cxn>
                  <a:cxn ang="0">
                    <a:pos x="0" y="24"/>
                  </a:cxn>
                  <a:cxn ang="0">
                    <a:pos x="0" y="22"/>
                  </a:cxn>
                </a:cxnLst>
                <a:rect l="0" t="0" r="r" b="b"/>
                <a:pathLst>
                  <a:path w="58" h="60">
                    <a:moveTo>
                      <a:pt x="0" y="22"/>
                    </a:moveTo>
                    <a:lnTo>
                      <a:pt x="0" y="22"/>
                    </a:lnTo>
                    <a:lnTo>
                      <a:pt x="1" y="22"/>
                    </a:lnTo>
                    <a:lnTo>
                      <a:pt x="1" y="21"/>
                    </a:lnTo>
                    <a:lnTo>
                      <a:pt x="2" y="19"/>
                    </a:lnTo>
                    <a:lnTo>
                      <a:pt x="2" y="19"/>
                    </a:lnTo>
                    <a:lnTo>
                      <a:pt x="2" y="18"/>
                    </a:lnTo>
                    <a:lnTo>
                      <a:pt x="4" y="18"/>
                    </a:lnTo>
                    <a:lnTo>
                      <a:pt x="7" y="15"/>
                    </a:lnTo>
                    <a:lnTo>
                      <a:pt x="8" y="15"/>
                    </a:lnTo>
                    <a:lnTo>
                      <a:pt x="10" y="14"/>
                    </a:lnTo>
                    <a:lnTo>
                      <a:pt x="11" y="12"/>
                    </a:lnTo>
                    <a:lnTo>
                      <a:pt x="11" y="12"/>
                    </a:lnTo>
                    <a:lnTo>
                      <a:pt x="13" y="11"/>
                    </a:lnTo>
                    <a:lnTo>
                      <a:pt x="13" y="8"/>
                    </a:lnTo>
                    <a:lnTo>
                      <a:pt x="13" y="6"/>
                    </a:lnTo>
                    <a:lnTo>
                      <a:pt x="14" y="5"/>
                    </a:lnTo>
                    <a:lnTo>
                      <a:pt x="17" y="5"/>
                    </a:lnTo>
                    <a:lnTo>
                      <a:pt x="17" y="5"/>
                    </a:lnTo>
                    <a:lnTo>
                      <a:pt x="16" y="3"/>
                    </a:lnTo>
                    <a:lnTo>
                      <a:pt x="16" y="2"/>
                    </a:lnTo>
                    <a:lnTo>
                      <a:pt x="17" y="2"/>
                    </a:lnTo>
                    <a:lnTo>
                      <a:pt x="17" y="0"/>
                    </a:lnTo>
                    <a:lnTo>
                      <a:pt x="18" y="0"/>
                    </a:lnTo>
                    <a:lnTo>
                      <a:pt x="21" y="2"/>
                    </a:lnTo>
                    <a:lnTo>
                      <a:pt x="21" y="2"/>
                    </a:lnTo>
                    <a:lnTo>
                      <a:pt x="21" y="2"/>
                    </a:lnTo>
                    <a:lnTo>
                      <a:pt x="24" y="0"/>
                    </a:lnTo>
                    <a:lnTo>
                      <a:pt x="24" y="0"/>
                    </a:lnTo>
                    <a:lnTo>
                      <a:pt x="24" y="0"/>
                    </a:lnTo>
                    <a:lnTo>
                      <a:pt x="26" y="2"/>
                    </a:lnTo>
                    <a:lnTo>
                      <a:pt x="27" y="3"/>
                    </a:lnTo>
                    <a:lnTo>
                      <a:pt x="27" y="5"/>
                    </a:lnTo>
                    <a:lnTo>
                      <a:pt x="29" y="6"/>
                    </a:lnTo>
                    <a:lnTo>
                      <a:pt x="29" y="11"/>
                    </a:lnTo>
                    <a:lnTo>
                      <a:pt x="30" y="11"/>
                    </a:lnTo>
                    <a:lnTo>
                      <a:pt x="30" y="15"/>
                    </a:lnTo>
                    <a:lnTo>
                      <a:pt x="29" y="16"/>
                    </a:lnTo>
                    <a:lnTo>
                      <a:pt x="27" y="16"/>
                    </a:lnTo>
                    <a:lnTo>
                      <a:pt x="27" y="16"/>
                    </a:lnTo>
                    <a:lnTo>
                      <a:pt x="27" y="18"/>
                    </a:lnTo>
                    <a:lnTo>
                      <a:pt x="29" y="18"/>
                    </a:lnTo>
                    <a:lnTo>
                      <a:pt x="30" y="16"/>
                    </a:lnTo>
                    <a:lnTo>
                      <a:pt x="30" y="16"/>
                    </a:lnTo>
                    <a:lnTo>
                      <a:pt x="33" y="19"/>
                    </a:lnTo>
                    <a:lnTo>
                      <a:pt x="34" y="19"/>
                    </a:lnTo>
                    <a:lnTo>
                      <a:pt x="36" y="19"/>
                    </a:lnTo>
                    <a:lnTo>
                      <a:pt x="37" y="18"/>
                    </a:lnTo>
                    <a:lnTo>
                      <a:pt x="37" y="18"/>
                    </a:lnTo>
                    <a:lnTo>
                      <a:pt x="39" y="16"/>
                    </a:lnTo>
                    <a:lnTo>
                      <a:pt x="39" y="14"/>
                    </a:lnTo>
                    <a:lnTo>
                      <a:pt x="39" y="14"/>
                    </a:lnTo>
                    <a:lnTo>
                      <a:pt x="42" y="14"/>
                    </a:lnTo>
                    <a:lnTo>
                      <a:pt x="43" y="16"/>
                    </a:lnTo>
                    <a:lnTo>
                      <a:pt x="43" y="18"/>
                    </a:lnTo>
                    <a:lnTo>
                      <a:pt x="43" y="19"/>
                    </a:lnTo>
                    <a:lnTo>
                      <a:pt x="45" y="19"/>
                    </a:lnTo>
                    <a:lnTo>
                      <a:pt x="45" y="21"/>
                    </a:lnTo>
                    <a:lnTo>
                      <a:pt x="45" y="21"/>
                    </a:lnTo>
                    <a:lnTo>
                      <a:pt x="45" y="25"/>
                    </a:lnTo>
                    <a:lnTo>
                      <a:pt x="42" y="28"/>
                    </a:lnTo>
                    <a:lnTo>
                      <a:pt x="40" y="30"/>
                    </a:lnTo>
                    <a:lnTo>
                      <a:pt x="42" y="30"/>
                    </a:lnTo>
                    <a:lnTo>
                      <a:pt x="42" y="30"/>
                    </a:lnTo>
                    <a:lnTo>
                      <a:pt x="42" y="30"/>
                    </a:lnTo>
                    <a:lnTo>
                      <a:pt x="43" y="30"/>
                    </a:lnTo>
                    <a:lnTo>
                      <a:pt x="43" y="31"/>
                    </a:lnTo>
                    <a:lnTo>
                      <a:pt x="43" y="31"/>
                    </a:lnTo>
                    <a:lnTo>
                      <a:pt x="45" y="31"/>
                    </a:lnTo>
                    <a:lnTo>
                      <a:pt x="46" y="32"/>
                    </a:lnTo>
                    <a:lnTo>
                      <a:pt x="49" y="32"/>
                    </a:lnTo>
                    <a:lnTo>
                      <a:pt x="49" y="32"/>
                    </a:lnTo>
                    <a:lnTo>
                      <a:pt x="50" y="34"/>
                    </a:lnTo>
                    <a:lnTo>
                      <a:pt x="50" y="35"/>
                    </a:lnTo>
                    <a:lnTo>
                      <a:pt x="52" y="35"/>
                    </a:lnTo>
                    <a:lnTo>
                      <a:pt x="53" y="38"/>
                    </a:lnTo>
                    <a:lnTo>
                      <a:pt x="55" y="38"/>
                    </a:lnTo>
                    <a:lnTo>
                      <a:pt x="56" y="40"/>
                    </a:lnTo>
                    <a:lnTo>
                      <a:pt x="58" y="38"/>
                    </a:lnTo>
                    <a:lnTo>
                      <a:pt x="58" y="40"/>
                    </a:lnTo>
                    <a:lnTo>
                      <a:pt x="58" y="41"/>
                    </a:lnTo>
                    <a:lnTo>
                      <a:pt x="58" y="43"/>
                    </a:lnTo>
                    <a:lnTo>
                      <a:pt x="58" y="46"/>
                    </a:lnTo>
                    <a:lnTo>
                      <a:pt x="58" y="46"/>
                    </a:lnTo>
                    <a:lnTo>
                      <a:pt x="58" y="47"/>
                    </a:lnTo>
                    <a:lnTo>
                      <a:pt x="56" y="47"/>
                    </a:lnTo>
                    <a:lnTo>
                      <a:pt x="56" y="47"/>
                    </a:lnTo>
                    <a:lnTo>
                      <a:pt x="56" y="50"/>
                    </a:lnTo>
                    <a:lnTo>
                      <a:pt x="56" y="50"/>
                    </a:lnTo>
                    <a:lnTo>
                      <a:pt x="55" y="50"/>
                    </a:lnTo>
                    <a:lnTo>
                      <a:pt x="56" y="51"/>
                    </a:lnTo>
                    <a:lnTo>
                      <a:pt x="55" y="53"/>
                    </a:lnTo>
                    <a:lnTo>
                      <a:pt x="55" y="60"/>
                    </a:lnTo>
                    <a:lnTo>
                      <a:pt x="50" y="59"/>
                    </a:lnTo>
                    <a:lnTo>
                      <a:pt x="49" y="57"/>
                    </a:lnTo>
                    <a:lnTo>
                      <a:pt x="36" y="53"/>
                    </a:lnTo>
                    <a:lnTo>
                      <a:pt x="33" y="50"/>
                    </a:lnTo>
                    <a:lnTo>
                      <a:pt x="30" y="48"/>
                    </a:lnTo>
                    <a:lnTo>
                      <a:pt x="14" y="34"/>
                    </a:lnTo>
                    <a:lnTo>
                      <a:pt x="8" y="32"/>
                    </a:lnTo>
                    <a:lnTo>
                      <a:pt x="7" y="28"/>
                    </a:lnTo>
                    <a:lnTo>
                      <a:pt x="4" y="28"/>
                    </a:lnTo>
                    <a:lnTo>
                      <a:pt x="2" y="27"/>
                    </a:lnTo>
                    <a:lnTo>
                      <a:pt x="4" y="25"/>
                    </a:lnTo>
                    <a:lnTo>
                      <a:pt x="2" y="25"/>
                    </a:lnTo>
                    <a:lnTo>
                      <a:pt x="0" y="24"/>
                    </a:lnTo>
                    <a:lnTo>
                      <a:pt x="0" y="24"/>
                    </a:lnTo>
                    <a:lnTo>
                      <a:pt x="0" y="24"/>
                    </a:lnTo>
                    <a:lnTo>
                      <a:pt x="0" y="22"/>
                    </a:lnTo>
                    <a:lnTo>
                      <a:pt x="0" y="2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62" name="Freeform 1661"/>
              <p:cNvSpPr>
                <a:spLocks/>
              </p:cNvSpPr>
              <p:nvPr/>
            </p:nvSpPr>
            <p:spPr bwMode="auto">
              <a:xfrm>
                <a:off x="6076835" y="3109322"/>
                <a:ext cx="58813" cy="97357"/>
              </a:xfrm>
              <a:custGeom>
                <a:avLst/>
                <a:gdLst/>
                <a:ahLst/>
                <a:cxnLst>
                  <a:cxn ang="0">
                    <a:pos x="63" y="72"/>
                  </a:cxn>
                  <a:cxn ang="0">
                    <a:pos x="52" y="24"/>
                  </a:cxn>
                  <a:cxn ang="0">
                    <a:pos x="50" y="14"/>
                  </a:cxn>
                  <a:cxn ang="0">
                    <a:pos x="44" y="7"/>
                  </a:cxn>
                  <a:cxn ang="0">
                    <a:pos x="45" y="4"/>
                  </a:cxn>
                  <a:cxn ang="0">
                    <a:pos x="45" y="1"/>
                  </a:cxn>
                  <a:cxn ang="0">
                    <a:pos x="44" y="1"/>
                  </a:cxn>
                  <a:cxn ang="0">
                    <a:pos x="42" y="0"/>
                  </a:cxn>
                  <a:cxn ang="0">
                    <a:pos x="35" y="3"/>
                  </a:cxn>
                  <a:cxn ang="0">
                    <a:pos x="6" y="3"/>
                  </a:cxn>
                  <a:cxn ang="0">
                    <a:pos x="5" y="7"/>
                  </a:cxn>
                  <a:cxn ang="0">
                    <a:pos x="6" y="10"/>
                  </a:cxn>
                  <a:cxn ang="0">
                    <a:pos x="6" y="11"/>
                  </a:cxn>
                  <a:cxn ang="0">
                    <a:pos x="7" y="17"/>
                  </a:cxn>
                  <a:cxn ang="0">
                    <a:pos x="7" y="23"/>
                  </a:cxn>
                  <a:cxn ang="0">
                    <a:pos x="7" y="26"/>
                  </a:cxn>
                  <a:cxn ang="0">
                    <a:pos x="7" y="29"/>
                  </a:cxn>
                  <a:cxn ang="0">
                    <a:pos x="7" y="29"/>
                  </a:cxn>
                  <a:cxn ang="0">
                    <a:pos x="12" y="42"/>
                  </a:cxn>
                  <a:cxn ang="0">
                    <a:pos x="10" y="43"/>
                  </a:cxn>
                  <a:cxn ang="0">
                    <a:pos x="7" y="45"/>
                  </a:cxn>
                  <a:cxn ang="0">
                    <a:pos x="5" y="51"/>
                  </a:cxn>
                  <a:cxn ang="0">
                    <a:pos x="3" y="58"/>
                  </a:cxn>
                  <a:cxn ang="0">
                    <a:pos x="2" y="61"/>
                  </a:cxn>
                  <a:cxn ang="0">
                    <a:pos x="3" y="77"/>
                  </a:cxn>
                  <a:cxn ang="0">
                    <a:pos x="6" y="78"/>
                  </a:cxn>
                  <a:cxn ang="0">
                    <a:pos x="7" y="85"/>
                  </a:cxn>
                  <a:cxn ang="0">
                    <a:pos x="5" y="85"/>
                  </a:cxn>
                  <a:cxn ang="0">
                    <a:pos x="3" y="85"/>
                  </a:cxn>
                  <a:cxn ang="0">
                    <a:pos x="18" y="93"/>
                  </a:cxn>
                  <a:cxn ang="0">
                    <a:pos x="36" y="85"/>
                  </a:cxn>
                  <a:cxn ang="0">
                    <a:pos x="57" y="77"/>
                  </a:cxn>
                  <a:cxn ang="0">
                    <a:pos x="60" y="78"/>
                  </a:cxn>
                  <a:cxn ang="0">
                    <a:pos x="64" y="74"/>
                  </a:cxn>
                </a:cxnLst>
                <a:rect l="0" t="0" r="r" b="b"/>
                <a:pathLst>
                  <a:path w="64" h="93">
                    <a:moveTo>
                      <a:pt x="64" y="74"/>
                    </a:moveTo>
                    <a:lnTo>
                      <a:pt x="63" y="72"/>
                    </a:lnTo>
                    <a:lnTo>
                      <a:pt x="57" y="65"/>
                    </a:lnTo>
                    <a:lnTo>
                      <a:pt x="52" y="24"/>
                    </a:lnTo>
                    <a:lnTo>
                      <a:pt x="51" y="23"/>
                    </a:lnTo>
                    <a:lnTo>
                      <a:pt x="50" y="14"/>
                    </a:lnTo>
                    <a:lnTo>
                      <a:pt x="47" y="8"/>
                    </a:lnTo>
                    <a:lnTo>
                      <a:pt x="44" y="7"/>
                    </a:lnTo>
                    <a:lnTo>
                      <a:pt x="44" y="5"/>
                    </a:lnTo>
                    <a:lnTo>
                      <a:pt x="45" y="4"/>
                    </a:lnTo>
                    <a:lnTo>
                      <a:pt x="45" y="3"/>
                    </a:lnTo>
                    <a:lnTo>
                      <a:pt x="45" y="1"/>
                    </a:lnTo>
                    <a:lnTo>
                      <a:pt x="45" y="1"/>
                    </a:lnTo>
                    <a:lnTo>
                      <a:pt x="44" y="1"/>
                    </a:lnTo>
                    <a:lnTo>
                      <a:pt x="42" y="1"/>
                    </a:lnTo>
                    <a:lnTo>
                      <a:pt x="42" y="0"/>
                    </a:lnTo>
                    <a:lnTo>
                      <a:pt x="38" y="1"/>
                    </a:lnTo>
                    <a:lnTo>
                      <a:pt x="35" y="3"/>
                    </a:lnTo>
                    <a:lnTo>
                      <a:pt x="34" y="3"/>
                    </a:lnTo>
                    <a:lnTo>
                      <a:pt x="6" y="3"/>
                    </a:lnTo>
                    <a:lnTo>
                      <a:pt x="5" y="4"/>
                    </a:lnTo>
                    <a:lnTo>
                      <a:pt x="5" y="7"/>
                    </a:lnTo>
                    <a:lnTo>
                      <a:pt x="5" y="8"/>
                    </a:lnTo>
                    <a:lnTo>
                      <a:pt x="6" y="10"/>
                    </a:lnTo>
                    <a:lnTo>
                      <a:pt x="6" y="11"/>
                    </a:lnTo>
                    <a:lnTo>
                      <a:pt x="6" y="11"/>
                    </a:lnTo>
                    <a:lnTo>
                      <a:pt x="6" y="14"/>
                    </a:lnTo>
                    <a:lnTo>
                      <a:pt x="7" y="17"/>
                    </a:lnTo>
                    <a:lnTo>
                      <a:pt x="7" y="21"/>
                    </a:lnTo>
                    <a:lnTo>
                      <a:pt x="7" y="23"/>
                    </a:lnTo>
                    <a:lnTo>
                      <a:pt x="7" y="24"/>
                    </a:lnTo>
                    <a:lnTo>
                      <a:pt x="7" y="26"/>
                    </a:lnTo>
                    <a:lnTo>
                      <a:pt x="9" y="27"/>
                    </a:lnTo>
                    <a:lnTo>
                      <a:pt x="7" y="29"/>
                    </a:lnTo>
                    <a:lnTo>
                      <a:pt x="7" y="29"/>
                    </a:lnTo>
                    <a:lnTo>
                      <a:pt x="7" y="29"/>
                    </a:lnTo>
                    <a:lnTo>
                      <a:pt x="9" y="30"/>
                    </a:lnTo>
                    <a:lnTo>
                      <a:pt x="12" y="42"/>
                    </a:lnTo>
                    <a:lnTo>
                      <a:pt x="10" y="42"/>
                    </a:lnTo>
                    <a:lnTo>
                      <a:pt x="10" y="43"/>
                    </a:lnTo>
                    <a:lnTo>
                      <a:pt x="9" y="43"/>
                    </a:lnTo>
                    <a:lnTo>
                      <a:pt x="7" y="45"/>
                    </a:lnTo>
                    <a:lnTo>
                      <a:pt x="7" y="45"/>
                    </a:lnTo>
                    <a:lnTo>
                      <a:pt x="5" y="51"/>
                    </a:lnTo>
                    <a:lnTo>
                      <a:pt x="5" y="56"/>
                    </a:lnTo>
                    <a:lnTo>
                      <a:pt x="3" y="58"/>
                    </a:lnTo>
                    <a:lnTo>
                      <a:pt x="2" y="59"/>
                    </a:lnTo>
                    <a:lnTo>
                      <a:pt x="2" y="61"/>
                    </a:lnTo>
                    <a:lnTo>
                      <a:pt x="0" y="68"/>
                    </a:lnTo>
                    <a:lnTo>
                      <a:pt x="3" y="77"/>
                    </a:lnTo>
                    <a:lnTo>
                      <a:pt x="5" y="78"/>
                    </a:lnTo>
                    <a:lnTo>
                      <a:pt x="6" y="78"/>
                    </a:lnTo>
                    <a:lnTo>
                      <a:pt x="7" y="78"/>
                    </a:lnTo>
                    <a:lnTo>
                      <a:pt x="7" y="85"/>
                    </a:lnTo>
                    <a:lnTo>
                      <a:pt x="6" y="85"/>
                    </a:lnTo>
                    <a:lnTo>
                      <a:pt x="5" y="85"/>
                    </a:lnTo>
                    <a:lnTo>
                      <a:pt x="3" y="85"/>
                    </a:lnTo>
                    <a:lnTo>
                      <a:pt x="3" y="85"/>
                    </a:lnTo>
                    <a:lnTo>
                      <a:pt x="2" y="87"/>
                    </a:lnTo>
                    <a:lnTo>
                      <a:pt x="18" y="93"/>
                    </a:lnTo>
                    <a:lnTo>
                      <a:pt x="25" y="88"/>
                    </a:lnTo>
                    <a:lnTo>
                      <a:pt x="36" y="85"/>
                    </a:lnTo>
                    <a:lnTo>
                      <a:pt x="50" y="78"/>
                    </a:lnTo>
                    <a:lnTo>
                      <a:pt x="57" y="77"/>
                    </a:lnTo>
                    <a:lnTo>
                      <a:pt x="57" y="78"/>
                    </a:lnTo>
                    <a:lnTo>
                      <a:pt x="60" y="78"/>
                    </a:lnTo>
                    <a:lnTo>
                      <a:pt x="63" y="74"/>
                    </a:lnTo>
                    <a:lnTo>
                      <a:pt x="64" y="7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63" name="Freeform 1662"/>
              <p:cNvSpPr>
                <a:spLocks/>
              </p:cNvSpPr>
              <p:nvPr/>
            </p:nvSpPr>
            <p:spPr bwMode="auto">
              <a:xfrm>
                <a:off x="6076835" y="3109322"/>
                <a:ext cx="58813" cy="97357"/>
              </a:xfrm>
              <a:custGeom>
                <a:avLst/>
                <a:gdLst/>
                <a:ahLst/>
                <a:cxnLst>
                  <a:cxn ang="0">
                    <a:pos x="63" y="72"/>
                  </a:cxn>
                  <a:cxn ang="0">
                    <a:pos x="52" y="24"/>
                  </a:cxn>
                  <a:cxn ang="0">
                    <a:pos x="50" y="14"/>
                  </a:cxn>
                  <a:cxn ang="0">
                    <a:pos x="44" y="7"/>
                  </a:cxn>
                  <a:cxn ang="0">
                    <a:pos x="45" y="4"/>
                  </a:cxn>
                  <a:cxn ang="0">
                    <a:pos x="45" y="1"/>
                  </a:cxn>
                  <a:cxn ang="0">
                    <a:pos x="44" y="1"/>
                  </a:cxn>
                  <a:cxn ang="0">
                    <a:pos x="42" y="0"/>
                  </a:cxn>
                  <a:cxn ang="0">
                    <a:pos x="35" y="3"/>
                  </a:cxn>
                  <a:cxn ang="0">
                    <a:pos x="6" y="3"/>
                  </a:cxn>
                  <a:cxn ang="0">
                    <a:pos x="5" y="7"/>
                  </a:cxn>
                  <a:cxn ang="0">
                    <a:pos x="6" y="10"/>
                  </a:cxn>
                  <a:cxn ang="0">
                    <a:pos x="6" y="11"/>
                  </a:cxn>
                  <a:cxn ang="0">
                    <a:pos x="7" y="17"/>
                  </a:cxn>
                  <a:cxn ang="0">
                    <a:pos x="7" y="23"/>
                  </a:cxn>
                  <a:cxn ang="0">
                    <a:pos x="7" y="26"/>
                  </a:cxn>
                  <a:cxn ang="0">
                    <a:pos x="7" y="29"/>
                  </a:cxn>
                  <a:cxn ang="0">
                    <a:pos x="7" y="29"/>
                  </a:cxn>
                  <a:cxn ang="0">
                    <a:pos x="12" y="42"/>
                  </a:cxn>
                  <a:cxn ang="0">
                    <a:pos x="10" y="43"/>
                  </a:cxn>
                  <a:cxn ang="0">
                    <a:pos x="7" y="45"/>
                  </a:cxn>
                  <a:cxn ang="0">
                    <a:pos x="5" y="51"/>
                  </a:cxn>
                  <a:cxn ang="0">
                    <a:pos x="3" y="58"/>
                  </a:cxn>
                  <a:cxn ang="0">
                    <a:pos x="2" y="61"/>
                  </a:cxn>
                  <a:cxn ang="0">
                    <a:pos x="3" y="77"/>
                  </a:cxn>
                  <a:cxn ang="0">
                    <a:pos x="6" y="78"/>
                  </a:cxn>
                  <a:cxn ang="0">
                    <a:pos x="7" y="85"/>
                  </a:cxn>
                  <a:cxn ang="0">
                    <a:pos x="5" y="85"/>
                  </a:cxn>
                  <a:cxn ang="0">
                    <a:pos x="3" y="85"/>
                  </a:cxn>
                  <a:cxn ang="0">
                    <a:pos x="18" y="93"/>
                  </a:cxn>
                  <a:cxn ang="0">
                    <a:pos x="36" y="85"/>
                  </a:cxn>
                  <a:cxn ang="0">
                    <a:pos x="57" y="77"/>
                  </a:cxn>
                  <a:cxn ang="0">
                    <a:pos x="60" y="78"/>
                  </a:cxn>
                  <a:cxn ang="0">
                    <a:pos x="64" y="74"/>
                  </a:cxn>
                </a:cxnLst>
                <a:rect l="0" t="0" r="r" b="b"/>
                <a:pathLst>
                  <a:path w="64" h="93">
                    <a:moveTo>
                      <a:pt x="64" y="74"/>
                    </a:moveTo>
                    <a:lnTo>
                      <a:pt x="63" y="72"/>
                    </a:lnTo>
                    <a:lnTo>
                      <a:pt x="57" y="65"/>
                    </a:lnTo>
                    <a:lnTo>
                      <a:pt x="52" y="24"/>
                    </a:lnTo>
                    <a:lnTo>
                      <a:pt x="51" y="23"/>
                    </a:lnTo>
                    <a:lnTo>
                      <a:pt x="50" y="14"/>
                    </a:lnTo>
                    <a:lnTo>
                      <a:pt x="47" y="8"/>
                    </a:lnTo>
                    <a:lnTo>
                      <a:pt x="44" y="7"/>
                    </a:lnTo>
                    <a:lnTo>
                      <a:pt x="44" y="5"/>
                    </a:lnTo>
                    <a:lnTo>
                      <a:pt x="45" y="4"/>
                    </a:lnTo>
                    <a:lnTo>
                      <a:pt x="45" y="3"/>
                    </a:lnTo>
                    <a:lnTo>
                      <a:pt x="45" y="1"/>
                    </a:lnTo>
                    <a:lnTo>
                      <a:pt x="45" y="1"/>
                    </a:lnTo>
                    <a:lnTo>
                      <a:pt x="44" y="1"/>
                    </a:lnTo>
                    <a:lnTo>
                      <a:pt x="42" y="1"/>
                    </a:lnTo>
                    <a:lnTo>
                      <a:pt x="42" y="0"/>
                    </a:lnTo>
                    <a:lnTo>
                      <a:pt x="38" y="1"/>
                    </a:lnTo>
                    <a:lnTo>
                      <a:pt x="35" y="3"/>
                    </a:lnTo>
                    <a:lnTo>
                      <a:pt x="34" y="3"/>
                    </a:lnTo>
                    <a:lnTo>
                      <a:pt x="6" y="3"/>
                    </a:lnTo>
                    <a:lnTo>
                      <a:pt x="5" y="4"/>
                    </a:lnTo>
                    <a:lnTo>
                      <a:pt x="5" y="7"/>
                    </a:lnTo>
                    <a:lnTo>
                      <a:pt x="5" y="8"/>
                    </a:lnTo>
                    <a:lnTo>
                      <a:pt x="6" y="10"/>
                    </a:lnTo>
                    <a:lnTo>
                      <a:pt x="6" y="11"/>
                    </a:lnTo>
                    <a:lnTo>
                      <a:pt x="6" y="11"/>
                    </a:lnTo>
                    <a:lnTo>
                      <a:pt x="6" y="14"/>
                    </a:lnTo>
                    <a:lnTo>
                      <a:pt x="7" y="17"/>
                    </a:lnTo>
                    <a:lnTo>
                      <a:pt x="7" y="21"/>
                    </a:lnTo>
                    <a:lnTo>
                      <a:pt x="7" y="23"/>
                    </a:lnTo>
                    <a:lnTo>
                      <a:pt x="7" y="24"/>
                    </a:lnTo>
                    <a:lnTo>
                      <a:pt x="7" y="26"/>
                    </a:lnTo>
                    <a:lnTo>
                      <a:pt x="9" y="27"/>
                    </a:lnTo>
                    <a:lnTo>
                      <a:pt x="7" y="29"/>
                    </a:lnTo>
                    <a:lnTo>
                      <a:pt x="7" y="29"/>
                    </a:lnTo>
                    <a:lnTo>
                      <a:pt x="7" y="29"/>
                    </a:lnTo>
                    <a:lnTo>
                      <a:pt x="9" y="30"/>
                    </a:lnTo>
                    <a:lnTo>
                      <a:pt x="12" y="42"/>
                    </a:lnTo>
                    <a:lnTo>
                      <a:pt x="10" y="42"/>
                    </a:lnTo>
                    <a:lnTo>
                      <a:pt x="10" y="43"/>
                    </a:lnTo>
                    <a:lnTo>
                      <a:pt x="9" y="43"/>
                    </a:lnTo>
                    <a:lnTo>
                      <a:pt x="7" y="45"/>
                    </a:lnTo>
                    <a:lnTo>
                      <a:pt x="7" y="45"/>
                    </a:lnTo>
                    <a:lnTo>
                      <a:pt x="5" y="51"/>
                    </a:lnTo>
                    <a:lnTo>
                      <a:pt x="5" y="56"/>
                    </a:lnTo>
                    <a:lnTo>
                      <a:pt x="3" y="58"/>
                    </a:lnTo>
                    <a:lnTo>
                      <a:pt x="2" y="59"/>
                    </a:lnTo>
                    <a:lnTo>
                      <a:pt x="2" y="61"/>
                    </a:lnTo>
                    <a:lnTo>
                      <a:pt x="0" y="68"/>
                    </a:lnTo>
                    <a:lnTo>
                      <a:pt x="3" y="77"/>
                    </a:lnTo>
                    <a:lnTo>
                      <a:pt x="5" y="78"/>
                    </a:lnTo>
                    <a:lnTo>
                      <a:pt x="6" y="78"/>
                    </a:lnTo>
                    <a:lnTo>
                      <a:pt x="7" y="78"/>
                    </a:lnTo>
                    <a:lnTo>
                      <a:pt x="7" y="85"/>
                    </a:lnTo>
                    <a:lnTo>
                      <a:pt x="6" y="85"/>
                    </a:lnTo>
                    <a:lnTo>
                      <a:pt x="5" y="85"/>
                    </a:lnTo>
                    <a:lnTo>
                      <a:pt x="3" y="85"/>
                    </a:lnTo>
                    <a:lnTo>
                      <a:pt x="3" y="85"/>
                    </a:lnTo>
                    <a:lnTo>
                      <a:pt x="2" y="87"/>
                    </a:lnTo>
                    <a:lnTo>
                      <a:pt x="18" y="93"/>
                    </a:lnTo>
                    <a:lnTo>
                      <a:pt x="25" y="88"/>
                    </a:lnTo>
                    <a:lnTo>
                      <a:pt x="36" y="85"/>
                    </a:lnTo>
                    <a:lnTo>
                      <a:pt x="50" y="78"/>
                    </a:lnTo>
                    <a:lnTo>
                      <a:pt x="57" y="77"/>
                    </a:lnTo>
                    <a:lnTo>
                      <a:pt x="57" y="78"/>
                    </a:lnTo>
                    <a:lnTo>
                      <a:pt x="60" y="78"/>
                    </a:lnTo>
                    <a:lnTo>
                      <a:pt x="63" y="74"/>
                    </a:lnTo>
                    <a:lnTo>
                      <a:pt x="64" y="7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64" name="Freeform 1663"/>
              <p:cNvSpPr>
                <a:spLocks/>
              </p:cNvSpPr>
              <p:nvPr/>
            </p:nvSpPr>
            <p:spPr bwMode="auto">
              <a:xfrm>
                <a:off x="6154081" y="3069771"/>
                <a:ext cx="152737" cy="144007"/>
              </a:xfrm>
              <a:custGeom>
                <a:avLst/>
                <a:gdLst/>
                <a:ahLst/>
                <a:cxnLst>
                  <a:cxn ang="0">
                    <a:pos x="12" y="19"/>
                  </a:cxn>
                  <a:cxn ang="0">
                    <a:pos x="13" y="16"/>
                  </a:cxn>
                  <a:cxn ang="0">
                    <a:pos x="18" y="14"/>
                  </a:cxn>
                  <a:cxn ang="0">
                    <a:pos x="25" y="1"/>
                  </a:cxn>
                  <a:cxn ang="0">
                    <a:pos x="51" y="4"/>
                  </a:cxn>
                  <a:cxn ang="0">
                    <a:pos x="60" y="12"/>
                  </a:cxn>
                  <a:cxn ang="0">
                    <a:pos x="64" y="9"/>
                  </a:cxn>
                  <a:cxn ang="0">
                    <a:pos x="74" y="6"/>
                  </a:cxn>
                  <a:cxn ang="0">
                    <a:pos x="93" y="14"/>
                  </a:cxn>
                  <a:cxn ang="0">
                    <a:pos x="108" y="6"/>
                  </a:cxn>
                  <a:cxn ang="0">
                    <a:pos x="134" y="9"/>
                  </a:cxn>
                  <a:cxn ang="0">
                    <a:pos x="138" y="7"/>
                  </a:cxn>
                  <a:cxn ang="0">
                    <a:pos x="141" y="4"/>
                  </a:cxn>
                  <a:cxn ang="0">
                    <a:pos x="144" y="3"/>
                  </a:cxn>
                  <a:cxn ang="0">
                    <a:pos x="148" y="0"/>
                  </a:cxn>
                  <a:cxn ang="0">
                    <a:pos x="148" y="0"/>
                  </a:cxn>
                  <a:cxn ang="0">
                    <a:pos x="156" y="9"/>
                  </a:cxn>
                  <a:cxn ang="0">
                    <a:pos x="162" y="19"/>
                  </a:cxn>
                  <a:cxn ang="0">
                    <a:pos x="164" y="20"/>
                  </a:cxn>
                  <a:cxn ang="0">
                    <a:pos x="166" y="22"/>
                  </a:cxn>
                  <a:cxn ang="0">
                    <a:pos x="162" y="33"/>
                  </a:cxn>
                  <a:cxn ang="0">
                    <a:pos x="156" y="36"/>
                  </a:cxn>
                  <a:cxn ang="0">
                    <a:pos x="143" y="73"/>
                  </a:cxn>
                  <a:cxn ang="0">
                    <a:pos x="135" y="77"/>
                  </a:cxn>
                  <a:cxn ang="0">
                    <a:pos x="122" y="106"/>
                  </a:cxn>
                  <a:cxn ang="0">
                    <a:pos x="117" y="103"/>
                  </a:cxn>
                  <a:cxn ang="0">
                    <a:pos x="115" y="102"/>
                  </a:cxn>
                  <a:cxn ang="0">
                    <a:pos x="111" y="99"/>
                  </a:cxn>
                  <a:cxn ang="0">
                    <a:pos x="98" y="100"/>
                  </a:cxn>
                  <a:cxn ang="0">
                    <a:pos x="93" y="105"/>
                  </a:cxn>
                  <a:cxn ang="0">
                    <a:pos x="86" y="118"/>
                  </a:cxn>
                  <a:cxn ang="0">
                    <a:pos x="83" y="126"/>
                  </a:cxn>
                  <a:cxn ang="0">
                    <a:pos x="82" y="131"/>
                  </a:cxn>
                  <a:cxn ang="0">
                    <a:pos x="79" y="128"/>
                  </a:cxn>
                  <a:cxn ang="0">
                    <a:pos x="77" y="134"/>
                  </a:cxn>
                  <a:cxn ang="0">
                    <a:pos x="63" y="131"/>
                  </a:cxn>
                  <a:cxn ang="0">
                    <a:pos x="60" y="134"/>
                  </a:cxn>
                  <a:cxn ang="0">
                    <a:pos x="58" y="135"/>
                  </a:cxn>
                  <a:cxn ang="0">
                    <a:pos x="57" y="135"/>
                  </a:cxn>
                  <a:cxn ang="0">
                    <a:pos x="56" y="135"/>
                  </a:cxn>
                  <a:cxn ang="0">
                    <a:pos x="50" y="138"/>
                  </a:cxn>
                  <a:cxn ang="0">
                    <a:pos x="47" y="135"/>
                  </a:cxn>
                  <a:cxn ang="0">
                    <a:pos x="44" y="135"/>
                  </a:cxn>
                  <a:cxn ang="0">
                    <a:pos x="40" y="129"/>
                  </a:cxn>
                  <a:cxn ang="0">
                    <a:pos x="40" y="121"/>
                  </a:cxn>
                  <a:cxn ang="0">
                    <a:pos x="37" y="121"/>
                  </a:cxn>
                  <a:cxn ang="0">
                    <a:pos x="34" y="116"/>
                  </a:cxn>
                  <a:cxn ang="0">
                    <a:pos x="32" y="115"/>
                  </a:cxn>
                  <a:cxn ang="0">
                    <a:pos x="29" y="110"/>
                  </a:cxn>
                  <a:cxn ang="0">
                    <a:pos x="2" y="107"/>
                  </a:cxn>
                  <a:cxn ang="0">
                    <a:pos x="2" y="75"/>
                  </a:cxn>
                  <a:cxn ang="0">
                    <a:pos x="6" y="61"/>
                  </a:cxn>
                  <a:cxn ang="0">
                    <a:pos x="12" y="54"/>
                  </a:cxn>
                  <a:cxn ang="0">
                    <a:pos x="13" y="54"/>
                  </a:cxn>
                  <a:cxn ang="0">
                    <a:pos x="12" y="51"/>
                  </a:cxn>
                  <a:cxn ang="0">
                    <a:pos x="13" y="49"/>
                  </a:cxn>
                  <a:cxn ang="0">
                    <a:pos x="15" y="48"/>
                  </a:cxn>
                  <a:cxn ang="0">
                    <a:pos x="13" y="38"/>
                  </a:cxn>
                  <a:cxn ang="0">
                    <a:pos x="11" y="35"/>
                  </a:cxn>
                  <a:cxn ang="0">
                    <a:pos x="12" y="29"/>
                  </a:cxn>
                </a:cxnLst>
                <a:rect l="0" t="0" r="r" b="b"/>
                <a:pathLst>
                  <a:path w="166" h="138">
                    <a:moveTo>
                      <a:pt x="12" y="29"/>
                    </a:moveTo>
                    <a:lnTo>
                      <a:pt x="12" y="19"/>
                    </a:lnTo>
                    <a:lnTo>
                      <a:pt x="13" y="17"/>
                    </a:lnTo>
                    <a:lnTo>
                      <a:pt x="13" y="16"/>
                    </a:lnTo>
                    <a:lnTo>
                      <a:pt x="16" y="16"/>
                    </a:lnTo>
                    <a:lnTo>
                      <a:pt x="18" y="14"/>
                    </a:lnTo>
                    <a:lnTo>
                      <a:pt x="21" y="4"/>
                    </a:lnTo>
                    <a:lnTo>
                      <a:pt x="25" y="1"/>
                    </a:lnTo>
                    <a:lnTo>
                      <a:pt x="41" y="0"/>
                    </a:lnTo>
                    <a:lnTo>
                      <a:pt x="51" y="4"/>
                    </a:lnTo>
                    <a:lnTo>
                      <a:pt x="58" y="12"/>
                    </a:lnTo>
                    <a:lnTo>
                      <a:pt x="60" y="12"/>
                    </a:lnTo>
                    <a:lnTo>
                      <a:pt x="63" y="12"/>
                    </a:lnTo>
                    <a:lnTo>
                      <a:pt x="64" y="9"/>
                    </a:lnTo>
                    <a:lnTo>
                      <a:pt x="72" y="6"/>
                    </a:lnTo>
                    <a:lnTo>
                      <a:pt x="74" y="6"/>
                    </a:lnTo>
                    <a:lnTo>
                      <a:pt x="85" y="13"/>
                    </a:lnTo>
                    <a:lnTo>
                      <a:pt x="93" y="14"/>
                    </a:lnTo>
                    <a:lnTo>
                      <a:pt x="98" y="14"/>
                    </a:lnTo>
                    <a:lnTo>
                      <a:pt x="108" y="6"/>
                    </a:lnTo>
                    <a:lnTo>
                      <a:pt x="127" y="6"/>
                    </a:lnTo>
                    <a:lnTo>
                      <a:pt x="134" y="9"/>
                    </a:lnTo>
                    <a:lnTo>
                      <a:pt x="137" y="9"/>
                    </a:lnTo>
                    <a:lnTo>
                      <a:pt x="138" y="7"/>
                    </a:lnTo>
                    <a:lnTo>
                      <a:pt x="141" y="6"/>
                    </a:lnTo>
                    <a:lnTo>
                      <a:pt x="141" y="4"/>
                    </a:lnTo>
                    <a:lnTo>
                      <a:pt x="143" y="3"/>
                    </a:lnTo>
                    <a:lnTo>
                      <a:pt x="144" y="3"/>
                    </a:lnTo>
                    <a:lnTo>
                      <a:pt x="147" y="3"/>
                    </a:lnTo>
                    <a:lnTo>
                      <a:pt x="148" y="0"/>
                    </a:lnTo>
                    <a:lnTo>
                      <a:pt x="148" y="0"/>
                    </a:lnTo>
                    <a:lnTo>
                      <a:pt x="148" y="0"/>
                    </a:lnTo>
                    <a:lnTo>
                      <a:pt x="153" y="7"/>
                    </a:lnTo>
                    <a:lnTo>
                      <a:pt x="156" y="9"/>
                    </a:lnTo>
                    <a:lnTo>
                      <a:pt x="159" y="16"/>
                    </a:lnTo>
                    <a:lnTo>
                      <a:pt x="162" y="19"/>
                    </a:lnTo>
                    <a:lnTo>
                      <a:pt x="162" y="19"/>
                    </a:lnTo>
                    <a:lnTo>
                      <a:pt x="164" y="20"/>
                    </a:lnTo>
                    <a:lnTo>
                      <a:pt x="166" y="20"/>
                    </a:lnTo>
                    <a:lnTo>
                      <a:pt x="166" y="22"/>
                    </a:lnTo>
                    <a:lnTo>
                      <a:pt x="166" y="30"/>
                    </a:lnTo>
                    <a:lnTo>
                      <a:pt x="162" y="33"/>
                    </a:lnTo>
                    <a:lnTo>
                      <a:pt x="162" y="35"/>
                    </a:lnTo>
                    <a:lnTo>
                      <a:pt x="156" y="36"/>
                    </a:lnTo>
                    <a:lnTo>
                      <a:pt x="153" y="41"/>
                    </a:lnTo>
                    <a:lnTo>
                      <a:pt x="143" y="73"/>
                    </a:lnTo>
                    <a:lnTo>
                      <a:pt x="138" y="74"/>
                    </a:lnTo>
                    <a:lnTo>
                      <a:pt x="135" y="77"/>
                    </a:lnTo>
                    <a:lnTo>
                      <a:pt x="124" y="105"/>
                    </a:lnTo>
                    <a:lnTo>
                      <a:pt x="122" y="106"/>
                    </a:lnTo>
                    <a:lnTo>
                      <a:pt x="118" y="105"/>
                    </a:lnTo>
                    <a:lnTo>
                      <a:pt x="117" y="103"/>
                    </a:lnTo>
                    <a:lnTo>
                      <a:pt x="115" y="103"/>
                    </a:lnTo>
                    <a:lnTo>
                      <a:pt x="115" y="102"/>
                    </a:lnTo>
                    <a:lnTo>
                      <a:pt x="114" y="102"/>
                    </a:lnTo>
                    <a:lnTo>
                      <a:pt x="111" y="99"/>
                    </a:lnTo>
                    <a:lnTo>
                      <a:pt x="98" y="99"/>
                    </a:lnTo>
                    <a:lnTo>
                      <a:pt x="98" y="100"/>
                    </a:lnTo>
                    <a:lnTo>
                      <a:pt x="96" y="105"/>
                    </a:lnTo>
                    <a:lnTo>
                      <a:pt x="93" y="105"/>
                    </a:lnTo>
                    <a:lnTo>
                      <a:pt x="89" y="110"/>
                    </a:lnTo>
                    <a:lnTo>
                      <a:pt x="86" y="118"/>
                    </a:lnTo>
                    <a:lnTo>
                      <a:pt x="86" y="122"/>
                    </a:lnTo>
                    <a:lnTo>
                      <a:pt x="83" y="126"/>
                    </a:lnTo>
                    <a:lnTo>
                      <a:pt x="82" y="128"/>
                    </a:lnTo>
                    <a:lnTo>
                      <a:pt x="82" y="131"/>
                    </a:lnTo>
                    <a:lnTo>
                      <a:pt x="80" y="129"/>
                    </a:lnTo>
                    <a:lnTo>
                      <a:pt x="79" y="128"/>
                    </a:lnTo>
                    <a:lnTo>
                      <a:pt x="77" y="131"/>
                    </a:lnTo>
                    <a:lnTo>
                      <a:pt x="77" y="134"/>
                    </a:lnTo>
                    <a:lnTo>
                      <a:pt x="69" y="134"/>
                    </a:lnTo>
                    <a:lnTo>
                      <a:pt x="63" y="131"/>
                    </a:lnTo>
                    <a:lnTo>
                      <a:pt x="61" y="132"/>
                    </a:lnTo>
                    <a:lnTo>
                      <a:pt x="60" y="134"/>
                    </a:lnTo>
                    <a:lnTo>
                      <a:pt x="60" y="135"/>
                    </a:lnTo>
                    <a:lnTo>
                      <a:pt x="58" y="135"/>
                    </a:lnTo>
                    <a:lnTo>
                      <a:pt x="58" y="135"/>
                    </a:lnTo>
                    <a:lnTo>
                      <a:pt x="57" y="135"/>
                    </a:lnTo>
                    <a:lnTo>
                      <a:pt x="56" y="135"/>
                    </a:lnTo>
                    <a:lnTo>
                      <a:pt x="56" y="135"/>
                    </a:lnTo>
                    <a:lnTo>
                      <a:pt x="54" y="135"/>
                    </a:lnTo>
                    <a:lnTo>
                      <a:pt x="50" y="138"/>
                    </a:lnTo>
                    <a:lnTo>
                      <a:pt x="50" y="135"/>
                    </a:lnTo>
                    <a:lnTo>
                      <a:pt x="47" y="135"/>
                    </a:lnTo>
                    <a:lnTo>
                      <a:pt x="47" y="135"/>
                    </a:lnTo>
                    <a:lnTo>
                      <a:pt x="44" y="135"/>
                    </a:lnTo>
                    <a:lnTo>
                      <a:pt x="42" y="132"/>
                    </a:lnTo>
                    <a:lnTo>
                      <a:pt x="40" y="129"/>
                    </a:lnTo>
                    <a:lnTo>
                      <a:pt x="38" y="122"/>
                    </a:lnTo>
                    <a:lnTo>
                      <a:pt x="40" y="121"/>
                    </a:lnTo>
                    <a:lnTo>
                      <a:pt x="38" y="121"/>
                    </a:lnTo>
                    <a:lnTo>
                      <a:pt x="37" y="121"/>
                    </a:lnTo>
                    <a:lnTo>
                      <a:pt x="35" y="118"/>
                    </a:lnTo>
                    <a:lnTo>
                      <a:pt x="34" y="116"/>
                    </a:lnTo>
                    <a:lnTo>
                      <a:pt x="34" y="115"/>
                    </a:lnTo>
                    <a:lnTo>
                      <a:pt x="32" y="115"/>
                    </a:lnTo>
                    <a:lnTo>
                      <a:pt x="32" y="113"/>
                    </a:lnTo>
                    <a:lnTo>
                      <a:pt x="29" y="110"/>
                    </a:lnTo>
                    <a:lnTo>
                      <a:pt x="22" y="107"/>
                    </a:lnTo>
                    <a:lnTo>
                      <a:pt x="2" y="107"/>
                    </a:lnTo>
                    <a:lnTo>
                      <a:pt x="0" y="106"/>
                    </a:lnTo>
                    <a:lnTo>
                      <a:pt x="2" y="75"/>
                    </a:lnTo>
                    <a:lnTo>
                      <a:pt x="6" y="68"/>
                    </a:lnTo>
                    <a:lnTo>
                      <a:pt x="6" y="61"/>
                    </a:lnTo>
                    <a:lnTo>
                      <a:pt x="12" y="55"/>
                    </a:lnTo>
                    <a:lnTo>
                      <a:pt x="12" y="54"/>
                    </a:lnTo>
                    <a:lnTo>
                      <a:pt x="13" y="54"/>
                    </a:lnTo>
                    <a:lnTo>
                      <a:pt x="13" y="54"/>
                    </a:lnTo>
                    <a:lnTo>
                      <a:pt x="13" y="52"/>
                    </a:lnTo>
                    <a:lnTo>
                      <a:pt x="12" y="51"/>
                    </a:lnTo>
                    <a:lnTo>
                      <a:pt x="12" y="51"/>
                    </a:lnTo>
                    <a:lnTo>
                      <a:pt x="13" y="49"/>
                    </a:lnTo>
                    <a:lnTo>
                      <a:pt x="13" y="48"/>
                    </a:lnTo>
                    <a:lnTo>
                      <a:pt x="15" y="48"/>
                    </a:lnTo>
                    <a:lnTo>
                      <a:pt x="15" y="48"/>
                    </a:lnTo>
                    <a:lnTo>
                      <a:pt x="13" y="38"/>
                    </a:lnTo>
                    <a:lnTo>
                      <a:pt x="12" y="35"/>
                    </a:lnTo>
                    <a:lnTo>
                      <a:pt x="11" y="35"/>
                    </a:lnTo>
                    <a:lnTo>
                      <a:pt x="12" y="32"/>
                    </a:lnTo>
                    <a:lnTo>
                      <a:pt x="12" y="29"/>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65" name="Freeform 1664"/>
              <p:cNvSpPr>
                <a:spLocks/>
              </p:cNvSpPr>
              <p:nvPr/>
            </p:nvSpPr>
            <p:spPr bwMode="auto">
              <a:xfrm>
                <a:off x="6154081" y="3069771"/>
                <a:ext cx="152737" cy="144007"/>
              </a:xfrm>
              <a:custGeom>
                <a:avLst/>
                <a:gdLst/>
                <a:ahLst/>
                <a:cxnLst>
                  <a:cxn ang="0">
                    <a:pos x="12" y="19"/>
                  </a:cxn>
                  <a:cxn ang="0">
                    <a:pos x="13" y="16"/>
                  </a:cxn>
                  <a:cxn ang="0">
                    <a:pos x="18" y="14"/>
                  </a:cxn>
                  <a:cxn ang="0">
                    <a:pos x="25" y="1"/>
                  </a:cxn>
                  <a:cxn ang="0">
                    <a:pos x="51" y="4"/>
                  </a:cxn>
                  <a:cxn ang="0">
                    <a:pos x="60" y="12"/>
                  </a:cxn>
                  <a:cxn ang="0">
                    <a:pos x="64" y="9"/>
                  </a:cxn>
                  <a:cxn ang="0">
                    <a:pos x="74" y="6"/>
                  </a:cxn>
                  <a:cxn ang="0">
                    <a:pos x="93" y="14"/>
                  </a:cxn>
                  <a:cxn ang="0">
                    <a:pos x="108" y="6"/>
                  </a:cxn>
                  <a:cxn ang="0">
                    <a:pos x="134" y="9"/>
                  </a:cxn>
                  <a:cxn ang="0">
                    <a:pos x="138" y="7"/>
                  </a:cxn>
                  <a:cxn ang="0">
                    <a:pos x="141" y="4"/>
                  </a:cxn>
                  <a:cxn ang="0">
                    <a:pos x="144" y="3"/>
                  </a:cxn>
                  <a:cxn ang="0">
                    <a:pos x="148" y="0"/>
                  </a:cxn>
                  <a:cxn ang="0">
                    <a:pos x="148" y="0"/>
                  </a:cxn>
                  <a:cxn ang="0">
                    <a:pos x="156" y="9"/>
                  </a:cxn>
                  <a:cxn ang="0">
                    <a:pos x="162" y="19"/>
                  </a:cxn>
                  <a:cxn ang="0">
                    <a:pos x="164" y="20"/>
                  </a:cxn>
                  <a:cxn ang="0">
                    <a:pos x="166" y="22"/>
                  </a:cxn>
                  <a:cxn ang="0">
                    <a:pos x="162" y="33"/>
                  </a:cxn>
                  <a:cxn ang="0">
                    <a:pos x="156" y="36"/>
                  </a:cxn>
                  <a:cxn ang="0">
                    <a:pos x="143" y="73"/>
                  </a:cxn>
                  <a:cxn ang="0">
                    <a:pos x="135" y="77"/>
                  </a:cxn>
                  <a:cxn ang="0">
                    <a:pos x="122" y="106"/>
                  </a:cxn>
                  <a:cxn ang="0">
                    <a:pos x="117" y="103"/>
                  </a:cxn>
                  <a:cxn ang="0">
                    <a:pos x="115" y="102"/>
                  </a:cxn>
                  <a:cxn ang="0">
                    <a:pos x="111" y="99"/>
                  </a:cxn>
                  <a:cxn ang="0">
                    <a:pos x="98" y="100"/>
                  </a:cxn>
                  <a:cxn ang="0">
                    <a:pos x="93" y="105"/>
                  </a:cxn>
                  <a:cxn ang="0">
                    <a:pos x="86" y="118"/>
                  </a:cxn>
                  <a:cxn ang="0">
                    <a:pos x="83" y="126"/>
                  </a:cxn>
                  <a:cxn ang="0">
                    <a:pos x="82" y="131"/>
                  </a:cxn>
                  <a:cxn ang="0">
                    <a:pos x="79" y="128"/>
                  </a:cxn>
                  <a:cxn ang="0">
                    <a:pos x="77" y="134"/>
                  </a:cxn>
                  <a:cxn ang="0">
                    <a:pos x="63" y="131"/>
                  </a:cxn>
                  <a:cxn ang="0">
                    <a:pos x="60" y="134"/>
                  </a:cxn>
                  <a:cxn ang="0">
                    <a:pos x="58" y="135"/>
                  </a:cxn>
                  <a:cxn ang="0">
                    <a:pos x="57" y="135"/>
                  </a:cxn>
                  <a:cxn ang="0">
                    <a:pos x="56" y="135"/>
                  </a:cxn>
                  <a:cxn ang="0">
                    <a:pos x="50" y="138"/>
                  </a:cxn>
                  <a:cxn ang="0">
                    <a:pos x="47" y="135"/>
                  </a:cxn>
                  <a:cxn ang="0">
                    <a:pos x="44" y="135"/>
                  </a:cxn>
                  <a:cxn ang="0">
                    <a:pos x="40" y="129"/>
                  </a:cxn>
                  <a:cxn ang="0">
                    <a:pos x="40" y="121"/>
                  </a:cxn>
                  <a:cxn ang="0">
                    <a:pos x="37" y="121"/>
                  </a:cxn>
                  <a:cxn ang="0">
                    <a:pos x="34" y="116"/>
                  </a:cxn>
                  <a:cxn ang="0">
                    <a:pos x="32" y="115"/>
                  </a:cxn>
                  <a:cxn ang="0">
                    <a:pos x="29" y="110"/>
                  </a:cxn>
                  <a:cxn ang="0">
                    <a:pos x="2" y="107"/>
                  </a:cxn>
                  <a:cxn ang="0">
                    <a:pos x="2" y="75"/>
                  </a:cxn>
                  <a:cxn ang="0">
                    <a:pos x="6" y="61"/>
                  </a:cxn>
                  <a:cxn ang="0">
                    <a:pos x="12" y="54"/>
                  </a:cxn>
                  <a:cxn ang="0">
                    <a:pos x="13" y="54"/>
                  </a:cxn>
                  <a:cxn ang="0">
                    <a:pos x="12" y="51"/>
                  </a:cxn>
                  <a:cxn ang="0">
                    <a:pos x="13" y="49"/>
                  </a:cxn>
                  <a:cxn ang="0">
                    <a:pos x="15" y="48"/>
                  </a:cxn>
                  <a:cxn ang="0">
                    <a:pos x="13" y="38"/>
                  </a:cxn>
                  <a:cxn ang="0">
                    <a:pos x="11" y="35"/>
                  </a:cxn>
                  <a:cxn ang="0">
                    <a:pos x="12" y="29"/>
                  </a:cxn>
                </a:cxnLst>
                <a:rect l="0" t="0" r="r" b="b"/>
                <a:pathLst>
                  <a:path w="166" h="138">
                    <a:moveTo>
                      <a:pt x="12" y="29"/>
                    </a:moveTo>
                    <a:lnTo>
                      <a:pt x="12" y="19"/>
                    </a:lnTo>
                    <a:lnTo>
                      <a:pt x="13" y="17"/>
                    </a:lnTo>
                    <a:lnTo>
                      <a:pt x="13" y="16"/>
                    </a:lnTo>
                    <a:lnTo>
                      <a:pt x="16" y="16"/>
                    </a:lnTo>
                    <a:lnTo>
                      <a:pt x="18" y="14"/>
                    </a:lnTo>
                    <a:lnTo>
                      <a:pt x="21" y="4"/>
                    </a:lnTo>
                    <a:lnTo>
                      <a:pt x="25" y="1"/>
                    </a:lnTo>
                    <a:lnTo>
                      <a:pt x="41" y="0"/>
                    </a:lnTo>
                    <a:lnTo>
                      <a:pt x="51" y="4"/>
                    </a:lnTo>
                    <a:lnTo>
                      <a:pt x="58" y="12"/>
                    </a:lnTo>
                    <a:lnTo>
                      <a:pt x="60" y="12"/>
                    </a:lnTo>
                    <a:lnTo>
                      <a:pt x="63" y="12"/>
                    </a:lnTo>
                    <a:lnTo>
                      <a:pt x="64" y="9"/>
                    </a:lnTo>
                    <a:lnTo>
                      <a:pt x="72" y="6"/>
                    </a:lnTo>
                    <a:lnTo>
                      <a:pt x="74" y="6"/>
                    </a:lnTo>
                    <a:lnTo>
                      <a:pt x="85" y="13"/>
                    </a:lnTo>
                    <a:lnTo>
                      <a:pt x="93" y="14"/>
                    </a:lnTo>
                    <a:lnTo>
                      <a:pt x="98" y="14"/>
                    </a:lnTo>
                    <a:lnTo>
                      <a:pt x="108" y="6"/>
                    </a:lnTo>
                    <a:lnTo>
                      <a:pt x="127" y="6"/>
                    </a:lnTo>
                    <a:lnTo>
                      <a:pt x="134" y="9"/>
                    </a:lnTo>
                    <a:lnTo>
                      <a:pt x="137" y="9"/>
                    </a:lnTo>
                    <a:lnTo>
                      <a:pt x="138" y="7"/>
                    </a:lnTo>
                    <a:lnTo>
                      <a:pt x="141" y="6"/>
                    </a:lnTo>
                    <a:lnTo>
                      <a:pt x="141" y="4"/>
                    </a:lnTo>
                    <a:lnTo>
                      <a:pt x="143" y="3"/>
                    </a:lnTo>
                    <a:lnTo>
                      <a:pt x="144" y="3"/>
                    </a:lnTo>
                    <a:lnTo>
                      <a:pt x="147" y="3"/>
                    </a:lnTo>
                    <a:lnTo>
                      <a:pt x="148" y="0"/>
                    </a:lnTo>
                    <a:lnTo>
                      <a:pt x="148" y="0"/>
                    </a:lnTo>
                    <a:lnTo>
                      <a:pt x="148" y="0"/>
                    </a:lnTo>
                    <a:lnTo>
                      <a:pt x="153" y="7"/>
                    </a:lnTo>
                    <a:lnTo>
                      <a:pt x="156" y="9"/>
                    </a:lnTo>
                    <a:lnTo>
                      <a:pt x="159" y="16"/>
                    </a:lnTo>
                    <a:lnTo>
                      <a:pt x="162" y="19"/>
                    </a:lnTo>
                    <a:lnTo>
                      <a:pt x="162" y="19"/>
                    </a:lnTo>
                    <a:lnTo>
                      <a:pt x="164" y="20"/>
                    </a:lnTo>
                    <a:lnTo>
                      <a:pt x="166" y="20"/>
                    </a:lnTo>
                    <a:lnTo>
                      <a:pt x="166" y="22"/>
                    </a:lnTo>
                    <a:lnTo>
                      <a:pt x="166" y="30"/>
                    </a:lnTo>
                    <a:lnTo>
                      <a:pt x="162" y="33"/>
                    </a:lnTo>
                    <a:lnTo>
                      <a:pt x="162" y="35"/>
                    </a:lnTo>
                    <a:lnTo>
                      <a:pt x="156" y="36"/>
                    </a:lnTo>
                    <a:lnTo>
                      <a:pt x="153" y="41"/>
                    </a:lnTo>
                    <a:lnTo>
                      <a:pt x="143" y="73"/>
                    </a:lnTo>
                    <a:lnTo>
                      <a:pt x="138" y="74"/>
                    </a:lnTo>
                    <a:lnTo>
                      <a:pt x="135" y="77"/>
                    </a:lnTo>
                    <a:lnTo>
                      <a:pt x="124" y="105"/>
                    </a:lnTo>
                    <a:lnTo>
                      <a:pt x="122" y="106"/>
                    </a:lnTo>
                    <a:lnTo>
                      <a:pt x="118" y="105"/>
                    </a:lnTo>
                    <a:lnTo>
                      <a:pt x="117" y="103"/>
                    </a:lnTo>
                    <a:lnTo>
                      <a:pt x="115" y="103"/>
                    </a:lnTo>
                    <a:lnTo>
                      <a:pt x="115" y="102"/>
                    </a:lnTo>
                    <a:lnTo>
                      <a:pt x="114" y="102"/>
                    </a:lnTo>
                    <a:lnTo>
                      <a:pt x="111" y="99"/>
                    </a:lnTo>
                    <a:lnTo>
                      <a:pt x="98" y="99"/>
                    </a:lnTo>
                    <a:lnTo>
                      <a:pt x="98" y="100"/>
                    </a:lnTo>
                    <a:lnTo>
                      <a:pt x="96" y="105"/>
                    </a:lnTo>
                    <a:lnTo>
                      <a:pt x="93" y="105"/>
                    </a:lnTo>
                    <a:lnTo>
                      <a:pt x="89" y="110"/>
                    </a:lnTo>
                    <a:lnTo>
                      <a:pt x="86" y="118"/>
                    </a:lnTo>
                    <a:lnTo>
                      <a:pt x="86" y="122"/>
                    </a:lnTo>
                    <a:lnTo>
                      <a:pt x="83" y="126"/>
                    </a:lnTo>
                    <a:lnTo>
                      <a:pt x="82" y="128"/>
                    </a:lnTo>
                    <a:lnTo>
                      <a:pt x="82" y="131"/>
                    </a:lnTo>
                    <a:lnTo>
                      <a:pt x="80" y="129"/>
                    </a:lnTo>
                    <a:lnTo>
                      <a:pt x="79" y="128"/>
                    </a:lnTo>
                    <a:lnTo>
                      <a:pt x="77" y="131"/>
                    </a:lnTo>
                    <a:lnTo>
                      <a:pt x="77" y="134"/>
                    </a:lnTo>
                    <a:lnTo>
                      <a:pt x="69" y="134"/>
                    </a:lnTo>
                    <a:lnTo>
                      <a:pt x="63" y="131"/>
                    </a:lnTo>
                    <a:lnTo>
                      <a:pt x="61" y="132"/>
                    </a:lnTo>
                    <a:lnTo>
                      <a:pt x="60" y="134"/>
                    </a:lnTo>
                    <a:lnTo>
                      <a:pt x="60" y="135"/>
                    </a:lnTo>
                    <a:lnTo>
                      <a:pt x="58" y="135"/>
                    </a:lnTo>
                    <a:lnTo>
                      <a:pt x="58" y="135"/>
                    </a:lnTo>
                    <a:lnTo>
                      <a:pt x="57" y="135"/>
                    </a:lnTo>
                    <a:lnTo>
                      <a:pt x="56" y="135"/>
                    </a:lnTo>
                    <a:lnTo>
                      <a:pt x="56" y="135"/>
                    </a:lnTo>
                    <a:lnTo>
                      <a:pt x="54" y="135"/>
                    </a:lnTo>
                    <a:lnTo>
                      <a:pt x="50" y="138"/>
                    </a:lnTo>
                    <a:lnTo>
                      <a:pt x="50" y="135"/>
                    </a:lnTo>
                    <a:lnTo>
                      <a:pt x="47" y="135"/>
                    </a:lnTo>
                    <a:lnTo>
                      <a:pt x="47" y="135"/>
                    </a:lnTo>
                    <a:lnTo>
                      <a:pt x="44" y="135"/>
                    </a:lnTo>
                    <a:lnTo>
                      <a:pt x="42" y="132"/>
                    </a:lnTo>
                    <a:lnTo>
                      <a:pt x="40" y="129"/>
                    </a:lnTo>
                    <a:lnTo>
                      <a:pt x="38" y="122"/>
                    </a:lnTo>
                    <a:lnTo>
                      <a:pt x="40" y="121"/>
                    </a:lnTo>
                    <a:lnTo>
                      <a:pt x="38" y="121"/>
                    </a:lnTo>
                    <a:lnTo>
                      <a:pt x="37" y="121"/>
                    </a:lnTo>
                    <a:lnTo>
                      <a:pt x="35" y="118"/>
                    </a:lnTo>
                    <a:lnTo>
                      <a:pt x="34" y="116"/>
                    </a:lnTo>
                    <a:lnTo>
                      <a:pt x="34" y="115"/>
                    </a:lnTo>
                    <a:lnTo>
                      <a:pt x="32" y="115"/>
                    </a:lnTo>
                    <a:lnTo>
                      <a:pt x="32" y="113"/>
                    </a:lnTo>
                    <a:lnTo>
                      <a:pt x="29" y="110"/>
                    </a:lnTo>
                    <a:lnTo>
                      <a:pt x="22" y="107"/>
                    </a:lnTo>
                    <a:lnTo>
                      <a:pt x="2" y="107"/>
                    </a:lnTo>
                    <a:lnTo>
                      <a:pt x="0" y="106"/>
                    </a:lnTo>
                    <a:lnTo>
                      <a:pt x="2" y="75"/>
                    </a:lnTo>
                    <a:lnTo>
                      <a:pt x="6" y="68"/>
                    </a:lnTo>
                    <a:lnTo>
                      <a:pt x="6" y="61"/>
                    </a:lnTo>
                    <a:lnTo>
                      <a:pt x="12" y="55"/>
                    </a:lnTo>
                    <a:lnTo>
                      <a:pt x="12" y="54"/>
                    </a:lnTo>
                    <a:lnTo>
                      <a:pt x="13" y="54"/>
                    </a:lnTo>
                    <a:lnTo>
                      <a:pt x="13" y="54"/>
                    </a:lnTo>
                    <a:lnTo>
                      <a:pt x="13" y="52"/>
                    </a:lnTo>
                    <a:lnTo>
                      <a:pt x="12" y="51"/>
                    </a:lnTo>
                    <a:lnTo>
                      <a:pt x="12" y="51"/>
                    </a:lnTo>
                    <a:lnTo>
                      <a:pt x="13" y="49"/>
                    </a:lnTo>
                    <a:lnTo>
                      <a:pt x="13" y="48"/>
                    </a:lnTo>
                    <a:lnTo>
                      <a:pt x="15" y="48"/>
                    </a:lnTo>
                    <a:lnTo>
                      <a:pt x="15" y="48"/>
                    </a:lnTo>
                    <a:lnTo>
                      <a:pt x="13" y="38"/>
                    </a:lnTo>
                    <a:lnTo>
                      <a:pt x="12" y="35"/>
                    </a:lnTo>
                    <a:lnTo>
                      <a:pt x="11" y="35"/>
                    </a:lnTo>
                    <a:lnTo>
                      <a:pt x="12" y="32"/>
                    </a:lnTo>
                    <a:lnTo>
                      <a:pt x="12" y="29"/>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66" name="Freeform 1665"/>
              <p:cNvSpPr>
                <a:spLocks/>
              </p:cNvSpPr>
              <p:nvPr/>
            </p:nvSpPr>
            <p:spPr bwMode="auto">
              <a:xfrm>
                <a:off x="6263807" y="3219862"/>
                <a:ext cx="98314" cy="129809"/>
              </a:xfrm>
              <a:custGeom>
                <a:avLst/>
                <a:gdLst/>
                <a:ahLst/>
                <a:cxnLst>
                  <a:cxn ang="0">
                    <a:pos x="106" y="1"/>
                  </a:cxn>
                  <a:cxn ang="0">
                    <a:pos x="89" y="0"/>
                  </a:cxn>
                  <a:cxn ang="0">
                    <a:pos x="73" y="8"/>
                  </a:cxn>
                  <a:cxn ang="0">
                    <a:pos x="70" y="16"/>
                  </a:cxn>
                  <a:cxn ang="0">
                    <a:pos x="70" y="29"/>
                  </a:cxn>
                  <a:cxn ang="0">
                    <a:pos x="63" y="24"/>
                  </a:cxn>
                  <a:cxn ang="0">
                    <a:pos x="53" y="24"/>
                  </a:cxn>
                  <a:cxn ang="0">
                    <a:pos x="31" y="22"/>
                  </a:cxn>
                  <a:cxn ang="0">
                    <a:pos x="29" y="36"/>
                  </a:cxn>
                  <a:cxn ang="0">
                    <a:pos x="35" y="30"/>
                  </a:cxn>
                  <a:cxn ang="0">
                    <a:pos x="45" y="36"/>
                  </a:cxn>
                  <a:cxn ang="0">
                    <a:pos x="41" y="49"/>
                  </a:cxn>
                  <a:cxn ang="0">
                    <a:pos x="45" y="64"/>
                  </a:cxn>
                  <a:cxn ang="0">
                    <a:pos x="38" y="87"/>
                  </a:cxn>
                  <a:cxn ang="0">
                    <a:pos x="27" y="84"/>
                  </a:cxn>
                  <a:cxn ang="0">
                    <a:pos x="22" y="80"/>
                  </a:cxn>
                  <a:cxn ang="0">
                    <a:pos x="8" y="88"/>
                  </a:cxn>
                  <a:cxn ang="0">
                    <a:pos x="6" y="94"/>
                  </a:cxn>
                  <a:cxn ang="0">
                    <a:pos x="8" y="103"/>
                  </a:cxn>
                  <a:cxn ang="0">
                    <a:pos x="2" y="103"/>
                  </a:cxn>
                  <a:cxn ang="0">
                    <a:pos x="0" y="109"/>
                  </a:cxn>
                  <a:cxn ang="0">
                    <a:pos x="9" y="116"/>
                  </a:cxn>
                  <a:cxn ang="0">
                    <a:pos x="19" y="120"/>
                  </a:cxn>
                  <a:cxn ang="0">
                    <a:pos x="24" y="116"/>
                  </a:cxn>
                  <a:cxn ang="0">
                    <a:pos x="27" y="119"/>
                  </a:cxn>
                  <a:cxn ang="0">
                    <a:pos x="34" y="120"/>
                  </a:cxn>
                  <a:cxn ang="0">
                    <a:pos x="38" y="116"/>
                  </a:cxn>
                  <a:cxn ang="0">
                    <a:pos x="45" y="116"/>
                  </a:cxn>
                  <a:cxn ang="0">
                    <a:pos x="48" y="122"/>
                  </a:cxn>
                  <a:cxn ang="0">
                    <a:pos x="64" y="112"/>
                  </a:cxn>
                  <a:cxn ang="0">
                    <a:pos x="74" y="83"/>
                  </a:cxn>
                  <a:cxn ang="0">
                    <a:pos x="95" y="62"/>
                  </a:cxn>
                  <a:cxn ang="0">
                    <a:pos x="108" y="4"/>
                  </a:cxn>
                </a:cxnLst>
                <a:rect l="0" t="0" r="r" b="b"/>
                <a:pathLst>
                  <a:path w="108" h="125">
                    <a:moveTo>
                      <a:pt x="108" y="0"/>
                    </a:moveTo>
                    <a:lnTo>
                      <a:pt x="106" y="1"/>
                    </a:lnTo>
                    <a:lnTo>
                      <a:pt x="98" y="4"/>
                    </a:lnTo>
                    <a:lnTo>
                      <a:pt x="89" y="0"/>
                    </a:lnTo>
                    <a:lnTo>
                      <a:pt x="85" y="1"/>
                    </a:lnTo>
                    <a:lnTo>
                      <a:pt x="73" y="8"/>
                    </a:lnTo>
                    <a:lnTo>
                      <a:pt x="72" y="13"/>
                    </a:lnTo>
                    <a:lnTo>
                      <a:pt x="70" y="16"/>
                    </a:lnTo>
                    <a:lnTo>
                      <a:pt x="72" y="27"/>
                    </a:lnTo>
                    <a:lnTo>
                      <a:pt x="70" y="29"/>
                    </a:lnTo>
                    <a:lnTo>
                      <a:pt x="69" y="30"/>
                    </a:lnTo>
                    <a:lnTo>
                      <a:pt x="63" y="24"/>
                    </a:lnTo>
                    <a:lnTo>
                      <a:pt x="60" y="26"/>
                    </a:lnTo>
                    <a:lnTo>
                      <a:pt x="53" y="24"/>
                    </a:lnTo>
                    <a:lnTo>
                      <a:pt x="50" y="22"/>
                    </a:lnTo>
                    <a:lnTo>
                      <a:pt x="31" y="22"/>
                    </a:lnTo>
                    <a:lnTo>
                      <a:pt x="29" y="26"/>
                    </a:lnTo>
                    <a:lnTo>
                      <a:pt x="29" y="36"/>
                    </a:lnTo>
                    <a:lnTo>
                      <a:pt x="31" y="36"/>
                    </a:lnTo>
                    <a:lnTo>
                      <a:pt x="35" y="30"/>
                    </a:lnTo>
                    <a:lnTo>
                      <a:pt x="43" y="33"/>
                    </a:lnTo>
                    <a:lnTo>
                      <a:pt x="45" y="36"/>
                    </a:lnTo>
                    <a:lnTo>
                      <a:pt x="45" y="42"/>
                    </a:lnTo>
                    <a:lnTo>
                      <a:pt x="41" y="49"/>
                    </a:lnTo>
                    <a:lnTo>
                      <a:pt x="41" y="54"/>
                    </a:lnTo>
                    <a:lnTo>
                      <a:pt x="45" y="64"/>
                    </a:lnTo>
                    <a:lnTo>
                      <a:pt x="41" y="85"/>
                    </a:lnTo>
                    <a:lnTo>
                      <a:pt x="38" y="87"/>
                    </a:lnTo>
                    <a:lnTo>
                      <a:pt x="32" y="83"/>
                    </a:lnTo>
                    <a:lnTo>
                      <a:pt x="27" y="84"/>
                    </a:lnTo>
                    <a:lnTo>
                      <a:pt x="24" y="81"/>
                    </a:lnTo>
                    <a:lnTo>
                      <a:pt x="22" y="80"/>
                    </a:lnTo>
                    <a:lnTo>
                      <a:pt x="16" y="84"/>
                    </a:lnTo>
                    <a:lnTo>
                      <a:pt x="8" y="88"/>
                    </a:lnTo>
                    <a:lnTo>
                      <a:pt x="6" y="91"/>
                    </a:lnTo>
                    <a:lnTo>
                      <a:pt x="6" y="94"/>
                    </a:lnTo>
                    <a:lnTo>
                      <a:pt x="9" y="101"/>
                    </a:lnTo>
                    <a:lnTo>
                      <a:pt x="8" y="103"/>
                    </a:lnTo>
                    <a:lnTo>
                      <a:pt x="5" y="103"/>
                    </a:lnTo>
                    <a:lnTo>
                      <a:pt x="2" y="103"/>
                    </a:lnTo>
                    <a:lnTo>
                      <a:pt x="0" y="106"/>
                    </a:lnTo>
                    <a:lnTo>
                      <a:pt x="0" y="109"/>
                    </a:lnTo>
                    <a:lnTo>
                      <a:pt x="3" y="110"/>
                    </a:lnTo>
                    <a:lnTo>
                      <a:pt x="9" y="116"/>
                    </a:lnTo>
                    <a:lnTo>
                      <a:pt x="12" y="125"/>
                    </a:lnTo>
                    <a:lnTo>
                      <a:pt x="19" y="120"/>
                    </a:lnTo>
                    <a:lnTo>
                      <a:pt x="21" y="117"/>
                    </a:lnTo>
                    <a:lnTo>
                      <a:pt x="24" y="116"/>
                    </a:lnTo>
                    <a:lnTo>
                      <a:pt x="25" y="116"/>
                    </a:lnTo>
                    <a:lnTo>
                      <a:pt x="27" y="119"/>
                    </a:lnTo>
                    <a:lnTo>
                      <a:pt x="31" y="122"/>
                    </a:lnTo>
                    <a:lnTo>
                      <a:pt x="34" y="120"/>
                    </a:lnTo>
                    <a:lnTo>
                      <a:pt x="37" y="117"/>
                    </a:lnTo>
                    <a:lnTo>
                      <a:pt x="38" y="116"/>
                    </a:lnTo>
                    <a:lnTo>
                      <a:pt x="45" y="115"/>
                    </a:lnTo>
                    <a:lnTo>
                      <a:pt x="45" y="116"/>
                    </a:lnTo>
                    <a:lnTo>
                      <a:pt x="47" y="120"/>
                    </a:lnTo>
                    <a:lnTo>
                      <a:pt x="48" y="122"/>
                    </a:lnTo>
                    <a:lnTo>
                      <a:pt x="54" y="119"/>
                    </a:lnTo>
                    <a:lnTo>
                      <a:pt x="64" y="112"/>
                    </a:lnTo>
                    <a:lnTo>
                      <a:pt x="72" y="103"/>
                    </a:lnTo>
                    <a:lnTo>
                      <a:pt x="74" y="83"/>
                    </a:lnTo>
                    <a:lnTo>
                      <a:pt x="85" y="70"/>
                    </a:lnTo>
                    <a:lnTo>
                      <a:pt x="95" y="62"/>
                    </a:lnTo>
                    <a:lnTo>
                      <a:pt x="99" y="26"/>
                    </a:lnTo>
                    <a:lnTo>
                      <a:pt x="108" y="4"/>
                    </a:lnTo>
                    <a:lnTo>
                      <a:pt x="108"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67" name="Freeform 1666"/>
              <p:cNvSpPr>
                <a:spLocks/>
              </p:cNvSpPr>
              <p:nvPr/>
            </p:nvSpPr>
            <p:spPr bwMode="auto">
              <a:xfrm>
                <a:off x="6263807" y="3219862"/>
                <a:ext cx="98314" cy="129809"/>
              </a:xfrm>
              <a:custGeom>
                <a:avLst/>
                <a:gdLst/>
                <a:ahLst/>
                <a:cxnLst>
                  <a:cxn ang="0">
                    <a:pos x="106" y="1"/>
                  </a:cxn>
                  <a:cxn ang="0">
                    <a:pos x="89" y="0"/>
                  </a:cxn>
                  <a:cxn ang="0">
                    <a:pos x="73" y="8"/>
                  </a:cxn>
                  <a:cxn ang="0">
                    <a:pos x="70" y="16"/>
                  </a:cxn>
                  <a:cxn ang="0">
                    <a:pos x="70" y="29"/>
                  </a:cxn>
                  <a:cxn ang="0">
                    <a:pos x="63" y="24"/>
                  </a:cxn>
                  <a:cxn ang="0">
                    <a:pos x="53" y="24"/>
                  </a:cxn>
                  <a:cxn ang="0">
                    <a:pos x="31" y="22"/>
                  </a:cxn>
                  <a:cxn ang="0">
                    <a:pos x="29" y="36"/>
                  </a:cxn>
                  <a:cxn ang="0">
                    <a:pos x="35" y="30"/>
                  </a:cxn>
                  <a:cxn ang="0">
                    <a:pos x="45" y="36"/>
                  </a:cxn>
                  <a:cxn ang="0">
                    <a:pos x="41" y="49"/>
                  </a:cxn>
                  <a:cxn ang="0">
                    <a:pos x="45" y="64"/>
                  </a:cxn>
                  <a:cxn ang="0">
                    <a:pos x="38" y="87"/>
                  </a:cxn>
                  <a:cxn ang="0">
                    <a:pos x="27" y="84"/>
                  </a:cxn>
                  <a:cxn ang="0">
                    <a:pos x="22" y="80"/>
                  </a:cxn>
                  <a:cxn ang="0">
                    <a:pos x="8" y="88"/>
                  </a:cxn>
                  <a:cxn ang="0">
                    <a:pos x="6" y="94"/>
                  </a:cxn>
                  <a:cxn ang="0">
                    <a:pos x="8" y="103"/>
                  </a:cxn>
                  <a:cxn ang="0">
                    <a:pos x="2" y="103"/>
                  </a:cxn>
                  <a:cxn ang="0">
                    <a:pos x="0" y="109"/>
                  </a:cxn>
                  <a:cxn ang="0">
                    <a:pos x="9" y="116"/>
                  </a:cxn>
                  <a:cxn ang="0">
                    <a:pos x="19" y="120"/>
                  </a:cxn>
                  <a:cxn ang="0">
                    <a:pos x="24" y="116"/>
                  </a:cxn>
                  <a:cxn ang="0">
                    <a:pos x="27" y="119"/>
                  </a:cxn>
                  <a:cxn ang="0">
                    <a:pos x="34" y="120"/>
                  </a:cxn>
                  <a:cxn ang="0">
                    <a:pos x="38" y="116"/>
                  </a:cxn>
                  <a:cxn ang="0">
                    <a:pos x="45" y="116"/>
                  </a:cxn>
                  <a:cxn ang="0">
                    <a:pos x="48" y="122"/>
                  </a:cxn>
                  <a:cxn ang="0">
                    <a:pos x="64" y="112"/>
                  </a:cxn>
                  <a:cxn ang="0">
                    <a:pos x="74" y="83"/>
                  </a:cxn>
                  <a:cxn ang="0">
                    <a:pos x="95" y="62"/>
                  </a:cxn>
                  <a:cxn ang="0">
                    <a:pos x="108" y="4"/>
                  </a:cxn>
                </a:cxnLst>
                <a:rect l="0" t="0" r="r" b="b"/>
                <a:pathLst>
                  <a:path w="108" h="125">
                    <a:moveTo>
                      <a:pt x="108" y="0"/>
                    </a:moveTo>
                    <a:lnTo>
                      <a:pt x="106" y="1"/>
                    </a:lnTo>
                    <a:lnTo>
                      <a:pt x="98" y="4"/>
                    </a:lnTo>
                    <a:lnTo>
                      <a:pt x="89" y="0"/>
                    </a:lnTo>
                    <a:lnTo>
                      <a:pt x="85" y="1"/>
                    </a:lnTo>
                    <a:lnTo>
                      <a:pt x="73" y="8"/>
                    </a:lnTo>
                    <a:lnTo>
                      <a:pt x="72" y="13"/>
                    </a:lnTo>
                    <a:lnTo>
                      <a:pt x="70" y="16"/>
                    </a:lnTo>
                    <a:lnTo>
                      <a:pt x="72" y="27"/>
                    </a:lnTo>
                    <a:lnTo>
                      <a:pt x="70" y="29"/>
                    </a:lnTo>
                    <a:lnTo>
                      <a:pt x="69" y="30"/>
                    </a:lnTo>
                    <a:lnTo>
                      <a:pt x="63" y="24"/>
                    </a:lnTo>
                    <a:lnTo>
                      <a:pt x="60" y="26"/>
                    </a:lnTo>
                    <a:lnTo>
                      <a:pt x="53" y="24"/>
                    </a:lnTo>
                    <a:lnTo>
                      <a:pt x="50" y="22"/>
                    </a:lnTo>
                    <a:lnTo>
                      <a:pt x="31" y="22"/>
                    </a:lnTo>
                    <a:lnTo>
                      <a:pt x="29" y="26"/>
                    </a:lnTo>
                    <a:lnTo>
                      <a:pt x="29" y="36"/>
                    </a:lnTo>
                    <a:lnTo>
                      <a:pt x="31" y="36"/>
                    </a:lnTo>
                    <a:lnTo>
                      <a:pt x="35" y="30"/>
                    </a:lnTo>
                    <a:lnTo>
                      <a:pt x="43" y="33"/>
                    </a:lnTo>
                    <a:lnTo>
                      <a:pt x="45" y="36"/>
                    </a:lnTo>
                    <a:lnTo>
                      <a:pt x="45" y="42"/>
                    </a:lnTo>
                    <a:lnTo>
                      <a:pt x="41" y="49"/>
                    </a:lnTo>
                    <a:lnTo>
                      <a:pt x="41" y="54"/>
                    </a:lnTo>
                    <a:lnTo>
                      <a:pt x="45" y="64"/>
                    </a:lnTo>
                    <a:lnTo>
                      <a:pt x="41" y="85"/>
                    </a:lnTo>
                    <a:lnTo>
                      <a:pt x="38" y="87"/>
                    </a:lnTo>
                    <a:lnTo>
                      <a:pt x="32" y="83"/>
                    </a:lnTo>
                    <a:lnTo>
                      <a:pt x="27" y="84"/>
                    </a:lnTo>
                    <a:lnTo>
                      <a:pt x="24" y="81"/>
                    </a:lnTo>
                    <a:lnTo>
                      <a:pt x="22" y="80"/>
                    </a:lnTo>
                    <a:lnTo>
                      <a:pt x="16" y="84"/>
                    </a:lnTo>
                    <a:lnTo>
                      <a:pt x="8" y="88"/>
                    </a:lnTo>
                    <a:lnTo>
                      <a:pt x="6" y="91"/>
                    </a:lnTo>
                    <a:lnTo>
                      <a:pt x="6" y="94"/>
                    </a:lnTo>
                    <a:lnTo>
                      <a:pt x="9" y="101"/>
                    </a:lnTo>
                    <a:lnTo>
                      <a:pt x="8" y="103"/>
                    </a:lnTo>
                    <a:lnTo>
                      <a:pt x="5" y="103"/>
                    </a:lnTo>
                    <a:lnTo>
                      <a:pt x="2" y="103"/>
                    </a:lnTo>
                    <a:lnTo>
                      <a:pt x="0" y="106"/>
                    </a:lnTo>
                    <a:lnTo>
                      <a:pt x="0" y="109"/>
                    </a:lnTo>
                    <a:lnTo>
                      <a:pt x="3" y="110"/>
                    </a:lnTo>
                    <a:lnTo>
                      <a:pt x="9" y="116"/>
                    </a:lnTo>
                    <a:lnTo>
                      <a:pt x="12" y="125"/>
                    </a:lnTo>
                    <a:lnTo>
                      <a:pt x="19" y="120"/>
                    </a:lnTo>
                    <a:lnTo>
                      <a:pt x="21" y="117"/>
                    </a:lnTo>
                    <a:lnTo>
                      <a:pt x="24" y="116"/>
                    </a:lnTo>
                    <a:lnTo>
                      <a:pt x="25" y="116"/>
                    </a:lnTo>
                    <a:lnTo>
                      <a:pt x="27" y="119"/>
                    </a:lnTo>
                    <a:lnTo>
                      <a:pt x="31" y="122"/>
                    </a:lnTo>
                    <a:lnTo>
                      <a:pt x="34" y="120"/>
                    </a:lnTo>
                    <a:lnTo>
                      <a:pt x="37" y="117"/>
                    </a:lnTo>
                    <a:lnTo>
                      <a:pt x="38" y="116"/>
                    </a:lnTo>
                    <a:lnTo>
                      <a:pt x="45" y="115"/>
                    </a:lnTo>
                    <a:lnTo>
                      <a:pt x="45" y="116"/>
                    </a:lnTo>
                    <a:lnTo>
                      <a:pt x="47" y="120"/>
                    </a:lnTo>
                    <a:lnTo>
                      <a:pt x="48" y="122"/>
                    </a:lnTo>
                    <a:lnTo>
                      <a:pt x="54" y="119"/>
                    </a:lnTo>
                    <a:lnTo>
                      <a:pt x="64" y="112"/>
                    </a:lnTo>
                    <a:lnTo>
                      <a:pt x="72" y="103"/>
                    </a:lnTo>
                    <a:lnTo>
                      <a:pt x="74" y="83"/>
                    </a:lnTo>
                    <a:lnTo>
                      <a:pt x="85" y="70"/>
                    </a:lnTo>
                    <a:lnTo>
                      <a:pt x="95" y="62"/>
                    </a:lnTo>
                    <a:lnTo>
                      <a:pt x="99" y="26"/>
                    </a:lnTo>
                    <a:lnTo>
                      <a:pt x="108" y="4"/>
                    </a:lnTo>
                    <a:lnTo>
                      <a:pt x="108"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68" name="Freeform 1667"/>
              <p:cNvSpPr>
                <a:spLocks/>
              </p:cNvSpPr>
              <p:nvPr/>
            </p:nvSpPr>
            <p:spPr bwMode="auto">
              <a:xfrm>
                <a:off x="6239228" y="3242174"/>
                <a:ext cx="26334" cy="18254"/>
              </a:xfrm>
              <a:custGeom>
                <a:avLst/>
                <a:gdLst/>
                <a:ahLst/>
                <a:cxnLst>
                  <a:cxn ang="0">
                    <a:pos x="28" y="0"/>
                  </a:cxn>
                  <a:cxn ang="0">
                    <a:pos x="6" y="1"/>
                  </a:cxn>
                  <a:cxn ang="0">
                    <a:pos x="6" y="2"/>
                  </a:cxn>
                  <a:cxn ang="0">
                    <a:pos x="5" y="7"/>
                  </a:cxn>
                  <a:cxn ang="0">
                    <a:pos x="3" y="10"/>
                  </a:cxn>
                  <a:cxn ang="0">
                    <a:pos x="0" y="14"/>
                  </a:cxn>
                  <a:cxn ang="0">
                    <a:pos x="5" y="16"/>
                  </a:cxn>
                  <a:cxn ang="0">
                    <a:pos x="5" y="17"/>
                  </a:cxn>
                  <a:cxn ang="0">
                    <a:pos x="5" y="17"/>
                  </a:cxn>
                  <a:cxn ang="0">
                    <a:pos x="5" y="17"/>
                  </a:cxn>
                  <a:cxn ang="0">
                    <a:pos x="28" y="16"/>
                  </a:cxn>
                  <a:cxn ang="0">
                    <a:pos x="28" y="14"/>
                  </a:cxn>
                  <a:cxn ang="0">
                    <a:pos x="26" y="2"/>
                  </a:cxn>
                  <a:cxn ang="0">
                    <a:pos x="28" y="0"/>
                  </a:cxn>
                </a:cxnLst>
                <a:rect l="0" t="0" r="r" b="b"/>
                <a:pathLst>
                  <a:path w="28" h="17">
                    <a:moveTo>
                      <a:pt x="28" y="0"/>
                    </a:moveTo>
                    <a:lnTo>
                      <a:pt x="6" y="1"/>
                    </a:lnTo>
                    <a:lnTo>
                      <a:pt x="6" y="2"/>
                    </a:lnTo>
                    <a:lnTo>
                      <a:pt x="5" y="7"/>
                    </a:lnTo>
                    <a:lnTo>
                      <a:pt x="3" y="10"/>
                    </a:lnTo>
                    <a:lnTo>
                      <a:pt x="0" y="14"/>
                    </a:lnTo>
                    <a:lnTo>
                      <a:pt x="5" y="16"/>
                    </a:lnTo>
                    <a:lnTo>
                      <a:pt x="5" y="17"/>
                    </a:lnTo>
                    <a:lnTo>
                      <a:pt x="5" y="17"/>
                    </a:lnTo>
                    <a:lnTo>
                      <a:pt x="5" y="17"/>
                    </a:lnTo>
                    <a:lnTo>
                      <a:pt x="28" y="16"/>
                    </a:lnTo>
                    <a:lnTo>
                      <a:pt x="28" y="14"/>
                    </a:lnTo>
                    <a:lnTo>
                      <a:pt x="26" y="2"/>
                    </a:lnTo>
                    <a:lnTo>
                      <a:pt x="28"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69" name="Freeform 1668"/>
              <p:cNvSpPr>
                <a:spLocks/>
              </p:cNvSpPr>
              <p:nvPr/>
            </p:nvSpPr>
            <p:spPr bwMode="auto">
              <a:xfrm>
                <a:off x="6239228" y="3242174"/>
                <a:ext cx="26334" cy="18254"/>
              </a:xfrm>
              <a:custGeom>
                <a:avLst/>
                <a:gdLst/>
                <a:ahLst/>
                <a:cxnLst>
                  <a:cxn ang="0">
                    <a:pos x="28" y="0"/>
                  </a:cxn>
                  <a:cxn ang="0">
                    <a:pos x="6" y="1"/>
                  </a:cxn>
                  <a:cxn ang="0">
                    <a:pos x="6" y="2"/>
                  </a:cxn>
                  <a:cxn ang="0">
                    <a:pos x="5" y="7"/>
                  </a:cxn>
                  <a:cxn ang="0">
                    <a:pos x="3" y="10"/>
                  </a:cxn>
                  <a:cxn ang="0">
                    <a:pos x="0" y="14"/>
                  </a:cxn>
                  <a:cxn ang="0">
                    <a:pos x="5" y="16"/>
                  </a:cxn>
                  <a:cxn ang="0">
                    <a:pos x="5" y="17"/>
                  </a:cxn>
                  <a:cxn ang="0">
                    <a:pos x="5" y="17"/>
                  </a:cxn>
                  <a:cxn ang="0">
                    <a:pos x="5" y="17"/>
                  </a:cxn>
                  <a:cxn ang="0">
                    <a:pos x="28" y="16"/>
                  </a:cxn>
                  <a:cxn ang="0">
                    <a:pos x="28" y="14"/>
                  </a:cxn>
                  <a:cxn ang="0">
                    <a:pos x="26" y="2"/>
                  </a:cxn>
                  <a:cxn ang="0">
                    <a:pos x="28" y="0"/>
                  </a:cxn>
                </a:cxnLst>
                <a:rect l="0" t="0" r="r" b="b"/>
                <a:pathLst>
                  <a:path w="28" h="17">
                    <a:moveTo>
                      <a:pt x="28" y="0"/>
                    </a:moveTo>
                    <a:lnTo>
                      <a:pt x="6" y="1"/>
                    </a:lnTo>
                    <a:lnTo>
                      <a:pt x="6" y="2"/>
                    </a:lnTo>
                    <a:lnTo>
                      <a:pt x="5" y="7"/>
                    </a:lnTo>
                    <a:lnTo>
                      <a:pt x="3" y="10"/>
                    </a:lnTo>
                    <a:lnTo>
                      <a:pt x="0" y="14"/>
                    </a:lnTo>
                    <a:lnTo>
                      <a:pt x="5" y="16"/>
                    </a:lnTo>
                    <a:lnTo>
                      <a:pt x="5" y="17"/>
                    </a:lnTo>
                    <a:lnTo>
                      <a:pt x="5" y="17"/>
                    </a:lnTo>
                    <a:lnTo>
                      <a:pt x="5" y="17"/>
                    </a:lnTo>
                    <a:lnTo>
                      <a:pt x="28" y="16"/>
                    </a:lnTo>
                    <a:lnTo>
                      <a:pt x="28" y="14"/>
                    </a:lnTo>
                    <a:lnTo>
                      <a:pt x="26" y="2"/>
                    </a:lnTo>
                    <a:lnTo>
                      <a:pt x="28"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70" name="Freeform 1669"/>
              <p:cNvSpPr>
                <a:spLocks/>
              </p:cNvSpPr>
              <p:nvPr/>
            </p:nvSpPr>
            <p:spPr bwMode="auto">
              <a:xfrm>
                <a:off x="6593860" y="3002838"/>
                <a:ext cx="86902" cy="88229"/>
              </a:xfrm>
              <a:custGeom>
                <a:avLst/>
                <a:gdLst/>
                <a:ahLst/>
                <a:cxnLst>
                  <a:cxn ang="0">
                    <a:pos x="27" y="7"/>
                  </a:cxn>
                  <a:cxn ang="0">
                    <a:pos x="15" y="13"/>
                  </a:cxn>
                  <a:cxn ang="0">
                    <a:pos x="9" y="16"/>
                  </a:cxn>
                  <a:cxn ang="0">
                    <a:pos x="2" y="57"/>
                  </a:cxn>
                  <a:cxn ang="0">
                    <a:pos x="6" y="57"/>
                  </a:cxn>
                  <a:cxn ang="0">
                    <a:pos x="8" y="58"/>
                  </a:cxn>
                  <a:cxn ang="0">
                    <a:pos x="9" y="57"/>
                  </a:cxn>
                  <a:cxn ang="0">
                    <a:pos x="12" y="55"/>
                  </a:cxn>
                  <a:cxn ang="0">
                    <a:pos x="14" y="58"/>
                  </a:cxn>
                  <a:cxn ang="0">
                    <a:pos x="21" y="49"/>
                  </a:cxn>
                  <a:cxn ang="0">
                    <a:pos x="25" y="51"/>
                  </a:cxn>
                  <a:cxn ang="0">
                    <a:pos x="25" y="52"/>
                  </a:cxn>
                  <a:cxn ang="0">
                    <a:pos x="30" y="55"/>
                  </a:cxn>
                  <a:cxn ang="0">
                    <a:pos x="35" y="54"/>
                  </a:cxn>
                  <a:cxn ang="0">
                    <a:pos x="37" y="52"/>
                  </a:cxn>
                  <a:cxn ang="0">
                    <a:pos x="38" y="54"/>
                  </a:cxn>
                  <a:cxn ang="0">
                    <a:pos x="40" y="55"/>
                  </a:cxn>
                  <a:cxn ang="0">
                    <a:pos x="43" y="54"/>
                  </a:cxn>
                  <a:cxn ang="0">
                    <a:pos x="44" y="54"/>
                  </a:cxn>
                  <a:cxn ang="0">
                    <a:pos x="48" y="54"/>
                  </a:cxn>
                  <a:cxn ang="0">
                    <a:pos x="50" y="55"/>
                  </a:cxn>
                  <a:cxn ang="0">
                    <a:pos x="53" y="55"/>
                  </a:cxn>
                  <a:cxn ang="0">
                    <a:pos x="61" y="60"/>
                  </a:cxn>
                  <a:cxn ang="0">
                    <a:pos x="76" y="73"/>
                  </a:cxn>
                  <a:cxn ang="0">
                    <a:pos x="82" y="81"/>
                  </a:cxn>
                  <a:cxn ang="0">
                    <a:pos x="86" y="83"/>
                  </a:cxn>
                  <a:cxn ang="0">
                    <a:pos x="93" y="77"/>
                  </a:cxn>
                  <a:cxn ang="0">
                    <a:pos x="91" y="77"/>
                  </a:cxn>
                  <a:cxn ang="0">
                    <a:pos x="89" y="74"/>
                  </a:cxn>
                  <a:cxn ang="0">
                    <a:pos x="86" y="74"/>
                  </a:cxn>
                  <a:cxn ang="0">
                    <a:pos x="85" y="70"/>
                  </a:cxn>
                  <a:cxn ang="0">
                    <a:pos x="83" y="67"/>
                  </a:cxn>
                  <a:cxn ang="0">
                    <a:pos x="80" y="67"/>
                  </a:cxn>
                  <a:cxn ang="0">
                    <a:pos x="79" y="64"/>
                  </a:cxn>
                  <a:cxn ang="0">
                    <a:pos x="77" y="62"/>
                  </a:cxn>
                  <a:cxn ang="0">
                    <a:pos x="76" y="62"/>
                  </a:cxn>
                  <a:cxn ang="0">
                    <a:pos x="70" y="52"/>
                  </a:cxn>
                  <a:cxn ang="0">
                    <a:pos x="64" y="52"/>
                  </a:cxn>
                  <a:cxn ang="0">
                    <a:pos x="63" y="51"/>
                  </a:cxn>
                  <a:cxn ang="0">
                    <a:pos x="60" y="48"/>
                  </a:cxn>
                  <a:cxn ang="0">
                    <a:pos x="57" y="46"/>
                  </a:cxn>
                  <a:cxn ang="0">
                    <a:pos x="56" y="48"/>
                  </a:cxn>
                  <a:cxn ang="0">
                    <a:pos x="53" y="45"/>
                  </a:cxn>
                  <a:cxn ang="0">
                    <a:pos x="51" y="42"/>
                  </a:cxn>
                  <a:cxn ang="0">
                    <a:pos x="51" y="41"/>
                  </a:cxn>
                  <a:cxn ang="0">
                    <a:pos x="50" y="39"/>
                  </a:cxn>
                  <a:cxn ang="0">
                    <a:pos x="48" y="41"/>
                  </a:cxn>
                  <a:cxn ang="0">
                    <a:pos x="50" y="44"/>
                  </a:cxn>
                  <a:cxn ang="0">
                    <a:pos x="48" y="45"/>
                  </a:cxn>
                  <a:cxn ang="0">
                    <a:pos x="47" y="44"/>
                  </a:cxn>
                  <a:cxn ang="0">
                    <a:pos x="47" y="41"/>
                  </a:cxn>
                  <a:cxn ang="0">
                    <a:pos x="46" y="38"/>
                  </a:cxn>
                  <a:cxn ang="0">
                    <a:pos x="43" y="38"/>
                  </a:cxn>
                  <a:cxn ang="0">
                    <a:pos x="43" y="36"/>
                  </a:cxn>
                  <a:cxn ang="0">
                    <a:pos x="40" y="32"/>
                  </a:cxn>
                  <a:cxn ang="0">
                    <a:pos x="31" y="1"/>
                  </a:cxn>
                </a:cxnLst>
                <a:rect l="0" t="0" r="r" b="b"/>
                <a:pathLst>
                  <a:path w="95" h="84">
                    <a:moveTo>
                      <a:pt x="30" y="0"/>
                    </a:moveTo>
                    <a:lnTo>
                      <a:pt x="27" y="7"/>
                    </a:lnTo>
                    <a:lnTo>
                      <a:pt x="16" y="12"/>
                    </a:lnTo>
                    <a:lnTo>
                      <a:pt x="15" y="13"/>
                    </a:lnTo>
                    <a:lnTo>
                      <a:pt x="12" y="14"/>
                    </a:lnTo>
                    <a:lnTo>
                      <a:pt x="9" y="16"/>
                    </a:lnTo>
                    <a:lnTo>
                      <a:pt x="0" y="52"/>
                    </a:lnTo>
                    <a:lnTo>
                      <a:pt x="2" y="57"/>
                    </a:lnTo>
                    <a:lnTo>
                      <a:pt x="2" y="57"/>
                    </a:lnTo>
                    <a:lnTo>
                      <a:pt x="6" y="57"/>
                    </a:lnTo>
                    <a:lnTo>
                      <a:pt x="8" y="58"/>
                    </a:lnTo>
                    <a:lnTo>
                      <a:pt x="8" y="58"/>
                    </a:lnTo>
                    <a:lnTo>
                      <a:pt x="9" y="57"/>
                    </a:lnTo>
                    <a:lnTo>
                      <a:pt x="9" y="57"/>
                    </a:lnTo>
                    <a:lnTo>
                      <a:pt x="11" y="55"/>
                    </a:lnTo>
                    <a:lnTo>
                      <a:pt x="12" y="55"/>
                    </a:lnTo>
                    <a:lnTo>
                      <a:pt x="14" y="57"/>
                    </a:lnTo>
                    <a:lnTo>
                      <a:pt x="14" y="58"/>
                    </a:lnTo>
                    <a:lnTo>
                      <a:pt x="15" y="60"/>
                    </a:lnTo>
                    <a:lnTo>
                      <a:pt x="21" y="49"/>
                    </a:lnTo>
                    <a:lnTo>
                      <a:pt x="24" y="51"/>
                    </a:lnTo>
                    <a:lnTo>
                      <a:pt x="25" y="51"/>
                    </a:lnTo>
                    <a:lnTo>
                      <a:pt x="25" y="52"/>
                    </a:lnTo>
                    <a:lnTo>
                      <a:pt x="25" y="52"/>
                    </a:lnTo>
                    <a:lnTo>
                      <a:pt x="28" y="55"/>
                    </a:lnTo>
                    <a:lnTo>
                      <a:pt x="30" y="55"/>
                    </a:lnTo>
                    <a:lnTo>
                      <a:pt x="31" y="55"/>
                    </a:lnTo>
                    <a:lnTo>
                      <a:pt x="35" y="54"/>
                    </a:lnTo>
                    <a:lnTo>
                      <a:pt x="37" y="54"/>
                    </a:lnTo>
                    <a:lnTo>
                      <a:pt x="37" y="52"/>
                    </a:lnTo>
                    <a:lnTo>
                      <a:pt x="37" y="52"/>
                    </a:lnTo>
                    <a:lnTo>
                      <a:pt x="38" y="54"/>
                    </a:lnTo>
                    <a:lnTo>
                      <a:pt x="40" y="55"/>
                    </a:lnTo>
                    <a:lnTo>
                      <a:pt x="40" y="55"/>
                    </a:lnTo>
                    <a:lnTo>
                      <a:pt x="41" y="55"/>
                    </a:lnTo>
                    <a:lnTo>
                      <a:pt x="43" y="54"/>
                    </a:lnTo>
                    <a:lnTo>
                      <a:pt x="44" y="54"/>
                    </a:lnTo>
                    <a:lnTo>
                      <a:pt x="44" y="54"/>
                    </a:lnTo>
                    <a:lnTo>
                      <a:pt x="46" y="54"/>
                    </a:lnTo>
                    <a:lnTo>
                      <a:pt x="48" y="54"/>
                    </a:lnTo>
                    <a:lnTo>
                      <a:pt x="48" y="55"/>
                    </a:lnTo>
                    <a:lnTo>
                      <a:pt x="50" y="55"/>
                    </a:lnTo>
                    <a:lnTo>
                      <a:pt x="50" y="55"/>
                    </a:lnTo>
                    <a:lnTo>
                      <a:pt x="53" y="55"/>
                    </a:lnTo>
                    <a:lnTo>
                      <a:pt x="59" y="58"/>
                    </a:lnTo>
                    <a:lnTo>
                      <a:pt x="61" y="60"/>
                    </a:lnTo>
                    <a:lnTo>
                      <a:pt x="67" y="67"/>
                    </a:lnTo>
                    <a:lnTo>
                      <a:pt x="76" y="73"/>
                    </a:lnTo>
                    <a:lnTo>
                      <a:pt x="79" y="78"/>
                    </a:lnTo>
                    <a:lnTo>
                      <a:pt x="82" y="81"/>
                    </a:lnTo>
                    <a:lnTo>
                      <a:pt x="85" y="84"/>
                    </a:lnTo>
                    <a:lnTo>
                      <a:pt x="86" y="83"/>
                    </a:lnTo>
                    <a:lnTo>
                      <a:pt x="95" y="78"/>
                    </a:lnTo>
                    <a:lnTo>
                      <a:pt x="93" y="77"/>
                    </a:lnTo>
                    <a:lnTo>
                      <a:pt x="92" y="77"/>
                    </a:lnTo>
                    <a:lnTo>
                      <a:pt x="91" y="77"/>
                    </a:lnTo>
                    <a:lnTo>
                      <a:pt x="91" y="76"/>
                    </a:lnTo>
                    <a:lnTo>
                      <a:pt x="89" y="74"/>
                    </a:lnTo>
                    <a:lnTo>
                      <a:pt x="89" y="74"/>
                    </a:lnTo>
                    <a:lnTo>
                      <a:pt x="86" y="74"/>
                    </a:lnTo>
                    <a:lnTo>
                      <a:pt x="86" y="73"/>
                    </a:lnTo>
                    <a:lnTo>
                      <a:pt x="85" y="70"/>
                    </a:lnTo>
                    <a:lnTo>
                      <a:pt x="83" y="68"/>
                    </a:lnTo>
                    <a:lnTo>
                      <a:pt x="83" y="67"/>
                    </a:lnTo>
                    <a:lnTo>
                      <a:pt x="82" y="67"/>
                    </a:lnTo>
                    <a:lnTo>
                      <a:pt x="80" y="67"/>
                    </a:lnTo>
                    <a:lnTo>
                      <a:pt x="79" y="64"/>
                    </a:lnTo>
                    <a:lnTo>
                      <a:pt x="79" y="64"/>
                    </a:lnTo>
                    <a:lnTo>
                      <a:pt x="77" y="64"/>
                    </a:lnTo>
                    <a:lnTo>
                      <a:pt x="77" y="62"/>
                    </a:lnTo>
                    <a:lnTo>
                      <a:pt x="76" y="62"/>
                    </a:lnTo>
                    <a:lnTo>
                      <a:pt x="76" y="62"/>
                    </a:lnTo>
                    <a:lnTo>
                      <a:pt x="76" y="61"/>
                    </a:lnTo>
                    <a:lnTo>
                      <a:pt x="70" y="52"/>
                    </a:lnTo>
                    <a:lnTo>
                      <a:pt x="67" y="52"/>
                    </a:lnTo>
                    <a:lnTo>
                      <a:pt x="64" y="52"/>
                    </a:lnTo>
                    <a:lnTo>
                      <a:pt x="63" y="51"/>
                    </a:lnTo>
                    <a:lnTo>
                      <a:pt x="63" y="51"/>
                    </a:lnTo>
                    <a:lnTo>
                      <a:pt x="61" y="49"/>
                    </a:lnTo>
                    <a:lnTo>
                      <a:pt x="60" y="48"/>
                    </a:lnTo>
                    <a:lnTo>
                      <a:pt x="59" y="46"/>
                    </a:lnTo>
                    <a:lnTo>
                      <a:pt x="57" y="46"/>
                    </a:lnTo>
                    <a:lnTo>
                      <a:pt x="56" y="48"/>
                    </a:lnTo>
                    <a:lnTo>
                      <a:pt x="56" y="48"/>
                    </a:lnTo>
                    <a:lnTo>
                      <a:pt x="54" y="48"/>
                    </a:lnTo>
                    <a:lnTo>
                      <a:pt x="53" y="45"/>
                    </a:lnTo>
                    <a:lnTo>
                      <a:pt x="51" y="44"/>
                    </a:lnTo>
                    <a:lnTo>
                      <a:pt x="51" y="42"/>
                    </a:lnTo>
                    <a:lnTo>
                      <a:pt x="53" y="42"/>
                    </a:lnTo>
                    <a:lnTo>
                      <a:pt x="51" y="41"/>
                    </a:lnTo>
                    <a:lnTo>
                      <a:pt x="51" y="41"/>
                    </a:lnTo>
                    <a:lnTo>
                      <a:pt x="50" y="39"/>
                    </a:lnTo>
                    <a:lnTo>
                      <a:pt x="48" y="41"/>
                    </a:lnTo>
                    <a:lnTo>
                      <a:pt x="48" y="41"/>
                    </a:lnTo>
                    <a:lnTo>
                      <a:pt x="48" y="42"/>
                    </a:lnTo>
                    <a:lnTo>
                      <a:pt x="50" y="44"/>
                    </a:lnTo>
                    <a:lnTo>
                      <a:pt x="48" y="44"/>
                    </a:lnTo>
                    <a:lnTo>
                      <a:pt x="48" y="45"/>
                    </a:lnTo>
                    <a:lnTo>
                      <a:pt x="47" y="44"/>
                    </a:lnTo>
                    <a:lnTo>
                      <a:pt x="47" y="44"/>
                    </a:lnTo>
                    <a:lnTo>
                      <a:pt x="47" y="42"/>
                    </a:lnTo>
                    <a:lnTo>
                      <a:pt x="47" y="41"/>
                    </a:lnTo>
                    <a:lnTo>
                      <a:pt x="46" y="38"/>
                    </a:lnTo>
                    <a:lnTo>
                      <a:pt x="46" y="38"/>
                    </a:lnTo>
                    <a:lnTo>
                      <a:pt x="44" y="38"/>
                    </a:lnTo>
                    <a:lnTo>
                      <a:pt x="43" y="38"/>
                    </a:lnTo>
                    <a:lnTo>
                      <a:pt x="43" y="36"/>
                    </a:lnTo>
                    <a:lnTo>
                      <a:pt x="43" y="36"/>
                    </a:lnTo>
                    <a:lnTo>
                      <a:pt x="43" y="35"/>
                    </a:lnTo>
                    <a:lnTo>
                      <a:pt x="40" y="32"/>
                    </a:lnTo>
                    <a:lnTo>
                      <a:pt x="35" y="9"/>
                    </a:lnTo>
                    <a:lnTo>
                      <a:pt x="31" y="1"/>
                    </a:lnTo>
                    <a:lnTo>
                      <a:pt x="3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71" name="Freeform 1670"/>
              <p:cNvSpPr>
                <a:spLocks/>
              </p:cNvSpPr>
              <p:nvPr/>
            </p:nvSpPr>
            <p:spPr bwMode="auto">
              <a:xfrm>
                <a:off x="6593860" y="3002838"/>
                <a:ext cx="86902" cy="88229"/>
              </a:xfrm>
              <a:custGeom>
                <a:avLst/>
                <a:gdLst/>
                <a:ahLst/>
                <a:cxnLst>
                  <a:cxn ang="0">
                    <a:pos x="27" y="7"/>
                  </a:cxn>
                  <a:cxn ang="0">
                    <a:pos x="15" y="13"/>
                  </a:cxn>
                  <a:cxn ang="0">
                    <a:pos x="9" y="16"/>
                  </a:cxn>
                  <a:cxn ang="0">
                    <a:pos x="2" y="57"/>
                  </a:cxn>
                  <a:cxn ang="0">
                    <a:pos x="6" y="57"/>
                  </a:cxn>
                  <a:cxn ang="0">
                    <a:pos x="8" y="58"/>
                  </a:cxn>
                  <a:cxn ang="0">
                    <a:pos x="9" y="57"/>
                  </a:cxn>
                  <a:cxn ang="0">
                    <a:pos x="12" y="55"/>
                  </a:cxn>
                  <a:cxn ang="0">
                    <a:pos x="14" y="58"/>
                  </a:cxn>
                  <a:cxn ang="0">
                    <a:pos x="21" y="49"/>
                  </a:cxn>
                  <a:cxn ang="0">
                    <a:pos x="25" y="51"/>
                  </a:cxn>
                  <a:cxn ang="0">
                    <a:pos x="25" y="52"/>
                  </a:cxn>
                  <a:cxn ang="0">
                    <a:pos x="30" y="55"/>
                  </a:cxn>
                  <a:cxn ang="0">
                    <a:pos x="35" y="54"/>
                  </a:cxn>
                  <a:cxn ang="0">
                    <a:pos x="37" y="52"/>
                  </a:cxn>
                  <a:cxn ang="0">
                    <a:pos x="38" y="54"/>
                  </a:cxn>
                  <a:cxn ang="0">
                    <a:pos x="40" y="55"/>
                  </a:cxn>
                  <a:cxn ang="0">
                    <a:pos x="43" y="54"/>
                  </a:cxn>
                  <a:cxn ang="0">
                    <a:pos x="44" y="54"/>
                  </a:cxn>
                  <a:cxn ang="0">
                    <a:pos x="48" y="54"/>
                  </a:cxn>
                  <a:cxn ang="0">
                    <a:pos x="50" y="55"/>
                  </a:cxn>
                  <a:cxn ang="0">
                    <a:pos x="53" y="55"/>
                  </a:cxn>
                  <a:cxn ang="0">
                    <a:pos x="61" y="60"/>
                  </a:cxn>
                  <a:cxn ang="0">
                    <a:pos x="76" y="73"/>
                  </a:cxn>
                  <a:cxn ang="0">
                    <a:pos x="82" y="81"/>
                  </a:cxn>
                  <a:cxn ang="0">
                    <a:pos x="86" y="83"/>
                  </a:cxn>
                  <a:cxn ang="0">
                    <a:pos x="93" y="77"/>
                  </a:cxn>
                  <a:cxn ang="0">
                    <a:pos x="91" y="77"/>
                  </a:cxn>
                  <a:cxn ang="0">
                    <a:pos x="89" y="74"/>
                  </a:cxn>
                  <a:cxn ang="0">
                    <a:pos x="86" y="74"/>
                  </a:cxn>
                  <a:cxn ang="0">
                    <a:pos x="85" y="70"/>
                  </a:cxn>
                  <a:cxn ang="0">
                    <a:pos x="83" y="67"/>
                  </a:cxn>
                  <a:cxn ang="0">
                    <a:pos x="80" y="67"/>
                  </a:cxn>
                  <a:cxn ang="0">
                    <a:pos x="79" y="64"/>
                  </a:cxn>
                  <a:cxn ang="0">
                    <a:pos x="77" y="62"/>
                  </a:cxn>
                  <a:cxn ang="0">
                    <a:pos x="76" y="62"/>
                  </a:cxn>
                  <a:cxn ang="0">
                    <a:pos x="70" y="52"/>
                  </a:cxn>
                  <a:cxn ang="0">
                    <a:pos x="64" y="52"/>
                  </a:cxn>
                  <a:cxn ang="0">
                    <a:pos x="63" y="51"/>
                  </a:cxn>
                  <a:cxn ang="0">
                    <a:pos x="60" y="48"/>
                  </a:cxn>
                  <a:cxn ang="0">
                    <a:pos x="57" y="46"/>
                  </a:cxn>
                  <a:cxn ang="0">
                    <a:pos x="56" y="48"/>
                  </a:cxn>
                  <a:cxn ang="0">
                    <a:pos x="53" y="45"/>
                  </a:cxn>
                  <a:cxn ang="0">
                    <a:pos x="51" y="42"/>
                  </a:cxn>
                  <a:cxn ang="0">
                    <a:pos x="51" y="41"/>
                  </a:cxn>
                  <a:cxn ang="0">
                    <a:pos x="50" y="39"/>
                  </a:cxn>
                  <a:cxn ang="0">
                    <a:pos x="48" y="41"/>
                  </a:cxn>
                  <a:cxn ang="0">
                    <a:pos x="50" y="44"/>
                  </a:cxn>
                  <a:cxn ang="0">
                    <a:pos x="48" y="45"/>
                  </a:cxn>
                  <a:cxn ang="0">
                    <a:pos x="47" y="44"/>
                  </a:cxn>
                  <a:cxn ang="0">
                    <a:pos x="47" y="41"/>
                  </a:cxn>
                  <a:cxn ang="0">
                    <a:pos x="46" y="38"/>
                  </a:cxn>
                  <a:cxn ang="0">
                    <a:pos x="43" y="38"/>
                  </a:cxn>
                  <a:cxn ang="0">
                    <a:pos x="43" y="36"/>
                  </a:cxn>
                  <a:cxn ang="0">
                    <a:pos x="40" y="32"/>
                  </a:cxn>
                  <a:cxn ang="0">
                    <a:pos x="31" y="1"/>
                  </a:cxn>
                </a:cxnLst>
                <a:rect l="0" t="0" r="r" b="b"/>
                <a:pathLst>
                  <a:path w="95" h="84">
                    <a:moveTo>
                      <a:pt x="30" y="0"/>
                    </a:moveTo>
                    <a:lnTo>
                      <a:pt x="27" y="7"/>
                    </a:lnTo>
                    <a:lnTo>
                      <a:pt x="16" y="12"/>
                    </a:lnTo>
                    <a:lnTo>
                      <a:pt x="15" y="13"/>
                    </a:lnTo>
                    <a:lnTo>
                      <a:pt x="12" y="14"/>
                    </a:lnTo>
                    <a:lnTo>
                      <a:pt x="9" y="16"/>
                    </a:lnTo>
                    <a:lnTo>
                      <a:pt x="0" y="52"/>
                    </a:lnTo>
                    <a:lnTo>
                      <a:pt x="2" y="57"/>
                    </a:lnTo>
                    <a:lnTo>
                      <a:pt x="2" y="57"/>
                    </a:lnTo>
                    <a:lnTo>
                      <a:pt x="6" y="57"/>
                    </a:lnTo>
                    <a:lnTo>
                      <a:pt x="8" y="58"/>
                    </a:lnTo>
                    <a:lnTo>
                      <a:pt x="8" y="58"/>
                    </a:lnTo>
                    <a:lnTo>
                      <a:pt x="9" y="57"/>
                    </a:lnTo>
                    <a:lnTo>
                      <a:pt x="9" y="57"/>
                    </a:lnTo>
                    <a:lnTo>
                      <a:pt x="11" y="55"/>
                    </a:lnTo>
                    <a:lnTo>
                      <a:pt x="12" y="55"/>
                    </a:lnTo>
                    <a:lnTo>
                      <a:pt x="14" y="57"/>
                    </a:lnTo>
                    <a:lnTo>
                      <a:pt x="14" y="58"/>
                    </a:lnTo>
                    <a:lnTo>
                      <a:pt x="15" y="60"/>
                    </a:lnTo>
                    <a:lnTo>
                      <a:pt x="21" y="49"/>
                    </a:lnTo>
                    <a:lnTo>
                      <a:pt x="24" y="51"/>
                    </a:lnTo>
                    <a:lnTo>
                      <a:pt x="25" y="51"/>
                    </a:lnTo>
                    <a:lnTo>
                      <a:pt x="25" y="52"/>
                    </a:lnTo>
                    <a:lnTo>
                      <a:pt x="25" y="52"/>
                    </a:lnTo>
                    <a:lnTo>
                      <a:pt x="28" y="55"/>
                    </a:lnTo>
                    <a:lnTo>
                      <a:pt x="30" y="55"/>
                    </a:lnTo>
                    <a:lnTo>
                      <a:pt x="31" y="55"/>
                    </a:lnTo>
                    <a:lnTo>
                      <a:pt x="35" y="54"/>
                    </a:lnTo>
                    <a:lnTo>
                      <a:pt x="37" y="54"/>
                    </a:lnTo>
                    <a:lnTo>
                      <a:pt x="37" y="52"/>
                    </a:lnTo>
                    <a:lnTo>
                      <a:pt x="37" y="52"/>
                    </a:lnTo>
                    <a:lnTo>
                      <a:pt x="38" y="54"/>
                    </a:lnTo>
                    <a:lnTo>
                      <a:pt x="40" y="55"/>
                    </a:lnTo>
                    <a:lnTo>
                      <a:pt x="40" y="55"/>
                    </a:lnTo>
                    <a:lnTo>
                      <a:pt x="41" y="55"/>
                    </a:lnTo>
                    <a:lnTo>
                      <a:pt x="43" y="54"/>
                    </a:lnTo>
                    <a:lnTo>
                      <a:pt x="44" y="54"/>
                    </a:lnTo>
                    <a:lnTo>
                      <a:pt x="44" y="54"/>
                    </a:lnTo>
                    <a:lnTo>
                      <a:pt x="46" y="54"/>
                    </a:lnTo>
                    <a:lnTo>
                      <a:pt x="48" y="54"/>
                    </a:lnTo>
                    <a:lnTo>
                      <a:pt x="48" y="55"/>
                    </a:lnTo>
                    <a:lnTo>
                      <a:pt x="50" y="55"/>
                    </a:lnTo>
                    <a:lnTo>
                      <a:pt x="50" y="55"/>
                    </a:lnTo>
                    <a:lnTo>
                      <a:pt x="53" y="55"/>
                    </a:lnTo>
                    <a:lnTo>
                      <a:pt x="59" y="58"/>
                    </a:lnTo>
                    <a:lnTo>
                      <a:pt x="61" y="60"/>
                    </a:lnTo>
                    <a:lnTo>
                      <a:pt x="67" y="67"/>
                    </a:lnTo>
                    <a:lnTo>
                      <a:pt x="76" y="73"/>
                    </a:lnTo>
                    <a:lnTo>
                      <a:pt x="79" y="78"/>
                    </a:lnTo>
                    <a:lnTo>
                      <a:pt x="82" y="81"/>
                    </a:lnTo>
                    <a:lnTo>
                      <a:pt x="85" y="84"/>
                    </a:lnTo>
                    <a:lnTo>
                      <a:pt x="86" y="83"/>
                    </a:lnTo>
                    <a:lnTo>
                      <a:pt x="95" y="78"/>
                    </a:lnTo>
                    <a:lnTo>
                      <a:pt x="93" y="77"/>
                    </a:lnTo>
                    <a:lnTo>
                      <a:pt x="92" y="77"/>
                    </a:lnTo>
                    <a:lnTo>
                      <a:pt x="91" y="77"/>
                    </a:lnTo>
                    <a:lnTo>
                      <a:pt x="91" y="76"/>
                    </a:lnTo>
                    <a:lnTo>
                      <a:pt x="89" y="74"/>
                    </a:lnTo>
                    <a:lnTo>
                      <a:pt x="89" y="74"/>
                    </a:lnTo>
                    <a:lnTo>
                      <a:pt x="86" y="74"/>
                    </a:lnTo>
                    <a:lnTo>
                      <a:pt x="86" y="73"/>
                    </a:lnTo>
                    <a:lnTo>
                      <a:pt x="85" y="70"/>
                    </a:lnTo>
                    <a:lnTo>
                      <a:pt x="83" y="68"/>
                    </a:lnTo>
                    <a:lnTo>
                      <a:pt x="83" y="67"/>
                    </a:lnTo>
                    <a:lnTo>
                      <a:pt x="82" y="67"/>
                    </a:lnTo>
                    <a:lnTo>
                      <a:pt x="80" y="67"/>
                    </a:lnTo>
                    <a:lnTo>
                      <a:pt x="79" y="64"/>
                    </a:lnTo>
                    <a:lnTo>
                      <a:pt x="79" y="64"/>
                    </a:lnTo>
                    <a:lnTo>
                      <a:pt x="77" y="64"/>
                    </a:lnTo>
                    <a:lnTo>
                      <a:pt x="77" y="62"/>
                    </a:lnTo>
                    <a:lnTo>
                      <a:pt x="76" y="62"/>
                    </a:lnTo>
                    <a:lnTo>
                      <a:pt x="76" y="62"/>
                    </a:lnTo>
                    <a:lnTo>
                      <a:pt x="76" y="61"/>
                    </a:lnTo>
                    <a:lnTo>
                      <a:pt x="70" y="52"/>
                    </a:lnTo>
                    <a:lnTo>
                      <a:pt x="67" y="52"/>
                    </a:lnTo>
                    <a:lnTo>
                      <a:pt x="64" y="52"/>
                    </a:lnTo>
                    <a:lnTo>
                      <a:pt x="63" y="51"/>
                    </a:lnTo>
                    <a:lnTo>
                      <a:pt x="63" y="51"/>
                    </a:lnTo>
                    <a:lnTo>
                      <a:pt x="61" y="49"/>
                    </a:lnTo>
                    <a:lnTo>
                      <a:pt x="60" y="48"/>
                    </a:lnTo>
                    <a:lnTo>
                      <a:pt x="59" y="46"/>
                    </a:lnTo>
                    <a:lnTo>
                      <a:pt x="57" y="46"/>
                    </a:lnTo>
                    <a:lnTo>
                      <a:pt x="56" y="48"/>
                    </a:lnTo>
                    <a:lnTo>
                      <a:pt x="56" y="48"/>
                    </a:lnTo>
                    <a:lnTo>
                      <a:pt x="54" y="48"/>
                    </a:lnTo>
                    <a:lnTo>
                      <a:pt x="53" y="45"/>
                    </a:lnTo>
                    <a:lnTo>
                      <a:pt x="51" y="44"/>
                    </a:lnTo>
                    <a:lnTo>
                      <a:pt x="51" y="42"/>
                    </a:lnTo>
                    <a:lnTo>
                      <a:pt x="53" y="42"/>
                    </a:lnTo>
                    <a:lnTo>
                      <a:pt x="51" y="41"/>
                    </a:lnTo>
                    <a:lnTo>
                      <a:pt x="51" y="41"/>
                    </a:lnTo>
                    <a:lnTo>
                      <a:pt x="50" y="39"/>
                    </a:lnTo>
                    <a:lnTo>
                      <a:pt x="48" y="41"/>
                    </a:lnTo>
                    <a:lnTo>
                      <a:pt x="48" y="41"/>
                    </a:lnTo>
                    <a:lnTo>
                      <a:pt x="48" y="42"/>
                    </a:lnTo>
                    <a:lnTo>
                      <a:pt x="50" y="44"/>
                    </a:lnTo>
                    <a:lnTo>
                      <a:pt x="48" y="44"/>
                    </a:lnTo>
                    <a:lnTo>
                      <a:pt x="48" y="45"/>
                    </a:lnTo>
                    <a:lnTo>
                      <a:pt x="47" y="44"/>
                    </a:lnTo>
                    <a:lnTo>
                      <a:pt x="47" y="44"/>
                    </a:lnTo>
                    <a:lnTo>
                      <a:pt x="47" y="42"/>
                    </a:lnTo>
                    <a:lnTo>
                      <a:pt x="47" y="41"/>
                    </a:lnTo>
                    <a:lnTo>
                      <a:pt x="46" y="38"/>
                    </a:lnTo>
                    <a:lnTo>
                      <a:pt x="46" y="38"/>
                    </a:lnTo>
                    <a:lnTo>
                      <a:pt x="44" y="38"/>
                    </a:lnTo>
                    <a:lnTo>
                      <a:pt x="43" y="38"/>
                    </a:lnTo>
                    <a:lnTo>
                      <a:pt x="43" y="36"/>
                    </a:lnTo>
                    <a:lnTo>
                      <a:pt x="43" y="36"/>
                    </a:lnTo>
                    <a:lnTo>
                      <a:pt x="43" y="35"/>
                    </a:lnTo>
                    <a:lnTo>
                      <a:pt x="40" y="32"/>
                    </a:lnTo>
                    <a:lnTo>
                      <a:pt x="35" y="9"/>
                    </a:lnTo>
                    <a:lnTo>
                      <a:pt x="31" y="1"/>
                    </a:lnTo>
                    <a:lnTo>
                      <a:pt x="3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72" name="Freeform 1671"/>
              <p:cNvSpPr>
                <a:spLocks/>
              </p:cNvSpPr>
              <p:nvPr/>
            </p:nvSpPr>
            <p:spPr bwMode="auto">
              <a:xfrm>
                <a:off x="6499057" y="3308091"/>
                <a:ext cx="22823" cy="31439"/>
              </a:xfrm>
              <a:custGeom>
                <a:avLst/>
                <a:gdLst/>
                <a:ahLst/>
                <a:cxnLst>
                  <a:cxn ang="0">
                    <a:pos x="22" y="2"/>
                  </a:cxn>
                  <a:cxn ang="0">
                    <a:pos x="21" y="0"/>
                  </a:cxn>
                  <a:cxn ang="0">
                    <a:pos x="21" y="0"/>
                  </a:cxn>
                  <a:cxn ang="0">
                    <a:pos x="21" y="0"/>
                  </a:cxn>
                  <a:cxn ang="0">
                    <a:pos x="19" y="0"/>
                  </a:cxn>
                  <a:cxn ang="0">
                    <a:pos x="15" y="2"/>
                  </a:cxn>
                  <a:cxn ang="0">
                    <a:pos x="13" y="0"/>
                  </a:cxn>
                  <a:cxn ang="0">
                    <a:pos x="12" y="2"/>
                  </a:cxn>
                  <a:cxn ang="0">
                    <a:pos x="12" y="2"/>
                  </a:cxn>
                  <a:cxn ang="0">
                    <a:pos x="12" y="5"/>
                  </a:cxn>
                  <a:cxn ang="0">
                    <a:pos x="11" y="6"/>
                  </a:cxn>
                  <a:cxn ang="0">
                    <a:pos x="9" y="6"/>
                  </a:cxn>
                  <a:cxn ang="0">
                    <a:pos x="8" y="6"/>
                  </a:cxn>
                  <a:cxn ang="0">
                    <a:pos x="6" y="6"/>
                  </a:cxn>
                  <a:cxn ang="0">
                    <a:pos x="5" y="6"/>
                  </a:cxn>
                  <a:cxn ang="0">
                    <a:pos x="3" y="3"/>
                  </a:cxn>
                  <a:cxn ang="0">
                    <a:pos x="3" y="2"/>
                  </a:cxn>
                  <a:cxn ang="0">
                    <a:pos x="2" y="2"/>
                  </a:cxn>
                  <a:cxn ang="0">
                    <a:pos x="0" y="3"/>
                  </a:cxn>
                  <a:cxn ang="0">
                    <a:pos x="0" y="6"/>
                  </a:cxn>
                  <a:cxn ang="0">
                    <a:pos x="0" y="6"/>
                  </a:cxn>
                  <a:cxn ang="0">
                    <a:pos x="3" y="9"/>
                  </a:cxn>
                  <a:cxn ang="0">
                    <a:pos x="3" y="15"/>
                  </a:cxn>
                  <a:cxn ang="0">
                    <a:pos x="3" y="16"/>
                  </a:cxn>
                  <a:cxn ang="0">
                    <a:pos x="5" y="27"/>
                  </a:cxn>
                  <a:cxn ang="0">
                    <a:pos x="8" y="30"/>
                  </a:cxn>
                  <a:cxn ang="0">
                    <a:pos x="9" y="30"/>
                  </a:cxn>
                  <a:cxn ang="0">
                    <a:pos x="15" y="28"/>
                  </a:cxn>
                  <a:cxn ang="0">
                    <a:pos x="25" y="12"/>
                  </a:cxn>
                  <a:cxn ang="0">
                    <a:pos x="25" y="11"/>
                  </a:cxn>
                  <a:cxn ang="0">
                    <a:pos x="24" y="9"/>
                  </a:cxn>
                  <a:cxn ang="0">
                    <a:pos x="22" y="8"/>
                  </a:cxn>
                  <a:cxn ang="0">
                    <a:pos x="21" y="8"/>
                  </a:cxn>
                  <a:cxn ang="0">
                    <a:pos x="21" y="6"/>
                  </a:cxn>
                  <a:cxn ang="0">
                    <a:pos x="21" y="5"/>
                  </a:cxn>
                  <a:cxn ang="0">
                    <a:pos x="21" y="3"/>
                  </a:cxn>
                  <a:cxn ang="0">
                    <a:pos x="22" y="2"/>
                  </a:cxn>
                </a:cxnLst>
                <a:rect l="0" t="0" r="r" b="b"/>
                <a:pathLst>
                  <a:path w="25" h="30">
                    <a:moveTo>
                      <a:pt x="22" y="2"/>
                    </a:moveTo>
                    <a:lnTo>
                      <a:pt x="21" y="0"/>
                    </a:lnTo>
                    <a:lnTo>
                      <a:pt x="21" y="0"/>
                    </a:lnTo>
                    <a:lnTo>
                      <a:pt x="21" y="0"/>
                    </a:lnTo>
                    <a:lnTo>
                      <a:pt x="19" y="0"/>
                    </a:lnTo>
                    <a:lnTo>
                      <a:pt x="15" y="2"/>
                    </a:lnTo>
                    <a:lnTo>
                      <a:pt x="13" y="0"/>
                    </a:lnTo>
                    <a:lnTo>
                      <a:pt x="12" y="2"/>
                    </a:lnTo>
                    <a:lnTo>
                      <a:pt x="12" y="2"/>
                    </a:lnTo>
                    <a:lnTo>
                      <a:pt x="12" y="5"/>
                    </a:lnTo>
                    <a:lnTo>
                      <a:pt x="11" y="6"/>
                    </a:lnTo>
                    <a:lnTo>
                      <a:pt x="9" y="6"/>
                    </a:lnTo>
                    <a:lnTo>
                      <a:pt x="8" y="6"/>
                    </a:lnTo>
                    <a:lnTo>
                      <a:pt x="6" y="6"/>
                    </a:lnTo>
                    <a:lnTo>
                      <a:pt x="5" y="6"/>
                    </a:lnTo>
                    <a:lnTo>
                      <a:pt x="3" y="3"/>
                    </a:lnTo>
                    <a:lnTo>
                      <a:pt x="3" y="2"/>
                    </a:lnTo>
                    <a:lnTo>
                      <a:pt x="2" y="2"/>
                    </a:lnTo>
                    <a:lnTo>
                      <a:pt x="0" y="3"/>
                    </a:lnTo>
                    <a:lnTo>
                      <a:pt x="0" y="6"/>
                    </a:lnTo>
                    <a:lnTo>
                      <a:pt x="0" y="6"/>
                    </a:lnTo>
                    <a:lnTo>
                      <a:pt x="3" y="9"/>
                    </a:lnTo>
                    <a:lnTo>
                      <a:pt x="3" y="15"/>
                    </a:lnTo>
                    <a:lnTo>
                      <a:pt x="3" y="16"/>
                    </a:lnTo>
                    <a:lnTo>
                      <a:pt x="5" y="27"/>
                    </a:lnTo>
                    <a:lnTo>
                      <a:pt x="8" y="30"/>
                    </a:lnTo>
                    <a:lnTo>
                      <a:pt x="9" y="30"/>
                    </a:lnTo>
                    <a:lnTo>
                      <a:pt x="15" y="28"/>
                    </a:lnTo>
                    <a:lnTo>
                      <a:pt x="25" y="12"/>
                    </a:lnTo>
                    <a:lnTo>
                      <a:pt x="25" y="11"/>
                    </a:lnTo>
                    <a:lnTo>
                      <a:pt x="24" y="9"/>
                    </a:lnTo>
                    <a:lnTo>
                      <a:pt x="22" y="8"/>
                    </a:lnTo>
                    <a:lnTo>
                      <a:pt x="21" y="8"/>
                    </a:lnTo>
                    <a:lnTo>
                      <a:pt x="21" y="6"/>
                    </a:lnTo>
                    <a:lnTo>
                      <a:pt x="21" y="5"/>
                    </a:lnTo>
                    <a:lnTo>
                      <a:pt x="21" y="3"/>
                    </a:lnTo>
                    <a:lnTo>
                      <a:pt x="22"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73" name="Freeform 1672"/>
              <p:cNvSpPr>
                <a:spLocks/>
              </p:cNvSpPr>
              <p:nvPr/>
            </p:nvSpPr>
            <p:spPr bwMode="auto">
              <a:xfrm>
                <a:off x="6499057" y="3308091"/>
                <a:ext cx="22823" cy="31439"/>
              </a:xfrm>
              <a:custGeom>
                <a:avLst/>
                <a:gdLst/>
                <a:ahLst/>
                <a:cxnLst>
                  <a:cxn ang="0">
                    <a:pos x="22" y="2"/>
                  </a:cxn>
                  <a:cxn ang="0">
                    <a:pos x="21" y="0"/>
                  </a:cxn>
                  <a:cxn ang="0">
                    <a:pos x="21" y="0"/>
                  </a:cxn>
                  <a:cxn ang="0">
                    <a:pos x="21" y="0"/>
                  </a:cxn>
                  <a:cxn ang="0">
                    <a:pos x="19" y="0"/>
                  </a:cxn>
                  <a:cxn ang="0">
                    <a:pos x="15" y="2"/>
                  </a:cxn>
                  <a:cxn ang="0">
                    <a:pos x="13" y="0"/>
                  </a:cxn>
                  <a:cxn ang="0">
                    <a:pos x="12" y="2"/>
                  </a:cxn>
                  <a:cxn ang="0">
                    <a:pos x="12" y="2"/>
                  </a:cxn>
                  <a:cxn ang="0">
                    <a:pos x="12" y="5"/>
                  </a:cxn>
                  <a:cxn ang="0">
                    <a:pos x="11" y="6"/>
                  </a:cxn>
                  <a:cxn ang="0">
                    <a:pos x="9" y="6"/>
                  </a:cxn>
                  <a:cxn ang="0">
                    <a:pos x="8" y="6"/>
                  </a:cxn>
                  <a:cxn ang="0">
                    <a:pos x="6" y="6"/>
                  </a:cxn>
                  <a:cxn ang="0">
                    <a:pos x="5" y="6"/>
                  </a:cxn>
                  <a:cxn ang="0">
                    <a:pos x="3" y="3"/>
                  </a:cxn>
                  <a:cxn ang="0">
                    <a:pos x="3" y="2"/>
                  </a:cxn>
                  <a:cxn ang="0">
                    <a:pos x="2" y="2"/>
                  </a:cxn>
                  <a:cxn ang="0">
                    <a:pos x="0" y="3"/>
                  </a:cxn>
                  <a:cxn ang="0">
                    <a:pos x="0" y="6"/>
                  </a:cxn>
                  <a:cxn ang="0">
                    <a:pos x="0" y="6"/>
                  </a:cxn>
                  <a:cxn ang="0">
                    <a:pos x="3" y="9"/>
                  </a:cxn>
                  <a:cxn ang="0">
                    <a:pos x="3" y="15"/>
                  </a:cxn>
                  <a:cxn ang="0">
                    <a:pos x="3" y="16"/>
                  </a:cxn>
                  <a:cxn ang="0">
                    <a:pos x="5" y="27"/>
                  </a:cxn>
                  <a:cxn ang="0">
                    <a:pos x="8" y="30"/>
                  </a:cxn>
                  <a:cxn ang="0">
                    <a:pos x="9" y="30"/>
                  </a:cxn>
                  <a:cxn ang="0">
                    <a:pos x="15" y="28"/>
                  </a:cxn>
                  <a:cxn ang="0">
                    <a:pos x="25" y="12"/>
                  </a:cxn>
                  <a:cxn ang="0">
                    <a:pos x="25" y="11"/>
                  </a:cxn>
                  <a:cxn ang="0">
                    <a:pos x="24" y="9"/>
                  </a:cxn>
                  <a:cxn ang="0">
                    <a:pos x="22" y="8"/>
                  </a:cxn>
                  <a:cxn ang="0">
                    <a:pos x="21" y="8"/>
                  </a:cxn>
                  <a:cxn ang="0">
                    <a:pos x="21" y="6"/>
                  </a:cxn>
                  <a:cxn ang="0">
                    <a:pos x="21" y="5"/>
                  </a:cxn>
                  <a:cxn ang="0">
                    <a:pos x="21" y="3"/>
                  </a:cxn>
                  <a:cxn ang="0">
                    <a:pos x="22" y="2"/>
                  </a:cxn>
                </a:cxnLst>
                <a:rect l="0" t="0" r="r" b="b"/>
                <a:pathLst>
                  <a:path w="25" h="30">
                    <a:moveTo>
                      <a:pt x="22" y="2"/>
                    </a:moveTo>
                    <a:lnTo>
                      <a:pt x="21" y="0"/>
                    </a:lnTo>
                    <a:lnTo>
                      <a:pt x="21" y="0"/>
                    </a:lnTo>
                    <a:lnTo>
                      <a:pt x="21" y="0"/>
                    </a:lnTo>
                    <a:lnTo>
                      <a:pt x="19" y="0"/>
                    </a:lnTo>
                    <a:lnTo>
                      <a:pt x="15" y="2"/>
                    </a:lnTo>
                    <a:lnTo>
                      <a:pt x="13" y="0"/>
                    </a:lnTo>
                    <a:lnTo>
                      <a:pt x="12" y="2"/>
                    </a:lnTo>
                    <a:lnTo>
                      <a:pt x="12" y="2"/>
                    </a:lnTo>
                    <a:lnTo>
                      <a:pt x="12" y="5"/>
                    </a:lnTo>
                    <a:lnTo>
                      <a:pt x="11" y="6"/>
                    </a:lnTo>
                    <a:lnTo>
                      <a:pt x="9" y="6"/>
                    </a:lnTo>
                    <a:lnTo>
                      <a:pt x="8" y="6"/>
                    </a:lnTo>
                    <a:lnTo>
                      <a:pt x="6" y="6"/>
                    </a:lnTo>
                    <a:lnTo>
                      <a:pt x="5" y="6"/>
                    </a:lnTo>
                    <a:lnTo>
                      <a:pt x="3" y="3"/>
                    </a:lnTo>
                    <a:lnTo>
                      <a:pt x="3" y="2"/>
                    </a:lnTo>
                    <a:lnTo>
                      <a:pt x="2" y="2"/>
                    </a:lnTo>
                    <a:lnTo>
                      <a:pt x="0" y="3"/>
                    </a:lnTo>
                    <a:lnTo>
                      <a:pt x="0" y="6"/>
                    </a:lnTo>
                    <a:lnTo>
                      <a:pt x="0" y="6"/>
                    </a:lnTo>
                    <a:lnTo>
                      <a:pt x="3" y="9"/>
                    </a:lnTo>
                    <a:lnTo>
                      <a:pt x="3" y="15"/>
                    </a:lnTo>
                    <a:lnTo>
                      <a:pt x="3" y="16"/>
                    </a:lnTo>
                    <a:lnTo>
                      <a:pt x="5" y="27"/>
                    </a:lnTo>
                    <a:lnTo>
                      <a:pt x="8" y="30"/>
                    </a:lnTo>
                    <a:lnTo>
                      <a:pt x="9" y="30"/>
                    </a:lnTo>
                    <a:lnTo>
                      <a:pt x="15" y="28"/>
                    </a:lnTo>
                    <a:lnTo>
                      <a:pt x="25" y="12"/>
                    </a:lnTo>
                    <a:lnTo>
                      <a:pt x="25" y="11"/>
                    </a:lnTo>
                    <a:lnTo>
                      <a:pt x="24" y="9"/>
                    </a:lnTo>
                    <a:lnTo>
                      <a:pt x="22" y="8"/>
                    </a:lnTo>
                    <a:lnTo>
                      <a:pt x="21" y="8"/>
                    </a:lnTo>
                    <a:lnTo>
                      <a:pt x="21" y="6"/>
                    </a:lnTo>
                    <a:lnTo>
                      <a:pt x="21" y="5"/>
                    </a:lnTo>
                    <a:lnTo>
                      <a:pt x="21" y="3"/>
                    </a:lnTo>
                    <a:lnTo>
                      <a:pt x="22"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74" name="Freeform 1673"/>
              <p:cNvSpPr>
                <a:spLocks/>
              </p:cNvSpPr>
              <p:nvPr/>
            </p:nvSpPr>
            <p:spPr bwMode="auto">
              <a:xfrm>
                <a:off x="6545580" y="3414576"/>
                <a:ext cx="41257" cy="115611"/>
              </a:xfrm>
              <a:custGeom>
                <a:avLst/>
                <a:gdLst/>
                <a:ahLst/>
                <a:cxnLst>
                  <a:cxn ang="0">
                    <a:pos x="16" y="2"/>
                  </a:cxn>
                  <a:cxn ang="0">
                    <a:pos x="15" y="2"/>
                  </a:cxn>
                  <a:cxn ang="0">
                    <a:pos x="10" y="3"/>
                  </a:cxn>
                  <a:cxn ang="0">
                    <a:pos x="7" y="2"/>
                  </a:cxn>
                  <a:cxn ang="0">
                    <a:pos x="3" y="0"/>
                  </a:cxn>
                  <a:cxn ang="0">
                    <a:pos x="5" y="2"/>
                  </a:cxn>
                  <a:cxn ang="0">
                    <a:pos x="7" y="3"/>
                  </a:cxn>
                  <a:cxn ang="0">
                    <a:pos x="10" y="9"/>
                  </a:cxn>
                  <a:cxn ang="0">
                    <a:pos x="12" y="16"/>
                  </a:cxn>
                  <a:cxn ang="0">
                    <a:pos x="13" y="18"/>
                  </a:cxn>
                  <a:cxn ang="0">
                    <a:pos x="12" y="21"/>
                  </a:cxn>
                  <a:cxn ang="0">
                    <a:pos x="10" y="21"/>
                  </a:cxn>
                  <a:cxn ang="0">
                    <a:pos x="9" y="31"/>
                  </a:cxn>
                  <a:cxn ang="0">
                    <a:pos x="9" y="42"/>
                  </a:cxn>
                  <a:cxn ang="0">
                    <a:pos x="10" y="44"/>
                  </a:cxn>
                  <a:cxn ang="0">
                    <a:pos x="9" y="45"/>
                  </a:cxn>
                  <a:cxn ang="0">
                    <a:pos x="5" y="47"/>
                  </a:cxn>
                  <a:cxn ang="0">
                    <a:pos x="3" y="58"/>
                  </a:cxn>
                  <a:cxn ang="0">
                    <a:pos x="0" y="61"/>
                  </a:cxn>
                  <a:cxn ang="0">
                    <a:pos x="3" y="64"/>
                  </a:cxn>
                  <a:cxn ang="0">
                    <a:pos x="6" y="66"/>
                  </a:cxn>
                  <a:cxn ang="0">
                    <a:pos x="6" y="67"/>
                  </a:cxn>
                  <a:cxn ang="0">
                    <a:pos x="10" y="71"/>
                  </a:cxn>
                  <a:cxn ang="0">
                    <a:pos x="13" y="74"/>
                  </a:cxn>
                  <a:cxn ang="0">
                    <a:pos x="25" y="73"/>
                  </a:cxn>
                  <a:cxn ang="0">
                    <a:pos x="26" y="85"/>
                  </a:cxn>
                  <a:cxn ang="0">
                    <a:pos x="25" y="89"/>
                  </a:cxn>
                  <a:cxn ang="0">
                    <a:pos x="23" y="92"/>
                  </a:cxn>
                  <a:cxn ang="0">
                    <a:pos x="23" y="95"/>
                  </a:cxn>
                  <a:cxn ang="0">
                    <a:pos x="26" y="100"/>
                  </a:cxn>
                  <a:cxn ang="0">
                    <a:pos x="31" y="106"/>
                  </a:cxn>
                  <a:cxn ang="0">
                    <a:pos x="35" y="108"/>
                  </a:cxn>
                  <a:cxn ang="0">
                    <a:pos x="34" y="111"/>
                  </a:cxn>
                  <a:cxn ang="0">
                    <a:pos x="37" y="111"/>
                  </a:cxn>
                  <a:cxn ang="0">
                    <a:pos x="37" y="106"/>
                  </a:cxn>
                  <a:cxn ang="0">
                    <a:pos x="35" y="105"/>
                  </a:cxn>
                  <a:cxn ang="0">
                    <a:pos x="37" y="102"/>
                  </a:cxn>
                  <a:cxn ang="0">
                    <a:pos x="37" y="99"/>
                  </a:cxn>
                  <a:cxn ang="0">
                    <a:pos x="44" y="95"/>
                  </a:cxn>
                  <a:cxn ang="0">
                    <a:pos x="45" y="87"/>
                  </a:cxn>
                  <a:cxn ang="0">
                    <a:pos x="45" y="79"/>
                  </a:cxn>
                  <a:cxn ang="0">
                    <a:pos x="31" y="58"/>
                  </a:cxn>
                  <a:cxn ang="0">
                    <a:pos x="31" y="61"/>
                  </a:cxn>
                  <a:cxn ang="0">
                    <a:pos x="32" y="63"/>
                  </a:cxn>
                  <a:cxn ang="0">
                    <a:pos x="35" y="70"/>
                  </a:cxn>
                  <a:cxn ang="0">
                    <a:pos x="35" y="73"/>
                  </a:cxn>
                  <a:cxn ang="0">
                    <a:pos x="34" y="70"/>
                  </a:cxn>
                  <a:cxn ang="0">
                    <a:pos x="31" y="67"/>
                  </a:cxn>
                  <a:cxn ang="0">
                    <a:pos x="31" y="67"/>
                  </a:cxn>
                  <a:cxn ang="0">
                    <a:pos x="28" y="70"/>
                  </a:cxn>
                  <a:cxn ang="0">
                    <a:pos x="26" y="70"/>
                  </a:cxn>
                  <a:cxn ang="0">
                    <a:pos x="26" y="66"/>
                  </a:cxn>
                  <a:cxn ang="0">
                    <a:pos x="26" y="63"/>
                  </a:cxn>
                  <a:cxn ang="0">
                    <a:pos x="23" y="57"/>
                  </a:cxn>
                  <a:cxn ang="0">
                    <a:pos x="22" y="54"/>
                  </a:cxn>
                  <a:cxn ang="0">
                    <a:pos x="18" y="41"/>
                  </a:cxn>
                  <a:cxn ang="0">
                    <a:pos x="22" y="32"/>
                  </a:cxn>
                  <a:cxn ang="0">
                    <a:pos x="22" y="15"/>
                  </a:cxn>
                  <a:cxn ang="0">
                    <a:pos x="21" y="12"/>
                  </a:cxn>
                  <a:cxn ang="0">
                    <a:pos x="16" y="7"/>
                  </a:cxn>
                  <a:cxn ang="0">
                    <a:pos x="18" y="2"/>
                  </a:cxn>
                </a:cxnLst>
                <a:rect l="0" t="0" r="r" b="b"/>
                <a:pathLst>
                  <a:path w="45" h="111">
                    <a:moveTo>
                      <a:pt x="18" y="3"/>
                    </a:moveTo>
                    <a:lnTo>
                      <a:pt x="16" y="2"/>
                    </a:lnTo>
                    <a:lnTo>
                      <a:pt x="15" y="2"/>
                    </a:lnTo>
                    <a:lnTo>
                      <a:pt x="15" y="2"/>
                    </a:lnTo>
                    <a:lnTo>
                      <a:pt x="12" y="3"/>
                    </a:lnTo>
                    <a:lnTo>
                      <a:pt x="10" y="3"/>
                    </a:lnTo>
                    <a:lnTo>
                      <a:pt x="10" y="2"/>
                    </a:lnTo>
                    <a:lnTo>
                      <a:pt x="7" y="2"/>
                    </a:lnTo>
                    <a:lnTo>
                      <a:pt x="5" y="0"/>
                    </a:lnTo>
                    <a:lnTo>
                      <a:pt x="3" y="0"/>
                    </a:lnTo>
                    <a:lnTo>
                      <a:pt x="3" y="2"/>
                    </a:lnTo>
                    <a:lnTo>
                      <a:pt x="5" y="2"/>
                    </a:lnTo>
                    <a:lnTo>
                      <a:pt x="5" y="3"/>
                    </a:lnTo>
                    <a:lnTo>
                      <a:pt x="7" y="3"/>
                    </a:lnTo>
                    <a:lnTo>
                      <a:pt x="9" y="6"/>
                    </a:lnTo>
                    <a:lnTo>
                      <a:pt x="10" y="9"/>
                    </a:lnTo>
                    <a:lnTo>
                      <a:pt x="12" y="10"/>
                    </a:lnTo>
                    <a:lnTo>
                      <a:pt x="12" y="16"/>
                    </a:lnTo>
                    <a:lnTo>
                      <a:pt x="13" y="16"/>
                    </a:lnTo>
                    <a:lnTo>
                      <a:pt x="13" y="18"/>
                    </a:lnTo>
                    <a:lnTo>
                      <a:pt x="13" y="19"/>
                    </a:lnTo>
                    <a:lnTo>
                      <a:pt x="12" y="21"/>
                    </a:lnTo>
                    <a:lnTo>
                      <a:pt x="10" y="21"/>
                    </a:lnTo>
                    <a:lnTo>
                      <a:pt x="10" y="21"/>
                    </a:lnTo>
                    <a:lnTo>
                      <a:pt x="10" y="26"/>
                    </a:lnTo>
                    <a:lnTo>
                      <a:pt x="9" y="31"/>
                    </a:lnTo>
                    <a:lnTo>
                      <a:pt x="9" y="41"/>
                    </a:lnTo>
                    <a:lnTo>
                      <a:pt x="9" y="42"/>
                    </a:lnTo>
                    <a:lnTo>
                      <a:pt x="10" y="42"/>
                    </a:lnTo>
                    <a:lnTo>
                      <a:pt x="10" y="44"/>
                    </a:lnTo>
                    <a:lnTo>
                      <a:pt x="10" y="45"/>
                    </a:lnTo>
                    <a:lnTo>
                      <a:pt x="9" y="45"/>
                    </a:lnTo>
                    <a:lnTo>
                      <a:pt x="6" y="47"/>
                    </a:lnTo>
                    <a:lnTo>
                      <a:pt x="5" y="47"/>
                    </a:lnTo>
                    <a:lnTo>
                      <a:pt x="5" y="47"/>
                    </a:lnTo>
                    <a:lnTo>
                      <a:pt x="3" y="58"/>
                    </a:lnTo>
                    <a:lnTo>
                      <a:pt x="0" y="60"/>
                    </a:lnTo>
                    <a:lnTo>
                      <a:pt x="0" y="61"/>
                    </a:lnTo>
                    <a:lnTo>
                      <a:pt x="2" y="64"/>
                    </a:lnTo>
                    <a:lnTo>
                      <a:pt x="3" y="64"/>
                    </a:lnTo>
                    <a:lnTo>
                      <a:pt x="3" y="66"/>
                    </a:lnTo>
                    <a:lnTo>
                      <a:pt x="6" y="66"/>
                    </a:lnTo>
                    <a:lnTo>
                      <a:pt x="6" y="66"/>
                    </a:lnTo>
                    <a:lnTo>
                      <a:pt x="6" y="67"/>
                    </a:lnTo>
                    <a:lnTo>
                      <a:pt x="7" y="67"/>
                    </a:lnTo>
                    <a:lnTo>
                      <a:pt x="10" y="71"/>
                    </a:lnTo>
                    <a:lnTo>
                      <a:pt x="13" y="74"/>
                    </a:lnTo>
                    <a:lnTo>
                      <a:pt x="13" y="74"/>
                    </a:lnTo>
                    <a:lnTo>
                      <a:pt x="23" y="73"/>
                    </a:lnTo>
                    <a:lnTo>
                      <a:pt x="25" y="73"/>
                    </a:lnTo>
                    <a:lnTo>
                      <a:pt x="25" y="74"/>
                    </a:lnTo>
                    <a:lnTo>
                      <a:pt x="26" y="85"/>
                    </a:lnTo>
                    <a:lnTo>
                      <a:pt x="26" y="86"/>
                    </a:lnTo>
                    <a:lnTo>
                      <a:pt x="25" y="89"/>
                    </a:lnTo>
                    <a:lnTo>
                      <a:pt x="25" y="90"/>
                    </a:lnTo>
                    <a:lnTo>
                      <a:pt x="23" y="92"/>
                    </a:lnTo>
                    <a:lnTo>
                      <a:pt x="23" y="95"/>
                    </a:lnTo>
                    <a:lnTo>
                      <a:pt x="23" y="95"/>
                    </a:lnTo>
                    <a:lnTo>
                      <a:pt x="25" y="99"/>
                    </a:lnTo>
                    <a:lnTo>
                      <a:pt x="26" y="100"/>
                    </a:lnTo>
                    <a:lnTo>
                      <a:pt x="26" y="100"/>
                    </a:lnTo>
                    <a:lnTo>
                      <a:pt x="31" y="106"/>
                    </a:lnTo>
                    <a:lnTo>
                      <a:pt x="34" y="108"/>
                    </a:lnTo>
                    <a:lnTo>
                      <a:pt x="35" y="108"/>
                    </a:lnTo>
                    <a:lnTo>
                      <a:pt x="35" y="109"/>
                    </a:lnTo>
                    <a:lnTo>
                      <a:pt x="34" y="111"/>
                    </a:lnTo>
                    <a:lnTo>
                      <a:pt x="34" y="111"/>
                    </a:lnTo>
                    <a:lnTo>
                      <a:pt x="37" y="111"/>
                    </a:lnTo>
                    <a:lnTo>
                      <a:pt x="37" y="111"/>
                    </a:lnTo>
                    <a:lnTo>
                      <a:pt x="37" y="106"/>
                    </a:lnTo>
                    <a:lnTo>
                      <a:pt x="37" y="105"/>
                    </a:lnTo>
                    <a:lnTo>
                      <a:pt x="35" y="105"/>
                    </a:lnTo>
                    <a:lnTo>
                      <a:pt x="35" y="103"/>
                    </a:lnTo>
                    <a:lnTo>
                      <a:pt x="37" y="102"/>
                    </a:lnTo>
                    <a:lnTo>
                      <a:pt x="37" y="100"/>
                    </a:lnTo>
                    <a:lnTo>
                      <a:pt x="37" y="99"/>
                    </a:lnTo>
                    <a:lnTo>
                      <a:pt x="44" y="96"/>
                    </a:lnTo>
                    <a:lnTo>
                      <a:pt x="44" y="95"/>
                    </a:lnTo>
                    <a:lnTo>
                      <a:pt x="45" y="89"/>
                    </a:lnTo>
                    <a:lnTo>
                      <a:pt x="45" y="87"/>
                    </a:lnTo>
                    <a:lnTo>
                      <a:pt x="44" y="83"/>
                    </a:lnTo>
                    <a:lnTo>
                      <a:pt x="45" y="79"/>
                    </a:lnTo>
                    <a:lnTo>
                      <a:pt x="45" y="76"/>
                    </a:lnTo>
                    <a:lnTo>
                      <a:pt x="31" y="58"/>
                    </a:lnTo>
                    <a:lnTo>
                      <a:pt x="31" y="60"/>
                    </a:lnTo>
                    <a:lnTo>
                      <a:pt x="31" y="61"/>
                    </a:lnTo>
                    <a:lnTo>
                      <a:pt x="31" y="63"/>
                    </a:lnTo>
                    <a:lnTo>
                      <a:pt x="32" y="63"/>
                    </a:lnTo>
                    <a:lnTo>
                      <a:pt x="34" y="64"/>
                    </a:lnTo>
                    <a:lnTo>
                      <a:pt x="35" y="70"/>
                    </a:lnTo>
                    <a:lnTo>
                      <a:pt x="35" y="71"/>
                    </a:lnTo>
                    <a:lnTo>
                      <a:pt x="35" y="73"/>
                    </a:lnTo>
                    <a:lnTo>
                      <a:pt x="35" y="71"/>
                    </a:lnTo>
                    <a:lnTo>
                      <a:pt x="34" y="70"/>
                    </a:lnTo>
                    <a:lnTo>
                      <a:pt x="32" y="69"/>
                    </a:lnTo>
                    <a:lnTo>
                      <a:pt x="31" y="67"/>
                    </a:lnTo>
                    <a:lnTo>
                      <a:pt x="31" y="67"/>
                    </a:lnTo>
                    <a:lnTo>
                      <a:pt x="31" y="67"/>
                    </a:lnTo>
                    <a:lnTo>
                      <a:pt x="29" y="70"/>
                    </a:lnTo>
                    <a:lnTo>
                      <a:pt x="28" y="70"/>
                    </a:lnTo>
                    <a:lnTo>
                      <a:pt x="28" y="70"/>
                    </a:lnTo>
                    <a:lnTo>
                      <a:pt x="26" y="70"/>
                    </a:lnTo>
                    <a:lnTo>
                      <a:pt x="26" y="69"/>
                    </a:lnTo>
                    <a:lnTo>
                      <a:pt x="26" y="66"/>
                    </a:lnTo>
                    <a:lnTo>
                      <a:pt x="26" y="64"/>
                    </a:lnTo>
                    <a:lnTo>
                      <a:pt x="26" y="63"/>
                    </a:lnTo>
                    <a:lnTo>
                      <a:pt x="23" y="60"/>
                    </a:lnTo>
                    <a:lnTo>
                      <a:pt x="23" y="57"/>
                    </a:lnTo>
                    <a:lnTo>
                      <a:pt x="23" y="54"/>
                    </a:lnTo>
                    <a:lnTo>
                      <a:pt x="22" y="54"/>
                    </a:lnTo>
                    <a:lnTo>
                      <a:pt x="18" y="42"/>
                    </a:lnTo>
                    <a:lnTo>
                      <a:pt x="18" y="41"/>
                    </a:lnTo>
                    <a:lnTo>
                      <a:pt x="18" y="39"/>
                    </a:lnTo>
                    <a:lnTo>
                      <a:pt x="22" y="32"/>
                    </a:lnTo>
                    <a:lnTo>
                      <a:pt x="21" y="18"/>
                    </a:lnTo>
                    <a:lnTo>
                      <a:pt x="22" y="15"/>
                    </a:lnTo>
                    <a:lnTo>
                      <a:pt x="22" y="13"/>
                    </a:lnTo>
                    <a:lnTo>
                      <a:pt x="21" y="12"/>
                    </a:lnTo>
                    <a:lnTo>
                      <a:pt x="19" y="12"/>
                    </a:lnTo>
                    <a:lnTo>
                      <a:pt x="16" y="7"/>
                    </a:lnTo>
                    <a:lnTo>
                      <a:pt x="18" y="3"/>
                    </a:lnTo>
                    <a:lnTo>
                      <a:pt x="18" y="2"/>
                    </a:lnTo>
                    <a:lnTo>
                      <a:pt x="18"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75" name="Freeform 1674"/>
              <p:cNvSpPr>
                <a:spLocks/>
              </p:cNvSpPr>
              <p:nvPr/>
            </p:nvSpPr>
            <p:spPr bwMode="auto">
              <a:xfrm>
                <a:off x="6545580" y="3414576"/>
                <a:ext cx="41257" cy="115611"/>
              </a:xfrm>
              <a:custGeom>
                <a:avLst/>
                <a:gdLst/>
                <a:ahLst/>
                <a:cxnLst>
                  <a:cxn ang="0">
                    <a:pos x="16" y="2"/>
                  </a:cxn>
                  <a:cxn ang="0">
                    <a:pos x="15" y="2"/>
                  </a:cxn>
                  <a:cxn ang="0">
                    <a:pos x="10" y="3"/>
                  </a:cxn>
                  <a:cxn ang="0">
                    <a:pos x="7" y="2"/>
                  </a:cxn>
                  <a:cxn ang="0">
                    <a:pos x="3" y="0"/>
                  </a:cxn>
                  <a:cxn ang="0">
                    <a:pos x="5" y="2"/>
                  </a:cxn>
                  <a:cxn ang="0">
                    <a:pos x="7" y="3"/>
                  </a:cxn>
                  <a:cxn ang="0">
                    <a:pos x="10" y="9"/>
                  </a:cxn>
                  <a:cxn ang="0">
                    <a:pos x="12" y="16"/>
                  </a:cxn>
                  <a:cxn ang="0">
                    <a:pos x="13" y="18"/>
                  </a:cxn>
                  <a:cxn ang="0">
                    <a:pos x="12" y="21"/>
                  </a:cxn>
                  <a:cxn ang="0">
                    <a:pos x="10" y="21"/>
                  </a:cxn>
                  <a:cxn ang="0">
                    <a:pos x="9" y="31"/>
                  </a:cxn>
                  <a:cxn ang="0">
                    <a:pos x="9" y="42"/>
                  </a:cxn>
                  <a:cxn ang="0">
                    <a:pos x="10" y="44"/>
                  </a:cxn>
                  <a:cxn ang="0">
                    <a:pos x="9" y="45"/>
                  </a:cxn>
                  <a:cxn ang="0">
                    <a:pos x="5" y="47"/>
                  </a:cxn>
                  <a:cxn ang="0">
                    <a:pos x="3" y="58"/>
                  </a:cxn>
                  <a:cxn ang="0">
                    <a:pos x="0" y="61"/>
                  </a:cxn>
                  <a:cxn ang="0">
                    <a:pos x="3" y="64"/>
                  </a:cxn>
                  <a:cxn ang="0">
                    <a:pos x="6" y="66"/>
                  </a:cxn>
                  <a:cxn ang="0">
                    <a:pos x="6" y="67"/>
                  </a:cxn>
                  <a:cxn ang="0">
                    <a:pos x="10" y="71"/>
                  </a:cxn>
                  <a:cxn ang="0">
                    <a:pos x="13" y="74"/>
                  </a:cxn>
                  <a:cxn ang="0">
                    <a:pos x="25" y="73"/>
                  </a:cxn>
                  <a:cxn ang="0">
                    <a:pos x="26" y="85"/>
                  </a:cxn>
                  <a:cxn ang="0">
                    <a:pos x="25" y="89"/>
                  </a:cxn>
                  <a:cxn ang="0">
                    <a:pos x="23" y="92"/>
                  </a:cxn>
                  <a:cxn ang="0">
                    <a:pos x="23" y="95"/>
                  </a:cxn>
                  <a:cxn ang="0">
                    <a:pos x="26" y="100"/>
                  </a:cxn>
                  <a:cxn ang="0">
                    <a:pos x="31" y="106"/>
                  </a:cxn>
                  <a:cxn ang="0">
                    <a:pos x="35" y="108"/>
                  </a:cxn>
                  <a:cxn ang="0">
                    <a:pos x="34" y="111"/>
                  </a:cxn>
                  <a:cxn ang="0">
                    <a:pos x="37" y="111"/>
                  </a:cxn>
                  <a:cxn ang="0">
                    <a:pos x="37" y="106"/>
                  </a:cxn>
                  <a:cxn ang="0">
                    <a:pos x="35" y="105"/>
                  </a:cxn>
                  <a:cxn ang="0">
                    <a:pos x="37" y="102"/>
                  </a:cxn>
                  <a:cxn ang="0">
                    <a:pos x="37" y="99"/>
                  </a:cxn>
                  <a:cxn ang="0">
                    <a:pos x="44" y="95"/>
                  </a:cxn>
                  <a:cxn ang="0">
                    <a:pos x="45" y="87"/>
                  </a:cxn>
                  <a:cxn ang="0">
                    <a:pos x="45" y="79"/>
                  </a:cxn>
                  <a:cxn ang="0">
                    <a:pos x="31" y="58"/>
                  </a:cxn>
                  <a:cxn ang="0">
                    <a:pos x="31" y="61"/>
                  </a:cxn>
                  <a:cxn ang="0">
                    <a:pos x="32" y="63"/>
                  </a:cxn>
                  <a:cxn ang="0">
                    <a:pos x="35" y="70"/>
                  </a:cxn>
                  <a:cxn ang="0">
                    <a:pos x="35" y="73"/>
                  </a:cxn>
                  <a:cxn ang="0">
                    <a:pos x="34" y="70"/>
                  </a:cxn>
                  <a:cxn ang="0">
                    <a:pos x="31" y="67"/>
                  </a:cxn>
                  <a:cxn ang="0">
                    <a:pos x="31" y="67"/>
                  </a:cxn>
                  <a:cxn ang="0">
                    <a:pos x="28" y="70"/>
                  </a:cxn>
                  <a:cxn ang="0">
                    <a:pos x="26" y="70"/>
                  </a:cxn>
                  <a:cxn ang="0">
                    <a:pos x="26" y="66"/>
                  </a:cxn>
                  <a:cxn ang="0">
                    <a:pos x="26" y="63"/>
                  </a:cxn>
                  <a:cxn ang="0">
                    <a:pos x="23" y="57"/>
                  </a:cxn>
                  <a:cxn ang="0">
                    <a:pos x="22" y="54"/>
                  </a:cxn>
                  <a:cxn ang="0">
                    <a:pos x="18" y="41"/>
                  </a:cxn>
                  <a:cxn ang="0">
                    <a:pos x="22" y="32"/>
                  </a:cxn>
                  <a:cxn ang="0">
                    <a:pos x="22" y="15"/>
                  </a:cxn>
                  <a:cxn ang="0">
                    <a:pos x="21" y="12"/>
                  </a:cxn>
                  <a:cxn ang="0">
                    <a:pos x="16" y="7"/>
                  </a:cxn>
                  <a:cxn ang="0">
                    <a:pos x="18" y="2"/>
                  </a:cxn>
                </a:cxnLst>
                <a:rect l="0" t="0" r="r" b="b"/>
                <a:pathLst>
                  <a:path w="45" h="111">
                    <a:moveTo>
                      <a:pt x="18" y="3"/>
                    </a:moveTo>
                    <a:lnTo>
                      <a:pt x="16" y="2"/>
                    </a:lnTo>
                    <a:lnTo>
                      <a:pt x="15" y="2"/>
                    </a:lnTo>
                    <a:lnTo>
                      <a:pt x="15" y="2"/>
                    </a:lnTo>
                    <a:lnTo>
                      <a:pt x="12" y="3"/>
                    </a:lnTo>
                    <a:lnTo>
                      <a:pt x="10" y="3"/>
                    </a:lnTo>
                    <a:lnTo>
                      <a:pt x="10" y="2"/>
                    </a:lnTo>
                    <a:lnTo>
                      <a:pt x="7" y="2"/>
                    </a:lnTo>
                    <a:lnTo>
                      <a:pt x="5" y="0"/>
                    </a:lnTo>
                    <a:lnTo>
                      <a:pt x="3" y="0"/>
                    </a:lnTo>
                    <a:lnTo>
                      <a:pt x="3" y="2"/>
                    </a:lnTo>
                    <a:lnTo>
                      <a:pt x="5" y="2"/>
                    </a:lnTo>
                    <a:lnTo>
                      <a:pt x="5" y="3"/>
                    </a:lnTo>
                    <a:lnTo>
                      <a:pt x="7" y="3"/>
                    </a:lnTo>
                    <a:lnTo>
                      <a:pt x="9" y="6"/>
                    </a:lnTo>
                    <a:lnTo>
                      <a:pt x="10" y="9"/>
                    </a:lnTo>
                    <a:lnTo>
                      <a:pt x="12" y="10"/>
                    </a:lnTo>
                    <a:lnTo>
                      <a:pt x="12" y="16"/>
                    </a:lnTo>
                    <a:lnTo>
                      <a:pt x="13" y="16"/>
                    </a:lnTo>
                    <a:lnTo>
                      <a:pt x="13" y="18"/>
                    </a:lnTo>
                    <a:lnTo>
                      <a:pt x="13" y="19"/>
                    </a:lnTo>
                    <a:lnTo>
                      <a:pt x="12" y="21"/>
                    </a:lnTo>
                    <a:lnTo>
                      <a:pt x="10" y="21"/>
                    </a:lnTo>
                    <a:lnTo>
                      <a:pt x="10" y="21"/>
                    </a:lnTo>
                    <a:lnTo>
                      <a:pt x="10" y="26"/>
                    </a:lnTo>
                    <a:lnTo>
                      <a:pt x="9" y="31"/>
                    </a:lnTo>
                    <a:lnTo>
                      <a:pt x="9" y="41"/>
                    </a:lnTo>
                    <a:lnTo>
                      <a:pt x="9" y="42"/>
                    </a:lnTo>
                    <a:lnTo>
                      <a:pt x="10" y="42"/>
                    </a:lnTo>
                    <a:lnTo>
                      <a:pt x="10" y="44"/>
                    </a:lnTo>
                    <a:lnTo>
                      <a:pt x="10" y="45"/>
                    </a:lnTo>
                    <a:lnTo>
                      <a:pt x="9" y="45"/>
                    </a:lnTo>
                    <a:lnTo>
                      <a:pt x="6" y="47"/>
                    </a:lnTo>
                    <a:lnTo>
                      <a:pt x="5" y="47"/>
                    </a:lnTo>
                    <a:lnTo>
                      <a:pt x="5" y="47"/>
                    </a:lnTo>
                    <a:lnTo>
                      <a:pt x="3" y="58"/>
                    </a:lnTo>
                    <a:lnTo>
                      <a:pt x="0" y="60"/>
                    </a:lnTo>
                    <a:lnTo>
                      <a:pt x="0" y="61"/>
                    </a:lnTo>
                    <a:lnTo>
                      <a:pt x="2" y="64"/>
                    </a:lnTo>
                    <a:lnTo>
                      <a:pt x="3" y="64"/>
                    </a:lnTo>
                    <a:lnTo>
                      <a:pt x="3" y="66"/>
                    </a:lnTo>
                    <a:lnTo>
                      <a:pt x="6" y="66"/>
                    </a:lnTo>
                    <a:lnTo>
                      <a:pt x="6" y="66"/>
                    </a:lnTo>
                    <a:lnTo>
                      <a:pt x="6" y="67"/>
                    </a:lnTo>
                    <a:lnTo>
                      <a:pt x="7" y="67"/>
                    </a:lnTo>
                    <a:lnTo>
                      <a:pt x="10" y="71"/>
                    </a:lnTo>
                    <a:lnTo>
                      <a:pt x="13" y="74"/>
                    </a:lnTo>
                    <a:lnTo>
                      <a:pt x="13" y="74"/>
                    </a:lnTo>
                    <a:lnTo>
                      <a:pt x="23" y="73"/>
                    </a:lnTo>
                    <a:lnTo>
                      <a:pt x="25" y="73"/>
                    </a:lnTo>
                    <a:lnTo>
                      <a:pt x="25" y="74"/>
                    </a:lnTo>
                    <a:lnTo>
                      <a:pt x="26" y="85"/>
                    </a:lnTo>
                    <a:lnTo>
                      <a:pt x="26" y="86"/>
                    </a:lnTo>
                    <a:lnTo>
                      <a:pt x="25" y="89"/>
                    </a:lnTo>
                    <a:lnTo>
                      <a:pt x="25" y="90"/>
                    </a:lnTo>
                    <a:lnTo>
                      <a:pt x="23" y="92"/>
                    </a:lnTo>
                    <a:lnTo>
                      <a:pt x="23" y="95"/>
                    </a:lnTo>
                    <a:lnTo>
                      <a:pt x="23" y="95"/>
                    </a:lnTo>
                    <a:lnTo>
                      <a:pt x="25" y="99"/>
                    </a:lnTo>
                    <a:lnTo>
                      <a:pt x="26" y="100"/>
                    </a:lnTo>
                    <a:lnTo>
                      <a:pt x="26" y="100"/>
                    </a:lnTo>
                    <a:lnTo>
                      <a:pt x="31" y="106"/>
                    </a:lnTo>
                    <a:lnTo>
                      <a:pt x="34" y="108"/>
                    </a:lnTo>
                    <a:lnTo>
                      <a:pt x="35" y="108"/>
                    </a:lnTo>
                    <a:lnTo>
                      <a:pt x="35" y="109"/>
                    </a:lnTo>
                    <a:lnTo>
                      <a:pt x="34" y="111"/>
                    </a:lnTo>
                    <a:lnTo>
                      <a:pt x="34" y="111"/>
                    </a:lnTo>
                    <a:lnTo>
                      <a:pt x="37" y="111"/>
                    </a:lnTo>
                    <a:lnTo>
                      <a:pt x="37" y="111"/>
                    </a:lnTo>
                    <a:lnTo>
                      <a:pt x="37" y="106"/>
                    </a:lnTo>
                    <a:lnTo>
                      <a:pt x="37" y="105"/>
                    </a:lnTo>
                    <a:lnTo>
                      <a:pt x="35" y="105"/>
                    </a:lnTo>
                    <a:lnTo>
                      <a:pt x="35" y="103"/>
                    </a:lnTo>
                    <a:lnTo>
                      <a:pt x="37" y="102"/>
                    </a:lnTo>
                    <a:lnTo>
                      <a:pt x="37" y="100"/>
                    </a:lnTo>
                    <a:lnTo>
                      <a:pt x="37" y="99"/>
                    </a:lnTo>
                    <a:lnTo>
                      <a:pt x="44" y="96"/>
                    </a:lnTo>
                    <a:lnTo>
                      <a:pt x="44" y="95"/>
                    </a:lnTo>
                    <a:lnTo>
                      <a:pt x="45" y="89"/>
                    </a:lnTo>
                    <a:lnTo>
                      <a:pt x="45" y="87"/>
                    </a:lnTo>
                    <a:lnTo>
                      <a:pt x="44" y="83"/>
                    </a:lnTo>
                    <a:lnTo>
                      <a:pt x="45" y="79"/>
                    </a:lnTo>
                    <a:lnTo>
                      <a:pt x="45" y="76"/>
                    </a:lnTo>
                    <a:lnTo>
                      <a:pt x="31" y="58"/>
                    </a:lnTo>
                    <a:lnTo>
                      <a:pt x="31" y="60"/>
                    </a:lnTo>
                    <a:lnTo>
                      <a:pt x="31" y="61"/>
                    </a:lnTo>
                    <a:lnTo>
                      <a:pt x="31" y="63"/>
                    </a:lnTo>
                    <a:lnTo>
                      <a:pt x="32" y="63"/>
                    </a:lnTo>
                    <a:lnTo>
                      <a:pt x="34" y="64"/>
                    </a:lnTo>
                    <a:lnTo>
                      <a:pt x="35" y="70"/>
                    </a:lnTo>
                    <a:lnTo>
                      <a:pt x="35" y="71"/>
                    </a:lnTo>
                    <a:lnTo>
                      <a:pt x="35" y="73"/>
                    </a:lnTo>
                    <a:lnTo>
                      <a:pt x="35" y="71"/>
                    </a:lnTo>
                    <a:lnTo>
                      <a:pt x="34" y="70"/>
                    </a:lnTo>
                    <a:lnTo>
                      <a:pt x="32" y="69"/>
                    </a:lnTo>
                    <a:lnTo>
                      <a:pt x="31" y="67"/>
                    </a:lnTo>
                    <a:lnTo>
                      <a:pt x="31" y="67"/>
                    </a:lnTo>
                    <a:lnTo>
                      <a:pt x="31" y="67"/>
                    </a:lnTo>
                    <a:lnTo>
                      <a:pt x="29" y="70"/>
                    </a:lnTo>
                    <a:lnTo>
                      <a:pt x="28" y="70"/>
                    </a:lnTo>
                    <a:lnTo>
                      <a:pt x="28" y="70"/>
                    </a:lnTo>
                    <a:lnTo>
                      <a:pt x="26" y="70"/>
                    </a:lnTo>
                    <a:lnTo>
                      <a:pt x="26" y="69"/>
                    </a:lnTo>
                    <a:lnTo>
                      <a:pt x="26" y="66"/>
                    </a:lnTo>
                    <a:lnTo>
                      <a:pt x="26" y="64"/>
                    </a:lnTo>
                    <a:lnTo>
                      <a:pt x="26" y="63"/>
                    </a:lnTo>
                    <a:lnTo>
                      <a:pt x="23" y="60"/>
                    </a:lnTo>
                    <a:lnTo>
                      <a:pt x="23" y="57"/>
                    </a:lnTo>
                    <a:lnTo>
                      <a:pt x="23" y="54"/>
                    </a:lnTo>
                    <a:lnTo>
                      <a:pt x="22" y="54"/>
                    </a:lnTo>
                    <a:lnTo>
                      <a:pt x="18" y="42"/>
                    </a:lnTo>
                    <a:lnTo>
                      <a:pt x="18" y="41"/>
                    </a:lnTo>
                    <a:lnTo>
                      <a:pt x="18" y="39"/>
                    </a:lnTo>
                    <a:lnTo>
                      <a:pt x="22" y="32"/>
                    </a:lnTo>
                    <a:lnTo>
                      <a:pt x="21" y="18"/>
                    </a:lnTo>
                    <a:lnTo>
                      <a:pt x="22" y="15"/>
                    </a:lnTo>
                    <a:lnTo>
                      <a:pt x="22" y="13"/>
                    </a:lnTo>
                    <a:lnTo>
                      <a:pt x="21" y="12"/>
                    </a:lnTo>
                    <a:lnTo>
                      <a:pt x="19" y="12"/>
                    </a:lnTo>
                    <a:lnTo>
                      <a:pt x="16" y="7"/>
                    </a:lnTo>
                    <a:lnTo>
                      <a:pt x="18" y="3"/>
                    </a:lnTo>
                    <a:lnTo>
                      <a:pt x="18" y="2"/>
                    </a:lnTo>
                    <a:lnTo>
                      <a:pt x="18"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76" name="Freeform 1675"/>
              <p:cNvSpPr>
                <a:spLocks/>
              </p:cNvSpPr>
              <p:nvPr/>
            </p:nvSpPr>
            <p:spPr bwMode="auto">
              <a:xfrm>
                <a:off x="6639506" y="2558648"/>
                <a:ext cx="87780" cy="49692"/>
              </a:xfrm>
              <a:custGeom>
                <a:avLst/>
                <a:gdLst/>
                <a:ahLst/>
                <a:cxnLst>
                  <a:cxn ang="0">
                    <a:pos x="25" y="40"/>
                  </a:cxn>
                  <a:cxn ang="0">
                    <a:pos x="30" y="39"/>
                  </a:cxn>
                  <a:cxn ang="0">
                    <a:pos x="36" y="40"/>
                  </a:cxn>
                  <a:cxn ang="0">
                    <a:pos x="39" y="38"/>
                  </a:cxn>
                  <a:cxn ang="0">
                    <a:pos x="46" y="45"/>
                  </a:cxn>
                  <a:cxn ang="0">
                    <a:pos x="49" y="48"/>
                  </a:cxn>
                  <a:cxn ang="0">
                    <a:pos x="56" y="46"/>
                  </a:cxn>
                  <a:cxn ang="0">
                    <a:pos x="62" y="45"/>
                  </a:cxn>
                  <a:cxn ang="0">
                    <a:pos x="77" y="40"/>
                  </a:cxn>
                  <a:cxn ang="0">
                    <a:pos x="83" y="43"/>
                  </a:cxn>
                  <a:cxn ang="0">
                    <a:pos x="88" y="45"/>
                  </a:cxn>
                  <a:cxn ang="0">
                    <a:pos x="96" y="45"/>
                  </a:cxn>
                  <a:cxn ang="0">
                    <a:pos x="91" y="40"/>
                  </a:cxn>
                  <a:cxn ang="0">
                    <a:pos x="90" y="38"/>
                  </a:cxn>
                  <a:cxn ang="0">
                    <a:pos x="93" y="32"/>
                  </a:cxn>
                  <a:cxn ang="0">
                    <a:pos x="86" y="29"/>
                  </a:cxn>
                  <a:cxn ang="0">
                    <a:pos x="84" y="22"/>
                  </a:cxn>
                  <a:cxn ang="0">
                    <a:pos x="81" y="19"/>
                  </a:cxn>
                  <a:cxn ang="0">
                    <a:pos x="77" y="19"/>
                  </a:cxn>
                  <a:cxn ang="0">
                    <a:pos x="71" y="16"/>
                  </a:cxn>
                  <a:cxn ang="0">
                    <a:pos x="68" y="16"/>
                  </a:cxn>
                  <a:cxn ang="0">
                    <a:pos x="58" y="19"/>
                  </a:cxn>
                  <a:cxn ang="0">
                    <a:pos x="55" y="16"/>
                  </a:cxn>
                  <a:cxn ang="0">
                    <a:pos x="39" y="7"/>
                  </a:cxn>
                  <a:cxn ang="0">
                    <a:pos x="26" y="7"/>
                  </a:cxn>
                  <a:cxn ang="0">
                    <a:pos x="14" y="1"/>
                  </a:cxn>
                  <a:cxn ang="0">
                    <a:pos x="9" y="1"/>
                  </a:cxn>
                  <a:cxn ang="0">
                    <a:pos x="0" y="1"/>
                  </a:cxn>
                  <a:cxn ang="0">
                    <a:pos x="14" y="10"/>
                  </a:cxn>
                  <a:cxn ang="0">
                    <a:pos x="22" y="17"/>
                  </a:cxn>
                  <a:cxn ang="0">
                    <a:pos x="26" y="29"/>
                  </a:cxn>
                  <a:cxn ang="0">
                    <a:pos x="25" y="38"/>
                  </a:cxn>
                  <a:cxn ang="0">
                    <a:pos x="23" y="38"/>
                  </a:cxn>
                </a:cxnLst>
                <a:rect l="0" t="0" r="r" b="b"/>
                <a:pathLst>
                  <a:path w="96" h="48">
                    <a:moveTo>
                      <a:pt x="23" y="38"/>
                    </a:moveTo>
                    <a:lnTo>
                      <a:pt x="25" y="40"/>
                    </a:lnTo>
                    <a:lnTo>
                      <a:pt x="27" y="40"/>
                    </a:lnTo>
                    <a:lnTo>
                      <a:pt x="30" y="39"/>
                    </a:lnTo>
                    <a:lnTo>
                      <a:pt x="35" y="40"/>
                    </a:lnTo>
                    <a:lnTo>
                      <a:pt x="36" y="40"/>
                    </a:lnTo>
                    <a:lnTo>
                      <a:pt x="38" y="39"/>
                    </a:lnTo>
                    <a:lnTo>
                      <a:pt x="39" y="38"/>
                    </a:lnTo>
                    <a:lnTo>
                      <a:pt x="41" y="39"/>
                    </a:lnTo>
                    <a:lnTo>
                      <a:pt x="46" y="45"/>
                    </a:lnTo>
                    <a:lnTo>
                      <a:pt x="48" y="45"/>
                    </a:lnTo>
                    <a:lnTo>
                      <a:pt x="49" y="48"/>
                    </a:lnTo>
                    <a:lnTo>
                      <a:pt x="55" y="46"/>
                    </a:lnTo>
                    <a:lnTo>
                      <a:pt x="56" y="46"/>
                    </a:lnTo>
                    <a:lnTo>
                      <a:pt x="61" y="45"/>
                    </a:lnTo>
                    <a:lnTo>
                      <a:pt x="62" y="45"/>
                    </a:lnTo>
                    <a:lnTo>
                      <a:pt x="67" y="45"/>
                    </a:lnTo>
                    <a:lnTo>
                      <a:pt x="77" y="40"/>
                    </a:lnTo>
                    <a:lnTo>
                      <a:pt x="81" y="42"/>
                    </a:lnTo>
                    <a:lnTo>
                      <a:pt x="83" y="43"/>
                    </a:lnTo>
                    <a:lnTo>
                      <a:pt x="87" y="45"/>
                    </a:lnTo>
                    <a:lnTo>
                      <a:pt x="88" y="45"/>
                    </a:lnTo>
                    <a:lnTo>
                      <a:pt x="94" y="46"/>
                    </a:lnTo>
                    <a:lnTo>
                      <a:pt x="96" y="45"/>
                    </a:lnTo>
                    <a:lnTo>
                      <a:pt x="94" y="43"/>
                    </a:lnTo>
                    <a:lnTo>
                      <a:pt x="91" y="40"/>
                    </a:lnTo>
                    <a:lnTo>
                      <a:pt x="91" y="39"/>
                    </a:lnTo>
                    <a:lnTo>
                      <a:pt x="90" y="38"/>
                    </a:lnTo>
                    <a:lnTo>
                      <a:pt x="90" y="35"/>
                    </a:lnTo>
                    <a:lnTo>
                      <a:pt x="93" y="32"/>
                    </a:lnTo>
                    <a:lnTo>
                      <a:pt x="90" y="30"/>
                    </a:lnTo>
                    <a:lnTo>
                      <a:pt x="86" y="29"/>
                    </a:lnTo>
                    <a:lnTo>
                      <a:pt x="83" y="26"/>
                    </a:lnTo>
                    <a:lnTo>
                      <a:pt x="84" y="22"/>
                    </a:lnTo>
                    <a:lnTo>
                      <a:pt x="83" y="20"/>
                    </a:lnTo>
                    <a:lnTo>
                      <a:pt x="81" y="19"/>
                    </a:lnTo>
                    <a:lnTo>
                      <a:pt x="78" y="19"/>
                    </a:lnTo>
                    <a:lnTo>
                      <a:pt x="77" y="19"/>
                    </a:lnTo>
                    <a:lnTo>
                      <a:pt x="75" y="17"/>
                    </a:lnTo>
                    <a:lnTo>
                      <a:pt x="71" y="16"/>
                    </a:lnTo>
                    <a:lnTo>
                      <a:pt x="70" y="17"/>
                    </a:lnTo>
                    <a:lnTo>
                      <a:pt x="68" y="16"/>
                    </a:lnTo>
                    <a:lnTo>
                      <a:pt x="65" y="16"/>
                    </a:lnTo>
                    <a:lnTo>
                      <a:pt x="58" y="19"/>
                    </a:lnTo>
                    <a:lnTo>
                      <a:pt x="56" y="17"/>
                    </a:lnTo>
                    <a:lnTo>
                      <a:pt x="55" y="16"/>
                    </a:lnTo>
                    <a:lnTo>
                      <a:pt x="43" y="7"/>
                    </a:lnTo>
                    <a:lnTo>
                      <a:pt x="39" y="7"/>
                    </a:lnTo>
                    <a:lnTo>
                      <a:pt x="35" y="6"/>
                    </a:lnTo>
                    <a:lnTo>
                      <a:pt x="26" y="7"/>
                    </a:lnTo>
                    <a:lnTo>
                      <a:pt x="16" y="3"/>
                    </a:lnTo>
                    <a:lnTo>
                      <a:pt x="14" y="1"/>
                    </a:lnTo>
                    <a:lnTo>
                      <a:pt x="10" y="0"/>
                    </a:lnTo>
                    <a:lnTo>
                      <a:pt x="9" y="1"/>
                    </a:lnTo>
                    <a:lnTo>
                      <a:pt x="6" y="0"/>
                    </a:lnTo>
                    <a:lnTo>
                      <a:pt x="0" y="1"/>
                    </a:lnTo>
                    <a:lnTo>
                      <a:pt x="6" y="7"/>
                    </a:lnTo>
                    <a:lnTo>
                      <a:pt x="14" y="10"/>
                    </a:lnTo>
                    <a:lnTo>
                      <a:pt x="20" y="14"/>
                    </a:lnTo>
                    <a:lnTo>
                      <a:pt x="22" y="17"/>
                    </a:lnTo>
                    <a:lnTo>
                      <a:pt x="25" y="27"/>
                    </a:lnTo>
                    <a:lnTo>
                      <a:pt x="26" y="29"/>
                    </a:lnTo>
                    <a:lnTo>
                      <a:pt x="26" y="36"/>
                    </a:lnTo>
                    <a:lnTo>
                      <a:pt x="25" y="38"/>
                    </a:lnTo>
                    <a:lnTo>
                      <a:pt x="23" y="38"/>
                    </a:lnTo>
                    <a:lnTo>
                      <a:pt x="23" y="38"/>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77" name="Freeform 1676"/>
              <p:cNvSpPr>
                <a:spLocks/>
              </p:cNvSpPr>
              <p:nvPr/>
            </p:nvSpPr>
            <p:spPr bwMode="auto">
              <a:xfrm>
                <a:off x="6639506" y="2558648"/>
                <a:ext cx="87780" cy="49692"/>
              </a:xfrm>
              <a:custGeom>
                <a:avLst/>
                <a:gdLst/>
                <a:ahLst/>
                <a:cxnLst>
                  <a:cxn ang="0">
                    <a:pos x="25" y="40"/>
                  </a:cxn>
                  <a:cxn ang="0">
                    <a:pos x="30" y="39"/>
                  </a:cxn>
                  <a:cxn ang="0">
                    <a:pos x="36" y="40"/>
                  </a:cxn>
                  <a:cxn ang="0">
                    <a:pos x="39" y="38"/>
                  </a:cxn>
                  <a:cxn ang="0">
                    <a:pos x="46" y="45"/>
                  </a:cxn>
                  <a:cxn ang="0">
                    <a:pos x="49" y="48"/>
                  </a:cxn>
                  <a:cxn ang="0">
                    <a:pos x="56" y="46"/>
                  </a:cxn>
                  <a:cxn ang="0">
                    <a:pos x="62" y="45"/>
                  </a:cxn>
                  <a:cxn ang="0">
                    <a:pos x="77" y="40"/>
                  </a:cxn>
                  <a:cxn ang="0">
                    <a:pos x="83" y="43"/>
                  </a:cxn>
                  <a:cxn ang="0">
                    <a:pos x="88" y="45"/>
                  </a:cxn>
                  <a:cxn ang="0">
                    <a:pos x="96" y="45"/>
                  </a:cxn>
                  <a:cxn ang="0">
                    <a:pos x="91" y="40"/>
                  </a:cxn>
                  <a:cxn ang="0">
                    <a:pos x="90" y="38"/>
                  </a:cxn>
                  <a:cxn ang="0">
                    <a:pos x="93" y="32"/>
                  </a:cxn>
                  <a:cxn ang="0">
                    <a:pos x="86" y="29"/>
                  </a:cxn>
                  <a:cxn ang="0">
                    <a:pos x="84" y="22"/>
                  </a:cxn>
                  <a:cxn ang="0">
                    <a:pos x="81" y="19"/>
                  </a:cxn>
                  <a:cxn ang="0">
                    <a:pos x="77" y="19"/>
                  </a:cxn>
                  <a:cxn ang="0">
                    <a:pos x="71" y="16"/>
                  </a:cxn>
                  <a:cxn ang="0">
                    <a:pos x="68" y="16"/>
                  </a:cxn>
                  <a:cxn ang="0">
                    <a:pos x="58" y="19"/>
                  </a:cxn>
                  <a:cxn ang="0">
                    <a:pos x="55" y="16"/>
                  </a:cxn>
                  <a:cxn ang="0">
                    <a:pos x="39" y="7"/>
                  </a:cxn>
                  <a:cxn ang="0">
                    <a:pos x="26" y="7"/>
                  </a:cxn>
                  <a:cxn ang="0">
                    <a:pos x="14" y="1"/>
                  </a:cxn>
                  <a:cxn ang="0">
                    <a:pos x="9" y="1"/>
                  </a:cxn>
                  <a:cxn ang="0">
                    <a:pos x="0" y="1"/>
                  </a:cxn>
                  <a:cxn ang="0">
                    <a:pos x="14" y="10"/>
                  </a:cxn>
                  <a:cxn ang="0">
                    <a:pos x="22" y="17"/>
                  </a:cxn>
                  <a:cxn ang="0">
                    <a:pos x="26" y="29"/>
                  </a:cxn>
                  <a:cxn ang="0">
                    <a:pos x="25" y="38"/>
                  </a:cxn>
                  <a:cxn ang="0">
                    <a:pos x="23" y="38"/>
                  </a:cxn>
                </a:cxnLst>
                <a:rect l="0" t="0" r="r" b="b"/>
                <a:pathLst>
                  <a:path w="96" h="48">
                    <a:moveTo>
                      <a:pt x="23" y="38"/>
                    </a:moveTo>
                    <a:lnTo>
                      <a:pt x="25" y="40"/>
                    </a:lnTo>
                    <a:lnTo>
                      <a:pt x="27" y="40"/>
                    </a:lnTo>
                    <a:lnTo>
                      <a:pt x="30" y="39"/>
                    </a:lnTo>
                    <a:lnTo>
                      <a:pt x="35" y="40"/>
                    </a:lnTo>
                    <a:lnTo>
                      <a:pt x="36" y="40"/>
                    </a:lnTo>
                    <a:lnTo>
                      <a:pt x="38" y="39"/>
                    </a:lnTo>
                    <a:lnTo>
                      <a:pt x="39" y="38"/>
                    </a:lnTo>
                    <a:lnTo>
                      <a:pt x="41" y="39"/>
                    </a:lnTo>
                    <a:lnTo>
                      <a:pt x="46" y="45"/>
                    </a:lnTo>
                    <a:lnTo>
                      <a:pt x="48" y="45"/>
                    </a:lnTo>
                    <a:lnTo>
                      <a:pt x="49" y="48"/>
                    </a:lnTo>
                    <a:lnTo>
                      <a:pt x="55" y="46"/>
                    </a:lnTo>
                    <a:lnTo>
                      <a:pt x="56" y="46"/>
                    </a:lnTo>
                    <a:lnTo>
                      <a:pt x="61" y="45"/>
                    </a:lnTo>
                    <a:lnTo>
                      <a:pt x="62" y="45"/>
                    </a:lnTo>
                    <a:lnTo>
                      <a:pt x="67" y="45"/>
                    </a:lnTo>
                    <a:lnTo>
                      <a:pt x="77" y="40"/>
                    </a:lnTo>
                    <a:lnTo>
                      <a:pt x="81" y="42"/>
                    </a:lnTo>
                    <a:lnTo>
                      <a:pt x="83" y="43"/>
                    </a:lnTo>
                    <a:lnTo>
                      <a:pt x="87" y="45"/>
                    </a:lnTo>
                    <a:lnTo>
                      <a:pt x="88" y="45"/>
                    </a:lnTo>
                    <a:lnTo>
                      <a:pt x="94" y="46"/>
                    </a:lnTo>
                    <a:lnTo>
                      <a:pt x="96" y="45"/>
                    </a:lnTo>
                    <a:lnTo>
                      <a:pt x="94" y="43"/>
                    </a:lnTo>
                    <a:lnTo>
                      <a:pt x="91" y="40"/>
                    </a:lnTo>
                    <a:lnTo>
                      <a:pt x="91" y="39"/>
                    </a:lnTo>
                    <a:lnTo>
                      <a:pt x="90" y="38"/>
                    </a:lnTo>
                    <a:lnTo>
                      <a:pt x="90" y="35"/>
                    </a:lnTo>
                    <a:lnTo>
                      <a:pt x="93" y="32"/>
                    </a:lnTo>
                    <a:lnTo>
                      <a:pt x="90" y="30"/>
                    </a:lnTo>
                    <a:lnTo>
                      <a:pt x="86" y="29"/>
                    </a:lnTo>
                    <a:lnTo>
                      <a:pt x="83" y="26"/>
                    </a:lnTo>
                    <a:lnTo>
                      <a:pt x="84" y="22"/>
                    </a:lnTo>
                    <a:lnTo>
                      <a:pt x="83" y="20"/>
                    </a:lnTo>
                    <a:lnTo>
                      <a:pt x="81" y="19"/>
                    </a:lnTo>
                    <a:lnTo>
                      <a:pt x="78" y="19"/>
                    </a:lnTo>
                    <a:lnTo>
                      <a:pt x="77" y="19"/>
                    </a:lnTo>
                    <a:lnTo>
                      <a:pt x="75" y="17"/>
                    </a:lnTo>
                    <a:lnTo>
                      <a:pt x="71" y="16"/>
                    </a:lnTo>
                    <a:lnTo>
                      <a:pt x="70" y="17"/>
                    </a:lnTo>
                    <a:lnTo>
                      <a:pt x="68" y="16"/>
                    </a:lnTo>
                    <a:lnTo>
                      <a:pt x="65" y="16"/>
                    </a:lnTo>
                    <a:lnTo>
                      <a:pt x="58" y="19"/>
                    </a:lnTo>
                    <a:lnTo>
                      <a:pt x="56" y="17"/>
                    </a:lnTo>
                    <a:lnTo>
                      <a:pt x="55" y="16"/>
                    </a:lnTo>
                    <a:lnTo>
                      <a:pt x="43" y="7"/>
                    </a:lnTo>
                    <a:lnTo>
                      <a:pt x="39" y="7"/>
                    </a:lnTo>
                    <a:lnTo>
                      <a:pt x="35" y="6"/>
                    </a:lnTo>
                    <a:lnTo>
                      <a:pt x="26" y="7"/>
                    </a:lnTo>
                    <a:lnTo>
                      <a:pt x="16" y="3"/>
                    </a:lnTo>
                    <a:lnTo>
                      <a:pt x="14" y="1"/>
                    </a:lnTo>
                    <a:lnTo>
                      <a:pt x="10" y="0"/>
                    </a:lnTo>
                    <a:lnTo>
                      <a:pt x="9" y="1"/>
                    </a:lnTo>
                    <a:lnTo>
                      <a:pt x="6" y="0"/>
                    </a:lnTo>
                    <a:lnTo>
                      <a:pt x="0" y="1"/>
                    </a:lnTo>
                    <a:lnTo>
                      <a:pt x="6" y="7"/>
                    </a:lnTo>
                    <a:lnTo>
                      <a:pt x="14" y="10"/>
                    </a:lnTo>
                    <a:lnTo>
                      <a:pt x="20" y="14"/>
                    </a:lnTo>
                    <a:lnTo>
                      <a:pt x="22" y="17"/>
                    </a:lnTo>
                    <a:lnTo>
                      <a:pt x="25" y="27"/>
                    </a:lnTo>
                    <a:lnTo>
                      <a:pt x="26" y="29"/>
                    </a:lnTo>
                    <a:lnTo>
                      <a:pt x="26" y="36"/>
                    </a:lnTo>
                    <a:lnTo>
                      <a:pt x="25" y="38"/>
                    </a:lnTo>
                    <a:lnTo>
                      <a:pt x="23" y="38"/>
                    </a:lnTo>
                    <a:lnTo>
                      <a:pt x="23" y="38"/>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78" name="Freeform 1677"/>
              <p:cNvSpPr>
                <a:spLocks/>
              </p:cNvSpPr>
              <p:nvPr/>
            </p:nvSpPr>
            <p:spPr bwMode="auto">
              <a:xfrm>
                <a:off x="7044171" y="2626594"/>
                <a:ext cx="4389" cy="6085"/>
              </a:xfrm>
              <a:custGeom>
                <a:avLst/>
                <a:gdLst/>
                <a:ahLst/>
                <a:cxnLst>
                  <a:cxn ang="0">
                    <a:pos x="5" y="4"/>
                  </a:cxn>
                  <a:cxn ang="0">
                    <a:pos x="5" y="3"/>
                  </a:cxn>
                  <a:cxn ang="0">
                    <a:pos x="2" y="0"/>
                  </a:cxn>
                  <a:cxn ang="0">
                    <a:pos x="0" y="2"/>
                  </a:cxn>
                  <a:cxn ang="0">
                    <a:pos x="2" y="6"/>
                  </a:cxn>
                  <a:cxn ang="0">
                    <a:pos x="5" y="6"/>
                  </a:cxn>
                  <a:cxn ang="0">
                    <a:pos x="5" y="4"/>
                  </a:cxn>
                </a:cxnLst>
                <a:rect l="0" t="0" r="r" b="b"/>
                <a:pathLst>
                  <a:path w="5" h="6">
                    <a:moveTo>
                      <a:pt x="5" y="4"/>
                    </a:moveTo>
                    <a:lnTo>
                      <a:pt x="5" y="3"/>
                    </a:lnTo>
                    <a:lnTo>
                      <a:pt x="2" y="0"/>
                    </a:lnTo>
                    <a:lnTo>
                      <a:pt x="0" y="2"/>
                    </a:lnTo>
                    <a:lnTo>
                      <a:pt x="2" y="6"/>
                    </a:lnTo>
                    <a:lnTo>
                      <a:pt x="5" y="6"/>
                    </a:lnTo>
                    <a:lnTo>
                      <a:pt x="5" y="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79" name="Freeform 1678"/>
              <p:cNvSpPr>
                <a:spLocks/>
              </p:cNvSpPr>
              <p:nvPr/>
            </p:nvSpPr>
            <p:spPr bwMode="auto">
              <a:xfrm>
                <a:off x="7044171" y="2626594"/>
                <a:ext cx="4389" cy="6085"/>
              </a:xfrm>
              <a:custGeom>
                <a:avLst/>
                <a:gdLst/>
                <a:ahLst/>
                <a:cxnLst>
                  <a:cxn ang="0">
                    <a:pos x="5" y="4"/>
                  </a:cxn>
                  <a:cxn ang="0">
                    <a:pos x="5" y="3"/>
                  </a:cxn>
                  <a:cxn ang="0">
                    <a:pos x="2" y="0"/>
                  </a:cxn>
                  <a:cxn ang="0">
                    <a:pos x="0" y="2"/>
                  </a:cxn>
                  <a:cxn ang="0">
                    <a:pos x="2" y="6"/>
                  </a:cxn>
                  <a:cxn ang="0">
                    <a:pos x="5" y="6"/>
                  </a:cxn>
                  <a:cxn ang="0">
                    <a:pos x="5" y="4"/>
                  </a:cxn>
                </a:cxnLst>
                <a:rect l="0" t="0" r="r" b="b"/>
                <a:pathLst>
                  <a:path w="5" h="6">
                    <a:moveTo>
                      <a:pt x="5" y="4"/>
                    </a:moveTo>
                    <a:lnTo>
                      <a:pt x="5" y="3"/>
                    </a:lnTo>
                    <a:lnTo>
                      <a:pt x="2" y="0"/>
                    </a:lnTo>
                    <a:lnTo>
                      <a:pt x="0" y="2"/>
                    </a:lnTo>
                    <a:lnTo>
                      <a:pt x="2" y="6"/>
                    </a:lnTo>
                    <a:lnTo>
                      <a:pt x="5" y="6"/>
                    </a:lnTo>
                    <a:lnTo>
                      <a:pt x="5" y="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80" name="Freeform 1679"/>
              <p:cNvSpPr>
                <a:spLocks/>
              </p:cNvSpPr>
              <p:nvPr/>
            </p:nvSpPr>
            <p:spPr bwMode="auto">
              <a:xfrm>
                <a:off x="7052949" y="2629638"/>
                <a:ext cx="2634" cy="3042"/>
              </a:xfrm>
              <a:custGeom>
                <a:avLst/>
                <a:gdLst/>
                <a:ahLst/>
                <a:cxnLst>
                  <a:cxn ang="0">
                    <a:pos x="3" y="1"/>
                  </a:cxn>
                  <a:cxn ang="0">
                    <a:pos x="2" y="0"/>
                  </a:cxn>
                  <a:cxn ang="0">
                    <a:pos x="0" y="1"/>
                  </a:cxn>
                  <a:cxn ang="0">
                    <a:pos x="2" y="3"/>
                  </a:cxn>
                  <a:cxn ang="0">
                    <a:pos x="3" y="1"/>
                  </a:cxn>
                  <a:cxn ang="0">
                    <a:pos x="3" y="1"/>
                  </a:cxn>
                </a:cxnLst>
                <a:rect l="0" t="0" r="r" b="b"/>
                <a:pathLst>
                  <a:path w="3" h="3">
                    <a:moveTo>
                      <a:pt x="3" y="1"/>
                    </a:moveTo>
                    <a:lnTo>
                      <a:pt x="2" y="0"/>
                    </a:lnTo>
                    <a:lnTo>
                      <a:pt x="0" y="1"/>
                    </a:lnTo>
                    <a:lnTo>
                      <a:pt x="2" y="3"/>
                    </a:lnTo>
                    <a:lnTo>
                      <a:pt x="3" y="1"/>
                    </a:lnTo>
                    <a:lnTo>
                      <a:pt x="3"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81" name="Freeform 1680"/>
              <p:cNvSpPr>
                <a:spLocks/>
              </p:cNvSpPr>
              <p:nvPr/>
            </p:nvSpPr>
            <p:spPr bwMode="auto">
              <a:xfrm>
                <a:off x="7052949" y="2629638"/>
                <a:ext cx="2634" cy="3042"/>
              </a:xfrm>
              <a:custGeom>
                <a:avLst/>
                <a:gdLst/>
                <a:ahLst/>
                <a:cxnLst>
                  <a:cxn ang="0">
                    <a:pos x="3" y="1"/>
                  </a:cxn>
                  <a:cxn ang="0">
                    <a:pos x="2" y="0"/>
                  </a:cxn>
                  <a:cxn ang="0">
                    <a:pos x="0" y="1"/>
                  </a:cxn>
                  <a:cxn ang="0">
                    <a:pos x="2" y="3"/>
                  </a:cxn>
                  <a:cxn ang="0">
                    <a:pos x="3" y="1"/>
                  </a:cxn>
                  <a:cxn ang="0">
                    <a:pos x="3" y="1"/>
                  </a:cxn>
                </a:cxnLst>
                <a:rect l="0" t="0" r="r" b="b"/>
                <a:pathLst>
                  <a:path w="3" h="3">
                    <a:moveTo>
                      <a:pt x="3" y="1"/>
                    </a:moveTo>
                    <a:lnTo>
                      <a:pt x="2" y="0"/>
                    </a:lnTo>
                    <a:lnTo>
                      <a:pt x="0" y="1"/>
                    </a:lnTo>
                    <a:lnTo>
                      <a:pt x="2" y="3"/>
                    </a:lnTo>
                    <a:lnTo>
                      <a:pt x="3" y="1"/>
                    </a:lnTo>
                    <a:lnTo>
                      <a:pt x="3"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82" name="Freeform 1681"/>
              <p:cNvSpPr>
                <a:spLocks/>
              </p:cNvSpPr>
              <p:nvPr/>
            </p:nvSpPr>
            <p:spPr bwMode="auto">
              <a:xfrm>
                <a:off x="6695685" y="2632679"/>
                <a:ext cx="250173" cy="259618"/>
              </a:xfrm>
              <a:custGeom>
                <a:avLst/>
                <a:gdLst/>
                <a:ahLst/>
                <a:cxnLst>
                  <a:cxn ang="0">
                    <a:pos x="245" y="250"/>
                  </a:cxn>
                  <a:cxn ang="0">
                    <a:pos x="231" y="247"/>
                  </a:cxn>
                  <a:cxn ang="0">
                    <a:pos x="212" y="246"/>
                  </a:cxn>
                  <a:cxn ang="0">
                    <a:pos x="181" y="221"/>
                  </a:cxn>
                  <a:cxn ang="0">
                    <a:pos x="162" y="221"/>
                  </a:cxn>
                  <a:cxn ang="0">
                    <a:pos x="155" y="225"/>
                  </a:cxn>
                  <a:cxn ang="0">
                    <a:pos x="145" y="227"/>
                  </a:cxn>
                  <a:cxn ang="0">
                    <a:pos x="133" y="225"/>
                  </a:cxn>
                  <a:cxn ang="0">
                    <a:pos x="132" y="222"/>
                  </a:cxn>
                  <a:cxn ang="0">
                    <a:pos x="120" y="214"/>
                  </a:cxn>
                  <a:cxn ang="0">
                    <a:pos x="106" y="208"/>
                  </a:cxn>
                  <a:cxn ang="0">
                    <a:pos x="96" y="190"/>
                  </a:cxn>
                  <a:cxn ang="0">
                    <a:pos x="87" y="177"/>
                  </a:cxn>
                  <a:cxn ang="0">
                    <a:pos x="83" y="170"/>
                  </a:cxn>
                  <a:cxn ang="0">
                    <a:pos x="77" y="173"/>
                  </a:cxn>
                  <a:cxn ang="0">
                    <a:pos x="74" y="170"/>
                  </a:cxn>
                  <a:cxn ang="0">
                    <a:pos x="70" y="164"/>
                  </a:cxn>
                  <a:cxn ang="0">
                    <a:pos x="65" y="163"/>
                  </a:cxn>
                  <a:cxn ang="0">
                    <a:pos x="65" y="169"/>
                  </a:cxn>
                  <a:cxn ang="0">
                    <a:pos x="55" y="164"/>
                  </a:cxn>
                  <a:cxn ang="0">
                    <a:pos x="49" y="154"/>
                  </a:cxn>
                  <a:cxn ang="0">
                    <a:pos x="36" y="126"/>
                  </a:cxn>
                  <a:cxn ang="0">
                    <a:pos x="25" y="113"/>
                  </a:cxn>
                  <a:cxn ang="0">
                    <a:pos x="19" y="109"/>
                  </a:cxn>
                  <a:cxn ang="0">
                    <a:pos x="17" y="103"/>
                  </a:cxn>
                  <a:cxn ang="0">
                    <a:pos x="20" y="94"/>
                  </a:cxn>
                  <a:cxn ang="0">
                    <a:pos x="29" y="83"/>
                  </a:cxn>
                  <a:cxn ang="0">
                    <a:pos x="30" y="73"/>
                  </a:cxn>
                  <a:cxn ang="0">
                    <a:pos x="16" y="62"/>
                  </a:cxn>
                  <a:cxn ang="0">
                    <a:pos x="9" y="42"/>
                  </a:cxn>
                  <a:cxn ang="0">
                    <a:pos x="1" y="14"/>
                  </a:cxn>
                  <a:cxn ang="0">
                    <a:pos x="6" y="0"/>
                  </a:cxn>
                  <a:cxn ang="0">
                    <a:pos x="40" y="10"/>
                  </a:cxn>
                  <a:cxn ang="0">
                    <a:pos x="56" y="6"/>
                  </a:cxn>
                  <a:cxn ang="0">
                    <a:pos x="55" y="17"/>
                  </a:cxn>
                  <a:cxn ang="0">
                    <a:pos x="58" y="22"/>
                  </a:cxn>
                  <a:cxn ang="0">
                    <a:pos x="65" y="25"/>
                  </a:cxn>
                  <a:cxn ang="0">
                    <a:pos x="74" y="44"/>
                  </a:cxn>
                  <a:cxn ang="0">
                    <a:pos x="87" y="46"/>
                  </a:cxn>
                  <a:cxn ang="0">
                    <a:pos x="110" y="60"/>
                  </a:cxn>
                  <a:cxn ang="0">
                    <a:pos x="131" y="54"/>
                  </a:cxn>
                  <a:cxn ang="0">
                    <a:pos x="141" y="49"/>
                  </a:cxn>
                  <a:cxn ang="0">
                    <a:pos x="160" y="32"/>
                  </a:cxn>
                  <a:cxn ang="0">
                    <a:pos x="173" y="32"/>
                  </a:cxn>
                  <a:cxn ang="0">
                    <a:pos x="184" y="28"/>
                  </a:cxn>
                  <a:cxn ang="0">
                    <a:pos x="209" y="39"/>
                  </a:cxn>
                  <a:cxn ang="0">
                    <a:pos x="218" y="45"/>
                  </a:cxn>
                  <a:cxn ang="0">
                    <a:pos x="241" y="58"/>
                  </a:cxn>
                  <a:cxn ang="0">
                    <a:pos x="244" y="73"/>
                  </a:cxn>
                  <a:cxn ang="0">
                    <a:pos x="238" y="99"/>
                  </a:cxn>
                  <a:cxn ang="0">
                    <a:pos x="235" y="110"/>
                  </a:cxn>
                  <a:cxn ang="0">
                    <a:pos x="235" y="129"/>
                  </a:cxn>
                  <a:cxn ang="0">
                    <a:pos x="245" y="145"/>
                  </a:cxn>
                  <a:cxn ang="0">
                    <a:pos x="250" y="155"/>
                  </a:cxn>
                  <a:cxn ang="0">
                    <a:pos x="248" y="192"/>
                  </a:cxn>
                  <a:cxn ang="0">
                    <a:pos x="264" y="200"/>
                  </a:cxn>
                  <a:cxn ang="0">
                    <a:pos x="271" y="218"/>
                  </a:cxn>
                  <a:cxn ang="0">
                    <a:pos x="268" y="225"/>
                  </a:cxn>
                  <a:cxn ang="0">
                    <a:pos x="248" y="248"/>
                  </a:cxn>
                </a:cxnLst>
                <a:rect l="0" t="0" r="r" b="b"/>
                <a:pathLst>
                  <a:path w="273" h="250">
                    <a:moveTo>
                      <a:pt x="248" y="248"/>
                    </a:moveTo>
                    <a:lnTo>
                      <a:pt x="248" y="248"/>
                    </a:lnTo>
                    <a:lnTo>
                      <a:pt x="245" y="250"/>
                    </a:lnTo>
                    <a:lnTo>
                      <a:pt x="234" y="247"/>
                    </a:lnTo>
                    <a:lnTo>
                      <a:pt x="232" y="246"/>
                    </a:lnTo>
                    <a:lnTo>
                      <a:pt x="231" y="247"/>
                    </a:lnTo>
                    <a:lnTo>
                      <a:pt x="213" y="244"/>
                    </a:lnTo>
                    <a:lnTo>
                      <a:pt x="213" y="244"/>
                    </a:lnTo>
                    <a:lnTo>
                      <a:pt x="212" y="246"/>
                    </a:lnTo>
                    <a:lnTo>
                      <a:pt x="209" y="244"/>
                    </a:lnTo>
                    <a:lnTo>
                      <a:pt x="189" y="240"/>
                    </a:lnTo>
                    <a:lnTo>
                      <a:pt x="181" y="221"/>
                    </a:lnTo>
                    <a:lnTo>
                      <a:pt x="174" y="218"/>
                    </a:lnTo>
                    <a:lnTo>
                      <a:pt x="173" y="218"/>
                    </a:lnTo>
                    <a:lnTo>
                      <a:pt x="162" y="221"/>
                    </a:lnTo>
                    <a:lnTo>
                      <a:pt x="161" y="224"/>
                    </a:lnTo>
                    <a:lnTo>
                      <a:pt x="158" y="225"/>
                    </a:lnTo>
                    <a:lnTo>
                      <a:pt x="155" y="225"/>
                    </a:lnTo>
                    <a:lnTo>
                      <a:pt x="152" y="227"/>
                    </a:lnTo>
                    <a:lnTo>
                      <a:pt x="148" y="228"/>
                    </a:lnTo>
                    <a:lnTo>
                      <a:pt x="145" y="227"/>
                    </a:lnTo>
                    <a:lnTo>
                      <a:pt x="144" y="225"/>
                    </a:lnTo>
                    <a:lnTo>
                      <a:pt x="139" y="225"/>
                    </a:lnTo>
                    <a:lnTo>
                      <a:pt x="133" y="225"/>
                    </a:lnTo>
                    <a:lnTo>
                      <a:pt x="132" y="222"/>
                    </a:lnTo>
                    <a:lnTo>
                      <a:pt x="132" y="222"/>
                    </a:lnTo>
                    <a:lnTo>
                      <a:pt x="132" y="222"/>
                    </a:lnTo>
                    <a:lnTo>
                      <a:pt x="122" y="218"/>
                    </a:lnTo>
                    <a:lnTo>
                      <a:pt x="120" y="215"/>
                    </a:lnTo>
                    <a:lnTo>
                      <a:pt x="120" y="214"/>
                    </a:lnTo>
                    <a:lnTo>
                      <a:pt x="117" y="211"/>
                    </a:lnTo>
                    <a:lnTo>
                      <a:pt x="110" y="208"/>
                    </a:lnTo>
                    <a:lnTo>
                      <a:pt x="106" y="208"/>
                    </a:lnTo>
                    <a:lnTo>
                      <a:pt x="103" y="206"/>
                    </a:lnTo>
                    <a:lnTo>
                      <a:pt x="101" y="203"/>
                    </a:lnTo>
                    <a:lnTo>
                      <a:pt x="96" y="190"/>
                    </a:lnTo>
                    <a:lnTo>
                      <a:pt x="91" y="186"/>
                    </a:lnTo>
                    <a:lnTo>
                      <a:pt x="88" y="179"/>
                    </a:lnTo>
                    <a:lnTo>
                      <a:pt x="87" y="177"/>
                    </a:lnTo>
                    <a:lnTo>
                      <a:pt x="84" y="174"/>
                    </a:lnTo>
                    <a:lnTo>
                      <a:pt x="84" y="171"/>
                    </a:lnTo>
                    <a:lnTo>
                      <a:pt x="83" y="170"/>
                    </a:lnTo>
                    <a:lnTo>
                      <a:pt x="81" y="169"/>
                    </a:lnTo>
                    <a:lnTo>
                      <a:pt x="78" y="170"/>
                    </a:lnTo>
                    <a:lnTo>
                      <a:pt x="77" y="173"/>
                    </a:lnTo>
                    <a:lnTo>
                      <a:pt x="75" y="171"/>
                    </a:lnTo>
                    <a:lnTo>
                      <a:pt x="74" y="171"/>
                    </a:lnTo>
                    <a:lnTo>
                      <a:pt x="74" y="170"/>
                    </a:lnTo>
                    <a:lnTo>
                      <a:pt x="71" y="169"/>
                    </a:lnTo>
                    <a:lnTo>
                      <a:pt x="70" y="167"/>
                    </a:lnTo>
                    <a:lnTo>
                      <a:pt x="70" y="164"/>
                    </a:lnTo>
                    <a:lnTo>
                      <a:pt x="68" y="163"/>
                    </a:lnTo>
                    <a:lnTo>
                      <a:pt x="67" y="163"/>
                    </a:lnTo>
                    <a:lnTo>
                      <a:pt x="65" y="163"/>
                    </a:lnTo>
                    <a:lnTo>
                      <a:pt x="65" y="164"/>
                    </a:lnTo>
                    <a:lnTo>
                      <a:pt x="65" y="166"/>
                    </a:lnTo>
                    <a:lnTo>
                      <a:pt x="65" y="169"/>
                    </a:lnTo>
                    <a:lnTo>
                      <a:pt x="64" y="169"/>
                    </a:lnTo>
                    <a:lnTo>
                      <a:pt x="62" y="170"/>
                    </a:lnTo>
                    <a:lnTo>
                      <a:pt x="55" y="164"/>
                    </a:lnTo>
                    <a:lnTo>
                      <a:pt x="54" y="161"/>
                    </a:lnTo>
                    <a:lnTo>
                      <a:pt x="52" y="157"/>
                    </a:lnTo>
                    <a:lnTo>
                      <a:pt x="49" y="154"/>
                    </a:lnTo>
                    <a:lnTo>
                      <a:pt x="49" y="142"/>
                    </a:lnTo>
                    <a:lnTo>
                      <a:pt x="42" y="129"/>
                    </a:lnTo>
                    <a:lnTo>
                      <a:pt x="36" y="126"/>
                    </a:lnTo>
                    <a:lnTo>
                      <a:pt x="26" y="119"/>
                    </a:lnTo>
                    <a:lnTo>
                      <a:pt x="26" y="116"/>
                    </a:lnTo>
                    <a:lnTo>
                      <a:pt x="25" y="113"/>
                    </a:lnTo>
                    <a:lnTo>
                      <a:pt x="22" y="112"/>
                    </a:lnTo>
                    <a:lnTo>
                      <a:pt x="22" y="109"/>
                    </a:lnTo>
                    <a:lnTo>
                      <a:pt x="19" y="109"/>
                    </a:lnTo>
                    <a:lnTo>
                      <a:pt x="17" y="107"/>
                    </a:lnTo>
                    <a:lnTo>
                      <a:pt x="17" y="105"/>
                    </a:lnTo>
                    <a:lnTo>
                      <a:pt x="17" y="103"/>
                    </a:lnTo>
                    <a:lnTo>
                      <a:pt x="19" y="102"/>
                    </a:lnTo>
                    <a:lnTo>
                      <a:pt x="20" y="96"/>
                    </a:lnTo>
                    <a:lnTo>
                      <a:pt x="20" y="94"/>
                    </a:lnTo>
                    <a:lnTo>
                      <a:pt x="23" y="93"/>
                    </a:lnTo>
                    <a:lnTo>
                      <a:pt x="23" y="91"/>
                    </a:lnTo>
                    <a:lnTo>
                      <a:pt x="29" y="83"/>
                    </a:lnTo>
                    <a:lnTo>
                      <a:pt x="27" y="78"/>
                    </a:lnTo>
                    <a:lnTo>
                      <a:pt x="29" y="74"/>
                    </a:lnTo>
                    <a:lnTo>
                      <a:pt x="30" y="73"/>
                    </a:lnTo>
                    <a:lnTo>
                      <a:pt x="20" y="71"/>
                    </a:lnTo>
                    <a:lnTo>
                      <a:pt x="17" y="68"/>
                    </a:lnTo>
                    <a:lnTo>
                      <a:pt x="16" y="62"/>
                    </a:lnTo>
                    <a:lnTo>
                      <a:pt x="13" y="60"/>
                    </a:lnTo>
                    <a:lnTo>
                      <a:pt x="10" y="55"/>
                    </a:lnTo>
                    <a:lnTo>
                      <a:pt x="9" y="42"/>
                    </a:lnTo>
                    <a:lnTo>
                      <a:pt x="6" y="38"/>
                    </a:lnTo>
                    <a:lnTo>
                      <a:pt x="1" y="36"/>
                    </a:lnTo>
                    <a:lnTo>
                      <a:pt x="1" y="14"/>
                    </a:lnTo>
                    <a:lnTo>
                      <a:pt x="0" y="9"/>
                    </a:lnTo>
                    <a:lnTo>
                      <a:pt x="4" y="6"/>
                    </a:lnTo>
                    <a:lnTo>
                      <a:pt x="6" y="0"/>
                    </a:lnTo>
                    <a:lnTo>
                      <a:pt x="17" y="16"/>
                    </a:lnTo>
                    <a:lnTo>
                      <a:pt x="36" y="17"/>
                    </a:lnTo>
                    <a:lnTo>
                      <a:pt x="40" y="10"/>
                    </a:lnTo>
                    <a:lnTo>
                      <a:pt x="46" y="4"/>
                    </a:lnTo>
                    <a:lnTo>
                      <a:pt x="52" y="3"/>
                    </a:lnTo>
                    <a:lnTo>
                      <a:pt x="56" y="6"/>
                    </a:lnTo>
                    <a:lnTo>
                      <a:pt x="56" y="9"/>
                    </a:lnTo>
                    <a:lnTo>
                      <a:pt x="59" y="14"/>
                    </a:lnTo>
                    <a:lnTo>
                      <a:pt x="55" y="17"/>
                    </a:lnTo>
                    <a:lnTo>
                      <a:pt x="54" y="19"/>
                    </a:lnTo>
                    <a:lnTo>
                      <a:pt x="56" y="20"/>
                    </a:lnTo>
                    <a:lnTo>
                      <a:pt x="58" y="22"/>
                    </a:lnTo>
                    <a:lnTo>
                      <a:pt x="61" y="22"/>
                    </a:lnTo>
                    <a:lnTo>
                      <a:pt x="62" y="25"/>
                    </a:lnTo>
                    <a:lnTo>
                      <a:pt x="65" y="25"/>
                    </a:lnTo>
                    <a:lnTo>
                      <a:pt x="67" y="25"/>
                    </a:lnTo>
                    <a:lnTo>
                      <a:pt x="70" y="41"/>
                    </a:lnTo>
                    <a:lnTo>
                      <a:pt x="74" y="44"/>
                    </a:lnTo>
                    <a:lnTo>
                      <a:pt x="78" y="45"/>
                    </a:lnTo>
                    <a:lnTo>
                      <a:pt x="86" y="45"/>
                    </a:lnTo>
                    <a:lnTo>
                      <a:pt x="87" y="46"/>
                    </a:lnTo>
                    <a:lnTo>
                      <a:pt x="88" y="49"/>
                    </a:lnTo>
                    <a:lnTo>
                      <a:pt x="97" y="55"/>
                    </a:lnTo>
                    <a:lnTo>
                      <a:pt x="110" y="60"/>
                    </a:lnTo>
                    <a:lnTo>
                      <a:pt x="135" y="52"/>
                    </a:lnTo>
                    <a:lnTo>
                      <a:pt x="133" y="54"/>
                    </a:lnTo>
                    <a:lnTo>
                      <a:pt x="131" y="54"/>
                    </a:lnTo>
                    <a:lnTo>
                      <a:pt x="135" y="55"/>
                    </a:lnTo>
                    <a:lnTo>
                      <a:pt x="141" y="54"/>
                    </a:lnTo>
                    <a:lnTo>
                      <a:pt x="141" y="49"/>
                    </a:lnTo>
                    <a:lnTo>
                      <a:pt x="139" y="44"/>
                    </a:lnTo>
                    <a:lnTo>
                      <a:pt x="146" y="42"/>
                    </a:lnTo>
                    <a:lnTo>
                      <a:pt x="160" y="32"/>
                    </a:lnTo>
                    <a:lnTo>
                      <a:pt x="167" y="30"/>
                    </a:lnTo>
                    <a:lnTo>
                      <a:pt x="170" y="32"/>
                    </a:lnTo>
                    <a:lnTo>
                      <a:pt x="173" y="32"/>
                    </a:lnTo>
                    <a:lnTo>
                      <a:pt x="174" y="30"/>
                    </a:lnTo>
                    <a:lnTo>
                      <a:pt x="174" y="28"/>
                    </a:lnTo>
                    <a:lnTo>
                      <a:pt x="184" y="28"/>
                    </a:lnTo>
                    <a:lnTo>
                      <a:pt x="190" y="33"/>
                    </a:lnTo>
                    <a:lnTo>
                      <a:pt x="206" y="39"/>
                    </a:lnTo>
                    <a:lnTo>
                      <a:pt x="209" y="39"/>
                    </a:lnTo>
                    <a:lnTo>
                      <a:pt x="212" y="39"/>
                    </a:lnTo>
                    <a:lnTo>
                      <a:pt x="215" y="41"/>
                    </a:lnTo>
                    <a:lnTo>
                      <a:pt x="218" y="45"/>
                    </a:lnTo>
                    <a:lnTo>
                      <a:pt x="218" y="48"/>
                    </a:lnTo>
                    <a:lnTo>
                      <a:pt x="235" y="58"/>
                    </a:lnTo>
                    <a:lnTo>
                      <a:pt x="241" y="58"/>
                    </a:lnTo>
                    <a:lnTo>
                      <a:pt x="242" y="60"/>
                    </a:lnTo>
                    <a:lnTo>
                      <a:pt x="242" y="70"/>
                    </a:lnTo>
                    <a:lnTo>
                      <a:pt x="244" y="73"/>
                    </a:lnTo>
                    <a:lnTo>
                      <a:pt x="241" y="89"/>
                    </a:lnTo>
                    <a:lnTo>
                      <a:pt x="238" y="94"/>
                    </a:lnTo>
                    <a:lnTo>
                      <a:pt x="238" y="99"/>
                    </a:lnTo>
                    <a:lnTo>
                      <a:pt x="232" y="102"/>
                    </a:lnTo>
                    <a:lnTo>
                      <a:pt x="232" y="109"/>
                    </a:lnTo>
                    <a:lnTo>
                      <a:pt x="235" y="110"/>
                    </a:lnTo>
                    <a:lnTo>
                      <a:pt x="237" y="112"/>
                    </a:lnTo>
                    <a:lnTo>
                      <a:pt x="234" y="122"/>
                    </a:lnTo>
                    <a:lnTo>
                      <a:pt x="235" y="129"/>
                    </a:lnTo>
                    <a:lnTo>
                      <a:pt x="235" y="142"/>
                    </a:lnTo>
                    <a:lnTo>
                      <a:pt x="238" y="144"/>
                    </a:lnTo>
                    <a:lnTo>
                      <a:pt x="245" y="145"/>
                    </a:lnTo>
                    <a:lnTo>
                      <a:pt x="248" y="148"/>
                    </a:lnTo>
                    <a:lnTo>
                      <a:pt x="250" y="153"/>
                    </a:lnTo>
                    <a:lnTo>
                      <a:pt x="250" y="155"/>
                    </a:lnTo>
                    <a:lnTo>
                      <a:pt x="238" y="176"/>
                    </a:lnTo>
                    <a:lnTo>
                      <a:pt x="242" y="182"/>
                    </a:lnTo>
                    <a:lnTo>
                      <a:pt x="248" y="192"/>
                    </a:lnTo>
                    <a:lnTo>
                      <a:pt x="255" y="198"/>
                    </a:lnTo>
                    <a:lnTo>
                      <a:pt x="263" y="199"/>
                    </a:lnTo>
                    <a:lnTo>
                      <a:pt x="264" y="200"/>
                    </a:lnTo>
                    <a:lnTo>
                      <a:pt x="266" y="215"/>
                    </a:lnTo>
                    <a:lnTo>
                      <a:pt x="270" y="216"/>
                    </a:lnTo>
                    <a:lnTo>
                      <a:pt x="271" y="218"/>
                    </a:lnTo>
                    <a:lnTo>
                      <a:pt x="273" y="221"/>
                    </a:lnTo>
                    <a:lnTo>
                      <a:pt x="271" y="222"/>
                    </a:lnTo>
                    <a:lnTo>
                      <a:pt x="268" y="225"/>
                    </a:lnTo>
                    <a:lnTo>
                      <a:pt x="257" y="228"/>
                    </a:lnTo>
                    <a:lnTo>
                      <a:pt x="251" y="234"/>
                    </a:lnTo>
                    <a:lnTo>
                      <a:pt x="248" y="248"/>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83" name="Freeform 1682"/>
              <p:cNvSpPr>
                <a:spLocks/>
              </p:cNvSpPr>
              <p:nvPr/>
            </p:nvSpPr>
            <p:spPr bwMode="auto">
              <a:xfrm>
                <a:off x="6695685" y="2632679"/>
                <a:ext cx="250173" cy="259618"/>
              </a:xfrm>
              <a:custGeom>
                <a:avLst/>
                <a:gdLst/>
                <a:ahLst/>
                <a:cxnLst>
                  <a:cxn ang="0">
                    <a:pos x="245" y="250"/>
                  </a:cxn>
                  <a:cxn ang="0">
                    <a:pos x="231" y="247"/>
                  </a:cxn>
                  <a:cxn ang="0">
                    <a:pos x="212" y="246"/>
                  </a:cxn>
                  <a:cxn ang="0">
                    <a:pos x="181" y="221"/>
                  </a:cxn>
                  <a:cxn ang="0">
                    <a:pos x="162" y="221"/>
                  </a:cxn>
                  <a:cxn ang="0">
                    <a:pos x="155" y="225"/>
                  </a:cxn>
                  <a:cxn ang="0">
                    <a:pos x="145" y="227"/>
                  </a:cxn>
                  <a:cxn ang="0">
                    <a:pos x="133" y="225"/>
                  </a:cxn>
                  <a:cxn ang="0">
                    <a:pos x="132" y="222"/>
                  </a:cxn>
                  <a:cxn ang="0">
                    <a:pos x="120" y="214"/>
                  </a:cxn>
                  <a:cxn ang="0">
                    <a:pos x="106" y="208"/>
                  </a:cxn>
                  <a:cxn ang="0">
                    <a:pos x="96" y="190"/>
                  </a:cxn>
                  <a:cxn ang="0">
                    <a:pos x="87" y="177"/>
                  </a:cxn>
                  <a:cxn ang="0">
                    <a:pos x="83" y="170"/>
                  </a:cxn>
                  <a:cxn ang="0">
                    <a:pos x="77" y="173"/>
                  </a:cxn>
                  <a:cxn ang="0">
                    <a:pos x="74" y="170"/>
                  </a:cxn>
                  <a:cxn ang="0">
                    <a:pos x="70" y="164"/>
                  </a:cxn>
                  <a:cxn ang="0">
                    <a:pos x="65" y="163"/>
                  </a:cxn>
                  <a:cxn ang="0">
                    <a:pos x="65" y="169"/>
                  </a:cxn>
                  <a:cxn ang="0">
                    <a:pos x="55" y="164"/>
                  </a:cxn>
                  <a:cxn ang="0">
                    <a:pos x="49" y="154"/>
                  </a:cxn>
                  <a:cxn ang="0">
                    <a:pos x="36" y="126"/>
                  </a:cxn>
                  <a:cxn ang="0">
                    <a:pos x="25" y="113"/>
                  </a:cxn>
                  <a:cxn ang="0">
                    <a:pos x="19" y="109"/>
                  </a:cxn>
                  <a:cxn ang="0">
                    <a:pos x="17" y="103"/>
                  </a:cxn>
                  <a:cxn ang="0">
                    <a:pos x="20" y="94"/>
                  </a:cxn>
                  <a:cxn ang="0">
                    <a:pos x="29" y="83"/>
                  </a:cxn>
                  <a:cxn ang="0">
                    <a:pos x="30" y="73"/>
                  </a:cxn>
                  <a:cxn ang="0">
                    <a:pos x="16" y="62"/>
                  </a:cxn>
                  <a:cxn ang="0">
                    <a:pos x="9" y="42"/>
                  </a:cxn>
                  <a:cxn ang="0">
                    <a:pos x="1" y="14"/>
                  </a:cxn>
                  <a:cxn ang="0">
                    <a:pos x="6" y="0"/>
                  </a:cxn>
                  <a:cxn ang="0">
                    <a:pos x="40" y="10"/>
                  </a:cxn>
                  <a:cxn ang="0">
                    <a:pos x="56" y="6"/>
                  </a:cxn>
                  <a:cxn ang="0">
                    <a:pos x="55" y="17"/>
                  </a:cxn>
                  <a:cxn ang="0">
                    <a:pos x="58" y="22"/>
                  </a:cxn>
                  <a:cxn ang="0">
                    <a:pos x="65" y="25"/>
                  </a:cxn>
                  <a:cxn ang="0">
                    <a:pos x="74" y="44"/>
                  </a:cxn>
                  <a:cxn ang="0">
                    <a:pos x="87" y="46"/>
                  </a:cxn>
                  <a:cxn ang="0">
                    <a:pos x="110" y="60"/>
                  </a:cxn>
                  <a:cxn ang="0">
                    <a:pos x="131" y="54"/>
                  </a:cxn>
                  <a:cxn ang="0">
                    <a:pos x="141" y="49"/>
                  </a:cxn>
                  <a:cxn ang="0">
                    <a:pos x="160" y="32"/>
                  </a:cxn>
                  <a:cxn ang="0">
                    <a:pos x="173" y="32"/>
                  </a:cxn>
                  <a:cxn ang="0">
                    <a:pos x="184" y="28"/>
                  </a:cxn>
                  <a:cxn ang="0">
                    <a:pos x="209" y="39"/>
                  </a:cxn>
                  <a:cxn ang="0">
                    <a:pos x="218" y="45"/>
                  </a:cxn>
                  <a:cxn ang="0">
                    <a:pos x="241" y="58"/>
                  </a:cxn>
                  <a:cxn ang="0">
                    <a:pos x="244" y="73"/>
                  </a:cxn>
                  <a:cxn ang="0">
                    <a:pos x="238" y="99"/>
                  </a:cxn>
                  <a:cxn ang="0">
                    <a:pos x="235" y="110"/>
                  </a:cxn>
                  <a:cxn ang="0">
                    <a:pos x="235" y="129"/>
                  </a:cxn>
                  <a:cxn ang="0">
                    <a:pos x="245" y="145"/>
                  </a:cxn>
                  <a:cxn ang="0">
                    <a:pos x="250" y="155"/>
                  </a:cxn>
                  <a:cxn ang="0">
                    <a:pos x="248" y="192"/>
                  </a:cxn>
                  <a:cxn ang="0">
                    <a:pos x="264" y="200"/>
                  </a:cxn>
                  <a:cxn ang="0">
                    <a:pos x="271" y="218"/>
                  </a:cxn>
                  <a:cxn ang="0">
                    <a:pos x="268" y="225"/>
                  </a:cxn>
                  <a:cxn ang="0">
                    <a:pos x="248" y="248"/>
                  </a:cxn>
                </a:cxnLst>
                <a:rect l="0" t="0" r="r" b="b"/>
                <a:pathLst>
                  <a:path w="273" h="250">
                    <a:moveTo>
                      <a:pt x="248" y="248"/>
                    </a:moveTo>
                    <a:lnTo>
                      <a:pt x="248" y="248"/>
                    </a:lnTo>
                    <a:lnTo>
                      <a:pt x="245" y="250"/>
                    </a:lnTo>
                    <a:lnTo>
                      <a:pt x="234" y="247"/>
                    </a:lnTo>
                    <a:lnTo>
                      <a:pt x="232" y="246"/>
                    </a:lnTo>
                    <a:lnTo>
                      <a:pt x="231" y="247"/>
                    </a:lnTo>
                    <a:lnTo>
                      <a:pt x="213" y="244"/>
                    </a:lnTo>
                    <a:lnTo>
                      <a:pt x="213" y="244"/>
                    </a:lnTo>
                    <a:lnTo>
                      <a:pt x="212" y="246"/>
                    </a:lnTo>
                    <a:lnTo>
                      <a:pt x="209" y="244"/>
                    </a:lnTo>
                    <a:lnTo>
                      <a:pt x="189" y="240"/>
                    </a:lnTo>
                    <a:lnTo>
                      <a:pt x="181" y="221"/>
                    </a:lnTo>
                    <a:lnTo>
                      <a:pt x="174" y="218"/>
                    </a:lnTo>
                    <a:lnTo>
                      <a:pt x="173" y="218"/>
                    </a:lnTo>
                    <a:lnTo>
                      <a:pt x="162" y="221"/>
                    </a:lnTo>
                    <a:lnTo>
                      <a:pt x="161" y="224"/>
                    </a:lnTo>
                    <a:lnTo>
                      <a:pt x="158" y="225"/>
                    </a:lnTo>
                    <a:lnTo>
                      <a:pt x="155" y="225"/>
                    </a:lnTo>
                    <a:lnTo>
                      <a:pt x="152" y="227"/>
                    </a:lnTo>
                    <a:lnTo>
                      <a:pt x="148" y="228"/>
                    </a:lnTo>
                    <a:lnTo>
                      <a:pt x="145" y="227"/>
                    </a:lnTo>
                    <a:lnTo>
                      <a:pt x="144" y="225"/>
                    </a:lnTo>
                    <a:lnTo>
                      <a:pt x="139" y="225"/>
                    </a:lnTo>
                    <a:lnTo>
                      <a:pt x="133" y="225"/>
                    </a:lnTo>
                    <a:lnTo>
                      <a:pt x="132" y="222"/>
                    </a:lnTo>
                    <a:lnTo>
                      <a:pt x="132" y="222"/>
                    </a:lnTo>
                    <a:lnTo>
                      <a:pt x="132" y="222"/>
                    </a:lnTo>
                    <a:lnTo>
                      <a:pt x="122" y="218"/>
                    </a:lnTo>
                    <a:lnTo>
                      <a:pt x="120" y="215"/>
                    </a:lnTo>
                    <a:lnTo>
                      <a:pt x="120" y="214"/>
                    </a:lnTo>
                    <a:lnTo>
                      <a:pt x="117" y="211"/>
                    </a:lnTo>
                    <a:lnTo>
                      <a:pt x="110" y="208"/>
                    </a:lnTo>
                    <a:lnTo>
                      <a:pt x="106" y="208"/>
                    </a:lnTo>
                    <a:lnTo>
                      <a:pt x="103" y="206"/>
                    </a:lnTo>
                    <a:lnTo>
                      <a:pt x="101" y="203"/>
                    </a:lnTo>
                    <a:lnTo>
                      <a:pt x="96" y="190"/>
                    </a:lnTo>
                    <a:lnTo>
                      <a:pt x="91" y="186"/>
                    </a:lnTo>
                    <a:lnTo>
                      <a:pt x="88" y="179"/>
                    </a:lnTo>
                    <a:lnTo>
                      <a:pt x="87" y="177"/>
                    </a:lnTo>
                    <a:lnTo>
                      <a:pt x="84" y="174"/>
                    </a:lnTo>
                    <a:lnTo>
                      <a:pt x="84" y="171"/>
                    </a:lnTo>
                    <a:lnTo>
                      <a:pt x="83" y="170"/>
                    </a:lnTo>
                    <a:lnTo>
                      <a:pt x="81" y="169"/>
                    </a:lnTo>
                    <a:lnTo>
                      <a:pt x="78" y="170"/>
                    </a:lnTo>
                    <a:lnTo>
                      <a:pt x="77" y="173"/>
                    </a:lnTo>
                    <a:lnTo>
                      <a:pt x="75" y="171"/>
                    </a:lnTo>
                    <a:lnTo>
                      <a:pt x="74" y="171"/>
                    </a:lnTo>
                    <a:lnTo>
                      <a:pt x="74" y="170"/>
                    </a:lnTo>
                    <a:lnTo>
                      <a:pt x="71" y="169"/>
                    </a:lnTo>
                    <a:lnTo>
                      <a:pt x="70" y="167"/>
                    </a:lnTo>
                    <a:lnTo>
                      <a:pt x="70" y="164"/>
                    </a:lnTo>
                    <a:lnTo>
                      <a:pt x="68" y="163"/>
                    </a:lnTo>
                    <a:lnTo>
                      <a:pt x="67" y="163"/>
                    </a:lnTo>
                    <a:lnTo>
                      <a:pt x="65" y="163"/>
                    </a:lnTo>
                    <a:lnTo>
                      <a:pt x="65" y="164"/>
                    </a:lnTo>
                    <a:lnTo>
                      <a:pt x="65" y="166"/>
                    </a:lnTo>
                    <a:lnTo>
                      <a:pt x="65" y="169"/>
                    </a:lnTo>
                    <a:lnTo>
                      <a:pt x="64" y="169"/>
                    </a:lnTo>
                    <a:lnTo>
                      <a:pt x="62" y="170"/>
                    </a:lnTo>
                    <a:lnTo>
                      <a:pt x="55" y="164"/>
                    </a:lnTo>
                    <a:lnTo>
                      <a:pt x="54" y="161"/>
                    </a:lnTo>
                    <a:lnTo>
                      <a:pt x="52" y="157"/>
                    </a:lnTo>
                    <a:lnTo>
                      <a:pt x="49" y="154"/>
                    </a:lnTo>
                    <a:lnTo>
                      <a:pt x="49" y="142"/>
                    </a:lnTo>
                    <a:lnTo>
                      <a:pt x="42" y="129"/>
                    </a:lnTo>
                    <a:lnTo>
                      <a:pt x="36" y="126"/>
                    </a:lnTo>
                    <a:lnTo>
                      <a:pt x="26" y="119"/>
                    </a:lnTo>
                    <a:lnTo>
                      <a:pt x="26" y="116"/>
                    </a:lnTo>
                    <a:lnTo>
                      <a:pt x="25" y="113"/>
                    </a:lnTo>
                    <a:lnTo>
                      <a:pt x="22" y="112"/>
                    </a:lnTo>
                    <a:lnTo>
                      <a:pt x="22" y="109"/>
                    </a:lnTo>
                    <a:lnTo>
                      <a:pt x="19" y="109"/>
                    </a:lnTo>
                    <a:lnTo>
                      <a:pt x="17" y="107"/>
                    </a:lnTo>
                    <a:lnTo>
                      <a:pt x="17" y="105"/>
                    </a:lnTo>
                    <a:lnTo>
                      <a:pt x="17" y="103"/>
                    </a:lnTo>
                    <a:lnTo>
                      <a:pt x="19" y="102"/>
                    </a:lnTo>
                    <a:lnTo>
                      <a:pt x="20" y="96"/>
                    </a:lnTo>
                    <a:lnTo>
                      <a:pt x="20" y="94"/>
                    </a:lnTo>
                    <a:lnTo>
                      <a:pt x="23" y="93"/>
                    </a:lnTo>
                    <a:lnTo>
                      <a:pt x="23" y="91"/>
                    </a:lnTo>
                    <a:lnTo>
                      <a:pt x="29" y="83"/>
                    </a:lnTo>
                    <a:lnTo>
                      <a:pt x="27" y="78"/>
                    </a:lnTo>
                    <a:lnTo>
                      <a:pt x="29" y="74"/>
                    </a:lnTo>
                    <a:lnTo>
                      <a:pt x="30" y="73"/>
                    </a:lnTo>
                    <a:lnTo>
                      <a:pt x="20" y="71"/>
                    </a:lnTo>
                    <a:lnTo>
                      <a:pt x="17" y="68"/>
                    </a:lnTo>
                    <a:lnTo>
                      <a:pt x="16" y="62"/>
                    </a:lnTo>
                    <a:lnTo>
                      <a:pt x="13" y="60"/>
                    </a:lnTo>
                    <a:lnTo>
                      <a:pt x="10" y="55"/>
                    </a:lnTo>
                    <a:lnTo>
                      <a:pt x="9" y="42"/>
                    </a:lnTo>
                    <a:lnTo>
                      <a:pt x="6" y="38"/>
                    </a:lnTo>
                    <a:lnTo>
                      <a:pt x="1" y="36"/>
                    </a:lnTo>
                    <a:lnTo>
                      <a:pt x="1" y="14"/>
                    </a:lnTo>
                    <a:lnTo>
                      <a:pt x="0" y="9"/>
                    </a:lnTo>
                    <a:lnTo>
                      <a:pt x="4" y="6"/>
                    </a:lnTo>
                    <a:lnTo>
                      <a:pt x="6" y="0"/>
                    </a:lnTo>
                    <a:lnTo>
                      <a:pt x="17" y="16"/>
                    </a:lnTo>
                    <a:lnTo>
                      <a:pt x="36" y="17"/>
                    </a:lnTo>
                    <a:lnTo>
                      <a:pt x="40" y="10"/>
                    </a:lnTo>
                    <a:lnTo>
                      <a:pt x="46" y="4"/>
                    </a:lnTo>
                    <a:lnTo>
                      <a:pt x="52" y="3"/>
                    </a:lnTo>
                    <a:lnTo>
                      <a:pt x="56" y="6"/>
                    </a:lnTo>
                    <a:lnTo>
                      <a:pt x="56" y="9"/>
                    </a:lnTo>
                    <a:lnTo>
                      <a:pt x="59" y="14"/>
                    </a:lnTo>
                    <a:lnTo>
                      <a:pt x="55" y="17"/>
                    </a:lnTo>
                    <a:lnTo>
                      <a:pt x="54" y="19"/>
                    </a:lnTo>
                    <a:lnTo>
                      <a:pt x="56" y="20"/>
                    </a:lnTo>
                    <a:lnTo>
                      <a:pt x="58" y="22"/>
                    </a:lnTo>
                    <a:lnTo>
                      <a:pt x="61" y="22"/>
                    </a:lnTo>
                    <a:lnTo>
                      <a:pt x="62" y="25"/>
                    </a:lnTo>
                    <a:lnTo>
                      <a:pt x="65" y="25"/>
                    </a:lnTo>
                    <a:lnTo>
                      <a:pt x="67" y="25"/>
                    </a:lnTo>
                    <a:lnTo>
                      <a:pt x="70" y="41"/>
                    </a:lnTo>
                    <a:lnTo>
                      <a:pt x="74" y="44"/>
                    </a:lnTo>
                    <a:lnTo>
                      <a:pt x="78" y="45"/>
                    </a:lnTo>
                    <a:lnTo>
                      <a:pt x="86" y="45"/>
                    </a:lnTo>
                    <a:lnTo>
                      <a:pt x="87" y="46"/>
                    </a:lnTo>
                    <a:lnTo>
                      <a:pt x="88" y="49"/>
                    </a:lnTo>
                    <a:lnTo>
                      <a:pt x="97" y="55"/>
                    </a:lnTo>
                    <a:lnTo>
                      <a:pt x="110" y="60"/>
                    </a:lnTo>
                    <a:lnTo>
                      <a:pt x="135" y="52"/>
                    </a:lnTo>
                    <a:lnTo>
                      <a:pt x="133" y="54"/>
                    </a:lnTo>
                    <a:lnTo>
                      <a:pt x="131" y="54"/>
                    </a:lnTo>
                    <a:lnTo>
                      <a:pt x="135" y="55"/>
                    </a:lnTo>
                    <a:lnTo>
                      <a:pt x="141" y="54"/>
                    </a:lnTo>
                    <a:lnTo>
                      <a:pt x="141" y="49"/>
                    </a:lnTo>
                    <a:lnTo>
                      <a:pt x="139" y="44"/>
                    </a:lnTo>
                    <a:lnTo>
                      <a:pt x="146" y="42"/>
                    </a:lnTo>
                    <a:lnTo>
                      <a:pt x="160" y="32"/>
                    </a:lnTo>
                    <a:lnTo>
                      <a:pt x="167" y="30"/>
                    </a:lnTo>
                    <a:lnTo>
                      <a:pt x="170" y="32"/>
                    </a:lnTo>
                    <a:lnTo>
                      <a:pt x="173" y="32"/>
                    </a:lnTo>
                    <a:lnTo>
                      <a:pt x="174" y="30"/>
                    </a:lnTo>
                    <a:lnTo>
                      <a:pt x="174" y="28"/>
                    </a:lnTo>
                    <a:lnTo>
                      <a:pt x="184" y="28"/>
                    </a:lnTo>
                    <a:lnTo>
                      <a:pt x="190" y="33"/>
                    </a:lnTo>
                    <a:lnTo>
                      <a:pt x="206" y="39"/>
                    </a:lnTo>
                    <a:lnTo>
                      <a:pt x="209" y="39"/>
                    </a:lnTo>
                    <a:lnTo>
                      <a:pt x="212" y="39"/>
                    </a:lnTo>
                    <a:lnTo>
                      <a:pt x="215" y="41"/>
                    </a:lnTo>
                    <a:lnTo>
                      <a:pt x="218" y="45"/>
                    </a:lnTo>
                    <a:lnTo>
                      <a:pt x="218" y="48"/>
                    </a:lnTo>
                    <a:lnTo>
                      <a:pt x="235" y="58"/>
                    </a:lnTo>
                    <a:lnTo>
                      <a:pt x="241" y="58"/>
                    </a:lnTo>
                    <a:lnTo>
                      <a:pt x="242" y="60"/>
                    </a:lnTo>
                    <a:lnTo>
                      <a:pt x="242" y="70"/>
                    </a:lnTo>
                    <a:lnTo>
                      <a:pt x="244" y="73"/>
                    </a:lnTo>
                    <a:lnTo>
                      <a:pt x="241" y="89"/>
                    </a:lnTo>
                    <a:lnTo>
                      <a:pt x="238" y="94"/>
                    </a:lnTo>
                    <a:lnTo>
                      <a:pt x="238" y="99"/>
                    </a:lnTo>
                    <a:lnTo>
                      <a:pt x="232" y="102"/>
                    </a:lnTo>
                    <a:lnTo>
                      <a:pt x="232" y="109"/>
                    </a:lnTo>
                    <a:lnTo>
                      <a:pt x="235" y="110"/>
                    </a:lnTo>
                    <a:lnTo>
                      <a:pt x="237" y="112"/>
                    </a:lnTo>
                    <a:lnTo>
                      <a:pt x="234" y="122"/>
                    </a:lnTo>
                    <a:lnTo>
                      <a:pt x="235" y="129"/>
                    </a:lnTo>
                    <a:lnTo>
                      <a:pt x="235" y="142"/>
                    </a:lnTo>
                    <a:lnTo>
                      <a:pt x="238" y="144"/>
                    </a:lnTo>
                    <a:lnTo>
                      <a:pt x="245" y="145"/>
                    </a:lnTo>
                    <a:lnTo>
                      <a:pt x="248" y="148"/>
                    </a:lnTo>
                    <a:lnTo>
                      <a:pt x="250" y="153"/>
                    </a:lnTo>
                    <a:lnTo>
                      <a:pt x="250" y="155"/>
                    </a:lnTo>
                    <a:lnTo>
                      <a:pt x="238" y="176"/>
                    </a:lnTo>
                    <a:lnTo>
                      <a:pt x="242" y="182"/>
                    </a:lnTo>
                    <a:lnTo>
                      <a:pt x="248" y="192"/>
                    </a:lnTo>
                    <a:lnTo>
                      <a:pt x="255" y="198"/>
                    </a:lnTo>
                    <a:lnTo>
                      <a:pt x="263" y="199"/>
                    </a:lnTo>
                    <a:lnTo>
                      <a:pt x="264" y="200"/>
                    </a:lnTo>
                    <a:lnTo>
                      <a:pt x="266" y="215"/>
                    </a:lnTo>
                    <a:lnTo>
                      <a:pt x="270" y="216"/>
                    </a:lnTo>
                    <a:lnTo>
                      <a:pt x="271" y="218"/>
                    </a:lnTo>
                    <a:lnTo>
                      <a:pt x="273" y="221"/>
                    </a:lnTo>
                    <a:lnTo>
                      <a:pt x="271" y="222"/>
                    </a:lnTo>
                    <a:lnTo>
                      <a:pt x="268" y="225"/>
                    </a:lnTo>
                    <a:lnTo>
                      <a:pt x="257" y="228"/>
                    </a:lnTo>
                    <a:lnTo>
                      <a:pt x="251" y="234"/>
                    </a:lnTo>
                    <a:lnTo>
                      <a:pt x="248" y="248"/>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84" name="Freeform 1683"/>
              <p:cNvSpPr>
                <a:spLocks/>
              </p:cNvSpPr>
              <p:nvPr/>
            </p:nvSpPr>
            <p:spPr bwMode="auto">
              <a:xfrm>
                <a:off x="6439366" y="2782771"/>
                <a:ext cx="144837" cy="163276"/>
              </a:xfrm>
              <a:custGeom>
                <a:avLst/>
                <a:gdLst/>
                <a:ahLst/>
                <a:cxnLst>
                  <a:cxn ang="0">
                    <a:pos x="6" y="43"/>
                  </a:cxn>
                  <a:cxn ang="0">
                    <a:pos x="3" y="35"/>
                  </a:cxn>
                  <a:cxn ang="0">
                    <a:pos x="0" y="26"/>
                  </a:cxn>
                  <a:cxn ang="0">
                    <a:pos x="2" y="25"/>
                  </a:cxn>
                  <a:cxn ang="0">
                    <a:pos x="3" y="22"/>
                  </a:cxn>
                  <a:cxn ang="0">
                    <a:pos x="2" y="6"/>
                  </a:cxn>
                  <a:cxn ang="0">
                    <a:pos x="4" y="3"/>
                  </a:cxn>
                  <a:cxn ang="0">
                    <a:pos x="6" y="0"/>
                  </a:cxn>
                  <a:cxn ang="0">
                    <a:pos x="9" y="3"/>
                  </a:cxn>
                  <a:cxn ang="0">
                    <a:pos x="32" y="3"/>
                  </a:cxn>
                  <a:cxn ang="0">
                    <a:pos x="47" y="9"/>
                  </a:cxn>
                  <a:cxn ang="0">
                    <a:pos x="55" y="10"/>
                  </a:cxn>
                  <a:cxn ang="0">
                    <a:pos x="81" y="4"/>
                  </a:cxn>
                  <a:cxn ang="0">
                    <a:pos x="87" y="3"/>
                  </a:cxn>
                  <a:cxn ang="0">
                    <a:pos x="83" y="6"/>
                  </a:cxn>
                  <a:cxn ang="0">
                    <a:pos x="89" y="4"/>
                  </a:cxn>
                  <a:cxn ang="0">
                    <a:pos x="92" y="3"/>
                  </a:cxn>
                  <a:cxn ang="0">
                    <a:pos x="102" y="3"/>
                  </a:cxn>
                  <a:cxn ang="0">
                    <a:pos x="105" y="3"/>
                  </a:cxn>
                  <a:cxn ang="0">
                    <a:pos x="106" y="4"/>
                  </a:cxn>
                  <a:cxn ang="0">
                    <a:pos x="108" y="7"/>
                  </a:cxn>
                  <a:cxn ang="0">
                    <a:pos x="113" y="11"/>
                  </a:cxn>
                  <a:cxn ang="0">
                    <a:pos x="119" y="10"/>
                  </a:cxn>
                  <a:cxn ang="0">
                    <a:pos x="122" y="11"/>
                  </a:cxn>
                  <a:cxn ang="0">
                    <a:pos x="135" y="6"/>
                  </a:cxn>
                  <a:cxn ang="0">
                    <a:pos x="139" y="58"/>
                  </a:cxn>
                  <a:cxn ang="0">
                    <a:pos x="139" y="61"/>
                  </a:cxn>
                  <a:cxn ang="0">
                    <a:pos x="137" y="64"/>
                  </a:cxn>
                  <a:cxn ang="0">
                    <a:pos x="123" y="49"/>
                  </a:cxn>
                  <a:cxn ang="0">
                    <a:pos x="116" y="36"/>
                  </a:cxn>
                  <a:cxn ang="0">
                    <a:pos x="113" y="29"/>
                  </a:cxn>
                  <a:cxn ang="0">
                    <a:pos x="113" y="27"/>
                  </a:cxn>
                  <a:cxn ang="0">
                    <a:pos x="112" y="30"/>
                  </a:cxn>
                  <a:cxn ang="0">
                    <a:pos x="110" y="35"/>
                  </a:cxn>
                  <a:cxn ang="0">
                    <a:pos x="113" y="38"/>
                  </a:cxn>
                  <a:cxn ang="0">
                    <a:pos x="115" y="43"/>
                  </a:cxn>
                  <a:cxn ang="0">
                    <a:pos x="125" y="61"/>
                  </a:cxn>
                  <a:cxn ang="0">
                    <a:pos x="128" y="67"/>
                  </a:cxn>
                  <a:cxn ang="0">
                    <a:pos x="157" y="122"/>
                  </a:cxn>
                  <a:cxn ang="0">
                    <a:pos x="158" y="123"/>
                  </a:cxn>
                  <a:cxn ang="0">
                    <a:pos x="155" y="123"/>
                  </a:cxn>
                  <a:cxn ang="0">
                    <a:pos x="154" y="125"/>
                  </a:cxn>
                  <a:cxn ang="0">
                    <a:pos x="155" y="133"/>
                  </a:cxn>
                  <a:cxn ang="0">
                    <a:pos x="151" y="142"/>
                  </a:cxn>
                  <a:cxn ang="0">
                    <a:pos x="144" y="148"/>
                  </a:cxn>
                  <a:cxn ang="0">
                    <a:pos x="134" y="157"/>
                  </a:cxn>
                  <a:cxn ang="0">
                    <a:pos x="122" y="154"/>
                  </a:cxn>
                  <a:cxn ang="0">
                    <a:pos x="99" y="151"/>
                  </a:cxn>
                  <a:cxn ang="0">
                    <a:pos x="97" y="151"/>
                  </a:cxn>
                  <a:cxn ang="0">
                    <a:pos x="94" y="154"/>
                  </a:cxn>
                  <a:cxn ang="0">
                    <a:pos x="6" y="144"/>
                  </a:cxn>
                </a:cxnLst>
                <a:rect l="0" t="0" r="r" b="b"/>
                <a:pathLst>
                  <a:path w="158" h="157">
                    <a:moveTo>
                      <a:pt x="6" y="144"/>
                    </a:moveTo>
                    <a:lnTo>
                      <a:pt x="6" y="43"/>
                    </a:lnTo>
                    <a:lnTo>
                      <a:pt x="2" y="38"/>
                    </a:lnTo>
                    <a:lnTo>
                      <a:pt x="3" y="35"/>
                    </a:lnTo>
                    <a:lnTo>
                      <a:pt x="0" y="32"/>
                    </a:lnTo>
                    <a:lnTo>
                      <a:pt x="0" y="26"/>
                    </a:lnTo>
                    <a:lnTo>
                      <a:pt x="0" y="25"/>
                    </a:lnTo>
                    <a:lnTo>
                      <a:pt x="2" y="25"/>
                    </a:lnTo>
                    <a:lnTo>
                      <a:pt x="3" y="23"/>
                    </a:lnTo>
                    <a:lnTo>
                      <a:pt x="3" y="22"/>
                    </a:lnTo>
                    <a:lnTo>
                      <a:pt x="3" y="9"/>
                    </a:lnTo>
                    <a:lnTo>
                      <a:pt x="2" y="6"/>
                    </a:lnTo>
                    <a:lnTo>
                      <a:pt x="2" y="6"/>
                    </a:lnTo>
                    <a:lnTo>
                      <a:pt x="4" y="3"/>
                    </a:lnTo>
                    <a:lnTo>
                      <a:pt x="4" y="1"/>
                    </a:lnTo>
                    <a:lnTo>
                      <a:pt x="6" y="0"/>
                    </a:lnTo>
                    <a:lnTo>
                      <a:pt x="7" y="1"/>
                    </a:lnTo>
                    <a:lnTo>
                      <a:pt x="9" y="3"/>
                    </a:lnTo>
                    <a:lnTo>
                      <a:pt x="17" y="1"/>
                    </a:lnTo>
                    <a:lnTo>
                      <a:pt x="32" y="3"/>
                    </a:lnTo>
                    <a:lnTo>
                      <a:pt x="39" y="7"/>
                    </a:lnTo>
                    <a:lnTo>
                      <a:pt x="47" y="9"/>
                    </a:lnTo>
                    <a:lnTo>
                      <a:pt x="48" y="10"/>
                    </a:lnTo>
                    <a:lnTo>
                      <a:pt x="55" y="10"/>
                    </a:lnTo>
                    <a:lnTo>
                      <a:pt x="63" y="14"/>
                    </a:lnTo>
                    <a:lnTo>
                      <a:pt x="81" y="4"/>
                    </a:lnTo>
                    <a:lnTo>
                      <a:pt x="87" y="3"/>
                    </a:lnTo>
                    <a:lnTo>
                      <a:pt x="87" y="3"/>
                    </a:lnTo>
                    <a:lnTo>
                      <a:pt x="84" y="4"/>
                    </a:lnTo>
                    <a:lnTo>
                      <a:pt x="83" y="6"/>
                    </a:lnTo>
                    <a:lnTo>
                      <a:pt x="84" y="6"/>
                    </a:lnTo>
                    <a:lnTo>
                      <a:pt x="89" y="4"/>
                    </a:lnTo>
                    <a:lnTo>
                      <a:pt x="90" y="4"/>
                    </a:lnTo>
                    <a:lnTo>
                      <a:pt x="92" y="3"/>
                    </a:lnTo>
                    <a:lnTo>
                      <a:pt x="93" y="3"/>
                    </a:lnTo>
                    <a:lnTo>
                      <a:pt x="102" y="3"/>
                    </a:lnTo>
                    <a:lnTo>
                      <a:pt x="103" y="1"/>
                    </a:lnTo>
                    <a:lnTo>
                      <a:pt x="105" y="3"/>
                    </a:lnTo>
                    <a:lnTo>
                      <a:pt x="105" y="4"/>
                    </a:lnTo>
                    <a:lnTo>
                      <a:pt x="106" y="4"/>
                    </a:lnTo>
                    <a:lnTo>
                      <a:pt x="106" y="6"/>
                    </a:lnTo>
                    <a:lnTo>
                      <a:pt x="108" y="7"/>
                    </a:lnTo>
                    <a:lnTo>
                      <a:pt x="110" y="7"/>
                    </a:lnTo>
                    <a:lnTo>
                      <a:pt x="113" y="11"/>
                    </a:lnTo>
                    <a:lnTo>
                      <a:pt x="118" y="10"/>
                    </a:lnTo>
                    <a:lnTo>
                      <a:pt x="119" y="10"/>
                    </a:lnTo>
                    <a:lnTo>
                      <a:pt x="121" y="10"/>
                    </a:lnTo>
                    <a:lnTo>
                      <a:pt x="122" y="11"/>
                    </a:lnTo>
                    <a:lnTo>
                      <a:pt x="128" y="10"/>
                    </a:lnTo>
                    <a:lnTo>
                      <a:pt x="135" y="6"/>
                    </a:lnTo>
                    <a:lnTo>
                      <a:pt x="145" y="38"/>
                    </a:lnTo>
                    <a:lnTo>
                      <a:pt x="139" y="58"/>
                    </a:lnTo>
                    <a:lnTo>
                      <a:pt x="139" y="59"/>
                    </a:lnTo>
                    <a:lnTo>
                      <a:pt x="139" y="61"/>
                    </a:lnTo>
                    <a:lnTo>
                      <a:pt x="138" y="62"/>
                    </a:lnTo>
                    <a:lnTo>
                      <a:pt x="137" y="64"/>
                    </a:lnTo>
                    <a:lnTo>
                      <a:pt x="135" y="64"/>
                    </a:lnTo>
                    <a:lnTo>
                      <a:pt x="123" y="49"/>
                    </a:lnTo>
                    <a:lnTo>
                      <a:pt x="122" y="46"/>
                    </a:lnTo>
                    <a:lnTo>
                      <a:pt x="116" y="36"/>
                    </a:lnTo>
                    <a:lnTo>
                      <a:pt x="115" y="30"/>
                    </a:lnTo>
                    <a:lnTo>
                      <a:pt x="113" y="29"/>
                    </a:lnTo>
                    <a:lnTo>
                      <a:pt x="113" y="27"/>
                    </a:lnTo>
                    <a:lnTo>
                      <a:pt x="113" y="27"/>
                    </a:lnTo>
                    <a:lnTo>
                      <a:pt x="112" y="29"/>
                    </a:lnTo>
                    <a:lnTo>
                      <a:pt x="112" y="30"/>
                    </a:lnTo>
                    <a:lnTo>
                      <a:pt x="112" y="32"/>
                    </a:lnTo>
                    <a:lnTo>
                      <a:pt x="110" y="35"/>
                    </a:lnTo>
                    <a:lnTo>
                      <a:pt x="110" y="35"/>
                    </a:lnTo>
                    <a:lnTo>
                      <a:pt x="113" y="38"/>
                    </a:lnTo>
                    <a:lnTo>
                      <a:pt x="115" y="40"/>
                    </a:lnTo>
                    <a:lnTo>
                      <a:pt x="115" y="43"/>
                    </a:lnTo>
                    <a:lnTo>
                      <a:pt x="119" y="54"/>
                    </a:lnTo>
                    <a:lnTo>
                      <a:pt x="125" y="61"/>
                    </a:lnTo>
                    <a:lnTo>
                      <a:pt x="126" y="61"/>
                    </a:lnTo>
                    <a:lnTo>
                      <a:pt x="128" y="67"/>
                    </a:lnTo>
                    <a:lnTo>
                      <a:pt x="150" y="116"/>
                    </a:lnTo>
                    <a:lnTo>
                      <a:pt x="157" y="122"/>
                    </a:lnTo>
                    <a:lnTo>
                      <a:pt x="157" y="123"/>
                    </a:lnTo>
                    <a:lnTo>
                      <a:pt x="158" y="123"/>
                    </a:lnTo>
                    <a:lnTo>
                      <a:pt x="158" y="125"/>
                    </a:lnTo>
                    <a:lnTo>
                      <a:pt x="155" y="123"/>
                    </a:lnTo>
                    <a:lnTo>
                      <a:pt x="154" y="125"/>
                    </a:lnTo>
                    <a:lnTo>
                      <a:pt x="154" y="125"/>
                    </a:lnTo>
                    <a:lnTo>
                      <a:pt x="155" y="128"/>
                    </a:lnTo>
                    <a:lnTo>
                      <a:pt x="155" y="133"/>
                    </a:lnTo>
                    <a:lnTo>
                      <a:pt x="157" y="136"/>
                    </a:lnTo>
                    <a:lnTo>
                      <a:pt x="151" y="142"/>
                    </a:lnTo>
                    <a:lnTo>
                      <a:pt x="147" y="141"/>
                    </a:lnTo>
                    <a:lnTo>
                      <a:pt x="144" y="148"/>
                    </a:lnTo>
                    <a:lnTo>
                      <a:pt x="137" y="151"/>
                    </a:lnTo>
                    <a:lnTo>
                      <a:pt x="134" y="157"/>
                    </a:lnTo>
                    <a:lnTo>
                      <a:pt x="128" y="157"/>
                    </a:lnTo>
                    <a:lnTo>
                      <a:pt x="122" y="154"/>
                    </a:lnTo>
                    <a:lnTo>
                      <a:pt x="97" y="154"/>
                    </a:lnTo>
                    <a:lnTo>
                      <a:pt x="99" y="151"/>
                    </a:lnTo>
                    <a:lnTo>
                      <a:pt x="99" y="151"/>
                    </a:lnTo>
                    <a:lnTo>
                      <a:pt x="97" y="151"/>
                    </a:lnTo>
                    <a:lnTo>
                      <a:pt x="97" y="151"/>
                    </a:lnTo>
                    <a:lnTo>
                      <a:pt x="94" y="154"/>
                    </a:lnTo>
                    <a:lnTo>
                      <a:pt x="6" y="154"/>
                    </a:lnTo>
                    <a:lnTo>
                      <a:pt x="6" y="144"/>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85" name="Freeform 1684"/>
              <p:cNvSpPr>
                <a:spLocks/>
              </p:cNvSpPr>
              <p:nvPr/>
            </p:nvSpPr>
            <p:spPr bwMode="auto">
              <a:xfrm>
                <a:off x="6006611" y="2685414"/>
                <a:ext cx="265096" cy="304240"/>
              </a:xfrm>
              <a:custGeom>
                <a:avLst/>
                <a:gdLst/>
                <a:ahLst/>
                <a:cxnLst>
                  <a:cxn ang="0">
                    <a:pos x="0" y="139"/>
                  </a:cxn>
                  <a:cxn ang="0">
                    <a:pos x="19" y="128"/>
                  </a:cxn>
                  <a:cxn ang="0">
                    <a:pos x="25" y="125"/>
                  </a:cxn>
                  <a:cxn ang="0">
                    <a:pos x="29" y="123"/>
                  </a:cxn>
                  <a:cxn ang="0">
                    <a:pos x="42" y="122"/>
                  </a:cxn>
                  <a:cxn ang="0">
                    <a:pos x="51" y="115"/>
                  </a:cxn>
                  <a:cxn ang="0">
                    <a:pos x="60" y="109"/>
                  </a:cxn>
                  <a:cxn ang="0">
                    <a:pos x="71" y="102"/>
                  </a:cxn>
                  <a:cxn ang="0">
                    <a:pos x="68" y="100"/>
                  </a:cxn>
                  <a:cxn ang="0">
                    <a:pos x="70" y="96"/>
                  </a:cxn>
                  <a:cxn ang="0">
                    <a:pos x="68" y="93"/>
                  </a:cxn>
                  <a:cxn ang="0">
                    <a:pos x="80" y="90"/>
                  </a:cxn>
                  <a:cxn ang="0">
                    <a:pos x="82" y="84"/>
                  </a:cxn>
                  <a:cxn ang="0">
                    <a:pos x="86" y="84"/>
                  </a:cxn>
                  <a:cxn ang="0">
                    <a:pos x="106" y="84"/>
                  </a:cxn>
                  <a:cxn ang="0">
                    <a:pos x="106" y="80"/>
                  </a:cxn>
                  <a:cxn ang="0">
                    <a:pos x="105" y="74"/>
                  </a:cxn>
                  <a:cxn ang="0">
                    <a:pos x="102" y="64"/>
                  </a:cxn>
                  <a:cxn ang="0">
                    <a:pos x="100" y="56"/>
                  </a:cxn>
                  <a:cxn ang="0">
                    <a:pos x="99" y="43"/>
                  </a:cxn>
                  <a:cxn ang="0">
                    <a:pos x="99" y="40"/>
                  </a:cxn>
                  <a:cxn ang="0">
                    <a:pos x="96" y="38"/>
                  </a:cxn>
                  <a:cxn ang="0">
                    <a:pos x="96" y="35"/>
                  </a:cxn>
                  <a:cxn ang="0">
                    <a:pos x="116" y="23"/>
                  </a:cxn>
                  <a:cxn ang="0">
                    <a:pos x="128" y="16"/>
                  </a:cxn>
                  <a:cxn ang="0">
                    <a:pos x="161" y="9"/>
                  </a:cxn>
                  <a:cxn ang="0">
                    <a:pos x="173" y="6"/>
                  </a:cxn>
                  <a:cxn ang="0">
                    <a:pos x="196" y="6"/>
                  </a:cxn>
                  <a:cxn ang="0">
                    <a:pos x="218" y="1"/>
                  </a:cxn>
                  <a:cxn ang="0">
                    <a:pos x="227" y="0"/>
                  </a:cxn>
                  <a:cxn ang="0">
                    <a:pos x="240" y="1"/>
                  </a:cxn>
                  <a:cxn ang="0">
                    <a:pos x="241" y="9"/>
                  </a:cxn>
                  <a:cxn ang="0">
                    <a:pos x="241" y="30"/>
                  </a:cxn>
                  <a:cxn ang="0">
                    <a:pos x="234" y="49"/>
                  </a:cxn>
                  <a:cxn ang="0">
                    <a:pos x="228" y="54"/>
                  </a:cxn>
                  <a:cxn ang="0">
                    <a:pos x="237" y="70"/>
                  </a:cxn>
                  <a:cxn ang="0">
                    <a:pos x="251" y="86"/>
                  </a:cxn>
                  <a:cxn ang="0">
                    <a:pos x="253" y="122"/>
                  </a:cxn>
                  <a:cxn ang="0">
                    <a:pos x="254" y="181"/>
                  </a:cxn>
                  <a:cxn ang="0">
                    <a:pos x="267" y="208"/>
                  </a:cxn>
                  <a:cxn ang="0">
                    <a:pos x="289" y="224"/>
                  </a:cxn>
                  <a:cxn ang="0">
                    <a:pos x="167" y="290"/>
                  </a:cxn>
                  <a:cxn ang="0">
                    <a:pos x="167" y="285"/>
                  </a:cxn>
                  <a:cxn ang="0">
                    <a:pos x="169" y="282"/>
                  </a:cxn>
                  <a:cxn ang="0">
                    <a:pos x="167" y="279"/>
                  </a:cxn>
                  <a:cxn ang="0">
                    <a:pos x="161" y="276"/>
                  </a:cxn>
                  <a:cxn ang="0">
                    <a:pos x="156" y="273"/>
                  </a:cxn>
                  <a:cxn ang="0">
                    <a:pos x="147" y="270"/>
                  </a:cxn>
                  <a:cxn ang="0">
                    <a:pos x="141" y="264"/>
                  </a:cxn>
                  <a:cxn ang="0">
                    <a:pos x="138" y="260"/>
                  </a:cxn>
                </a:cxnLst>
                <a:rect l="0" t="0" r="r" b="b"/>
                <a:pathLst>
                  <a:path w="289" h="292">
                    <a:moveTo>
                      <a:pt x="52" y="200"/>
                    </a:moveTo>
                    <a:lnTo>
                      <a:pt x="52" y="200"/>
                    </a:lnTo>
                    <a:lnTo>
                      <a:pt x="0" y="165"/>
                    </a:lnTo>
                    <a:lnTo>
                      <a:pt x="0" y="139"/>
                    </a:lnTo>
                    <a:lnTo>
                      <a:pt x="12" y="131"/>
                    </a:lnTo>
                    <a:lnTo>
                      <a:pt x="16" y="131"/>
                    </a:lnTo>
                    <a:lnTo>
                      <a:pt x="18" y="129"/>
                    </a:lnTo>
                    <a:lnTo>
                      <a:pt x="19" y="128"/>
                    </a:lnTo>
                    <a:lnTo>
                      <a:pt x="21" y="126"/>
                    </a:lnTo>
                    <a:lnTo>
                      <a:pt x="22" y="125"/>
                    </a:lnTo>
                    <a:lnTo>
                      <a:pt x="23" y="126"/>
                    </a:lnTo>
                    <a:lnTo>
                      <a:pt x="25" y="125"/>
                    </a:lnTo>
                    <a:lnTo>
                      <a:pt x="26" y="126"/>
                    </a:lnTo>
                    <a:lnTo>
                      <a:pt x="29" y="126"/>
                    </a:lnTo>
                    <a:lnTo>
                      <a:pt x="29" y="126"/>
                    </a:lnTo>
                    <a:lnTo>
                      <a:pt x="29" y="123"/>
                    </a:lnTo>
                    <a:lnTo>
                      <a:pt x="31" y="122"/>
                    </a:lnTo>
                    <a:lnTo>
                      <a:pt x="35" y="123"/>
                    </a:lnTo>
                    <a:lnTo>
                      <a:pt x="36" y="122"/>
                    </a:lnTo>
                    <a:lnTo>
                      <a:pt x="42" y="122"/>
                    </a:lnTo>
                    <a:lnTo>
                      <a:pt x="47" y="119"/>
                    </a:lnTo>
                    <a:lnTo>
                      <a:pt x="50" y="118"/>
                    </a:lnTo>
                    <a:lnTo>
                      <a:pt x="51" y="116"/>
                    </a:lnTo>
                    <a:lnTo>
                      <a:pt x="51" y="115"/>
                    </a:lnTo>
                    <a:lnTo>
                      <a:pt x="51" y="113"/>
                    </a:lnTo>
                    <a:lnTo>
                      <a:pt x="54" y="110"/>
                    </a:lnTo>
                    <a:lnTo>
                      <a:pt x="58" y="109"/>
                    </a:lnTo>
                    <a:lnTo>
                      <a:pt x="60" y="109"/>
                    </a:lnTo>
                    <a:lnTo>
                      <a:pt x="66" y="104"/>
                    </a:lnTo>
                    <a:lnTo>
                      <a:pt x="71" y="104"/>
                    </a:lnTo>
                    <a:lnTo>
                      <a:pt x="73" y="103"/>
                    </a:lnTo>
                    <a:lnTo>
                      <a:pt x="71" y="102"/>
                    </a:lnTo>
                    <a:lnTo>
                      <a:pt x="71" y="102"/>
                    </a:lnTo>
                    <a:lnTo>
                      <a:pt x="70" y="100"/>
                    </a:lnTo>
                    <a:lnTo>
                      <a:pt x="70" y="100"/>
                    </a:lnTo>
                    <a:lnTo>
                      <a:pt x="68" y="100"/>
                    </a:lnTo>
                    <a:lnTo>
                      <a:pt x="68" y="100"/>
                    </a:lnTo>
                    <a:lnTo>
                      <a:pt x="68" y="97"/>
                    </a:lnTo>
                    <a:lnTo>
                      <a:pt x="70" y="97"/>
                    </a:lnTo>
                    <a:lnTo>
                      <a:pt x="70" y="96"/>
                    </a:lnTo>
                    <a:lnTo>
                      <a:pt x="68" y="96"/>
                    </a:lnTo>
                    <a:lnTo>
                      <a:pt x="68" y="96"/>
                    </a:lnTo>
                    <a:lnTo>
                      <a:pt x="68" y="93"/>
                    </a:lnTo>
                    <a:lnTo>
                      <a:pt x="68" y="93"/>
                    </a:lnTo>
                    <a:lnTo>
                      <a:pt x="70" y="91"/>
                    </a:lnTo>
                    <a:lnTo>
                      <a:pt x="71" y="91"/>
                    </a:lnTo>
                    <a:lnTo>
                      <a:pt x="73" y="91"/>
                    </a:lnTo>
                    <a:lnTo>
                      <a:pt x="80" y="90"/>
                    </a:lnTo>
                    <a:lnTo>
                      <a:pt x="82" y="88"/>
                    </a:lnTo>
                    <a:lnTo>
                      <a:pt x="82" y="87"/>
                    </a:lnTo>
                    <a:lnTo>
                      <a:pt x="82" y="86"/>
                    </a:lnTo>
                    <a:lnTo>
                      <a:pt x="82" y="84"/>
                    </a:lnTo>
                    <a:lnTo>
                      <a:pt x="83" y="84"/>
                    </a:lnTo>
                    <a:lnTo>
                      <a:pt x="84" y="86"/>
                    </a:lnTo>
                    <a:lnTo>
                      <a:pt x="86" y="84"/>
                    </a:lnTo>
                    <a:lnTo>
                      <a:pt x="86" y="84"/>
                    </a:lnTo>
                    <a:lnTo>
                      <a:pt x="97" y="83"/>
                    </a:lnTo>
                    <a:lnTo>
                      <a:pt x="97" y="83"/>
                    </a:lnTo>
                    <a:lnTo>
                      <a:pt x="105" y="84"/>
                    </a:lnTo>
                    <a:lnTo>
                      <a:pt x="106" y="84"/>
                    </a:lnTo>
                    <a:lnTo>
                      <a:pt x="106" y="84"/>
                    </a:lnTo>
                    <a:lnTo>
                      <a:pt x="106" y="84"/>
                    </a:lnTo>
                    <a:lnTo>
                      <a:pt x="106" y="83"/>
                    </a:lnTo>
                    <a:lnTo>
                      <a:pt x="106" y="80"/>
                    </a:lnTo>
                    <a:lnTo>
                      <a:pt x="108" y="78"/>
                    </a:lnTo>
                    <a:lnTo>
                      <a:pt x="109" y="78"/>
                    </a:lnTo>
                    <a:lnTo>
                      <a:pt x="109" y="78"/>
                    </a:lnTo>
                    <a:lnTo>
                      <a:pt x="105" y="74"/>
                    </a:lnTo>
                    <a:lnTo>
                      <a:pt x="102" y="70"/>
                    </a:lnTo>
                    <a:lnTo>
                      <a:pt x="103" y="68"/>
                    </a:lnTo>
                    <a:lnTo>
                      <a:pt x="102" y="65"/>
                    </a:lnTo>
                    <a:lnTo>
                      <a:pt x="102" y="64"/>
                    </a:lnTo>
                    <a:lnTo>
                      <a:pt x="102" y="62"/>
                    </a:lnTo>
                    <a:lnTo>
                      <a:pt x="102" y="59"/>
                    </a:lnTo>
                    <a:lnTo>
                      <a:pt x="100" y="58"/>
                    </a:lnTo>
                    <a:lnTo>
                      <a:pt x="100" y="56"/>
                    </a:lnTo>
                    <a:lnTo>
                      <a:pt x="100" y="52"/>
                    </a:lnTo>
                    <a:lnTo>
                      <a:pt x="100" y="48"/>
                    </a:lnTo>
                    <a:lnTo>
                      <a:pt x="100" y="46"/>
                    </a:lnTo>
                    <a:lnTo>
                      <a:pt x="99" y="43"/>
                    </a:lnTo>
                    <a:lnTo>
                      <a:pt x="99" y="42"/>
                    </a:lnTo>
                    <a:lnTo>
                      <a:pt x="100" y="42"/>
                    </a:lnTo>
                    <a:lnTo>
                      <a:pt x="100" y="42"/>
                    </a:lnTo>
                    <a:lnTo>
                      <a:pt x="99" y="40"/>
                    </a:lnTo>
                    <a:lnTo>
                      <a:pt x="99" y="40"/>
                    </a:lnTo>
                    <a:lnTo>
                      <a:pt x="97" y="39"/>
                    </a:lnTo>
                    <a:lnTo>
                      <a:pt x="97" y="39"/>
                    </a:lnTo>
                    <a:lnTo>
                      <a:pt x="96" y="38"/>
                    </a:lnTo>
                    <a:lnTo>
                      <a:pt x="95" y="36"/>
                    </a:lnTo>
                    <a:lnTo>
                      <a:pt x="95" y="35"/>
                    </a:lnTo>
                    <a:lnTo>
                      <a:pt x="95" y="35"/>
                    </a:lnTo>
                    <a:lnTo>
                      <a:pt x="96" y="35"/>
                    </a:lnTo>
                    <a:lnTo>
                      <a:pt x="105" y="30"/>
                    </a:lnTo>
                    <a:lnTo>
                      <a:pt x="109" y="25"/>
                    </a:lnTo>
                    <a:lnTo>
                      <a:pt x="112" y="23"/>
                    </a:lnTo>
                    <a:lnTo>
                      <a:pt x="116" y="23"/>
                    </a:lnTo>
                    <a:lnTo>
                      <a:pt x="119" y="20"/>
                    </a:lnTo>
                    <a:lnTo>
                      <a:pt x="122" y="22"/>
                    </a:lnTo>
                    <a:lnTo>
                      <a:pt x="125" y="20"/>
                    </a:lnTo>
                    <a:lnTo>
                      <a:pt x="128" y="16"/>
                    </a:lnTo>
                    <a:lnTo>
                      <a:pt x="132" y="14"/>
                    </a:lnTo>
                    <a:lnTo>
                      <a:pt x="134" y="13"/>
                    </a:lnTo>
                    <a:lnTo>
                      <a:pt x="144" y="9"/>
                    </a:lnTo>
                    <a:lnTo>
                      <a:pt x="161" y="9"/>
                    </a:lnTo>
                    <a:lnTo>
                      <a:pt x="167" y="4"/>
                    </a:lnTo>
                    <a:lnTo>
                      <a:pt x="169" y="6"/>
                    </a:lnTo>
                    <a:lnTo>
                      <a:pt x="172" y="4"/>
                    </a:lnTo>
                    <a:lnTo>
                      <a:pt x="173" y="6"/>
                    </a:lnTo>
                    <a:lnTo>
                      <a:pt x="174" y="4"/>
                    </a:lnTo>
                    <a:lnTo>
                      <a:pt x="179" y="3"/>
                    </a:lnTo>
                    <a:lnTo>
                      <a:pt x="193" y="3"/>
                    </a:lnTo>
                    <a:lnTo>
                      <a:pt x="196" y="6"/>
                    </a:lnTo>
                    <a:lnTo>
                      <a:pt x="199" y="6"/>
                    </a:lnTo>
                    <a:lnTo>
                      <a:pt x="211" y="3"/>
                    </a:lnTo>
                    <a:lnTo>
                      <a:pt x="214" y="0"/>
                    </a:lnTo>
                    <a:lnTo>
                      <a:pt x="218" y="1"/>
                    </a:lnTo>
                    <a:lnTo>
                      <a:pt x="219" y="1"/>
                    </a:lnTo>
                    <a:lnTo>
                      <a:pt x="222" y="3"/>
                    </a:lnTo>
                    <a:lnTo>
                      <a:pt x="225" y="1"/>
                    </a:lnTo>
                    <a:lnTo>
                      <a:pt x="227" y="0"/>
                    </a:lnTo>
                    <a:lnTo>
                      <a:pt x="233" y="1"/>
                    </a:lnTo>
                    <a:lnTo>
                      <a:pt x="234" y="3"/>
                    </a:lnTo>
                    <a:lnTo>
                      <a:pt x="237" y="3"/>
                    </a:lnTo>
                    <a:lnTo>
                      <a:pt x="240" y="1"/>
                    </a:lnTo>
                    <a:lnTo>
                      <a:pt x="243" y="3"/>
                    </a:lnTo>
                    <a:lnTo>
                      <a:pt x="247" y="1"/>
                    </a:lnTo>
                    <a:lnTo>
                      <a:pt x="246" y="3"/>
                    </a:lnTo>
                    <a:lnTo>
                      <a:pt x="241" y="9"/>
                    </a:lnTo>
                    <a:lnTo>
                      <a:pt x="240" y="10"/>
                    </a:lnTo>
                    <a:lnTo>
                      <a:pt x="241" y="10"/>
                    </a:lnTo>
                    <a:lnTo>
                      <a:pt x="243" y="11"/>
                    </a:lnTo>
                    <a:lnTo>
                      <a:pt x="241" y="30"/>
                    </a:lnTo>
                    <a:lnTo>
                      <a:pt x="243" y="32"/>
                    </a:lnTo>
                    <a:lnTo>
                      <a:pt x="240" y="43"/>
                    </a:lnTo>
                    <a:lnTo>
                      <a:pt x="235" y="46"/>
                    </a:lnTo>
                    <a:lnTo>
                      <a:pt x="234" y="49"/>
                    </a:lnTo>
                    <a:lnTo>
                      <a:pt x="233" y="51"/>
                    </a:lnTo>
                    <a:lnTo>
                      <a:pt x="231" y="52"/>
                    </a:lnTo>
                    <a:lnTo>
                      <a:pt x="230" y="52"/>
                    </a:lnTo>
                    <a:lnTo>
                      <a:pt x="228" y="54"/>
                    </a:lnTo>
                    <a:lnTo>
                      <a:pt x="227" y="54"/>
                    </a:lnTo>
                    <a:lnTo>
                      <a:pt x="231" y="65"/>
                    </a:lnTo>
                    <a:lnTo>
                      <a:pt x="235" y="68"/>
                    </a:lnTo>
                    <a:lnTo>
                      <a:pt x="237" y="70"/>
                    </a:lnTo>
                    <a:lnTo>
                      <a:pt x="238" y="74"/>
                    </a:lnTo>
                    <a:lnTo>
                      <a:pt x="238" y="80"/>
                    </a:lnTo>
                    <a:lnTo>
                      <a:pt x="250" y="86"/>
                    </a:lnTo>
                    <a:lnTo>
                      <a:pt x="251" y="86"/>
                    </a:lnTo>
                    <a:lnTo>
                      <a:pt x="256" y="115"/>
                    </a:lnTo>
                    <a:lnTo>
                      <a:pt x="256" y="116"/>
                    </a:lnTo>
                    <a:lnTo>
                      <a:pt x="253" y="118"/>
                    </a:lnTo>
                    <a:lnTo>
                      <a:pt x="253" y="122"/>
                    </a:lnTo>
                    <a:lnTo>
                      <a:pt x="259" y="131"/>
                    </a:lnTo>
                    <a:lnTo>
                      <a:pt x="260" y="177"/>
                    </a:lnTo>
                    <a:lnTo>
                      <a:pt x="254" y="179"/>
                    </a:lnTo>
                    <a:lnTo>
                      <a:pt x="254" y="181"/>
                    </a:lnTo>
                    <a:lnTo>
                      <a:pt x="256" y="184"/>
                    </a:lnTo>
                    <a:lnTo>
                      <a:pt x="263" y="195"/>
                    </a:lnTo>
                    <a:lnTo>
                      <a:pt x="264" y="203"/>
                    </a:lnTo>
                    <a:lnTo>
                      <a:pt x="267" y="208"/>
                    </a:lnTo>
                    <a:lnTo>
                      <a:pt x="275" y="208"/>
                    </a:lnTo>
                    <a:lnTo>
                      <a:pt x="283" y="211"/>
                    </a:lnTo>
                    <a:lnTo>
                      <a:pt x="289" y="222"/>
                    </a:lnTo>
                    <a:lnTo>
                      <a:pt x="289" y="224"/>
                    </a:lnTo>
                    <a:lnTo>
                      <a:pt x="203" y="283"/>
                    </a:lnTo>
                    <a:lnTo>
                      <a:pt x="173" y="292"/>
                    </a:lnTo>
                    <a:lnTo>
                      <a:pt x="169" y="292"/>
                    </a:lnTo>
                    <a:lnTo>
                      <a:pt x="167" y="290"/>
                    </a:lnTo>
                    <a:lnTo>
                      <a:pt x="167" y="289"/>
                    </a:lnTo>
                    <a:lnTo>
                      <a:pt x="167" y="288"/>
                    </a:lnTo>
                    <a:lnTo>
                      <a:pt x="167" y="286"/>
                    </a:lnTo>
                    <a:lnTo>
                      <a:pt x="167" y="285"/>
                    </a:lnTo>
                    <a:lnTo>
                      <a:pt x="169" y="285"/>
                    </a:lnTo>
                    <a:lnTo>
                      <a:pt x="169" y="283"/>
                    </a:lnTo>
                    <a:lnTo>
                      <a:pt x="169" y="283"/>
                    </a:lnTo>
                    <a:lnTo>
                      <a:pt x="169" y="282"/>
                    </a:lnTo>
                    <a:lnTo>
                      <a:pt x="169" y="282"/>
                    </a:lnTo>
                    <a:lnTo>
                      <a:pt x="169" y="280"/>
                    </a:lnTo>
                    <a:lnTo>
                      <a:pt x="167" y="279"/>
                    </a:lnTo>
                    <a:lnTo>
                      <a:pt x="167" y="279"/>
                    </a:lnTo>
                    <a:lnTo>
                      <a:pt x="167" y="277"/>
                    </a:lnTo>
                    <a:lnTo>
                      <a:pt x="164" y="277"/>
                    </a:lnTo>
                    <a:lnTo>
                      <a:pt x="161" y="276"/>
                    </a:lnTo>
                    <a:lnTo>
                      <a:pt x="161" y="276"/>
                    </a:lnTo>
                    <a:lnTo>
                      <a:pt x="160" y="276"/>
                    </a:lnTo>
                    <a:lnTo>
                      <a:pt x="157" y="276"/>
                    </a:lnTo>
                    <a:lnTo>
                      <a:pt x="156" y="274"/>
                    </a:lnTo>
                    <a:lnTo>
                      <a:pt x="156" y="273"/>
                    </a:lnTo>
                    <a:lnTo>
                      <a:pt x="154" y="273"/>
                    </a:lnTo>
                    <a:lnTo>
                      <a:pt x="153" y="273"/>
                    </a:lnTo>
                    <a:lnTo>
                      <a:pt x="150" y="273"/>
                    </a:lnTo>
                    <a:lnTo>
                      <a:pt x="147" y="270"/>
                    </a:lnTo>
                    <a:lnTo>
                      <a:pt x="145" y="269"/>
                    </a:lnTo>
                    <a:lnTo>
                      <a:pt x="145" y="267"/>
                    </a:lnTo>
                    <a:lnTo>
                      <a:pt x="142" y="266"/>
                    </a:lnTo>
                    <a:lnTo>
                      <a:pt x="141" y="264"/>
                    </a:lnTo>
                    <a:lnTo>
                      <a:pt x="138" y="264"/>
                    </a:lnTo>
                    <a:lnTo>
                      <a:pt x="138" y="263"/>
                    </a:lnTo>
                    <a:lnTo>
                      <a:pt x="140" y="261"/>
                    </a:lnTo>
                    <a:lnTo>
                      <a:pt x="138" y="260"/>
                    </a:lnTo>
                    <a:lnTo>
                      <a:pt x="138" y="258"/>
                    </a:lnTo>
                    <a:lnTo>
                      <a:pt x="52" y="200"/>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86" name="Freeform 1685"/>
              <p:cNvSpPr>
                <a:spLocks/>
              </p:cNvSpPr>
              <p:nvPr/>
            </p:nvSpPr>
            <p:spPr bwMode="auto">
              <a:xfrm>
                <a:off x="6327885" y="2452164"/>
                <a:ext cx="87780" cy="60848"/>
              </a:xfrm>
              <a:custGeom>
                <a:avLst/>
                <a:gdLst/>
                <a:ahLst/>
                <a:cxnLst>
                  <a:cxn ang="0">
                    <a:pos x="16" y="10"/>
                  </a:cxn>
                  <a:cxn ang="0">
                    <a:pos x="25" y="17"/>
                  </a:cxn>
                  <a:cxn ang="0">
                    <a:pos x="35" y="17"/>
                  </a:cxn>
                  <a:cxn ang="0">
                    <a:pos x="39" y="12"/>
                  </a:cxn>
                  <a:cxn ang="0">
                    <a:pos x="51" y="7"/>
                  </a:cxn>
                  <a:cxn ang="0">
                    <a:pos x="55" y="9"/>
                  </a:cxn>
                  <a:cxn ang="0">
                    <a:pos x="61" y="6"/>
                  </a:cxn>
                  <a:cxn ang="0">
                    <a:pos x="63" y="3"/>
                  </a:cxn>
                  <a:cxn ang="0">
                    <a:pos x="67" y="1"/>
                  </a:cxn>
                  <a:cxn ang="0">
                    <a:pos x="71" y="1"/>
                  </a:cxn>
                  <a:cxn ang="0">
                    <a:pos x="74" y="0"/>
                  </a:cxn>
                  <a:cxn ang="0">
                    <a:pos x="79" y="1"/>
                  </a:cxn>
                  <a:cxn ang="0">
                    <a:pos x="83" y="4"/>
                  </a:cxn>
                  <a:cxn ang="0">
                    <a:pos x="86" y="4"/>
                  </a:cxn>
                  <a:cxn ang="0">
                    <a:pos x="96" y="10"/>
                  </a:cxn>
                  <a:cxn ang="0">
                    <a:pos x="96" y="13"/>
                  </a:cxn>
                  <a:cxn ang="0">
                    <a:pos x="93" y="16"/>
                  </a:cxn>
                  <a:cxn ang="0">
                    <a:pos x="92" y="16"/>
                  </a:cxn>
                  <a:cxn ang="0">
                    <a:pos x="87" y="19"/>
                  </a:cxn>
                  <a:cxn ang="0">
                    <a:pos x="86" y="20"/>
                  </a:cxn>
                  <a:cxn ang="0">
                    <a:pos x="84" y="23"/>
                  </a:cxn>
                  <a:cxn ang="0">
                    <a:pos x="83" y="26"/>
                  </a:cxn>
                  <a:cxn ang="0">
                    <a:pos x="83" y="29"/>
                  </a:cxn>
                  <a:cxn ang="0">
                    <a:pos x="73" y="47"/>
                  </a:cxn>
                  <a:cxn ang="0">
                    <a:pos x="60" y="51"/>
                  </a:cxn>
                  <a:cxn ang="0">
                    <a:pos x="60" y="51"/>
                  </a:cxn>
                  <a:cxn ang="0">
                    <a:pos x="58" y="49"/>
                  </a:cxn>
                  <a:cxn ang="0">
                    <a:pos x="55" y="51"/>
                  </a:cxn>
                  <a:cxn ang="0">
                    <a:pos x="52" y="51"/>
                  </a:cxn>
                  <a:cxn ang="0">
                    <a:pos x="48" y="54"/>
                  </a:cxn>
                  <a:cxn ang="0">
                    <a:pos x="44" y="54"/>
                  </a:cxn>
                  <a:cxn ang="0">
                    <a:pos x="42" y="55"/>
                  </a:cxn>
                  <a:cxn ang="0">
                    <a:pos x="38" y="55"/>
                  </a:cxn>
                  <a:cxn ang="0">
                    <a:pos x="35" y="57"/>
                  </a:cxn>
                  <a:cxn ang="0">
                    <a:pos x="28" y="58"/>
                  </a:cxn>
                  <a:cxn ang="0">
                    <a:pos x="23" y="57"/>
                  </a:cxn>
                  <a:cxn ang="0">
                    <a:pos x="20" y="55"/>
                  </a:cxn>
                  <a:cxn ang="0">
                    <a:pos x="18" y="51"/>
                  </a:cxn>
                  <a:cxn ang="0">
                    <a:pos x="15" y="49"/>
                  </a:cxn>
                  <a:cxn ang="0">
                    <a:pos x="12" y="45"/>
                  </a:cxn>
                  <a:cxn ang="0">
                    <a:pos x="9" y="44"/>
                  </a:cxn>
                  <a:cxn ang="0">
                    <a:pos x="4" y="36"/>
                  </a:cxn>
                  <a:cxn ang="0">
                    <a:pos x="3" y="36"/>
                  </a:cxn>
                  <a:cxn ang="0">
                    <a:pos x="0" y="36"/>
                  </a:cxn>
                  <a:cxn ang="0">
                    <a:pos x="3" y="33"/>
                  </a:cxn>
                  <a:cxn ang="0">
                    <a:pos x="6" y="32"/>
                  </a:cxn>
                  <a:cxn ang="0">
                    <a:pos x="6" y="28"/>
                  </a:cxn>
                  <a:cxn ang="0">
                    <a:pos x="9" y="22"/>
                  </a:cxn>
                  <a:cxn ang="0">
                    <a:pos x="6" y="20"/>
                  </a:cxn>
                  <a:cxn ang="0">
                    <a:pos x="7" y="17"/>
                  </a:cxn>
                  <a:cxn ang="0">
                    <a:pos x="15" y="17"/>
                  </a:cxn>
                  <a:cxn ang="0">
                    <a:pos x="16" y="16"/>
                  </a:cxn>
                  <a:cxn ang="0">
                    <a:pos x="16" y="10"/>
                  </a:cxn>
                </a:cxnLst>
                <a:rect l="0" t="0" r="r" b="b"/>
                <a:pathLst>
                  <a:path w="96" h="58">
                    <a:moveTo>
                      <a:pt x="16" y="10"/>
                    </a:moveTo>
                    <a:lnTo>
                      <a:pt x="25" y="17"/>
                    </a:lnTo>
                    <a:lnTo>
                      <a:pt x="35" y="17"/>
                    </a:lnTo>
                    <a:lnTo>
                      <a:pt x="39" y="12"/>
                    </a:lnTo>
                    <a:lnTo>
                      <a:pt x="51" y="7"/>
                    </a:lnTo>
                    <a:lnTo>
                      <a:pt x="55" y="9"/>
                    </a:lnTo>
                    <a:lnTo>
                      <a:pt x="61" y="6"/>
                    </a:lnTo>
                    <a:lnTo>
                      <a:pt x="63" y="3"/>
                    </a:lnTo>
                    <a:lnTo>
                      <a:pt x="67" y="1"/>
                    </a:lnTo>
                    <a:lnTo>
                      <a:pt x="71" y="1"/>
                    </a:lnTo>
                    <a:lnTo>
                      <a:pt x="74" y="0"/>
                    </a:lnTo>
                    <a:lnTo>
                      <a:pt x="79" y="1"/>
                    </a:lnTo>
                    <a:lnTo>
                      <a:pt x="83" y="4"/>
                    </a:lnTo>
                    <a:lnTo>
                      <a:pt x="86" y="4"/>
                    </a:lnTo>
                    <a:lnTo>
                      <a:pt x="96" y="10"/>
                    </a:lnTo>
                    <a:lnTo>
                      <a:pt x="96" y="13"/>
                    </a:lnTo>
                    <a:lnTo>
                      <a:pt x="93" y="16"/>
                    </a:lnTo>
                    <a:lnTo>
                      <a:pt x="92" y="16"/>
                    </a:lnTo>
                    <a:lnTo>
                      <a:pt x="87" y="19"/>
                    </a:lnTo>
                    <a:lnTo>
                      <a:pt x="86" y="20"/>
                    </a:lnTo>
                    <a:lnTo>
                      <a:pt x="84" y="23"/>
                    </a:lnTo>
                    <a:lnTo>
                      <a:pt x="83" y="26"/>
                    </a:lnTo>
                    <a:lnTo>
                      <a:pt x="83" y="29"/>
                    </a:lnTo>
                    <a:lnTo>
                      <a:pt x="73" y="47"/>
                    </a:lnTo>
                    <a:lnTo>
                      <a:pt x="60" y="51"/>
                    </a:lnTo>
                    <a:lnTo>
                      <a:pt x="60" y="51"/>
                    </a:lnTo>
                    <a:lnTo>
                      <a:pt x="58" y="49"/>
                    </a:lnTo>
                    <a:lnTo>
                      <a:pt x="55" y="51"/>
                    </a:lnTo>
                    <a:lnTo>
                      <a:pt x="52" y="51"/>
                    </a:lnTo>
                    <a:lnTo>
                      <a:pt x="48" y="54"/>
                    </a:lnTo>
                    <a:lnTo>
                      <a:pt x="44" y="54"/>
                    </a:lnTo>
                    <a:lnTo>
                      <a:pt x="42" y="55"/>
                    </a:lnTo>
                    <a:lnTo>
                      <a:pt x="38" y="55"/>
                    </a:lnTo>
                    <a:lnTo>
                      <a:pt x="35" y="57"/>
                    </a:lnTo>
                    <a:lnTo>
                      <a:pt x="28" y="58"/>
                    </a:lnTo>
                    <a:lnTo>
                      <a:pt x="23" y="57"/>
                    </a:lnTo>
                    <a:lnTo>
                      <a:pt x="20" y="55"/>
                    </a:lnTo>
                    <a:lnTo>
                      <a:pt x="18" y="51"/>
                    </a:lnTo>
                    <a:lnTo>
                      <a:pt x="15" y="49"/>
                    </a:lnTo>
                    <a:lnTo>
                      <a:pt x="12" y="45"/>
                    </a:lnTo>
                    <a:lnTo>
                      <a:pt x="9" y="44"/>
                    </a:lnTo>
                    <a:lnTo>
                      <a:pt x="4" y="36"/>
                    </a:lnTo>
                    <a:lnTo>
                      <a:pt x="3" y="36"/>
                    </a:lnTo>
                    <a:lnTo>
                      <a:pt x="0" y="36"/>
                    </a:lnTo>
                    <a:lnTo>
                      <a:pt x="3" y="33"/>
                    </a:lnTo>
                    <a:lnTo>
                      <a:pt x="6" y="32"/>
                    </a:lnTo>
                    <a:lnTo>
                      <a:pt x="6" y="28"/>
                    </a:lnTo>
                    <a:lnTo>
                      <a:pt x="9" y="22"/>
                    </a:lnTo>
                    <a:lnTo>
                      <a:pt x="6" y="20"/>
                    </a:lnTo>
                    <a:lnTo>
                      <a:pt x="7" y="17"/>
                    </a:lnTo>
                    <a:lnTo>
                      <a:pt x="15" y="17"/>
                    </a:lnTo>
                    <a:lnTo>
                      <a:pt x="16" y="16"/>
                    </a:lnTo>
                    <a:lnTo>
                      <a:pt x="16" y="1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87" name="Freeform 1686"/>
              <p:cNvSpPr>
                <a:spLocks/>
              </p:cNvSpPr>
              <p:nvPr/>
            </p:nvSpPr>
            <p:spPr bwMode="auto">
              <a:xfrm>
                <a:off x="6327885" y="2452164"/>
                <a:ext cx="87780" cy="60848"/>
              </a:xfrm>
              <a:custGeom>
                <a:avLst/>
                <a:gdLst/>
                <a:ahLst/>
                <a:cxnLst>
                  <a:cxn ang="0">
                    <a:pos x="16" y="10"/>
                  </a:cxn>
                  <a:cxn ang="0">
                    <a:pos x="25" y="17"/>
                  </a:cxn>
                  <a:cxn ang="0">
                    <a:pos x="35" y="17"/>
                  </a:cxn>
                  <a:cxn ang="0">
                    <a:pos x="39" y="12"/>
                  </a:cxn>
                  <a:cxn ang="0">
                    <a:pos x="51" y="7"/>
                  </a:cxn>
                  <a:cxn ang="0">
                    <a:pos x="55" y="9"/>
                  </a:cxn>
                  <a:cxn ang="0">
                    <a:pos x="61" y="6"/>
                  </a:cxn>
                  <a:cxn ang="0">
                    <a:pos x="63" y="3"/>
                  </a:cxn>
                  <a:cxn ang="0">
                    <a:pos x="67" y="1"/>
                  </a:cxn>
                  <a:cxn ang="0">
                    <a:pos x="71" y="1"/>
                  </a:cxn>
                  <a:cxn ang="0">
                    <a:pos x="74" y="0"/>
                  </a:cxn>
                  <a:cxn ang="0">
                    <a:pos x="79" y="1"/>
                  </a:cxn>
                  <a:cxn ang="0">
                    <a:pos x="83" y="4"/>
                  </a:cxn>
                  <a:cxn ang="0">
                    <a:pos x="86" y="4"/>
                  </a:cxn>
                  <a:cxn ang="0">
                    <a:pos x="96" y="10"/>
                  </a:cxn>
                  <a:cxn ang="0">
                    <a:pos x="96" y="13"/>
                  </a:cxn>
                  <a:cxn ang="0">
                    <a:pos x="93" y="16"/>
                  </a:cxn>
                  <a:cxn ang="0">
                    <a:pos x="92" y="16"/>
                  </a:cxn>
                  <a:cxn ang="0">
                    <a:pos x="87" y="19"/>
                  </a:cxn>
                  <a:cxn ang="0">
                    <a:pos x="86" y="20"/>
                  </a:cxn>
                  <a:cxn ang="0">
                    <a:pos x="84" y="23"/>
                  </a:cxn>
                  <a:cxn ang="0">
                    <a:pos x="83" y="26"/>
                  </a:cxn>
                  <a:cxn ang="0">
                    <a:pos x="83" y="29"/>
                  </a:cxn>
                  <a:cxn ang="0">
                    <a:pos x="73" y="47"/>
                  </a:cxn>
                  <a:cxn ang="0">
                    <a:pos x="60" y="51"/>
                  </a:cxn>
                  <a:cxn ang="0">
                    <a:pos x="60" y="51"/>
                  </a:cxn>
                  <a:cxn ang="0">
                    <a:pos x="58" y="49"/>
                  </a:cxn>
                  <a:cxn ang="0">
                    <a:pos x="55" y="51"/>
                  </a:cxn>
                  <a:cxn ang="0">
                    <a:pos x="52" y="51"/>
                  </a:cxn>
                  <a:cxn ang="0">
                    <a:pos x="48" y="54"/>
                  </a:cxn>
                  <a:cxn ang="0">
                    <a:pos x="44" y="54"/>
                  </a:cxn>
                  <a:cxn ang="0">
                    <a:pos x="42" y="55"/>
                  </a:cxn>
                  <a:cxn ang="0">
                    <a:pos x="38" y="55"/>
                  </a:cxn>
                  <a:cxn ang="0">
                    <a:pos x="35" y="57"/>
                  </a:cxn>
                  <a:cxn ang="0">
                    <a:pos x="28" y="58"/>
                  </a:cxn>
                  <a:cxn ang="0">
                    <a:pos x="23" y="57"/>
                  </a:cxn>
                  <a:cxn ang="0">
                    <a:pos x="20" y="55"/>
                  </a:cxn>
                  <a:cxn ang="0">
                    <a:pos x="18" y="51"/>
                  </a:cxn>
                  <a:cxn ang="0">
                    <a:pos x="15" y="49"/>
                  </a:cxn>
                  <a:cxn ang="0">
                    <a:pos x="12" y="45"/>
                  </a:cxn>
                  <a:cxn ang="0">
                    <a:pos x="9" y="44"/>
                  </a:cxn>
                  <a:cxn ang="0">
                    <a:pos x="4" y="36"/>
                  </a:cxn>
                  <a:cxn ang="0">
                    <a:pos x="3" y="36"/>
                  </a:cxn>
                  <a:cxn ang="0">
                    <a:pos x="0" y="36"/>
                  </a:cxn>
                  <a:cxn ang="0">
                    <a:pos x="3" y="33"/>
                  </a:cxn>
                  <a:cxn ang="0">
                    <a:pos x="6" y="32"/>
                  </a:cxn>
                  <a:cxn ang="0">
                    <a:pos x="6" y="28"/>
                  </a:cxn>
                  <a:cxn ang="0">
                    <a:pos x="9" y="22"/>
                  </a:cxn>
                  <a:cxn ang="0">
                    <a:pos x="6" y="20"/>
                  </a:cxn>
                  <a:cxn ang="0">
                    <a:pos x="7" y="17"/>
                  </a:cxn>
                  <a:cxn ang="0">
                    <a:pos x="15" y="17"/>
                  </a:cxn>
                  <a:cxn ang="0">
                    <a:pos x="16" y="16"/>
                  </a:cxn>
                  <a:cxn ang="0">
                    <a:pos x="16" y="10"/>
                  </a:cxn>
                </a:cxnLst>
                <a:rect l="0" t="0" r="r" b="b"/>
                <a:pathLst>
                  <a:path w="96" h="58">
                    <a:moveTo>
                      <a:pt x="16" y="10"/>
                    </a:moveTo>
                    <a:lnTo>
                      <a:pt x="25" y="17"/>
                    </a:lnTo>
                    <a:lnTo>
                      <a:pt x="35" y="17"/>
                    </a:lnTo>
                    <a:lnTo>
                      <a:pt x="39" y="12"/>
                    </a:lnTo>
                    <a:lnTo>
                      <a:pt x="51" y="7"/>
                    </a:lnTo>
                    <a:lnTo>
                      <a:pt x="55" y="9"/>
                    </a:lnTo>
                    <a:lnTo>
                      <a:pt x="61" y="6"/>
                    </a:lnTo>
                    <a:lnTo>
                      <a:pt x="63" y="3"/>
                    </a:lnTo>
                    <a:lnTo>
                      <a:pt x="67" y="1"/>
                    </a:lnTo>
                    <a:lnTo>
                      <a:pt x="71" y="1"/>
                    </a:lnTo>
                    <a:lnTo>
                      <a:pt x="74" y="0"/>
                    </a:lnTo>
                    <a:lnTo>
                      <a:pt x="79" y="1"/>
                    </a:lnTo>
                    <a:lnTo>
                      <a:pt x="83" y="4"/>
                    </a:lnTo>
                    <a:lnTo>
                      <a:pt x="86" y="4"/>
                    </a:lnTo>
                    <a:lnTo>
                      <a:pt x="96" y="10"/>
                    </a:lnTo>
                    <a:lnTo>
                      <a:pt x="96" y="13"/>
                    </a:lnTo>
                    <a:lnTo>
                      <a:pt x="93" y="16"/>
                    </a:lnTo>
                    <a:lnTo>
                      <a:pt x="92" y="16"/>
                    </a:lnTo>
                    <a:lnTo>
                      <a:pt x="87" y="19"/>
                    </a:lnTo>
                    <a:lnTo>
                      <a:pt x="86" y="20"/>
                    </a:lnTo>
                    <a:lnTo>
                      <a:pt x="84" y="23"/>
                    </a:lnTo>
                    <a:lnTo>
                      <a:pt x="83" y="26"/>
                    </a:lnTo>
                    <a:lnTo>
                      <a:pt x="83" y="29"/>
                    </a:lnTo>
                    <a:lnTo>
                      <a:pt x="73" y="47"/>
                    </a:lnTo>
                    <a:lnTo>
                      <a:pt x="60" y="51"/>
                    </a:lnTo>
                    <a:lnTo>
                      <a:pt x="60" y="51"/>
                    </a:lnTo>
                    <a:lnTo>
                      <a:pt x="58" y="49"/>
                    </a:lnTo>
                    <a:lnTo>
                      <a:pt x="55" y="51"/>
                    </a:lnTo>
                    <a:lnTo>
                      <a:pt x="52" y="51"/>
                    </a:lnTo>
                    <a:lnTo>
                      <a:pt x="48" y="54"/>
                    </a:lnTo>
                    <a:lnTo>
                      <a:pt x="44" y="54"/>
                    </a:lnTo>
                    <a:lnTo>
                      <a:pt x="42" y="55"/>
                    </a:lnTo>
                    <a:lnTo>
                      <a:pt x="38" y="55"/>
                    </a:lnTo>
                    <a:lnTo>
                      <a:pt x="35" y="57"/>
                    </a:lnTo>
                    <a:lnTo>
                      <a:pt x="28" y="58"/>
                    </a:lnTo>
                    <a:lnTo>
                      <a:pt x="23" y="57"/>
                    </a:lnTo>
                    <a:lnTo>
                      <a:pt x="20" y="55"/>
                    </a:lnTo>
                    <a:lnTo>
                      <a:pt x="18" y="51"/>
                    </a:lnTo>
                    <a:lnTo>
                      <a:pt x="15" y="49"/>
                    </a:lnTo>
                    <a:lnTo>
                      <a:pt x="12" y="45"/>
                    </a:lnTo>
                    <a:lnTo>
                      <a:pt x="9" y="44"/>
                    </a:lnTo>
                    <a:lnTo>
                      <a:pt x="4" y="36"/>
                    </a:lnTo>
                    <a:lnTo>
                      <a:pt x="3" y="36"/>
                    </a:lnTo>
                    <a:lnTo>
                      <a:pt x="0" y="36"/>
                    </a:lnTo>
                    <a:lnTo>
                      <a:pt x="3" y="33"/>
                    </a:lnTo>
                    <a:lnTo>
                      <a:pt x="6" y="32"/>
                    </a:lnTo>
                    <a:lnTo>
                      <a:pt x="6" y="28"/>
                    </a:lnTo>
                    <a:lnTo>
                      <a:pt x="9" y="22"/>
                    </a:lnTo>
                    <a:lnTo>
                      <a:pt x="6" y="20"/>
                    </a:lnTo>
                    <a:lnTo>
                      <a:pt x="7" y="17"/>
                    </a:lnTo>
                    <a:lnTo>
                      <a:pt x="15" y="17"/>
                    </a:lnTo>
                    <a:lnTo>
                      <a:pt x="16" y="16"/>
                    </a:lnTo>
                    <a:lnTo>
                      <a:pt x="16" y="1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88" name="Freeform 1687"/>
              <p:cNvSpPr>
                <a:spLocks/>
              </p:cNvSpPr>
              <p:nvPr/>
            </p:nvSpPr>
            <p:spPr bwMode="auto">
              <a:xfrm>
                <a:off x="5799450" y="1944084"/>
                <a:ext cx="142204" cy="111555"/>
              </a:xfrm>
              <a:custGeom>
                <a:avLst/>
                <a:gdLst/>
                <a:ahLst/>
                <a:cxnLst>
                  <a:cxn ang="0">
                    <a:pos x="56" y="97"/>
                  </a:cxn>
                  <a:cxn ang="0">
                    <a:pos x="30" y="91"/>
                  </a:cxn>
                  <a:cxn ang="0">
                    <a:pos x="29" y="87"/>
                  </a:cxn>
                  <a:cxn ang="0">
                    <a:pos x="36" y="74"/>
                  </a:cxn>
                  <a:cxn ang="0">
                    <a:pos x="35" y="71"/>
                  </a:cxn>
                  <a:cxn ang="0">
                    <a:pos x="27" y="59"/>
                  </a:cxn>
                  <a:cxn ang="0">
                    <a:pos x="11" y="62"/>
                  </a:cxn>
                  <a:cxn ang="0">
                    <a:pos x="19" y="55"/>
                  </a:cxn>
                  <a:cxn ang="0">
                    <a:pos x="30" y="52"/>
                  </a:cxn>
                  <a:cxn ang="0">
                    <a:pos x="33" y="49"/>
                  </a:cxn>
                  <a:cxn ang="0">
                    <a:pos x="37" y="39"/>
                  </a:cxn>
                  <a:cxn ang="0">
                    <a:pos x="32" y="36"/>
                  </a:cxn>
                  <a:cxn ang="0">
                    <a:pos x="20" y="33"/>
                  </a:cxn>
                  <a:cxn ang="0">
                    <a:pos x="6" y="36"/>
                  </a:cxn>
                  <a:cxn ang="0">
                    <a:pos x="10" y="35"/>
                  </a:cxn>
                  <a:cxn ang="0">
                    <a:pos x="4" y="26"/>
                  </a:cxn>
                  <a:cxn ang="0">
                    <a:pos x="17" y="29"/>
                  </a:cxn>
                  <a:cxn ang="0">
                    <a:pos x="13" y="23"/>
                  </a:cxn>
                  <a:cxn ang="0">
                    <a:pos x="11" y="16"/>
                  </a:cxn>
                  <a:cxn ang="0">
                    <a:pos x="20" y="20"/>
                  </a:cxn>
                  <a:cxn ang="0">
                    <a:pos x="26" y="24"/>
                  </a:cxn>
                  <a:cxn ang="0">
                    <a:pos x="29" y="16"/>
                  </a:cxn>
                  <a:cxn ang="0">
                    <a:pos x="29" y="10"/>
                  </a:cxn>
                  <a:cxn ang="0">
                    <a:pos x="19" y="7"/>
                  </a:cxn>
                  <a:cxn ang="0">
                    <a:pos x="21" y="3"/>
                  </a:cxn>
                  <a:cxn ang="0">
                    <a:pos x="32" y="8"/>
                  </a:cxn>
                  <a:cxn ang="0">
                    <a:pos x="42" y="20"/>
                  </a:cxn>
                  <a:cxn ang="0">
                    <a:pos x="42" y="30"/>
                  </a:cxn>
                  <a:cxn ang="0">
                    <a:pos x="45" y="33"/>
                  </a:cxn>
                  <a:cxn ang="0">
                    <a:pos x="48" y="42"/>
                  </a:cxn>
                  <a:cxn ang="0">
                    <a:pos x="55" y="32"/>
                  </a:cxn>
                  <a:cxn ang="0">
                    <a:pos x="59" y="16"/>
                  </a:cxn>
                  <a:cxn ang="0">
                    <a:pos x="72" y="27"/>
                  </a:cxn>
                  <a:cxn ang="0">
                    <a:pos x="78" y="14"/>
                  </a:cxn>
                  <a:cxn ang="0">
                    <a:pos x="85" y="17"/>
                  </a:cxn>
                  <a:cxn ang="0">
                    <a:pos x="88" y="16"/>
                  </a:cxn>
                  <a:cxn ang="0">
                    <a:pos x="97" y="19"/>
                  </a:cxn>
                  <a:cxn ang="0">
                    <a:pos x="106" y="13"/>
                  </a:cxn>
                  <a:cxn ang="0">
                    <a:pos x="113" y="4"/>
                  </a:cxn>
                  <a:cxn ang="0">
                    <a:pos x="120" y="4"/>
                  </a:cxn>
                  <a:cxn ang="0">
                    <a:pos x="129" y="13"/>
                  </a:cxn>
                  <a:cxn ang="0">
                    <a:pos x="136" y="6"/>
                  </a:cxn>
                  <a:cxn ang="0">
                    <a:pos x="133" y="19"/>
                  </a:cxn>
                  <a:cxn ang="0">
                    <a:pos x="138" y="29"/>
                  </a:cxn>
                  <a:cxn ang="0">
                    <a:pos x="149" y="30"/>
                  </a:cxn>
                  <a:cxn ang="0">
                    <a:pos x="154" y="48"/>
                  </a:cxn>
                  <a:cxn ang="0">
                    <a:pos x="152" y="54"/>
                  </a:cxn>
                  <a:cxn ang="0">
                    <a:pos x="145" y="64"/>
                  </a:cxn>
                  <a:cxn ang="0">
                    <a:pos x="146" y="65"/>
                  </a:cxn>
                  <a:cxn ang="0">
                    <a:pos x="133" y="74"/>
                  </a:cxn>
                  <a:cxn ang="0">
                    <a:pos x="109" y="90"/>
                  </a:cxn>
                  <a:cxn ang="0">
                    <a:pos x="103" y="94"/>
                  </a:cxn>
                  <a:cxn ang="0">
                    <a:pos x="80" y="106"/>
                  </a:cxn>
                  <a:cxn ang="0">
                    <a:pos x="64" y="101"/>
                  </a:cxn>
                </a:cxnLst>
                <a:rect l="0" t="0" r="r" b="b"/>
                <a:pathLst>
                  <a:path w="155" h="107">
                    <a:moveTo>
                      <a:pt x="64" y="101"/>
                    </a:moveTo>
                    <a:lnTo>
                      <a:pt x="64" y="101"/>
                    </a:lnTo>
                    <a:lnTo>
                      <a:pt x="62" y="100"/>
                    </a:lnTo>
                    <a:lnTo>
                      <a:pt x="59" y="100"/>
                    </a:lnTo>
                    <a:lnTo>
                      <a:pt x="56" y="97"/>
                    </a:lnTo>
                    <a:lnTo>
                      <a:pt x="46" y="91"/>
                    </a:lnTo>
                    <a:lnTo>
                      <a:pt x="43" y="93"/>
                    </a:lnTo>
                    <a:lnTo>
                      <a:pt x="39" y="91"/>
                    </a:lnTo>
                    <a:lnTo>
                      <a:pt x="37" y="91"/>
                    </a:lnTo>
                    <a:lnTo>
                      <a:pt x="30" y="91"/>
                    </a:lnTo>
                    <a:lnTo>
                      <a:pt x="27" y="93"/>
                    </a:lnTo>
                    <a:lnTo>
                      <a:pt x="26" y="93"/>
                    </a:lnTo>
                    <a:lnTo>
                      <a:pt x="26" y="88"/>
                    </a:lnTo>
                    <a:lnTo>
                      <a:pt x="24" y="84"/>
                    </a:lnTo>
                    <a:lnTo>
                      <a:pt x="29" y="87"/>
                    </a:lnTo>
                    <a:lnTo>
                      <a:pt x="30" y="86"/>
                    </a:lnTo>
                    <a:lnTo>
                      <a:pt x="37" y="81"/>
                    </a:lnTo>
                    <a:lnTo>
                      <a:pt x="37" y="75"/>
                    </a:lnTo>
                    <a:lnTo>
                      <a:pt x="33" y="77"/>
                    </a:lnTo>
                    <a:lnTo>
                      <a:pt x="36" y="74"/>
                    </a:lnTo>
                    <a:lnTo>
                      <a:pt x="36" y="72"/>
                    </a:lnTo>
                    <a:lnTo>
                      <a:pt x="36" y="71"/>
                    </a:lnTo>
                    <a:lnTo>
                      <a:pt x="39" y="68"/>
                    </a:lnTo>
                    <a:lnTo>
                      <a:pt x="36" y="68"/>
                    </a:lnTo>
                    <a:lnTo>
                      <a:pt x="35" y="71"/>
                    </a:lnTo>
                    <a:lnTo>
                      <a:pt x="33" y="70"/>
                    </a:lnTo>
                    <a:lnTo>
                      <a:pt x="32" y="68"/>
                    </a:lnTo>
                    <a:lnTo>
                      <a:pt x="30" y="68"/>
                    </a:lnTo>
                    <a:lnTo>
                      <a:pt x="29" y="59"/>
                    </a:lnTo>
                    <a:lnTo>
                      <a:pt x="27" y="59"/>
                    </a:lnTo>
                    <a:lnTo>
                      <a:pt x="24" y="61"/>
                    </a:lnTo>
                    <a:lnTo>
                      <a:pt x="23" y="59"/>
                    </a:lnTo>
                    <a:lnTo>
                      <a:pt x="20" y="59"/>
                    </a:lnTo>
                    <a:lnTo>
                      <a:pt x="14" y="59"/>
                    </a:lnTo>
                    <a:lnTo>
                      <a:pt x="11" y="62"/>
                    </a:lnTo>
                    <a:lnTo>
                      <a:pt x="8" y="62"/>
                    </a:lnTo>
                    <a:lnTo>
                      <a:pt x="7" y="61"/>
                    </a:lnTo>
                    <a:lnTo>
                      <a:pt x="8" y="58"/>
                    </a:lnTo>
                    <a:lnTo>
                      <a:pt x="16" y="56"/>
                    </a:lnTo>
                    <a:lnTo>
                      <a:pt x="19" y="55"/>
                    </a:lnTo>
                    <a:lnTo>
                      <a:pt x="21" y="55"/>
                    </a:lnTo>
                    <a:lnTo>
                      <a:pt x="24" y="52"/>
                    </a:lnTo>
                    <a:lnTo>
                      <a:pt x="26" y="54"/>
                    </a:lnTo>
                    <a:lnTo>
                      <a:pt x="27" y="52"/>
                    </a:lnTo>
                    <a:lnTo>
                      <a:pt x="30" y="52"/>
                    </a:lnTo>
                    <a:lnTo>
                      <a:pt x="36" y="54"/>
                    </a:lnTo>
                    <a:lnTo>
                      <a:pt x="39" y="46"/>
                    </a:lnTo>
                    <a:lnTo>
                      <a:pt x="37" y="48"/>
                    </a:lnTo>
                    <a:lnTo>
                      <a:pt x="36" y="51"/>
                    </a:lnTo>
                    <a:lnTo>
                      <a:pt x="33" y="49"/>
                    </a:lnTo>
                    <a:lnTo>
                      <a:pt x="27" y="48"/>
                    </a:lnTo>
                    <a:lnTo>
                      <a:pt x="27" y="46"/>
                    </a:lnTo>
                    <a:lnTo>
                      <a:pt x="30" y="43"/>
                    </a:lnTo>
                    <a:lnTo>
                      <a:pt x="32" y="43"/>
                    </a:lnTo>
                    <a:lnTo>
                      <a:pt x="37" y="39"/>
                    </a:lnTo>
                    <a:lnTo>
                      <a:pt x="37" y="38"/>
                    </a:lnTo>
                    <a:lnTo>
                      <a:pt x="35" y="36"/>
                    </a:lnTo>
                    <a:lnTo>
                      <a:pt x="33" y="38"/>
                    </a:lnTo>
                    <a:lnTo>
                      <a:pt x="32" y="38"/>
                    </a:lnTo>
                    <a:lnTo>
                      <a:pt x="32" y="36"/>
                    </a:lnTo>
                    <a:lnTo>
                      <a:pt x="30" y="35"/>
                    </a:lnTo>
                    <a:lnTo>
                      <a:pt x="30" y="36"/>
                    </a:lnTo>
                    <a:lnTo>
                      <a:pt x="29" y="33"/>
                    </a:lnTo>
                    <a:lnTo>
                      <a:pt x="23" y="33"/>
                    </a:lnTo>
                    <a:lnTo>
                      <a:pt x="20" y="33"/>
                    </a:lnTo>
                    <a:lnTo>
                      <a:pt x="19" y="36"/>
                    </a:lnTo>
                    <a:lnTo>
                      <a:pt x="16" y="36"/>
                    </a:lnTo>
                    <a:lnTo>
                      <a:pt x="11" y="39"/>
                    </a:lnTo>
                    <a:lnTo>
                      <a:pt x="10" y="39"/>
                    </a:lnTo>
                    <a:lnTo>
                      <a:pt x="6" y="36"/>
                    </a:lnTo>
                    <a:lnTo>
                      <a:pt x="0" y="38"/>
                    </a:lnTo>
                    <a:lnTo>
                      <a:pt x="1" y="32"/>
                    </a:lnTo>
                    <a:lnTo>
                      <a:pt x="3" y="33"/>
                    </a:lnTo>
                    <a:lnTo>
                      <a:pt x="8" y="36"/>
                    </a:lnTo>
                    <a:lnTo>
                      <a:pt x="10" y="35"/>
                    </a:lnTo>
                    <a:lnTo>
                      <a:pt x="7" y="33"/>
                    </a:lnTo>
                    <a:lnTo>
                      <a:pt x="8" y="33"/>
                    </a:lnTo>
                    <a:lnTo>
                      <a:pt x="8" y="30"/>
                    </a:lnTo>
                    <a:lnTo>
                      <a:pt x="6" y="29"/>
                    </a:lnTo>
                    <a:lnTo>
                      <a:pt x="4" y="26"/>
                    </a:lnTo>
                    <a:lnTo>
                      <a:pt x="10" y="29"/>
                    </a:lnTo>
                    <a:lnTo>
                      <a:pt x="13" y="32"/>
                    </a:lnTo>
                    <a:lnTo>
                      <a:pt x="17" y="30"/>
                    </a:lnTo>
                    <a:lnTo>
                      <a:pt x="16" y="29"/>
                    </a:lnTo>
                    <a:lnTo>
                      <a:pt x="17" y="29"/>
                    </a:lnTo>
                    <a:lnTo>
                      <a:pt x="17" y="26"/>
                    </a:lnTo>
                    <a:lnTo>
                      <a:pt x="13" y="27"/>
                    </a:lnTo>
                    <a:lnTo>
                      <a:pt x="10" y="24"/>
                    </a:lnTo>
                    <a:lnTo>
                      <a:pt x="10" y="23"/>
                    </a:lnTo>
                    <a:lnTo>
                      <a:pt x="13" y="23"/>
                    </a:lnTo>
                    <a:lnTo>
                      <a:pt x="8" y="17"/>
                    </a:lnTo>
                    <a:lnTo>
                      <a:pt x="8" y="19"/>
                    </a:lnTo>
                    <a:lnTo>
                      <a:pt x="13" y="20"/>
                    </a:lnTo>
                    <a:lnTo>
                      <a:pt x="13" y="19"/>
                    </a:lnTo>
                    <a:lnTo>
                      <a:pt x="11" y="16"/>
                    </a:lnTo>
                    <a:lnTo>
                      <a:pt x="14" y="17"/>
                    </a:lnTo>
                    <a:lnTo>
                      <a:pt x="13" y="14"/>
                    </a:lnTo>
                    <a:lnTo>
                      <a:pt x="14" y="13"/>
                    </a:lnTo>
                    <a:lnTo>
                      <a:pt x="19" y="16"/>
                    </a:lnTo>
                    <a:lnTo>
                      <a:pt x="20" y="20"/>
                    </a:lnTo>
                    <a:lnTo>
                      <a:pt x="20" y="20"/>
                    </a:lnTo>
                    <a:lnTo>
                      <a:pt x="21" y="20"/>
                    </a:lnTo>
                    <a:lnTo>
                      <a:pt x="23" y="19"/>
                    </a:lnTo>
                    <a:lnTo>
                      <a:pt x="26" y="22"/>
                    </a:lnTo>
                    <a:lnTo>
                      <a:pt x="26" y="24"/>
                    </a:lnTo>
                    <a:lnTo>
                      <a:pt x="27" y="22"/>
                    </a:lnTo>
                    <a:lnTo>
                      <a:pt x="29" y="24"/>
                    </a:lnTo>
                    <a:lnTo>
                      <a:pt x="30" y="22"/>
                    </a:lnTo>
                    <a:lnTo>
                      <a:pt x="29" y="17"/>
                    </a:lnTo>
                    <a:lnTo>
                      <a:pt x="29" y="16"/>
                    </a:lnTo>
                    <a:lnTo>
                      <a:pt x="21" y="11"/>
                    </a:lnTo>
                    <a:lnTo>
                      <a:pt x="24" y="8"/>
                    </a:lnTo>
                    <a:lnTo>
                      <a:pt x="26" y="11"/>
                    </a:lnTo>
                    <a:lnTo>
                      <a:pt x="27" y="11"/>
                    </a:lnTo>
                    <a:lnTo>
                      <a:pt x="29" y="10"/>
                    </a:lnTo>
                    <a:lnTo>
                      <a:pt x="26" y="8"/>
                    </a:lnTo>
                    <a:lnTo>
                      <a:pt x="26" y="7"/>
                    </a:lnTo>
                    <a:lnTo>
                      <a:pt x="24" y="7"/>
                    </a:lnTo>
                    <a:lnTo>
                      <a:pt x="21" y="8"/>
                    </a:lnTo>
                    <a:lnTo>
                      <a:pt x="19" y="7"/>
                    </a:lnTo>
                    <a:lnTo>
                      <a:pt x="19" y="7"/>
                    </a:lnTo>
                    <a:lnTo>
                      <a:pt x="20" y="6"/>
                    </a:lnTo>
                    <a:lnTo>
                      <a:pt x="20" y="3"/>
                    </a:lnTo>
                    <a:lnTo>
                      <a:pt x="21" y="4"/>
                    </a:lnTo>
                    <a:lnTo>
                      <a:pt x="21" y="3"/>
                    </a:lnTo>
                    <a:lnTo>
                      <a:pt x="24" y="4"/>
                    </a:lnTo>
                    <a:lnTo>
                      <a:pt x="26" y="4"/>
                    </a:lnTo>
                    <a:lnTo>
                      <a:pt x="27" y="6"/>
                    </a:lnTo>
                    <a:lnTo>
                      <a:pt x="29" y="4"/>
                    </a:lnTo>
                    <a:lnTo>
                      <a:pt x="32" y="8"/>
                    </a:lnTo>
                    <a:lnTo>
                      <a:pt x="36" y="10"/>
                    </a:lnTo>
                    <a:lnTo>
                      <a:pt x="39" y="16"/>
                    </a:lnTo>
                    <a:lnTo>
                      <a:pt x="42" y="17"/>
                    </a:lnTo>
                    <a:lnTo>
                      <a:pt x="45" y="19"/>
                    </a:lnTo>
                    <a:lnTo>
                      <a:pt x="42" y="20"/>
                    </a:lnTo>
                    <a:lnTo>
                      <a:pt x="45" y="23"/>
                    </a:lnTo>
                    <a:lnTo>
                      <a:pt x="45" y="26"/>
                    </a:lnTo>
                    <a:lnTo>
                      <a:pt x="43" y="27"/>
                    </a:lnTo>
                    <a:lnTo>
                      <a:pt x="43" y="29"/>
                    </a:lnTo>
                    <a:lnTo>
                      <a:pt x="42" y="30"/>
                    </a:lnTo>
                    <a:lnTo>
                      <a:pt x="39" y="29"/>
                    </a:lnTo>
                    <a:lnTo>
                      <a:pt x="40" y="32"/>
                    </a:lnTo>
                    <a:lnTo>
                      <a:pt x="43" y="33"/>
                    </a:lnTo>
                    <a:lnTo>
                      <a:pt x="43" y="35"/>
                    </a:lnTo>
                    <a:lnTo>
                      <a:pt x="45" y="33"/>
                    </a:lnTo>
                    <a:lnTo>
                      <a:pt x="45" y="38"/>
                    </a:lnTo>
                    <a:lnTo>
                      <a:pt x="43" y="39"/>
                    </a:lnTo>
                    <a:lnTo>
                      <a:pt x="46" y="39"/>
                    </a:lnTo>
                    <a:lnTo>
                      <a:pt x="46" y="46"/>
                    </a:lnTo>
                    <a:lnTo>
                      <a:pt x="48" y="42"/>
                    </a:lnTo>
                    <a:lnTo>
                      <a:pt x="49" y="40"/>
                    </a:lnTo>
                    <a:lnTo>
                      <a:pt x="52" y="39"/>
                    </a:lnTo>
                    <a:lnTo>
                      <a:pt x="52" y="33"/>
                    </a:lnTo>
                    <a:lnTo>
                      <a:pt x="53" y="30"/>
                    </a:lnTo>
                    <a:lnTo>
                      <a:pt x="55" y="32"/>
                    </a:lnTo>
                    <a:lnTo>
                      <a:pt x="56" y="36"/>
                    </a:lnTo>
                    <a:lnTo>
                      <a:pt x="59" y="33"/>
                    </a:lnTo>
                    <a:lnTo>
                      <a:pt x="59" y="26"/>
                    </a:lnTo>
                    <a:lnTo>
                      <a:pt x="58" y="16"/>
                    </a:lnTo>
                    <a:lnTo>
                      <a:pt x="59" y="16"/>
                    </a:lnTo>
                    <a:lnTo>
                      <a:pt x="62" y="16"/>
                    </a:lnTo>
                    <a:lnTo>
                      <a:pt x="68" y="26"/>
                    </a:lnTo>
                    <a:lnTo>
                      <a:pt x="69" y="29"/>
                    </a:lnTo>
                    <a:lnTo>
                      <a:pt x="71" y="29"/>
                    </a:lnTo>
                    <a:lnTo>
                      <a:pt x="72" y="27"/>
                    </a:lnTo>
                    <a:lnTo>
                      <a:pt x="72" y="20"/>
                    </a:lnTo>
                    <a:lnTo>
                      <a:pt x="72" y="17"/>
                    </a:lnTo>
                    <a:lnTo>
                      <a:pt x="75" y="17"/>
                    </a:lnTo>
                    <a:lnTo>
                      <a:pt x="77" y="17"/>
                    </a:lnTo>
                    <a:lnTo>
                      <a:pt x="78" y="14"/>
                    </a:lnTo>
                    <a:lnTo>
                      <a:pt x="82" y="13"/>
                    </a:lnTo>
                    <a:lnTo>
                      <a:pt x="82" y="14"/>
                    </a:lnTo>
                    <a:lnTo>
                      <a:pt x="82" y="14"/>
                    </a:lnTo>
                    <a:lnTo>
                      <a:pt x="82" y="17"/>
                    </a:lnTo>
                    <a:lnTo>
                      <a:pt x="85" y="17"/>
                    </a:lnTo>
                    <a:lnTo>
                      <a:pt x="85" y="20"/>
                    </a:lnTo>
                    <a:lnTo>
                      <a:pt x="88" y="23"/>
                    </a:lnTo>
                    <a:lnTo>
                      <a:pt x="91" y="32"/>
                    </a:lnTo>
                    <a:lnTo>
                      <a:pt x="91" y="24"/>
                    </a:lnTo>
                    <a:lnTo>
                      <a:pt x="88" y="16"/>
                    </a:lnTo>
                    <a:lnTo>
                      <a:pt x="88" y="13"/>
                    </a:lnTo>
                    <a:lnTo>
                      <a:pt x="90" y="13"/>
                    </a:lnTo>
                    <a:lnTo>
                      <a:pt x="93" y="13"/>
                    </a:lnTo>
                    <a:lnTo>
                      <a:pt x="96" y="16"/>
                    </a:lnTo>
                    <a:lnTo>
                      <a:pt x="97" y="19"/>
                    </a:lnTo>
                    <a:lnTo>
                      <a:pt x="100" y="19"/>
                    </a:lnTo>
                    <a:lnTo>
                      <a:pt x="101" y="17"/>
                    </a:lnTo>
                    <a:lnTo>
                      <a:pt x="103" y="14"/>
                    </a:lnTo>
                    <a:lnTo>
                      <a:pt x="103" y="13"/>
                    </a:lnTo>
                    <a:lnTo>
                      <a:pt x="106" y="13"/>
                    </a:lnTo>
                    <a:lnTo>
                      <a:pt x="106" y="16"/>
                    </a:lnTo>
                    <a:lnTo>
                      <a:pt x="109" y="16"/>
                    </a:lnTo>
                    <a:lnTo>
                      <a:pt x="111" y="14"/>
                    </a:lnTo>
                    <a:lnTo>
                      <a:pt x="114" y="13"/>
                    </a:lnTo>
                    <a:lnTo>
                      <a:pt x="113" y="4"/>
                    </a:lnTo>
                    <a:lnTo>
                      <a:pt x="113" y="3"/>
                    </a:lnTo>
                    <a:lnTo>
                      <a:pt x="116" y="3"/>
                    </a:lnTo>
                    <a:lnTo>
                      <a:pt x="117" y="0"/>
                    </a:lnTo>
                    <a:lnTo>
                      <a:pt x="120" y="1"/>
                    </a:lnTo>
                    <a:lnTo>
                      <a:pt x="120" y="4"/>
                    </a:lnTo>
                    <a:lnTo>
                      <a:pt x="125" y="6"/>
                    </a:lnTo>
                    <a:lnTo>
                      <a:pt x="125" y="8"/>
                    </a:lnTo>
                    <a:lnTo>
                      <a:pt x="123" y="10"/>
                    </a:lnTo>
                    <a:lnTo>
                      <a:pt x="127" y="13"/>
                    </a:lnTo>
                    <a:lnTo>
                      <a:pt x="129" y="13"/>
                    </a:lnTo>
                    <a:lnTo>
                      <a:pt x="130" y="11"/>
                    </a:lnTo>
                    <a:lnTo>
                      <a:pt x="129" y="10"/>
                    </a:lnTo>
                    <a:lnTo>
                      <a:pt x="133" y="10"/>
                    </a:lnTo>
                    <a:lnTo>
                      <a:pt x="135" y="7"/>
                    </a:lnTo>
                    <a:lnTo>
                      <a:pt x="136" y="6"/>
                    </a:lnTo>
                    <a:lnTo>
                      <a:pt x="141" y="6"/>
                    </a:lnTo>
                    <a:lnTo>
                      <a:pt x="141" y="7"/>
                    </a:lnTo>
                    <a:lnTo>
                      <a:pt x="138" y="8"/>
                    </a:lnTo>
                    <a:lnTo>
                      <a:pt x="133" y="16"/>
                    </a:lnTo>
                    <a:lnTo>
                      <a:pt x="133" y="19"/>
                    </a:lnTo>
                    <a:lnTo>
                      <a:pt x="135" y="19"/>
                    </a:lnTo>
                    <a:lnTo>
                      <a:pt x="139" y="17"/>
                    </a:lnTo>
                    <a:lnTo>
                      <a:pt x="139" y="22"/>
                    </a:lnTo>
                    <a:lnTo>
                      <a:pt x="138" y="26"/>
                    </a:lnTo>
                    <a:lnTo>
                      <a:pt x="138" y="29"/>
                    </a:lnTo>
                    <a:lnTo>
                      <a:pt x="145" y="29"/>
                    </a:lnTo>
                    <a:lnTo>
                      <a:pt x="143" y="30"/>
                    </a:lnTo>
                    <a:lnTo>
                      <a:pt x="145" y="33"/>
                    </a:lnTo>
                    <a:lnTo>
                      <a:pt x="149" y="35"/>
                    </a:lnTo>
                    <a:lnTo>
                      <a:pt x="149" y="30"/>
                    </a:lnTo>
                    <a:lnTo>
                      <a:pt x="151" y="32"/>
                    </a:lnTo>
                    <a:lnTo>
                      <a:pt x="154" y="39"/>
                    </a:lnTo>
                    <a:lnTo>
                      <a:pt x="152" y="42"/>
                    </a:lnTo>
                    <a:lnTo>
                      <a:pt x="151" y="43"/>
                    </a:lnTo>
                    <a:lnTo>
                      <a:pt x="154" y="48"/>
                    </a:lnTo>
                    <a:lnTo>
                      <a:pt x="155" y="48"/>
                    </a:lnTo>
                    <a:lnTo>
                      <a:pt x="155" y="46"/>
                    </a:lnTo>
                    <a:lnTo>
                      <a:pt x="155" y="49"/>
                    </a:lnTo>
                    <a:lnTo>
                      <a:pt x="155" y="54"/>
                    </a:lnTo>
                    <a:lnTo>
                      <a:pt x="152" y="54"/>
                    </a:lnTo>
                    <a:lnTo>
                      <a:pt x="152" y="56"/>
                    </a:lnTo>
                    <a:lnTo>
                      <a:pt x="152" y="58"/>
                    </a:lnTo>
                    <a:lnTo>
                      <a:pt x="149" y="61"/>
                    </a:lnTo>
                    <a:lnTo>
                      <a:pt x="145" y="61"/>
                    </a:lnTo>
                    <a:lnTo>
                      <a:pt x="145" y="64"/>
                    </a:lnTo>
                    <a:lnTo>
                      <a:pt x="142" y="64"/>
                    </a:lnTo>
                    <a:lnTo>
                      <a:pt x="142" y="65"/>
                    </a:lnTo>
                    <a:lnTo>
                      <a:pt x="142" y="67"/>
                    </a:lnTo>
                    <a:lnTo>
                      <a:pt x="143" y="67"/>
                    </a:lnTo>
                    <a:lnTo>
                      <a:pt x="146" y="65"/>
                    </a:lnTo>
                    <a:lnTo>
                      <a:pt x="141" y="74"/>
                    </a:lnTo>
                    <a:lnTo>
                      <a:pt x="138" y="75"/>
                    </a:lnTo>
                    <a:lnTo>
                      <a:pt x="136" y="78"/>
                    </a:lnTo>
                    <a:lnTo>
                      <a:pt x="133" y="77"/>
                    </a:lnTo>
                    <a:lnTo>
                      <a:pt x="133" y="74"/>
                    </a:lnTo>
                    <a:lnTo>
                      <a:pt x="132" y="72"/>
                    </a:lnTo>
                    <a:lnTo>
                      <a:pt x="130" y="72"/>
                    </a:lnTo>
                    <a:lnTo>
                      <a:pt x="129" y="77"/>
                    </a:lnTo>
                    <a:lnTo>
                      <a:pt x="113" y="90"/>
                    </a:lnTo>
                    <a:lnTo>
                      <a:pt x="109" y="90"/>
                    </a:lnTo>
                    <a:lnTo>
                      <a:pt x="106" y="91"/>
                    </a:lnTo>
                    <a:lnTo>
                      <a:pt x="106" y="90"/>
                    </a:lnTo>
                    <a:lnTo>
                      <a:pt x="104" y="90"/>
                    </a:lnTo>
                    <a:lnTo>
                      <a:pt x="103" y="91"/>
                    </a:lnTo>
                    <a:lnTo>
                      <a:pt x="103" y="94"/>
                    </a:lnTo>
                    <a:lnTo>
                      <a:pt x="98" y="96"/>
                    </a:lnTo>
                    <a:lnTo>
                      <a:pt x="91" y="103"/>
                    </a:lnTo>
                    <a:lnTo>
                      <a:pt x="85" y="104"/>
                    </a:lnTo>
                    <a:lnTo>
                      <a:pt x="84" y="107"/>
                    </a:lnTo>
                    <a:lnTo>
                      <a:pt x="80" y="106"/>
                    </a:lnTo>
                    <a:lnTo>
                      <a:pt x="78" y="106"/>
                    </a:lnTo>
                    <a:lnTo>
                      <a:pt x="75" y="104"/>
                    </a:lnTo>
                    <a:lnTo>
                      <a:pt x="72" y="104"/>
                    </a:lnTo>
                    <a:lnTo>
                      <a:pt x="66" y="101"/>
                    </a:lnTo>
                    <a:lnTo>
                      <a:pt x="64" y="10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89" name="Freeform 1688"/>
              <p:cNvSpPr>
                <a:spLocks/>
              </p:cNvSpPr>
              <p:nvPr/>
            </p:nvSpPr>
            <p:spPr bwMode="auto">
              <a:xfrm>
                <a:off x="6609660" y="4059564"/>
                <a:ext cx="3511" cy="3042"/>
              </a:xfrm>
              <a:custGeom>
                <a:avLst/>
                <a:gdLst/>
                <a:ahLst/>
                <a:cxnLst>
                  <a:cxn ang="0">
                    <a:pos x="0" y="0"/>
                  </a:cxn>
                  <a:cxn ang="0">
                    <a:pos x="1" y="0"/>
                  </a:cxn>
                  <a:cxn ang="0">
                    <a:pos x="3" y="2"/>
                  </a:cxn>
                  <a:cxn ang="0">
                    <a:pos x="3" y="3"/>
                  </a:cxn>
                  <a:cxn ang="0">
                    <a:pos x="3" y="3"/>
                  </a:cxn>
                  <a:cxn ang="0">
                    <a:pos x="0" y="3"/>
                  </a:cxn>
                  <a:cxn ang="0">
                    <a:pos x="0" y="2"/>
                  </a:cxn>
                  <a:cxn ang="0">
                    <a:pos x="0" y="0"/>
                  </a:cxn>
                </a:cxnLst>
                <a:rect l="0" t="0" r="r" b="b"/>
                <a:pathLst>
                  <a:path w="3" h="3">
                    <a:moveTo>
                      <a:pt x="0" y="0"/>
                    </a:moveTo>
                    <a:lnTo>
                      <a:pt x="1" y="0"/>
                    </a:lnTo>
                    <a:lnTo>
                      <a:pt x="3" y="2"/>
                    </a:lnTo>
                    <a:lnTo>
                      <a:pt x="3" y="3"/>
                    </a:lnTo>
                    <a:lnTo>
                      <a:pt x="3" y="3"/>
                    </a:lnTo>
                    <a:lnTo>
                      <a:pt x="0" y="3"/>
                    </a:lnTo>
                    <a:lnTo>
                      <a:pt x="0" y="2"/>
                    </a:lnTo>
                    <a:lnTo>
                      <a:pt x="0"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90" name="Freeform 1689"/>
              <p:cNvSpPr>
                <a:spLocks/>
              </p:cNvSpPr>
              <p:nvPr/>
            </p:nvSpPr>
            <p:spPr bwMode="auto">
              <a:xfrm>
                <a:off x="6609660" y="4059564"/>
                <a:ext cx="3511" cy="3042"/>
              </a:xfrm>
              <a:custGeom>
                <a:avLst/>
                <a:gdLst/>
                <a:ahLst/>
                <a:cxnLst>
                  <a:cxn ang="0">
                    <a:pos x="0" y="0"/>
                  </a:cxn>
                  <a:cxn ang="0">
                    <a:pos x="1" y="0"/>
                  </a:cxn>
                  <a:cxn ang="0">
                    <a:pos x="3" y="2"/>
                  </a:cxn>
                  <a:cxn ang="0">
                    <a:pos x="3" y="3"/>
                  </a:cxn>
                  <a:cxn ang="0">
                    <a:pos x="3" y="3"/>
                  </a:cxn>
                  <a:cxn ang="0">
                    <a:pos x="0" y="3"/>
                  </a:cxn>
                  <a:cxn ang="0">
                    <a:pos x="0" y="2"/>
                  </a:cxn>
                  <a:cxn ang="0">
                    <a:pos x="0" y="0"/>
                  </a:cxn>
                </a:cxnLst>
                <a:rect l="0" t="0" r="r" b="b"/>
                <a:pathLst>
                  <a:path w="3" h="3">
                    <a:moveTo>
                      <a:pt x="0" y="0"/>
                    </a:moveTo>
                    <a:lnTo>
                      <a:pt x="1" y="0"/>
                    </a:lnTo>
                    <a:lnTo>
                      <a:pt x="3" y="2"/>
                    </a:lnTo>
                    <a:lnTo>
                      <a:pt x="3" y="3"/>
                    </a:lnTo>
                    <a:lnTo>
                      <a:pt x="3" y="3"/>
                    </a:lnTo>
                    <a:lnTo>
                      <a:pt x="0" y="3"/>
                    </a:lnTo>
                    <a:lnTo>
                      <a:pt x="0" y="2"/>
                    </a:lnTo>
                    <a:lnTo>
                      <a:pt x="0"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91" name="Freeform 1690"/>
              <p:cNvSpPr>
                <a:spLocks/>
              </p:cNvSpPr>
              <p:nvPr/>
            </p:nvSpPr>
            <p:spPr bwMode="auto">
              <a:xfrm>
                <a:off x="6996770" y="2608340"/>
                <a:ext cx="100069" cy="84173"/>
              </a:xfrm>
              <a:custGeom>
                <a:avLst/>
                <a:gdLst/>
                <a:ahLst/>
                <a:cxnLst>
                  <a:cxn ang="0">
                    <a:pos x="12" y="74"/>
                  </a:cxn>
                  <a:cxn ang="0">
                    <a:pos x="19" y="71"/>
                  </a:cxn>
                  <a:cxn ang="0">
                    <a:pos x="24" y="69"/>
                  </a:cxn>
                  <a:cxn ang="0">
                    <a:pos x="29" y="72"/>
                  </a:cxn>
                  <a:cxn ang="0">
                    <a:pos x="29" y="69"/>
                  </a:cxn>
                  <a:cxn ang="0">
                    <a:pos x="32" y="64"/>
                  </a:cxn>
                  <a:cxn ang="0">
                    <a:pos x="37" y="64"/>
                  </a:cxn>
                  <a:cxn ang="0">
                    <a:pos x="41" y="65"/>
                  </a:cxn>
                  <a:cxn ang="0">
                    <a:pos x="41" y="61"/>
                  </a:cxn>
                  <a:cxn ang="0">
                    <a:pos x="47" y="51"/>
                  </a:cxn>
                  <a:cxn ang="0">
                    <a:pos x="50" y="49"/>
                  </a:cxn>
                  <a:cxn ang="0">
                    <a:pos x="57" y="52"/>
                  </a:cxn>
                  <a:cxn ang="0">
                    <a:pos x="56" y="58"/>
                  </a:cxn>
                  <a:cxn ang="0">
                    <a:pos x="60" y="58"/>
                  </a:cxn>
                  <a:cxn ang="0">
                    <a:pos x="60" y="61"/>
                  </a:cxn>
                  <a:cxn ang="0">
                    <a:pos x="60" y="67"/>
                  </a:cxn>
                  <a:cxn ang="0">
                    <a:pos x="58" y="72"/>
                  </a:cxn>
                  <a:cxn ang="0">
                    <a:pos x="63" y="81"/>
                  </a:cxn>
                  <a:cxn ang="0">
                    <a:pos x="77" y="75"/>
                  </a:cxn>
                  <a:cxn ang="0">
                    <a:pos x="80" y="71"/>
                  </a:cxn>
                  <a:cxn ang="0">
                    <a:pos x="85" y="68"/>
                  </a:cxn>
                  <a:cxn ang="0">
                    <a:pos x="89" y="67"/>
                  </a:cxn>
                  <a:cxn ang="0">
                    <a:pos x="92" y="71"/>
                  </a:cxn>
                  <a:cxn ang="0">
                    <a:pos x="95" y="69"/>
                  </a:cxn>
                  <a:cxn ang="0">
                    <a:pos x="104" y="68"/>
                  </a:cxn>
                  <a:cxn ang="0">
                    <a:pos x="108" y="69"/>
                  </a:cxn>
                  <a:cxn ang="0">
                    <a:pos x="108" y="71"/>
                  </a:cxn>
                  <a:cxn ang="0">
                    <a:pos x="106" y="55"/>
                  </a:cxn>
                  <a:cxn ang="0">
                    <a:pos x="101" y="48"/>
                  </a:cxn>
                  <a:cxn ang="0">
                    <a:pos x="90" y="37"/>
                  </a:cxn>
                  <a:cxn ang="0">
                    <a:pos x="88" y="32"/>
                  </a:cxn>
                  <a:cxn ang="0">
                    <a:pos x="79" y="32"/>
                  </a:cxn>
                  <a:cxn ang="0">
                    <a:pos x="69" y="33"/>
                  </a:cxn>
                  <a:cxn ang="0">
                    <a:pos x="61" y="29"/>
                  </a:cxn>
                  <a:cxn ang="0">
                    <a:pos x="48" y="30"/>
                  </a:cxn>
                  <a:cxn ang="0">
                    <a:pos x="37" y="29"/>
                  </a:cxn>
                  <a:cxn ang="0">
                    <a:pos x="29" y="29"/>
                  </a:cxn>
                  <a:cxn ang="0">
                    <a:pos x="34" y="17"/>
                  </a:cxn>
                  <a:cxn ang="0">
                    <a:pos x="48" y="20"/>
                  </a:cxn>
                  <a:cxn ang="0">
                    <a:pos x="51" y="14"/>
                  </a:cxn>
                  <a:cxn ang="0">
                    <a:pos x="47" y="16"/>
                  </a:cxn>
                  <a:cxn ang="0">
                    <a:pos x="48" y="8"/>
                  </a:cxn>
                  <a:cxn ang="0">
                    <a:pos x="47" y="3"/>
                  </a:cxn>
                  <a:cxn ang="0">
                    <a:pos x="44" y="1"/>
                  </a:cxn>
                  <a:cxn ang="0">
                    <a:pos x="32" y="7"/>
                  </a:cxn>
                  <a:cxn ang="0">
                    <a:pos x="29" y="10"/>
                  </a:cxn>
                  <a:cxn ang="0">
                    <a:pos x="29" y="14"/>
                  </a:cxn>
                  <a:cxn ang="0">
                    <a:pos x="22" y="19"/>
                  </a:cxn>
                  <a:cxn ang="0">
                    <a:pos x="18" y="27"/>
                  </a:cxn>
                  <a:cxn ang="0">
                    <a:pos x="8" y="26"/>
                  </a:cxn>
                  <a:cxn ang="0">
                    <a:pos x="3" y="32"/>
                  </a:cxn>
                  <a:cxn ang="0">
                    <a:pos x="5" y="37"/>
                  </a:cxn>
                  <a:cxn ang="0">
                    <a:pos x="12" y="39"/>
                  </a:cxn>
                  <a:cxn ang="0">
                    <a:pos x="12" y="49"/>
                  </a:cxn>
                  <a:cxn ang="0">
                    <a:pos x="15" y="53"/>
                  </a:cxn>
                  <a:cxn ang="0">
                    <a:pos x="12" y="58"/>
                  </a:cxn>
                  <a:cxn ang="0">
                    <a:pos x="6" y="69"/>
                  </a:cxn>
                </a:cxnLst>
                <a:rect l="0" t="0" r="r" b="b"/>
                <a:pathLst>
                  <a:path w="109" h="81">
                    <a:moveTo>
                      <a:pt x="6" y="69"/>
                    </a:moveTo>
                    <a:lnTo>
                      <a:pt x="11" y="75"/>
                    </a:lnTo>
                    <a:lnTo>
                      <a:pt x="12" y="74"/>
                    </a:lnTo>
                    <a:lnTo>
                      <a:pt x="15" y="74"/>
                    </a:lnTo>
                    <a:lnTo>
                      <a:pt x="15" y="74"/>
                    </a:lnTo>
                    <a:lnTo>
                      <a:pt x="19" y="71"/>
                    </a:lnTo>
                    <a:lnTo>
                      <a:pt x="21" y="71"/>
                    </a:lnTo>
                    <a:lnTo>
                      <a:pt x="22" y="71"/>
                    </a:lnTo>
                    <a:lnTo>
                      <a:pt x="24" y="69"/>
                    </a:lnTo>
                    <a:lnTo>
                      <a:pt x="24" y="69"/>
                    </a:lnTo>
                    <a:lnTo>
                      <a:pt x="25" y="71"/>
                    </a:lnTo>
                    <a:lnTo>
                      <a:pt x="29" y="72"/>
                    </a:lnTo>
                    <a:lnTo>
                      <a:pt x="29" y="72"/>
                    </a:lnTo>
                    <a:lnTo>
                      <a:pt x="29" y="71"/>
                    </a:lnTo>
                    <a:lnTo>
                      <a:pt x="29" y="69"/>
                    </a:lnTo>
                    <a:lnTo>
                      <a:pt x="29" y="69"/>
                    </a:lnTo>
                    <a:lnTo>
                      <a:pt x="29" y="67"/>
                    </a:lnTo>
                    <a:lnTo>
                      <a:pt x="32" y="64"/>
                    </a:lnTo>
                    <a:lnTo>
                      <a:pt x="32" y="64"/>
                    </a:lnTo>
                    <a:lnTo>
                      <a:pt x="34" y="65"/>
                    </a:lnTo>
                    <a:lnTo>
                      <a:pt x="37" y="64"/>
                    </a:lnTo>
                    <a:lnTo>
                      <a:pt x="38" y="65"/>
                    </a:lnTo>
                    <a:lnTo>
                      <a:pt x="40" y="65"/>
                    </a:lnTo>
                    <a:lnTo>
                      <a:pt x="41" y="65"/>
                    </a:lnTo>
                    <a:lnTo>
                      <a:pt x="43" y="64"/>
                    </a:lnTo>
                    <a:lnTo>
                      <a:pt x="43" y="62"/>
                    </a:lnTo>
                    <a:lnTo>
                      <a:pt x="41" y="61"/>
                    </a:lnTo>
                    <a:lnTo>
                      <a:pt x="41" y="59"/>
                    </a:lnTo>
                    <a:lnTo>
                      <a:pt x="47" y="52"/>
                    </a:lnTo>
                    <a:lnTo>
                      <a:pt x="47" y="51"/>
                    </a:lnTo>
                    <a:lnTo>
                      <a:pt x="48" y="49"/>
                    </a:lnTo>
                    <a:lnTo>
                      <a:pt x="48" y="49"/>
                    </a:lnTo>
                    <a:lnTo>
                      <a:pt x="50" y="49"/>
                    </a:lnTo>
                    <a:lnTo>
                      <a:pt x="51" y="49"/>
                    </a:lnTo>
                    <a:lnTo>
                      <a:pt x="54" y="49"/>
                    </a:lnTo>
                    <a:lnTo>
                      <a:pt x="57" y="52"/>
                    </a:lnTo>
                    <a:lnTo>
                      <a:pt x="57" y="53"/>
                    </a:lnTo>
                    <a:lnTo>
                      <a:pt x="56" y="56"/>
                    </a:lnTo>
                    <a:lnTo>
                      <a:pt x="56" y="58"/>
                    </a:lnTo>
                    <a:lnTo>
                      <a:pt x="57" y="58"/>
                    </a:lnTo>
                    <a:lnTo>
                      <a:pt x="58" y="59"/>
                    </a:lnTo>
                    <a:lnTo>
                      <a:pt x="60" y="58"/>
                    </a:lnTo>
                    <a:lnTo>
                      <a:pt x="60" y="59"/>
                    </a:lnTo>
                    <a:lnTo>
                      <a:pt x="61" y="59"/>
                    </a:lnTo>
                    <a:lnTo>
                      <a:pt x="60" y="61"/>
                    </a:lnTo>
                    <a:lnTo>
                      <a:pt x="60" y="62"/>
                    </a:lnTo>
                    <a:lnTo>
                      <a:pt x="60" y="65"/>
                    </a:lnTo>
                    <a:lnTo>
                      <a:pt x="60" y="67"/>
                    </a:lnTo>
                    <a:lnTo>
                      <a:pt x="58" y="68"/>
                    </a:lnTo>
                    <a:lnTo>
                      <a:pt x="58" y="69"/>
                    </a:lnTo>
                    <a:lnTo>
                      <a:pt x="58" y="72"/>
                    </a:lnTo>
                    <a:lnTo>
                      <a:pt x="58" y="75"/>
                    </a:lnTo>
                    <a:lnTo>
                      <a:pt x="61" y="81"/>
                    </a:lnTo>
                    <a:lnTo>
                      <a:pt x="63" y="81"/>
                    </a:lnTo>
                    <a:lnTo>
                      <a:pt x="63" y="81"/>
                    </a:lnTo>
                    <a:lnTo>
                      <a:pt x="72" y="75"/>
                    </a:lnTo>
                    <a:lnTo>
                      <a:pt x="77" y="75"/>
                    </a:lnTo>
                    <a:lnTo>
                      <a:pt x="77" y="74"/>
                    </a:lnTo>
                    <a:lnTo>
                      <a:pt x="79" y="72"/>
                    </a:lnTo>
                    <a:lnTo>
                      <a:pt x="80" y="71"/>
                    </a:lnTo>
                    <a:lnTo>
                      <a:pt x="80" y="71"/>
                    </a:lnTo>
                    <a:lnTo>
                      <a:pt x="82" y="71"/>
                    </a:lnTo>
                    <a:lnTo>
                      <a:pt x="85" y="68"/>
                    </a:lnTo>
                    <a:lnTo>
                      <a:pt x="86" y="68"/>
                    </a:lnTo>
                    <a:lnTo>
                      <a:pt x="88" y="67"/>
                    </a:lnTo>
                    <a:lnTo>
                      <a:pt x="89" y="67"/>
                    </a:lnTo>
                    <a:lnTo>
                      <a:pt x="90" y="68"/>
                    </a:lnTo>
                    <a:lnTo>
                      <a:pt x="92" y="68"/>
                    </a:lnTo>
                    <a:lnTo>
                      <a:pt x="92" y="71"/>
                    </a:lnTo>
                    <a:lnTo>
                      <a:pt x="93" y="71"/>
                    </a:lnTo>
                    <a:lnTo>
                      <a:pt x="93" y="71"/>
                    </a:lnTo>
                    <a:lnTo>
                      <a:pt x="95" y="69"/>
                    </a:lnTo>
                    <a:lnTo>
                      <a:pt x="95" y="69"/>
                    </a:lnTo>
                    <a:lnTo>
                      <a:pt x="99" y="68"/>
                    </a:lnTo>
                    <a:lnTo>
                      <a:pt x="104" y="68"/>
                    </a:lnTo>
                    <a:lnTo>
                      <a:pt x="105" y="69"/>
                    </a:lnTo>
                    <a:lnTo>
                      <a:pt x="106" y="69"/>
                    </a:lnTo>
                    <a:lnTo>
                      <a:pt x="108" y="69"/>
                    </a:lnTo>
                    <a:lnTo>
                      <a:pt x="108" y="71"/>
                    </a:lnTo>
                    <a:lnTo>
                      <a:pt x="106" y="71"/>
                    </a:lnTo>
                    <a:lnTo>
                      <a:pt x="108" y="71"/>
                    </a:lnTo>
                    <a:lnTo>
                      <a:pt x="109" y="71"/>
                    </a:lnTo>
                    <a:lnTo>
                      <a:pt x="109" y="62"/>
                    </a:lnTo>
                    <a:lnTo>
                      <a:pt x="106" y="55"/>
                    </a:lnTo>
                    <a:lnTo>
                      <a:pt x="106" y="51"/>
                    </a:lnTo>
                    <a:lnTo>
                      <a:pt x="105" y="48"/>
                    </a:lnTo>
                    <a:lnTo>
                      <a:pt x="101" y="48"/>
                    </a:lnTo>
                    <a:lnTo>
                      <a:pt x="95" y="49"/>
                    </a:lnTo>
                    <a:lnTo>
                      <a:pt x="92" y="46"/>
                    </a:lnTo>
                    <a:lnTo>
                      <a:pt x="90" y="37"/>
                    </a:lnTo>
                    <a:lnTo>
                      <a:pt x="93" y="29"/>
                    </a:lnTo>
                    <a:lnTo>
                      <a:pt x="88" y="27"/>
                    </a:lnTo>
                    <a:lnTo>
                      <a:pt x="88" y="32"/>
                    </a:lnTo>
                    <a:lnTo>
                      <a:pt x="85" y="32"/>
                    </a:lnTo>
                    <a:lnTo>
                      <a:pt x="82" y="32"/>
                    </a:lnTo>
                    <a:lnTo>
                      <a:pt x="79" y="32"/>
                    </a:lnTo>
                    <a:lnTo>
                      <a:pt x="74" y="32"/>
                    </a:lnTo>
                    <a:lnTo>
                      <a:pt x="70" y="33"/>
                    </a:lnTo>
                    <a:lnTo>
                      <a:pt x="69" y="33"/>
                    </a:lnTo>
                    <a:lnTo>
                      <a:pt x="64" y="33"/>
                    </a:lnTo>
                    <a:lnTo>
                      <a:pt x="63" y="29"/>
                    </a:lnTo>
                    <a:lnTo>
                      <a:pt x="61" y="29"/>
                    </a:lnTo>
                    <a:lnTo>
                      <a:pt x="58" y="27"/>
                    </a:lnTo>
                    <a:lnTo>
                      <a:pt x="51" y="30"/>
                    </a:lnTo>
                    <a:lnTo>
                      <a:pt x="48" y="30"/>
                    </a:lnTo>
                    <a:lnTo>
                      <a:pt x="48" y="29"/>
                    </a:lnTo>
                    <a:lnTo>
                      <a:pt x="44" y="27"/>
                    </a:lnTo>
                    <a:lnTo>
                      <a:pt x="37" y="29"/>
                    </a:lnTo>
                    <a:lnTo>
                      <a:pt x="34" y="27"/>
                    </a:lnTo>
                    <a:lnTo>
                      <a:pt x="31" y="29"/>
                    </a:lnTo>
                    <a:lnTo>
                      <a:pt x="29" y="29"/>
                    </a:lnTo>
                    <a:lnTo>
                      <a:pt x="28" y="27"/>
                    </a:lnTo>
                    <a:lnTo>
                      <a:pt x="28" y="20"/>
                    </a:lnTo>
                    <a:lnTo>
                      <a:pt x="34" y="17"/>
                    </a:lnTo>
                    <a:lnTo>
                      <a:pt x="43" y="19"/>
                    </a:lnTo>
                    <a:lnTo>
                      <a:pt x="45" y="20"/>
                    </a:lnTo>
                    <a:lnTo>
                      <a:pt x="48" y="20"/>
                    </a:lnTo>
                    <a:lnTo>
                      <a:pt x="48" y="17"/>
                    </a:lnTo>
                    <a:lnTo>
                      <a:pt x="51" y="17"/>
                    </a:lnTo>
                    <a:lnTo>
                      <a:pt x="51" y="14"/>
                    </a:lnTo>
                    <a:lnTo>
                      <a:pt x="51" y="14"/>
                    </a:lnTo>
                    <a:lnTo>
                      <a:pt x="48" y="16"/>
                    </a:lnTo>
                    <a:lnTo>
                      <a:pt x="47" y="16"/>
                    </a:lnTo>
                    <a:lnTo>
                      <a:pt x="44" y="10"/>
                    </a:lnTo>
                    <a:lnTo>
                      <a:pt x="45" y="8"/>
                    </a:lnTo>
                    <a:lnTo>
                      <a:pt x="48" y="8"/>
                    </a:lnTo>
                    <a:lnTo>
                      <a:pt x="48" y="6"/>
                    </a:lnTo>
                    <a:lnTo>
                      <a:pt x="48" y="4"/>
                    </a:lnTo>
                    <a:lnTo>
                      <a:pt x="47" y="3"/>
                    </a:lnTo>
                    <a:lnTo>
                      <a:pt x="47" y="0"/>
                    </a:lnTo>
                    <a:lnTo>
                      <a:pt x="45" y="0"/>
                    </a:lnTo>
                    <a:lnTo>
                      <a:pt x="44" y="1"/>
                    </a:lnTo>
                    <a:lnTo>
                      <a:pt x="43" y="3"/>
                    </a:lnTo>
                    <a:lnTo>
                      <a:pt x="35" y="7"/>
                    </a:lnTo>
                    <a:lnTo>
                      <a:pt x="32" y="7"/>
                    </a:lnTo>
                    <a:lnTo>
                      <a:pt x="31" y="6"/>
                    </a:lnTo>
                    <a:lnTo>
                      <a:pt x="29" y="7"/>
                    </a:lnTo>
                    <a:lnTo>
                      <a:pt x="29" y="10"/>
                    </a:lnTo>
                    <a:lnTo>
                      <a:pt x="28" y="10"/>
                    </a:lnTo>
                    <a:lnTo>
                      <a:pt x="28" y="13"/>
                    </a:lnTo>
                    <a:lnTo>
                      <a:pt x="29" y="14"/>
                    </a:lnTo>
                    <a:lnTo>
                      <a:pt x="28" y="16"/>
                    </a:lnTo>
                    <a:lnTo>
                      <a:pt x="27" y="17"/>
                    </a:lnTo>
                    <a:lnTo>
                      <a:pt x="22" y="19"/>
                    </a:lnTo>
                    <a:lnTo>
                      <a:pt x="21" y="20"/>
                    </a:lnTo>
                    <a:lnTo>
                      <a:pt x="21" y="21"/>
                    </a:lnTo>
                    <a:lnTo>
                      <a:pt x="18" y="27"/>
                    </a:lnTo>
                    <a:lnTo>
                      <a:pt x="15" y="29"/>
                    </a:lnTo>
                    <a:lnTo>
                      <a:pt x="9" y="27"/>
                    </a:lnTo>
                    <a:lnTo>
                      <a:pt x="8" y="26"/>
                    </a:lnTo>
                    <a:lnTo>
                      <a:pt x="3" y="27"/>
                    </a:lnTo>
                    <a:lnTo>
                      <a:pt x="2" y="29"/>
                    </a:lnTo>
                    <a:lnTo>
                      <a:pt x="3" y="32"/>
                    </a:lnTo>
                    <a:lnTo>
                      <a:pt x="0" y="33"/>
                    </a:lnTo>
                    <a:lnTo>
                      <a:pt x="5" y="36"/>
                    </a:lnTo>
                    <a:lnTo>
                      <a:pt x="5" y="37"/>
                    </a:lnTo>
                    <a:lnTo>
                      <a:pt x="8" y="37"/>
                    </a:lnTo>
                    <a:lnTo>
                      <a:pt x="9" y="37"/>
                    </a:lnTo>
                    <a:lnTo>
                      <a:pt x="12" y="39"/>
                    </a:lnTo>
                    <a:lnTo>
                      <a:pt x="12" y="40"/>
                    </a:lnTo>
                    <a:lnTo>
                      <a:pt x="11" y="45"/>
                    </a:lnTo>
                    <a:lnTo>
                      <a:pt x="12" y="49"/>
                    </a:lnTo>
                    <a:lnTo>
                      <a:pt x="13" y="51"/>
                    </a:lnTo>
                    <a:lnTo>
                      <a:pt x="15" y="52"/>
                    </a:lnTo>
                    <a:lnTo>
                      <a:pt x="15" y="53"/>
                    </a:lnTo>
                    <a:lnTo>
                      <a:pt x="15" y="55"/>
                    </a:lnTo>
                    <a:lnTo>
                      <a:pt x="13" y="56"/>
                    </a:lnTo>
                    <a:lnTo>
                      <a:pt x="12" y="58"/>
                    </a:lnTo>
                    <a:lnTo>
                      <a:pt x="6" y="67"/>
                    </a:lnTo>
                    <a:lnTo>
                      <a:pt x="8" y="69"/>
                    </a:lnTo>
                    <a:lnTo>
                      <a:pt x="6" y="69"/>
                    </a:lnTo>
                    <a:lnTo>
                      <a:pt x="6" y="69"/>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92" name="Freeform 1691"/>
              <p:cNvSpPr>
                <a:spLocks/>
              </p:cNvSpPr>
              <p:nvPr/>
            </p:nvSpPr>
            <p:spPr bwMode="auto">
              <a:xfrm>
                <a:off x="6996770" y="2608340"/>
                <a:ext cx="100069" cy="84173"/>
              </a:xfrm>
              <a:custGeom>
                <a:avLst/>
                <a:gdLst/>
                <a:ahLst/>
                <a:cxnLst>
                  <a:cxn ang="0">
                    <a:pos x="12" y="74"/>
                  </a:cxn>
                  <a:cxn ang="0">
                    <a:pos x="19" y="71"/>
                  </a:cxn>
                  <a:cxn ang="0">
                    <a:pos x="24" y="69"/>
                  </a:cxn>
                  <a:cxn ang="0">
                    <a:pos x="29" y="72"/>
                  </a:cxn>
                  <a:cxn ang="0">
                    <a:pos x="29" y="69"/>
                  </a:cxn>
                  <a:cxn ang="0">
                    <a:pos x="32" y="64"/>
                  </a:cxn>
                  <a:cxn ang="0">
                    <a:pos x="37" y="64"/>
                  </a:cxn>
                  <a:cxn ang="0">
                    <a:pos x="41" y="65"/>
                  </a:cxn>
                  <a:cxn ang="0">
                    <a:pos x="41" y="61"/>
                  </a:cxn>
                  <a:cxn ang="0">
                    <a:pos x="47" y="51"/>
                  </a:cxn>
                  <a:cxn ang="0">
                    <a:pos x="50" y="49"/>
                  </a:cxn>
                  <a:cxn ang="0">
                    <a:pos x="57" y="52"/>
                  </a:cxn>
                  <a:cxn ang="0">
                    <a:pos x="56" y="58"/>
                  </a:cxn>
                  <a:cxn ang="0">
                    <a:pos x="60" y="58"/>
                  </a:cxn>
                  <a:cxn ang="0">
                    <a:pos x="60" y="61"/>
                  </a:cxn>
                  <a:cxn ang="0">
                    <a:pos x="60" y="67"/>
                  </a:cxn>
                  <a:cxn ang="0">
                    <a:pos x="58" y="72"/>
                  </a:cxn>
                  <a:cxn ang="0">
                    <a:pos x="63" y="81"/>
                  </a:cxn>
                  <a:cxn ang="0">
                    <a:pos x="77" y="75"/>
                  </a:cxn>
                  <a:cxn ang="0">
                    <a:pos x="80" y="71"/>
                  </a:cxn>
                  <a:cxn ang="0">
                    <a:pos x="85" y="68"/>
                  </a:cxn>
                  <a:cxn ang="0">
                    <a:pos x="89" y="67"/>
                  </a:cxn>
                  <a:cxn ang="0">
                    <a:pos x="92" y="71"/>
                  </a:cxn>
                  <a:cxn ang="0">
                    <a:pos x="95" y="69"/>
                  </a:cxn>
                  <a:cxn ang="0">
                    <a:pos x="104" y="68"/>
                  </a:cxn>
                  <a:cxn ang="0">
                    <a:pos x="108" y="69"/>
                  </a:cxn>
                  <a:cxn ang="0">
                    <a:pos x="108" y="71"/>
                  </a:cxn>
                  <a:cxn ang="0">
                    <a:pos x="106" y="55"/>
                  </a:cxn>
                  <a:cxn ang="0">
                    <a:pos x="101" y="48"/>
                  </a:cxn>
                  <a:cxn ang="0">
                    <a:pos x="90" y="37"/>
                  </a:cxn>
                  <a:cxn ang="0">
                    <a:pos x="88" y="32"/>
                  </a:cxn>
                  <a:cxn ang="0">
                    <a:pos x="79" y="32"/>
                  </a:cxn>
                  <a:cxn ang="0">
                    <a:pos x="69" y="33"/>
                  </a:cxn>
                  <a:cxn ang="0">
                    <a:pos x="61" y="29"/>
                  </a:cxn>
                  <a:cxn ang="0">
                    <a:pos x="48" y="30"/>
                  </a:cxn>
                  <a:cxn ang="0">
                    <a:pos x="37" y="29"/>
                  </a:cxn>
                  <a:cxn ang="0">
                    <a:pos x="29" y="29"/>
                  </a:cxn>
                  <a:cxn ang="0">
                    <a:pos x="34" y="17"/>
                  </a:cxn>
                  <a:cxn ang="0">
                    <a:pos x="48" y="20"/>
                  </a:cxn>
                  <a:cxn ang="0">
                    <a:pos x="51" y="14"/>
                  </a:cxn>
                  <a:cxn ang="0">
                    <a:pos x="47" y="16"/>
                  </a:cxn>
                  <a:cxn ang="0">
                    <a:pos x="48" y="8"/>
                  </a:cxn>
                  <a:cxn ang="0">
                    <a:pos x="47" y="3"/>
                  </a:cxn>
                  <a:cxn ang="0">
                    <a:pos x="44" y="1"/>
                  </a:cxn>
                  <a:cxn ang="0">
                    <a:pos x="32" y="7"/>
                  </a:cxn>
                  <a:cxn ang="0">
                    <a:pos x="29" y="10"/>
                  </a:cxn>
                  <a:cxn ang="0">
                    <a:pos x="29" y="14"/>
                  </a:cxn>
                  <a:cxn ang="0">
                    <a:pos x="22" y="19"/>
                  </a:cxn>
                  <a:cxn ang="0">
                    <a:pos x="18" y="27"/>
                  </a:cxn>
                  <a:cxn ang="0">
                    <a:pos x="8" y="26"/>
                  </a:cxn>
                  <a:cxn ang="0">
                    <a:pos x="3" y="32"/>
                  </a:cxn>
                  <a:cxn ang="0">
                    <a:pos x="5" y="37"/>
                  </a:cxn>
                  <a:cxn ang="0">
                    <a:pos x="12" y="39"/>
                  </a:cxn>
                  <a:cxn ang="0">
                    <a:pos x="12" y="49"/>
                  </a:cxn>
                  <a:cxn ang="0">
                    <a:pos x="15" y="53"/>
                  </a:cxn>
                  <a:cxn ang="0">
                    <a:pos x="12" y="58"/>
                  </a:cxn>
                  <a:cxn ang="0">
                    <a:pos x="6" y="69"/>
                  </a:cxn>
                </a:cxnLst>
                <a:rect l="0" t="0" r="r" b="b"/>
                <a:pathLst>
                  <a:path w="109" h="81">
                    <a:moveTo>
                      <a:pt x="6" y="69"/>
                    </a:moveTo>
                    <a:lnTo>
                      <a:pt x="11" y="75"/>
                    </a:lnTo>
                    <a:lnTo>
                      <a:pt x="12" y="74"/>
                    </a:lnTo>
                    <a:lnTo>
                      <a:pt x="15" y="74"/>
                    </a:lnTo>
                    <a:lnTo>
                      <a:pt x="15" y="74"/>
                    </a:lnTo>
                    <a:lnTo>
                      <a:pt x="19" y="71"/>
                    </a:lnTo>
                    <a:lnTo>
                      <a:pt x="21" y="71"/>
                    </a:lnTo>
                    <a:lnTo>
                      <a:pt x="22" y="71"/>
                    </a:lnTo>
                    <a:lnTo>
                      <a:pt x="24" y="69"/>
                    </a:lnTo>
                    <a:lnTo>
                      <a:pt x="24" y="69"/>
                    </a:lnTo>
                    <a:lnTo>
                      <a:pt x="25" y="71"/>
                    </a:lnTo>
                    <a:lnTo>
                      <a:pt x="29" y="72"/>
                    </a:lnTo>
                    <a:lnTo>
                      <a:pt x="29" y="72"/>
                    </a:lnTo>
                    <a:lnTo>
                      <a:pt x="29" y="71"/>
                    </a:lnTo>
                    <a:lnTo>
                      <a:pt x="29" y="69"/>
                    </a:lnTo>
                    <a:lnTo>
                      <a:pt x="29" y="69"/>
                    </a:lnTo>
                    <a:lnTo>
                      <a:pt x="29" y="67"/>
                    </a:lnTo>
                    <a:lnTo>
                      <a:pt x="32" y="64"/>
                    </a:lnTo>
                    <a:lnTo>
                      <a:pt x="32" y="64"/>
                    </a:lnTo>
                    <a:lnTo>
                      <a:pt x="34" y="65"/>
                    </a:lnTo>
                    <a:lnTo>
                      <a:pt x="37" y="64"/>
                    </a:lnTo>
                    <a:lnTo>
                      <a:pt x="38" y="65"/>
                    </a:lnTo>
                    <a:lnTo>
                      <a:pt x="40" y="65"/>
                    </a:lnTo>
                    <a:lnTo>
                      <a:pt x="41" y="65"/>
                    </a:lnTo>
                    <a:lnTo>
                      <a:pt x="43" y="64"/>
                    </a:lnTo>
                    <a:lnTo>
                      <a:pt x="43" y="62"/>
                    </a:lnTo>
                    <a:lnTo>
                      <a:pt x="41" y="61"/>
                    </a:lnTo>
                    <a:lnTo>
                      <a:pt x="41" y="59"/>
                    </a:lnTo>
                    <a:lnTo>
                      <a:pt x="47" y="52"/>
                    </a:lnTo>
                    <a:lnTo>
                      <a:pt x="47" y="51"/>
                    </a:lnTo>
                    <a:lnTo>
                      <a:pt x="48" y="49"/>
                    </a:lnTo>
                    <a:lnTo>
                      <a:pt x="48" y="49"/>
                    </a:lnTo>
                    <a:lnTo>
                      <a:pt x="50" y="49"/>
                    </a:lnTo>
                    <a:lnTo>
                      <a:pt x="51" y="49"/>
                    </a:lnTo>
                    <a:lnTo>
                      <a:pt x="54" y="49"/>
                    </a:lnTo>
                    <a:lnTo>
                      <a:pt x="57" y="52"/>
                    </a:lnTo>
                    <a:lnTo>
                      <a:pt x="57" y="53"/>
                    </a:lnTo>
                    <a:lnTo>
                      <a:pt x="56" y="56"/>
                    </a:lnTo>
                    <a:lnTo>
                      <a:pt x="56" y="58"/>
                    </a:lnTo>
                    <a:lnTo>
                      <a:pt x="57" y="58"/>
                    </a:lnTo>
                    <a:lnTo>
                      <a:pt x="58" y="59"/>
                    </a:lnTo>
                    <a:lnTo>
                      <a:pt x="60" y="58"/>
                    </a:lnTo>
                    <a:lnTo>
                      <a:pt x="60" y="59"/>
                    </a:lnTo>
                    <a:lnTo>
                      <a:pt x="61" y="59"/>
                    </a:lnTo>
                    <a:lnTo>
                      <a:pt x="60" y="61"/>
                    </a:lnTo>
                    <a:lnTo>
                      <a:pt x="60" y="62"/>
                    </a:lnTo>
                    <a:lnTo>
                      <a:pt x="60" y="65"/>
                    </a:lnTo>
                    <a:lnTo>
                      <a:pt x="60" y="67"/>
                    </a:lnTo>
                    <a:lnTo>
                      <a:pt x="58" y="68"/>
                    </a:lnTo>
                    <a:lnTo>
                      <a:pt x="58" y="69"/>
                    </a:lnTo>
                    <a:lnTo>
                      <a:pt x="58" y="72"/>
                    </a:lnTo>
                    <a:lnTo>
                      <a:pt x="58" y="75"/>
                    </a:lnTo>
                    <a:lnTo>
                      <a:pt x="61" y="81"/>
                    </a:lnTo>
                    <a:lnTo>
                      <a:pt x="63" y="81"/>
                    </a:lnTo>
                    <a:lnTo>
                      <a:pt x="63" y="81"/>
                    </a:lnTo>
                    <a:lnTo>
                      <a:pt x="72" y="75"/>
                    </a:lnTo>
                    <a:lnTo>
                      <a:pt x="77" y="75"/>
                    </a:lnTo>
                    <a:lnTo>
                      <a:pt x="77" y="74"/>
                    </a:lnTo>
                    <a:lnTo>
                      <a:pt x="79" y="72"/>
                    </a:lnTo>
                    <a:lnTo>
                      <a:pt x="80" y="71"/>
                    </a:lnTo>
                    <a:lnTo>
                      <a:pt x="80" y="71"/>
                    </a:lnTo>
                    <a:lnTo>
                      <a:pt x="82" y="71"/>
                    </a:lnTo>
                    <a:lnTo>
                      <a:pt x="85" y="68"/>
                    </a:lnTo>
                    <a:lnTo>
                      <a:pt x="86" y="68"/>
                    </a:lnTo>
                    <a:lnTo>
                      <a:pt x="88" y="67"/>
                    </a:lnTo>
                    <a:lnTo>
                      <a:pt x="89" y="67"/>
                    </a:lnTo>
                    <a:lnTo>
                      <a:pt x="90" y="68"/>
                    </a:lnTo>
                    <a:lnTo>
                      <a:pt x="92" y="68"/>
                    </a:lnTo>
                    <a:lnTo>
                      <a:pt x="92" y="71"/>
                    </a:lnTo>
                    <a:lnTo>
                      <a:pt x="93" y="71"/>
                    </a:lnTo>
                    <a:lnTo>
                      <a:pt x="93" y="71"/>
                    </a:lnTo>
                    <a:lnTo>
                      <a:pt x="95" y="69"/>
                    </a:lnTo>
                    <a:lnTo>
                      <a:pt x="95" y="69"/>
                    </a:lnTo>
                    <a:lnTo>
                      <a:pt x="99" y="68"/>
                    </a:lnTo>
                    <a:lnTo>
                      <a:pt x="104" y="68"/>
                    </a:lnTo>
                    <a:lnTo>
                      <a:pt x="105" y="69"/>
                    </a:lnTo>
                    <a:lnTo>
                      <a:pt x="106" y="69"/>
                    </a:lnTo>
                    <a:lnTo>
                      <a:pt x="108" y="69"/>
                    </a:lnTo>
                    <a:lnTo>
                      <a:pt x="108" y="71"/>
                    </a:lnTo>
                    <a:lnTo>
                      <a:pt x="106" y="71"/>
                    </a:lnTo>
                    <a:lnTo>
                      <a:pt x="108" y="71"/>
                    </a:lnTo>
                    <a:lnTo>
                      <a:pt x="109" y="71"/>
                    </a:lnTo>
                    <a:lnTo>
                      <a:pt x="109" y="62"/>
                    </a:lnTo>
                    <a:lnTo>
                      <a:pt x="106" y="55"/>
                    </a:lnTo>
                    <a:lnTo>
                      <a:pt x="106" y="51"/>
                    </a:lnTo>
                    <a:lnTo>
                      <a:pt x="105" y="48"/>
                    </a:lnTo>
                    <a:lnTo>
                      <a:pt x="101" y="48"/>
                    </a:lnTo>
                    <a:lnTo>
                      <a:pt x="95" y="49"/>
                    </a:lnTo>
                    <a:lnTo>
                      <a:pt x="92" y="46"/>
                    </a:lnTo>
                    <a:lnTo>
                      <a:pt x="90" y="37"/>
                    </a:lnTo>
                    <a:lnTo>
                      <a:pt x="93" y="29"/>
                    </a:lnTo>
                    <a:lnTo>
                      <a:pt x="88" y="27"/>
                    </a:lnTo>
                    <a:lnTo>
                      <a:pt x="88" y="32"/>
                    </a:lnTo>
                    <a:lnTo>
                      <a:pt x="85" y="32"/>
                    </a:lnTo>
                    <a:lnTo>
                      <a:pt x="82" y="32"/>
                    </a:lnTo>
                    <a:lnTo>
                      <a:pt x="79" y="32"/>
                    </a:lnTo>
                    <a:lnTo>
                      <a:pt x="74" y="32"/>
                    </a:lnTo>
                    <a:lnTo>
                      <a:pt x="70" y="33"/>
                    </a:lnTo>
                    <a:lnTo>
                      <a:pt x="69" y="33"/>
                    </a:lnTo>
                    <a:lnTo>
                      <a:pt x="64" y="33"/>
                    </a:lnTo>
                    <a:lnTo>
                      <a:pt x="63" y="29"/>
                    </a:lnTo>
                    <a:lnTo>
                      <a:pt x="61" y="29"/>
                    </a:lnTo>
                    <a:lnTo>
                      <a:pt x="58" y="27"/>
                    </a:lnTo>
                    <a:lnTo>
                      <a:pt x="51" y="30"/>
                    </a:lnTo>
                    <a:lnTo>
                      <a:pt x="48" y="30"/>
                    </a:lnTo>
                    <a:lnTo>
                      <a:pt x="48" y="29"/>
                    </a:lnTo>
                    <a:lnTo>
                      <a:pt x="44" y="27"/>
                    </a:lnTo>
                    <a:lnTo>
                      <a:pt x="37" y="29"/>
                    </a:lnTo>
                    <a:lnTo>
                      <a:pt x="34" y="27"/>
                    </a:lnTo>
                    <a:lnTo>
                      <a:pt x="31" y="29"/>
                    </a:lnTo>
                    <a:lnTo>
                      <a:pt x="29" y="29"/>
                    </a:lnTo>
                    <a:lnTo>
                      <a:pt x="28" y="27"/>
                    </a:lnTo>
                    <a:lnTo>
                      <a:pt x="28" y="20"/>
                    </a:lnTo>
                    <a:lnTo>
                      <a:pt x="34" y="17"/>
                    </a:lnTo>
                    <a:lnTo>
                      <a:pt x="43" y="19"/>
                    </a:lnTo>
                    <a:lnTo>
                      <a:pt x="45" y="20"/>
                    </a:lnTo>
                    <a:lnTo>
                      <a:pt x="48" y="20"/>
                    </a:lnTo>
                    <a:lnTo>
                      <a:pt x="48" y="17"/>
                    </a:lnTo>
                    <a:lnTo>
                      <a:pt x="51" y="17"/>
                    </a:lnTo>
                    <a:lnTo>
                      <a:pt x="51" y="14"/>
                    </a:lnTo>
                    <a:lnTo>
                      <a:pt x="51" y="14"/>
                    </a:lnTo>
                    <a:lnTo>
                      <a:pt x="48" y="16"/>
                    </a:lnTo>
                    <a:lnTo>
                      <a:pt x="47" y="16"/>
                    </a:lnTo>
                    <a:lnTo>
                      <a:pt x="44" y="10"/>
                    </a:lnTo>
                    <a:lnTo>
                      <a:pt x="45" y="8"/>
                    </a:lnTo>
                    <a:lnTo>
                      <a:pt x="48" y="8"/>
                    </a:lnTo>
                    <a:lnTo>
                      <a:pt x="48" y="6"/>
                    </a:lnTo>
                    <a:lnTo>
                      <a:pt x="48" y="4"/>
                    </a:lnTo>
                    <a:lnTo>
                      <a:pt x="47" y="3"/>
                    </a:lnTo>
                    <a:lnTo>
                      <a:pt x="47" y="0"/>
                    </a:lnTo>
                    <a:lnTo>
                      <a:pt x="45" y="0"/>
                    </a:lnTo>
                    <a:lnTo>
                      <a:pt x="44" y="1"/>
                    </a:lnTo>
                    <a:lnTo>
                      <a:pt x="43" y="3"/>
                    </a:lnTo>
                    <a:lnTo>
                      <a:pt x="35" y="7"/>
                    </a:lnTo>
                    <a:lnTo>
                      <a:pt x="32" y="7"/>
                    </a:lnTo>
                    <a:lnTo>
                      <a:pt x="31" y="6"/>
                    </a:lnTo>
                    <a:lnTo>
                      <a:pt x="29" y="7"/>
                    </a:lnTo>
                    <a:lnTo>
                      <a:pt x="29" y="10"/>
                    </a:lnTo>
                    <a:lnTo>
                      <a:pt x="28" y="10"/>
                    </a:lnTo>
                    <a:lnTo>
                      <a:pt x="28" y="13"/>
                    </a:lnTo>
                    <a:lnTo>
                      <a:pt x="29" y="14"/>
                    </a:lnTo>
                    <a:lnTo>
                      <a:pt x="28" y="16"/>
                    </a:lnTo>
                    <a:lnTo>
                      <a:pt x="27" y="17"/>
                    </a:lnTo>
                    <a:lnTo>
                      <a:pt x="22" y="19"/>
                    </a:lnTo>
                    <a:lnTo>
                      <a:pt x="21" y="20"/>
                    </a:lnTo>
                    <a:lnTo>
                      <a:pt x="21" y="21"/>
                    </a:lnTo>
                    <a:lnTo>
                      <a:pt x="18" y="27"/>
                    </a:lnTo>
                    <a:lnTo>
                      <a:pt x="15" y="29"/>
                    </a:lnTo>
                    <a:lnTo>
                      <a:pt x="9" y="27"/>
                    </a:lnTo>
                    <a:lnTo>
                      <a:pt x="8" y="26"/>
                    </a:lnTo>
                    <a:lnTo>
                      <a:pt x="3" y="27"/>
                    </a:lnTo>
                    <a:lnTo>
                      <a:pt x="2" y="29"/>
                    </a:lnTo>
                    <a:lnTo>
                      <a:pt x="3" y="32"/>
                    </a:lnTo>
                    <a:lnTo>
                      <a:pt x="0" y="33"/>
                    </a:lnTo>
                    <a:lnTo>
                      <a:pt x="5" y="36"/>
                    </a:lnTo>
                    <a:lnTo>
                      <a:pt x="5" y="37"/>
                    </a:lnTo>
                    <a:lnTo>
                      <a:pt x="8" y="37"/>
                    </a:lnTo>
                    <a:lnTo>
                      <a:pt x="9" y="37"/>
                    </a:lnTo>
                    <a:lnTo>
                      <a:pt x="12" y="39"/>
                    </a:lnTo>
                    <a:lnTo>
                      <a:pt x="12" y="40"/>
                    </a:lnTo>
                    <a:lnTo>
                      <a:pt x="11" y="45"/>
                    </a:lnTo>
                    <a:lnTo>
                      <a:pt x="12" y="49"/>
                    </a:lnTo>
                    <a:lnTo>
                      <a:pt x="13" y="51"/>
                    </a:lnTo>
                    <a:lnTo>
                      <a:pt x="15" y="52"/>
                    </a:lnTo>
                    <a:lnTo>
                      <a:pt x="15" y="53"/>
                    </a:lnTo>
                    <a:lnTo>
                      <a:pt x="15" y="55"/>
                    </a:lnTo>
                    <a:lnTo>
                      <a:pt x="13" y="56"/>
                    </a:lnTo>
                    <a:lnTo>
                      <a:pt x="12" y="58"/>
                    </a:lnTo>
                    <a:lnTo>
                      <a:pt x="6" y="67"/>
                    </a:lnTo>
                    <a:lnTo>
                      <a:pt x="8" y="69"/>
                    </a:lnTo>
                    <a:lnTo>
                      <a:pt x="6" y="69"/>
                    </a:lnTo>
                    <a:lnTo>
                      <a:pt x="6" y="69"/>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93" name="Freeform 1692"/>
              <p:cNvSpPr>
                <a:spLocks/>
              </p:cNvSpPr>
              <p:nvPr/>
            </p:nvSpPr>
            <p:spPr bwMode="auto">
              <a:xfrm>
                <a:off x="7264499" y="2369005"/>
                <a:ext cx="413444" cy="230208"/>
              </a:xfrm>
              <a:custGeom>
                <a:avLst/>
                <a:gdLst/>
                <a:ahLst/>
                <a:cxnLst>
                  <a:cxn ang="0">
                    <a:pos x="8" y="61"/>
                  </a:cxn>
                  <a:cxn ang="0">
                    <a:pos x="63" y="35"/>
                  </a:cxn>
                  <a:cxn ang="0">
                    <a:pos x="86" y="39"/>
                  </a:cxn>
                  <a:cxn ang="0">
                    <a:pos x="105" y="50"/>
                  </a:cxn>
                  <a:cxn ang="0">
                    <a:pos x="141" y="48"/>
                  </a:cxn>
                  <a:cxn ang="0">
                    <a:pos x="144" y="38"/>
                  </a:cxn>
                  <a:cxn ang="0">
                    <a:pos x="144" y="26"/>
                  </a:cxn>
                  <a:cxn ang="0">
                    <a:pos x="159" y="2"/>
                  </a:cxn>
                  <a:cxn ang="0">
                    <a:pos x="172" y="4"/>
                  </a:cxn>
                  <a:cxn ang="0">
                    <a:pos x="201" y="16"/>
                  </a:cxn>
                  <a:cxn ang="0">
                    <a:pos x="205" y="32"/>
                  </a:cxn>
                  <a:cxn ang="0">
                    <a:pos x="231" y="42"/>
                  </a:cxn>
                  <a:cxn ang="0">
                    <a:pos x="267" y="44"/>
                  </a:cxn>
                  <a:cxn ang="0">
                    <a:pos x="286" y="52"/>
                  </a:cxn>
                  <a:cxn ang="0">
                    <a:pos x="323" y="65"/>
                  </a:cxn>
                  <a:cxn ang="0">
                    <a:pos x="373" y="47"/>
                  </a:cxn>
                  <a:cxn ang="0">
                    <a:pos x="391" y="51"/>
                  </a:cxn>
                  <a:cxn ang="0">
                    <a:pos x="404" y="50"/>
                  </a:cxn>
                  <a:cxn ang="0">
                    <a:pos x="405" y="51"/>
                  </a:cxn>
                  <a:cxn ang="0">
                    <a:pos x="395" y="80"/>
                  </a:cxn>
                  <a:cxn ang="0">
                    <a:pos x="397" y="100"/>
                  </a:cxn>
                  <a:cxn ang="0">
                    <a:pos x="433" y="92"/>
                  </a:cxn>
                  <a:cxn ang="0">
                    <a:pos x="446" y="108"/>
                  </a:cxn>
                  <a:cxn ang="0">
                    <a:pos x="450" y="119"/>
                  </a:cxn>
                  <a:cxn ang="0">
                    <a:pos x="413" y="122"/>
                  </a:cxn>
                  <a:cxn ang="0">
                    <a:pos x="384" y="144"/>
                  </a:cxn>
                  <a:cxn ang="0">
                    <a:pos x="356" y="158"/>
                  </a:cxn>
                  <a:cxn ang="0">
                    <a:pos x="343" y="156"/>
                  </a:cxn>
                  <a:cxn ang="0">
                    <a:pos x="343" y="176"/>
                  </a:cxn>
                  <a:cxn ang="0">
                    <a:pos x="325" y="196"/>
                  </a:cxn>
                  <a:cxn ang="0">
                    <a:pos x="301" y="206"/>
                  </a:cxn>
                  <a:cxn ang="0">
                    <a:pos x="282" y="205"/>
                  </a:cxn>
                  <a:cxn ang="0">
                    <a:pos x="249" y="217"/>
                  </a:cxn>
                  <a:cxn ang="0">
                    <a:pos x="238" y="220"/>
                  </a:cxn>
                  <a:cxn ang="0">
                    <a:pos x="195" y="201"/>
                  </a:cxn>
                  <a:cxn ang="0">
                    <a:pos x="128" y="198"/>
                  </a:cxn>
                  <a:cxn ang="0">
                    <a:pos x="73" y="154"/>
                  </a:cxn>
                  <a:cxn ang="0">
                    <a:pos x="41" y="148"/>
                  </a:cxn>
                  <a:cxn ang="0">
                    <a:pos x="39" y="112"/>
                  </a:cxn>
                  <a:cxn ang="0">
                    <a:pos x="23" y="95"/>
                  </a:cxn>
                  <a:cxn ang="0">
                    <a:pos x="13" y="93"/>
                  </a:cxn>
                  <a:cxn ang="0">
                    <a:pos x="0" y="73"/>
                  </a:cxn>
                </a:cxnLst>
                <a:rect l="0" t="0" r="r" b="b"/>
                <a:pathLst>
                  <a:path w="450" h="221">
                    <a:moveTo>
                      <a:pt x="0" y="71"/>
                    </a:moveTo>
                    <a:lnTo>
                      <a:pt x="3" y="65"/>
                    </a:lnTo>
                    <a:lnTo>
                      <a:pt x="8" y="61"/>
                    </a:lnTo>
                    <a:lnTo>
                      <a:pt x="16" y="58"/>
                    </a:lnTo>
                    <a:lnTo>
                      <a:pt x="39" y="42"/>
                    </a:lnTo>
                    <a:lnTo>
                      <a:pt x="63" y="35"/>
                    </a:lnTo>
                    <a:lnTo>
                      <a:pt x="73" y="38"/>
                    </a:lnTo>
                    <a:lnTo>
                      <a:pt x="76" y="41"/>
                    </a:lnTo>
                    <a:lnTo>
                      <a:pt x="86" y="39"/>
                    </a:lnTo>
                    <a:lnTo>
                      <a:pt x="92" y="39"/>
                    </a:lnTo>
                    <a:lnTo>
                      <a:pt x="100" y="50"/>
                    </a:lnTo>
                    <a:lnTo>
                      <a:pt x="105" y="50"/>
                    </a:lnTo>
                    <a:lnTo>
                      <a:pt x="116" y="48"/>
                    </a:lnTo>
                    <a:lnTo>
                      <a:pt x="121" y="50"/>
                    </a:lnTo>
                    <a:lnTo>
                      <a:pt x="141" y="48"/>
                    </a:lnTo>
                    <a:lnTo>
                      <a:pt x="144" y="48"/>
                    </a:lnTo>
                    <a:lnTo>
                      <a:pt x="143" y="42"/>
                    </a:lnTo>
                    <a:lnTo>
                      <a:pt x="144" y="38"/>
                    </a:lnTo>
                    <a:lnTo>
                      <a:pt x="147" y="34"/>
                    </a:lnTo>
                    <a:lnTo>
                      <a:pt x="147" y="31"/>
                    </a:lnTo>
                    <a:lnTo>
                      <a:pt x="144" y="26"/>
                    </a:lnTo>
                    <a:lnTo>
                      <a:pt x="143" y="22"/>
                    </a:lnTo>
                    <a:lnTo>
                      <a:pt x="143" y="18"/>
                    </a:lnTo>
                    <a:lnTo>
                      <a:pt x="159" y="2"/>
                    </a:lnTo>
                    <a:lnTo>
                      <a:pt x="161" y="0"/>
                    </a:lnTo>
                    <a:lnTo>
                      <a:pt x="167" y="2"/>
                    </a:lnTo>
                    <a:lnTo>
                      <a:pt x="172" y="4"/>
                    </a:lnTo>
                    <a:lnTo>
                      <a:pt x="180" y="7"/>
                    </a:lnTo>
                    <a:lnTo>
                      <a:pt x="183" y="12"/>
                    </a:lnTo>
                    <a:lnTo>
                      <a:pt x="201" y="16"/>
                    </a:lnTo>
                    <a:lnTo>
                      <a:pt x="202" y="20"/>
                    </a:lnTo>
                    <a:lnTo>
                      <a:pt x="204" y="32"/>
                    </a:lnTo>
                    <a:lnTo>
                      <a:pt x="205" y="32"/>
                    </a:lnTo>
                    <a:lnTo>
                      <a:pt x="215" y="41"/>
                    </a:lnTo>
                    <a:lnTo>
                      <a:pt x="224" y="44"/>
                    </a:lnTo>
                    <a:lnTo>
                      <a:pt x="231" y="42"/>
                    </a:lnTo>
                    <a:lnTo>
                      <a:pt x="246" y="35"/>
                    </a:lnTo>
                    <a:lnTo>
                      <a:pt x="265" y="41"/>
                    </a:lnTo>
                    <a:lnTo>
                      <a:pt x="267" y="44"/>
                    </a:lnTo>
                    <a:lnTo>
                      <a:pt x="269" y="44"/>
                    </a:lnTo>
                    <a:lnTo>
                      <a:pt x="275" y="50"/>
                    </a:lnTo>
                    <a:lnTo>
                      <a:pt x="286" y="52"/>
                    </a:lnTo>
                    <a:lnTo>
                      <a:pt x="289" y="58"/>
                    </a:lnTo>
                    <a:lnTo>
                      <a:pt x="296" y="63"/>
                    </a:lnTo>
                    <a:lnTo>
                      <a:pt x="323" y="65"/>
                    </a:lnTo>
                    <a:lnTo>
                      <a:pt x="327" y="67"/>
                    </a:lnTo>
                    <a:lnTo>
                      <a:pt x="357" y="58"/>
                    </a:lnTo>
                    <a:lnTo>
                      <a:pt x="373" y="47"/>
                    </a:lnTo>
                    <a:lnTo>
                      <a:pt x="379" y="45"/>
                    </a:lnTo>
                    <a:lnTo>
                      <a:pt x="386" y="48"/>
                    </a:lnTo>
                    <a:lnTo>
                      <a:pt x="391" y="51"/>
                    </a:lnTo>
                    <a:lnTo>
                      <a:pt x="397" y="52"/>
                    </a:lnTo>
                    <a:lnTo>
                      <a:pt x="401" y="51"/>
                    </a:lnTo>
                    <a:lnTo>
                      <a:pt x="404" y="50"/>
                    </a:lnTo>
                    <a:lnTo>
                      <a:pt x="405" y="50"/>
                    </a:lnTo>
                    <a:lnTo>
                      <a:pt x="405" y="50"/>
                    </a:lnTo>
                    <a:lnTo>
                      <a:pt x="405" y="51"/>
                    </a:lnTo>
                    <a:lnTo>
                      <a:pt x="404" y="54"/>
                    </a:lnTo>
                    <a:lnTo>
                      <a:pt x="395" y="67"/>
                    </a:lnTo>
                    <a:lnTo>
                      <a:pt x="395" y="80"/>
                    </a:lnTo>
                    <a:lnTo>
                      <a:pt x="394" y="84"/>
                    </a:lnTo>
                    <a:lnTo>
                      <a:pt x="394" y="96"/>
                    </a:lnTo>
                    <a:lnTo>
                      <a:pt x="397" y="100"/>
                    </a:lnTo>
                    <a:lnTo>
                      <a:pt x="407" y="102"/>
                    </a:lnTo>
                    <a:lnTo>
                      <a:pt x="420" y="100"/>
                    </a:lnTo>
                    <a:lnTo>
                      <a:pt x="433" y="92"/>
                    </a:lnTo>
                    <a:lnTo>
                      <a:pt x="437" y="99"/>
                    </a:lnTo>
                    <a:lnTo>
                      <a:pt x="445" y="105"/>
                    </a:lnTo>
                    <a:lnTo>
                      <a:pt x="446" y="108"/>
                    </a:lnTo>
                    <a:lnTo>
                      <a:pt x="446" y="113"/>
                    </a:lnTo>
                    <a:lnTo>
                      <a:pt x="449" y="116"/>
                    </a:lnTo>
                    <a:lnTo>
                      <a:pt x="450" y="119"/>
                    </a:lnTo>
                    <a:lnTo>
                      <a:pt x="447" y="121"/>
                    </a:lnTo>
                    <a:lnTo>
                      <a:pt x="437" y="119"/>
                    </a:lnTo>
                    <a:lnTo>
                      <a:pt x="413" y="122"/>
                    </a:lnTo>
                    <a:lnTo>
                      <a:pt x="395" y="140"/>
                    </a:lnTo>
                    <a:lnTo>
                      <a:pt x="389" y="144"/>
                    </a:lnTo>
                    <a:lnTo>
                      <a:pt x="384" y="144"/>
                    </a:lnTo>
                    <a:lnTo>
                      <a:pt x="373" y="154"/>
                    </a:lnTo>
                    <a:lnTo>
                      <a:pt x="366" y="158"/>
                    </a:lnTo>
                    <a:lnTo>
                      <a:pt x="356" y="158"/>
                    </a:lnTo>
                    <a:lnTo>
                      <a:pt x="353" y="154"/>
                    </a:lnTo>
                    <a:lnTo>
                      <a:pt x="349" y="153"/>
                    </a:lnTo>
                    <a:lnTo>
                      <a:pt x="343" y="156"/>
                    </a:lnTo>
                    <a:lnTo>
                      <a:pt x="337" y="164"/>
                    </a:lnTo>
                    <a:lnTo>
                      <a:pt x="337" y="169"/>
                    </a:lnTo>
                    <a:lnTo>
                      <a:pt x="343" y="176"/>
                    </a:lnTo>
                    <a:lnTo>
                      <a:pt x="343" y="179"/>
                    </a:lnTo>
                    <a:lnTo>
                      <a:pt x="328" y="192"/>
                    </a:lnTo>
                    <a:lnTo>
                      <a:pt x="325" y="196"/>
                    </a:lnTo>
                    <a:lnTo>
                      <a:pt x="310" y="205"/>
                    </a:lnTo>
                    <a:lnTo>
                      <a:pt x="302" y="205"/>
                    </a:lnTo>
                    <a:lnTo>
                      <a:pt x="301" y="206"/>
                    </a:lnTo>
                    <a:lnTo>
                      <a:pt x="294" y="204"/>
                    </a:lnTo>
                    <a:lnTo>
                      <a:pt x="289" y="205"/>
                    </a:lnTo>
                    <a:lnTo>
                      <a:pt x="282" y="205"/>
                    </a:lnTo>
                    <a:lnTo>
                      <a:pt x="265" y="209"/>
                    </a:lnTo>
                    <a:lnTo>
                      <a:pt x="263" y="212"/>
                    </a:lnTo>
                    <a:lnTo>
                      <a:pt x="249" y="217"/>
                    </a:lnTo>
                    <a:lnTo>
                      <a:pt x="244" y="221"/>
                    </a:lnTo>
                    <a:lnTo>
                      <a:pt x="241" y="221"/>
                    </a:lnTo>
                    <a:lnTo>
                      <a:pt x="238" y="220"/>
                    </a:lnTo>
                    <a:lnTo>
                      <a:pt x="235" y="218"/>
                    </a:lnTo>
                    <a:lnTo>
                      <a:pt x="202" y="206"/>
                    </a:lnTo>
                    <a:lnTo>
                      <a:pt x="195" y="201"/>
                    </a:lnTo>
                    <a:lnTo>
                      <a:pt x="179" y="196"/>
                    </a:lnTo>
                    <a:lnTo>
                      <a:pt x="131" y="199"/>
                    </a:lnTo>
                    <a:lnTo>
                      <a:pt x="128" y="198"/>
                    </a:lnTo>
                    <a:lnTo>
                      <a:pt x="106" y="167"/>
                    </a:lnTo>
                    <a:lnTo>
                      <a:pt x="103" y="167"/>
                    </a:lnTo>
                    <a:lnTo>
                      <a:pt x="73" y="154"/>
                    </a:lnTo>
                    <a:lnTo>
                      <a:pt x="66" y="156"/>
                    </a:lnTo>
                    <a:lnTo>
                      <a:pt x="42" y="150"/>
                    </a:lnTo>
                    <a:lnTo>
                      <a:pt x="41" y="148"/>
                    </a:lnTo>
                    <a:lnTo>
                      <a:pt x="41" y="144"/>
                    </a:lnTo>
                    <a:lnTo>
                      <a:pt x="42" y="140"/>
                    </a:lnTo>
                    <a:lnTo>
                      <a:pt x="39" y="112"/>
                    </a:lnTo>
                    <a:lnTo>
                      <a:pt x="32" y="97"/>
                    </a:lnTo>
                    <a:lnTo>
                      <a:pt x="28" y="96"/>
                    </a:lnTo>
                    <a:lnTo>
                      <a:pt x="23" y="95"/>
                    </a:lnTo>
                    <a:lnTo>
                      <a:pt x="19" y="93"/>
                    </a:lnTo>
                    <a:lnTo>
                      <a:pt x="18" y="96"/>
                    </a:lnTo>
                    <a:lnTo>
                      <a:pt x="13" y="93"/>
                    </a:lnTo>
                    <a:lnTo>
                      <a:pt x="12" y="89"/>
                    </a:lnTo>
                    <a:lnTo>
                      <a:pt x="3" y="81"/>
                    </a:lnTo>
                    <a:lnTo>
                      <a:pt x="0" y="73"/>
                    </a:lnTo>
                    <a:lnTo>
                      <a:pt x="0" y="71"/>
                    </a:lnTo>
                    <a:lnTo>
                      <a:pt x="0" y="7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94" name="Freeform 1693"/>
              <p:cNvSpPr>
                <a:spLocks/>
              </p:cNvSpPr>
              <p:nvPr/>
            </p:nvSpPr>
            <p:spPr bwMode="auto">
              <a:xfrm>
                <a:off x="7264499" y="2369005"/>
                <a:ext cx="413444" cy="230208"/>
              </a:xfrm>
              <a:custGeom>
                <a:avLst/>
                <a:gdLst/>
                <a:ahLst/>
                <a:cxnLst>
                  <a:cxn ang="0">
                    <a:pos x="8" y="61"/>
                  </a:cxn>
                  <a:cxn ang="0">
                    <a:pos x="63" y="35"/>
                  </a:cxn>
                  <a:cxn ang="0">
                    <a:pos x="86" y="39"/>
                  </a:cxn>
                  <a:cxn ang="0">
                    <a:pos x="105" y="50"/>
                  </a:cxn>
                  <a:cxn ang="0">
                    <a:pos x="141" y="48"/>
                  </a:cxn>
                  <a:cxn ang="0">
                    <a:pos x="144" y="38"/>
                  </a:cxn>
                  <a:cxn ang="0">
                    <a:pos x="144" y="26"/>
                  </a:cxn>
                  <a:cxn ang="0">
                    <a:pos x="159" y="2"/>
                  </a:cxn>
                  <a:cxn ang="0">
                    <a:pos x="172" y="4"/>
                  </a:cxn>
                  <a:cxn ang="0">
                    <a:pos x="201" y="16"/>
                  </a:cxn>
                  <a:cxn ang="0">
                    <a:pos x="205" y="32"/>
                  </a:cxn>
                  <a:cxn ang="0">
                    <a:pos x="231" y="42"/>
                  </a:cxn>
                  <a:cxn ang="0">
                    <a:pos x="267" y="44"/>
                  </a:cxn>
                  <a:cxn ang="0">
                    <a:pos x="286" y="52"/>
                  </a:cxn>
                  <a:cxn ang="0">
                    <a:pos x="323" y="65"/>
                  </a:cxn>
                  <a:cxn ang="0">
                    <a:pos x="373" y="47"/>
                  </a:cxn>
                  <a:cxn ang="0">
                    <a:pos x="391" y="51"/>
                  </a:cxn>
                  <a:cxn ang="0">
                    <a:pos x="404" y="50"/>
                  </a:cxn>
                  <a:cxn ang="0">
                    <a:pos x="405" y="51"/>
                  </a:cxn>
                  <a:cxn ang="0">
                    <a:pos x="395" y="80"/>
                  </a:cxn>
                  <a:cxn ang="0">
                    <a:pos x="397" y="100"/>
                  </a:cxn>
                  <a:cxn ang="0">
                    <a:pos x="433" y="92"/>
                  </a:cxn>
                  <a:cxn ang="0">
                    <a:pos x="446" y="108"/>
                  </a:cxn>
                  <a:cxn ang="0">
                    <a:pos x="450" y="119"/>
                  </a:cxn>
                  <a:cxn ang="0">
                    <a:pos x="413" y="122"/>
                  </a:cxn>
                  <a:cxn ang="0">
                    <a:pos x="384" y="144"/>
                  </a:cxn>
                  <a:cxn ang="0">
                    <a:pos x="356" y="158"/>
                  </a:cxn>
                  <a:cxn ang="0">
                    <a:pos x="343" y="156"/>
                  </a:cxn>
                  <a:cxn ang="0">
                    <a:pos x="343" y="176"/>
                  </a:cxn>
                  <a:cxn ang="0">
                    <a:pos x="325" y="196"/>
                  </a:cxn>
                  <a:cxn ang="0">
                    <a:pos x="301" y="206"/>
                  </a:cxn>
                  <a:cxn ang="0">
                    <a:pos x="282" y="205"/>
                  </a:cxn>
                  <a:cxn ang="0">
                    <a:pos x="249" y="217"/>
                  </a:cxn>
                  <a:cxn ang="0">
                    <a:pos x="238" y="220"/>
                  </a:cxn>
                  <a:cxn ang="0">
                    <a:pos x="195" y="201"/>
                  </a:cxn>
                  <a:cxn ang="0">
                    <a:pos x="128" y="198"/>
                  </a:cxn>
                  <a:cxn ang="0">
                    <a:pos x="73" y="154"/>
                  </a:cxn>
                  <a:cxn ang="0">
                    <a:pos x="41" y="148"/>
                  </a:cxn>
                  <a:cxn ang="0">
                    <a:pos x="39" y="112"/>
                  </a:cxn>
                  <a:cxn ang="0">
                    <a:pos x="23" y="95"/>
                  </a:cxn>
                  <a:cxn ang="0">
                    <a:pos x="13" y="93"/>
                  </a:cxn>
                  <a:cxn ang="0">
                    <a:pos x="0" y="73"/>
                  </a:cxn>
                </a:cxnLst>
                <a:rect l="0" t="0" r="r" b="b"/>
                <a:pathLst>
                  <a:path w="450" h="221">
                    <a:moveTo>
                      <a:pt x="0" y="71"/>
                    </a:moveTo>
                    <a:lnTo>
                      <a:pt x="3" y="65"/>
                    </a:lnTo>
                    <a:lnTo>
                      <a:pt x="8" y="61"/>
                    </a:lnTo>
                    <a:lnTo>
                      <a:pt x="16" y="58"/>
                    </a:lnTo>
                    <a:lnTo>
                      <a:pt x="39" y="42"/>
                    </a:lnTo>
                    <a:lnTo>
                      <a:pt x="63" y="35"/>
                    </a:lnTo>
                    <a:lnTo>
                      <a:pt x="73" y="38"/>
                    </a:lnTo>
                    <a:lnTo>
                      <a:pt x="76" y="41"/>
                    </a:lnTo>
                    <a:lnTo>
                      <a:pt x="86" y="39"/>
                    </a:lnTo>
                    <a:lnTo>
                      <a:pt x="92" y="39"/>
                    </a:lnTo>
                    <a:lnTo>
                      <a:pt x="100" y="50"/>
                    </a:lnTo>
                    <a:lnTo>
                      <a:pt x="105" y="50"/>
                    </a:lnTo>
                    <a:lnTo>
                      <a:pt x="116" y="48"/>
                    </a:lnTo>
                    <a:lnTo>
                      <a:pt x="121" y="50"/>
                    </a:lnTo>
                    <a:lnTo>
                      <a:pt x="141" y="48"/>
                    </a:lnTo>
                    <a:lnTo>
                      <a:pt x="144" y="48"/>
                    </a:lnTo>
                    <a:lnTo>
                      <a:pt x="143" y="42"/>
                    </a:lnTo>
                    <a:lnTo>
                      <a:pt x="144" y="38"/>
                    </a:lnTo>
                    <a:lnTo>
                      <a:pt x="147" y="34"/>
                    </a:lnTo>
                    <a:lnTo>
                      <a:pt x="147" y="31"/>
                    </a:lnTo>
                    <a:lnTo>
                      <a:pt x="144" y="26"/>
                    </a:lnTo>
                    <a:lnTo>
                      <a:pt x="143" y="22"/>
                    </a:lnTo>
                    <a:lnTo>
                      <a:pt x="143" y="18"/>
                    </a:lnTo>
                    <a:lnTo>
                      <a:pt x="159" y="2"/>
                    </a:lnTo>
                    <a:lnTo>
                      <a:pt x="161" y="0"/>
                    </a:lnTo>
                    <a:lnTo>
                      <a:pt x="167" y="2"/>
                    </a:lnTo>
                    <a:lnTo>
                      <a:pt x="172" y="4"/>
                    </a:lnTo>
                    <a:lnTo>
                      <a:pt x="180" y="7"/>
                    </a:lnTo>
                    <a:lnTo>
                      <a:pt x="183" y="12"/>
                    </a:lnTo>
                    <a:lnTo>
                      <a:pt x="201" y="16"/>
                    </a:lnTo>
                    <a:lnTo>
                      <a:pt x="202" y="20"/>
                    </a:lnTo>
                    <a:lnTo>
                      <a:pt x="204" y="32"/>
                    </a:lnTo>
                    <a:lnTo>
                      <a:pt x="205" y="32"/>
                    </a:lnTo>
                    <a:lnTo>
                      <a:pt x="215" y="41"/>
                    </a:lnTo>
                    <a:lnTo>
                      <a:pt x="224" y="44"/>
                    </a:lnTo>
                    <a:lnTo>
                      <a:pt x="231" y="42"/>
                    </a:lnTo>
                    <a:lnTo>
                      <a:pt x="246" y="35"/>
                    </a:lnTo>
                    <a:lnTo>
                      <a:pt x="265" y="41"/>
                    </a:lnTo>
                    <a:lnTo>
                      <a:pt x="267" y="44"/>
                    </a:lnTo>
                    <a:lnTo>
                      <a:pt x="269" y="44"/>
                    </a:lnTo>
                    <a:lnTo>
                      <a:pt x="275" y="50"/>
                    </a:lnTo>
                    <a:lnTo>
                      <a:pt x="286" y="52"/>
                    </a:lnTo>
                    <a:lnTo>
                      <a:pt x="289" y="58"/>
                    </a:lnTo>
                    <a:lnTo>
                      <a:pt x="296" y="63"/>
                    </a:lnTo>
                    <a:lnTo>
                      <a:pt x="323" y="65"/>
                    </a:lnTo>
                    <a:lnTo>
                      <a:pt x="327" y="67"/>
                    </a:lnTo>
                    <a:lnTo>
                      <a:pt x="357" y="58"/>
                    </a:lnTo>
                    <a:lnTo>
                      <a:pt x="373" y="47"/>
                    </a:lnTo>
                    <a:lnTo>
                      <a:pt x="379" y="45"/>
                    </a:lnTo>
                    <a:lnTo>
                      <a:pt x="386" y="48"/>
                    </a:lnTo>
                    <a:lnTo>
                      <a:pt x="391" y="51"/>
                    </a:lnTo>
                    <a:lnTo>
                      <a:pt x="397" y="52"/>
                    </a:lnTo>
                    <a:lnTo>
                      <a:pt x="401" y="51"/>
                    </a:lnTo>
                    <a:lnTo>
                      <a:pt x="404" y="50"/>
                    </a:lnTo>
                    <a:lnTo>
                      <a:pt x="405" y="50"/>
                    </a:lnTo>
                    <a:lnTo>
                      <a:pt x="405" y="50"/>
                    </a:lnTo>
                    <a:lnTo>
                      <a:pt x="405" y="51"/>
                    </a:lnTo>
                    <a:lnTo>
                      <a:pt x="404" y="54"/>
                    </a:lnTo>
                    <a:lnTo>
                      <a:pt x="395" y="67"/>
                    </a:lnTo>
                    <a:lnTo>
                      <a:pt x="395" y="80"/>
                    </a:lnTo>
                    <a:lnTo>
                      <a:pt x="394" y="84"/>
                    </a:lnTo>
                    <a:lnTo>
                      <a:pt x="394" y="96"/>
                    </a:lnTo>
                    <a:lnTo>
                      <a:pt x="397" y="100"/>
                    </a:lnTo>
                    <a:lnTo>
                      <a:pt x="407" y="102"/>
                    </a:lnTo>
                    <a:lnTo>
                      <a:pt x="420" y="100"/>
                    </a:lnTo>
                    <a:lnTo>
                      <a:pt x="433" y="92"/>
                    </a:lnTo>
                    <a:lnTo>
                      <a:pt x="437" y="99"/>
                    </a:lnTo>
                    <a:lnTo>
                      <a:pt x="445" y="105"/>
                    </a:lnTo>
                    <a:lnTo>
                      <a:pt x="446" y="108"/>
                    </a:lnTo>
                    <a:lnTo>
                      <a:pt x="446" y="113"/>
                    </a:lnTo>
                    <a:lnTo>
                      <a:pt x="449" y="116"/>
                    </a:lnTo>
                    <a:lnTo>
                      <a:pt x="450" y="119"/>
                    </a:lnTo>
                    <a:lnTo>
                      <a:pt x="447" y="121"/>
                    </a:lnTo>
                    <a:lnTo>
                      <a:pt x="437" y="119"/>
                    </a:lnTo>
                    <a:lnTo>
                      <a:pt x="413" y="122"/>
                    </a:lnTo>
                    <a:lnTo>
                      <a:pt x="395" y="140"/>
                    </a:lnTo>
                    <a:lnTo>
                      <a:pt x="389" y="144"/>
                    </a:lnTo>
                    <a:lnTo>
                      <a:pt x="384" y="144"/>
                    </a:lnTo>
                    <a:lnTo>
                      <a:pt x="373" y="154"/>
                    </a:lnTo>
                    <a:lnTo>
                      <a:pt x="366" y="158"/>
                    </a:lnTo>
                    <a:lnTo>
                      <a:pt x="356" y="158"/>
                    </a:lnTo>
                    <a:lnTo>
                      <a:pt x="353" y="154"/>
                    </a:lnTo>
                    <a:lnTo>
                      <a:pt x="349" y="153"/>
                    </a:lnTo>
                    <a:lnTo>
                      <a:pt x="343" y="156"/>
                    </a:lnTo>
                    <a:lnTo>
                      <a:pt x="337" y="164"/>
                    </a:lnTo>
                    <a:lnTo>
                      <a:pt x="337" y="169"/>
                    </a:lnTo>
                    <a:lnTo>
                      <a:pt x="343" y="176"/>
                    </a:lnTo>
                    <a:lnTo>
                      <a:pt x="343" y="179"/>
                    </a:lnTo>
                    <a:lnTo>
                      <a:pt x="328" y="192"/>
                    </a:lnTo>
                    <a:lnTo>
                      <a:pt x="325" y="196"/>
                    </a:lnTo>
                    <a:lnTo>
                      <a:pt x="310" y="205"/>
                    </a:lnTo>
                    <a:lnTo>
                      <a:pt x="302" y="205"/>
                    </a:lnTo>
                    <a:lnTo>
                      <a:pt x="301" y="206"/>
                    </a:lnTo>
                    <a:lnTo>
                      <a:pt x="294" y="204"/>
                    </a:lnTo>
                    <a:lnTo>
                      <a:pt x="289" y="205"/>
                    </a:lnTo>
                    <a:lnTo>
                      <a:pt x="282" y="205"/>
                    </a:lnTo>
                    <a:lnTo>
                      <a:pt x="265" y="209"/>
                    </a:lnTo>
                    <a:lnTo>
                      <a:pt x="263" y="212"/>
                    </a:lnTo>
                    <a:lnTo>
                      <a:pt x="249" y="217"/>
                    </a:lnTo>
                    <a:lnTo>
                      <a:pt x="244" y="221"/>
                    </a:lnTo>
                    <a:lnTo>
                      <a:pt x="241" y="221"/>
                    </a:lnTo>
                    <a:lnTo>
                      <a:pt x="238" y="220"/>
                    </a:lnTo>
                    <a:lnTo>
                      <a:pt x="235" y="218"/>
                    </a:lnTo>
                    <a:lnTo>
                      <a:pt x="202" y="206"/>
                    </a:lnTo>
                    <a:lnTo>
                      <a:pt x="195" y="201"/>
                    </a:lnTo>
                    <a:lnTo>
                      <a:pt x="179" y="196"/>
                    </a:lnTo>
                    <a:lnTo>
                      <a:pt x="131" y="199"/>
                    </a:lnTo>
                    <a:lnTo>
                      <a:pt x="128" y="198"/>
                    </a:lnTo>
                    <a:lnTo>
                      <a:pt x="106" y="167"/>
                    </a:lnTo>
                    <a:lnTo>
                      <a:pt x="103" y="167"/>
                    </a:lnTo>
                    <a:lnTo>
                      <a:pt x="73" y="154"/>
                    </a:lnTo>
                    <a:lnTo>
                      <a:pt x="66" y="156"/>
                    </a:lnTo>
                    <a:lnTo>
                      <a:pt x="42" y="150"/>
                    </a:lnTo>
                    <a:lnTo>
                      <a:pt x="41" y="148"/>
                    </a:lnTo>
                    <a:lnTo>
                      <a:pt x="41" y="144"/>
                    </a:lnTo>
                    <a:lnTo>
                      <a:pt x="42" y="140"/>
                    </a:lnTo>
                    <a:lnTo>
                      <a:pt x="39" y="112"/>
                    </a:lnTo>
                    <a:lnTo>
                      <a:pt x="32" y="97"/>
                    </a:lnTo>
                    <a:lnTo>
                      <a:pt x="28" y="96"/>
                    </a:lnTo>
                    <a:lnTo>
                      <a:pt x="23" y="95"/>
                    </a:lnTo>
                    <a:lnTo>
                      <a:pt x="19" y="93"/>
                    </a:lnTo>
                    <a:lnTo>
                      <a:pt x="18" y="96"/>
                    </a:lnTo>
                    <a:lnTo>
                      <a:pt x="13" y="93"/>
                    </a:lnTo>
                    <a:lnTo>
                      <a:pt x="12" y="89"/>
                    </a:lnTo>
                    <a:lnTo>
                      <a:pt x="3" y="81"/>
                    </a:lnTo>
                    <a:lnTo>
                      <a:pt x="0" y="73"/>
                    </a:lnTo>
                    <a:lnTo>
                      <a:pt x="0" y="71"/>
                    </a:lnTo>
                    <a:lnTo>
                      <a:pt x="0" y="7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95" name="Freeform 1694"/>
              <p:cNvSpPr>
                <a:spLocks/>
              </p:cNvSpPr>
              <p:nvPr/>
            </p:nvSpPr>
            <p:spPr bwMode="auto">
              <a:xfrm>
                <a:off x="7426014" y="3176254"/>
                <a:ext cx="53546" cy="78088"/>
              </a:xfrm>
              <a:custGeom>
                <a:avLst/>
                <a:gdLst/>
                <a:ahLst/>
                <a:cxnLst>
                  <a:cxn ang="0">
                    <a:pos x="1" y="4"/>
                  </a:cxn>
                  <a:cxn ang="0">
                    <a:pos x="1" y="4"/>
                  </a:cxn>
                  <a:cxn ang="0">
                    <a:pos x="4" y="26"/>
                  </a:cxn>
                  <a:cxn ang="0">
                    <a:pos x="7" y="27"/>
                  </a:cxn>
                  <a:cxn ang="0">
                    <a:pos x="7" y="33"/>
                  </a:cxn>
                  <a:cxn ang="0">
                    <a:pos x="9" y="36"/>
                  </a:cxn>
                  <a:cxn ang="0">
                    <a:pos x="9" y="39"/>
                  </a:cxn>
                  <a:cxn ang="0">
                    <a:pos x="17" y="50"/>
                  </a:cxn>
                  <a:cxn ang="0">
                    <a:pos x="17" y="53"/>
                  </a:cxn>
                  <a:cxn ang="0">
                    <a:pos x="46" y="74"/>
                  </a:cxn>
                  <a:cxn ang="0">
                    <a:pos x="46" y="74"/>
                  </a:cxn>
                  <a:cxn ang="0">
                    <a:pos x="48" y="75"/>
                  </a:cxn>
                  <a:cxn ang="0">
                    <a:pos x="49" y="74"/>
                  </a:cxn>
                  <a:cxn ang="0">
                    <a:pos x="49" y="72"/>
                  </a:cxn>
                  <a:cxn ang="0">
                    <a:pos x="51" y="72"/>
                  </a:cxn>
                  <a:cxn ang="0">
                    <a:pos x="55" y="72"/>
                  </a:cxn>
                  <a:cxn ang="0">
                    <a:pos x="57" y="75"/>
                  </a:cxn>
                  <a:cxn ang="0">
                    <a:pos x="58" y="72"/>
                  </a:cxn>
                  <a:cxn ang="0">
                    <a:pos x="58" y="68"/>
                  </a:cxn>
                  <a:cxn ang="0">
                    <a:pos x="54" y="58"/>
                  </a:cxn>
                  <a:cxn ang="0">
                    <a:pos x="49" y="55"/>
                  </a:cxn>
                  <a:cxn ang="0">
                    <a:pos x="46" y="24"/>
                  </a:cxn>
                  <a:cxn ang="0">
                    <a:pos x="41" y="16"/>
                  </a:cxn>
                  <a:cxn ang="0">
                    <a:pos x="32" y="7"/>
                  </a:cxn>
                  <a:cxn ang="0">
                    <a:pos x="29" y="7"/>
                  </a:cxn>
                  <a:cxn ang="0">
                    <a:pos x="26" y="10"/>
                  </a:cxn>
                  <a:cxn ang="0">
                    <a:pos x="25" y="11"/>
                  </a:cxn>
                  <a:cxn ang="0">
                    <a:pos x="22" y="10"/>
                  </a:cxn>
                  <a:cxn ang="0">
                    <a:pos x="14" y="14"/>
                  </a:cxn>
                  <a:cxn ang="0">
                    <a:pos x="14" y="11"/>
                  </a:cxn>
                  <a:cxn ang="0">
                    <a:pos x="14" y="7"/>
                  </a:cxn>
                  <a:cxn ang="0">
                    <a:pos x="12" y="4"/>
                  </a:cxn>
                  <a:cxn ang="0">
                    <a:pos x="6" y="3"/>
                  </a:cxn>
                  <a:cxn ang="0">
                    <a:pos x="3" y="0"/>
                  </a:cxn>
                  <a:cxn ang="0">
                    <a:pos x="0" y="0"/>
                  </a:cxn>
                  <a:cxn ang="0">
                    <a:pos x="1" y="4"/>
                  </a:cxn>
                </a:cxnLst>
                <a:rect l="0" t="0" r="r" b="b"/>
                <a:pathLst>
                  <a:path w="58" h="75">
                    <a:moveTo>
                      <a:pt x="1" y="4"/>
                    </a:moveTo>
                    <a:lnTo>
                      <a:pt x="1" y="4"/>
                    </a:lnTo>
                    <a:lnTo>
                      <a:pt x="4" y="26"/>
                    </a:lnTo>
                    <a:lnTo>
                      <a:pt x="7" y="27"/>
                    </a:lnTo>
                    <a:lnTo>
                      <a:pt x="7" y="33"/>
                    </a:lnTo>
                    <a:lnTo>
                      <a:pt x="9" y="36"/>
                    </a:lnTo>
                    <a:lnTo>
                      <a:pt x="9" y="39"/>
                    </a:lnTo>
                    <a:lnTo>
                      <a:pt x="17" y="50"/>
                    </a:lnTo>
                    <a:lnTo>
                      <a:pt x="17" y="53"/>
                    </a:lnTo>
                    <a:lnTo>
                      <a:pt x="46" y="74"/>
                    </a:lnTo>
                    <a:lnTo>
                      <a:pt x="46" y="74"/>
                    </a:lnTo>
                    <a:lnTo>
                      <a:pt x="48" y="75"/>
                    </a:lnTo>
                    <a:lnTo>
                      <a:pt x="49" y="74"/>
                    </a:lnTo>
                    <a:lnTo>
                      <a:pt x="49" y="72"/>
                    </a:lnTo>
                    <a:lnTo>
                      <a:pt x="51" y="72"/>
                    </a:lnTo>
                    <a:lnTo>
                      <a:pt x="55" y="72"/>
                    </a:lnTo>
                    <a:lnTo>
                      <a:pt x="57" y="75"/>
                    </a:lnTo>
                    <a:lnTo>
                      <a:pt x="58" y="72"/>
                    </a:lnTo>
                    <a:lnTo>
                      <a:pt x="58" y="68"/>
                    </a:lnTo>
                    <a:lnTo>
                      <a:pt x="54" y="58"/>
                    </a:lnTo>
                    <a:lnTo>
                      <a:pt x="49" y="55"/>
                    </a:lnTo>
                    <a:lnTo>
                      <a:pt x="46" y="24"/>
                    </a:lnTo>
                    <a:lnTo>
                      <a:pt x="41" y="16"/>
                    </a:lnTo>
                    <a:lnTo>
                      <a:pt x="32" y="7"/>
                    </a:lnTo>
                    <a:lnTo>
                      <a:pt x="29" y="7"/>
                    </a:lnTo>
                    <a:lnTo>
                      <a:pt x="26" y="10"/>
                    </a:lnTo>
                    <a:lnTo>
                      <a:pt x="25" y="11"/>
                    </a:lnTo>
                    <a:lnTo>
                      <a:pt x="22" y="10"/>
                    </a:lnTo>
                    <a:lnTo>
                      <a:pt x="14" y="14"/>
                    </a:lnTo>
                    <a:lnTo>
                      <a:pt x="14" y="11"/>
                    </a:lnTo>
                    <a:lnTo>
                      <a:pt x="14" y="7"/>
                    </a:lnTo>
                    <a:lnTo>
                      <a:pt x="12" y="4"/>
                    </a:lnTo>
                    <a:lnTo>
                      <a:pt x="6" y="3"/>
                    </a:lnTo>
                    <a:lnTo>
                      <a:pt x="3" y="0"/>
                    </a:lnTo>
                    <a:lnTo>
                      <a:pt x="0" y="0"/>
                    </a:lnTo>
                    <a:lnTo>
                      <a:pt x="1" y="4"/>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96" name="Freeform 1695"/>
              <p:cNvSpPr>
                <a:spLocks/>
              </p:cNvSpPr>
              <p:nvPr/>
            </p:nvSpPr>
            <p:spPr bwMode="auto">
              <a:xfrm>
                <a:off x="6302430" y="2302072"/>
                <a:ext cx="130792" cy="137922"/>
              </a:xfrm>
              <a:custGeom>
                <a:avLst/>
                <a:gdLst/>
                <a:ahLst/>
                <a:cxnLst>
                  <a:cxn ang="0">
                    <a:pos x="137" y="90"/>
                  </a:cxn>
                  <a:cxn ang="0">
                    <a:pos x="139" y="96"/>
                  </a:cxn>
                  <a:cxn ang="0">
                    <a:pos x="140" y="103"/>
                  </a:cxn>
                  <a:cxn ang="0">
                    <a:pos x="121" y="125"/>
                  </a:cxn>
                  <a:cxn ang="0">
                    <a:pos x="121" y="132"/>
                  </a:cxn>
                  <a:cxn ang="0">
                    <a:pos x="116" y="131"/>
                  </a:cxn>
                  <a:cxn ang="0">
                    <a:pos x="101" y="125"/>
                  </a:cxn>
                  <a:cxn ang="0">
                    <a:pos x="94" y="127"/>
                  </a:cxn>
                  <a:cxn ang="0">
                    <a:pos x="87" y="129"/>
                  </a:cxn>
                  <a:cxn ang="0">
                    <a:pos x="82" y="129"/>
                  </a:cxn>
                  <a:cxn ang="0">
                    <a:pos x="71" y="125"/>
                  </a:cxn>
                  <a:cxn ang="0">
                    <a:pos x="58" y="114"/>
                  </a:cxn>
                  <a:cxn ang="0">
                    <a:pos x="53" y="114"/>
                  </a:cxn>
                  <a:cxn ang="0">
                    <a:pos x="50" y="106"/>
                  </a:cxn>
                  <a:cxn ang="0">
                    <a:pos x="39" y="106"/>
                  </a:cxn>
                  <a:cxn ang="0">
                    <a:pos x="37" y="109"/>
                  </a:cxn>
                  <a:cxn ang="0">
                    <a:pos x="30" y="103"/>
                  </a:cxn>
                  <a:cxn ang="0">
                    <a:pos x="31" y="100"/>
                  </a:cxn>
                  <a:cxn ang="0">
                    <a:pos x="29" y="99"/>
                  </a:cxn>
                  <a:cxn ang="0">
                    <a:pos x="18" y="95"/>
                  </a:cxn>
                  <a:cxn ang="0">
                    <a:pos x="14" y="92"/>
                  </a:cxn>
                  <a:cxn ang="0">
                    <a:pos x="8" y="95"/>
                  </a:cxn>
                  <a:cxn ang="0">
                    <a:pos x="11" y="82"/>
                  </a:cxn>
                  <a:cxn ang="0">
                    <a:pos x="4" y="52"/>
                  </a:cxn>
                  <a:cxn ang="0">
                    <a:pos x="0" y="47"/>
                  </a:cxn>
                  <a:cxn ang="0">
                    <a:pos x="2" y="34"/>
                  </a:cxn>
                  <a:cxn ang="0">
                    <a:pos x="4" y="29"/>
                  </a:cxn>
                  <a:cxn ang="0">
                    <a:pos x="5" y="25"/>
                  </a:cxn>
                  <a:cxn ang="0">
                    <a:pos x="4" y="22"/>
                  </a:cxn>
                  <a:cxn ang="0">
                    <a:pos x="7" y="22"/>
                  </a:cxn>
                  <a:cxn ang="0">
                    <a:pos x="26" y="13"/>
                  </a:cxn>
                  <a:cxn ang="0">
                    <a:pos x="45" y="2"/>
                  </a:cxn>
                  <a:cxn ang="0">
                    <a:pos x="65" y="2"/>
                  </a:cxn>
                  <a:cxn ang="0">
                    <a:pos x="66" y="6"/>
                  </a:cxn>
                  <a:cxn ang="0">
                    <a:pos x="65" y="13"/>
                  </a:cxn>
                  <a:cxn ang="0">
                    <a:pos x="66" y="13"/>
                  </a:cxn>
                  <a:cxn ang="0">
                    <a:pos x="69" y="12"/>
                  </a:cxn>
                  <a:cxn ang="0">
                    <a:pos x="78" y="9"/>
                  </a:cxn>
                  <a:cxn ang="0">
                    <a:pos x="123" y="10"/>
                  </a:cxn>
                  <a:cxn ang="0">
                    <a:pos x="139" y="51"/>
                  </a:cxn>
                  <a:cxn ang="0">
                    <a:pos x="132" y="57"/>
                  </a:cxn>
                  <a:cxn ang="0">
                    <a:pos x="130" y="64"/>
                  </a:cxn>
                  <a:cxn ang="0">
                    <a:pos x="133" y="77"/>
                  </a:cxn>
                </a:cxnLst>
                <a:rect l="0" t="0" r="r" b="b"/>
                <a:pathLst>
                  <a:path w="142" h="132">
                    <a:moveTo>
                      <a:pt x="133" y="77"/>
                    </a:moveTo>
                    <a:lnTo>
                      <a:pt x="137" y="90"/>
                    </a:lnTo>
                    <a:lnTo>
                      <a:pt x="140" y="93"/>
                    </a:lnTo>
                    <a:lnTo>
                      <a:pt x="139" y="96"/>
                    </a:lnTo>
                    <a:lnTo>
                      <a:pt x="142" y="99"/>
                    </a:lnTo>
                    <a:lnTo>
                      <a:pt x="140" y="103"/>
                    </a:lnTo>
                    <a:lnTo>
                      <a:pt x="130" y="111"/>
                    </a:lnTo>
                    <a:lnTo>
                      <a:pt x="121" y="125"/>
                    </a:lnTo>
                    <a:lnTo>
                      <a:pt x="121" y="129"/>
                    </a:lnTo>
                    <a:lnTo>
                      <a:pt x="121" y="132"/>
                    </a:lnTo>
                    <a:lnTo>
                      <a:pt x="119" y="132"/>
                    </a:lnTo>
                    <a:lnTo>
                      <a:pt x="116" y="131"/>
                    </a:lnTo>
                    <a:lnTo>
                      <a:pt x="108" y="125"/>
                    </a:lnTo>
                    <a:lnTo>
                      <a:pt x="101" y="125"/>
                    </a:lnTo>
                    <a:lnTo>
                      <a:pt x="97" y="128"/>
                    </a:lnTo>
                    <a:lnTo>
                      <a:pt x="94" y="127"/>
                    </a:lnTo>
                    <a:lnTo>
                      <a:pt x="88" y="127"/>
                    </a:lnTo>
                    <a:lnTo>
                      <a:pt x="87" y="129"/>
                    </a:lnTo>
                    <a:lnTo>
                      <a:pt x="84" y="129"/>
                    </a:lnTo>
                    <a:lnTo>
                      <a:pt x="82" y="129"/>
                    </a:lnTo>
                    <a:lnTo>
                      <a:pt x="75" y="122"/>
                    </a:lnTo>
                    <a:lnTo>
                      <a:pt x="71" y="125"/>
                    </a:lnTo>
                    <a:lnTo>
                      <a:pt x="62" y="121"/>
                    </a:lnTo>
                    <a:lnTo>
                      <a:pt x="58" y="114"/>
                    </a:lnTo>
                    <a:lnTo>
                      <a:pt x="55" y="112"/>
                    </a:lnTo>
                    <a:lnTo>
                      <a:pt x="53" y="114"/>
                    </a:lnTo>
                    <a:lnTo>
                      <a:pt x="52" y="111"/>
                    </a:lnTo>
                    <a:lnTo>
                      <a:pt x="50" y="106"/>
                    </a:lnTo>
                    <a:lnTo>
                      <a:pt x="40" y="103"/>
                    </a:lnTo>
                    <a:lnTo>
                      <a:pt x="39" y="106"/>
                    </a:lnTo>
                    <a:lnTo>
                      <a:pt x="40" y="108"/>
                    </a:lnTo>
                    <a:lnTo>
                      <a:pt x="37" y="109"/>
                    </a:lnTo>
                    <a:lnTo>
                      <a:pt x="36" y="108"/>
                    </a:lnTo>
                    <a:lnTo>
                      <a:pt x="30" y="103"/>
                    </a:lnTo>
                    <a:lnTo>
                      <a:pt x="31" y="100"/>
                    </a:lnTo>
                    <a:lnTo>
                      <a:pt x="31" y="100"/>
                    </a:lnTo>
                    <a:lnTo>
                      <a:pt x="31" y="99"/>
                    </a:lnTo>
                    <a:lnTo>
                      <a:pt x="29" y="99"/>
                    </a:lnTo>
                    <a:lnTo>
                      <a:pt x="26" y="96"/>
                    </a:lnTo>
                    <a:lnTo>
                      <a:pt x="18" y="95"/>
                    </a:lnTo>
                    <a:lnTo>
                      <a:pt x="17" y="93"/>
                    </a:lnTo>
                    <a:lnTo>
                      <a:pt x="14" y="92"/>
                    </a:lnTo>
                    <a:lnTo>
                      <a:pt x="10" y="95"/>
                    </a:lnTo>
                    <a:lnTo>
                      <a:pt x="8" y="95"/>
                    </a:lnTo>
                    <a:lnTo>
                      <a:pt x="11" y="82"/>
                    </a:lnTo>
                    <a:lnTo>
                      <a:pt x="11" y="82"/>
                    </a:lnTo>
                    <a:lnTo>
                      <a:pt x="7" y="76"/>
                    </a:lnTo>
                    <a:lnTo>
                      <a:pt x="4" y="52"/>
                    </a:lnTo>
                    <a:lnTo>
                      <a:pt x="0" y="50"/>
                    </a:lnTo>
                    <a:lnTo>
                      <a:pt x="0" y="47"/>
                    </a:lnTo>
                    <a:lnTo>
                      <a:pt x="2" y="41"/>
                    </a:lnTo>
                    <a:lnTo>
                      <a:pt x="2" y="34"/>
                    </a:lnTo>
                    <a:lnTo>
                      <a:pt x="0" y="26"/>
                    </a:lnTo>
                    <a:lnTo>
                      <a:pt x="4" y="29"/>
                    </a:lnTo>
                    <a:lnTo>
                      <a:pt x="5" y="28"/>
                    </a:lnTo>
                    <a:lnTo>
                      <a:pt x="5" y="25"/>
                    </a:lnTo>
                    <a:lnTo>
                      <a:pt x="2" y="23"/>
                    </a:lnTo>
                    <a:lnTo>
                      <a:pt x="4" y="22"/>
                    </a:lnTo>
                    <a:lnTo>
                      <a:pt x="7" y="22"/>
                    </a:lnTo>
                    <a:lnTo>
                      <a:pt x="7" y="22"/>
                    </a:lnTo>
                    <a:lnTo>
                      <a:pt x="10" y="19"/>
                    </a:lnTo>
                    <a:lnTo>
                      <a:pt x="26" y="13"/>
                    </a:lnTo>
                    <a:lnTo>
                      <a:pt x="34" y="6"/>
                    </a:lnTo>
                    <a:lnTo>
                      <a:pt x="45" y="2"/>
                    </a:lnTo>
                    <a:lnTo>
                      <a:pt x="59" y="0"/>
                    </a:lnTo>
                    <a:lnTo>
                      <a:pt x="65" y="2"/>
                    </a:lnTo>
                    <a:lnTo>
                      <a:pt x="66" y="5"/>
                    </a:lnTo>
                    <a:lnTo>
                      <a:pt x="66" y="6"/>
                    </a:lnTo>
                    <a:lnTo>
                      <a:pt x="61" y="3"/>
                    </a:lnTo>
                    <a:lnTo>
                      <a:pt x="65" y="13"/>
                    </a:lnTo>
                    <a:lnTo>
                      <a:pt x="66" y="13"/>
                    </a:lnTo>
                    <a:lnTo>
                      <a:pt x="66" y="13"/>
                    </a:lnTo>
                    <a:lnTo>
                      <a:pt x="68" y="12"/>
                    </a:lnTo>
                    <a:lnTo>
                      <a:pt x="69" y="12"/>
                    </a:lnTo>
                    <a:lnTo>
                      <a:pt x="75" y="10"/>
                    </a:lnTo>
                    <a:lnTo>
                      <a:pt x="78" y="9"/>
                    </a:lnTo>
                    <a:lnTo>
                      <a:pt x="98" y="13"/>
                    </a:lnTo>
                    <a:lnTo>
                      <a:pt x="123" y="10"/>
                    </a:lnTo>
                    <a:lnTo>
                      <a:pt x="132" y="16"/>
                    </a:lnTo>
                    <a:lnTo>
                      <a:pt x="139" y="51"/>
                    </a:lnTo>
                    <a:lnTo>
                      <a:pt x="135" y="55"/>
                    </a:lnTo>
                    <a:lnTo>
                      <a:pt x="132" y="57"/>
                    </a:lnTo>
                    <a:lnTo>
                      <a:pt x="129" y="61"/>
                    </a:lnTo>
                    <a:lnTo>
                      <a:pt x="130" y="64"/>
                    </a:lnTo>
                    <a:lnTo>
                      <a:pt x="135" y="67"/>
                    </a:lnTo>
                    <a:lnTo>
                      <a:pt x="133" y="77"/>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97" name="Freeform 1696"/>
              <p:cNvSpPr>
                <a:spLocks/>
              </p:cNvSpPr>
              <p:nvPr/>
            </p:nvSpPr>
            <p:spPr bwMode="auto">
              <a:xfrm>
                <a:off x="6302430" y="2302072"/>
                <a:ext cx="130792" cy="137922"/>
              </a:xfrm>
              <a:custGeom>
                <a:avLst/>
                <a:gdLst/>
                <a:ahLst/>
                <a:cxnLst>
                  <a:cxn ang="0">
                    <a:pos x="137" y="90"/>
                  </a:cxn>
                  <a:cxn ang="0">
                    <a:pos x="139" y="96"/>
                  </a:cxn>
                  <a:cxn ang="0">
                    <a:pos x="140" y="103"/>
                  </a:cxn>
                  <a:cxn ang="0">
                    <a:pos x="121" y="125"/>
                  </a:cxn>
                  <a:cxn ang="0">
                    <a:pos x="121" y="132"/>
                  </a:cxn>
                  <a:cxn ang="0">
                    <a:pos x="116" y="131"/>
                  </a:cxn>
                  <a:cxn ang="0">
                    <a:pos x="101" y="125"/>
                  </a:cxn>
                  <a:cxn ang="0">
                    <a:pos x="94" y="127"/>
                  </a:cxn>
                  <a:cxn ang="0">
                    <a:pos x="87" y="129"/>
                  </a:cxn>
                  <a:cxn ang="0">
                    <a:pos x="82" y="129"/>
                  </a:cxn>
                  <a:cxn ang="0">
                    <a:pos x="71" y="125"/>
                  </a:cxn>
                  <a:cxn ang="0">
                    <a:pos x="58" y="114"/>
                  </a:cxn>
                  <a:cxn ang="0">
                    <a:pos x="53" y="114"/>
                  </a:cxn>
                  <a:cxn ang="0">
                    <a:pos x="50" y="106"/>
                  </a:cxn>
                  <a:cxn ang="0">
                    <a:pos x="39" y="106"/>
                  </a:cxn>
                  <a:cxn ang="0">
                    <a:pos x="37" y="109"/>
                  </a:cxn>
                  <a:cxn ang="0">
                    <a:pos x="30" y="103"/>
                  </a:cxn>
                  <a:cxn ang="0">
                    <a:pos x="31" y="100"/>
                  </a:cxn>
                  <a:cxn ang="0">
                    <a:pos x="29" y="99"/>
                  </a:cxn>
                  <a:cxn ang="0">
                    <a:pos x="18" y="95"/>
                  </a:cxn>
                  <a:cxn ang="0">
                    <a:pos x="14" y="92"/>
                  </a:cxn>
                  <a:cxn ang="0">
                    <a:pos x="8" y="95"/>
                  </a:cxn>
                  <a:cxn ang="0">
                    <a:pos x="11" y="82"/>
                  </a:cxn>
                  <a:cxn ang="0">
                    <a:pos x="4" y="52"/>
                  </a:cxn>
                  <a:cxn ang="0">
                    <a:pos x="0" y="47"/>
                  </a:cxn>
                  <a:cxn ang="0">
                    <a:pos x="2" y="34"/>
                  </a:cxn>
                  <a:cxn ang="0">
                    <a:pos x="4" y="29"/>
                  </a:cxn>
                  <a:cxn ang="0">
                    <a:pos x="5" y="25"/>
                  </a:cxn>
                  <a:cxn ang="0">
                    <a:pos x="4" y="22"/>
                  </a:cxn>
                  <a:cxn ang="0">
                    <a:pos x="7" y="22"/>
                  </a:cxn>
                  <a:cxn ang="0">
                    <a:pos x="26" y="13"/>
                  </a:cxn>
                  <a:cxn ang="0">
                    <a:pos x="45" y="2"/>
                  </a:cxn>
                  <a:cxn ang="0">
                    <a:pos x="65" y="2"/>
                  </a:cxn>
                  <a:cxn ang="0">
                    <a:pos x="66" y="6"/>
                  </a:cxn>
                  <a:cxn ang="0">
                    <a:pos x="65" y="13"/>
                  </a:cxn>
                  <a:cxn ang="0">
                    <a:pos x="66" y="13"/>
                  </a:cxn>
                  <a:cxn ang="0">
                    <a:pos x="69" y="12"/>
                  </a:cxn>
                  <a:cxn ang="0">
                    <a:pos x="78" y="9"/>
                  </a:cxn>
                  <a:cxn ang="0">
                    <a:pos x="123" y="10"/>
                  </a:cxn>
                  <a:cxn ang="0">
                    <a:pos x="139" y="51"/>
                  </a:cxn>
                  <a:cxn ang="0">
                    <a:pos x="132" y="57"/>
                  </a:cxn>
                  <a:cxn ang="0">
                    <a:pos x="130" y="64"/>
                  </a:cxn>
                  <a:cxn ang="0">
                    <a:pos x="133" y="77"/>
                  </a:cxn>
                </a:cxnLst>
                <a:rect l="0" t="0" r="r" b="b"/>
                <a:pathLst>
                  <a:path w="142" h="132">
                    <a:moveTo>
                      <a:pt x="133" y="77"/>
                    </a:moveTo>
                    <a:lnTo>
                      <a:pt x="137" y="90"/>
                    </a:lnTo>
                    <a:lnTo>
                      <a:pt x="140" y="93"/>
                    </a:lnTo>
                    <a:lnTo>
                      <a:pt x="139" y="96"/>
                    </a:lnTo>
                    <a:lnTo>
                      <a:pt x="142" y="99"/>
                    </a:lnTo>
                    <a:lnTo>
                      <a:pt x="140" y="103"/>
                    </a:lnTo>
                    <a:lnTo>
                      <a:pt x="130" y="111"/>
                    </a:lnTo>
                    <a:lnTo>
                      <a:pt x="121" y="125"/>
                    </a:lnTo>
                    <a:lnTo>
                      <a:pt x="121" y="129"/>
                    </a:lnTo>
                    <a:lnTo>
                      <a:pt x="121" y="132"/>
                    </a:lnTo>
                    <a:lnTo>
                      <a:pt x="119" y="132"/>
                    </a:lnTo>
                    <a:lnTo>
                      <a:pt x="116" y="131"/>
                    </a:lnTo>
                    <a:lnTo>
                      <a:pt x="108" y="125"/>
                    </a:lnTo>
                    <a:lnTo>
                      <a:pt x="101" y="125"/>
                    </a:lnTo>
                    <a:lnTo>
                      <a:pt x="97" y="128"/>
                    </a:lnTo>
                    <a:lnTo>
                      <a:pt x="94" y="127"/>
                    </a:lnTo>
                    <a:lnTo>
                      <a:pt x="88" y="127"/>
                    </a:lnTo>
                    <a:lnTo>
                      <a:pt x="87" y="129"/>
                    </a:lnTo>
                    <a:lnTo>
                      <a:pt x="84" y="129"/>
                    </a:lnTo>
                    <a:lnTo>
                      <a:pt x="82" y="129"/>
                    </a:lnTo>
                    <a:lnTo>
                      <a:pt x="75" y="122"/>
                    </a:lnTo>
                    <a:lnTo>
                      <a:pt x="71" y="125"/>
                    </a:lnTo>
                    <a:lnTo>
                      <a:pt x="62" y="121"/>
                    </a:lnTo>
                    <a:lnTo>
                      <a:pt x="58" y="114"/>
                    </a:lnTo>
                    <a:lnTo>
                      <a:pt x="55" y="112"/>
                    </a:lnTo>
                    <a:lnTo>
                      <a:pt x="53" y="114"/>
                    </a:lnTo>
                    <a:lnTo>
                      <a:pt x="52" y="111"/>
                    </a:lnTo>
                    <a:lnTo>
                      <a:pt x="50" y="106"/>
                    </a:lnTo>
                    <a:lnTo>
                      <a:pt x="40" y="103"/>
                    </a:lnTo>
                    <a:lnTo>
                      <a:pt x="39" y="106"/>
                    </a:lnTo>
                    <a:lnTo>
                      <a:pt x="40" y="108"/>
                    </a:lnTo>
                    <a:lnTo>
                      <a:pt x="37" y="109"/>
                    </a:lnTo>
                    <a:lnTo>
                      <a:pt x="36" y="108"/>
                    </a:lnTo>
                    <a:lnTo>
                      <a:pt x="30" y="103"/>
                    </a:lnTo>
                    <a:lnTo>
                      <a:pt x="31" y="100"/>
                    </a:lnTo>
                    <a:lnTo>
                      <a:pt x="31" y="100"/>
                    </a:lnTo>
                    <a:lnTo>
                      <a:pt x="31" y="99"/>
                    </a:lnTo>
                    <a:lnTo>
                      <a:pt x="29" y="99"/>
                    </a:lnTo>
                    <a:lnTo>
                      <a:pt x="26" y="96"/>
                    </a:lnTo>
                    <a:lnTo>
                      <a:pt x="18" y="95"/>
                    </a:lnTo>
                    <a:lnTo>
                      <a:pt x="17" y="93"/>
                    </a:lnTo>
                    <a:lnTo>
                      <a:pt x="14" y="92"/>
                    </a:lnTo>
                    <a:lnTo>
                      <a:pt x="10" y="95"/>
                    </a:lnTo>
                    <a:lnTo>
                      <a:pt x="8" y="95"/>
                    </a:lnTo>
                    <a:lnTo>
                      <a:pt x="11" y="82"/>
                    </a:lnTo>
                    <a:lnTo>
                      <a:pt x="11" y="82"/>
                    </a:lnTo>
                    <a:lnTo>
                      <a:pt x="7" y="76"/>
                    </a:lnTo>
                    <a:lnTo>
                      <a:pt x="4" y="52"/>
                    </a:lnTo>
                    <a:lnTo>
                      <a:pt x="0" y="50"/>
                    </a:lnTo>
                    <a:lnTo>
                      <a:pt x="0" y="47"/>
                    </a:lnTo>
                    <a:lnTo>
                      <a:pt x="2" y="41"/>
                    </a:lnTo>
                    <a:lnTo>
                      <a:pt x="2" y="34"/>
                    </a:lnTo>
                    <a:lnTo>
                      <a:pt x="0" y="26"/>
                    </a:lnTo>
                    <a:lnTo>
                      <a:pt x="4" y="29"/>
                    </a:lnTo>
                    <a:lnTo>
                      <a:pt x="5" y="28"/>
                    </a:lnTo>
                    <a:lnTo>
                      <a:pt x="5" y="25"/>
                    </a:lnTo>
                    <a:lnTo>
                      <a:pt x="2" y="23"/>
                    </a:lnTo>
                    <a:lnTo>
                      <a:pt x="4" y="22"/>
                    </a:lnTo>
                    <a:lnTo>
                      <a:pt x="7" y="22"/>
                    </a:lnTo>
                    <a:lnTo>
                      <a:pt x="7" y="22"/>
                    </a:lnTo>
                    <a:lnTo>
                      <a:pt x="10" y="19"/>
                    </a:lnTo>
                    <a:lnTo>
                      <a:pt x="26" y="13"/>
                    </a:lnTo>
                    <a:lnTo>
                      <a:pt x="34" y="6"/>
                    </a:lnTo>
                    <a:lnTo>
                      <a:pt x="45" y="2"/>
                    </a:lnTo>
                    <a:lnTo>
                      <a:pt x="59" y="0"/>
                    </a:lnTo>
                    <a:lnTo>
                      <a:pt x="65" y="2"/>
                    </a:lnTo>
                    <a:lnTo>
                      <a:pt x="66" y="5"/>
                    </a:lnTo>
                    <a:lnTo>
                      <a:pt x="66" y="6"/>
                    </a:lnTo>
                    <a:lnTo>
                      <a:pt x="61" y="3"/>
                    </a:lnTo>
                    <a:lnTo>
                      <a:pt x="65" y="13"/>
                    </a:lnTo>
                    <a:lnTo>
                      <a:pt x="66" y="13"/>
                    </a:lnTo>
                    <a:lnTo>
                      <a:pt x="66" y="13"/>
                    </a:lnTo>
                    <a:lnTo>
                      <a:pt x="68" y="12"/>
                    </a:lnTo>
                    <a:lnTo>
                      <a:pt x="69" y="12"/>
                    </a:lnTo>
                    <a:lnTo>
                      <a:pt x="75" y="10"/>
                    </a:lnTo>
                    <a:lnTo>
                      <a:pt x="78" y="9"/>
                    </a:lnTo>
                    <a:lnTo>
                      <a:pt x="98" y="13"/>
                    </a:lnTo>
                    <a:lnTo>
                      <a:pt x="123" y="10"/>
                    </a:lnTo>
                    <a:lnTo>
                      <a:pt x="132" y="16"/>
                    </a:lnTo>
                    <a:lnTo>
                      <a:pt x="139" y="51"/>
                    </a:lnTo>
                    <a:lnTo>
                      <a:pt x="135" y="55"/>
                    </a:lnTo>
                    <a:lnTo>
                      <a:pt x="132" y="57"/>
                    </a:lnTo>
                    <a:lnTo>
                      <a:pt x="129" y="61"/>
                    </a:lnTo>
                    <a:lnTo>
                      <a:pt x="130" y="64"/>
                    </a:lnTo>
                    <a:lnTo>
                      <a:pt x="135" y="67"/>
                    </a:lnTo>
                    <a:lnTo>
                      <a:pt x="133" y="77"/>
                    </a:lnTo>
                  </a:path>
                </a:pathLst>
              </a:custGeom>
              <a:solidFill>
                <a:srgbClr val="00AFE6"/>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98" name="Freeform 1697"/>
              <p:cNvSpPr>
                <a:spLocks/>
              </p:cNvSpPr>
              <p:nvPr/>
            </p:nvSpPr>
            <p:spPr bwMode="auto">
              <a:xfrm>
                <a:off x="6391965" y="2215871"/>
                <a:ext cx="97435" cy="65918"/>
              </a:xfrm>
              <a:custGeom>
                <a:avLst/>
                <a:gdLst/>
                <a:ahLst/>
                <a:cxnLst>
                  <a:cxn ang="0">
                    <a:pos x="0" y="48"/>
                  </a:cxn>
                  <a:cxn ang="0">
                    <a:pos x="9" y="16"/>
                  </a:cxn>
                  <a:cxn ang="0">
                    <a:pos x="23" y="9"/>
                  </a:cxn>
                  <a:cxn ang="0">
                    <a:pos x="30" y="22"/>
                  </a:cxn>
                  <a:cxn ang="0">
                    <a:pos x="33" y="24"/>
                  </a:cxn>
                  <a:cxn ang="0">
                    <a:pos x="39" y="28"/>
                  </a:cxn>
                  <a:cxn ang="0">
                    <a:pos x="43" y="26"/>
                  </a:cxn>
                  <a:cxn ang="0">
                    <a:pos x="45" y="29"/>
                  </a:cxn>
                  <a:cxn ang="0">
                    <a:pos x="48" y="22"/>
                  </a:cxn>
                  <a:cxn ang="0">
                    <a:pos x="49" y="5"/>
                  </a:cxn>
                  <a:cxn ang="0">
                    <a:pos x="55" y="2"/>
                  </a:cxn>
                  <a:cxn ang="0">
                    <a:pos x="67" y="2"/>
                  </a:cxn>
                  <a:cxn ang="0">
                    <a:pos x="74" y="5"/>
                  </a:cxn>
                  <a:cxn ang="0">
                    <a:pos x="81" y="13"/>
                  </a:cxn>
                  <a:cxn ang="0">
                    <a:pos x="84" y="12"/>
                  </a:cxn>
                  <a:cxn ang="0">
                    <a:pos x="93" y="13"/>
                  </a:cxn>
                  <a:cxn ang="0">
                    <a:pos x="96" y="16"/>
                  </a:cxn>
                  <a:cxn ang="0">
                    <a:pos x="99" y="19"/>
                  </a:cxn>
                  <a:cxn ang="0">
                    <a:pos x="97" y="29"/>
                  </a:cxn>
                  <a:cxn ang="0">
                    <a:pos x="100" y="31"/>
                  </a:cxn>
                  <a:cxn ang="0">
                    <a:pos x="106" y="42"/>
                  </a:cxn>
                  <a:cxn ang="0">
                    <a:pos x="103" y="50"/>
                  </a:cxn>
                  <a:cxn ang="0">
                    <a:pos x="97" y="56"/>
                  </a:cxn>
                  <a:cxn ang="0">
                    <a:pos x="93" y="60"/>
                  </a:cxn>
                  <a:cxn ang="0">
                    <a:pos x="87" y="58"/>
                  </a:cxn>
                  <a:cxn ang="0">
                    <a:pos x="84" y="63"/>
                  </a:cxn>
                  <a:cxn ang="0">
                    <a:pos x="81" y="61"/>
                  </a:cxn>
                  <a:cxn ang="0">
                    <a:pos x="74" y="54"/>
                  </a:cxn>
                  <a:cxn ang="0">
                    <a:pos x="62" y="50"/>
                  </a:cxn>
                  <a:cxn ang="0">
                    <a:pos x="58" y="42"/>
                  </a:cxn>
                  <a:cxn ang="0">
                    <a:pos x="55" y="42"/>
                  </a:cxn>
                  <a:cxn ang="0">
                    <a:pos x="48" y="47"/>
                  </a:cxn>
                  <a:cxn ang="0">
                    <a:pos x="33" y="42"/>
                  </a:cxn>
                  <a:cxn ang="0">
                    <a:pos x="30" y="42"/>
                  </a:cxn>
                  <a:cxn ang="0">
                    <a:pos x="26" y="44"/>
                  </a:cxn>
                  <a:cxn ang="0">
                    <a:pos x="17" y="42"/>
                  </a:cxn>
                  <a:cxn ang="0">
                    <a:pos x="6" y="50"/>
                  </a:cxn>
                  <a:cxn ang="0">
                    <a:pos x="1" y="51"/>
                  </a:cxn>
                </a:cxnLst>
                <a:rect l="0" t="0" r="r" b="b"/>
                <a:pathLst>
                  <a:path w="106" h="63">
                    <a:moveTo>
                      <a:pt x="1" y="51"/>
                    </a:moveTo>
                    <a:lnTo>
                      <a:pt x="0" y="48"/>
                    </a:lnTo>
                    <a:lnTo>
                      <a:pt x="1" y="35"/>
                    </a:lnTo>
                    <a:lnTo>
                      <a:pt x="9" y="16"/>
                    </a:lnTo>
                    <a:lnTo>
                      <a:pt x="13" y="12"/>
                    </a:lnTo>
                    <a:lnTo>
                      <a:pt x="23" y="9"/>
                    </a:lnTo>
                    <a:lnTo>
                      <a:pt x="29" y="18"/>
                    </a:lnTo>
                    <a:lnTo>
                      <a:pt x="30" y="22"/>
                    </a:lnTo>
                    <a:lnTo>
                      <a:pt x="32" y="19"/>
                    </a:lnTo>
                    <a:lnTo>
                      <a:pt x="33" y="24"/>
                    </a:lnTo>
                    <a:lnTo>
                      <a:pt x="35" y="26"/>
                    </a:lnTo>
                    <a:lnTo>
                      <a:pt x="39" y="28"/>
                    </a:lnTo>
                    <a:lnTo>
                      <a:pt x="40" y="28"/>
                    </a:lnTo>
                    <a:lnTo>
                      <a:pt x="43" y="26"/>
                    </a:lnTo>
                    <a:lnTo>
                      <a:pt x="43" y="28"/>
                    </a:lnTo>
                    <a:lnTo>
                      <a:pt x="45" y="29"/>
                    </a:lnTo>
                    <a:lnTo>
                      <a:pt x="46" y="25"/>
                    </a:lnTo>
                    <a:lnTo>
                      <a:pt x="48" y="22"/>
                    </a:lnTo>
                    <a:lnTo>
                      <a:pt x="48" y="6"/>
                    </a:lnTo>
                    <a:lnTo>
                      <a:pt x="49" y="5"/>
                    </a:lnTo>
                    <a:lnTo>
                      <a:pt x="52" y="3"/>
                    </a:lnTo>
                    <a:lnTo>
                      <a:pt x="55" y="2"/>
                    </a:lnTo>
                    <a:lnTo>
                      <a:pt x="62" y="0"/>
                    </a:lnTo>
                    <a:lnTo>
                      <a:pt x="67" y="2"/>
                    </a:lnTo>
                    <a:lnTo>
                      <a:pt x="69" y="3"/>
                    </a:lnTo>
                    <a:lnTo>
                      <a:pt x="74" y="5"/>
                    </a:lnTo>
                    <a:lnTo>
                      <a:pt x="75" y="8"/>
                    </a:lnTo>
                    <a:lnTo>
                      <a:pt x="81" y="13"/>
                    </a:lnTo>
                    <a:lnTo>
                      <a:pt x="83" y="13"/>
                    </a:lnTo>
                    <a:lnTo>
                      <a:pt x="84" y="12"/>
                    </a:lnTo>
                    <a:lnTo>
                      <a:pt x="88" y="12"/>
                    </a:lnTo>
                    <a:lnTo>
                      <a:pt x="93" y="13"/>
                    </a:lnTo>
                    <a:lnTo>
                      <a:pt x="94" y="15"/>
                    </a:lnTo>
                    <a:lnTo>
                      <a:pt x="96" y="16"/>
                    </a:lnTo>
                    <a:lnTo>
                      <a:pt x="97" y="18"/>
                    </a:lnTo>
                    <a:lnTo>
                      <a:pt x="99" y="19"/>
                    </a:lnTo>
                    <a:lnTo>
                      <a:pt x="99" y="21"/>
                    </a:lnTo>
                    <a:lnTo>
                      <a:pt x="97" y="29"/>
                    </a:lnTo>
                    <a:lnTo>
                      <a:pt x="99" y="31"/>
                    </a:lnTo>
                    <a:lnTo>
                      <a:pt x="100" y="31"/>
                    </a:lnTo>
                    <a:lnTo>
                      <a:pt x="100" y="34"/>
                    </a:lnTo>
                    <a:lnTo>
                      <a:pt x="106" y="42"/>
                    </a:lnTo>
                    <a:lnTo>
                      <a:pt x="106" y="50"/>
                    </a:lnTo>
                    <a:lnTo>
                      <a:pt x="103" y="50"/>
                    </a:lnTo>
                    <a:lnTo>
                      <a:pt x="97" y="54"/>
                    </a:lnTo>
                    <a:lnTo>
                      <a:pt x="97" y="56"/>
                    </a:lnTo>
                    <a:lnTo>
                      <a:pt x="94" y="58"/>
                    </a:lnTo>
                    <a:lnTo>
                      <a:pt x="93" y="60"/>
                    </a:lnTo>
                    <a:lnTo>
                      <a:pt x="88" y="58"/>
                    </a:lnTo>
                    <a:lnTo>
                      <a:pt x="87" y="58"/>
                    </a:lnTo>
                    <a:lnTo>
                      <a:pt x="85" y="61"/>
                    </a:lnTo>
                    <a:lnTo>
                      <a:pt x="84" y="63"/>
                    </a:lnTo>
                    <a:lnTo>
                      <a:pt x="83" y="61"/>
                    </a:lnTo>
                    <a:lnTo>
                      <a:pt x="81" y="61"/>
                    </a:lnTo>
                    <a:lnTo>
                      <a:pt x="78" y="60"/>
                    </a:lnTo>
                    <a:lnTo>
                      <a:pt x="74" y="54"/>
                    </a:lnTo>
                    <a:lnTo>
                      <a:pt x="67" y="50"/>
                    </a:lnTo>
                    <a:lnTo>
                      <a:pt x="62" y="50"/>
                    </a:lnTo>
                    <a:lnTo>
                      <a:pt x="61" y="48"/>
                    </a:lnTo>
                    <a:lnTo>
                      <a:pt x="58" y="42"/>
                    </a:lnTo>
                    <a:lnTo>
                      <a:pt x="56" y="41"/>
                    </a:lnTo>
                    <a:lnTo>
                      <a:pt x="55" y="42"/>
                    </a:lnTo>
                    <a:lnTo>
                      <a:pt x="52" y="45"/>
                    </a:lnTo>
                    <a:lnTo>
                      <a:pt x="48" y="47"/>
                    </a:lnTo>
                    <a:lnTo>
                      <a:pt x="40" y="42"/>
                    </a:lnTo>
                    <a:lnTo>
                      <a:pt x="33" y="42"/>
                    </a:lnTo>
                    <a:lnTo>
                      <a:pt x="32" y="42"/>
                    </a:lnTo>
                    <a:lnTo>
                      <a:pt x="30" y="42"/>
                    </a:lnTo>
                    <a:lnTo>
                      <a:pt x="27" y="44"/>
                    </a:lnTo>
                    <a:lnTo>
                      <a:pt x="26" y="44"/>
                    </a:lnTo>
                    <a:lnTo>
                      <a:pt x="23" y="42"/>
                    </a:lnTo>
                    <a:lnTo>
                      <a:pt x="17" y="42"/>
                    </a:lnTo>
                    <a:lnTo>
                      <a:pt x="7" y="47"/>
                    </a:lnTo>
                    <a:lnTo>
                      <a:pt x="6" y="50"/>
                    </a:lnTo>
                    <a:lnTo>
                      <a:pt x="4" y="51"/>
                    </a:lnTo>
                    <a:lnTo>
                      <a:pt x="1" y="5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99" name="Freeform 1698"/>
              <p:cNvSpPr>
                <a:spLocks/>
              </p:cNvSpPr>
              <p:nvPr/>
            </p:nvSpPr>
            <p:spPr bwMode="auto">
              <a:xfrm>
                <a:off x="6391965" y="2215871"/>
                <a:ext cx="97435" cy="65918"/>
              </a:xfrm>
              <a:custGeom>
                <a:avLst/>
                <a:gdLst/>
                <a:ahLst/>
                <a:cxnLst>
                  <a:cxn ang="0">
                    <a:pos x="0" y="48"/>
                  </a:cxn>
                  <a:cxn ang="0">
                    <a:pos x="9" y="16"/>
                  </a:cxn>
                  <a:cxn ang="0">
                    <a:pos x="23" y="9"/>
                  </a:cxn>
                  <a:cxn ang="0">
                    <a:pos x="30" y="22"/>
                  </a:cxn>
                  <a:cxn ang="0">
                    <a:pos x="33" y="24"/>
                  </a:cxn>
                  <a:cxn ang="0">
                    <a:pos x="39" y="28"/>
                  </a:cxn>
                  <a:cxn ang="0">
                    <a:pos x="43" y="26"/>
                  </a:cxn>
                  <a:cxn ang="0">
                    <a:pos x="45" y="29"/>
                  </a:cxn>
                  <a:cxn ang="0">
                    <a:pos x="48" y="22"/>
                  </a:cxn>
                  <a:cxn ang="0">
                    <a:pos x="49" y="5"/>
                  </a:cxn>
                  <a:cxn ang="0">
                    <a:pos x="55" y="2"/>
                  </a:cxn>
                  <a:cxn ang="0">
                    <a:pos x="67" y="2"/>
                  </a:cxn>
                  <a:cxn ang="0">
                    <a:pos x="74" y="5"/>
                  </a:cxn>
                  <a:cxn ang="0">
                    <a:pos x="81" y="13"/>
                  </a:cxn>
                  <a:cxn ang="0">
                    <a:pos x="84" y="12"/>
                  </a:cxn>
                  <a:cxn ang="0">
                    <a:pos x="93" y="13"/>
                  </a:cxn>
                  <a:cxn ang="0">
                    <a:pos x="96" y="16"/>
                  </a:cxn>
                  <a:cxn ang="0">
                    <a:pos x="99" y="19"/>
                  </a:cxn>
                  <a:cxn ang="0">
                    <a:pos x="97" y="29"/>
                  </a:cxn>
                  <a:cxn ang="0">
                    <a:pos x="100" y="31"/>
                  </a:cxn>
                  <a:cxn ang="0">
                    <a:pos x="106" y="42"/>
                  </a:cxn>
                  <a:cxn ang="0">
                    <a:pos x="103" y="50"/>
                  </a:cxn>
                  <a:cxn ang="0">
                    <a:pos x="97" y="56"/>
                  </a:cxn>
                  <a:cxn ang="0">
                    <a:pos x="93" y="60"/>
                  </a:cxn>
                  <a:cxn ang="0">
                    <a:pos x="87" y="58"/>
                  </a:cxn>
                  <a:cxn ang="0">
                    <a:pos x="84" y="63"/>
                  </a:cxn>
                  <a:cxn ang="0">
                    <a:pos x="81" y="61"/>
                  </a:cxn>
                  <a:cxn ang="0">
                    <a:pos x="74" y="54"/>
                  </a:cxn>
                  <a:cxn ang="0">
                    <a:pos x="62" y="50"/>
                  </a:cxn>
                  <a:cxn ang="0">
                    <a:pos x="58" y="42"/>
                  </a:cxn>
                  <a:cxn ang="0">
                    <a:pos x="55" y="42"/>
                  </a:cxn>
                  <a:cxn ang="0">
                    <a:pos x="48" y="47"/>
                  </a:cxn>
                  <a:cxn ang="0">
                    <a:pos x="33" y="42"/>
                  </a:cxn>
                  <a:cxn ang="0">
                    <a:pos x="30" y="42"/>
                  </a:cxn>
                  <a:cxn ang="0">
                    <a:pos x="26" y="44"/>
                  </a:cxn>
                  <a:cxn ang="0">
                    <a:pos x="17" y="42"/>
                  </a:cxn>
                  <a:cxn ang="0">
                    <a:pos x="6" y="50"/>
                  </a:cxn>
                  <a:cxn ang="0">
                    <a:pos x="1" y="51"/>
                  </a:cxn>
                </a:cxnLst>
                <a:rect l="0" t="0" r="r" b="b"/>
                <a:pathLst>
                  <a:path w="106" h="63">
                    <a:moveTo>
                      <a:pt x="1" y="51"/>
                    </a:moveTo>
                    <a:lnTo>
                      <a:pt x="0" y="48"/>
                    </a:lnTo>
                    <a:lnTo>
                      <a:pt x="1" y="35"/>
                    </a:lnTo>
                    <a:lnTo>
                      <a:pt x="9" y="16"/>
                    </a:lnTo>
                    <a:lnTo>
                      <a:pt x="13" y="12"/>
                    </a:lnTo>
                    <a:lnTo>
                      <a:pt x="23" y="9"/>
                    </a:lnTo>
                    <a:lnTo>
                      <a:pt x="29" y="18"/>
                    </a:lnTo>
                    <a:lnTo>
                      <a:pt x="30" y="22"/>
                    </a:lnTo>
                    <a:lnTo>
                      <a:pt x="32" y="19"/>
                    </a:lnTo>
                    <a:lnTo>
                      <a:pt x="33" y="24"/>
                    </a:lnTo>
                    <a:lnTo>
                      <a:pt x="35" y="26"/>
                    </a:lnTo>
                    <a:lnTo>
                      <a:pt x="39" y="28"/>
                    </a:lnTo>
                    <a:lnTo>
                      <a:pt x="40" y="28"/>
                    </a:lnTo>
                    <a:lnTo>
                      <a:pt x="43" y="26"/>
                    </a:lnTo>
                    <a:lnTo>
                      <a:pt x="43" y="28"/>
                    </a:lnTo>
                    <a:lnTo>
                      <a:pt x="45" y="29"/>
                    </a:lnTo>
                    <a:lnTo>
                      <a:pt x="46" y="25"/>
                    </a:lnTo>
                    <a:lnTo>
                      <a:pt x="48" y="22"/>
                    </a:lnTo>
                    <a:lnTo>
                      <a:pt x="48" y="6"/>
                    </a:lnTo>
                    <a:lnTo>
                      <a:pt x="49" y="5"/>
                    </a:lnTo>
                    <a:lnTo>
                      <a:pt x="52" y="3"/>
                    </a:lnTo>
                    <a:lnTo>
                      <a:pt x="55" y="2"/>
                    </a:lnTo>
                    <a:lnTo>
                      <a:pt x="62" y="0"/>
                    </a:lnTo>
                    <a:lnTo>
                      <a:pt x="67" y="2"/>
                    </a:lnTo>
                    <a:lnTo>
                      <a:pt x="69" y="3"/>
                    </a:lnTo>
                    <a:lnTo>
                      <a:pt x="74" y="5"/>
                    </a:lnTo>
                    <a:lnTo>
                      <a:pt x="75" y="8"/>
                    </a:lnTo>
                    <a:lnTo>
                      <a:pt x="81" y="13"/>
                    </a:lnTo>
                    <a:lnTo>
                      <a:pt x="83" y="13"/>
                    </a:lnTo>
                    <a:lnTo>
                      <a:pt x="84" y="12"/>
                    </a:lnTo>
                    <a:lnTo>
                      <a:pt x="88" y="12"/>
                    </a:lnTo>
                    <a:lnTo>
                      <a:pt x="93" y="13"/>
                    </a:lnTo>
                    <a:lnTo>
                      <a:pt x="94" y="15"/>
                    </a:lnTo>
                    <a:lnTo>
                      <a:pt x="96" y="16"/>
                    </a:lnTo>
                    <a:lnTo>
                      <a:pt x="97" y="18"/>
                    </a:lnTo>
                    <a:lnTo>
                      <a:pt x="99" y="19"/>
                    </a:lnTo>
                    <a:lnTo>
                      <a:pt x="99" y="21"/>
                    </a:lnTo>
                    <a:lnTo>
                      <a:pt x="97" y="29"/>
                    </a:lnTo>
                    <a:lnTo>
                      <a:pt x="99" y="31"/>
                    </a:lnTo>
                    <a:lnTo>
                      <a:pt x="100" y="31"/>
                    </a:lnTo>
                    <a:lnTo>
                      <a:pt x="100" y="34"/>
                    </a:lnTo>
                    <a:lnTo>
                      <a:pt x="106" y="42"/>
                    </a:lnTo>
                    <a:lnTo>
                      <a:pt x="106" y="50"/>
                    </a:lnTo>
                    <a:lnTo>
                      <a:pt x="103" y="50"/>
                    </a:lnTo>
                    <a:lnTo>
                      <a:pt x="97" y="54"/>
                    </a:lnTo>
                    <a:lnTo>
                      <a:pt x="97" y="56"/>
                    </a:lnTo>
                    <a:lnTo>
                      <a:pt x="94" y="58"/>
                    </a:lnTo>
                    <a:lnTo>
                      <a:pt x="93" y="60"/>
                    </a:lnTo>
                    <a:lnTo>
                      <a:pt x="88" y="58"/>
                    </a:lnTo>
                    <a:lnTo>
                      <a:pt x="87" y="58"/>
                    </a:lnTo>
                    <a:lnTo>
                      <a:pt x="85" y="61"/>
                    </a:lnTo>
                    <a:lnTo>
                      <a:pt x="84" y="63"/>
                    </a:lnTo>
                    <a:lnTo>
                      <a:pt x="83" y="61"/>
                    </a:lnTo>
                    <a:lnTo>
                      <a:pt x="81" y="61"/>
                    </a:lnTo>
                    <a:lnTo>
                      <a:pt x="78" y="60"/>
                    </a:lnTo>
                    <a:lnTo>
                      <a:pt x="74" y="54"/>
                    </a:lnTo>
                    <a:lnTo>
                      <a:pt x="67" y="50"/>
                    </a:lnTo>
                    <a:lnTo>
                      <a:pt x="62" y="50"/>
                    </a:lnTo>
                    <a:lnTo>
                      <a:pt x="61" y="48"/>
                    </a:lnTo>
                    <a:lnTo>
                      <a:pt x="58" y="42"/>
                    </a:lnTo>
                    <a:lnTo>
                      <a:pt x="56" y="41"/>
                    </a:lnTo>
                    <a:lnTo>
                      <a:pt x="55" y="42"/>
                    </a:lnTo>
                    <a:lnTo>
                      <a:pt x="52" y="45"/>
                    </a:lnTo>
                    <a:lnTo>
                      <a:pt x="48" y="47"/>
                    </a:lnTo>
                    <a:lnTo>
                      <a:pt x="40" y="42"/>
                    </a:lnTo>
                    <a:lnTo>
                      <a:pt x="33" y="42"/>
                    </a:lnTo>
                    <a:lnTo>
                      <a:pt x="32" y="42"/>
                    </a:lnTo>
                    <a:lnTo>
                      <a:pt x="30" y="42"/>
                    </a:lnTo>
                    <a:lnTo>
                      <a:pt x="27" y="44"/>
                    </a:lnTo>
                    <a:lnTo>
                      <a:pt x="26" y="44"/>
                    </a:lnTo>
                    <a:lnTo>
                      <a:pt x="23" y="42"/>
                    </a:lnTo>
                    <a:lnTo>
                      <a:pt x="17" y="42"/>
                    </a:lnTo>
                    <a:lnTo>
                      <a:pt x="7" y="47"/>
                    </a:lnTo>
                    <a:lnTo>
                      <a:pt x="6" y="50"/>
                    </a:lnTo>
                    <a:lnTo>
                      <a:pt x="4" y="51"/>
                    </a:lnTo>
                    <a:lnTo>
                      <a:pt x="1" y="5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00" name="Freeform 1699"/>
              <p:cNvSpPr>
                <a:spLocks/>
              </p:cNvSpPr>
              <p:nvPr/>
            </p:nvSpPr>
            <p:spPr bwMode="auto">
              <a:xfrm>
                <a:off x="6021534" y="2097218"/>
                <a:ext cx="5267" cy="1015"/>
              </a:xfrm>
              <a:custGeom>
                <a:avLst/>
                <a:gdLst/>
                <a:ahLst/>
                <a:cxnLst>
                  <a:cxn ang="0">
                    <a:pos x="6" y="1"/>
                  </a:cxn>
                  <a:cxn ang="0">
                    <a:pos x="5" y="0"/>
                  </a:cxn>
                  <a:cxn ang="0">
                    <a:pos x="2" y="0"/>
                  </a:cxn>
                  <a:cxn ang="0">
                    <a:pos x="0" y="0"/>
                  </a:cxn>
                  <a:cxn ang="0">
                    <a:pos x="2" y="1"/>
                  </a:cxn>
                  <a:cxn ang="0">
                    <a:pos x="5" y="1"/>
                  </a:cxn>
                  <a:cxn ang="0">
                    <a:pos x="6" y="1"/>
                  </a:cxn>
                </a:cxnLst>
                <a:rect l="0" t="0" r="r" b="b"/>
                <a:pathLst>
                  <a:path w="6" h="1">
                    <a:moveTo>
                      <a:pt x="6" y="1"/>
                    </a:moveTo>
                    <a:lnTo>
                      <a:pt x="5" y="0"/>
                    </a:lnTo>
                    <a:lnTo>
                      <a:pt x="2" y="0"/>
                    </a:lnTo>
                    <a:lnTo>
                      <a:pt x="0" y="0"/>
                    </a:lnTo>
                    <a:lnTo>
                      <a:pt x="2" y="1"/>
                    </a:lnTo>
                    <a:lnTo>
                      <a:pt x="5" y="1"/>
                    </a:lnTo>
                    <a:lnTo>
                      <a:pt x="6" y="1"/>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01" name="Freeform 1700"/>
              <p:cNvSpPr>
                <a:spLocks/>
              </p:cNvSpPr>
              <p:nvPr/>
            </p:nvSpPr>
            <p:spPr bwMode="auto">
              <a:xfrm>
                <a:off x="6021534" y="2097218"/>
                <a:ext cx="5267" cy="1015"/>
              </a:xfrm>
              <a:custGeom>
                <a:avLst/>
                <a:gdLst/>
                <a:ahLst/>
                <a:cxnLst>
                  <a:cxn ang="0">
                    <a:pos x="6" y="1"/>
                  </a:cxn>
                  <a:cxn ang="0">
                    <a:pos x="5" y="0"/>
                  </a:cxn>
                  <a:cxn ang="0">
                    <a:pos x="2" y="0"/>
                  </a:cxn>
                  <a:cxn ang="0">
                    <a:pos x="0" y="0"/>
                  </a:cxn>
                  <a:cxn ang="0">
                    <a:pos x="2" y="1"/>
                  </a:cxn>
                  <a:cxn ang="0">
                    <a:pos x="5" y="1"/>
                  </a:cxn>
                  <a:cxn ang="0">
                    <a:pos x="6" y="1"/>
                  </a:cxn>
                </a:cxnLst>
                <a:rect l="0" t="0" r="r" b="b"/>
                <a:pathLst>
                  <a:path w="6" h="1">
                    <a:moveTo>
                      <a:pt x="6" y="1"/>
                    </a:moveTo>
                    <a:lnTo>
                      <a:pt x="5" y="0"/>
                    </a:lnTo>
                    <a:lnTo>
                      <a:pt x="2" y="0"/>
                    </a:lnTo>
                    <a:lnTo>
                      <a:pt x="0" y="0"/>
                    </a:lnTo>
                    <a:lnTo>
                      <a:pt x="2" y="1"/>
                    </a:lnTo>
                    <a:lnTo>
                      <a:pt x="5" y="1"/>
                    </a:lnTo>
                    <a:lnTo>
                      <a:pt x="6" y="1"/>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02" name="Freeform 1701"/>
              <p:cNvSpPr>
                <a:spLocks/>
              </p:cNvSpPr>
              <p:nvPr/>
            </p:nvSpPr>
            <p:spPr bwMode="auto">
              <a:xfrm>
                <a:off x="6024167" y="2091132"/>
                <a:ext cx="6145" cy="10141"/>
              </a:xfrm>
              <a:custGeom>
                <a:avLst/>
                <a:gdLst/>
                <a:ahLst/>
                <a:cxnLst>
                  <a:cxn ang="0">
                    <a:pos x="7" y="10"/>
                  </a:cxn>
                  <a:cxn ang="0">
                    <a:pos x="7" y="10"/>
                  </a:cxn>
                  <a:cxn ang="0">
                    <a:pos x="7" y="7"/>
                  </a:cxn>
                  <a:cxn ang="0">
                    <a:pos x="4" y="1"/>
                  </a:cxn>
                  <a:cxn ang="0">
                    <a:pos x="2" y="0"/>
                  </a:cxn>
                  <a:cxn ang="0">
                    <a:pos x="0" y="3"/>
                  </a:cxn>
                  <a:cxn ang="0">
                    <a:pos x="0" y="4"/>
                  </a:cxn>
                  <a:cxn ang="0">
                    <a:pos x="3" y="6"/>
                  </a:cxn>
                  <a:cxn ang="0">
                    <a:pos x="6" y="7"/>
                  </a:cxn>
                  <a:cxn ang="0">
                    <a:pos x="6" y="10"/>
                  </a:cxn>
                  <a:cxn ang="0">
                    <a:pos x="6" y="10"/>
                  </a:cxn>
                  <a:cxn ang="0">
                    <a:pos x="7" y="10"/>
                  </a:cxn>
                </a:cxnLst>
                <a:rect l="0" t="0" r="r" b="b"/>
                <a:pathLst>
                  <a:path w="7" h="10">
                    <a:moveTo>
                      <a:pt x="7" y="10"/>
                    </a:moveTo>
                    <a:lnTo>
                      <a:pt x="7" y="10"/>
                    </a:lnTo>
                    <a:lnTo>
                      <a:pt x="7" y="7"/>
                    </a:lnTo>
                    <a:lnTo>
                      <a:pt x="4" y="1"/>
                    </a:lnTo>
                    <a:lnTo>
                      <a:pt x="2" y="0"/>
                    </a:lnTo>
                    <a:lnTo>
                      <a:pt x="0" y="3"/>
                    </a:lnTo>
                    <a:lnTo>
                      <a:pt x="0" y="4"/>
                    </a:lnTo>
                    <a:lnTo>
                      <a:pt x="3" y="6"/>
                    </a:lnTo>
                    <a:lnTo>
                      <a:pt x="6" y="7"/>
                    </a:lnTo>
                    <a:lnTo>
                      <a:pt x="6" y="10"/>
                    </a:lnTo>
                    <a:lnTo>
                      <a:pt x="6" y="10"/>
                    </a:lnTo>
                    <a:lnTo>
                      <a:pt x="7" y="1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03" name="Freeform 1702"/>
              <p:cNvSpPr>
                <a:spLocks/>
              </p:cNvSpPr>
              <p:nvPr/>
            </p:nvSpPr>
            <p:spPr bwMode="auto">
              <a:xfrm>
                <a:off x="6024167" y="2091132"/>
                <a:ext cx="6145" cy="10141"/>
              </a:xfrm>
              <a:custGeom>
                <a:avLst/>
                <a:gdLst/>
                <a:ahLst/>
                <a:cxnLst>
                  <a:cxn ang="0">
                    <a:pos x="7" y="10"/>
                  </a:cxn>
                  <a:cxn ang="0">
                    <a:pos x="7" y="10"/>
                  </a:cxn>
                  <a:cxn ang="0">
                    <a:pos x="7" y="7"/>
                  </a:cxn>
                  <a:cxn ang="0">
                    <a:pos x="4" y="1"/>
                  </a:cxn>
                  <a:cxn ang="0">
                    <a:pos x="2" y="0"/>
                  </a:cxn>
                  <a:cxn ang="0">
                    <a:pos x="0" y="3"/>
                  </a:cxn>
                  <a:cxn ang="0">
                    <a:pos x="0" y="4"/>
                  </a:cxn>
                  <a:cxn ang="0">
                    <a:pos x="3" y="6"/>
                  </a:cxn>
                  <a:cxn ang="0">
                    <a:pos x="6" y="7"/>
                  </a:cxn>
                  <a:cxn ang="0">
                    <a:pos x="6" y="10"/>
                  </a:cxn>
                  <a:cxn ang="0">
                    <a:pos x="6" y="10"/>
                  </a:cxn>
                  <a:cxn ang="0">
                    <a:pos x="7" y="10"/>
                  </a:cxn>
                </a:cxnLst>
                <a:rect l="0" t="0" r="r" b="b"/>
                <a:pathLst>
                  <a:path w="7" h="10">
                    <a:moveTo>
                      <a:pt x="7" y="10"/>
                    </a:moveTo>
                    <a:lnTo>
                      <a:pt x="7" y="10"/>
                    </a:lnTo>
                    <a:lnTo>
                      <a:pt x="7" y="7"/>
                    </a:lnTo>
                    <a:lnTo>
                      <a:pt x="4" y="1"/>
                    </a:lnTo>
                    <a:lnTo>
                      <a:pt x="2" y="0"/>
                    </a:lnTo>
                    <a:lnTo>
                      <a:pt x="0" y="3"/>
                    </a:lnTo>
                    <a:lnTo>
                      <a:pt x="0" y="4"/>
                    </a:lnTo>
                    <a:lnTo>
                      <a:pt x="3" y="6"/>
                    </a:lnTo>
                    <a:lnTo>
                      <a:pt x="6" y="7"/>
                    </a:lnTo>
                    <a:lnTo>
                      <a:pt x="6" y="10"/>
                    </a:lnTo>
                    <a:lnTo>
                      <a:pt x="6" y="10"/>
                    </a:lnTo>
                    <a:lnTo>
                      <a:pt x="7" y="1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04" name="Freeform 1703"/>
              <p:cNvSpPr>
                <a:spLocks/>
              </p:cNvSpPr>
              <p:nvPr/>
            </p:nvSpPr>
            <p:spPr bwMode="auto">
              <a:xfrm>
                <a:off x="6027678" y="2091132"/>
                <a:ext cx="5267" cy="7099"/>
              </a:xfrm>
              <a:custGeom>
                <a:avLst/>
                <a:gdLst/>
                <a:ahLst/>
                <a:cxnLst>
                  <a:cxn ang="0">
                    <a:pos x="5" y="7"/>
                  </a:cxn>
                  <a:cxn ang="0">
                    <a:pos x="6" y="7"/>
                  </a:cxn>
                  <a:cxn ang="0">
                    <a:pos x="6" y="6"/>
                  </a:cxn>
                  <a:cxn ang="0">
                    <a:pos x="3" y="1"/>
                  </a:cxn>
                  <a:cxn ang="0">
                    <a:pos x="2" y="1"/>
                  </a:cxn>
                  <a:cxn ang="0">
                    <a:pos x="0" y="0"/>
                  </a:cxn>
                  <a:cxn ang="0">
                    <a:pos x="0" y="0"/>
                  </a:cxn>
                  <a:cxn ang="0">
                    <a:pos x="0" y="1"/>
                  </a:cxn>
                  <a:cxn ang="0">
                    <a:pos x="2" y="3"/>
                  </a:cxn>
                  <a:cxn ang="0">
                    <a:pos x="3" y="7"/>
                  </a:cxn>
                  <a:cxn ang="0">
                    <a:pos x="5" y="7"/>
                  </a:cxn>
                </a:cxnLst>
                <a:rect l="0" t="0" r="r" b="b"/>
                <a:pathLst>
                  <a:path w="6" h="7">
                    <a:moveTo>
                      <a:pt x="5" y="7"/>
                    </a:moveTo>
                    <a:lnTo>
                      <a:pt x="6" y="7"/>
                    </a:lnTo>
                    <a:lnTo>
                      <a:pt x="6" y="6"/>
                    </a:lnTo>
                    <a:lnTo>
                      <a:pt x="3" y="1"/>
                    </a:lnTo>
                    <a:lnTo>
                      <a:pt x="2" y="1"/>
                    </a:lnTo>
                    <a:lnTo>
                      <a:pt x="0" y="0"/>
                    </a:lnTo>
                    <a:lnTo>
                      <a:pt x="0" y="0"/>
                    </a:lnTo>
                    <a:lnTo>
                      <a:pt x="0" y="1"/>
                    </a:lnTo>
                    <a:lnTo>
                      <a:pt x="2" y="3"/>
                    </a:lnTo>
                    <a:lnTo>
                      <a:pt x="3" y="7"/>
                    </a:lnTo>
                    <a:lnTo>
                      <a:pt x="5" y="7"/>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05" name="Freeform 1704"/>
              <p:cNvSpPr>
                <a:spLocks/>
              </p:cNvSpPr>
              <p:nvPr/>
            </p:nvSpPr>
            <p:spPr bwMode="auto">
              <a:xfrm>
                <a:off x="6027678" y="2091132"/>
                <a:ext cx="5267" cy="7099"/>
              </a:xfrm>
              <a:custGeom>
                <a:avLst/>
                <a:gdLst/>
                <a:ahLst/>
                <a:cxnLst>
                  <a:cxn ang="0">
                    <a:pos x="5" y="7"/>
                  </a:cxn>
                  <a:cxn ang="0">
                    <a:pos x="6" y="7"/>
                  </a:cxn>
                  <a:cxn ang="0">
                    <a:pos x="6" y="6"/>
                  </a:cxn>
                  <a:cxn ang="0">
                    <a:pos x="3" y="1"/>
                  </a:cxn>
                  <a:cxn ang="0">
                    <a:pos x="2" y="1"/>
                  </a:cxn>
                  <a:cxn ang="0">
                    <a:pos x="0" y="0"/>
                  </a:cxn>
                  <a:cxn ang="0">
                    <a:pos x="0" y="0"/>
                  </a:cxn>
                  <a:cxn ang="0">
                    <a:pos x="0" y="1"/>
                  </a:cxn>
                  <a:cxn ang="0">
                    <a:pos x="2" y="3"/>
                  </a:cxn>
                  <a:cxn ang="0">
                    <a:pos x="3" y="7"/>
                  </a:cxn>
                  <a:cxn ang="0">
                    <a:pos x="5" y="7"/>
                  </a:cxn>
                </a:cxnLst>
                <a:rect l="0" t="0" r="r" b="b"/>
                <a:pathLst>
                  <a:path w="6" h="7">
                    <a:moveTo>
                      <a:pt x="5" y="7"/>
                    </a:moveTo>
                    <a:lnTo>
                      <a:pt x="6" y="7"/>
                    </a:lnTo>
                    <a:lnTo>
                      <a:pt x="6" y="6"/>
                    </a:lnTo>
                    <a:lnTo>
                      <a:pt x="3" y="1"/>
                    </a:lnTo>
                    <a:lnTo>
                      <a:pt x="2" y="1"/>
                    </a:lnTo>
                    <a:lnTo>
                      <a:pt x="0" y="0"/>
                    </a:lnTo>
                    <a:lnTo>
                      <a:pt x="0" y="0"/>
                    </a:lnTo>
                    <a:lnTo>
                      <a:pt x="0" y="1"/>
                    </a:lnTo>
                    <a:lnTo>
                      <a:pt x="2" y="3"/>
                    </a:lnTo>
                    <a:lnTo>
                      <a:pt x="3" y="7"/>
                    </a:lnTo>
                    <a:lnTo>
                      <a:pt x="5" y="7"/>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06" name="Freeform 1705"/>
              <p:cNvSpPr>
                <a:spLocks/>
              </p:cNvSpPr>
              <p:nvPr/>
            </p:nvSpPr>
            <p:spPr bwMode="auto">
              <a:xfrm>
                <a:off x="6032067" y="2091132"/>
                <a:ext cx="2633" cy="3043"/>
              </a:xfrm>
              <a:custGeom>
                <a:avLst/>
                <a:gdLst/>
                <a:ahLst/>
                <a:cxnLst>
                  <a:cxn ang="0">
                    <a:pos x="3" y="0"/>
                  </a:cxn>
                  <a:cxn ang="0">
                    <a:pos x="3" y="0"/>
                  </a:cxn>
                  <a:cxn ang="0">
                    <a:pos x="0" y="0"/>
                  </a:cxn>
                  <a:cxn ang="0">
                    <a:pos x="0" y="1"/>
                  </a:cxn>
                  <a:cxn ang="0">
                    <a:pos x="0" y="3"/>
                  </a:cxn>
                  <a:cxn ang="0">
                    <a:pos x="1" y="3"/>
                  </a:cxn>
                  <a:cxn ang="0">
                    <a:pos x="3" y="3"/>
                  </a:cxn>
                  <a:cxn ang="0">
                    <a:pos x="3" y="0"/>
                  </a:cxn>
                </a:cxnLst>
                <a:rect l="0" t="0" r="r" b="b"/>
                <a:pathLst>
                  <a:path w="3" h="3">
                    <a:moveTo>
                      <a:pt x="3" y="0"/>
                    </a:moveTo>
                    <a:lnTo>
                      <a:pt x="3" y="0"/>
                    </a:lnTo>
                    <a:lnTo>
                      <a:pt x="0" y="0"/>
                    </a:lnTo>
                    <a:lnTo>
                      <a:pt x="0" y="1"/>
                    </a:lnTo>
                    <a:lnTo>
                      <a:pt x="0" y="3"/>
                    </a:lnTo>
                    <a:lnTo>
                      <a:pt x="1" y="3"/>
                    </a:lnTo>
                    <a:lnTo>
                      <a:pt x="3" y="3"/>
                    </a:lnTo>
                    <a:lnTo>
                      <a:pt x="3"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07" name="Freeform 1706"/>
              <p:cNvSpPr>
                <a:spLocks/>
              </p:cNvSpPr>
              <p:nvPr/>
            </p:nvSpPr>
            <p:spPr bwMode="auto">
              <a:xfrm>
                <a:off x="6032067" y="2091132"/>
                <a:ext cx="2633" cy="3043"/>
              </a:xfrm>
              <a:custGeom>
                <a:avLst/>
                <a:gdLst/>
                <a:ahLst/>
                <a:cxnLst>
                  <a:cxn ang="0">
                    <a:pos x="3" y="0"/>
                  </a:cxn>
                  <a:cxn ang="0">
                    <a:pos x="3" y="0"/>
                  </a:cxn>
                  <a:cxn ang="0">
                    <a:pos x="0" y="0"/>
                  </a:cxn>
                  <a:cxn ang="0">
                    <a:pos x="0" y="1"/>
                  </a:cxn>
                  <a:cxn ang="0">
                    <a:pos x="0" y="3"/>
                  </a:cxn>
                  <a:cxn ang="0">
                    <a:pos x="1" y="3"/>
                  </a:cxn>
                  <a:cxn ang="0">
                    <a:pos x="3" y="3"/>
                  </a:cxn>
                  <a:cxn ang="0">
                    <a:pos x="3" y="0"/>
                  </a:cxn>
                </a:cxnLst>
                <a:rect l="0" t="0" r="r" b="b"/>
                <a:pathLst>
                  <a:path w="3" h="3">
                    <a:moveTo>
                      <a:pt x="3" y="0"/>
                    </a:moveTo>
                    <a:lnTo>
                      <a:pt x="3" y="0"/>
                    </a:lnTo>
                    <a:lnTo>
                      <a:pt x="0" y="0"/>
                    </a:lnTo>
                    <a:lnTo>
                      <a:pt x="0" y="1"/>
                    </a:lnTo>
                    <a:lnTo>
                      <a:pt x="0" y="3"/>
                    </a:lnTo>
                    <a:lnTo>
                      <a:pt x="1" y="3"/>
                    </a:lnTo>
                    <a:lnTo>
                      <a:pt x="3" y="3"/>
                    </a:lnTo>
                    <a:lnTo>
                      <a:pt x="3"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08" name="Freeform 1707"/>
              <p:cNvSpPr>
                <a:spLocks/>
              </p:cNvSpPr>
              <p:nvPr/>
            </p:nvSpPr>
            <p:spPr bwMode="auto">
              <a:xfrm>
                <a:off x="6029434" y="2102288"/>
                <a:ext cx="3511" cy="5071"/>
              </a:xfrm>
              <a:custGeom>
                <a:avLst/>
                <a:gdLst/>
                <a:ahLst/>
                <a:cxnLst>
                  <a:cxn ang="0">
                    <a:pos x="3" y="5"/>
                  </a:cxn>
                  <a:cxn ang="0">
                    <a:pos x="4" y="3"/>
                  </a:cxn>
                  <a:cxn ang="0">
                    <a:pos x="3" y="2"/>
                  </a:cxn>
                  <a:cxn ang="0">
                    <a:pos x="1" y="0"/>
                  </a:cxn>
                  <a:cxn ang="0">
                    <a:pos x="0" y="2"/>
                  </a:cxn>
                  <a:cxn ang="0">
                    <a:pos x="0" y="3"/>
                  </a:cxn>
                  <a:cxn ang="0">
                    <a:pos x="1" y="3"/>
                  </a:cxn>
                  <a:cxn ang="0">
                    <a:pos x="3" y="5"/>
                  </a:cxn>
                  <a:cxn ang="0">
                    <a:pos x="3" y="5"/>
                  </a:cxn>
                  <a:cxn ang="0">
                    <a:pos x="3" y="5"/>
                  </a:cxn>
                </a:cxnLst>
                <a:rect l="0" t="0" r="r" b="b"/>
                <a:pathLst>
                  <a:path w="4" h="5">
                    <a:moveTo>
                      <a:pt x="3" y="5"/>
                    </a:moveTo>
                    <a:lnTo>
                      <a:pt x="4" y="3"/>
                    </a:lnTo>
                    <a:lnTo>
                      <a:pt x="3" y="2"/>
                    </a:lnTo>
                    <a:lnTo>
                      <a:pt x="1" y="0"/>
                    </a:lnTo>
                    <a:lnTo>
                      <a:pt x="0" y="2"/>
                    </a:lnTo>
                    <a:lnTo>
                      <a:pt x="0" y="3"/>
                    </a:lnTo>
                    <a:lnTo>
                      <a:pt x="1" y="3"/>
                    </a:lnTo>
                    <a:lnTo>
                      <a:pt x="3" y="5"/>
                    </a:lnTo>
                    <a:lnTo>
                      <a:pt x="3" y="5"/>
                    </a:lnTo>
                    <a:lnTo>
                      <a:pt x="3" y="5"/>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09" name="Freeform 1708"/>
              <p:cNvSpPr>
                <a:spLocks/>
              </p:cNvSpPr>
              <p:nvPr/>
            </p:nvSpPr>
            <p:spPr bwMode="auto">
              <a:xfrm>
                <a:off x="6029434" y="2102288"/>
                <a:ext cx="3511" cy="5071"/>
              </a:xfrm>
              <a:custGeom>
                <a:avLst/>
                <a:gdLst/>
                <a:ahLst/>
                <a:cxnLst>
                  <a:cxn ang="0">
                    <a:pos x="3" y="5"/>
                  </a:cxn>
                  <a:cxn ang="0">
                    <a:pos x="4" y="3"/>
                  </a:cxn>
                  <a:cxn ang="0">
                    <a:pos x="3" y="2"/>
                  </a:cxn>
                  <a:cxn ang="0">
                    <a:pos x="1" y="0"/>
                  </a:cxn>
                  <a:cxn ang="0">
                    <a:pos x="0" y="2"/>
                  </a:cxn>
                  <a:cxn ang="0">
                    <a:pos x="0" y="3"/>
                  </a:cxn>
                  <a:cxn ang="0">
                    <a:pos x="1" y="3"/>
                  </a:cxn>
                  <a:cxn ang="0">
                    <a:pos x="3" y="5"/>
                  </a:cxn>
                  <a:cxn ang="0">
                    <a:pos x="3" y="5"/>
                  </a:cxn>
                  <a:cxn ang="0">
                    <a:pos x="3" y="5"/>
                  </a:cxn>
                </a:cxnLst>
                <a:rect l="0" t="0" r="r" b="b"/>
                <a:pathLst>
                  <a:path w="4" h="5">
                    <a:moveTo>
                      <a:pt x="3" y="5"/>
                    </a:moveTo>
                    <a:lnTo>
                      <a:pt x="4" y="3"/>
                    </a:lnTo>
                    <a:lnTo>
                      <a:pt x="3" y="2"/>
                    </a:lnTo>
                    <a:lnTo>
                      <a:pt x="1" y="0"/>
                    </a:lnTo>
                    <a:lnTo>
                      <a:pt x="0" y="2"/>
                    </a:lnTo>
                    <a:lnTo>
                      <a:pt x="0" y="3"/>
                    </a:lnTo>
                    <a:lnTo>
                      <a:pt x="1" y="3"/>
                    </a:lnTo>
                    <a:lnTo>
                      <a:pt x="3" y="5"/>
                    </a:lnTo>
                    <a:lnTo>
                      <a:pt x="3" y="5"/>
                    </a:lnTo>
                    <a:lnTo>
                      <a:pt x="3" y="5"/>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10" name="Freeform 1709"/>
              <p:cNvSpPr>
                <a:spLocks/>
              </p:cNvSpPr>
              <p:nvPr/>
            </p:nvSpPr>
            <p:spPr bwMode="auto">
              <a:xfrm>
                <a:off x="6027678" y="2110402"/>
                <a:ext cx="2634" cy="8113"/>
              </a:xfrm>
              <a:custGeom>
                <a:avLst/>
                <a:gdLst/>
                <a:ahLst/>
                <a:cxnLst>
                  <a:cxn ang="0">
                    <a:pos x="2" y="1"/>
                  </a:cxn>
                  <a:cxn ang="0">
                    <a:pos x="0" y="0"/>
                  </a:cxn>
                  <a:cxn ang="0">
                    <a:pos x="0" y="1"/>
                  </a:cxn>
                  <a:cxn ang="0">
                    <a:pos x="2" y="5"/>
                  </a:cxn>
                  <a:cxn ang="0">
                    <a:pos x="2" y="7"/>
                  </a:cxn>
                  <a:cxn ang="0">
                    <a:pos x="3" y="8"/>
                  </a:cxn>
                  <a:cxn ang="0">
                    <a:pos x="3" y="7"/>
                  </a:cxn>
                  <a:cxn ang="0">
                    <a:pos x="3" y="5"/>
                  </a:cxn>
                  <a:cxn ang="0">
                    <a:pos x="3" y="4"/>
                  </a:cxn>
                  <a:cxn ang="0">
                    <a:pos x="2" y="1"/>
                  </a:cxn>
                </a:cxnLst>
                <a:rect l="0" t="0" r="r" b="b"/>
                <a:pathLst>
                  <a:path w="3" h="8">
                    <a:moveTo>
                      <a:pt x="2" y="1"/>
                    </a:moveTo>
                    <a:lnTo>
                      <a:pt x="0" y="0"/>
                    </a:lnTo>
                    <a:lnTo>
                      <a:pt x="0" y="1"/>
                    </a:lnTo>
                    <a:lnTo>
                      <a:pt x="2" y="5"/>
                    </a:lnTo>
                    <a:lnTo>
                      <a:pt x="2" y="7"/>
                    </a:lnTo>
                    <a:lnTo>
                      <a:pt x="3" y="8"/>
                    </a:lnTo>
                    <a:lnTo>
                      <a:pt x="3" y="7"/>
                    </a:lnTo>
                    <a:lnTo>
                      <a:pt x="3" y="5"/>
                    </a:lnTo>
                    <a:lnTo>
                      <a:pt x="3" y="4"/>
                    </a:lnTo>
                    <a:lnTo>
                      <a:pt x="2" y="1"/>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11" name="Freeform 1710"/>
              <p:cNvSpPr>
                <a:spLocks/>
              </p:cNvSpPr>
              <p:nvPr/>
            </p:nvSpPr>
            <p:spPr bwMode="auto">
              <a:xfrm>
                <a:off x="6027678" y="2110402"/>
                <a:ext cx="2634" cy="8113"/>
              </a:xfrm>
              <a:custGeom>
                <a:avLst/>
                <a:gdLst/>
                <a:ahLst/>
                <a:cxnLst>
                  <a:cxn ang="0">
                    <a:pos x="2" y="1"/>
                  </a:cxn>
                  <a:cxn ang="0">
                    <a:pos x="0" y="0"/>
                  </a:cxn>
                  <a:cxn ang="0">
                    <a:pos x="0" y="1"/>
                  </a:cxn>
                  <a:cxn ang="0">
                    <a:pos x="2" y="5"/>
                  </a:cxn>
                  <a:cxn ang="0">
                    <a:pos x="2" y="7"/>
                  </a:cxn>
                  <a:cxn ang="0">
                    <a:pos x="3" y="8"/>
                  </a:cxn>
                  <a:cxn ang="0">
                    <a:pos x="3" y="7"/>
                  </a:cxn>
                  <a:cxn ang="0">
                    <a:pos x="3" y="5"/>
                  </a:cxn>
                  <a:cxn ang="0">
                    <a:pos x="3" y="4"/>
                  </a:cxn>
                  <a:cxn ang="0">
                    <a:pos x="2" y="1"/>
                  </a:cxn>
                </a:cxnLst>
                <a:rect l="0" t="0" r="r" b="b"/>
                <a:pathLst>
                  <a:path w="3" h="8">
                    <a:moveTo>
                      <a:pt x="2" y="1"/>
                    </a:moveTo>
                    <a:lnTo>
                      <a:pt x="0" y="0"/>
                    </a:lnTo>
                    <a:lnTo>
                      <a:pt x="0" y="1"/>
                    </a:lnTo>
                    <a:lnTo>
                      <a:pt x="2" y="5"/>
                    </a:lnTo>
                    <a:lnTo>
                      <a:pt x="2" y="7"/>
                    </a:lnTo>
                    <a:lnTo>
                      <a:pt x="3" y="8"/>
                    </a:lnTo>
                    <a:lnTo>
                      <a:pt x="3" y="7"/>
                    </a:lnTo>
                    <a:lnTo>
                      <a:pt x="3" y="5"/>
                    </a:lnTo>
                    <a:lnTo>
                      <a:pt x="3" y="4"/>
                    </a:lnTo>
                    <a:lnTo>
                      <a:pt x="2" y="1"/>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12" name="Freeform 1711"/>
              <p:cNvSpPr>
                <a:spLocks/>
              </p:cNvSpPr>
              <p:nvPr/>
            </p:nvSpPr>
            <p:spPr bwMode="auto">
              <a:xfrm>
                <a:off x="6309452" y="2291931"/>
                <a:ext cx="5267" cy="6085"/>
              </a:xfrm>
              <a:custGeom>
                <a:avLst/>
                <a:gdLst/>
                <a:ahLst/>
                <a:cxnLst>
                  <a:cxn ang="0">
                    <a:pos x="6" y="6"/>
                  </a:cxn>
                  <a:cxn ang="0">
                    <a:pos x="4" y="1"/>
                  </a:cxn>
                  <a:cxn ang="0">
                    <a:pos x="3" y="0"/>
                  </a:cxn>
                  <a:cxn ang="0">
                    <a:pos x="1" y="0"/>
                  </a:cxn>
                  <a:cxn ang="0">
                    <a:pos x="0" y="4"/>
                  </a:cxn>
                  <a:cxn ang="0">
                    <a:pos x="1" y="6"/>
                  </a:cxn>
                  <a:cxn ang="0">
                    <a:pos x="3" y="6"/>
                  </a:cxn>
                  <a:cxn ang="0">
                    <a:pos x="6" y="6"/>
                  </a:cxn>
                </a:cxnLst>
                <a:rect l="0" t="0" r="r" b="b"/>
                <a:pathLst>
                  <a:path w="6" h="6">
                    <a:moveTo>
                      <a:pt x="6" y="6"/>
                    </a:moveTo>
                    <a:lnTo>
                      <a:pt x="4" y="1"/>
                    </a:lnTo>
                    <a:lnTo>
                      <a:pt x="3" y="0"/>
                    </a:lnTo>
                    <a:lnTo>
                      <a:pt x="1" y="0"/>
                    </a:lnTo>
                    <a:lnTo>
                      <a:pt x="0" y="4"/>
                    </a:lnTo>
                    <a:lnTo>
                      <a:pt x="1" y="6"/>
                    </a:lnTo>
                    <a:lnTo>
                      <a:pt x="3" y="6"/>
                    </a:lnTo>
                    <a:lnTo>
                      <a:pt x="6" y="6"/>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13" name="Freeform 1712"/>
              <p:cNvSpPr>
                <a:spLocks/>
              </p:cNvSpPr>
              <p:nvPr/>
            </p:nvSpPr>
            <p:spPr bwMode="auto">
              <a:xfrm>
                <a:off x="6309452" y="2291931"/>
                <a:ext cx="5267" cy="6085"/>
              </a:xfrm>
              <a:custGeom>
                <a:avLst/>
                <a:gdLst/>
                <a:ahLst/>
                <a:cxnLst>
                  <a:cxn ang="0">
                    <a:pos x="6" y="6"/>
                  </a:cxn>
                  <a:cxn ang="0">
                    <a:pos x="4" y="1"/>
                  </a:cxn>
                  <a:cxn ang="0">
                    <a:pos x="3" y="0"/>
                  </a:cxn>
                  <a:cxn ang="0">
                    <a:pos x="1" y="0"/>
                  </a:cxn>
                  <a:cxn ang="0">
                    <a:pos x="0" y="4"/>
                  </a:cxn>
                  <a:cxn ang="0">
                    <a:pos x="1" y="6"/>
                  </a:cxn>
                  <a:cxn ang="0">
                    <a:pos x="3" y="6"/>
                  </a:cxn>
                  <a:cxn ang="0">
                    <a:pos x="6" y="6"/>
                  </a:cxn>
                </a:cxnLst>
                <a:rect l="0" t="0" r="r" b="b"/>
                <a:pathLst>
                  <a:path w="6" h="6">
                    <a:moveTo>
                      <a:pt x="6" y="6"/>
                    </a:moveTo>
                    <a:lnTo>
                      <a:pt x="4" y="1"/>
                    </a:lnTo>
                    <a:lnTo>
                      <a:pt x="3" y="0"/>
                    </a:lnTo>
                    <a:lnTo>
                      <a:pt x="1" y="0"/>
                    </a:lnTo>
                    <a:lnTo>
                      <a:pt x="0" y="4"/>
                    </a:lnTo>
                    <a:lnTo>
                      <a:pt x="1" y="6"/>
                    </a:lnTo>
                    <a:lnTo>
                      <a:pt x="3" y="6"/>
                    </a:lnTo>
                    <a:lnTo>
                      <a:pt x="6" y="6"/>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14" name="Freeform 1713"/>
              <p:cNvSpPr>
                <a:spLocks/>
              </p:cNvSpPr>
              <p:nvPr/>
            </p:nvSpPr>
            <p:spPr bwMode="auto">
              <a:xfrm>
                <a:off x="6273462" y="2299030"/>
                <a:ext cx="3511" cy="10141"/>
              </a:xfrm>
              <a:custGeom>
                <a:avLst/>
                <a:gdLst/>
                <a:ahLst/>
                <a:cxnLst>
                  <a:cxn ang="0">
                    <a:pos x="0" y="0"/>
                  </a:cxn>
                  <a:cxn ang="0">
                    <a:pos x="1" y="0"/>
                  </a:cxn>
                  <a:cxn ang="0">
                    <a:pos x="1" y="0"/>
                  </a:cxn>
                  <a:cxn ang="0">
                    <a:pos x="2" y="2"/>
                  </a:cxn>
                  <a:cxn ang="0">
                    <a:pos x="4" y="3"/>
                  </a:cxn>
                  <a:cxn ang="0">
                    <a:pos x="4" y="5"/>
                  </a:cxn>
                  <a:cxn ang="0">
                    <a:pos x="2" y="6"/>
                  </a:cxn>
                  <a:cxn ang="0">
                    <a:pos x="2" y="10"/>
                  </a:cxn>
                  <a:cxn ang="0">
                    <a:pos x="1" y="9"/>
                  </a:cxn>
                  <a:cxn ang="0">
                    <a:pos x="1" y="6"/>
                  </a:cxn>
                  <a:cxn ang="0">
                    <a:pos x="1" y="5"/>
                  </a:cxn>
                  <a:cxn ang="0">
                    <a:pos x="0" y="3"/>
                  </a:cxn>
                  <a:cxn ang="0">
                    <a:pos x="0" y="3"/>
                  </a:cxn>
                  <a:cxn ang="0">
                    <a:pos x="0" y="0"/>
                  </a:cxn>
                  <a:cxn ang="0">
                    <a:pos x="0" y="0"/>
                  </a:cxn>
                  <a:cxn ang="0">
                    <a:pos x="0" y="0"/>
                  </a:cxn>
                </a:cxnLst>
                <a:rect l="0" t="0" r="r" b="b"/>
                <a:pathLst>
                  <a:path w="4" h="10">
                    <a:moveTo>
                      <a:pt x="0" y="0"/>
                    </a:moveTo>
                    <a:lnTo>
                      <a:pt x="1" y="0"/>
                    </a:lnTo>
                    <a:lnTo>
                      <a:pt x="1" y="0"/>
                    </a:lnTo>
                    <a:lnTo>
                      <a:pt x="2" y="2"/>
                    </a:lnTo>
                    <a:lnTo>
                      <a:pt x="4" y="3"/>
                    </a:lnTo>
                    <a:lnTo>
                      <a:pt x="4" y="5"/>
                    </a:lnTo>
                    <a:lnTo>
                      <a:pt x="2" y="6"/>
                    </a:lnTo>
                    <a:lnTo>
                      <a:pt x="2" y="10"/>
                    </a:lnTo>
                    <a:lnTo>
                      <a:pt x="1" y="9"/>
                    </a:lnTo>
                    <a:lnTo>
                      <a:pt x="1" y="6"/>
                    </a:lnTo>
                    <a:lnTo>
                      <a:pt x="1" y="5"/>
                    </a:lnTo>
                    <a:lnTo>
                      <a:pt x="0" y="3"/>
                    </a:lnTo>
                    <a:lnTo>
                      <a:pt x="0" y="3"/>
                    </a:lnTo>
                    <a:lnTo>
                      <a:pt x="0" y="0"/>
                    </a:lnTo>
                    <a:lnTo>
                      <a:pt x="0" y="0"/>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15" name="Freeform 1714"/>
              <p:cNvSpPr>
                <a:spLocks/>
              </p:cNvSpPr>
              <p:nvPr/>
            </p:nvSpPr>
            <p:spPr bwMode="auto">
              <a:xfrm>
                <a:off x="6273462" y="2299030"/>
                <a:ext cx="3511" cy="10141"/>
              </a:xfrm>
              <a:custGeom>
                <a:avLst/>
                <a:gdLst/>
                <a:ahLst/>
                <a:cxnLst>
                  <a:cxn ang="0">
                    <a:pos x="0" y="0"/>
                  </a:cxn>
                  <a:cxn ang="0">
                    <a:pos x="1" y="0"/>
                  </a:cxn>
                  <a:cxn ang="0">
                    <a:pos x="1" y="0"/>
                  </a:cxn>
                  <a:cxn ang="0">
                    <a:pos x="2" y="2"/>
                  </a:cxn>
                  <a:cxn ang="0">
                    <a:pos x="4" y="3"/>
                  </a:cxn>
                  <a:cxn ang="0">
                    <a:pos x="4" y="5"/>
                  </a:cxn>
                  <a:cxn ang="0">
                    <a:pos x="2" y="6"/>
                  </a:cxn>
                  <a:cxn ang="0">
                    <a:pos x="2" y="10"/>
                  </a:cxn>
                  <a:cxn ang="0">
                    <a:pos x="1" y="9"/>
                  </a:cxn>
                  <a:cxn ang="0">
                    <a:pos x="1" y="6"/>
                  </a:cxn>
                  <a:cxn ang="0">
                    <a:pos x="1" y="5"/>
                  </a:cxn>
                  <a:cxn ang="0">
                    <a:pos x="0" y="3"/>
                  </a:cxn>
                  <a:cxn ang="0">
                    <a:pos x="0" y="3"/>
                  </a:cxn>
                  <a:cxn ang="0">
                    <a:pos x="0" y="0"/>
                  </a:cxn>
                  <a:cxn ang="0">
                    <a:pos x="0" y="0"/>
                  </a:cxn>
                  <a:cxn ang="0">
                    <a:pos x="0" y="0"/>
                  </a:cxn>
                </a:cxnLst>
                <a:rect l="0" t="0" r="r" b="b"/>
                <a:pathLst>
                  <a:path w="4" h="10">
                    <a:moveTo>
                      <a:pt x="0" y="0"/>
                    </a:moveTo>
                    <a:lnTo>
                      <a:pt x="1" y="0"/>
                    </a:lnTo>
                    <a:lnTo>
                      <a:pt x="1" y="0"/>
                    </a:lnTo>
                    <a:lnTo>
                      <a:pt x="2" y="2"/>
                    </a:lnTo>
                    <a:lnTo>
                      <a:pt x="4" y="3"/>
                    </a:lnTo>
                    <a:lnTo>
                      <a:pt x="4" y="5"/>
                    </a:lnTo>
                    <a:lnTo>
                      <a:pt x="2" y="6"/>
                    </a:lnTo>
                    <a:lnTo>
                      <a:pt x="2" y="10"/>
                    </a:lnTo>
                    <a:lnTo>
                      <a:pt x="1" y="9"/>
                    </a:lnTo>
                    <a:lnTo>
                      <a:pt x="1" y="6"/>
                    </a:lnTo>
                    <a:lnTo>
                      <a:pt x="1" y="5"/>
                    </a:lnTo>
                    <a:lnTo>
                      <a:pt x="0" y="3"/>
                    </a:lnTo>
                    <a:lnTo>
                      <a:pt x="0" y="3"/>
                    </a:lnTo>
                    <a:lnTo>
                      <a:pt x="0" y="0"/>
                    </a:lnTo>
                    <a:lnTo>
                      <a:pt x="0" y="0"/>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16" name="Freeform 1715"/>
              <p:cNvSpPr>
                <a:spLocks/>
              </p:cNvSpPr>
              <p:nvPr/>
            </p:nvSpPr>
            <p:spPr bwMode="auto">
              <a:xfrm>
                <a:off x="6262928" y="2299030"/>
                <a:ext cx="10534" cy="9127"/>
              </a:xfrm>
              <a:custGeom>
                <a:avLst/>
                <a:gdLst/>
                <a:ahLst/>
                <a:cxnLst>
                  <a:cxn ang="0">
                    <a:pos x="4" y="0"/>
                  </a:cxn>
                  <a:cxn ang="0">
                    <a:pos x="4" y="0"/>
                  </a:cxn>
                  <a:cxn ang="0">
                    <a:pos x="4" y="2"/>
                  </a:cxn>
                  <a:cxn ang="0">
                    <a:pos x="6" y="2"/>
                  </a:cxn>
                  <a:cxn ang="0">
                    <a:pos x="7" y="3"/>
                  </a:cxn>
                  <a:cxn ang="0">
                    <a:pos x="7" y="3"/>
                  </a:cxn>
                  <a:cxn ang="0">
                    <a:pos x="7" y="3"/>
                  </a:cxn>
                  <a:cxn ang="0">
                    <a:pos x="9" y="3"/>
                  </a:cxn>
                  <a:cxn ang="0">
                    <a:pos x="9" y="2"/>
                  </a:cxn>
                  <a:cxn ang="0">
                    <a:pos x="10" y="2"/>
                  </a:cxn>
                  <a:cxn ang="0">
                    <a:pos x="10" y="3"/>
                  </a:cxn>
                  <a:cxn ang="0">
                    <a:pos x="10" y="5"/>
                  </a:cxn>
                  <a:cxn ang="0">
                    <a:pos x="12" y="8"/>
                  </a:cxn>
                  <a:cxn ang="0">
                    <a:pos x="10" y="8"/>
                  </a:cxn>
                  <a:cxn ang="0">
                    <a:pos x="9" y="8"/>
                  </a:cxn>
                  <a:cxn ang="0">
                    <a:pos x="7" y="8"/>
                  </a:cxn>
                  <a:cxn ang="0">
                    <a:pos x="6" y="9"/>
                  </a:cxn>
                  <a:cxn ang="0">
                    <a:pos x="4" y="6"/>
                  </a:cxn>
                  <a:cxn ang="0">
                    <a:pos x="1" y="5"/>
                  </a:cxn>
                  <a:cxn ang="0">
                    <a:pos x="0" y="3"/>
                  </a:cxn>
                  <a:cxn ang="0">
                    <a:pos x="1" y="5"/>
                  </a:cxn>
                  <a:cxn ang="0">
                    <a:pos x="3" y="3"/>
                  </a:cxn>
                  <a:cxn ang="0">
                    <a:pos x="1" y="3"/>
                  </a:cxn>
                  <a:cxn ang="0">
                    <a:pos x="1" y="2"/>
                  </a:cxn>
                  <a:cxn ang="0">
                    <a:pos x="1" y="0"/>
                  </a:cxn>
                  <a:cxn ang="0">
                    <a:pos x="4" y="0"/>
                  </a:cxn>
                  <a:cxn ang="0">
                    <a:pos x="4" y="0"/>
                  </a:cxn>
                </a:cxnLst>
                <a:rect l="0" t="0" r="r" b="b"/>
                <a:pathLst>
                  <a:path w="12" h="9">
                    <a:moveTo>
                      <a:pt x="4" y="0"/>
                    </a:moveTo>
                    <a:lnTo>
                      <a:pt x="4" y="0"/>
                    </a:lnTo>
                    <a:lnTo>
                      <a:pt x="4" y="2"/>
                    </a:lnTo>
                    <a:lnTo>
                      <a:pt x="6" y="2"/>
                    </a:lnTo>
                    <a:lnTo>
                      <a:pt x="7" y="3"/>
                    </a:lnTo>
                    <a:lnTo>
                      <a:pt x="7" y="3"/>
                    </a:lnTo>
                    <a:lnTo>
                      <a:pt x="7" y="3"/>
                    </a:lnTo>
                    <a:lnTo>
                      <a:pt x="9" y="3"/>
                    </a:lnTo>
                    <a:lnTo>
                      <a:pt x="9" y="2"/>
                    </a:lnTo>
                    <a:lnTo>
                      <a:pt x="10" y="2"/>
                    </a:lnTo>
                    <a:lnTo>
                      <a:pt x="10" y="3"/>
                    </a:lnTo>
                    <a:lnTo>
                      <a:pt x="10" y="5"/>
                    </a:lnTo>
                    <a:lnTo>
                      <a:pt x="12" y="8"/>
                    </a:lnTo>
                    <a:lnTo>
                      <a:pt x="10" y="8"/>
                    </a:lnTo>
                    <a:lnTo>
                      <a:pt x="9" y="8"/>
                    </a:lnTo>
                    <a:lnTo>
                      <a:pt x="7" y="8"/>
                    </a:lnTo>
                    <a:lnTo>
                      <a:pt x="6" y="9"/>
                    </a:lnTo>
                    <a:lnTo>
                      <a:pt x="4" y="6"/>
                    </a:lnTo>
                    <a:lnTo>
                      <a:pt x="1" y="5"/>
                    </a:lnTo>
                    <a:lnTo>
                      <a:pt x="0" y="3"/>
                    </a:lnTo>
                    <a:lnTo>
                      <a:pt x="1" y="5"/>
                    </a:lnTo>
                    <a:lnTo>
                      <a:pt x="3" y="3"/>
                    </a:lnTo>
                    <a:lnTo>
                      <a:pt x="1" y="3"/>
                    </a:lnTo>
                    <a:lnTo>
                      <a:pt x="1" y="2"/>
                    </a:lnTo>
                    <a:lnTo>
                      <a:pt x="1" y="0"/>
                    </a:lnTo>
                    <a:lnTo>
                      <a:pt x="4" y="0"/>
                    </a:lnTo>
                    <a:lnTo>
                      <a:pt x="4"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17" name="Freeform 1716"/>
              <p:cNvSpPr>
                <a:spLocks/>
              </p:cNvSpPr>
              <p:nvPr/>
            </p:nvSpPr>
            <p:spPr bwMode="auto">
              <a:xfrm>
                <a:off x="6262928" y="2299030"/>
                <a:ext cx="10534" cy="9127"/>
              </a:xfrm>
              <a:custGeom>
                <a:avLst/>
                <a:gdLst/>
                <a:ahLst/>
                <a:cxnLst>
                  <a:cxn ang="0">
                    <a:pos x="4" y="0"/>
                  </a:cxn>
                  <a:cxn ang="0">
                    <a:pos x="4" y="0"/>
                  </a:cxn>
                  <a:cxn ang="0">
                    <a:pos x="4" y="2"/>
                  </a:cxn>
                  <a:cxn ang="0">
                    <a:pos x="6" y="2"/>
                  </a:cxn>
                  <a:cxn ang="0">
                    <a:pos x="7" y="3"/>
                  </a:cxn>
                  <a:cxn ang="0">
                    <a:pos x="7" y="3"/>
                  </a:cxn>
                  <a:cxn ang="0">
                    <a:pos x="7" y="3"/>
                  </a:cxn>
                  <a:cxn ang="0">
                    <a:pos x="9" y="3"/>
                  </a:cxn>
                  <a:cxn ang="0">
                    <a:pos x="9" y="2"/>
                  </a:cxn>
                  <a:cxn ang="0">
                    <a:pos x="10" y="2"/>
                  </a:cxn>
                  <a:cxn ang="0">
                    <a:pos x="10" y="3"/>
                  </a:cxn>
                  <a:cxn ang="0">
                    <a:pos x="10" y="5"/>
                  </a:cxn>
                  <a:cxn ang="0">
                    <a:pos x="12" y="8"/>
                  </a:cxn>
                  <a:cxn ang="0">
                    <a:pos x="10" y="8"/>
                  </a:cxn>
                  <a:cxn ang="0">
                    <a:pos x="9" y="8"/>
                  </a:cxn>
                  <a:cxn ang="0">
                    <a:pos x="7" y="8"/>
                  </a:cxn>
                  <a:cxn ang="0">
                    <a:pos x="6" y="9"/>
                  </a:cxn>
                  <a:cxn ang="0">
                    <a:pos x="4" y="6"/>
                  </a:cxn>
                  <a:cxn ang="0">
                    <a:pos x="1" y="5"/>
                  </a:cxn>
                  <a:cxn ang="0">
                    <a:pos x="0" y="3"/>
                  </a:cxn>
                  <a:cxn ang="0">
                    <a:pos x="1" y="5"/>
                  </a:cxn>
                  <a:cxn ang="0">
                    <a:pos x="3" y="3"/>
                  </a:cxn>
                  <a:cxn ang="0">
                    <a:pos x="1" y="3"/>
                  </a:cxn>
                  <a:cxn ang="0">
                    <a:pos x="1" y="2"/>
                  </a:cxn>
                  <a:cxn ang="0">
                    <a:pos x="1" y="0"/>
                  </a:cxn>
                  <a:cxn ang="0">
                    <a:pos x="4" y="0"/>
                  </a:cxn>
                  <a:cxn ang="0">
                    <a:pos x="4" y="0"/>
                  </a:cxn>
                </a:cxnLst>
                <a:rect l="0" t="0" r="r" b="b"/>
                <a:pathLst>
                  <a:path w="12" h="9">
                    <a:moveTo>
                      <a:pt x="4" y="0"/>
                    </a:moveTo>
                    <a:lnTo>
                      <a:pt x="4" y="0"/>
                    </a:lnTo>
                    <a:lnTo>
                      <a:pt x="4" y="2"/>
                    </a:lnTo>
                    <a:lnTo>
                      <a:pt x="6" y="2"/>
                    </a:lnTo>
                    <a:lnTo>
                      <a:pt x="7" y="3"/>
                    </a:lnTo>
                    <a:lnTo>
                      <a:pt x="7" y="3"/>
                    </a:lnTo>
                    <a:lnTo>
                      <a:pt x="7" y="3"/>
                    </a:lnTo>
                    <a:lnTo>
                      <a:pt x="9" y="3"/>
                    </a:lnTo>
                    <a:lnTo>
                      <a:pt x="9" y="2"/>
                    </a:lnTo>
                    <a:lnTo>
                      <a:pt x="10" y="2"/>
                    </a:lnTo>
                    <a:lnTo>
                      <a:pt x="10" y="3"/>
                    </a:lnTo>
                    <a:lnTo>
                      <a:pt x="10" y="5"/>
                    </a:lnTo>
                    <a:lnTo>
                      <a:pt x="12" y="8"/>
                    </a:lnTo>
                    <a:lnTo>
                      <a:pt x="10" y="8"/>
                    </a:lnTo>
                    <a:lnTo>
                      <a:pt x="9" y="8"/>
                    </a:lnTo>
                    <a:lnTo>
                      <a:pt x="7" y="8"/>
                    </a:lnTo>
                    <a:lnTo>
                      <a:pt x="6" y="9"/>
                    </a:lnTo>
                    <a:lnTo>
                      <a:pt x="4" y="6"/>
                    </a:lnTo>
                    <a:lnTo>
                      <a:pt x="1" y="5"/>
                    </a:lnTo>
                    <a:lnTo>
                      <a:pt x="0" y="3"/>
                    </a:lnTo>
                    <a:lnTo>
                      <a:pt x="1" y="5"/>
                    </a:lnTo>
                    <a:lnTo>
                      <a:pt x="3" y="3"/>
                    </a:lnTo>
                    <a:lnTo>
                      <a:pt x="1" y="3"/>
                    </a:lnTo>
                    <a:lnTo>
                      <a:pt x="1" y="2"/>
                    </a:lnTo>
                    <a:lnTo>
                      <a:pt x="1" y="0"/>
                    </a:lnTo>
                    <a:lnTo>
                      <a:pt x="4" y="0"/>
                    </a:lnTo>
                    <a:lnTo>
                      <a:pt x="4"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18" name="Freeform 1717"/>
              <p:cNvSpPr>
                <a:spLocks/>
              </p:cNvSpPr>
              <p:nvPr/>
            </p:nvSpPr>
            <p:spPr bwMode="auto">
              <a:xfrm>
                <a:off x="6247128" y="2282804"/>
                <a:ext cx="14045" cy="15211"/>
              </a:xfrm>
              <a:custGeom>
                <a:avLst/>
                <a:gdLst/>
                <a:ahLst/>
                <a:cxnLst>
                  <a:cxn ang="0">
                    <a:pos x="4" y="2"/>
                  </a:cxn>
                  <a:cxn ang="0">
                    <a:pos x="5" y="2"/>
                  </a:cxn>
                  <a:cxn ang="0">
                    <a:pos x="8" y="0"/>
                  </a:cxn>
                  <a:cxn ang="0">
                    <a:pos x="10" y="2"/>
                  </a:cxn>
                  <a:cxn ang="0">
                    <a:pos x="11" y="2"/>
                  </a:cxn>
                  <a:cxn ang="0">
                    <a:pos x="11" y="0"/>
                  </a:cxn>
                  <a:cxn ang="0">
                    <a:pos x="11" y="0"/>
                  </a:cxn>
                  <a:cxn ang="0">
                    <a:pos x="14" y="3"/>
                  </a:cxn>
                  <a:cxn ang="0">
                    <a:pos x="13" y="6"/>
                  </a:cxn>
                  <a:cxn ang="0">
                    <a:pos x="14" y="8"/>
                  </a:cxn>
                  <a:cxn ang="0">
                    <a:pos x="14" y="8"/>
                  </a:cxn>
                  <a:cxn ang="0">
                    <a:pos x="16" y="8"/>
                  </a:cxn>
                  <a:cxn ang="0">
                    <a:pos x="16" y="9"/>
                  </a:cxn>
                  <a:cxn ang="0">
                    <a:pos x="14" y="9"/>
                  </a:cxn>
                  <a:cxn ang="0">
                    <a:pos x="14" y="13"/>
                  </a:cxn>
                  <a:cxn ang="0">
                    <a:pos x="13" y="13"/>
                  </a:cxn>
                  <a:cxn ang="0">
                    <a:pos x="11" y="15"/>
                  </a:cxn>
                  <a:cxn ang="0">
                    <a:pos x="10" y="15"/>
                  </a:cxn>
                  <a:cxn ang="0">
                    <a:pos x="7" y="13"/>
                  </a:cxn>
                  <a:cxn ang="0">
                    <a:pos x="4" y="13"/>
                  </a:cxn>
                  <a:cxn ang="0">
                    <a:pos x="4" y="12"/>
                  </a:cxn>
                  <a:cxn ang="0">
                    <a:pos x="5" y="12"/>
                  </a:cxn>
                  <a:cxn ang="0">
                    <a:pos x="4" y="12"/>
                  </a:cxn>
                  <a:cxn ang="0">
                    <a:pos x="1" y="10"/>
                  </a:cxn>
                  <a:cxn ang="0">
                    <a:pos x="1" y="8"/>
                  </a:cxn>
                  <a:cxn ang="0">
                    <a:pos x="0" y="8"/>
                  </a:cxn>
                  <a:cxn ang="0">
                    <a:pos x="1" y="6"/>
                  </a:cxn>
                  <a:cxn ang="0">
                    <a:pos x="0" y="5"/>
                  </a:cxn>
                  <a:cxn ang="0">
                    <a:pos x="0" y="5"/>
                  </a:cxn>
                  <a:cxn ang="0">
                    <a:pos x="0" y="5"/>
                  </a:cxn>
                  <a:cxn ang="0">
                    <a:pos x="0" y="3"/>
                  </a:cxn>
                  <a:cxn ang="0">
                    <a:pos x="0" y="3"/>
                  </a:cxn>
                  <a:cxn ang="0">
                    <a:pos x="1" y="3"/>
                  </a:cxn>
                  <a:cxn ang="0">
                    <a:pos x="2" y="3"/>
                  </a:cxn>
                  <a:cxn ang="0">
                    <a:pos x="4" y="2"/>
                  </a:cxn>
                </a:cxnLst>
                <a:rect l="0" t="0" r="r" b="b"/>
                <a:pathLst>
                  <a:path w="16" h="15">
                    <a:moveTo>
                      <a:pt x="4" y="2"/>
                    </a:moveTo>
                    <a:lnTo>
                      <a:pt x="5" y="2"/>
                    </a:lnTo>
                    <a:lnTo>
                      <a:pt x="8" y="0"/>
                    </a:lnTo>
                    <a:lnTo>
                      <a:pt x="10" y="2"/>
                    </a:lnTo>
                    <a:lnTo>
                      <a:pt x="11" y="2"/>
                    </a:lnTo>
                    <a:lnTo>
                      <a:pt x="11" y="0"/>
                    </a:lnTo>
                    <a:lnTo>
                      <a:pt x="11" y="0"/>
                    </a:lnTo>
                    <a:lnTo>
                      <a:pt x="14" y="3"/>
                    </a:lnTo>
                    <a:lnTo>
                      <a:pt x="13" y="6"/>
                    </a:lnTo>
                    <a:lnTo>
                      <a:pt x="14" y="8"/>
                    </a:lnTo>
                    <a:lnTo>
                      <a:pt x="14" y="8"/>
                    </a:lnTo>
                    <a:lnTo>
                      <a:pt x="16" y="8"/>
                    </a:lnTo>
                    <a:lnTo>
                      <a:pt x="16" y="9"/>
                    </a:lnTo>
                    <a:lnTo>
                      <a:pt x="14" y="9"/>
                    </a:lnTo>
                    <a:lnTo>
                      <a:pt x="14" y="13"/>
                    </a:lnTo>
                    <a:lnTo>
                      <a:pt x="13" y="13"/>
                    </a:lnTo>
                    <a:lnTo>
                      <a:pt x="11" y="15"/>
                    </a:lnTo>
                    <a:lnTo>
                      <a:pt x="10" y="15"/>
                    </a:lnTo>
                    <a:lnTo>
                      <a:pt x="7" y="13"/>
                    </a:lnTo>
                    <a:lnTo>
                      <a:pt x="4" y="13"/>
                    </a:lnTo>
                    <a:lnTo>
                      <a:pt x="4" y="12"/>
                    </a:lnTo>
                    <a:lnTo>
                      <a:pt x="5" y="12"/>
                    </a:lnTo>
                    <a:lnTo>
                      <a:pt x="4" y="12"/>
                    </a:lnTo>
                    <a:lnTo>
                      <a:pt x="1" y="10"/>
                    </a:lnTo>
                    <a:lnTo>
                      <a:pt x="1" y="8"/>
                    </a:lnTo>
                    <a:lnTo>
                      <a:pt x="0" y="8"/>
                    </a:lnTo>
                    <a:lnTo>
                      <a:pt x="1" y="6"/>
                    </a:lnTo>
                    <a:lnTo>
                      <a:pt x="0" y="5"/>
                    </a:lnTo>
                    <a:lnTo>
                      <a:pt x="0" y="5"/>
                    </a:lnTo>
                    <a:lnTo>
                      <a:pt x="0" y="5"/>
                    </a:lnTo>
                    <a:lnTo>
                      <a:pt x="0" y="3"/>
                    </a:lnTo>
                    <a:lnTo>
                      <a:pt x="0" y="3"/>
                    </a:lnTo>
                    <a:lnTo>
                      <a:pt x="1" y="3"/>
                    </a:lnTo>
                    <a:lnTo>
                      <a:pt x="2" y="3"/>
                    </a:lnTo>
                    <a:lnTo>
                      <a:pt x="4"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19" name="Freeform 1718"/>
              <p:cNvSpPr>
                <a:spLocks/>
              </p:cNvSpPr>
              <p:nvPr/>
            </p:nvSpPr>
            <p:spPr bwMode="auto">
              <a:xfrm>
                <a:off x="6247128" y="2282804"/>
                <a:ext cx="14045" cy="15211"/>
              </a:xfrm>
              <a:custGeom>
                <a:avLst/>
                <a:gdLst/>
                <a:ahLst/>
                <a:cxnLst>
                  <a:cxn ang="0">
                    <a:pos x="4" y="2"/>
                  </a:cxn>
                  <a:cxn ang="0">
                    <a:pos x="5" y="2"/>
                  </a:cxn>
                  <a:cxn ang="0">
                    <a:pos x="8" y="0"/>
                  </a:cxn>
                  <a:cxn ang="0">
                    <a:pos x="10" y="2"/>
                  </a:cxn>
                  <a:cxn ang="0">
                    <a:pos x="11" y="2"/>
                  </a:cxn>
                  <a:cxn ang="0">
                    <a:pos x="11" y="0"/>
                  </a:cxn>
                  <a:cxn ang="0">
                    <a:pos x="11" y="0"/>
                  </a:cxn>
                  <a:cxn ang="0">
                    <a:pos x="14" y="3"/>
                  </a:cxn>
                  <a:cxn ang="0">
                    <a:pos x="13" y="6"/>
                  </a:cxn>
                  <a:cxn ang="0">
                    <a:pos x="14" y="8"/>
                  </a:cxn>
                  <a:cxn ang="0">
                    <a:pos x="14" y="8"/>
                  </a:cxn>
                  <a:cxn ang="0">
                    <a:pos x="16" y="8"/>
                  </a:cxn>
                  <a:cxn ang="0">
                    <a:pos x="16" y="9"/>
                  </a:cxn>
                  <a:cxn ang="0">
                    <a:pos x="14" y="9"/>
                  </a:cxn>
                  <a:cxn ang="0">
                    <a:pos x="14" y="13"/>
                  </a:cxn>
                  <a:cxn ang="0">
                    <a:pos x="13" y="13"/>
                  </a:cxn>
                  <a:cxn ang="0">
                    <a:pos x="11" y="15"/>
                  </a:cxn>
                  <a:cxn ang="0">
                    <a:pos x="10" y="15"/>
                  </a:cxn>
                  <a:cxn ang="0">
                    <a:pos x="7" y="13"/>
                  </a:cxn>
                  <a:cxn ang="0">
                    <a:pos x="4" y="13"/>
                  </a:cxn>
                  <a:cxn ang="0">
                    <a:pos x="4" y="12"/>
                  </a:cxn>
                  <a:cxn ang="0">
                    <a:pos x="5" y="12"/>
                  </a:cxn>
                  <a:cxn ang="0">
                    <a:pos x="4" y="12"/>
                  </a:cxn>
                  <a:cxn ang="0">
                    <a:pos x="1" y="10"/>
                  </a:cxn>
                  <a:cxn ang="0">
                    <a:pos x="1" y="8"/>
                  </a:cxn>
                  <a:cxn ang="0">
                    <a:pos x="0" y="8"/>
                  </a:cxn>
                  <a:cxn ang="0">
                    <a:pos x="1" y="6"/>
                  </a:cxn>
                  <a:cxn ang="0">
                    <a:pos x="0" y="5"/>
                  </a:cxn>
                  <a:cxn ang="0">
                    <a:pos x="0" y="5"/>
                  </a:cxn>
                  <a:cxn ang="0">
                    <a:pos x="0" y="5"/>
                  </a:cxn>
                  <a:cxn ang="0">
                    <a:pos x="0" y="3"/>
                  </a:cxn>
                  <a:cxn ang="0">
                    <a:pos x="0" y="3"/>
                  </a:cxn>
                  <a:cxn ang="0">
                    <a:pos x="1" y="3"/>
                  </a:cxn>
                  <a:cxn ang="0">
                    <a:pos x="2" y="3"/>
                  </a:cxn>
                  <a:cxn ang="0">
                    <a:pos x="4" y="2"/>
                  </a:cxn>
                </a:cxnLst>
                <a:rect l="0" t="0" r="r" b="b"/>
                <a:pathLst>
                  <a:path w="16" h="15">
                    <a:moveTo>
                      <a:pt x="4" y="2"/>
                    </a:moveTo>
                    <a:lnTo>
                      <a:pt x="5" y="2"/>
                    </a:lnTo>
                    <a:lnTo>
                      <a:pt x="8" y="0"/>
                    </a:lnTo>
                    <a:lnTo>
                      <a:pt x="10" y="2"/>
                    </a:lnTo>
                    <a:lnTo>
                      <a:pt x="11" y="2"/>
                    </a:lnTo>
                    <a:lnTo>
                      <a:pt x="11" y="0"/>
                    </a:lnTo>
                    <a:lnTo>
                      <a:pt x="11" y="0"/>
                    </a:lnTo>
                    <a:lnTo>
                      <a:pt x="14" y="3"/>
                    </a:lnTo>
                    <a:lnTo>
                      <a:pt x="13" y="6"/>
                    </a:lnTo>
                    <a:lnTo>
                      <a:pt x="14" y="8"/>
                    </a:lnTo>
                    <a:lnTo>
                      <a:pt x="14" y="8"/>
                    </a:lnTo>
                    <a:lnTo>
                      <a:pt x="16" y="8"/>
                    </a:lnTo>
                    <a:lnTo>
                      <a:pt x="16" y="9"/>
                    </a:lnTo>
                    <a:lnTo>
                      <a:pt x="14" y="9"/>
                    </a:lnTo>
                    <a:lnTo>
                      <a:pt x="14" y="13"/>
                    </a:lnTo>
                    <a:lnTo>
                      <a:pt x="13" y="13"/>
                    </a:lnTo>
                    <a:lnTo>
                      <a:pt x="11" y="15"/>
                    </a:lnTo>
                    <a:lnTo>
                      <a:pt x="10" y="15"/>
                    </a:lnTo>
                    <a:lnTo>
                      <a:pt x="7" y="13"/>
                    </a:lnTo>
                    <a:lnTo>
                      <a:pt x="4" y="13"/>
                    </a:lnTo>
                    <a:lnTo>
                      <a:pt x="4" y="12"/>
                    </a:lnTo>
                    <a:lnTo>
                      <a:pt x="5" y="12"/>
                    </a:lnTo>
                    <a:lnTo>
                      <a:pt x="4" y="12"/>
                    </a:lnTo>
                    <a:lnTo>
                      <a:pt x="1" y="10"/>
                    </a:lnTo>
                    <a:lnTo>
                      <a:pt x="1" y="8"/>
                    </a:lnTo>
                    <a:lnTo>
                      <a:pt x="0" y="8"/>
                    </a:lnTo>
                    <a:lnTo>
                      <a:pt x="1" y="6"/>
                    </a:lnTo>
                    <a:lnTo>
                      <a:pt x="0" y="5"/>
                    </a:lnTo>
                    <a:lnTo>
                      <a:pt x="0" y="5"/>
                    </a:lnTo>
                    <a:lnTo>
                      <a:pt x="0" y="5"/>
                    </a:lnTo>
                    <a:lnTo>
                      <a:pt x="0" y="3"/>
                    </a:lnTo>
                    <a:lnTo>
                      <a:pt x="0" y="3"/>
                    </a:lnTo>
                    <a:lnTo>
                      <a:pt x="1" y="3"/>
                    </a:lnTo>
                    <a:lnTo>
                      <a:pt x="2" y="3"/>
                    </a:lnTo>
                    <a:lnTo>
                      <a:pt x="4"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20" name="Freeform 1719"/>
              <p:cNvSpPr>
                <a:spLocks/>
              </p:cNvSpPr>
              <p:nvPr/>
            </p:nvSpPr>
            <p:spPr bwMode="auto">
              <a:xfrm>
                <a:off x="6258540" y="2294974"/>
                <a:ext cx="4389" cy="10141"/>
              </a:xfrm>
              <a:custGeom>
                <a:avLst/>
                <a:gdLst/>
                <a:ahLst/>
                <a:cxnLst>
                  <a:cxn ang="0">
                    <a:pos x="3" y="1"/>
                  </a:cxn>
                  <a:cxn ang="0">
                    <a:pos x="3" y="0"/>
                  </a:cxn>
                  <a:cxn ang="0">
                    <a:pos x="3" y="0"/>
                  </a:cxn>
                  <a:cxn ang="0">
                    <a:pos x="4" y="0"/>
                  </a:cxn>
                  <a:cxn ang="0">
                    <a:pos x="4" y="3"/>
                  </a:cxn>
                  <a:cxn ang="0">
                    <a:pos x="3" y="6"/>
                  </a:cxn>
                  <a:cxn ang="0">
                    <a:pos x="3" y="7"/>
                  </a:cxn>
                  <a:cxn ang="0">
                    <a:pos x="1" y="7"/>
                  </a:cxn>
                  <a:cxn ang="0">
                    <a:pos x="1" y="10"/>
                  </a:cxn>
                  <a:cxn ang="0">
                    <a:pos x="1" y="10"/>
                  </a:cxn>
                  <a:cxn ang="0">
                    <a:pos x="0" y="9"/>
                  </a:cxn>
                  <a:cxn ang="0">
                    <a:pos x="0" y="7"/>
                  </a:cxn>
                  <a:cxn ang="0">
                    <a:pos x="0" y="6"/>
                  </a:cxn>
                  <a:cxn ang="0">
                    <a:pos x="1" y="4"/>
                  </a:cxn>
                  <a:cxn ang="0">
                    <a:pos x="1" y="3"/>
                  </a:cxn>
                  <a:cxn ang="0">
                    <a:pos x="3" y="1"/>
                  </a:cxn>
                </a:cxnLst>
                <a:rect l="0" t="0" r="r" b="b"/>
                <a:pathLst>
                  <a:path w="4" h="10">
                    <a:moveTo>
                      <a:pt x="3" y="1"/>
                    </a:moveTo>
                    <a:lnTo>
                      <a:pt x="3" y="0"/>
                    </a:lnTo>
                    <a:lnTo>
                      <a:pt x="3" y="0"/>
                    </a:lnTo>
                    <a:lnTo>
                      <a:pt x="4" y="0"/>
                    </a:lnTo>
                    <a:lnTo>
                      <a:pt x="4" y="3"/>
                    </a:lnTo>
                    <a:lnTo>
                      <a:pt x="3" y="6"/>
                    </a:lnTo>
                    <a:lnTo>
                      <a:pt x="3" y="7"/>
                    </a:lnTo>
                    <a:lnTo>
                      <a:pt x="1" y="7"/>
                    </a:lnTo>
                    <a:lnTo>
                      <a:pt x="1" y="10"/>
                    </a:lnTo>
                    <a:lnTo>
                      <a:pt x="1" y="10"/>
                    </a:lnTo>
                    <a:lnTo>
                      <a:pt x="0" y="9"/>
                    </a:lnTo>
                    <a:lnTo>
                      <a:pt x="0" y="7"/>
                    </a:lnTo>
                    <a:lnTo>
                      <a:pt x="0" y="6"/>
                    </a:lnTo>
                    <a:lnTo>
                      <a:pt x="1" y="4"/>
                    </a:lnTo>
                    <a:lnTo>
                      <a:pt x="1" y="3"/>
                    </a:lnTo>
                    <a:lnTo>
                      <a:pt x="3"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21" name="Freeform 1720"/>
              <p:cNvSpPr>
                <a:spLocks/>
              </p:cNvSpPr>
              <p:nvPr/>
            </p:nvSpPr>
            <p:spPr bwMode="auto">
              <a:xfrm>
                <a:off x="6258540" y="2294974"/>
                <a:ext cx="4389" cy="10141"/>
              </a:xfrm>
              <a:custGeom>
                <a:avLst/>
                <a:gdLst/>
                <a:ahLst/>
                <a:cxnLst>
                  <a:cxn ang="0">
                    <a:pos x="3" y="1"/>
                  </a:cxn>
                  <a:cxn ang="0">
                    <a:pos x="3" y="0"/>
                  </a:cxn>
                  <a:cxn ang="0">
                    <a:pos x="3" y="0"/>
                  </a:cxn>
                  <a:cxn ang="0">
                    <a:pos x="4" y="0"/>
                  </a:cxn>
                  <a:cxn ang="0">
                    <a:pos x="4" y="3"/>
                  </a:cxn>
                  <a:cxn ang="0">
                    <a:pos x="3" y="6"/>
                  </a:cxn>
                  <a:cxn ang="0">
                    <a:pos x="3" y="7"/>
                  </a:cxn>
                  <a:cxn ang="0">
                    <a:pos x="1" y="7"/>
                  </a:cxn>
                  <a:cxn ang="0">
                    <a:pos x="1" y="10"/>
                  </a:cxn>
                  <a:cxn ang="0">
                    <a:pos x="1" y="10"/>
                  </a:cxn>
                  <a:cxn ang="0">
                    <a:pos x="0" y="9"/>
                  </a:cxn>
                  <a:cxn ang="0">
                    <a:pos x="0" y="7"/>
                  </a:cxn>
                  <a:cxn ang="0">
                    <a:pos x="0" y="6"/>
                  </a:cxn>
                  <a:cxn ang="0">
                    <a:pos x="1" y="4"/>
                  </a:cxn>
                  <a:cxn ang="0">
                    <a:pos x="1" y="3"/>
                  </a:cxn>
                  <a:cxn ang="0">
                    <a:pos x="3" y="1"/>
                  </a:cxn>
                </a:cxnLst>
                <a:rect l="0" t="0" r="r" b="b"/>
                <a:pathLst>
                  <a:path w="4" h="10">
                    <a:moveTo>
                      <a:pt x="3" y="1"/>
                    </a:moveTo>
                    <a:lnTo>
                      <a:pt x="3" y="0"/>
                    </a:lnTo>
                    <a:lnTo>
                      <a:pt x="3" y="0"/>
                    </a:lnTo>
                    <a:lnTo>
                      <a:pt x="4" y="0"/>
                    </a:lnTo>
                    <a:lnTo>
                      <a:pt x="4" y="3"/>
                    </a:lnTo>
                    <a:lnTo>
                      <a:pt x="3" y="6"/>
                    </a:lnTo>
                    <a:lnTo>
                      <a:pt x="3" y="7"/>
                    </a:lnTo>
                    <a:lnTo>
                      <a:pt x="1" y="7"/>
                    </a:lnTo>
                    <a:lnTo>
                      <a:pt x="1" y="10"/>
                    </a:lnTo>
                    <a:lnTo>
                      <a:pt x="1" y="10"/>
                    </a:lnTo>
                    <a:lnTo>
                      <a:pt x="0" y="9"/>
                    </a:lnTo>
                    <a:lnTo>
                      <a:pt x="0" y="7"/>
                    </a:lnTo>
                    <a:lnTo>
                      <a:pt x="0" y="6"/>
                    </a:lnTo>
                    <a:lnTo>
                      <a:pt x="1" y="4"/>
                    </a:lnTo>
                    <a:lnTo>
                      <a:pt x="1" y="3"/>
                    </a:lnTo>
                    <a:lnTo>
                      <a:pt x="3"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22" name="Freeform 1721"/>
              <p:cNvSpPr>
                <a:spLocks/>
              </p:cNvSpPr>
              <p:nvPr/>
            </p:nvSpPr>
            <p:spPr bwMode="auto">
              <a:xfrm>
                <a:off x="6262928" y="2268606"/>
                <a:ext cx="22823" cy="30424"/>
              </a:xfrm>
              <a:custGeom>
                <a:avLst/>
                <a:gdLst/>
                <a:ahLst/>
                <a:cxnLst>
                  <a:cxn ang="0">
                    <a:pos x="12" y="5"/>
                  </a:cxn>
                  <a:cxn ang="0">
                    <a:pos x="12" y="6"/>
                  </a:cxn>
                  <a:cxn ang="0">
                    <a:pos x="10" y="7"/>
                  </a:cxn>
                  <a:cxn ang="0">
                    <a:pos x="12" y="7"/>
                  </a:cxn>
                  <a:cxn ang="0">
                    <a:pos x="13" y="10"/>
                  </a:cxn>
                  <a:cxn ang="0">
                    <a:pos x="13" y="7"/>
                  </a:cxn>
                  <a:cxn ang="0">
                    <a:pos x="13" y="6"/>
                  </a:cxn>
                  <a:cxn ang="0">
                    <a:pos x="14" y="6"/>
                  </a:cxn>
                  <a:cxn ang="0">
                    <a:pos x="14" y="10"/>
                  </a:cxn>
                  <a:cxn ang="0">
                    <a:pos x="14" y="10"/>
                  </a:cxn>
                  <a:cxn ang="0">
                    <a:pos x="14" y="12"/>
                  </a:cxn>
                  <a:cxn ang="0">
                    <a:pos x="16" y="6"/>
                  </a:cxn>
                  <a:cxn ang="0">
                    <a:pos x="13" y="5"/>
                  </a:cxn>
                  <a:cxn ang="0">
                    <a:pos x="16" y="2"/>
                  </a:cxn>
                  <a:cxn ang="0">
                    <a:pos x="17" y="0"/>
                  </a:cxn>
                  <a:cxn ang="0">
                    <a:pos x="22" y="2"/>
                  </a:cxn>
                  <a:cxn ang="0">
                    <a:pos x="23" y="5"/>
                  </a:cxn>
                  <a:cxn ang="0">
                    <a:pos x="23" y="7"/>
                  </a:cxn>
                  <a:cxn ang="0">
                    <a:pos x="23" y="9"/>
                  </a:cxn>
                  <a:cxn ang="0">
                    <a:pos x="22" y="12"/>
                  </a:cxn>
                  <a:cxn ang="0">
                    <a:pos x="20" y="13"/>
                  </a:cxn>
                  <a:cxn ang="0">
                    <a:pos x="17" y="18"/>
                  </a:cxn>
                  <a:cxn ang="0">
                    <a:pos x="20" y="19"/>
                  </a:cxn>
                  <a:cxn ang="0">
                    <a:pos x="17" y="23"/>
                  </a:cxn>
                  <a:cxn ang="0">
                    <a:pos x="16" y="25"/>
                  </a:cxn>
                  <a:cxn ang="0">
                    <a:pos x="17" y="26"/>
                  </a:cxn>
                  <a:cxn ang="0">
                    <a:pos x="17" y="26"/>
                  </a:cxn>
                  <a:cxn ang="0">
                    <a:pos x="16" y="29"/>
                  </a:cxn>
                  <a:cxn ang="0">
                    <a:pos x="10" y="28"/>
                  </a:cxn>
                  <a:cxn ang="0">
                    <a:pos x="10" y="26"/>
                  </a:cxn>
                  <a:cxn ang="0">
                    <a:pos x="10" y="25"/>
                  </a:cxn>
                  <a:cxn ang="0">
                    <a:pos x="12" y="23"/>
                  </a:cxn>
                  <a:cxn ang="0">
                    <a:pos x="4" y="23"/>
                  </a:cxn>
                  <a:cxn ang="0">
                    <a:pos x="3" y="21"/>
                  </a:cxn>
                  <a:cxn ang="0">
                    <a:pos x="3" y="19"/>
                  </a:cxn>
                  <a:cxn ang="0">
                    <a:pos x="3" y="13"/>
                  </a:cxn>
                  <a:cxn ang="0">
                    <a:pos x="0" y="12"/>
                  </a:cxn>
                  <a:cxn ang="0">
                    <a:pos x="1" y="12"/>
                  </a:cxn>
                  <a:cxn ang="0">
                    <a:pos x="0" y="10"/>
                  </a:cxn>
                  <a:cxn ang="0">
                    <a:pos x="4" y="10"/>
                  </a:cxn>
                  <a:cxn ang="0">
                    <a:pos x="6" y="7"/>
                  </a:cxn>
                  <a:cxn ang="0">
                    <a:pos x="7" y="6"/>
                  </a:cxn>
                  <a:cxn ang="0">
                    <a:pos x="6" y="3"/>
                  </a:cxn>
                </a:cxnLst>
                <a:rect l="0" t="0" r="r" b="b"/>
                <a:pathLst>
                  <a:path w="25" h="29">
                    <a:moveTo>
                      <a:pt x="6" y="3"/>
                    </a:moveTo>
                    <a:lnTo>
                      <a:pt x="12" y="5"/>
                    </a:lnTo>
                    <a:lnTo>
                      <a:pt x="12" y="5"/>
                    </a:lnTo>
                    <a:lnTo>
                      <a:pt x="12" y="6"/>
                    </a:lnTo>
                    <a:lnTo>
                      <a:pt x="10" y="7"/>
                    </a:lnTo>
                    <a:lnTo>
                      <a:pt x="10" y="7"/>
                    </a:lnTo>
                    <a:lnTo>
                      <a:pt x="10" y="9"/>
                    </a:lnTo>
                    <a:lnTo>
                      <a:pt x="12" y="7"/>
                    </a:lnTo>
                    <a:lnTo>
                      <a:pt x="12" y="12"/>
                    </a:lnTo>
                    <a:lnTo>
                      <a:pt x="13" y="10"/>
                    </a:lnTo>
                    <a:lnTo>
                      <a:pt x="13" y="7"/>
                    </a:lnTo>
                    <a:lnTo>
                      <a:pt x="13" y="7"/>
                    </a:lnTo>
                    <a:lnTo>
                      <a:pt x="13" y="6"/>
                    </a:lnTo>
                    <a:lnTo>
                      <a:pt x="13" y="6"/>
                    </a:lnTo>
                    <a:lnTo>
                      <a:pt x="13" y="6"/>
                    </a:lnTo>
                    <a:lnTo>
                      <a:pt x="14" y="6"/>
                    </a:lnTo>
                    <a:lnTo>
                      <a:pt x="14" y="9"/>
                    </a:lnTo>
                    <a:lnTo>
                      <a:pt x="14" y="10"/>
                    </a:lnTo>
                    <a:lnTo>
                      <a:pt x="14" y="10"/>
                    </a:lnTo>
                    <a:lnTo>
                      <a:pt x="14" y="10"/>
                    </a:lnTo>
                    <a:lnTo>
                      <a:pt x="14" y="10"/>
                    </a:lnTo>
                    <a:lnTo>
                      <a:pt x="14" y="12"/>
                    </a:lnTo>
                    <a:lnTo>
                      <a:pt x="16" y="12"/>
                    </a:lnTo>
                    <a:lnTo>
                      <a:pt x="16" y="6"/>
                    </a:lnTo>
                    <a:lnTo>
                      <a:pt x="14" y="5"/>
                    </a:lnTo>
                    <a:lnTo>
                      <a:pt x="13" y="5"/>
                    </a:lnTo>
                    <a:lnTo>
                      <a:pt x="13" y="3"/>
                    </a:lnTo>
                    <a:lnTo>
                      <a:pt x="16" y="2"/>
                    </a:lnTo>
                    <a:lnTo>
                      <a:pt x="17" y="0"/>
                    </a:lnTo>
                    <a:lnTo>
                      <a:pt x="17" y="0"/>
                    </a:lnTo>
                    <a:lnTo>
                      <a:pt x="20" y="0"/>
                    </a:lnTo>
                    <a:lnTo>
                      <a:pt x="22" y="2"/>
                    </a:lnTo>
                    <a:lnTo>
                      <a:pt x="22" y="5"/>
                    </a:lnTo>
                    <a:lnTo>
                      <a:pt x="23" y="5"/>
                    </a:lnTo>
                    <a:lnTo>
                      <a:pt x="23" y="6"/>
                    </a:lnTo>
                    <a:lnTo>
                      <a:pt x="23" y="7"/>
                    </a:lnTo>
                    <a:lnTo>
                      <a:pt x="23" y="7"/>
                    </a:lnTo>
                    <a:lnTo>
                      <a:pt x="23" y="9"/>
                    </a:lnTo>
                    <a:lnTo>
                      <a:pt x="25" y="12"/>
                    </a:lnTo>
                    <a:lnTo>
                      <a:pt x="22" y="12"/>
                    </a:lnTo>
                    <a:lnTo>
                      <a:pt x="22" y="13"/>
                    </a:lnTo>
                    <a:lnTo>
                      <a:pt x="20" y="13"/>
                    </a:lnTo>
                    <a:lnTo>
                      <a:pt x="19" y="16"/>
                    </a:lnTo>
                    <a:lnTo>
                      <a:pt x="17" y="18"/>
                    </a:lnTo>
                    <a:lnTo>
                      <a:pt x="20" y="18"/>
                    </a:lnTo>
                    <a:lnTo>
                      <a:pt x="20" y="19"/>
                    </a:lnTo>
                    <a:lnTo>
                      <a:pt x="20" y="22"/>
                    </a:lnTo>
                    <a:lnTo>
                      <a:pt x="17" y="23"/>
                    </a:lnTo>
                    <a:lnTo>
                      <a:pt x="16" y="23"/>
                    </a:lnTo>
                    <a:lnTo>
                      <a:pt x="16" y="25"/>
                    </a:lnTo>
                    <a:lnTo>
                      <a:pt x="17" y="25"/>
                    </a:lnTo>
                    <a:lnTo>
                      <a:pt x="17" y="26"/>
                    </a:lnTo>
                    <a:lnTo>
                      <a:pt x="17" y="26"/>
                    </a:lnTo>
                    <a:lnTo>
                      <a:pt x="17" y="26"/>
                    </a:lnTo>
                    <a:lnTo>
                      <a:pt x="17" y="28"/>
                    </a:lnTo>
                    <a:lnTo>
                      <a:pt x="16" y="29"/>
                    </a:lnTo>
                    <a:lnTo>
                      <a:pt x="14" y="28"/>
                    </a:lnTo>
                    <a:lnTo>
                      <a:pt x="10" y="28"/>
                    </a:lnTo>
                    <a:lnTo>
                      <a:pt x="10" y="26"/>
                    </a:lnTo>
                    <a:lnTo>
                      <a:pt x="10" y="26"/>
                    </a:lnTo>
                    <a:lnTo>
                      <a:pt x="12" y="26"/>
                    </a:lnTo>
                    <a:lnTo>
                      <a:pt x="10" y="25"/>
                    </a:lnTo>
                    <a:lnTo>
                      <a:pt x="12" y="25"/>
                    </a:lnTo>
                    <a:lnTo>
                      <a:pt x="12" y="23"/>
                    </a:lnTo>
                    <a:lnTo>
                      <a:pt x="7" y="23"/>
                    </a:lnTo>
                    <a:lnTo>
                      <a:pt x="4" y="23"/>
                    </a:lnTo>
                    <a:lnTo>
                      <a:pt x="4" y="21"/>
                    </a:lnTo>
                    <a:lnTo>
                      <a:pt x="3" y="21"/>
                    </a:lnTo>
                    <a:lnTo>
                      <a:pt x="3" y="19"/>
                    </a:lnTo>
                    <a:lnTo>
                      <a:pt x="3" y="19"/>
                    </a:lnTo>
                    <a:lnTo>
                      <a:pt x="3" y="19"/>
                    </a:lnTo>
                    <a:lnTo>
                      <a:pt x="3" y="13"/>
                    </a:lnTo>
                    <a:lnTo>
                      <a:pt x="3" y="13"/>
                    </a:lnTo>
                    <a:lnTo>
                      <a:pt x="0" y="12"/>
                    </a:lnTo>
                    <a:lnTo>
                      <a:pt x="0" y="12"/>
                    </a:lnTo>
                    <a:lnTo>
                      <a:pt x="1" y="12"/>
                    </a:lnTo>
                    <a:lnTo>
                      <a:pt x="0" y="10"/>
                    </a:lnTo>
                    <a:lnTo>
                      <a:pt x="0" y="10"/>
                    </a:lnTo>
                    <a:lnTo>
                      <a:pt x="0" y="9"/>
                    </a:lnTo>
                    <a:lnTo>
                      <a:pt x="4" y="10"/>
                    </a:lnTo>
                    <a:lnTo>
                      <a:pt x="6" y="9"/>
                    </a:lnTo>
                    <a:lnTo>
                      <a:pt x="6" y="7"/>
                    </a:lnTo>
                    <a:lnTo>
                      <a:pt x="7" y="7"/>
                    </a:lnTo>
                    <a:lnTo>
                      <a:pt x="7" y="6"/>
                    </a:lnTo>
                    <a:lnTo>
                      <a:pt x="9" y="6"/>
                    </a:lnTo>
                    <a:lnTo>
                      <a:pt x="6"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23" name="Freeform 1722"/>
              <p:cNvSpPr>
                <a:spLocks/>
              </p:cNvSpPr>
              <p:nvPr/>
            </p:nvSpPr>
            <p:spPr bwMode="auto">
              <a:xfrm>
                <a:off x="6262928" y="2268606"/>
                <a:ext cx="22823" cy="30424"/>
              </a:xfrm>
              <a:custGeom>
                <a:avLst/>
                <a:gdLst/>
                <a:ahLst/>
                <a:cxnLst>
                  <a:cxn ang="0">
                    <a:pos x="12" y="5"/>
                  </a:cxn>
                  <a:cxn ang="0">
                    <a:pos x="12" y="6"/>
                  </a:cxn>
                  <a:cxn ang="0">
                    <a:pos x="10" y="7"/>
                  </a:cxn>
                  <a:cxn ang="0">
                    <a:pos x="12" y="7"/>
                  </a:cxn>
                  <a:cxn ang="0">
                    <a:pos x="13" y="10"/>
                  </a:cxn>
                  <a:cxn ang="0">
                    <a:pos x="13" y="7"/>
                  </a:cxn>
                  <a:cxn ang="0">
                    <a:pos x="13" y="6"/>
                  </a:cxn>
                  <a:cxn ang="0">
                    <a:pos x="14" y="6"/>
                  </a:cxn>
                  <a:cxn ang="0">
                    <a:pos x="14" y="10"/>
                  </a:cxn>
                  <a:cxn ang="0">
                    <a:pos x="14" y="10"/>
                  </a:cxn>
                  <a:cxn ang="0">
                    <a:pos x="14" y="12"/>
                  </a:cxn>
                  <a:cxn ang="0">
                    <a:pos x="16" y="6"/>
                  </a:cxn>
                  <a:cxn ang="0">
                    <a:pos x="13" y="5"/>
                  </a:cxn>
                  <a:cxn ang="0">
                    <a:pos x="16" y="2"/>
                  </a:cxn>
                  <a:cxn ang="0">
                    <a:pos x="17" y="0"/>
                  </a:cxn>
                  <a:cxn ang="0">
                    <a:pos x="22" y="2"/>
                  </a:cxn>
                  <a:cxn ang="0">
                    <a:pos x="23" y="5"/>
                  </a:cxn>
                  <a:cxn ang="0">
                    <a:pos x="23" y="7"/>
                  </a:cxn>
                  <a:cxn ang="0">
                    <a:pos x="23" y="9"/>
                  </a:cxn>
                  <a:cxn ang="0">
                    <a:pos x="22" y="12"/>
                  </a:cxn>
                  <a:cxn ang="0">
                    <a:pos x="20" y="13"/>
                  </a:cxn>
                  <a:cxn ang="0">
                    <a:pos x="17" y="18"/>
                  </a:cxn>
                  <a:cxn ang="0">
                    <a:pos x="20" y="19"/>
                  </a:cxn>
                  <a:cxn ang="0">
                    <a:pos x="17" y="23"/>
                  </a:cxn>
                  <a:cxn ang="0">
                    <a:pos x="16" y="25"/>
                  </a:cxn>
                  <a:cxn ang="0">
                    <a:pos x="17" y="26"/>
                  </a:cxn>
                  <a:cxn ang="0">
                    <a:pos x="17" y="26"/>
                  </a:cxn>
                  <a:cxn ang="0">
                    <a:pos x="16" y="29"/>
                  </a:cxn>
                  <a:cxn ang="0">
                    <a:pos x="10" y="28"/>
                  </a:cxn>
                  <a:cxn ang="0">
                    <a:pos x="10" y="26"/>
                  </a:cxn>
                  <a:cxn ang="0">
                    <a:pos x="10" y="25"/>
                  </a:cxn>
                  <a:cxn ang="0">
                    <a:pos x="12" y="23"/>
                  </a:cxn>
                  <a:cxn ang="0">
                    <a:pos x="4" y="23"/>
                  </a:cxn>
                  <a:cxn ang="0">
                    <a:pos x="3" y="21"/>
                  </a:cxn>
                  <a:cxn ang="0">
                    <a:pos x="3" y="19"/>
                  </a:cxn>
                  <a:cxn ang="0">
                    <a:pos x="3" y="13"/>
                  </a:cxn>
                  <a:cxn ang="0">
                    <a:pos x="0" y="12"/>
                  </a:cxn>
                  <a:cxn ang="0">
                    <a:pos x="1" y="12"/>
                  </a:cxn>
                  <a:cxn ang="0">
                    <a:pos x="0" y="10"/>
                  </a:cxn>
                  <a:cxn ang="0">
                    <a:pos x="4" y="10"/>
                  </a:cxn>
                  <a:cxn ang="0">
                    <a:pos x="6" y="7"/>
                  </a:cxn>
                  <a:cxn ang="0">
                    <a:pos x="7" y="6"/>
                  </a:cxn>
                  <a:cxn ang="0">
                    <a:pos x="6" y="3"/>
                  </a:cxn>
                </a:cxnLst>
                <a:rect l="0" t="0" r="r" b="b"/>
                <a:pathLst>
                  <a:path w="25" h="29">
                    <a:moveTo>
                      <a:pt x="6" y="3"/>
                    </a:moveTo>
                    <a:lnTo>
                      <a:pt x="12" y="5"/>
                    </a:lnTo>
                    <a:lnTo>
                      <a:pt x="12" y="5"/>
                    </a:lnTo>
                    <a:lnTo>
                      <a:pt x="12" y="6"/>
                    </a:lnTo>
                    <a:lnTo>
                      <a:pt x="10" y="7"/>
                    </a:lnTo>
                    <a:lnTo>
                      <a:pt x="10" y="7"/>
                    </a:lnTo>
                    <a:lnTo>
                      <a:pt x="10" y="9"/>
                    </a:lnTo>
                    <a:lnTo>
                      <a:pt x="12" y="7"/>
                    </a:lnTo>
                    <a:lnTo>
                      <a:pt x="12" y="12"/>
                    </a:lnTo>
                    <a:lnTo>
                      <a:pt x="13" y="10"/>
                    </a:lnTo>
                    <a:lnTo>
                      <a:pt x="13" y="7"/>
                    </a:lnTo>
                    <a:lnTo>
                      <a:pt x="13" y="7"/>
                    </a:lnTo>
                    <a:lnTo>
                      <a:pt x="13" y="6"/>
                    </a:lnTo>
                    <a:lnTo>
                      <a:pt x="13" y="6"/>
                    </a:lnTo>
                    <a:lnTo>
                      <a:pt x="13" y="6"/>
                    </a:lnTo>
                    <a:lnTo>
                      <a:pt x="14" y="6"/>
                    </a:lnTo>
                    <a:lnTo>
                      <a:pt x="14" y="9"/>
                    </a:lnTo>
                    <a:lnTo>
                      <a:pt x="14" y="10"/>
                    </a:lnTo>
                    <a:lnTo>
                      <a:pt x="14" y="10"/>
                    </a:lnTo>
                    <a:lnTo>
                      <a:pt x="14" y="10"/>
                    </a:lnTo>
                    <a:lnTo>
                      <a:pt x="14" y="10"/>
                    </a:lnTo>
                    <a:lnTo>
                      <a:pt x="14" y="12"/>
                    </a:lnTo>
                    <a:lnTo>
                      <a:pt x="16" y="12"/>
                    </a:lnTo>
                    <a:lnTo>
                      <a:pt x="16" y="6"/>
                    </a:lnTo>
                    <a:lnTo>
                      <a:pt x="14" y="5"/>
                    </a:lnTo>
                    <a:lnTo>
                      <a:pt x="13" y="5"/>
                    </a:lnTo>
                    <a:lnTo>
                      <a:pt x="13" y="3"/>
                    </a:lnTo>
                    <a:lnTo>
                      <a:pt x="16" y="2"/>
                    </a:lnTo>
                    <a:lnTo>
                      <a:pt x="17" y="0"/>
                    </a:lnTo>
                    <a:lnTo>
                      <a:pt x="17" y="0"/>
                    </a:lnTo>
                    <a:lnTo>
                      <a:pt x="20" y="0"/>
                    </a:lnTo>
                    <a:lnTo>
                      <a:pt x="22" y="2"/>
                    </a:lnTo>
                    <a:lnTo>
                      <a:pt x="22" y="5"/>
                    </a:lnTo>
                    <a:lnTo>
                      <a:pt x="23" y="5"/>
                    </a:lnTo>
                    <a:lnTo>
                      <a:pt x="23" y="6"/>
                    </a:lnTo>
                    <a:lnTo>
                      <a:pt x="23" y="7"/>
                    </a:lnTo>
                    <a:lnTo>
                      <a:pt x="23" y="7"/>
                    </a:lnTo>
                    <a:lnTo>
                      <a:pt x="23" y="9"/>
                    </a:lnTo>
                    <a:lnTo>
                      <a:pt x="25" y="12"/>
                    </a:lnTo>
                    <a:lnTo>
                      <a:pt x="22" y="12"/>
                    </a:lnTo>
                    <a:lnTo>
                      <a:pt x="22" y="13"/>
                    </a:lnTo>
                    <a:lnTo>
                      <a:pt x="20" y="13"/>
                    </a:lnTo>
                    <a:lnTo>
                      <a:pt x="19" y="16"/>
                    </a:lnTo>
                    <a:lnTo>
                      <a:pt x="17" y="18"/>
                    </a:lnTo>
                    <a:lnTo>
                      <a:pt x="20" y="18"/>
                    </a:lnTo>
                    <a:lnTo>
                      <a:pt x="20" y="19"/>
                    </a:lnTo>
                    <a:lnTo>
                      <a:pt x="20" y="22"/>
                    </a:lnTo>
                    <a:lnTo>
                      <a:pt x="17" y="23"/>
                    </a:lnTo>
                    <a:lnTo>
                      <a:pt x="16" y="23"/>
                    </a:lnTo>
                    <a:lnTo>
                      <a:pt x="16" y="25"/>
                    </a:lnTo>
                    <a:lnTo>
                      <a:pt x="17" y="25"/>
                    </a:lnTo>
                    <a:lnTo>
                      <a:pt x="17" y="26"/>
                    </a:lnTo>
                    <a:lnTo>
                      <a:pt x="17" y="26"/>
                    </a:lnTo>
                    <a:lnTo>
                      <a:pt x="17" y="26"/>
                    </a:lnTo>
                    <a:lnTo>
                      <a:pt x="17" y="28"/>
                    </a:lnTo>
                    <a:lnTo>
                      <a:pt x="16" y="29"/>
                    </a:lnTo>
                    <a:lnTo>
                      <a:pt x="14" y="28"/>
                    </a:lnTo>
                    <a:lnTo>
                      <a:pt x="10" y="28"/>
                    </a:lnTo>
                    <a:lnTo>
                      <a:pt x="10" y="26"/>
                    </a:lnTo>
                    <a:lnTo>
                      <a:pt x="10" y="26"/>
                    </a:lnTo>
                    <a:lnTo>
                      <a:pt x="12" y="26"/>
                    </a:lnTo>
                    <a:lnTo>
                      <a:pt x="10" y="25"/>
                    </a:lnTo>
                    <a:lnTo>
                      <a:pt x="12" y="25"/>
                    </a:lnTo>
                    <a:lnTo>
                      <a:pt x="12" y="23"/>
                    </a:lnTo>
                    <a:lnTo>
                      <a:pt x="7" y="23"/>
                    </a:lnTo>
                    <a:lnTo>
                      <a:pt x="4" y="23"/>
                    </a:lnTo>
                    <a:lnTo>
                      <a:pt x="4" y="21"/>
                    </a:lnTo>
                    <a:lnTo>
                      <a:pt x="3" y="21"/>
                    </a:lnTo>
                    <a:lnTo>
                      <a:pt x="3" y="19"/>
                    </a:lnTo>
                    <a:lnTo>
                      <a:pt x="3" y="19"/>
                    </a:lnTo>
                    <a:lnTo>
                      <a:pt x="3" y="19"/>
                    </a:lnTo>
                    <a:lnTo>
                      <a:pt x="3" y="13"/>
                    </a:lnTo>
                    <a:lnTo>
                      <a:pt x="3" y="13"/>
                    </a:lnTo>
                    <a:lnTo>
                      <a:pt x="0" y="12"/>
                    </a:lnTo>
                    <a:lnTo>
                      <a:pt x="0" y="12"/>
                    </a:lnTo>
                    <a:lnTo>
                      <a:pt x="1" y="12"/>
                    </a:lnTo>
                    <a:lnTo>
                      <a:pt x="0" y="10"/>
                    </a:lnTo>
                    <a:lnTo>
                      <a:pt x="0" y="10"/>
                    </a:lnTo>
                    <a:lnTo>
                      <a:pt x="0" y="9"/>
                    </a:lnTo>
                    <a:lnTo>
                      <a:pt x="4" y="10"/>
                    </a:lnTo>
                    <a:lnTo>
                      <a:pt x="6" y="9"/>
                    </a:lnTo>
                    <a:lnTo>
                      <a:pt x="6" y="7"/>
                    </a:lnTo>
                    <a:lnTo>
                      <a:pt x="7" y="7"/>
                    </a:lnTo>
                    <a:lnTo>
                      <a:pt x="7" y="6"/>
                    </a:lnTo>
                    <a:lnTo>
                      <a:pt x="9" y="6"/>
                    </a:lnTo>
                    <a:lnTo>
                      <a:pt x="6"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24" name="Freeform 1723"/>
              <p:cNvSpPr>
                <a:spLocks/>
              </p:cNvSpPr>
              <p:nvPr/>
            </p:nvSpPr>
            <p:spPr bwMode="auto">
              <a:xfrm>
                <a:off x="6224305" y="2227026"/>
                <a:ext cx="35112" cy="75045"/>
              </a:xfrm>
              <a:custGeom>
                <a:avLst/>
                <a:gdLst/>
                <a:ahLst/>
                <a:cxnLst>
                  <a:cxn ang="0">
                    <a:pos x="11" y="71"/>
                  </a:cxn>
                  <a:cxn ang="0">
                    <a:pos x="20" y="71"/>
                  </a:cxn>
                  <a:cxn ang="0">
                    <a:pos x="22" y="71"/>
                  </a:cxn>
                  <a:cxn ang="0">
                    <a:pos x="23" y="71"/>
                  </a:cxn>
                  <a:cxn ang="0">
                    <a:pos x="22" y="68"/>
                  </a:cxn>
                  <a:cxn ang="0">
                    <a:pos x="19" y="65"/>
                  </a:cxn>
                  <a:cxn ang="0">
                    <a:pos x="22" y="62"/>
                  </a:cxn>
                  <a:cxn ang="0">
                    <a:pos x="20" y="59"/>
                  </a:cxn>
                  <a:cxn ang="0">
                    <a:pos x="20" y="56"/>
                  </a:cxn>
                  <a:cxn ang="0">
                    <a:pos x="23" y="52"/>
                  </a:cxn>
                  <a:cxn ang="0">
                    <a:pos x="23" y="50"/>
                  </a:cxn>
                  <a:cxn ang="0">
                    <a:pos x="26" y="49"/>
                  </a:cxn>
                  <a:cxn ang="0">
                    <a:pos x="26" y="46"/>
                  </a:cxn>
                  <a:cxn ang="0">
                    <a:pos x="30" y="45"/>
                  </a:cxn>
                  <a:cxn ang="0">
                    <a:pos x="32" y="37"/>
                  </a:cxn>
                  <a:cxn ang="0">
                    <a:pos x="33" y="39"/>
                  </a:cxn>
                  <a:cxn ang="0">
                    <a:pos x="35" y="39"/>
                  </a:cxn>
                  <a:cxn ang="0">
                    <a:pos x="39" y="36"/>
                  </a:cxn>
                  <a:cxn ang="0">
                    <a:pos x="39" y="31"/>
                  </a:cxn>
                  <a:cxn ang="0">
                    <a:pos x="35" y="31"/>
                  </a:cxn>
                  <a:cxn ang="0">
                    <a:pos x="32" y="30"/>
                  </a:cxn>
                  <a:cxn ang="0">
                    <a:pos x="29" y="31"/>
                  </a:cxn>
                  <a:cxn ang="0">
                    <a:pos x="29" y="29"/>
                  </a:cxn>
                  <a:cxn ang="0">
                    <a:pos x="30" y="27"/>
                  </a:cxn>
                  <a:cxn ang="0">
                    <a:pos x="27" y="26"/>
                  </a:cxn>
                  <a:cxn ang="0">
                    <a:pos x="30" y="23"/>
                  </a:cxn>
                  <a:cxn ang="0">
                    <a:pos x="30" y="20"/>
                  </a:cxn>
                  <a:cxn ang="0">
                    <a:pos x="33" y="8"/>
                  </a:cxn>
                  <a:cxn ang="0">
                    <a:pos x="33" y="0"/>
                  </a:cxn>
                  <a:cxn ang="0">
                    <a:pos x="26" y="2"/>
                  </a:cxn>
                  <a:cxn ang="0">
                    <a:pos x="22" y="10"/>
                  </a:cxn>
                  <a:cxn ang="0">
                    <a:pos x="7" y="15"/>
                  </a:cxn>
                  <a:cxn ang="0">
                    <a:pos x="0" y="33"/>
                  </a:cxn>
                  <a:cxn ang="0">
                    <a:pos x="1" y="46"/>
                  </a:cxn>
                  <a:cxn ang="0">
                    <a:pos x="1" y="55"/>
                  </a:cxn>
                  <a:cxn ang="0">
                    <a:pos x="6" y="56"/>
                  </a:cxn>
                  <a:cxn ang="0">
                    <a:pos x="9" y="71"/>
                  </a:cxn>
                </a:cxnLst>
                <a:rect l="0" t="0" r="r" b="b"/>
                <a:pathLst>
                  <a:path w="39" h="72">
                    <a:moveTo>
                      <a:pt x="9" y="71"/>
                    </a:moveTo>
                    <a:lnTo>
                      <a:pt x="11" y="71"/>
                    </a:lnTo>
                    <a:lnTo>
                      <a:pt x="17" y="72"/>
                    </a:lnTo>
                    <a:lnTo>
                      <a:pt x="20" y="71"/>
                    </a:lnTo>
                    <a:lnTo>
                      <a:pt x="20" y="71"/>
                    </a:lnTo>
                    <a:lnTo>
                      <a:pt x="22" y="71"/>
                    </a:lnTo>
                    <a:lnTo>
                      <a:pt x="22" y="71"/>
                    </a:lnTo>
                    <a:lnTo>
                      <a:pt x="23" y="71"/>
                    </a:lnTo>
                    <a:lnTo>
                      <a:pt x="23" y="69"/>
                    </a:lnTo>
                    <a:lnTo>
                      <a:pt x="22" y="68"/>
                    </a:lnTo>
                    <a:lnTo>
                      <a:pt x="19" y="68"/>
                    </a:lnTo>
                    <a:lnTo>
                      <a:pt x="19" y="65"/>
                    </a:lnTo>
                    <a:lnTo>
                      <a:pt x="22" y="63"/>
                    </a:lnTo>
                    <a:lnTo>
                      <a:pt x="22" y="62"/>
                    </a:lnTo>
                    <a:lnTo>
                      <a:pt x="22" y="62"/>
                    </a:lnTo>
                    <a:lnTo>
                      <a:pt x="20" y="59"/>
                    </a:lnTo>
                    <a:lnTo>
                      <a:pt x="22" y="56"/>
                    </a:lnTo>
                    <a:lnTo>
                      <a:pt x="20" y="56"/>
                    </a:lnTo>
                    <a:lnTo>
                      <a:pt x="23" y="53"/>
                    </a:lnTo>
                    <a:lnTo>
                      <a:pt x="23" y="52"/>
                    </a:lnTo>
                    <a:lnTo>
                      <a:pt x="22" y="50"/>
                    </a:lnTo>
                    <a:lnTo>
                      <a:pt x="23" y="50"/>
                    </a:lnTo>
                    <a:lnTo>
                      <a:pt x="26" y="50"/>
                    </a:lnTo>
                    <a:lnTo>
                      <a:pt x="26" y="49"/>
                    </a:lnTo>
                    <a:lnTo>
                      <a:pt x="25" y="46"/>
                    </a:lnTo>
                    <a:lnTo>
                      <a:pt x="26" y="46"/>
                    </a:lnTo>
                    <a:lnTo>
                      <a:pt x="29" y="46"/>
                    </a:lnTo>
                    <a:lnTo>
                      <a:pt x="30" y="45"/>
                    </a:lnTo>
                    <a:lnTo>
                      <a:pt x="30" y="42"/>
                    </a:lnTo>
                    <a:lnTo>
                      <a:pt x="32" y="37"/>
                    </a:lnTo>
                    <a:lnTo>
                      <a:pt x="33" y="37"/>
                    </a:lnTo>
                    <a:lnTo>
                      <a:pt x="33" y="39"/>
                    </a:lnTo>
                    <a:lnTo>
                      <a:pt x="33" y="40"/>
                    </a:lnTo>
                    <a:lnTo>
                      <a:pt x="35" y="39"/>
                    </a:lnTo>
                    <a:lnTo>
                      <a:pt x="36" y="39"/>
                    </a:lnTo>
                    <a:lnTo>
                      <a:pt x="39" y="36"/>
                    </a:lnTo>
                    <a:lnTo>
                      <a:pt x="39" y="33"/>
                    </a:lnTo>
                    <a:lnTo>
                      <a:pt x="39" y="31"/>
                    </a:lnTo>
                    <a:lnTo>
                      <a:pt x="38" y="30"/>
                    </a:lnTo>
                    <a:lnTo>
                      <a:pt x="35" y="31"/>
                    </a:lnTo>
                    <a:lnTo>
                      <a:pt x="33" y="31"/>
                    </a:lnTo>
                    <a:lnTo>
                      <a:pt x="32" y="30"/>
                    </a:lnTo>
                    <a:lnTo>
                      <a:pt x="30" y="30"/>
                    </a:lnTo>
                    <a:lnTo>
                      <a:pt x="29" y="31"/>
                    </a:lnTo>
                    <a:lnTo>
                      <a:pt x="29" y="30"/>
                    </a:lnTo>
                    <a:lnTo>
                      <a:pt x="29" y="29"/>
                    </a:lnTo>
                    <a:lnTo>
                      <a:pt x="30" y="27"/>
                    </a:lnTo>
                    <a:lnTo>
                      <a:pt x="30" y="27"/>
                    </a:lnTo>
                    <a:lnTo>
                      <a:pt x="27" y="27"/>
                    </a:lnTo>
                    <a:lnTo>
                      <a:pt x="27" y="26"/>
                    </a:lnTo>
                    <a:lnTo>
                      <a:pt x="30" y="26"/>
                    </a:lnTo>
                    <a:lnTo>
                      <a:pt x="30" y="23"/>
                    </a:lnTo>
                    <a:lnTo>
                      <a:pt x="30" y="23"/>
                    </a:lnTo>
                    <a:lnTo>
                      <a:pt x="30" y="20"/>
                    </a:lnTo>
                    <a:lnTo>
                      <a:pt x="33" y="11"/>
                    </a:lnTo>
                    <a:lnTo>
                      <a:pt x="33" y="8"/>
                    </a:lnTo>
                    <a:lnTo>
                      <a:pt x="32" y="4"/>
                    </a:lnTo>
                    <a:lnTo>
                      <a:pt x="33" y="0"/>
                    </a:lnTo>
                    <a:lnTo>
                      <a:pt x="33" y="0"/>
                    </a:lnTo>
                    <a:lnTo>
                      <a:pt x="26" y="2"/>
                    </a:lnTo>
                    <a:lnTo>
                      <a:pt x="22" y="8"/>
                    </a:lnTo>
                    <a:lnTo>
                      <a:pt x="22" y="10"/>
                    </a:lnTo>
                    <a:lnTo>
                      <a:pt x="19" y="13"/>
                    </a:lnTo>
                    <a:lnTo>
                      <a:pt x="7" y="15"/>
                    </a:lnTo>
                    <a:lnTo>
                      <a:pt x="4" y="17"/>
                    </a:lnTo>
                    <a:lnTo>
                      <a:pt x="0" y="33"/>
                    </a:lnTo>
                    <a:lnTo>
                      <a:pt x="0" y="45"/>
                    </a:lnTo>
                    <a:lnTo>
                      <a:pt x="1" y="46"/>
                    </a:lnTo>
                    <a:lnTo>
                      <a:pt x="0" y="55"/>
                    </a:lnTo>
                    <a:lnTo>
                      <a:pt x="1" y="55"/>
                    </a:lnTo>
                    <a:lnTo>
                      <a:pt x="3" y="55"/>
                    </a:lnTo>
                    <a:lnTo>
                      <a:pt x="6" y="56"/>
                    </a:lnTo>
                    <a:lnTo>
                      <a:pt x="9" y="61"/>
                    </a:lnTo>
                    <a:lnTo>
                      <a:pt x="9" y="71"/>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25" name="Freeform 1724"/>
              <p:cNvSpPr>
                <a:spLocks/>
              </p:cNvSpPr>
              <p:nvPr/>
            </p:nvSpPr>
            <p:spPr bwMode="auto">
              <a:xfrm>
                <a:off x="6224305" y="2227026"/>
                <a:ext cx="35112" cy="75045"/>
              </a:xfrm>
              <a:custGeom>
                <a:avLst/>
                <a:gdLst/>
                <a:ahLst/>
                <a:cxnLst>
                  <a:cxn ang="0">
                    <a:pos x="11" y="71"/>
                  </a:cxn>
                  <a:cxn ang="0">
                    <a:pos x="20" y="71"/>
                  </a:cxn>
                  <a:cxn ang="0">
                    <a:pos x="22" y="71"/>
                  </a:cxn>
                  <a:cxn ang="0">
                    <a:pos x="23" y="71"/>
                  </a:cxn>
                  <a:cxn ang="0">
                    <a:pos x="22" y="68"/>
                  </a:cxn>
                  <a:cxn ang="0">
                    <a:pos x="19" y="65"/>
                  </a:cxn>
                  <a:cxn ang="0">
                    <a:pos x="22" y="62"/>
                  </a:cxn>
                  <a:cxn ang="0">
                    <a:pos x="20" y="59"/>
                  </a:cxn>
                  <a:cxn ang="0">
                    <a:pos x="20" y="56"/>
                  </a:cxn>
                  <a:cxn ang="0">
                    <a:pos x="23" y="52"/>
                  </a:cxn>
                  <a:cxn ang="0">
                    <a:pos x="23" y="50"/>
                  </a:cxn>
                  <a:cxn ang="0">
                    <a:pos x="26" y="49"/>
                  </a:cxn>
                  <a:cxn ang="0">
                    <a:pos x="26" y="46"/>
                  </a:cxn>
                  <a:cxn ang="0">
                    <a:pos x="30" y="45"/>
                  </a:cxn>
                  <a:cxn ang="0">
                    <a:pos x="32" y="37"/>
                  </a:cxn>
                  <a:cxn ang="0">
                    <a:pos x="33" y="39"/>
                  </a:cxn>
                  <a:cxn ang="0">
                    <a:pos x="35" y="39"/>
                  </a:cxn>
                  <a:cxn ang="0">
                    <a:pos x="39" y="36"/>
                  </a:cxn>
                  <a:cxn ang="0">
                    <a:pos x="39" y="31"/>
                  </a:cxn>
                  <a:cxn ang="0">
                    <a:pos x="35" y="31"/>
                  </a:cxn>
                  <a:cxn ang="0">
                    <a:pos x="32" y="30"/>
                  </a:cxn>
                  <a:cxn ang="0">
                    <a:pos x="29" y="31"/>
                  </a:cxn>
                  <a:cxn ang="0">
                    <a:pos x="29" y="29"/>
                  </a:cxn>
                  <a:cxn ang="0">
                    <a:pos x="30" y="27"/>
                  </a:cxn>
                  <a:cxn ang="0">
                    <a:pos x="27" y="26"/>
                  </a:cxn>
                  <a:cxn ang="0">
                    <a:pos x="30" y="23"/>
                  </a:cxn>
                  <a:cxn ang="0">
                    <a:pos x="30" y="20"/>
                  </a:cxn>
                  <a:cxn ang="0">
                    <a:pos x="33" y="8"/>
                  </a:cxn>
                  <a:cxn ang="0">
                    <a:pos x="33" y="0"/>
                  </a:cxn>
                  <a:cxn ang="0">
                    <a:pos x="26" y="2"/>
                  </a:cxn>
                  <a:cxn ang="0">
                    <a:pos x="22" y="10"/>
                  </a:cxn>
                  <a:cxn ang="0">
                    <a:pos x="7" y="15"/>
                  </a:cxn>
                  <a:cxn ang="0">
                    <a:pos x="0" y="33"/>
                  </a:cxn>
                  <a:cxn ang="0">
                    <a:pos x="1" y="46"/>
                  </a:cxn>
                  <a:cxn ang="0">
                    <a:pos x="1" y="55"/>
                  </a:cxn>
                  <a:cxn ang="0">
                    <a:pos x="6" y="56"/>
                  </a:cxn>
                  <a:cxn ang="0">
                    <a:pos x="9" y="71"/>
                  </a:cxn>
                </a:cxnLst>
                <a:rect l="0" t="0" r="r" b="b"/>
                <a:pathLst>
                  <a:path w="39" h="72">
                    <a:moveTo>
                      <a:pt x="9" y="71"/>
                    </a:moveTo>
                    <a:lnTo>
                      <a:pt x="11" y="71"/>
                    </a:lnTo>
                    <a:lnTo>
                      <a:pt x="17" y="72"/>
                    </a:lnTo>
                    <a:lnTo>
                      <a:pt x="20" y="71"/>
                    </a:lnTo>
                    <a:lnTo>
                      <a:pt x="20" y="71"/>
                    </a:lnTo>
                    <a:lnTo>
                      <a:pt x="22" y="71"/>
                    </a:lnTo>
                    <a:lnTo>
                      <a:pt x="22" y="71"/>
                    </a:lnTo>
                    <a:lnTo>
                      <a:pt x="23" y="71"/>
                    </a:lnTo>
                    <a:lnTo>
                      <a:pt x="23" y="69"/>
                    </a:lnTo>
                    <a:lnTo>
                      <a:pt x="22" y="68"/>
                    </a:lnTo>
                    <a:lnTo>
                      <a:pt x="19" y="68"/>
                    </a:lnTo>
                    <a:lnTo>
                      <a:pt x="19" y="65"/>
                    </a:lnTo>
                    <a:lnTo>
                      <a:pt x="22" y="63"/>
                    </a:lnTo>
                    <a:lnTo>
                      <a:pt x="22" y="62"/>
                    </a:lnTo>
                    <a:lnTo>
                      <a:pt x="22" y="62"/>
                    </a:lnTo>
                    <a:lnTo>
                      <a:pt x="20" y="59"/>
                    </a:lnTo>
                    <a:lnTo>
                      <a:pt x="22" y="56"/>
                    </a:lnTo>
                    <a:lnTo>
                      <a:pt x="20" y="56"/>
                    </a:lnTo>
                    <a:lnTo>
                      <a:pt x="23" y="53"/>
                    </a:lnTo>
                    <a:lnTo>
                      <a:pt x="23" y="52"/>
                    </a:lnTo>
                    <a:lnTo>
                      <a:pt x="22" y="50"/>
                    </a:lnTo>
                    <a:lnTo>
                      <a:pt x="23" y="50"/>
                    </a:lnTo>
                    <a:lnTo>
                      <a:pt x="26" y="50"/>
                    </a:lnTo>
                    <a:lnTo>
                      <a:pt x="26" y="49"/>
                    </a:lnTo>
                    <a:lnTo>
                      <a:pt x="25" y="46"/>
                    </a:lnTo>
                    <a:lnTo>
                      <a:pt x="26" y="46"/>
                    </a:lnTo>
                    <a:lnTo>
                      <a:pt x="29" y="46"/>
                    </a:lnTo>
                    <a:lnTo>
                      <a:pt x="30" y="45"/>
                    </a:lnTo>
                    <a:lnTo>
                      <a:pt x="30" y="42"/>
                    </a:lnTo>
                    <a:lnTo>
                      <a:pt x="32" y="37"/>
                    </a:lnTo>
                    <a:lnTo>
                      <a:pt x="33" y="37"/>
                    </a:lnTo>
                    <a:lnTo>
                      <a:pt x="33" y="39"/>
                    </a:lnTo>
                    <a:lnTo>
                      <a:pt x="33" y="40"/>
                    </a:lnTo>
                    <a:lnTo>
                      <a:pt x="35" y="39"/>
                    </a:lnTo>
                    <a:lnTo>
                      <a:pt x="36" y="39"/>
                    </a:lnTo>
                    <a:lnTo>
                      <a:pt x="39" y="36"/>
                    </a:lnTo>
                    <a:lnTo>
                      <a:pt x="39" y="33"/>
                    </a:lnTo>
                    <a:lnTo>
                      <a:pt x="39" y="31"/>
                    </a:lnTo>
                    <a:lnTo>
                      <a:pt x="38" y="30"/>
                    </a:lnTo>
                    <a:lnTo>
                      <a:pt x="35" y="31"/>
                    </a:lnTo>
                    <a:lnTo>
                      <a:pt x="33" y="31"/>
                    </a:lnTo>
                    <a:lnTo>
                      <a:pt x="32" y="30"/>
                    </a:lnTo>
                    <a:lnTo>
                      <a:pt x="30" y="30"/>
                    </a:lnTo>
                    <a:lnTo>
                      <a:pt x="29" y="31"/>
                    </a:lnTo>
                    <a:lnTo>
                      <a:pt x="29" y="30"/>
                    </a:lnTo>
                    <a:lnTo>
                      <a:pt x="29" y="29"/>
                    </a:lnTo>
                    <a:lnTo>
                      <a:pt x="30" y="27"/>
                    </a:lnTo>
                    <a:lnTo>
                      <a:pt x="30" y="27"/>
                    </a:lnTo>
                    <a:lnTo>
                      <a:pt x="27" y="27"/>
                    </a:lnTo>
                    <a:lnTo>
                      <a:pt x="27" y="26"/>
                    </a:lnTo>
                    <a:lnTo>
                      <a:pt x="30" y="26"/>
                    </a:lnTo>
                    <a:lnTo>
                      <a:pt x="30" y="23"/>
                    </a:lnTo>
                    <a:lnTo>
                      <a:pt x="30" y="23"/>
                    </a:lnTo>
                    <a:lnTo>
                      <a:pt x="30" y="20"/>
                    </a:lnTo>
                    <a:lnTo>
                      <a:pt x="33" y="11"/>
                    </a:lnTo>
                    <a:lnTo>
                      <a:pt x="33" y="8"/>
                    </a:lnTo>
                    <a:lnTo>
                      <a:pt x="32" y="4"/>
                    </a:lnTo>
                    <a:lnTo>
                      <a:pt x="33" y="0"/>
                    </a:lnTo>
                    <a:lnTo>
                      <a:pt x="33" y="0"/>
                    </a:lnTo>
                    <a:lnTo>
                      <a:pt x="26" y="2"/>
                    </a:lnTo>
                    <a:lnTo>
                      <a:pt x="22" y="8"/>
                    </a:lnTo>
                    <a:lnTo>
                      <a:pt x="22" y="10"/>
                    </a:lnTo>
                    <a:lnTo>
                      <a:pt x="19" y="13"/>
                    </a:lnTo>
                    <a:lnTo>
                      <a:pt x="7" y="15"/>
                    </a:lnTo>
                    <a:lnTo>
                      <a:pt x="4" y="17"/>
                    </a:lnTo>
                    <a:lnTo>
                      <a:pt x="0" y="33"/>
                    </a:lnTo>
                    <a:lnTo>
                      <a:pt x="0" y="45"/>
                    </a:lnTo>
                    <a:lnTo>
                      <a:pt x="1" y="46"/>
                    </a:lnTo>
                    <a:lnTo>
                      <a:pt x="0" y="55"/>
                    </a:lnTo>
                    <a:lnTo>
                      <a:pt x="1" y="55"/>
                    </a:lnTo>
                    <a:lnTo>
                      <a:pt x="3" y="55"/>
                    </a:lnTo>
                    <a:lnTo>
                      <a:pt x="6" y="56"/>
                    </a:lnTo>
                    <a:lnTo>
                      <a:pt x="9" y="61"/>
                    </a:lnTo>
                    <a:lnTo>
                      <a:pt x="9" y="7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26" name="Freeform 1725"/>
              <p:cNvSpPr>
                <a:spLocks/>
              </p:cNvSpPr>
              <p:nvPr/>
            </p:nvSpPr>
            <p:spPr bwMode="auto">
              <a:xfrm>
                <a:off x="6191827" y="2415655"/>
                <a:ext cx="9655" cy="16227"/>
              </a:xfrm>
              <a:custGeom>
                <a:avLst/>
                <a:gdLst/>
                <a:ahLst/>
                <a:cxnLst>
                  <a:cxn ang="0">
                    <a:pos x="6" y="15"/>
                  </a:cxn>
                  <a:cxn ang="0">
                    <a:pos x="9" y="15"/>
                  </a:cxn>
                  <a:cxn ang="0">
                    <a:pos x="10" y="13"/>
                  </a:cxn>
                  <a:cxn ang="0">
                    <a:pos x="10" y="9"/>
                  </a:cxn>
                  <a:cxn ang="0">
                    <a:pos x="7" y="6"/>
                  </a:cxn>
                  <a:cxn ang="0">
                    <a:pos x="7" y="3"/>
                  </a:cxn>
                  <a:cxn ang="0">
                    <a:pos x="9" y="2"/>
                  </a:cxn>
                  <a:cxn ang="0">
                    <a:pos x="6" y="0"/>
                  </a:cxn>
                  <a:cxn ang="0">
                    <a:pos x="4" y="0"/>
                  </a:cxn>
                  <a:cxn ang="0">
                    <a:pos x="1" y="3"/>
                  </a:cxn>
                  <a:cxn ang="0">
                    <a:pos x="0" y="6"/>
                  </a:cxn>
                  <a:cxn ang="0">
                    <a:pos x="1" y="9"/>
                  </a:cxn>
                  <a:cxn ang="0">
                    <a:pos x="1" y="13"/>
                  </a:cxn>
                  <a:cxn ang="0">
                    <a:pos x="6" y="15"/>
                  </a:cxn>
                </a:cxnLst>
                <a:rect l="0" t="0" r="r" b="b"/>
                <a:pathLst>
                  <a:path w="10" h="15">
                    <a:moveTo>
                      <a:pt x="6" y="15"/>
                    </a:moveTo>
                    <a:lnTo>
                      <a:pt x="9" y="15"/>
                    </a:lnTo>
                    <a:lnTo>
                      <a:pt x="10" y="13"/>
                    </a:lnTo>
                    <a:lnTo>
                      <a:pt x="10" y="9"/>
                    </a:lnTo>
                    <a:lnTo>
                      <a:pt x="7" y="6"/>
                    </a:lnTo>
                    <a:lnTo>
                      <a:pt x="7" y="3"/>
                    </a:lnTo>
                    <a:lnTo>
                      <a:pt x="9" y="2"/>
                    </a:lnTo>
                    <a:lnTo>
                      <a:pt x="6" y="0"/>
                    </a:lnTo>
                    <a:lnTo>
                      <a:pt x="4" y="0"/>
                    </a:lnTo>
                    <a:lnTo>
                      <a:pt x="1" y="3"/>
                    </a:lnTo>
                    <a:lnTo>
                      <a:pt x="0" y="6"/>
                    </a:lnTo>
                    <a:lnTo>
                      <a:pt x="1" y="9"/>
                    </a:lnTo>
                    <a:lnTo>
                      <a:pt x="1" y="13"/>
                    </a:lnTo>
                    <a:lnTo>
                      <a:pt x="6" y="1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27" name="Freeform 1726"/>
              <p:cNvSpPr>
                <a:spLocks/>
              </p:cNvSpPr>
              <p:nvPr/>
            </p:nvSpPr>
            <p:spPr bwMode="auto">
              <a:xfrm>
                <a:off x="6191827" y="2415655"/>
                <a:ext cx="9655" cy="16227"/>
              </a:xfrm>
              <a:custGeom>
                <a:avLst/>
                <a:gdLst/>
                <a:ahLst/>
                <a:cxnLst>
                  <a:cxn ang="0">
                    <a:pos x="6" y="15"/>
                  </a:cxn>
                  <a:cxn ang="0">
                    <a:pos x="9" y="15"/>
                  </a:cxn>
                  <a:cxn ang="0">
                    <a:pos x="10" y="13"/>
                  </a:cxn>
                  <a:cxn ang="0">
                    <a:pos x="10" y="9"/>
                  </a:cxn>
                  <a:cxn ang="0">
                    <a:pos x="7" y="6"/>
                  </a:cxn>
                  <a:cxn ang="0">
                    <a:pos x="7" y="3"/>
                  </a:cxn>
                  <a:cxn ang="0">
                    <a:pos x="9" y="2"/>
                  </a:cxn>
                  <a:cxn ang="0">
                    <a:pos x="6" y="0"/>
                  </a:cxn>
                  <a:cxn ang="0">
                    <a:pos x="4" y="0"/>
                  </a:cxn>
                  <a:cxn ang="0">
                    <a:pos x="1" y="3"/>
                  </a:cxn>
                  <a:cxn ang="0">
                    <a:pos x="0" y="6"/>
                  </a:cxn>
                  <a:cxn ang="0">
                    <a:pos x="1" y="9"/>
                  </a:cxn>
                  <a:cxn ang="0">
                    <a:pos x="1" y="13"/>
                  </a:cxn>
                  <a:cxn ang="0">
                    <a:pos x="6" y="15"/>
                  </a:cxn>
                </a:cxnLst>
                <a:rect l="0" t="0" r="r" b="b"/>
                <a:pathLst>
                  <a:path w="10" h="15">
                    <a:moveTo>
                      <a:pt x="6" y="15"/>
                    </a:moveTo>
                    <a:lnTo>
                      <a:pt x="9" y="15"/>
                    </a:lnTo>
                    <a:lnTo>
                      <a:pt x="10" y="13"/>
                    </a:lnTo>
                    <a:lnTo>
                      <a:pt x="10" y="9"/>
                    </a:lnTo>
                    <a:lnTo>
                      <a:pt x="7" y="6"/>
                    </a:lnTo>
                    <a:lnTo>
                      <a:pt x="7" y="3"/>
                    </a:lnTo>
                    <a:lnTo>
                      <a:pt x="9" y="2"/>
                    </a:lnTo>
                    <a:lnTo>
                      <a:pt x="6" y="0"/>
                    </a:lnTo>
                    <a:lnTo>
                      <a:pt x="4" y="0"/>
                    </a:lnTo>
                    <a:lnTo>
                      <a:pt x="1" y="3"/>
                    </a:lnTo>
                    <a:lnTo>
                      <a:pt x="0" y="6"/>
                    </a:lnTo>
                    <a:lnTo>
                      <a:pt x="1" y="9"/>
                    </a:lnTo>
                    <a:lnTo>
                      <a:pt x="1" y="13"/>
                    </a:lnTo>
                    <a:lnTo>
                      <a:pt x="6" y="15"/>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28" name="Freeform 1727"/>
              <p:cNvSpPr>
                <a:spLocks/>
              </p:cNvSpPr>
              <p:nvPr/>
            </p:nvSpPr>
            <p:spPr bwMode="auto">
              <a:xfrm>
                <a:off x="5311393" y="3018050"/>
                <a:ext cx="2634" cy="3043"/>
              </a:xfrm>
              <a:custGeom>
                <a:avLst/>
                <a:gdLst/>
                <a:ahLst/>
                <a:cxnLst>
                  <a:cxn ang="0">
                    <a:pos x="0" y="0"/>
                  </a:cxn>
                  <a:cxn ang="0">
                    <a:pos x="0" y="0"/>
                  </a:cxn>
                  <a:cxn ang="0">
                    <a:pos x="0" y="2"/>
                  </a:cxn>
                  <a:cxn ang="0">
                    <a:pos x="0" y="3"/>
                  </a:cxn>
                  <a:cxn ang="0">
                    <a:pos x="2" y="3"/>
                  </a:cxn>
                  <a:cxn ang="0">
                    <a:pos x="2" y="2"/>
                  </a:cxn>
                  <a:cxn ang="0">
                    <a:pos x="3" y="2"/>
                  </a:cxn>
                  <a:cxn ang="0">
                    <a:pos x="0" y="0"/>
                  </a:cxn>
                </a:cxnLst>
                <a:rect l="0" t="0" r="r" b="b"/>
                <a:pathLst>
                  <a:path w="3" h="3">
                    <a:moveTo>
                      <a:pt x="0" y="0"/>
                    </a:moveTo>
                    <a:lnTo>
                      <a:pt x="0" y="0"/>
                    </a:lnTo>
                    <a:lnTo>
                      <a:pt x="0" y="2"/>
                    </a:lnTo>
                    <a:lnTo>
                      <a:pt x="0" y="3"/>
                    </a:lnTo>
                    <a:lnTo>
                      <a:pt x="2" y="3"/>
                    </a:lnTo>
                    <a:lnTo>
                      <a:pt x="2" y="2"/>
                    </a:lnTo>
                    <a:lnTo>
                      <a:pt x="3" y="2"/>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29" name="Freeform 1728"/>
              <p:cNvSpPr>
                <a:spLocks/>
              </p:cNvSpPr>
              <p:nvPr/>
            </p:nvSpPr>
            <p:spPr bwMode="auto">
              <a:xfrm>
                <a:off x="5311393" y="3018050"/>
                <a:ext cx="2634" cy="3043"/>
              </a:xfrm>
              <a:custGeom>
                <a:avLst/>
                <a:gdLst/>
                <a:ahLst/>
                <a:cxnLst>
                  <a:cxn ang="0">
                    <a:pos x="0" y="0"/>
                  </a:cxn>
                  <a:cxn ang="0">
                    <a:pos x="0" y="0"/>
                  </a:cxn>
                  <a:cxn ang="0">
                    <a:pos x="0" y="2"/>
                  </a:cxn>
                  <a:cxn ang="0">
                    <a:pos x="0" y="3"/>
                  </a:cxn>
                  <a:cxn ang="0">
                    <a:pos x="2" y="3"/>
                  </a:cxn>
                  <a:cxn ang="0">
                    <a:pos x="2" y="2"/>
                  </a:cxn>
                  <a:cxn ang="0">
                    <a:pos x="3" y="2"/>
                  </a:cxn>
                  <a:cxn ang="0">
                    <a:pos x="0" y="0"/>
                  </a:cxn>
                </a:cxnLst>
                <a:rect l="0" t="0" r="r" b="b"/>
                <a:pathLst>
                  <a:path w="3" h="3">
                    <a:moveTo>
                      <a:pt x="0" y="0"/>
                    </a:moveTo>
                    <a:lnTo>
                      <a:pt x="0" y="0"/>
                    </a:lnTo>
                    <a:lnTo>
                      <a:pt x="0" y="2"/>
                    </a:lnTo>
                    <a:lnTo>
                      <a:pt x="0" y="3"/>
                    </a:lnTo>
                    <a:lnTo>
                      <a:pt x="2" y="3"/>
                    </a:lnTo>
                    <a:lnTo>
                      <a:pt x="2" y="2"/>
                    </a:lnTo>
                    <a:lnTo>
                      <a:pt x="3" y="2"/>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30" name="Freeform 1729"/>
              <p:cNvSpPr>
                <a:spLocks/>
              </p:cNvSpPr>
              <p:nvPr/>
            </p:nvSpPr>
            <p:spPr bwMode="auto">
              <a:xfrm>
                <a:off x="5320171" y="3053545"/>
                <a:ext cx="5267" cy="7099"/>
              </a:xfrm>
              <a:custGeom>
                <a:avLst/>
                <a:gdLst/>
                <a:ahLst/>
                <a:cxnLst>
                  <a:cxn ang="0">
                    <a:pos x="1" y="0"/>
                  </a:cxn>
                  <a:cxn ang="0">
                    <a:pos x="1" y="0"/>
                  </a:cxn>
                  <a:cxn ang="0">
                    <a:pos x="3" y="1"/>
                  </a:cxn>
                  <a:cxn ang="0">
                    <a:pos x="6" y="6"/>
                  </a:cxn>
                  <a:cxn ang="0">
                    <a:pos x="6" y="6"/>
                  </a:cxn>
                  <a:cxn ang="0">
                    <a:pos x="3" y="7"/>
                  </a:cxn>
                  <a:cxn ang="0">
                    <a:pos x="3" y="6"/>
                  </a:cxn>
                  <a:cxn ang="0">
                    <a:pos x="0" y="1"/>
                  </a:cxn>
                  <a:cxn ang="0">
                    <a:pos x="1" y="0"/>
                  </a:cxn>
                </a:cxnLst>
                <a:rect l="0" t="0" r="r" b="b"/>
                <a:pathLst>
                  <a:path w="6" h="7">
                    <a:moveTo>
                      <a:pt x="1" y="0"/>
                    </a:moveTo>
                    <a:lnTo>
                      <a:pt x="1" y="0"/>
                    </a:lnTo>
                    <a:lnTo>
                      <a:pt x="3" y="1"/>
                    </a:lnTo>
                    <a:lnTo>
                      <a:pt x="6" y="6"/>
                    </a:lnTo>
                    <a:lnTo>
                      <a:pt x="6" y="6"/>
                    </a:lnTo>
                    <a:lnTo>
                      <a:pt x="3" y="7"/>
                    </a:lnTo>
                    <a:lnTo>
                      <a:pt x="3" y="6"/>
                    </a:lnTo>
                    <a:lnTo>
                      <a:pt x="0" y="1"/>
                    </a:lnTo>
                    <a:lnTo>
                      <a:pt x="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31" name="Freeform 1730"/>
              <p:cNvSpPr>
                <a:spLocks/>
              </p:cNvSpPr>
              <p:nvPr/>
            </p:nvSpPr>
            <p:spPr bwMode="auto">
              <a:xfrm>
                <a:off x="5320171" y="3053545"/>
                <a:ext cx="5267" cy="7099"/>
              </a:xfrm>
              <a:custGeom>
                <a:avLst/>
                <a:gdLst/>
                <a:ahLst/>
                <a:cxnLst>
                  <a:cxn ang="0">
                    <a:pos x="1" y="0"/>
                  </a:cxn>
                  <a:cxn ang="0">
                    <a:pos x="1" y="0"/>
                  </a:cxn>
                  <a:cxn ang="0">
                    <a:pos x="3" y="1"/>
                  </a:cxn>
                  <a:cxn ang="0">
                    <a:pos x="6" y="6"/>
                  </a:cxn>
                  <a:cxn ang="0">
                    <a:pos x="6" y="6"/>
                  </a:cxn>
                  <a:cxn ang="0">
                    <a:pos x="3" y="7"/>
                  </a:cxn>
                  <a:cxn ang="0">
                    <a:pos x="3" y="6"/>
                  </a:cxn>
                  <a:cxn ang="0">
                    <a:pos x="0" y="1"/>
                  </a:cxn>
                  <a:cxn ang="0">
                    <a:pos x="1" y="0"/>
                  </a:cxn>
                </a:cxnLst>
                <a:rect l="0" t="0" r="r" b="b"/>
                <a:pathLst>
                  <a:path w="6" h="7">
                    <a:moveTo>
                      <a:pt x="1" y="0"/>
                    </a:moveTo>
                    <a:lnTo>
                      <a:pt x="1" y="0"/>
                    </a:lnTo>
                    <a:lnTo>
                      <a:pt x="3" y="1"/>
                    </a:lnTo>
                    <a:lnTo>
                      <a:pt x="6" y="6"/>
                    </a:lnTo>
                    <a:lnTo>
                      <a:pt x="6" y="6"/>
                    </a:lnTo>
                    <a:lnTo>
                      <a:pt x="3" y="7"/>
                    </a:lnTo>
                    <a:lnTo>
                      <a:pt x="3" y="6"/>
                    </a:lnTo>
                    <a:lnTo>
                      <a:pt x="0" y="1"/>
                    </a:lnTo>
                    <a:lnTo>
                      <a:pt x="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32" name="Freeform 1731"/>
              <p:cNvSpPr>
                <a:spLocks/>
              </p:cNvSpPr>
              <p:nvPr/>
            </p:nvSpPr>
            <p:spPr bwMode="auto">
              <a:xfrm>
                <a:off x="5278915" y="3109322"/>
                <a:ext cx="7900" cy="4056"/>
              </a:xfrm>
              <a:custGeom>
                <a:avLst/>
                <a:gdLst/>
                <a:ahLst/>
                <a:cxnLst>
                  <a:cxn ang="0">
                    <a:pos x="7" y="0"/>
                  </a:cxn>
                  <a:cxn ang="0">
                    <a:pos x="9" y="1"/>
                  </a:cxn>
                  <a:cxn ang="0">
                    <a:pos x="9" y="3"/>
                  </a:cxn>
                  <a:cxn ang="0">
                    <a:pos x="6" y="4"/>
                  </a:cxn>
                  <a:cxn ang="0">
                    <a:pos x="4" y="4"/>
                  </a:cxn>
                  <a:cxn ang="0">
                    <a:pos x="3" y="3"/>
                  </a:cxn>
                  <a:cxn ang="0">
                    <a:pos x="1" y="3"/>
                  </a:cxn>
                  <a:cxn ang="0">
                    <a:pos x="0" y="1"/>
                  </a:cxn>
                  <a:cxn ang="0">
                    <a:pos x="1" y="1"/>
                  </a:cxn>
                  <a:cxn ang="0">
                    <a:pos x="3" y="1"/>
                  </a:cxn>
                  <a:cxn ang="0">
                    <a:pos x="4" y="3"/>
                  </a:cxn>
                  <a:cxn ang="0">
                    <a:pos x="7" y="0"/>
                  </a:cxn>
                </a:cxnLst>
                <a:rect l="0" t="0" r="r" b="b"/>
                <a:pathLst>
                  <a:path w="9" h="4">
                    <a:moveTo>
                      <a:pt x="7" y="0"/>
                    </a:moveTo>
                    <a:lnTo>
                      <a:pt x="9" y="1"/>
                    </a:lnTo>
                    <a:lnTo>
                      <a:pt x="9" y="3"/>
                    </a:lnTo>
                    <a:lnTo>
                      <a:pt x="6" y="4"/>
                    </a:lnTo>
                    <a:lnTo>
                      <a:pt x="4" y="4"/>
                    </a:lnTo>
                    <a:lnTo>
                      <a:pt x="3" y="3"/>
                    </a:lnTo>
                    <a:lnTo>
                      <a:pt x="1" y="3"/>
                    </a:lnTo>
                    <a:lnTo>
                      <a:pt x="0" y="1"/>
                    </a:lnTo>
                    <a:lnTo>
                      <a:pt x="1" y="1"/>
                    </a:lnTo>
                    <a:lnTo>
                      <a:pt x="3" y="1"/>
                    </a:lnTo>
                    <a:lnTo>
                      <a:pt x="4" y="3"/>
                    </a:lnTo>
                    <a:lnTo>
                      <a:pt x="7"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33" name="Freeform 1732"/>
              <p:cNvSpPr>
                <a:spLocks/>
              </p:cNvSpPr>
              <p:nvPr/>
            </p:nvSpPr>
            <p:spPr bwMode="auto">
              <a:xfrm>
                <a:off x="5278915" y="3109322"/>
                <a:ext cx="7900" cy="4056"/>
              </a:xfrm>
              <a:custGeom>
                <a:avLst/>
                <a:gdLst/>
                <a:ahLst/>
                <a:cxnLst>
                  <a:cxn ang="0">
                    <a:pos x="7" y="0"/>
                  </a:cxn>
                  <a:cxn ang="0">
                    <a:pos x="9" y="1"/>
                  </a:cxn>
                  <a:cxn ang="0">
                    <a:pos x="9" y="3"/>
                  </a:cxn>
                  <a:cxn ang="0">
                    <a:pos x="6" y="4"/>
                  </a:cxn>
                  <a:cxn ang="0">
                    <a:pos x="4" y="4"/>
                  </a:cxn>
                  <a:cxn ang="0">
                    <a:pos x="3" y="3"/>
                  </a:cxn>
                  <a:cxn ang="0">
                    <a:pos x="1" y="3"/>
                  </a:cxn>
                  <a:cxn ang="0">
                    <a:pos x="0" y="1"/>
                  </a:cxn>
                  <a:cxn ang="0">
                    <a:pos x="1" y="1"/>
                  </a:cxn>
                  <a:cxn ang="0">
                    <a:pos x="3" y="1"/>
                  </a:cxn>
                  <a:cxn ang="0">
                    <a:pos x="4" y="3"/>
                  </a:cxn>
                  <a:cxn ang="0">
                    <a:pos x="7" y="0"/>
                  </a:cxn>
                </a:cxnLst>
                <a:rect l="0" t="0" r="r" b="b"/>
                <a:pathLst>
                  <a:path w="9" h="4">
                    <a:moveTo>
                      <a:pt x="7" y="0"/>
                    </a:moveTo>
                    <a:lnTo>
                      <a:pt x="9" y="1"/>
                    </a:lnTo>
                    <a:lnTo>
                      <a:pt x="9" y="3"/>
                    </a:lnTo>
                    <a:lnTo>
                      <a:pt x="6" y="4"/>
                    </a:lnTo>
                    <a:lnTo>
                      <a:pt x="4" y="4"/>
                    </a:lnTo>
                    <a:lnTo>
                      <a:pt x="3" y="3"/>
                    </a:lnTo>
                    <a:lnTo>
                      <a:pt x="1" y="3"/>
                    </a:lnTo>
                    <a:lnTo>
                      <a:pt x="0" y="1"/>
                    </a:lnTo>
                    <a:lnTo>
                      <a:pt x="1" y="1"/>
                    </a:lnTo>
                    <a:lnTo>
                      <a:pt x="3" y="1"/>
                    </a:lnTo>
                    <a:lnTo>
                      <a:pt x="4" y="3"/>
                    </a:lnTo>
                    <a:lnTo>
                      <a:pt x="7"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34" name="Freeform 1733"/>
              <p:cNvSpPr>
                <a:spLocks/>
              </p:cNvSpPr>
              <p:nvPr/>
            </p:nvSpPr>
            <p:spPr bwMode="auto">
              <a:xfrm>
                <a:off x="6506957" y="3213777"/>
                <a:ext cx="68468" cy="81131"/>
              </a:xfrm>
              <a:custGeom>
                <a:avLst/>
                <a:gdLst/>
                <a:ahLst/>
                <a:cxnLst>
                  <a:cxn ang="0">
                    <a:pos x="60" y="1"/>
                  </a:cxn>
                  <a:cxn ang="0">
                    <a:pos x="60" y="0"/>
                  </a:cxn>
                  <a:cxn ang="0">
                    <a:pos x="60" y="1"/>
                  </a:cxn>
                  <a:cxn ang="0">
                    <a:pos x="52" y="6"/>
                  </a:cxn>
                  <a:cxn ang="0">
                    <a:pos x="32" y="7"/>
                  </a:cxn>
                  <a:cxn ang="0">
                    <a:pos x="31" y="6"/>
                  </a:cxn>
                  <a:cxn ang="0">
                    <a:pos x="28" y="6"/>
                  </a:cxn>
                  <a:cxn ang="0">
                    <a:pos x="25" y="7"/>
                  </a:cxn>
                  <a:cxn ang="0">
                    <a:pos x="22" y="6"/>
                  </a:cxn>
                  <a:cxn ang="0">
                    <a:pos x="19" y="6"/>
                  </a:cxn>
                  <a:cxn ang="0">
                    <a:pos x="18" y="7"/>
                  </a:cxn>
                  <a:cxn ang="0">
                    <a:pos x="16" y="20"/>
                  </a:cxn>
                  <a:cxn ang="0">
                    <a:pos x="16" y="23"/>
                  </a:cxn>
                  <a:cxn ang="0">
                    <a:pos x="19" y="26"/>
                  </a:cxn>
                  <a:cxn ang="0">
                    <a:pos x="20" y="26"/>
                  </a:cxn>
                  <a:cxn ang="0">
                    <a:pos x="22" y="28"/>
                  </a:cxn>
                  <a:cxn ang="0">
                    <a:pos x="22" y="29"/>
                  </a:cxn>
                  <a:cxn ang="0">
                    <a:pos x="20" y="32"/>
                  </a:cxn>
                  <a:cxn ang="0">
                    <a:pos x="18" y="35"/>
                  </a:cxn>
                  <a:cxn ang="0">
                    <a:pos x="15" y="36"/>
                  </a:cxn>
                  <a:cxn ang="0">
                    <a:pos x="4" y="49"/>
                  </a:cxn>
                  <a:cxn ang="0">
                    <a:pos x="0" y="77"/>
                  </a:cxn>
                  <a:cxn ang="0">
                    <a:pos x="0" y="78"/>
                  </a:cxn>
                  <a:cxn ang="0">
                    <a:pos x="3" y="78"/>
                  </a:cxn>
                  <a:cxn ang="0">
                    <a:pos x="4" y="78"/>
                  </a:cxn>
                  <a:cxn ang="0">
                    <a:pos x="6" y="76"/>
                  </a:cxn>
                  <a:cxn ang="0">
                    <a:pos x="7" y="74"/>
                  </a:cxn>
                  <a:cxn ang="0">
                    <a:pos x="9" y="74"/>
                  </a:cxn>
                  <a:cxn ang="0">
                    <a:pos x="10" y="73"/>
                  </a:cxn>
                  <a:cxn ang="0">
                    <a:pos x="16" y="74"/>
                  </a:cxn>
                  <a:cxn ang="0">
                    <a:pos x="18" y="73"/>
                  </a:cxn>
                  <a:cxn ang="0">
                    <a:pos x="18" y="73"/>
                  </a:cxn>
                  <a:cxn ang="0">
                    <a:pos x="29" y="73"/>
                  </a:cxn>
                  <a:cxn ang="0">
                    <a:pos x="28" y="71"/>
                  </a:cxn>
                  <a:cxn ang="0">
                    <a:pos x="32" y="64"/>
                  </a:cxn>
                  <a:cxn ang="0">
                    <a:pos x="31" y="62"/>
                  </a:cxn>
                  <a:cxn ang="0">
                    <a:pos x="31" y="61"/>
                  </a:cxn>
                  <a:cxn ang="0">
                    <a:pos x="36" y="60"/>
                  </a:cxn>
                  <a:cxn ang="0">
                    <a:pos x="38" y="58"/>
                  </a:cxn>
                  <a:cxn ang="0">
                    <a:pos x="39" y="58"/>
                  </a:cxn>
                  <a:cxn ang="0">
                    <a:pos x="41" y="58"/>
                  </a:cxn>
                  <a:cxn ang="0">
                    <a:pos x="41" y="57"/>
                  </a:cxn>
                  <a:cxn ang="0">
                    <a:pos x="42" y="57"/>
                  </a:cxn>
                  <a:cxn ang="0">
                    <a:pos x="45" y="57"/>
                  </a:cxn>
                  <a:cxn ang="0">
                    <a:pos x="47" y="58"/>
                  </a:cxn>
                  <a:cxn ang="0">
                    <a:pos x="51" y="54"/>
                  </a:cxn>
                  <a:cxn ang="0">
                    <a:pos x="55" y="57"/>
                  </a:cxn>
                  <a:cxn ang="0">
                    <a:pos x="58" y="55"/>
                  </a:cxn>
                  <a:cxn ang="0">
                    <a:pos x="60" y="57"/>
                  </a:cxn>
                  <a:cxn ang="0">
                    <a:pos x="74" y="38"/>
                  </a:cxn>
                  <a:cxn ang="0">
                    <a:pos x="74" y="22"/>
                  </a:cxn>
                  <a:cxn ang="0">
                    <a:pos x="74" y="20"/>
                  </a:cxn>
                  <a:cxn ang="0">
                    <a:pos x="71" y="17"/>
                  </a:cxn>
                  <a:cxn ang="0">
                    <a:pos x="68" y="16"/>
                  </a:cxn>
                  <a:cxn ang="0">
                    <a:pos x="68" y="14"/>
                  </a:cxn>
                  <a:cxn ang="0">
                    <a:pos x="65" y="6"/>
                  </a:cxn>
                  <a:cxn ang="0">
                    <a:pos x="65" y="6"/>
                  </a:cxn>
                  <a:cxn ang="0">
                    <a:pos x="65" y="4"/>
                  </a:cxn>
                  <a:cxn ang="0">
                    <a:pos x="65" y="3"/>
                  </a:cxn>
                  <a:cxn ang="0">
                    <a:pos x="64" y="3"/>
                  </a:cxn>
                  <a:cxn ang="0">
                    <a:pos x="61" y="1"/>
                  </a:cxn>
                  <a:cxn ang="0">
                    <a:pos x="61" y="1"/>
                  </a:cxn>
                  <a:cxn ang="0">
                    <a:pos x="60" y="1"/>
                  </a:cxn>
                </a:cxnLst>
                <a:rect l="0" t="0" r="r" b="b"/>
                <a:pathLst>
                  <a:path w="74" h="78">
                    <a:moveTo>
                      <a:pt x="60" y="1"/>
                    </a:moveTo>
                    <a:lnTo>
                      <a:pt x="60" y="0"/>
                    </a:lnTo>
                    <a:lnTo>
                      <a:pt x="60" y="1"/>
                    </a:lnTo>
                    <a:lnTo>
                      <a:pt x="52" y="6"/>
                    </a:lnTo>
                    <a:lnTo>
                      <a:pt x="32" y="7"/>
                    </a:lnTo>
                    <a:lnTo>
                      <a:pt x="31" y="6"/>
                    </a:lnTo>
                    <a:lnTo>
                      <a:pt x="28" y="6"/>
                    </a:lnTo>
                    <a:lnTo>
                      <a:pt x="25" y="7"/>
                    </a:lnTo>
                    <a:lnTo>
                      <a:pt x="22" y="6"/>
                    </a:lnTo>
                    <a:lnTo>
                      <a:pt x="19" y="6"/>
                    </a:lnTo>
                    <a:lnTo>
                      <a:pt x="18" y="7"/>
                    </a:lnTo>
                    <a:lnTo>
                      <a:pt x="16" y="20"/>
                    </a:lnTo>
                    <a:lnTo>
                      <a:pt x="16" y="23"/>
                    </a:lnTo>
                    <a:lnTo>
                      <a:pt x="19" y="26"/>
                    </a:lnTo>
                    <a:lnTo>
                      <a:pt x="20" y="26"/>
                    </a:lnTo>
                    <a:lnTo>
                      <a:pt x="22" y="28"/>
                    </a:lnTo>
                    <a:lnTo>
                      <a:pt x="22" y="29"/>
                    </a:lnTo>
                    <a:lnTo>
                      <a:pt x="20" y="32"/>
                    </a:lnTo>
                    <a:lnTo>
                      <a:pt x="18" y="35"/>
                    </a:lnTo>
                    <a:lnTo>
                      <a:pt x="15" y="36"/>
                    </a:lnTo>
                    <a:lnTo>
                      <a:pt x="4" y="49"/>
                    </a:lnTo>
                    <a:lnTo>
                      <a:pt x="0" y="77"/>
                    </a:lnTo>
                    <a:lnTo>
                      <a:pt x="0" y="78"/>
                    </a:lnTo>
                    <a:lnTo>
                      <a:pt x="3" y="78"/>
                    </a:lnTo>
                    <a:lnTo>
                      <a:pt x="4" y="78"/>
                    </a:lnTo>
                    <a:lnTo>
                      <a:pt x="6" y="76"/>
                    </a:lnTo>
                    <a:lnTo>
                      <a:pt x="7" y="74"/>
                    </a:lnTo>
                    <a:lnTo>
                      <a:pt x="9" y="74"/>
                    </a:lnTo>
                    <a:lnTo>
                      <a:pt x="10" y="73"/>
                    </a:lnTo>
                    <a:lnTo>
                      <a:pt x="16" y="74"/>
                    </a:lnTo>
                    <a:lnTo>
                      <a:pt x="18" y="73"/>
                    </a:lnTo>
                    <a:lnTo>
                      <a:pt x="18" y="73"/>
                    </a:lnTo>
                    <a:lnTo>
                      <a:pt x="29" y="73"/>
                    </a:lnTo>
                    <a:lnTo>
                      <a:pt x="28" y="71"/>
                    </a:lnTo>
                    <a:lnTo>
                      <a:pt x="32" y="64"/>
                    </a:lnTo>
                    <a:lnTo>
                      <a:pt x="31" y="62"/>
                    </a:lnTo>
                    <a:lnTo>
                      <a:pt x="31" y="61"/>
                    </a:lnTo>
                    <a:lnTo>
                      <a:pt x="36" y="60"/>
                    </a:lnTo>
                    <a:lnTo>
                      <a:pt x="38" y="58"/>
                    </a:lnTo>
                    <a:lnTo>
                      <a:pt x="39" y="58"/>
                    </a:lnTo>
                    <a:lnTo>
                      <a:pt x="41" y="58"/>
                    </a:lnTo>
                    <a:lnTo>
                      <a:pt x="41" y="57"/>
                    </a:lnTo>
                    <a:lnTo>
                      <a:pt x="42" y="57"/>
                    </a:lnTo>
                    <a:lnTo>
                      <a:pt x="45" y="57"/>
                    </a:lnTo>
                    <a:lnTo>
                      <a:pt x="47" y="58"/>
                    </a:lnTo>
                    <a:lnTo>
                      <a:pt x="51" y="54"/>
                    </a:lnTo>
                    <a:lnTo>
                      <a:pt x="55" y="57"/>
                    </a:lnTo>
                    <a:lnTo>
                      <a:pt x="58" y="55"/>
                    </a:lnTo>
                    <a:lnTo>
                      <a:pt x="60" y="57"/>
                    </a:lnTo>
                    <a:lnTo>
                      <a:pt x="74" y="38"/>
                    </a:lnTo>
                    <a:lnTo>
                      <a:pt x="74" y="22"/>
                    </a:lnTo>
                    <a:lnTo>
                      <a:pt x="74" y="20"/>
                    </a:lnTo>
                    <a:lnTo>
                      <a:pt x="71" y="17"/>
                    </a:lnTo>
                    <a:lnTo>
                      <a:pt x="68" y="16"/>
                    </a:lnTo>
                    <a:lnTo>
                      <a:pt x="68" y="14"/>
                    </a:lnTo>
                    <a:lnTo>
                      <a:pt x="65" y="6"/>
                    </a:lnTo>
                    <a:lnTo>
                      <a:pt x="65" y="6"/>
                    </a:lnTo>
                    <a:lnTo>
                      <a:pt x="65" y="4"/>
                    </a:lnTo>
                    <a:lnTo>
                      <a:pt x="65" y="3"/>
                    </a:lnTo>
                    <a:lnTo>
                      <a:pt x="64" y="3"/>
                    </a:lnTo>
                    <a:lnTo>
                      <a:pt x="61" y="1"/>
                    </a:lnTo>
                    <a:lnTo>
                      <a:pt x="61" y="1"/>
                    </a:lnTo>
                    <a:lnTo>
                      <a:pt x="60"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35" name="Freeform 1734"/>
              <p:cNvSpPr>
                <a:spLocks/>
              </p:cNvSpPr>
              <p:nvPr/>
            </p:nvSpPr>
            <p:spPr bwMode="auto">
              <a:xfrm>
                <a:off x="6506957" y="3213777"/>
                <a:ext cx="68468" cy="81131"/>
              </a:xfrm>
              <a:custGeom>
                <a:avLst/>
                <a:gdLst/>
                <a:ahLst/>
                <a:cxnLst>
                  <a:cxn ang="0">
                    <a:pos x="60" y="1"/>
                  </a:cxn>
                  <a:cxn ang="0">
                    <a:pos x="60" y="0"/>
                  </a:cxn>
                  <a:cxn ang="0">
                    <a:pos x="60" y="1"/>
                  </a:cxn>
                  <a:cxn ang="0">
                    <a:pos x="52" y="6"/>
                  </a:cxn>
                  <a:cxn ang="0">
                    <a:pos x="32" y="7"/>
                  </a:cxn>
                  <a:cxn ang="0">
                    <a:pos x="31" y="6"/>
                  </a:cxn>
                  <a:cxn ang="0">
                    <a:pos x="28" y="6"/>
                  </a:cxn>
                  <a:cxn ang="0">
                    <a:pos x="25" y="7"/>
                  </a:cxn>
                  <a:cxn ang="0">
                    <a:pos x="22" y="6"/>
                  </a:cxn>
                  <a:cxn ang="0">
                    <a:pos x="19" y="6"/>
                  </a:cxn>
                  <a:cxn ang="0">
                    <a:pos x="18" y="7"/>
                  </a:cxn>
                  <a:cxn ang="0">
                    <a:pos x="16" y="20"/>
                  </a:cxn>
                  <a:cxn ang="0">
                    <a:pos x="16" y="23"/>
                  </a:cxn>
                  <a:cxn ang="0">
                    <a:pos x="19" y="26"/>
                  </a:cxn>
                  <a:cxn ang="0">
                    <a:pos x="20" y="26"/>
                  </a:cxn>
                  <a:cxn ang="0">
                    <a:pos x="22" y="28"/>
                  </a:cxn>
                  <a:cxn ang="0">
                    <a:pos x="22" y="29"/>
                  </a:cxn>
                  <a:cxn ang="0">
                    <a:pos x="20" y="32"/>
                  </a:cxn>
                  <a:cxn ang="0">
                    <a:pos x="18" y="35"/>
                  </a:cxn>
                  <a:cxn ang="0">
                    <a:pos x="15" y="36"/>
                  </a:cxn>
                  <a:cxn ang="0">
                    <a:pos x="4" y="49"/>
                  </a:cxn>
                  <a:cxn ang="0">
                    <a:pos x="0" y="77"/>
                  </a:cxn>
                  <a:cxn ang="0">
                    <a:pos x="0" y="78"/>
                  </a:cxn>
                  <a:cxn ang="0">
                    <a:pos x="3" y="78"/>
                  </a:cxn>
                  <a:cxn ang="0">
                    <a:pos x="4" y="78"/>
                  </a:cxn>
                  <a:cxn ang="0">
                    <a:pos x="6" y="76"/>
                  </a:cxn>
                  <a:cxn ang="0">
                    <a:pos x="7" y="74"/>
                  </a:cxn>
                  <a:cxn ang="0">
                    <a:pos x="9" y="74"/>
                  </a:cxn>
                  <a:cxn ang="0">
                    <a:pos x="10" y="73"/>
                  </a:cxn>
                  <a:cxn ang="0">
                    <a:pos x="16" y="74"/>
                  </a:cxn>
                  <a:cxn ang="0">
                    <a:pos x="18" y="73"/>
                  </a:cxn>
                  <a:cxn ang="0">
                    <a:pos x="18" y="73"/>
                  </a:cxn>
                  <a:cxn ang="0">
                    <a:pos x="29" y="73"/>
                  </a:cxn>
                  <a:cxn ang="0">
                    <a:pos x="28" y="71"/>
                  </a:cxn>
                  <a:cxn ang="0">
                    <a:pos x="32" y="64"/>
                  </a:cxn>
                  <a:cxn ang="0">
                    <a:pos x="31" y="62"/>
                  </a:cxn>
                  <a:cxn ang="0">
                    <a:pos x="31" y="61"/>
                  </a:cxn>
                  <a:cxn ang="0">
                    <a:pos x="36" y="60"/>
                  </a:cxn>
                  <a:cxn ang="0">
                    <a:pos x="38" y="58"/>
                  </a:cxn>
                  <a:cxn ang="0">
                    <a:pos x="39" y="58"/>
                  </a:cxn>
                  <a:cxn ang="0">
                    <a:pos x="41" y="58"/>
                  </a:cxn>
                  <a:cxn ang="0">
                    <a:pos x="41" y="57"/>
                  </a:cxn>
                  <a:cxn ang="0">
                    <a:pos x="42" y="57"/>
                  </a:cxn>
                  <a:cxn ang="0">
                    <a:pos x="45" y="57"/>
                  </a:cxn>
                  <a:cxn ang="0">
                    <a:pos x="47" y="58"/>
                  </a:cxn>
                  <a:cxn ang="0">
                    <a:pos x="51" y="54"/>
                  </a:cxn>
                  <a:cxn ang="0">
                    <a:pos x="55" y="57"/>
                  </a:cxn>
                  <a:cxn ang="0">
                    <a:pos x="58" y="55"/>
                  </a:cxn>
                  <a:cxn ang="0">
                    <a:pos x="60" y="57"/>
                  </a:cxn>
                  <a:cxn ang="0">
                    <a:pos x="74" y="38"/>
                  </a:cxn>
                  <a:cxn ang="0">
                    <a:pos x="74" y="22"/>
                  </a:cxn>
                  <a:cxn ang="0">
                    <a:pos x="74" y="20"/>
                  </a:cxn>
                  <a:cxn ang="0">
                    <a:pos x="71" y="17"/>
                  </a:cxn>
                  <a:cxn ang="0">
                    <a:pos x="68" y="16"/>
                  </a:cxn>
                  <a:cxn ang="0">
                    <a:pos x="68" y="14"/>
                  </a:cxn>
                  <a:cxn ang="0">
                    <a:pos x="65" y="6"/>
                  </a:cxn>
                  <a:cxn ang="0">
                    <a:pos x="65" y="6"/>
                  </a:cxn>
                  <a:cxn ang="0">
                    <a:pos x="65" y="4"/>
                  </a:cxn>
                  <a:cxn ang="0">
                    <a:pos x="65" y="3"/>
                  </a:cxn>
                  <a:cxn ang="0">
                    <a:pos x="64" y="3"/>
                  </a:cxn>
                  <a:cxn ang="0">
                    <a:pos x="61" y="1"/>
                  </a:cxn>
                  <a:cxn ang="0">
                    <a:pos x="61" y="1"/>
                  </a:cxn>
                  <a:cxn ang="0">
                    <a:pos x="60" y="1"/>
                  </a:cxn>
                </a:cxnLst>
                <a:rect l="0" t="0" r="r" b="b"/>
                <a:pathLst>
                  <a:path w="74" h="78">
                    <a:moveTo>
                      <a:pt x="60" y="1"/>
                    </a:moveTo>
                    <a:lnTo>
                      <a:pt x="60" y="0"/>
                    </a:lnTo>
                    <a:lnTo>
                      <a:pt x="60" y="1"/>
                    </a:lnTo>
                    <a:lnTo>
                      <a:pt x="52" y="6"/>
                    </a:lnTo>
                    <a:lnTo>
                      <a:pt x="32" y="7"/>
                    </a:lnTo>
                    <a:lnTo>
                      <a:pt x="31" y="6"/>
                    </a:lnTo>
                    <a:lnTo>
                      <a:pt x="28" y="6"/>
                    </a:lnTo>
                    <a:lnTo>
                      <a:pt x="25" y="7"/>
                    </a:lnTo>
                    <a:lnTo>
                      <a:pt x="22" y="6"/>
                    </a:lnTo>
                    <a:lnTo>
                      <a:pt x="19" y="6"/>
                    </a:lnTo>
                    <a:lnTo>
                      <a:pt x="18" y="7"/>
                    </a:lnTo>
                    <a:lnTo>
                      <a:pt x="16" y="20"/>
                    </a:lnTo>
                    <a:lnTo>
                      <a:pt x="16" y="23"/>
                    </a:lnTo>
                    <a:lnTo>
                      <a:pt x="19" y="26"/>
                    </a:lnTo>
                    <a:lnTo>
                      <a:pt x="20" y="26"/>
                    </a:lnTo>
                    <a:lnTo>
                      <a:pt x="22" y="28"/>
                    </a:lnTo>
                    <a:lnTo>
                      <a:pt x="22" y="29"/>
                    </a:lnTo>
                    <a:lnTo>
                      <a:pt x="20" y="32"/>
                    </a:lnTo>
                    <a:lnTo>
                      <a:pt x="18" y="35"/>
                    </a:lnTo>
                    <a:lnTo>
                      <a:pt x="15" y="36"/>
                    </a:lnTo>
                    <a:lnTo>
                      <a:pt x="4" y="49"/>
                    </a:lnTo>
                    <a:lnTo>
                      <a:pt x="0" y="77"/>
                    </a:lnTo>
                    <a:lnTo>
                      <a:pt x="0" y="78"/>
                    </a:lnTo>
                    <a:lnTo>
                      <a:pt x="3" y="78"/>
                    </a:lnTo>
                    <a:lnTo>
                      <a:pt x="4" y="78"/>
                    </a:lnTo>
                    <a:lnTo>
                      <a:pt x="6" y="76"/>
                    </a:lnTo>
                    <a:lnTo>
                      <a:pt x="7" y="74"/>
                    </a:lnTo>
                    <a:lnTo>
                      <a:pt x="9" y="74"/>
                    </a:lnTo>
                    <a:lnTo>
                      <a:pt x="10" y="73"/>
                    </a:lnTo>
                    <a:lnTo>
                      <a:pt x="16" y="74"/>
                    </a:lnTo>
                    <a:lnTo>
                      <a:pt x="18" y="73"/>
                    </a:lnTo>
                    <a:lnTo>
                      <a:pt x="18" y="73"/>
                    </a:lnTo>
                    <a:lnTo>
                      <a:pt x="29" y="73"/>
                    </a:lnTo>
                    <a:lnTo>
                      <a:pt x="28" y="71"/>
                    </a:lnTo>
                    <a:lnTo>
                      <a:pt x="32" y="64"/>
                    </a:lnTo>
                    <a:lnTo>
                      <a:pt x="31" y="62"/>
                    </a:lnTo>
                    <a:lnTo>
                      <a:pt x="31" y="61"/>
                    </a:lnTo>
                    <a:lnTo>
                      <a:pt x="36" y="60"/>
                    </a:lnTo>
                    <a:lnTo>
                      <a:pt x="38" y="58"/>
                    </a:lnTo>
                    <a:lnTo>
                      <a:pt x="39" y="58"/>
                    </a:lnTo>
                    <a:lnTo>
                      <a:pt x="41" y="58"/>
                    </a:lnTo>
                    <a:lnTo>
                      <a:pt x="41" y="57"/>
                    </a:lnTo>
                    <a:lnTo>
                      <a:pt x="42" y="57"/>
                    </a:lnTo>
                    <a:lnTo>
                      <a:pt x="45" y="57"/>
                    </a:lnTo>
                    <a:lnTo>
                      <a:pt x="47" y="58"/>
                    </a:lnTo>
                    <a:lnTo>
                      <a:pt x="51" y="54"/>
                    </a:lnTo>
                    <a:lnTo>
                      <a:pt x="55" y="57"/>
                    </a:lnTo>
                    <a:lnTo>
                      <a:pt x="58" y="55"/>
                    </a:lnTo>
                    <a:lnTo>
                      <a:pt x="60" y="57"/>
                    </a:lnTo>
                    <a:lnTo>
                      <a:pt x="74" y="38"/>
                    </a:lnTo>
                    <a:lnTo>
                      <a:pt x="74" y="22"/>
                    </a:lnTo>
                    <a:lnTo>
                      <a:pt x="74" y="20"/>
                    </a:lnTo>
                    <a:lnTo>
                      <a:pt x="71" y="17"/>
                    </a:lnTo>
                    <a:lnTo>
                      <a:pt x="68" y="16"/>
                    </a:lnTo>
                    <a:lnTo>
                      <a:pt x="68" y="14"/>
                    </a:lnTo>
                    <a:lnTo>
                      <a:pt x="65" y="6"/>
                    </a:lnTo>
                    <a:lnTo>
                      <a:pt x="65" y="6"/>
                    </a:lnTo>
                    <a:lnTo>
                      <a:pt x="65" y="4"/>
                    </a:lnTo>
                    <a:lnTo>
                      <a:pt x="65" y="3"/>
                    </a:lnTo>
                    <a:lnTo>
                      <a:pt x="64" y="3"/>
                    </a:lnTo>
                    <a:lnTo>
                      <a:pt x="61" y="1"/>
                    </a:lnTo>
                    <a:lnTo>
                      <a:pt x="61" y="1"/>
                    </a:lnTo>
                    <a:lnTo>
                      <a:pt x="60"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36" name="Freeform 1735"/>
              <p:cNvSpPr>
                <a:spLocks/>
              </p:cNvSpPr>
              <p:nvPr/>
            </p:nvSpPr>
            <p:spPr bwMode="auto">
              <a:xfrm>
                <a:off x="6798387" y="2896354"/>
                <a:ext cx="100947" cy="130824"/>
              </a:xfrm>
              <a:custGeom>
                <a:avLst/>
                <a:gdLst/>
                <a:ahLst/>
                <a:cxnLst>
                  <a:cxn ang="0">
                    <a:pos x="52" y="0"/>
                  </a:cxn>
                  <a:cxn ang="0">
                    <a:pos x="52" y="10"/>
                  </a:cxn>
                  <a:cxn ang="0">
                    <a:pos x="55" y="10"/>
                  </a:cxn>
                  <a:cxn ang="0">
                    <a:pos x="50" y="14"/>
                  </a:cxn>
                  <a:cxn ang="0">
                    <a:pos x="52" y="45"/>
                  </a:cxn>
                  <a:cxn ang="0">
                    <a:pos x="0" y="90"/>
                  </a:cxn>
                  <a:cxn ang="0">
                    <a:pos x="29" y="120"/>
                  </a:cxn>
                  <a:cxn ang="0">
                    <a:pos x="39" y="120"/>
                  </a:cxn>
                  <a:cxn ang="0">
                    <a:pos x="43" y="119"/>
                  </a:cxn>
                  <a:cxn ang="0">
                    <a:pos x="46" y="112"/>
                  </a:cxn>
                  <a:cxn ang="0">
                    <a:pos x="58" y="106"/>
                  </a:cxn>
                  <a:cxn ang="0">
                    <a:pos x="62" y="106"/>
                  </a:cxn>
                  <a:cxn ang="0">
                    <a:pos x="65" y="97"/>
                  </a:cxn>
                  <a:cxn ang="0">
                    <a:pos x="69" y="93"/>
                  </a:cxn>
                  <a:cxn ang="0">
                    <a:pos x="72" y="90"/>
                  </a:cxn>
                  <a:cxn ang="0">
                    <a:pos x="79" y="90"/>
                  </a:cxn>
                  <a:cxn ang="0">
                    <a:pos x="81" y="88"/>
                  </a:cxn>
                  <a:cxn ang="0">
                    <a:pos x="81" y="84"/>
                  </a:cxn>
                  <a:cxn ang="0">
                    <a:pos x="81" y="77"/>
                  </a:cxn>
                  <a:cxn ang="0">
                    <a:pos x="85" y="67"/>
                  </a:cxn>
                  <a:cxn ang="0">
                    <a:pos x="88" y="67"/>
                  </a:cxn>
                  <a:cxn ang="0">
                    <a:pos x="88" y="68"/>
                  </a:cxn>
                  <a:cxn ang="0">
                    <a:pos x="91" y="68"/>
                  </a:cxn>
                  <a:cxn ang="0">
                    <a:pos x="101" y="54"/>
                  </a:cxn>
                  <a:cxn ang="0">
                    <a:pos x="110" y="38"/>
                  </a:cxn>
                  <a:cxn ang="0">
                    <a:pos x="107" y="36"/>
                  </a:cxn>
                  <a:cxn ang="0">
                    <a:pos x="104" y="35"/>
                  </a:cxn>
                  <a:cxn ang="0">
                    <a:pos x="100" y="29"/>
                  </a:cxn>
                  <a:cxn ang="0">
                    <a:pos x="98" y="26"/>
                  </a:cxn>
                  <a:cxn ang="0">
                    <a:pos x="91" y="20"/>
                  </a:cxn>
                  <a:cxn ang="0">
                    <a:pos x="85" y="17"/>
                  </a:cxn>
                  <a:cxn ang="0">
                    <a:pos x="74" y="14"/>
                  </a:cxn>
                  <a:cxn ang="0">
                    <a:pos x="68" y="11"/>
                  </a:cxn>
                  <a:cxn ang="0">
                    <a:pos x="64" y="6"/>
                  </a:cxn>
                  <a:cxn ang="0">
                    <a:pos x="61" y="0"/>
                  </a:cxn>
                </a:cxnLst>
                <a:rect l="0" t="0" r="r" b="b"/>
                <a:pathLst>
                  <a:path w="110" h="126">
                    <a:moveTo>
                      <a:pt x="61" y="0"/>
                    </a:moveTo>
                    <a:lnTo>
                      <a:pt x="52" y="0"/>
                    </a:lnTo>
                    <a:lnTo>
                      <a:pt x="53" y="9"/>
                    </a:lnTo>
                    <a:lnTo>
                      <a:pt x="52" y="10"/>
                    </a:lnTo>
                    <a:lnTo>
                      <a:pt x="53" y="11"/>
                    </a:lnTo>
                    <a:lnTo>
                      <a:pt x="55" y="10"/>
                    </a:lnTo>
                    <a:lnTo>
                      <a:pt x="53" y="13"/>
                    </a:lnTo>
                    <a:lnTo>
                      <a:pt x="50" y="14"/>
                    </a:lnTo>
                    <a:lnTo>
                      <a:pt x="45" y="33"/>
                    </a:lnTo>
                    <a:lnTo>
                      <a:pt x="52" y="45"/>
                    </a:lnTo>
                    <a:lnTo>
                      <a:pt x="42" y="75"/>
                    </a:lnTo>
                    <a:lnTo>
                      <a:pt x="0" y="90"/>
                    </a:lnTo>
                    <a:lnTo>
                      <a:pt x="14" y="126"/>
                    </a:lnTo>
                    <a:lnTo>
                      <a:pt x="29" y="120"/>
                    </a:lnTo>
                    <a:lnTo>
                      <a:pt x="37" y="120"/>
                    </a:lnTo>
                    <a:lnTo>
                      <a:pt x="39" y="120"/>
                    </a:lnTo>
                    <a:lnTo>
                      <a:pt x="40" y="120"/>
                    </a:lnTo>
                    <a:lnTo>
                      <a:pt x="43" y="119"/>
                    </a:lnTo>
                    <a:lnTo>
                      <a:pt x="46" y="116"/>
                    </a:lnTo>
                    <a:lnTo>
                      <a:pt x="46" y="112"/>
                    </a:lnTo>
                    <a:lnTo>
                      <a:pt x="49" y="107"/>
                    </a:lnTo>
                    <a:lnTo>
                      <a:pt x="58" y="106"/>
                    </a:lnTo>
                    <a:lnTo>
                      <a:pt x="59" y="106"/>
                    </a:lnTo>
                    <a:lnTo>
                      <a:pt x="62" y="106"/>
                    </a:lnTo>
                    <a:lnTo>
                      <a:pt x="64" y="103"/>
                    </a:lnTo>
                    <a:lnTo>
                      <a:pt x="65" y="97"/>
                    </a:lnTo>
                    <a:lnTo>
                      <a:pt x="66" y="94"/>
                    </a:lnTo>
                    <a:lnTo>
                      <a:pt x="69" y="93"/>
                    </a:lnTo>
                    <a:lnTo>
                      <a:pt x="71" y="91"/>
                    </a:lnTo>
                    <a:lnTo>
                      <a:pt x="72" y="90"/>
                    </a:lnTo>
                    <a:lnTo>
                      <a:pt x="74" y="91"/>
                    </a:lnTo>
                    <a:lnTo>
                      <a:pt x="79" y="90"/>
                    </a:lnTo>
                    <a:lnTo>
                      <a:pt x="81" y="90"/>
                    </a:lnTo>
                    <a:lnTo>
                      <a:pt x="81" y="88"/>
                    </a:lnTo>
                    <a:lnTo>
                      <a:pt x="81" y="86"/>
                    </a:lnTo>
                    <a:lnTo>
                      <a:pt x="81" y="84"/>
                    </a:lnTo>
                    <a:lnTo>
                      <a:pt x="79" y="80"/>
                    </a:lnTo>
                    <a:lnTo>
                      <a:pt x="81" y="77"/>
                    </a:lnTo>
                    <a:lnTo>
                      <a:pt x="81" y="74"/>
                    </a:lnTo>
                    <a:lnTo>
                      <a:pt x="85" y="67"/>
                    </a:lnTo>
                    <a:lnTo>
                      <a:pt x="87" y="67"/>
                    </a:lnTo>
                    <a:lnTo>
                      <a:pt x="88" y="67"/>
                    </a:lnTo>
                    <a:lnTo>
                      <a:pt x="88" y="68"/>
                    </a:lnTo>
                    <a:lnTo>
                      <a:pt x="88" y="68"/>
                    </a:lnTo>
                    <a:lnTo>
                      <a:pt x="91" y="70"/>
                    </a:lnTo>
                    <a:lnTo>
                      <a:pt x="91" y="68"/>
                    </a:lnTo>
                    <a:lnTo>
                      <a:pt x="98" y="56"/>
                    </a:lnTo>
                    <a:lnTo>
                      <a:pt x="101" y="54"/>
                    </a:lnTo>
                    <a:lnTo>
                      <a:pt x="109" y="43"/>
                    </a:lnTo>
                    <a:lnTo>
                      <a:pt x="110" y="38"/>
                    </a:lnTo>
                    <a:lnTo>
                      <a:pt x="109" y="36"/>
                    </a:lnTo>
                    <a:lnTo>
                      <a:pt x="107" y="36"/>
                    </a:lnTo>
                    <a:lnTo>
                      <a:pt x="107" y="35"/>
                    </a:lnTo>
                    <a:lnTo>
                      <a:pt x="104" y="35"/>
                    </a:lnTo>
                    <a:lnTo>
                      <a:pt x="101" y="32"/>
                    </a:lnTo>
                    <a:lnTo>
                      <a:pt x="100" y="29"/>
                    </a:lnTo>
                    <a:lnTo>
                      <a:pt x="98" y="27"/>
                    </a:lnTo>
                    <a:lnTo>
                      <a:pt x="98" y="26"/>
                    </a:lnTo>
                    <a:lnTo>
                      <a:pt x="94" y="22"/>
                    </a:lnTo>
                    <a:lnTo>
                      <a:pt x="91" y="20"/>
                    </a:lnTo>
                    <a:lnTo>
                      <a:pt x="90" y="20"/>
                    </a:lnTo>
                    <a:lnTo>
                      <a:pt x="85" y="17"/>
                    </a:lnTo>
                    <a:lnTo>
                      <a:pt x="81" y="17"/>
                    </a:lnTo>
                    <a:lnTo>
                      <a:pt x="74" y="14"/>
                    </a:lnTo>
                    <a:lnTo>
                      <a:pt x="71" y="11"/>
                    </a:lnTo>
                    <a:lnTo>
                      <a:pt x="68" y="11"/>
                    </a:lnTo>
                    <a:lnTo>
                      <a:pt x="65" y="6"/>
                    </a:lnTo>
                    <a:lnTo>
                      <a:pt x="64" y="6"/>
                    </a:lnTo>
                    <a:lnTo>
                      <a:pt x="62" y="4"/>
                    </a:lnTo>
                    <a:lnTo>
                      <a:pt x="61" y="0"/>
                    </a:lnTo>
                    <a:lnTo>
                      <a:pt x="61" y="0"/>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37" name="Freeform 1736"/>
              <p:cNvSpPr>
                <a:spLocks/>
              </p:cNvSpPr>
              <p:nvPr/>
            </p:nvSpPr>
            <p:spPr bwMode="auto">
              <a:xfrm>
                <a:off x="6270829" y="3527144"/>
                <a:ext cx="173805" cy="194713"/>
              </a:xfrm>
              <a:custGeom>
                <a:avLst/>
                <a:gdLst/>
                <a:ahLst/>
                <a:cxnLst>
                  <a:cxn ang="0">
                    <a:pos x="32" y="7"/>
                  </a:cxn>
                  <a:cxn ang="0">
                    <a:pos x="24" y="3"/>
                  </a:cxn>
                  <a:cxn ang="0">
                    <a:pos x="14" y="0"/>
                  </a:cxn>
                  <a:cxn ang="0">
                    <a:pos x="10" y="4"/>
                  </a:cxn>
                  <a:cxn ang="0">
                    <a:pos x="5" y="3"/>
                  </a:cxn>
                  <a:cxn ang="0">
                    <a:pos x="0" y="14"/>
                  </a:cxn>
                  <a:cxn ang="0">
                    <a:pos x="1" y="19"/>
                  </a:cxn>
                  <a:cxn ang="0">
                    <a:pos x="7" y="29"/>
                  </a:cxn>
                  <a:cxn ang="0">
                    <a:pos x="30" y="72"/>
                  </a:cxn>
                  <a:cxn ang="0">
                    <a:pos x="39" y="113"/>
                  </a:cxn>
                  <a:cxn ang="0">
                    <a:pos x="45" y="135"/>
                  </a:cxn>
                  <a:cxn ang="0">
                    <a:pos x="46" y="145"/>
                  </a:cxn>
                  <a:cxn ang="0">
                    <a:pos x="66" y="181"/>
                  </a:cxn>
                  <a:cxn ang="0">
                    <a:pos x="68" y="181"/>
                  </a:cxn>
                  <a:cxn ang="0">
                    <a:pos x="71" y="181"/>
                  </a:cxn>
                  <a:cxn ang="0">
                    <a:pos x="77" y="176"/>
                  </a:cxn>
                  <a:cxn ang="0">
                    <a:pos x="84" y="184"/>
                  </a:cxn>
                  <a:cxn ang="0">
                    <a:pos x="91" y="187"/>
                  </a:cxn>
                  <a:cxn ang="0">
                    <a:pos x="104" y="187"/>
                  </a:cxn>
                  <a:cxn ang="0">
                    <a:pos x="117" y="178"/>
                  </a:cxn>
                  <a:cxn ang="0">
                    <a:pos x="132" y="77"/>
                  </a:cxn>
                  <a:cxn ang="0">
                    <a:pos x="133" y="23"/>
                  </a:cxn>
                  <a:cxn ang="0">
                    <a:pos x="167" y="19"/>
                  </a:cxn>
                  <a:cxn ang="0">
                    <a:pos x="170" y="26"/>
                  </a:cxn>
                  <a:cxn ang="0">
                    <a:pos x="177" y="19"/>
                  </a:cxn>
                  <a:cxn ang="0">
                    <a:pos x="186" y="14"/>
                  </a:cxn>
                  <a:cxn ang="0">
                    <a:pos x="190" y="13"/>
                  </a:cxn>
                  <a:cxn ang="0">
                    <a:pos x="187" y="10"/>
                  </a:cxn>
                  <a:cxn ang="0">
                    <a:pos x="178" y="7"/>
                  </a:cxn>
                  <a:cxn ang="0">
                    <a:pos x="164" y="11"/>
                  </a:cxn>
                  <a:cxn ang="0">
                    <a:pos x="139" y="17"/>
                  </a:cxn>
                  <a:cxn ang="0">
                    <a:pos x="98" y="10"/>
                  </a:cxn>
                  <a:cxn ang="0">
                    <a:pos x="90" y="7"/>
                  </a:cxn>
                </a:cxnLst>
                <a:rect l="0" t="0" r="r" b="b"/>
                <a:pathLst>
                  <a:path w="190" h="187">
                    <a:moveTo>
                      <a:pt x="90" y="7"/>
                    </a:moveTo>
                    <a:lnTo>
                      <a:pt x="32" y="7"/>
                    </a:lnTo>
                    <a:lnTo>
                      <a:pt x="29" y="4"/>
                    </a:lnTo>
                    <a:lnTo>
                      <a:pt x="24" y="3"/>
                    </a:lnTo>
                    <a:lnTo>
                      <a:pt x="23" y="1"/>
                    </a:lnTo>
                    <a:lnTo>
                      <a:pt x="14" y="0"/>
                    </a:lnTo>
                    <a:lnTo>
                      <a:pt x="13" y="1"/>
                    </a:lnTo>
                    <a:lnTo>
                      <a:pt x="10" y="4"/>
                    </a:lnTo>
                    <a:lnTo>
                      <a:pt x="8" y="4"/>
                    </a:lnTo>
                    <a:lnTo>
                      <a:pt x="5" y="3"/>
                    </a:lnTo>
                    <a:lnTo>
                      <a:pt x="0" y="7"/>
                    </a:lnTo>
                    <a:lnTo>
                      <a:pt x="0" y="14"/>
                    </a:lnTo>
                    <a:lnTo>
                      <a:pt x="1" y="17"/>
                    </a:lnTo>
                    <a:lnTo>
                      <a:pt x="1" y="19"/>
                    </a:lnTo>
                    <a:lnTo>
                      <a:pt x="4" y="26"/>
                    </a:lnTo>
                    <a:lnTo>
                      <a:pt x="7" y="29"/>
                    </a:lnTo>
                    <a:lnTo>
                      <a:pt x="30" y="71"/>
                    </a:lnTo>
                    <a:lnTo>
                      <a:pt x="30" y="72"/>
                    </a:lnTo>
                    <a:lnTo>
                      <a:pt x="39" y="85"/>
                    </a:lnTo>
                    <a:lnTo>
                      <a:pt x="39" y="113"/>
                    </a:lnTo>
                    <a:lnTo>
                      <a:pt x="45" y="123"/>
                    </a:lnTo>
                    <a:lnTo>
                      <a:pt x="45" y="135"/>
                    </a:lnTo>
                    <a:lnTo>
                      <a:pt x="46" y="142"/>
                    </a:lnTo>
                    <a:lnTo>
                      <a:pt x="46" y="145"/>
                    </a:lnTo>
                    <a:lnTo>
                      <a:pt x="50" y="161"/>
                    </a:lnTo>
                    <a:lnTo>
                      <a:pt x="66" y="181"/>
                    </a:lnTo>
                    <a:lnTo>
                      <a:pt x="68" y="181"/>
                    </a:lnTo>
                    <a:lnTo>
                      <a:pt x="68" y="181"/>
                    </a:lnTo>
                    <a:lnTo>
                      <a:pt x="69" y="181"/>
                    </a:lnTo>
                    <a:lnTo>
                      <a:pt x="71" y="181"/>
                    </a:lnTo>
                    <a:lnTo>
                      <a:pt x="74" y="176"/>
                    </a:lnTo>
                    <a:lnTo>
                      <a:pt x="77" y="176"/>
                    </a:lnTo>
                    <a:lnTo>
                      <a:pt x="84" y="180"/>
                    </a:lnTo>
                    <a:lnTo>
                      <a:pt x="84" y="184"/>
                    </a:lnTo>
                    <a:lnTo>
                      <a:pt x="87" y="187"/>
                    </a:lnTo>
                    <a:lnTo>
                      <a:pt x="91" y="187"/>
                    </a:lnTo>
                    <a:lnTo>
                      <a:pt x="94" y="186"/>
                    </a:lnTo>
                    <a:lnTo>
                      <a:pt x="104" y="187"/>
                    </a:lnTo>
                    <a:lnTo>
                      <a:pt x="113" y="181"/>
                    </a:lnTo>
                    <a:lnTo>
                      <a:pt x="117" y="178"/>
                    </a:lnTo>
                    <a:lnTo>
                      <a:pt x="117" y="77"/>
                    </a:lnTo>
                    <a:lnTo>
                      <a:pt x="132" y="77"/>
                    </a:lnTo>
                    <a:lnTo>
                      <a:pt x="132" y="24"/>
                    </a:lnTo>
                    <a:lnTo>
                      <a:pt x="133" y="23"/>
                    </a:lnTo>
                    <a:lnTo>
                      <a:pt x="164" y="19"/>
                    </a:lnTo>
                    <a:lnTo>
                      <a:pt x="167" y="19"/>
                    </a:lnTo>
                    <a:lnTo>
                      <a:pt x="168" y="22"/>
                    </a:lnTo>
                    <a:lnTo>
                      <a:pt x="170" y="26"/>
                    </a:lnTo>
                    <a:lnTo>
                      <a:pt x="172" y="22"/>
                    </a:lnTo>
                    <a:lnTo>
                      <a:pt x="177" y="19"/>
                    </a:lnTo>
                    <a:lnTo>
                      <a:pt x="184" y="16"/>
                    </a:lnTo>
                    <a:lnTo>
                      <a:pt x="186" y="14"/>
                    </a:lnTo>
                    <a:lnTo>
                      <a:pt x="187" y="13"/>
                    </a:lnTo>
                    <a:lnTo>
                      <a:pt x="190" y="13"/>
                    </a:lnTo>
                    <a:lnTo>
                      <a:pt x="188" y="10"/>
                    </a:lnTo>
                    <a:lnTo>
                      <a:pt x="187" y="10"/>
                    </a:lnTo>
                    <a:lnTo>
                      <a:pt x="178" y="8"/>
                    </a:lnTo>
                    <a:lnTo>
                      <a:pt x="178" y="7"/>
                    </a:lnTo>
                    <a:lnTo>
                      <a:pt x="165" y="11"/>
                    </a:lnTo>
                    <a:lnTo>
                      <a:pt x="164" y="11"/>
                    </a:lnTo>
                    <a:lnTo>
                      <a:pt x="139" y="17"/>
                    </a:lnTo>
                    <a:lnTo>
                      <a:pt x="139" y="17"/>
                    </a:lnTo>
                    <a:lnTo>
                      <a:pt x="100" y="13"/>
                    </a:lnTo>
                    <a:lnTo>
                      <a:pt x="98" y="10"/>
                    </a:lnTo>
                    <a:lnTo>
                      <a:pt x="94" y="7"/>
                    </a:lnTo>
                    <a:lnTo>
                      <a:pt x="90" y="7"/>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38" name="Freeform 1737"/>
              <p:cNvSpPr>
                <a:spLocks/>
              </p:cNvSpPr>
              <p:nvPr/>
            </p:nvSpPr>
            <p:spPr bwMode="auto">
              <a:xfrm>
                <a:off x="6270829" y="3527144"/>
                <a:ext cx="173805" cy="194713"/>
              </a:xfrm>
              <a:custGeom>
                <a:avLst/>
                <a:gdLst/>
                <a:ahLst/>
                <a:cxnLst>
                  <a:cxn ang="0">
                    <a:pos x="32" y="7"/>
                  </a:cxn>
                  <a:cxn ang="0">
                    <a:pos x="24" y="3"/>
                  </a:cxn>
                  <a:cxn ang="0">
                    <a:pos x="14" y="0"/>
                  </a:cxn>
                  <a:cxn ang="0">
                    <a:pos x="10" y="4"/>
                  </a:cxn>
                  <a:cxn ang="0">
                    <a:pos x="5" y="3"/>
                  </a:cxn>
                  <a:cxn ang="0">
                    <a:pos x="0" y="14"/>
                  </a:cxn>
                  <a:cxn ang="0">
                    <a:pos x="1" y="19"/>
                  </a:cxn>
                  <a:cxn ang="0">
                    <a:pos x="7" y="29"/>
                  </a:cxn>
                  <a:cxn ang="0">
                    <a:pos x="30" y="72"/>
                  </a:cxn>
                  <a:cxn ang="0">
                    <a:pos x="39" y="113"/>
                  </a:cxn>
                  <a:cxn ang="0">
                    <a:pos x="45" y="135"/>
                  </a:cxn>
                  <a:cxn ang="0">
                    <a:pos x="46" y="145"/>
                  </a:cxn>
                  <a:cxn ang="0">
                    <a:pos x="66" y="181"/>
                  </a:cxn>
                  <a:cxn ang="0">
                    <a:pos x="68" y="181"/>
                  </a:cxn>
                  <a:cxn ang="0">
                    <a:pos x="71" y="181"/>
                  </a:cxn>
                  <a:cxn ang="0">
                    <a:pos x="77" y="176"/>
                  </a:cxn>
                  <a:cxn ang="0">
                    <a:pos x="84" y="184"/>
                  </a:cxn>
                  <a:cxn ang="0">
                    <a:pos x="91" y="187"/>
                  </a:cxn>
                  <a:cxn ang="0">
                    <a:pos x="104" y="187"/>
                  </a:cxn>
                  <a:cxn ang="0">
                    <a:pos x="117" y="178"/>
                  </a:cxn>
                  <a:cxn ang="0">
                    <a:pos x="132" y="77"/>
                  </a:cxn>
                  <a:cxn ang="0">
                    <a:pos x="133" y="23"/>
                  </a:cxn>
                  <a:cxn ang="0">
                    <a:pos x="167" y="19"/>
                  </a:cxn>
                  <a:cxn ang="0">
                    <a:pos x="170" y="26"/>
                  </a:cxn>
                  <a:cxn ang="0">
                    <a:pos x="177" y="19"/>
                  </a:cxn>
                  <a:cxn ang="0">
                    <a:pos x="186" y="14"/>
                  </a:cxn>
                  <a:cxn ang="0">
                    <a:pos x="190" y="13"/>
                  </a:cxn>
                  <a:cxn ang="0">
                    <a:pos x="187" y="10"/>
                  </a:cxn>
                  <a:cxn ang="0">
                    <a:pos x="178" y="7"/>
                  </a:cxn>
                  <a:cxn ang="0">
                    <a:pos x="164" y="11"/>
                  </a:cxn>
                  <a:cxn ang="0">
                    <a:pos x="139" y="17"/>
                  </a:cxn>
                  <a:cxn ang="0">
                    <a:pos x="98" y="10"/>
                  </a:cxn>
                  <a:cxn ang="0">
                    <a:pos x="90" y="7"/>
                  </a:cxn>
                </a:cxnLst>
                <a:rect l="0" t="0" r="r" b="b"/>
                <a:pathLst>
                  <a:path w="190" h="187">
                    <a:moveTo>
                      <a:pt x="90" y="7"/>
                    </a:moveTo>
                    <a:lnTo>
                      <a:pt x="32" y="7"/>
                    </a:lnTo>
                    <a:lnTo>
                      <a:pt x="29" y="4"/>
                    </a:lnTo>
                    <a:lnTo>
                      <a:pt x="24" y="3"/>
                    </a:lnTo>
                    <a:lnTo>
                      <a:pt x="23" y="1"/>
                    </a:lnTo>
                    <a:lnTo>
                      <a:pt x="14" y="0"/>
                    </a:lnTo>
                    <a:lnTo>
                      <a:pt x="13" y="1"/>
                    </a:lnTo>
                    <a:lnTo>
                      <a:pt x="10" y="4"/>
                    </a:lnTo>
                    <a:lnTo>
                      <a:pt x="8" y="4"/>
                    </a:lnTo>
                    <a:lnTo>
                      <a:pt x="5" y="3"/>
                    </a:lnTo>
                    <a:lnTo>
                      <a:pt x="0" y="7"/>
                    </a:lnTo>
                    <a:lnTo>
                      <a:pt x="0" y="14"/>
                    </a:lnTo>
                    <a:lnTo>
                      <a:pt x="1" y="17"/>
                    </a:lnTo>
                    <a:lnTo>
                      <a:pt x="1" y="19"/>
                    </a:lnTo>
                    <a:lnTo>
                      <a:pt x="4" y="26"/>
                    </a:lnTo>
                    <a:lnTo>
                      <a:pt x="7" y="29"/>
                    </a:lnTo>
                    <a:lnTo>
                      <a:pt x="30" y="71"/>
                    </a:lnTo>
                    <a:lnTo>
                      <a:pt x="30" y="72"/>
                    </a:lnTo>
                    <a:lnTo>
                      <a:pt x="39" y="85"/>
                    </a:lnTo>
                    <a:lnTo>
                      <a:pt x="39" y="113"/>
                    </a:lnTo>
                    <a:lnTo>
                      <a:pt x="45" y="123"/>
                    </a:lnTo>
                    <a:lnTo>
                      <a:pt x="45" y="135"/>
                    </a:lnTo>
                    <a:lnTo>
                      <a:pt x="46" y="142"/>
                    </a:lnTo>
                    <a:lnTo>
                      <a:pt x="46" y="145"/>
                    </a:lnTo>
                    <a:lnTo>
                      <a:pt x="50" y="161"/>
                    </a:lnTo>
                    <a:lnTo>
                      <a:pt x="66" y="181"/>
                    </a:lnTo>
                    <a:lnTo>
                      <a:pt x="68" y="181"/>
                    </a:lnTo>
                    <a:lnTo>
                      <a:pt x="68" y="181"/>
                    </a:lnTo>
                    <a:lnTo>
                      <a:pt x="69" y="181"/>
                    </a:lnTo>
                    <a:lnTo>
                      <a:pt x="71" y="181"/>
                    </a:lnTo>
                    <a:lnTo>
                      <a:pt x="74" y="176"/>
                    </a:lnTo>
                    <a:lnTo>
                      <a:pt x="77" y="176"/>
                    </a:lnTo>
                    <a:lnTo>
                      <a:pt x="84" y="180"/>
                    </a:lnTo>
                    <a:lnTo>
                      <a:pt x="84" y="184"/>
                    </a:lnTo>
                    <a:lnTo>
                      <a:pt x="87" y="187"/>
                    </a:lnTo>
                    <a:lnTo>
                      <a:pt x="91" y="187"/>
                    </a:lnTo>
                    <a:lnTo>
                      <a:pt x="94" y="186"/>
                    </a:lnTo>
                    <a:lnTo>
                      <a:pt x="104" y="187"/>
                    </a:lnTo>
                    <a:lnTo>
                      <a:pt x="113" y="181"/>
                    </a:lnTo>
                    <a:lnTo>
                      <a:pt x="117" y="178"/>
                    </a:lnTo>
                    <a:lnTo>
                      <a:pt x="117" y="77"/>
                    </a:lnTo>
                    <a:lnTo>
                      <a:pt x="132" y="77"/>
                    </a:lnTo>
                    <a:lnTo>
                      <a:pt x="132" y="24"/>
                    </a:lnTo>
                    <a:lnTo>
                      <a:pt x="133" y="23"/>
                    </a:lnTo>
                    <a:lnTo>
                      <a:pt x="164" y="19"/>
                    </a:lnTo>
                    <a:lnTo>
                      <a:pt x="167" y="19"/>
                    </a:lnTo>
                    <a:lnTo>
                      <a:pt x="168" y="22"/>
                    </a:lnTo>
                    <a:lnTo>
                      <a:pt x="170" y="26"/>
                    </a:lnTo>
                    <a:lnTo>
                      <a:pt x="172" y="22"/>
                    </a:lnTo>
                    <a:lnTo>
                      <a:pt x="177" y="19"/>
                    </a:lnTo>
                    <a:lnTo>
                      <a:pt x="184" y="16"/>
                    </a:lnTo>
                    <a:lnTo>
                      <a:pt x="186" y="14"/>
                    </a:lnTo>
                    <a:lnTo>
                      <a:pt x="187" y="13"/>
                    </a:lnTo>
                    <a:lnTo>
                      <a:pt x="190" y="13"/>
                    </a:lnTo>
                    <a:lnTo>
                      <a:pt x="188" y="10"/>
                    </a:lnTo>
                    <a:lnTo>
                      <a:pt x="187" y="10"/>
                    </a:lnTo>
                    <a:lnTo>
                      <a:pt x="178" y="8"/>
                    </a:lnTo>
                    <a:lnTo>
                      <a:pt x="178" y="7"/>
                    </a:lnTo>
                    <a:lnTo>
                      <a:pt x="165" y="11"/>
                    </a:lnTo>
                    <a:lnTo>
                      <a:pt x="164" y="11"/>
                    </a:lnTo>
                    <a:lnTo>
                      <a:pt x="139" y="17"/>
                    </a:lnTo>
                    <a:lnTo>
                      <a:pt x="139" y="17"/>
                    </a:lnTo>
                    <a:lnTo>
                      <a:pt x="100" y="13"/>
                    </a:lnTo>
                    <a:lnTo>
                      <a:pt x="98" y="10"/>
                    </a:lnTo>
                    <a:lnTo>
                      <a:pt x="94" y="7"/>
                    </a:lnTo>
                    <a:lnTo>
                      <a:pt x="90" y="7"/>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39" name="Freeform 1738"/>
              <p:cNvSpPr>
                <a:spLocks/>
              </p:cNvSpPr>
              <p:nvPr/>
            </p:nvSpPr>
            <p:spPr bwMode="auto">
              <a:xfrm>
                <a:off x="6521002" y="3667094"/>
                <a:ext cx="15800" cy="24339"/>
              </a:xfrm>
              <a:custGeom>
                <a:avLst/>
                <a:gdLst/>
                <a:ahLst/>
                <a:cxnLst>
                  <a:cxn ang="0">
                    <a:pos x="17" y="16"/>
                  </a:cxn>
                  <a:cxn ang="0">
                    <a:pos x="17" y="1"/>
                  </a:cxn>
                  <a:cxn ang="0">
                    <a:pos x="14" y="3"/>
                  </a:cxn>
                  <a:cxn ang="0">
                    <a:pos x="8" y="0"/>
                  </a:cxn>
                  <a:cxn ang="0">
                    <a:pos x="5" y="1"/>
                  </a:cxn>
                  <a:cxn ang="0">
                    <a:pos x="0" y="13"/>
                  </a:cxn>
                  <a:cxn ang="0">
                    <a:pos x="3" y="22"/>
                  </a:cxn>
                  <a:cxn ang="0">
                    <a:pos x="13" y="23"/>
                  </a:cxn>
                  <a:cxn ang="0">
                    <a:pos x="14" y="20"/>
                  </a:cxn>
                  <a:cxn ang="0">
                    <a:pos x="16" y="16"/>
                  </a:cxn>
                  <a:cxn ang="0">
                    <a:pos x="17" y="16"/>
                  </a:cxn>
                </a:cxnLst>
                <a:rect l="0" t="0" r="r" b="b"/>
                <a:pathLst>
                  <a:path w="17" h="23">
                    <a:moveTo>
                      <a:pt x="17" y="16"/>
                    </a:moveTo>
                    <a:lnTo>
                      <a:pt x="17" y="1"/>
                    </a:lnTo>
                    <a:lnTo>
                      <a:pt x="14" y="3"/>
                    </a:lnTo>
                    <a:lnTo>
                      <a:pt x="8" y="0"/>
                    </a:lnTo>
                    <a:lnTo>
                      <a:pt x="5" y="1"/>
                    </a:lnTo>
                    <a:lnTo>
                      <a:pt x="0" y="13"/>
                    </a:lnTo>
                    <a:lnTo>
                      <a:pt x="3" y="22"/>
                    </a:lnTo>
                    <a:lnTo>
                      <a:pt x="13" y="23"/>
                    </a:lnTo>
                    <a:lnTo>
                      <a:pt x="14" y="20"/>
                    </a:lnTo>
                    <a:lnTo>
                      <a:pt x="16" y="16"/>
                    </a:lnTo>
                    <a:lnTo>
                      <a:pt x="17" y="1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40" name="Freeform 1739"/>
              <p:cNvSpPr>
                <a:spLocks/>
              </p:cNvSpPr>
              <p:nvPr/>
            </p:nvSpPr>
            <p:spPr bwMode="auto">
              <a:xfrm>
                <a:off x="6521002" y="3667094"/>
                <a:ext cx="15800" cy="24339"/>
              </a:xfrm>
              <a:custGeom>
                <a:avLst/>
                <a:gdLst/>
                <a:ahLst/>
                <a:cxnLst>
                  <a:cxn ang="0">
                    <a:pos x="17" y="16"/>
                  </a:cxn>
                  <a:cxn ang="0">
                    <a:pos x="17" y="1"/>
                  </a:cxn>
                  <a:cxn ang="0">
                    <a:pos x="14" y="3"/>
                  </a:cxn>
                  <a:cxn ang="0">
                    <a:pos x="8" y="0"/>
                  </a:cxn>
                  <a:cxn ang="0">
                    <a:pos x="5" y="1"/>
                  </a:cxn>
                  <a:cxn ang="0">
                    <a:pos x="0" y="13"/>
                  </a:cxn>
                  <a:cxn ang="0">
                    <a:pos x="3" y="22"/>
                  </a:cxn>
                  <a:cxn ang="0">
                    <a:pos x="13" y="23"/>
                  </a:cxn>
                  <a:cxn ang="0">
                    <a:pos x="14" y="20"/>
                  </a:cxn>
                  <a:cxn ang="0">
                    <a:pos x="16" y="16"/>
                  </a:cxn>
                  <a:cxn ang="0">
                    <a:pos x="17" y="16"/>
                  </a:cxn>
                </a:cxnLst>
                <a:rect l="0" t="0" r="r" b="b"/>
                <a:pathLst>
                  <a:path w="17" h="23">
                    <a:moveTo>
                      <a:pt x="17" y="16"/>
                    </a:moveTo>
                    <a:lnTo>
                      <a:pt x="17" y="1"/>
                    </a:lnTo>
                    <a:lnTo>
                      <a:pt x="14" y="3"/>
                    </a:lnTo>
                    <a:lnTo>
                      <a:pt x="8" y="0"/>
                    </a:lnTo>
                    <a:lnTo>
                      <a:pt x="5" y="1"/>
                    </a:lnTo>
                    <a:lnTo>
                      <a:pt x="0" y="13"/>
                    </a:lnTo>
                    <a:lnTo>
                      <a:pt x="3" y="22"/>
                    </a:lnTo>
                    <a:lnTo>
                      <a:pt x="13" y="23"/>
                    </a:lnTo>
                    <a:lnTo>
                      <a:pt x="14" y="20"/>
                    </a:lnTo>
                    <a:lnTo>
                      <a:pt x="16" y="16"/>
                    </a:lnTo>
                    <a:lnTo>
                      <a:pt x="17" y="1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41" name="Freeform 1740"/>
              <p:cNvSpPr>
                <a:spLocks/>
              </p:cNvSpPr>
              <p:nvPr/>
            </p:nvSpPr>
            <p:spPr bwMode="auto">
              <a:xfrm>
                <a:off x="8447774" y="1737201"/>
                <a:ext cx="19312" cy="32452"/>
              </a:xfrm>
              <a:custGeom>
                <a:avLst/>
                <a:gdLst/>
                <a:ahLst/>
                <a:cxnLst>
                  <a:cxn ang="0">
                    <a:pos x="21" y="24"/>
                  </a:cxn>
                  <a:cxn ang="0">
                    <a:pos x="20" y="24"/>
                  </a:cxn>
                  <a:cxn ang="0">
                    <a:pos x="17" y="26"/>
                  </a:cxn>
                  <a:cxn ang="0">
                    <a:pos x="16" y="27"/>
                  </a:cxn>
                  <a:cxn ang="0">
                    <a:pos x="16" y="29"/>
                  </a:cxn>
                  <a:cxn ang="0">
                    <a:pos x="10" y="30"/>
                  </a:cxn>
                  <a:cxn ang="0">
                    <a:pos x="8" y="29"/>
                  </a:cxn>
                  <a:cxn ang="0">
                    <a:pos x="4" y="32"/>
                  </a:cxn>
                  <a:cxn ang="0">
                    <a:pos x="4" y="29"/>
                  </a:cxn>
                  <a:cxn ang="0">
                    <a:pos x="0" y="21"/>
                  </a:cxn>
                  <a:cxn ang="0">
                    <a:pos x="1" y="19"/>
                  </a:cxn>
                  <a:cxn ang="0">
                    <a:pos x="2" y="17"/>
                  </a:cxn>
                  <a:cxn ang="0">
                    <a:pos x="4" y="14"/>
                  </a:cxn>
                  <a:cxn ang="0">
                    <a:pos x="8" y="10"/>
                  </a:cxn>
                  <a:cxn ang="0">
                    <a:pos x="10" y="7"/>
                  </a:cxn>
                  <a:cxn ang="0">
                    <a:pos x="14" y="4"/>
                  </a:cxn>
                  <a:cxn ang="0">
                    <a:pos x="16" y="4"/>
                  </a:cxn>
                  <a:cxn ang="0">
                    <a:pos x="17" y="1"/>
                  </a:cxn>
                  <a:cxn ang="0">
                    <a:pos x="21" y="0"/>
                  </a:cxn>
                  <a:cxn ang="0">
                    <a:pos x="21" y="24"/>
                  </a:cxn>
                </a:cxnLst>
                <a:rect l="0" t="0" r="r" b="b"/>
                <a:pathLst>
                  <a:path w="21" h="32">
                    <a:moveTo>
                      <a:pt x="21" y="24"/>
                    </a:moveTo>
                    <a:lnTo>
                      <a:pt x="20" y="24"/>
                    </a:lnTo>
                    <a:lnTo>
                      <a:pt x="17" y="26"/>
                    </a:lnTo>
                    <a:lnTo>
                      <a:pt x="16" y="27"/>
                    </a:lnTo>
                    <a:lnTo>
                      <a:pt x="16" y="29"/>
                    </a:lnTo>
                    <a:lnTo>
                      <a:pt x="10" y="30"/>
                    </a:lnTo>
                    <a:lnTo>
                      <a:pt x="8" y="29"/>
                    </a:lnTo>
                    <a:lnTo>
                      <a:pt x="4" y="32"/>
                    </a:lnTo>
                    <a:lnTo>
                      <a:pt x="4" y="29"/>
                    </a:lnTo>
                    <a:lnTo>
                      <a:pt x="0" y="21"/>
                    </a:lnTo>
                    <a:lnTo>
                      <a:pt x="1" y="19"/>
                    </a:lnTo>
                    <a:lnTo>
                      <a:pt x="2" y="17"/>
                    </a:lnTo>
                    <a:lnTo>
                      <a:pt x="4" y="14"/>
                    </a:lnTo>
                    <a:lnTo>
                      <a:pt x="8" y="10"/>
                    </a:lnTo>
                    <a:lnTo>
                      <a:pt x="10" y="7"/>
                    </a:lnTo>
                    <a:lnTo>
                      <a:pt x="14" y="4"/>
                    </a:lnTo>
                    <a:lnTo>
                      <a:pt x="16" y="4"/>
                    </a:lnTo>
                    <a:lnTo>
                      <a:pt x="17" y="1"/>
                    </a:lnTo>
                    <a:lnTo>
                      <a:pt x="21" y="0"/>
                    </a:lnTo>
                    <a:lnTo>
                      <a:pt x="21" y="24"/>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42" name="Freeform 1741"/>
              <p:cNvSpPr>
                <a:spLocks/>
              </p:cNvSpPr>
              <p:nvPr/>
            </p:nvSpPr>
            <p:spPr bwMode="auto">
              <a:xfrm>
                <a:off x="8447774" y="1737201"/>
                <a:ext cx="19312" cy="32452"/>
              </a:xfrm>
              <a:custGeom>
                <a:avLst/>
                <a:gdLst/>
                <a:ahLst/>
                <a:cxnLst>
                  <a:cxn ang="0">
                    <a:pos x="21" y="24"/>
                  </a:cxn>
                  <a:cxn ang="0">
                    <a:pos x="20" y="24"/>
                  </a:cxn>
                  <a:cxn ang="0">
                    <a:pos x="17" y="26"/>
                  </a:cxn>
                  <a:cxn ang="0">
                    <a:pos x="16" y="27"/>
                  </a:cxn>
                  <a:cxn ang="0">
                    <a:pos x="16" y="29"/>
                  </a:cxn>
                  <a:cxn ang="0">
                    <a:pos x="10" y="30"/>
                  </a:cxn>
                  <a:cxn ang="0">
                    <a:pos x="8" y="29"/>
                  </a:cxn>
                  <a:cxn ang="0">
                    <a:pos x="4" y="32"/>
                  </a:cxn>
                  <a:cxn ang="0">
                    <a:pos x="4" y="29"/>
                  </a:cxn>
                  <a:cxn ang="0">
                    <a:pos x="0" y="21"/>
                  </a:cxn>
                  <a:cxn ang="0">
                    <a:pos x="1" y="19"/>
                  </a:cxn>
                  <a:cxn ang="0">
                    <a:pos x="2" y="17"/>
                  </a:cxn>
                  <a:cxn ang="0">
                    <a:pos x="4" y="14"/>
                  </a:cxn>
                  <a:cxn ang="0">
                    <a:pos x="8" y="10"/>
                  </a:cxn>
                  <a:cxn ang="0">
                    <a:pos x="10" y="7"/>
                  </a:cxn>
                  <a:cxn ang="0">
                    <a:pos x="14" y="4"/>
                  </a:cxn>
                  <a:cxn ang="0">
                    <a:pos x="16" y="4"/>
                  </a:cxn>
                  <a:cxn ang="0">
                    <a:pos x="17" y="1"/>
                  </a:cxn>
                  <a:cxn ang="0">
                    <a:pos x="21" y="0"/>
                  </a:cxn>
                  <a:cxn ang="0">
                    <a:pos x="21" y="24"/>
                  </a:cxn>
                </a:cxnLst>
                <a:rect l="0" t="0" r="r" b="b"/>
                <a:pathLst>
                  <a:path w="21" h="32">
                    <a:moveTo>
                      <a:pt x="21" y="24"/>
                    </a:moveTo>
                    <a:lnTo>
                      <a:pt x="20" y="24"/>
                    </a:lnTo>
                    <a:lnTo>
                      <a:pt x="17" y="26"/>
                    </a:lnTo>
                    <a:lnTo>
                      <a:pt x="16" y="27"/>
                    </a:lnTo>
                    <a:lnTo>
                      <a:pt x="16" y="29"/>
                    </a:lnTo>
                    <a:lnTo>
                      <a:pt x="10" y="30"/>
                    </a:lnTo>
                    <a:lnTo>
                      <a:pt x="8" y="29"/>
                    </a:lnTo>
                    <a:lnTo>
                      <a:pt x="4" y="32"/>
                    </a:lnTo>
                    <a:lnTo>
                      <a:pt x="4" y="29"/>
                    </a:lnTo>
                    <a:lnTo>
                      <a:pt x="0" y="21"/>
                    </a:lnTo>
                    <a:lnTo>
                      <a:pt x="1" y="19"/>
                    </a:lnTo>
                    <a:lnTo>
                      <a:pt x="2" y="17"/>
                    </a:lnTo>
                    <a:lnTo>
                      <a:pt x="4" y="14"/>
                    </a:lnTo>
                    <a:lnTo>
                      <a:pt x="8" y="10"/>
                    </a:lnTo>
                    <a:lnTo>
                      <a:pt x="10" y="7"/>
                    </a:lnTo>
                    <a:lnTo>
                      <a:pt x="14" y="4"/>
                    </a:lnTo>
                    <a:lnTo>
                      <a:pt x="16" y="4"/>
                    </a:lnTo>
                    <a:lnTo>
                      <a:pt x="17" y="1"/>
                    </a:lnTo>
                    <a:lnTo>
                      <a:pt x="21" y="0"/>
                    </a:lnTo>
                    <a:lnTo>
                      <a:pt x="21" y="24"/>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43" name="Freeform 1742"/>
              <p:cNvSpPr>
                <a:spLocks/>
              </p:cNvSpPr>
              <p:nvPr/>
            </p:nvSpPr>
            <p:spPr bwMode="auto">
              <a:xfrm>
                <a:off x="5884597" y="1274756"/>
                <a:ext cx="4389" cy="16227"/>
              </a:xfrm>
              <a:custGeom>
                <a:avLst/>
                <a:gdLst/>
                <a:ahLst/>
                <a:cxnLst>
                  <a:cxn ang="0">
                    <a:pos x="3" y="2"/>
                  </a:cxn>
                  <a:cxn ang="0">
                    <a:pos x="4" y="0"/>
                  </a:cxn>
                  <a:cxn ang="0">
                    <a:pos x="5" y="6"/>
                  </a:cxn>
                  <a:cxn ang="0">
                    <a:pos x="5" y="9"/>
                  </a:cxn>
                  <a:cxn ang="0">
                    <a:pos x="4" y="9"/>
                  </a:cxn>
                  <a:cxn ang="0">
                    <a:pos x="5" y="12"/>
                  </a:cxn>
                  <a:cxn ang="0">
                    <a:pos x="4" y="15"/>
                  </a:cxn>
                  <a:cxn ang="0">
                    <a:pos x="3" y="14"/>
                  </a:cxn>
                  <a:cxn ang="0">
                    <a:pos x="1" y="16"/>
                  </a:cxn>
                  <a:cxn ang="0">
                    <a:pos x="0" y="16"/>
                  </a:cxn>
                  <a:cxn ang="0">
                    <a:pos x="0" y="8"/>
                  </a:cxn>
                  <a:cxn ang="0">
                    <a:pos x="3" y="2"/>
                  </a:cxn>
                </a:cxnLst>
                <a:rect l="0" t="0" r="r" b="b"/>
                <a:pathLst>
                  <a:path w="5" h="16">
                    <a:moveTo>
                      <a:pt x="3" y="2"/>
                    </a:moveTo>
                    <a:lnTo>
                      <a:pt x="4" y="0"/>
                    </a:lnTo>
                    <a:lnTo>
                      <a:pt x="5" y="6"/>
                    </a:lnTo>
                    <a:lnTo>
                      <a:pt x="5" y="9"/>
                    </a:lnTo>
                    <a:lnTo>
                      <a:pt x="4" y="9"/>
                    </a:lnTo>
                    <a:lnTo>
                      <a:pt x="5" y="12"/>
                    </a:lnTo>
                    <a:lnTo>
                      <a:pt x="4" y="15"/>
                    </a:lnTo>
                    <a:lnTo>
                      <a:pt x="3" y="14"/>
                    </a:lnTo>
                    <a:lnTo>
                      <a:pt x="1" y="16"/>
                    </a:lnTo>
                    <a:lnTo>
                      <a:pt x="0" y="16"/>
                    </a:lnTo>
                    <a:lnTo>
                      <a:pt x="0" y="8"/>
                    </a:lnTo>
                    <a:lnTo>
                      <a:pt x="3" y="2"/>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44" name="Freeform 1743"/>
              <p:cNvSpPr>
                <a:spLocks/>
              </p:cNvSpPr>
              <p:nvPr/>
            </p:nvSpPr>
            <p:spPr bwMode="auto">
              <a:xfrm>
                <a:off x="5884597" y="1274756"/>
                <a:ext cx="4389" cy="16227"/>
              </a:xfrm>
              <a:custGeom>
                <a:avLst/>
                <a:gdLst/>
                <a:ahLst/>
                <a:cxnLst>
                  <a:cxn ang="0">
                    <a:pos x="3" y="2"/>
                  </a:cxn>
                  <a:cxn ang="0">
                    <a:pos x="4" y="0"/>
                  </a:cxn>
                  <a:cxn ang="0">
                    <a:pos x="5" y="6"/>
                  </a:cxn>
                  <a:cxn ang="0">
                    <a:pos x="5" y="9"/>
                  </a:cxn>
                  <a:cxn ang="0">
                    <a:pos x="4" y="9"/>
                  </a:cxn>
                  <a:cxn ang="0">
                    <a:pos x="5" y="12"/>
                  </a:cxn>
                  <a:cxn ang="0">
                    <a:pos x="4" y="15"/>
                  </a:cxn>
                  <a:cxn ang="0">
                    <a:pos x="3" y="14"/>
                  </a:cxn>
                  <a:cxn ang="0">
                    <a:pos x="1" y="16"/>
                  </a:cxn>
                  <a:cxn ang="0">
                    <a:pos x="0" y="16"/>
                  </a:cxn>
                  <a:cxn ang="0">
                    <a:pos x="0" y="8"/>
                  </a:cxn>
                  <a:cxn ang="0">
                    <a:pos x="3" y="2"/>
                  </a:cxn>
                </a:cxnLst>
                <a:rect l="0" t="0" r="r" b="b"/>
                <a:pathLst>
                  <a:path w="5" h="16">
                    <a:moveTo>
                      <a:pt x="3" y="2"/>
                    </a:moveTo>
                    <a:lnTo>
                      <a:pt x="4" y="0"/>
                    </a:lnTo>
                    <a:lnTo>
                      <a:pt x="5" y="6"/>
                    </a:lnTo>
                    <a:lnTo>
                      <a:pt x="5" y="9"/>
                    </a:lnTo>
                    <a:lnTo>
                      <a:pt x="4" y="9"/>
                    </a:lnTo>
                    <a:lnTo>
                      <a:pt x="5" y="12"/>
                    </a:lnTo>
                    <a:lnTo>
                      <a:pt x="4" y="15"/>
                    </a:lnTo>
                    <a:lnTo>
                      <a:pt x="3" y="14"/>
                    </a:lnTo>
                    <a:lnTo>
                      <a:pt x="1" y="16"/>
                    </a:lnTo>
                    <a:lnTo>
                      <a:pt x="0" y="16"/>
                    </a:lnTo>
                    <a:lnTo>
                      <a:pt x="0" y="8"/>
                    </a:lnTo>
                    <a:lnTo>
                      <a:pt x="3" y="2"/>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45" name="Freeform 1744"/>
              <p:cNvSpPr>
                <a:spLocks/>
              </p:cNvSpPr>
              <p:nvPr/>
            </p:nvSpPr>
            <p:spPr bwMode="auto">
              <a:xfrm>
                <a:off x="5882841" y="1373127"/>
                <a:ext cx="6144" cy="18254"/>
              </a:xfrm>
              <a:custGeom>
                <a:avLst/>
                <a:gdLst/>
                <a:ahLst/>
                <a:cxnLst>
                  <a:cxn ang="0">
                    <a:pos x="5" y="0"/>
                  </a:cxn>
                  <a:cxn ang="0">
                    <a:pos x="6" y="0"/>
                  </a:cxn>
                  <a:cxn ang="0">
                    <a:pos x="7" y="4"/>
                  </a:cxn>
                  <a:cxn ang="0">
                    <a:pos x="7" y="13"/>
                  </a:cxn>
                  <a:cxn ang="0">
                    <a:pos x="5" y="16"/>
                  </a:cxn>
                  <a:cxn ang="0">
                    <a:pos x="0" y="17"/>
                  </a:cxn>
                  <a:cxn ang="0">
                    <a:pos x="0" y="12"/>
                  </a:cxn>
                  <a:cxn ang="0">
                    <a:pos x="3" y="1"/>
                  </a:cxn>
                  <a:cxn ang="0">
                    <a:pos x="5" y="0"/>
                  </a:cxn>
                </a:cxnLst>
                <a:rect l="0" t="0" r="r" b="b"/>
                <a:pathLst>
                  <a:path w="7" h="17">
                    <a:moveTo>
                      <a:pt x="5" y="0"/>
                    </a:moveTo>
                    <a:lnTo>
                      <a:pt x="6" y="0"/>
                    </a:lnTo>
                    <a:lnTo>
                      <a:pt x="7" y="4"/>
                    </a:lnTo>
                    <a:lnTo>
                      <a:pt x="7" y="13"/>
                    </a:lnTo>
                    <a:lnTo>
                      <a:pt x="5" y="16"/>
                    </a:lnTo>
                    <a:lnTo>
                      <a:pt x="0" y="17"/>
                    </a:lnTo>
                    <a:lnTo>
                      <a:pt x="0" y="12"/>
                    </a:lnTo>
                    <a:lnTo>
                      <a:pt x="3" y="1"/>
                    </a:lnTo>
                    <a:lnTo>
                      <a:pt x="5"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46" name="Freeform 1745"/>
              <p:cNvSpPr>
                <a:spLocks/>
              </p:cNvSpPr>
              <p:nvPr/>
            </p:nvSpPr>
            <p:spPr bwMode="auto">
              <a:xfrm>
                <a:off x="5882841" y="1373127"/>
                <a:ext cx="6144" cy="18254"/>
              </a:xfrm>
              <a:custGeom>
                <a:avLst/>
                <a:gdLst/>
                <a:ahLst/>
                <a:cxnLst>
                  <a:cxn ang="0">
                    <a:pos x="5" y="0"/>
                  </a:cxn>
                  <a:cxn ang="0">
                    <a:pos x="6" y="0"/>
                  </a:cxn>
                  <a:cxn ang="0">
                    <a:pos x="7" y="4"/>
                  </a:cxn>
                  <a:cxn ang="0">
                    <a:pos x="7" y="13"/>
                  </a:cxn>
                  <a:cxn ang="0">
                    <a:pos x="5" y="16"/>
                  </a:cxn>
                  <a:cxn ang="0">
                    <a:pos x="0" y="17"/>
                  </a:cxn>
                  <a:cxn ang="0">
                    <a:pos x="0" y="12"/>
                  </a:cxn>
                  <a:cxn ang="0">
                    <a:pos x="3" y="1"/>
                  </a:cxn>
                  <a:cxn ang="0">
                    <a:pos x="5" y="0"/>
                  </a:cxn>
                </a:cxnLst>
                <a:rect l="0" t="0" r="r" b="b"/>
                <a:pathLst>
                  <a:path w="7" h="17">
                    <a:moveTo>
                      <a:pt x="5" y="0"/>
                    </a:moveTo>
                    <a:lnTo>
                      <a:pt x="6" y="0"/>
                    </a:lnTo>
                    <a:lnTo>
                      <a:pt x="7" y="4"/>
                    </a:lnTo>
                    <a:lnTo>
                      <a:pt x="7" y="13"/>
                    </a:lnTo>
                    <a:lnTo>
                      <a:pt x="5" y="16"/>
                    </a:lnTo>
                    <a:lnTo>
                      <a:pt x="0" y="17"/>
                    </a:lnTo>
                    <a:lnTo>
                      <a:pt x="0" y="12"/>
                    </a:lnTo>
                    <a:lnTo>
                      <a:pt x="3" y="1"/>
                    </a:lnTo>
                    <a:lnTo>
                      <a:pt x="5"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47" name="Freeform 1746"/>
              <p:cNvSpPr>
                <a:spLocks/>
              </p:cNvSpPr>
              <p:nvPr/>
            </p:nvSpPr>
            <p:spPr bwMode="auto">
              <a:xfrm>
                <a:off x="5402684" y="1790950"/>
                <a:ext cx="40379" cy="45636"/>
              </a:xfrm>
              <a:custGeom>
                <a:avLst/>
                <a:gdLst/>
                <a:ahLst/>
                <a:cxnLst>
                  <a:cxn ang="0">
                    <a:pos x="9" y="0"/>
                  </a:cxn>
                  <a:cxn ang="0">
                    <a:pos x="13" y="3"/>
                  </a:cxn>
                  <a:cxn ang="0">
                    <a:pos x="19" y="4"/>
                  </a:cxn>
                  <a:cxn ang="0">
                    <a:pos x="25" y="7"/>
                  </a:cxn>
                  <a:cxn ang="0">
                    <a:pos x="33" y="20"/>
                  </a:cxn>
                  <a:cxn ang="0">
                    <a:pos x="39" y="23"/>
                  </a:cxn>
                  <a:cxn ang="0">
                    <a:pos x="44" y="26"/>
                  </a:cxn>
                  <a:cxn ang="0">
                    <a:pos x="42" y="33"/>
                  </a:cxn>
                  <a:cxn ang="0">
                    <a:pos x="39" y="38"/>
                  </a:cxn>
                  <a:cxn ang="0">
                    <a:pos x="19" y="44"/>
                  </a:cxn>
                  <a:cxn ang="0">
                    <a:pos x="16" y="44"/>
                  </a:cxn>
                  <a:cxn ang="0">
                    <a:pos x="12" y="39"/>
                  </a:cxn>
                  <a:cxn ang="0">
                    <a:pos x="12" y="38"/>
                  </a:cxn>
                  <a:cxn ang="0">
                    <a:pos x="15" y="36"/>
                  </a:cxn>
                  <a:cxn ang="0">
                    <a:pos x="17" y="38"/>
                  </a:cxn>
                  <a:cxn ang="0">
                    <a:pos x="20" y="36"/>
                  </a:cxn>
                  <a:cxn ang="0">
                    <a:pos x="20" y="35"/>
                  </a:cxn>
                  <a:cxn ang="0">
                    <a:pos x="19" y="36"/>
                  </a:cxn>
                  <a:cxn ang="0">
                    <a:pos x="17" y="33"/>
                  </a:cxn>
                  <a:cxn ang="0">
                    <a:pos x="15" y="33"/>
                  </a:cxn>
                  <a:cxn ang="0">
                    <a:pos x="15" y="31"/>
                  </a:cxn>
                  <a:cxn ang="0">
                    <a:pos x="12" y="33"/>
                  </a:cxn>
                  <a:cxn ang="0">
                    <a:pos x="6" y="33"/>
                  </a:cxn>
                  <a:cxn ang="0">
                    <a:pos x="1" y="31"/>
                  </a:cxn>
                  <a:cxn ang="0">
                    <a:pos x="1" y="28"/>
                  </a:cxn>
                  <a:cxn ang="0">
                    <a:pos x="3" y="26"/>
                  </a:cxn>
                  <a:cxn ang="0">
                    <a:pos x="9" y="28"/>
                  </a:cxn>
                  <a:cxn ang="0">
                    <a:pos x="0" y="20"/>
                  </a:cxn>
                  <a:cxn ang="0">
                    <a:pos x="1" y="19"/>
                  </a:cxn>
                  <a:cxn ang="0">
                    <a:pos x="10" y="19"/>
                  </a:cxn>
                  <a:cxn ang="0">
                    <a:pos x="6" y="16"/>
                  </a:cxn>
                  <a:cxn ang="0">
                    <a:pos x="3" y="9"/>
                  </a:cxn>
                  <a:cxn ang="0">
                    <a:pos x="3" y="4"/>
                  </a:cxn>
                  <a:cxn ang="0">
                    <a:pos x="9" y="0"/>
                  </a:cxn>
                </a:cxnLst>
                <a:rect l="0" t="0" r="r" b="b"/>
                <a:pathLst>
                  <a:path w="44" h="44">
                    <a:moveTo>
                      <a:pt x="9" y="0"/>
                    </a:moveTo>
                    <a:lnTo>
                      <a:pt x="13" y="3"/>
                    </a:lnTo>
                    <a:lnTo>
                      <a:pt x="19" y="4"/>
                    </a:lnTo>
                    <a:lnTo>
                      <a:pt x="25" y="7"/>
                    </a:lnTo>
                    <a:lnTo>
                      <a:pt x="33" y="20"/>
                    </a:lnTo>
                    <a:lnTo>
                      <a:pt x="39" y="23"/>
                    </a:lnTo>
                    <a:lnTo>
                      <a:pt x="44" y="26"/>
                    </a:lnTo>
                    <a:lnTo>
                      <a:pt x="42" y="33"/>
                    </a:lnTo>
                    <a:lnTo>
                      <a:pt x="39" y="38"/>
                    </a:lnTo>
                    <a:lnTo>
                      <a:pt x="19" y="44"/>
                    </a:lnTo>
                    <a:lnTo>
                      <a:pt x="16" y="44"/>
                    </a:lnTo>
                    <a:lnTo>
                      <a:pt x="12" y="39"/>
                    </a:lnTo>
                    <a:lnTo>
                      <a:pt x="12" y="38"/>
                    </a:lnTo>
                    <a:lnTo>
                      <a:pt x="15" y="36"/>
                    </a:lnTo>
                    <a:lnTo>
                      <a:pt x="17" y="38"/>
                    </a:lnTo>
                    <a:lnTo>
                      <a:pt x="20" y="36"/>
                    </a:lnTo>
                    <a:lnTo>
                      <a:pt x="20" y="35"/>
                    </a:lnTo>
                    <a:lnTo>
                      <a:pt x="19" y="36"/>
                    </a:lnTo>
                    <a:lnTo>
                      <a:pt x="17" y="33"/>
                    </a:lnTo>
                    <a:lnTo>
                      <a:pt x="15" y="33"/>
                    </a:lnTo>
                    <a:lnTo>
                      <a:pt x="15" y="31"/>
                    </a:lnTo>
                    <a:lnTo>
                      <a:pt x="12" y="33"/>
                    </a:lnTo>
                    <a:lnTo>
                      <a:pt x="6" y="33"/>
                    </a:lnTo>
                    <a:lnTo>
                      <a:pt x="1" y="31"/>
                    </a:lnTo>
                    <a:lnTo>
                      <a:pt x="1" y="28"/>
                    </a:lnTo>
                    <a:lnTo>
                      <a:pt x="3" y="26"/>
                    </a:lnTo>
                    <a:lnTo>
                      <a:pt x="9" y="28"/>
                    </a:lnTo>
                    <a:lnTo>
                      <a:pt x="0" y="20"/>
                    </a:lnTo>
                    <a:lnTo>
                      <a:pt x="1" y="19"/>
                    </a:lnTo>
                    <a:lnTo>
                      <a:pt x="10" y="19"/>
                    </a:lnTo>
                    <a:lnTo>
                      <a:pt x="6" y="16"/>
                    </a:lnTo>
                    <a:lnTo>
                      <a:pt x="3" y="9"/>
                    </a:lnTo>
                    <a:lnTo>
                      <a:pt x="3" y="4"/>
                    </a:lnTo>
                    <a:lnTo>
                      <a:pt x="9"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48" name="Freeform 1747"/>
              <p:cNvSpPr>
                <a:spLocks/>
              </p:cNvSpPr>
              <p:nvPr/>
            </p:nvSpPr>
            <p:spPr bwMode="auto">
              <a:xfrm>
                <a:off x="5402684" y="1790950"/>
                <a:ext cx="40379" cy="45636"/>
              </a:xfrm>
              <a:custGeom>
                <a:avLst/>
                <a:gdLst/>
                <a:ahLst/>
                <a:cxnLst>
                  <a:cxn ang="0">
                    <a:pos x="9" y="0"/>
                  </a:cxn>
                  <a:cxn ang="0">
                    <a:pos x="13" y="3"/>
                  </a:cxn>
                  <a:cxn ang="0">
                    <a:pos x="19" y="4"/>
                  </a:cxn>
                  <a:cxn ang="0">
                    <a:pos x="25" y="7"/>
                  </a:cxn>
                  <a:cxn ang="0">
                    <a:pos x="33" y="20"/>
                  </a:cxn>
                  <a:cxn ang="0">
                    <a:pos x="39" y="23"/>
                  </a:cxn>
                  <a:cxn ang="0">
                    <a:pos x="44" y="26"/>
                  </a:cxn>
                  <a:cxn ang="0">
                    <a:pos x="42" y="33"/>
                  </a:cxn>
                  <a:cxn ang="0">
                    <a:pos x="39" y="38"/>
                  </a:cxn>
                  <a:cxn ang="0">
                    <a:pos x="19" y="44"/>
                  </a:cxn>
                  <a:cxn ang="0">
                    <a:pos x="16" y="44"/>
                  </a:cxn>
                  <a:cxn ang="0">
                    <a:pos x="12" y="39"/>
                  </a:cxn>
                  <a:cxn ang="0">
                    <a:pos x="12" y="38"/>
                  </a:cxn>
                  <a:cxn ang="0">
                    <a:pos x="15" y="36"/>
                  </a:cxn>
                  <a:cxn ang="0">
                    <a:pos x="17" y="38"/>
                  </a:cxn>
                  <a:cxn ang="0">
                    <a:pos x="20" y="36"/>
                  </a:cxn>
                  <a:cxn ang="0">
                    <a:pos x="20" y="35"/>
                  </a:cxn>
                  <a:cxn ang="0">
                    <a:pos x="19" y="36"/>
                  </a:cxn>
                  <a:cxn ang="0">
                    <a:pos x="17" y="33"/>
                  </a:cxn>
                  <a:cxn ang="0">
                    <a:pos x="15" y="33"/>
                  </a:cxn>
                  <a:cxn ang="0">
                    <a:pos x="15" y="31"/>
                  </a:cxn>
                  <a:cxn ang="0">
                    <a:pos x="12" y="33"/>
                  </a:cxn>
                  <a:cxn ang="0">
                    <a:pos x="6" y="33"/>
                  </a:cxn>
                  <a:cxn ang="0">
                    <a:pos x="1" y="31"/>
                  </a:cxn>
                  <a:cxn ang="0">
                    <a:pos x="1" y="28"/>
                  </a:cxn>
                  <a:cxn ang="0">
                    <a:pos x="3" y="26"/>
                  </a:cxn>
                  <a:cxn ang="0">
                    <a:pos x="9" y="28"/>
                  </a:cxn>
                  <a:cxn ang="0">
                    <a:pos x="0" y="20"/>
                  </a:cxn>
                  <a:cxn ang="0">
                    <a:pos x="1" y="19"/>
                  </a:cxn>
                  <a:cxn ang="0">
                    <a:pos x="10" y="19"/>
                  </a:cxn>
                  <a:cxn ang="0">
                    <a:pos x="6" y="16"/>
                  </a:cxn>
                  <a:cxn ang="0">
                    <a:pos x="3" y="9"/>
                  </a:cxn>
                  <a:cxn ang="0">
                    <a:pos x="3" y="4"/>
                  </a:cxn>
                  <a:cxn ang="0">
                    <a:pos x="9" y="0"/>
                  </a:cxn>
                </a:cxnLst>
                <a:rect l="0" t="0" r="r" b="b"/>
                <a:pathLst>
                  <a:path w="44" h="44">
                    <a:moveTo>
                      <a:pt x="9" y="0"/>
                    </a:moveTo>
                    <a:lnTo>
                      <a:pt x="13" y="3"/>
                    </a:lnTo>
                    <a:lnTo>
                      <a:pt x="19" y="4"/>
                    </a:lnTo>
                    <a:lnTo>
                      <a:pt x="25" y="7"/>
                    </a:lnTo>
                    <a:lnTo>
                      <a:pt x="33" y="20"/>
                    </a:lnTo>
                    <a:lnTo>
                      <a:pt x="39" y="23"/>
                    </a:lnTo>
                    <a:lnTo>
                      <a:pt x="44" y="26"/>
                    </a:lnTo>
                    <a:lnTo>
                      <a:pt x="42" y="33"/>
                    </a:lnTo>
                    <a:lnTo>
                      <a:pt x="39" y="38"/>
                    </a:lnTo>
                    <a:lnTo>
                      <a:pt x="19" y="44"/>
                    </a:lnTo>
                    <a:lnTo>
                      <a:pt x="16" y="44"/>
                    </a:lnTo>
                    <a:lnTo>
                      <a:pt x="12" y="39"/>
                    </a:lnTo>
                    <a:lnTo>
                      <a:pt x="12" y="38"/>
                    </a:lnTo>
                    <a:lnTo>
                      <a:pt x="15" y="36"/>
                    </a:lnTo>
                    <a:lnTo>
                      <a:pt x="17" y="38"/>
                    </a:lnTo>
                    <a:lnTo>
                      <a:pt x="20" y="36"/>
                    </a:lnTo>
                    <a:lnTo>
                      <a:pt x="20" y="35"/>
                    </a:lnTo>
                    <a:lnTo>
                      <a:pt x="19" y="36"/>
                    </a:lnTo>
                    <a:lnTo>
                      <a:pt x="17" y="33"/>
                    </a:lnTo>
                    <a:lnTo>
                      <a:pt x="15" y="33"/>
                    </a:lnTo>
                    <a:lnTo>
                      <a:pt x="15" y="31"/>
                    </a:lnTo>
                    <a:lnTo>
                      <a:pt x="12" y="33"/>
                    </a:lnTo>
                    <a:lnTo>
                      <a:pt x="6" y="33"/>
                    </a:lnTo>
                    <a:lnTo>
                      <a:pt x="1" y="31"/>
                    </a:lnTo>
                    <a:lnTo>
                      <a:pt x="1" y="28"/>
                    </a:lnTo>
                    <a:lnTo>
                      <a:pt x="3" y="26"/>
                    </a:lnTo>
                    <a:lnTo>
                      <a:pt x="9" y="28"/>
                    </a:lnTo>
                    <a:lnTo>
                      <a:pt x="0" y="20"/>
                    </a:lnTo>
                    <a:lnTo>
                      <a:pt x="1" y="19"/>
                    </a:lnTo>
                    <a:lnTo>
                      <a:pt x="10" y="19"/>
                    </a:lnTo>
                    <a:lnTo>
                      <a:pt x="6" y="16"/>
                    </a:lnTo>
                    <a:lnTo>
                      <a:pt x="3" y="9"/>
                    </a:lnTo>
                    <a:lnTo>
                      <a:pt x="3" y="4"/>
                    </a:lnTo>
                    <a:lnTo>
                      <a:pt x="9"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49" name="Freeform 1748"/>
              <p:cNvSpPr>
                <a:spLocks/>
              </p:cNvSpPr>
              <p:nvPr/>
            </p:nvSpPr>
            <p:spPr bwMode="auto">
              <a:xfrm>
                <a:off x="5869674" y="1453244"/>
                <a:ext cx="5267" cy="48678"/>
              </a:xfrm>
              <a:custGeom>
                <a:avLst/>
                <a:gdLst/>
                <a:ahLst/>
                <a:cxnLst>
                  <a:cxn ang="0">
                    <a:pos x="4" y="13"/>
                  </a:cxn>
                  <a:cxn ang="0">
                    <a:pos x="5" y="46"/>
                  </a:cxn>
                  <a:cxn ang="0">
                    <a:pos x="0" y="10"/>
                  </a:cxn>
                  <a:cxn ang="0">
                    <a:pos x="4" y="9"/>
                  </a:cxn>
                  <a:cxn ang="0">
                    <a:pos x="1" y="7"/>
                  </a:cxn>
                  <a:cxn ang="0">
                    <a:pos x="1" y="0"/>
                  </a:cxn>
                  <a:cxn ang="0">
                    <a:pos x="4" y="9"/>
                  </a:cxn>
                  <a:cxn ang="0">
                    <a:pos x="4" y="13"/>
                  </a:cxn>
                </a:cxnLst>
                <a:rect l="0" t="0" r="r" b="b"/>
                <a:pathLst>
                  <a:path w="5" h="46">
                    <a:moveTo>
                      <a:pt x="4" y="13"/>
                    </a:moveTo>
                    <a:lnTo>
                      <a:pt x="5" y="46"/>
                    </a:lnTo>
                    <a:lnTo>
                      <a:pt x="0" y="10"/>
                    </a:lnTo>
                    <a:lnTo>
                      <a:pt x="4" y="9"/>
                    </a:lnTo>
                    <a:lnTo>
                      <a:pt x="1" y="7"/>
                    </a:lnTo>
                    <a:lnTo>
                      <a:pt x="1" y="0"/>
                    </a:lnTo>
                    <a:lnTo>
                      <a:pt x="4" y="9"/>
                    </a:lnTo>
                    <a:lnTo>
                      <a:pt x="4" y="13"/>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50" name="Freeform 1749"/>
              <p:cNvSpPr>
                <a:spLocks/>
              </p:cNvSpPr>
              <p:nvPr/>
            </p:nvSpPr>
            <p:spPr bwMode="auto">
              <a:xfrm>
                <a:off x="5869674" y="1453244"/>
                <a:ext cx="5267" cy="48678"/>
              </a:xfrm>
              <a:custGeom>
                <a:avLst/>
                <a:gdLst/>
                <a:ahLst/>
                <a:cxnLst>
                  <a:cxn ang="0">
                    <a:pos x="4" y="13"/>
                  </a:cxn>
                  <a:cxn ang="0">
                    <a:pos x="5" y="46"/>
                  </a:cxn>
                  <a:cxn ang="0">
                    <a:pos x="0" y="10"/>
                  </a:cxn>
                  <a:cxn ang="0">
                    <a:pos x="4" y="9"/>
                  </a:cxn>
                  <a:cxn ang="0">
                    <a:pos x="1" y="7"/>
                  </a:cxn>
                  <a:cxn ang="0">
                    <a:pos x="1" y="0"/>
                  </a:cxn>
                  <a:cxn ang="0">
                    <a:pos x="4" y="9"/>
                  </a:cxn>
                  <a:cxn ang="0">
                    <a:pos x="4" y="13"/>
                  </a:cxn>
                </a:cxnLst>
                <a:rect l="0" t="0" r="r" b="b"/>
                <a:pathLst>
                  <a:path w="5" h="46">
                    <a:moveTo>
                      <a:pt x="4" y="13"/>
                    </a:moveTo>
                    <a:lnTo>
                      <a:pt x="5" y="46"/>
                    </a:lnTo>
                    <a:lnTo>
                      <a:pt x="0" y="10"/>
                    </a:lnTo>
                    <a:lnTo>
                      <a:pt x="4" y="9"/>
                    </a:lnTo>
                    <a:lnTo>
                      <a:pt x="1" y="7"/>
                    </a:lnTo>
                    <a:lnTo>
                      <a:pt x="1" y="0"/>
                    </a:lnTo>
                    <a:lnTo>
                      <a:pt x="4" y="9"/>
                    </a:lnTo>
                    <a:lnTo>
                      <a:pt x="4" y="13"/>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51" name="Freeform 1750"/>
              <p:cNvSpPr>
                <a:spLocks/>
              </p:cNvSpPr>
              <p:nvPr/>
            </p:nvSpPr>
            <p:spPr bwMode="auto">
              <a:xfrm>
                <a:off x="5873185" y="1534375"/>
                <a:ext cx="17556" cy="28396"/>
              </a:xfrm>
              <a:custGeom>
                <a:avLst/>
                <a:gdLst/>
                <a:ahLst/>
                <a:cxnLst>
                  <a:cxn ang="0">
                    <a:pos x="13" y="5"/>
                  </a:cxn>
                  <a:cxn ang="0">
                    <a:pos x="13" y="6"/>
                  </a:cxn>
                  <a:cxn ang="0">
                    <a:pos x="10" y="9"/>
                  </a:cxn>
                  <a:cxn ang="0">
                    <a:pos x="10" y="11"/>
                  </a:cxn>
                  <a:cxn ang="0">
                    <a:pos x="10" y="13"/>
                  </a:cxn>
                  <a:cxn ang="0">
                    <a:pos x="13" y="18"/>
                  </a:cxn>
                  <a:cxn ang="0">
                    <a:pos x="16" y="18"/>
                  </a:cxn>
                  <a:cxn ang="0">
                    <a:pos x="17" y="15"/>
                  </a:cxn>
                  <a:cxn ang="0">
                    <a:pos x="20" y="15"/>
                  </a:cxn>
                  <a:cxn ang="0">
                    <a:pos x="20" y="19"/>
                  </a:cxn>
                  <a:cxn ang="0">
                    <a:pos x="18" y="22"/>
                  </a:cxn>
                  <a:cxn ang="0">
                    <a:pos x="17" y="27"/>
                  </a:cxn>
                  <a:cxn ang="0">
                    <a:pos x="13" y="22"/>
                  </a:cxn>
                  <a:cxn ang="0">
                    <a:pos x="5" y="24"/>
                  </a:cxn>
                  <a:cxn ang="0">
                    <a:pos x="2" y="22"/>
                  </a:cxn>
                  <a:cxn ang="0">
                    <a:pos x="0" y="24"/>
                  </a:cxn>
                  <a:cxn ang="0">
                    <a:pos x="0" y="9"/>
                  </a:cxn>
                  <a:cxn ang="0">
                    <a:pos x="0" y="6"/>
                  </a:cxn>
                  <a:cxn ang="0">
                    <a:pos x="0" y="5"/>
                  </a:cxn>
                  <a:cxn ang="0">
                    <a:pos x="4" y="3"/>
                  </a:cxn>
                  <a:cxn ang="0">
                    <a:pos x="5" y="5"/>
                  </a:cxn>
                  <a:cxn ang="0">
                    <a:pos x="8" y="5"/>
                  </a:cxn>
                  <a:cxn ang="0">
                    <a:pos x="10" y="0"/>
                  </a:cxn>
                  <a:cxn ang="0">
                    <a:pos x="11" y="0"/>
                  </a:cxn>
                  <a:cxn ang="0">
                    <a:pos x="13" y="5"/>
                  </a:cxn>
                </a:cxnLst>
                <a:rect l="0" t="0" r="r" b="b"/>
                <a:pathLst>
                  <a:path w="20" h="27">
                    <a:moveTo>
                      <a:pt x="13" y="5"/>
                    </a:moveTo>
                    <a:lnTo>
                      <a:pt x="13" y="6"/>
                    </a:lnTo>
                    <a:lnTo>
                      <a:pt x="10" y="9"/>
                    </a:lnTo>
                    <a:lnTo>
                      <a:pt x="10" y="11"/>
                    </a:lnTo>
                    <a:lnTo>
                      <a:pt x="10" y="13"/>
                    </a:lnTo>
                    <a:lnTo>
                      <a:pt x="13" y="18"/>
                    </a:lnTo>
                    <a:lnTo>
                      <a:pt x="16" y="18"/>
                    </a:lnTo>
                    <a:lnTo>
                      <a:pt x="17" y="15"/>
                    </a:lnTo>
                    <a:lnTo>
                      <a:pt x="20" y="15"/>
                    </a:lnTo>
                    <a:lnTo>
                      <a:pt x="20" y="19"/>
                    </a:lnTo>
                    <a:lnTo>
                      <a:pt x="18" y="22"/>
                    </a:lnTo>
                    <a:lnTo>
                      <a:pt x="17" y="27"/>
                    </a:lnTo>
                    <a:lnTo>
                      <a:pt x="13" y="22"/>
                    </a:lnTo>
                    <a:lnTo>
                      <a:pt x="5" y="24"/>
                    </a:lnTo>
                    <a:lnTo>
                      <a:pt x="2" y="22"/>
                    </a:lnTo>
                    <a:lnTo>
                      <a:pt x="0" y="24"/>
                    </a:lnTo>
                    <a:lnTo>
                      <a:pt x="0" y="9"/>
                    </a:lnTo>
                    <a:lnTo>
                      <a:pt x="0" y="6"/>
                    </a:lnTo>
                    <a:lnTo>
                      <a:pt x="0" y="5"/>
                    </a:lnTo>
                    <a:lnTo>
                      <a:pt x="4" y="3"/>
                    </a:lnTo>
                    <a:lnTo>
                      <a:pt x="5" y="5"/>
                    </a:lnTo>
                    <a:lnTo>
                      <a:pt x="8" y="5"/>
                    </a:lnTo>
                    <a:lnTo>
                      <a:pt x="10" y="0"/>
                    </a:lnTo>
                    <a:lnTo>
                      <a:pt x="11" y="0"/>
                    </a:lnTo>
                    <a:lnTo>
                      <a:pt x="13" y="5"/>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52" name="Freeform 1751"/>
              <p:cNvSpPr>
                <a:spLocks/>
              </p:cNvSpPr>
              <p:nvPr/>
            </p:nvSpPr>
            <p:spPr bwMode="auto">
              <a:xfrm>
                <a:off x="5873185" y="1534375"/>
                <a:ext cx="17556" cy="28396"/>
              </a:xfrm>
              <a:custGeom>
                <a:avLst/>
                <a:gdLst/>
                <a:ahLst/>
                <a:cxnLst>
                  <a:cxn ang="0">
                    <a:pos x="13" y="5"/>
                  </a:cxn>
                  <a:cxn ang="0">
                    <a:pos x="13" y="6"/>
                  </a:cxn>
                  <a:cxn ang="0">
                    <a:pos x="10" y="9"/>
                  </a:cxn>
                  <a:cxn ang="0">
                    <a:pos x="10" y="11"/>
                  </a:cxn>
                  <a:cxn ang="0">
                    <a:pos x="10" y="13"/>
                  </a:cxn>
                  <a:cxn ang="0">
                    <a:pos x="13" y="18"/>
                  </a:cxn>
                  <a:cxn ang="0">
                    <a:pos x="16" y="18"/>
                  </a:cxn>
                  <a:cxn ang="0">
                    <a:pos x="17" y="15"/>
                  </a:cxn>
                  <a:cxn ang="0">
                    <a:pos x="20" y="15"/>
                  </a:cxn>
                  <a:cxn ang="0">
                    <a:pos x="20" y="19"/>
                  </a:cxn>
                  <a:cxn ang="0">
                    <a:pos x="18" y="22"/>
                  </a:cxn>
                  <a:cxn ang="0">
                    <a:pos x="17" y="27"/>
                  </a:cxn>
                  <a:cxn ang="0">
                    <a:pos x="13" y="22"/>
                  </a:cxn>
                  <a:cxn ang="0">
                    <a:pos x="5" y="24"/>
                  </a:cxn>
                  <a:cxn ang="0">
                    <a:pos x="2" y="22"/>
                  </a:cxn>
                  <a:cxn ang="0">
                    <a:pos x="0" y="24"/>
                  </a:cxn>
                  <a:cxn ang="0">
                    <a:pos x="0" y="9"/>
                  </a:cxn>
                  <a:cxn ang="0">
                    <a:pos x="0" y="6"/>
                  </a:cxn>
                  <a:cxn ang="0">
                    <a:pos x="0" y="5"/>
                  </a:cxn>
                  <a:cxn ang="0">
                    <a:pos x="4" y="3"/>
                  </a:cxn>
                  <a:cxn ang="0">
                    <a:pos x="5" y="5"/>
                  </a:cxn>
                  <a:cxn ang="0">
                    <a:pos x="8" y="5"/>
                  </a:cxn>
                  <a:cxn ang="0">
                    <a:pos x="10" y="0"/>
                  </a:cxn>
                  <a:cxn ang="0">
                    <a:pos x="11" y="0"/>
                  </a:cxn>
                  <a:cxn ang="0">
                    <a:pos x="13" y="5"/>
                  </a:cxn>
                </a:cxnLst>
                <a:rect l="0" t="0" r="r" b="b"/>
                <a:pathLst>
                  <a:path w="20" h="27">
                    <a:moveTo>
                      <a:pt x="13" y="5"/>
                    </a:moveTo>
                    <a:lnTo>
                      <a:pt x="13" y="6"/>
                    </a:lnTo>
                    <a:lnTo>
                      <a:pt x="10" y="9"/>
                    </a:lnTo>
                    <a:lnTo>
                      <a:pt x="10" y="11"/>
                    </a:lnTo>
                    <a:lnTo>
                      <a:pt x="10" y="13"/>
                    </a:lnTo>
                    <a:lnTo>
                      <a:pt x="13" y="18"/>
                    </a:lnTo>
                    <a:lnTo>
                      <a:pt x="16" y="18"/>
                    </a:lnTo>
                    <a:lnTo>
                      <a:pt x="17" y="15"/>
                    </a:lnTo>
                    <a:lnTo>
                      <a:pt x="20" y="15"/>
                    </a:lnTo>
                    <a:lnTo>
                      <a:pt x="20" y="19"/>
                    </a:lnTo>
                    <a:lnTo>
                      <a:pt x="18" y="22"/>
                    </a:lnTo>
                    <a:lnTo>
                      <a:pt x="17" y="27"/>
                    </a:lnTo>
                    <a:lnTo>
                      <a:pt x="13" y="22"/>
                    </a:lnTo>
                    <a:lnTo>
                      <a:pt x="5" y="24"/>
                    </a:lnTo>
                    <a:lnTo>
                      <a:pt x="2" y="22"/>
                    </a:lnTo>
                    <a:lnTo>
                      <a:pt x="0" y="24"/>
                    </a:lnTo>
                    <a:lnTo>
                      <a:pt x="0" y="9"/>
                    </a:lnTo>
                    <a:lnTo>
                      <a:pt x="0" y="6"/>
                    </a:lnTo>
                    <a:lnTo>
                      <a:pt x="0" y="5"/>
                    </a:lnTo>
                    <a:lnTo>
                      <a:pt x="4" y="3"/>
                    </a:lnTo>
                    <a:lnTo>
                      <a:pt x="5" y="5"/>
                    </a:lnTo>
                    <a:lnTo>
                      <a:pt x="8" y="5"/>
                    </a:lnTo>
                    <a:lnTo>
                      <a:pt x="10" y="0"/>
                    </a:lnTo>
                    <a:lnTo>
                      <a:pt x="11" y="0"/>
                    </a:lnTo>
                    <a:lnTo>
                      <a:pt x="13" y="5"/>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53" name="Freeform 1752"/>
              <p:cNvSpPr>
                <a:spLocks/>
              </p:cNvSpPr>
              <p:nvPr/>
            </p:nvSpPr>
            <p:spPr bwMode="auto">
              <a:xfrm>
                <a:off x="5832806" y="1590151"/>
                <a:ext cx="22823" cy="17240"/>
              </a:xfrm>
              <a:custGeom>
                <a:avLst/>
                <a:gdLst/>
                <a:ahLst/>
                <a:cxnLst>
                  <a:cxn ang="0">
                    <a:pos x="3" y="3"/>
                  </a:cxn>
                  <a:cxn ang="0">
                    <a:pos x="0" y="7"/>
                  </a:cxn>
                  <a:cxn ang="0">
                    <a:pos x="0" y="11"/>
                  </a:cxn>
                  <a:cxn ang="0">
                    <a:pos x="1" y="14"/>
                  </a:cxn>
                  <a:cxn ang="0">
                    <a:pos x="7" y="16"/>
                  </a:cxn>
                  <a:cxn ang="0">
                    <a:pos x="10" y="17"/>
                  </a:cxn>
                  <a:cxn ang="0">
                    <a:pos x="23" y="16"/>
                  </a:cxn>
                  <a:cxn ang="0">
                    <a:pos x="25" y="11"/>
                  </a:cxn>
                  <a:cxn ang="0">
                    <a:pos x="22" y="10"/>
                  </a:cxn>
                  <a:cxn ang="0">
                    <a:pos x="22" y="4"/>
                  </a:cxn>
                  <a:cxn ang="0">
                    <a:pos x="20" y="1"/>
                  </a:cxn>
                  <a:cxn ang="0">
                    <a:pos x="10" y="0"/>
                  </a:cxn>
                  <a:cxn ang="0">
                    <a:pos x="6" y="1"/>
                  </a:cxn>
                  <a:cxn ang="0">
                    <a:pos x="3" y="3"/>
                  </a:cxn>
                </a:cxnLst>
                <a:rect l="0" t="0" r="r" b="b"/>
                <a:pathLst>
                  <a:path w="25" h="17">
                    <a:moveTo>
                      <a:pt x="3" y="3"/>
                    </a:moveTo>
                    <a:lnTo>
                      <a:pt x="0" y="7"/>
                    </a:lnTo>
                    <a:lnTo>
                      <a:pt x="0" y="11"/>
                    </a:lnTo>
                    <a:lnTo>
                      <a:pt x="1" y="14"/>
                    </a:lnTo>
                    <a:lnTo>
                      <a:pt x="7" y="16"/>
                    </a:lnTo>
                    <a:lnTo>
                      <a:pt x="10" y="17"/>
                    </a:lnTo>
                    <a:lnTo>
                      <a:pt x="23" y="16"/>
                    </a:lnTo>
                    <a:lnTo>
                      <a:pt x="25" y="11"/>
                    </a:lnTo>
                    <a:lnTo>
                      <a:pt x="22" y="10"/>
                    </a:lnTo>
                    <a:lnTo>
                      <a:pt x="22" y="4"/>
                    </a:lnTo>
                    <a:lnTo>
                      <a:pt x="20" y="1"/>
                    </a:lnTo>
                    <a:lnTo>
                      <a:pt x="10" y="0"/>
                    </a:lnTo>
                    <a:lnTo>
                      <a:pt x="6" y="1"/>
                    </a:lnTo>
                    <a:lnTo>
                      <a:pt x="3" y="3"/>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54" name="Freeform 1753"/>
              <p:cNvSpPr>
                <a:spLocks/>
              </p:cNvSpPr>
              <p:nvPr/>
            </p:nvSpPr>
            <p:spPr bwMode="auto">
              <a:xfrm>
                <a:off x="5832806" y="1590151"/>
                <a:ext cx="22823" cy="17240"/>
              </a:xfrm>
              <a:custGeom>
                <a:avLst/>
                <a:gdLst/>
                <a:ahLst/>
                <a:cxnLst>
                  <a:cxn ang="0">
                    <a:pos x="3" y="3"/>
                  </a:cxn>
                  <a:cxn ang="0">
                    <a:pos x="0" y="7"/>
                  </a:cxn>
                  <a:cxn ang="0">
                    <a:pos x="0" y="11"/>
                  </a:cxn>
                  <a:cxn ang="0">
                    <a:pos x="1" y="14"/>
                  </a:cxn>
                  <a:cxn ang="0">
                    <a:pos x="7" y="16"/>
                  </a:cxn>
                  <a:cxn ang="0">
                    <a:pos x="10" y="17"/>
                  </a:cxn>
                  <a:cxn ang="0">
                    <a:pos x="23" y="16"/>
                  </a:cxn>
                  <a:cxn ang="0">
                    <a:pos x="25" y="11"/>
                  </a:cxn>
                  <a:cxn ang="0">
                    <a:pos x="22" y="10"/>
                  </a:cxn>
                  <a:cxn ang="0">
                    <a:pos x="22" y="4"/>
                  </a:cxn>
                  <a:cxn ang="0">
                    <a:pos x="20" y="1"/>
                  </a:cxn>
                  <a:cxn ang="0">
                    <a:pos x="10" y="0"/>
                  </a:cxn>
                  <a:cxn ang="0">
                    <a:pos x="6" y="1"/>
                  </a:cxn>
                  <a:cxn ang="0">
                    <a:pos x="3" y="3"/>
                  </a:cxn>
                </a:cxnLst>
                <a:rect l="0" t="0" r="r" b="b"/>
                <a:pathLst>
                  <a:path w="25" h="17">
                    <a:moveTo>
                      <a:pt x="3" y="3"/>
                    </a:moveTo>
                    <a:lnTo>
                      <a:pt x="0" y="7"/>
                    </a:lnTo>
                    <a:lnTo>
                      <a:pt x="0" y="11"/>
                    </a:lnTo>
                    <a:lnTo>
                      <a:pt x="1" y="14"/>
                    </a:lnTo>
                    <a:lnTo>
                      <a:pt x="7" y="16"/>
                    </a:lnTo>
                    <a:lnTo>
                      <a:pt x="10" y="17"/>
                    </a:lnTo>
                    <a:lnTo>
                      <a:pt x="23" y="16"/>
                    </a:lnTo>
                    <a:lnTo>
                      <a:pt x="25" y="11"/>
                    </a:lnTo>
                    <a:lnTo>
                      <a:pt x="22" y="10"/>
                    </a:lnTo>
                    <a:lnTo>
                      <a:pt x="22" y="4"/>
                    </a:lnTo>
                    <a:lnTo>
                      <a:pt x="20" y="1"/>
                    </a:lnTo>
                    <a:lnTo>
                      <a:pt x="10" y="0"/>
                    </a:lnTo>
                    <a:lnTo>
                      <a:pt x="6" y="1"/>
                    </a:lnTo>
                    <a:lnTo>
                      <a:pt x="3" y="3"/>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55" name="Freeform 1754"/>
              <p:cNvSpPr>
                <a:spLocks/>
              </p:cNvSpPr>
              <p:nvPr/>
            </p:nvSpPr>
            <p:spPr bwMode="auto">
              <a:xfrm>
                <a:off x="5784527" y="1643900"/>
                <a:ext cx="34234" cy="21296"/>
              </a:xfrm>
              <a:custGeom>
                <a:avLst/>
                <a:gdLst/>
                <a:ahLst/>
                <a:cxnLst>
                  <a:cxn ang="0">
                    <a:pos x="0" y="10"/>
                  </a:cxn>
                  <a:cxn ang="0">
                    <a:pos x="0" y="15"/>
                  </a:cxn>
                  <a:cxn ang="0">
                    <a:pos x="19" y="20"/>
                  </a:cxn>
                  <a:cxn ang="0">
                    <a:pos x="22" y="19"/>
                  </a:cxn>
                  <a:cxn ang="0">
                    <a:pos x="24" y="17"/>
                  </a:cxn>
                  <a:cxn ang="0">
                    <a:pos x="33" y="17"/>
                  </a:cxn>
                  <a:cxn ang="0">
                    <a:pos x="36" y="16"/>
                  </a:cxn>
                  <a:cxn ang="0">
                    <a:pos x="37" y="13"/>
                  </a:cxn>
                  <a:cxn ang="0">
                    <a:pos x="10" y="6"/>
                  </a:cxn>
                  <a:cxn ang="0">
                    <a:pos x="19" y="6"/>
                  </a:cxn>
                  <a:cxn ang="0">
                    <a:pos x="24" y="10"/>
                  </a:cxn>
                  <a:cxn ang="0">
                    <a:pos x="32" y="10"/>
                  </a:cxn>
                  <a:cxn ang="0">
                    <a:pos x="32" y="9"/>
                  </a:cxn>
                  <a:cxn ang="0">
                    <a:pos x="19" y="1"/>
                  </a:cxn>
                  <a:cxn ang="0">
                    <a:pos x="7" y="0"/>
                  </a:cxn>
                  <a:cxn ang="0">
                    <a:pos x="0" y="10"/>
                  </a:cxn>
                </a:cxnLst>
                <a:rect l="0" t="0" r="r" b="b"/>
                <a:pathLst>
                  <a:path w="37" h="20">
                    <a:moveTo>
                      <a:pt x="0" y="10"/>
                    </a:moveTo>
                    <a:lnTo>
                      <a:pt x="0" y="15"/>
                    </a:lnTo>
                    <a:lnTo>
                      <a:pt x="19" y="20"/>
                    </a:lnTo>
                    <a:lnTo>
                      <a:pt x="22" y="19"/>
                    </a:lnTo>
                    <a:lnTo>
                      <a:pt x="24" y="17"/>
                    </a:lnTo>
                    <a:lnTo>
                      <a:pt x="33" y="17"/>
                    </a:lnTo>
                    <a:lnTo>
                      <a:pt x="36" y="16"/>
                    </a:lnTo>
                    <a:lnTo>
                      <a:pt x="37" y="13"/>
                    </a:lnTo>
                    <a:lnTo>
                      <a:pt x="10" y="6"/>
                    </a:lnTo>
                    <a:lnTo>
                      <a:pt x="19" y="6"/>
                    </a:lnTo>
                    <a:lnTo>
                      <a:pt x="24" y="10"/>
                    </a:lnTo>
                    <a:lnTo>
                      <a:pt x="32" y="10"/>
                    </a:lnTo>
                    <a:lnTo>
                      <a:pt x="32" y="9"/>
                    </a:lnTo>
                    <a:lnTo>
                      <a:pt x="19" y="1"/>
                    </a:lnTo>
                    <a:lnTo>
                      <a:pt x="7" y="0"/>
                    </a:lnTo>
                    <a:lnTo>
                      <a:pt x="0" y="1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56" name="Freeform 1755"/>
              <p:cNvSpPr>
                <a:spLocks/>
              </p:cNvSpPr>
              <p:nvPr/>
            </p:nvSpPr>
            <p:spPr bwMode="auto">
              <a:xfrm>
                <a:off x="5784527" y="1643900"/>
                <a:ext cx="34234" cy="21296"/>
              </a:xfrm>
              <a:custGeom>
                <a:avLst/>
                <a:gdLst/>
                <a:ahLst/>
                <a:cxnLst>
                  <a:cxn ang="0">
                    <a:pos x="0" y="10"/>
                  </a:cxn>
                  <a:cxn ang="0">
                    <a:pos x="0" y="15"/>
                  </a:cxn>
                  <a:cxn ang="0">
                    <a:pos x="19" y="20"/>
                  </a:cxn>
                  <a:cxn ang="0">
                    <a:pos x="22" y="19"/>
                  </a:cxn>
                  <a:cxn ang="0">
                    <a:pos x="24" y="17"/>
                  </a:cxn>
                  <a:cxn ang="0">
                    <a:pos x="33" y="17"/>
                  </a:cxn>
                  <a:cxn ang="0">
                    <a:pos x="36" y="16"/>
                  </a:cxn>
                  <a:cxn ang="0">
                    <a:pos x="37" y="13"/>
                  </a:cxn>
                  <a:cxn ang="0">
                    <a:pos x="10" y="6"/>
                  </a:cxn>
                  <a:cxn ang="0">
                    <a:pos x="19" y="6"/>
                  </a:cxn>
                  <a:cxn ang="0">
                    <a:pos x="24" y="10"/>
                  </a:cxn>
                  <a:cxn ang="0">
                    <a:pos x="32" y="10"/>
                  </a:cxn>
                  <a:cxn ang="0">
                    <a:pos x="32" y="9"/>
                  </a:cxn>
                  <a:cxn ang="0">
                    <a:pos x="19" y="1"/>
                  </a:cxn>
                  <a:cxn ang="0">
                    <a:pos x="7" y="0"/>
                  </a:cxn>
                  <a:cxn ang="0">
                    <a:pos x="0" y="10"/>
                  </a:cxn>
                </a:cxnLst>
                <a:rect l="0" t="0" r="r" b="b"/>
                <a:pathLst>
                  <a:path w="37" h="20">
                    <a:moveTo>
                      <a:pt x="0" y="10"/>
                    </a:moveTo>
                    <a:lnTo>
                      <a:pt x="0" y="15"/>
                    </a:lnTo>
                    <a:lnTo>
                      <a:pt x="19" y="20"/>
                    </a:lnTo>
                    <a:lnTo>
                      <a:pt x="22" y="19"/>
                    </a:lnTo>
                    <a:lnTo>
                      <a:pt x="24" y="17"/>
                    </a:lnTo>
                    <a:lnTo>
                      <a:pt x="33" y="17"/>
                    </a:lnTo>
                    <a:lnTo>
                      <a:pt x="36" y="16"/>
                    </a:lnTo>
                    <a:lnTo>
                      <a:pt x="37" y="13"/>
                    </a:lnTo>
                    <a:lnTo>
                      <a:pt x="10" y="6"/>
                    </a:lnTo>
                    <a:lnTo>
                      <a:pt x="19" y="6"/>
                    </a:lnTo>
                    <a:lnTo>
                      <a:pt x="24" y="10"/>
                    </a:lnTo>
                    <a:lnTo>
                      <a:pt x="32" y="10"/>
                    </a:lnTo>
                    <a:lnTo>
                      <a:pt x="32" y="9"/>
                    </a:lnTo>
                    <a:lnTo>
                      <a:pt x="19" y="1"/>
                    </a:lnTo>
                    <a:lnTo>
                      <a:pt x="7" y="0"/>
                    </a:lnTo>
                    <a:lnTo>
                      <a:pt x="0" y="1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57" name="Freeform 1756"/>
              <p:cNvSpPr>
                <a:spLocks/>
              </p:cNvSpPr>
              <p:nvPr/>
            </p:nvSpPr>
            <p:spPr bwMode="auto">
              <a:xfrm>
                <a:off x="5797694" y="1664183"/>
                <a:ext cx="34235" cy="16227"/>
              </a:xfrm>
              <a:custGeom>
                <a:avLst/>
                <a:gdLst/>
                <a:ahLst/>
                <a:cxnLst>
                  <a:cxn ang="0">
                    <a:pos x="37" y="7"/>
                  </a:cxn>
                  <a:cxn ang="0">
                    <a:pos x="34" y="10"/>
                  </a:cxn>
                  <a:cxn ang="0">
                    <a:pos x="34" y="12"/>
                  </a:cxn>
                  <a:cxn ang="0">
                    <a:pos x="37" y="16"/>
                  </a:cxn>
                  <a:cxn ang="0">
                    <a:pos x="34" y="16"/>
                  </a:cxn>
                  <a:cxn ang="0">
                    <a:pos x="28" y="14"/>
                  </a:cxn>
                  <a:cxn ang="0">
                    <a:pos x="28" y="13"/>
                  </a:cxn>
                  <a:cxn ang="0">
                    <a:pos x="22" y="9"/>
                  </a:cxn>
                  <a:cxn ang="0">
                    <a:pos x="0" y="6"/>
                  </a:cxn>
                  <a:cxn ang="0">
                    <a:pos x="0" y="3"/>
                  </a:cxn>
                  <a:cxn ang="0">
                    <a:pos x="19" y="0"/>
                  </a:cxn>
                  <a:cxn ang="0">
                    <a:pos x="22" y="1"/>
                  </a:cxn>
                  <a:cxn ang="0">
                    <a:pos x="25" y="1"/>
                  </a:cxn>
                  <a:cxn ang="0">
                    <a:pos x="28" y="3"/>
                  </a:cxn>
                  <a:cxn ang="0">
                    <a:pos x="31" y="3"/>
                  </a:cxn>
                  <a:cxn ang="0">
                    <a:pos x="37" y="6"/>
                  </a:cxn>
                  <a:cxn ang="0">
                    <a:pos x="37" y="7"/>
                  </a:cxn>
                </a:cxnLst>
                <a:rect l="0" t="0" r="r" b="b"/>
                <a:pathLst>
                  <a:path w="37" h="16">
                    <a:moveTo>
                      <a:pt x="37" y="7"/>
                    </a:moveTo>
                    <a:lnTo>
                      <a:pt x="34" y="10"/>
                    </a:lnTo>
                    <a:lnTo>
                      <a:pt x="34" y="12"/>
                    </a:lnTo>
                    <a:lnTo>
                      <a:pt x="37" y="16"/>
                    </a:lnTo>
                    <a:lnTo>
                      <a:pt x="34" y="16"/>
                    </a:lnTo>
                    <a:lnTo>
                      <a:pt x="28" y="14"/>
                    </a:lnTo>
                    <a:lnTo>
                      <a:pt x="28" y="13"/>
                    </a:lnTo>
                    <a:lnTo>
                      <a:pt x="22" y="9"/>
                    </a:lnTo>
                    <a:lnTo>
                      <a:pt x="0" y="6"/>
                    </a:lnTo>
                    <a:lnTo>
                      <a:pt x="0" y="3"/>
                    </a:lnTo>
                    <a:lnTo>
                      <a:pt x="19" y="0"/>
                    </a:lnTo>
                    <a:lnTo>
                      <a:pt x="22" y="1"/>
                    </a:lnTo>
                    <a:lnTo>
                      <a:pt x="25" y="1"/>
                    </a:lnTo>
                    <a:lnTo>
                      <a:pt x="28" y="3"/>
                    </a:lnTo>
                    <a:lnTo>
                      <a:pt x="31" y="3"/>
                    </a:lnTo>
                    <a:lnTo>
                      <a:pt x="37" y="6"/>
                    </a:lnTo>
                    <a:lnTo>
                      <a:pt x="37" y="7"/>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58" name="Freeform 1757"/>
              <p:cNvSpPr>
                <a:spLocks/>
              </p:cNvSpPr>
              <p:nvPr/>
            </p:nvSpPr>
            <p:spPr bwMode="auto">
              <a:xfrm>
                <a:off x="5797694" y="1664183"/>
                <a:ext cx="34235" cy="16227"/>
              </a:xfrm>
              <a:custGeom>
                <a:avLst/>
                <a:gdLst/>
                <a:ahLst/>
                <a:cxnLst>
                  <a:cxn ang="0">
                    <a:pos x="37" y="7"/>
                  </a:cxn>
                  <a:cxn ang="0">
                    <a:pos x="34" y="10"/>
                  </a:cxn>
                  <a:cxn ang="0">
                    <a:pos x="34" y="12"/>
                  </a:cxn>
                  <a:cxn ang="0">
                    <a:pos x="37" y="16"/>
                  </a:cxn>
                  <a:cxn ang="0">
                    <a:pos x="34" y="16"/>
                  </a:cxn>
                  <a:cxn ang="0">
                    <a:pos x="28" y="14"/>
                  </a:cxn>
                  <a:cxn ang="0">
                    <a:pos x="28" y="13"/>
                  </a:cxn>
                  <a:cxn ang="0">
                    <a:pos x="22" y="9"/>
                  </a:cxn>
                  <a:cxn ang="0">
                    <a:pos x="0" y="6"/>
                  </a:cxn>
                  <a:cxn ang="0">
                    <a:pos x="0" y="3"/>
                  </a:cxn>
                  <a:cxn ang="0">
                    <a:pos x="19" y="0"/>
                  </a:cxn>
                  <a:cxn ang="0">
                    <a:pos x="22" y="1"/>
                  </a:cxn>
                  <a:cxn ang="0">
                    <a:pos x="25" y="1"/>
                  </a:cxn>
                  <a:cxn ang="0">
                    <a:pos x="28" y="3"/>
                  </a:cxn>
                  <a:cxn ang="0">
                    <a:pos x="31" y="3"/>
                  </a:cxn>
                  <a:cxn ang="0">
                    <a:pos x="37" y="6"/>
                  </a:cxn>
                  <a:cxn ang="0">
                    <a:pos x="37" y="7"/>
                  </a:cxn>
                </a:cxnLst>
                <a:rect l="0" t="0" r="r" b="b"/>
                <a:pathLst>
                  <a:path w="37" h="16">
                    <a:moveTo>
                      <a:pt x="37" y="7"/>
                    </a:moveTo>
                    <a:lnTo>
                      <a:pt x="34" y="10"/>
                    </a:lnTo>
                    <a:lnTo>
                      <a:pt x="34" y="12"/>
                    </a:lnTo>
                    <a:lnTo>
                      <a:pt x="37" y="16"/>
                    </a:lnTo>
                    <a:lnTo>
                      <a:pt x="34" y="16"/>
                    </a:lnTo>
                    <a:lnTo>
                      <a:pt x="28" y="14"/>
                    </a:lnTo>
                    <a:lnTo>
                      <a:pt x="28" y="13"/>
                    </a:lnTo>
                    <a:lnTo>
                      <a:pt x="22" y="9"/>
                    </a:lnTo>
                    <a:lnTo>
                      <a:pt x="0" y="6"/>
                    </a:lnTo>
                    <a:lnTo>
                      <a:pt x="0" y="3"/>
                    </a:lnTo>
                    <a:lnTo>
                      <a:pt x="19" y="0"/>
                    </a:lnTo>
                    <a:lnTo>
                      <a:pt x="22" y="1"/>
                    </a:lnTo>
                    <a:lnTo>
                      <a:pt x="25" y="1"/>
                    </a:lnTo>
                    <a:lnTo>
                      <a:pt x="28" y="3"/>
                    </a:lnTo>
                    <a:lnTo>
                      <a:pt x="31" y="3"/>
                    </a:lnTo>
                    <a:lnTo>
                      <a:pt x="37" y="6"/>
                    </a:lnTo>
                    <a:lnTo>
                      <a:pt x="37" y="7"/>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59" name="Freeform 1758"/>
              <p:cNvSpPr>
                <a:spLocks/>
              </p:cNvSpPr>
              <p:nvPr/>
            </p:nvSpPr>
            <p:spPr bwMode="auto">
              <a:xfrm>
                <a:off x="5797694" y="1671282"/>
                <a:ext cx="35112" cy="38537"/>
              </a:xfrm>
              <a:custGeom>
                <a:avLst/>
                <a:gdLst/>
                <a:ahLst/>
                <a:cxnLst>
                  <a:cxn ang="0">
                    <a:pos x="22" y="7"/>
                  </a:cxn>
                  <a:cxn ang="0">
                    <a:pos x="26" y="12"/>
                  </a:cxn>
                  <a:cxn ang="0">
                    <a:pos x="32" y="15"/>
                  </a:cxn>
                  <a:cxn ang="0">
                    <a:pos x="34" y="19"/>
                  </a:cxn>
                  <a:cxn ang="0">
                    <a:pos x="37" y="18"/>
                  </a:cxn>
                  <a:cxn ang="0">
                    <a:pos x="38" y="23"/>
                  </a:cxn>
                  <a:cxn ang="0">
                    <a:pos x="35" y="23"/>
                  </a:cxn>
                  <a:cxn ang="0">
                    <a:pos x="32" y="22"/>
                  </a:cxn>
                  <a:cxn ang="0">
                    <a:pos x="29" y="22"/>
                  </a:cxn>
                  <a:cxn ang="0">
                    <a:pos x="26" y="25"/>
                  </a:cxn>
                  <a:cxn ang="0">
                    <a:pos x="29" y="26"/>
                  </a:cxn>
                  <a:cxn ang="0">
                    <a:pos x="32" y="29"/>
                  </a:cxn>
                  <a:cxn ang="0">
                    <a:pos x="34" y="31"/>
                  </a:cxn>
                  <a:cxn ang="0">
                    <a:pos x="34" y="37"/>
                  </a:cxn>
                  <a:cxn ang="0">
                    <a:pos x="32" y="37"/>
                  </a:cxn>
                  <a:cxn ang="0">
                    <a:pos x="29" y="35"/>
                  </a:cxn>
                  <a:cxn ang="0">
                    <a:pos x="29" y="32"/>
                  </a:cxn>
                  <a:cxn ang="0">
                    <a:pos x="26" y="34"/>
                  </a:cxn>
                  <a:cxn ang="0">
                    <a:pos x="21" y="26"/>
                  </a:cxn>
                  <a:cxn ang="0">
                    <a:pos x="9" y="21"/>
                  </a:cxn>
                  <a:cxn ang="0">
                    <a:pos x="8" y="16"/>
                  </a:cxn>
                  <a:cxn ang="0">
                    <a:pos x="3" y="13"/>
                  </a:cxn>
                  <a:cxn ang="0">
                    <a:pos x="3" y="10"/>
                  </a:cxn>
                  <a:cxn ang="0">
                    <a:pos x="2" y="9"/>
                  </a:cxn>
                  <a:cxn ang="0">
                    <a:pos x="2" y="3"/>
                  </a:cxn>
                  <a:cxn ang="0">
                    <a:pos x="0" y="3"/>
                  </a:cxn>
                  <a:cxn ang="0">
                    <a:pos x="5" y="0"/>
                  </a:cxn>
                  <a:cxn ang="0">
                    <a:pos x="13" y="3"/>
                  </a:cxn>
                  <a:cxn ang="0">
                    <a:pos x="16" y="2"/>
                  </a:cxn>
                  <a:cxn ang="0">
                    <a:pos x="21" y="5"/>
                  </a:cxn>
                  <a:cxn ang="0">
                    <a:pos x="22" y="7"/>
                  </a:cxn>
                </a:cxnLst>
                <a:rect l="0" t="0" r="r" b="b"/>
                <a:pathLst>
                  <a:path w="38" h="37">
                    <a:moveTo>
                      <a:pt x="22" y="7"/>
                    </a:moveTo>
                    <a:lnTo>
                      <a:pt x="26" y="12"/>
                    </a:lnTo>
                    <a:lnTo>
                      <a:pt x="32" y="15"/>
                    </a:lnTo>
                    <a:lnTo>
                      <a:pt x="34" y="19"/>
                    </a:lnTo>
                    <a:lnTo>
                      <a:pt x="37" y="18"/>
                    </a:lnTo>
                    <a:lnTo>
                      <a:pt x="38" y="23"/>
                    </a:lnTo>
                    <a:lnTo>
                      <a:pt x="35" y="23"/>
                    </a:lnTo>
                    <a:lnTo>
                      <a:pt x="32" y="22"/>
                    </a:lnTo>
                    <a:lnTo>
                      <a:pt x="29" y="22"/>
                    </a:lnTo>
                    <a:lnTo>
                      <a:pt x="26" y="25"/>
                    </a:lnTo>
                    <a:lnTo>
                      <a:pt x="29" y="26"/>
                    </a:lnTo>
                    <a:lnTo>
                      <a:pt x="32" y="29"/>
                    </a:lnTo>
                    <a:lnTo>
                      <a:pt x="34" y="31"/>
                    </a:lnTo>
                    <a:lnTo>
                      <a:pt x="34" y="37"/>
                    </a:lnTo>
                    <a:lnTo>
                      <a:pt x="32" y="37"/>
                    </a:lnTo>
                    <a:lnTo>
                      <a:pt x="29" y="35"/>
                    </a:lnTo>
                    <a:lnTo>
                      <a:pt x="29" y="32"/>
                    </a:lnTo>
                    <a:lnTo>
                      <a:pt x="26" y="34"/>
                    </a:lnTo>
                    <a:lnTo>
                      <a:pt x="21" y="26"/>
                    </a:lnTo>
                    <a:lnTo>
                      <a:pt x="9" y="21"/>
                    </a:lnTo>
                    <a:lnTo>
                      <a:pt x="8" y="16"/>
                    </a:lnTo>
                    <a:lnTo>
                      <a:pt x="3" y="13"/>
                    </a:lnTo>
                    <a:lnTo>
                      <a:pt x="3" y="10"/>
                    </a:lnTo>
                    <a:lnTo>
                      <a:pt x="2" y="9"/>
                    </a:lnTo>
                    <a:lnTo>
                      <a:pt x="2" y="3"/>
                    </a:lnTo>
                    <a:lnTo>
                      <a:pt x="0" y="3"/>
                    </a:lnTo>
                    <a:lnTo>
                      <a:pt x="5" y="0"/>
                    </a:lnTo>
                    <a:lnTo>
                      <a:pt x="13" y="3"/>
                    </a:lnTo>
                    <a:lnTo>
                      <a:pt x="16" y="2"/>
                    </a:lnTo>
                    <a:lnTo>
                      <a:pt x="21" y="5"/>
                    </a:lnTo>
                    <a:lnTo>
                      <a:pt x="22" y="7"/>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60" name="Freeform 1759"/>
              <p:cNvSpPr>
                <a:spLocks/>
              </p:cNvSpPr>
              <p:nvPr/>
            </p:nvSpPr>
            <p:spPr bwMode="auto">
              <a:xfrm>
                <a:off x="5797694" y="1671282"/>
                <a:ext cx="35112" cy="38537"/>
              </a:xfrm>
              <a:custGeom>
                <a:avLst/>
                <a:gdLst/>
                <a:ahLst/>
                <a:cxnLst>
                  <a:cxn ang="0">
                    <a:pos x="22" y="7"/>
                  </a:cxn>
                  <a:cxn ang="0">
                    <a:pos x="26" y="12"/>
                  </a:cxn>
                  <a:cxn ang="0">
                    <a:pos x="32" y="15"/>
                  </a:cxn>
                  <a:cxn ang="0">
                    <a:pos x="34" y="19"/>
                  </a:cxn>
                  <a:cxn ang="0">
                    <a:pos x="37" y="18"/>
                  </a:cxn>
                  <a:cxn ang="0">
                    <a:pos x="38" y="23"/>
                  </a:cxn>
                  <a:cxn ang="0">
                    <a:pos x="35" y="23"/>
                  </a:cxn>
                  <a:cxn ang="0">
                    <a:pos x="32" y="22"/>
                  </a:cxn>
                  <a:cxn ang="0">
                    <a:pos x="29" y="22"/>
                  </a:cxn>
                  <a:cxn ang="0">
                    <a:pos x="26" y="25"/>
                  </a:cxn>
                  <a:cxn ang="0">
                    <a:pos x="29" y="26"/>
                  </a:cxn>
                  <a:cxn ang="0">
                    <a:pos x="32" y="29"/>
                  </a:cxn>
                  <a:cxn ang="0">
                    <a:pos x="34" y="31"/>
                  </a:cxn>
                  <a:cxn ang="0">
                    <a:pos x="34" y="37"/>
                  </a:cxn>
                  <a:cxn ang="0">
                    <a:pos x="32" y="37"/>
                  </a:cxn>
                  <a:cxn ang="0">
                    <a:pos x="29" y="35"/>
                  </a:cxn>
                  <a:cxn ang="0">
                    <a:pos x="29" y="32"/>
                  </a:cxn>
                  <a:cxn ang="0">
                    <a:pos x="26" y="34"/>
                  </a:cxn>
                  <a:cxn ang="0">
                    <a:pos x="21" y="26"/>
                  </a:cxn>
                  <a:cxn ang="0">
                    <a:pos x="9" y="21"/>
                  </a:cxn>
                  <a:cxn ang="0">
                    <a:pos x="8" y="16"/>
                  </a:cxn>
                  <a:cxn ang="0">
                    <a:pos x="3" y="13"/>
                  </a:cxn>
                  <a:cxn ang="0">
                    <a:pos x="3" y="10"/>
                  </a:cxn>
                  <a:cxn ang="0">
                    <a:pos x="2" y="9"/>
                  </a:cxn>
                  <a:cxn ang="0">
                    <a:pos x="2" y="3"/>
                  </a:cxn>
                  <a:cxn ang="0">
                    <a:pos x="0" y="3"/>
                  </a:cxn>
                  <a:cxn ang="0">
                    <a:pos x="5" y="0"/>
                  </a:cxn>
                  <a:cxn ang="0">
                    <a:pos x="13" y="3"/>
                  </a:cxn>
                  <a:cxn ang="0">
                    <a:pos x="16" y="2"/>
                  </a:cxn>
                  <a:cxn ang="0">
                    <a:pos x="21" y="5"/>
                  </a:cxn>
                  <a:cxn ang="0">
                    <a:pos x="22" y="7"/>
                  </a:cxn>
                </a:cxnLst>
                <a:rect l="0" t="0" r="r" b="b"/>
                <a:pathLst>
                  <a:path w="38" h="37">
                    <a:moveTo>
                      <a:pt x="22" y="7"/>
                    </a:moveTo>
                    <a:lnTo>
                      <a:pt x="26" y="12"/>
                    </a:lnTo>
                    <a:lnTo>
                      <a:pt x="32" y="15"/>
                    </a:lnTo>
                    <a:lnTo>
                      <a:pt x="34" y="19"/>
                    </a:lnTo>
                    <a:lnTo>
                      <a:pt x="37" y="18"/>
                    </a:lnTo>
                    <a:lnTo>
                      <a:pt x="38" y="23"/>
                    </a:lnTo>
                    <a:lnTo>
                      <a:pt x="35" y="23"/>
                    </a:lnTo>
                    <a:lnTo>
                      <a:pt x="32" y="22"/>
                    </a:lnTo>
                    <a:lnTo>
                      <a:pt x="29" y="22"/>
                    </a:lnTo>
                    <a:lnTo>
                      <a:pt x="26" y="25"/>
                    </a:lnTo>
                    <a:lnTo>
                      <a:pt x="29" y="26"/>
                    </a:lnTo>
                    <a:lnTo>
                      <a:pt x="32" y="29"/>
                    </a:lnTo>
                    <a:lnTo>
                      <a:pt x="34" y="31"/>
                    </a:lnTo>
                    <a:lnTo>
                      <a:pt x="34" y="37"/>
                    </a:lnTo>
                    <a:lnTo>
                      <a:pt x="32" y="37"/>
                    </a:lnTo>
                    <a:lnTo>
                      <a:pt x="29" y="35"/>
                    </a:lnTo>
                    <a:lnTo>
                      <a:pt x="29" y="32"/>
                    </a:lnTo>
                    <a:lnTo>
                      <a:pt x="26" y="34"/>
                    </a:lnTo>
                    <a:lnTo>
                      <a:pt x="21" y="26"/>
                    </a:lnTo>
                    <a:lnTo>
                      <a:pt x="9" y="21"/>
                    </a:lnTo>
                    <a:lnTo>
                      <a:pt x="8" y="16"/>
                    </a:lnTo>
                    <a:lnTo>
                      <a:pt x="3" y="13"/>
                    </a:lnTo>
                    <a:lnTo>
                      <a:pt x="3" y="10"/>
                    </a:lnTo>
                    <a:lnTo>
                      <a:pt x="2" y="9"/>
                    </a:lnTo>
                    <a:lnTo>
                      <a:pt x="2" y="3"/>
                    </a:lnTo>
                    <a:lnTo>
                      <a:pt x="0" y="3"/>
                    </a:lnTo>
                    <a:lnTo>
                      <a:pt x="5" y="0"/>
                    </a:lnTo>
                    <a:lnTo>
                      <a:pt x="13" y="3"/>
                    </a:lnTo>
                    <a:lnTo>
                      <a:pt x="16" y="2"/>
                    </a:lnTo>
                    <a:lnTo>
                      <a:pt x="21" y="5"/>
                    </a:lnTo>
                    <a:lnTo>
                      <a:pt x="22" y="7"/>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61" name="Freeform 1760"/>
              <p:cNvSpPr>
                <a:spLocks/>
              </p:cNvSpPr>
              <p:nvPr/>
            </p:nvSpPr>
            <p:spPr bwMode="auto">
              <a:xfrm>
                <a:off x="5752926" y="1758498"/>
                <a:ext cx="34234" cy="28396"/>
              </a:xfrm>
              <a:custGeom>
                <a:avLst/>
                <a:gdLst/>
                <a:ahLst/>
                <a:cxnLst>
                  <a:cxn ang="0">
                    <a:pos x="38" y="8"/>
                  </a:cxn>
                  <a:cxn ang="0">
                    <a:pos x="38" y="18"/>
                  </a:cxn>
                  <a:cxn ang="0">
                    <a:pos x="35" y="21"/>
                  </a:cxn>
                  <a:cxn ang="0">
                    <a:pos x="32" y="21"/>
                  </a:cxn>
                  <a:cxn ang="0">
                    <a:pos x="30" y="21"/>
                  </a:cxn>
                  <a:cxn ang="0">
                    <a:pos x="29" y="22"/>
                  </a:cxn>
                  <a:cxn ang="0">
                    <a:pos x="25" y="21"/>
                  </a:cxn>
                  <a:cxn ang="0">
                    <a:pos x="3" y="27"/>
                  </a:cxn>
                  <a:cxn ang="0">
                    <a:pos x="0" y="27"/>
                  </a:cxn>
                  <a:cxn ang="0">
                    <a:pos x="1" y="19"/>
                  </a:cxn>
                  <a:cxn ang="0">
                    <a:pos x="11" y="11"/>
                  </a:cxn>
                  <a:cxn ang="0">
                    <a:pos x="13" y="9"/>
                  </a:cxn>
                  <a:cxn ang="0">
                    <a:pos x="23" y="6"/>
                  </a:cxn>
                  <a:cxn ang="0">
                    <a:pos x="30" y="0"/>
                  </a:cxn>
                  <a:cxn ang="0">
                    <a:pos x="32" y="2"/>
                  </a:cxn>
                  <a:cxn ang="0">
                    <a:pos x="36" y="6"/>
                  </a:cxn>
                  <a:cxn ang="0">
                    <a:pos x="38" y="8"/>
                  </a:cxn>
                </a:cxnLst>
                <a:rect l="0" t="0" r="r" b="b"/>
                <a:pathLst>
                  <a:path w="38" h="27">
                    <a:moveTo>
                      <a:pt x="38" y="8"/>
                    </a:moveTo>
                    <a:lnTo>
                      <a:pt x="38" y="18"/>
                    </a:lnTo>
                    <a:lnTo>
                      <a:pt x="35" y="21"/>
                    </a:lnTo>
                    <a:lnTo>
                      <a:pt x="32" y="21"/>
                    </a:lnTo>
                    <a:lnTo>
                      <a:pt x="30" y="21"/>
                    </a:lnTo>
                    <a:lnTo>
                      <a:pt x="29" y="22"/>
                    </a:lnTo>
                    <a:lnTo>
                      <a:pt x="25" y="21"/>
                    </a:lnTo>
                    <a:lnTo>
                      <a:pt x="3" y="27"/>
                    </a:lnTo>
                    <a:lnTo>
                      <a:pt x="0" y="27"/>
                    </a:lnTo>
                    <a:lnTo>
                      <a:pt x="1" y="19"/>
                    </a:lnTo>
                    <a:lnTo>
                      <a:pt x="11" y="11"/>
                    </a:lnTo>
                    <a:lnTo>
                      <a:pt x="13" y="9"/>
                    </a:lnTo>
                    <a:lnTo>
                      <a:pt x="23" y="6"/>
                    </a:lnTo>
                    <a:lnTo>
                      <a:pt x="30" y="0"/>
                    </a:lnTo>
                    <a:lnTo>
                      <a:pt x="32" y="2"/>
                    </a:lnTo>
                    <a:lnTo>
                      <a:pt x="36" y="6"/>
                    </a:lnTo>
                    <a:lnTo>
                      <a:pt x="38" y="8"/>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62" name="Freeform 1761"/>
              <p:cNvSpPr>
                <a:spLocks/>
              </p:cNvSpPr>
              <p:nvPr/>
            </p:nvSpPr>
            <p:spPr bwMode="auto">
              <a:xfrm>
                <a:off x="5752926" y="1758498"/>
                <a:ext cx="34234" cy="28396"/>
              </a:xfrm>
              <a:custGeom>
                <a:avLst/>
                <a:gdLst/>
                <a:ahLst/>
                <a:cxnLst>
                  <a:cxn ang="0">
                    <a:pos x="38" y="8"/>
                  </a:cxn>
                  <a:cxn ang="0">
                    <a:pos x="38" y="18"/>
                  </a:cxn>
                  <a:cxn ang="0">
                    <a:pos x="35" y="21"/>
                  </a:cxn>
                  <a:cxn ang="0">
                    <a:pos x="32" y="21"/>
                  </a:cxn>
                  <a:cxn ang="0">
                    <a:pos x="30" y="21"/>
                  </a:cxn>
                  <a:cxn ang="0">
                    <a:pos x="29" y="22"/>
                  </a:cxn>
                  <a:cxn ang="0">
                    <a:pos x="25" y="21"/>
                  </a:cxn>
                  <a:cxn ang="0">
                    <a:pos x="3" y="27"/>
                  </a:cxn>
                  <a:cxn ang="0">
                    <a:pos x="0" y="27"/>
                  </a:cxn>
                  <a:cxn ang="0">
                    <a:pos x="1" y="19"/>
                  </a:cxn>
                  <a:cxn ang="0">
                    <a:pos x="11" y="11"/>
                  </a:cxn>
                  <a:cxn ang="0">
                    <a:pos x="13" y="9"/>
                  </a:cxn>
                  <a:cxn ang="0">
                    <a:pos x="23" y="6"/>
                  </a:cxn>
                  <a:cxn ang="0">
                    <a:pos x="30" y="0"/>
                  </a:cxn>
                  <a:cxn ang="0">
                    <a:pos x="32" y="2"/>
                  </a:cxn>
                  <a:cxn ang="0">
                    <a:pos x="36" y="6"/>
                  </a:cxn>
                  <a:cxn ang="0">
                    <a:pos x="38" y="8"/>
                  </a:cxn>
                </a:cxnLst>
                <a:rect l="0" t="0" r="r" b="b"/>
                <a:pathLst>
                  <a:path w="38" h="27">
                    <a:moveTo>
                      <a:pt x="38" y="8"/>
                    </a:moveTo>
                    <a:lnTo>
                      <a:pt x="38" y="18"/>
                    </a:lnTo>
                    <a:lnTo>
                      <a:pt x="35" y="21"/>
                    </a:lnTo>
                    <a:lnTo>
                      <a:pt x="32" y="21"/>
                    </a:lnTo>
                    <a:lnTo>
                      <a:pt x="30" y="21"/>
                    </a:lnTo>
                    <a:lnTo>
                      <a:pt x="29" y="22"/>
                    </a:lnTo>
                    <a:lnTo>
                      <a:pt x="25" y="21"/>
                    </a:lnTo>
                    <a:lnTo>
                      <a:pt x="3" y="27"/>
                    </a:lnTo>
                    <a:lnTo>
                      <a:pt x="0" y="27"/>
                    </a:lnTo>
                    <a:lnTo>
                      <a:pt x="1" y="19"/>
                    </a:lnTo>
                    <a:lnTo>
                      <a:pt x="11" y="11"/>
                    </a:lnTo>
                    <a:lnTo>
                      <a:pt x="13" y="9"/>
                    </a:lnTo>
                    <a:lnTo>
                      <a:pt x="23" y="6"/>
                    </a:lnTo>
                    <a:lnTo>
                      <a:pt x="30" y="0"/>
                    </a:lnTo>
                    <a:lnTo>
                      <a:pt x="32" y="2"/>
                    </a:lnTo>
                    <a:lnTo>
                      <a:pt x="36" y="6"/>
                    </a:lnTo>
                    <a:lnTo>
                      <a:pt x="38" y="8"/>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63" name="Freeform 1762"/>
              <p:cNvSpPr>
                <a:spLocks/>
              </p:cNvSpPr>
              <p:nvPr/>
            </p:nvSpPr>
            <p:spPr bwMode="auto">
              <a:xfrm>
                <a:off x="5219224" y="1407607"/>
                <a:ext cx="39500" cy="17240"/>
              </a:xfrm>
              <a:custGeom>
                <a:avLst/>
                <a:gdLst/>
                <a:ahLst/>
                <a:cxnLst>
                  <a:cxn ang="0">
                    <a:pos x="1" y="9"/>
                  </a:cxn>
                  <a:cxn ang="0">
                    <a:pos x="0" y="8"/>
                  </a:cxn>
                  <a:cxn ang="0">
                    <a:pos x="5" y="5"/>
                  </a:cxn>
                  <a:cxn ang="0">
                    <a:pos x="8" y="2"/>
                  </a:cxn>
                  <a:cxn ang="0">
                    <a:pos x="24" y="0"/>
                  </a:cxn>
                  <a:cxn ang="0">
                    <a:pos x="32" y="2"/>
                  </a:cxn>
                  <a:cxn ang="0">
                    <a:pos x="35" y="3"/>
                  </a:cxn>
                  <a:cxn ang="0">
                    <a:pos x="36" y="6"/>
                  </a:cxn>
                  <a:cxn ang="0">
                    <a:pos x="43" y="11"/>
                  </a:cxn>
                  <a:cxn ang="0">
                    <a:pos x="43" y="12"/>
                  </a:cxn>
                  <a:cxn ang="0">
                    <a:pos x="40" y="15"/>
                  </a:cxn>
                  <a:cxn ang="0">
                    <a:pos x="33" y="16"/>
                  </a:cxn>
                  <a:cxn ang="0">
                    <a:pos x="17" y="11"/>
                  </a:cxn>
                  <a:cxn ang="0">
                    <a:pos x="13" y="12"/>
                  </a:cxn>
                  <a:cxn ang="0">
                    <a:pos x="8" y="12"/>
                  </a:cxn>
                  <a:cxn ang="0">
                    <a:pos x="1" y="9"/>
                  </a:cxn>
                </a:cxnLst>
                <a:rect l="0" t="0" r="r" b="b"/>
                <a:pathLst>
                  <a:path w="43" h="16">
                    <a:moveTo>
                      <a:pt x="1" y="9"/>
                    </a:moveTo>
                    <a:lnTo>
                      <a:pt x="0" y="8"/>
                    </a:lnTo>
                    <a:lnTo>
                      <a:pt x="5" y="5"/>
                    </a:lnTo>
                    <a:lnTo>
                      <a:pt x="8" y="2"/>
                    </a:lnTo>
                    <a:lnTo>
                      <a:pt x="24" y="0"/>
                    </a:lnTo>
                    <a:lnTo>
                      <a:pt x="32" y="2"/>
                    </a:lnTo>
                    <a:lnTo>
                      <a:pt x="35" y="3"/>
                    </a:lnTo>
                    <a:lnTo>
                      <a:pt x="36" y="6"/>
                    </a:lnTo>
                    <a:lnTo>
                      <a:pt x="43" y="11"/>
                    </a:lnTo>
                    <a:lnTo>
                      <a:pt x="43" y="12"/>
                    </a:lnTo>
                    <a:lnTo>
                      <a:pt x="40" y="15"/>
                    </a:lnTo>
                    <a:lnTo>
                      <a:pt x="33" y="16"/>
                    </a:lnTo>
                    <a:lnTo>
                      <a:pt x="17" y="11"/>
                    </a:lnTo>
                    <a:lnTo>
                      <a:pt x="13" y="12"/>
                    </a:lnTo>
                    <a:lnTo>
                      <a:pt x="8" y="12"/>
                    </a:lnTo>
                    <a:lnTo>
                      <a:pt x="1" y="9"/>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64" name="Freeform 1763"/>
              <p:cNvSpPr>
                <a:spLocks/>
              </p:cNvSpPr>
              <p:nvPr/>
            </p:nvSpPr>
            <p:spPr bwMode="auto">
              <a:xfrm>
                <a:off x="5544887" y="2162122"/>
                <a:ext cx="4389" cy="6085"/>
              </a:xfrm>
              <a:custGeom>
                <a:avLst/>
                <a:gdLst/>
                <a:ahLst/>
                <a:cxnLst>
                  <a:cxn ang="0">
                    <a:pos x="0" y="0"/>
                  </a:cxn>
                  <a:cxn ang="0">
                    <a:pos x="0" y="6"/>
                  </a:cxn>
                  <a:cxn ang="0">
                    <a:pos x="0" y="0"/>
                  </a:cxn>
                  <a:cxn ang="0">
                    <a:pos x="0" y="4"/>
                  </a:cxn>
                  <a:cxn ang="0">
                    <a:pos x="0" y="4"/>
                  </a:cxn>
                  <a:cxn ang="0">
                    <a:pos x="3" y="4"/>
                  </a:cxn>
                  <a:cxn ang="0">
                    <a:pos x="5" y="3"/>
                  </a:cxn>
                  <a:cxn ang="0">
                    <a:pos x="5" y="3"/>
                  </a:cxn>
                  <a:cxn ang="0">
                    <a:pos x="2" y="0"/>
                  </a:cxn>
                  <a:cxn ang="0">
                    <a:pos x="0" y="0"/>
                  </a:cxn>
                </a:cxnLst>
                <a:rect l="0" t="0" r="r" b="b"/>
                <a:pathLst>
                  <a:path w="5" h="6">
                    <a:moveTo>
                      <a:pt x="0" y="0"/>
                    </a:moveTo>
                    <a:lnTo>
                      <a:pt x="0" y="6"/>
                    </a:lnTo>
                    <a:lnTo>
                      <a:pt x="0" y="0"/>
                    </a:lnTo>
                    <a:lnTo>
                      <a:pt x="0" y="4"/>
                    </a:lnTo>
                    <a:lnTo>
                      <a:pt x="0" y="4"/>
                    </a:lnTo>
                    <a:lnTo>
                      <a:pt x="3" y="4"/>
                    </a:lnTo>
                    <a:lnTo>
                      <a:pt x="5" y="3"/>
                    </a:lnTo>
                    <a:lnTo>
                      <a:pt x="5" y="3"/>
                    </a:lnTo>
                    <a:lnTo>
                      <a:pt x="2" y="0"/>
                    </a:lnTo>
                    <a:lnTo>
                      <a:pt x="0"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65" name="Freeform 1764"/>
              <p:cNvSpPr>
                <a:spLocks/>
              </p:cNvSpPr>
              <p:nvPr/>
            </p:nvSpPr>
            <p:spPr bwMode="auto">
              <a:xfrm>
                <a:off x="5544887" y="2162122"/>
                <a:ext cx="4389" cy="6085"/>
              </a:xfrm>
              <a:custGeom>
                <a:avLst/>
                <a:gdLst/>
                <a:ahLst/>
                <a:cxnLst>
                  <a:cxn ang="0">
                    <a:pos x="0" y="0"/>
                  </a:cxn>
                  <a:cxn ang="0">
                    <a:pos x="0" y="6"/>
                  </a:cxn>
                  <a:cxn ang="0">
                    <a:pos x="0" y="0"/>
                  </a:cxn>
                  <a:cxn ang="0">
                    <a:pos x="0" y="4"/>
                  </a:cxn>
                  <a:cxn ang="0">
                    <a:pos x="0" y="4"/>
                  </a:cxn>
                  <a:cxn ang="0">
                    <a:pos x="3" y="4"/>
                  </a:cxn>
                  <a:cxn ang="0">
                    <a:pos x="5" y="3"/>
                  </a:cxn>
                  <a:cxn ang="0">
                    <a:pos x="5" y="3"/>
                  </a:cxn>
                  <a:cxn ang="0">
                    <a:pos x="2" y="0"/>
                  </a:cxn>
                  <a:cxn ang="0">
                    <a:pos x="0" y="0"/>
                  </a:cxn>
                </a:cxnLst>
                <a:rect l="0" t="0" r="r" b="b"/>
                <a:pathLst>
                  <a:path w="5" h="6">
                    <a:moveTo>
                      <a:pt x="0" y="0"/>
                    </a:moveTo>
                    <a:lnTo>
                      <a:pt x="0" y="6"/>
                    </a:lnTo>
                    <a:lnTo>
                      <a:pt x="0" y="0"/>
                    </a:lnTo>
                    <a:lnTo>
                      <a:pt x="0" y="4"/>
                    </a:lnTo>
                    <a:lnTo>
                      <a:pt x="0" y="4"/>
                    </a:lnTo>
                    <a:lnTo>
                      <a:pt x="3" y="4"/>
                    </a:lnTo>
                    <a:lnTo>
                      <a:pt x="5" y="3"/>
                    </a:lnTo>
                    <a:lnTo>
                      <a:pt x="5" y="3"/>
                    </a:lnTo>
                    <a:lnTo>
                      <a:pt x="2" y="0"/>
                    </a:lnTo>
                    <a:lnTo>
                      <a:pt x="0"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66" name="Freeform 1765"/>
              <p:cNvSpPr>
                <a:spLocks/>
              </p:cNvSpPr>
              <p:nvPr/>
            </p:nvSpPr>
            <p:spPr bwMode="auto">
              <a:xfrm>
                <a:off x="5546643" y="2157052"/>
                <a:ext cx="8778" cy="5071"/>
              </a:xfrm>
              <a:custGeom>
                <a:avLst/>
                <a:gdLst/>
                <a:ahLst/>
                <a:cxnLst>
                  <a:cxn ang="0">
                    <a:pos x="10" y="1"/>
                  </a:cxn>
                  <a:cxn ang="0">
                    <a:pos x="10" y="1"/>
                  </a:cxn>
                  <a:cxn ang="0">
                    <a:pos x="0" y="0"/>
                  </a:cxn>
                  <a:cxn ang="0">
                    <a:pos x="0" y="1"/>
                  </a:cxn>
                  <a:cxn ang="0">
                    <a:pos x="0" y="3"/>
                  </a:cxn>
                  <a:cxn ang="0">
                    <a:pos x="1" y="4"/>
                  </a:cxn>
                  <a:cxn ang="0">
                    <a:pos x="6" y="4"/>
                  </a:cxn>
                  <a:cxn ang="0">
                    <a:pos x="6" y="3"/>
                  </a:cxn>
                  <a:cxn ang="0">
                    <a:pos x="6" y="1"/>
                  </a:cxn>
                  <a:cxn ang="0">
                    <a:pos x="10" y="3"/>
                  </a:cxn>
                  <a:cxn ang="0">
                    <a:pos x="10" y="1"/>
                  </a:cxn>
                </a:cxnLst>
                <a:rect l="0" t="0" r="r" b="b"/>
                <a:pathLst>
                  <a:path w="10" h="4">
                    <a:moveTo>
                      <a:pt x="10" y="1"/>
                    </a:moveTo>
                    <a:lnTo>
                      <a:pt x="10" y="1"/>
                    </a:lnTo>
                    <a:lnTo>
                      <a:pt x="0" y="0"/>
                    </a:lnTo>
                    <a:lnTo>
                      <a:pt x="0" y="1"/>
                    </a:lnTo>
                    <a:lnTo>
                      <a:pt x="0" y="3"/>
                    </a:lnTo>
                    <a:lnTo>
                      <a:pt x="1" y="4"/>
                    </a:lnTo>
                    <a:lnTo>
                      <a:pt x="6" y="4"/>
                    </a:lnTo>
                    <a:lnTo>
                      <a:pt x="6" y="3"/>
                    </a:lnTo>
                    <a:lnTo>
                      <a:pt x="6" y="1"/>
                    </a:lnTo>
                    <a:lnTo>
                      <a:pt x="10" y="3"/>
                    </a:lnTo>
                    <a:lnTo>
                      <a:pt x="10"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67" name="Freeform 1766"/>
              <p:cNvSpPr>
                <a:spLocks/>
              </p:cNvSpPr>
              <p:nvPr/>
            </p:nvSpPr>
            <p:spPr bwMode="auto">
              <a:xfrm>
                <a:off x="5546643" y="2157052"/>
                <a:ext cx="8778" cy="5071"/>
              </a:xfrm>
              <a:custGeom>
                <a:avLst/>
                <a:gdLst/>
                <a:ahLst/>
                <a:cxnLst>
                  <a:cxn ang="0">
                    <a:pos x="10" y="1"/>
                  </a:cxn>
                  <a:cxn ang="0">
                    <a:pos x="10" y="1"/>
                  </a:cxn>
                  <a:cxn ang="0">
                    <a:pos x="0" y="0"/>
                  </a:cxn>
                  <a:cxn ang="0">
                    <a:pos x="0" y="1"/>
                  </a:cxn>
                  <a:cxn ang="0">
                    <a:pos x="0" y="3"/>
                  </a:cxn>
                  <a:cxn ang="0">
                    <a:pos x="1" y="4"/>
                  </a:cxn>
                  <a:cxn ang="0">
                    <a:pos x="6" y="4"/>
                  </a:cxn>
                  <a:cxn ang="0">
                    <a:pos x="6" y="3"/>
                  </a:cxn>
                  <a:cxn ang="0">
                    <a:pos x="6" y="1"/>
                  </a:cxn>
                  <a:cxn ang="0">
                    <a:pos x="10" y="3"/>
                  </a:cxn>
                  <a:cxn ang="0">
                    <a:pos x="10" y="1"/>
                  </a:cxn>
                </a:cxnLst>
                <a:rect l="0" t="0" r="r" b="b"/>
                <a:pathLst>
                  <a:path w="10" h="4">
                    <a:moveTo>
                      <a:pt x="10" y="1"/>
                    </a:moveTo>
                    <a:lnTo>
                      <a:pt x="10" y="1"/>
                    </a:lnTo>
                    <a:lnTo>
                      <a:pt x="0" y="0"/>
                    </a:lnTo>
                    <a:lnTo>
                      <a:pt x="0" y="1"/>
                    </a:lnTo>
                    <a:lnTo>
                      <a:pt x="0" y="3"/>
                    </a:lnTo>
                    <a:lnTo>
                      <a:pt x="1" y="4"/>
                    </a:lnTo>
                    <a:lnTo>
                      <a:pt x="6" y="4"/>
                    </a:lnTo>
                    <a:lnTo>
                      <a:pt x="6" y="3"/>
                    </a:lnTo>
                    <a:lnTo>
                      <a:pt x="6" y="1"/>
                    </a:lnTo>
                    <a:lnTo>
                      <a:pt x="10" y="3"/>
                    </a:lnTo>
                    <a:lnTo>
                      <a:pt x="10"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68" name="Freeform 1767"/>
              <p:cNvSpPr>
                <a:spLocks/>
              </p:cNvSpPr>
              <p:nvPr/>
            </p:nvSpPr>
            <p:spPr bwMode="auto">
              <a:xfrm>
                <a:off x="4576674" y="2826379"/>
                <a:ext cx="878" cy="4056"/>
              </a:xfrm>
              <a:custGeom>
                <a:avLst/>
                <a:gdLst/>
                <a:ahLst/>
                <a:cxnLst>
                  <a:cxn ang="0">
                    <a:pos x="0" y="3"/>
                  </a:cxn>
                  <a:cxn ang="0">
                    <a:pos x="0" y="1"/>
                  </a:cxn>
                  <a:cxn ang="0">
                    <a:pos x="0" y="0"/>
                  </a:cxn>
                  <a:cxn ang="0">
                    <a:pos x="0" y="0"/>
                  </a:cxn>
                  <a:cxn ang="0">
                    <a:pos x="1" y="4"/>
                  </a:cxn>
                  <a:cxn ang="0">
                    <a:pos x="0" y="3"/>
                  </a:cxn>
                  <a:cxn ang="0">
                    <a:pos x="0" y="3"/>
                  </a:cxn>
                </a:cxnLst>
                <a:rect l="0" t="0" r="r" b="b"/>
                <a:pathLst>
                  <a:path w="1" h="4">
                    <a:moveTo>
                      <a:pt x="0" y="3"/>
                    </a:moveTo>
                    <a:lnTo>
                      <a:pt x="0" y="1"/>
                    </a:lnTo>
                    <a:lnTo>
                      <a:pt x="0" y="0"/>
                    </a:lnTo>
                    <a:lnTo>
                      <a:pt x="0" y="0"/>
                    </a:lnTo>
                    <a:lnTo>
                      <a:pt x="1" y="4"/>
                    </a:lnTo>
                    <a:lnTo>
                      <a:pt x="0" y="3"/>
                    </a:lnTo>
                    <a:lnTo>
                      <a:pt x="0" y="3"/>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69" name="Freeform 1768"/>
              <p:cNvSpPr>
                <a:spLocks/>
              </p:cNvSpPr>
              <p:nvPr/>
            </p:nvSpPr>
            <p:spPr bwMode="auto">
              <a:xfrm>
                <a:off x="4576674" y="2826379"/>
                <a:ext cx="878" cy="4056"/>
              </a:xfrm>
              <a:custGeom>
                <a:avLst/>
                <a:gdLst/>
                <a:ahLst/>
                <a:cxnLst>
                  <a:cxn ang="0">
                    <a:pos x="0" y="3"/>
                  </a:cxn>
                  <a:cxn ang="0">
                    <a:pos x="0" y="1"/>
                  </a:cxn>
                  <a:cxn ang="0">
                    <a:pos x="0" y="0"/>
                  </a:cxn>
                  <a:cxn ang="0">
                    <a:pos x="0" y="0"/>
                  </a:cxn>
                  <a:cxn ang="0">
                    <a:pos x="1" y="4"/>
                  </a:cxn>
                  <a:cxn ang="0">
                    <a:pos x="0" y="3"/>
                  </a:cxn>
                  <a:cxn ang="0">
                    <a:pos x="0" y="3"/>
                  </a:cxn>
                </a:cxnLst>
                <a:rect l="0" t="0" r="r" b="b"/>
                <a:pathLst>
                  <a:path w="1" h="4">
                    <a:moveTo>
                      <a:pt x="0" y="3"/>
                    </a:moveTo>
                    <a:lnTo>
                      <a:pt x="0" y="1"/>
                    </a:lnTo>
                    <a:lnTo>
                      <a:pt x="0" y="0"/>
                    </a:lnTo>
                    <a:lnTo>
                      <a:pt x="0" y="0"/>
                    </a:lnTo>
                    <a:lnTo>
                      <a:pt x="1" y="4"/>
                    </a:lnTo>
                    <a:lnTo>
                      <a:pt x="0" y="3"/>
                    </a:lnTo>
                    <a:lnTo>
                      <a:pt x="0" y="3"/>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70" name="Freeform 1769"/>
              <p:cNvSpPr>
                <a:spLocks/>
              </p:cNvSpPr>
              <p:nvPr/>
            </p:nvSpPr>
            <p:spPr bwMode="auto">
              <a:xfrm>
                <a:off x="4615297" y="2839562"/>
                <a:ext cx="2633" cy="6085"/>
              </a:xfrm>
              <a:custGeom>
                <a:avLst/>
                <a:gdLst/>
                <a:ahLst/>
                <a:cxnLst>
                  <a:cxn ang="0">
                    <a:pos x="3" y="6"/>
                  </a:cxn>
                  <a:cxn ang="0">
                    <a:pos x="1" y="6"/>
                  </a:cxn>
                  <a:cxn ang="0">
                    <a:pos x="1" y="4"/>
                  </a:cxn>
                  <a:cxn ang="0">
                    <a:pos x="1" y="4"/>
                  </a:cxn>
                  <a:cxn ang="0">
                    <a:pos x="0" y="3"/>
                  </a:cxn>
                  <a:cxn ang="0">
                    <a:pos x="1" y="3"/>
                  </a:cxn>
                  <a:cxn ang="0">
                    <a:pos x="1" y="0"/>
                  </a:cxn>
                  <a:cxn ang="0">
                    <a:pos x="3" y="0"/>
                  </a:cxn>
                  <a:cxn ang="0">
                    <a:pos x="3" y="4"/>
                  </a:cxn>
                  <a:cxn ang="0">
                    <a:pos x="3" y="6"/>
                  </a:cxn>
                  <a:cxn ang="0">
                    <a:pos x="3" y="6"/>
                  </a:cxn>
                </a:cxnLst>
                <a:rect l="0" t="0" r="r" b="b"/>
                <a:pathLst>
                  <a:path w="3" h="6">
                    <a:moveTo>
                      <a:pt x="3" y="6"/>
                    </a:moveTo>
                    <a:lnTo>
                      <a:pt x="1" y="6"/>
                    </a:lnTo>
                    <a:lnTo>
                      <a:pt x="1" y="4"/>
                    </a:lnTo>
                    <a:lnTo>
                      <a:pt x="1" y="4"/>
                    </a:lnTo>
                    <a:lnTo>
                      <a:pt x="0" y="3"/>
                    </a:lnTo>
                    <a:lnTo>
                      <a:pt x="1" y="3"/>
                    </a:lnTo>
                    <a:lnTo>
                      <a:pt x="1" y="0"/>
                    </a:lnTo>
                    <a:lnTo>
                      <a:pt x="3" y="0"/>
                    </a:lnTo>
                    <a:lnTo>
                      <a:pt x="3" y="4"/>
                    </a:lnTo>
                    <a:lnTo>
                      <a:pt x="3" y="6"/>
                    </a:lnTo>
                    <a:lnTo>
                      <a:pt x="3" y="6"/>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71" name="Freeform 1770"/>
              <p:cNvSpPr>
                <a:spLocks/>
              </p:cNvSpPr>
              <p:nvPr/>
            </p:nvSpPr>
            <p:spPr bwMode="auto">
              <a:xfrm>
                <a:off x="4615297" y="2839562"/>
                <a:ext cx="2633" cy="6085"/>
              </a:xfrm>
              <a:custGeom>
                <a:avLst/>
                <a:gdLst/>
                <a:ahLst/>
                <a:cxnLst>
                  <a:cxn ang="0">
                    <a:pos x="3" y="6"/>
                  </a:cxn>
                  <a:cxn ang="0">
                    <a:pos x="1" y="6"/>
                  </a:cxn>
                  <a:cxn ang="0">
                    <a:pos x="1" y="4"/>
                  </a:cxn>
                  <a:cxn ang="0">
                    <a:pos x="1" y="4"/>
                  </a:cxn>
                  <a:cxn ang="0">
                    <a:pos x="0" y="3"/>
                  </a:cxn>
                  <a:cxn ang="0">
                    <a:pos x="1" y="3"/>
                  </a:cxn>
                  <a:cxn ang="0">
                    <a:pos x="1" y="0"/>
                  </a:cxn>
                  <a:cxn ang="0">
                    <a:pos x="3" y="0"/>
                  </a:cxn>
                  <a:cxn ang="0">
                    <a:pos x="3" y="4"/>
                  </a:cxn>
                  <a:cxn ang="0">
                    <a:pos x="3" y="6"/>
                  </a:cxn>
                  <a:cxn ang="0">
                    <a:pos x="3" y="6"/>
                  </a:cxn>
                </a:cxnLst>
                <a:rect l="0" t="0" r="r" b="b"/>
                <a:pathLst>
                  <a:path w="3" h="6">
                    <a:moveTo>
                      <a:pt x="3" y="6"/>
                    </a:moveTo>
                    <a:lnTo>
                      <a:pt x="1" y="6"/>
                    </a:lnTo>
                    <a:lnTo>
                      <a:pt x="1" y="4"/>
                    </a:lnTo>
                    <a:lnTo>
                      <a:pt x="1" y="4"/>
                    </a:lnTo>
                    <a:lnTo>
                      <a:pt x="0" y="3"/>
                    </a:lnTo>
                    <a:lnTo>
                      <a:pt x="1" y="3"/>
                    </a:lnTo>
                    <a:lnTo>
                      <a:pt x="1" y="0"/>
                    </a:lnTo>
                    <a:lnTo>
                      <a:pt x="3" y="0"/>
                    </a:lnTo>
                    <a:lnTo>
                      <a:pt x="3" y="4"/>
                    </a:lnTo>
                    <a:lnTo>
                      <a:pt x="3" y="6"/>
                    </a:lnTo>
                    <a:lnTo>
                      <a:pt x="3" y="6"/>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72" name="Freeform 1771"/>
              <p:cNvSpPr>
                <a:spLocks/>
              </p:cNvSpPr>
              <p:nvPr/>
            </p:nvSpPr>
            <p:spPr bwMode="auto">
              <a:xfrm>
                <a:off x="4638997" y="2820294"/>
                <a:ext cx="6145" cy="9127"/>
              </a:xfrm>
              <a:custGeom>
                <a:avLst/>
                <a:gdLst/>
                <a:ahLst/>
                <a:cxnLst>
                  <a:cxn ang="0">
                    <a:pos x="6" y="9"/>
                  </a:cxn>
                  <a:cxn ang="0">
                    <a:pos x="4" y="9"/>
                  </a:cxn>
                  <a:cxn ang="0">
                    <a:pos x="0" y="2"/>
                  </a:cxn>
                  <a:cxn ang="0">
                    <a:pos x="0" y="0"/>
                  </a:cxn>
                  <a:cxn ang="0">
                    <a:pos x="0" y="0"/>
                  </a:cxn>
                  <a:cxn ang="0">
                    <a:pos x="3" y="4"/>
                  </a:cxn>
                  <a:cxn ang="0">
                    <a:pos x="4" y="4"/>
                  </a:cxn>
                  <a:cxn ang="0">
                    <a:pos x="4" y="7"/>
                  </a:cxn>
                  <a:cxn ang="0">
                    <a:pos x="6" y="7"/>
                  </a:cxn>
                  <a:cxn ang="0">
                    <a:pos x="6" y="9"/>
                  </a:cxn>
                </a:cxnLst>
                <a:rect l="0" t="0" r="r" b="b"/>
                <a:pathLst>
                  <a:path w="6" h="9">
                    <a:moveTo>
                      <a:pt x="6" y="9"/>
                    </a:moveTo>
                    <a:lnTo>
                      <a:pt x="4" y="9"/>
                    </a:lnTo>
                    <a:lnTo>
                      <a:pt x="0" y="2"/>
                    </a:lnTo>
                    <a:lnTo>
                      <a:pt x="0" y="0"/>
                    </a:lnTo>
                    <a:lnTo>
                      <a:pt x="0" y="0"/>
                    </a:lnTo>
                    <a:lnTo>
                      <a:pt x="3" y="4"/>
                    </a:lnTo>
                    <a:lnTo>
                      <a:pt x="4" y="4"/>
                    </a:lnTo>
                    <a:lnTo>
                      <a:pt x="4" y="7"/>
                    </a:lnTo>
                    <a:lnTo>
                      <a:pt x="6" y="7"/>
                    </a:lnTo>
                    <a:lnTo>
                      <a:pt x="6" y="9"/>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73" name="Freeform 1772"/>
              <p:cNvSpPr>
                <a:spLocks/>
              </p:cNvSpPr>
              <p:nvPr/>
            </p:nvSpPr>
            <p:spPr bwMode="auto">
              <a:xfrm>
                <a:off x="4638997" y="2820294"/>
                <a:ext cx="6145" cy="9127"/>
              </a:xfrm>
              <a:custGeom>
                <a:avLst/>
                <a:gdLst/>
                <a:ahLst/>
                <a:cxnLst>
                  <a:cxn ang="0">
                    <a:pos x="6" y="9"/>
                  </a:cxn>
                  <a:cxn ang="0">
                    <a:pos x="4" y="9"/>
                  </a:cxn>
                  <a:cxn ang="0">
                    <a:pos x="0" y="2"/>
                  </a:cxn>
                  <a:cxn ang="0">
                    <a:pos x="0" y="0"/>
                  </a:cxn>
                  <a:cxn ang="0">
                    <a:pos x="0" y="0"/>
                  </a:cxn>
                  <a:cxn ang="0">
                    <a:pos x="3" y="4"/>
                  </a:cxn>
                  <a:cxn ang="0">
                    <a:pos x="4" y="4"/>
                  </a:cxn>
                  <a:cxn ang="0">
                    <a:pos x="4" y="7"/>
                  </a:cxn>
                  <a:cxn ang="0">
                    <a:pos x="6" y="7"/>
                  </a:cxn>
                  <a:cxn ang="0">
                    <a:pos x="6" y="9"/>
                  </a:cxn>
                </a:cxnLst>
                <a:rect l="0" t="0" r="r" b="b"/>
                <a:pathLst>
                  <a:path w="6" h="9">
                    <a:moveTo>
                      <a:pt x="6" y="9"/>
                    </a:moveTo>
                    <a:lnTo>
                      <a:pt x="4" y="9"/>
                    </a:lnTo>
                    <a:lnTo>
                      <a:pt x="0" y="2"/>
                    </a:lnTo>
                    <a:lnTo>
                      <a:pt x="0" y="0"/>
                    </a:lnTo>
                    <a:lnTo>
                      <a:pt x="0" y="0"/>
                    </a:lnTo>
                    <a:lnTo>
                      <a:pt x="3" y="4"/>
                    </a:lnTo>
                    <a:lnTo>
                      <a:pt x="4" y="4"/>
                    </a:lnTo>
                    <a:lnTo>
                      <a:pt x="4" y="7"/>
                    </a:lnTo>
                    <a:lnTo>
                      <a:pt x="6" y="7"/>
                    </a:lnTo>
                    <a:lnTo>
                      <a:pt x="6" y="9"/>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74" name="Freeform 1773"/>
              <p:cNvSpPr>
                <a:spLocks/>
              </p:cNvSpPr>
              <p:nvPr/>
            </p:nvSpPr>
            <p:spPr bwMode="auto">
              <a:xfrm>
                <a:off x="4653042" y="2826379"/>
                <a:ext cx="2634" cy="6085"/>
              </a:xfrm>
              <a:custGeom>
                <a:avLst/>
                <a:gdLst/>
                <a:ahLst/>
                <a:cxnLst>
                  <a:cxn ang="0">
                    <a:pos x="0" y="1"/>
                  </a:cxn>
                  <a:cxn ang="0">
                    <a:pos x="0" y="0"/>
                  </a:cxn>
                  <a:cxn ang="0">
                    <a:pos x="1" y="0"/>
                  </a:cxn>
                  <a:cxn ang="0">
                    <a:pos x="3" y="0"/>
                  </a:cxn>
                  <a:cxn ang="0">
                    <a:pos x="3" y="3"/>
                  </a:cxn>
                  <a:cxn ang="0">
                    <a:pos x="3" y="6"/>
                  </a:cxn>
                  <a:cxn ang="0">
                    <a:pos x="1" y="6"/>
                  </a:cxn>
                  <a:cxn ang="0">
                    <a:pos x="0" y="6"/>
                  </a:cxn>
                  <a:cxn ang="0">
                    <a:pos x="0" y="4"/>
                  </a:cxn>
                  <a:cxn ang="0">
                    <a:pos x="0" y="1"/>
                  </a:cxn>
                </a:cxnLst>
                <a:rect l="0" t="0" r="r" b="b"/>
                <a:pathLst>
                  <a:path w="3" h="6">
                    <a:moveTo>
                      <a:pt x="0" y="1"/>
                    </a:moveTo>
                    <a:lnTo>
                      <a:pt x="0" y="0"/>
                    </a:lnTo>
                    <a:lnTo>
                      <a:pt x="1" y="0"/>
                    </a:lnTo>
                    <a:lnTo>
                      <a:pt x="3" y="0"/>
                    </a:lnTo>
                    <a:lnTo>
                      <a:pt x="3" y="3"/>
                    </a:lnTo>
                    <a:lnTo>
                      <a:pt x="3" y="6"/>
                    </a:lnTo>
                    <a:lnTo>
                      <a:pt x="1" y="6"/>
                    </a:lnTo>
                    <a:lnTo>
                      <a:pt x="0" y="6"/>
                    </a:lnTo>
                    <a:lnTo>
                      <a:pt x="0" y="4"/>
                    </a:lnTo>
                    <a:lnTo>
                      <a:pt x="0" y="1"/>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75" name="Freeform 1774"/>
              <p:cNvSpPr>
                <a:spLocks/>
              </p:cNvSpPr>
              <p:nvPr/>
            </p:nvSpPr>
            <p:spPr bwMode="auto">
              <a:xfrm>
                <a:off x="4653042" y="2826379"/>
                <a:ext cx="2634" cy="6085"/>
              </a:xfrm>
              <a:custGeom>
                <a:avLst/>
                <a:gdLst/>
                <a:ahLst/>
                <a:cxnLst>
                  <a:cxn ang="0">
                    <a:pos x="0" y="1"/>
                  </a:cxn>
                  <a:cxn ang="0">
                    <a:pos x="0" y="0"/>
                  </a:cxn>
                  <a:cxn ang="0">
                    <a:pos x="1" y="0"/>
                  </a:cxn>
                  <a:cxn ang="0">
                    <a:pos x="3" y="0"/>
                  </a:cxn>
                  <a:cxn ang="0">
                    <a:pos x="3" y="3"/>
                  </a:cxn>
                  <a:cxn ang="0">
                    <a:pos x="3" y="6"/>
                  </a:cxn>
                  <a:cxn ang="0">
                    <a:pos x="1" y="6"/>
                  </a:cxn>
                  <a:cxn ang="0">
                    <a:pos x="0" y="6"/>
                  </a:cxn>
                  <a:cxn ang="0">
                    <a:pos x="0" y="4"/>
                  </a:cxn>
                  <a:cxn ang="0">
                    <a:pos x="0" y="1"/>
                  </a:cxn>
                </a:cxnLst>
                <a:rect l="0" t="0" r="r" b="b"/>
                <a:pathLst>
                  <a:path w="3" h="6">
                    <a:moveTo>
                      <a:pt x="0" y="1"/>
                    </a:moveTo>
                    <a:lnTo>
                      <a:pt x="0" y="0"/>
                    </a:lnTo>
                    <a:lnTo>
                      <a:pt x="1" y="0"/>
                    </a:lnTo>
                    <a:lnTo>
                      <a:pt x="3" y="0"/>
                    </a:lnTo>
                    <a:lnTo>
                      <a:pt x="3" y="3"/>
                    </a:lnTo>
                    <a:lnTo>
                      <a:pt x="3" y="6"/>
                    </a:lnTo>
                    <a:lnTo>
                      <a:pt x="1" y="6"/>
                    </a:lnTo>
                    <a:lnTo>
                      <a:pt x="0" y="6"/>
                    </a:lnTo>
                    <a:lnTo>
                      <a:pt x="0" y="4"/>
                    </a:lnTo>
                    <a:lnTo>
                      <a:pt x="0" y="1"/>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76" name="Freeform 1775"/>
              <p:cNvSpPr>
                <a:spLocks/>
              </p:cNvSpPr>
              <p:nvPr/>
            </p:nvSpPr>
            <p:spPr bwMode="auto">
              <a:xfrm>
                <a:off x="4848792" y="2889255"/>
                <a:ext cx="878" cy="4056"/>
              </a:xfrm>
              <a:custGeom>
                <a:avLst/>
                <a:gdLst/>
                <a:ahLst/>
                <a:cxnLst>
                  <a:cxn ang="0">
                    <a:pos x="1" y="0"/>
                  </a:cxn>
                  <a:cxn ang="0">
                    <a:pos x="1" y="0"/>
                  </a:cxn>
                  <a:cxn ang="0">
                    <a:pos x="1" y="3"/>
                  </a:cxn>
                  <a:cxn ang="0">
                    <a:pos x="1" y="3"/>
                  </a:cxn>
                  <a:cxn ang="0">
                    <a:pos x="0" y="4"/>
                  </a:cxn>
                  <a:cxn ang="0">
                    <a:pos x="0" y="3"/>
                  </a:cxn>
                  <a:cxn ang="0">
                    <a:pos x="0" y="1"/>
                  </a:cxn>
                  <a:cxn ang="0">
                    <a:pos x="0" y="1"/>
                  </a:cxn>
                  <a:cxn ang="0">
                    <a:pos x="1" y="0"/>
                  </a:cxn>
                </a:cxnLst>
                <a:rect l="0" t="0" r="r" b="b"/>
                <a:pathLst>
                  <a:path w="1" h="4">
                    <a:moveTo>
                      <a:pt x="1" y="0"/>
                    </a:moveTo>
                    <a:lnTo>
                      <a:pt x="1" y="0"/>
                    </a:lnTo>
                    <a:lnTo>
                      <a:pt x="1" y="3"/>
                    </a:lnTo>
                    <a:lnTo>
                      <a:pt x="1" y="3"/>
                    </a:lnTo>
                    <a:lnTo>
                      <a:pt x="0" y="4"/>
                    </a:lnTo>
                    <a:lnTo>
                      <a:pt x="0" y="3"/>
                    </a:lnTo>
                    <a:lnTo>
                      <a:pt x="0" y="1"/>
                    </a:lnTo>
                    <a:lnTo>
                      <a:pt x="0" y="1"/>
                    </a:lnTo>
                    <a:lnTo>
                      <a:pt x="1"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77" name="Freeform 1776"/>
              <p:cNvSpPr>
                <a:spLocks/>
              </p:cNvSpPr>
              <p:nvPr/>
            </p:nvSpPr>
            <p:spPr bwMode="auto">
              <a:xfrm>
                <a:off x="4848792" y="2889255"/>
                <a:ext cx="878" cy="4056"/>
              </a:xfrm>
              <a:custGeom>
                <a:avLst/>
                <a:gdLst/>
                <a:ahLst/>
                <a:cxnLst>
                  <a:cxn ang="0">
                    <a:pos x="1" y="0"/>
                  </a:cxn>
                  <a:cxn ang="0">
                    <a:pos x="1" y="0"/>
                  </a:cxn>
                  <a:cxn ang="0">
                    <a:pos x="1" y="3"/>
                  </a:cxn>
                  <a:cxn ang="0">
                    <a:pos x="1" y="3"/>
                  </a:cxn>
                  <a:cxn ang="0">
                    <a:pos x="0" y="4"/>
                  </a:cxn>
                  <a:cxn ang="0">
                    <a:pos x="0" y="3"/>
                  </a:cxn>
                  <a:cxn ang="0">
                    <a:pos x="0" y="1"/>
                  </a:cxn>
                  <a:cxn ang="0">
                    <a:pos x="0" y="1"/>
                  </a:cxn>
                  <a:cxn ang="0">
                    <a:pos x="1" y="0"/>
                  </a:cxn>
                </a:cxnLst>
                <a:rect l="0" t="0" r="r" b="b"/>
                <a:pathLst>
                  <a:path w="1" h="4">
                    <a:moveTo>
                      <a:pt x="1" y="0"/>
                    </a:moveTo>
                    <a:lnTo>
                      <a:pt x="1" y="0"/>
                    </a:lnTo>
                    <a:lnTo>
                      <a:pt x="1" y="3"/>
                    </a:lnTo>
                    <a:lnTo>
                      <a:pt x="1" y="3"/>
                    </a:lnTo>
                    <a:lnTo>
                      <a:pt x="0" y="4"/>
                    </a:lnTo>
                    <a:lnTo>
                      <a:pt x="0" y="3"/>
                    </a:lnTo>
                    <a:lnTo>
                      <a:pt x="0" y="1"/>
                    </a:lnTo>
                    <a:lnTo>
                      <a:pt x="0" y="1"/>
                    </a:lnTo>
                    <a:lnTo>
                      <a:pt x="1"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78" name="Freeform 1777"/>
              <p:cNvSpPr>
                <a:spLocks/>
              </p:cNvSpPr>
              <p:nvPr/>
            </p:nvSpPr>
            <p:spPr bwMode="auto">
              <a:xfrm>
                <a:off x="4983095" y="2965315"/>
                <a:ext cx="3511" cy="3043"/>
              </a:xfrm>
              <a:custGeom>
                <a:avLst/>
                <a:gdLst/>
                <a:ahLst/>
                <a:cxnLst>
                  <a:cxn ang="0">
                    <a:pos x="4" y="0"/>
                  </a:cxn>
                  <a:cxn ang="0">
                    <a:pos x="1" y="0"/>
                  </a:cxn>
                  <a:cxn ang="0">
                    <a:pos x="0" y="1"/>
                  </a:cxn>
                  <a:cxn ang="0">
                    <a:pos x="0" y="3"/>
                  </a:cxn>
                  <a:cxn ang="0">
                    <a:pos x="3" y="1"/>
                  </a:cxn>
                  <a:cxn ang="0">
                    <a:pos x="4" y="0"/>
                  </a:cxn>
                </a:cxnLst>
                <a:rect l="0" t="0" r="r" b="b"/>
                <a:pathLst>
                  <a:path w="4" h="3">
                    <a:moveTo>
                      <a:pt x="4" y="0"/>
                    </a:moveTo>
                    <a:lnTo>
                      <a:pt x="1" y="0"/>
                    </a:lnTo>
                    <a:lnTo>
                      <a:pt x="0" y="1"/>
                    </a:lnTo>
                    <a:lnTo>
                      <a:pt x="0" y="3"/>
                    </a:lnTo>
                    <a:lnTo>
                      <a:pt x="3" y="1"/>
                    </a:lnTo>
                    <a:lnTo>
                      <a:pt x="4"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79" name="Freeform 1778"/>
              <p:cNvSpPr>
                <a:spLocks/>
              </p:cNvSpPr>
              <p:nvPr/>
            </p:nvSpPr>
            <p:spPr bwMode="auto">
              <a:xfrm>
                <a:off x="4983095" y="2965315"/>
                <a:ext cx="3511" cy="3043"/>
              </a:xfrm>
              <a:custGeom>
                <a:avLst/>
                <a:gdLst/>
                <a:ahLst/>
                <a:cxnLst>
                  <a:cxn ang="0">
                    <a:pos x="4" y="0"/>
                  </a:cxn>
                  <a:cxn ang="0">
                    <a:pos x="1" y="0"/>
                  </a:cxn>
                  <a:cxn ang="0">
                    <a:pos x="0" y="1"/>
                  </a:cxn>
                  <a:cxn ang="0">
                    <a:pos x="0" y="3"/>
                  </a:cxn>
                  <a:cxn ang="0">
                    <a:pos x="3" y="1"/>
                  </a:cxn>
                  <a:cxn ang="0">
                    <a:pos x="4" y="0"/>
                  </a:cxn>
                </a:cxnLst>
                <a:rect l="0" t="0" r="r" b="b"/>
                <a:pathLst>
                  <a:path w="4" h="3">
                    <a:moveTo>
                      <a:pt x="4" y="0"/>
                    </a:moveTo>
                    <a:lnTo>
                      <a:pt x="1" y="0"/>
                    </a:lnTo>
                    <a:lnTo>
                      <a:pt x="0" y="1"/>
                    </a:lnTo>
                    <a:lnTo>
                      <a:pt x="0" y="3"/>
                    </a:lnTo>
                    <a:lnTo>
                      <a:pt x="3" y="1"/>
                    </a:lnTo>
                    <a:lnTo>
                      <a:pt x="4"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80" name="Freeform 1779"/>
              <p:cNvSpPr>
                <a:spLocks/>
              </p:cNvSpPr>
              <p:nvPr/>
            </p:nvSpPr>
            <p:spPr bwMode="auto">
              <a:xfrm>
                <a:off x="5087554" y="2863902"/>
                <a:ext cx="14922" cy="5071"/>
              </a:xfrm>
              <a:custGeom>
                <a:avLst/>
                <a:gdLst/>
                <a:ahLst/>
                <a:cxnLst>
                  <a:cxn ang="0">
                    <a:pos x="13" y="0"/>
                  </a:cxn>
                  <a:cxn ang="0">
                    <a:pos x="13" y="0"/>
                  </a:cxn>
                  <a:cxn ang="0">
                    <a:pos x="13" y="2"/>
                  </a:cxn>
                  <a:cxn ang="0">
                    <a:pos x="13" y="2"/>
                  </a:cxn>
                  <a:cxn ang="0">
                    <a:pos x="15" y="3"/>
                  </a:cxn>
                  <a:cxn ang="0">
                    <a:pos x="16" y="5"/>
                  </a:cxn>
                  <a:cxn ang="0">
                    <a:pos x="15" y="3"/>
                  </a:cxn>
                  <a:cxn ang="0">
                    <a:pos x="13" y="3"/>
                  </a:cxn>
                  <a:cxn ang="0">
                    <a:pos x="5" y="5"/>
                  </a:cxn>
                  <a:cxn ang="0">
                    <a:pos x="2" y="5"/>
                  </a:cxn>
                  <a:cxn ang="0">
                    <a:pos x="0" y="3"/>
                  </a:cxn>
                  <a:cxn ang="0">
                    <a:pos x="5" y="2"/>
                  </a:cxn>
                  <a:cxn ang="0">
                    <a:pos x="11" y="0"/>
                  </a:cxn>
                  <a:cxn ang="0">
                    <a:pos x="12" y="0"/>
                  </a:cxn>
                  <a:cxn ang="0">
                    <a:pos x="13" y="0"/>
                  </a:cxn>
                </a:cxnLst>
                <a:rect l="0" t="0" r="r" b="b"/>
                <a:pathLst>
                  <a:path w="16" h="5">
                    <a:moveTo>
                      <a:pt x="13" y="0"/>
                    </a:moveTo>
                    <a:lnTo>
                      <a:pt x="13" y="0"/>
                    </a:lnTo>
                    <a:lnTo>
                      <a:pt x="13" y="2"/>
                    </a:lnTo>
                    <a:lnTo>
                      <a:pt x="13" y="2"/>
                    </a:lnTo>
                    <a:lnTo>
                      <a:pt x="15" y="3"/>
                    </a:lnTo>
                    <a:lnTo>
                      <a:pt x="16" y="5"/>
                    </a:lnTo>
                    <a:lnTo>
                      <a:pt x="15" y="3"/>
                    </a:lnTo>
                    <a:lnTo>
                      <a:pt x="13" y="3"/>
                    </a:lnTo>
                    <a:lnTo>
                      <a:pt x="5" y="5"/>
                    </a:lnTo>
                    <a:lnTo>
                      <a:pt x="2" y="5"/>
                    </a:lnTo>
                    <a:lnTo>
                      <a:pt x="0" y="3"/>
                    </a:lnTo>
                    <a:lnTo>
                      <a:pt x="5" y="2"/>
                    </a:lnTo>
                    <a:lnTo>
                      <a:pt x="11" y="0"/>
                    </a:lnTo>
                    <a:lnTo>
                      <a:pt x="12" y="0"/>
                    </a:lnTo>
                    <a:lnTo>
                      <a:pt x="13"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81" name="Freeform 1780"/>
              <p:cNvSpPr>
                <a:spLocks/>
              </p:cNvSpPr>
              <p:nvPr/>
            </p:nvSpPr>
            <p:spPr bwMode="auto">
              <a:xfrm>
                <a:off x="5087554" y="2863902"/>
                <a:ext cx="14922" cy="5071"/>
              </a:xfrm>
              <a:custGeom>
                <a:avLst/>
                <a:gdLst/>
                <a:ahLst/>
                <a:cxnLst>
                  <a:cxn ang="0">
                    <a:pos x="13" y="0"/>
                  </a:cxn>
                  <a:cxn ang="0">
                    <a:pos x="13" y="0"/>
                  </a:cxn>
                  <a:cxn ang="0">
                    <a:pos x="13" y="2"/>
                  </a:cxn>
                  <a:cxn ang="0">
                    <a:pos x="13" y="2"/>
                  </a:cxn>
                  <a:cxn ang="0">
                    <a:pos x="15" y="3"/>
                  </a:cxn>
                  <a:cxn ang="0">
                    <a:pos x="16" y="5"/>
                  </a:cxn>
                  <a:cxn ang="0">
                    <a:pos x="15" y="3"/>
                  </a:cxn>
                  <a:cxn ang="0">
                    <a:pos x="13" y="3"/>
                  </a:cxn>
                  <a:cxn ang="0">
                    <a:pos x="5" y="5"/>
                  </a:cxn>
                  <a:cxn ang="0">
                    <a:pos x="2" y="5"/>
                  </a:cxn>
                  <a:cxn ang="0">
                    <a:pos x="0" y="3"/>
                  </a:cxn>
                  <a:cxn ang="0">
                    <a:pos x="5" y="2"/>
                  </a:cxn>
                  <a:cxn ang="0">
                    <a:pos x="11" y="0"/>
                  </a:cxn>
                  <a:cxn ang="0">
                    <a:pos x="12" y="0"/>
                  </a:cxn>
                  <a:cxn ang="0">
                    <a:pos x="13" y="0"/>
                  </a:cxn>
                </a:cxnLst>
                <a:rect l="0" t="0" r="r" b="b"/>
                <a:pathLst>
                  <a:path w="16" h="5">
                    <a:moveTo>
                      <a:pt x="13" y="0"/>
                    </a:moveTo>
                    <a:lnTo>
                      <a:pt x="13" y="0"/>
                    </a:lnTo>
                    <a:lnTo>
                      <a:pt x="13" y="2"/>
                    </a:lnTo>
                    <a:lnTo>
                      <a:pt x="13" y="2"/>
                    </a:lnTo>
                    <a:lnTo>
                      <a:pt x="15" y="3"/>
                    </a:lnTo>
                    <a:lnTo>
                      <a:pt x="16" y="5"/>
                    </a:lnTo>
                    <a:lnTo>
                      <a:pt x="15" y="3"/>
                    </a:lnTo>
                    <a:lnTo>
                      <a:pt x="13" y="3"/>
                    </a:lnTo>
                    <a:lnTo>
                      <a:pt x="5" y="5"/>
                    </a:lnTo>
                    <a:lnTo>
                      <a:pt x="2" y="5"/>
                    </a:lnTo>
                    <a:lnTo>
                      <a:pt x="0" y="3"/>
                    </a:lnTo>
                    <a:lnTo>
                      <a:pt x="5" y="2"/>
                    </a:lnTo>
                    <a:lnTo>
                      <a:pt x="11" y="0"/>
                    </a:lnTo>
                    <a:lnTo>
                      <a:pt x="12" y="0"/>
                    </a:lnTo>
                    <a:lnTo>
                      <a:pt x="13"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82" name="Freeform 1781"/>
              <p:cNvSpPr>
                <a:spLocks/>
              </p:cNvSpPr>
              <p:nvPr/>
            </p:nvSpPr>
            <p:spPr bwMode="auto">
              <a:xfrm>
                <a:off x="5109499" y="2868973"/>
                <a:ext cx="3511" cy="10141"/>
              </a:xfrm>
              <a:custGeom>
                <a:avLst/>
                <a:gdLst/>
                <a:ahLst/>
                <a:cxnLst>
                  <a:cxn ang="0">
                    <a:pos x="3" y="4"/>
                  </a:cxn>
                  <a:cxn ang="0">
                    <a:pos x="4" y="0"/>
                  </a:cxn>
                  <a:cxn ang="0">
                    <a:pos x="4" y="3"/>
                  </a:cxn>
                  <a:cxn ang="0">
                    <a:pos x="1" y="10"/>
                  </a:cxn>
                  <a:cxn ang="0">
                    <a:pos x="0" y="7"/>
                  </a:cxn>
                  <a:cxn ang="0">
                    <a:pos x="1" y="7"/>
                  </a:cxn>
                  <a:cxn ang="0">
                    <a:pos x="1" y="5"/>
                  </a:cxn>
                  <a:cxn ang="0">
                    <a:pos x="1" y="4"/>
                  </a:cxn>
                  <a:cxn ang="0">
                    <a:pos x="1" y="0"/>
                  </a:cxn>
                  <a:cxn ang="0">
                    <a:pos x="3" y="0"/>
                  </a:cxn>
                  <a:cxn ang="0">
                    <a:pos x="3" y="1"/>
                  </a:cxn>
                  <a:cxn ang="0">
                    <a:pos x="3" y="4"/>
                  </a:cxn>
                </a:cxnLst>
                <a:rect l="0" t="0" r="r" b="b"/>
                <a:pathLst>
                  <a:path w="4" h="10">
                    <a:moveTo>
                      <a:pt x="3" y="4"/>
                    </a:moveTo>
                    <a:lnTo>
                      <a:pt x="4" y="0"/>
                    </a:lnTo>
                    <a:lnTo>
                      <a:pt x="4" y="3"/>
                    </a:lnTo>
                    <a:lnTo>
                      <a:pt x="1" y="10"/>
                    </a:lnTo>
                    <a:lnTo>
                      <a:pt x="0" y="7"/>
                    </a:lnTo>
                    <a:lnTo>
                      <a:pt x="1" y="7"/>
                    </a:lnTo>
                    <a:lnTo>
                      <a:pt x="1" y="5"/>
                    </a:lnTo>
                    <a:lnTo>
                      <a:pt x="1" y="4"/>
                    </a:lnTo>
                    <a:lnTo>
                      <a:pt x="1" y="0"/>
                    </a:lnTo>
                    <a:lnTo>
                      <a:pt x="3" y="0"/>
                    </a:lnTo>
                    <a:lnTo>
                      <a:pt x="3" y="1"/>
                    </a:lnTo>
                    <a:lnTo>
                      <a:pt x="3" y="4"/>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83" name="Freeform 1782"/>
              <p:cNvSpPr>
                <a:spLocks/>
              </p:cNvSpPr>
              <p:nvPr/>
            </p:nvSpPr>
            <p:spPr bwMode="auto">
              <a:xfrm>
                <a:off x="5109499" y="2868973"/>
                <a:ext cx="3511" cy="10141"/>
              </a:xfrm>
              <a:custGeom>
                <a:avLst/>
                <a:gdLst/>
                <a:ahLst/>
                <a:cxnLst>
                  <a:cxn ang="0">
                    <a:pos x="3" y="4"/>
                  </a:cxn>
                  <a:cxn ang="0">
                    <a:pos x="4" y="0"/>
                  </a:cxn>
                  <a:cxn ang="0">
                    <a:pos x="4" y="3"/>
                  </a:cxn>
                  <a:cxn ang="0">
                    <a:pos x="1" y="10"/>
                  </a:cxn>
                  <a:cxn ang="0">
                    <a:pos x="0" y="7"/>
                  </a:cxn>
                  <a:cxn ang="0">
                    <a:pos x="1" y="7"/>
                  </a:cxn>
                  <a:cxn ang="0">
                    <a:pos x="1" y="5"/>
                  </a:cxn>
                  <a:cxn ang="0">
                    <a:pos x="1" y="4"/>
                  </a:cxn>
                  <a:cxn ang="0">
                    <a:pos x="1" y="0"/>
                  </a:cxn>
                  <a:cxn ang="0">
                    <a:pos x="3" y="0"/>
                  </a:cxn>
                  <a:cxn ang="0">
                    <a:pos x="3" y="1"/>
                  </a:cxn>
                  <a:cxn ang="0">
                    <a:pos x="3" y="4"/>
                  </a:cxn>
                </a:cxnLst>
                <a:rect l="0" t="0" r="r" b="b"/>
                <a:pathLst>
                  <a:path w="4" h="10">
                    <a:moveTo>
                      <a:pt x="3" y="4"/>
                    </a:moveTo>
                    <a:lnTo>
                      <a:pt x="4" y="0"/>
                    </a:lnTo>
                    <a:lnTo>
                      <a:pt x="4" y="3"/>
                    </a:lnTo>
                    <a:lnTo>
                      <a:pt x="1" y="10"/>
                    </a:lnTo>
                    <a:lnTo>
                      <a:pt x="0" y="7"/>
                    </a:lnTo>
                    <a:lnTo>
                      <a:pt x="1" y="7"/>
                    </a:lnTo>
                    <a:lnTo>
                      <a:pt x="1" y="5"/>
                    </a:lnTo>
                    <a:lnTo>
                      <a:pt x="1" y="4"/>
                    </a:lnTo>
                    <a:lnTo>
                      <a:pt x="1" y="0"/>
                    </a:lnTo>
                    <a:lnTo>
                      <a:pt x="3" y="0"/>
                    </a:lnTo>
                    <a:lnTo>
                      <a:pt x="3" y="1"/>
                    </a:lnTo>
                    <a:lnTo>
                      <a:pt x="3" y="4"/>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84" name="Freeform 1783"/>
              <p:cNvSpPr>
                <a:spLocks/>
              </p:cNvSpPr>
              <p:nvPr/>
            </p:nvSpPr>
            <p:spPr bwMode="auto">
              <a:xfrm>
                <a:off x="5106865" y="2892298"/>
                <a:ext cx="3511" cy="1015"/>
              </a:xfrm>
              <a:custGeom>
                <a:avLst/>
                <a:gdLst/>
                <a:ahLst/>
                <a:cxnLst>
                  <a:cxn ang="0">
                    <a:pos x="3" y="1"/>
                  </a:cxn>
                  <a:cxn ang="0">
                    <a:pos x="4" y="0"/>
                  </a:cxn>
                  <a:cxn ang="0">
                    <a:pos x="4" y="0"/>
                  </a:cxn>
                  <a:cxn ang="0">
                    <a:pos x="0" y="0"/>
                  </a:cxn>
                  <a:cxn ang="0">
                    <a:pos x="0" y="1"/>
                  </a:cxn>
                  <a:cxn ang="0">
                    <a:pos x="3" y="1"/>
                  </a:cxn>
                </a:cxnLst>
                <a:rect l="0" t="0" r="r" b="b"/>
                <a:pathLst>
                  <a:path w="4" h="1">
                    <a:moveTo>
                      <a:pt x="3" y="1"/>
                    </a:moveTo>
                    <a:lnTo>
                      <a:pt x="4" y="0"/>
                    </a:lnTo>
                    <a:lnTo>
                      <a:pt x="4" y="0"/>
                    </a:lnTo>
                    <a:lnTo>
                      <a:pt x="0" y="0"/>
                    </a:lnTo>
                    <a:lnTo>
                      <a:pt x="0" y="1"/>
                    </a:lnTo>
                    <a:lnTo>
                      <a:pt x="3"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85" name="Freeform 1784"/>
              <p:cNvSpPr>
                <a:spLocks/>
              </p:cNvSpPr>
              <p:nvPr/>
            </p:nvSpPr>
            <p:spPr bwMode="auto">
              <a:xfrm>
                <a:off x="5106865" y="2892298"/>
                <a:ext cx="3511" cy="1015"/>
              </a:xfrm>
              <a:custGeom>
                <a:avLst/>
                <a:gdLst/>
                <a:ahLst/>
                <a:cxnLst>
                  <a:cxn ang="0">
                    <a:pos x="3" y="1"/>
                  </a:cxn>
                  <a:cxn ang="0">
                    <a:pos x="4" y="0"/>
                  </a:cxn>
                  <a:cxn ang="0">
                    <a:pos x="4" y="0"/>
                  </a:cxn>
                  <a:cxn ang="0">
                    <a:pos x="0" y="0"/>
                  </a:cxn>
                  <a:cxn ang="0">
                    <a:pos x="0" y="1"/>
                  </a:cxn>
                  <a:cxn ang="0">
                    <a:pos x="3" y="1"/>
                  </a:cxn>
                </a:cxnLst>
                <a:rect l="0" t="0" r="r" b="b"/>
                <a:pathLst>
                  <a:path w="4" h="1">
                    <a:moveTo>
                      <a:pt x="3" y="1"/>
                    </a:moveTo>
                    <a:lnTo>
                      <a:pt x="4" y="0"/>
                    </a:lnTo>
                    <a:lnTo>
                      <a:pt x="4" y="0"/>
                    </a:lnTo>
                    <a:lnTo>
                      <a:pt x="0" y="0"/>
                    </a:lnTo>
                    <a:lnTo>
                      <a:pt x="0" y="1"/>
                    </a:lnTo>
                    <a:lnTo>
                      <a:pt x="3"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86" name="Freeform 1785"/>
              <p:cNvSpPr>
                <a:spLocks/>
              </p:cNvSpPr>
              <p:nvPr/>
            </p:nvSpPr>
            <p:spPr bwMode="auto">
              <a:xfrm>
                <a:off x="5096332" y="2890269"/>
                <a:ext cx="6144" cy="15212"/>
              </a:xfrm>
              <a:custGeom>
                <a:avLst/>
                <a:gdLst/>
                <a:ahLst/>
                <a:cxnLst>
                  <a:cxn ang="0">
                    <a:pos x="4" y="2"/>
                  </a:cxn>
                  <a:cxn ang="0">
                    <a:pos x="4" y="2"/>
                  </a:cxn>
                  <a:cxn ang="0">
                    <a:pos x="6" y="3"/>
                  </a:cxn>
                  <a:cxn ang="0">
                    <a:pos x="7" y="8"/>
                  </a:cxn>
                  <a:cxn ang="0">
                    <a:pos x="7" y="11"/>
                  </a:cxn>
                  <a:cxn ang="0">
                    <a:pos x="7" y="12"/>
                  </a:cxn>
                  <a:cxn ang="0">
                    <a:pos x="6" y="14"/>
                  </a:cxn>
                  <a:cxn ang="0">
                    <a:pos x="4" y="14"/>
                  </a:cxn>
                  <a:cxn ang="0">
                    <a:pos x="3" y="11"/>
                  </a:cxn>
                  <a:cxn ang="0">
                    <a:pos x="0" y="9"/>
                  </a:cxn>
                  <a:cxn ang="0">
                    <a:pos x="0" y="8"/>
                  </a:cxn>
                  <a:cxn ang="0">
                    <a:pos x="2" y="2"/>
                  </a:cxn>
                  <a:cxn ang="0">
                    <a:pos x="2" y="0"/>
                  </a:cxn>
                  <a:cxn ang="0">
                    <a:pos x="3" y="0"/>
                  </a:cxn>
                  <a:cxn ang="0">
                    <a:pos x="4" y="2"/>
                  </a:cxn>
                </a:cxnLst>
                <a:rect l="0" t="0" r="r" b="b"/>
                <a:pathLst>
                  <a:path w="7" h="14">
                    <a:moveTo>
                      <a:pt x="4" y="2"/>
                    </a:moveTo>
                    <a:lnTo>
                      <a:pt x="4" y="2"/>
                    </a:lnTo>
                    <a:lnTo>
                      <a:pt x="6" y="3"/>
                    </a:lnTo>
                    <a:lnTo>
                      <a:pt x="7" y="8"/>
                    </a:lnTo>
                    <a:lnTo>
                      <a:pt x="7" y="11"/>
                    </a:lnTo>
                    <a:lnTo>
                      <a:pt x="7" y="12"/>
                    </a:lnTo>
                    <a:lnTo>
                      <a:pt x="6" y="14"/>
                    </a:lnTo>
                    <a:lnTo>
                      <a:pt x="4" y="14"/>
                    </a:lnTo>
                    <a:lnTo>
                      <a:pt x="3" y="11"/>
                    </a:lnTo>
                    <a:lnTo>
                      <a:pt x="0" y="9"/>
                    </a:lnTo>
                    <a:lnTo>
                      <a:pt x="0" y="8"/>
                    </a:lnTo>
                    <a:lnTo>
                      <a:pt x="2" y="2"/>
                    </a:lnTo>
                    <a:lnTo>
                      <a:pt x="2" y="0"/>
                    </a:lnTo>
                    <a:lnTo>
                      <a:pt x="3" y="0"/>
                    </a:lnTo>
                    <a:lnTo>
                      <a:pt x="4" y="2"/>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87" name="Freeform 1786"/>
              <p:cNvSpPr>
                <a:spLocks/>
              </p:cNvSpPr>
              <p:nvPr/>
            </p:nvSpPr>
            <p:spPr bwMode="auto">
              <a:xfrm>
                <a:off x="5096332" y="2890269"/>
                <a:ext cx="6144" cy="15212"/>
              </a:xfrm>
              <a:custGeom>
                <a:avLst/>
                <a:gdLst/>
                <a:ahLst/>
                <a:cxnLst>
                  <a:cxn ang="0">
                    <a:pos x="4" y="2"/>
                  </a:cxn>
                  <a:cxn ang="0">
                    <a:pos x="4" y="2"/>
                  </a:cxn>
                  <a:cxn ang="0">
                    <a:pos x="6" y="3"/>
                  </a:cxn>
                  <a:cxn ang="0">
                    <a:pos x="7" y="8"/>
                  </a:cxn>
                  <a:cxn ang="0">
                    <a:pos x="7" y="11"/>
                  </a:cxn>
                  <a:cxn ang="0">
                    <a:pos x="7" y="12"/>
                  </a:cxn>
                  <a:cxn ang="0">
                    <a:pos x="6" y="14"/>
                  </a:cxn>
                  <a:cxn ang="0">
                    <a:pos x="4" y="14"/>
                  </a:cxn>
                  <a:cxn ang="0">
                    <a:pos x="3" y="11"/>
                  </a:cxn>
                  <a:cxn ang="0">
                    <a:pos x="0" y="9"/>
                  </a:cxn>
                  <a:cxn ang="0">
                    <a:pos x="0" y="8"/>
                  </a:cxn>
                  <a:cxn ang="0">
                    <a:pos x="2" y="2"/>
                  </a:cxn>
                  <a:cxn ang="0">
                    <a:pos x="2" y="0"/>
                  </a:cxn>
                  <a:cxn ang="0">
                    <a:pos x="3" y="0"/>
                  </a:cxn>
                  <a:cxn ang="0">
                    <a:pos x="4" y="2"/>
                  </a:cxn>
                </a:cxnLst>
                <a:rect l="0" t="0" r="r" b="b"/>
                <a:pathLst>
                  <a:path w="7" h="14">
                    <a:moveTo>
                      <a:pt x="4" y="2"/>
                    </a:moveTo>
                    <a:lnTo>
                      <a:pt x="4" y="2"/>
                    </a:lnTo>
                    <a:lnTo>
                      <a:pt x="6" y="3"/>
                    </a:lnTo>
                    <a:lnTo>
                      <a:pt x="7" y="8"/>
                    </a:lnTo>
                    <a:lnTo>
                      <a:pt x="7" y="11"/>
                    </a:lnTo>
                    <a:lnTo>
                      <a:pt x="7" y="12"/>
                    </a:lnTo>
                    <a:lnTo>
                      <a:pt x="6" y="14"/>
                    </a:lnTo>
                    <a:lnTo>
                      <a:pt x="4" y="14"/>
                    </a:lnTo>
                    <a:lnTo>
                      <a:pt x="3" y="11"/>
                    </a:lnTo>
                    <a:lnTo>
                      <a:pt x="0" y="9"/>
                    </a:lnTo>
                    <a:lnTo>
                      <a:pt x="0" y="8"/>
                    </a:lnTo>
                    <a:lnTo>
                      <a:pt x="2" y="2"/>
                    </a:lnTo>
                    <a:lnTo>
                      <a:pt x="2" y="0"/>
                    </a:lnTo>
                    <a:lnTo>
                      <a:pt x="3" y="0"/>
                    </a:lnTo>
                    <a:lnTo>
                      <a:pt x="4" y="2"/>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88" name="Freeform 1787"/>
              <p:cNvSpPr>
                <a:spLocks/>
              </p:cNvSpPr>
              <p:nvPr/>
            </p:nvSpPr>
            <p:spPr bwMode="auto">
              <a:xfrm>
                <a:off x="5104232" y="2906495"/>
                <a:ext cx="2634" cy="7099"/>
              </a:xfrm>
              <a:custGeom>
                <a:avLst/>
                <a:gdLst/>
                <a:ahLst/>
                <a:cxnLst>
                  <a:cxn ang="0">
                    <a:pos x="0" y="4"/>
                  </a:cxn>
                  <a:cxn ang="0">
                    <a:pos x="1" y="0"/>
                  </a:cxn>
                  <a:cxn ang="0">
                    <a:pos x="3" y="6"/>
                  </a:cxn>
                  <a:cxn ang="0">
                    <a:pos x="1" y="7"/>
                  </a:cxn>
                  <a:cxn ang="0">
                    <a:pos x="0" y="6"/>
                  </a:cxn>
                  <a:cxn ang="0">
                    <a:pos x="0" y="4"/>
                  </a:cxn>
                </a:cxnLst>
                <a:rect l="0" t="0" r="r" b="b"/>
                <a:pathLst>
                  <a:path w="3" h="7">
                    <a:moveTo>
                      <a:pt x="0" y="4"/>
                    </a:moveTo>
                    <a:lnTo>
                      <a:pt x="1" y="0"/>
                    </a:lnTo>
                    <a:lnTo>
                      <a:pt x="3" y="6"/>
                    </a:lnTo>
                    <a:lnTo>
                      <a:pt x="1" y="7"/>
                    </a:lnTo>
                    <a:lnTo>
                      <a:pt x="0" y="6"/>
                    </a:lnTo>
                    <a:lnTo>
                      <a:pt x="0" y="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89" name="Freeform 1788"/>
              <p:cNvSpPr>
                <a:spLocks/>
              </p:cNvSpPr>
              <p:nvPr/>
            </p:nvSpPr>
            <p:spPr bwMode="auto">
              <a:xfrm>
                <a:off x="5104232" y="2906495"/>
                <a:ext cx="2634" cy="7099"/>
              </a:xfrm>
              <a:custGeom>
                <a:avLst/>
                <a:gdLst/>
                <a:ahLst/>
                <a:cxnLst>
                  <a:cxn ang="0">
                    <a:pos x="0" y="4"/>
                  </a:cxn>
                  <a:cxn ang="0">
                    <a:pos x="1" y="0"/>
                  </a:cxn>
                  <a:cxn ang="0">
                    <a:pos x="3" y="6"/>
                  </a:cxn>
                  <a:cxn ang="0">
                    <a:pos x="1" y="7"/>
                  </a:cxn>
                  <a:cxn ang="0">
                    <a:pos x="0" y="6"/>
                  </a:cxn>
                  <a:cxn ang="0">
                    <a:pos x="0" y="4"/>
                  </a:cxn>
                </a:cxnLst>
                <a:rect l="0" t="0" r="r" b="b"/>
                <a:pathLst>
                  <a:path w="3" h="7">
                    <a:moveTo>
                      <a:pt x="0" y="4"/>
                    </a:moveTo>
                    <a:lnTo>
                      <a:pt x="1" y="0"/>
                    </a:lnTo>
                    <a:lnTo>
                      <a:pt x="3" y="6"/>
                    </a:lnTo>
                    <a:lnTo>
                      <a:pt x="1" y="7"/>
                    </a:lnTo>
                    <a:lnTo>
                      <a:pt x="0" y="6"/>
                    </a:lnTo>
                    <a:lnTo>
                      <a:pt x="0" y="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90" name="Freeform 1789"/>
              <p:cNvSpPr>
                <a:spLocks/>
              </p:cNvSpPr>
              <p:nvPr/>
            </p:nvSpPr>
            <p:spPr bwMode="auto">
              <a:xfrm>
                <a:off x="5122666" y="2889255"/>
                <a:ext cx="1756" cy="10141"/>
              </a:xfrm>
              <a:custGeom>
                <a:avLst/>
                <a:gdLst/>
                <a:ahLst/>
                <a:cxnLst>
                  <a:cxn ang="0">
                    <a:pos x="2" y="1"/>
                  </a:cxn>
                  <a:cxn ang="0">
                    <a:pos x="2" y="0"/>
                  </a:cxn>
                  <a:cxn ang="0">
                    <a:pos x="2" y="3"/>
                  </a:cxn>
                  <a:cxn ang="0">
                    <a:pos x="2" y="9"/>
                  </a:cxn>
                  <a:cxn ang="0">
                    <a:pos x="0" y="7"/>
                  </a:cxn>
                  <a:cxn ang="0">
                    <a:pos x="0" y="6"/>
                  </a:cxn>
                  <a:cxn ang="0">
                    <a:pos x="2" y="4"/>
                  </a:cxn>
                  <a:cxn ang="0">
                    <a:pos x="2" y="1"/>
                  </a:cxn>
                </a:cxnLst>
                <a:rect l="0" t="0" r="r" b="b"/>
                <a:pathLst>
                  <a:path w="2" h="9">
                    <a:moveTo>
                      <a:pt x="2" y="1"/>
                    </a:moveTo>
                    <a:lnTo>
                      <a:pt x="2" y="0"/>
                    </a:lnTo>
                    <a:lnTo>
                      <a:pt x="2" y="3"/>
                    </a:lnTo>
                    <a:lnTo>
                      <a:pt x="2" y="9"/>
                    </a:lnTo>
                    <a:lnTo>
                      <a:pt x="0" y="7"/>
                    </a:lnTo>
                    <a:lnTo>
                      <a:pt x="0" y="6"/>
                    </a:lnTo>
                    <a:lnTo>
                      <a:pt x="2" y="4"/>
                    </a:lnTo>
                    <a:lnTo>
                      <a:pt x="2" y="1"/>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91" name="Freeform 1790"/>
              <p:cNvSpPr>
                <a:spLocks/>
              </p:cNvSpPr>
              <p:nvPr/>
            </p:nvSpPr>
            <p:spPr bwMode="auto">
              <a:xfrm>
                <a:off x="5122666" y="2889255"/>
                <a:ext cx="1756" cy="10141"/>
              </a:xfrm>
              <a:custGeom>
                <a:avLst/>
                <a:gdLst/>
                <a:ahLst/>
                <a:cxnLst>
                  <a:cxn ang="0">
                    <a:pos x="2" y="1"/>
                  </a:cxn>
                  <a:cxn ang="0">
                    <a:pos x="2" y="0"/>
                  </a:cxn>
                  <a:cxn ang="0">
                    <a:pos x="2" y="3"/>
                  </a:cxn>
                  <a:cxn ang="0">
                    <a:pos x="2" y="9"/>
                  </a:cxn>
                  <a:cxn ang="0">
                    <a:pos x="0" y="7"/>
                  </a:cxn>
                  <a:cxn ang="0">
                    <a:pos x="0" y="6"/>
                  </a:cxn>
                  <a:cxn ang="0">
                    <a:pos x="2" y="4"/>
                  </a:cxn>
                  <a:cxn ang="0">
                    <a:pos x="2" y="1"/>
                  </a:cxn>
                </a:cxnLst>
                <a:rect l="0" t="0" r="r" b="b"/>
                <a:pathLst>
                  <a:path w="2" h="9">
                    <a:moveTo>
                      <a:pt x="2" y="1"/>
                    </a:moveTo>
                    <a:lnTo>
                      <a:pt x="2" y="0"/>
                    </a:lnTo>
                    <a:lnTo>
                      <a:pt x="2" y="3"/>
                    </a:lnTo>
                    <a:lnTo>
                      <a:pt x="2" y="9"/>
                    </a:lnTo>
                    <a:lnTo>
                      <a:pt x="0" y="7"/>
                    </a:lnTo>
                    <a:lnTo>
                      <a:pt x="0" y="6"/>
                    </a:lnTo>
                    <a:lnTo>
                      <a:pt x="2" y="4"/>
                    </a:lnTo>
                    <a:lnTo>
                      <a:pt x="2" y="1"/>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92" name="Freeform 1791"/>
              <p:cNvSpPr>
                <a:spLocks/>
              </p:cNvSpPr>
              <p:nvPr/>
            </p:nvSpPr>
            <p:spPr bwMode="auto">
              <a:xfrm>
                <a:off x="5128810" y="2899397"/>
                <a:ext cx="7901" cy="8113"/>
              </a:xfrm>
              <a:custGeom>
                <a:avLst/>
                <a:gdLst/>
                <a:ahLst/>
                <a:cxnLst>
                  <a:cxn ang="0">
                    <a:pos x="6" y="6"/>
                  </a:cxn>
                  <a:cxn ang="0">
                    <a:pos x="8" y="6"/>
                  </a:cxn>
                  <a:cxn ang="0">
                    <a:pos x="8" y="8"/>
                  </a:cxn>
                  <a:cxn ang="0">
                    <a:pos x="6" y="8"/>
                  </a:cxn>
                  <a:cxn ang="0">
                    <a:pos x="5" y="8"/>
                  </a:cxn>
                  <a:cxn ang="0">
                    <a:pos x="6" y="6"/>
                  </a:cxn>
                  <a:cxn ang="0">
                    <a:pos x="0" y="0"/>
                  </a:cxn>
                  <a:cxn ang="0">
                    <a:pos x="2" y="0"/>
                  </a:cxn>
                  <a:cxn ang="0">
                    <a:pos x="6" y="6"/>
                  </a:cxn>
                </a:cxnLst>
                <a:rect l="0" t="0" r="r" b="b"/>
                <a:pathLst>
                  <a:path w="8" h="8">
                    <a:moveTo>
                      <a:pt x="6" y="6"/>
                    </a:moveTo>
                    <a:lnTo>
                      <a:pt x="8" y="6"/>
                    </a:lnTo>
                    <a:lnTo>
                      <a:pt x="8" y="8"/>
                    </a:lnTo>
                    <a:lnTo>
                      <a:pt x="6" y="8"/>
                    </a:lnTo>
                    <a:lnTo>
                      <a:pt x="5" y="8"/>
                    </a:lnTo>
                    <a:lnTo>
                      <a:pt x="6" y="6"/>
                    </a:lnTo>
                    <a:lnTo>
                      <a:pt x="0" y="0"/>
                    </a:lnTo>
                    <a:lnTo>
                      <a:pt x="2" y="0"/>
                    </a:lnTo>
                    <a:lnTo>
                      <a:pt x="6" y="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93" name="Freeform 1792"/>
              <p:cNvSpPr>
                <a:spLocks/>
              </p:cNvSpPr>
              <p:nvPr/>
            </p:nvSpPr>
            <p:spPr bwMode="auto">
              <a:xfrm>
                <a:off x="5128810" y="2899397"/>
                <a:ext cx="7901" cy="8113"/>
              </a:xfrm>
              <a:custGeom>
                <a:avLst/>
                <a:gdLst/>
                <a:ahLst/>
                <a:cxnLst>
                  <a:cxn ang="0">
                    <a:pos x="6" y="6"/>
                  </a:cxn>
                  <a:cxn ang="0">
                    <a:pos x="8" y="6"/>
                  </a:cxn>
                  <a:cxn ang="0">
                    <a:pos x="8" y="8"/>
                  </a:cxn>
                  <a:cxn ang="0">
                    <a:pos x="6" y="8"/>
                  </a:cxn>
                  <a:cxn ang="0">
                    <a:pos x="5" y="8"/>
                  </a:cxn>
                  <a:cxn ang="0">
                    <a:pos x="6" y="6"/>
                  </a:cxn>
                  <a:cxn ang="0">
                    <a:pos x="0" y="0"/>
                  </a:cxn>
                  <a:cxn ang="0">
                    <a:pos x="2" y="0"/>
                  </a:cxn>
                  <a:cxn ang="0">
                    <a:pos x="6" y="6"/>
                  </a:cxn>
                </a:cxnLst>
                <a:rect l="0" t="0" r="r" b="b"/>
                <a:pathLst>
                  <a:path w="8" h="8">
                    <a:moveTo>
                      <a:pt x="6" y="6"/>
                    </a:moveTo>
                    <a:lnTo>
                      <a:pt x="8" y="6"/>
                    </a:lnTo>
                    <a:lnTo>
                      <a:pt x="8" y="8"/>
                    </a:lnTo>
                    <a:lnTo>
                      <a:pt x="6" y="8"/>
                    </a:lnTo>
                    <a:lnTo>
                      <a:pt x="5" y="8"/>
                    </a:lnTo>
                    <a:lnTo>
                      <a:pt x="6" y="6"/>
                    </a:lnTo>
                    <a:lnTo>
                      <a:pt x="0" y="0"/>
                    </a:lnTo>
                    <a:lnTo>
                      <a:pt x="2" y="0"/>
                    </a:lnTo>
                    <a:lnTo>
                      <a:pt x="6" y="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94" name="Freeform 1793"/>
              <p:cNvSpPr>
                <a:spLocks/>
              </p:cNvSpPr>
              <p:nvPr/>
            </p:nvSpPr>
            <p:spPr bwMode="auto">
              <a:xfrm>
                <a:off x="5145489" y="2907510"/>
                <a:ext cx="2633" cy="3042"/>
              </a:xfrm>
              <a:custGeom>
                <a:avLst/>
                <a:gdLst/>
                <a:ahLst/>
                <a:cxnLst>
                  <a:cxn ang="0">
                    <a:pos x="1" y="0"/>
                  </a:cxn>
                  <a:cxn ang="0">
                    <a:pos x="0" y="2"/>
                  </a:cxn>
                  <a:cxn ang="0">
                    <a:pos x="0" y="3"/>
                  </a:cxn>
                  <a:cxn ang="0">
                    <a:pos x="1" y="3"/>
                  </a:cxn>
                  <a:cxn ang="0">
                    <a:pos x="3" y="0"/>
                  </a:cxn>
                  <a:cxn ang="0">
                    <a:pos x="1" y="0"/>
                  </a:cxn>
                </a:cxnLst>
                <a:rect l="0" t="0" r="r" b="b"/>
                <a:pathLst>
                  <a:path w="3" h="3">
                    <a:moveTo>
                      <a:pt x="1" y="0"/>
                    </a:moveTo>
                    <a:lnTo>
                      <a:pt x="0" y="2"/>
                    </a:lnTo>
                    <a:lnTo>
                      <a:pt x="0" y="3"/>
                    </a:lnTo>
                    <a:lnTo>
                      <a:pt x="1" y="3"/>
                    </a:lnTo>
                    <a:lnTo>
                      <a:pt x="3" y="0"/>
                    </a:lnTo>
                    <a:lnTo>
                      <a:pt x="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95" name="Freeform 1794"/>
              <p:cNvSpPr>
                <a:spLocks/>
              </p:cNvSpPr>
              <p:nvPr/>
            </p:nvSpPr>
            <p:spPr bwMode="auto">
              <a:xfrm>
                <a:off x="5145489" y="2907510"/>
                <a:ext cx="2633" cy="3042"/>
              </a:xfrm>
              <a:custGeom>
                <a:avLst/>
                <a:gdLst/>
                <a:ahLst/>
                <a:cxnLst>
                  <a:cxn ang="0">
                    <a:pos x="1" y="0"/>
                  </a:cxn>
                  <a:cxn ang="0">
                    <a:pos x="0" y="2"/>
                  </a:cxn>
                  <a:cxn ang="0">
                    <a:pos x="0" y="3"/>
                  </a:cxn>
                  <a:cxn ang="0">
                    <a:pos x="1" y="3"/>
                  </a:cxn>
                  <a:cxn ang="0">
                    <a:pos x="3" y="0"/>
                  </a:cxn>
                  <a:cxn ang="0">
                    <a:pos x="1" y="0"/>
                  </a:cxn>
                </a:cxnLst>
                <a:rect l="0" t="0" r="r" b="b"/>
                <a:pathLst>
                  <a:path w="3" h="3">
                    <a:moveTo>
                      <a:pt x="1" y="0"/>
                    </a:moveTo>
                    <a:lnTo>
                      <a:pt x="0" y="2"/>
                    </a:lnTo>
                    <a:lnTo>
                      <a:pt x="0" y="3"/>
                    </a:lnTo>
                    <a:lnTo>
                      <a:pt x="1" y="3"/>
                    </a:lnTo>
                    <a:lnTo>
                      <a:pt x="3" y="0"/>
                    </a:lnTo>
                    <a:lnTo>
                      <a:pt x="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96" name="Freeform 1795"/>
              <p:cNvSpPr>
                <a:spLocks/>
              </p:cNvSpPr>
              <p:nvPr/>
            </p:nvSpPr>
            <p:spPr bwMode="auto">
              <a:xfrm>
                <a:off x="5136710" y="2916637"/>
                <a:ext cx="4389" cy="10141"/>
              </a:xfrm>
              <a:custGeom>
                <a:avLst/>
                <a:gdLst/>
                <a:ahLst/>
                <a:cxnLst>
                  <a:cxn ang="0">
                    <a:pos x="0" y="0"/>
                  </a:cxn>
                  <a:cxn ang="0">
                    <a:pos x="3" y="6"/>
                  </a:cxn>
                  <a:cxn ang="0">
                    <a:pos x="4" y="7"/>
                  </a:cxn>
                  <a:cxn ang="0">
                    <a:pos x="5" y="10"/>
                  </a:cxn>
                  <a:cxn ang="0">
                    <a:pos x="5" y="10"/>
                  </a:cxn>
                  <a:cxn ang="0">
                    <a:pos x="4" y="9"/>
                  </a:cxn>
                  <a:cxn ang="0">
                    <a:pos x="3" y="7"/>
                  </a:cxn>
                  <a:cxn ang="0">
                    <a:pos x="1" y="2"/>
                  </a:cxn>
                  <a:cxn ang="0">
                    <a:pos x="0" y="0"/>
                  </a:cxn>
                </a:cxnLst>
                <a:rect l="0" t="0" r="r" b="b"/>
                <a:pathLst>
                  <a:path w="5" h="10">
                    <a:moveTo>
                      <a:pt x="0" y="0"/>
                    </a:moveTo>
                    <a:lnTo>
                      <a:pt x="3" y="6"/>
                    </a:lnTo>
                    <a:lnTo>
                      <a:pt x="4" y="7"/>
                    </a:lnTo>
                    <a:lnTo>
                      <a:pt x="5" y="10"/>
                    </a:lnTo>
                    <a:lnTo>
                      <a:pt x="5" y="10"/>
                    </a:lnTo>
                    <a:lnTo>
                      <a:pt x="4" y="9"/>
                    </a:lnTo>
                    <a:lnTo>
                      <a:pt x="3" y="7"/>
                    </a:lnTo>
                    <a:lnTo>
                      <a:pt x="1" y="2"/>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97" name="Freeform 1796"/>
              <p:cNvSpPr>
                <a:spLocks/>
              </p:cNvSpPr>
              <p:nvPr/>
            </p:nvSpPr>
            <p:spPr bwMode="auto">
              <a:xfrm>
                <a:off x="5136710" y="2916637"/>
                <a:ext cx="4389" cy="10141"/>
              </a:xfrm>
              <a:custGeom>
                <a:avLst/>
                <a:gdLst/>
                <a:ahLst/>
                <a:cxnLst>
                  <a:cxn ang="0">
                    <a:pos x="0" y="0"/>
                  </a:cxn>
                  <a:cxn ang="0">
                    <a:pos x="3" y="6"/>
                  </a:cxn>
                  <a:cxn ang="0">
                    <a:pos x="4" y="7"/>
                  </a:cxn>
                  <a:cxn ang="0">
                    <a:pos x="5" y="10"/>
                  </a:cxn>
                  <a:cxn ang="0">
                    <a:pos x="5" y="10"/>
                  </a:cxn>
                  <a:cxn ang="0">
                    <a:pos x="4" y="9"/>
                  </a:cxn>
                  <a:cxn ang="0">
                    <a:pos x="3" y="7"/>
                  </a:cxn>
                  <a:cxn ang="0">
                    <a:pos x="1" y="2"/>
                  </a:cxn>
                  <a:cxn ang="0">
                    <a:pos x="0" y="0"/>
                  </a:cxn>
                </a:cxnLst>
                <a:rect l="0" t="0" r="r" b="b"/>
                <a:pathLst>
                  <a:path w="5" h="10">
                    <a:moveTo>
                      <a:pt x="0" y="0"/>
                    </a:moveTo>
                    <a:lnTo>
                      <a:pt x="3" y="6"/>
                    </a:lnTo>
                    <a:lnTo>
                      <a:pt x="4" y="7"/>
                    </a:lnTo>
                    <a:lnTo>
                      <a:pt x="5" y="10"/>
                    </a:lnTo>
                    <a:lnTo>
                      <a:pt x="5" y="10"/>
                    </a:lnTo>
                    <a:lnTo>
                      <a:pt x="4" y="9"/>
                    </a:lnTo>
                    <a:lnTo>
                      <a:pt x="3" y="7"/>
                    </a:lnTo>
                    <a:lnTo>
                      <a:pt x="1" y="2"/>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98" name="Freeform 609"/>
              <p:cNvSpPr>
                <a:spLocks/>
              </p:cNvSpPr>
              <p:nvPr/>
            </p:nvSpPr>
            <p:spPr bwMode="auto">
              <a:xfrm>
                <a:off x="8032575" y="2553578"/>
                <a:ext cx="4389" cy="3043"/>
              </a:xfrm>
              <a:custGeom>
                <a:avLst/>
                <a:gdLst/>
                <a:ahLst/>
                <a:cxnLst>
                  <a:cxn ang="0">
                    <a:pos x="4" y="0"/>
                  </a:cxn>
                  <a:cxn ang="0">
                    <a:pos x="5" y="2"/>
                  </a:cxn>
                  <a:cxn ang="0">
                    <a:pos x="4" y="2"/>
                  </a:cxn>
                  <a:cxn ang="0">
                    <a:pos x="1" y="3"/>
                  </a:cxn>
                  <a:cxn ang="0">
                    <a:pos x="0" y="3"/>
                  </a:cxn>
                  <a:cxn ang="0">
                    <a:pos x="1" y="2"/>
                  </a:cxn>
                  <a:cxn ang="0">
                    <a:pos x="4" y="0"/>
                  </a:cxn>
                </a:cxnLst>
                <a:rect l="0" t="0" r="r" b="b"/>
                <a:pathLst>
                  <a:path w="5" h="3">
                    <a:moveTo>
                      <a:pt x="4" y="0"/>
                    </a:moveTo>
                    <a:lnTo>
                      <a:pt x="5" y="2"/>
                    </a:lnTo>
                    <a:lnTo>
                      <a:pt x="4" y="2"/>
                    </a:lnTo>
                    <a:lnTo>
                      <a:pt x="1" y="3"/>
                    </a:lnTo>
                    <a:lnTo>
                      <a:pt x="0" y="3"/>
                    </a:lnTo>
                    <a:lnTo>
                      <a:pt x="1" y="2"/>
                    </a:lnTo>
                    <a:lnTo>
                      <a:pt x="4"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99" name="Freeform 610"/>
              <p:cNvSpPr>
                <a:spLocks/>
              </p:cNvSpPr>
              <p:nvPr/>
            </p:nvSpPr>
            <p:spPr bwMode="auto">
              <a:xfrm>
                <a:off x="8032575" y="2553578"/>
                <a:ext cx="4389" cy="3043"/>
              </a:xfrm>
              <a:custGeom>
                <a:avLst/>
                <a:gdLst/>
                <a:ahLst/>
                <a:cxnLst>
                  <a:cxn ang="0">
                    <a:pos x="4" y="0"/>
                  </a:cxn>
                  <a:cxn ang="0">
                    <a:pos x="5" y="2"/>
                  </a:cxn>
                  <a:cxn ang="0">
                    <a:pos x="4" y="2"/>
                  </a:cxn>
                  <a:cxn ang="0">
                    <a:pos x="1" y="3"/>
                  </a:cxn>
                  <a:cxn ang="0">
                    <a:pos x="0" y="3"/>
                  </a:cxn>
                  <a:cxn ang="0">
                    <a:pos x="1" y="2"/>
                  </a:cxn>
                  <a:cxn ang="0">
                    <a:pos x="4" y="0"/>
                  </a:cxn>
                </a:cxnLst>
                <a:rect l="0" t="0" r="r" b="b"/>
                <a:pathLst>
                  <a:path w="5" h="3">
                    <a:moveTo>
                      <a:pt x="4" y="0"/>
                    </a:moveTo>
                    <a:lnTo>
                      <a:pt x="5" y="2"/>
                    </a:lnTo>
                    <a:lnTo>
                      <a:pt x="4" y="2"/>
                    </a:lnTo>
                    <a:lnTo>
                      <a:pt x="1" y="3"/>
                    </a:lnTo>
                    <a:lnTo>
                      <a:pt x="0" y="3"/>
                    </a:lnTo>
                    <a:lnTo>
                      <a:pt x="1" y="2"/>
                    </a:lnTo>
                    <a:lnTo>
                      <a:pt x="4"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00" name="Freeform 611"/>
              <p:cNvSpPr>
                <a:spLocks/>
              </p:cNvSpPr>
              <p:nvPr/>
            </p:nvSpPr>
            <p:spPr bwMode="auto">
              <a:xfrm>
                <a:off x="8017652" y="2539379"/>
                <a:ext cx="12289" cy="19269"/>
              </a:xfrm>
              <a:custGeom>
                <a:avLst/>
                <a:gdLst/>
                <a:ahLst/>
                <a:cxnLst>
                  <a:cxn ang="0">
                    <a:pos x="10" y="2"/>
                  </a:cxn>
                  <a:cxn ang="0">
                    <a:pos x="10" y="0"/>
                  </a:cxn>
                  <a:cxn ang="0">
                    <a:pos x="11" y="3"/>
                  </a:cxn>
                  <a:cxn ang="0">
                    <a:pos x="13" y="5"/>
                  </a:cxn>
                  <a:cxn ang="0">
                    <a:pos x="1" y="18"/>
                  </a:cxn>
                  <a:cxn ang="0">
                    <a:pos x="0" y="15"/>
                  </a:cxn>
                  <a:cxn ang="0">
                    <a:pos x="8" y="5"/>
                  </a:cxn>
                  <a:cxn ang="0">
                    <a:pos x="8" y="2"/>
                  </a:cxn>
                  <a:cxn ang="0">
                    <a:pos x="10" y="2"/>
                  </a:cxn>
                </a:cxnLst>
                <a:rect l="0" t="0" r="r" b="b"/>
                <a:pathLst>
                  <a:path w="13" h="18">
                    <a:moveTo>
                      <a:pt x="10" y="2"/>
                    </a:moveTo>
                    <a:lnTo>
                      <a:pt x="10" y="0"/>
                    </a:lnTo>
                    <a:lnTo>
                      <a:pt x="11" y="3"/>
                    </a:lnTo>
                    <a:lnTo>
                      <a:pt x="13" y="5"/>
                    </a:lnTo>
                    <a:lnTo>
                      <a:pt x="1" y="18"/>
                    </a:lnTo>
                    <a:lnTo>
                      <a:pt x="0" y="15"/>
                    </a:lnTo>
                    <a:lnTo>
                      <a:pt x="8" y="5"/>
                    </a:lnTo>
                    <a:lnTo>
                      <a:pt x="8" y="2"/>
                    </a:lnTo>
                    <a:lnTo>
                      <a:pt x="10"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01" name="Freeform 612"/>
              <p:cNvSpPr>
                <a:spLocks/>
              </p:cNvSpPr>
              <p:nvPr/>
            </p:nvSpPr>
            <p:spPr bwMode="auto">
              <a:xfrm>
                <a:off x="8017652" y="2539379"/>
                <a:ext cx="12289" cy="19269"/>
              </a:xfrm>
              <a:custGeom>
                <a:avLst/>
                <a:gdLst/>
                <a:ahLst/>
                <a:cxnLst>
                  <a:cxn ang="0">
                    <a:pos x="10" y="2"/>
                  </a:cxn>
                  <a:cxn ang="0">
                    <a:pos x="10" y="0"/>
                  </a:cxn>
                  <a:cxn ang="0">
                    <a:pos x="11" y="3"/>
                  </a:cxn>
                  <a:cxn ang="0">
                    <a:pos x="13" y="5"/>
                  </a:cxn>
                  <a:cxn ang="0">
                    <a:pos x="1" y="18"/>
                  </a:cxn>
                  <a:cxn ang="0">
                    <a:pos x="0" y="15"/>
                  </a:cxn>
                  <a:cxn ang="0">
                    <a:pos x="8" y="5"/>
                  </a:cxn>
                  <a:cxn ang="0">
                    <a:pos x="8" y="2"/>
                  </a:cxn>
                  <a:cxn ang="0">
                    <a:pos x="10" y="2"/>
                  </a:cxn>
                </a:cxnLst>
                <a:rect l="0" t="0" r="r" b="b"/>
                <a:pathLst>
                  <a:path w="13" h="18">
                    <a:moveTo>
                      <a:pt x="10" y="2"/>
                    </a:moveTo>
                    <a:lnTo>
                      <a:pt x="10" y="0"/>
                    </a:lnTo>
                    <a:lnTo>
                      <a:pt x="11" y="3"/>
                    </a:lnTo>
                    <a:lnTo>
                      <a:pt x="13" y="5"/>
                    </a:lnTo>
                    <a:lnTo>
                      <a:pt x="1" y="18"/>
                    </a:lnTo>
                    <a:lnTo>
                      <a:pt x="0" y="15"/>
                    </a:lnTo>
                    <a:lnTo>
                      <a:pt x="8" y="5"/>
                    </a:lnTo>
                    <a:lnTo>
                      <a:pt x="8" y="2"/>
                    </a:lnTo>
                    <a:lnTo>
                      <a:pt x="10"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02" name="Freeform 613"/>
              <p:cNvSpPr>
                <a:spLocks/>
              </p:cNvSpPr>
              <p:nvPr/>
            </p:nvSpPr>
            <p:spPr bwMode="auto">
              <a:xfrm>
                <a:off x="8282748" y="2290917"/>
                <a:ext cx="10534" cy="16227"/>
              </a:xfrm>
              <a:custGeom>
                <a:avLst/>
                <a:gdLst/>
                <a:ahLst/>
                <a:cxnLst>
                  <a:cxn ang="0">
                    <a:pos x="2" y="0"/>
                  </a:cxn>
                  <a:cxn ang="0">
                    <a:pos x="5" y="1"/>
                  </a:cxn>
                  <a:cxn ang="0">
                    <a:pos x="5" y="1"/>
                  </a:cxn>
                  <a:cxn ang="0">
                    <a:pos x="5" y="2"/>
                  </a:cxn>
                  <a:cxn ang="0">
                    <a:pos x="5" y="4"/>
                  </a:cxn>
                  <a:cxn ang="0">
                    <a:pos x="5" y="5"/>
                  </a:cxn>
                  <a:cxn ang="0">
                    <a:pos x="7" y="7"/>
                  </a:cxn>
                  <a:cxn ang="0">
                    <a:pos x="7" y="8"/>
                  </a:cxn>
                  <a:cxn ang="0">
                    <a:pos x="10" y="10"/>
                  </a:cxn>
                  <a:cxn ang="0">
                    <a:pos x="11" y="14"/>
                  </a:cxn>
                  <a:cxn ang="0">
                    <a:pos x="10" y="16"/>
                  </a:cxn>
                  <a:cxn ang="0">
                    <a:pos x="5" y="11"/>
                  </a:cxn>
                  <a:cxn ang="0">
                    <a:pos x="0" y="1"/>
                  </a:cxn>
                  <a:cxn ang="0">
                    <a:pos x="0" y="0"/>
                  </a:cxn>
                  <a:cxn ang="0">
                    <a:pos x="2" y="0"/>
                  </a:cxn>
                </a:cxnLst>
                <a:rect l="0" t="0" r="r" b="b"/>
                <a:pathLst>
                  <a:path w="11" h="16">
                    <a:moveTo>
                      <a:pt x="2" y="0"/>
                    </a:moveTo>
                    <a:lnTo>
                      <a:pt x="5" y="1"/>
                    </a:lnTo>
                    <a:lnTo>
                      <a:pt x="5" y="1"/>
                    </a:lnTo>
                    <a:lnTo>
                      <a:pt x="5" y="2"/>
                    </a:lnTo>
                    <a:lnTo>
                      <a:pt x="5" y="4"/>
                    </a:lnTo>
                    <a:lnTo>
                      <a:pt x="5" y="5"/>
                    </a:lnTo>
                    <a:lnTo>
                      <a:pt x="7" y="7"/>
                    </a:lnTo>
                    <a:lnTo>
                      <a:pt x="7" y="8"/>
                    </a:lnTo>
                    <a:lnTo>
                      <a:pt x="10" y="10"/>
                    </a:lnTo>
                    <a:lnTo>
                      <a:pt x="11" y="14"/>
                    </a:lnTo>
                    <a:lnTo>
                      <a:pt x="10" y="16"/>
                    </a:lnTo>
                    <a:lnTo>
                      <a:pt x="5" y="11"/>
                    </a:lnTo>
                    <a:lnTo>
                      <a:pt x="0" y="1"/>
                    </a:lnTo>
                    <a:lnTo>
                      <a:pt x="0" y="0"/>
                    </a:lnTo>
                    <a:lnTo>
                      <a:pt x="2"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03" name="Freeform 614"/>
              <p:cNvSpPr>
                <a:spLocks/>
              </p:cNvSpPr>
              <p:nvPr/>
            </p:nvSpPr>
            <p:spPr bwMode="auto">
              <a:xfrm>
                <a:off x="8282748" y="2290917"/>
                <a:ext cx="10534" cy="16227"/>
              </a:xfrm>
              <a:custGeom>
                <a:avLst/>
                <a:gdLst/>
                <a:ahLst/>
                <a:cxnLst>
                  <a:cxn ang="0">
                    <a:pos x="2" y="0"/>
                  </a:cxn>
                  <a:cxn ang="0">
                    <a:pos x="5" y="1"/>
                  </a:cxn>
                  <a:cxn ang="0">
                    <a:pos x="5" y="1"/>
                  </a:cxn>
                  <a:cxn ang="0">
                    <a:pos x="5" y="2"/>
                  </a:cxn>
                  <a:cxn ang="0">
                    <a:pos x="5" y="4"/>
                  </a:cxn>
                  <a:cxn ang="0">
                    <a:pos x="5" y="5"/>
                  </a:cxn>
                  <a:cxn ang="0">
                    <a:pos x="7" y="7"/>
                  </a:cxn>
                  <a:cxn ang="0">
                    <a:pos x="7" y="8"/>
                  </a:cxn>
                  <a:cxn ang="0">
                    <a:pos x="10" y="10"/>
                  </a:cxn>
                  <a:cxn ang="0">
                    <a:pos x="11" y="14"/>
                  </a:cxn>
                  <a:cxn ang="0">
                    <a:pos x="10" y="16"/>
                  </a:cxn>
                  <a:cxn ang="0">
                    <a:pos x="5" y="11"/>
                  </a:cxn>
                  <a:cxn ang="0">
                    <a:pos x="0" y="1"/>
                  </a:cxn>
                  <a:cxn ang="0">
                    <a:pos x="0" y="0"/>
                  </a:cxn>
                  <a:cxn ang="0">
                    <a:pos x="2" y="0"/>
                  </a:cxn>
                </a:cxnLst>
                <a:rect l="0" t="0" r="r" b="b"/>
                <a:pathLst>
                  <a:path w="11" h="16">
                    <a:moveTo>
                      <a:pt x="2" y="0"/>
                    </a:moveTo>
                    <a:lnTo>
                      <a:pt x="5" y="1"/>
                    </a:lnTo>
                    <a:lnTo>
                      <a:pt x="5" y="1"/>
                    </a:lnTo>
                    <a:lnTo>
                      <a:pt x="5" y="2"/>
                    </a:lnTo>
                    <a:lnTo>
                      <a:pt x="5" y="4"/>
                    </a:lnTo>
                    <a:lnTo>
                      <a:pt x="5" y="5"/>
                    </a:lnTo>
                    <a:lnTo>
                      <a:pt x="7" y="7"/>
                    </a:lnTo>
                    <a:lnTo>
                      <a:pt x="7" y="8"/>
                    </a:lnTo>
                    <a:lnTo>
                      <a:pt x="10" y="10"/>
                    </a:lnTo>
                    <a:lnTo>
                      <a:pt x="11" y="14"/>
                    </a:lnTo>
                    <a:lnTo>
                      <a:pt x="10" y="16"/>
                    </a:lnTo>
                    <a:lnTo>
                      <a:pt x="5" y="11"/>
                    </a:lnTo>
                    <a:lnTo>
                      <a:pt x="0" y="1"/>
                    </a:lnTo>
                    <a:lnTo>
                      <a:pt x="0" y="0"/>
                    </a:lnTo>
                    <a:lnTo>
                      <a:pt x="2"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04" name="Freeform 615"/>
              <p:cNvSpPr>
                <a:spLocks/>
              </p:cNvSpPr>
              <p:nvPr/>
            </p:nvSpPr>
            <p:spPr bwMode="auto">
              <a:xfrm>
                <a:off x="8302060" y="2302072"/>
                <a:ext cx="7022" cy="9128"/>
              </a:xfrm>
              <a:custGeom>
                <a:avLst/>
                <a:gdLst/>
                <a:ahLst/>
                <a:cxnLst>
                  <a:cxn ang="0">
                    <a:pos x="0" y="0"/>
                  </a:cxn>
                  <a:cxn ang="0">
                    <a:pos x="0" y="0"/>
                  </a:cxn>
                  <a:cxn ang="0">
                    <a:pos x="3" y="5"/>
                  </a:cxn>
                  <a:cxn ang="0">
                    <a:pos x="5" y="5"/>
                  </a:cxn>
                  <a:cxn ang="0">
                    <a:pos x="8" y="7"/>
                  </a:cxn>
                  <a:cxn ang="0">
                    <a:pos x="8" y="9"/>
                  </a:cxn>
                  <a:cxn ang="0">
                    <a:pos x="5" y="6"/>
                  </a:cxn>
                  <a:cxn ang="0">
                    <a:pos x="3" y="5"/>
                  </a:cxn>
                  <a:cxn ang="0">
                    <a:pos x="2" y="5"/>
                  </a:cxn>
                  <a:cxn ang="0">
                    <a:pos x="0" y="0"/>
                  </a:cxn>
                </a:cxnLst>
                <a:rect l="0" t="0" r="r" b="b"/>
                <a:pathLst>
                  <a:path w="8" h="9">
                    <a:moveTo>
                      <a:pt x="0" y="0"/>
                    </a:moveTo>
                    <a:lnTo>
                      <a:pt x="0" y="0"/>
                    </a:lnTo>
                    <a:lnTo>
                      <a:pt x="3" y="5"/>
                    </a:lnTo>
                    <a:lnTo>
                      <a:pt x="5" y="5"/>
                    </a:lnTo>
                    <a:lnTo>
                      <a:pt x="8" y="7"/>
                    </a:lnTo>
                    <a:lnTo>
                      <a:pt x="8" y="9"/>
                    </a:lnTo>
                    <a:lnTo>
                      <a:pt x="5" y="6"/>
                    </a:lnTo>
                    <a:lnTo>
                      <a:pt x="3" y="5"/>
                    </a:lnTo>
                    <a:lnTo>
                      <a:pt x="2" y="5"/>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05" name="Freeform 616"/>
              <p:cNvSpPr>
                <a:spLocks/>
              </p:cNvSpPr>
              <p:nvPr/>
            </p:nvSpPr>
            <p:spPr bwMode="auto">
              <a:xfrm>
                <a:off x="8302060" y="2302072"/>
                <a:ext cx="7022" cy="9128"/>
              </a:xfrm>
              <a:custGeom>
                <a:avLst/>
                <a:gdLst/>
                <a:ahLst/>
                <a:cxnLst>
                  <a:cxn ang="0">
                    <a:pos x="0" y="0"/>
                  </a:cxn>
                  <a:cxn ang="0">
                    <a:pos x="0" y="0"/>
                  </a:cxn>
                  <a:cxn ang="0">
                    <a:pos x="3" y="5"/>
                  </a:cxn>
                  <a:cxn ang="0">
                    <a:pos x="5" y="5"/>
                  </a:cxn>
                  <a:cxn ang="0">
                    <a:pos x="8" y="7"/>
                  </a:cxn>
                  <a:cxn ang="0">
                    <a:pos x="8" y="9"/>
                  </a:cxn>
                  <a:cxn ang="0">
                    <a:pos x="5" y="6"/>
                  </a:cxn>
                  <a:cxn ang="0">
                    <a:pos x="3" y="5"/>
                  </a:cxn>
                  <a:cxn ang="0">
                    <a:pos x="2" y="5"/>
                  </a:cxn>
                  <a:cxn ang="0">
                    <a:pos x="0" y="0"/>
                  </a:cxn>
                </a:cxnLst>
                <a:rect l="0" t="0" r="r" b="b"/>
                <a:pathLst>
                  <a:path w="8" h="9">
                    <a:moveTo>
                      <a:pt x="0" y="0"/>
                    </a:moveTo>
                    <a:lnTo>
                      <a:pt x="0" y="0"/>
                    </a:lnTo>
                    <a:lnTo>
                      <a:pt x="3" y="5"/>
                    </a:lnTo>
                    <a:lnTo>
                      <a:pt x="5" y="5"/>
                    </a:lnTo>
                    <a:lnTo>
                      <a:pt x="8" y="7"/>
                    </a:lnTo>
                    <a:lnTo>
                      <a:pt x="8" y="9"/>
                    </a:lnTo>
                    <a:lnTo>
                      <a:pt x="5" y="6"/>
                    </a:lnTo>
                    <a:lnTo>
                      <a:pt x="3" y="5"/>
                    </a:lnTo>
                    <a:lnTo>
                      <a:pt x="2" y="5"/>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06" name="Freeform 617"/>
              <p:cNvSpPr>
                <a:spLocks/>
              </p:cNvSpPr>
              <p:nvPr/>
            </p:nvSpPr>
            <p:spPr bwMode="auto">
              <a:xfrm>
                <a:off x="7415481" y="1257516"/>
                <a:ext cx="79880" cy="113583"/>
              </a:xfrm>
              <a:custGeom>
                <a:avLst/>
                <a:gdLst/>
                <a:ahLst/>
                <a:cxnLst>
                  <a:cxn ang="0">
                    <a:pos x="10" y="72"/>
                  </a:cxn>
                  <a:cxn ang="0">
                    <a:pos x="13" y="62"/>
                  </a:cxn>
                  <a:cxn ang="0">
                    <a:pos x="16" y="48"/>
                  </a:cxn>
                  <a:cxn ang="0">
                    <a:pos x="25" y="53"/>
                  </a:cxn>
                  <a:cxn ang="0">
                    <a:pos x="21" y="34"/>
                  </a:cxn>
                  <a:cxn ang="0">
                    <a:pos x="25" y="31"/>
                  </a:cxn>
                  <a:cxn ang="0">
                    <a:pos x="24" y="27"/>
                  </a:cxn>
                  <a:cxn ang="0">
                    <a:pos x="28" y="24"/>
                  </a:cxn>
                  <a:cxn ang="0">
                    <a:pos x="26" y="19"/>
                  </a:cxn>
                  <a:cxn ang="0">
                    <a:pos x="32" y="12"/>
                  </a:cxn>
                  <a:cxn ang="0">
                    <a:pos x="34" y="6"/>
                  </a:cxn>
                  <a:cxn ang="0">
                    <a:pos x="40" y="16"/>
                  </a:cxn>
                  <a:cxn ang="0">
                    <a:pos x="42" y="0"/>
                  </a:cxn>
                  <a:cxn ang="0">
                    <a:pos x="50" y="9"/>
                  </a:cxn>
                  <a:cxn ang="0">
                    <a:pos x="51" y="6"/>
                  </a:cxn>
                  <a:cxn ang="0">
                    <a:pos x="54" y="11"/>
                  </a:cxn>
                  <a:cxn ang="0">
                    <a:pos x="51" y="25"/>
                  </a:cxn>
                  <a:cxn ang="0">
                    <a:pos x="50" y="32"/>
                  </a:cxn>
                  <a:cxn ang="0">
                    <a:pos x="57" y="18"/>
                  </a:cxn>
                  <a:cxn ang="0">
                    <a:pos x="60" y="21"/>
                  </a:cxn>
                  <a:cxn ang="0">
                    <a:pos x="61" y="27"/>
                  </a:cxn>
                  <a:cxn ang="0">
                    <a:pos x="64" y="19"/>
                  </a:cxn>
                  <a:cxn ang="0">
                    <a:pos x="67" y="25"/>
                  </a:cxn>
                  <a:cxn ang="0">
                    <a:pos x="67" y="31"/>
                  </a:cxn>
                  <a:cxn ang="0">
                    <a:pos x="70" y="34"/>
                  </a:cxn>
                  <a:cxn ang="0">
                    <a:pos x="71" y="28"/>
                  </a:cxn>
                  <a:cxn ang="0">
                    <a:pos x="85" y="48"/>
                  </a:cxn>
                  <a:cxn ang="0">
                    <a:pos x="87" y="62"/>
                  </a:cxn>
                  <a:cxn ang="0">
                    <a:pos x="87" y="72"/>
                  </a:cxn>
                  <a:cxn ang="0">
                    <a:pos x="79" y="83"/>
                  </a:cxn>
                  <a:cxn ang="0">
                    <a:pos x="71" y="83"/>
                  </a:cxn>
                  <a:cxn ang="0">
                    <a:pos x="58" y="89"/>
                  </a:cxn>
                  <a:cxn ang="0">
                    <a:pos x="53" y="89"/>
                  </a:cxn>
                  <a:cxn ang="0">
                    <a:pos x="51" y="92"/>
                  </a:cxn>
                  <a:cxn ang="0">
                    <a:pos x="45" y="89"/>
                  </a:cxn>
                  <a:cxn ang="0">
                    <a:pos x="37" y="91"/>
                  </a:cxn>
                  <a:cxn ang="0">
                    <a:pos x="25" y="91"/>
                  </a:cxn>
                  <a:cxn ang="0">
                    <a:pos x="22" y="96"/>
                  </a:cxn>
                  <a:cxn ang="0">
                    <a:pos x="13" y="104"/>
                  </a:cxn>
                  <a:cxn ang="0">
                    <a:pos x="9" y="109"/>
                  </a:cxn>
                  <a:cxn ang="0">
                    <a:pos x="2" y="107"/>
                  </a:cxn>
                  <a:cxn ang="0">
                    <a:pos x="3" y="101"/>
                  </a:cxn>
                  <a:cxn ang="0">
                    <a:pos x="2" y="92"/>
                  </a:cxn>
                  <a:cxn ang="0">
                    <a:pos x="8" y="78"/>
                  </a:cxn>
                </a:cxnLst>
                <a:rect l="0" t="0" r="r" b="b"/>
                <a:pathLst>
                  <a:path w="87" h="109">
                    <a:moveTo>
                      <a:pt x="9" y="75"/>
                    </a:moveTo>
                    <a:lnTo>
                      <a:pt x="10" y="72"/>
                    </a:lnTo>
                    <a:lnTo>
                      <a:pt x="10" y="70"/>
                    </a:lnTo>
                    <a:lnTo>
                      <a:pt x="13" y="62"/>
                    </a:lnTo>
                    <a:lnTo>
                      <a:pt x="12" y="60"/>
                    </a:lnTo>
                    <a:lnTo>
                      <a:pt x="16" y="48"/>
                    </a:lnTo>
                    <a:lnTo>
                      <a:pt x="22" y="53"/>
                    </a:lnTo>
                    <a:lnTo>
                      <a:pt x="25" y="53"/>
                    </a:lnTo>
                    <a:lnTo>
                      <a:pt x="21" y="47"/>
                    </a:lnTo>
                    <a:lnTo>
                      <a:pt x="21" y="34"/>
                    </a:lnTo>
                    <a:lnTo>
                      <a:pt x="24" y="31"/>
                    </a:lnTo>
                    <a:lnTo>
                      <a:pt x="25" y="31"/>
                    </a:lnTo>
                    <a:lnTo>
                      <a:pt x="24" y="30"/>
                    </a:lnTo>
                    <a:lnTo>
                      <a:pt x="24" y="27"/>
                    </a:lnTo>
                    <a:lnTo>
                      <a:pt x="25" y="25"/>
                    </a:lnTo>
                    <a:lnTo>
                      <a:pt x="28" y="24"/>
                    </a:lnTo>
                    <a:lnTo>
                      <a:pt x="26" y="24"/>
                    </a:lnTo>
                    <a:lnTo>
                      <a:pt x="26" y="19"/>
                    </a:lnTo>
                    <a:lnTo>
                      <a:pt x="32" y="14"/>
                    </a:lnTo>
                    <a:lnTo>
                      <a:pt x="32" y="12"/>
                    </a:lnTo>
                    <a:lnTo>
                      <a:pt x="32" y="8"/>
                    </a:lnTo>
                    <a:lnTo>
                      <a:pt x="34" y="6"/>
                    </a:lnTo>
                    <a:lnTo>
                      <a:pt x="35" y="15"/>
                    </a:lnTo>
                    <a:lnTo>
                      <a:pt x="40" y="16"/>
                    </a:lnTo>
                    <a:lnTo>
                      <a:pt x="40" y="5"/>
                    </a:lnTo>
                    <a:lnTo>
                      <a:pt x="42" y="0"/>
                    </a:lnTo>
                    <a:lnTo>
                      <a:pt x="50" y="3"/>
                    </a:lnTo>
                    <a:lnTo>
                      <a:pt x="50" y="9"/>
                    </a:lnTo>
                    <a:lnTo>
                      <a:pt x="51" y="8"/>
                    </a:lnTo>
                    <a:lnTo>
                      <a:pt x="51" y="6"/>
                    </a:lnTo>
                    <a:lnTo>
                      <a:pt x="54" y="8"/>
                    </a:lnTo>
                    <a:lnTo>
                      <a:pt x="54" y="11"/>
                    </a:lnTo>
                    <a:lnTo>
                      <a:pt x="51" y="19"/>
                    </a:lnTo>
                    <a:lnTo>
                      <a:pt x="51" y="25"/>
                    </a:lnTo>
                    <a:lnTo>
                      <a:pt x="50" y="28"/>
                    </a:lnTo>
                    <a:lnTo>
                      <a:pt x="50" y="32"/>
                    </a:lnTo>
                    <a:lnTo>
                      <a:pt x="57" y="22"/>
                    </a:lnTo>
                    <a:lnTo>
                      <a:pt x="57" y="18"/>
                    </a:lnTo>
                    <a:lnTo>
                      <a:pt x="57" y="16"/>
                    </a:lnTo>
                    <a:lnTo>
                      <a:pt x="60" y="21"/>
                    </a:lnTo>
                    <a:lnTo>
                      <a:pt x="61" y="25"/>
                    </a:lnTo>
                    <a:lnTo>
                      <a:pt x="61" y="27"/>
                    </a:lnTo>
                    <a:lnTo>
                      <a:pt x="63" y="24"/>
                    </a:lnTo>
                    <a:lnTo>
                      <a:pt x="64" y="19"/>
                    </a:lnTo>
                    <a:lnTo>
                      <a:pt x="67" y="21"/>
                    </a:lnTo>
                    <a:lnTo>
                      <a:pt x="67" y="25"/>
                    </a:lnTo>
                    <a:lnTo>
                      <a:pt x="67" y="28"/>
                    </a:lnTo>
                    <a:lnTo>
                      <a:pt x="67" y="31"/>
                    </a:lnTo>
                    <a:lnTo>
                      <a:pt x="69" y="34"/>
                    </a:lnTo>
                    <a:lnTo>
                      <a:pt x="70" y="34"/>
                    </a:lnTo>
                    <a:lnTo>
                      <a:pt x="70" y="31"/>
                    </a:lnTo>
                    <a:lnTo>
                      <a:pt x="71" y="28"/>
                    </a:lnTo>
                    <a:lnTo>
                      <a:pt x="76" y="43"/>
                    </a:lnTo>
                    <a:lnTo>
                      <a:pt x="85" y="48"/>
                    </a:lnTo>
                    <a:lnTo>
                      <a:pt x="86" y="51"/>
                    </a:lnTo>
                    <a:lnTo>
                      <a:pt x="87" y="62"/>
                    </a:lnTo>
                    <a:lnTo>
                      <a:pt x="86" y="64"/>
                    </a:lnTo>
                    <a:lnTo>
                      <a:pt x="87" y="72"/>
                    </a:lnTo>
                    <a:lnTo>
                      <a:pt x="82" y="80"/>
                    </a:lnTo>
                    <a:lnTo>
                      <a:pt x="79" y="83"/>
                    </a:lnTo>
                    <a:lnTo>
                      <a:pt x="77" y="82"/>
                    </a:lnTo>
                    <a:lnTo>
                      <a:pt x="71" y="83"/>
                    </a:lnTo>
                    <a:lnTo>
                      <a:pt x="63" y="89"/>
                    </a:lnTo>
                    <a:lnTo>
                      <a:pt x="58" y="89"/>
                    </a:lnTo>
                    <a:lnTo>
                      <a:pt x="55" y="91"/>
                    </a:lnTo>
                    <a:lnTo>
                      <a:pt x="53" y="89"/>
                    </a:lnTo>
                    <a:lnTo>
                      <a:pt x="51" y="91"/>
                    </a:lnTo>
                    <a:lnTo>
                      <a:pt x="51" y="92"/>
                    </a:lnTo>
                    <a:lnTo>
                      <a:pt x="50" y="93"/>
                    </a:lnTo>
                    <a:lnTo>
                      <a:pt x="45" y="89"/>
                    </a:lnTo>
                    <a:lnTo>
                      <a:pt x="38" y="92"/>
                    </a:lnTo>
                    <a:lnTo>
                      <a:pt x="37" y="91"/>
                    </a:lnTo>
                    <a:lnTo>
                      <a:pt x="34" y="92"/>
                    </a:lnTo>
                    <a:lnTo>
                      <a:pt x="25" y="91"/>
                    </a:lnTo>
                    <a:lnTo>
                      <a:pt x="24" y="96"/>
                    </a:lnTo>
                    <a:lnTo>
                      <a:pt x="22" y="96"/>
                    </a:lnTo>
                    <a:lnTo>
                      <a:pt x="19" y="101"/>
                    </a:lnTo>
                    <a:lnTo>
                      <a:pt x="13" y="104"/>
                    </a:lnTo>
                    <a:lnTo>
                      <a:pt x="10" y="107"/>
                    </a:lnTo>
                    <a:lnTo>
                      <a:pt x="9" y="109"/>
                    </a:lnTo>
                    <a:lnTo>
                      <a:pt x="2" y="108"/>
                    </a:lnTo>
                    <a:lnTo>
                      <a:pt x="2" y="107"/>
                    </a:lnTo>
                    <a:lnTo>
                      <a:pt x="3" y="104"/>
                    </a:lnTo>
                    <a:lnTo>
                      <a:pt x="3" y="101"/>
                    </a:lnTo>
                    <a:lnTo>
                      <a:pt x="0" y="102"/>
                    </a:lnTo>
                    <a:lnTo>
                      <a:pt x="2" y="92"/>
                    </a:lnTo>
                    <a:lnTo>
                      <a:pt x="9" y="79"/>
                    </a:lnTo>
                    <a:lnTo>
                      <a:pt x="8" y="78"/>
                    </a:lnTo>
                    <a:lnTo>
                      <a:pt x="9" y="7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07" name="Freeform 619"/>
              <p:cNvSpPr>
                <a:spLocks/>
              </p:cNvSpPr>
              <p:nvPr/>
            </p:nvSpPr>
            <p:spPr bwMode="auto">
              <a:xfrm>
                <a:off x="7885982" y="1600292"/>
                <a:ext cx="9655" cy="20283"/>
              </a:xfrm>
              <a:custGeom>
                <a:avLst/>
                <a:gdLst/>
                <a:ahLst/>
                <a:cxnLst>
                  <a:cxn ang="0">
                    <a:pos x="9" y="9"/>
                  </a:cxn>
                  <a:cxn ang="0">
                    <a:pos x="10" y="12"/>
                  </a:cxn>
                  <a:cxn ang="0">
                    <a:pos x="11" y="12"/>
                  </a:cxn>
                  <a:cxn ang="0">
                    <a:pos x="11" y="14"/>
                  </a:cxn>
                  <a:cxn ang="0">
                    <a:pos x="11" y="19"/>
                  </a:cxn>
                  <a:cxn ang="0">
                    <a:pos x="10" y="17"/>
                  </a:cxn>
                  <a:cxn ang="0">
                    <a:pos x="9" y="14"/>
                  </a:cxn>
                  <a:cxn ang="0">
                    <a:pos x="4" y="10"/>
                  </a:cxn>
                  <a:cxn ang="0">
                    <a:pos x="4" y="7"/>
                  </a:cxn>
                  <a:cxn ang="0">
                    <a:pos x="0" y="3"/>
                  </a:cxn>
                  <a:cxn ang="0">
                    <a:pos x="0" y="0"/>
                  </a:cxn>
                  <a:cxn ang="0">
                    <a:pos x="1" y="0"/>
                  </a:cxn>
                  <a:cxn ang="0">
                    <a:pos x="4" y="4"/>
                  </a:cxn>
                  <a:cxn ang="0">
                    <a:pos x="9" y="10"/>
                  </a:cxn>
                  <a:cxn ang="0">
                    <a:pos x="9" y="9"/>
                  </a:cxn>
                </a:cxnLst>
                <a:rect l="0" t="0" r="r" b="b"/>
                <a:pathLst>
                  <a:path w="11" h="19">
                    <a:moveTo>
                      <a:pt x="9" y="9"/>
                    </a:moveTo>
                    <a:lnTo>
                      <a:pt x="10" y="12"/>
                    </a:lnTo>
                    <a:lnTo>
                      <a:pt x="11" y="12"/>
                    </a:lnTo>
                    <a:lnTo>
                      <a:pt x="11" y="14"/>
                    </a:lnTo>
                    <a:lnTo>
                      <a:pt x="11" y="19"/>
                    </a:lnTo>
                    <a:lnTo>
                      <a:pt x="10" y="17"/>
                    </a:lnTo>
                    <a:lnTo>
                      <a:pt x="9" y="14"/>
                    </a:lnTo>
                    <a:lnTo>
                      <a:pt x="4" y="10"/>
                    </a:lnTo>
                    <a:lnTo>
                      <a:pt x="4" y="7"/>
                    </a:lnTo>
                    <a:lnTo>
                      <a:pt x="0" y="3"/>
                    </a:lnTo>
                    <a:lnTo>
                      <a:pt x="0" y="0"/>
                    </a:lnTo>
                    <a:lnTo>
                      <a:pt x="1" y="0"/>
                    </a:lnTo>
                    <a:lnTo>
                      <a:pt x="4" y="4"/>
                    </a:lnTo>
                    <a:lnTo>
                      <a:pt x="9" y="10"/>
                    </a:lnTo>
                    <a:lnTo>
                      <a:pt x="9" y="9"/>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08" name="Freeform 620"/>
              <p:cNvSpPr>
                <a:spLocks/>
              </p:cNvSpPr>
              <p:nvPr/>
            </p:nvSpPr>
            <p:spPr bwMode="auto">
              <a:xfrm>
                <a:off x="7885982" y="1600292"/>
                <a:ext cx="9655" cy="20283"/>
              </a:xfrm>
              <a:custGeom>
                <a:avLst/>
                <a:gdLst/>
                <a:ahLst/>
                <a:cxnLst>
                  <a:cxn ang="0">
                    <a:pos x="9" y="9"/>
                  </a:cxn>
                  <a:cxn ang="0">
                    <a:pos x="10" y="12"/>
                  </a:cxn>
                  <a:cxn ang="0">
                    <a:pos x="11" y="12"/>
                  </a:cxn>
                  <a:cxn ang="0">
                    <a:pos x="11" y="14"/>
                  </a:cxn>
                  <a:cxn ang="0">
                    <a:pos x="11" y="19"/>
                  </a:cxn>
                  <a:cxn ang="0">
                    <a:pos x="10" y="17"/>
                  </a:cxn>
                  <a:cxn ang="0">
                    <a:pos x="9" y="14"/>
                  </a:cxn>
                  <a:cxn ang="0">
                    <a:pos x="4" y="10"/>
                  </a:cxn>
                  <a:cxn ang="0">
                    <a:pos x="4" y="7"/>
                  </a:cxn>
                  <a:cxn ang="0">
                    <a:pos x="0" y="3"/>
                  </a:cxn>
                  <a:cxn ang="0">
                    <a:pos x="0" y="0"/>
                  </a:cxn>
                  <a:cxn ang="0">
                    <a:pos x="1" y="0"/>
                  </a:cxn>
                  <a:cxn ang="0">
                    <a:pos x="4" y="4"/>
                  </a:cxn>
                  <a:cxn ang="0">
                    <a:pos x="9" y="10"/>
                  </a:cxn>
                  <a:cxn ang="0">
                    <a:pos x="9" y="9"/>
                  </a:cxn>
                </a:cxnLst>
                <a:rect l="0" t="0" r="r" b="b"/>
                <a:pathLst>
                  <a:path w="11" h="19">
                    <a:moveTo>
                      <a:pt x="9" y="9"/>
                    </a:moveTo>
                    <a:lnTo>
                      <a:pt x="10" y="12"/>
                    </a:lnTo>
                    <a:lnTo>
                      <a:pt x="11" y="12"/>
                    </a:lnTo>
                    <a:lnTo>
                      <a:pt x="11" y="14"/>
                    </a:lnTo>
                    <a:lnTo>
                      <a:pt x="11" y="19"/>
                    </a:lnTo>
                    <a:lnTo>
                      <a:pt x="10" y="17"/>
                    </a:lnTo>
                    <a:lnTo>
                      <a:pt x="9" y="14"/>
                    </a:lnTo>
                    <a:lnTo>
                      <a:pt x="4" y="10"/>
                    </a:lnTo>
                    <a:lnTo>
                      <a:pt x="4" y="7"/>
                    </a:lnTo>
                    <a:lnTo>
                      <a:pt x="0" y="3"/>
                    </a:lnTo>
                    <a:lnTo>
                      <a:pt x="0" y="0"/>
                    </a:lnTo>
                    <a:lnTo>
                      <a:pt x="1" y="0"/>
                    </a:lnTo>
                    <a:lnTo>
                      <a:pt x="4" y="4"/>
                    </a:lnTo>
                    <a:lnTo>
                      <a:pt x="9" y="10"/>
                    </a:lnTo>
                    <a:lnTo>
                      <a:pt x="9" y="9"/>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09" name="Freeform 621"/>
              <p:cNvSpPr>
                <a:spLocks/>
              </p:cNvSpPr>
              <p:nvPr/>
            </p:nvSpPr>
            <p:spPr bwMode="auto">
              <a:xfrm>
                <a:off x="7885982" y="1508007"/>
                <a:ext cx="7900" cy="29409"/>
              </a:xfrm>
              <a:custGeom>
                <a:avLst/>
                <a:gdLst/>
                <a:ahLst/>
                <a:cxnLst>
                  <a:cxn ang="0">
                    <a:pos x="6" y="16"/>
                  </a:cxn>
                  <a:cxn ang="0">
                    <a:pos x="6" y="21"/>
                  </a:cxn>
                  <a:cxn ang="0">
                    <a:pos x="4" y="22"/>
                  </a:cxn>
                  <a:cxn ang="0">
                    <a:pos x="6" y="26"/>
                  </a:cxn>
                  <a:cxn ang="0">
                    <a:pos x="4" y="29"/>
                  </a:cxn>
                  <a:cxn ang="0">
                    <a:pos x="1" y="26"/>
                  </a:cxn>
                  <a:cxn ang="0">
                    <a:pos x="0" y="24"/>
                  </a:cxn>
                  <a:cxn ang="0">
                    <a:pos x="1" y="22"/>
                  </a:cxn>
                  <a:cxn ang="0">
                    <a:pos x="0" y="19"/>
                  </a:cxn>
                  <a:cxn ang="0">
                    <a:pos x="1" y="0"/>
                  </a:cxn>
                  <a:cxn ang="0">
                    <a:pos x="3" y="3"/>
                  </a:cxn>
                  <a:cxn ang="0">
                    <a:pos x="3" y="5"/>
                  </a:cxn>
                  <a:cxn ang="0">
                    <a:pos x="4" y="10"/>
                  </a:cxn>
                  <a:cxn ang="0">
                    <a:pos x="6" y="12"/>
                  </a:cxn>
                  <a:cxn ang="0">
                    <a:pos x="9" y="13"/>
                  </a:cxn>
                  <a:cxn ang="0">
                    <a:pos x="6" y="16"/>
                  </a:cxn>
                </a:cxnLst>
                <a:rect l="0" t="0" r="r" b="b"/>
                <a:pathLst>
                  <a:path w="9" h="29">
                    <a:moveTo>
                      <a:pt x="6" y="16"/>
                    </a:moveTo>
                    <a:lnTo>
                      <a:pt x="6" y="21"/>
                    </a:lnTo>
                    <a:lnTo>
                      <a:pt x="4" y="22"/>
                    </a:lnTo>
                    <a:lnTo>
                      <a:pt x="6" y="26"/>
                    </a:lnTo>
                    <a:lnTo>
                      <a:pt x="4" y="29"/>
                    </a:lnTo>
                    <a:lnTo>
                      <a:pt x="1" y="26"/>
                    </a:lnTo>
                    <a:lnTo>
                      <a:pt x="0" y="24"/>
                    </a:lnTo>
                    <a:lnTo>
                      <a:pt x="1" y="22"/>
                    </a:lnTo>
                    <a:lnTo>
                      <a:pt x="0" y="19"/>
                    </a:lnTo>
                    <a:lnTo>
                      <a:pt x="1" y="0"/>
                    </a:lnTo>
                    <a:lnTo>
                      <a:pt x="3" y="3"/>
                    </a:lnTo>
                    <a:lnTo>
                      <a:pt x="3" y="5"/>
                    </a:lnTo>
                    <a:lnTo>
                      <a:pt x="4" y="10"/>
                    </a:lnTo>
                    <a:lnTo>
                      <a:pt x="6" y="12"/>
                    </a:lnTo>
                    <a:lnTo>
                      <a:pt x="9" y="13"/>
                    </a:lnTo>
                    <a:lnTo>
                      <a:pt x="6" y="1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10" name="Freeform 622"/>
              <p:cNvSpPr>
                <a:spLocks/>
              </p:cNvSpPr>
              <p:nvPr/>
            </p:nvSpPr>
            <p:spPr bwMode="auto">
              <a:xfrm>
                <a:off x="7885982" y="1508007"/>
                <a:ext cx="7900" cy="29409"/>
              </a:xfrm>
              <a:custGeom>
                <a:avLst/>
                <a:gdLst/>
                <a:ahLst/>
                <a:cxnLst>
                  <a:cxn ang="0">
                    <a:pos x="6" y="16"/>
                  </a:cxn>
                  <a:cxn ang="0">
                    <a:pos x="6" y="21"/>
                  </a:cxn>
                  <a:cxn ang="0">
                    <a:pos x="4" y="22"/>
                  </a:cxn>
                  <a:cxn ang="0">
                    <a:pos x="6" y="26"/>
                  </a:cxn>
                  <a:cxn ang="0">
                    <a:pos x="4" y="29"/>
                  </a:cxn>
                  <a:cxn ang="0">
                    <a:pos x="1" y="26"/>
                  </a:cxn>
                  <a:cxn ang="0">
                    <a:pos x="0" y="24"/>
                  </a:cxn>
                  <a:cxn ang="0">
                    <a:pos x="1" y="22"/>
                  </a:cxn>
                  <a:cxn ang="0">
                    <a:pos x="0" y="19"/>
                  </a:cxn>
                  <a:cxn ang="0">
                    <a:pos x="1" y="0"/>
                  </a:cxn>
                  <a:cxn ang="0">
                    <a:pos x="3" y="3"/>
                  </a:cxn>
                  <a:cxn ang="0">
                    <a:pos x="3" y="5"/>
                  </a:cxn>
                  <a:cxn ang="0">
                    <a:pos x="4" y="10"/>
                  </a:cxn>
                  <a:cxn ang="0">
                    <a:pos x="6" y="12"/>
                  </a:cxn>
                  <a:cxn ang="0">
                    <a:pos x="9" y="13"/>
                  </a:cxn>
                  <a:cxn ang="0">
                    <a:pos x="6" y="16"/>
                  </a:cxn>
                </a:cxnLst>
                <a:rect l="0" t="0" r="r" b="b"/>
                <a:pathLst>
                  <a:path w="9" h="29">
                    <a:moveTo>
                      <a:pt x="6" y="16"/>
                    </a:moveTo>
                    <a:lnTo>
                      <a:pt x="6" y="21"/>
                    </a:lnTo>
                    <a:lnTo>
                      <a:pt x="4" y="22"/>
                    </a:lnTo>
                    <a:lnTo>
                      <a:pt x="6" y="26"/>
                    </a:lnTo>
                    <a:lnTo>
                      <a:pt x="4" y="29"/>
                    </a:lnTo>
                    <a:lnTo>
                      <a:pt x="1" y="26"/>
                    </a:lnTo>
                    <a:lnTo>
                      <a:pt x="0" y="24"/>
                    </a:lnTo>
                    <a:lnTo>
                      <a:pt x="1" y="22"/>
                    </a:lnTo>
                    <a:lnTo>
                      <a:pt x="0" y="19"/>
                    </a:lnTo>
                    <a:lnTo>
                      <a:pt x="1" y="0"/>
                    </a:lnTo>
                    <a:lnTo>
                      <a:pt x="3" y="3"/>
                    </a:lnTo>
                    <a:lnTo>
                      <a:pt x="3" y="5"/>
                    </a:lnTo>
                    <a:lnTo>
                      <a:pt x="4" y="10"/>
                    </a:lnTo>
                    <a:lnTo>
                      <a:pt x="6" y="12"/>
                    </a:lnTo>
                    <a:lnTo>
                      <a:pt x="9" y="13"/>
                    </a:lnTo>
                    <a:lnTo>
                      <a:pt x="6" y="1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11" name="Freeform 623"/>
              <p:cNvSpPr>
                <a:spLocks/>
              </p:cNvSpPr>
              <p:nvPr/>
            </p:nvSpPr>
            <p:spPr bwMode="auto">
              <a:xfrm>
                <a:off x="7900904" y="1484682"/>
                <a:ext cx="88658" cy="89243"/>
              </a:xfrm>
              <a:custGeom>
                <a:avLst/>
                <a:gdLst/>
                <a:ahLst/>
                <a:cxnLst>
                  <a:cxn ang="0">
                    <a:pos x="48" y="24"/>
                  </a:cxn>
                  <a:cxn ang="0">
                    <a:pos x="50" y="24"/>
                  </a:cxn>
                  <a:cxn ang="0">
                    <a:pos x="53" y="27"/>
                  </a:cxn>
                  <a:cxn ang="0">
                    <a:pos x="51" y="31"/>
                  </a:cxn>
                  <a:cxn ang="0">
                    <a:pos x="51" y="34"/>
                  </a:cxn>
                  <a:cxn ang="0">
                    <a:pos x="54" y="34"/>
                  </a:cxn>
                  <a:cxn ang="0">
                    <a:pos x="57" y="35"/>
                  </a:cxn>
                  <a:cxn ang="0">
                    <a:pos x="60" y="35"/>
                  </a:cxn>
                  <a:cxn ang="0">
                    <a:pos x="61" y="27"/>
                  </a:cxn>
                  <a:cxn ang="0">
                    <a:pos x="60" y="12"/>
                  </a:cxn>
                  <a:cxn ang="0">
                    <a:pos x="64" y="8"/>
                  </a:cxn>
                  <a:cxn ang="0">
                    <a:pos x="79" y="28"/>
                  </a:cxn>
                  <a:cxn ang="0">
                    <a:pos x="83" y="30"/>
                  </a:cxn>
                  <a:cxn ang="0">
                    <a:pos x="77" y="47"/>
                  </a:cxn>
                  <a:cxn ang="0">
                    <a:pos x="84" y="66"/>
                  </a:cxn>
                  <a:cxn ang="0">
                    <a:pos x="95" y="70"/>
                  </a:cxn>
                  <a:cxn ang="0">
                    <a:pos x="95" y="73"/>
                  </a:cxn>
                  <a:cxn ang="0">
                    <a:pos x="83" y="72"/>
                  </a:cxn>
                  <a:cxn ang="0">
                    <a:pos x="80" y="79"/>
                  </a:cxn>
                  <a:cxn ang="0">
                    <a:pos x="76" y="70"/>
                  </a:cxn>
                  <a:cxn ang="0">
                    <a:pos x="73" y="66"/>
                  </a:cxn>
                  <a:cxn ang="0">
                    <a:pos x="60" y="75"/>
                  </a:cxn>
                  <a:cxn ang="0">
                    <a:pos x="48" y="80"/>
                  </a:cxn>
                  <a:cxn ang="0">
                    <a:pos x="44" y="79"/>
                  </a:cxn>
                  <a:cxn ang="0">
                    <a:pos x="48" y="77"/>
                  </a:cxn>
                  <a:cxn ang="0">
                    <a:pos x="44" y="72"/>
                  </a:cxn>
                  <a:cxn ang="0">
                    <a:pos x="39" y="69"/>
                  </a:cxn>
                  <a:cxn ang="0">
                    <a:pos x="41" y="75"/>
                  </a:cxn>
                  <a:cxn ang="0">
                    <a:pos x="37" y="86"/>
                  </a:cxn>
                  <a:cxn ang="0">
                    <a:pos x="31" y="85"/>
                  </a:cxn>
                  <a:cxn ang="0">
                    <a:pos x="19" y="80"/>
                  </a:cxn>
                  <a:cxn ang="0">
                    <a:pos x="12" y="69"/>
                  </a:cxn>
                  <a:cxn ang="0">
                    <a:pos x="0" y="51"/>
                  </a:cxn>
                  <a:cxn ang="0">
                    <a:pos x="6" y="51"/>
                  </a:cxn>
                  <a:cxn ang="0">
                    <a:pos x="8" y="47"/>
                  </a:cxn>
                  <a:cxn ang="0">
                    <a:pos x="5" y="46"/>
                  </a:cxn>
                  <a:cxn ang="0">
                    <a:pos x="8" y="46"/>
                  </a:cxn>
                  <a:cxn ang="0">
                    <a:pos x="5" y="40"/>
                  </a:cxn>
                  <a:cxn ang="0">
                    <a:pos x="3" y="37"/>
                  </a:cxn>
                  <a:cxn ang="0">
                    <a:pos x="6" y="37"/>
                  </a:cxn>
                  <a:cxn ang="0">
                    <a:pos x="6" y="32"/>
                  </a:cxn>
                  <a:cxn ang="0">
                    <a:pos x="8" y="27"/>
                  </a:cxn>
                  <a:cxn ang="0">
                    <a:pos x="12" y="25"/>
                  </a:cxn>
                  <a:cxn ang="0">
                    <a:pos x="9" y="24"/>
                  </a:cxn>
                  <a:cxn ang="0">
                    <a:pos x="10" y="14"/>
                  </a:cxn>
                  <a:cxn ang="0">
                    <a:pos x="19" y="11"/>
                  </a:cxn>
                  <a:cxn ang="0">
                    <a:pos x="22" y="6"/>
                  </a:cxn>
                  <a:cxn ang="0">
                    <a:pos x="32" y="0"/>
                  </a:cxn>
                  <a:cxn ang="0">
                    <a:pos x="31" y="3"/>
                  </a:cxn>
                  <a:cxn ang="0">
                    <a:pos x="38" y="14"/>
                  </a:cxn>
                  <a:cxn ang="0">
                    <a:pos x="42" y="14"/>
                  </a:cxn>
                  <a:cxn ang="0">
                    <a:pos x="45" y="18"/>
                  </a:cxn>
                  <a:cxn ang="0">
                    <a:pos x="45" y="22"/>
                  </a:cxn>
                </a:cxnLst>
                <a:rect l="0" t="0" r="r" b="b"/>
                <a:pathLst>
                  <a:path w="96" h="86">
                    <a:moveTo>
                      <a:pt x="47" y="22"/>
                    </a:moveTo>
                    <a:lnTo>
                      <a:pt x="48" y="24"/>
                    </a:lnTo>
                    <a:lnTo>
                      <a:pt x="48" y="25"/>
                    </a:lnTo>
                    <a:lnTo>
                      <a:pt x="50" y="24"/>
                    </a:lnTo>
                    <a:lnTo>
                      <a:pt x="53" y="24"/>
                    </a:lnTo>
                    <a:lnTo>
                      <a:pt x="53" y="27"/>
                    </a:lnTo>
                    <a:lnTo>
                      <a:pt x="53" y="28"/>
                    </a:lnTo>
                    <a:lnTo>
                      <a:pt x="51" y="31"/>
                    </a:lnTo>
                    <a:lnTo>
                      <a:pt x="53" y="31"/>
                    </a:lnTo>
                    <a:lnTo>
                      <a:pt x="51" y="34"/>
                    </a:lnTo>
                    <a:lnTo>
                      <a:pt x="53" y="35"/>
                    </a:lnTo>
                    <a:lnTo>
                      <a:pt x="54" y="34"/>
                    </a:lnTo>
                    <a:lnTo>
                      <a:pt x="55" y="37"/>
                    </a:lnTo>
                    <a:lnTo>
                      <a:pt x="57" y="35"/>
                    </a:lnTo>
                    <a:lnTo>
                      <a:pt x="60" y="35"/>
                    </a:lnTo>
                    <a:lnTo>
                      <a:pt x="60" y="35"/>
                    </a:lnTo>
                    <a:lnTo>
                      <a:pt x="60" y="28"/>
                    </a:lnTo>
                    <a:lnTo>
                      <a:pt x="61" y="27"/>
                    </a:lnTo>
                    <a:lnTo>
                      <a:pt x="60" y="24"/>
                    </a:lnTo>
                    <a:lnTo>
                      <a:pt x="60" y="12"/>
                    </a:lnTo>
                    <a:lnTo>
                      <a:pt x="61" y="9"/>
                    </a:lnTo>
                    <a:lnTo>
                      <a:pt x="64" y="8"/>
                    </a:lnTo>
                    <a:lnTo>
                      <a:pt x="70" y="12"/>
                    </a:lnTo>
                    <a:lnTo>
                      <a:pt x="79" y="28"/>
                    </a:lnTo>
                    <a:lnTo>
                      <a:pt x="80" y="28"/>
                    </a:lnTo>
                    <a:lnTo>
                      <a:pt x="83" y="30"/>
                    </a:lnTo>
                    <a:lnTo>
                      <a:pt x="83" y="34"/>
                    </a:lnTo>
                    <a:lnTo>
                      <a:pt x="77" y="47"/>
                    </a:lnTo>
                    <a:lnTo>
                      <a:pt x="82" y="61"/>
                    </a:lnTo>
                    <a:lnTo>
                      <a:pt x="84" y="66"/>
                    </a:lnTo>
                    <a:lnTo>
                      <a:pt x="90" y="67"/>
                    </a:lnTo>
                    <a:lnTo>
                      <a:pt x="95" y="70"/>
                    </a:lnTo>
                    <a:lnTo>
                      <a:pt x="96" y="73"/>
                    </a:lnTo>
                    <a:lnTo>
                      <a:pt x="95" y="73"/>
                    </a:lnTo>
                    <a:lnTo>
                      <a:pt x="90" y="76"/>
                    </a:lnTo>
                    <a:lnTo>
                      <a:pt x="83" y="72"/>
                    </a:lnTo>
                    <a:lnTo>
                      <a:pt x="83" y="76"/>
                    </a:lnTo>
                    <a:lnTo>
                      <a:pt x="80" y="79"/>
                    </a:lnTo>
                    <a:lnTo>
                      <a:pt x="74" y="72"/>
                    </a:lnTo>
                    <a:lnTo>
                      <a:pt x="76" y="70"/>
                    </a:lnTo>
                    <a:lnTo>
                      <a:pt x="76" y="67"/>
                    </a:lnTo>
                    <a:lnTo>
                      <a:pt x="73" y="66"/>
                    </a:lnTo>
                    <a:lnTo>
                      <a:pt x="70" y="70"/>
                    </a:lnTo>
                    <a:lnTo>
                      <a:pt x="60" y="75"/>
                    </a:lnTo>
                    <a:lnTo>
                      <a:pt x="55" y="77"/>
                    </a:lnTo>
                    <a:lnTo>
                      <a:pt x="48" y="80"/>
                    </a:lnTo>
                    <a:lnTo>
                      <a:pt x="47" y="80"/>
                    </a:lnTo>
                    <a:lnTo>
                      <a:pt x="44" y="79"/>
                    </a:lnTo>
                    <a:lnTo>
                      <a:pt x="45" y="79"/>
                    </a:lnTo>
                    <a:lnTo>
                      <a:pt x="48" y="77"/>
                    </a:lnTo>
                    <a:lnTo>
                      <a:pt x="45" y="76"/>
                    </a:lnTo>
                    <a:lnTo>
                      <a:pt x="44" y="72"/>
                    </a:lnTo>
                    <a:lnTo>
                      <a:pt x="42" y="67"/>
                    </a:lnTo>
                    <a:lnTo>
                      <a:pt x="39" y="69"/>
                    </a:lnTo>
                    <a:lnTo>
                      <a:pt x="38" y="75"/>
                    </a:lnTo>
                    <a:lnTo>
                      <a:pt x="41" y="75"/>
                    </a:lnTo>
                    <a:lnTo>
                      <a:pt x="38" y="83"/>
                    </a:lnTo>
                    <a:lnTo>
                      <a:pt x="37" y="86"/>
                    </a:lnTo>
                    <a:lnTo>
                      <a:pt x="35" y="86"/>
                    </a:lnTo>
                    <a:lnTo>
                      <a:pt x="31" y="85"/>
                    </a:lnTo>
                    <a:lnTo>
                      <a:pt x="24" y="83"/>
                    </a:lnTo>
                    <a:lnTo>
                      <a:pt x="19" y="80"/>
                    </a:lnTo>
                    <a:lnTo>
                      <a:pt x="15" y="67"/>
                    </a:lnTo>
                    <a:lnTo>
                      <a:pt x="12" y="69"/>
                    </a:lnTo>
                    <a:lnTo>
                      <a:pt x="5" y="63"/>
                    </a:lnTo>
                    <a:lnTo>
                      <a:pt x="0" y="51"/>
                    </a:lnTo>
                    <a:lnTo>
                      <a:pt x="3" y="50"/>
                    </a:lnTo>
                    <a:lnTo>
                      <a:pt x="6" y="51"/>
                    </a:lnTo>
                    <a:lnTo>
                      <a:pt x="9" y="50"/>
                    </a:lnTo>
                    <a:lnTo>
                      <a:pt x="8" y="47"/>
                    </a:lnTo>
                    <a:lnTo>
                      <a:pt x="6" y="47"/>
                    </a:lnTo>
                    <a:lnTo>
                      <a:pt x="5" y="46"/>
                    </a:lnTo>
                    <a:lnTo>
                      <a:pt x="6" y="46"/>
                    </a:lnTo>
                    <a:lnTo>
                      <a:pt x="8" y="46"/>
                    </a:lnTo>
                    <a:lnTo>
                      <a:pt x="8" y="41"/>
                    </a:lnTo>
                    <a:lnTo>
                      <a:pt x="5" y="40"/>
                    </a:lnTo>
                    <a:lnTo>
                      <a:pt x="3" y="37"/>
                    </a:lnTo>
                    <a:lnTo>
                      <a:pt x="3" y="37"/>
                    </a:lnTo>
                    <a:lnTo>
                      <a:pt x="6" y="40"/>
                    </a:lnTo>
                    <a:lnTo>
                      <a:pt x="6" y="37"/>
                    </a:lnTo>
                    <a:lnTo>
                      <a:pt x="6" y="34"/>
                    </a:lnTo>
                    <a:lnTo>
                      <a:pt x="6" y="32"/>
                    </a:lnTo>
                    <a:lnTo>
                      <a:pt x="6" y="28"/>
                    </a:lnTo>
                    <a:lnTo>
                      <a:pt x="8" y="27"/>
                    </a:lnTo>
                    <a:lnTo>
                      <a:pt x="12" y="27"/>
                    </a:lnTo>
                    <a:lnTo>
                      <a:pt x="12" y="25"/>
                    </a:lnTo>
                    <a:lnTo>
                      <a:pt x="10" y="22"/>
                    </a:lnTo>
                    <a:lnTo>
                      <a:pt x="9" y="24"/>
                    </a:lnTo>
                    <a:lnTo>
                      <a:pt x="8" y="18"/>
                    </a:lnTo>
                    <a:lnTo>
                      <a:pt x="10" y="14"/>
                    </a:lnTo>
                    <a:lnTo>
                      <a:pt x="12" y="15"/>
                    </a:lnTo>
                    <a:lnTo>
                      <a:pt x="19" y="11"/>
                    </a:lnTo>
                    <a:lnTo>
                      <a:pt x="21" y="5"/>
                    </a:lnTo>
                    <a:lnTo>
                      <a:pt x="22" y="6"/>
                    </a:lnTo>
                    <a:lnTo>
                      <a:pt x="28" y="0"/>
                    </a:lnTo>
                    <a:lnTo>
                      <a:pt x="32" y="0"/>
                    </a:lnTo>
                    <a:lnTo>
                      <a:pt x="32" y="0"/>
                    </a:lnTo>
                    <a:lnTo>
                      <a:pt x="31" y="3"/>
                    </a:lnTo>
                    <a:lnTo>
                      <a:pt x="32" y="6"/>
                    </a:lnTo>
                    <a:lnTo>
                      <a:pt x="38" y="14"/>
                    </a:lnTo>
                    <a:lnTo>
                      <a:pt x="39" y="15"/>
                    </a:lnTo>
                    <a:lnTo>
                      <a:pt x="42" y="14"/>
                    </a:lnTo>
                    <a:lnTo>
                      <a:pt x="42" y="16"/>
                    </a:lnTo>
                    <a:lnTo>
                      <a:pt x="45" y="18"/>
                    </a:lnTo>
                    <a:lnTo>
                      <a:pt x="44" y="21"/>
                    </a:lnTo>
                    <a:lnTo>
                      <a:pt x="45" y="22"/>
                    </a:lnTo>
                    <a:lnTo>
                      <a:pt x="47" y="2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12" name="Freeform 625"/>
              <p:cNvSpPr>
                <a:spLocks/>
              </p:cNvSpPr>
              <p:nvPr/>
            </p:nvSpPr>
            <p:spPr bwMode="auto">
              <a:xfrm>
                <a:off x="7962350" y="1489753"/>
                <a:ext cx="53546" cy="66933"/>
              </a:xfrm>
              <a:custGeom>
                <a:avLst/>
                <a:gdLst/>
                <a:ahLst/>
                <a:cxnLst>
                  <a:cxn ang="0">
                    <a:pos x="0" y="0"/>
                  </a:cxn>
                  <a:cxn ang="0">
                    <a:pos x="4" y="1"/>
                  </a:cxn>
                  <a:cxn ang="0">
                    <a:pos x="9" y="7"/>
                  </a:cxn>
                  <a:cxn ang="0">
                    <a:pos x="12" y="10"/>
                  </a:cxn>
                  <a:cxn ang="0">
                    <a:pos x="15" y="14"/>
                  </a:cxn>
                  <a:cxn ang="0">
                    <a:pos x="17" y="17"/>
                  </a:cxn>
                  <a:cxn ang="0">
                    <a:pos x="23" y="19"/>
                  </a:cxn>
                  <a:cxn ang="0">
                    <a:pos x="28" y="14"/>
                  </a:cxn>
                  <a:cxn ang="0">
                    <a:pos x="31" y="14"/>
                  </a:cxn>
                  <a:cxn ang="0">
                    <a:pos x="36" y="16"/>
                  </a:cxn>
                  <a:cxn ang="0">
                    <a:pos x="39" y="23"/>
                  </a:cxn>
                  <a:cxn ang="0">
                    <a:pos x="52" y="30"/>
                  </a:cxn>
                  <a:cxn ang="0">
                    <a:pos x="57" y="35"/>
                  </a:cxn>
                  <a:cxn ang="0">
                    <a:pos x="58" y="35"/>
                  </a:cxn>
                  <a:cxn ang="0">
                    <a:pos x="58" y="38"/>
                  </a:cxn>
                  <a:cxn ang="0">
                    <a:pos x="54" y="36"/>
                  </a:cxn>
                  <a:cxn ang="0">
                    <a:pos x="51" y="38"/>
                  </a:cxn>
                  <a:cxn ang="0">
                    <a:pos x="51" y="39"/>
                  </a:cxn>
                  <a:cxn ang="0">
                    <a:pos x="47" y="41"/>
                  </a:cxn>
                  <a:cxn ang="0">
                    <a:pos x="48" y="41"/>
                  </a:cxn>
                  <a:cxn ang="0">
                    <a:pos x="48" y="46"/>
                  </a:cxn>
                  <a:cxn ang="0">
                    <a:pos x="49" y="49"/>
                  </a:cxn>
                  <a:cxn ang="0">
                    <a:pos x="48" y="52"/>
                  </a:cxn>
                  <a:cxn ang="0">
                    <a:pos x="47" y="56"/>
                  </a:cxn>
                  <a:cxn ang="0">
                    <a:pos x="44" y="58"/>
                  </a:cxn>
                  <a:cxn ang="0">
                    <a:pos x="42" y="59"/>
                  </a:cxn>
                  <a:cxn ang="0">
                    <a:pos x="36" y="64"/>
                  </a:cxn>
                  <a:cxn ang="0">
                    <a:pos x="33" y="62"/>
                  </a:cxn>
                  <a:cxn ang="0">
                    <a:pos x="23" y="59"/>
                  </a:cxn>
                  <a:cxn ang="0">
                    <a:pos x="20" y="56"/>
                  </a:cxn>
                  <a:cxn ang="0">
                    <a:pos x="15" y="42"/>
                  </a:cxn>
                  <a:cxn ang="0">
                    <a:pos x="19" y="22"/>
                  </a:cxn>
                  <a:cxn ang="0">
                    <a:pos x="17" y="22"/>
                  </a:cxn>
                  <a:cxn ang="0">
                    <a:pos x="16" y="19"/>
                  </a:cxn>
                  <a:cxn ang="0">
                    <a:pos x="0" y="0"/>
                  </a:cxn>
                </a:cxnLst>
                <a:rect l="0" t="0" r="r" b="b"/>
                <a:pathLst>
                  <a:path w="58" h="64">
                    <a:moveTo>
                      <a:pt x="0" y="0"/>
                    </a:moveTo>
                    <a:lnTo>
                      <a:pt x="4" y="1"/>
                    </a:lnTo>
                    <a:lnTo>
                      <a:pt x="9" y="7"/>
                    </a:lnTo>
                    <a:lnTo>
                      <a:pt x="12" y="10"/>
                    </a:lnTo>
                    <a:lnTo>
                      <a:pt x="15" y="14"/>
                    </a:lnTo>
                    <a:lnTo>
                      <a:pt x="17" y="17"/>
                    </a:lnTo>
                    <a:lnTo>
                      <a:pt x="23" y="19"/>
                    </a:lnTo>
                    <a:lnTo>
                      <a:pt x="28" y="14"/>
                    </a:lnTo>
                    <a:lnTo>
                      <a:pt x="31" y="14"/>
                    </a:lnTo>
                    <a:lnTo>
                      <a:pt x="36" y="16"/>
                    </a:lnTo>
                    <a:lnTo>
                      <a:pt x="39" y="23"/>
                    </a:lnTo>
                    <a:lnTo>
                      <a:pt x="52" y="30"/>
                    </a:lnTo>
                    <a:lnTo>
                      <a:pt x="57" y="35"/>
                    </a:lnTo>
                    <a:lnTo>
                      <a:pt x="58" y="35"/>
                    </a:lnTo>
                    <a:lnTo>
                      <a:pt x="58" y="38"/>
                    </a:lnTo>
                    <a:lnTo>
                      <a:pt x="54" y="36"/>
                    </a:lnTo>
                    <a:lnTo>
                      <a:pt x="51" y="38"/>
                    </a:lnTo>
                    <a:lnTo>
                      <a:pt x="51" y="39"/>
                    </a:lnTo>
                    <a:lnTo>
                      <a:pt x="47" y="41"/>
                    </a:lnTo>
                    <a:lnTo>
                      <a:pt x="48" y="41"/>
                    </a:lnTo>
                    <a:lnTo>
                      <a:pt x="48" y="46"/>
                    </a:lnTo>
                    <a:lnTo>
                      <a:pt x="49" y="49"/>
                    </a:lnTo>
                    <a:lnTo>
                      <a:pt x="48" y="52"/>
                    </a:lnTo>
                    <a:lnTo>
                      <a:pt x="47" y="56"/>
                    </a:lnTo>
                    <a:lnTo>
                      <a:pt x="44" y="58"/>
                    </a:lnTo>
                    <a:lnTo>
                      <a:pt x="42" y="59"/>
                    </a:lnTo>
                    <a:lnTo>
                      <a:pt x="36" y="64"/>
                    </a:lnTo>
                    <a:lnTo>
                      <a:pt x="33" y="62"/>
                    </a:lnTo>
                    <a:lnTo>
                      <a:pt x="23" y="59"/>
                    </a:lnTo>
                    <a:lnTo>
                      <a:pt x="20" y="56"/>
                    </a:lnTo>
                    <a:lnTo>
                      <a:pt x="15" y="42"/>
                    </a:lnTo>
                    <a:lnTo>
                      <a:pt x="19" y="22"/>
                    </a:lnTo>
                    <a:lnTo>
                      <a:pt x="17" y="22"/>
                    </a:lnTo>
                    <a:lnTo>
                      <a:pt x="16" y="19"/>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13" name="Freeform 627"/>
              <p:cNvSpPr>
                <a:spLocks/>
              </p:cNvSpPr>
              <p:nvPr/>
            </p:nvSpPr>
            <p:spPr bwMode="auto">
              <a:xfrm>
                <a:off x="8027308" y="1524233"/>
                <a:ext cx="63202" cy="48678"/>
              </a:xfrm>
              <a:custGeom>
                <a:avLst/>
                <a:gdLst/>
                <a:ahLst/>
                <a:cxnLst>
                  <a:cxn ang="0">
                    <a:pos x="1" y="0"/>
                  </a:cxn>
                  <a:cxn ang="0">
                    <a:pos x="3" y="2"/>
                  </a:cxn>
                  <a:cxn ang="0">
                    <a:pos x="4" y="3"/>
                  </a:cxn>
                  <a:cxn ang="0">
                    <a:pos x="6" y="5"/>
                  </a:cxn>
                  <a:cxn ang="0">
                    <a:pos x="7" y="8"/>
                  </a:cxn>
                  <a:cxn ang="0">
                    <a:pos x="13" y="9"/>
                  </a:cxn>
                  <a:cxn ang="0">
                    <a:pos x="17" y="9"/>
                  </a:cxn>
                  <a:cxn ang="0">
                    <a:pos x="19" y="9"/>
                  </a:cxn>
                  <a:cxn ang="0">
                    <a:pos x="33" y="10"/>
                  </a:cxn>
                  <a:cxn ang="0">
                    <a:pos x="33" y="13"/>
                  </a:cxn>
                  <a:cxn ang="0">
                    <a:pos x="32" y="13"/>
                  </a:cxn>
                  <a:cxn ang="0">
                    <a:pos x="32" y="15"/>
                  </a:cxn>
                  <a:cxn ang="0">
                    <a:pos x="29" y="18"/>
                  </a:cxn>
                  <a:cxn ang="0">
                    <a:pos x="40" y="18"/>
                  </a:cxn>
                  <a:cxn ang="0">
                    <a:pos x="42" y="16"/>
                  </a:cxn>
                  <a:cxn ang="0">
                    <a:pos x="45" y="16"/>
                  </a:cxn>
                  <a:cxn ang="0">
                    <a:pos x="48" y="18"/>
                  </a:cxn>
                  <a:cxn ang="0">
                    <a:pos x="49" y="21"/>
                  </a:cxn>
                  <a:cxn ang="0">
                    <a:pos x="53" y="21"/>
                  </a:cxn>
                  <a:cxn ang="0">
                    <a:pos x="56" y="21"/>
                  </a:cxn>
                  <a:cxn ang="0">
                    <a:pos x="58" y="23"/>
                  </a:cxn>
                  <a:cxn ang="0">
                    <a:pos x="69" y="26"/>
                  </a:cxn>
                  <a:cxn ang="0">
                    <a:pos x="67" y="29"/>
                  </a:cxn>
                  <a:cxn ang="0">
                    <a:pos x="67" y="35"/>
                  </a:cxn>
                  <a:cxn ang="0">
                    <a:pos x="64" y="41"/>
                  </a:cxn>
                  <a:cxn ang="0">
                    <a:pos x="53" y="47"/>
                  </a:cxn>
                  <a:cxn ang="0">
                    <a:pos x="51" y="47"/>
                  </a:cxn>
                  <a:cxn ang="0">
                    <a:pos x="49" y="45"/>
                  </a:cxn>
                  <a:cxn ang="0">
                    <a:pos x="48" y="47"/>
                  </a:cxn>
                  <a:cxn ang="0">
                    <a:pos x="46" y="45"/>
                  </a:cxn>
                  <a:cxn ang="0">
                    <a:pos x="45" y="44"/>
                  </a:cxn>
                  <a:cxn ang="0">
                    <a:pos x="45" y="45"/>
                  </a:cxn>
                  <a:cxn ang="0">
                    <a:pos x="42" y="45"/>
                  </a:cxn>
                  <a:cxn ang="0">
                    <a:pos x="38" y="44"/>
                  </a:cxn>
                  <a:cxn ang="0">
                    <a:pos x="35" y="41"/>
                  </a:cxn>
                  <a:cxn ang="0">
                    <a:pos x="30" y="41"/>
                  </a:cxn>
                  <a:cxn ang="0">
                    <a:pos x="27" y="39"/>
                  </a:cxn>
                  <a:cxn ang="0">
                    <a:pos x="24" y="37"/>
                  </a:cxn>
                  <a:cxn ang="0">
                    <a:pos x="22" y="35"/>
                  </a:cxn>
                  <a:cxn ang="0">
                    <a:pos x="20" y="32"/>
                  </a:cxn>
                  <a:cxn ang="0">
                    <a:pos x="14" y="31"/>
                  </a:cxn>
                  <a:cxn ang="0">
                    <a:pos x="11" y="29"/>
                  </a:cxn>
                  <a:cxn ang="0">
                    <a:pos x="11" y="22"/>
                  </a:cxn>
                  <a:cxn ang="0">
                    <a:pos x="8" y="18"/>
                  </a:cxn>
                  <a:cxn ang="0">
                    <a:pos x="7" y="13"/>
                  </a:cxn>
                  <a:cxn ang="0">
                    <a:pos x="1" y="6"/>
                  </a:cxn>
                  <a:cxn ang="0">
                    <a:pos x="0" y="2"/>
                  </a:cxn>
                  <a:cxn ang="0">
                    <a:pos x="1" y="0"/>
                  </a:cxn>
                </a:cxnLst>
                <a:rect l="0" t="0" r="r" b="b"/>
                <a:pathLst>
                  <a:path w="69" h="47">
                    <a:moveTo>
                      <a:pt x="1" y="0"/>
                    </a:moveTo>
                    <a:lnTo>
                      <a:pt x="3" y="2"/>
                    </a:lnTo>
                    <a:lnTo>
                      <a:pt x="4" y="3"/>
                    </a:lnTo>
                    <a:lnTo>
                      <a:pt x="6" y="5"/>
                    </a:lnTo>
                    <a:lnTo>
                      <a:pt x="7" y="8"/>
                    </a:lnTo>
                    <a:lnTo>
                      <a:pt x="13" y="9"/>
                    </a:lnTo>
                    <a:lnTo>
                      <a:pt x="17" y="9"/>
                    </a:lnTo>
                    <a:lnTo>
                      <a:pt x="19" y="9"/>
                    </a:lnTo>
                    <a:lnTo>
                      <a:pt x="33" y="10"/>
                    </a:lnTo>
                    <a:lnTo>
                      <a:pt x="33" y="13"/>
                    </a:lnTo>
                    <a:lnTo>
                      <a:pt x="32" y="13"/>
                    </a:lnTo>
                    <a:lnTo>
                      <a:pt x="32" y="15"/>
                    </a:lnTo>
                    <a:lnTo>
                      <a:pt x="29" y="18"/>
                    </a:lnTo>
                    <a:lnTo>
                      <a:pt x="40" y="18"/>
                    </a:lnTo>
                    <a:lnTo>
                      <a:pt x="42" y="16"/>
                    </a:lnTo>
                    <a:lnTo>
                      <a:pt x="45" y="16"/>
                    </a:lnTo>
                    <a:lnTo>
                      <a:pt x="48" y="18"/>
                    </a:lnTo>
                    <a:lnTo>
                      <a:pt x="49" y="21"/>
                    </a:lnTo>
                    <a:lnTo>
                      <a:pt x="53" y="21"/>
                    </a:lnTo>
                    <a:lnTo>
                      <a:pt x="56" y="21"/>
                    </a:lnTo>
                    <a:lnTo>
                      <a:pt x="58" y="23"/>
                    </a:lnTo>
                    <a:lnTo>
                      <a:pt x="69" y="26"/>
                    </a:lnTo>
                    <a:lnTo>
                      <a:pt x="67" y="29"/>
                    </a:lnTo>
                    <a:lnTo>
                      <a:pt x="67" y="35"/>
                    </a:lnTo>
                    <a:lnTo>
                      <a:pt x="64" y="41"/>
                    </a:lnTo>
                    <a:lnTo>
                      <a:pt x="53" y="47"/>
                    </a:lnTo>
                    <a:lnTo>
                      <a:pt x="51" y="47"/>
                    </a:lnTo>
                    <a:lnTo>
                      <a:pt x="49" y="45"/>
                    </a:lnTo>
                    <a:lnTo>
                      <a:pt x="48" y="47"/>
                    </a:lnTo>
                    <a:lnTo>
                      <a:pt x="46" y="45"/>
                    </a:lnTo>
                    <a:lnTo>
                      <a:pt x="45" y="44"/>
                    </a:lnTo>
                    <a:lnTo>
                      <a:pt x="45" y="45"/>
                    </a:lnTo>
                    <a:lnTo>
                      <a:pt x="42" y="45"/>
                    </a:lnTo>
                    <a:lnTo>
                      <a:pt x="38" y="44"/>
                    </a:lnTo>
                    <a:lnTo>
                      <a:pt x="35" y="41"/>
                    </a:lnTo>
                    <a:lnTo>
                      <a:pt x="30" y="41"/>
                    </a:lnTo>
                    <a:lnTo>
                      <a:pt x="27" y="39"/>
                    </a:lnTo>
                    <a:lnTo>
                      <a:pt x="24" y="37"/>
                    </a:lnTo>
                    <a:lnTo>
                      <a:pt x="22" y="35"/>
                    </a:lnTo>
                    <a:lnTo>
                      <a:pt x="20" y="32"/>
                    </a:lnTo>
                    <a:lnTo>
                      <a:pt x="14" y="31"/>
                    </a:lnTo>
                    <a:lnTo>
                      <a:pt x="11" y="29"/>
                    </a:lnTo>
                    <a:lnTo>
                      <a:pt x="11" y="22"/>
                    </a:lnTo>
                    <a:lnTo>
                      <a:pt x="8" y="18"/>
                    </a:lnTo>
                    <a:lnTo>
                      <a:pt x="7" y="13"/>
                    </a:lnTo>
                    <a:lnTo>
                      <a:pt x="1" y="6"/>
                    </a:lnTo>
                    <a:lnTo>
                      <a:pt x="0" y="2"/>
                    </a:lnTo>
                    <a:lnTo>
                      <a:pt x="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14" name="Freeform 628"/>
              <p:cNvSpPr>
                <a:spLocks/>
              </p:cNvSpPr>
              <p:nvPr/>
            </p:nvSpPr>
            <p:spPr bwMode="auto">
              <a:xfrm>
                <a:off x="8027308" y="1524233"/>
                <a:ext cx="63202" cy="48678"/>
              </a:xfrm>
              <a:custGeom>
                <a:avLst/>
                <a:gdLst/>
                <a:ahLst/>
                <a:cxnLst>
                  <a:cxn ang="0">
                    <a:pos x="1" y="0"/>
                  </a:cxn>
                  <a:cxn ang="0">
                    <a:pos x="3" y="2"/>
                  </a:cxn>
                  <a:cxn ang="0">
                    <a:pos x="4" y="3"/>
                  </a:cxn>
                  <a:cxn ang="0">
                    <a:pos x="6" y="5"/>
                  </a:cxn>
                  <a:cxn ang="0">
                    <a:pos x="7" y="8"/>
                  </a:cxn>
                  <a:cxn ang="0">
                    <a:pos x="13" y="9"/>
                  </a:cxn>
                  <a:cxn ang="0">
                    <a:pos x="17" y="9"/>
                  </a:cxn>
                  <a:cxn ang="0">
                    <a:pos x="19" y="9"/>
                  </a:cxn>
                  <a:cxn ang="0">
                    <a:pos x="33" y="10"/>
                  </a:cxn>
                  <a:cxn ang="0">
                    <a:pos x="33" y="13"/>
                  </a:cxn>
                  <a:cxn ang="0">
                    <a:pos x="32" y="13"/>
                  </a:cxn>
                  <a:cxn ang="0">
                    <a:pos x="32" y="15"/>
                  </a:cxn>
                  <a:cxn ang="0">
                    <a:pos x="29" y="18"/>
                  </a:cxn>
                  <a:cxn ang="0">
                    <a:pos x="40" y="18"/>
                  </a:cxn>
                  <a:cxn ang="0">
                    <a:pos x="42" y="16"/>
                  </a:cxn>
                  <a:cxn ang="0">
                    <a:pos x="45" y="16"/>
                  </a:cxn>
                  <a:cxn ang="0">
                    <a:pos x="48" y="18"/>
                  </a:cxn>
                  <a:cxn ang="0">
                    <a:pos x="49" y="21"/>
                  </a:cxn>
                  <a:cxn ang="0">
                    <a:pos x="53" y="21"/>
                  </a:cxn>
                  <a:cxn ang="0">
                    <a:pos x="56" y="21"/>
                  </a:cxn>
                  <a:cxn ang="0">
                    <a:pos x="58" y="23"/>
                  </a:cxn>
                  <a:cxn ang="0">
                    <a:pos x="69" y="26"/>
                  </a:cxn>
                  <a:cxn ang="0">
                    <a:pos x="67" y="29"/>
                  </a:cxn>
                  <a:cxn ang="0">
                    <a:pos x="67" y="35"/>
                  </a:cxn>
                  <a:cxn ang="0">
                    <a:pos x="64" y="41"/>
                  </a:cxn>
                  <a:cxn ang="0">
                    <a:pos x="53" y="47"/>
                  </a:cxn>
                  <a:cxn ang="0">
                    <a:pos x="51" y="47"/>
                  </a:cxn>
                  <a:cxn ang="0">
                    <a:pos x="49" y="45"/>
                  </a:cxn>
                  <a:cxn ang="0">
                    <a:pos x="48" y="47"/>
                  </a:cxn>
                  <a:cxn ang="0">
                    <a:pos x="46" y="45"/>
                  </a:cxn>
                  <a:cxn ang="0">
                    <a:pos x="45" y="44"/>
                  </a:cxn>
                  <a:cxn ang="0">
                    <a:pos x="45" y="45"/>
                  </a:cxn>
                  <a:cxn ang="0">
                    <a:pos x="42" y="45"/>
                  </a:cxn>
                  <a:cxn ang="0">
                    <a:pos x="38" y="44"/>
                  </a:cxn>
                  <a:cxn ang="0">
                    <a:pos x="35" y="41"/>
                  </a:cxn>
                  <a:cxn ang="0">
                    <a:pos x="30" y="41"/>
                  </a:cxn>
                  <a:cxn ang="0">
                    <a:pos x="27" y="39"/>
                  </a:cxn>
                  <a:cxn ang="0">
                    <a:pos x="24" y="37"/>
                  </a:cxn>
                  <a:cxn ang="0">
                    <a:pos x="22" y="35"/>
                  </a:cxn>
                  <a:cxn ang="0">
                    <a:pos x="20" y="32"/>
                  </a:cxn>
                  <a:cxn ang="0">
                    <a:pos x="14" y="31"/>
                  </a:cxn>
                  <a:cxn ang="0">
                    <a:pos x="11" y="29"/>
                  </a:cxn>
                  <a:cxn ang="0">
                    <a:pos x="11" y="22"/>
                  </a:cxn>
                  <a:cxn ang="0">
                    <a:pos x="8" y="18"/>
                  </a:cxn>
                  <a:cxn ang="0">
                    <a:pos x="7" y="13"/>
                  </a:cxn>
                  <a:cxn ang="0">
                    <a:pos x="1" y="6"/>
                  </a:cxn>
                  <a:cxn ang="0">
                    <a:pos x="0" y="2"/>
                  </a:cxn>
                  <a:cxn ang="0">
                    <a:pos x="1" y="0"/>
                  </a:cxn>
                </a:cxnLst>
                <a:rect l="0" t="0" r="r" b="b"/>
                <a:pathLst>
                  <a:path w="69" h="47">
                    <a:moveTo>
                      <a:pt x="1" y="0"/>
                    </a:moveTo>
                    <a:lnTo>
                      <a:pt x="3" y="2"/>
                    </a:lnTo>
                    <a:lnTo>
                      <a:pt x="4" y="3"/>
                    </a:lnTo>
                    <a:lnTo>
                      <a:pt x="6" y="5"/>
                    </a:lnTo>
                    <a:lnTo>
                      <a:pt x="7" y="8"/>
                    </a:lnTo>
                    <a:lnTo>
                      <a:pt x="13" y="9"/>
                    </a:lnTo>
                    <a:lnTo>
                      <a:pt x="17" y="9"/>
                    </a:lnTo>
                    <a:lnTo>
                      <a:pt x="19" y="9"/>
                    </a:lnTo>
                    <a:lnTo>
                      <a:pt x="33" y="10"/>
                    </a:lnTo>
                    <a:lnTo>
                      <a:pt x="33" y="13"/>
                    </a:lnTo>
                    <a:lnTo>
                      <a:pt x="32" y="13"/>
                    </a:lnTo>
                    <a:lnTo>
                      <a:pt x="32" y="15"/>
                    </a:lnTo>
                    <a:lnTo>
                      <a:pt x="29" y="18"/>
                    </a:lnTo>
                    <a:lnTo>
                      <a:pt x="40" y="18"/>
                    </a:lnTo>
                    <a:lnTo>
                      <a:pt x="42" y="16"/>
                    </a:lnTo>
                    <a:lnTo>
                      <a:pt x="45" y="16"/>
                    </a:lnTo>
                    <a:lnTo>
                      <a:pt x="48" y="18"/>
                    </a:lnTo>
                    <a:lnTo>
                      <a:pt x="49" y="21"/>
                    </a:lnTo>
                    <a:lnTo>
                      <a:pt x="53" y="21"/>
                    </a:lnTo>
                    <a:lnTo>
                      <a:pt x="56" y="21"/>
                    </a:lnTo>
                    <a:lnTo>
                      <a:pt x="58" y="23"/>
                    </a:lnTo>
                    <a:lnTo>
                      <a:pt x="69" y="26"/>
                    </a:lnTo>
                    <a:lnTo>
                      <a:pt x="67" y="29"/>
                    </a:lnTo>
                    <a:lnTo>
                      <a:pt x="67" y="35"/>
                    </a:lnTo>
                    <a:lnTo>
                      <a:pt x="64" y="41"/>
                    </a:lnTo>
                    <a:lnTo>
                      <a:pt x="53" y="47"/>
                    </a:lnTo>
                    <a:lnTo>
                      <a:pt x="51" y="47"/>
                    </a:lnTo>
                    <a:lnTo>
                      <a:pt x="49" y="45"/>
                    </a:lnTo>
                    <a:lnTo>
                      <a:pt x="48" y="47"/>
                    </a:lnTo>
                    <a:lnTo>
                      <a:pt x="46" y="45"/>
                    </a:lnTo>
                    <a:lnTo>
                      <a:pt x="45" y="44"/>
                    </a:lnTo>
                    <a:lnTo>
                      <a:pt x="45" y="45"/>
                    </a:lnTo>
                    <a:lnTo>
                      <a:pt x="42" y="45"/>
                    </a:lnTo>
                    <a:lnTo>
                      <a:pt x="38" y="44"/>
                    </a:lnTo>
                    <a:lnTo>
                      <a:pt x="35" y="41"/>
                    </a:lnTo>
                    <a:lnTo>
                      <a:pt x="30" y="41"/>
                    </a:lnTo>
                    <a:lnTo>
                      <a:pt x="27" y="39"/>
                    </a:lnTo>
                    <a:lnTo>
                      <a:pt x="24" y="37"/>
                    </a:lnTo>
                    <a:lnTo>
                      <a:pt x="22" y="35"/>
                    </a:lnTo>
                    <a:lnTo>
                      <a:pt x="20" y="32"/>
                    </a:lnTo>
                    <a:lnTo>
                      <a:pt x="14" y="31"/>
                    </a:lnTo>
                    <a:lnTo>
                      <a:pt x="11" y="29"/>
                    </a:lnTo>
                    <a:lnTo>
                      <a:pt x="11" y="22"/>
                    </a:lnTo>
                    <a:lnTo>
                      <a:pt x="8" y="18"/>
                    </a:lnTo>
                    <a:lnTo>
                      <a:pt x="7" y="13"/>
                    </a:lnTo>
                    <a:lnTo>
                      <a:pt x="1" y="6"/>
                    </a:lnTo>
                    <a:lnTo>
                      <a:pt x="0" y="2"/>
                    </a:lnTo>
                    <a:lnTo>
                      <a:pt x="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15" name="Freeform 629"/>
              <p:cNvSpPr>
                <a:spLocks/>
              </p:cNvSpPr>
              <p:nvPr/>
            </p:nvSpPr>
            <p:spPr bwMode="auto">
              <a:xfrm>
                <a:off x="7947428" y="1596236"/>
                <a:ext cx="11411" cy="22311"/>
              </a:xfrm>
              <a:custGeom>
                <a:avLst/>
                <a:gdLst/>
                <a:ahLst/>
                <a:cxnLst>
                  <a:cxn ang="0">
                    <a:pos x="11" y="8"/>
                  </a:cxn>
                  <a:cxn ang="0">
                    <a:pos x="13" y="4"/>
                  </a:cxn>
                  <a:cxn ang="0">
                    <a:pos x="10" y="2"/>
                  </a:cxn>
                  <a:cxn ang="0">
                    <a:pos x="5" y="0"/>
                  </a:cxn>
                  <a:cxn ang="0">
                    <a:pos x="1" y="2"/>
                  </a:cxn>
                  <a:cxn ang="0">
                    <a:pos x="0" y="5"/>
                  </a:cxn>
                  <a:cxn ang="0">
                    <a:pos x="1" y="18"/>
                  </a:cxn>
                  <a:cxn ang="0">
                    <a:pos x="5" y="21"/>
                  </a:cxn>
                  <a:cxn ang="0">
                    <a:pos x="5" y="21"/>
                  </a:cxn>
                  <a:cxn ang="0">
                    <a:pos x="4" y="20"/>
                  </a:cxn>
                  <a:cxn ang="0">
                    <a:pos x="4" y="18"/>
                  </a:cxn>
                  <a:cxn ang="0">
                    <a:pos x="8" y="18"/>
                  </a:cxn>
                  <a:cxn ang="0">
                    <a:pos x="8" y="17"/>
                  </a:cxn>
                  <a:cxn ang="0">
                    <a:pos x="11" y="16"/>
                  </a:cxn>
                  <a:cxn ang="0">
                    <a:pos x="13" y="13"/>
                  </a:cxn>
                  <a:cxn ang="0">
                    <a:pos x="13" y="11"/>
                  </a:cxn>
                  <a:cxn ang="0">
                    <a:pos x="11" y="11"/>
                  </a:cxn>
                  <a:cxn ang="0">
                    <a:pos x="11" y="8"/>
                  </a:cxn>
                </a:cxnLst>
                <a:rect l="0" t="0" r="r" b="b"/>
                <a:pathLst>
                  <a:path w="13" h="21">
                    <a:moveTo>
                      <a:pt x="11" y="8"/>
                    </a:moveTo>
                    <a:lnTo>
                      <a:pt x="13" y="4"/>
                    </a:lnTo>
                    <a:lnTo>
                      <a:pt x="10" y="2"/>
                    </a:lnTo>
                    <a:lnTo>
                      <a:pt x="5" y="0"/>
                    </a:lnTo>
                    <a:lnTo>
                      <a:pt x="1" y="2"/>
                    </a:lnTo>
                    <a:lnTo>
                      <a:pt x="0" y="5"/>
                    </a:lnTo>
                    <a:lnTo>
                      <a:pt x="1" y="18"/>
                    </a:lnTo>
                    <a:lnTo>
                      <a:pt x="5" y="21"/>
                    </a:lnTo>
                    <a:lnTo>
                      <a:pt x="5" y="21"/>
                    </a:lnTo>
                    <a:lnTo>
                      <a:pt x="4" y="20"/>
                    </a:lnTo>
                    <a:lnTo>
                      <a:pt x="4" y="18"/>
                    </a:lnTo>
                    <a:lnTo>
                      <a:pt x="8" y="18"/>
                    </a:lnTo>
                    <a:lnTo>
                      <a:pt x="8" y="17"/>
                    </a:lnTo>
                    <a:lnTo>
                      <a:pt x="11" y="16"/>
                    </a:lnTo>
                    <a:lnTo>
                      <a:pt x="13" y="13"/>
                    </a:lnTo>
                    <a:lnTo>
                      <a:pt x="13" y="11"/>
                    </a:lnTo>
                    <a:lnTo>
                      <a:pt x="11" y="11"/>
                    </a:lnTo>
                    <a:lnTo>
                      <a:pt x="11" y="8"/>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16" name="Freeform 630"/>
              <p:cNvSpPr>
                <a:spLocks/>
              </p:cNvSpPr>
              <p:nvPr/>
            </p:nvSpPr>
            <p:spPr bwMode="auto">
              <a:xfrm>
                <a:off x="7947428" y="1596236"/>
                <a:ext cx="11411" cy="22311"/>
              </a:xfrm>
              <a:custGeom>
                <a:avLst/>
                <a:gdLst/>
                <a:ahLst/>
                <a:cxnLst>
                  <a:cxn ang="0">
                    <a:pos x="11" y="8"/>
                  </a:cxn>
                  <a:cxn ang="0">
                    <a:pos x="13" y="4"/>
                  </a:cxn>
                  <a:cxn ang="0">
                    <a:pos x="10" y="2"/>
                  </a:cxn>
                  <a:cxn ang="0">
                    <a:pos x="5" y="0"/>
                  </a:cxn>
                  <a:cxn ang="0">
                    <a:pos x="1" y="2"/>
                  </a:cxn>
                  <a:cxn ang="0">
                    <a:pos x="0" y="5"/>
                  </a:cxn>
                  <a:cxn ang="0">
                    <a:pos x="1" y="18"/>
                  </a:cxn>
                  <a:cxn ang="0">
                    <a:pos x="5" y="21"/>
                  </a:cxn>
                  <a:cxn ang="0">
                    <a:pos x="5" y="21"/>
                  </a:cxn>
                  <a:cxn ang="0">
                    <a:pos x="4" y="20"/>
                  </a:cxn>
                  <a:cxn ang="0">
                    <a:pos x="4" y="18"/>
                  </a:cxn>
                  <a:cxn ang="0">
                    <a:pos x="8" y="18"/>
                  </a:cxn>
                  <a:cxn ang="0">
                    <a:pos x="8" y="17"/>
                  </a:cxn>
                  <a:cxn ang="0">
                    <a:pos x="11" y="16"/>
                  </a:cxn>
                  <a:cxn ang="0">
                    <a:pos x="13" y="13"/>
                  </a:cxn>
                  <a:cxn ang="0">
                    <a:pos x="13" y="11"/>
                  </a:cxn>
                  <a:cxn ang="0">
                    <a:pos x="11" y="11"/>
                  </a:cxn>
                  <a:cxn ang="0">
                    <a:pos x="11" y="8"/>
                  </a:cxn>
                </a:cxnLst>
                <a:rect l="0" t="0" r="r" b="b"/>
                <a:pathLst>
                  <a:path w="13" h="21">
                    <a:moveTo>
                      <a:pt x="11" y="8"/>
                    </a:moveTo>
                    <a:lnTo>
                      <a:pt x="13" y="4"/>
                    </a:lnTo>
                    <a:lnTo>
                      <a:pt x="10" y="2"/>
                    </a:lnTo>
                    <a:lnTo>
                      <a:pt x="5" y="0"/>
                    </a:lnTo>
                    <a:lnTo>
                      <a:pt x="1" y="2"/>
                    </a:lnTo>
                    <a:lnTo>
                      <a:pt x="0" y="5"/>
                    </a:lnTo>
                    <a:lnTo>
                      <a:pt x="1" y="18"/>
                    </a:lnTo>
                    <a:lnTo>
                      <a:pt x="5" y="21"/>
                    </a:lnTo>
                    <a:lnTo>
                      <a:pt x="5" y="21"/>
                    </a:lnTo>
                    <a:lnTo>
                      <a:pt x="4" y="20"/>
                    </a:lnTo>
                    <a:lnTo>
                      <a:pt x="4" y="18"/>
                    </a:lnTo>
                    <a:lnTo>
                      <a:pt x="8" y="18"/>
                    </a:lnTo>
                    <a:lnTo>
                      <a:pt x="8" y="17"/>
                    </a:lnTo>
                    <a:lnTo>
                      <a:pt x="11" y="16"/>
                    </a:lnTo>
                    <a:lnTo>
                      <a:pt x="13" y="13"/>
                    </a:lnTo>
                    <a:lnTo>
                      <a:pt x="13" y="11"/>
                    </a:lnTo>
                    <a:lnTo>
                      <a:pt x="11" y="11"/>
                    </a:lnTo>
                    <a:lnTo>
                      <a:pt x="11" y="8"/>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17" name="Freeform 631"/>
              <p:cNvSpPr>
                <a:spLocks/>
              </p:cNvSpPr>
              <p:nvPr/>
            </p:nvSpPr>
            <p:spPr bwMode="auto">
              <a:xfrm>
                <a:off x="7941283" y="1617533"/>
                <a:ext cx="50035" cy="35494"/>
              </a:xfrm>
              <a:custGeom>
                <a:avLst/>
                <a:gdLst/>
                <a:ahLst/>
                <a:cxnLst>
                  <a:cxn ang="0">
                    <a:pos x="23" y="1"/>
                  </a:cxn>
                  <a:cxn ang="0">
                    <a:pos x="27" y="0"/>
                  </a:cxn>
                  <a:cxn ang="0">
                    <a:pos x="32" y="0"/>
                  </a:cxn>
                  <a:cxn ang="0">
                    <a:pos x="35" y="1"/>
                  </a:cxn>
                  <a:cxn ang="0">
                    <a:pos x="38" y="4"/>
                  </a:cxn>
                  <a:cxn ang="0">
                    <a:pos x="40" y="4"/>
                  </a:cxn>
                  <a:cxn ang="0">
                    <a:pos x="43" y="9"/>
                  </a:cxn>
                  <a:cxn ang="0">
                    <a:pos x="48" y="13"/>
                  </a:cxn>
                  <a:cxn ang="0">
                    <a:pos x="52" y="20"/>
                  </a:cxn>
                  <a:cxn ang="0">
                    <a:pos x="54" y="35"/>
                  </a:cxn>
                  <a:cxn ang="0">
                    <a:pos x="52" y="35"/>
                  </a:cxn>
                  <a:cxn ang="0">
                    <a:pos x="49" y="35"/>
                  </a:cxn>
                  <a:cxn ang="0">
                    <a:pos x="46" y="35"/>
                  </a:cxn>
                  <a:cxn ang="0">
                    <a:pos x="42" y="33"/>
                  </a:cxn>
                  <a:cxn ang="0">
                    <a:pos x="36" y="33"/>
                  </a:cxn>
                  <a:cxn ang="0">
                    <a:pos x="30" y="30"/>
                  </a:cxn>
                  <a:cxn ang="0">
                    <a:pos x="29" y="29"/>
                  </a:cxn>
                  <a:cxn ang="0">
                    <a:pos x="26" y="29"/>
                  </a:cxn>
                  <a:cxn ang="0">
                    <a:pos x="22" y="29"/>
                  </a:cxn>
                  <a:cxn ang="0">
                    <a:pos x="17" y="26"/>
                  </a:cxn>
                  <a:cxn ang="0">
                    <a:pos x="11" y="25"/>
                  </a:cxn>
                  <a:cxn ang="0">
                    <a:pos x="4" y="29"/>
                  </a:cxn>
                  <a:cxn ang="0">
                    <a:pos x="1" y="27"/>
                  </a:cxn>
                  <a:cxn ang="0">
                    <a:pos x="0" y="25"/>
                  </a:cxn>
                  <a:cxn ang="0">
                    <a:pos x="1" y="23"/>
                  </a:cxn>
                  <a:cxn ang="0">
                    <a:pos x="9" y="22"/>
                  </a:cxn>
                  <a:cxn ang="0">
                    <a:pos x="14" y="9"/>
                  </a:cxn>
                  <a:cxn ang="0">
                    <a:pos x="14" y="4"/>
                  </a:cxn>
                  <a:cxn ang="0">
                    <a:pos x="16" y="3"/>
                  </a:cxn>
                  <a:cxn ang="0">
                    <a:pos x="23" y="1"/>
                  </a:cxn>
                </a:cxnLst>
                <a:rect l="0" t="0" r="r" b="b"/>
                <a:pathLst>
                  <a:path w="54" h="35">
                    <a:moveTo>
                      <a:pt x="23" y="1"/>
                    </a:moveTo>
                    <a:lnTo>
                      <a:pt x="27" y="0"/>
                    </a:lnTo>
                    <a:lnTo>
                      <a:pt x="32" y="0"/>
                    </a:lnTo>
                    <a:lnTo>
                      <a:pt x="35" y="1"/>
                    </a:lnTo>
                    <a:lnTo>
                      <a:pt x="38" y="4"/>
                    </a:lnTo>
                    <a:lnTo>
                      <a:pt x="40" y="4"/>
                    </a:lnTo>
                    <a:lnTo>
                      <a:pt x="43" y="9"/>
                    </a:lnTo>
                    <a:lnTo>
                      <a:pt x="48" y="13"/>
                    </a:lnTo>
                    <a:lnTo>
                      <a:pt x="52" y="20"/>
                    </a:lnTo>
                    <a:lnTo>
                      <a:pt x="54" y="35"/>
                    </a:lnTo>
                    <a:lnTo>
                      <a:pt x="52" y="35"/>
                    </a:lnTo>
                    <a:lnTo>
                      <a:pt x="49" y="35"/>
                    </a:lnTo>
                    <a:lnTo>
                      <a:pt x="46" y="35"/>
                    </a:lnTo>
                    <a:lnTo>
                      <a:pt x="42" y="33"/>
                    </a:lnTo>
                    <a:lnTo>
                      <a:pt x="36" y="33"/>
                    </a:lnTo>
                    <a:lnTo>
                      <a:pt x="30" y="30"/>
                    </a:lnTo>
                    <a:lnTo>
                      <a:pt x="29" y="29"/>
                    </a:lnTo>
                    <a:lnTo>
                      <a:pt x="26" y="29"/>
                    </a:lnTo>
                    <a:lnTo>
                      <a:pt x="22" y="29"/>
                    </a:lnTo>
                    <a:lnTo>
                      <a:pt x="17" y="26"/>
                    </a:lnTo>
                    <a:lnTo>
                      <a:pt x="11" y="25"/>
                    </a:lnTo>
                    <a:lnTo>
                      <a:pt x="4" y="29"/>
                    </a:lnTo>
                    <a:lnTo>
                      <a:pt x="1" y="27"/>
                    </a:lnTo>
                    <a:lnTo>
                      <a:pt x="0" y="25"/>
                    </a:lnTo>
                    <a:lnTo>
                      <a:pt x="1" y="23"/>
                    </a:lnTo>
                    <a:lnTo>
                      <a:pt x="9" y="22"/>
                    </a:lnTo>
                    <a:lnTo>
                      <a:pt x="14" y="9"/>
                    </a:lnTo>
                    <a:lnTo>
                      <a:pt x="14" y="4"/>
                    </a:lnTo>
                    <a:lnTo>
                      <a:pt x="16" y="3"/>
                    </a:lnTo>
                    <a:lnTo>
                      <a:pt x="23"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18" name="Freeform 632"/>
              <p:cNvSpPr>
                <a:spLocks/>
              </p:cNvSpPr>
              <p:nvPr/>
            </p:nvSpPr>
            <p:spPr bwMode="auto">
              <a:xfrm>
                <a:off x="7941283" y="1617533"/>
                <a:ext cx="50035" cy="35494"/>
              </a:xfrm>
              <a:custGeom>
                <a:avLst/>
                <a:gdLst/>
                <a:ahLst/>
                <a:cxnLst>
                  <a:cxn ang="0">
                    <a:pos x="23" y="1"/>
                  </a:cxn>
                  <a:cxn ang="0">
                    <a:pos x="27" y="0"/>
                  </a:cxn>
                  <a:cxn ang="0">
                    <a:pos x="32" y="0"/>
                  </a:cxn>
                  <a:cxn ang="0">
                    <a:pos x="35" y="1"/>
                  </a:cxn>
                  <a:cxn ang="0">
                    <a:pos x="38" y="4"/>
                  </a:cxn>
                  <a:cxn ang="0">
                    <a:pos x="40" y="4"/>
                  </a:cxn>
                  <a:cxn ang="0">
                    <a:pos x="43" y="9"/>
                  </a:cxn>
                  <a:cxn ang="0">
                    <a:pos x="48" y="13"/>
                  </a:cxn>
                  <a:cxn ang="0">
                    <a:pos x="52" y="20"/>
                  </a:cxn>
                  <a:cxn ang="0">
                    <a:pos x="54" y="35"/>
                  </a:cxn>
                  <a:cxn ang="0">
                    <a:pos x="52" y="35"/>
                  </a:cxn>
                  <a:cxn ang="0">
                    <a:pos x="49" y="35"/>
                  </a:cxn>
                  <a:cxn ang="0">
                    <a:pos x="46" y="35"/>
                  </a:cxn>
                  <a:cxn ang="0">
                    <a:pos x="42" y="33"/>
                  </a:cxn>
                  <a:cxn ang="0">
                    <a:pos x="36" y="33"/>
                  </a:cxn>
                  <a:cxn ang="0">
                    <a:pos x="30" y="30"/>
                  </a:cxn>
                  <a:cxn ang="0">
                    <a:pos x="29" y="29"/>
                  </a:cxn>
                  <a:cxn ang="0">
                    <a:pos x="26" y="29"/>
                  </a:cxn>
                  <a:cxn ang="0">
                    <a:pos x="22" y="29"/>
                  </a:cxn>
                  <a:cxn ang="0">
                    <a:pos x="17" y="26"/>
                  </a:cxn>
                  <a:cxn ang="0">
                    <a:pos x="11" y="25"/>
                  </a:cxn>
                  <a:cxn ang="0">
                    <a:pos x="4" y="29"/>
                  </a:cxn>
                  <a:cxn ang="0">
                    <a:pos x="1" y="27"/>
                  </a:cxn>
                  <a:cxn ang="0">
                    <a:pos x="0" y="25"/>
                  </a:cxn>
                  <a:cxn ang="0">
                    <a:pos x="1" y="23"/>
                  </a:cxn>
                  <a:cxn ang="0">
                    <a:pos x="9" y="22"/>
                  </a:cxn>
                  <a:cxn ang="0">
                    <a:pos x="14" y="9"/>
                  </a:cxn>
                  <a:cxn ang="0">
                    <a:pos x="14" y="4"/>
                  </a:cxn>
                  <a:cxn ang="0">
                    <a:pos x="16" y="3"/>
                  </a:cxn>
                  <a:cxn ang="0">
                    <a:pos x="23" y="1"/>
                  </a:cxn>
                </a:cxnLst>
                <a:rect l="0" t="0" r="r" b="b"/>
                <a:pathLst>
                  <a:path w="54" h="35">
                    <a:moveTo>
                      <a:pt x="23" y="1"/>
                    </a:moveTo>
                    <a:lnTo>
                      <a:pt x="27" y="0"/>
                    </a:lnTo>
                    <a:lnTo>
                      <a:pt x="32" y="0"/>
                    </a:lnTo>
                    <a:lnTo>
                      <a:pt x="35" y="1"/>
                    </a:lnTo>
                    <a:lnTo>
                      <a:pt x="38" y="4"/>
                    </a:lnTo>
                    <a:lnTo>
                      <a:pt x="40" y="4"/>
                    </a:lnTo>
                    <a:lnTo>
                      <a:pt x="43" y="9"/>
                    </a:lnTo>
                    <a:lnTo>
                      <a:pt x="48" y="13"/>
                    </a:lnTo>
                    <a:lnTo>
                      <a:pt x="52" y="20"/>
                    </a:lnTo>
                    <a:lnTo>
                      <a:pt x="54" y="35"/>
                    </a:lnTo>
                    <a:lnTo>
                      <a:pt x="52" y="35"/>
                    </a:lnTo>
                    <a:lnTo>
                      <a:pt x="49" y="35"/>
                    </a:lnTo>
                    <a:lnTo>
                      <a:pt x="46" y="35"/>
                    </a:lnTo>
                    <a:lnTo>
                      <a:pt x="42" y="33"/>
                    </a:lnTo>
                    <a:lnTo>
                      <a:pt x="36" y="33"/>
                    </a:lnTo>
                    <a:lnTo>
                      <a:pt x="30" y="30"/>
                    </a:lnTo>
                    <a:lnTo>
                      <a:pt x="29" y="29"/>
                    </a:lnTo>
                    <a:lnTo>
                      <a:pt x="26" y="29"/>
                    </a:lnTo>
                    <a:lnTo>
                      <a:pt x="22" y="29"/>
                    </a:lnTo>
                    <a:lnTo>
                      <a:pt x="17" y="26"/>
                    </a:lnTo>
                    <a:lnTo>
                      <a:pt x="11" y="25"/>
                    </a:lnTo>
                    <a:lnTo>
                      <a:pt x="4" y="29"/>
                    </a:lnTo>
                    <a:lnTo>
                      <a:pt x="1" y="27"/>
                    </a:lnTo>
                    <a:lnTo>
                      <a:pt x="0" y="25"/>
                    </a:lnTo>
                    <a:lnTo>
                      <a:pt x="1" y="23"/>
                    </a:lnTo>
                    <a:lnTo>
                      <a:pt x="9" y="22"/>
                    </a:lnTo>
                    <a:lnTo>
                      <a:pt x="14" y="9"/>
                    </a:lnTo>
                    <a:lnTo>
                      <a:pt x="14" y="4"/>
                    </a:lnTo>
                    <a:lnTo>
                      <a:pt x="16" y="3"/>
                    </a:lnTo>
                    <a:lnTo>
                      <a:pt x="23"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19" name="Freeform 633"/>
              <p:cNvSpPr>
                <a:spLocks/>
              </p:cNvSpPr>
              <p:nvPr/>
            </p:nvSpPr>
            <p:spPr bwMode="auto">
              <a:xfrm>
                <a:off x="6790487" y="1644914"/>
                <a:ext cx="79880" cy="138936"/>
              </a:xfrm>
              <a:custGeom>
                <a:avLst/>
                <a:gdLst/>
                <a:ahLst/>
                <a:cxnLst>
                  <a:cxn ang="0">
                    <a:pos x="40" y="6"/>
                  </a:cxn>
                  <a:cxn ang="0">
                    <a:pos x="51" y="0"/>
                  </a:cxn>
                  <a:cxn ang="0">
                    <a:pos x="60" y="5"/>
                  </a:cxn>
                  <a:cxn ang="0">
                    <a:pos x="72" y="14"/>
                  </a:cxn>
                  <a:cxn ang="0">
                    <a:pos x="70" y="19"/>
                  </a:cxn>
                  <a:cxn ang="0">
                    <a:pos x="60" y="24"/>
                  </a:cxn>
                  <a:cxn ang="0">
                    <a:pos x="69" y="25"/>
                  </a:cxn>
                  <a:cxn ang="0">
                    <a:pos x="63" y="31"/>
                  </a:cxn>
                  <a:cxn ang="0">
                    <a:pos x="61" y="32"/>
                  </a:cxn>
                  <a:cxn ang="0">
                    <a:pos x="60" y="43"/>
                  </a:cxn>
                  <a:cxn ang="0">
                    <a:pos x="58" y="44"/>
                  </a:cxn>
                  <a:cxn ang="0">
                    <a:pos x="57" y="57"/>
                  </a:cxn>
                  <a:cxn ang="0">
                    <a:pos x="56" y="70"/>
                  </a:cxn>
                  <a:cxn ang="0">
                    <a:pos x="64" y="98"/>
                  </a:cxn>
                  <a:cxn ang="0">
                    <a:pos x="76" y="115"/>
                  </a:cxn>
                  <a:cxn ang="0">
                    <a:pos x="87" y="124"/>
                  </a:cxn>
                  <a:cxn ang="0">
                    <a:pos x="83" y="128"/>
                  </a:cxn>
                  <a:cxn ang="0">
                    <a:pos x="83" y="130"/>
                  </a:cxn>
                  <a:cxn ang="0">
                    <a:pos x="77" y="131"/>
                  </a:cxn>
                  <a:cxn ang="0">
                    <a:pos x="73" y="123"/>
                  </a:cxn>
                  <a:cxn ang="0">
                    <a:pos x="67" y="125"/>
                  </a:cxn>
                  <a:cxn ang="0">
                    <a:pos x="70" y="127"/>
                  </a:cxn>
                  <a:cxn ang="0">
                    <a:pos x="64" y="128"/>
                  </a:cxn>
                  <a:cxn ang="0">
                    <a:pos x="63" y="130"/>
                  </a:cxn>
                  <a:cxn ang="0">
                    <a:pos x="57" y="125"/>
                  </a:cxn>
                  <a:cxn ang="0">
                    <a:pos x="54" y="128"/>
                  </a:cxn>
                  <a:cxn ang="0">
                    <a:pos x="47" y="125"/>
                  </a:cxn>
                  <a:cxn ang="0">
                    <a:pos x="48" y="123"/>
                  </a:cxn>
                  <a:cxn ang="0">
                    <a:pos x="37" y="124"/>
                  </a:cxn>
                  <a:cxn ang="0">
                    <a:pos x="32" y="121"/>
                  </a:cxn>
                  <a:cxn ang="0">
                    <a:pos x="31" y="111"/>
                  </a:cxn>
                  <a:cxn ang="0">
                    <a:pos x="35" y="111"/>
                  </a:cxn>
                  <a:cxn ang="0">
                    <a:pos x="40" y="109"/>
                  </a:cxn>
                  <a:cxn ang="0">
                    <a:pos x="38" y="107"/>
                  </a:cxn>
                  <a:cxn ang="0">
                    <a:pos x="29" y="102"/>
                  </a:cxn>
                  <a:cxn ang="0">
                    <a:pos x="31" y="98"/>
                  </a:cxn>
                  <a:cxn ang="0">
                    <a:pos x="28" y="99"/>
                  </a:cxn>
                  <a:cxn ang="0">
                    <a:pos x="28" y="89"/>
                  </a:cxn>
                  <a:cxn ang="0">
                    <a:pos x="22" y="92"/>
                  </a:cxn>
                  <a:cxn ang="0">
                    <a:pos x="19" y="86"/>
                  </a:cxn>
                  <a:cxn ang="0">
                    <a:pos x="13" y="91"/>
                  </a:cxn>
                  <a:cxn ang="0">
                    <a:pos x="11" y="91"/>
                  </a:cxn>
                  <a:cxn ang="0">
                    <a:pos x="3" y="89"/>
                  </a:cxn>
                  <a:cxn ang="0">
                    <a:pos x="2" y="64"/>
                  </a:cxn>
                  <a:cxn ang="0">
                    <a:pos x="9" y="62"/>
                  </a:cxn>
                  <a:cxn ang="0">
                    <a:pos x="12" y="66"/>
                  </a:cxn>
                  <a:cxn ang="0">
                    <a:pos x="15" y="54"/>
                  </a:cxn>
                  <a:cxn ang="0">
                    <a:pos x="16" y="50"/>
                  </a:cxn>
                  <a:cxn ang="0">
                    <a:pos x="19" y="46"/>
                  </a:cxn>
                  <a:cxn ang="0">
                    <a:pos x="22" y="40"/>
                  </a:cxn>
                  <a:cxn ang="0">
                    <a:pos x="19" y="37"/>
                  </a:cxn>
                  <a:cxn ang="0">
                    <a:pos x="13" y="30"/>
                  </a:cxn>
                  <a:cxn ang="0">
                    <a:pos x="24" y="25"/>
                  </a:cxn>
                  <a:cxn ang="0">
                    <a:pos x="24" y="22"/>
                  </a:cxn>
                  <a:cxn ang="0">
                    <a:pos x="25" y="18"/>
                  </a:cxn>
                  <a:cxn ang="0">
                    <a:pos x="28" y="9"/>
                  </a:cxn>
                </a:cxnLst>
                <a:rect l="0" t="0" r="r" b="b"/>
                <a:pathLst>
                  <a:path w="87" h="133">
                    <a:moveTo>
                      <a:pt x="32" y="6"/>
                    </a:moveTo>
                    <a:lnTo>
                      <a:pt x="32" y="6"/>
                    </a:lnTo>
                    <a:lnTo>
                      <a:pt x="40" y="6"/>
                    </a:lnTo>
                    <a:lnTo>
                      <a:pt x="41" y="5"/>
                    </a:lnTo>
                    <a:lnTo>
                      <a:pt x="48" y="0"/>
                    </a:lnTo>
                    <a:lnTo>
                      <a:pt x="51" y="0"/>
                    </a:lnTo>
                    <a:lnTo>
                      <a:pt x="54" y="3"/>
                    </a:lnTo>
                    <a:lnTo>
                      <a:pt x="57" y="5"/>
                    </a:lnTo>
                    <a:lnTo>
                      <a:pt x="60" y="5"/>
                    </a:lnTo>
                    <a:lnTo>
                      <a:pt x="66" y="9"/>
                    </a:lnTo>
                    <a:lnTo>
                      <a:pt x="69" y="9"/>
                    </a:lnTo>
                    <a:lnTo>
                      <a:pt x="72" y="14"/>
                    </a:lnTo>
                    <a:lnTo>
                      <a:pt x="72" y="15"/>
                    </a:lnTo>
                    <a:lnTo>
                      <a:pt x="63" y="18"/>
                    </a:lnTo>
                    <a:lnTo>
                      <a:pt x="70" y="19"/>
                    </a:lnTo>
                    <a:lnTo>
                      <a:pt x="69" y="21"/>
                    </a:lnTo>
                    <a:lnTo>
                      <a:pt x="66" y="21"/>
                    </a:lnTo>
                    <a:lnTo>
                      <a:pt x="60" y="24"/>
                    </a:lnTo>
                    <a:lnTo>
                      <a:pt x="63" y="24"/>
                    </a:lnTo>
                    <a:lnTo>
                      <a:pt x="69" y="22"/>
                    </a:lnTo>
                    <a:lnTo>
                      <a:pt x="69" y="25"/>
                    </a:lnTo>
                    <a:lnTo>
                      <a:pt x="67" y="28"/>
                    </a:lnTo>
                    <a:lnTo>
                      <a:pt x="66" y="30"/>
                    </a:lnTo>
                    <a:lnTo>
                      <a:pt x="63" y="31"/>
                    </a:lnTo>
                    <a:lnTo>
                      <a:pt x="58" y="30"/>
                    </a:lnTo>
                    <a:lnTo>
                      <a:pt x="57" y="32"/>
                    </a:lnTo>
                    <a:lnTo>
                      <a:pt x="61" y="32"/>
                    </a:lnTo>
                    <a:lnTo>
                      <a:pt x="63" y="35"/>
                    </a:lnTo>
                    <a:lnTo>
                      <a:pt x="61" y="38"/>
                    </a:lnTo>
                    <a:lnTo>
                      <a:pt x="60" y="43"/>
                    </a:lnTo>
                    <a:lnTo>
                      <a:pt x="58" y="41"/>
                    </a:lnTo>
                    <a:lnTo>
                      <a:pt x="57" y="43"/>
                    </a:lnTo>
                    <a:lnTo>
                      <a:pt x="58" y="44"/>
                    </a:lnTo>
                    <a:lnTo>
                      <a:pt x="58" y="47"/>
                    </a:lnTo>
                    <a:lnTo>
                      <a:pt x="57" y="47"/>
                    </a:lnTo>
                    <a:lnTo>
                      <a:pt x="57" y="57"/>
                    </a:lnTo>
                    <a:lnTo>
                      <a:pt x="58" y="60"/>
                    </a:lnTo>
                    <a:lnTo>
                      <a:pt x="56" y="67"/>
                    </a:lnTo>
                    <a:lnTo>
                      <a:pt x="56" y="70"/>
                    </a:lnTo>
                    <a:lnTo>
                      <a:pt x="57" y="72"/>
                    </a:lnTo>
                    <a:lnTo>
                      <a:pt x="60" y="89"/>
                    </a:lnTo>
                    <a:lnTo>
                      <a:pt x="64" y="98"/>
                    </a:lnTo>
                    <a:lnTo>
                      <a:pt x="66" y="104"/>
                    </a:lnTo>
                    <a:lnTo>
                      <a:pt x="74" y="114"/>
                    </a:lnTo>
                    <a:lnTo>
                      <a:pt x="76" y="115"/>
                    </a:lnTo>
                    <a:lnTo>
                      <a:pt x="83" y="121"/>
                    </a:lnTo>
                    <a:lnTo>
                      <a:pt x="85" y="121"/>
                    </a:lnTo>
                    <a:lnTo>
                      <a:pt x="87" y="124"/>
                    </a:lnTo>
                    <a:lnTo>
                      <a:pt x="86" y="124"/>
                    </a:lnTo>
                    <a:lnTo>
                      <a:pt x="86" y="127"/>
                    </a:lnTo>
                    <a:lnTo>
                      <a:pt x="83" y="128"/>
                    </a:lnTo>
                    <a:lnTo>
                      <a:pt x="77" y="127"/>
                    </a:lnTo>
                    <a:lnTo>
                      <a:pt x="76" y="128"/>
                    </a:lnTo>
                    <a:lnTo>
                      <a:pt x="83" y="130"/>
                    </a:lnTo>
                    <a:lnTo>
                      <a:pt x="80" y="131"/>
                    </a:lnTo>
                    <a:lnTo>
                      <a:pt x="80" y="133"/>
                    </a:lnTo>
                    <a:lnTo>
                      <a:pt x="77" y="131"/>
                    </a:lnTo>
                    <a:lnTo>
                      <a:pt x="74" y="127"/>
                    </a:lnTo>
                    <a:lnTo>
                      <a:pt x="73" y="127"/>
                    </a:lnTo>
                    <a:lnTo>
                      <a:pt x="73" y="123"/>
                    </a:lnTo>
                    <a:lnTo>
                      <a:pt x="72" y="124"/>
                    </a:lnTo>
                    <a:lnTo>
                      <a:pt x="69" y="124"/>
                    </a:lnTo>
                    <a:lnTo>
                      <a:pt x="67" y="125"/>
                    </a:lnTo>
                    <a:lnTo>
                      <a:pt x="67" y="128"/>
                    </a:lnTo>
                    <a:lnTo>
                      <a:pt x="69" y="128"/>
                    </a:lnTo>
                    <a:lnTo>
                      <a:pt x="70" y="127"/>
                    </a:lnTo>
                    <a:lnTo>
                      <a:pt x="72" y="130"/>
                    </a:lnTo>
                    <a:lnTo>
                      <a:pt x="67" y="131"/>
                    </a:lnTo>
                    <a:lnTo>
                      <a:pt x="64" y="128"/>
                    </a:lnTo>
                    <a:lnTo>
                      <a:pt x="63" y="128"/>
                    </a:lnTo>
                    <a:lnTo>
                      <a:pt x="64" y="131"/>
                    </a:lnTo>
                    <a:lnTo>
                      <a:pt x="63" y="130"/>
                    </a:lnTo>
                    <a:lnTo>
                      <a:pt x="61" y="125"/>
                    </a:lnTo>
                    <a:lnTo>
                      <a:pt x="58" y="127"/>
                    </a:lnTo>
                    <a:lnTo>
                      <a:pt x="57" y="125"/>
                    </a:lnTo>
                    <a:lnTo>
                      <a:pt x="56" y="127"/>
                    </a:lnTo>
                    <a:lnTo>
                      <a:pt x="56" y="127"/>
                    </a:lnTo>
                    <a:lnTo>
                      <a:pt x="54" y="128"/>
                    </a:lnTo>
                    <a:lnTo>
                      <a:pt x="54" y="131"/>
                    </a:lnTo>
                    <a:lnTo>
                      <a:pt x="53" y="131"/>
                    </a:lnTo>
                    <a:lnTo>
                      <a:pt x="47" y="125"/>
                    </a:lnTo>
                    <a:lnTo>
                      <a:pt x="45" y="124"/>
                    </a:lnTo>
                    <a:lnTo>
                      <a:pt x="50" y="124"/>
                    </a:lnTo>
                    <a:lnTo>
                      <a:pt x="48" y="123"/>
                    </a:lnTo>
                    <a:lnTo>
                      <a:pt x="44" y="123"/>
                    </a:lnTo>
                    <a:lnTo>
                      <a:pt x="38" y="124"/>
                    </a:lnTo>
                    <a:lnTo>
                      <a:pt x="37" y="124"/>
                    </a:lnTo>
                    <a:lnTo>
                      <a:pt x="35" y="121"/>
                    </a:lnTo>
                    <a:lnTo>
                      <a:pt x="35" y="123"/>
                    </a:lnTo>
                    <a:lnTo>
                      <a:pt x="32" y="121"/>
                    </a:lnTo>
                    <a:lnTo>
                      <a:pt x="32" y="120"/>
                    </a:lnTo>
                    <a:lnTo>
                      <a:pt x="32" y="114"/>
                    </a:lnTo>
                    <a:lnTo>
                      <a:pt x="31" y="111"/>
                    </a:lnTo>
                    <a:lnTo>
                      <a:pt x="32" y="111"/>
                    </a:lnTo>
                    <a:lnTo>
                      <a:pt x="35" y="112"/>
                    </a:lnTo>
                    <a:lnTo>
                      <a:pt x="35" y="111"/>
                    </a:lnTo>
                    <a:lnTo>
                      <a:pt x="35" y="108"/>
                    </a:lnTo>
                    <a:lnTo>
                      <a:pt x="37" y="109"/>
                    </a:lnTo>
                    <a:lnTo>
                      <a:pt x="40" y="109"/>
                    </a:lnTo>
                    <a:lnTo>
                      <a:pt x="41" y="108"/>
                    </a:lnTo>
                    <a:lnTo>
                      <a:pt x="37" y="108"/>
                    </a:lnTo>
                    <a:lnTo>
                      <a:pt x="38" y="107"/>
                    </a:lnTo>
                    <a:lnTo>
                      <a:pt x="37" y="105"/>
                    </a:lnTo>
                    <a:lnTo>
                      <a:pt x="32" y="104"/>
                    </a:lnTo>
                    <a:lnTo>
                      <a:pt x="29" y="102"/>
                    </a:lnTo>
                    <a:lnTo>
                      <a:pt x="29" y="99"/>
                    </a:lnTo>
                    <a:lnTo>
                      <a:pt x="31" y="101"/>
                    </a:lnTo>
                    <a:lnTo>
                      <a:pt x="31" y="98"/>
                    </a:lnTo>
                    <a:lnTo>
                      <a:pt x="35" y="92"/>
                    </a:lnTo>
                    <a:lnTo>
                      <a:pt x="32" y="93"/>
                    </a:lnTo>
                    <a:lnTo>
                      <a:pt x="28" y="99"/>
                    </a:lnTo>
                    <a:lnTo>
                      <a:pt x="28" y="96"/>
                    </a:lnTo>
                    <a:lnTo>
                      <a:pt x="28" y="93"/>
                    </a:lnTo>
                    <a:lnTo>
                      <a:pt x="28" y="89"/>
                    </a:lnTo>
                    <a:lnTo>
                      <a:pt x="25" y="92"/>
                    </a:lnTo>
                    <a:lnTo>
                      <a:pt x="24" y="91"/>
                    </a:lnTo>
                    <a:lnTo>
                      <a:pt x="22" y="92"/>
                    </a:lnTo>
                    <a:lnTo>
                      <a:pt x="21" y="92"/>
                    </a:lnTo>
                    <a:lnTo>
                      <a:pt x="19" y="93"/>
                    </a:lnTo>
                    <a:lnTo>
                      <a:pt x="19" y="86"/>
                    </a:lnTo>
                    <a:lnTo>
                      <a:pt x="16" y="83"/>
                    </a:lnTo>
                    <a:lnTo>
                      <a:pt x="15" y="88"/>
                    </a:lnTo>
                    <a:lnTo>
                      <a:pt x="13" y="91"/>
                    </a:lnTo>
                    <a:lnTo>
                      <a:pt x="13" y="88"/>
                    </a:lnTo>
                    <a:lnTo>
                      <a:pt x="12" y="89"/>
                    </a:lnTo>
                    <a:lnTo>
                      <a:pt x="11" y="91"/>
                    </a:lnTo>
                    <a:lnTo>
                      <a:pt x="6" y="91"/>
                    </a:lnTo>
                    <a:lnTo>
                      <a:pt x="6" y="89"/>
                    </a:lnTo>
                    <a:lnTo>
                      <a:pt x="3" y="89"/>
                    </a:lnTo>
                    <a:lnTo>
                      <a:pt x="0" y="82"/>
                    </a:lnTo>
                    <a:lnTo>
                      <a:pt x="0" y="67"/>
                    </a:lnTo>
                    <a:lnTo>
                      <a:pt x="2" y="64"/>
                    </a:lnTo>
                    <a:lnTo>
                      <a:pt x="5" y="62"/>
                    </a:lnTo>
                    <a:lnTo>
                      <a:pt x="6" y="64"/>
                    </a:lnTo>
                    <a:lnTo>
                      <a:pt x="9" y="62"/>
                    </a:lnTo>
                    <a:lnTo>
                      <a:pt x="11" y="62"/>
                    </a:lnTo>
                    <a:lnTo>
                      <a:pt x="11" y="64"/>
                    </a:lnTo>
                    <a:lnTo>
                      <a:pt x="12" y="66"/>
                    </a:lnTo>
                    <a:lnTo>
                      <a:pt x="13" y="62"/>
                    </a:lnTo>
                    <a:lnTo>
                      <a:pt x="15" y="60"/>
                    </a:lnTo>
                    <a:lnTo>
                      <a:pt x="15" y="54"/>
                    </a:lnTo>
                    <a:lnTo>
                      <a:pt x="16" y="54"/>
                    </a:lnTo>
                    <a:lnTo>
                      <a:pt x="16" y="53"/>
                    </a:lnTo>
                    <a:lnTo>
                      <a:pt x="16" y="50"/>
                    </a:lnTo>
                    <a:lnTo>
                      <a:pt x="18" y="50"/>
                    </a:lnTo>
                    <a:lnTo>
                      <a:pt x="18" y="46"/>
                    </a:lnTo>
                    <a:lnTo>
                      <a:pt x="19" y="46"/>
                    </a:lnTo>
                    <a:lnTo>
                      <a:pt x="21" y="43"/>
                    </a:lnTo>
                    <a:lnTo>
                      <a:pt x="22" y="41"/>
                    </a:lnTo>
                    <a:lnTo>
                      <a:pt x="22" y="40"/>
                    </a:lnTo>
                    <a:lnTo>
                      <a:pt x="19" y="43"/>
                    </a:lnTo>
                    <a:lnTo>
                      <a:pt x="18" y="41"/>
                    </a:lnTo>
                    <a:lnTo>
                      <a:pt x="19" y="37"/>
                    </a:lnTo>
                    <a:lnTo>
                      <a:pt x="18" y="38"/>
                    </a:lnTo>
                    <a:lnTo>
                      <a:pt x="13" y="34"/>
                    </a:lnTo>
                    <a:lnTo>
                      <a:pt x="13" y="30"/>
                    </a:lnTo>
                    <a:lnTo>
                      <a:pt x="18" y="27"/>
                    </a:lnTo>
                    <a:lnTo>
                      <a:pt x="22" y="25"/>
                    </a:lnTo>
                    <a:lnTo>
                      <a:pt x="24" y="25"/>
                    </a:lnTo>
                    <a:lnTo>
                      <a:pt x="27" y="24"/>
                    </a:lnTo>
                    <a:lnTo>
                      <a:pt x="24" y="24"/>
                    </a:lnTo>
                    <a:lnTo>
                      <a:pt x="24" y="22"/>
                    </a:lnTo>
                    <a:lnTo>
                      <a:pt x="24" y="21"/>
                    </a:lnTo>
                    <a:lnTo>
                      <a:pt x="25" y="19"/>
                    </a:lnTo>
                    <a:lnTo>
                      <a:pt x="25" y="18"/>
                    </a:lnTo>
                    <a:lnTo>
                      <a:pt x="24" y="16"/>
                    </a:lnTo>
                    <a:lnTo>
                      <a:pt x="24" y="15"/>
                    </a:lnTo>
                    <a:lnTo>
                      <a:pt x="28" y="9"/>
                    </a:lnTo>
                    <a:lnTo>
                      <a:pt x="32" y="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20" name="Freeform 635"/>
              <p:cNvSpPr>
                <a:spLocks/>
              </p:cNvSpPr>
              <p:nvPr/>
            </p:nvSpPr>
            <p:spPr bwMode="auto">
              <a:xfrm>
                <a:off x="6819454" y="1438031"/>
                <a:ext cx="200139" cy="214996"/>
              </a:xfrm>
              <a:custGeom>
                <a:avLst/>
                <a:gdLst/>
                <a:ahLst/>
                <a:cxnLst>
                  <a:cxn ang="0">
                    <a:pos x="9" y="175"/>
                  </a:cxn>
                  <a:cxn ang="0">
                    <a:pos x="23" y="163"/>
                  </a:cxn>
                  <a:cxn ang="0">
                    <a:pos x="22" y="160"/>
                  </a:cxn>
                  <a:cxn ang="0">
                    <a:pos x="22" y="150"/>
                  </a:cxn>
                  <a:cxn ang="0">
                    <a:pos x="29" y="144"/>
                  </a:cxn>
                  <a:cxn ang="0">
                    <a:pos x="33" y="134"/>
                  </a:cxn>
                  <a:cxn ang="0">
                    <a:pos x="36" y="130"/>
                  </a:cxn>
                  <a:cxn ang="0">
                    <a:pos x="32" y="118"/>
                  </a:cxn>
                  <a:cxn ang="0">
                    <a:pos x="26" y="115"/>
                  </a:cxn>
                  <a:cxn ang="0">
                    <a:pos x="32" y="106"/>
                  </a:cxn>
                  <a:cxn ang="0">
                    <a:pos x="43" y="101"/>
                  </a:cxn>
                  <a:cxn ang="0">
                    <a:pos x="59" y="89"/>
                  </a:cxn>
                  <a:cxn ang="0">
                    <a:pos x="70" y="79"/>
                  </a:cxn>
                  <a:cxn ang="0">
                    <a:pos x="88" y="61"/>
                  </a:cxn>
                  <a:cxn ang="0">
                    <a:pos x="99" y="60"/>
                  </a:cxn>
                  <a:cxn ang="0">
                    <a:pos x="103" y="48"/>
                  </a:cxn>
                  <a:cxn ang="0">
                    <a:pos x="110" y="40"/>
                  </a:cxn>
                  <a:cxn ang="0">
                    <a:pos x="128" y="47"/>
                  </a:cxn>
                  <a:cxn ang="0">
                    <a:pos x="147" y="43"/>
                  </a:cxn>
                  <a:cxn ang="0">
                    <a:pos x="155" y="38"/>
                  </a:cxn>
                  <a:cxn ang="0">
                    <a:pos x="171" y="28"/>
                  </a:cxn>
                  <a:cxn ang="0">
                    <a:pos x="178" y="11"/>
                  </a:cxn>
                  <a:cxn ang="0">
                    <a:pos x="194" y="0"/>
                  </a:cxn>
                  <a:cxn ang="0">
                    <a:pos x="216" y="9"/>
                  </a:cxn>
                  <a:cxn ang="0">
                    <a:pos x="215" y="29"/>
                  </a:cxn>
                  <a:cxn ang="0">
                    <a:pos x="209" y="50"/>
                  </a:cxn>
                  <a:cxn ang="0">
                    <a:pos x="184" y="60"/>
                  </a:cxn>
                  <a:cxn ang="0">
                    <a:pos x="167" y="66"/>
                  </a:cxn>
                  <a:cxn ang="0">
                    <a:pos x="145" y="82"/>
                  </a:cxn>
                  <a:cxn ang="0">
                    <a:pos x="139" y="80"/>
                  </a:cxn>
                  <a:cxn ang="0">
                    <a:pos x="122" y="95"/>
                  </a:cxn>
                  <a:cxn ang="0">
                    <a:pos x="99" y="114"/>
                  </a:cxn>
                  <a:cxn ang="0">
                    <a:pos x="100" y="121"/>
                  </a:cxn>
                  <a:cxn ang="0">
                    <a:pos x="86" y="131"/>
                  </a:cxn>
                  <a:cxn ang="0">
                    <a:pos x="78" y="134"/>
                  </a:cxn>
                  <a:cxn ang="0">
                    <a:pos x="78" y="143"/>
                  </a:cxn>
                  <a:cxn ang="0">
                    <a:pos x="74" y="149"/>
                  </a:cxn>
                  <a:cxn ang="0">
                    <a:pos x="72" y="154"/>
                  </a:cxn>
                  <a:cxn ang="0">
                    <a:pos x="68" y="159"/>
                  </a:cxn>
                  <a:cxn ang="0">
                    <a:pos x="65" y="166"/>
                  </a:cxn>
                  <a:cxn ang="0">
                    <a:pos x="55" y="157"/>
                  </a:cxn>
                  <a:cxn ang="0">
                    <a:pos x="58" y="169"/>
                  </a:cxn>
                  <a:cxn ang="0">
                    <a:pos x="59" y="182"/>
                  </a:cxn>
                  <a:cxn ang="0">
                    <a:pos x="46" y="179"/>
                  </a:cxn>
                  <a:cxn ang="0">
                    <a:pos x="52" y="191"/>
                  </a:cxn>
                  <a:cxn ang="0">
                    <a:pos x="48" y="194"/>
                  </a:cxn>
                  <a:cxn ang="0">
                    <a:pos x="45" y="204"/>
                  </a:cxn>
                  <a:cxn ang="0">
                    <a:pos x="30" y="202"/>
                  </a:cxn>
                  <a:cxn ang="0">
                    <a:pos x="6" y="202"/>
                  </a:cxn>
                  <a:cxn ang="0">
                    <a:pos x="10" y="192"/>
                  </a:cxn>
                  <a:cxn ang="0">
                    <a:pos x="17" y="184"/>
                  </a:cxn>
                  <a:cxn ang="0">
                    <a:pos x="4" y="186"/>
                  </a:cxn>
                </a:cxnLst>
                <a:rect l="0" t="0" r="r" b="b"/>
                <a:pathLst>
                  <a:path w="219" h="207">
                    <a:moveTo>
                      <a:pt x="0" y="181"/>
                    </a:moveTo>
                    <a:lnTo>
                      <a:pt x="0" y="179"/>
                    </a:lnTo>
                    <a:lnTo>
                      <a:pt x="1" y="181"/>
                    </a:lnTo>
                    <a:lnTo>
                      <a:pt x="4" y="179"/>
                    </a:lnTo>
                    <a:lnTo>
                      <a:pt x="9" y="175"/>
                    </a:lnTo>
                    <a:lnTo>
                      <a:pt x="16" y="172"/>
                    </a:lnTo>
                    <a:lnTo>
                      <a:pt x="14" y="170"/>
                    </a:lnTo>
                    <a:lnTo>
                      <a:pt x="16" y="166"/>
                    </a:lnTo>
                    <a:lnTo>
                      <a:pt x="20" y="162"/>
                    </a:lnTo>
                    <a:lnTo>
                      <a:pt x="23" y="163"/>
                    </a:lnTo>
                    <a:lnTo>
                      <a:pt x="26" y="165"/>
                    </a:lnTo>
                    <a:lnTo>
                      <a:pt x="30" y="166"/>
                    </a:lnTo>
                    <a:lnTo>
                      <a:pt x="35" y="168"/>
                    </a:lnTo>
                    <a:lnTo>
                      <a:pt x="32" y="165"/>
                    </a:lnTo>
                    <a:lnTo>
                      <a:pt x="22" y="160"/>
                    </a:lnTo>
                    <a:lnTo>
                      <a:pt x="20" y="157"/>
                    </a:lnTo>
                    <a:lnTo>
                      <a:pt x="22" y="157"/>
                    </a:lnTo>
                    <a:lnTo>
                      <a:pt x="27" y="157"/>
                    </a:lnTo>
                    <a:lnTo>
                      <a:pt x="27" y="154"/>
                    </a:lnTo>
                    <a:lnTo>
                      <a:pt x="22" y="150"/>
                    </a:lnTo>
                    <a:lnTo>
                      <a:pt x="22" y="149"/>
                    </a:lnTo>
                    <a:lnTo>
                      <a:pt x="30" y="149"/>
                    </a:lnTo>
                    <a:lnTo>
                      <a:pt x="33" y="147"/>
                    </a:lnTo>
                    <a:lnTo>
                      <a:pt x="32" y="144"/>
                    </a:lnTo>
                    <a:lnTo>
                      <a:pt x="29" y="144"/>
                    </a:lnTo>
                    <a:lnTo>
                      <a:pt x="26" y="140"/>
                    </a:lnTo>
                    <a:lnTo>
                      <a:pt x="26" y="136"/>
                    </a:lnTo>
                    <a:lnTo>
                      <a:pt x="26" y="136"/>
                    </a:lnTo>
                    <a:lnTo>
                      <a:pt x="27" y="137"/>
                    </a:lnTo>
                    <a:lnTo>
                      <a:pt x="33" y="134"/>
                    </a:lnTo>
                    <a:lnTo>
                      <a:pt x="39" y="136"/>
                    </a:lnTo>
                    <a:lnTo>
                      <a:pt x="42" y="133"/>
                    </a:lnTo>
                    <a:lnTo>
                      <a:pt x="39" y="134"/>
                    </a:lnTo>
                    <a:lnTo>
                      <a:pt x="38" y="133"/>
                    </a:lnTo>
                    <a:lnTo>
                      <a:pt x="36" y="130"/>
                    </a:lnTo>
                    <a:lnTo>
                      <a:pt x="33" y="128"/>
                    </a:lnTo>
                    <a:lnTo>
                      <a:pt x="27" y="130"/>
                    </a:lnTo>
                    <a:lnTo>
                      <a:pt x="27" y="127"/>
                    </a:lnTo>
                    <a:lnTo>
                      <a:pt x="29" y="125"/>
                    </a:lnTo>
                    <a:lnTo>
                      <a:pt x="32" y="118"/>
                    </a:lnTo>
                    <a:lnTo>
                      <a:pt x="30" y="120"/>
                    </a:lnTo>
                    <a:lnTo>
                      <a:pt x="30" y="118"/>
                    </a:lnTo>
                    <a:lnTo>
                      <a:pt x="29" y="115"/>
                    </a:lnTo>
                    <a:lnTo>
                      <a:pt x="27" y="120"/>
                    </a:lnTo>
                    <a:lnTo>
                      <a:pt x="26" y="115"/>
                    </a:lnTo>
                    <a:lnTo>
                      <a:pt x="25" y="114"/>
                    </a:lnTo>
                    <a:lnTo>
                      <a:pt x="27" y="111"/>
                    </a:lnTo>
                    <a:lnTo>
                      <a:pt x="26" y="109"/>
                    </a:lnTo>
                    <a:lnTo>
                      <a:pt x="27" y="106"/>
                    </a:lnTo>
                    <a:lnTo>
                      <a:pt x="32" y="106"/>
                    </a:lnTo>
                    <a:lnTo>
                      <a:pt x="32" y="111"/>
                    </a:lnTo>
                    <a:lnTo>
                      <a:pt x="35" y="112"/>
                    </a:lnTo>
                    <a:lnTo>
                      <a:pt x="41" y="109"/>
                    </a:lnTo>
                    <a:lnTo>
                      <a:pt x="42" y="105"/>
                    </a:lnTo>
                    <a:lnTo>
                      <a:pt x="43" y="101"/>
                    </a:lnTo>
                    <a:lnTo>
                      <a:pt x="48" y="99"/>
                    </a:lnTo>
                    <a:lnTo>
                      <a:pt x="55" y="101"/>
                    </a:lnTo>
                    <a:lnTo>
                      <a:pt x="59" y="95"/>
                    </a:lnTo>
                    <a:lnTo>
                      <a:pt x="59" y="92"/>
                    </a:lnTo>
                    <a:lnTo>
                      <a:pt x="59" y="89"/>
                    </a:lnTo>
                    <a:lnTo>
                      <a:pt x="61" y="86"/>
                    </a:lnTo>
                    <a:lnTo>
                      <a:pt x="61" y="83"/>
                    </a:lnTo>
                    <a:lnTo>
                      <a:pt x="65" y="80"/>
                    </a:lnTo>
                    <a:lnTo>
                      <a:pt x="67" y="80"/>
                    </a:lnTo>
                    <a:lnTo>
                      <a:pt x="70" y="79"/>
                    </a:lnTo>
                    <a:lnTo>
                      <a:pt x="68" y="77"/>
                    </a:lnTo>
                    <a:lnTo>
                      <a:pt x="71" y="73"/>
                    </a:lnTo>
                    <a:lnTo>
                      <a:pt x="72" y="70"/>
                    </a:lnTo>
                    <a:lnTo>
                      <a:pt x="87" y="63"/>
                    </a:lnTo>
                    <a:lnTo>
                      <a:pt x="88" y="61"/>
                    </a:lnTo>
                    <a:lnTo>
                      <a:pt x="90" y="56"/>
                    </a:lnTo>
                    <a:lnTo>
                      <a:pt x="97" y="51"/>
                    </a:lnTo>
                    <a:lnTo>
                      <a:pt x="100" y="53"/>
                    </a:lnTo>
                    <a:lnTo>
                      <a:pt x="96" y="60"/>
                    </a:lnTo>
                    <a:lnTo>
                      <a:pt x="99" y="60"/>
                    </a:lnTo>
                    <a:lnTo>
                      <a:pt x="100" y="57"/>
                    </a:lnTo>
                    <a:lnTo>
                      <a:pt x="104" y="56"/>
                    </a:lnTo>
                    <a:lnTo>
                      <a:pt x="106" y="53"/>
                    </a:lnTo>
                    <a:lnTo>
                      <a:pt x="104" y="51"/>
                    </a:lnTo>
                    <a:lnTo>
                      <a:pt x="103" y="48"/>
                    </a:lnTo>
                    <a:lnTo>
                      <a:pt x="103" y="44"/>
                    </a:lnTo>
                    <a:lnTo>
                      <a:pt x="104" y="45"/>
                    </a:lnTo>
                    <a:lnTo>
                      <a:pt x="106" y="43"/>
                    </a:lnTo>
                    <a:lnTo>
                      <a:pt x="104" y="41"/>
                    </a:lnTo>
                    <a:lnTo>
                      <a:pt x="110" y="40"/>
                    </a:lnTo>
                    <a:lnTo>
                      <a:pt x="110" y="43"/>
                    </a:lnTo>
                    <a:lnTo>
                      <a:pt x="122" y="43"/>
                    </a:lnTo>
                    <a:lnTo>
                      <a:pt x="122" y="48"/>
                    </a:lnTo>
                    <a:lnTo>
                      <a:pt x="125" y="50"/>
                    </a:lnTo>
                    <a:lnTo>
                      <a:pt x="128" y="47"/>
                    </a:lnTo>
                    <a:lnTo>
                      <a:pt x="131" y="48"/>
                    </a:lnTo>
                    <a:lnTo>
                      <a:pt x="142" y="40"/>
                    </a:lnTo>
                    <a:lnTo>
                      <a:pt x="145" y="40"/>
                    </a:lnTo>
                    <a:lnTo>
                      <a:pt x="145" y="43"/>
                    </a:lnTo>
                    <a:lnTo>
                      <a:pt x="147" y="43"/>
                    </a:lnTo>
                    <a:lnTo>
                      <a:pt x="148" y="43"/>
                    </a:lnTo>
                    <a:lnTo>
                      <a:pt x="149" y="41"/>
                    </a:lnTo>
                    <a:lnTo>
                      <a:pt x="151" y="41"/>
                    </a:lnTo>
                    <a:lnTo>
                      <a:pt x="152" y="38"/>
                    </a:lnTo>
                    <a:lnTo>
                      <a:pt x="155" y="38"/>
                    </a:lnTo>
                    <a:lnTo>
                      <a:pt x="160" y="32"/>
                    </a:lnTo>
                    <a:lnTo>
                      <a:pt x="164" y="32"/>
                    </a:lnTo>
                    <a:lnTo>
                      <a:pt x="167" y="27"/>
                    </a:lnTo>
                    <a:lnTo>
                      <a:pt x="170" y="28"/>
                    </a:lnTo>
                    <a:lnTo>
                      <a:pt x="171" y="28"/>
                    </a:lnTo>
                    <a:lnTo>
                      <a:pt x="173" y="25"/>
                    </a:lnTo>
                    <a:lnTo>
                      <a:pt x="173" y="18"/>
                    </a:lnTo>
                    <a:lnTo>
                      <a:pt x="173" y="15"/>
                    </a:lnTo>
                    <a:lnTo>
                      <a:pt x="177" y="13"/>
                    </a:lnTo>
                    <a:lnTo>
                      <a:pt x="178" y="11"/>
                    </a:lnTo>
                    <a:lnTo>
                      <a:pt x="181" y="11"/>
                    </a:lnTo>
                    <a:lnTo>
                      <a:pt x="184" y="8"/>
                    </a:lnTo>
                    <a:lnTo>
                      <a:pt x="186" y="5"/>
                    </a:lnTo>
                    <a:lnTo>
                      <a:pt x="189" y="6"/>
                    </a:lnTo>
                    <a:lnTo>
                      <a:pt x="194" y="0"/>
                    </a:lnTo>
                    <a:lnTo>
                      <a:pt x="203" y="0"/>
                    </a:lnTo>
                    <a:lnTo>
                      <a:pt x="210" y="3"/>
                    </a:lnTo>
                    <a:lnTo>
                      <a:pt x="213" y="6"/>
                    </a:lnTo>
                    <a:lnTo>
                      <a:pt x="215" y="8"/>
                    </a:lnTo>
                    <a:lnTo>
                      <a:pt x="216" y="9"/>
                    </a:lnTo>
                    <a:lnTo>
                      <a:pt x="216" y="12"/>
                    </a:lnTo>
                    <a:lnTo>
                      <a:pt x="219" y="19"/>
                    </a:lnTo>
                    <a:lnTo>
                      <a:pt x="219" y="24"/>
                    </a:lnTo>
                    <a:lnTo>
                      <a:pt x="216" y="25"/>
                    </a:lnTo>
                    <a:lnTo>
                      <a:pt x="215" y="29"/>
                    </a:lnTo>
                    <a:lnTo>
                      <a:pt x="219" y="29"/>
                    </a:lnTo>
                    <a:lnTo>
                      <a:pt x="218" y="31"/>
                    </a:lnTo>
                    <a:lnTo>
                      <a:pt x="215" y="34"/>
                    </a:lnTo>
                    <a:lnTo>
                      <a:pt x="207" y="45"/>
                    </a:lnTo>
                    <a:lnTo>
                      <a:pt x="209" y="50"/>
                    </a:lnTo>
                    <a:lnTo>
                      <a:pt x="205" y="47"/>
                    </a:lnTo>
                    <a:lnTo>
                      <a:pt x="203" y="47"/>
                    </a:lnTo>
                    <a:lnTo>
                      <a:pt x="200" y="48"/>
                    </a:lnTo>
                    <a:lnTo>
                      <a:pt x="190" y="57"/>
                    </a:lnTo>
                    <a:lnTo>
                      <a:pt x="184" y="60"/>
                    </a:lnTo>
                    <a:lnTo>
                      <a:pt x="183" y="60"/>
                    </a:lnTo>
                    <a:lnTo>
                      <a:pt x="177" y="63"/>
                    </a:lnTo>
                    <a:lnTo>
                      <a:pt x="174" y="63"/>
                    </a:lnTo>
                    <a:lnTo>
                      <a:pt x="168" y="64"/>
                    </a:lnTo>
                    <a:lnTo>
                      <a:pt x="167" y="66"/>
                    </a:lnTo>
                    <a:lnTo>
                      <a:pt x="165" y="69"/>
                    </a:lnTo>
                    <a:lnTo>
                      <a:pt x="162" y="72"/>
                    </a:lnTo>
                    <a:lnTo>
                      <a:pt x="161" y="69"/>
                    </a:lnTo>
                    <a:lnTo>
                      <a:pt x="160" y="72"/>
                    </a:lnTo>
                    <a:lnTo>
                      <a:pt x="145" y="82"/>
                    </a:lnTo>
                    <a:lnTo>
                      <a:pt x="144" y="80"/>
                    </a:lnTo>
                    <a:lnTo>
                      <a:pt x="142" y="76"/>
                    </a:lnTo>
                    <a:lnTo>
                      <a:pt x="139" y="77"/>
                    </a:lnTo>
                    <a:lnTo>
                      <a:pt x="141" y="79"/>
                    </a:lnTo>
                    <a:lnTo>
                      <a:pt x="139" y="80"/>
                    </a:lnTo>
                    <a:lnTo>
                      <a:pt x="139" y="83"/>
                    </a:lnTo>
                    <a:lnTo>
                      <a:pt x="131" y="91"/>
                    </a:lnTo>
                    <a:lnTo>
                      <a:pt x="125" y="92"/>
                    </a:lnTo>
                    <a:lnTo>
                      <a:pt x="123" y="96"/>
                    </a:lnTo>
                    <a:lnTo>
                      <a:pt x="122" y="95"/>
                    </a:lnTo>
                    <a:lnTo>
                      <a:pt x="110" y="112"/>
                    </a:lnTo>
                    <a:lnTo>
                      <a:pt x="103" y="114"/>
                    </a:lnTo>
                    <a:lnTo>
                      <a:pt x="102" y="115"/>
                    </a:lnTo>
                    <a:lnTo>
                      <a:pt x="102" y="114"/>
                    </a:lnTo>
                    <a:lnTo>
                      <a:pt x="99" y="114"/>
                    </a:lnTo>
                    <a:lnTo>
                      <a:pt x="97" y="112"/>
                    </a:lnTo>
                    <a:lnTo>
                      <a:pt x="96" y="117"/>
                    </a:lnTo>
                    <a:lnTo>
                      <a:pt x="97" y="118"/>
                    </a:lnTo>
                    <a:lnTo>
                      <a:pt x="99" y="118"/>
                    </a:lnTo>
                    <a:lnTo>
                      <a:pt x="100" y="121"/>
                    </a:lnTo>
                    <a:lnTo>
                      <a:pt x="93" y="128"/>
                    </a:lnTo>
                    <a:lnTo>
                      <a:pt x="94" y="130"/>
                    </a:lnTo>
                    <a:lnTo>
                      <a:pt x="93" y="133"/>
                    </a:lnTo>
                    <a:lnTo>
                      <a:pt x="88" y="134"/>
                    </a:lnTo>
                    <a:lnTo>
                      <a:pt x="86" y="131"/>
                    </a:lnTo>
                    <a:lnTo>
                      <a:pt x="83" y="130"/>
                    </a:lnTo>
                    <a:lnTo>
                      <a:pt x="83" y="131"/>
                    </a:lnTo>
                    <a:lnTo>
                      <a:pt x="86" y="136"/>
                    </a:lnTo>
                    <a:lnTo>
                      <a:pt x="88" y="141"/>
                    </a:lnTo>
                    <a:lnTo>
                      <a:pt x="78" y="134"/>
                    </a:lnTo>
                    <a:lnTo>
                      <a:pt x="77" y="136"/>
                    </a:lnTo>
                    <a:lnTo>
                      <a:pt x="77" y="137"/>
                    </a:lnTo>
                    <a:lnTo>
                      <a:pt x="77" y="138"/>
                    </a:lnTo>
                    <a:lnTo>
                      <a:pt x="78" y="141"/>
                    </a:lnTo>
                    <a:lnTo>
                      <a:pt x="78" y="143"/>
                    </a:lnTo>
                    <a:lnTo>
                      <a:pt x="75" y="141"/>
                    </a:lnTo>
                    <a:lnTo>
                      <a:pt x="75" y="143"/>
                    </a:lnTo>
                    <a:lnTo>
                      <a:pt x="77" y="147"/>
                    </a:lnTo>
                    <a:lnTo>
                      <a:pt x="75" y="149"/>
                    </a:lnTo>
                    <a:lnTo>
                      <a:pt x="74" y="149"/>
                    </a:lnTo>
                    <a:lnTo>
                      <a:pt x="72" y="146"/>
                    </a:lnTo>
                    <a:lnTo>
                      <a:pt x="65" y="140"/>
                    </a:lnTo>
                    <a:lnTo>
                      <a:pt x="65" y="143"/>
                    </a:lnTo>
                    <a:lnTo>
                      <a:pt x="68" y="146"/>
                    </a:lnTo>
                    <a:lnTo>
                      <a:pt x="72" y="154"/>
                    </a:lnTo>
                    <a:lnTo>
                      <a:pt x="72" y="157"/>
                    </a:lnTo>
                    <a:lnTo>
                      <a:pt x="71" y="157"/>
                    </a:lnTo>
                    <a:lnTo>
                      <a:pt x="70" y="162"/>
                    </a:lnTo>
                    <a:lnTo>
                      <a:pt x="68" y="159"/>
                    </a:lnTo>
                    <a:lnTo>
                      <a:pt x="68" y="159"/>
                    </a:lnTo>
                    <a:lnTo>
                      <a:pt x="68" y="163"/>
                    </a:lnTo>
                    <a:lnTo>
                      <a:pt x="68" y="163"/>
                    </a:lnTo>
                    <a:lnTo>
                      <a:pt x="68" y="165"/>
                    </a:lnTo>
                    <a:lnTo>
                      <a:pt x="65" y="163"/>
                    </a:lnTo>
                    <a:lnTo>
                      <a:pt x="65" y="166"/>
                    </a:lnTo>
                    <a:lnTo>
                      <a:pt x="65" y="169"/>
                    </a:lnTo>
                    <a:lnTo>
                      <a:pt x="64" y="170"/>
                    </a:lnTo>
                    <a:lnTo>
                      <a:pt x="62" y="168"/>
                    </a:lnTo>
                    <a:lnTo>
                      <a:pt x="61" y="168"/>
                    </a:lnTo>
                    <a:lnTo>
                      <a:pt x="55" y="157"/>
                    </a:lnTo>
                    <a:lnTo>
                      <a:pt x="54" y="162"/>
                    </a:lnTo>
                    <a:lnTo>
                      <a:pt x="55" y="165"/>
                    </a:lnTo>
                    <a:lnTo>
                      <a:pt x="51" y="166"/>
                    </a:lnTo>
                    <a:lnTo>
                      <a:pt x="55" y="168"/>
                    </a:lnTo>
                    <a:lnTo>
                      <a:pt x="58" y="169"/>
                    </a:lnTo>
                    <a:lnTo>
                      <a:pt x="58" y="172"/>
                    </a:lnTo>
                    <a:lnTo>
                      <a:pt x="59" y="173"/>
                    </a:lnTo>
                    <a:lnTo>
                      <a:pt x="58" y="175"/>
                    </a:lnTo>
                    <a:lnTo>
                      <a:pt x="59" y="176"/>
                    </a:lnTo>
                    <a:lnTo>
                      <a:pt x="59" y="182"/>
                    </a:lnTo>
                    <a:lnTo>
                      <a:pt x="56" y="182"/>
                    </a:lnTo>
                    <a:lnTo>
                      <a:pt x="55" y="179"/>
                    </a:lnTo>
                    <a:lnTo>
                      <a:pt x="46" y="176"/>
                    </a:lnTo>
                    <a:lnTo>
                      <a:pt x="45" y="178"/>
                    </a:lnTo>
                    <a:lnTo>
                      <a:pt x="46" y="179"/>
                    </a:lnTo>
                    <a:lnTo>
                      <a:pt x="51" y="179"/>
                    </a:lnTo>
                    <a:lnTo>
                      <a:pt x="54" y="185"/>
                    </a:lnTo>
                    <a:lnTo>
                      <a:pt x="55" y="188"/>
                    </a:lnTo>
                    <a:lnTo>
                      <a:pt x="54" y="189"/>
                    </a:lnTo>
                    <a:lnTo>
                      <a:pt x="52" y="191"/>
                    </a:lnTo>
                    <a:lnTo>
                      <a:pt x="52" y="192"/>
                    </a:lnTo>
                    <a:lnTo>
                      <a:pt x="49" y="191"/>
                    </a:lnTo>
                    <a:lnTo>
                      <a:pt x="48" y="186"/>
                    </a:lnTo>
                    <a:lnTo>
                      <a:pt x="45" y="186"/>
                    </a:lnTo>
                    <a:lnTo>
                      <a:pt x="48" y="194"/>
                    </a:lnTo>
                    <a:lnTo>
                      <a:pt x="49" y="195"/>
                    </a:lnTo>
                    <a:lnTo>
                      <a:pt x="51" y="198"/>
                    </a:lnTo>
                    <a:lnTo>
                      <a:pt x="48" y="199"/>
                    </a:lnTo>
                    <a:lnTo>
                      <a:pt x="46" y="204"/>
                    </a:lnTo>
                    <a:lnTo>
                      <a:pt x="45" y="204"/>
                    </a:lnTo>
                    <a:lnTo>
                      <a:pt x="43" y="207"/>
                    </a:lnTo>
                    <a:lnTo>
                      <a:pt x="42" y="207"/>
                    </a:lnTo>
                    <a:lnTo>
                      <a:pt x="39" y="205"/>
                    </a:lnTo>
                    <a:lnTo>
                      <a:pt x="35" y="205"/>
                    </a:lnTo>
                    <a:lnTo>
                      <a:pt x="30" y="202"/>
                    </a:lnTo>
                    <a:lnTo>
                      <a:pt x="25" y="202"/>
                    </a:lnTo>
                    <a:lnTo>
                      <a:pt x="22" y="198"/>
                    </a:lnTo>
                    <a:lnTo>
                      <a:pt x="16" y="199"/>
                    </a:lnTo>
                    <a:lnTo>
                      <a:pt x="10" y="202"/>
                    </a:lnTo>
                    <a:lnTo>
                      <a:pt x="6" y="202"/>
                    </a:lnTo>
                    <a:lnTo>
                      <a:pt x="9" y="199"/>
                    </a:lnTo>
                    <a:lnTo>
                      <a:pt x="10" y="197"/>
                    </a:lnTo>
                    <a:lnTo>
                      <a:pt x="9" y="197"/>
                    </a:lnTo>
                    <a:lnTo>
                      <a:pt x="9" y="194"/>
                    </a:lnTo>
                    <a:lnTo>
                      <a:pt x="10" y="192"/>
                    </a:lnTo>
                    <a:lnTo>
                      <a:pt x="14" y="188"/>
                    </a:lnTo>
                    <a:lnTo>
                      <a:pt x="17" y="188"/>
                    </a:lnTo>
                    <a:lnTo>
                      <a:pt x="20" y="186"/>
                    </a:lnTo>
                    <a:lnTo>
                      <a:pt x="20" y="185"/>
                    </a:lnTo>
                    <a:lnTo>
                      <a:pt x="17" y="184"/>
                    </a:lnTo>
                    <a:lnTo>
                      <a:pt x="17" y="185"/>
                    </a:lnTo>
                    <a:lnTo>
                      <a:pt x="14" y="186"/>
                    </a:lnTo>
                    <a:lnTo>
                      <a:pt x="10" y="189"/>
                    </a:lnTo>
                    <a:lnTo>
                      <a:pt x="4" y="188"/>
                    </a:lnTo>
                    <a:lnTo>
                      <a:pt x="4" y="186"/>
                    </a:lnTo>
                    <a:lnTo>
                      <a:pt x="1" y="184"/>
                    </a:lnTo>
                    <a:lnTo>
                      <a:pt x="0" y="18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21" name="Freeform 637"/>
              <p:cNvSpPr>
                <a:spLocks/>
              </p:cNvSpPr>
              <p:nvPr/>
            </p:nvSpPr>
            <p:spPr bwMode="auto">
              <a:xfrm>
                <a:off x="6801898" y="1745314"/>
                <a:ext cx="11412" cy="21296"/>
              </a:xfrm>
              <a:custGeom>
                <a:avLst/>
                <a:gdLst/>
                <a:ahLst/>
                <a:cxnLst>
                  <a:cxn ang="0">
                    <a:pos x="0" y="3"/>
                  </a:cxn>
                  <a:cxn ang="0">
                    <a:pos x="0" y="2"/>
                  </a:cxn>
                  <a:cxn ang="0">
                    <a:pos x="3" y="0"/>
                  </a:cxn>
                  <a:cxn ang="0">
                    <a:pos x="6" y="2"/>
                  </a:cxn>
                  <a:cxn ang="0">
                    <a:pos x="9" y="3"/>
                  </a:cxn>
                  <a:cxn ang="0">
                    <a:pos x="9" y="2"/>
                  </a:cxn>
                  <a:cxn ang="0">
                    <a:pos x="12" y="8"/>
                  </a:cxn>
                  <a:cxn ang="0">
                    <a:pos x="12" y="13"/>
                  </a:cxn>
                  <a:cxn ang="0">
                    <a:pos x="12" y="15"/>
                  </a:cxn>
                  <a:cxn ang="0">
                    <a:pos x="13" y="19"/>
                  </a:cxn>
                  <a:cxn ang="0">
                    <a:pos x="12" y="21"/>
                  </a:cxn>
                  <a:cxn ang="0">
                    <a:pos x="6" y="6"/>
                  </a:cxn>
                  <a:cxn ang="0">
                    <a:pos x="0" y="5"/>
                  </a:cxn>
                  <a:cxn ang="0">
                    <a:pos x="0" y="3"/>
                  </a:cxn>
                </a:cxnLst>
                <a:rect l="0" t="0" r="r" b="b"/>
                <a:pathLst>
                  <a:path w="13" h="21">
                    <a:moveTo>
                      <a:pt x="0" y="3"/>
                    </a:moveTo>
                    <a:lnTo>
                      <a:pt x="0" y="2"/>
                    </a:lnTo>
                    <a:lnTo>
                      <a:pt x="3" y="0"/>
                    </a:lnTo>
                    <a:lnTo>
                      <a:pt x="6" y="2"/>
                    </a:lnTo>
                    <a:lnTo>
                      <a:pt x="9" y="3"/>
                    </a:lnTo>
                    <a:lnTo>
                      <a:pt x="9" y="2"/>
                    </a:lnTo>
                    <a:lnTo>
                      <a:pt x="12" y="8"/>
                    </a:lnTo>
                    <a:lnTo>
                      <a:pt x="12" y="13"/>
                    </a:lnTo>
                    <a:lnTo>
                      <a:pt x="12" y="15"/>
                    </a:lnTo>
                    <a:lnTo>
                      <a:pt x="13" y="19"/>
                    </a:lnTo>
                    <a:lnTo>
                      <a:pt x="12" y="21"/>
                    </a:lnTo>
                    <a:lnTo>
                      <a:pt x="6" y="6"/>
                    </a:lnTo>
                    <a:lnTo>
                      <a:pt x="0" y="5"/>
                    </a:lnTo>
                    <a:lnTo>
                      <a:pt x="0"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22" name="Freeform 638"/>
              <p:cNvSpPr>
                <a:spLocks/>
              </p:cNvSpPr>
              <p:nvPr/>
            </p:nvSpPr>
            <p:spPr bwMode="auto">
              <a:xfrm>
                <a:off x="6801898" y="1745314"/>
                <a:ext cx="11412" cy="21296"/>
              </a:xfrm>
              <a:custGeom>
                <a:avLst/>
                <a:gdLst/>
                <a:ahLst/>
                <a:cxnLst>
                  <a:cxn ang="0">
                    <a:pos x="0" y="3"/>
                  </a:cxn>
                  <a:cxn ang="0">
                    <a:pos x="0" y="2"/>
                  </a:cxn>
                  <a:cxn ang="0">
                    <a:pos x="3" y="0"/>
                  </a:cxn>
                  <a:cxn ang="0">
                    <a:pos x="6" y="2"/>
                  </a:cxn>
                  <a:cxn ang="0">
                    <a:pos x="9" y="3"/>
                  </a:cxn>
                  <a:cxn ang="0">
                    <a:pos x="9" y="2"/>
                  </a:cxn>
                  <a:cxn ang="0">
                    <a:pos x="12" y="8"/>
                  </a:cxn>
                  <a:cxn ang="0">
                    <a:pos x="12" y="13"/>
                  </a:cxn>
                  <a:cxn ang="0">
                    <a:pos x="12" y="15"/>
                  </a:cxn>
                  <a:cxn ang="0">
                    <a:pos x="13" y="19"/>
                  </a:cxn>
                  <a:cxn ang="0">
                    <a:pos x="12" y="21"/>
                  </a:cxn>
                  <a:cxn ang="0">
                    <a:pos x="6" y="6"/>
                  </a:cxn>
                  <a:cxn ang="0">
                    <a:pos x="0" y="5"/>
                  </a:cxn>
                  <a:cxn ang="0">
                    <a:pos x="0" y="3"/>
                  </a:cxn>
                </a:cxnLst>
                <a:rect l="0" t="0" r="r" b="b"/>
                <a:pathLst>
                  <a:path w="13" h="21">
                    <a:moveTo>
                      <a:pt x="0" y="3"/>
                    </a:moveTo>
                    <a:lnTo>
                      <a:pt x="0" y="2"/>
                    </a:lnTo>
                    <a:lnTo>
                      <a:pt x="3" y="0"/>
                    </a:lnTo>
                    <a:lnTo>
                      <a:pt x="6" y="2"/>
                    </a:lnTo>
                    <a:lnTo>
                      <a:pt x="9" y="3"/>
                    </a:lnTo>
                    <a:lnTo>
                      <a:pt x="9" y="2"/>
                    </a:lnTo>
                    <a:lnTo>
                      <a:pt x="12" y="8"/>
                    </a:lnTo>
                    <a:lnTo>
                      <a:pt x="12" y="13"/>
                    </a:lnTo>
                    <a:lnTo>
                      <a:pt x="12" y="15"/>
                    </a:lnTo>
                    <a:lnTo>
                      <a:pt x="13" y="19"/>
                    </a:lnTo>
                    <a:lnTo>
                      <a:pt x="12" y="21"/>
                    </a:lnTo>
                    <a:lnTo>
                      <a:pt x="6" y="6"/>
                    </a:lnTo>
                    <a:lnTo>
                      <a:pt x="0" y="5"/>
                    </a:lnTo>
                    <a:lnTo>
                      <a:pt x="0"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23" name="Freeform 639"/>
              <p:cNvSpPr>
                <a:spLocks/>
              </p:cNvSpPr>
              <p:nvPr/>
            </p:nvSpPr>
            <p:spPr bwMode="auto">
              <a:xfrm>
                <a:off x="7508528" y="1353859"/>
                <a:ext cx="17556" cy="10141"/>
              </a:xfrm>
              <a:custGeom>
                <a:avLst/>
                <a:gdLst/>
                <a:ahLst/>
                <a:cxnLst>
                  <a:cxn ang="0">
                    <a:pos x="7" y="0"/>
                  </a:cxn>
                  <a:cxn ang="0">
                    <a:pos x="10" y="3"/>
                  </a:cxn>
                  <a:cxn ang="0">
                    <a:pos x="13" y="0"/>
                  </a:cxn>
                  <a:cxn ang="0">
                    <a:pos x="16" y="0"/>
                  </a:cxn>
                  <a:cxn ang="0">
                    <a:pos x="16" y="1"/>
                  </a:cxn>
                  <a:cxn ang="0">
                    <a:pos x="17" y="1"/>
                  </a:cxn>
                  <a:cxn ang="0">
                    <a:pos x="19" y="4"/>
                  </a:cxn>
                  <a:cxn ang="0">
                    <a:pos x="16" y="7"/>
                  </a:cxn>
                  <a:cxn ang="0">
                    <a:pos x="14" y="10"/>
                  </a:cxn>
                  <a:cxn ang="0">
                    <a:pos x="13" y="9"/>
                  </a:cxn>
                  <a:cxn ang="0">
                    <a:pos x="0" y="4"/>
                  </a:cxn>
                  <a:cxn ang="0">
                    <a:pos x="1" y="3"/>
                  </a:cxn>
                  <a:cxn ang="0">
                    <a:pos x="3" y="3"/>
                  </a:cxn>
                  <a:cxn ang="0">
                    <a:pos x="4" y="1"/>
                  </a:cxn>
                  <a:cxn ang="0">
                    <a:pos x="7" y="0"/>
                  </a:cxn>
                </a:cxnLst>
                <a:rect l="0" t="0" r="r" b="b"/>
                <a:pathLst>
                  <a:path w="19" h="10">
                    <a:moveTo>
                      <a:pt x="7" y="0"/>
                    </a:moveTo>
                    <a:lnTo>
                      <a:pt x="10" y="3"/>
                    </a:lnTo>
                    <a:lnTo>
                      <a:pt x="13" y="0"/>
                    </a:lnTo>
                    <a:lnTo>
                      <a:pt x="16" y="0"/>
                    </a:lnTo>
                    <a:lnTo>
                      <a:pt x="16" y="1"/>
                    </a:lnTo>
                    <a:lnTo>
                      <a:pt x="17" y="1"/>
                    </a:lnTo>
                    <a:lnTo>
                      <a:pt x="19" y="4"/>
                    </a:lnTo>
                    <a:lnTo>
                      <a:pt x="16" y="7"/>
                    </a:lnTo>
                    <a:lnTo>
                      <a:pt x="14" y="10"/>
                    </a:lnTo>
                    <a:lnTo>
                      <a:pt x="13" y="9"/>
                    </a:lnTo>
                    <a:lnTo>
                      <a:pt x="0" y="4"/>
                    </a:lnTo>
                    <a:lnTo>
                      <a:pt x="1" y="3"/>
                    </a:lnTo>
                    <a:lnTo>
                      <a:pt x="3" y="3"/>
                    </a:lnTo>
                    <a:lnTo>
                      <a:pt x="4" y="1"/>
                    </a:lnTo>
                    <a:lnTo>
                      <a:pt x="7"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24" name="Freeform 640"/>
              <p:cNvSpPr>
                <a:spLocks/>
              </p:cNvSpPr>
              <p:nvPr/>
            </p:nvSpPr>
            <p:spPr bwMode="auto">
              <a:xfrm>
                <a:off x="7508528" y="1353859"/>
                <a:ext cx="17556" cy="10141"/>
              </a:xfrm>
              <a:custGeom>
                <a:avLst/>
                <a:gdLst/>
                <a:ahLst/>
                <a:cxnLst>
                  <a:cxn ang="0">
                    <a:pos x="7" y="0"/>
                  </a:cxn>
                  <a:cxn ang="0">
                    <a:pos x="10" y="3"/>
                  </a:cxn>
                  <a:cxn ang="0">
                    <a:pos x="13" y="0"/>
                  </a:cxn>
                  <a:cxn ang="0">
                    <a:pos x="16" y="0"/>
                  </a:cxn>
                  <a:cxn ang="0">
                    <a:pos x="16" y="1"/>
                  </a:cxn>
                  <a:cxn ang="0">
                    <a:pos x="17" y="1"/>
                  </a:cxn>
                  <a:cxn ang="0">
                    <a:pos x="19" y="4"/>
                  </a:cxn>
                  <a:cxn ang="0">
                    <a:pos x="16" y="7"/>
                  </a:cxn>
                  <a:cxn ang="0">
                    <a:pos x="14" y="10"/>
                  </a:cxn>
                  <a:cxn ang="0">
                    <a:pos x="13" y="9"/>
                  </a:cxn>
                  <a:cxn ang="0">
                    <a:pos x="0" y="4"/>
                  </a:cxn>
                  <a:cxn ang="0">
                    <a:pos x="1" y="3"/>
                  </a:cxn>
                  <a:cxn ang="0">
                    <a:pos x="3" y="3"/>
                  </a:cxn>
                  <a:cxn ang="0">
                    <a:pos x="4" y="1"/>
                  </a:cxn>
                  <a:cxn ang="0">
                    <a:pos x="7" y="0"/>
                  </a:cxn>
                </a:cxnLst>
                <a:rect l="0" t="0" r="r" b="b"/>
                <a:pathLst>
                  <a:path w="19" h="10">
                    <a:moveTo>
                      <a:pt x="7" y="0"/>
                    </a:moveTo>
                    <a:lnTo>
                      <a:pt x="10" y="3"/>
                    </a:lnTo>
                    <a:lnTo>
                      <a:pt x="13" y="0"/>
                    </a:lnTo>
                    <a:lnTo>
                      <a:pt x="16" y="0"/>
                    </a:lnTo>
                    <a:lnTo>
                      <a:pt x="16" y="1"/>
                    </a:lnTo>
                    <a:lnTo>
                      <a:pt x="17" y="1"/>
                    </a:lnTo>
                    <a:lnTo>
                      <a:pt x="19" y="4"/>
                    </a:lnTo>
                    <a:lnTo>
                      <a:pt x="16" y="7"/>
                    </a:lnTo>
                    <a:lnTo>
                      <a:pt x="14" y="10"/>
                    </a:lnTo>
                    <a:lnTo>
                      <a:pt x="13" y="9"/>
                    </a:lnTo>
                    <a:lnTo>
                      <a:pt x="0" y="4"/>
                    </a:lnTo>
                    <a:lnTo>
                      <a:pt x="1" y="3"/>
                    </a:lnTo>
                    <a:lnTo>
                      <a:pt x="3" y="3"/>
                    </a:lnTo>
                    <a:lnTo>
                      <a:pt x="4" y="1"/>
                    </a:lnTo>
                    <a:lnTo>
                      <a:pt x="7"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25" name="Freeform 641"/>
              <p:cNvSpPr>
                <a:spLocks/>
              </p:cNvSpPr>
              <p:nvPr/>
            </p:nvSpPr>
            <p:spPr bwMode="auto">
              <a:xfrm>
                <a:off x="7282055" y="1413692"/>
                <a:ext cx="6144" cy="13184"/>
              </a:xfrm>
              <a:custGeom>
                <a:avLst/>
                <a:gdLst/>
                <a:ahLst/>
                <a:cxnLst>
                  <a:cxn ang="0">
                    <a:pos x="4" y="0"/>
                  </a:cxn>
                  <a:cxn ang="0">
                    <a:pos x="4" y="0"/>
                  </a:cxn>
                  <a:cxn ang="0">
                    <a:pos x="4" y="3"/>
                  </a:cxn>
                  <a:cxn ang="0">
                    <a:pos x="4" y="5"/>
                  </a:cxn>
                  <a:cxn ang="0">
                    <a:pos x="4" y="6"/>
                  </a:cxn>
                  <a:cxn ang="0">
                    <a:pos x="6" y="7"/>
                  </a:cxn>
                  <a:cxn ang="0">
                    <a:pos x="6" y="10"/>
                  </a:cxn>
                  <a:cxn ang="0">
                    <a:pos x="4" y="12"/>
                  </a:cxn>
                  <a:cxn ang="0">
                    <a:pos x="3" y="10"/>
                  </a:cxn>
                  <a:cxn ang="0">
                    <a:pos x="2" y="12"/>
                  </a:cxn>
                  <a:cxn ang="0">
                    <a:pos x="0" y="12"/>
                  </a:cxn>
                  <a:cxn ang="0">
                    <a:pos x="0" y="6"/>
                  </a:cxn>
                  <a:cxn ang="0">
                    <a:pos x="0" y="5"/>
                  </a:cxn>
                  <a:cxn ang="0">
                    <a:pos x="2" y="3"/>
                  </a:cxn>
                  <a:cxn ang="0">
                    <a:pos x="4" y="0"/>
                  </a:cxn>
                </a:cxnLst>
                <a:rect l="0" t="0" r="r" b="b"/>
                <a:pathLst>
                  <a:path w="6" h="12">
                    <a:moveTo>
                      <a:pt x="4" y="0"/>
                    </a:moveTo>
                    <a:lnTo>
                      <a:pt x="4" y="0"/>
                    </a:lnTo>
                    <a:lnTo>
                      <a:pt x="4" y="3"/>
                    </a:lnTo>
                    <a:lnTo>
                      <a:pt x="4" y="5"/>
                    </a:lnTo>
                    <a:lnTo>
                      <a:pt x="4" y="6"/>
                    </a:lnTo>
                    <a:lnTo>
                      <a:pt x="6" y="7"/>
                    </a:lnTo>
                    <a:lnTo>
                      <a:pt x="6" y="10"/>
                    </a:lnTo>
                    <a:lnTo>
                      <a:pt x="4" y="12"/>
                    </a:lnTo>
                    <a:lnTo>
                      <a:pt x="3" y="10"/>
                    </a:lnTo>
                    <a:lnTo>
                      <a:pt x="2" y="12"/>
                    </a:lnTo>
                    <a:lnTo>
                      <a:pt x="0" y="12"/>
                    </a:lnTo>
                    <a:lnTo>
                      <a:pt x="0" y="6"/>
                    </a:lnTo>
                    <a:lnTo>
                      <a:pt x="0" y="5"/>
                    </a:lnTo>
                    <a:lnTo>
                      <a:pt x="2" y="3"/>
                    </a:lnTo>
                    <a:lnTo>
                      <a:pt x="4"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26" name="Freeform 642"/>
              <p:cNvSpPr>
                <a:spLocks/>
              </p:cNvSpPr>
              <p:nvPr/>
            </p:nvSpPr>
            <p:spPr bwMode="auto">
              <a:xfrm>
                <a:off x="7282055" y="1413692"/>
                <a:ext cx="6144" cy="13184"/>
              </a:xfrm>
              <a:custGeom>
                <a:avLst/>
                <a:gdLst/>
                <a:ahLst/>
                <a:cxnLst>
                  <a:cxn ang="0">
                    <a:pos x="4" y="0"/>
                  </a:cxn>
                  <a:cxn ang="0">
                    <a:pos x="4" y="0"/>
                  </a:cxn>
                  <a:cxn ang="0">
                    <a:pos x="4" y="3"/>
                  </a:cxn>
                  <a:cxn ang="0">
                    <a:pos x="4" y="5"/>
                  </a:cxn>
                  <a:cxn ang="0">
                    <a:pos x="4" y="6"/>
                  </a:cxn>
                  <a:cxn ang="0">
                    <a:pos x="6" y="7"/>
                  </a:cxn>
                  <a:cxn ang="0">
                    <a:pos x="6" y="10"/>
                  </a:cxn>
                  <a:cxn ang="0">
                    <a:pos x="4" y="12"/>
                  </a:cxn>
                  <a:cxn ang="0">
                    <a:pos x="3" y="10"/>
                  </a:cxn>
                  <a:cxn ang="0">
                    <a:pos x="2" y="12"/>
                  </a:cxn>
                  <a:cxn ang="0">
                    <a:pos x="0" y="12"/>
                  </a:cxn>
                  <a:cxn ang="0">
                    <a:pos x="0" y="6"/>
                  </a:cxn>
                  <a:cxn ang="0">
                    <a:pos x="0" y="5"/>
                  </a:cxn>
                  <a:cxn ang="0">
                    <a:pos x="2" y="3"/>
                  </a:cxn>
                  <a:cxn ang="0">
                    <a:pos x="4" y="0"/>
                  </a:cxn>
                </a:cxnLst>
                <a:rect l="0" t="0" r="r" b="b"/>
                <a:pathLst>
                  <a:path w="6" h="12">
                    <a:moveTo>
                      <a:pt x="4" y="0"/>
                    </a:moveTo>
                    <a:lnTo>
                      <a:pt x="4" y="0"/>
                    </a:lnTo>
                    <a:lnTo>
                      <a:pt x="4" y="3"/>
                    </a:lnTo>
                    <a:lnTo>
                      <a:pt x="4" y="5"/>
                    </a:lnTo>
                    <a:lnTo>
                      <a:pt x="4" y="6"/>
                    </a:lnTo>
                    <a:lnTo>
                      <a:pt x="6" y="7"/>
                    </a:lnTo>
                    <a:lnTo>
                      <a:pt x="6" y="10"/>
                    </a:lnTo>
                    <a:lnTo>
                      <a:pt x="4" y="12"/>
                    </a:lnTo>
                    <a:lnTo>
                      <a:pt x="3" y="10"/>
                    </a:lnTo>
                    <a:lnTo>
                      <a:pt x="2" y="12"/>
                    </a:lnTo>
                    <a:lnTo>
                      <a:pt x="0" y="12"/>
                    </a:lnTo>
                    <a:lnTo>
                      <a:pt x="0" y="6"/>
                    </a:lnTo>
                    <a:lnTo>
                      <a:pt x="0" y="5"/>
                    </a:lnTo>
                    <a:lnTo>
                      <a:pt x="2" y="3"/>
                    </a:lnTo>
                    <a:lnTo>
                      <a:pt x="4"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27" name="Freeform 643"/>
              <p:cNvSpPr>
                <a:spLocks/>
              </p:cNvSpPr>
              <p:nvPr/>
            </p:nvSpPr>
            <p:spPr bwMode="auto">
              <a:xfrm>
                <a:off x="7361934" y="1479612"/>
                <a:ext cx="17556" cy="10141"/>
              </a:xfrm>
              <a:custGeom>
                <a:avLst/>
                <a:gdLst/>
                <a:ahLst/>
                <a:cxnLst>
                  <a:cxn ang="0">
                    <a:pos x="15" y="1"/>
                  </a:cxn>
                  <a:cxn ang="0">
                    <a:pos x="15" y="3"/>
                  </a:cxn>
                  <a:cxn ang="0">
                    <a:pos x="15" y="5"/>
                  </a:cxn>
                  <a:cxn ang="0">
                    <a:pos x="15" y="7"/>
                  </a:cxn>
                  <a:cxn ang="0">
                    <a:pos x="15" y="10"/>
                  </a:cxn>
                  <a:cxn ang="0">
                    <a:pos x="8" y="10"/>
                  </a:cxn>
                  <a:cxn ang="0">
                    <a:pos x="0" y="5"/>
                  </a:cxn>
                  <a:cxn ang="0">
                    <a:pos x="0" y="3"/>
                  </a:cxn>
                  <a:cxn ang="0">
                    <a:pos x="2" y="3"/>
                  </a:cxn>
                  <a:cxn ang="0">
                    <a:pos x="2" y="4"/>
                  </a:cxn>
                  <a:cxn ang="0">
                    <a:pos x="3" y="5"/>
                  </a:cxn>
                  <a:cxn ang="0">
                    <a:pos x="3" y="3"/>
                  </a:cxn>
                  <a:cxn ang="0">
                    <a:pos x="5" y="3"/>
                  </a:cxn>
                  <a:cxn ang="0">
                    <a:pos x="6" y="0"/>
                  </a:cxn>
                  <a:cxn ang="0">
                    <a:pos x="10" y="4"/>
                  </a:cxn>
                  <a:cxn ang="0">
                    <a:pos x="15" y="1"/>
                  </a:cxn>
                  <a:cxn ang="0">
                    <a:pos x="16" y="1"/>
                  </a:cxn>
                  <a:cxn ang="0">
                    <a:pos x="18" y="3"/>
                  </a:cxn>
                  <a:cxn ang="0">
                    <a:pos x="19" y="4"/>
                  </a:cxn>
                  <a:cxn ang="0">
                    <a:pos x="18" y="8"/>
                  </a:cxn>
                  <a:cxn ang="0">
                    <a:pos x="18" y="4"/>
                  </a:cxn>
                  <a:cxn ang="0">
                    <a:pos x="15" y="1"/>
                  </a:cxn>
                </a:cxnLst>
                <a:rect l="0" t="0" r="r" b="b"/>
                <a:pathLst>
                  <a:path w="19" h="10">
                    <a:moveTo>
                      <a:pt x="15" y="1"/>
                    </a:moveTo>
                    <a:lnTo>
                      <a:pt x="15" y="3"/>
                    </a:lnTo>
                    <a:lnTo>
                      <a:pt x="15" y="5"/>
                    </a:lnTo>
                    <a:lnTo>
                      <a:pt x="15" y="7"/>
                    </a:lnTo>
                    <a:lnTo>
                      <a:pt x="15" y="10"/>
                    </a:lnTo>
                    <a:lnTo>
                      <a:pt x="8" y="10"/>
                    </a:lnTo>
                    <a:lnTo>
                      <a:pt x="0" y="5"/>
                    </a:lnTo>
                    <a:lnTo>
                      <a:pt x="0" y="3"/>
                    </a:lnTo>
                    <a:lnTo>
                      <a:pt x="2" y="3"/>
                    </a:lnTo>
                    <a:lnTo>
                      <a:pt x="2" y="4"/>
                    </a:lnTo>
                    <a:lnTo>
                      <a:pt x="3" y="5"/>
                    </a:lnTo>
                    <a:lnTo>
                      <a:pt x="3" y="3"/>
                    </a:lnTo>
                    <a:lnTo>
                      <a:pt x="5" y="3"/>
                    </a:lnTo>
                    <a:lnTo>
                      <a:pt x="6" y="0"/>
                    </a:lnTo>
                    <a:lnTo>
                      <a:pt x="10" y="4"/>
                    </a:lnTo>
                    <a:lnTo>
                      <a:pt x="15" y="1"/>
                    </a:lnTo>
                    <a:lnTo>
                      <a:pt x="16" y="1"/>
                    </a:lnTo>
                    <a:lnTo>
                      <a:pt x="18" y="3"/>
                    </a:lnTo>
                    <a:lnTo>
                      <a:pt x="19" y="4"/>
                    </a:lnTo>
                    <a:lnTo>
                      <a:pt x="18" y="8"/>
                    </a:lnTo>
                    <a:lnTo>
                      <a:pt x="18" y="4"/>
                    </a:lnTo>
                    <a:lnTo>
                      <a:pt x="15"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28" name="Freeform 644"/>
              <p:cNvSpPr>
                <a:spLocks/>
              </p:cNvSpPr>
              <p:nvPr/>
            </p:nvSpPr>
            <p:spPr bwMode="auto">
              <a:xfrm>
                <a:off x="7361934" y="1479612"/>
                <a:ext cx="17556" cy="10141"/>
              </a:xfrm>
              <a:custGeom>
                <a:avLst/>
                <a:gdLst/>
                <a:ahLst/>
                <a:cxnLst>
                  <a:cxn ang="0">
                    <a:pos x="15" y="1"/>
                  </a:cxn>
                  <a:cxn ang="0">
                    <a:pos x="15" y="3"/>
                  </a:cxn>
                  <a:cxn ang="0">
                    <a:pos x="15" y="5"/>
                  </a:cxn>
                  <a:cxn ang="0">
                    <a:pos x="15" y="7"/>
                  </a:cxn>
                  <a:cxn ang="0">
                    <a:pos x="15" y="10"/>
                  </a:cxn>
                  <a:cxn ang="0">
                    <a:pos x="8" y="10"/>
                  </a:cxn>
                  <a:cxn ang="0">
                    <a:pos x="0" y="5"/>
                  </a:cxn>
                  <a:cxn ang="0">
                    <a:pos x="0" y="3"/>
                  </a:cxn>
                  <a:cxn ang="0">
                    <a:pos x="2" y="3"/>
                  </a:cxn>
                  <a:cxn ang="0">
                    <a:pos x="2" y="4"/>
                  </a:cxn>
                  <a:cxn ang="0">
                    <a:pos x="3" y="5"/>
                  </a:cxn>
                  <a:cxn ang="0">
                    <a:pos x="3" y="3"/>
                  </a:cxn>
                  <a:cxn ang="0">
                    <a:pos x="5" y="3"/>
                  </a:cxn>
                  <a:cxn ang="0">
                    <a:pos x="6" y="0"/>
                  </a:cxn>
                  <a:cxn ang="0">
                    <a:pos x="10" y="4"/>
                  </a:cxn>
                  <a:cxn ang="0">
                    <a:pos x="15" y="1"/>
                  </a:cxn>
                  <a:cxn ang="0">
                    <a:pos x="16" y="1"/>
                  </a:cxn>
                  <a:cxn ang="0">
                    <a:pos x="18" y="3"/>
                  </a:cxn>
                  <a:cxn ang="0">
                    <a:pos x="19" y="4"/>
                  </a:cxn>
                  <a:cxn ang="0">
                    <a:pos x="18" y="8"/>
                  </a:cxn>
                  <a:cxn ang="0">
                    <a:pos x="18" y="4"/>
                  </a:cxn>
                  <a:cxn ang="0">
                    <a:pos x="15" y="1"/>
                  </a:cxn>
                </a:cxnLst>
                <a:rect l="0" t="0" r="r" b="b"/>
                <a:pathLst>
                  <a:path w="19" h="10">
                    <a:moveTo>
                      <a:pt x="15" y="1"/>
                    </a:moveTo>
                    <a:lnTo>
                      <a:pt x="15" y="3"/>
                    </a:lnTo>
                    <a:lnTo>
                      <a:pt x="15" y="5"/>
                    </a:lnTo>
                    <a:lnTo>
                      <a:pt x="15" y="7"/>
                    </a:lnTo>
                    <a:lnTo>
                      <a:pt x="15" y="10"/>
                    </a:lnTo>
                    <a:lnTo>
                      <a:pt x="8" y="10"/>
                    </a:lnTo>
                    <a:lnTo>
                      <a:pt x="0" y="5"/>
                    </a:lnTo>
                    <a:lnTo>
                      <a:pt x="0" y="3"/>
                    </a:lnTo>
                    <a:lnTo>
                      <a:pt x="2" y="3"/>
                    </a:lnTo>
                    <a:lnTo>
                      <a:pt x="2" y="4"/>
                    </a:lnTo>
                    <a:lnTo>
                      <a:pt x="3" y="5"/>
                    </a:lnTo>
                    <a:lnTo>
                      <a:pt x="3" y="3"/>
                    </a:lnTo>
                    <a:lnTo>
                      <a:pt x="5" y="3"/>
                    </a:lnTo>
                    <a:lnTo>
                      <a:pt x="6" y="0"/>
                    </a:lnTo>
                    <a:lnTo>
                      <a:pt x="10" y="4"/>
                    </a:lnTo>
                    <a:lnTo>
                      <a:pt x="15" y="1"/>
                    </a:lnTo>
                    <a:lnTo>
                      <a:pt x="16" y="1"/>
                    </a:lnTo>
                    <a:lnTo>
                      <a:pt x="18" y="3"/>
                    </a:lnTo>
                    <a:lnTo>
                      <a:pt x="19" y="4"/>
                    </a:lnTo>
                    <a:lnTo>
                      <a:pt x="18" y="8"/>
                    </a:lnTo>
                    <a:lnTo>
                      <a:pt x="18" y="4"/>
                    </a:lnTo>
                    <a:lnTo>
                      <a:pt x="15"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29" name="Freeform 645"/>
              <p:cNvSpPr>
                <a:spLocks/>
              </p:cNvSpPr>
              <p:nvPr/>
            </p:nvSpPr>
            <p:spPr bwMode="auto">
              <a:xfrm>
                <a:off x="7361057" y="1424848"/>
                <a:ext cx="15800" cy="19268"/>
              </a:xfrm>
              <a:custGeom>
                <a:avLst/>
                <a:gdLst/>
                <a:ahLst/>
                <a:cxnLst>
                  <a:cxn ang="0">
                    <a:pos x="16" y="9"/>
                  </a:cxn>
                  <a:cxn ang="0">
                    <a:pos x="16" y="11"/>
                  </a:cxn>
                  <a:cxn ang="0">
                    <a:pos x="11" y="16"/>
                  </a:cxn>
                  <a:cxn ang="0">
                    <a:pos x="7" y="19"/>
                  </a:cxn>
                  <a:cxn ang="0">
                    <a:pos x="7" y="18"/>
                  </a:cxn>
                  <a:cxn ang="0">
                    <a:pos x="7" y="16"/>
                  </a:cxn>
                  <a:cxn ang="0">
                    <a:pos x="9" y="16"/>
                  </a:cxn>
                  <a:cxn ang="0">
                    <a:pos x="10" y="13"/>
                  </a:cxn>
                  <a:cxn ang="0">
                    <a:pos x="10" y="13"/>
                  </a:cxn>
                  <a:cxn ang="0">
                    <a:pos x="6" y="16"/>
                  </a:cxn>
                  <a:cxn ang="0">
                    <a:pos x="0" y="16"/>
                  </a:cxn>
                  <a:cxn ang="0">
                    <a:pos x="0" y="15"/>
                  </a:cxn>
                  <a:cxn ang="0">
                    <a:pos x="4" y="11"/>
                  </a:cxn>
                  <a:cxn ang="0">
                    <a:pos x="6" y="9"/>
                  </a:cxn>
                  <a:cxn ang="0">
                    <a:pos x="11" y="6"/>
                  </a:cxn>
                  <a:cxn ang="0">
                    <a:pos x="16" y="0"/>
                  </a:cxn>
                  <a:cxn ang="0">
                    <a:pos x="17" y="5"/>
                  </a:cxn>
                  <a:cxn ang="0">
                    <a:pos x="16" y="9"/>
                  </a:cxn>
                  <a:cxn ang="0">
                    <a:pos x="16" y="11"/>
                  </a:cxn>
                  <a:cxn ang="0">
                    <a:pos x="16" y="9"/>
                  </a:cxn>
                </a:cxnLst>
                <a:rect l="0" t="0" r="r" b="b"/>
                <a:pathLst>
                  <a:path w="17" h="19">
                    <a:moveTo>
                      <a:pt x="16" y="9"/>
                    </a:moveTo>
                    <a:lnTo>
                      <a:pt x="16" y="11"/>
                    </a:lnTo>
                    <a:lnTo>
                      <a:pt x="11" y="16"/>
                    </a:lnTo>
                    <a:lnTo>
                      <a:pt x="7" y="19"/>
                    </a:lnTo>
                    <a:lnTo>
                      <a:pt x="7" y="18"/>
                    </a:lnTo>
                    <a:lnTo>
                      <a:pt x="7" y="16"/>
                    </a:lnTo>
                    <a:lnTo>
                      <a:pt x="9" y="16"/>
                    </a:lnTo>
                    <a:lnTo>
                      <a:pt x="10" y="13"/>
                    </a:lnTo>
                    <a:lnTo>
                      <a:pt x="10" y="13"/>
                    </a:lnTo>
                    <a:lnTo>
                      <a:pt x="6" y="16"/>
                    </a:lnTo>
                    <a:lnTo>
                      <a:pt x="0" y="16"/>
                    </a:lnTo>
                    <a:lnTo>
                      <a:pt x="0" y="15"/>
                    </a:lnTo>
                    <a:lnTo>
                      <a:pt x="4" y="11"/>
                    </a:lnTo>
                    <a:lnTo>
                      <a:pt x="6" y="9"/>
                    </a:lnTo>
                    <a:lnTo>
                      <a:pt x="11" y="6"/>
                    </a:lnTo>
                    <a:lnTo>
                      <a:pt x="16" y="0"/>
                    </a:lnTo>
                    <a:lnTo>
                      <a:pt x="17" y="5"/>
                    </a:lnTo>
                    <a:lnTo>
                      <a:pt x="16" y="9"/>
                    </a:lnTo>
                    <a:lnTo>
                      <a:pt x="16" y="11"/>
                    </a:lnTo>
                    <a:lnTo>
                      <a:pt x="16" y="9"/>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30" name="Freeform 646"/>
              <p:cNvSpPr>
                <a:spLocks/>
              </p:cNvSpPr>
              <p:nvPr/>
            </p:nvSpPr>
            <p:spPr bwMode="auto">
              <a:xfrm>
                <a:off x="7361057" y="1424848"/>
                <a:ext cx="15800" cy="19268"/>
              </a:xfrm>
              <a:custGeom>
                <a:avLst/>
                <a:gdLst/>
                <a:ahLst/>
                <a:cxnLst>
                  <a:cxn ang="0">
                    <a:pos x="16" y="9"/>
                  </a:cxn>
                  <a:cxn ang="0">
                    <a:pos x="16" y="11"/>
                  </a:cxn>
                  <a:cxn ang="0">
                    <a:pos x="11" y="16"/>
                  </a:cxn>
                  <a:cxn ang="0">
                    <a:pos x="7" y="19"/>
                  </a:cxn>
                  <a:cxn ang="0">
                    <a:pos x="7" y="18"/>
                  </a:cxn>
                  <a:cxn ang="0">
                    <a:pos x="7" y="16"/>
                  </a:cxn>
                  <a:cxn ang="0">
                    <a:pos x="9" y="16"/>
                  </a:cxn>
                  <a:cxn ang="0">
                    <a:pos x="10" y="13"/>
                  </a:cxn>
                  <a:cxn ang="0">
                    <a:pos x="10" y="13"/>
                  </a:cxn>
                  <a:cxn ang="0">
                    <a:pos x="6" y="16"/>
                  </a:cxn>
                  <a:cxn ang="0">
                    <a:pos x="0" y="16"/>
                  </a:cxn>
                  <a:cxn ang="0">
                    <a:pos x="0" y="15"/>
                  </a:cxn>
                  <a:cxn ang="0">
                    <a:pos x="4" y="11"/>
                  </a:cxn>
                  <a:cxn ang="0">
                    <a:pos x="6" y="9"/>
                  </a:cxn>
                  <a:cxn ang="0">
                    <a:pos x="11" y="6"/>
                  </a:cxn>
                  <a:cxn ang="0">
                    <a:pos x="16" y="0"/>
                  </a:cxn>
                  <a:cxn ang="0">
                    <a:pos x="17" y="5"/>
                  </a:cxn>
                  <a:cxn ang="0">
                    <a:pos x="16" y="9"/>
                  </a:cxn>
                  <a:cxn ang="0">
                    <a:pos x="16" y="11"/>
                  </a:cxn>
                  <a:cxn ang="0">
                    <a:pos x="16" y="9"/>
                  </a:cxn>
                </a:cxnLst>
                <a:rect l="0" t="0" r="r" b="b"/>
                <a:pathLst>
                  <a:path w="17" h="19">
                    <a:moveTo>
                      <a:pt x="16" y="9"/>
                    </a:moveTo>
                    <a:lnTo>
                      <a:pt x="16" y="11"/>
                    </a:lnTo>
                    <a:lnTo>
                      <a:pt x="11" y="16"/>
                    </a:lnTo>
                    <a:lnTo>
                      <a:pt x="7" y="19"/>
                    </a:lnTo>
                    <a:lnTo>
                      <a:pt x="7" y="18"/>
                    </a:lnTo>
                    <a:lnTo>
                      <a:pt x="7" y="16"/>
                    </a:lnTo>
                    <a:lnTo>
                      <a:pt x="9" y="16"/>
                    </a:lnTo>
                    <a:lnTo>
                      <a:pt x="10" y="13"/>
                    </a:lnTo>
                    <a:lnTo>
                      <a:pt x="10" y="13"/>
                    </a:lnTo>
                    <a:lnTo>
                      <a:pt x="6" y="16"/>
                    </a:lnTo>
                    <a:lnTo>
                      <a:pt x="0" y="16"/>
                    </a:lnTo>
                    <a:lnTo>
                      <a:pt x="0" y="15"/>
                    </a:lnTo>
                    <a:lnTo>
                      <a:pt x="4" y="11"/>
                    </a:lnTo>
                    <a:lnTo>
                      <a:pt x="6" y="9"/>
                    </a:lnTo>
                    <a:lnTo>
                      <a:pt x="11" y="6"/>
                    </a:lnTo>
                    <a:lnTo>
                      <a:pt x="16" y="0"/>
                    </a:lnTo>
                    <a:lnTo>
                      <a:pt x="17" y="5"/>
                    </a:lnTo>
                    <a:lnTo>
                      <a:pt x="16" y="9"/>
                    </a:lnTo>
                    <a:lnTo>
                      <a:pt x="16" y="11"/>
                    </a:lnTo>
                    <a:lnTo>
                      <a:pt x="16" y="9"/>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31" name="Freeform 647"/>
              <p:cNvSpPr>
                <a:spLocks/>
              </p:cNvSpPr>
              <p:nvPr/>
            </p:nvSpPr>
            <p:spPr bwMode="auto">
              <a:xfrm>
                <a:off x="7573485" y="1584066"/>
                <a:ext cx="24578" cy="23325"/>
              </a:xfrm>
              <a:custGeom>
                <a:avLst/>
                <a:gdLst/>
                <a:ahLst/>
                <a:cxnLst>
                  <a:cxn ang="0">
                    <a:pos x="22" y="1"/>
                  </a:cxn>
                  <a:cxn ang="0">
                    <a:pos x="23" y="4"/>
                  </a:cxn>
                  <a:cxn ang="0">
                    <a:pos x="25" y="4"/>
                  </a:cxn>
                  <a:cxn ang="0">
                    <a:pos x="26" y="6"/>
                  </a:cxn>
                  <a:cxn ang="0">
                    <a:pos x="23" y="17"/>
                  </a:cxn>
                  <a:cxn ang="0">
                    <a:pos x="18" y="23"/>
                  </a:cxn>
                  <a:cxn ang="0">
                    <a:pos x="12" y="22"/>
                  </a:cxn>
                  <a:cxn ang="0">
                    <a:pos x="10" y="22"/>
                  </a:cxn>
                  <a:cxn ang="0">
                    <a:pos x="6" y="17"/>
                  </a:cxn>
                  <a:cxn ang="0">
                    <a:pos x="2" y="14"/>
                  </a:cxn>
                  <a:cxn ang="0">
                    <a:pos x="0" y="12"/>
                  </a:cxn>
                  <a:cxn ang="0">
                    <a:pos x="0" y="10"/>
                  </a:cxn>
                  <a:cxn ang="0">
                    <a:pos x="0" y="9"/>
                  </a:cxn>
                  <a:cxn ang="0">
                    <a:pos x="3" y="10"/>
                  </a:cxn>
                  <a:cxn ang="0">
                    <a:pos x="4" y="10"/>
                  </a:cxn>
                  <a:cxn ang="0">
                    <a:pos x="6" y="9"/>
                  </a:cxn>
                  <a:cxn ang="0">
                    <a:pos x="7" y="7"/>
                  </a:cxn>
                  <a:cxn ang="0">
                    <a:pos x="6" y="1"/>
                  </a:cxn>
                  <a:cxn ang="0">
                    <a:pos x="7" y="0"/>
                  </a:cxn>
                  <a:cxn ang="0">
                    <a:pos x="19" y="3"/>
                  </a:cxn>
                  <a:cxn ang="0">
                    <a:pos x="22" y="1"/>
                  </a:cxn>
                </a:cxnLst>
                <a:rect l="0" t="0" r="r" b="b"/>
                <a:pathLst>
                  <a:path w="26" h="23">
                    <a:moveTo>
                      <a:pt x="22" y="1"/>
                    </a:moveTo>
                    <a:lnTo>
                      <a:pt x="23" y="4"/>
                    </a:lnTo>
                    <a:lnTo>
                      <a:pt x="25" y="4"/>
                    </a:lnTo>
                    <a:lnTo>
                      <a:pt x="26" y="6"/>
                    </a:lnTo>
                    <a:lnTo>
                      <a:pt x="23" y="17"/>
                    </a:lnTo>
                    <a:lnTo>
                      <a:pt x="18" y="23"/>
                    </a:lnTo>
                    <a:lnTo>
                      <a:pt x="12" y="22"/>
                    </a:lnTo>
                    <a:lnTo>
                      <a:pt x="10" y="22"/>
                    </a:lnTo>
                    <a:lnTo>
                      <a:pt x="6" y="17"/>
                    </a:lnTo>
                    <a:lnTo>
                      <a:pt x="2" y="14"/>
                    </a:lnTo>
                    <a:lnTo>
                      <a:pt x="0" y="12"/>
                    </a:lnTo>
                    <a:lnTo>
                      <a:pt x="0" y="10"/>
                    </a:lnTo>
                    <a:lnTo>
                      <a:pt x="0" y="9"/>
                    </a:lnTo>
                    <a:lnTo>
                      <a:pt x="3" y="10"/>
                    </a:lnTo>
                    <a:lnTo>
                      <a:pt x="4" y="10"/>
                    </a:lnTo>
                    <a:lnTo>
                      <a:pt x="6" y="9"/>
                    </a:lnTo>
                    <a:lnTo>
                      <a:pt x="7" y="7"/>
                    </a:lnTo>
                    <a:lnTo>
                      <a:pt x="6" y="1"/>
                    </a:lnTo>
                    <a:lnTo>
                      <a:pt x="7" y="0"/>
                    </a:lnTo>
                    <a:lnTo>
                      <a:pt x="19" y="3"/>
                    </a:lnTo>
                    <a:lnTo>
                      <a:pt x="22"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32" name="Freeform 648"/>
              <p:cNvSpPr>
                <a:spLocks/>
              </p:cNvSpPr>
              <p:nvPr/>
            </p:nvSpPr>
            <p:spPr bwMode="auto">
              <a:xfrm>
                <a:off x="7573485" y="1584066"/>
                <a:ext cx="24578" cy="23325"/>
              </a:xfrm>
              <a:custGeom>
                <a:avLst/>
                <a:gdLst/>
                <a:ahLst/>
                <a:cxnLst>
                  <a:cxn ang="0">
                    <a:pos x="22" y="1"/>
                  </a:cxn>
                  <a:cxn ang="0">
                    <a:pos x="23" y="4"/>
                  </a:cxn>
                  <a:cxn ang="0">
                    <a:pos x="25" y="4"/>
                  </a:cxn>
                  <a:cxn ang="0">
                    <a:pos x="26" y="6"/>
                  </a:cxn>
                  <a:cxn ang="0">
                    <a:pos x="23" y="17"/>
                  </a:cxn>
                  <a:cxn ang="0">
                    <a:pos x="18" y="23"/>
                  </a:cxn>
                  <a:cxn ang="0">
                    <a:pos x="12" y="22"/>
                  </a:cxn>
                  <a:cxn ang="0">
                    <a:pos x="10" y="22"/>
                  </a:cxn>
                  <a:cxn ang="0">
                    <a:pos x="6" y="17"/>
                  </a:cxn>
                  <a:cxn ang="0">
                    <a:pos x="2" y="14"/>
                  </a:cxn>
                  <a:cxn ang="0">
                    <a:pos x="0" y="12"/>
                  </a:cxn>
                  <a:cxn ang="0">
                    <a:pos x="0" y="10"/>
                  </a:cxn>
                  <a:cxn ang="0">
                    <a:pos x="0" y="9"/>
                  </a:cxn>
                  <a:cxn ang="0">
                    <a:pos x="3" y="10"/>
                  </a:cxn>
                  <a:cxn ang="0">
                    <a:pos x="4" y="10"/>
                  </a:cxn>
                  <a:cxn ang="0">
                    <a:pos x="6" y="9"/>
                  </a:cxn>
                  <a:cxn ang="0">
                    <a:pos x="7" y="7"/>
                  </a:cxn>
                  <a:cxn ang="0">
                    <a:pos x="6" y="1"/>
                  </a:cxn>
                  <a:cxn ang="0">
                    <a:pos x="7" y="0"/>
                  </a:cxn>
                  <a:cxn ang="0">
                    <a:pos x="19" y="3"/>
                  </a:cxn>
                  <a:cxn ang="0">
                    <a:pos x="22" y="1"/>
                  </a:cxn>
                </a:cxnLst>
                <a:rect l="0" t="0" r="r" b="b"/>
                <a:pathLst>
                  <a:path w="26" h="23">
                    <a:moveTo>
                      <a:pt x="22" y="1"/>
                    </a:moveTo>
                    <a:lnTo>
                      <a:pt x="23" y="4"/>
                    </a:lnTo>
                    <a:lnTo>
                      <a:pt x="25" y="4"/>
                    </a:lnTo>
                    <a:lnTo>
                      <a:pt x="26" y="6"/>
                    </a:lnTo>
                    <a:lnTo>
                      <a:pt x="23" y="17"/>
                    </a:lnTo>
                    <a:lnTo>
                      <a:pt x="18" y="23"/>
                    </a:lnTo>
                    <a:lnTo>
                      <a:pt x="12" y="22"/>
                    </a:lnTo>
                    <a:lnTo>
                      <a:pt x="10" y="22"/>
                    </a:lnTo>
                    <a:lnTo>
                      <a:pt x="6" y="17"/>
                    </a:lnTo>
                    <a:lnTo>
                      <a:pt x="2" y="14"/>
                    </a:lnTo>
                    <a:lnTo>
                      <a:pt x="0" y="12"/>
                    </a:lnTo>
                    <a:lnTo>
                      <a:pt x="0" y="10"/>
                    </a:lnTo>
                    <a:lnTo>
                      <a:pt x="0" y="9"/>
                    </a:lnTo>
                    <a:lnTo>
                      <a:pt x="3" y="10"/>
                    </a:lnTo>
                    <a:lnTo>
                      <a:pt x="4" y="10"/>
                    </a:lnTo>
                    <a:lnTo>
                      <a:pt x="6" y="9"/>
                    </a:lnTo>
                    <a:lnTo>
                      <a:pt x="7" y="7"/>
                    </a:lnTo>
                    <a:lnTo>
                      <a:pt x="6" y="1"/>
                    </a:lnTo>
                    <a:lnTo>
                      <a:pt x="7" y="0"/>
                    </a:lnTo>
                    <a:lnTo>
                      <a:pt x="19" y="3"/>
                    </a:lnTo>
                    <a:lnTo>
                      <a:pt x="22"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33" name="Freeform 649"/>
              <p:cNvSpPr>
                <a:spLocks/>
              </p:cNvSpPr>
              <p:nvPr/>
            </p:nvSpPr>
            <p:spPr bwMode="auto">
              <a:xfrm>
                <a:off x="7903538" y="1734158"/>
                <a:ext cx="14922" cy="7099"/>
              </a:xfrm>
              <a:custGeom>
                <a:avLst/>
                <a:gdLst/>
                <a:ahLst/>
                <a:cxnLst>
                  <a:cxn ang="0">
                    <a:pos x="4" y="0"/>
                  </a:cxn>
                  <a:cxn ang="0">
                    <a:pos x="7" y="1"/>
                  </a:cxn>
                  <a:cxn ang="0">
                    <a:pos x="8" y="1"/>
                  </a:cxn>
                  <a:cxn ang="0">
                    <a:pos x="8" y="0"/>
                  </a:cxn>
                  <a:cxn ang="0">
                    <a:pos x="17" y="1"/>
                  </a:cxn>
                  <a:cxn ang="0">
                    <a:pos x="17" y="3"/>
                  </a:cxn>
                  <a:cxn ang="0">
                    <a:pos x="14" y="7"/>
                  </a:cxn>
                  <a:cxn ang="0">
                    <a:pos x="13" y="6"/>
                  </a:cxn>
                  <a:cxn ang="0">
                    <a:pos x="10" y="7"/>
                  </a:cxn>
                  <a:cxn ang="0">
                    <a:pos x="0" y="3"/>
                  </a:cxn>
                  <a:cxn ang="0">
                    <a:pos x="0" y="1"/>
                  </a:cxn>
                  <a:cxn ang="0">
                    <a:pos x="3" y="1"/>
                  </a:cxn>
                  <a:cxn ang="0">
                    <a:pos x="4" y="0"/>
                  </a:cxn>
                </a:cxnLst>
                <a:rect l="0" t="0" r="r" b="b"/>
                <a:pathLst>
                  <a:path w="17" h="7">
                    <a:moveTo>
                      <a:pt x="4" y="0"/>
                    </a:moveTo>
                    <a:lnTo>
                      <a:pt x="7" y="1"/>
                    </a:lnTo>
                    <a:lnTo>
                      <a:pt x="8" y="1"/>
                    </a:lnTo>
                    <a:lnTo>
                      <a:pt x="8" y="0"/>
                    </a:lnTo>
                    <a:lnTo>
                      <a:pt x="17" y="1"/>
                    </a:lnTo>
                    <a:lnTo>
                      <a:pt x="17" y="3"/>
                    </a:lnTo>
                    <a:lnTo>
                      <a:pt x="14" y="7"/>
                    </a:lnTo>
                    <a:lnTo>
                      <a:pt x="13" y="6"/>
                    </a:lnTo>
                    <a:lnTo>
                      <a:pt x="10" y="7"/>
                    </a:lnTo>
                    <a:lnTo>
                      <a:pt x="0" y="3"/>
                    </a:lnTo>
                    <a:lnTo>
                      <a:pt x="0" y="1"/>
                    </a:lnTo>
                    <a:lnTo>
                      <a:pt x="3" y="1"/>
                    </a:lnTo>
                    <a:lnTo>
                      <a:pt x="4"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34" name="Freeform 650"/>
              <p:cNvSpPr>
                <a:spLocks/>
              </p:cNvSpPr>
              <p:nvPr/>
            </p:nvSpPr>
            <p:spPr bwMode="auto">
              <a:xfrm>
                <a:off x="7903538" y="1734158"/>
                <a:ext cx="14922" cy="7099"/>
              </a:xfrm>
              <a:custGeom>
                <a:avLst/>
                <a:gdLst/>
                <a:ahLst/>
                <a:cxnLst>
                  <a:cxn ang="0">
                    <a:pos x="4" y="0"/>
                  </a:cxn>
                  <a:cxn ang="0">
                    <a:pos x="7" y="1"/>
                  </a:cxn>
                  <a:cxn ang="0">
                    <a:pos x="8" y="1"/>
                  </a:cxn>
                  <a:cxn ang="0">
                    <a:pos x="8" y="0"/>
                  </a:cxn>
                  <a:cxn ang="0">
                    <a:pos x="17" y="1"/>
                  </a:cxn>
                  <a:cxn ang="0">
                    <a:pos x="17" y="3"/>
                  </a:cxn>
                  <a:cxn ang="0">
                    <a:pos x="14" y="7"/>
                  </a:cxn>
                  <a:cxn ang="0">
                    <a:pos x="13" y="6"/>
                  </a:cxn>
                  <a:cxn ang="0">
                    <a:pos x="10" y="7"/>
                  </a:cxn>
                  <a:cxn ang="0">
                    <a:pos x="0" y="3"/>
                  </a:cxn>
                  <a:cxn ang="0">
                    <a:pos x="0" y="1"/>
                  </a:cxn>
                  <a:cxn ang="0">
                    <a:pos x="3" y="1"/>
                  </a:cxn>
                  <a:cxn ang="0">
                    <a:pos x="4" y="0"/>
                  </a:cxn>
                </a:cxnLst>
                <a:rect l="0" t="0" r="r" b="b"/>
                <a:pathLst>
                  <a:path w="17" h="7">
                    <a:moveTo>
                      <a:pt x="4" y="0"/>
                    </a:moveTo>
                    <a:lnTo>
                      <a:pt x="7" y="1"/>
                    </a:lnTo>
                    <a:lnTo>
                      <a:pt x="8" y="1"/>
                    </a:lnTo>
                    <a:lnTo>
                      <a:pt x="8" y="0"/>
                    </a:lnTo>
                    <a:lnTo>
                      <a:pt x="17" y="1"/>
                    </a:lnTo>
                    <a:lnTo>
                      <a:pt x="17" y="3"/>
                    </a:lnTo>
                    <a:lnTo>
                      <a:pt x="14" y="7"/>
                    </a:lnTo>
                    <a:lnTo>
                      <a:pt x="13" y="6"/>
                    </a:lnTo>
                    <a:lnTo>
                      <a:pt x="10" y="7"/>
                    </a:lnTo>
                    <a:lnTo>
                      <a:pt x="0" y="3"/>
                    </a:lnTo>
                    <a:lnTo>
                      <a:pt x="0" y="1"/>
                    </a:lnTo>
                    <a:lnTo>
                      <a:pt x="3" y="1"/>
                    </a:lnTo>
                    <a:lnTo>
                      <a:pt x="4"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35" name="Freeform 651"/>
              <p:cNvSpPr>
                <a:spLocks/>
              </p:cNvSpPr>
              <p:nvPr/>
            </p:nvSpPr>
            <p:spPr bwMode="auto">
              <a:xfrm>
                <a:off x="7917583" y="1731116"/>
                <a:ext cx="14922" cy="14197"/>
              </a:xfrm>
              <a:custGeom>
                <a:avLst/>
                <a:gdLst/>
                <a:ahLst/>
                <a:cxnLst>
                  <a:cxn ang="0">
                    <a:pos x="3" y="5"/>
                  </a:cxn>
                  <a:cxn ang="0">
                    <a:pos x="6" y="3"/>
                  </a:cxn>
                  <a:cxn ang="0">
                    <a:pos x="7" y="3"/>
                  </a:cxn>
                  <a:cxn ang="0">
                    <a:pos x="8" y="5"/>
                  </a:cxn>
                  <a:cxn ang="0">
                    <a:pos x="10" y="3"/>
                  </a:cxn>
                  <a:cxn ang="0">
                    <a:pos x="10" y="0"/>
                  </a:cxn>
                  <a:cxn ang="0">
                    <a:pos x="11" y="0"/>
                  </a:cxn>
                  <a:cxn ang="0">
                    <a:pos x="13" y="0"/>
                  </a:cxn>
                  <a:cxn ang="0">
                    <a:pos x="16" y="3"/>
                  </a:cxn>
                  <a:cxn ang="0">
                    <a:pos x="16" y="8"/>
                  </a:cxn>
                  <a:cxn ang="0">
                    <a:pos x="10" y="13"/>
                  </a:cxn>
                  <a:cxn ang="0">
                    <a:pos x="7" y="13"/>
                  </a:cxn>
                  <a:cxn ang="0">
                    <a:pos x="4" y="13"/>
                  </a:cxn>
                  <a:cxn ang="0">
                    <a:pos x="1" y="12"/>
                  </a:cxn>
                  <a:cxn ang="0">
                    <a:pos x="0" y="13"/>
                  </a:cxn>
                  <a:cxn ang="0">
                    <a:pos x="0" y="10"/>
                  </a:cxn>
                  <a:cxn ang="0">
                    <a:pos x="3" y="8"/>
                  </a:cxn>
                  <a:cxn ang="0">
                    <a:pos x="3" y="5"/>
                  </a:cxn>
                  <a:cxn ang="0">
                    <a:pos x="3" y="5"/>
                  </a:cxn>
                </a:cxnLst>
                <a:rect l="0" t="0" r="r" b="b"/>
                <a:pathLst>
                  <a:path w="16" h="13">
                    <a:moveTo>
                      <a:pt x="3" y="5"/>
                    </a:moveTo>
                    <a:lnTo>
                      <a:pt x="6" y="3"/>
                    </a:lnTo>
                    <a:lnTo>
                      <a:pt x="7" y="3"/>
                    </a:lnTo>
                    <a:lnTo>
                      <a:pt x="8" y="5"/>
                    </a:lnTo>
                    <a:lnTo>
                      <a:pt x="10" y="3"/>
                    </a:lnTo>
                    <a:lnTo>
                      <a:pt x="10" y="0"/>
                    </a:lnTo>
                    <a:lnTo>
                      <a:pt x="11" y="0"/>
                    </a:lnTo>
                    <a:lnTo>
                      <a:pt x="13" y="0"/>
                    </a:lnTo>
                    <a:lnTo>
                      <a:pt x="16" y="3"/>
                    </a:lnTo>
                    <a:lnTo>
                      <a:pt x="16" y="8"/>
                    </a:lnTo>
                    <a:lnTo>
                      <a:pt x="10" y="13"/>
                    </a:lnTo>
                    <a:lnTo>
                      <a:pt x="7" y="13"/>
                    </a:lnTo>
                    <a:lnTo>
                      <a:pt x="4" y="13"/>
                    </a:lnTo>
                    <a:lnTo>
                      <a:pt x="1" y="12"/>
                    </a:lnTo>
                    <a:lnTo>
                      <a:pt x="0" y="13"/>
                    </a:lnTo>
                    <a:lnTo>
                      <a:pt x="0" y="10"/>
                    </a:lnTo>
                    <a:lnTo>
                      <a:pt x="3" y="8"/>
                    </a:lnTo>
                    <a:lnTo>
                      <a:pt x="3" y="5"/>
                    </a:lnTo>
                    <a:lnTo>
                      <a:pt x="3" y="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36" name="Freeform 652"/>
              <p:cNvSpPr>
                <a:spLocks/>
              </p:cNvSpPr>
              <p:nvPr/>
            </p:nvSpPr>
            <p:spPr bwMode="auto">
              <a:xfrm>
                <a:off x="7917583" y="1731116"/>
                <a:ext cx="14922" cy="14197"/>
              </a:xfrm>
              <a:custGeom>
                <a:avLst/>
                <a:gdLst/>
                <a:ahLst/>
                <a:cxnLst>
                  <a:cxn ang="0">
                    <a:pos x="3" y="5"/>
                  </a:cxn>
                  <a:cxn ang="0">
                    <a:pos x="6" y="3"/>
                  </a:cxn>
                  <a:cxn ang="0">
                    <a:pos x="7" y="3"/>
                  </a:cxn>
                  <a:cxn ang="0">
                    <a:pos x="8" y="5"/>
                  </a:cxn>
                  <a:cxn ang="0">
                    <a:pos x="10" y="3"/>
                  </a:cxn>
                  <a:cxn ang="0">
                    <a:pos x="10" y="0"/>
                  </a:cxn>
                  <a:cxn ang="0">
                    <a:pos x="11" y="0"/>
                  </a:cxn>
                  <a:cxn ang="0">
                    <a:pos x="13" y="0"/>
                  </a:cxn>
                  <a:cxn ang="0">
                    <a:pos x="16" y="3"/>
                  </a:cxn>
                  <a:cxn ang="0">
                    <a:pos x="16" y="8"/>
                  </a:cxn>
                  <a:cxn ang="0">
                    <a:pos x="10" y="13"/>
                  </a:cxn>
                  <a:cxn ang="0">
                    <a:pos x="7" y="13"/>
                  </a:cxn>
                  <a:cxn ang="0">
                    <a:pos x="4" y="13"/>
                  </a:cxn>
                  <a:cxn ang="0">
                    <a:pos x="1" y="12"/>
                  </a:cxn>
                  <a:cxn ang="0">
                    <a:pos x="0" y="13"/>
                  </a:cxn>
                  <a:cxn ang="0">
                    <a:pos x="0" y="10"/>
                  </a:cxn>
                  <a:cxn ang="0">
                    <a:pos x="3" y="8"/>
                  </a:cxn>
                  <a:cxn ang="0">
                    <a:pos x="3" y="5"/>
                  </a:cxn>
                  <a:cxn ang="0">
                    <a:pos x="3" y="5"/>
                  </a:cxn>
                </a:cxnLst>
                <a:rect l="0" t="0" r="r" b="b"/>
                <a:pathLst>
                  <a:path w="16" h="13">
                    <a:moveTo>
                      <a:pt x="3" y="5"/>
                    </a:moveTo>
                    <a:lnTo>
                      <a:pt x="6" y="3"/>
                    </a:lnTo>
                    <a:lnTo>
                      <a:pt x="7" y="3"/>
                    </a:lnTo>
                    <a:lnTo>
                      <a:pt x="8" y="5"/>
                    </a:lnTo>
                    <a:lnTo>
                      <a:pt x="10" y="3"/>
                    </a:lnTo>
                    <a:lnTo>
                      <a:pt x="10" y="0"/>
                    </a:lnTo>
                    <a:lnTo>
                      <a:pt x="11" y="0"/>
                    </a:lnTo>
                    <a:lnTo>
                      <a:pt x="13" y="0"/>
                    </a:lnTo>
                    <a:lnTo>
                      <a:pt x="16" y="3"/>
                    </a:lnTo>
                    <a:lnTo>
                      <a:pt x="16" y="8"/>
                    </a:lnTo>
                    <a:lnTo>
                      <a:pt x="10" y="13"/>
                    </a:lnTo>
                    <a:lnTo>
                      <a:pt x="7" y="13"/>
                    </a:lnTo>
                    <a:lnTo>
                      <a:pt x="4" y="13"/>
                    </a:lnTo>
                    <a:lnTo>
                      <a:pt x="1" y="12"/>
                    </a:lnTo>
                    <a:lnTo>
                      <a:pt x="0" y="13"/>
                    </a:lnTo>
                    <a:lnTo>
                      <a:pt x="0" y="10"/>
                    </a:lnTo>
                    <a:lnTo>
                      <a:pt x="3" y="8"/>
                    </a:lnTo>
                    <a:lnTo>
                      <a:pt x="3" y="5"/>
                    </a:lnTo>
                    <a:lnTo>
                      <a:pt x="3" y="5"/>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37" name="Freeform 653"/>
              <p:cNvSpPr>
                <a:spLocks/>
              </p:cNvSpPr>
              <p:nvPr/>
            </p:nvSpPr>
            <p:spPr bwMode="auto">
              <a:xfrm>
                <a:off x="7935139" y="1689536"/>
                <a:ext cx="19312" cy="17240"/>
              </a:xfrm>
              <a:custGeom>
                <a:avLst/>
                <a:gdLst/>
                <a:ahLst/>
                <a:cxnLst>
                  <a:cxn ang="0">
                    <a:pos x="11" y="1"/>
                  </a:cxn>
                  <a:cxn ang="0">
                    <a:pos x="14" y="3"/>
                  </a:cxn>
                  <a:cxn ang="0">
                    <a:pos x="21" y="1"/>
                  </a:cxn>
                  <a:cxn ang="0">
                    <a:pos x="21" y="1"/>
                  </a:cxn>
                  <a:cxn ang="0">
                    <a:pos x="20" y="10"/>
                  </a:cxn>
                  <a:cxn ang="0">
                    <a:pos x="18" y="11"/>
                  </a:cxn>
                  <a:cxn ang="0">
                    <a:pos x="17" y="7"/>
                  </a:cxn>
                  <a:cxn ang="0">
                    <a:pos x="16" y="13"/>
                  </a:cxn>
                  <a:cxn ang="0">
                    <a:pos x="13" y="13"/>
                  </a:cxn>
                  <a:cxn ang="0">
                    <a:pos x="11" y="10"/>
                  </a:cxn>
                  <a:cxn ang="0">
                    <a:pos x="8" y="13"/>
                  </a:cxn>
                  <a:cxn ang="0">
                    <a:pos x="4" y="13"/>
                  </a:cxn>
                  <a:cxn ang="0">
                    <a:pos x="4" y="14"/>
                  </a:cxn>
                  <a:cxn ang="0">
                    <a:pos x="2" y="16"/>
                  </a:cxn>
                  <a:cxn ang="0">
                    <a:pos x="0" y="11"/>
                  </a:cxn>
                  <a:cxn ang="0">
                    <a:pos x="1" y="10"/>
                  </a:cxn>
                  <a:cxn ang="0">
                    <a:pos x="2" y="10"/>
                  </a:cxn>
                  <a:cxn ang="0">
                    <a:pos x="1" y="7"/>
                  </a:cxn>
                  <a:cxn ang="0">
                    <a:pos x="2" y="5"/>
                  </a:cxn>
                  <a:cxn ang="0">
                    <a:pos x="4" y="5"/>
                  </a:cxn>
                  <a:cxn ang="0">
                    <a:pos x="4" y="3"/>
                  </a:cxn>
                  <a:cxn ang="0">
                    <a:pos x="4" y="1"/>
                  </a:cxn>
                  <a:cxn ang="0">
                    <a:pos x="5" y="0"/>
                  </a:cxn>
                  <a:cxn ang="0">
                    <a:pos x="10" y="0"/>
                  </a:cxn>
                  <a:cxn ang="0">
                    <a:pos x="11" y="1"/>
                  </a:cxn>
                  <a:cxn ang="0">
                    <a:pos x="11" y="1"/>
                  </a:cxn>
                </a:cxnLst>
                <a:rect l="0" t="0" r="r" b="b"/>
                <a:pathLst>
                  <a:path w="21" h="16">
                    <a:moveTo>
                      <a:pt x="11" y="1"/>
                    </a:moveTo>
                    <a:lnTo>
                      <a:pt x="14" y="3"/>
                    </a:lnTo>
                    <a:lnTo>
                      <a:pt x="21" y="1"/>
                    </a:lnTo>
                    <a:lnTo>
                      <a:pt x="21" y="1"/>
                    </a:lnTo>
                    <a:lnTo>
                      <a:pt x="20" y="10"/>
                    </a:lnTo>
                    <a:lnTo>
                      <a:pt x="18" y="11"/>
                    </a:lnTo>
                    <a:lnTo>
                      <a:pt x="17" y="7"/>
                    </a:lnTo>
                    <a:lnTo>
                      <a:pt x="16" y="13"/>
                    </a:lnTo>
                    <a:lnTo>
                      <a:pt x="13" y="13"/>
                    </a:lnTo>
                    <a:lnTo>
                      <a:pt x="11" y="10"/>
                    </a:lnTo>
                    <a:lnTo>
                      <a:pt x="8" y="13"/>
                    </a:lnTo>
                    <a:lnTo>
                      <a:pt x="4" y="13"/>
                    </a:lnTo>
                    <a:lnTo>
                      <a:pt x="4" y="14"/>
                    </a:lnTo>
                    <a:lnTo>
                      <a:pt x="2" y="16"/>
                    </a:lnTo>
                    <a:lnTo>
                      <a:pt x="0" y="11"/>
                    </a:lnTo>
                    <a:lnTo>
                      <a:pt x="1" y="10"/>
                    </a:lnTo>
                    <a:lnTo>
                      <a:pt x="2" y="10"/>
                    </a:lnTo>
                    <a:lnTo>
                      <a:pt x="1" y="7"/>
                    </a:lnTo>
                    <a:lnTo>
                      <a:pt x="2" y="5"/>
                    </a:lnTo>
                    <a:lnTo>
                      <a:pt x="4" y="5"/>
                    </a:lnTo>
                    <a:lnTo>
                      <a:pt x="4" y="3"/>
                    </a:lnTo>
                    <a:lnTo>
                      <a:pt x="4" y="1"/>
                    </a:lnTo>
                    <a:lnTo>
                      <a:pt x="5" y="0"/>
                    </a:lnTo>
                    <a:lnTo>
                      <a:pt x="10" y="0"/>
                    </a:lnTo>
                    <a:lnTo>
                      <a:pt x="11" y="1"/>
                    </a:lnTo>
                    <a:lnTo>
                      <a:pt x="11"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38" name="Freeform 654"/>
              <p:cNvSpPr>
                <a:spLocks/>
              </p:cNvSpPr>
              <p:nvPr/>
            </p:nvSpPr>
            <p:spPr bwMode="auto">
              <a:xfrm>
                <a:off x="7935139" y="1689536"/>
                <a:ext cx="19312" cy="17240"/>
              </a:xfrm>
              <a:custGeom>
                <a:avLst/>
                <a:gdLst/>
                <a:ahLst/>
                <a:cxnLst>
                  <a:cxn ang="0">
                    <a:pos x="11" y="1"/>
                  </a:cxn>
                  <a:cxn ang="0">
                    <a:pos x="14" y="3"/>
                  </a:cxn>
                  <a:cxn ang="0">
                    <a:pos x="21" y="1"/>
                  </a:cxn>
                  <a:cxn ang="0">
                    <a:pos x="21" y="1"/>
                  </a:cxn>
                  <a:cxn ang="0">
                    <a:pos x="20" y="10"/>
                  </a:cxn>
                  <a:cxn ang="0">
                    <a:pos x="18" y="11"/>
                  </a:cxn>
                  <a:cxn ang="0">
                    <a:pos x="17" y="7"/>
                  </a:cxn>
                  <a:cxn ang="0">
                    <a:pos x="16" y="13"/>
                  </a:cxn>
                  <a:cxn ang="0">
                    <a:pos x="13" y="13"/>
                  </a:cxn>
                  <a:cxn ang="0">
                    <a:pos x="11" y="10"/>
                  </a:cxn>
                  <a:cxn ang="0">
                    <a:pos x="8" y="13"/>
                  </a:cxn>
                  <a:cxn ang="0">
                    <a:pos x="4" y="13"/>
                  </a:cxn>
                  <a:cxn ang="0">
                    <a:pos x="4" y="14"/>
                  </a:cxn>
                  <a:cxn ang="0">
                    <a:pos x="2" y="16"/>
                  </a:cxn>
                  <a:cxn ang="0">
                    <a:pos x="0" y="11"/>
                  </a:cxn>
                  <a:cxn ang="0">
                    <a:pos x="1" y="10"/>
                  </a:cxn>
                  <a:cxn ang="0">
                    <a:pos x="2" y="10"/>
                  </a:cxn>
                  <a:cxn ang="0">
                    <a:pos x="1" y="7"/>
                  </a:cxn>
                  <a:cxn ang="0">
                    <a:pos x="2" y="5"/>
                  </a:cxn>
                  <a:cxn ang="0">
                    <a:pos x="4" y="5"/>
                  </a:cxn>
                  <a:cxn ang="0">
                    <a:pos x="4" y="3"/>
                  </a:cxn>
                  <a:cxn ang="0">
                    <a:pos x="4" y="1"/>
                  </a:cxn>
                  <a:cxn ang="0">
                    <a:pos x="5" y="0"/>
                  </a:cxn>
                  <a:cxn ang="0">
                    <a:pos x="10" y="0"/>
                  </a:cxn>
                  <a:cxn ang="0">
                    <a:pos x="11" y="1"/>
                  </a:cxn>
                  <a:cxn ang="0">
                    <a:pos x="11" y="1"/>
                  </a:cxn>
                </a:cxnLst>
                <a:rect l="0" t="0" r="r" b="b"/>
                <a:pathLst>
                  <a:path w="21" h="16">
                    <a:moveTo>
                      <a:pt x="11" y="1"/>
                    </a:moveTo>
                    <a:lnTo>
                      <a:pt x="14" y="3"/>
                    </a:lnTo>
                    <a:lnTo>
                      <a:pt x="21" y="1"/>
                    </a:lnTo>
                    <a:lnTo>
                      <a:pt x="21" y="1"/>
                    </a:lnTo>
                    <a:lnTo>
                      <a:pt x="20" y="10"/>
                    </a:lnTo>
                    <a:lnTo>
                      <a:pt x="18" y="11"/>
                    </a:lnTo>
                    <a:lnTo>
                      <a:pt x="17" y="7"/>
                    </a:lnTo>
                    <a:lnTo>
                      <a:pt x="16" y="13"/>
                    </a:lnTo>
                    <a:lnTo>
                      <a:pt x="13" y="13"/>
                    </a:lnTo>
                    <a:lnTo>
                      <a:pt x="11" y="10"/>
                    </a:lnTo>
                    <a:lnTo>
                      <a:pt x="8" y="13"/>
                    </a:lnTo>
                    <a:lnTo>
                      <a:pt x="4" y="13"/>
                    </a:lnTo>
                    <a:lnTo>
                      <a:pt x="4" y="14"/>
                    </a:lnTo>
                    <a:lnTo>
                      <a:pt x="2" y="16"/>
                    </a:lnTo>
                    <a:lnTo>
                      <a:pt x="0" y="11"/>
                    </a:lnTo>
                    <a:lnTo>
                      <a:pt x="1" y="10"/>
                    </a:lnTo>
                    <a:lnTo>
                      <a:pt x="2" y="10"/>
                    </a:lnTo>
                    <a:lnTo>
                      <a:pt x="1" y="7"/>
                    </a:lnTo>
                    <a:lnTo>
                      <a:pt x="2" y="5"/>
                    </a:lnTo>
                    <a:lnTo>
                      <a:pt x="4" y="5"/>
                    </a:lnTo>
                    <a:lnTo>
                      <a:pt x="4" y="3"/>
                    </a:lnTo>
                    <a:lnTo>
                      <a:pt x="4" y="1"/>
                    </a:lnTo>
                    <a:lnTo>
                      <a:pt x="5" y="0"/>
                    </a:lnTo>
                    <a:lnTo>
                      <a:pt x="10" y="0"/>
                    </a:lnTo>
                    <a:lnTo>
                      <a:pt x="11" y="1"/>
                    </a:lnTo>
                    <a:lnTo>
                      <a:pt x="11"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39" name="Freeform 655"/>
              <p:cNvSpPr>
                <a:spLocks/>
              </p:cNvSpPr>
              <p:nvPr/>
            </p:nvSpPr>
            <p:spPr bwMode="auto">
              <a:xfrm>
                <a:off x="8309082" y="1804134"/>
                <a:ext cx="19312" cy="21296"/>
              </a:xfrm>
              <a:custGeom>
                <a:avLst/>
                <a:gdLst/>
                <a:ahLst/>
                <a:cxnLst>
                  <a:cxn ang="0">
                    <a:pos x="2" y="2"/>
                  </a:cxn>
                  <a:cxn ang="0">
                    <a:pos x="5" y="0"/>
                  </a:cxn>
                  <a:cxn ang="0">
                    <a:pos x="8" y="0"/>
                  </a:cxn>
                  <a:cxn ang="0">
                    <a:pos x="20" y="7"/>
                  </a:cxn>
                  <a:cxn ang="0">
                    <a:pos x="21" y="10"/>
                  </a:cxn>
                  <a:cxn ang="0">
                    <a:pos x="21" y="12"/>
                  </a:cxn>
                  <a:cxn ang="0">
                    <a:pos x="20" y="13"/>
                  </a:cxn>
                  <a:cxn ang="0">
                    <a:pos x="18" y="19"/>
                  </a:cxn>
                  <a:cxn ang="0">
                    <a:pos x="17" y="20"/>
                  </a:cxn>
                  <a:cxn ang="0">
                    <a:pos x="10" y="18"/>
                  </a:cxn>
                  <a:cxn ang="0">
                    <a:pos x="7" y="15"/>
                  </a:cxn>
                  <a:cxn ang="0">
                    <a:pos x="5" y="13"/>
                  </a:cxn>
                  <a:cxn ang="0">
                    <a:pos x="4" y="10"/>
                  </a:cxn>
                  <a:cxn ang="0">
                    <a:pos x="1" y="9"/>
                  </a:cxn>
                  <a:cxn ang="0">
                    <a:pos x="0" y="6"/>
                  </a:cxn>
                  <a:cxn ang="0">
                    <a:pos x="0" y="3"/>
                  </a:cxn>
                  <a:cxn ang="0">
                    <a:pos x="2" y="2"/>
                  </a:cxn>
                </a:cxnLst>
                <a:rect l="0" t="0" r="r" b="b"/>
                <a:pathLst>
                  <a:path w="21" h="20">
                    <a:moveTo>
                      <a:pt x="2" y="2"/>
                    </a:moveTo>
                    <a:lnTo>
                      <a:pt x="5" y="0"/>
                    </a:lnTo>
                    <a:lnTo>
                      <a:pt x="8" y="0"/>
                    </a:lnTo>
                    <a:lnTo>
                      <a:pt x="20" y="7"/>
                    </a:lnTo>
                    <a:lnTo>
                      <a:pt x="21" y="10"/>
                    </a:lnTo>
                    <a:lnTo>
                      <a:pt x="21" y="12"/>
                    </a:lnTo>
                    <a:lnTo>
                      <a:pt x="20" y="13"/>
                    </a:lnTo>
                    <a:lnTo>
                      <a:pt x="18" y="19"/>
                    </a:lnTo>
                    <a:lnTo>
                      <a:pt x="17" y="20"/>
                    </a:lnTo>
                    <a:lnTo>
                      <a:pt x="10" y="18"/>
                    </a:lnTo>
                    <a:lnTo>
                      <a:pt x="7" y="15"/>
                    </a:lnTo>
                    <a:lnTo>
                      <a:pt x="5" y="13"/>
                    </a:lnTo>
                    <a:lnTo>
                      <a:pt x="4" y="10"/>
                    </a:lnTo>
                    <a:lnTo>
                      <a:pt x="1" y="9"/>
                    </a:lnTo>
                    <a:lnTo>
                      <a:pt x="0" y="6"/>
                    </a:lnTo>
                    <a:lnTo>
                      <a:pt x="0" y="3"/>
                    </a:lnTo>
                    <a:lnTo>
                      <a:pt x="2" y="2"/>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40" name="Freeform 656"/>
              <p:cNvSpPr>
                <a:spLocks/>
              </p:cNvSpPr>
              <p:nvPr/>
            </p:nvSpPr>
            <p:spPr bwMode="auto">
              <a:xfrm>
                <a:off x="8309082" y="1804134"/>
                <a:ext cx="19312" cy="21296"/>
              </a:xfrm>
              <a:custGeom>
                <a:avLst/>
                <a:gdLst/>
                <a:ahLst/>
                <a:cxnLst>
                  <a:cxn ang="0">
                    <a:pos x="2" y="2"/>
                  </a:cxn>
                  <a:cxn ang="0">
                    <a:pos x="5" y="0"/>
                  </a:cxn>
                  <a:cxn ang="0">
                    <a:pos x="8" y="0"/>
                  </a:cxn>
                  <a:cxn ang="0">
                    <a:pos x="20" y="7"/>
                  </a:cxn>
                  <a:cxn ang="0">
                    <a:pos x="21" y="10"/>
                  </a:cxn>
                  <a:cxn ang="0">
                    <a:pos x="21" y="12"/>
                  </a:cxn>
                  <a:cxn ang="0">
                    <a:pos x="20" y="13"/>
                  </a:cxn>
                  <a:cxn ang="0">
                    <a:pos x="18" y="19"/>
                  </a:cxn>
                  <a:cxn ang="0">
                    <a:pos x="17" y="20"/>
                  </a:cxn>
                  <a:cxn ang="0">
                    <a:pos x="10" y="18"/>
                  </a:cxn>
                  <a:cxn ang="0">
                    <a:pos x="7" y="15"/>
                  </a:cxn>
                  <a:cxn ang="0">
                    <a:pos x="5" y="13"/>
                  </a:cxn>
                  <a:cxn ang="0">
                    <a:pos x="4" y="10"/>
                  </a:cxn>
                  <a:cxn ang="0">
                    <a:pos x="1" y="9"/>
                  </a:cxn>
                  <a:cxn ang="0">
                    <a:pos x="0" y="6"/>
                  </a:cxn>
                  <a:cxn ang="0">
                    <a:pos x="0" y="3"/>
                  </a:cxn>
                  <a:cxn ang="0">
                    <a:pos x="2" y="2"/>
                  </a:cxn>
                </a:cxnLst>
                <a:rect l="0" t="0" r="r" b="b"/>
                <a:pathLst>
                  <a:path w="21" h="20">
                    <a:moveTo>
                      <a:pt x="2" y="2"/>
                    </a:moveTo>
                    <a:lnTo>
                      <a:pt x="5" y="0"/>
                    </a:lnTo>
                    <a:lnTo>
                      <a:pt x="8" y="0"/>
                    </a:lnTo>
                    <a:lnTo>
                      <a:pt x="20" y="7"/>
                    </a:lnTo>
                    <a:lnTo>
                      <a:pt x="21" y="10"/>
                    </a:lnTo>
                    <a:lnTo>
                      <a:pt x="21" y="12"/>
                    </a:lnTo>
                    <a:lnTo>
                      <a:pt x="20" y="13"/>
                    </a:lnTo>
                    <a:lnTo>
                      <a:pt x="18" y="19"/>
                    </a:lnTo>
                    <a:lnTo>
                      <a:pt x="17" y="20"/>
                    </a:lnTo>
                    <a:lnTo>
                      <a:pt x="10" y="18"/>
                    </a:lnTo>
                    <a:lnTo>
                      <a:pt x="7" y="15"/>
                    </a:lnTo>
                    <a:lnTo>
                      <a:pt x="5" y="13"/>
                    </a:lnTo>
                    <a:lnTo>
                      <a:pt x="4" y="10"/>
                    </a:lnTo>
                    <a:lnTo>
                      <a:pt x="1" y="9"/>
                    </a:lnTo>
                    <a:lnTo>
                      <a:pt x="0" y="6"/>
                    </a:lnTo>
                    <a:lnTo>
                      <a:pt x="0" y="3"/>
                    </a:lnTo>
                    <a:lnTo>
                      <a:pt x="2" y="2"/>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41" name="Freeform 657"/>
              <p:cNvSpPr>
                <a:spLocks/>
              </p:cNvSpPr>
              <p:nvPr/>
            </p:nvSpPr>
            <p:spPr bwMode="auto">
              <a:xfrm>
                <a:off x="6746597" y="1827458"/>
                <a:ext cx="28967" cy="33467"/>
              </a:xfrm>
              <a:custGeom>
                <a:avLst/>
                <a:gdLst/>
                <a:ahLst/>
                <a:cxnLst>
                  <a:cxn ang="0">
                    <a:pos x="8" y="1"/>
                  </a:cxn>
                  <a:cxn ang="0">
                    <a:pos x="9" y="1"/>
                  </a:cxn>
                  <a:cxn ang="0">
                    <a:pos x="9" y="0"/>
                  </a:cxn>
                  <a:cxn ang="0">
                    <a:pos x="11" y="1"/>
                  </a:cxn>
                  <a:cxn ang="0">
                    <a:pos x="14" y="0"/>
                  </a:cxn>
                  <a:cxn ang="0">
                    <a:pos x="15" y="0"/>
                  </a:cxn>
                  <a:cxn ang="0">
                    <a:pos x="25" y="9"/>
                  </a:cxn>
                  <a:cxn ang="0">
                    <a:pos x="27" y="13"/>
                  </a:cxn>
                  <a:cxn ang="0">
                    <a:pos x="28" y="13"/>
                  </a:cxn>
                  <a:cxn ang="0">
                    <a:pos x="28" y="9"/>
                  </a:cxn>
                  <a:cxn ang="0">
                    <a:pos x="31" y="16"/>
                  </a:cxn>
                  <a:cxn ang="0">
                    <a:pos x="31" y="20"/>
                  </a:cxn>
                  <a:cxn ang="0">
                    <a:pos x="30" y="16"/>
                  </a:cxn>
                  <a:cxn ang="0">
                    <a:pos x="21" y="27"/>
                  </a:cxn>
                  <a:cxn ang="0">
                    <a:pos x="18" y="29"/>
                  </a:cxn>
                  <a:cxn ang="0">
                    <a:pos x="15" y="29"/>
                  </a:cxn>
                  <a:cxn ang="0">
                    <a:pos x="14" y="32"/>
                  </a:cxn>
                  <a:cxn ang="0">
                    <a:pos x="11" y="32"/>
                  </a:cxn>
                  <a:cxn ang="0">
                    <a:pos x="9" y="30"/>
                  </a:cxn>
                  <a:cxn ang="0">
                    <a:pos x="8" y="32"/>
                  </a:cxn>
                  <a:cxn ang="0">
                    <a:pos x="6" y="30"/>
                  </a:cxn>
                  <a:cxn ang="0">
                    <a:pos x="5" y="27"/>
                  </a:cxn>
                  <a:cxn ang="0">
                    <a:pos x="3" y="27"/>
                  </a:cxn>
                  <a:cxn ang="0">
                    <a:pos x="2" y="30"/>
                  </a:cxn>
                  <a:cxn ang="0">
                    <a:pos x="3" y="32"/>
                  </a:cxn>
                  <a:cxn ang="0">
                    <a:pos x="0" y="26"/>
                  </a:cxn>
                  <a:cxn ang="0">
                    <a:pos x="2" y="14"/>
                  </a:cxn>
                  <a:cxn ang="0">
                    <a:pos x="8" y="1"/>
                  </a:cxn>
                </a:cxnLst>
                <a:rect l="0" t="0" r="r" b="b"/>
                <a:pathLst>
                  <a:path w="31" h="32">
                    <a:moveTo>
                      <a:pt x="8" y="1"/>
                    </a:moveTo>
                    <a:lnTo>
                      <a:pt x="9" y="1"/>
                    </a:lnTo>
                    <a:lnTo>
                      <a:pt x="9" y="0"/>
                    </a:lnTo>
                    <a:lnTo>
                      <a:pt x="11" y="1"/>
                    </a:lnTo>
                    <a:lnTo>
                      <a:pt x="14" y="0"/>
                    </a:lnTo>
                    <a:lnTo>
                      <a:pt x="15" y="0"/>
                    </a:lnTo>
                    <a:lnTo>
                      <a:pt x="25" y="9"/>
                    </a:lnTo>
                    <a:lnTo>
                      <a:pt x="27" y="13"/>
                    </a:lnTo>
                    <a:lnTo>
                      <a:pt x="28" y="13"/>
                    </a:lnTo>
                    <a:lnTo>
                      <a:pt x="28" y="9"/>
                    </a:lnTo>
                    <a:lnTo>
                      <a:pt x="31" y="16"/>
                    </a:lnTo>
                    <a:lnTo>
                      <a:pt x="31" y="20"/>
                    </a:lnTo>
                    <a:lnTo>
                      <a:pt x="30" y="16"/>
                    </a:lnTo>
                    <a:lnTo>
                      <a:pt x="21" y="27"/>
                    </a:lnTo>
                    <a:lnTo>
                      <a:pt x="18" y="29"/>
                    </a:lnTo>
                    <a:lnTo>
                      <a:pt x="15" y="29"/>
                    </a:lnTo>
                    <a:lnTo>
                      <a:pt x="14" y="32"/>
                    </a:lnTo>
                    <a:lnTo>
                      <a:pt x="11" y="32"/>
                    </a:lnTo>
                    <a:lnTo>
                      <a:pt x="9" y="30"/>
                    </a:lnTo>
                    <a:lnTo>
                      <a:pt x="8" y="32"/>
                    </a:lnTo>
                    <a:lnTo>
                      <a:pt x="6" y="30"/>
                    </a:lnTo>
                    <a:lnTo>
                      <a:pt x="5" y="27"/>
                    </a:lnTo>
                    <a:lnTo>
                      <a:pt x="3" y="27"/>
                    </a:lnTo>
                    <a:lnTo>
                      <a:pt x="2" y="30"/>
                    </a:lnTo>
                    <a:lnTo>
                      <a:pt x="3" y="32"/>
                    </a:lnTo>
                    <a:lnTo>
                      <a:pt x="0" y="26"/>
                    </a:lnTo>
                    <a:lnTo>
                      <a:pt x="2" y="14"/>
                    </a:lnTo>
                    <a:lnTo>
                      <a:pt x="8"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42" name="Freeform 658"/>
              <p:cNvSpPr>
                <a:spLocks/>
              </p:cNvSpPr>
              <p:nvPr/>
            </p:nvSpPr>
            <p:spPr bwMode="auto">
              <a:xfrm>
                <a:off x="6746597" y="1827458"/>
                <a:ext cx="28967" cy="33467"/>
              </a:xfrm>
              <a:custGeom>
                <a:avLst/>
                <a:gdLst/>
                <a:ahLst/>
                <a:cxnLst>
                  <a:cxn ang="0">
                    <a:pos x="8" y="1"/>
                  </a:cxn>
                  <a:cxn ang="0">
                    <a:pos x="9" y="1"/>
                  </a:cxn>
                  <a:cxn ang="0">
                    <a:pos x="9" y="0"/>
                  </a:cxn>
                  <a:cxn ang="0">
                    <a:pos x="11" y="1"/>
                  </a:cxn>
                  <a:cxn ang="0">
                    <a:pos x="14" y="0"/>
                  </a:cxn>
                  <a:cxn ang="0">
                    <a:pos x="15" y="0"/>
                  </a:cxn>
                  <a:cxn ang="0">
                    <a:pos x="25" y="9"/>
                  </a:cxn>
                  <a:cxn ang="0">
                    <a:pos x="27" y="13"/>
                  </a:cxn>
                  <a:cxn ang="0">
                    <a:pos x="28" y="13"/>
                  </a:cxn>
                  <a:cxn ang="0">
                    <a:pos x="28" y="9"/>
                  </a:cxn>
                  <a:cxn ang="0">
                    <a:pos x="31" y="16"/>
                  </a:cxn>
                  <a:cxn ang="0">
                    <a:pos x="31" y="20"/>
                  </a:cxn>
                  <a:cxn ang="0">
                    <a:pos x="30" y="16"/>
                  </a:cxn>
                  <a:cxn ang="0">
                    <a:pos x="21" y="27"/>
                  </a:cxn>
                  <a:cxn ang="0">
                    <a:pos x="18" y="29"/>
                  </a:cxn>
                  <a:cxn ang="0">
                    <a:pos x="15" y="29"/>
                  </a:cxn>
                  <a:cxn ang="0">
                    <a:pos x="14" y="32"/>
                  </a:cxn>
                  <a:cxn ang="0">
                    <a:pos x="11" y="32"/>
                  </a:cxn>
                  <a:cxn ang="0">
                    <a:pos x="9" y="30"/>
                  </a:cxn>
                  <a:cxn ang="0">
                    <a:pos x="8" y="32"/>
                  </a:cxn>
                  <a:cxn ang="0">
                    <a:pos x="6" y="30"/>
                  </a:cxn>
                  <a:cxn ang="0">
                    <a:pos x="5" y="27"/>
                  </a:cxn>
                  <a:cxn ang="0">
                    <a:pos x="3" y="27"/>
                  </a:cxn>
                  <a:cxn ang="0">
                    <a:pos x="2" y="30"/>
                  </a:cxn>
                  <a:cxn ang="0">
                    <a:pos x="3" y="32"/>
                  </a:cxn>
                  <a:cxn ang="0">
                    <a:pos x="0" y="26"/>
                  </a:cxn>
                  <a:cxn ang="0">
                    <a:pos x="2" y="14"/>
                  </a:cxn>
                  <a:cxn ang="0">
                    <a:pos x="8" y="1"/>
                  </a:cxn>
                </a:cxnLst>
                <a:rect l="0" t="0" r="r" b="b"/>
                <a:pathLst>
                  <a:path w="31" h="32">
                    <a:moveTo>
                      <a:pt x="8" y="1"/>
                    </a:moveTo>
                    <a:lnTo>
                      <a:pt x="9" y="1"/>
                    </a:lnTo>
                    <a:lnTo>
                      <a:pt x="9" y="0"/>
                    </a:lnTo>
                    <a:lnTo>
                      <a:pt x="11" y="1"/>
                    </a:lnTo>
                    <a:lnTo>
                      <a:pt x="14" y="0"/>
                    </a:lnTo>
                    <a:lnTo>
                      <a:pt x="15" y="0"/>
                    </a:lnTo>
                    <a:lnTo>
                      <a:pt x="25" y="9"/>
                    </a:lnTo>
                    <a:lnTo>
                      <a:pt x="27" y="13"/>
                    </a:lnTo>
                    <a:lnTo>
                      <a:pt x="28" y="13"/>
                    </a:lnTo>
                    <a:lnTo>
                      <a:pt x="28" y="9"/>
                    </a:lnTo>
                    <a:lnTo>
                      <a:pt x="31" y="16"/>
                    </a:lnTo>
                    <a:lnTo>
                      <a:pt x="31" y="20"/>
                    </a:lnTo>
                    <a:lnTo>
                      <a:pt x="30" y="16"/>
                    </a:lnTo>
                    <a:lnTo>
                      <a:pt x="21" y="27"/>
                    </a:lnTo>
                    <a:lnTo>
                      <a:pt x="18" y="29"/>
                    </a:lnTo>
                    <a:lnTo>
                      <a:pt x="15" y="29"/>
                    </a:lnTo>
                    <a:lnTo>
                      <a:pt x="14" y="32"/>
                    </a:lnTo>
                    <a:lnTo>
                      <a:pt x="11" y="32"/>
                    </a:lnTo>
                    <a:lnTo>
                      <a:pt x="9" y="30"/>
                    </a:lnTo>
                    <a:lnTo>
                      <a:pt x="8" y="32"/>
                    </a:lnTo>
                    <a:lnTo>
                      <a:pt x="6" y="30"/>
                    </a:lnTo>
                    <a:lnTo>
                      <a:pt x="5" y="27"/>
                    </a:lnTo>
                    <a:lnTo>
                      <a:pt x="3" y="27"/>
                    </a:lnTo>
                    <a:lnTo>
                      <a:pt x="2" y="30"/>
                    </a:lnTo>
                    <a:lnTo>
                      <a:pt x="3" y="32"/>
                    </a:lnTo>
                    <a:lnTo>
                      <a:pt x="0" y="26"/>
                    </a:lnTo>
                    <a:lnTo>
                      <a:pt x="2" y="14"/>
                    </a:lnTo>
                    <a:lnTo>
                      <a:pt x="8"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43" name="Freeform 659"/>
              <p:cNvSpPr>
                <a:spLocks/>
              </p:cNvSpPr>
              <p:nvPr/>
            </p:nvSpPr>
            <p:spPr bwMode="auto">
              <a:xfrm>
                <a:off x="6883534" y="1786893"/>
                <a:ext cx="26334" cy="33467"/>
              </a:xfrm>
              <a:custGeom>
                <a:avLst/>
                <a:gdLst/>
                <a:ahLst/>
                <a:cxnLst>
                  <a:cxn ang="0">
                    <a:pos x="2" y="20"/>
                  </a:cxn>
                  <a:cxn ang="0">
                    <a:pos x="2" y="20"/>
                  </a:cxn>
                  <a:cxn ang="0">
                    <a:pos x="1" y="14"/>
                  </a:cxn>
                  <a:cxn ang="0">
                    <a:pos x="1" y="13"/>
                  </a:cxn>
                  <a:cxn ang="0">
                    <a:pos x="0" y="11"/>
                  </a:cxn>
                  <a:cxn ang="0">
                    <a:pos x="0" y="10"/>
                  </a:cxn>
                  <a:cxn ang="0">
                    <a:pos x="1" y="10"/>
                  </a:cxn>
                  <a:cxn ang="0">
                    <a:pos x="4" y="10"/>
                  </a:cxn>
                  <a:cxn ang="0">
                    <a:pos x="1" y="7"/>
                  </a:cxn>
                  <a:cxn ang="0">
                    <a:pos x="1" y="5"/>
                  </a:cxn>
                  <a:cxn ang="0">
                    <a:pos x="4" y="1"/>
                  </a:cxn>
                  <a:cxn ang="0">
                    <a:pos x="7" y="0"/>
                  </a:cxn>
                  <a:cxn ang="0">
                    <a:pos x="8" y="4"/>
                  </a:cxn>
                  <a:cxn ang="0">
                    <a:pos x="11" y="5"/>
                  </a:cxn>
                  <a:cxn ang="0">
                    <a:pos x="13" y="10"/>
                  </a:cxn>
                  <a:cxn ang="0">
                    <a:pos x="17" y="11"/>
                  </a:cxn>
                  <a:cxn ang="0">
                    <a:pos x="27" y="26"/>
                  </a:cxn>
                  <a:cxn ang="0">
                    <a:pos x="29" y="29"/>
                  </a:cxn>
                  <a:cxn ang="0">
                    <a:pos x="26" y="32"/>
                  </a:cxn>
                  <a:cxn ang="0">
                    <a:pos x="24" y="30"/>
                  </a:cxn>
                  <a:cxn ang="0">
                    <a:pos x="23" y="30"/>
                  </a:cxn>
                  <a:cxn ang="0">
                    <a:pos x="21" y="32"/>
                  </a:cxn>
                  <a:cxn ang="0">
                    <a:pos x="18" y="32"/>
                  </a:cxn>
                  <a:cxn ang="0">
                    <a:pos x="16" y="29"/>
                  </a:cxn>
                  <a:cxn ang="0">
                    <a:pos x="16" y="27"/>
                  </a:cxn>
                  <a:cxn ang="0">
                    <a:pos x="13" y="24"/>
                  </a:cxn>
                  <a:cxn ang="0">
                    <a:pos x="11" y="24"/>
                  </a:cxn>
                  <a:cxn ang="0">
                    <a:pos x="5" y="21"/>
                  </a:cxn>
                  <a:cxn ang="0">
                    <a:pos x="10" y="27"/>
                  </a:cxn>
                  <a:cxn ang="0">
                    <a:pos x="8" y="29"/>
                  </a:cxn>
                  <a:cxn ang="0">
                    <a:pos x="2" y="20"/>
                  </a:cxn>
                </a:cxnLst>
                <a:rect l="0" t="0" r="r" b="b"/>
                <a:pathLst>
                  <a:path w="29" h="32">
                    <a:moveTo>
                      <a:pt x="2" y="20"/>
                    </a:moveTo>
                    <a:lnTo>
                      <a:pt x="2" y="20"/>
                    </a:lnTo>
                    <a:lnTo>
                      <a:pt x="1" y="14"/>
                    </a:lnTo>
                    <a:lnTo>
                      <a:pt x="1" y="13"/>
                    </a:lnTo>
                    <a:lnTo>
                      <a:pt x="0" y="11"/>
                    </a:lnTo>
                    <a:lnTo>
                      <a:pt x="0" y="10"/>
                    </a:lnTo>
                    <a:lnTo>
                      <a:pt x="1" y="10"/>
                    </a:lnTo>
                    <a:lnTo>
                      <a:pt x="4" y="10"/>
                    </a:lnTo>
                    <a:lnTo>
                      <a:pt x="1" y="7"/>
                    </a:lnTo>
                    <a:lnTo>
                      <a:pt x="1" y="5"/>
                    </a:lnTo>
                    <a:lnTo>
                      <a:pt x="4" y="1"/>
                    </a:lnTo>
                    <a:lnTo>
                      <a:pt x="7" y="0"/>
                    </a:lnTo>
                    <a:lnTo>
                      <a:pt x="8" y="4"/>
                    </a:lnTo>
                    <a:lnTo>
                      <a:pt x="11" y="5"/>
                    </a:lnTo>
                    <a:lnTo>
                      <a:pt x="13" y="10"/>
                    </a:lnTo>
                    <a:lnTo>
                      <a:pt x="17" y="11"/>
                    </a:lnTo>
                    <a:lnTo>
                      <a:pt x="27" y="26"/>
                    </a:lnTo>
                    <a:lnTo>
                      <a:pt x="29" y="29"/>
                    </a:lnTo>
                    <a:lnTo>
                      <a:pt x="26" y="32"/>
                    </a:lnTo>
                    <a:lnTo>
                      <a:pt x="24" y="30"/>
                    </a:lnTo>
                    <a:lnTo>
                      <a:pt x="23" y="30"/>
                    </a:lnTo>
                    <a:lnTo>
                      <a:pt x="21" y="32"/>
                    </a:lnTo>
                    <a:lnTo>
                      <a:pt x="18" y="32"/>
                    </a:lnTo>
                    <a:lnTo>
                      <a:pt x="16" y="29"/>
                    </a:lnTo>
                    <a:lnTo>
                      <a:pt x="16" y="27"/>
                    </a:lnTo>
                    <a:lnTo>
                      <a:pt x="13" y="24"/>
                    </a:lnTo>
                    <a:lnTo>
                      <a:pt x="11" y="24"/>
                    </a:lnTo>
                    <a:lnTo>
                      <a:pt x="5" y="21"/>
                    </a:lnTo>
                    <a:lnTo>
                      <a:pt x="10" y="27"/>
                    </a:lnTo>
                    <a:lnTo>
                      <a:pt x="8" y="29"/>
                    </a:lnTo>
                    <a:lnTo>
                      <a:pt x="2" y="2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44" name="Freeform 660"/>
              <p:cNvSpPr>
                <a:spLocks/>
              </p:cNvSpPr>
              <p:nvPr/>
            </p:nvSpPr>
            <p:spPr bwMode="auto">
              <a:xfrm>
                <a:off x="6883534" y="1786893"/>
                <a:ext cx="26334" cy="33467"/>
              </a:xfrm>
              <a:custGeom>
                <a:avLst/>
                <a:gdLst/>
                <a:ahLst/>
                <a:cxnLst>
                  <a:cxn ang="0">
                    <a:pos x="2" y="20"/>
                  </a:cxn>
                  <a:cxn ang="0">
                    <a:pos x="2" y="20"/>
                  </a:cxn>
                  <a:cxn ang="0">
                    <a:pos x="1" y="14"/>
                  </a:cxn>
                  <a:cxn ang="0">
                    <a:pos x="1" y="13"/>
                  </a:cxn>
                  <a:cxn ang="0">
                    <a:pos x="0" y="11"/>
                  </a:cxn>
                  <a:cxn ang="0">
                    <a:pos x="0" y="10"/>
                  </a:cxn>
                  <a:cxn ang="0">
                    <a:pos x="1" y="10"/>
                  </a:cxn>
                  <a:cxn ang="0">
                    <a:pos x="4" y="10"/>
                  </a:cxn>
                  <a:cxn ang="0">
                    <a:pos x="1" y="7"/>
                  </a:cxn>
                  <a:cxn ang="0">
                    <a:pos x="1" y="5"/>
                  </a:cxn>
                  <a:cxn ang="0">
                    <a:pos x="4" y="1"/>
                  </a:cxn>
                  <a:cxn ang="0">
                    <a:pos x="7" y="0"/>
                  </a:cxn>
                  <a:cxn ang="0">
                    <a:pos x="8" y="4"/>
                  </a:cxn>
                  <a:cxn ang="0">
                    <a:pos x="11" y="5"/>
                  </a:cxn>
                  <a:cxn ang="0">
                    <a:pos x="13" y="10"/>
                  </a:cxn>
                  <a:cxn ang="0">
                    <a:pos x="17" y="11"/>
                  </a:cxn>
                  <a:cxn ang="0">
                    <a:pos x="27" y="26"/>
                  </a:cxn>
                  <a:cxn ang="0">
                    <a:pos x="29" y="29"/>
                  </a:cxn>
                  <a:cxn ang="0">
                    <a:pos x="26" y="32"/>
                  </a:cxn>
                  <a:cxn ang="0">
                    <a:pos x="24" y="30"/>
                  </a:cxn>
                  <a:cxn ang="0">
                    <a:pos x="23" y="30"/>
                  </a:cxn>
                  <a:cxn ang="0">
                    <a:pos x="21" y="32"/>
                  </a:cxn>
                  <a:cxn ang="0">
                    <a:pos x="18" y="32"/>
                  </a:cxn>
                  <a:cxn ang="0">
                    <a:pos x="16" y="29"/>
                  </a:cxn>
                  <a:cxn ang="0">
                    <a:pos x="16" y="27"/>
                  </a:cxn>
                  <a:cxn ang="0">
                    <a:pos x="13" y="24"/>
                  </a:cxn>
                  <a:cxn ang="0">
                    <a:pos x="11" y="24"/>
                  </a:cxn>
                  <a:cxn ang="0">
                    <a:pos x="5" y="21"/>
                  </a:cxn>
                  <a:cxn ang="0">
                    <a:pos x="10" y="27"/>
                  </a:cxn>
                  <a:cxn ang="0">
                    <a:pos x="8" y="29"/>
                  </a:cxn>
                  <a:cxn ang="0">
                    <a:pos x="2" y="20"/>
                  </a:cxn>
                </a:cxnLst>
                <a:rect l="0" t="0" r="r" b="b"/>
                <a:pathLst>
                  <a:path w="29" h="32">
                    <a:moveTo>
                      <a:pt x="2" y="20"/>
                    </a:moveTo>
                    <a:lnTo>
                      <a:pt x="2" y="20"/>
                    </a:lnTo>
                    <a:lnTo>
                      <a:pt x="1" y="14"/>
                    </a:lnTo>
                    <a:lnTo>
                      <a:pt x="1" y="13"/>
                    </a:lnTo>
                    <a:lnTo>
                      <a:pt x="0" y="11"/>
                    </a:lnTo>
                    <a:lnTo>
                      <a:pt x="0" y="10"/>
                    </a:lnTo>
                    <a:lnTo>
                      <a:pt x="1" y="10"/>
                    </a:lnTo>
                    <a:lnTo>
                      <a:pt x="4" y="10"/>
                    </a:lnTo>
                    <a:lnTo>
                      <a:pt x="1" y="7"/>
                    </a:lnTo>
                    <a:lnTo>
                      <a:pt x="1" y="5"/>
                    </a:lnTo>
                    <a:lnTo>
                      <a:pt x="4" y="1"/>
                    </a:lnTo>
                    <a:lnTo>
                      <a:pt x="7" y="0"/>
                    </a:lnTo>
                    <a:lnTo>
                      <a:pt x="8" y="4"/>
                    </a:lnTo>
                    <a:lnTo>
                      <a:pt x="11" y="5"/>
                    </a:lnTo>
                    <a:lnTo>
                      <a:pt x="13" y="10"/>
                    </a:lnTo>
                    <a:lnTo>
                      <a:pt x="17" y="11"/>
                    </a:lnTo>
                    <a:lnTo>
                      <a:pt x="27" y="26"/>
                    </a:lnTo>
                    <a:lnTo>
                      <a:pt x="29" y="29"/>
                    </a:lnTo>
                    <a:lnTo>
                      <a:pt x="26" y="32"/>
                    </a:lnTo>
                    <a:lnTo>
                      <a:pt x="24" y="30"/>
                    </a:lnTo>
                    <a:lnTo>
                      <a:pt x="23" y="30"/>
                    </a:lnTo>
                    <a:lnTo>
                      <a:pt x="21" y="32"/>
                    </a:lnTo>
                    <a:lnTo>
                      <a:pt x="18" y="32"/>
                    </a:lnTo>
                    <a:lnTo>
                      <a:pt x="16" y="29"/>
                    </a:lnTo>
                    <a:lnTo>
                      <a:pt x="16" y="27"/>
                    </a:lnTo>
                    <a:lnTo>
                      <a:pt x="13" y="24"/>
                    </a:lnTo>
                    <a:lnTo>
                      <a:pt x="11" y="24"/>
                    </a:lnTo>
                    <a:lnTo>
                      <a:pt x="5" y="21"/>
                    </a:lnTo>
                    <a:lnTo>
                      <a:pt x="10" y="27"/>
                    </a:lnTo>
                    <a:lnTo>
                      <a:pt x="8" y="29"/>
                    </a:lnTo>
                    <a:lnTo>
                      <a:pt x="2" y="2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45" name="Freeform 661"/>
              <p:cNvSpPr>
                <a:spLocks/>
              </p:cNvSpPr>
              <p:nvPr/>
            </p:nvSpPr>
            <p:spPr bwMode="auto">
              <a:xfrm>
                <a:off x="7034515" y="1640858"/>
                <a:ext cx="18433" cy="23325"/>
              </a:xfrm>
              <a:custGeom>
                <a:avLst/>
                <a:gdLst/>
                <a:ahLst/>
                <a:cxnLst>
                  <a:cxn ang="0">
                    <a:pos x="2" y="22"/>
                  </a:cxn>
                  <a:cxn ang="0">
                    <a:pos x="0" y="22"/>
                  </a:cxn>
                  <a:cxn ang="0">
                    <a:pos x="2" y="16"/>
                  </a:cxn>
                  <a:cxn ang="0">
                    <a:pos x="0" y="9"/>
                  </a:cxn>
                  <a:cxn ang="0">
                    <a:pos x="4" y="2"/>
                  </a:cxn>
                  <a:cxn ang="0">
                    <a:pos x="9" y="0"/>
                  </a:cxn>
                  <a:cxn ang="0">
                    <a:pos x="13" y="2"/>
                  </a:cxn>
                  <a:cxn ang="0">
                    <a:pos x="15" y="4"/>
                  </a:cxn>
                  <a:cxn ang="0">
                    <a:pos x="13" y="10"/>
                  </a:cxn>
                  <a:cxn ang="0">
                    <a:pos x="19" y="12"/>
                  </a:cxn>
                  <a:cxn ang="0">
                    <a:pos x="20" y="15"/>
                  </a:cxn>
                  <a:cxn ang="0">
                    <a:pos x="16" y="16"/>
                  </a:cxn>
                  <a:cxn ang="0">
                    <a:pos x="15" y="19"/>
                  </a:cxn>
                  <a:cxn ang="0">
                    <a:pos x="10" y="19"/>
                  </a:cxn>
                  <a:cxn ang="0">
                    <a:pos x="4" y="20"/>
                  </a:cxn>
                  <a:cxn ang="0">
                    <a:pos x="4" y="18"/>
                  </a:cxn>
                  <a:cxn ang="0">
                    <a:pos x="2" y="22"/>
                  </a:cxn>
                  <a:cxn ang="0">
                    <a:pos x="2" y="22"/>
                  </a:cxn>
                </a:cxnLst>
                <a:rect l="0" t="0" r="r" b="b"/>
                <a:pathLst>
                  <a:path w="20" h="22">
                    <a:moveTo>
                      <a:pt x="2" y="22"/>
                    </a:moveTo>
                    <a:lnTo>
                      <a:pt x="0" y="22"/>
                    </a:lnTo>
                    <a:lnTo>
                      <a:pt x="2" y="16"/>
                    </a:lnTo>
                    <a:lnTo>
                      <a:pt x="0" y="9"/>
                    </a:lnTo>
                    <a:lnTo>
                      <a:pt x="4" y="2"/>
                    </a:lnTo>
                    <a:lnTo>
                      <a:pt x="9" y="0"/>
                    </a:lnTo>
                    <a:lnTo>
                      <a:pt x="13" y="2"/>
                    </a:lnTo>
                    <a:lnTo>
                      <a:pt x="15" y="4"/>
                    </a:lnTo>
                    <a:lnTo>
                      <a:pt x="13" y="10"/>
                    </a:lnTo>
                    <a:lnTo>
                      <a:pt x="19" y="12"/>
                    </a:lnTo>
                    <a:lnTo>
                      <a:pt x="20" y="15"/>
                    </a:lnTo>
                    <a:lnTo>
                      <a:pt x="16" y="16"/>
                    </a:lnTo>
                    <a:lnTo>
                      <a:pt x="15" y="19"/>
                    </a:lnTo>
                    <a:lnTo>
                      <a:pt x="10" y="19"/>
                    </a:lnTo>
                    <a:lnTo>
                      <a:pt x="4" y="20"/>
                    </a:lnTo>
                    <a:lnTo>
                      <a:pt x="4" y="18"/>
                    </a:lnTo>
                    <a:lnTo>
                      <a:pt x="2" y="22"/>
                    </a:lnTo>
                    <a:lnTo>
                      <a:pt x="2" y="2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46" name="Freeform 662"/>
              <p:cNvSpPr>
                <a:spLocks/>
              </p:cNvSpPr>
              <p:nvPr/>
            </p:nvSpPr>
            <p:spPr bwMode="auto">
              <a:xfrm>
                <a:off x="7034515" y="1640858"/>
                <a:ext cx="18433" cy="23325"/>
              </a:xfrm>
              <a:custGeom>
                <a:avLst/>
                <a:gdLst/>
                <a:ahLst/>
                <a:cxnLst>
                  <a:cxn ang="0">
                    <a:pos x="2" y="22"/>
                  </a:cxn>
                  <a:cxn ang="0">
                    <a:pos x="0" y="22"/>
                  </a:cxn>
                  <a:cxn ang="0">
                    <a:pos x="2" y="16"/>
                  </a:cxn>
                  <a:cxn ang="0">
                    <a:pos x="0" y="9"/>
                  </a:cxn>
                  <a:cxn ang="0">
                    <a:pos x="4" y="2"/>
                  </a:cxn>
                  <a:cxn ang="0">
                    <a:pos x="9" y="0"/>
                  </a:cxn>
                  <a:cxn ang="0">
                    <a:pos x="13" y="2"/>
                  </a:cxn>
                  <a:cxn ang="0">
                    <a:pos x="15" y="4"/>
                  </a:cxn>
                  <a:cxn ang="0">
                    <a:pos x="13" y="10"/>
                  </a:cxn>
                  <a:cxn ang="0">
                    <a:pos x="19" y="12"/>
                  </a:cxn>
                  <a:cxn ang="0">
                    <a:pos x="20" y="15"/>
                  </a:cxn>
                  <a:cxn ang="0">
                    <a:pos x="16" y="16"/>
                  </a:cxn>
                  <a:cxn ang="0">
                    <a:pos x="15" y="19"/>
                  </a:cxn>
                  <a:cxn ang="0">
                    <a:pos x="10" y="19"/>
                  </a:cxn>
                  <a:cxn ang="0">
                    <a:pos x="4" y="20"/>
                  </a:cxn>
                  <a:cxn ang="0">
                    <a:pos x="4" y="18"/>
                  </a:cxn>
                  <a:cxn ang="0">
                    <a:pos x="2" y="22"/>
                  </a:cxn>
                  <a:cxn ang="0">
                    <a:pos x="2" y="22"/>
                  </a:cxn>
                </a:cxnLst>
                <a:rect l="0" t="0" r="r" b="b"/>
                <a:pathLst>
                  <a:path w="20" h="22">
                    <a:moveTo>
                      <a:pt x="2" y="22"/>
                    </a:moveTo>
                    <a:lnTo>
                      <a:pt x="0" y="22"/>
                    </a:lnTo>
                    <a:lnTo>
                      <a:pt x="2" y="16"/>
                    </a:lnTo>
                    <a:lnTo>
                      <a:pt x="0" y="9"/>
                    </a:lnTo>
                    <a:lnTo>
                      <a:pt x="4" y="2"/>
                    </a:lnTo>
                    <a:lnTo>
                      <a:pt x="9" y="0"/>
                    </a:lnTo>
                    <a:lnTo>
                      <a:pt x="13" y="2"/>
                    </a:lnTo>
                    <a:lnTo>
                      <a:pt x="15" y="4"/>
                    </a:lnTo>
                    <a:lnTo>
                      <a:pt x="13" y="10"/>
                    </a:lnTo>
                    <a:lnTo>
                      <a:pt x="19" y="12"/>
                    </a:lnTo>
                    <a:lnTo>
                      <a:pt x="20" y="15"/>
                    </a:lnTo>
                    <a:lnTo>
                      <a:pt x="16" y="16"/>
                    </a:lnTo>
                    <a:lnTo>
                      <a:pt x="15" y="19"/>
                    </a:lnTo>
                    <a:lnTo>
                      <a:pt x="10" y="19"/>
                    </a:lnTo>
                    <a:lnTo>
                      <a:pt x="4" y="20"/>
                    </a:lnTo>
                    <a:lnTo>
                      <a:pt x="4" y="18"/>
                    </a:lnTo>
                    <a:lnTo>
                      <a:pt x="2" y="22"/>
                    </a:lnTo>
                    <a:lnTo>
                      <a:pt x="2" y="2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47" name="Freeform 663"/>
              <p:cNvSpPr>
                <a:spLocks/>
              </p:cNvSpPr>
              <p:nvPr/>
            </p:nvSpPr>
            <p:spPr bwMode="auto">
              <a:xfrm>
                <a:off x="7087184" y="1661140"/>
                <a:ext cx="8778" cy="12170"/>
              </a:xfrm>
              <a:custGeom>
                <a:avLst/>
                <a:gdLst/>
                <a:ahLst/>
                <a:cxnLst>
                  <a:cxn ang="0">
                    <a:pos x="0" y="3"/>
                  </a:cxn>
                  <a:cxn ang="0">
                    <a:pos x="1" y="1"/>
                  </a:cxn>
                  <a:cxn ang="0">
                    <a:pos x="3" y="0"/>
                  </a:cxn>
                  <a:cxn ang="0">
                    <a:pos x="10" y="3"/>
                  </a:cxn>
                  <a:cxn ang="0">
                    <a:pos x="10" y="3"/>
                  </a:cxn>
                  <a:cxn ang="0">
                    <a:pos x="8" y="4"/>
                  </a:cxn>
                  <a:cxn ang="0">
                    <a:pos x="7" y="12"/>
                  </a:cxn>
                  <a:cxn ang="0">
                    <a:pos x="0" y="6"/>
                  </a:cxn>
                  <a:cxn ang="0">
                    <a:pos x="0" y="3"/>
                  </a:cxn>
                </a:cxnLst>
                <a:rect l="0" t="0" r="r" b="b"/>
                <a:pathLst>
                  <a:path w="10" h="12">
                    <a:moveTo>
                      <a:pt x="0" y="3"/>
                    </a:moveTo>
                    <a:lnTo>
                      <a:pt x="1" y="1"/>
                    </a:lnTo>
                    <a:lnTo>
                      <a:pt x="3" y="0"/>
                    </a:lnTo>
                    <a:lnTo>
                      <a:pt x="10" y="3"/>
                    </a:lnTo>
                    <a:lnTo>
                      <a:pt x="10" y="3"/>
                    </a:lnTo>
                    <a:lnTo>
                      <a:pt x="8" y="4"/>
                    </a:lnTo>
                    <a:lnTo>
                      <a:pt x="7" y="12"/>
                    </a:lnTo>
                    <a:lnTo>
                      <a:pt x="0" y="6"/>
                    </a:lnTo>
                    <a:lnTo>
                      <a:pt x="0"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48" name="Freeform 664"/>
              <p:cNvSpPr>
                <a:spLocks/>
              </p:cNvSpPr>
              <p:nvPr/>
            </p:nvSpPr>
            <p:spPr bwMode="auto">
              <a:xfrm>
                <a:off x="7087184" y="1661140"/>
                <a:ext cx="8778" cy="12170"/>
              </a:xfrm>
              <a:custGeom>
                <a:avLst/>
                <a:gdLst/>
                <a:ahLst/>
                <a:cxnLst>
                  <a:cxn ang="0">
                    <a:pos x="0" y="3"/>
                  </a:cxn>
                  <a:cxn ang="0">
                    <a:pos x="1" y="1"/>
                  </a:cxn>
                  <a:cxn ang="0">
                    <a:pos x="3" y="0"/>
                  </a:cxn>
                  <a:cxn ang="0">
                    <a:pos x="10" y="3"/>
                  </a:cxn>
                  <a:cxn ang="0">
                    <a:pos x="10" y="3"/>
                  </a:cxn>
                  <a:cxn ang="0">
                    <a:pos x="8" y="4"/>
                  </a:cxn>
                  <a:cxn ang="0">
                    <a:pos x="7" y="12"/>
                  </a:cxn>
                  <a:cxn ang="0">
                    <a:pos x="0" y="6"/>
                  </a:cxn>
                  <a:cxn ang="0">
                    <a:pos x="0" y="3"/>
                  </a:cxn>
                </a:cxnLst>
                <a:rect l="0" t="0" r="r" b="b"/>
                <a:pathLst>
                  <a:path w="10" h="12">
                    <a:moveTo>
                      <a:pt x="0" y="3"/>
                    </a:moveTo>
                    <a:lnTo>
                      <a:pt x="1" y="1"/>
                    </a:lnTo>
                    <a:lnTo>
                      <a:pt x="3" y="0"/>
                    </a:lnTo>
                    <a:lnTo>
                      <a:pt x="10" y="3"/>
                    </a:lnTo>
                    <a:lnTo>
                      <a:pt x="10" y="3"/>
                    </a:lnTo>
                    <a:lnTo>
                      <a:pt x="8" y="4"/>
                    </a:lnTo>
                    <a:lnTo>
                      <a:pt x="7" y="12"/>
                    </a:lnTo>
                    <a:lnTo>
                      <a:pt x="0" y="6"/>
                    </a:lnTo>
                    <a:lnTo>
                      <a:pt x="0"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49" name="Freeform 665"/>
              <p:cNvSpPr>
                <a:spLocks/>
              </p:cNvSpPr>
              <p:nvPr/>
            </p:nvSpPr>
            <p:spPr bwMode="auto">
              <a:xfrm>
                <a:off x="7145995" y="1662155"/>
                <a:ext cx="9656" cy="19268"/>
              </a:xfrm>
              <a:custGeom>
                <a:avLst/>
                <a:gdLst/>
                <a:ahLst/>
                <a:cxnLst>
                  <a:cxn ang="0">
                    <a:pos x="8" y="2"/>
                  </a:cxn>
                  <a:cxn ang="0">
                    <a:pos x="8" y="5"/>
                  </a:cxn>
                  <a:cxn ang="0">
                    <a:pos x="11" y="8"/>
                  </a:cxn>
                  <a:cxn ang="0">
                    <a:pos x="11" y="18"/>
                  </a:cxn>
                  <a:cxn ang="0">
                    <a:pos x="11" y="19"/>
                  </a:cxn>
                  <a:cxn ang="0">
                    <a:pos x="8" y="18"/>
                  </a:cxn>
                  <a:cxn ang="0">
                    <a:pos x="5" y="18"/>
                  </a:cxn>
                  <a:cxn ang="0">
                    <a:pos x="2" y="15"/>
                  </a:cxn>
                  <a:cxn ang="0">
                    <a:pos x="0" y="12"/>
                  </a:cxn>
                  <a:cxn ang="0">
                    <a:pos x="7" y="0"/>
                  </a:cxn>
                  <a:cxn ang="0">
                    <a:pos x="8" y="2"/>
                  </a:cxn>
                  <a:cxn ang="0">
                    <a:pos x="8" y="2"/>
                  </a:cxn>
                </a:cxnLst>
                <a:rect l="0" t="0" r="r" b="b"/>
                <a:pathLst>
                  <a:path w="11" h="19">
                    <a:moveTo>
                      <a:pt x="8" y="2"/>
                    </a:moveTo>
                    <a:lnTo>
                      <a:pt x="8" y="5"/>
                    </a:lnTo>
                    <a:lnTo>
                      <a:pt x="11" y="8"/>
                    </a:lnTo>
                    <a:lnTo>
                      <a:pt x="11" y="18"/>
                    </a:lnTo>
                    <a:lnTo>
                      <a:pt x="11" y="19"/>
                    </a:lnTo>
                    <a:lnTo>
                      <a:pt x="8" y="18"/>
                    </a:lnTo>
                    <a:lnTo>
                      <a:pt x="5" y="18"/>
                    </a:lnTo>
                    <a:lnTo>
                      <a:pt x="2" y="15"/>
                    </a:lnTo>
                    <a:lnTo>
                      <a:pt x="0" y="12"/>
                    </a:lnTo>
                    <a:lnTo>
                      <a:pt x="7" y="0"/>
                    </a:lnTo>
                    <a:lnTo>
                      <a:pt x="8" y="2"/>
                    </a:lnTo>
                    <a:lnTo>
                      <a:pt x="8"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50" name="Freeform 666"/>
              <p:cNvSpPr>
                <a:spLocks/>
              </p:cNvSpPr>
              <p:nvPr/>
            </p:nvSpPr>
            <p:spPr bwMode="auto">
              <a:xfrm>
                <a:off x="7145995" y="1662155"/>
                <a:ext cx="9656" cy="19268"/>
              </a:xfrm>
              <a:custGeom>
                <a:avLst/>
                <a:gdLst/>
                <a:ahLst/>
                <a:cxnLst>
                  <a:cxn ang="0">
                    <a:pos x="8" y="2"/>
                  </a:cxn>
                  <a:cxn ang="0">
                    <a:pos x="8" y="5"/>
                  </a:cxn>
                  <a:cxn ang="0">
                    <a:pos x="11" y="8"/>
                  </a:cxn>
                  <a:cxn ang="0">
                    <a:pos x="11" y="18"/>
                  </a:cxn>
                  <a:cxn ang="0">
                    <a:pos x="11" y="19"/>
                  </a:cxn>
                  <a:cxn ang="0">
                    <a:pos x="8" y="18"/>
                  </a:cxn>
                  <a:cxn ang="0">
                    <a:pos x="5" y="18"/>
                  </a:cxn>
                  <a:cxn ang="0">
                    <a:pos x="2" y="15"/>
                  </a:cxn>
                  <a:cxn ang="0">
                    <a:pos x="0" y="12"/>
                  </a:cxn>
                  <a:cxn ang="0">
                    <a:pos x="7" y="0"/>
                  </a:cxn>
                  <a:cxn ang="0">
                    <a:pos x="8" y="2"/>
                  </a:cxn>
                  <a:cxn ang="0">
                    <a:pos x="8" y="2"/>
                  </a:cxn>
                </a:cxnLst>
                <a:rect l="0" t="0" r="r" b="b"/>
                <a:pathLst>
                  <a:path w="11" h="19">
                    <a:moveTo>
                      <a:pt x="8" y="2"/>
                    </a:moveTo>
                    <a:lnTo>
                      <a:pt x="8" y="5"/>
                    </a:lnTo>
                    <a:lnTo>
                      <a:pt x="11" y="8"/>
                    </a:lnTo>
                    <a:lnTo>
                      <a:pt x="11" y="18"/>
                    </a:lnTo>
                    <a:lnTo>
                      <a:pt x="11" y="19"/>
                    </a:lnTo>
                    <a:lnTo>
                      <a:pt x="8" y="18"/>
                    </a:lnTo>
                    <a:lnTo>
                      <a:pt x="5" y="18"/>
                    </a:lnTo>
                    <a:lnTo>
                      <a:pt x="2" y="15"/>
                    </a:lnTo>
                    <a:lnTo>
                      <a:pt x="0" y="12"/>
                    </a:lnTo>
                    <a:lnTo>
                      <a:pt x="7" y="0"/>
                    </a:lnTo>
                    <a:lnTo>
                      <a:pt x="8" y="2"/>
                    </a:lnTo>
                    <a:lnTo>
                      <a:pt x="8"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51" name="Freeform 667"/>
              <p:cNvSpPr>
                <a:spLocks/>
              </p:cNvSpPr>
              <p:nvPr/>
            </p:nvSpPr>
            <p:spPr bwMode="auto">
              <a:xfrm>
                <a:off x="7122295" y="1686495"/>
                <a:ext cx="18433" cy="17240"/>
              </a:xfrm>
              <a:custGeom>
                <a:avLst/>
                <a:gdLst/>
                <a:ahLst/>
                <a:cxnLst>
                  <a:cxn ang="0">
                    <a:pos x="6" y="3"/>
                  </a:cxn>
                  <a:cxn ang="0">
                    <a:pos x="7" y="3"/>
                  </a:cxn>
                  <a:cxn ang="0">
                    <a:pos x="9" y="0"/>
                  </a:cxn>
                  <a:cxn ang="0">
                    <a:pos x="17" y="1"/>
                  </a:cxn>
                  <a:cxn ang="0">
                    <a:pos x="20" y="4"/>
                  </a:cxn>
                  <a:cxn ang="0">
                    <a:pos x="19" y="8"/>
                  </a:cxn>
                  <a:cxn ang="0">
                    <a:pos x="16" y="10"/>
                  </a:cxn>
                  <a:cxn ang="0">
                    <a:pos x="13" y="13"/>
                  </a:cxn>
                  <a:cxn ang="0">
                    <a:pos x="1" y="16"/>
                  </a:cxn>
                  <a:cxn ang="0">
                    <a:pos x="0" y="13"/>
                  </a:cxn>
                  <a:cxn ang="0">
                    <a:pos x="1" y="8"/>
                  </a:cxn>
                  <a:cxn ang="0">
                    <a:pos x="6" y="3"/>
                  </a:cxn>
                </a:cxnLst>
                <a:rect l="0" t="0" r="r" b="b"/>
                <a:pathLst>
                  <a:path w="20" h="16">
                    <a:moveTo>
                      <a:pt x="6" y="3"/>
                    </a:moveTo>
                    <a:lnTo>
                      <a:pt x="7" y="3"/>
                    </a:lnTo>
                    <a:lnTo>
                      <a:pt x="9" y="0"/>
                    </a:lnTo>
                    <a:lnTo>
                      <a:pt x="17" y="1"/>
                    </a:lnTo>
                    <a:lnTo>
                      <a:pt x="20" y="4"/>
                    </a:lnTo>
                    <a:lnTo>
                      <a:pt x="19" y="8"/>
                    </a:lnTo>
                    <a:lnTo>
                      <a:pt x="16" y="10"/>
                    </a:lnTo>
                    <a:lnTo>
                      <a:pt x="13" y="13"/>
                    </a:lnTo>
                    <a:lnTo>
                      <a:pt x="1" y="16"/>
                    </a:lnTo>
                    <a:lnTo>
                      <a:pt x="0" y="13"/>
                    </a:lnTo>
                    <a:lnTo>
                      <a:pt x="1" y="8"/>
                    </a:lnTo>
                    <a:lnTo>
                      <a:pt x="6"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52" name="Freeform 668"/>
              <p:cNvSpPr>
                <a:spLocks/>
              </p:cNvSpPr>
              <p:nvPr/>
            </p:nvSpPr>
            <p:spPr bwMode="auto">
              <a:xfrm>
                <a:off x="7122295" y="1686495"/>
                <a:ext cx="18433" cy="17240"/>
              </a:xfrm>
              <a:custGeom>
                <a:avLst/>
                <a:gdLst/>
                <a:ahLst/>
                <a:cxnLst>
                  <a:cxn ang="0">
                    <a:pos x="6" y="3"/>
                  </a:cxn>
                  <a:cxn ang="0">
                    <a:pos x="7" y="3"/>
                  </a:cxn>
                  <a:cxn ang="0">
                    <a:pos x="9" y="0"/>
                  </a:cxn>
                  <a:cxn ang="0">
                    <a:pos x="17" y="1"/>
                  </a:cxn>
                  <a:cxn ang="0">
                    <a:pos x="20" y="4"/>
                  </a:cxn>
                  <a:cxn ang="0">
                    <a:pos x="19" y="8"/>
                  </a:cxn>
                  <a:cxn ang="0">
                    <a:pos x="16" y="10"/>
                  </a:cxn>
                  <a:cxn ang="0">
                    <a:pos x="13" y="13"/>
                  </a:cxn>
                  <a:cxn ang="0">
                    <a:pos x="1" y="16"/>
                  </a:cxn>
                  <a:cxn ang="0">
                    <a:pos x="0" y="13"/>
                  </a:cxn>
                  <a:cxn ang="0">
                    <a:pos x="1" y="8"/>
                  </a:cxn>
                  <a:cxn ang="0">
                    <a:pos x="6" y="3"/>
                  </a:cxn>
                </a:cxnLst>
                <a:rect l="0" t="0" r="r" b="b"/>
                <a:pathLst>
                  <a:path w="20" h="16">
                    <a:moveTo>
                      <a:pt x="6" y="3"/>
                    </a:moveTo>
                    <a:lnTo>
                      <a:pt x="7" y="3"/>
                    </a:lnTo>
                    <a:lnTo>
                      <a:pt x="9" y="0"/>
                    </a:lnTo>
                    <a:lnTo>
                      <a:pt x="17" y="1"/>
                    </a:lnTo>
                    <a:lnTo>
                      <a:pt x="20" y="4"/>
                    </a:lnTo>
                    <a:lnTo>
                      <a:pt x="19" y="8"/>
                    </a:lnTo>
                    <a:lnTo>
                      <a:pt x="16" y="10"/>
                    </a:lnTo>
                    <a:lnTo>
                      <a:pt x="13" y="13"/>
                    </a:lnTo>
                    <a:lnTo>
                      <a:pt x="1" y="16"/>
                    </a:lnTo>
                    <a:lnTo>
                      <a:pt x="0" y="13"/>
                    </a:lnTo>
                    <a:lnTo>
                      <a:pt x="1" y="8"/>
                    </a:lnTo>
                    <a:lnTo>
                      <a:pt x="6"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53" name="Freeform 669"/>
              <p:cNvSpPr>
                <a:spLocks/>
              </p:cNvSpPr>
              <p:nvPr/>
            </p:nvSpPr>
            <p:spPr bwMode="auto">
              <a:xfrm>
                <a:off x="7181986" y="1527275"/>
                <a:ext cx="9655" cy="19269"/>
              </a:xfrm>
              <a:custGeom>
                <a:avLst/>
                <a:gdLst/>
                <a:ahLst/>
                <a:cxnLst>
                  <a:cxn ang="0">
                    <a:pos x="10" y="6"/>
                  </a:cxn>
                  <a:cxn ang="0">
                    <a:pos x="10" y="6"/>
                  </a:cxn>
                  <a:cxn ang="0">
                    <a:pos x="10" y="10"/>
                  </a:cxn>
                  <a:cxn ang="0">
                    <a:pos x="9" y="9"/>
                  </a:cxn>
                  <a:cxn ang="0">
                    <a:pos x="7" y="12"/>
                  </a:cxn>
                  <a:cxn ang="0">
                    <a:pos x="7" y="18"/>
                  </a:cxn>
                  <a:cxn ang="0">
                    <a:pos x="6" y="15"/>
                  </a:cxn>
                  <a:cxn ang="0">
                    <a:pos x="6" y="9"/>
                  </a:cxn>
                  <a:cxn ang="0">
                    <a:pos x="5" y="10"/>
                  </a:cxn>
                  <a:cxn ang="0">
                    <a:pos x="3" y="9"/>
                  </a:cxn>
                  <a:cxn ang="0">
                    <a:pos x="2" y="7"/>
                  </a:cxn>
                  <a:cxn ang="0">
                    <a:pos x="3" y="18"/>
                  </a:cxn>
                  <a:cxn ang="0">
                    <a:pos x="0" y="7"/>
                  </a:cxn>
                  <a:cxn ang="0">
                    <a:pos x="0" y="5"/>
                  </a:cxn>
                  <a:cxn ang="0">
                    <a:pos x="2" y="3"/>
                  </a:cxn>
                  <a:cxn ang="0">
                    <a:pos x="3" y="5"/>
                  </a:cxn>
                  <a:cxn ang="0">
                    <a:pos x="3" y="6"/>
                  </a:cxn>
                  <a:cxn ang="0">
                    <a:pos x="7" y="2"/>
                  </a:cxn>
                  <a:cxn ang="0">
                    <a:pos x="5" y="2"/>
                  </a:cxn>
                  <a:cxn ang="0">
                    <a:pos x="5" y="0"/>
                  </a:cxn>
                  <a:cxn ang="0">
                    <a:pos x="7" y="0"/>
                  </a:cxn>
                  <a:cxn ang="0">
                    <a:pos x="10" y="2"/>
                  </a:cxn>
                  <a:cxn ang="0">
                    <a:pos x="9" y="3"/>
                  </a:cxn>
                  <a:cxn ang="0">
                    <a:pos x="10" y="6"/>
                  </a:cxn>
                </a:cxnLst>
                <a:rect l="0" t="0" r="r" b="b"/>
                <a:pathLst>
                  <a:path w="10" h="18">
                    <a:moveTo>
                      <a:pt x="10" y="6"/>
                    </a:moveTo>
                    <a:lnTo>
                      <a:pt x="10" y="6"/>
                    </a:lnTo>
                    <a:lnTo>
                      <a:pt x="10" y="10"/>
                    </a:lnTo>
                    <a:lnTo>
                      <a:pt x="9" y="9"/>
                    </a:lnTo>
                    <a:lnTo>
                      <a:pt x="7" y="12"/>
                    </a:lnTo>
                    <a:lnTo>
                      <a:pt x="7" y="18"/>
                    </a:lnTo>
                    <a:lnTo>
                      <a:pt x="6" y="15"/>
                    </a:lnTo>
                    <a:lnTo>
                      <a:pt x="6" y="9"/>
                    </a:lnTo>
                    <a:lnTo>
                      <a:pt x="5" y="10"/>
                    </a:lnTo>
                    <a:lnTo>
                      <a:pt x="3" y="9"/>
                    </a:lnTo>
                    <a:lnTo>
                      <a:pt x="2" y="7"/>
                    </a:lnTo>
                    <a:lnTo>
                      <a:pt x="3" y="18"/>
                    </a:lnTo>
                    <a:lnTo>
                      <a:pt x="0" y="7"/>
                    </a:lnTo>
                    <a:lnTo>
                      <a:pt x="0" y="5"/>
                    </a:lnTo>
                    <a:lnTo>
                      <a:pt x="2" y="3"/>
                    </a:lnTo>
                    <a:lnTo>
                      <a:pt x="3" y="5"/>
                    </a:lnTo>
                    <a:lnTo>
                      <a:pt x="3" y="6"/>
                    </a:lnTo>
                    <a:lnTo>
                      <a:pt x="7" y="2"/>
                    </a:lnTo>
                    <a:lnTo>
                      <a:pt x="5" y="2"/>
                    </a:lnTo>
                    <a:lnTo>
                      <a:pt x="5" y="0"/>
                    </a:lnTo>
                    <a:lnTo>
                      <a:pt x="7" y="0"/>
                    </a:lnTo>
                    <a:lnTo>
                      <a:pt x="10" y="2"/>
                    </a:lnTo>
                    <a:lnTo>
                      <a:pt x="9" y="3"/>
                    </a:lnTo>
                    <a:lnTo>
                      <a:pt x="10" y="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54" name="Freeform 670"/>
              <p:cNvSpPr>
                <a:spLocks/>
              </p:cNvSpPr>
              <p:nvPr/>
            </p:nvSpPr>
            <p:spPr bwMode="auto">
              <a:xfrm>
                <a:off x="7181986" y="1527275"/>
                <a:ext cx="9655" cy="19269"/>
              </a:xfrm>
              <a:custGeom>
                <a:avLst/>
                <a:gdLst/>
                <a:ahLst/>
                <a:cxnLst>
                  <a:cxn ang="0">
                    <a:pos x="10" y="6"/>
                  </a:cxn>
                  <a:cxn ang="0">
                    <a:pos x="10" y="6"/>
                  </a:cxn>
                  <a:cxn ang="0">
                    <a:pos x="10" y="10"/>
                  </a:cxn>
                  <a:cxn ang="0">
                    <a:pos x="9" y="9"/>
                  </a:cxn>
                  <a:cxn ang="0">
                    <a:pos x="7" y="12"/>
                  </a:cxn>
                  <a:cxn ang="0">
                    <a:pos x="7" y="18"/>
                  </a:cxn>
                  <a:cxn ang="0">
                    <a:pos x="6" y="15"/>
                  </a:cxn>
                  <a:cxn ang="0">
                    <a:pos x="6" y="9"/>
                  </a:cxn>
                  <a:cxn ang="0">
                    <a:pos x="5" y="10"/>
                  </a:cxn>
                  <a:cxn ang="0">
                    <a:pos x="3" y="9"/>
                  </a:cxn>
                  <a:cxn ang="0">
                    <a:pos x="2" y="7"/>
                  </a:cxn>
                  <a:cxn ang="0">
                    <a:pos x="3" y="18"/>
                  </a:cxn>
                  <a:cxn ang="0">
                    <a:pos x="0" y="7"/>
                  </a:cxn>
                  <a:cxn ang="0">
                    <a:pos x="0" y="5"/>
                  </a:cxn>
                  <a:cxn ang="0">
                    <a:pos x="2" y="3"/>
                  </a:cxn>
                  <a:cxn ang="0">
                    <a:pos x="3" y="5"/>
                  </a:cxn>
                  <a:cxn ang="0">
                    <a:pos x="3" y="6"/>
                  </a:cxn>
                  <a:cxn ang="0">
                    <a:pos x="7" y="2"/>
                  </a:cxn>
                  <a:cxn ang="0">
                    <a:pos x="5" y="2"/>
                  </a:cxn>
                  <a:cxn ang="0">
                    <a:pos x="5" y="0"/>
                  </a:cxn>
                  <a:cxn ang="0">
                    <a:pos x="7" y="0"/>
                  </a:cxn>
                  <a:cxn ang="0">
                    <a:pos x="10" y="2"/>
                  </a:cxn>
                  <a:cxn ang="0">
                    <a:pos x="9" y="3"/>
                  </a:cxn>
                  <a:cxn ang="0">
                    <a:pos x="10" y="6"/>
                  </a:cxn>
                </a:cxnLst>
                <a:rect l="0" t="0" r="r" b="b"/>
                <a:pathLst>
                  <a:path w="10" h="18">
                    <a:moveTo>
                      <a:pt x="10" y="6"/>
                    </a:moveTo>
                    <a:lnTo>
                      <a:pt x="10" y="6"/>
                    </a:lnTo>
                    <a:lnTo>
                      <a:pt x="10" y="10"/>
                    </a:lnTo>
                    <a:lnTo>
                      <a:pt x="9" y="9"/>
                    </a:lnTo>
                    <a:lnTo>
                      <a:pt x="7" y="12"/>
                    </a:lnTo>
                    <a:lnTo>
                      <a:pt x="7" y="18"/>
                    </a:lnTo>
                    <a:lnTo>
                      <a:pt x="6" y="15"/>
                    </a:lnTo>
                    <a:lnTo>
                      <a:pt x="6" y="9"/>
                    </a:lnTo>
                    <a:lnTo>
                      <a:pt x="5" y="10"/>
                    </a:lnTo>
                    <a:lnTo>
                      <a:pt x="3" y="9"/>
                    </a:lnTo>
                    <a:lnTo>
                      <a:pt x="2" y="7"/>
                    </a:lnTo>
                    <a:lnTo>
                      <a:pt x="3" y="18"/>
                    </a:lnTo>
                    <a:lnTo>
                      <a:pt x="0" y="7"/>
                    </a:lnTo>
                    <a:lnTo>
                      <a:pt x="0" y="5"/>
                    </a:lnTo>
                    <a:lnTo>
                      <a:pt x="2" y="3"/>
                    </a:lnTo>
                    <a:lnTo>
                      <a:pt x="3" y="5"/>
                    </a:lnTo>
                    <a:lnTo>
                      <a:pt x="3" y="6"/>
                    </a:lnTo>
                    <a:lnTo>
                      <a:pt x="7" y="2"/>
                    </a:lnTo>
                    <a:lnTo>
                      <a:pt x="5" y="2"/>
                    </a:lnTo>
                    <a:lnTo>
                      <a:pt x="5" y="0"/>
                    </a:lnTo>
                    <a:lnTo>
                      <a:pt x="7" y="0"/>
                    </a:lnTo>
                    <a:lnTo>
                      <a:pt x="10" y="2"/>
                    </a:lnTo>
                    <a:lnTo>
                      <a:pt x="9" y="3"/>
                    </a:lnTo>
                    <a:lnTo>
                      <a:pt x="10" y="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55" name="Freeform 671"/>
              <p:cNvSpPr>
                <a:spLocks/>
              </p:cNvSpPr>
              <p:nvPr/>
            </p:nvSpPr>
            <p:spPr bwMode="auto">
              <a:xfrm>
                <a:off x="7036271" y="1933943"/>
                <a:ext cx="16678" cy="11155"/>
              </a:xfrm>
              <a:custGeom>
                <a:avLst/>
                <a:gdLst/>
                <a:ahLst/>
                <a:cxnLst>
                  <a:cxn ang="0">
                    <a:pos x="0" y="7"/>
                  </a:cxn>
                  <a:cxn ang="0">
                    <a:pos x="5" y="5"/>
                  </a:cxn>
                  <a:cxn ang="0">
                    <a:pos x="10" y="1"/>
                  </a:cxn>
                  <a:cxn ang="0">
                    <a:pos x="15" y="0"/>
                  </a:cxn>
                  <a:cxn ang="0">
                    <a:pos x="17" y="1"/>
                  </a:cxn>
                  <a:cxn ang="0">
                    <a:pos x="18" y="5"/>
                  </a:cxn>
                  <a:cxn ang="0">
                    <a:pos x="14" y="5"/>
                  </a:cxn>
                  <a:cxn ang="0">
                    <a:pos x="7" y="11"/>
                  </a:cxn>
                  <a:cxn ang="0">
                    <a:pos x="4" y="11"/>
                  </a:cxn>
                  <a:cxn ang="0">
                    <a:pos x="2" y="10"/>
                  </a:cxn>
                  <a:cxn ang="0">
                    <a:pos x="0" y="7"/>
                  </a:cxn>
                </a:cxnLst>
                <a:rect l="0" t="0" r="r" b="b"/>
                <a:pathLst>
                  <a:path w="18" h="11">
                    <a:moveTo>
                      <a:pt x="0" y="7"/>
                    </a:moveTo>
                    <a:lnTo>
                      <a:pt x="5" y="5"/>
                    </a:lnTo>
                    <a:lnTo>
                      <a:pt x="10" y="1"/>
                    </a:lnTo>
                    <a:lnTo>
                      <a:pt x="15" y="0"/>
                    </a:lnTo>
                    <a:lnTo>
                      <a:pt x="17" y="1"/>
                    </a:lnTo>
                    <a:lnTo>
                      <a:pt x="18" y="5"/>
                    </a:lnTo>
                    <a:lnTo>
                      <a:pt x="14" y="5"/>
                    </a:lnTo>
                    <a:lnTo>
                      <a:pt x="7" y="11"/>
                    </a:lnTo>
                    <a:lnTo>
                      <a:pt x="4" y="11"/>
                    </a:lnTo>
                    <a:lnTo>
                      <a:pt x="2" y="10"/>
                    </a:lnTo>
                    <a:lnTo>
                      <a:pt x="0" y="7"/>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56" name="Freeform 672"/>
              <p:cNvSpPr>
                <a:spLocks/>
              </p:cNvSpPr>
              <p:nvPr/>
            </p:nvSpPr>
            <p:spPr bwMode="auto">
              <a:xfrm>
                <a:off x="7036271" y="1933943"/>
                <a:ext cx="16678" cy="11155"/>
              </a:xfrm>
              <a:custGeom>
                <a:avLst/>
                <a:gdLst/>
                <a:ahLst/>
                <a:cxnLst>
                  <a:cxn ang="0">
                    <a:pos x="0" y="7"/>
                  </a:cxn>
                  <a:cxn ang="0">
                    <a:pos x="5" y="5"/>
                  </a:cxn>
                  <a:cxn ang="0">
                    <a:pos x="10" y="1"/>
                  </a:cxn>
                  <a:cxn ang="0">
                    <a:pos x="15" y="0"/>
                  </a:cxn>
                  <a:cxn ang="0">
                    <a:pos x="17" y="1"/>
                  </a:cxn>
                  <a:cxn ang="0">
                    <a:pos x="18" y="5"/>
                  </a:cxn>
                  <a:cxn ang="0">
                    <a:pos x="14" y="5"/>
                  </a:cxn>
                  <a:cxn ang="0">
                    <a:pos x="7" y="11"/>
                  </a:cxn>
                  <a:cxn ang="0">
                    <a:pos x="4" y="11"/>
                  </a:cxn>
                  <a:cxn ang="0">
                    <a:pos x="2" y="10"/>
                  </a:cxn>
                  <a:cxn ang="0">
                    <a:pos x="0" y="7"/>
                  </a:cxn>
                </a:cxnLst>
                <a:rect l="0" t="0" r="r" b="b"/>
                <a:pathLst>
                  <a:path w="18" h="11">
                    <a:moveTo>
                      <a:pt x="0" y="7"/>
                    </a:moveTo>
                    <a:lnTo>
                      <a:pt x="5" y="5"/>
                    </a:lnTo>
                    <a:lnTo>
                      <a:pt x="10" y="1"/>
                    </a:lnTo>
                    <a:lnTo>
                      <a:pt x="15" y="0"/>
                    </a:lnTo>
                    <a:lnTo>
                      <a:pt x="17" y="1"/>
                    </a:lnTo>
                    <a:lnTo>
                      <a:pt x="18" y="5"/>
                    </a:lnTo>
                    <a:lnTo>
                      <a:pt x="14" y="5"/>
                    </a:lnTo>
                    <a:lnTo>
                      <a:pt x="7" y="11"/>
                    </a:lnTo>
                    <a:lnTo>
                      <a:pt x="4" y="11"/>
                    </a:lnTo>
                    <a:lnTo>
                      <a:pt x="2" y="10"/>
                    </a:lnTo>
                    <a:lnTo>
                      <a:pt x="0" y="7"/>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57" name="Freeform 673"/>
              <p:cNvSpPr>
                <a:spLocks/>
              </p:cNvSpPr>
              <p:nvPr/>
            </p:nvSpPr>
            <p:spPr bwMode="auto">
              <a:xfrm>
                <a:off x="7193397" y="1783851"/>
                <a:ext cx="6145" cy="14197"/>
              </a:xfrm>
              <a:custGeom>
                <a:avLst/>
                <a:gdLst/>
                <a:ahLst/>
                <a:cxnLst>
                  <a:cxn ang="0">
                    <a:pos x="0" y="4"/>
                  </a:cxn>
                  <a:cxn ang="0">
                    <a:pos x="0" y="1"/>
                  </a:cxn>
                  <a:cxn ang="0">
                    <a:pos x="1" y="0"/>
                  </a:cxn>
                  <a:cxn ang="0">
                    <a:pos x="3" y="0"/>
                  </a:cxn>
                  <a:cxn ang="0">
                    <a:pos x="7" y="11"/>
                  </a:cxn>
                  <a:cxn ang="0">
                    <a:pos x="4" y="14"/>
                  </a:cxn>
                  <a:cxn ang="0">
                    <a:pos x="3" y="13"/>
                  </a:cxn>
                  <a:cxn ang="0">
                    <a:pos x="1" y="11"/>
                  </a:cxn>
                  <a:cxn ang="0">
                    <a:pos x="0" y="6"/>
                  </a:cxn>
                  <a:cxn ang="0">
                    <a:pos x="0" y="4"/>
                  </a:cxn>
                </a:cxnLst>
                <a:rect l="0" t="0" r="r" b="b"/>
                <a:pathLst>
                  <a:path w="7" h="14">
                    <a:moveTo>
                      <a:pt x="0" y="4"/>
                    </a:moveTo>
                    <a:lnTo>
                      <a:pt x="0" y="1"/>
                    </a:lnTo>
                    <a:lnTo>
                      <a:pt x="1" y="0"/>
                    </a:lnTo>
                    <a:lnTo>
                      <a:pt x="3" y="0"/>
                    </a:lnTo>
                    <a:lnTo>
                      <a:pt x="7" y="11"/>
                    </a:lnTo>
                    <a:lnTo>
                      <a:pt x="4" y="14"/>
                    </a:lnTo>
                    <a:lnTo>
                      <a:pt x="3" y="13"/>
                    </a:lnTo>
                    <a:lnTo>
                      <a:pt x="1" y="11"/>
                    </a:lnTo>
                    <a:lnTo>
                      <a:pt x="0" y="6"/>
                    </a:lnTo>
                    <a:lnTo>
                      <a:pt x="0" y="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58" name="Freeform 674"/>
              <p:cNvSpPr>
                <a:spLocks/>
              </p:cNvSpPr>
              <p:nvPr/>
            </p:nvSpPr>
            <p:spPr bwMode="auto">
              <a:xfrm>
                <a:off x="7193397" y="1783851"/>
                <a:ext cx="6145" cy="14197"/>
              </a:xfrm>
              <a:custGeom>
                <a:avLst/>
                <a:gdLst/>
                <a:ahLst/>
                <a:cxnLst>
                  <a:cxn ang="0">
                    <a:pos x="0" y="4"/>
                  </a:cxn>
                  <a:cxn ang="0">
                    <a:pos x="0" y="1"/>
                  </a:cxn>
                  <a:cxn ang="0">
                    <a:pos x="1" y="0"/>
                  </a:cxn>
                  <a:cxn ang="0">
                    <a:pos x="3" y="0"/>
                  </a:cxn>
                  <a:cxn ang="0">
                    <a:pos x="7" y="11"/>
                  </a:cxn>
                  <a:cxn ang="0">
                    <a:pos x="4" y="14"/>
                  </a:cxn>
                  <a:cxn ang="0">
                    <a:pos x="3" y="13"/>
                  </a:cxn>
                  <a:cxn ang="0">
                    <a:pos x="1" y="11"/>
                  </a:cxn>
                  <a:cxn ang="0">
                    <a:pos x="0" y="6"/>
                  </a:cxn>
                  <a:cxn ang="0">
                    <a:pos x="0" y="4"/>
                  </a:cxn>
                </a:cxnLst>
                <a:rect l="0" t="0" r="r" b="b"/>
                <a:pathLst>
                  <a:path w="7" h="14">
                    <a:moveTo>
                      <a:pt x="0" y="4"/>
                    </a:moveTo>
                    <a:lnTo>
                      <a:pt x="0" y="1"/>
                    </a:lnTo>
                    <a:lnTo>
                      <a:pt x="1" y="0"/>
                    </a:lnTo>
                    <a:lnTo>
                      <a:pt x="3" y="0"/>
                    </a:lnTo>
                    <a:lnTo>
                      <a:pt x="7" y="11"/>
                    </a:lnTo>
                    <a:lnTo>
                      <a:pt x="4" y="14"/>
                    </a:lnTo>
                    <a:lnTo>
                      <a:pt x="3" y="13"/>
                    </a:lnTo>
                    <a:lnTo>
                      <a:pt x="1" y="11"/>
                    </a:lnTo>
                    <a:lnTo>
                      <a:pt x="0" y="6"/>
                    </a:lnTo>
                    <a:lnTo>
                      <a:pt x="0" y="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59" name="Freeform 675"/>
              <p:cNvSpPr>
                <a:spLocks/>
              </p:cNvSpPr>
              <p:nvPr/>
            </p:nvSpPr>
            <p:spPr bwMode="auto">
              <a:xfrm>
                <a:off x="5985544" y="2292946"/>
                <a:ext cx="54424" cy="92286"/>
              </a:xfrm>
              <a:custGeom>
                <a:avLst/>
                <a:gdLst/>
                <a:ahLst/>
                <a:cxnLst>
                  <a:cxn ang="0">
                    <a:pos x="58" y="30"/>
                  </a:cxn>
                  <a:cxn ang="0">
                    <a:pos x="54" y="19"/>
                  </a:cxn>
                  <a:cxn ang="0">
                    <a:pos x="44" y="25"/>
                  </a:cxn>
                  <a:cxn ang="0">
                    <a:pos x="38" y="27"/>
                  </a:cxn>
                  <a:cxn ang="0">
                    <a:pos x="32" y="19"/>
                  </a:cxn>
                  <a:cxn ang="0">
                    <a:pos x="35" y="14"/>
                  </a:cxn>
                  <a:cxn ang="0">
                    <a:pos x="39" y="11"/>
                  </a:cxn>
                  <a:cxn ang="0">
                    <a:pos x="39" y="0"/>
                  </a:cxn>
                  <a:cxn ang="0">
                    <a:pos x="35" y="2"/>
                  </a:cxn>
                  <a:cxn ang="0">
                    <a:pos x="29" y="5"/>
                  </a:cxn>
                  <a:cxn ang="0">
                    <a:pos x="28" y="8"/>
                  </a:cxn>
                  <a:cxn ang="0">
                    <a:pos x="28" y="9"/>
                  </a:cxn>
                  <a:cxn ang="0">
                    <a:pos x="23" y="15"/>
                  </a:cxn>
                  <a:cxn ang="0">
                    <a:pos x="26" y="16"/>
                  </a:cxn>
                  <a:cxn ang="0">
                    <a:pos x="30" y="15"/>
                  </a:cxn>
                  <a:cxn ang="0">
                    <a:pos x="30" y="19"/>
                  </a:cxn>
                  <a:cxn ang="0">
                    <a:pos x="25" y="22"/>
                  </a:cxn>
                  <a:cxn ang="0">
                    <a:pos x="16" y="25"/>
                  </a:cxn>
                  <a:cxn ang="0">
                    <a:pos x="9" y="22"/>
                  </a:cxn>
                  <a:cxn ang="0">
                    <a:pos x="7" y="31"/>
                  </a:cxn>
                  <a:cxn ang="0">
                    <a:pos x="3" y="31"/>
                  </a:cxn>
                  <a:cxn ang="0">
                    <a:pos x="10" y="34"/>
                  </a:cxn>
                  <a:cxn ang="0">
                    <a:pos x="7" y="38"/>
                  </a:cxn>
                  <a:cxn ang="0">
                    <a:pos x="4" y="41"/>
                  </a:cxn>
                  <a:cxn ang="0">
                    <a:pos x="6" y="45"/>
                  </a:cxn>
                  <a:cxn ang="0">
                    <a:pos x="7" y="47"/>
                  </a:cxn>
                  <a:cxn ang="0">
                    <a:pos x="10" y="48"/>
                  </a:cxn>
                  <a:cxn ang="0">
                    <a:pos x="20" y="50"/>
                  </a:cxn>
                  <a:cxn ang="0">
                    <a:pos x="16" y="53"/>
                  </a:cxn>
                  <a:cxn ang="0">
                    <a:pos x="13" y="59"/>
                  </a:cxn>
                  <a:cxn ang="0">
                    <a:pos x="9" y="64"/>
                  </a:cxn>
                  <a:cxn ang="0">
                    <a:pos x="20" y="59"/>
                  </a:cxn>
                  <a:cxn ang="0">
                    <a:pos x="23" y="63"/>
                  </a:cxn>
                  <a:cxn ang="0">
                    <a:pos x="10" y="66"/>
                  </a:cxn>
                  <a:cxn ang="0">
                    <a:pos x="7" y="72"/>
                  </a:cxn>
                  <a:cxn ang="0">
                    <a:pos x="4" y="72"/>
                  </a:cxn>
                  <a:cxn ang="0">
                    <a:pos x="1" y="72"/>
                  </a:cxn>
                  <a:cxn ang="0">
                    <a:pos x="0" y="76"/>
                  </a:cxn>
                  <a:cxn ang="0">
                    <a:pos x="6" y="76"/>
                  </a:cxn>
                  <a:cxn ang="0">
                    <a:pos x="1" y="80"/>
                  </a:cxn>
                  <a:cxn ang="0">
                    <a:pos x="3" y="82"/>
                  </a:cxn>
                  <a:cxn ang="0">
                    <a:pos x="3" y="83"/>
                  </a:cxn>
                  <a:cxn ang="0">
                    <a:pos x="10" y="83"/>
                  </a:cxn>
                  <a:cxn ang="0">
                    <a:pos x="4" y="86"/>
                  </a:cxn>
                  <a:cxn ang="0">
                    <a:pos x="12" y="85"/>
                  </a:cxn>
                  <a:cxn ang="0">
                    <a:pos x="10" y="88"/>
                  </a:cxn>
                  <a:cxn ang="0">
                    <a:pos x="9" y="89"/>
                  </a:cxn>
                  <a:cxn ang="0">
                    <a:pos x="12" y="89"/>
                  </a:cxn>
                  <a:cxn ang="0">
                    <a:pos x="14" y="89"/>
                  </a:cxn>
                  <a:cxn ang="0">
                    <a:pos x="17" y="88"/>
                  </a:cxn>
                  <a:cxn ang="0">
                    <a:pos x="26" y="86"/>
                  </a:cxn>
                  <a:cxn ang="0">
                    <a:pos x="28" y="80"/>
                  </a:cxn>
                  <a:cxn ang="0">
                    <a:pos x="29" y="82"/>
                  </a:cxn>
                  <a:cxn ang="0">
                    <a:pos x="33" y="80"/>
                  </a:cxn>
                  <a:cxn ang="0">
                    <a:pos x="38" y="79"/>
                  </a:cxn>
                  <a:cxn ang="0">
                    <a:pos x="39" y="76"/>
                  </a:cxn>
                  <a:cxn ang="0">
                    <a:pos x="52" y="73"/>
                  </a:cxn>
                  <a:cxn ang="0">
                    <a:pos x="55" y="75"/>
                  </a:cxn>
                  <a:cxn ang="0">
                    <a:pos x="55" y="70"/>
                  </a:cxn>
                  <a:cxn ang="0">
                    <a:pos x="58" y="47"/>
                  </a:cxn>
                  <a:cxn ang="0">
                    <a:pos x="59" y="41"/>
                  </a:cxn>
                  <a:cxn ang="0">
                    <a:pos x="57" y="31"/>
                  </a:cxn>
                </a:cxnLst>
                <a:rect l="0" t="0" r="r" b="b"/>
                <a:pathLst>
                  <a:path w="59" h="89">
                    <a:moveTo>
                      <a:pt x="58" y="31"/>
                    </a:moveTo>
                    <a:lnTo>
                      <a:pt x="58" y="30"/>
                    </a:lnTo>
                    <a:lnTo>
                      <a:pt x="57" y="24"/>
                    </a:lnTo>
                    <a:lnTo>
                      <a:pt x="54" y="19"/>
                    </a:lnTo>
                    <a:lnTo>
                      <a:pt x="46" y="22"/>
                    </a:lnTo>
                    <a:lnTo>
                      <a:pt x="44" y="25"/>
                    </a:lnTo>
                    <a:lnTo>
                      <a:pt x="41" y="28"/>
                    </a:lnTo>
                    <a:lnTo>
                      <a:pt x="38" y="27"/>
                    </a:lnTo>
                    <a:lnTo>
                      <a:pt x="36" y="21"/>
                    </a:lnTo>
                    <a:lnTo>
                      <a:pt x="32" y="19"/>
                    </a:lnTo>
                    <a:lnTo>
                      <a:pt x="35" y="16"/>
                    </a:lnTo>
                    <a:lnTo>
                      <a:pt x="35" y="14"/>
                    </a:lnTo>
                    <a:lnTo>
                      <a:pt x="38" y="14"/>
                    </a:lnTo>
                    <a:lnTo>
                      <a:pt x="39" y="11"/>
                    </a:lnTo>
                    <a:lnTo>
                      <a:pt x="39" y="0"/>
                    </a:lnTo>
                    <a:lnTo>
                      <a:pt x="39" y="0"/>
                    </a:lnTo>
                    <a:lnTo>
                      <a:pt x="38" y="0"/>
                    </a:lnTo>
                    <a:lnTo>
                      <a:pt x="35" y="2"/>
                    </a:lnTo>
                    <a:lnTo>
                      <a:pt x="33" y="0"/>
                    </a:lnTo>
                    <a:lnTo>
                      <a:pt x="29" y="5"/>
                    </a:lnTo>
                    <a:lnTo>
                      <a:pt x="28" y="5"/>
                    </a:lnTo>
                    <a:lnTo>
                      <a:pt x="28" y="8"/>
                    </a:lnTo>
                    <a:lnTo>
                      <a:pt x="28" y="9"/>
                    </a:lnTo>
                    <a:lnTo>
                      <a:pt x="28" y="9"/>
                    </a:lnTo>
                    <a:lnTo>
                      <a:pt x="23" y="14"/>
                    </a:lnTo>
                    <a:lnTo>
                      <a:pt x="23" y="15"/>
                    </a:lnTo>
                    <a:lnTo>
                      <a:pt x="25" y="15"/>
                    </a:lnTo>
                    <a:lnTo>
                      <a:pt x="26" y="16"/>
                    </a:lnTo>
                    <a:lnTo>
                      <a:pt x="28" y="15"/>
                    </a:lnTo>
                    <a:lnTo>
                      <a:pt x="30" y="15"/>
                    </a:lnTo>
                    <a:lnTo>
                      <a:pt x="30" y="16"/>
                    </a:lnTo>
                    <a:lnTo>
                      <a:pt x="30" y="19"/>
                    </a:lnTo>
                    <a:lnTo>
                      <a:pt x="25" y="22"/>
                    </a:lnTo>
                    <a:lnTo>
                      <a:pt x="25" y="22"/>
                    </a:lnTo>
                    <a:lnTo>
                      <a:pt x="25" y="25"/>
                    </a:lnTo>
                    <a:lnTo>
                      <a:pt x="16" y="25"/>
                    </a:lnTo>
                    <a:lnTo>
                      <a:pt x="16" y="24"/>
                    </a:lnTo>
                    <a:lnTo>
                      <a:pt x="9" y="22"/>
                    </a:lnTo>
                    <a:lnTo>
                      <a:pt x="6" y="27"/>
                    </a:lnTo>
                    <a:lnTo>
                      <a:pt x="7" y="31"/>
                    </a:lnTo>
                    <a:lnTo>
                      <a:pt x="6" y="31"/>
                    </a:lnTo>
                    <a:lnTo>
                      <a:pt x="3" y="31"/>
                    </a:lnTo>
                    <a:lnTo>
                      <a:pt x="6" y="34"/>
                    </a:lnTo>
                    <a:lnTo>
                      <a:pt x="10" y="34"/>
                    </a:lnTo>
                    <a:lnTo>
                      <a:pt x="12" y="35"/>
                    </a:lnTo>
                    <a:lnTo>
                      <a:pt x="7" y="38"/>
                    </a:lnTo>
                    <a:lnTo>
                      <a:pt x="6" y="40"/>
                    </a:lnTo>
                    <a:lnTo>
                      <a:pt x="4" y="41"/>
                    </a:lnTo>
                    <a:lnTo>
                      <a:pt x="4" y="43"/>
                    </a:lnTo>
                    <a:lnTo>
                      <a:pt x="6" y="45"/>
                    </a:lnTo>
                    <a:lnTo>
                      <a:pt x="7" y="45"/>
                    </a:lnTo>
                    <a:lnTo>
                      <a:pt x="7" y="47"/>
                    </a:lnTo>
                    <a:lnTo>
                      <a:pt x="10" y="47"/>
                    </a:lnTo>
                    <a:lnTo>
                      <a:pt x="10" y="48"/>
                    </a:lnTo>
                    <a:lnTo>
                      <a:pt x="19" y="48"/>
                    </a:lnTo>
                    <a:lnTo>
                      <a:pt x="20" y="50"/>
                    </a:lnTo>
                    <a:lnTo>
                      <a:pt x="19" y="51"/>
                    </a:lnTo>
                    <a:lnTo>
                      <a:pt x="16" y="53"/>
                    </a:lnTo>
                    <a:lnTo>
                      <a:pt x="13" y="54"/>
                    </a:lnTo>
                    <a:lnTo>
                      <a:pt x="13" y="59"/>
                    </a:lnTo>
                    <a:lnTo>
                      <a:pt x="12" y="60"/>
                    </a:lnTo>
                    <a:lnTo>
                      <a:pt x="9" y="64"/>
                    </a:lnTo>
                    <a:lnTo>
                      <a:pt x="16" y="63"/>
                    </a:lnTo>
                    <a:lnTo>
                      <a:pt x="20" y="59"/>
                    </a:lnTo>
                    <a:lnTo>
                      <a:pt x="20" y="61"/>
                    </a:lnTo>
                    <a:lnTo>
                      <a:pt x="23" y="63"/>
                    </a:lnTo>
                    <a:lnTo>
                      <a:pt x="23" y="63"/>
                    </a:lnTo>
                    <a:lnTo>
                      <a:pt x="10" y="66"/>
                    </a:lnTo>
                    <a:lnTo>
                      <a:pt x="7" y="70"/>
                    </a:lnTo>
                    <a:lnTo>
                      <a:pt x="7" y="72"/>
                    </a:lnTo>
                    <a:lnTo>
                      <a:pt x="7" y="72"/>
                    </a:lnTo>
                    <a:lnTo>
                      <a:pt x="4" y="72"/>
                    </a:lnTo>
                    <a:lnTo>
                      <a:pt x="3" y="73"/>
                    </a:lnTo>
                    <a:lnTo>
                      <a:pt x="1" y="72"/>
                    </a:lnTo>
                    <a:lnTo>
                      <a:pt x="0" y="73"/>
                    </a:lnTo>
                    <a:lnTo>
                      <a:pt x="0" y="76"/>
                    </a:lnTo>
                    <a:lnTo>
                      <a:pt x="6" y="75"/>
                    </a:lnTo>
                    <a:lnTo>
                      <a:pt x="6" y="76"/>
                    </a:lnTo>
                    <a:lnTo>
                      <a:pt x="3" y="77"/>
                    </a:lnTo>
                    <a:lnTo>
                      <a:pt x="1" y="80"/>
                    </a:lnTo>
                    <a:lnTo>
                      <a:pt x="0" y="82"/>
                    </a:lnTo>
                    <a:lnTo>
                      <a:pt x="3" y="82"/>
                    </a:lnTo>
                    <a:lnTo>
                      <a:pt x="3" y="83"/>
                    </a:lnTo>
                    <a:lnTo>
                      <a:pt x="3" y="83"/>
                    </a:lnTo>
                    <a:lnTo>
                      <a:pt x="9" y="82"/>
                    </a:lnTo>
                    <a:lnTo>
                      <a:pt x="10" y="83"/>
                    </a:lnTo>
                    <a:lnTo>
                      <a:pt x="4" y="86"/>
                    </a:lnTo>
                    <a:lnTo>
                      <a:pt x="4" y="86"/>
                    </a:lnTo>
                    <a:lnTo>
                      <a:pt x="12" y="85"/>
                    </a:lnTo>
                    <a:lnTo>
                      <a:pt x="12" y="85"/>
                    </a:lnTo>
                    <a:lnTo>
                      <a:pt x="12" y="86"/>
                    </a:lnTo>
                    <a:lnTo>
                      <a:pt x="10" y="88"/>
                    </a:lnTo>
                    <a:lnTo>
                      <a:pt x="9" y="88"/>
                    </a:lnTo>
                    <a:lnTo>
                      <a:pt x="9" y="89"/>
                    </a:lnTo>
                    <a:lnTo>
                      <a:pt x="9" y="89"/>
                    </a:lnTo>
                    <a:lnTo>
                      <a:pt x="12" y="89"/>
                    </a:lnTo>
                    <a:lnTo>
                      <a:pt x="13" y="88"/>
                    </a:lnTo>
                    <a:lnTo>
                      <a:pt x="14" y="89"/>
                    </a:lnTo>
                    <a:lnTo>
                      <a:pt x="14" y="89"/>
                    </a:lnTo>
                    <a:lnTo>
                      <a:pt x="17" y="88"/>
                    </a:lnTo>
                    <a:lnTo>
                      <a:pt x="19" y="88"/>
                    </a:lnTo>
                    <a:lnTo>
                      <a:pt x="26" y="86"/>
                    </a:lnTo>
                    <a:lnTo>
                      <a:pt x="28" y="83"/>
                    </a:lnTo>
                    <a:lnTo>
                      <a:pt x="28" y="80"/>
                    </a:lnTo>
                    <a:lnTo>
                      <a:pt x="29" y="80"/>
                    </a:lnTo>
                    <a:lnTo>
                      <a:pt x="29" y="82"/>
                    </a:lnTo>
                    <a:lnTo>
                      <a:pt x="30" y="82"/>
                    </a:lnTo>
                    <a:lnTo>
                      <a:pt x="33" y="80"/>
                    </a:lnTo>
                    <a:lnTo>
                      <a:pt x="35" y="79"/>
                    </a:lnTo>
                    <a:lnTo>
                      <a:pt x="38" y="79"/>
                    </a:lnTo>
                    <a:lnTo>
                      <a:pt x="38" y="79"/>
                    </a:lnTo>
                    <a:lnTo>
                      <a:pt x="39" y="76"/>
                    </a:lnTo>
                    <a:lnTo>
                      <a:pt x="39" y="76"/>
                    </a:lnTo>
                    <a:lnTo>
                      <a:pt x="52" y="73"/>
                    </a:lnTo>
                    <a:lnTo>
                      <a:pt x="54" y="75"/>
                    </a:lnTo>
                    <a:lnTo>
                      <a:pt x="55" y="75"/>
                    </a:lnTo>
                    <a:lnTo>
                      <a:pt x="57" y="72"/>
                    </a:lnTo>
                    <a:lnTo>
                      <a:pt x="55" y="70"/>
                    </a:lnTo>
                    <a:lnTo>
                      <a:pt x="59" y="56"/>
                    </a:lnTo>
                    <a:lnTo>
                      <a:pt x="58" y="47"/>
                    </a:lnTo>
                    <a:lnTo>
                      <a:pt x="59" y="45"/>
                    </a:lnTo>
                    <a:lnTo>
                      <a:pt x="59" y="41"/>
                    </a:lnTo>
                    <a:lnTo>
                      <a:pt x="57" y="34"/>
                    </a:lnTo>
                    <a:lnTo>
                      <a:pt x="57" y="31"/>
                    </a:lnTo>
                    <a:lnTo>
                      <a:pt x="58" y="3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60" name="Freeform 676"/>
              <p:cNvSpPr>
                <a:spLocks/>
              </p:cNvSpPr>
              <p:nvPr/>
            </p:nvSpPr>
            <p:spPr bwMode="auto">
              <a:xfrm>
                <a:off x="5985544" y="2292946"/>
                <a:ext cx="54424" cy="92286"/>
              </a:xfrm>
              <a:custGeom>
                <a:avLst/>
                <a:gdLst/>
                <a:ahLst/>
                <a:cxnLst>
                  <a:cxn ang="0">
                    <a:pos x="58" y="30"/>
                  </a:cxn>
                  <a:cxn ang="0">
                    <a:pos x="54" y="19"/>
                  </a:cxn>
                  <a:cxn ang="0">
                    <a:pos x="44" y="25"/>
                  </a:cxn>
                  <a:cxn ang="0">
                    <a:pos x="38" y="27"/>
                  </a:cxn>
                  <a:cxn ang="0">
                    <a:pos x="32" y="19"/>
                  </a:cxn>
                  <a:cxn ang="0">
                    <a:pos x="35" y="14"/>
                  </a:cxn>
                  <a:cxn ang="0">
                    <a:pos x="39" y="11"/>
                  </a:cxn>
                  <a:cxn ang="0">
                    <a:pos x="39" y="0"/>
                  </a:cxn>
                  <a:cxn ang="0">
                    <a:pos x="35" y="2"/>
                  </a:cxn>
                  <a:cxn ang="0">
                    <a:pos x="29" y="5"/>
                  </a:cxn>
                  <a:cxn ang="0">
                    <a:pos x="28" y="8"/>
                  </a:cxn>
                  <a:cxn ang="0">
                    <a:pos x="28" y="9"/>
                  </a:cxn>
                  <a:cxn ang="0">
                    <a:pos x="23" y="15"/>
                  </a:cxn>
                  <a:cxn ang="0">
                    <a:pos x="26" y="16"/>
                  </a:cxn>
                  <a:cxn ang="0">
                    <a:pos x="30" y="15"/>
                  </a:cxn>
                  <a:cxn ang="0">
                    <a:pos x="30" y="19"/>
                  </a:cxn>
                  <a:cxn ang="0">
                    <a:pos x="25" y="22"/>
                  </a:cxn>
                  <a:cxn ang="0">
                    <a:pos x="16" y="25"/>
                  </a:cxn>
                  <a:cxn ang="0">
                    <a:pos x="9" y="22"/>
                  </a:cxn>
                  <a:cxn ang="0">
                    <a:pos x="7" y="31"/>
                  </a:cxn>
                  <a:cxn ang="0">
                    <a:pos x="3" y="31"/>
                  </a:cxn>
                  <a:cxn ang="0">
                    <a:pos x="10" y="34"/>
                  </a:cxn>
                  <a:cxn ang="0">
                    <a:pos x="7" y="38"/>
                  </a:cxn>
                  <a:cxn ang="0">
                    <a:pos x="4" y="41"/>
                  </a:cxn>
                  <a:cxn ang="0">
                    <a:pos x="6" y="45"/>
                  </a:cxn>
                  <a:cxn ang="0">
                    <a:pos x="7" y="47"/>
                  </a:cxn>
                  <a:cxn ang="0">
                    <a:pos x="10" y="48"/>
                  </a:cxn>
                  <a:cxn ang="0">
                    <a:pos x="20" y="50"/>
                  </a:cxn>
                  <a:cxn ang="0">
                    <a:pos x="16" y="53"/>
                  </a:cxn>
                  <a:cxn ang="0">
                    <a:pos x="13" y="59"/>
                  </a:cxn>
                  <a:cxn ang="0">
                    <a:pos x="9" y="64"/>
                  </a:cxn>
                  <a:cxn ang="0">
                    <a:pos x="20" y="59"/>
                  </a:cxn>
                  <a:cxn ang="0">
                    <a:pos x="23" y="63"/>
                  </a:cxn>
                  <a:cxn ang="0">
                    <a:pos x="10" y="66"/>
                  </a:cxn>
                  <a:cxn ang="0">
                    <a:pos x="7" y="72"/>
                  </a:cxn>
                  <a:cxn ang="0">
                    <a:pos x="4" y="72"/>
                  </a:cxn>
                  <a:cxn ang="0">
                    <a:pos x="1" y="72"/>
                  </a:cxn>
                  <a:cxn ang="0">
                    <a:pos x="0" y="76"/>
                  </a:cxn>
                  <a:cxn ang="0">
                    <a:pos x="6" y="76"/>
                  </a:cxn>
                  <a:cxn ang="0">
                    <a:pos x="1" y="80"/>
                  </a:cxn>
                  <a:cxn ang="0">
                    <a:pos x="3" y="82"/>
                  </a:cxn>
                  <a:cxn ang="0">
                    <a:pos x="3" y="83"/>
                  </a:cxn>
                  <a:cxn ang="0">
                    <a:pos x="10" y="83"/>
                  </a:cxn>
                  <a:cxn ang="0">
                    <a:pos x="4" y="86"/>
                  </a:cxn>
                  <a:cxn ang="0">
                    <a:pos x="12" y="85"/>
                  </a:cxn>
                  <a:cxn ang="0">
                    <a:pos x="10" y="88"/>
                  </a:cxn>
                  <a:cxn ang="0">
                    <a:pos x="9" y="89"/>
                  </a:cxn>
                  <a:cxn ang="0">
                    <a:pos x="12" y="89"/>
                  </a:cxn>
                  <a:cxn ang="0">
                    <a:pos x="14" y="89"/>
                  </a:cxn>
                  <a:cxn ang="0">
                    <a:pos x="17" y="88"/>
                  </a:cxn>
                  <a:cxn ang="0">
                    <a:pos x="26" y="86"/>
                  </a:cxn>
                  <a:cxn ang="0">
                    <a:pos x="28" y="80"/>
                  </a:cxn>
                  <a:cxn ang="0">
                    <a:pos x="29" y="82"/>
                  </a:cxn>
                  <a:cxn ang="0">
                    <a:pos x="33" y="80"/>
                  </a:cxn>
                  <a:cxn ang="0">
                    <a:pos x="38" y="79"/>
                  </a:cxn>
                  <a:cxn ang="0">
                    <a:pos x="39" y="76"/>
                  </a:cxn>
                  <a:cxn ang="0">
                    <a:pos x="52" y="73"/>
                  </a:cxn>
                  <a:cxn ang="0">
                    <a:pos x="55" y="75"/>
                  </a:cxn>
                  <a:cxn ang="0">
                    <a:pos x="55" y="70"/>
                  </a:cxn>
                  <a:cxn ang="0">
                    <a:pos x="58" y="47"/>
                  </a:cxn>
                  <a:cxn ang="0">
                    <a:pos x="59" y="41"/>
                  </a:cxn>
                  <a:cxn ang="0">
                    <a:pos x="57" y="31"/>
                  </a:cxn>
                </a:cxnLst>
                <a:rect l="0" t="0" r="r" b="b"/>
                <a:pathLst>
                  <a:path w="59" h="89">
                    <a:moveTo>
                      <a:pt x="58" y="31"/>
                    </a:moveTo>
                    <a:lnTo>
                      <a:pt x="58" y="30"/>
                    </a:lnTo>
                    <a:lnTo>
                      <a:pt x="57" y="24"/>
                    </a:lnTo>
                    <a:lnTo>
                      <a:pt x="54" y="19"/>
                    </a:lnTo>
                    <a:lnTo>
                      <a:pt x="46" y="22"/>
                    </a:lnTo>
                    <a:lnTo>
                      <a:pt x="44" y="25"/>
                    </a:lnTo>
                    <a:lnTo>
                      <a:pt x="41" y="28"/>
                    </a:lnTo>
                    <a:lnTo>
                      <a:pt x="38" y="27"/>
                    </a:lnTo>
                    <a:lnTo>
                      <a:pt x="36" y="21"/>
                    </a:lnTo>
                    <a:lnTo>
                      <a:pt x="32" y="19"/>
                    </a:lnTo>
                    <a:lnTo>
                      <a:pt x="35" y="16"/>
                    </a:lnTo>
                    <a:lnTo>
                      <a:pt x="35" y="14"/>
                    </a:lnTo>
                    <a:lnTo>
                      <a:pt x="38" y="14"/>
                    </a:lnTo>
                    <a:lnTo>
                      <a:pt x="39" y="11"/>
                    </a:lnTo>
                    <a:lnTo>
                      <a:pt x="39" y="0"/>
                    </a:lnTo>
                    <a:lnTo>
                      <a:pt x="39" y="0"/>
                    </a:lnTo>
                    <a:lnTo>
                      <a:pt x="38" y="0"/>
                    </a:lnTo>
                    <a:lnTo>
                      <a:pt x="35" y="2"/>
                    </a:lnTo>
                    <a:lnTo>
                      <a:pt x="33" y="0"/>
                    </a:lnTo>
                    <a:lnTo>
                      <a:pt x="29" y="5"/>
                    </a:lnTo>
                    <a:lnTo>
                      <a:pt x="28" y="5"/>
                    </a:lnTo>
                    <a:lnTo>
                      <a:pt x="28" y="8"/>
                    </a:lnTo>
                    <a:lnTo>
                      <a:pt x="28" y="9"/>
                    </a:lnTo>
                    <a:lnTo>
                      <a:pt x="28" y="9"/>
                    </a:lnTo>
                    <a:lnTo>
                      <a:pt x="23" y="14"/>
                    </a:lnTo>
                    <a:lnTo>
                      <a:pt x="23" y="15"/>
                    </a:lnTo>
                    <a:lnTo>
                      <a:pt x="25" y="15"/>
                    </a:lnTo>
                    <a:lnTo>
                      <a:pt x="26" y="16"/>
                    </a:lnTo>
                    <a:lnTo>
                      <a:pt x="28" y="15"/>
                    </a:lnTo>
                    <a:lnTo>
                      <a:pt x="30" y="15"/>
                    </a:lnTo>
                    <a:lnTo>
                      <a:pt x="30" y="16"/>
                    </a:lnTo>
                    <a:lnTo>
                      <a:pt x="30" y="19"/>
                    </a:lnTo>
                    <a:lnTo>
                      <a:pt x="25" y="22"/>
                    </a:lnTo>
                    <a:lnTo>
                      <a:pt x="25" y="22"/>
                    </a:lnTo>
                    <a:lnTo>
                      <a:pt x="25" y="25"/>
                    </a:lnTo>
                    <a:lnTo>
                      <a:pt x="16" y="25"/>
                    </a:lnTo>
                    <a:lnTo>
                      <a:pt x="16" y="24"/>
                    </a:lnTo>
                    <a:lnTo>
                      <a:pt x="9" y="22"/>
                    </a:lnTo>
                    <a:lnTo>
                      <a:pt x="6" y="27"/>
                    </a:lnTo>
                    <a:lnTo>
                      <a:pt x="7" y="31"/>
                    </a:lnTo>
                    <a:lnTo>
                      <a:pt x="6" y="31"/>
                    </a:lnTo>
                    <a:lnTo>
                      <a:pt x="3" y="31"/>
                    </a:lnTo>
                    <a:lnTo>
                      <a:pt x="6" y="34"/>
                    </a:lnTo>
                    <a:lnTo>
                      <a:pt x="10" y="34"/>
                    </a:lnTo>
                    <a:lnTo>
                      <a:pt x="12" y="35"/>
                    </a:lnTo>
                    <a:lnTo>
                      <a:pt x="7" y="38"/>
                    </a:lnTo>
                    <a:lnTo>
                      <a:pt x="6" y="40"/>
                    </a:lnTo>
                    <a:lnTo>
                      <a:pt x="4" y="41"/>
                    </a:lnTo>
                    <a:lnTo>
                      <a:pt x="4" y="43"/>
                    </a:lnTo>
                    <a:lnTo>
                      <a:pt x="6" y="45"/>
                    </a:lnTo>
                    <a:lnTo>
                      <a:pt x="7" y="45"/>
                    </a:lnTo>
                    <a:lnTo>
                      <a:pt x="7" y="47"/>
                    </a:lnTo>
                    <a:lnTo>
                      <a:pt x="10" y="47"/>
                    </a:lnTo>
                    <a:lnTo>
                      <a:pt x="10" y="48"/>
                    </a:lnTo>
                    <a:lnTo>
                      <a:pt x="19" y="48"/>
                    </a:lnTo>
                    <a:lnTo>
                      <a:pt x="20" y="50"/>
                    </a:lnTo>
                    <a:lnTo>
                      <a:pt x="19" y="51"/>
                    </a:lnTo>
                    <a:lnTo>
                      <a:pt x="16" y="53"/>
                    </a:lnTo>
                    <a:lnTo>
                      <a:pt x="13" y="54"/>
                    </a:lnTo>
                    <a:lnTo>
                      <a:pt x="13" y="59"/>
                    </a:lnTo>
                    <a:lnTo>
                      <a:pt x="12" y="60"/>
                    </a:lnTo>
                    <a:lnTo>
                      <a:pt x="9" y="64"/>
                    </a:lnTo>
                    <a:lnTo>
                      <a:pt x="16" y="63"/>
                    </a:lnTo>
                    <a:lnTo>
                      <a:pt x="20" y="59"/>
                    </a:lnTo>
                    <a:lnTo>
                      <a:pt x="20" y="61"/>
                    </a:lnTo>
                    <a:lnTo>
                      <a:pt x="23" y="63"/>
                    </a:lnTo>
                    <a:lnTo>
                      <a:pt x="23" y="63"/>
                    </a:lnTo>
                    <a:lnTo>
                      <a:pt x="10" y="66"/>
                    </a:lnTo>
                    <a:lnTo>
                      <a:pt x="7" y="70"/>
                    </a:lnTo>
                    <a:lnTo>
                      <a:pt x="7" y="72"/>
                    </a:lnTo>
                    <a:lnTo>
                      <a:pt x="7" y="72"/>
                    </a:lnTo>
                    <a:lnTo>
                      <a:pt x="4" y="72"/>
                    </a:lnTo>
                    <a:lnTo>
                      <a:pt x="3" y="73"/>
                    </a:lnTo>
                    <a:lnTo>
                      <a:pt x="1" y="72"/>
                    </a:lnTo>
                    <a:lnTo>
                      <a:pt x="0" y="73"/>
                    </a:lnTo>
                    <a:lnTo>
                      <a:pt x="0" y="76"/>
                    </a:lnTo>
                    <a:lnTo>
                      <a:pt x="6" y="75"/>
                    </a:lnTo>
                    <a:lnTo>
                      <a:pt x="6" y="76"/>
                    </a:lnTo>
                    <a:lnTo>
                      <a:pt x="3" y="77"/>
                    </a:lnTo>
                    <a:lnTo>
                      <a:pt x="1" y="80"/>
                    </a:lnTo>
                    <a:lnTo>
                      <a:pt x="0" y="82"/>
                    </a:lnTo>
                    <a:lnTo>
                      <a:pt x="3" y="82"/>
                    </a:lnTo>
                    <a:lnTo>
                      <a:pt x="3" y="83"/>
                    </a:lnTo>
                    <a:lnTo>
                      <a:pt x="3" y="83"/>
                    </a:lnTo>
                    <a:lnTo>
                      <a:pt x="9" y="82"/>
                    </a:lnTo>
                    <a:lnTo>
                      <a:pt x="10" y="83"/>
                    </a:lnTo>
                    <a:lnTo>
                      <a:pt x="4" y="86"/>
                    </a:lnTo>
                    <a:lnTo>
                      <a:pt x="4" y="86"/>
                    </a:lnTo>
                    <a:lnTo>
                      <a:pt x="12" y="85"/>
                    </a:lnTo>
                    <a:lnTo>
                      <a:pt x="12" y="85"/>
                    </a:lnTo>
                    <a:lnTo>
                      <a:pt x="12" y="86"/>
                    </a:lnTo>
                    <a:lnTo>
                      <a:pt x="10" y="88"/>
                    </a:lnTo>
                    <a:lnTo>
                      <a:pt x="9" y="88"/>
                    </a:lnTo>
                    <a:lnTo>
                      <a:pt x="9" y="89"/>
                    </a:lnTo>
                    <a:lnTo>
                      <a:pt x="9" y="89"/>
                    </a:lnTo>
                    <a:lnTo>
                      <a:pt x="12" y="89"/>
                    </a:lnTo>
                    <a:lnTo>
                      <a:pt x="13" y="88"/>
                    </a:lnTo>
                    <a:lnTo>
                      <a:pt x="14" y="89"/>
                    </a:lnTo>
                    <a:lnTo>
                      <a:pt x="14" y="89"/>
                    </a:lnTo>
                    <a:lnTo>
                      <a:pt x="17" y="88"/>
                    </a:lnTo>
                    <a:lnTo>
                      <a:pt x="19" y="88"/>
                    </a:lnTo>
                    <a:lnTo>
                      <a:pt x="26" y="86"/>
                    </a:lnTo>
                    <a:lnTo>
                      <a:pt x="28" y="83"/>
                    </a:lnTo>
                    <a:lnTo>
                      <a:pt x="28" y="80"/>
                    </a:lnTo>
                    <a:lnTo>
                      <a:pt x="29" y="80"/>
                    </a:lnTo>
                    <a:lnTo>
                      <a:pt x="29" y="82"/>
                    </a:lnTo>
                    <a:lnTo>
                      <a:pt x="30" y="82"/>
                    </a:lnTo>
                    <a:lnTo>
                      <a:pt x="33" y="80"/>
                    </a:lnTo>
                    <a:lnTo>
                      <a:pt x="35" y="79"/>
                    </a:lnTo>
                    <a:lnTo>
                      <a:pt x="38" y="79"/>
                    </a:lnTo>
                    <a:lnTo>
                      <a:pt x="38" y="79"/>
                    </a:lnTo>
                    <a:lnTo>
                      <a:pt x="39" y="76"/>
                    </a:lnTo>
                    <a:lnTo>
                      <a:pt x="39" y="76"/>
                    </a:lnTo>
                    <a:lnTo>
                      <a:pt x="52" y="73"/>
                    </a:lnTo>
                    <a:lnTo>
                      <a:pt x="54" y="75"/>
                    </a:lnTo>
                    <a:lnTo>
                      <a:pt x="55" y="75"/>
                    </a:lnTo>
                    <a:lnTo>
                      <a:pt x="57" y="72"/>
                    </a:lnTo>
                    <a:lnTo>
                      <a:pt x="55" y="70"/>
                    </a:lnTo>
                    <a:lnTo>
                      <a:pt x="59" y="56"/>
                    </a:lnTo>
                    <a:lnTo>
                      <a:pt x="58" y="47"/>
                    </a:lnTo>
                    <a:lnTo>
                      <a:pt x="59" y="45"/>
                    </a:lnTo>
                    <a:lnTo>
                      <a:pt x="59" y="41"/>
                    </a:lnTo>
                    <a:lnTo>
                      <a:pt x="57" y="34"/>
                    </a:lnTo>
                    <a:lnTo>
                      <a:pt x="57" y="31"/>
                    </a:lnTo>
                    <a:lnTo>
                      <a:pt x="58" y="3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61" name="Freeform 677"/>
              <p:cNvSpPr>
                <a:spLocks/>
              </p:cNvSpPr>
              <p:nvPr/>
            </p:nvSpPr>
            <p:spPr bwMode="auto">
              <a:xfrm>
                <a:off x="6262928" y="1844699"/>
                <a:ext cx="170293" cy="444190"/>
              </a:xfrm>
              <a:custGeom>
                <a:avLst/>
                <a:gdLst/>
                <a:ahLst/>
                <a:cxnLst>
                  <a:cxn ang="0">
                    <a:pos x="4" y="351"/>
                  </a:cxn>
                  <a:cxn ang="0">
                    <a:pos x="7" y="351"/>
                  </a:cxn>
                  <a:cxn ang="0">
                    <a:pos x="9" y="364"/>
                  </a:cxn>
                  <a:cxn ang="0">
                    <a:pos x="13" y="375"/>
                  </a:cxn>
                  <a:cxn ang="0">
                    <a:pos x="26" y="398"/>
                  </a:cxn>
                  <a:cxn ang="0">
                    <a:pos x="20" y="403"/>
                  </a:cxn>
                  <a:cxn ang="0">
                    <a:pos x="25" y="425"/>
                  </a:cxn>
                  <a:cxn ang="0">
                    <a:pos x="44" y="425"/>
                  </a:cxn>
                  <a:cxn ang="0">
                    <a:pos x="54" y="404"/>
                  </a:cxn>
                  <a:cxn ang="0">
                    <a:pos x="74" y="391"/>
                  </a:cxn>
                  <a:cxn ang="0">
                    <a:pos x="77" y="368"/>
                  </a:cxn>
                  <a:cxn ang="0">
                    <a:pos x="78" y="359"/>
                  </a:cxn>
                  <a:cxn ang="0">
                    <a:pos x="80" y="349"/>
                  </a:cxn>
                  <a:cxn ang="0">
                    <a:pos x="81" y="345"/>
                  </a:cxn>
                  <a:cxn ang="0">
                    <a:pos x="83" y="339"/>
                  </a:cxn>
                  <a:cxn ang="0">
                    <a:pos x="93" y="333"/>
                  </a:cxn>
                  <a:cxn ang="0">
                    <a:pos x="105" y="324"/>
                  </a:cxn>
                  <a:cxn ang="0">
                    <a:pos x="87" y="323"/>
                  </a:cxn>
                  <a:cxn ang="0">
                    <a:pos x="75" y="317"/>
                  </a:cxn>
                  <a:cxn ang="0">
                    <a:pos x="86" y="317"/>
                  </a:cxn>
                  <a:cxn ang="0">
                    <a:pos x="93" y="317"/>
                  </a:cxn>
                  <a:cxn ang="0">
                    <a:pos x="110" y="305"/>
                  </a:cxn>
                  <a:cxn ang="0">
                    <a:pos x="99" y="291"/>
                  </a:cxn>
                  <a:cxn ang="0">
                    <a:pos x="89" y="291"/>
                  </a:cxn>
                  <a:cxn ang="0">
                    <a:pos x="78" y="297"/>
                  </a:cxn>
                  <a:cxn ang="0">
                    <a:pos x="86" y="282"/>
                  </a:cxn>
                  <a:cxn ang="0">
                    <a:pos x="86" y="252"/>
                  </a:cxn>
                  <a:cxn ang="0">
                    <a:pos x="89" y="231"/>
                  </a:cxn>
                  <a:cxn ang="0">
                    <a:pos x="96" y="226"/>
                  </a:cxn>
                  <a:cxn ang="0">
                    <a:pos x="99" y="220"/>
                  </a:cxn>
                  <a:cxn ang="0">
                    <a:pos x="100" y="214"/>
                  </a:cxn>
                  <a:cxn ang="0">
                    <a:pos x="109" y="207"/>
                  </a:cxn>
                  <a:cxn ang="0">
                    <a:pos x="120" y="195"/>
                  </a:cxn>
                  <a:cxn ang="0">
                    <a:pos x="131" y="191"/>
                  </a:cxn>
                  <a:cxn ang="0">
                    <a:pos x="148" y="172"/>
                  </a:cxn>
                  <a:cxn ang="0">
                    <a:pos x="145" y="159"/>
                  </a:cxn>
                  <a:cxn ang="0">
                    <a:pos x="148" y="150"/>
                  </a:cxn>
                  <a:cxn ang="0">
                    <a:pos x="152" y="133"/>
                  </a:cxn>
                  <a:cxn ang="0">
                    <a:pos x="157" y="128"/>
                  </a:cxn>
                  <a:cxn ang="0">
                    <a:pos x="160" y="124"/>
                  </a:cxn>
                  <a:cxn ang="0">
                    <a:pos x="163" y="119"/>
                  </a:cxn>
                  <a:cxn ang="0">
                    <a:pos x="170" y="121"/>
                  </a:cxn>
                  <a:cxn ang="0">
                    <a:pos x="184" y="121"/>
                  </a:cxn>
                  <a:cxn ang="0">
                    <a:pos x="179" y="77"/>
                  </a:cxn>
                  <a:cxn ang="0">
                    <a:pos x="179" y="45"/>
                  </a:cxn>
                  <a:cxn ang="0">
                    <a:pos x="131" y="0"/>
                  </a:cxn>
                  <a:cxn ang="0">
                    <a:pos x="129" y="10"/>
                  </a:cxn>
                  <a:cxn ang="0">
                    <a:pos x="125" y="26"/>
                  </a:cxn>
                  <a:cxn ang="0">
                    <a:pos x="100" y="40"/>
                  </a:cxn>
                  <a:cxn ang="0">
                    <a:pos x="80" y="47"/>
                  </a:cxn>
                  <a:cxn ang="0">
                    <a:pos x="64" y="95"/>
                  </a:cxn>
                  <a:cxn ang="0">
                    <a:pos x="39" y="160"/>
                  </a:cxn>
                  <a:cxn ang="0">
                    <a:pos x="28" y="181"/>
                  </a:cxn>
                  <a:cxn ang="0">
                    <a:pos x="17" y="211"/>
                  </a:cxn>
                  <a:cxn ang="0">
                    <a:pos x="19" y="255"/>
                  </a:cxn>
                  <a:cxn ang="0">
                    <a:pos x="16" y="275"/>
                  </a:cxn>
                  <a:cxn ang="0">
                    <a:pos x="17" y="304"/>
                  </a:cxn>
                  <a:cxn ang="0">
                    <a:pos x="4" y="335"/>
                  </a:cxn>
                </a:cxnLst>
                <a:rect l="0" t="0" r="r" b="b"/>
                <a:pathLst>
                  <a:path w="186" h="426">
                    <a:moveTo>
                      <a:pt x="1" y="329"/>
                    </a:moveTo>
                    <a:lnTo>
                      <a:pt x="0" y="332"/>
                    </a:lnTo>
                    <a:lnTo>
                      <a:pt x="3" y="346"/>
                    </a:lnTo>
                    <a:lnTo>
                      <a:pt x="3" y="346"/>
                    </a:lnTo>
                    <a:lnTo>
                      <a:pt x="4" y="348"/>
                    </a:lnTo>
                    <a:lnTo>
                      <a:pt x="4" y="351"/>
                    </a:lnTo>
                    <a:lnTo>
                      <a:pt x="4" y="351"/>
                    </a:lnTo>
                    <a:lnTo>
                      <a:pt x="6" y="349"/>
                    </a:lnTo>
                    <a:lnTo>
                      <a:pt x="6" y="348"/>
                    </a:lnTo>
                    <a:lnTo>
                      <a:pt x="7" y="348"/>
                    </a:lnTo>
                    <a:lnTo>
                      <a:pt x="6" y="351"/>
                    </a:lnTo>
                    <a:lnTo>
                      <a:pt x="7" y="351"/>
                    </a:lnTo>
                    <a:lnTo>
                      <a:pt x="7" y="351"/>
                    </a:lnTo>
                    <a:lnTo>
                      <a:pt x="7" y="352"/>
                    </a:lnTo>
                    <a:lnTo>
                      <a:pt x="4" y="355"/>
                    </a:lnTo>
                    <a:lnTo>
                      <a:pt x="9" y="356"/>
                    </a:lnTo>
                    <a:lnTo>
                      <a:pt x="10" y="359"/>
                    </a:lnTo>
                    <a:lnTo>
                      <a:pt x="9" y="364"/>
                    </a:lnTo>
                    <a:lnTo>
                      <a:pt x="12" y="362"/>
                    </a:lnTo>
                    <a:lnTo>
                      <a:pt x="13" y="365"/>
                    </a:lnTo>
                    <a:lnTo>
                      <a:pt x="10" y="368"/>
                    </a:lnTo>
                    <a:lnTo>
                      <a:pt x="12" y="372"/>
                    </a:lnTo>
                    <a:lnTo>
                      <a:pt x="12" y="375"/>
                    </a:lnTo>
                    <a:lnTo>
                      <a:pt x="13" y="375"/>
                    </a:lnTo>
                    <a:lnTo>
                      <a:pt x="17" y="385"/>
                    </a:lnTo>
                    <a:lnTo>
                      <a:pt x="19" y="388"/>
                    </a:lnTo>
                    <a:lnTo>
                      <a:pt x="20" y="391"/>
                    </a:lnTo>
                    <a:lnTo>
                      <a:pt x="23" y="394"/>
                    </a:lnTo>
                    <a:lnTo>
                      <a:pt x="26" y="397"/>
                    </a:lnTo>
                    <a:lnTo>
                      <a:pt x="26" y="398"/>
                    </a:lnTo>
                    <a:lnTo>
                      <a:pt x="25" y="400"/>
                    </a:lnTo>
                    <a:lnTo>
                      <a:pt x="22" y="398"/>
                    </a:lnTo>
                    <a:lnTo>
                      <a:pt x="22" y="400"/>
                    </a:lnTo>
                    <a:lnTo>
                      <a:pt x="23" y="404"/>
                    </a:lnTo>
                    <a:lnTo>
                      <a:pt x="22" y="404"/>
                    </a:lnTo>
                    <a:lnTo>
                      <a:pt x="20" y="403"/>
                    </a:lnTo>
                    <a:lnTo>
                      <a:pt x="20" y="404"/>
                    </a:lnTo>
                    <a:lnTo>
                      <a:pt x="28" y="419"/>
                    </a:lnTo>
                    <a:lnTo>
                      <a:pt x="26" y="420"/>
                    </a:lnTo>
                    <a:lnTo>
                      <a:pt x="26" y="423"/>
                    </a:lnTo>
                    <a:lnTo>
                      <a:pt x="25" y="425"/>
                    </a:lnTo>
                    <a:lnTo>
                      <a:pt x="25" y="425"/>
                    </a:lnTo>
                    <a:lnTo>
                      <a:pt x="28" y="425"/>
                    </a:lnTo>
                    <a:lnTo>
                      <a:pt x="30" y="426"/>
                    </a:lnTo>
                    <a:lnTo>
                      <a:pt x="36" y="425"/>
                    </a:lnTo>
                    <a:lnTo>
                      <a:pt x="41" y="425"/>
                    </a:lnTo>
                    <a:lnTo>
                      <a:pt x="42" y="426"/>
                    </a:lnTo>
                    <a:lnTo>
                      <a:pt x="44" y="425"/>
                    </a:lnTo>
                    <a:lnTo>
                      <a:pt x="45" y="420"/>
                    </a:lnTo>
                    <a:lnTo>
                      <a:pt x="45" y="414"/>
                    </a:lnTo>
                    <a:lnTo>
                      <a:pt x="48" y="409"/>
                    </a:lnTo>
                    <a:lnTo>
                      <a:pt x="49" y="409"/>
                    </a:lnTo>
                    <a:lnTo>
                      <a:pt x="51" y="407"/>
                    </a:lnTo>
                    <a:lnTo>
                      <a:pt x="54" y="404"/>
                    </a:lnTo>
                    <a:lnTo>
                      <a:pt x="57" y="406"/>
                    </a:lnTo>
                    <a:lnTo>
                      <a:pt x="59" y="406"/>
                    </a:lnTo>
                    <a:lnTo>
                      <a:pt x="62" y="406"/>
                    </a:lnTo>
                    <a:lnTo>
                      <a:pt x="65" y="406"/>
                    </a:lnTo>
                    <a:lnTo>
                      <a:pt x="68" y="406"/>
                    </a:lnTo>
                    <a:lnTo>
                      <a:pt x="74" y="391"/>
                    </a:lnTo>
                    <a:lnTo>
                      <a:pt x="74" y="385"/>
                    </a:lnTo>
                    <a:lnTo>
                      <a:pt x="75" y="382"/>
                    </a:lnTo>
                    <a:lnTo>
                      <a:pt x="75" y="378"/>
                    </a:lnTo>
                    <a:lnTo>
                      <a:pt x="78" y="372"/>
                    </a:lnTo>
                    <a:lnTo>
                      <a:pt x="78" y="369"/>
                    </a:lnTo>
                    <a:lnTo>
                      <a:pt x="77" y="368"/>
                    </a:lnTo>
                    <a:lnTo>
                      <a:pt x="78" y="365"/>
                    </a:lnTo>
                    <a:lnTo>
                      <a:pt x="78" y="364"/>
                    </a:lnTo>
                    <a:lnTo>
                      <a:pt x="77" y="361"/>
                    </a:lnTo>
                    <a:lnTo>
                      <a:pt x="77" y="361"/>
                    </a:lnTo>
                    <a:lnTo>
                      <a:pt x="77" y="359"/>
                    </a:lnTo>
                    <a:lnTo>
                      <a:pt x="78" y="359"/>
                    </a:lnTo>
                    <a:lnTo>
                      <a:pt x="80" y="359"/>
                    </a:lnTo>
                    <a:lnTo>
                      <a:pt x="78" y="358"/>
                    </a:lnTo>
                    <a:lnTo>
                      <a:pt x="78" y="356"/>
                    </a:lnTo>
                    <a:lnTo>
                      <a:pt x="80" y="355"/>
                    </a:lnTo>
                    <a:lnTo>
                      <a:pt x="80" y="353"/>
                    </a:lnTo>
                    <a:lnTo>
                      <a:pt x="80" y="349"/>
                    </a:lnTo>
                    <a:lnTo>
                      <a:pt x="80" y="348"/>
                    </a:lnTo>
                    <a:lnTo>
                      <a:pt x="75" y="345"/>
                    </a:lnTo>
                    <a:lnTo>
                      <a:pt x="75" y="345"/>
                    </a:lnTo>
                    <a:lnTo>
                      <a:pt x="78" y="346"/>
                    </a:lnTo>
                    <a:lnTo>
                      <a:pt x="81" y="345"/>
                    </a:lnTo>
                    <a:lnTo>
                      <a:pt x="81" y="345"/>
                    </a:lnTo>
                    <a:lnTo>
                      <a:pt x="78" y="342"/>
                    </a:lnTo>
                    <a:lnTo>
                      <a:pt x="71" y="340"/>
                    </a:lnTo>
                    <a:lnTo>
                      <a:pt x="73" y="340"/>
                    </a:lnTo>
                    <a:lnTo>
                      <a:pt x="78" y="339"/>
                    </a:lnTo>
                    <a:lnTo>
                      <a:pt x="81" y="340"/>
                    </a:lnTo>
                    <a:lnTo>
                      <a:pt x="83" y="339"/>
                    </a:lnTo>
                    <a:lnTo>
                      <a:pt x="84" y="337"/>
                    </a:lnTo>
                    <a:lnTo>
                      <a:pt x="87" y="337"/>
                    </a:lnTo>
                    <a:lnTo>
                      <a:pt x="91" y="332"/>
                    </a:lnTo>
                    <a:lnTo>
                      <a:pt x="91" y="329"/>
                    </a:lnTo>
                    <a:lnTo>
                      <a:pt x="93" y="330"/>
                    </a:lnTo>
                    <a:lnTo>
                      <a:pt x="93" y="333"/>
                    </a:lnTo>
                    <a:lnTo>
                      <a:pt x="97" y="333"/>
                    </a:lnTo>
                    <a:lnTo>
                      <a:pt x="99" y="329"/>
                    </a:lnTo>
                    <a:lnTo>
                      <a:pt x="102" y="326"/>
                    </a:lnTo>
                    <a:lnTo>
                      <a:pt x="102" y="323"/>
                    </a:lnTo>
                    <a:lnTo>
                      <a:pt x="103" y="324"/>
                    </a:lnTo>
                    <a:lnTo>
                      <a:pt x="105" y="324"/>
                    </a:lnTo>
                    <a:lnTo>
                      <a:pt x="105" y="323"/>
                    </a:lnTo>
                    <a:lnTo>
                      <a:pt x="106" y="321"/>
                    </a:lnTo>
                    <a:lnTo>
                      <a:pt x="106" y="320"/>
                    </a:lnTo>
                    <a:lnTo>
                      <a:pt x="91" y="323"/>
                    </a:lnTo>
                    <a:lnTo>
                      <a:pt x="89" y="323"/>
                    </a:lnTo>
                    <a:lnTo>
                      <a:pt x="87" y="323"/>
                    </a:lnTo>
                    <a:lnTo>
                      <a:pt x="87" y="321"/>
                    </a:lnTo>
                    <a:lnTo>
                      <a:pt x="86" y="320"/>
                    </a:lnTo>
                    <a:lnTo>
                      <a:pt x="80" y="317"/>
                    </a:lnTo>
                    <a:lnTo>
                      <a:pt x="75" y="319"/>
                    </a:lnTo>
                    <a:lnTo>
                      <a:pt x="74" y="317"/>
                    </a:lnTo>
                    <a:lnTo>
                      <a:pt x="75" y="317"/>
                    </a:lnTo>
                    <a:lnTo>
                      <a:pt x="77" y="314"/>
                    </a:lnTo>
                    <a:lnTo>
                      <a:pt x="78" y="316"/>
                    </a:lnTo>
                    <a:lnTo>
                      <a:pt x="80" y="314"/>
                    </a:lnTo>
                    <a:lnTo>
                      <a:pt x="84" y="316"/>
                    </a:lnTo>
                    <a:lnTo>
                      <a:pt x="84" y="314"/>
                    </a:lnTo>
                    <a:lnTo>
                      <a:pt x="86" y="317"/>
                    </a:lnTo>
                    <a:lnTo>
                      <a:pt x="89" y="316"/>
                    </a:lnTo>
                    <a:lnTo>
                      <a:pt x="89" y="316"/>
                    </a:lnTo>
                    <a:lnTo>
                      <a:pt x="90" y="317"/>
                    </a:lnTo>
                    <a:lnTo>
                      <a:pt x="91" y="317"/>
                    </a:lnTo>
                    <a:lnTo>
                      <a:pt x="93" y="316"/>
                    </a:lnTo>
                    <a:lnTo>
                      <a:pt x="93" y="317"/>
                    </a:lnTo>
                    <a:lnTo>
                      <a:pt x="94" y="320"/>
                    </a:lnTo>
                    <a:lnTo>
                      <a:pt x="97" y="320"/>
                    </a:lnTo>
                    <a:lnTo>
                      <a:pt x="105" y="316"/>
                    </a:lnTo>
                    <a:lnTo>
                      <a:pt x="107" y="311"/>
                    </a:lnTo>
                    <a:lnTo>
                      <a:pt x="109" y="310"/>
                    </a:lnTo>
                    <a:lnTo>
                      <a:pt x="110" y="305"/>
                    </a:lnTo>
                    <a:lnTo>
                      <a:pt x="109" y="301"/>
                    </a:lnTo>
                    <a:lnTo>
                      <a:pt x="105" y="300"/>
                    </a:lnTo>
                    <a:lnTo>
                      <a:pt x="103" y="295"/>
                    </a:lnTo>
                    <a:lnTo>
                      <a:pt x="105" y="295"/>
                    </a:lnTo>
                    <a:lnTo>
                      <a:pt x="105" y="294"/>
                    </a:lnTo>
                    <a:lnTo>
                      <a:pt x="99" y="291"/>
                    </a:lnTo>
                    <a:lnTo>
                      <a:pt x="97" y="287"/>
                    </a:lnTo>
                    <a:lnTo>
                      <a:pt x="93" y="287"/>
                    </a:lnTo>
                    <a:lnTo>
                      <a:pt x="91" y="285"/>
                    </a:lnTo>
                    <a:lnTo>
                      <a:pt x="90" y="284"/>
                    </a:lnTo>
                    <a:lnTo>
                      <a:pt x="90" y="285"/>
                    </a:lnTo>
                    <a:lnTo>
                      <a:pt x="89" y="291"/>
                    </a:lnTo>
                    <a:lnTo>
                      <a:pt x="80" y="298"/>
                    </a:lnTo>
                    <a:lnTo>
                      <a:pt x="78" y="298"/>
                    </a:lnTo>
                    <a:lnTo>
                      <a:pt x="75" y="300"/>
                    </a:lnTo>
                    <a:lnTo>
                      <a:pt x="73" y="298"/>
                    </a:lnTo>
                    <a:lnTo>
                      <a:pt x="75" y="297"/>
                    </a:lnTo>
                    <a:lnTo>
                      <a:pt x="78" y="297"/>
                    </a:lnTo>
                    <a:lnTo>
                      <a:pt x="81" y="294"/>
                    </a:lnTo>
                    <a:lnTo>
                      <a:pt x="83" y="292"/>
                    </a:lnTo>
                    <a:lnTo>
                      <a:pt x="87" y="288"/>
                    </a:lnTo>
                    <a:lnTo>
                      <a:pt x="89" y="287"/>
                    </a:lnTo>
                    <a:lnTo>
                      <a:pt x="89" y="282"/>
                    </a:lnTo>
                    <a:lnTo>
                      <a:pt x="86" y="282"/>
                    </a:lnTo>
                    <a:lnTo>
                      <a:pt x="87" y="281"/>
                    </a:lnTo>
                    <a:lnTo>
                      <a:pt x="87" y="278"/>
                    </a:lnTo>
                    <a:lnTo>
                      <a:pt x="86" y="275"/>
                    </a:lnTo>
                    <a:lnTo>
                      <a:pt x="86" y="258"/>
                    </a:lnTo>
                    <a:lnTo>
                      <a:pt x="86" y="253"/>
                    </a:lnTo>
                    <a:lnTo>
                      <a:pt x="86" y="252"/>
                    </a:lnTo>
                    <a:lnTo>
                      <a:pt x="90" y="255"/>
                    </a:lnTo>
                    <a:lnTo>
                      <a:pt x="90" y="252"/>
                    </a:lnTo>
                    <a:lnTo>
                      <a:pt x="89" y="246"/>
                    </a:lnTo>
                    <a:lnTo>
                      <a:pt x="91" y="236"/>
                    </a:lnTo>
                    <a:lnTo>
                      <a:pt x="90" y="234"/>
                    </a:lnTo>
                    <a:lnTo>
                      <a:pt x="89" y="231"/>
                    </a:lnTo>
                    <a:lnTo>
                      <a:pt x="89" y="228"/>
                    </a:lnTo>
                    <a:lnTo>
                      <a:pt x="93" y="230"/>
                    </a:lnTo>
                    <a:lnTo>
                      <a:pt x="93" y="230"/>
                    </a:lnTo>
                    <a:lnTo>
                      <a:pt x="94" y="228"/>
                    </a:lnTo>
                    <a:lnTo>
                      <a:pt x="96" y="227"/>
                    </a:lnTo>
                    <a:lnTo>
                      <a:pt x="96" y="226"/>
                    </a:lnTo>
                    <a:lnTo>
                      <a:pt x="96" y="226"/>
                    </a:lnTo>
                    <a:lnTo>
                      <a:pt x="96" y="221"/>
                    </a:lnTo>
                    <a:lnTo>
                      <a:pt x="96" y="218"/>
                    </a:lnTo>
                    <a:lnTo>
                      <a:pt x="96" y="215"/>
                    </a:lnTo>
                    <a:lnTo>
                      <a:pt x="96" y="218"/>
                    </a:lnTo>
                    <a:lnTo>
                      <a:pt x="99" y="220"/>
                    </a:lnTo>
                    <a:lnTo>
                      <a:pt x="99" y="220"/>
                    </a:lnTo>
                    <a:lnTo>
                      <a:pt x="100" y="217"/>
                    </a:lnTo>
                    <a:lnTo>
                      <a:pt x="103" y="218"/>
                    </a:lnTo>
                    <a:lnTo>
                      <a:pt x="103" y="217"/>
                    </a:lnTo>
                    <a:lnTo>
                      <a:pt x="103" y="215"/>
                    </a:lnTo>
                    <a:lnTo>
                      <a:pt x="100" y="214"/>
                    </a:lnTo>
                    <a:lnTo>
                      <a:pt x="103" y="214"/>
                    </a:lnTo>
                    <a:lnTo>
                      <a:pt x="105" y="212"/>
                    </a:lnTo>
                    <a:lnTo>
                      <a:pt x="105" y="211"/>
                    </a:lnTo>
                    <a:lnTo>
                      <a:pt x="107" y="210"/>
                    </a:lnTo>
                    <a:lnTo>
                      <a:pt x="107" y="207"/>
                    </a:lnTo>
                    <a:lnTo>
                      <a:pt x="109" y="207"/>
                    </a:lnTo>
                    <a:lnTo>
                      <a:pt x="109" y="204"/>
                    </a:lnTo>
                    <a:lnTo>
                      <a:pt x="110" y="204"/>
                    </a:lnTo>
                    <a:lnTo>
                      <a:pt x="113" y="204"/>
                    </a:lnTo>
                    <a:lnTo>
                      <a:pt x="116" y="201"/>
                    </a:lnTo>
                    <a:lnTo>
                      <a:pt x="118" y="199"/>
                    </a:lnTo>
                    <a:lnTo>
                      <a:pt x="120" y="195"/>
                    </a:lnTo>
                    <a:lnTo>
                      <a:pt x="122" y="198"/>
                    </a:lnTo>
                    <a:lnTo>
                      <a:pt x="125" y="195"/>
                    </a:lnTo>
                    <a:lnTo>
                      <a:pt x="126" y="194"/>
                    </a:lnTo>
                    <a:lnTo>
                      <a:pt x="128" y="191"/>
                    </a:lnTo>
                    <a:lnTo>
                      <a:pt x="131" y="192"/>
                    </a:lnTo>
                    <a:lnTo>
                      <a:pt x="131" y="191"/>
                    </a:lnTo>
                    <a:lnTo>
                      <a:pt x="134" y="189"/>
                    </a:lnTo>
                    <a:lnTo>
                      <a:pt x="135" y="186"/>
                    </a:lnTo>
                    <a:lnTo>
                      <a:pt x="138" y="186"/>
                    </a:lnTo>
                    <a:lnTo>
                      <a:pt x="148" y="167"/>
                    </a:lnTo>
                    <a:lnTo>
                      <a:pt x="148" y="169"/>
                    </a:lnTo>
                    <a:lnTo>
                      <a:pt x="148" y="172"/>
                    </a:lnTo>
                    <a:lnTo>
                      <a:pt x="150" y="167"/>
                    </a:lnTo>
                    <a:lnTo>
                      <a:pt x="150" y="166"/>
                    </a:lnTo>
                    <a:lnTo>
                      <a:pt x="148" y="165"/>
                    </a:lnTo>
                    <a:lnTo>
                      <a:pt x="145" y="160"/>
                    </a:lnTo>
                    <a:lnTo>
                      <a:pt x="145" y="159"/>
                    </a:lnTo>
                    <a:lnTo>
                      <a:pt x="145" y="159"/>
                    </a:lnTo>
                    <a:lnTo>
                      <a:pt x="145" y="156"/>
                    </a:lnTo>
                    <a:lnTo>
                      <a:pt x="144" y="154"/>
                    </a:lnTo>
                    <a:lnTo>
                      <a:pt x="144" y="154"/>
                    </a:lnTo>
                    <a:lnTo>
                      <a:pt x="145" y="153"/>
                    </a:lnTo>
                    <a:lnTo>
                      <a:pt x="145" y="151"/>
                    </a:lnTo>
                    <a:lnTo>
                      <a:pt x="148" y="150"/>
                    </a:lnTo>
                    <a:lnTo>
                      <a:pt x="150" y="143"/>
                    </a:lnTo>
                    <a:lnTo>
                      <a:pt x="148" y="137"/>
                    </a:lnTo>
                    <a:lnTo>
                      <a:pt x="148" y="137"/>
                    </a:lnTo>
                    <a:lnTo>
                      <a:pt x="151" y="135"/>
                    </a:lnTo>
                    <a:lnTo>
                      <a:pt x="151" y="133"/>
                    </a:lnTo>
                    <a:lnTo>
                      <a:pt x="152" y="133"/>
                    </a:lnTo>
                    <a:lnTo>
                      <a:pt x="154" y="134"/>
                    </a:lnTo>
                    <a:lnTo>
                      <a:pt x="155" y="134"/>
                    </a:lnTo>
                    <a:lnTo>
                      <a:pt x="155" y="131"/>
                    </a:lnTo>
                    <a:lnTo>
                      <a:pt x="154" y="131"/>
                    </a:lnTo>
                    <a:lnTo>
                      <a:pt x="157" y="130"/>
                    </a:lnTo>
                    <a:lnTo>
                      <a:pt x="157" y="128"/>
                    </a:lnTo>
                    <a:lnTo>
                      <a:pt x="154" y="125"/>
                    </a:lnTo>
                    <a:lnTo>
                      <a:pt x="154" y="124"/>
                    </a:lnTo>
                    <a:lnTo>
                      <a:pt x="157" y="125"/>
                    </a:lnTo>
                    <a:lnTo>
                      <a:pt x="158" y="128"/>
                    </a:lnTo>
                    <a:lnTo>
                      <a:pt x="160" y="128"/>
                    </a:lnTo>
                    <a:lnTo>
                      <a:pt x="160" y="124"/>
                    </a:lnTo>
                    <a:lnTo>
                      <a:pt x="160" y="124"/>
                    </a:lnTo>
                    <a:lnTo>
                      <a:pt x="161" y="124"/>
                    </a:lnTo>
                    <a:lnTo>
                      <a:pt x="161" y="118"/>
                    </a:lnTo>
                    <a:lnTo>
                      <a:pt x="163" y="118"/>
                    </a:lnTo>
                    <a:lnTo>
                      <a:pt x="163" y="118"/>
                    </a:lnTo>
                    <a:lnTo>
                      <a:pt x="163" y="119"/>
                    </a:lnTo>
                    <a:lnTo>
                      <a:pt x="164" y="121"/>
                    </a:lnTo>
                    <a:lnTo>
                      <a:pt x="165" y="121"/>
                    </a:lnTo>
                    <a:lnTo>
                      <a:pt x="167" y="118"/>
                    </a:lnTo>
                    <a:lnTo>
                      <a:pt x="168" y="119"/>
                    </a:lnTo>
                    <a:lnTo>
                      <a:pt x="170" y="121"/>
                    </a:lnTo>
                    <a:lnTo>
                      <a:pt x="170" y="121"/>
                    </a:lnTo>
                    <a:lnTo>
                      <a:pt x="171" y="122"/>
                    </a:lnTo>
                    <a:lnTo>
                      <a:pt x="173" y="119"/>
                    </a:lnTo>
                    <a:lnTo>
                      <a:pt x="180" y="119"/>
                    </a:lnTo>
                    <a:lnTo>
                      <a:pt x="181" y="121"/>
                    </a:lnTo>
                    <a:lnTo>
                      <a:pt x="184" y="122"/>
                    </a:lnTo>
                    <a:lnTo>
                      <a:pt x="184" y="121"/>
                    </a:lnTo>
                    <a:lnTo>
                      <a:pt x="186" y="119"/>
                    </a:lnTo>
                    <a:lnTo>
                      <a:pt x="180" y="102"/>
                    </a:lnTo>
                    <a:lnTo>
                      <a:pt x="181" y="98"/>
                    </a:lnTo>
                    <a:lnTo>
                      <a:pt x="184" y="95"/>
                    </a:lnTo>
                    <a:lnTo>
                      <a:pt x="184" y="89"/>
                    </a:lnTo>
                    <a:lnTo>
                      <a:pt x="179" y="77"/>
                    </a:lnTo>
                    <a:lnTo>
                      <a:pt x="179" y="73"/>
                    </a:lnTo>
                    <a:lnTo>
                      <a:pt x="180" y="67"/>
                    </a:lnTo>
                    <a:lnTo>
                      <a:pt x="179" y="63"/>
                    </a:lnTo>
                    <a:lnTo>
                      <a:pt x="177" y="61"/>
                    </a:lnTo>
                    <a:lnTo>
                      <a:pt x="177" y="53"/>
                    </a:lnTo>
                    <a:lnTo>
                      <a:pt x="179" y="45"/>
                    </a:lnTo>
                    <a:lnTo>
                      <a:pt x="170" y="28"/>
                    </a:lnTo>
                    <a:lnTo>
                      <a:pt x="165" y="24"/>
                    </a:lnTo>
                    <a:lnTo>
                      <a:pt x="155" y="21"/>
                    </a:lnTo>
                    <a:lnTo>
                      <a:pt x="138" y="2"/>
                    </a:lnTo>
                    <a:lnTo>
                      <a:pt x="136" y="0"/>
                    </a:lnTo>
                    <a:lnTo>
                      <a:pt x="131" y="0"/>
                    </a:lnTo>
                    <a:lnTo>
                      <a:pt x="129" y="0"/>
                    </a:lnTo>
                    <a:lnTo>
                      <a:pt x="129" y="3"/>
                    </a:lnTo>
                    <a:lnTo>
                      <a:pt x="131" y="5"/>
                    </a:lnTo>
                    <a:lnTo>
                      <a:pt x="131" y="8"/>
                    </a:lnTo>
                    <a:lnTo>
                      <a:pt x="131" y="10"/>
                    </a:lnTo>
                    <a:lnTo>
                      <a:pt x="129" y="10"/>
                    </a:lnTo>
                    <a:lnTo>
                      <a:pt x="128" y="15"/>
                    </a:lnTo>
                    <a:lnTo>
                      <a:pt x="126" y="18"/>
                    </a:lnTo>
                    <a:lnTo>
                      <a:pt x="126" y="21"/>
                    </a:lnTo>
                    <a:lnTo>
                      <a:pt x="129" y="24"/>
                    </a:lnTo>
                    <a:lnTo>
                      <a:pt x="128" y="25"/>
                    </a:lnTo>
                    <a:lnTo>
                      <a:pt x="125" y="26"/>
                    </a:lnTo>
                    <a:lnTo>
                      <a:pt x="106" y="21"/>
                    </a:lnTo>
                    <a:lnTo>
                      <a:pt x="105" y="21"/>
                    </a:lnTo>
                    <a:lnTo>
                      <a:pt x="103" y="22"/>
                    </a:lnTo>
                    <a:lnTo>
                      <a:pt x="102" y="25"/>
                    </a:lnTo>
                    <a:lnTo>
                      <a:pt x="102" y="31"/>
                    </a:lnTo>
                    <a:lnTo>
                      <a:pt x="100" y="40"/>
                    </a:lnTo>
                    <a:lnTo>
                      <a:pt x="97" y="44"/>
                    </a:lnTo>
                    <a:lnTo>
                      <a:pt x="96" y="42"/>
                    </a:lnTo>
                    <a:lnTo>
                      <a:pt x="94" y="40"/>
                    </a:lnTo>
                    <a:lnTo>
                      <a:pt x="90" y="38"/>
                    </a:lnTo>
                    <a:lnTo>
                      <a:pt x="87" y="38"/>
                    </a:lnTo>
                    <a:lnTo>
                      <a:pt x="80" y="47"/>
                    </a:lnTo>
                    <a:lnTo>
                      <a:pt x="78" y="54"/>
                    </a:lnTo>
                    <a:lnTo>
                      <a:pt x="74" y="61"/>
                    </a:lnTo>
                    <a:lnTo>
                      <a:pt x="73" y="66"/>
                    </a:lnTo>
                    <a:lnTo>
                      <a:pt x="75" y="72"/>
                    </a:lnTo>
                    <a:lnTo>
                      <a:pt x="77" y="74"/>
                    </a:lnTo>
                    <a:lnTo>
                      <a:pt x="64" y="95"/>
                    </a:lnTo>
                    <a:lnTo>
                      <a:pt x="59" y="108"/>
                    </a:lnTo>
                    <a:lnTo>
                      <a:pt x="55" y="111"/>
                    </a:lnTo>
                    <a:lnTo>
                      <a:pt x="52" y="111"/>
                    </a:lnTo>
                    <a:lnTo>
                      <a:pt x="51" y="112"/>
                    </a:lnTo>
                    <a:lnTo>
                      <a:pt x="48" y="143"/>
                    </a:lnTo>
                    <a:lnTo>
                      <a:pt x="39" y="160"/>
                    </a:lnTo>
                    <a:lnTo>
                      <a:pt x="39" y="162"/>
                    </a:lnTo>
                    <a:lnTo>
                      <a:pt x="45" y="169"/>
                    </a:lnTo>
                    <a:lnTo>
                      <a:pt x="44" y="178"/>
                    </a:lnTo>
                    <a:lnTo>
                      <a:pt x="41" y="181"/>
                    </a:lnTo>
                    <a:lnTo>
                      <a:pt x="33" y="179"/>
                    </a:lnTo>
                    <a:lnTo>
                      <a:pt x="28" y="181"/>
                    </a:lnTo>
                    <a:lnTo>
                      <a:pt x="23" y="183"/>
                    </a:lnTo>
                    <a:lnTo>
                      <a:pt x="16" y="192"/>
                    </a:lnTo>
                    <a:lnTo>
                      <a:pt x="14" y="201"/>
                    </a:lnTo>
                    <a:lnTo>
                      <a:pt x="14" y="205"/>
                    </a:lnTo>
                    <a:lnTo>
                      <a:pt x="16" y="210"/>
                    </a:lnTo>
                    <a:lnTo>
                      <a:pt x="17" y="211"/>
                    </a:lnTo>
                    <a:lnTo>
                      <a:pt x="16" y="212"/>
                    </a:lnTo>
                    <a:lnTo>
                      <a:pt x="14" y="230"/>
                    </a:lnTo>
                    <a:lnTo>
                      <a:pt x="14" y="230"/>
                    </a:lnTo>
                    <a:lnTo>
                      <a:pt x="16" y="234"/>
                    </a:lnTo>
                    <a:lnTo>
                      <a:pt x="16" y="250"/>
                    </a:lnTo>
                    <a:lnTo>
                      <a:pt x="19" y="255"/>
                    </a:lnTo>
                    <a:lnTo>
                      <a:pt x="23" y="259"/>
                    </a:lnTo>
                    <a:lnTo>
                      <a:pt x="25" y="263"/>
                    </a:lnTo>
                    <a:lnTo>
                      <a:pt x="23" y="269"/>
                    </a:lnTo>
                    <a:lnTo>
                      <a:pt x="20" y="272"/>
                    </a:lnTo>
                    <a:lnTo>
                      <a:pt x="16" y="274"/>
                    </a:lnTo>
                    <a:lnTo>
                      <a:pt x="16" y="275"/>
                    </a:lnTo>
                    <a:lnTo>
                      <a:pt x="19" y="278"/>
                    </a:lnTo>
                    <a:lnTo>
                      <a:pt x="20" y="287"/>
                    </a:lnTo>
                    <a:lnTo>
                      <a:pt x="19" y="294"/>
                    </a:lnTo>
                    <a:lnTo>
                      <a:pt x="20" y="297"/>
                    </a:lnTo>
                    <a:lnTo>
                      <a:pt x="19" y="301"/>
                    </a:lnTo>
                    <a:lnTo>
                      <a:pt x="17" y="304"/>
                    </a:lnTo>
                    <a:lnTo>
                      <a:pt x="10" y="307"/>
                    </a:lnTo>
                    <a:lnTo>
                      <a:pt x="10" y="310"/>
                    </a:lnTo>
                    <a:lnTo>
                      <a:pt x="7" y="316"/>
                    </a:lnTo>
                    <a:lnTo>
                      <a:pt x="9" y="323"/>
                    </a:lnTo>
                    <a:lnTo>
                      <a:pt x="7" y="333"/>
                    </a:lnTo>
                    <a:lnTo>
                      <a:pt x="4" y="335"/>
                    </a:lnTo>
                    <a:lnTo>
                      <a:pt x="3" y="332"/>
                    </a:lnTo>
                    <a:lnTo>
                      <a:pt x="3" y="336"/>
                    </a:lnTo>
                    <a:lnTo>
                      <a:pt x="3" y="329"/>
                    </a:lnTo>
                    <a:lnTo>
                      <a:pt x="1" y="329"/>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62" name="Freeform 678"/>
              <p:cNvSpPr>
                <a:spLocks/>
              </p:cNvSpPr>
              <p:nvPr/>
            </p:nvSpPr>
            <p:spPr bwMode="auto">
              <a:xfrm>
                <a:off x="6262928" y="1844699"/>
                <a:ext cx="170293" cy="444190"/>
              </a:xfrm>
              <a:custGeom>
                <a:avLst/>
                <a:gdLst/>
                <a:ahLst/>
                <a:cxnLst>
                  <a:cxn ang="0">
                    <a:pos x="4" y="351"/>
                  </a:cxn>
                  <a:cxn ang="0">
                    <a:pos x="7" y="351"/>
                  </a:cxn>
                  <a:cxn ang="0">
                    <a:pos x="9" y="364"/>
                  </a:cxn>
                  <a:cxn ang="0">
                    <a:pos x="13" y="375"/>
                  </a:cxn>
                  <a:cxn ang="0">
                    <a:pos x="26" y="398"/>
                  </a:cxn>
                  <a:cxn ang="0">
                    <a:pos x="20" y="403"/>
                  </a:cxn>
                  <a:cxn ang="0">
                    <a:pos x="25" y="425"/>
                  </a:cxn>
                  <a:cxn ang="0">
                    <a:pos x="44" y="425"/>
                  </a:cxn>
                  <a:cxn ang="0">
                    <a:pos x="54" y="404"/>
                  </a:cxn>
                  <a:cxn ang="0">
                    <a:pos x="74" y="391"/>
                  </a:cxn>
                  <a:cxn ang="0">
                    <a:pos x="77" y="368"/>
                  </a:cxn>
                  <a:cxn ang="0">
                    <a:pos x="78" y="359"/>
                  </a:cxn>
                  <a:cxn ang="0">
                    <a:pos x="80" y="349"/>
                  </a:cxn>
                  <a:cxn ang="0">
                    <a:pos x="81" y="345"/>
                  </a:cxn>
                  <a:cxn ang="0">
                    <a:pos x="83" y="339"/>
                  </a:cxn>
                  <a:cxn ang="0">
                    <a:pos x="93" y="333"/>
                  </a:cxn>
                  <a:cxn ang="0">
                    <a:pos x="105" y="324"/>
                  </a:cxn>
                  <a:cxn ang="0">
                    <a:pos x="87" y="323"/>
                  </a:cxn>
                  <a:cxn ang="0">
                    <a:pos x="75" y="317"/>
                  </a:cxn>
                  <a:cxn ang="0">
                    <a:pos x="86" y="317"/>
                  </a:cxn>
                  <a:cxn ang="0">
                    <a:pos x="93" y="317"/>
                  </a:cxn>
                  <a:cxn ang="0">
                    <a:pos x="110" y="305"/>
                  </a:cxn>
                  <a:cxn ang="0">
                    <a:pos x="99" y="291"/>
                  </a:cxn>
                  <a:cxn ang="0">
                    <a:pos x="89" y="291"/>
                  </a:cxn>
                  <a:cxn ang="0">
                    <a:pos x="78" y="297"/>
                  </a:cxn>
                  <a:cxn ang="0">
                    <a:pos x="86" y="282"/>
                  </a:cxn>
                  <a:cxn ang="0">
                    <a:pos x="86" y="252"/>
                  </a:cxn>
                  <a:cxn ang="0">
                    <a:pos x="89" y="231"/>
                  </a:cxn>
                  <a:cxn ang="0">
                    <a:pos x="96" y="226"/>
                  </a:cxn>
                  <a:cxn ang="0">
                    <a:pos x="99" y="220"/>
                  </a:cxn>
                  <a:cxn ang="0">
                    <a:pos x="100" y="214"/>
                  </a:cxn>
                  <a:cxn ang="0">
                    <a:pos x="109" y="207"/>
                  </a:cxn>
                  <a:cxn ang="0">
                    <a:pos x="120" y="195"/>
                  </a:cxn>
                  <a:cxn ang="0">
                    <a:pos x="131" y="191"/>
                  </a:cxn>
                  <a:cxn ang="0">
                    <a:pos x="148" y="172"/>
                  </a:cxn>
                  <a:cxn ang="0">
                    <a:pos x="145" y="159"/>
                  </a:cxn>
                  <a:cxn ang="0">
                    <a:pos x="148" y="150"/>
                  </a:cxn>
                  <a:cxn ang="0">
                    <a:pos x="152" y="133"/>
                  </a:cxn>
                  <a:cxn ang="0">
                    <a:pos x="157" y="128"/>
                  </a:cxn>
                  <a:cxn ang="0">
                    <a:pos x="160" y="124"/>
                  </a:cxn>
                  <a:cxn ang="0">
                    <a:pos x="163" y="119"/>
                  </a:cxn>
                  <a:cxn ang="0">
                    <a:pos x="170" y="121"/>
                  </a:cxn>
                  <a:cxn ang="0">
                    <a:pos x="184" y="121"/>
                  </a:cxn>
                  <a:cxn ang="0">
                    <a:pos x="179" y="77"/>
                  </a:cxn>
                  <a:cxn ang="0">
                    <a:pos x="179" y="45"/>
                  </a:cxn>
                  <a:cxn ang="0">
                    <a:pos x="131" y="0"/>
                  </a:cxn>
                  <a:cxn ang="0">
                    <a:pos x="129" y="10"/>
                  </a:cxn>
                  <a:cxn ang="0">
                    <a:pos x="125" y="26"/>
                  </a:cxn>
                  <a:cxn ang="0">
                    <a:pos x="100" y="40"/>
                  </a:cxn>
                  <a:cxn ang="0">
                    <a:pos x="80" y="47"/>
                  </a:cxn>
                  <a:cxn ang="0">
                    <a:pos x="64" y="95"/>
                  </a:cxn>
                  <a:cxn ang="0">
                    <a:pos x="39" y="160"/>
                  </a:cxn>
                  <a:cxn ang="0">
                    <a:pos x="28" y="181"/>
                  </a:cxn>
                  <a:cxn ang="0">
                    <a:pos x="17" y="211"/>
                  </a:cxn>
                  <a:cxn ang="0">
                    <a:pos x="19" y="255"/>
                  </a:cxn>
                  <a:cxn ang="0">
                    <a:pos x="16" y="275"/>
                  </a:cxn>
                  <a:cxn ang="0">
                    <a:pos x="17" y="304"/>
                  </a:cxn>
                  <a:cxn ang="0">
                    <a:pos x="4" y="335"/>
                  </a:cxn>
                </a:cxnLst>
                <a:rect l="0" t="0" r="r" b="b"/>
                <a:pathLst>
                  <a:path w="186" h="426">
                    <a:moveTo>
                      <a:pt x="1" y="329"/>
                    </a:moveTo>
                    <a:lnTo>
                      <a:pt x="0" y="332"/>
                    </a:lnTo>
                    <a:lnTo>
                      <a:pt x="3" y="346"/>
                    </a:lnTo>
                    <a:lnTo>
                      <a:pt x="3" y="346"/>
                    </a:lnTo>
                    <a:lnTo>
                      <a:pt x="4" y="348"/>
                    </a:lnTo>
                    <a:lnTo>
                      <a:pt x="4" y="351"/>
                    </a:lnTo>
                    <a:lnTo>
                      <a:pt x="4" y="351"/>
                    </a:lnTo>
                    <a:lnTo>
                      <a:pt x="6" y="349"/>
                    </a:lnTo>
                    <a:lnTo>
                      <a:pt x="6" y="348"/>
                    </a:lnTo>
                    <a:lnTo>
                      <a:pt x="7" y="348"/>
                    </a:lnTo>
                    <a:lnTo>
                      <a:pt x="6" y="351"/>
                    </a:lnTo>
                    <a:lnTo>
                      <a:pt x="7" y="351"/>
                    </a:lnTo>
                    <a:lnTo>
                      <a:pt x="7" y="351"/>
                    </a:lnTo>
                    <a:lnTo>
                      <a:pt x="7" y="352"/>
                    </a:lnTo>
                    <a:lnTo>
                      <a:pt x="4" y="355"/>
                    </a:lnTo>
                    <a:lnTo>
                      <a:pt x="9" y="356"/>
                    </a:lnTo>
                    <a:lnTo>
                      <a:pt x="10" y="359"/>
                    </a:lnTo>
                    <a:lnTo>
                      <a:pt x="9" y="364"/>
                    </a:lnTo>
                    <a:lnTo>
                      <a:pt x="12" y="362"/>
                    </a:lnTo>
                    <a:lnTo>
                      <a:pt x="13" y="365"/>
                    </a:lnTo>
                    <a:lnTo>
                      <a:pt x="10" y="368"/>
                    </a:lnTo>
                    <a:lnTo>
                      <a:pt x="12" y="372"/>
                    </a:lnTo>
                    <a:lnTo>
                      <a:pt x="12" y="375"/>
                    </a:lnTo>
                    <a:lnTo>
                      <a:pt x="13" y="375"/>
                    </a:lnTo>
                    <a:lnTo>
                      <a:pt x="17" y="385"/>
                    </a:lnTo>
                    <a:lnTo>
                      <a:pt x="19" y="388"/>
                    </a:lnTo>
                    <a:lnTo>
                      <a:pt x="20" y="391"/>
                    </a:lnTo>
                    <a:lnTo>
                      <a:pt x="23" y="394"/>
                    </a:lnTo>
                    <a:lnTo>
                      <a:pt x="26" y="397"/>
                    </a:lnTo>
                    <a:lnTo>
                      <a:pt x="26" y="398"/>
                    </a:lnTo>
                    <a:lnTo>
                      <a:pt x="25" y="400"/>
                    </a:lnTo>
                    <a:lnTo>
                      <a:pt x="22" y="398"/>
                    </a:lnTo>
                    <a:lnTo>
                      <a:pt x="22" y="400"/>
                    </a:lnTo>
                    <a:lnTo>
                      <a:pt x="23" y="404"/>
                    </a:lnTo>
                    <a:lnTo>
                      <a:pt x="22" y="404"/>
                    </a:lnTo>
                    <a:lnTo>
                      <a:pt x="20" y="403"/>
                    </a:lnTo>
                    <a:lnTo>
                      <a:pt x="20" y="404"/>
                    </a:lnTo>
                    <a:lnTo>
                      <a:pt x="28" y="419"/>
                    </a:lnTo>
                    <a:lnTo>
                      <a:pt x="26" y="420"/>
                    </a:lnTo>
                    <a:lnTo>
                      <a:pt x="26" y="423"/>
                    </a:lnTo>
                    <a:lnTo>
                      <a:pt x="25" y="425"/>
                    </a:lnTo>
                    <a:lnTo>
                      <a:pt x="25" y="425"/>
                    </a:lnTo>
                    <a:lnTo>
                      <a:pt x="28" y="425"/>
                    </a:lnTo>
                    <a:lnTo>
                      <a:pt x="30" y="426"/>
                    </a:lnTo>
                    <a:lnTo>
                      <a:pt x="36" y="425"/>
                    </a:lnTo>
                    <a:lnTo>
                      <a:pt x="41" y="425"/>
                    </a:lnTo>
                    <a:lnTo>
                      <a:pt x="42" y="426"/>
                    </a:lnTo>
                    <a:lnTo>
                      <a:pt x="44" y="425"/>
                    </a:lnTo>
                    <a:lnTo>
                      <a:pt x="45" y="420"/>
                    </a:lnTo>
                    <a:lnTo>
                      <a:pt x="45" y="414"/>
                    </a:lnTo>
                    <a:lnTo>
                      <a:pt x="48" y="409"/>
                    </a:lnTo>
                    <a:lnTo>
                      <a:pt x="49" y="409"/>
                    </a:lnTo>
                    <a:lnTo>
                      <a:pt x="51" y="407"/>
                    </a:lnTo>
                    <a:lnTo>
                      <a:pt x="54" y="404"/>
                    </a:lnTo>
                    <a:lnTo>
                      <a:pt x="57" y="406"/>
                    </a:lnTo>
                    <a:lnTo>
                      <a:pt x="59" y="406"/>
                    </a:lnTo>
                    <a:lnTo>
                      <a:pt x="62" y="406"/>
                    </a:lnTo>
                    <a:lnTo>
                      <a:pt x="65" y="406"/>
                    </a:lnTo>
                    <a:lnTo>
                      <a:pt x="68" y="406"/>
                    </a:lnTo>
                    <a:lnTo>
                      <a:pt x="74" y="391"/>
                    </a:lnTo>
                    <a:lnTo>
                      <a:pt x="74" y="385"/>
                    </a:lnTo>
                    <a:lnTo>
                      <a:pt x="75" y="382"/>
                    </a:lnTo>
                    <a:lnTo>
                      <a:pt x="75" y="378"/>
                    </a:lnTo>
                    <a:lnTo>
                      <a:pt x="78" y="372"/>
                    </a:lnTo>
                    <a:lnTo>
                      <a:pt x="78" y="369"/>
                    </a:lnTo>
                    <a:lnTo>
                      <a:pt x="77" y="368"/>
                    </a:lnTo>
                    <a:lnTo>
                      <a:pt x="78" y="365"/>
                    </a:lnTo>
                    <a:lnTo>
                      <a:pt x="78" y="364"/>
                    </a:lnTo>
                    <a:lnTo>
                      <a:pt x="77" y="361"/>
                    </a:lnTo>
                    <a:lnTo>
                      <a:pt x="77" y="361"/>
                    </a:lnTo>
                    <a:lnTo>
                      <a:pt x="77" y="359"/>
                    </a:lnTo>
                    <a:lnTo>
                      <a:pt x="78" y="359"/>
                    </a:lnTo>
                    <a:lnTo>
                      <a:pt x="80" y="359"/>
                    </a:lnTo>
                    <a:lnTo>
                      <a:pt x="78" y="358"/>
                    </a:lnTo>
                    <a:lnTo>
                      <a:pt x="78" y="356"/>
                    </a:lnTo>
                    <a:lnTo>
                      <a:pt x="80" y="355"/>
                    </a:lnTo>
                    <a:lnTo>
                      <a:pt x="80" y="353"/>
                    </a:lnTo>
                    <a:lnTo>
                      <a:pt x="80" y="349"/>
                    </a:lnTo>
                    <a:lnTo>
                      <a:pt x="80" y="348"/>
                    </a:lnTo>
                    <a:lnTo>
                      <a:pt x="75" y="345"/>
                    </a:lnTo>
                    <a:lnTo>
                      <a:pt x="75" y="345"/>
                    </a:lnTo>
                    <a:lnTo>
                      <a:pt x="78" y="346"/>
                    </a:lnTo>
                    <a:lnTo>
                      <a:pt x="81" y="345"/>
                    </a:lnTo>
                    <a:lnTo>
                      <a:pt x="81" y="345"/>
                    </a:lnTo>
                    <a:lnTo>
                      <a:pt x="78" y="342"/>
                    </a:lnTo>
                    <a:lnTo>
                      <a:pt x="71" y="340"/>
                    </a:lnTo>
                    <a:lnTo>
                      <a:pt x="73" y="340"/>
                    </a:lnTo>
                    <a:lnTo>
                      <a:pt x="78" y="339"/>
                    </a:lnTo>
                    <a:lnTo>
                      <a:pt x="81" y="340"/>
                    </a:lnTo>
                    <a:lnTo>
                      <a:pt x="83" y="339"/>
                    </a:lnTo>
                    <a:lnTo>
                      <a:pt x="84" y="337"/>
                    </a:lnTo>
                    <a:lnTo>
                      <a:pt x="87" y="337"/>
                    </a:lnTo>
                    <a:lnTo>
                      <a:pt x="91" y="332"/>
                    </a:lnTo>
                    <a:lnTo>
                      <a:pt x="91" y="329"/>
                    </a:lnTo>
                    <a:lnTo>
                      <a:pt x="93" y="330"/>
                    </a:lnTo>
                    <a:lnTo>
                      <a:pt x="93" y="333"/>
                    </a:lnTo>
                    <a:lnTo>
                      <a:pt x="97" y="333"/>
                    </a:lnTo>
                    <a:lnTo>
                      <a:pt x="99" y="329"/>
                    </a:lnTo>
                    <a:lnTo>
                      <a:pt x="102" y="326"/>
                    </a:lnTo>
                    <a:lnTo>
                      <a:pt x="102" y="323"/>
                    </a:lnTo>
                    <a:lnTo>
                      <a:pt x="103" y="324"/>
                    </a:lnTo>
                    <a:lnTo>
                      <a:pt x="105" y="324"/>
                    </a:lnTo>
                    <a:lnTo>
                      <a:pt x="105" y="323"/>
                    </a:lnTo>
                    <a:lnTo>
                      <a:pt x="106" y="321"/>
                    </a:lnTo>
                    <a:lnTo>
                      <a:pt x="106" y="320"/>
                    </a:lnTo>
                    <a:lnTo>
                      <a:pt x="91" y="323"/>
                    </a:lnTo>
                    <a:lnTo>
                      <a:pt x="89" y="323"/>
                    </a:lnTo>
                    <a:lnTo>
                      <a:pt x="87" y="323"/>
                    </a:lnTo>
                    <a:lnTo>
                      <a:pt x="87" y="321"/>
                    </a:lnTo>
                    <a:lnTo>
                      <a:pt x="86" y="320"/>
                    </a:lnTo>
                    <a:lnTo>
                      <a:pt x="80" y="317"/>
                    </a:lnTo>
                    <a:lnTo>
                      <a:pt x="75" y="319"/>
                    </a:lnTo>
                    <a:lnTo>
                      <a:pt x="74" y="317"/>
                    </a:lnTo>
                    <a:lnTo>
                      <a:pt x="75" y="317"/>
                    </a:lnTo>
                    <a:lnTo>
                      <a:pt x="77" y="314"/>
                    </a:lnTo>
                    <a:lnTo>
                      <a:pt x="78" y="316"/>
                    </a:lnTo>
                    <a:lnTo>
                      <a:pt x="80" y="314"/>
                    </a:lnTo>
                    <a:lnTo>
                      <a:pt x="84" y="316"/>
                    </a:lnTo>
                    <a:lnTo>
                      <a:pt x="84" y="314"/>
                    </a:lnTo>
                    <a:lnTo>
                      <a:pt x="86" y="317"/>
                    </a:lnTo>
                    <a:lnTo>
                      <a:pt x="89" y="316"/>
                    </a:lnTo>
                    <a:lnTo>
                      <a:pt x="89" y="316"/>
                    </a:lnTo>
                    <a:lnTo>
                      <a:pt x="90" y="317"/>
                    </a:lnTo>
                    <a:lnTo>
                      <a:pt x="91" y="317"/>
                    </a:lnTo>
                    <a:lnTo>
                      <a:pt x="93" y="316"/>
                    </a:lnTo>
                    <a:lnTo>
                      <a:pt x="93" y="317"/>
                    </a:lnTo>
                    <a:lnTo>
                      <a:pt x="94" y="320"/>
                    </a:lnTo>
                    <a:lnTo>
                      <a:pt x="97" y="320"/>
                    </a:lnTo>
                    <a:lnTo>
                      <a:pt x="105" y="316"/>
                    </a:lnTo>
                    <a:lnTo>
                      <a:pt x="107" y="311"/>
                    </a:lnTo>
                    <a:lnTo>
                      <a:pt x="109" y="310"/>
                    </a:lnTo>
                    <a:lnTo>
                      <a:pt x="110" y="305"/>
                    </a:lnTo>
                    <a:lnTo>
                      <a:pt x="109" y="301"/>
                    </a:lnTo>
                    <a:lnTo>
                      <a:pt x="105" y="300"/>
                    </a:lnTo>
                    <a:lnTo>
                      <a:pt x="103" y="295"/>
                    </a:lnTo>
                    <a:lnTo>
                      <a:pt x="105" y="295"/>
                    </a:lnTo>
                    <a:lnTo>
                      <a:pt x="105" y="294"/>
                    </a:lnTo>
                    <a:lnTo>
                      <a:pt x="99" y="291"/>
                    </a:lnTo>
                    <a:lnTo>
                      <a:pt x="97" y="287"/>
                    </a:lnTo>
                    <a:lnTo>
                      <a:pt x="93" y="287"/>
                    </a:lnTo>
                    <a:lnTo>
                      <a:pt x="91" y="285"/>
                    </a:lnTo>
                    <a:lnTo>
                      <a:pt x="90" y="284"/>
                    </a:lnTo>
                    <a:lnTo>
                      <a:pt x="90" y="285"/>
                    </a:lnTo>
                    <a:lnTo>
                      <a:pt x="89" y="291"/>
                    </a:lnTo>
                    <a:lnTo>
                      <a:pt x="80" y="298"/>
                    </a:lnTo>
                    <a:lnTo>
                      <a:pt x="78" y="298"/>
                    </a:lnTo>
                    <a:lnTo>
                      <a:pt x="75" y="300"/>
                    </a:lnTo>
                    <a:lnTo>
                      <a:pt x="73" y="298"/>
                    </a:lnTo>
                    <a:lnTo>
                      <a:pt x="75" y="297"/>
                    </a:lnTo>
                    <a:lnTo>
                      <a:pt x="78" y="297"/>
                    </a:lnTo>
                    <a:lnTo>
                      <a:pt x="81" y="294"/>
                    </a:lnTo>
                    <a:lnTo>
                      <a:pt x="83" y="292"/>
                    </a:lnTo>
                    <a:lnTo>
                      <a:pt x="87" y="288"/>
                    </a:lnTo>
                    <a:lnTo>
                      <a:pt x="89" y="287"/>
                    </a:lnTo>
                    <a:lnTo>
                      <a:pt x="89" y="282"/>
                    </a:lnTo>
                    <a:lnTo>
                      <a:pt x="86" y="282"/>
                    </a:lnTo>
                    <a:lnTo>
                      <a:pt x="87" y="281"/>
                    </a:lnTo>
                    <a:lnTo>
                      <a:pt x="87" y="278"/>
                    </a:lnTo>
                    <a:lnTo>
                      <a:pt x="86" y="275"/>
                    </a:lnTo>
                    <a:lnTo>
                      <a:pt x="86" y="258"/>
                    </a:lnTo>
                    <a:lnTo>
                      <a:pt x="86" y="253"/>
                    </a:lnTo>
                    <a:lnTo>
                      <a:pt x="86" y="252"/>
                    </a:lnTo>
                    <a:lnTo>
                      <a:pt x="90" y="255"/>
                    </a:lnTo>
                    <a:lnTo>
                      <a:pt x="90" y="252"/>
                    </a:lnTo>
                    <a:lnTo>
                      <a:pt x="89" y="246"/>
                    </a:lnTo>
                    <a:lnTo>
                      <a:pt x="91" y="236"/>
                    </a:lnTo>
                    <a:lnTo>
                      <a:pt x="90" y="234"/>
                    </a:lnTo>
                    <a:lnTo>
                      <a:pt x="89" y="231"/>
                    </a:lnTo>
                    <a:lnTo>
                      <a:pt x="89" y="228"/>
                    </a:lnTo>
                    <a:lnTo>
                      <a:pt x="93" y="230"/>
                    </a:lnTo>
                    <a:lnTo>
                      <a:pt x="93" y="230"/>
                    </a:lnTo>
                    <a:lnTo>
                      <a:pt x="94" y="228"/>
                    </a:lnTo>
                    <a:lnTo>
                      <a:pt x="96" y="227"/>
                    </a:lnTo>
                    <a:lnTo>
                      <a:pt x="96" y="226"/>
                    </a:lnTo>
                    <a:lnTo>
                      <a:pt x="96" y="226"/>
                    </a:lnTo>
                    <a:lnTo>
                      <a:pt x="96" y="221"/>
                    </a:lnTo>
                    <a:lnTo>
                      <a:pt x="96" y="218"/>
                    </a:lnTo>
                    <a:lnTo>
                      <a:pt x="96" y="215"/>
                    </a:lnTo>
                    <a:lnTo>
                      <a:pt x="96" y="218"/>
                    </a:lnTo>
                    <a:lnTo>
                      <a:pt x="99" y="220"/>
                    </a:lnTo>
                    <a:lnTo>
                      <a:pt x="99" y="220"/>
                    </a:lnTo>
                    <a:lnTo>
                      <a:pt x="100" y="217"/>
                    </a:lnTo>
                    <a:lnTo>
                      <a:pt x="103" y="218"/>
                    </a:lnTo>
                    <a:lnTo>
                      <a:pt x="103" y="217"/>
                    </a:lnTo>
                    <a:lnTo>
                      <a:pt x="103" y="215"/>
                    </a:lnTo>
                    <a:lnTo>
                      <a:pt x="100" y="214"/>
                    </a:lnTo>
                    <a:lnTo>
                      <a:pt x="103" y="214"/>
                    </a:lnTo>
                    <a:lnTo>
                      <a:pt x="105" y="212"/>
                    </a:lnTo>
                    <a:lnTo>
                      <a:pt x="105" y="211"/>
                    </a:lnTo>
                    <a:lnTo>
                      <a:pt x="107" y="210"/>
                    </a:lnTo>
                    <a:lnTo>
                      <a:pt x="107" y="207"/>
                    </a:lnTo>
                    <a:lnTo>
                      <a:pt x="109" y="207"/>
                    </a:lnTo>
                    <a:lnTo>
                      <a:pt x="109" y="204"/>
                    </a:lnTo>
                    <a:lnTo>
                      <a:pt x="110" y="204"/>
                    </a:lnTo>
                    <a:lnTo>
                      <a:pt x="113" y="204"/>
                    </a:lnTo>
                    <a:lnTo>
                      <a:pt x="116" y="201"/>
                    </a:lnTo>
                    <a:lnTo>
                      <a:pt x="118" y="199"/>
                    </a:lnTo>
                    <a:lnTo>
                      <a:pt x="120" y="195"/>
                    </a:lnTo>
                    <a:lnTo>
                      <a:pt x="122" y="198"/>
                    </a:lnTo>
                    <a:lnTo>
                      <a:pt x="125" y="195"/>
                    </a:lnTo>
                    <a:lnTo>
                      <a:pt x="126" y="194"/>
                    </a:lnTo>
                    <a:lnTo>
                      <a:pt x="128" y="191"/>
                    </a:lnTo>
                    <a:lnTo>
                      <a:pt x="131" y="192"/>
                    </a:lnTo>
                    <a:lnTo>
                      <a:pt x="131" y="191"/>
                    </a:lnTo>
                    <a:lnTo>
                      <a:pt x="134" y="189"/>
                    </a:lnTo>
                    <a:lnTo>
                      <a:pt x="135" y="186"/>
                    </a:lnTo>
                    <a:lnTo>
                      <a:pt x="138" y="186"/>
                    </a:lnTo>
                    <a:lnTo>
                      <a:pt x="148" y="167"/>
                    </a:lnTo>
                    <a:lnTo>
                      <a:pt x="148" y="169"/>
                    </a:lnTo>
                    <a:lnTo>
                      <a:pt x="148" y="172"/>
                    </a:lnTo>
                    <a:lnTo>
                      <a:pt x="150" y="167"/>
                    </a:lnTo>
                    <a:lnTo>
                      <a:pt x="150" y="166"/>
                    </a:lnTo>
                    <a:lnTo>
                      <a:pt x="148" y="165"/>
                    </a:lnTo>
                    <a:lnTo>
                      <a:pt x="145" y="160"/>
                    </a:lnTo>
                    <a:lnTo>
                      <a:pt x="145" y="159"/>
                    </a:lnTo>
                    <a:lnTo>
                      <a:pt x="145" y="159"/>
                    </a:lnTo>
                    <a:lnTo>
                      <a:pt x="145" y="156"/>
                    </a:lnTo>
                    <a:lnTo>
                      <a:pt x="144" y="154"/>
                    </a:lnTo>
                    <a:lnTo>
                      <a:pt x="144" y="154"/>
                    </a:lnTo>
                    <a:lnTo>
                      <a:pt x="145" y="153"/>
                    </a:lnTo>
                    <a:lnTo>
                      <a:pt x="145" y="151"/>
                    </a:lnTo>
                    <a:lnTo>
                      <a:pt x="148" y="150"/>
                    </a:lnTo>
                    <a:lnTo>
                      <a:pt x="150" y="143"/>
                    </a:lnTo>
                    <a:lnTo>
                      <a:pt x="148" y="137"/>
                    </a:lnTo>
                    <a:lnTo>
                      <a:pt x="148" y="137"/>
                    </a:lnTo>
                    <a:lnTo>
                      <a:pt x="151" y="135"/>
                    </a:lnTo>
                    <a:lnTo>
                      <a:pt x="151" y="133"/>
                    </a:lnTo>
                    <a:lnTo>
                      <a:pt x="152" y="133"/>
                    </a:lnTo>
                    <a:lnTo>
                      <a:pt x="154" y="134"/>
                    </a:lnTo>
                    <a:lnTo>
                      <a:pt x="155" y="134"/>
                    </a:lnTo>
                    <a:lnTo>
                      <a:pt x="155" y="131"/>
                    </a:lnTo>
                    <a:lnTo>
                      <a:pt x="154" y="131"/>
                    </a:lnTo>
                    <a:lnTo>
                      <a:pt x="157" y="130"/>
                    </a:lnTo>
                    <a:lnTo>
                      <a:pt x="157" y="128"/>
                    </a:lnTo>
                    <a:lnTo>
                      <a:pt x="154" y="125"/>
                    </a:lnTo>
                    <a:lnTo>
                      <a:pt x="154" y="124"/>
                    </a:lnTo>
                    <a:lnTo>
                      <a:pt x="157" y="125"/>
                    </a:lnTo>
                    <a:lnTo>
                      <a:pt x="158" y="128"/>
                    </a:lnTo>
                    <a:lnTo>
                      <a:pt x="160" y="128"/>
                    </a:lnTo>
                    <a:lnTo>
                      <a:pt x="160" y="124"/>
                    </a:lnTo>
                    <a:lnTo>
                      <a:pt x="160" y="124"/>
                    </a:lnTo>
                    <a:lnTo>
                      <a:pt x="161" y="124"/>
                    </a:lnTo>
                    <a:lnTo>
                      <a:pt x="161" y="118"/>
                    </a:lnTo>
                    <a:lnTo>
                      <a:pt x="163" y="118"/>
                    </a:lnTo>
                    <a:lnTo>
                      <a:pt x="163" y="118"/>
                    </a:lnTo>
                    <a:lnTo>
                      <a:pt x="163" y="119"/>
                    </a:lnTo>
                    <a:lnTo>
                      <a:pt x="164" y="121"/>
                    </a:lnTo>
                    <a:lnTo>
                      <a:pt x="165" y="121"/>
                    </a:lnTo>
                    <a:lnTo>
                      <a:pt x="167" y="118"/>
                    </a:lnTo>
                    <a:lnTo>
                      <a:pt x="168" y="119"/>
                    </a:lnTo>
                    <a:lnTo>
                      <a:pt x="170" y="121"/>
                    </a:lnTo>
                    <a:lnTo>
                      <a:pt x="170" y="121"/>
                    </a:lnTo>
                    <a:lnTo>
                      <a:pt x="171" y="122"/>
                    </a:lnTo>
                    <a:lnTo>
                      <a:pt x="173" y="119"/>
                    </a:lnTo>
                    <a:lnTo>
                      <a:pt x="180" y="119"/>
                    </a:lnTo>
                    <a:lnTo>
                      <a:pt x="181" y="121"/>
                    </a:lnTo>
                    <a:lnTo>
                      <a:pt x="184" y="122"/>
                    </a:lnTo>
                    <a:lnTo>
                      <a:pt x="184" y="121"/>
                    </a:lnTo>
                    <a:lnTo>
                      <a:pt x="186" y="119"/>
                    </a:lnTo>
                    <a:lnTo>
                      <a:pt x="180" y="102"/>
                    </a:lnTo>
                    <a:lnTo>
                      <a:pt x="181" y="98"/>
                    </a:lnTo>
                    <a:lnTo>
                      <a:pt x="184" y="95"/>
                    </a:lnTo>
                    <a:lnTo>
                      <a:pt x="184" y="89"/>
                    </a:lnTo>
                    <a:lnTo>
                      <a:pt x="179" y="77"/>
                    </a:lnTo>
                    <a:lnTo>
                      <a:pt x="179" y="73"/>
                    </a:lnTo>
                    <a:lnTo>
                      <a:pt x="180" y="67"/>
                    </a:lnTo>
                    <a:lnTo>
                      <a:pt x="179" y="63"/>
                    </a:lnTo>
                    <a:lnTo>
                      <a:pt x="177" y="61"/>
                    </a:lnTo>
                    <a:lnTo>
                      <a:pt x="177" y="53"/>
                    </a:lnTo>
                    <a:lnTo>
                      <a:pt x="179" y="45"/>
                    </a:lnTo>
                    <a:lnTo>
                      <a:pt x="170" y="28"/>
                    </a:lnTo>
                    <a:lnTo>
                      <a:pt x="165" y="24"/>
                    </a:lnTo>
                    <a:lnTo>
                      <a:pt x="155" y="21"/>
                    </a:lnTo>
                    <a:lnTo>
                      <a:pt x="138" y="2"/>
                    </a:lnTo>
                    <a:lnTo>
                      <a:pt x="136" y="0"/>
                    </a:lnTo>
                    <a:lnTo>
                      <a:pt x="131" y="0"/>
                    </a:lnTo>
                    <a:lnTo>
                      <a:pt x="129" y="0"/>
                    </a:lnTo>
                    <a:lnTo>
                      <a:pt x="129" y="3"/>
                    </a:lnTo>
                    <a:lnTo>
                      <a:pt x="131" y="5"/>
                    </a:lnTo>
                    <a:lnTo>
                      <a:pt x="131" y="8"/>
                    </a:lnTo>
                    <a:lnTo>
                      <a:pt x="131" y="10"/>
                    </a:lnTo>
                    <a:lnTo>
                      <a:pt x="129" y="10"/>
                    </a:lnTo>
                    <a:lnTo>
                      <a:pt x="128" y="15"/>
                    </a:lnTo>
                    <a:lnTo>
                      <a:pt x="126" y="18"/>
                    </a:lnTo>
                    <a:lnTo>
                      <a:pt x="126" y="21"/>
                    </a:lnTo>
                    <a:lnTo>
                      <a:pt x="129" y="24"/>
                    </a:lnTo>
                    <a:lnTo>
                      <a:pt x="128" y="25"/>
                    </a:lnTo>
                    <a:lnTo>
                      <a:pt x="125" y="26"/>
                    </a:lnTo>
                    <a:lnTo>
                      <a:pt x="106" y="21"/>
                    </a:lnTo>
                    <a:lnTo>
                      <a:pt x="105" y="21"/>
                    </a:lnTo>
                    <a:lnTo>
                      <a:pt x="103" y="22"/>
                    </a:lnTo>
                    <a:lnTo>
                      <a:pt x="102" y="25"/>
                    </a:lnTo>
                    <a:lnTo>
                      <a:pt x="102" y="31"/>
                    </a:lnTo>
                    <a:lnTo>
                      <a:pt x="100" y="40"/>
                    </a:lnTo>
                    <a:lnTo>
                      <a:pt x="97" y="44"/>
                    </a:lnTo>
                    <a:lnTo>
                      <a:pt x="96" y="42"/>
                    </a:lnTo>
                    <a:lnTo>
                      <a:pt x="94" y="40"/>
                    </a:lnTo>
                    <a:lnTo>
                      <a:pt x="90" y="38"/>
                    </a:lnTo>
                    <a:lnTo>
                      <a:pt x="87" y="38"/>
                    </a:lnTo>
                    <a:lnTo>
                      <a:pt x="80" y="47"/>
                    </a:lnTo>
                    <a:lnTo>
                      <a:pt x="78" y="54"/>
                    </a:lnTo>
                    <a:lnTo>
                      <a:pt x="74" y="61"/>
                    </a:lnTo>
                    <a:lnTo>
                      <a:pt x="73" y="66"/>
                    </a:lnTo>
                    <a:lnTo>
                      <a:pt x="75" y="72"/>
                    </a:lnTo>
                    <a:lnTo>
                      <a:pt x="77" y="74"/>
                    </a:lnTo>
                    <a:lnTo>
                      <a:pt x="64" y="95"/>
                    </a:lnTo>
                    <a:lnTo>
                      <a:pt x="59" y="108"/>
                    </a:lnTo>
                    <a:lnTo>
                      <a:pt x="55" y="111"/>
                    </a:lnTo>
                    <a:lnTo>
                      <a:pt x="52" y="111"/>
                    </a:lnTo>
                    <a:lnTo>
                      <a:pt x="51" y="112"/>
                    </a:lnTo>
                    <a:lnTo>
                      <a:pt x="48" y="143"/>
                    </a:lnTo>
                    <a:lnTo>
                      <a:pt x="39" y="160"/>
                    </a:lnTo>
                    <a:lnTo>
                      <a:pt x="39" y="162"/>
                    </a:lnTo>
                    <a:lnTo>
                      <a:pt x="45" y="169"/>
                    </a:lnTo>
                    <a:lnTo>
                      <a:pt x="44" y="178"/>
                    </a:lnTo>
                    <a:lnTo>
                      <a:pt x="41" y="181"/>
                    </a:lnTo>
                    <a:lnTo>
                      <a:pt x="33" y="179"/>
                    </a:lnTo>
                    <a:lnTo>
                      <a:pt x="28" y="181"/>
                    </a:lnTo>
                    <a:lnTo>
                      <a:pt x="23" y="183"/>
                    </a:lnTo>
                    <a:lnTo>
                      <a:pt x="16" y="192"/>
                    </a:lnTo>
                    <a:lnTo>
                      <a:pt x="14" y="201"/>
                    </a:lnTo>
                    <a:lnTo>
                      <a:pt x="14" y="205"/>
                    </a:lnTo>
                    <a:lnTo>
                      <a:pt x="16" y="210"/>
                    </a:lnTo>
                    <a:lnTo>
                      <a:pt x="17" y="211"/>
                    </a:lnTo>
                    <a:lnTo>
                      <a:pt x="16" y="212"/>
                    </a:lnTo>
                    <a:lnTo>
                      <a:pt x="14" y="230"/>
                    </a:lnTo>
                    <a:lnTo>
                      <a:pt x="14" y="230"/>
                    </a:lnTo>
                    <a:lnTo>
                      <a:pt x="16" y="234"/>
                    </a:lnTo>
                    <a:lnTo>
                      <a:pt x="16" y="250"/>
                    </a:lnTo>
                    <a:lnTo>
                      <a:pt x="19" y="255"/>
                    </a:lnTo>
                    <a:lnTo>
                      <a:pt x="23" y="259"/>
                    </a:lnTo>
                    <a:lnTo>
                      <a:pt x="25" y="263"/>
                    </a:lnTo>
                    <a:lnTo>
                      <a:pt x="23" y="269"/>
                    </a:lnTo>
                    <a:lnTo>
                      <a:pt x="20" y="272"/>
                    </a:lnTo>
                    <a:lnTo>
                      <a:pt x="16" y="274"/>
                    </a:lnTo>
                    <a:lnTo>
                      <a:pt x="16" y="275"/>
                    </a:lnTo>
                    <a:lnTo>
                      <a:pt x="19" y="278"/>
                    </a:lnTo>
                    <a:lnTo>
                      <a:pt x="20" y="287"/>
                    </a:lnTo>
                    <a:lnTo>
                      <a:pt x="19" y="294"/>
                    </a:lnTo>
                    <a:lnTo>
                      <a:pt x="20" y="297"/>
                    </a:lnTo>
                    <a:lnTo>
                      <a:pt x="19" y="301"/>
                    </a:lnTo>
                    <a:lnTo>
                      <a:pt x="17" y="304"/>
                    </a:lnTo>
                    <a:lnTo>
                      <a:pt x="10" y="307"/>
                    </a:lnTo>
                    <a:lnTo>
                      <a:pt x="10" y="310"/>
                    </a:lnTo>
                    <a:lnTo>
                      <a:pt x="7" y="316"/>
                    </a:lnTo>
                    <a:lnTo>
                      <a:pt x="9" y="323"/>
                    </a:lnTo>
                    <a:lnTo>
                      <a:pt x="7" y="333"/>
                    </a:lnTo>
                    <a:lnTo>
                      <a:pt x="4" y="335"/>
                    </a:lnTo>
                    <a:lnTo>
                      <a:pt x="3" y="332"/>
                    </a:lnTo>
                    <a:lnTo>
                      <a:pt x="3" y="336"/>
                    </a:lnTo>
                    <a:lnTo>
                      <a:pt x="3" y="329"/>
                    </a:lnTo>
                    <a:lnTo>
                      <a:pt x="1" y="329"/>
                    </a:lnTo>
                  </a:path>
                </a:pathLst>
              </a:custGeom>
              <a:solidFill>
                <a:schemeClr val="accent2">
                  <a:lumMod val="75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63" name="Freeform 679"/>
              <p:cNvSpPr>
                <a:spLocks/>
              </p:cNvSpPr>
              <p:nvPr/>
            </p:nvSpPr>
            <p:spPr bwMode="auto">
              <a:xfrm>
                <a:off x="6465700" y="2453178"/>
                <a:ext cx="44767" cy="65918"/>
              </a:xfrm>
              <a:custGeom>
                <a:avLst/>
                <a:gdLst/>
                <a:ahLst/>
                <a:cxnLst>
                  <a:cxn ang="0">
                    <a:pos x="22" y="63"/>
                  </a:cxn>
                  <a:cxn ang="0">
                    <a:pos x="20" y="35"/>
                  </a:cxn>
                  <a:cxn ang="0">
                    <a:pos x="12" y="19"/>
                  </a:cxn>
                  <a:cxn ang="0">
                    <a:pos x="10" y="15"/>
                  </a:cxn>
                  <a:cxn ang="0">
                    <a:pos x="2" y="6"/>
                  </a:cxn>
                  <a:cxn ang="0">
                    <a:pos x="0" y="6"/>
                  </a:cxn>
                  <a:cxn ang="0">
                    <a:pos x="2" y="3"/>
                  </a:cxn>
                  <a:cxn ang="0">
                    <a:pos x="3" y="2"/>
                  </a:cxn>
                  <a:cxn ang="0">
                    <a:pos x="4" y="2"/>
                  </a:cxn>
                  <a:cxn ang="0">
                    <a:pos x="12" y="0"/>
                  </a:cxn>
                  <a:cxn ang="0">
                    <a:pos x="18" y="3"/>
                  </a:cxn>
                  <a:cxn ang="0">
                    <a:pos x="22" y="8"/>
                  </a:cxn>
                  <a:cxn ang="0">
                    <a:pos x="25" y="8"/>
                  </a:cxn>
                  <a:cxn ang="0">
                    <a:pos x="29" y="6"/>
                  </a:cxn>
                  <a:cxn ang="0">
                    <a:pos x="31" y="8"/>
                  </a:cxn>
                  <a:cxn ang="0">
                    <a:pos x="34" y="11"/>
                  </a:cxn>
                  <a:cxn ang="0">
                    <a:pos x="35" y="11"/>
                  </a:cxn>
                  <a:cxn ang="0">
                    <a:pos x="36" y="12"/>
                  </a:cxn>
                  <a:cxn ang="0">
                    <a:pos x="36" y="21"/>
                  </a:cxn>
                  <a:cxn ang="0">
                    <a:pos x="38" y="22"/>
                  </a:cxn>
                  <a:cxn ang="0">
                    <a:pos x="38" y="24"/>
                  </a:cxn>
                  <a:cxn ang="0">
                    <a:pos x="41" y="24"/>
                  </a:cxn>
                  <a:cxn ang="0">
                    <a:pos x="41" y="27"/>
                  </a:cxn>
                  <a:cxn ang="0">
                    <a:pos x="41" y="28"/>
                  </a:cxn>
                  <a:cxn ang="0">
                    <a:pos x="42" y="32"/>
                  </a:cxn>
                  <a:cxn ang="0">
                    <a:pos x="47" y="34"/>
                  </a:cxn>
                  <a:cxn ang="0">
                    <a:pos x="47" y="35"/>
                  </a:cxn>
                  <a:cxn ang="0">
                    <a:pos x="48" y="38"/>
                  </a:cxn>
                  <a:cxn ang="0">
                    <a:pos x="47" y="40"/>
                  </a:cxn>
                  <a:cxn ang="0">
                    <a:pos x="48" y="41"/>
                  </a:cxn>
                  <a:cxn ang="0">
                    <a:pos x="47" y="44"/>
                  </a:cxn>
                  <a:cxn ang="0">
                    <a:pos x="45" y="44"/>
                  </a:cxn>
                  <a:cxn ang="0">
                    <a:pos x="39" y="43"/>
                  </a:cxn>
                  <a:cxn ang="0">
                    <a:pos x="38" y="44"/>
                  </a:cxn>
                  <a:cxn ang="0">
                    <a:pos x="36" y="43"/>
                  </a:cxn>
                  <a:cxn ang="0">
                    <a:pos x="35" y="44"/>
                  </a:cxn>
                  <a:cxn ang="0">
                    <a:pos x="34" y="46"/>
                  </a:cxn>
                  <a:cxn ang="0">
                    <a:pos x="32" y="51"/>
                  </a:cxn>
                  <a:cxn ang="0">
                    <a:pos x="31" y="53"/>
                  </a:cxn>
                  <a:cxn ang="0">
                    <a:pos x="29" y="54"/>
                  </a:cxn>
                  <a:cxn ang="0">
                    <a:pos x="29" y="56"/>
                  </a:cxn>
                  <a:cxn ang="0">
                    <a:pos x="28" y="57"/>
                  </a:cxn>
                  <a:cxn ang="0">
                    <a:pos x="26" y="60"/>
                  </a:cxn>
                  <a:cxn ang="0">
                    <a:pos x="26" y="62"/>
                  </a:cxn>
                  <a:cxn ang="0">
                    <a:pos x="25" y="63"/>
                  </a:cxn>
                  <a:cxn ang="0">
                    <a:pos x="22" y="63"/>
                  </a:cxn>
                </a:cxnLst>
                <a:rect l="0" t="0" r="r" b="b"/>
                <a:pathLst>
                  <a:path w="48" h="63">
                    <a:moveTo>
                      <a:pt x="22" y="63"/>
                    </a:moveTo>
                    <a:lnTo>
                      <a:pt x="20" y="35"/>
                    </a:lnTo>
                    <a:lnTo>
                      <a:pt x="12" y="19"/>
                    </a:lnTo>
                    <a:lnTo>
                      <a:pt x="10" y="15"/>
                    </a:lnTo>
                    <a:lnTo>
                      <a:pt x="2" y="6"/>
                    </a:lnTo>
                    <a:lnTo>
                      <a:pt x="0" y="6"/>
                    </a:lnTo>
                    <a:lnTo>
                      <a:pt x="2" y="3"/>
                    </a:lnTo>
                    <a:lnTo>
                      <a:pt x="3" y="2"/>
                    </a:lnTo>
                    <a:lnTo>
                      <a:pt x="4" y="2"/>
                    </a:lnTo>
                    <a:lnTo>
                      <a:pt x="12" y="0"/>
                    </a:lnTo>
                    <a:lnTo>
                      <a:pt x="18" y="3"/>
                    </a:lnTo>
                    <a:lnTo>
                      <a:pt x="22" y="8"/>
                    </a:lnTo>
                    <a:lnTo>
                      <a:pt x="25" y="8"/>
                    </a:lnTo>
                    <a:lnTo>
                      <a:pt x="29" y="6"/>
                    </a:lnTo>
                    <a:lnTo>
                      <a:pt x="31" y="8"/>
                    </a:lnTo>
                    <a:lnTo>
                      <a:pt x="34" y="11"/>
                    </a:lnTo>
                    <a:lnTo>
                      <a:pt x="35" y="11"/>
                    </a:lnTo>
                    <a:lnTo>
                      <a:pt x="36" y="12"/>
                    </a:lnTo>
                    <a:lnTo>
                      <a:pt x="36" y="21"/>
                    </a:lnTo>
                    <a:lnTo>
                      <a:pt x="38" y="22"/>
                    </a:lnTo>
                    <a:lnTo>
                      <a:pt x="38" y="24"/>
                    </a:lnTo>
                    <a:lnTo>
                      <a:pt x="41" y="24"/>
                    </a:lnTo>
                    <a:lnTo>
                      <a:pt x="41" y="27"/>
                    </a:lnTo>
                    <a:lnTo>
                      <a:pt x="41" y="28"/>
                    </a:lnTo>
                    <a:lnTo>
                      <a:pt x="42" y="32"/>
                    </a:lnTo>
                    <a:lnTo>
                      <a:pt x="47" y="34"/>
                    </a:lnTo>
                    <a:lnTo>
                      <a:pt x="47" y="35"/>
                    </a:lnTo>
                    <a:lnTo>
                      <a:pt x="48" y="38"/>
                    </a:lnTo>
                    <a:lnTo>
                      <a:pt x="47" y="40"/>
                    </a:lnTo>
                    <a:lnTo>
                      <a:pt x="48" y="41"/>
                    </a:lnTo>
                    <a:lnTo>
                      <a:pt x="47" y="44"/>
                    </a:lnTo>
                    <a:lnTo>
                      <a:pt x="45" y="44"/>
                    </a:lnTo>
                    <a:lnTo>
                      <a:pt x="39" y="43"/>
                    </a:lnTo>
                    <a:lnTo>
                      <a:pt x="38" y="44"/>
                    </a:lnTo>
                    <a:lnTo>
                      <a:pt x="36" y="43"/>
                    </a:lnTo>
                    <a:lnTo>
                      <a:pt x="35" y="44"/>
                    </a:lnTo>
                    <a:lnTo>
                      <a:pt x="34" y="46"/>
                    </a:lnTo>
                    <a:lnTo>
                      <a:pt x="32" y="51"/>
                    </a:lnTo>
                    <a:lnTo>
                      <a:pt x="31" y="53"/>
                    </a:lnTo>
                    <a:lnTo>
                      <a:pt x="29" y="54"/>
                    </a:lnTo>
                    <a:lnTo>
                      <a:pt x="29" y="56"/>
                    </a:lnTo>
                    <a:lnTo>
                      <a:pt x="28" y="57"/>
                    </a:lnTo>
                    <a:lnTo>
                      <a:pt x="26" y="60"/>
                    </a:lnTo>
                    <a:lnTo>
                      <a:pt x="26" y="62"/>
                    </a:lnTo>
                    <a:lnTo>
                      <a:pt x="25" y="63"/>
                    </a:lnTo>
                    <a:lnTo>
                      <a:pt x="22" y="6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64" name="Freeform 680"/>
              <p:cNvSpPr>
                <a:spLocks/>
              </p:cNvSpPr>
              <p:nvPr/>
            </p:nvSpPr>
            <p:spPr bwMode="auto">
              <a:xfrm>
                <a:off x="6465700" y="2453178"/>
                <a:ext cx="44767" cy="65918"/>
              </a:xfrm>
              <a:custGeom>
                <a:avLst/>
                <a:gdLst/>
                <a:ahLst/>
                <a:cxnLst>
                  <a:cxn ang="0">
                    <a:pos x="22" y="63"/>
                  </a:cxn>
                  <a:cxn ang="0">
                    <a:pos x="20" y="35"/>
                  </a:cxn>
                  <a:cxn ang="0">
                    <a:pos x="12" y="19"/>
                  </a:cxn>
                  <a:cxn ang="0">
                    <a:pos x="10" y="15"/>
                  </a:cxn>
                  <a:cxn ang="0">
                    <a:pos x="2" y="6"/>
                  </a:cxn>
                  <a:cxn ang="0">
                    <a:pos x="0" y="6"/>
                  </a:cxn>
                  <a:cxn ang="0">
                    <a:pos x="2" y="3"/>
                  </a:cxn>
                  <a:cxn ang="0">
                    <a:pos x="3" y="2"/>
                  </a:cxn>
                  <a:cxn ang="0">
                    <a:pos x="4" y="2"/>
                  </a:cxn>
                  <a:cxn ang="0">
                    <a:pos x="12" y="0"/>
                  </a:cxn>
                  <a:cxn ang="0">
                    <a:pos x="18" y="3"/>
                  </a:cxn>
                  <a:cxn ang="0">
                    <a:pos x="22" y="8"/>
                  </a:cxn>
                  <a:cxn ang="0">
                    <a:pos x="25" y="8"/>
                  </a:cxn>
                  <a:cxn ang="0">
                    <a:pos x="29" y="6"/>
                  </a:cxn>
                  <a:cxn ang="0">
                    <a:pos x="31" y="8"/>
                  </a:cxn>
                  <a:cxn ang="0">
                    <a:pos x="34" y="11"/>
                  </a:cxn>
                  <a:cxn ang="0">
                    <a:pos x="35" y="11"/>
                  </a:cxn>
                  <a:cxn ang="0">
                    <a:pos x="36" y="12"/>
                  </a:cxn>
                  <a:cxn ang="0">
                    <a:pos x="36" y="21"/>
                  </a:cxn>
                  <a:cxn ang="0">
                    <a:pos x="38" y="22"/>
                  </a:cxn>
                  <a:cxn ang="0">
                    <a:pos x="38" y="24"/>
                  </a:cxn>
                  <a:cxn ang="0">
                    <a:pos x="41" y="24"/>
                  </a:cxn>
                  <a:cxn ang="0">
                    <a:pos x="41" y="27"/>
                  </a:cxn>
                  <a:cxn ang="0">
                    <a:pos x="41" y="28"/>
                  </a:cxn>
                  <a:cxn ang="0">
                    <a:pos x="42" y="32"/>
                  </a:cxn>
                  <a:cxn ang="0">
                    <a:pos x="47" y="34"/>
                  </a:cxn>
                  <a:cxn ang="0">
                    <a:pos x="47" y="35"/>
                  </a:cxn>
                  <a:cxn ang="0">
                    <a:pos x="48" y="38"/>
                  </a:cxn>
                  <a:cxn ang="0">
                    <a:pos x="47" y="40"/>
                  </a:cxn>
                  <a:cxn ang="0">
                    <a:pos x="48" y="41"/>
                  </a:cxn>
                  <a:cxn ang="0">
                    <a:pos x="47" y="44"/>
                  </a:cxn>
                  <a:cxn ang="0">
                    <a:pos x="45" y="44"/>
                  </a:cxn>
                  <a:cxn ang="0">
                    <a:pos x="39" y="43"/>
                  </a:cxn>
                  <a:cxn ang="0">
                    <a:pos x="38" y="44"/>
                  </a:cxn>
                  <a:cxn ang="0">
                    <a:pos x="36" y="43"/>
                  </a:cxn>
                  <a:cxn ang="0">
                    <a:pos x="35" y="44"/>
                  </a:cxn>
                  <a:cxn ang="0">
                    <a:pos x="34" y="46"/>
                  </a:cxn>
                  <a:cxn ang="0">
                    <a:pos x="32" y="51"/>
                  </a:cxn>
                  <a:cxn ang="0">
                    <a:pos x="31" y="53"/>
                  </a:cxn>
                  <a:cxn ang="0">
                    <a:pos x="29" y="54"/>
                  </a:cxn>
                  <a:cxn ang="0">
                    <a:pos x="29" y="56"/>
                  </a:cxn>
                  <a:cxn ang="0">
                    <a:pos x="28" y="57"/>
                  </a:cxn>
                  <a:cxn ang="0">
                    <a:pos x="26" y="60"/>
                  </a:cxn>
                  <a:cxn ang="0">
                    <a:pos x="26" y="62"/>
                  </a:cxn>
                  <a:cxn ang="0">
                    <a:pos x="25" y="63"/>
                  </a:cxn>
                  <a:cxn ang="0">
                    <a:pos x="22" y="63"/>
                  </a:cxn>
                </a:cxnLst>
                <a:rect l="0" t="0" r="r" b="b"/>
                <a:pathLst>
                  <a:path w="48" h="63">
                    <a:moveTo>
                      <a:pt x="22" y="63"/>
                    </a:moveTo>
                    <a:lnTo>
                      <a:pt x="20" y="35"/>
                    </a:lnTo>
                    <a:lnTo>
                      <a:pt x="12" y="19"/>
                    </a:lnTo>
                    <a:lnTo>
                      <a:pt x="10" y="15"/>
                    </a:lnTo>
                    <a:lnTo>
                      <a:pt x="2" y="6"/>
                    </a:lnTo>
                    <a:lnTo>
                      <a:pt x="0" y="6"/>
                    </a:lnTo>
                    <a:lnTo>
                      <a:pt x="2" y="3"/>
                    </a:lnTo>
                    <a:lnTo>
                      <a:pt x="3" y="2"/>
                    </a:lnTo>
                    <a:lnTo>
                      <a:pt x="4" y="2"/>
                    </a:lnTo>
                    <a:lnTo>
                      <a:pt x="12" y="0"/>
                    </a:lnTo>
                    <a:lnTo>
                      <a:pt x="18" y="3"/>
                    </a:lnTo>
                    <a:lnTo>
                      <a:pt x="22" y="8"/>
                    </a:lnTo>
                    <a:lnTo>
                      <a:pt x="25" y="8"/>
                    </a:lnTo>
                    <a:lnTo>
                      <a:pt x="29" y="6"/>
                    </a:lnTo>
                    <a:lnTo>
                      <a:pt x="31" y="8"/>
                    </a:lnTo>
                    <a:lnTo>
                      <a:pt x="34" y="11"/>
                    </a:lnTo>
                    <a:lnTo>
                      <a:pt x="35" y="11"/>
                    </a:lnTo>
                    <a:lnTo>
                      <a:pt x="36" y="12"/>
                    </a:lnTo>
                    <a:lnTo>
                      <a:pt x="36" y="21"/>
                    </a:lnTo>
                    <a:lnTo>
                      <a:pt x="38" y="22"/>
                    </a:lnTo>
                    <a:lnTo>
                      <a:pt x="38" y="24"/>
                    </a:lnTo>
                    <a:lnTo>
                      <a:pt x="41" y="24"/>
                    </a:lnTo>
                    <a:lnTo>
                      <a:pt x="41" y="27"/>
                    </a:lnTo>
                    <a:lnTo>
                      <a:pt x="41" y="28"/>
                    </a:lnTo>
                    <a:lnTo>
                      <a:pt x="42" y="32"/>
                    </a:lnTo>
                    <a:lnTo>
                      <a:pt x="47" y="34"/>
                    </a:lnTo>
                    <a:lnTo>
                      <a:pt x="47" y="35"/>
                    </a:lnTo>
                    <a:lnTo>
                      <a:pt x="48" y="38"/>
                    </a:lnTo>
                    <a:lnTo>
                      <a:pt x="47" y="40"/>
                    </a:lnTo>
                    <a:lnTo>
                      <a:pt x="48" y="41"/>
                    </a:lnTo>
                    <a:lnTo>
                      <a:pt x="47" y="44"/>
                    </a:lnTo>
                    <a:lnTo>
                      <a:pt x="45" y="44"/>
                    </a:lnTo>
                    <a:lnTo>
                      <a:pt x="39" y="43"/>
                    </a:lnTo>
                    <a:lnTo>
                      <a:pt x="38" y="44"/>
                    </a:lnTo>
                    <a:lnTo>
                      <a:pt x="36" y="43"/>
                    </a:lnTo>
                    <a:lnTo>
                      <a:pt x="35" y="44"/>
                    </a:lnTo>
                    <a:lnTo>
                      <a:pt x="34" y="46"/>
                    </a:lnTo>
                    <a:lnTo>
                      <a:pt x="32" y="51"/>
                    </a:lnTo>
                    <a:lnTo>
                      <a:pt x="31" y="53"/>
                    </a:lnTo>
                    <a:lnTo>
                      <a:pt x="29" y="54"/>
                    </a:lnTo>
                    <a:lnTo>
                      <a:pt x="29" y="56"/>
                    </a:lnTo>
                    <a:lnTo>
                      <a:pt x="28" y="57"/>
                    </a:lnTo>
                    <a:lnTo>
                      <a:pt x="26" y="60"/>
                    </a:lnTo>
                    <a:lnTo>
                      <a:pt x="26" y="62"/>
                    </a:lnTo>
                    <a:lnTo>
                      <a:pt x="25" y="63"/>
                    </a:lnTo>
                    <a:lnTo>
                      <a:pt x="22" y="6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65" name="Freeform 681"/>
              <p:cNvSpPr>
                <a:spLocks/>
              </p:cNvSpPr>
              <p:nvPr/>
            </p:nvSpPr>
            <p:spPr bwMode="auto">
              <a:xfrm>
                <a:off x="6242739" y="2443037"/>
                <a:ext cx="99191" cy="55776"/>
              </a:xfrm>
              <a:custGeom>
                <a:avLst/>
                <a:gdLst/>
                <a:ahLst/>
                <a:cxnLst>
                  <a:cxn ang="0">
                    <a:pos x="61" y="8"/>
                  </a:cxn>
                  <a:cxn ang="0">
                    <a:pos x="54" y="13"/>
                  </a:cxn>
                  <a:cxn ang="0">
                    <a:pos x="47" y="19"/>
                  </a:cxn>
                  <a:cxn ang="0">
                    <a:pos x="50" y="28"/>
                  </a:cxn>
                  <a:cxn ang="0">
                    <a:pos x="48" y="31"/>
                  </a:cxn>
                  <a:cxn ang="0">
                    <a:pos x="42" y="28"/>
                  </a:cxn>
                  <a:cxn ang="0">
                    <a:pos x="38" y="29"/>
                  </a:cxn>
                  <a:cxn ang="0">
                    <a:pos x="25" y="34"/>
                  </a:cxn>
                  <a:cxn ang="0">
                    <a:pos x="18" y="31"/>
                  </a:cxn>
                  <a:cxn ang="0">
                    <a:pos x="13" y="32"/>
                  </a:cxn>
                  <a:cxn ang="0">
                    <a:pos x="12" y="35"/>
                  </a:cxn>
                  <a:cxn ang="0">
                    <a:pos x="7" y="32"/>
                  </a:cxn>
                  <a:cxn ang="0">
                    <a:pos x="3" y="31"/>
                  </a:cxn>
                  <a:cxn ang="0">
                    <a:pos x="2" y="34"/>
                  </a:cxn>
                  <a:cxn ang="0">
                    <a:pos x="5" y="41"/>
                  </a:cxn>
                  <a:cxn ang="0">
                    <a:pos x="5" y="44"/>
                  </a:cxn>
                  <a:cxn ang="0">
                    <a:pos x="12" y="44"/>
                  </a:cxn>
                  <a:cxn ang="0">
                    <a:pos x="16" y="47"/>
                  </a:cxn>
                  <a:cxn ang="0">
                    <a:pos x="35" y="41"/>
                  </a:cxn>
                  <a:cxn ang="0">
                    <a:pos x="38" y="41"/>
                  </a:cxn>
                  <a:cxn ang="0">
                    <a:pos x="39" y="47"/>
                  </a:cxn>
                  <a:cxn ang="0">
                    <a:pos x="44" y="48"/>
                  </a:cxn>
                  <a:cxn ang="0">
                    <a:pos x="71" y="54"/>
                  </a:cxn>
                  <a:cxn ang="0">
                    <a:pos x="76" y="50"/>
                  </a:cxn>
                  <a:cxn ang="0">
                    <a:pos x="84" y="50"/>
                  </a:cxn>
                  <a:cxn ang="0">
                    <a:pos x="86" y="47"/>
                  </a:cxn>
                  <a:cxn ang="0">
                    <a:pos x="92" y="45"/>
                  </a:cxn>
                  <a:cxn ang="0">
                    <a:pos x="96" y="42"/>
                  </a:cxn>
                  <a:cxn ang="0">
                    <a:pos x="99" y="37"/>
                  </a:cxn>
                  <a:cxn ang="0">
                    <a:pos x="99" y="29"/>
                  </a:cxn>
                  <a:cxn ang="0">
                    <a:pos x="108" y="26"/>
                  </a:cxn>
                  <a:cxn ang="0">
                    <a:pos x="109" y="19"/>
                  </a:cxn>
                  <a:cxn ang="0">
                    <a:pos x="105" y="10"/>
                  </a:cxn>
                  <a:cxn ang="0">
                    <a:pos x="103" y="5"/>
                  </a:cxn>
                  <a:cxn ang="0">
                    <a:pos x="89" y="0"/>
                  </a:cxn>
                  <a:cxn ang="0">
                    <a:pos x="77" y="5"/>
                  </a:cxn>
                  <a:cxn ang="0">
                    <a:pos x="70" y="9"/>
                  </a:cxn>
                  <a:cxn ang="0">
                    <a:pos x="61" y="5"/>
                  </a:cxn>
                </a:cxnLst>
                <a:rect l="0" t="0" r="r" b="b"/>
                <a:pathLst>
                  <a:path w="109" h="54">
                    <a:moveTo>
                      <a:pt x="61" y="5"/>
                    </a:moveTo>
                    <a:lnTo>
                      <a:pt x="61" y="8"/>
                    </a:lnTo>
                    <a:lnTo>
                      <a:pt x="57" y="9"/>
                    </a:lnTo>
                    <a:lnTo>
                      <a:pt x="54" y="13"/>
                    </a:lnTo>
                    <a:lnTo>
                      <a:pt x="48" y="16"/>
                    </a:lnTo>
                    <a:lnTo>
                      <a:pt x="47" y="19"/>
                    </a:lnTo>
                    <a:lnTo>
                      <a:pt x="48" y="24"/>
                    </a:lnTo>
                    <a:lnTo>
                      <a:pt x="50" y="28"/>
                    </a:lnTo>
                    <a:lnTo>
                      <a:pt x="50" y="29"/>
                    </a:lnTo>
                    <a:lnTo>
                      <a:pt x="48" y="31"/>
                    </a:lnTo>
                    <a:lnTo>
                      <a:pt x="47" y="28"/>
                    </a:lnTo>
                    <a:lnTo>
                      <a:pt x="42" y="28"/>
                    </a:lnTo>
                    <a:lnTo>
                      <a:pt x="39" y="28"/>
                    </a:lnTo>
                    <a:lnTo>
                      <a:pt x="38" y="29"/>
                    </a:lnTo>
                    <a:lnTo>
                      <a:pt x="29" y="29"/>
                    </a:lnTo>
                    <a:lnTo>
                      <a:pt x="25" y="34"/>
                    </a:lnTo>
                    <a:lnTo>
                      <a:pt x="22" y="34"/>
                    </a:lnTo>
                    <a:lnTo>
                      <a:pt x="18" y="31"/>
                    </a:lnTo>
                    <a:lnTo>
                      <a:pt x="15" y="31"/>
                    </a:lnTo>
                    <a:lnTo>
                      <a:pt x="13" y="32"/>
                    </a:lnTo>
                    <a:lnTo>
                      <a:pt x="12" y="34"/>
                    </a:lnTo>
                    <a:lnTo>
                      <a:pt x="12" y="35"/>
                    </a:lnTo>
                    <a:lnTo>
                      <a:pt x="9" y="34"/>
                    </a:lnTo>
                    <a:lnTo>
                      <a:pt x="7" y="32"/>
                    </a:lnTo>
                    <a:lnTo>
                      <a:pt x="5" y="31"/>
                    </a:lnTo>
                    <a:lnTo>
                      <a:pt x="3" y="31"/>
                    </a:lnTo>
                    <a:lnTo>
                      <a:pt x="0" y="32"/>
                    </a:lnTo>
                    <a:lnTo>
                      <a:pt x="2" y="34"/>
                    </a:lnTo>
                    <a:lnTo>
                      <a:pt x="3" y="35"/>
                    </a:lnTo>
                    <a:lnTo>
                      <a:pt x="5" y="41"/>
                    </a:lnTo>
                    <a:lnTo>
                      <a:pt x="3" y="42"/>
                    </a:lnTo>
                    <a:lnTo>
                      <a:pt x="5" y="44"/>
                    </a:lnTo>
                    <a:lnTo>
                      <a:pt x="9" y="45"/>
                    </a:lnTo>
                    <a:lnTo>
                      <a:pt x="12" y="44"/>
                    </a:lnTo>
                    <a:lnTo>
                      <a:pt x="13" y="45"/>
                    </a:lnTo>
                    <a:lnTo>
                      <a:pt x="16" y="47"/>
                    </a:lnTo>
                    <a:lnTo>
                      <a:pt x="35" y="42"/>
                    </a:lnTo>
                    <a:lnTo>
                      <a:pt x="35" y="41"/>
                    </a:lnTo>
                    <a:lnTo>
                      <a:pt x="36" y="41"/>
                    </a:lnTo>
                    <a:lnTo>
                      <a:pt x="38" y="41"/>
                    </a:lnTo>
                    <a:lnTo>
                      <a:pt x="38" y="45"/>
                    </a:lnTo>
                    <a:lnTo>
                      <a:pt x="39" y="47"/>
                    </a:lnTo>
                    <a:lnTo>
                      <a:pt x="42" y="48"/>
                    </a:lnTo>
                    <a:lnTo>
                      <a:pt x="44" y="48"/>
                    </a:lnTo>
                    <a:lnTo>
                      <a:pt x="45" y="51"/>
                    </a:lnTo>
                    <a:lnTo>
                      <a:pt x="71" y="54"/>
                    </a:lnTo>
                    <a:lnTo>
                      <a:pt x="74" y="53"/>
                    </a:lnTo>
                    <a:lnTo>
                      <a:pt x="76" y="50"/>
                    </a:lnTo>
                    <a:lnTo>
                      <a:pt x="79" y="48"/>
                    </a:lnTo>
                    <a:lnTo>
                      <a:pt x="84" y="50"/>
                    </a:lnTo>
                    <a:lnTo>
                      <a:pt x="86" y="48"/>
                    </a:lnTo>
                    <a:lnTo>
                      <a:pt x="86" y="47"/>
                    </a:lnTo>
                    <a:lnTo>
                      <a:pt x="92" y="48"/>
                    </a:lnTo>
                    <a:lnTo>
                      <a:pt x="92" y="45"/>
                    </a:lnTo>
                    <a:lnTo>
                      <a:pt x="93" y="45"/>
                    </a:lnTo>
                    <a:lnTo>
                      <a:pt x="96" y="42"/>
                    </a:lnTo>
                    <a:lnTo>
                      <a:pt x="99" y="41"/>
                    </a:lnTo>
                    <a:lnTo>
                      <a:pt x="99" y="37"/>
                    </a:lnTo>
                    <a:lnTo>
                      <a:pt x="102" y="31"/>
                    </a:lnTo>
                    <a:lnTo>
                      <a:pt x="99" y="29"/>
                    </a:lnTo>
                    <a:lnTo>
                      <a:pt x="100" y="26"/>
                    </a:lnTo>
                    <a:lnTo>
                      <a:pt x="108" y="26"/>
                    </a:lnTo>
                    <a:lnTo>
                      <a:pt x="109" y="25"/>
                    </a:lnTo>
                    <a:lnTo>
                      <a:pt x="109" y="19"/>
                    </a:lnTo>
                    <a:lnTo>
                      <a:pt x="105" y="10"/>
                    </a:lnTo>
                    <a:lnTo>
                      <a:pt x="105" y="10"/>
                    </a:lnTo>
                    <a:lnTo>
                      <a:pt x="105" y="8"/>
                    </a:lnTo>
                    <a:lnTo>
                      <a:pt x="103" y="5"/>
                    </a:lnTo>
                    <a:lnTo>
                      <a:pt x="95" y="5"/>
                    </a:lnTo>
                    <a:lnTo>
                      <a:pt x="89" y="0"/>
                    </a:lnTo>
                    <a:lnTo>
                      <a:pt x="80" y="0"/>
                    </a:lnTo>
                    <a:lnTo>
                      <a:pt x="77" y="5"/>
                    </a:lnTo>
                    <a:lnTo>
                      <a:pt x="74" y="8"/>
                    </a:lnTo>
                    <a:lnTo>
                      <a:pt x="70" y="9"/>
                    </a:lnTo>
                    <a:lnTo>
                      <a:pt x="67" y="8"/>
                    </a:lnTo>
                    <a:lnTo>
                      <a:pt x="61" y="5"/>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66" name="Freeform 682"/>
              <p:cNvSpPr>
                <a:spLocks/>
              </p:cNvSpPr>
              <p:nvPr/>
            </p:nvSpPr>
            <p:spPr bwMode="auto">
              <a:xfrm>
                <a:off x="6242739" y="2443037"/>
                <a:ext cx="99191" cy="55776"/>
              </a:xfrm>
              <a:custGeom>
                <a:avLst/>
                <a:gdLst/>
                <a:ahLst/>
                <a:cxnLst>
                  <a:cxn ang="0">
                    <a:pos x="61" y="8"/>
                  </a:cxn>
                  <a:cxn ang="0">
                    <a:pos x="54" y="13"/>
                  </a:cxn>
                  <a:cxn ang="0">
                    <a:pos x="47" y="19"/>
                  </a:cxn>
                  <a:cxn ang="0">
                    <a:pos x="50" y="28"/>
                  </a:cxn>
                  <a:cxn ang="0">
                    <a:pos x="48" y="31"/>
                  </a:cxn>
                  <a:cxn ang="0">
                    <a:pos x="42" y="28"/>
                  </a:cxn>
                  <a:cxn ang="0">
                    <a:pos x="38" y="29"/>
                  </a:cxn>
                  <a:cxn ang="0">
                    <a:pos x="25" y="34"/>
                  </a:cxn>
                  <a:cxn ang="0">
                    <a:pos x="18" y="31"/>
                  </a:cxn>
                  <a:cxn ang="0">
                    <a:pos x="13" y="32"/>
                  </a:cxn>
                  <a:cxn ang="0">
                    <a:pos x="12" y="35"/>
                  </a:cxn>
                  <a:cxn ang="0">
                    <a:pos x="7" y="32"/>
                  </a:cxn>
                  <a:cxn ang="0">
                    <a:pos x="3" y="31"/>
                  </a:cxn>
                  <a:cxn ang="0">
                    <a:pos x="2" y="34"/>
                  </a:cxn>
                  <a:cxn ang="0">
                    <a:pos x="5" y="41"/>
                  </a:cxn>
                  <a:cxn ang="0">
                    <a:pos x="5" y="44"/>
                  </a:cxn>
                  <a:cxn ang="0">
                    <a:pos x="12" y="44"/>
                  </a:cxn>
                  <a:cxn ang="0">
                    <a:pos x="16" y="47"/>
                  </a:cxn>
                  <a:cxn ang="0">
                    <a:pos x="35" y="41"/>
                  </a:cxn>
                  <a:cxn ang="0">
                    <a:pos x="38" y="41"/>
                  </a:cxn>
                  <a:cxn ang="0">
                    <a:pos x="39" y="47"/>
                  </a:cxn>
                  <a:cxn ang="0">
                    <a:pos x="44" y="48"/>
                  </a:cxn>
                  <a:cxn ang="0">
                    <a:pos x="71" y="54"/>
                  </a:cxn>
                  <a:cxn ang="0">
                    <a:pos x="76" y="50"/>
                  </a:cxn>
                  <a:cxn ang="0">
                    <a:pos x="84" y="50"/>
                  </a:cxn>
                  <a:cxn ang="0">
                    <a:pos x="86" y="47"/>
                  </a:cxn>
                  <a:cxn ang="0">
                    <a:pos x="92" y="45"/>
                  </a:cxn>
                  <a:cxn ang="0">
                    <a:pos x="96" y="42"/>
                  </a:cxn>
                  <a:cxn ang="0">
                    <a:pos x="99" y="37"/>
                  </a:cxn>
                  <a:cxn ang="0">
                    <a:pos x="99" y="29"/>
                  </a:cxn>
                  <a:cxn ang="0">
                    <a:pos x="108" y="26"/>
                  </a:cxn>
                  <a:cxn ang="0">
                    <a:pos x="109" y="19"/>
                  </a:cxn>
                  <a:cxn ang="0">
                    <a:pos x="105" y="10"/>
                  </a:cxn>
                  <a:cxn ang="0">
                    <a:pos x="103" y="5"/>
                  </a:cxn>
                  <a:cxn ang="0">
                    <a:pos x="89" y="0"/>
                  </a:cxn>
                  <a:cxn ang="0">
                    <a:pos x="77" y="5"/>
                  </a:cxn>
                  <a:cxn ang="0">
                    <a:pos x="70" y="9"/>
                  </a:cxn>
                  <a:cxn ang="0">
                    <a:pos x="61" y="5"/>
                  </a:cxn>
                </a:cxnLst>
                <a:rect l="0" t="0" r="r" b="b"/>
                <a:pathLst>
                  <a:path w="109" h="54">
                    <a:moveTo>
                      <a:pt x="61" y="5"/>
                    </a:moveTo>
                    <a:lnTo>
                      <a:pt x="61" y="8"/>
                    </a:lnTo>
                    <a:lnTo>
                      <a:pt x="57" y="9"/>
                    </a:lnTo>
                    <a:lnTo>
                      <a:pt x="54" y="13"/>
                    </a:lnTo>
                    <a:lnTo>
                      <a:pt x="48" y="16"/>
                    </a:lnTo>
                    <a:lnTo>
                      <a:pt x="47" y="19"/>
                    </a:lnTo>
                    <a:lnTo>
                      <a:pt x="48" y="24"/>
                    </a:lnTo>
                    <a:lnTo>
                      <a:pt x="50" y="28"/>
                    </a:lnTo>
                    <a:lnTo>
                      <a:pt x="50" y="29"/>
                    </a:lnTo>
                    <a:lnTo>
                      <a:pt x="48" y="31"/>
                    </a:lnTo>
                    <a:lnTo>
                      <a:pt x="47" y="28"/>
                    </a:lnTo>
                    <a:lnTo>
                      <a:pt x="42" y="28"/>
                    </a:lnTo>
                    <a:lnTo>
                      <a:pt x="39" y="28"/>
                    </a:lnTo>
                    <a:lnTo>
                      <a:pt x="38" y="29"/>
                    </a:lnTo>
                    <a:lnTo>
                      <a:pt x="29" y="29"/>
                    </a:lnTo>
                    <a:lnTo>
                      <a:pt x="25" y="34"/>
                    </a:lnTo>
                    <a:lnTo>
                      <a:pt x="22" y="34"/>
                    </a:lnTo>
                    <a:lnTo>
                      <a:pt x="18" y="31"/>
                    </a:lnTo>
                    <a:lnTo>
                      <a:pt x="15" y="31"/>
                    </a:lnTo>
                    <a:lnTo>
                      <a:pt x="13" y="32"/>
                    </a:lnTo>
                    <a:lnTo>
                      <a:pt x="12" y="34"/>
                    </a:lnTo>
                    <a:lnTo>
                      <a:pt x="12" y="35"/>
                    </a:lnTo>
                    <a:lnTo>
                      <a:pt x="9" y="34"/>
                    </a:lnTo>
                    <a:lnTo>
                      <a:pt x="7" y="32"/>
                    </a:lnTo>
                    <a:lnTo>
                      <a:pt x="5" y="31"/>
                    </a:lnTo>
                    <a:lnTo>
                      <a:pt x="3" y="31"/>
                    </a:lnTo>
                    <a:lnTo>
                      <a:pt x="0" y="32"/>
                    </a:lnTo>
                    <a:lnTo>
                      <a:pt x="2" y="34"/>
                    </a:lnTo>
                    <a:lnTo>
                      <a:pt x="3" y="35"/>
                    </a:lnTo>
                    <a:lnTo>
                      <a:pt x="5" y="41"/>
                    </a:lnTo>
                    <a:lnTo>
                      <a:pt x="3" y="42"/>
                    </a:lnTo>
                    <a:lnTo>
                      <a:pt x="5" y="44"/>
                    </a:lnTo>
                    <a:lnTo>
                      <a:pt x="9" y="45"/>
                    </a:lnTo>
                    <a:lnTo>
                      <a:pt x="12" y="44"/>
                    </a:lnTo>
                    <a:lnTo>
                      <a:pt x="13" y="45"/>
                    </a:lnTo>
                    <a:lnTo>
                      <a:pt x="16" y="47"/>
                    </a:lnTo>
                    <a:lnTo>
                      <a:pt x="35" y="42"/>
                    </a:lnTo>
                    <a:lnTo>
                      <a:pt x="35" y="41"/>
                    </a:lnTo>
                    <a:lnTo>
                      <a:pt x="36" y="41"/>
                    </a:lnTo>
                    <a:lnTo>
                      <a:pt x="38" y="41"/>
                    </a:lnTo>
                    <a:lnTo>
                      <a:pt x="38" y="45"/>
                    </a:lnTo>
                    <a:lnTo>
                      <a:pt x="39" y="47"/>
                    </a:lnTo>
                    <a:lnTo>
                      <a:pt x="42" y="48"/>
                    </a:lnTo>
                    <a:lnTo>
                      <a:pt x="44" y="48"/>
                    </a:lnTo>
                    <a:lnTo>
                      <a:pt x="45" y="51"/>
                    </a:lnTo>
                    <a:lnTo>
                      <a:pt x="71" y="54"/>
                    </a:lnTo>
                    <a:lnTo>
                      <a:pt x="74" y="53"/>
                    </a:lnTo>
                    <a:lnTo>
                      <a:pt x="76" y="50"/>
                    </a:lnTo>
                    <a:lnTo>
                      <a:pt x="79" y="48"/>
                    </a:lnTo>
                    <a:lnTo>
                      <a:pt x="84" y="50"/>
                    </a:lnTo>
                    <a:lnTo>
                      <a:pt x="86" y="48"/>
                    </a:lnTo>
                    <a:lnTo>
                      <a:pt x="86" y="47"/>
                    </a:lnTo>
                    <a:lnTo>
                      <a:pt x="92" y="48"/>
                    </a:lnTo>
                    <a:lnTo>
                      <a:pt x="92" y="45"/>
                    </a:lnTo>
                    <a:lnTo>
                      <a:pt x="93" y="45"/>
                    </a:lnTo>
                    <a:lnTo>
                      <a:pt x="96" y="42"/>
                    </a:lnTo>
                    <a:lnTo>
                      <a:pt x="99" y="41"/>
                    </a:lnTo>
                    <a:lnTo>
                      <a:pt x="99" y="37"/>
                    </a:lnTo>
                    <a:lnTo>
                      <a:pt x="102" y="31"/>
                    </a:lnTo>
                    <a:lnTo>
                      <a:pt x="99" y="29"/>
                    </a:lnTo>
                    <a:lnTo>
                      <a:pt x="100" y="26"/>
                    </a:lnTo>
                    <a:lnTo>
                      <a:pt x="108" y="26"/>
                    </a:lnTo>
                    <a:lnTo>
                      <a:pt x="109" y="25"/>
                    </a:lnTo>
                    <a:lnTo>
                      <a:pt x="109" y="19"/>
                    </a:lnTo>
                    <a:lnTo>
                      <a:pt x="105" y="10"/>
                    </a:lnTo>
                    <a:lnTo>
                      <a:pt x="105" y="10"/>
                    </a:lnTo>
                    <a:lnTo>
                      <a:pt x="105" y="8"/>
                    </a:lnTo>
                    <a:lnTo>
                      <a:pt x="103" y="5"/>
                    </a:lnTo>
                    <a:lnTo>
                      <a:pt x="95" y="5"/>
                    </a:lnTo>
                    <a:lnTo>
                      <a:pt x="89" y="0"/>
                    </a:lnTo>
                    <a:lnTo>
                      <a:pt x="80" y="0"/>
                    </a:lnTo>
                    <a:lnTo>
                      <a:pt x="77" y="5"/>
                    </a:lnTo>
                    <a:lnTo>
                      <a:pt x="74" y="8"/>
                    </a:lnTo>
                    <a:lnTo>
                      <a:pt x="70" y="9"/>
                    </a:lnTo>
                    <a:lnTo>
                      <a:pt x="67" y="8"/>
                    </a:lnTo>
                    <a:lnTo>
                      <a:pt x="61" y="5"/>
                    </a:lnTo>
                  </a:path>
                </a:pathLst>
              </a:custGeom>
              <a:solidFill>
                <a:srgbClr val="29CCFF"/>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67" name="Freeform 683"/>
              <p:cNvSpPr>
                <a:spLocks/>
              </p:cNvSpPr>
              <p:nvPr/>
            </p:nvSpPr>
            <p:spPr bwMode="auto">
              <a:xfrm>
                <a:off x="6165493" y="2338581"/>
                <a:ext cx="46523" cy="63891"/>
              </a:xfrm>
              <a:custGeom>
                <a:avLst/>
                <a:gdLst/>
                <a:ahLst/>
                <a:cxnLst>
                  <a:cxn ang="0">
                    <a:pos x="32" y="61"/>
                  </a:cxn>
                  <a:cxn ang="0">
                    <a:pos x="29" y="52"/>
                  </a:cxn>
                  <a:cxn ang="0">
                    <a:pos x="25" y="51"/>
                  </a:cxn>
                  <a:cxn ang="0">
                    <a:pos x="22" y="48"/>
                  </a:cxn>
                  <a:cxn ang="0">
                    <a:pos x="20" y="45"/>
                  </a:cxn>
                  <a:cxn ang="0">
                    <a:pos x="4" y="51"/>
                  </a:cxn>
                  <a:cxn ang="0">
                    <a:pos x="0" y="48"/>
                  </a:cxn>
                  <a:cxn ang="0">
                    <a:pos x="3" y="48"/>
                  </a:cxn>
                  <a:cxn ang="0">
                    <a:pos x="7" y="48"/>
                  </a:cxn>
                  <a:cxn ang="0">
                    <a:pos x="10" y="47"/>
                  </a:cxn>
                  <a:cxn ang="0">
                    <a:pos x="6" y="47"/>
                  </a:cxn>
                  <a:cxn ang="0">
                    <a:pos x="6" y="45"/>
                  </a:cxn>
                  <a:cxn ang="0">
                    <a:pos x="13" y="42"/>
                  </a:cxn>
                  <a:cxn ang="0">
                    <a:pos x="20" y="39"/>
                  </a:cxn>
                  <a:cxn ang="0">
                    <a:pos x="16" y="41"/>
                  </a:cxn>
                  <a:cxn ang="0">
                    <a:pos x="12" y="39"/>
                  </a:cxn>
                  <a:cxn ang="0">
                    <a:pos x="10" y="35"/>
                  </a:cxn>
                  <a:cxn ang="0">
                    <a:pos x="16" y="28"/>
                  </a:cxn>
                  <a:cxn ang="0">
                    <a:pos x="22" y="12"/>
                  </a:cxn>
                  <a:cxn ang="0">
                    <a:pos x="23" y="16"/>
                  </a:cxn>
                  <a:cxn ang="0">
                    <a:pos x="23" y="17"/>
                  </a:cxn>
                  <a:cxn ang="0">
                    <a:pos x="22" y="19"/>
                  </a:cxn>
                  <a:cxn ang="0">
                    <a:pos x="22" y="23"/>
                  </a:cxn>
                  <a:cxn ang="0">
                    <a:pos x="23" y="26"/>
                  </a:cxn>
                  <a:cxn ang="0">
                    <a:pos x="26" y="26"/>
                  </a:cxn>
                  <a:cxn ang="0">
                    <a:pos x="26" y="23"/>
                  </a:cxn>
                  <a:cxn ang="0">
                    <a:pos x="26" y="22"/>
                  </a:cxn>
                  <a:cxn ang="0">
                    <a:pos x="28" y="19"/>
                  </a:cxn>
                  <a:cxn ang="0">
                    <a:pos x="29" y="13"/>
                  </a:cxn>
                  <a:cxn ang="0">
                    <a:pos x="26" y="12"/>
                  </a:cxn>
                  <a:cxn ang="0">
                    <a:pos x="26" y="6"/>
                  </a:cxn>
                  <a:cxn ang="0">
                    <a:pos x="33" y="1"/>
                  </a:cxn>
                  <a:cxn ang="0">
                    <a:pos x="39" y="1"/>
                  </a:cxn>
                  <a:cxn ang="0">
                    <a:pos x="45" y="0"/>
                  </a:cxn>
                  <a:cxn ang="0">
                    <a:pos x="51" y="4"/>
                  </a:cxn>
                  <a:cxn ang="0">
                    <a:pos x="44" y="19"/>
                  </a:cxn>
                  <a:cxn ang="0">
                    <a:pos x="49" y="23"/>
                  </a:cxn>
                  <a:cxn ang="0">
                    <a:pos x="46" y="29"/>
                  </a:cxn>
                  <a:cxn ang="0">
                    <a:pos x="44" y="33"/>
                  </a:cxn>
                  <a:cxn ang="0">
                    <a:pos x="41" y="36"/>
                  </a:cxn>
                  <a:cxn ang="0">
                    <a:pos x="35" y="35"/>
                  </a:cxn>
                  <a:cxn ang="0">
                    <a:pos x="33" y="54"/>
                  </a:cxn>
                  <a:cxn ang="0">
                    <a:pos x="35" y="60"/>
                  </a:cxn>
                </a:cxnLst>
                <a:rect l="0" t="0" r="r" b="b"/>
                <a:pathLst>
                  <a:path w="51" h="61">
                    <a:moveTo>
                      <a:pt x="35" y="61"/>
                    </a:moveTo>
                    <a:lnTo>
                      <a:pt x="32" y="61"/>
                    </a:lnTo>
                    <a:lnTo>
                      <a:pt x="30" y="60"/>
                    </a:lnTo>
                    <a:lnTo>
                      <a:pt x="29" y="52"/>
                    </a:lnTo>
                    <a:lnTo>
                      <a:pt x="28" y="51"/>
                    </a:lnTo>
                    <a:lnTo>
                      <a:pt x="25" y="51"/>
                    </a:lnTo>
                    <a:lnTo>
                      <a:pt x="23" y="49"/>
                    </a:lnTo>
                    <a:lnTo>
                      <a:pt x="22" y="48"/>
                    </a:lnTo>
                    <a:lnTo>
                      <a:pt x="22" y="48"/>
                    </a:lnTo>
                    <a:lnTo>
                      <a:pt x="20" y="45"/>
                    </a:lnTo>
                    <a:lnTo>
                      <a:pt x="13" y="47"/>
                    </a:lnTo>
                    <a:lnTo>
                      <a:pt x="4" y="51"/>
                    </a:lnTo>
                    <a:lnTo>
                      <a:pt x="0" y="48"/>
                    </a:lnTo>
                    <a:lnTo>
                      <a:pt x="0" y="48"/>
                    </a:lnTo>
                    <a:lnTo>
                      <a:pt x="0" y="48"/>
                    </a:lnTo>
                    <a:lnTo>
                      <a:pt x="3" y="48"/>
                    </a:lnTo>
                    <a:lnTo>
                      <a:pt x="4" y="49"/>
                    </a:lnTo>
                    <a:lnTo>
                      <a:pt x="7" y="48"/>
                    </a:lnTo>
                    <a:lnTo>
                      <a:pt x="10" y="48"/>
                    </a:lnTo>
                    <a:lnTo>
                      <a:pt x="10" y="47"/>
                    </a:lnTo>
                    <a:lnTo>
                      <a:pt x="9" y="47"/>
                    </a:lnTo>
                    <a:lnTo>
                      <a:pt x="6" y="47"/>
                    </a:lnTo>
                    <a:lnTo>
                      <a:pt x="4" y="47"/>
                    </a:lnTo>
                    <a:lnTo>
                      <a:pt x="6" y="45"/>
                    </a:lnTo>
                    <a:lnTo>
                      <a:pt x="12" y="44"/>
                    </a:lnTo>
                    <a:lnTo>
                      <a:pt x="13" y="42"/>
                    </a:lnTo>
                    <a:lnTo>
                      <a:pt x="17" y="41"/>
                    </a:lnTo>
                    <a:lnTo>
                      <a:pt x="20" y="39"/>
                    </a:lnTo>
                    <a:lnTo>
                      <a:pt x="19" y="39"/>
                    </a:lnTo>
                    <a:lnTo>
                      <a:pt x="16" y="41"/>
                    </a:lnTo>
                    <a:lnTo>
                      <a:pt x="13" y="41"/>
                    </a:lnTo>
                    <a:lnTo>
                      <a:pt x="12" y="39"/>
                    </a:lnTo>
                    <a:lnTo>
                      <a:pt x="10" y="38"/>
                    </a:lnTo>
                    <a:lnTo>
                      <a:pt x="10" y="35"/>
                    </a:lnTo>
                    <a:lnTo>
                      <a:pt x="10" y="33"/>
                    </a:lnTo>
                    <a:lnTo>
                      <a:pt x="16" y="28"/>
                    </a:lnTo>
                    <a:lnTo>
                      <a:pt x="19" y="13"/>
                    </a:lnTo>
                    <a:lnTo>
                      <a:pt x="22" y="12"/>
                    </a:lnTo>
                    <a:lnTo>
                      <a:pt x="22" y="15"/>
                    </a:lnTo>
                    <a:lnTo>
                      <a:pt x="23" y="16"/>
                    </a:lnTo>
                    <a:lnTo>
                      <a:pt x="23" y="16"/>
                    </a:lnTo>
                    <a:lnTo>
                      <a:pt x="23" y="17"/>
                    </a:lnTo>
                    <a:lnTo>
                      <a:pt x="22" y="17"/>
                    </a:lnTo>
                    <a:lnTo>
                      <a:pt x="22" y="19"/>
                    </a:lnTo>
                    <a:lnTo>
                      <a:pt x="20" y="20"/>
                    </a:lnTo>
                    <a:lnTo>
                      <a:pt x="22" y="23"/>
                    </a:lnTo>
                    <a:lnTo>
                      <a:pt x="22" y="25"/>
                    </a:lnTo>
                    <a:lnTo>
                      <a:pt x="23" y="26"/>
                    </a:lnTo>
                    <a:lnTo>
                      <a:pt x="25" y="26"/>
                    </a:lnTo>
                    <a:lnTo>
                      <a:pt x="26" y="26"/>
                    </a:lnTo>
                    <a:lnTo>
                      <a:pt x="28" y="26"/>
                    </a:lnTo>
                    <a:lnTo>
                      <a:pt x="26" y="23"/>
                    </a:lnTo>
                    <a:lnTo>
                      <a:pt x="26" y="22"/>
                    </a:lnTo>
                    <a:lnTo>
                      <a:pt x="26" y="22"/>
                    </a:lnTo>
                    <a:lnTo>
                      <a:pt x="26" y="20"/>
                    </a:lnTo>
                    <a:lnTo>
                      <a:pt x="28" y="19"/>
                    </a:lnTo>
                    <a:lnTo>
                      <a:pt x="29" y="13"/>
                    </a:lnTo>
                    <a:lnTo>
                      <a:pt x="29" y="13"/>
                    </a:lnTo>
                    <a:lnTo>
                      <a:pt x="28" y="13"/>
                    </a:lnTo>
                    <a:lnTo>
                      <a:pt x="26" y="12"/>
                    </a:lnTo>
                    <a:lnTo>
                      <a:pt x="26" y="7"/>
                    </a:lnTo>
                    <a:lnTo>
                      <a:pt x="26" y="6"/>
                    </a:lnTo>
                    <a:lnTo>
                      <a:pt x="28" y="4"/>
                    </a:lnTo>
                    <a:lnTo>
                      <a:pt x="33" y="1"/>
                    </a:lnTo>
                    <a:lnTo>
                      <a:pt x="35" y="0"/>
                    </a:lnTo>
                    <a:lnTo>
                      <a:pt x="39" y="1"/>
                    </a:lnTo>
                    <a:lnTo>
                      <a:pt x="42" y="0"/>
                    </a:lnTo>
                    <a:lnTo>
                      <a:pt x="45" y="0"/>
                    </a:lnTo>
                    <a:lnTo>
                      <a:pt x="46" y="0"/>
                    </a:lnTo>
                    <a:lnTo>
                      <a:pt x="51" y="4"/>
                    </a:lnTo>
                    <a:lnTo>
                      <a:pt x="48" y="16"/>
                    </a:lnTo>
                    <a:lnTo>
                      <a:pt x="44" y="19"/>
                    </a:lnTo>
                    <a:lnTo>
                      <a:pt x="45" y="20"/>
                    </a:lnTo>
                    <a:lnTo>
                      <a:pt x="49" y="23"/>
                    </a:lnTo>
                    <a:lnTo>
                      <a:pt x="49" y="26"/>
                    </a:lnTo>
                    <a:lnTo>
                      <a:pt x="46" y="29"/>
                    </a:lnTo>
                    <a:lnTo>
                      <a:pt x="45" y="31"/>
                    </a:lnTo>
                    <a:lnTo>
                      <a:pt x="44" y="33"/>
                    </a:lnTo>
                    <a:lnTo>
                      <a:pt x="42" y="36"/>
                    </a:lnTo>
                    <a:lnTo>
                      <a:pt x="41" y="36"/>
                    </a:lnTo>
                    <a:lnTo>
                      <a:pt x="38" y="35"/>
                    </a:lnTo>
                    <a:lnTo>
                      <a:pt x="35" y="35"/>
                    </a:lnTo>
                    <a:lnTo>
                      <a:pt x="35" y="52"/>
                    </a:lnTo>
                    <a:lnTo>
                      <a:pt x="33" y="54"/>
                    </a:lnTo>
                    <a:lnTo>
                      <a:pt x="33" y="55"/>
                    </a:lnTo>
                    <a:lnTo>
                      <a:pt x="35" y="60"/>
                    </a:lnTo>
                    <a:lnTo>
                      <a:pt x="35" y="6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68" name="Freeform 684"/>
              <p:cNvSpPr>
                <a:spLocks/>
              </p:cNvSpPr>
              <p:nvPr/>
            </p:nvSpPr>
            <p:spPr bwMode="auto">
              <a:xfrm>
                <a:off x="6165493" y="2338581"/>
                <a:ext cx="46523" cy="63891"/>
              </a:xfrm>
              <a:custGeom>
                <a:avLst/>
                <a:gdLst/>
                <a:ahLst/>
                <a:cxnLst>
                  <a:cxn ang="0">
                    <a:pos x="32" y="61"/>
                  </a:cxn>
                  <a:cxn ang="0">
                    <a:pos x="29" y="52"/>
                  </a:cxn>
                  <a:cxn ang="0">
                    <a:pos x="25" y="51"/>
                  </a:cxn>
                  <a:cxn ang="0">
                    <a:pos x="22" y="48"/>
                  </a:cxn>
                  <a:cxn ang="0">
                    <a:pos x="20" y="45"/>
                  </a:cxn>
                  <a:cxn ang="0">
                    <a:pos x="4" y="51"/>
                  </a:cxn>
                  <a:cxn ang="0">
                    <a:pos x="0" y="48"/>
                  </a:cxn>
                  <a:cxn ang="0">
                    <a:pos x="3" y="48"/>
                  </a:cxn>
                  <a:cxn ang="0">
                    <a:pos x="7" y="48"/>
                  </a:cxn>
                  <a:cxn ang="0">
                    <a:pos x="10" y="47"/>
                  </a:cxn>
                  <a:cxn ang="0">
                    <a:pos x="6" y="47"/>
                  </a:cxn>
                  <a:cxn ang="0">
                    <a:pos x="6" y="45"/>
                  </a:cxn>
                  <a:cxn ang="0">
                    <a:pos x="13" y="42"/>
                  </a:cxn>
                  <a:cxn ang="0">
                    <a:pos x="20" y="39"/>
                  </a:cxn>
                  <a:cxn ang="0">
                    <a:pos x="16" y="41"/>
                  </a:cxn>
                  <a:cxn ang="0">
                    <a:pos x="12" y="39"/>
                  </a:cxn>
                  <a:cxn ang="0">
                    <a:pos x="10" y="35"/>
                  </a:cxn>
                  <a:cxn ang="0">
                    <a:pos x="16" y="28"/>
                  </a:cxn>
                  <a:cxn ang="0">
                    <a:pos x="22" y="12"/>
                  </a:cxn>
                  <a:cxn ang="0">
                    <a:pos x="23" y="16"/>
                  </a:cxn>
                  <a:cxn ang="0">
                    <a:pos x="23" y="17"/>
                  </a:cxn>
                  <a:cxn ang="0">
                    <a:pos x="22" y="19"/>
                  </a:cxn>
                  <a:cxn ang="0">
                    <a:pos x="22" y="23"/>
                  </a:cxn>
                  <a:cxn ang="0">
                    <a:pos x="23" y="26"/>
                  </a:cxn>
                  <a:cxn ang="0">
                    <a:pos x="26" y="26"/>
                  </a:cxn>
                  <a:cxn ang="0">
                    <a:pos x="26" y="23"/>
                  </a:cxn>
                  <a:cxn ang="0">
                    <a:pos x="26" y="22"/>
                  </a:cxn>
                  <a:cxn ang="0">
                    <a:pos x="28" y="19"/>
                  </a:cxn>
                  <a:cxn ang="0">
                    <a:pos x="29" y="13"/>
                  </a:cxn>
                  <a:cxn ang="0">
                    <a:pos x="26" y="12"/>
                  </a:cxn>
                  <a:cxn ang="0">
                    <a:pos x="26" y="6"/>
                  </a:cxn>
                  <a:cxn ang="0">
                    <a:pos x="33" y="1"/>
                  </a:cxn>
                  <a:cxn ang="0">
                    <a:pos x="39" y="1"/>
                  </a:cxn>
                  <a:cxn ang="0">
                    <a:pos x="45" y="0"/>
                  </a:cxn>
                  <a:cxn ang="0">
                    <a:pos x="51" y="4"/>
                  </a:cxn>
                  <a:cxn ang="0">
                    <a:pos x="44" y="19"/>
                  </a:cxn>
                  <a:cxn ang="0">
                    <a:pos x="49" y="23"/>
                  </a:cxn>
                  <a:cxn ang="0">
                    <a:pos x="46" y="29"/>
                  </a:cxn>
                  <a:cxn ang="0">
                    <a:pos x="44" y="33"/>
                  </a:cxn>
                  <a:cxn ang="0">
                    <a:pos x="41" y="36"/>
                  </a:cxn>
                  <a:cxn ang="0">
                    <a:pos x="35" y="35"/>
                  </a:cxn>
                  <a:cxn ang="0">
                    <a:pos x="33" y="54"/>
                  </a:cxn>
                  <a:cxn ang="0">
                    <a:pos x="35" y="60"/>
                  </a:cxn>
                </a:cxnLst>
                <a:rect l="0" t="0" r="r" b="b"/>
                <a:pathLst>
                  <a:path w="51" h="61">
                    <a:moveTo>
                      <a:pt x="35" y="61"/>
                    </a:moveTo>
                    <a:lnTo>
                      <a:pt x="32" y="61"/>
                    </a:lnTo>
                    <a:lnTo>
                      <a:pt x="30" y="60"/>
                    </a:lnTo>
                    <a:lnTo>
                      <a:pt x="29" y="52"/>
                    </a:lnTo>
                    <a:lnTo>
                      <a:pt x="28" y="51"/>
                    </a:lnTo>
                    <a:lnTo>
                      <a:pt x="25" y="51"/>
                    </a:lnTo>
                    <a:lnTo>
                      <a:pt x="23" y="49"/>
                    </a:lnTo>
                    <a:lnTo>
                      <a:pt x="22" y="48"/>
                    </a:lnTo>
                    <a:lnTo>
                      <a:pt x="22" y="48"/>
                    </a:lnTo>
                    <a:lnTo>
                      <a:pt x="20" y="45"/>
                    </a:lnTo>
                    <a:lnTo>
                      <a:pt x="13" y="47"/>
                    </a:lnTo>
                    <a:lnTo>
                      <a:pt x="4" y="51"/>
                    </a:lnTo>
                    <a:lnTo>
                      <a:pt x="0" y="48"/>
                    </a:lnTo>
                    <a:lnTo>
                      <a:pt x="0" y="48"/>
                    </a:lnTo>
                    <a:lnTo>
                      <a:pt x="0" y="48"/>
                    </a:lnTo>
                    <a:lnTo>
                      <a:pt x="3" y="48"/>
                    </a:lnTo>
                    <a:lnTo>
                      <a:pt x="4" y="49"/>
                    </a:lnTo>
                    <a:lnTo>
                      <a:pt x="7" y="48"/>
                    </a:lnTo>
                    <a:lnTo>
                      <a:pt x="10" y="48"/>
                    </a:lnTo>
                    <a:lnTo>
                      <a:pt x="10" y="47"/>
                    </a:lnTo>
                    <a:lnTo>
                      <a:pt x="9" y="47"/>
                    </a:lnTo>
                    <a:lnTo>
                      <a:pt x="6" y="47"/>
                    </a:lnTo>
                    <a:lnTo>
                      <a:pt x="4" y="47"/>
                    </a:lnTo>
                    <a:lnTo>
                      <a:pt x="6" y="45"/>
                    </a:lnTo>
                    <a:lnTo>
                      <a:pt x="12" y="44"/>
                    </a:lnTo>
                    <a:lnTo>
                      <a:pt x="13" y="42"/>
                    </a:lnTo>
                    <a:lnTo>
                      <a:pt x="17" y="41"/>
                    </a:lnTo>
                    <a:lnTo>
                      <a:pt x="20" y="39"/>
                    </a:lnTo>
                    <a:lnTo>
                      <a:pt x="19" y="39"/>
                    </a:lnTo>
                    <a:lnTo>
                      <a:pt x="16" y="41"/>
                    </a:lnTo>
                    <a:lnTo>
                      <a:pt x="13" y="41"/>
                    </a:lnTo>
                    <a:lnTo>
                      <a:pt x="12" y="39"/>
                    </a:lnTo>
                    <a:lnTo>
                      <a:pt x="10" y="38"/>
                    </a:lnTo>
                    <a:lnTo>
                      <a:pt x="10" y="35"/>
                    </a:lnTo>
                    <a:lnTo>
                      <a:pt x="10" y="33"/>
                    </a:lnTo>
                    <a:lnTo>
                      <a:pt x="16" y="28"/>
                    </a:lnTo>
                    <a:lnTo>
                      <a:pt x="19" y="13"/>
                    </a:lnTo>
                    <a:lnTo>
                      <a:pt x="22" y="12"/>
                    </a:lnTo>
                    <a:lnTo>
                      <a:pt x="22" y="15"/>
                    </a:lnTo>
                    <a:lnTo>
                      <a:pt x="23" y="16"/>
                    </a:lnTo>
                    <a:lnTo>
                      <a:pt x="23" y="16"/>
                    </a:lnTo>
                    <a:lnTo>
                      <a:pt x="23" y="17"/>
                    </a:lnTo>
                    <a:lnTo>
                      <a:pt x="22" y="17"/>
                    </a:lnTo>
                    <a:lnTo>
                      <a:pt x="22" y="19"/>
                    </a:lnTo>
                    <a:lnTo>
                      <a:pt x="20" y="20"/>
                    </a:lnTo>
                    <a:lnTo>
                      <a:pt x="22" y="23"/>
                    </a:lnTo>
                    <a:lnTo>
                      <a:pt x="22" y="25"/>
                    </a:lnTo>
                    <a:lnTo>
                      <a:pt x="23" y="26"/>
                    </a:lnTo>
                    <a:lnTo>
                      <a:pt x="25" y="26"/>
                    </a:lnTo>
                    <a:lnTo>
                      <a:pt x="26" y="26"/>
                    </a:lnTo>
                    <a:lnTo>
                      <a:pt x="28" y="26"/>
                    </a:lnTo>
                    <a:lnTo>
                      <a:pt x="26" y="23"/>
                    </a:lnTo>
                    <a:lnTo>
                      <a:pt x="26" y="22"/>
                    </a:lnTo>
                    <a:lnTo>
                      <a:pt x="26" y="22"/>
                    </a:lnTo>
                    <a:lnTo>
                      <a:pt x="26" y="20"/>
                    </a:lnTo>
                    <a:lnTo>
                      <a:pt x="28" y="19"/>
                    </a:lnTo>
                    <a:lnTo>
                      <a:pt x="29" y="13"/>
                    </a:lnTo>
                    <a:lnTo>
                      <a:pt x="29" y="13"/>
                    </a:lnTo>
                    <a:lnTo>
                      <a:pt x="28" y="13"/>
                    </a:lnTo>
                    <a:lnTo>
                      <a:pt x="26" y="12"/>
                    </a:lnTo>
                    <a:lnTo>
                      <a:pt x="26" y="7"/>
                    </a:lnTo>
                    <a:lnTo>
                      <a:pt x="26" y="6"/>
                    </a:lnTo>
                    <a:lnTo>
                      <a:pt x="28" y="4"/>
                    </a:lnTo>
                    <a:lnTo>
                      <a:pt x="33" y="1"/>
                    </a:lnTo>
                    <a:lnTo>
                      <a:pt x="35" y="0"/>
                    </a:lnTo>
                    <a:lnTo>
                      <a:pt x="39" y="1"/>
                    </a:lnTo>
                    <a:lnTo>
                      <a:pt x="42" y="0"/>
                    </a:lnTo>
                    <a:lnTo>
                      <a:pt x="45" y="0"/>
                    </a:lnTo>
                    <a:lnTo>
                      <a:pt x="46" y="0"/>
                    </a:lnTo>
                    <a:lnTo>
                      <a:pt x="51" y="4"/>
                    </a:lnTo>
                    <a:lnTo>
                      <a:pt x="48" y="16"/>
                    </a:lnTo>
                    <a:lnTo>
                      <a:pt x="44" y="19"/>
                    </a:lnTo>
                    <a:lnTo>
                      <a:pt x="45" y="20"/>
                    </a:lnTo>
                    <a:lnTo>
                      <a:pt x="49" y="23"/>
                    </a:lnTo>
                    <a:lnTo>
                      <a:pt x="49" y="26"/>
                    </a:lnTo>
                    <a:lnTo>
                      <a:pt x="46" y="29"/>
                    </a:lnTo>
                    <a:lnTo>
                      <a:pt x="45" y="31"/>
                    </a:lnTo>
                    <a:lnTo>
                      <a:pt x="44" y="33"/>
                    </a:lnTo>
                    <a:lnTo>
                      <a:pt x="42" y="36"/>
                    </a:lnTo>
                    <a:lnTo>
                      <a:pt x="41" y="36"/>
                    </a:lnTo>
                    <a:lnTo>
                      <a:pt x="38" y="35"/>
                    </a:lnTo>
                    <a:lnTo>
                      <a:pt x="35" y="35"/>
                    </a:lnTo>
                    <a:lnTo>
                      <a:pt x="35" y="52"/>
                    </a:lnTo>
                    <a:lnTo>
                      <a:pt x="33" y="54"/>
                    </a:lnTo>
                    <a:lnTo>
                      <a:pt x="33" y="55"/>
                    </a:lnTo>
                    <a:lnTo>
                      <a:pt x="35" y="60"/>
                    </a:lnTo>
                    <a:lnTo>
                      <a:pt x="35" y="6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69" name="Freeform 685"/>
              <p:cNvSpPr>
                <a:spLocks/>
              </p:cNvSpPr>
              <p:nvPr/>
            </p:nvSpPr>
            <p:spPr bwMode="auto">
              <a:xfrm>
                <a:off x="6059279" y="2395372"/>
                <a:ext cx="165026" cy="187615"/>
              </a:xfrm>
              <a:custGeom>
                <a:avLst/>
                <a:gdLst/>
                <a:ahLst/>
                <a:cxnLst>
                  <a:cxn ang="0">
                    <a:pos x="88" y="17"/>
                  </a:cxn>
                  <a:cxn ang="0">
                    <a:pos x="75" y="29"/>
                  </a:cxn>
                  <a:cxn ang="0">
                    <a:pos x="72" y="36"/>
                  </a:cxn>
                  <a:cxn ang="0">
                    <a:pos x="67" y="39"/>
                  </a:cxn>
                  <a:cxn ang="0">
                    <a:pos x="49" y="35"/>
                  </a:cxn>
                  <a:cxn ang="0">
                    <a:pos x="40" y="32"/>
                  </a:cxn>
                  <a:cxn ang="0">
                    <a:pos x="48" y="54"/>
                  </a:cxn>
                  <a:cxn ang="0">
                    <a:pos x="40" y="54"/>
                  </a:cxn>
                  <a:cxn ang="0">
                    <a:pos x="25" y="51"/>
                  </a:cxn>
                  <a:cxn ang="0">
                    <a:pos x="16" y="52"/>
                  </a:cxn>
                  <a:cxn ang="0">
                    <a:pos x="4" y="61"/>
                  </a:cxn>
                  <a:cxn ang="0">
                    <a:pos x="3" y="65"/>
                  </a:cxn>
                  <a:cxn ang="0">
                    <a:pos x="3" y="68"/>
                  </a:cxn>
                  <a:cxn ang="0">
                    <a:pos x="9" y="71"/>
                  </a:cxn>
                  <a:cxn ang="0">
                    <a:pos x="23" y="77"/>
                  </a:cxn>
                  <a:cxn ang="0">
                    <a:pos x="30" y="80"/>
                  </a:cxn>
                  <a:cxn ang="0">
                    <a:pos x="36" y="84"/>
                  </a:cxn>
                  <a:cxn ang="0">
                    <a:pos x="38" y="87"/>
                  </a:cxn>
                  <a:cxn ang="0">
                    <a:pos x="36" y="91"/>
                  </a:cxn>
                  <a:cxn ang="0">
                    <a:pos x="52" y="104"/>
                  </a:cxn>
                  <a:cxn ang="0">
                    <a:pos x="51" y="115"/>
                  </a:cxn>
                  <a:cxn ang="0">
                    <a:pos x="58" y="125"/>
                  </a:cxn>
                  <a:cxn ang="0">
                    <a:pos x="52" y="135"/>
                  </a:cxn>
                  <a:cxn ang="0">
                    <a:pos x="43" y="163"/>
                  </a:cxn>
                  <a:cxn ang="0">
                    <a:pos x="52" y="170"/>
                  </a:cxn>
                  <a:cxn ang="0">
                    <a:pos x="77" y="174"/>
                  </a:cxn>
                  <a:cxn ang="0">
                    <a:pos x="93" y="181"/>
                  </a:cxn>
                  <a:cxn ang="0">
                    <a:pos x="110" y="173"/>
                  </a:cxn>
                  <a:cxn ang="0">
                    <a:pos x="122" y="160"/>
                  </a:cxn>
                  <a:cxn ang="0">
                    <a:pos x="130" y="161"/>
                  </a:cxn>
                  <a:cxn ang="0">
                    <a:pos x="136" y="161"/>
                  </a:cxn>
                  <a:cxn ang="0">
                    <a:pos x="142" y="163"/>
                  </a:cxn>
                  <a:cxn ang="0">
                    <a:pos x="149" y="167"/>
                  </a:cxn>
                  <a:cxn ang="0">
                    <a:pos x="161" y="163"/>
                  </a:cxn>
                  <a:cxn ang="0">
                    <a:pos x="173" y="152"/>
                  </a:cxn>
                  <a:cxn ang="0">
                    <a:pos x="173" y="147"/>
                  </a:cxn>
                  <a:cxn ang="0">
                    <a:pos x="164" y="135"/>
                  </a:cxn>
                  <a:cxn ang="0">
                    <a:pos x="161" y="129"/>
                  </a:cxn>
                  <a:cxn ang="0">
                    <a:pos x="162" y="113"/>
                  </a:cxn>
                  <a:cxn ang="0">
                    <a:pos x="162" y="109"/>
                  </a:cxn>
                  <a:cxn ang="0">
                    <a:pos x="154" y="104"/>
                  </a:cxn>
                  <a:cxn ang="0">
                    <a:pos x="152" y="96"/>
                  </a:cxn>
                  <a:cxn ang="0">
                    <a:pos x="157" y="90"/>
                  </a:cxn>
                  <a:cxn ang="0">
                    <a:pos x="168" y="78"/>
                  </a:cxn>
                  <a:cxn ang="0">
                    <a:pos x="174" y="55"/>
                  </a:cxn>
                  <a:cxn ang="0">
                    <a:pos x="158" y="38"/>
                  </a:cxn>
                  <a:cxn ang="0">
                    <a:pos x="145" y="33"/>
                  </a:cxn>
                  <a:cxn ang="0">
                    <a:pos x="136" y="27"/>
                  </a:cxn>
                  <a:cxn ang="0">
                    <a:pos x="129" y="26"/>
                  </a:cxn>
                  <a:cxn ang="0">
                    <a:pos x="115" y="13"/>
                  </a:cxn>
                  <a:cxn ang="0">
                    <a:pos x="106" y="0"/>
                  </a:cxn>
                </a:cxnLst>
                <a:rect l="0" t="0" r="r" b="b"/>
                <a:pathLst>
                  <a:path w="180" h="181">
                    <a:moveTo>
                      <a:pt x="106" y="0"/>
                    </a:moveTo>
                    <a:lnTo>
                      <a:pt x="104" y="1"/>
                    </a:lnTo>
                    <a:lnTo>
                      <a:pt x="91" y="4"/>
                    </a:lnTo>
                    <a:lnTo>
                      <a:pt x="88" y="17"/>
                    </a:lnTo>
                    <a:lnTo>
                      <a:pt x="90" y="19"/>
                    </a:lnTo>
                    <a:lnTo>
                      <a:pt x="90" y="20"/>
                    </a:lnTo>
                    <a:lnTo>
                      <a:pt x="83" y="26"/>
                    </a:lnTo>
                    <a:lnTo>
                      <a:pt x="75" y="29"/>
                    </a:lnTo>
                    <a:lnTo>
                      <a:pt x="71" y="30"/>
                    </a:lnTo>
                    <a:lnTo>
                      <a:pt x="70" y="35"/>
                    </a:lnTo>
                    <a:lnTo>
                      <a:pt x="70" y="36"/>
                    </a:lnTo>
                    <a:lnTo>
                      <a:pt x="72" y="36"/>
                    </a:lnTo>
                    <a:lnTo>
                      <a:pt x="75" y="36"/>
                    </a:lnTo>
                    <a:lnTo>
                      <a:pt x="74" y="38"/>
                    </a:lnTo>
                    <a:lnTo>
                      <a:pt x="70" y="38"/>
                    </a:lnTo>
                    <a:lnTo>
                      <a:pt x="67" y="39"/>
                    </a:lnTo>
                    <a:lnTo>
                      <a:pt x="61" y="40"/>
                    </a:lnTo>
                    <a:lnTo>
                      <a:pt x="54" y="39"/>
                    </a:lnTo>
                    <a:lnTo>
                      <a:pt x="52" y="39"/>
                    </a:lnTo>
                    <a:lnTo>
                      <a:pt x="49" y="35"/>
                    </a:lnTo>
                    <a:lnTo>
                      <a:pt x="49" y="32"/>
                    </a:lnTo>
                    <a:lnTo>
                      <a:pt x="48" y="32"/>
                    </a:lnTo>
                    <a:lnTo>
                      <a:pt x="43" y="32"/>
                    </a:lnTo>
                    <a:lnTo>
                      <a:pt x="40" y="32"/>
                    </a:lnTo>
                    <a:lnTo>
                      <a:pt x="42" y="39"/>
                    </a:lnTo>
                    <a:lnTo>
                      <a:pt x="43" y="40"/>
                    </a:lnTo>
                    <a:lnTo>
                      <a:pt x="45" y="52"/>
                    </a:lnTo>
                    <a:lnTo>
                      <a:pt x="48" y="54"/>
                    </a:lnTo>
                    <a:lnTo>
                      <a:pt x="46" y="55"/>
                    </a:lnTo>
                    <a:lnTo>
                      <a:pt x="43" y="55"/>
                    </a:lnTo>
                    <a:lnTo>
                      <a:pt x="42" y="54"/>
                    </a:lnTo>
                    <a:lnTo>
                      <a:pt x="40" y="54"/>
                    </a:lnTo>
                    <a:lnTo>
                      <a:pt x="38" y="55"/>
                    </a:lnTo>
                    <a:lnTo>
                      <a:pt x="35" y="54"/>
                    </a:lnTo>
                    <a:lnTo>
                      <a:pt x="30" y="56"/>
                    </a:lnTo>
                    <a:lnTo>
                      <a:pt x="25" y="51"/>
                    </a:lnTo>
                    <a:lnTo>
                      <a:pt x="19" y="51"/>
                    </a:lnTo>
                    <a:lnTo>
                      <a:pt x="19" y="51"/>
                    </a:lnTo>
                    <a:lnTo>
                      <a:pt x="17" y="51"/>
                    </a:lnTo>
                    <a:lnTo>
                      <a:pt x="16" y="52"/>
                    </a:lnTo>
                    <a:lnTo>
                      <a:pt x="0" y="56"/>
                    </a:lnTo>
                    <a:lnTo>
                      <a:pt x="0" y="59"/>
                    </a:lnTo>
                    <a:lnTo>
                      <a:pt x="0" y="61"/>
                    </a:lnTo>
                    <a:lnTo>
                      <a:pt x="4" y="61"/>
                    </a:lnTo>
                    <a:lnTo>
                      <a:pt x="4" y="61"/>
                    </a:lnTo>
                    <a:lnTo>
                      <a:pt x="3" y="62"/>
                    </a:lnTo>
                    <a:lnTo>
                      <a:pt x="1" y="64"/>
                    </a:lnTo>
                    <a:lnTo>
                      <a:pt x="3" y="65"/>
                    </a:lnTo>
                    <a:lnTo>
                      <a:pt x="7" y="64"/>
                    </a:lnTo>
                    <a:lnTo>
                      <a:pt x="6" y="67"/>
                    </a:lnTo>
                    <a:lnTo>
                      <a:pt x="1" y="67"/>
                    </a:lnTo>
                    <a:lnTo>
                      <a:pt x="3" y="68"/>
                    </a:lnTo>
                    <a:lnTo>
                      <a:pt x="6" y="70"/>
                    </a:lnTo>
                    <a:lnTo>
                      <a:pt x="6" y="72"/>
                    </a:lnTo>
                    <a:lnTo>
                      <a:pt x="9" y="72"/>
                    </a:lnTo>
                    <a:lnTo>
                      <a:pt x="9" y="71"/>
                    </a:lnTo>
                    <a:lnTo>
                      <a:pt x="11" y="71"/>
                    </a:lnTo>
                    <a:lnTo>
                      <a:pt x="22" y="75"/>
                    </a:lnTo>
                    <a:lnTo>
                      <a:pt x="22" y="77"/>
                    </a:lnTo>
                    <a:lnTo>
                      <a:pt x="23" y="77"/>
                    </a:lnTo>
                    <a:lnTo>
                      <a:pt x="26" y="77"/>
                    </a:lnTo>
                    <a:lnTo>
                      <a:pt x="29" y="77"/>
                    </a:lnTo>
                    <a:lnTo>
                      <a:pt x="27" y="78"/>
                    </a:lnTo>
                    <a:lnTo>
                      <a:pt x="30" y="80"/>
                    </a:lnTo>
                    <a:lnTo>
                      <a:pt x="32" y="78"/>
                    </a:lnTo>
                    <a:lnTo>
                      <a:pt x="33" y="78"/>
                    </a:lnTo>
                    <a:lnTo>
                      <a:pt x="32" y="83"/>
                    </a:lnTo>
                    <a:lnTo>
                      <a:pt x="36" y="84"/>
                    </a:lnTo>
                    <a:lnTo>
                      <a:pt x="39" y="83"/>
                    </a:lnTo>
                    <a:lnTo>
                      <a:pt x="42" y="84"/>
                    </a:lnTo>
                    <a:lnTo>
                      <a:pt x="38" y="86"/>
                    </a:lnTo>
                    <a:lnTo>
                      <a:pt x="38" y="87"/>
                    </a:lnTo>
                    <a:lnTo>
                      <a:pt x="40" y="88"/>
                    </a:lnTo>
                    <a:lnTo>
                      <a:pt x="39" y="91"/>
                    </a:lnTo>
                    <a:lnTo>
                      <a:pt x="38" y="90"/>
                    </a:lnTo>
                    <a:lnTo>
                      <a:pt x="36" y="91"/>
                    </a:lnTo>
                    <a:lnTo>
                      <a:pt x="42" y="97"/>
                    </a:lnTo>
                    <a:lnTo>
                      <a:pt x="42" y="99"/>
                    </a:lnTo>
                    <a:lnTo>
                      <a:pt x="48" y="103"/>
                    </a:lnTo>
                    <a:lnTo>
                      <a:pt x="52" y="104"/>
                    </a:lnTo>
                    <a:lnTo>
                      <a:pt x="52" y="106"/>
                    </a:lnTo>
                    <a:lnTo>
                      <a:pt x="52" y="109"/>
                    </a:lnTo>
                    <a:lnTo>
                      <a:pt x="52" y="112"/>
                    </a:lnTo>
                    <a:lnTo>
                      <a:pt x="51" y="115"/>
                    </a:lnTo>
                    <a:lnTo>
                      <a:pt x="52" y="118"/>
                    </a:lnTo>
                    <a:lnTo>
                      <a:pt x="55" y="119"/>
                    </a:lnTo>
                    <a:lnTo>
                      <a:pt x="56" y="122"/>
                    </a:lnTo>
                    <a:lnTo>
                      <a:pt x="58" y="125"/>
                    </a:lnTo>
                    <a:lnTo>
                      <a:pt x="54" y="119"/>
                    </a:lnTo>
                    <a:lnTo>
                      <a:pt x="52" y="122"/>
                    </a:lnTo>
                    <a:lnTo>
                      <a:pt x="51" y="136"/>
                    </a:lnTo>
                    <a:lnTo>
                      <a:pt x="52" y="135"/>
                    </a:lnTo>
                    <a:lnTo>
                      <a:pt x="54" y="136"/>
                    </a:lnTo>
                    <a:lnTo>
                      <a:pt x="51" y="139"/>
                    </a:lnTo>
                    <a:lnTo>
                      <a:pt x="46" y="161"/>
                    </a:lnTo>
                    <a:lnTo>
                      <a:pt x="43" y="163"/>
                    </a:lnTo>
                    <a:lnTo>
                      <a:pt x="42" y="163"/>
                    </a:lnTo>
                    <a:lnTo>
                      <a:pt x="42" y="163"/>
                    </a:lnTo>
                    <a:lnTo>
                      <a:pt x="49" y="168"/>
                    </a:lnTo>
                    <a:lnTo>
                      <a:pt x="52" y="170"/>
                    </a:lnTo>
                    <a:lnTo>
                      <a:pt x="58" y="173"/>
                    </a:lnTo>
                    <a:lnTo>
                      <a:pt x="72" y="177"/>
                    </a:lnTo>
                    <a:lnTo>
                      <a:pt x="75" y="176"/>
                    </a:lnTo>
                    <a:lnTo>
                      <a:pt x="77" y="174"/>
                    </a:lnTo>
                    <a:lnTo>
                      <a:pt x="80" y="174"/>
                    </a:lnTo>
                    <a:lnTo>
                      <a:pt x="85" y="177"/>
                    </a:lnTo>
                    <a:lnTo>
                      <a:pt x="88" y="177"/>
                    </a:lnTo>
                    <a:lnTo>
                      <a:pt x="93" y="181"/>
                    </a:lnTo>
                    <a:lnTo>
                      <a:pt x="96" y="181"/>
                    </a:lnTo>
                    <a:lnTo>
                      <a:pt x="112" y="181"/>
                    </a:lnTo>
                    <a:lnTo>
                      <a:pt x="110" y="173"/>
                    </a:lnTo>
                    <a:lnTo>
                      <a:pt x="110" y="173"/>
                    </a:lnTo>
                    <a:lnTo>
                      <a:pt x="110" y="168"/>
                    </a:lnTo>
                    <a:lnTo>
                      <a:pt x="112" y="165"/>
                    </a:lnTo>
                    <a:lnTo>
                      <a:pt x="120" y="161"/>
                    </a:lnTo>
                    <a:lnTo>
                      <a:pt x="122" y="160"/>
                    </a:lnTo>
                    <a:lnTo>
                      <a:pt x="123" y="158"/>
                    </a:lnTo>
                    <a:lnTo>
                      <a:pt x="125" y="158"/>
                    </a:lnTo>
                    <a:lnTo>
                      <a:pt x="126" y="160"/>
                    </a:lnTo>
                    <a:lnTo>
                      <a:pt x="130" y="161"/>
                    </a:lnTo>
                    <a:lnTo>
                      <a:pt x="130" y="161"/>
                    </a:lnTo>
                    <a:lnTo>
                      <a:pt x="132" y="163"/>
                    </a:lnTo>
                    <a:lnTo>
                      <a:pt x="136" y="163"/>
                    </a:lnTo>
                    <a:lnTo>
                      <a:pt x="136" y="161"/>
                    </a:lnTo>
                    <a:lnTo>
                      <a:pt x="139" y="161"/>
                    </a:lnTo>
                    <a:lnTo>
                      <a:pt x="139" y="163"/>
                    </a:lnTo>
                    <a:lnTo>
                      <a:pt x="141" y="163"/>
                    </a:lnTo>
                    <a:lnTo>
                      <a:pt x="142" y="163"/>
                    </a:lnTo>
                    <a:lnTo>
                      <a:pt x="144" y="164"/>
                    </a:lnTo>
                    <a:lnTo>
                      <a:pt x="144" y="164"/>
                    </a:lnTo>
                    <a:lnTo>
                      <a:pt x="146" y="165"/>
                    </a:lnTo>
                    <a:lnTo>
                      <a:pt x="149" y="167"/>
                    </a:lnTo>
                    <a:lnTo>
                      <a:pt x="154" y="167"/>
                    </a:lnTo>
                    <a:lnTo>
                      <a:pt x="160" y="164"/>
                    </a:lnTo>
                    <a:lnTo>
                      <a:pt x="161" y="164"/>
                    </a:lnTo>
                    <a:lnTo>
                      <a:pt x="161" y="163"/>
                    </a:lnTo>
                    <a:lnTo>
                      <a:pt x="167" y="157"/>
                    </a:lnTo>
                    <a:lnTo>
                      <a:pt x="168" y="155"/>
                    </a:lnTo>
                    <a:lnTo>
                      <a:pt x="173" y="154"/>
                    </a:lnTo>
                    <a:lnTo>
                      <a:pt x="173" y="152"/>
                    </a:lnTo>
                    <a:lnTo>
                      <a:pt x="173" y="152"/>
                    </a:lnTo>
                    <a:lnTo>
                      <a:pt x="173" y="149"/>
                    </a:lnTo>
                    <a:lnTo>
                      <a:pt x="173" y="148"/>
                    </a:lnTo>
                    <a:lnTo>
                      <a:pt x="173" y="147"/>
                    </a:lnTo>
                    <a:lnTo>
                      <a:pt x="165" y="145"/>
                    </a:lnTo>
                    <a:lnTo>
                      <a:pt x="164" y="142"/>
                    </a:lnTo>
                    <a:lnTo>
                      <a:pt x="164" y="138"/>
                    </a:lnTo>
                    <a:lnTo>
                      <a:pt x="164" y="135"/>
                    </a:lnTo>
                    <a:lnTo>
                      <a:pt x="164" y="133"/>
                    </a:lnTo>
                    <a:lnTo>
                      <a:pt x="161" y="132"/>
                    </a:lnTo>
                    <a:lnTo>
                      <a:pt x="161" y="131"/>
                    </a:lnTo>
                    <a:lnTo>
                      <a:pt x="161" y="129"/>
                    </a:lnTo>
                    <a:lnTo>
                      <a:pt x="161" y="128"/>
                    </a:lnTo>
                    <a:lnTo>
                      <a:pt x="162" y="126"/>
                    </a:lnTo>
                    <a:lnTo>
                      <a:pt x="165" y="123"/>
                    </a:lnTo>
                    <a:lnTo>
                      <a:pt x="162" y="113"/>
                    </a:lnTo>
                    <a:lnTo>
                      <a:pt x="162" y="112"/>
                    </a:lnTo>
                    <a:lnTo>
                      <a:pt x="165" y="112"/>
                    </a:lnTo>
                    <a:lnTo>
                      <a:pt x="164" y="109"/>
                    </a:lnTo>
                    <a:lnTo>
                      <a:pt x="162" y="109"/>
                    </a:lnTo>
                    <a:lnTo>
                      <a:pt x="161" y="102"/>
                    </a:lnTo>
                    <a:lnTo>
                      <a:pt x="161" y="100"/>
                    </a:lnTo>
                    <a:lnTo>
                      <a:pt x="157" y="100"/>
                    </a:lnTo>
                    <a:lnTo>
                      <a:pt x="154" y="104"/>
                    </a:lnTo>
                    <a:lnTo>
                      <a:pt x="151" y="106"/>
                    </a:lnTo>
                    <a:lnTo>
                      <a:pt x="151" y="106"/>
                    </a:lnTo>
                    <a:lnTo>
                      <a:pt x="152" y="97"/>
                    </a:lnTo>
                    <a:lnTo>
                      <a:pt x="152" y="96"/>
                    </a:lnTo>
                    <a:lnTo>
                      <a:pt x="154" y="94"/>
                    </a:lnTo>
                    <a:lnTo>
                      <a:pt x="155" y="93"/>
                    </a:lnTo>
                    <a:lnTo>
                      <a:pt x="157" y="93"/>
                    </a:lnTo>
                    <a:lnTo>
                      <a:pt x="157" y="90"/>
                    </a:lnTo>
                    <a:lnTo>
                      <a:pt x="164" y="81"/>
                    </a:lnTo>
                    <a:lnTo>
                      <a:pt x="164" y="80"/>
                    </a:lnTo>
                    <a:lnTo>
                      <a:pt x="164" y="78"/>
                    </a:lnTo>
                    <a:lnTo>
                      <a:pt x="168" y="78"/>
                    </a:lnTo>
                    <a:lnTo>
                      <a:pt x="173" y="75"/>
                    </a:lnTo>
                    <a:lnTo>
                      <a:pt x="173" y="75"/>
                    </a:lnTo>
                    <a:lnTo>
                      <a:pt x="173" y="65"/>
                    </a:lnTo>
                    <a:lnTo>
                      <a:pt x="174" y="55"/>
                    </a:lnTo>
                    <a:lnTo>
                      <a:pt x="178" y="49"/>
                    </a:lnTo>
                    <a:lnTo>
                      <a:pt x="180" y="46"/>
                    </a:lnTo>
                    <a:lnTo>
                      <a:pt x="161" y="42"/>
                    </a:lnTo>
                    <a:lnTo>
                      <a:pt x="158" y="38"/>
                    </a:lnTo>
                    <a:lnTo>
                      <a:pt x="154" y="35"/>
                    </a:lnTo>
                    <a:lnTo>
                      <a:pt x="151" y="35"/>
                    </a:lnTo>
                    <a:lnTo>
                      <a:pt x="146" y="33"/>
                    </a:lnTo>
                    <a:lnTo>
                      <a:pt x="145" y="33"/>
                    </a:lnTo>
                    <a:lnTo>
                      <a:pt x="142" y="33"/>
                    </a:lnTo>
                    <a:lnTo>
                      <a:pt x="136" y="29"/>
                    </a:lnTo>
                    <a:lnTo>
                      <a:pt x="138" y="27"/>
                    </a:lnTo>
                    <a:lnTo>
                      <a:pt x="136" y="27"/>
                    </a:lnTo>
                    <a:lnTo>
                      <a:pt x="136" y="22"/>
                    </a:lnTo>
                    <a:lnTo>
                      <a:pt x="135" y="22"/>
                    </a:lnTo>
                    <a:lnTo>
                      <a:pt x="132" y="26"/>
                    </a:lnTo>
                    <a:lnTo>
                      <a:pt x="129" y="26"/>
                    </a:lnTo>
                    <a:lnTo>
                      <a:pt x="126" y="25"/>
                    </a:lnTo>
                    <a:lnTo>
                      <a:pt x="125" y="19"/>
                    </a:lnTo>
                    <a:lnTo>
                      <a:pt x="123" y="17"/>
                    </a:lnTo>
                    <a:lnTo>
                      <a:pt x="115" y="13"/>
                    </a:lnTo>
                    <a:lnTo>
                      <a:pt x="112" y="7"/>
                    </a:lnTo>
                    <a:lnTo>
                      <a:pt x="109" y="9"/>
                    </a:lnTo>
                    <a:lnTo>
                      <a:pt x="106" y="7"/>
                    </a:lnTo>
                    <a:lnTo>
                      <a:pt x="106"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70" name="Freeform 686"/>
              <p:cNvSpPr>
                <a:spLocks/>
              </p:cNvSpPr>
              <p:nvPr/>
            </p:nvSpPr>
            <p:spPr bwMode="auto">
              <a:xfrm>
                <a:off x="6059279" y="2395372"/>
                <a:ext cx="165026" cy="187615"/>
              </a:xfrm>
              <a:custGeom>
                <a:avLst/>
                <a:gdLst/>
                <a:ahLst/>
                <a:cxnLst>
                  <a:cxn ang="0">
                    <a:pos x="88" y="17"/>
                  </a:cxn>
                  <a:cxn ang="0">
                    <a:pos x="75" y="29"/>
                  </a:cxn>
                  <a:cxn ang="0">
                    <a:pos x="72" y="36"/>
                  </a:cxn>
                  <a:cxn ang="0">
                    <a:pos x="67" y="39"/>
                  </a:cxn>
                  <a:cxn ang="0">
                    <a:pos x="49" y="35"/>
                  </a:cxn>
                  <a:cxn ang="0">
                    <a:pos x="40" y="32"/>
                  </a:cxn>
                  <a:cxn ang="0">
                    <a:pos x="48" y="54"/>
                  </a:cxn>
                  <a:cxn ang="0">
                    <a:pos x="40" y="54"/>
                  </a:cxn>
                  <a:cxn ang="0">
                    <a:pos x="25" y="51"/>
                  </a:cxn>
                  <a:cxn ang="0">
                    <a:pos x="16" y="52"/>
                  </a:cxn>
                  <a:cxn ang="0">
                    <a:pos x="4" y="61"/>
                  </a:cxn>
                  <a:cxn ang="0">
                    <a:pos x="3" y="65"/>
                  </a:cxn>
                  <a:cxn ang="0">
                    <a:pos x="3" y="68"/>
                  </a:cxn>
                  <a:cxn ang="0">
                    <a:pos x="9" y="71"/>
                  </a:cxn>
                  <a:cxn ang="0">
                    <a:pos x="23" y="77"/>
                  </a:cxn>
                  <a:cxn ang="0">
                    <a:pos x="30" y="80"/>
                  </a:cxn>
                  <a:cxn ang="0">
                    <a:pos x="36" y="84"/>
                  </a:cxn>
                  <a:cxn ang="0">
                    <a:pos x="38" y="87"/>
                  </a:cxn>
                  <a:cxn ang="0">
                    <a:pos x="36" y="91"/>
                  </a:cxn>
                  <a:cxn ang="0">
                    <a:pos x="52" y="104"/>
                  </a:cxn>
                  <a:cxn ang="0">
                    <a:pos x="51" y="115"/>
                  </a:cxn>
                  <a:cxn ang="0">
                    <a:pos x="58" y="125"/>
                  </a:cxn>
                  <a:cxn ang="0">
                    <a:pos x="52" y="135"/>
                  </a:cxn>
                  <a:cxn ang="0">
                    <a:pos x="43" y="163"/>
                  </a:cxn>
                  <a:cxn ang="0">
                    <a:pos x="52" y="170"/>
                  </a:cxn>
                  <a:cxn ang="0">
                    <a:pos x="77" y="174"/>
                  </a:cxn>
                  <a:cxn ang="0">
                    <a:pos x="93" y="181"/>
                  </a:cxn>
                  <a:cxn ang="0">
                    <a:pos x="110" y="173"/>
                  </a:cxn>
                  <a:cxn ang="0">
                    <a:pos x="122" y="160"/>
                  </a:cxn>
                  <a:cxn ang="0">
                    <a:pos x="130" y="161"/>
                  </a:cxn>
                  <a:cxn ang="0">
                    <a:pos x="136" y="161"/>
                  </a:cxn>
                  <a:cxn ang="0">
                    <a:pos x="142" y="163"/>
                  </a:cxn>
                  <a:cxn ang="0">
                    <a:pos x="149" y="167"/>
                  </a:cxn>
                  <a:cxn ang="0">
                    <a:pos x="161" y="163"/>
                  </a:cxn>
                  <a:cxn ang="0">
                    <a:pos x="173" y="152"/>
                  </a:cxn>
                  <a:cxn ang="0">
                    <a:pos x="173" y="147"/>
                  </a:cxn>
                  <a:cxn ang="0">
                    <a:pos x="164" y="135"/>
                  </a:cxn>
                  <a:cxn ang="0">
                    <a:pos x="161" y="129"/>
                  </a:cxn>
                  <a:cxn ang="0">
                    <a:pos x="162" y="113"/>
                  </a:cxn>
                  <a:cxn ang="0">
                    <a:pos x="162" y="109"/>
                  </a:cxn>
                  <a:cxn ang="0">
                    <a:pos x="154" y="104"/>
                  </a:cxn>
                  <a:cxn ang="0">
                    <a:pos x="152" y="96"/>
                  </a:cxn>
                  <a:cxn ang="0">
                    <a:pos x="157" y="90"/>
                  </a:cxn>
                  <a:cxn ang="0">
                    <a:pos x="168" y="78"/>
                  </a:cxn>
                  <a:cxn ang="0">
                    <a:pos x="174" y="55"/>
                  </a:cxn>
                  <a:cxn ang="0">
                    <a:pos x="158" y="38"/>
                  </a:cxn>
                  <a:cxn ang="0">
                    <a:pos x="145" y="33"/>
                  </a:cxn>
                  <a:cxn ang="0">
                    <a:pos x="136" y="27"/>
                  </a:cxn>
                  <a:cxn ang="0">
                    <a:pos x="129" y="26"/>
                  </a:cxn>
                  <a:cxn ang="0">
                    <a:pos x="115" y="13"/>
                  </a:cxn>
                  <a:cxn ang="0">
                    <a:pos x="106" y="0"/>
                  </a:cxn>
                </a:cxnLst>
                <a:rect l="0" t="0" r="r" b="b"/>
                <a:pathLst>
                  <a:path w="180" h="181">
                    <a:moveTo>
                      <a:pt x="106" y="0"/>
                    </a:moveTo>
                    <a:lnTo>
                      <a:pt x="104" y="1"/>
                    </a:lnTo>
                    <a:lnTo>
                      <a:pt x="91" y="4"/>
                    </a:lnTo>
                    <a:lnTo>
                      <a:pt x="88" y="17"/>
                    </a:lnTo>
                    <a:lnTo>
                      <a:pt x="90" y="19"/>
                    </a:lnTo>
                    <a:lnTo>
                      <a:pt x="90" y="20"/>
                    </a:lnTo>
                    <a:lnTo>
                      <a:pt x="83" y="26"/>
                    </a:lnTo>
                    <a:lnTo>
                      <a:pt x="75" y="29"/>
                    </a:lnTo>
                    <a:lnTo>
                      <a:pt x="71" y="30"/>
                    </a:lnTo>
                    <a:lnTo>
                      <a:pt x="70" y="35"/>
                    </a:lnTo>
                    <a:lnTo>
                      <a:pt x="70" y="36"/>
                    </a:lnTo>
                    <a:lnTo>
                      <a:pt x="72" y="36"/>
                    </a:lnTo>
                    <a:lnTo>
                      <a:pt x="75" y="36"/>
                    </a:lnTo>
                    <a:lnTo>
                      <a:pt x="74" y="38"/>
                    </a:lnTo>
                    <a:lnTo>
                      <a:pt x="70" y="38"/>
                    </a:lnTo>
                    <a:lnTo>
                      <a:pt x="67" y="39"/>
                    </a:lnTo>
                    <a:lnTo>
                      <a:pt x="61" y="40"/>
                    </a:lnTo>
                    <a:lnTo>
                      <a:pt x="54" y="39"/>
                    </a:lnTo>
                    <a:lnTo>
                      <a:pt x="52" y="39"/>
                    </a:lnTo>
                    <a:lnTo>
                      <a:pt x="49" y="35"/>
                    </a:lnTo>
                    <a:lnTo>
                      <a:pt x="49" y="32"/>
                    </a:lnTo>
                    <a:lnTo>
                      <a:pt x="48" y="32"/>
                    </a:lnTo>
                    <a:lnTo>
                      <a:pt x="43" y="32"/>
                    </a:lnTo>
                    <a:lnTo>
                      <a:pt x="40" y="32"/>
                    </a:lnTo>
                    <a:lnTo>
                      <a:pt x="42" y="39"/>
                    </a:lnTo>
                    <a:lnTo>
                      <a:pt x="43" y="40"/>
                    </a:lnTo>
                    <a:lnTo>
                      <a:pt x="45" y="52"/>
                    </a:lnTo>
                    <a:lnTo>
                      <a:pt x="48" y="54"/>
                    </a:lnTo>
                    <a:lnTo>
                      <a:pt x="46" y="55"/>
                    </a:lnTo>
                    <a:lnTo>
                      <a:pt x="43" y="55"/>
                    </a:lnTo>
                    <a:lnTo>
                      <a:pt x="42" y="54"/>
                    </a:lnTo>
                    <a:lnTo>
                      <a:pt x="40" y="54"/>
                    </a:lnTo>
                    <a:lnTo>
                      <a:pt x="38" y="55"/>
                    </a:lnTo>
                    <a:lnTo>
                      <a:pt x="35" y="54"/>
                    </a:lnTo>
                    <a:lnTo>
                      <a:pt x="30" y="56"/>
                    </a:lnTo>
                    <a:lnTo>
                      <a:pt x="25" y="51"/>
                    </a:lnTo>
                    <a:lnTo>
                      <a:pt x="19" y="51"/>
                    </a:lnTo>
                    <a:lnTo>
                      <a:pt x="19" y="51"/>
                    </a:lnTo>
                    <a:lnTo>
                      <a:pt x="17" y="51"/>
                    </a:lnTo>
                    <a:lnTo>
                      <a:pt x="16" y="52"/>
                    </a:lnTo>
                    <a:lnTo>
                      <a:pt x="0" y="56"/>
                    </a:lnTo>
                    <a:lnTo>
                      <a:pt x="0" y="59"/>
                    </a:lnTo>
                    <a:lnTo>
                      <a:pt x="0" y="61"/>
                    </a:lnTo>
                    <a:lnTo>
                      <a:pt x="4" y="61"/>
                    </a:lnTo>
                    <a:lnTo>
                      <a:pt x="4" y="61"/>
                    </a:lnTo>
                    <a:lnTo>
                      <a:pt x="3" y="62"/>
                    </a:lnTo>
                    <a:lnTo>
                      <a:pt x="1" y="64"/>
                    </a:lnTo>
                    <a:lnTo>
                      <a:pt x="3" y="65"/>
                    </a:lnTo>
                    <a:lnTo>
                      <a:pt x="7" y="64"/>
                    </a:lnTo>
                    <a:lnTo>
                      <a:pt x="6" y="67"/>
                    </a:lnTo>
                    <a:lnTo>
                      <a:pt x="1" y="67"/>
                    </a:lnTo>
                    <a:lnTo>
                      <a:pt x="3" y="68"/>
                    </a:lnTo>
                    <a:lnTo>
                      <a:pt x="6" y="70"/>
                    </a:lnTo>
                    <a:lnTo>
                      <a:pt x="6" y="72"/>
                    </a:lnTo>
                    <a:lnTo>
                      <a:pt x="9" y="72"/>
                    </a:lnTo>
                    <a:lnTo>
                      <a:pt x="9" y="71"/>
                    </a:lnTo>
                    <a:lnTo>
                      <a:pt x="11" y="71"/>
                    </a:lnTo>
                    <a:lnTo>
                      <a:pt x="22" y="75"/>
                    </a:lnTo>
                    <a:lnTo>
                      <a:pt x="22" y="77"/>
                    </a:lnTo>
                    <a:lnTo>
                      <a:pt x="23" y="77"/>
                    </a:lnTo>
                    <a:lnTo>
                      <a:pt x="26" y="77"/>
                    </a:lnTo>
                    <a:lnTo>
                      <a:pt x="29" y="77"/>
                    </a:lnTo>
                    <a:lnTo>
                      <a:pt x="27" y="78"/>
                    </a:lnTo>
                    <a:lnTo>
                      <a:pt x="30" y="80"/>
                    </a:lnTo>
                    <a:lnTo>
                      <a:pt x="32" y="78"/>
                    </a:lnTo>
                    <a:lnTo>
                      <a:pt x="33" y="78"/>
                    </a:lnTo>
                    <a:lnTo>
                      <a:pt x="32" y="83"/>
                    </a:lnTo>
                    <a:lnTo>
                      <a:pt x="36" y="84"/>
                    </a:lnTo>
                    <a:lnTo>
                      <a:pt x="39" y="83"/>
                    </a:lnTo>
                    <a:lnTo>
                      <a:pt x="42" y="84"/>
                    </a:lnTo>
                    <a:lnTo>
                      <a:pt x="38" y="86"/>
                    </a:lnTo>
                    <a:lnTo>
                      <a:pt x="38" y="87"/>
                    </a:lnTo>
                    <a:lnTo>
                      <a:pt x="40" y="88"/>
                    </a:lnTo>
                    <a:lnTo>
                      <a:pt x="39" y="91"/>
                    </a:lnTo>
                    <a:lnTo>
                      <a:pt x="38" y="90"/>
                    </a:lnTo>
                    <a:lnTo>
                      <a:pt x="36" y="91"/>
                    </a:lnTo>
                    <a:lnTo>
                      <a:pt x="42" y="97"/>
                    </a:lnTo>
                    <a:lnTo>
                      <a:pt x="42" y="99"/>
                    </a:lnTo>
                    <a:lnTo>
                      <a:pt x="48" y="103"/>
                    </a:lnTo>
                    <a:lnTo>
                      <a:pt x="52" y="104"/>
                    </a:lnTo>
                    <a:lnTo>
                      <a:pt x="52" y="106"/>
                    </a:lnTo>
                    <a:lnTo>
                      <a:pt x="52" y="109"/>
                    </a:lnTo>
                    <a:lnTo>
                      <a:pt x="52" y="112"/>
                    </a:lnTo>
                    <a:lnTo>
                      <a:pt x="51" y="115"/>
                    </a:lnTo>
                    <a:lnTo>
                      <a:pt x="52" y="118"/>
                    </a:lnTo>
                    <a:lnTo>
                      <a:pt x="55" y="119"/>
                    </a:lnTo>
                    <a:lnTo>
                      <a:pt x="56" y="122"/>
                    </a:lnTo>
                    <a:lnTo>
                      <a:pt x="58" y="125"/>
                    </a:lnTo>
                    <a:lnTo>
                      <a:pt x="54" y="119"/>
                    </a:lnTo>
                    <a:lnTo>
                      <a:pt x="52" y="122"/>
                    </a:lnTo>
                    <a:lnTo>
                      <a:pt x="51" y="136"/>
                    </a:lnTo>
                    <a:lnTo>
                      <a:pt x="52" y="135"/>
                    </a:lnTo>
                    <a:lnTo>
                      <a:pt x="54" y="136"/>
                    </a:lnTo>
                    <a:lnTo>
                      <a:pt x="51" y="139"/>
                    </a:lnTo>
                    <a:lnTo>
                      <a:pt x="46" y="161"/>
                    </a:lnTo>
                    <a:lnTo>
                      <a:pt x="43" y="163"/>
                    </a:lnTo>
                    <a:lnTo>
                      <a:pt x="42" y="163"/>
                    </a:lnTo>
                    <a:lnTo>
                      <a:pt x="42" y="163"/>
                    </a:lnTo>
                    <a:lnTo>
                      <a:pt x="49" y="168"/>
                    </a:lnTo>
                    <a:lnTo>
                      <a:pt x="52" y="170"/>
                    </a:lnTo>
                    <a:lnTo>
                      <a:pt x="58" y="173"/>
                    </a:lnTo>
                    <a:lnTo>
                      <a:pt x="72" y="177"/>
                    </a:lnTo>
                    <a:lnTo>
                      <a:pt x="75" y="176"/>
                    </a:lnTo>
                    <a:lnTo>
                      <a:pt x="77" y="174"/>
                    </a:lnTo>
                    <a:lnTo>
                      <a:pt x="80" y="174"/>
                    </a:lnTo>
                    <a:lnTo>
                      <a:pt x="85" y="177"/>
                    </a:lnTo>
                    <a:lnTo>
                      <a:pt x="88" y="177"/>
                    </a:lnTo>
                    <a:lnTo>
                      <a:pt x="93" y="181"/>
                    </a:lnTo>
                    <a:lnTo>
                      <a:pt x="96" y="181"/>
                    </a:lnTo>
                    <a:lnTo>
                      <a:pt x="112" y="181"/>
                    </a:lnTo>
                    <a:lnTo>
                      <a:pt x="110" y="173"/>
                    </a:lnTo>
                    <a:lnTo>
                      <a:pt x="110" y="173"/>
                    </a:lnTo>
                    <a:lnTo>
                      <a:pt x="110" y="168"/>
                    </a:lnTo>
                    <a:lnTo>
                      <a:pt x="112" y="165"/>
                    </a:lnTo>
                    <a:lnTo>
                      <a:pt x="120" y="161"/>
                    </a:lnTo>
                    <a:lnTo>
                      <a:pt x="122" y="160"/>
                    </a:lnTo>
                    <a:lnTo>
                      <a:pt x="123" y="158"/>
                    </a:lnTo>
                    <a:lnTo>
                      <a:pt x="125" y="158"/>
                    </a:lnTo>
                    <a:lnTo>
                      <a:pt x="126" y="160"/>
                    </a:lnTo>
                    <a:lnTo>
                      <a:pt x="130" y="161"/>
                    </a:lnTo>
                    <a:lnTo>
                      <a:pt x="130" y="161"/>
                    </a:lnTo>
                    <a:lnTo>
                      <a:pt x="132" y="163"/>
                    </a:lnTo>
                    <a:lnTo>
                      <a:pt x="136" y="163"/>
                    </a:lnTo>
                    <a:lnTo>
                      <a:pt x="136" y="161"/>
                    </a:lnTo>
                    <a:lnTo>
                      <a:pt x="139" y="161"/>
                    </a:lnTo>
                    <a:lnTo>
                      <a:pt x="139" y="163"/>
                    </a:lnTo>
                    <a:lnTo>
                      <a:pt x="141" y="163"/>
                    </a:lnTo>
                    <a:lnTo>
                      <a:pt x="142" y="163"/>
                    </a:lnTo>
                    <a:lnTo>
                      <a:pt x="144" y="164"/>
                    </a:lnTo>
                    <a:lnTo>
                      <a:pt x="144" y="164"/>
                    </a:lnTo>
                    <a:lnTo>
                      <a:pt x="146" y="165"/>
                    </a:lnTo>
                    <a:lnTo>
                      <a:pt x="149" y="167"/>
                    </a:lnTo>
                    <a:lnTo>
                      <a:pt x="154" y="167"/>
                    </a:lnTo>
                    <a:lnTo>
                      <a:pt x="160" y="164"/>
                    </a:lnTo>
                    <a:lnTo>
                      <a:pt x="161" y="164"/>
                    </a:lnTo>
                    <a:lnTo>
                      <a:pt x="161" y="163"/>
                    </a:lnTo>
                    <a:lnTo>
                      <a:pt x="167" y="157"/>
                    </a:lnTo>
                    <a:lnTo>
                      <a:pt x="168" y="155"/>
                    </a:lnTo>
                    <a:lnTo>
                      <a:pt x="173" y="154"/>
                    </a:lnTo>
                    <a:lnTo>
                      <a:pt x="173" y="152"/>
                    </a:lnTo>
                    <a:lnTo>
                      <a:pt x="173" y="152"/>
                    </a:lnTo>
                    <a:lnTo>
                      <a:pt x="173" y="149"/>
                    </a:lnTo>
                    <a:lnTo>
                      <a:pt x="173" y="148"/>
                    </a:lnTo>
                    <a:lnTo>
                      <a:pt x="173" y="147"/>
                    </a:lnTo>
                    <a:lnTo>
                      <a:pt x="165" y="145"/>
                    </a:lnTo>
                    <a:lnTo>
                      <a:pt x="164" y="142"/>
                    </a:lnTo>
                    <a:lnTo>
                      <a:pt x="164" y="138"/>
                    </a:lnTo>
                    <a:lnTo>
                      <a:pt x="164" y="135"/>
                    </a:lnTo>
                    <a:lnTo>
                      <a:pt x="164" y="133"/>
                    </a:lnTo>
                    <a:lnTo>
                      <a:pt x="161" y="132"/>
                    </a:lnTo>
                    <a:lnTo>
                      <a:pt x="161" y="131"/>
                    </a:lnTo>
                    <a:lnTo>
                      <a:pt x="161" y="129"/>
                    </a:lnTo>
                    <a:lnTo>
                      <a:pt x="161" y="128"/>
                    </a:lnTo>
                    <a:lnTo>
                      <a:pt x="162" y="126"/>
                    </a:lnTo>
                    <a:lnTo>
                      <a:pt x="165" y="123"/>
                    </a:lnTo>
                    <a:lnTo>
                      <a:pt x="162" y="113"/>
                    </a:lnTo>
                    <a:lnTo>
                      <a:pt x="162" y="112"/>
                    </a:lnTo>
                    <a:lnTo>
                      <a:pt x="165" y="112"/>
                    </a:lnTo>
                    <a:lnTo>
                      <a:pt x="164" y="109"/>
                    </a:lnTo>
                    <a:lnTo>
                      <a:pt x="162" y="109"/>
                    </a:lnTo>
                    <a:lnTo>
                      <a:pt x="161" y="102"/>
                    </a:lnTo>
                    <a:lnTo>
                      <a:pt x="161" y="100"/>
                    </a:lnTo>
                    <a:lnTo>
                      <a:pt x="157" y="100"/>
                    </a:lnTo>
                    <a:lnTo>
                      <a:pt x="154" y="104"/>
                    </a:lnTo>
                    <a:lnTo>
                      <a:pt x="151" y="106"/>
                    </a:lnTo>
                    <a:lnTo>
                      <a:pt x="151" y="106"/>
                    </a:lnTo>
                    <a:lnTo>
                      <a:pt x="152" y="97"/>
                    </a:lnTo>
                    <a:lnTo>
                      <a:pt x="152" y="96"/>
                    </a:lnTo>
                    <a:lnTo>
                      <a:pt x="154" y="94"/>
                    </a:lnTo>
                    <a:lnTo>
                      <a:pt x="155" y="93"/>
                    </a:lnTo>
                    <a:lnTo>
                      <a:pt x="157" y="93"/>
                    </a:lnTo>
                    <a:lnTo>
                      <a:pt x="157" y="90"/>
                    </a:lnTo>
                    <a:lnTo>
                      <a:pt x="164" y="81"/>
                    </a:lnTo>
                    <a:lnTo>
                      <a:pt x="164" y="80"/>
                    </a:lnTo>
                    <a:lnTo>
                      <a:pt x="164" y="78"/>
                    </a:lnTo>
                    <a:lnTo>
                      <a:pt x="168" y="78"/>
                    </a:lnTo>
                    <a:lnTo>
                      <a:pt x="173" y="75"/>
                    </a:lnTo>
                    <a:lnTo>
                      <a:pt x="173" y="75"/>
                    </a:lnTo>
                    <a:lnTo>
                      <a:pt x="173" y="65"/>
                    </a:lnTo>
                    <a:lnTo>
                      <a:pt x="174" y="55"/>
                    </a:lnTo>
                    <a:lnTo>
                      <a:pt x="178" y="49"/>
                    </a:lnTo>
                    <a:lnTo>
                      <a:pt x="180" y="46"/>
                    </a:lnTo>
                    <a:lnTo>
                      <a:pt x="161" y="42"/>
                    </a:lnTo>
                    <a:lnTo>
                      <a:pt x="158" y="38"/>
                    </a:lnTo>
                    <a:lnTo>
                      <a:pt x="154" y="35"/>
                    </a:lnTo>
                    <a:lnTo>
                      <a:pt x="151" y="35"/>
                    </a:lnTo>
                    <a:lnTo>
                      <a:pt x="146" y="33"/>
                    </a:lnTo>
                    <a:lnTo>
                      <a:pt x="145" y="33"/>
                    </a:lnTo>
                    <a:lnTo>
                      <a:pt x="142" y="33"/>
                    </a:lnTo>
                    <a:lnTo>
                      <a:pt x="136" y="29"/>
                    </a:lnTo>
                    <a:lnTo>
                      <a:pt x="138" y="27"/>
                    </a:lnTo>
                    <a:lnTo>
                      <a:pt x="136" y="27"/>
                    </a:lnTo>
                    <a:lnTo>
                      <a:pt x="136" y="22"/>
                    </a:lnTo>
                    <a:lnTo>
                      <a:pt x="135" y="22"/>
                    </a:lnTo>
                    <a:lnTo>
                      <a:pt x="132" y="26"/>
                    </a:lnTo>
                    <a:lnTo>
                      <a:pt x="129" y="26"/>
                    </a:lnTo>
                    <a:lnTo>
                      <a:pt x="126" y="25"/>
                    </a:lnTo>
                    <a:lnTo>
                      <a:pt x="125" y="19"/>
                    </a:lnTo>
                    <a:lnTo>
                      <a:pt x="123" y="17"/>
                    </a:lnTo>
                    <a:lnTo>
                      <a:pt x="115" y="13"/>
                    </a:lnTo>
                    <a:lnTo>
                      <a:pt x="112" y="7"/>
                    </a:lnTo>
                    <a:lnTo>
                      <a:pt x="109" y="9"/>
                    </a:lnTo>
                    <a:lnTo>
                      <a:pt x="106" y="7"/>
                    </a:lnTo>
                    <a:lnTo>
                      <a:pt x="106" y="0"/>
                    </a:lnTo>
                  </a:path>
                </a:pathLst>
              </a:custGeom>
              <a:solidFill>
                <a:schemeClr val="accent2">
                  <a:lumMod val="75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71" name="Freeform 687"/>
              <p:cNvSpPr>
                <a:spLocks/>
              </p:cNvSpPr>
              <p:nvPr/>
            </p:nvSpPr>
            <p:spPr bwMode="auto">
              <a:xfrm>
                <a:off x="5997833" y="2590086"/>
                <a:ext cx="42134" cy="95328"/>
              </a:xfrm>
              <a:custGeom>
                <a:avLst/>
                <a:gdLst/>
                <a:ahLst/>
                <a:cxnLst>
                  <a:cxn ang="0">
                    <a:pos x="29" y="89"/>
                  </a:cxn>
                  <a:cxn ang="0">
                    <a:pos x="29" y="82"/>
                  </a:cxn>
                  <a:cxn ang="0">
                    <a:pos x="36" y="74"/>
                  </a:cxn>
                  <a:cxn ang="0">
                    <a:pos x="35" y="71"/>
                  </a:cxn>
                  <a:cxn ang="0">
                    <a:pos x="32" y="69"/>
                  </a:cxn>
                  <a:cxn ang="0">
                    <a:pos x="32" y="66"/>
                  </a:cxn>
                  <a:cxn ang="0">
                    <a:pos x="32" y="61"/>
                  </a:cxn>
                  <a:cxn ang="0">
                    <a:pos x="35" y="57"/>
                  </a:cxn>
                  <a:cxn ang="0">
                    <a:pos x="31" y="50"/>
                  </a:cxn>
                  <a:cxn ang="0">
                    <a:pos x="31" y="47"/>
                  </a:cxn>
                  <a:cxn ang="0">
                    <a:pos x="32" y="44"/>
                  </a:cxn>
                  <a:cxn ang="0">
                    <a:pos x="35" y="44"/>
                  </a:cxn>
                  <a:cxn ang="0">
                    <a:pos x="38" y="41"/>
                  </a:cxn>
                  <a:cxn ang="0">
                    <a:pos x="38" y="38"/>
                  </a:cxn>
                  <a:cxn ang="0">
                    <a:pos x="36" y="35"/>
                  </a:cxn>
                  <a:cxn ang="0">
                    <a:pos x="39" y="21"/>
                  </a:cxn>
                  <a:cxn ang="0">
                    <a:pos x="44" y="15"/>
                  </a:cxn>
                  <a:cxn ang="0">
                    <a:pos x="46" y="10"/>
                  </a:cxn>
                  <a:cxn ang="0">
                    <a:pos x="46" y="9"/>
                  </a:cxn>
                  <a:cxn ang="0">
                    <a:pos x="42" y="3"/>
                  </a:cxn>
                  <a:cxn ang="0">
                    <a:pos x="35" y="3"/>
                  </a:cxn>
                  <a:cxn ang="0">
                    <a:pos x="31" y="5"/>
                  </a:cxn>
                  <a:cxn ang="0">
                    <a:pos x="22" y="5"/>
                  </a:cxn>
                  <a:cxn ang="0">
                    <a:pos x="19" y="3"/>
                  </a:cxn>
                  <a:cxn ang="0">
                    <a:pos x="19" y="0"/>
                  </a:cxn>
                  <a:cxn ang="0">
                    <a:pos x="12" y="2"/>
                  </a:cxn>
                  <a:cxn ang="0">
                    <a:pos x="10" y="5"/>
                  </a:cxn>
                  <a:cxn ang="0">
                    <a:pos x="12" y="19"/>
                  </a:cxn>
                  <a:cxn ang="0">
                    <a:pos x="12" y="21"/>
                  </a:cxn>
                  <a:cxn ang="0">
                    <a:pos x="6" y="45"/>
                  </a:cxn>
                  <a:cxn ang="0">
                    <a:pos x="1" y="53"/>
                  </a:cxn>
                  <a:cxn ang="0">
                    <a:pos x="1" y="57"/>
                  </a:cxn>
                  <a:cxn ang="0">
                    <a:pos x="0" y="61"/>
                  </a:cxn>
                  <a:cxn ang="0">
                    <a:pos x="0" y="61"/>
                  </a:cxn>
                  <a:cxn ang="0">
                    <a:pos x="3" y="63"/>
                  </a:cxn>
                  <a:cxn ang="0">
                    <a:pos x="6" y="67"/>
                  </a:cxn>
                  <a:cxn ang="0">
                    <a:pos x="10" y="66"/>
                  </a:cxn>
                  <a:cxn ang="0">
                    <a:pos x="10" y="67"/>
                  </a:cxn>
                  <a:cxn ang="0">
                    <a:pos x="10" y="69"/>
                  </a:cxn>
                  <a:cxn ang="0">
                    <a:pos x="10" y="83"/>
                  </a:cxn>
                  <a:cxn ang="0">
                    <a:pos x="7" y="89"/>
                  </a:cxn>
                  <a:cxn ang="0">
                    <a:pos x="7" y="92"/>
                  </a:cxn>
                  <a:cxn ang="0">
                    <a:pos x="9" y="92"/>
                  </a:cxn>
                  <a:cxn ang="0">
                    <a:pos x="12" y="92"/>
                  </a:cxn>
                  <a:cxn ang="0">
                    <a:pos x="17" y="92"/>
                  </a:cxn>
                  <a:cxn ang="0">
                    <a:pos x="20" y="92"/>
                  </a:cxn>
                  <a:cxn ang="0">
                    <a:pos x="23" y="92"/>
                  </a:cxn>
                  <a:cxn ang="0">
                    <a:pos x="29" y="89"/>
                  </a:cxn>
                </a:cxnLst>
                <a:rect l="0" t="0" r="r" b="b"/>
                <a:pathLst>
                  <a:path w="46" h="92">
                    <a:moveTo>
                      <a:pt x="29" y="89"/>
                    </a:moveTo>
                    <a:lnTo>
                      <a:pt x="29" y="82"/>
                    </a:lnTo>
                    <a:lnTo>
                      <a:pt x="36" y="74"/>
                    </a:lnTo>
                    <a:lnTo>
                      <a:pt x="35" y="71"/>
                    </a:lnTo>
                    <a:lnTo>
                      <a:pt x="32" y="69"/>
                    </a:lnTo>
                    <a:lnTo>
                      <a:pt x="32" y="66"/>
                    </a:lnTo>
                    <a:lnTo>
                      <a:pt x="32" y="61"/>
                    </a:lnTo>
                    <a:lnTo>
                      <a:pt x="35" y="57"/>
                    </a:lnTo>
                    <a:lnTo>
                      <a:pt x="31" y="50"/>
                    </a:lnTo>
                    <a:lnTo>
                      <a:pt x="31" y="47"/>
                    </a:lnTo>
                    <a:lnTo>
                      <a:pt x="32" y="44"/>
                    </a:lnTo>
                    <a:lnTo>
                      <a:pt x="35" y="44"/>
                    </a:lnTo>
                    <a:lnTo>
                      <a:pt x="38" y="41"/>
                    </a:lnTo>
                    <a:lnTo>
                      <a:pt x="38" y="38"/>
                    </a:lnTo>
                    <a:lnTo>
                      <a:pt x="36" y="35"/>
                    </a:lnTo>
                    <a:lnTo>
                      <a:pt x="39" y="21"/>
                    </a:lnTo>
                    <a:lnTo>
                      <a:pt x="44" y="15"/>
                    </a:lnTo>
                    <a:lnTo>
                      <a:pt x="46" y="10"/>
                    </a:lnTo>
                    <a:lnTo>
                      <a:pt x="46" y="9"/>
                    </a:lnTo>
                    <a:lnTo>
                      <a:pt x="42" y="3"/>
                    </a:lnTo>
                    <a:lnTo>
                      <a:pt x="35" y="3"/>
                    </a:lnTo>
                    <a:lnTo>
                      <a:pt x="31" y="5"/>
                    </a:lnTo>
                    <a:lnTo>
                      <a:pt x="22" y="5"/>
                    </a:lnTo>
                    <a:lnTo>
                      <a:pt x="19" y="3"/>
                    </a:lnTo>
                    <a:lnTo>
                      <a:pt x="19" y="0"/>
                    </a:lnTo>
                    <a:lnTo>
                      <a:pt x="12" y="2"/>
                    </a:lnTo>
                    <a:lnTo>
                      <a:pt x="10" y="5"/>
                    </a:lnTo>
                    <a:lnTo>
                      <a:pt x="12" y="19"/>
                    </a:lnTo>
                    <a:lnTo>
                      <a:pt x="12" y="21"/>
                    </a:lnTo>
                    <a:lnTo>
                      <a:pt x="6" y="45"/>
                    </a:lnTo>
                    <a:lnTo>
                      <a:pt x="1" y="53"/>
                    </a:lnTo>
                    <a:lnTo>
                      <a:pt x="1" y="57"/>
                    </a:lnTo>
                    <a:lnTo>
                      <a:pt x="0" y="61"/>
                    </a:lnTo>
                    <a:lnTo>
                      <a:pt x="0" y="61"/>
                    </a:lnTo>
                    <a:lnTo>
                      <a:pt x="3" y="63"/>
                    </a:lnTo>
                    <a:lnTo>
                      <a:pt x="6" y="67"/>
                    </a:lnTo>
                    <a:lnTo>
                      <a:pt x="10" y="66"/>
                    </a:lnTo>
                    <a:lnTo>
                      <a:pt x="10" y="67"/>
                    </a:lnTo>
                    <a:lnTo>
                      <a:pt x="10" y="69"/>
                    </a:lnTo>
                    <a:lnTo>
                      <a:pt x="10" y="83"/>
                    </a:lnTo>
                    <a:lnTo>
                      <a:pt x="7" y="89"/>
                    </a:lnTo>
                    <a:lnTo>
                      <a:pt x="7" y="92"/>
                    </a:lnTo>
                    <a:lnTo>
                      <a:pt x="9" y="92"/>
                    </a:lnTo>
                    <a:lnTo>
                      <a:pt x="12" y="92"/>
                    </a:lnTo>
                    <a:lnTo>
                      <a:pt x="17" y="92"/>
                    </a:lnTo>
                    <a:lnTo>
                      <a:pt x="20" y="92"/>
                    </a:lnTo>
                    <a:lnTo>
                      <a:pt x="23" y="92"/>
                    </a:lnTo>
                    <a:lnTo>
                      <a:pt x="29" y="89"/>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72" name="Freeform 688"/>
              <p:cNvSpPr>
                <a:spLocks/>
              </p:cNvSpPr>
              <p:nvPr/>
            </p:nvSpPr>
            <p:spPr bwMode="auto">
              <a:xfrm>
                <a:off x="5997833" y="2590086"/>
                <a:ext cx="42134" cy="95328"/>
              </a:xfrm>
              <a:custGeom>
                <a:avLst/>
                <a:gdLst/>
                <a:ahLst/>
                <a:cxnLst>
                  <a:cxn ang="0">
                    <a:pos x="29" y="89"/>
                  </a:cxn>
                  <a:cxn ang="0">
                    <a:pos x="29" y="82"/>
                  </a:cxn>
                  <a:cxn ang="0">
                    <a:pos x="36" y="74"/>
                  </a:cxn>
                  <a:cxn ang="0">
                    <a:pos x="35" y="71"/>
                  </a:cxn>
                  <a:cxn ang="0">
                    <a:pos x="32" y="69"/>
                  </a:cxn>
                  <a:cxn ang="0">
                    <a:pos x="32" y="66"/>
                  </a:cxn>
                  <a:cxn ang="0">
                    <a:pos x="32" y="61"/>
                  </a:cxn>
                  <a:cxn ang="0">
                    <a:pos x="35" y="57"/>
                  </a:cxn>
                  <a:cxn ang="0">
                    <a:pos x="31" y="50"/>
                  </a:cxn>
                  <a:cxn ang="0">
                    <a:pos x="31" y="47"/>
                  </a:cxn>
                  <a:cxn ang="0">
                    <a:pos x="32" y="44"/>
                  </a:cxn>
                  <a:cxn ang="0">
                    <a:pos x="35" y="44"/>
                  </a:cxn>
                  <a:cxn ang="0">
                    <a:pos x="38" y="41"/>
                  </a:cxn>
                  <a:cxn ang="0">
                    <a:pos x="38" y="38"/>
                  </a:cxn>
                  <a:cxn ang="0">
                    <a:pos x="36" y="35"/>
                  </a:cxn>
                  <a:cxn ang="0">
                    <a:pos x="39" y="21"/>
                  </a:cxn>
                  <a:cxn ang="0">
                    <a:pos x="44" y="15"/>
                  </a:cxn>
                  <a:cxn ang="0">
                    <a:pos x="46" y="10"/>
                  </a:cxn>
                  <a:cxn ang="0">
                    <a:pos x="46" y="9"/>
                  </a:cxn>
                  <a:cxn ang="0">
                    <a:pos x="42" y="3"/>
                  </a:cxn>
                  <a:cxn ang="0">
                    <a:pos x="35" y="3"/>
                  </a:cxn>
                  <a:cxn ang="0">
                    <a:pos x="31" y="5"/>
                  </a:cxn>
                  <a:cxn ang="0">
                    <a:pos x="22" y="5"/>
                  </a:cxn>
                  <a:cxn ang="0">
                    <a:pos x="19" y="3"/>
                  </a:cxn>
                  <a:cxn ang="0">
                    <a:pos x="19" y="0"/>
                  </a:cxn>
                  <a:cxn ang="0">
                    <a:pos x="12" y="2"/>
                  </a:cxn>
                  <a:cxn ang="0">
                    <a:pos x="10" y="5"/>
                  </a:cxn>
                  <a:cxn ang="0">
                    <a:pos x="12" y="19"/>
                  </a:cxn>
                  <a:cxn ang="0">
                    <a:pos x="12" y="21"/>
                  </a:cxn>
                  <a:cxn ang="0">
                    <a:pos x="6" y="45"/>
                  </a:cxn>
                  <a:cxn ang="0">
                    <a:pos x="1" y="53"/>
                  </a:cxn>
                  <a:cxn ang="0">
                    <a:pos x="1" y="57"/>
                  </a:cxn>
                  <a:cxn ang="0">
                    <a:pos x="0" y="61"/>
                  </a:cxn>
                  <a:cxn ang="0">
                    <a:pos x="0" y="61"/>
                  </a:cxn>
                  <a:cxn ang="0">
                    <a:pos x="3" y="63"/>
                  </a:cxn>
                  <a:cxn ang="0">
                    <a:pos x="6" y="67"/>
                  </a:cxn>
                  <a:cxn ang="0">
                    <a:pos x="10" y="66"/>
                  </a:cxn>
                  <a:cxn ang="0">
                    <a:pos x="10" y="67"/>
                  </a:cxn>
                  <a:cxn ang="0">
                    <a:pos x="10" y="69"/>
                  </a:cxn>
                  <a:cxn ang="0">
                    <a:pos x="10" y="83"/>
                  </a:cxn>
                  <a:cxn ang="0">
                    <a:pos x="7" y="89"/>
                  </a:cxn>
                  <a:cxn ang="0">
                    <a:pos x="7" y="92"/>
                  </a:cxn>
                  <a:cxn ang="0">
                    <a:pos x="9" y="92"/>
                  </a:cxn>
                  <a:cxn ang="0">
                    <a:pos x="12" y="92"/>
                  </a:cxn>
                  <a:cxn ang="0">
                    <a:pos x="17" y="92"/>
                  </a:cxn>
                  <a:cxn ang="0">
                    <a:pos x="20" y="92"/>
                  </a:cxn>
                  <a:cxn ang="0">
                    <a:pos x="23" y="92"/>
                  </a:cxn>
                  <a:cxn ang="0">
                    <a:pos x="29" y="89"/>
                  </a:cxn>
                </a:cxnLst>
                <a:rect l="0" t="0" r="r" b="b"/>
                <a:pathLst>
                  <a:path w="46" h="92">
                    <a:moveTo>
                      <a:pt x="29" y="89"/>
                    </a:moveTo>
                    <a:lnTo>
                      <a:pt x="29" y="82"/>
                    </a:lnTo>
                    <a:lnTo>
                      <a:pt x="36" y="74"/>
                    </a:lnTo>
                    <a:lnTo>
                      <a:pt x="35" y="71"/>
                    </a:lnTo>
                    <a:lnTo>
                      <a:pt x="32" y="69"/>
                    </a:lnTo>
                    <a:lnTo>
                      <a:pt x="32" y="66"/>
                    </a:lnTo>
                    <a:lnTo>
                      <a:pt x="32" y="61"/>
                    </a:lnTo>
                    <a:lnTo>
                      <a:pt x="35" y="57"/>
                    </a:lnTo>
                    <a:lnTo>
                      <a:pt x="31" y="50"/>
                    </a:lnTo>
                    <a:lnTo>
                      <a:pt x="31" y="47"/>
                    </a:lnTo>
                    <a:lnTo>
                      <a:pt x="32" y="44"/>
                    </a:lnTo>
                    <a:lnTo>
                      <a:pt x="35" y="44"/>
                    </a:lnTo>
                    <a:lnTo>
                      <a:pt x="38" y="41"/>
                    </a:lnTo>
                    <a:lnTo>
                      <a:pt x="38" y="38"/>
                    </a:lnTo>
                    <a:lnTo>
                      <a:pt x="36" y="35"/>
                    </a:lnTo>
                    <a:lnTo>
                      <a:pt x="39" y="21"/>
                    </a:lnTo>
                    <a:lnTo>
                      <a:pt x="44" y="15"/>
                    </a:lnTo>
                    <a:lnTo>
                      <a:pt x="46" y="10"/>
                    </a:lnTo>
                    <a:lnTo>
                      <a:pt x="46" y="9"/>
                    </a:lnTo>
                    <a:lnTo>
                      <a:pt x="42" y="3"/>
                    </a:lnTo>
                    <a:lnTo>
                      <a:pt x="35" y="3"/>
                    </a:lnTo>
                    <a:lnTo>
                      <a:pt x="31" y="5"/>
                    </a:lnTo>
                    <a:lnTo>
                      <a:pt x="22" y="5"/>
                    </a:lnTo>
                    <a:lnTo>
                      <a:pt x="19" y="3"/>
                    </a:lnTo>
                    <a:lnTo>
                      <a:pt x="19" y="0"/>
                    </a:lnTo>
                    <a:lnTo>
                      <a:pt x="12" y="2"/>
                    </a:lnTo>
                    <a:lnTo>
                      <a:pt x="10" y="5"/>
                    </a:lnTo>
                    <a:lnTo>
                      <a:pt x="12" y="19"/>
                    </a:lnTo>
                    <a:lnTo>
                      <a:pt x="12" y="21"/>
                    </a:lnTo>
                    <a:lnTo>
                      <a:pt x="6" y="45"/>
                    </a:lnTo>
                    <a:lnTo>
                      <a:pt x="1" y="53"/>
                    </a:lnTo>
                    <a:lnTo>
                      <a:pt x="1" y="57"/>
                    </a:lnTo>
                    <a:lnTo>
                      <a:pt x="0" y="61"/>
                    </a:lnTo>
                    <a:lnTo>
                      <a:pt x="0" y="61"/>
                    </a:lnTo>
                    <a:lnTo>
                      <a:pt x="3" y="63"/>
                    </a:lnTo>
                    <a:lnTo>
                      <a:pt x="6" y="67"/>
                    </a:lnTo>
                    <a:lnTo>
                      <a:pt x="10" y="66"/>
                    </a:lnTo>
                    <a:lnTo>
                      <a:pt x="10" y="67"/>
                    </a:lnTo>
                    <a:lnTo>
                      <a:pt x="10" y="69"/>
                    </a:lnTo>
                    <a:lnTo>
                      <a:pt x="10" y="83"/>
                    </a:lnTo>
                    <a:lnTo>
                      <a:pt x="7" y="89"/>
                    </a:lnTo>
                    <a:lnTo>
                      <a:pt x="7" y="92"/>
                    </a:lnTo>
                    <a:lnTo>
                      <a:pt x="9" y="92"/>
                    </a:lnTo>
                    <a:lnTo>
                      <a:pt x="12" y="92"/>
                    </a:lnTo>
                    <a:lnTo>
                      <a:pt x="17" y="92"/>
                    </a:lnTo>
                    <a:lnTo>
                      <a:pt x="20" y="92"/>
                    </a:lnTo>
                    <a:lnTo>
                      <a:pt x="23" y="92"/>
                    </a:lnTo>
                    <a:lnTo>
                      <a:pt x="29" y="89"/>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73" name="Freeform 689"/>
              <p:cNvSpPr>
                <a:spLocks/>
              </p:cNvSpPr>
              <p:nvPr/>
            </p:nvSpPr>
            <p:spPr bwMode="auto">
              <a:xfrm>
                <a:off x="6460434" y="2589072"/>
                <a:ext cx="243151" cy="119667"/>
              </a:xfrm>
              <a:custGeom>
                <a:avLst/>
                <a:gdLst/>
                <a:ahLst/>
                <a:cxnLst>
                  <a:cxn ang="0">
                    <a:pos x="143" y="102"/>
                  </a:cxn>
                  <a:cxn ang="0">
                    <a:pos x="135" y="102"/>
                  </a:cxn>
                  <a:cxn ang="0">
                    <a:pos x="124" y="97"/>
                  </a:cxn>
                  <a:cxn ang="0">
                    <a:pos x="114" y="106"/>
                  </a:cxn>
                  <a:cxn ang="0">
                    <a:pos x="103" y="109"/>
                  </a:cxn>
                  <a:cxn ang="0">
                    <a:pos x="73" y="97"/>
                  </a:cxn>
                  <a:cxn ang="0">
                    <a:pos x="63" y="103"/>
                  </a:cxn>
                  <a:cxn ang="0">
                    <a:pos x="45" y="106"/>
                  </a:cxn>
                  <a:cxn ang="0">
                    <a:pos x="40" y="100"/>
                  </a:cxn>
                  <a:cxn ang="0">
                    <a:pos x="35" y="97"/>
                  </a:cxn>
                  <a:cxn ang="0">
                    <a:pos x="28" y="100"/>
                  </a:cxn>
                  <a:cxn ang="0">
                    <a:pos x="19" y="100"/>
                  </a:cxn>
                  <a:cxn ang="0">
                    <a:pos x="28" y="96"/>
                  </a:cxn>
                  <a:cxn ang="0">
                    <a:pos x="18" y="94"/>
                  </a:cxn>
                  <a:cxn ang="0">
                    <a:pos x="16" y="87"/>
                  </a:cxn>
                  <a:cxn ang="0">
                    <a:pos x="15" y="83"/>
                  </a:cxn>
                  <a:cxn ang="0">
                    <a:pos x="15" y="75"/>
                  </a:cxn>
                  <a:cxn ang="0">
                    <a:pos x="5" y="72"/>
                  </a:cxn>
                  <a:cxn ang="0">
                    <a:pos x="5" y="70"/>
                  </a:cxn>
                  <a:cxn ang="0">
                    <a:pos x="6" y="64"/>
                  </a:cxn>
                  <a:cxn ang="0">
                    <a:pos x="13" y="68"/>
                  </a:cxn>
                  <a:cxn ang="0">
                    <a:pos x="12" y="61"/>
                  </a:cxn>
                  <a:cxn ang="0">
                    <a:pos x="8" y="54"/>
                  </a:cxn>
                  <a:cxn ang="0">
                    <a:pos x="0" y="48"/>
                  </a:cxn>
                  <a:cxn ang="0">
                    <a:pos x="3" y="39"/>
                  </a:cxn>
                  <a:cxn ang="0">
                    <a:pos x="18" y="32"/>
                  </a:cxn>
                  <a:cxn ang="0">
                    <a:pos x="25" y="30"/>
                  </a:cxn>
                  <a:cxn ang="0">
                    <a:pos x="41" y="29"/>
                  </a:cxn>
                  <a:cxn ang="0">
                    <a:pos x="53" y="26"/>
                  </a:cxn>
                  <a:cxn ang="0">
                    <a:pos x="45" y="25"/>
                  </a:cxn>
                  <a:cxn ang="0">
                    <a:pos x="41" y="20"/>
                  </a:cxn>
                  <a:cxn ang="0">
                    <a:pos x="50" y="19"/>
                  </a:cxn>
                  <a:cxn ang="0">
                    <a:pos x="71" y="20"/>
                  </a:cxn>
                  <a:cxn ang="0">
                    <a:pos x="122" y="3"/>
                  </a:cxn>
                  <a:cxn ang="0">
                    <a:pos x="130" y="3"/>
                  </a:cxn>
                  <a:cxn ang="0">
                    <a:pos x="145" y="16"/>
                  </a:cxn>
                  <a:cxn ang="0">
                    <a:pos x="170" y="22"/>
                  </a:cxn>
                  <a:cxn ang="0">
                    <a:pos x="217" y="10"/>
                  </a:cxn>
                  <a:cxn ang="0">
                    <a:pos x="225" y="10"/>
                  </a:cxn>
                  <a:cxn ang="0">
                    <a:pos x="234" y="9"/>
                  </a:cxn>
                  <a:cxn ang="0">
                    <a:pos x="247" y="20"/>
                  </a:cxn>
                  <a:cxn ang="0">
                    <a:pos x="257" y="38"/>
                  </a:cxn>
                  <a:cxn ang="0">
                    <a:pos x="260" y="48"/>
                  </a:cxn>
                  <a:cxn ang="0">
                    <a:pos x="262" y="80"/>
                  </a:cxn>
                  <a:cxn ang="0">
                    <a:pos x="259" y="90"/>
                  </a:cxn>
                  <a:cxn ang="0">
                    <a:pos x="233" y="91"/>
                  </a:cxn>
                  <a:cxn ang="0">
                    <a:pos x="230" y="88"/>
                  </a:cxn>
                  <a:cxn ang="0">
                    <a:pos x="212" y="93"/>
                  </a:cxn>
                  <a:cxn ang="0">
                    <a:pos x="196" y="97"/>
                  </a:cxn>
                  <a:cxn ang="0">
                    <a:pos x="176" y="96"/>
                  </a:cxn>
                  <a:cxn ang="0">
                    <a:pos x="161" y="100"/>
                  </a:cxn>
                  <a:cxn ang="0">
                    <a:pos x="154" y="99"/>
                  </a:cxn>
                  <a:cxn ang="0">
                    <a:pos x="150" y="96"/>
                  </a:cxn>
                  <a:cxn ang="0">
                    <a:pos x="147" y="103"/>
                  </a:cxn>
                  <a:cxn ang="0">
                    <a:pos x="147" y="107"/>
                  </a:cxn>
                  <a:cxn ang="0">
                    <a:pos x="143" y="113"/>
                  </a:cxn>
                  <a:cxn ang="0">
                    <a:pos x="138" y="112"/>
                  </a:cxn>
                </a:cxnLst>
                <a:rect l="0" t="0" r="r" b="b"/>
                <a:pathLst>
                  <a:path w="265" h="115">
                    <a:moveTo>
                      <a:pt x="140" y="110"/>
                    </a:moveTo>
                    <a:lnTo>
                      <a:pt x="138" y="107"/>
                    </a:lnTo>
                    <a:lnTo>
                      <a:pt x="140" y="103"/>
                    </a:lnTo>
                    <a:lnTo>
                      <a:pt x="143" y="102"/>
                    </a:lnTo>
                    <a:lnTo>
                      <a:pt x="143" y="99"/>
                    </a:lnTo>
                    <a:lnTo>
                      <a:pt x="141" y="97"/>
                    </a:lnTo>
                    <a:lnTo>
                      <a:pt x="137" y="99"/>
                    </a:lnTo>
                    <a:lnTo>
                      <a:pt x="135" y="102"/>
                    </a:lnTo>
                    <a:lnTo>
                      <a:pt x="134" y="102"/>
                    </a:lnTo>
                    <a:lnTo>
                      <a:pt x="131" y="102"/>
                    </a:lnTo>
                    <a:lnTo>
                      <a:pt x="125" y="99"/>
                    </a:lnTo>
                    <a:lnTo>
                      <a:pt x="124" y="97"/>
                    </a:lnTo>
                    <a:lnTo>
                      <a:pt x="122" y="97"/>
                    </a:lnTo>
                    <a:lnTo>
                      <a:pt x="119" y="99"/>
                    </a:lnTo>
                    <a:lnTo>
                      <a:pt x="114" y="103"/>
                    </a:lnTo>
                    <a:lnTo>
                      <a:pt x="114" y="106"/>
                    </a:lnTo>
                    <a:lnTo>
                      <a:pt x="111" y="106"/>
                    </a:lnTo>
                    <a:lnTo>
                      <a:pt x="109" y="107"/>
                    </a:lnTo>
                    <a:lnTo>
                      <a:pt x="106" y="109"/>
                    </a:lnTo>
                    <a:lnTo>
                      <a:pt x="103" y="109"/>
                    </a:lnTo>
                    <a:lnTo>
                      <a:pt x="96" y="110"/>
                    </a:lnTo>
                    <a:lnTo>
                      <a:pt x="90" y="109"/>
                    </a:lnTo>
                    <a:lnTo>
                      <a:pt x="87" y="104"/>
                    </a:lnTo>
                    <a:lnTo>
                      <a:pt x="73" y="97"/>
                    </a:lnTo>
                    <a:lnTo>
                      <a:pt x="64" y="96"/>
                    </a:lnTo>
                    <a:lnTo>
                      <a:pt x="63" y="99"/>
                    </a:lnTo>
                    <a:lnTo>
                      <a:pt x="63" y="102"/>
                    </a:lnTo>
                    <a:lnTo>
                      <a:pt x="63" y="103"/>
                    </a:lnTo>
                    <a:lnTo>
                      <a:pt x="63" y="106"/>
                    </a:lnTo>
                    <a:lnTo>
                      <a:pt x="54" y="109"/>
                    </a:lnTo>
                    <a:lnTo>
                      <a:pt x="48" y="107"/>
                    </a:lnTo>
                    <a:lnTo>
                      <a:pt x="45" y="106"/>
                    </a:lnTo>
                    <a:lnTo>
                      <a:pt x="44" y="104"/>
                    </a:lnTo>
                    <a:lnTo>
                      <a:pt x="42" y="99"/>
                    </a:lnTo>
                    <a:lnTo>
                      <a:pt x="41" y="99"/>
                    </a:lnTo>
                    <a:lnTo>
                      <a:pt x="40" y="100"/>
                    </a:lnTo>
                    <a:lnTo>
                      <a:pt x="40" y="100"/>
                    </a:lnTo>
                    <a:lnTo>
                      <a:pt x="40" y="100"/>
                    </a:lnTo>
                    <a:lnTo>
                      <a:pt x="37" y="99"/>
                    </a:lnTo>
                    <a:lnTo>
                      <a:pt x="35" y="97"/>
                    </a:lnTo>
                    <a:lnTo>
                      <a:pt x="35" y="97"/>
                    </a:lnTo>
                    <a:lnTo>
                      <a:pt x="31" y="97"/>
                    </a:lnTo>
                    <a:lnTo>
                      <a:pt x="31" y="99"/>
                    </a:lnTo>
                    <a:lnTo>
                      <a:pt x="28" y="100"/>
                    </a:lnTo>
                    <a:lnTo>
                      <a:pt x="26" y="100"/>
                    </a:lnTo>
                    <a:lnTo>
                      <a:pt x="28" y="99"/>
                    </a:lnTo>
                    <a:lnTo>
                      <a:pt x="28" y="97"/>
                    </a:lnTo>
                    <a:lnTo>
                      <a:pt x="19" y="100"/>
                    </a:lnTo>
                    <a:lnTo>
                      <a:pt x="21" y="99"/>
                    </a:lnTo>
                    <a:lnTo>
                      <a:pt x="22" y="97"/>
                    </a:lnTo>
                    <a:lnTo>
                      <a:pt x="26" y="97"/>
                    </a:lnTo>
                    <a:lnTo>
                      <a:pt x="28" y="96"/>
                    </a:lnTo>
                    <a:lnTo>
                      <a:pt x="28" y="96"/>
                    </a:lnTo>
                    <a:lnTo>
                      <a:pt x="31" y="94"/>
                    </a:lnTo>
                    <a:lnTo>
                      <a:pt x="31" y="93"/>
                    </a:lnTo>
                    <a:lnTo>
                      <a:pt x="18" y="94"/>
                    </a:lnTo>
                    <a:lnTo>
                      <a:pt x="18" y="93"/>
                    </a:lnTo>
                    <a:lnTo>
                      <a:pt x="21" y="90"/>
                    </a:lnTo>
                    <a:lnTo>
                      <a:pt x="18" y="87"/>
                    </a:lnTo>
                    <a:lnTo>
                      <a:pt x="16" y="87"/>
                    </a:lnTo>
                    <a:lnTo>
                      <a:pt x="16" y="84"/>
                    </a:lnTo>
                    <a:lnTo>
                      <a:pt x="18" y="84"/>
                    </a:lnTo>
                    <a:lnTo>
                      <a:pt x="18" y="83"/>
                    </a:lnTo>
                    <a:lnTo>
                      <a:pt x="15" y="83"/>
                    </a:lnTo>
                    <a:lnTo>
                      <a:pt x="13" y="81"/>
                    </a:lnTo>
                    <a:lnTo>
                      <a:pt x="15" y="80"/>
                    </a:lnTo>
                    <a:lnTo>
                      <a:pt x="16" y="78"/>
                    </a:lnTo>
                    <a:lnTo>
                      <a:pt x="15" y="75"/>
                    </a:lnTo>
                    <a:lnTo>
                      <a:pt x="13" y="74"/>
                    </a:lnTo>
                    <a:lnTo>
                      <a:pt x="9" y="74"/>
                    </a:lnTo>
                    <a:lnTo>
                      <a:pt x="8" y="72"/>
                    </a:lnTo>
                    <a:lnTo>
                      <a:pt x="5" y="72"/>
                    </a:lnTo>
                    <a:lnTo>
                      <a:pt x="3" y="72"/>
                    </a:lnTo>
                    <a:lnTo>
                      <a:pt x="3" y="71"/>
                    </a:lnTo>
                    <a:lnTo>
                      <a:pt x="2" y="70"/>
                    </a:lnTo>
                    <a:lnTo>
                      <a:pt x="5" y="70"/>
                    </a:lnTo>
                    <a:lnTo>
                      <a:pt x="5" y="67"/>
                    </a:lnTo>
                    <a:lnTo>
                      <a:pt x="5" y="65"/>
                    </a:lnTo>
                    <a:lnTo>
                      <a:pt x="5" y="64"/>
                    </a:lnTo>
                    <a:lnTo>
                      <a:pt x="6" y="64"/>
                    </a:lnTo>
                    <a:lnTo>
                      <a:pt x="8" y="68"/>
                    </a:lnTo>
                    <a:lnTo>
                      <a:pt x="9" y="68"/>
                    </a:lnTo>
                    <a:lnTo>
                      <a:pt x="13" y="68"/>
                    </a:lnTo>
                    <a:lnTo>
                      <a:pt x="13" y="68"/>
                    </a:lnTo>
                    <a:lnTo>
                      <a:pt x="10" y="67"/>
                    </a:lnTo>
                    <a:lnTo>
                      <a:pt x="9" y="64"/>
                    </a:lnTo>
                    <a:lnTo>
                      <a:pt x="10" y="62"/>
                    </a:lnTo>
                    <a:lnTo>
                      <a:pt x="12" y="61"/>
                    </a:lnTo>
                    <a:lnTo>
                      <a:pt x="12" y="59"/>
                    </a:lnTo>
                    <a:lnTo>
                      <a:pt x="10" y="58"/>
                    </a:lnTo>
                    <a:lnTo>
                      <a:pt x="10" y="55"/>
                    </a:lnTo>
                    <a:lnTo>
                      <a:pt x="8" y="54"/>
                    </a:lnTo>
                    <a:lnTo>
                      <a:pt x="9" y="51"/>
                    </a:lnTo>
                    <a:lnTo>
                      <a:pt x="10" y="49"/>
                    </a:lnTo>
                    <a:lnTo>
                      <a:pt x="10" y="48"/>
                    </a:lnTo>
                    <a:lnTo>
                      <a:pt x="0" y="48"/>
                    </a:lnTo>
                    <a:lnTo>
                      <a:pt x="0" y="48"/>
                    </a:lnTo>
                    <a:lnTo>
                      <a:pt x="0" y="42"/>
                    </a:lnTo>
                    <a:lnTo>
                      <a:pt x="2" y="39"/>
                    </a:lnTo>
                    <a:lnTo>
                      <a:pt x="3" y="39"/>
                    </a:lnTo>
                    <a:lnTo>
                      <a:pt x="9" y="32"/>
                    </a:lnTo>
                    <a:lnTo>
                      <a:pt x="12" y="32"/>
                    </a:lnTo>
                    <a:lnTo>
                      <a:pt x="16" y="30"/>
                    </a:lnTo>
                    <a:lnTo>
                      <a:pt x="18" y="32"/>
                    </a:lnTo>
                    <a:lnTo>
                      <a:pt x="21" y="33"/>
                    </a:lnTo>
                    <a:lnTo>
                      <a:pt x="24" y="33"/>
                    </a:lnTo>
                    <a:lnTo>
                      <a:pt x="22" y="29"/>
                    </a:lnTo>
                    <a:lnTo>
                      <a:pt x="25" y="30"/>
                    </a:lnTo>
                    <a:lnTo>
                      <a:pt x="26" y="30"/>
                    </a:lnTo>
                    <a:lnTo>
                      <a:pt x="26" y="32"/>
                    </a:lnTo>
                    <a:lnTo>
                      <a:pt x="41" y="32"/>
                    </a:lnTo>
                    <a:lnTo>
                      <a:pt x="41" y="29"/>
                    </a:lnTo>
                    <a:lnTo>
                      <a:pt x="40" y="29"/>
                    </a:lnTo>
                    <a:lnTo>
                      <a:pt x="40" y="29"/>
                    </a:lnTo>
                    <a:lnTo>
                      <a:pt x="41" y="27"/>
                    </a:lnTo>
                    <a:lnTo>
                      <a:pt x="53" y="26"/>
                    </a:lnTo>
                    <a:lnTo>
                      <a:pt x="53" y="25"/>
                    </a:lnTo>
                    <a:lnTo>
                      <a:pt x="51" y="25"/>
                    </a:lnTo>
                    <a:lnTo>
                      <a:pt x="50" y="25"/>
                    </a:lnTo>
                    <a:lnTo>
                      <a:pt x="45" y="25"/>
                    </a:lnTo>
                    <a:lnTo>
                      <a:pt x="45" y="23"/>
                    </a:lnTo>
                    <a:lnTo>
                      <a:pt x="44" y="23"/>
                    </a:lnTo>
                    <a:lnTo>
                      <a:pt x="44" y="22"/>
                    </a:lnTo>
                    <a:lnTo>
                      <a:pt x="41" y="20"/>
                    </a:lnTo>
                    <a:lnTo>
                      <a:pt x="44" y="16"/>
                    </a:lnTo>
                    <a:lnTo>
                      <a:pt x="44" y="17"/>
                    </a:lnTo>
                    <a:lnTo>
                      <a:pt x="47" y="17"/>
                    </a:lnTo>
                    <a:lnTo>
                      <a:pt x="50" y="19"/>
                    </a:lnTo>
                    <a:lnTo>
                      <a:pt x="63" y="19"/>
                    </a:lnTo>
                    <a:lnTo>
                      <a:pt x="64" y="20"/>
                    </a:lnTo>
                    <a:lnTo>
                      <a:pt x="66" y="19"/>
                    </a:lnTo>
                    <a:lnTo>
                      <a:pt x="71" y="20"/>
                    </a:lnTo>
                    <a:lnTo>
                      <a:pt x="74" y="19"/>
                    </a:lnTo>
                    <a:lnTo>
                      <a:pt x="76" y="14"/>
                    </a:lnTo>
                    <a:lnTo>
                      <a:pt x="103" y="1"/>
                    </a:lnTo>
                    <a:lnTo>
                      <a:pt x="122" y="3"/>
                    </a:lnTo>
                    <a:lnTo>
                      <a:pt x="125" y="0"/>
                    </a:lnTo>
                    <a:lnTo>
                      <a:pt x="128" y="0"/>
                    </a:lnTo>
                    <a:lnTo>
                      <a:pt x="130" y="1"/>
                    </a:lnTo>
                    <a:lnTo>
                      <a:pt x="130" y="3"/>
                    </a:lnTo>
                    <a:lnTo>
                      <a:pt x="131" y="6"/>
                    </a:lnTo>
                    <a:lnTo>
                      <a:pt x="138" y="9"/>
                    </a:lnTo>
                    <a:lnTo>
                      <a:pt x="141" y="7"/>
                    </a:lnTo>
                    <a:lnTo>
                      <a:pt x="145" y="16"/>
                    </a:lnTo>
                    <a:lnTo>
                      <a:pt x="153" y="16"/>
                    </a:lnTo>
                    <a:lnTo>
                      <a:pt x="161" y="22"/>
                    </a:lnTo>
                    <a:lnTo>
                      <a:pt x="164" y="19"/>
                    </a:lnTo>
                    <a:lnTo>
                      <a:pt x="170" y="22"/>
                    </a:lnTo>
                    <a:lnTo>
                      <a:pt x="188" y="19"/>
                    </a:lnTo>
                    <a:lnTo>
                      <a:pt x="196" y="22"/>
                    </a:lnTo>
                    <a:lnTo>
                      <a:pt x="202" y="20"/>
                    </a:lnTo>
                    <a:lnTo>
                      <a:pt x="217" y="10"/>
                    </a:lnTo>
                    <a:lnTo>
                      <a:pt x="218" y="9"/>
                    </a:lnTo>
                    <a:lnTo>
                      <a:pt x="220" y="11"/>
                    </a:lnTo>
                    <a:lnTo>
                      <a:pt x="222" y="11"/>
                    </a:lnTo>
                    <a:lnTo>
                      <a:pt x="225" y="10"/>
                    </a:lnTo>
                    <a:lnTo>
                      <a:pt x="230" y="11"/>
                    </a:lnTo>
                    <a:lnTo>
                      <a:pt x="231" y="11"/>
                    </a:lnTo>
                    <a:lnTo>
                      <a:pt x="233" y="10"/>
                    </a:lnTo>
                    <a:lnTo>
                      <a:pt x="234" y="9"/>
                    </a:lnTo>
                    <a:lnTo>
                      <a:pt x="236" y="10"/>
                    </a:lnTo>
                    <a:lnTo>
                      <a:pt x="241" y="16"/>
                    </a:lnTo>
                    <a:lnTo>
                      <a:pt x="243" y="16"/>
                    </a:lnTo>
                    <a:lnTo>
                      <a:pt x="247" y="20"/>
                    </a:lnTo>
                    <a:lnTo>
                      <a:pt x="249" y="23"/>
                    </a:lnTo>
                    <a:lnTo>
                      <a:pt x="250" y="32"/>
                    </a:lnTo>
                    <a:lnTo>
                      <a:pt x="251" y="35"/>
                    </a:lnTo>
                    <a:lnTo>
                      <a:pt x="257" y="38"/>
                    </a:lnTo>
                    <a:lnTo>
                      <a:pt x="259" y="40"/>
                    </a:lnTo>
                    <a:lnTo>
                      <a:pt x="262" y="40"/>
                    </a:lnTo>
                    <a:lnTo>
                      <a:pt x="262" y="42"/>
                    </a:lnTo>
                    <a:lnTo>
                      <a:pt x="260" y="48"/>
                    </a:lnTo>
                    <a:lnTo>
                      <a:pt x="256" y="51"/>
                    </a:lnTo>
                    <a:lnTo>
                      <a:pt x="257" y="56"/>
                    </a:lnTo>
                    <a:lnTo>
                      <a:pt x="257" y="78"/>
                    </a:lnTo>
                    <a:lnTo>
                      <a:pt x="262" y="80"/>
                    </a:lnTo>
                    <a:lnTo>
                      <a:pt x="265" y="84"/>
                    </a:lnTo>
                    <a:lnTo>
                      <a:pt x="265" y="88"/>
                    </a:lnTo>
                    <a:lnTo>
                      <a:pt x="263" y="91"/>
                    </a:lnTo>
                    <a:lnTo>
                      <a:pt x="259" y="90"/>
                    </a:lnTo>
                    <a:lnTo>
                      <a:pt x="257" y="87"/>
                    </a:lnTo>
                    <a:lnTo>
                      <a:pt x="244" y="87"/>
                    </a:lnTo>
                    <a:lnTo>
                      <a:pt x="238" y="86"/>
                    </a:lnTo>
                    <a:lnTo>
                      <a:pt x="233" y="91"/>
                    </a:lnTo>
                    <a:lnTo>
                      <a:pt x="230" y="91"/>
                    </a:lnTo>
                    <a:lnTo>
                      <a:pt x="230" y="90"/>
                    </a:lnTo>
                    <a:lnTo>
                      <a:pt x="230" y="88"/>
                    </a:lnTo>
                    <a:lnTo>
                      <a:pt x="230" y="88"/>
                    </a:lnTo>
                    <a:lnTo>
                      <a:pt x="228" y="88"/>
                    </a:lnTo>
                    <a:lnTo>
                      <a:pt x="227" y="90"/>
                    </a:lnTo>
                    <a:lnTo>
                      <a:pt x="222" y="91"/>
                    </a:lnTo>
                    <a:lnTo>
                      <a:pt x="212" y="93"/>
                    </a:lnTo>
                    <a:lnTo>
                      <a:pt x="209" y="91"/>
                    </a:lnTo>
                    <a:lnTo>
                      <a:pt x="204" y="93"/>
                    </a:lnTo>
                    <a:lnTo>
                      <a:pt x="199" y="96"/>
                    </a:lnTo>
                    <a:lnTo>
                      <a:pt x="196" y="97"/>
                    </a:lnTo>
                    <a:lnTo>
                      <a:pt x="195" y="97"/>
                    </a:lnTo>
                    <a:lnTo>
                      <a:pt x="186" y="99"/>
                    </a:lnTo>
                    <a:lnTo>
                      <a:pt x="179" y="99"/>
                    </a:lnTo>
                    <a:lnTo>
                      <a:pt x="176" y="96"/>
                    </a:lnTo>
                    <a:lnTo>
                      <a:pt x="175" y="94"/>
                    </a:lnTo>
                    <a:lnTo>
                      <a:pt x="170" y="96"/>
                    </a:lnTo>
                    <a:lnTo>
                      <a:pt x="163" y="99"/>
                    </a:lnTo>
                    <a:lnTo>
                      <a:pt x="161" y="100"/>
                    </a:lnTo>
                    <a:lnTo>
                      <a:pt x="157" y="99"/>
                    </a:lnTo>
                    <a:lnTo>
                      <a:pt x="156" y="100"/>
                    </a:lnTo>
                    <a:lnTo>
                      <a:pt x="154" y="99"/>
                    </a:lnTo>
                    <a:lnTo>
                      <a:pt x="154" y="99"/>
                    </a:lnTo>
                    <a:lnTo>
                      <a:pt x="154" y="99"/>
                    </a:lnTo>
                    <a:lnTo>
                      <a:pt x="153" y="97"/>
                    </a:lnTo>
                    <a:lnTo>
                      <a:pt x="151" y="97"/>
                    </a:lnTo>
                    <a:lnTo>
                      <a:pt x="150" y="96"/>
                    </a:lnTo>
                    <a:lnTo>
                      <a:pt x="148" y="99"/>
                    </a:lnTo>
                    <a:lnTo>
                      <a:pt x="148" y="100"/>
                    </a:lnTo>
                    <a:lnTo>
                      <a:pt x="148" y="100"/>
                    </a:lnTo>
                    <a:lnTo>
                      <a:pt x="147" y="103"/>
                    </a:lnTo>
                    <a:lnTo>
                      <a:pt x="150" y="106"/>
                    </a:lnTo>
                    <a:lnTo>
                      <a:pt x="150" y="107"/>
                    </a:lnTo>
                    <a:lnTo>
                      <a:pt x="150" y="107"/>
                    </a:lnTo>
                    <a:lnTo>
                      <a:pt x="147" y="107"/>
                    </a:lnTo>
                    <a:lnTo>
                      <a:pt x="145" y="107"/>
                    </a:lnTo>
                    <a:lnTo>
                      <a:pt x="145" y="112"/>
                    </a:lnTo>
                    <a:lnTo>
                      <a:pt x="144" y="112"/>
                    </a:lnTo>
                    <a:lnTo>
                      <a:pt x="143" y="113"/>
                    </a:lnTo>
                    <a:lnTo>
                      <a:pt x="143" y="115"/>
                    </a:lnTo>
                    <a:lnTo>
                      <a:pt x="140" y="113"/>
                    </a:lnTo>
                    <a:lnTo>
                      <a:pt x="140" y="112"/>
                    </a:lnTo>
                    <a:lnTo>
                      <a:pt x="138" y="112"/>
                    </a:lnTo>
                    <a:lnTo>
                      <a:pt x="140" y="11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74" name="Freeform 691"/>
              <p:cNvSpPr>
                <a:spLocks/>
              </p:cNvSpPr>
              <p:nvPr/>
            </p:nvSpPr>
            <p:spPr bwMode="auto">
              <a:xfrm>
                <a:off x="6727285" y="2809138"/>
                <a:ext cx="21944" cy="26368"/>
              </a:xfrm>
              <a:custGeom>
                <a:avLst/>
                <a:gdLst/>
                <a:ahLst/>
                <a:cxnLst>
                  <a:cxn ang="0">
                    <a:pos x="24" y="25"/>
                  </a:cxn>
                  <a:cxn ang="0">
                    <a:pos x="23" y="22"/>
                  </a:cxn>
                  <a:cxn ang="0">
                    <a:pos x="23" y="22"/>
                  </a:cxn>
                  <a:cxn ang="0">
                    <a:pos x="20" y="13"/>
                  </a:cxn>
                  <a:cxn ang="0">
                    <a:pos x="19" y="13"/>
                  </a:cxn>
                  <a:cxn ang="0">
                    <a:pos x="16" y="13"/>
                  </a:cxn>
                  <a:cxn ang="0">
                    <a:pos x="16" y="10"/>
                  </a:cxn>
                  <a:cxn ang="0">
                    <a:pos x="17" y="10"/>
                  </a:cxn>
                  <a:cxn ang="0">
                    <a:pos x="21" y="9"/>
                  </a:cxn>
                  <a:cxn ang="0">
                    <a:pos x="23" y="7"/>
                  </a:cxn>
                  <a:cxn ang="0">
                    <a:pos x="23" y="6"/>
                  </a:cxn>
                  <a:cxn ang="0">
                    <a:pos x="23" y="4"/>
                  </a:cxn>
                  <a:cxn ang="0">
                    <a:pos x="20" y="3"/>
                  </a:cxn>
                  <a:cxn ang="0">
                    <a:pos x="19" y="1"/>
                  </a:cxn>
                  <a:cxn ang="0">
                    <a:pos x="20" y="1"/>
                  </a:cxn>
                  <a:cxn ang="0">
                    <a:pos x="13" y="0"/>
                  </a:cxn>
                  <a:cxn ang="0">
                    <a:pos x="8" y="1"/>
                  </a:cxn>
                  <a:cxn ang="0">
                    <a:pos x="4" y="12"/>
                  </a:cxn>
                  <a:cxn ang="0">
                    <a:pos x="0" y="16"/>
                  </a:cxn>
                  <a:cxn ang="0">
                    <a:pos x="0" y="16"/>
                  </a:cxn>
                  <a:cxn ang="0">
                    <a:pos x="11" y="19"/>
                  </a:cxn>
                  <a:cxn ang="0">
                    <a:pos x="13" y="20"/>
                  </a:cxn>
                  <a:cxn ang="0">
                    <a:pos x="16" y="25"/>
                  </a:cxn>
                  <a:cxn ang="0">
                    <a:pos x="24" y="25"/>
                  </a:cxn>
                </a:cxnLst>
                <a:rect l="0" t="0" r="r" b="b"/>
                <a:pathLst>
                  <a:path w="24" h="25">
                    <a:moveTo>
                      <a:pt x="24" y="25"/>
                    </a:moveTo>
                    <a:lnTo>
                      <a:pt x="23" y="22"/>
                    </a:lnTo>
                    <a:lnTo>
                      <a:pt x="23" y="22"/>
                    </a:lnTo>
                    <a:lnTo>
                      <a:pt x="20" y="13"/>
                    </a:lnTo>
                    <a:lnTo>
                      <a:pt x="19" y="13"/>
                    </a:lnTo>
                    <a:lnTo>
                      <a:pt x="16" y="13"/>
                    </a:lnTo>
                    <a:lnTo>
                      <a:pt x="16" y="10"/>
                    </a:lnTo>
                    <a:lnTo>
                      <a:pt x="17" y="10"/>
                    </a:lnTo>
                    <a:lnTo>
                      <a:pt x="21" y="9"/>
                    </a:lnTo>
                    <a:lnTo>
                      <a:pt x="23" y="7"/>
                    </a:lnTo>
                    <a:lnTo>
                      <a:pt x="23" y="6"/>
                    </a:lnTo>
                    <a:lnTo>
                      <a:pt x="23" y="4"/>
                    </a:lnTo>
                    <a:lnTo>
                      <a:pt x="20" y="3"/>
                    </a:lnTo>
                    <a:lnTo>
                      <a:pt x="19" y="1"/>
                    </a:lnTo>
                    <a:lnTo>
                      <a:pt x="20" y="1"/>
                    </a:lnTo>
                    <a:lnTo>
                      <a:pt x="13" y="0"/>
                    </a:lnTo>
                    <a:lnTo>
                      <a:pt x="8" y="1"/>
                    </a:lnTo>
                    <a:lnTo>
                      <a:pt x="4" y="12"/>
                    </a:lnTo>
                    <a:lnTo>
                      <a:pt x="0" y="16"/>
                    </a:lnTo>
                    <a:lnTo>
                      <a:pt x="0" y="16"/>
                    </a:lnTo>
                    <a:lnTo>
                      <a:pt x="11" y="19"/>
                    </a:lnTo>
                    <a:lnTo>
                      <a:pt x="13" y="20"/>
                    </a:lnTo>
                    <a:lnTo>
                      <a:pt x="16" y="25"/>
                    </a:lnTo>
                    <a:lnTo>
                      <a:pt x="24" y="2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75" name="Freeform 692"/>
              <p:cNvSpPr>
                <a:spLocks/>
              </p:cNvSpPr>
              <p:nvPr/>
            </p:nvSpPr>
            <p:spPr bwMode="auto">
              <a:xfrm>
                <a:off x="6727285" y="2809138"/>
                <a:ext cx="21944" cy="26368"/>
              </a:xfrm>
              <a:custGeom>
                <a:avLst/>
                <a:gdLst/>
                <a:ahLst/>
                <a:cxnLst>
                  <a:cxn ang="0">
                    <a:pos x="24" y="25"/>
                  </a:cxn>
                  <a:cxn ang="0">
                    <a:pos x="23" y="22"/>
                  </a:cxn>
                  <a:cxn ang="0">
                    <a:pos x="23" y="22"/>
                  </a:cxn>
                  <a:cxn ang="0">
                    <a:pos x="20" y="13"/>
                  </a:cxn>
                  <a:cxn ang="0">
                    <a:pos x="19" y="13"/>
                  </a:cxn>
                  <a:cxn ang="0">
                    <a:pos x="16" y="13"/>
                  </a:cxn>
                  <a:cxn ang="0">
                    <a:pos x="16" y="10"/>
                  </a:cxn>
                  <a:cxn ang="0">
                    <a:pos x="17" y="10"/>
                  </a:cxn>
                  <a:cxn ang="0">
                    <a:pos x="21" y="9"/>
                  </a:cxn>
                  <a:cxn ang="0">
                    <a:pos x="23" y="7"/>
                  </a:cxn>
                  <a:cxn ang="0">
                    <a:pos x="23" y="6"/>
                  </a:cxn>
                  <a:cxn ang="0">
                    <a:pos x="23" y="4"/>
                  </a:cxn>
                  <a:cxn ang="0">
                    <a:pos x="20" y="3"/>
                  </a:cxn>
                  <a:cxn ang="0">
                    <a:pos x="19" y="1"/>
                  </a:cxn>
                  <a:cxn ang="0">
                    <a:pos x="20" y="1"/>
                  </a:cxn>
                  <a:cxn ang="0">
                    <a:pos x="13" y="0"/>
                  </a:cxn>
                  <a:cxn ang="0">
                    <a:pos x="8" y="1"/>
                  </a:cxn>
                  <a:cxn ang="0">
                    <a:pos x="4" y="12"/>
                  </a:cxn>
                  <a:cxn ang="0">
                    <a:pos x="0" y="16"/>
                  </a:cxn>
                  <a:cxn ang="0">
                    <a:pos x="0" y="16"/>
                  </a:cxn>
                  <a:cxn ang="0">
                    <a:pos x="11" y="19"/>
                  </a:cxn>
                  <a:cxn ang="0">
                    <a:pos x="13" y="20"/>
                  </a:cxn>
                  <a:cxn ang="0">
                    <a:pos x="16" y="25"/>
                  </a:cxn>
                  <a:cxn ang="0">
                    <a:pos x="24" y="25"/>
                  </a:cxn>
                </a:cxnLst>
                <a:rect l="0" t="0" r="r" b="b"/>
                <a:pathLst>
                  <a:path w="24" h="25">
                    <a:moveTo>
                      <a:pt x="24" y="25"/>
                    </a:moveTo>
                    <a:lnTo>
                      <a:pt x="23" y="22"/>
                    </a:lnTo>
                    <a:lnTo>
                      <a:pt x="23" y="22"/>
                    </a:lnTo>
                    <a:lnTo>
                      <a:pt x="20" y="13"/>
                    </a:lnTo>
                    <a:lnTo>
                      <a:pt x="19" y="13"/>
                    </a:lnTo>
                    <a:lnTo>
                      <a:pt x="16" y="13"/>
                    </a:lnTo>
                    <a:lnTo>
                      <a:pt x="16" y="10"/>
                    </a:lnTo>
                    <a:lnTo>
                      <a:pt x="17" y="10"/>
                    </a:lnTo>
                    <a:lnTo>
                      <a:pt x="21" y="9"/>
                    </a:lnTo>
                    <a:lnTo>
                      <a:pt x="23" y="7"/>
                    </a:lnTo>
                    <a:lnTo>
                      <a:pt x="23" y="6"/>
                    </a:lnTo>
                    <a:lnTo>
                      <a:pt x="23" y="4"/>
                    </a:lnTo>
                    <a:lnTo>
                      <a:pt x="20" y="3"/>
                    </a:lnTo>
                    <a:lnTo>
                      <a:pt x="19" y="1"/>
                    </a:lnTo>
                    <a:lnTo>
                      <a:pt x="20" y="1"/>
                    </a:lnTo>
                    <a:lnTo>
                      <a:pt x="13" y="0"/>
                    </a:lnTo>
                    <a:lnTo>
                      <a:pt x="8" y="1"/>
                    </a:lnTo>
                    <a:lnTo>
                      <a:pt x="4" y="12"/>
                    </a:lnTo>
                    <a:lnTo>
                      <a:pt x="0" y="16"/>
                    </a:lnTo>
                    <a:lnTo>
                      <a:pt x="0" y="16"/>
                    </a:lnTo>
                    <a:lnTo>
                      <a:pt x="11" y="19"/>
                    </a:lnTo>
                    <a:lnTo>
                      <a:pt x="13" y="20"/>
                    </a:lnTo>
                    <a:lnTo>
                      <a:pt x="16" y="25"/>
                    </a:lnTo>
                    <a:lnTo>
                      <a:pt x="24" y="25"/>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76" name="Freeform 693"/>
              <p:cNvSpPr>
                <a:spLocks/>
              </p:cNvSpPr>
              <p:nvPr/>
            </p:nvSpPr>
            <p:spPr bwMode="auto">
              <a:xfrm>
                <a:off x="6913379" y="2686429"/>
                <a:ext cx="218572" cy="227165"/>
              </a:xfrm>
              <a:custGeom>
                <a:avLst/>
                <a:gdLst/>
                <a:ahLst/>
                <a:cxnLst>
                  <a:cxn ang="0">
                    <a:pos x="35" y="169"/>
                  </a:cxn>
                  <a:cxn ang="0">
                    <a:pos x="13" y="143"/>
                  </a:cxn>
                  <a:cxn ang="0">
                    <a:pos x="22" y="130"/>
                  </a:cxn>
                  <a:cxn ang="0">
                    <a:pos x="46" y="127"/>
                  </a:cxn>
                  <a:cxn ang="0">
                    <a:pos x="78" y="119"/>
                  </a:cxn>
                  <a:cxn ang="0">
                    <a:pos x="80" y="103"/>
                  </a:cxn>
                  <a:cxn ang="0">
                    <a:pos x="97" y="98"/>
                  </a:cxn>
                  <a:cxn ang="0">
                    <a:pos x="100" y="92"/>
                  </a:cxn>
                  <a:cxn ang="0">
                    <a:pos x="107" y="90"/>
                  </a:cxn>
                  <a:cxn ang="0">
                    <a:pos x="113" y="93"/>
                  </a:cxn>
                  <a:cxn ang="0">
                    <a:pos x="120" y="76"/>
                  </a:cxn>
                  <a:cxn ang="0">
                    <a:pos x="123" y="69"/>
                  </a:cxn>
                  <a:cxn ang="0">
                    <a:pos x="134" y="61"/>
                  </a:cxn>
                  <a:cxn ang="0">
                    <a:pos x="139" y="53"/>
                  </a:cxn>
                  <a:cxn ang="0">
                    <a:pos x="144" y="45"/>
                  </a:cxn>
                  <a:cxn ang="0">
                    <a:pos x="152" y="31"/>
                  </a:cxn>
                  <a:cxn ang="0">
                    <a:pos x="147" y="18"/>
                  </a:cxn>
                  <a:cxn ang="0">
                    <a:pos x="152" y="10"/>
                  </a:cxn>
                  <a:cxn ang="0">
                    <a:pos x="160" y="8"/>
                  </a:cxn>
                  <a:cxn ang="0">
                    <a:pos x="167" y="3"/>
                  </a:cxn>
                  <a:cxn ang="0">
                    <a:pos x="184" y="2"/>
                  </a:cxn>
                  <a:cxn ang="0">
                    <a:pos x="196" y="2"/>
                  </a:cxn>
                  <a:cxn ang="0">
                    <a:pos x="205" y="2"/>
                  </a:cxn>
                  <a:cxn ang="0">
                    <a:pos x="209" y="5"/>
                  </a:cxn>
                  <a:cxn ang="0">
                    <a:pos x="215" y="15"/>
                  </a:cxn>
                  <a:cxn ang="0">
                    <a:pos x="218" y="21"/>
                  </a:cxn>
                  <a:cxn ang="0">
                    <a:pos x="224" y="22"/>
                  </a:cxn>
                  <a:cxn ang="0">
                    <a:pos x="228" y="35"/>
                  </a:cxn>
                  <a:cxn ang="0">
                    <a:pos x="225" y="38"/>
                  </a:cxn>
                  <a:cxn ang="0">
                    <a:pos x="215" y="41"/>
                  </a:cxn>
                  <a:cxn ang="0">
                    <a:pos x="209" y="42"/>
                  </a:cxn>
                  <a:cxn ang="0">
                    <a:pos x="189" y="38"/>
                  </a:cxn>
                  <a:cxn ang="0">
                    <a:pos x="183" y="45"/>
                  </a:cxn>
                  <a:cxn ang="0">
                    <a:pos x="184" y="50"/>
                  </a:cxn>
                  <a:cxn ang="0">
                    <a:pos x="189" y="53"/>
                  </a:cxn>
                  <a:cxn ang="0">
                    <a:pos x="189" y="61"/>
                  </a:cxn>
                  <a:cxn ang="0">
                    <a:pos x="192" y="70"/>
                  </a:cxn>
                  <a:cxn ang="0">
                    <a:pos x="196" y="76"/>
                  </a:cxn>
                  <a:cxn ang="0">
                    <a:pos x="206" y="82"/>
                  </a:cxn>
                  <a:cxn ang="0">
                    <a:pos x="200" y="86"/>
                  </a:cxn>
                  <a:cxn ang="0">
                    <a:pos x="196" y="95"/>
                  </a:cxn>
                  <a:cxn ang="0">
                    <a:pos x="195" y="101"/>
                  </a:cxn>
                  <a:cxn ang="0">
                    <a:pos x="197" y="103"/>
                  </a:cxn>
                  <a:cxn ang="0">
                    <a:pos x="186" y="111"/>
                  </a:cxn>
                  <a:cxn ang="0">
                    <a:pos x="179" y="121"/>
                  </a:cxn>
                  <a:cxn ang="0">
                    <a:pos x="152" y="154"/>
                  </a:cxn>
                  <a:cxn ang="0">
                    <a:pos x="138" y="151"/>
                  </a:cxn>
                  <a:cxn ang="0">
                    <a:pos x="123" y="173"/>
                  </a:cxn>
                  <a:cxn ang="0">
                    <a:pos x="132" y="176"/>
                  </a:cxn>
                  <a:cxn ang="0">
                    <a:pos x="135" y="189"/>
                  </a:cxn>
                  <a:cxn ang="0">
                    <a:pos x="141" y="198"/>
                  </a:cxn>
                  <a:cxn ang="0">
                    <a:pos x="144" y="205"/>
                  </a:cxn>
                  <a:cxn ang="0">
                    <a:pos x="142" y="210"/>
                  </a:cxn>
                  <a:cxn ang="0">
                    <a:pos x="138" y="210"/>
                  </a:cxn>
                  <a:cxn ang="0">
                    <a:pos x="126" y="212"/>
                  </a:cxn>
                  <a:cxn ang="0">
                    <a:pos x="115" y="211"/>
                  </a:cxn>
                  <a:cxn ang="0">
                    <a:pos x="107" y="215"/>
                  </a:cxn>
                  <a:cxn ang="0">
                    <a:pos x="102" y="218"/>
                  </a:cxn>
                  <a:cxn ang="0">
                    <a:pos x="91" y="212"/>
                  </a:cxn>
                  <a:cxn ang="0">
                    <a:pos x="81" y="195"/>
                  </a:cxn>
                  <a:cxn ang="0">
                    <a:pos x="51" y="195"/>
                  </a:cxn>
                  <a:cxn ang="0">
                    <a:pos x="23" y="195"/>
                  </a:cxn>
                  <a:cxn ang="0">
                    <a:pos x="12" y="198"/>
                  </a:cxn>
                </a:cxnLst>
                <a:rect l="0" t="0" r="r" b="b"/>
                <a:pathLst>
                  <a:path w="238" h="218">
                    <a:moveTo>
                      <a:pt x="10" y="196"/>
                    </a:moveTo>
                    <a:lnTo>
                      <a:pt x="13" y="182"/>
                    </a:lnTo>
                    <a:lnTo>
                      <a:pt x="19" y="176"/>
                    </a:lnTo>
                    <a:lnTo>
                      <a:pt x="30" y="173"/>
                    </a:lnTo>
                    <a:lnTo>
                      <a:pt x="33" y="170"/>
                    </a:lnTo>
                    <a:lnTo>
                      <a:pt x="35" y="169"/>
                    </a:lnTo>
                    <a:lnTo>
                      <a:pt x="33" y="166"/>
                    </a:lnTo>
                    <a:lnTo>
                      <a:pt x="32" y="164"/>
                    </a:lnTo>
                    <a:lnTo>
                      <a:pt x="28" y="163"/>
                    </a:lnTo>
                    <a:lnTo>
                      <a:pt x="26" y="148"/>
                    </a:lnTo>
                    <a:lnTo>
                      <a:pt x="25" y="147"/>
                    </a:lnTo>
                    <a:lnTo>
                      <a:pt x="13" y="143"/>
                    </a:lnTo>
                    <a:lnTo>
                      <a:pt x="10" y="140"/>
                    </a:lnTo>
                    <a:lnTo>
                      <a:pt x="4" y="130"/>
                    </a:lnTo>
                    <a:lnTo>
                      <a:pt x="0" y="124"/>
                    </a:lnTo>
                    <a:lnTo>
                      <a:pt x="0" y="122"/>
                    </a:lnTo>
                    <a:lnTo>
                      <a:pt x="0" y="122"/>
                    </a:lnTo>
                    <a:lnTo>
                      <a:pt x="22" y="130"/>
                    </a:lnTo>
                    <a:lnTo>
                      <a:pt x="23" y="130"/>
                    </a:lnTo>
                    <a:lnTo>
                      <a:pt x="25" y="128"/>
                    </a:lnTo>
                    <a:lnTo>
                      <a:pt x="41" y="127"/>
                    </a:lnTo>
                    <a:lnTo>
                      <a:pt x="45" y="130"/>
                    </a:lnTo>
                    <a:lnTo>
                      <a:pt x="46" y="128"/>
                    </a:lnTo>
                    <a:lnTo>
                      <a:pt x="46" y="127"/>
                    </a:lnTo>
                    <a:lnTo>
                      <a:pt x="48" y="127"/>
                    </a:lnTo>
                    <a:lnTo>
                      <a:pt x="49" y="127"/>
                    </a:lnTo>
                    <a:lnTo>
                      <a:pt x="59" y="127"/>
                    </a:lnTo>
                    <a:lnTo>
                      <a:pt x="75" y="122"/>
                    </a:lnTo>
                    <a:lnTo>
                      <a:pt x="77" y="121"/>
                    </a:lnTo>
                    <a:lnTo>
                      <a:pt x="78" y="119"/>
                    </a:lnTo>
                    <a:lnTo>
                      <a:pt x="77" y="118"/>
                    </a:lnTo>
                    <a:lnTo>
                      <a:pt x="77" y="117"/>
                    </a:lnTo>
                    <a:lnTo>
                      <a:pt x="78" y="112"/>
                    </a:lnTo>
                    <a:lnTo>
                      <a:pt x="77" y="109"/>
                    </a:lnTo>
                    <a:lnTo>
                      <a:pt x="78" y="105"/>
                    </a:lnTo>
                    <a:lnTo>
                      <a:pt x="80" y="103"/>
                    </a:lnTo>
                    <a:lnTo>
                      <a:pt x="83" y="101"/>
                    </a:lnTo>
                    <a:lnTo>
                      <a:pt x="84" y="99"/>
                    </a:lnTo>
                    <a:lnTo>
                      <a:pt x="86" y="98"/>
                    </a:lnTo>
                    <a:lnTo>
                      <a:pt x="87" y="98"/>
                    </a:lnTo>
                    <a:lnTo>
                      <a:pt x="87" y="99"/>
                    </a:lnTo>
                    <a:lnTo>
                      <a:pt x="97" y="98"/>
                    </a:lnTo>
                    <a:lnTo>
                      <a:pt x="97" y="98"/>
                    </a:lnTo>
                    <a:lnTo>
                      <a:pt x="97" y="96"/>
                    </a:lnTo>
                    <a:lnTo>
                      <a:pt x="96" y="96"/>
                    </a:lnTo>
                    <a:lnTo>
                      <a:pt x="96" y="95"/>
                    </a:lnTo>
                    <a:lnTo>
                      <a:pt x="97" y="95"/>
                    </a:lnTo>
                    <a:lnTo>
                      <a:pt x="100" y="92"/>
                    </a:lnTo>
                    <a:lnTo>
                      <a:pt x="102" y="90"/>
                    </a:lnTo>
                    <a:lnTo>
                      <a:pt x="103" y="90"/>
                    </a:lnTo>
                    <a:lnTo>
                      <a:pt x="104" y="90"/>
                    </a:lnTo>
                    <a:lnTo>
                      <a:pt x="109" y="92"/>
                    </a:lnTo>
                    <a:lnTo>
                      <a:pt x="109" y="90"/>
                    </a:lnTo>
                    <a:lnTo>
                      <a:pt x="107" y="90"/>
                    </a:lnTo>
                    <a:lnTo>
                      <a:pt x="109" y="89"/>
                    </a:lnTo>
                    <a:lnTo>
                      <a:pt x="109" y="89"/>
                    </a:lnTo>
                    <a:lnTo>
                      <a:pt x="112" y="90"/>
                    </a:lnTo>
                    <a:lnTo>
                      <a:pt x="112" y="92"/>
                    </a:lnTo>
                    <a:lnTo>
                      <a:pt x="112" y="93"/>
                    </a:lnTo>
                    <a:lnTo>
                      <a:pt x="113" y="93"/>
                    </a:lnTo>
                    <a:lnTo>
                      <a:pt x="115" y="93"/>
                    </a:lnTo>
                    <a:lnTo>
                      <a:pt x="119" y="87"/>
                    </a:lnTo>
                    <a:lnTo>
                      <a:pt x="119" y="87"/>
                    </a:lnTo>
                    <a:lnTo>
                      <a:pt x="119" y="80"/>
                    </a:lnTo>
                    <a:lnTo>
                      <a:pt x="119" y="79"/>
                    </a:lnTo>
                    <a:lnTo>
                      <a:pt x="120" y="76"/>
                    </a:lnTo>
                    <a:lnTo>
                      <a:pt x="120" y="76"/>
                    </a:lnTo>
                    <a:lnTo>
                      <a:pt x="122" y="74"/>
                    </a:lnTo>
                    <a:lnTo>
                      <a:pt x="120" y="73"/>
                    </a:lnTo>
                    <a:lnTo>
                      <a:pt x="122" y="71"/>
                    </a:lnTo>
                    <a:lnTo>
                      <a:pt x="123" y="71"/>
                    </a:lnTo>
                    <a:lnTo>
                      <a:pt x="123" y="69"/>
                    </a:lnTo>
                    <a:lnTo>
                      <a:pt x="126" y="67"/>
                    </a:lnTo>
                    <a:lnTo>
                      <a:pt x="129" y="67"/>
                    </a:lnTo>
                    <a:lnTo>
                      <a:pt x="132" y="64"/>
                    </a:lnTo>
                    <a:lnTo>
                      <a:pt x="134" y="63"/>
                    </a:lnTo>
                    <a:lnTo>
                      <a:pt x="134" y="63"/>
                    </a:lnTo>
                    <a:lnTo>
                      <a:pt x="134" y="61"/>
                    </a:lnTo>
                    <a:lnTo>
                      <a:pt x="132" y="57"/>
                    </a:lnTo>
                    <a:lnTo>
                      <a:pt x="131" y="57"/>
                    </a:lnTo>
                    <a:lnTo>
                      <a:pt x="129" y="54"/>
                    </a:lnTo>
                    <a:lnTo>
                      <a:pt x="129" y="53"/>
                    </a:lnTo>
                    <a:lnTo>
                      <a:pt x="131" y="51"/>
                    </a:lnTo>
                    <a:lnTo>
                      <a:pt x="139" y="53"/>
                    </a:lnTo>
                    <a:lnTo>
                      <a:pt x="144" y="51"/>
                    </a:lnTo>
                    <a:lnTo>
                      <a:pt x="145" y="50"/>
                    </a:lnTo>
                    <a:lnTo>
                      <a:pt x="145" y="47"/>
                    </a:lnTo>
                    <a:lnTo>
                      <a:pt x="147" y="47"/>
                    </a:lnTo>
                    <a:lnTo>
                      <a:pt x="145" y="45"/>
                    </a:lnTo>
                    <a:lnTo>
                      <a:pt x="144" y="45"/>
                    </a:lnTo>
                    <a:lnTo>
                      <a:pt x="144" y="44"/>
                    </a:lnTo>
                    <a:lnTo>
                      <a:pt x="145" y="42"/>
                    </a:lnTo>
                    <a:lnTo>
                      <a:pt x="147" y="41"/>
                    </a:lnTo>
                    <a:lnTo>
                      <a:pt x="151" y="35"/>
                    </a:lnTo>
                    <a:lnTo>
                      <a:pt x="152" y="34"/>
                    </a:lnTo>
                    <a:lnTo>
                      <a:pt x="152" y="31"/>
                    </a:lnTo>
                    <a:lnTo>
                      <a:pt x="152" y="31"/>
                    </a:lnTo>
                    <a:lnTo>
                      <a:pt x="152" y="29"/>
                    </a:lnTo>
                    <a:lnTo>
                      <a:pt x="154" y="28"/>
                    </a:lnTo>
                    <a:lnTo>
                      <a:pt x="154" y="26"/>
                    </a:lnTo>
                    <a:lnTo>
                      <a:pt x="151" y="21"/>
                    </a:lnTo>
                    <a:lnTo>
                      <a:pt x="147" y="18"/>
                    </a:lnTo>
                    <a:lnTo>
                      <a:pt x="147" y="18"/>
                    </a:lnTo>
                    <a:lnTo>
                      <a:pt x="147" y="16"/>
                    </a:lnTo>
                    <a:lnTo>
                      <a:pt x="148" y="15"/>
                    </a:lnTo>
                    <a:lnTo>
                      <a:pt x="152" y="12"/>
                    </a:lnTo>
                    <a:lnTo>
                      <a:pt x="152" y="10"/>
                    </a:lnTo>
                    <a:lnTo>
                      <a:pt x="152" y="10"/>
                    </a:lnTo>
                    <a:lnTo>
                      <a:pt x="154" y="10"/>
                    </a:lnTo>
                    <a:lnTo>
                      <a:pt x="155" y="10"/>
                    </a:lnTo>
                    <a:lnTo>
                      <a:pt x="157" y="10"/>
                    </a:lnTo>
                    <a:lnTo>
                      <a:pt x="157" y="9"/>
                    </a:lnTo>
                    <a:lnTo>
                      <a:pt x="157" y="9"/>
                    </a:lnTo>
                    <a:lnTo>
                      <a:pt x="160" y="8"/>
                    </a:lnTo>
                    <a:lnTo>
                      <a:pt x="160" y="8"/>
                    </a:lnTo>
                    <a:lnTo>
                      <a:pt x="160" y="6"/>
                    </a:lnTo>
                    <a:lnTo>
                      <a:pt x="161" y="6"/>
                    </a:lnTo>
                    <a:lnTo>
                      <a:pt x="163" y="5"/>
                    </a:lnTo>
                    <a:lnTo>
                      <a:pt x="164" y="5"/>
                    </a:lnTo>
                    <a:lnTo>
                      <a:pt x="167" y="3"/>
                    </a:lnTo>
                    <a:lnTo>
                      <a:pt x="168" y="3"/>
                    </a:lnTo>
                    <a:lnTo>
                      <a:pt x="171" y="2"/>
                    </a:lnTo>
                    <a:lnTo>
                      <a:pt x="173" y="2"/>
                    </a:lnTo>
                    <a:lnTo>
                      <a:pt x="181" y="2"/>
                    </a:lnTo>
                    <a:lnTo>
                      <a:pt x="181" y="2"/>
                    </a:lnTo>
                    <a:lnTo>
                      <a:pt x="184" y="2"/>
                    </a:lnTo>
                    <a:lnTo>
                      <a:pt x="187" y="3"/>
                    </a:lnTo>
                    <a:lnTo>
                      <a:pt x="189" y="3"/>
                    </a:lnTo>
                    <a:lnTo>
                      <a:pt x="190" y="2"/>
                    </a:lnTo>
                    <a:lnTo>
                      <a:pt x="192" y="2"/>
                    </a:lnTo>
                    <a:lnTo>
                      <a:pt x="193" y="0"/>
                    </a:lnTo>
                    <a:lnTo>
                      <a:pt x="196" y="2"/>
                    </a:lnTo>
                    <a:lnTo>
                      <a:pt x="196" y="0"/>
                    </a:lnTo>
                    <a:lnTo>
                      <a:pt x="196" y="0"/>
                    </a:lnTo>
                    <a:lnTo>
                      <a:pt x="197" y="2"/>
                    </a:lnTo>
                    <a:lnTo>
                      <a:pt x="202" y="0"/>
                    </a:lnTo>
                    <a:lnTo>
                      <a:pt x="203" y="0"/>
                    </a:lnTo>
                    <a:lnTo>
                      <a:pt x="205" y="2"/>
                    </a:lnTo>
                    <a:lnTo>
                      <a:pt x="206" y="2"/>
                    </a:lnTo>
                    <a:lnTo>
                      <a:pt x="206" y="2"/>
                    </a:lnTo>
                    <a:lnTo>
                      <a:pt x="206" y="5"/>
                    </a:lnTo>
                    <a:lnTo>
                      <a:pt x="206" y="6"/>
                    </a:lnTo>
                    <a:lnTo>
                      <a:pt x="209" y="5"/>
                    </a:lnTo>
                    <a:lnTo>
                      <a:pt x="209" y="5"/>
                    </a:lnTo>
                    <a:lnTo>
                      <a:pt x="213" y="8"/>
                    </a:lnTo>
                    <a:lnTo>
                      <a:pt x="215" y="9"/>
                    </a:lnTo>
                    <a:lnTo>
                      <a:pt x="215" y="13"/>
                    </a:lnTo>
                    <a:lnTo>
                      <a:pt x="215" y="13"/>
                    </a:lnTo>
                    <a:lnTo>
                      <a:pt x="215" y="15"/>
                    </a:lnTo>
                    <a:lnTo>
                      <a:pt x="215" y="15"/>
                    </a:lnTo>
                    <a:lnTo>
                      <a:pt x="213" y="16"/>
                    </a:lnTo>
                    <a:lnTo>
                      <a:pt x="213" y="16"/>
                    </a:lnTo>
                    <a:lnTo>
                      <a:pt x="213" y="18"/>
                    </a:lnTo>
                    <a:lnTo>
                      <a:pt x="216" y="18"/>
                    </a:lnTo>
                    <a:lnTo>
                      <a:pt x="218" y="21"/>
                    </a:lnTo>
                    <a:lnTo>
                      <a:pt x="218" y="21"/>
                    </a:lnTo>
                    <a:lnTo>
                      <a:pt x="219" y="21"/>
                    </a:lnTo>
                    <a:lnTo>
                      <a:pt x="221" y="21"/>
                    </a:lnTo>
                    <a:lnTo>
                      <a:pt x="222" y="19"/>
                    </a:lnTo>
                    <a:lnTo>
                      <a:pt x="222" y="19"/>
                    </a:lnTo>
                    <a:lnTo>
                      <a:pt x="224" y="21"/>
                    </a:lnTo>
                    <a:lnTo>
                      <a:pt x="224" y="22"/>
                    </a:lnTo>
                    <a:lnTo>
                      <a:pt x="232" y="26"/>
                    </a:lnTo>
                    <a:lnTo>
                      <a:pt x="234" y="26"/>
                    </a:lnTo>
                    <a:lnTo>
                      <a:pt x="235" y="28"/>
                    </a:lnTo>
                    <a:lnTo>
                      <a:pt x="238" y="28"/>
                    </a:lnTo>
                    <a:lnTo>
                      <a:pt x="229" y="34"/>
                    </a:lnTo>
                    <a:lnTo>
                      <a:pt x="228" y="35"/>
                    </a:lnTo>
                    <a:lnTo>
                      <a:pt x="229" y="37"/>
                    </a:lnTo>
                    <a:lnTo>
                      <a:pt x="229" y="37"/>
                    </a:lnTo>
                    <a:lnTo>
                      <a:pt x="228" y="39"/>
                    </a:lnTo>
                    <a:lnTo>
                      <a:pt x="226" y="39"/>
                    </a:lnTo>
                    <a:lnTo>
                      <a:pt x="226" y="39"/>
                    </a:lnTo>
                    <a:lnTo>
                      <a:pt x="225" y="38"/>
                    </a:lnTo>
                    <a:lnTo>
                      <a:pt x="221" y="39"/>
                    </a:lnTo>
                    <a:lnTo>
                      <a:pt x="219" y="39"/>
                    </a:lnTo>
                    <a:lnTo>
                      <a:pt x="218" y="41"/>
                    </a:lnTo>
                    <a:lnTo>
                      <a:pt x="218" y="41"/>
                    </a:lnTo>
                    <a:lnTo>
                      <a:pt x="216" y="41"/>
                    </a:lnTo>
                    <a:lnTo>
                      <a:pt x="215" y="41"/>
                    </a:lnTo>
                    <a:lnTo>
                      <a:pt x="213" y="41"/>
                    </a:lnTo>
                    <a:lnTo>
                      <a:pt x="212" y="42"/>
                    </a:lnTo>
                    <a:lnTo>
                      <a:pt x="212" y="42"/>
                    </a:lnTo>
                    <a:lnTo>
                      <a:pt x="210" y="42"/>
                    </a:lnTo>
                    <a:lnTo>
                      <a:pt x="209" y="42"/>
                    </a:lnTo>
                    <a:lnTo>
                      <a:pt x="209" y="42"/>
                    </a:lnTo>
                    <a:lnTo>
                      <a:pt x="208" y="42"/>
                    </a:lnTo>
                    <a:lnTo>
                      <a:pt x="205" y="42"/>
                    </a:lnTo>
                    <a:lnTo>
                      <a:pt x="203" y="42"/>
                    </a:lnTo>
                    <a:lnTo>
                      <a:pt x="202" y="42"/>
                    </a:lnTo>
                    <a:lnTo>
                      <a:pt x="190" y="38"/>
                    </a:lnTo>
                    <a:lnTo>
                      <a:pt x="189" y="38"/>
                    </a:lnTo>
                    <a:lnTo>
                      <a:pt x="189" y="39"/>
                    </a:lnTo>
                    <a:lnTo>
                      <a:pt x="186" y="39"/>
                    </a:lnTo>
                    <a:lnTo>
                      <a:pt x="186" y="39"/>
                    </a:lnTo>
                    <a:lnTo>
                      <a:pt x="184" y="39"/>
                    </a:lnTo>
                    <a:lnTo>
                      <a:pt x="184" y="42"/>
                    </a:lnTo>
                    <a:lnTo>
                      <a:pt x="183" y="45"/>
                    </a:lnTo>
                    <a:lnTo>
                      <a:pt x="183" y="45"/>
                    </a:lnTo>
                    <a:lnTo>
                      <a:pt x="186" y="45"/>
                    </a:lnTo>
                    <a:lnTo>
                      <a:pt x="186" y="47"/>
                    </a:lnTo>
                    <a:lnTo>
                      <a:pt x="186" y="48"/>
                    </a:lnTo>
                    <a:lnTo>
                      <a:pt x="184" y="48"/>
                    </a:lnTo>
                    <a:lnTo>
                      <a:pt x="184" y="50"/>
                    </a:lnTo>
                    <a:lnTo>
                      <a:pt x="184" y="50"/>
                    </a:lnTo>
                    <a:lnTo>
                      <a:pt x="184" y="51"/>
                    </a:lnTo>
                    <a:lnTo>
                      <a:pt x="186" y="51"/>
                    </a:lnTo>
                    <a:lnTo>
                      <a:pt x="189" y="51"/>
                    </a:lnTo>
                    <a:lnTo>
                      <a:pt x="189" y="51"/>
                    </a:lnTo>
                    <a:lnTo>
                      <a:pt x="189" y="53"/>
                    </a:lnTo>
                    <a:lnTo>
                      <a:pt x="189" y="53"/>
                    </a:lnTo>
                    <a:lnTo>
                      <a:pt x="189" y="54"/>
                    </a:lnTo>
                    <a:lnTo>
                      <a:pt x="186" y="55"/>
                    </a:lnTo>
                    <a:lnTo>
                      <a:pt x="186" y="57"/>
                    </a:lnTo>
                    <a:lnTo>
                      <a:pt x="189" y="60"/>
                    </a:lnTo>
                    <a:lnTo>
                      <a:pt x="189" y="61"/>
                    </a:lnTo>
                    <a:lnTo>
                      <a:pt x="189" y="63"/>
                    </a:lnTo>
                    <a:lnTo>
                      <a:pt x="186" y="64"/>
                    </a:lnTo>
                    <a:lnTo>
                      <a:pt x="186" y="66"/>
                    </a:lnTo>
                    <a:lnTo>
                      <a:pt x="187" y="66"/>
                    </a:lnTo>
                    <a:lnTo>
                      <a:pt x="189" y="69"/>
                    </a:lnTo>
                    <a:lnTo>
                      <a:pt x="192" y="70"/>
                    </a:lnTo>
                    <a:lnTo>
                      <a:pt x="190" y="73"/>
                    </a:lnTo>
                    <a:lnTo>
                      <a:pt x="193" y="73"/>
                    </a:lnTo>
                    <a:lnTo>
                      <a:pt x="193" y="73"/>
                    </a:lnTo>
                    <a:lnTo>
                      <a:pt x="195" y="73"/>
                    </a:lnTo>
                    <a:lnTo>
                      <a:pt x="196" y="73"/>
                    </a:lnTo>
                    <a:lnTo>
                      <a:pt x="196" y="76"/>
                    </a:lnTo>
                    <a:lnTo>
                      <a:pt x="196" y="77"/>
                    </a:lnTo>
                    <a:lnTo>
                      <a:pt x="197" y="79"/>
                    </a:lnTo>
                    <a:lnTo>
                      <a:pt x="202" y="79"/>
                    </a:lnTo>
                    <a:lnTo>
                      <a:pt x="203" y="80"/>
                    </a:lnTo>
                    <a:lnTo>
                      <a:pt x="205" y="79"/>
                    </a:lnTo>
                    <a:lnTo>
                      <a:pt x="206" y="82"/>
                    </a:lnTo>
                    <a:lnTo>
                      <a:pt x="205" y="83"/>
                    </a:lnTo>
                    <a:lnTo>
                      <a:pt x="206" y="83"/>
                    </a:lnTo>
                    <a:lnTo>
                      <a:pt x="205" y="85"/>
                    </a:lnTo>
                    <a:lnTo>
                      <a:pt x="205" y="86"/>
                    </a:lnTo>
                    <a:lnTo>
                      <a:pt x="202" y="86"/>
                    </a:lnTo>
                    <a:lnTo>
                      <a:pt x="200" y="86"/>
                    </a:lnTo>
                    <a:lnTo>
                      <a:pt x="199" y="86"/>
                    </a:lnTo>
                    <a:lnTo>
                      <a:pt x="199" y="86"/>
                    </a:lnTo>
                    <a:lnTo>
                      <a:pt x="196" y="87"/>
                    </a:lnTo>
                    <a:lnTo>
                      <a:pt x="195" y="90"/>
                    </a:lnTo>
                    <a:lnTo>
                      <a:pt x="195" y="92"/>
                    </a:lnTo>
                    <a:lnTo>
                      <a:pt x="196" y="95"/>
                    </a:lnTo>
                    <a:lnTo>
                      <a:pt x="196" y="96"/>
                    </a:lnTo>
                    <a:lnTo>
                      <a:pt x="196" y="96"/>
                    </a:lnTo>
                    <a:lnTo>
                      <a:pt x="196" y="96"/>
                    </a:lnTo>
                    <a:lnTo>
                      <a:pt x="196" y="98"/>
                    </a:lnTo>
                    <a:lnTo>
                      <a:pt x="195" y="99"/>
                    </a:lnTo>
                    <a:lnTo>
                      <a:pt x="195" y="101"/>
                    </a:lnTo>
                    <a:lnTo>
                      <a:pt x="195" y="101"/>
                    </a:lnTo>
                    <a:lnTo>
                      <a:pt x="195" y="101"/>
                    </a:lnTo>
                    <a:lnTo>
                      <a:pt x="197" y="101"/>
                    </a:lnTo>
                    <a:lnTo>
                      <a:pt x="197" y="102"/>
                    </a:lnTo>
                    <a:lnTo>
                      <a:pt x="197" y="103"/>
                    </a:lnTo>
                    <a:lnTo>
                      <a:pt x="197" y="103"/>
                    </a:lnTo>
                    <a:lnTo>
                      <a:pt x="196" y="103"/>
                    </a:lnTo>
                    <a:lnTo>
                      <a:pt x="195" y="102"/>
                    </a:lnTo>
                    <a:lnTo>
                      <a:pt x="195" y="105"/>
                    </a:lnTo>
                    <a:lnTo>
                      <a:pt x="190" y="106"/>
                    </a:lnTo>
                    <a:lnTo>
                      <a:pt x="187" y="109"/>
                    </a:lnTo>
                    <a:lnTo>
                      <a:pt x="186" y="111"/>
                    </a:lnTo>
                    <a:lnTo>
                      <a:pt x="184" y="114"/>
                    </a:lnTo>
                    <a:lnTo>
                      <a:pt x="184" y="115"/>
                    </a:lnTo>
                    <a:lnTo>
                      <a:pt x="184" y="117"/>
                    </a:lnTo>
                    <a:lnTo>
                      <a:pt x="183" y="119"/>
                    </a:lnTo>
                    <a:lnTo>
                      <a:pt x="181" y="121"/>
                    </a:lnTo>
                    <a:lnTo>
                      <a:pt x="179" y="121"/>
                    </a:lnTo>
                    <a:lnTo>
                      <a:pt x="177" y="122"/>
                    </a:lnTo>
                    <a:lnTo>
                      <a:pt x="168" y="137"/>
                    </a:lnTo>
                    <a:lnTo>
                      <a:pt x="165" y="138"/>
                    </a:lnTo>
                    <a:lnTo>
                      <a:pt x="155" y="153"/>
                    </a:lnTo>
                    <a:lnTo>
                      <a:pt x="154" y="154"/>
                    </a:lnTo>
                    <a:lnTo>
                      <a:pt x="152" y="154"/>
                    </a:lnTo>
                    <a:lnTo>
                      <a:pt x="147" y="154"/>
                    </a:lnTo>
                    <a:lnTo>
                      <a:pt x="144" y="156"/>
                    </a:lnTo>
                    <a:lnTo>
                      <a:pt x="142" y="157"/>
                    </a:lnTo>
                    <a:lnTo>
                      <a:pt x="141" y="157"/>
                    </a:lnTo>
                    <a:lnTo>
                      <a:pt x="141" y="157"/>
                    </a:lnTo>
                    <a:lnTo>
                      <a:pt x="138" y="151"/>
                    </a:lnTo>
                    <a:lnTo>
                      <a:pt x="136" y="151"/>
                    </a:lnTo>
                    <a:lnTo>
                      <a:pt x="136" y="151"/>
                    </a:lnTo>
                    <a:lnTo>
                      <a:pt x="123" y="164"/>
                    </a:lnTo>
                    <a:lnTo>
                      <a:pt x="122" y="172"/>
                    </a:lnTo>
                    <a:lnTo>
                      <a:pt x="122" y="172"/>
                    </a:lnTo>
                    <a:lnTo>
                      <a:pt x="123" y="173"/>
                    </a:lnTo>
                    <a:lnTo>
                      <a:pt x="125" y="175"/>
                    </a:lnTo>
                    <a:lnTo>
                      <a:pt x="126" y="175"/>
                    </a:lnTo>
                    <a:lnTo>
                      <a:pt x="128" y="175"/>
                    </a:lnTo>
                    <a:lnTo>
                      <a:pt x="131" y="175"/>
                    </a:lnTo>
                    <a:lnTo>
                      <a:pt x="132" y="175"/>
                    </a:lnTo>
                    <a:lnTo>
                      <a:pt x="132" y="176"/>
                    </a:lnTo>
                    <a:lnTo>
                      <a:pt x="132" y="178"/>
                    </a:lnTo>
                    <a:lnTo>
                      <a:pt x="131" y="183"/>
                    </a:lnTo>
                    <a:lnTo>
                      <a:pt x="131" y="185"/>
                    </a:lnTo>
                    <a:lnTo>
                      <a:pt x="131" y="186"/>
                    </a:lnTo>
                    <a:lnTo>
                      <a:pt x="134" y="189"/>
                    </a:lnTo>
                    <a:lnTo>
                      <a:pt x="135" y="189"/>
                    </a:lnTo>
                    <a:lnTo>
                      <a:pt x="138" y="188"/>
                    </a:lnTo>
                    <a:lnTo>
                      <a:pt x="138" y="189"/>
                    </a:lnTo>
                    <a:lnTo>
                      <a:pt x="138" y="189"/>
                    </a:lnTo>
                    <a:lnTo>
                      <a:pt x="139" y="195"/>
                    </a:lnTo>
                    <a:lnTo>
                      <a:pt x="141" y="196"/>
                    </a:lnTo>
                    <a:lnTo>
                      <a:pt x="141" y="198"/>
                    </a:lnTo>
                    <a:lnTo>
                      <a:pt x="144" y="201"/>
                    </a:lnTo>
                    <a:lnTo>
                      <a:pt x="144" y="202"/>
                    </a:lnTo>
                    <a:lnTo>
                      <a:pt x="145" y="202"/>
                    </a:lnTo>
                    <a:lnTo>
                      <a:pt x="145" y="204"/>
                    </a:lnTo>
                    <a:lnTo>
                      <a:pt x="144" y="204"/>
                    </a:lnTo>
                    <a:lnTo>
                      <a:pt x="144" y="205"/>
                    </a:lnTo>
                    <a:lnTo>
                      <a:pt x="144" y="208"/>
                    </a:lnTo>
                    <a:lnTo>
                      <a:pt x="144" y="208"/>
                    </a:lnTo>
                    <a:lnTo>
                      <a:pt x="145" y="208"/>
                    </a:lnTo>
                    <a:lnTo>
                      <a:pt x="145" y="210"/>
                    </a:lnTo>
                    <a:lnTo>
                      <a:pt x="144" y="210"/>
                    </a:lnTo>
                    <a:lnTo>
                      <a:pt x="142" y="210"/>
                    </a:lnTo>
                    <a:lnTo>
                      <a:pt x="142" y="211"/>
                    </a:lnTo>
                    <a:lnTo>
                      <a:pt x="141" y="211"/>
                    </a:lnTo>
                    <a:lnTo>
                      <a:pt x="138" y="211"/>
                    </a:lnTo>
                    <a:lnTo>
                      <a:pt x="138" y="211"/>
                    </a:lnTo>
                    <a:lnTo>
                      <a:pt x="138" y="210"/>
                    </a:lnTo>
                    <a:lnTo>
                      <a:pt x="138" y="210"/>
                    </a:lnTo>
                    <a:lnTo>
                      <a:pt x="138" y="208"/>
                    </a:lnTo>
                    <a:lnTo>
                      <a:pt x="136" y="208"/>
                    </a:lnTo>
                    <a:lnTo>
                      <a:pt x="132" y="210"/>
                    </a:lnTo>
                    <a:lnTo>
                      <a:pt x="131" y="212"/>
                    </a:lnTo>
                    <a:lnTo>
                      <a:pt x="131" y="212"/>
                    </a:lnTo>
                    <a:lnTo>
                      <a:pt x="126" y="212"/>
                    </a:lnTo>
                    <a:lnTo>
                      <a:pt x="123" y="211"/>
                    </a:lnTo>
                    <a:lnTo>
                      <a:pt x="122" y="211"/>
                    </a:lnTo>
                    <a:lnTo>
                      <a:pt x="120" y="211"/>
                    </a:lnTo>
                    <a:lnTo>
                      <a:pt x="116" y="211"/>
                    </a:lnTo>
                    <a:lnTo>
                      <a:pt x="115" y="210"/>
                    </a:lnTo>
                    <a:lnTo>
                      <a:pt x="115" y="211"/>
                    </a:lnTo>
                    <a:lnTo>
                      <a:pt x="113" y="211"/>
                    </a:lnTo>
                    <a:lnTo>
                      <a:pt x="113" y="210"/>
                    </a:lnTo>
                    <a:lnTo>
                      <a:pt x="112" y="210"/>
                    </a:lnTo>
                    <a:lnTo>
                      <a:pt x="112" y="211"/>
                    </a:lnTo>
                    <a:lnTo>
                      <a:pt x="112" y="215"/>
                    </a:lnTo>
                    <a:lnTo>
                      <a:pt x="107" y="215"/>
                    </a:lnTo>
                    <a:lnTo>
                      <a:pt x="106" y="215"/>
                    </a:lnTo>
                    <a:lnTo>
                      <a:pt x="104" y="215"/>
                    </a:lnTo>
                    <a:lnTo>
                      <a:pt x="104" y="217"/>
                    </a:lnTo>
                    <a:lnTo>
                      <a:pt x="103" y="217"/>
                    </a:lnTo>
                    <a:lnTo>
                      <a:pt x="103" y="218"/>
                    </a:lnTo>
                    <a:lnTo>
                      <a:pt x="102" y="218"/>
                    </a:lnTo>
                    <a:lnTo>
                      <a:pt x="100" y="218"/>
                    </a:lnTo>
                    <a:lnTo>
                      <a:pt x="97" y="218"/>
                    </a:lnTo>
                    <a:lnTo>
                      <a:pt x="94" y="217"/>
                    </a:lnTo>
                    <a:lnTo>
                      <a:pt x="94" y="217"/>
                    </a:lnTo>
                    <a:lnTo>
                      <a:pt x="93" y="215"/>
                    </a:lnTo>
                    <a:lnTo>
                      <a:pt x="91" y="212"/>
                    </a:lnTo>
                    <a:lnTo>
                      <a:pt x="89" y="205"/>
                    </a:lnTo>
                    <a:lnTo>
                      <a:pt x="89" y="204"/>
                    </a:lnTo>
                    <a:lnTo>
                      <a:pt x="87" y="204"/>
                    </a:lnTo>
                    <a:lnTo>
                      <a:pt x="83" y="202"/>
                    </a:lnTo>
                    <a:lnTo>
                      <a:pt x="83" y="196"/>
                    </a:lnTo>
                    <a:lnTo>
                      <a:pt x="81" y="195"/>
                    </a:lnTo>
                    <a:lnTo>
                      <a:pt x="77" y="194"/>
                    </a:lnTo>
                    <a:lnTo>
                      <a:pt x="64" y="194"/>
                    </a:lnTo>
                    <a:lnTo>
                      <a:pt x="61" y="195"/>
                    </a:lnTo>
                    <a:lnTo>
                      <a:pt x="54" y="194"/>
                    </a:lnTo>
                    <a:lnTo>
                      <a:pt x="52" y="196"/>
                    </a:lnTo>
                    <a:lnTo>
                      <a:pt x="51" y="195"/>
                    </a:lnTo>
                    <a:lnTo>
                      <a:pt x="48" y="195"/>
                    </a:lnTo>
                    <a:lnTo>
                      <a:pt x="45" y="194"/>
                    </a:lnTo>
                    <a:lnTo>
                      <a:pt x="42" y="194"/>
                    </a:lnTo>
                    <a:lnTo>
                      <a:pt x="39" y="194"/>
                    </a:lnTo>
                    <a:lnTo>
                      <a:pt x="36" y="195"/>
                    </a:lnTo>
                    <a:lnTo>
                      <a:pt x="23" y="195"/>
                    </a:lnTo>
                    <a:lnTo>
                      <a:pt x="19" y="198"/>
                    </a:lnTo>
                    <a:lnTo>
                      <a:pt x="17" y="196"/>
                    </a:lnTo>
                    <a:lnTo>
                      <a:pt x="14" y="198"/>
                    </a:lnTo>
                    <a:lnTo>
                      <a:pt x="13" y="198"/>
                    </a:lnTo>
                    <a:lnTo>
                      <a:pt x="12" y="199"/>
                    </a:lnTo>
                    <a:lnTo>
                      <a:pt x="12" y="198"/>
                    </a:lnTo>
                    <a:lnTo>
                      <a:pt x="10" y="196"/>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77" name="Freeform 694"/>
              <p:cNvSpPr>
                <a:spLocks/>
              </p:cNvSpPr>
              <p:nvPr/>
            </p:nvSpPr>
            <p:spPr bwMode="auto">
              <a:xfrm>
                <a:off x="6913379" y="2686429"/>
                <a:ext cx="218572" cy="227165"/>
              </a:xfrm>
              <a:custGeom>
                <a:avLst/>
                <a:gdLst/>
                <a:ahLst/>
                <a:cxnLst>
                  <a:cxn ang="0">
                    <a:pos x="35" y="169"/>
                  </a:cxn>
                  <a:cxn ang="0">
                    <a:pos x="13" y="143"/>
                  </a:cxn>
                  <a:cxn ang="0">
                    <a:pos x="22" y="130"/>
                  </a:cxn>
                  <a:cxn ang="0">
                    <a:pos x="46" y="127"/>
                  </a:cxn>
                  <a:cxn ang="0">
                    <a:pos x="78" y="119"/>
                  </a:cxn>
                  <a:cxn ang="0">
                    <a:pos x="80" y="103"/>
                  </a:cxn>
                  <a:cxn ang="0">
                    <a:pos x="97" y="98"/>
                  </a:cxn>
                  <a:cxn ang="0">
                    <a:pos x="100" y="92"/>
                  </a:cxn>
                  <a:cxn ang="0">
                    <a:pos x="107" y="90"/>
                  </a:cxn>
                  <a:cxn ang="0">
                    <a:pos x="113" y="93"/>
                  </a:cxn>
                  <a:cxn ang="0">
                    <a:pos x="120" y="76"/>
                  </a:cxn>
                  <a:cxn ang="0">
                    <a:pos x="123" y="69"/>
                  </a:cxn>
                  <a:cxn ang="0">
                    <a:pos x="134" y="61"/>
                  </a:cxn>
                  <a:cxn ang="0">
                    <a:pos x="139" y="53"/>
                  </a:cxn>
                  <a:cxn ang="0">
                    <a:pos x="144" y="45"/>
                  </a:cxn>
                  <a:cxn ang="0">
                    <a:pos x="152" y="31"/>
                  </a:cxn>
                  <a:cxn ang="0">
                    <a:pos x="147" y="18"/>
                  </a:cxn>
                  <a:cxn ang="0">
                    <a:pos x="152" y="10"/>
                  </a:cxn>
                  <a:cxn ang="0">
                    <a:pos x="160" y="8"/>
                  </a:cxn>
                  <a:cxn ang="0">
                    <a:pos x="167" y="3"/>
                  </a:cxn>
                  <a:cxn ang="0">
                    <a:pos x="184" y="2"/>
                  </a:cxn>
                  <a:cxn ang="0">
                    <a:pos x="196" y="2"/>
                  </a:cxn>
                  <a:cxn ang="0">
                    <a:pos x="205" y="2"/>
                  </a:cxn>
                  <a:cxn ang="0">
                    <a:pos x="209" y="5"/>
                  </a:cxn>
                  <a:cxn ang="0">
                    <a:pos x="215" y="15"/>
                  </a:cxn>
                  <a:cxn ang="0">
                    <a:pos x="218" y="21"/>
                  </a:cxn>
                  <a:cxn ang="0">
                    <a:pos x="224" y="22"/>
                  </a:cxn>
                  <a:cxn ang="0">
                    <a:pos x="228" y="35"/>
                  </a:cxn>
                  <a:cxn ang="0">
                    <a:pos x="225" y="38"/>
                  </a:cxn>
                  <a:cxn ang="0">
                    <a:pos x="215" y="41"/>
                  </a:cxn>
                  <a:cxn ang="0">
                    <a:pos x="209" y="42"/>
                  </a:cxn>
                  <a:cxn ang="0">
                    <a:pos x="189" y="38"/>
                  </a:cxn>
                  <a:cxn ang="0">
                    <a:pos x="183" y="45"/>
                  </a:cxn>
                  <a:cxn ang="0">
                    <a:pos x="184" y="50"/>
                  </a:cxn>
                  <a:cxn ang="0">
                    <a:pos x="189" y="53"/>
                  </a:cxn>
                  <a:cxn ang="0">
                    <a:pos x="189" y="61"/>
                  </a:cxn>
                  <a:cxn ang="0">
                    <a:pos x="192" y="70"/>
                  </a:cxn>
                  <a:cxn ang="0">
                    <a:pos x="196" y="76"/>
                  </a:cxn>
                  <a:cxn ang="0">
                    <a:pos x="206" y="82"/>
                  </a:cxn>
                  <a:cxn ang="0">
                    <a:pos x="200" y="86"/>
                  </a:cxn>
                  <a:cxn ang="0">
                    <a:pos x="196" y="95"/>
                  </a:cxn>
                  <a:cxn ang="0">
                    <a:pos x="195" y="101"/>
                  </a:cxn>
                  <a:cxn ang="0">
                    <a:pos x="197" y="103"/>
                  </a:cxn>
                  <a:cxn ang="0">
                    <a:pos x="186" y="111"/>
                  </a:cxn>
                  <a:cxn ang="0">
                    <a:pos x="179" y="121"/>
                  </a:cxn>
                  <a:cxn ang="0">
                    <a:pos x="152" y="154"/>
                  </a:cxn>
                  <a:cxn ang="0">
                    <a:pos x="138" y="151"/>
                  </a:cxn>
                  <a:cxn ang="0">
                    <a:pos x="123" y="173"/>
                  </a:cxn>
                  <a:cxn ang="0">
                    <a:pos x="132" y="176"/>
                  </a:cxn>
                  <a:cxn ang="0">
                    <a:pos x="135" y="189"/>
                  </a:cxn>
                  <a:cxn ang="0">
                    <a:pos x="141" y="198"/>
                  </a:cxn>
                  <a:cxn ang="0">
                    <a:pos x="144" y="205"/>
                  </a:cxn>
                  <a:cxn ang="0">
                    <a:pos x="142" y="210"/>
                  </a:cxn>
                  <a:cxn ang="0">
                    <a:pos x="138" y="210"/>
                  </a:cxn>
                  <a:cxn ang="0">
                    <a:pos x="126" y="212"/>
                  </a:cxn>
                  <a:cxn ang="0">
                    <a:pos x="115" y="211"/>
                  </a:cxn>
                  <a:cxn ang="0">
                    <a:pos x="107" y="215"/>
                  </a:cxn>
                  <a:cxn ang="0">
                    <a:pos x="102" y="218"/>
                  </a:cxn>
                  <a:cxn ang="0">
                    <a:pos x="91" y="212"/>
                  </a:cxn>
                  <a:cxn ang="0">
                    <a:pos x="81" y="195"/>
                  </a:cxn>
                  <a:cxn ang="0">
                    <a:pos x="51" y="195"/>
                  </a:cxn>
                  <a:cxn ang="0">
                    <a:pos x="23" y="195"/>
                  </a:cxn>
                  <a:cxn ang="0">
                    <a:pos x="12" y="198"/>
                  </a:cxn>
                </a:cxnLst>
                <a:rect l="0" t="0" r="r" b="b"/>
                <a:pathLst>
                  <a:path w="238" h="218">
                    <a:moveTo>
                      <a:pt x="10" y="196"/>
                    </a:moveTo>
                    <a:lnTo>
                      <a:pt x="13" y="182"/>
                    </a:lnTo>
                    <a:lnTo>
                      <a:pt x="19" y="176"/>
                    </a:lnTo>
                    <a:lnTo>
                      <a:pt x="30" y="173"/>
                    </a:lnTo>
                    <a:lnTo>
                      <a:pt x="33" y="170"/>
                    </a:lnTo>
                    <a:lnTo>
                      <a:pt x="35" y="169"/>
                    </a:lnTo>
                    <a:lnTo>
                      <a:pt x="33" y="166"/>
                    </a:lnTo>
                    <a:lnTo>
                      <a:pt x="32" y="164"/>
                    </a:lnTo>
                    <a:lnTo>
                      <a:pt x="28" y="163"/>
                    </a:lnTo>
                    <a:lnTo>
                      <a:pt x="26" y="148"/>
                    </a:lnTo>
                    <a:lnTo>
                      <a:pt x="25" y="147"/>
                    </a:lnTo>
                    <a:lnTo>
                      <a:pt x="13" y="143"/>
                    </a:lnTo>
                    <a:lnTo>
                      <a:pt x="10" y="140"/>
                    </a:lnTo>
                    <a:lnTo>
                      <a:pt x="4" y="130"/>
                    </a:lnTo>
                    <a:lnTo>
                      <a:pt x="0" y="124"/>
                    </a:lnTo>
                    <a:lnTo>
                      <a:pt x="0" y="122"/>
                    </a:lnTo>
                    <a:lnTo>
                      <a:pt x="0" y="122"/>
                    </a:lnTo>
                    <a:lnTo>
                      <a:pt x="22" y="130"/>
                    </a:lnTo>
                    <a:lnTo>
                      <a:pt x="23" y="130"/>
                    </a:lnTo>
                    <a:lnTo>
                      <a:pt x="25" y="128"/>
                    </a:lnTo>
                    <a:lnTo>
                      <a:pt x="41" y="127"/>
                    </a:lnTo>
                    <a:lnTo>
                      <a:pt x="45" y="130"/>
                    </a:lnTo>
                    <a:lnTo>
                      <a:pt x="46" y="128"/>
                    </a:lnTo>
                    <a:lnTo>
                      <a:pt x="46" y="127"/>
                    </a:lnTo>
                    <a:lnTo>
                      <a:pt x="48" y="127"/>
                    </a:lnTo>
                    <a:lnTo>
                      <a:pt x="49" y="127"/>
                    </a:lnTo>
                    <a:lnTo>
                      <a:pt x="59" y="127"/>
                    </a:lnTo>
                    <a:lnTo>
                      <a:pt x="75" y="122"/>
                    </a:lnTo>
                    <a:lnTo>
                      <a:pt x="77" y="121"/>
                    </a:lnTo>
                    <a:lnTo>
                      <a:pt x="78" y="119"/>
                    </a:lnTo>
                    <a:lnTo>
                      <a:pt x="77" y="118"/>
                    </a:lnTo>
                    <a:lnTo>
                      <a:pt x="77" y="117"/>
                    </a:lnTo>
                    <a:lnTo>
                      <a:pt x="78" y="112"/>
                    </a:lnTo>
                    <a:lnTo>
                      <a:pt x="77" y="109"/>
                    </a:lnTo>
                    <a:lnTo>
                      <a:pt x="78" y="105"/>
                    </a:lnTo>
                    <a:lnTo>
                      <a:pt x="80" y="103"/>
                    </a:lnTo>
                    <a:lnTo>
                      <a:pt x="83" y="101"/>
                    </a:lnTo>
                    <a:lnTo>
                      <a:pt x="84" y="99"/>
                    </a:lnTo>
                    <a:lnTo>
                      <a:pt x="86" y="98"/>
                    </a:lnTo>
                    <a:lnTo>
                      <a:pt x="87" y="98"/>
                    </a:lnTo>
                    <a:lnTo>
                      <a:pt x="87" y="99"/>
                    </a:lnTo>
                    <a:lnTo>
                      <a:pt x="97" y="98"/>
                    </a:lnTo>
                    <a:lnTo>
                      <a:pt x="97" y="98"/>
                    </a:lnTo>
                    <a:lnTo>
                      <a:pt x="97" y="96"/>
                    </a:lnTo>
                    <a:lnTo>
                      <a:pt x="96" y="96"/>
                    </a:lnTo>
                    <a:lnTo>
                      <a:pt x="96" y="95"/>
                    </a:lnTo>
                    <a:lnTo>
                      <a:pt x="97" y="95"/>
                    </a:lnTo>
                    <a:lnTo>
                      <a:pt x="100" y="92"/>
                    </a:lnTo>
                    <a:lnTo>
                      <a:pt x="102" y="90"/>
                    </a:lnTo>
                    <a:lnTo>
                      <a:pt x="103" y="90"/>
                    </a:lnTo>
                    <a:lnTo>
                      <a:pt x="104" y="90"/>
                    </a:lnTo>
                    <a:lnTo>
                      <a:pt x="109" y="92"/>
                    </a:lnTo>
                    <a:lnTo>
                      <a:pt x="109" y="90"/>
                    </a:lnTo>
                    <a:lnTo>
                      <a:pt x="107" y="90"/>
                    </a:lnTo>
                    <a:lnTo>
                      <a:pt x="109" y="89"/>
                    </a:lnTo>
                    <a:lnTo>
                      <a:pt x="109" y="89"/>
                    </a:lnTo>
                    <a:lnTo>
                      <a:pt x="112" y="90"/>
                    </a:lnTo>
                    <a:lnTo>
                      <a:pt x="112" y="92"/>
                    </a:lnTo>
                    <a:lnTo>
                      <a:pt x="112" y="93"/>
                    </a:lnTo>
                    <a:lnTo>
                      <a:pt x="113" y="93"/>
                    </a:lnTo>
                    <a:lnTo>
                      <a:pt x="115" y="93"/>
                    </a:lnTo>
                    <a:lnTo>
                      <a:pt x="119" y="87"/>
                    </a:lnTo>
                    <a:lnTo>
                      <a:pt x="119" y="87"/>
                    </a:lnTo>
                    <a:lnTo>
                      <a:pt x="119" y="80"/>
                    </a:lnTo>
                    <a:lnTo>
                      <a:pt x="119" y="79"/>
                    </a:lnTo>
                    <a:lnTo>
                      <a:pt x="120" y="76"/>
                    </a:lnTo>
                    <a:lnTo>
                      <a:pt x="120" y="76"/>
                    </a:lnTo>
                    <a:lnTo>
                      <a:pt x="122" y="74"/>
                    </a:lnTo>
                    <a:lnTo>
                      <a:pt x="120" y="73"/>
                    </a:lnTo>
                    <a:lnTo>
                      <a:pt x="122" y="71"/>
                    </a:lnTo>
                    <a:lnTo>
                      <a:pt x="123" y="71"/>
                    </a:lnTo>
                    <a:lnTo>
                      <a:pt x="123" y="69"/>
                    </a:lnTo>
                    <a:lnTo>
                      <a:pt x="126" y="67"/>
                    </a:lnTo>
                    <a:lnTo>
                      <a:pt x="129" y="67"/>
                    </a:lnTo>
                    <a:lnTo>
                      <a:pt x="132" y="64"/>
                    </a:lnTo>
                    <a:lnTo>
                      <a:pt x="134" y="63"/>
                    </a:lnTo>
                    <a:lnTo>
                      <a:pt x="134" y="63"/>
                    </a:lnTo>
                    <a:lnTo>
                      <a:pt x="134" y="61"/>
                    </a:lnTo>
                    <a:lnTo>
                      <a:pt x="132" y="57"/>
                    </a:lnTo>
                    <a:lnTo>
                      <a:pt x="131" y="57"/>
                    </a:lnTo>
                    <a:lnTo>
                      <a:pt x="129" y="54"/>
                    </a:lnTo>
                    <a:lnTo>
                      <a:pt x="129" y="53"/>
                    </a:lnTo>
                    <a:lnTo>
                      <a:pt x="131" y="51"/>
                    </a:lnTo>
                    <a:lnTo>
                      <a:pt x="139" y="53"/>
                    </a:lnTo>
                    <a:lnTo>
                      <a:pt x="144" y="51"/>
                    </a:lnTo>
                    <a:lnTo>
                      <a:pt x="145" y="50"/>
                    </a:lnTo>
                    <a:lnTo>
                      <a:pt x="145" y="47"/>
                    </a:lnTo>
                    <a:lnTo>
                      <a:pt x="147" y="47"/>
                    </a:lnTo>
                    <a:lnTo>
                      <a:pt x="145" y="45"/>
                    </a:lnTo>
                    <a:lnTo>
                      <a:pt x="144" y="45"/>
                    </a:lnTo>
                    <a:lnTo>
                      <a:pt x="144" y="44"/>
                    </a:lnTo>
                    <a:lnTo>
                      <a:pt x="145" y="42"/>
                    </a:lnTo>
                    <a:lnTo>
                      <a:pt x="147" y="41"/>
                    </a:lnTo>
                    <a:lnTo>
                      <a:pt x="151" y="35"/>
                    </a:lnTo>
                    <a:lnTo>
                      <a:pt x="152" y="34"/>
                    </a:lnTo>
                    <a:lnTo>
                      <a:pt x="152" y="31"/>
                    </a:lnTo>
                    <a:lnTo>
                      <a:pt x="152" y="31"/>
                    </a:lnTo>
                    <a:lnTo>
                      <a:pt x="152" y="29"/>
                    </a:lnTo>
                    <a:lnTo>
                      <a:pt x="154" y="28"/>
                    </a:lnTo>
                    <a:lnTo>
                      <a:pt x="154" y="26"/>
                    </a:lnTo>
                    <a:lnTo>
                      <a:pt x="151" y="21"/>
                    </a:lnTo>
                    <a:lnTo>
                      <a:pt x="147" y="18"/>
                    </a:lnTo>
                    <a:lnTo>
                      <a:pt x="147" y="18"/>
                    </a:lnTo>
                    <a:lnTo>
                      <a:pt x="147" y="16"/>
                    </a:lnTo>
                    <a:lnTo>
                      <a:pt x="148" y="15"/>
                    </a:lnTo>
                    <a:lnTo>
                      <a:pt x="152" y="12"/>
                    </a:lnTo>
                    <a:lnTo>
                      <a:pt x="152" y="10"/>
                    </a:lnTo>
                    <a:lnTo>
                      <a:pt x="152" y="10"/>
                    </a:lnTo>
                    <a:lnTo>
                      <a:pt x="154" y="10"/>
                    </a:lnTo>
                    <a:lnTo>
                      <a:pt x="155" y="10"/>
                    </a:lnTo>
                    <a:lnTo>
                      <a:pt x="157" y="10"/>
                    </a:lnTo>
                    <a:lnTo>
                      <a:pt x="157" y="9"/>
                    </a:lnTo>
                    <a:lnTo>
                      <a:pt x="157" y="9"/>
                    </a:lnTo>
                    <a:lnTo>
                      <a:pt x="160" y="8"/>
                    </a:lnTo>
                    <a:lnTo>
                      <a:pt x="160" y="8"/>
                    </a:lnTo>
                    <a:lnTo>
                      <a:pt x="160" y="6"/>
                    </a:lnTo>
                    <a:lnTo>
                      <a:pt x="161" y="6"/>
                    </a:lnTo>
                    <a:lnTo>
                      <a:pt x="163" y="5"/>
                    </a:lnTo>
                    <a:lnTo>
                      <a:pt x="164" y="5"/>
                    </a:lnTo>
                    <a:lnTo>
                      <a:pt x="167" y="3"/>
                    </a:lnTo>
                    <a:lnTo>
                      <a:pt x="168" y="3"/>
                    </a:lnTo>
                    <a:lnTo>
                      <a:pt x="171" y="2"/>
                    </a:lnTo>
                    <a:lnTo>
                      <a:pt x="173" y="2"/>
                    </a:lnTo>
                    <a:lnTo>
                      <a:pt x="181" y="2"/>
                    </a:lnTo>
                    <a:lnTo>
                      <a:pt x="181" y="2"/>
                    </a:lnTo>
                    <a:lnTo>
                      <a:pt x="184" y="2"/>
                    </a:lnTo>
                    <a:lnTo>
                      <a:pt x="187" y="3"/>
                    </a:lnTo>
                    <a:lnTo>
                      <a:pt x="189" y="3"/>
                    </a:lnTo>
                    <a:lnTo>
                      <a:pt x="190" y="2"/>
                    </a:lnTo>
                    <a:lnTo>
                      <a:pt x="192" y="2"/>
                    </a:lnTo>
                    <a:lnTo>
                      <a:pt x="193" y="0"/>
                    </a:lnTo>
                    <a:lnTo>
                      <a:pt x="196" y="2"/>
                    </a:lnTo>
                    <a:lnTo>
                      <a:pt x="196" y="0"/>
                    </a:lnTo>
                    <a:lnTo>
                      <a:pt x="196" y="0"/>
                    </a:lnTo>
                    <a:lnTo>
                      <a:pt x="197" y="2"/>
                    </a:lnTo>
                    <a:lnTo>
                      <a:pt x="202" y="0"/>
                    </a:lnTo>
                    <a:lnTo>
                      <a:pt x="203" y="0"/>
                    </a:lnTo>
                    <a:lnTo>
                      <a:pt x="205" y="2"/>
                    </a:lnTo>
                    <a:lnTo>
                      <a:pt x="206" y="2"/>
                    </a:lnTo>
                    <a:lnTo>
                      <a:pt x="206" y="2"/>
                    </a:lnTo>
                    <a:lnTo>
                      <a:pt x="206" y="5"/>
                    </a:lnTo>
                    <a:lnTo>
                      <a:pt x="206" y="6"/>
                    </a:lnTo>
                    <a:lnTo>
                      <a:pt x="209" y="5"/>
                    </a:lnTo>
                    <a:lnTo>
                      <a:pt x="209" y="5"/>
                    </a:lnTo>
                    <a:lnTo>
                      <a:pt x="213" y="8"/>
                    </a:lnTo>
                    <a:lnTo>
                      <a:pt x="215" y="9"/>
                    </a:lnTo>
                    <a:lnTo>
                      <a:pt x="215" y="13"/>
                    </a:lnTo>
                    <a:lnTo>
                      <a:pt x="215" y="13"/>
                    </a:lnTo>
                    <a:lnTo>
                      <a:pt x="215" y="15"/>
                    </a:lnTo>
                    <a:lnTo>
                      <a:pt x="215" y="15"/>
                    </a:lnTo>
                    <a:lnTo>
                      <a:pt x="213" y="16"/>
                    </a:lnTo>
                    <a:lnTo>
                      <a:pt x="213" y="16"/>
                    </a:lnTo>
                    <a:lnTo>
                      <a:pt x="213" y="18"/>
                    </a:lnTo>
                    <a:lnTo>
                      <a:pt x="216" y="18"/>
                    </a:lnTo>
                    <a:lnTo>
                      <a:pt x="218" y="21"/>
                    </a:lnTo>
                    <a:lnTo>
                      <a:pt x="218" y="21"/>
                    </a:lnTo>
                    <a:lnTo>
                      <a:pt x="219" y="21"/>
                    </a:lnTo>
                    <a:lnTo>
                      <a:pt x="221" y="21"/>
                    </a:lnTo>
                    <a:lnTo>
                      <a:pt x="222" y="19"/>
                    </a:lnTo>
                    <a:lnTo>
                      <a:pt x="222" y="19"/>
                    </a:lnTo>
                    <a:lnTo>
                      <a:pt x="224" y="21"/>
                    </a:lnTo>
                    <a:lnTo>
                      <a:pt x="224" y="22"/>
                    </a:lnTo>
                    <a:lnTo>
                      <a:pt x="232" y="26"/>
                    </a:lnTo>
                    <a:lnTo>
                      <a:pt x="234" y="26"/>
                    </a:lnTo>
                    <a:lnTo>
                      <a:pt x="235" y="28"/>
                    </a:lnTo>
                    <a:lnTo>
                      <a:pt x="238" y="28"/>
                    </a:lnTo>
                    <a:lnTo>
                      <a:pt x="229" y="34"/>
                    </a:lnTo>
                    <a:lnTo>
                      <a:pt x="228" y="35"/>
                    </a:lnTo>
                    <a:lnTo>
                      <a:pt x="229" y="37"/>
                    </a:lnTo>
                    <a:lnTo>
                      <a:pt x="229" y="37"/>
                    </a:lnTo>
                    <a:lnTo>
                      <a:pt x="228" y="39"/>
                    </a:lnTo>
                    <a:lnTo>
                      <a:pt x="226" y="39"/>
                    </a:lnTo>
                    <a:lnTo>
                      <a:pt x="226" y="39"/>
                    </a:lnTo>
                    <a:lnTo>
                      <a:pt x="225" y="38"/>
                    </a:lnTo>
                    <a:lnTo>
                      <a:pt x="221" y="39"/>
                    </a:lnTo>
                    <a:lnTo>
                      <a:pt x="219" y="39"/>
                    </a:lnTo>
                    <a:lnTo>
                      <a:pt x="218" y="41"/>
                    </a:lnTo>
                    <a:lnTo>
                      <a:pt x="218" y="41"/>
                    </a:lnTo>
                    <a:lnTo>
                      <a:pt x="216" y="41"/>
                    </a:lnTo>
                    <a:lnTo>
                      <a:pt x="215" y="41"/>
                    </a:lnTo>
                    <a:lnTo>
                      <a:pt x="213" y="41"/>
                    </a:lnTo>
                    <a:lnTo>
                      <a:pt x="212" y="42"/>
                    </a:lnTo>
                    <a:lnTo>
                      <a:pt x="212" y="42"/>
                    </a:lnTo>
                    <a:lnTo>
                      <a:pt x="210" y="42"/>
                    </a:lnTo>
                    <a:lnTo>
                      <a:pt x="209" y="42"/>
                    </a:lnTo>
                    <a:lnTo>
                      <a:pt x="209" y="42"/>
                    </a:lnTo>
                    <a:lnTo>
                      <a:pt x="208" y="42"/>
                    </a:lnTo>
                    <a:lnTo>
                      <a:pt x="205" y="42"/>
                    </a:lnTo>
                    <a:lnTo>
                      <a:pt x="203" y="42"/>
                    </a:lnTo>
                    <a:lnTo>
                      <a:pt x="202" y="42"/>
                    </a:lnTo>
                    <a:lnTo>
                      <a:pt x="190" y="38"/>
                    </a:lnTo>
                    <a:lnTo>
                      <a:pt x="189" y="38"/>
                    </a:lnTo>
                    <a:lnTo>
                      <a:pt x="189" y="39"/>
                    </a:lnTo>
                    <a:lnTo>
                      <a:pt x="186" y="39"/>
                    </a:lnTo>
                    <a:lnTo>
                      <a:pt x="186" y="39"/>
                    </a:lnTo>
                    <a:lnTo>
                      <a:pt x="184" y="39"/>
                    </a:lnTo>
                    <a:lnTo>
                      <a:pt x="184" y="42"/>
                    </a:lnTo>
                    <a:lnTo>
                      <a:pt x="183" y="45"/>
                    </a:lnTo>
                    <a:lnTo>
                      <a:pt x="183" y="45"/>
                    </a:lnTo>
                    <a:lnTo>
                      <a:pt x="186" y="45"/>
                    </a:lnTo>
                    <a:lnTo>
                      <a:pt x="186" y="47"/>
                    </a:lnTo>
                    <a:lnTo>
                      <a:pt x="186" y="48"/>
                    </a:lnTo>
                    <a:lnTo>
                      <a:pt x="184" y="48"/>
                    </a:lnTo>
                    <a:lnTo>
                      <a:pt x="184" y="50"/>
                    </a:lnTo>
                    <a:lnTo>
                      <a:pt x="184" y="50"/>
                    </a:lnTo>
                    <a:lnTo>
                      <a:pt x="184" y="51"/>
                    </a:lnTo>
                    <a:lnTo>
                      <a:pt x="186" y="51"/>
                    </a:lnTo>
                    <a:lnTo>
                      <a:pt x="189" y="51"/>
                    </a:lnTo>
                    <a:lnTo>
                      <a:pt x="189" y="51"/>
                    </a:lnTo>
                    <a:lnTo>
                      <a:pt x="189" y="53"/>
                    </a:lnTo>
                    <a:lnTo>
                      <a:pt x="189" y="53"/>
                    </a:lnTo>
                    <a:lnTo>
                      <a:pt x="189" y="54"/>
                    </a:lnTo>
                    <a:lnTo>
                      <a:pt x="186" y="55"/>
                    </a:lnTo>
                    <a:lnTo>
                      <a:pt x="186" y="57"/>
                    </a:lnTo>
                    <a:lnTo>
                      <a:pt x="189" y="60"/>
                    </a:lnTo>
                    <a:lnTo>
                      <a:pt x="189" y="61"/>
                    </a:lnTo>
                    <a:lnTo>
                      <a:pt x="189" y="63"/>
                    </a:lnTo>
                    <a:lnTo>
                      <a:pt x="186" y="64"/>
                    </a:lnTo>
                    <a:lnTo>
                      <a:pt x="186" y="66"/>
                    </a:lnTo>
                    <a:lnTo>
                      <a:pt x="187" y="66"/>
                    </a:lnTo>
                    <a:lnTo>
                      <a:pt x="189" y="69"/>
                    </a:lnTo>
                    <a:lnTo>
                      <a:pt x="192" y="70"/>
                    </a:lnTo>
                    <a:lnTo>
                      <a:pt x="190" y="73"/>
                    </a:lnTo>
                    <a:lnTo>
                      <a:pt x="193" y="73"/>
                    </a:lnTo>
                    <a:lnTo>
                      <a:pt x="193" y="73"/>
                    </a:lnTo>
                    <a:lnTo>
                      <a:pt x="195" y="73"/>
                    </a:lnTo>
                    <a:lnTo>
                      <a:pt x="196" y="73"/>
                    </a:lnTo>
                    <a:lnTo>
                      <a:pt x="196" y="76"/>
                    </a:lnTo>
                    <a:lnTo>
                      <a:pt x="196" y="77"/>
                    </a:lnTo>
                    <a:lnTo>
                      <a:pt x="197" y="79"/>
                    </a:lnTo>
                    <a:lnTo>
                      <a:pt x="202" y="79"/>
                    </a:lnTo>
                    <a:lnTo>
                      <a:pt x="203" y="80"/>
                    </a:lnTo>
                    <a:lnTo>
                      <a:pt x="205" y="79"/>
                    </a:lnTo>
                    <a:lnTo>
                      <a:pt x="206" y="82"/>
                    </a:lnTo>
                    <a:lnTo>
                      <a:pt x="205" y="83"/>
                    </a:lnTo>
                    <a:lnTo>
                      <a:pt x="206" y="83"/>
                    </a:lnTo>
                    <a:lnTo>
                      <a:pt x="205" y="85"/>
                    </a:lnTo>
                    <a:lnTo>
                      <a:pt x="205" y="86"/>
                    </a:lnTo>
                    <a:lnTo>
                      <a:pt x="202" y="86"/>
                    </a:lnTo>
                    <a:lnTo>
                      <a:pt x="200" y="86"/>
                    </a:lnTo>
                    <a:lnTo>
                      <a:pt x="199" y="86"/>
                    </a:lnTo>
                    <a:lnTo>
                      <a:pt x="199" y="86"/>
                    </a:lnTo>
                    <a:lnTo>
                      <a:pt x="196" y="87"/>
                    </a:lnTo>
                    <a:lnTo>
                      <a:pt x="195" y="90"/>
                    </a:lnTo>
                    <a:lnTo>
                      <a:pt x="195" y="92"/>
                    </a:lnTo>
                    <a:lnTo>
                      <a:pt x="196" y="95"/>
                    </a:lnTo>
                    <a:lnTo>
                      <a:pt x="196" y="96"/>
                    </a:lnTo>
                    <a:lnTo>
                      <a:pt x="196" y="96"/>
                    </a:lnTo>
                    <a:lnTo>
                      <a:pt x="196" y="96"/>
                    </a:lnTo>
                    <a:lnTo>
                      <a:pt x="196" y="98"/>
                    </a:lnTo>
                    <a:lnTo>
                      <a:pt x="195" y="99"/>
                    </a:lnTo>
                    <a:lnTo>
                      <a:pt x="195" y="101"/>
                    </a:lnTo>
                    <a:lnTo>
                      <a:pt x="195" y="101"/>
                    </a:lnTo>
                    <a:lnTo>
                      <a:pt x="195" y="101"/>
                    </a:lnTo>
                    <a:lnTo>
                      <a:pt x="197" y="101"/>
                    </a:lnTo>
                    <a:lnTo>
                      <a:pt x="197" y="102"/>
                    </a:lnTo>
                    <a:lnTo>
                      <a:pt x="197" y="103"/>
                    </a:lnTo>
                    <a:lnTo>
                      <a:pt x="197" y="103"/>
                    </a:lnTo>
                    <a:lnTo>
                      <a:pt x="196" y="103"/>
                    </a:lnTo>
                    <a:lnTo>
                      <a:pt x="195" y="102"/>
                    </a:lnTo>
                    <a:lnTo>
                      <a:pt x="195" y="105"/>
                    </a:lnTo>
                    <a:lnTo>
                      <a:pt x="190" y="106"/>
                    </a:lnTo>
                    <a:lnTo>
                      <a:pt x="187" y="109"/>
                    </a:lnTo>
                    <a:lnTo>
                      <a:pt x="186" y="111"/>
                    </a:lnTo>
                    <a:lnTo>
                      <a:pt x="184" y="114"/>
                    </a:lnTo>
                    <a:lnTo>
                      <a:pt x="184" y="115"/>
                    </a:lnTo>
                    <a:lnTo>
                      <a:pt x="184" y="117"/>
                    </a:lnTo>
                    <a:lnTo>
                      <a:pt x="183" y="119"/>
                    </a:lnTo>
                    <a:lnTo>
                      <a:pt x="181" y="121"/>
                    </a:lnTo>
                    <a:lnTo>
                      <a:pt x="179" y="121"/>
                    </a:lnTo>
                    <a:lnTo>
                      <a:pt x="177" y="122"/>
                    </a:lnTo>
                    <a:lnTo>
                      <a:pt x="168" y="137"/>
                    </a:lnTo>
                    <a:lnTo>
                      <a:pt x="165" y="138"/>
                    </a:lnTo>
                    <a:lnTo>
                      <a:pt x="155" y="153"/>
                    </a:lnTo>
                    <a:lnTo>
                      <a:pt x="154" y="154"/>
                    </a:lnTo>
                    <a:lnTo>
                      <a:pt x="152" y="154"/>
                    </a:lnTo>
                    <a:lnTo>
                      <a:pt x="147" y="154"/>
                    </a:lnTo>
                    <a:lnTo>
                      <a:pt x="144" y="156"/>
                    </a:lnTo>
                    <a:lnTo>
                      <a:pt x="142" y="157"/>
                    </a:lnTo>
                    <a:lnTo>
                      <a:pt x="141" y="157"/>
                    </a:lnTo>
                    <a:lnTo>
                      <a:pt x="141" y="157"/>
                    </a:lnTo>
                    <a:lnTo>
                      <a:pt x="138" y="151"/>
                    </a:lnTo>
                    <a:lnTo>
                      <a:pt x="136" y="151"/>
                    </a:lnTo>
                    <a:lnTo>
                      <a:pt x="136" y="151"/>
                    </a:lnTo>
                    <a:lnTo>
                      <a:pt x="123" y="164"/>
                    </a:lnTo>
                    <a:lnTo>
                      <a:pt x="122" y="172"/>
                    </a:lnTo>
                    <a:lnTo>
                      <a:pt x="122" y="172"/>
                    </a:lnTo>
                    <a:lnTo>
                      <a:pt x="123" y="173"/>
                    </a:lnTo>
                    <a:lnTo>
                      <a:pt x="125" y="175"/>
                    </a:lnTo>
                    <a:lnTo>
                      <a:pt x="126" y="175"/>
                    </a:lnTo>
                    <a:lnTo>
                      <a:pt x="128" y="175"/>
                    </a:lnTo>
                    <a:lnTo>
                      <a:pt x="131" y="175"/>
                    </a:lnTo>
                    <a:lnTo>
                      <a:pt x="132" y="175"/>
                    </a:lnTo>
                    <a:lnTo>
                      <a:pt x="132" y="176"/>
                    </a:lnTo>
                    <a:lnTo>
                      <a:pt x="132" y="178"/>
                    </a:lnTo>
                    <a:lnTo>
                      <a:pt x="131" y="183"/>
                    </a:lnTo>
                    <a:lnTo>
                      <a:pt x="131" y="185"/>
                    </a:lnTo>
                    <a:lnTo>
                      <a:pt x="131" y="186"/>
                    </a:lnTo>
                    <a:lnTo>
                      <a:pt x="134" y="189"/>
                    </a:lnTo>
                    <a:lnTo>
                      <a:pt x="135" y="189"/>
                    </a:lnTo>
                    <a:lnTo>
                      <a:pt x="138" y="188"/>
                    </a:lnTo>
                    <a:lnTo>
                      <a:pt x="138" y="189"/>
                    </a:lnTo>
                    <a:lnTo>
                      <a:pt x="138" y="189"/>
                    </a:lnTo>
                    <a:lnTo>
                      <a:pt x="139" y="195"/>
                    </a:lnTo>
                    <a:lnTo>
                      <a:pt x="141" y="196"/>
                    </a:lnTo>
                    <a:lnTo>
                      <a:pt x="141" y="198"/>
                    </a:lnTo>
                    <a:lnTo>
                      <a:pt x="144" y="201"/>
                    </a:lnTo>
                    <a:lnTo>
                      <a:pt x="144" y="202"/>
                    </a:lnTo>
                    <a:lnTo>
                      <a:pt x="145" y="202"/>
                    </a:lnTo>
                    <a:lnTo>
                      <a:pt x="145" y="204"/>
                    </a:lnTo>
                    <a:lnTo>
                      <a:pt x="144" y="204"/>
                    </a:lnTo>
                    <a:lnTo>
                      <a:pt x="144" y="205"/>
                    </a:lnTo>
                    <a:lnTo>
                      <a:pt x="144" y="208"/>
                    </a:lnTo>
                    <a:lnTo>
                      <a:pt x="144" y="208"/>
                    </a:lnTo>
                    <a:lnTo>
                      <a:pt x="145" y="208"/>
                    </a:lnTo>
                    <a:lnTo>
                      <a:pt x="145" y="210"/>
                    </a:lnTo>
                    <a:lnTo>
                      <a:pt x="144" y="210"/>
                    </a:lnTo>
                    <a:lnTo>
                      <a:pt x="142" y="210"/>
                    </a:lnTo>
                    <a:lnTo>
                      <a:pt x="142" y="211"/>
                    </a:lnTo>
                    <a:lnTo>
                      <a:pt x="141" y="211"/>
                    </a:lnTo>
                    <a:lnTo>
                      <a:pt x="138" y="211"/>
                    </a:lnTo>
                    <a:lnTo>
                      <a:pt x="138" y="211"/>
                    </a:lnTo>
                    <a:lnTo>
                      <a:pt x="138" y="210"/>
                    </a:lnTo>
                    <a:lnTo>
                      <a:pt x="138" y="210"/>
                    </a:lnTo>
                    <a:lnTo>
                      <a:pt x="138" y="208"/>
                    </a:lnTo>
                    <a:lnTo>
                      <a:pt x="136" y="208"/>
                    </a:lnTo>
                    <a:lnTo>
                      <a:pt x="132" y="210"/>
                    </a:lnTo>
                    <a:lnTo>
                      <a:pt x="131" y="212"/>
                    </a:lnTo>
                    <a:lnTo>
                      <a:pt x="131" y="212"/>
                    </a:lnTo>
                    <a:lnTo>
                      <a:pt x="126" y="212"/>
                    </a:lnTo>
                    <a:lnTo>
                      <a:pt x="123" y="211"/>
                    </a:lnTo>
                    <a:lnTo>
                      <a:pt x="122" y="211"/>
                    </a:lnTo>
                    <a:lnTo>
                      <a:pt x="120" y="211"/>
                    </a:lnTo>
                    <a:lnTo>
                      <a:pt x="116" y="211"/>
                    </a:lnTo>
                    <a:lnTo>
                      <a:pt x="115" y="210"/>
                    </a:lnTo>
                    <a:lnTo>
                      <a:pt x="115" y="211"/>
                    </a:lnTo>
                    <a:lnTo>
                      <a:pt x="113" y="211"/>
                    </a:lnTo>
                    <a:lnTo>
                      <a:pt x="113" y="210"/>
                    </a:lnTo>
                    <a:lnTo>
                      <a:pt x="112" y="210"/>
                    </a:lnTo>
                    <a:lnTo>
                      <a:pt x="112" y="211"/>
                    </a:lnTo>
                    <a:lnTo>
                      <a:pt x="112" y="215"/>
                    </a:lnTo>
                    <a:lnTo>
                      <a:pt x="107" y="215"/>
                    </a:lnTo>
                    <a:lnTo>
                      <a:pt x="106" y="215"/>
                    </a:lnTo>
                    <a:lnTo>
                      <a:pt x="104" y="215"/>
                    </a:lnTo>
                    <a:lnTo>
                      <a:pt x="104" y="217"/>
                    </a:lnTo>
                    <a:lnTo>
                      <a:pt x="103" y="217"/>
                    </a:lnTo>
                    <a:lnTo>
                      <a:pt x="103" y="218"/>
                    </a:lnTo>
                    <a:lnTo>
                      <a:pt x="102" y="218"/>
                    </a:lnTo>
                    <a:lnTo>
                      <a:pt x="100" y="218"/>
                    </a:lnTo>
                    <a:lnTo>
                      <a:pt x="97" y="218"/>
                    </a:lnTo>
                    <a:lnTo>
                      <a:pt x="94" y="217"/>
                    </a:lnTo>
                    <a:lnTo>
                      <a:pt x="94" y="217"/>
                    </a:lnTo>
                    <a:lnTo>
                      <a:pt x="93" y="215"/>
                    </a:lnTo>
                    <a:lnTo>
                      <a:pt x="91" y="212"/>
                    </a:lnTo>
                    <a:lnTo>
                      <a:pt x="89" y="205"/>
                    </a:lnTo>
                    <a:lnTo>
                      <a:pt x="89" y="204"/>
                    </a:lnTo>
                    <a:lnTo>
                      <a:pt x="87" y="204"/>
                    </a:lnTo>
                    <a:lnTo>
                      <a:pt x="83" y="202"/>
                    </a:lnTo>
                    <a:lnTo>
                      <a:pt x="83" y="196"/>
                    </a:lnTo>
                    <a:lnTo>
                      <a:pt x="81" y="195"/>
                    </a:lnTo>
                    <a:lnTo>
                      <a:pt x="77" y="194"/>
                    </a:lnTo>
                    <a:lnTo>
                      <a:pt x="64" y="194"/>
                    </a:lnTo>
                    <a:lnTo>
                      <a:pt x="61" y="195"/>
                    </a:lnTo>
                    <a:lnTo>
                      <a:pt x="54" y="194"/>
                    </a:lnTo>
                    <a:lnTo>
                      <a:pt x="52" y="196"/>
                    </a:lnTo>
                    <a:lnTo>
                      <a:pt x="51" y="195"/>
                    </a:lnTo>
                    <a:lnTo>
                      <a:pt x="48" y="195"/>
                    </a:lnTo>
                    <a:lnTo>
                      <a:pt x="45" y="194"/>
                    </a:lnTo>
                    <a:lnTo>
                      <a:pt x="42" y="194"/>
                    </a:lnTo>
                    <a:lnTo>
                      <a:pt x="39" y="194"/>
                    </a:lnTo>
                    <a:lnTo>
                      <a:pt x="36" y="195"/>
                    </a:lnTo>
                    <a:lnTo>
                      <a:pt x="23" y="195"/>
                    </a:lnTo>
                    <a:lnTo>
                      <a:pt x="19" y="198"/>
                    </a:lnTo>
                    <a:lnTo>
                      <a:pt x="17" y="196"/>
                    </a:lnTo>
                    <a:lnTo>
                      <a:pt x="14" y="198"/>
                    </a:lnTo>
                    <a:lnTo>
                      <a:pt x="13" y="198"/>
                    </a:lnTo>
                    <a:lnTo>
                      <a:pt x="12" y="199"/>
                    </a:lnTo>
                    <a:lnTo>
                      <a:pt x="12" y="198"/>
                    </a:lnTo>
                    <a:lnTo>
                      <a:pt x="10" y="19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78" name="Freeform 695"/>
              <p:cNvSpPr>
                <a:spLocks/>
              </p:cNvSpPr>
              <p:nvPr/>
            </p:nvSpPr>
            <p:spPr bwMode="auto">
              <a:xfrm>
                <a:off x="6477112" y="1387324"/>
                <a:ext cx="2146188" cy="1217973"/>
              </a:xfrm>
              <a:custGeom>
                <a:avLst/>
                <a:gdLst>
                  <a:gd name="connsiteX0" fmla="*/ 3212 w 10354"/>
                  <a:gd name="connsiteY0" fmla="*/ 7675 h 10000"/>
                  <a:gd name="connsiteX1" fmla="*/ 3217 w 10354"/>
                  <a:gd name="connsiteY1" fmla="*/ 7692 h 10000"/>
                  <a:gd name="connsiteX2" fmla="*/ 3226 w 10354"/>
                  <a:gd name="connsiteY2" fmla="*/ 7692 h 10000"/>
                  <a:gd name="connsiteX3" fmla="*/ 3309 w 10354"/>
                  <a:gd name="connsiteY3" fmla="*/ 7838 h 10000"/>
                  <a:gd name="connsiteX4" fmla="*/ 3452 w 10354"/>
                  <a:gd name="connsiteY4" fmla="*/ 8325 h 10000"/>
                  <a:gd name="connsiteX5" fmla="*/ 3470 w 10354"/>
                  <a:gd name="connsiteY5" fmla="*/ 8299 h 10000"/>
                  <a:gd name="connsiteX6" fmla="*/ 3470 w 10354"/>
                  <a:gd name="connsiteY6" fmla="*/ 8282 h 10000"/>
                  <a:gd name="connsiteX7" fmla="*/ 3470 w 10354"/>
                  <a:gd name="connsiteY7" fmla="*/ 8274 h 10000"/>
                  <a:gd name="connsiteX8" fmla="*/ 3484 w 10354"/>
                  <a:gd name="connsiteY8" fmla="*/ 8231 h 10000"/>
                  <a:gd name="connsiteX9" fmla="*/ 3498 w 10354"/>
                  <a:gd name="connsiteY9" fmla="*/ 8231 h 10000"/>
                  <a:gd name="connsiteX10" fmla="*/ 3498 w 10354"/>
                  <a:gd name="connsiteY10" fmla="*/ 8248 h 10000"/>
                  <a:gd name="connsiteX11" fmla="*/ 3512 w 10354"/>
                  <a:gd name="connsiteY11" fmla="*/ 8256 h 10000"/>
                  <a:gd name="connsiteX12" fmla="*/ 3525 w 10354"/>
                  <a:gd name="connsiteY12" fmla="*/ 8274 h 10000"/>
                  <a:gd name="connsiteX13" fmla="*/ 3525 w 10354"/>
                  <a:gd name="connsiteY13" fmla="*/ 8282 h 10000"/>
                  <a:gd name="connsiteX14" fmla="*/ 3525 w 10354"/>
                  <a:gd name="connsiteY14" fmla="*/ 8308 h 10000"/>
                  <a:gd name="connsiteX15" fmla="*/ 3530 w 10354"/>
                  <a:gd name="connsiteY15" fmla="*/ 8308 h 10000"/>
                  <a:gd name="connsiteX16" fmla="*/ 3539 w 10354"/>
                  <a:gd name="connsiteY16" fmla="*/ 8333 h 10000"/>
                  <a:gd name="connsiteX17" fmla="*/ 3571 w 10354"/>
                  <a:gd name="connsiteY17" fmla="*/ 8333 h 10000"/>
                  <a:gd name="connsiteX18" fmla="*/ 3590 w 10354"/>
                  <a:gd name="connsiteY18" fmla="*/ 8350 h 10000"/>
                  <a:gd name="connsiteX19" fmla="*/ 3599 w 10354"/>
                  <a:gd name="connsiteY19" fmla="*/ 8333 h 10000"/>
                  <a:gd name="connsiteX20" fmla="*/ 3618 w 10354"/>
                  <a:gd name="connsiteY20" fmla="*/ 8333 h 10000"/>
                  <a:gd name="connsiteX21" fmla="*/ 3618 w 10354"/>
                  <a:gd name="connsiteY21" fmla="*/ 8325 h 10000"/>
                  <a:gd name="connsiteX22" fmla="*/ 3627 w 10354"/>
                  <a:gd name="connsiteY22" fmla="*/ 8308 h 10000"/>
                  <a:gd name="connsiteX23" fmla="*/ 3641 w 10354"/>
                  <a:gd name="connsiteY23" fmla="*/ 8308 h 10000"/>
                  <a:gd name="connsiteX24" fmla="*/ 3645 w 10354"/>
                  <a:gd name="connsiteY24" fmla="*/ 8308 h 10000"/>
                  <a:gd name="connsiteX25" fmla="*/ 3650 w 10354"/>
                  <a:gd name="connsiteY25" fmla="*/ 8299 h 10000"/>
                  <a:gd name="connsiteX26" fmla="*/ 3659 w 10354"/>
                  <a:gd name="connsiteY26" fmla="*/ 8282 h 10000"/>
                  <a:gd name="connsiteX27" fmla="*/ 3677 w 10354"/>
                  <a:gd name="connsiteY27" fmla="*/ 8299 h 10000"/>
                  <a:gd name="connsiteX28" fmla="*/ 3687 w 10354"/>
                  <a:gd name="connsiteY28" fmla="*/ 8299 h 10000"/>
                  <a:gd name="connsiteX29" fmla="*/ 3691 w 10354"/>
                  <a:gd name="connsiteY29" fmla="*/ 8325 h 10000"/>
                  <a:gd name="connsiteX30" fmla="*/ 3700 w 10354"/>
                  <a:gd name="connsiteY30" fmla="*/ 8325 h 10000"/>
                  <a:gd name="connsiteX31" fmla="*/ 3714 w 10354"/>
                  <a:gd name="connsiteY31" fmla="*/ 8359 h 10000"/>
                  <a:gd name="connsiteX32" fmla="*/ 3719 w 10354"/>
                  <a:gd name="connsiteY32" fmla="*/ 8359 h 10000"/>
                  <a:gd name="connsiteX33" fmla="*/ 3724 w 10354"/>
                  <a:gd name="connsiteY33" fmla="*/ 8368 h 10000"/>
                  <a:gd name="connsiteX34" fmla="*/ 3719 w 10354"/>
                  <a:gd name="connsiteY34" fmla="*/ 8393 h 10000"/>
                  <a:gd name="connsiteX35" fmla="*/ 3724 w 10354"/>
                  <a:gd name="connsiteY35" fmla="*/ 8410 h 10000"/>
                  <a:gd name="connsiteX36" fmla="*/ 3724 w 10354"/>
                  <a:gd name="connsiteY36" fmla="*/ 8436 h 10000"/>
                  <a:gd name="connsiteX37" fmla="*/ 3737 w 10354"/>
                  <a:gd name="connsiteY37" fmla="*/ 8436 h 10000"/>
                  <a:gd name="connsiteX38" fmla="*/ 3765 w 10354"/>
                  <a:gd name="connsiteY38" fmla="*/ 8462 h 10000"/>
                  <a:gd name="connsiteX39" fmla="*/ 3765 w 10354"/>
                  <a:gd name="connsiteY39" fmla="*/ 8470 h 10000"/>
                  <a:gd name="connsiteX40" fmla="*/ 3765 w 10354"/>
                  <a:gd name="connsiteY40" fmla="*/ 8496 h 10000"/>
                  <a:gd name="connsiteX41" fmla="*/ 3774 w 10354"/>
                  <a:gd name="connsiteY41" fmla="*/ 8496 h 10000"/>
                  <a:gd name="connsiteX42" fmla="*/ 3779 w 10354"/>
                  <a:gd name="connsiteY42" fmla="*/ 8504 h 10000"/>
                  <a:gd name="connsiteX43" fmla="*/ 3793 w 10354"/>
                  <a:gd name="connsiteY43" fmla="*/ 8547 h 10000"/>
                  <a:gd name="connsiteX44" fmla="*/ 3797 w 10354"/>
                  <a:gd name="connsiteY44" fmla="*/ 8547 h 10000"/>
                  <a:gd name="connsiteX45" fmla="*/ 3820 w 10354"/>
                  <a:gd name="connsiteY45" fmla="*/ 8556 h 10000"/>
                  <a:gd name="connsiteX46" fmla="*/ 3834 w 10354"/>
                  <a:gd name="connsiteY46" fmla="*/ 8573 h 10000"/>
                  <a:gd name="connsiteX47" fmla="*/ 3853 w 10354"/>
                  <a:gd name="connsiteY47" fmla="*/ 8573 h 10000"/>
                  <a:gd name="connsiteX48" fmla="*/ 3857 w 10354"/>
                  <a:gd name="connsiteY48" fmla="*/ 8556 h 10000"/>
                  <a:gd name="connsiteX49" fmla="*/ 3866 w 10354"/>
                  <a:gd name="connsiteY49" fmla="*/ 8547 h 10000"/>
                  <a:gd name="connsiteX50" fmla="*/ 3880 w 10354"/>
                  <a:gd name="connsiteY50" fmla="*/ 8530 h 10000"/>
                  <a:gd name="connsiteX51" fmla="*/ 3885 w 10354"/>
                  <a:gd name="connsiteY51" fmla="*/ 8547 h 10000"/>
                  <a:gd name="connsiteX52" fmla="*/ 3885 w 10354"/>
                  <a:gd name="connsiteY52" fmla="*/ 8573 h 10000"/>
                  <a:gd name="connsiteX53" fmla="*/ 3899 w 10354"/>
                  <a:gd name="connsiteY53" fmla="*/ 8573 h 10000"/>
                  <a:gd name="connsiteX54" fmla="*/ 3908 w 10354"/>
                  <a:gd name="connsiteY54" fmla="*/ 8607 h 10000"/>
                  <a:gd name="connsiteX55" fmla="*/ 3912 w 10354"/>
                  <a:gd name="connsiteY55" fmla="*/ 8615 h 10000"/>
                  <a:gd name="connsiteX56" fmla="*/ 3922 w 10354"/>
                  <a:gd name="connsiteY56" fmla="*/ 8632 h 10000"/>
                  <a:gd name="connsiteX57" fmla="*/ 3908 w 10354"/>
                  <a:gd name="connsiteY57" fmla="*/ 8692 h 10000"/>
                  <a:gd name="connsiteX58" fmla="*/ 3908 w 10354"/>
                  <a:gd name="connsiteY58" fmla="*/ 8692 h 10000"/>
                  <a:gd name="connsiteX59" fmla="*/ 3931 w 10354"/>
                  <a:gd name="connsiteY59" fmla="*/ 8709 h 10000"/>
                  <a:gd name="connsiteX60" fmla="*/ 3954 w 10354"/>
                  <a:gd name="connsiteY60" fmla="*/ 8667 h 10000"/>
                  <a:gd name="connsiteX61" fmla="*/ 3959 w 10354"/>
                  <a:gd name="connsiteY61" fmla="*/ 8667 h 10000"/>
                  <a:gd name="connsiteX62" fmla="*/ 3972 w 10354"/>
                  <a:gd name="connsiteY62" fmla="*/ 8615 h 10000"/>
                  <a:gd name="connsiteX63" fmla="*/ 3995 w 10354"/>
                  <a:gd name="connsiteY63" fmla="*/ 8581 h 10000"/>
                  <a:gd name="connsiteX64" fmla="*/ 4032 w 10354"/>
                  <a:gd name="connsiteY64" fmla="*/ 8556 h 10000"/>
                  <a:gd name="connsiteX65" fmla="*/ 4138 w 10354"/>
                  <a:gd name="connsiteY65" fmla="*/ 8419 h 10000"/>
                  <a:gd name="connsiteX66" fmla="*/ 4249 w 10354"/>
                  <a:gd name="connsiteY66" fmla="*/ 8359 h 10000"/>
                  <a:gd name="connsiteX67" fmla="*/ 4295 w 10354"/>
                  <a:gd name="connsiteY67" fmla="*/ 8385 h 10000"/>
                  <a:gd name="connsiteX68" fmla="*/ 4309 w 10354"/>
                  <a:gd name="connsiteY68" fmla="*/ 8410 h 10000"/>
                  <a:gd name="connsiteX69" fmla="*/ 4355 w 10354"/>
                  <a:gd name="connsiteY69" fmla="*/ 8393 h 10000"/>
                  <a:gd name="connsiteX70" fmla="*/ 4382 w 10354"/>
                  <a:gd name="connsiteY70" fmla="*/ 8393 h 10000"/>
                  <a:gd name="connsiteX71" fmla="*/ 4419 w 10354"/>
                  <a:gd name="connsiteY71" fmla="*/ 8487 h 10000"/>
                  <a:gd name="connsiteX72" fmla="*/ 4442 w 10354"/>
                  <a:gd name="connsiteY72" fmla="*/ 8487 h 10000"/>
                  <a:gd name="connsiteX73" fmla="*/ 4493 w 10354"/>
                  <a:gd name="connsiteY73" fmla="*/ 8470 h 10000"/>
                  <a:gd name="connsiteX74" fmla="*/ 4516 w 10354"/>
                  <a:gd name="connsiteY74" fmla="*/ 8487 h 10000"/>
                  <a:gd name="connsiteX75" fmla="*/ 4608 w 10354"/>
                  <a:gd name="connsiteY75" fmla="*/ 8470 h 10000"/>
                  <a:gd name="connsiteX76" fmla="*/ 4622 w 10354"/>
                  <a:gd name="connsiteY76" fmla="*/ 8470 h 10000"/>
                  <a:gd name="connsiteX77" fmla="*/ 4618 w 10354"/>
                  <a:gd name="connsiteY77" fmla="*/ 8419 h 10000"/>
                  <a:gd name="connsiteX78" fmla="*/ 4622 w 10354"/>
                  <a:gd name="connsiteY78" fmla="*/ 8385 h 10000"/>
                  <a:gd name="connsiteX79" fmla="*/ 4636 w 10354"/>
                  <a:gd name="connsiteY79" fmla="*/ 8350 h 10000"/>
                  <a:gd name="connsiteX80" fmla="*/ 4636 w 10354"/>
                  <a:gd name="connsiteY80" fmla="*/ 8325 h 10000"/>
                  <a:gd name="connsiteX81" fmla="*/ 4622 w 10354"/>
                  <a:gd name="connsiteY81" fmla="*/ 8282 h 10000"/>
                  <a:gd name="connsiteX82" fmla="*/ 4618 w 10354"/>
                  <a:gd name="connsiteY82" fmla="*/ 8248 h 10000"/>
                  <a:gd name="connsiteX83" fmla="*/ 4618 w 10354"/>
                  <a:gd name="connsiteY83" fmla="*/ 8214 h 10000"/>
                  <a:gd name="connsiteX84" fmla="*/ 4691 w 10354"/>
                  <a:gd name="connsiteY84" fmla="*/ 8077 h 10000"/>
                  <a:gd name="connsiteX85" fmla="*/ 4700 w 10354"/>
                  <a:gd name="connsiteY85" fmla="*/ 8060 h 10000"/>
                  <a:gd name="connsiteX86" fmla="*/ 4728 w 10354"/>
                  <a:gd name="connsiteY86" fmla="*/ 8077 h 10000"/>
                  <a:gd name="connsiteX87" fmla="*/ 4751 w 10354"/>
                  <a:gd name="connsiteY87" fmla="*/ 8094 h 10000"/>
                  <a:gd name="connsiteX88" fmla="*/ 4788 w 10354"/>
                  <a:gd name="connsiteY88" fmla="*/ 8120 h 10000"/>
                  <a:gd name="connsiteX89" fmla="*/ 4802 w 10354"/>
                  <a:gd name="connsiteY89" fmla="*/ 8162 h 10000"/>
                  <a:gd name="connsiteX90" fmla="*/ 4885 w 10354"/>
                  <a:gd name="connsiteY90" fmla="*/ 8197 h 10000"/>
                  <a:gd name="connsiteX91" fmla="*/ 4889 w 10354"/>
                  <a:gd name="connsiteY91" fmla="*/ 8231 h 10000"/>
                  <a:gd name="connsiteX92" fmla="*/ 4899 w 10354"/>
                  <a:gd name="connsiteY92" fmla="*/ 8333 h 10000"/>
                  <a:gd name="connsiteX93" fmla="*/ 4903 w 10354"/>
                  <a:gd name="connsiteY93" fmla="*/ 8333 h 10000"/>
                  <a:gd name="connsiteX94" fmla="*/ 4949 w 10354"/>
                  <a:gd name="connsiteY94" fmla="*/ 8410 h 10000"/>
                  <a:gd name="connsiteX95" fmla="*/ 4991 w 10354"/>
                  <a:gd name="connsiteY95" fmla="*/ 8436 h 10000"/>
                  <a:gd name="connsiteX96" fmla="*/ 5023 w 10354"/>
                  <a:gd name="connsiteY96" fmla="*/ 8419 h 10000"/>
                  <a:gd name="connsiteX97" fmla="*/ 5092 w 10354"/>
                  <a:gd name="connsiteY97" fmla="*/ 8359 h 10000"/>
                  <a:gd name="connsiteX98" fmla="*/ 5180 w 10354"/>
                  <a:gd name="connsiteY98" fmla="*/ 8410 h 10000"/>
                  <a:gd name="connsiteX99" fmla="*/ 5189 w 10354"/>
                  <a:gd name="connsiteY99" fmla="*/ 8436 h 10000"/>
                  <a:gd name="connsiteX100" fmla="*/ 5198 w 10354"/>
                  <a:gd name="connsiteY100" fmla="*/ 8436 h 10000"/>
                  <a:gd name="connsiteX101" fmla="*/ 5226 w 10354"/>
                  <a:gd name="connsiteY101" fmla="*/ 8487 h 10000"/>
                  <a:gd name="connsiteX102" fmla="*/ 5276 w 10354"/>
                  <a:gd name="connsiteY102" fmla="*/ 8504 h 10000"/>
                  <a:gd name="connsiteX103" fmla="*/ 5290 w 10354"/>
                  <a:gd name="connsiteY103" fmla="*/ 8556 h 10000"/>
                  <a:gd name="connsiteX104" fmla="*/ 5323 w 10354"/>
                  <a:gd name="connsiteY104" fmla="*/ 8598 h 10000"/>
                  <a:gd name="connsiteX105" fmla="*/ 5447 w 10354"/>
                  <a:gd name="connsiteY105" fmla="*/ 8615 h 10000"/>
                  <a:gd name="connsiteX106" fmla="*/ 5465 w 10354"/>
                  <a:gd name="connsiteY106" fmla="*/ 8632 h 10000"/>
                  <a:gd name="connsiteX107" fmla="*/ 5604 w 10354"/>
                  <a:gd name="connsiteY107" fmla="*/ 8556 h 10000"/>
                  <a:gd name="connsiteX108" fmla="*/ 5677 w 10354"/>
                  <a:gd name="connsiteY108" fmla="*/ 8462 h 10000"/>
                  <a:gd name="connsiteX109" fmla="*/ 5705 w 10354"/>
                  <a:gd name="connsiteY109" fmla="*/ 8444 h 10000"/>
                  <a:gd name="connsiteX110" fmla="*/ 5737 w 10354"/>
                  <a:gd name="connsiteY110" fmla="*/ 8470 h 10000"/>
                  <a:gd name="connsiteX111" fmla="*/ 5760 w 10354"/>
                  <a:gd name="connsiteY111" fmla="*/ 8496 h 10000"/>
                  <a:gd name="connsiteX112" fmla="*/ 5788 w 10354"/>
                  <a:gd name="connsiteY112" fmla="*/ 8504 h 10000"/>
                  <a:gd name="connsiteX113" fmla="*/ 5806 w 10354"/>
                  <a:gd name="connsiteY113" fmla="*/ 8496 h 10000"/>
                  <a:gd name="connsiteX114" fmla="*/ 5820 w 10354"/>
                  <a:gd name="connsiteY114" fmla="*/ 8487 h 10000"/>
                  <a:gd name="connsiteX115" fmla="*/ 5825 w 10354"/>
                  <a:gd name="connsiteY115" fmla="*/ 8487 h 10000"/>
                  <a:gd name="connsiteX116" fmla="*/ 5825 w 10354"/>
                  <a:gd name="connsiteY116" fmla="*/ 8487 h 10000"/>
                  <a:gd name="connsiteX117" fmla="*/ 5926 w 10354"/>
                  <a:gd name="connsiteY117" fmla="*/ 8556 h 10000"/>
                  <a:gd name="connsiteX118" fmla="*/ 5940 w 10354"/>
                  <a:gd name="connsiteY118" fmla="*/ 8556 h 10000"/>
                  <a:gd name="connsiteX119" fmla="*/ 6014 w 10354"/>
                  <a:gd name="connsiteY119" fmla="*/ 8470 h 10000"/>
                  <a:gd name="connsiteX120" fmla="*/ 6018 w 10354"/>
                  <a:gd name="connsiteY120" fmla="*/ 8444 h 10000"/>
                  <a:gd name="connsiteX121" fmla="*/ 6014 w 10354"/>
                  <a:gd name="connsiteY121" fmla="*/ 8419 h 10000"/>
                  <a:gd name="connsiteX122" fmla="*/ 6018 w 10354"/>
                  <a:gd name="connsiteY122" fmla="*/ 8393 h 10000"/>
                  <a:gd name="connsiteX123" fmla="*/ 6041 w 10354"/>
                  <a:gd name="connsiteY123" fmla="*/ 8333 h 10000"/>
                  <a:gd name="connsiteX124" fmla="*/ 6069 w 10354"/>
                  <a:gd name="connsiteY124" fmla="*/ 8188 h 10000"/>
                  <a:gd name="connsiteX125" fmla="*/ 6088 w 10354"/>
                  <a:gd name="connsiteY125" fmla="*/ 8162 h 10000"/>
                  <a:gd name="connsiteX126" fmla="*/ 6115 w 10354"/>
                  <a:gd name="connsiteY126" fmla="*/ 8094 h 10000"/>
                  <a:gd name="connsiteX127" fmla="*/ 6115 w 10354"/>
                  <a:gd name="connsiteY127" fmla="*/ 8094 h 10000"/>
                  <a:gd name="connsiteX128" fmla="*/ 6106 w 10354"/>
                  <a:gd name="connsiteY128" fmla="*/ 8077 h 10000"/>
                  <a:gd name="connsiteX129" fmla="*/ 6106 w 10354"/>
                  <a:gd name="connsiteY129" fmla="*/ 8009 h 10000"/>
                  <a:gd name="connsiteX130" fmla="*/ 6101 w 10354"/>
                  <a:gd name="connsiteY130" fmla="*/ 8000 h 10000"/>
                  <a:gd name="connsiteX131" fmla="*/ 6069 w 10354"/>
                  <a:gd name="connsiteY131" fmla="*/ 8009 h 10000"/>
                  <a:gd name="connsiteX132" fmla="*/ 6069 w 10354"/>
                  <a:gd name="connsiteY132" fmla="*/ 8000 h 10000"/>
                  <a:gd name="connsiteX133" fmla="*/ 6069 w 10354"/>
                  <a:gd name="connsiteY133" fmla="*/ 7974 h 10000"/>
                  <a:gd name="connsiteX134" fmla="*/ 6101 w 10354"/>
                  <a:gd name="connsiteY134" fmla="*/ 7923 h 10000"/>
                  <a:gd name="connsiteX135" fmla="*/ 6106 w 10354"/>
                  <a:gd name="connsiteY135" fmla="*/ 7889 h 10000"/>
                  <a:gd name="connsiteX136" fmla="*/ 6129 w 10354"/>
                  <a:gd name="connsiteY136" fmla="*/ 7863 h 10000"/>
                  <a:gd name="connsiteX137" fmla="*/ 6300 w 10354"/>
                  <a:gd name="connsiteY137" fmla="*/ 7812 h 10000"/>
                  <a:gd name="connsiteX138" fmla="*/ 6359 w 10354"/>
                  <a:gd name="connsiteY138" fmla="*/ 7872 h 10000"/>
                  <a:gd name="connsiteX139" fmla="*/ 6373 w 10354"/>
                  <a:gd name="connsiteY139" fmla="*/ 7889 h 10000"/>
                  <a:gd name="connsiteX140" fmla="*/ 6401 w 10354"/>
                  <a:gd name="connsiteY140" fmla="*/ 7889 h 10000"/>
                  <a:gd name="connsiteX141" fmla="*/ 6433 w 10354"/>
                  <a:gd name="connsiteY141" fmla="*/ 7915 h 10000"/>
                  <a:gd name="connsiteX142" fmla="*/ 6461 w 10354"/>
                  <a:gd name="connsiteY142" fmla="*/ 7974 h 10000"/>
                  <a:gd name="connsiteX143" fmla="*/ 6461 w 10354"/>
                  <a:gd name="connsiteY143" fmla="*/ 8000 h 10000"/>
                  <a:gd name="connsiteX144" fmla="*/ 6484 w 10354"/>
                  <a:gd name="connsiteY144" fmla="*/ 8034 h 10000"/>
                  <a:gd name="connsiteX145" fmla="*/ 6484 w 10354"/>
                  <a:gd name="connsiteY145" fmla="*/ 8051 h 10000"/>
                  <a:gd name="connsiteX146" fmla="*/ 6484 w 10354"/>
                  <a:gd name="connsiteY146" fmla="*/ 8034 h 10000"/>
                  <a:gd name="connsiteX147" fmla="*/ 6558 w 10354"/>
                  <a:gd name="connsiteY147" fmla="*/ 8444 h 10000"/>
                  <a:gd name="connsiteX148" fmla="*/ 6558 w 10354"/>
                  <a:gd name="connsiteY148" fmla="*/ 8462 h 10000"/>
                  <a:gd name="connsiteX149" fmla="*/ 6558 w 10354"/>
                  <a:gd name="connsiteY149" fmla="*/ 8462 h 10000"/>
                  <a:gd name="connsiteX150" fmla="*/ 6562 w 10354"/>
                  <a:gd name="connsiteY150" fmla="*/ 8547 h 10000"/>
                  <a:gd name="connsiteX151" fmla="*/ 6576 w 10354"/>
                  <a:gd name="connsiteY151" fmla="*/ 8573 h 10000"/>
                  <a:gd name="connsiteX152" fmla="*/ 6604 w 10354"/>
                  <a:gd name="connsiteY152" fmla="*/ 8581 h 10000"/>
                  <a:gd name="connsiteX153" fmla="*/ 6631 w 10354"/>
                  <a:gd name="connsiteY153" fmla="*/ 8556 h 10000"/>
                  <a:gd name="connsiteX154" fmla="*/ 6691 w 10354"/>
                  <a:gd name="connsiteY154" fmla="*/ 8607 h 10000"/>
                  <a:gd name="connsiteX155" fmla="*/ 6728 w 10354"/>
                  <a:gd name="connsiteY155" fmla="*/ 8667 h 10000"/>
                  <a:gd name="connsiteX156" fmla="*/ 6742 w 10354"/>
                  <a:gd name="connsiteY156" fmla="*/ 8684 h 10000"/>
                  <a:gd name="connsiteX157" fmla="*/ 6765 w 10354"/>
                  <a:gd name="connsiteY157" fmla="*/ 8684 h 10000"/>
                  <a:gd name="connsiteX158" fmla="*/ 6765 w 10354"/>
                  <a:gd name="connsiteY158" fmla="*/ 8709 h 10000"/>
                  <a:gd name="connsiteX159" fmla="*/ 6765 w 10354"/>
                  <a:gd name="connsiteY159" fmla="*/ 8709 h 10000"/>
                  <a:gd name="connsiteX160" fmla="*/ 6770 w 10354"/>
                  <a:gd name="connsiteY160" fmla="*/ 8709 h 10000"/>
                  <a:gd name="connsiteX161" fmla="*/ 6770 w 10354"/>
                  <a:gd name="connsiteY161" fmla="*/ 8744 h 10000"/>
                  <a:gd name="connsiteX162" fmla="*/ 6779 w 10354"/>
                  <a:gd name="connsiteY162" fmla="*/ 8769 h 10000"/>
                  <a:gd name="connsiteX163" fmla="*/ 6779 w 10354"/>
                  <a:gd name="connsiteY163" fmla="*/ 8846 h 10000"/>
                  <a:gd name="connsiteX164" fmla="*/ 6797 w 10354"/>
                  <a:gd name="connsiteY164" fmla="*/ 8906 h 10000"/>
                  <a:gd name="connsiteX165" fmla="*/ 6816 w 10354"/>
                  <a:gd name="connsiteY165" fmla="*/ 8906 h 10000"/>
                  <a:gd name="connsiteX166" fmla="*/ 6843 w 10354"/>
                  <a:gd name="connsiteY166" fmla="*/ 8915 h 10000"/>
                  <a:gd name="connsiteX167" fmla="*/ 6862 w 10354"/>
                  <a:gd name="connsiteY167" fmla="*/ 8906 h 10000"/>
                  <a:gd name="connsiteX168" fmla="*/ 6935 w 10354"/>
                  <a:gd name="connsiteY168" fmla="*/ 8829 h 10000"/>
                  <a:gd name="connsiteX169" fmla="*/ 6963 w 10354"/>
                  <a:gd name="connsiteY169" fmla="*/ 8829 h 10000"/>
                  <a:gd name="connsiteX170" fmla="*/ 7046 w 10354"/>
                  <a:gd name="connsiteY170" fmla="*/ 8769 h 10000"/>
                  <a:gd name="connsiteX171" fmla="*/ 7046 w 10354"/>
                  <a:gd name="connsiteY171" fmla="*/ 8769 h 10000"/>
                  <a:gd name="connsiteX172" fmla="*/ 7032 w 10354"/>
                  <a:gd name="connsiteY172" fmla="*/ 8803 h 10000"/>
                  <a:gd name="connsiteX173" fmla="*/ 7032 w 10354"/>
                  <a:gd name="connsiteY173" fmla="*/ 8846 h 10000"/>
                  <a:gd name="connsiteX174" fmla="*/ 7037 w 10354"/>
                  <a:gd name="connsiteY174" fmla="*/ 8880 h 10000"/>
                  <a:gd name="connsiteX175" fmla="*/ 7037 w 10354"/>
                  <a:gd name="connsiteY175" fmla="*/ 8932 h 10000"/>
                  <a:gd name="connsiteX176" fmla="*/ 7005 w 10354"/>
                  <a:gd name="connsiteY176" fmla="*/ 8983 h 10000"/>
                  <a:gd name="connsiteX177" fmla="*/ 6977 w 10354"/>
                  <a:gd name="connsiteY177" fmla="*/ 9188 h 10000"/>
                  <a:gd name="connsiteX178" fmla="*/ 6935 w 10354"/>
                  <a:gd name="connsiteY178" fmla="*/ 9316 h 10000"/>
                  <a:gd name="connsiteX179" fmla="*/ 6931 w 10354"/>
                  <a:gd name="connsiteY179" fmla="*/ 9368 h 10000"/>
                  <a:gd name="connsiteX180" fmla="*/ 6917 w 10354"/>
                  <a:gd name="connsiteY180" fmla="*/ 9376 h 10000"/>
                  <a:gd name="connsiteX181" fmla="*/ 6912 w 10354"/>
                  <a:gd name="connsiteY181" fmla="*/ 9376 h 10000"/>
                  <a:gd name="connsiteX182" fmla="*/ 6848 w 10354"/>
                  <a:gd name="connsiteY182" fmla="*/ 9342 h 10000"/>
                  <a:gd name="connsiteX183" fmla="*/ 6788 w 10354"/>
                  <a:gd name="connsiteY183" fmla="*/ 9436 h 10000"/>
                  <a:gd name="connsiteX184" fmla="*/ 6802 w 10354"/>
                  <a:gd name="connsiteY184" fmla="*/ 9462 h 10000"/>
                  <a:gd name="connsiteX185" fmla="*/ 6811 w 10354"/>
                  <a:gd name="connsiteY185" fmla="*/ 9667 h 10000"/>
                  <a:gd name="connsiteX186" fmla="*/ 6788 w 10354"/>
                  <a:gd name="connsiteY186" fmla="*/ 9709 h 10000"/>
                  <a:gd name="connsiteX187" fmla="*/ 6765 w 10354"/>
                  <a:gd name="connsiteY187" fmla="*/ 9752 h 10000"/>
                  <a:gd name="connsiteX188" fmla="*/ 6765 w 10354"/>
                  <a:gd name="connsiteY188" fmla="*/ 9803 h 10000"/>
                  <a:gd name="connsiteX189" fmla="*/ 6770 w 10354"/>
                  <a:gd name="connsiteY189" fmla="*/ 9821 h 10000"/>
                  <a:gd name="connsiteX190" fmla="*/ 6779 w 10354"/>
                  <a:gd name="connsiteY190" fmla="*/ 9812 h 10000"/>
                  <a:gd name="connsiteX191" fmla="*/ 6779 w 10354"/>
                  <a:gd name="connsiteY191" fmla="*/ 9803 h 10000"/>
                  <a:gd name="connsiteX192" fmla="*/ 6770 w 10354"/>
                  <a:gd name="connsiteY192" fmla="*/ 9786 h 10000"/>
                  <a:gd name="connsiteX193" fmla="*/ 6811 w 10354"/>
                  <a:gd name="connsiteY193" fmla="*/ 9786 h 10000"/>
                  <a:gd name="connsiteX194" fmla="*/ 6816 w 10354"/>
                  <a:gd name="connsiteY194" fmla="*/ 9761 h 10000"/>
                  <a:gd name="connsiteX195" fmla="*/ 6825 w 10354"/>
                  <a:gd name="connsiteY195" fmla="*/ 9752 h 10000"/>
                  <a:gd name="connsiteX196" fmla="*/ 6825 w 10354"/>
                  <a:gd name="connsiteY196" fmla="*/ 9726 h 10000"/>
                  <a:gd name="connsiteX197" fmla="*/ 6843 w 10354"/>
                  <a:gd name="connsiteY197" fmla="*/ 9701 h 10000"/>
                  <a:gd name="connsiteX198" fmla="*/ 6848 w 10354"/>
                  <a:gd name="connsiteY198" fmla="*/ 9650 h 10000"/>
                  <a:gd name="connsiteX199" fmla="*/ 6848 w 10354"/>
                  <a:gd name="connsiteY199" fmla="*/ 9675 h 10000"/>
                  <a:gd name="connsiteX200" fmla="*/ 6862 w 10354"/>
                  <a:gd name="connsiteY200" fmla="*/ 9675 h 10000"/>
                  <a:gd name="connsiteX201" fmla="*/ 6857 w 10354"/>
                  <a:gd name="connsiteY201" fmla="*/ 9701 h 10000"/>
                  <a:gd name="connsiteX202" fmla="*/ 6857 w 10354"/>
                  <a:gd name="connsiteY202" fmla="*/ 9701 h 10000"/>
                  <a:gd name="connsiteX203" fmla="*/ 6876 w 10354"/>
                  <a:gd name="connsiteY203" fmla="*/ 9684 h 10000"/>
                  <a:gd name="connsiteX204" fmla="*/ 6885 w 10354"/>
                  <a:gd name="connsiteY204" fmla="*/ 9675 h 10000"/>
                  <a:gd name="connsiteX205" fmla="*/ 6876 w 10354"/>
                  <a:gd name="connsiteY205" fmla="*/ 9735 h 10000"/>
                  <a:gd name="connsiteX206" fmla="*/ 6885 w 10354"/>
                  <a:gd name="connsiteY206" fmla="*/ 9752 h 10000"/>
                  <a:gd name="connsiteX207" fmla="*/ 6903 w 10354"/>
                  <a:gd name="connsiteY207" fmla="*/ 9752 h 10000"/>
                  <a:gd name="connsiteX208" fmla="*/ 6917 w 10354"/>
                  <a:gd name="connsiteY208" fmla="*/ 9761 h 10000"/>
                  <a:gd name="connsiteX209" fmla="*/ 6917 w 10354"/>
                  <a:gd name="connsiteY209" fmla="*/ 9761 h 10000"/>
                  <a:gd name="connsiteX210" fmla="*/ 6922 w 10354"/>
                  <a:gd name="connsiteY210" fmla="*/ 9778 h 10000"/>
                  <a:gd name="connsiteX211" fmla="*/ 6945 w 10354"/>
                  <a:gd name="connsiteY211" fmla="*/ 9778 h 10000"/>
                  <a:gd name="connsiteX212" fmla="*/ 6972 w 10354"/>
                  <a:gd name="connsiteY212" fmla="*/ 9752 h 10000"/>
                  <a:gd name="connsiteX213" fmla="*/ 6977 w 10354"/>
                  <a:gd name="connsiteY213" fmla="*/ 9752 h 10000"/>
                  <a:gd name="connsiteX214" fmla="*/ 7069 w 10354"/>
                  <a:gd name="connsiteY214" fmla="*/ 9624 h 10000"/>
                  <a:gd name="connsiteX215" fmla="*/ 7097 w 10354"/>
                  <a:gd name="connsiteY215" fmla="*/ 9547 h 10000"/>
                  <a:gd name="connsiteX216" fmla="*/ 7106 w 10354"/>
                  <a:gd name="connsiteY216" fmla="*/ 9530 h 10000"/>
                  <a:gd name="connsiteX217" fmla="*/ 7124 w 10354"/>
                  <a:gd name="connsiteY217" fmla="*/ 9479 h 10000"/>
                  <a:gd name="connsiteX218" fmla="*/ 7138 w 10354"/>
                  <a:gd name="connsiteY218" fmla="*/ 9462 h 10000"/>
                  <a:gd name="connsiteX219" fmla="*/ 7378 w 10354"/>
                  <a:gd name="connsiteY219" fmla="*/ 8795 h 10000"/>
                  <a:gd name="connsiteX220" fmla="*/ 7392 w 10354"/>
                  <a:gd name="connsiteY220" fmla="*/ 8795 h 10000"/>
                  <a:gd name="connsiteX221" fmla="*/ 7401 w 10354"/>
                  <a:gd name="connsiteY221" fmla="*/ 8769 h 10000"/>
                  <a:gd name="connsiteX222" fmla="*/ 7406 w 10354"/>
                  <a:gd name="connsiteY222" fmla="*/ 8692 h 10000"/>
                  <a:gd name="connsiteX223" fmla="*/ 7406 w 10354"/>
                  <a:gd name="connsiteY223" fmla="*/ 8667 h 10000"/>
                  <a:gd name="connsiteX224" fmla="*/ 7419 w 10354"/>
                  <a:gd name="connsiteY224" fmla="*/ 8598 h 10000"/>
                  <a:gd name="connsiteX225" fmla="*/ 7419 w 10354"/>
                  <a:gd name="connsiteY225" fmla="*/ 8496 h 10000"/>
                  <a:gd name="connsiteX226" fmla="*/ 7424 w 10354"/>
                  <a:gd name="connsiteY226" fmla="*/ 8470 h 10000"/>
                  <a:gd name="connsiteX227" fmla="*/ 7424 w 10354"/>
                  <a:gd name="connsiteY227" fmla="*/ 8462 h 10000"/>
                  <a:gd name="connsiteX228" fmla="*/ 7419 w 10354"/>
                  <a:gd name="connsiteY228" fmla="*/ 8462 h 10000"/>
                  <a:gd name="connsiteX229" fmla="*/ 7410 w 10354"/>
                  <a:gd name="connsiteY229" fmla="*/ 8350 h 10000"/>
                  <a:gd name="connsiteX230" fmla="*/ 7419 w 10354"/>
                  <a:gd name="connsiteY230" fmla="*/ 8325 h 10000"/>
                  <a:gd name="connsiteX231" fmla="*/ 7424 w 10354"/>
                  <a:gd name="connsiteY231" fmla="*/ 8248 h 10000"/>
                  <a:gd name="connsiteX232" fmla="*/ 7433 w 10354"/>
                  <a:gd name="connsiteY232" fmla="*/ 8248 h 10000"/>
                  <a:gd name="connsiteX233" fmla="*/ 7433 w 10354"/>
                  <a:gd name="connsiteY233" fmla="*/ 8231 h 10000"/>
                  <a:gd name="connsiteX234" fmla="*/ 7433 w 10354"/>
                  <a:gd name="connsiteY234" fmla="*/ 8222 h 10000"/>
                  <a:gd name="connsiteX235" fmla="*/ 7433 w 10354"/>
                  <a:gd name="connsiteY235" fmla="*/ 8214 h 10000"/>
                  <a:gd name="connsiteX236" fmla="*/ 7447 w 10354"/>
                  <a:gd name="connsiteY236" fmla="*/ 8162 h 10000"/>
                  <a:gd name="connsiteX237" fmla="*/ 7461 w 10354"/>
                  <a:gd name="connsiteY237" fmla="*/ 8162 h 10000"/>
                  <a:gd name="connsiteX238" fmla="*/ 7475 w 10354"/>
                  <a:gd name="connsiteY238" fmla="*/ 8111 h 10000"/>
                  <a:gd name="connsiteX239" fmla="*/ 7475 w 10354"/>
                  <a:gd name="connsiteY239" fmla="*/ 8085 h 10000"/>
                  <a:gd name="connsiteX240" fmla="*/ 7479 w 10354"/>
                  <a:gd name="connsiteY240" fmla="*/ 8060 h 10000"/>
                  <a:gd name="connsiteX241" fmla="*/ 7452 w 10354"/>
                  <a:gd name="connsiteY241" fmla="*/ 8009 h 10000"/>
                  <a:gd name="connsiteX242" fmla="*/ 7465 w 10354"/>
                  <a:gd name="connsiteY242" fmla="*/ 7974 h 10000"/>
                  <a:gd name="connsiteX243" fmla="*/ 7452 w 10354"/>
                  <a:gd name="connsiteY243" fmla="*/ 7923 h 10000"/>
                  <a:gd name="connsiteX244" fmla="*/ 7433 w 10354"/>
                  <a:gd name="connsiteY244" fmla="*/ 7889 h 10000"/>
                  <a:gd name="connsiteX245" fmla="*/ 7419 w 10354"/>
                  <a:gd name="connsiteY245" fmla="*/ 7889 h 10000"/>
                  <a:gd name="connsiteX246" fmla="*/ 7401 w 10354"/>
                  <a:gd name="connsiteY246" fmla="*/ 7863 h 10000"/>
                  <a:gd name="connsiteX247" fmla="*/ 7387 w 10354"/>
                  <a:gd name="connsiteY247" fmla="*/ 7863 h 10000"/>
                  <a:gd name="connsiteX248" fmla="*/ 7373 w 10354"/>
                  <a:gd name="connsiteY248" fmla="*/ 7863 h 10000"/>
                  <a:gd name="connsiteX249" fmla="*/ 7387 w 10354"/>
                  <a:gd name="connsiteY249" fmla="*/ 7846 h 10000"/>
                  <a:gd name="connsiteX250" fmla="*/ 7401 w 10354"/>
                  <a:gd name="connsiteY250" fmla="*/ 7846 h 10000"/>
                  <a:gd name="connsiteX251" fmla="*/ 7410 w 10354"/>
                  <a:gd name="connsiteY251" fmla="*/ 7863 h 10000"/>
                  <a:gd name="connsiteX252" fmla="*/ 7424 w 10354"/>
                  <a:gd name="connsiteY252" fmla="*/ 7872 h 10000"/>
                  <a:gd name="connsiteX253" fmla="*/ 7433 w 10354"/>
                  <a:gd name="connsiteY253" fmla="*/ 7863 h 10000"/>
                  <a:gd name="connsiteX254" fmla="*/ 7461 w 10354"/>
                  <a:gd name="connsiteY254" fmla="*/ 7897 h 10000"/>
                  <a:gd name="connsiteX255" fmla="*/ 7465 w 10354"/>
                  <a:gd name="connsiteY255" fmla="*/ 7889 h 10000"/>
                  <a:gd name="connsiteX256" fmla="*/ 7475 w 10354"/>
                  <a:gd name="connsiteY256" fmla="*/ 7863 h 10000"/>
                  <a:gd name="connsiteX257" fmla="*/ 7475 w 10354"/>
                  <a:gd name="connsiteY257" fmla="*/ 7838 h 10000"/>
                  <a:gd name="connsiteX258" fmla="*/ 7465 w 10354"/>
                  <a:gd name="connsiteY258" fmla="*/ 7838 h 10000"/>
                  <a:gd name="connsiteX259" fmla="*/ 7406 w 10354"/>
                  <a:gd name="connsiteY259" fmla="*/ 7752 h 10000"/>
                  <a:gd name="connsiteX260" fmla="*/ 7401 w 10354"/>
                  <a:gd name="connsiteY260" fmla="*/ 7735 h 10000"/>
                  <a:gd name="connsiteX261" fmla="*/ 7401 w 10354"/>
                  <a:gd name="connsiteY261" fmla="*/ 7701 h 10000"/>
                  <a:gd name="connsiteX262" fmla="*/ 7378 w 10354"/>
                  <a:gd name="connsiteY262" fmla="*/ 7675 h 10000"/>
                  <a:gd name="connsiteX263" fmla="*/ 7373 w 10354"/>
                  <a:gd name="connsiteY263" fmla="*/ 7667 h 10000"/>
                  <a:gd name="connsiteX264" fmla="*/ 7364 w 10354"/>
                  <a:gd name="connsiteY264" fmla="*/ 7650 h 10000"/>
                  <a:gd name="connsiteX265" fmla="*/ 7364 w 10354"/>
                  <a:gd name="connsiteY265" fmla="*/ 7641 h 10000"/>
                  <a:gd name="connsiteX266" fmla="*/ 7350 w 10354"/>
                  <a:gd name="connsiteY266" fmla="*/ 7641 h 10000"/>
                  <a:gd name="connsiteX267" fmla="*/ 7336 w 10354"/>
                  <a:gd name="connsiteY267" fmla="*/ 7650 h 10000"/>
                  <a:gd name="connsiteX268" fmla="*/ 7327 w 10354"/>
                  <a:gd name="connsiteY268" fmla="*/ 7650 h 10000"/>
                  <a:gd name="connsiteX269" fmla="*/ 7300 w 10354"/>
                  <a:gd name="connsiteY269" fmla="*/ 7641 h 10000"/>
                  <a:gd name="connsiteX270" fmla="*/ 7300 w 10354"/>
                  <a:gd name="connsiteY270" fmla="*/ 7675 h 10000"/>
                  <a:gd name="connsiteX271" fmla="*/ 7300 w 10354"/>
                  <a:gd name="connsiteY271" fmla="*/ 7692 h 10000"/>
                  <a:gd name="connsiteX272" fmla="*/ 7286 w 10354"/>
                  <a:gd name="connsiteY272" fmla="*/ 7786 h 10000"/>
                  <a:gd name="connsiteX273" fmla="*/ 7272 w 10354"/>
                  <a:gd name="connsiteY273" fmla="*/ 7803 h 10000"/>
                  <a:gd name="connsiteX274" fmla="*/ 7276 w 10354"/>
                  <a:gd name="connsiteY274" fmla="*/ 7761 h 10000"/>
                  <a:gd name="connsiteX275" fmla="*/ 7286 w 10354"/>
                  <a:gd name="connsiteY275" fmla="*/ 7735 h 10000"/>
                  <a:gd name="connsiteX276" fmla="*/ 7276 w 10354"/>
                  <a:gd name="connsiteY276" fmla="*/ 7709 h 10000"/>
                  <a:gd name="connsiteX277" fmla="*/ 7258 w 10354"/>
                  <a:gd name="connsiteY277" fmla="*/ 7761 h 10000"/>
                  <a:gd name="connsiteX278" fmla="*/ 7217 w 10354"/>
                  <a:gd name="connsiteY278" fmla="*/ 7786 h 10000"/>
                  <a:gd name="connsiteX279" fmla="*/ 7203 w 10354"/>
                  <a:gd name="connsiteY279" fmla="*/ 7786 h 10000"/>
                  <a:gd name="connsiteX280" fmla="*/ 7198 w 10354"/>
                  <a:gd name="connsiteY280" fmla="*/ 7778 h 10000"/>
                  <a:gd name="connsiteX281" fmla="*/ 7212 w 10354"/>
                  <a:gd name="connsiteY281" fmla="*/ 7761 h 10000"/>
                  <a:gd name="connsiteX282" fmla="*/ 7230 w 10354"/>
                  <a:gd name="connsiteY282" fmla="*/ 7726 h 10000"/>
                  <a:gd name="connsiteX283" fmla="*/ 7226 w 10354"/>
                  <a:gd name="connsiteY283" fmla="*/ 7709 h 10000"/>
                  <a:gd name="connsiteX284" fmla="*/ 7212 w 10354"/>
                  <a:gd name="connsiteY284" fmla="*/ 7701 h 10000"/>
                  <a:gd name="connsiteX285" fmla="*/ 7203 w 10354"/>
                  <a:gd name="connsiteY285" fmla="*/ 7675 h 10000"/>
                  <a:gd name="connsiteX286" fmla="*/ 7217 w 10354"/>
                  <a:gd name="connsiteY286" fmla="*/ 7675 h 10000"/>
                  <a:gd name="connsiteX287" fmla="*/ 7226 w 10354"/>
                  <a:gd name="connsiteY287" fmla="*/ 7650 h 10000"/>
                  <a:gd name="connsiteX288" fmla="*/ 7226 w 10354"/>
                  <a:gd name="connsiteY288" fmla="*/ 7641 h 10000"/>
                  <a:gd name="connsiteX289" fmla="*/ 7203 w 10354"/>
                  <a:gd name="connsiteY289" fmla="*/ 7641 h 10000"/>
                  <a:gd name="connsiteX290" fmla="*/ 7198 w 10354"/>
                  <a:gd name="connsiteY290" fmla="*/ 7650 h 10000"/>
                  <a:gd name="connsiteX291" fmla="*/ 7194 w 10354"/>
                  <a:gd name="connsiteY291" fmla="*/ 7675 h 10000"/>
                  <a:gd name="connsiteX292" fmla="*/ 7198 w 10354"/>
                  <a:gd name="connsiteY292" fmla="*/ 7692 h 10000"/>
                  <a:gd name="connsiteX293" fmla="*/ 7198 w 10354"/>
                  <a:gd name="connsiteY293" fmla="*/ 7709 h 10000"/>
                  <a:gd name="connsiteX294" fmla="*/ 7184 w 10354"/>
                  <a:gd name="connsiteY294" fmla="*/ 7726 h 10000"/>
                  <a:gd name="connsiteX295" fmla="*/ 7180 w 10354"/>
                  <a:gd name="connsiteY295" fmla="*/ 7726 h 10000"/>
                  <a:gd name="connsiteX296" fmla="*/ 7171 w 10354"/>
                  <a:gd name="connsiteY296" fmla="*/ 7752 h 10000"/>
                  <a:gd name="connsiteX297" fmla="*/ 7166 w 10354"/>
                  <a:gd name="connsiteY297" fmla="*/ 7735 h 10000"/>
                  <a:gd name="connsiteX298" fmla="*/ 7171 w 10354"/>
                  <a:gd name="connsiteY298" fmla="*/ 7624 h 10000"/>
                  <a:gd name="connsiteX299" fmla="*/ 7171 w 10354"/>
                  <a:gd name="connsiteY299" fmla="*/ 7615 h 10000"/>
                  <a:gd name="connsiteX300" fmla="*/ 7171 w 10354"/>
                  <a:gd name="connsiteY300" fmla="*/ 7590 h 10000"/>
                  <a:gd name="connsiteX301" fmla="*/ 7166 w 10354"/>
                  <a:gd name="connsiteY301" fmla="*/ 7564 h 10000"/>
                  <a:gd name="connsiteX302" fmla="*/ 7157 w 10354"/>
                  <a:gd name="connsiteY302" fmla="*/ 7564 h 10000"/>
                  <a:gd name="connsiteX303" fmla="*/ 7097 w 10354"/>
                  <a:gd name="connsiteY303" fmla="*/ 7573 h 10000"/>
                  <a:gd name="connsiteX304" fmla="*/ 7065 w 10354"/>
                  <a:gd name="connsiteY304" fmla="*/ 7538 h 10000"/>
                  <a:gd name="connsiteX305" fmla="*/ 7069 w 10354"/>
                  <a:gd name="connsiteY305" fmla="*/ 7504 h 10000"/>
                  <a:gd name="connsiteX306" fmla="*/ 7106 w 10354"/>
                  <a:gd name="connsiteY306" fmla="*/ 7453 h 10000"/>
                  <a:gd name="connsiteX307" fmla="*/ 7111 w 10354"/>
                  <a:gd name="connsiteY307" fmla="*/ 7436 h 10000"/>
                  <a:gd name="connsiteX308" fmla="*/ 7138 w 10354"/>
                  <a:gd name="connsiteY308" fmla="*/ 7402 h 10000"/>
                  <a:gd name="connsiteX309" fmla="*/ 7143 w 10354"/>
                  <a:gd name="connsiteY309" fmla="*/ 7376 h 10000"/>
                  <a:gd name="connsiteX310" fmla="*/ 7152 w 10354"/>
                  <a:gd name="connsiteY310" fmla="*/ 7368 h 10000"/>
                  <a:gd name="connsiteX311" fmla="*/ 7157 w 10354"/>
                  <a:gd name="connsiteY311" fmla="*/ 7350 h 10000"/>
                  <a:gd name="connsiteX312" fmla="*/ 7230 w 10354"/>
                  <a:gd name="connsiteY312" fmla="*/ 7239 h 10000"/>
                  <a:gd name="connsiteX313" fmla="*/ 7240 w 10354"/>
                  <a:gd name="connsiteY313" fmla="*/ 7205 h 10000"/>
                  <a:gd name="connsiteX314" fmla="*/ 7253 w 10354"/>
                  <a:gd name="connsiteY314" fmla="*/ 7188 h 10000"/>
                  <a:gd name="connsiteX315" fmla="*/ 7258 w 10354"/>
                  <a:gd name="connsiteY315" fmla="*/ 7162 h 10000"/>
                  <a:gd name="connsiteX316" fmla="*/ 7258 w 10354"/>
                  <a:gd name="connsiteY316" fmla="*/ 7154 h 10000"/>
                  <a:gd name="connsiteX317" fmla="*/ 7272 w 10354"/>
                  <a:gd name="connsiteY317" fmla="*/ 7120 h 10000"/>
                  <a:gd name="connsiteX318" fmla="*/ 7276 w 10354"/>
                  <a:gd name="connsiteY318" fmla="*/ 7094 h 10000"/>
                  <a:gd name="connsiteX319" fmla="*/ 7286 w 10354"/>
                  <a:gd name="connsiteY319" fmla="*/ 7094 h 10000"/>
                  <a:gd name="connsiteX320" fmla="*/ 7290 w 10354"/>
                  <a:gd name="connsiteY320" fmla="*/ 7068 h 10000"/>
                  <a:gd name="connsiteX321" fmla="*/ 7332 w 10354"/>
                  <a:gd name="connsiteY321" fmla="*/ 6991 h 10000"/>
                  <a:gd name="connsiteX322" fmla="*/ 7336 w 10354"/>
                  <a:gd name="connsiteY322" fmla="*/ 6991 h 10000"/>
                  <a:gd name="connsiteX323" fmla="*/ 7364 w 10354"/>
                  <a:gd name="connsiteY323" fmla="*/ 6940 h 10000"/>
                  <a:gd name="connsiteX324" fmla="*/ 7373 w 10354"/>
                  <a:gd name="connsiteY324" fmla="*/ 6906 h 10000"/>
                  <a:gd name="connsiteX325" fmla="*/ 7378 w 10354"/>
                  <a:gd name="connsiteY325" fmla="*/ 6915 h 10000"/>
                  <a:gd name="connsiteX326" fmla="*/ 7406 w 10354"/>
                  <a:gd name="connsiteY326" fmla="*/ 6880 h 10000"/>
                  <a:gd name="connsiteX327" fmla="*/ 7410 w 10354"/>
                  <a:gd name="connsiteY327" fmla="*/ 6846 h 10000"/>
                  <a:gd name="connsiteX328" fmla="*/ 7419 w 10354"/>
                  <a:gd name="connsiteY328" fmla="*/ 6803 h 10000"/>
                  <a:gd name="connsiteX329" fmla="*/ 7585 w 10354"/>
                  <a:gd name="connsiteY329" fmla="*/ 6504 h 10000"/>
                  <a:gd name="connsiteX330" fmla="*/ 7765 w 10354"/>
                  <a:gd name="connsiteY330" fmla="*/ 6504 h 10000"/>
                  <a:gd name="connsiteX331" fmla="*/ 7765 w 10354"/>
                  <a:gd name="connsiteY331" fmla="*/ 6530 h 10000"/>
                  <a:gd name="connsiteX332" fmla="*/ 7774 w 10354"/>
                  <a:gd name="connsiteY332" fmla="*/ 6556 h 10000"/>
                  <a:gd name="connsiteX333" fmla="*/ 7779 w 10354"/>
                  <a:gd name="connsiteY333" fmla="*/ 6556 h 10000"/>
                  <a:gd name="connsiteX334" fmla="*/ 7793 w 10354"/>
                  <a:gd name="connsiteY334" fmla="*/ 6547 h 10000"/>
                  <a:gd name="connsiteX335" fmla="*/ 7793 w 10354"/>
                  <a:gd name="connsiteY335" fmla="*/ 6530 h 10000"/>
                  <a:gd name="connsiteX336" fmla="*/ 7802 w 10354"/>
                  <a:gd name="connsiteY336" fmla="*/ 6496 h 10000"/>
                  <a:gd name="connsiteX337" fmla="*/ 7806 w 10354"/>
                  <a:gd name="connsiteY337" fmla="*/ 6487 h 10000"/>
                  <a:gd name="connsiteX338" fmla="*/ 7876 w 10354"/>
                  <a:gd name="connsiteY338" fmla="*/ 6530 h 10000"/>
                  <a:gd name="connsiteX339" fmla="*/ 7894 w 10354"/>
                  <a:gd name="connsiteY339" fmla="*/ 6530 h 10000"/>
                  <a:gd name="connsiteX340" fmla="*/ 7894 w 10354"/>
                  <a:gd name="connsiteY340" fmla="*/ 6504 h 10000"/>
                  <a:gd name="connsiteX341" fmla="*/ 7899 w 10354"/>
                  <a:gd name="connsiteY341" fmla="*/ 6504 h 10000"/>
                  <a:gd name="connsiteX342" fmla="*/ 7926 w 10354"/>
                  <a:gd name="connsiteY342" fmla="*/ 6504 h 10000"/>
                  <a:gd name="connsiteX343" fmla="*/ 7940 w 10354"/>
                  <a:gd name="connsiteY343" fmla="*/ 6547 h 10000"/>
                  <a:gd name="connsiteX344" fmla="*/ 7949 w 10354"/>
                  <a:gd name="connsiteY344" fmla="*/ 6547 h 10000"/>
                  <a:gd name="connsiteX345" fmla="*/ 7963 w 10354"/>
                  <a:gd name="connsiteY345" fmla="*/ 6530 h 10000"/>
                  <a:gd name="connsiteX346" fmla="*/ 7963 w 10354"/>
                  <a:gd name="connsiteY346" fmla="*/ 6504 h 10000"/>
                  <a:gd name="connsiteX347" fmla="*/ 7963 w 10354"/>
                  <a:gd name="connsiteY347" fmla="*/ 6504 h 10000"/>
                  <a:gd name="connsiteX348" fmla="*/ 7954 w 10354"/>
                  <a:gd name="connsiteY348" fmla="*/ 6496 h 10000"/>
                  <a:gd name="connsiteX349" fmla="*/ 7963 w 10354"/>
                  <a:gd name="connsiteY349" fmla="*/ 6487 h 10000"/>
                  <a:gd name="connsiteX350" fmla="*/ 7982 w 10354"/>
                  <a:gd name="connsiteY350" fmla="*/ 6487 h 10000"/>
                  <a:gd name="connsiteX351" fmla="*/ 7982 w 10354"/>
                  <a:gd name="connsiteY351" fmla="*/ 6470 h 10000"/>
                  <a:gd name="connsiteX352" fmla="*/ 7972 w 10354"/>
                  <a:gd name="connsiteY352" fmla="*/ 6462 h 10000"/>
                  <a:gd name="connsiteX353" fmla="*/ 7972 w 10354"/>
                  <a:gd name="connsiteY353" fmla="*/ 6436 h 10000"/>
                  <a:gd name="connsiteX354" fmla="*/ 7986 w 10354"/>
                  <a:gd name="connsiteY354" fmla="*/ 6419 h 10000"/>
                  <a:gd name="connsiteX355" fmla="*/ 8000 w 10354"/>
                  <a:gd name="connsiteY355" fmla="*/ 6419 h 10000"/>
                  <a:gd name="connsiteX356" fmla="*/ 8055 w 10354"/>
                  <a:gd name="connsiteY356" fmla="*/ 6462 h 10000"/>
                  <a:gd name="connsiteX357" fmla="*/ 8069 w 10354"/>
                  <a:gd name="connsiteY357" fmla="*/ 6444 h 10000"/>
                  <a:gd name="connsiteX358" fmla="*/ 8083 w 10354"/>
                  <a:gd name="connsiteY358" fmla="*/ 6470 h 10000"/>
                  <a:gd name="connsiteX359" fmla="*/ 8083 w 10354"/>
                  <a:gd name="connsiteY359" fmla="*/ 6487 h 10000"/>
                  <a:gd name="connsiteX360" fmla="*/ 8097 w 10354"/>
                  <a:gd name="connsiteY360" fmla="*/ 6487 h 10000"/>
                  <a:gd name="connsiteX361" fmla="*/ 8101 w 10354"/>
                  <a:gd name="connsiteY361" fmla="*/ 6462 h 10000"/>
                  <a:gd name="connsiteX362" fmla="*/ 8115 w 10354"/>
                  <a:gd name="connsiteY362" fmla="*/ 6462 h 10000"/>
                  <a:gd name="connsiteX363" fmla="*/ 8129 w 10354"/>
                  <a:gd name="connsiteY363" fmla="*/ 6462 h 10000"/>
                  <a:gd name="connsiteX364" fmla="*/ 8157 w 10354"/>
                  <a:gd name="connsiteY364" fmla="*/ 6496 h 10000"/>
                  <a:gd name="connsiteX365" fmla="*/ 8157 w 10354"/>
                  <a:gd name="connsiteY365" fmla="*/ 6521 h 10000"/>
                  <a:gd name="connsiteX366" fmla="*/ 8180 w 10354"/>
                  <a:gd name="connsiteY366" fmla="*/ 6530 h 10000"/>
                  <a:gd name="connsiteX367" fmla="*/ 8180 w 10354"/>
                  <a:gd name="connsiteY367" fmla="*/ 6547 h 10000"/>
                  <a:gd name="connsiteX368" fmla="*/ 8171 w 10354"/>
                  <a:gd name="connsiteY368" fmla="*/ 6556 h 10000"/>
                  <a:gd name="connsiteX369" fmla="*/ 8129 w 10354"/>
                  <a:gd name="connsiteY369" fmla="*/ 6556 h 10000"/>
                  <a:gd name="connsiteX370" fmla="*/ 8106 w 10354"/>
                  <a:gd name="connsiteY370" fmla="*/ 6573 h 10000"/>
                  <a:gd name="connsiteX371" fmla="*/ 8115 w 10354"/>
                  <a:gd name="connsiteY371" fmla="*/ 6581 h 10000"/>
                  <a:gd name="connsiteX372" fmla="*/ 8129 w 10354"/>
                  <a:gd name="connsiteY372" fmla="*/ 6632 h 10000"/>
                  <a:gd name="connsiteX373" fmla="*/ 8171 w 10354"/>
                  <a:gd name="connsiteY373" fmla="*/ 6632 h 10000"/>
                  <a:gd name="connsiteX374" fmla="*/ 8180 w 10354"/>
                  <a:gd name="connsiteY374" fmla="*/ 6624 h 10000"/>
                  <a:gd name="connsiteX375" fmla="*/ 8189 w 10354"/>
                  <a:gd name="connsiteY375" fmla="*/ 6598 h 10000"/>
                  <a:gd name="connsiteX376" fmla="*/ 8203 w 10354"/>
                  <a:gd name="connsiteY376" fmla="*/ 6581 h 10000"/>
                  <a:gd name="connsiteX377" fmla="*/ 8207 w 10354"/>
                  <a:gd name="connsiteY377" fmla="*/ 6607 h 10000"/>
                  <a:gd name="connsiteX378" fmla="*/ 8221 w 10354"/>
                  <a:gd name="connsiteY378" fmla="*/ 6624 h 10000"/>
                  <a:gd name="connsiteX379" fmla="*/ 8235 w 10354"/>
                  <a:gd name="connsiteY379" fmla="*/ 6607 h 10000"/>
                  <a:gd name="connsiteX380" fmla="*/ 8240 w 10354"/>
                  <a:gd name="connsiteY380" fmla="*/ 6581 h 10000"/>
                  <a:gd name="connsiteX381" fmla="*/ 8253 w 10354"/>
                  <a:gd name="connsiteY381" fmla="*/ 6573 h 10000"/>
                  <a:gd name="connsiteX382" fmla="*/ 8263 w 10354"/>
                  <a:gd name="connsiteY382" fmla="*/ 6556 h 10000"/>
                  <a:gd name="connsiteX383" fmla="*/ 8276 w 10354"/>
                  <a:gd name="connsiteY383" fmla="*/ 6547 h 10000"/>
                  <a:gd name="connsiteX384" fmla="*/ 8290 w 10354"/>
                  <a:gd name="connsiteY384" fmla="*/ 6556 h 10000"/>
                  <a:gd name="connsiteX385" fmla="*/ 8304 w 10354"/>
                  <a:gd name="connsiteY385" fmla="*/ 6581 h 10000"/>
                  <a:gd name="connsiteX386" fmla="*/ 8309 w 10354"/>
                  <a:gd name="connsiteY386" fmla="*/ 6581 h 10000"/>
                  <a:gd name="connsiteX387" fmla="*/ 8327 w 10354"/>
                  <a:gd name="connsiteY387" fmla="*/ 6573 h 10000"/>
                  <a:gd name="connsiteX388" fmla="*/ 8327 w 10354"/>
                  <a:gd name="connsiteY388" fmla="*/ 6556 h 10000"/>
                  <a:gd name="connsiteX389" fmla="*/ 8350 w 10354"/>
                  <a:gd name="connsiteY389" fmla="*/ 6556 h 10000"/>
                  <a:gd name="connsiteX390" fmla="*/ 8355 w 10354"/>
                  <a:gd name="connsiteY390" fmla="*/ 6573 h 10000"/>
                  <a:gd name="connsiteX391" fmla="*/ 8364 w 10354"/>
                  <a:gd name="connsiteY391" fmla="*/ 6556 h 10000"/>
                  <a:gd name="connsiteX392" fmla="*/ 8369 w 10354"/>
                  <a:gd name="connsiteY392" fmla="*/ 6556 h 10000"/>
                  <a:gd name="connsiteX393" fmla="*/ 8378 w 10354"/>
                  <a:gd name="connsiteY393" fmla="*/ 6530 h 10000"/>
                  <a:gd name="connsiteX394" fmla="*/ 8369 w 10354"/>
                  <a:gd name="connsiteY394" fmla="*/ 6504 h 10000"/>
                  <a:gd name="connsiteX395" fmla="*/ 8364 w 10354"/>
                  <a:gd name="connsiteY395" fmla="*/ 6496 h 10000"/>
                  <a:gd name="connsiteX396" fmla="*/ 8336 w 10354"/>
                  <a:gd name="connsiteY396" fmla="*/ 6470 h 10000"/>
                  <a:gd name="connsiteX397" fmla="*/ 8309 w 10354"/>
                  <a:gd name="connsiteY397" fmla="*/ 6487 h 10000"/>
                  <a:gd name="connsiteX398" fmla="*/ 8313 w 10354"/>
                  <a:gd name="connsiteY398" fmla="*/ 6462 h 10000"/>
                  <a:gd name="connsiteX399" fmla="*/ 8323 w 10354"/>
                  <a:gd name="connsiteY399" fmla="*/ 6444 h 10000"/>
                  <a:gd name="connsiteX400" fmla="*/ 8309 w 10354"/>
                  <a:gd name="connsiteY400" fmla="*/ 6393 h 10000"/>
                  <a:gd name="connsiteX401" fmla="*/ 8313 w 10354"/>
                  <a:gd name="connsiteY401" fmla="*/ 6385 h 10000"/>
                  <a:gd name="connsiteX402" fmla="*/ 8323 w 10354"/>
                  <a:gd name="connsiteY402" fmla="*/ 6393 h 10000"/>
                  <a:gd name="connsiteX403" fmla="*/ 8323 w 10354"/>
                  <a:gd name="connsiteY403" fmla="*/ 6393 h 10000"/>
                  <a:gd name="connsiteX404" fmla="*/ 8355 w 10354"/>
                  <a:gd name="connsiteY404" fmla="*/ 6282 h 10000"/>
                  <a:gd name="connsiteX405" fmla="*/ 8369 w 10354"/>
                  <a:gd name="connsiteY405" fmla="*/ 6256 h 10000"/>
                  <a:gd name="connsiteX406" fmla="*/ 8382 w 10354"/>
                  <a:gd name="connsiteY406" fmla="*/ 6248 h 10000"/>
                  <a:gd name="connsiteX407" fmla="*/ 8424 w 10354"/>
                  <a:gd name="connsiteY407" fmla="*/ 6162 h 10000"/>
                  <a:gd name="connsiteX408" fmla="*/ 8429 w 10354"/>
                  <a:gd name="connsiteY408" fmla="*/ 6145 h 10000"/>
                  <a:gd name="connsiteX409" fmla="*/ 8470 w 10354"/>
                  <a:gd name="connsiteY409" fmla="*/ 6051 h 10000"/>
                  <a:gd name="connsiteX410" fmla="*/ 8475 w 10354"/>
                  <a:gd name="connsiteY410" fmla="*/ 5983 h 10000"/>
                  <a:gd name="connsiteX411" fmla="*/ 8512 w 10354"/>
                  <a:gd name="connsiteY411" fmla="*/ 5940 h 10000"/>
                  <a:gd name="connsiteX412" fmla="*/ 8521 w 10354"/>
                  <a:gd name="connsiteY412" fmla="*/ 5923 h 10000"/>
                  <a:gd name="connsiteX413" fmla="*/ 8535 w 10354"/>
                  <a:gd name="connsiteY413" fmla="*/ 5915 h 10000"/>
                  <a:gd name="connsiteX414" fmla="*/ 8562 w 10354"/>
                  <a:gd name="connsiteY414" fmla="*/ 5915 h 10000"/>
                  <a:gd name="connsiteX415" fmla="*/ 8618 w 10354"/>
                  <a:gd name="connsiteY415" fmla="*/ 5889 h 10000"/>
                  <a:gd name="connsiteX416" fmla="*/ 8622 w 10354"/>
                  <a:gd name="connsiteY416" fmla="*/ 5889 h 10000"/>
                  <a:gd name="connsiteX417" fmla="*/ 8622 w 10354"/>
                  <a:gd name="connsiteY417" fmla="*/ 5872 h 10000"/>
                  <a:gd name="connsiteX418" fmla="*/ 8636 w 10354"/>
                  <a:gd name="connsiteY418" fmla="*/ 5872 h 10000"/>
                  <a:gd name="connsiteX419" fmla="*/ 8650 w 10354"/>
                  <a:gd name="connsiteY419" fmla="*/ 5889 h 10000"/>
                  <a:gd name="connsiteX420" fmla="*/ 8659 w 10354"/>
                  <a:gd name="connsiteY420" fmla="*/ 5915 h 10000"/>
                  <a:gd name="connsiteX421" fmla="*/ 8664 w 10354"/>
                  <a:gd name="connsiteY421" fmla="*/ 5940 h 10000"/>
                  <a:gd name="connsiteX422" fmla="*/ 8682 w 10354"/>
                  <a:gd name="connsiteY422" fmla="*/ 5923 h 10000"/>
                  <a:gd name="connsiteX423" fmla="*/ 8719 w 10354"/>
                  <a:gd name="connsiteY423" fmla="*/ 5863 h 10000"/>
                  <a:gd name="connsiteX424" fmla="*/ 8705 w 10354"/>
                  <a:gd name="connsiteY424" fmla="*/ 5966 h 10000"/>
                  <a:gd name="connsiteX425" fmla="*/ 8696 w 10354"/>
                  <a:gd name="connsiteY425" fmla="*/ 5983 h 10000"/>
                  <a:gd name="connsiteX426" fmla="*/ 8682 w 10354"/>
                  <a:gd name="connsiteY426" fmla="*/ 6026 h 10000"/>
                  <a:gd name="connsiteX427" fmla="*/ 8682 w 10354"/>
                  <a:gd name="connsiteY427" fmla="*/ 6051 h 10000"/>
                  <a:gd name="connsiteX428" fmla="*/ 8691 w 10354"/>
                  <a:gd name="connsiteY428" fmla="*/ 6077 h 10000"/>
                  <a:gd name="connsiteX429" fmla="*/ 8691 w 10354"/>
                  <a:gd name="connsiteY429" fmla="*/ 6085 h 10000"/>
                  <a:gd name="connsiteX430" fmla="*/ 8682 w 10354"/>
                  <a:gd name="connsiteY430" fmla="*/ 6103 h 10000"/>
                  <a:gd name="connsiteX431" fmla="*/ 8682 w 10354"/>
                  <a:gd name="connsiteY431" fmla="*/ 6111 h 10000"/>
                  <a:gd name="connsiteX432" fmla="*/ 8691 w 10354"/>
                  <a:gd name="connsiteY432" fmla="*/ 6120 h 10000"/>
                  <a:gd name="connsiteX433" fmla="*/ 8719 w 10354"/>
                  <a:gd name="connsiteY433" fmla="*/ 6103 h 10000"/>
                  <a:gd name="connsiteX434" fmla="*/ 8705 w 10354"/>
                  <a:gd name="connsiteY434" fmla="*/ 6188 h 10000"/>
                  <a:gd name="connsiteX435" fmla="*/ 8705 w 10354"/>
                  <a:gd name="connsiteY435" fmla="*/ 6214 h 10000"/>
                  <a:gd name="connsiteX436" fmla="*/ 8710 w 10354"/>
                  <a:gd name="connsiteY436" fmla="*/ 6197 h 10000"/>
                  <a:gd name="connsiteX437" fmla="*/ 8728 w 10354"/>
                  <a:gd name="connsiteY437" fmla="*/ 6171 h 10000"/>
                  <a:gd name="connsiteX438" fmla="*/ 8737 w 10354"/>
                  <a:gd name="connsiteY438" fmla="*/ 6171 h 10000"/>
                  <a:gd name="connsiteX439" fmla="*/ 8843 w 10354"/>
                  <a:gd name="connsiteY439" fmla="*/ 5949 h 10000"/>
                  <a:gd name="connsiteX440" fmla="*/ 8866 w 10354"/>
                  <a:gd name="connsiteY440" fmla="*/ 5949 h 10000"/>
                  <a:gd name="connsiteX441" fmla="*/ 8871 w 10354"/>
                  <a:gd name="connsiteY441" fmla="*/ 5940 h 10000"/>
                  <a:gd name="connsiteX442" fmla="*/ 8876 w 10354"/>
                  <a:gd name="connsiteY442" fmla="*/ 5923 h 10000"/>
                  <a:gd name="connsiteX443" fmla="*/ 8885 w 10354"/>
                  <a:gd name="connsiteY443" fmla="*/ 5940 h 10000"/>
                  <a:gd name="connsiteX444" fmla="*/ 8885 w 10354"/>
                  <a:gd name="connsiteY444" fmla="*/ 5949 h 10000"/>
                  <a:gd name="connsiteX445" fmla="*/ 8885 w 10354"/>
                  <a:gd name="connsiteY445" fmla="*/ 5974 h 10000"/>
                  <a:gd name="connsiteX446" fmla="*/ 8889 w 10354"/>
                  <a:gd name="connsiteY446" fmla="*/ 5974 h 10000"/>
                  <a:gd name="connsiteX447" fmla="*/ 8903 w 10354"/>
                  <a:gd name="connsiteY447" fmla="*/ 5923 h 10000"/>
                  <a:gd name="connsiteX448" fmla="*/ 8889 w 10354"/>
                  <a:gd name="connsiteY448" fmla="*/ 5923 h 10000"/>
                  <a:gd name="connsiteX449" fmla="*/ 8889 w 10354"/>
                  <a:gd name="connsiteY449" fmla="*/ 5897 h 10000"/>
                  <a:gd name="connsiteX450" fmla="*/ 8899 w 10354"/>
                  <a:gd name="connsiteY450" fmla="*/ 5838 h 10000"/>
                  <a:gd name="connsiteX451" fmla="*/ 8889 w 10354"/>
                  <a:gd name="connsiteY451" fmla="*/ 5812 h 10000"/>
                  <a:gd name="connsiteX452" fmla="*/ 8903 w 10354"/>
                  <a:gd name="connsiteY452" fmla="*/ 5778 h 10000"/>
                  <a:gd name="connsiteX453" fmla="*/ 8903 w 10354"/>
                  <a:gd name="connsiteY453" fmla="*/ 5761 h 10000"/>
                  <a:gd name="connsiteX454" fmla="*/ 8912 w 10354"/>
                  <a:gd name="connsiteY454" fmla="*/ 5735 h 10000"/>
                  <a:gd name="connsiteX455" fmla="*/ 8931 w 10354"/>
                  <a:gd name="connsiteY455" fmla="*/ 5701 h 10000"/>
                  <a:gd name="connsiteX456" fmla="*/ 8977 w 10354"/>
                  <a:gd name="connsiteY456" fmla="*/ 5675 h 10000"/>
                  <a:gd name="connsiteX457" fmla="*/ 9000 w 10354"/>
                  <a:gd name="connsiteY457" fmla="*/ 5675 h 10000"/>
                  <a:gd name="connsiteX458" fmla="*/ 9018 w 10354"/>
                  <a:gd name="connsiteY458" fmla="*/ 5709 h 10000"/>
                  <a:gd name="connsiteX459" fmla="*/ 9009 w 10354"/>
                  <a:gd name="connsiteY459" fmla="*/ 5735 h 10000"/>
                  <a:gd name="connsiteX460" fmla="*/ 9000 w 10354"/>
                  <a:gd name="connsiteY460" fmla="*/ 5735 h 10000"/>
                  <a:gd name="connsiteX461" fmla="*/ 8963 w 10354"/>
                  <a:gd name="connsiteY461" fmla="*/ 5786 h 10000"/>
                  <a:gd name="connsiteX462" fmla="*/ 8949 w 10354"/>
                  <a:gd name="connsiteY462" fmla="*/ 5940 h 10000"/>
                  <a:gd name="connsiteX463" fmla="*/ 8945 w 10354"/>
                  <a:gd name="connsiteY463" fmla="*/ 5966 h 10000"/>
                  <a:gd name="connsiteX464" fmla="*/ 8945 w 10354"/>
                  <a:gd name="connsiteY464" fmla="*/ 6000 h 10000"/>
                  <a:gd name="connsiteX465" fmla="*/ 8945 w 10354"/>
                  <a:gd name="connsiteY465" fmla="*/ 6009 h 10000"/>
                  <a:gd name="connsiteX466" fmla="*/ 8945 w 10354"/>
                  <a:gd name="connsiteY466" fmla="*/ 6034 h 10000"/>
                  <a:gd name="connsiteX467" fmla="*/ 8931 w 10354"/>
                  <a:gd name="connsiteY467" fmla="*/ 6060 h 10000"/>
                  <a:gd name="connsiteX468" fmla="*/ 8926 w 10354"/>
                  <a:gd name="connsiteY468" fmla="*/ 6077 h 10000"/>
                  <a:gd name="connsiteX469" fmla="*/ 8926 w 10354"/>
                  <a:gd name="connsiteY469" fmla="*/ 6111 h 10000"/>
                  <a:gd name="connsiteX470" fmla="*/ 8931 w 10354"/>
                  <a:gd name="connsiteY470" fmla="*/ 6120 h 10000"/>
                  <a:gd name="connsiteX471" fmla="*/ 8931 w 10354"/>
                  <a:gd name="connsiteY471" fmla="*/ 6137 h 10000"/>
                  <a:gd name="connsiteX472" fmla="*/ 8912 w 10354"/>
                  <a:gd name="connsiteY472" fmla="*/ 6171 h 10000"/>
                  <a:gd name="connsiteX473" fmla="*/ 8899 w 10354"/>
                  <a:gd name="connsiteY473" fmla="*/ 6162 h 10000"/>
                  <a:gd name="connsiteX474" fmla="*/ 8885 w 10354"/>
                  <a:gd name="connsiteY474" fmla="*/ 6171 h 10000"/>
                  <a:gd name="connsiteX475" fmla="*/ 8866 w 10354"/>
                  <a:gd name="connsiteY475" fmla="*/ 6214 h 10000"/>
                  <a:gd name="connsiteX476" fmla="*/ 8853 w 10354"/>
                  <a:gd name="connsiteY476" fmla="*/ 6214 h 10000"/>
                  <a:gd name="connsiteX477" fmla="*/ 8816 w 10354"/>
                  <a:gd name="connsiteY477" fmla="*/ 6248 h 10000"/>
                  <a:gd name="connsiteX478" fmla="*/ 8816 w 10354"/>
                  <a:gd name="connsiteY478" fmla="*/ 6248 h 10000"/>
                  <a:gd name="connsiteX479" fmla="*/ 8816 w 10354"/>
                  <a:gd name="connsiteY479" fmla="*/ 6282 h 10000"/>
                  <a:gd name="connsiteX480" fmla="*/ 8811 w 10354"/>
                  <a:gd name="connsiteY480" fmla="*/ 6308 h 10000"/>
                  <a:gd name="connsiteX481" fmla="*/ 8751 w 10354"/>
                  <a:gd name="connsiteY481" fmla="*/ 6436 h 10000"/>
                  <a:gd name="connsiteX482" fmla="*/ 8724 w 10354"/>
                  <a:gd name="connsiteY482" fmla="*/ 6470 h 10000"/>
                  <a:gd name="connsiteX483" fmla="*/ 8710 w 10354"/>
                  <a:gd name="connsiteY483" fmla="*/ 6504 h 10000"/>
                  <a:gd name="connsiteX484" fmla="*/ 8705 w 10354"/>
                  <a:gd name="connsiteY484" fmla="*/ 6521 h 10000"/>
                  <a:gd name="connsiteX485" fmla="*/ 8677 w 10354"/>
                  <a:gd name="connsiteY485" fmla="*/ 6573 h 10000"/>
                  <a:gd name="connsiteX486" fmla="*/ 8677 w 10354"/>
                  <a:gd name="connsiteY486" fmla="*/ 6624 h 10000"/>
                  <a:gd name="connsiteX487" fmla="*/ 8590 w 10354"/>
                  <a:gd name="connsiteY487" fmla="*/ 6803 h 10000"/>
                  <a:gd name="connsiteX488" fmla="*/ 8562 w 10354"/>
                  <a:gd name="connsiteY488" fmla="*/ 6829 h 10000"/>
                  <a:gd name="connsiteX489" fmla="*/ 8544 w 10354"/>
                  <a:gd name="connsiteY489" fmla="*/ 6829 h 10000"/>
                  <a:gd name="connsiteX490" fmla="*/ 8521 w 10354"/>
                  <a:gd name="connsiteY490" fmla="*/ 6880 h 10000"/>
                  <a:gd name="connsiteX491" fmla="*/ 8498 w 10354"/>
                  <a:gd name="connsiteY491" fmla="*/ 6872 h 10000"/>
                  <a:gd name="connsiteX492" fmla="*/ 8488 w 10354"/>
                  <a:gd name="connsiteY492" fmla="*/ 6872 h 10000"/>
                  <a:gd name="connsiteX493" fmla="*/ 8498 w 10354"/>
                  <a:gd name="connsiteY493" fmla="*/ 6940 h 10000"/>
                  <a:gd name="connsiteX494" fmla="*/ 8484 w 10354"/>
                  <a:gd name="connsiteY494" fmla="*/ 7026 h 10000"/>
                  <a:gd name="connsiteX495" fmla="*/ 8429 w 10354"/>
                  <a:gd name="connsiteY495" fmla="*/ 7094 h 10000"/>
                  <a:gd name="connsiteX496" fmla="*/ 8401 w 10354"/>
                  <a:gd name="connsiteY496" fmla="*/ 7291 h 10000"/>
                  <a:gd name="connsiteX497" fmla="*/ 8424 w 10354"/>
                  <a:gd name="connsiteY497" fmla="*/ 7692 h 10000"/>
                  <a:gd name="connsiteX498" fmla="*/ 8424 w 10354"/>
                  <a:gd name="connsiteY498" fmla="*/ 7701 h 10000"/>
                  <a:gd name="connsiteX499" fmla="*/ 8484 w 10354"/>
                  <a:gd name="connsiteY499" fmla="*/ 8308 h 10000"/>
                  <a:gd name="connsiteX500" fmla="*/ 8576 w 10354"/>
                  <a:gd name="connsiteY500" fmla="*/ 8120 h 10000"/>
                  <a:gd name="connsiteX501" fmla="*/ 8590 w 10354"/>
                  <a:gd name="connsiteY501" fmla="*/ 8026 h 10000"/>
                  <a:gd name="connsiteX502" fmla="*/ 8590 w 10354"/>
                  <a:gd name="connsiteY502" fmla="*/ 7983 h 10000"/>
                  <a:gd name="connsiteX503" fmla="*/ 8594 w 10354"/>
                  <a:gd name="connsiteY503" fmla="*/ 7974 h 10000"/>
                  <a:gd name="connsiteX504" fmla="*/ 8594 w 10354"/>
                  <a:gd name="connsiteY504" fmla="*/ 7940 h 10000"/>
                  <a:gd name="connsiteX505" fmla="*/ 8594 w 10354"/>
                  <a:gd name="connsiteY505" fmla="*/ 7923 h 10000"/>
                  <a:gd name="connsiteX506" fmla="*/ 8594 w 10354"/>
                  <a:gd name="connsiteY506" fmla="*/ 7915 h 10000"/>
                  <a:gd name="connsiteX507" fmla="*/ 8604 w 10354"/>
                  <a:gd name="connsiteY507" fmla="*/ 7915 h 10000"/>
                  <a:gd name="connsiteX508" fmla="*/ 8608 w 10354"/>
                  <a:gd name="connsiteY508" fmla="*/ 7923 h 10000"/>
                  <a:gd name="connsiteX509" fmla="*/ 8645 w 10354"/>
                  <a:gd name="connsiteY509" fmla="*/ 7872 h 10000"/>
                  <a:gd name="connsiteX510" fmla="*/ 8668 w 10354"/>
                  <a:gd name="connsiteY510" fmla="*/ 7846 h 10000"/>
                  <a:gd name="connsiteX511" fmla="*/ 8691 w 10354"/>
                  <a:gd name="connsiteY511" fmla="*/ 7863 h 10000"/>
                  <a:gd name="connsiteX512" fmla="*/ 8691 w 10354"/>
                  <a:gd name="connsiteY512" fmla="*/ 7846 h 10000"/>
                  <a:gd name="connsiteX513" fmla="*/ 8682 w 10354"/>
                  <a:gd name="connsiteY513" fmla="*/ 7838 h 10000"/>
                  <a:gd name="connsiteX514" fmla="*/ 8682 w 10354"/>
                  <a:gd name="connsiteY514" fmla="*/ 7692 h 10000"/>
                  <a:gd name="connsiteX515" fmla="*/ 8728 w 10354"/>
                  <a:gd name="connsiteY515" fmla="*/ 7598 h 10000"/>
                  <a:gd name="connsiteX516" fmla="*/ 8751 w 10354"/>
                  <a:gd name="connsiteY516" fmla="*/ 7573 h 10000"/>
                  <a:gd name="connsiteX517" fmla="*/ 8770 w 10354"/>
                  <a:gd name="connsiteY517" fmla="*/ 7573 h 10000"/>
                  <a:gd name="connsiteX518" fmla="*/ 8779 w 10354"/>
                  <a:gd name="connsiteY518" fmla="*/ 7590 h 10000"/>
                  <a:gd name="connsiteX519" fmla="*/ 8793 w 10354"/>
                  <a:gd name="connsiteY519" fmla="*/ 7590 h 10000"/>
                  <a:gd name="connsiteX520" fmla="*/ 8811 w 10354"/>
                  <a:gd name="connsiteY520" fmla="*/ 7590 h 10000"/>
                  <a:gd name="connsiteX521" fmla="*/ 8825 w 10354"/>
                  <a:gd name="connsiteY521" fmla="*/ 7556 h 10000"/>
                  <a:gd name="connsiteX522" fmla="*/ 8829 w 10354"/>
                  <a:gd name="connsiteY522" fmla="*/ 7530 h 10000"/>
                  <a:gd name="connsiteX523" fmla="*/ 8802 w 10354"/>
                  <a:gd name="connsiteY523" fmla="*/ 7462 h 10000"/>
                  <a:gd name="connsiteX524" fmla="*/ 8797 w 10354"/>
                  <a:gd name="connsiteY524" fmla="*/ 7402 h 10000"/>
                  <a:gd name="connsiteX525" fmla="*/ 8816 w 10354"/>
                  <a:gd name="connsiteY525" fmla="*/ 7291 h 10000"/>
                  <a:gd name="connsiteX526" fmla="*/ 8825 w 10354"/>
                  <a:gd name="connsiteY526" fmla="*/ 7256 h 10000"/>
                  <a:gd name="connsiteX527" fmla="*/ 8843 w 10354"/>
                  <a:gd name="connsiteY527" fmla="*/ 7231 h 10000"/>
                  <a:gd name="connsiteX528" fmla="*/ 8839 w 10354"/>
                  <a:gd name="connsiteY528" fmla="*/ 7205 h 10000"/>
                  <a:gd name="connsiteX529" fmla="*/ 8839 w 10354"/>
                  <a:gd name="connsiteY529" fmla="*/ 7188 h 10000"/>
                  <a:gd name="connsiteX530" fmla="*/ 8876 w 10354"/>
                  <a:gd name="connsiteY530" fmla="*/ 7162 h 10000"/>
                  <a:gd name="connsiteX531" fmla="*/ 8885 w 10354"/>
                  <a:gd name="connsiteY531" fmla="*/ 7154 h 10000"/>
                  <a:gd name="connsiteX532" fmla="*/ 8885 w 10354"/>
                  <a:gd name="connsiteY532" fmla="*/ 7162 h 10000"/>
                  <a:gd name="connsiteX533" fmla="*/ 8876 w 10354"/>
                  <a:gd name="connsiteY533" fmla="*/ 7188 h 10000"/>
                  <a:gd name="connsiteX534" fmla="*/ 8871 w 10354"/>
                  <a:gd name="connsiteY534" fmla="*/ 7205 h 10000"/>
                  <a:gd name="connsiteX535" fmla="*/ 8866 w 10354"/>
                  <a:gd name="connsiteY535" fmla="*/ 7214 h 10000"/>
                  <a:gd name="connsiteX536" fmla="*/ 8876 w 10354"/>
                  <a:gd name="connsiteY536" fmla="*/ 7265 h 10000"/>
                  <a:gd name="connsiteX537" fmla="*/ 8885 w 10354"/>
                  <a:gd name="connsiteY537" fmla="*/ 7282 h 10000"/>
                  <a:gd name="connsiteX538" fmla="*/ 8889 w 10354"/>
                  <a:gd name="connsiteY538" fmla="*/ 7282 h 10000"/>
                  <a:gd name="connsiteX539" fmla="*/ 8903 w 10354"/>
                  <a:gd name="connsiteY539" fmla="*/ 7239 h 10000"/>
                  <a:gd name="connsiteX540" fmla="*/ 8903 w 10354"/>
                  <a:gd name="connsiteY540" fmla="*/ 7214 h 10000"/>
                  <a:gd name="connsiteX541" fmla="*/ 8899 w 10354"/>
                  <a:gd name="connsiteY541" fmla="*/ 7128 h 10000"/>
                  <a:gd name="connsiteX542" fmla="*/ 8889 w 10354"/>
                  <a:gd name="connsiteY542" fmla="*/ 7120 h 10000"/>
                  <a:gd name="connsiteX543" fmla="*/ 8871 w 10354"/>
                  <a:gd name="connsiteY543" fmla="*/ 7120 h 10000"/>
                  <a:gd name="connsiteX544" fmla="*/ 8871 w 10354"/>
                  <a:gd name="connsiteY544" fmla="*/ 7120 h 10000"/>
                  <a:gd name="connsiteX545" fmla="*/ 8871 w 10354"/>
                  <a:gd name="connsiteY545" fmla="*/ 6991 h 10000"/>
                  <a:gd name="connsiteX546" fmla="*/ 8871 w 10354"/>
                  <a:gd name="connsiteY546" fmla="*/ 6966 h 10000"/>
                  <a:gd name="connsiteX547" fmla="*/ 8889 w 10354"/>
                  <a:gd name="connsiteY547" fmla="*/ 6940 h 10000"/>
                  <a:gd name="connsiteX548" fmla="*/ 8903 w 10354"/>
                  <a:gd name="connsiteY548" fmla="*/ 6906 h 10000"/>
                  <a:gd name="connsiteX549" fmla="*/ 8899 w 10354"/>
                  <a:gd name="connsiteY549" fmla="*/ 6880 h 10000"/>
                  <a:gd name="connsiteX550" fmla="*/ 8866 w 10354"/>
                  <a:gd name="connsiteY550" fmla="*/ 6846 h 10000"/>
                  <a:gd name="connsiteX551" fmla="*/ 8853 w 10354"/>
                  <a:gd name="connsiteY551" fmla="*/ 6846 h 10000"/>
                  <a:gd name="connsiteX552" fmla="*/ 8843 w 10354"/>
                  <a:gd name="connsiteY552" fmla="*/ 6880 h 10000"/>
                  <a:gd name="connsiteX553" fmla="*/ 8843 w 10354"/>
                  <a:gd name="connsiteY553" fmla="*/ 6897 h 10000"/>
                  <a:gd name="connsiteX554" fmla="*/ 8829 w 10354"/>
                  <a:gd name="connsiteY554" fmla="*/ 6880 h 10000"/>
                  <a:gd name="connsiteX555" fmla="*/ 8825 w 10354"/>
                  <a:gd name="connsiteY555" fmla="*/ 6872 h 10000"/>
                  <a:gd name="connsiteX556" fmla="*/ 8816 w 10354"/>
                  <a:gd name="connsiteY556" fmla="*/ 6846 h 10000"/>
                  <a:gd name="connsiteX557" fmla="*/ 8816 w 10354"/>
                  <a:gd name="connsiteY557" fmla="*/ 6803 h 10000"/>
                  <a:gd name="connsiteX558" fmla="*/ 8876 w 10354"/>
                  <a:gd name="connsiteY558" fmla="*/ 6598 h 10000"/>
                  <a:gd name="connsiteX559" fmla="*/ 8876 w 10354"/>
                  <a:gd name="connsiteY559" fmla="*/ 6573 h 10000"/>
                  <a:gd name="connsiteX560" fmla="*/ 8885 w 10354"/>
                  <a:gd name="connsiteY560" fmla="*/ 6556 h 10000"/>
                  <a:gd name="connsiteX561" fmla="*/ 8899 w 10354"/>
                  <a:gd name="connsiteY561" fmla="*/ 6573 h 10000"/>
                  <a:gd name="connsiteX562" fmla="*/ 8889 w 10354"/>
                  <a:gd name="connsiteY562" fmla="*/ 6556 h 10000"/>
                  <a:gd name="connsiteX563" fmla="*/ 8889 w 10354"/>
                  <a:gd name="connsiteY563" fmla="*/ 6530 h 10000"/>
                  <a:gd name="connsiteX564" fmla="*/ 8903 w 10354"/>
                  <a:gd name="connsiteY564" fmla="*/ 6521 h 10000"/>
                  <a:gd name="connsiteX565" fmla="*/ 8903 w 10354"/>
                  <a:gd name="connsiteY565" fmla="*/ 6504 h 10000"/>
                  <a:gd name="connsiteX566" fmla="*/ 8903 w 10354"/>
                  <a:gd name="connsiteY566" fmla="*/ 6487 h 10000"/>
                  <a:gd name="connsiteX567" fmla="*/ 8903 w 10354"/>
                  <a:gd name="connsiteY567" fmla="*/ 6462 h 10000"/>
                  <a:gd name="connsiteX568" fmla="*/ 8912 w 10354"/>
                  <a:gd name="connsiteY568" fmla="*/ 6419 h 10000"/>
                  <a:gd name="connsiteX569" fmla="*/ 8917 w 10354"/>
                  <a:gd name="connsiteY569" fmla="*/ 6393 h 10000"/>
                  <a:gd name="connsiteX570" fmla="*/ 8926 w 10354"/>
                  <a:gd name="connsiteY570" fmla="*/ 6385 h 10000"/>
                  <a:gd name="connsiteX571" fmla="*/ 8931 w 10354"/>
                  <a:gd name="connsiteY571" fmla="*/ 6385 h 10000"/>
                  <a:gd name="connsiteX572" fmla="*/ 8949 w 10354"/>
                  <a:gd name="connsiteY572" fmla="*/ 6359 h 10000"/>
                  <a:gd name="connsiteX573" fmla="*/ 8959 w 10354"/>
                  <a:gd name="connsiteY573" fmla="*/ 6368 h 10000"/>
                  <a:gd name="connsiteX574" fmla="*/ 8963 w 10354"/>
                  <a:gd name="connsiteY574" fmla="*/ 6385 h 10000"/>
                  <a:gd name="connsiteX575" fmla="*/ 8972 w 10354"/>
                  <a:gd name="connsiteY575" fmla="*/ 6359 h 10000"/>
                  <a:gd name="connsiteX576" fmla="*/ 8991 w 10354"/>
                  <a:gd name="connsiteY576" fmla="*/ 6350 h 10000"/>
                  <a:gd name="connsiteX577" fmla="*/ 9000 w 10354"/>
                  <a:gd name="connsiteY577" fmla="*/ 6368 h 10000"/>
                  <a:gd name="connsiteX578" fmla="*/ 9005 w 10354"/>
                  <a:gd name="connsiteY578" fmla="*/ 6393 h 10000"/>
                  <a:gd name="connsiteX579" fmla="*/ 9018 w 10354"/>
                  <a:gd name="connsiteY579" fmla="*/ 6393 h 10000"/>
                  <a:gd name="connsiteX580" fmla="*/ 9023 w 10354"/>
                  <a:gd name="connsiteY580" fmla="*/ 6359 h 10000"/>
                  <a:gd name="connsiteX581" fmla="*/ 9023 w 10354"/>
                  <a:gd name="connsiteY581" fmla="*/ 6333 h 10000"/>
                  <a:gd name="connsiteX582" fmla="*/ 9037 w 10354"/>
                  <a:gd name="connsiteY582" fmla="*/ 6308 h 10000"/>
                  <a:gd name="connsiteX583" fmla="*/ 9074 w 10354"/>
                  <a:gd name="connsiteY583" fmla="*/ 6274 h 10000"/>
                  <a:gd name="connsiteX584" fmla="*/ 9092 w 10354"/>
                  <a:gd name="connsiteY584" fmla="*/ 6222 h 10000"/>
                  <a:gd name="connsiteX585" fmla="*/ 9097 w 10354"/>
                  <a:gd name="connsiteY585" fmla="*/ 6231 h 10000"/>
                  <a:gd name="connsiteX586" fmla="*/ 9097 w 10354"/>
                  <a:gd name="connsiteY586" fmla="*/ 6248 h 10000"/>
                  <a:gd name="connsiteX587" fmla="*/ 9097 w 10354"/>
                  <a:gd name="connsiteY587" fmla="*/ 6274 h 10000"/>
                  <a:gd name="connsiteX588" fmla="*/ 9097 w 10354"/>
                  <a:gd name="connsiteY588" fmla="*/ 6308 h 10000"/>
                  <a:gd name="connsiteX589" fmla="*/ 9092 w 10354"/>
                  <a:gd name="connsiteY589" fmla="*/ 6368 h 10000"/>
                  <a:gd name="connsiteX590" fmla="*/ 9092 w 10354"/>
                  <a:gd name="connsiteY590" fmla="*/ 6385 h 10000"/>
                  <a:gd name="connsiteX591" fmla="*/ 9092 w 10354"/>
                  <a:gd name="connsiteY591" fmla="*/ 6393 h 10000"/>
                  <a:gd name="connsiteX592" fmla="*/ 9092 w 10354"/>
                  <a:gd name="connsiteY592" fmla="*/ 6393 h 10000"/>
                  <a:gd name="connsiteX593" fmla="*/ 9143 w 10354"/>
                  <a:gd name="connsiteY593" fmla="*/ 6299 h 10000"/>
                  <a:gd name="connsiteX594" fmla="*/ 9143 w 10354"/>
                  <a:gd name="connsiteY594" fmla="*/ 6282 h 10000"/>
                  <a:gd name="connsiteX595" fmla="*/ 9143 w 10354"/>
                  <a:gd name="connsiteY595" fmla="*/ 6256 h 10000"/>
                  <a:gd name="connsiteX596" fmla="*/ 9143 w 10354"/>
                  <a:gd name="connsiteY596" fmla="*/ 6256 h 10000"/>
                  <a:gd name="connsiteX597" fmla="*/ 9157 w 10354"/>
                  <a:gd name="connsiteY597" fmla="*/ 6274 h 10000"/>
                  <a:gd name="connsiteX598" fmla="*/ 9166 w 10354"/>
                  <a:gd name="connsiteY598" fmla="*/ 6248 h 10000"/>
                  <a:gd name="connsiteX599" fmla="*/ 9180 w 10354"/>
                  <a:gd name="connsiteY599" fmla="*/ 6248 h 10000"/>
                  <a:gd name="connsiteX600" fmla="*/ 9198 w 10354"/>
                  <a:gd name="connsiteY600" fmla="*/ 6222 h 10000"/>
                  <a:gd name="connsiteX601" fmla="*/ 9212 w 10354"/>
                  <a:gd name="connsiteY601" fmla="*/ 6222 h 10000"/>
                  <a:gd name="connsiteX602" fmla="*/ 9226 w 10354"/>
                  <a:gd name="connsiteY602" fmla="*/ 6197 h 10000"/>
                  <a:gd name="connsiteX603" fmla="*/ 9230 w 10354"/>
                  <a:gd name="connsiteY603" fmla="*/ 6214 h 10000"/>
                  <a:gd name="connsiteX604" fmla="*/ 9272 w 10354"/>
                  <a:gd name="connsiteY604" fmla="*/ 6214 h 10000"/>
                  <a:gd name="connsiteX605" fmla="*/ 9304 w 10354"/>
                  <a:gd name="connsiteY605" fmla="*/ 6231 h 10000"/>
                  <a:gd name="connsiteX606" fmla="*/ 9318 w 10354"/>
                  <a:gd name="connsiteY606" fmla="*/ 6248 h 10000"/>
                  <a:gd name="connsiteX607" fmla="*/ 9327 w 10354"/>
                  <a:gd name="connsiteY607" fmla="*/ 6282 h 10000"/>
                  <a:gd name="connsiteX608" fmla="*/ 9355 w 10354"/>
                  <a:gd name="connsiteY608" fmla="*/ 6350 h 10000"/>
                  <a:gd name="connsiteX609" fmla="*/ 9355 w 10354"/>
                  <a:gd name="connsiteY609" fmla="*/ 6359 h 10000"/>
                  <a:gd name="connsiteX610" fmla="*/ 9364 w 10354"/>
                  <a:gd name="connsiteY610" fmla="*/ 6368 h 10000"/>
                  <a:gd name="connsiteX611" fmla="*/ 9373 w 10354"/>
                  <a:gd name="connsiteY611" fmla="*/ 6359 h 10000"/>
                  <a:gd name="connsiteX612" fmla="*/ 9373 w 10354"/>
                  <a:gd name="connsiteY612" fmla="*/ 6325 h 10000"/>
                  <a:gd name="connsiteX613" fmla="*/ 9387 w 10354"/>
                  <a:gd name="connsiteY613" fmla="*/ 6256 h 10000"/>
                  <a:gd name="connsiteX614" fmla="*/ 9387 w 10354"/>
                  <a:gd name="connsiteY614" fmla="*/ 6248 h 10000"/>
                  <a:gd name="connsiteX615" fmla="*/ 9378 w 10354"/>
                  <a:gd name="connsiteY615" fmla="*/ 6248 h 10000"/>
                  <a:gd name="connsiteX616" fmla="*/ 9406 w 10354"/>
                  <a:gd name="connsiteY616" fmla="*/ 6222 h 10000"/>
                  <a:gd name="connsiteX617" fmla="*/ 9415 w 10354"/>
                  <a:gd name="connsiteY617" fmla="*/ 6222 h 10000"/>
                  <a:gd name="connsiteX618" fmla="*/ 9415 w 10354"/>
                  <a:gd name="connsiteY618" fmla="*/ 6197 h 10000"/>
                  <a:gd name="connsiteX619" fmla="*/ 9419 w 10354"/>
                  <a:gd name="connsiteY619" fmla="*/ 6214 h 10000"/>
                  <a:gd name="connsiteX620" fmla="*/ 9424 w 10354"/>
                  <a:gd name="connsiteY620" fmla="*/ 6214 h 10000"/>
                  <a:gd name="connsiteX621" fmla="*/ 9447 w 10354"/>
                  <a:gd name="connsiteY621" fmla="*/ 6171 h 10000"/>
                  <a:gd name="connsiteX622" fmla="*/ 9452 w 10354"/>
                  <a:gd name="connsiteY622" fmla="*/ 6171 h 10000"/>
                  <a:gd name="connsiteX623" fmla="*/ 9452 w 10354"/>
                  <a:gd name="connsiteY623" fmla="*/ 6162 h 10000"/>
                  <a:gd name="connsiteX624" fmla="*/ 9461 w 10354"/>
                  <a:gd name="connsiteY624" fmla="*/ 6137 h 10000"/>
                  <a:gd name="connsiteX625" fmla="*/ 9475 w 10354"/>
                  <a:gd name="connsiteY625" fmla="*/ 6137 h 10000"/>
                  <a:gd name="connsiteX626" fmla="*/ 9475 w 10354"/>
                  <a:gd name="connsiteY626" fmla="*/ 6137 h 10000"/>
                  <a:gd name="connsiteX627" fmla="*/ 9479 w 10354"/>
                  <a:gd name="connsiteY627" fmla="*/ 6120 h 10000"/>
                  <a:gd name="connsiteX628" fmla="*/ 9488 w 10354"/>
                  <a:gd name="connsiteY628" fmla="*/ 6120 h 10000"/>
                  <a:gd name="connsiteX629" fmla="*/ 9488 w 10354"/>
                  <a:gd name="connsiteY629" fmla="*/ 6111 h 10000"/>
                  <a:gd name="connsiteX630" fmla="*/ 9479 w 10354"/>
                  <a:gd name="connsiteY630" fmla="*/ 6103 h 10000"/>
                  <a:gd name="connsiteX631" fmla="*/ 9479 w 10354"/>
                  <a:gd name="connsiteY631" fmla="*/ 6085 h 10000"/>
                  <a:gd name="connsiteX632" fmla="*/ 9488 w 10354"/>
                  <a:gd name="connsiteY632" fmla="*/ 6103 h 10000"/>
                  <a:gd name="connsiteX633" fmla="*/ 9493 w 10354"/>
                  <a:gd name="connsiteY633" fmla="*/ 6111 h 10000"/>
                  <a:gd name="connsiteX634" fmla="*/ 9498 w 10354"/>
                  <a:gd name="connsiteY634" fmla="*/ 6103 h 10000"/>
                  <a:gd name="connsiteX635" fmla="*/ 9507 w 10354"/>
                  <a:gd name="connsiteY635" fmla="*/ 6077 h 10000"/>
                  <a:gd name="connsiteX636" fmla="*/ 9498 w 10354"/>
                  <a:gd name="connsiteY636" fmla="*/ 6060 h 10000"/>
                  <a:gd name="connsiteX637" fmla="*/ 9512 w 10354"/>
                  <a:gd name="connsiteY637" fmla="*/ 6060 h 10000"/>
                  <a:gd name="connsiteX638" fmla="*/ 9525 w 10354"/>
                  <a:gd name="connsiteY638" fmla="*/ 6034 h 10000"/>
                  <a:gd name="connsiteX639" fmla="*/ 9535 w 10354"/>
                  <a:gd name="connsiteY639" fmla="*/ 6034 h 10000"/>
                  <a:gd name="connsiteX640" fmla="*/ 9535 w 10354"/>
                  <a:gd name="connsiteY640" fmla="*/ 6026 h 10000"/>
                  <a:gd name="connsiteX641" fmla="*/ 9525 w 10354"/>
                  <a:gd name="connsiteY641" fmla="*/ 6009 h 10000"/>
                  <a:gd name="connsiteX642" fmla="*/ 9535 w 10354"/>
                  <a:gd name="connsiteY642" fmla="*/ 6000 h 10000"/>
                  <a:gd name="connsiteX643" fmla="*/ 9539 w 10354"/>
                  <a:gd name="connsiteY643" fmla="*/ 6009 h 10000"/>
                  <a:gd name="connsiteX644" fmla="*/ 9548 w 10354"/>
                  <a:gd name="connsiteY644" fmla="*/ 6009 h 10000"/>
                  <a:gd name="connsiteX645" fmla="*/ 9553 w 10354"/>
                  <a:gd name="connsiteY645" fmla="*/ 6000 h 10000"/>
                  <a:gd name="connsiteX646" fmla="*/ 9562 w 10354"/>
                  <a:gd name="connsiteY646" fmla="*/ 5983 h 10000"/>
                  <a:gd name="connsiteX647" fmla="*/ 9562 w 10354"/>
                  <a:gd name="connsiteY647" fmla="*/ 5974 h 10000"/>
                  <a:gd name="connsiteX648" fmla="*/ 9567 w 10354"/>
                  <a:gd name="connsiteY648" fmla="*/ 5974 h 10000"/>
                  <a:gd name="connsiteX649" fmla="*/ 9567 w 10354"/>
                  <a:gd name="connsiteY649" fmla="*/ 5966 h 10000"/>
                  <a:gd name="connsiteX650" fmla="*/ 9567 w 10354"/>
                  <a:gd name="connsiteY650" fmla="*/ 5940 h 10000"/>
                  <a:gd name="connsiteX651" fmla="*/ 9571 w 10354"/>
                  <a:gd name="connsiteY651" fmla="*/ 5915 h 10000"/>
                  <a:gd name="connsiteX652" fmla="*/ 9581 w 10354"/>
                  <a:gd name="connsiteY652" fmla="*/ 5923 h 10000"/>
                  <a:gd name="connsiteX653" fmla="*/ 9585 w 10354"/>
                  <a:gd name="connsiteY653" fmla="*/ 5940 h 10000"/>
                  <a:gd name="connsiteX654" fmla="*/ 9594 w 10354"/>
                  <a:gd name="connsiteY654" fmla="*/ 5949 h 10000"/>
                  <a:gd name="connsiteX655" fmla="*/ 9599 w 10354"/>
                  <a:gd name="connsiteY655" fmla="*/ 5940 h 10000"/>
                  <a:gd name="connsiteX656" fmla="*/ 9613 w 10354"/>
                  <a:gd name="connsiteY656" fmla="*/ 5915 h 10000"/>
                  <a:gd name="connsiteX657" fmla="*/ 9645 w 10354"/>
                  <a:gd name="connsiteY657" fmla="*/ 5889 h 10000"/>
                  <a:gd name="connsiteX658" fmla="*/ 9654 w 10354"/>
                  <a:gd name="connsiteY658" fmla="*/ 5872 h 10000"/>
                  <a:gd name="connsiteX659" fmla="*/ 9673 w 10354"/>
                  <a:gd name="connsiteY659" fmla="*/ 5863 h 10000"/>
                  <a:gd name="connsiteX660" fmla="*/ 9682 w 10354"/>
                  <a:gd name="connsiteY660" fmla="*/ 5838 h 10000"/>
                  <a:gd name="connsiteX661" fmla="*/ 9682 w 10354"/>
                  <a:gd name="connsiteY661" fmla="*/ 5829 h 10000"/>
                  <a:gd name="connsiteX662" fmla="*/ 9682 w 10354"/>
                  <a:gd name="connsiteY662" fmla="*/ 5812 h 10000"/>
                  <a:gd name="connsiteX663" fmla="*/ 9687 w 10354"/>
                  <a:gd name="connsiteY663" fmla="*/ 5812 h 10000"/>
                  <a:gd name="connsiteX664" fmla="*/ 9687 w 10354"/>
                  <a:gd name="connsiteY664" fmla="*/ 5829 h 10000"/>
                  <a:gd name="connsiteX665" fmla="*/ 9687 w 10354"/>
                  <a:gd name="connsiteY665" fmla="*/ 5829 h 10000"/>
                  <a:gd name="connsiteX666" fmla="*/ 9719 w 10354"/>
                  <a:gd name="connsiteY666" fmla="*/ 5803 h 10000"/>
                  <a:gd name="connsiteX667" fmla="*/ 9728 w 10354"/>
                  <a:gd name="connsiteY667" fmla="*/ 5803 h 10000"/>
                  <a:gd name="connsiteX668" fmla="*/ 9779 w 10354"/>
                  <a:gd name="connsiteY668" fmla="*/ 5726 h 10000"/>
                  <a:gd name="connsiteX669" fmla="*/ 9816 w 10354"/>
                  <a:gd name="connsiteY669" fmla="*/ 5709 h 10000"/>
                  <a:gd name="connsiteX670" fmla="*/ 9820 w 10354"/>
                  <a:gd name="connsiteY670" fmla="*/ 5701 h 10000"/>
                  <a:gd name="connsiteX671" fmla="*/ 9816 w 10354"/>
                  <a:gd name="connsiteY671" fmla="*/ 5692 h 10000"/>
                  <a:gd name="connsiteX672" fmla="*/ 9816 w 10354"/>
                  <a:gd name="connsiteY672" fmla="*/ 5692 h 10000"/>
                  <a:gd name="connsiteX673" fmla="*/ 9802 w 10354"/>
                  <a:gd name="connsiteY673" fmla="*/ 5624 h 10000"/>
                  <a:gd name="connsiteX674" fmla="*/ 9806 w 10354"/>
                  <a:gd name="connsiteY674" fmla="*/ 5624 h 10000"/>
                  <a:gd name="connsiteX675" fmla="*/ 9820 w 10354"/>
                  <a:gd name="connsiteY675" fmla="*/ 5675 h 10000"/>
                  <a:gd name="connsiteX676" fmla="*/ 9829 w 10354"/>
                  <a:gd name="connsiteY676" fmla="*/ 5675 h 10000"/>
                  <a:gd name="connsiteX677" fmla="*/ 9829 w 10354"/>
                  <a:gd name="connsiteY677" fmla="*/ 5692 h 10000"/>
                  <a:gd name="connsiteX678" fmla="*/ 9829 w 10354"/>
                  <a:gd name="connsiteY678" fmla="*/ 5701 h 10000"/>
                  <a:gd name="connsiteX679" fmla="*/ 9839 w 10354"/>
                  <a:gd name="connsiteY679" fmla="*/ 5701 h 10000"/>
                  <a:gd name="connsiteX680" fmla="*/ 9839 w 10354"/>
                  <a:gd name="connsiteY680" fmla="*/ 5692 h 10000"/>
                  <a:gd name="connsiteX681" fmla="*/ 9839 w 10354"/>
                  <a:gd name="connsiteY681" fmla="*/ 5675 h 10000"/>
                  <a:gd name="connsiteX682" fmla="*/ 9848 w 10354"/>
                  <a:gd name="connsiteY682" fmla="*/ 5675 h 10000"/>
                  <a:gd name="connsiteX683" fmla="*/ 9848 w 10354"/>
                  <a:gd name="connsiteY683" fmla="*/ 5692 h 10000"/>
                  <a:gd name="connsiteX684" fmla="*/ 9853 w 10354"/>
                  <a:gd name="connsiteY684" fmla="*/ 5701 h 10000"/>
                  <a:gd name="connsiteX685" fmla="*/ 9880 w 10354"/>
                  <a:gd name="connsiteY685" fmla="*/ 5709 h 10000"/>
                  <a:gd name="connsiteX686" fmla="*/ 9912 w 10354"/>
                  <a:gd name="connsiteY686" fmla="*/ 5752 h 10000"/>
                  <a:gd name="connsiteX687" fmla="*/ 9926 w 10354"/>
                  <a:gd name="connsiteY687" fmla="*/ 5761 h 10000"/>
                  <a:gd name="connsiteX688" fmla="*/ 9935 w 10354"/>
                  <a:gd name="connsiteY688" fmla="*/ 5761 h 10000"/>
                  <a:gd name="connsiteX689" fmla="*/ 9940 w 10354"/>
                  <a:gd name="connsiteY689" fmla="*/ 5735 h 10000"/>
                  <a:gd name="connsiteX690" fmla="*/ 9949 w 10354"/>
                  <a:gd name="connsiteY690" fmla="*/ 5735 h 10000"/>
                  <a:gd name="connsiteX691" fmla="*/ 9968 w 10354"/>
                  <a:gd name="connsiteY691" fmla="*/ 5692 h 10000"/>
                  <a:gd name="connsiteX692" fmla="*/ 9968 w 10354"/>
                  <a:gd name="connsiteY692" fmla="*/ 5650 h 10000"/>
                  <a:gd name="connsiteX693" fmla="*/ 9968 w 10354"/>
                  <a:gd name="connsiteY693" fmla="*/ 5624 h 10000"/>
                  <a:gd name="connsiteX694" fmla="*/ 9935 w 10354"/>
                  <a:gd name="connsiteY694" fmla="*/ 5598 h 10000"/>
                  <a:gd name="connsiteX695" fmla="*/ 9935 w 10354"/>
                  <a:gd name="connsiteY695" fmla="*/ 5590 h 10000"/>
                  <a:gd name="connsiteX696" fmla="*/ 9935 w 10354"/>
                  <a:gd name="connsiteY696" fmla="*/ 5573 h 10000"/>
                  <a:gd name="connsiteX697" fmla="*/ 9935 w 10354"/>
                  <a:gd name="connsiteY697" fmla="*/ 5573 h 10000"/>
                  <a:gd name="connsiteX698" fmla="*/ 9940 w 10354"/>
                  <a:gd name="connsiteY698" fmla="*/ 5573 h 10000"/>
                  <a:gd name="connsiteX699" fmla="*/ 9954 w 10354"/>
                  <a:gd name="connsiteY699" fmla="*/ 5573 h 10000"/>
                  <a:gd name="connsiteX700" fmla="*/ 9963 w 10354"/>
                  <a:gd name="connsiteY700" fmla="*/ 5564 h 10000"/>
                  <a:gd name="connsiteX701" fmla="*/ 9954 w 10354"/>
                  <a:gd name="connsiteY701" fmla="*/ 5530 h 10000"/>
                  <a:gd name="connsiteX702" fmla="*/ 9949 w 10354"/>
                  <a:gd name="connsiteY702" fmla="*/ 5530 h 10000"/>
                  <a:gd name="connsiteX703" fmla="*/ 9926 w 10354"/>
                  <a:gd name="connsiteY703" fmla="*/ 5479 h 10000"/>
                  <a:gd name="connsiteX704" fmla="*/ 9912 w 10354"/>
                  <a:gd name="connsiteY704" fmla="*/ 5325 h 10000"/>
                  <a:gd name="connsiteX705" fmla="*/ 9903 w 10354"/>
                  <a:gd name="connsiteY705" fmla="*/ 5342 h 10000"/>
                  <a:gd name="connsiteX706" fmla="*/ 9889 w 10354"/>
                  <a:gd name="connsiteY706" fmla="*/ 5316 h 10000"/>
                  <a:gd name="connsiteX707" fmla="*/ 9889 w 10354"/>
                  <a:gd name="connsiteY707" fmla="*/ 5291 h 10000"/>
                  <a:gd name="connsiteX708" fmla="*/ 9903 w 10354"/>
                  <a:gd name="connsiteY708" fmla="*/ 5291 h 10000"/>
                  <a:gd name="connsiteX709" fmla="*/ 9903 w 10354"/>
                  <a:gd name="connsiteY709" fmla="*/ 5291 h 10000"/>
                  <a:gd name="connsiteX710" fmla="*/ 9894 w 10354"/>
                  <a:gd name="connsiteY710" fmla="*/ 5214 h 10000"/>
                  <a:gd name="connsiteX711" fmla="*/ 9880 w 10354"/>
                  <a:gd name="connsiteY711" fmla="*/ 5239 h 10000"/>
                  <a:gd name="connsiteX712" fmla="*/ 9876 w 10354"/>
                  <a:gd name="connsiteY712" fmla="*/ 5256 h 10000"/>
                  <a:gd name="connsiteX713" fmla="*/ 9862 w 10354"/>
                  <a:gd name="connsiteY713" fmla="*/ 5239 h 10000"/>
                  <a:gd name="connsiteX714" fmla="*/ 9853 w 10354"/>
                  <a:gd name="connsiteY714" fmla="*/ 5214 h 10000"/>
                  <a:gd name="connsiteX715" fmla="*/ 9839 w 10354"/>
                  <a:gd name="connsiteY715" fmla="*/ 5214 h 10000"/>
                  <a:gd name="connsiteX716" fmla="*/ 9834 w 10354"/>
                  <a:gd name="connsiteY716" fmla="*/ 5188 h 10000"/>
                  <a:gd name="connsiteX717" fmla="*/ 9834 w 10354"/>
                  <a:gd name="connsiteY717" fmla="*/ 5103 h 10000"/>
                  <a:gd name="connsiteX718" fmla="*/ 9839 w 10354"/>
                  <a:gd name="connsiteY718" fmla="*/ 5094 h 10000"/>
                  <a:gd name="connsiteX719" fmla="*/ 9853 w 10354"/>
                  <a:gd name="connsiteY719" fmla="*/ 5103 h 10000"/>
                  <a:gd name="connsiteX720" fmla="*/ 9876 w 10354"/>
                  <a:gd name="connsiteY720" fmla="*/ 5128 h 10000"/>
                  <a:gd name="connsiteX721" fmla="*/ 9889 w 10354"/>
                  <a:gd name="connsiteY721" fmla="*/ 5103 h 10000"/>
                  <a:gd name="connsiteX722" fmla="*/ 9880 w 10354"/>
                  <a:gd name="connsiteY722" fmla="*/ 5120 h 10000"/>
                  <a:gd name="connsiteX723" fmla="*/ 9889 w 10354"/>
                  <a:gd name="connsiteY723" fmla="*/ 5128 h 10000"/>
                  <a:gd name="connsiteX724" fmla="*/ 9912 w 10354"/>
                  <a:gd name="connsiteY724" fmla="*/ 5128 h 10000"/>
                  <a:gd name="connsiteX725" fmla="*/ 9908 w 10354"/>
                  <a:gd name="connsiteY725" fmla="*/ 5145 h 10000"/>
                  <a:gd name="connsiteX726" fmla="*/ 9908 w 10354"/>
                  <a:gd name="connsiteY726" fmla="*/ 5154 h 10000"/>
                  <a:gd name="connsiteX727" fmla="*/ 9922 w 10354"/>
                  <a:gd name="connsiteY727" fmla="*/ 5128 h 10000"/>
                  <a:gd name="connsiteX728" fmla="*/ 9935 w 10354"/>
                  <a:gd name="connsiteY728" fmla="*/ 5103 h 10000"/>
                  <a:gd name="connsiteX729" fmla="*/ 9968 w 10354"/>
                  <a:gd name="connsiteY729" fmla="*/ 5077 h 10000"/>
                  <a:gd name="connsiteX730" fmla="*/ 10000 w 10354"/>
                  <a:gd name="connsiteY730" fmla="*/ 5017 h 10000"/>
                  <a:gd name="connsiteX731" fmla="*/ 10354 w 10354"/>
                  <a:gd name="connsiteY731" fmla="*/ 3895 h 10000"/>
                  <a:gd name="connsiteX732" fmla="*/ 9912 w 10354"/>
                  <a:gd name="connsiteY732" fmla="*/ 3675 h 10000"/>
                  <a:gd name="connsiteX733" fmla="*/ 9903 w 10354"/>
                  <a:gd name="connsiteY733" fmla="*/ 3667 h 10000"/>
                  <a:gd name="connsiteX734" fmla="*/ 9894 w 10354"/>
                  <a:gd name="connsiteY734" fmla="*/ 3641 h 10000"/>
                  <a:gd name="connsiteX735" fmla="*/ 9889 w 10354"/>
                  <a:gd name="connsiteY735" fmla="*/ 3650 h 10000"/>
                  <a:gd name="connsiteX736" fmla="*/ 9848 w 10354"/>
                  <a:gd name="connsiteY736" fmla="*/ 3598 h 10000"/>
                  <a:gd name="connsiteX737" fmla="*/ 9829 w 10354"/>
                  <a:gd name="connsiteY737" fmla="*/ 3581 h 10000"/>
                  <a:gd name="connsiteX738" fmla="*/ 9820 w 10354"/>
                  <a:gd name="connsiteY738" fmla="*/ 3581 h 10000"/>
                  <a:gd name="connsiteX739" fmla="*/ 9793 w 10354"/>
                  <a:gd name="connsiteY739" fmla="*/ 3556 h 10000"/>
                  <a:gd name="connsiteX740" fmla="*/ 9779 w 10354"/>
                  <a:gd name="connsiteY740" fmla="*/ 3556 h 10000"/>
                  <a:gd name="connsiteX741" fmla="*/ 9747 w 10354"/>
                  <a:gd name="connsiteY741" fmla="*/ 3487 h 10000"/>
                  <a:gd name="connsiteX742" fmla="*/ 9668 w 10354"/>
                  <a:gd name="connsiteY742" fmla="*/ 3479 h 10000"/>
                  <a:gd name="connsiteX743" fmla="*/ 9659 w 10354"/>
                  <a:gd name="connsiteY743" fmla="*/ 3487 h 10000"/>
                  <a:gd name="connsiteX744" fmla="*/ 9645 w 10354"/>
                  <a:gd name="connsiteY744" fmla="*/ 3504 h 10000"/>
                  <a:gd name="connsiteX745" fmla="*/ 9631 w 10354"/>
                  <a:gd name="connsiteY745" fmla="*/ 3487 h 10000"/>
                  <a:gd name="connsiteX746" fmla="*/ 9613 w 10354"/>
                  <a:gd name="connsiteY746" fmla="*/ 3479 h 10000"/>
                  <a:gd name="connsiteX747" fmla="*/ 9599 w 10354"/>
                  <a:gd name="connsiteY747" fmla="*/ 3479 h 10000"/>
                  <a:gd name="connsiteX748" fmla="*/ 9571 w 10354"/>
                  <a:gd name="connsiteY748" fmla="*/ 3479 h 10000"/>
                  <a:gd name="connsiteX749" fmla="*/ 9562 w 10354"/>
                  <a:gd name="connsiteY749" fmla="*/ 3487 h 10000"/>
                  <a:gd name="connsiteX750" fmla="*/ 9539 w 10354"/>
                  <a:gd name="connsiteY750" fmla="*/ 3487 h 10000"/>
                  <a:gd name="connsiteX751" fmla="*/ 9507 w 10354"/>
                  <a:gd name="connsiteY751" fmla="*/ 3453 h 10000"/>
                  <a:gd name="connsiteX752" fmla="*/ 9498 w 10354"/>
                  <a:gd name="connsiteY752" fmla="*/ 3453 h 10000"/>
                  <a:gd name="connsiteX753" fmla="*/ 9387 w 10354"/>
                  <a:gd name="connsiteY753" fmla="*/ 3419 h 10000"/>
                  <a:gd name="connsiteX754" fmla="*/ 9373 w 10354"/>
                  <a:gd name="connsiteY754" fmla="*/ 3427 h 10000"/>
                  <a:gd name="connsiteX755" fmla="*/ 9373 w 10354"/>
                  <a:gd name="connsiteY755" fmla="*/ 3462 h 10000"/>
                  <a:gd name="connsiteX756" fmla="*/ 9378 w 10354"/>
                  <a:gd name="connsiteY756" fmla="*/ 3479 h 10000"/>
                  <a:gd name="connsiteX757" fmla="*/ 9378 w 10354"/>
                  <a:gd name="connsiteY757" fmla="*/ 3530 h 10000"/>
                  <a:gd name="connsiteX758" fmla="*/ 9355 w 10354"/>
                  <a:gd name="connsiteY758" fmla="*/ 3538 h 10000"/>
                  <a:gd name="connsiteX759" fmla="*/ 9355 w 10354"/>
                  <a:gd name="connsiteY759" fmla="*/ 3581 h 10000"/>
                  <a:gd name="connsiteX760" fmla="*/ 9387 w 10354"/>
                  <a:gd name="connsiteY760" fmla="*/ 3590 h 10000"/>
                  <a:gd name="connsiteX761" fmla="*/ 9401 w 10354"/>
                  <a:gd name="connsiteY761" fmla="*/ 3667 h 10000"/>
                  <a:gd name="connsiteX762" fmla="*/ 9406 w 10354"/>
                  <a:gd name="connsiteY762" fmla="*/ 3675 h 10000"/>
                  <a:gd name="connsiteX763" fmla="*/ 9406 w 10354"/>
                  <a:gd name="connsiteY763" fmla="*/ 3701 h 10000"/>
                  <a:gd name="connsiteX764" fmla="*/ 9415 w 10354"/>
                  <a:gd name="connsiteY764" fmla="*/ 3752 h 10000"/>
                  <a:gd name="connsiteX765" fmla="*/ 9373 w 10354"/>
                  <a:gd name="connsiteY765" fmla="*/ 3838 h 10000"/>
                  <a:gd name="connsiteX766" fmla="*/ 9355 w 10354"/>
                  <a:gd name="connsiteY766" fmla="*/ 3863 h 10000"/>
                  <a:gd name="connsiteX767" fmla="*/ 9327 w 10354"/>
                  <a:gd name="connsiteY767" fmla="*/ 3863 h 10000"/>
                  <a:gd name="connsiteX768" fmla="*/ 9313 w 10354"/>
                  <a:gd name="connsiteY768" fmla="*/ 3846 h 10000"/>
                  <a:gd name="connsiteX769" fmla="*/ 9300 w 10354"/>
                  <a:gd name="connsiteY769" fmla="*/ 3778 h 10000"/>
                  <a:gd name="connsiteX770" fmla="*/ 9281 w 10354"/>
                  <a:gd name="connsiteY770" fmla="*/ 3752 h 10000"/>
                  <a:gd name="connsiteX771" fmla="*/ 9281 w 10354"/>
                  <a:gd name="connsiteY771" fmla="*/ 3735 h 10000"/>
                  <a:gd name="connsiteX772" fmla="*/ 9267 w 10354"/>
                  <a:gd name="connsiteY772" fmla="*/ 3726 h 10000"/>
                  <a:gd name="connsiteX773" fmla="*/ 9240 w 10354"/>
                  <a:gd name="connsiteY773" fmla="*/ 3726 h 10000"/>
                  <a:gd name="connsiteX774" fmla="*/ 9230 w 10354"/>
                  <a:gd name="connsiteY774" fmla="*/ 3718 h 10000"/>
                  <a:gd name="connsiteX775" fmla="*/ 9226 w 10354"/>
                  <a:gd name="connsiteY775" fmla="*/ 3590 h 10000"/>
                  <a:gd name="connsiteX776" fmla="*/ 9207 w 10354"/>
                  <a:gd name="connsiteY776" fmla="*/ 3581 h 10000"/>
                  <a:gd name="connsiteX777" fmla="*/ 9207 w 10354"/>
                  <a:gd name="connsiteY777" fmla="*/ 3556 h 10000"/>
                  <a:gd name="connsiteX778" fmla="*/ 9217 w 10354"/>
                  <a:gd name="connsiteY778" fmla="*/ 3538 h 10000"/>
                  <a:gd name="connsiteX779" fmla="*/ 9212 w 10354"/>
                  <a:gd name="connsiteY779" fmla="*/ 3538 h 10000"/>
                  <a:gd name="connsiteX780" fmla="*/ 9198 w 10354"/>
                  <a:gd name="connsiteY780" fmla="*/ 3513 h 10000"/>
                  <a:gd name="connsiteX781" fmla="*/ 9194 w 10354"/>
                  <a:gd name="connsiteY781" fmla="*/ 3530 h 10000"/>
                  <a:gd name="connsiteX782" fmla="*/ 9143 w 10354"/>
                  <a:gd name="connsiteY782" fmla="*/ 3615 h 10000"/>
                  <a:gd name="connsiteX783" fmla="*/ 9138 w 10354"/>
                  <a:gd name="connsiteY783" fmla="*/ 3615 h 10000"/>
                  <a:gd name="connsiteX784" fmla="*/ 9134 w 10354"/>
                  <a:gd name="connsiteY784" fmla="*/ 3615 h 10000"/>
                  <a:gd name="connsiteX785" fmla="*/ 9106 w 10354"/>
                  <a:gd name="connsiteY785" fmla="*/ 3615 h 10000"/>
                  <a:gd name="connsiteX786" fmla="*/ 9078 w 10354"/>
                  <a:gd name="connsiteY786" fmla="*/ 3590 h 10000"/>
                  <a:gd name="connsiteX787" fmla="*/ 9037 w 10354"/>
                  <a:gd name="connsiteY787" fmla="*/ 3581 h 10000"/>
                  <a:gd name="connsiteX788" fmla="*/ 9023 w 10354"/>
                  <a:gd name="connsiteY788" fmla="*/ 3590 h 10000"/>
                  <a:gd name="connsiteX789" fmla="*/ 9018 w 10354"/>
                  <a:gd name="connsiteY789" fmla="*/ 3590 h 10000"/>
                  <a:gd name="connsiteX790" fmla="*/ 9018 w 10354"/>
                  <a:gd name="connsiteY790" fmla="*/ 3590 h 10000"/>
                  <a:gd name="connsiteX791" fmla="*/ 8991 w 10354"/>
                  <a:gd name="connsiteY791" fmla="*/ 3590 h 10000"/>
                  <a:gd name="connsiteX792" fmla="*/ 8972 w 10354"/>
                  <a:gd name="connsiteY792" fmla="*/ 3581 h 10000"/>
                  <a:gd name="connsiteX793" fmla="*/ 8959 w 10354"/>
                  <a:gd name="connsiteY793" fmla="*/ 3513 h 10000"/>
                  <a:gd name="connsiteX794" fmla="*/ 8931 w 10354"/>
                  <a:gd name="connsiteY794" fmla="*/ 3538 h 10000"/>
                  <a:gd name="connsiteX795" fmla="*/ 8889 w 10354"/>
                  <a:gd name="connsiteY795" fmla="*/ 3538 h 10000"/>
                  <a:gd name="connsiteX796" fmla="*/ 8871 w 10354"/>
                  <a:gd name="connsiteY796" fmla="*/ 3556 h 10000"/>
                  <a:gd name="connsiteX797" fmla="*/ 8857 w 10354"/>
                  <a:gd name="connsiteY797" fmla="*/ 3538 h 10000"/>
                  <a:gd name="connsiteX798" fmla="*/ 8843 w 10354"/>
                  <a:gd name="connsiteY798" fmla="*/ 3538 h 10000"/>
                  <a:gd name="connsiteX799" fmla="*/ 8839 w 10354"/>
                  <a:gd name="connsiteY799" fmla="*/ 3556 h 10000"/>
                  <a:gd name="connsiteX800" fmla="*/ 8839 w 10354"/>
                  <a:gd name="connsiteY800" fmla="*/ 3581 h 10000"/>
                  <a:gd name="connsiteX801" fmla="*/ 8825 w 10354"/>
                  <a:gd name="connsiteY801" fmla="*/ 3564 h 10000"/>
                  <a:gd name="connsiteX802" fmla="*/ 8825 w 10354"/>
                  <a:gd name="connsiteY802" fmla="*/ 3615 h 10000"/>
                  <a:gd name="connsiteX803" fmla="*/ 8802 w 10354"/>
                  <a:gd name="connsiteY803" fmla="*/ 3598 h 10000"/>
                  <a:gd name="connsiteX804" fmla="*/ 8797 w 10354"/>
                  <a:gd name="connsiteY804" fmla="*/ 3641 h 10000"/>
                  <a:gd name="connsiteX805" fmla="*/ 8783 w 10354"/>
                  <a:gd name="connsiteY805" fmla="*/ 3667 h 10000"/>
                  <a:gd name="connsiteX806" fmla="*/ 8779 w 10354"/>
                  <a:gd name="connsiteY806" fmla="*/ 3650 h 10000"/>
                  <a:gd name="connsiteX807" fmla="*/ 8779 w 10354"/>
                  <a:gd name="connsiteY807" fmla="*/ 3615 h 10000"/>
                  <a:gd name="connsiteX808" fmla="*/ 8770 w 10354"/>
                  <a:gd name="connsiteY808" fmla="*/ 3590 h 10000"/>
                  <a:gd name="connsiteX809" fmla="*/ 8765 w 10354"/>
                  <a:gd name="connsiteY809" fmla="*/ 3598 h 10000"/>
                  <a:gd name="connsiteX810" fmla="*/ 8756 w 10354"/>
                  <a:gd name="connsiteY810" fmla="*/ 3590 h 10000"/>
                  <a:gd name="connsiteX811" fmla="*/ 8737 w 10354"/>
                  <a:gd name="connsiteY811" fmla="*/ 3556 h 10000"/>
                  <a:gd name="connsiteX812" fmla="*/ 8724 w 10354"/>
                  <a:gd name="connsiteY812" fmla="*/ 3538 h 10000"/>
                  <a:gd name="connsiteX813" fmla="*/ 8696 w 10354"/>
                  <a:gd name="connsiteY813" fmla="*/ 3538 h 10000"/>
                  <a:gd name="connsiteX814" fmla="*/ 8691 w 10354"/>
                  <a:gd name="connsiteY814" fmla="*/ 3513 h 10000"/>
                  <a:gd name="connsiteX815" fmla="*/ 8668 w 10354"/>
                  <a:gd name="connsiteY815" fmla="*/ 3504 h 10000"/>
                  <a:gd name="connsiteX816" fmla="*/ 8668 w 10354"/>
                  <a:gd name="connsiteY816" fmla="*/ 3487 h 10000"/>
                  <a:gd name="connsiteX817" fmla="*/ 8691 w 10354"/>
                  <a:gd name="connsiteY817" fmla="*/ 3350 h 10000"/>
                  <a:gd name="connsiteX818" fmla="*/ 8691 w 10354"/>
                  <a:gd name="connsiteY818" fmla="*/ 3291 h 10000"/>
                  <a:gd name="connsiteX819" fmla="*/ 8677 w 10354"/>
                  <a:gd name="connsiteY819" fmla="*/ 3239 h 10000"/>
                  <a:gd name="connsiteX820" fmla="*/ 8677 w 10354"/>
                  <a:gd name="connsiteY820" fmla="*/ 3231 h 10000"/>
                  <a:gd name="connsiteX821" fmla="*/ 8636 w 10354"/>
                  <a:gd name="connsiteY821" fmla="*/ 3128 h 10000"/>
                  <a:gd name="connsiteX822" fmla="*/ 8622 w 10354"/>
                  <a:gd name="connsiteY822" fmla="*/ 3120 h 10000"/>
                  <a:gd name="connsiteX823" fmla="*/ 8618 w 10354"/>
                  <a:gd name="connsiteY823" fmla="*/ 3094 h 10000"/>
                  <a:gd name="connsiteX824" fmla="*/ 8594 w 10354"/>
                  <a:gd name="connsiteY824" fmla="*/ 3077 h 10000"/>
                  <a:gd name="connsiteX825" fmla="*/ 8548 w 10354"/>
                  <a:gd name="connsiteY825" fmla="*/ 3077 h 10000"/>
                  <a:gd name="connsiteX826" fmla="*/ 8535 w 10354"/>
                  <a:gd name="connsiteY826" fmla="*/ 3068 h 10000"/>
                  <a:gd name="connsiteX827" fmla="*/ 8429 w 10354"/>
                  <a:gd name="connsiteY827" fmla="*/ 3077 h 10000"/>
                  <a:gd name="connsiteX828" fmla="*/ 8424 w 10354"/>
                  <a:gd name="connsiteY828" fmla="*/ 3077 h 10000"/>
                  <a:gd name="connsiteX829" fmla="*/ 8396 w 10354"/>
                  <a:gd name="connsiteY829" fmla="*/ 3077 h 10000"/>
                  <a:gd name="connsiteX830" fmla="*/ 8387 w 10354"/>
                  <a:gd name="connsiteY830" fmla="*/ 3094 h 10000"/>
                  <a:gd name="connsiteX831" fmla="*/ 8378 w 10354"/>
                  <a:gd name="connsiteY831" fmla="*/ 3094 h 10000"/>
                  <a:gd name="connsiteX832" fmla="*/ 8341 w 10354"/>
                  <a:gd name="connsiteY832" fmla="*/ 3077 h 10000"/>
                  <a:gd name="connsiteX833" fmla="*/ 8336 w 10354"/>
                  <a:gd name="connsiteY833" fmla="*/ 3077 h 10000"/>
                  <a:gd name="connsiteX834" fmla="*/ 8327 w 10354"/>
                  <a:gd name="connsiteY834" fmla="*/ 3103 h 10000"/>
                  <a:gd name="connsiteX835" fmla="*/ 8309 w 10354"/>
                  <a:gd name="connsiteY835" fmla="*/ 3120 h 10000"/>
                  <a:gd name="connsiteX836" fmla="*/ 8304 w 10354"/>
                  <a:gd name="connsiteY836" fmla="*/ 3103 h 10000"/>
                  <a:gd name="connsiteX837" fmla="*/ 8276 w 10354"/>
                  <a:gd name="connsiteY837" fmla="*/ 3103 h 10000"/>
                  <a:gd name="connsiteX838" fmla="*/ 8267 w 10354"/>
                  <a:gd name="connsiteY838" fmla="*/ 3120 h 10000"/>
                  <a:gd name="connsiteX839" fmla="*/ 8253 w 10354"/>
                  <a:gd name="connsiteY839" fmla="*/ 3103 h 10000"/>
                  <a:gd name="connsiteX840" fmla="*/ 8230 w 10354"/>
                  <a:gd name="connsiteY840" fmla="*/ 3128 h 10000"/>
                  <a:gd name="connsiteX841" fmla="*/ 8217 w 10354"/>
                  <a:gd name="connsiteY841" fmla="*/ 3128 h 10000"/>
                  <a:gd name="connsiteX842" fmla="*/ 8203 w 10354"/>
                  <a:gd name="connsiteY842" fmla="*/ 3154 h 10000"/>
                  <a:gd name="connsiteX843" fmla="*/ 8175 w 10354"/>
                  <a:gd name="connsiteY843" fmla="*/ 3094 h 10000"/>
                  <a:gd name="connsiteX844" fmla="*/ 8161 w 10354"/>
                  <a:gd name="connsiteY844" fmla="*/ 3094 h 10000"/>
                  <a:gd name="connsiteX845" fmla="*/ 8157 w 10354"/>
                  <a:gd name="connsiteY845" fmla="*/ 3077 h 10000"/>
                  <a:gd name="connsiteX846" fmla="*/ 8180 w 10354"/>
                  <a:gd name="connsiteY846" fmla="*/ 3068 h 10000"/>
                  <a:gd name="connsiteX847" fmla="*/ 8189 w 10354"/>
                  <a:gd name="connsiteY847" fmla="*/ 3043 h 10000"/>
                  <a:gd name="connsiteX848" fmla="*/ 8189 w 10354"/>
                  <a:gd name="connsiteY848" fmla="*/ 3017 h 10000"/>
                  <a:gd name="connsiteX849" fmla="*/ 8147 w 10354"/>
                  <a:gd name="connsiteY849" fmla="*/ 2940 h 10000"/>
                  <a:gd name="connsiteX850" fmla="*/ 8143 w 10354"/>
                  <a:gd name="connsiteY850" fmla="*/ 2915 h 10000"/>
                  <a:gd name="connsiteX851" fmla="*/ 8143 w 10354"/>
                  <a:gd name="connsiteY851" fmla="*/ 2906 h 10000"/>
                  <a:gd name="connsiteX852" fmla="*/ 8097 w 10354"/>
                  <a:gd name="connsiteY852" fmla="*/ 2932 h 10000"/>
                  <a:gd name="connsiteX853" fmla="*/ 8083 w 10354"/>
                  <a:gd name="connsiteY853" fmla="*/ 2932 h 10000"/>
                  <a:gd name="connsiteX854" fmla="*/ 8074 w 10354"/>
                  <a:gd name="connsiteY854" fmla="*/ 2906 h 10000"/>
                  <a:gd name="connsiteX855" fmla="*/ 8074 w 10354"/>
                  <a:gd name="connsiteY855" fmla="*/ 2897 h 10000"/>
                  <a:gd name="connsiteX856" fmla="*/ 8055 w 10354"/>
                  <a:gd name="connsiteY856" fmla="*/ 2872 h 10000"/>
                  <a:gd name="connsiteX857" fmla="*/ 8046 w 10354"/>
                  <a:gd name="connsiteY857" fmla="*/ 2829 h 10000"/>
                  <a:gd name="connsiteX858" fmla="*/ 8041 w 10354"/>
                  <a:gd name="connsiteY858" fmla="*/ 2829 h 10000"/>
                  <a:gd name="connsiteX859" fmla="*/ 8023 w 10354"/>
                  <a:gd name="connsiteY859" fmla="*/ 2803 h 10000"/>
                  <a:gd name="connsiteX860" fmla="*/ 8014 w 10354"/>
                  <a:gd name="connsiteY860" fmla="*/ 2829 h 10000"/>
                  <a:gd name="connsiteX861" fmla="*/ 8000 w 10354"/>
                  <a:gd name="connsiteY861" fmla="*/ 2829 h 10000"/>
                  <a:gd name="connsiteX862" fmla="*/ 7995 w 10354"/>
                  <a:gd name="connsiteY862" fmla="*/ 2821 h 10000"/>
                  <a:gd name="connsiteX863" fmla="*/ 7972 w 10354"/>
                  <a:gd name="connsiteY863" fmla="*/ 2803 h 10000"/>
                  <a:gd name="connsiteX864" fmla="*/ 7968 w 10354"/>
                  <a:gd name="connsiteY864" fmla="*/ 2821 h 10000"/>
                  <a:gd name="connsiteX865" fmla="*/ 7968 w 10354"/>
                  <a:gd name="connsiteY865" fmla="*/ 2803 h 10000"/>
                  <a:gd name="connsiteX866" fmla="*/ 7995 w 10354"/>
                  <a:gd name="connsiteY866" fmla="*/ 2735 h 10000"/>
                  <a:gd name="connsiteX867" fmla="*/ 8000 w 10354"/>
                  <a:gd name="connsiteY867" fmla="*/ 2735 h 10000"/>
                  <a:gd name="connsiteX868" fmla="*/ 8014 w 10354"/>
                  <a:gd name="connsiteY868" fmla="*/ 2744 h 10000"/>
                  <a:gd name="connsiteX869" fmla="*/ 8023 w 10354"/>
                  <a:gd name="connsiteY869" fmla="*/ 2769 h 10000"/>
                  <a:gd name="connsiteX870" fmla="*/ 8032 w 10354"/>
                  <a:gd name="connsiteY870" fmla="*/ 2744 h 10000"/>
                  <a:gd name="connsiteX871" fmla="*/ 8032 w 10354"/>
                  <a:gd name="connsiteY871" fmla="*/ 2709 h 10000"/>
                  <a:gd name="connsiteX872" fmla="*/ 8023 w 10354"/>
                  <a:gd name="connsiteY872" fmla="*/ 2632 h 10000"/>
                  <a:gd name="connsiteX873" fmla="*/ 7986 w 10354"/>
                  <a:gd name="connsiteY873" fmla="*/ 2581 h 10000"/>
                  <a:gd name="connsiteX874" fmla="*/ 7968 w 10354"/>
                  <a:gd name="connsiteY874" fmla="*/ 2581 h 10000"/>
                  <a:gd name="connsiteX875" fmla="*/ 7963 w 10354"/>
                  <a:gd name="connsiteY875" fmla="*/ 2556 h 10000"/>
                  <a:gd name="connsiteX876" fmla="*/ 7935 w 10354"/>
                  <a:gd name="connsiteY876" fmla="*/ 2547 h 10000"/>
                  <a:gd name="connsiteX877" fmla="*/ 7912 w 10354"/>
                  <a:gd name="connsiteY877" fmla="*/ 2547 h 10000"/>
                  <a:gd name="connsiteX878" fmla="*/ 7912 w 10354"/>
                  <a:gd name="connsiteY878" fmla="*/ 2556 h 10000"/>
                  <a:gd name="connsiteX879" fmla="*/ 7908 w 10354"/>
                  <a:gd name="connsiteY879" fmla="*/ 2547 h 10000"/>
                  <a:gd name="connsiteX880" fmla="*/ 7862 w 10354"/>
                  <a:gd name="connsiteY880" fmla="*/ 2547 h 10000"/>
                  <a:gd name="connsiteX881" fmla="*/ 7848 w 10354"/>
                  <a:gd name="connsiteY881" fmla="*/ 2556 h 10000"/>
                  <a:gd name="connsiteX882" fmla="*/ 7820 w 10354"/>
                  <a:gd name="connsiteY882" fmla="*/ 2547 h 10000"/>
                  <a:gd name="connsiteX883" fmla="*/ 7806 w 10354"/>
                  <a:gd name="connsiteY883" fmla="*/ 2513 h 10000"/>
                  <a:gd name="connsiteX884" fmla="*/ 7788 w 10354"/>
                  <a:gd name="connsiteY884" fmla="*/ 2513 h 10000"/>
                  <a:gd name="connsiteX885" fmla="*/ 7760 w 10354"/>
                  <a:gd name="connsiteY885" fmla="*/ 2470 h 10000"/>
                  <a:gd name="connsiteX886" fmla="*/ 7751 w 10354"/>
                  <a:gd name="connsiteY886" fmla="*/ 2470 h 10000"/>
                  <a:gd name="connsiteX887" fmla="*/ 7705 w 10354"/>
                  <a:gd name="connsiteY887" fmla="*/ 2462 h 10000"/>
                  <a:gd name="connsiteX888" fmla="*/ 7673 w 10354"/>
                  <a:gd name="connsiteY888" fmla="*/ 2419 h 10000"/>
                  <a:gd name="connsiteX889" fmla="*/ 7627 w 10354"/>
                  <a:gd name="connsiteY889" fmla="*/ 2419 h 10000"/>
                  <a:gd name="connsiteX890" fmla="*/ 7613 w 10354"/>
                  <a:gd name="connsiteY890" fmla="*/ 2410 h 10000"/>
                  <a:gd name="connsiteX891" fmla="*/ 7493 w 10354"/>
                  <a:gd name="connsiteY891" fmla="*/ 2393 h 10000"/>
                  <a:gd name="connsiteX892" fmla="*/ 7479 w 10354"/>
                  <a:gd name="connsiteY892" fmla="*/ 2385 h 10000"/>
                  <a:gd name="connsiteX893" fmla="*/ 7479 w 10354"/>
                  <a:gd name="connsiteY893" fmla="*/ 2376 h 10000"/>
                  <a:gd name="connsiteX894" fmla="*/ 7465 w 10354"/>
                  <a:gd name="connsiteY894" fmla="*/ 2359 h 10000"/>
                  <a:gd name="connsiteX895" fmla="*/ 7447 w 10354"/>
                  <a:gd name="connsiteY895" fmla="*/ 2350 h 10000"/>
                  <a:gd name="connsiteX896" fmla="*/ 7433 w 10354"/>
                  <a:gd name="connsiteY896" fmla="*/ 2376 h 10000"/>
                  <a:gd name="connsiteX897" fmla="*/ 7433 w 10354"/>
                  <a:gd name="connsiteY897" fmla="*/ 2385 h 10000"/>
                  <a:gd name="connsiteX898" fmla="*/ 7447 w 10354"/>
                  <a:gd name="connsiteY898" fmla="*/ 2410 h 10000"/>
                  <a:gd name="connsiteX899" fmla="*/ 7447 w 10354"/>
                  <a:gd name="connsiteY899" fmla="*/ 2436 h 10000"/>
                  <a:gd name="connsiteX900" fmla="*/ 7452 w 10354"/>
                  <a:gd name="connsiteY900" fmla="*/ 2462 h 10000"/>
                  <a:gd name="connsiteX901" fmla="*/ 7447 w 10354"/>
                  <a:gd name="connsiteY901" fmla="*/ 2470 h 10000"/>
                  <a:gd name="connsiteX902" fmla="*/ 7424 w 10354"/>
                  <a:gd name="connsiteY902" fmla="*/ 2513 h 10000"/>
                  <a:gd name="connsiteX903" fmla="*/ 7419 w 10354"/>
                  <a:gd name="connsiteY903" fmla="*/ 2556 h 10000"/>
                  <a:gd name="connsiteX904" fmla="*/ 7406 w 10354"/>
                  <a:gd name="connsiteY904" fmla="*/ 2624 h 10000"/>
                  <a:gd name="connsiteX905" fmla="*/ 7392 w 10354"/>
                  <a:gd name="connsiteY905" fmla="*/ 2624 h 10000"/>
                  <a:gd name="connsiteX906" fmla="*/ 7373 w 10354"/>
                  <a:gd name="connsiteY906" fmla="*/ 2650 h 10000"/>
                  <a:gd name="connsiteX907" fmla="*/ 7364 w 10354"/>
                  <a:gd name="connsiteY907" fmla="*/ 2684 h 10000"/>
                  <a:gd name="connsiteX908" fmla="*/ 7364 w 10354"/>
                  <a:gd name="connsiteY908" fmla="*/ 2692 h 10000"/>
                  <a:gd name="connsiteX909" fmla="*/ 7373 w 10354"/>
                  <a:gd name="connsiteY909" fmla="*/ 2718 h 10000"/>
                  <a:gd name="connsiteX910" fmla="*/ 7373 w 10354"/>
                  <a:gd name="connsiteY910" fmla="*/ 2744 h 10000"/>
                  <a:gd name="connsiteX911" fmla="*/ 7359 w 10354"/>
                  <a:gd name="connsiteY911" fmla="*/ 2744 h 10000"/>
                  <a:gd name="connsiteX912" fmla="*/ 7359 w 10354"/>
                  <a:gd name="connsiteY912" fmla="*/ 2795 h 10000"/>
                  <a:gd name="connsiteX913" fmla="*/ 7364 w 10354"/>
                  <a:gd name="connsiteY913" fmla="*/ 2821 h 10000"/>
                  <a:gd name="connsiteX914" fmla="*/ 7378 w 10354"/>
                  <a:gd name="connsiteY914" fmla="*/ 2846 h 10000"/>
                  <a:gd name="connsiteX915" fmla="*/ 7378 w 10354"/>
                  <a:gd name="connsiteY915" fmla="*/ 2855 h 10000"/>
                  <a:gd name="connsiteX916" fmla="*/ 7378 w 10354"/>
                  <a:gd name="connsiteY916" fmla="*/ 2880 h 10000"/>
                  <a:gd name="connsiteX917" fmla="*/ 7378 w 10354"/>
                  <a:gd name="connsiteY917" fmla="*/ 2906 h 10000"/>
                  <a:gd name="connsiteX918" fmla="*/ 7364 w 10354"/>
                  <a:gd name="connsiteY918" fmla="*/ 2906 h 10000"/>
                  <a:gd name="connsiteX919" fmla="*/ 7346 w 10354"/>
                  <a:gd name="connsiteY919" fmla="*/ 2880 h 10000"/>
                  <a:gd name="connsiteX920" fmla="*/ 7332 w 10354"/>
                  <a:gd name="connsiteY920" fmla="*/ 2915 h 10000"/>
                  <a:gd name="connsiteX921" fmla="*/ 7318 w 10354"/>
                  <a:gd name="connsiteY921" fmla="*/ 2906 h 10000"/>
                  <a:gd name="connsiteX922" fmla="*/ 7313 w 10354"/>
                  <a:gd name="connsiteY922" fmla="*/ 2915 h 10000"/>
                  <a:gd name="connsiteX923" fmla="*/ 7313 w 10354"/>
                  <a:gd name="connsiteY923" fmla="*/ 2906 h 10000"/>
                  <a:gd name="connsiteX924" fmla="*/ 7286 w 10354"/>
                  <a:gd name="connsiteY924" fmla="*/ 2940 h 10000"/>
                  <a:gd name="connsiteX925" fmla="*/ 7276 w 10354"/>
                  <a:gd name="connsiteY925" fmla="*/ 2966 h 10000"/>
                  <a:gd name="connsiteX926" fmla="*/ 7272 w 10354"/>
                  <a:gd name="connsiteY926" fmla="*/ 2983 h 10000"/>
                  <a:gd name="connsiteX927" fmla="*/ 7267 w 10354"/>
                  <a:gd name="connsiteY927" fmla="*/ 3009 h 10000"/>
                  <a:gd name="connsiteX928" fmla="*/ 7253 w 10354"/>
                  <a:gd name="connsiteY928" fmla="*/ 3009 h 10000"/>
                  <a:gd name="connsiteX929" fmla="*/ 7244 w 10354"/>
                  <a:gd name="connsiteY929" fmla="*/ 3017 h 10000"/>
                  <a:gd name="connsiteX930" fmla="*/ 7240 w 10354"/>
                  <a:gd name="connsiteY930" fmla="*/ 3009 h 10000"/>
                  <a:gd name="connsiteX931" fmla="*/ 7230 w 10354"/>
                  <a:gd name="connsiteY931" fmla="*/ 2991 h 10000"/>
                  <a:gd name="connsiteX932" fmla="*/ 7226 w 10354"/>
                  <a:gd name="connsiteY932" fmla="*/ 2983 h 10000"/>
                  <a:gd name="connsiteX933" fmla="*/ 7226 w 10354"/>
                  <a:gd name="connsiteY933" fmla="*/ 2966 h 10000"/>
                  <a:gd name="connsiteX934" fmla="*/ 7212 w 10354"/>
                  <a:gd name="connsiteY934" fmla="*/ 2957 h 10000"/>
                  <a:gd name="connsiteX935" fmla="*/ 7212 w 10354"/>
                  <a:gd name="connsiteY935" fmla="*/ 2932 h 10000"/>
                  <a:gd name="connsiteX936" fmla="*/ 7198 w 10354"/>
                  <a:gd name="connsiteY936" fmla="*/ 2915 h 10000"/>
                  <a:gd name="connsiteX937" fmla="*/ 7194 w 10354"/>
                  <a:gd name="connsiteY937" fmla="*/ 2915 h 10000"/>
                  <a:gd name="connsiteX938" fmla="*/ 7157 w 10354"/>
                  <a:gd name="connsiteY938" fmla="*/ 2880 h 10000"/>
                  <a:gd name="connsiteX939" fmla="*/ 7138 w 10354"/>
                  <a:gd name="connsiteY939" fmla="*/ 2880 h 10000"/>
                  <a:gd name="connsiteX940" fmla="*/ 7120 w 10354"/>
                  <a:gd name="connsiteY940" fmla="*/ 2872 h 10000"/>
                  <a:gd name="connsiteX941" fmla="*/ 7111 w 10354"/>
                  <a:gd name="connsiteY941" fmla="*/ 2846 h 10000"/>
                  <a:gd name="connsiteX942" fmla="*/ 7106 w 10354"/>
                  <a:gd name="connsiteY942" fmla="*/ 2846 h 10000"/>
                  <a:gd name="connsiteX943" fmla="*/ 7092 w 10354"/>
                  <a:gd name="connsiteY943" fmla="*/ 2829 h 10000"/>
                  <a:gd name="connsiteX944" fmla="*/ 7051 w 10354"/>
                  <a:gd name="connsiteY944" fmla="*/ 2829 h 10000"/>
                  <a:gd name="connsiteX945" fmla="*/ 7037 w 10354"/>
                  <a:gd name="connsiteY945" fmla="*/ 2880 h 10000"/>
                  <a:gd name="connsiteX946" fmla="*/ 7037 w 10354"/>
                  <a:gd name="connsiteY946" fmla="*/ 2906 h 10000"/>
                  <a:gd name="connsiteX947" fmla="*/ 7037 w 10354"/>
                  <a:gd name="connsiteY947" fmla="*/ 2932 h 10000"/>
                  <a:gd name="connsiteX948" fmla="*/ 7037 w 10354"/>
                  <a:gd name="connsiteY948" fmla="*/ 2940 h 10000"/>
                  <a:gd name="connsiteX949" fmla="*/ 7023 w 10354"/>
                  <a:gd name="connsiteY949" fmla="*/ 2906 h 10000"/>
                  <a:gd name="connsiteX950" fmla="*/ 7023 w 10354"/>
                  <a:gd name="connsiteY950" fmla="*/ 2915 h 10000"/>
                  <a:gd name="connsiteX951" fmla="*/ 6991 w 10354"/>
                  <a:gd name="connsiteY951" fmla="*/ 2906 h 10000"/>
                  <a:gd name="connsiteX952" fmla="*/ 6977 w 10354"/>
                  <a:gd name="connsiteY952" fmla="*/ 2915 h 10000"/>
                  <a:gd name="connsiteX953" fmla="*/ 6963 w 10354"/>
                  <a:gd name="connsiteY953" fmla="*/ 2915 h 10000"/>
                  <a:gd name="connsiteX954" fmla="*/ 6949 w 10354"/>
                  <a:gd name="connsiteY954" fmla="*/ 2872 h 10000"/>
                  <a:gd name="connsiteX955" fmla="*/ 6935 w 10354"/>
                  <a:gd name="connsiteY955" fmla="*/ 2855 h 10000"/>
                  <a:gd name="connsiteX956" fmla="*/ 6922 w 10354"/>
                  <a:gd name="connsiteY956" fmla="*/ 2803 h 10000"/>
                  <a:gd name="connsiteX957" fmla="*/ 6917 w 10354"/>
                  <a:gd name="connsiteY957" fmla="*/ 2786 h 10000"/>
                  <a:gd name="connsiteX958" fmla="*/ 6903 w 10354"/>
                  <a:gd name="connsiteY958" fmla="*/ 2709 h 10000"/>
                  <a:gd name="connsiteX959" fmla="*/ 6903 w 10354"/>
                  <a:gd name="connsiteY959" fmla="*/ 2692 h 10000"/>
                  <a:gd name="connsiteX960" fmla="*/ 6899 w 10354"/>
                  <a:gd name="connsiteY960" fmla="*/ 2709 h 10000"/>
                  <a:gd name="connsiteX961" fmla="*/ 6857 w 10354"/>
                  <a:gd name="connsiteY961" fmla="*/ 2872 h 10000"/>
                  <a:gd name="connsiteX962" fmla="*/ 6857 w 10354"/>
                  <a:gd name="connsiteY962" fmla="*/ 3009 h 10000"/>
                  <a:gd name="connsiteX963" fmla="*/ 6848 w 10354"/>
                  <a:gd name="connsiteY963" fmla="*/ 3017 h 10000"/>
                  <a:gd name="connsiteX964" fmla="*/ 6839 w 10354"/>
                  <a:gd name="connsiteY964" fmla="*/ 3068 h 10000"/>
                  <a:gd name="connsiteX965" fmla="*/ 6829 w 10354"/>
                  <a:gd name="connsiteY965" fmla="*/ 3077 h 10000"/>
                  <a:gd name="connsiteX966" fmla="*/ 6829 w 10354"/>
                  <a:gd name="connsiteY966" fmla="*/ 3128 h 10000"/>
                  <a:gd name="connsiteX967" fmla="*/ 6816 w 10354"/>
                  <a:gd name="connsiteY967" fmla="*/ 3154 h 10000"/>
                  <a:gd name="connsiteX968" fmla="*/ 6811 w 10354"/>
                  <a:gd name="connsiteY968" fmla="*/ 3179 h 10000"/>
                  <a:gd name="connsiteX969" fmla="*/ 6797 w 10354"/>
                  <a:gd name="connsiteY969" fmla="*/ 3171 h 10000"/>
                  <a:gd name="connsiteX970" fmla="*/ 6783 w 10354"/>
                  <a:gd name="connsiteY970" fmla="*/ 3103 h 10000"/>
                  <a:gd name="connsiteX971" fmla="*/ 6779 w 10354"/>
                  <a:gd name="connsiteY971" fmla="*/ 3094 h 10000"/>
                  <a:gd name="connsiteX972" fmla="*/ 6779 w 10354"/>
                  <a:gd name="connsiteY972" fmla="*/ 3120 h 10000"/>
                  <a:gd name="connsiteX973" fmla="*/ 6770 w 10354"/>
                  <a:gd name="connsiteY973" fmla="*/ 3128 h 10000"/>
                  <a:gd name="connsiteX974" fmla="*/ 6765 w 10354"/>
                  <a:gd name="connsiteY974" fmla="*/ 3103 h 10000"/>
                  <a:gd name="connsiteX975" fmla="*/ 6756 w 10354"/>
                  <a:gd name="connsiteY975" fmla="*/ 3103 h 10000"/>
                  <a:gd name="connsiteX976" fmla="*/ 6742 w 10354"/>
                  <a:gd name="connsiteY976" fmla="*/ 3103 h 10000"/>
                  <a:gd name="connsiteX977" fmla="*/ 6737 w 10354"/>
                  <a:gd name="connsiteY977" fmla="*/ 3077 h 10000"/>
                  <a:gd name="connsiteX978" fmla="*/ 6737 w 10354"/>
                  <a:gd name="connsiteY978" fmla="*/ 3068 h 10000"/>
                  <a:gd name="connsiteX979" fmla="*/ 6728 w 10354"/>
                  <a:gd name="connsiteY979" fmla="*/ 3043 h 10000"/>
                  <a:gd name="connsiteX980" fmla="*/ 6724 w 10354"/>
                  <a:gd name="connsiteY980" fmla="*/ 3051 h 10000"/>
                  <a:gd name="connsiteX981" fmla="*/ 6714 w 10354"/>
                  <a:gd name="connsiteY981" fmla="*/ 3043 h 10000"/>
                  <a:gd name="connsiteX982" fmla="*/ 6710 w 10354"/>
                  <a:gd name="connsiteY982" fmla="*/ 3034 h 10000"/>
                  <a:gd name="connsiteX983" fmla="*/ 6705 w 10354"/>
                  <a:gd name="connsiteY983" fmla="*/ 2983 h 10000"/>
                  <a:gd name="connsiteX984" fmla="*/ 6696 w 10354"/>
                  <a:gd name="connsiteY984" fmla="*/ 2966 h 10000"/>
                  <a:gd name="connsiteX985" fmla="*/ 6691 w 10354"/>
                  <a:gd name="connsiteY985" fmla="*/ 2983 h 10000"/>
                  <a:gd name="connsiteX986" fmla="*/ 6677 w 10354"/>
                  <a:gd name="connsiteY986" fmla="*/ 2897 h 10000"/>
                  <a:gd name="connsiteX987" fmla="*/ 6677 w 10354"/>
                  <a:gd name="connsiteY987" fmla="*/ 2897 h 10000"/>
                  <a:gd name="connsiteX988" fmla="*/ 6677 w 10354"/>
                  <a:gd name="connsiteY988" fmla="*/ 2872 h 10000"/>
                  <a:gd name="connsiteX989" fmla="*/ 6668 w 10354"/>
                  <a:gd name="connsiteY989" fmla="*/ 2821 h 10000"/>
                  <a:gd name="connsiteX990" fmla="*/ 6664 w 10354"/>
                  <a:gd name="connsiteY990" fmla="*/ 2829 h 10000"/>
                  <a:gd name="connsiteX991" fmla="*/ 6654 w 10354"/>
                  <a:gd name="connsiteY991" fmla="*/ 2846 h 10000"/>
                  <a:gd name="connsiteX992" fmla="*/ 6650 w 10354"/>
                  <a:gd name="connsiteY992" fmla="*/ 2829 h 10000"/>
                  <a:gd name="connsiteX993" fmla="*/ 6650 w 10354"/>
                  <a:gd name="connsiteY993" fmla="*/ 2803 h 10000"/>
                  <a:gd name="connsiteX994" fmla="*/ 6650 w 10354"/>
                  <a:gd name="connsiteY994" fmla="*/ 2795 h 10000"/>
                  <a:gd name="connsiteX995" fmla="*/ 6641 w 10354"/>
                  <a:gd name="connsiteY995" fmla="*/ 2786 h 10000"/>
                  <a:gd name="connsiteX996" fmla="*/ 6636 w 10354"/>
                  <a:gd name="connsiteY996" fmla="*/ 2735 h 10000"/>
                  <a:gd name="connsiteX997" fmla="*/ 6664 w 10354"/>
                  <a:gd name="connsiteY997" fmla="*/ 2667 h 10000"/>
                  <a:gd name="connsiteX998" fmla="*/ 6668 w 10354"/>
                  <a:gd name="connsiteY998" fmla="*/ 2684 h 10000"/>
                  <a:gd name="connsiteX999" fmla="*/ 6677 w 10354"/>
                  <a:gd name="connsiteY999" fmla="*/ 2667 h 10000"/>
                  <a:gd name="connsiteX1000" fmla="*/ 6668 w 10354"/>
                  <a:gd name="connsiteY1000" fmla="*/ 2667 h 10000"/>
                  <a:gd name="connsiteX1001" fmla="*/ 6668 w 10354"/>
                  <a:gd name="connsiteY1001" fmla="*/ 2650 h 10000"/>
                  <a:gd name="connsiteX1002" fmla="*/ 6682 w 10354"/>
                  <a:gd name="connsiteY1002" fmla="*/ 2650 h 10000"/>
                  <a:gd name="connsiteX1003" fmla="*/ 6691 w 10354"/>
                  <a:gd name="connsiteY1003" fmla="*/ 2624 h 10000"/>
                  <a:gd name="connsiteX1004" fmla="*/ 6682 w 10354"/>
                  <a:gd name="connsiteY1004" fmla="*/ 2632 h 10000"/>
                  <a:gd name="connsiteX1005" fmla="*/ 6682 w 10354"/>
                  <a:gd name="connsiteY1005" fmla="*/ 2624 h 10000"/>
                  <a:gd name="connsiteX1006" fmla="*/ 6691 w 10354"/>
                  <a:gd name="connsiteY1006" fmla="*/ 2607 h 10000"/>
                  <a:gd name="connsiteX1007" fmla="*/ 6691 w 10354"/>
                  <a:gd name="connsiteY1007" fmla="*/ 2598 h 10000"/>
                  <a:gd name="connsiteX1008" fmla="*/ 6691 w 10354"/>
                  <a:gd name="connsiteY1008" fmla="*/ 2581 h 10000"/>
                  <a:gd name="connsiteX1009" fmla="*/ 6696 w 10354"/>
                  <a:gd name="connsiteY1009" fmla="*/ 2530 h 10000"/>
                  <a:gd name="connsiteX1010" fmla="*/ 6677 w 10354"/>
                  <a:gd name="connsiteY1010" fmla="*/ 2513 h 10000"/>
                  <a:gd name="connsiteX1011" fmla="*/ 6677 w 10354"/>
                  <a:gd name="connsiteY1011" fmla="*/ 2496 h 10000"/>
                  <a:gd name="connsiteX1012" fmla="*/ 6682 w 10354"/>
                  <a:gd name="connsiteY1012" fmla="*/ 2470 h 10000"/>
                  <a:gd name="connsiteX1013" fmla="*/ 6668 w 10354"/>
                  <a:gd name="connsiteY1013" fmla="*/ 2462 h 10000"/>
                  <a:gd name="connsiteX1014" fmla="*/ 6677 w 10354"/>
                  <a:gd name="connsiteY1014" fmla="*/ 2436 h 10000"/>
                  <a:gd name="connsiteX1015" fmla="*/ 6682 w 10354"/>
                  <a:gd name="connsiteY1015" fmla="*/ 2419 h 10000"/>
                  <a:gd name="connsiteX1016" fmla="*/ 6682 w 10354"/>
                  <a:gd name="connsiteY1016" fmla="*/ 2393 h 10000"/>
                  <a:gd name="connsiteX1017" fmla="*/ 6682 w 10354"/>
                  <a:gd name="connsiteY1017" fmla="*/ 2385 h 10000"/>
                  <a:gd name="connsiteX1018" fmla="*/ 6682 w 10354"/>
                  <a:gd name="connsiteY1018" fmla="*/ 2385 h 10000"/>
                  <a:gd name="connsiteX1019" fmla="*/ 6677 w 10354"/>
                  <a:gd name="connsiteY1019" fmla="*/ 2376 h 10000"/>
                  <a:gd name="connsiteX1020" fmla="*/ 6682 w 10354"/>
                  <a:gd name="connsiteY1020" fmla="*/ 2359 h 10000"/>
                  <a:gd name="connsiteX1021" fmla="*/ 6677 w 10354"/>
                  <a:gd name="connsiteY1021" fmla="*/ 2333 h 10000"/>
                  <a:gd name="connsiteX1022" fmla="*/ 6691 w 10354"/>
                  <a:gd name="connsiteY1022" fmla="*/ 2333 h 10000"/>
                  <a:gd name="connsiteX1023" fmla="*/ 6691 w 10354"/>
                  <a:gd name="connsiteY1023" fmla="*/ 2325 h 10000"/>
                  <a:gd name="connsiteX1024" fmla="*/ 6691 w 10354"/>
                  <a:gd name="connsiteY1024" fmla="*/ 2308 h 10000"/>
                  <a:gd name="connsiteX1025" fmla="*/ 6691 w 10354"/>
                  <a:gd name="connsiteY1025" fmla="*/ 2299 h 10000"/>
                  <a:gd name="connsiteX1026" fmla="*/ 6691 w 10354"/>
                  <a:gd name="connsiteY1026" fmla="*/ 2282 h 10000"/>
                  <a:gd name="connsiteX1027" fmla="*/ 6691 w 10354"/>
                  <a:gd name="connsiteY1027" fmla="*/ 2274 h 10000"/>
                  <a:gd name="connsiteX1028" fmla="*/ 6668 w 10354"/>
                  <a:gd name="connsiteY1028" fmla="*/ 2248 h 10000"/>
                  <a:gd name="connsiteX1029" fmla="*/ 6664 w 10354"/>
                  <a:gd name="connsiteY1029" fmla="*/ 2222 h 10000"/>
                  <a:gd name="connsiteX1030" fmla="*/ 6654 w 10354"/>
                  <a:gd name="connsiteY1030" fmla="*/ 2214 h 10000"/>
                  <a:gd name="connsiteX1031" fmla="*/ 6654 w 10354"/>
                  <a:gd name="connsiteY1031" fmla="*/ 2188 h 10000"/>
                  <a:gd name="connsiteX1032" fmla="*/ 6622 w 10354"/>
                  <a:gd name="connsiteY1032" fmla="*/ 2162 h 10000"/>
                  <a:gd name="connsiteX1033" fmla="*/ 6631 w 10354"/>
                  <a:gd name="connsiteY1033" fmla="*/ 2145 h 10000"/>
                  <a:gd name="connsiteX1034" fmla="*/ 6622 w 10354"/>
                  <a:gd name="connsiteY1034" fmla="*/ 2120 h 10000"/>
                  <a:gd name="connsiteX1035" fmla="*/ 6608 w 10354"/>
                  <a:gd name="connsiteY1035" fmla="*/ 2120 h 10000"/>
                  <a:gd name="connsiteX1036" fmla="*/ 6604 w 10354"/>
                  <a:gd name="connsiteY1036" fmla="*/ 2111 h 10000"/>
                  <a:gd name="connsiteX1037" fmla="*/ 6608 w 10354"/>
                  <a:gd name="connsiteY1037" fmla="*/ 2111 h 10000"/>
                  <a:gd name="connsiteX1038" fmla="*/ 6604 w 10354"/>
                  <a:gd name="connsiteY1038" fmla="*/ 2085 h 10000"/>
                  <a:gd name="connsiteX1039" fmla="*/ 6581 w 10354"/>
                  <a:gd name="connsiteY1039" fmla="*/ 2077 h 10000"/>
                  <a:gd name="connsiteX1040" fmla="*/ 6571 w 10354"/>
                  <a:gd name="connsiteY1040" fmla="*/ 2085 h 10000"/>
                  <a:gd name="connsiteX1041" fmla="*/ 6548 w 10354"/>
                  <a:gd name="connsiteY1041" fmla="*/ 2077 h 10000"/>
                  <a:gd name="connsiteX1042" fmla="*/ 6530 w 10354"/>
                  <a:gd name="connsiteY1042" fmla="*/ 2060 h 10000"/>
                  <a:gd name="connsiteX1043" fmla="*/ 6521 w 10354"/>
                  <a:gd name="connsiteY1043" fmla="*/ 2060 h 10000"/>
                  <a:gd name="connsiteX1044" fmla="*/ 6521 w 10354"/>
                  <a:gd name="connsiteY1044" fmla="*/ 2085 h 10000"/>
                  <a:gd name="connsiteX1045" fmla="*/ 6516 w 10354"/>
                  <a:gd name="connsiteY1045" fmla="*/ 2085 h 10000"/>
                  <a:gd name="connsiteX1046" fmla="*/ 6502 w 10354"/>
                  <a:gd name="connsiteY1046" fmla="*/ 2111 h 10000"/>
                  <a:gd name="connsiteX1047" fmla="*/ 6498 w 10354"/>
                  <a:gd name="connsiteY1047" fmla="*/ 2111 h 10000"/>
                  <a:gd name="connsiteX1048" fmla="*/ 6498 w 10354"/>
                  <a:gd name="connsiteY1048" fmla="*/ 2103 h 10000"/>
                  <a:gd name="connsiteX1049" fmla="*/ 6475 w 10354"/>
                  <a:gd name="connsiteY1049" fmla="*/ 2051 h 10000"/>
                  <a:gd name="connsiteX1050" fmla="*/ 6470 w 10354"/>
                  <a:gd name="connsiteY1050" fmla="*/ 2060 h 10000"/>
                  <a:gd name="connsiteX1051" fmla="*/ 6456 w 10354"/>
                  <a:gd name="connsiteY1051" fmla="*/ 2051 h 10000"/>
                  <a:gd name="connsiteX1052" fmla="*/ 6447 w 10354"/>
                  <a:gd name="connsiteY1052" fmla="*/ 2051 h 10000"/>
                  <a:gd name="connsiteX1053" fmla="*/ 6433 w 10354"/>
                  <a:gd name="connsiteY1053" fmla="*/ 2026 h 10000"/>
                  <a:gd name="connsiteX1054" fmla="*/ 6433 w 10354"/>
                  <a:gd name="connsiteY1054" fmla="*/ 2034 h 10000"/>
                  <a:gd name="connsiteX1055" fmla="*/ 6429 w 10354"/>
                  <a:gd name="connsiteY1055" fmla="*/ 2026 h 10000"/>
                  <a:gd name="connsiteX1056" fmla="*/ 6424 w 10354"/>
                  <a:gd name="connsiteY1056" fmla="*/ 2034 h 10000"/>
                  <a:gd name="connsiteX1057" fmla="*/ 6410 w 10354"/>
                  <a:gd name="connsiteY1057" fmla="*/ 2026 h 10000"/>
                  <a:gd name="connsiteX1058" fmla="*/ 6410 w 10354"/>
                  <a:gd name="connsiteY1058" fmla="*/ 1991 h 10000"/>
                  <a:gd name="connsiteX1059" fmla="*/ 6401 w 10354"/>
                  <a:gd name="connsiteY1059" fmla="*/ 1991 h 10000"/>
                  <a:gd name="connsiteX1060" fmla="*/ 6396 w 10354"/>
                  <a:gd name="connsiteY1060" fmla="*/ 2000 h 10000"/>
                  <a:gd name="connsiteX1061" fmla="*/ 6382 w 10354"/>
                  <a:gd name="connsiteY1061" fmla="*/ 1966 h 10000"/>
                  <a:gd name="connsiteX1062" fmla="*/ 6373 w 10354"/>
                  <a:gd name="connsiteY1062" fmla="*/ 1974 h 10000"/>
                  <a:gd name="connsiteX1063" fmla="*/ 6369 w 10354"/>
                  <a:gd name="connsiteY1063" fmla="*/ 1966 h 10000"/>
                  <a:gd name="connsiteX1064" fmla="*/ 6341 w 10354"/>
                  <a:gd name="connsiteY1064" fmla="*/ 1949 h 10000"/>
                  <a:gd name="connsiteX1065" fmla="*/ 6327 w 10354"/>
                  <a:gd name="connsiteY1065" fmla="*/ 1923 h 10000"/>
                  <a:gd name="connsiteX1066" fmla="*/ 6323 w 10354"/>
                  <a:gd name="connsiteY1066" fmla="*/ 1923 h 10000"/>
                  <a:gd name="connsiteX1067" fmla="*/ 6323 w 10354"/>
                  <a:gd name="connsiteY1067" fmla="*/ 1966 h 10000"/>
                  <a:gd name="connsiteX1068" fmla="*/ 6323 w 10354"/>
                  <a:gd name="connsiteY1068" fmla="*/ 1991 h 10000"/>
                  <a:gd name="connsiteX1069" fmla="*/ 6313 w 10354"/>
                  <a:gd name="connsiteY1069" fmla="*/ 1991 h 10000"/>
                  <a:gd name="connsiteX1070" fmla="*/ 6300 w 10354"/>
                  <a:gd name="connsiteY1070" fmla="*/ 1991 h 10000"/>
                  <a:gd name="connsiteX1071" fmla="*/ 6290 w 10354"/>
                  <a:gd name="connsiteY1071" fmla="*/ 1949 h 10000"/>
                  <a:gd name="connsiteX1072" fmla="*/ 6276 w 10354"/>
                  <a:gd name="connsiteY1072" fmla="*/ 2103 h 10000"/>
                  <a:gd name="connsiteX1073" fmla="*/ 6281 w 10354"/>
                  <a:gd name="connsiteY1073" fmla="*/ 2103 h 10000"/>
                  <a:gd name="connsiteX1074" fmla="*/ 6276 w 10354"/>
                  <a:gd name="connsiteY1074" fmla="*/ 2111 h 10000"/>
                  <a:gd name="connsiteX1075" fmla="*/ 6276 w 10354"/>
                  <a:gd name="connsiteY1075" fmla="*/ 2120 h 10000"/>
                  <a:gd name="connsiteX1076" fmla="*/ 6295 w 10354"/>
                  <a:gd name="connsiteY1076" fmla="*/ 2239 h 10000"/>
                  <a:gd name="connsiteX1077" fmla="*/ 6290 w 10354"/>
                  <a:gd name="connsiteY1077" fmla="*/ 2248 h 10000"/>
                  <a:gd name="connsiteX1078" fmla="*/ 6281 w 10354"/>
                  <a:gd name="connsiteY1078" fmla="*/ 2274 h 10000"/>
                  <a:gd name="connsiteX1079" fmla="*/ 6249 w 10354"/>
                  <a:gd name="connsiteY1079" fmla="*/ 2274 h 10000"/>
                  <a:gd name="connsiteX1080" fmla="*/ 6226 w 10354"/>
                  <a:gd name="connsiteY1080" fmla="*/ 2308 h 10000"/>
                  <a:gd name="connsiteX1081" fmla="*/ 6221 w 10354"/>
                  <a:gd name="connsiteY1081" fmla="*/ 2299 h 10000"/>
                  <a:gd name="connsiteX1082" fmla="*/ 6221 w 10354"/>
                  <a:gd name="connsiteY1082" fmla="*/ 2308 h 10000"/>
                  <a:gd name="connsiteX1083" fmla="*/ 6217 w 10354"/>
                  <a:gd name="connsiteY1083" fmla="*/ 2299 h 10000"/>
                  <a:gd name="connsiteX1084" fmla="*/ 6194 w 10354"/>
                  <a:gd name="connsiteY1084" fmla="*/ 2308 h 10000"/>
                  <a:gd name="connsiteX1085" fmla="*/ 6180 w 10354"/>
                  <a:gd name="connsiteY1085" fmla="*/ 2299 h 10000"/>
                  <a:gd name="connsiteX1086" fmla="*/ 6143 w 10354"/>
                  <a:gd name="connsiteY1086" fmla="*/ 2308 h 10000"/>
                  <a:gd name="connsiteX1087" fmla="*/ 6134 w 10354"/>
                  <a:gd name="connsiteY1087" fmla="*/ 2325 h 10000"/>
                  <a:gd name="connsiteX1088" fmla="*/ 6115 w 10354"/>
                  <a:gd name="connsiteY1088" fmla="*/ 2282 h 10000"/>
                  <a:gd name="connsiteX1089" fmla="*/ 6069 w 10354"/>
                  <a:gd name="connsiteY1089" fmla="*/ 2274 h 10000"/>
                  <a:gd name="connsiteX1090" fmla="*/ 6069 w 10354"/>
                  <a:gd name="connsiteY1090" fmla="*/ 2282 h 10000"/>
                  <a:gd name="connsiteX1091" fmla="*/ 6060 w 10354"/>
                  <a:gd name="connsiteY1091" fmla="*/ 2299 h 10000"/>
                  <a:gd name="connsiteX1092" fmla="*/ 5972 w 10354"/>
                  <a:gd name="connsiteY1092" fmla="*/ 2214 h 10000"/>
                  <a:gd name="connsiteX1093" fmla="*/ 5968 w 10354"/>
                  <a:gd name="connsiteY1093" fmla="*/ 2197 h 10000"/>
                  <a:gd name="connsiteX1094" fmla="*/ 5968 w 10354"/>
                  <a:gd name="connsiteY1094" fmla="*/ 2171 h 10000"/>
                  <a:gd name="connsiteX1095" fmla="*/ 5968 w 10354"/>
                  <a:gd name="connsiteY1095" fmla="*/ 2162 h 10000"/>
                  <a:gd name="connsiteX1096" fmla="*/ 5968 w 10354"/>
                  <a:gd name="connsiteY1096" fmla="*/ 2120 h 10000"/>
                  <a:gd name="connsiteX1097" fmla="*/ 5968 w 10354"/>
                  <a:gd name="connsiteY1097" fmla="*/ 2111 h 10000"/>
                  <a:gd name="connsiteX1098" fmla="*/ 5972 w 10354"/>
                  <a:gd name="connsiteY1098" fmla="*/ 2103 h 10000"/>
                  <a:gd name="connsiteX1099" fmla="*/ 5986 w 10354"/>
                  <a:gd name="connsiteY1099" fmla="*/ 2103 h 10000"/>
                  <a:gd name="connsiteX1100" fmla="*/ 5986 w 10354"/>
                  <a:gd name="connsiteY1100" fmla="*/ 2085 h 10000"/>
                  <a:gd name="connsiteX1101" fmla="*/ 5995 w 10354"/>
                  <a:gd name="connsiteY1101" fmla="*/ 2085 h 10000"/>
                  <a:gd name="connsiteX1102" fmla="*/ 5995 w 10354"/>
                  <a:gd name="connsiteY1102" fmla="*/ 2077 h 10000"/>
                  <a:gd name="connsiteX1103" fmla="*/ 5986 w 10354"/>
                  <a:gd name="connsiteY1103" fmla="*/ 2060 h 10000"/>
                  <a:gd name="connsiteX1104" fmla="*/ 5954 w 10354"/>
                  <a:gd name="connsiteY1104" fmla="*/ 2060 h 10000"/>
                  <a:gd name="connsiteX1105" fmla="*/ 5940 w 10354"/>
                  <a:gd name="connsiteY1105" fmla="*/ 2051 h 10000"/>
                  <a:gd name="connsiteX1106" fmla="*/ 5922 w 10354"/>
                  <a:gd name="connsiteY1106" fmla="*/ 2060 h 10000"/>
                  <a:gd name="connsiteX1107" fmla="*/ 5885 w 10354"/>
                  <a:gd name="connsiteY1107" fmla="*/ 2051 h 10000"/>
                  <a:gd name="connsiteX1108" fmla="*/ 5876 w 10354"/>
                  <a:gd name="connsiteY1108" fmla="*/ 2026 h 10000"/>
                  <a:gd name="connsiteX1109" fmla="*/ 5862 w 10354"/>
                  <a:gd name="connsiteY1109" fmla="*/ 2026 h 10000"/>
                  <a:gd name="connsiteX1110" fmla="*/ 5848 w 10354"/>
                  <a:gd name="connsiteY1110" fmla="*/ 2026 h 10000"/>
                  <a:gd name="connsiteX1111" fmla="*/ 5825 w 10354"/>
                  <a:gd name="connsiteY1111" fmla="*/ 2026 h 10000"/>
                  <a:gd name="connsiteX1112" fmla="*/ 5788 w 10354"/>
                  <a:gd name="connsiteY1112" fmla="*/ 1991 h 10000"/>
                  <a:gd name="connsiteX1113" fmla="*/ 5760 w 10354"/>
                  <a:gd name="connsiteY1113" fmla="*/ 2000 h 10000"/>
                  <a:gd name="connsiteX1114" fmla="*/ 5760 w 10354"/>
                  <a:gd name="connsiteY1114" fmla="*/ 2026 h 10000"/>
                  <a:gd name="connsiteX1115" fmla="*/ 5714 w 10354"/>
                  <a:gd name="connsiteY1115" fmla="*/ 2051 h 10000"/>
                  <a:gd name="connsiteX1116" fmla="*/ 5687 w 10354"/>
                  <a:gd name="connsiteY1116" fmla="*/ 2034 h 10000"/>
                  <a:gd name="connsiteX1117" fmla="*/ 5645 w 10354"/>
                  <a:gd name="connsiteY1117" fmla="*/ 2077 h 10000"/>
                  <a:gd name="connsiteX1118" fmla="*/ 5664 w 10354"/>
                  <a:gd name="connsiteY1118" fmla="*/ 2120 h 10000"/>
                  <a:gd name="connsiteX1119" fmla="*/ 5664 w 10354"/>
                  <a:gd name="connsiteY1119" fmla="*/ 2162 h 10000"/>
                  <a:gd name="connsiteX1120" fmla="*/ 5631 w 10354"/>
                  <a:gd name="connsiteY1120" fmla="*/ 2197 h 10000"/>
                  <a:gd name="connsiteX1121" fmla="*/ 5618 w 10354"/>
                  <a:gd name="connsiteY1121" fmla="*/ 2188 h 10000"/>
                  <a:gd name="connsiteX1122" fmla="*/ 5618 w 10354"/>
                  <a:gd name="connsiteY1122" fmla="*/ 2171 h 10000"/>
                  <a:gd name="connsiteX1123" fmla="*/ 5641 w 10354"/>
                  <a:gd name="connsiteY1123" fmla="*/ 2171 h 10000"/>
                  <a:gd name="connsiteX1124" fmla="*/ 5641 w 10354"/>
                  <a:gd name="connsiteY1124" fmla="*/ 2162 h 10000"/>
                  <a:gd name="connsiteX1125" fmla="*/ 5627 w 10354"/>
                  <a:gd name="connsiteY1125" fmla="*/ 2145 h 10000"/>
                  <a:gd name="connsiteX1126" fmla="*/ 5627 w 10354"/>
                  <a:gd name="connsiteY1126" fmla="*/ 2120 h 10000"/>
                  <a:gd name="connsiteX1127" fmla="*/ 5618 w 10354"/>
                  <a:gd name="connsiteY1127" fmla="*/ 2111 h 10000"/>
                  <a:gd name="connsiteX1128" fmla="*/ 5631 w 10354"/>
                  <a:gd name="connsiteY1128" fmla="*/ 2051 h 10000"/>
                  <a:gd name="connsiteX1129" fmla="*/ 5631 w 10354"/>
                  <a:gd name="connsiteY1129" fmla="*/ 2026 h 10000"/>
                  <a:gd name="connsiteX1130" fmla="*/ 5627 w 10354"/>
                  <a:gd name="connsiteY1130" fmla="*/ 1991 h 10000"/>
                  <a:gd name="connsiteX1131" fmla="*/ 5618 w 10354"/>
                  <a:gd name="connsiteY1131" fmla="*/ 1974 h 10000"/>
                  <a:gd name="connsiteX1132" fmla="*/ 5618 w 10354"/>
                  <a:gd name="connsiteY1132" fmla="*/ 1940 h 10000"/>
                  <a:gd name="connsiteX1133" fmla="*/ 5594 w 10354"/>
                  <a:gd name="connsiteY1133" fmla="*/ 1855 h 10000"/>
                  <a:gd name="connsiteX1134" fmla="*/ 5599 w 10354"/>
                  <a:gd name="connsiteY1134" fmla="*/ 1915 h 10000"/>
                  <a:gd name="connsiteX1135" fmla="*/ 5599 w 10354"/>
                  <a:gd name="connsiteY1135" fmla="*/ 1949 h 10000"/>
                  <a:gd name="connsiteX1136" fmla="*/ 5594 w 10354"/>
                  <a:gd name="connsiteY1136" fmla="*/ 1991 h 10000"/>
                  <a:gd name="connsiteX1137" fmla="*/ 5571 w 10354"/>
                  <a:gd name="connsiteY1137" fmla="*/ 2000 h 10000"/>
                  <a:gd name="connsiteX1138" fmla="*/ 5530 w 10354"/>
                  <a:gd name="connsiteY1138" fmla="*/ 1991 h 10000"/>
                  <a:gd name="connsiteX1139" fmla="*/ 5525 w 10354"/>
                  <a:gd name="connsiteY1139" fmla="*/ 2000 h 10000"/>
                  <a:gd name="connsiteX1140" fmla="*/ 5521 w 10354"/>
                  <a:gd name="connsiteY1140" fmla="*/ 1991 h 10000"/>
                  <a:gd name="connsiteX1141" fmla="*/ 5498 w 10354"/>
                  <a:gd name="connsiteY1141" fmla="*/ 1949 h 10000"/>
                  <a:gd name="connsiteX1142" fmla="*/ 5493 w 10354"/>
                  <a:gd name="connsiteY1142" fmla="*/ 1889 h 10000"/>
                  <a:gd name="connsiteX1143" fmla="*/ 5493 w 10354"/>
                  <a:gd name="connsiteY1143" fmla="*/ 1863 h 10000"/>
                  <a:gd name="connsiteX1144" fmla="*/ 5498 w 10354"/>
                  <a:gd name="connsiteY1144" fmla="*/ 1889 h 10000"/>
                  <a:gd name="connsiteX1145" fmla="*/ 5512 w 10354"/>
                  <a:gd name="connsiteY1145" fmla="*/ 1855 h 10000"/>
                  <a:gd name="connsiteX1146" fmla="*/ 5512 w 10354"/>
                  <a:gd name="connsiteY1146" fmla="*/ 1838 h 10000"/>
                  <a:gd name="connsiteX1147" fmla="*/ 5479 w 10354"/>
                  <a:gd name="connsiteY1147" fmla="*/ 1855 h 10000"/>
                  <a:gd name="connsiteX1148" fmla="*/ 5470 w 10354"/>
                  <a:gd name="connsiteY1148" fmla="*/ 1872 h 10000"/>
                  <a:gd name="connsiteX1149" fmla="*/ 5470 w 10354"/>
                  <a:gd name="connsiteY1149" fmla="*/ 1889 h 10000"/>
                  <a:gd name="connsiteX1150" fmla="*/ 5465 w 10354"/>
                  <a:gd name="connsiteY1150" fmla="*/ 1897 h 10000"/>
                  <a:gd name="connsiteX1151" fmla="*/ 5456 w 10354"/>
                  <a:gd name="connsiteY1151" fmla="*/ 1872 h 10000"/>
                  <a:gd name="connsiteX1152" fmla="*/ 5447 w 10354"/>
                  <a:gd name="connsiteY1152" fmla="*/ 1872 h 10000"/>
                  <a:gd name="connsiteX1153" fmla="*/ 5433 w 10354"/>
                  <a:gd name="connsiteY1153" fmla="*/ 1855 h 10000"/>
                  <a:gd name="connsiteX1154" fmla="*/ 5396 w 10354"/>
                  <a:gd name="connsiteY1154" fmla="*/ 1863 h 10000"/>
                  <a:gd name="connsiteX1155" fmla="*/ 5396 w 10354"/>
                  <a:gd name="connsiteY1155" fmla="*/ 1897 h 10000"/>
                  <a:gd name="connsiteX1156" fmla="*/ 5378 w 10354"/>
                  <a:gd name="connsiteY1156" fmla="*/ 1949 h 10000"/>
                  <a:gd name="connsiteX1157" fmla="*/ 5378 w 10354"/>
                  <a:gd name="connsiteY1157" fmla="*/ 1966 h 10000"/>
                  <a:gd name="connsiteX1158" fmla="*/ 5392 w 10354"/>
                  <a:gd name="connsiteY1158" fmla="*/ 2026 h 10000"/>
                  <a:gd name="connsiteX1159" fmla="*/ 5396 w 10354"/>
                  <a:gd name="connsiteY1159" fmla="*/ 2026 h 10000"/>
                  <a:gd name="connsiteX1160" fmla="*/ 5392 w 10354"/>
                  <a:gd name="connsiteY1160" fmla="*/ 2009 h 10000"/>
                  <a:gd name="connsiteX1161" fmla="*/ 5392 w 10354"/>
                  <a:gd name="connsiteY1161" fmla="*/ 2000 h 10000"/>
                  <a:gd name="connsiteX1162" fmla="*/ 5396 w 10354"/>
                  <a:gd name="connsiteY1162" fmla="*/ 2009 h 10000"/>
                  <a:gd name="connsiteX1163" fmla="*/ 5424 w 10354"/>
                  <a:gd name="connsiteY1163" fmla="*/ 2009 h 10000"/>
                  <a:gd name="connsiteX1164" fmla="*/ 5433 w 10354"/>
                  <a:gd name="connsiteY1164" fmla="*/ 1991 h 10000"/>
                  <a:gd name="connsiteX1165" fmla="*/ 5447 w 10354"/>
                  <a:gd name="connsiteY1165" fmla="*/ 1974 h 10000"/>
                  <a:gd name="connsiteX1166" fmla="*/ 5452 w 10354"/>
                  <a:gd name="connsiteY1166" fmla="*/ 1966 h 10000"/>
                  <a:gd name="connsiteX1167" fmla="*/ 5456 w 10354"/>
                  <a:gd name="connsiteY1167" fmla="*/ 1966 h 10000"/>
                  <a:gd name="connsiteX1168" fmla="*/ 5465 w 10354"/>
                  <a:gd name="connsiteY1168" fmla="*/ 2009 h 10000"/>
                  <a:gd name="connsiteX1169" fmla="*/ 5433 w 10354"/>
                  <a:gd name="connsiteY1169" fmla="*/ 2034 h 10000"/>
                  <a:gd name="connsiteX1170" fmla="*/ 5424 w 10354"/>
                  <a:gd name="connsiteY1170" fmla="*/ 2060 h 10000"/>
                  <a:gd name="connsiteX1171" fmla="*/ 5419 w 10354"/>
                  <a:gd name="connsiteY1171" fmla="*/ 2060 h 10000"/>
                  <a:gd name="connsiteX1172" fmla="*/ 5392 w 10354"/>
                  <a:gd name="connsiteY1172" fmla="*/ 2111 h 10000"/>
                  <a:gd name="connsiteX1173" fmla="*/ 5378 w 10354"/>
                  <a:gd name="connsiteY1173" fmla="*/ 2111 h 10000"/>
                  <a:gd name="connsiteX1174" fmla="*/ 5350 w 10354"/>
                  <a:gd name="connsiteY1174" fmla="*/ 2060 h 10000"/>
                  <a:gd name="connsiteX1175" fmla="*/ 5373 w 10354"/>
                  <a:gd name="connsiteY1175" fmla="*/ 2111 h 10000"/>
                  <a:gd name="connsiteX1176" fmla="*/ 5364 w 10354"/>
                  <a:gd name="connsiteY1176" fmla="*/ 2111 h 10000"/>
                  <a:gd name="connsiteX1177" fmla="*/ 5359 w 10354"/>
                  <a:gd name="connsiteY1177" fmla="*/ 2103 h 10000"/>
                  <a:gd name="connsiteX1178" fmla="*/ 5359 w 10354"/>
                  <a:gd name="connsiteY1178" fmla="*/ 2120 h 10000"/>
                  <a:gd name="connsiteX1179" fmla="*/ 5359 w 10354"/>
                  <a:gd name="connsiteY1179" fmla="*/ 2137 h 10000"/>
                  <a:gd name="connsiteX1180" fmla="*/ 5313 w 10354"/>
                  <a:gd name="connsiteY1180" fmla="*/ 2162 h 10000"/>
                  <a:gd name="connsiteX1181" fmla="*/ 5300 w 10354"/>
                  <a:gd name="connsiteY1181" fmla="*/ 2162 h 10000"/>
                  <a:gd name="connsiteX1182" fmla="*/ 5300 w 10354"/>
                  <a:gd name="connsiteY1182" fmla="*/ 2171 h 10000"/>
                  <a:gd name="connsiteX1183" fmla="*/ 5300 w 10354"/>
                  <a:gd name="connsiteY1183" fmla="*/ 2197 h 10000"/>
                  <a:gd name="connsiteX1184" fmla="*/ 5276 w 10354"/>
                  <a:gd name="connsiteY1184" fmla="*/ 2188 h 10000"/>
                  <a:gd name="connsiteX1185" fmla="*/ 5249 w 10354"/>
                  <a:gd name="connsiteY1185" fmla="*/ 2222 h 10000"/>
                  <a:gd name="connsiteX1186" fmla="*/ 5249 w 10354"/>
                  <a:gd name="connsiteY1186" fmla="*/ 2222 h 10000"/>
                  <a:gd name="connsiteX1187" fmla="*/ 5217 w 10354"/>
                  <a:gd name="connsiteY1187" fmla="*/ 2214 h 10000"/>
                  <a:gd name="connsiteX1188" fmla="*/ 5203 w 10354"/>
                  <a:gd name="connsiteY1188" fmla="*/ 2239 h 10000"/>
                  <a:gd name="connsiteX1189" fmla="*/ 5171 w 10354"/>
                  <a:gd name="connsiteY1189" fmla="*/ 2214 h 10000"/>
                  <a:gd name="connsiteX1190" fmla="*/ 5157 w 10354"/>
                  <a:gd name="connsiteY1190" fmla="*/ 2239 h 10000"/>
                  <a:gd name="connsiteX1191" fmla="*/ 5166 w 10354"/>
                  <a:gd name="connsiteY1191" fmla="*/ 2256 h 10000"/>
                  <a:gd name="connsiteX1192" fmla="*/ 5171 w 10354"/>
                  <a:gd name="connsiteY1192" fmla="*/ 2308 h 10000"/>
                  <a:gd name="connsiteX1193" fmla="*/ 5212 w 10354"/>
                  <a:gd name="connsiteY1193" fmla="*/ 2350 h 10000"/>
                  <a:gd name="connsiteX1194" fmla="*/ 5203 w 10354"/>
                  <a:gd name="connsiteY1194" fmla="*/ 2350 h 10000"/>
                  <a:gd name="connsiteX1195" fmla="*/ 5166 w 10354"/>
                  <a:gd name="connsiteY1195" fmla="*/ 2325 h 10000"/>
                  <a:gd name="connsiteX1196" fmla="*/ 5152 w 10354"/>
                  <a:gd name="connsiteY1196" fmla="*/ 2308 h 10000"/>
                  <a:gd name="connsiteX1197" fmla="*/ 5143 w 10354"/>
                  <a:gd name="connsiteY1197" fmla="*/ 2333 h 10000"/>
                  <a:gd name="connsiteX1198" fmla="*/ 5138 w 10354"/>
                  <a:gd name="connsiteY1198" fmla="*/ 2333 h 10000"/>
                  <a:gd name="connsiteX1199" fmla="*/ 5124 w 10354"/>
                  <a:gd name="connsiteY1199" fmla="*/ 2376 h 10000"/>
                  <a:gd name="connsiteX1200" fmla="*/ 5115 w 10354"/>
                  <a:gd name="connsiteY1200" fmla="*/ 2385 h 10000"/>
                  <a:gd name="connsiteX1201" fmla="*/ 5106 w 10354"/>
                  <a:gd name="connsiteY1201" fmla="*/ 2385 h 10000"/>
                  <a:gd name="connsiteX1202" fmla="*/ 5055 w 10354"/>
                  <a:gd name="connsiteY1202" fmla="*/ 2470 h 10000"/>
                  <a:gd name="connsiteX1203" fmla="*/ 5065 w 10354"/>
                  <a:gd name="connsiteY1203" fmla="*/ 2462 h 10000"/>
                  <a:gd name="connsiteX1204" fmla="*/ 5055 w 10354"/>
                  <a:gd name="connsiteY1204" fmla="*/ 2444 h 10000"/>
                  <a:gd name="connsiteX1205" fmla="*/ 5041 w 10354"/>
                  <a:gd name="connsiteY1205" fmla="*/ 2462 h 10000"/>
                  <a:gd name="connsiteX1206" fmla="*/ 5037 w 10354"/>
                  <a:gd name="connsiteY1206" fmla="*/ 2470 h 10000"/>
                  <a:gd name="connsiteX1207" fmla="*/ 5032 w 10354"/>
                  <a:gd name="connsiteY1207" fmla="*/ 2470 h 10000"/>
                  <a:gd name="connsiteX1208" fmla="*/ 5032 w 10354"/>
                  <a:gd name="connsiteY1208" fmla="*/ 2444 h 10000"/>
                  <a:gd name="connsiteX1209" fmla="*/ 5055 w 10354"/>
                  <a:gd name="connsiteY1209" fmla="*/ 2410 h 10000"/>
                  <a:gd name="connsiteX1210" fmla="*/ 5065 w 10354"/>
                  <a:gd name="connsiteY1210" fmla="*/ 2393 h 10000"/>
                  <a:gd name="connsiteX1211" fmla="*/ 5069 w 10354"/>
                  <a:gd name="connsiteY1211" fmla="*/ 2385 h 10000"/>
                  <a:gd name="connsiteX1212" fmla="*/ 5083 w 10354"/>
                  <a:gd name="connsiteY1212" fmla="*/ 2376 h 10000"/>
                  <a:gd name="connsiteX1213" fmla="*/ 5097 w 10354"/>
                  <a:gd name="connsiteY1213" fmla="*/ 2376 h 10000"/>
                  <a:gd name="connsiteX1214" fmla="*/ 5124 w 10354"/>
                  <a:gd name="connsiteY1214" fmla="*/ 2325 h 10000"/>
                  <a:gd name="connsiteX1215" fmla="*/ 5143 w 10354"/>
                  <a:gd name="connsiteY1215" fmla="*/ 2248 h 10000"/>
                  <a:gd name="connsiteX1216" fmla="*/ 5152 w 10354"/>
                  <a:gd name="connsiteY1216" fmla="*/ 2239 h 10000"/>
                  <a:gd name="connsiteX1217" fmla="*/ 5166 w 10354"/>
                  <a:gd name="connsiteY1217" fmla="*/ 2162 h 10000"/>
                  <a:gd name="connsiteX1218" fmla="*/ 5171 w 10354"/>
                  <a:gd name="connsiteY1218" fmla="*/ 2171 h 10000"/>
                  <a:gd name="connsiteX1219" fmla="*/ 5198 w 10354"/>
                  <a:gd name="connsiteY1219" fmla="*/ 2145 h 10000"/>
                  <a:gd name="connsiteX1220" fmla="*/ 5203 w 10354"/>
                  <a:gd name="connsiteY1220" fmla="*/ 2111 h 10000"/>
                  <a:gd name="connsiteX1221" fmla="*/ 5217 w 10354"/>
                  <a:gd name="connsiteY1221" fmla="*/ 2060 h 10000"/>
                  <a:gd name="connsiteX1222" fmla="*/ 5226 w 10354"/>
                  <a:gd name="connsiteY1222" fmla="*/ 2026 h 10000"/>
                  <a:gd name="connsiteX1223" fmla="*/ 5286 w 10354"/>
                  <a:gd name="connsiteY1223" fmla="*/ 2026 h 10000"/>
                  <a:gd name="connsiteX1224" fmla="*/ 5290 w 10354"/>
                  <a:gd name="connsiteY1224" fmla="*/ 2034 h 10000"/>
                  <a:gd name="connsiteX1225" fmla="*/ 5323 w 10354"/>
                  <a:gd name="connsiteY1225" fmla="*/ 1923 h 10000"/>
                  <a:gd name="connsiteX1226" fmla="*/ 5323 w 10354"/>
                  <a:gd name="connsiteY1226" fmla="*/ 1889 h 10000"/>
                  <a:gd name="connsiteX1227" fmla="*/ 5359 w 10354"/>
                  <a:gd name="connsiteY1227" fmla="*/ 1829 h 10000"/>
                  <a:gd name="connsiteX1228" fmla="*/ 5378 w 10354"/>
                  <a:gd name="connsiteY1228" fmla="*/ 1812 h 10000"/>
                  <a:gd name="connsiteX1229" fmla="*/ 5406 w 10354"/>
                  <a:gd name="connsiteY1229" fmla="*/ 1752 h 10000"/>
                  <a:gd name="connsiteX1230" fmla="*/ 5410 w 10354"/>
                  <a:gd name="connsiteY1230" fmla="*/ 1718 h 10000"/>
                  <a:gd name="connsiteX1231" fmla="*/ 5438 w 10354"/>
                  <a:gd name="connsiteY1231" fmla="*/ 1667 h 10000"/>
                  <a:gd name="connsiteX1232" fmla="*/ 5438 w 10354"/>
                  <a:gd name="connsiteY1232" fmla="*/ 1650 h 10000"/>
                  <a:gd name="connsiteX1233" fmla="*/ 5438 w 10354"/>
                  <a:gd name="connsiteY1233" fmla="*/ 1641 h 10000"/>
                  <a:gd name="connsiteX1234" fmla="*/ 5452 w 10354"/>
                  <a:gd name="connsiteY1234" fmla="*/ 1641 h 10000"/>
                  <a:gd name="connsiteX1235" fmla="*/ 5456 w 10354"/>
                  <a:gd name="connsiteY1235" fmla="*/ 1615 h 10000"/>
                  <a:gd name="connsiteX1236" fmla="*/ 5456 w 10354"/>
                  <a:gd name="connsiteY1236" fmla="*/ 1615 h 10000"/>
                  <a:gd name="connsiteX1237" fmla="*/ 5465 w 10354"/>
                  <a:gd name="connsiteY1237" fmla="*/ 1598 h 10000"/>
                  <a:gd name="connsiteX1238" fmla="*/ 5465 w 10354"/>
                  <a:gd name="connsiteY1238" fmla="*/ 1615 h 10000"/>
                  <a:gd name="connsiteX1239" fmla="*/ 5479 w 10354"/>
                  <a:gd name="connsiteY1239" fmla="*/ 1598 h 10000"/>
                  <a:gd name="connsiteX1240" fmla="*/ 5484 w 10354"/>
                  <a:gd name="connsiteY1240" fmla="*/ 1581 h 10000"/>
                  <a:gd name="connsiteX1241" fmla="*/ 5493 w 10354"/>
                  <a:gd name="connsiteY1241" fmla="*/ 1581 h 10000"/>
                  <a:gd name="connsiteX1242" fmla="*/ 5512 w 10354"/>
                  <a:gd name="connsiteY1242" fmla="*/ 1538 h 10000"/>
                  <a:gd name="connsiteX1243" fmla="*/ 5530 w 10354"/>
                  <a:gd name="connsiteY1243" fmla="*/ 1564 h 10000"/>
                  <a:gd name="connsiteX1244" fmla="*/ 5530 w 10354"/>
                  <a:gd name="connsiteY1244" fmla="*/ 1538 h 10000"/>
                  <a:gd name="connsiteX1245" fmla="*/ 5539 w 10354"/>
                  <a:gd name="connsiteY1245" fmla="*/ 1530 h 10000"/>
                  <a:gd name="connsiteX1246" fmla="*/ 5530 w 10354"/>
                  <a:gd name="connsiteY1246" fmla="*/ 1504 h 10000"/>
                  <a:gd name="connsiteX1247" fmla="*/ 5567 w 10354"/>
                  <a:gd name="connsiteY1247" fmla="*/ 1479 h 10000"/>
                  <a:gd name="connsiteX1248" fmla="*/ 5553 w 10354"/>
                  <a:gd name="connsiteY1248" fmla="*/ 1479 h 10000"/>
                  <a:gd name="connsiteX1249" fmla="*/ 5553 w 10354"/>
                  <a:gd name="connsiteY1249" fmla="*/ 1453 h 10000"/>
                  <a:gd name="connsiteX1250" fmla="*/ 5581 w 10354"/>
                  <a:gd name="connsiteY1250" fmla="*/ 1444 h 10000"/>
                  <a:gd name="connsiteX1251" fmla="*/ 5581 w 10354"/>
                  <a:gd name="connsiteY1251" fmla="*/ 1453 h 10000"/>
                  <a:gd name="connsiteX1252" fmla="*/ 5585 w 10354"/>
                  <a:gd name="connsiteY1252" fmla="*/ 1444 h 10000"/>
                  <a:gd name="connsiteX1253" fmla="*/ 5594 w 10354"/>
                  <a:gd name="connsiteY1253" fmla="*/ 1427 h 10000"/>
                  <a:gd name="connsiteX1254" fmla="*/ 5599 w 10354"/>
                  <a:gd name="connsiteY1254" fmla="*/ 1419 h 10000"/>
                  <a:gd name="connsiteX1255" fmla="*/ 5594 w 10354"/>
                  <a:gd name="connsiteY1255" fmla="*/ 1402 h 10000"/>
                  <a:gd name="connsiteX1256" fmla="*/ 5604 w 10354"/>
                  <a:gd name="connsiteY1256" fmla="*/ 1393 h 10000"/>
                  <a:gd name="connsiteX1257" fmla="*/ 5618 w 10354"/>
                  <a:gd name="connsiteY1257" fmla="*/ 1393 h 10000"/>
                  <a:gd name="connsiteX1258" fmla="*/ 5627 w 10354"/>
                  <a:gd name="connsiteY1258" fmla="*/ 1368 h 10000"/>
                  <a:gd name="connsiteX1259" fmla="*/ 5627 w 10354"/>
                  <a:gd name="connsiteY1259" fmla="*/ 1325 h 10000"/>
                  <a:gd name="connsiteX1260" fmla="*/ 5645 w 10354"/>
                  <a:gd name="connsiteY1260" fmla="*/ 1291 h 10000"/>
                  <a:gd name="connsiteX1261" fmla="*/ 5645 w 10354"/>
                  <a:gd name="connsiteY1261" fmla="*/ 1282 h 10000"/>
                  <a:gd name="connsiteX1262" fmla="*/ 5654 w 10354"/>
                  <a:gd name="connsiteY1262" fmla="*/ 1265 h 10000"/>
                  <a:gd name="connsiteX1263" fmla="*/ 5654 w 10354"/>
                  <a:gd name="connsiteY1263" fmla="*/ 1214 h 10000"/>
                  <a:gd name="connsiteX1264" fmla="*/ 5654 w 10354"/>
                  <a:gd name="connsiteY1264" fmla="*/ 1214 h 10000"/>
                  <a:gd name="connsiteX1265" fmla="*/ 5645 w 10354"/>
                  <a:gd name="connsiteY1265" fmla="*/ 1197 h 10000"/>
                  <a:gd name="connsiteX1266" fmla="*/ 5659 w 10354"/>
                  <a:gd name="connsiteY1266" fmla="*/ 1197 h 10000"/>
                  <a:gd name="connsiteX1267" fmla="*/ 5654 w 10354"/>
                  <a:gd name="connsiteY1267" fmla="*/ 1154 h 10000"/>
                  <a:gd name="connsiteX1268" fmla="*/ 5641 w 10354"/>
                  <a:gd name="connsiteY1268" fmla="*/ 1154 h 10000"/>
                  <a:gd name="connsiteX1269" fmla="*/ 5627 w 10354"/>
                  <a:gd name="connsiteY1269" fmla="*/ 1128 h 10000"/>
                  <a:gd name="connsiteX1270" fmla="*/ 5618 w 10354"/>
                  <a:gd name="connsiteY1270" fmla="*/ 1094 h 10000"/>
                  <a:gd name="connsiteX1271" fmla="*/ 5613 w 10354"/>
                  <a:gd name="connsiteY1271" fmla="*/ 1094 h 10000"/>
                  <a:gd name="connsiteX1272" fmla="*/ 5604 w 10354"/>
                  <a:gd name="connsiteY1272" fmla="*/ 1120 h 10000"/>
                  <a:gd name="connsiteX1273" fmla="*/ 5604 w 10354"/>
                  <a:gd name="connsiteY1273" fmla="*/ 1128 h 10000"/>
                  <a:gd name="connsiteX1274" fmla="*/ 5599 w 10354"/>
                  <a:gd name="connsiteY1274" fmla="*/ 1103 h 10000"/>
                  <a:gd name="connsiteX1275" fmla="*/ 5599 w 10354"/>
                  <a:gd name="connsiteY1275" fmla="*/ 1103 h 10000"/>
                  <a:gd name="connsiteX1276" fmla="*/ 5594 w 10354"/>
                  <a:gd name="connsiteY1276" fmla="*/ 1068 h 10000"/>
                  <a:gd name="connsiteX1277" fmla="*/ 5594 w 10354"/>
                  <a:gd name="connsiteY1277" fmla="*/ 1060 h 10000"/>
                  <a:gd name="connsiteX1278" fmla="*/ 5581 w 10354"/>
                  <a:gd name="connsiteY1278" fmla="*/ 1034 h 10000"/>
                  <a:gd name="connsiteX1279" fmla="*/ 5571 w 10354"/>
                  <a:gd name="connsiteY1279" fmla="*/ 1009 h 10000"/>
                  <a:gd name="connsiteX1280" fmla="*/ 5571 w 10354"/>
                  <a:gd name="connsiteY1280" fmla="*/ 991 h 10000"/>
                  <a:gd name="connsiteX1281" fmla="*/ 5585 w 10354"/>
                  <a:gd name="connsiteY1281" fmla="*/ 1009 h 10000"/>
                  <a:gd name="connsiteX1282" fmla="*/ 5604 w 10354"/>
                  <a:gd name="connsiteY1282" fmla="*/ 1043 h 10000"/>
                  <a:gd name="connsiteX1283" fmla="*/ 5641 w 10354"/>
                  <a:gd name="connsiteY1283" fmla="*/ 1094 h 10000"/>
                  <a:gd name="connsiteX1284" fmla="*/ 5631 w 10354"/>
                  <a:gd name="connsiteY1284" fmla="*/ 1128 h 10000"/>
                  <a:gd name="connsiteX1285" fmla="*/ 5641 w 10354"/>
                  <a:gd name="connsiteY1285" fmla="*/ 1128 h 10000"/>
                  <a:gd name="connsiteX1286" fmla="*/ 5659 w 10354"/>
                  <a:gd name="connsiteY1286" fmla="*/ 1017 h 10000"/>
                  <a:gd name="connsiteX1287" fmla="*/ 5659 w 10354"/>
                  <a:gd name="connsiteY1287" fmla="*/ 983 h 10000"/>
                  <a:gd name="connsiteX1288" fmla="*/ 5659 w 10354"/>
                  <a:gd name="connsiteY1288" fmla="*/ 957 h 10000"/>
                  <a:gd name="connsiteX1289" fmla="*/ 5654 w 10354"/>
                  <a:gd name="connsiteY1289" fmla="*/ 966 h 10000"/>
                  <a:gd name="connsiteX1290" fmla="*/ 5641 w 10354"/>
                  <a:gd name="connsiteY1290" fmla="*/ 957 h 10000"/>
                  <a:gd name="connsiteX1291" fmla="*/ 5631 w 10354"/>
                  <a:gd name="connsiteY1291" fmla="*/ 897 h 10000"/>
                  <a:gd name="connsiteX1292" fmla="*/ 5641 w 10354"/>
                  <a:gd name="connsiteY1292" fmla="*/ 872 h 10000"/>
                  <a:gd name="connsiteX1293" fmla="*/ 5618 w 10354"/>
                  <a:gd name="connsiteY1293" fmla="*/ 803 h 10000"/>
                  <a:gd name="connsiteX1294" fmla="*/ 5604 w 10354"/>
                  <a:gd name="connsiteY1294" fmla="*/ 821 h 10000"/>
                  <a:gd name="connsiteX1295" fmla="*/ 5613 w 10354"/>
                  <a:gd name="connsiteY1295" fmla="*/ 846 h 10000"/>
                  <a:gd name="connsiteX1296" fmla="*/ 5604 w 10354"/>
                  <a:gd name="connsiteY1296" fmla="*/ 855 h 10000"/>
                  <a:gd name="connsiteX1297" fmla="*/ 5599 w 10354"/>
                  <a:gd name="connsiteY1297" fmla="*/ 880 h 10000"/>
                  <a:gd name="connsiteX1298" fmla="*/ 5594 w 10354"/>
                  <a:gd name="connsiteY1298" fmla="*/ 880 h 10000"/>
                  <a:gd name="connsiteX1299" fmla="*/ 5585 w 10354"/>
                  <a:gd name="connsiteY1299" fmla="*/ 829 h 10000"/>
                  <a:gd name="connsiteX1300" fmla="*/ 5571 w 10354"/>
                  <a:gd name="connsiteY1300" fmla="*/ 803 h 10000"/>
                  <a:gd name="connsiteX1301" fmla="*/ 5585 w 10354"/>
                  <a:gd name="connsiteY1301" fmla="*/ 795 h 10000"/>
                  <a:gd name="connsiteX1302" fmla="*/ 5585 w 10354"/>
                  <a:gd name="connsiteY1302" fmla="*/ 761 h 10000"/>
                  <a:gd name="connsiteX1303" fmla="*/ 5558 w 10354"/>
                  <a:gd name="connsiteY1303" fmla="*/ 709 h 10000"/>
                  <a:gd name="connsiteX1304" fmla="*/ 5544 w 10354"/>
                  <a:gd name="connsiteY1304" fmla="*/ 709 h 10000"/>
                  <a:gd name="connsiteX1305" fmla="*/ 5544 w 10354"/>
                  <a:gd name="connsiteY1305" fmla="*/ 684 h 10000"/>
                  <a:gd name="connsiteX1306" fmla="*/ 5525 w 10354"/>
                  <a:gd name="connsiteY1306" fmla="*/ 632 h 10000"/>
                  <a:gd name="connsiteX1307" fmla="*/ 5507 w 10354"/>
                  <a:gd name="connsiteY1307" fmla="*/ 607 h 10000"/>
                  <a:gd name="connsiteX1308" fmla="*/ 5512 w 10354"/>
                  <a:gd name="connsiteY1308" fmla="*/ 598 h 10000"/>
                  <a:gd name="connsiteX1309" fmla="*/ 5507 w 10354"/>
                  <a:gd name="connsiteY1309" fmla="*/ 581 h 10000"/>
                  <a:gd name="connsiteX1310" fmla="*/ 5493 w 10354"/>
                  <a:gd name="connsiteY1310" fmla="*/ 573 h 10000"/>
                  <a:gd name="connsiteX1311" fmla="*/ 5484 w 10354"/>
                  <a:gd name="connsiteY1311" fmla="*/ 581 h 10000"/>
                  <a:gd name="connsiteX1312" fmla="*/ 5484 w 10354"/>
                  <a:gd name="connsiteY1312" fmla="*/ 573 h 10000"/>
                  <a:gd name="connsiteX1313" fmla="*/ 5484 w 10354"/>
                  <a:gd name="connsiteY1313" fmla="*/ 547 h 10000"/>
                  <a:gd name="connsiteX1314" fmla="*/ 5465 w 10354"/>
                  <a:gd name="connsiteY1314" fmla="*/ 556 h 10000"/>
                  <a:gd name="connsiteX1315" fmla="*/ 5433 w 10354"/>
                  <a:gd name="connsiteY1315" fmla="*/ 547 h 10000"/>
                  <a:gd name="connsiteX1316" fmla="*/ 5410 w 10354"/>
                  <a:gd name="connsiteY1316" fmla="*/ 573 h 10000"/>
                  <a:gd name="connsiteX1317" fmla="*/ 5406 w 10354"/>
                  <a:gd name="connsiteY1317" fmla="*/ 573 h 10000"/>
                  <a:gd name="connsiteX1318" fmla="*/ 5392 w 10354"/>
                  <a:gd name="connsiteY1318" fmla="*/ 573 h 10000"/>
                  <a:gd name="connsiteX1319" fmla="*/ 5364 w 10354"/>
                  <a:gd name="connsiteY1319" fmla="*/ 530 h 10000"/>
                  <a:gd name="connsiteX1320" fmla="*/ 5350 w 10354"/>
                  <a:gd name="connsiteY1320" fmla="*/ 556 h 10000"/>
                  <a:gd name="connsiteX1321" fmla="*/ 5346 w 10354"/>
                  <a:gd name="connsiteY1321" fmla="*/ 556 h 10000"/>
                  <a:gd name="connsiteX1322" fmla="*/ 5313 w 10354"/>
                  <a:gd name="connsiteY1322" fmla="*/ 573 h 10000"/>
                  <a:gd name="connsiteX1323" fmla="*/ 5304 w 10354"/>
                  <a:gd name="connsiteY1323" fmla="*/ 556 h 10000"/>
                  <a:gd name="connsiteX1324" fmla="*/ 5290 w 10354"/>
                  <a:gd name="connsiteY1324" fmla="*/ 573 h 10000"/>
                  <a:gd name="connsiteX1325" fmla="*/ 5290 w 10354"/>
                  <a:gd name="connsiteY1325" fmla="*/ 556 h 10000"/>
                  <a:gd name="connsiteX1326" fmla="*/ 5300 w 10354"/>
                  <a:gd name="connsiteY1326" fmla="*/ 547 h 10000"/>
                  <a:gd name="connsiteX1327" fmla="*/ 5300 w 10354"/>
                  <a:gd name="connsiteY1327" fmla="*/ 530 h 10000"/>
                  <a:gd name="connsiteX1328" fmla="*/ 5290 w 10354"/>
                  <a:gd name="connsiteY1328" fmla="*/ 530 h 10000"/>
                  <a:gd name="connsiteX1329" fmla="*/ 5286 w 10354"/>
                  <a:gd name="connsiteY1329" fmla="*/ 547 h 10000"/>
                  <a:gd name="connsiteX1330" fmla="*/ 5272 w 10354"/>
                  <a:gd name="connsiteY1330" fmla="*/ 556 h 10000"/>
                  <a:gd name="connsiteX1331" fmla="*/ 5272 w 10354"/>
                  <a:gd name="connsiteY1331" fmla="*/ 598 h 10000"/>
                  <a:gd name="connsiteX1332" fmla="*/ 5276 w 10354"/>
                  <a:gd name="connsiteY1332" fmla="*/ 581 h 10000"/>
                  <a:gd name="connsiteX1333" fmla="*/ 5272 w 10354"/>
                  <a:gd name="connsiteY1333" fmla="*/ 607 h 10000"/>
                  <a:gd name="connsiteX1334" fmla="*/ 5263 w 10354"/>
                  <a:gd name="connsiteY1334" fmla="*/ 607 h 10000"/>
                  <a:gd name="connsiteX1335" fmla="*/ 5263 w 10354"/>
                  <a:gd name="connsiteY1335" fmla="*/ 632 h 10000"/>
                  <a:gd name="connsiteX1336" fmla="*/ 5258 w 10354"/>
                  <a:gd name="connsiteY1336" fmla="*/ 658 h 10000"/>
                  <a:gd name="connsiteX1337" fmla="*/ 5244 w 10354"/>
                  <a:gd name="connsiteY1337" fmla="*/ 667 h 10000"/>
                  <a:gd name="connsiteX1338" fmla="*/ 5240 w 10354"/>
                  <a:gd name="connsiteY1338" fmla="*/ 658 h 10000"/>
                  <a:gd name="connsiteX1339" fmla="*/ 5240 w 10354"/>
                  <a:gd name="connsiteY1339" fmla="*/ 684 h 10000"/>
                  <a:gd name="connsiteX1340" fmla="*/ 5212 w 10354"/>
                  <a:gd name="connsiteY1340" fmla="*/ 684 h 10000"/>
                  <a:gd name="connsiteX1341" fmla="*/ 5198 w 10354"/>
                  <a:gd name="connsiteY1341" fmla="*/ 692 h 10000"/>
                  <a:gd name="connsiteX1342" fmla="*/ 5184 w 10354"/>
                  <a:gd name="connsiteY1342" fmla="*/ 684 h 10000"/>
                  <a:gd name="connsiteX1343" fmla="*/ 5157 w 10354"/>
                  <a:gd name="connsiteY1343" fmla="*/ 684 h 10000"/>
                  <a:gd name="connsiteX1344" fmla="*/ 5157 w 10354"/>
                  <a:gd name="connsiteY1344" fmla="*/ 667 h 10000"/>
                  <a:gd name="connsiteX1345" fmla="*/ 5157 w 10354"/>
                  <a:gd name="connsiteY1345" fmla="*/ 667 h 10000"/>
                  <a:gd name="connsiteX1346" fmla="*/ 5180 w 10354"/>
                  <a:gd name="connsiteY1346" fmla="*/ 650 h 10000"/>
                  <a:gd name="connsiteX1347" fmla="*/ 5184 w 10354"/>
                  <a:gd name="connsiteY1347" fmla="*/ 658 h 10000"/>
                  <a:gd name="connsiteX1348" fmla="*/ 5203 w 10354"/>
                  <a:gd name="connsiteY1348" fmla="*/ 547 h 10000"/>
                  <a:gd name="connsiteX1349" fmla="*/ 5226 w 10354"/>
                  <a:gd name="connsiteY1349" fmla="*/ 530 h 10000"/>
                  <a:gd name="connsiteX1350" fmla="*/ 5230 w 10354"/>
                  <a:gd name="connsiteY1350" fmla="*/ 487 h 10000"/>
                  <a:gd name="connsiteX1351" fmla="*/ 5230 w 10354"/>
                  <a:gd name="connsiteY1351" fmla="*/ 487 h 10000"/>
                  <a:gd name="connsiteX1352" fmla="*/ 5226 w 10354"/>
                  <a:gd name="connsiteY1352" fmla="*/ 462 h 10000"/>
                  <a:gd name="connsiteX1353" fmla="*/ 5226 w 10354"/>
                  <a:gd name="connsiteY1353" fmla="*/ 462 h 10000"/>
                  <a:gd name="connsiteX1354" fmla="*/ 5240 w 10354"/>
                  <a:gd name="connsiteY1354" fmla="*/ 462 h 10000"/>
                  <a:gd name="connsiteX1355" fmla="*/ 5240 w 10354"/>
                  <a:gd name="connsiteY1355" fmla="*/ 444 h 10000"/>
                  <a:gd name="connsiteX1356" fmla="*/ 5230 w 10354"/>
                  <a:gd name="connsiteY1356" fmla="*/ 436 h 10000"/>
                  <a:gd name="connsiteX1357" fmla="*/ 5230 w 10354"/>
                  <a:gd name="connsiteY1357" fmla="*/ 419 h 10000"/>
                  <a:gd name="connsiteX1358" fmla="*/ 5230 w 10354"/>
                  <a:gd name="connsiteY1358" fmla="*/ 410 h 10000"/>
                  <a:gd name="connsiteX1359" fmla="*/ 5198 w 10354"/>
                  <a:gd name="connsiteY1359" fmla="*/ 402 h 10000"/>
                  <a:gd name="connsiteX1360" fmla="*/ 5189 w 10354"/>
                  <a:gd name="connsiteY1360" fmla="*/ 402 h 10000"/>
                  <a:gd name="connsiteX1361" fmla="*/ 5184 w 10354"/>
                  <a:gd name="connsiteY1361" fmla="*/ 376 h 10000"/>
                  <a:gd name="connsiteX1362" fmla="*/ 5180 w 10354"/>
                  <a:gd name="connsiteY1362" fmla="*/ 376 h 10000"/>
                  <a:gd name="connsiteX1363" fmla="*/ 5166 w 10354"/>
                  <a:gd name="connsiteY1363" fmla="*/ 376 h 10000"/>
                  <a:gd name="connsiteX1364" fmla="*/ 5157 w 10354"/>
                  <a:gd name="connsiteY1364" fmla="*/ 385 h 10000"/>
                  <a:gd name="connsiteX1365" fmla="*/ 5152 w 10354"/>
                  <a:gd name="connsiteY1365" fmla="*/ 376 h 10000"/>
                  <a:gd name="connsiteX1366" fmla="*/ 5129 w 10354"/>
                  <a:gd name="connsiteY1366" fmla="*/ 385 h 10000"/>
                  <a:gd name="connsiteX1367" fmla="*/ 5129 w 10354"/>
                  <a:gd name="connsiteY1367" fmla="*/ 350 h 10000"/>
                  <a:gd name="connsiteX1368" fmla="*/ 5129 w 10354"/>
                  <a:gd name="connsiteY1368" fmla="*/ 325 h 10000"/>
                  <a:gd name="connsiteX1369" fmla="*/ 5124 w 10354"/>
                  <a:gd name="connsiteY1369" fmla="*/ 359 h 10000"/>
                  <a:gd name="connsiteX1370" fmla="*/ 5106 w 10354"/>
                  <a:gd name="connsiteY1370" fmla="*/ 359 h 10000"/>
                  <a:gd name="connsiteX1371" fmla="*/ 5037 w 10354"/>
                  <a:gd name="connsiteY1371" fmla="*/ 419 h 10000"/>
                  <a:gd name="connsiteX1372" fmla="*/ 5051 w 10354"/>
                  <a:gd name="connsiteY1372" fmla="*/ 385 h 10000"/>
                  <a:gd name="connsiteX1373" fmla="*/ 5055 w 10354"/>
                  <a:gd name="connsiteY1373" fmla="*/ 376 h 10000"/>
                  <a:gd name="connsiteX1374" fmla="*/ 5092 w 10354"/>
                  <a:gd name="connsiteY1374" fmla="*/ 282 h 10000"/>
                  <a:gd name="connsiteX1375" fmla="*/ 5106 w 10354"/>
                  <a:gd name="connsiteY1375" fmla="*/ 265 h 10000"/>
                  <a:gd name="connsiteX1376" fmla="*/ 5115 w 10354"/>
                  <a:gd name="connsiteY1376" fmla="*/ 265 h 10000"/>
                  <a:gd name="connsiteX1377" fmla="*/ 5124 w 10354"/>
                  <a:gd name="connsiteY1377" fmla="*/ 222 h 10000"/>
                  <a:gd name="connsiteX1378" fmla="*/ 5124 w 10354"/>
                  <a:gd name="connsiteY1378" fmla="*/ 214 h 10000"/>
                  <a:gd name="connsiteX1379" fmla="*/ 5143 w 10354"/>
                  <a:gd name="connsiteY1379" fmla="*/ 197 h 10000"/>
                  <a:gd name="connsiteX1380" fmla="*/ 5152 w 10354"/>
                  <a:gd name="connsiteY1380" fmla="*/ 214 h 10000"/>
                  <a:gd name="connsiteX1381" fmla="*/ 5143 w 10354"/>
                  <a:gd name="connsiteY1381" fmla="*/ 188 h 10000"/>
                  <a:gd name="connsiteX1382" fmla="*/ 5129 w 10354"/>
                  <a:gd name="connsiteY1382" fmla="*/ 103 h 10000"/>
                  <a:gd name="connsiteX1383" fmla="*/ 5115 w 10354"/>
                  <a:gd name="connsiteY1383" fmla="*/ 85 h 10000"/>
                  <a:gd name="connsiteX1384" fmla="*/ 5111 w 10354"/>
                  <a:gd name="connsiteY1384" fmla="*/ 111 h 10000"/>
                  <a:gd name="connsiteX1385" fmla="*/ 5092 w 10354"/>
                  <a:gd name="connsiteY1385" fmla="*/ 103 h 10000"/>
                  <a:gd name="connsiteX1386" fmla="*/ 5069 w 10354"/>
                  <a:gd name="connsiteY1386" fmla="*/ 77 h 10000"/>
                  <a:gd name="connsiteX1387" fmla="*/ 5051 w 10354"/>
                  <a:gd name="connsiteY1387" fmla="*/ 26 h 10000"/>
                  <a:gd name="connsiteX1388" fmla="*/ 5041 w 10354"/>
                  <a:gd name="connsiteY1388" fmla="*/ 34 h 10000"/>
                  <a:gd name="connsiteX1389" fmla="*/ 5037 w 10354"/>
                  <a:gd name="connsiteY1389" fmla="*/ 34 h 10000"/>
                  <a:gd name="connsiteX1390" fmla="*/ 5037 w 10354"/>
                  <a:gd name="connsiteY1390" fmla="*/ 26 h 10000"/>
                  <a:gd name="connsiteX1391" fmla="*/ 5037 w 10354"/>
                  <a:gd name="connsiteY1391" fmla="*/ 9 h 10000"/>
                  <a:gd name="connsiteX1392" fmla="*/ 5023 w 10354"/>
                  <a:gd name="connsiteY1392" fmla="*/ 0 h 10000"/>
                  <a:gd name="connsiteX1393" fmla="*/ 5009 w 10354"/>
                  <a:gd name="connsiteY1393" fmla="*/ 9 h 10000"/>
                  <a:gd name="connsiteX1394" fmla="*/ 4995 w 10354"/>
                  <a:gd name="connsiteY1394" fmla="*/ 34 h 10000"/>
                  <a:gd name="connsiteX1395" fmla="*/ 4991 w 10354"/>
                  <a:gd name="connsiteY1395" fmla="*/ 60 h 10000"/>
                  <a:gd name="connsiteX1396" fmla="*/ 4982 w 10354"/>
                  <a:gd name="connsiteY1396" fmla="*/ 60 h 10000"/>
                  <a:gd name="connsiteX1397" fmla="*/ 4949 w 10354"/>
                  <a:gd name="connsiteY1397" fmla="*/ 51 h 10000"/>
                  <a:gd name="connsiteX1398" fmla="*/ 4949 w 10354"/>
                  <a:gd name="connsiteY1398" fmla="*/ 85 h 10000"/>
                  <a:gd name="connsiteX1399" fmla="*/ 4903 w 10354"/>
                  <a:gd name="connsiteY1399" fmla="*/ 197 h 10000"/>
                  <a:gd name="connsiteX1400" fmla="*/ 4899 w 10354"/>
                  <a:gd name="connsiteY1400" fmla="*/ 239 h 10000"/>
                  <a:gd name="connsiteX1401" fmla="*/ 4871 w 10354"/>
                  <a:gd name="connsiteY1401" fmla="*/ 274 h 10000"/>
                  <a:gd name="connsiteX1402" fmla="*/ 4871 w 10354"/>
                  <a:gd name="connsiteY1402" fmla="*/ 282 h 10000"/>
                  <a:gd name="connsiteX1403" fmla="*/ 4834 w 10354"/>
                  <a:gd name="connsiteY1403" fmla="*/ 376 h 10000"/>
                  <a:gd name="connsiteX1404" fmla="*/ 4829 w 10354"/>
                  <a:gd name="connsiteY1404" fmla="*/ 402 h 10000"/>
                  <a:gd name="connsiteX1405" fmla="*/ 4834 w 10354"/>
                  <a:gd name="connsiteY1405" fmla="*/ 410 h 10000"/>
                  <a:gd name="connsiteX1406" fmla="*/ 4829 w 10354"/>
                  <a:gd name="connsiteY1406" fmla="*/ 436 h 10000"/>
                  <a:gd name="connsiteX1407" fmla="*/ 4825 w 10354"/>
                  <a:gd name="connsiteY1407" fmla="*/ 436 h 10000"/>
                  <a:gd name="connsiteX1408" fmla="*/ 4825 w 10354"/>
                  <a:gd name="connsiteY1408" fmla="*/ 444 h 10000"/>
                  <a:gd name="connsiteX1409" fmla="*/ 4811 w 10354"/>
                  <a:gd name="connsiteY1409" fmla="*/ 496 h 10000"/>
                  <a:gd name="connsiteX1410" fmla="*/ 4811 w 10354"/>
                  <a:gd name="connsiteY1410" fmla="*/ 496 h 10000"/>
                  <a:gd name="connsiteX1411" fmla="*/ 4811 w 10354"/>
                  <a:gd name="connsiteY1411" fmla="*/ 521 h 10000"/>
                  <a:gd name="connsiteX1412" fmla="*/ 4816 w 10354"/>
                  <a:gd name="connsiteY1412" fmla="*/ 530 h 10000"/>
                  <a:gd name="connsiteX1413" fmla="*/ 4834 w 10354"/>
                  <a:gd name="connsiteY1413" fmla="*/ 547 h 10000"/>
                  <a:gd name="connsiteX1414" fmla="*/ 4834 w 10354"/>
                  <a:gd name="connsiteY1414" fmla="*/ 581 h 10000"/>
                  <a:gd name="connsiteX1415" fmla="*/ 4843 w 10354"/>
                  <a:gd name="connsiteY1415" fmla="*/ 581 h 10000"/>
                  <a:gd name="connsiteX1416" fmla="*/ 4843 w 10354"/>
                  <a:gd name="connsiteY1416" fmla="*/ 598 h 10000"/>
                  <a:gd name="connsiteX1417" fmla="*/ 4829 w 10354"/>
                  <a:gd name="connsiteY1417" fmla="*/ 598 h 10000"/>
                  <a:gd name="connsiteX1418" fmla="*/ 4829 w 10354"/>
                  <a:gd name="connsiteY1418" fmla="*/ 573 h 10000"/>
                  <a:gd name="connsiteX1419" fmla="*/ 4829 w 10354"/>
                  <a:gd name="connsiteY1419" fmla="*/ 632 h 10000"/>
                  <a:gd name="connsiteX1420" fmla="*/ 4829 w 10354"/>
                  <a:gd name="connsiteY1420" fmla="*/ 632 h 10000"/>
                  <a:gd name="connsiteX1421" fmla="*/ 4829 w 10354"/>
                  <a:gd name="connsiteY1421" fmla="*/ 650 h 10000"/>
                  <a:gd name="connsiteX1422" fmla="*/ 4774 w 10354"/>
                  <a:gd name="connsiteY1422" fmla="*/ 684 h 10000"/>
                  <a:gd name="connsiteX1423" fmla="*/ 4756 w 10354"/>
                  <a:gd name="connsiteY1423" fmla="*/ 684 h 10000"/>
                  <a:gd name="connsiteX1424" fmla="*/ 4737 w 10354"/>
                  <a:gd name="connsiteY1424" fmla="*/ 692 h 10000"/>
                  <a:gd name="connsiteX1425" fmla="*/ 4677 w 10354"/>
                  <a:gd name="connsiteY1425" fmla="*/ 667 h 10000"/>
                  <a:gd name="connsiteX1426" fmla="*/ 4682 w 10354"/>
                  <a:gd name="connsiteY1426" fmla="*/ 692 h 10000"/>
                  <a:gd name="connsiteX1427" fmla="*/ 4682 w 10354"/>
                  <a:gd name="connsiteY1427" fmla="*/ 709 h 10000"/>
                  <a:gd name="connsiteX1428" fmla="*/ 4691 w 10354"/>
                  <a:gd name="connsiteY1428" fmla="*/ 718 h 10000"/>
                  <a:gd name="connsiteX1429" fmla="*/ 4691 w 10354"/>
                  <a:gd name="connsiteY1429" fmla="*/ 744 h 10000"/>
                  <a:gd name="connsiteX1430" fmla="*/ 4700 w 10354"/>
                  <a:gd name="connsiteY1430" fmla="*/ 744 h 10000"/>
                  <a:gd name="connsiteX1431" fmla="*/ 4714 w 10354"/>
                  <a:gd name="connsiteY1431" fmla="*/ 769 h 10000"/>
                  <a:gd name="connsiteX1432" fmla="*/ 4710 w 10354"/>
                  <a:gd name="connsiteY1432" fmla="*/ 786 h 10000"/>
                  <a:gd name="connsiteX1433" fmla="*/ 4737 w 10354"/>
                  <a:gd name="connsiteY1433" fmla="*/ 786 h 10000"/>
                  <a:gd name="connsiteX1434" fmla="*/ 4742 w 10354"/>
                  <a:gd name="connsiteY1434" fmla="*/ 795 h 10000"/>
                  <a:gd name="connsiteX1435" fmla="*/ 4742 w 10354"/>
                  <a:gd name="connsiteY1435" fmla="*/ 803 h 10000"/>
                  <a:gd name="connsiteX1436" fmla="*/ 4737 w 10354"/>
                  <a:gd name="connsiteY1436" fmla="*/ 846 h 10000"/>
                  <a:gd name="connsiteX1437" fmla="*/ 4737 w 10354"/>
                  <a:gd name="connsiteY1437" fmla="*/ 880 h 10000"/>
                  <a:gd name="connsiteX1438" fmla="*/ 4737 w 10354"/>
                  <a:gd name="connsiteY1438" fmla="*/ 906 h 10000"/>
                  <a:gd name="connsiteX1439" fmla="*/ 4724 w 10354"/>
                  <a:gd name="connsiteY1439" fmla="*/ 897 h 10000"/>
                  <a:gd name="connsiteX1440" fmla="*/ 4724 w 10354"/>
                  <a:gd name="connsiteY1440" fmla="*/ 872 h 10000"/>
                  <a:gd name="connsiteX1441" fmla="*/ 4714 w 10354"/>
                  <a:gd name="connsiteY1441" fmla="*/ 855 h 10000"/>
                  <a:gd name="connsiteX1442" fmla="*/ 4691 w 10354"/>
                  <a:gd name="connsiteY1442" fmla="*/ 846 h 10000"/>
                  <a:gd name="connsiteX1443" fmla="*/ 4691 w 10354"/>
                  <a:gd name="connsiteY1443" fmla="*/ 846 h 10000"/>
                  <a:gd name="connsiteX1444" fmla="*/ 4696 w 10354"/>
                  <a:gd name="connsiteY1444" fmla="*/ 821 h 10000"/>
                  <a:gd name="connsiteX1445" fmla="*/ 4691 w 10354"/>
                  <a:gd name="connsiteY1445" fmla="*/ 803 h 10000"/>
                  <a:gd name="connsiteX1446" fmla="*/ 4668 w 10354"/>
                  <a:gd name="connsiteY1446" fmla="*/ 821 h 10000"/>
                  <a:gd name="connsiteX1447" fmla="*/ 4668 w 10354"/>
                  <a:gd name="connsiteY1447" fmla="*/ 786 h 10000"/>
                  <a:gd name="connsiteX1448" fmla="*/ 4664 w 10354"/>
                  <a:gd name="connsiteY1448" fmla="*/ 786 h 10000"/>
                  <a:gd name="connsiteX1449" fmla="*/ 4622 w 10354"/>
                  <a:gd name="connsiteY1449" fmla="*/ 846 h 10000"/>
                  <a:gd name="connsiteX1450" fmla="*/ 4627 w 10354"/>
                  <a:gd name="connsiteY1450" fmla="*/ 872 h 10000"/>
                  <a:gd name="connsiteX1451" fmla="*/ 4622 w 10354"/>
                  <a:gd name="connsiteY1451" fmla="*/ 880 h 10000"/>
                  <a:gd name="connsiteX1452" fmla="*/ 4622 w 10354"/>
                  <a:gd name="connsiteY1452" fmla="*/ 880 h 10000"/>
                  <a:gd name="connsiteX1453" fmla="*/ 4618 w 10354"/>
                  <a:gd name="connsiteY1453" fmla="*/ 872 h 10000"/>
                  <a:gd name="connsiteX1454" fmla="*/ 4604 w 10354"/>
                  <a:gd name="connsiteY1454" fmla="*/ 880 h 10000"/>
                  <a:gd name="connsiteX1455" fmla="*/ 4594 w 10354"/>
                  <a:gd name="connsiteY1455" fmla="*/ 906 h 10000"/>
                  <a:gd name="connsiteX1456" fmla="*/ 4604 w 10354"/>
                  <a:gd name="connsiteY1456" fmla="*/ 906 h 10000"/>
                  <a:gd name="connsiteX1457" fmla="*/ 4608 w 10354"/>
                  <a:gd name="connsiteY1457" fmla="*/ 906 h 10000"/>
                  <a:gd name="connsiteX1458" fmla="*/ 4608 w 10354"/>
                  <a:gd name="connsiteY1458" fmla="*/ 932 h 10000"/>
                  <a:gd name="connsiteX1459" fmla="*/ 4604 w 10354"/>
                  <a:gd name="connsiteY1459" fmla="*/ 932 h 10000"/>
                  <a:gd name="connsiteX1460" fmla="*/ 4590 w 10354"/>
                  <a:gd name="connsiteY1460" fmla="*/ 932 h 10000"/>
                  <a:gd name="connsiteX1461" fmla="*/ 4567 w 10354"/>
                  <a:gd name="connsiteY1461" fmla="*/ 957 h 10000"/>
                  <a:gd name="connsiteX1462" fmla="*/ 4567 w 10354"/>
                  <a:gd name="connsiteY1462" fmla="*/ 932 h 10000"/>
                  <a:gd name="connsiteX1463" fmla="*/ 4567 w 10354"/>
                  <a:gd name="connsiteY1463" fmla="*/ 923 h 10000"/>
                  <a:gd name="connsiteX1464" fmla="*/ 4562 w 10354"/>
                  <a:gd name="connsiteY1464" fmla="*/ 932 h 10000"/>
                  <a:gd name="connsiteX1465" fmla="*/ 4548 w 10354"/>
                  <a:gd name="connsiteY1465" fmla="*/ 957 h 10000"/>
                  <a:gd name="connsiteX1466" fmla="*/ 4544 w 10354"/>
                  <a:gd name="connsiteY1466" fmla="*/ 957 h 10000"/>
                  <a:gd name="connsiteX1467" fmla="*/ 4521 w 10354"/>
                  <a:gd name="connsiteY1467" fmla="*/ 983 h 10000"/>
                  <a:gd name="connsiteX1468" fmla="*/ 4521 w 10354"/>
                  <a:gd name="connsiteY1468" fmla="*/ 983 h 10000"/>
                  <a:gd name="connsiteX1469" fmla="*/ 4530 w 10354"/>
                  <a:gd name="connsiteY1469" fmla="*/ 957 h 10000"/>
                  <a:gd name="connsiteX1470" fmla="*/ 4535 w 10354"/>
                  <a:gd name="connsiteY1470" fmla="*/ 932 h 10000"/>
                  <a:gd name="connsiteX1471" fmla="*/ 4521 w 10354"/>
                  <a:gd name="connsiteY1471" fmla="*/ 932 h 10000"/>
                  <a:gd name="connsiteX1472" fmla="*/ 4516 w 10354"/>
                  <a:gd name="connsiteY1472" fmla="*/ 923 h 10000"/>
                  <a:gd name="connsiteX1473" fmla="*/ 4516 w 10354"/>
                  <a:gd name="connsiteY1473" fmla="*/ 932 h 10000"/>
                  <a:gd name="connsiteX1474" fmla="*/ 4488 w 10354"/>
                  <a:gd name="connsiteY1474" fmla="*/ 940 h 10000"/>
                  <a:gd name="connsiteX1475" fmla="*/ 4484 w 10354"/>
                  <a:gd name="connsiteY1475" fmla="*/ 983 h 10000"/>
                  <a:gd name="connsiteX1476" fmla="*/ 4470 w 10354"/>
                  <a:gd name="connsiteY1476" fmla="*/ 983 h 10000"/>
                  <a:gd name="connsiteX1477" fmla="*/ 4470 w 10354"/>
                  <a:gd name="connsiteY1477" fmla="*/ 966 h 10000"/>
                  <a:gd name="connsiteX1478" fmla="*/ 4488 w 10354"/>
                  <a:gd name="connsiteY1478" fmla="*/ 923 h 10000"/>
                  <a:gd name="connsiteX1479" fmla="*/ 4493 w 10354"/>
                  <a:gd name="connsiteY1479" fmla="*/ 880 h 10000"/>
                  <a:gd name="connsiteX1480" fmla="*/ 4475 w 10354"/>
                  <a:gd name="connsiteY1480" fmla="*/ 846 h 10000"/>
                  <a:gd name="connsiteX1481" fmla="*/ 4442 w 10354"/>
                  <a:gd name="connsiteY1481" fmla="*/ 855 h 10000"/>
                  <a:gd name="connsiteX1482" fmla="*/ 4433 w 10354"/>
                  <a:gd name="connsiteY1482" fmla="*/ 855 h 10000"/>
                  <a:gd name="connsiteX1483" fmla="*/ 4433 w 10354"/>
                  <a:gd name="connsiteY1483" fmla="*/ 880 h 10000"/>
                  <a:gd name="connsiteX1484" fmla="*/ 4401 w 10354"/>
                  <a:gd name="connsiteY1484" fmla="*/ 855 h 10000"/>
                  <a:gd name="connsiteX1485" fmla="*/ 4396 w 10354"/>
                  <a:gd name="connsiteY1485" fmla="*/ 872 h 10000"/>
                  <a:gd name="connsiteX1486" fmla="*/ 4382 w 10354"/>
                  <a:gd name="connsiteY1486" fmla="*/ 897 h 10000"/>
                  <a:gd name="connsiteX1487" fmla="*/ 4373 w 10354"/>
                  <a:gd name="connsiteY1487" fmla="*/ 872 h 10000"/>
                  <a:gd name="connsiteX1488" fmla="*/ 4341 w 10354"/>
                  <a:gd name="connsiteY1488" fmla="*/ 872 h 10000"/>
                  <a:gd name="connsiteX1489" fmla="*/ 4336 w 10354"/>
                  <a:gd name="connsiteY1489" fmla="*/ 880 h 10000"/>
                  <a:gd name="connsiteX1490" fmla="*/ 4346 w 10354"/>
                  <a:gd name="connsiteY1490" fmla="*/ 897 h 10000"/>
                  <a:gd name="connsiteX1491" fmla="*/ 4346 w 10354"/>
                  <a:gd name="connsiteY1491" fmla="*/ 897 h 10000"/>
                  <a:gd name="connsiteX1492" fmla="*/ 4313 w 10354"/>
                  <a:gd name="connsiteY1492" fmla="*/ 906 h 10000"/>
                  <a:gd name="connsiteX1493" fmla="*/ 4313 w 10354"/>
                  <a:gd name="connsiteY1493" fmla="*/ 906 h 10000"/>
                  <a:gd name="connsiteX1494" fmla="*/ 4313 w 10354"/>
                  <a:gd name="connsiteY1494" fmla="*/ 880 h 10000"/>
                  <a:gd name="connsiteX1495" fmla="*/ 4309 w 10354"/>
                  <a:gd name="connsiteY1495" fmla="*/ 897 h 10000"/>
                  <a:gd name="connsiteX1496" fmla="*/ 4295 w 10354"/>
                  <a:gd name="connsiteY1496" fmla="*/ 923 h 10000"/>
                  <a:gd name="connsiteX1497" fmla="*/ 4286 w 10354"/>
                  <a:gd name="connsiteY1497" fmla="*/ 897 h 10000"/>
                  <a:gd name="connsiteX1498" fmla="*/ 4281 w 10354"/>
                  <a:gd name="connsiteY1498" fmla="*/ 906 h 10000"/>
                  <a:gd name="connsiteX1499" fmla="*/ 4281 w 10354"/>
                  <a:gd name="connsiteY1499" fmla="*/ 940 h 10000"/>
                  <a:gd name="connsiteX1500" fmla="*/ 4286 w 10354"/>
                  <a:gd name="connsiteY1500" fmla="*/ 957 h 10000"/>
                  <a:gd name="connsiteX1501" fmla="*/ 4309 w 10354"/>
                  <a:gd name="connsiteY1501" fmla="*/ 932 h 10000"/>
                  <a:gd name="connsiteX1502" fmla="*/ 4313 w 10354"/>
                  <a:gd name="connsiteY1502" fmla="*/ 957 h 10000"/>
                  <a:gd name="connsiteX1503" fmla="*/ 4313 w 10354"/>
                  <a:gd name="connsiteY1503" fmla="*/ 966 h 10000"/>
                  <a:gd name="connsiteX1504" fmla="*/ 4323 w 10354"/>
                  <a:gd name="connsiteY1504" fmla="*/ 966 h 10000"/>
                  <a:gd name="connsiteX1505" fmla="*/ 4323 w 10354"/>
                  <a:gd name="connsiteY1505" fmla="*/ 940 h 10000"/>
                  <a:gd name="connsiteX1506" fmla="*/ 4327 w 10354"/>
                  <a:gd name="connsiteY1506" fmla="*/ 940 h 10000"/>
                  <a:gd name="connsiteX1507" fmla="*/ 4327 w 10354"/>
                  <a:gd name="connsiteY1507" fmla="*/ 957 h 10000"/>
                  <a:gd name="connsiteX1508" fmla="*/ 4327 w 10354"/>
                  <a:gd name="connsiteY1508" fmla="*/ 966 h 10000"/>
                  <a:gd name="connsiteX1509" fmla="*/ 4323 w 10354"/>
                  <a:gd name="connsiteY1509" fmla="*/ 991 h 10000"/>
                  <a:gd name="connsiteX1510" fmla="*/ 4207 w 10354"/>
                  <a:gd name="connsiteY1510" fmla="*/ 1060 h 10000"/>
                  <a:gd name="connsiteX1511" fmla="*/ 4207 w 10354"/>
                  <a:gd name="connsiteY1511" fmla="*/ 1060 h 10000"/>
                  <a:gd name="connsiteX1512" fmla="*/ 4203 w 10354"/>
                  <a:gd name="connsiteY1512" fmla="*/ 1068 h 10000"/>
                  <a:gd name="connsiteX1513" fmla="*/ 4203 w 10354"/>
                  <a:gd name="connsiteY1513" fmla="*/ 1094 h 10000"/>
                  <a:gd name="connsiteX1514" fmla="*/ 4203 w 10354"/>
                  <a:gd name="connsiteY1514" fmla="*/ 1094 h 10000"/>
                  <a:gd name="connsiteX1515" fmla="*/ 4189 w 10354"/>
                  <a:gd name="connsiteY1515" fmla="*/ 1094 h 10000"/>
                  <a:gd name="connsiteX1516" fmla="*/ 4166 w 10354"/>
                  <a:gd name="connsiteY1516" fmla="*/ 1103 h 10000"/>
                  <a:gd name="connsiteX1517" fmla="*/ 4152 w 10354"/>
                  <a:gd name="connsiteY1517" fmla="*/ 1094 h 10000"/>
                  <a:gd name="connsiteX1518" fmla="*/ 4134 w 10354"/>
                  <a:gd name="connsiteY1518" fmla="*/ 1120 h 10000"/>
                  <a:gd name="connsiteX1519" fmla="*/ 4106 w 10354"/>
                  <a:gd name="connsiteY1519" fmla="*/ 1120 h 10000"/>
                  <a:gd name="connsiteX1520" fmla="*/ 4092 w 10354"/>
                  <a:gd name="connsiteY1520" fmla="*/ 1154 h 10000"/>
                  <a:gd name="connsiteX1521" fmla="*/ 4106 w 10354"/>
                  <a:gd name="connsiteY1521" fmla="*/ 1171 h 10000"/>
                  <a:gd name="connsiteX1522" fmla="*/ 4078 w 10354"/>
                  <a:gd name="connsiteY1522" fmla="*/ 1179 h 10000"/>
                  <a:gd name="connsiteX1523" fmla="*/ 4065 w 10354"/>
                  <a:gd name="connsiteY1523" fmla="*/ 1205 h 10000"/>
                  <a:gd name="connsiteX1524" fmla="*/ 4046 w 10354"/>
                  <a:gd name="connsiteY1524" fmla="*/ 1179 h 10000"/>
                  <a:gd name="connsiteX1525" fmla="*/ 4041 w 10354"/>
                  <a:gd name="connsiteY1525" fmla="*/ 1197 h 10000"/>
                  <a:gd name="connsiteX1526" fmla="*/ 4028 w 10354"/>
                  <a:gd name="connsiteY1526" fmla="*/ 1205 h 10000"/>
                  <a:gd name="connsiteX1527" fmla="*/ 4028 w 10354"/>
                  <a:gd name="connsiteY1527" fmla="*/ 1205 h 10000"/>
                  <a:gd name="connsiteX1528" fmla="*/ 4032 w 10354"/>
                  <a:gd name="connsiteY1528" fmla="*/ 1205 h 10000"/>
                  <a:gd name="connsiteX1529" fmla="*/ 4032 w 10354"/>
                  <a:gd name="connsiteY1529" fmla="*/ 1231 h 10000"/>
                  <a:gd name="connsiteX1530" fmla="*/ 4014 w 10354"/>
                  <a:gd name="connsiteY1530" fmla="*/ 1239 h 10000"/>
                  <a:gd name="connsiteX1531" fmla="*/ 4014 w 10354"/>
                  <a:gd name="connsiteY1531" fmla="*/ 1256 h 10000"/>
                  <a:gd name="connsiteX1532" fmla="*/ 4000 w 10354"/>
                  <a:gd name="connsiteY1532" fmla="*/ 1265 h 10000"/>
                  <a:gd name="connsiteX1533" fmla="*/ 3986 w 10354"/>
                  <a:gd name="connsiteY1533" fmla="*/ 1308 h 10000"/>
                  <a:gd name="connsiteX1534" fmla="*/ 3972 w 10354"/>
                  <a:gd name="connsiteY1534" fmla="*/ 1316 h 10000"/>
                  <a:gd name="connsiteX1535" fmla="*/ 3972 w 10354"/>
                  <a:gd name="connsiteY1535" fmla="*/ 1325 h 10000"/>
                  <a:gd name="connsiteX1536" fmla="*/ 3972 w 10354"/>
                  <a:gd name="connsiteY1536" fmla="*/ 1342 h 10000"/>
                  <a:gd name="connsiteX1537" fmla="*/ 3968 w 10354"/>
                  <a:gd name="connsiteY1537" fmla="*/ 1350 h 10000"/>
                  <a:gd name="connsiteX1538" fmla="*/ 3954 w 10354"/>
                  <a:gd name="connsiteY1538" fmla="*/ 1368 h 10000"/>
                  <a:gd name="connsiteX1539" fmla="*/ 3945 w 10354"/>
                  <a:gd name="connsiteY1539" fmla="*/ 1350 h 10000"/>
                  <a:gd name="connsiteX1540" fmla="*/ 3908 w 10354"/>
                  <a:gd name="connsiteY1540" fmla="*/ 1342 h 10000"/>
                  <a:gd name="connsiteX1541" fmla="*/ 3894 w 10354"/>
                  <a:gd name="connsiteY1541" fmla="*/ 1368 h 10000"/>
                  <a:gd name="connsiteX1542" fmla="*/ 3922 w 10354"/>
                  <a:gd name="connsiteY1542" fmla="*/ 1393 h 10000"/>
                  <a:gd name="connsiteX1543" fmla="*/ 3945 w 10354"/>
                  <a:gd name="connsiteY1543" fmla="*/ 1393 h 10000"/>
                  <a:gd name="connsiteX1544" fmla="*/ 3940 w 10354"/>
                  <a:gd name="connsiteY1544" fmla="*/ 1419 h 10000"/>
                  <a:gd name="connsiteX1545" fmla="*/ 3931 w 10354"/>
                  <a:gd name="connsiteY1545" fmla="*/ 1427 h 10000"/>
                  <a:gd name="connsiteX1546" fmla="*/ 3926 w 10354"/>
                  <a:gd name="connsiteY1546" fmla="*/ 1427 h 10000"/>
                  <a:gd name="connsiteX1547" fmla="*/ 3922 w 10354"/>
                  <a:gd name="connsiteY1547" fmla="*/ 1419 h 10000"/>
                  <a:gd name="connsiteX1548" fmla="*/ 3912 w 10354"/>
                  <a:gd name="connsiteY1548" fmla="*/ 1427 h 10000"/>
                  <a:gd name="connsiteX1549" fmla="*/ 3912 w 10354"/>
                  <a:gd name="connsiteY1549" fmla="*/ 1444 h 10000"/>
                  <a:gd name="connsiteX1550" fmla="*/ 3894 w 10354"/>
                  <a:gd name="connsiteY1550" fmla="*/ 1513 h 10000"/>
                  <a:gd name="connsiteX1551" fmla="*/ 3885 w 10354"/>
                  <a:gd name="connsiteY1551" fmla="*/ 1513 h 10000"/>
                  <a:gd name="connsiteX1552" fmla="*/ 3880 w 10354"/>
                  <a:gd name="connsiteY1552" fmla="*/ 1538 h 10000"/>
                  <a:gd name="connsiteX1553" fmla="*/ 3885 w 10354"/>
                  <a:gd name="connsiteY1553" fmla="*/ 1564 h 10000"/>
                  <a:gd name="connsiteX1554" fmla="*/ 3880 w 10354"/>
                  <a:gd name="connsiteY1554" fmla="*/ 1581 h 10000"/>
                  <a:gd name="connsiteX1555" fmla="*/ 3871 w 10354"/>
                  <a:gd name="connsiteY1555" fmla="*/ 1538 h 10000"/>
                  <a:gd name="connsiteX1556" fmla="*/ 3853 w 10354"/>
                  <a:gd name="connsiteY1556" fmla="*/ 1530 h 10000"/>
                  <a:gd name="connsiteX1557" fmla="*/ 3853 w 10354"/>
                  <a:gd name="connsiteY1557" fmla="*/ 1504 h 10000"/>
                  <a:gd name="connsiteX1558" fmla="*/ 3834 w 10354"/>
                  <a:gd name="connsiteY1558" fmla="*/ 1487 h 10000"/>
                  <a:gd name="connsiteX1559" fmla="*/ 3834 w 10354"/>
                  <a:gd name="connsiteY1559" fmla="*/ 1487 h 10000"/>
                  <a:gd name="connsiteX1560" fmla="*/ 3839 w 10354"/>
                  <a:gd name="connsiteY1560" fmla="*/ 1513 h 10000"/>
                  <a:gd name="connsiteX1561" fmla="*/ 3820 w 10354"/>
                  <a:gd name="connsiteY1561" fmla="*/ 1538 h 10000"/>
                  <a:gd name="connsiteX1562" fmla="*/ 3820 w 10354"/>
                  <a:gd name="connsiteY1562" fmla="*/ 1556 h 10000"/>
                  <a:gd name="connsiteX1563" fmla="*/ 3820 w 10354"/>
                  <a:gd name="connsiteY1563" fmla="*/ 1564 h 10000"/>
                  <a:gd name="connsiteX1564" fmla="*/ 3820 w 10354"/>
                  <a:gd name="connsiteY1564" fmla="*/ 1581 h 10000"/>
                  <a:gd name="connsiteX1565" fmla="*/ 3853 w 10354"/>
                  <a:gd name="connsiteY1565" fmla="*/ 1581 h 10000"/>
                  <a:gd name="connsiteX1566" fmla="*/ 3857 w 10354"/>
                  <a:gd name="connsiteY1566" fmla="*/ 1598 h 10000"/>
                  <a:gd name="connsiteX1567" fmla="*/ 3880 w 10354"/>
                  <a:gd name="connsiteY1567" fmla="*/ 1615 h 10000"/>
                  <a:gd name="connsiteX1568" fmla="*/ 3871 w 10354"/>
                  <a:gd name="connsiteY1568" fmla="*/ 1615 h 10000"/>
                  <a:gd name="connsiteX1569" fmla="*/ 3871 w 10354"/>
                  <a:gd name="connsiteY1569" fmla="*/ 1641 h 10000"/>
                  <a:gd name="connsiteX1570" fmla="*/ 3880 w 10354"/>
                  <a:gd name="connsiteY1570" fmla="*/ 1641 h 10000"/>
                  <a:gd name="connsiteX1571" fmla="*/ 3871 w 10354"/>
                  <a:gd name="connsiteY1571" fmla="*/ 1650 h 10000"/>
                  <a:gd name="connsiteX1572" fmla="*/ 3857 w 10354"/>
                  <a:gd name="connsiteY1572" fmla="*/ 1650 h 10000"/>
                  <a:gd name="connsiteX1573" fmla="*/ 3853 w 10354"/>
                  <a:gd name="connsiteY1573" fmla="*/ 1650 h 10000"/>
                  <a:gd name="connsiteX1574" fmla="*/ 3839 w 10354"/>
                  <a:gd name="connsiteY1574" fmla="*/ 1667 h 10000"/>
                  <a:gd name="connsiteX1575" fmla="*/ 3848 w 10354"/>
                  <a:gd name="connsiteY1575" fmla="*/ 1692 h 10000"/>
                  <a:gd name="connsiteX1576" fmla="*/ 3834 w 10354"/>
                  <a:gd name="connsiteY1576" fmla="*/ 1692 h 10000"/>
                  <a:gd name="connsiteX1577" fmla="*/ 3825 w 10354"/>
                  <a:gd name="connsiteY1577" fmla="*/ 1692 h 10000"/>
                  <a:gd name="connsiteX1578" fmla="*/ 3825 w 10354"/>
                  <a:gd name="connsiteY1578" fmla="*/ 1718 h 10000"/>
                  <a:gd name="connsiteX1579" fmla="*/ 3839 w 10354"/>
                  <a:gd name="connsiteY1579" fmla="*/ 1726 h 10000"/>
                  <a:gd name="connsiteX1580" fmla="*/ 3880 w 10354"/>
                  <a:gd name="connsiteY1580" fmla="*/ 1752 h 10000"/>
                  <a:gd name="connsiteX1581" fmla="*/ 3894 w 10354"/>
                  <a:gd name="connsiteY1581" fmla="*/ 1829 h 10000"/>
                  <a:gd name="connsiteX1582" fmla="*/ 3899 w 10354"/>
                  <a:gd name="connsiteY1582" fmla="*/ 1838 h 10000"/>
                  <a:gd name="connsiteX1583" fmla="*/ 3894 w 10354"/>
                  <a:gd name="connsiteY1583" fmla="*/ 1855 h 10000"/>
                  <a:gd name="connsiteX1584" fmla="*/ 3880 w 10354"/>
                  <a:gd name="connsiteY1584" fmla="*/ 1838 h 10000"/>
                  <a:gd name="connsiteX1585" fmla="*/ 3880 w 10354"/>
                  <a:gd name="connsiteY1585" fmla="*/ 1855 h 10000"/>
                  <a:gd name="connsiteX1586" fmla="*/ 3880 w 10354"/>
                  <a:gd name="connsiteY1586" fmla="*/ 1863 h 10000"/>
                  <a:gd name="connsiteX1587" fmla="*/ 3871 w 10354"/>
                  <a:gd name="connsiteY1587" fmla="*/ 1872 h 10000"/>
                  <a:gd name="connsiteX1588" fmla="*/ 3880 w 10354"/>
                  <a:gd name="connsiteY1588" fmla="*/ 1889 h 10000"/>
                  <a:gd name="connsiteX1589" fmla="*/ 3885 w 10354"/>
                  <a:gd name="connsiteY1589" fmla="*/ 1889 h 10000"/>
                  <a:gd name="connsiteX1590" fmla="*/ 3880 w 10354"/>
                  <a:gd name="connsiteY1590" fmla="*/ 1897 h 10000"/>
                  <a:gd name="connsiteX1591" fmla="*/ 3871 w 10354"/>
                  <a:gd name="connsiteY1591" fmla="*/ 1915 h 10000"/>
                  <a:gd name="connsiteX1592" fmla="*/ 3848 w 10354"/>
                  <a:gd name="connsiteY1592" fmla="*/ 1923 h 10000"/>
                  <a:gd name="connsiteX1593" fmla="*/ 3825 w 10354"/>
                  <a:gd name="connsiteY1593" fmla="*/ 1940 h 10000"/>
                  <a:gd name="connsiteX1594" fmla="*/ 3811 w 10354"/>
                  <a:gd name="connsiteY1594" fmla="*/ 1940 h 10000"/>
                  <a:gd name="connsiteX1595" fmla="*/ 3806 w 10354"/>
                  <a:gd name="connsiteY1595" fmla="*/ 1949 h 10000"/>
                  <a:gd name="connsiteX1596" fmla="*/ 3797 w 10354"/>
                  <a:gd name="connsiteY1596" fmla="*/ 1966 h 10000"/>
                  <a:gd name="connsiteX1597" fmla="*/ 3788 w 10354"/>
                  <a:gd name="connsiteY1597" fmla="*/ 1991 h 10000"/>
                  <a:gd name="connsiteX1598" fmla="*/ 3765 w 10354"/>
                  <a:gd name="connsiteY1598" fmla="*/ 1974 h 10000"/>
                  <a:gd name="connsiteX1599" fmla="*/ 3760 w 10354"/>
                  <a:gd name="connsiteY1599" fmla="*/ 1966 h 10000"/>
                  <a:gd name="connsiteX1600" fmla="*/ 3760 w 10354"/>
                  <a:gd name="connsiteY1600" fmla="*/ 1966 h 10000"/>
                  <a:gd name="connsiteX1601" fmla="*/ 3631 w 10354"/>
                  <a:gd name="connsiteY1601" fmla="*/ 2009 h 10000"/>
                  <a:gd name="connsiteX1602" fmla="*/ 3618 w 10354"/>
                  <a:gd name="connsiteY1602" fmla="*/ 2000 h 10000"/>
                  <a:gd name="connsiteX1603" fmla="*/ 3599 w 10354"/>
                  <a:gd name="connsiteY1603" fmla="*/ 2009 h 10000"/>
                  <a:gd name="connsiteX1604" fmla="*/ 3571 w 10354"/>
                  <a:gd name="connsiteY1604" fmla="*/ 2000 h 10000"/>
                  <a:gd name="connsiteX1605" fmla="*/ 3530 w 10354"/>
                  <a:gd name="connsiteY1605" fmla="*/ 2026 h 10000"/>
                  <a:gd name="connsiteX1606" fmla="*/ 3530 w 10354"/>
                  <a:gd name="connsiteY1606" fmla="*/ 2034 h 10000"/>
                  <a:gd name="connsiteX1607" fmla="*/ 3525 w 10354"/>
                  <a:gd name="connsiteY1607" fmla="*/ 2051 h 10000"/>
                  <a:gd name="connsiteX1608" fmla="*/ 3512 w 10354"/>
                  <a:gd name="connsiteY1608" fmla="*/ 2034 h 10000"/>
                  <a:gd name="connsiteX1609" fmla="*/ 3507 w 10354"/>
                  <a:gd name="connsiteY1609" fmla="*/ 2034 h 10000"/>
                  <a:gd name="connsiteX1610" fmla="*/ 3498 w 10354"/>
                  <a:gd name="connsiteY1610" fmla="*/ 2051 h 10000"/>
                  <a:gd name="connsiteX1611" fmla="*/ 3484 w 10354"/>
                  <a:gd name="connsiteY1611" fmla="*/ 2060 h 10000"/>
                  <a:gd name="connsiteX1612" fmla="*/ 3484 w 10354"/>
                  <a:gd name="connsiteY1612" fmla="*/ 2085 h 10000"/>
                  <a:gd name="connsiteX1613" fmla="*/ 3484 w 10354"/>
                  <a:gd name="connsiteY1613" fmla="*/ 2103 h 10000"/>
                  <a:gd name="connsiteX1614" fmla="*/ 3493 w 10354"/>
                  <a:gd name="connsiteY1614" fmla="*/ 2103 h 10000"/>
                  <a:gd name="connsiteX1615" fmla="*/ 3493 w 10354"/>
                  <a:gd name="connsiteY1615" fmla="*/ 2085 h 10000"/>
                  <a:gd name="connsiteX1616" fmla="*/ 3498 w 10354"/>
                  <a:gd name="connsiteY1616" fmla="*/ 2085 h 10000"/>
                  <a:gd name="connsiteX1617" fmla="*/ 3498 w 10354"/>
                  <a:gd name="connsiteY1617" fmla="*/ 2111 h 10000"/>
                  <a:gd name="connsiteX1618" fmla="*/ 3484 w 10354"/>
                  <a:gd name="connsiteY1618" fmla="*/ 2120 h 10000"/>
                  <a:gd name="connsiteX1619" fmla="*/ 3484 w 10354"/>
                  <a:gd name="connsiteY1619" fmla="*/ 2145 h 10000"/>
                  <a:gd name="connsiteX1620" fmla="*/ 3470 w 10354"/>
                  <a:gd name="connsiteY1620" fmla="*/ 2137 h 10000"/>
                  <a:gd name="connsiteX1621" fmla="*/ 3465 w 10354"/>
                  <a:gd name="connsiteY1621" fmla="*/ 2145 h 10000"/>
                  <a:gd name="connsiteX1622" fmla="*/ 3470 w 10354"/>
                  <a:gd name="connsiteY1622" fmla="*/ 2171 h 10000"/>
                  <a:gd name="connsiteX1623" fmla="*/ 3484 w 10354"/>
                  <a:gd name="connsiteY1623" fmla="*/ 2171 h 10000"/>
                  <a:gd name="connsiteX1624" fmla="*/ 3484 w 10354"/>
                  <a:gd name="connsiteY1624" fmla="*/ 2197 h 10000"/>
                  <a:gd name="connsiteX1625" fmla="*/ 3465 w 10354"/>
                  <a:gd name="connsiteY1625" fmla="*/ 2214 h 10000"/>
                  <a:gd name="connsiteX1626" fmla="*/ 3493 w 10354"/>
                  <a:gd name="connsiteY1626" fmla="*/ 2248 h 10000"/>
                  <a:gd name="connsiteX1627" fmla="*/ 3484 w 10354"/>
                  <a:gd name="connsiteY1627" fmla="*/ 2256 h 10000"/>
                  <a:gd name="connsiteX1628" fmla="*/ 3498 w 10354"/>
                  <a:gd name="connsiteY1628" fmla="*/ 2274 h 10000"/>
                  <a:gd name="connsiteX1629" fmla="*/ 3498 w 10354"/>
                  <a:gd name="connsiteY1629" fmla="*/ 2256 h 10000"/>
                  <a:gd name="connsiteX1630" fmla="*/ 3507 w 10354"/>
                  <a:gd name="connsiteY1630" fmla="*/ 2308 h 10000"/>
                  <a:gd name="connsiteX1631" fmla="*/ 3512 w 10354"/>
                  <a:gd name="connsiteY1631" fmla="*/ 2325 h 10000"/>
                  <a:gd name="connsiteX1632" fmla="*/ 3507 w 10354"/>
                  <a:gd name="connsiteY1632" fmla="*/ 2333 h 10000"/>
                  <a:gd name="connsiteX1633" fmla="*/ 3507 w 10354"/>
                  <a:gd name="connsiteY1633" fmla="*/ 2359 h 10000"/>
                  <a:gd name="connsiteX1634" fmla="*/ 3507 w 10354"/>
                  <a:gd name="connsiteY1634" fmla="*/ 2376 h 10000"/>
                  <a:gd name="connsiteX1635" fmla="*/ 3498 w 10354"/>
                  <a:gd name="connsiteY1635" fmla="*/ 2410 h 10000"/>
                  <a:gd name="connsiteX1636" fmla="*/ 3498 w 10354"/>
                  <a:gd name="connsiteY1636" fmla="*/ 2436 h 10000"/>
                  <a:gd name="connsiteX1637" fmla="*/ 3507 w 10354"/>
                  <a:gd name="connsiteY1637" fmla="*/ 2462 h 10000"/>
                  <a:gd name="connsiteX1638" fmla="*/ 3507 w 10354"/>
                  <a:gd name="connsiteY1638" fmla="*/ 2496 h 10000"/>
                  <a:gd name="connsiteX1639" fmla="*/ 3512 w 10354"/>
                  <a:gd name="connsiteY1639" fmla="*/ 2521 h 10000"/>
                  <a:gd name="connsiteX1640" fmla="*/ 3525 w 10354"/>
                  <a:gd name="connsiteY1640" fmla="*/ 2556 h 10000"/>
                  <a:gd name="connsiteX1641" fmla="*/ 3571 w 10354"/>
                  <a:gd name="connsiteY1641" fmla="*/ 2573 h 10000"/>
                  <a:gd name="connsiteX1642" fmla="*/ 3590 w 10354"/>
                  <a:gd name="connsiteY1642" fmla="*/ 2598 h 10000"/>
                  <a:gd name="connsiteX1643" fmla="*/ 3599 w 10354"/>
                  <a:gd name="connsiteY1643" fmla="*/ 2598 h 10000"/>
                  <a:gd name="connsiteX1644" fmla="*/ 3604 w 10354"/>
                  <a:gd name="connsiteY1644" fmla="*/ 2632 h 10000"/>
                  <a:gd name="connsiteX1645" fmla="*/ 3599 w 10354"/>
                  <a:gd name="connsiteY1645" fmla="*/ 2658 h 10000"/>
                  <a:gd name="connsiteX1646" fmla="*/ 3590 w 10354"/>
                  <a:gd name="connsiteY1646" fmla="*/ 2667 h 10000"/>
                  <a:gd name="connsiteX1647" fmla="*/ 3604 w 10354"/>
                  <a:gd name="connsiteY1647" fmla="*/ 2667 h 10000"/>
                  <a:gd name="connsiteX1648" fmla="*/ 3613 w 10354"/>
                  <a:gd name="connsiteY1648" fmla="*/ 2692 h 10000"/>
                  <a:gd name="connsiteX1649" fmla="*/ 3627 w 10354"/>
                  <a:gd name="connsiteY1649" fmla="*/ 2735 h 10000"/>
                  <a:gd name="connsiteX1650" fmla="*/ 3631 w 10354"/>
                  <a:gd name="connsiteY1650" fmla="*/ 2744 h 10000"/>
                  <a:gd name="connsiteX1651" fmla="*/ 3659 w 10354"/>
                  <a:gd name="connsiteY1651" fmla="*/ 2761 h 10000"/>
                  <a:gd name="connsiteX1652" fmla="*/ 3673 w 10354"/>
                  <a:gd name="connsiteY1652" fmla="*/ 2769 h 10000"/>
                  <a:gd name="connsiteX1653" fmla="*/ 3673 w 10354"/>
                  <a:gd name="connsiteY1653" fmla="*/ 2761 h 10000"/>
                  <a:gd name="connsiteX1654" fmla="*/ 3687 w 10354"/>
                  <a:gd name="connsiteY1654" fmla="*/ 2829 h 10000"/>
                  <a:gd name="connsiteX1655" fmla="*/ 3677 w 10354"/>
                  <a:gd name="connsiteY1655" fmla="*/ 2897 h 10000"/>
                  <a:gd name="connsiteX1656" fmla="*/ 3673 w 10354"/>
                  <a:gd name="connsiteY1656" fmla="*/ 2915 h 10000"/>
                  <a:gd name="connsiteX1657" fmla="*/ 3664 w 10354"/>
                  <a:gd name="connsiteY1657" fmla="*/ 2957 h 10000"/>
                  <a:gd name="connsiteX1658" fmla="*/ 3659 w 10354"/>
                  <a:gd name="connsiteY1658" fmla="*/ 2983 h 10000"/>
                  <a:gd name="connsiteX1659" fmla="*/ 3664 w 10354"/>
                  <a:gd name="connsiteY1659" fmla="*/ 3017 h 10000"/>
                  <a:gd name="connsiteX1660" fmla="*/ 3659 w 10354"/>
                  <a:gd name="connsiteY1660" fmla="*/ 3043 h 10000"/>
                  <a:gd name="connsiteX1661" fmla="*/ 3677 w 10354"/>
                  <a:gd name="connsiteY1661" fmla="*/ 3094 h 10000"/>
                  <a:gd name="connsiteX1662" fmla="*/ 3691 w 10354"/>
                  <a:gd name="connsiteY1662" fmla="*/ 3282 h 10000"/>
                  <a:gd name="connsiteX1663" fmla="*/ 3691 w 10354"/>
                  <a:gd name="connsiteY1663" fmla="*/ 3308 h 10000"/>
                  <a:gd name="connsiteX1664" fmla="*/ 3677 w 10354"/>
                  <a:gd name="connsiteY1664" fmla="*/ 3342 h 10000"/>
                  <a:gd name="connsiteX1665" fmla="*/ 3664 w 10354"/>
                  <a:gd name="connsiteY1665" fmla="*/ 3342 h 10000"/>
                  <a:gd name="connsiteX1666" fmla="*/ 3650 w 10354"/>
                  <a:gd name="connsiteY1666" fmla="*/ 3342 h 10000"/>
                  <a:gd name="connsiteX1667" fmla="*/ 3650 w 10354"/>
                  <a:gd name="connsiteY1667" fmla="*/ 3350 h 10000"/>
                  <a:gd name="connsiteX1668" fmla="*/ 3659 w 10354"/>
                  <a:gd name="connsiteY1668" fmla="*/ 3402 h 10000"/>
                  <a:gd name="connsiteX1669" fmla="*/ 3659 w 10354"/>
                  <a:gd name="connsiteY1669" fmla="*/ 3419 h 10000"/>
                  <a:gd name="connsiteX1670" fmla="*/ 3631 w 10354"/>
                  <a:gd name="connsiteY1670" fmla="*/ 3402 h 10000"/>
                  <a:gd name="connsiteX1671" fmla="*/ 3604 w 10354"/>
                  <a:gd name="connsiteY1671" fmla="*/ 3393 h 10000"/>
                  <a:gd name="connsiteX1672" fmla="*/ 3599 w 10354"/>
                  <a:gd name="connsiteY1672" fmla="*/ 3368 h 10000"/>
                  <a:gd name="connsiteX1673" fmla="*/ 3590 w 10354"/>
                  <a:gd name="connsiteY1673" fmla="*/ 3239 h 10000"/>
                  <a:gd name="connsiteX1674" fmla="*/ 3599 w 10354"/>
                  <a:gd name="connsiteY1674" fmla="*/ 3179 h 10000"/>
                  <a:gd name="connsiteX1675" fmla="*/ 3599 w 10354"/>
                  <a:gd name="connsiteY1675" fmla="*/ 3171 h 10000"/>
                  <a:gd name="connsiteX1676" fmla="*/ 3599 w 10354"/>
                  <a:gd name="connsiteY1676" fmla="*/ 3009 h 10000"/>
                  <a:gd name="connsiteX1677" fmla="*/ 3604 w 10354"/>
                  <a:gd name="connsiteY1677" fmla="*/ 2983 h 10000"/>
                  <a:gd name="connsiteX1678" fmla="*/ 3645 w 10354"/>
                  <a:gd name="connsiteY1678" fmla="*/ 2932 h 10000"/>
                  <a:gd name="connsiteX1679" fmla="*/ 3650 w 10354"/>
                  <a:gd name="connsiteY1679" fmla="*/ 2872 h 10000"/>
                  <a:gd name="connsiteX1680" fmla="*/ 3659 w 10354"/>
                  <a:gd name="connsiteY1680" fmla="*/ 2855 h 10000"/>
                  <a:gd name="connsiteX1681" fmla="*/ 3659 w 10354"/>
                  <a:gd name="connsiteY1681" fmla="*/ 2821 h 10000"/>
                  <a:gd name="connsiteX1682" fmla="*/ 3631 w 10354"/>
                  <a:gd name="connsiteY1682" fmla="*/ 2795 h 10000"/>
                  <a:gd name="connsiteX1683" fmla="*/ 3567 w 10354"/>
                  <a:gd name="connsiteY1683" fmla="*/ 2821 h 10000"/>
                  <a:gd name="connsiteX1684" fmla="*/ 3544 w 10354"/>
                  <a:gd name="connsiteY1684" fmla="*/ 2795 h 10000"/>
                  <a:gd name="connsiteX1685" fmla="*/ 3530 w 10354"/>
                  <a:gd name="connsiteY1685" fmla="*/ 2769 h 10000"/>
                  <a:gd name="connsiteX1686" fmla="*/ 3530 w 10354"/>
                  <a:gd name="connsiteY1686" fmla="*/ 2786 h 10000"/>
                  <a:gd name="connsiteX1687" fmla="*/ 3498 w 10354"/>
                  <a:gd name="connsiteY1687" fmla="*/ 2692 h 10000"/>
                  <a:gd name="connsiteX1688" fmla="*/ 3498 w 10354"/>
                  <a:gd name="connsiteY1688" fmla="*/ 2667 h 10000"/>
                  <a:gd name="connsiteX1689" fmla="*/ 3442 w 10354"/>
                  <a:gd name="connsiteY1689" fmla="*/ 2607 h 10000"/>
                  <a:gd name="connsiteX1690" fmla="*/ 3433 w 10354"/>
                  <a:gd name="connsiteY1690" fmla="*/ 2581 h 10000"/>
                  <a:gd name="connsiteX1691" fmla="*/ 3396 w 10354"/>
                  <a:gd name="connsiteY1691" fmla="*/ 2556 h 10000"/>
                  <a:gd name="connsiteX1692" fmla="*/ 3318 w 10354"/>
                  <a:gd name="connsiteY1692" fmla="*/ 2556 h 10000"/>
                  <a:gd name="connsiteX1693" fmla="*/ 3304 w 10354"/>
                  <a:gd name="connsiteY1693" fmla="*/ 2607 h 10000"/>
                  <a:gd name="connsiteX1694" fmla="*/ 3276 w 10354"/>
                  <a:gd name="connsiteY1694" fmla="*/ 2632 h 10000"/>
                  <a:gd name="connsiteX1695" fmla="*/ 3272 w 10354"/>
                  <a:gd name="connsiteY1695" fmla="*/ 2667 h 10000"/>
                  <a:gd name="connsiteX1696" fmla="*/ 3304 w 10354"/>
                  <a:gd name="connsiteY1696" fmla="*/ 2667 h 10000"/>
                  <a:gd name="connsiteX1697" fmla="*/ 3323 w 10354"/>
                  <a:gd name="connsiteY1697" fmla="*/ 2692 h 10000"/>
                  <a:gd name="connsiteX1698" fmla="*/ 3318 w 10354"/>
                  <a:gd name="connsiteY1698" fmla="*/ 2735 h 10000"/>
                  <a:gd name="connsiteX1699" fmla="*/ 3304 w 10354"/>
                  <a:gd name="connsiteY1699" fmla="*/ 2761 h 10000"/>
                  <a:gd name="connsiteX1700" fmla="*/ 3276 w 10354"/>
                  <a:gd name="connsiteY1700" fmla="*/ 2769 h 10000"/>
                  <a:gd name="connsiteX1701" fmla="*/ 3263 w 10354"/>
                  <a:gd name="connsiteY1701" fmla="*/ 2795 h 10000"/>
                  <a:gd name="connsiteX1702" fmla="*/ 3235 w 10354"/>
                  <a:gd name="connsiteY1702" fmla="*/ 2803 h 10000"/>
                  <a:gd name="connsiteX1703" fmla="*/ 3235 w 10354"/>
                  <a:gd name="connsiteY1703" fmla="*/ 2786 h 10000"/>
                  <a:gd name="connsiteX1704" fmla="*/ 3212 w 10354"/>
                  <a:gd name="connsiteY1704" fmla="*/ 2709 h 10000"/>
                  <a:gd name="connsiteX1705" fmla="*/ 3198 w 10354"/>
                  <a:gd name="connsiteY1705" fmla="*/ 2709 h 10000"/>
                  <a:gd name="connsiteX1706" fmla="*/ 3184 w 10354"/>
                  <a:gd name="connsiteY1706" fmla="*/ 2735 h 10000"/>
                  <a:gd name="connsiteX1707" fmla="*/ 3189 w 10354"/>
                  <a:gd name="connsiteY1707" fmla="*/ 2761 h 10000"/>
                  <a:gd name="connsiteX1708" fmla="*/ 3203 w 10354"/>
                  <a:gd name="connsiteY1708" fmla="*/ 2855 h 10000"/>
                  <a:gd name="connsiteX1709" fmla="*/ 3212 w 10354"/>
                  <a:gd name="connsiteY1709" fmla="*/ 2872 h 10000"/>
                  <a:gd name="connsiteX1710" fmla="*/ 3235 w 10354"/>
                  <a:gd name="connsiteY1710" fmla="*/ 2906 h 10000"/>
                  <a:gd name="connsiteX1711" fmla="*/ 3258 w 10354"/>
                  <a:gd name="connsiteY1711" fmla="*/ 2915 h 10000"/>
                  <a:gd name="connsiteX1712" fmla="*/ 3272 w 10354"/>
                  <a:gd name="connsiteY1712" fmla="*/ 2957 h 10000"/>
                  <a:gd name="connsiteX1713" fmla="*/ 3276 w 10354"/>
                  <a:gd name="connsiteY1713" fmla="*/ 2957 h 10000"/>
                  <a:gd name="connsiteX1714" fmla="*/ 3286 w 10354"/>
                  <a:gd name="connsiteY1714" fmla="*/ 2966 h 10000"/>
                  <a:gd name="connsiteX1715" fmla="*/ 3300 w 10354"/>
                  <a:gd name="connsiteY1715" fmla="*/ 2957 h 10000"/>
                  <a:gd name="connsiteX1716" fmla="*/ 3309 w 10354"/>
                  <a:gd name="connsiteY1716" fmla="*/ 2932 h 10000"/>
                  <a:gd name="connsiteX1717" fmla="*/ 3304 w 10354"/>
                  <a:gd name="connsiteY1717" fmla="*/ 2966 h 10000"/>
                  <a:gd name="connsiteX1718" fmla="*/ 3309 w 10354"/>
                  <a:gd name="connsiteY1718" fmla="*/ 2983 h 10000"/>
                  <a:gd name="connsiteX1719" fmla="*/ 3323 w 10354"/>
                  <a:gd name="connsiteY1719" fmla="*/ 2966 h 10000"/>
                  <a:gd name="connsiteX1720" fmla="*/ 3323 w 10354"/>
                  <a:gd name="connsiteY1720" fmla="*/ 3043 h 10000"/>
                  <a:gd name="connsiteX1721" fmla="*/ 3346 w 10354"/>
                  <a:gd name="connsiteY1721" fmla="*/ 3068 h 10000"/>
                  <a:gd name="connsiteX1722" fmla="*/ 3346 w 10354"/>
                  <a:gd name="connsiteY1722" fmla="*/ 3094 h 10000"/>
                  <a:gd name="connsiteX1723" fmla="*/ 3323 w 10354"/>
                  <a:gd name="connsiteY1723" fmla="*/ 3094 h 10000"/>
                  <a:gd name="connsiteX1724" fmla="*/ 3309 w 10354"/>
                  <a:gd name="connsiteY1724" fmla="*/ 3077 h 10000"/>
                  <a:gd name="connsiteX1725" fmla="*/ 3304 w 10354"/>
                  <a:gd name="connsiteY1725" fmla="*/ 3051 h 10000"/>
                  <a:gd name="connsiteX1726" fmla="*/ 3300 w 10354"/>
                  <a:gd name="connsiteY1726" fmla="*/ 3043 h 10000"/>
                  <a:gd name="connsiteX1727" fmla="*/ 3286 w 10354"/>
                  <a:gd name="connsiteY1727" fmla="*/ 3017 h 10000"/>
                  <a:gd name="connsiteX1728" fmla="*/ 3152 w 10354"/>
                  <a:gd name="connsiteY1728" fmla="*/ 2966 h 10000"/>
                  <a:gd name="connsiteX1729" fmla="*/ 3129 w 10354"/>
                  <a:gd name="connsiteY1729" fmla="*/ 2915 h 10000"/>
                  <a:gd name="connsiteX1730" fmla="*/ 3129 w 10354"/>
                  <a:gd name="connsiteY1730" fmla="*/ 2906 h 10000"/>
                  <a:gd name="connsiteX1731" fmla="*/ 3152 w 10354"/>
                  <a:gd name="connsiteY1731" fmla="*/ 2906 h 10000"/>
                  <a:gd name="connsiteX1732" fmla="*/ 3152 w 10354"/>
                  <a:gd name="connsiteY1732" fmla="*/ 2846 h 10000"/>
                  <a:gd name="connsiteX1733" fmla="*/ 3138 w 10354"/>
                  <a:gd name="connsiteY1733" fmla="*/ 2795 h 10000"/>
                  <a:gd name="connsiteX1734" fmla="*/ 3138 w 10354"/>
                  <a:gd name="connsiteY1734" fmla="*/ 2769 h 10000"/>
                  <a:gd name="connsiteX1735" fmla="*/ 3143 w 10354"/>
                  <a:gd name="connsiteY1735" fmla="*/ 2718 h 10000"/>
                  <a:gd name="connsiteX1736" fmla="*/ 3129 w 10354"/>
                  <a:gd name="connsiteY1736" fmla="*/ 2692 h 10000"/>
                  <a:gd name="connsiteX1737" fmla="*/ 3143 w 10354"/>
                  <a:gd name="connsiteY1737" fmla="*/ 2667 h 10000"/>
                  <a:gd name="connsiteX1738" fmla="*/ 3157 w 10354"/>
                  <a:gd name="connsiteY1738" fmla="*/ 2581 h 10000"/>
                  <a:gd name="connsiteX1739" fmla="*/ 3143 w 10354"/>
                  <a:gd name="connsiteY1739" fmla="*/ 2496 h 10000"/>
                  <a:gd name="connsiteX1740" fmla="*/ 3157 w 10354"/>
                  <a:gd name="connsiteY1740" fmla="*/ 2487 h 10000"/>
                  <a:gd name="connsiteX1741" fmla="*/ 3143 w 10354"/>
                  <a:gd name="connsiteY1741" fmla="*/ 2444 h 10000"/>
                  <a:gd name="connsiteX1742" fmla="*/ 3143 w 10354"/>
                  <a:gd name="connsiteY1742" fmla="*/ 2419 h 10000"/>
                  <a:gd name="connsiteX1743" fmla="*/ 3143 w 10354"/>
                  <a:gd name="connsiteY1743" fmla="*/ 2410 h 10000"/>
                  <a:gd name="connsiteX1744" fmla="*/ 3124 w 10354"/>
                  <a:gd name="connsiteY1744" fmla="*/ 2376 h 10000"/>
                  <a:gd name="connsiteX1745" fmla="*/ 3115 w 10354"/>
                  <a:gd name="connsiteY1745" fmla="*/ 2350 h 10000"/>
                  <a:gd name="connsiteX1746" fmla="*/ 3101 w 10354"/>
                  <a:gd name="connsiteY1746" fmla="*/ 2359 h 10000"/>
                  <a:gd name="connsiteX1747" fmla="*/ 3115 w 10354"/>
                  <a:gd name="connsiteY1747" fmla="*/ 2581 h 10000"/>
                  <a:gd name="connsiteX1748" fmla="*/ 3111 w 10354"/>
                  <a:gd name="connsiteY1748" fmla="*/ 2624 h 10000"/>
                  <a:gd name="connsiteX1749" fmla="*/ 3009 w 10354"/>
                  <a:gd name="connsiteY1749" fmla="*/ 2761 h 10000"/>
                  <a:gd name="connsiteX1750" fmla="*/ 3009 w 10354"/>
                  <a:gd name="connsiteY1750" fmla="*/ 2803 h 10000"/>
                  <a:gd name="connsiteX1751" fmla="*/ 3005 w 10354"/>
                  <a:gd name="connsiteY1751" fmla="*/ 2829 h 10000"/>
                  <a:gd name="connsiteX1752" fmla="*/ 2982 w 10354"/>
                  <a:gd name="connsiteY1752" fmla="*/ 2872 h 10000"/>
                  <a:gd name="connsiteX1753" fmla="*/ 2982 w 10354"/>
                  <a:gd name="connsiteY1753" fmla="*/ 2880 h 10000"/>
                  <a:gd name="connsiteX1754" fmla="*/ 3037 w 10354"/>
                  <a:gd name="connsiteY1754" fmla="*/ 3034 h 10000"/>
                  <a:gd name="connsiteX1755" fmla="*/ 3041 w 10354"/>
                  <a:gd name="connsiteY1755" fmla="*/ 3103 h 10000"/>
                  <a:gd name="connsiteX1756" fmla="*/ 3069 w 10354"/>
                  <a:gd name="connsiteY1756" fmla="*/ 3188 h 10000"/>
                  <a:gd name="connsiteX1757" fmla="*/ 3055 w 10354"/>
                  <a:gd name="connsiteY1757" fmla="*/ 3325 h 10000"/>
                  <a:gd name="connsiteX1758" fmla="*/ 3037 w 10354"/>
                  <a:gd name="connsiteY1758" fmla="*/ 3368 h 10000"/>
                  <a:gd name="connsiteX1759" fmla="*/ 3037 w 10354"/>
                  <a:gd name="connsiteY1759" fmla="*/ 3444 h 10000"/>
                  <a:gd name="connsiteX1760" fmla="*/ 3028 w 10354"/>
                  <a:gd name="connsiteY1760" fmla="*/ 3453 h 10000"/>
                  <a:gd name="connsiteX1761" fmla="*/ 3023 w 10354"/>
                  <a:gd name="connsiteY1761" fmla="*/ 3530 h 10000"/>
                  <a:gd name="connsiteX1762" fmla="*/ 3051 w 10354"/>
                  <a:gd name="connsiteY1762" fmla="*/ 3624 h 10000"/>
                  <a:gd name="connsiteX1763" fmla="*/ 3037 w 10354"/>
                  <a:gd name="connsiteY1763" fmla="*/ 3718 h 10000"/>
                  <a:gd name="connsiteX1764" fmla="*/ 3041 w 10354"/>
                  <a:gd name="connsiteY1764" fmla="*/ 3752 h 10000"/>
                  <a:gd name="connsiteX1765" fmla="*/ 3055 w 10354"/>
                  <a:gd name="connsiteY1765" fmla="*/ 3761 h 10000"/>
                  <a:gd name="connsiteX1766" fmla="*/ 3078 w 10354"/>
                  <a:gd name="connsiteY1766" fmla="*/ 3752 h 10000"/>
                  <a:gd name="connsiteX1767" fmla="*/ 3092 w 10354"/>
                  <a:gd name="connsiteY1767" fmla="*/ 3752 h 10000"/>
                  <a:gd name="connsiteX1768" fmla="*/ 3129 w 10354"/>
                  <a:gd name="connsiteY1768" fmla="*/ 3761 h 10000"/>
                  <a:gd name="connsiteX1769" fmla="*/ 3129 w 10354"/>
                  <a:gd name="connsiteY1769" fmla="*/ 3735 h 10000"/>
                  <a:gd name="connsiteX1770" fmla="*/ 3157 w 10354"/>
                  <a:gd name="connsiteY1770" fmla="*/ 3718 h 10000"/>
                  <a:gd name="connsiteX1771" fmla="*/ 3184 w 10354"/>
                  <a:gd name="connsiteY1771" fmla="*/ 3718 h 10000"/>
                  <a:gd name="connsiteX1772" fmla="*/ 3290 w 10354"/>
                  <a:gd name="connsiteY1772" fmla="*/ 3838 h 10000"/>
                  <a:gd name="connsiteX1773" fmla="*/ 3300 w 10354"/>
                  <a:gd name="connsiteY1773" fmla="*/ 3846 h 10000"/>
                  <a:gd name="connsiteX1774" fmla="*/ 3300 w 10354"/>
                  <a:gd name="connsiteY1774" fmla="*/ 3915 h 10000"/>
                  <a:gd name="connsiteX1775" fmla="*/ 3318 w 10354"/>
                  <a:gd name="connsiteY1775" fmla="*/ 4000 h 10000"/>
                  <a:gd name="connsiteX1776" fmla="*/ 3323 w 10354"/>
                  <a:gd name="connsiteY1776" fmla="*/ 4000 h 10000"/>
                  <a:gd name="connsiteX1777" fmla="*/ 3323 w 10354"/>
                  <a:gd name="connsiteY1777" fmla="*/ 4034 h 10000"/>
                  <a:gd name="connsiteX1778" fmla="*/ 3318 w 10354"/>
                  <a:gd name="connsiteY1778" fmla="*/ 4051 h 10000"/>
                  <a:gd name="connsiteX1779" fmla="*/ 3300 w 10354"/>
                  <a:gd name="connsiteY1779" fmla="*/ 4051 h 10000"/>
                  <a:gd name="connsiteX1780" fmla="*/ 3290 w 10354"/>
                  <a:gd name="connsiteY1780" fmla="*/ 4077 h 10000"/>
                  <a:gd name="connsiteX1781" fmla="*/ 3286 w 10354"/>
                  <a:gd name="connsiteY1781" fmla="*/ 4103 h 10000"/>
                  <a:gd name="connsiteX1782" fmla="*/ 3286 w 10354"/>
                  <a:gd name="connsiteY1782" fmla="*/ 4197 h 10000"/>
                  <a:gd name="connsiteX1783" fmla="*/ 3290 w 10354"/>
                  <a:gd name="connsiteY1783" fmla="*/ 4214 h 10000"/>
                  <a:gd name="connsiteX1784" fmla="*/ 3304 w 10354"/>
                  <a:gd name="connsiteY1784" fmla="*/ 4214 h 10000"/>
                  <a:gd name="connsiteX1785" fmla="*/ 3323 w 10354"/>
                  <a:gd name="connsiteY1785" fmla="*/ 4239 h 10000"/>
                  <a:gd name="connsiteX1786" fmla="*/ 3350 w 10354"/>
                  <a:gd name="connsiteY1786" fmla="*/ 4222 h 10000"/>
                  <a:gd name="connsiteX1787" fmla="*/ 3369 w 10354"/>
                  <a:gd name="connsiteY1787" fmla="*/ 4256 h 10000"/>
                  <a:gd name="connsiteX1788" fmla="*/ 3369 w 10354"/>
                  <a:gd name="connsiteY1788" fmla="*/ 4256 h 10000"/>
                  <a:gd name="connsiteX1789" fmla="*/ 3336 w 10354"/>
                  <a:gd name="connsiteY1789" fmla="*/ 4274 h 10000"/>
                  <a:gd name="connsiteX1790" fmla="*/ 3323 w 10354"/>
                  <a:gd name="connsiteY1790" fmla="*/ 4274 h 10000"/>
                  <a:gd name="connsiteX1791" fmla="*/ 3290 w 10354"/>
                  <a:gd name="connsiteY1791" fmla="*/ 4274 h 10000"/>
                  <a:gd name="connsiteX1792" fmla="*/ 3286 w 10354"/>
                  <a:gd name="connsiteY1792" fmla="*/ 4239 h 10000"/>
                  <a:gd name="connsiteX1793" fmla="*/ 3263 w 10354"/>
                  <a:gd name="connsiteY1793" fmla="*/ 4214 h 10000"/>
                  <a:gd name="connsiteX1794" fmla="*/ 3258 w 10354"/>
                  <a:gd name="connsiteY1794" fmla="*/ 4188 h 10000"/>
                  <a:gd name="connsiteX1795" fmla="*/ 3263 w 10354"/>
                  <a:gd name="connsiteY1795" fmla="*/ 4171 h 10000"/>
                  <a:gd name="connsiteX1796" fmla="*/ 3263 w 10354"/>
                  <a:gd name="connsiteY1796" fmla="*/ 4103 h 10000"/>
                  <a:gd name="connsiteX1797" fmla="*/ 3276 w 10354"/>
                  <a:gd name="connsiteY1797" fmla="*/ 4060 h 10000"/>
                  <a:gd name="connsiteX1798" fmla="*/ 3272 w 10354"/>
                  <a:gd name="connsiteY1798" fmla="*/ 4051 h 10000"/>
                  <a:gd name="connsiteX1799" fmla="*/ 3263 w 10354"/>
                  <a:gd name="connsiteY1799" fmla="*/ 4051 h 10000"/>
                  <a:gd name="connsiteX1800" fmla="*/ 3263 w 10354"/>
                  <a:gd name="connsiteY1800" fmla="*/ 4034 h 10000"/>
                  <a:gd name="connsiteX1801" fmla="*/ 3263 w 10354"/>
                  <a:gd name="connsiteY1801" fmla="*/ 4000 h 10000"/>
                  <a:gd name="connsiteX1802" fmla="*/ 3272 w 10354"/>
                  <a:gd name="connsiteY1802" fmla="*/ 4000 h 10000"/>
                  <a:gd name="connsiteX1803" fmla="*/ 3272 w 10354"/>
                  <a:gd name="connsiteY1803" fmla="*/ 3974 h 10000"/>
                  <a:gd name="connsiteX1804" fmla="*/ 3272 w 10354"/>
                  <a:gd name="connsiteY1804" fmla="*/ 3966 h 10000"/>
                  <a:gd name="connsiteX1805" fmla="*/ 3272 w 10354"/>
                  <a:gd name="connsiteY1805" fmla="*/ 3949 h 10000"/>
                  <a:gd name="connsiteX1806" fmla="*/ 3258 w 10354"/>
                  <a:gd name="connsiteY1806" fmla="*/ 3923 h 10000"/>
                  <a:gd name="connsiteX1807" fmla="*/ 3249 w 10354"/>
                  <a:gd name="connsiteY1807" fmla="*/ 3915 h 10000"/>
                  <a:gd name="connsiteX1808" fmla="*/ 3244 w 10354"/>
                  <a:gd name="connsiteY1808" fmla="*/ 3897 h 10000"/>
                  <a:gd name="connsiteX1809" fmla="*/ 3230 w 10354"/>
                  <a:gd name="connsiteY1809" fmla="*/ 3889 h 10000"/>
                  <a:gd name="connsiteX1810" fmla="*/ 3230 w 10354"/>
                  <a:gd name="connsiteY1810" fmla="*/ 3863 h 10000"/>
                  <a:gd name="connsiteX1811" fmla="*/ 3230 w 10354"/>
                  <a:gd name="connsiteY1811" fmla="*/ 3838 h 10000"/>
                  <a:gd name="connsiteX1812" fmla="*/ 3226 w 10354"/>
                  <a:gd name="connsiteY1812" fmla="*/ 3803 h 10000"/>
                  <a:gd name="connsiteX1813" fmla="*/ 3138 w 10354"/>
                  <a:gd name="connsiteY1813" fmla="*/ 3838 h 10000"/>
                  <a:gd name="connsiteX1814" fmla="*/ 3078 w 10354"/>
                  <a:gd name="connsiteY1814" fmla="*/ 3889 h 10000"/>
                  <a:gd name="connsiteX1815" fmla="*/ 3078 w 10354"/>
                  <a:gd name="connsiteY1815" fmla="*/ 3940 h 10000"/>
                  <a:gd name="connsiteX1816" fmla="*/ 3069 w 10354"/>
                  <a:gd name="connsiteY1816" fmla="*/ 3983 h 10000"/>
                  <a:gd name="connsiteX1817" fmla="*/ 3069 w 10354"/>
                  <a:gd name="connsiteY1817" fmla="*/ 4009 h 10000"/>
                  <a:gd name="connsiteX1818" fmla="*/ 3078 w 10354"/>
                  <a:gd name="connsiteY1818" fmla="*/ 4026 h 10000"/>
                  <a:gd name="connsiteX1819" fmla="*/ 3083 w 10354"/>
                  <a:gd name="connsiteY1819" fmla="*/ 4034 h 10000"/>
                  <a:gd name="connsiteX1820" fmla="*/ 3092 w 10354"/>
                  <a:gd name="connsiteY1820" fmla="*/ 4060 h 10000"/>
                  <a:gd name="connsiteX1821" fmla="*/ 3092 w 10354"/>
                  <a:gd name="connsiteY1821" fmla="*/ 4077 h 10000"/>
                  <a:gd name="connsiteX1822" fmla="*/ 3097 w 10354"/>
                  <a:gd name="connsiteY1822" fmla="*/ 4103 h 10000"/>
                  <a:gd name="connsiteX1823" fmla="*/ 3101 w 10354"/>
                  <a:gd name="connsiteY1823" fmla="*/ 4162 h 10000"/>
                  <a:gd name="connsiteX1824" fmla="*/ 3097 w 10354"/>
                  <a:gd name="connsiteY1824" fmla="*/ 4222 h 10000"/>
                  <a:gd name="connsiteX1825" fmla="*/ 3041 w 10354"/>
                  <a:gd name="connsiteY1825" fmla="*/ 4325 h 10000"/>
                  <a:gd name="connsiteX1826" fmla="*/ 3037 w 10354"/>
                  <a:gd name="connsiteY1826" fmla="*/ 4419 h 10000"/>
                  <a:gd name="connsiteX1827" fmla="*/ 3018 w 10354"/>
                  <a:gd name="connsiteY1827" fmla="*/ 4470 h 10000"/>
                  <a:gd name="connsiteX1828" fmla="*/ 2991 w 10354"/>
                  <a:gd name="connsiteY1828" fmla="*/ 4513 h 10000"/>
                  <a:gd name="connsiteX1829" fmla="*/ 2977 w 10354"/>
                  <a:gd name="connsiteY1829" fmla="*/ 4530 h 10000"/>
                  <a:gd name="connsiteX1830" fmla="*/ 2945 w 10354"/>
                  <a:gd name="connsiteY1830" fmla="*/ 4556 h 10000"/>
                  <a:gd name="connsiteX1831" fmla="*/ 2935 w 10354"/>
                  <a:gd name="connsiteY1831" fmla="*/ 4581 h 10000"/>
                  <a:gd name="connsiteX1832" fmla="*/ 2949 w 10354"/>
                  <a:gd name="connsiteY1832" fmla="*/ 4624 h 10000"/>
                  <a:gd name="connsiteX1833" fmla="*/ 2945 w 10354"/>
                  <a:gd name="connsiteY1833" fmla="*/ 4658 h 10000"/>
                  <a:gd name="connsiteX1834" fmla="*/ 2922 w 10354"/>
                  <a:gd name="connsiteY1834" fmla="*/ 4667 h 10000"/>
                  <a:gd name="connsiteX1835" fmla="*/ 2876 w 10354"/>
                  <a:gd name="connsiteY1835" fmla="*/ 4632 h 10000"/>
                  <a:gd name="connsiteX1836" fmla="*/ 2857 w 10354"/>
                  <a:gd name="connsiteY1836" fmla="*/ 4632 h 10000"/>
                  <a:gd name="connsiteX1837" fmla="*/ 2820 w 10354"/>
                  <a:gd name="connsiteY1837" fmla="*/ 4641 h 10000"/>
                  <a:gd name="connsiteX1838" fmla="*/ 2797 w 10354"/>
                  <a:gd name="connsiteY1838" fmla="*/ 4632 h 10000"/>
                  <a:gd name="connsiteX1839" fmla="*/ 2788 w 10354"/>
                  <a:gd name="connsiteY1839" fmla="*/ 4624 h 10000"/>
                  <a:gd name="connsiteX1840" fmla="*/ 2788 w 10354"/>
                  <a:gd name="connsiteY1840" fmla="*/ 4598 h 10000"/>
                  <a:gd name="connsiteX1841" fmla="*/ 2797 w 10354"/>
                  <a:gd name="connsiteY1841" fmla="*/ 4581 h 10000"/>
                  <a:gd name="connsiteX1842" fmla="*/ 2788 w 10354"/>
                  <a:gd name="connsiteY1842" fmla="*/ 4530 h 10000"/>
                  <a:gd name="connsiteX1843" fmla="*/ 2774 w 10354"/>
                  <a:gd name="connsiteY1843" fmla="*/ 4530 h 10000"/>
                  <a:gd name="connsiteX1844" fmla="*/ 2770 w 10354"/>
                  <a:gd name="connsiteY1844" fmla="*/ 4513 h 10000"/>
                  <a:gd name="connsiteX1845" fmla="*/ 2774 w 10354"/>
                  <a:gd name="connsiteY1845" fmla="*/ 4513 h 10000"/>
                  <a:gd name="connsiteX1846" fmla="*/ 2788 w 10354"/>
                  <a:gd name="connsiteY1846" fmla="*/ 4496 h 10000"/>
                  <a:gd name="connsiteX1847" fmla="*/ 2802 w 10354"/>
                  <a:gd name="connsiteY1847" fmla="*/ 4513 h 10000"/>
                  <a:gd name="connsiteX1848" fmla="*/ 2811 w 10354"/>
                  <a:gd name="connsiteY1848" fmla="*/ 4530 h 10000"/>
                  <a:gd name="connsiteX1849" fmla="*/ 2820 w 10354"/>
                  <a:gd name="connsiteY1849" fmla="*/ 4521 h 10000"/>
                  <a:gd name="connsiteX1850" fmla="*/ 2829 w 10354"/>
                  <a:gd name="connsiteY1850" fmla="*/ 4513 h 10000"/>
                  <a:gd name="connsiteX1851" fmla="*/ 2843 w 10354"/>
                  <a:gd name="connsiteY1851" fmla="*/ 4513 h 10000"/>
                  <a:gd name="connsiteX1852" fmla="*/ 2848 w 10354"/>
                  <a:gd name="connsiteY1852" fmla="*/ 4470 h 10000"/>
                  <a:gd name="connsiteX1853" fmla="*/ 2862 w 10354"/>
                  <a:gd name="connsiteY1853" fmla="*/ 4487 h 10000"/>
                  <a:gd name="connsiteX1854" fmla="*/ 2876 w 10354"/>
                  <a:gd name="connsiteY1854" fmla="*/ 4470 h 10000"/>
                  <a:gd name="connsiteX1855" fmla="*/ 2880 w 10354"/>
                  <a:gd name="connsiteY1855" fmla="*/ 4462 h 10000"/>
                  <a:gd name="connsiteX1856" fmla="*/ 2889 w 10354"/>
                  <a:gd name="connsiteY1856" fmla="*/ 4444 h 10000"/>
                  <a:gd name="connsiteX1857" fmla="*/ 2894 w 10354"/>
                  <a:gd name="connsiteY1857" fmla="*/ 4462 h 10000"/>
                  <a:gd name="connsiteX1858" fmla="*/ 2917 w 10354"/>
                  <a:gd name="connsiteY1858" fmla="*/ 4444 h 10000"/>
                  <a:gd name="connsiteX1859" fmla="*/ 2922 w 10354"/>
                  <a:gd name="connsiteY1859" fmla="*/ 4436 h 10000"/>
                  <a:gd name="connsiteX1860" fmla="*/ 2917 w 10354"/>
                  <a:gd name="connsiteY1860" fmla="*/ 4410 h 10000"/>
                  <a:gd name="connsiteX1861" fmla="*/ 2894 w 10354"/>
                  <a:gd name="connsiteY1861" fmla="*/ 4410 h 10000"/>
                  <a:gd name="connsiteX1862" fmla="*/ 2889 w 10354"/>
                  <a:gd name="connsiteY1862" fmla="*/ 4419 h 10000"/>
                  <a:gd name="connsiteX1863" fmla="*/ 2876 w 10354"/>
                  <a:gd name="connsiteY1863" fmla="*/ 4410 h 10000"/>
                  <a:gd name="connsiteX1864" fmla="*/ 2880 w 10354"/>
                  <a:gd name="connsiteY1864" fmla="*/ 4376 h 10000"/>
                  <a:gd name="connsiteX1865" fmla="*/ 2903 w 10354"/>
                  <a:gd name="connsiteY1865" fmla="*/ 4393 h 10000"/>
                  <a:gd name="connsiteX1866" fmla="*/ 2931 w 10354"/>
                  <a:gd name="connsiteY1866" fmla="*/ 4393 h 10000"/>
                  <a:gd name="connsiteX1867" fmla="*/ 2931 w 10354"/>
                  <a:gd name="connsiteY1867" fmla="*/ 4385 h 10000"/>
                  <a:gd name="connsiteX1868" fmla="*/ 2931 w 10354"/>
                  <a:gd name="connsiteY1868" fmla="*/ 4350 h 10000"/>
                  <a:gd name="connsiteX1869" fmla="*/ 2945 w 10354"/>
                  <a:gd name="connsiteY1869" fmla="*/ 4350 h 10000"/>
                  <a:gd name="connsiteX1870" fmla="*/ 2949 w 10354"/>
                  <a:gd name="connsiteY1870" fmla="*/ 4325 h 10000"/>
                  <a:gd name="connsiteX1871" fmla="*/ 2963 w 10354"/>
                  <a:gd name="connsiteY1871" fmla="*/ 4256 h 10000"/>
                  <a:gd name="connsiteX1872" fmla="*/ 2982 w 10354"/>
                  <a:gd name="connsiteY1872" fmla="*/ 4239 h 10000"/>
                  <a:gd name="connsiteX1873" fmla="*/ 2991 w 10354"/>
                  <a:gd name="connsiteY1873" fmla="*/ 4214 h 10000"/>
                  <a:gd name="connsiteX1874" fmla="*/ 2991 w 10354"/>
                  <a:gd name="connsiteY1874" fmla="*/ 4197 h 10000"/>
                  <a:gd name="connsiteX1875" fmla="*/ 2995 w 10354"/>
                  <a:gd name="connsiteY1875" fmla="*/ 4171 h 10000"/>
                  <a:gd name="connsiteX1876" fmla="*/ 2991 w 10354"/>
                  <a:gd name="connsiteY1876" fmla="*/ 4077 h 10000"/>
                  <a:gd name="connsiteX1877" fmla="*/ 2995 w 10354"/>
                  <a:gd name="connsiteY1877" fmla="*/ 4034 h 10000"/>
                  <a:gd name="connsiteX1878" fmla="*/ 3018 w 10354"/>
                  <a:gd name="connsiteY1878" fmla="*/ 3983 h 10000"/>
                  <a:gd name="connsiteX1879" fmla="*/ 3018 w 10354"/>
                  <a:gd name="connsiteY1879" fmla="*/ 3915 h 10000"/>
                  <a:gd name="connsiteX1880" fmla="*/ 2949 w 10354"/>
                  <a:gd name="connsiteY1880" fmla="*/ 3778 h 10000"/>
                  <a:gd name="connsiteX1881" fmla="*/ 2954 w 10354"/>
                  <a:gd name="connsiteY1881" fmla="*/ 3675 h 10000"/>
                  <a:gd name="connsiteX1882" fmla="*/ 2954 w 10354"/>
                  <a:gd name="connsiteY1882" fmla="*/ 3650 h 10000"/>
                  <a:gd name="connsiteX1883" fmla="*/ 2963 w 10354"/>
                  <a:gd name="connsiteY1883" fmla="*/ 3624 h 10000"/>
                  <a:gd name="connsiteX1884" fmla="*/ 2954 w 10354"/>
                  <a:gd name="connsiteY1884" fmla="*/ 3564 h 10000"/>
                  <a:gd name="connsiteX1885" fmla="*/ 2963 w 10354"/>
                  <a:gd name="connsiteY1885" fmla="*/ 3538 h 10000"/>
                  <a:gd name="connsiteX1886" fmla="*/ 2963 w 10354"/>
                  <a:gd name="connsiteY1886" fmla="*/ 3487 h 10000"/>
                  <a:gd name="connsiteX1887" fmla="*/ 2963 w 10354"/>
                  <a:gd name="connsiteY1887" fmla="*/ 3479 h 10000"/>
                  <a:gd name="connsiteX1888" fmla="*/ 2963 w 10354"/>
                  <a:gd name="connsiteY1888" fmla="*/ 3462 h 10000"/>
                  <a:gd name="connsiteX1889" fmla="*/ 2954 w 10354"/>
                  <a:gd name="connsiteY1889" fmla="*/ 3453 h 10000"/>
                  <a:gd name="connsiteX1890" fmla="*/ 2954 w 10354"/>
                  <a:gd name="connsiteY1890" fmla="*/ 3444 h 10000"/>
                  <a:gd name="connsiteX1891" fmla="*/ 2954 w 10354"/>
                  <a:gd name="connsiteY1891" fmla="*/ 3402 h 10000"/>
                  <a:gd name="connsiteX1892" fmla="*/ 2954 w 10354"/>
                  <a:gd name="connsiteY1892" fmla="*/ 3393 h 10000"/>
                  <a:gd name="connsiteX1893" fmla="*/ 2949 w 10354"/>
                  <a:gd name="connsiteY1893" fmla="*/ 3376 h 10000"/>
                  <a:gd name="connsiteX1894" fmla="*/ 2949 w 10354"/>
                  <a:gd name="connsiteY1894" fmla="*/ 3342 h 10000"/>
                  <a:gd name="connsiteX1895" fmla="*/ 2949 w 10354"/>
                  <a:gd name="connsiteY1895" fmla="*/ 3316 h 10000"/>
                  <a:gd name="connsiteX1896" fmla="*/ 2968 w 10354"/>
                  <a:gd name="connsiteY1896" fmla="*/ 3291 h 10000"/>
                  <a:gd name="connsiteX1897" fmla="*/ 2963 w 10354"/>
                  <a:gd name="connsiteY1897" fmla="*/ 3205 h 10000"/>
                  <a:gd name="connsiteX1898" fmla="*/ 2968 w 10354"/>
                  <a:gd name="connsiteY1898" fmla="*/ 3171 h 10000"/>
                  <a:gd name="connsiteX1899" fmla="*/ 2968 w 10354"/>
                  <a:gd name="connsiteY1899" fmla="*/ 3128 h 10000"/>
                  <a:gd name="connsiteX1900" fmla="*/ 2954 w 10354"/>
                  <a:gd name="connsiteY1900" fmla="*/ 3051 h 10000"/>
                  <a:gd name="connsiteX1901" fmla="*/ 2954 w 10354"/>
                  <a:gd name="connsiteY1901" fmla="*/ 3009 h 10000"/>
                  <a:gd name="connsiteX1902" fmla="*/ 2922 w 10354"/>
                  <a:gd name="connsiteY1902" fmla="*/ 2940 h 10000"/>
                  <a:gd name="connsiteX1903" fmla="*/ 2903 w 10354"/>
                  <a:gd name="connsiteY1903" fmla="*/ 2880 h 10000"/>
                  <a:gd name="connsiteX1904" fmla="*/ 2903 w 10354"/>
                  <a:gd name="connsiteY1904" fmla="*/ 2855 h 10000"/>
                  <a:gd name="connsiteX1905" fmla="*/ 2908 w 10354"/>
                  <a:gd name="connsiteY1905" fmla="*/ 2846 h 10000"/>
                  <a:gd name="connsiteX1906" fmla="*/ 2931 w 10354"/>
                  <a:gd name="connsiteY1906" fmla="*/ 2821 h 10000"/>
                  <a:gd name="connsiteX1907" fmla="*/ 2931 w 10354"/>
                  <a:gd name="connsiteY1907" fmla="*/ 2803 h 10000"/>
                  <a:gd name="connsiteX1908" fmla="*/ 2935 w 10354"/>
                  <a:gd name="connsiteY1908" fmla="*/ 2786 h 10000"/>
                  <a:gd name="connsiteX1909" fmla="*/ 2935 w 10354"/>
                  <a:gd name="connsiteY1909" fmla="*/ 2744 h 10000"/>
                  <a:gd name="connsiteX1910" fmla="*/ 2963 w 10354"/>
                  <a:gd name="connsiteY1910" fmla="*/ 2607 h 10000"/>
                  <a:gd name="connsiteX1911" fmla="*/ 2963 w 10354"/>
                  <a:gd name="connsiteY1911" fmla="*/ 2419 h 10000"/>
                  <a:gd name="connsiteX1912" fmla="*/ 2954 w 10354"/>
                  <a:gd name="connsiteY1912" fmla="*/ 2410 h 10000"/>
                  <a:gd name="connsiteX1913" fmla="*/ 2963 w 10354"/>
                  <a:gd name="connsiteY1913" fmla="*/ 2393 h 10000"/>
                  <a:gd name="connsiteX1914" fmla="*/ 2908 w 10354"/>
                  <a:gd name="connsiteY1914" fmla="*/ 2359 h 10000"/>
                  <a:gd name="connsiteX1915" fmla="*/ 2889 w 10354"/>
                  <a:gd name="connsiteY1915" fmla="*/ 2325 h 10000"/>
                  <a:gd name="connsiteX1916" fmla="*/ 2788 w 10354"/>
                  <a:gd name="connsiteY1916" fmla="*/ 2333 h 10000"/>
                  <a:gd name="connsiteX1917" fmla="*/ 2774 w 10354"/>
                  <a:gd name="connsiteY1917" fmla="*/ 2325 h 10000"/>
                  <a:gd name="connsiteX1918" fmla="*/ 2783 w 10354"/>
                  <a:gd name="connsiteY1918" fmla="*/ 2308 h 10000"/>
                  <a:gd name="connsiteX1919" fmla="*/ 2747 w 10354"/>
                  <a:gd name="connsiteY1919" fmla="*/ 2308 h 10000"/>
                  <a:gd name="connsiteX1920" fmla="*/ 2742 w 10354"/>
                  <a:gd name="connsiteY1920" fmla="*/ 2333 h 10000"/>
                  <a:gd name="connsiteX1921" fmla="*/ 2682 w 10354"/>
                  <a:gd name="connsiteY1921" fmla="*/ 2769 h 10000"/>
                  <a:gd name="connsiteX1922" fmla="*/ 2613 w 10354"/>
                  <a:gd name="connsiteY1922" fmla="*/ 2940 h 10000"/>
                  <a:gd name="connsiteX1923" fmla="*/ 2581 w 10354"/>
                  <a:gd name="connsiteY1923" fmla="*/ 2966 h 10000"/>
                  <a:gd name="connsiteX1924" fmla="*/ 2576 w 10354"/>
                  <a:gd name="connsiteY1924" fmla="*/ 3051 h 10000"/>
                  <a:gd name="connsiteX1925" fmla="*/ 2581 w 10354"/>
                  <a:gd name="connsiteY1925" fmla="*/ 3051 h 10000"/>
                  <a:gd name="connsiteX1926" fmla="*/ 2594 w 10354"/>
                  <a:gd name="connsiteY1926" fmla="*/ 3017 h 10000"/>
                  <a:gd name="connsiteX1927" fmla="*/ 2594 w 10354"/>
                  <a:gd name="connsiteY1927" fmla="*/ 3034 h 10000"/>
                  <a:gd name="connsiteX1928" fmla="*/ 2594 w 10354"/>
                  <a:gd name="connsiteY1928" fmla="*/ 3051 h 10000"/>
                  <a:gd name="connsiteX1929" fmla="*/ 2590 w 10354"/>
                  <a:gd name="connsiteY1929" fmla="*/ 3077 h 10000"/>
                  <a:gd name="connsiteX1930" fmla="*/ 2567 w 10354"/>
                  <a:gd name="connsiteY1930" fmla="*/ 3103 h 10000"/>
                  <a:gd name="connsiteX1931" fmla="*/ 2562 w 10354"/>
                  <a:gd name="connsiteY1931" fmla="*/ 3145 h 10000"/>
                  <a:gd name="connsiteX1932" fmla="*/ 2567 w 10354"/>
                  <a:gd name="connsiteY1932" fmla="*/ 3179 h 10000"/>
                  <a:gd name="connsiteX1933" fmla="*/ 2590 w 10354"/>
                  <a:gd name="connsiteY1933" fmla="*/ 3171 h 10000"/>
                  <a:gd name="connsiteX1934" fmla="*/ 2594 w 10354"/>
                  <a:gd name="connsiteY1934" fmla="*/ 3145 h 10000"/>
                  <a:gd name="connsiteX1935" fmla="*/ 2613 w 10354"/>
                  <a:gd name="connsiteY1935" fmla="*/ 3154 h 10000"/>
                  <a:gd name="connsiteX1936" fmla="*/ 2622 w 10354"/>
                  <a:gd name="connsiteY1936" fmla="*/ 3179 h 10000"/>
                  <a:gd name="connsiteX1937" fmla="*/ 2613 w 10354"/>
                  <a:gd name="connsiteY1937" fmla="*/ 3214 h 10000"/>
                  <a:gd name="connsiteX1938" fmla="*/ 2613 w 10354"/>
                  <a:gd name="connsiteY1938" fmla="*/ 3308 h 10000"/>
                  <a:gd name="connsiteX1939" fmla="*/ 2608 w 10354"/>
                  <a:gd name="connsiteY1939" fmla="*/ 3325 h 10000"/>
                  <a:gd name="connsiteX1940" fmla="*/ 2608 w 10354"/>
                  <a:gd name="connsiteY1940" fmla="*/ 3376 h 10000"/>
                  <a:gd name="connsiteX1941" fmla="*/ 2613 w 10354"/>
                  <a:gd name="connsiteY1941" fmla="*/ 3419 h 10000"/>
                  <a:gd name="connsiteX1942" fmla="*/ 2608 w 10354"/>
                  <a:gd name="connsiteY1942" fmla="*/ 3444 h 10000"/>
                  <a:gd name="connsiteX1943" fmla="*/ 2594 w 10354"/>
                  <a:gd name="connsiteY1943" fmla="*/ 3444 h 10000"/>
                  <a:gd name="connsiteX1944" fmla="*/ 2590 w 10354"/>
                  <a:gd name="connsiteY1944" fmla="*/ 3427 h 10000"/>
                  <a:gd name="connsiteX1945" fmla="*/ 2581 w 10354"/>
                  <a:gd name="connsiteY1945" fmla="*/ 3564 h 10000"/>
                  <a:gd name="connsiteX1946" fmla="*/ 2594 w 10354"/>
                  <a:gd name="connsiteY1946" fmla="*/ 3598 h 10000"/>
                  <a:gd name="connsiteX1947" fmla="*/ 2594 w 10354"/>
                  <a:gd name="connsiteY1947" fmla="*/ 3581 h 10000"/>
                  <a:gd name="connsiteX1948" fmla="*/ 2608 w 10354"/>
                  <a:gd name="connsiteY1948" fmla="*/ 3556 h 10000"/>
                  <a:gd name="connsiteX1949" fmla="*/ 2650 w 10354"/>
                  <a:gd name="connsiteY1949" fmla="*/ 3615 h 10000"/>
                  <a:gd name="connsiteX1950" fmla="*/ 2664 w 10354"/>
                  <a:gd name="connsiteY1950" fmla="*/ 3615 h 10000"/>
                  <a:gd name="connsiteX1951" fmla="*/ 2668 w 10354"/>
                  <a:gd name="connsiteY1951" fmla="*/ 3615 h 10000"/>
                  <a:gd name="connsiteX1952" fmla="*/ 2664 w 10354"/>
                  <a:gd name="connsiteY1952" fmla="*/ 3667 h 10000"/>
                  <a:gd name="connsiteX1953" fmla="*/ 2687 w 10354"/>
                  <a:gd name="connsiteY1953" fmla="*/ 3786 h 10000"/>
                  <a:gd name="connsiteX1954" fmla="*/ 2710 w 10354"/>
                  <a:gd name="connsiteY1954" fmla="*/ 3812 h 10000"/>
                  <a:gd name="connsiteX1955" fmla="*/ 2724 w 10354"/>
                  <a:gd name="connsiteY1955" fmla="*/ 3812 h 10000"/>
                  <a:gd name="connsiteX1956" fmla="*/ 2724 w 10354"/>
                  <a:gd name="connsiteY1956" fmla="*/ 3829 h 10000"/>
                  <a:gd name="connsiteX1957" fmla="*/ 2737 w 10354"/>
                  <a:gd name="connsiteY1957" fmla="*/ 3838 h 10000"/>
                  <a:gd name="connsiteX1958" fmla="*/ 2714 w 10354"/>
                  <a:gd name="connsiteY1958" fmla="*/ 3872 h 10000"/>
                  <a:gd name="connsiteX1959" fmla="*/ 2696 w 10354"/>
                  <a:gd name="connsiteY1959" fmla="*/ 4026 h 10000"/>
                  <a:gd name="connsiteX1960" fmla="*/ 2673 w 10354"/>
                  <a:gd name="connsiteY1960" fmla="*/ 4051 h 10000"/>
                  <a:gd name="connsiteX1961" fmla="*/ 2668 w 10354"/>
                  <a:gd name="connsiteY1961" fmla="*/ 4034 h 10000"/>
                  <a:gd name="connsiteX1962" fmla="*/ 2673 w 10354"/>
                  <a:gd name="connsiteY1962" fmla="*/ 4000 h 10000"/>
                  <a:gd name="connsiteX1963" fmla="*/ 2664 w 10354"/>
                  <a:gd name="connsiteY1963" fmla="*/ 3974 h 10000"/>
                  <a:gd name="connsiteX1964" fmla="*/ 2636 w 10354"/>
                  <a:gd name="connsiteY1964" fmla="*/ 3949 h 10000"/>
                  <a:gd name="connsiteX1965" fmla="*/ 2581 w 10354"/>
                  <a:gd name="connsiteY1965" fmla="*/ 3838 h 10000"/>
                  <a:gd name="connsiteX1966" fmla="*/ 2562 w 10354"/>
                  <a:gd name="connsiteY1966" fmla="*/ 3829 h 10000"/>
                  <a:gd name="connsiteX1967" fmla="*/ 2535 w 10354"/>
                  <a:gd name="connsiteY1967" fmla="*/ 3778 h 10000"/>
                  <a:gd name="connsiteX1968" fmla="*/ 2502 w 10354"/>
                  <a:gd name="connsiteY1968" fmla="*/ 3761 h 10000"/>
                  <a:gd name="connsiteX1969" fmla="*/ 2502 w 10354"/>
                  <a:gd name="connsiteY1969" fmla="*/ 3735 h 10000"/>
                  <a:gd name="connsiteX1970" fmla="*/ 2516 w 10354"/>
                  <a:gd name="connsiteY1970" fmla="*/ 3735 h 10000"/>
                  <a:gd name="connsiteX1971" fmla="*/ 2507 w 10354"/>
                  <a:gd name="connsiteY1971" fmla="*/ 3726 h 10000"/>
                  <a:gd name="connsiteX1972" fmla="*/ 2488 w 10354"/>
                  <a:gd name="connsiteY1972" fmla="*/ 3726 h 10000"/>
                  <a:gd name="connsiteX1973" fmla="*/ 2461 w 10354"/>
                  <a:gd name="connsiteY1973" fmla="*/ 3692 h 10000"/>
                  <a:gd name="connsiteX1974" fmla="*/ 2442 w 10354"/>
                  <a:gd name="connsiteY1974" fmla="*/ 3675 h 10000"/>
                  <a:gd name="connsiteX1975" fmla="*/ 2406 w 10354"/>
                  <a:gd name="connsiteY1975" fmla="*/ 3598 h 10000"/>
                  <a:gd name="connsiteX1976" fmla="*/ 2346 w 10354"/>
                  <a:gd name="connsiteY1976" fmla="*/ 3564 h 10000"/>
                  <a:gd name="connsiteX1977" fmla="*/ 2341 w 10354"/>
                  <a:gd name="connsiteY1977" fmla="*/ 3564 h 10000"/>
                  <a:gd name="connsiteX1978" fmla="*/ 2313 w 10354"/>
                  <a:gd name="connsiteY1978" fmla="*/ 3530 h 10000"/>
                  <a:gd name="connsiteX1979" fmla="*/ 2235 w 10354"/>
                  <a:gd name="connsiteY1979" fmla="*/ 3530 h 10000"/>
                  <a:gd name="connsiteX1980" fmla="*/ 2226 w 10354"/>
                  <a:gd name="connsiteY1980" fmla="*/ 3513 h 10000"/>
                  <a:gd name="connsiteX1981" fmla="*/ 2207 w 10354"/>
                  <a:gd name="connsiteY1981" fmla="*/ 3504 h 10000"/>
                  <a:gd name="connsiteX1982" fmla="*/ 2194 w 10354"/>
                  <a:gd name="connsiteY1982" fmla="*/ 3504 h 10000"/>
                  <a:gd name="connsiteX1983" fmla="*/ 2189 w 10354"/>
                  <a:gd name="connsiteY1983" fmla="*/ 3504 h 10000"/>
                  <a:gd name="connsiteX1984" fmla="*/ 2189 w 10354"/>
                  <a:gd name="connsiteY1984" fmla="*/ 3530 h 10000"/>
                  <a:gd name="connsiteX1985" fmla="*/ 2180 w 10354"/>
                  <a:gd name="connsiteY1985" fmla="*/ 3538 h 10000"/>
                  <a:gd name="connsiteX1986" fmla="*/ 2152 w 10354"/>
                  <a:gd name="connsiteY1986" fmla="*/ 3581 h 10000"/>
                  <a:gd name="connsiteX1987" fmla="*/ 2161 w 10354"/>
                  <a:gd name="connsiteY1987" fmla="*/ 3598 h 10000"/>
                  <a:gd name="connsiteX1988" fmla="*/ 2194 w 10354"/>
                  <a:gd name="connsiteY1988" fmla="*/ 3752 h 10000"/>
                  <a:gd name="connsiteX1989" fmla="*/ 2194 w 10354"/>
                  <a:gd name="connsiteY1989" fmla="*/ 3735 h 10000"/>
                  <a:gd name="connsiteX1990" fmla="*/ 2198 w 10354"/>
                  <a:gd name="connsiteY1990" fmla="*/ 3735 h 10000"/>
                  <a:gd name="connsiteX1991" fmla="*/ 2189 w 10354"/>
                  <a:gd name="connsiteY1991" fmla="*/ 3838 h 10000"/>
                  <a:gd name="connsiteX1992" fmla="*/ 2166 w 10354"/>
                  <a:gd name="connsiteY1992" fmla="*/ 3889 h 10000"/>
                  <a:gd name="connsiteX1993" fmla="*/ 2124 w 10354"/>
                  <a:gd name="connsiteY1993" fmla="*/ 3889 h 10000"/>
                  <a:gd name="connsiteX1994" fmla="*/ 2124 w 10354"/>
                  <a:gd name="connsiteY1994" fmla="*/ 3923 h 10000"/>
                  <a:gd name="connsiteX1995" fmla="*/ 2134 w 10354"/>
                  <a:gd name="connsiteY1995" fmla="*/ 3940 h 10000"/>
                  <a:gd name="connsiteX1996" fmla="*/ 2134 w 10354"/>
                  <a:gd name="connsiteY1996" fmla="*/ 3966 h 10000"/>
                  <a:gd name="connsiteX1997" fmla="*/ 2120 w 10354"/>
                  <a:gd name="connsiteY1997" fmla="*/ 4000 h 10000"/>
                  <a:gd name="connsiteX1998" fmla="*/ 2106 w 10354"/>
                  <a:gd name="connsiteY1998" fmla="*/ 4009 h 10000"/>
                  <a:gd name="connsiteX1999" fmla="*/ 2088 w 10354"/>
                  <a:gd name="connsiteY1999" fmla="*/ 4000 h 10000"/>
                  <a:gd name="connsiteX2000" fmla="*/ 2074 w 10354"/>
                  <a:gd name="connsiteY2000" fmla="*/ 3974 h 10000"/>
                  <a:gd name="connsiteX2001" fmla="*/ 2074 w 10354"/>
                  <a:gd name="connsiteY2001" fmla="*/ 3940 h 10000"/>
                  <a:gd name="connsiteX2002" fmla="*/ 2078 w 10354"/>
                  <a:gd name="connsiteY2002" fmla="*/ 3915 h 10000"/>
                  <a:gd name="connsiteX2003" fmla="*/ 2088 w 10354"/>
                  <a:gd name="connsiteY2003" fmla="*/ 3889 h 10000"/>
                  <a:gd name="connsiteX2004" fmla="*/ 2101 w 10354"/>
                  <a:gd name="connsiteY2004" fmla="*/ 3872 h 10000"/>
                  <a:gd name="connsiteX2005" fmla="*/ 2074 w 10354"/>
                  <a:gd name="connsiteY2005" fmla="*/ 3812 h 10000"/>
                  <a:gd name="connsiteX2006" fmla="*/ 2074 w 10354"/>
                  <a:gd name="connsiteY2006" fmla="*/ 3786 h 10000"/>
                  <a:gd name="connsiteX2007" fmla="*/ 2060 w 10354"/>
                  <a:gd name="connsiteY2007" fmla="*/ 3786 h 10000"/>
                  <a:gd name="connsiteX2008" fmla="*/ 2014 w 10354"/>
                  <a:gd name="connsiteY2008" fmla="*/ 3829 h 10000"/>
                  <a:gd name="connsiteX2009" fmla="*/ 2000 w 10354"/>
                  <a:gd name="connsiteY2009" fmla="*/ 3863 h 10000"/>
                  <a:gd name="connsiteX2010" fmla="*/ 1986 w 10354"/>
                  <a:gd name="connsiteY2010" fmla="*/ 3872 h 10000"/>
                  <a:gd name="connsiteX2011" fmla="*/ 1959 w 10354"/>
                  <a:gd name="connsiteY2011" fmla="*/ 3940 h 10000"/>
                  <a:gd name="connsiteX2012" fmla="*/ 1945 w 10354"/>
                  <a:gd name="connsiteY2012" fmla="*/ 3949 h 10000"/>
                  <a:gd name="connsiteX2013" fmla="*/ 1940 w 10354"/>
                  <a:gd name="connsiteY2013" fmla="*/ 3923 h 10000"/>
                  <a:gd name="connsiteX2014" fmla="*/ 1917 w 10354"/>
                  <a:gd name="connsiteY2014" fmla="*/ 3915 h 10000"/>
                  <a:gd name="connsiteX2015" fmla="*/ 1899 w 10354"/>
                  <a:gd name="connsiteY2015" fmla="*/ 3923 h 10000"/>
                  <a:gd name="connsiteX2016" fmla="*/ 1880 w 10354"/>
                  <a:gd name="connsiteY2016" fmla="*/ 3915 h 10000"/>
                  <a:gd name="connsiteX2017" fmla="*/ 1853 w 10354"/>
                  <a:gd name="connsiteY2017" fmla="*/ 3940 h 10000"/>
                  <a:gd name="connsiteX2018" fmla="*/ 1839 w 10354"/>
                  <a:gd name="connsiteY2018" fmla="*/ 3940 h 10000"/>
                  <a:gd name="connsiteX2019" fmla="*/ 1806 w 10354"/>
                  <a:gd name="connsiteY2019" fmla="*/ 3983 h 10000"/>
                  <a:gd name="connsiteX2020" fmla="*/ 1806 w 10354"/>
                  <a:gd name="connsiteY2020" fmla="*/ 4000 h 10000"/>
                  <a:gd name="connsiteX2021" fmla="*/ 1797 w 10354"/>
                  <a:gd name="connsiteY2021" fmla="*/ 4077 h 10000"/>
                  <a:gd name="connsiteX2022" fmla="*/ 1783 w 10354"/>
                  <a:gd name="connsiteY2022" fmla="*/ 4077 h 10000"/>
                  <a:gd name="connsiteX2023" fmla="*/ 1779 w 10354"/>
                  <a:gd name="connsiteY2023" fmla="*/ 4051 h 10000"/>
                  <a:gd name="connsiteX2024" fmla="*/ 1765 w 10354"/>
                  <a:gd name="connsiteY2024" fmla="*/ 4026 h 10000"/>
                  <a:gd name="connsiteX2025" fmla="*/ 1751 w 10354"/>
                  <a:gd name="connsiteY2025" fmla="*/ 4051 h 10000"/>
                  <a:gd name="connsiteX2026" fmla="*/ 1737 w 10354"/>
                  <a:gd name="connsiteY2026" fmla="*/ 4009 h 10000"/>
                  <a:gd name="connsiteX2027" fmla="*/ 1737 w 10354"/>
                  <a:gd name="connsiteY2027" fmla="*/ 3966 h 10000"/>
                  <a:gd name="connsiteX2028" fmla="*/ 1733 w 10354"/>
                  <a:gd name="connsiteY2028" fmla="*/ 3940 h 10000"/>
                  <a:gd name="connsiteX2029" fmla="*/ 1733 w 10354"/>
                  <a:gd name="connsiteY2029" fmla="*/ 3923 h 10000"/>
                  <a:gd name="connsiteX2030" fmla="*/ 1747 w 10354"/>
                  <a:gd name="connsiteY2030" fmla="*/ 3889 h 10000"/>
                  <a:gd name="connsiteX2031" fmla="*/ 1747 w 10354"/>
                  <a:gd name="connsiteY2031" fmla="*/ 3863 h 10000"/>
                  <a:gd name="connsiteX2032" fmla="*/ 1737 w 10354"/>
                  <a:gd name="connsiteY2032" fmla="*/ 3838 h 10000"/>
                  <a:gd name="connsiteX2033" fmla="*/ 1733 w 10354"/>
                  <a:gd name="connsiteY2033" fmla="*/ 3829 h 10000"/>
                  <a:gd name="connsiteX2034" fmla="*/ 1733 w 10354"/>
                  <a:gd name="connsiteY2034" fmla="*/ 3846 h 10000"/>
                  <a:gd name="connsiteX2035" fmla="*/ 1724 w 10354"/>
                  <a:gd name="connsiteY2035" fmla="*/ 3846 h 10000"/>
                  <a:gd name="connsiteX2036" fmla="*/ 1724 w 10354"/>
                  <a:gd name="connsiteY2036" fmla="*/ 3829 h 10000"/>
                  <a:gd name="connsiteX2037" fmla="*/ 1737 w 10354"/>
                  <a:gd name="connsiteY2037" fmla="*/ 3812 h 10000"/>
                  <a:gd name="connsiteX2038" fmla="*/ 1765 w 10354"/>
                  <a:gd name="connsiteY2038" fmla="*/ 3812 h 10000"/>
                  <a:gd name="connsiteX2039" fmla="*/ 1779 w 10354"/>
                  <a:gd name="connsiteY2039" fmla="*/ 3786 h 10000"/>
                  <a:gd name="connsiteX2040" fmla="*/ 1779 w 10354"/>
                  <a:gd name="connsiteY2040" fmla="*/ 3786 h 10000"/>
                  <a:gd name="connsiteX2041" fmla="*/ 1751 w 10354"/>
                  <a:gd name="connsiteY2041" fmla="*/ 3803 h 10000"/>
                  <a:gd name="connsiteX2042" fmla="*/ 1747 w 10354"/>
                  <a:gd name="connsiteY2042" fmla="*/ 3803 h 10000"/>
                  <a:gd name="connsiteX2043" fmla="*/ 1724 w 10354"/>
                  <a:gd name="connsiteY2043" fmla="*/ 3803 h 10000"/>
                  <a:gd name="connsiteX2044" fmla="*/ 1700 w 10354"/>
                  <a:gd name="connsiteY2044" fmla="*/ 3829 h 10000"/>
                  <a:gd name="connsiteX2045" fmla="*/ 1705 w 10354"/>
                  <a:gd name="connsiteY2045" fmla="*/ 3846 h 10000"/>
                  <a:gd name="connsiteX2046" fmla="*/ 1691 w 10354"/>
                  <a:gd name="connsiteY2046" fmla="*/ 3846 h 10000"/>
                  <a:gd name="connsiteX2047" fmla="*/ 1691 w 10354"/>
                  <a:gd name="connsiteY2047" fmla="*/ 3863 h 10000"/>
                  <a:gd name="connsiteX2048" fmla="*/ 1691 w 10354"/>
                  <a:gd name="connsiteY2048" fmla="*/ 3915 h 10000"/>
                  <a:gd name="connsiteX2049" fmla="*/ 1677 w 10354"/>
                  <a:gd name="connsiteY2049" fmla="*/ 3923 h 10000"/>
                  <a:gd name="connsiteX2050" fmla="*/ 1673 w 10354"/>
                  <a:gd name="connsiteY2050" fmla="*/ 3915 h 10000"/>
                  <a:gd name="connsiteX2051" fmla="*/ 1664 w 10354"/>
                  <a:gd name="connsiteY2051" fmla="*/ 3889 h 10000"/>
                  <a:gd name="connsiteX2052" fmla="*/ 1673 w 10354"/>
                  <a:gd name="connsiteY2052" fmla="*/ 3872 h 10000"/>
                  <a:gd name="connsiteX2053" fmla="*/ 1664 w 10354"/>
                  <a:gd name="connsiteY2053" fmla="*/ 3872 h 10000"/>
                  <a:gd name="connsiteX2054" fmla="*/ 1636 w 10354"/>
                  <a:gd name="connsiteY2054" fmla="*/ 3923 h 10000"/>
                  <a:gd name="connsiteX2055" fmla="*/ 1645 w 10354"/>
                  <a:gd name="connsiteY2055" fmla="*/ 3923 h 10000"/>
                  <a:gd name="connsiteX2056" fmla="*/ 1650 w 10354"/>
                  <a:gd name="connsiteY2056" fmla="*/ 3949 h 10000"/>
                  <a:gd name="connsiteX2057" fmla="*/ 1650 w 10354"/>
                  <a:gd name="connsiteY2057" fmla="*/ 3983 h 10000"/>
                  <a:gd name="connsiteX2058" fmla="*/ 1636 w 10354"/>
                  <a:gd name="connsiteY2058" fmla="*/ 4000 h 10000"/>
                  <a:gd name="connsiteX2059" fmla="*/ 1631 w 10354"/>
                  <a:gd name="connsiteY2059" fmla="*/ 4009 h 10000"/>
                  <a:gd name="connsiteX2060" fmla="*/ 1618 w 10354"/>
                  <a:gd name="connsiteY2060" fmla="*/ 3949 h 10000"/>
                  <a:gd name="connsiteX2061" fmla="*/ 1585 w 10354"/>
                  <a:gd name="connsiteY2061" fmla="*/ 3966 h 10000"/>
                  <a:gd name="connsiteX2062" fmla="*/ 1590 w 10354"/>
                  <a:gd name="connsiteY2062" fmla="*/ 3974 h 10000"/>
                  <a:gd name="connsiteX2063" fmla="*/ 1544 w 10354"/>
                  <a:gd name="connsiteY2063" fmla="*/ 4009 h 10000"/>
                  <a:gd name="connsiteX2064" fmla="*/ 1539 w 10354"/>
                  <a:gd name="connsiteY2064" fmla="*/ 4009 h 10000"/>
                  <a:gd name="connsiteX2065" fmla="*/ 1410 w 10354"/>
                  <a:gd name="connsiteY2065" fmla="*/ 4188 h 10000"/>
                  <a:gd name="connsiteX2066" fmla="*/ 1406 w 10354"/>
                  <a:gd name="connsiteY2066" fmla="*/ 4171 h 10000"/>
                  <a:gd name="connsiteX2067" fmla="*/ 1396 w 10354"/>
                  <a:gd name="connsiteY2067" fmla="*/ 4214 h 10000"/>
                  <a:gd name="connsiteX2068" fmla="*/ 1406 w 10354"/>
                  <a:gd name="connsiteY2068" fmla="*/ 4222 h 10000"/>
                  <a:gd name="connsiteX2069" fmla="*/ 1392 w 10354"/>
                  <a:gd name="connsiteY2069" fmla="*/ 4239 h 10000"/>
                  <a:gd name="connsiteX2070" fmla="*/ 1369 w 10354"/>
                  <a:gd name="connsiteY2070" fmla="*/ 4248 h 10000"/>
                  <a:gd name="connsiteX2071" fmla="*/ 1355 w 10354"/>
                  <a:gd name="connsiteY2071" fmla="*/ 4256 h 10000"/>
                  <a:gd name="connsiteX2072" fmla="*/ 1350 w 10354"/>
                  <a:gd name="connsiteY2072" fmla="*/ 4248 h 10000"/>
                  <a:gd name="connsiteX2073" fmla="*/ 1332 w 10354"/>
                  <a:gd name="connsiteY2073" fmla="*/ 4376 h 10000"/>
                  <a:gd name="connsiteX2074" fmla="*/ 1332 w 10354"/>
                  <a:gd name="connsiteY2074" fmla="*/ 4436 h 10000"/>
                  <a:gd name="connsiteX2075" fmla="*/ 1323 w 10354"/>
                  <a:gd name="connsiteY2075" fmla="*/ 4462 h 10000"/>
                  <a:gd name="connsiteX2076" fmla="*/ 1304 w 10354"/>
                  <a:gd name="connsiteY2076" fmla="*/ 4487 h 10000"/>
                  <a:gd name="connsiteX2077" fmla="*/ 1290 w 10354"/>
                  <a:gd name="connsiteY2077" fmla="*/ 4470 h 10000"/>
                  <a:gd name="connsiteX2078" fmla="*/ 1263 w 10354"/>
                  <a:gd name="connsiteY2078" fmla="*/ 4496 h 10000"/>
                  <a:gd name="connsiteX2079" fmla="*/ 1258 w 10354"/>
                  <a:gd name="connsiteY2079" fmla="*/ 4547 h 10000"/>
                  <a:gd name="connsiteX2080" fmla="*/ 1249 w 10354"/>
                  <a:gd name="connsiteY2080" fmla="*/ 4487 h 10000"/>
                  <a:gd name="connsiteX2081" fmla="*/ 1235 w 10354"/>
                  <a:gd name="connsiteY2081" fmla="*/ 4496 h 10000"/>
                  <a:gd name="connsiteX2082" fmla="*/ 1221 w 10354"/>
                  <a:gd name="connsiteY2082" fmla="*/ 4496 h 10000"/>
                  <a:gd name="connsiteX2083" fmla="*/ 1217 w 10354"/>
                  <a:gd name="connsiteY2083" fmla="*/ 4487 h 10000"/>
                  <a:gd name="connsiteX2084" fmla="*/ 1198 w 10354"/>
                  <a:gd name="connsiteY2084" fmla="*/ 4410 h 10000"/>
                  <a:gd name="connsiteX2085" fmla="*/ 1157 w 10354"/>
                  <a:gd name="connsiteY2085" fmla="*/ 4333 h 10000"/>
                  <a:gd name="connsiteX2086" fmla="*/ 1147 w 10354"/>
                  <a:gd name="connsiteY2086" fmla="*/ 4299 h 10000"/>
                  <a:gd name="connsiteX2087" fmla="*/ 1147 w 10354"/>
                  <a:gd name="connsiteY2087" fmla="*/ 4274 h 10000"/>
                  <a:gd name="connsiteX2088" fmla="*/ 1161 w 10354"/>
                  <a:gd name="connsiteY2088" fmla="*/ 4256 h 10000"/>
                  <a:gd name="connsiteX2089" fmla="*/ 1171 w 10354"/>
                  <a:gd name="connsiteY2089" fmla="*/ 4248 h 10000"/>
                  <a:gd name="connsiteX2090" fmla="*/ 1175 w 10354"/>
                  <a:gd name="connsiteY2090" fmla="*/ 4214 h 10000"/>
                  <a:gd name="connsiteX2091" fmla="*/ 1263 w 10354"/>
                  <a:gd name="connsiteY2091" fmla="*/ 4171 h 10000"/>
                  <a:gd name="connsiteX2092" fmla="*/ 1249 w 10354"/>
                  <a:gd name="connsiteY2092" fmla="*/ 4137 h 10000"/>
                  <a:gd name="connsiteX2093" fmla="*/ 1244 w 10354"/>
                  <a:gd name="connsiteY2093" fmla="*/ 4060 h 10000"/>
                  <a:gd name="connsiteX2094" fmla="*/ 1230 w 10354"/>
                  <a:gd name="connsiteY2094" fmla="*/ 4077 h 10000"/>
                  <a:gd name="connsiteX2095" fmla="*/ 1221 w 10354"/>
                  <a:gd name="connsiteY2095" fmla="*/ 4026 h 10000"/>
                  <a:gd name="connsiteX2096" fmla="*/ 1217 w 10354"/>
                  <a:gd name="connsiteY2096" fmla="*/ 4026 h 10000"/>
                  <a:gd name="connsiteX2097" fmla="*/ 1212 w 10354"/>
                  <a:gd name="connsiteY2097" fmla="*/ 3983 h 10000"/>
                  <a:gd name="connsiteX2098" fmla="*/ 1203 w 10354"/>
                  <a:gd name="connsiteY2098" fmla="*/ 3966 h 10000"/>
                  <a:gd name="connsiteX2099" fmla="*/ 1171 w 10354"/>
                  <a:gd name="connsiteY2099" fmla="*/ 3949 h 10000"/>
                  <a:gd name="connsiteX2100" fmla="*/ 1111 w 10354"/>
                  <a:gd name="connsiteY2100" fmla="*/ 3940 h 10000"/>
                  <a:gd name="connsiteX2101" fmla="*/ 1097 w 10354"/>
                  <a:gd name="connsiteY2101" fmla="*/ 3949 h 10000"/>
                  <a:gd name="connsiteX2102" fmla="*/ 1037 w 10354"/>
                  <a:gd name="connsiteY2102" fmla="*/ 3897 h 10000"/>
                  <a:gd name="connsiteX2103" fmla="*/ 1041 w 10354"/>
                  <a:gd name="connsiteY2103" fmla="*/ 3923 h 10000"/>
                  <a:gd name="connsiteX2104" fmla="*/ 1097 w 10354"/>
                  <a:gd name="connsiteY2104" fmla="*/ 4009 h 10000"/>
                  <a:gd name="connsiteX2105" fmla="*/ 1097 w 10354"/>
                  <a:gd name="connsiteY2105" fmla="*/ 4120 h 10000"/>
                  <a:gd name="connsiteX2106" fmla="*/ 1097 w 10354"/>
                  <a:gd name="connsiteY2106" fmla="*/ 4162 h 10000"/>
                  <a:gd name="connsiteX2107" fmla="*/ 1097 w 10354"/>
                  <a:gd name="connsiteY2107" fmla="*/ 4197 h 10000"/>
                  <a:gd name="connsiteX2108" fmla="*/ 1074 w 10354"/>
                  <a:gd name="connsiteY2108" fmla="*/ 4333 h 10000"/>
                  <a:gd name="connsiteX2109" fmla="*/ 1074 w 10354"/>
                  <a:gd name="connsiteY2109" fmla="*/ 4376 h 10000"/>
                  <a:gd name="connsiteX2110" fmla="*/ 1083 w 10354"/>
                  <a:gd name="connsiteY2110" fmla="*/ 4385 h 10000"/>
                  <a:gd name="connsiteX2111" fmla="*/ 1097 w 10354"/>
                  <a:gd name="connsiteY2111" fmla="*/ 4385 h 10000"/>
                  <a:gd name="connsiteX2112" fmla="*/ 1111 w 10354"/>
                  <a:gd name="connsiteY2112" fmla="*/ 4410 h 10000"/>
                  <a:gd name="connsiteX2113" fmla="*/ 1124 w 10354"/>
                  <a:gd name="connsiteY2113" fmla="*/ 4444 h 10000"/>
                  <a:gd name="connsiteX2114" fmla="*/ 1124 w 10354"/>
                  <a:gd name="connsiteY2114" fmla="*/ 4470 h 10000"/>
                  <a:gd name="connsiteX2115" fmla="*/ 1115 w 10354"/>
                  <a:gd name="connsiteY2115" fmla="*/ 4513 h 10000"/>
                  <a:gd name="connsiteX2116" fmla="*/ 1115 w 10354"/>
                  <a:gd name="connsiteY2116" fmla="*/ 4530 h 10000"/>
                  <a:gd name="connsiteX2117" fmla="*/ 1115 w 10354"/>
                  <a:gd name="connsiteY2117" fmla="*/ 4573 h 10000"/>
                  <a:gd name="connsiteX2118" fmla="*/ 1101 w 10354"/>
                  <a:gd name="connsiteY2118" fmla="*/ 4607 h 10000"/>
                  <a:gd name="connsiteX2119" fmla="*/ 1097 w 10354"/>
                  <a:gd name="connsiteY2119" fmla="*/ 4658 h 10000"/>
                  <a:gd name="connsiteX2120" fmla="*/ 1101 w 10354"/>
                  <a:gd name="connsiteY2120" fmla="*/ 4692 h 10000"/>
                  <a:gd name="connsiteX2121" fmla="*/ 1097 w 10354"/>
                  <a:gd name="connsiteY2121" fmla="*/ 4778 h 10000"/>
                  <a:gd name="connsiteX2122" fmla="*/ 1083 w 10354"/>
                  <a:gd name="connsiteY2122" fmla="*/ 4744 h 10000"/>
                  <a:gd name="connsiteX2123" fmla="*/ 1083 w 10354"/>
                  <a:gd name="connsiteY2123" fmla="*/ 4718 h 10000"/>
                  <a:gd name="connsiteX2124" fmla="*/ 1074 w 10354"/>
                  <a:gd name="connsiteY2124" fmla="*/ 4692 h 10000"/>
                  <a:gd name="connsiteX2125" fmla="*/ 1065 w 10354"/>
                  <a:gd name="connsiteY2125" fmla="*/ 4692 h 10000"/>
                  <a:gd name="connsiteX2126" fmla="*/ 1051 w 10354"/>
                  <a:gd name="connsiteY2126" fmla="*/ 4718 h 10000"/>
                  <a:gd name="connsiteX2127" fmla="*/ 1055 w 10354"/>
                  <a:gd name="connsiteY2127" fmla="*/ 4692 h 10000"/>
                  <a:gd name="connsiteX2128" fmla="*/ 1055 w 10354"/>
                  <a:gd name="connsiteY2128" fmla="*/ 4667 h 10000"/>
                  <a:gd name="connsiteX2129" fmla="*/ 1028 w 10354"/>
                  <a:gd name="connsiteY2129" fmla="*/ 4624 h 10000"/>
                  <a:gd name="connsiteX2130" fmla="*/ 1005 w 10354"/>
                  <a:gd name="connsiteY2130" fmla="*/ 4624 h 10000"/>
                  <a:gd name="connsiteX2131" fmla="*/ 977 w 10354"/>
                  <a:gd name="connsiteY2131" fmla="*/ 4581 h 10000"/>
                  <a:gd name="connsiteX2132" fmla="*/ 963 w 10354"/>
                  <a:gd name="connsiteY2132" fmla="*/ 4607 h 10000"/>
                  <a:gd name="connsiteX2133" fmla="*/ 963 w 10354"/>
                  <a:gd name="connsiteY2133" fmla="*/ 4632 h 10000"/>
                  <a:gd name="connsiteX2134" fmla="*/ 917 w 10354"/>
                  <a:gd name="connsiteY2134" fmla="*/ 4718 h 10000"/>
                  <a:gd name="connsiteX2135" fmla="*/ 889 w 10354"/>
                  <a:gd name="connsiteY2135" fmla="*/ 4744 h 10000"/>
                  <a:gd name="connsiteX2136" fmla="*/ 880 w 10354"/>
                  <a:gd name="connsiteY2136" fmla="*/ 4744 h 10000"/>
                  <a:gd name="connsiteX2137" fmla="*/ 862 w 10354"/>
                  <a:gd name="connsiteY2137" fmla="*/ 4769 h 10000"/>
                  <a:gd name="connsiteX2138" fmla="*/ 857 w 10354"/>
                  <a:gd name="connsiteY2138" fmla="*/ 4795 h 10000"/>
                  <a:gd name="connsiteX2139" fmla="*/ 829 w 10354"/>
                  <a:gd name="connsiteY2139" fmla="*/ 4846 h 10000"/>
                  <a:gd name="connsiteX2140" fmla="*/ 816 w 10354"/>
                  <a:gd name="connsiteY2140" fmla="*/ 4855 h 10000"/>
                  <a:gd name="connsiteX2141" fmla="*/ 816 w 10354"/>
                  <a:gd name="connsiteY2141" fmla="*/ 4940 h 10000"/>
                  <a:gd name="connsiteX2142" fmla="*/ 880 w 10354"/>
                  <a:gd name="connsiteY2142" fmla="*/ 5179 h 10000"/>
                  <a:gd name="connsiteX2143" fmla="*/ 880 w 10354"/>
                  <a:gd name="connsiteY2143" fmla="*/ 5188 h 10000"/>
                  <a:gd name="connsiteX2144" fmla="*/ 862 w 10354"/>
                  <a:gd name="connsiteY2144" fmla="*/ 5171 h 10000"/>
                  <a:gd name="connsiteX2145" fmla="*/ 857 w 10354"/>
                  <a:gd name="connsiteY2145" fmla="*/ 5171 h 10000"/>
                  <a:gd name="connsiteX2146" fmla="*/ 820 w 10354"/>
                  <a:gd name="connsiteY2146" fmla="*/ 5145 h 10000"/>
                  <a:gd name="connsiteX2147" fmla="*/ 820 w 10354"/>
                  <a:gd name="connsiteY2147" fmla="*/ 5154 h 10000"/>
                  <a:gd name="connsiteX2148" fmla="*/ 816 w 10354"/>
                  <a:gd name="connsiteY2148" fmla="*/ 5171 h 10000"/>
                  <a:gd name="connsiteX2149" fmla="*/ 783 w 10354"/>
                  <a:gd name="connsiteY2149" fmla="*/ 5145 h 10000"/>
                  <a:gd name="connsiteX2150" fmla="*/ 756 w 10354"/>
                  <a:gd name="connsiteY2150" fmla="*/ 5103 h 10000"/>
                  <a:gd name="connsiteX2151" fmla="*/ 742 w 10354"/>
                  <a:gd name="connsiteY2151" fmla="*/ 5103 h 10000"/>
                  <a:gd name="connsiteX2152" fmla="*/ 728 w 10354"/>
                  <a:gd name="connsiteY2152" fmla="*/ 5094 h 10000"/>
                  <a:gd name="connsiteX2153" fmla="*/ 710 w 10354"/>
                  <a:gd name="connsiteY2153" fmla="*/ 5120 h 10000"/>
                  <a:gd name="connsiteX2154" fmla="*/ 700 w 10354"/>
                  <a:gd name="connsiteY2154" fmla="*/ 5145 h 10000"/>
                  <a:gd name="connsiteX2155" fmla="*/ 696 w 10354"/>
                  <a:gd name="connsiteY2155" fmla="*/ 5103 h 10000"/>
                  <a:gd name="connsiteX2156" fmla="*/ 714 w 10354"/>
                  <a:gd name="connsiteY2156" fmla="*/ 5077 h 10000"/>
                  <a:gd name="connsiteX2157" fmla="*/ 682 w 10354"/>
                  <a:gd name="connsiteY2157" fmla="*/ 5068 h 10000"/>
                  <a:gd name="connsiteX2158" fmla="*/ 673 w 10354"/>
                  <a:gd name="connsiteY2158" fmla="*/ 5034 h 10000"/>
                  <a:gd name="connsiteX2159" fmla="*/ 636 w 10354"/>
                  <a:gd name="connsiteY2159" fmla="*/ 4991 h 10000"/>
                  <a:gd name="connsiteX2160" fmla="*/ 622 w 10354"/>
                  <a:gd name="connsiteY2160" fmla="*/ 4983 h 10000"/>
                  <a:gd name="connsiteX2161" fmla="*/ 622 w 10354"/>
                  <a:gd name="connsiteY2161" fmla="*/ 5034 h 10000"/>
                  <a:gd name="connsiteX2162" fmla="*/ 608 w 10354"/>
                  <a:gd name="connsiteY2162" fmla="*/ 5051 h 10000"/>
                  <a:gd name="connsiteX2163" fmla="*/ 594 w 10354"/>
                  <a:gd name="connsiteY2163" fmla="*/ 5068 h 10000"/>
                  <a:gd name="connsiteX2164" fmla="*/ 608 w 10354"/>
                  <a:gd name="connsiteY2164" fmla="*/ 5120 h 10000"/>
                  <a:gd name="connsiteX2165" fmla="*/ 613 w 10354"/>
                  <a:gd name="connsiteY2165" fmla="*/ 5128 h 10000"/>
                  <a:gd name="connsiteX2166" fmla="*/ 627 w 10354"/>
                  <a:gd name="connsiteY2166" fmla="*/ 5179 h 10000"/>
                  <a:gd name="connsiteX2167" fmla="*/ 650 w 10354"/>
                  <a:gd name="connsiteY2167" fmla="*/ 5214 h 10000"/>
                  <a:gd name="connsiteX2168" fmla="*/ 687 w 10354"/>
                  <a:gd name="connsiteY2168" fmla="*/ 5188 h 10000"/>
                  <a:gd name="connsiteX2169" fmla="*/ 700 w 10354"/>
                  <a:gd name="connsiteY2169" fmla="*/ 5325 h 10000"/>
                  <a:gd name="connsiteX2170" fmla="*/ 710 w 10354"/>
                  <a:gd name="connsiteY2170" fmla="*/ 5350 h 10000"/>
                  <a:gd name="connsiteX2171" fmla="*/ 687 w 10354"/>
                  <a:gd name="connsiteY2171" fmla="*/ 5325 h 10000"/>
                  <a:gd name="connsiteX2172" fmla="*/ 668 w 10354"/>
                  <a:gd name="connsiteY2172" fmla="*/ 5350 h 10000"/>
                  <a:gd name="connsiteX2173" fmla="*/ 668 w 10354"/>
                  <a:gd name="connsiteY2173" fmla="*/ 5368 h 10000"/>
                  <a:gd name="connsiteX2174" fmla="*/ 668 w 10354"/>
                  <a:gd name="connsiteY2174" fmla="*/ 5376 h 10000"/>
                  <a:gd name="connsiteX2175" fmla="*/ 581 w 10354"/>
                  <a:gd name="connsiteY2175" fmla="*/ 5316 h 10000"/>
                  <a:gd name="connsiteX2176" fmla="*/ 567 w 10354"/>
                  <a:gd name="connsiteY2176" fmla="*/ 5265 h 10000"/>
                  <a:gd name="connsiteX2177" fmla="*/ 562 w 10354"/>
                  <a:gd name="connsiteY2177" fmla="*/ 5256 h 10000"/>
                  <a:gd name="connsiteX2178" fmla="*/ 548 w 10354"/>
                  <a:gd name="connsiteY2178" fmla="*/ 5231 h 10000"/>
                  <a:gd name="connsiteX2179" fmla="*/ 535 w 10354"/>
                  <a:gd name="connsiteY2179" fmla="*/ 5214 h 10000"/>
                  <a:gd name="connsiteX2180" fmla="*/ 525 w 10354"/>
                  <a:gd name="connsiteY2180" fmla="*/ 5231 h 10000"/>
                  <a:gd name="connsiteX2181" fmla="*/ 521 w 10354"/>
                  <a:gd name="connsiteY2181" fmla="*/ 5231 h 10000"/>
                  <a:gd name="connsiteX2182" fmla="*/ 493 w 10354"/>
                  <a:gd name="connsiteY2182" fmla="*/ 5205 h 10000"/>
                  <a:gd name="connsiteX2183" fmla="*/ 488 w 10354"/>
                  <a:gd name="connsiteY2183" fmla="*/ 5179 h 10000"/>
                  <a:gd name="connsiteX2184" fmla="*/ 475 w 10354"/>
                  <a:gd name="connsiteY2184" fmla="*/ 5188 h 10000"/>
                  <a:gd name="connsiteX2185" fmla="*/ 475 w 10354"/>
                  <a:gd name="connsiteY2185" fmla="*/ 5171 h 10000"/>
                  <a:gd name="connsiteX2186" fmla="*/ 488 w 10354"/>
                  <a:gd name="connsiteY2186" fmla="*/ 5154 h 10000"/>
                  <a:gd name="connsiteX2187" fmla="*/ 488 w 10354"/>
                  <a:gd name="connsiteY2187" fmla="*/ 5068 h 10000"/>
                  <a:gd name="connsiteX2188" fmla="*/ 475 w 10354"/>
                  <a:gd name="connsiteY2188" fmla="*/ 5051 h 10000"/>
                  <a:gd name="connsiteX2189" fmla="*/ 475 w 10354"/>
                  <a:gd name="connsiteY2189" fmla="*/ 5017 h 10000"/>
                  <a:gd name="connsiteX2190" fmla="*/ 452 w 10354"/>
                  <a:gd name="connsiteY2190" fmla="*/ 4932 h 10000"/>
                  <a:gd name="connsiteX2191" fmla="*/ 461 w 10354"/>
                  <a:gd name="connsiteY2191" fmla="*/ 4915 h 10000"/>
                  <a:gd name="connsiteX2192" fmla="*/ 475 w 10354"/>
                  <a:gd name="connsiteY2192" fmla="*/ 4906 h 10000"/>
                  <a:gd name="connsiteX2193" fmla="*/ 479 w 10354"/>
                  <a:gd name="connsiteY2193" fmla="*/ 4803 h 10000"/>
                  <a:gd name="connsiteX2194" fmla="*/ 479 w 10354"/>
                  <a:gd name="connsiteY2194" fmla="*/ 4778 h 10000"/>
                  <a:gd name="connsiteX2195" fmla="*/ 475 w 10354"/>
                  <a:gd name="connsiteY2195" fmla="*/ 4761 h 10000"/>
                  <a:gd name="connsiteX2196" fmla="*/ 465 w 10354"/>
                  <a:gd name="connsiteY2196" fmla="*/ 4718 h 10000"/>
                  <a:gd name="connsiteX2197" fmla="*/ 461 w 10354"/>
                  <a:gd name="connsiteY2197" fmla="*/ 4709 h 10000"/>
                  <a:gd name="connsiteX2198" fmla="*/ 442 w 10354"/>
                  <a:gd name="connsiteY2198" fmla="*/ 4692 h 10000"/>
                  <a:gd name="connsiteX2199" fmla="*/ 433 w 10354"/>
                  <a:gd name="connsiteY2199" fmla="*/ 4667 h 10000"/>
                  <a:gd name="connsiteX2200" fmla="*/ 419 w 10354"/>
                  <a:gd name="connsiteY2200" fmla="*/ 4667 h 10000"/>
                  <a:gd name="connsiteX2201" fmla="*/ 401 w 10354"/>
                  <a:gd name="connsiteY2201" fmla="*/ 4658 h 10000"/>
                  <a:gd name="connsiteX2202" fmla="*/ 401 w 10354"/>
                  <a:gd name="connsiteY2202" fmla="*/ 4624 h 10000"/>
                  <a:gd name="connsiteX2203" fmla="*/ 401 w 10354"/>
                  <a:gd name="connsiteY2203" fmla="*/ 4607 h 10000"/>
                  <a:gd name="connsiteX2204" fmla="*/ 378 w 10354"/>
                  <a:gd name="connsiteY2204" fmla="*/ 4607 h 10000"/>
                  <a:gd name="connsiteX2205" fmla="*/ 341 w 10354"/>
                  <a:gd name="connsiteY2205" fmla="*/ 4530 h 10000"/>
                  <a:gd name="connsiteX2206" fmla="*/ 346 w 10354"/>
                  <a:gd name="connsiteY2206" fmla="*/ 4521 h 10000"/>
                  <a:gd name="connsiteX2207" fmla="*/ 332 w 10354"/>
                  <a:gd name="connsiteY2207" fmla="*/ 4487 h 10000"/>
                  <a:gd name="connsiteX2208" fmla="*/ 327 w 10354"/>
                  <a:gd name="connsiteY2208" fmla="*/ 4462 h 10000"/>
                  <a:gd name="connsiteX2209" fmla="*/ 313 w 10354"/>
                  <a:gd name="connsiteY2209" fmla="*/ 4436 h 10000"/>
                  <a:gd name="connsiteX2210" fmla="*/ 300 w 10354"/>
                  <a:gd name="connsiteY2210" fmla="*/ 4419 h 10000"/>
                  <a:gd name="connsiteX2211" fmla="*/ 309 w 10354"/>
                  <a:gd name="connsiteY2211" fmla="*/ 4393 h 10000"/>
                  <a:gd name="connsiteX2212" fmla="*/ 332 w 10354"/>
                  <a:gd name="connsiteY2212" fmla="*/ 4385 h 10000"/>
                  <a:gd name="connsiteX2213" fmla="*/ 355 w 10354"/>
                  <a:gd name="connsiteY2213" fmla="*/ 4419 h 10000"/>
                  <a:gd name="connsiteX2214" fmla="*/ 355 w 10354"/>
                  <a:gd name="connsiteY2214" fmla="*/ 4444 h 10000"/>
                  <a:gd name="connsiteX2215" fmla="*/ 369 w 10354"/>
                  <a:gd name="connsiteY2215" fmla="*/ 4470 h 10000"/>
                  <a:gd name="connsiteX2216" fmla="*/ 401 w 10354"/>
                  <a:gd name="connsiteY2216" fmla="*/ 4521 h 10000"/>
                  <a:gd name="connsiteX2217" fmla="*/ 406 w 10354"/>
                  <a:gd name="connsiteY2217" fmla="*/ 4513 h 10000"/>
                  <a:gd name="connsiteX2218" fmla="*/ 406 w 10354"/>
                  <a:gd name="connsiteY2218" fmla="*/ 4496 h 10000"/>
                  <a:gd name="connsiteX2219" fmla="*/ 419 w 10354"/>
                  <a:gd name="connsiteY2219" fmla="*/ 4521 h 10000"/>
                  <a:gd name="connsiteX2220" fmla="*/ 429 w 10354"/>
                  <a:gd name="connsiteY2220" fmla="*/ 4530 h 10000"/>
                  <a:gd name="connsiteX2221" fmla="*/ 433 w 10354"/>
                  <a:gd name="connsiteY2221" fmla="*/ 4521 h 10000"/>
                  <a:gd name="connsiteX2222" fmla="*/ 442 w 10354"/>
                  <a:gd name="connsiteY2222" fmla="*/ 4530 h 10000"/>
                  <a:gd name="connsiteX2223" fmla="*/ 447 w 10354"/>
                  <a:gd name="connsiteY2223" fmla="*/ 4521 h 10000"/>
                  <a:gd name="connsiteX2224" fmla="*/ 452 w 10354"/>
                  <a:gd name="connsiteY2224" fmla="*/ 4521 h 10000"/>
                  <a:gd name="connsiteX2225" fmla="*/ 461 w 10354"/>
                  <a:gd name="connsiteY2225" fmla="*/ 4573 h 10000"/>
                  <a:gd name="connsiteX2226" fmla="*/ 479 w 10354"/>
                  <a:gd name="connsiteY2226" fmla="*/ 4556 h 10000"/>
                  <a:gd name="connsiteX2227" fmla="*/ 502 w 10354"/>
                  <a:gd name="connsiteY2227" fmla="*/ 4573 h 10000"/>
                  <a:gd name="connsiteX2228" fmla="*/ 507 w 10354"/>
                  <a:gd name="connsiteY2228" fmla="*/ 4598 h 10000"/>
                  <a:gd name="connsiteX2229" fmla="*/ 525 w 10354"/>
                  <a:gd name="connsiteY2229" fmla="*/ 4598 h 10000"/>
                  <a:gd name="connsiteX2230" fmla="*/ 535 w 10354"/>
                  <a:gd name="connsiteY2230" fmla="*/ 4624 h 10000"/>
                  <a:gd name="connsiteX2231" fmla="*/ 594 w 10354"/>
                  <a:gd name="connsiteY2231" fmla="*/ 4658 h 10000"/>
                  <a:gd name="connsiteX2232" fmla="*/ 627 w 10354"/>
                  <a:gd name="connsiteY2232" fmla="*/ 4658 h 10000"/>
                  <a:gd name="connsiteX2233" fmla="*/ 654 w 10354"/>
                  <a:gd name="connsiteY2233" fmla="*/ 4684 h 10000"/>
                  <a:gd name="connsiteX2234" fmla="*/ 668 w 10354"/>
                  <a:gd name="connsiteY2234" fmla="*/ 4709 h 10000"/>
                  <a:gd name="connsiteX2235" fmla="*/ 747 w 10354"/>
                  <a:gd name="connsiteY2235" fmla="*/ 4718 h 10000"/>
                  <a:gd name="connsiteX2236" fmla="*/ 760 w 10354"/>
                  <a:gd name="connsiteY2236" fmla="*/ 4709 h 10000"/>
                  <a:gd name="connsiteX2237" fmla="*/ 774 w 10354"/>
                  <a:gd name="connsiteY2237" fmla="*/ 4692 h 10000"/>
                  <a:gd name="connsiteX2238" fmla="*/ 829 w 10354"/>
                  <a:gd name="connsiteY2238" fmla="*/ 4658 h 10000"/>
                  <a:gd name="connsiteX2239" fmla="*/ 903 w 10354"/>
                  <a:gd name="connsiteY2239" fmla="*/ 4496 h 10000"/>
                  <a:gd name="connsiteX2240" fmla="*/ 917 w 10354"/>
                  <a:gd name="connsiteY2240" fmla="*/ 4385 h 10000"/>
                  <a:gd name="connsiteX2241" fmla="*/ 903 w 10354"/>
                  <a:gd name="connsiteY2241" fmla="*/ 4376 h 10000"/>
                  <a:gd name="connsiteX2242" fmla="*/ 903 w 10354"/>
                  <a:gd name="connsiteY2242" fmla="*/ 4376 h 10000"/>
                  <a:gd name="connsiteX2243" fmla="*/ 889 w 10354"/>
                  <a:gd name="connsiteY2243" fmla="*/ 4239 h 10000"/>
                  <a:gd name="connsiteX2244" fmla="*/ 880 w 10354"/>
                  <a:gd name="connsiteY2244" fmla="*/ 4214 h 10000"/>
                  <a:gd name="connsiteX2245" fmla="*/ 862 w 10354"/>
                  <a:gd name="connsiteY2245" fmla="*/ 4188 h 10000"/>
                  <a:gd name="connsiteX2246" fmla="*/ 857 w 10354"/>
                  <a:gd name="connsiteY2246" fmla="*/ 4197 h 10000"/>
                  <a:gd name="connsiteX2247" fmla="*/ 848 w 10354"/>
                  <a:gd name="connsiteY2247" fmla="*/ 4188 h 10000"/>
                  <a:gd name="connsiteX2248" fmla="*/ 848 w 10354"/>
                  <a:gd name="connsiteY2248" fmla="*/ 4162 h 10000"/>
                  <a:gd name="connsiteX2249" fmla="*/ 829 w 10354"/>
                  <a:gd name="connsiteY2249" fmla="*/ 4120 h 10000"/>
                  <a:gd name="connsiteX2250" fmla="*/ 820 w 10354"/>
                  <a:gd name="connsiteY2250" fmla="*/ 4103 h 10000"/>
                  <a:gd name="connsiteX2251" fmla="*/ 806 w 10354"/>
                  <a:gd name="connsiteY2251" fmla="*/ 4077 h 10000"/>
                  <a:gd name="connsiteX2252" fmla="*/ 816 w 10354"/>
                  <a:gd name="connsiteY2252" fmla="*/ 4111 h 10000"/>
                  <a:gd name="connsiteX2253" fmla="*/ 802 w 10354"/>
                  <a:gd name="connsiteY2253" fmla="*/ 4111 h 10000"/>
                  <a:gd name="connsiteX2254" fmla="*/ 770 w 10354"/>
                  <a:gd name="connsiteY2254" fmla="*/ 4060 h 10000"/>
                  <a:gd name="connsiteX2255" fmla="*/ 760 w 10354"/>
                  <a:gd name="connsiteY2255" fmla="*/ 4077 h 10000"/>
                  <a:gd name="connsiteX2256" fmla="*/ 760 w 10354"/>
                  <a:gd name="connsiteY2256" fmla="*/ 4060 h 10000"/>
                  <a:gd name="connsiteX2257" fmla="*/ 756 w 10354"/>
                  <a:gd name="connsiteY2257" fmla="*/ 4034 h 10000"/>
                  <a:gd name="connsiteX2258" fmla="*/ 742 w 10354"/>
                  <a:gd name="connsiteY2258" fmla="*/ 4000 h 10000"/>
                  <a:gd name="connsiteX2259" fmla="*/ 747 w 10354"/>
                  <a:gd name="connsiteY2259" fmla="*/ 4034 h 10000"/>
                  <a:gd name="connsiteX2260" fmla="*/ 724 w 10354"/>
                  <a:gd name="connsiteY2260" fmla="*/ 4026 h 10000"/>
                  <a:gd name="connsiteX2261" fmla="*/ 714 w 10354"/>
                  <a:gd name="connsiteY2261" fmla="*/ 4000 h 10000"/>
                  <a:gd name="connsiteX2262" fmla="*/ 714 w 10354"/>
                  <a:gd name="connsiteY2262" fmla="*/ 3983 h 10000"/>
                  <a:gd name="connsiteX2263" fmla="*/ 553 w 10354"/>
                  <a:gd name="connsiteY2263" fmla="*/ 3726 h 10000"/>
                  <a:gd name="connsiteX2264" fmla="*/ 507 w 10354"/>
                  <a:gd name="connsiteY2264" fmla="*/ 3718 h 10000"/>
                  <a:gd name="connsiteX2265" fmla="*/ 516 w 10354"/>
                  <a:gd name="connsiteY2265" fmla="*/ 3726 h 10000"/>
                  <a:gd name="connsiteX2266" fmla="*/ 507 w 10354"/>
                  <a:gd name="connsiteY2266" fmla="*/ 3735 h 10000"/>
                  <a:gd name="connsiteX2267" fmla="*/ 502 w 10354"/>
                  <a:gd name="connsiteY2267" fmla="*/ 3735 h 10000"/>
                  <a:gd name="connsiteX2268" fmla="*/ 419 w 10354"/>
                  <a:gd name="connsiteY2268" fmla="*/ 3675 h 10000"/>
                  <a:gd name="connsiteX2269" fmla="*/ 419 w 10354"/>
                  <a:gd name="connsiteY2269" fmla="*/ 3692 h 10000"/>
                  <a:gd name="connsiteX2270" fmla="*/ 401 w 10354"/>
                  <a:gd name="connsiteY2270" fmla="*/ 3701 h 10000"/>
                  <a:gd name="connsiteX2271" fmla="*/ 387 w 10354"/>
                  <a:gd name="connsiteY2271" fmla="*/ 3718 h 10000"/>
                  <a:gd name="connsiteX2272" fmla="*/ 387 w 10354"/>
                  <a:gd name="connsiteY2272" fmla="*/ 3692 h 10000"/>
                  <a:gd name="connsiteX2273" fmla="*/ 378 w 10354"/>
                  <a:gd name="connsiteY2273" fmla="*/ 3675 h 10000"/>
                  <a:gd name="connsiteX2274" fmla="*/ 378 w 10354"/>
                  <a:gd name="connsiteY2274" fmla="*/ 3650 h 10000"/>
                  <a:gd name="connsiteX2275" fmla="*/ 378 w 10354"/>
                  <a:gd name="connsiteY2275" fmla="*/ 3650 h 10000"/>
                  <a:gd name="connsiteX2276" fmla="*/ 355 w 10354"/>
                  <a:gd name="connsiteY2276" fmla="*/ 3675 h 10000"/>
                  <a:gd name="connsiteX2277" fmla="*/ 359 w 10354"/>
                  <a:gd name="connsiteY2277" fmla="*/ 3641 h 10000"/>
                  <a:gd name="connsiteX2278" fmla="*/ 346 w 10354"/>
                  <a:gd name="connsiteY2278" fmla="*/ 3650 h 10000"/>
                  <a:gd name="connsiteX2279" fmla="*/ 355 w 10354"/>
                  <a:gd name="connsiteY2279" fmla="*/ 3624 h 10000"/>
                  <a:gd name="connsiteX2280" fmla="*/ 346 w 10354"/>
                  <a:gd name="connsiteY2280" fmla="*/ 3624 h 10000"/>
                  <a:gd name="connsiteX2281" fmla="*/ 341 w 10354"/>
                  <a:gd name="connsiteY2281" fmla="*/ 3624 h 10000"/>
                  <a:gd name="connsiteX2282" fmla="*/ 318 w 10354"/>
                  <a:gd name="connsiteY2282" fmla="*/ 3641 h 10000"/>
                  <a:gd name="connsiteX2283" fmla="*/ 327 w 10354"/>
                  <a:gd name="connsiteY2283" fmla="*/ 3624 h 10000"/>
                  <a:gd name="connsiteX2284" fmla="*/ 318 w 10354"/>
                  <a:gd name="connsiteY2284" fmla="*/ 3615 h 10000"/>
                  <a:gd name="connsiteX2285" fmla="*/ 318 w 10354"/>
                  <a:gd name="connsiteY2285" fmla="*/ 3598 h 10000"/>
                  <a:gd name="connsiteX2286" fmla="*/ 300 w 10354"/>
                  <a:gd name="connsiteY2286" fmla="*/ 3598 h 10000"/>
                  <a:gd name="connsiteX2287" fmla="*/ 309 w 10354"/>
                  <a:gd name="connsiteY2287" fmla="*/ 3538 h 10000"/>
                  <a:gd name="connsiteX2288" fmla="*/ 313 w 10354"/>
                  <a:gd name="connsiteY2288" fmla="*/ 3564 h 10000"/>
                  <a:gd name="connsiteX2289" fmla="*/ 318 w 10354"/>
                  <a:gd name="connsiteY2289" fmla="*/ 3581 h 10000"/>
                  <a:gd name="connsiteX2290" fmla="*/ 327 w 10354"/>
                  <a:gd name="connsiteY2290" fmla="*/ 3564 h 10000"/>
                  <a:gd name="connsiteX2291" fmla="*/ 332 w 10354"/>
                  <a:gd name="connsiteY2291" fmla="*/ 3590 h 10000"/>
                  <a:gd name="connsiteX2292" fmla="*/ 346 w 10354"/>
                  <a:gd name="connsiteY2292" fmla="*/ 3590 h 10000"/>
                  <a:gd name="connsiteX2293" fmla="*/ 355 w 10354"/>
                  <a:gd name="connsiteY2293" fmla="*/ 3590 h 10000"/>
                  <a:gd name="connsiteX2294" fmla="*/ 369 w 10354"/>
                  <a:gd name="connsiteY2294" fmla="*/ 3556 h 10000"/>
                  <a:gd name="connsiteX2295" fmla="*/ 369 w 10354"/>
                  <a:gd name="connsiteY2295" fmla="*/ 3538 h 10000"/>
                  <a:gd name="connsiteX2296" fmla="*/ 346 w 10354"/>
                  <a:gd name="connsiteY2296" fmla="*/ 3513 h 10000"/>
                  <a:gd name="connsiteX2297" fmla="*/ 341 w 10354"/>
                  <a:gd name="connsiteY2297" fmla="*/ 3530 h 10000"/>
                  <a:gd name="connsiteX2298" fmla="*/ 327 w 10354"/>
                  <a:gd name="connsiteY2298" fmla="*/ 3513 h 10000"/>
                  <a:gd name="connsiteX2299" fmla="*/ 327 w 10354"/>
                  <a:gd name="connsiteY2299" fmla="*/ 3504 h 10000"/>
                  <a:gd name="connsiteX2300" fmla="*/ 295 w 10354"/>
                  <a:gd name="connsiteY2300" fmla="*/ 3462 h 10000"/>
                  <a:gd name="connsiteX2301" fmla="*/ 300 w 10354"/>
                  <a:gd name="connsiteY2301" fmla="*/ 3479 h 10000"/>
                  <a:gd name="connsiteX2302" fmla="*/ 295 w 10354"/>
                  <a:gd name="connsiteY2302" fmla="*/ 3513 h 10000"/>
                  <a:gd name="connsiteX2303" fmla="*/ 286 w 10354"/>
                  <a:gd name="connsiteY2303" fmla="*/ 3513 h 10000"/>
                  <a:gd name="connsiteX2304" fmla="*/ 281 w 10354"/>
                  <a:gd name="connsiteY2304" fmla="*/ 3513 h 10000"/>
                  <a:gd name="connsiteX2305" fmla="*/ 281 w 10354"/>
                  <a:gd name="connsiteY2305" fmla="*/ 3530 h 10000"/>
                  <a:gd name="connsiteX2306" fmla="*/ 281 w 10354"/>
                  <a:gd name="connsiteY2306" fmla="*/ 3556 h 10000"/>
                  <a:gd name="connsiteX2307" fmla="*/ 272 w 10354"/>
                  <a:gd name="connsiteY2307" fmla="*/ 3564 h 10000"/>
                  <a:gd name="connsiteX2308" fmla="*/ 267 w 10354"/>
                  <a:gd name="connsiteY2308" fmla="*/ 3564 h 10000"/>
                  <a:gd name="connsiteX2309" fmla="*/ 253 w 10354"/>
                  <a:gd name="connsiteY2309" fmla="*/ 3538 h 10000"/>
                  <a:gd name="connsiteX2310" fmla="*/ 226 w 10354"/>
                  <a:gd name="connsiteY2310" fmla="*/ 3513 h 10000"/>
                  <a:gd name="connsiteX2311" fmla="*/ 226 w 10354"/>
                  <a:gd name="connsiteY2311" fmla="*/ 3530 h 10000"/>
                  <a:gd name="connsiteX2312" fmla="*/ 226 w 10354"/>
                  <a:gd name="connsiteY2312" fmla="*/ 3530 h 10000"/>
                  <a:gd name="connsiteX2313" fmla="*/ 226 w 10354"/>
                  <a:gd name="connsiteY2313" fmla="*/ 3530 h 10000"/>
                  <a:gd name="connsiteX2314" fmla="*/ 226 w 10354"/>
                  <a:gd name="connsiteY2314" fmla="*/ 3556 h 10000"/>
                  <a:gd name="connsiteX2315" fmla="*/ 221 w 10354"/>
                  <a:gd name="connsiteY2315" fmla="*/ 3598 h 10000"/>
                  <a:gd name="connsiteX2316" fmla="*/ 207 w 10354"/>
                  <a:gd name="connsiteY2316" fmla="*/ 3598 h 10000"/>
                  <a:gd name="connsiteX2317" fmla="*/ 180 w 10354"/>
                  <a:gd name="connsiteY2317" fmla="*/ 3581 h 10000"/>
                  <a:gd name="connsiteX2318" fmla="*/ 171 w 10354"/>
                  <a:gd name="connsiteY2318" fmla="*/ 3641 h 10000"/>
                  <a:gd name="connsiteX2319" fmla="*/ 166 w 10354"/>
                  <a:gd name="connsiteY2319" fmla="*/ 3650 h 10000"/>
                  <a:gd name="connsiteX2320" fmla="*/ 124 w 10354"/>
                  <a:gd name="connsiteY2320" fmla="*/ 3701 h 10000"/>
                  <a:gd name="connsiteX2321" fmla="*/ 124 w 10354"/>
                  <a:gd name="connsiteY2321" fmla="*/ 3718 h 10000"/>
                  <a:gd name="connsiteX2322" fmla="*/ 120 w 10354"/>
                  <a:gd name="connsiteY2322" fmla="*/ 3735 h 10000"/>
                  <a:gd name="connsiteX2323" fmla="*/ 120 w 10354"/>
                  <a:gd name="connsiteY2323" fmla="*/ 3735 h 10000"/>
                  <a:gd name="connsiteX2324" fmla="*/ 111 w 10354"/>
                  <a:gd name="connsiteY2324" fmla="*/ 3761 h 10000"/>
                  <a:gd name="connsiteX2325" fmla="*/ 106 w 10354"/>
                  <a:gd name="connsiteY2325" fmla="*/ 3761 h 10000"/>
                  <a:gd name="connsiteX2326" fmla="*/ 106 w 10354"/>
                  <a:gd name="connsiteY2326" fmla="*/ 3761 h 10000"/>
                  <a:gd name="connsiteX2327" fmla="*/ 74 w 10354"/>
                  <a:gd name="connsiteY2327" fmla="*/ 3829 h 10000"/>
                  <a:gd name="connsiteX2328" fmla="*/ 78 w 10354"/>
                  <a:gd name="connsiteY2328" fmla="*/ 3838 h 10000"/>
                  <a:gd name="connsiteX2329" fmla="*/ 88 w 10354"/>
                  <a:gd name="connsiteY2329" fmla="*/ 3846 h 10000"/>
                  <a:gd name="connsiteX2330" fmla="*/ 65 w 10354"/>
                  <a:gd name="connsiteY2330" fmla="*/ 3923 h 10000"/>
                  <a:gd name="connsiteX2331" fmla="*/ 78 w 10354"/>
                  <a:gd name="connsiteY2331" fmla="*/ 4026 h 10000"/>
                  <a:gd name="connsiteX2332" fmla="*/ 88 w 10354"/>
                  <a:gd name="connsiteY2332" fmla="*/ 4051 h 10000"/>
                  <a:gd name="connsiteX2333" fmla="*/ 92 w 10354"/>
                  <a:gd name="connsiteY2333" fmla="*/ 4060 h 10000"/>
                  <a:gd name="connsiteX2334" fmla="*/ 111 w 10354"/>
                  <a:gd name="connsiteY2334" fmla="*/ 4060 h 10000"/>
                  <a:gd name="connsiteX2335" fmla="*/ 124 w 10354"/>
                  <a:gd name="connsiteY2335" fmla="*/ 4085 h 10000"/>
                  <a:gd name="connsiteX2336" fmla="*/ 166 w 10354"/>
                  <a:gd name="connsiteY2336" fmla="*/ 4197 h 10000"/>
                  <a:gd name="connsiteX2337" fmla="*/ 166 w 10354"/>
                  <a:gd name="connsiteY2337" fmla="*/ 4248 h 10000"/>
                  <a:gd name="connsiteX2338" fmla="*/ 120 w 10354"/>
                  <a:gd name="connsiteY2338" fmla="*/ 4462 h 10000"/>
                  <a:gd name="connsiteX2339" fmla="*/ 120 w 10354"/>
                  <a:gd name="connsiteY2339" fmla="*/ 4513 h 10000"/>
                  <a:gd name="connsiteX2340" fmla="*/ 180 w 10354"/>
                  <a:gd name="connsiteY2340" fmla="*/ 4829 h 10000"/>
                  <a:gd name="connsiteX2341" fmla="*/ 161 w 10354"/>
                  <a:gd name="connsiteY2341" fmla="*/ 4855 h 10000"/>
                  <a:gd name="connsiteX2342" fmla="*/ 152 w 10354"/>
                  <a:gd name="connsiteY2342" fmla="*/ 4940 h 10000"/>
                  <a:gd name="connsiteX2343" fmla="*/ 161 w 10354"/>
                  <a:gd name="connsiteY2343" fmla="*/ 4966 h 10000"/>
                  <a:gd name="connsiteX2344" fmla="*/ 161 w 10354"/>
                  <a:gd name="connsiteY2344" fmla="*/ 5009 h 10000"/>
                  <a:gd name="connsiteX2345" fmla="*/ 152 w 10354"/>
                  <a:gd name="connsiteY2345" fmla="*/ 5034 h 10000"/>
                  <a:gd name="connsiteX2346" fmla="*/ 152 w 10354"/>
                  <a:gd name="connsiteY2346" fmla="*/ 5077 h 10000"/>
                  <a:gd name="connsiteX2347" fmla="*/ 171 w 10354"/>
                  <a:gd name="connsiteY2347" fmla="*/ 5094 h 10000"/>
                  <a:gd name="connsiteX2348" fmla="*/ 180 w 10354"/>
                  <a:gd name="connsiteY2348" fmla="*/ 5128 h 10000"/>
                  <a:gd name="connsiteX2349" fmla="*/ 180 w 10354"/>
                  <a:gd name="connsiteY2349" fmla="*/ 5171 h 10000"/>
                  <a:gd name="connsiteX2350" fmla="*/ 184 w 10354"/>
                  <a:gd name="connsiteY2350" fmla="*/ 5205 h 10000"/>
                  <a:gd name="connsiteX2351" fmla="*/ 207 w 10354"/>
                  <a:gd name="connsiteY2351" fmla="*/ 5239 h 10000"/>
                  <a:gd name="connsiteX2352" fmla="*/ 207 w 10354"/>
                  <a:gd name="connsiteY2352" fmla="*/ 5282 h 10000"/>
                  <a:gd name="connsiteX2353" fmla="*/ 180 w 10354"/>
                  <a:gd name="connsiteY2353" fmla="*/ 5393 h 10000"/>
                  <a:gd name="connsiteX2354" fmla="*/ 194 w 10354"/>
                  <a:gd name="connsiteY2354" fmla="*/ 5427 h 10000"/>
                  <a:gd name="connsiteX2355" fmla="*/ 198 w 10354"/>
                  <a:gd name="connsiteY2355" fmla="*/ 5462 h 10000"/>
                  <a:gd name="connsiteX2356" fmla="*/ 235 w 10354"/>
                  <a:gd name="connsiteY2356" fmla="*/ 5513 h 10000"/>
                  <a:gd name="connsiteX2357" fmla="*/ 240 w 10354"/>
                  <a:gd name="connsiteY2357" fmla="*/ 5556 h 10000"/>
                  <a:gd name="connsiteX2358" fmla="*/ 253 w 10354"/>
                  <a:gd name="connsiteY2358" fmla="*/ 5590 h 10000"/>
                  <a:gd name="connsiteX2359" fmla="*/ 258 w 10354"/>
                  <a:gd name="connsiteY2359" fmla="*/ 5573 h 10000"/>
                  <a:gd name="connsiteX2360" fmla="*/ 258 w 10354"/>
                  <a:gd name="connsiteY2360" fmla="*/ 5667 h 10000"/>
                  <a:gd name="connsiteX2361" fmla="*/ 14 w 10354"/>
                  <a:gd name="connsiteY2361" fmla="*/ 6214 h 10000"/>
                  <a:gd name="connsiteX2362" fmla="*/ 14 w 10354"/>
                  <a:gd name="connsiteY2362" fmla="*/ 6214 h 10000"/>
                  <a:gd name="connsiteX2363" fmla="*/ 37 w 10354"/>
                  <a:gd name="connsiteY2363" fmla="*/ 6214 h 10000"/>
                  <a:gd name="connsiteX2364" fmla="*/ 51 w 10354"/>
                  <a:gd name="connsiteY2364" fmla="*/ 6188 h 10000"/>
                  <a:gd name="connsiteX2365" fmla="*/ 78 w 10354"/>
                  <a:gd name="connsiteY2365" fmla="*/ 6162 h 10000"/>
                  <a:gd name="connsiteX2366" fmla="*/ 78 w 10354"/>
                  <a:gd name="connsiteY2366" fmla="*/ 6188 h 10000"/>
                  <a:gd name="connsiteX2367" fmla="*/ 74 w 10354"/>
                  <a:gd name="connsiteY2367" fmla="*/ 6197 h 10000"/>
                  <a:gd name="connsiteX2368" fmla="*/ 74 w 10354"/>
                  <a:gd name="connsiteY2368" fmla="*/ 6231 h 10000"/>
                  <a:gd name="connsiteX2369" fmla="*/ 74 w 10354"/>
                  <a:gd name="connsiteY2369" fmla="*/ 6214 h 10000"/>
                  <a:gd name="connsiteX2370" fmla="*/ 65 w 10354"/>
                  <a:gd name="connsiteY2370" fmla="*/ 6214 h 10000"/>
                  <a:gd name="connsiteX2371" fmla="*/ 65 w 10354"/>
                  <a:gd name="connsiteY2371" fmla="*/ 6248 h 10000"/>
                  <a:gd name="connsiteX2372" fmla="*/ 74 w 10354"/>
                  <a:gd name="connsiteY2372" fmla="*/ 6256 h 10000"/>
                  <a:gd name="connsiteX2373" fmla="*/ 78 w 10354"/>
                  <a:gd name="connsiteY2373" fmla="*/ 6256 h 10000"/>
                  <a:gd name="connsiteX2374" fmla="*/ 106 w 10354"/>
                  <a:gd name="connsiteY2374" fmla="*/ 6308 h 10000"/>
                  <a:gd name="connsiteX2375" fmla="*/ 138 w 10354"/>
                  <a:gd name="connsiteY2375" fmla="*/ 6299 h 10000"/>
                  <a:gd name="connsiteX2376" fmla="*/ 152 w 10354"/>
                  <a:gd name="connsiteY2376" fmla="*/ 6299 h 10000"/>
                  <a:gd name="connsiteX2377" fmla="*/ 166 w 10354"/>
                  <a:gd name="connsiteY2377" fmla="*/ 6325 h 10000"/>
                  <a:gd name="connsiteX2378" fmla="*/ 166 w 10354"/>
                  <a:gd name="connsiteY2378" fmla="*/ 6333 h 10000"/>
                  <a:gd name="connsiteX2379" fmla="*/ 171 w 10354"/>
                  <a:gd name="connsiteY2379" fmla="*/ 6350 h 10000"/>
                  <a:gd name="connsiteX2380" fmla="*/ 180 w 10354"/>
                  <a:gd name="connsiteY2380" fmla="*/ 6350 h 10000"/>
                  <a:gd name="connsiteX2381" fmla="*/ 180 w 10354"/>
                  <a:gd name="connsiteY2381" fmla="*/ 6359 h 10000"/>
                  <a:gd name="connsiteX2382" fmla="*/ 171 w 10354"/>
                  <a:gd name="connsiteY2382" fmla="*/ 6368 h 10000"/>
                  <a:gd name="connsiteX2383" fmla="*/ 106 w 10354"/>
                  <a:gd name="connsiteY2383" fmla="*/ 6350 h 10000"/>
                  <a:gd name="connsiteX2384" fmla="*/ 101 w 10354"/>
                  <a:gd name="connsiteY2384" fmla="*/ 6359 h 10000"/>
                  <a:gd name="connsiteX2385" fmla="*/ 101 w 10354"/>
                  <a:gd name="connsiteY2385" fmla="*/ 6385 h 10000"/>
                  <a:gd name="connsiteX2386" fmla="*/ 78 w 10354"/>
                  <a:gd name="connsiteY2386" fmla="*/ 6393 h 10000"/>
                  <a:gd name="connsiteX2387" fmla="*/ 74 w 10354"/>
                  <a:gd name="connsiteY2387" fmla="*/ 6385 h 10000"/>
                  <a:gd name="connsiteX2388" fmla="*/ 65 w 10354"/>
                  <a:gd name="connsiteY2388" fmla="*/ 6393 h 10000"/>
                  <a:gd name="connsiteX2389" fmla="*/ 60 w 10354"/>
                  <a:gd name="connsiteY2389" fmla="*/ 6419 h 10000"/>
                  <a:gd name="connsiteX2390" fmla="*/ 51 w 10354"/>
                  <a:gd name="connsiteY2390" fmla="*/ 6419 h 10000"/>
                  <a:gd name="connsiteX2391" fmla="*/ 46 w 10354"/>
                  <a:gd name="connsiteY2391" fmla="*/ 6410 h 10000"/>
                  <a:gd name="connsiteX2392" fmla="*/ 37 w 10354"/>
                  <a:gd name="connsiteY2392" fmla="*/ 6393 h 10000"/>
                  <a:gd name="connsiteX2393" fmla="*/ 32 w 10354"/>
                  <a:gd name="connsiteY2393" fmla="*/ 6419 h 10000"/>
                  <a:gd name="connsiteX2394" fmla="*/ 37 w 10354"/>
                  <a:gd name="connsiteY2394" fmla="*/ 6462 h 10000"/>
                  <a:gd name="connsiteX2395" fmla="*/ 46 w 10354"/>
                  <a:gd name="connsiteY2395" fmla="*/ 6462 h 10000"/>
                  <a:gd name="connsiteX2396" fmla="*/ 51 w 10354"/>
                  <a:gd name="connsiteY2396" fmla="*/ 6470 h 10000"/>
                  <a:gd name="connsiteX2397" fmla="*/ 51 w 10354"/>
                  <a:gd name="connsiteY2397" fmla="*/ 6496 h 10000"/>
                  <a:gd name="connsiteX2398" fmla="*/ 51 w 10354"/>
                  <a:gd name="connsiteY2398" fmla="*/ 6504 h 10000"/>
                  <a:gd name="connsiteX2399" fmla="*/ 37 w 10354"/>
                  <a:gd name="connsiteY2399" fmla="*/ 6530 h 10000"/>
                  <a:gd name="connsiteX2400" fmla="*/ 18 w 10354"/>
                  <a:gd name="connsiteY2400" fmla="*/ 6598 h 10000"/>
                  <a:gd name="connsiteX2401" fmla="*/ 28 w 10354"/>
                  <a:gd name="connsiteY2401" fmla="*/ 6632 h 10000"/>
                  <a:gd name="connsiteX2402" fmla="*/ 18 w 10354"/>
                  <a:gd name="connsiteY2402" fmla="*/ 6667 h 10000"/>
                  <a:gd name="connsiteX2403" fmla="*/ 28 w 10354"/>
                  <a:gd name="connsiteY2403" fmla="*/ 6692 h 10000"/>
                  <a:gd name="connsiteX2404" fmla="*/ 28 w 10354"/>
                  <a:gd name="connsiteY2404" fmla="*/ 6709 h 10000"/>
                  <a:gd name="connsiteX2405" fmla="*/ 18 w 10354"/>
                  <a:gd name="connsiteY2405" fmla="*/ 6718 h 10000"/>
                  <a:gd name="connsiteX2406" fmla="*/ 5 w 10354"/>
                  <a:gd name="connsiteY2406" fmla="*/ 6744 h 10000"/>
                  <a:gd name="connsiteX2407" fmla="*/ 0 w 10354"/>
                  <a:gd name="connsiteY2407" fmla="*/ 6769 h 10000"/>
                  <a:gd name="connsiteX2408" fmla="*/ 5 w 10354"/>
                  <a:gd name="connsiteY2408" fmla="*/ 6778 h 10000"/>
                  <a:gd name="connsiteX2409" fmla="*/ 32 w 10354"/>
                  <a:gd name="connsiteY2409" fmla="*/ 6778 h 10000"/>
                  <a:gd name="connsiteX2410" fmla="*/ 46 w 10354"/>
                  <a:gd name="connsiteY2410" fmla="*/ 6821 h 10000"/>
                  <a:gd name="connsiteX2411" fmla="*/ 46 w 10354"/>
                  <a:gd name="connsiteY2411" fmla="*/ 6855 h 10000"/>
                  <a:gd name="connsiteX2412" fmla="*/ 32 w 10354"/>
                  <a:gd name="connsiteY2412" fmla="*/ 6855 h 10000"/>
                  <a:gd name="connsiteX2413" fmla="*/ 14 w 10354"/>
                  <a:gd name="connsiteY2413" fmla="*/ 6821 h 10000"/>
                  <a:gd name="connsiteX2414" fmla="*/ 14 w 10354"/>
                  <a:gd name="connsiteY2414" fmla="*/ 6846 h 10000"/>
                  <a:gd name="connsiteX2415" fmla="*/ 0 w 10354"/>
                  <a:gd name="connsiteY2415" fmla="*/ 6897 h 10000"/>
                  <a:gd name="connsiteX2416" fmla="*/ 0 w 10354"/>
                  <a:gd name="connsiteY2416" fmla="*/ 6915 h 10000"/>
                  <a:gd name="connsiteX2417" fmla="*/ 5 w 10354"/>
                  <a:gd name="connsiteY2417" fmla="*/ 6932 h 10000"/>
                  <a:gd name="connsiteX2418" fmla="*/ 14 w 10354"/>
                  <a:gd name="connsiteY2418" fmla="*/ 6940 h 10000"/>
                  <a:gd name="connsiteX2419" fmla="*/ 18 w 10354"/>
                  <a:gd name="connsiteY2419" fmla="*/ 6957 h 10000"/>
                  <a:gd name="connsiteX2420" fmla="*/ 28 w 10354"/>
                  <a:gd name="connsiteY2420" fmla="*/ 6966 h 10000"/>
                  <a:gd name="connsiteX2421" fmla="*/ 28 w 10354"/>
                  <a:gd name="connsiteY2421" fmla="*/ 6983 h 10000"/>
                  <a:gd name="connsiteX2422" fmla="*/ 18 w 10354"/>
                  <a:gd name="connsiteY2422" fmla="*/ 7051 h 10000"/>
                  <a:gd name="connsiteX2423" fmla="*/ 28 w 10354"/>
                  <a:gd name="connsiteY2423" fmla="*/ 7068 h 10000"/>
                  <a:gd name="connsiteX2424" fmla="*/ 32 w 10354"/>
                  <a:gd name="connsiteY2424" fmla="*/ 7068 h 10000"/>
                  <a:gd name="connsiteX2425" fmla="*/ 32 w 10354"/>
                  <a:gd name="connsiteY2425" fmla="*/ 7094 h 10000"/>
                  <a:gd name="connsiteX2426" fmla="*/ 60 w 10354"/>
                  <a:gd name="connsiteY2426" fmla="*/ 7162 h 10000"/>
                  <a:gd name="connsiteX2427" fmla="*/ 60 w 10354"/>
                  <a:gd name="connsiteY2427" fmla="*/ 7231 h 10000"/>
                  <a:gd name="connsiteX2428" fmla="*/ 60 w 10354"/>
                  <a:gd name="connsiteY2428" fmla="*/ 7239 h 10000"/>
                  <a:gd name="connsiteX2429" fmla="*/ 78 w 10354"/>
                  <a:gd name="connsiteY2429" fmla="*/ 7239 h 10000"/>
                  <a:gd name="connsiteX2430" fmla="*/ 88 w 10354"/>
                  <a:gd name="connsiteY2430" fmla="*/ 7239 h 10000"/>
                  <a:gd name="connsiteX2431" fmla="*/ 92 w 10354"/>
                  <a:gd name="connsiteY2431" fmla="*/ 7256 h 10000"/>
                  <a:gd name="connsiteX2432" fmla="*/ 111 w 10354"/>
                  <a:gd name="connsiteY2432" fmla="*/ 7256 h 10000"/>
                  <a:gd name="connsiteX2433" fmla="*/ 120 w 10354"/>
                  <a:gd name="connsiteY2433" fmla="*/ 7256 h 10000"/>
                  <a:gd name="connsiteX2434" fmla="*/ 134 w 10354"/>
                  <a:gd name="connsiteY2434" fmla="*/ 7282 h 10000"/>
                  <a:gd name="connsiteX2435" fmla="*/ 134 w 10354"/>
                  <a:gd name="connsiteY2435" fmla="*/ 7316 h 10000"/>
                  <a:gd name="connsiteX2436" fmla="*/ 152 w 10354"/>
                  <a:gd name="connsiteY2436" fmla="*/ 7299 h 10000"/>
                  <a:gd name="connsiteX2437" fmla="*/ 161 w 10354"/>
                  <a:gd name="connsiteY2437" fmla="*/ 7299 h 10000"/>
                  <a:gd name="connsiteX2438" fmla="*/ 166 w 10354"/>
                  <a:gd name="connsiteY2438" fmla="*/ 7291 h 10000"/>
                  <a:gd name="connsiteX2439" fmla="*/ 194 w 10354"/>
                  <a:gd name="connsiteY2439" fmla="*/ 7291 h 10000"/>
                  <a:gd name="connsiteX2440" fmla="*/ 207 w 10354"/>
                  <a:gd name="connsiteY2440" fmla="*/ 7299 h 10000"/>
                  <a:gd name="connsiteX2441" fmla="*/ 221 w 10354"/>
                  <a:gd name="connsiteY2441" fmla="*/ 7342 h 10000"/>
                  <a:gd name="connsiteX2442" fmla="*/ 235 w 10354"/>
                  <a:gd name="connsiteY2442" fmla="*/ 7342 h 10000"/>
                  <a:gd name="connsiteX2443" fmla="*/ 235 w 10354"/>
                  <a:gd name="connsiteY2443" fmla="*/ 7368 h 10000"/>
                  <a:gd name="connsiteX2444" fmla="*/ 226 w 10354"/>
                  <a:gd name="connsiteY2444" fmla="*/ 7393 h 10000"/>
                  <a:gd name="connsiteX2445" fmla="*/ 226 w 10354"/>
                  <a:gd name="connsiteY2445" fmla="*/ 7402 h 10000"/>
                  <a:gd name="connsiteX2446" fmla="*/ 235 w 10354"/>
                  <a:gd name="connsiteY2446" fmla="*/ 7419 h 10000"/>
                  <a:gd name="connsiteX2447" fmla="*/ 240 w 10354"/>
                  <a:gd name="connsiteY2447" fmla="*/ 7436 h 10000"/>
                  <a:gd name="connsiteX2448" fmla="*/ 235 w 10354"/>
                  <a:gd name="connsiteY2448" fmla="*/ 7462 h 10000"/>
                  <a:gd name="connsiteX2449" fmla="*/ 226 w 10354"/>
                  <a:gd name="connsiteY2449" fmla="*/ 7479 h 10000"/>
                  <a:gd name="connsiteX2450" fmla="*/ 226 w 10354"/>
                  <a:gd name="connsiteY2450" fmla="*/ 7504 h 10000"/>
                  <a:gd name="connsiteX2451" fmla="*/ 226 w 10354"/>
                  <a:gd name="connsiteY2451" fmla="*/ 7513 h 10000"/>
                  <a:gd name="connsiteX2452" fmla="*/ 240 w 10354"/>
                  <a:gd name="connsiteY2452" fmla="*/ 7538 h 10000"/>
                  <a:gd name="connsiteX2453" fmla="*/ 267 w 10354"/>
                  <a:gd name="connsiteY2453" fmla="*/ 7641 h 10000"/>
                  <a:gd name="connsiteX2454" fmla="*/ 281 w 10354"/>
                  <a:gd name="connsiteY2454" fmla="*/ 7667 h 10000"/>
                  <a:gd name="connsiteX2455" fmla="*/ 286 w 10354"/>
                  <a:gd name="connsiteY2455" fmla="*/ 7675 h 10000"/>
                  <a:gd name="connsiteX2456" fmla="*/ 286 w 10354"/>
                  <a:gd name="connsiteY2456" fmla="*/ 7692 h 10000"/>
                  <a:gd name="connsiteX2457" fmla="*/ 286 w 10354"/>
                  <a:gd name="connsiteY2457" fmla="*/ 7709 h 10000"/>
                  <a:gd name="connsiteX2458" fmla="*/ 295 w 10354"/>
                  <a:gd name="connsiteY2458" fmla="*/ 7726 h 10000"/>
                  <a:gd name="connsiteX2459" fmla="*/ 318 w 10354"/>
                  <a:gd name="connsiteY2459" fmla="*/ 7709 h 10000"/>
                  <a:gd name="connsiteX2460" fmla="*/ 327 w 10354"/>
                  <a:gd name="connsiteY2460" fmla="*/ 7726 h 10000"/>
                  <a:gd name="connsiteX2461" fmla="*/ 341 w 10354"/>
                  <a:gd name="connsiteY2461" fmla="*/ 7735 h 10000"/>
                  <a:gd name="connsiteX2462" fmla="*/ 332 w 10354"/>
                  <a:gd name="connsiteY2462" fmla="*/ 7752 h 10000"/>
                  <a:gd name="connsiteX2463" fmla="*/ 341 w 10354"/>
                  <a:gd name="connsiteY2463" fmla="*/ 7761 h 10000"/>
                  <a:gd name="connsiteX2464" fmla="*/ 355 w 10354"/>
                  <a:gd name="connsiteY2464" fmla="*/ 7761 h 10000"/>
                  <a:gd name="connsiteX2465" fmla="*/ 355 w 10354"/>
                  <a:gd name="connsiteY2465" fmla="*/ 7803 h 10000"/>
                  <a:gd name="connsiteX2466" fmla="*/ 313 w 10354"/>
                  <a:gd name="connsiteY2466" fmla="*/ 7846 h 10000"/>
                  <a:gd name="connsiteX2467" fmla="*/ 295 w 10354"/>
                  <a:gd name="connsiteY2467" fmla="*/ 7846 h 10000"/>
                  <a:gd name="connsiteX2468" fmla="*/ 281 w 10354"/>
                  <a:gd name="connsiteY2468" fmla="*/ 7821 h 10000"/>
                  <a:gd name="connsiteX2469" fmla="*/ 272 w 10354"/>
                  <a:gd name="connsiteY2469" fmla="*/ 7821 h 10000"/>
                  <a:gd name="connsiteX2470" fmla="*/ 267 w 10354"/>
                  <a:gd name="connsiteY2470" fmla="*/ 7838 h 10000"/>
                  <a:gd name="connsiteX2471" fmla="*/ 258 w 10354"/>
                  <a:gd name="connsiteY2471" fmla="*/ 7846 h 10000"/>
                  <a:gd name="connsiteX2472" fmla="*/ 253 w 10354"/>
                  <a:gd name="connsiteY2472" fmla="*/ 7863 h 10000"/>
                  <a:gd name="connsiteX2473" fmla="*/ 253 w 10354"/>
                  <a:gd name="connsiteY2473" fmla="*/ 7872 h 10000"/>
                  <a:gd name="connsiteX2474" fmla="*/ 267 w 10354"/>
                  <a:gd name="connsiteY2474" fmla="*/ 7897 h 10000"/>
                  <a:gd name="connsiteX2475" fmla="*/ 272 w 10354"/>
                  <a:gd name="connsiteY2475" fmla="*/ 7915 h 10000"/>
                  <a:gd name="connsiteX2476" fmla="*/ 267 w 10354"/>
                  <a:gd name="connsiteY2476" fmla="*/ 7940 h 10000"/>
                  <a:gd name="connsiteX2477" fmla="*/ 272 w 10354"/>
                  <a:gd name="connsiteY2477" fmla="*/ 7949 h 10000"/>
                  <a:gd name="connsiteX2478" fmla="*/ 272 w 10354"/>
                  <a:gd name="connsiteY2478" fmla="*/ 7957 h 10000"/>
                  <a:gd name="connsiteX2479" fmla="*/ 281 w 10354"/>
                  <a:gd name="connsiteY2479" fmla="*/ 7974 h 10000"/>
                  <a:gd name="connsiteX2480" fmla="*/ 286 w 10354"/>
                  <a:gd name="connsiteY2480" fmla="*/ 7983 h 10000"/>
                  <a:gd name="connsiteX2481" fmla="*/ 281 w 10354"/>
                  <a:gd name="connsiteY2481" fmla="*/ 8009 h 10000"/>
                  <a:gd name="connsiteX2482" fmla="*/ 286 w 10354"/>
                  <a:gd name="connsiteY2482" fmla="*/ 8060 h 10000"/>
                  <a:gd name="connsiteX2483" fmla="*/ 286 w 10354"/>
                  <a:gd name="connsiteY2483" fmla="*/ 8060 h 10000"/>
                  <a:gd name="connsiteX2484" fmla="*/ 295 w 10354"/>
                  <a:gd name="connsiteY2484" fmla="*/ 8077 h 10000"/>
                  <a:gd name="connsiteX2485" fmla="*/ 309 w 10354"/>
                  <a:gd name="connsiteY2485" fmla="*/ 8077 h 10000"/>
                  <a:gd name="connsiteX2486" fmla="*/ 313 w 10354"/>
                  <a:gd name="connsiteY2486" fmla="*/ 8060 h 10000"/>
                  <a:gd name="connsiteX2487" fmla="*/ 318 w 10354"/>
                  <a:gd name="connsiteY2487" fmla="*/ 8051 h 10000"/>
                  <a:gd name="connsiteX2488" fmla="*/ 318 w 10354"/>
                  <a:gd name="connsiteY2488" fmla="*/ 8034 h 10000"/>
                  <a:gd name="connsiteX2489" fmla="*/ 332 w 10354"/>
                  <a:gd name="connsiteY2489" fmla="*/ 8026 h 10000"/>
                  <a:gd name="connsiteX2490" fmla="*/ 359 w 10354"/>
                  <a:gd name="connsiteY2490" fmla="*/ 8034 h 10000"/>
                  <a:gd name="connsiteX2491" fmla="*/ 378 w 10354"/>
                  <a:gd name="connsiteY2491" fmla="*/ 8026 h 10000"/>
                  <a:gd name="connsiteX2492" fmla="*/ 401 w 10354"/>
                  <a:gd name="connsiteY2492" fmla="*/ 8026 h 10000"/>
                  <a:gd name="connsiteX2493" fmla="*/ 419 w 10354"/>
                  <a:gd name="connsiteY2493" fmla="*/ 8009 h 10000"/>
                  <a:gd name="connsiteX2494" fmla="*/ 433 w 10354"/>
                  <a:gd name="connsiteY2494" fmla="*/ 8034 h 10000"/>
                  <a:gd name="connsiteX2495" fmla="*/ 442 w 10354"/>
                  <a:gd name="connsiteY2495" fmla="*/ 8060 h 10000"/>
                  <a:gd name="connsiteX2496" fmla="*/ 442 w 10354"/>
                  <a:gd name="connsiteY2496" fmla="*/ 8077 h 10000"/>
                  <a:gd name="connsiteX2497" fmla="*/ 461 w 10354"/>
                  <a:gd name="connsiteY2497" fmla="*/ 8111 h 10000"/>
                  <a:gd name="connsiteX2498" fmla="*/ 461 w 10354"/>
                  <a:gd name="connsiteY2498" fmla="*/ 8137 h 10000"/>
                  <a:gd name="connsiteX2499" fmla="*/ 447 w 10354"/>
                  <a:gd name="connsiteY2499" fmla="*/ 8145 h 10000"/>
                  <a:gd name="connsiteX2500" fmla="*/ 442 w 10354"/>
                  <a:gd name="connsiteY2500" fmla="*/ 8145 h 10000"/>
                  <a:gd name="connsiteX2501" fmla="*/ 442 w 10354"/>
                  <a:gd name="connsiteY2501" fmla="*/ 8162 h 10000"/>
                  <a:gd name="connsiteX2502" fmla="*/ 442 w 10354"/>
                  <a:gd name="connsiteY2502" fmla="*/ 8171 h 10000"/>
                  <a:gd name="connsiteX2503" fmla="*/ 447 w 10354"/>
                  <a:gd name="connsiteY2503" fmla="*/ 8214 h 10000"/>
                  <a:gd name="connsiteX2504" fmla="*/ 465 w 10354"/>
                  <a:gd name="connsiteY2504" fmla="*/ 8231 h 10000"/>
                  <a:gd name="connsiteX2505" fmla="*/ 488 w 10354"/>
                  <a:gd name="connsiteY2505" fmla="*/ 8231 h 10000"/>
                  <a:gd name="connsiteX2506" fmla="*/ 493 w 10354"/>
                  <a:gd name="connsiteY2506" fmla="*/ 8231 h 10000"/>
                  <a:gd name="connsiteX2507" fmla="*/ 502 w 10354"/>
                  <a:gd name="connsiteY2507" fmla="*/ 8231 h 10000"/>
                  <a:gd name="connsiteX2508" fmla="*/ 507 w 10354"/>
                  <a:gd name="connsiteY2508" fmla="*/ 8248 h 10000"/>
                  <a:gd name="connsiteX2509" fmla="*/ 521 w 10354"/>
                  <a:gd name="connsiteY2509" fmla="*/ 8274 h 10000"/>
                  <a:gd name="connsiteX2510" fmla="*/ 525 w 10354"/>
                  <a:gd name="connsiteY2510" fmla="*/ 8333 h 10000"/>
                  <a:gd name="connsiteX2511" fmla="*/ 525 w 10354"/>
                  <a:gd name="connsiteY2511" fmla="*/ 8359 h 10000"/>
                  <a:gd name="connsiteX2512" fmla="*/ 525 w 10354"/>
                  <a:gd name="connsiteY2512" fmla="*/ 8368 h 10000"/>
                  <a:gd name="connsiteX2513" fmla="*/ 548 w 10354"/>
                  <a:gd name="connsiteY2513" fmla="*/ 8393 h 10000"/>
                  <a:gd name="connsiteX2514" fmla="*/ 553 w 10354"/>
                  <a:gd name="connsiteY2514" fmla="*/ 8385 h 10000"/>
                  <a:gd name="connsiteX2515" fmla="*/ 562 w 10354"/>
                  <a:gd name="connsiteY2515" fmla="*/ 8385 h 10000"/>
                  <a:gd name="connsiteX2516" fmla="*/ 576 w 10354"/>
                  <a:gd name="connsiteY2516" fmla="*/ 8385 h 10000"/>
                  <a:gd name="connsiteX2517" fmla="*/ 585 w 10354"/>
                  <a:gd name="connsiteY2517" fmla="*/ 8410 h 10000"/>
                  <a:gd name="connsiteX2518" fmla="*/ 594 w 10354"/>
                  <a:gd name="connsiteY2518" fmla="*/ 8410 h 10000"/>
                  <a:gd name="connsiteX2519" fmla="*/ 608 w 10354"/>
                  <a:gd name="connsiteY2519" fmla="*/ 8410 h 10000"/>
                  <a:gd name="connsiteX2520" fmla="*/ 654 w 10354"/>
                  <a:gd name="connsiteY2520" fmla="*/ 8385 h 10000"/>
                  <a:gd name="connsiteX2521" fmla="*/ 659 w 10354"/>
                  <a:gd name="connsiteY2521" fmla="*/ 8385 h 10000"/>
                  <a:gd name="connsiteX2522" fmla="*/ 696 w 10354"/>
                  <a:gd name="connsiteY2522" fmla="*/ 8470 h 10000"/>
                  <a:gd name="connsiteX2523" fmla="*/ 700 w 10354"/>
                  <a:gd name="connsiteY2523" fmla="*/ 8470 h 10000"/>
                  <a:gd name="connsiteX2524" fmla="*/ 710 w 10354"/>
                  <a:gd name="connsiteY2524" fmla="*/ 8462 h 10000"/>
                  <a:gd name="connsiteX2525" fmla="*/ 714 w 10354"/>
                  <a:gd name="connsiteY2525" fmla="*/ 8462 h 10000"/>
                  <a:gd name="connsiteX2526" fmla="*/ 724 w 10354"/>
                  <a:gd name="connsiteY2526" fmla="*/ 8470 h 10000"/>
                  <a:gd name="connsiteX2527" fmla="*/ 733 w 10354"/>
                  <a:gd name="connsiteY2527" fmla="*/ 8470 h 10000"/>
                  <a:gd name="connsiteX2528" fmla="*/ 742 w 10354"/>
                  <a:gd name="connsiteY2528" fmla="*/ 8487 h 10000"/>
                  <a:gd name="connsiteX2529" fmla="*/ 747 w 10354"/>
                  <a:gd name="connsiteY2529" fmla="*/ 8496 h 10000"/>
                  <a:gd name="connsiteX2530" fmla="*/ 770 w 10354"/>
                  <a:gd name="connsiteY2530" fmla="*/ 8496 h 10000"/>
                  <a:gd name="connsiteX2531" fmla="*/ 783 w 10354"/>
                  <a:gd name="connsiteY2531" fmla="*/ 8521 h 10000"/>
                  <a:gd name="connsiteX2532" fmla="*/ 797 w 10354"/>
                  <a:gd name="connsiteY2532" fmla="*/ 8521 h 10000"/>
                  <a:gd name="connsiteX2533" fmla="*/ 806 w 10354"/>
                  <a:gd name="connsiteY2533" fmla="*/ 8530 h 10000"/>
                  <a:gd name="connsiteX2534" fmla="*/ 829 w 10354"/>
                  <a:gd name="connsiteY2534" fmla="*/ 8547 h 10000"/>
                  <a:gd name="connsiteX2535" fmla="*/ 834 w 10354"/>
                  <a:gd name="connsiteY2535" fmla="*/ 8556 h 10000"/>
                  <a:gd name="connsiteX2536" fmla="*/ 829 w 10354"/>
                  <a:gd name="connsiteY2536" fmla="*/ 8556 h 10000"/>
                  <a:gd name="connsiteX2537" fmla="*/ 834 w 10354"/>
                  <a:gd name="connsiteY2537" fmla="*/ 8607 h 10000"/>
                  <a:gd name="connsiteX2538" fmla="*/ 829 w 10354"/>
                  <a:gd name="connsiteY2538" fmla="*/ 8641 h 10000"/>
                  <a:gd name="connsiteX2539" fmla="*/ 806 w 10354"/>
                  <a:gd name="connsiteY2539" fmla="*/ 8658 h 10000"/>
                  <a:gd name="connsiteX2540" fmla="*/ 816 w 10354"/>
                  <a:gd name="connsiteY2540" fmla="*/ 8667 h 10000"/>
                  <a:gd name="connsiteX2541" fmla="*/ 820 w 10354"/>
                  <a:gd name="connsiteY2541" fmla="*/ 8667 h 10000"/>
                  <a:gd name="connsiteX2542" fmla="*/ 829 w 10354"/>
                  <a:gd name="connsiteY2542" fmla="*/ 8684 h 10000"/>
                  <a:gd name="connsiteX2543" fmla="*/ 806 w 10354"/>
                  <a:gd name="connsiteY2543" fmla="*/ 8692 h 10000"/>
                  <a:gd name="connsiteX2544" fmla="*/ 802 w 10354"/>
                  <a:gd name="connsiteY2544" fmla="*/ 8709 h 10000"/>
                  <a:gd name="connsiteX2545" fmla="*/ 802 w 10354"/>
                  <a:gd name="connsiteY2545" fmla="*/ 8735 h 10000"/>
                  <a:gd name="connsiteX2546" fmla="*/ 806 w 10354"/>
                  <a:gd name="connsiteY2546" fmla="*/ 8744 h 10000"/>
                  <a:gd name="connsiteX2547" fmla="*/ 816 w 10354"/>
                  <a:gd name="connsiteY2547" fmla="*/ 8752 h 10000"/>
                  <a:gd name="connsiteX2548" fmla="*/ 806 w 10354"/>
                  <a:gd name="connsiteY2548" fmla="*/ 8778 h 10000"/>
                  <a:gd name="connsiteX2549" fmla="*/ 820 w 10354"/>
                  <a:gd name="connsiteY2549" fmla="*/ 8778 h 10000"/>
                  <a:gd name="connsiteX2550" fmla="*/ 806 w 10354"/>
                  <a:gd name="connsiteY2550" fmla="*/ 8880 h 10000"/>
                  <a:gd name="connsiteX2551" fmla="*/ 797 w 10354"/>
                  <a:gd name="connsiteY2551" fmla="*/ 8880 h 10000"/>
                  <a:gd name="connsiteX2552" fmla="*/ 783 w 10354"/>
                  <a:gd name="connsiteY2552" fmla="*/ 8872 h 10000"/>
                  <a:gd name="connsiteX2553" fmla="*/ 770 w 10354"/>
                  <a:gd name="connsiteY2553" fmla="*/ 8880 h 10000"/>
                  <a:gd name="connsiteX2554" fmla="*/ 756 w 10354"/>
                  <a:gd name="connsiteY2554" fmla="*/ 8855 h 10000"/>
                  <a:gd name="connsiteX2555" fmla="*/ 733 w 10354"/>
                  <a:gd name="connsiteY2555" fmla="*/ 8906 h 10000"/>
                  <a:gd name="connsiteX2556" fmla="*/ 714 w 10354"/>
                  <a:gd name="connsiteY2556" fmla="*/ 8915 h 10000"/>
                  <a:gd name="connsiteX2557" fmla="*/ 710 w 10354"/>
                  <a:gd name="connsiteY2557" fmla="*/ 8940 h 10000"/>
                  <a:gd name="connsiteX2558" fmla="*/ 710 w 10354"/>
                  <a:gd name="connsiteY2558" fmla="*/ 9009 h 10000"/>
                  <a:gd name="connsiteX2559" fmla="*/ 728 w 10354"/>
                  <a:gd name="connsiteY2559" fmla="*/ 8991 h 10000"/>
                  <a:gd name="connsiteX2560" fmla="*/ 733 w 10354"/>
                  <a:gd name="connsiteY2560" fmla="*/ 8991 h 10000"/>
                  <a:gd name="connsiteX2561" fmla="*/ 747 w 10354"/>
                  <a:gd name="connsiteY2561" fmla="*/ 8983 h 10000"/>
                  <a:gd name="connsiteX2562" fmla="*/ 760 w 10354"/>
                  <a:gd name="connsiteY2562" fmla="*/ 8983 h 10000"/>
                  <a:gd name="connsiteX2563" fmla="*/ 770 w 10354"/>
                  <a:gd name="connsiteY2563" fmla="*/ 8983 h 10000"/>
                  <a:gd name="connsiteX2564" fmla="*/ 770 w 10354"/>
                  <a:gd name="connsiteY2564" fmla="*/ 8991 h 10000"/>
                  <a:gd name="connsiteX2565" fmla="*/ 783 w 10354"/>
                  <a:gd name="connsiteY2565" fmla="*/ 8991 h 10000"/>
                  <a:gd name="connsiteX2566" fmla="*/ 783 w 10354"/>
                  <a:gd name="connsiteY2566" fmla="*/ 9009 h 10000"/>
                  <a:gd name="connsiteX2567" fmla="*/ 783 w 10354"/>
                  <a:gd name="connsiteY2567" fmla="*/ 9017 h 10000"/>
                  <a:gd name="connsiteX2568" fmla="*/ 770 w 10354"/>
                  <a:gd name="connsiteY2568" fmla="*/ 9017 h 10000"/>
                  <a:gd name="connsiteX2569" fmla="*/ 724 w 10354"/>
                  <a:gd name="connsiteY2569" fmla="*/ 9051 h 10000"/>
                  <a:gd name="connsiteX2570" fmla="*/ 724 w 10354"/>
                  <a:gd name="connsiteY2570" fmla="*/ 9068 h 10000"/>
                  <a:gd name="connsiteX2571" fmla="*/ 728 w 10354"/>
                  <a:gd name="connsiteY2571" fmla="*/ 9077 h 10000"/>
                  <a:gd name="connsiteX2572" fmla="*/ 724 w 10354"/>
                  <a:gd name="connsiteY2572" fmla="*/ 9077 h 10000"/>
                  <a:gd name="connsiteX2573" fmla="*/ 710 w 10354"/>
                  <a:gd name="connsiteY2573" fmla="*/ 9077 h 10000"/>
                  <a:gd name="connsiteX2574" fmla="*/ 682 w 10354"/>
                  <a:gd name="connsiteY2574" fmla="*/ 9077 h 10000"/>
                  <a:gd name="connsiteX2575" fmla="*/ 673 w 10354"/>
                  <a:gd name="connsiteY2575" fmla="*/ 9103 h 10000"/>
                  <a:gd name="connsiteX2576" fmla="*/ 687 w 10354"/>
                  <a:gd name="connsiteY2576" fmla="*/ 9128 h 10000"/>
                  <a:gd name="connsiteX2577" fmla="*/ 700 w 10354"/>
                  <a:gd name="connsiteY2577" fmla="*/ 9128 h 10000"/>
                  <a:gd name="connsiteX2578" fmla="*/ 728 w 10354"/>
                  <a:gd name="connsiteY2578" fmla="*/ 9179 h 10000"/>
                  <a:gd name="connsiteX2579" fmla="*/ 724 w 10354"/>
                  <a:gd name="connsiteY2579" fmla="*/ 9188 h 10000"/>
                  <a:gd name="connsiteX2580" fmla="*/ 710 w 10354"/>
                  <a:gd name="connsiteY2580" fmla="*/ 9179 h 10000"/>
                  <a:gd name="connsiteX2581" fmla="*/ 700 w 10354"/>
                  <a:gd name="connsiteY2581" fmla="*/ 9205 h 10000"/>
                  <a:gd name="connsiteX2582" fmla="*/ 696 w 10354"/>
                  <a:gd name="connsiteY2582" fmla="*/ 9205 h 10000"/>
                  <a:gd name="connsiteX2583" fmla="*/ 654 w 10354"/>
                  <a:gd name="connsiteY2583" fmla="*/ 9299 h 10000"/>
                  <a:gd name="connsiteX2584" fmla="*/ 622 w 10354"/>
                  <a:gd name="connsiteY2584" fmla="*/ 9299 h 10000"/>
                  <a:gd name="connsiteX2585" fmla="*/ 613 w 10354"/>
                  <a:gd name="connsiteY2585" fmla="*/ 9316 h 10000"/>
                  <a:gd name="connsiteX2586" fmla="*/ 613 w 10354"/>
                  <a:gd name="connsiteY2586" fmla="*/ 9325 h 10000"/>
                  <a:gd name="connsiteX2587" fmla="*/ 608 w 10354"/>
                  <a:gd name="connsiteY2587" fmla="*/ 9342 h 10000"/>
                  <a:gd name="connsiteX2588" fmla="*/ 636 w 10354"/>
                  <a:gd name="connsiteY2588" fmla="*/ 9376 h 10000"/>
                  <a:gd name="connsiteX2589" fmla="*/ 641 w 10354"/>
                  <a:gd name="connsiteY2589" fmla="*/ 9402 h 10000"/>
                  <a:gd name="connsiteX2590" fmla="*/ 654 w 10354"/>
                  <a:gd name="connsiteY2590" fmla="*/ 9427 h 10000"/>
                  <a:gd name="connsiteX2591" fmla="*/ 668 w 10354"/>
                  <a:gd name="connsiteY2591" fmla="*/ 9427 h 10000"/>
                  <a:gd name="connsiteX2592" fmla="*/ 668 w 10354"/>
                  <a:gd name="connsiteY2592" fmla="*/ 9427 h 10000"/>
                  <a:gd name="connsiteX2593" fmla="*/ 774 w 10354"/>
                  <a:gd name="connsiteY2593" fmla="*/ 9547 h 10000"/>
                  <a:gd name="connsiteX2594" fmla="*/ 797 w 10354"/>
                  <a:gd name="connsiteY2594" fmla="*/ 9598 h 10000"/>
                  <a:gd name="connsiteX2595" fmla="*/ 802 w 10354"/>
                  <a:gd name="connsiteY2595" fmla="*/ 9598 h 10000"/>
                  <a:gd name="connsiteX2596" fmla="*/ 816 w 10354"/>
                  <a:gd name="connsiteY2596" fmla="*/ 9624 h 10000"/>
                  <a:gd name="connsiteX2597" fmla="*/ 843 w 10354"/>
                  <a:gd name="connsiteY2597" fmla="*/ 9615 h 10000"/>
                  <a:gd name="connsiteX2598" fmla="*/ 857 w 10354"/>
                  <a:gd name="connsiteY2598" fmla="*/ 9624 h 10000"/>
                  <a:gd name="connsiteX2599" fmla="*/ 862 w 10354"/>
                  <a:gd name="connsiteY2599" fmla="*/ 9615 h 10000"/>
                  <a:gd name="connsiteX2600" fmla="*/ 880 w 10354"/>
                  <a:gd name="connsiteY2600" fmla="*/ 9624 h 10000"/>
                  <a:gd name="connsiteX2601" fmla="*/ 889 w 10354"/>
                  <a:gd name="connsiteY2601" fmla="*/ 9641 h 10000"/>
                  <a:gd name="connsiteX2602" fmla="*/ 935 w 10354"/>
                  <a:gd name="connsiteY2602" fmla="*/ 9675 h 10000"/>
                  <a:gd name="connsiteX2603" fmla="*/ 977 w 10354"/>
                  <a:gd name="connsiteY2603" fmla="*/ 9667 h 10000"/>
                  <a:gd name="connsiteX2604" fmla="*/ 995 w 10354"/>
                  <a:gd name="connsiteY2604" fmla="*/ 9675 h 10000"/>
                  <a:gd name="connsiteX2605" fmla="*/ 1014 w 10354"/>
                  <a:gd name="connsiteY2605" fmla="*/ 9675 h 10000"/>
                  <a:gd name="connsiteX2606" fmla="*/ 1069 w 10354"/>
                  <a:gd name="connsiteY2606" fmla="*/ 9752 h 10000"/>
                  <a:gd name="connsiteX2607" fmla="*/ 1074 w 10354"/>
                  <a:gd name="connsiteY2607" fmla="*/ 9761 h 10000"/>
                  <a:gd name="connsiteX2608" fmla="*/ 1083 w 10354"/>
                  <a:gd name="connsiteY2608" fmla="*/ 9778 h 10000"/>
                  <a:gd name="connsiteX2609" fmla="*/ 1115 w 10354"/>
                  <a:gd name="connsiteY2609" fmla="*/ 9752 h 10000"/>
                  <a:gd name="connsiteX2610" fmla="*/ 1129 w 10354"/>
                  <a:gd name="connsiteY2610" fmla="*/ 9752 h 10000"/>
                  <a:gd name="connsiteX2611" fmla="*/ 1138 w 10354"/>
                  <a:gd name="connsiteY2611" fmla="*/ 9761 h 10000"/>
                  <a:gd name="connsiteX2612" fmla="*/ 1143 w 10354"/>
                  <a:gd name="connsiteY2612" fmla="*/ 9752 h 10000"/>
                  <a:gd name="connsiteX2613" fmla="*/ 1161 w 10354"/>
                  <a:gd name="connsiteY2613" fmla="*/ 9761 h 10000"/>
                  <a:gd name="connsiteX2614" fmla="*/ 1171 w 10354"/>
                  <a:gd name="connsiteY2614" fmla="*/ 9778 h 10000"/>
                  <a:gd name="connsiteX2615" fmla="*/ 1175 w 10354"/>
                  <a:gd name="connsiteY2615" fmla="*/ 9778 h 10000"/>
                  <a:gd name="connsiteX2616" fmla="*/ 1189 w 10354"/>
                  <a:gd name="connsiteY2616" fmla="*/ 9778 h 10000"/>
                  <a:gd name="connsiteX2617" fmla="*/ 1198 w 10354"/>
                  <a:gd name="connsiteY2617" fmla="*/ 9786 h 10000"/>
                  <a:gd name="connsiteX2618" fmla="*/ 1203 w 10354"/>
                  <a:gd name="connsiteY2618" fmla="*/ 9803 h 10000"/>
                  <a:gd name="connsiteX2619" fmla="*/ 1198 w 10354"/>
                  <a:gd name="connsiteY2619" fmla="*/ 9838 h 10000"/>
                  <a:gd name="connsiteX2620" fmla="*/ 1212 w 10354"/>
                  <a:gd name="connsiteY2620" fmla="*/ 9863 h 10000"/>
                  <a:gd name="connsiteX2621" fmla="*/ 1230 w 10354"/>
                  <a:gd name="connsiteY2621" fmla="*/ 9872 h 10000"/>
                  <a:gd name="connsiteX2622" fmla="*/ 1249 w 10354"/>
                  <a:gd name="connsiteY2622" fmla="*/ 9897 h 10000"/>
                  <a:gd name="connsiteX2623" fmla="*/ 1263 w 10354"/>
                  <a:gd name="connsiteY2623" fmla="*/ 9897 h 10000"/>
                  <a:gd name="connsiteX2624" fmla="*/ 1276 w 10354"/>
                  <a:gd name="connsiteY2624" fmla="*/ 9923 h 10000"/>
                  <a:gd name="connsiteX2625" fmla="*/ 1281 w 10354"/>
                  <a:gd name="connsiteY2625" fmla="*/ 9949 h 10000"/>
                  <a:gd name="connsiteX2626" fmla="*/ 1290 w 10354"/>
                  <a:gd name="connsiteY2626" fmla="*/ 9949 h 10000"/>
                  <a:gd name="connsiteX2627" fmla="*/ 1295 w 10354"/>
                  <a:gd name="connsiteY2627" fmla="*/ 10000 h 10000"/>
                  <a:gd name="connsiteX2628" fmla="*/ 1332 w 10354"/>
                  <a:gd name="connsiteY2628" fmla="*/ 10000 h 10000"/>
                  <a:gd name="connsiteX2629" fmla="*/ 1336 w 10354"/>
                  <a:gd name="connsiteY2629" fmla="*/ 10000 h 10000"/>
                  <a:gd name="connsiteX2630" fmla="*/ 1346 w 10354"/>
                  <a:gd name="connsiteY2630" fmla="*/ 9983 h 10000"/>
                  <a:gd name="connsiteX2631" fmla="*/ 1350 w 10354"/>
                  <a:gd name="connsiteY2631" fmla="*/ 9949 h 10000"/>
                  <a:gd name="connsiteX2632" fmla="*/ 1369 w 10354"/>
                  <a:gd name="connsiteY2632" fmla="*/ 9940 h 10000"/>
                  <a:gd name="connsiteX2633" fmla="*/ 1378 w 10354"/>
                  <a:gd name="connsiteY2633" fmla="*/ 9897 h 10000"/>
                  <a:gd name="connsiteX2634" fmla="*/ 1369 w 10354"/>
                  <a:gd name="connsiteY2634" fmla="*/ 9889 h 10000"/>
                  <a:gd name="connsiteX2635" fmla="*/ 1318 w 10354"/>
                  <a:gd name="connsiteY2635" fmla="*/ 9701 h 10000"/>
                  <a:gd name="connsiteX2636" fmla="*/ 1318 w 10354"/>
                  <a:gd name="connsiteY2636" fmla="*/ 9650 h 10000"/>
                  <a:gd name="connsiteX2637" fmla="*/ 1323 w 10354"/>
                  <a:gd name="connsiteY2637" fmla="*/ 9590 h 10000"/>
                  <a:gd name="connsiteX2638" fmla="*/ 1323 w 10354"/>
                  <a:gd name="connsiteY2638" fmla="*/ 9564 h 10000"/>
                  <a:gd name="connsiteX2639" fmla="*/ 1309 w 10354"/>
                  <a:gd name="connsiteY2639" fmla="*/ 9598 h 10000"/>
                  <a:gd name="connsiteX2640" fmla="*/ 1309 w 10354"/>
                  <a:gd name="connsiteY2640" fmla="*/ 9590 h 10000"/>
                  <a:gd name="connsiteX2641" fmla="*/ 1304 w 10354"/>
                  <a:gd name="connsiteY2641" fmla="*/ 9547 h 10000"/>
                  <a:gd name="connsiteX2642" fmla="*/ 1276 w 10354"/>
                  <a:gd name="connsiteY2642" fmla="*/ 9479 h 10000"/>
                  <a:gd name="connsiteX2643" fmla="*/ 1263 w 10354"/>
                  <a:gd name="connsiteY2643" fmla="*/ 9479 h 10000"/>
                  <a:gd name="connsiteX2644" fmla="*/ 1263 w 10354"/>
                  <a:gd name="connsiteY2644" fmla="*/ 9453 h 10000"/>
                  <a:gd name="connsiteX2645" fmla="*/ 1272 w 10354"/>
                  <a:gd name="connsiteY2645" fmla="*/ 9410 h 10000"/>
                  <a:gd name="connsiteX2646" fmla="*/ 1272 w 10354"/>
                  <a:gd name="connsiteY2646" fmla="*/ 9393 h 10000"/>
                  <a:gd name="connsiteX2647" fmla="*/ 1281 w 10354"/>
                  <a:gd name="connsiteY2647" fmla="*/ 9368 h 10000"/>
                  <a:gd name="connsiteX2648" fmla="*/ 1281 w 10354"/>
                  <a:gd name="connsiteY2648" fmla="*/ 9368 h 10000"/>
                  <a:gd name="connsiteX2649" fmla="*/ 1290 w 10354"/>
                  <a:gd name="connsiteY2649" fmla="*/ 9368 h 10000"/>
                  <a:gd name="connsiteX2650" fmla="*/ 1290 w 10354"/>
                  <a:gd name="connsiteY2650" fmla="*/ 9342 h 10000"/>
                  <a:gd name="connsiteX2651" fmla="*/ 1304 w 10354"/>
                  <a:gd name="connsiteY2651" fmla="*/ 9325 h 10000"/>
                  <a:gd name="connsiteX2652" fmla="*/ 1309 w 10354"/>
                  <a:gd name="connsiteY2652" fmla="*/ 9239 h 10000"/>
                  <a:gd name="connsiteX2653" fmla="*/ 1318 w 10354"/>
                  <a:gd name="connsiteY2653" fmla="*/ 9256 h 10000"/>
                  <a:gd name="connsiteX2654" fmla="*/ 1323 w 10354"/>
                  <a:gd name="connsiteY2654" fmla="*/ 9179 h 10000"/>
                  <a:gd name="connsiteX2655" fmla="*/ 1309 w 10354"/>
                  <a:gd name="connsiteY2655" fmla="*/ 9145 h 10000"/>
                  <a:gd name="connsiteX2656" fmla="*/ 1336 w 10354"/>
                  <a:gd name="connsiteY2656" fmla="*/ 9154 h 10000"/>
                  <a:gd name="connsiteX2657" fmla="*/ 1336 w 10354"/>
                  <a:gd name="connsiteY2657" fmla="*/ 9162 h 10000"/>
                  <a:gd name="connsiteX2658" fmla="*/ 1350 w 10354"/>
                  <a:gd name="connsiteY2658" fmla="*/ 9231 h 10000"/>
                  <a:gd name="connsiteX2659" fmla="*/ 1355 w 10354"/>
                  <a:gd name="connsiteY2659" fmla="*/ 9231 h 10000"/>
                  <a:gd name="connsiteX2660" fmla="*/ 1364 w 10354"/>
                  <a:gd name="connsiteY2660" fmla="*/ 9214 h 10000"/>
                  <a:gd name="connsiteX2661" fmla="*/ 1369 w 10354"/>
                  <a:gd name="connsiteY2661" fmla="*/ 9214 h 10000"/>
                  <a:gd name="connsiteX2662" fmla="*/ 1382 w 10354"/>
                  <a:gd name="connsiteY2662" fmla="*/ 9154 h 10000"/>
                  <a:gd name="connsiteX2663" fmla="*/ 1396 w 10354"/>
                  <a:gd name="connsiteY2663" fmla="*/ 9154 h 10000"/>
                  <a:gd name="connsiteX2664" fmla="*/ 1382 w 10354"/>
                  <a:gd name="connsiteY2664" fmla="*/ 9145 h 10000"/>
                  <a:gd name="connsiteX2665" fmla="*/ 1382 w 10354"/>
                  <a:gd name="connsiteY2665" fmla="*/ 9128 h 10000"/>
                  <a:gd name="connsiteX2666" fmla="*/ 1369 w 10354"/>
                  <a:gd name="connsiteY2666" fmla="*/ 9128 h 10000"/>
                  <a:gd name="connsiteX2667" fmla="*/ 1364 w 10354"/>
                  <a:gd name="connsiteY2667" fmla="*/ 9128 h 10000"/>
                  <a:gd name="connsiteX2668" fmla="*/ 1355 w 10354"/>
                  <a:gd name="connsiteY2668" fmla="*/ 9120 h 10000"/>
                  <a:gd name="connsiteX2669" fmla="*/ 1350 w 10354"/>
                  <a:gd name="connsiteY2669" fmla="*/ 9103 h 10000"/>
                  <a:gd name="connsiteX2670" fmla="*/ 1355 w 10354"/>
                  <a:gd name="connsiteY2670" fmla="*/ 9094 h 10000"/>
                  <a:gd name="connsiteX2671" fmla="*/ 1355 w 10354"/>
                  <a:gd name="connsiteY2671" fmla="*/ 9068 h 10000"/>
                  <a:gd name="connsiteX2672" fmla="*/ 1369 w 10354"/>
                  <a:gd name="connsiteY2672" fmla="*/ 9068 h 10000"/>
                  <a:gd name="connsiteX2673" fmla="*/ 1378 w 10354"/>
                  <a:gd name="connsiteY2673" fmla="*/ 9077 h 10000"/>
                  <a:gd name="connsiteX2674" fmla="*/ 1396 w 10354"/>
                  <a:gd name="connsiteY2674" fmla="*/ 9068 h 10000"/>
                  <a:gd name="connsiteX2675" fmla="*/ 1382 w 10354"/>
                  <a:gd name="connsiteY2675" fmla="*/ 8940 h 10000"/>
                  <a:gd name="connsiteX2676" fmla="*/ 1378 w 10354"/>
                  <a:gd name="connsiteY2676" fmla="*/ 8940 h 10000"/>
                  <a:gd name="connsiteX2677" fmla="*/ 1364 w 10354"/>
                  <a:gd name="connsiteY2677" fmla="*/ 8889 h 10000"/>
                  <a:gd name="connsiteX2678" fmla="*/ 1355 w 10354"/>
                  <a:gd name="connsiteY2678" fmla="*/ 8880 h 10000"/>
                  <a:gd name="connsiteX2679" fmla="*/ 1323 w 10354"/>
                  <a:gd name="connsiteY2679" fmla="*/ 8880 h 10000"/>
                  <a:gd name="connsiteX2680" fmla="*/ 1309 w 10354"/>
                  <a:gd name="connsiteY2680" fmla="*/ 8880 h 10000"/>
                  <a:gd name="connsiteX2681" fmla="*/ 1309 w 10354"/>
                  <a:gd name="connsiteY2681" fmla="*/ 8889 h 10000"/>
                  <a:gd name="connsiteX2682" fmla="*/ 1295 w 10354"/>
                  <a:gd name="connsiteY2682" fmla="*/ 8872 h 10000"/>
                  <a:gd name="connsiteX2683" fmla="*/ 1290 w 10354"/>
                  <a:gd name="connsiteY2683" fmla="*/ 8855 h 10000"/>
                  <a:gd name="connsiteX2684" fmla="*/ 1290 w 10354"/>
                  <a:gd name="connsiteY2684" fmla="*/ 8829 h 10000"/>
                  <a:gd name="connsiteX2685" fmla="*/ 1290 w 10354"/>
                  <a:gd name="connsiteY2685" fmla="*/ 8821 h 10000"/>
                  <a:gd name="connsiteX2686" fmla="*/ 1290 w 10354"/>
                  <a:gd name="connsiteY2686" fmla="*/ 8803 h 10000"/>
                  <a:gd name="connsiteX2687" fmla="*/ 1281 w 10354"/>
                  <a:gd name="connsiteY2687" fmla="*/ 8795 h 10000"/>
                  <a:gd name="connsiteX2688" fmla="*/ 1249 w 10354"/>
                  <a:gd name="connsiteY2688" fmla="*/ 8769 h 10000"/>
                  <a:gd name="connsiteX2689" fmla="*/ 1263 w 10354"/>
                  <a:gd name="connsiteY2689" fmla="*/ 8667 h 10000"/>
                  <a:gd name="connsiteX2690" fmla="*/ 1281 w 10354"/>
                  <a:gd name="connsiteY2690" fmla="*/ 8658 h 10000"/>
                  <a:gd name="connsiteX2691" fmla="*/ 1290 w 10354"/>
                  <a:gd name="connsiteY2691" fmla="*/ 8632 h 10000"/>
                  <a:gd name="connsiteX2692" fmla="*/ 1281 w 10354"/>
                  <a:gd name="connsiteY2692" fmla="*/ 8615 h 10000"/>
                  <a:gd name="connsiteX2693" fmla="*/ 1272 w 10354"/>
                  <a:gd name="connsiteY2693" fmla="*/ 8598 h 10000"/>
                  <a:gd name="connsiteX2694" fmla="*/ 1281 w 10354"/>
                  <a:gd name="connsiteY2694" fmla="*/ 8496 h 10000"/>
                  <a:gd name="connsiteX2695" fmla="*/ 1295 w 10354"/>
                  <a:gd name="connsiteY2695" fmla="*/ 8470 h 10000"/>
                  <a:gd name="connsiteX2696" fmla="*/ 1304 w 10354"/>
                  <a:gd name="connsiteY2696" fmla="*/ 8462 h 10000"/>
                  <a:gd name="connsiteX2697" fmla="*/ 1304 w 10354"/>
                  <a:gd name="connsiteY2697" fmla="*/ 8444 h 10000"/>
                  <a:gd name="connsiteX2698" fmla="*/ 1304 w 10354"/>
                  <a:gd name="connsiteY2698" fmla="*/ 8419 h 10000"/>
                  <a:gd name="connsiteX2699" fmla="*/ 1304 w 10354"/>
                  <a:gd name="connsiteY2699" fmla="*/ 8410 h 10000"/>
                  <a:gd name="connsiteX2700" fmla="*/ 1309 w 10354"/>
                  <a:gd name="connsiteY2700" fmla="*/ 8393 h 10000"/>
                  <a:gd name="connsiteX2701" fmla="*/ 1318 w 10354"/>
                  <a:gd name="connsiteY2701" fmla="*/ 8385 h 10000"/>
                  <a:gd name="connsiteX2702" fmla="*/ 1323 w 10354"/>
                  <a:gd name="connsiteY2702" fmla="*/ 8385 h 10000"/>
                  <a:gd name="connsiteX2703" fmla="*/ 1332 w 10354"/>
                  <a:gd name="connsiteY2703" fmla="*/ 8410 h 10000"/>
                  <a:gd name="connsiteX2704" fmla="*/ 1346 w 10354"/>
                  <a:gd name="connsiteY2704" fmla="*/ 8419 h 10000"/>
                  <a:gd name="connsiteX2705" fmla="*/ 1364 w 10354"/>
                  <a:gd name="connsiteY2705" fmla="*/ 8504 h 10000"/>
                  <a:gd name="connsiteX2706" fmla="*/ 1369 w 10354"/>
                  <a:gd name="connsiteY2706" fmla="*/ 8521 h 10000"/>
                  <a:gd name="connsiteX2707" fmla="*/ 1406 w 10354"/>
                  <a:gd name="connsiteY2707" fmla="*/ 8470 h 10000"/>
                  <a:gd name="connsiteX2708" fmla="*/ 1382 w 10354"/>
                  <a:gd name="connsiteY2708" fmla="*/ 8359 h 10000"/>
                  <a:gd name="connsiteX2709" fmla="*/ 1392 w 10354"/>
                  <a:gd name="connsiteY2709" fmla="*/ 8359 h 10000"/>
                  <a:gd name="connsiteX2710" fmla="*/ 1438 w 10354"/>
                  <a:gd name="connsiteY2710" fmla="*/ 8308 h 10000"/>
                  <a:gd name="connsiteX2711" fmla="*/ 1442 w 10354"/>
                  <a:gd name="connsiteY2711" fmla="*/ 8299 h 10000"/>
                  <a:gd name="connsiteX2712" fmla="*/ 1442 w 10354"/>
                  <a:gd name="connsiteY2712" fmla="*/ 8256 h 10000"/>
                  <a:gd name="connsiteX2713" fmla="*/ 1452 w 10354"/>
                  <a:gd name="connsiteY2713" fmla="*/ 8256 h 10000"/>
                  <a:gd name="connsiteX2714" fmla="*/ 1456 w 10354"/>
                  <a:gd name="connsiteY2714" fmla="*/ 8256 h 10000"/>
                  <a:gd name="connsiteX2715" fmla="*/ 1470 w 10354"/>
                  <a:gd name="connsiteY2715" fmla="*/ 8248 h 10000"/>
                  <a:gd name="connsiteX2716" fmla="*/ 1479 w 10354"/>
                  <a:gd name="connsiteY2716" fmla="*/ 8231 h 10000"/>
                  <a:gd name="connsiteX2717" fmla="*/ 1493 w 10354"/>
                  <a:gd name="connsiteY2717" fmla="*/ 8222 h 10000"/>
                  <a:gd name="connsiteX2718" fmla="*/ 1498 w 10354"/>
                  <a:gd name="connsiteY2718" fmla="*/ 8214 h 10000"/>
                  <a:gd name="connsiteX2719" fmla="*/ 1502 w 10354"/>
                  <a:gd name="connsiteY2719" fmla="*/ 8197 h 10000"/>
                  <a:gd name="connsiteX2720" fmla="*/ 1512 w 10354"/>
                  <a:gd name="connsiteY2720" fmla="*/ 8188 h 10000"/>
                  <a:gd name="connsiteX2721" fmla="*/ 1516 w 10354"/>
                  <a:gd name="connsiteY2721" fmla="*/ 8171 h 10000"/>
                  <a:gd name="connsiteX2722" fmla="*/ 1525 w 10354"/>
                  <a:gd name="connsiteY2722" fmla="*/ 8162 h 10000"/>
                  <a:gd name="connsiteX2723" fmla="*/ 1539 w 10354"/>
                  <a:gd name="connsiteY2723" fmla="*/ 8145 h 10000"/>
                  <a:gd name="connsiteX2724" fmla="*/ 1558 w 10354"/>
                  <a:gd name="connsiteY2724" fmla="*/ 8145 h 10000"/>
                  <a:gd name="connsiteX2725" fmla="*/ 1562 w 10354"/>
                  <a:gd name="connsiteY2725" fmla="*/ 8188 h 10000"/>
                  <a:gd name="connsiteX2726" fmla="*/ 1585 w 10354"/>
                  <a:gd name="connsiteY2726" fmla="*/ 8171 h 10000"/>
                  <a:gd name="connsiteX2727" fmla="*/ 1590 w 10354"/>
                  <a:gd name="connsiteY2727" fmla="*/ 8188 h 10000"/>
                  <a:gd name="connsiteX2728" fmla="*/ 1599 w 10354"/>
                  <a:gd name="connsiteY2728" fmla="*/ 8171 h 10000"/>
                  <a:gd name="connsiteX2729" fmla="*/ 1599 w 10354"/>
                  <a:gd name="connsiteY2729" fmla="*/ 8162 h 10000"/>
                  <a:gd name="connsiteX2730" fmla="*/ 1604 w 10354"/>
                  <a:gd name="connsiteY2730" fmla="*/ 8137 h 10000"/>
                  <a:gd name="connsiteX2731" fmla="*/ 1618 w 10354"/>
                  <a:gd name="connsiteY2731" fmla="*/ 8145 h 10000"/>
                  <a:gd name="connsiteX2732" fmla="*/ 1627 w 10354"/>
                  <a:gd name="connsiteY2732" fmla="*/ 8137 h 10000"/>
                  <a:gd name="connsiteX2733" fmla="*/ 1631 w 10354"/>
                  <a:gd name="connsiteY2733" fmla="*/ 8137 h 10000"/>
                  <a:gd name="connsiteX2734" fmla="*/ 1636 w 10354"/>
                  <a:gd name="connsiteY2734" fmla="*/ 8171 h 10000"/>
                  <a:gd name="connsiteX2735" fmla="*/ 1645 w 10354"/>
                  <a:gd name="connsiteY2735" fmla="*/ 8188 h 10000"/>
                  <a:gd name="connsiteX2736" fmla="*/ 1664 w 10354"/>
                  <a:gd name="connsiteY2736" fmla="*/ 8171 h 10000"/>
                  <a:gd name="connsiteX2737" fmla="*/ 1673 w 10354"/>
                  <a:gd name="connsiteY2737" fmla="*/ 8188 h 10000"/>
                  <a:gd name="connsiteX2738" fmla="*/ 1691 w 10354"/>
                  <a:gd name="connsiteY2738" fmla="*/ 8171 h 10000"/>
                  <a:gd name="connsiteX2739" fmla="*/ 1705 w 10354"/>
                  <a:gd name="connsiteY2739" fmla="*/ 8171 h 10000"/>
                  <a:gd name="connsiteX2740" fmla="*/ 1719 w 10354"/>
                  <a:gd name="connsiteY2740" fmla="*/ 8197 h 10000"/>
                  <a:gd name="connsiteX2741" fmla="*/ 1724 w 10354"/>
                  <a:gd name="connsiteY2741" fmla="*/ 8231 h 10000"/>
                  <a:gd name="connsiteX2742" fmla="*/ 1751 w 10354"/>
                  <a:gd name="connsiteY2742" fmla="*/ 8256 h 10000"/>
                  <a:gd name="connsiteX2743" fmla="*/ 1751 w 10354"/>
                  <a:gd name="connsiteY2743" fmla="*/ 8274 h 10000"/>
                  <a:gd name="connsiteX2744" fmla="*/ 1760 w 10354"/>
                  <a:gd name="connsiteY2744" fmla="*/ 8282 h 10000"/>
                  <a:gd name="connsiteX2745" fmla="*/ 1770 w 10354"/>
                  <a:gd name="connsiteY2745" fmla="*/ 8325 h 10000"/>
                  <a:gd name="connsiteX2746" fmla="*/ 1770 w 10354"/>
                  <a:gd name="connsiteY2746" fmla="*/ 8350 h 10000"/>
                  <a:gd name="connsiteX2747" fmla="*/ 1779 w 10354"/>
                  <a:gd name="connsiteY2747" fmla="*/ 8368 h 10000"/>
                  <a:gd name="connsiteX2748" fmla="*/ 1783 w 10354"/>
                  <a:gd name="connsiteY2748" fmla="*/ 8359 h 10000"/>
                  <a:gd name="connsiteX2749" fmla="*/ 1783 w 10354"/>
                  <a:gd name="connsiteY2749" fmla="*/ 8308 h 10000"/>
                  <a:gd name="connsiteX2750" fmla="*/ 1779 w 10354"/>
                  <a:gd name="connsiteY2750" fmla="*/ 8299 h 10000"/>
                  <a:gd name="connsiteX2751" fmla="*/ 1783 w 10354"/>
                  <a:gd name="connsiteY2751" fmla="*/ 8282 h 10000"/>
                  <a:gd name="connsiteX2752" fmla="*/ 1797 w 10354"/>
                  <a:gd name="connsiteY2752" fmla="*/ 8274 h 10000"/>
                  <a:gd name="connsiteX2753" fmla="*/ 1797 w 10354"/>
                  <a:gd name="connsiteY2753" fmla="*/ 8299 h 10000"/>
                  <a:gd name="connsiteX2754" fmla="*/ 1806 w 10354"/>
                  <a:gd name="connsiteY2754" fmla="*/ 8308 h 10000"/>
                  <a:gd name="connsiteX2755" fmla="*/ 1811 w 10354"/>
                  <a:gd name="connsiteY2755" fmla="*/ 8325 h 10000"/>
                  <a:gd name="connsiteX2756" fmla="*/ 1820 w 10354"/>
                  <a:gd name="connsiteY2756" fmla="*/ 8333 h 10000"/>
                  <a:gd name="connsiteX2757" fmla="*/ 1853 w 10354"/>
                  <a:gd name="connsiteY2757" fmla="*/ 8359 h 10000"/>
                  <a:gd name="connsiteX2758" fmla="*/ 1866 w 10354"/>
                  <a:gd name="connsiteY2758" fmla="*/ 8359 h 10000"/>
                  <a:gd name="connsiteX2759" fmla="*/ 1885 w 10354"/>
                  <a:gd name="connsiteY2759" fmla="*/ 8325 h 10000"/>
                  <a:gd name="connsiteX2760" fmla="*/ 1885 w 10354"/>
                  <a:gd name="connsiteY2760" fmla="*/ 8308 h 10000"/>
                  <a:gd name="connsiteX2761" fmla="*/ 1894 w 10354"/>
                  <a:gd name="connsiteY2761" fmla="*/ 8299 h 10000"/>
                  <a:gd name="connsiteX2762" fmla="*/ 1899 w 10354"/>
                  <a:gd name="connsiteY2762" fmla="*/ 8282 h 10000"/>
                  <a:gd name="connsiteX2763" fmla="*/ 1912 w 10354"/>
                  <a:gd name="connsiteY2763" fmla="*/ 8282 h 10000"/>
                  <a:gd name="connsiteX2764" fmla="*/ 1917 w 10354"/>
                  <a:gd name="connsiteY2764" fmla="*/ 8299 h 10000"/>
                  <a:gd name="connsiteX2765" fmla="*/ 1917 w 10354"/>
                  <a:gd name="connsiteY2765" fmla="*/ 8274 h 10000"/>
                  <a:gd name="connsiteX2766" fmla="*/ 1940 w 10354"/>
                  <a:gd name="connsiteY2766" fmla="*/ 8282 h 10000"/>
                  <a:gd name="connsiteX2767" fmla="*/ 1945 w 10354"/>
                  <a:gd name="connsiteY2767" fmla="*/ 8274 h 10000"/>
                  <a:gd name="connsiteX2768" fmla="*/ 1972 w 10354"/>
                  <a:gd name="connsiteY2768" fmla="*/ 8308 h 10000"/>
                  <a:gd name="connsiteX2769" fmla="*/ 1986 w 10354"/>
                  <a:gd name="connsiteY2769" fmla="*/ 8282 h 10000"/>
                  <a:gd name="connsiteX2770" fmla="*/ 1991 w 10354"/>
                  <a:gd name="connsiteY2770" fmla="*/ 8274 h 10000"/>
                  <a:gd name="connsiteX2771" fmla="*/ 2014 w 10354"/>
                  <a:gd name="connsiteY2771" fmla="*/ 8274 h 10000"/>
                  <a:gd name="connsiteX2772" fmla="*/ 2018 w 10354"/>
                  <a:gd name="connsiteY2772" fmla="*/ 8256 h 10000"/>
                  <a:gd name="connsiteX2773" fmla="*/ 2041 w 10354"/>
                  <a:gd name="connsiteY2773" fmla="*/ 8274 h 10000"/>
                  <a:gd name="connsiteX2774" fmla="*/ 2046 w 10354"/>
                  <a:gd name="connsiteY2774" fmla="*/ 8282 h 10000"/>
                  <a:gd name="connsiteX2775" fmla="*/ 2046 w 10354"/>
                  <a:gd name="connsiteY2775" fmla="*/ 8325 h 10000"/>
                  <a:gd name="connsiteX2776" fmla="*/ 2060 w 10354"/>
                  <a:gd name="connsiteY2776" fmla="*/ 8350 h 10000"/>
                  <a:gd name="connsiteX2777" fmla="*/ 2078 w 10354"/>
                  <a:gd name="connsiteY2777" fmla="*/ 8350 h 10000"/>
                  <a:gd name="connsiteX2778" fmla="*/ 2092 w 10354"/>
                  <a:gd name="connsiteY2778" fmla="*/ 8350 h 10000"/>
                  <a:gd name="connsiteX2779" fmla="*/ 2092 w 10354"/>
                  <a:gd name="connsiteY2779" fmla="*/ 8350 h 10000"/>
                  <a:gd name="connsiteX2780" fmla="*/ 2101 w 10354"/>
                  <a:gd name="connsiteY2780" fmla="*/ 8368 h 10000"/>
                  <a:gd name="connsiteX2781" fmla="*/ 2120 w 10354"/>
                  <a:gd name="connsiteY2781" fmla="*/ 8368 h 10000"/>
                  <a:gd name="connsiteX2782" fmla="*/ 2124 w 10354"/>
                  <a:gd name="connsiteY2782" fmla="*/ 8359 h 10000"/>
                  <a:gd name="connsiteX2783" fmla="*/ 2138 w 10354"/>
                  <a:gd name="connsiteY2783" fmla="*/ 8325 h 10000"/>
                  <a:gd name="connsiteX2784" fmla="*/ 2147 w 10354"/>
                  <a:gd name="connsiteY2784" fmla="*/ 8325 h 10000"/>
                  <a:gd name="connsiteX2785" fmla="*/ 2161 w 10354"/>
                  <a:gd name="connsiteY2785" fmla="*/ 8350 h 10000"/>
                  <a:gd name="connsiteX2786" fmla="*/ 2198 w 10354"/>
                  <a:gd name="connsiteY2786" fmla="*/ 8350 h 10000"/>
                  <a:gd name="connsiteX2787" fmla="*/ 2207 w 10354"/>
                  <a:gd name="connsiteY2787" fmla="*/ 8333 h 10000"/>
                  <a:gd name="connsiteX2788" fmla="*/ 2226 w 10354"/>
                  <a:gd name="connsiteY2788" fmla="*/ 8325 h 10000"/>
                  <a:gd name="connsiteX2789" fmla="*/ 2249 w 10354"/>
                  <a:gd name="connsiteY2789" fmla="*/ 8222 h 10000"/>
                  <a:gd name="connsiteX2790" fmla="*/ 2235 w 10354"/>
                  <a:gd name="connsiteY2790" fmla="*/ 8197 h 10000"/>
                  <a:gd name="connsiteX2791" fmla="*/ 2198 w 10354"/>
                  <a:gd name="connsiteY2791" fmla="*/ 8197 h 10000"/>
                  <a:gd name="connsiteX2792" fmla="*/ 2189 w 10354"/>
                  <a:gd name="connsiteY2792" fmla="*/ 8171 h 10000"/>
                  <a:gd name="connsiteX2793" fmla="*/ 2161 w 10354"/>
                  <a:gd name="connsiteY2793" fmla="*/ 8145 h 10000"/>
                  <a:gd name="connsiteX2794" fmla="*/ 2161 w 10354"/>
                  <a:gd name="connsiteY2794" fmla="*/ 8137 h 10000"/>
                  <a:gd name="connsiteX2795" fmla="*/ 2152 w 10354"/>
                  <a:gd name="connsiteY2795" fmla="*/ 8120 h 10000"/>
                  <a:gd name="connsiteX2796" fmla="*/ 2138 w 10354"/>
                  <a:gd name="connsiteY2796" fmla="*/ 8111 h 10000"/>
                  <a:gd name="connsiteX2797" fmla="*/ 2138 w 10354"/>
                  <a:gd name="connsiteY2797" fmla="*/ 8094 h 10000"/>
                  <a:gd name="connsiteX2798" fmla="*/ 2147 w 10354"/>
                  <a:gd name="connsiteY2798" fmla="*/ 8085 h 10000"/>
                  <a:gd name="connsiteX2799" fmla="*/ 2161 w 10354"/>
                  <a:gd name="connsiteY2799" fmla="*/ 8060 h 10000"/>
                  <a:gd name="connsiteX2800" fmla="*/ 2198 w 10354"/>
                  <a:gd name="connsiteY2800" fmla="*/ 8034 h 10000"/>
                  <a:gd name="connsiteX2801" fmla="*/ 2198 w 10354"/>
                  <a:gd name="connsiteY2801" fmla="*/ 8026 h 10000"/>
                  <a:gd name="connsiteX2802" fmla="*/ 2198 w 10354"/>
                  <a:gd name="connsiteY2802" fmla="*/ 8000 h 10000"/>
                  <a:gd name="connsiteX2803" fmla="*/ 2180 w 10354"/>
                  <a:gd name="connsiteY2803" fmla="*/ 7940 h 10000"/>
                  <a:gd name="connsiteX2804" fmla="*/ 2189 w 10354"/>
                  <a:gd name="connsiteY2804" fmla="*/ 7940 h 10000"/>
                  <a:gd name="connsiteX2805" fmla="*/ 2198 w 10354"/>
                  <a:gd name="connsiteY2805" fmla="*/ 7923 h 10000"/>
                  <a:gd name="connsiteX2806" fmla="*/ 2198 w 10354"/>
                  <a:gd name="connsiteY2806" fmla="*/ 7897 h 10000"/>
                  <a:gd name="connsiteX2807" fmla="*/ 2207 w 10354"/>
                  <a:gd name="connsiteY2807" fmla="*/ 7889 h 10000"/>
                  <a:gd name="connsiteX2808" fmla="*/ 2221 w 10354"/>
                  <a:gd name="connsiteY2808" fmla="*/ 7889 h 10000"/>
                  <a:gd name="connsiteX2809" fmla="*/ 2226 w 10354"/>
                  <a:gd name="connsiteY2809" fmla="*/ 7897 h 10000"/>
                  <a:gd name="connsiteX2810" fmla="*/ 2235 w 10354"/>
                  <a:gd name="connsiteY2810" fmla="*/ 7889 h 10000"/>
                  <a:gd name="connsiteX2811" fmla="*/ 2249 w 10354"/>
                  <a:gd name="connsiteY2811" fmla="*/ 7897 h 10000"/>
                  <a:gd name="connsiteX2812" fmla="*/ 2267 w 10354"/>
                  <a:gd name="connsiteY2812" fmla="*/ 7897 h 10000"/>
                  <a:gd name="connsiteX2813" fmla="*/ 2272 w 10354"/>
                  <a:gd name="connsiteY2813" fmla="*/ 7889 h 10000"/>
                  <a:gd name="connsiteX2814" fmla="*/ 2281 w 10354"/>
                  <a:gd name="connsiteY2814" fmla="*/ 7872 h 10000"/>
                  <a:gd name="connsiteX2815" fmla="*/ 2272 w 10354"/>
                  <a:gd name="connsiteY2815" fmla="*/ 7846 h 10000"/>
                  <a:gd name="connsiteX2816" fmla="*/ 2253 w 10354"/>
                  <a:gd name="connsiteY2816" fmla="*/ 7838 h 10000"/>
                  <a:gd name="connsiteX2817" fmla="*/ 2221 w 10354"/>
                  <a:gd name="connsiteY2817" fmla="*/ 7821 h 10000"/>
                  <a:gd name="connsiteX2818" fmla="*/ 2212 w 10354"/>
                  <a:gd name="connsiteY2818" fmla="*/ 7812 h 10000"/>
                  <a:gd name="connsiteX2819" fmla="*/ 2212 w 10354"/>
                  <a:gd name="connsiteY2819" fmla="*/ 7803 h 10000"/>
                  <a:gd name="connsiteX2820" fmla="*/ 2221 w 10354"/>
                  <a:gd name="connsiteY2820" fmla="*/ 7803 h 10000"/>
                  <a:gd name="connsiteX2821" fmla="*/ 2235 w 10354"/>
                  <a:gd name="connsiteY2821" fmla="*/ 7786 h 10000"/>
                  <a:gd name="connsiteX2822" fmla="*/ 2240 w 10354"/>
                  <a:gd name="connsiteY2822" fmla="*/ 7778 h 10000"/>
                  <a:gd name="connsiteX2823" fmla="*/ 2226 w 10354"/>
                  <a:gd name="connsiteY2823" fmla="*/ 7761 h 10000"/>
                  <a:gd name="connsiteX2824" fmla="*/ 2221 w 10354"/>
                  <a:gd name="connsiteY2824" fmla="*/ 7778 h 10000"/>
                  <a:gd name="connsiteX2825" fmla="*/ 2198 w 10354"/>
                  <a:gd name="connsiteY2825" fmla="*/ 7778 h 10000"/>
                  <a:gd name="connsiteX2826" fmla="*/ 2198 w 10354"/>
                  <a:gd name="connsiteY2826" fmla="*/ 7752 h 10000"/>
                  <a:gd name="connsiteX2827" fmla="*/ 2207 w 10354"/>
                  <a:gd name="connsiteY2827" fmla="*/ 7735 h 10000"/>
                  <a:gd name="connsiteX2828" fmla="*/ 2212 w 10354"/>
                  <a:gd name="connsiteY2828" fmla="*/ 7726 h 10000"/>
                  <a:gd name="connsiteX2829" fmla="*/ 2198 w 10354"/>
                  <a:gd name="connsiteY2829" fmla="*/ 7692 h 10000"/>
                  <a:gd name="connsiteX2830" fmla="*/ 2221 w 10354"/>
                  <a:gd name="connsiteY2830" fmla="*/ 7692 h 10000"/>
                  <a:gd name="connsiteX2831" fmla="*/ 2221 w 10354"/>
                  <a:gd name="connsiteY2831" fmla="*/ 7675 h 10000"/>
                  <a:gd name="connsiteX2832" fmla="*/ 2235 w 10354"/>
                  <a:gd name="connsiteY2832" fmla="*/ 7675 h 10000"/>
                  <a:gd name="connsiteX2833" fmla="*/ 2240 w 10354"/>
                  <a:gd name="connsiteY2833" fmla="*/ 7692 h 10000"/>
                  <a:gd name="connsiteX2834" fmla="*/ 2249 w 10354"/>
                  <a:gd name="connsiteY2834" fmla="*/ 7692 h 10000"/>
                  <a:gd name="connsiteX2835" fmla="*/ 2258 w 10354"/>
                  <a:gd name="connsiteY2835" fmla="*/ 7692 h 10000"/>
                  <a:gd name="connsiteX2836" fmla="*/ 2267 w 10354"/>
                  <a:gd name="connsiteY2836" fmla="*/ 7692 h 10000"/>
                  <a:gd name="connsiteX2837" fmla="*/ 2295 w 10354"/>
                  <a:gd name="connsiteY2837" fmla="*/ 7692 h 10000"/>
                  <a:gd name="connsiteX2838" fmla="*/ 2300 w 10354"/>
                  <a:gd name="connsiteY2838" fmla="*/ 7701 h 10000"/>
                  <a:gd name="connsiteX2839" fmla="*/ 2313 w 10354"/>
                  <a:gd name="connsiteY2839" fmla="*/ 7675 h 10000"/>
                  <a:gd name="connsiteX2840" fmla="*/ 2323 w 10354"/>
                  <a:gd name="connsiteY2840" fmla="*/ 7675 h 10000"/>
                  <a:gd name="connsiteX2841" fmla="*/ 2341 w 10354"/>
                  <a:gd name="connsiteY2841" fmla="*/ 7675 h 10000"/>
                  <a:gd name="connsiteX2842" fmla="*/ 2346 w 10354"/>
                  <a:gd name="connsiteY2842" fmla="*/ 7667 h 10000"/>
                  <a:gd name="connsiteX2843" fmla="*/ 2359 w 10354"/>
                  <a:gd name="connsiteY2843" fmla="*/ 7650 h 10000"/>
                  <a:gd name="connsiteX2844" fmla="*/ 2373 w 10354"/>
                  <a:gd name="connsiteY2844" fmla="*/ 7624 h 10000"/>
                  <a:gd name="connsiteX2845" fmla="*/ 2382 w 10354"/>
                  <a:gd name="connsiteY2845" fmla="*/ 7641 h 10000"/>
                  <a:gd name="connsiteX2846" fmla="*/ 2396 w 10354"/>
                  <a:gd name="connsiteY2846" fmla="*/ 7650 h 10000"/>
                  <a:gd name="connsiteX2847" fmla="*/ 2401 w 10354"/>
                  <a:gd name="connsiteY2847" fmla="*/ 7650 h 10000"/>
                  <a:gd name="connsiteX2848" fmla="*/ 2401 w 10354"/>
                  <a:gd name="connsiteY2848" fmla="*/ 7624 h 10000"/>
                  <a:gd name="connsiteX2849" fmla="*/ 2419 w 10354"/>
                  <a:gd name="connsiteY2849" fmla="*/ 7624 h 10000"/>
                  <a:gd name="connsiteX2850" fmla="*/ 2433 w 10354"/>
                  <a:gd name="connsiteY2850" fmla="*/ 7615 h 10000"/>
                  <a:gd name="connsiteX2851" fmla="*/ 2442 w 10354"/>
                  <a:gd name="connsiteY2851" fmla="*/ 7615 h 10000"/>
                  <a:gd name="connsiteX2852" fmla="*/ 2447 w 10354"/>
                  <a:gd name="connsiteY2852" fmla="*/ 7598 h 10000"/>
                  <a:gd name="connsiteX2853" fmla="*/ 2461 w 10354"/>
                  <a:gd name="connsiteY2853" fmla="*/ 7598 h 10000"/>
                  <a:gd name="connsiteX2854" fmla="*/ 2465 w 10354"/>
                  <a:gd name="connsiteY2854" fmla="*/ 7615 h 10000"/>
                  <a:gd name="connsiteX2855" fmla="*/ 2479 w 10354"/>
                  <a:gd name="connsiteY2855" fmla="*/ 7564 h 10000"/>
                  <a:gd name="connsiteX2856" fmla="*/ 2488 w 10354"/>
                  <a:gd name="connsiteY2856" fmla="*/ 7556 h 10000"/>
                  <a:gd name="connsiteX2857" fmla="*/ 2493 w 10354"/>
                  <a:gd name="connsiteY2857" fmla="*/ 7556 h 10000"/>
                  <a:gd name="connsiteX2858" fmla="*/ 2507 w 10354"/>
                  <a:gd name="connsiteY2858" fmla="*/ 7556 h 10000"/>
                  <a:gd name="connsiteX2859" fmla="*/ 2530 w 10354"/>
                  <a:gd name="connsiteY2859" fmla="*/ 7538 h 10000"/>
                  <a:gd name="connsiteX2860" fmla="*/ 2530 w 10354"/>
                  <a:gd name="connsiteY2860" fmla="*/ 7556 h 10000"/>
                  <a:gd name="connsiteX2861" fmla="*/ 2641 w 10354"/>
                  <a:gd name="connsiteY2861" fmla="*/ 7504 h 10000"/>
                  <a:gd name="connsiteX2862" fmla="*/ 2654 w 10354"/>
                  <a:gd name="connsiteY2862" fmla="*/ 7487 h 10000"/>
                  <a:gd name="connsiteX2863" fmla="*/ 2664 w 10354"/>
                  <a:gd name="connsiteY2863" fmla="*/ 7487 h 10000"/>
                  <a:gd name="connsiteX2864" fmla="*/ 2668 w 10354"/>
                  <a:gd name="connsiteY2864" fmla="*/ 7479 h 10000"/>
                  <a:gd name="connsiteX2865" fmla="*/ 2673 w 10354"/>
                  <a:gd name="connsiteY2865" fmla="*/ 7462 h 10000"/>
                  <a:gd name="connsiteX2866" fmla="*/ 2673 w 10354"/>
                  <a:gd name="connsiteY2866" fmla="*/ 7427 h 10000"/>
                  <a:gd name="connsiteX2867" fmla="*/ 2687 w 10354"/>
                  <a:gd name="connsiteY2867" fmla="*/ 7436 h 10000"/>
                  <a:gd name="connsiteX2868" fmla="*/ 2696 w 10354"/>
                  <a:gd name="connsiteY2868" fmla="*/ 7427 h 10000"/>
                  <a:gd name="connsiteX2869" fmla="*/ 2700 w 10354"/>
                  <a:gd name="connsiteY2869" fmla="*/ 7419 h 10000"/>
                  <a:gd name="connsiteX2870" fmla="*/ 2710 w 10354"/>
                  <a:gd name="connsiteY2870" fmla="*/ 7402 h 10000"/>
                  <a:gd name="connsiteX2871" fmla="*/ 2724 w 10354"/>
                  <a:gd name="connsiteY2871" fmla="*/ 7402 h 10000"/>
                  <a:gd name="connsiteX2872" fmla="*/ 2724 w 10354"/>
                  <a:gd name="connsiteY2872" fmla="*/ 7393 h 10000"/>
                  <a:gd name="connsiteX2873" fmla="*/ 2737 w 10354"/>
                  <a:gd name="connsiteY2873" fmla="*/ 7393 h 10000"/>
                  <a:gd name="connsiteX2874" fmla="*/ 2742 w 10354"/>
                  <a:gd name="connsiteY2874" fmla="*/ 7402 h 10000"/>
                  <a:gd name="connsiteX2875" fmla="*/ 2747 w 10354"/>
                  <a:gd name="connsiteY2875" fmla="*/ 7402 h 10000"/>
                  <a:gd name="connsiteX2876" fmla="*/ 2760 w 10354"/>
                  <a:gd name="connsiteY2876" fmla="*/ 7402 h 10000"/>
                  <a:gd name="connsiteX2877" fmla="*/ 2770 w 10354"/>
                  <a:gd name="connsiteY2877" fmla="*/ 7402 h 10000"/>
                  <a:gd name="connsiteX2878" fmla="*/ 2774 w 10354"/>
                  <a:gd name="connsiteY2878" fmla="*/ 7402 h 10000"/>
                  <a:gd name="connsiteX2879" fmla="*/ 2783 w 10354"/>
                  <a:gd name="connsiteY2879" fmla="*/ 7419 h 10000"/>
                  <a:gd name="connsiteX2880" fmla="*/ 2802 w 10354"/>
                  <a:gd name="connsiteY2880" fmla="*/ 7436 h 10000"/>
                  <a:gd name="connsiteX2881" fmla="*/ 2816 w 10354"/>
                  <a:gd name="connsiteY2881" fmla="*/ 7419 h 10000"/>
                  <a:gd name="connsiteX2882" fmla="*/ 2834 w 10354"/>
                  <a:gd name="connsiteY2882" fmla="*/ 7419 h 10000"/>
                  <a:gd name="connsiteX2883" fmla="*/ 2843 w 10354"/>
                  <a:gd name="connsiteY2883" fmla="*/ 7419 h 10000"/>
                  <a:gd name="connsiteX2884" fmla="*/ 2848 w 10354"/>
                  <a:gd name="connsiteY2884" fmla="*/ 7436 h 10000"/>
                  <a:gd name="connsiteX2885" fmla="*/ 2857 w 10354"/>
                  <a:gd name="connsiteY2885" fmla="*/ 7453 h 10000"/>
                  <a:gd name="connsiteX2886" fmla="*/ 2857 w 10354"/>
                  <a:gd name="connsiteY2886" fmla="*/ 7504 h 10000"/>
                  <a:gd name="connsiteX2887" fmla="*/ 2862 w 10354"/>
                  <a:gd name="connsiteY2887" fmla="*/ 7530 h 10000"/>
                  <a:gd name="connsiteX2888" fmla="*/ 2876 w 10354"/>
                  <a:gd name="connsiteY2888" fmla="*/ 7538 h 10000"/>
                  <a:gd name="connsiteX2889" fmla="*/ 2871 w 10354"/>
                  <a:gd name="connsiteY2889" fmla="*/ 7564 h 10000"/>
                  <a:gd name="connsiteX2890" fmla="*/ 2871 w 10354"/>
                  <a:gd name="connsiteY2890" fmla="*/ 7598 h 10000"/>
                  <a:gd name="connsiteX2891" fmla="*/ 2857 w 10354"/>
                  <a:gd name="connsiteY2891" fmla="*/ 7624 h 10000"/>
                  <a:gd name="connsiteX2892" fmla="*/ 2862 w 10354"/>
                  <a:gd name="connsiteY2892" fmla="*/ 7641 h 10000"/>
                  <a:gd name="connsiteX2893" fmla="*/ 2871 w 10354"/>
                  <a:gd name="connsiteY2893" fmla="*/ 7667 h 10000"/>
                  <a:gd name="connsiteX2894" fmla="*/ 2880 w 10354"/>
                  <a:gd name="connsiteY2894" fmla="*/ 7650 h 10000"/>
                  <a:gd name="connsiteX2895" fmla="*/ 2894 w 10354"/>
                  <a:gd name="connsiteY2895" fmla="*/ 7667 h 10000"/>
                  <a:gd name="connsiteX2896" fmla="*/ 2903 w 10354"/>
                  <a:gd name="connsiteY2896" fmla="*/ 7667 h 10000"/>
                  <a:gd name="connsiteX2897" fmla="*/ 2908 w 10354"/>
                  <a:gd name="connsiteY2897" fmla="*/ 7641 h 10000"/>
                  <a:gd name="connsiteX2898" fmla="*/ 2917 w 10354"/>
                  <a:gd name="connsiteY2898" fmla="*/ 7641 h 10000"/>
                  <a:gd name="connsiteX2899" fmla="*/ 2922 w 10354"/>
                  <a:gd name="connsiteY2899" fmla="*/ 7641 h 10000"/>
                  <a:gd name="connsiteX2900" fmla="*/ 2931 w 10354"/>
                  <a:gd name="connsiteY2900" fmla="*/ 7615 h 10000"/>
                  <a:gd name="connsiteX2901" fmla="*/ 2935 w 10354"/>
                  <a:gd name="connsiteY2901" fmla="*/ 7615 h 10000"/>
                  <a:gd name="connsiteX2902" fmla="*/ 2945 w 10354"/>
                  <a:gd name="connsiteY2902" fmla="*/ 7650 h 10000"/>
                  <a:gd name="connsiteX2903" fmla="*/ 2949 w 10354"/>
                  <a:gd name="connsiteY2903" fmla="*/ 7667 h 10000"/>
                  <a:gd name="connsiteX2904" fmla="*/ 2949 w 10354"/>
                  <a:gd name="connsiteY2904" fmla="*/ 7675 h 10000"/>
                  <a:gd name="connsiteX2905" fmla="*/ 2945 w 10354"/>
                  <a:gd name="connsiteY2905" fmla="*/ 7692 h 10000"/>
                  <a:gd name="connsiteX2906" fmla="*/ 2963 w 10354"/>
                  <a:gd name="connsiteY2906" fmla="*/ 7701 h 10000"/>
                  <a:gd name="connsiteX2907" fmla="*/ 2963 w 10354"/>
                  <a:gd name="connsiteY2907" fmla="*/ 7675 h 10000"/>
                  <a:gd name="connsiteX2908" fmla="*/ 2954 w 10354"/>
                  <a:gd name="connsiteY2908" fmla="*/ 7667 h 10000"/>
                  <a:gd name="connsiteX2909" fmla="*/ 2963 w 10354"/>
                  <a:gd name="connsiteY2909" fmla="*/ 7667 h 10000"/>
                  <a:gd name="connsiteX2910" fmla="*/ 2982 w 10354"/>
                  <a:gd name="connsiteY2910" fmla="*/ 7667 h 10000"/>
                  <a:gd name="connsiteX2911" fmla="*/ 2991 w 10354"/>
                  <a:gd name="connsiteY2911" fmla="*/ 7675 h 10000"/>
                  <a:gd name="connsiteX2912" fmla="*/ 2995 w 10354"/>
                  <a:gd name="connsiteY2912" fmla="*/ 7692 h 10000"/>
                  <a:gd name="connsiteX2913" fmla="*/ 3009 w 10354"/>
                  <a:gd name="connsiteY2913" fmla="*/ 7701 h 10000"/>
                  <a:gd name="connsiteX2914" fmla="*/ 3018 w 10354"/>
                  <a:gd name="connsiteY2914" fmla="*/ 7701 h 10000"/>
                  <a:gd name="connsiteX2915" fmla="*/ 3023 w 10354"/>
                  <a:gd name="connsiteY2915" fmla="*/ 7692 h 10000"/>
                  <a:gd name="connsiteX2916" fmla="*/ 3028 w 10354"/>
                  <a:gd name="connsiteY2916" fmla="*/ 7675 h 10000"/>
                  <a:gd name="connsiteX2917" fmla="*/ 3037 w 10354"/>
                  <a:gd name="connsiteY2917" fmla="*/ 7692 h 10000"/>
                  <a:gd name="connsiteX2918" fmla="*/ 3028 w 10354"/>
                  <a:gd name="connsiteY2918" fmla="*/ 7709 h 10000"/>
                  <a:gd name="connsiteX2919" fmla="*/ 3023 w 10354"/>
                  <a:gd name="connsiteY2919" fmla="*/ 7709 h 10000"/>
                  <a:gd name="connsiteX2920" fmla="*/ 3018 w 10354"/>
                  <a:gd name="connsiteY2920" fmla="*/ 7726 h 10000"/>
                  <a:gd name="connsiteX2921" fmla="*/ 3009 w 10354"/>
                  <a:gd name="connsiteY2921" fmla="*/ 7735 h 10000"/>
                  <a:gd name="connsiteX2922" fmla="*/ 3009 w 10354"/>
                  <a:gd name="connsiteY2922" fmla="*/ 7761 h 10000"/>
                  <a:gd name="connsiteX2923" fmla="*/ 3009 w 10354"/>
                  <a:gd name="connsiteY2923" fmla="*/ 7778 h 10000"/>
                  <a:gd name="connsiteX2924" fmla="*/ 3018 w 10354"/>
                  <a:gd name="connsiteY2924" fmla="*/ 7786 h 10000"/>
                  <a:gd name="connsiteX2925" fmla="*/ 3023 w 10354"/>
                  <a:gd name="connsiteY2925" fmla="*/ 7786 h 10000"/>
                  <a:gd name="connsiteX2926" fmla="*/ 3028 w 10354"/>
                  <a:gd name="connsiteY2926" fmla="*/ 7778 h 10000"/>
                  <a:gd name="connsiteX2927" fmla="*/ 3051 w 10354"/>
                  <a:gd name="connsiteY2927" fmla="*/ 7761 h 10000"/>
                  <a:gd name="connsiteX2928" fmla="*/ 3055 w 10354"/>
                  <a:gd name="connsiteY2928" fmla="*/ 7778 h 10000"/>
                  <a:gd name="connsiteX2929" fmla="*/ 3065 w 10354"/>
                  <a:gd name="connsiteY2929" fmla="*/ 7761 h 10000"/>
                  <a:gd name="connsiteX2930" fmla="*/ 3069 w 10354"/>
                  <a:gd name="connsiteY2930" fmla="*/ 7786 h 10000"/>
                  <a:gd name="connsiteX2931" fmla="*/ 3083 w 10354"/>
                  <a:gd name="connsiteY2931" fmla="*/ 7786 h 10000"/>
                  <a:gd name="connsiteX2932" fmla="*/ 3078 w 10354"/>
                  <a:gd name="connsiteY2932" fmla="*/ 7761 h 10000"/>
                  <a:gd name="connsiteX2933" fmla="*/ 3083 w 10354"/>
                  <a:gd name="connsiteY2933" fmla="*/ 7752 h 10000"/>
                  <a:gd name="connsiteX2934" fmla="*/ 3097 w 10354"/>
                  <a:gd name="connsiteY2934" fmla="*/ 7752 h 10000"/>
                  <a:gd name="connsiteX2935" fmla="*/ 3111 w 10354"/>
                  <a:gd name="connsiteY2935" fmla="*/ 7726 h 10000"/>
                  <a:gd name="connsiteX2936" fmla="*/ 3124 w 10354"/>
                  <a:gd name="connsiteY2936" fmla="*/ 7709 h 10000"/>
                  <a:gd name="connsiteX2937" fmla="*/ 3143 w 10354"/>
                  <a:gd name="connsiteY2937" fmla="*/ 7692 h 10000"/>
                  <a:gd name="connsiteX2938" fmla="*/ 3152 w 10354"/>
                  <a:gd name="connsiteY2938" fmla="*/ 7667 h 10000"/>
                  <a:gd name="connsiteX2939" fmla="*/ 3157 w 10354"/>
                  <a:gd name="connsiteY2939" fmla="*/ 7650 h 10000"/>
                  <a:gd name="connsiteX2940" fmla="*/ 3161 w 10354"/>
                  <a:gd name="connsiteY2940" fmla="*/ 7650 h 10000"/>
                  <a:gd name="connsiteX2941" fmla="*/ 3189 w 10354"/>
                  <a:gd name="connsiteY2941" fmla="*/ 7641 h 10000"/>
                  <a:gd name="connsiteX2942" fmla="*/ 3198 w 10354"/>
                  <a:gd name="connsiteY2942" fmla="*/ 7624 h 10000"/>
                  <a:gd name="connsiteX2943" fmla="*/ 3217 w 10354"/>
                  <a:gd name="connsiteY2943" fmla="*/ 7615 h 10000"/>
                  <a:gd name="connsiteX2944" fmla="*/ 3235 w 10354"/>
                  <a:gd name="connsiteY2944" fmla="*/ 7598 h 10000"/>
                  <a:gd name="connsiteX2945" fmla="*/ 3235 w 10354"/>
                  <a:gd name="connsiteY2945" fmla="*/ 7615 h 10000"/>
                  <a:gd name="connsiteX2946" fmla="*/ 3235 w 10354"/>
                  <a:gd name="connsiteY2946" fmla="*/ 7641 h 10000"/>
                  <a:gd name="connsiteX2947" fmla="*/ 3235 w 10354"/>
                  <a:gd name="connsiteY2947" fmla="*/ 7650 h 10000"/>
                  <a:gd name="connsiteX2948" fmla="*/ 3226 w 10354"/>
                  <a:gd name="connsiteY2948" fmla="*/ 7650 h 10000"/>
                  <a:gd name="connsiteX2949" fmla="*/ 3217 w 10354"/>
                  <a:gd name="connsiteY2949" fmla="*/ 7650 h 10000"/>
                  <a:gd name="connsiteX2950" fmla="*/ 3212 w 10354"/>
                  <a:gd name="connsiteY2950" fmla="*/ 7675 h 10000"/>
                  <a:gd name="connsiteX2951" fmla="*/ 3212 w 10354"/>
                  <a:gd name="connsiteY2951" fmla="*/ 7675 h 10000"/>
                  <a:gd name="connsiteX0" fmla="*/ 3212 w 10354"/>
                  <a:gd name="connsiteY0" fmla="*/ 7675 h 10000"/>
                  <a:gd name="connsiteX1" fmla="*/ 3217 w 10354"/>
                  <a:gd name="connsiteY1" fmla="*/ 7692 h 10000"/>
                  <a:gd name="connsiteX2" fmla="*/ 3226 w 10354"/>
                  <a:gd name="connsiteY2" fmla="*/ 7692 h 10000"/>
                  <a:gd name="connsiteX3" fmla="*/ 3309 w 10354"/>
                  <a:gd name="connsiteY3" fmla="*/ 7838 h 10000"/>
                  <a:gd name="connsiteX4" fmla="*/ 3452 w 10354"/>
                  <a:gd name="connsiteY4" fmla="*/ 8325 h 10000"/>
                  <a:gd name="connsiteX5" fmla="*/ 3470 w 10354"/>
                  <a:gd name="connsiteY5" fmla="*/ 8299 h 10000"/>
                  <a:gd name="connsiteX6" fmla="*/ 3470 w 10354"/>
                  <a:gd name="connsiteY6" fmla="*/ 8282 h 10000"/>
                  <a:gd name="connsiteX7" fmla="*/ 3470 w 10354"/>
                  <a:gd name="connsiteY7" fmla="*/ 8274 h 10000"/>
                  <a:gd name="connsiteX8" fmla="*/ 3484 w 10354"/>
                  <a:gd name="connsiteY8" fmla="*/ 8231 h 10000"/>
                  <a:gd name="connsiteX9" fmla="*/ 3498 w 10354"/>
                  <a:gd name="connsiteY9" fmla="*/ 8231 h 10000"/>
                  <a:gd name="connsiteX10" fmla="*/ 3498 w 10354"/>
                  <a:gd name="connsiteY10" fmla="*/ 8248 h 10000"/>
                  <a:gd name="connsiteX11" fmla="*/ 3512 w 10354"/>
                  <a:gd name="connsiteY11" fmla="*/ 8256 h 10000"/>
                  <a:gd name="connsiteX12" fmla="*/ 3525 w 10354"/>
                  <a:gd name="connsiteY12" fmla="*/ 8274 h 10000"/>
                  <a:gd name="connsiteX13" fmla="*/ 3525 w 10354"/>
                  <a:gd name="connsiteY13" fmla="*/ 8282 h 10000"/>
                  <a:gd name="connsiteX14" fmla="*/ 3525 w 10354"/>
                  <a:gd name="connsiteY14" fmla="*/ 8308 h 10000"/>
                  <a:gd name="connsiteX15" fmla="*/ 3530 w 10354"/>
                  <a:gd name="connsiteY15" fmla="*/ 8308 h 10000"/>
                  <a:gd name="connsiteX16" fmla="*/ 3539 w 10354"/>
                  <a:gd name="connsiteY16" fmla="*/ 8333 h 10000"/>
                  <a:gd name="connsiteX17" fmla="*/ 3571 w 10354"/>
                  <a:gd name="connsiteY17" fmla="*/ 8333 h 10000"/>
                  <a:gd name="connsiteX18" fmla="*/ 3590 w 10354"/>
                  <a:gd name="connsiteY18" fmla="*/ 8350 h 10000"/>
                  <a:gd name="connsiteX19" fmla="*/ 3599 w 10354"/>
                  <a:gd name="connsiteY19" fmla="*/ 8333 h 10000"/>
                  <a:gd name="connsiteX20" fmla="*/ 3618 w 10354"/>
                  <a:gd name="connsiteY20" fmla="*/ 8333 h 10000"/>
                  <a:gd name="connsiteX21" fmla="*/ 3618 w 10354"/>
                  <a:gd name="connsiteY21" fmla="*/ 8325 h 10000"/>
                  <a:gd name="connsiteX22" fmla="*/ 3627 w 10354"/>
                  <a:gd name="connsiteY22" fmla="*/ 8308 h 10000"/>
                  <a:gd name="connsiteX23" fmla="*/ 3641 w 10354"/>
                  <a:gd name="connsiteY23" fmla="*/ 8308 h 10000"/>
                  <a:gd name="connsiteX24" fmla="*/ 3645 w 10354"/>
                  <a:gd name="connsiteY24" fmla="*/ 8308 h 10000"/>
                  <a:gd name="connsiteX25" fmla="*/ 3650 w 10354"/>
                  <a:gd name="connsiteY25" fmla="*/ 8299 h 10000"/>
                  <a:gd name="connsiteX26" fmla="*/ 3659 w 10354"/>
                  <a:gd name="connsiteY26" fmla="*/ 8282 h 10000"/>
                  <a:gd name="connsiteX27" fmla="*/ 3677 w 10354"/>
                  <a:gd name="connsiteY27" fmla="*/ 8299 h 10000"/>
                  <a:gd name="connsiteX28" fmla="*/ 3687 w 10354"/>
                  <a:gd name="connsiteY28" fmla="*/ 8299 h 10000"/>
                  <a:gd name="connsiteX29" fmla="*/ 3691 w 10354"/>
                  <a:gd name="connsiteY29" fmla="*/ 8325 h 10000"/>
                  <a:gd name="connsiteX30" fmla="*/ 3700 w 10354"/>
                  <a:gd name="connsiteY30" fmla="*/ 8325 h 10000"/>
                  <a:gd name="connsiteX31" fmla="*/ 3714 w 10354"/>
                  <a:gd name="connsiteY31" fmla="*/ 8359 h 10000"/>
                  <a:gd name="connsiteX32" fmla="*/ 3719 w 10354"/>
                  <a:gd name="connsiteY32" fmla="*/ 8359 h 10000"/>
                  <a:gd name="connsiteX33" fmla="*/ 3724 w 10354"/>
                  <a:gd name="connsiteY33" fmla="*/ 8368 h 10000"/>
                  <a:gd name="connsiteX34" fmla="*/ 3719 w 10354"/>
                  <a:gd name="connsiteY34" fmla="*/ 8393 h 10000"/>
                  <a:gd name="connsiteX35" fmla="*/ 3724 w 10354"/>
                  <a:gd name="connsiteY35" fmla="*/ 8410 h 10000"/>
                  <a:gd name="connsiteX36" fmla="*/ 3724 w 10354"/>
                  <a:gd name="connsiteY36" fmla="*/ 8436 h 10000"/>
                  <a:gd name="connsiteX37" fmla="*/ 3737 w 10354"/>
                  <a:gd name="connsiteY37" fmla="*/ 8436 h 10000"/>
                  <a:gd name="connsiteX38" fmla="*/ 3765 w 10354"/>
                  <a:gd name="connsiteY38" fmla="*/ 8462 h 10000"/>
                  <a:gd name="connsiteX39" fmla="*/ 3765 w 10354"/>
                  <a:gd name="connsiteY39" fmla="*/ 8470 h 10000"/>
                  <a:gd name="connsiteX40" fmla="*/ 3765 w 10354"/>
                  <a:gd name="connsiteY40" fmla="*/ 8496 h 10000"/>
                  <a:gd name="connsiteX41" fmla="*/ 3774 w 10354"/>
                  <a:gd name="connsiteY41" fmla="*/ 8496 h 10000"/>
                  <a:gd name="connsiteX42" fmla="*/ 3779 w 10354"/>
                  <a:gd name="connsiteY42" fmla="*/ 8504 h 10000"/>
                  <a:gd name="connsiteX43" fmla="*/ 3793 w 10354"/>
                  <a:gd name="connsiteY43" fmla="*/ 8547 h 10000"/>
                  <a:gd name="connsiteX44" fmla="*/ 3797 w 10354"/>
                  <a:gd name="connsiteY44" fmla="*/ 8547 h 10000"/>
                  <a:gd name="connsiteX45" fmla="*/ 3820 w 10354"/>
                  <a:gd name="connsiteY45" fmla="*/ 8556 h 10000"/>
                  <a:gd name="connsiteX46" fmla="*/ 3834 w 10354"/>
                  <a:gd name="connsiteY46" fmla="*/ 8573 h 10000"/>
                  <a:gd name="connsiteX47" fmla="*/ 3853 w 10354"/>
                  <a:gd name="connsiteY47" fmla="*/ 8573 h 10000"/>
                  <a:gd name="connsiteX48" fmla="*/ 3857 w 10354"/>
                  <a:gd name="connsiteY48" fmla="*/ 8556 h 10000"/>
                  <a:gd name="connsiteX49" fmla="*/ 3866 w 10354"/>
                  <a:gd name="connsiteY49" fmla="*/ 8547 h 10000"/>
                  <a:gd name="connsiteX50" fmla="*/ 3880 w 10354"/>
                  <a:gd name="connsiteY50" fmla="*/ 8530 h 10000"/>
                  <a:gd name="connsiteX51" fmla="*/ 3885 w 10354"/>
                  <a:gd name="connsiteY51" fmla="*/ 8547 h 10000"/>
                  <a:gd name="connsiteX52" fmla="*/ 3885 w 10354"/>
                  <a:gd name="connsiteY52" fmla="*/ 8573 h 10000"/>
                  <a:gd name="connsiteX53" fmla="*/ 3899 w 10354"/>
                  <a:gd name="connsiteY53" fmla="*/ 8573 h 10000"/>
                  <a:gd name="connsiteX54" fmla="*/ 3908 w 10354"/>
                  <a:gd name="connsiteY54" fmla="*/ 8607 h 10000"/>
                  <a:gd name="connsiteX55" fmla="*/ 3912 w 10354"/>
                  <a:gd name="connsiteY55" fmla="*/ 8615 h 10000"/>
                  <a:gd name="connsiteX56" fmla="*/ 3922 w 10354"/>
                  <a:gd name="connsiteY56" fmla="*/ 8632 h 10000"/>
                  <a:gd name="connsiteX57" fmla="*/ 3908 w 10354"/>
                  <a:gd name="connsiteY57" fmla="*/ 8692 h 10000"/>
                  <a:gd name="connsiteX58" fmla="*/ 3908 w 10354"/>
                  <a:gd name="connsiteY58" fmla="*/ 8692 h 10000"/>
                  <a:gd name="connsiteX59" fmla="*/ 3931 w 10354"/>
                  <a:gd name="connsiteY59" fmla="*/ 8709 h 10000"/>
                  <a:gd name="connsiteX60" fmla="*/ 3954 w 10354"/>
                  <a:gd name="connsiteY60" fmla="*/ 8667 h 10000"/>
                  <a:gd name="connsiteX61" fmla="*/ 3959 w 10354"/>
                  <a:gd name="connsiteY61" fmla="*/ 8667 h 10000"/>
                  <a:gd name="connsiteX62" fmla="*/ 3972 w 10354"/>
                  <a:gd name="connsiteY62" fmla="*/ 8615 h 10000"/>
                  <a:gd name="connsiteX63" fmla="*/ 3995 w 10354"/>
                  <a:gd name="connsiteY63" fmla="*/ 8581 h 10000"/>
                  <a:gd name="connsiteX64" fmla="*/ 4032 w 10354"/>
                  <a:gd name="connsiteY64" fmla="*/ 8556 h 10000"/>
                  <a:gd name="connsiteX65" fmla="*/ 4138 w 10354"/>
                  <a:gd name="connsiteY65" fmla="*/ 8419 h 10000"/>
                  <a:gd name="connsiteX66" fmla="*/ 4249 w 10354"/>
                  <a:gd name="connsiteY66" fmla="*/ 8359 h 10000"/>
                  <a:gd name="connsiteX67" fmla="*/ 4295 w 10354"/>
                  <a:gd name="connsiteY67" fmla="*/ 8385 h 10000"/>
                  <a:gd name="connsiteX68" fmla="*/ 4309 w 10354"/>
                  <a:gd name="connsiteY68" fmla="*/ 8410 h 10000"/>
                  <a:gd name="connsiteX69" fmla="*/ 4355 w 10354"/>
                  <a:gd name="connsiteY69" fmla="*/ 8393 h 10000"/>
                  <a:gd name="connsiteX70" fmla="*/ 4382 w 10354"/>
                  <a:gd name="connsiteY70" fmla="*/ 8393 h 10000"/>
                  <a:gd name="connsiteX71" fmla="*/ 4419 w 10354"/>
                  <a:gd name="connsiteY71" fmla="*/ 8487 h 10000"/>
                  <a:gd name="connsiteX72" fmla="*/ 4442 w 10354"/>
                  <a:gd name="connsiteY72" fmla="*/ 8487 h 10000"/>
                  <a:gd name="connsiteX73" fmla="*/ 4493 w 10354"/>
                  <a:gd name="connsiteY73" fmla="*/ 8470 h 10000"/>
                  <a:gd name="connsiteX74" fmla="*/ 4516 w 10354"/>
                  <a:gd name="connsiteY74" fmla="*/ 8487 h 10000"/>
                  <a:gd name="connsiteX75" fmla="*/ 4608 w 10354"/>
                  <a:gd name="connsiteY75" fmla="*/ 8470 h 10000"/>
                  <a:gd name="connsiteX76" fmla="*/ 4622 w 10354"/>
                  <a:gd name="connsiteY76" fmla="*/ 8470 h 10000"/>
                  <a:gd name="connsiteX77" fmla="*/ 4618 w 10354"/>
                  <a:gd name="connsiteY77" fmla="*/ 8419 h 10000"/>
                  <a:gd name="connsiteX78" fmla="*/ 4622 w 10354"/>
                  <a:gd name="connsiteY78" fmla="*/ 8385 h 10000"/>
                  <a:gd name="connsiteX79" fmla="*/ 4636 w 10354"/>
                  <a:gd name="connsiteY79" fmla="*/ 8350 h 10000"/>
                  <a:gd name="connsiteX80" fmla="*/ 4636 w 10354"/>
                  <a:gd name="connsiteY80" fmla="*/ 8325 h 10000"/>
                  <a:gd name="connsiteX81" fmla="*/ 4622 w 10354"/>
                  <a:gd name="connsiteY81" fmla="*/ 8282 h 10000"/>
                  <a:gd name="connsiteX82" fmla="*/ 4618 w 10354"/>
                  <a:gd name="connsiteY82" fmla="*/ 8248 h 10000"/>
                  <a:gd name="connsiteX83" fmla="*/ 4618 w 10354"/>
                  <a:gd name="connsiteY83" fmla="*/ 8214 h 10000"/>
                  <a:gd name="connsiteX84" fmla="*/ 4691 w 10354"/>
                  <a:gd name="connsiteY84" fmla="*/ 8077 h 10000"/>
                  <a:gd name="connsiteX85" fmla="*/ 4700 w 10354"/>
                  <a:gd name="connsiteY85" fmla="*/ 8060 h 10000"/>
                  <a:gd name="connsiteX86" fmla="*/ 4728 w 10354"/>
                  <a:gd name="connsiteY86" fmla="*/ 8077 h 10000"/>
                  <a:gd name="connsiteX87" fmla="*/ 4751 w 10354"/>
                  <a:gd name="connsiteY87" fmla="*/ 8094 h 10000"/>
                  <a:gd name="connsiteX88" fmla="*/ 4788 w 10354"/>
                  <a:gd name="connsiteY88" fmla="*/ 8120 h 10000"/>
                  <a:gd name="connsiteX89" fmla="*/ 4802 w 10354"/>
                  <a:gd name="connsiteY89" fmla="*/ 8162 h 10000"/>
                  <a:gd name="connsiteX90" fmla="*/ 4885 w 10354"/>
                  <a:gd name="connsiteY90" fmla="*/ 8197 h 10000"/>
                  <a:gd name="connsiteX91" fmla="*/ 4889 w 10354"/>
                  <a:gd name="connsiteY91" fmla="*/ 8231 h 10000"/>
                  <a:gd name="connsiteX92" fmla="*/ 4899 w 10354"/>
                  <a:gd name="connsiteY92" fmla="*/ 8333 h 10000"/>
                  <a:gd name="connsiteX93" fmla="*/ 4903 w 10354"/>
                  <a:gd name="connsiteY93" fmla="*/ 8333 h 10000"/>
                  <a:gd name="connsiteX94" fmla="*/ 4949 w 10354"/>
                  <a:gd name="connsiteY94" fmla="*/ 8410 h 10000"/>
                  <a:gd name="connsiteX95" fmla="*/ 4991 w 10354"/>
                  <a:gd name="connsiteY95" fmla="*/ 8436 h 10000"/>
                  <a:gd name="connsiteX96" fmla="*/ 5023 w 10354"/>
                  <a:gd name="connsiteY96" fmla="*/ 8419 h 10000"/>
                  <a:gd name="connsiteX97" fmla="*/ 5092 w 10354"/>
                  <a:gd name="connsiteY97" fmla="*/ 8359 h 10000"/>
                  <a:gd name="connsiteX98" fmla="*/ 5180 w 10354"/>
                  <a:gd name="connsiteY98" fmla="*/ 8410 h 10000"/>
                  <a:gd name="connsiteX99" fmla="*/ 5189 w 10354"/>
                  <a:gd name="connsiteY99" fmla="*/ 8436 h 10000"/>
                  <a:gd name="connsiteX100" fmla="*/ 5198 w 10354"/>
                  <a:gd name="connsiteY100" fmla="*/ 8436 h 10000"/>
                  <a:gd name="connsiteX101" fmla="*/ 5226 w 10354"/>
                  <a:gd name="connsiteY101" fmla="*/ 8487 h 10000"/>
                  <a:gd name="connsiteX102" fmla="*/ 5276 w 10354"/>
                  <a:gd name="connsiteY102" fmla="*/ 8504 h 10000"/>
                  <a:gd name="connsiteX103" fmla="*/ 5290 w 10354"/>
                  <a:gd name="connsiteY103" fmla="*/ 8556 h 10000"/>
                  <a:gd name="connsiteX104" fmla="*/ 5323 w 10354"/>
                  <a:gd name="connsiteY104" fmla="*/ 8598 h 10000"/>
                  <a:gd name="connsiteX105" fmla="*/ 5447 w 10354"/>
                  <a:gd name="connsiteY105" fmla="*/ 8615 h 10000"/>
                  <a:gd name="connsiteX106" fmla="*/ 5465 w 10354"/>
                  <a:gd name="connsiteY106" fmla="*/ 8632 h 10000"/>
                  <a:gd name="connsiteX107" fmla="*/ 5604 w 10354"/>
                  <a:gd name="connsiteY107" fmla="*/ 8556 h 10000"/>
                  <a:gd name="connsiteX108" fmla="*/ 5677 w 10354"/>
                  <a:gd name="connsiteY108" fmla="*/ 8462 h 10000"/>
                  <a:gd name="connsiteX109" fmla="*/ 5705 w 10354"/>
                  <a:gd name="connsiteY109" fmla="*/ 8444 h 10000"/>
                  <a:gd name="connsiteX110" fmla="*/ 5737 w 10354"/>
                  <a:gd name="connsiteY110" fmla="*/ 8470 h 10000"/>
                  <a:gd name="connsiteX111" fmla="*/ 5760 w 10354"/>
                  <a:gd name="connsiteY111" fmla="*/ 8496 h 10000"/>
                  <a:gd name="connsiteX112" fmla="*/ 5788 w 10354"/>
                  <a:gd name="connsiteY112" fmla="*/ 8504 h 10000"/>
                  <a:gd name="connsiteX113" fmla="*/ 5806 w 10354"/>
                  <a:gd name="connsiteY113" fmla="*/ 8496 h 10000"/>
                  <a:gd name="connsiteX114" fmla="*/ 5820 w 10354"/>
                  <a:gd name="connsiteY114" fmla="*/ 8487 h 10000"/>
                  <a:gd name="connsiteX115" fmla="*/ 5825 w 10354"/>
                  <a:gd name="connsiteY115" fmla="*/ 8487 h 10000"/>
                  <a:gd name="connsiteX116" fmla="*/ 5825 w 10354"/>
                  <a:gd name="connsiteY116" fmla="*/ 8487 h 10000"/>
                  <a:gd name="connsiteX117" fmla="*/ 5926 w 10354"/>
                  <a:gd name="connsiteY117" fmla="*/ 8556 h 10000"/>
                  <a:gd name="connsiteX118" fmla="*/ 5940 w 10354"/>
                  <a:gd name="connsiteY118" fmla="*/ 8556 h 10000"/>
                  <a:gd name="connsiteX119" fmla="*/ 6014 w 10354"/>
                  <a:gd name="connsiteY119" fmla="*/ 8470 h 10000"/>
                  <a:gd name="connsiteX120" fmla="*/ 6018 w 10354"/>
                  <a:gd name="connsiteY120" fmla="*/ 8444 h 10000"/>
                  <a:gd name="connsiteX121" fmla="*/ 6014 w 10354"/>
                  <a:gd name="connsiteY121" fmla="*/ 8419 h 10000"/>
                  <a:gd name="connsiteX122" fmla="*/ 6018 w 10354"/>
                  <a:gd name="connsiteY122" fmla="*/ 8393 h 10000"/>
                  <a:gd name="connsiteX123" fmla="*/ 6041 w 10354"/>
                  <a:gd name="connsiteY123" fmla="*/ 8333 h 10000"/>
                  <a:gd name="connsiteX124" fmla="*/ 6069 w 10354"/>
                  <a:gd name="connsiteY124" fmla="*/ 8188 h 10000"/>
                  <a:gd name="connsiteX125" fmla="*/ 6088 w 10354"/>
                  <a:gd name="connsiteY125" fmla="*/ 8162 h 10000"/>
                  <a:gd name="connsiteX126" fmla="*/ 6115 w 10354"/>
                  <a:gd name="connsiteY126" fmla="*/ 8094 h 10000"/>
                  <a:gd name="connsiteX127" fmla="*/ 6115 w 10354"/>
                  <a:gd name="connsiteY127" fmla="*/ 8094 h 10000"/>
                  <a:gd name="connsiteX128" fmla="*/ 6106 w 10354"/>
                  <a:gd name="connsiteY128" fmla="*/ 8077 h 10000"/>
                  <a:gd name="connsiteX129" fmla="*/ 6106 w 10354"/>
                  <a:gd name="connsiteY129" fmla="*/ 8009 h 10000"/>
                  <a:gd name="connsiteX130" fmla="*/ 6101 w 10354"/>
                  <a:gd name="connsiteY130" fmla="*/ 8000 h 10000"/>
                  <a:gd name="connsiteX131" fmla="*/ 6069 w 10354"/>
                  <a:gd name="connsiteY131" fmla="*/ 8009 h 10000"/>
                  <a:gd name="connsiteX132" fmla="*/ 6069 w 10354"/>
                  <a:gd name="connsiteY132" fmla="*/ 8000 h 10000"/>
                  <a:gd name="connsiteX133" fmla="*/ 6069 w 10354"/>
                  <a:gd name="connsiteY133" fmla="*/ 7974 h 10000"/>
                  <a:gd name="connsiteX134" fmla="*/ 6101 w 10354"/>
                  <a:gd name="connsiteY134" fmla="*/ 7923 h 10000"/>
                  <a:gd name="connsiteX135" fmla="*/ 6106 w 10354"/>
                  <a:gd name="connsiteY135" fmla="*/ 7889 h 10000"/>
                  <a:gd name="connsiteX136" fmla="*/ 6129 w 10354"/>
                  <a:gd name="connsiteY136" fmla="*/ 7863 h 10000"/>
                  <a:gd name="connsiteX137" fmla="*/ 6300 w 10354"/>
                  <a:gd name="connsiteY137" fmla="*/ 7812 h 10000"/>
                  <a:gd name="connsiteX138" fmla="*/ 6359 w 10354"/>
                  <a:gd name="connsiteY138" fmla="*/ 7872 h 10000"/>
                  <a:gd name="connsiteX139" fmla="*/ 6373 w 10354"/>
                  <a:gd name="connsiteY139" fmla="*/ 7889 h 10000"/>
                  <a:gd name="connsiteX140" fmla="*/ 6401 w 10354"/>
                  <a:gd name="connsiteY140" fmla="*/ 7889 h 10000"/>
                  <a:gd name="connsiteX141" fmla="*/ 6433 w 10354"/>
                  <a:gd name="connsiteY141" fmla="*/ 7915 h 10000"/>
                  <a:gd name="connsiteX142" fmla="*/ 6461 w 10354"/>
                  <a:gd name="connsiteY142" fmla="*/ 7974 h 10000"/>
                  <a:gd name="connsiteX143" fmla="*/ 6461 w 10354"/>
                  <a:gd name="connsiteY143" fmla="*/ 8000 h 10000"/>
                  <a:gd name="connsiteX144" fmla="*/ 6484 w 10354"/>
                  <a:gd name="connsiteY144" fmla="*/ 8034 h 10000"/>
                  <a:gd name="connsiteX145" fmla="*/ 6484 w 10354"/>
                  <a:gd name="connsiteY145" fmla="*/ 8051 h 10000"/>
                  <a:gd name="connsiteX146" fmla="*/ 6484 w 10354"/>
                  <a:gd name="connsiteY146" fmla="*/ 8034 h 10000"/>
                  <a:gd name="connsiteX147" fmla="*/ 6558 w 10354"/>
                  <a:gd name="connsiteY147" fmla="*/ 8444 h 10000"/>
                  <a:gd name="connsiteX148" fmla="*/ 6558 w 10354"/>
                  <a:gd name="connsiteY148" fmla="*/ 8462 h 10000"/>
                  <a:gd name="connsiteX149" fmla="*/ 6558 w 10354"/>
                  <a:gd name="connsiteY149" fmla="*/ 8462 h 10000"/>
                  <a:gd name="connsiteX150" fmla="*/ 6562 w 10354"/>
                  <a:gd name="connsiteY150" fmla="*/ 8547 h 10000"/>
                  <a:gd name="connsiteX151" fmla="*/ 6576 w 10354"/>
                  <a:gd name="connsiteY151" fmla="*/ 8573 h 10000"/>
                  <a:gd name="connsiteX152" fmla="*/ 6604 w 10354"/>
                  <a:gd name="connsiteY152" fmla="*/ 8581 h 10000"/>
                  <a:gd name="connsiteX153" fmla="*/ 6631 w 10354"/>
                  <a:gd name="connsiteY153" fmla="*/ 8556 h 10000"/>
                  <a:gd name="connsiteX154" fmla="*/ 6691 w 10354"/>
                  <a:gd name="connsiteY154" fmla="*/ 8607 h 10000"/>
                  <a:gd name="connsiteX155" fmla="*/ 6728 w 10354"/>
                  <a:gd name="connsiteY155" fmla="*/ 8667 h 10000"/>
                  <a:gd name="connsiteX156" fmla="*/ 6742 w 10354"/>
                  <a:gd name="connsiteY156" fmla="*/ 8684 h 10000"/>
                  <a:gd name="connsiteX157" fmla="*/ 6765 w 10354"/>
                  <a:gd name="connsiteY157" fmla="*/ 8684 h 10000"/>
                  <a:gd name="connsiteX158" fmla="*/ 6765 w 10354"/>
                  <a:gd name="connsiteY158" fmla="*/ 8709 h 10000"/>
                  <a:gd name="connsiteX159" fmla="*/ 6765 w 10354"/>
                  <a:gd name="connsiteY159" fmla="*/ 8709 h 10000"/>
                  <a:gd name="connsiteX160" fmla="*/ 6770 w 10354"/>
                  <a:gd name="connsiteY160" fmla="*/ 8709 h 10000"/>
                  <a:gd name="connsiteX161" fmla="*/ 6770 w 10354"/>
                  <a:gd name="connsiteY161" fmla="*/ 8744 h 10000"/>
                  <a:gd name="connsiteX162" fmla="*/ 6779 w 10354"/>
                  <a:gd name="connsiteY162" fmla="*/ 8769 h 10000"/>
                  <a:gd name="connsiteX163" fmla="*/ 6779 w 10354"/>
                  <a:gd name="connsiteY163" fmla="*/ 8846 h 10000"/>
                  <a:gd name="connsiteX164" fmla="*/ 6797 w 10354"/>
                  <a:gd name="connsiteY164" fmla="*/ 8906 h 10000"/>
                  <a:gd name="connsiteX165" fmla="*/ 6816 w 10354"/>
                  <a:gd name="connsiteY165" fmla="*/ 8906 h 10000"/>
                  <a:gd name="connsiteX166" fmla="*/ 6843 w 10354"/>
                  <a:gd name="connsiteY166" fmla="*/ 8915 h 10000"/>
                  <a:gd name="connsiteX167" fmla="*/ 6862 w 10354"/>
                  <a:gd name="connsiteY167" fmla="*/ 8906 h 10000"/>
                  <a:gd name="connsiteX168" fmla="*/ 6935 w 10354"/>
                  <a:gd name="connsiteY168" fmla="*/ 8829 h 10000"/>
                  <a:gd name="connsiteX169" fmla="*/ 6963 w 10354"/>
                  <a:gd name="connsiteY169" fmla="*/ 8829 h 10000"/>
                  <a:gd name="connsiteX170" fmla="*/ 7046 w 10354"/>
                  <a:gd name="connsiteY170" fmla="*/ 8769 h 10000"/>
                  <a:gd name="connsiteX171" fmla="*/ 7046 w 10354"/>
                  <a:gd name="connsiteY171" fmla="*/ 8769 h 10000"/>
                  <a:gd name="connsiteX172" fmla="*/ 7032 w 10354"/>
                  <a:gd name="connsiteY172" fmla="*/ 8803 h 10000"/>
                  <a:gd name="connsiteX173" fmla="*/ 7032 w 10354"/>
                  <a:gd name="connsiteY173" fmla="*/ 8846 h 10000"/>
                  <a:gd name="connsiteX174" fmla="*/ 7037 w 10354"/>
                  <a:gd name="connsiteY174" fmla="*/ 8880 h 10000"/>
                  <a:gd name="connsiteX175" fmla="*/ 7037 w 10354"/>
                  <a:gd name="connsiteY175" fmla="*/ 8932 h 10000"/>
                  <a:gd name="connsiteX176" fmla="*/ 7005 w 10354"/>
                  <a:gd name="connsiteY176" fmla="*/ 8983 h 10000"/>
                  <a:gd name="connsiteX177" fmla="*/ 6977 w 10354"/>
                  <a:gd name="connsiteY177" fmla="*/ 9188 h 10000"/>
                  <a:gd name="connsiteX178" fmla="*/ 6935 w 10354"/>
                  <a:gd name="connsiteY178" fmla="*/ 9316 h 10000"/>
                  <a:gd name="connsiteX179" fmla="*/ 6931 w 10354"/>
                  <a:gd name="connsiteY179" fmla="*/ 9368 h 10000"/>
                  <a:gd name="connsiteX180" fmla="*/ 6917 w 10354"/>
                  <a:gd name="connsiteY180" fmla="*/ 9376 h 10000"/>
                  <a:gd name="connsiteX181" fmla="*/ 6912 w 10354"/>
                  <a:gd name="connsiteY181" fmla="*/ 9376 h 10000"/>
                  <a:gd name="connsiteX182" fmla="*/ 6848 w 10354"/>
                  <a:gd name="connsiteY182" fmla="*/ 9342 h 10000"/>
                  <a:gd name="connsiteX183" fmla="*/ 6788 w 10354"/>
                  <a:gd name="connsiteY183" fmla="*/ 9436 h 10000"/>
                  <a:gd name="connsiteX184" fmla="*/ 6802 w 10354"/>
                  <a:gd name="connsiteY184" fmla="*/ 9462 h 10000"/>
                  <a:gd name="connsiteX185" fmla="*/ 6811 w 10354"/>
                  <a:gd name="connsiteY185" fmla="*/ 9667 h 10000"/>
                  <a:gd name="connsiteX186" fmla="*/ 6788 w 10354"/>
                  <a:gd name="connsiteY186" fmla="*/ 9709 h 10000"/>
                  <a:gd name="connsiteX187" fmla="*/ 6765 w 10354"/>
                  <a:gd name="connsiteY187" fmla="*/ 9752 h 10000"/>
                  <a:gd name="connsiteX188" fmla="*/ 6765 w 10354"/>
                  <a:gd name="connsiteY188" fmla="*/ 9803 h 10000"/>
                  <a:gd name="connsiteX189" fmla="*/ 6770 w 10354"/>
                  <a:gd name="connsiteY189" fmla="*/ 9821 h 10000"/>
                  <a:gd name="connsiteX190" fmla="*/ 6779 w 10354"/>
                  <a:gd name="connsiteY190" fmla="*/ 9812 h 10000"/>
                  <a:gd name="connsiteX191" fmla="*/ 6779 w 10354"/>
                  <a:gd name="connsiteY191" fmla="*/ 9803 h 10000"/>
                  <a:gd name="connsiteX192" fmla="*/ 6770 w 10354"/>
                  <a:gd name="connsiteY192" fmla="*/ 9786 h 10000"/>
                  <a:gd name="connsiteX193" fmla="*/ 6811 w 10354"/>
                  <a:gd name="connsiteY193" fmla="*/ 9786 h 10000"/>
                  <a:gd name="connsiteX194" fmla="*/ 6816 w 10354"/>
                  <a:gd name="connsiteY194" fmla="*/ 9761 h 10000"/>
                  <a:gd name="connsiteX195" fmla="*/ 6825 w 10354"/>
                  <a:gd name="connsiteY195" fmla="*/ 9752 h 10000"/>
                  <a:gd name="connsiteX196" fmla="*/ 6825 w 10354"/>
                  <a:gd name="connsiteY196" fmla="*/ 9726 h 10000"/>
                  <a:gd name="connsiteX197" fmla="*/ 6843 w 10354"/>
                  <a:gd name="connsiteY197" fmla="*/ 9701 h 10000"/>
                  <a:gd name="connsiteX198" fmla="*/ 6848 w 10354"/>
                  <a:gd name="connsiteY198" fmla="*/ 9650 h 10000"/>
                  <a:gd name="connsiteX199" fmla="*/ 6848 w 10354"/>
                  <a:gd name="connsiteY199" fmla="*/ 9675 h 10000"/>
                  <a:gd name="connsiteX200" fmla="*/ 6862 w 10354"/>
                  <a:gd name="connsiteY200" fmla="*/ 9675 h 10000"/>
                  <a:gd name="connsiteX201" fmla="*/ 6857 w 10354"/>
                  <a:gd name="connsiteY201" fmla="*/ 9701 h 10000"/>
                  <a:gd name="connsiteX202" fmla="*/ 6857 w 10354"/>
                  <a:gd name="connsiteY202" fmla="*/ 9701 h 10000"/>
                  <a:gd name="connsiteX203" fmla="*/ 6876 w 10354"/>
                  <a:gd name="connsiteY203" fmla="*/ 9684 h 10000"/>
                  <a:gd name="connsiteX204" fmla="*/ 6885 w 10354"/>
                  <a:gd name="connsiteY204" fmla="*/ 9675 h 10000"/>
                  <a:gd name="connsiteX205" fmla="*/ 6876 w 10354"/>
                  <a:gd name="connsiteY205" fmla="*/ 9735 h 10000"/>
                  <a:gd name="connsiteX206" fmla="*/ 6885 w 10354"/>
                  <a:gd name="connsiteY206" fmla="*/ 9752 h 10000"/>
                  <a:gd name="connsiteX207" fmla="*/ 6903 w 10354"/>
                  <a:gd name="connsiteY207" fmla="*/ 9752 h 10000"/>
                  <a:gd name="connsiteX208" fmla="*/ 6917 w 10354"/>
                  <a:gd name="connsiteY208" fmla="*/ 9761 h 10000"/>
                  <a:gd name="connsiteX209" fmla="*/ 6917 w 10354"/>
                  <a:gd name="connsiteY209" fmla="*/ 9761 h 10000"/>
                  <a:gd name="connsiteX210" fmla="*/ 6922 w 10354"/>
                  <a:gd name="connsiteY210" fmla="*/ 9778 h 10000"/>
                  <a:gd name="connsiteX211" fmla="*/ 6945 w 10354"/>
                  <a:gd name="connsiteY211" fmla="*/ 9778 h 10000"/>
                  <a:gd name="connsiteX212" fmla="*/ 6972 w 10354"/>
                  <a:gd name="connsiteY212" fmla="*/ 9752 h 10000"/>
                  <a:gd name="connsiteX213" fmla="*/ 6977 w 10354"/>
                  <a:gd name="connsiteY213" fmla="*/ 9752 h 10000"/>
                  <a:gd name="connsiteX214" fmla="*/ 7069 w 10354"/>
                  <a:gd name="connsiteY214" fmla="*/ 9624 h 10000"/>
                  <a:gd name="connsiteX215" fmla="*/ 7097 w 10354"/>
                  <a:gd name="connsiteY215" fmla="*/ 9547 h 10000"/>
                  <a:gd name="connsiteX216" fmla="*/ 7106 w 10354"/>
                  <a:gd name="connsiteY216" fmla="*/ 9530 h 10000"/>
                  <a:gd name="connsiteX217" fmla="*/ 7124 w 10354"/>
                  <a:gd name="connsiteY217" fmla="*/ 9479 h 10000"/>
                  <a:gd name="connsiteX218" fmla="*/ 7138 w 10354"/>
                  <a:gd name="connsiteY218" fmla="*/ 9462 h 10000"/>
                  <a:gd name="connsiteX219" fmla="*/ 7378 w 10354"/>
                  <a:gd name="connsiteY219" fmla="*/ 8795 h 10000"/>
                  <a:gd name="connsiteX220" fmla="*/ 7392 w 10354"/>
                  <a:gd name="connsiteY220" fmla="*/ 8795 h 10000"/>
                  <a:gd name="connsiteX221" fmla="*/ 7401 w 10354"/>
                  <a:gd name="connsiteY221" fmla="*/ 8769 h 10000"/>
                  <a:gd name="connsiteX222" fmla="*/ 7406 w 10354"/>
                  <a:gd name="connsiteY222" fmla="*/ 8692 h 10000"/>
                  <a:gd name="connsiteX223" fmla="*/ 7406 w 10354"/>
                  <a:gd name="connsiteY223" fmla="*/ 8667 h 10000"/>
                  <a:gd name="connsiteX224" fmla="*/ 7419 w 10354"/>
                  <a:gd name="connsiteY224" fmla="*/ 8598 h 10000"/>
                  <a:gd name="connsiteX225" fmla="*/ 7419 w 10354"/>
                  <a:gd name="connsiteY225" fmla="*/ 8496 h 10000"/>
                  <a:gd name="connsiteX226" fmla="*/ 7424 w 10354"/>
                  <a:gd name="connsiteY226" fmla="*/ 8470 h 10000"/>
                  <a:gd name="connsiteX227" fmla="*/ 7424 w 10354"/>
                  <a:gd name="connsiteY227" fmla="*/ 8462 h 10000"/>
                  <a:gd name="connsiteX228" fmla="*/ 7419 w 10354"/>
                  <a:gd name="connsiteY228" fmla="*/ 8462 h 10000"/>
                  <a:gd name="connsiteX229" fmla="*/ 7410 w 10354"/>
                  <a:gd name="connsiteY229" fmla="*/ 8350 h 10000"/>
                  <a:gd name="connsiteX230" fmla="*/ 7419 w 10354"/>
                  <a:gd name="connsiteY230" fmla="*/ 8325 h 10000"/>
                  <a:gd name="connsiteX231" fmla="*/ 7424 w 10354"/>
                  <a:gd name="connsiteY231" fmla="*/ 8248 h 10000"/>
                  <a:gd name="connsiteX232" fmla="*/ 7433 w 10354"/>
                  <a:gd name="connsiteY232" fmla="*/ 8248 h 10000"/>
                  <a:gd name="connsiteX233" fmla="*/ 7433 w 10354"/>
                  <a:gd name="connsiteY233" fmla="*/ 8231 h 10000"/>
                  <a:gd name="connsiteX234" fmla="*/ 7433 w 10354"/>
                  <a:gd name="connsiteY234" fmla="*/ 8222 h 10000"/>
                  <a:gd name="connsiteX235" fmla="*/ 7433 w 10354"/>
                  <a:gd name="connsiteY235" fmla="*/ 8214 h 10000"/>
                  <a:gd name="connsiteX236" fmla="*/ 7447 w 10354"/>
                  <a:gd name="connsiteY236" fmla="*/ 8162 h 10000"/>
                  <a:gd name="connsiteX237" fmla="*/ 7461 w 10354"/>
                  <a:gd name="connsiteY237" fmla="*/ 8162 h 10000"/>
                  <a:gd name="connsiteX238" fmla="*/ 7475 w 10354"/>
                  <a:gd name="connsiteY238" fmla="*/ 8111 h 10000"/>
                  <a:gd name="connsiteX239" fmla="*/ 7475 w 10354"/>
                  <a:gd name="connsiteY239" fmla="*/ 8085 h 10000"/>
                  <a:gd name="connsiteX240" fmla="*/ 7479 w 10354"/>
                  <a:gd name="connsiteY240" fmla="*/ 8060 h 10000"/>
                  <a:gd name="connsiteX241" fmla="*/ 7452 w 10354"/>
                  <a:gd name="connsiteY241" fmla="*/ 8009 h 10000"/>
                  <a:gd name="connsiteX242" fmla="*/ 7465 w 10354"/>
                  <a:gd name="connsiteY242" fmla="*/ 7974 h 10000"/>
                  <a:gd name="connsiteX243" fmla="*/ 7452 w 10354"/>
                  <a:gd name="connsiteY243" fmla="*/ 7923 h 10000"/>
                  <a:gd name="connsiteX244" fmla="*/ 7433 w 10354"/>
                  <a:gd name="connsiteY244" fmla="*/ 7889 h 10000"/>
                  <a:gd name="connsiteX245" fmla="*/ 7419 w 10354"/>
                  <a:gd name="connsiteY245" fmla="*/ 7889 h 10000"/>
                  <a:gd name="connsiteX246" fmla="*/ 7401 w 10354"/>
                  <a:gd name="connsiteY246" fmla="*/ 7863 h 10000"/>
                  <a:gd name="connsiteX247" fmla="*/ 7387 w 10354"/>
                  <a:gd name="connsiteY247" fmla="*/ 7863 h 10000"/>
                  <a:gd name="connsiteX248" fmla="*/ 7373 w 10354"/>
                  <a:gd name="connsiteY248" fmla="*/ 7863 h 10000"/>
                  <a:gd name="connsiteX249" fmla="*/ 7387 w 10354"/>
                  <a:gd name="connsiteY249" fmla="*/ 7846 h 10000"/>
                  <a:gd name="connsiteX250" fmla="*/ 7401 w 10354"/>
                  <a:gd name="connsiteY250" fmla="*/ 7846 h 10000"/>
                  <a:gd name="connsiteX251" fmla="*/ 7410 w 10354"/>
                  <a:gd name="connsiteY251" fmla="*/ 7863 h 10000"/>
                  <a:gd name="connsiteX252" fmla="*/ 7424 w 10354"/>
                  <a:gd name="connsiteY252" fmla="*/ 7872 h 10000"/>
                  <a:gd name="connsiteX253" fmla="*/ 7433 w 10354"/>
                  <a:gd name="connsiteY253" fmla="*/ 7863 h 10000"/>
                  <a:gd name="connsiteX254" fmla="*/ 7461 w 10354"/>
                  <a:gd name="connsiteY254" fmla="*/ 7897 h 10000"/>
                  <a:gd name="connsiteX255" fmla="*/ 7465 w 10354"/>
                  <a:gd name="connsiteY255" fmla="*/ 7889 h 10000"/>
                  <a:gd name="connsiteX256" fmla="*/ 7475 w 10354"/>
                  <a:gd name="connsiteY256" fmla="*/ 7863 h 10000"/>
                  <a:gd name="connsiteX257" fmla="*/ 7475 w 10354"/>
                  <a:gd name="connsiteY257" fmla="*/ 7838 h 10000"/>
                  <a:gd name="connsiteX258" fmla="*/ 7465 w 10354"/>
                  <a:gd name="connsiteY258" fmla="*/ 7838 h 10000"/>
                  <a:gd name="connsiteX259" fmla="*/ 7406 w 10354"/>
                  <a:gd name="connsiteY259" fmla="*/ 7752 h 10000"/>
                  <a:gd name="connsiteX260" fmla="*/ 7401 w 10354"/>
                  <a:gd name="connsiteY260" fmla="*/ 7735 h 10000"/>
                  <a:gd name="connsiteX261" fmla="*/ 7401 w 10354"/>
                  <a:gd name="connsiteY261" fmla="*/ 7701 h 10000"/>
                  <a:gd name="connsiteX262" fmla="*/ 7378 w 10354"/>
                  <a:gd name="connsiteY262" fmla="*/ 7675 h 10000"/>
                  <a:gd name="connsiteX263" fmla="*/ 7373 w 10354"/>
                  <a:gd name="connsiteY263" fmla="*/ 7667 h 10000"/>
                  <a:gd name="connsiteX264" fmla="*/ 7364 w 10354"/>
                  <a:gd name="connsiteY264" fmla="*/ 7650 h 10000"/>
                  <a:gd name="connsiteX265" fmla="*/ 7364 w 10354"/>
                  <a:gd name="connsiteY265" fmla="*/ 7641 h 10000"/>
                  <a:gd name="connsiteX266" fmla="*/ 7350 w 10354"/>
                  <a:gd name="connsiteY266" fmla="*/ 7641 h 10000"/>
                  <a:gd name="connsiteX267" fmla="*/ 7336 w 10354"/>
                  <a:gd name="connsiteY267" fmla="*/ 7650 h 10000"/>
                  <a:gd name="connsiteX268" fmla="*/ 7327 w 10354"/>
                  <a:gd name="connsiteY268" fmla="*/ 7650 h 10000"/>
                  <a:gd name="connsiteX269" fmla="*/ 7300 w 10354"/>
                  <a:gd name="connsiteY269" fmla="*/ 7641 h 10000"/>
                  <a:gd name="connsiteX270" fmla="*/ 7300 w 10354"/>
                  <a:gd name="connsiteY270" fmla="*/ 7675 h 10000"/>
                  <a:gd name="connsiteX271" fmla="*/ 7300 w 10354"/>
                  <a:gd name="connsiteY271" fmla="*/ 7692 h 10000"/>
                  <a:gd name="connsiteX272" fmla="*/ 7286 w 10354"/>
                  <a:gd name="connsiteY272" fmla="*/ 7786 h 10000"/>
                  <a:gd name="connsiteX273" fmla="*/ 7272 w 10354"/>
                  <a:gd name="connsiteY273" fmla="*/ 7803 h 10000"/>
                  <a:gd name="connsiteX274" fmla="*/ 7276 w 10354"/>
                  <a:gd name="connsiteY274" fmla="*/ 7761 h 10000"/>
                  <a:gd name="connsiteX275" fmla="*/ 7286 w 10354"/>
                  <a:gd name="connsiteY275" fmla="*/ 7735 h 10000"/>
                  <a:gd name="connsiteX276" fmla="*/ 7276 w 10354"/>
                  <a:gd name="connsiteY276" fmla="*/ 7709 h 10000"/>
                  <a:gd name="connsiteX277" fmla="*/ 7258 w 10354"/>
                  <a:gd name="connsiteY277" fmla="*/ 7761 h 10000"/>
                  <a:gd name="connsiteX278" fmla="*/ 7217 w 10354"/>
                  <a:gd name="connsiteY278" fmla="*/ 7786 h 10000"/>
                  <a:gd name="connsiteX279" fmla="*/ 7203 w 10354"/>
                  <a:gd name="connsiteY279" fmla="*/ 7786 h 10000"/>
                  <a:gd name="connsiteX280" fmla="*/ 7198 w 10354"/>
                  <a:gd name="connsiteY280" fmla="*/ 7778 h 10000"/>
                  <a:gd name="connsiteX281" fmla="*/ 7212 w 10354"/>
                  <a:gd name="connsiteY281" fmla="*/ 7761 h 10000"/>
                  <a:gd name="connsiteX282" fmla="*/ 7230 w 10354"/>
                  <a:gd name="connsiteY282" fmla="*/ 7726 h 10000"/>
                  <a:gd name="connsiteX283" fmla="*/ 7226 w 10354"/>
                  <a:gd name="connsiteY283" fmla="*/ 7709 h 10000"/>
                  <a:gd name="connsiteX284" fmla="*/ 7212 w 10354"/>
                  <a:gd name="connsiteY284" fmla="*/ 7701 h 10000"/>
                  <a:gd name="connsiteX285" fmla="*/ 7203 w 10354"/>
                  <a:gd name="connsiteY285" fmla="*/ 7675 h 10000"/>
                  <a:gd name="connsiteX286" fmla="*/ 7217 w 10354"/>
                  <a:gd name="connsiteY286" fmla="*/ 7675 h 10000"/>
                  <a:gd name="connsiteX287" fmla="*/ 7226 w 10354"/>
                  <a:gd name="connsiteY287" fmla="*/ 7650 h 10000"/>
                  <a:gd name="connsiteX288" fmla="*/ 7226 w 10354"/>
                  <a:gd name="connsiteY288" fmla="*/ 7641 h 10000"/>
                  <a:gd name="connsiteX289" fmla="*/ 7203 w 10354"/>
                  <a:gd name="connsiteY289" fmla="*/ 7641 h 10000"/>
                  <a:gd name="connsiteX290" fmla="*/ 7198 w 10354"/>
                  <a:gd name="connsiteY290" fmla="*/ 7650 h 10000"/>
                  <a:gd name="connsiteX291" fmla="*/ 7194 w 10354"/>
                  <a:gd name="connsiteY291" fmla="*/ 7675 h 10000"/>
                  <a:gd name="connsiteX292" fmla="*/ 7198 w 10354"/>
                  <a:gd name="connsiteY292" fmla="*/ 7692 h 10000"/>
                  <a:gd name="connsiteX293" fmla="*/ 7198 w 10354"/>
                  <a:gd name="connsiteY293" fmla="*/ 7709 h 10000"/>
                  <a:gd name="connsiteX294" fmla="*/ 7184 w 10354"/>
                  <a:gd name="connsiteY294" fmla="*/ 7726 h 10000"/>
                  <a:gd name="connsiteX295" fmla="*/ 7180 w 10354"/>
                  <a:gd name="connsiteY295" fmla="*/ 7726 h 10000"/>
                  <a:gd name="connsiteX296" fmla="*/ 7171 w 10354"/>
                  <a:gd name="connsiteY296" fmla="*/ 7752 h 10000"/>
                  <a:gd name="connsiteX297" fmla="*/ 7166 w 10354"/>
                  <a:gd name="connsiteY297" fmla="*/ 7735 h 10000"/>
                  <a:gd name="connsiteX298" fmla="*/ 7171 w 10354"/>
                  <a:gd name="connsiteY298" fmla="*/ 7624 h 10000"/>
                  <a:gd name="connsiteX299" fmla="*/ 7171 w 10354"/>
                  <a:gd name="connsiteY299" fmla="*/ 7615 h 10000"/>
                  <a:gd name="connsiteX300" fmla="*/ 7171 w 10354"/>
                  <a:gd name="connsiteY300" fmla="*/ 7590 h 10000"/>
                  <a:gd name="connsiteX301" fmla="*/ 7166 w 10354"/>
                  <a:gd name="connsiteY301" fmla="*/ 7564 h 10000"/>
                  <a:gd name="connsiteX302" fmla="*/ 7157 w 10354"/>
                  <a:gd name="connsiteY302" fmla="*/ 7564 h 10000"/>
                  <a:gd name="connsiteX303" fmla="*/ 7097 w 10354"/>
                  <a:gd name="connsiteY303" fmla="*/ 7573 h 10000"/>
                  <a:gd name="connsiteX304" fmla="*/ 7065 w 10354"/>
                  <a:gd name="connsiteY304" fmla="*/ 7538 h 10000"/>
                  <a:gd name="connsiteX305" fmla="*/ 7069 w 10354"/>
                  <a:gd name="connsiteY305" fmla="*/ 7504 h 10000"/>
                  <a:gd name="connsiteX306" fmla="*/ 7106 w 10354"/>
                  <a:gd name="connsiteY306" fmla="*/ 7453 h 10000"/>
                  <a:gd name="connsiteX307" fmla="*/ 7111 w 10354"/>
                  <a:gd name="connsiteY307" fmla="*/ 7436 h 10000"/>
                  <a:gd name="connsiteX308" fmla="*/ 7138 w 10354"/>
                  <a:gd name="connsiteY308" fmla="*/ 7402 h 10000"/>
                  <a:gd name="connsiteX309" fmla="*/ 7143 w 10354"/>
                  <a:gd name="connsiteY309" fmla="*/ 7376 h 10000"/>
                  <a:gd name="connsiteX310" fmla="*/ 7152 w 10354"/>
                  <a:gd name="connsiteY310" fmla="*/ 7368 h 10000"/>
                  <a:gd name="connsiteX311" fmla="*/ 7157 w 10354"/>
                  <a:gd name="connsiteY311" fmla="*/ 7350 h 10000"/>
                  <a:gd name="connsiteX312" fmla="*/ 7230 w 10354"/>
                  <a:gd name="connsiteY312" fmla="*/ 7239 h 10000"/>
                  <a:gd name="connsiteX313" fmla="*/ 7240 w 10354"/>
                  <a:gd name="connsiteY313" fmla="*/ 7205 h 10000"/>
                  <a:gd name="connsiteX314" fmla="*/ 7253 w 10354"/>
                  <a:gd name="connsiteY314" fmla="*/ 7188 h 10000"/>
                  <a:gd name="connsiteX315" fmla="*/ 7258 w 10354"/>
                  <a:gd name="connsiteY315" fmla="*/ 7162 h 10000"/>
                  <a:gd name="connsiteX316" fmla="*/ 7258 w 10354"/>
                  <a:gd name="connsiteY316" fmla="*/ 7154 h 10000"/>
                  <a:gd name="connsiteX317" fmla="*/ 7272 w 10354"/>
                  <a:gd name="connsiteY317" fmla="*/ 7120 h 10000"/>
                  <a:gd name="connsiteX318" fmla="*/ 7276 w 10354"/>
                  <a:gd name="connsiteY318" fmla="*/ 7094 h 10000"/>
                  <a:gd name="connsiteX319" fmla="*/ 7286 w 10354"/>
                  <a:gd name="connsiteY319" fmla="*/ 7094 h 10000"/>
                  <a:gd name="connsiteX320" fmla="*/ 7290 w 10354"/>
                  <a:gd name="connsiteY320" fmla="*/ 7068 h 10000"/>
                  <a:gd name="connsiteX321" fmla="*/ 7332 w 10354"/>
                  <a:gd name="connsiteY321" fmla="*/ 6991 h 10000"/>
                  <a:gd name="connsiteX322" fmla="*/ 7336 w 10354"/>
                  <a:gd name="connsiteY322" fmla="*/ 6991 h 10000"/>
                  <a:gd name="connsiteX323" fmla="*/ 7364 w 10354"/>
                  <a:gd name="connsiteY323" fmla="*/ 6940 h 10000"/>
                  <a:gd name="connsiteX324" fmla="*/ 7373 w 10354"/>
                  <a:gd name="connsiteY324" fmla="*/ 6906 h 10000"/>
                  <a:gd name="connsiteX325" fmla="*/ 7378 w 10354"/>
                  <a:gd name="connsiteY325" fmla="*/ 6915 h 10000"/>
                  <a:gd name="connsiteX326" fmla="*/ 7406 w 10354"/>
                  <a:gd name="connsiteY326" fmla="*/ 6880 h 10000"/>
                  <a:gd name="connsiteX327" fmla="*/ 7410 w 10354"/>
                  <a:gd name="connsiteY327" fmla="*/ 6846 h 10000"/>
                  <a:gd name="connsiteX328" fmla="*/ 7419 w 10354"/>
                  <a:gd name="connsiteY328" fmla="*/ 6803 h 10000"/>
                  <a:gd name="connsiteX329" fmla="*/ 7585 w 10354"/>
                  <a:gd name="connsiteY329" fmla="*/ 6504 h 10000"/>
                  <a:gd name="connsiteX330" fmla="*/ 7765 w 10354"/>
                  <a:gd name="connsiteY330" fmla="*/ 6504 h 10000"/>
                  <a:gd name="connsiteX331" fmla="*/ 7765 w 10354"/>
                  <a:gd name="connsiteY331" fmla="*/ 6530 h 10000"/>
                  <a:gd name="connsiteX332" fmla="*/ 7774 w 10354"/>
                  <a:gd name="connsiteY332" fmla="*/ 6556 h 10000"/>
                  <a:gd name="connsiteX333" fmla="*/ 7779 w 10354"/>
                  <a:gd name="connsiteY333" fmla="*/ 6556 h 10000"/>
                  <a:gd name="connsiteX334" fmla="*/ 7793 w 10354"/>
                  <a:gd name="connsiteY334" fmla="*/ 6547 h 10000"/>
                  <a:gd name="connsiteX335" fmla="*/ 7793 w 10354"/>
                  <a:gd name="connsiteY335" fmla="*/ 6530 h 10000"/>
                  <a:gd name="connsiteX336" fmla="*/ 7802 w 10354"/>
                  <a:gd name="connsiteY336" fmla="*/ 6496 h 10000"/>
                  <a:gd name="connsiteX337" fmla="*/ 7806 w 10354"/>
                  <a:gd name="connsiteY337" fmla="*/ 6487 h 10000"/>
                  <a:gd name="connsiteX338" fmla="*/ 7876 w 10354"/>
                  <a:gd name="connsiteY338" fmla="*/ 6530 h 10000"/>
                  <a:gd name="connsiteX339" fmla="*/ 7894 w 10354"/>
                  <a:gd name="connsiteY339" fmla="*/ 6530 h 10000"/>
                  <a:gd name="connsiteX340" fmla="*/ 7894 w 10354"/>
                  <a:gd name="connsiteY340" fmla="*/ 6504 h 10000"/>
                  <a:gd name="connsiteX341" fmla="*/ 7899 w 10354"/>
                  <a:gd name="connsiteY341" fmla="*/ 6504 h 10000"/>
                  <a:gd name="connsiteX342" fmla="*/ 7926 w 10354"/>
                  <a:gd name="connsiteY342" fmla="*/ 6504 h 10000"/>
                  <a:gd name="connsiteX343" fmla="*/ 7940 w 10354"/>
                  <a:gd name="connsiteY343" fmla="*/ 6547 h 10000"/>
                  <a:gd name="connsiteX344" fmla="*/ 7949 w 10354"/>
                  <a:gd name="connsiteY344" fmla="*/ 6547 h 10000"/>
                  <a:gd name="connsiteX345" fmla="*/ 7963 w 10354"/>
                  <a:gd name="connsiteY345" fmla="*/ 6530 h 10000"/>
                  <a:gd name="connsiteX346" fmla="*/ 7963 w 10354"/>
                  <a:gd name="connsiteY346" fmla="*/ 6504 h 10000"/>
                  <a:gd name="connsiteX347" fmla="*/ 7963 w 10354"/>
                  <a:gd name="connsiteY347" fmla="*/ 6504 h 10000"/>
                  <a:gd name="connsiteX348" fmla="*/ 7954 w 10354"/>
                  <a:gd name="connsiteY348" fmla="*/ 6496 h 10000"/>
                  <a:gd name="connsiteX349" fmla="*/ 7963 w 10354"/>
                  <a:gd name="connsiteY349" fmla="*/ 6487 h 10000"/>
                  <a:gd name="connsiteX350" fmla="*/ 7982 w 10354"/>
                  <a:gd name="connsiteY350" fmla="*/ 6487 h 10000"/>
                  <a:gd name="connsiteX351" fmla="*/ 7982 w 10354"/>
                  <a:gd name="connsiteY351" fmla="*/ 6470 h 10000"/>
                  <a:gd name="connsiteX352" fmla="*/ 7972 w 10354"/>
                  <a:gd name="connsiteY352" fmla="*/ 6462 h 10000"/>
                  <a:gd name="connsiteX353" fmla="*/ 7972 w 10354"/>
                  <a:gd name="connsiteY353" fmla="*/ 6436 h 10000"/>
                  <a:gd name="connsiteX354" fmla="*/ 7986 w 10354"/>
                  <a:gd name="connsiteY354" fmla="*/ 6419 h 10000"/>
                  <a:gd name="connsiteX355" fmla="*/ 8000 w 10354"/>
                  <a:gd name="connsiteY355" fmla="*/ 6419 h 10000"/>
                  <a:gd name="connsiteX356" fmla="*/ 8055 w 10354"/>
                  <a:gd name="connsiteY356" fmla="*/ 6462 h 10000"/>
                  <a:gd name="connsiteX357" fmla="*/ 8069 w 10354"/>
                  <a:gd name="connsiteY357" fmla="*/ 6444 h 10000"/>
                  <a:gd name="connsiteX358" fmla="*/ 8083 w 10354"/>
                  <a:gd name="connsiteY358" fmla="*/ 6470 h 10000"/>
                  <a:gd name="connsiteX359" fmla="*/ 8083 w 10354"/>
                  <a:gd name="connsiteY359" fmla="*/ 6487 h 10000"/>
                  <a:gd name="connsiteX360" fmla="*/ 8097 w 10354"/>
                  <a:gd name="connsiteY360" fmla="*/ 6487 h 10000"/>
                  <a:gd name="connsiteX361" fmla="*/ 8101 w 10354"/>
                  <a:gd name="connsiteY361" fmla="*/ 6462 h 10000"/>
                  <a:gd name="connsiteX362" fmla="*/ 8115 w 10354"/>
                  <a:gd name="connsiteY362" fmla="*/ 6462 h 10000"/>
                  <a:gd name="connsiteX363" fmla="*/ 8129 w 10354"/>
                  <a:gd name="connsiteY363" fmla="*/ 6462 h 10000"/>
                  <a:gd name="connsiteX364" fmla="*/ 8157 w 10354"/>
                  <a:gd name="connsiteY364" fmla="*/ 6496 h 10000"/>
                  <a:gd name="connsiteX365" fmla="*/ 8157 w 10354"/>
                  <a:gd name="connsiteY365" fmla="*/ 6521 h 10000"/>
                  <a:gd name="connsiteX366" fmla="*/ 8180 w 10354"/>
                  <a:gd name="connsiteY366" fmla="*/ 6530 h 10000"/>
                  <a:gd name="connsiteX367" fmla="*/ 8180 w 10354"/>
                  <a:gd name="connsiteY367" fmla="*/ 6547 h 10000"/>
                  <a:gd name="connsiteX368" fmla="*/ 8171 w 10354"/>
                  <a:gd name="connsiteY368" fmla="*/ 6556 h 10000"/>
                  <a:gd name="connsiteX369" fmla="*/ 8129 w 10354"/>
                  <a:gd name="connsiteY369" fmla="*/ 6556 h 10000"/>
                  <a:gd name="connsiteX370" fmla="*/ 8106 w 10354"/>
                  <a:gd name="connsiteY370" fmla="*/ 6573 h 10000"/>
                  <a:gd name="connsiteX371" fmla="*/ 8115 w 10354"/>
                  <a:gd name="connsiteY371" fmla="*/ 6581 h 10000"/>
                  <a:gd name="connsiteX372" fmla="*/ 8129 w 10354"/>
                  <a:gd name="connsiteY372" fmla="*/ 6632 h 10000"/>
                  <a:gd name="connsiteX373" fmla="*/ 8171 w 10354"/>
                  <a:gd name="connsiteY373" fmla="*/ 6632 h 10000"/>
                  <a:gd name="connsiteX374" fmla="*/ 8180 w 10354"/>
                  <a:gd name="connsiteY374" fmla="*/ 6624 h 10000"/>
                  <a:gd name="connsiteX375" fmla="*/ 8189 w 10354"/>
                  <a:gd name="connsiteY375" fmla="*/ 6598 h 10000"/>
                  <a:gd name="connsiteX376" fmla="*/ 8203 w 10354"/>
                  <a:gd name="connsiteY376" fmla="*/ 6581 h 10000"/>
                  <a:gd name="connsiteX377" fmla="*/ 8207 w 10354"/>
                  <a:gd name="connsiteY377" fmla="*/ 6607 h 10000"/>
                  <a:gd name="connsiteX378" fmla="*/ 8221 w 10354"/>
                  <a:gd name="connsiteY378" fmla="*/ 6624 h 10000"/>
                  <a:gd name="connsiteX379" fmla="*/ 8235 w 10354"/>
                  <a:gd name="connsiteY379" fmla="*/ 6607 h 10000"/>
                  <a:gd name="connsiteX380" fmla="*/ 8240 w 10354"/>
                  <a:gd name="connsiteY380" fmla="*/ 6581 h 10000"/>
                  <a:gd name="connsiteX381" fmla="*/ 8253 w 10354"/>
                  <a:gd name="connsiteY381" fmla="*/ 6573 h 10000"/>
                  <a:gd name="connsiteX382" fmla="*/ 8263 w 10354"/>
                  <a:gd name="connsiteY382" fmla="*/ 6556 h 10000"/>
                  <a:gd name="connsiteX383" fmla="*/ 8276 w 10354"/>
                  <a:gd name="connsiteY383" fmla="*/ 6547 h 10000"/>
                  <a:gd name="connsiteX384" fmla="*/ 8290 w 10354"/>
                  <a:gd name="connsiteY384" fmla="*/ 6556 h 10000"/>
                  <a:gd name="connsiteX385" fmla="*/ 8304 w 10354"/>
                  <a:gd name="connsiteY385" fmla="*/ 6581 h 10000"/>
                  <a:gd name="connsiteX386" fmla="*/ 8309 w 10354"/>
                  <a:gd name="connsiteY386" fmla="*/ 6581 h 10000"/>
                  <a:gd name="connsiteX387" fmla="*/ 8327 w 10354"/>
                  <a:gd name="connsiteY387" fmla="*/ 6573 h 10000"/>
                  <a:gd name="connsiteX388" fmla="*/ 8327 w 10354"/>
                  <a:gd name="connsiteY388" fmla="*/ 6556 h 10000"/>
                  <a:gd name="connsiteX389" fmla="*/ 8350 w 10354"/>
                  <a:gd name="connsiteY389" fmla="*/ 6556 h 10000"/>
                  <a:gd name="connsiteX390" fmla="*/ 8355 w 10354"/>
                  <a:gd name="connsiteY390" fmla="*/ 6573 h 10000"/>
                  <a:gd name="connsiteX391" fmla="*/ 8364 w 10354"/>
                  <a:gd name="connsiteY391" fmla="*/ 6556 h 10000"/>
                  <a:gd name="connsiteX392" fmla="*/ 8369 w 10354"/>
                  <a:gd name="connsiteY392" fmla="*/ 6556 h 10000"/>
                  <a:gd name="connsiteX393" fmla="*/ 8378 w 10354"/>
                  <a:gd name="connsiteY393" fmla="*/ 6530 h 10000"/>
                  <a:gd name="connsiteX394" fmla="*/ 8369 w 10354"/>
                  <a:gd name="connsiteY394" fmla="*/ 6504 h 10000"/>
                  <a:gd name="connsiteX395" fmla="*/ 8364 w 10354"/>
                  <a:gd name="connsiteY395" fmla="*/ 6496 h 10000"/>
                  <a:gd name="connsiteX396" fmla="*/ 8336 w 10354"/>
                  <a:gd name="connsiteY396" fmla="*/ 6470 h 10000"/>
                  <a:gd name="connsiteX397" fmla="*/ 8309 w 10354"/>
                  <a:gd name="connsiteY397" fmla="*/ 6487 h 10000"/>
                  <a:gd name="connsiteX398" fmla="*/ 8313 w 10354"/>
                  <a:gd name="connsiteY398" fmla="*/ 6462 h 10000"/>
                  <a:gd name="connsiteX399" fmla="*/ 8323 w 10354"/>
                  <a:gd name="connsiteY399" fmla="*/ 6444 h 10000"/>
                  <a:gd name="connsiteX400" fmla="*/ 8309 w 10354"/>
                  <a:gd name="connsiteY400" fmla="*/ 6393 h 10000"/>
                  <a:gd name="connsiteX401" fmla="*/ 8313 w 10354"/>
                  <a:gd name="connsiteY401" fmla="*/ 6385 h 10000"/>
                  <a:gd name="connsiteX402" fmla="*/ 8323 w 10354"/>
                  <a:gd name="connsiteY402" fmla="*/ 6393 h 10000"/>
                  <a:gd name="connsiteX403" fmla="*/ 8323 w 10354"/>
                  <a:gd name="connsiteY403" fmla="*/ 6393 h 10000"/>
                  <a:gd name="connsiteX404" fmla="*/ 8355 w 10354"/>
                  <a:gd name="connsiteY404" fmla="*/ 6282 h 10000"/>
                  <a:gd name="connsiteX405" fmla="*/ 8369 w 10354"/>
                  <a:gd name="connsiteY405" fmla="*/ 6256 h 10000"/>
                  <a:gd name="connsiteX406" fmla="*/ 8382 w 10354"/>
                  <a:gd name="connsiteY406" fmla="*/ 6248 h 10000"/>
                  <a:gd name="connsiteX407" fmla="*/ 8424 w 10354"/>
                  <a:gd name="connsiteY407" fmla="*/ 6162 h 10000"/>
                  <a:gd name="connsiteX408" fmla="*/ 8429 w 10354"/>
                  <a:gd name="connsiteY408" fmla="*/ 6145 h 10000"/>
                  <a:gd name="connsiteX409" fmla="*/ 8470 w 10354"/>
                  <a:gd name="connsiteY409" fmla="*/ 6051 h 10000"/>
                  <a:gd name="connsiteX410" fmla="*/ 8475 w 10354"/>
                  <a:gd name="connsiteY410" fmla="*/ 5983 h 10000"/>
                  <a:gd name="connsiteX411" fmla="*/ 8512 w 10354"/>
                  <a:gd name="connsiteY411" fmla="*/ 5940 h 10000"/>
                  <a:gd name="connsiteX412" fmla="*/ 8521 w 10354"/>
                  <a:gd name="connsiteY412" fmla="*/ 5923 h 10000"/>
                  <a:gd name="connsiteX413" fmla="*/ 8535 w 10354"/>
                  <a:gd name="connsiteY413" fmla="*/ 5915 h 10000"/>
                  <a:gd name="connsiteX414" fmla="*/ 8562 w 10354"/>
                  <a:gd name="connsiteY414" fmla="*/ 5915 h 10000"/>
                  <a:gd name="connsiteX415" fmla="*/ 8618 w 10354"/>
                  <a:gd name="connsiteY415" fmla="*/ 5889 h 10000"/>
                  <a:gd name="connsiteX416" fmla="*/ 8622 w 10354"/>
                  <a:gd name="connsiteY416" fmla="*/ 5889 h 10000"/>
                  <a:gd name="connsiteX417" fmla="*/ 8622 w 10354"/>
                  <a:gd name="connsiteY417" fmla="*/ 5872 h 10000"/>
                  <a:gd name="connsiteX418" fmla="*/ 8636 w 10354"/>
                  <a:gd name="connsiteY418" fmla="*/ 5872 h 10000"/>
                  <a:gd name="connsiteX419" fmla="*/ 8650 w 10354"/>
                  <a:gd name="connsiteY419" fmla="*/ 5889 h 10000"/>
                  <a:gd name="connsiteX420" fmla="*/ 8659 w 10354"/>
                  <a:gd name="connsiteY420" fmla="*/ 5915 h 10000"/>
                  <a:gd name="connsiteX421" fmla="*/ 8664 w 10354"/>
                  <a:gd name="connsiteY421" fmla="*/ 5940 h 10000"/>
                  <a:gd name="connsiteX422" fmla="*/ 8682 w 10354"/>
                  <a:gd name="connsiteY422" fmla="*/ 5923 h 10000"/>
                  <a:gd name="connsiteX423" fmla="*/ 8719 w 10354"/>
                  <a:gd name="connsiteY423" fmla="*/ 5863 h 10000"/>
                  <a:gd name="connsiteX424" fmla="*/ 8705 w 10354"/>
                  <a:gd name="connsiteY424" fmla="*/ 5966 h 10000"/>
                  <a:gd name="connsiteX425" fmla="*/ 8696 w 10354"/>
                  <a:gd name="connsiteY425" fmla="*/ 5983 h 10000"/>
                  <a:gd name="connsiteX426" fmla="*/ 8682 w 10354"/>
                  <a:gd name="connsiteY426" fmla="*/ 6026 h 10000"/>
                  <a:gd name="connsiteX427" fmla="*/ 8682 w 10354"/>
                  <a:gd name="connsiteY427" fmla="*/ 6051 h 10000"/>
                  <a:gd name="connsiteX428" fmla="*/ 8691 w 10354"/>
                  <a:gd name="connsiteY428" fmla="*/ 6077 h 10000"/>
                  <a:gd name="connsiteX429" fmla="*/ 8691 w 10354"/>
                  <a:gd name="connsiteY429" fmla="*/ 6085 h 10000"/>
                  <a:gd name="connsiteX430" fmla="*/ 8682 w 10354"/>
                  <a:gd name="connsiteY430" fmla="*/ 6103 h 10000"/>
                  <a:gd name="connsiteX431" fmla="*/ 8682 w 10354"/>
                  <a:gd name="connsiteY431" fmla="*/ 6111 h 10000"/>
                  <a:gd name="connsiteX432" fmla="*/ 8691 w 10354"/>
                  <a:gd name="connsiteY432" fmla="*/ 6120 h 10000"/>
                  <a:gd name="connsiteX433" fmla="*/ 8719 w 10354"/>
                  <a:gd name="connsiteY433" fmla="*/ 6103 h 10000"/>
                  <a:gd name="connsiteX434" fmla="*/ 8705 w 10354"/>
                  <a:gd name="connsiteY434" fmla="*/ 6188 h 10000"/>
                  <a:gd name="connsiteX435" fmla="*/ 8705 w 10354"/>
                  <a:gd name="connsiteY435" fmla="*/ 6214 h 10000"/>
                  <a:gd name="connsiteX436" fmla="*/ 8710 w 10354"/>
                  <a:gd name="connsiteY436" fmla="*/ 6197 h 10000"/>
                  <a:gd name="connsiteX437" fmla="*/ 8728 w 10354"/>
                  <a:gd name="connsiteY437" fmla="*/ 6171 h 10000"/>
                  <a:gd name="connsiteX438" fmla="*/ 8737 w 10354"/>
                  <a:gd name="connsiteY438" fmla="*/ 6171 h 10000"/>
                  <a:gd name="connsiteX439" fmla="*/ 8843 w 10354"/>
                  <a:gd name="connsiteY439" fmla="*/ 5949 h 10000"/>
                  <a:gd name="connsiteX440" fmla="*/ 8866 w 10354"/>
                  <a:gd name="connsiteY440" fmla="*/ 5949 h 10000"/>
                  <a:gd name="connsiteX441" fmla="*/ 8871 w 10354"/>
                  <a:gd name="connsiteY441" fmla="*/ 5940 h 10000"/>
                  <a:gd name="connsiteX442" fmla="*/ 8876 w 10354"/>
                  <a:gd name="connsiteY442" fmla="*/ 5923 h 10000"/>
                  <a:gd name="connsiteX443" fmla="*/ 8885 w 10354"/>
                  <a:gd name="connsiteY443" fmla="*/ 5940 h 10000"/>
                  <a:gd name="connsiteX444" fmla="*/ 8885 w 10354"/>
                  <a:gd name="connsiteY444" fmla="*/ 5949 h 10000"/>
                  <a:gd name="connsiteX445" fmla="*/ 8885 w 10354"/>
                  <a:gd name="connsiteY445" fmla="*/ 5974 h 10000"/>
                  <a:gd name="connsiteX446" fmla="*/ 8889 w 10354"/>
                  <a:gd name="connsiteY446" fmla="*/ 5974 h 10000"/>
                  <a:gd name="connsiteX447" fmla="*/ 8903 w 10354"/>
                  <a:gd name="connsiteY447" fmla="*/ 5923 h 10000"/>
                  <a:gd name="connsiteX448" fmla="*/ 8889 w 10354"/>
                  <a:gd name="connsiteY448" fmla="*/ 5923 h 10000"/>
                  <a:gd name="connsiteX449" fmla="*/ 8889 w 10354"/>
                  <a:gd name="connsiteY449" fmla="*/ 5897 h 10000"/>
                  <a:gd name="connsiteX450" fmla="*/ 8899 w 10354"/>
                  <a:gd name="connsiteY450" fmla="*/ 5838 h 10000"/>
                  <a:gd name="connsiteX451" fmla="*/ 8889 w 10354"/>
                  <a:gd name="connsiteY451" fmla="*/ 5812 h 10000"/>
                  <a:gd name="connsiteX452" fmla="*/ 8903 w 10354"/>
                  <a:gd name="connsiteY452" fmla="*/ 5778 h 10000"/>
                  <a:gd name="connsiteX453" fmla="*/ 8903 w 10354"/>
                  <a:gd name="connsiteY453" fmla="*/ 5761 h 10000"/>
                  <a:gd name="connsiteX454" fmla="*/ 8912 w 10354"/>
                  <a:gd name="connsiteY454" fmla="*/ 5735 h 10000"/>
                  <a:gd name="connsiteX455" fmla="*/ 8931 w 10354"/>
                  <a:gd name="connsiteY455" fmla="*/ 5701 h 10000"/>
                  <a:gd name="connsiteX456" fmla="*/ 8977 w 10354"/>
                  <a:gd name="connsiteY456" fmla="*/ 5675 h 10000"/>
                  <a:gd name="connsiteX457" fmla="*/ 9000 w 10354"/>
                  <a:gd name="connsiteY457" fmla="*/ 5675 h 10000"/>
                  <a:gd name="connsiteX458" fmla="*/ 9018 w 10354"/>
                  <a:gd name="connsiteY458" fmla="*/ 5709 h 10000"/>
                  <a:gd name="connsiteX459" fmla="*/ 9009 w 10354"/>
                  <a:gd name="connsiteY459" fmla="*/ 5735 h 10000"/>
                  <a:gd name="connsiteX460" fmla="*/ 9000 w 10354"/>
                  <a:gd name="connsiteY460" fmla="*/ 5735 h 10000"/>
                  <a:gd name="connsiteX461" fmla="*/ 8963 w 10354"/>
                  <a:gd name="connsiteY461" fmla="*/ 5786 h 10000"/>
                  <a:gd name="connsiteX462" fmla="*/ 8949 w 10354"/>
                  <a:gd name="connsiteY462" fmla="*/ 5940 h 10000"/>
                  <a:gd name="connsiteX463" fmla="*/ 8945 w 10354"/>
                  <a:gd name="connsiteY463" fmla="*/ 5966 h 10000"/>
                  <a:gd name="connsiteX464" fmla="*/ 8945 w 10354"/>
                  <a:gd name="connsiteY464" fmla="*/ 6000 h 10000"/>
                  <a:gd name="connsiteX465" fmla="*/ 8945 w 10354"/>
                  <a:gd name="connsiteY465" fmla="*/ 6009 h 10000"/>
                  <a:gd name="connsiteX466" fmla="*/ 8945 w 10354"/>
                  <a:gd name="connsiteY466" fmla="*/ 6034 h 10000"/>
                  <a:gd name="connsiteX467" fmla="*/ 8931 w 10354"/>
                  <a:gd name="connsiteY467" fmla="*/ 6060 h 10000"/>
                  <a:gd name="connsiteX468" fmla="*/ 8926 w 10354"/>
                  <a:gd name="connsiteY468" fmla="*/ 6077 h 10000"/>
                  <a:gd name="connsiteX469" fmla="*/ 8926 w 10354"/>
                  <a:gd name="connsiteY469" fmla="*/ 6111 h 10000"/>
                  <a:gd name="connsiteX470" fmla="*/ 8931 w 10354"/>
                  <a:gd name="connsiteY470" fmla="*/ 6120 h 10000"/>
                  <a:gd name="connsiteX471" fmla="*/ 8931 w 10354"/>
                  <a:gd name="connsiteY471" fmla="*/ 6137 h 10000"/>
                  <a:gd name="connsiteX472" fmla="*/ 8912 w 10354"/>
                  <a:gd name="connsiteY472" fmla="*/ 6171 h 10000"/>
                  <a:gd name="connsiteX473" fmla="*/ 8899 w 10354"/>
                  <a:gd name="connsiteY473" fmla="*/ 6162 h 10000"/>
                  <a:gd name="connsiteX474" fmla="*/ 8885 w 10354"/>
                  <a:gd name="connsiteY474" fmla="*/ 6171 h 10000"/>
                  <a:gd name="connsiteX475" fmla="*/ 8866 w 10354"/>
                  <a:gd name="connsiteY475" fmla="*/ 6214 h 10000"/>
                  <a:gd name="connsiteX476" fmla="*/ 8853 w 10354"/>
                  <a:gd name="connsiteY476" fmla="*/ 6214 h 10000"/>
                  <a:gd name="connsiteX477" fmla="*/ 8816 w 10354"/>
                  <a:gd name="connsiteY477" fmla="*/ 6248 h 10000"/>
                  <a:gd name="connsiteX478" fmla="*/ 8816 w 10354"/>
                  <a:gd name="connsiteY478" fmla="*/ 6248 h 10000"/>
                  <a:gd name="connsiteX479" fmla="*/ 8816 w 10354"/>
                  <a:gd name="connsiteY479" fmla="*/ 6282 h 10000"/>
                  <a:gd name="connsiteX480" fmla="*/ 8811 w 10354"/>
                  <a:gd name="connsiteY480" fmla="*/ 6308 h 10000"/>
                  <a:gd name="connsiteX481" fmla="*/ 8751 w 10354"/>
                  <a:gd name="connsiteY481" fmla="*/ 6436 h 10000"/>
                  <a:gd name="connsiteX482" fmla="*/ 8724 w 10354"/>
                  <a:gd name="connsiteY482" fmla="*/ 6470 h 10000"/>
                  <a:gd name="connsiteX483" fmla="*/ 8710 w 10354"/>
                  <a:gd name="connsiteY483" fmla="*/ 6504 h 10000"/>
                  <a:gd name="connsiteX484" fmla="*/ 8705 w 10354"/>
                  <a:gd name="connsiteY484" fmla="*/ 6521 h 10000"/>
                  <a:gd name="connsiteX485" fmla="*/ 8677 w 10354"/>
                  <a:gd name="connsiteY485" fmla="*/ 6573 h 10000"/>
                  <a:gd name="connsiteX486" fmla="*/ 8677 w 10354"/>
                  <a:gd name="connsiteY486" fmla="*/ 6624 h 10000"/>
                  <a:gd name="connsiteX487" fmla="*/ 8590 w 10354"/>
                  <a:gd name="connsiteY487" fmla="*/ 6803 h 10000"/>
                  <a:gd name="connsiteX488" fmla="*/ 8562 w 10354"/>
                  <a:gd name="connsiteY488" fmla="*/ 6829 h 10000"/>
                  <a:gd name="connsiteX489" fmla="*/ 8544 w 10354"/>
                  <a:gd name="connsiteY489" fmla="*/ 6829 h 10000"/>
                  <a:gd name="connsiteX490" fmla="*/ 8521 w 10354"/>
                  <a:gd name="connsiteY490" fmla="*/ 6880 h 10000"/>
                  <a:gd name="connsiteX491" fmla="*/ 8498 w 10354"/>
                  <a:gd name="connsiteY491" fmla="*/ 6872 h 10000"/>
                  <a:gd name="connsiteX492" fmla="*/ 8488 w 10354"/>
                  <a:gd name="connsiteY492" fmla="*/ 6872 h 10000"/>
                  <a:gd name="connsiteX493" fmla="*/ 8498 w 10354"/>
                  <a:gd name="connsiteY493" fmla="*/ 6940 h 10000"/>
                  <a:gd name="connsiteX494" fmla="*/ 8484 w 10354"/>
                  <a:gd name="connsiteY494" fmla="*/ 7026 h 10000"/>
                  <a:gd name="connsiteX495" fmla="*/ 8429 w 10354"/>
                  <a:gd name="connsiteY495" fmla="*/ 7094 h 10000"/>
                  <a:gd name="connsiteX496" fmla="*/ 8401 w 10354"/>
                  <a:gd name="connsiteY496" fmla="*/ 7291 h 10000"/>
                  <a:gd name="connsiteX497" fmla="*/ 8424 w 10354"/>
                  <a:gd name="connsiteY497" fmla="*/ 7692 h 10000"/>
                  <a:gd name="connsiteX498" fmla="*/ 8424 w 10354"/>
                  <a:gd name="connsiteY498" fmla="*/ 7701 h 10000"/>
                  <a:gd name="connsiteX499" fmla="*/ 8484 w 10354"/>
                  <a:gd name="connsiteY499" fmla="*/ 8308 h 10000"/>
                  <a:gd name="connsiteX500" fmla="*/ 8576 w 10354"/>
                  <a:gd name="connsiteY500" fmla="*/ 8120 h 10000"/>
                  <a:gd name="connsiteX501" fmla="*/ 8590 w 10354"/>
                  <a:gd name="connsiteY501" fmla="*/ 8026 h 10000"/>
                  <a:gd name="connsiteX502" fmla="*/ 8590 w 10354"/>
                  <a:gd name="connsiteY502" fmla="*/ 7983 h 10000"/>
                  <a:gd name="connsiteX503" fmla="*/ 8594 w 10354"/>
                  <a:gd name="connsiteY503" fmla="*/ 7974 h 10000"/>
                  <a:gd name="connsiteX504" fmla="*/ 8594 w 10354"/>
                  <a:gd name="connsiteY504" fmla="*/ 7940 h 10000"/>
                  <a:gd name="connsiteX505" fmla="*/ 8594 w 10354"/>
                  <a:gd name="connsiteY505" fmla="*/ 7923 h 10000"/>
                  <a:gd name="connsiteX506" fmla="*/ 8594 w 10354"/>
                  <a:gd name="connsiteY506" fmla="*/ 7915 h 10000"/>
                  <a:gd name="connsiteX507" fmla="*/ 8604 w 10354"/>
                  <a:gd name="connsiteY507" fmla="*/ 7915 h 10000"/>
                  <a:gd name="connsiteX508" fmla="*/ 8608 w 10354"/>
                  <a:gd name="connsiteY508" fmla="*/ 7923 h 10000"/>
                  <a:gd name="connsiteX509" fmla="*/ 8645 w 10354"/>
                  <a:gd name="connsiteY509" fmla="*/ 7872 h 10000"/>
                  <a:gd name="connsiteX510" fmla="*/ 8668 w 10354"/>
                  <a:gd name="connsiteY510" fmla="*/ 7846 h 10000"/>
                  <a:gd name="connsiteX511" fmla="*/ 8691 w 10354"/>
                  <a:gd name="connsiteY511" fmla="*/ 7863 h 10000"/>
                  <a:gd name="connsiteX512" fmla="*/ 8691 w 10354"/>
                  <a:gd name="connsiteY512" fmla="*/ 7846 h 10000"/>
                  <a:gd name="connsiteX513" fmla="*/ 8682 w 10354"/>
                  <a:gd name="connsiteY513" fmla="*/ 7838 h 10000"/>
                  <a:gd name="connsiteX514" fmla="*/ 8682 w 10354"/>
                  <a:gd name="connsiteY514" fmla="*/ 7692 h 10000"/>
                  <a:gd name="connsiteX515" fmla="*/ 8728 w 10354"/>
                  <a:gd name="connsiteY515" fmla="*/ 7598 h 10000"/>
                  <a:gd name="connsiteX516" fmla="*/ 8751 w 10354"/>
                  <a:gd name="connsiteY516" fmla="*/ 7573 h 10000"/>
                  <a:gd name="connsiteX517" fmla="*/ 8770 w 10354"/>
                  <a:gd name="connsiteY517" fmla="*/ 7573 h 10000"/>
                  <a:gd name="connsiteX518" fmla="*/ 8779 w 10354"/>
                  <a:gd name="connsiteY518" fmla="*/ 7590 h 10000"/>
                  <a:gd name="connsiteX519" fmla="*/ 8793 w 10354"/>
                  <a:gd name="connsiteY519" fmla="*/ 7590 h 10000"/>
                  <a:gd name="connsiteX520" fmla="*/ 8811 w 10354"/>
                  <a:gd name="connsiteY520" fmla="*/ 7590 h 10000"/>
                  <a:gd name="connsiteX521" fmla="*/ 8825 w 10354"/>
                  <a:gd name="connsiteY521" fmla="*/ 7556 h 10000"/>
                  <a:gd name="connsiteX522" fmla="*/ 8829 w 10354"/>
                  <a:gd name="connsiteY522" fmla="*/ 7530 h 10000"/>
                  <a:gd name="connsiteX523" fmla="*/ 8802 w 10354"/>
                  <a:gd name="connsiteY523" fmla="*/ 7462 h 10000"/>
                  <a:gd name="connsiteX524" fmla="*/ 8797 w 10354"/>
                  <a:gd name="connsiteY524" fmla="*/ 7402 h 10000"/>
                  <a:gd name="connsiteX525" fmla="*/ 8816 w 10354"/>
                  <a:gd name="connsiteY525" fmla="*/ 7291 h 10000"/>
                  <a:gd name="connsiteX526" fmla="*/ 8825 w 10354"/>
                  <a:gd name="connsiteY526" fmla="*/ 7256 h 10000"/>
                  <a:gd name="connsiteX527" fmla="*/ 8843 w 10354"/>
                  <a:gd name="connsiteY527" fmla="*/ 7231 h 10000"/>
                  <a:gd name="connsiteX528" fmla="*/ 8839 w 10354"/>
                  <a:gd name="connsiteY528" fmla="*/ 7205 h 10000"/>
                  <a:gd name="connsiteX529" fmla="*/ 8839 w 10354"/>
                  <a:gd name="connsiteY529" fmla="*/ 7188 h 10000"/>
                  <a:gd name="connsiteX530" fmla="*/ 8876 w 10354"/>
                  <a:gd name="connsiteY530" fmla="*/ 7162 h 10000"/>
                  <a:gd name="connsiteX531" fmla="*/ 8885 w 10354"/>
                  <a:gd name="connsiteY531" fmla="*/ 7154 h 10000"/>
                  <a:gd name="connsiteX532" fmla="*/ 8885 w 10354"/>
                  <a:gd name="connsiteY532" fmla="*/ 7162 h 10000"/>
                  <a:gd name="connsiteX533" fmla="*/ 8876 w 10354"/>
                  <a:gd name="connsiteY533" fmla="*/ 7188 h 10000"/>
                  <a:gd name="connsiteX534" fmla="*/ 8871 w 10354"/>
                  <a:gd name="connsiteY534" fmla="*/ 7205 h 10000"/>
                  <a:gd name="connsiteX535" fmla="*/ 8866 w 10354"/>
                  <a:gd name="connsiteY535" fmla="*/ 7214 h 10000"/>
                  <a:gd name="connsiteX536" fmla="*/ 8876 w 10354"/>
                  <a:gd name="connsiteY536" fmla="*/ 7265 h 10000"/>
                  <a:gd name="connsiteX537" fmla="*/ 8885 w 10354"/>
                  <a:gd name="connsiteY537" fmla="*/ 7282 h 10000"/>
                  <a:gd name="connsiteX538" fmla="*/ 8889 w 10354"/>
                  <a:gd name="connsiteY538" fmla="*/ 7282 h 10000"/>
                  <a:gd name="connsiteX539" fmla="*/ 8903 w 10354"/>
                  <a:gd name="connsiteY539" fmla="*/ 7239 h 10000"/>
                  <a:gd name="connsiteX540" fmla="*/ 8903 w 10354"/>
                  <a:gd name="connsiteY540" fmla="*/ 7214 h 10000"/>
                  <a:gd name="connsiteX541" fmla="*/ 8899 w 10354"/>
                  <a:gd name="connsiteY541" fmla="*/ 7128 h 10000"/>
                  <a:gd name="connsiteX542" fmla="*/ 8889 w 10354"/>
                  <a:gd name="connsiteY542" fmla="*/ 7120 h 10000"/>
                  <a:gd name="connsiteX543" fmla="*/ 8871 w 10354"/>
                  <a:gd name="connsiteY543" fmla="*/ 7120 h 10000"/>
                  <a:gd name="connsiteX544" fmla="*/ 8871 w 10354"/>
                  <a:gd name="connsiteY544" fmla="*/ 7120 h 10000"/>
                  <a:gd name="connsiteX545" fmla="*/ 8871 w 10354"/>
                  <a:gd name="connsiteY545" fmla="*/ 6991 h 10000"/>
                  <a:gd name="connsiteX546" fmla="*/ 8871 w 10354"/>
                  <a:gd name="connsiteY546" fmla="*/ 6966 h 10000"/>
                  <a:gd name="connsiteX547" fmla="*/ 8889 w 10354"/>
                  <a:gd name="connsiteY547" fmla="*/ 6940 h 10000"/>
                  <a:gd name="connsiteX548" fmla="*/ 8903 w 10354"/>
                  <a:gd name="connsiteY548" fmla="*/ 6906 h 10000"/>
                  <a:gd name="connsiteX549" fmla="*/ 8899 w 10354"/>
                  <a:gd name="connsiteY549" fmla="*/ 6880 h 10000"/>
                  <a:gd name="connsiteX550" fmla="*/ 8866 w 10354"/>
                  <a:gd name="connsiteY550" fmla="*/ 6846 h 10000"/>
                  <a:gd name="connsiteX551" fmla="*/ 8853 w 10354"/>
                  <a:gd name="connsiteY551" fmla="*/ 6846 h 10000"/>
                  <a:gd name="connsiteX552" fmla="*/ 8843 w 10354"/>
                  <a:gd name="connsiteY552" fmla="*/ 6880 h 10000"/>
                  <a:gd name="connsiteX553" fmla="*/ 8843 w 10354"/>
                  <a:gd name="connsiteY553" fmla="*/ 6897 h 10000"/>
                  <a:gd name="connsiteX554" fmla="*/ 8829 w 10354"/>
                  <a:gd name="connsiteY554" fmla="*/ 6880 h 10000"/>
                  <a:gd name="connsiteX555" fmla="*/ 8825 w 10354"/>
                  <a:gd name="connsiteY555" fmla="*/ 6872 h 10000"/>
                  <a:gd name="connsiteX556" fmla="*/ 8816 w 10354"/>
                  <a:gd name="connsiteY556" fmla="*/ 6846 h 10000"/>
                  <a:gd name="connsiteX557" fmla="*/ 8816 w 10354"/>
                  <a:gd name="connsiteY557" fmla="*/ 6803 h 10000"/>
                  <a:gd name="connsiteX558" fmla="*/ 8876 w 10354"/>
                  <a:gd name="connsiteY558" fmla="*/ 6598 h 10000"/>
                  <a:gd name="connsiteX559" fmla="*/ 8876 w 10354"/>
                  <a:gd name="connsiteY559" fmla="*/ 6573 h 10000"/>
                  <a:gd name="connsiteX560" fmla="*/ 8885 w 10354"/>
                  <a:gd name="connsiteY560" fmla="*/ 6556 h 10000"/>
                  <a:gd name="connsiteX561" fmla="*/ 8899 w 10354"/>
                  <a:gd name="connsiteY561" fmla="*/ 6573 h 10000"/>
                  <a:gd name="connsiteX562" fmla="*/ 8889 w 10354"/>
                  <a:gd name="connsiteY562" fmla="*/ 6556 h 10000"/>
                  <a:gd name="connsiteX563" fmla="*/ 8889 w 10354"/>
                  <a:gd name="connsiteY563" fmla="*/ 6530 h 10000"/>
                  <a:gd name="connsiteX564" fmla="*/ 8903 w 10354"/>
                  <a:gd name="connsiteY564" fmla="*/ 6521 h 10000"/>
                  <a:gd name="connsiteX565" fmla="*/ 8903 w 10354"/>
                  <a:gd name="connsiteY565" fmla="*/ 6504 h 10000"/>
                  <a:gd name="connsiteX566" fmla="*/ 8903 w 10354"/>
                  <a:gd name="connsiteY566" fmla="*/ 6487 h 10000"/>
                  <a:gd name="connsiteX567" fmla="*/ 8903 w 10354"/>
                  <a:gd name="connsiteY567" fmla="*/ 6462 h 10000"/>
                  <a:gd name="connsiteX568" fmla="*/ 8912 w 10354"/>
                  <a:gd name="connsiteY568" fmla="*/ 6419 h 10000"/>
                  <a:gd name="connsiteX569" fmla="*/ 8917 w 10354"/>
                  <a:gd name="connsiteY569" fmla="*/ 6393 h 10000"/>
                  <a:gd name="connsiteX570" fmla="*/ 8926 w 10354"/>
                  <a:gd name="connsiteY570" fmla="*/ 6385 h 10000"/>
                  <a:gd name="connsiteX571" fmla="*/ 8931 w 10354"/>
                  <a:gd name="connsiteY571" fmla="*/ 6385 h 10000"/>
                  <a:gd name="connsiteX572" fmla="*/ 8949 w 10354"/>
                  <a:gd name="connsiteY572" fmla="*/ 6359 h 10000"/>
                  <a:gd name="connsiteX573" fmla="*/ 8959 w 10354"/>
                  <a:gd name="connsiteY573" fmla="*/ 6368 h 10000"/>
                  <a:gd name="connsiteX574" fmla="*/ 8963 w 10354"/>
                  <a:gd name="connsiteY574" fmla="*/ 6385 h 10000"/>
                  <a:gd name="connsiteX575" fmla="*/ 8972 w 10354"/>
                  <a:gd name="connsiteY575" fmla="*/ 6359 h 10000"/>
                  <a:gd name="connsiteX576" fmla="*/ 8991 w 10354"/>
                  <a:gd name="connsiteY576" fmla="*/ 6350 h 10000"/>
                  <a:gd name="connsiteX577" fmla="*/ 9000 w 10354"/>
                  <a:gd name="connsiteY577" fmla="*/ 6368 h 10000"/>
                  <a:gd name="connsiteX578" fmla="*/ 9005 w 10354"/>
                  <a:gd name="connsiteY578" fmla="*/ 6393 h 10000"/>
                  <a:gd name="connsiteX579" fmla="*/ 9018 w 10354"/>
                  <a:gd name="connsiteY579" fmla="*/ 6393 h 10000"/>
                  <a:gd name="connsiteX580" fmla="*/ 9023 w 10354"/>
                  <a:gd name="connsiteY580" fmla="*/ 6359 h 10000"/>
                  <a:gd name="connsiteX581" fmla="*/ 9023 w 10354"/>
                  <a:gd name="connsiteY581" fmla="*/ 6333 h 10000"/>
                  <a:gd name="connsiteX582" fmla="*/ 9037 w 10354"/>
                  <a:gd name="connsiteY582" fmla="*/ 6308 h 10000"/>
                  <a:gd name="connsiteX583" fmla="*/ 9074 w 10354"/>
                  <a:gd name="connsiteY583" fmla="*/ 6274 h 10000"/>
                  <a:gd name="connsiteX584" fmla="*/ 9092 w 10354"/>
                  <a:gd name="connsiteY584" fmla="*/ 6222 h 10000"/>
                  <a:gd name="connsiteX585" fmla="*/ 9097 w 10354"/>
                  <a:gd name="connsiteY585" fmla="*/ 6231 h 10000"/>
                  <a:gd name="connsiteX586" fmla="*/ 9097 w 10354"/>
                  <a:gd name="connsiteY586" fmla="*/ 6248 h 10000"/>
                  <a:gd name="connsiteX587" fmla="*/ 9097 w 10354"/>
                  <a:gd name="connsiteY587" fmla="*/ 6274 h 10000"/>
                  <a:gd name="connsiteX588" fmla="*/ 9097 w 10354"/>
                  <a:gd name="connsiteY588" fmla="*/ 6308 h 10000"/>
                  <a:gd name="connsiteX589" fmla="*/ 9092 w 10354"/>
                  <a:gd name="connsiteY589" fmla="*/ 6368 h 10000"/>
                  <a:gd name="connsiteX590" fmla="*/ 9092 w 10354"/>
                  <a:gd name="connsiteY590" fmla="*/ 6385 h 10000"/>
                  <a:gd name="connsiteX591" fmla="*/ 9092 w 10354"/>
                  <a:gd name="connsiteY591" fmla="*/ 6393 h 10000"/>
                  <a:gd name="connsiteX592" fmla="*/ 9092 w 10354"/>
                  <a:gd name="connsiteY592" fmla="*/ 6393 h 10000"/>
                  <a:gd name="connsiteX593" fmla="*/ 9143 w 10354"/>
                  <a:gd name="connsiteY593" fmla="*/ 6299 h 10000"/>
                  <a:gd name="connsiteX594" fmla="*/ 9143 w 10354"/>
                  <a:gd name="connsiteY594" fmla="*/ 6282 h 10000"/>
                  <a:gd name="connsiteX595" fmla="*/ 9143 w 10354"/>
                  <a:gd name="connsiteY595" fmla="*/ 6256 h 10000"/>
                  <a:gd name="connsiteX596" fmla="*/ 9143 w 10354"/>
                  <a:gd name="connsiteY596" fmla="*/ 6256 h 10000"/>
                  <a:gd name="connsiteX597" fmla="*/ 9157 w 10354"/>
                  <a:gd name="connsiteY597" fmla="*/ 6274 h 10000"/>
                  <a:gd name="connsiteX598" fmla="*/ 9166 w 10354"/>
                  <a:gd name="connsiteY598" fmla="*/ 6248 h 10000"/>
                  <a:gd name="connsiteX599" fmla="*/ 9180 w 10354"/>
                  <a:gd name="connsiteY599" fmla="*/ 6248 h 10000"/>
                  <a:gd name="connsiteX600" fmla="*/ 9198 w 10354"/>
                  <a:gd name="connsiteY600" fmla="*/ 6222 h 10000"/>
                  <a:gd name="connsiteX601" fmla="*/ 9212 w 10354"/>
                  <a:gd name="connsiteY601" fmla="*/ 6222 h 10000"/>
                  <a:gd name="connsiteX602" fmla="*/ 9226 w 10354"/>
                  <a:gd name="connsiteY602" fmla="*/ 6197 h 10000"/>
                  <a:gd name="connsiteX603" fmla="*/ 9230 w 10354"/>
                  <a:gd name="connsiteY603" fmla="*/ 6214 h 10000"/>
                  <a:gd name="connsiteX604" fmla="*/ 9272 w 10354"/>
                  <a:gd name="connsiteY604" fmla="*/ 6214 h 10000"/>
                  <a:gd name="connsiteX605" fmla="*/ 9304 w 10354"/>
                  <a:gd name="connsiteY605" fmla="*/ 6231 h 10000"/>
                  <a:gd name="connsiteX606" fmla="*/ 9318 w 10354"/>
                  <a:gd name="connsiteY606" fmla="*/ 6248 h 10000"/>
                  <a:gd name="connsiteX607" fmla="*/ 9327 w 10354"/>
                  <a:gd name="connsiteY607" fmla="*/ 6282 h 10000"/>
                  <a:gd name="connsiteX608" fmla="*/ 9355 w 10354"/>
                  <a:gd name="connsiteY608" fmla="*/ 6350 h 10000"/>
                  <a:gd name="connsiteX609" fmla="*/ 9355 w 10354"/>
                  <a:gd name="connsiteY609" fmla="*/ 6359 h 10000"/>
                  <a:gd name="connsiteX610" fmla="*/ 9364 w 10354"/>
                  <a:gd name="connsiteY610" fmla="*/ 6368 h 10000"/>
                  <a:gd name="connsiteX611" fmla="*/ 9373 w 10354"/>
                  <a:gd name="connsiteY611" fmla="*/ 6359 h 10000"/>
                  <a:gd name="connsiteX612" fmla="*/ 9373 w 10354"/>
                  <a:gd name="connsiteY612" fmla="*/ 6325 h 10000"/>
                  <a:gd name="connsiteX613" fmla="*/ 9387 w 10354"/>
                  <a:gd name="connsiteY613" fmla="*/ 6256 h 10000"/>
                  <a:gd name="connsiteX614" fmla="*/ 9387 w 10354"/>
                  <a:gd name="connsiteY614" fmla="*/ 6248 h 10000"/>
                  <a:gd name="connsiteX615" fmla="*/ 9378 w 10354"/>
                  <a:gd name="connsiteY615" fmla="*/ 6248 h 10000"/>
                  <a:gd name="connsiteX616" fmla="*/ 9406 w 10354"/>
                  <a:gd name="connsiteY616" fmla="*/ 6222 h 10000"/>
                  <a:gd name="connsiteX617" fmla="*/ 9415 w 10354"/>
                  <a:gd name="connsiteY617" fmla="*/ 6222 h 10000"/>
                  <a:gd name="connsiteX618" fmla="*/ 9415 w 10354"/>
                  <a:gd name="connsiteY618" fmla="*/ 6197 h 10000"/>
                  <a:gd name="connsiteX619" fmla="*/ 9419 w 10354"/>
                  <a:gd name="connsiteY619" fmla="*/ 6214 h 10000"/>
                  <a:gd name="connsiteX620" fmla="*/ 9424 w 10354"/>
                  <a:gd name="connsiteY620" fmla="*/ 6214 h 10000"/>
                  <a:gd name="connsiteX621" fmla="*/ 9447 w 10354"/>
                  <a:gd name="connsiteY621" fmla="*/ 6171 h 10000"/>
                  <a:gd name="connsiteX622" fmla="*/ 9452 w 10354"/>
                  <a:gd name="connsiteY622" fmla="*/ 6171 h 10000"/>
                  <a:gd name="connsiteX623" fmla="*/ 9452 w 10354"/>
                  <a:gd name="connsiteY623" fmla="*/ 6162 h 10000"/>
                  <a:gd name="connsiteX624" fmla="*/ 9461 w 10354"/>
                  <a:gd name="connsiteY624" fmla="*/ 6137 h 10000"/>
                  <a:gd name="connsiteX625" fmla="*/ 9475 w 10354"/>
                  <a:gd name="connsiteY625" fmla="*/ 6137 h 10000"/>
                  <a:gd name="connsiteX626" fmla="*/ 9475 w 10354"/>
                  <a:gd name="connsiteY626" fmla="*/ 6137 h 10000"/>
                  <a:gd name="connsiteX627" fmla="*/ 9479 w 10354"/>
                  <a:gd name="connsiteY627" fmla="*/ 6120 h 10000"/>
                  <a:gd name="connsiteX628" fmla="*/ 9488 w 10354"/>
                  <a:gd name="connsiteY628" fmla="*/ 6120 h 10000"/>
                  <a:gd name="connsiteX629" fmla="*/ 9488 w 10354"/>
                  <a:gd name="connsiteY629" fmla="*/ 6111 h 10000"/>
                  <a:gd name="connsiteX630" fmla="*/ 9479 w 10354"/>
                  <a:gd name="connsiteY630" fmla="*/ 6103 h 10000"/>
                  <a:gd name="connsiteX631" fmla="*/ 9479 w 10354"/>
                  <a:gd name="connsiteY631" fmla="*/ 6085 h 10000"/>
                  <a:gd name="connsiteX632" fmla="*/ 9488 w 10354"/>
                  <a:gd name="connsiteY632" fmla="*/ 6103 h 10000"/>
                  <a:gd name="connsiteX633" fmla="*/ 9493 w 10354"/>
                  <a:gd name="connsiteY633" fmla="*/ 6111 h 10000"/>
                  <a:gd name="connsiteX634" fmla="*/ 9498 w 10354"/>
                  <a:gd name="connsiteY634" fmla="*/ 6103 h 10000"/>
                  <a:gd name="connsiteX635" fmla="*/ 9507 w 10354"/>
                  <a:gd name="connsiteY635" fmla="*/ 6077 h 10000"/>
                  <a:gd name="connsiteX636" fmla="*/ 9498 w 10354"/>
                  <a:gd name="connsiteY636" fmla="*/ 6060 h 10000"/>
                  <a:gd name="connsiteX637" fmla="*/ 9512 w 10354"/>
                  <a:gd name="connsiteY637" fmla="*/ 6060 h 10000"/>
                  <a:gd name="connsiteX638" fmla="*/ 9525 w 10354"/>
                  <a:gd name="connsiteY638" fmla="*/ 6034 h 10000"/>
                  <a:gd name="connsiteX639" fmla="*/ 9535 w 10354"/>
                  <a:gd name="connsiteY639" fmla="*/ 6034 h 10000"/>
                  <a:gd name="connsiteX640" fmla="*/ 9535 w 10354"/>
                  <a:gd name="connsiteY640" fmla="*/ 6026 h 10000"/>
                  <a:gd name="connsiteX641" fmla="*/ 9525 w 10354"/>
                  <a:gd name="connsiteY641" fmla="*/ 6009 h 10000"/>
                  <a:gd name="connsiteX642" fmla="*/ 9535 w 10354"/>
                  <a:gd name="connsiteY642" fmla="*/ 6000 h 10000"/>
                  <a:gd name="connsiteX643" fmla="*/ 9539 w 10354"/>
                  <a:gd name="connsiteY643" fmla="*/ 6009 h 10000"/>
                  <a:gd name="connsiteX644" fmla="*/ 9548 w 10354"/>
                  <a:gd name="connsiteY644" fmla="*/ 6009 h 10000"/>
                  <a:gd name="connsiteX645" fmla="*/ 9553 w 10354"/>
                  <a:gd name="connsiteY645" fmla="*/ 6000 h 10000"/>
                  <a:gd name="connsiteX646" fmla="*/ 9562 w 10354"/>
                  <a:gd name="connsiteY646" fmla="*/ 5983 h 10000"/>
                  <a:gd name="connsiteX647" fmla="*/ 9562 w 10354"/>
                  <a:gd name="connsiteY647" fmla="*/ 5974 h 10000"/>
                  <a:gd name="connsiteX648" fmla="*/ 9567 w 10354"/>
                  <a:gd name="connsiteY648" fmla="*/ 5974 h 10000"/>
                  <a:gd name="connsiteX649" fmla="*/ 9567 w 10354"/>
                  <a:gd name="connsiteY649" fmla="*/ 5966 h 10000"/>
                  <a:gd name="connsiteX650" fmla="*/ 9567 w 10354"/>
                  <a:gd name="connsiteY650" fmla="*/ 5940 h 10000"/>
                  <a:gd name="connsiteX651" fmla="*/ 9571 w 10354"/>
                  <a:gd name="connsiteY651" fmla="*/ 5915 h 10000"/>
                  <a:gd name="connsiteX652" fmla="*/ 9581 w 10354"/>
                  <a:gd name="connsiteY652" fmla="*/ 5923 h 10000"/>
                  <a:gd name="connsiteX653" fmla="*/ 9585 w 10354"/>
                  <a:gd name="connsiteY653" fmla="*/ 5940 h 10000"/>
                  <a:gd name="connsiteX654" fmla="*/ 9594 w 10354"/>
                  <a:gd name="connsiteY654" fmla="*/ 5949 h 10000"/>
                  <a:gd name="connsiteX655" fmla="*/ 9599 w 10354"/>
                  <a:gd name="connsiteY655" fmla="*/ 5940 h 10000"/>
                  <a:gd name="connsiteX656" fmla="*/ 9613 w 10354"/>
                  <a:gd name="connsiteY656" fmla="*/ 5915 h 10000"/>
                  <a:gd name="connsiteX657" fmla="*/ 9645 w 10354"/>
                  <a:gd name="connsiteY657" fmla="*/ 5889 h 10000"/>
                  <a:gd name="connsiteX658" fmla="*/ 9654 w 10354"/>
                  <a:gd name="connsiteY658" fmla="*/ 5872 h 10000"/>
                  <a:gd name="connsiteX659" fmla="*/ 9673 w 10354"/>
                  <a:gd name="connsiteY659" fmla="*/ 5863 h 10000"/>
                  <a:gd name="connsiteX660" fmla="*/ 9682 w 10354"/>
                  <a:gd name="connsiteY660" fmla="*/ 5838 h 10000"/>
                  <a:gd name="connsiteX661" fmla="*/ 9682 w 10354"/>
                  <a:gd name="connsiteY661" fmla="*/ 5829 h 10000"/>
                  <a:gd name="connsiteX662" fmla="*/ 9682 w 10354"/>
                  <a:gd name="connsiteY662" fmla="*/ 5812 h 10000"/>
                  <a:gd name="connsiteX663" fmla="*/ 9687 w 10354"/>
                  <a:gd name="connsiteY663" fmla="*/ 5812 h 10000"/>
                  <a:gd name="connsiteX664" fmla="*/ 9687 w 10354"/>
                  <a:gd name="connsiteY664" fmla="*/ 5829 h 10000"/>
                  <a:gd name="connsiteX665" fmla="*/ 9687 w 10354"/>
                  <a:gd name="connsiteY665" fmla="*/ 5829 h 10000"/>
                  <a:gd name="connsiteX666" fmla="*/ 9719 w 10354"/>
                  <a:gd name="connsiteY666" fmla="*/ 5803 h 10000"/>
                  <a:gd name="connsiteX667" fmla="*/ 9728 w 10354"/>
                  <a:gd name="connsiteY667" fmla="*/ 5803 h 10000"/>
                  <a:gd name="connsiteX668" fmla="*/ 9779 w 10354"/>
                  <a:gd name="connsiteY668" fmla="*/ 5726 h 10000"/>
                  <a:gd name="connsiteX669" fmla="*/ 9816 w 10354"/>
                  <a:gd name="connsiteY669" fmla="*/ 5709 h 10000"/>
                  <a:gd name="connsiteX670" fmla="*/ 9820 w 10354"/>
                  <a:gd name="connsiteY670" fmla="*/ 5701 h 10000"/>
                  <a:gd name="connsiteX671" fmla="*/ 9816 w 10354"/>
                  <a:gd name="connsiteY671" fmla="*/ 5692 h 10000"/>
                  <a:gd name="connsiteX672" fmla="*/ 9816 w 10354"/>
                  <a:gd name="connsiteY672" fmla="*/ 5692 h 10000"/>
                  <a:gd name="connsiteX673" fmla="*/ 9802 w 10354"/>
                  <a:gd name="connsiteY673" fmla="*/ 5624 h 10000"/>
                  <a:gd name="connsiteX674" fmla="*/ 9806 w 10354"/>
                  <a:gd name="connsiteY674" fmla="*/ 5624 h 10000"/>
                  <a:gd name="connsiteX675" fmla="*/ 9820 w 10354"/>
                  <a:gd name="connsiteY675" fmla="*/ 5675 h 10000"/>
                  <a:gd name="connsiteX676" fmla="*/ 9829 w 10354"/>
                  <a:gd name="connsiteY676" fmla="*/ 5675 h 10000"/>
                  <a:gd name="connsiteX677" fmla="*/ 9829 w 10354"/>
                  <a:gd name="connsiteY677" fmla="*/ 5692 h 10000"/>
                  <a:gd name="connsiteX678" fmla="*/ 9829 w 10354"/>
                  <a:gd name="connsiteY678" fmla="*/ 5701 h 10000"/>
                  <a:gd name="connsiteX679" fmla="*/ 9839 w 10354"/>
                  <a:gd name="connsiteY679" fmla="*/ 5701 h 10000"/>
                  <a:gd name="connsiteX680" fmla="*/ 9839 w 10354"/>
                  <a:gd name="connsiteY680" fmla="*/ 5692 h 10000"/>
                  <a:gd name="connsiteX681" fmla="*/ 9839 w 10354"/>
                  <a:gd name="connsiteY681" fmla="*/ 5675 h 10000"/>
                  <a:gd name="connsiteX682" fmla="*/ 9848 w 10354"/>
                  <a:gd name="connsiteY682" fmla="*/ 5675 h 10000"/>
                  <a:gd name="connsiteX683" fmla="*/ 9848 w 10354"/>
                  <a:gd name="connsiteY683" fmla="*/ 5692 h 10000"/>
                  <a:gd name="connsiteX684" fmla="*/ 9853 w 10354"/>
                  <a:gd name="connsiteY684" fmla="*/ 5701 h 10000"/>
                  <a:gd name="connsiteX685" fmla="*/ 9880 w 10354"/>
                  <a:gd name="connsiteY685" fmla="*/ 5709 h 10000"/>
                  <a:gd name="connsiteX686" fmla="*/ 9912 w 10354"/>
                  <a:gd name="connsiteY686" fmla="*/ 5752 h 10000"/>
                  <a:gd name="connsiteX687" fmla="*/ 9926 w 10354"/>
                  <a:gd name="connsiteY687" fmla="*/ 5761 h 10000"/>
                  <a:gd name="connsiteX688" fmla="*/ 9935 w 10354"/>
                  <a:gd name="connsiteY688" fmla="*/ 5761 h 10000"/>
                  <a:gd name="connsiteX689" fmla="*/ 9940 w 10354"/>
                  <a:gd name="connsiteY689" fmla="*/ 5735 h 10000"/>
                  <a:gd name="connsiteX690" fmla="*/ 9949 w 10354"/>
                  <a:gd name="connsiteY690" fmla="*/ 5735 h 10000"/>
                  <a:gd name="connsiteX691" fmla="*/ 9968 w 10354"/>
                  <a:gd name="connsiteY691" fmla="*/ 5692 h 10000"/>
                  <a:gd name="connsiteX692" fmla="*/ 9968 w 10354"/>
                  <a:gd name="connsiteY692" fmla="*/ 5650 h 10000"/>
                  <a:gd name="connsiteX693" fmla="*/ 9968 w 10354"/>
                  <a:gd name="connsiteY693" fmla="*/ 5624 h 10000"/>
                  <a:gd name="connsiteX694" fmla="*/ 9935 w 10354"/>
                  <a:gd name="connsiteY694" fmla="*/ 5598 h 10000"/>
                  <a:gd name="connsiteX695" fmla="*/ 9935 w 10354"/>
                  <a:gd name="connsiteY695" fmla="*/ 5590 h 10000"/>
                  <a:gd name="connsiteX696" fmla="*/ 9935 w 10354"/>
                  <a:gd name="connsiteY696" fmla="*/ 5573 h 10000"/>
                  <a:gd name="connsiteX697" fmla="*/ 9935 w 10354"/>
                  <a:gd name="connsiteY697" fmla="*/ 5573 h 10000"/>
                  <a:gd name="connsiteX698" fmla="*/ 9940 w 10354"/>
                  <a:gd name="connsiteY698" fmla="*/ 5573 h 10000"/>
                  <a:gd name="connsiteX699" fmla="*/ 9954 w 10354"/>
                  <a:gd name="connsiteY699" fmla="*/ 5573 h 10000"/>
                  <a:gd name="connsiteX700" fmla="*/ 9963 w 10354"/>
                  <a:gd name="connsiteY700" fmla="*/ 5564 h 10000"/>
                  <a:gd name="connsiteX701" fmla="*/ 9954 w 10354"/>
                  <a:gd name="connsiteY701" fmla="*/ 5530 h 10000"/>
                  <a:gd name="connsiteX702" fmla="*/ 9949 w 10354"/>
                  <a:gd name="connsiteY702" fmla="*/ 5530 h 10000"/>
                  <a:gd name="connsiteX703" fmla="*/ 9926 w 10354"/>
                  <a:gd name="connsiteY703" fmla="*/ 5479 h 10000"/>
                  <a:gd name="connsiteX704" fmla="*/ 9912 w 10354"/>
                  <a:gd name="connsiteY704" fmla="*/ 5325 h 10000"/>
                  <a:gd name="connsiteX705" fmla="*/ 9903 w 10354"/>
                  <a:gd name="connsiteY705" fmla="*/ 5342 h 10000"/>
                  <a:gd name="connsiteX706" fmla="*/ 9889 w 10354"/>
                  <a:gd name="connsiteY706" fmla="*/ 5316 h 10000"/>
                  <a:gd name="connsiteX707" fmla="*/ 9889 w 10354"/>
                  <a:gd name="connsiteY707" fmla="*/ 5291 h 10000"/>
                  <a:gd name="connsiteX708" fmla="*/ 9903 w 10354"/>
                  <a:gd name="connsiteY708" fmla="*/ 5291 h 10000"/>
                  <a:gd name="connsiteX709" fmla="*/ 9903 w 10354"/>
                  <a:gd name="connsiteY709" fmla="*/ 5291 h 10000"/>
                  <a:gd name="connsiteX710" fmla="*/ 9894 w 10354"/>
                  <a:gd name="connsiteY710" fmla="*/ 5214 h 10000"/>
                  <a:gd name="connsiteX711" fmla="*/ 9880 w 10354"/>
                  <a:gd name="connsiteY711" fmla="*/ 5239 h 10000"/>
                  <a:gd name="connsiteX712" fmla="*/ 9876 w 10354"/>
                  <a:gd name="connsiteY712" fmla="*/ 5256 h 10000"/>
                  <a:gd name="connsiteX713" fmla="*/ 9862 w 10354"/>
                  <a:gd name="connsiteY713" fmla="*/ 5239 h 10000"/>
                  <a:gd name="connsiteX714" fmla="*/ 9853 w 10354"/>
                  <a:gd name="connsiteY714" fmla="*/ 5214 h 10000"/>
                  <a:gd name="connsiteX715" fmla="*/ 9839 w 10354"/>
                  <a:gd name="connsiteY715" fmla="*/ 5214 h 10000"/>
                  <a:gd name="connsiteX716" fmla="*/ 9834 w 10354"/>
                  <a:gd name="connsiteY716" fmla="*/ 5188 h 10000"/>
                  <a:gd name="connsiteX717" fmla="*/ 9834 w 10354"/>
                  <a:gd name="connsiteY717" fmla="*/ 5103 h 10000"/>
                  <a:gd name="connsiteX718" fmla="*/ 9839 w 10354"/>
                  <a:gd name="connsiteY718" fmla="*/ 5094 h 10000"/>
                  <a:gd name="connsiteX719" fmla="*/ 9853 w 10354"/>
                  <a:gd name="connsiteY719" fmla="*/ 5103 h 10000"/>
                  <a:gd name="connsiteX720" fmla="*/ 9876 w 10354"/>
                  <a:gd name="connsiteY720" fmla="*/ 5128 h 10000"/>
                  <a:gd name="connsiteX721" fmla="*/ 9889 w 10354"/>
                  <a:gd name="connsiteY721" fmla="*/ 5103 h 10000"/>
                  <a:gd name="connsiteX722" fmla="*/ 9880 w 10354"/>
                  <a:gd name="connsiteY722" fmla="*/ 5120 h 10000"/>
                  <a:gd name="connsiteX723" fmla="*/ 9889 w 10354"/>
                  <a:gd name="connsiteY723" fmla="*/ 5128 h 10000"/>
                  <a:gd name="connsiteX724" fmla="*/ 9912 w 10354"/>
                  <a:gd name="connsiteY724" fmla="*/ 5128 h 10000"/>
                  <a:gd name="connsiteX725" fmla="*/ 9908 w 10354"/>
                  <a:gd name="connsiteY725" fmla="*/ 5145 h 10000"/>
                  <a:gd name="connsiteX726" fmla="*/ 9908 w 10354"/>
                  <a:gd name="connsiteY726" fmla="*/ 5154 h 10000"/>
                  <a:gd name="connsiteX727" fmla="*/ 9922 w 10354"/>
                  <a:gd name="connsiteY727" fmla="*/ 5128 h 10000"/>
                  <a:gd name="connsiteX728" fmla="*/ 9935 w 10354"/>
                  <a:gd name="connsiteY728" fmla="*/ 5103 h 10000"/>
                  <a:gd name="connsiteX729" fmla="*/ 9968 w 10354"/>
                  <a:gd name="connsiteY729" fmla="*/ 5077 h 10000"/>
                  <a:gd name="connsiteX730" fmla="*/ 10000 w 10354"/>
                  <a:gd name="connsiteY730" fmla="*/ 5017 h 10000"/>
                  <a:gd name="connsiteX731" fmla="*/ 10354 w 10354"/>
                  <a:gd name="connsiteY731" fmla="*/ 3895 h 10000"/>
                  <a:gd name="connsiteX732" fmla="*/ 9912 w 10354"/>
                  <a:gd name="connsiteY732" fmla="*/ 3675 h 10000"/>
                  <a:gd name="connsiteX733" fmla="*/ 9903 w 10354"/>
                  <a:gd name="connsiteY733" fmla="*/ 3667 h 10000"/>
                  <a:gd name="connsiteX734" fmla="*/ 9894 w 10354"/>
                  <a:gd name="connsiteY734" fmla="*/ 3641 h 10000"/>
                  <a:gd name="connsiteX735" fmla="*/ 9889 w 10354"/>
                  <a:gd name="connsiteY735" fmla="*/ 3650 h 10000"/>
                  <a:gd name="connsiteX736" fmla="*/ 9848 w 10354"/>
                  <a:gd name="connsiteY736" fmla="*/ 3598 h 10000"/>
                  <a:gd name="connsiteX737" fmla="*/ 9829 w 10354"/>
                  <a:gd name="connsiteY737" fmla="*/ 3581 h 10000"/>
                  <a:gd name="connsiteX738" fmla="*/ 9820 w 10354"/>
                  <a:gd name="connsiteY738" fmla="*/ 3581 h 10000"/>
                  <a:gd name="connsiteX739" fmla="*/ 9793 w 10354"/>
                  <a:gd name="connsiteY739" fmla="*/ 3556 h 10000"/>
                  <a:gd name="connsiteX740" fmla="*/ 9779 w 10354"/>
                  <a:gd name="connsiteY740" fmla="*/ 3556 h 10000"/>
                  <a:gd name="connsiteX741" fmla="*/ 9747 w 10354"/>
                  <a:gd name="connsiteY741" fmla="*/ 3487 h 10000"/>
                  <a:gd name="connsiteX742" fmla="*/ 9668 w 10354"/>
                  <a:gd name="connsiteY742" fmla="*/ 3479 h 10000"/>
                  <a:gd name="connsiteX743" fmla="*/ 9659 w 10354"/>
                  <a:gd name="connsiteY743" fmla="*/ 3487 h 10000"/>
                  <a:gd name="connsiteX744" fmla="*/ 9645 w 10354"/>
                  <a:gd name="connsiteY744" fmla="*/ 3504 h 10000"/>
                  <a:gd name="connsiteX745" fmla="*/ 9631 w 10354"/>
                  <a:gd name="connsiteY745" fmla="*/ 3487 h 10000"/>
                  <a:gd name="connsiteX746" fmla="*/ 9613 w 10354"/>
                  <a:gd name="connsiteY746" fmla="*/ 3479 h 10000"/>
                  <a:gd name="connsiteX747" fmla="*/ 9599 w 10354"/>
                  <a:gd name="connsiteY747" fmla="*/ 3479 h 10000"/>
                  <a:gd name="connsiteX748" fmla="*/ 9571 w 10354"/>
                  <a:gd name="connsiteY748" fmla="*/ 3479 h 10000"/>
                  <a:gd name="connsiteX749" fmla="*/ 9562 w 10354"/>
                  <a:gd name="connsiteY749" fmla="*/ 3487 h 10000"/>
                  <a:gd name="connsiteX750" fmla="*/ 9539 w 10354"/>
                  <a:gd name="connsiteY750" fmla="*/ 3487 h 10000"/>
                  <a:gd name="connsiteX751" fmla="*/ 9507 w 10354"/>
                  <a:gd name="connsiteY751" fmla="*/ 3453 h 10000"/>
                  <a:gd name="connsiteX752" fmla="*/ 9498 w 10354"/>
                  <a:gd name="connsiteY752" fmla="*/ 3453 h 10000"/>
                  <a:gd name="connsiteX753" fmla="*/ 9387 w 10354"/>
                  <a:gd name="connsiteY753" fmla="*/ 3419 h 10000"/>
                  <a:gd name="connsiteX754" fmla="*/ 9373 w 10354"/>
                  <a:gd name="connsiteY754" fmla="*/ 3427 h 10000"/>
                  <a:gd name="connsiteX755" fmla="*/ 9373 w 10354"/>
                  <a:gd name="connsiteY755" fmla="*/ 3462 h 10000"/>
                  <a:gd name="connsiteX756" fmla="*/ 9378 w 10354"/>
                  <a:gd name="connsiteY756" fmla="*/ 3479 h 10000"/>
                  <a:gd name="connsiteX757" fmla="*/ 9378 w 10354"/>
                  <a:gd name="connsiteY757" fmla="*/ 3530 h 10000"/>
                  <a:gd name="connsiteX758" fmla="*/ 9355 w 10354"/>
                  <a:gd name="connsiteY758" fmla="*/ 3538 h 10000"/>
                  <a:gd name="connsiteX759" fmla="*/ 9355 w 10354"/>
                  <a:gd name="connsiteY759" fmla="*/ 3581 h 10000"/>
                  <a:gd name="connsiteX760" fmla="*/ 9387 w 10354"/>
                  <a:gd name="connsiteY760" fmla="*/ 3590 h 10000"/>
                  <a:gd name="connsiteX761" fmla="*/ 9401 w 10354"/>
                  <a:gd name="connsiteY761" fmla="*/ 3667 h 10000"/>
                  <a:gd name="connsiteX762" fmla="*/ 9406 w 10354"/>
                  <a:gd name="connsiteY762" fmla="*/ 3675 h 10000"/>
                  <a:gd name="connsiteX763" fmla="*/ 9406 w 10354"/>
                  <a:gd name="connsiteY763" fmla="*/ 3701 h 10000"/>
                  <a:gd name="connsiteX764" fmla="*/ 9415 w 10354"/>
                  <a:gd name="connsiteY764" fmla="*/ 3752 h 10000"/>
                  <a:gd name="connsiteX765" fmla="*/ 9373 w 10354"/>
                  <a:gd name="connsiteY765" fmla="*/ 3838 h 10000"/>
                  <a:gd name="connsiteX766" fmla="*/ 9355 w 10354"/>
                  <a:gd name="connsiteY766" fmla="*/ 3863 h 10000"/>
                  <a:gd name="connsiteX767" fmla="*/ 9327 w 10354"/>
                  <a:gd name="connsiteY767" fmla="*/ 3863 h 10000"/>
                  <a:gd name="connsiteX768" fmla="*/ 9313 w 10354"/>
                  <a:gd name="connsiteY768" fmla="*/ 3846 h 10000"/>
                  <a:gd name="connsiteX769" fmla="*/ 9300 w 10354"/>
                  <a:gd name="connsiteY769" fmla="*/ 3778 h 10000"/>
                  <a:gd name="connsiteX770" fmla="*/ 9281 w 10354"/>
                  <a:gd name="connsiteY770" fmla="*/ 3752 h 10000"/>
                  <a:gd name="connsiteX771" fmla="*/ 9281 w 10354"/>
                  <a:gd name="connsiteY771" fmla="*/ 3735 h 10000"/>
                  <a:gd name="connsiteX772" fmla="*/ 9267 w 10354"/>
                  <a:gd name="connsiteY772" fmla="*/ 3726 h 10000"/>
                  <a:gd name="connsiteX773" fmla="*/ 9240 w 10354"/>
                  <a:gd name="connsiteY773" fmla="*/ 3726 h 10000"/>
                  <a:gd name="connsiteX774" fmla="*/ 9230 w 10354"/>
                  <a:gd name="connsiteY774" fmla="*/ 3718 h 10000"/>
                  <a:gd name="connsiteX775" fmla="*/ 9226 w 10354"/>
                  <a:gd name="connsiteY775" fmla="*/ 3590 h 10000"/>
                  <a:gd name="connsiteX776" fmla="*/ 9207 w 10354"/>
                  <a:gd name="connsiteY776" fmla="*/ 3581 h 10000"/>
                  <a:gd name="connsiteX777" fmla="*/ 9207 w 10354"/>
                  <a:gd name="connsiteY777" fmla="*/ 3556 h 10000"/>
                  <a:gd name="connsiteX778" fmla="*/ 9217 w 10354"/>
                  <a:gd name="connsiteY778" fmla="*/ 3538 h 10000"/>
                  <a:gd name="connsiteX779" fmla="*/ 9212 w 10354"/>
                  <a:gd name="connsiteY779" fmla="*/ 3538 h 10000"/>
                  <a:gd name="connsiteX780" fmla="*/ 9198 w 10354"/>
                  <a:gd name="connsiteY780" fmla="*/ 3513 h 10000"/>
                  <a:gd name="connsiteX781" fmla="*/ 9194 w 10354"/>
                  <a:gd name="connsiteY781" fmla="*/ 3530 h 10000"/>
                  <a:gd name="connsiteX782" fmla="*/ 9143 w 10354"/>
                  <a:gd name="connsiteY782" fmla="*/ 3615 h 10000"/>
                  <a:gd name="connsiteX783" fmla="*/ 9138 w 10354"/>
                  <a:gd name="connsiteY783" fmla="*/ 3615 h 10000"/>
                  <a:gd name="connsiteX784" fmla="*/ 9134 w 10354"/>
                  <a:gd name="connsiteY784" fmla="*/ 3615 h 10000"/>
                  <a:gd name="connsiteX785" fmla="*/ 9106 w 10354"/>
                  <a:gd name="connsiteY785" fmla="*/ 3615 h 10000"/>
                  <a:gd name="connsiteX786" fmla="*/ 9078 w 10354"/>
                  <a:gd name="connsiteY786" fmla="*/ 3590 h 10000"/>
                  <a:gd name="connsiteX787" fmla="*/ 9037 w 10354"/>
                  <a:gd name="connsiteY787" fmla="*/ 3581 h 10000"/>
                  <a:gd name="connsiteX788" fmla="*/ 9023 w 10354"/>
                  <a:gd name="connsiteY788" fmla="*/ 3590 h 10000"/>
                  <a:gd name="connsiteX789" fmla="*/ 9018 w 10354"/>
                  <a:gd name="connsiteY789" fmla="*/ 3590 h 10000"/>
                  <a:gd name="connsiteX790" fmla="*/ 9018 w 10354"/>
                  <a:gd name="connsiteY790" fmla="*/ 3590 h 10000"/>
                  <a:gd name="connsiteX791" fmla="*/ 8991 w 10354"/>
                  <a:gd name="connsiteY791" fmla="*/ 3590 h 10000"/>
                  <a:gd name="connsiteX792" fmla="*/ 8972 w 10354"/>
                  <a:gd name="connsiteY792" fmla="*/ 3581 h 10000"/>
                  <a:gd name="connsiteX793" fmla="*/ 8959 w 10354"/>
                  <a:gd name="connsiteY793" fmla="*/ 3513 h 10000"/>
                  <a:gd name="connsiteX794" fmla="*/ 8931 w 10354"/>
                  <a:gd name="connsiteY794" fmla="*/ 3538 h 10000"/>
                  <a:gd name="connsiteX795" fmla="*/ 8889 w 10354"/>
                  <a:gd name="connsiteY795" fmla="*/ 3538 h 10000"/>
                  <a:gd name="connsiteX796" fmla="*/ 8871 w 10354"/>
                  <a:gd name="connsiteY796" fmla="*/ 3556 h 10000"/>
                  <a:gd name="connsiteX797" fmla="*/ 8857 w 10354"/>
                  <a:gd name="connsiteY797" fmla="*/ 3538 h 10000"/>
                  <a:gd name="connsiteX798" fmla="*/ 8843 w 10354"/>
                  <a:gd name="connsiteY798" fmla="*/ 3538 h 10000"/>
                  <a:gd name="connsiteX799" fmla="*/ 8839 w 10354"/>
                  <a:gd name="connsiteY799" fmla="*/ 3556 h 10000"/>
                  <a:gd name="connsiteX800" fmla="*/ 8839 w 10354"/>
                  <a:gd name="connsiteY800" fmla="*/ 3581 h 10000"/>
                  <a:gd name="connsiteX801" fmla="*/ 8825 w 10354"/>
                  <a:gd name="connsiteY801" fmla="*/ 3564 h 10000"/>
                  <a:gd name="connsiteX802" fmla="*/ 8825 w 10354"/>
                  <a:gd name="connsiteY802" fmla="*/ 3615 h 10000"/>
                  <a:gd name="connsiteX803" fmla="*/ 8802 w 10354"/>
                  <a:gd name="connsiteY803" fmla="*/ 3598 h 10000"/>
                  <a:gd name="connsiteX804" fmla="*/ 8797 w 10354"/>
                  <a:gd name="connsiteY804" fmla="*/ 3641 h 10000"/>
                  <a:gd name="connsiteX805" fmla="*/ 8783 w 10354"/>
                  <a:gd name="connsiteY805" fmla="*/ 3667 h 10000"/>
                  <a:gd name="connsiteX806" fmla="*/ 8779 w 10354"/>
                  <a:gd name="connsiteY806" fmla="*/ 3650 h 10000"/>
                  <a:gd name="connsiteX807" fmla="*/ 8779 w 10354"/>
                  <a:gd name="connsiteY807" fmla="*/ 3615 h 10000"/>
                  <a:gd name="connsiteX808" fmla="*/ 8770 w 10354"/>
                  <a:gd name="connsiteY808" fmla="*/ 3590 h 10000"/>
                  <a:gd name="connsiteX809" fmla="*/ 8765 w 10354"/>
                  <a:gd name="connsiteY809" fmla="*/ 3598 h 10000"/>
                  <a:gd name="connsiteX810" fmla="*/ 8756 w 10354"/>
                  <a:gd name="connsiteY810" fmla="*/ 3590 h 10000"/>
                  <a:gd name="connsiteX811" fmla="*/ 8737 w 10354"/>
                  <a:gd name="connsiteY811" fmla="*/ 3556 h 10000"/>
                  <a:gd name="connsiteX812" fmla="*/ 8724 w 10354"/>
                  <a:gd name="connsiteY812" fmla="*/ 3538 h 10000"/>
                  <a:gd name="connsiteX813" fmla="*/ 8696 w 10354"/>
                  <a:gd name="connsiteY813" fmla="*/ 3538 h 10000"/>
                  <a:gd name="connsiteX814" fmla="*/ 8691 w 10354"/>
                  <a:gd name="connsiteY814" fmla="*/ 3513 h 10000"/>
                  <a:gd name="connsiteX815" fmla="*/ 8668 w 10354"/>
                  <a:gd name="connsiteY815" fmla="*/ 3504 h 10000"/>
                  <a:gd name="connsiteX816" fmla="*/ 8668 w 10354"/>
                  <a:gd name="connsiteY816" fmla="*/ 3487 h 10000"/>
                  <a:gd name="connsiteX817" fmla="*/ 8691 w 10354"/>
                  <a:gd name="connsiteY817" fmla="*/ 3350 h 10000"/>
                  <a:gd name="connsiteX818" fmla="*/ 8691 w 10354"/>
                  <a:gd name="connsiteY818" fmla="*/ 3291 h 10000"/>
                  <a:gd name="connsiteX819" fmla="*/ 8677 w 10354"/>
                  <a:gd name="connsiteY819" fmla="*/ 3239 h 10000"/>
                  <a:gd name="connsiteX820" fmla="*/ 8677 w 10354"/>
                  <a:gd name="connsiteY820" fmla="*/ 3231 h 10000"/>
                  <a:gd name="connsiteX821" fmla="*/ 8636 w 10354"/>
                  <a:gd name="connsiteY821" fmla="*/ 3128 h 10000"/>
                  <a:gd name="connsiteX822" fmla="*/ 8622 w 10354"/>
                  <a:gd name="connsiteY822" fmla="*/ 3120 h 10000"/>
                  <a:gd name="connsiteX823" fmla="*/ 8618 w 10354"/>
                  <a:gd name="connsiteY823" fmla="*/ 3094 h 10000"/>
                  <a:gd name="connsiteX824" fmla="*/ 8594 w 10354"/>
                  <a:gd name="connsiteY824" fmla="*/ 3077 h 10000"/>
                  <a:gd name="connsiteX825" fmla="*/ 8548 w 10354"/>
                  <a:gd name="connsiteY825" fmla="*/ 3077 h 10000"/>
                  <a:gd name="connsiteX826" fmla="*/ 8535 w 10354"/>
                  <a:gd name="connsiteY826" fmla="*/ 3068 h 10000"/>
                  <a:gd name="connsiteX827" fmla="*/ 8429 w 10354"/>
                  <a:gd name="connsiteY827" fmla="*/ 3077 h 10000"/>
                  <a:gd name="connsiteX828" fmla="*/ 8424 w 10354"/>
                  <a:gd name="connsiteY828" fmla="*/ 3077 h 10000"/>
                  <a:gd name="connsiteX829" fmla="*/ 8396 w 10354"/>
                  <a:gd name="connsiteY829" fmla="*/ 3077 h 10000"/>
                  <a:gd name="connsiteX830" fmla="*/ 8387 w 10354"/>
                  <a:gd name="connsiteY830" fmla="*/ 3094 h 10000"/>
                  <a:gd name="connsiteX831" fmla="*/ 8378 w 10354"/>
                  <a:gd name="connsiteY831" fmla="*/ 3094 h 10000"/>
                  <a:gd name="connsiteX832" fmla="*/ 8341 w 10354"/>
                  <a:gd name="connsiteY832" fmla="*/ 3077 h 10000"/>
                  <a:gd name="connsiteX833" fmla="*/ 8336 w 10354"/>
                  <a:gd name="connsiteY833" fmla="*/ 3077 h 10000"/>
                  <a:gd name="connsiteX834" fmla="*/ 8327 w 10354"/>
                  <a:gd name="connsiteY834" fmla="*/ 3103 h 10000"/>
                  <a:gd name="connsiteX835" fmla="*/ 8309 w 10354"/>
                  <a:gd name="connsiteY835" fmla="*/ 3120 h 10000"/>
                  <a:gd name="connsiteX836" fmla="*/ 8304 w 10354"/>
                  <a:gd name="connsiteY836" fmla="*/ 3103 h 10000"/>
                  <a:gd name="connsiteX837" fmla="*/ 8276 w 10354"/>
                  <a:gd name="connsiteY837" fmla="*/ 3103 h 10000"/>
                  <a:gd name="connsiteX838" fmla="*/ 8267 w 10354"/>
                  <a:gd name="connsiteY838" fmla="*/ 3120 h 10000"/>
                  <a:gd name="connsiteX839" fmla="*/ 8253 w 10354"/>
                  <a:gd name="connsiteY839" fmla="*/ 3103 h 10000"/>
                  <a:gd name="connsiteX840" fmla="*/ 8230 w 10354"/>
                  <a:gd name="connsiteY840" fmla="*/ 3128 h 10000"/>
                  <a:gd name="connsiteX841" fmla="*/ 8217 w 10354"/>
                  <a:gd name="connsiteY841" fmla="*/ 3128 h 10000"/>
                  <a:gd name="connsiteX842" fmla="*/ 8203 w 10354"/>
                  <a:gd name="connsiteY842" fmla="*/ 3154 h 10000"/>
                  <a:gd name="connsiteX843" fmla="*/ 8175 w 10354"/>
                  <a:gd name="connsiteY843" fmla="*/ 3094 h 10000"/>
                  <a:gd name="connsiteX844" fmla="*/ 8161 w 10354"/>
                  <a:gd name="connsiteY844" fmla="*/ 3094 h 10000"/>
                  <a:gd name="connsiteX845" fmla="*/ 8157 w 10354"/>
                  <a:gd name="connsiteY845" fmla="*/ 3077 h 10000"/>
                  <a:gd name="connsiteX846" fmla="*/ 8180 w 10354"/>
                  <a:gd name="connsiteY846" fmla="*/ 3068 h 10000"/>
                  <a:gd name="connsiteX847" fmla="*/ 8189 w 10354"/>
                  <a:gd name="connsiteY847" fmla="*/ 3043 h 10000"/>
                  <a:gd name="connsiteX848" fmla="*/ 8189 w 10354"/>
                  <a:gd name="connsiteY848" fmla="*/ 3017 h 10000"/>
                  <a:gd name="connsiteX849" fmla="*/ 8147 w 10354"/>
                  <a:gd name="connsiteY849" fmla="*/ 2940 h 10000"/>
                  <a:gd name="connsiteX850" fmla="*/ 8143 w 10354"/>
                  <a:gd name="connsiteY850" fmla="*/ 2915 h 10000"/>
                  <a:gd name="connsiteX851" fmla="*/ 8143 w 10354"/>
                  <a:gd name="connsiteY851" fmla="*/ 2906 h 10000"/>
                  <a:gd name="connsiteX852" fmla="*/ 8097 w 10354"/>
                  <a:gd name="connsiteY852" fmla="*/ 2932 h 10000"/>
                  <a:gd name="connsiteX853" fmla="*/ 8083 w 10354"/>
                  <a:gd name="connsiteY853" fmla="*/ 2932 h 10000"/>
                  <a:gd name="connsiteX854" fmla="*/ 8074 w 10354"/>
                  <a:gd name="connsiteY854" fmla="*/ 2906 h 10000"/>
                  <a:gd name="connsiteX855" fmla="*/ 8074 w 10354"/>
                  <a:gd name="connsiteY855" fmla="*/ 2897 h 10000"/>
                  <a:gd name="connsiteX856" fmla="*/ 8055 w 10354"/>
                  <a:gd name="connsiteY856" fmla="*/ 2872 h 10000"/>
                  <a:gd name="connsiteX857" fmla="*/ 8046 w 10354"/>
                  <a:gd name="connsiteY857" fmla="*/ 2829 h 10000"/>
                  <a:gd name="connsiteX858" fmla="*/ 8041 w 10354"/>
                  <a:gd name="connsiteY858" fmla="*/ 2829 h 10000"/>
                  <a:gd name="connsiteX859" fmla="*/ 8023 w 10354"/>
                  <a:gd name="connsiteY859" fmla="*/ 2803 h 10000"/>
                  <a:gd name="connsiteX860" fmla="*/ 8014 w 10354"/>
                  <a:gd name="connsiteY860" fmla="*/ 2829 h 10000"/>
                  <a:gd name="connsiteX861" fmla="*/ 8000 w 10354"/>
                  <a:gd name="connsiteY861" fmla="*/ 2829 h 10000"/>
                  <a:gd name="connsiteX862" fmla="*/ 7995 w 10354"/>
                  <a:gd name="connsiteY862" fmla="*/ 2821 h 10000"/>
                  <a:gd name="connsiteX863" fmla="*/ 7972 w 10354"/>
                  <a:gd name="connsiteY863" fmla="*/ 2803 h 10000"/>
                  <a:gd name="connsiteX864" fmla="*/ 7968 w 10354"/>
                  <a:gd name="connsiteY864" fmla="*/ 2821 h 10000"/>
                  <a:gd name="connsiteX865" fmla="*/ 7968 w 10354"/>
                  <a:gd name="connsiteY865" fmla="*/ 2803 h 10000"/>
                  <a:gd name="connsiteX866" fmla="*/ 7995 w 10354"/>
                  <a:gd name="connsiteY866" fmla="*/ 2735 h 10000"/>
                  <a:gd name="connsiteX867" fmla="*/ 8000 w 10354"/>
                  <a:gd name="connsiteY867" fmla="*/ 2735 h 10000"/>
                  <a:gd name="connsiteX868" fmla="*/ 8014 w 10354"/>
                  <a:gd name="connsiteY868" fmla="*/ 2744 h 10000"/>
                  <a:gd name="connsiteX869" fmla="*/ 8023 w 10354"/>
                  <a:gd name="connsiteY869" fmla="*/ 2769 h 10000"/>
                  <a:gd name="connsiteX870" fmla="*/ 8032 w 10354"/>
                  <a:gd name="connsiteY870" fmla="*/ 2744 h 10000"/>
                  <a:gd name="connsiteX871" fmla="*/ 8032 w 10354"/>
                  <a:gd name="connsiteY871" fmla="*/ 2709 h 10000"/>
                  <a:gd name="connsiteX872" fmla="*/ 8023 w 10354"/>
                  <a:gd name="connsiteY872" fmla="*/ 2632 h 10000"/>
                  <a:gd name="connsiteX873" fmla="*/ 7986 w 10354"/>
                  <a:gd name="connsiteY873" fmla="*/ 2581 h 10000"/>
                  <a:gd name="connsiteX874" fmla="*/ 7968 w 10354"/>
                  <a:gd name="connsiteY874" fmla="*/ 2581 h 10000"/>
                  <a:gd name="connsiteX875" fmla="*/ 7963 w 10354"/>
                  <a:gd name="connsiteY875" fmla="*/ 2556 h 10000"/>
                  <a:gd name="connsiteX876" fmla="*/ 7935 w 10354"/>
                  <a:gd name="connsiteY876" fmla="*/ 2547 h 10000"/>
                  <a:gd name="connsiteX877" fmla="*/ 7912 w 10354"/>
                  <a:gd name="connsiteY877" fmla="*/ 2547 h 10000"/>
                  <a:gd name="connsiteX878" fmla="*/ 7912 w 10354"/>
                  <a:gd name="connsiteY878" fmla="*/ 2556 h 10000"/>
                  <a:gd name="connsiteX879" fmla="*/ 7908 w 10354"/>
                  <a:gd name="connsiteY879" fmla="*/ 2547 h 10000"/>
                  <a:gd name="connsiteX880" fmla="*/ 7862 w 10354"/>
                  <a:gd name="connsiteY880" fmla="*/ 2547 h 10000"/>
                  <a:gd name="connsiteX881" fmla="*/ 7848 w 10354"/>
                  <a:gd name="connsiteY881" fmla="*/ 2556 h 10000"/>
                  <a:gd name="connsiteX882" fmla="*/ 7820 w 10354"/>
                  <a:gd name="connsiteY882" fmla="*/ 2547 h 10000"/>
                  <a:gd name="connsiteX883" fmla="*/ 7806 w 10354"/>
                  <a:gd name="connsiteY883" fmla="*/ 2513 h 10000"/>
                  <a:gd name="connsiteX884" fmla="*/ 7788 w 10354"/>
                  <a:gd name="connsiteY884" fmla="*/ 2513 h 10000"/>
                  <a:gd name="connsiteX885" fmla="*/ 7760 w 10354"/>
                  <a:gd name="connsiteY885" fmla="*/ 2470 h 10000"/>
                  <a:gd name="connsiteX886" fmla="*/ 7751 w 10354"/>
                  <a:gd name="connsiteY886" fmla="*/ 2470 h 10000"/>
                  <a:gd name="connsiteX887" fmla="*/ 7705 w 10354"/>
                  <a:gd name="connsiteY887" fmla="*/ 2462 h 10000"/>
                  <a:gd name="connsiteX888" fmla="*/ 7673 w 10354"/>
                  <a:gd name="connsiteY888" fmla="*/ 2419 h 10000"/>
                  <a:gd name="connsiteX889" fmla="*/ 7627 w 10354"/>
                  <a:gd name="connsiteY889" fmla="*/ 2419 h 10000"/>
                  <a:gd name="connsiteX890" fmla="*/ 7613 w 10354"/>
                  <a:gd name="connsiteY890" fmla="*/ 2410 h 10000"/>
                  <a:gd name="connsiteX891" fmla="*/ 7493 w 10354"/>
                  <a:gd name="connsiteY891" fmla="*/ 2393 h 10000"/>
                  <a:gd name="connsiteX892" fmla="*/ 7479 w 10354"/>
                  <a:gd name="connsiteY892" fmla="*/ 2385 h 10000"/>
                  <a:gd name="connsiteX893" fmla="*/ 7479 w 10354"/>
                  <a:gd name="connsiteY893" fmla="*/ 2376 h 10000"/>
                  <a:gd name="connsiteX894" fmla="*/ 7465 w 10354"/>
                  <a:gd name="connsiteY894" fmla="*/ 2359 h 10000"/>
                  <a:gd name="connsiteX895" fmla="*/ 7447 w 10354"/>
                  <a:gd name="connsiteY895" fmla="*/ 2350 h 10000"/>
                  <a:gd name="connsiteX896" fmla="*/ 7433 w 10354"/>
                  <a:gd name="connsiteY896" fmla="*/ 2376 h 10000"/>
                  <a:gd name="connsiteX897" fmla="*/ 7433 w 10354"/>
                  <a:gd name="connsiteY897" fmla="*/ 2385 h 10000"/>
                  <a:gd name="connsiteX898" fmla="*/ 7447 w 10354"/>
                  <a:gd name="connsiteY898" fmla="*/ 2410 h 10000"/>
                  <a:gd name="connsiteX899" fmla="*/ 7447 w 10354"/>
                  <a:gd name="connsiteY899" fmla="*/ 2436 h 10000"/>
                  <a:gd name="connsiteX900" fmla="*/ 7452 w 10354"/>
                  <a:gd name="connsiteY900" fmla="*/ 2462 h 10000"/>
                  <a:gd name="connsiteX901" fmla="*/ 7447 w 10354"/>
                  <a:gd name="connsiteY901" fmla="*/ 2470 h 10000"/>
                  <a:gd name="connsiteX902" fmla="*/ 7424 w 10354"/>
                  <a:gd name="connsiteY902" fmla="*/ 2513 h 10000"/>
                  <a:gd name="connsiteX903" fmla="*/ 7419 w 10354"/>
                  <a:gd name="connsiteY903" fmla="*/ 2556 h 10000"/>
                  <a:gd name="connsiteX904" fmla="*/ 7406 w 10354"/>
                  <a:gd name="connsiteY904" fmla="*/ 2624 h 10000"/>
                  <a:gd name="connsiteX905" fmla="*/ 7392 w 10354"/>
                  <a:gd name="connsiteY905" fmla="*/ 2624 h 10000"/>
                  <a:gd name="connsiteX906" fmla="*/ 7373 w 10354"/>
                  <a:gd name="connsiteY906" fmla="*/ 2650 h 10000"/>
                  <a:gd name="connsiteX907" fmla="*/ 7364 w 10354"/>
                  <a:gd name="connsiteY907" fmla="*/ 2684 h 10000"/>
                  <a:gd name="connsiteX908" fmla="*/ 7364 w 10354"/>
                  <a:gd name="connsiteY908" fmla="*/ 2692 h 10000"/>
                  <a:gd name="connsiteX909" fmla="*/ 7373 w 10354"/>
                  <a:gd name="connsiteY909" fmla="*/ 2718 h 10000"/>
                  <a:gd name="connsiteX910" fmla="*/ 7373 w 10354"/>
                  <a:gd name="connsiteY910" fmla="*/ 2744 h 10000"/>
                  <a:gd name="connsiteX911" fmla="*/ 7359 w 10354"/>
                  <a:gd name="connsiteY911" fmla="*/ 2744 h 10000"/>
                  <a:gd name="connsiteX912" fmla="*/ 7359 w 10354"/>
                  <a:gd name="connsiteY912" fmla="*/ 2795 h 10000"/>
                  <a:gd name="connsiteX913" fmla="*/ 7364 w 10354"/>
                  <a:gd name="connsiteY913" fmla="*/ 2821 h 10000"/>
                  <a:gd name="connsiteX914" fmla="*/ 7378 w 10354"/>
                  <a:gd name="connsiteY914" fmla="*/ 2846 h 10000"/>
                  <a:gd name="connsiteX915" fmla="*/ 7378 w 10354"/>
                  <a:gd name="connsiteY915" fmla="*/ 2855 h 10000"/>
                  <a:gd name="connsiteX916" fmla="*/ 7378 w 10354"/>
                  <a:gd name="connsiteY916" fmla="*/ 2880 h 10000"/>
                  <a:gd name="connsiteX917" fmla="*/ 7378 w 10354"/>
                  <a:gd name="connsiteY917" fmla="*/ 2906 h 10000"/>
                  <a:gd name="connsiteX918" fmla="*/ 7364 w 10354"/>
                  <a:gd name="connsiteY918" fmla="*/ 2906 h 10000"/>
                  <a:gd name="connsiteX919" fmla="*/ 7346 w 10354"/>
                  <a:gd name="connsiteY919" fmla="*/ 2880 h 10000"/>
                  <a:gd name="connsiteX920" fmla="*/ 7332 w 10354"/>
                  <a:gd name="connsiteY920" fmla="*/ 2915 h 10000"/>
                  <a:gd name="connsiteX921" fmla="*/ 7318 w 10354"/>
                  <a:gd name="connsiteY921" fmla="*/ 2906 h 10000"/>
                  <a:gd name="connsiteX922" fmla="*/ 7313 w 10354"/>
                  <a:gd name="connsiteY922" fmla="*/ 2915 h 10000"/>
                  <a:gd name="connsiteX923" fmla="*/ 7313 w 10354"/>
                  <a:gd name="connsiteY923" fmla="*/ 2906 h 10000"/>
                  <a:gd name="connsiteX924" fmla="*/ 7286 w 10354"/>
                  <a:gd name="connsiteY924" fmla="*/ 2940 h 10000"/>
                  <a:gd name="connsiteX925" fmla="*/ 7276 w 10354"/>
                  <a:gd name="connsiteY925" fmla="*/ 2966 h 10000"/>
                  <a:gd name="connsiteX926" fmla="*/ 7272 w 10354"/>
                  <a:gd name="connsiteY926" fmla="*/ 2983 h 10000"/>
                  <a:gd name="connsiteX927" fmla="*/ 7267 w 10354"/>
                  <a:gd name="connsiteY927" fmla="*/ 3009 h 10000"/>
                  <a:gd name="connsiteX928" fmla="*/ 7253 w 10354"/>
                  <a:gd name="connsiteY928" fmla="*/ 3009 h 10000"/>
                  <a:gd name="connsiteX929" fmla="*/ 7244 w 10354"/>
                  <a:gd name="connsiteY929" fmla="*/ 3017 h 10000"/>
                  <a:gd name="connsiteX930" fmla="*/ 7240 w 10354"/>
                  <a:gd name="connsiteY930" fmla="*/ 3009 h 10000"/>
                  <a:gd name="connsiteX931" fmla="*/ 7230 w 10354"/>
                  <a:gd name="connsiteY931" fmla="*/ 2991 h 10000"/>
                  <a:gd name="connsiteX932" fmla="*/ 7226 w 10354"/>
                  <a:gd name="connsiteY932" fmla="*/ 2983 h 10000"/>
                  <a:gd name="connsiteX933" fmla="*/ 7226 w 10354"/>
                  <a:gd name="connsiteY933" fmla="*/ 2966 h 10000"/>
                  <a:gd name="connsiteX934" fmla="*/ 7212 w 10354"/>
                  <a:gd name="connsiteY934" fmla="*/ 2957 h 10000"/>
                  <a:gd name="connsiteX935" fmla="*/ 7212 w 10354"/>
                  <a:gd name="connsiteY935" fmla="*/ 2932 h 10000"/>
                  <a:gd name="connsiteX936" fmla="*/ 7198 w 10354"/>
                  <a:gd name="connsiteY936" fmla="*/ 2915 h 10000"/>
                  <a:gd name="connsiteX937" fmla="*/ 7194 w 10354"/>
                  <a:gd name="connsiteY937" fmla="*/ 2915 h 10000"/>
                  <a:gd name="connsiteX938" fmla="*/ 7157 w 10354"/>
                  <a:gd name="connsiteY938" fmla="*/ 2880 h 10000"/>
                  <a:gd name="connsiteX939" fmla="*/ 7138 w 10354"/>
                  <a:gd name="connsiteY939" fmla="*/ 2880 h 10000"/>
                  <a:gd name="connsiteX940" fmla="*/ 7120 w 10354"/>
                  <a:gd name="connsiteY940" fmla="*/ 2872 h 10000"/>
                  <a:gd name="connsiteX941" fmla="*/ 7111 w 10354"/>
                  <a:gd name="connsiteY941" fmla="*/ 2846 h 10000"/>
                  <a:gd name="connsiteX942" fmla="*/ 7106 w 10354"/>
                  <a:gd name="connsiteY942" fmla="*/ 2846 h 10000"/>
                  <a:gd name="connsiteX943" fmla="*/ 7092 w 10354"/>
                  <a:gd name="connsiteY943" fmla="*/ 2829 h 10000"/>
                  <a:gd name="connsiteX944" fmla="*/ 7051 w 10354"/>
                  <a:gd name="connsiteY944" fmla="*/ 2829 h 10000"/>
                  <a:gd name="connsiteX945" fmla="*/ 7037 w 10354"/>
                  <a:gd name="connsiteY945" fmla="*/ 2880 h 10000"/>
                  <a:gd name="connsiteX946" fmla="*/ 7037 w 10354"/>
                  <a:gd name="connsiteY946" fmla="*/ 2906 h 10000"/>
                  <a:gd name="connsiteX947" fmla="*/ 7037 w 10354"/>
                  <a:gd name="connsiteY947" fmla="*/ 2932 h 10000"/>
                  <a:gd name="connsiteX948" fmla="*/ 7037 w 10354"/>
                  <a:gd name="connsiteY948" fmla="*/ 2940 h 10000"/>
                  <a:gd name="connsiteX949" fmla="*/ 7023 w 10354"/>
                  <a:gd name="connsiteY949" fmla="*/ 2906 h 10000"/>
                  <a:gd name="connsiteX950" fmla="*/ 7023 w 10354"/>
                  <a:gd name="connsiteY950" fmla="*/ 2915 h 10000"/>
                  <a:gd name="connsiteX951" fmla="*/ 6991 w 10354"/>
                  <a:gd name="connsiteY951" fmla="*/ 2906 h 10000"/>
                  <a:gd name="connsiteX952" fmla="*/ 6977 w 10354"/>
                  <a:gd name="connsiteY952" fmla="*/ 2915 h 10000"/>
                  <a:gd name="connsiteX953" fmla="*/ 6963 w 10354"/>
                  <a:gd name="connsiteY953" fmla="*/ 2915 h 10000"/>
                  <a:gd name="connsiteX954" fmla="*/ 6949 w 10354"/>
                  <a:gd name="connsiteY954" fmla="*/ 2872 h 10000"/>
                  <a:gd name="connsiteX955" fmla="*/ 6935 w 10354"/>
                  <a:gd name="connsiteY955" fmla="*/ 2855 h 10000"/>
                  <a:gd name="connsiteX956" fmla="*/ 6922 w 10354"/>
                  <a:gd name="connsiteY956" fmla="*/ 2803 h 10000"/>
                  <a:gd name="connsiteX957" fmla="*/ 6917 w 10354"/>
                  <a:gd name="connsiteY957" fmla="*/ 2786 h 10000"/>
                  <a:gd name="connsiteX958" fmla="*/ 6903 w 10354"/>
                  <a:gd name="connsiteY958" fmla="*/ 2709 h 10000"/>
                  <a:gd name="connsiteX959" fmla="*/ 6903 w 10354"/>
                  <a:gd name="connsiteY959" fmla="*/ 2692 h 10000"/>
                  <a:gd name="connsiteX960" fmla="*/ 6899 w 10354"/>
                  <a:gd name="connsiteY960" fmla="*/ 2709 h 10000"/>
                  <a:gd name="connsiteX961" fmla="*/ 6857 w 10354"/>
                  <a:gd name="connsiteY961" fmla="*/ 2872 h 10000"/>
                  <a:gd name="connsiteX962" fmla="*/ 6857 w 10354"/>
                  <a:gd name="connsiteY962" fmla="*/ 3009 h 10000"/>
                  <a:gd name="connsiteX963" fmla="*/ 6848 w 10354"/>
                  <a:gd name="connsiteY963" fmla="*/ 3017 h 10000"/>
                  <a:gd name="connsiteX964" fmla="*/ 6839 w 10354"/>
                  <a:gd name="connsiteY964" fmla="*/ 3068 h 10000"/>
                  <a:gd name="connsiteX965" fmla="*/ 6829 w 10354"/>
                  <a:gd name="connsiteY965" fmla="*/ 3077 h 10000"/>
                  <a:gd name="connsiteX966" fmla="*/ 6829 w 10354"/>
                  <a:gd name="connsiteY966" fmla="*/ 3128 h 10000"/>
                  <a:gd name="connsiteX967" fmla="*/ 6816 w 10354"/>
                  <a:gd name="connsiteY967" fmla="*/ 3154 h 10000"/>
                  <a:gd name="connsiteX968" fmla="*/ 6811 w 10354"/>
                  <a:gd name="connsiteY968" fmla="*/ 3179 h 10000"/>
                  <a:gd name="connsiteX969" fmla="*/ 6797 w 10354"/>
                  <a:gd name="connsiteY969" fmla="*/ 3171 h 10000"/>
                  <a:gd name="connsiteX970" fmla="*/ 6783 w 10354"/>
                  <a:gd name="connsiteY970" fmla="*/ 3103 h 10000"/>
                  <a:gd name="connsiteX971" fmla="*/ 6779 w 10354"/>
                  <a:gd name="connsiteY971" fmla="*/ 3094 h 10000"/>
                  <a:gd name="connsiteX972" fmla="*/ 6779 w 10354"/>
                  <a:gd name="connsiteY972" fmla="*/ 3120 h 10000"/>
                  <a:gd name="connsiteX973" fmla="*/ 6770 w 10354"/>
                  <a:gd name="connsiteY973" fmla="*/ 3128 h 10000"/>
                  <a:gd name="connsiteX974" fmla="*/ 6765 w 10354"/>
                  <a:gd name="connsiteY974" fmla="*/ 3103 h 10000"/>
                  <a:gd name="connsiteX975" fmla="*/ 6756 w 10354"/>
                  <a:gd name="connsiteY975" fmla="*/ 3103 h 10000"/>
                  <a:gd name="connsiteX976" fmla="*/ 6742 w 10354"/>
                  <a:gd name="connsiteY976" fmla="*/ 3103 h 10000"/>
                  <a:gd name="connsiteX977" fmla="*/ 6737 w 10354"/>
                  <a:gd name="connsiteY977" fmla="*/ 3077 h 10000"/>
                  <a:gd name="connsiteX978" fmla="*/ 6737 w 10354"/>
                  <a:gd name="connsiteY978" fmla="*/ 3068 h 10000"/>
                  <a:gd name="connsiteX979" fmla="*/ 6728 w 10354"/>
                  <a:gd name="connsiteY979" fmla="*/ 3043 h 10000"/>
                  <a:gd name="connsiteX980" fmla="*/ 6724 w 10354"/>
                  <a:gd name="connsiteY980" fmla="*/ 3051 h 10000"/>
                  <a:gd name="connsiteX981" fmla="*/ 6714 w 10354"/>
                  <a:gd name="connsiteY981" fmla="*/ 3043 h 10000"/>
                  <a:gd name="connsiteX982" fmla="*/ 6710 w 10354"/>
                  <a:gd name="connsiteY982" fmla="*/ 3034 h 10000"/>
                  <a:gd name="connsiteX983" fmla="*/ 6705 w 10354"/>
                  <a:gd name="connsiteY983" fmla="*/ 2983 h 10000"/>
                  <a:gd name="connsiteX984" fmla="*/ 6696 w 10354"/>
                  <a:gd name="connsiteY984" fmla="*/ 2966 h 10000"/>
                  <a:gd name="connsiteX985" fmla="*/ 6691 w 10354"/>
                  <a:gd name="connsiteY985" fmla="*/ 2983 h 10000"/>
                  <a:gd name="connsiteX986" fmla="*/ 6677 w 10354"/>
                  <a:gd name="connsiteY986" fmla="*/ 2897 h 10000"/>
                  <a:gd name="connsiteX987" fmla="*/ 6677 w 10354"/>
                  <a:gd name="connsiteY987" fmla="*/ 2897 h 10000"/>
                  <a:gd name="connsiteX988" fmla="*/ 6677 w 10354"/>
                  <a:gd name="connsiteY988" fmla="*/ 2872 h 10000"/>
                  <a:gd name="connsiteX989" fmla="*/ 6668 w 10354"/>
                  <a:gd name="connsiteY989" fmla="*/ 2821 h 10000"/>
                  <a:gd name="connsiteX990" fmla="*/ 6664 w 10354"/>
                  <a:gd name="connsiteY990" fmla="*/ 2829 h 10000"/>
                  <a:gd name="connsiteX991" fmla="*/ 6654 w 10354"/>
                  <a:gd name="connsiteY991" fmla="*/ 2846 h 10000"/>
                  <a:gd name="connsiteX992" fmla="*/ 6650 w 10354"/>
                  <a:gd name="connsiteY992" fmla="*/ 2829 h 10000"/>
                  <a:gd name="connsiteX993" fmla="*/ 6650 w 10354"/>
                  <a:gd name="connsiteY993" fmla="*/ 2803 h 10000"/>
                  <a:gd name="connsiteX994" fmla="*/ 6650 w 10354"/>
                  <a:gd name="connsiteY994" fmla="*/ 2795 h 10000"/>
                  <a:gd name="connsiteX995" fmla="*/ 6641 w 10354"/>
                  <a:gd name="connsiteY995" fmla="*/ 2786 h 10000"/>
                  <a:gd name="connsiteX996" fmla="*/ 6636 w 10354"/>
                  <a:gd name="connsiteY996" fmla="*/ 2735 h 10000"/>
                  <a:gd name="connsiteX997" fmla="*/ 6664 w 10354"/>
                  <a:gd name="connsiteY997" fmla="*/ 2667 h 10000"/>
                  <a:gd name="connsiteX998" fmla="*/ 6668 w 10354"/>
                  <a:gd name="connsiteY998" fmla="*/ 2684 h 10000"/>
                  <a:gd name="connsiteX999" fmla="*/ 6677 w 10354"/>
                  <a:gd name="connsiteY999" fmla="*/ 2667 h 10000"/>
                  <a:gd name="connsiteX1000" fmla="*/ 6668 w 10354"/>
                  <a:gd name="connsiteY1000" fmla="*/ 2667 h 10000"/>
                  <a:gd name="connsiteX1001" fmla="*/ 6668 w 10354"/>
                  <a:gd name="connsiteY1001" fmla="*/ 2650 h 10000"/>
                  <a:gd name="connsiteX1002" fmla="*/ 6682 w 10354"/>
                  <a:gd name="connsiteY1002" fmla="*/ 2650 h 10000"/>
                  <a:gd name="connsiteX1003" fmla="*/ 6691 w 10354"/>
                  <a:gd name="connsiteY1003" fmla="*/ 2624 h 10000"/>
                  <a:gd name="connsiteX1004" fmla="*/ 6682 w 10354"/>
                  <a:gd name="connsiteY1004" fmla="*/ 2632 h 10000"/>
                  <a:gd name="connsiteX1005" fmla="*/ 6682 w 10354"/>
                  <a:gd name="connsiteY1005" fmla="*/ 2624 h 10000"/>
                  <a:gd name="connsiteX1006" fmla="*/ 6691 w 10354"/>
                  <a:gd name="connsiteY1006" fmla="*/ 2607 h 10000"/>
                  <a:gd name="connsiteX1007" fmla="*/ 6691 w 10354"/>
                  <a:gd name="connsiteY1007" fmla="*/ 2598 h 10000"/>
                  <a:gd name="connsiteX1008" fmla="*/ 6691 w 10354"/>
                  <a:gd name="connsiteY1008" fmla="*/ 2581 h 10000"/>
                  <a:gd name="connsiteX1009" fmla="*/ 6696 w 10354"/>
                  <a:gd name="connsiteY1009" fmla="*/ 2530 h 10000"/>
                  <a:gd name="connsiteX1010" fmla="*/ 6677 w 10354"/>
                  <a:gd name="connsiteY1010" fmla="*/ 2513 h 10000"/>
                  <a:gd name="connsiteX1011" fmla="*/ 6677 w 10354"/>
                  <a:gd name="connsiteY1011" fmla="*/ 2496 h 10000"/>
                  <a:gd name="connsiteX1012" fmla="*/ 6682 w 10354"/>
                  <a:gd name="connsiteY1012" fmla="*/ 2470 h 10000"/>
                  <a:gd name="connsiteX1013" fmla="*/ 6668 w 10354"/>
                  <a:gd name="connsiteY1013" fmla="*/ 2462 h 10000"/>
                  <a:gd name="connsiteX1014" fmla="*/ 6677 w 10354"/>
                  <a:gd name="connsiteY1014" fmla="*/ 2436 h 10000"/>
                  <a:gd name="connsiteX1015" fmla="*/ 6682 w 10354"/>
                  <a:gd name="connsiteY1015" fmla="*/ 2419 h 10000"/>
                  <a:gd name="connsiteX1016" fmla="*/ 6682 w 10354"/>
                  <a:gd name="connsiteY1016" fmla="*/ 2393 h 10000"/>
                  <a:gd name="connsiteX1017" fmla="*/ 6682 w 10354"/>
                  <a:gd name="connsiteY1017" fmla="*/ 2385 h 10000"/>
                  <a:gd name="connsiteX1018" fmla="*/ 6682 w 10354"/>
                  <a:gd name="connsiteY1018" fmla="*/ 2385 h 10000"/>
                  <a:gd name="connsiteX1019" fmla="*/ 6677 w 10354"/>
                  <a:gd name="connsiteY1019" fmla="*/ 2376 h 10000"/>
                  <a:gd name="connsiteX1020" fmla="*/ 6682 w 10354"/>
                  <a:gd name="connsiteY1020" fmla="*/ 2359 h 10000"/>
                  <a:gd name="connsiteX1021" fmla="*/ 6677 w 10354"/>
                  <a:gd name="connsiteY1021" fmla="*/ 2333 h 10000"/>
                  <a:gd name="connsiteX1022" fmla="*/ 6691 w 10354"/>
                  <a:gd name="connsiteY1022" fmla="*/ 2333 h 10000"/>
                  <a:gd name="connsiteX1023" fmla="*/ 6691 w 10354"/>
                  <a:gd name="connsiteY1023" fmla="*/ 2325 h 10000"/>
                  <a:gd name="connsiteX1024" fmla="*/ 6691 w 10354"/>
                  <a:gd name="connsiteY1024" fmla="*/ 2308 h 10000"/>
                  <a:gd name="connsiteX1025" fmla="*/ 6691 w 10354"/>
                  <a:gd name="connsiteY1025" fmla="*/ 2299 h 10000"/>
                  <a:gd name="connsiteX1026" fmla="*/ 6691 w 10354"/>
                  <a:gd name="connsiteY1026" fmla="*/ 2282 h 10000"/>
                  <a:gd name="connsiteX1027" fmla="*/ 6691 w 10354"/>
                  <a:gd name="connsiteY1027" fmla="*/ 2274 h 10000"/>
                  <a:gd name="connsiteX1028" fmla="*/ 6668 w 10354"/>
                  <a:gd name="connsiteY1028" fmla="*/ 2248 h 10000"/>
                  <a:gd name="connsiteX1029" fmla="*/ 6664 w 10354"/>
                  <a:gd name="connsiteY1029" fmla="*/ 2222 h 10000"/>
                  <a:gd name="connsiteX1030" fmla="*/ 6654 w 10354"/>
                  <a:gd name="connsiteY1030" fmla="*/ 2214 h 10000"/>
                  <a:gd name="connsiteX1031" fmla="*/ 6654 w 10354"/>
                  <a:gd name="connsiteY1031" fmla="*/ 2188 h 10000"/>
                  <a:gd name="connsiteX1032" fmla="*/ 6622 w 10354"/>
                  <a:gd name="connsiteY1032" fmla="*/ 2162 h 10000"/>
                  <a:gd name="connsiteX1033" fmla="*/ 6631 w 10354"/>
                  <a:gd name="connsiteY1033" fmla="*/ 2145 h 10000"/>
                  <a:gd name="connsiteX1034" fmla="*/ 6622 w 10354"/>
                  <a:gd name="connsiteY1034" fmla="*/ 2120 h 10000"/>
                  <a:gd name="connsiteX1035" fmla="*/ 6608 w 10354"/>
                  <a:gd name="connsiteY1035" fmla="*/ 2120 h 10000"/>
                  <a:gd name="connsiteX1036" fmla="*/ 6604 w 10354"/>
                  <a:gd name="connsiteY1036" fmla="*/ 2111 h 10000"/>
                  <a:gd name="connsiteX1037" fmla="*/ 6608 w 10354"/>
                  <a:gd name="connsiteY1037" fmla="*/ 2111 h 10000"/>
                  <a:gd name="connsiteX1038" fmla="*/ 6604 w 10354"/>
                  <a:gd name="connsiteY1038" fmla="*/ 2085 h 10000"/>
                  <a:gd name="connsiteX1039" fmla="*/ 6581 w 10354"/>
                  <a:gd name="connsiteY1039" fmla="*/ 2077 h 10000"/>
                  <a:gd name="connsiteX1040" fmla="*/ 6571 w 10354"/>
                  <a:gd name="connsiteY1040" fmla="*/ 2085 h 10000"/>
                  <a:gd name="connsiteX1041" fmla="*/ 6548 w 10354"/>
                  <a:gd name="connsiteY1041" fmla="*/ 2077 h 10000"/>
                  <a:gd name="connsiteX1042" fmla="*/ 6530 w 10354"/>
                  <a:gd name="connsiteY1042" fmla="*/ 2060 h 10000"/>
                  <a:gd name="connsiteX1043" fmla="*/ 6521 w 10354"/>
                  <a:gd name="connsiteY1043" fmla="*/ 2060 h 10000"/>
                  <a:gd name="connsiteX1044" fmla="*/ 6521 w 10354"/>
                  <a:gd name="connsiteY1044" fmla="*/ 2085 h 10000"/>
                  <a:gd name="connsiteX1045" fmla="*/ 6516 w 10354"/>
                  <a:gd name="connsiteY1045" fmla="*/ 2085 h 10000"/>
                  <a:gd name="connsiteX1046" fmla="*/ 6502 w 10354"/>
                  <a:gd name="connsiteY1046" fmla="*/ 2111 h 10000"/>
                  <a:gd name="connsiteX1047" fmla="*/ 6498 w 10354"/>
                  <a:gd name="connsiteY1047" fmla="*/ 2111 h 10000"/>
                  <a:gd name="connsiteX1048" fmla="*/ 6498 w 10354"/>
                  <a:gd name="connsiteY1048" fmla="*/ 2103 h 10000"/>
                  <a:gd name="connsiteX1049" fmla="*/ 6475 w 10354"/>
                  <a:gd name="connsiteY1049" fmla="*/ 2051 h 10000"/>
                  <a:gd name="connsiteX1050" fmla="*/ 6470 w 10354"/>
                  <a:gd name="connsiteY1050" fmla="*/ 2060 h 10000"/>
                  <a:gd name="connsiteX1051" fmla="*/ 6456 w 10354"/>
                  <a:gd name="connsiteY1051" fmla="*/ 2051 h 10000"/>
                  <a:gd name="connsiteX1052" fmla="*/ 6447 w 10354"/>
                  <a:gd name="connsiteY1052" fmla="*/ 2051 h 10000"/>
                  <a:gd name="connsiteX1053" fmla="*/ 6433 w 10354"/>
                  <a:gd name="connsiteY1053" fmla="*/ 2026 h 10000"/>
                  <a:gd name="connsiteX1054" fmla="*/ 6433 w 10354"/>
                  <a:gd name="connsiteY1054" fmla="*/ 2034 h 10000"/>
                  <a:gd name="connsiteX1055" fmla="*/ 6429 w 10354"/>
                  <a:gd name="connsiteY1055" fmla="*/ 2026 h 10000"/>
                  <a:gd name="connsiteX1056" fmla="*/ 6424 w 10354"/>
                  <a:gd name="connsiteY1056" fmla="*/ 2034 h 10000"/>
                  <a:gd name="connsiteX1057" fmla="*/ 6410 w 10354"/>
                  <a:gd name="connsiteY1057" fmla="*/ 2026 h 10000"/>
                  <a:gd name="connsiteX1058" fmla="*/ 6410 w 10354"/>
                  <a:gd name="connsiteY1058" fmla="*/ 1991 h 10000"/>
                  <a:gd name="connsiteX1059" fmla="*/ 6401 w 10354"/>
                  <a:gd name="connsiteY1059" fmla="*/ 1991 h 10000"/>
                  <a:gd name="connsiteX1060" fmla="*/ 6396 w 10354"/>
                  <a:gd name="connsiteY1060" fmla="*/ 2000 h 10000"/>
                  <a:gd name="connsiteX1061" fmla="*/ 6382 w 10354"/>
                  <a:gd name="connsiteY1061" fmla="*/ 1966 h 10000"/>
                  <a:gd name="connsiteX1062" fmla="*/ 6373 w 10354"/>
                  <a:gd name="connsiteY1062" fmla="*/ 1974 h 10000"/>
                  <a:gd name="connsiteX1063" fmla="*/ 6369 w 10354"/>
                  <a:gd name="connsiteY1063" fmla="*/ 1966 h 10000"/>
                  <a:gd name="connsiteX1064" fmla="*/ 6341 w 10354"/>
                  <a:gd name="connsiteY1064" fmla="*/ 1949 h 10000"/>
                  <a:gd name="connsiteX1065" fmla="*/ 6327 w 10354"/>
                  <a:gd name="connsiteY1065" fmla="*/ 1923 h 10000"/>
                  <a:gd name="connsiteX1066" fmla="*/ 6323 w 10354"/>
                  <a:gd name="connsiteY1066" fmla="*/ 1923 h 10000"/>
                  <a:gd name="connsiteX1067" fmla="*/ 6323 w 10354"/>
                  <a:gd name="connsiteY1067" fmla="*/ 1966 h 10000"/>
                  <a:gd name="connsiteX1068" fmla="*/ 6323 w 10354"/>
                  <a:gd name="connsiteY1068" fmla="*/ 1991 h 10000"/>
                  <a:gd name="connsiteX1069" fmla="*/ 6313 w 10354"/>
                  <a:gd name="connsiteY1069" fmla="*/ 1991 h 10000"/>
                  <a:gd name="connsiteX1070" fmla="*/ 6300 w 10354"/>
                  <a:gd name="connsiteY1070" fmla="*/ 1991 h 10000"/>
                  <a:gd name="connsiteX1071" fmla="*/ 6290 w 10354"/>
                  <a:gd name="connsiteY1071" fmla="*/ 1949 h 10000"/>
                  <a:gd name="connsiteX1072" fmla="*/ 6276 w 10354"/>
                  <a:gd name="connsiteY1072" fmla="*/ 2103 h 10000"/>
                  <a:gd name="connsiteX1073" fmla="*/ 6281 w 10354"/>
                  <a:gd name="connsiteY1073" fmla="*/ 2103 h 10000"/>
                  <a:gd name="connsiteX1074" fmla="*/ 6276 w 10354"/>
                  <a:gd name="connsiteY1074" fmla="*/ 2111 h 10000"/>
                  <a:gd name="connsiteX1075" fmla="*/ 6276 w 10354"/>
                  <a:gd name="connsiteY1075" fmla="*/ 2120 h 10000"/>
                  <a:gd name="connsiteX1076" fmla="*/ 6295 w 10354"/>
                  <a:gd name="connsiteY1076" fmla="*/ 2239 h 10000"/>
                  <a:gd name="connsiteX1077" fmla="*/ 6290 w 10354"/>
                  <a:gd name="connsiteY1077" fmla="*/ 2248 h 10000"/>
                  <a:gd name="connsiteX1078" fmla="*/ 6281 w 10354"/>
                  <a:gd name="connsiteY1078" fmla="*/ 2274 h 10000"/>
                  <a:gd name="connsiteX1079" fmla="*/ 6249 w 10354"/>
                  <a:gd name="connsiteY1079" fmla="*/ 2274 h 10000"/>
                  <a:gd name="connsiteX1080" fmla="*/ 6226 w 10354"/>
                  <a:gd name="connsiteY1080" fmla="*/ 2308 h 10000"/>
                  <a:gd name="connsiteX1081" fmla="*/ 6221 w 10354"/>
                  <a:gd name="connsiteY1081" fmla="*/ 2299 h 10000"/>
                  <a:gd name="connsiteX1082" fmla="*/ 6221 w 10354"/>
                  <a:gd name="connsiteY1082" fmla="*/ 2308 h 10000"/>
                  <a:gd name="connsiteX1083" fmla="*/ 6217 w 10354"/>
                  <a:gd name="connsiteY1083" fmla="*/ 2299 h 10000"/>
                  <a:gd name="connsiteX1084" fmla="*/ 6194 w 10354"/>
                  <a:gd name="connsiteY1084" fmla="*/ 2308 h 10000"/>
                  <a:gd name="connsiteX1085" fmla="*/ 6180 w 10354"/>
                  <a:gd name="connsiteY1085" fmla="*/ 2299 h 10000"/>
                  <a:gd name="connsiteX1086" fmla="*/ 6143 w 10354"/>
                  <a:gd name="connsiteY1086" fmla="*/ 2308 h 10000"/>
                  <a:gd name="connsiteX1087" fmla="*/ 6134 w 10354"/>
                  <a:gd name="connsiteY1087" fmla="*/ 2325 h 10000"/>
                  <a:gd name="connsiteX1088" fmla="*/ 6115 w 10354"/>
                  <a:gd name="connsiteY1088" fmla="*/ 2282 h 10000"/>
                  <a:gd name="connsiteX1089" fmla="*/ 6069 w 10354"/>
                  <a:gd name="connsiteY1089" fmla="*/ 2274 h 10000"/>
                  <a:gd name="connsiteX1090" fmla="*/ 6069 w 10354"/>
                  <a:gd name="connsiteY1090" fmla="*/ 2282 h 10000"/>
                  <a:gd name="connsiteX1091" fmla="*/ 6060 w 10354"/>
                  <a:gd name="connsiteY1091" fmla="*/ 2299 h 10000"/>
                  <a:gd name="connsiteX1092" fmla="*/ 5972 w 10354"/>
                  <a:gd name="connsiteY1092" fmla="*/ 2214 h 10000"/>
                  <a:gd name="connsiteX1093" fmla="*/ 5968 w 10354"/>
                  <a:gd name="connsiteY1093" fmla="*/ 2197 h 10000"/>
                  <a:gd name="connsiteX1094" fmla="*/ 5968 w 10354"/>
                  <a:gd name="connsiteY1094" fmla="*/ 2171 h 10000"/>
                  <a:gd name="connsiteX1095" fmla="*/ 5968 w 10354"/>
                  <a:gd name="connsiteY1095" fmla="*/ 2162 h 10000"/>
                  <a:gd name="connsiteX1096" fmla="*/ 5968 w 10354"/>
                  <a:gd name="connsiteY1096" fmla="*/ 2120 h 10000"/>
                  <a:gd name="connsiteX1097" fmla="*/ 5968 w 10354"/>
                  <a:gd name="connsiteY1097" fmla="*/ 2111 h 10000"/>
                  <a:gd name="connsiteX1098" fmla="*/ 5972 w 10354"/>
                  <a:gd name="connsiteY1098" fmla="*/ 2103 h 10000"/>
                  <a:gd name="connsiteX1099" fmla="*/ 5986 w 10354"/>
                  <a:gd name="connsiteY1099" fmla="*/ 2103 h 10000"/>
                  <a:gd name="connsiteX1100" fmla="*/ 5986 w 10354"/>
                  <a:gd name="connsiteY1100" fmla="*/ 2085 h 10000"/>
                  <a:gd name="connsiteX1101" fmla="*/ 5995 w 10354"/>
                  <a:gd name="connsiteY1101" fmla="*/ 2085 h 10000"/>
                  <a:gd name="connsiteX1102" fmla="*/ 5995 w 10354"/>
                  <a:gd name="connsiteY1102" fmla="*/ 2077 h 10000"/>
                  <a:gd name="connsiteX1103" fmla="*/ 5986 w 10354"/>
                  <a:gd name="connsiteY1103" fmla="*/ 2060 h 10000"/>
                  <a:gd name="connsiteX1104" fmla="*/ 5954 w 10354"/>
                  <a:gd name="connsiteY1104" fmla="*/ 2060 h 10000"/>
                  <a:gd name="connsiteX1105" fmla="*/ 5940 w 10354"/>
                  <a:gd name="connsiteY1105" fmla="*/ 2051 h 10000"/>
                  <a:gd name="connsiteX1106" fmla="*/ 5922 w 10354"/>
                  <a:gd name="connsiteY1106" fmla="*/ 2060 h 10000"/>
                  <a:gd name="connsiteX1107" fmla="*/ 5885 w 10354"/>
                  <a:gd name="connsiteY1107" fmla="*/ 2051 h 10000"/>
                  <a:gd name="connsiteX1108" fmla="*/ 5876 w 10354"/>
                  <a:gd name="connsiteY1108" fmla="*/ 2026 h 10000"/>
                  <a:gd name="connsiteX1109" fmla="*/ 5862 w 10354"/>
                  <a:gd name="connsiteY1109" fmla="*/ 2026 h 10000"/>
                  <a:gd name="connsiteX1110" fmla="*/ 5848 w 10354"/>
                  <a:gd name="connsiteY1110" fmla="*/ 2026 h 10000"/>
                  <a:gd name="connsiteX1111" fmla="*/ 5825 w 10354"/>
                  <a:gd name="connsiteY1111" fmla="*/ 2026 h 10000"/>
                  <a:gd name="connsiteX1112" fmla="*/ 5788 w 10354"/>
                  <a:gd name="connsiteY1112" fmla="*/ 1991 h 10000"/>
                  <a:gd name="connsiteX1113" fmla="*/ 5760 w 10354"/>
                  <a:gd name="connsiteY1113" fmla="*/ 2000 h 10000"/>
                  <a:gd name="connsiteX1114" fmla="*/ 5760 w 10354"/>
                  <a:gd name="connsiteY1114" fmla="*/ 2026 h 10000"/>
                  <a:gd name="connsiteX1115" fmla="*/ 5714 w 10354"/>
                  <a:gd name="connsiteY1115" fmla="*/ 2051 h 10000"/>
                  <a:gd name="connsiteX1116" fmla="*/ 5687 w 10354"/>
                  <a:gd name="connsiteY1116" fmla="*/ 2034 h 10000"/>
                  <a:gd name="connsiteX1117" fmla="*/ 5645 w 10354"/>
                  <a:gd name="connsiteY1117" fmla="*/ 2077 h 10000"/>
                  <a:gd name="connsiteX1118" fmla="*/ 5664 w 10354"/>
                  <a:gd name="connsiteY1118" fmla="*/ 2120 h 10000"/>
                  <a:gd name="connsiteX1119" fmla="*/ 5664 w 10354"/>
                  <a:gd name="connsiteY1119" fmla="*/ 2162 h 10000"/>
                  <a:gd name="connsiteX1120" fmla="*/ 5631 w 10354"/>
                  <a:gd name="connsiteY1120" fmla="*/ 2197 h 10000"/>
                  <a:gd name="connsiteX1121" fmla="*/ 5618 w 10354"/>
                  <a:gd name="connsiteY1121" fmla="*/ 2188 h 10000"/>
                  <a:gd name="connsiteX1122" fmla="*/ 5618 w 10354"/>
                  <a:gd name="connsiteY1122" fmla="*/ 2171 h 10000"/>
                  <a:gd name="connsiteX1123" fmla="*/ 5641 w 10354"/>
                  <a:gd name="connsiteY1123" fmla="*/ 2171 h 10000"/>
                  <a:gd name="connsiteX1124" fmla="*/ 5641 w 10354"/>
                  <a:gd name="connsiteY1124" fmla="*/ 2162 h 10000"/>
                  <a:gd name="connsiteX1125" fmla="*/ 5627 w 10354"/>
                  <a:gd name="connsiteY1125" fmla="*/ 2145 h 10000"/>
                  <a:gd name="connsiteX1126" fmla="*/ 5627 w 10354"/>
                  <a:gd name="connsiteY1126" fmla="*/ 2120 h 10000"/>
                  <a:gd name="connsiteX1127" fmla="*/ 5618 w 10354"/>
                  <a:gd name="connsiteY1127" fmla="*/ 2111 h 10000"/>
                  <a:gd name="connsiteX1128" fmla="*/ 5631 w 10354"/>
                  <a:gd name="connsiteY1128" fmla="*/ 2051 h 10000"/>
                  <a:gd name="connsiteX1129" fmla="*/ 5631 w 10354"/>
                  <a:gd name="connsiteY1129" fmla="*/ 2026 h 10000"/>
                  <a:gd name="connsiteX1130" fmla="*/ 5627 w 10354"/>
                  <a:gd name="connsiteY1130" fmla="*/ 1991 h 10000"/>
                  <a:gd name="connsiteX1131" fmla="*/ 5618 w 10354"/>
                  <a:gd name="connsiteY1131" fmla="*/ 1974 h 10000"/>
                  <a:gd name="connsiteX1132" fmla="*/ 5618 w 10354"/>
                  <a:gd name="connsiteY1132" fmla="*/ 1940 h 10000"/>
                  <a:gd name="connsiteX1133" fmla="*/ 5594 w 10354"/>
                  <a:gd name="connsiteY1133" fmla="*/ 1855 h 10000"/>
                  <a:gd name="connsiteX1134" fmla="*/ 5599 w 10354"/>
                  <a:gd name="connsiteY1134" fmla="*/ 1915 h 10000"/>
                  <a:gd name="connsiteX1135" fmla="*/ 5599 w 10354"/>
                  <a:gd name="connsiteY1135" fmla="*/ 1949 h 10000"/>
                  <a:gd name="connsiteX1136" fmla="*/ 5594 w 10354"/>
                  <a:gd name="connsiteY1136" fmla="*/ 1991 h 10000"/>
                  <a:gd name="connsiteX1137" fmla="*/ 5571 w 10354"/>
                  <a:gd name="connsiteY1137" fmla="*/ 2000 h 10000"/>
                  <a:gd name="connsiteX1138" fmla="*/ 5530 w 10354"/>
                  <a:gd name="connsiteY1138" fmla="*/ 1991 h 10000"/>
                  <a:gd name="connsiteX1139" fmla="*/ 5525 w 10354"/>
                  <a:gd name="connsiteY1139" fmla="*/ 2000 h 10000"/>
                  <a:gd name="connsiteX1140" fmla="*/ 5521 w 10354"/>
                  <a:gd name="connsiteY1140" fmla="*/ 1991 h 10000"/>
                  <a:gd name="connsiteX1141" fmla="*/ 5498 w 10354"/>
                  <a:gd name="connsiteY1141" fmla="*/ 1949 h 10000"/>
                  <a:gd name="connsiteX1142" fmla="*/ 5493 w 10354"/>
                  <a:gd name="connsiteY1142" fmla="*/ 1889 h 10000"/>
                  <a:gd name="connsiteX1143" fmla="*/ 5493 w 10354"/>
                  <a:gd name="connsiteY1143" fmla="*/ 1863 h 10000"/>
                  <a:gd name="connsiteX1144" fmla="*/ 5498 w 10354"/>
                  <a:gd name="connsiteY1144" fmla="*/ 1889 h 10000"/>
                  <a:gd name="connsiteX1145" fmla="*/ 5512 w 10354"/>
                  <a:gd name="connsiteY1145" fmla="*/ 1855 h 10000"/>
                  <a:gd name="connsiteX1146" fmla="*/ 5512 w 10354"/>
                  <a:gd name="connsiteY1146" fmla="*/ 1838 h 10000"/>
                  <a:gd name="connsiteX1147" fmla="*/ 5479 w 10354"/>
                  <a:gd name="connsiteY1147" fmla="*/ 1855 h 10000"/>
                  <a:gd name="connsiteX1148" fmla="*/ 5470 w 10354"/>
                  <a:gd name="connsiteY1148" fmla="*/ 1872 h 10000"/>
                  <a:gd name="connsiteX1149" fmla="*/ 5470 w 10354"/>
                  <a:gd name="connsiteY1149" fmla="*/ 1889 h 10000"/>
                  <a:gd name="connsiteX1150" fmla="*/ 5465 w 10354"/>
                  <a:gd name="connsiteY1150" fmla="*/ 1897 h 10000"/>
                  <a:gd name="connsiteX1151" fmla="*/ 5456 w 10354"/>
                  <a:gd name="connsiteY1151" fmla="*/ 1872 h 10000"/>
                  <a:gd name="connsiteX1152" fmla="*/ 5447 w 10354"/>
                  <a:gd name="connsiteY1152" fmla="*/ 1872 h 10000"/>
                  <a:gd name="connsiteX1153" fmla="*/ 5433 w 10354"/>
                  <a:gd name="connsiteY1153" fmla="*/ 1855 h 10000"/>
                  <a:gd name="connsiteX1154" fmla="*/ 5396 w 10354"/>
                  <a:gd name="connsiteY1154" fmla="*/ 1863 h 10000"/>
                  <a:gd name="connsiteX1155" fmla="*/ 5396 w 10354"/>
                  <a:gd name="connsiteY1155" fmla="*/ 1897 h 10000"/>
                  <a:gd name="connsiteX1156" fmla="*/ 5378 w 10354"/>
                  <a:gd name="connsiteY1156" fmla="*/ 1949 h 10000"/>
                  <a:gd name="connsiteX1157" fmla="*/ 5378 w 10354"/>
                  <a:gd name="connsiteY1157" fmla="*/ 1966 h 10000"/>
                  <a:gd name="connsiteX1158" fmla="*/ 5392 w 10354"/>
                  <a:gd name="connsiteY1158" fmla="*/ 2026 h 10000"/>
                  <a:gd name="connsiteX1159" fmla="*/ 5396 w 10354"/>
                  <a:gd name="connsiteY1159" fmla="*/ 2026 h 10000"/>
                  <a:gd name="connsiteX1160" fmla="*/ 5392 w 10354"/>
                  <a:gd name="connsiteY1160" fmla="*/ 2009 h 10000"/>
                  <a:gd name="connsiteX1161" fmla="*/ 5392 w 10354"/>
                  <a:gd name="connsiteY1161" fmla="*/ 2000 h 10000"/>
                  <a:gd name="connsiteX1162" fmla="*/ 5396 w 10354"/>
                  <a:gd name="connsiteY1162" fmla="*/ 2009 h 10000"/>
                  <a:gd name="connsiteX1163" fmla="*/ 5424 w 10354"/>
                  <a:gd name="connsiteY1163" fmla="*/ 2009 h 10000"/>
                  <a:gd name="connsiteX1164" fmla="*/ 5433 w 10354"/>
                  <a:gd name="connsiteY1164" fmla="*/ 1991 h 10000"/>
                  <a:gd name="connsiteX1165" fmla="*/ 5447 w 10354"/>
                  <a:gd name="connsiteY1165" fmla="*/ 1974 h 10000"/>
                  <a:gd name="connsiteX1166" fmla="*/ 5452 w 10354"/>
                  <a:gd name="connsiteY1166" fmla="*/ 1966 h 10000"/>
                  <a:gd name="connsiteX1167" fmla="*/ 5456 w 10354"/>
                  <a:gd name="connsiteY1167" fmla="*/ 1966 h 10000"/>
                  <a:gd name="connsiteX1168" fmla="*/ 5465 w 10354"/>
                  <a:gd name="connsiteY1168" fmla="*/ 2009 h 10000"/>
                  <a:gd name="connsiteX1169" fmla="*/ 5433 w 10354"/>
                  <a:gd name="connsiteY1169" fmla="*/ 2034 h 10000"/>
                  <a:gd name="connsiteX1170" fmla="*/ 5424 w 10354"/>
                  <a:gd name="connsiteY1170" fmla="*/ 2060 h 10000"/>
                  <a:gd name="connsiteX1171" fmla="*/ 5419 w 10354"/>
                  <a:gd name="connsiteY1171" fmla="*/ 2060 h 10000"/>
                  <a:gd name="connsiteX1172" fmla="*/ 5392 w 10354"/>
                  <a:gd name="connsiteY1172" fmla="*/ 2111 h 10000"/>
                  <a:gd name="connsiteX1173" fmla="*/ 5378 w 10354"/>
                  <a:gd name="connsiteY1173" fmla="*/ 2111 h 10000"/>
                  <a:gd name="connsiteX1174" fmla="*/ 5350 w 10354"/>
                  <a:gd name="connsiteY1174" fmla="*/ 2060 h 10000"/>
                  <a:gd name="connsiteX1175" fmla="*/ 5373 w 10354"/>
                  <a:gd name="connsiteY1175" fmla="*/ 2111 h 10000"/>
                  <a:gd name="connsiteX1176" fmla="*/ 5364 w 10354"/>
                  <a:gd name="connsiteY1176" fmla="*/ 2111 h 10000"/>
                  <a:gd name="connsiteX1177" fmla="*/ 5359 w 10354"/>
                  <a:gd name="connsiteY1177" fmla="*/ 2103 h 10000"/>
                  <a:gd name="connsiteX1178" fmla="*/ 5359 w 10354"/>
                  <a:gd name="connsiteY1178" fmla="*/ 2120 h 10000"/>
                  <a:gd name="connsiteX1179" fmla="*/ 5359 w 10354"/>
                  <a:gd name="connsiteY1179" fmla="*/ 2137 h 10000"/>
                  <a:gd name="connsiteX1180" fmla="*/ 5313 w 10354"/>
                  <a:gd name="connsiteY1180" fmla="*/ 2162 h 10000"/>
                  <a:gd name="connsiteX1181" fmla="*/ 5300 w 10354"/>
                  <a:gd name="connsiteY1181" fmla="*/ 2162 h 10000"/>
                  <a:gd name="connsiteX1182" fmla="*/ 5300 w 10354"/>
                  <a:gd name="connsiteY1182" fmla="*/ 2171 h 10000"/>
                  <a:gd name="connsiteX1183" fmla="*/ 5300 w 10354"/>
                  <a:gd name="connsiteY1183" fmla="*/ 2197 h 10000"/>
                  <a:gd name="connsiteX1184" fmla="*/ 5276 w 10354"/>
                  <a:gd name="connsiteY1184" fmla="*/ 2188 h 10000"/>
                  <a:gd name="connsiteX1185" fmla="*/ 5249 w 10354"/>
                  <a:gd name="connsiteY1185" fmla="*/ 2222 h 10000"/>
                  <a:gd name="connsiteX1186" fmla="*/ 5249 w 10354"/>
                  <a:gd name="connsiteY1186" fmla="*/ 2222 h 10000"/>
                  <a:gd name="connsiteX1187" fmla="*/ 5217 w 10354"/>
                  <a:gd name="connsiteY1187" fmla="*/ 2214 h 10000"/>
                  <a:gd name="connsiteX1188" fmla="*/ 5203 w 10354"/>
                  <a:gd name="connsiteY1188" fmla="*/ 2239 h 10000"/>
                  <a:gd name="connsiteX1189" fmla="*/ 5171 w 10354"/>
                  <a:gd name="connsiteY1189" fmla="*/ 2214 h 10000"/>
                  <a:gd name="connsiteX1190" fmla="*/ 5157 w 10354"/>
                  <a:gd name="connsiteY1190" fmla="*/ 2239 h 10000"/>
                  <a:gd name="connsiteX1191" fmla="*/ 5166 w 10354"/>
                  <a:gd name="connsiteY1191" fmla="*/ 2256 h 10000"/>
                  <a:gd name="connsiteX1192" fmla="*/ 5171 w 10354"/>
                  <a:gd name="connsiteY1192" fmla="*/ 2308 h 10000"/>
                  <a:gd name="connsiteX1193" fmla="*/ 5212 w 10354"/>
                  <a:gd name="connsiteY1193" fmla="*/ 2350 h 10000"/>
                  <a:gd name="connsiteX1194" fmla="*/ 5203 w 10354"/>
                  <a:gd name="connsiteY1194" fmla="*/ 2350 h 10000"/>
                  <a:gd name="connsiteX1195" fmla="*/ 5166 w 10354"/>
                  <a:gd name="connsiteY1195" fmla="*/ 2325 h 10000"/>
                  <a:gd name="connsiteX1196" fmla="*/ 5152 w 10354"/>
                  <a:gd name="connsiteY1196" fmla="*/ 2308 h 10000"/>
                  <a:gd name="connsiteX1197" fmla="*/ 5143 w 10354"/>
                  <a:gd name="connsiteY1197" fmla="*/ 2333 h 10000"/>
                  <a:gd name="connsiteX1198" fmla="*/ 5138 w 10354"/>
                  <a:gd name="connsiteY1198" fmla="*/ 2333 h 10000"/>
                  <a:gd name="connsiteX1199" fmla="*/ 5124 w 10354"/>
                  <a:gd name="connsiteY1199" fmla="*/ 2376 h 10000"/>
                  <a:gd name="connsiteX1200" fmla="*/ 5115 w 10354"/>
                  <a:gd name="connsiteY1200" fmla="*/ 2385 h 10000"/>
                  <a:gd name="connsiteX1201" fmla="*/ 5106 w 10354"/>
                  <a:gd name="connsiteY1201" fmla="*/ 2385 h 10000"/>
                  <a:gd name="connsiteX1202" fmla="*/ 5055 w 10354"/>
                  <a:gd name="connsiteY1202" fmla="*/ 2470 h 10000"/>
                  <a:gd name="connsiteX1203" fmla="*/ 5065 w 10354"/>
                  <a:gd name="connsiteY1203" fmla="*/ 2462 h 10000"/>
                  <a:gd name="connsiteX1204" fmla="*/ 5055 w 10354"/>
                  <a:gd name="connsiteY1204" fmla="*/ 2444 h 10000"/>
                  <a:gd name="connsiteX1205" fmla="*/ 5041 w 10354"/>
                  <a:gd name="connsiteY1205" fmla="*/ 2462 h 10000"/>
                  <a:gd name="connsiteX1206" fmla="*/ 5037 w 10354"/>
                  <a:gd name="connsiteY1206" fmla="*/ 2470 h 10000"/>
                  <a:gd name="connsiteX1207" fmla="*/ 5032 w 10354"/>
                  <a:gd name="connsiteY1207" fmla="*/ 2470 h 10000"/>
                  <a:gd name="connsiteX1208" fmla="*/ 5032 w 10354"/>
                  <a:gd name="connsiteY1208" fmla="*/ 2444 h 10000"/>
                  <a:gd name="connsiteX1209" fmla="*/ 5055 w 10354"/>
                  <a:gd name="connsiteY1209" fmla="*/ 2410 h 10000"/>
                  <a:gd name="connsiteX1210" fmla="*/ 5065 w 10354"/>
                  <a:gd name="connsiteY1210" fmla="*/ 2393 h 10000"/>
                  <a:gd name="connsiteX1211" fmla="*/ 5069 w 10354"/>
                  <a:gd name="connsiteY1211" fmla="*/ 2385 h 10000"/>
                  <a:gd name="connsiteX1212" fmla="*/ 5083 w 10354"/>
                  <a:gd name="connsiteY1212" fmla="*/ 2376 h 10000"/>
                  <a:gd name="connsiteX1213" fmla="*/ 5097 w 10354"/>
                  <a:gd name="connsiteY1213" fmla="*/ 2376 h 10000"/>
                  <a:gd name="connsiteX1214" fmla="*/ 5124 w 10354"/>
                  <a:gd name="connsiteY1214" fmla="*/ 2325 h 10000"/>
                  <a:gd name="connsiteX1215" fmla="*/ 5143 w 10354"/>
                  <a:gd name="connsiteY1215" fmla="*/ 2248 h 10000"/>
                  <a:gd name="connsiteX1216" fmla="*/ 5152 w 10354"/>
                  <a:gd name="connsiteY1216" fmla="*/ 2239 h 10000"/>
                  <a:gd name="connsiteX1217" fmla="*/ 5166 w 10354"/>
                  <a:gd name="connsiteY1217" fmla="*/ 2162 h 10000"/>
                  <a:gd name="connsiteX1218" fmla="*/ 5171 w 10354"/>
                  <a:gd name="connsiteY1218" fmla="*/ 2171 h 10000"/>
                  <a:gd name="connsiteX1219" fmla="*/ 5198 w 10354"/>
                  <a:gd name="connsiteY1219" fmla="*/ 2145 h 10000"/>
                  <a:gd name="connsiteX1220" fmla="*/ 5203 w 10354"/>
                  <a:gd name="connsiteY1220" fmla="*/ 2111 h 10000"/>
                  <a:gd name="connsiteX1221" fmla="*/ 5217 w 10354"/>
                  <a:gd name="connsiteY1221" fmla="*/ 2060 h 10000"/>
                  <a:gd name="connsiteX1222" fmla="*/ 5226 w 10354"/>
                  <a:gd name="connsiteY1222" fmla="*/ 2026 h 10000"/>
                  <a:gd name="connsiteX1223" fmla="*/ 5286 w 10354"/>
                  <a:gd name="connsiteY1223" fmla="*/ 2026 h 10000"/>
                  <a:gd name="connsiteX1224" fmla="*/ 5290 w 10354"/>
                  <a:gd name="connsiteY1224" fmla="*/ 2034 h 10000"/>
                  <a:gd name="connsiteX1225" fmla="*/ 5323 w 10354"/>
                  <a:gd name="connsiteY1225" fmla="*/ 1923 h 10000"/>
                  <a:gd name="connsiteX1226" fmla="*/ 5323 w 10354"/>
                  <a:gd name="connsiteY1226" fmla="*/ 1889 h 10000"/>
                  <a:gd name="connsiteX1227" fmla="*/ 5359 w 10354"/>
                  <a:gd name="connsiteY1227" fmla="*/ 1829 h 10000"/>
                  <a:gd name="connsiteX1228" fmla="*/ 5378 w 10354"/>
                  <a:gd name="connsiteY1228" fmla="*/ 1812 h 10000"/>
                  <a:gd name="connsiteX1229" fmla="*/ 5406 w 10354"/>
                  <a:gd name="connsiteY1229" fmla="*/ 1752 h 10000"/>
                  <a:gd name="connsiteX1230" fmla="*/ 5410 w 10354"/>
                  <a:gd name="connsiteY1230" fmla="*/ 1718 h 10000"/>
                  <a:gd name="connsiteX1231" fmla="*/ 5438 w 10354"/>
                  <a:gd name="connsiteY1231" fmla="*/ 1667 h 10000"/>
                  <a:gd name="connsiteX1232" fmla="*/ 5438 w 10354"/>
                  <a:gd name="connsiteY1232" fmla="*/ 1650 h 10000"/>
                  <a:gd name="connsiteX1233" fmla="*/ 5438 w 10354"/>
                  <a:gd name="connsiteY1233" fmla="*/ 1641 h 10000"/>
                  <a:gd name="connsiteX1234" fmla="*/ 5452 w 10354"/>
                  <a:gd name="connsiteY1234" fmla="*/ 1641 h 10000"/>
                  <a:gd name="connsiteX1235" fmla="*/ 5456 w 10354"/>
                  <a:gd name="connsiteY1235" fmla="*/ 1615 h 10000"/>
                  <a:gd name="connsiteX1236" fmla="*/ 5456 w 10354"/>
                  <a:gd name="connsiteY1236" fmla="*/ 1615 h 10000"/>
                  <a:gd name="connsiteX1237" fmla="*/ 5465 w 10354"/>
                  <a:gd name="connsiteY1237" fmla="*/ 1598 h 10000"/>
                  <a:gd name="connsiteX1238" fmla="*/ 5465 w 10354"/>
                  <a:gd name="connsiteY1238" fmla="*/ 1615 h 10000"/>
                  <a:gd name="connsiteX1239" fmla="*/ 5479 w 10354"/>
                  <a:gd name="connsiteY1239" fmla="*/ 1598 h 10000"/>
                  <a:gd name="connsiteX1240" fmla="*/ 5484 w 10354"/>
                  <a:gd name="connsiteY1240" fmla="*/ 1581 h 10000"/>
                  <a:gd name="connsiteX1241" fmla="*/ 5493 w 10354"/>
                  <a:gd name="connsiteY1241" fmla="*/ 1581 h 10000"/>
                  <a:gd name="connsiteX1242" fmla="*/ 5512 w 10354"/>
                  <a:gd name="connsiteY1242" fmla="*/ 1538 h 10000"/>
                  <a:gd name="connsiteX1243" fmla="*/ 5530 w 10354"/>
                  <a:gd name="connsiteY1243" fmla="*/ 1564 h 10000"/>
                  <a:gd name="connsiteX1244" fmla="*/ 5530 w 10354"/>
                  <a:gd name="connsiteY1244" fmla="*/ 1538 h 10000"/>
                  <a:gd name="connsiteX1245" fmla="*/ 5539 w 10354"/>
                  <a:gd name="connsiteY1245" fmla="*/ 1530 h 10000"/>
                  <a:gd name="connsiteX1246" fmla="*/ 5530 w 10354"/>
                  <a:gd name="connsiteY1246" fmla="*/ 1504 h 10000"/>
                  <a:gd name="connsiteX1247" fmla="*/ 5567 w 10354"/>
                  <a:gd name="connsiteY1247" fmla="*/ 1479 h 10000"/>
                  <a:gd name="connsiteX1248" fmla="*/ 5553 w 10354"/>
                  <a:gd name="connsiteY1248" fmla="*/ 1479 h 10000"/>
                  <a:gd name="connsiteX1249" fmla="*/ 5553 w 10354"/>
                  <a:gd name="connsiteY1249" fmla="*/ 1453 h 10000"/>
                  <a:gd name="connsiteX1250" fmla="*/ 5581 w 10354"/>
                  <a:gd name="connsiteY1250" fmla="*/ 1444 h 10000"/>
                  <a:gd name="connsiteX1251" fmla="*/ 5581 w 10354"/>
                  <a:gd name="connsiteY1251" fmla="*/ 1453 h 10000"/>
                  <a:gd name="connsiteX1252" fmla="*/ 5585 w 10354"/>
                  <a:gd name="connsiteY1252" fmla="*/ 1444 h 10000"/>
                  <a:gd name="connsiteX1253" fmla="*/ 5594 w 10354"/>
                  <a:gd name="connsiteY1253" fmla="*/ 1427 h 10000"/>
                  <a:gd name="connsiteX1254" fmla="*/ 5599 w 10354"/>
                  <a:gd name="connsiteY1254" fmla="*/ 1419 h 10000"/>
                  <a:gd name="connsiteX1255" fmla="*/ 5594 w 10354"/>
                  <a:gd name="connsiteY1255" fmla="*/ 1402 h 10000"/>
                  <a:gd name="connsiteX1256" fmla="*/ 5604 w 10354"/>
                  <a:gd name="connsiteY1256" fmla="*/ 1393 h 10000"/>
                  <a:gd name="connsiteX1257" fmla="*/ 5618 w 10354"/>
                  <a:gd name="connsiteY1257" fmla="*/ 1393 h 10000"/>
                  <a:gd name="connsiteX1258" fmla="*/ 5627 w 10354"/>
                  <a:gd name="connsiteY1258" fmla="*/ 1368 h 10000"/>
                  <a:gd name="connsiteX1259" fmla="*/ 5627 w 10354"/>
                  <a:gd name="connsiteY1259" fmla="*/ 1325 h 10000"/>
                  <a:gd name="connsiteX1260" fmla="*/ 5645 w 10354"/>
                  <a:gd name="connsiteY1260" fmla="*/ 1291 h 10000"/>
                  <a:gd name="connsiteX1261" fmla="*/ 5645 w 10354"/>
                  <a:gd name="connsiteY1261" fmla="*/ 1282 h 10000"/>
                  <a:gd name="connsiteX1262" fmla="*/ 5654 w 10354"/>
                  <a:gd name="connsiteY1262" fmla="*/ 1265 h 10000"/>
                  <a:gd name="connsiteX1263" fmla="*/ 5654 w 10354"/>
                  <a:gd name="connsiteY1263" fmla="*/ 1214 h 10000"/>
                  <a:gd name="connsiteX1264" fmla="*/ 5654 w 10354"/>
                  <a:gd name="connsiteY1264" fmla="*/ 1214 h 10000"/>
                  <a:gd name="connsiteX1265" fmla="*/ 5645 w 10354"/>
                  <a:gd name="connsiteY1265" fmla="*/ 1197 h 10000"/>
                  <a:gd name="connsiteX1266" fmla="*/ 5659 w 10354"/>
                  <a:gd name="connsiteY1266" fmla="*/ 1197 h 10000"/>
                  <a:gd name="connsiteX1267" fmla="*/ 5654 w 10354"/>
                  <a:gd name="connsiteY1267" fmla="*/ 1154 h 10000"/>
                  <a:gd name="connsiteX1268" fmla="*/ 5641 w 10354"/>
                  <a:gd name="connsiteY1268" fmla="*/ 1154 h 10000"/>
                  <a:gd name="connsiteX1269" fmla="*/ 5627 w 10354"/>
                  <a:gd name="connsiteY1269" fmla="*/ 1128 h 10000"/>
                  <a:gd name="connsiteX1270" fmla="*/ 5618 w 10354"/>
                  <a:gd name="connsiteY1270" fmla="*/ 1094 h 10000"/>
                  <a:gd name="connsiteX1271" fmla="*/ 5613 w 10354"/>
                  <a:gd name="connsiteY1271" fmla="*/ 1094 h 10000"/>
                  <a:gd name="connsiteX1272" fmla="*/ 5604 w 10354"/>
                  <a:gd name="connsiteY1272" fmla="*/ 1120 h 10000"/>
                  <a:gd name="connsiteX1273" fmla="*/ 5604 w 10354"/>
                  <a:gd name="connsiteY1273" fmla="*/ 1128 h 10000"/>
                  <a:gd name="connsiteX1274" fmla="*/ 5599 w 10354"/>
                  <a:gd name="connsiteY1274" fmla="*/ 1103 h 10000"/>
                  <a:gd name="connsiteX1275" fmla="*/ 5599 w 10354"/>
                  <a:gd name="connsiteY1275" fmla="*/ 1103 h 10000"/>
                  <a:gd name="connsiteX1276" fmla="*/ 5594 w 10354"/>
                  <a:gd name="connsiteY1276" fmla="*/ 1068 h 10000"/>
                  <a:gd name="connsiteX1277" fmla="*/ 5594 w 10354"/>
                  <a:gd name="connsiteY1277" fmla="*/ 1060 h 10000"/>
                  <a:gd name="connsiteX1278" fmla="*/ 5581 w 10354"/>
                  <a:gd name="connsiteY1278" fmla="*/ 1034 h 10000"/>
                  <a:gd name="connsiteX1279" fmla="*/ 5571 w 10354"/>
                  <a:gd name="connsiteY1279" fmla="*/ 1009 h 10000"/>
                  <a:gd name="connsiteX1280" fmla="*/ 5571 w 10354"/>
                  <a:gd name="connsiteY1280" fmla="*/ 991 h 10000"/>
                  <a:gd name="connsiteX1281" fmla="*/ 5585 w 10354"/>
                  <a:gd name="connsiteY1281" fmla="*/ 1009 h 10000"/>
                  <a:gd name="connsiteX1282" fmla="*/ 5604 w 10354"/>
                  <a:gd name="connsiteY1282" fmla="*/ 1043 h 10000"/>
                  <a:gd name="connsiteX1283" fmla="*/ 5641 w 10354"/>
                  <a:gd name="connsiteY1283" fmla="*/ 1094 h 10000"/>
                  <a:gd name="connsiteX1284" fmla="*/ 5631 w 10354"/>
                  <a:gd name="connsiteY1284" fmla="*/ 1128 h 10000"/>
                  <a:gd name="connsiteX1285" fmla="*/ 5641 w 10354"/>
                  <a:gd name="connsiteY1285" fmla="*/ 1128 h 10000"/>
                  <a:gd name="connsiteX1286" fmla="*/ 5659 w 10354"/>
                  <a:gd name="connsiteY1286" fmla="*/ 1017 h 10000"/>
                  <a:gd name="connsiteX1287" fmla="*/ 5659 w 10354"/>
                  <a:gd name="connsiteY1287" fmla="*/ 983 h 10000"/>
                  <a:gd name="connsiteX1288" fmla="*/ 5659 w 10354"/>
                  <a:gd name="connsiteY1288" fmla="*/ 957 h 10000"/>
                  <a:gd name="connsiteX1289" fmla="*/ 5654 w 10354"/>
                  <a:gd name="connsiteY1289" fmla="*/ 966 h 10000"/>
                  <a:gd name="connsiteX1290" fmla="*/ 5641 w 10354"/>
                  <a:gd name="connsiteY1290" fmla="*/ 957 h 10000"/>
                  <a:gd name="connsiteX1291" fmla="*/ 5631 w 10354"/>
                  <a:gd name="connsiteY1291" fmla="*/ 897 h 10000"/>
                  <a:gd name="connsiteX1292" fmla="*/ 5641 w 10354"/>
                  <a:gd name="connsiteY1292" fmla="*/ 872 h 10000"/>
                  <a:gd name="connsiteX1293" fmla="*/ 5618 w 10354"/>
                  <a:gd name="connsiteY1293" fmla="*/ 803 h 10000"/>
                  <a:gd name="connsiteX1294" fmla="*/ 5604 w 10354"/>
                  <a:gd name="connsiteY1294" fmla="*/ 821 h 10000"/>
                  <a:gd name="connsiteX1295" fmla="*/ 5613 w 10354"/>
                  <a:gd name="connsiteY1295" fmla="*/ 846 h 10000"/>
                  <a:gd name="connsiteX1296" fmla="*/ 5604 w 10354"/>
                  <a:gd name="connsiteY1296" fmla="*/ 855 h 10000"/>
                  <a:gd name="connsiteX1297" fmla="*/ 5599 w 10354"/>
                  <a:gd name="connsiteY1297" fmla="*/ 880 h 10000"/>
                  <a:gd name="connsiteX1298" fmla="*/ 5594 w 10354"/>
                  <a:gd name="connsiteY1298" fmla="*/ 880 h 10000"/>
                  <a:gd name="connsiteX1299" fmla="*/ 5585 w 10354"/>
                  <a:gd name="connsiteY1299" fmla="*/ 829 h 10000"/>
                  <a:gd name="connsiteX1300" fmla="*/ 5571 w 10354"/>
                  <a:gd name="connsiteY1300" fmla="*/ 803 h 10000"/>
                  <a:gd name="connsiteX1301" fmla="*/ 5585 w 10354"/>
                  <a:gd name="connsiteY1301" fmla="*/ 795 h 10000"/>
                  <a:gd name="connsiteX1302" fmla="*/ 5585 w 10354"/>
                  <a:gd name="connsiteY1302" fmla="*/ 761 h 10000"/>
                  <a:gd name="connsiteX1303" fmla="*/ 5558 w 10354"/>
                  <a:gd name="connsiteY1303" fmla="*/ 709 h 10000"/>
                  <a:gd name="connsiteX1304" fmla="*/ 5544 w 10354"/>
                  <a:gd name="connsiteY1304" fmla="*/ 709 h 10000"/>
                  <a:gd name="connsiteX1305" fmla="*/ 5544 w 10354"/>
                  <a:gd name="connsiteY1305" fmla="*/ 684 h 10000"/>
                  <a:gd name="connsiteX1306" fmla="*/ 5525 w 10354"/>
                  <a:gd name="connsiteY1306" fmla="*/ 632 h 10000"/>
                  <a:gd name="connsiteX1307" fmla="*/ 5507 w 10354"/>
                  <a:gd name="connsiteY1307" fmla="*/ 607 h 10000"/>
                  <a:gd name="connsiteX1308" fmla="*/ 5512 w 10354"/>
                  <a:gd name="connsiteY1308" fmla="*/ 598 h 10000"/>
                  <a:gd name="connsiteX1309" fmla="*/ 5507 w 10354"/>
                  <a:gd name="connsiteY1309" fmla="*/ 581 h 10000"/>
                  <a:gd name="connsiteX1310" fmla="*/ 5493 w 10354"/>
                  <a:gd name="connsiteY1310" fmla="*/ 573 h 10000"/>
                  <a:gd name="connsiteX1311" fmla="*/ 5484 w 10354"/>
                  <a:gd name="connsiteY1311" fmla="*/ 581 h 10000"/>
                  <a:gd name="connsiteX1312" fmla="*/ 5484 w 10354"/>
                  <a:gd name="connsiteY1312" fmla="*/ 573 h 10000"/>
                  <a:gd name="connsiteX1313" fmla="*/ 5484 w 10354"/>
                  <a:gd name="connsiteY1313" fmla="*/ 547 h 10000"/>
                  <a:gd name="connsiteX1314" fmla="*/ 5465 w 10354"/>
                  <a:gd name="connsiteY1314" fmla="*/ 556 h 10000"/>
                  <a:gd name="connsiteX1315" fmla="*/ 5433 w 10354"/>
                  <a:gd name="connsiteY1315" fmla="*/ 547 h 10000"/>
                  <a:gd name="connsiteX1316" fmla="*/ 5410 w 10354"/>
                  <a:gd name="connsiteY1316" fmla="*/ 573 h 10000"/>
                  <a:gd name="connsiteX1317" fmla="*/ 5406 w 10354"/>
                  <a:gd name="connsiteY1317" fmla="*/ 573 h 10000"/>
                  <a:gd name="connsiteX1318" fmla="*/ 5392 w 10354"/>
                  <a:gd name="connsiteY1318" fmla="*/ 573 h 10000"/>
                  <a:gd name="connsiteX1319" fmla="*/ 5364 w 10354"/>
                  <a:gd name="connsiteY1319" fmla="*/ 530 h 10000"/>
                  <a:gd name="connsiteX1320" fmla="*/ 5350 w 10354"/>
                  <a:gd name="connsiteY1320" fmla="*/ 556 h 10000"/>
                  <a:gd name="connsiteX1321" fmla="*/ 5346 w 10354"/>
                  <a:gd name="connsiteY1321" fmla="*/ 556 h 10000"/>
                  <a:gd name="connsiteX1322" fmla="*/ 5313 w 10354"/>
                  <a:gd name="connsiteY1322" fmla="*/ 573 h 10000"/>
                  <a:gd name="connsiteX1323" fmla="*/ 5304 w 10354"/>
                  <a:gd name="connsiteY1323" fmla="*/ 556 h 10000"/>
                  <a:gd name="connsiteX1324" fmla="*/ 5290 w 10354"/>
                  <a:gd name="connsiteY1324" fmla="*/ 573 h 10000"/>
                  <a:gd name="connsiteX1325" fmla="*/ 5290 w 10354"/>
                  <a:gd name="connsiteY1325" fmla="*/ 556 h 10000"/>
                  <a:gd name="connsiteX1326" fmla="*/ 5300 w 10354"/>
                  <a:gd name="connsiteY1326" fmla="*/ 547 h 10000"/>
                  <a:gd name="connsiteX1327" fmla="*/ 5300 w 10354"/>
                  <a:gd name="connsiteY1327" fmla="*/ 530 h 10000"/>
                  <a:gd name="connsiteX1328" fmla="*/ 5290 w 10354"/>
                  <a:gd name="connsiteY1328" fmla="*/ 530 h 10000"/>
                  <a:gd name="connsiteX1329" fmla="*/ 5286 w 10354"/>
                  <a:gd name="connsiteY1329" fmla="*/ 547 h 10000"/>
                  <a:gd name="connsiteX1330" fmla="*/ 5272 w 10354"/>
                  <a:gd name="connsiteY1330" fmla="*/ 556 h 10000"/>
                  <a:gd name="connsiteX1331" fmla="*/ 5272 w 10354"/>
                  <a:gd name="connsiteY1331" fmla="*/ 598 h 10000"/>
                  <a:gd name="connsiteX1332" fmla="*/ 5276 w 10354"/>
                  <a:gd name="connsiteY1332" fmla="*/ 581 h 10000"/>
                  <a:gd name="connsiteX1333" fmla="*/ 5272 w 10354"/>
                  <a:gd name="connsiteY1333" fmla="*/ 607 h 10000"/>
                  <a:gd name="connsiteX1334" fmla="*/ 5263 w 10354"/>
                  <a:gd name="connsiteY1334" fmla="*/ 607 h 10000"/>
                  <a:gd name="connsiteX1335" fmla="*/ 5263 w 10354"/>
                  <a:gd name="connsiteY1335" fmla="*/ 632 h 10000"/>
                  <a:gd name="connsiteX1336" fmla="*/ 5258 w 10354"/>
                  <a:gd name="connsiteY1336" fmla="*/ 658 h 10000"/>
                  <a:gd name="connsiteX1337" fmla="*/ 5244 w 10354"/>
                  <a:gd name="connsiteY1337" fmla="*/ 667 h 10000"/>
                  <a:gd name="connsiteX1338" fmla="*/ 5240 w 10354"/>
                  <a:gd name="connsiteY1338" fmla="*/ 658 h 10000"/>
                  <a:gd name="connsiteX1339" fmla="*/ 5240 w 10354"/>
                  <a:gd name="connsiteY1339" fmla="*/ 684 h 10000"/>
                  <a:gd name="connsiteX1340" fmla="*/ 5212 w 10354"/>
                  <a:gd name="connsiteY1340" fmla="*/ 684 h 10000"/>
                  <a:gd name="connsiteX1341" fmla="*/ 5198 w 10354"/>
                  <a:gd name="connsiteY1341" fmla="*/ 692 h 10000"/>
                  <a:gd name="connsiteX1342" fmla="*/ 5184 w 10354"/>
                  <a:gd name="connsiteY1342" fmla="*/ 684 h 10000"/>
                  <a:gd name="connsiteX1343" fmla="*/ 5157 w 10354"/>
                  <a:gd name="connsiteY1343" fmla="*/ 684 h 10000"/>
                  <a:gd name="connsiteX1344" fmla="*/ 5157 w 10354"/>
                  <a:gd name="connsiteY1344" fmla="*/ 667 h 10000"/>
                  <a:gd name="connsiteX1345" fmla="*/ 5157 w 10354"/>
                  <a:gd name="connsiteY1345" fmla="*/ 667 h 10000"/>
                  <a:gd name="connsiteX1346" fmla="*/ 5180 w 10354"/>
                  <a:gd name="connsiteY1346" fmla="*/ 650 h 10000"/>
                  <a:gd name="connsiteX1347" fmla="*/ 5184 w 10354"/>
                  <a:gd name="connsiteY1347" fmla="*/ 658 h 10000"/>
                  <a:gd name="connsiteX1348" fmla="*/ 5203 w 10354"/>
                  <a:gd name="connsiteY1348" fmla="*/ 547 h 10000"/>
                  <a:gd name="connsiteX1349" fmla="*/ 5226 w 10354"/>
                  <a:gd name="connsiteY1349" fmla="*/ 530 h 10000"/>
                  <a:gd name="connsiteX1350" fmla="*/ 5230 w 10354"/>
                  <a:gd name="connsiteY1350" fmla="*/ 487 h 10000"/>
                  <a:gd name="connsiteX1351" fmla="*/ 5230 w 10354"/>
                  <a:gd name="connsiteY1351" fmla="*/ 487 h 10000"/>
                  <a:gd name="connsiteX1352" fmla="*/ 5226 w 10354"/>
                  <a:gd name="connsiteY1352" fmla="*/ 462 h 10000"/>
                  <a:gd name="connsiteX1353" fmla="*/ 5226 w 10354"/>
                  <a:gd name="connsiteY1353" fmla="*/ 462 h 10000"/>
                  <a:gd name="connsiteX1354" fmla="*/ 5240 w 10354"/>
                  <a:gd name="connsiteY1354" fmla="*/ 462 h 10000"/>
                  <a:gd name="connsiteX1355" fmla="*/ 5240 w 10354"/>
                  <a:gd name="connsiteY1355" fmla="*/ 444 h 10000"/>
                  <a:gd name="connsiteX1356" fmla="*/ 5230 w 10354"/>
                  <a:gd name="connsiteY1356" fmla="*/ 436 h 10000"/>
                  <a:gd name="connsiteX1357" fmla="*/ 5230 w 10354"/>
                  <a:gd name="connsiteY1357" fmla="*/ 419 h 10000"/>
                  <a:gd name="connsiteX1358" fmla="*/ 5230 w 10354"/>
                  <a:gd name="connsiteY1358" fmla="*/ 410 h 10000"/>
                  <a:gd name="connsiteX1359" fmla="*/ 5198 w 10354"/>
                  <a:gd name="connsiteY1359" fmla="*/ 402 h 10000"/>
                  <a:gd name="connsiteX1360" fmla="*/ 5189 w 10354"/>
                  <a:gd name="connsiteY1360" fmla="*/ 402 h 10000"/>
                  <a:gd name="connsiteX1361" fmla="*/ 5184 w 10354"/>
                  <a:gd name="connsiteY1361" fmla="*/ 376 h 10000"/>
                  <a:gd name="connsiteX1362" fmla="*/ 5180 w 10354"/>
                  <a:gd name="connsiteY1362" fmla="*/ 376 h 10000"/>
                  <a:gd name="connsiteX1363" fmla="*/ 5166 w 10354"/>
                  <a:gd name="connsiteY1363" fmla="*/ 376 h 10000"/>
                  <a:gd name="connsiteX1364" fmla="*/ 5157 w 10354"/>
                  <a:gd name="connsiteY1364" fmla="*/ 385 h 10000"/>
                  <a:gd name="connsiteX1365" fmla="*/ 5152 w 10354"/>
                  <a:gd name="connsiteY1365" fmla="*/ 376 h 10000"/>
                  <a:gd name="connsiteX1366" fmla="*/ 5129 w 10354"/>
                  <a:gd name="connsiteY1366" fmla="*/ 385 h 10000"/>
                  <a:gd name="connsiteX1367" fmla="*/ 5129 w 10354"/>
                  <a:gd name="connsiteY1367" fmla="*/ 350 h 10000"/>
                  <a:gd name="connsiteX1368" fmla="*/ 5129 w 10354"/>
                  <a:gd name="connsiteY1368" fmla="*/ 325 h 10000"/>
                  <a:gd name="connsiteX1369" fmla="*/ 5124 w 10354"/>
                  <a:gd name="connsiteY1369" fmla="*/ 359 h 10000"/>
                  <a:gd name="connsiteX1370" fmla="*/ 5106 w 10354"/>
                  <a:gd name="connsiteY1370" fmla="*/ 359 h 10000"/>
                  <a:gd name="connsiteX1371" fmla="*/ 5037 w 10354"/>
                  <a:gd name="connsiteY1371" fmla="*/ 419 h 10000"/>
                  <a:gd name="connsiteX1372" fmla="*/ 5051 w 10354"/>
                  <a:gd name="connsiteY1372" fmla="*/ 385 h 10000"/>
                  <a:gd name="connsiteX1373" fmla="*/ 5055 w 10354"/>
                  <a:gd name="connsiteY1373" fmla="*/ 376 h 10000"/>
                  <a:gd name="connsiteX1374" fmla="*/ 5092 w 10354"/>
                  <a:gd name="connsiteY1374" fmla="*/ 282 h 10000"/>
                  <a:gd name="connsiteX1375" fmla="*/ 5106 w 10354"/>
                  <a:gd name="connsiteY1375" fmla="*/ 265 h 10000"/>
                  <a:gd name="connsiteX1376" fmla="*/ 5115 w 10354"/>
                  <a:gd name="connsiteY1376" fmla="*/ 265 h 10000"/>
                  <a:gd name="connsiteX1377" fmla="*/ 5124 w 10354"/>
                  <a:gd name="connsiteY1377" fmla="*/ 222 h 10000"/>
                  <a:gd name="connsiteX1378" fmla="*/ 5124 w 10354"/>
                  <a:gd name="connsiteY1378" fmla="*/ 214 h 10000"/>
                  <a:gd name="connsiteX1379" fmla="*/ 5143 w 10354"/>
                  <a:gd name="connsiteY1379" fmla="*/ 197 h 10000"/>
                  <a:gd name="connsiteX1380" fmla="*/ 5152 w 10354"/>
                  <a:gd name="connsiteY1380" fmla="*/ 214 h 10000"/>
                  <a:gd name="connsiteX1381" fmla="*/ 5143 w 10354"/>
                  <a:gd name="connsiteY1381" fmla="*/ 188 h 10000"/>
                  <a:gd name="connsiteX1382" fmla="*/ 5129 w 10354"/>
                  <a:gd name="connsiteY1382" fmla="*/ 103 h 10000"/>
                  <a:gd name="connsiteX1383" fmla="*/ 5115 w 10354"/>
                  <a:gd name="connsiteY1383" fmla="*/ 85 h 10000"/>
                  <a:gd name="connsiteX1384" fmla="*/ 5111 w 10354"/>
                  <a:gd name="connsiteY1384" fmla="*/ 111 h 10000"/>
                  <a:gd name="connsiteX1385" fmla="*/ 5092 w 10354"/>
                  <a:gd name="connsiteY1385" fmla="*/ 103 h 10000"/>
                  <a:gd name="connsiteX1386" fmla="*/ 5069 w 10354"/>
                  <a:gd name="connsiteY1386" fmla="*/ 77 h 10000"/>
                  <a:gd name="connsiteX1387" fmla="*/ 5051 w 10354"/>
                  <a:gd name="connsiteY1387" fmla="*/ 26 h 10000"/>
                  <a:gd name="connsiteX1388" fmla="*/ 5041 w 10354"/>
                  <a:gd name="connsiteY1388" fmla="*/ 34 h 10000"/>
                  <a:gd name="connsiteX1389" fmla="*/ 5037 w 10354"/>
                  <a:gd name="connsiteY1389" fmla="*/ 34 h 10000"/>
                  <a:gd name="connsiteX1390" fmla="*/ 5037 w 10354"/>
                  <a:gd name="connsiteY1390" fmla="*/ 26 h 10000"/>
                  <a:gd name="connsiteX1391" fmla="*/ 5037 w 10354"/>
                  <a:gd name="connsiteY1391" fmla="*/ 9 h 10000"/>
                  <a:gd name="connsiteX1392" fmla="*/ 5023 w 10354"/>
                  <a:gd name="connsiteY1392" fmla="*/ 0 h 10000"/>
                  <a:gd name="connsiteX1393" fmla="*/ 5009 w 10354"/>
                  <a:gd name="connsiteY1393" fmla="*/ 9 h 10000"/>
                  <a:gd name="connsiteX1394" fmla="*/ 4995 w 10354"/>
                  <a:gd name="connsiteY1394" fmla="*/ 34 h 10000"/>
                  <a:gd name="connsiteX1395" fmla="*/ 4991 w 10354"/>
                  <a:gd name="connsiteY1395" fmla="*/ 60 h 10000"/>
                  <a:gd name="connsiteX1396" fmla="*/ 4982 w 10354"/>
                  <a:gd name="connsiteY1396" fmla="*/ 60 h 10000"/>
                  <a:gd name="connsiteX1397" fmla="*/ 4949 w 10354"/>
                  <a:gd name="connsiteY1397" fmla="*/ 51 h 10000"/>
                  <a:gd name="connsiteX1398" fmla="*/ 4949 w 10354"/>
                  <a:gd name="connsiteY1398" fmla="*/ 85 h 10000"/>
                  <a:gd name="connsiteX1399" fmla="*/ 4903 w 10354"/>
                  <a:gd name="connsiteY1399" fmla="*/ 197 h 10000"/>
                  <a:gd name="connsiteX1400" fmla="*/ 4899 w 10354"/>
                  <a:gd name="connsiteY1400" fmla="*/ 239 h 10000"/>
                  <a:gd name="connsiteX1401" fmla="*/ 4871 w 10354"/>
                  <a:gd name="connsiteY1401" fmla="*/ 274 h 10000"/>
                  <a:gd name="connsiteX1402" fmla="*/ 4871 w 10354"/>
                  <a:gd name="connsiteY1402" fmla="*/ 282 h 10000"/>
                  <a:gd name="connsiteX1403" fmla="*/ 4834 w 10354"/>
                  <a:gd name="connsiteY1403" fmla="*/ 376 h 10000"/>
                  <a:gd name="connsiteX1404" fmla="*/ 4829 w 10354"/>
                  <a:gd name="connsiteY1404" fmla="*/ 402 h 10000"/>
                  <a:gd name="connsiteX1405" fmla="*/ 4834 w 10354"/>
                  <a:gd name="connsiteY1405" fmla="*/ 410 h 10000"/>
                  <a:gd name="connsiteX1406" fmla="*/ 4829 w 10354"/>
                  <a:gd name="connsiteY1406" fmla="*/ 436 h 10000"/>
                  <a:gd name="connsiteX1407" fmla="*/ 4825 w 10354"/>
                  <a:gd name="connsiteY1407" fmla="*/ 436 h 10000"/>
                  <a:gd name="connsiteX1408" fmla="*/ 4825 w 10354"/>
                  <a:gd name="connsiteY1408" fmla="*/ 444 h 10000"/>
                  <a:gd name="connsiteX1409" fmla="*/ 4811 w 10354"/>
                  <a:gd name="connsiteY1409" fmla="*/ 496 h 10000"/>
                  <a:gd name="connsiteX1410" fmla="*/ 4811 w 10354"/>
                  <a:gd name="connsiteY1410" fmla="*/ 496 h 10000"/>
                  <a:gd name="connsiteX1411" fmla="*/ 4811 w 10354"/>
                  <a:gd name="connsiteY1411" fmla="*/ 521 h 10000"/>
                  <a:gd name="connsiteX1412" fmla="*/ 4816 w 10354"/>
                  <a:gd name="connsiteY1412" fmla="*/ 530 h 10000"/>
                  <a:gd name="connsiteX1413" fmla="*/ 4834 w 10354"/>
                  <a:gd name="connsiteY1413" fmla="*/ 547 h 10000"/>
                  <a:gd name="connsiteX1414" fmla="*/ 4834 w 10354"/>
                  <a:gd name="connsiteY1414" fmla="*/ 581 h 10000"/>
                  <a:gd name="connsiteX1415" fmla="*/ 4843 w 10354"/>
                  <a:gd name="connsiteY1415" fmla="*/ 581 h 10000"/>
                  <a:gd name="connsiteX1416" fmla="*/ 4843 w 10354"/>
                  <a:gd name="connsiteY1416" fmla="*/ 598 h 10000"/>
                  <a:gd name="connsiteX1417" fmla="*/ 4829 w 10354"/>
                  <a:gd name="connsiteY1417" fmla="*/ 598 h 10000"/>
                  <a:gd name="connsiteX1418" fmla="*/ 4829 w 10354"/>
                  <a:gd name="connsiteY1418" fmla="*/ 573 h 10000"/>
                  <a:gd name="connsiteX1419" fmla="*/ 4829 w 10354"/>
                  <a:gd name="connsiteY1419" fmla="*/ 632 h 10000"/>
                  <a:gd name="connsiteX1420" fmla="*/ 4829 w 10354"/>
                  <a:gd name="connsiteY1420" fmla="*/ 632 h 10000"/>
                  <a:gd name="connsiteX1421" fmla="*/ 4829 w 10354"/>
                  <a:gd name="connsiteY1421" fmla="*/ 650 h 10000"/>
                  <a:gd name="connsiteX1422" fmla="*/ 4774 w 10354"/>
                  <a:gd name="connsiteY1422" fmla="*/ 684 h 10000"/>
                  <a:gd name="connsiteX1423" fmla="*/ 4756 w 10354"/>
                  <a:gd name="connsiteY1423" fmla="*/ 684 h 10000"/>
                  <a:gd name="connsiteX1424" fmla="*/ 4737 w 10354"/>
                  <a:gd name="connsiteY1424" fmla="*/ 692 h 10000"/>
                  <a:gd name="connsiteX1425" fmla="*/ 4677 w 10354"/>
                  <a:gd name="connsiteY1425" fmla="*/ 667 h 10000"/>
                  <a:gd name="connsiteX1426" fmla="*/ 4682 w 10354"/>
                  <a:gd name="connsiteY1426" fmla="*/ 692 h 10000"/>
                  <a:gd name="connsiteX1427" fmla="*/ 4682 w 10354"/>
                  <a:gd name="connsiteY1427" fmla="*/ 709 h 10000"/>
                  <a:gd name="connsiteX1428" fmla="*/ 4691 w 10354"/>
                  <a:gd name="connsiteY1428" fmla="*/ 718 h 10000"/>
                  <a:gd name="connsiteX1429" fmla="*/ 4691 w 10354"/>
                  <a:gd name="connsiteY1429" fmla="*/ 744 h 10000"/>
                  <a:gd name="connsiteX1430" fmla="*/ 4700 w 10354"/>
                  <a:gd name="connsiteY1430" fmla="*/ 744 h 10000"/>
                  <a:gd name="connsiteX1431" fmla="*/ 4714 w 10354"/>
                  <a:gd name="connsiteY1431" fmla="*/ 769 h 10000"/>
                  <a:gd name="connsiteX1432" fmla="*/ 4710 w 10354"/>
                  <a:gd name="connsiteY1432" fmla="*/ 786 h 10000"/>
                  <a:gd name="connsiteX1433" fmla="*/ 4737 w 10354"/>
                  <a:gd name="connsiteY1433" fmla="*/ 786 h 10000"/>
                  <a:gd name="connsiteX1434" fmla="*/ 4742 w 10354"/>
                  <a:gd name="connsiteY1434" fmla="*/ 795 h 10000"/>
                  <a:gd name="connsiteX1435" fmla="*/ 4742 w 10354"/>
                  <a:gd name="connsiteY1435" fmla="*/ 803 h 10000"/>
                  <a:gd name="connsiteX1436" fmla="*/ 4737 w 10354"/>
                  <a:gd name="connsiteY1436" fmla="*/ 846 h 10000"/>
                  <a:gd name="connsiteX1437" fmla="*/ 4737 w 10354"/>
                  <a:gd name="connsiteY1437" fmla="*/ 880 h 10000"/>
                  <a:gd name="connsiteX1438" fmla="*/ 4737 w 10354"/>
                  <a:gd name="connsiteY1438" fmla="*/ 906 h 10000"/>
                  <a:gd name="connsiteX1439" fmla="*/ 4724 w 10354"/>
                  <a:gd name="connsiteY1439" fmla="*/ 897 h 10000"/>
                  <a:gd name="connsiteX1440" fmla="*/ 4724 w 10354"/>
                  <a:gd name="connsiteY1440" fmla="*/ 872 h 10000"/>
                  <a:gd name="connsiteX1441" fmla="*/ 4714 w 10354"/>
                  <a:gd name="connsiteY1441" fmla="*/ 855 h 10000"/>
                  <a:gd name="connsiteX1442" fmla="*/ 4691 w 10354"/>
                  <a:gd name="connsiteY1442" fmla="*/ 846 h 10000"/>
                  <a:gd name="connsiteX1443" fmla="*/ 4691 w 10354"/>
                  <a:gd name="connsiteY1443" fmla="*/ 846 h 10000"/>
                  <a:gd name="connsiteX1444" fmla="*/ 4696 w 10354"/>
                  <a:gd name="connsiteY1444" fmla="*/ 821 h 10000"/>
                  <a:gd name="connsiteX1445" fmla="*/ 4691 w 10354"/>
                  <a:gd name="connsiteY1445" fmla="*/ 803 h 10000"/>
                  <a:gd name="connsiteX1446" fmla="*/ 4668 w 10354"/>
                  <a:gd name="connsiteY1446" fmla="*/ 821 h 10000"/>
                  <a:gd name="connsiteX1447" fmla="*/ 4668 w 10354"/>
                  <a:gd name="connsiteY1447" fmla="*/ 786 h 10000"/>
                  <a:gd name="connsiteX1448" fmla="*/ 4664 w 10354"/>
                  <a:gd name="connsiteY1448" fmla="*/ 786 h 10000"/>
                  <a:gd name="connsiteX1449" fmla="*/ 4622 w 10354"/>
                  <a:gd name="connsiteY1449" fmla="*/ 846 h 10000"/>
                  <a:gd name="connsiteX1450" fmla="*/ 4627 w 10354"/>
                  <a:gd name="connsiteY1450" fmla="*/ 872 h 10000"/>
                  <a:gd name="connsiteX1451" fmla="*/ 4622 w 10354"/>
                  <a:gd name="connsiteY1451" fmla="*/ 880 h 10000"/>
                  <a:gd name="connsiteX1452" fmla="*/ 4622 w 10354"/>
                  <a:gd name="connsiteY1452" fmla="*/ 880 h 10000"/>
                  <a:gd name="connsiteX1453" fmla="*/ 4618 w 10354"/>
                  <a:gd name="connsiteY1453" fmla="*/ 872 h 10000"/>
                  <a:gd name="connsiteX1454" fmla="*/ 4604 w 10354"/>
                  <a:gd name="connsiteY1454" fmla="*/ 880 h 10000"/>
                  <a:gd name="connsiteX1455" fmla="*/ 4594 w 10354"/>
                  <a:gd name="connsiteY1455" fmla="*/ 906 h 10000"/>
                  <a:gd name="connsiteX1456" fmla="*/ 4604 w 10354"/>
                  <a:gd name="connsiteY1456" fmla="*/ 906 h 10000"/>
                  <a:gd name="connsiteX1457" fmla="*/ 4608 w 10354"/>
                  <a:gd name="connsiteY1457" fmla="*/ 906 h 10000"/>
                  <a:gd name="connsiteX1458" fmla="*/ 4608 w 10354"/>
                  <a:gd name="connsiteY1458" fmla="*/ 932 h 10000"/>
                  <a:gd name="connsiteX1459" fmla="*/ 4604 w 10354"/>
                  <a:gd name="connsiteY1459" fmla="*/ 932 h 10000"/>
                  <a:gd name="connsiteX1460" fmla="*/ 4590 w 10354"/>
                  <a:gd name="connsiteY1460" fmla="*/ 932 h 10000"/>
                  <a:gd name="connsiteX1461" fmla="*/ 4567 w 10354"/>
                  <a:gd name="connsiteY1461" fmla="*/ 957 h 10000"/>
                  <a:gd name="connsiteX1462" fmla="*/ 4567 w 10354"/>
                  <a:gd name="connsiteY1462" fmla="*/ 932 h 10000"/>
                  <a:gd name="connsiteX1463" fmla="*/ 4567 w 10354"/>
                  <a:gd name="connsiteY1463" fmla="*/ 923 h 10000"/>
                  <a:gd name="connsiteX1464" fmla="*/ 4562 w 10354"/>
                  <a:gd name="connsiteY1464" fmla="*/ 932 h 10000"/>
                  <a:gd name="connsiteX1465" fmla="*/ 4548 w 10354"/>
                  <a:gd name="connsiteY1465" fmla="*/ 957 h 10000"/>
                  <a:gd name="connsiteX1466" fmla="*/ 4544 w 10354"/>
                  <a:gd name="connsiteY1466" fmla="*/ 957 h 10000"/>
                  <a:gd name="connsiteX1467" fmla="*/ 4521 w 10354"/>
                  <a:gd name="connsiteY1467" fmla="*/ 983 h 10000"/>
                  <a:gd name="connsiteX1468" fmla="*/ 4521 w 10354"/>
                  <a:gd name="connsiteY1468" fmla="*/ 983 h 10000"/>
                  <a:gd name="connsiteX1469" fmla="*/ 4530 w 10354"/>
                  <a:gd name="connsiteY1469" fmla="*/ 957 h 10000"/>
                  <a:gd name="connsiteX1470" fmla="*/ 4535 w 10354"/>
                  <a:gd name="connsiteY1470" fmla="*/ 932 h 10000"/>
                  <a:gd name="connsiteX1471" fmla="*/ 4521 w 10354"/>
                  <a:gd name="connsiteY1471" fmla="*/ 932 h 10000"/>
                  <a:gd name="connsiteX1472" fmla="*/ 4516 w 10354"/>
                  <a:gd name="connsiteY1472" fmla="*/ 923 h 10000"/>
                  <a:gd name="connsiteX1473" fmla="*/ 4516 w 10354"/>
                  <a:gd name="connsiteY1473" fmla="*/ 932 h 10000"/>
                  <a:gd name="connsiteX1474" fmla="*/ 4488 w 10354"/>
                  <a:gd name="connsiteY1474" fmla="*/ 940 h 10000"/>
                  <a:gd name="connsiteX1475" fmla="*/ 4484 w 10354"/>
                  <a:gd name="connsiteY1475" fmla="*/ 983 h 10000"/>
                  <a:gd name="connsiteX1476" fmla="*/ 4470 w 10354"/>
                  <a:gd name="connsiteY1476" fmla="*/ 983 h 10000"/>
                  <a:gd name="connsiteX1477" fmla="*/ 4470 w 10354"/>
                  <a:gd name="connsiteY1477" fmla="*/ 966 h 10000"/>
                  <a:gd name="connsiteX1478" fmla="*/ 4488 w 10354"/>
                  <a:gd name="connsiteY1478" fmla="*/ 923 h 10000"/>
                  <a:gd name="connsiteX1479" fmla="*/ 4493 w 10354"/>
                  <a:gd name="connsiteY1479" fmla="*/ 880 h 10000"/>
                  <a:gd name="connsiteX1480" fmla="*/ 4475 w 10354"/>
                  <a:gd name="connsiteY1480" fmla="*/ 846 h 10000"/>
                  <a:gd name="connsiteX1481" fmla="*/ 4442 w 10354"/>
                  <a:gd name="connsiteY1481" fmla="*/ 855 h 10000"/>
                  <a:gd name="connsiteX1482" fmla="*/ 4433 w 10354"/>
                  <a:gd name="connsiteY1482" fmla="*/ 855 h 10000"/>
                  <a:gd name="connsiteX1483" fmla="*/ 4433 w 10354"/>
                  <a:gd name="connsiteY1483" fmla="*/ 880 h 10000"/>
                  <a:gd name="connsiteX1484" fmla="*/ 4401 w 10354"/>
                  <a:gd name="connsiteY1484" fmla="*/ 855 h 10000"/>
                  <a:gd name="connsiteX1485" fmla="*/ 4396 w 10354"/>
                  <a:gd name="connsiteY1485" fmla="*/ 872 h 10000"/>
                  <a:gd name="connsiteX1486" fmla="*/ 4382 w 10354"/>
                  <a:gd name="connsiteY1486" fmla="*/ 897 h 10000"/>
                  <a:gd name="connsiteX1487" fmla="*/ 4373 w 10354"/>
                  <a:gd name="connsiteY1487" fmla="*/ 872 h 10000"/>
                  <a:gd name="connsiteX1488" fmla="*/ 4341 w 10354"/>
                  <a:gd name="connsiteY1488" fmla="*/ 872 h 10000"/>
                  <a:gd name="connsiteX1489" fmla="*/ 4336 w 10354"/>
                  <a:gd name="connsiteY1489" fmla="*/ 880 h 10000"/>
                  <a:gd name="connsiteX1490" fmla="*/ 4346 w 10354"/>
                  <a:gd name="connsiteY1490" fmla="*/ 897 h 10000"/>
                  <a:gd name="connsiteX1491" fmla="*/ 4346 w 10354"/>
                  <a:gd name="connsiteY1491" fmla="*/ 897 h 10000"/>
                  <a:gd name="connsiteX1492" fmla="*/ 4313 w 10354"/>
                  <a:gd name="connsiteY1492" fmla="*/ 906 h 10000"/>
                  <a:gd name="connsiteX1493" fmla="*/ 4313 w 10354"/>
                  <a:gd name="connsiteY1493" fmla="*/ 906 h 10000"/>
                  <a:gd name="connsiteX1494" fmla="*/ 4313 w 10354"/>
                  <a:gd name="connsiteY1494" fmla="*/ 880 h 10000"/>
                  <a:gd name="connsiteX1495" fmla="*/ 4309 w 10354"/>
                  <a:gd name="connsiteY1495" fmla="*/ 897 h 10000"/>
                  <a:gd name="connsiteX1496" fmla="*/ 4295 w 10354"/>
                  <a:gd name="connsiteY1496" fmla="*/ 923 h 10000"/>
                  <a:gd name="connsiteX1497" fmla="*/ 4286 w 10354"/>
                  <a:gd name="connsiteY1497" fmla="*/ 897 h 10000"/>
                  <a:gd name="connsiteX1498" fmla="*/ 4281 w 10354"/>
                  <a:gd name="connsiteY1498" fmla="*/ 906 h 10000"/>
                  <a:gd name="connsiteX1499" fmla="*/ 4281 w 10354"/>
                  <a:gd name="connsiteY1499" fmla="*/ 940 h 10000"/>
                  <a:gd name="connsiteX1500" fmla="*/ 4286 w 10354"/>
                  <a:gd name="connsiteY1500" fmla="*/ 957 h 10000"/>
                  <a:gd name="connsiteX1501" fmla="*/ 4309 w 10354"/>
                  <a:gd name="connsiteY1501" fmla="*/ 932 h 10000"/>
                  <a:gd name="connsiteX1502" fmla="*/ 4313 w 10354"/>
                  <a:gd name="connsiteY1502" fmla="*/ 957 h 10000"/>
                  <a:gd name="connsiteX1503" fmla="*/ 4313 w 10354"/>
                  <a:gd name="connsiteY1503" fmla="*/ 966 h 10000"/>
                  <a:gd name="connsiteX1504" fmla="*/ 4323 w 10354"/>
                  <a:gd name="connsiteY1504" fmla="*/ 966 h 10000"/>
                  <a:gd name="connsiteX1505" fmla="*/ 4323 w 10354"/>
                  <a:gd name="connsiteY1505" fmla="*/ 940 h 10000"/>
                  <a:gd name="connsiteX1506" fmla="*/ 4327 w 10354"/>
                  <a:gd name="connsiteY1506" fmla="*/ 940 h 10000"/>
                  <a:gd name="connsiteX1507" fmla="*/ 4327 w 10354"/>
                  <a:gd name="connsiteY1507" fmla="*/ 957 h 10000"/>
                  <a:gd name="connsiteX1508" fmla="*/ 4327 w 10354"/>
                  <a:gd name="connsiteY1508" fmla="*/ 966 h 10000"/>
                  <a:gd name="connsiteX1509" fmla="*/ 4323 w 10354"/>
                  <a:gd name="connsiteY1509" fmla="*/ 991 h 10000"/>
                  <a:gd name="connsiteX1510" fmla="*/ 4207 w 10354"/>
                  <a:gd name="connsiteY1510" fmla="*/ 1060 h 10000"/>
                  <a:gd name="connsiteX1511" fmla="*/ 4207 w 10354"/>
                  <a:gd name="connsiteY1511" fmla="*/ 1060 h 10000"/>
                  <a:gd name="connsiteX1512" fmla="*/ 4203 w 10354"/>
                  <a:gd name="connsiteY1512" fmla="*/ 1068 h 10000"/>
                  <a:gd name="connsiteX1513" fmla="*/ 4203 w 10354"/>
                  <a:gd name="connsiteY1513" fmla="*/ 1094 h 10000"/>
                  <a:gd name="connsiteX1514" fmla="*/ 4203 w 10354"/>
                  <a:gd name="connsiteY1514" fmla="*/ 1094 h 10000"/>
                  <a:gd name="connsiteX1515" fmla="*/ 4189 w 10354"/>
                  <a:gd name="connsiteY1515" fmla="*/ 1094 h 10000"/>
                  <a:gd name="connsiteX1516" fmla="*/ 4166 w 10354"/>
                  <a:gd name="connsiteY1516" fmla="*/ 1103 h 10000"/>
                  <a:gd name="connsiteX1517" fmla="*/ 4152 w 10354"/>
                  <a:gd name="connsiteY1517" fmla="*/ 1094 h 10000"/>
                  <a:gd name="connsiteX1518" fmla="*/ 4134 w 10354"/>
                  <a:gd name="connsiteY1518" fmla="*/ 1120 h 10000"/>
                  <a:gd name="connsiteX1519" fmla="*/ 4106 w 10354"/>
                  <a:gd name="connsiteY1519" fmla="*/ 1120 h 10000"/>
                  <a:gd name="connsiteX1520" fmla="*/ 4092 w 10354"/>
                  <a:gd name="connsiteY1520" fmla="*/ 1154 h 10000"/>
                  <a:gd name="connsiteX1521" fmla="*/ 4106 w 10354"/>
                  <a:gd name="connsiteY1521" fmla="*/ 1171 h 10000"/>
                  <a:gd name="connsiteX1522" fmla="*/ 4078 w 10354"/>
                  <a:gd name="connsiteY1522" fmla="*/ 1179 h 10000"/>
                  <a:gd name="connsiteX1523" fmla="*/ 4065 w 10354"/>
                  <a:gd name="connsiteY1523" fmla="*/ 1205 h 10000"/>
                  <a:gd name="connsiteX1524" fmla="*/ 4046 w 10354"/>
                  <a:gd name="connsiteY1524" fmla="*/ 1179 h 10000"/>
                  <a:gd name="connsiteX1525" fmla="*/ 4041 w 10354"/>
                  <a:gd name="connsiteY1525" fmla="*/ 1197 h 10000"/>
                  <a:gd name="connsiteX1526" fmla="*/ 4028 w 10354"/>
                  <a:gd name="connsiteY1526" fmla="*/ 1205 h 10000"/>
                  <a:gd name="connsiteX1527" fmla="*/ 4028 w 10354"/>
                  <a:gd name="connsiteY1527" fmla="*/ 1205 h 10000"/>
                  <a:gd name="connsiteX1528" fmla="*/ 4032 w 10354"/>
                  <a:gd name="connsiteY1528" fmla="*/ 1205 h 10000"/>
                  <a:gd name="connsiteX1529" fmla="*/ 4032 w 10354"/>
                  <a:gd name="connsiteY1529" fmla="*/ 1231 h 10000"/>
                  <a:gd name="connsiteX1530" fmla="*/ 4014 w 10354"/>
                  <a:gd name="connsiteY1530" fmla="*/ 1239 h 10000"/>
                  <a:gd name="connsiteX1531" fmla="*/ 4014 w 10354"/>
                  <a:gd name="connsiteY1531" fmla="*/ 1256 h 10000"/>
                  <a:gd name="connsiteX1532" fmla="*/ 4000 w 10354"/>
                  <a:gd name="connsiteY1532" fmla="*/ 1265 h 10000"/>
                  <a:gd name="connsiteX1533" fmla="*/ 3986 w 10354"/>
                  <a:gd name="connsiteY1533" fmla="*/ 1308 h 10000"/>
                  <a:gd name="connsiteX1534" fmla="*/ 3972 w 10354"/>
                  <a:gd name="connsiteY1534" fmla="*/ 1316 h 10000"/>
                  <a:gd name="connsiteX1535" fmla="*/ 3972 w 10354"/>
                  <a:gd name="connsiteY1535" fmla="*/ 1325 h 10000"/>
                  <a:gd name="connsiteX1536" fmla="*/ 3972 w 10354"/>
                  <a:gd name="connsiteY1536" fmla="*/ 1342 h 10000"/>
                  <a:gd name="connsiteX1537" fmla="*/ 3968 w 10354"/>
                  <a:gd name="connsiteY1537" fmla="*/ 1350 h 10000"/>
                  <a:gd name="connsiteX1538" fmla="*/ 3954 w 10354"/>
                  <a:gd name="connsiteY1538" fmla="*/ 1368 h 10000"/>
                  <a:gd name="connsiteX1539" fmla="*/ 3945 w 10354"/>
                  <a:gd name="connsiteY1539" fmla="*/ 1350 h 10000"/>
                  <a:gd name="connsiteX1540" fmla="*/ 3908 w 10354"/>
                  <a:gd name="connsiteY1540" fmla="*/ 1342 h 10000"/>
                  <a:gd name="connsiteX1541" fmla="*/ 3894 w 10354"/>
                  <a:gd name="connsiteY1541" fmla="*/ 1368 h 10000"/>
                  <a:gd name="connsiteX1542" fmla="*/ 3922 w 10354"/>
                  <a:gd name="connsiteY1542" fmla="*/ 1393 h 10000"/>
                  <a:gd name="connsiteX1543" fmla="*/ 3945 w 10354"/>
                  <a:gd name="connsiteY1543" fmla="*/ 1393 h 10000"/>
                  <a:gd name="connsiteX1544" fmla="*/ 3940 w 10354"/>
                  <a:gd name="connsiteY1544" fmla="*/ 1419 h 10000"/>
                  <a:gd name="connsiteX1545" fmla="*/ 3931 w 10354"/>
                  <a:gd name="connsiteY1545" fmla="*/ 1427 h 10000"/>
                  <a:gd name="connsiteX1546" fmla="*/ 3926 w 10354"/>
                  <a:gd name="connsiteY1546" fmla="*/ 1427 h 10000"/>
                  <a:gd name="connsiteX1547" fmla="*/ 3922 w 10354"/>
                  <a:gd name="connsiteY1547" fmla="*/ 1419 h 10000"/>
                  <a:gd name="connsiteX1548" fmla="*/ 3912 w 10354"/>
                  <a:gd name="connsiteY1548" fmla="*/ 1427 h 10000"/>
                  <a:gd name="connsiteX1549" fmla="*/ 3912 w 10354"/>
                  <a:gd name="connsiteY1549" fmla="*/ 1444 h 10000"/>
                  <a:gd name="connsiteX1550" fmla="*/ 3894 w 10354"/>
                  <a:gd name="connsiteY1550" fmla="*/ 1513 h 10000"/>
                  <a:gd name="connsiteX1551" fmla="*/ 3885 w 10354"/>
                  <a:gd name="connsiteY1551" fmla="*/ 1513 h 10000"/>
                  <a:gd name="connsiteX1552" fmla="*/ 3880 w 10354"/>
                  <a:gd name="connsiteY1552" fmla="*/ 1538 h 10000"/>
                  <a:gd name="connsiteX1553" fmla="*/ 3885 w 10354"/>
                  <a:gd name="connsiteY1553" fmla="*/ 1564 h 10000"/>
                  <a:gd name="connsiteX1554" fmla="*/ 3880 w 10354"/>
                  <a:gd name="connsiteY1554" fmla="*/ 1581 h 10000"/>
                  <a:gd name="connsiteX1555" fmla="*/ 3871 w 10354"/>
                  <a:gd name="connsiteY1555" fmla="*/ 1538 h 10000"/>
                  <a:gd name="connsiteX1556" fmla="*/ 3853 w 10354"/>
                  <a:gd name="connsiteY1556" fmla="*/ 1530 h 10000"/>
                  <a:gd name="connsiteX1557" fmla="*/ 3853 w 10354"/>
                  <a:gd name="connsiteY1557" fmla="*/ 1504 h 10000"/>
                  <a:gd name="connsiteX1558" fmla="*/ 3834 w 10354"/>
                  <a:gd name="connsiteY1558" fmla="*/ 1487 h 10000"/>
                  <a:gd name="connsiteX1559" fmla="*/ 3834 w 10354"/>
                  <a:gd name="connsiteY1559" fmla="*/ 1487 h 10000"/>
                  <a:gd name="connsiteX1560" fmla="*/ 3839 w 10354"/>
                  <a:gd name="connsiteY1560" fmla="*/ 1513 h 10000"/>
                  <a:gd name="connsiteX1561" fmla="*/ 3820 w 10354"/>
                  <a:gd name="connsiteY1561" fmla="*/ 1538 h 10000"/>
                  <a:gd name="connsiteX1562" fmla="*/ 3820 w 10354"/>
                  <a:gd name="connsiteY1562" fmla="*/ 1556 h 10000"/>
                  <a:gd name="connsiteX1563" fmla="*/ 3820 w 10354"/>
                  <a:gd name="connsiteY1563" fmla="*/ 1564 h 10000"/>
                  <a:gd name="connsiteX1564" fmla="*/ 3820 w 10354"/>
                  <a:gd name="connsiteY1564" fmla="*/ 1581 h 10000"/>
                  <a:gd name="connsiteX1565" fmla="*/ 3853 w 10354"/>
                  <a:gd name="connsiteY1565" fmla="*/ 1581 h 10000"/>
                  <a:gd name="connsiteX1566" fmla="*/ 3857 w 10354"/>
                  <a:gd name="connsiteY1566" fmla="*/ 1598 h 10000"/>
                  <a:gd name="connsiteX1567" fmla="*/ 3880 w 10354"/>
                  <a:gd name="connsiteY1567" fmla="*/ 1615 h 10000"/>
                  <a:gd name="connsiteX1568" fmla="*/ 3871 w 10354"/>
                  <a:gd name="connsiteY1568" fmla="*/ 1615 h 10000"/>
                  <a:gd name="connsiteX1569" fmla="*/ 3871 w 10354"/>
                  <a:gd name="connsiteY1569" fmla="*/ 1641 h 10000"/>
                  <a:gd name="connsiteX1570" fmla="*/ 3880 w 10354"/>
                  <a:gd name="connsiteY1570" fmla="*/ 1641 h 10000"/>
                  <a:gd name="connsiteX1571" fmla="*/ 3871 w 10354"/>
                  <a:gd name="connsiteY1571" fmla="*/ 1650 h 10000"/>
                  <a:gd name="connsiteX1572" fmla="*/ 3857 w 10354"/>
                  <a:gd name="connsiteY1572" fmla="*/ 1650 h 10000"/>
                  <a:gd name="connsiteX1573" fmla="*/ 3853 w 10354"/>
                  <a:gd name="connsiteY1573" fmla="*/ 1650 h 10000"/>
                  <a:gd name="connsiteX1574" fmla="*/ 3839 w 10354"/>
                  <a:gd name="connsiteY1574" fmla="*/ 1667 h 10000"/>
                  <a:gd name="connsiteX1575" fmla="*/ 3848 w 10354"/>
                  <a:gd name="connsiteY1575" fmla="*/ 1692 h 10000"/>
                  <a:gd name="connsiteX1576" fmla="*/ 3834 w 10354"/>
                  <a:gd name="connsiteY1576" fmla="*/ 1692 h 10000"/>
                  <a:gd name="connsiteX1577" fmla="*/ 3825 w 10354"/>
                  <a:gd name="connsiteY1577" fmla="*/ 1692 h 10000"/>
                  <a:gd name="connsiteX1578" fmla="*/ 3825 w 10354"/>
                  <a:gd name="connsiteY1578" fmla="*/ 1718 h 10000"/>
                  <a:gd name="connsiteX1579" fmla="*/ 3839 w 10354"/>
                  <a:gd name="connsiteY1579" fmla="*/ 1726 h 10000"/>
                  <a:gd name="connsiteX1580" fmla="*/ 3880 w 10354"/>
                  <a:gd name="connsiteY1580" fmla="*/ 1752 h 10000"/>
                  <a:gd name="connsiteX1581" fmla="*/ 3894 w 10354"/>
                  <a:gd name="connsiteY1581" fmla="*/ 1829 h 10000"/>
                  <a:gd name="connsiteX1582" fmla="*/ 3899 w 10354"/>
                  <a:gd name="connsiteY1582" fmla="*/ 1838 h 10000"/>
                  <a:gd name="connsiteX1583" fmla="*/ 3894 w 10354"/>
                  <a:gd name="connsiteY1583" fmla="*/ 1855 h 10000"/>
                  <a:gd name="connsiteX1584" fmla="*/ 3880 w 10354"/>
                  <a:gd name="connsiteY1584" fmla="*/ 1838 h 10000"/>
                  <a:gd name="connsiteX1585" fmla="*/ 3880 w 10354"/>
                  <a:gd name="connsiteY1585" fmla="*/ 1855 h 10000"/>
                  <a:gd name="connsiteX1586" fmla="*/ 3880 w 10354"/>
                  <a:gd name="connsiteY1586" fmla="*/ 1863 h 10000"/>
                  <a:gd name="connsiteX1587" fmla="*/ 3871 w 10354"/>
                  <a:gd name="connsiteY1587" fmla="*/ 1872 h 10000"/>
                  <a:gd name="connsiteX1588" fmla="*/ 3880 w 10354"/>
                  <a:gd name="connsiteY1588" fmla="*/ 1889 h 10000"/>
                  <a:gd name="connsiteX1589" fmla="*/ 3885 w 10354"/>
                  <a:gd name="connsiteY1589" fmla="*/ 1889 h 10000"/>
                  <a:gd name="connsiteX1590" fmla="*/ 3880 w 10354"/>
                  <a:gd name="connsiteY1590" fmla="*/ 1897 h 10000"/>
                  <a:gd name="connsiteX1591" fmla="*/ 3871 w 10354"/>
                  <a:gd name="connsiteY1591" fmla="*/ 1915 h 10000"/>
                  <a:gd name="connsiteX1592" fmla="*/ 3848 w 10354"/>
                  <a:gd name="connsiteY1592" fmla="*/ 1923 h 10000"/>
                  <a:gd name="connsiteX1593" fmla="*/ 3825 w 10354"/>
                  <a:gd name="connsiteY1593" fmla="*/ 1940 h 10000"/>
                  <a:gd name="connsiteX1594" fmla="*/ 3811 w 10354"/>
                  <a:gd name="connsiteY1594" fmla="*/ 1940 h 10000"/>
                  <a:gd name="connsiteX1595" fmla="*/ 3806 w 10354"/>
                  <a:gd name="connsiteY1595" fmla="*/ 1949 h 10000"/>
                  <a:gd name="connsiteX1596" fmla="*/ 3797 w 10354"/>
                  <a:gd name="connsiteY1596" fmla="*/ 1966 h 10000"/>
                  <a:gd name="connsiteX1597" fmla="*/ 3788 w 10354"/>
                  <a:gd name="connsiteY1597" fmla="*/ 1991 h 10000"/>
                  <a:gd name="connsiteX1598" fmla="*/ 3765 w 10354"/>
                  <a:gd name="connsiteY1598" fmla="*/ 1974 h 10000"/>
                  <a:gd name="connsiteX1599" fmla="*/ 3760 w 10354"/>
                  <a:gd name="connsiteY1599" fmla="*/ 1966 h 10000"/>
                  <a:gd name="connsiteX1600" fmla="*/ 3760 w 10354"/>
                  <a:gd name="connsiteY1600" fmla="*/ 1966 h 10000"/>
                  <a:gd name="connsiteX1601" fmla="*/ 3631 w 10354"/>
                  <a:gd name="connsiteY1601" fmla="*/ 2009 h 10000"/>
                  <a:gd name="connsiteX1602" fmla="*/ 3618 w 10354"/>
                  <a:gd name="connsiteY1602" fmla="*/ 2000 h 10000"/>
                  <a:gd name="connsiteX1603" fmla="*/ 3599 w 10354"/>
                  <a:gd name="connsiteY1603" fmla="*/ 2009 h 10000"/>
                  <a:gd name="connsiteX1604" fmla="*/ 3571 w 10354"/>
                  <a:gd name="connsiteY1604" fmla="*/ 2000 h 10000"/>
                  <a:gd name="connsiteX1605" fmla="*/ 3530 w 10354"/>
                  <a:gd name="connsiteY1605" fmla="*/ 2026 h 10000"/>
                  <a:gd name="connsiteX1606" fmla="*/ 3530 w 10354"/>
                  <a:gd name="connsiteY1606" fmla="*/ 2034 h 10000"/>
                  <a:gd name="connsiteX1607" fmla="*/ 3525 w 10354"/>
                  <a:gd name="connsiteY1607" fmla="*/ 2051 h 10000"/>
                  <a:gd name="connsiteX1608" fmla="*/ 3512 w 10354"/>
                  <a:gd name="connsiteY1608" fmla="*/ 2034 h 10000"/>
                  <a:gd name="connsiteX1609" fmla="*/ 3507 w 10354"/>
                  <a:gd name="connsiteY1609" fmla="*/ 2034 h 10000"/>
                  <a:gd name="connsiteX1610" fmla="*/ 3498 w 10354"/>
                  <a:gd name="connsiteY1610" fmla="*/ 2051 h 10000"/>
                  <a:gd name="connsiteX1611" fmla="*/ 3484 w 10354"/>
                  <a:gd name="connsiteY1611" fmla="*/ 2060 h 10000"/>
                  <a:gd name="connsiteX1612" fmla="*/ 3484 w 10354"/>
                  <a:gd name="connsiteY1612" fmla="*/ 2085 h 10000"/>
                  <a:gd name="connsiteX1613" fmla="*/ 3484 w 10354"/>
                  <a:gd name="connsiteY1613" fmla="*/ 2103 h 10000"/>
                  <a:gd name="connsiteX1614" fmla="*/ 3493 w 10354"/>
                  <a:gd name="connsiteY1614" fmla="*/ 2103 h 10000"/>
                  <a:gd name="connsiteX1615" fmla="*/ 3493 w 10354"/>
                  <a:gd name="connsiteY1615" fmla="*/ 2085 h 10000"/>
                  <a:gd name="connsiteX1616" fmla="*/ 3498 w 10354"/>
                  <a:gd name="connsiteY1616" fmla="*/ 2085 h 10000"/>
                  <a:gd name="connsiteX1617" fmla="*/ 3498 w 10354"/>
                  <a:gd name="connsiteY1617" fmla="*/ 2111 h 10000"/>
                  <a:gd name="connsiteX1618" fmla="*/ 3484 w 10354"/>
                  <a:gd name="connsiteY1618" fmla="*/ 2120 h 10000"/>
                  <a:gd name="connsiteX1619" fmla="*/ 3484 w 10354"/>
                  <a:gd name="connsiteY1619" fmla="*/ 2145 h 10000"/>
                  <a:gd name="connsiteX1620" fmla="*/ 3470 w 10354"/>
                  <a:gd name="connsiteY1620" fmla="*/ 2137 h 10000"/>
                  <a:gd name="connsiteX1621" fmla="*/ 3465 w 10354"/>
                  <a:gd name="connsiteY1621" fmla="*/ 2145 h 10000"/>
                  <a:gd name="connsiteX1622" fmla="*/ 3470 w 10354"/>
                  <a:gd name="connsiteY1622" fmla="*/ 2171 h 10000"/>
                  <a:gd name="connsiteX1623" fmla="*/ 3484 w 10354"/>
                  <a:gd name="connsiteY1623" fmla="*/ 2171 h 10000"/>
                  <a:gd name="connsiteX1624" fmla="*/ 3484 w 10354"/>
                  <a:gd name="connsiteY1624" fmla="*/ 2197 h 10000"/>
                  <a:gd name="connsiteX1625" fmla="*/ 3465 w 10354"/>
                  <a:gd name="connsiteY1625" fmla="*/ 2214 h 10000"/>
                  <a:gd name="connsiteX1626" fmla="*/ 3493 w 10354"/>
                  <a:gd name="connsiteY1626" fmla="*/ 2248 h 10000"/>
                  <a:gd name="connsiteX1627" fmla="*/ 3484 w 10354"/>
                  <a:gd name="connsiteY1627" fmla="*/ 2256 h 10000"/>
                  <a:gd name="connsiteX1628" fmla="*/ 3498 w 10354"/>
                  <a:gd name="connsiteY1628" fmla="*/ 2274 h 10000"/>
                  <a:gd name="connsiteX1629" fmla="*/ 3498 w 10354"/>
                  <a:gd name="connsiteY1629" fmla="*/ 2256 h 10000"/>
                  <a:gd name="connsiteX1630" fmla="*/ 3507 w 10354"/>
                  <a:gd name="connsiteY1630" fmla="*/ 2308 h 10000"/>
                  <a:gd name="connsiteX1631" fmla="*/ 3512 w 10354"/>
                  <a:gd name="connsiteY1631" fmla="*/ 2325 h 10000"/>
                  <a:gd name="connsiteX1632" fmla="*/ 3507 w 10354"/>
                  <a:gd name="connsiteY1632" fmla="*/ 2333 h 10000"/>
                  <a:gd name="connsiteX1633" fmla="*/ 3507 w 10354"/>
                  <a:gd name="connsiteY1633" fmla="*/ 2359 h 10000"/>
                  <a:gd name="connsiteX1634" fmla="*/ 3507 w 10354"/>
                  <a:gd name="connsiteY1634" fmla="*/ 2376 h 10000"/>
                  <a:gd name="connsiteX1635" fmla="*/ 3498 w 10354"/>
                  <a:gd name="connsiteY1635" fmla="*/ 2410 h 10000"/>
                  <a:gd name="connsiteX1636" fmla="*/ 3498 w 10354"/>
                  <a:gd name="connsiteY1636" fmla="*/ 2436 h 10000"/>
                  <a:gd name="connsiteX1637" fmla="*/ 3507 w 10354"/>
                  <a:gd name="connsiteY1637" fmla="*/ 2462 h 10000"/>
                  <a:gd name="connsiteX1638" fmla="*/ 3507 w 10354"/>
                  <a:gd name="connsiteY1638" fmla="*/ 2496 h 10000"/>
                  <a:gd name="connsiteX1639" fmla="*/ 3512 w 10354"/>
                  <a:gd name="connsiteY1639" fmla="*/ 2521 h 10000"/>
                  <a:gd name="connsiteX1640" fmla="*/ 3525 w 10354"/>
                  <a:gd name="connsiteY1640" fmla="*/ 2556 h 10000"/>
                  <a:gd name="connsiteX1641" fmla="*/ 3571 w 10354"/>
                  <a:gd name="connsiteY1641" fmla="*/ 2573 h 10000"/>
                  <a:gd name="connsiteX1642" fmla="*/ 3590 w 10354"/>
                  <a:gd name="connsiteY1642" fmla="*/ 2598 h 10000"/>
                  <a:gd name="connsiteX1643" fmla="*/ 3599 w 10354"/>
                  <a:gd name="connsiteY1643" fmla="*/ 2598 h 10000"/>
                  <a:gd name="connsiteX1644" fmla="*/ 3604 w 10354"/>
                  <a:gd name="connsiteY1644" fmla="*/ 2632 h 10000"/>
                  <a:gd name="connsiteX1645" fmla="*/ 3599 w 10354"/>
                  <a:gd name="connsiteY1645" fmla="*/ 2658 h 10000"/>
                  <a:gd name="connsiteX1646" fmla="*/ 3590 w 10354"/>
                  <a:gd name="connsiteY1646" fmla="*/ 2667 h 10000"/>
                  <a:gd name="connsiteX1647" fmla="*/ 3604 w 10354"/>
                  <a:gd name="connsiteY1647" fmla="*/ 2667 h 10000"/>
                  <a:gd name="connsiteX1648" fmla="*/ 3613 w 10354"/>
                  <a:gd name="connsiteY1648" fmla="*/ 2692 h 10000"/>
                  <a:gd name="connsiteX1649" fmla="*/ 3627 w 10354"/>
                  <a:gd name="connsiteY1649" fmla="*/ 2735 h 10000"/>
                  <a:gd name="connsiteX1650" fmla="*/ 3631 w 10354"/>
                  <a:gd name="connsiteY1650" fmla="*/ 2744 h 10000"/>
                  <a:gd name="connsiteX1651" fmla="*/ 3659 w 10354"/>
                  <a:gd name="connsiteY1651" fmla="*/ 2761 h 10000"/>
                  <a:gd name="connsiteX1652" fmla="*/ 3673 w 10354"/>
                  <a:gd name="connsiteY1652" fmla="*/ 2769 h 10000"/>
                  <a:gd name="connsiteX1653" fmla="*/ 3673 w 10354"/>
                  <a:gd name="connsiteY1653" fmla="*/ 2761 h 10000"/>
                  <a:gd name="connsiteX1654" fmla="*/ 3687 w 10354"/>
                  <a:gd name="connsiteY1654" fmla="*/ 2829 h 10000"/>
                  <a:gd name="connsiteX1655" fmla="*/ 3677 w 10354"/>
                  <a:gd name="connsiteY1655" fmla="*/ 2897 h 10000"/>
                  <a:gd name="connsiteX1656" fmla="*/ 3673 w 10354"/>
                  <a:gd name="connsiteY1656" fmla="*/ 2915 h 10000"/>
                  <a:gd name="connsiteX1657" fmla="*/ 3664 w 10354"/>
                  <a:gd name="connsiteY1657" fmla="*/ 2957 h 10000"/>
                  <a:gd name="connsiteX1658" fmla="*/ 3659 w 10354"/>
                  <a:gd name="connsiteY1658" fmla="*/ 2983 h 10000"/>
                  <a:gd name="connsiteX1659" fmla="*/ 3664 w 10354"/>
                  <a:gd name="connsiteY1659" fmla="*/ 3017 h 10000"/>
                  <a:gd name="connsiteX1660" fmla="*/ 3659 w 10354"/>
                  <a:gd name="connsiteY1660" fmla="*/ 3043 h 10000"/>
                  <a:gd name="connsiteX1661" fmla="*/ 3677 w 10354"/>
                  <a:gd name="connsiteY1661" fmla="*/ 3094 h 10000"/>
                  <a:gd name="connsiteX1662" fmla="*/ 3691 w 10354"/>
                  <a:gd name="connsiteY1662" fmla="*/ 3282 h 10000"/>
                  <a:gd name="connsiteX1663" fmla="*/ 3691 w 10354"/>
                  <a:gd name="connsiteY1663" fmla="*/ 3308 h 10000"/>
                  <a:gd name="connsiteX1664" fmla="*/ 3677 w 10354"/>
                  <a:gd name="connsiteY1664" fmla="*/ 3342 h 10000"/>
                  <a:gd name="connsiteX1665" fmla="*/ 3664 w 10354"/>
                  <a:gd name="connsiteY1665" fmla="*/ 3342 h 10000"/>
                  <a:gd name="connsiteX1666" fmla="*/ 3650 w 10354"/>
                  <a:gd name="connsiteY1666" fmla="*/ 3342 h 10000"/>
                  <a:gd name="connsiteX1667" fmla="*/ 3650 w 10354"/>
                  <a:gd name="connsiteY1667" fmla="*/ 3350 h 10000"/>
                  <a:gd name="connsiteX1668" fmla="*/ 3659 w 10354"/>
                  <a:gd name="connsiteY1668" fmla="*/ 3402 h 10000"/>
                  <a:gd name="connsiteX1669" fmla="*/ 3659 w 10354"/>
                  <a:gd name="connsiteY1669" fmla="*/ 3419 h 10000"/>
                  <a:gd name="connsiteX1670" fmla="*/ 3631 w 10354"/>
                  <a:gd name="connsiteY1670" fmla="*/ 3402 h 10000"/>
                  <a:gd name="connsiteX1671" fmla="*/ 3604 w 10354"/>
                  <a:gd name="connsiteY1671" fmla="*/ 3393 h 10000"/>
                  <a:gd name="connsiteX1672" fmla="*/ 3599 w 10354"/>
                  <a:gd name="connsiteY1672" fmla="*/ 3368 h 10000"/>
                  <a:gd name="connsiteX1673" fmla="*/ 3590 w 10354"/>
                  <a:gd name="connsiteY1673" fmla="*/ 3239 h 10000"/>
                  <a:gd name="connsiteX1674" fmla="*/ 3599 w 10354"/>
                  <a:gd name="connsiteY1674" fmla="*/ 3179 h 10000"/>
                  <a:gd name="connsiteX1675" fmla="*/ 3599 w 10354"/>
                  <a:gd name="connsiteY1675" fmla="*/ 3171 h 10000"/>
                  <a:gd name="connsiteX1676" fmla="*/ 3599 w 10354"/>
                  <a:gd name="connsiteY1676" fmla="*/ 3009 h 10000"/>
                  <a:gd name="connsiteX1677" fmla="*/ 3604 w 10354"/>
                  <a:gd name="connsiteY1677" fmla="*/ 2983 h 10000"/>
                  <a:gd name="connsiteX1678" fmla="*/ 3645 w 10354"/>
                  <a:gd name="connsiteY1678" fmla="*/ 2932 h 10000"/>
                  <a:gd name="connsiteX1679" fmla="*/ 3650 w 10354"/>
                  <a:gd name="connsiteY1679" fmla="*/ 2872 h 10000"/>
                  <a:gd name="connsiteX1680" fmla="*/ 3659 w 10354"/>
                  <a:gd name="connsiteY1680" fmla="*/ 2855 h 10000"/>
                  <a:gd name="connsiteX1681" fmla="*/ 3659 w 10354"/>
                  <a:gd name="connsiteY1681" fmla="*/ 2821 h 10000"/>
                  <a:gd name="connsiteX1682" fmla="*/ 3631 w 10354"/>
                  <a:gd name="connsiteY1682" fmla="*/ 2795 h 10000"/>
                  <a:gd name="connsiteX1683" fmla="*/ 3567 w 10354"/>
                  <a:gd name="connsiteY1683" fmla="*/ 2821 h 10000"/>
                  <a:gd name="connsiteX1684" fmla="*/ 3544 w 10354"/>
                  <a:gd name="connsiteY1684" fmla="*/ 2795 h 10000"/>
                  <a:gd name="connsiteX1685" fmla="*/ 3530 w 10354"/>
                  <a:gd name="connsiteY1685" fmla="*/ 2769 h 10000"/>
                  <a:gd name="connsiteX1686" fmla="*/ 3530 w 10354"/>
                  <a:gd name="connsiteY1686" fmla="*/ 2786 h 10000"/>
                  <a:gd name="connsiteX1687" fmla="*/ 3498 w 10354"/>
                  <a:gd name="connsiteY1687" fmla="*/ 2692 h 10000"/>
                  <a:gd name="connsiteX1688" fmla="*/ 3498 w 10354"/>
                  <a:gd name="connsiteY1688" fmla="*/ 2667 h 10000"/>
                  <a:gd name="connsiteX1689" fmla="*/ 3442 w 10354"/>
                  <a:gd name="connsiteY1689" fmla="*/ 2607 h 10000"/>
                  <a:gd name="connsiteX1690" fmla="*/ 3433 w 10354"/>
                  <a:gd name="connsiteY1690" fmla="*/ 2581 h 10000"/>
                  <a:gd name="connsiteX1691" fmla="*/ 3396 w 10354"/>
                  <a:gd name="connsiteY1691" fmla="*/ 2556 h 10000"/>
                  <a:gd name="connsiteX1692" fmla="*/ 3318 w 10354"/>
                  <a:gd name="connsiteY1692" fmla="*/ 2556 h 10000"/>
                  <a:gd name="connsiteX1693" fmla="*/ 3304 w 10354"/>
                  <a:gd name="connsiteY1693" fmla="*/ 2607 h 10000"/>
                  <a:gd name="connsiteX1694" fmla="*/ 3276 w 10354"/>
                  <a:gd name="connsiteY1694" fmla="*/ 2632 h 10000"/>
                  <a:gd name="connsiteX1695" fmla="*/ 3272 w 10354"/>
                  <a:gd name="connsiteY1695" fmla="*/ 2667 h 10000"/>
                  <a:gd name="connsiteX1696" fmla="*/ 3304 w 10354"/>
                  <a:gd name="connsiteY1696" fmla="*/ 2667 h 10000"/>
                  <a:gd name="connsiteX1697" fmla="*/ 3323 w 10354"/>
                  <a:gd name="connsiteY1697" fmla="*/ 2692 h 10000"/>
                  <a:gd name="connsiteX1698" fmla="*/ 3318 w 10354"/>
                  <a:gd name="connsiteY1698" fmla="*/ 2735 h 10000"/>
                  <a:gd name="connsiteX1699" fmla="*/ 3304 w 10354"/>
                  <a:gd name="connsiteY1699" fmla="*/ 2761 h 10000"/>
                  <a:gd name="connsiteX1700" fmla="*/ 3276 w 10354"/>
                  <a:gd name="connsiteY1700" fmla="*/ 2769 h 10000"/>
                  <a:gd name="connsiteX1701" fmla="*/ 3263 w 10354"/>
                  <a:gd name="connsiteY1701" fmla="*/ 2795 h 10000"/>
                  <a:gd name="connsiteX1702" fmla="*/ 3235 w 10354"/>
                  <a:gd name="connsiteY1702" fmla="*/ 2803 h 10000"/>
                  <a:gd name="connsiteX1703" fmla="*/ 3235 w 10354"/>
                  <a:gd name="connsiteY1703" fmla="*/ 2786 h 10000"/>
                  <a:gd name="connsiteX1704" fmla="*/ 3212 w 10354"/>
                  <a:gd name="connsiteY1704" fmla="*/ 2709 h 10000"/>
                  <a:gd name="connsiteX1705" fmla="*/ 3198 w 10354"/>
                  <a:gd name="connsiteY1705" fmla="*/ 2709 h 10000"/>
                  <a:gd name="connsiteX1706" fmla="*/ 3184 w 10354"/>
                  <a:gd name="connsiteY1706" fmla="*/ 2735 h 10000"/>
                  <a:gd name="connsiteX1707" fmla="*/ 3189 w 10354"/>
                  <a:gd name="connsiteY1707" fmla="*/ 2761 h 10000"/>
                  <a:gd name="connsiteX1708" fmla="*/ 3203 w 10354"/>
                  <a:gd name="connsiteY1708" fmla="*/ 2855 h 10000"/>
                  <a:gd name="connsiteX1709" fmla="*/ 3212 w 10354"/>
                  <a:gd name="connsiteY1709" fmla="*/ 2872 h 10000"/>
                  <a:gd name="connsiteX1710" fmla="*/ 3235 w 10354"/>
                  <a:gd name="connsiteY1710" fmla="*/ 2906 h 10000"/>
                  <a:gd name="connsiteX1711" fmla="*/ 3258 w 10354"/>
                  <a:gd name="connsiteY1711" fmla="*/ 2915 h 10000"/>
                  <a:gd name="connsiteX1712" fmla="*/ 3272 w 10354"/>
                  <a:gd name="connsiteY1712" fmla="*/ 2957 h 10000"/>
                  <a:gd name="connsiteX1713" fmla="*/ 3276 w 10354"/>
                  <a:gd name="connsiteY1713" fmla="*/ 2957 h 10000"/>
                  <a:gd name="connsiteX1714" fmla="*/ 3286 w 10354"/>
                  <a:gd name="connsiteY1714" fmla="*/ 2966 h 10000"/>
                  <a:gd name="connsiteX1715" fmla="*/ 3300 w 10354"/>
                  <a:gd name="connsiteY1715" fmla="*/ 2957 h 10000"/>
                  <a:gd name="connsiteX1716" fmla="*/ 3309 w 10354"/>
                  <a:gd name="connsiteY1716" fmla="*/ 2932 h 10000"/>
                  <a:gd name="connsiteX1717" fmla="*/ 3304 w 10354"/>
                  <a:gd name="connsiteY1717" fmla="*/ 2966 h 10000"/>
                  <a:gd name="connsiteX1718" fmla="*/ 3309 w 10354"/>
                  <a:gd name="connsiteY1718" fmla="*/ 2983 h 10000"/>
                  <a:gd name="connsiteX1719" fmla="*/ 3323 w 10354"/>
                  <a:gd name="connsiteY1719" fmla="*/ 2966 h 10000"/>
                  <a:gd name="connsiteX1720" fmla="*/ 3323 w 10354"/>
                  <a:gd name="connsiteY1720" fmla="*/ 3043 h 10000"/>
                  <a:gd name="connsiteX1721" fmla="*/ 3346 w 10354"/>
                  <a:gd name="connsiteY1721" fmla="*/ 3068 h 10000"/>
                  <a:gd name="connsiteX1722" fmla="*/ 3346 w 10354"/>
                  <a:gd name="connsiteY1722" fmla="*/ 3094 h 10000"/>
                  <a:gd name="connsiteX1723" fmla="*/ 3323 w 10354"/>
                  <a:gd name="connsiteY1723" fmla="*/ 3094 h 10000"/>
                  <a:gd name="connsiteX1724" fmla="*/ 3309 w 10354"/>
                  <a:gd name="connsiteY1724" fmla="*/ 3077 h 10000"/>
                  <a:gd name="connsiteX1725" fmla="*/ 3304 w 10354"/>
                  <a:gd name="connsiteY1725" fmla="*/ 3051 h 10000"/>
                  <a:gd name="connsiteX1726" fmla="*/ 3300 w 10354"/>
                  <a:gd name="connsiteY1726" fmla="*/ 3043 h 10000"/>
                  <a:gd name="connsiteX1727" fmla="*/ 3286 w 10354"/>
                  <a:gd name="connsiteY1727" fmla="*/ 3017 h 10000"/>
                  <a:gd name="connsiteX1728" fmla="*/ 3152 w 10354"/>
                  <a:gd name="connsiteY1728" fmla="*/ 2966 h 10000"/>
                  <a:gd name="connsiteX1729" fmla="*/ 3129 w 10354"/>
                  <a:gd name="connsiteY1729" fmla="*/ 2915 h 10000"/>
                  <a:gd name="connsiteX1730" fmla="*/ 3129 w 10354"/>
                  <a:gd name="connsiteY1730" fmla="*/ 2906 h 10000"/>
                  <a:gd name="connsiteX1731" fmla="*/ 3152 w 10354"/>
                  <a:gd name="connsiteY1731" fmla="*/ 2906 h 10000"/>
                  <a:gd name="connsiteX1732" fmla="*/ 3152 w 10354"/>
                  <a:gd name="connsiteY1732" fmla="*/ 2846 h 10000"/>
                  <a:gd name="connsiteX1733" fmla="*/ 3138 w 10354"/>
                  <a:gd name="connsiteY1733" fmla="*/ 2795 h 10000"/>
                  <a:gd name="connsiteX1734" fmla="*/ 3138 w 10354"/>
                  <a:gd name="connsiteY1734" fmla="*/ 2769 h 10000"/>
                  <a:gd name="connsiteX1735" fmla="*/ 3143 w 10354"/>
                  <a:gd name="connsiteY1735" fmla="*/ 2718 h 10000"/>
                  <a:gd name="connsiteX1736" fmla="*/ 3129 w 10354"/>
                  <a:gd name="connsiteY1736" fmla="*/ 2692 h 10000"/>
                  <a:gd name="connsiteX1737" fmla="*/ 3143 w 10354"/>
                  <a:gd name="connsiteY1737" fmla="*/ 2667 h 10000"/>
                  <a:gd name="connsiteX1738" fmla="*/ 3157 w 10354"/>
                  <a:gd name="connsiteY1738" fmla="*/ 2581 h 10000"/>
                  <a:gd name="connsiteX1739" fmla="*/ 3143 w 10354"/>
                  <a:gd name="connsiteY1739" fmla="*/ 2496 h 10000"/>
                  <a:gd name="connsiteX1740" fmla="*/ 3157 w 10354"/>
                  <a:gd name="connsiteY1740" fmla="*/ 2487 h 10000"/>
                  <a:gd name="connsiteX1741" fmla="*/ 3143 w 10354"/>
                  <a:gd name="connsiteY1741" fmla="*/ 2444 h 10000"/>
                  <a:gd name="connsiteX1742" fmla="*/ 3143 w 10354"/>
                  <a:gd name="connsiteY1742" fmla="*/ 2419 h 10000"/>
                  <a:gd name="connsiteX1743" fmla="*/ 3143 w 10354"/>
                  <a:gd name="connsiteY1743" fmla="*/ 2410 h 10000"/>
                  <a:gd name="connsiteX1744" fmla="*/ 3124 w 10354"/>
                  <a:gd name="connsiteY1744" fmla="*/ 2376 h 10000"/>
                  <a:gd name="connsiteX1745" fmla="*/ 3115 w 10354"/>
                  <a:gd name="connsiteY1745" fmla="*/ 2350 h 10000"/>
                  <a:gd name="connsiteX1746" fmla="*/ 3101 w 10354"/>
                  <a:gd name="connsiteY1746" fmla="*/ 2359 h 10000"/>
                  <a:gd name="connsiteX1747" fmla="*/ 3115 w 10354"/>
                  <a:gd name="connsiteY1747" fmla="*/ 2581 h 10000"/>
                  <a:gd name="connsiteX1748" fmla="*/ 3111 w 10354"/>
                  <a:gd name="connsiteY1748" fmla="*/ 2624 h 10000"/>
                  <a:gd name="connsiteX1749" fmla="*/ 3009 w 10354"/>
                  <a:gd name="connsiteY1749" fmla="*/ 2761 h 10000"/>
                  <a:gd name="connsiteX1750" fmla="*/ 3009 w 10354"/>
                  <a:gd name="connsiteY1750" fmla="*/ 2803 h 10000"/>
                  <a:gd name="connsiteX1751" fmla="*/ 3005 w 10354"/>
                  <a:gd name="connsiteY1751" fmla="*/ 2829 h 10000"/>
                  <a:gd name="connsiteX1752" fmla="*/ 2982 w 10354"/>
                  <a:gd name="connsiteY1752" fmla="*/ 2872 h 10000"/>
                  <a:gd name="connsiteX1753" fmla="*/ 2982 w 10354"/>
                  <a:gd name="connsiteY1753" fmla="*/ 2880 h 10000"/>
                  <a:gd name="connsiteX1754" fmla="*/ 3037 w 10354"/>
                  <a:gd name="connsiteY1754" fmla="*/ 3034 h 10000"/>
                  <a:gd name="connsiteX1755" fmla="*/ 3041 w 10354"/>
                  <a:gd name="connsiteY1755" fmla="*/ 3103 h 10000"/>
                  <a:gd name="connsiteX1756" fmla="*/ 3069 w 10354"/>
                  <a:gd name="connsiteY1756" fmla="*/ 3188 h 10000"/>
                  <a:gd name="connsiteX1757" fmla="*/ 3055 w 10354"/>
                  <a:gd name="connsiteY1757" fmla="*/ 3325 h 10000"/>
                  <a:gd name="connsiteX1758" fmla="*/ 3037 w 10354"/>
                  <a:gd name="connsiteY1758" fmla="*/ 3368 h 10000"/>
                  <a:gd name="connsiteX1759" fmla="*/ 3037 w 10354"/>
                  <a:gd name="connsiteY1759" fmla="*/ 3444 h 10000"/>
                  <a:gd name="connsiteX1760" fmla="*/ 3028 w 10354"/>
                  <a:gd name="connsiteY1760" fmla="*/ 3453 h 10000"/>
                  <a:gd name="connsiteX1761" fmla="*/ 3023 w 10354"/>
                  <a:gd name="connsiteY1761" fmla="*/ 3530 h 10000"/>
                  <a:gd name="connsiteX1762" fmla="*/ 3051 w 10354"/>
                  <a:gd name="connsiteY1762" fmla="*/ 3624 h 10000"/>
                  <a:gd name="connsiteX1763" fmla="*/ 3037 w 10354"/>
                  <a:gd name="connsiteY1763" fmla="*/ 3718 h 10000"/>
                  <a:gd name="connsiteX1764" fmla="*/ 3041 w 10354"/>
                  <a:gd name="connsiteY1764" fmla="*/ 3752 h 10000"/>
                  <a:gd name="connsiteX1765" fmla="*/ 3055 w 10354"/>
                  <a:gd name="connsiteY1765" fmla="*/ 3761 h 10000"/>
                  <a:gd name="connsiteX1766" fmla="*/ 3078 w 10354"/>
                  <a:gd name="connsiteY1766" fmla="*/ 3752 h 10000"/>
                  <a:gd name="connsiteX1767" fmla="*/ 3092 w 10354"/>
                  <a:gd name="connsiteY1767" fmla="*/ 3752 h 10000"/>
                  <a:gd name="connsiteX1768" fmla="*/ 3129 w 10354"/>
                  <a:gd name="connsiteY1768" fmla="*/ 3761 h 10000"/>
                  <a:gd name="connsiteX1769" fmla="*/ 3129 w 10354"/>
                  <a:gd name="connsiteY1769" fmla="*/ 3735 h 10000"/>
                  <a:gd name="connsiteX1770" fmla="*/ 3157 w 10354"/>
                  <a:gd name="connsiteY1770" fmla="*/ 3718 h 10000"/>
                  <a:gd name="connsiteX1771" fmla="*/ 3184 w 10354"/>
                  <a:gd name="connsiteY1771" fmla="*/ 3718 h 10000"/>
                  <a:gd name="connsiteX1772" fmla="*/ 3290 w 10354"/>
                  <a:gd name="connsiteY1772" fmla="*/ 3838 h 10000"/>
                  <a:gd name="connsiteX1773" fmla="*/ 3300 w 10354"/>
                  <a:gd name="connsiteY1773" fmla="*/ 3846 h 10000"/>
                  <a:gd name="connsiteX1774" fmla="*/ 3300 w 10354"/>
                  <a:gd name="connsiteY1774" fmla="*/ 3915 h 10000"/>
                  <a:gd name="connsiteX1775" fmla="*/ 3318 w 10354"/>
                  <a:gd name="connsiteY1775" fmla="*/ 4000 h 10000"/>
                  <a:gd name="connsiteX1776" fmla="*/ 3323 w 10354"/>
                  <a:gd name="connsiteY1776" fmla="*/ 4000 h 10000"/>
                  <a:gd name="connsiteX1777" fmla="*/ 3323 w 10354"/>
                  <a:gd name="connsiteY1777" fmla="*/ 4034 h 10000"/>
                  <a:gd name="connsiteX1778" fmla="*/ 3318 w 10354"/>
                  <a:gd name="connsiteY1778" fmla="*/ 4051 h 10000"/>
                  <a:gd name="connsiteX1779" fmla="*/ 3300 w 10354"/>
                  <a:gd name="connsiteY1779" fmla="*/ 4051 h 10000"/>
                  <a:gd name="connsiteX1780" fmla="*/ 3290 w 10354"/>
                  <a:gd name="connsiteY1780" fmla="*/ 4077 h 10000"/>
                  <a:gd name="connsiteX1781" fmla="*/ 3286 w 10354"/>
                  <a:gd name="connsiteY1781" fmla="*/ 4103 h 10000"/>
                  <a:gd name="connsiteX1782" fmla="*/ 3286 w 10354"/>
                  <a:gd name="connsiteY1782" fmla="*/ 4197 h 10000"/>
                  <a:gd name="connsiteX1783" fmla="*/ 3290 w 10354"/>
                  <a:gd name="connsiteY1783" fmla="*/ 4214 h 10000"/>
                  <a:gd name="connsiteX1784" fmla="*/ 3304 w 10354"/>
                  <a:gd name="connsiteY1784" fmla="*/ 4214 h 10000"/>
                  <a:gd name="connsiteX1785" fmla="*/ 3323 w 10354"/>
                  <a:gd name="connsiteY1785" fmla="*/ 4239 h 10000"/>
                  <a:gd name="connsiteX1786" fmla="*/ 3350 w 10354"/>
                  <a:gd name="connsiteY1786" fmla="*/ 4222 h 10000"/>
                  <a:gd name="connsiteX1787" fmla="*/ 3369 w 10354"/>
                  <a:gd name="connsiteY1787" fmla="*/ 4256 h 10000"/>
                  <a:gd name="connsiteX1788" fmla="*/ 3369 w 10354"/>
                  <a:gd name="connsiteY1788" fmla="*/ 4256 h 10000"/>
                  <a:gd name="connsiteX1789" fmla="*/ 3336 w 10354"/>
                  <a:gd name="connsiteY1789" fmla="*/ 4274 h 10000"/>
                  <a:gd name="connsiteX1790" fmla="*/ 3323 w 10354"/>
                  <a:gd name="connsiteY1790" fmla="*/ 4274 h 10000"/>
                  <a:gd name="connsiteX1791" fmla="*/ 3290 w 10354"/>
                  <a:gd name="connsiteY1791" fmla="*/ 4274 h 10000"/>
                  <a:gd name="connsiteX1792" fmla="*/ 3286 w 10354"/>
                  <a:gd name="connsiteY1792" fmla="*/ 4239 h 10000"/>
                  <a:gd name="connsiteX1793" fmla="*/ 3263 w 10354"/>
                  <a:gd name="connsiteY1793" fmla="*/ 4214 h 10000"/>
                  <a:gd name="connsiteX1794" fmla="*/ 3258 w 10354"/>
                  <a:gd name="connsiteY1794" fmla="*/ 4188 h 10000"/>
                  <a:gd name="connsiteX1795" fmla="*/ 3263 w 10354"/>
                  <a:gd name="connsiteY1795" fmla="*/ 4171 h 10000"/>
                  <a:gd name="connsiteX1796" fmla="*/ 3263 w 10354"/>
                  <a:gd name="connsiteY1796" fmla="*/ 4103 h 10000"/>
                  <a:gd name="connsiteX1797" fmla="*/ 3276 w 10354"/>
                  <a:gd name="connsiteY1797" fmla="*/ 4060 h 10000"/>
                  <a:gd name="connsiteX1798" fmla="*/ 3272 w 10354"/>
                  <a:gd name="connsiteY1798" fmla="*/ 4051 h 10000"/>
                  <a:gd name="connsiteX1799" fmla="*/ 3263 w 10354"/>
                  <a:gd name="connsiteY1799" fmla="*/ 4051 h 10000"/>
                  <a:gd name="connsiteX1800" fmla="*/ 3263 w 10354"/>
                  <a:gd name="connsiteY1800" fmla="*/ 4034 h 10000"/>
                  <a:gd name="connsiteX1801" fmla="*/ 3263 w 10354"/>
                  <a:gd name="connsiteY1801" fmla="*/ 4000 h 10000"/>
                  <a:gd name="connsiteX1802" fmla="*/ 3272 w 10354"/>
                  <a:gd name="connsiteY1802" fmla="*/ 4000 h 10000"/>
                  <a:gd name="connsiteX1803" fmla="*/ 3272 w 10354"/>
                  <a:gd name="connsiteY1803" fmla="*/ 3974 h 10000"/>
                  <a:gd name="connsiteX1804" fmla="*/ 3272 w 10354"/>
                  <a:gd name="connsiteY1804" fmla="*/ 3966 h 10000"/>
                  <a:gd name="connsiteX1805" fmla="*/ 3272 w 10354"/>
                  <a:gd name="connsiteY1805" fmla="*/ 3949 h 10000"/>
                  <a:gd name="connsiteX1806" fmla="*/ 3258 w 10354"/>
                  <a:gd name="connsiteY1806" fmla="*/ 3923 h 10000"/>
                  <a:gd name="connsiteX1807" fmla="*/ 3249 w 10354"/>
                  <a:gd name="connsiteY1807" fmla="*/ 3915 h 10000"/>
                  <a:gd name="connsiteX1808" fmla="*/ 3244 w 10354"/>
                  <a:gd name="connsiteY1808" fmla="*/ 3897 h 10000"/>
                  <a:gd name="connsiteX1809" fmla="*/ 3230 w 10354"/>
                  <a:gd name="connsiteY1809" fmla="*/ 3889 h 10000"/>
                  <a:gd name="connsiteX1810" fmla="*/ 3230 w 10354"/>
                  <a:gd name="connsiteY1810" fmla="*/ 3863 h 10000"/>
                  <a:gd name="connsiteX1811" fmla="*/ 3230 w 10354"/>
                  <a:gd name="connsiteY1811" fmla="*/ 3838 h 10000"/>
                  <a:gd name="connsiteX1812" fmla="*/ 3226 w 10354"/>
                  <a:gd name="connsiteY1812" fmla="*/ 3803 h 10000"/>
                  <a:gd name="connsiteX1813" fmla="*/ 3138 w 10354"/>
                  <a:gd name="connsiteY1813" fmla="*/ 3838 h 10000"/>
                  <a:gd name="connsiteX1814" fmla="*/ 3078 w 10354"/>
                  <a:gd name="connsiteY1814" fmla="*/ 3889 h 10000"/>
                  <a:gd name="connsiteX1815" fmla="*/ 3078 w 10354"/>
                  <a:gd name="connsiteY1815" fmla="*/ 3940 h 10000"/>
                  <a:gd name="connsiteX1816" fmla="*/ 3069 w 10354"/>
                  <a:gd name="connsiteY1816" fmla="*/ 3983 h 10000"/>
                  <a:gd name="connsiteX1817" fmla="*/ 3069 w 10354"/>
                  <a:gd name="connsiteY1817" fmla="*/ 4009 h 10000"/>
                  <a:gd name="connsiteX1818" fmla="*/ 3078 w 10354"/>
                  <a:gd name="connsiteY1818" fmla="*/ 4026 h 10000"/>
                  <a:gd name="connsiteX1819" fmla="*/ 3083 w 10354"/>
                  <a:gd name="connsiteY1819" fmla="*/ 4034 h 10000"/>
                  <a:gd name="connsiteX1820" fmla="*/ 3092 w 10354"/>
                  <a:gd name="connsiteY1820" fmla="*/ 4060 h 10000"/>
                  <a:gd name="connsiteX1821" fmla="*/ 3092 w 10354"/>
                  <a:gd name="connsiteY1821" fmla="*/ 4077 h 10000"/>
                  <a:gd name="connsiteX1822" fmla="*/ 3097 w 10354"/>
                  <a:gd name="connsiteY1822" fmla="*/ 4103 h 10000"/>
                  <a:gd name="connsiteX1823" fmla="*/ 3101 w 10354"/>
                  <a:gd name="connsiteY1823" fmla="*/ 4162 h 10000"/>
                  <a:gd name="connsiteX1824" fmla="*/ 3097 w 10354"/>
                  <a:gd name="connsiteY1824" fmla="*/ 4222 h 10000"/>
                  <a:gd name="connsiteX1825" fmla="*/ 3041 w 10354"/>
                  <a:gd name="connsiteY1825" fmla="*/ 4325 h 10000"/>
                  <a:gd name="connsiteX1826" fmla="*/ 3037 w 10354"/>
                  <a:gd name="connsiteY1826" fmla="*/ 4419 h 10000"/>
                  <a:gd name="connsiteX1827" fmla="*/ 3018 w 10354"/>
                  <a:gd name="connsiteY1827" fmla="*/ 4470 h 10000"/>
                  <a:gd name="connsiteX1828" fmla="*/ 2991 w 10354"/>
                  <a:gd name="connsiteY1828" fmla="*/ 4513 h 10000"/>
                  <a:gd name="connsiteX1829" fmla="*/ 2977 w 10354"/>
                  <a:gd name="connsiteY1829" fmla="*/ 4530 h 10000"/>
                  <a:gd name="connsiteX1830" fmla="*/ 2945 w 10354"/>
                  <a:gd name="connsiteY1830" fmla="*/ 4556 h 10000"/>
                  <a:gd name="connsiteX1831" fmla="*/ 2935 w 10354"/>
                  <a:gd name="connsiteY1831" fmla="*/ 4581 h 10000"/>
                  <a:gd name="connsiteX1832" fmla="*/ 2949 w 10354"/>
                  <a:gd name="connsiteY1832" fmla="*/ 4624 h 10000"/>
                  <a:gd name="connsiteX1833" fmla="*/ 2945 w 10354"/>
                  <a:gd name="connsiteY1833" fmla="*/ 4658 h 10000"/>
                  <a:gd name="connsiteX1834" fmla="*/ 2922 w 10354"/>
                  <a:gd name="connsiteY1834" fmla="*/ 4667 h 10000"/>
                  <a:gd name="connsiteX1835" fmla="*/ 2876 w 10354"/>
                  <a:gd name="connsiteY1835" fmla="*/ 4632 h 10000"/>
                  <a:gd name="connsiteX1836" fmla="*/ 2857 w 10354"/>
                  <a:gd name="connsiteY1836" fmla="*/ 4632 h 10000"/>
                  <a:gd name="connsiteX1837" fmla="*/ 2820 w 10354"/>
                  <a:gd name="connsiteY1837" fmla="*/ 4641 h 10000"/>
                  <a:gd name="connsiteX1838" fmla="*/ 2797 w 10354"/>
                  <a:gd name="connsiteY1838" fmla="*/ 4632 h 10000"/>
                  <a:gd name="connsiteX1839" fmla="*/ 2788 w 10354"/>
                  <a:gd name="connsiteY1839" fmla="*/ 4624 h 10000"/>
                  <a:gd name="connsiteX1840" fmla="*/ 2788 w 10354"/>
                  <a:gd name="connsiteY1840" fmla="*/ 4598 h 10000"/>
                  <a:gd name="connsiteX1841" fmla="*/ 2797 w 10354"/>
                  <a:gd name="connsiteY1841" fmla="*/ 4581 h 10000"/>
                  <a:gd name="connsiteX1842" fmla="*/ 2788 w 10354"/>
                  <a:gd name="connsiteY1842" fmla="*/ 4530 h 10000"/>
                  <a:gd name="connsiteX1843" fmla="*/ 2774 w 10354"/>
                  <a:gd name="connsiteY1843" fmla="*/ 4530 h 10000"/>
                  <a:gd name="connsiteX1844" fmla="*/ 2770 w 10354"/>
                  <a:gd name="connsiteY1844" fmla="*/ 4513 h 10000"/>
                  <a:gd name="connsiteX1845" fmla="*/ 2774 w 10354"/>
                  <a:gd name="connsiteY1845" fmla="*/ 4513 h 10000"/>
                  <a:gd name="connsiteX1846" fmla="*/ 2788 w 10354"/>
                  <a:gd name="connsiteY1846" fmla="*/ 4496 h 10000"/>
                  <a:gd name="connsiteX1847" fmla="*/ 2802 w 10354"/>
                  <a:gd name="connsiteY1847" fmla="*/ 4513 h 10000"/>
                  <a:gd name="connsiteX1848" fmla="*/ 2811 w 10354"/>
                  <a:gd name="connsiteY1848" fmla="*/ 4530 h 10000"/>
                  <a:gd name="connsiteX1849" fmla="*/ 2820 w 10354"/>
                  <a:gd name="connsiteY1849" fmla="*/ 4521 h 10000"/>
                  <a:gd name="connsiteX1850" fmla="*/ 2829 w 10354"/>
                  <a:gd name="connsiteY1850" fmla="*/ 4513 h 10000"/>
                  <a:gd name="connsiteX1851" fmla="*/ 2843 w 10354"/>
                  <a:gd name="connsiteY1851" fmla="*/ 4513 h 10000"/>
                  <a:gd name="connsiteX1852" fmla="*/ 2848 w 10354"/>
                  <a:gd name="connsiteY1852" fmla="*/ 4470 h 10000"/>
                  <a:gd name="connsiteX1853" fmla="*/ 2862 w 10354"/>
                  <a:gd name="connsiteY1853" fmla="*/ 4487 h 10000"/>
                  <a:gd name="connsiteX1854" fmla="*/ 2876 w 10354"/>
                  <a:gd name="connsiteY1854" fmla="*/ 4470 h 10000"/>
                  <a:gd name="connsiteX1855" fmla="*/ 2880 w 10354"/>
                  <a:gd name="connsiteY1855" fmla="*/ 4462 h 10000"/>
                  <a:gd name="connsiteX1856" fmla="*/ 2889 w 10354"/>
                  <a:gd name="connsiteY1856" fmla="*/ 4444 h 10000"/>
                  <a:gd name="connsiteX1857" fmla="*/ 2894 w 10354"/>
                  <a:gd name="connsiteY1857" fmla="*/ 4462 h 10000"/>
                  <a:gd name="connsiteX1858" fmla="*/ 2917 w 10354"/>
                  <a:gd name="connsiteY1858" fmla="*/ 4444 h 10000"/>
                  <a:gd name="connsiteX1859" fmla="*/ 2922 w 10354"/>
                  <a:gd name="connsiteY1859" fmla="*/ 4436 h 10000"/>
                  <a:gd name="connsiteX1860" fmla="*/ 2917 w 10354"/>
                  <a:gd name="connsiteY1860" fmla="*/ 4410 h 10000"/>
                  <a:gd name="connsiteX1861" fmla="*/ 2894 w 10354"/>
                  <a:gd name="connsiteY1861" fmla="*/ 4410 h 10000"/>
                  <a:gd name="connsiteX1862" fmla="*/ 2889 w 10354"/>
                  <a:gd name="connsiteY1862" fmla="*/ 4419 h 10000"/>
                  <a:gd name="connsiteX1863" fmla="*/ 2876 w 10354"/>
                  <a:gd name="connsiteY1863" fmla="*/ 4410 h 10000"/>
                  <a:gd name="connsiteX1864" fmla="*/ 2880 w 10354"/>
                  <a:gd name="connsiteY1864" fmla="*/ 4376 h 10000"/>
                  <a:gd name="connsiteX1865" fmla="*/ 2903 w 10354"/>
                  <a:gd name="connsiteY1865" fmla="*/ 4393 h 10000"/>
                  <a:gd name="connsiteX1866" fmla="*/ 2931 w 10354"/>
                  <a:gd name="connsiteY1866" fmla="*/ 4393 h 10000"/>
                  <a:gd name="connsiteX1867" fmla="*/ 2931 w 10354"/>
                  <a:gd name="connsiteY1867" fmla="*/ 4385 h 10000"/>
                  <a:gd name="connsiteX1868" fmla="*/ 2931 w 10354"/>
                  <a:gd name="connsiteY1868" fmla="*/ 4350 h 10000"/>
                  <a:gd name="connsiteX1869" fmla="*/ 2945 w 10354"/>
                  <a:gd name="connsiteY1869" fmla="*/ 4350 h 10000"/>
                  <a:gd name="connsiteX1870" fmla="*/ 2949 w 10354"/>
                  <a:gd name="connsiteY1870" fmla="*/ 4325 h 10000"/>
                  <a:gd name="connsiteX1871" fmla="*/ 2963 w 10354"/>
                  <a:gd name="connsiteY1871" fmla="*/ 4256 h 10000"/>
                  <a:gd name="connsiteX1872" fmla="*/ 2982 w 10354"/>
                  <a:gd name="connsiteY1872" fmla="*/ 4239 h 10000"/>
                  <a:gd name="connsiteX1873" fmla="*/ 2991 w 10354"/>
                  <a:gd name="connsiteY1873" fmla="*/ 4214 h 10000"/>
                  <a:gd name="connsiteX1874" fmla="*/ 2991 w 10354"/>
                  <a:gd name="connsiteY1874" fmla="*/ 4197 h 10000"/>
                  <a:gd name="connsiteX1875" fmla="*/ 2995 w 10354"/>
                  <a:gd name="connsiteY1875" fmla="*/ 4171 h 10000"/>
                  <a:gd name="connsiteX1876" fmla="*/ 2991 w 10354"/>
                  <a:gd name="connsiteY1876" fmla="*/ 4077 h 10000"/>
                  <a:gd name="connsiteX1877" fmla="*/ 2995 w 10354"/>
                  <a:gd name="connsiteY1877" fmla="*/ 4034 h 10000"/>
                  <a:gd name="connsiteX1878" fmla="*/ 3018 w 10354"/>
                  <a:gd name="connsiteY1878" fmla="*/ 3983 h 10000"/>
                  <a:gd name="connsiteX1879" fmla="*/ 3018 w 10354"/>
                  <a:gd name="connsiteY1879" fmla="*/ 3915 h 10000"/>
                  <a:gd name="connsiteX1880" fmla="*/ 2949 w 10354"/>
                  <a:gd name="connsiteY1880" fmla="*/ 3778 h 10000"/>
                  <a:gd name="connsiteX1881" fmla="*/ 2954 w 10354"/>
                  <a:gd name="connsiteY1881" fmla="*/ 3675 h 10000"/>
                  <a:gd name="connsiteX1882" fmla="*/ 2954 w 10354"/>
                  <a:gd name="connsiteY1882" fmla="*/ 3650 h 10000"/>
                  <a:gd name="connsiteX1883" fmla="*/ 2963 w 10354"/>
                  <a:gd name="connsiteY1883" fmla="*/ 3624 h 10000"/>
                  <a:gd name="connsiteX1884" fmla="*/ 2954 w 10354"/>
                  <a:gd name="connsiteY1884" fmla="*/ 3564 h 10000"/>
                  <a:gd name="connsiteX1885" fmla="*/ 2963 w 10354"/>
                  <a:gd name="connsiteY1885" fmla="*/ 3538 h 10000"/>
                  <a:gd name="connsiteX1886" fmla="*/ 2963 w 10354"/>
                  <a:gd name="connsiteY1886" fmla="*/ 3487 h 10000"/>
                  <a:gd name="connsiteX1887" fmla="*/ 2963 w 10354"/>
                  <a:gd name="connsiteY1887" fmla="*/ 3479 h 10000"/>
                  <a:gd name="connsiteX1888" fmla="*/ 2963 w 10354"/>
                  <a:gd name="connsiteY1888" fmla="*/ 3462 h 10000"/>
                  <a:gd name="connsiteX1889" fmla="*/ 2954 w 10354"/>
                  <a:gd name="connsiteY1889" fmla="*/ 3453 h 10000"/>
                  <a:gd name="connsiteX1890" fmla="*/ 2954 w 10354"/>
                  <a:gd name="connsiteY1890" fmla="*/ 3444 h 10000"/>
                  <a:gd name="connsiteX1891" fmla="*/ 2954 w 10354"/>
                  <a:gd name="connsiteY1891" fmla="*/ 3402 h 10000"/>
                  <a:gd name="connsiteX1892" fmla="*/ 2954 w 10354"/>
                  <a:gd name="connsiteY1892" fmla="*/ 3393 h 10000"/>
                  <a:gd name="connsiteX1893" fmla="*/ 2949 w 10354"/>
                  <a:gd name="connsiteY1893" fmla="*/ 3376 h 10000"/>
                  <a:gd name="connsiteX1894" fmla="*/ 2949 w 10354"/>
                  <a:gd name="connsiteY1894" fmla="*/ 3342 h 10000"/>
                  <a:gd name="connsiteX1895" fmla="*/ 2949 w 10354"/>
                  <a:gd name="connsiteY1895" fmla="*/ 3316 h 10000"/>
                  <a:gd name="connsiteX1896" fmla="*/ 2968 w 10354"/>
                  <a:gd name="connsiteY1896" fmla="*/ 3291 h 10000"/>
                  <a:gd name="connsiteX1897" fmla="*/ 2963 w 10354"/>
                  <a:gd name="connsiteY1897" fmla="*/ 3205 h 10000"/>
                  <a:gd name="connsiteX1898" fmla="*/ 2968 w 10354"/>
                  <a:gd name="connsiteY1898" fmla="*/ 3171 h 10000"/>
                  <a:gd name="connsiteX1899" fmla="*/ 2968 w 10354"/>
                  <a:gd name="connsiteY1899" fmla="*/ 3128 h 10000"/>
                  <a:gd name="connsiteX1900" fmla="*/ 2954 w 10354"/>
                  <a:gd name="connsiteY1900" fmla="*/ 3051 h 10000"/>
                  <a:gd name="connsiteX1901" fmla="*/ 2954 w 10354"/>
                  <a:gd name="connsiteY1901" fmla="*/ 3009 h 10000"/>
                  <a:gd name="connsiteX1902" fmla="*/ 2922 w 10354"/>
                  <a:gd name="connsiteY1902" fmla="*/ 2940 h 10000"/>
                  <a:gd name="connsiteX1903" fmla="*/ 2903 w 10354"/>
                  <a:gd name="connsiteY1903" fmla="*/ 2880 h 10000"/>
                  <a:gd name="connsiteX1904" fmla="*/ 2903 w 10354"/>
                  <a:gd name="connsiteY1904" fmla="*/ 2855 h 10000"/>
                  <a:gd name="connsiteX1905" fmla="*/ 2908 w 10354"/>
                  <a:gd name="connsiteY1905" fmla="*/ 2846 h 10000"/>
                  <a:gd name="connsiteX1906" fmla="*/ 2931 w 10354"/>
                  <a:gd name="connsiteY1906" fmla="*/ 2821 h 10000"/>
                  <a:gd name="connsiteX1907" fmla="*/ 2931 w 10354"/>
                  <a:gd name="connsiteY1907" fmla="*/ 2803 h 10000"/>
                  <a:gd name="connsiteX1908" fmla="*/ 2935 w 10354"/>
                  <a:gd name="connsiteY1908" fmla="*/ 2786 h 10000"/>
                  <a:gd name="connsiteX1909" fmla="*/ 2935 w 10354"/>
                  <a:gd name="connsiteY1909" fmla="*/ 2744 h 10000"/>
                  <a:gd name="connsiteX1910" fmla="*/ 2963 w 10354"/>
                  <a:gd name="connsiteY1910" fmla="*/ 2607 h 10000"/>
                  <a:gd name="connsiteX1911" fmla="*/ 2963 w 10354"/>
                  <a:gd name="connsiteY1911" fmla="*/ 2419 h 10000"/>
                  <a:gd name="connsiteX1912" fmla="*/ 2954 w 10354"/>
                  <a:gd name="connsiteY1912" fmla="*/ 2410 h 10000"/>
                  <a:gd name="connsiteX1913" fmla="*/ 2963 w 10354"/>
                  <a:gd name="connsiteY1913" fmla="*/ 2393 h 10000"/>
                  <a:gd name="connsiteX1914" fmla="*/ 2908 w 10354"/>
                  <a:gd name="connsiteY1914" fmla="*/ 2359 h 10000"/>
                  <a:gd name="connsiteX1915" fmla="*/ 2889 w 10354"/>
                  <a:gd name="connsiteY1915" fmla="*/ 2325 h 10000"/>
                  <a:gd name="connsiteX1916" fmla="*/ 2788 w 10354"/>
                  <a:gd name="connsiteY1916" fmla="*/ 2333 h 10000"/>
                  <a:gd name="connsiteX1917" fmla="*/ 2774 w 10354"/>
                  <a:gd name="connsiteY1917" fmla="*/ 2325 h 10000"/>
                  <a:gd name="connsiteX1918" fmla="*/ 2783 w 10354"/>
                  <a:gd name="connsiteY1918" fmla="*/ 2308 h 10000"/>
                  <a:gd name="connsiteX1919" fmla="*/ 2747 w 10354"/>
                  <a:gd name="connsiteY1919" fmla="*/ 2308 h 10000"/>
                  <a:gd name="connsiteX1920" fmla="*/ 2742 w 10354"/>
                  <a:gd name="connsiteY1920" fmla="*/ 2333 h 10000"/>
                  <a:gd name="connsiteX1921" fmla="*/ 2682 w 10354"/>
                  <a:gd name="connsiteY1921" fmla="*/ 2769 h 10000"/>
                  <a:gd name="connsiteX1922" fmla="*/ 2613 w 10354"/>
                  <a:gd name="connsiteY1922" fmla="*/ 2940 h 10000"/>
                  <a:gd name="connsiteX1923" fmla="*/ 2581 w 10354"/>
                  <a:gd name="connsiteY1923" fmla="*/ 2966 h 10000"/>
                  <a:gd name="connsiteX1924" fmla="*/ 2576 w 10354"/>
                  <a:gd name="connsiteY1924" fmla="*/ 3051 h 10000"/>
                  <a:gd name="connsiteX1925" fmla="*/ 2581 w 10354"/>
                  <a:gd name="connsiteY1925" fmla="*/ 3051 h 10000"/>
                  <a:gd name="connsiteX1926" fmla="*/ 2594 w 10354"/>
                  <a:gd name="connsiteY1926" fmla="*/ 3017 h 10000"/>
                  <a:gd name="connsiteX1927" fmla="*/ 2594 w 10354"/>
                  <a:gd name="connsiteY1927" fmla="*/ 3034 h 10000"/>
                  <a:gd name="connsiteX1928" fmla="*/ 2594 w 10354"/>
                  <a:gd name="connsiteY1928" fmla="*/ 3051 h 10000"/>
                  <a:gd name="connsiteX1929" fmla="*/ 2590 w 10354"/>
                  <a:gd name="connsiteY1929" fmla="*/ 3077 h 10000"/>
                  <a:gd name="connsiteX1930" fmla="*/ 2567 w 10354"/>
                  <a:gd name="connsiteY1930" fmla="*/ 3103 h 10000"/>
                  <a:gd name="connsiteX1931" fmla="*/ 2562 w 10354"/>
                  <a:gd name="connsiteY1931" fmla="*/ 3145 h 10000"/>
                  <a:gd name="connsiteX1932" fmla="*/ 2567 w 10354"/>
                  <a:gd name="connsiteY1932" fmla="*/ 3179 h 10000"/>
                  <a:gd name="connsiteX1933" fmla="*/ 2590 w 10354"/>
                  <a:gd name="connsiteY1933" fmla="*/ 3171 h 10000"/>
                  <a:gd name="connsiteX1934" fmla="*/ 2594 w 10354"/>
                  <a:gd name="connsiteY1934" fmla="*/ 3145 h 10000"/>
                  <a:gd name="connsiteX1935" fmla="*/ 2613 w 10354"/>
                  <a:gd name="connsiteY1935" fmla="*/ 3154 h 10000"/>
                  <a:gd name="connsiteX1936" fmla="*/ 2622 w 10354"/>
                  <a:gd name="connsiteY1936" fmla="*/ 3179 h 10000"/>
                  <a:gd name="connsiteX1937" fmla="*/ 2613 w 10354"/>
                  <a:gd name="connsiteY1937" fmla="*/ 3214 h 10000"/>
                  <a:gd name="connsiteX1938" fmla="*/ 2613 w 10354"/>
                  <a:gd name="connsiteY1938" fmla="*/ 3308 h 10000"/>
                  <a:gd name="connsiteX1939" fmla="*/ 2608 w 10354"/>
                  <a:gd name="connsiteY1939" fmla="*/ 3325 h 10000"/>
                  <a:gd name="connsiteX1940" fmla="*/ 2608 w 10354"/>
                  <a:gd name="connsiteY1940" fmla="*/ 3376 h 10000"/>
                  <a:gd name="connsiteX1941" fmla="*/ 2613 w 10354"/>
                  <a:gd name="connsiteY1941" fmla="*/ 3419 h 10000"/>
                  <a:gd name="connsiteX1942" fmla="*/ 2608 w 10354"/>
                  <a:gd name="connsiteY1942" fmla="*/ 3444 h 10000"/>
                  <a:gd name="connsiteX1943" fmla="*/ 2594 w 10354"/>
                  <a:gd name="connsiteY1943" fmla="*/ 3444 h 10000"/>
                  <a:gd name="connsiteX1944" fmla="*/ 2590 w 10354"/>
                  <a:gd name="connsiteY1944" fmla="*/ 3427 h 10000"/>
                  <a:gd name="connsiteX1945" fmla="*/ 2581 w 10354"/>
                  <a:gd name="connsiteY1945" fmla="*/ 3564 h 10000"/>
                  <a:gd name="connsiteX1946" fmla="*/ 2594 w 10354"/>
                  <a:gd name="connsiteY1946" fmla="*/ 3598 h 10000"/>
                  <a:gd name="connsiteX1947" fmla="*/ 2594 w 10354"/>
                  <a:gd name="connsiteY1947" fmla="*/ 3581 h 10000"/>
                  <a:gd name="connsiteX1948" fmla="*/ 2608 w 10354"/>
                  <a:gd name="connsiteY1948" fmla="*/ 3556 h 10000"/>
                  <a:gd name="connsiteX1949" fmla="*/ 2650 w 10354"/>
                  <a:gd name="connsiteY1949" fmla="*/ 3615 h 10000"/>
                  <a:gd name="connsiteX1950" fmla="*/ 2664 w 10354"/>
                  <a:gd name="connsiteY1950" fmla="*/ 3615 h 10000"/>
                  <a:gd name="connsiteX1951" fmla="*/ 2668 w 10354"/>
                  <a:gd name="connsiteY1951" fmla="*/ 3615 h 10000"/>
                  <a:gd name="connsiteX1952" fmla="*/ 2664 w 10354"/>
                  <a:gd name="connsiteY1952" fmla="*/ 3667 h 10000"/>
                  <a:gd name="connsiteX1953" fmla="*/ 2687 w 10354"/>
                  <a:gd name="connsiteY1953" fmla="*/ 3786 h 10000"/>
                  <a:gd name="connsiteX1954" fmla="*/ 2710 w 10354"/>
                  <a:gd name="connsiteY1954" fmla="*/ 3812 h 10000"/>
                  <a:gd name="connsiteX1955" fmla="*/ 2724 w 10354"/>
                  <a:gd name="connsiteY1955" fmla="*/ 3812 h 10000"/>
                  <a:gd name="connsiteX1956" fmla="*/ 2724 w 10354"/>
                  <a:gd name="connsiteY1956" fmla="*/ 3829 h 10000"/>
                  <a:gd name="connsiteX1957" fmla="*/ 2737 w 10354"/>
                  <a:gd name="connsiteY1957" fmla="*/ 3838 h 10000"/>
                  <a:gd name="connsiteX1958" fmla="*/ 2714 w 10354"/>
                  <a:gd name="connsiteY1958" fmla="*/ 3872 h 10000"/>
                  <a:gd name="connsiteX1959" fmla="*/ 2696 w 10354"/>
                  <a:gd name="connsiteY1959" fmla="*/ 4026 h 10000"/>
                  <a:gd name="connsiteX1960" fmla="*/ 2673 w 10354"/>
                  <a:gd name="connsiteY1960" fmla="*/ 4051 h 10000"/>
                  <a:gd name="connsiteX1961" fmla="*/ 2668 w 10354"/>
                  <a:gd name="connsiteY1961" fmla="*/ 4034 h 10000"/>
                  <a:gd name="connsiteX1962" fmla="*/ 2673 w 10354"/>
                  <a:gd name="connsiteY1962" fmla="*/ 4000 h 10000"/>
                  <a:gd name="connsiteX1963" fmla="*/ 2664 w 10354"/>
                  <a:gd name="connsiteY1963" fmla="*/ 3974 h 10000"/>
                  <a:gd name="connsiteX1964" fmla="*/ 2636 w 10354"/>
                  <a:gd name="connsiteY1964" fmla="*/ 3949 h 10000"/>
                  <a:gd name="connsiteX1965" fmla="*/ 2581 w 10354"/>
                  <a:gd name="connsiteY1965" fmla="*/ 3838 h 10000"/>
                  <a:gd name="connsiteX1966" fmla="*/ 2562 w 10354"/>
                  <a:gd name="connsiteY1966" fmla="*/ 3829 h 10000"/>
                  <a:gd name="connsiteX1967" fmla="*/ 2535 w 10354"/>
                  <a:gd name="connsiteY1967" fmla="*/ 3778 h 10000"/>
                  <a:gd name="connsiteX1968" fmla="*/ 2502 w 10354"/>
                  <a:gd name="connsiteY1968" fmla="*/ 3761 h 10000"/>
                  <a:gd name="connsiteX1969" fmla="*/ 2502 w 10354"/>
                  <a:gd name="connsiteY1969" fmla="*/ 3735 h 10000"/>
                  <a:gd name="connsiteX1970" fmla="*/ 2516 w 10354"/>
                  <a:gd name="connsiteY1970" fmla="*/ 3735 h 10000"/>
                  <a:gd name="connsiteX1971" fmla="*/ 2507 w 10354"/>
                  <a:gd name="connsiteY1971" fmla="*/ 3726 h 10000"/>
                  <a:gd name="connsiteX1972" fmla="*/ 2488 w 10354"/>
                  <a:gd name="connsiteY1972" fmla="*/ 3726 h 10000"/>
                  <a:gd name="connsiteX1973" fmla="*/ 2461 w 10354"/>
                  <a:gd name="connsiteY1973" fmla="*/ 3692 h 10000"/>
                  <a:gd name="connsiteX1974" fmla="*/ 2442 w 10354"/>
                  <a:gd name="connsiteY1974" fmla="*/ 3675 h 10000"/>
                  <a:gd name="connsiteX1975" fmla="*/ 2406 w 10354"/>
                  <a:gd name="connsiteY1975" fmla="*/ 3598 h 10000"/>
                  <a:gd name="connsiteX1976" fmla="*/ 2346 w 10354"/>
                  <a:gd name="connsiteY1976" fmla="*/ 3564 h 10000"/>
                  <a:gd name="connsiteX1977" fmla="*/ 2341 w 10354"/>
                  <a:gd name="connsiteY1977" fmla="*/ 3564 h 10000"/>
                  <a:gd name="connsiteX1978" fmla="*/ 2313 w 10354"/>
                  <a:gd name="connsiteY1978" fmla="*/ 3530 h 10000"/>
                  <a:gd name="connsiteX1979" fmla="*/ 2235 w 10354"/>
                  <a:gd name="connsiteY1979" fmla="*/ 3530 h 10000"/>
                  <a:gd name="connsiteX1980" fmla="*/ 2226 w 10354"/>
                  <a:gd name="connsiteY1980" fmla="*/ 3513 h 10000"/>
                  <a:gd name="connsiteX1981" fmla="*/ 2207 w 10354"/>
                  <a:gd name="connsiteY1981" fmla="*/ 3504 h 10000"/>
                  <a:gd name="connsiteX1982" fmla="*/ 2194 w 10354"/>
                  <a:gd name="connsiteY1982" fmla="*/ 3504 h 10000"/>
                  <a:gd name="connsiteX1983" fmla="*/ 2189 w 10354"/>
                  <a:gd name="connsiteY1983" fmla="*/ 3504 h 10000"/>
                  <a:gd name="connsiteX1984" fmla="*/ 2189 w 10354"/>
                  <a:gd name="connsiteY1984" fmla="*/ 3530 h 10000"/>
                  <a:gd name="connsiteX1985" fmla="*/ 2180 w 10354"/>
                  <a:gd name="connsiteY1985" fmla="*/ 3538 h 10000"/>
                  <a:gd name="connsiteX1986" fmla="*/ 2152 w 10354"/>
                  <a:gd name="connsiteY1986" fmla="*/ 3581 h 10000"/>
                  <a:gd name="connsiteX1987" fmla="*/ 2161 w 10354"/>
                  <a:gd name="connsiteY1987" fmla="*/ 3598 h 10000"/>
                  <a:gd name="connsiteX1988" fmla="*/ 2194 w 10354"/>
                  <a:gd name="connsiteY1988" fmla="*/ 3752 h 10000"/>
                  <a:gd name="connsiteX1989" fmla="*/ 2194 w 10354"/>
                  <a:gd name="connsiteY1989" fmla="*/ 3735 h 10000"/>
                  <a:gd name="connsiteX1990" fmla="*/ 2198 w 10354"/>
                  <a:gd name="connsiteY1990" fmla="*/ 3735 h 10000"/>
                  <a:gd name="connsiteX1991" fmla="*/ 2189 w 10354"/>
                  <a:gd name="connsiteY1991" fmla="*/ 3838 h 10000"/>
                  <a:gd name="connsiteX1992" fmla="*/ 2166 w 10354"/>
                  <a:gd name="connsiteY1992" fmla="*/ 3889 h 10000"/>
                  <a:gd name="connsiteX1993" fmla="*/ 2124 w 10354"/>
                  <a:gd name="connsiteY1993" fmla="*/ 3889 h 10000"/>
                  <a:gd name="connsiteX1994" fmla="*/ 2124 w 10354"/>
                  <a:gd name="connsiteY1994" fmla="*/ 3923 h 10000"/>
                  <a:gd name="connsiteX1995" fmla="*/ 2134 w 10354"/>
                  <a:gd name="connsiteY1995" fmla="*/ 3940 h 10000"/>
                  <a:gd name="connsiteX1996" fmla="*/ 2134 w 10354"/>
                  <a:gd name="connsiteY1996" fmla="*/ 3966 h 10000"/>
                  <a:gd name="connsiteX1997" fmla="*/ 2120 w 10354"/>
                  <a:gd name="connsiteY1997" fmla="*/ 4000 h 10000"/>
                  <a:gd name="connsiteX1998" fmla="*/ 2106 w 10354"/>
                  <a:gd name="connsiteY1998" fmla="*/ 4009 h 10000"/>
                  <a:gd name="connsiteX1999" fmla="*/ 2088 w 10354"/>
                  <a:gd name="connsiteY1999" fmla="*/ 4000 h 10000"/>
                  <a:gd name="connsiteX2000" fmla="*/ 2074 w 10354"/>
                  <a:gd name="connsiteY2000" fmla="*/ 3974 h 10000"/>
                  <a:gd name="connsiteX2001" fmla="*/ 2074 w 10354"/>
                  <a:gd name="connsiteY2001" fmla="*/ 3940 h 10000"/>
                  <a:gd name="connsiteX2002" fmla="*/ 2078 w 10354"/>
                  <a:gd name="connsiteY2002" fmla="*/ 3915 h 10000"/>
                  <a:gd name="connsiteX2003" fmla="*/ 2088 w 10354"/>
                  <a:gd name="connsiteY2003" fmla="*/ 3889 h 10000"/>
                  <a:gd name="connsiteX2004" fmla="*/ 2101 w 10354"/>
                  <a:gd name="connsiteY2004" fmla="*/ 3872 h 10000"/>
                  <a:gd name="connsiteX2005" fmla="*/ 2074 w 10354"/>
                  <a:gd name="connsiteY2005" fmla="*/ 3812 h 10000"/>
                  <a:gd name="connsiteX2006" fmla="*/ 2074 w 10354"/>
                  <a:gd name="connsiteY2006" fmla="*/ 3786 h 10000"/>
                  <a:gd name="connsiteX2007" fmla="*/ 2060 w 10354"/>
                  <a:gd name="connsiteY2007" fmla="*/ 3786 h 10000"/>
                  <a:gd name="connsiteX2008" fmla="*/ 2014 w 10354"/>
                  <a:gd name="connsiteY2008" fmla="*/ 3829 h 10000"/>
                  <a:gd name="connsiteX2009" fmla="*/ 2000 w 10354"/>
                  <a:gd name="connsiteY2009" fmla="*/ 3863 h 10000"/>
                  <a:gd name="connsiteX2010" fmla="*/ 1986 w 10354"/>
                  <a:gd name="connsiteY2010" fmla="*/ 3872 h 10000"/>
                  <a:gd name="connsiteX2011" fmla="*/ 1959 w 10354"/>
                  <a:gd name="connsiteY2011" fmla="*/ 3940 h 10000"/>
                  <a:gd name="connsiteX2012" fmla="*/ 1945 w 10354"/>
                  <a:gd name="connsiteY2012" fmla="*/ 3949 h 10000"/>
                  <a:gd name="connsiteX2013" fmla="*/ 1940 w 10354"/>
                  <a:gd name="connsiteY2013" fmla="*/ 3923 h 10000"/>
                  <a:gd name="connsiteX2014" fmla="*/ 1917 w 10354"/>
                  <a:gd name="connsiteY2014" fmla="*/ 3915 h 10000"/>
                  <a:gd name="connsiteX2015" fmla="*/ 1899 w 10354"/>
                  <a:gd name="connsiteY2015" fmla="*/ 3923 h 10000"/>
                  <a:gd name="connsiteX2016" fmla="*/ 1880 w 10354"/>
                  <a:gd name="connsiteY2016" fmla="*/ 3915 h 10000"/>
                  <a:gd name="connsiteX2017" fmla="*/ 1853 w 10354"/>
                  <a:gd name="connsiteY2017" fmla="*/ 3940 h 10000"/>
                  <a:gd name="connsiteX2018" fmla="*/ 1839 w 10354"/>
                  <a:gd name="connsiteY2018" fmla="*/ 3940 h 10000"/>
                  <a:gd name="connsiteX2019" fmla="*/ 1806 w 10354"/>
                  <a:gd name="connsiteY2019" fmla="*/ 3983 h 10000"/>
                  <a:gd name="connsiteX2020" fmla="*/ 1806 w 10354"/>
                  <a:gd name="connsiteY2020" fmla="*/ 4000 h 10000"/>
                  <a:gd name="connsiteX2021" fmla="*/ 1797 w 10354"/>
                  <a:gd name="connsiteY2021" fmla="*/ 4077 h 10000"/>
                  <a:gd name="connsiteX2022" fmla="*/ 1783 w 10354"/>
                  <a:gd name="connsiteY2022" fmla="*/ 4077 h 10000"/>
                  <a:gd name="connsiteX2023" fmla="*/ 1779 w 10354"/>
                  <a:gd name="connsiteY2023" fmla="*/ 4051 h 10000"/>
                  <a:gd name="connsiteX2024" fmla="*/ 1765 w 10354"/>
                  <a:gd name="connsiteY2024" fmla="*/ 4026 h 10000"/>
                  <a:gd name="connsiteX2025" fmla="*/ 1751 w 10354"/>
                  <a:gd name="connsiteY2025" fmla="*/ 4051 h 10000"/>
                  <a:gd name="connsiteX2026" fmla="*/ 1737 w 10354"/>
                  <a:gd name="connsiteY2026" fmla="*/ 4009 h 10000"/>
                  <a:gd name="connsiteX2027" fmla="*/ 1737 w 10354"/>
                  <a:gd name="connsiteY2027" fmla="*/ 3966 h 10000"/>
                  <a:gd name="connsiteX2028" fmla="*/ 1733 w 10354"/>
                  <a:gd name="connsiteY2028" fmla="*/ 3940 h 10000"/>
                  <a:gd name="connsiteX2029" fmla="*/ 1733 w 10354"/>
                  <a:gd name="connsiteY2029" fmla="*/ 3923 h 10000"/>
                  <a:gd name="connsiteX2030" fmla="*/ 1747 w 10354"/>
                  <a:gd name="connsiteY2030" fmla="*/ 3889 h 10000"/>
                  <a:gd name="connsiteX2031" fmla="*/ 1747 w 10354"/>
                  <a:gd name="connsiteY2031" fmla="*/ 3863 h 10000"/>
                  <a:gd name="connsiteX2032" fmla="*/ 1737 w 10354"/>
                  <a:gd name="connsiteY2032" fmla="*/ 3838 h 10000"/>
                  <a:gd name="connsiteX2033" fmla="*/ 1733 w 10354"/>
                  <a:gd name="connsiteY2033" fmla="*/ 3829 h 10000"/>
                  <a:gd name="connsiteX2034" fmla="*/ 1733 w 10354"/>
                  <a:gd name="connsiteY2034" fmla="*/ 3846 h 10000"/>
                  <a:gd name="connsiteX2035" fmla="*/ 1724 w 10354"/>
                  <a:gd name="connsiteY2035" fmla="*/ 3846 h 10000"/>
                  <a:gd name="connsiteX2036" fmla="*/ 1724 w 10354"/>
                  <a:gd name="connsiteY2036" fmla="*/ 3829 h 10000"/>
                  <a:gd name="connsiteX2037" fmla="*/ 1737 w 10354"/>
                  <a:gd name="connsiteY2037" fmla="*/ 3812 h 10000"/>
                  <a:gd name="connsiteX2038" fmla="*/ 1765 w 10354"/>
                  <a:gd name="connsiteY2038" fmla="*/ 3812 h 10000"/>
                  <a:gd name="connsiteX2039" fmla="*/ 1779 w 10354"/>
                  <a:gd name="connsiteY2039" fmla="*/ 3786 h 10000"/>
                  <a:gd name="connsiteX2040" fmla="*/ 1779 w 10354"/>
                  <a:gd name="connsiteY2040" fmla="*/ 3786 h 10000"/>
                  <a:gd name="connsiteX2041" fmla="*/ 1751 w 10354"/>
                  <a:gd name="connsiteY2041" fmla="*/ 3803 h 10000"/>
                  <a:gd name="connsiteX2042" fmla="*/ 1747 w 10354"/>
                  <a:gd name="connsiteY2042" fmla="*/ 3803 h 10000"/>
                  <a:gd name="connsiteX2043" fmla="*/ 1724 w 10354"/>
                  <a:gd name="connsiteY2043" fmla="*/ 3803 h 10000"/>
                  <a:gd name="connsiteX2044" fmla="*/ 1700 w 10354"/>
                  <a:gd name="connsiteY2044" fmla="*/ 3829 h 10000"/>
                  <a:gd name="connsiteX2045" fmla="*/ 1705 w 10354"/>
                  <a:gd name="connsiteY2045" fmla="*/ 3846 h 10000"/>
                  <a:gd name="connsiteX2046" fmla="*/ 1691 w 10354"/>
                  <a:gd name="connsiteY2046" fmla="*/ 3846 h 10000"/>
                  <a:gd name="connsiteX2047" fmla="*/ 1691 w 10354"/>
                  <a:gd name="connsiteY2047" fmla="*/ 3863 h 10000"/>
                  <a:gd name="connsiteX2048" fmla="*/ 1691 w 10354"/>
                  <a:gd name="connsiteY2048" fmla="*/ 3915 h 10000"/>
                  <a:gd name="connsiteX2049" fmla="*/ 1677 w 10354"/>
                  <a:gd name="connsiteY2049" fmla="*/ 3923 h 10000"/>
                  <a:gd name="connsiteX2050" fmla="*/ 1673 w 10354"/>
                  <a:gd name="connsiteY2050" fmla="*/ 3915 h 10000"/>
                  <a:gd name="connsiteX2051" fmla="*/ 1664 w 10354"/>
                  <a:gd name="connsiteY2051" fmla="*/ 3889 h 10000"/>
                  <a:gd name="connsiteX2052" fmla="*/ 1673 w 10354"/>
                  <a:gd name="connsiteY2052" fmla="*/ 3872 h 10000"/>
                  <a:gd name="connsiteX2053" fmla="*/ 1664 w 10354"/>
                  <a:gd name="connsiteY2053" fmla="*/ 3872 h 10000"/>
                  <a:gd name="connsiteX2054" fmla="*/ 1636 w 10354"/>
                  <a:gd name="connsiteY2054" fmla="*/ 3923 h 10000"/>
                  <a:gd name="connsiteX2055" fmla="*/ 1645 w 10354"/>
                  <a:gd name="connsiteY2055" fmla="*/ 3923 h 10000"/>
                  <a:gd name="connsiteX2056" fmla="*/ 1650 w 10354"/>
                  <a:gd name="connsiteY2056" fmla="*/ 3949 h 10000"/>
                  <a:gd name="connsiteX2057" fmla="*/ 1650 w 10354"/>
                  <a:gd name="connsiteY2057" fmla="*/ 3983 h 10000"/>
                  <a:gd name="connsiteX2058" fmla="*/ 1636 w 10354"/>
                  <a:gd name="connsiteY2058" fmla="*/ 4000 h 10000"/>
                  <a:gd name="connsiteX2059" fmla="*/ 1631 w 10354"/>
                  <a:gd name="connsiteY2059" fmla="*/ 4009 h 10000"/>
                  <a:gd name="connsiteX2060" fmla="*/ 1618 w 10354"/>
                  <a:gd name="connsiteY2060" fmla="*/ 3949 h 10000"/>
                  <a:gd name="connsiteX2061" fmla="*/ 1585 w 10354"/>
                  <a:gd name="connsiteY2061" fmla="*/ 3966 h 10000"/>
                  <a:gd name="connsiteX2062" fmla="*/ 1590 w 10354"/>
                  <a:gd name="connsiteY2062" fmla="*/ 3974 h 10000"/>
                  <a:gd name="connsiteX2063" fmla="*/ 1544 w 10354"/>
                  <a:gd name="connsiteY2063" fmla="*/ 4009 h 10000"/>
                  <a:gd name="connsiteX2064" fmla="*/ 1539 w 10354"/>
                  <a:gd name="connsiteY2064" fmla="*/ 4009 h 10000"/>
                  <a:gd name="connsiteX2065" fmla="*/ 1410 w 10354"/>
                  <a:gd name="connsiteY2065" fmla="*/ 4188 h 10000"/>
                  <a:gd name="connsiteX2066" fmla="*/ 1406 w 10354"/>
                  <a:gd name="connsiteY2066" fmla="*/ 4171 h 10000"/>
                  <a:gd name="connsiteX2067" fmla="*/ 1396 w 10354"/>
                  <a:gd name="connsiteY2067" fmla="*/ 4214 h 10000"/>
                  <a:gd name="connsiteX2068" fmla="*/ 1406 w 10354"/>
                  <a:gd name="connsiteY2068" fmla="*/ 4222 h 10000"/>
                  <a:gd name="connsiteX2069" fmla="*/ 1392 w 10354"/>
                  <a:gd name="connsiteY2069" fmla="*/ 4239 h 10000"/>
                  <a:gd name="connsiteX2070" fmla="*/ 1369 w 10354"/>
                  <a:gd name="connsiteY2070" fmla="*/ 4248 h 10000"/>
                  <a:gd name="connsiteX2071" fmla="*/ 1355 w 10354"/>
                  <a:gd name="connsiteY2071" fmla="*/ 4256 h 10000"/>
                  <a:gd name="connsiteX2072" fmla="*/ 1350 w 10354"/>
                  <a:gd name="connsiteY2072" fmla="*/ 4248 h 10000"/>
                  <a:gd name="connsiteX2073" fmla="*/ 1332 w 10354"/>
                  <a:gd name="connsiteY2073" fmla="*/ 4376 h 10000"/>
                  <a:gd name="connsiteX2074" fmla="*/ 1332 w 10354"/>
                  <a:gd name="connsiteY2074" fmla="*/ 4436 h 10000"/>
                  <a:gd name="connsiteX2075" fmla="*/ 1323 w 10354"/>
                  <a:gd name="connsiteY2075" fmla="*/ 4462 h 10000"/>
                  <a:gd name="connsiteX2076" fmla="*/ 1304 w 10354"/>
                  <a:gd name="connsiteY2076" fmla="*/ 4487 h 10000"/>
                  <a:gd name="connsiteX2077" fmla="*/ 1290 w 10354"/>
                  <a:gd name="connsiteY2077" fmla="*/ 4470 h 10000"/>
                  <a:gd name="connsiteX2078" fmla="*/ 1263 w 10354"/>
                  <a:gd name="connsiteY2078" fmla="*/ 4496 h 10000"/>
                  <a:gd name="connsiteX2079" fmla="*/ 1258 w 10354"/>
                  <a:gd name="connsiteY2079" fmla="*/ 4547 h 10000"/>
                  <a:gd name="connsiteX2080" fmla="*/ 1249 w 10354"/>
                  <a:gd name="connsiteY2080" fmla="*/ 4487 h 10000"/>
                  <a:gd name="connsiteX2081" fmla="*/ 1235 w 10354"/>
                  <a:gd name="connsiteY2081" fmla="*/ 4496 h 10000"/>
                  <a:gd name="connsiteX2082" fmla="*/ 1221 w 10354"/>
                  <a:gd name="connsiteY2082" fmla="*/ 4496 h 10000"/>
                  <a:gd name="connsiteX2083" fmla="*/ 1217 w 10354"/>
                  <a:gd name="connsiteY2083" fmla="*/ 4487 h 10000"/>
                  <a:gd name="connsiteX2084" fmla="*/ 1198 w 10354"/>
                  <a:gd name="connsiteY2084" fmla="*/ 4410 h 10000"/>
                  <a:gd name="connsiteX2085" fmla="*/ 1157 w 10354"/>
                  <a:gd name="connsiteY2085" fmla="*/ 4333 h 10000"/>
                  <a:gd name="connsiteX2086" fmla="*/ 1147 w 10354"/>
                  <a:gd name="connsiteY2086" fmla="*/ 4299 h 10000"/>
                  <a:gd name="connsiteX2087" fmla="*/ 1147 w 10354"/>
                  <a:gd name="connsiteY2087" fmla="*/ 4274 h 10000"/>
                  <a:gd name="connsiteX2088" fmla="*/ 1161 w 10354"/>
                  <a:gd name="connsiteY2088" fmla="*/ 4256 h 10000"/>
                  <a:gd name="connsiteX2089" fmla="*/ 1171 w 10354"/>
                  <a:gd name="connsiteY2089" fmla="*/ 4248 h 10000"/>
                  <a:gd name="connsiteX2090" fmla="*/ 1175 w 10354"/>
                  <a:gd name="connsiteY2090" fmla="*/ 4214 h 10000"/>
                  <a:gd name="connsiteX2091" fmla="*/ 1263 w 10354"/>
                  <a:gd name="connsiteY2091" fmla="*/ 4171 h 10000"/>
                  <a:gd name="connsiteX2092" fmla="*/ 1249 w 10354"/>
                  <a:gd name="connsiteY2092" fmla="*/ 4137 h 10000"/>
                  <a:gd name="connsiteX2093" fmla="*/ 1244 w 10354"/>
                  <a:gd name="connsiteY2093" fmla="*/ 4060 h 10000"/>
                  <a:gd name="connsiteX2094" fmla="*/ 1230 w 10354"/>
                  <a:gd name="connsiteY2094" fmla="*/ 4077 h 10000"/>
                  <a:gd name="connsiteX2095" fmla="*/ 1221 w 10354"/>
                  <a:gd name="connsiteY2095" fmla="*/ 4026 h 10000"/>
                  <a:gd name="connsiteX2096" fmla="*/ 1217 w 10354"/>
                  <a:gd name="connsiteY2096" fmla="*/ 4026 h 10000"/>
                  <a:gd name="connsiteX2097" fmla="*/ 1212 w 10354"/>
                  <a:gd name="connsiteY2097" fmla="*/ 3983 h 10000"/>
                  <a:gd name="connsiteX2098" fmla="*/ 1203 w 10354"/>
                  <a:gd name="connsiteY2098" fmla="*/ 3966 h 10000"/>
                  <a:gd name="connsiteX2099" fmla="*/ 1171 w 10354"/>
                  <a:gd name="connsiteY2099" fmla="*/ 3949 h 10000"/>
                  <a:gd name="connsiteX2100" fmla="*/ 1111 w 10354"/>
                  <a:gd name="connsiteY2100" fmla="*/ 3940 h 10000"/>
                  <a:gd name="connsiteX2101" fmla="*/ 1097 w 10354"/>
                  <a:gd name="connsiteY2101" fmla="*/ 3949 h 10000"/>
                  <a:gd name="connsiteX2102" fmla="*/ 1037 w 10354"/>
                  <a:gd name="connsiteY2102" fmla="*/ 3897 h 10000"/>
                  <a:gd name="connsiteX2103" fmla="*/ 1041 w 10354"/>
                  <a:gd name="connsiteY2103" fmla="*/ 3923 h 10000"/>
                  <a:gd name="connsiteX2104" fmla="*/ 1097 w 10354"/>
                  <a:gd name="connsiteY2104" fmla="*/ 4009 h 10000"/>
                  <a:gd name="connsiteX2105" fmla="*/ 1097 w 10354"/>
                  <a:gd name="connsiteY2105" fmla="*/ 4120 h 10000"/>
                  <a:gd name="connsiteX2106" fmla="*/ 1097 w 10354"/>
                  <a:gd name="connsiteY2106" fmla="*/ 4162 h 10000"/>
                  <a:gd name="connsiteX2107" fmla="*/ 1097 w 10354"/>
                  <a:gd name="connsiteY2107" fmla="*/ 4197 h 10000"/>
                  <a:gd name="connsiteX2108" fmla="*/ 1074 w 10354"/>
                  <a:gd name="connsiteY2108" fmla="*/ 4333 h 10000"/>
                  <a:gd name="connsiteX2109" fmla="*/ 1074 w 10354"/>
                  <a:gd name="connsiteY2109" fmla="*/ 4376 h 10000"/>
                  <a:gd name="connsiteX2110" fmla="*/ 1083 w 10354"/>
                  <a:gd name="connsiteY2110" fmla="*/ 4385 h 10000"/>
                  <a:gd name="connsiteX2111" fmla="*/ 1097 w 10354"/>
                  <a:gd name="connsiteY2111" fmla="*/ 4385 h 10000"/>
                  <a:gd name="connsiteX2112" fmla="*/ 1111 w 10354"/>
                  <a:gd name="connsiteY2112" fmla="*/ 4410 h 10000"/>
                  <a:gd name="connsiteX2113" fmla="*/ 1124 w 10354"/>
                  <a:gd name="connsiteY2113" fmla="*/ 4444 h 10000"/>
                  <a:gd name="connsiteX2114" fmla="*/ 1124 w 10354"/>
                  <a:gd name="connsiteY2114" fmla="*/ 4470 h 10000"/>
                  <a:gd name="connsiteX2115" fmla="*/ 1115 w 10354"/>
                  <a:gd name="connsiteY2115" fmla="*/ 4513 h 10000"/>
                  <a:gd name="connsiteX2116" fmla="*/ 1115 w 10354"/>
                  <a:gd name="connsiteY2116" fmla="*/ 4530 h 10000"/>
                  <a:gd name="connsiteX2117" fmla="*/ 1115 w 10354"/>
                  <a:gd name="connsiteY2117" fmla="*/ 4573 h 10000"/>
                  <a:gd name="connsiteX2118" fmla="*/ 1101 w 10354"/>
                  <a:gd name="connsiteY2118" fmla="*/ 4607 h 10000"/>
                  <a:gd name="connsiteX2119" fmla="*/ 1097 w 10354"/>
                  <a:gd name="connsiteY2119" fmla="*/ 4658 h 10000"/>
                  <a:gd name="connsiteX2120" fmla="*/ 1101 w 10354"/>
                  <a:gd name="connsiteY2120" fmla="*/ 4692 h 10000"/>
                  <a:gd name="connsiteX2121" fmla="*/ 1097 w 10354"/>
                  <a:gd name="connsiteY2121" fmla="*/ 4778 h 10000"/>
                  <a:gd name="connsiteX2122" fmla="*/ 1083 w 10354"/>
                  <a:gd name="connsiteY2122" fmla="*/ 4744 h 10000"/>
                  <a:gd name="connsiteX2123" fmla="*/ 1083 w 10354"/>
                  <a:gd name="connsiteY2123" fmla="*/ 4718 h 10000"/>
                  <a:gd name="connsiteX2124" fmla="*/ 1074 w 10354"/>
                  <a:gd name="connsiteY2124" fmla="*/ 4692 h 10000"/>
                  <a:gd name="connsiteX2125" fmla="*/ 1065 w 10354"/>
                  <a:gd name="connsiteY2125" fmla="*/ 4692 h 10000"/>
                  <a:gd name="connsiteX2126" fmla="*/ 1051 w 10354"/>
                  <a:gd name="connsiteY2126" fmla="*/ 4718 h 10000"/>
                  <a:gd name="connsiteX2127" fmla="*/ 1055 w 10354"/>
                  <a:gd name="connsiteY2127" fmla="*/ 4692 h 10000"/>
                  <a:gd name="connsiteX2128" fmla="*/ 1055 w 10354"/>
                  <a:gd name="connsiteY2128" fmla="*/ 4667 h 10000"/>
                  <a:gd name="connsiteX2129" fmla="*/ 1028 w 10354"/>
                  <a:gd name="connsiteY2129" fmla="*/ 4624 h 10000"/>
                  <a:gd name="connsiteX2130" fmla="*/ 1005 w 10354"/>
                  <a:gd name="connsiteY2130" fmla="*/ 4624 h 10000"/>
                  <a:gd name="connsiteX2131" fmla="*/ 977 w 10354"/>
                  <a:gd name="connsiteY2131" fmla="*/ 4581 h 10000"/>
                  <a:gd name="connsiteX2132" fmla="*/ 963 w 10354"/>
                  <a:gd name="connsiteY2132" fmla="*/ 4607 h 10000"/>
                  <a:gd name="connsiteX2133" fmla="*/ 963 w 10354"/>
                  <a:gd name="connsiteY2133" fmla="*/ 4632 h 10000"/>
                  <a:gd name="connsiteX2134" fmla="*/ 917 w 10354"/>
                  <a:gd name="connsiteY2134" fmla="*/ 4718 h 10000"/>
                  <a:gd name="connsiteX2135" fmla="*/ 889 w 10354"/>
                  <a:gd name="connsiteY2135" fmla="*/ 4744 h 10000"/>
                  <a:gd name="connsiteX2136" fmla="*/ 880 w 10354"/>
                  <a:gd name="connsiteY2136" fmla="*/ 4744 h 10000"/>
                  <a:gd name="connsiteX2137" fmla="*/ 862 w 10354"/>
                  <a:gd name="connsiteY2137" fmla="*/ 4769 h 10000"/>
                  <a:gd name="connsiteX2138" fmla="*/ 857 w 10354"/>
                  <a:gd name="connsiteY2138" fmla="*/ 4795 h 10000"/>
                  <a:gd name="connsiteX2139" fmla="*/ 829 w 10354"/>
                  <a:gd name="connsiteY2139" fmla="*/ 4846 h 10000"/>
                  <a:gd name="connsiteX2140" fmla="*/ 816 w 10354"/>
                  <a:gd name="connsiteY2140" fmla="*/ 4855 h 10000"/>
                  <a:gd name="connsiteX2141" fmla="*/ 816 w 10354"/>
                  <a:gd name="connsiteY2141" fmla="*/ 4940 h 10000"/>
                  <a:gd name="connsiteX2142" fmla="*/ 880 w 10354"/>
                  <a:gd name="connsiteY2142" fmla="*/ 5179 h 10000"/>
                  <a:gd name="connsiteX2143" fmla="*/ 880 w 10354"/>
                  <a:gd name="connsiteY2143" fmla="*/ 5188 h 10000"/>
                  <a:gd name="connsiteX2144" fmla="*/ 862 w 10354"/>
                  <a:gd name="connsiteY2144" fmla="*/ 5171 h 10000"/>
                  <a:gd name="connsiteX2145" fmla="*/ 857 w 10354"/>
                  <a:gd name="connsiteY2145" fmla="*/ 5171 h 10000"/>
                  <a:gd name="connsiteX2146" fmla="*/ 820 w 10354"/>
                  <a:gd name="connsiteY2146" fmla="*/ 5145 h 10000"/>
                  <a:gd name="connsiteX2147" fmla="*/ 820 w 10354"/>
                  <a:gd name="connsiteY2147" fmla="*/ 5154 h 10000"/>
                  <a:gd name="connsiteX2148" fmla="*/ 816 w 10354"/>
                  <a:gd name="connsiteY2148" fmla="*/ 5171 h 10000"/>
                  <a:gd name="connsiteX2149" fmla="*/ 783 w 10354"/>
                  <a:gd name="connsiteY2149" fmla="*/ 5145 h 10000"/>
                  <a:gd name="connsiteX2150" fmla="*/ 756 w 10354"/>
                  <a:gd name="connsiteY2150" fmla="*/ 5103 h 10000"/>
                  <a:gd name="connsiteX2151" fmla="*/ 742 w 10354"/>
                  <a:gd name="connsiteY2151" fmla="*/ 5103 h 10000"/>
                  <a:gd name="connsiteX2152" fmla="*/ 728 w 10354"/>
                  <a:gd name="connsiteY2152" fmla="*/ 5094 h 10000"/>
                  <a:gd name="connsiteX2153" fmla="*/ 710 w 10354"/>
                  <a:gd name="connsiteY2153" fmla="*/ 5120 h 10000"/>
                  <a:gd name="connsiteX2154" fmla="*/ 700 w 10354"/>
                  <a:gd name="connsiteY2154" fmla="*/ 5145 h 10000"/>
                  <a:gd name="connsiteX2155" fmla="*/ 696 w 10354"/>
                  <a:gd name="connsiteY2155" fmla="*/ 5103 h 10000"/>
                  <a:gd name="connsiteX2156" fmla="*/ 714 w 10354"/>
                  <a:gd name="connsiteY2156" fmla="*/ 5077 h 10000"/>
                  <a:gd name="connsiteX2157" fmla="*/ 682 w 10354"/>
                  <a:gd name="connsiteY2157" fmla="*/ 5068 h 10000"/>
                  <a:gd name="connsiteX2158" fmla="*/ 673 w 10354"/>
                  <a:gd name="connsiteY2158" fmla="*/ 5034 h 10000"/>
                  <a:gd name="connsiteX2159" fmla="*/ 636 w 10354"/>
                  <a:gd name="connsiteY2159" fmla="*/ 4991 h 10000"/>
                  <a:gd name="connsiteX2160" fmla="*/ 622 w 10354"/>
                  <a:gd name="connsiteY2160" fmla="*/ 4983 h 10000"/>
                  <a:gd name="connsiteX2161" fmla="*/ 622 w 10354"/>
                  <a:gd name="connsiteY2161" fmla="*/ 5034 h 10000"/>
                  <a:gd name="connsiteX2162" fmla="*/ 608 w 10354"/>
                  <a:gd name="connsiteY2162" fmla="*/ 5051 h 10000"/>
                  <a:gd name="connsiteX2163" fmla="*/ 594 w 10354"/>
                  <a:gd name="connsiteY2163" fmla="*/ 5068 h 10000"/>
                  <a:gd name="connsiteX2164" fmla="*/ 608 w 10354"/>
                  <a:gd name="connsiteY2164" fmla="*/ 5120 h 10000"/>
                  <a:gd name="connsiteX2165" fmla="*/ 613 w 10354"/>
                  <a:gd name="connsiteY2165" fmla="*/ 5128 h 10000"/>
                  <a:gd name="connsiteX2166" fmla="*/ 627 w 10354"/>
                  <a:gd name="connsiteY2166" fmla="*/ 5179 h 10000"/>
                  <a:gd name="connsiteX2167" fmla="*/ 650 w 10354"/>
                  <a:gd name="connsiteY2167" fmla="*/ 5214 h 10000"/>
                  <a:gd name="connsiteX2168" fmla="*/ 687 w 10354"/>
                  <a:gd name="connsiteY2168" fmla="*/ 5188 h 10000"/>
                  <a:gd name="connsiteX2169" fmla="*/ 700 w 10354"/>
                  <a:gd name="connsiteY2169" fmla="*/ 5325 h 10000"/>
                  <a:gd name="connsiteX2170" fmla="*/ 710 w 10354"/>
                  <a:gd name="connsiteY2170" fmla="*/ 5350 h 10000"/>
                  <a:gd name="connsiteX2171" fmla="*/ 687 w 10354"/>
                  <a:gd name="connsiteY2171" fmla="*/ 5325 h 10000"/>
                  <a:gd name="connsiteX2172" fmla="*/ 668 w 10354"/>
                  <a:gd name="connsiteY2172" fmla="*/ 5350 h 10000"/>
                  <a:gd name="connsiteX2173" fmla="*/ 668 w 10354"/>
                  <a:gd name="connsiteY2173" fmla="*/ 5368 h 10000"/>
                  <a:gd name="connsiteX2174" fmla="*/ 668 w 10354"/>
                  <a:gd name="connsiteY2174" fmla="*/ 5376 h 10000"/>
                  <a:gd name="connsiteX2175" fmla="*/ 581 w 10354"/>
                  <a:gd name="connsiteY2175" fmla="*/ 5316 h 10000"/>
                  <a:gd name="connsiteX2176" fmla="*/ 567 w 10354"/>
                  <a:gd name="connsiteY2176" fmla="*/ 5265 h 10000"/>
                  <a:gd name="connsiteX2177" fmla="*/ 562 w 10354"/>
                  <a:gd name="connsiteY2177" fmla="*/ 5256 h 10000"/>
                  <a:gd name="connsiteX2178" fmla="*/ 548 w 10354"/>
                  <a:gd name="connsiteY2178" fmla="*/ 5231 h 10000"/>
                  <a:gd name="connsiteX2179" fmla="*/ 535 w 10354"/>
                  <a:gd name="connsiteY2179" fmla="*/ 5214 h 10000"/>
                  <a:gd name="connsiteX2180" fmla="*/ 525 w 10354"/>
                  <a:gd name="connsiteY2180" fmla="*/ 5231 h 10000"/>
                  <a:gd name="connsiteX2181" fmla="*/ 521 w 10354"/>
                  <a:gd name="connsiteY2181" fmla="*/ 5231 h 10000"/>
                  <a:gd name="connsiteX2182" fmla="*/ 493 w 10354"/>
                  <a:gd name="connsiteY2182" fmla="*/ 5205 h 10000"/>
                  <a:gd name="connsiteX2183" fmla="*/ 488 w 10354"/>
                  <a:gd name="connsiteY2183" fmla="*/ 5179 h 10000"/>
                  <a:gd name="connsiteX2184" fmla="*/ 475 w 10354"/>
                  <a:gd name="connsiteY2184" fmla="*/ 5188 h 10000"/>
                  <a:gd name="connsiteX2185" fmla="*/ 475 w 10354"/>
                  <a:gd name="connsiteY2185" fmla="*/ 5171 h 10000"/>
                  <a:gd name="connsiteX2186" fmla="*/ 488 w 10354"/>
                  <a:gd name="connsiteY2186" fmla="*/ 5154 h 10000"/>
                  <a:gd name="connsiteX2187" fmla="*/ 488 w 10354"/>
                  <a:gd name="connsiteY2187" fmla="*/ 5068 h 10000"/>
                  <a:gd name="connsiteX2188" fmla="*/ 475 w 10354"/>
                  <a:gd name="connsiteY2188" fmla="*/ 5051 h 10000"/>
                  <a:gd name="connsiteX2189" fmla="*/ 475 w 10354"/>
                  <a:gd name="connsiteY2189" fmla="*/ 5017 h 10000"/>
                  <a:gd name="connsiteX2190" fmla="*/ 452 w 10354"/>
                  <a:gd name="connsiteY2190" fmla="*/ 4932 h 10000"/>
                  <a:gd name="connsiteX2191" fmla="*/ 461 w 10354"/>
                  <a:gd name="connsiteY2191" fmla="*/ 4915 h 10000"/>
                  <a:gd name="connsiteX2192" fmla="*/ 475 w 10354"/>
                  <a:gd name="connsiteY2192" fmla="*/ 4906 h 10000"/>
                  <a:gd name="connsiteX2193" fmla="*/ 479 w 10354"/>
                  <a:gd name="connsiteY2193" fmla="*/ 4803 h 10000"/>
                  <a:gd name="connsiteX2194" fmla="*/ 479 w 10354"/>
                  <a:gd name="connsiteY2194" fmla="*/ 4778 h 10000"/>
                  <a:gd name="connsiteX2195" fmla="*/ 475 w 10354"/>
                  <a:gd name="connsiteY2195" fmla="*/ 4761 h 10000"/>
                  <a:gd name="connsiteX2196" fmla="*/ 465 w 10354"/>
                  <a:gd name="connsiteY2196" fmla="*/ 4718 h 10000"/>
                  <a:gd name="connsiteX2197" fmla="*/ 461 w 10354"/>
                  <a:gd name="connsiteY2197" fmla="*/ 4709 h 10000"/>
                  <a:gd name="connsiteX2198" fmla="*/ 442 w 10354"/>
                  <a:gd name="connsiteY2198" fmla="*/ 4692 h 10000"/>
                  <a:gd name="connsiteX2199" fmla="*/ 433 w 10354"/>
                  <a:gd name="connsiteY2199" fmla="*/ 4667 h 10000"/>
                  <a:gd name="connsiteX2200" fmla="*/ 419 w 10354"/>
                  <a:gd name="connsiteY2200" fmla="*/ 4667 h 10000"/>
                  <a:gd name="connsiteX2201" fmla="*/ 401 w 10354"/>
                  <a:gd name="connsiteY2201" fmla="*/ 4658 h 10000"/>
                  <a:gd name="connsiteX2202" fmla="*/ 401 w 10354"/>
                  <a:gd name="connsiteY2202" fmla="*/ 4624 h 10000"/>
                  <a:gd name="connsiteX2203" fmla="*/ 401 w 10354"/>
                  <a:gd name="connsiteY2203" fmla="*/ 4607 h 10000"/>
                  <a:gd name="connsiteX2204" fmla="*/ 378 w 10354"/>
                  <a:gd name="connsiteY2204" fmla="*/ 4607 h 10000"/>
                  <a:gd name="connsiteX2205" fmla="*/ 341 w 10354"/>
                  <a:gd name="connsiteY2205" fmla="*/ 4530 h 10000"/>
                  <a:gd name="connsiteX2206" fmla="*/ 346 w 10354"/>
                  <a:gd name="connsiteY2206" fmla="*/ 4521 h 10000"/>
                  <a:gd name="connsiteX2207" fmla="*/ 332 w 10354"/>
                  <a:gd name="connsiteY2207" fmla="*/ 4487 h 10000"/>
                  <a:gd name="connsiteX2208" fmla="*/ 327 w 10354"/>
                  <a:gd name="connsiteY2208" fmla="*/ 4462 h 10000"/>
                  <a:gd name="connsiteX2209" fmla="*/ 313 w 10354"/>
                  <a:gd name="connsiteY2209" fmla="*/ 4436 h 10000"/>
                  <a:gd name="connsiteX2210" fmla="*/ 300 w 10354"/>
                  <a:gd name="connsiteY2210" fmla="*/ 4419 h 10000"/>
                  <a:gd name="connsiteX2211" fmla="*/ 309 w 10354"/>
                  <a:gd name="connsiteY2211" fmla="*/ 4393 h 10000"/>
                  <a:gd name="connsiteX2212" fmla="*/ 332 w 10354"/>
                  <a:gd name="connsiteY2212" fmla="*/ 4385 h 10000"/>
                  <a:gd name="connsiteX2213" fmla="*/ 355 w 10354"/>
                  <a:gd name="connsiteY2213" fmla="*/ 4419 h 10000"/>
                  <a:gd name="connsiteX2214" fmla="*/ 355 w 10354"/>
                  <a:gd name="connsiteY2214" fmla="*/ 4444 h 10000"/>
                  <a:gd name="connsiteX2215" fmla="*/ 369 w 10354"/>
                  <a:gd name="connsiteY2215" fmla="*/ 4470 h 10000"/>
                  <a:gd name="connsiteX2216" fmla="*/ 401 w 10354"/>
                  <a:gd name="connsiteY2216" fmla="*/ 4521 h 10000"/>
                  <a:gd name="connsiteX2217" fmla="*/ 406 w 10354"/>
                  <a:gd name="connsiteY2217" fmla="*/ 4513 h 10000"/>
                  <a:gd name="connsiteX2218" fmla="*/ 406 w 10354"/>
                  <a:gd name="connsiteY2218" fmla="*/ 4496 h 10000"/>
                  <a:gd name="connsiteX2219" fmla="*/ 419 w 10354"/>
                  <a:gd name="connsiteY2219" fmla="*/ 4521 h 10000"/>
                  <a:gd name="connsiteX2220" fmla="*/ 429 w 10354"/>
                  <a:gd name="connsiteY2220" fmla="*/ 4530 h 10000"/>
                  <a:gd name="connsiteX2221" fmla="*/ 433 w 10354"/>
                  <a:gd name="connsiteY2221" fmla="*/ 4521 h 10000"/>
                  <a:gd name="connsiteX2222" fmla="*/ 442 w 10354"/>
                  <a:gd name="connsiteY2222" fmla="*/ 4530 h 10000"/>
                  <a:gd name="connsiteX2223" fmla="*/ 447 w 10354"/>
                  <a:gd name="connsiteY2223" fmla="*/ 4521 h 10000"/>
                  <a:gd name="connsiteX2224" fmla="*/ 452 w 10354"/>
                  <a:gd name="connsiteY2224" fmla="*/ 4521 h 10000"/>
                  <a:gd name="connsiteX2225" fmla="*/ 461 w 10354"/>
                  <a:gd name="connsiteY2225" fmla="*/ 4573 h 10000"/>
                  <a:gd name="connsiteX2226" fmla="*/ 479 w 10354"/>
                  <a:gd name="connsiteY2226" fmla="*/ 4556 h 10000"/>
                  <a:gd name="connsiteX2227" fmla="*/ 502 w 10354"/>
                  <a:gd name="connsiteY2227" fmla="*/ 4573 h 10000"/>
                  <a:gd name="connsiteX2228" fmla="*/ 507 w 10354"/>
                  <a:gd name="connsiteY2228" fmla="*/ 4598 h 10000"/>
                  <a:gd name="connsiteX2229" fmla="*/ 525 w 10354"/>
                  <a:gd name="connsiteY2229" fmla="*/ 4598 h 10000"/>
                  <a:gd name="connsiteX2230" fmla="*/ 535 w 10354"/>
                  <a:gd name="connsiteY2230" fmla="*/ 4624 h 10000"/>
                  <a:gd name="connsiteX2231" fmla="*/ 594 w 10354"/>
                  <a:gd name="connsiteY2231" fmla="*/ 4658 h 10000"/>
                  <a:gd name="connsiteX2232" fmla="*/ 627 w 10354"/>
                  <a:gd name="connsiteY2232" fmla="*/ 4658 h 10000"/>
                  <a:gd name="connsiteX2233" fmla="*/ 654 w 10354"/>
                  <a:gd name="connsiteY2233" fmla="*/ 4684 h 10000"/>
                  <a:gd name="connsiteX2234" fmla="*/ 668 w 10354"/>
                  <a:gd name="connsiteY2234" fmla="*/ 4709 h 10000"/>
                  <a:gd name="connsiteX2235" fmla="*/ 747 w 10354"/>
                  <a:gd name="connsiteY2235" fmla="*/ 4718 h 10000"/>
                  <a:gd name="connsiteX2236" fmla="*/ 760 w 10354"/>
                  <a:gd name="connsiteY2236" fmla="*/ 4709 h 10000"/>
                  <a:gd name="connsiteX2237" fmla="*/ 774 w 10354"/>
                  <a:gd name="connsiteY2237" fmla="*/ 4692 h 10000"/>
                  <a:gd name="connsiteX2238" fmla="*/ 829 w 10354"/>
                  <a:gd name="connsiteY2238" fmla="*/ 4658 h 10000"/>
                  <a:gd name="connsiteX2239" fmla="*/ 903 w 10354"/>
                  <a:gd name="connsiteY2239" fmla="*/ 4496 h 10000"/>
                  <a:gd name="connsiteX2240" fmla="*/ 917 w 10354"/>
                  <a:gd name="connsiteY2240" fmla="*/ 4385 h 10000"/>
                  <a:gd name="connsiteX2241" fmla="*/ 903 w 10354"/>
                  <a:gd name="connsiteY2241" fmla="*/ 4376 h 10000"/>
                  <a:gd name="connsiteX2242" fmla="*/ 903 w 10354"/>
                  <a:gd name="connsiteY2242" fmla="*/ 4376 h 10000"/>
                  <a:gd name="connsiteX2243" fmla="*/ 889 w 10354"/>
                  <a:gd name="connsiteY2243" fmla="*/ 4239 h 10000"/>
                  <a:gd name="connsiteX2244" fmla="*/ 880 w 10354"/>
                  <a:gd name="connsiteY2244" fmla="*/ 4214 h 10000"/>
                  <a:gd name="connsiteX2245" fmla="*/ 862 w 10354"/>
                  <a:gd name="connsiteY2245" fmla="*/ 4188 h 10000"/>
                  <a:gd name="connsiteX2246" fmla="*/ 857 w 10354"/>
                  <a:gd name="connsiteY2246" fmla="*/ 4197 h 10000"/>
                  <a:gd name="connsiteX2247" fmla="*/ 848 w 10354"/>
                  <a:gd name="connsiteY2247" fmla="*/ 4188 h 10000"/>
                  <a:gd name="connsiteX2248" fmla="*/ 848 w 10354"/>
                  <a:gd name="connsiteY2248" fmla="*/ 4162 h 10000"/>
                  <a:gd name="connsiteX2249" fmla="*/ 829 w 10354"/>
                  <a:gd name="connsiteY2249" fmla="*/ 4120 h 10000"/>
                  <a:gd name="connsiteX2250" fmla="*/ 820 w 10354"/>
                  <a:gd name="connsiteY2250" fmla="*/ 4103 h 10000"/>
                  <a:gd name="connsiteX2251" fmla="*/ 806 w 10354"/>
                  <a:gd name="connsiteY2251" fmla="*/ 4077 h 10000"/>
                  <a:gd name="connsiteX2252" fmla="*/ 816 w 10354"/>
                  <a:gd name="connsiteY2252" fmla="*/ 4111 h 10000"/>
                  <a:gd name="connsiteX2253" fmla="*/ 802 w 10354"/>
                  <a:gd name="connsiteY2253" fmla="*/ 4111 h 10000"/>
                  <a:gd name="connsiteX2254" fmla="*/ 770 w 10354"/>
                  <a:gd name="connsiteY2254" fmla="*/ 4060 h 10000"/>
                  <a:gd name="connsiteX2255" fmla="*/ 760 w 10354"/>
                  <a:gd name="connsiteY2255" fmla="*/ 4077 h 10000"/>
                  <a:gd name="connsiteX2256" fmla="*/ 760 w 10354"/>
                  <a:gd name="connsiteY2256" fmla="*/ 4060 h 10000"/>
                  <a:gd name="connsiteX2257" fmla="*/ 756 w 10354"/>
                  <a:gd name="connsiteY2257" fmla="*/ 4034 h 10000"/>
                  <a:gd name="connsiteX2258" fmla="*/ 742 w 10354"/>
                  <a:gd name="connsiteY2258" fmla="*/ 4000 h 10000"/>
                  <a:gd name="connsiteX2259" fmla="*/ 747 w 10354"/>
                  <a:gd name="connsiteY2259" fmla="*/ 4034 h 10000"/>
                  <a:gd name="connsiteX2260" fmla="*/ 724 w 10354"/>
                  <a:gd name="connsiteY2260" fmla="*/ 4026 h 10000"/>
                  <a:gd name="connsiteX2261" fmla="*/ 714 w 10354"/>
                  <a:gd name="connsiteY2261" fmla="*/ 4000 h 10000"/>
                  <a:gd name="connsiteX2262" fmla="*/ 714 w 10354"/>
                  <a:gd name="connsiteY2262" fmla="*/ 3983 h 10000"/>
                  <a:gd name="connsiteX2263" fmla="*/ 553 w 10354"/>
                  <a:gd name="connsiteY2263" fmla="*/ 3726 h 10000"/>
                  <a:gd name="connsiteX2264" fmla="*/ 507 w 10354"/>
                  <a:gd name="connsiteY2264" fmla="*/ 3718 h 10000"/>
                  <a:gd name="connsiteX2265" fmla="*/ 516 w 10354"/>
                  <a:gd name="connsiteY2265" fmla="*/ 3726 h 10000"/>
                  <a:gd name="connsiteX2266" fmla="*/ 507 w 10354"/>
                  <a:gd name="connsiteY2266" fmla="*/ 3735 h 10000"/>
                  <a:gd name="connsiteX2267" fmla="*/ 502 w 10354"/>
                  <a:gd name="connsiteY2267" fmla="*/ 3735 h 10000"/>
                  <a:gd name="connsiteX2268" fmla="*/ 419 w 10354"/>
                  <a:gd name="connsiteY2268" fmla="*/ 3675 h 10000"/>
                  <a:gd name="connsiteX2269" fmla="*/ 419 w 10354"/>
                  <a:gd name="connsiteY2269" fmla="*/ 3692 h 10000"/>
                  <a:gd name="connsiteX2270" fmla="*/ 401 w 10354"/>
                  <a:gd name="connsiteY2270" fmla="*/ 3701 h 10000"/>
                  <a:gd name="connsiteX2271" fmla="*/ 387 w 10354"/>
                  <a:gd name="connsiteY2271" fmla="*/ 3718 h 10000"/>
                  <a:gd name="connsiteX2272" fmla="*/ 387 w 10354"/>
                  <a:gd name="connsiteY2272" fmla="*/ 3692 h 10000"/>
                  <a:gd name="connsiteX2273" fmla="*/ 378 w 10354"/>
                  <a:gd name="connsiteY2273" fmla="*/ 3675 h 10000"/>
                  <a:gd name="connsiteX2274" fmla="*/ 378 w 10354"/>
                  <a:gd name="connsiteY2274" fmla="*/ 3650 h 10000"/>
                  <a:gd name="connsiteX2275" fmla="*/ 378 w 10354"/>
                  <a:gd name="connsiteY2275" fmla="*/ 3650 h 10000"/>
                  <a:gd name="connsiteX2276" fmla="*/ 355 w 10354"/>
                  <a:gd name="connsiteY2276" fmla="*/ 3675 h 10000"/>
                  <a:gd name="connsiteX2277" fmla="*/ 359 w 10354"/>
                  <a:gd name="connsiteY2277" fmla="*/ 3641 h 10000"/>
                  <a:gd name="connsiteX2278" fmla="*/ 346 w 10354"/>
                  <a:gd name="connsiteY2278" fmla="*/ 3650 h 10000"/>
                  <a:gd name="connsiteX2279" fmla="*/ 355 w 10354"/>
                  <a:gd name="connsiteY2279" fmla="*/ 3624 h 10000"/>
                  <a:gd name="connsiteX2280" fmla="*/ 346 w 10354"/>
                  <a:gd name="connsiteY2280" fmla="*/ 3624 h 10000"/>
                  <a:gd name="connsiteX2281" fmla="*/ 341 w 10354"/>
                  <a:gd name="connsiteY2281" fmla="*/ 3624 h 10000"/>
                  <a:gd name="connsiteX2282" fmla="*/ 318 w 10354"/>
                  <a:gd name="connsiteY2282" fmla="*/ 3641 h 10000"/>
                  <a:gd name="connsiteX2283" fmla="*/ 327 w 10354"/>
                  <a:gd name="connsiteY2283" fmla="*/ 3624 h 10000"/>
                  <a:gd name="connsiteX2284" fmla="*/ 318 w 10354"/>
                  <a:gd name="connsiteY2284" fmla="*/ 3615 h 10000"/>
                  <a:gd name="connsiteX2285" fmla="*/ 318 w 10354"/>
                  <a:gd name="connsiteY2285" fmla="*/ 3598 h 10000"/>
                  <a:gd name="connsiteX2286" fmla="*/ 300 w 10354"/>
                  <a:gd name="connsiteY2286" fmla="*/ 3598 h 10000"/>
                  <a:gd name="connsiteX2287" fmla="*/ 309 w 10354"/>
                  <a:gd name="connsiteY2287" fmla="*/ 3538 h 10000"/>
                  <a:gd name="connsiteX2288" fmla="*/ 313 w 10354"/>
                  <a:gd name="connsiteY2288" fmla="*/ 3564 h 10000"/>
                  <a:gd name="connsiteX2289" fmla="*/ 318 w 10354"/>
                  <a:gd name="connsiteY2289" fmla="*/ 3581 h 10000"/>
                  <a:gd name="connsiteX2290" fmla="*/ 327 w 10354"/>
                  <a:gd name="connsiteY2290" fmla="*/ 3564 h 10000"/>
                  <a:gd name="connsiteX2291" fmla="*/ 332 w 10354"/>
                  <a:gd name="connsiteY2291" fmla="*/ 3590 h 10000"/>
                  <a:gd name="connsiteX2292" fmla="*/ 346 w 10354"/>
                  <a:gd name="connsiteY2292" fmla="*/ 3590 h 10000"/>
                  <a:gd name="connsiteX2293" fmla="*/ 355 w 10354"/>
                  <a:gd name="connsiteY2293" fmla="*/ 3590 h 10000"/>
                  <a:gd name="connsiteX2294" fmla="*/ 369 w 10354"/>
                  <a:gd name="connsiteY2294" fmla="*/ 3556 h 10000"/>
                  <a:gd name="connsiteX2295" fmla="*/ 369 w 10354"/>
                  <a:gd name="connsiteY2295" fmla="*/ 3538 h 10000"/>
                  <a:gd name="connsiteX2296" fmla="*/ 346 w 10354"/>
                  <a:gd name="connsiteY2296" fmla="*/ 3513 h 10000"/>
                  <a:gd name="connsiteX2297" fmla="*/ 341 w 10354"/>
                  <a:gd name="connsiteY2297" fmla="*/ 3530 h 10000"/>
                  <a:gd name="connsiteX2298" fmla="*/ 327 w 10354"/>
                  <a:gd name="connsiteY2298" fmla="*/ 3513 h 10000"/>
                  <a:gd name="connsiteX2299" fmla="*/ 327 w 10354"/>
                  <a:gd name="connsiteY2299" fmla="*/ 3504 h 10000"/>
                  <a:gd name="connsiteX2300" fmla="*/ 295 w 10354"/>
                  <a:gd name="connsiteY2300" fmla="*/ 3462 h 10000"/>
                  <a:gd name="connsiteX2301" fmla="*/ 300 w 10354"/>
                  <a:gd name="connsiteY2301" fmla="*/ 3479 h 10000"/>
                  <a:gd name="connsiteX2302" fmla="*/ 295 w 10354"/>
                  <a:gd name="connsiteY2302" fmla="*/ 3513 h 10000"/>
                  <a:gd name="connsiteX2303" fmla="*/ 286 w 10354"/>
                  <a:gd name="connsiteY2303" fmla="*/ 3513 h 10000"/>
                  <a:gd name="connsiteX2304" fmla="*/ 281 w 10354"/>
                  <a:gd name="connsiteY2304" fmla="*/ 3513 h 10000"/>
                  <a:gd name="connsiteX2305" fmla="*/ 281 w 10354"/>
                  <a:gd name="connsiteY2305" fmla="*/ 3530 h 10000"/>
                  <a:gd name="connsiteX2306" fmla="*/ 281 w 10354"/>
                  <a:gd name="connsiteY2306" fmla="*/ 3556 h 10000"/>
                  <a:gd name="connsiteX2307" fmla="*/ 272 w 10354"/>
                  <a:gd name="connsiteY2307" fmla="*/ 3564 h 10000"/>
                  <a:gd name="connsiteX2308" fmla="*/ 267 w 10354"/>
                  <a:gd name="connsiteY2308" fmla="*/ 3564 h 10000"/>
                  <a:gd name="connsiteX2309" fmla="*/ 253 w 10354"/>
                  <a:gd name="connsiteY2309" fmla="*/ 3538 h 10000"/>
                  <a:gd name="connsiteX2310" fmla="*/ 226 w 10354"/>
                  <a:gd name="connsiteY2310" fmla="*/ 3513 h 10000"/>
                  <a:gd name="connsiteX2311" fmla="*/ 226 w 10354"/>
                  <a:gd name="connsiteY2311" fmla="*/ 3530 h 10000"/>
                  <a:gd name="connsiteX2312" fmla="*/ 226 w 10354"/>
                  <a:gd name="connsiteY2312" fmla="*/ 3530 h 10000"/>
                  <a:gd name="connsiteX2313" fmla="*/ 226 w 10354"/>
                  <a:gd name="connsiteY2313" fmla="*/ 3530 h 10000"/>
                  <a:gd name="connsiteX2314" fmla="*/ 226 w 10354"/>
                  <a:gd name="connsiteY2314" fmla="*/ 3556 h 10000"/>
                  <a:gd name="connsiteX2315" fmla="*/ 221 w 10354"/>
                  <a:gd name="connsiteY2315" fmla="*/ 3598 h 10000"/>
                  <a:gd name="connsiteX2316" fmla="*/ 207 w 10354"/>
                  <a:gd name="connsiteY2316" fmla="*/ 3598 h 10000"/>
                  <a:gd name="connsiteX2317" fmla="*/ 180 w 10354"/>
                  <a:gd name="connsiteY2317" fmla="*/ 3581 h 10000"/>
                  <a:gd name="connsiteX2318" fmla="*/ 171 w 10354"/>
                  <a:gd name="connsiteY2318" fmla="*/ 3641 h 10000"/>
                  <a:gd name="connsiteX2319" fmla="*/ 166 w 10354"/>
                  <a:gd name="connsiteY2319" fmla="*/ 3650 h 10000"/>
                  <a:gd name="connsiteX2320" fmla="*/ 124 w 10354"/>
                  <a:gd name="connsiteY2320" fmla="*/ 3701 h 10000"/>
                  <a:gd name="connsiteX2321" fmla="*/ 124 w 10354"/>
                  <a:gd name="connsiteY2321" fmla="*/ 3718 h 10000"/>
                  <a:gd name="connsiteX2322" fmla="*/ 120 w 10354"/>
                  <a:gd name="connsiteY2322" fmla="*/ 3735 h 10000"/>
                  <a:gd name="connsiteX2323" fmla="*/ 120 w 10354"/>
                  <a:gd name="connsiteY2323" fmla="*/ 3735 h 10000"/>
                  <a:gd name="connsiteX2324" fmla="*/ 111 w 10354"/>
                  <a:gd name="connsiteY2324" fmla="*/ 3761 h 10000"/>
                  <a:gd name="connsiteX2325" fmla="*/ 106 w 10354"/>
                  <a:gd name="connsiteY2325" fmla="*/ 3761 h 10000"/>
                  <a:gd name="connsiteX2326" fmla="*/ 106 w 10354"/>
                  <a:gd name="connsiteY2326" fmla="*/ 3761 h 10000"/>
                  <a:gd name="connsiteX2327" fmla="*/ 74 w 10354"/>
                  <a:gd name="connsiteY2327" fmla="*/ 3829 h 10000"/>
                  <a:gd name="connsiteX2328" fmla="*/ 78 w 10354"/>
                  <a:gd name="connsiteY2328" fmla="*/ 3838 h 10000"/>
                  <a:gd name="connsiteX2329" fmla="*/ 88 w 10354"/>
                  <a:gd name="connsiteY2329" fmla="*/ 3846 h 10000"/>
                  <a:gd name="connsiteX2330" fmla="*/ 65 w 10354"/>
                  <a:gd name="connsiteY2330" fmla="*/ 3923 h 10000"/>
                  <a:gd name="connsiteX2331" fmla="*/ 78 w 10354"/>
                  <a:gd name="connsiteY2331" fmla="*/ 4026 h 10000"/>
                  <a:gd name="connsiteX2332" fmla="*/ 88 w 10354"/>
                  <a:gd name="connsiteY2332" fmla="*/ 4051 h 10000"/>
                  <a:gd name="connsiteX2333" fmla="*/ 92 w 10354"/>
                  <a:gd name="connsiteY2333" fmla="*/ 4060 h 10000"/>
                  <a:gd name="connsiteX2334" fmla="*/ 111 w 10354"/>
                  <a:gd name="connsiteY2334" fmla="*/ 4060 h 10000"/>
                  <a:gd name="connsiteX2335" fmla="*/ 124 w 10354"/>
                  <a:gd name="connsiteY2335" fmla="*/ 4085 h 10000"/>
                  <a:gd name="connsiteX2336" fmla="*/ 166 w 10354"/>
                  <a:gd name="connsiteY2336" fmla="*/ 4197 h 10000"/>
                  <a:gd name="connsiteX2337" fmla="*/ 166 w 10354"/>
                  <a:gd name="connsiteY2337" fmla="*/ 4248 h 10000"/>
                  <a:gd name="connsiteX2338" fmla="*/ 120 w 10354"/>
                  <a:gd name="connsiteY2338" fmla="*/ 4462 h 10000"/>
                  <a:gd name="connsiteX2339" fmla="*/ 120 w 10354"/>
                  <a:gd name="connsiteY2339" fmla="*/ 4513 h 10000"/>
                  <a:gd name="connsiteX2340" fmla="*/ 180 w 10354"/>
                  <a:gd name="connsiteY2340" fmla="*/ 4829 h 10000"/>
                  <a:gd name="connsiteX2341" fmla="*/ 161 w 10354"/>
                  <a:gd name="connsiteY2341" fmla="*/ 4855 h 10000"/>
                  <a:gd name="connsiteX2342" fmla="*/ 152 w 10354"/>
                  <a:gd name="connsiteY2342" fmla="*/ 4940 h 10000"/>
                  <a:gd name="connsiteX2343" fmla="*/ 161 w 10354"/>
                  <a:gd name="connsiteY2343" fmla="*/ 4966 h 10000"/>
                  <a:gd name="connsiteX2344" fmla="*/ 161 w 10354"/>
                  <a:gd name="connsiteY2344" fmla="*/ 5009 h 10000"/>
                  <a:gd name="connsiteX2345" fmla="*/ 152 w 10354"/>
                  <a:gd name="connsiteY2345" fmla="*/ 5034 h 10000"/>
                  <a:gd name="connsiteX2346" fmla="*/ 152 w 10354"/>
                  <a:gd name="connsiteY2346" fmla="*/ 5077 h 10000"/>
                  <a:gd name="connsiteX2347" fmla="*/ 171 w 10354"/>
                  <a:gd name="connsiteY2347" fmla="*/ 5094 h 10000"/>
                  <a:gd name="connsiteX2348" fmla="*/ 180 w 10354"/>
                  <a:gd name="connsiteY2348" fmla="*/ 5128 h 10000"/>
                  <a:gd name="connsiteX2349" fmla="*/ 180 w 10354"/>
                  <a:gd name="connsiteY2349" fmla="*/ 5171 h 10000"/>
                  <a:gd name="connsiteX2350" fmla="*/ 184 w 10354"/>
                  <a:gd name="connsiteY2350" fmla="*/ 5205 h 10000"/>
                  <a:gd name="connsiteX2351" fmla="*/ 207 w 10354"/>
                  <a:gd name="connsiteY2351" fmla="*/ 5239 h 10000"/>
                  <a:gd name="connsiteX2352" fmla="*/ 207 w 10354"/>
                  <a:gd name="connsiteY2352" fmla="*/ 5282 h 10000"/>
                  <a:gd name="connsiteX2353" fmla="*/ 180 w 10354"/>
                  <a:gd name="connsiteY2353" fmla="*/ 5393 h 10000"/>
                  <a:gd name="connsiteX2354" fmla="*/ 194 w 10354"/>
                  <a:gd name="connsiteY2354" fmla="*/ 5427 h 10000"/>
                  <a:gd name="connsiteX2355" fmla="*/ 198 w 10354"/>
                  <a:gd name="connsiteY2355" fmla="*/ 5462 h 10000"/>
                  <a:gd name="connsiteX2356" fmla="*/ 235 w 10354"/>
                  <a:gd name="connsiteY2356" fmla="*/ 5513 h 10000"/>
                  <a:gd name="connsiteX2357" fmla="*/ 240 w 10354"/>
                  <a:gd name="connsiteY2357" fmla="*/ 5556 h 10000"/>
                  <a:gd name="connsiteX2358" fmla="*/ 253 w 10354"/>
                  <a:gd name="connsiteY2358" fmla="*/ 5590 h 10000"/>
                  <a:gd name="connsiteX2359" fmla="*/ 258 w 10354"/>
                  <a:gd name="connsiteY2359" fmla="*/ 5573 h 10000"/>
                  <a:gd name="connsiteX2360" fmla="*/ 258 w 10354"/>
                  <a:gd name="connsiteY2360" fmla="*/ 5667 h 10000"/>
                  <a:gd name="connsiteX2361" fmla="*/ 14 w 10354"/>
                  <a:gd name="connsiteY2361" fmla="*/ 6214 h 10000"/>
                  <a:gd name="connsiteX2362" fmla="*/ 14 w 10354"/>
                  <a:gd name="connsiteY2362" fmla="*/ 6214 h 10000"/>
                  <a:gd name="connsiteX2363" fmla="*/ 37 w 10354"/>
                  <a:gd name="connsiteY2363" fmla="*/ 6214 h 10000"/>
                  <a:gd name="connsiteX2364" fmla="*/ 51 w 10354"/>
                  <a:gd name="connsiteY2364" fmla="*/ 6188 h 10000"/>
                  <a:gd name="connsiteX2365" fmla="*/ 78 w 10354"/>
                  <a:gd name="connsiteY2365" fmla="*/ 6162 h 10000"/>
                  <a:gd name="connsiteX2366" fmla="*/ 78 w 10354"/>
                  <a:gd name="connsiteY2366" fmla="*/ 6188 h 10000"/>
                  <a:gd name="connsiteX2367" fmla="*/ 74 w 10354"/>
                  <a:gd name="connsiteY2367" fmla="*/ 6197 h 10000"/>
                  <a:gd name="connsiteX2368" fmla="*/ 74 w 10354"/>
                  <a:gd name="connsiteY2368" fmla="*/ 6231 h 10000"/>
                  <a:gd name="connsiteX2369" fmla="*/ 74 w 10354"/>
                  <a:gd name="connsiteY2369" fmla="*/ 6214 h 10000"/>
                  <a:gd name="connsiteX2370" fmla="*/ 65 w 10354"/>
                  <a:gd name="connsiteY2370" fmla="*/ 6214 h 10000"/>
                  <a:gd name="connsiteX2371" fmla="*/ 65 w 10354"/>
                  <a:gd name="connsiteY2371" fmla="*/ 6248 h 10000"/>
                  <a:gd name="connsiteX2372" fmla="*/ 74 w 10354"/>
                  <a:gd name="connsiteY2372" fmla="*/ 6256 h 10000"/>
                  <a:gd name="connsiteX2373" fmla="*/ 78 w 10354"/>
                  <a:gd name="connsiteY2373" fmla="*/ 6256 h 10000"/>
                  <a:gd name="connsiteX2374" fmla="*/ 106 w 10354"/>
                  <a:gd name="connsiteY2374" fmla="*/ 6308 h 10000"/>
                  <a:gd name="connsiteX2375" fmla="*/ 138 w 10354"/>
                  <a:gd name="connsiteY2375" fmla="*/ 6299 h 10000"/>
                  <a:gd name="connsiteX2376" fmla="*/ 152 w 10354"/>
                  <a:gd name="connsiteY2376" fmla="*/ 6299 h 10000"/>
                  <a:gd name="connsiteX2377" fmla="*/ 166 w 10354"/>
                  <a:gd name="connsiteY2377" fmla="*/ 6325 h 10000"/>
                  <a:gd name="connsiteX2378" fmla="*/ 166 w 10354"/>
                  <a:gd name="connsiteY2378" fmla="*/ 6333 h 10000"/>
                  <a:gd name="connsiteX2379" fmla="*/ 171 w 10354"/>
                  <a:gd name="connsiteY2379" fmla="*/ 6350 h 10000"/>
                  <a:gd name="connsiteX2380" fmla="*/ 180 w 10354"/>
                  <a:gd name="connsiteY2380" fmla="*/ 6350 h 10000"/>
                  <a:gd name="connsiteX2381" fmla="*/ 180 w 10354"/>
                  <a:gd name="connsiteY2381" fmla="*/ 6359 h 10000"/>
                  <a:gd name="connsiteX2382" fmla="*/ 171 w 10354"/>
                  <a:gd name="connsiteY2382" fmla="*/ 6368 h 10000"/>
                  <a:gd name="connsiteX2383" fmla="*/ 106 w 10354"/>
                  <a:gd name="connsiteY2383" fmla="*/ 6350 h 10000"/>
                  <a:gd name="connsiteX2384" fmla="*/ 101 w 10354"/>
                  <a:gd name="connsiteY2384" fmla="*/ 6359 h 10000"/>
                  <a:gd name="connsiteX2385" fmla="*/ 101 w 10354"/>
                  <a:gd name="connsiteY2385" fmla="*/ 6385 h 10000"/>
                  <a:gd name="connsiteX2386" fmla="*/ 78 w 10354"/>
                  <a:gd name="connsiteY2386" fmla="*/ 6393 h 10000"/>
                  <a:gd name="connsiteX2387" fmla="*/ 74 w 10354"/>
                  <a:gd name="connsiteY2387" fmla="*/ 6385 h 10000"/>
                  <a:gd name="connsiteX2388" fmla="*/ 65 w 10354"/>
                  <a:gd name="connsiteY2388" fmla="*/ 6393 h 10000"/>
                  <a:gd name="connsiteX2389" fmla="*/ 60 w 10354"/>
                  <a:gd name="connsiteY2389" fmla="*/ 6419 h 10000"/>
                  <a:gd name="connsiteX2390" fmla="*/ 51 w 10354"/>
                  <a:gd name="connsiteY2390" fmla="*/ 6419 h 10000"/>
                  <a:gd name="connsiteX2391" fmla="*/ 46 w 10354"/>
                  <a:gd name="connsiteY2391" fmla="*/ 6410 h 10000"/>
                  <a:gd name="connsiteX2392" fmla="*/ 37 w 10354"/>
                  <a:gd name="connsiteY2392" fmla="*/ 6393 h 10000"/>
                  <a:gd name="connsiteX2393" fmla="*/ 32 w 10354"/>
                  <a:gd name="connsiteY2393" fmla="*/ 6419 h 10000"/>
                  <a:gd name="connsiteX2394" fmla="*/ 37 w 10354"/>
                  <a:gd name="connsiteY2394" fmla="*/ 6462 h 10000"/>
                  <a:gd name="connsiteX2395" fmla="*/ 46 w 10354"/>
                  <a:gd name="connsiteY2395" fmla="*/ 6462 h 10000"/>
                  <a:gd name="connsiteX2396" fmla="*/ 51 w 10354"/>
                  <a:gd name="connsiteY2396" fmla="*/ 6470 h 10000"/>
                  <a:gd name="connsiteX2397" fmla="*/ 51 w 10354"/>
                  <a:gd name="connsiteY2397" fmla="*/ 6496 h 10000"/>
                  <a:gd name="connsiteX2398" fmla="*/ 51 w 10354"/>
                  <a:gd name="connsiteY2398" fmla="*/ 6504 h 10000"/>
                  <a:gd name="connsiteX2399" fmla="*/ 37 w 10354"/>
                  <a:gd name="connsiteY2399" fmla="*/ 6530 h 10000"/>
                  <a:gd name="connsiteX2400" fmla="*/ 18 w 10354"/>
                  <a:gd name="connsiteY2400" fmla="*/ 6598 h 10000"/>
                  <a:gd name="connsiteX2401" fmla="*/ 28 w 10354"/>
                  <a:gd name="connsiteY2401" fmla="*/ 6632 h 10000"/>
                  <a:gd name="connsiteX2402" fmla="*/ 18 w 10354"/>
                  <a:gd name="connsiteY2402" fmla="*/ 6667 h 10000"/>
                  <a:gd name="connsiteX2403" fmla="*/ 28 w 10354"/>
                  <a:gd name="connsiteY2403" fmla="*/ 6692 h 10000"/>
                  <a:gd name="connsiteX2404" fmla="*/ 28 w 10354"/>
                  <a:gd name="connsiteY2404" fmla="*/ 6709 h 10000"/>
                  <a:gd name="connsiteX2405" fmla="*/ 18 w 10354"/>
                  <a:gd name="connsiteY2405" fmla="*/ 6718 h 10000"/>
                  <a:gd name="connsiteX2406" fmla="*/ 5 w 10354"/>
                  <a:gd name="connsiteY2406" fmla="*/ 6744 h 10000"/>
                  <a:gd name="connsiteX2407" fmla="*/ 0 w 10354"/>
                  <a:gd name="connsiteY2407" fmla="*/ 6769 h 10000"/>
                  <a:gd name="connsiteX2408" fmla="*/ 5 w 10354"/>
                  <a:gd name="connsiteY2408" fmla="*/ 6778 h 10000"/>
                  <a:gd name="connsiteX2409" fmla="*/ 32 w 10354"/>
                  <a:gd name="connsiteY2409" fmla="*/ 6778 h 10000"/>
                  <a:gd name="connsiteX2410" fmla="*/ 46 w 10354"/>
                  <a:gd name="connsiteY2410" fmla="*/ 6821 h 10000"/>
                  <a:gd name="connsiteX2411" fmla="*/ 46 w 10354"/>
                  <a:gd name="connsiteY2411" fmla="*/ 6855 h 10000"/>
                  <a:gd name="connsiteX2412" fmla="*/ 32 w 10354"/>
                  <a:gd name="connsiteY2412" fmla="*/ 6855 h 10000"/>
                  <a:gd name="connsiteX2413" fmla="*/ 14 w 10354"/>
                  <a:gd name="connsiteY2413" fmla="*/ 6821 h 10000"/>
                  <a:gd name="connsiteX2414" fmla="*/ 14 w 10354"/>
                  <a:gd name="connsiteY2414" fmla="*/ 6846 h 10000"/>
                  <a:gd name="connsiteX2415" fmla="*/ 0 w 10354"/>
                  <a:gd name="connsiteY2415" fmla="*/ 6897 h 10000"/>
                  <a:gd name="connsiteX2416" fmla="*/ 0 w 10354"/>
                  <a:gd name="connsiteY2416" fmla="*/ 6915 h 10000"/>
                  <a:gd name="connsiteX2417" fmla="*/ 5 w 10354"/>
                  <a:gd name="connsiteY2417" fmla="*/ 6932 h 10000"/>
                  <a:gd name="connsiteX2418" fmla="*/ 14 w 10354"/>
                  <a:gd name="connsiteY2418" fmla="*/ 6940 h 10000"/>
                  <a:gd name="connsiteX2419" fmla="*/ 18 w 10354"/>
                  <a:gd name="connsiteY2419" fmla="*/ 6957 h 10000"/>
                  <a:gd name="connsiteX2420" fmla="*/ 28 w 10354"/>
                  <a:gd name="connsiteY2420" fmla="*/ 6966 h 10000"/>
                  <a:gd name="connsiteX2421" fmla="*/ 28 w 10354"/>
                  <a:gd name="connsiteY2421" fmla="*/ 6983 h 10000"/>
                  <a:gd name="connsiteX2422" fmla="*/ 18 w 10354"/>
                  <a:gd name="connsiteY2422" fmla="*/ 7051 h 10000"/>
                  <a:gd name="connsiteX2423" fmla="*/ 28 w 10354"/>
                  <a:gd name="connsiteY2423" fmla="*/ 7068 h 10000"/>
                  <a:gd name="connsiteX2424" fmla="*/ 32 w 10354"/>
                  <a:gd name="connsiteY2424" fmla="*/ 7068 h 10000"/>
                  <a:gd name="connsiteX2425" fmla="*/ 32 w 10354"/>
                  <a:gd name="connsiteY2425" fmla="*/ 7094 h 10000"/>
                  <a:gd name="connsiteX2426" fmla="*/ 60 w 10354"/>
                  <a:gd name="connsiteY2426" fmla="*/ 7162 h 10000"/>
                  <a:gd name="connsiteX2427" fmla="*/ 60 w 10354"/>
                  <a:gd name="connsiteY2427" fmla="*/ 7231 h 10000"/>
                  <a:gd name="connsiteX2428" fmla="*/ 60 w 10354"/>
                  <a:gd name="connsiteY2428" fmla="*/ 7239 h 10000"/>
                  <a:gd name="connsiteX2429" fmla="*/ 78 w 10354"/>
                  <a:gd name="connsiteY2429" fmla="*/ 7239 h 10000"/>
                  <a:gd name="connsiteX2430" fmla="*/ 88 w 10354"/>
                  <a:gd name="connsiteY2430" fmla="*/ 7239 h 10000"/>
                  <a:gd name="connsiteX2431" fmla="*/ 92 w 10354"/>
                  <a:gd name="connsiteY2431" fmla="*/ 7256 h 10000"/>
                  <a:gd name="connsiteX2432" fmla="*/ 111 w 10354"/>
                  <a:gd name="connsiteY2432" fmla="*/ 7256 h 10000"/>
                  <a:gd name="connsiteX2433" fmla="*/ 120 w 10354"/>
                  <a:gd name="connsiteY2433" fmla="*/ 7256 h 10000"/>
                  <a:gd name="connsiteX2434" fmla="*/ 134 w 10354"/>
                  <a:gd name="connsiteY2434" fmla="*/ 7282 h 10000"/>
                  <a:gd name="connsiteX2435" fmla="*/ 134 w 10354"/>
                  <a:gd name="connsiteY2435" fmla="*/ 7316 h 10000"/>
                  <a:gd name="connsiteX2436" fmla="*/ 152 w 10354"/>
                  <a:gd name="connsiteY2436" fmla="*/ 7299 h 10000"/>
                  <a:gd name="connsiteX2437" fmla="*/ 161 w 10354"/>
                  <a:gd name="connsiteY2437" fmla="*/ 7299 h 10000"/>
                  <a:gd name="connsiteX2438" fmla="*/ 166 w 10354"/>
                  <a:gd name="connsiteY2438" fmla="*/ 7291 h 10000"/>
                  <a:gd name="connsiteX2439" fmla="*/ 194 w 10354"/>
                  <a:gd name="connsiteY2439" fmla="*/ 7291 h 10000"/>
                  <a:gd name="connsiteX2440" fmla="*/ 207 w 10354"/>
                  <a:gd name="connsiteY2440" fmla="*/ 7299 h 10000"/>
                  <a:gd name="connsiteX2441" fmla="*/ 221 w 10354"/>
                  <a:gd name="connsiteY2441" fmla="*/ 7342 h 10000"/>
                  <a:gd name="connsiteX2442" fmla="*/ 235 w 10354"/>
                  <a:gd name="connsiteY2442" fmla="*/ 7342 h 10000"/>
                  <a:gd name="connsiteX2443" fmla="*/ 235 w 10354"/>
                  <a:gd name="connsiteY2443" fmla="*/ 7368 h 10000"/>
                  <a:gd name="connsiteX2444" fmla="*/ 226 w 10354"/>
                  <a:gd name="connsiteY2444" fmla="*/ 7393 h 10000"/>
                  <a:gd name="connsiteX2445" fmla="*/ 226 w 10354"/>
                  <a:gd name="connsiteY2445" fmla="*/ 7402 h 10000"/>
                  <a:gd name="connsiteX2446" fmla="*/ 235 w 10354"/>
                  <a:gd name="connsiteY2446" fmla="*/ 7419 h 10000"/>
                  <a:gd name="connsiteX2447" fmla="*/ 240 w 10354"/>
                  <a:gd name="connsiteY2447" fmla="*/ 7436 h 10000"/>
                  <a:gd name="connsiteX2448" fmla="*/ 235 w 10354"/>
                  <a:gd name="connsiteY2448" fmla="*/ 7462 h 10000"/>
                  <a:gd name="connsiteX2449" fmla="*/ 226 w 10354"/>
                  <a:gd name="connsiteY2449" fmla="*/ 7479 h 10000"/>
                  <a:gd name="connsiteX2450" fmla="*/ 226 w 10354"/>
                  <a:gd name="connsiteY2450" fmla="*/ 7504 h 10000"/>
                  <a:gd name="connsiteX2451" fmla="*/ 226 w 10354"/>
                  <a:gd name="connsiteY2451" fmla="*/ 7513 h 10000"/>
                  <a:gd name="connsiteX2452" fmla="*/ 240 w 10354"/>
                  <a:gd name="connsiteY2452" fmla="*/ 7538 h 10000"/>
                  <a:gd name="connsiteX2453" fmla="*/ 267 w 10354"/>
                  <a:gd name="connsiteY2453" fmla="*/ 7641 h 10000"/>
                  <a:gd name="connsiteX2454" fmla="*/ 281 w 10354"/>
                  <a:gd name="connsiteY2454" fmla="*/ 7667 h 10000"/>
                  <a:gd name="connsiteX2455" fmla="*/ 286 w 10354"/>
                  <a:gd name="connsiteY2455" fmla="*/ 7675 h 10000"/>
                  <a:gd name="connsiteX2456" fmla="*/ 286 w 10354"/>
                  <a:gd name="connsiteY2456" fmla="*/ 7692 h 10000"/>
                  <a:gd name="connsiteX2457" fmla="*/ 286 w 10354"/>
                  <a:gd name="connsiteY2457" fmla="*/ 7709 h 10000"/>
                  <a:gd name="connsiteX2458" fmla="*/ 295 w 10354"/>
                  <a:gd name="connsiteY2458" fmla="*/ 7726 h 10000"/>
                  <a:gd name="connsiteX2459" fmla="*/ 318 w 10354"/>
                  <a:gd name="connsiteY2459" fmla="*/ 7709 h 10000"/>
                  <a:gd name="connsiteX2460" fmla="*/ 327 w 10354"/>
                  <a:gd name="connsiteY2460" fmla="*/ 7726 h 10000"/>
                  <a:gd name="connsiteX2461" fmla="*/ 341 w 10354"/>
                  <a:gd name="connsiteY2461" fmla="*/ 7735 h 10000"/>
                  <a:gd name="connsiteX2462" fmla="*/ 332 w 10354"/>
                  <a:gd name="connsiteY2462" fmla="*/ 7752 h 10000"/>
                  <a:gd name="connsiteX2463" fmla="*/ 341 w 10354"/>
                  <a:gd name="connsiteY2463" fmla="*/ 7761 h 10000"/>
                  <a:gd name="connsiteX2464" fmla="*/ 355 w 10354"/>
                  <a:gd name="connsiteY2464" fmla="*/ 7761 h 10000"/>
                  <a:gd name="connsiteX2465" fmla="*/ 355 w 10354"/>
                  <a:gd name="connsiteY2465" fmla="*/ 7803 h 10000"/>
                  <a:gd name="connsiteX2466" fmla="*/ 313 w 10354"/>
                  <a:gd name="connsiteY2466" fmla="*/ 7846 h 10000"/>
                  <a:gd name="connsiteX2467" fmla="*/ 295 w 10354"/>
                  <a:gd name="connsiteY2467" fmla="*/ 7846 h 10000"/>
                  <a:gd name="connsiteX2468" fmla="*/ 281 w 10354"/>
                  <a:gd name="connsiteY2468" fmla="*/ 7821 h 10000"/>
                  <a:gd name="connsiteX2469" fmla="*/ 272 w 10354"/>
                  <a:gd name="connsiteY2469" fmla="*/ 7821 h 10000"/>
                  <a:gd name="connsiteX2470" fmla="*/ 267 w 10354"/>
                  <a:gd name="connsiteY2470" fmla="*/ 7838 h 10000"/>
                  <a:gd name="connsiteX2471" fmla="*/ 258 w 10354"/>
                  <a:gd name="connsiteY2471" fmla="*/ 7846 h 10000"/>
                  <a:gd name="connsiteX2472" fmla="*/ 253 w 10354"/>
                  <a:gd name="connsiteY2472" fmla="*/ 7863 h 10000"/>
                  <a:gd name="connsiteX2473" fmla="*/ 253 w 10354"/>
                  <a:gd name="connsiteY2473" fmla="*/ 7872 h 10000"/>
                  <a:gd name="connsiteX2474" fmla="*/ 267 w 10354"/>
                  <a:gd name="connsiteY2474" fmla="*/ 7897 h 10000"/>
                  <a:gd name="connsiteX2475" fmla="*/ 272 w 10354"/>
                  <a:gd name="connsiteY2475" fmla="*/ 7915 h 10000"/>
                  <a:gd name="connsiteX2476" fmla="*/ 267 w 10354"/>
                  <a:gd name="connsiteY2476" fmla="*/ 7940 h 10000"/>
                  <a:gd name="connsiteX2477" fmla="*/ 272 w 10354"/>
                  <a:gd name="connsiteY2477" fmla="*/ 7949 h 10000"/>
                  <a:gd name="connsiteX2478" fmla="*/ 272 w 10354"/>
                  <a:gd name="connsiteY2478" fmla="*/ 7957 h 10000"/>
                  <a:gd name="connsiteX2479" fmla="*/ 281 w 10354"/>
                  <a:gd name="connsiteY2479" fmla="*/ 7974 h 10000"/>
                  <a:gd name="connsiteX2480" fmla="*/ 286 w 10354"/>
                  <a:gd name="connsiteY2480" fmla="*/ 7983 h 10000"/>
                  <a:gd name="connsiteX2481" fmla="*/ 281 w 10354"/>
                  <a:gd name="connsiteY2481" fmla="*/ 8009 h 10000"/>
                  <a:gd name="connsiteX2482" fmla="*/ 286 w 10354"/>
                  <a:gd name="connsiteY2482" fmla="*/ 8060 h 10000"/>
                  <a:gd name="connsiteX2483" fmla="*/ 286 w 10354"/>
                  <a:gd name="connsiteY2483" fmla="*/ 8060 h 10000"/>
                  <a:gd name="connsiteX2484" fmla="*/ 295 w 10354"/>
                  <a:gd name="connsiteY2484" fmla="*/ 8077 h 10000"/>
                  <a:gd name="connsiteX2485" fmla="*/ 309 w 10354"/>
                  <a:gd name="connsiteY2485" fmla="*/ 8077 h 10000"/>
                  <a:gd name="connsiteX2486" fmla="*/ 313 w 10354"/>
                  <a:gd name="connsiteY2486" fmla="*/ 8060 h 10000"/>
                  <a:gd name="connsiteX2487" fmla="*/ 318 w 10354"/>
                  <a:gd name="connsiteY2487" fmla="*/ 8051 h 10000"/>
                  <a:gd name="connsiteX2488" fmla="*/ 318 w 10354"/>
                  <a:gd name="connsiteY2488" fmla="*/ 8034 h 10000"/>
                  <a:gd name="connsiteX2489" fmla="*/ 332 w 10354"/>
                  <a:gd name="connsiteY2489" fmla="*/ 8026 h 10000"/>
                  <a:gd name="connsiteX2490" fmla="*/ 359 w 10354"/>
                  <a:gd name="connsiteY2490" fmla="*/ 8034 h 10000"/>
                  <a:gd name="connsiteX2491" fmla="*/ 378 w 10354"/>
                  <a:gd name="connsiteY2491" fmla="*/ 8026 h 10000"/>
                  <a:gd name="connsiteX2492" fmla="*/ 401 w 10354"/>
                  <a:gd name="connsiteY2492" fmla="*/ 8026 h 10000"/>
                  <a:gd name="connsiteX2493" fmla="*/ 419 w 10354"/>
                  <a:gd name="connsiteY2493" fmla="*/ 8009 h 10000"/>
                  <a:gd name="connsiteX2494" fmla="*/ 433 w 10354"/>
                  <a:gd name="connsiteY2494" fmla="*/ 8034 h 10000"/>
                  <a:gd name="connsiteX2495" fmla="*/ 442 w 10354"/>
                  <a:gd name="connsiteY2495" fmla="*/ 8060 h 10000"/>
                  <a:gd name="connsiteX2496" fmla="*/ 442 w 10354"/>
                  <a:gd name="connsiteY2496" fmla="*/ 8077 h 10000"/>
                  <a:gd name="connsiteX2497" fmla="*/ 461 w 10354"/>
                  <a:gd name="connsiteY2497" fmla="*/ 8111 h 10000"/>
                  <a:gd name="connsiteX2498" fmla="*/ 461 w 10354"/>
                  <a:gd name="connsiteY2498" fmla="*/ 8137 h 10000"/>
                  <a:gd name="connsiteX2499" fmla="*/ 447 w 10354"/>
                  <a:gd name="connsiteY2499" fmla="*/ 8145 h 10000"/>
                  <a:gd name="connsiteX2500" fmla="*/ 442 w 10354"/>
                  <a:gd name="connsiteY2500" fmla="*/ 8145 h 10000"/>
                  <a:gd name="connsiteX2501" fmla="*/ 442 w 10354"/>
                  <a:gd name="connsiteY2501" fmla="*/ 8162 h 10000"/>
                  <a:gd name="connsiteX2502" fmla="*/ 442 w 10354"/>
                  <a:gd name="connsiteY2502" fmla="*/ 8171 h 10000"/>
                  <a:gd name="connsiteX2503" fmla="*/ 447 w 10354"/>
                  <a:gd name="connsiteY2503" fmla="*/ 8214 h 10000"/>
                  <a:gd name="connsiteX2504" fmla="*/ 465 w 10354"/>
                  <a:gd name="connsiteY2504" fmla="*/ 8231 h 10000"/>
                  <a:gd name="connsiteX2505" fmla="*/ 488 w 10354"/>
                  <a:gd name="connsiteY2505" fmla="*/ 8231 h 10000"/>
                  <a:gd name="connsiteX2506" fmla="*/ 493 w 10354"/>
                  <a:gd name="connsiteY2506" fmla="*/ 8231 h 10000"/>
                  <a:gd name="connsiteX2507" fmla="*/ 502 w 10354"/>
                  <a:gd name="connsiteY2507" fmla="*/ 8231 h 10000"/>
                  <a:gd name="connsiteX2508" fmla="*/ 507 w 10354"/>
                  <a:gd name="connsiteY2508" fmla="*/ 8248 h 10000"/>
                  <a:gd name="connsiteX2509" fmla="*/ 521 w 10354"/>
                  <a:gd name="connsiteY2509" fmla="*/ 8274 h 10000"/>
                  <a:gd name="connsiteX2510" fmla="*/ 525 w 10354"/>
                  <a:gd name="connsiteY2510" fmla="*/ 8333 h 10000"/>
                  <a:gd name="connsiteX2511" fmla="*/ 525 w 10354"/>
                  <a:gd name="connsiteY2511" fmla="*/ 8359 h 10000"/>
                  <a:gd name="connsiteX2512" fmla="*/ 525 w 10354"/>
                  <a:gd name="connsiteY2512" fmla="*/ 8368 h 10000"/>
                  <a:gd name="connsiteX2513" fmla="*/ 548 w 10354"/>
                  <a:gd name="connsiteY2513" fmla="*/ 8393 h 10000"/>
                  <a:gd name="connsiteX2514" fmla="*/ 553 w 10354"/>
                  <a:gd name="connsiteY2514" fmla="*/ 8385 h 10000"/>
                  <a:gd name="connsiteX2515" fmla="*/ 562 w 10354"/>
                  <a:gd name="connsiteY2515" fmla="*/ 8385 h 10000"/>
                  <a:gd name="connsiteX2516" fmla="*/ 576 w 10354"/>
                  <a:gd name="connsiteY2516" fmla="*/ 8385 h 10000"/>
                  <a:gd name="connsiteX2517" fmla="*/ 585 w 10354"/>
                  <a:gd name="connsiteY2517" fmla="*/ 8410 h 10000"/>
                  <a:gd name="connsiteX2518" fmla="*/ 594 w 10354"/>
                  <a:gd name="connsiteY2518" fmla="*/ 8410 h 10000"/>
                  <a:gd name="connsiteX2519" fmla="*/ 608 w 10354"/>
                  <a:gd name="connsiteY2519" fmla="*/ 8410 h 10000"/>
                  <a:gd name="connsiteX2520" fmla="*/ 654 w 10354"/>
                  <a:gd name="connsiteY2520" fmla="*/ 8385 h 10000"/>
                  <a:gd name="connsiteX2521" fmla="*/ 659 w 10354"/>
                  <a:gd name="connsiteY2521" fmla="*/ 8385 h 10000"/>
                  <a:gd name="connsiteX2522" fmla="*/ 696 w 10354"/>
                  <a:gd name="connsiteY2522" fmla="*/ 8470 h 10000"/>
                  <a:gd name="connsiteX2523" fmla="*/ 700 w 10354"/>
                  <a:gd name="connsiteY2523" fmla="*/ 8470 h 10000"/>
                  <a:gd name="connsiteX2524" fmla="*/ 710 w 10354"/>
                  <a:gd name="connsiteY2524" fmla="*/ 8462 h 10000"/>
                  <a:gd name="connsiteX2525" fmla="*/ 714 w 10354"/>
                  <a:gd name="connsiteY2525" fmla="*/ 8462 h 10000"/>
                  <a:gd name="connsiteX2526" fmla="*/ 724 w 10354"/>
                  <a:gd name="connsiteY2526" fmla="*/ 8470 h 10000"/>
                  <a:gd name="connsiteX2527" fmla="*/ 733 w 10354"/>
                  <a:gd name="connsiteY2527" fmla="*/ 8470 h 10000"/>
                  <a:gd name="connsiteX2528" fmla="*/ 742 w 10354"/>
                  <a:gd name="connsiteY2528" fmla="*/ 8487 h 10000"/>
                  <a:gd name="connsiteX2529" fmla="*/ 747 w 10354"/>
                  <a:gd name="connsiteY2529" fmla="*/ 8496 h 10000"/>
                  <a:gd name="connsiteX2530" fmla="*/ 770 w 10354"/>
                  <a:gd name="connsiteY2530" fmla="*/ 8496 h 10000"/>
                  <a:gd name="connsiteX2531" fmla="*/ 783 w 10354"/>
                  <a:gd name="connsiteY2531" fmla="*/ 8521 h 10000"/>
                  <a:gd name="connsiteX2532" fmla="*/ 797 w 10354"/>
                  <a:gd name="connsiteY2532" fmla="*/ 8521 h 10000"/>
                  <a:gd name="connsiteX2533" fmla="*/ 806 w 10354"/>
                  <a:gd name="connsiteY2533" fmla="*/ 8530 h 10000"/>
                  <a:gd name="connsiteX2534" fmla="*/ 829 w 10354"/>
                  <a:gd name="connsiteY2534" fmla="*/ 8547 h 10000"/>
                  <a:gd name="connsiteX2535" fmla="*/ 834 w 10354"/>
                  <a:gd name="connsiteY2535" fmla="*/ 8556 h 10000"/>
                  <a:gd name="connsiteX2536" fmla="*/ 829 w 10354"/>
                  <a:gd name="connsiteY2536" fmla="*/ 8556 h 10000"/>
                  <a:gd name="connsiteX2537" fmla="*/ 834 w 10354"/>
                  <a:gd name="connsiteY2537" fmla="*/ 8607 h 10000"/>
                  <a:gd name="connsiteX2538" fmla="*/ 829 w 10354"/>
                  <a:gd name="connsiteY2538" fmla="*/ 8641 h 10000"/>
                  <a:gd name="connsiteX2539" fmla="*/ 806 w 10354"/>
                  <a:gd name="connsiteY2539" fmla="*/ 8658 h 10000"/>
                  <a:gd name="connsiteX2540" fmla="*/ 816 w 10354"/>
                  <a:gd name="connsiteY2540" fmla="*/ 8667 h 10000"/>
                  <a:gd name="connsiteX2541" fmla="*/ 820 w 10354"/>
                  <a:gd name="connsiteY2541" fmla="*/ 8667 h 10000"/>
                  <a:gd name="connsiteX2542" fmla="*/ 829 w 10354"/>
                  <a:gd name="connsiteY2542" fmla="*/ 8684 h 10000"/>
                  <a:gd name="connsiteX2543" fmla="*/ 806 w 10354"/>
                  <a:gd name="connsiteY2543" fmla="*/ 8692 h 10000"/>
                  <a:gd name="connsiteX2544" fmla="*/ 802 w 10354"/>
                  <a:gd name="connsiteY2544" fmla="*/ 8709 h 10000"/>
                  <a:gd name="connsiteX2545" fmla="*/ 802 w 10354"/>
                  <a:gd name="connsiteY2545" fmla="*/ 8735 h 10000"/>
                  <a:gd name="connsiteX2546" fmla="*/ 806 w 10354"/>
                  <a:gd name="connsiteY2546" fmla="*/ 8744 h 10000"/>
                  <a:gd name="connsiteX2547" fmla="*/ 816 w 10354"/>
                  <a:gd name="connsiteY2547" fmla="*/ 8752 h 10000"/>
                  <a:gd name="connsiteX2548" fmla="*/ 806 w 10354"/>
                  <a:gd name="connsiteY2548" fmla="*/ 8778 h 10000"/>
                  <a:gd name="connsiteX2549" fmla="*/ 820 w 10354"/>
                  <a:gd name="connsiteY2549" fmla="*/ 8778 h 10000"/>
                  <a:gd name="connsiteX2550" fmla="*/ 806 w 10354"/>
                  <a:gd name="connsiteY2550" fmla="*/ 8880 h 10000"/>
                  <a:gd name="connsiteX2551" fmla="*/ 797 w 10354"/>
                  <a:gd name="connsiteY2551" fmla="*/ 8880 h 10000"/>
                  <a:gd name="connsiteX2552" fmla="*/ 783 w 10354"/>
                  <a:gd name="connsiteY2552" fmla="*/ 8872 h 10000"/>
                  <a:gd name="connsiteX2553" fmla="*/ 770 w 10354"/>
                  <a:gd name="connsiteY2553" fmla="*/ 8880 h 10000"/>
                  <a:gd name="connsiteX2554" fmla="*/ 756 w 10354"/>
                  <a:gd name="connsiteY2554" fmla="*/ 8855 h 10000"/>
                  <a:gd name="connsiteX2555" fmla="*/ 733 w 10354"/>
                  <a:gd name="connsiteY2555" fmla="*/ 8906 h 10000"/>
                  <a:gd name="connsiteX2556" fmla="*/ 714 w 10354"/>
                  <a:gd name="connsiteY2556" fmla="*/ 8915 h 10000"/>
                  <a:gd name="connsiteX2557" fmla="*/ 710 w 10354"/>
                  <a:gd name="connsiteY2557" fmla="*/ 8940 h 10000"/>
                  <a:gd name="connsiteX2558" fmla="*/ 710 w 10354"/>
                  <a:gd name="connsiteY2558" fmla="*/ 9009 h 10000"/>
                  <a:gd name="connsiteX2559" fmla="*/ 728 w 10354"/>
                  <a:gd name="connsiteY2559" fmla="*/ 8991 h 10000"/>
                  <a:gd name="connsiteX2560" fmla="*/ 733 w 10354"/>
                  <a:gd name="connsiteY2560" fmla="*/ 8991 h 10000"/>
                  <a:gd name="connsiteX2561" fmla="*/ 747 w 10354"/>
                  <a:gd name="connsiteY2561" fmla="*/ 8983 h 10000"/>
                  <a:gd name="connsiteX2562" fmla="*/ 760 w 10354"/>
                  <a:gd name="connsiteY2562" fmla="*/ 8983 h 10000"/>
                  <a:gd name="connsiteX2563" fmla="*/ 770 w 10354"/>
                  <a:gd name="connsiteY2563" fmla="*/ 8983 h 10000"/>
                  <a:gd name="connsiteX2564" fmla="*/ 770 w 10354"/>
                  <a:gd name="connsiteY2564" fmla="*/ 8991 h 10000"/>
                  <a:gd name="connsiteX2565" fmla="*/ 783 w 10354"/>
                  <a:gd name="connsiteY2565" fmla="*/ 8991 h 10000"/>
                  <a:gd name="connsiteX2566" fmla="*/ 783 w 10354"/>
                  <a:gd name="connsiteY2566" fmla="*/ 9009 h 10000"/>
                  <a:gd name="connsiteX2567" fmla="*/ 783 w 10354"/>
                  <a:gd name="connsiteY2567" fmla="*/ 9017 h 10000"/>
                  <a:gd name="connsiteX2568" fmla="*/ 770 w 10354"/>
                  <a:gd name="connsiteY2568" fmla="*/ 9017 h 10000"/>
                  <a:gd name="connsiteX2569" fmla="*/ 724 w 10354"/>
                  <a:gd name="connsiteY2569" fmla="*/ 9051 h 10000"/>
                  <a:gd name="connsiteX2570" fmla="*/ 724 w 10354"/>
                  <a:gd name="connsiteY2570" fmla="*/ 9068 h 10000"/>
                  <a:gd name="connsiteX2571" fmla="*/ 728 w 10354"/>
                  <a:gd name="connsiteY2571" fmla="*/ 9077 h 10000"/>
                  <a:gd name="connsiteX2572" fmla="*/ 724 w 10354"/>
                  <a:gd name="connsiteY2572" fmla="*/ 9077 h 10000"/>
                  <a:gd name="connsiteX2573" fmla="*/ 710 w 10354"/>
                  <a:gd name="connsiteY2573" fmla="*/ 9077 h 10000"/>
                  <a:gd name="connsiteX2574" fmla="*/ 682 w 10354"/>
                  <a:gd name="connsiteY2574" fmla="*/ 9077 h 10000"/>
                  <a:gd name="connsiteX2575" fmla="*/ 673 w 10354"/>
                  <a:gd name="connsiteY2575" fmla="*/ 9103 h 10000"/>
                  <a:gd name="connsiteX2576" fmla="*/ 687 w 10354"/>
                  <a:gd name="connsiteY2576" fmla="*/ 9128 h 10000"/>
                  <a:gd name="connsiteX2577" fmla="*/ 700 w 10354"/>
                  <a:gd name="connsiteY2577" fmla="*/ 9128 h 10000"/>
                  <a:gd name="connsiteX2578" fmla="*/ 728 w 10354"/>
                  <a:gd name="connsiteY2578" fmla="*/ 9179 h 10000"/>
                  <a:gd name="connsiteX2579" fmla="*/ 724 w 10354"/>
                  <a:gd name="connsiteY2579" fmla="*/ 9188 h 10000"/>
                  <a:gd name="connsiteX2580" fmla="*/ 710 w 10354"/>
                  <a:gd name="connsiteY2580" fmla="*/ 9179 h 10000"/>
                  <a:gd name="connsiteX2581" fmla="*/ 700 w 10354"/>
                  <a:gd name="connsiteY2581" fmla="*/ 9205 h 10000"/>
                  <a:gd name="connsiteX2582" fmla="*/ 696 w 10354"/>
                  <a:gd name="connsiteY2582" fmla="*/ 9205 h 10000"/>
                  <a:gd name="connsiteX2583" fmla="*/ 654 w 10354"/>
                  <a:gd name="connsiteY2583" fmla="*/ 9299 h 10000"/>
                  <a:gd name="connsiteX2584" fmla="*/ 622 w 10354"/>
                  <a:gd name="connsiteY2584" fmla="*/ 9299 h 10000"/>
                  <a:gd name="connsiteX2585" fmla="*/ 613 w 10354"/>
                  <a:gd name="connsiteY2585" fmla="*/ 9316 h 10000"/>
                  <a:gd name="connsiteX2586" fmla="*/ 613 w 10354"/>
                  <a:gd name="connsiteY2586" fmla="*/ 9325 h 10000"/>
                  <a:gd name="connsiteX2587" fmla="*/ 608 w 10354"/>
                  <a:gd name="connsiteY2587" fmla="*/ 9342 h 10000"/>
                  <a:gd name="connsiteX2588" fmla="*/ 636 w 10354"/>
                  <a:gd name="connsiteY2588" fmla="*/ 9376 h 10000"/>
                  <a:gd name="connsiteX2589" fmla="*/ 641 w 10354"/>
                  <a:gd name="connsiteY2589" fmla="*/ 9402 h 10000"/>
                  <a:gd name="connsiteX2590" fmla="*/ 654 w 10354"/>
                  <a:gd name="connsiteY2590" fmla="*/ 9427 h 10000"/>
                  <a:gd name="connsiteX2591" fmla="*/ 668 w 10354"/>
                  <a:gd name="connsiteY2591" fmla="*/ 9427 h 10000"/>
                  <a:gd name="connsiteX2592" fmla="*/ 668 w 10354"/>
                  <a:gd name="connsiteY2592" fmla="*/ 9427 h 10000"/>
                  <a:gd name="connsiteX2593" fmla="*/ 774 w 10354"/>
                  <a:gd name="connsiteY2593" fmla="*/ 9547 h 10000"/>
                  <a:gd name="connsiteX2594" fmla="*/ 797 w 10354"/>
                  <a:gd name="connsiteY2594" fmla="*/ 9598 h 10000"/>
                  <a:gd name="connsiteX2595" fmla="*/ 802 w 10354"/>
                  <a:gd name="connsiteY2595" fmla="*/ 9598 h 10000"/>
                  <a:gd name="connsiteX2596" fmla="*/ 816 w 10354"/>
                  <a:gd name="connsiteY2596" fmla="*/ 9624 h 10000"/>
                  <a:gd name="connsiteX2597" fmla="*/ 843 w 10354"/>
                  <a:gd name="connsiteY2597" fmla="*/ 9615 h 10000"/>
                  <a:gd name="connsiteX2598" fmla="*/ 857 w 10354"/>
                  <a:gd name="connsiteY2598" fmla="*/ 9624 h 10000"/>
                  <a:gd name="connsiteX2599" fmla="*/ 862 w 10354"/>
                  <a:gd name="connsiteY2599" fmla="*/ 9615 h 10000"/>
                  <a:gd name="connsiteX2600" fmla="*/ 880 w 10354"/>
                  <a:gd name="connsiteY2600" fmla="*/ 9624 h 10000"/>
                  <a:gd name="connsiteX2601" fmla="*/ 889 w 10354"/>
                  <a:gd name="connsiteY2601" fmla="*/ 9641 h 10000"/>
                  <a:gd name="connsiteX2602" fmla="*/ 935 w 10354"/>
                  <a:gd name="connsiteY2602" fmla="*/ 9675 h 10000"/>
                  <a:gd name="connsiteX2603" fmla="*/ 977 w 10354"/>
                  <a:gd name="connsiteY2603" fmla="*/ 9667 h 10000"/>
                  <a:gd name="connsiteX2604" fmla="*/ 995 w 10354"/>
                  <a:gd name="connsiteY2604" fmla="*/ 9675 h 10000"/>
                  <a:gd name="connsiteX2605" fmla="*/ 1014 w 10354"/>
                  <a:gd name="connsiteY2605" fmla="*/ 9675 h 10000"/>
                  <a:gd name="connsiteX2606" fmla="*/ 1069 w 10354"/>
                  <a:gd name="connsiteY2606" fmla="*/ 9752 h 10000"/>
                  <a:gd name="connsiteX2607" fmla="*/ 1074 w 10354"/>
                  <a:gd name="connsiteY2607" fmla="*/ 9761 h 10000"/>
                  <a:gd name="connsiteX2608" fmla="*/ 1083 w 10354"/>
                  <a:gd name="connsiteY2608" fmla="*/ 9778 h 10000"/>
                  <a:gd name="connsiteX2609" fmla="*/ 1115 w 10354"/>
                  <a:gd name="connsiteY2609" fmla="*/ 9752 h 10000"/>
                  <a:gd name="connsiteX2610" fmla="*/ 1129 w 10354"/>
                  <a:gd name="connsiteY2610" fmla="*/ 9752 h 10000"/>
                  <a:gd name="connsiteX2611" fmla="*/ 1138 w 10354"/>
                  <a:gd name="connsiteY2611" fmla="*/ 9761 h 10000"/>
                  <a:gd name="connsiteX2612" fmla="*/ 1143 w 10354"/>
                  <a:gd name="connsiteY2612" fmla="*/ 9752 h 10000"/>
                  <a:gd name="connsiteX2613" fmla="*/ 1161 w 10354"/>
                  <a:gd name="connsiteY2613" fmla="*/ 9761 h 10000"/>
                  <a:gd name="connsiteX2614" fmla="*/ 1171 w 10354"/>
                  <a:gd name="connsiteY2614" fmla="*/ 9778 h 10000"/>
                  <a:gd name="connsiteX2615" fmla="*/ 1175 w 10354"/>
                  <a:gd name="connsiteY2615" fmla="*/ 9778 h 10000"/>
                  <a:gd name="connsiteX2616" fmla="*/ 1189 w 10354"/>
                  <a:gd name="connsiteY2616" fmla="*/ 9778 h 10000"/>
                  <a:gd name="connsiteX2617" fmla="*/ 1198 w 10354"/>
                  <a:gd name="connsiteY2617" fmla="*/ 9786 h 10000"/>
                  <a:gd name="connsiteX2618" fmla="*/ 1203 w 10354"/>
                  <a:gd name="connsiteY2618" fmla="*/ 9803 h 10000"/>
                  <a:gd name="connsiteX2619" fmla="*/ 1198 w 10354"/>
                  <a:gd name="connsiteY2619" fmla="*/ 9838 h 10000"/>
                  <a:gd name="connsiteX2620" fmla="*/ 1212 w 10354"/>
                  <a:gd name="connsiteY2620" fmla="*/ 9863 h 10000"/>
                  <a:gd name="connsiteX2621" fmla="*/ 1230 w 10354"/>
                  <a:gd name="connsiteY2621" fmla="*/ 9872 h 10000"/>
                  <a:gd name="connsiteX2622" fmla="*/ 1249 w 10354"/>
                  <a:gd name="connsiteY2622" fmla="*/ 9897 h 10000"/>
                  <a:gd name="connsiteX2623" fmla="*/ 1263 w 10354"/>
                  <a:gd name="connsiteY2623" fmla="*/ 9897 h 10000"/>
                  <a:gd name="connsiteX2624" fmla="*/ 1276 w 10354"/>
                  <a:gd name="connsiteY2624" fmla="*/ 9923 h 10000"/>
                  <a:gd name="connsiteX2625" fmla="*/ 1281 w 10354"/>
                  <a:gd name="connsiteY2625" fmla="*/ 9949 h 10000"/>
                  <a:gd name="connsiteX2626" fmla="*/ 1290 w 10354"/>
                  <a:gd name="connsiteY2626" fmla="*/ 9949 h 10000"/>
                  <a:gd name="connsiteX2627" fmla="*/ 1295 w 10354"/>
                  <a:gd name="connsiteY2627" fmla="*/ 10000 h 10000"/>
                  <a:gd name="connsiteX2628" fmla="*/ 1332 w 10354"/>
                  <a:gd name="connsiteY2628" fmla="*/ 10000 h 10000"/>
                  <a:gd name="connsiteX2629" fmla="*/ 1336 w 10354"/>
                  <a:gd name="connsiteY2629" fmla="*/ 10000 h 10000"/>
                  <a:gd name="connsiteX2630" fmla="*/ 1346 w 10354"/>
                  <a:gd name="connsiteY2630" fmla="*/ 9983 h 10000"/>
                  <a:gd name="connsiteX2631" fmla="*/ 1350 w 10354"/>
                  <a:gd name="connsiteY2631" fmla="*/ 9949 h 10000"/>
                  <a:gd name="connsiteX2632" fmla="*/ 1369 w 10354"/>
                  <a:gd name="connsiteY2632" fmla="*/ 9940 h 10000"/>
                  <a:gd name="connsiteX2633" fmla="*/ 1378 w 10354"/>
                  <a:gd name="connsiteY2633" fmla="*/ 9897 h 10000"/>
                  <a:gd name="connsiteX2634" fmla="*/ 1369 w 10354"/>
                  <a:gd name="connsiteY2634" fmla="*/ 9889 h 10000"/>
                  <a:gd name="connsiteX2635" fmla="*/ 1318 w 10354"/>
                  <a:gd name="connsiteY2635" fmla="*/ 9701 h 10000"/>
                  <a:gd name="connsiteX2636" fmla="*/ 1318 w 10354"/>
                  <a:gd name="connsiteY2636" fmla="*/ 9650 h 10000"/>
                  <a:gd name="connsiteX2637" fmla="*/ 1323 w 10354"/>
                  <a:gd name="connsiteY2637" fmla="*/ 9590 h 10000"/>
                  <a:gd name="connsiteX2638" fmla="*/ 1323 w 10354"/>
                  <a:gd name="connsiteY2638" fmla="*/ 9564 h 10000"/>
                  <a:gd name="connsiteX2639" fmla="*/ 1309 w 10354"/>
                  <a:gd name="connsiteY2639" fmla="*/ 9598 h 10000"/>
                  <a:gd name="connsiteX2640" fmla="*/ 1309 w 10354"/>
                  <a:gd name="connsiteY2640" fmla="*/ 9590 h 10000"/>
                  <a:gd name="connsiteX2641" fmla="*/ 1304 w 10354"/>
                  <a:gd name="connsiteY2641" fmla="*/ 9547 h 10000"/>
                  <a:gd name="connsiteX2642" fmla="*/ 1276 w 10354"/>
                  <a:gd name="connsiteY2642" fmla="*/ 9479 h 10000"/>
                  <a:gd name="connsiteX2643" fmla="*/ 1263 w 10354"/>
                  <a:gd name="connsiteY2643" fmla="*/ 9479 h 10000"/>
                  <a:gd name="connsiteX2644" fmla="*/ 1263 w 10354"/>
                  <a:gd name="connsiteY2644" fmla="*/ 9453 h 10000"/>
                  <a:gd name="connsiteX2645" fmla="*/ 1272 w 10354"/>
                  <a:gd name="connsiteY2645" fmla="*/ 9410 h 10000"/>
                  <a:gd name="connsiteX2646" fmla="*/ 1272 w 10354"/>
                  <a:gd name="connsiteY2646" fmla="*/ 9393 h 10000"/>
                  <a:gd name="connsiteX2647" fmla="*/ 1281 w 10354"/>
                  <a:gd name="connsiteY2647" fmla="*/ 9368 h 10000"/>
                  <a:gd name="connsiteX2648" fmla="*/ 1281 w 10354"/>
                  <a:gd name="connsiteY2648" fmla="*/ 9368 h 10000"/>
                  <a:gd name="connsiteX2649" fmla="*/ 1290 w 10354"/>
                  <a:gd name="connsiteY2649" fmla="*/ 9368 h 10000"/>
                  <a:gd name="connsiteX2650" fmla="*/ 1290 w 10354"/>
                  <a:gd name="connsiteY2650" fmla="*/ 9342 h 10000"/>
                  <a:gd name="connsiteX2651" fmla="*/ 1304 w 10354"/>
                  <a:gd name="connsiteY2651" fmla="*/ 9325 h 10000"/>
                  <a:gd name="connsiteX2652" fmla="*/ 1309 w 10354"/>
                  <a:gd name="connsiteY2652" fmla="*/ 9239 h 10000"/>
                  <a:gd name="connsiteX2653" fmla="*/ 1318 w 10354"/>
                  <a:gd name="connsiteY2653" fmla="*/ 9256 h 10000"/>
                  <a:gd name="connsiteX2654" fmla="*/ 1323 w 10354"/>
                  <a:gd name="connsiteY2654" fmla="*/ 9179 h 10000"/>
                  <a:gd name="connsiteX2655" fmla="*/ 1309 w 10354"/>
                  <a:gd name="connsiteY2655" fmla="*/ 9145 h 10000"/>
                  <a:gd name="connsiteX2656" fmla="*/ 1336 w 10354"/>
                  <a:gd name="connsiteY2656" fmla="*/ 9154 h 10000"/>
                  <a:gd name="connsiteX2657" fmla="*/ 1336 w 10354"/>
                  <a:gd name="connsiteY2657" fmla="*/ 9162 h 10000"/>
                  <a:gd name="connsiteX2658" fmla="*/ 1350 w 10354"/>
                  <a:gd name="connsiteY2658" fmla="*/ 9231 h 10000"/>
                  <a:gd name="connsiteX2659" fmla="*/ 1355 w 10354"/>
                  <a:gd name="connsiteY2659" fmla="*/ 9231 h 10000"/>
                  <a:gd name="connsiteX2660" fmla="*/ 1364 w 10354"/>
                  <a:gd name="connsiteY2660" fmla="*/ 9214 h 10000"/>
                  <a:gd name="connsiteX2661" fmla="*/ 1369 w 10354"/>
                  <a:gd name="connsiteY2661" fmla="*/ 9214 h 10000"/>
                  <a:gd name="connsiteX2662" fmla="*/ 1382 w 10354"/>
                  <a:gd name="connsiteY2662" fmla="*/ 9154 h 10000"/>
                  <a:gd name="connsiteX2663" fmla="*/ 1396 w 10354"/>
                  <a:gd name="connsiteY2663" fmla="*/ 9154 h 10000"/>
                  <a:gd name="connsiteX2664" fmla="*/ 1382 w 10354"/>
                  <a:gd name="connsiteY2664" fmla="*/ 9145 h 10000"/>
                  <a:gd name="connsiteX2665" fmla="*/ 1382 w 10354"/>
                  <a:gd name="connsiteY2665" fmla="*/ 9128 h 10000"/>
                  <a:gd name="connsiteX2666" fmla="*/ 1369 w 10354"/>
                  <a:gd name="connsiteY2666" fmla="*/ 9128 h 10000"/>
                  <a:gd name="connsiteX2667" fmla="*/ 1364 w 10354"/>
                  <a:gd name="connsiteY2667" fmla="*/ 9128 h 10000"/>
                  <a:gd name="connsiteX2668" fmla="*/ 1355 w 10354"/>
                  <a:gd name="connsiteY2668" fmla="*/ 9120 h 10000"/>
                  <a:gd name="connsiteX2669" fmla="*/ 1350 w 10354"/>
                  <a:gd name="connsiteY2669" fmla="*/ 9103 h 10000"/>
                  <a:gd name="connsiteX2670" fmla="*/ 1355 w 10354"/>
                  <a:gd name="connsiteY2670" fmla="*/ 9094 h 10000"/>
                  <a:gd name="connsiteX2671" fmla="*/ 1355 w 10354"/>
                  <a:gd name="connsiteY2671" fmla="*/ 9068 h 10000"/>
                  <a:gd name="connsiteX2672" fmla="*/ 1369 w 10354"/>
                  <a:gd name="connsiteY2672" fmla="*/ 9068 h 10000"/>
                  <a:gd name="connsiteX2673" fmla="*/ 1378 w 10354"/>
                  <a:gd name="connsiteY2673" fmla="*/ 9077 h 10000"/>
                  <a:gd name="connsiteX2674" fmla="*/ 1396 w 10354"/>
                  <a:gd name="connsiteY2674" fmla="*/ 9068 h 10000"/>
                  <a:gd name="connsiteX2675" fmla="*/ 1382 w 10354"/>
                  <a:gd name="connsiteY2675" fmla="*/ 8940 h 10000"/>
                  <a:gd name="connsiteX2676" fmla="*/ 1378 w 10354"/>
                  <a:gd name="connsiteY2676" fmla="*/ 8940 h 10000"/>
                  <a:gd name="connsiteX2677" fmla="*/ 1364 w 10354"/>
                  <a:gd name="connsiteY2677" fmla="*/ 8889 h 10000"/>
                  <a:gd name="connsiteX2678" fmla="*/ 1355 w 10354"/>
                  <a:gd name="connsiteY2678" fmla="*/ 8880 h 10000"/>
                  <a:gd name="connsiteX2679" fmla="*/ 1323 w 10354"/>
                  <a:gd name="connsiteY2679" fmla="*/ 8880 h 10000"/>
                  <a:gd name="connsiteX2680" fmla="*/ 1309 w 10354"/>
                  <a:gd name="connsiteY2680" fmla="*/ 8880 h 10000"/>
                  <a:gd name="connsiteX2681" fmla="*/ 1309 w 10354"/>
                  <a:gd name="connsiteY2681" fmla="*/ 8889 h 10000"/>
                  <a:gd name="connsiteX2682" fmla="*/ 1295 w 10354"/>
                  <a:gd name="connsiteY2682" fmla="*/ 8872 h 10000"/>
                  <a:gd name="connsiteX2683" fmla="*/ 1290 w 10354"/>
                  <a:gd name="connsiteY2683" fmla="*/ 8855 h 10000"/>
                  <a:gd name="connsiteX2684" fmla="*/ 1290 w 10354"/>
                  <a:gd name="connsiteY2684" fmla="*/ 8829 h 10000"/>
                  <a:gd name="connsiteX2685" fmla="*/ 1290 w 10354"/>
                  <a:gd name="connsiteY2685" fmla="*/ 8821 h 10000"/>
                  <a:gd name="connsiteX2686" fmla="*/ 1290 w 10354"/>
                  <a:gd name="connsiteY2686" fmla="*/ 8803 h 10000"/>
                  <a:gd name="connsiteX2687" fmla="*/ 1281 w 10354"/>
                  <a:gd name="connsiteY2687" fmla="*/ 8795 h 10000"/>
                  <a:gd name="connsiteX2688" fmla="*/ 1249 w 10354"/>
                  <a:gd name="connsiteY2688" fmla="*/ 8769 h 10000"/>
                  <a:gd name="connsiteX2689" fmla="*/ 1263 w 10354"/>
                  <a:gd name="connsiteY2689" fmla="*/ 8667 h 10000"/>
                  <a:gd name="connsiteX2690" fmla="*/ 1281 w 10354"/>
                  <a:gd name="connsiteY2690" fmla="*/ 8658 h 10000"/>
                  <a:gd name="connsiteX2691" fmla="*/ 1290 w 10354"/>
                  <a:gd name="connsiteY2691" fmla="*/ 8632 h 10000"/>
                  <a:gd name="connsiteX2692" fmla="*/ 1281 w 10354"/>
                  <a:gd name="connsiteY2692" fmla="*/ 8615 h 10000"/>
                  <a:gd name="connsiteX2693" fmla="*/ 1272 w 10354"/>
                  <a:gd name="connsiteY2693" fmla="*/ 8598 h 10000"/>
                  <a:gd name="connsiteX2694" fmla="*/ 1281 w 10354"/>
                  <a:gd name="connsiteY2694" fmla="*/ 8496 h 10000"/>
                  <a:gd name="connsiteX2695" fmla="*/ 1295 w 10354"/>
                  <a:gd name="connsiteY2695" fmla="*/ 8470 h 10000"/>
                  <a:gd name="connsiteX2696" fmla="*/ 1304 w 10354"/>
                  <a:gd name="connsiteY2696" fmla="*/ 8462 h 10000"/>
                  <a:gd name="connsiteX2697" fmla="*/ 1304 w 10354"/>
                  <a:gd name="connsiteY2697" fmla="*/ 8444 h 10000"/>
                  <a:gd name="connsiteX2698" fmla="*/ 1304 w 10354"/>
                  <a:gd name="connsiteY2698" fmla="*/ 8419 h 10000"/>
                  <a:gd name="connsiteX2699" fmla="*/ 1304 w 10354"/>
                  <a:gd name="connsiteY2699" fmla="*/ 8410 h 10000"/>
                  <a:gd name="connsiteX2700" fmla="*/ 1309 w 10354"/>
                  <a:gd name="connsiteY2700" fmla="*/ 8393 h 10000"/>
                  <a:gd name="connsiteX2701" fmla="*/ 1318 w 10354"/>
                  <a:gd name="connsiteY2701" fmla="*/ 8385 h 10000"/>
                  <a:gd name="connsiteX2702" fmla="*/ 1323 w 10354"/>
                  <a:gd name="connsiteY2702" fmla="*/ 8385 h 10000"/>
                  <a:gd name="connsiteX2703" fmla="*/ 1332 w 10354"/>
                  <a:gd name="connsiteY2703" fmla="*/ 8410 h 10000"/>
                  <a:gd name="connsiteX2704" fmla="*/ 1346 w 10354"/>
                  <a:gd name="connsiteY2704" fmla="*/ 8419 h 10000"/>
                  <a:gd name="connsiteX2705" fmla="*/ 1364 w 10354"/>
                  <a:gd name="connsiteY2705" fmla="*/ 8504 h 10000"/>
                  <a:gd name="connsiteX2706" fmla="*/ 1369 w 10354"/>
                  <a:gd name="connsiteY2706" fmla="*/ 8521 h 10000"/>
                  <a:gd name="connsiteX2707" fmla="*/ 1406 w 10354"/>
                  <a:gd name="connsiteY2707" fmla="*/ 8470 h 10000"/>
                  <a:gd name="connsiteX2708" fmla="*/ 1382 w 10354"/>
                  <a:gd name="connsiteY2708" fmla="*/ 8359 h 10000"/>
                  <a:gd name="connsiteX2709" fmla="*/ 1392 w 10354"/>
                  <a:gd name="connsiteY2709" fmla="*/ 8359 h 10000"/>
                  <a:gd name="connsiteX2710" fmla="*/ 1438 w 10354"/>
                  <a:gd name="connsiteY2710" fmla="*/ 8308 h 10000"/>
                  <a:gd name="connsiteX2711" fmla="*/ 1442 w 10354"/>
                  <a:gd name="connsiteY2711" fmla="*/ 8299 h 10000"/>
                  <a:gd name="connsiteX2712" fmla="*/ 1442 w 10354"/>
                  <a:gd name="connsiteY2712" fmla="*/ 8256 h 10000"/>
                  <a:gd name="connsiteX2713" fmla="*/ 1452 w 10354"/>
                  <a:gd name="connsiteY2713" fmla="*/ 8256 h 10000"/>
                  <a:gd name="connsiteX2714" fmla="*/ 1456 w 10354"/>
                  <a:gd name="connsiteY2714" fmla="*/ 8256 h 10000"/>
                  <a:gd name="connsiteX2715" fmla="*/ 1470 w 10354"/>
                  <a:gd name="connsiteY2715" fmla="*/ 8248 h 10000"/>
                  <a:gd name="connsiteX2716" fmla="*/ 1479 w 10354"/>
                  <a:gd name="connsiteY2716" fmla="*/ 8231 h 10000"/>
                  <a:gd name="connsiteX2717" fmla="*/ 1493 w 10354"/>
                  <a:gd name="connsiteY2717" fmla="*/ 8222 h 10000"/>
                  <a:gd name="connsiteX2718" fmla="*/ 1498 w 10354"/>
                  <a:gd name="connsiteY2718" fmla="*/ 8214 h 10000"/>
                  <a:gd name="connsiteX2719" fmla="*/ 1502 w 10354"/>
                  <a:gd name="connsiteY2719" fmla="*/ 8197 h 10000"/>
                  <a:gd name="connsiteX2720" fmla="*/ 1512 w 10354"/>
                  <a:gd name="connsiteY2720" fmla="*/ 8188 h 10000"/>
                  <a:gd name="connsiteX2721" fmla="*/ 1516 w 10354"/>
                  <a:gd name="connsiteY2721" fmla="*/ 8171 h 10000"/>
                  <a:gd name="connsiteX2722" fmla="*/ 1525 w 10354"/>
                  <a:gd name="connsiteY2722" fmla="*/ 8162 h 10000"/>
                  <a:gd name="connsiteX2723" fmla="*/ 1539 w 10354"/>
                  <a:gd name="connsiteY2723" fmla="*/ 8145 h 10000"/>
                  <a:gd name="connsiteX2724" fmla="*/ 1558 w 10354"/>
                  <a:gd name="connsiteY2724" fmla="*/ 8145 h 10000"/>
                  <a:gd name="connsiteX2725" fmla="*/ 1562 w 10354"/>
                  <a:gd name="connsiteY2725" fmla="*/ 8188 h 10000"/>
                  <a:gd name="connsiteX2726" fmla="*/ 1585 w 10354"/>
                  <a:gd name="connsiteY2726" fmla="*/ 8171 h 10000"/>
                  <a:gd name="connsiteX2727" fmla="*/ 1590 w 10354"/>
                  <a:gd name="connsiteY2727" fmla="*/ 8188 h 10000"/>
                  <a:gd name="connsiteX2728" fmla="*/ 1599 w 10354"/>
                  <a:gd name="connsiteY2728" fmla="*/ 8171 h 10000"/>
                  <a:gd name="connsiteX2729" fmla="*/ 1599 w 10354"/>
                  <a:gd name="connsiteY2729" fmla="*/ 8162 h 10000"/>
                  <a:gd name="connsiteX2730" fmla="*/ 1604 w 10354"/>
                  <a:gd name="connsiteY2730" fmla="*/ 8137 h 10000"/>
                  <a:gd name="connsiteX2731" fmla="*/ 1618 w 10354"/>
                  <a:gd name="connsiteY2731" fmla="*/ 8145 h 10000"/>
                  <a:gd name="connsiteX2732" fmla="*/ 1627 w 10354"/>
                  <a:gd name="connsiteY2732" fmla="*/ 8137 h 10000"/>
                  <a:gd name="connsiteX2733" fmla="*/ 1631 w 10354"/>
                  <a:gd name="connsiteY2733" fmla="*/ 8137 h 10000"/>
                  <a:gd name="connsiteX2734" fmla="*/ 1636 w 10354"/>
                  <a:gd name="connsiteY2734" fmla="*/ 8171 h 10000"/>
                  <a:gd name="connsiteX2735" fmla="*/ 1645 w 10354"/>
                  <a:gd name="connsiteY2735" fmla="*/ 8188 h 10000"/>
                  <a:gd name="connsiteX2736" fmla="*/ 1664 w 10354"/>
                  <a:gd name="connsiteY2736" fmla="*/ 8171 h 10000"/>
                  <a:gd name="connsiteX2737" fmla="*/ 1673 w 10354"/>
                  <a:gd name="connsiteY2737" fmla="*/ 8188 h 10000"/>
                  <a:gd name="connsiteX2738" fmla="*/ 1691 w 10354"/>
                  <a:gd name="connsiteY2738" fmla="*/ 8171 h 10000"/>
                  <a:gd name="connsiteX2739" fmla="*/ 1705 w 10354"/>
                  <a:gd name="connsiteY2739" fmla="*/ 8171 h 10000"/>
                  <a:gd name="connsiteX2740" fmla="*/ 1719 w 10354"/>
                  <a:gd name="connsiteY2740" fmla="*/ 8197 h 10000"/>
                  <a:gd name="connsiteX2741" fmla="*/ 1724 w 10354"/>
                  <a:gd name="connsiteY2741" fmla="*/ 8231 h 10000"/>
                  <a:gd name="connsiteX2742" fmla="*/ 1751 w 10354"/>
                  <a:gd name="connsiteY2742" fmla="*/ 8256 h 10000"/>
                  <a:gd name="connsiteX2743" fmla="*/ 1751 w 10354"/>
                  <a:gd name="connsiteY2743" fmla="*/ 8274 h 10000"/>
                  <a:gd name="connsiteX2744" fmla="*/ 1760 w 10354"/>
                  <a:gd name="connsiteY2744" fmla="*/ 8282 h 10000"/>
                  <a:gd name="connsiteX2745" fmla="*/ 1770 w 10354"/>
                  <a:gd name="connsiteY2745" fmla="*/ 8325 h 10000"/>
                  <a:gd name="connsiteX2746" fmla="*/ 1770 w 10354"/>
                  <a:gd name="connsiteY2746" fmla="*/ 8350 h 10000"/>
                  <a:gd name="connsiteX2747" fmla="*/ 1779 w 10354"/>
                  <a:gd name="connsiteY2747" fmla="*/ 8368 h 10000"/>
                  <a:gd name="connsiteX2748" fmla="*/ 1783 w 10354"/>
                  <a:gd name="connsiteY2748" fmla="*/ 8359 h 10000"/>
                  <a:gd name="connsiteX2749" fmla="*/ 1783 w 10354"/>
                  <a:gd name="connsiteY2749" fmla="*/ 8308 h 10000"/>
                  <a:gd name="connsiteX2750" fmla="*/ 1779 w 10354"/>
                  <a:gd name="connsiteY2750" fmla="*/ 8299 h 10000"/>
                  <a:gd name="connsiteX2751" fmla="*/ 1783 w 10354"/>
                  <a:gd name="connsiteY2751" fmla="*/ 8282 h 10000"/>
                  <a:gd name="connsiteX2752" fmla="*/ 1797 w 10354"/>
                  <a:gd name="connsiteY2752" fmla="*/ 8274 h 10000"/>
                  <a:gd name="connsiteX2753" fmla="*/ 1797 w 10354"/>
                  <a:gd name="connsiteY2753" fmla="*/ 8299 h 10000"/>
                  <a:gd name="connsiteX2754" fmla="*/ 1806 w 10354"/>
                  <a:gd name="connsiteY2754" fmla="*/ 8308 h 10000"/>
                  <a:gd name="connsiteX2755" fmla="*/ 1811 w 10354"/>
                  <a:gd name="connsiteY2755" fmla="*/ 8325 h 10000"/>
                  <a:gd name="connsiteX2756" fmla="*/ 1820 w 10354"/>
                  <a:gd name="connsiteY2756" fmla="*/ 8333 h 10000"/>
                  <a:gd name="connsiteX2757" fmla="*/ 1853 w 10354"/>
                  <a:gd name="connsiteY2757" fmla="*/ 8359 h 10000"/>
                  <a:gd name="connsiteX2758" fmla="*/ 1866 w 10354"/>
                  <a:gd name="connsiteY2758" fmla="*/ 8359 h 10000"/>
                  <a:gd name="connsiteX2759" fmla="*/ 1885 w 10354"/>
                  <a:gd name="connsiteY2759" fmla="*/ 8325 h 10000"/>
                  <a:gd name="connsiteX2760" fmla="*/ 1885 w 10354"/>
                  <a:gd name="connsiteY2760" fmla="*/ 8308 h 10000"/>
                  <a:gd name="connsiteX2761" fmla="*/ 1894 w 10354"/>
                  <a:gd name="connsiteY2761" fmla="*/ 8299 h 10000"/>
                  <a:gd name="connsiteX2762" fmla="*/ 1899 w 10354"/>
                  <a:gd name="connsiteY2762" fmla="*/ 8282 h 10000"/>
                  <a:gd name="connsiteX2763" fmla="*/ 1912 w 10354"/>
                  <a:gd name="connsiteY2763" fmla="*/ 8282 h 10000"/>
                  <a:gd name="connsiteX2764" fmla="*/ 1917 w 10354"/>
                  <a:gd name="connsiteY2764" fmla="*/ 8299 h 10000"/>
                  <a:gd name="connsiteX2765" fmla="*/ 1917 w 10354"/>
                  <a:gd name="connsiteY2765" fmla="*/ 8274 h 10000"/>
                  <a:gd name="connsiteX2766" fmla="*/ 1940 w 10354"/>
                  <a:gd name="connsiteY2766" fmla="*/ 8282 h 10000"/>
                  <a:gd name="connsiteX2767" fmla="*/ 1945 w 10354"/>
                  <a:gd name="connsiteY2767" fmla="*/ 8274 h 10000"/>
                  <a:gd name="connsiteX2768" fmla="*/ 1972 w 10354"/>
                  <a:gd name="connsiteY2768" fmla="*/ 8308 h 10000"/>
                  <a:gd name="connsiteX2769" fmla="*/ 1986 w 10354"/>
                  <a:gd name="connsiteY2769" fmla="*/ 8282 h 10000"/>
                  <a:gd name="connsiteX2770" fmla="*/ 1991 w 10354"/>
                  <a:gd name="connsiteY2770" fmla="*/ 8274 h 10000"/>
                  <a:gd name="connsiteX2771" fmla="*/ 2014 w 10354"/>
                  <a:gd name="connsiteY2771" fmla="*/ 8274 h 10000"/>
                  <a:gd name="connsiteX2772" fmla="*/ 2018 w 10354"/>
                  <a:gd name="connsiteY2772" fmla="*/ 8256 h 10000"/>
                  <a:gd name="connsiteX2773" fmla="*/ 2041 w 10354"/>
                  <a:gd name="connsiteY2773" fmla="*/ 8274 h 10000"/>
                  <a:gd name="connsiteX2774" fmla="*/ 2046 w 10354"/>
                  <a:gd name="connsiteY2774" fmla="*/ 8282 h 10000"/>
                  <a:gd name="connsiteX2775" fmla="*/ 2046 w 10354"/>
                  <a:gd name="connsiteY2775" fmla="*/ 8325 h 10000"/>
                  <a:gd name="connsiteX2776" fmla="*/ 2060 w 10354"/>
                  <a:gd name="connsiteY2776" fmla="*/ 8350 h 10000"/>
                  <a:gd name="connsiteX2777" fmla="*/ 2078 w 10354"/>
                  <a:gd name="connsiteY2777" fmla="*/ 8350 h 10000"/>
                  <a:gd name="connsiteX2778" fmla="*/ 2092 w 10354"/>
                  <a:gd name="connsiteY2778" fmla="*/ 8350 h 10000"/>
                  <a:gd name="connsiteX2779" fmla="*/ 2092 w 10354"/>
                  <a:gd name="connsiteY2779" fmla="*/ 8350 h 10000"/>
                  <a:gd name="connsiteX2780" fmla="*/ 2101 w 10354"/>
                  <a:gd name="connsiteY2780" fmla="*/ 8368 h 10000"/>
                  <a:gd name="connsiteX2781" fmla="*/ 2120 w 10354"/>
                  <a:gd name="connsiteY2781" fmla="*/ 8368 h 10000"/>
                  <a:gd name="connsiteX2782" fmla="*/ 2124 w 10354"/>
                  <a:gd name="connsiteY2782" fmla="*/ 8359 h 10000"/>
                  <a:gd name="connsiteX2783" fmla="*/ 2138 w 10354"/>
                  <a:gd name="connsiteY2783" fmla="*/ 8325 h 10000"/>
                  <a:gd name="connsiteX2784" fmla="*/ 2147 w 10354"/>
                  <a:gd name="connsiteY2784" fmla="*/ 8325 h 10000"/>
                  <a:gd name="connsiteX2785" fmla="*/ 2161 w 10354"/>
                  <a:gd name="connsiteY2785" fmla="*/ 8350 h 10000"/>
                  <a:gd name="connsiteX2786" fmla="*/ 2198 w 10354"/>
                  <a:gd name="connsiteY2786" fmla="*/ 8350 h 10000"/>
                  <a:gd name="connsiteX2787" fmla="*/ 2207 w 10354"/>
                  <a:gd name="connsiteY2787" fmla="*/ 8333 h 10000"/>
                  <a:gd name="connsiteX2788" fmla="*/ 2226 w 10354"/>
                  <a:gd name="connsiteY2788" fmla="*/ 8325 h 10000"/>
                  <a:gd name="connsiteX2789" fmla="*/ 2249 w 10354"/>
                  <a:gd name="connsiteY2789" fmla="*/ 8222 h 10000"/>
                  <a:gd name="connsiteX2790" fmla="*/ 2235 w 10354"/>
                  <a:gd name="connsiteY2790" fmla="*/ 8197 h 10000"/>
                  <a:gd name="connsiteX2791" fmla="*/ 2198 w 10354"/>
                  <a:gd name="connsiteY2791" fmla="*/ 8197 h 10000"/>
                  <a:gd name="connsiteX2792" fmla="*/ 2189 w 10354"/>
                  <a:gd name="connsiteY2792" fmla="*/ 8171 h 10000"/>
                  <a:gd name="connsiteX2793" fmla="*/ 2161 w 10354"/>
                  <a:gd name="connsiteY2793" fmla="*/ 8145 h 10000"/>
                  <a:gd name="connsiteX2794" fmla="*/ 2161 w 10354"/>
                  <a:gd name="connsiteY2794" fmla="*/ 8137 h 10000"/>
                  <a:gd name="connsiteX2795" fmla="*/ 2152 w 10354"/>
                  <a:gd name="connsiteY2795" fmla="*/ 8120 h 10000"/>
                  <a:gd name="connsiteX2796" fmla="*/ 2138 w 10354"/>
                  <a:gd name="connsiteY2796" fmla="*/ 8111 h 10000"/>
                  <a:gd name="connsiteX2797" fmla="*/ 2138 w 10354"/>
                  <a:gd name="connsiteY2797" fmla="*/ 8094 h 10000"/>
                  <a:gd name="connsiteX2798" fmla="*/ 2147 w 10354"/>
                  <a:gd name="connsiteY2798" fmla="*/ 8085 h 10000"/>
                  <a:gd name="connsiteX2799" fmla="*/ 2161 w 10354"/>
                  <a:gd name="connsiteY2799" fmla="*/ 8060 h 10000"/>
                  <a:gd name="connsiteX2800" fmla="*/ 2198 w 10354"/>
                  <a:gd name="connsiteY2800" fmla="*/ 8034 h 10000"/>
                  <a:gd name="connsiteX2801" fmla="*/ 2198 w 10354"/>
                  <a:gd name="connsiteY2801" fmla="*/ 8026 h 10000"/>
                  <a:gd name="connsiteX2802" fmla="*/ 2198 w 10354"/>
                  <a:gd name="connsiteY2802" fmla="*/ 8000 h 10000"/>
                  <a:gd name="connsiteX2803" fmla="*/ 2180 w 10354"/>
                  <a:gd name="connsiteY2803" fmla="*/ 7940 h 10000"/>
                  <a:gd name="connsiteX2804" fmla="*/ 2189 w 10354"/>
                  <a:gd name="connsiteY2804" fmla="*/ 7940 h 10000"/>
                  <a:gd name="connsiteX2805" fmla="*/ 2198 w 10354"/>
                  <a:gd name="connsiteY2805" fmla="*/ 7923 h 10000"/>
                  <a:gd name="connsiteX2806" fmla="*/ 2198 w 10354"/>
                  <a:gd name="connsiteY2806" fmla="*/ 7897 h 10000"/>
                  <a:gd name="connsiteX2807" fmla="*/ 2207 w 10354"/>
                  <a:gd name="connsiteY2807" fmla="*/ 7889 h 10000"/>
                  <a:gd name="connsiteX2808" fmla="*/ 2221 w 10354"/>
                  <a:gd name="connsiteY2808" fmla="*/ 7889 h 10000"/>
                  <a:gd name="connsiteX2809" fmla="*/ 2226 w 10354"/>
                  <a:gd name="connsiteY2809" fmla="*/ 7897 h 10000"/>
                  <a:gd name="connsiteX2810" fmla="*/ 2235 w 10354"/>
                  <a:gd name="connsiteY2810" fmla="*/ 7889 h 10000"/>
                  <a:gd name="connsiteX2811" fmla="*/ 2249 w 10354"/>
                  <a:gd name="connsiteY2811" fmla="*/ 7897 h 10000"/>
                  <a:gd name="connsiteX2812" fmla="*/ 2267 w 10354"/>
                  <a:gd name="connsiteY2812" fmla="*/ 7897 h 10000"/>
                  <a:gd name="connsiteX2813" fmla="*/ 2272 w 10354"/>
                  <a:gd name="connsiteY2813" fmla="*/ 7889 h 10000"/>
                  <a:gd name="connsiteX2814" fmla="*/ 2281 w 10354"/>
                  <a:gd name="connsiteY2814" fmla="*/ 7872 h 10000"/>
                  <a:gd name="connsiteX2815" fmla="*/ 2272 w 10354"/>
                  <a:gd name="connsiteY2815" fmla="*/ 7846 h 10000"/>
                  <a:gd name="connsiteX2816" fmla="*/ 2253 w 10354"/>
                  <a:gd name="connsiteY2816" fmla="*/ 7838 h 10000"/>
                  <a:gd name="connsiteX2817" fmla="*/ 2221 w 10354"/>
                  <a:gd name="connsiteY2817" fmla="*/ 7821 h 10000"/>
                  <a:gd name="connsiteX2818" fmla="*/ 2212 w 10354"/>
                  <a:gd name="connsiteY2818" fmla="*/ 7812 h 10000"/>
                  <a:gd name="connsiteX2819" fmla="*/ 2212 w 10354"/>
                  <a:gd name="connsiteY2819" fmla="*/ 7803 h 10000"/>
                  <a:gd name="connsiteX2820" fmla="*/ 2221 w 10354"/>
                  <a:gd name="connsiteY2820" fmla="*/ 7803 h 10000"/>
                  <a:gd name="connsiteX2821" fmla="*/ 2235 w 10354"/>
                  <a:gd name="connsiteY2821" fmla="*/ 7786 h 10000"/>
                  <a:gd name="connsiteX2822" fmla="*/ 2240 w 10354"/>
                  <a:gd name="connsiteY2822" fmla="*/ 7778 h 10000"/>
                  <a:gd name="connsiteX2823" fmla="*/ 2226 w 10354"/>
                  <a:gd name="connsiteY2823" fmla="*/ 7761 h 10000"/>
                  <a:gd name="connsiteX2824" fmla="*/ 2221 w 10354"/>
                  <a:gd name="connsiteY2824" fmla="*/ 7778 h 10000"/>
                  <a:gd name="connsiteX2825" fmla="*/ 2198 w 10354"/>
                  <a:gd name="connsiteY2825" fmla="*/ 7778 h 10000"/>
                  <a:gd name="connsiteX2826" fmla="*/ 2198 w 10354"/>
                  <a:gd name="connsiteY2826" fmla="*/ 7752 h 10000"/>
                  <a:gd name="connsiteX2827" fmla="*/ 2207 w 10354"/>
                  <a:gd name="connsiteY2827" fmla="*/ 7735 h 10000"/>
                  <a:gd name="connsiteX2828" fmla="*/ 2212 w 10354"/>
                  <a:gd name="connsiteY2828" fmla="*/ 7726 h 10000"/>
                  <a:gd name="connsiteX2829" fmla="*/ 2198 w 10354"/>
                  <a:gd name="connsiteY2829" fmla="*/ 7692 h 10000"/>
                  <a:gd name="connsiteX2830" fmla="*/ 2221 w 10354"/>
                  <a:gd name="connsiteY2830" fmla="*/ 7692 h 10000"/>
                  <a:gd name="connsiteX2831" fmla="*/ 2221 w 10354"/>
                  <a:gd name="connsiteY2831" fmla="*/ 7675 h 10000"/>
                  <a:gd name="connsiteX2832" fmla="*/ 2235 w 10354"/>
                  <a:gd name="connsiteY2832" fmla="*/ 7675 h 10000"/>
                  <a:gd name="connsiteX2833" fmla="*/ 2240 w 10354"/>
                  <a:gd name="connsiteY2833" fmla="*/ 7692 h 10000"/>
                  <a:gd name="connsiteX2834" fmla="*/ 2249 w 10354"/>
                  <a:gd name="connsiteY2834" fmla="*/ 7692 h 10000"/>
                  <a:gd name="connsiteX2835" fmla="*/ 2258 w 10354"/>
                  <a:gd name="connsiteY2835" fmla="*/ 7692 h 10000"/>
                  <a:gd name="connsiteX2836" fmla="*/ 2267 w 10354"/>
                  <a:gd name="connsiteY2836" fmla="*/ 7692 h 10000"/>
                  <a:gd name="connsiteX2837" fmla="*/ 2295 w 10354"/>
                  <a:gd name="connsiteY2837" fmla="*/ 7692 h 10000"/>
                  <a:gd name="connsiteX2838" fmla="*/ 2300 w 10354"/>
                  <a:gd name="connsiteY2838" fmla="*/ 7701 h 10000"/>
                  <a:gd name="connsiteX2839" fmla="*/ 2313 w 10354"/>
                  <a:gd name="connsiteY2839" fmla="*/ 7675 h 10000"/>
                  <a:gd name="connsiteX2840" fmla="*/ 2323 w 10354"/>
                  <a:gd name="connsiteY2840" fmla="*/ 7675 h 10000"/>
                  <a:gd name="connsiteX2841" fmla="*/ 2341 w 10354"/>
                  <a:gd name="connsiteY2841" fmla="*/ 7675 h 10000"/>
                  <a:gd name="connsiteX2842" fmla="*/ 2346 w 10354"/>
                  <a:gd name="connsiteY2842" fmla="*/ 7667 h 10000"/>
                  <a:gd name="connsiteX2843" fmla="*/ 2359 w 10354"/>
                  <a:gd name="connsiteY2843" fmla="*/ 7650 h 10000"/>
                  <a:gd name="connsiteX2844" fmla="*/ 2373 w 10354"/>
                  <a:gd name="connsiteY2844" fmla="*/ 7624 h 10000"/>
                  <a:gd name="connsiteX2845" fmla="*/ 2382 w 10354"/>
                  <a:gd name="connsiteY2845" fmla="*/ 7641 h 10000"/>
                  <a:gd name="connsiteX2846" fmla="*/ 2396 w 10354"/>
                  <a:gd name="connsiteY2846" fmla="*/ 7650 h 10000"/>
                  <a:gd name="connsiteX2847" fmla="*/ 2401 w 10354"/>
                  <a:gd name="connsiteY2847" fmla="*/ 7650 h 10000"/>
                  <a:gd name="connsiteX2848" fmla="*/ 2401 w 10354"/>
                  <a:gd name="connsiteY2848" fmla="*/ 7624 h 10000"/>
                  <a:gd name="connsiteX2849" fmla="*/ 2419 w 10354"/>
                  <a:gd name="connsiteY2849" fmla="*/ 7624 h 10000"/>
                  <a:gd name="connsiteX2850" fmla="*/ 2433 w 10354"/>
                  <a:gd name="connsiteY2850" fmla="*/ 7615 h 10000"/>
                  <a:gd name="connsiteX2851" fmla="*/ 2442 w 10354"/>
                  <a:gd name="connsiteY2851" fmla="*/ 7615 h 10000"/>
                  <a:gd name="connsiteX2852" fmla="*/ 2447 w 10354"/>
                  <a:gd name="connsiteY2852" fmla="*/ 7598 h 10000"/>
                  <a:gd name="connsiteX2853" fmla="*/ 2461 w 10354"/>
                  <a:gd name="connsiteY2853" fmla="*/ 7598 h 10000"/>
                  <a:gd name="connsiteX2854" fmla="*/ 2465 w 10354"/>
                  <a:gd name="connsiteY2854" fmla="*/ 7615 h 10000"/>
                  <a:gd name="connsiteX2855" fmla="*/ 2479 w 10354"/>
                  <a:gd name="connsiteY2855" fmla="*/ 7564 h 10000"/>
                  <a:gd name="connsiteX2856" fmla="*/ 2488 w 10354"/>
                  <a:gd name="connsiteY2856" fmla="*/ 7556 h 10000"/>
                  <a:gd name="connsiteX2857" fmla="*/ 2493 w 10354"/>
                  <a:gd name="connsiteY2857" fmla="*/ 7556 h 10000"/>
                  <a:gd name="connsiteX2858" fmla="*/ 2507 w 10354"/>
                  <a:gd name="connsiteY2858" fmla="*/ 7556 h 10000"/>
                  <a:gd name="connsiteX2859" fmla="*/ 2530 w 10354"/>
                  <a:gd name="connsiteY2859" fmla="*/ 7538 h 10000"/>
                  <a:gd name="connsiteX2860" fmla="*/ 2530 w 10354"/>
                  <a:gd name="connsiteY2860" fmla="*/ 7556 h 10000"/>
                  <a:gd name="connsiteX2861" fmla="*/ 2641 w 10354"/>
                  <a:gd name="connsiteY2861" fmla="*/ 7504 h 10000"/>
                  <a:gd name="connsiteX2862" fmla="*/ 2654 w 10354"/>
                  <a:gd name="connsiteY2862" fmla="*/ 7487 h 10000"/>
                  <a:gd name="connsiteX2863" fmla="*/ 2664 w 10354"/>
                  <a:gd name="connsiteY2863" fmla="*/ 7487 h 10000"/>
                  <a:gd name="connsiteX2864" fmla="*/ 2668 w 10354"/>
                  <a:gd name="connsiteY2864" fmla="*/ 7479 h 10000"/>
                  <a:gd name="connsiteX2865" fmla="*/ 2673 w 10354"/>
                  <a:gd name="connsiteY2865" fmla="*/ 7462 h 10000"/>
                  <a:gd name="connsiteX2866" fmla="*/ 2673 w 10354"/>
                  <a:gd name="connsiteY2866" fmla="*/ 7427 h 10000"/>
                  <a:gd name="connsiteX2867" fmla="*/ 2687 w 10354"/>
                  <a:gd name="connsiteY2867" fmla="*/ 7436 h 10000"/>
                  <a:gd name="connsiteX2868" fmla="*/ 2696 w 10354"/>
                  <a:gd name="connsiteY2868" fmla="*/ 7427 h 10000"/>
                  <a:gd name="connsiteX2869" fmla="*/ 2700 w 10354"/>
                  <a:gd name="connsiteY2869" fmla="*/ 7419 h 10000"/>
                  <a:gd name="connsiteX2870" fmla="*/ 2710 w 10354"/>
                  <a:gd name="connsiteY2870" fmla="*/ 7402 h 10000"/>
                  <a:gd name="connsiteX2871" fmla="*/ 2724 w 10354"/>
                  <a:gd name="connsiteY2871" fmla="*/ 7402 h 10000"/>
                  <a:gd name="connsiteX2872" fmla="*/ 2724 w 10354"/>
                  <a:gd name="connsiteY2872" fmla="*/ 7393 h 10000"/>
                  <a:gd name="connsiteX2873" fmla="*/ 2737 w 10354"/>
                  <a:gd name="connsiteY2873" fmla="*/ 7393 h 10000"/>
                  <a:gd name="connsiteX2874" fmla="*/ 2742 w 10354"/>
                  <a:gd name="connsiteY2874" fmla="*/ 7402 h 10000"/>
                  <a:gd name="connsiteX2875" fmla="*/ 2747 w 10354"/>
                  <a:gd name="connsiteY2875" fmla="*/ 7402 h 10000"/>
                  <a:gd name="connsiteX2876" fmla="*/ 2760 w 10354"/>
                  <a:gd name="connsiteY2876" fmla="*/ 7402 h 10000"/>
                  <a:gd name="connsiteX2877" fmla="*/ 2770 w 10354"/>
                  <a:gd name="connsiteY2877" fmla="*/ 7402 h 10000"/>
                  <a:gd name="connsiteX2878" fmla="*/ 2774 w 10354"/>
                  <a:gd name="connsiteY2878" fmla="*/ 7402 h 10000"/>
                  <a:gd name="connsiteX2879" fmla="*/ 2783 w 10354"/>
                  <a:gd name="connsiteY2879" fmla="*/ 7419 h 10000"/>
                  <a:gd name="connsiteX2880" fmla="*/ 2802 w 10354"/>
                  <a:gd name="connsiteY2880" fmla="*/ 7436 h 10000"/>
                  <a:gd name="connsiteX2881" fmla="*/ 2816 w 10354"/>
                  <a:gd name="connsiteY2881" fmla="*/ 7419 h 10000"/>
                  <a:gd name="connsiteX2882" fmla="*/ 2834 w 10354"/>
                  <a:gd name="connsiteY2882" fmla="*/ 7419 h 10000"/>
                  <a:gd name="connsiteX2883" fmla="*/ 2843 w 10354"/>
                  <a:gd name="connsiteY2883" fmla="*/ 7419 h 10000"/>
                  <a:gd name="connsiteX2884" fmla="*/ 2848 w 10354"/>
                  <a:gd name="connsiteY2884" fmla="*/ 7436 h 10000"/>
                  <a:gd name="connsiteX2885" fmla="*/ 2857 w 10354"/>
                  <a:gd name="connsiteY2885" fmla="*/ 7453 h 10000"/>
                  <a:gd name="connsiteX2886" fmla="*/ 2857 w 10354"/>
                  <a:gd name="connsiteY2886" fmla="*/ 7504 h 10000"/>
                  <a:gd name="connsiteX2887" fmla="*/ 2862 w 10354"/>
                  <a:gd name="connsiteY2887" fmla="*/ 7530 h 10000"/>
                  <a:gd name="connsiteX2888" fmla="*/ 2876 w 10354"/>
                  <a:gd name="connsiteY2888" fmla="*/ 7538 h 10000"/>
                  <a:gd name="connsiteX2889" fmla="*/ 2871 w 10354"/>
                  <a:gd name="connsiteY2889" fmla="*/ 7564 h 10000"/>
                  <a:gd name="connsiteX2890" fmla="*/ 2871 w 10354"/>
                  <a:gd name="connsiteY2890" fmla="*/ 7598 h 10000"/>
                  <a:gd name="connsiteX2891" fmla="*/ 2857 w 10354"/>
                  <a:gd name="connsiteY2891" fmla="*/ 7624 h 10000"/>
                  <a:gd name="connsiteX2892" fmla="*/ 2862 w 10354"/>
                  <a:gd name="connsiteY2892" fmla="*/ 7641 h 10000"/>
                  <a:gd name="connsiteX2893" fmla="*/ 2871 w 10354"/>
                  <a:gd name="connsiteY2893" fmla="*/ 7667 h 10000"/>
                  <a:gd name="connsiteX2894" fmla="*/ 2880 w 10354"/>
                  <a:gd name="connsiteY2894" fmla="*/ 7650 h 10000"/>
                  <a:gd name="connsiteX2895" fmla="*/ 2894 w 10354"/>
                  <a:gd name="connsiteY2895" fmla="*/ 7667 h 10000"/>
                  <a:gd name="connsiteX2896" fmla="*/ 2903 w 10354"/>
                  <a:gd name="connsiteY2896" fmla="*/ 7667 h 10000"/>
                  <a:gd name="connsiteX2897" fmla="*/ 2908 w 10354"/>
                  <a:gd name="connsiteY2897" fmla="*/ 7641 h 10000"/>
                  <a:gd name="connsiteX2898" fmla="*/ 2917 w 10354"/>
                  <a:gd name="connsiteY2898" fmla="*/ 7641 h 10000"/>
                  <a:gd name="connsiteX2899" fmla="*/ 2922 w 10354"/>
                  <a:gd name="connsiteY2899" fmla="*/ 7641 h 10000"/>
                  <a:gd name="connsiteX2900" fmla="*/ 2931 w 10354"/>
                  <a:gd name="connsiteY2900" fmla="*/ 7615 h 10000"/>
                  <a:gd name="connsiteX2901" fmla="*/ 2935 w 10354"/>
                  <a:gd name="connsiteY2901" fmla="*/ 7615 h 10000"/>
                  <a:gd name="connsiteX2902" fmla="*/ 2945 w 10354"/>
                  <a:gd name="connsiteY2902" fmla="*/ 7650 h 10000"/>
                  <a:gd name="connsiteX2903" fmla="*/ 2949 w 10354"/>
                  <a:gd name="connsiteY2903" fmla="*/ 7667 h 10000"/>
                  <a:gd name="connsiteX2904" fmla="*/ 2949 w 10354"/>
                  <a:gd name="connsiteY2904" fmla="*/ 7675 h 10000"/>
                  <a:gd name="connsiteX2905" fmla="*/ 2945 w 10354"/>
                  <a:gd name="connsiteY2905" fmla="*/ 7692 h 10000"/>
                  <a:gd name="connsiteX2906" fmla="*/ 2963 w 10354"/>
                  <a:gd name="connsiteY2906" fmla="*/ 7701 h 10000"/>
                  <a:gd name="connsiteX2907" fmla="*/ 2963 w 10354"/>
                  <a:gd name="connsiteY2907" fmla="*/ 7675 h 10000"/>
                  <a:gd name="connsiteX2908" fmla="*/ 2954 w 10354"/>
                  <a:gd name="connsiteY2908" fmla="*/ 7667 h 10000"/>
                  <a:gd name="connsiteX2909" fmla="*/ 2963 w 10354"/>
                  <a:gd name="connsiteY2909" fmla="*/ 7667 h 10000"/>
                  <a:gd name="connsiteX2910" fmla="*/ 2982 w 10354"/>
                  <a:gd name="connsiteY2910" fmla="*/ 7667 h 10000"/>
                  <a:gd name="connsiteX2911" fmla="*/ 2991 w 10354"/>
                  <a:gd name="connsiteY2911" fmla="*/ 7675 h 10000"/>
                  <a:gd name="connsiteX2912" fmla="*/ 2995 w 10354"/>
                  <a:gd name="connsiteY2912" fmla="*/ 7692 h 10000"/>
                  <a:gd name="connsiteX2913" fmla="*/ 3009 w 10354"/>
                  <a:gd name="connsiteY2913" fmla="*/ 7701 h 10000"/>
                  <a:gd name="connsiteX2914" fmla="*/ 3018 w 10354"/>
                  <a:gd name="connsiteY2914" fmla="*/ 7701 h 10000"/>
                  <a:gd name="connsiteX2915" fmla="*/ 3023 w 10354"/>
                  <a:gd name="connsiteY2915" fmla="*/ 7692 h 10000"/>
                  <a:gd name="connsiteX2916" fmla="*/ 3028 w 10354"/>
                  <a:gd name="connsiteY2916" fmla="*/ 7675 h 10000"/>
                  <a:gd name="connsiteX2917" fmla="*/ 3037 w 10354"/>
                  <a:gd name="connsiteY2917" fmla="*/ 7692 h 10000"/>
                  <a:gd name="connsiteX2918" fmla="*/ 3028 w 10354"/>
                  <a:gd name="connsiteY2918" fmla="*/ 7709 h 10000"/>
                  <a:gd name="connsiteX2919" fmla="*/ 3023 w 10354"/>
                  <a:gd name="connsiteY2919" fmla="*/ 7709 h 10000"/>
                  <a:gd name="connsiteX2920" fmla="*/ 3018 w 10354"/>
                  <a:gd name="connsiteY2920" fmla="*/ 7726 h 10000"/>
                  <a:gd name="connsiteX2921" fmla="*/ 3009 w 10354"/>
                  <a:gd name="connsiteY2921" fmla="*/ 7735 h 10000"/>
                  <a:gd name="connsiteX2922" fmla="*/ 3009 w 10354"/>
                  <a:gd name="connsiteY2922" fmla="*/ 7761 h 10000"/>
                  <a:gd name="connsiteX2923" fmla="*/ 3009 w 10354"/>
                  <a:gd name="connsiteY2923" fmla="*/ 7778 h 10000"/>
                  <a:gd name="connsiteX2924" fmla="*/ 3018 w 10354"/>
                  <a:gd name="connsiteY2924" fmla="*/ 7786 h 10000"/>
                  <a:gd name="connsiteX2925" fmla="*/ 3023 w 10354"/>
                  <a:gd name="connsiteY2925" fmla="*/ 7786 h 10000"/>
                  <a:gd name="connsiteX2926" fmla="*/ 3028 w 10354"/>
                  <a:gd name="connsiteY2926" fmla="*/ 7778 h 10000"/>
                  <a:gd name="connsiteX2927" fmla="*/ 3051 w 10354"/>
                  <a:gd name="connsiteY2927" fmla="*/ 7761 h 10000"/>
                  <a:gd name="connsiteX2928" fmla="*/ 3055 w 10354"/>
                  <a:gd name="connsiteY2928" fmla="*/ 7778 h 10000"/>
                  <a:gd name="connsiteX2929" fmla="*/ 3065 w 10354"/>
                  <a:gd name="connsiteY2929" fmla="*/ 7761 h 10000"/>
                  <a:gd name="connsiteX2930" fmla="*/ 3069 w 10354"/>
                  <a:gd name="connsiteY2930" fmla="*/ 7786 h 10000"/>
                  <a:gd name="connsiteX2931" fmla="*/ 3083 w 10354"/>
                  <a:gd name="connsiteY2931" fmla="*/ 7786 h 10000"/>
                  <a:gd name="connsiteX2932" fmla="*/ 3078 w 10354"/>
                  <a:gd name="connsiteY2932" fmla="*/ 7761 h 10000"/>
                  <a:gd name="connsiteX2933" fmla="*/ 3083 w 10354"/>
                  <a:gd name="connsiteY2933" fmla="*/ 7752 h 10000"/>
                  <a:gd name="connsiteX2934" fmla="*/ 3097 w 10354"/>
                  <a:gd name="connsiteY2934" fmla="*/ 7752 h 10000"/>
                  <a:gd name="connsiteX2935" fmla="*/ 3111 w 10354"/>
                  <a:gd name="connsiteY2935" fmla="*/ 7726 h 10000"/>
                  <a:gd name="connsiteX2936" fmla="*/ 3124 w 10354"/>
                  <a:gd name="connsiteY2936" fmla="*/ 7709 h 10000"/>
                  <a:gd name="connsiteX2937" fmla="*/ 3143 w 10354"/>
                  <a:gd name="connsiteY2937" fmla="*/ 7692 h 10000"/>
                  <a:gd name="connsiteX2938" fmla="*/ 3152 w 10354"/>
                  <a:gd name="connsiteY2938" fmla="*/ 7667 h 10000"/>
                  <a:gd name="connsiteX2939" fmla="*/ 3157 w 10354"/>
                  <a:gd name="connsiteY2939" fmla="*/ 7650 h 10000"/>
                  <a:gd name="connsiteX2940" fmla="*/ 3161 w 10354"/>
                  <a:gd name="connsiteY2940" fmla="*/ 7650 h 10000"/>
                  <a:gd name="connsiteX2941" fmla="*/ 3189 w 10354"/>
                  <a:gd name="connsiteY2941" fmla="*/ 7641 h 10000"/>
                  <a:gd name="connsiteX2942" fmla="*/ 3198 w 10354"/>
                  <a:gd name="connsiteY2942" fmla="*/ 7624 h 10000"/>
                  <a:gd name="connsiteX2943" fmla="*/ 3217 w 10354"/>
                  <a:gd name="connsiteY2943" fmla="*/ 7615 h 10000"/>
                  <a:gd name="connsiteX2944" fmla="*/ 3235 w 10354"/>
                  <a:gd name="connsiteY2944" fmla="*/ 7598 h 10000"/>
                  <a:gd name="connsiteX2945" fmla="*/ 3235 w 10354"/>
                  <a:gd name="connsiteY2945" fmla="*/ 7615 h 10000"/>
                  <a:gd name="connsiteX2946" fmla="*/ 3235 w 10354"/>
                  <a:gd name="connsiteY2946" fmla="*/ 7641 h 10000"/>
                  <a:gd name="connsiteX2947" fmla="*/ 3235 w 10354"/>
                  <a:gd name="connsiteY2947" fmla="*/ 7650 h 10000"/>
                  <a:gd name="connsiteX2948" fmla="*/ 3226 w 10354"/>
                  <a:gd name="connsiteY2948" fmla="*/ 7650 h 10000"/>
                  <a:gd name="connsiteX2949" fmla="*/ 3217 w 10354"/>
                  <a:gd name="connsiteY2949" fmla="*/ 7650 h 10000"/>
                  <a:gd name="connsiteX2950" fmla="*/ 3212 w 10354"/>
                  <a:gd name="connsiteY2950" fmla="*/ 7675 h 10000"/>
                  <a:gd name="connsiteX2951" fmla="*/ 3212 w 10354"/>
                  <a:gd name="connsiteY2951" fmla="*/ 7675 h 10000"/>
                  <a:gd name="connsiteX0" fmla="*/ 3212 w 10354"/>
                  <a:gd name="connsiteY0" fmla="*/ 7675 h 10000"/>
                  <a:gd name="connsiteX1" fmla="*/ 3217 w 10354"/>
                  <a:gd name="connsiteY1" fmla="*/ 7692 h 10000"/>
                  <a:gd name="connsiteX2" fmla="*/ 3226 w 10354"/>
                  <a:gd name="connsiteY2" fmla="*/ 7692 h 10000"/>
                  <a:gd name="connsiteX3" fmla="*/ 3309 w 10354"/>
                  <a:gd name="connsiteY3" fmla="*/ 7838 h 10000"/>
                  <a:gd name="connsiteX4" fmla="*/ 3452 w 10354"/>
                  <a:gd name="connsiteY4" fmla="*/ 8325 h 10000"/>
                  <a:gd name="connsiteX5" fmla="*/ 3470 w 10354"/>
                  <a:gd name="connsiteY5" fmla="*/ 8299 h 10000"/>
                  <a:gd name="connsiteX6" fmla="*/ 3470 w 10354"/>
                  <a:gd name="connsiteY6" fmla="*/ 8282 h 10000"/>
                  <a:gd name="connsiteX7" fmla="*/ 3470 w 10354"/>
                  <a:gd name="connsiteY7" fmla="*/ 8274 h 10000"/>
                  <a:gd name="connsiteX8" fmla="*/ 3484 w 10354"/>
                  <a:gd name="connsiteY8" fmla="*/ 8231 h 10000"/>
                  <a:gd name="connsiteX9" fmla="*/ 3498 w 10354"/>
                  <a:gd name="connsiteY9" fmla="*/ 8231 h 10000"/>
                  <a:gd name="connsiteX10" fmla="*/ 3498 w 10354"/>
                  <a:gd name="connsiteY10" fmla="*/ 8248 h 10000"/>
                  <a:gd name="connsiteX11" fmla="*/ 3512 w 10354"/>
                  <a:gd name="connsiteY11" fmla="*/ 8256 h 10000"/>
                  <a:gd name="connsiteX12" fmla="*/ 3525 w 10354"/>
                  <a:gd name="connsiteY12" fmla="*/ 8274 h 10000"/>
                  <a:gd name="connsiteX13" fmla="*/ 3525 w 10354"/>
                  <a:gd name="connsiteY13" fmla="*/ 8282 h 10000"/>
                  <a:gd name="connsiteX14" fmla="*/ 3525 w 10354"/>
                  <a:gd name="connsiteY14" fmla="*/ 8308 h 10000"/>
                  <a:gd name="connsiteX15" fmla="*/ 3530 w 10354"/>
                  <a:gd name="connsiteY15" fmla="*/ 8308 h 10000"/>
                  <a:gd name="connsiteX16" fmla="*/ 3539 w 10354"/>
                  <a:gd name="connsiteY16" fmla="*/ 8333 h 10000"/>
                  <a:gd name="connsiteX17" fmla="*/ 3571 w 10354"/>
                  <a:gd name="connsiteY17" fmla="*/ 8333 h 10000"/>
                  <a:gd name="connsiteX18" fmla="*/ 3590 w 10354"/>
                  <a:gd name="connsiteY18" fmla="*/ 8350 h 10000"/>
                  <a:gd name="connsiteX19" fmla="*/ 3599 w 10354"/>
                  <a:gd name="connsiteY19" fmla="*/ 8333 h 10000"/>
                  <a:gd name="connsiteX20" fmla="*/ 3618 w 10354"/>
                  <a:gd name="connsiteY20" fmla="*/ 8333 h 10000"/>
                  <a:gd name="connsiteX21" fmla="*/ 3618 w 10354"/>
                  <a:gd name="connsiteY21" fmla="*/ 8325 h 10000"/>
                  <a:gd name="connsiteX22" fmla="*/ 3627 w 10354"/>
                  <a:gd name="connsiteY22" fmla="*/ 8308 h 10000"/>
                  <a:gd name="connsiteX23" fmla="*/ 3641 w 10354"/>
                  <a:gd name="connsiteY23" fmla="*/ 8308 h 10000"/>
                  <a:gd name="connsiteX24" fmla="*/ 3645 w 10354"/>
                  <a:gd name="connsiteY24" fmla="*/ 8308 h 10000"/>
                  <a:gd name="connsiteX25" fmla="*/ 3650 w 10354"/>
                  <a:gd name="connsiteY25" fmla="*/ 8299 h 10000"/>
                  <a:gd name="connsiteX26" fmla="*/ 3659 w 10354"/>
                  <a:gd name="connsiteY26" fmla="*/ 8282 h 10000"/>
                  <a:gd name="connsiteX27" fmla="*/ 3677 w 10354"/>
                  <a:gd name="connsiteY27" fmla="*/ 8299 h 10000"/>
                  <a:gd name="connsiteX28" fmla="*/ 3687 w 10354"/>
                  <a:gd name="connsiteY28" fmla="*/ 8299 h 10000"/>
                  <a:gd name="connsiteX29" fmla="*/ 3691 w 10354"/>
                  <a:gd name="connsiteY29" fmla="*/ 8325 h 10000"/>
                  <a:gd name="connsiteX30" fmla="*/ 3700 w 10354"/>
                  <a:gd name="connsiteY30" fmla="*/ 8325 h 10000"/>
                  <a:gd name="connsiteX31" fmla="*/ 3714 w 10354"/>
                  <a:gd name="connsiteY31" fmla="*/ 8359 h 10000"/>
                  <a:gd name="connsiteX32" fmla="*/ 3719 w 10354"/>
                  <a:gd name="connsiteY32" fmla="*/ 8359 h 10000"/>
                  <a:gd name="connsiteX33" fmla="*/ 3724 w 10354"/>
                  <a:gd name="connsiteY33" fmla="*/ 8368 h 10000"/>
                  <a:gd name="connsiteX34" fmla="*/ 3719 w 10354"/>
                  <a:gd name="connsiteY34" fmla="*/ 8393 h 10000"/>
                  <a:gd name="connsiteX35" fmla="*/ 3724 w 10354"/>
                  <a:gd name="connsiteY35" fmla="*/ 8410 h 10000"/>
                  <a:gd name="connsiteX36" fmla="*/ 3724 w 10354"/>
                  <a:gd name="connsiteY36" fmla="*/ 8436 h 10000"/>
                  <a:gd name="connsiteX37" fmla="*/ 3737 w 10354"/>
                  <a:gd name="connsiteY37" fmla="*/ 8436 h 10000"/>
                  <a:gd name="connsiteX38" fmla="*/ 3765 w 10354"/>
                  <a:gd name="connsiteY38" fmla="*/ 8462 h 10000"/>
                  <a:gd name="connsiteX39" fmla="*/ 3765 w 10354"/>
                  <a:gd name="connsiteY39" fmla="*/ 8470 h 10000"/>
                  <a:gd name="connsiteX40" fmla="*/ 3765 w 10354"/>
                  <a:gd name="connsiteY40" fmla="*/ 8496 h 10000"/>
                  <a:gd name="connsiteX41" fmla="*/ 3774 w 10354"/>
                  <a:gd name="connsiteY41" fmla="*/ 8496 h 10000"/>
                  <a:gd name="connsiteX42" fmla="*/ 3779 w 10354"/>
                  <a:gd name="connsiteY42" fmla="*/ 8504 h 10000"/>
                  <a:gd name="connsiteX43" fmla="*/ 3793 w 10354"/>
                  <a:gd name="connsiteY43" fmla="*/ 8547 h 10000"/>
                  <a:gd name="connsiteX44" fmla="*/ 3797 w 10354"/>
                  <a:gd name="connsiteY44" fmla="*/ 8547 h 10000"/>
                  <a:gd name="connsiteX45" fmla="*/ 3820 w 10354"/>
                  <a:gd name="connsiteY45" fmla="*/ 8556 h 10000"/>
                  <a:gd name="connsiteX46" fmla="*/ 3834 w 10354"/>
                  <a:gd name="connsiteY46" fmla="*/ 8573 h 10000"/>
                  <a:gd name="connsiteX47" fmla="*/ 3853 w 10354"/>
                  <a:gd name="connsiteY47" fmla="*/ 8573 h 10000"/>
                  <a:gd name="connsiteX48" fmla="*/ 3857 w 10354"/>
                  <a:gd name="connsiteY48" fmla="*/ 8556 h 10000"/>
                  <a:gd name="connsiteX49" fmla="*/ 3866 w 10354"/>
                  <a:gd name="connsiteY49" fmla="*/ 8547 h 10000"/>
                  <a:gd name="connsiteX50" fmla="*/ 3880 w 10354"/>
                  <a:gd name="connsiteY50" fmla="*/ 8530 h 10000"/>
                  <a:gd name="connsiteX51" fmla="*/ 3885 w 10354"/>
                  <a:gd name="connsiteY51" fmla="*/ 8547 h 10000"/>
                  <a:gd name="connsiteX52" fmla="*/ 3885 w 10354"/>
                  <a:gd name="connsiteY52" fmla="*/ 8573 h 10000"/>
                  <a:gd name="connsiteX53" fmla="*/ 3899 w 10354"/>
                  <a:gd name="connsiteY53" fmla="*/ 8573 h 10000"/>
                  <a:gd name="connsiteX54" fmla="*/ 3908 w 10354"/>
                  <a:gd name="connsiteY54" fmla="*/ 8607 h 10000"/>
                  <a:gd name="connsiteX55" fmla="*/ 3912 w 10354"/>
                  <a:gd name="connsiteY55" fmla="*/ 8615 h 10000"/>
                  <a:gd name="connsiteX56" fmla="*/ 3922 w 10354"/>
                  <a:gd name="connsiteY56" fmla="*/ 8632 h 10000"/>
                  <a:gd name="connsiteX57" fmla="*/ 3908 w 10354"/>
                  <a:gd name="connsiteY57" fmla="*/ 8692 h 10000"/>
                  <a:gd name="connsiteX58" fmla="*/ 3908 w 10354"/>
                  <a:gd name="connsiteY58" fmla="*/ 8692 h 10000"/>
                  <a:gd name="connsiteX59" fmla="*/ 3931 w 10354"/>
                  <a:gd name="connsiteY59" fmla="*/ 8709 h 10000"/>
                  <a:gd name="connsiteX60" fmla="*/ 3954 w 10354"/>
                  <a:gd name="connsiteY60" fmla="*/ 8667 h 10000"/>
                  <a:gd name="connsiteX61" fmla="*/ 3959 w 10354"/>
                  <a:gd name="connsiteY61" fmla="*/ 8667 h 10000"/>
                  <a:gd name="connsiteX62" fmla="*/ 3972 w 10354"/>
                  <a:gd name="connsiteY62" fmla="*/ 8615 h 10000"/>
                  <a:gd name="connsiteX63" fmla="*/ 3995 w 10354"/>
                  <a:gd name="connsiteY63" fmla="*/ 8581 h 10000"/>
                  <a:gd name="connsiteX64" fmla="*/ 4032 w 10354"/>
                  <a:gd name="connsiteY64" fmla="*/ 8556 h 10000"/>
                  <a:gd name="connsiteX65" fmla="*/ 4138 w 10354"/>
                  <a:gd name="connsiteY65" fmla="*/ 8419 h 10000"/>
                  <a:gd name="connsiteX66" fmla="*/ 4249 w 10354"/>
                  <a:gd name="connsiteY66" fmla="*/ 8359 h 10000"/>
                  <a:gd name="connsiteX67" fmla="*/ 4295 w 10354"/>
                  <a:gd name="connsiteY67" fmla="*/ 8385 h 10000"/>
                  <a:gd name="connsiteX68" fmla="*/ 4309 w 10354"/>
                  <a:gd name="connsiteY68" fmla="*/ 8410 h 10000"/>
                  <a:gd name="connsiteX69" fmla="*/ 4355 w 10354"/>
                  <a:gd name="connsiteY69" fmla="*/ 8393 h 10000"/>
                  <a:gd name="connsiteX70" fmla="*/ 4382 w 10354"/>
                  <a:gd name="connsiteY70" fmla="*/ 8393 h 10000"/>
                  <a:gd name="connsiteX71" fmla="*/ 4419 w 10354"/>
                  <a:gd name="connsiteY71" fmla="*/ 8487 h 10000"/>
                  <a:gd name="connsiteX72" fmla="*/ 4442 w 10354"/>
                  <a:gd name="connsiteY72" fmla="*/ 8487 h 10000"/>
                  <a:gd name="connsiteX73" fmla="*/ 4493 w 10354"/>
                  <a:gd name="connsiteY73" fmla="*/ 8470 h 10000"/>
                  <a:gd name="connsiteX74" fmla="*/ 4516 w 10354"/>
                  <a:gd name="connsiteY74" fmla="*/ 8487 h 10000"/>
                  <a:gd name="connsiteX75" fmla="*/ 4608 w 10354"/>
                  <a:gd name="connsiteY75" fmla="*/ 8470 h 10000"/>
                  <a:gd name="connsiteX76" fmla="*/ 4622 w 10354"/>
                  <a:gd name="connsiteY76" fmla="*/ 8470 h 10000"/>
                  <a:gd name="connsiteX77" fmla="*/ 4618 w 10354"/>
                  <a:gd name="connsiteY77" fmla="*/ 8419 h 10000"/>
                  <a:gd name="connsiteX78" fmla="*/ 4622 w 10354"/>
                  <a:gd name="connsiteY78" fmla="*/ 8385 h 10000"/>
                  <a:gd name="connsiteX79" fmla="*/ 4636 w 10354"/>
                  <a:gd name="connsiteY79" fmla="*/ 8350 h 10000"/>
                  <a:gd name="connsiteX80" fmla="*/ 4636 w 10354"/>
                  <a:gd name="connsiteY80" fmla="*/ 8325 h 10000"/>
                  <a:gd name="connsiteX81" fmla="*/ 4622 w 10354"/>
                  <a:gd name="connsiteY81" fmla="*/ 8282 h 10000"/>
                  <a:gd name="connsiteX82" fmla="*/ 4618 w 10354"/>
                  <a:gd name="connsiteY82" fmla="*/ 8248 h 10000"/>
                  <a:gd name="connsiteX83" fmla="*/ 4618 w 10354"/>
                  <a:gd name="connsiteY83" fmla="*/ 8214 h 10000"/>
                  <a:gd name="connsiteX84" fmla="*/ 4691 w 10354"/>
                  <a:gd name="connsiteY84" fmla="*/ 8077 h 10000"/>
                  <a:gd name="connsiteX85" fmla="*/ 4700 w 10354"/>
                  <a:gd name="connsiteY85" fmla="*/ 8060 h 10000"/>
                  <a:gd name="connsiteX86" fmla="*/ 4728 w 10354"/>
                  <a:gd name="connsiteY86" fmla="*/ 8077 h 10000"/>
                  <a:gd name="connsiteX87" fmla="*/ 4751 w 10354"/>
                  <a:gd name="connsiteY87" fmla="*/ 8094 h 10000"/>
                  <a:gd name="connsiteX88" fmla="*/ 4788 w 10354"/>
                  <a:gd name="connsiteY88" fmla="*/ 8120 h 10000"/>
                  <a:gd name="connsiteX89" fmla="*/ 4802 w 10354"/>
                  <a:gd name="connsiteY89" fmla="*/ 8162 h 10000"/>
                  <a:gd name="connsiteX90" fmla="*/ 4885 w 10354"/>
                  <a:gd name="connsiteY90" fmla="*/ 8197 h 10000"/>
                  <a:gd name="connsiteX91" fmla="*/ 4889 w 10354"/>
                  <a:gd name="connsiteY91" fmla="*/ 8231 h 10000"/>
                  <a:gd name="connsiteX92" fmla="*/ 4899 w 10354"/>
                  <a:gd name="connsiteY92" fmla="*/ 8333 h 10000"/>
                  <a:gd name="connsiteX93" fmla="*/ 4903 w 10354"/>
                  <a:gd name="connsiteY93" fmla="*/ 8333 h 10000"/>
                  <a:gd name="connsiteX94" fmla="*/ 4949 w 10354"/>
                  <a:gd name="connsiteY94" fmla="*/ 8410 h 10000"/>
                  <a:gd name="connsiteX95" fmla="*/ 4991 w 10354"/>
                  <a:gd name="connsiteY95" fmla="*/ 8436 h 10000"/>
                  <a:gd name="connsiteX96" fmla="*/ 5023 w 10354"/>
                  <a:gd name="connsiteY96" fmla="*/ 8419 h 10000"/>
                  <a:gd name="connsiteX97" fmla="*/ 5092 w 10354"/>
                  <a:gd name="connsiteY97" fmla="*/ 8359 h 10000"/>
                  <a:gd name="connsiteX98" fmla="*/ 5180 w 10354"/>
                  <a:gd name="connsiteY98" fmla="*/ 8410 h 10000"/>
                  <a:gd name="connsiteX99" fmla="*/ 5189 w 10354"/>
                  <a:gd name="connsiteY99" fmla="*/ 8436 h 10000"/>
                  <a:gd name="connsiteX100" fmla="*/ 5198 w 10354"/>
                  <a:gd name="connsiteY100" fmla="*/ 8436 h 10000"/>
                  <a:gd name="connsiteX101" fmla="*/ 5226 w 10354"/>
                  <a:gd name="connsiteY101" fmla="*/ 8487 h 10000"/>
                  <a:gd name="connsiteX102" fmla="*/ 5276 w 10354"/>
                  <a:gd name="connsiteY102" fmla="*/ 8504 h 10000"/>
                  <a:gd name="connsiteX103" fmla="*/ 5290 w 10354"/>
                  <a:gd name="connsiteY103" fmla="*/ 8556 h 10000"/>
                  <a:gd name="connsiteX104" fmla="*/ 5323 w 10354"/>
                  <a:gd name="connsiteY104" fmla="*/ 8598 h 10000"/>
                  <a:gd name="connsiteX105" fmla="*/ 5447 w 10354"/>
                  <a:gd name="connsiteY105" fmla="*/ 8615 h 10000"/>
                  <a:gd name="connsiteX106" fmla="*/ 5465 w 10354"/>
                  <a:gd name="connsiteY106" fmla="*/ 8632 h 10000"/>
                  <a:gd name="connsiteX107" fmla="*/ 5604 w 10354"/>
                  <a:gd name="connsiteY107" fmla="*/ 8556 h 10000"/>
                  <a:gd name="connsiteX108" fmla="*/ 5677 w 10354"/>
                  <a:gd name="connsiteY108" fmla="*/ 8462 h 10000"/>
                  <a:gd name="connsiteX109" fmla="*/ 5705 w 10354"/>
                  <a:gd name="connsiteY109" fmla="*/ 8444 h 10000"/>
                  <a:gd name="connsiteX110" fmla="*/ 5737 w 10354"/>
                  <a:gd name="connsiteY110" fmla="*/ 8470 h 10000"/>
                  <a:gd name="connsiteX111" fmla="*/ 5760 w 10354"/>
                  <a:gd name="connsiteY111" fmla="*/ 8496 h 10000"/>
                  <a:gd name="connsiteX112" fmla="*/ 5788 w 10354"/>
                  <a:gd name="connsiteY112" fmla="*/ 8504 h 10000"/>
                  <a:gd name="connsiteX113" fmla="*/ 5806 w 10354"/>
                  <a:gd name="connsiteY113" fmla="*/ 8496 h 10000"/>
                  <a:gd name="connsiteX114" fmla="*/ 5820 w 10354"/>
                  <a:gd name="connsiteY114" fmla="*/ 8487 h 10000"/>
                  <a:gd name="connsiteX115" fmla="*/ 5825 w 10354"/>
                  <a:gd name="connsiteY115" fmla="*/ 8487 h 10000"/>
                  <a:gd name="connsiteX116" fmla="*/ 5825 w 10354"/>
                  <a:gd name="connsiteY116" fmla="*/ 8487 h 10000"/>
                  <a:gd name="connsiteX117" fmla="*/ 5926 w 10354"/>
                  <a:gd name="connsiteY117" fmla="*/ 8556 h 10000"/>
                  <a:gd name="connsiteX118" fmla="*/ 5940 w 10354"/>
                  <a:gd name="connsiteY118" fmla="*/ 8556 h 10000"/>
                  <a:gd name="connsiteX119" fmla="*/ 6014 w 10354"/>
                  <a:gd name="connsiteY119" fmla="*/ 8470 h 10000"/>
                  <a:gd name="connsiteX120" fmla="*/ 6018 w 10354"/>
                  <a:gd name="connsiteY120" fmla="*/ 8444 h 10000"/>
                  <a:gd name="connsiteX121" fmla="*/ 6014 w 10354"/>
                  <a:gd name="connsiteY121" fmla="*/ 8419 h 10000"/>
                  <a:gd name="connsiteX122" fmla="*/ 6018 w 10354"/>
                  <a:gd name="connsiteY122" fmla="*/ 8393 h 10000"/>
                  <a:gd name="connsiteX123" fmla="*/ 6041 w 10354"/>
                  <a:gd name="connsiteY123" fmla="*/ 8333 h 10000"/>
                  <a:gd name="connsiteX124" fmla="*/ 6069 w 10354"/>
                  <a:gd name="connsiteY124" fmla="*/ 8188 h 10000"/>
                  <a:gd name="connsiteX125" fmla="*/ 6088 w 10354"/>
                  <a:gd name="connsiteY125" fmla="*/ 8162 h 10000"/>
                  <a:gd name="connsiteX126" fmla="*/ 6115 w 10354"/>
                  <a:gd name="connsiteY126" fmla="*/ 8094 h 10000"/>
                  <a:gd name="connsiteX127" fmla="*/ 6115 w 10354"/>
                  <a:gd name="connsiteY127" fmla="*/ 8094 h 10000"/>
                  <a:gd name="connsiteX128" fmla="*/ 6106 w 10354"/>
                  <a:gd name="connsiteY128" fmla="*/ 8077 h 10000"/>
                  <a:gd name="connsiteX129" fmla="*/ 6106 w 10354"/>
                  <a:gd name="connsiteY129" fmla="*/ 8009 h 10000"/>
                  <a:gd name="connsiteX130" fmla="*/ 6101 w 10354"/>
                  <a:gd name="connsiteY130" fmla="*/ 8000 h 10000"/>
                  <a:gd name="connsiteX131" fmla="*/ 6069 w 10354"/>
                  <a:gd name="connsiteY131" fmla="*/ 8009 h 10000"/>
                  <a:gd name="connsiteX132" fmla="*/ 6069 w 10354"/>
                  <a:gd name="connsiteY132" fmla="*/ 8000 h 10000"/>
                  <a:gd name="connsiteX133" fmla="*/ 6069 w 10354"/>
                  <a:gd name="connsiteY133" fmla="*/ 7974 h 10000"/>
                  <a:gd name="connsiteX134" fmla="*/ 6101 w 10354"/>
                  <a:gd name="connsiteY134" fmla="*/ 7923 h 10000"/>
                  <a:gd name="connsiteX135" fmla="*/ 6106 w 10354"/>
                  <a:gd name="connsiteY135" fmla="*/ 7889 h 10000"/>
                  <a:gd name="connsiteX136" fmla="*/ 6129 w 10354"/>
                  <a:gd name="connsiteY136" fmla="*/ 7863 h 10000"/>
                  <a:gd name="connsiteX137" fmla="*/ 6300 w 10354"/>
                  <a:gd name="connsiteY137" fmla="*/ 7812 h 10000"/>
                  <a:gd name="connsiteX138" fmla="*/ 6359 w 10354"/>
                  <a:gd name="connsiteY138" fmla="*/ 7872 h 10000"/>
                  <a:gd name="connsiteX139" fmla="*/ 6373 w 10354"/>
                  <a:gd name="connsiteY139" fmla="*/ 7889 h 10000"/>
                  <a:gd name="connsiteX140" fmla="*/ 6401 w 10354"/>
                  <a:gd name="connsiteY140" fmla="*/ 7889 h 10000"/>
                  <a:gd name="connsiteX141" fmla="*/ 6433 w 10354"/>
                  <a:gd name="connsiteY141" fmla="*/ 7915 h 10000"/>
                  <a:gd name="connsiteX142" fmla="*/ 6461 w 10354"/>
                  <a:gd name="connsiteY142" fmla="*/ 7974 h 10000"/>
                  <a:gd name="connsiteX143" fmla="*/ 6461 w 10354"/>
                  <a:gd name="connsiteY143" fmla="*/ 8000 h 10000"/>
                  <a:gd name="connsiteX144" fmla="*/ 6484 w 10354"/>
                  <a:gd name="connsiteY144" fmla="*/ 8034 h 10000"/>
                  <a:gd name="connsiteX145" fmla="*/ 6484 w 10354"/>
                  <a:gd name="connsiteY145" fmla="*/ 8051 h 10000"/>
                  <a:gd name="connsiteX146" fmla="*/ 6484 w 10354"/>
                  <a:gd name="connsiteY146" fmla="*/ 8034 h 10000"/>
                  <a:gd name="connsiteX147" fmla="*/ 6558 w 10354"/>
                  <a:gd name="connsiteY147" fmla="*/ 8444 h 10000"/>
                  <a:gd name="connsiteX148" fmla="*/ 6558 w 10354"/>
                  <a:gd name="connsiteY148" fmla="*/ 8462 h 10000"/>
                  <a:gd name="connsiteX149" fmla="*/ 6558 w 10354"/>
                  <a:gd name="connsiteY149" fmla="*/ 8462 h 10000"/>
                  <a:gd name="connsiteX150" fmla="*/ 6562 w 10354"/>
                  <a:gd name="connsiteY150" fmla="*/ 8547 h 10000"/>
                  <a:gd name="connsiteX151" fmla="*/ 6576 w 10354"/>
                  <a:gd name="connsiteY151" fmla="*/ 8573 h 10000"/>
                  <a:gd name="connsiteX152" fmla="*/ 6604 w 10354"/>
                  <a:gd name="connsiteY152" fmla="*/ 8581 h 10000"/>
                  <a:gd name="connsiteX153" fmla="*/ 6631 w 10354"/>
                  <a:gd name="connsiteY153" fmla="*/ 8556 h 10000"/>
                  <a:gd name="connsiteX154" fmla="*/ 6691 w 10354"/>
                  <a:gd name="connsiteY154" fmla="*/ 8607 h 10000"/>
                  <a:gd name="connsiteX155" fmla="*/ 6728 w 10354"/>
                  <a:gd name="connsiteY155" fmla="*/ 8667 h 10000"/>
                  <a:gd name="connsiteX156" fmla="*/ 6742 w 10354"/>
                  <a:gd name="connsiteY156" fmla="*/ 8684 h 10000"/>
                  <a:gd name="connsiteX157" fmla="*/ 6765 w 10354"/>
                  <a:gd name="connsiteY157" fmla="*/ 8684 h 10000"/>
                  <a:gd name="connsiteX158" fmla="*/ 6765 w 10354"/>
                  <a:gd name="connsiteY158" fmla="*/ 8709 h 10000"/>
                  <a:gd name="connsiteX159" fmla="*/ 6765 w 10354"/>
                  <a:gd name="connsiteY159" fmla="*/ 8709 h 10000"/>
                  <a:gd name="connsiteX160" fmla="*/ 6770 w 10354"/>
                  <a:gd name="connsiteY160" fmla="*/ 8709 h 10000"/>
                  <a:gd name="connsiteX161" fmla="*/ 6770 w 10354"/>
                  <a:gd name="connsiteY161" fmla="*/ 8744 h 10000"/>
                  <a:gd name="connsiteX162" fmla="*/ 6779 w 10354"/>
                  <a:gd name="connsiteY162" fmla="*/ 8769 h 10000"/>
                  <a:gd name="connsiteX163" fmla="*/ 6779 w 10354"/>
                  <a:gd name="connsiteY163" fmla="*/ 8846 h 10000"/>
                  <a:gd name="connsiteX164" fmla="*/ 6797 w 10354"/>
                  <a:gd name="connsiteY164" fmla="*/ 8906 h 10000"/>
                  <a:gd name="connsiteX165" fmla="*/ 6816 w 10354"/>
                  <a:gd name="connsiteY165" fmla="*/ 8906 h 10000"/>
                  <a:gd name="connsiteX166" fmla="*/ 6843 w 10354"/>
                  <a:gd name="connsiteY166" fmla="*/ 8915 h 10000"/>
                  <a:gd name="connsiteX167" fmla="*/ 6862 w 10354"/>
                  <a:gd name="connsiteY167" fmla="*/ 8906 h 10000"/>
                  <a:gd name="connsiteX168" fmla="*/ 6935 w 10354"/>
                  <a:gd name="connsiteY168" fmla="*/ 8829 h 10000"/>
                  <a:gd name="connsiteX169" fmla="*/ 6963 w 10354"/>
                  <a:gd name="connsiteY169" fmla="*/ 8829 h 10000"/>
                  <a:gd name="connsiteX170" fmla="*/ 7046 w 10354"/>
                  <a:gd name="connsiteY170" fmla="*/ 8769 h 10000"/>
                  <a:gd name="connsiteX171" fmla="*/ 7046 w 10354"/>
                  <a:gd name="connsiteY171" fmla="*/ 8769 h 10000"/>
                  <a:gd name="connsiteX172" fmla="*/ 7032 w 10354"/>
                  <a:gd name="connsiteY172" fmla="*/ 8803 h 10000"/>
                  <a:gd name="connsiteX173" fmla="*/ 7032 w 10354"/>
                  <a:gd name="connsiteY173" fmla="*/ 8846 h 10000"/>
                  <a:gd name="connsiteX174" fmla="*/ 7037 w 10354"/>
                  <a:gd name="connsiteY174" fmla="*/ 8880 h 10000"/>
                  <a:gd name="connsiteX175" fmla="*/ 7037 w 10354"/>
                  <a:gd name="connsiteY175" fmla="*/ 8932 h 10000"/>
                  <a:gd name="connsiteX176" fmla="*/ 7005 w 10354"/>
                  <a:gd name="connsiteY176" fmla="*/ 8983 h 10000"/>
                  <a:gd name="connsiteX177" fmla="*/ 6977 w 10354"/>
                  <a:gd name="connsiteY177" fmla="*/ 9188 h 10000"/>
                  <a:gd name="connsiteX178" fmla="*/ 6935 w 10354"/>
                  <a:gd name="connsiteY178" fmla="*/ 9316 h 10000"/>
                  <a:gd name="connsiteX179" fmla="*/ 6931 w 10354"/>
                  <a:gd name="connsiteY179" fmla="*/ 9368 h 10000"/>
                  <a:gd name="connsiteX180" fmla="*/ 6917 w 10354"/>
                  <a:gd name="connsiteY180" fmla="*/ 9376 h 10000"/>
                  <a:gd name="connsiteX181" fmla="*/ 6912 w 10354"/>
                  <a:gd name="connsiteY181" fmla="*/ 9376 h 10000"/>
                  <a:gd name="connsiteX182" fmla="*/ 6848 w 10354"/>
                  <a:gd name="connsiteY182" fmla="*/ 9342 h 10000"/>
                  <a:gd name="connsiteX183" fmla="*/ 6788 w 10354"/>
                  <a:gd name="connsiteY183" fmla="*/ 9436 h 10000"/>
                  <a:gd name="connsiteX184" fmla="*/ 6802 w 10354"/>
                  <a:gd name="connsiteY184" fmla="*/ 9462 h 10000"/>
                  <a:gd name="connsiteX185" fmla="*/ 6811 w 10354"/>
                  <a:gd name="connsiteY185" fmla="*/ 9667 h 10000"/>
                  <a:gd name="connsiteX186" fmla="*/ 6788 w 10354"/>
                  <a:gd name="connsiteY186" fmla="*/ 9709 h 10000"/>
                  <a:gd name="connsiteX187" fmla="*/ 6765 w 10354"/>
                  <a:gd name="connsiteY187" fmla="*/ 9752 h 10000"/>
                  <a:gd name="connsiteX188" fmla="*/ 6765 w 10354"/>
                  <a:gd name="connsiteY188" fmla="*/ 9803 h 10000"/>
                  <a:gd name="connsiteX189" fmla="*/ 6770 w 10354"/>
                  <a:gd name="connsiteY189" fmla="*/ 9821 h 10000"/>
                  <a:gd name="connsiteX190" fmla="*/ 6779 w 10354"/>
                  <a:gd name="connsiteY190" fmla="*/ 9812 h 10000"/>
                  <a:gd name="connsiteX191" fmla="*/ 6779 w 10354"/>
                  <a:gd name="connsiteY191" fmla="*/ 9803 h 10000"/>
                  <a:gd name="connsiteX192" fmla="*/ 6770 w 10354"/>
                  <a:gd name="connsiteY192" fmla="*/ 9786 h 10000"/>
                  <a:gd name="connsiteX193" fmla="*/ 6811 w 10354"/>
                  <a:gd name="connsiteY193" fmla="*/ 9786 h 10000"/>
                  <a:gd name="connsiteX194" fmla="*/ 6816 w 10354"/>
                  <a:gd name="connsiteY194" fmla="*/ 9761 h 10000"/>
                  <a:gd name="connsiteX195" fmla="*/ 6825 w 10354"/>
                  <a:gd name="connsiteY195" fmla="*/ 9752 h 10000"/>
                  <a:gd name="connsiteX196" fmla="*/ 6825 w 10354"/>
                  <a:gd name="connsiteY196" fmla="*/ 9726 h 10000"/>
                  <a:gd name="connsiteX197" fmla="*/ 6843 w 10354"/>
                  <a:gd name="connsiteY197" fmla="*/ 9701 h 10000"/>
                  <a:gd name="connsiteX198" fmla="*/ 6848 w 10354"/>
                  <a:gd name="connsiteY198" fmla="*/ 9650 h 10000"/>
                  <a:gd name="connsiteX199" fmla="*/ 6848 w 10354"/>
                  <a:gd name="connsiteY199" fmla="*/ 9675 h 10000"/>
                  <a:gd name="connsiteX200" fmla="*/ 6862 w 10354"/>
                  <a:gd name="connsiteY200" fmla="*/ 9675 h 10000"/>
                  <a:gd name="connsiteX201" fmla="*/ 6857 w 10354"/>
                  <a:gd name="connsiteY201" fmla="*/ 9701 h 10000"/>
                  <a:gd name="connsiteX202" fmla="*/ 6857 w 10354"/>
                  <a:gd name="connsiteY202" fmla="*/ 9701 h 10000"/>
                  <a:gd name="connsiteX203" fmla="*/ 6876 w 10354"/>
                  <a:gd name="connsiteY203" fmla="*/ 9684 h 10000"/>
                  <a:gd name="connsiteX204" fmla="*/ 6885 w 10354"/>
                  <a:gd name="connsiteY204" fmla="*/ 9675 h 10000"/>
                  <a:gd name="connsiteX205" fmla="*/ 6876 w 10354"/>
                  <a:gd name="connsiteY205" fmla="*/ 9735 h 10000"/>
                  <a:gd name="connsiteX206" fmla="*/ 6885 w 10354"/>
                  <a:gd name="connsiteY206" fmla="*/ 9752 h 10000"/>
                  <a:gd name="connsiteX207" fmla="*/ 6903 w 10354"/>
                  <a:gd name="connsiteY207" fmla="*/ 9752 h 10000"/>
                  <a:gd name="connsiteX208" fmla="*/ 6917 w 10354"/>
                  <a:gd name="connsiteY208" fmla="*/ 9761 h 10000"/>
                  <a:gd name="connsiteX209" fmla="*/ 6917 w 10354"/>
                  <a:gd name="connsiteY209" fmla="*/ 9761 h 10000"/>
                  <a:gd name="connsiteX210" fmla="*/ 6922 w 10354"/>
                  <a:gd name="connsiteY210" fmla="*/ 9778 h 10000"/>
                  <a:gd name="connsiteX211" fmla="*/ 6945 w 10354"/>
                  <a:gd name="connsiteY211" fmla="*/ 9778 h 10000"/>
                  <a:gd name="connsiteX212" fmla="*/ 6972 w 10354"/>
                  <a:gd name="connsiteY212" fmla="*/ 9752 h 10000"/>
                  <a:gd name="connsiteX213" fmla="*/ 6977 w 10354"/>
                  <a:gd name="connsiteY213" fmla="*/ 9752 h 10000"/>
                  <a:gd name="connsiteX214" fmla="*/ 7069 w 10354"/>
                  <a:gd name="connsiteY214" fmla="*/ 9624 h 10000"/>
                  <a:gd name="connsiteX215" fmla="*/ 7097 w 10354"/>
                  <a:gd name="connsiteY215" fmla="*/ 9547 h 10000"/>
                  <a:gd name="connsiteX216" fmla="*/ 7106 w 10354"/>
                  <a:gd name="connsiteY216" fmla="*/ 9530 h 10000"/>
                  <a:gd name="connsiteX217" fmla="*/ 7124 w 10354"/>
                  <a:gd name="connsiteY217" fmla="*/ 9479 h 10000"/>
                  <a:gd name="connsiteX218" fmla="*/ 7138 w 10354"/>
                  <a:gd name="connsiteY218" fmla="*/ 9462 h 10000"/>
                  <a:gd name="connsiteX219" fmla="*/ 7378 w 10354"/>
                  <a:gd name="connsiteY219" fmla="*/ 8795 h 10000"/>
                  <a:gd name="connsiteX220" fmla="*/ 7392 w 10354"/>
                  <a:gd name="connsiteY220" fmla="*/ 8795 h 10000"/>
                  <a:gd name="connsiteX221" fmla="*/ 7401 w 10354"/>
                  <a:gd name="connsiteY221" fmla="*/ 8769 h 10000"/>
                  <a:gd name="connsiteX222" fmla="*/ 7406 w 10354"/>
                  <a:gd name="connsiteY222" fmla="*/ 8692 h 10000"/>
                  <a:gd name="connsiteX223" fmla="*/ 7406 w 10354"/>
                  <a:gd name="connsiteY223" fmla="*/ 8667 h 10000"/>
                  <a:gd name="connsiteX224" fmla="*/ 7419 w 10354"/>
                  <a:gd name="connsiteY224" fmla="*/ 8598 h 10000"/>
                  <a:gd name="connsiteX225" fmla="*/ 7419 w 10354"/>
                  <a:gd name="connsiteY225" fmla="*/ 8496 h 10000"/>
                  <a:gd name="connsiteX226" fmla="*/ 7424 w 10354"/>
                  <a:gd name="connsiteY226" fmla="*/ 8470 h 10000"/>
                  <a:gd name="connsiteX227" fmla="*/ 7424 w 10354"/>
                  <a:gd name="connsiteY227" fmla="*/ 8462 h 10000"/>
                  <a:gd name="connsiteX228" fmla="*/ 7419 w 10354"/>
                  <a:gd name="connsiteY228" fmla="*/ 8462 h 10000"/>
                  <a:gd name="connsiteX229" fmla="*/ 7410 w 10354"/>
                  <a:gd name="connsiteY229" fmla="*/ 8350 h 10000"/>
                  <a:gd name="connsiteX230" fmla="*/ 7419 w 10354"/>
                  <a:gd name="connsiteY230" fmla="*/ 8325 h 10000"/>
                  <a:gd name="connsiteX231" fmla="*/ 7424 w 10354"/>
                  <a:gd name="connsiteY231" fmla="*/ 8248 h 10000"/>
                  <a:gd name="connsiteX232" fmla="*/ 7433 w 10354"/>
                  <a:gd name="connsiteY232" fmla="*/ 8248 h 10000"/>
                  <a:gd name="connsiteX233" fmla="*/ 7433 w 10354"/>
                  <a:gd name="connsiteY233" fmla="*/ 8231 h 10000"/>
                  <a:gd name="connsiteX234" fmla="*/ 7433 w 10354"/>
                  <a:gd name="connsiteY234" fmla="*/ 8222 h 10000"/>
                  <a:gd name="connsiteX235" fmla="*/ 7433 w 10354"/>
                  <a:gd name="connsiteY235" fmla="*/ 8214 h 10000"/>
                  <a:gd name="connsiteX236" fmla="*/ 7447 w 10354"/>
                  <a:gd name="connsiteY236" fmla="*/ 8162 h 10000"/>
                  <a:gd name="connsiteX237" fmla="*/ 7461 w 10354"/>
                  <a:gd name="connsiteY237" fmla="*/ 8162 h 10000"/>
                  <a:gd name="connsiteX238" fmla="*/ 7475 w 10354"/>
                  <a:gd name="connsiteY238" fmla="*/ 8111 h 10000"/>
                  <a:gd name="connsiteX239" fmla="*/ 7475 w 10354"/>
                  <a:gd name="connsiteY239" fmla="*/ 8085 h 10000"/>
                  <a:gd name="connsiteX240" fmla="*/ 7479 w 10354"/>
                  <a:gd name="connsiteY240" fmla="*/ 8060 h 10000"/>
                  <a:gd name="connsiteX241" fmla="*/ 7452 w 10354"/>
                  <a:gd name="connsiteY241" fmla="*/ 8009 h 10000"/>
                  <a:gd name="connsiteX242" fmla="*/ 7465 w 10354"/>
                  <a:gd name="connsiteY242" fmla="*/ 7974 h 10000"/>
                  <a:gd name="connsiteX243" fmla="*/ 7452 w 10354"/>
                  <a:gd name="connsiteY243" fmla="*/ 7923 h 10000"/>
                  <a:gd name="connsiteX244" fmla="*/ 7433 w 10354"/>
                  <a:gd name="connsiteY244" fmla="*/ 7889 h 10000"/>
                  <a:gd name="connsiteX245" fmla="*/ 7419 w 10354"/>
                  <a:gd name="connsiteY245" fmla="*/ 7889 h 10000"/>
                  <a:gd name="connsiteX246" fmla="*/ 7401 w 10354"/>
                  <a:gd name="connsiteY246" fmla="*/ 7863 h 10000"/>
                  <a:gd name="connsiteX247" fmla="*/ 7387 w 10354"/>
                  <a:gd name="connsiteY247" fmla="*/ 7863 h 10000"/>
                  <a:gd name="connsiteX248" fmla="*/ 7373 w 10354"/>
                  <a:gd name="connsiteY248" fmla="*/ 7863 h 10000"/>
                  <a:gd name="connsiteX249" fmla="*/ 7387 w 10354"/>
                  <a:gd name="connsiteY249" fmla="*/ 7846 h 10000"/>
                  <a:gd name="connsiteX250" fmla="*/ 7401 w 10354"/>
                  <a:gd name="connsiteY250" fmla="*/ 7846 h 10000"/>
                  <a:gd name="connsiteX251" fmla="*/ 7410 w 10354"/>
                  <a:gd name="connsiteY251" fmla="*/ 7863 h 10000"/>
                  <a:gd name="connsiteX252" fmla="*/ 7424 w 10354"/>
                  <a:gd name="connsiteY252" fmla="*/ 7872 h 10000"/>
                  <a:gd name="connsiteX253" fmla="*/ 7433 w 10354"/>
                  <a:gd name="connsiteY253" fmla="*/ 7863 h 10000"/>
                  <a:gd name="connsiteX254" fmla="*/ 7461 w 10354"/>
                  <a:gd name="connsiteY254" fmla="*/ 7897 h 10000"/>
                  <a:gd name="connsiteX255" fmla="*/ 7465 w 10354"/>
                  <a:gd name="connsiteY255" fmla="*/ 7889 h 10000"/>
                  <a:gd name="connsiteX256" fmla="*/ 7475 w 10354"/>
                  <a:gd name="connsiteY256" fmla="*/ 7863 h 10000"/>
                  <a:gd name="connsiteX257" fmla="*/ 7475 w 10354"/>
                  <a:gd name="connsiteY257" fmla="*/ 7838 h 10000"/>
                  <a:gd name="connsiteX258" fmla="*/ 7465 w 10354"/>
                  <a:gd name="connsiteY258" fmla="*/ 7838 h 10000"/>
                  <a:gd name="connsiteX259" fmla="*/ 7406 w 10354"/>
                  <a:gd name="connsiteY259" fmla="*/ 7752 h 10000"/>
                  <a:gd name="connsiteX260" fmla="*/ 7401 w 10354"/>
                  <a:gd name="connsiteY260" fmla="*/ 7735 h 10000"/>
                  <a:gd name="connsiteX261" fmla="*/ 7401 w 10354"/>
                  <a:gd name="connsiteY261" fmla="*/ 7701 h 10000"/>
                  <a:gd name="connsiteX262" fmla="*/ 7378 w 10354"/>
                  <a:gd name="connsiteY262" fmla="*/ 7675 h 10000"/>
                  <a:gd name="connsiteX263" fmla="*/ 7373 w 10354"/>
                  <a:gd name="connsiteY263" fmla="*/ 7667 h 10000"/>
                  <a:gd name="connsiteX264" fmla="*/ 7364 w 10354"/>
                  <a:gd name="connsiteY264" fmla="*/ 7650 h 10000"/>
                  <a:gd name="connsiteX265" fmla="*/ 7364 w 10354"/>
                  <a:gd name="connsiteY265" fmla="*/ 7641 h 10000"/>
                  <a:gd name="connsiteX266" fmla="*/ 7350 w 10354"/>
                  <a:gd name="connsiteY266" fmla="*/ 7641 h 10000"/>
                  <a:gd name="connsiteX267" fmla="*/ 7336 w 10354"/>
                  <a:gd name="connsiteY267" fmla="*/ 7650 h 10000"/>
                  <a:gd name="connsiteX268" fmla="*/ 7327 w 10354"/>
                  <a:gd name="connsiteY268" fmla="*/ 7650 h 10000"/>
                  <a:gd name="connsiteX269" fmla="*/ 7300 w 10354"/>
                  <a:gd name="connsiteY269" fmla="*/ 7641 h 10000"/>
                  <a:gd name="connsiteX270" fmla="*/ 7300 w 10354"/>
                  <a:gd name="connsiteY270" fmla="*/ 7675 h 10000"/>
                  <a:gd name="connsiteX271" fmla="*/ 7300 w 10354"/>
                  <a:gd name="connsiteY271" fmla="*/ 7692 h 10000"/>
                  <a:gd name="connsiteX272" fmla="*/ 7286 w 10354"/>
                  <a:gd name="connsiteY272" fmla="*/ 7786 h 10000"/>
                  <a:gd name="connsiteX273" fmla="*/ 7272 w 10354"/>
                  <a:gd name="connsiteY273" fmla="*/ 7803 h 10000"/>
                  <a:gd name="connsiteX274" fmla="*/ 7276 w 10354"/>
                  <a:gd name="connsiteY274" fmla="*/ 7761 h 10000"/>
                  <a:gd name="connsiteX275" fmla="*/ 7286 w 10354"/>
                  <a:gd name="connsiteY275" fmla="*/ 7735 h 10000"/>
                  <a:gd name="connsiteX276" fmla="*/ 7276 w 10354"/>
                  <a:gd name="connsiteY276" fmla="*/ 7709 h 10000"/>
                  <a:gd name="connsiteX277" fmla="*/ 7258 w 10354"/>
                  <a:gd name="connsiteY277" fmla="*/ 7761 h 10000"/>
                  <a:gd name="connsiteX278" fmla="*/ 7217 w 10354"/>
                  <a:gd name="connsiteY278" fmla="*/ 7786 h 10000"/>
                  <a:gd name="connsiteX279" fmla="*/ 7203 w 10354"/>
                  <a:gd name="connsiteY279" fmla="*/ 7786 h 10000"/>
                  <a:gd name="connsiteX280" fmla="*/ 7198 w 10354"/>
                  <a:gd name="connsiteY280" fmla="*/ 7778 h 10000"/>
                  <a:gd name="connsiteX281" fmla="*/ 7212 w 10354"/>
                  <a:gd name="connsiteY281" fmla="*/ 7761 h 10000"/>
                  <a:gd name="connsiteX282" fmla="*/ 7230 w 10354"/>
                  <a:gd name="connsiteY282" fmla="*/ 7726 h 10000"/>
                  <a:gd name="connsiteX283" fmla="*/ 7226 w 10354"/>
                  <a:gd name="connsiteY283" fmla="*/ 7709 h 10000"/>
                  <a:gd name="connsiteX284" fmla="*/ 7212 w 10354"/>
                  <a:gd name="connsiteY284" fmla="*/ 7701 h 10000"/>
                  <a:gd name="connsiteX285" fmla="*/ 7203 w 10354"/>
                  <a:gd name="connsiteY285" fmla="*/ 7675 h 10000"/>
                  <a:gd name="connsiteX286" fmla="*/ 7217 w 10354"/>
                  <a:gd name="connsiteY286" fmla="*/ 7675 h 10000"/>
                  <a:gd name="connsiteX287" fmla="*/ 7226 w 10354"/>
                  <a:gd name="connsiteY287" fmla="*/ 7650 h 10000"/>
                  <a:gd name="connsiteX288" fmla="*/ 7226 w 10354"/>
                  <a:gd name="connsiteY288" fmla="*/ 7641 h 10000"/>
                  <a:gd name="connsiteX289" fmla="*/ 7203 w 10354"/>
                  <a:gd name="connsiteY289" fmla="*/ 7641 h 10000"/>
                  <a:gd name="connsiteX290" fmla="*/ 7198 w 10354"/>
                  <a:gd name="connsiteY290" fmla="*/ 7650 h 10000"/>
                  <a:gd name="connsiteX291" fmla="*/ 7194 w 10354"/>
                  <a:gd name="connsiteY291" fmla="*/ 7675 h 10000"/>
                  <a:gd name="connsiteX292" fmla="*/ 7198 w 10354"/>
                  <a:gd name="connsiteY292" fmla="*/ 7692 h 10000"/>
                  <a:gd name="connsiteX293" fmla="*/ 7198 w 10354"/>
                  <a:gd name="connsiteY293" fmla="*/ 7709 h 10000"/>
                  <a:gd name="connsiteX294" fmla="*/ 7184 w 10354"/>
                  <a:gd name="connsiteY294" fmla="*/ 7726 h 10000"/>
                  <a:gd name="connsiteX295" fmla="*/ 7180 w 10354"/>
                  <a:gd name="connsiteY295" fmla="*/ 7726 h 10000"/>
                  <a:gd name="connsiteX296" fmla="*/ 7171 w 10354"/>
                  <a:gd name="connsiteY296" fmla="*/ 7752 h 10000"/>
                  <a:gd name="connsiteX297" fmla="*/ 7166 w 10354"/>
                  <a:gd name="connsiteY297" fmla="*/ 7735 h 10000"/>
                  <a:gd name="connsiteX298" fmla="*/ 7171 w 10354"/>
                  <a:gd name="connsiteY298" fmla="*/ 7624 h 10000"/>
                  <a:gd name="connsiteX299" fmla="*/ 7171 w 10354"/>
                  <a:gd name="connsiteY299" fmla="*/ 7615 h 10000"/>
                  <a:gd name="connsiteX300" fmla="*/ 7171 w 10354"/>
                  <a:gd name="connsiteY300" fmla="*/ 7590 h 10000"/>
                  <a:gd name="connsiteX301" fmla="*/ 7166 w 10354"/>
                  <a:gd name="connsiteY301" fmla="*/ 7564 h 10000"/>
                  <a:gd name="connsiteX302" fmla="*/ 7157 w 10354"/>
                  <a:gd name="connsiteY302" fmla="*/ 7564 h 10000"/>
                  <a:gd name="connsiteX303" fmla="*/ 7097 w 10354"/>
                  <a:gd name="connsiteY303" fmla="*/ 7573 h 10000"/>
                  <a:gd name="connsiteX304" fmla="*/ 7065 w 10354"/>
                  <a:gd name="connsiteY304" fmla="*/ 7538 h 10000"/>
                  <a:gd name="connsiteX305" fmla="*/ 7069 w 10354"/>
                  <a:gd name="connsiteY305" fmla="*/ 7504 h 10000"/>
                  <a:gd name="connsiteX306" fmla="*/ 7106 w 10354"/>
                  <a:gd name="connsiteY306" fmla="*/ 7453 h 10000"/>
                  <a:gd name="connsiteX307" fmla="*/ 7111 w 10354"/>
                  <a:gd name="connsiteY307" fmla="*/ 7436 h 10000"/>
                  <a:gd name="connsiteX308" fmla="*/ 7138 w 10354"/>
                  <a:gd name="connsiteY308" fmla="*/ 7402 h 10000"/>
                  <a:gd name="connsiteX309" fmla="*/ 7143 w 10354"/>
                  <a:gd name="connsiteY309" fmla="*/ 7376 h 10000"/>
                  <a:gd name="connsiteX310" fmla="*/ 7152 w 10354"/>
                  <a:gd name="connsiteY310" fmla="*/ 7368 h 10000"/>
                  <a:gd name="connsiteX311" fmla="*/ 7157 w 10354"/>
                  <a:gd name="connsiteY311" fmla="*/ 7350 h 10000"/>
                  <a:gd name="connsiteX312" fmla="*/ 7230 w 10354"/>
                  <a:gd name="connsiteY312" fmla="*/ 7239 h 10000"/>
                  <a:gd name="connsiteX313" fmla="*/ 7240 w 10354"/>
                  <a:gd name="connsiteY313" fmla="*/ 7205 h 10000"/>
                  <a:gd name="connsiteX314" fmla="*/ 7253 w 10354"/>
                  <a:gd name="connsiteY314" fmla="*/ 7188 h 10000"/>
                  <a:gd name="connsiteX315" fmla="*/ 7258 w 10354"/>
                  <a:gd name="connsiteY315" fmla="*/ 7162 h 10000"/>
                  <a:gd name="connsiteX316" fmla="*/ 7258 w 10354"/>
                  <a:gd name="connsiteY316" fmla="*/ 7154 h 10000"/>
                  <a:gd name="connsiteX317" fmla="*/ 7272 w 10354"/>
                  <a:gd name="connsiteY317" fmla="*/ 7120 h 10000"/>
                  <a:gd name="connsiteX318" fmla="*/ 7276 w 10354"/>
                  <a:gd name="connsiteY318" fmla="*/ 7094 h 10000"/>
                  <a:gd name="connsiteX319" fmla="*/ 7286 w 10354"/>
                  <a:gd name="connsiteY319" fmla="*/ 7094 h 10000"/>
                  <a:gd name="connsiteX320" fmla="*/ 7290 w 10354"/>
                  <a:gd name="connsiteY320" fmla="*/ 7068 h 10000"/>
                  <a:gd name="connsiteX321" fmla="*/ 7332 w 10354"/>
                  <a:gd name="connsiteY321" fmla="*/ 6991 h 10000"/>
                  <a:gd name="connsiteX322" fmla="*/ 7336 w 10354"/>
                  <a:gd name="connsiteY322" fmla="*/ 6991 h 10000"/>
                  <a:gd name="connsiteX323" fmla="*/ 7364 w 10354"/>
                  <a:gd name="connsiteY323" fmla="*/ 6940 h 10000"/>
                  <a:gd name="connsiteX324" fmla="*/ 7373 w 10354"/>
                  <a:gd name="connsiteY324" fmla="*/ 6906 h 10000"/>
                  <a:gd name="connsiteX325" fmla="*/ 7378 w 10354"/>
                  <a:gd name="connsiteY325" fmla="*/ 6915 h 10000"/>
                  <a:gd name="connsiteX326" fmla="*/ 7406 w 10354"/>
                  <a:gd name="connsiteY326" fmla="*/ 6880 h 10000"/>
                  <a:gd name="connsiteX327" fmla="*/ 7410 w 10354"/>
                  <a:gd name="connsiteY327" fmla="*/ 6846 h 10000"/>
                  <a:gd name="connsiteX328" fmla="*/ 7419 w 10354"/>
                  <a:gd name="connsiteY328" fmla="*/ 6803 h 10000"/>
                  <a:gd name="connsiteX329" fmla="*/ 7585 w 10354"/>
                  <a:gd name="connsiteY329" fmla="*/ 6504 h 10000"/>
                  <a:gd name="connsiteX330" fmla="*/ 7765 w 10354"/>
                  <a:gd name="connsiteY330" fmla="*/ 6504 h 10000"/>
                  <a:gd name="connsiteX331" fmla="*/ 7765 w 10354"/>
                  <a:gd name="connsiteY331" fmla="*/ 6530 h 10000"/>
                  <a:gd name="connsiteX332" fmla="*/ 7774 w 10354"/>
                  <a:gd name="connsiteY332" fmla="*/ 6556 h 10000"/>
                  <a:gd name="connsiteX333" fmla="*/ 7779 w 10354"/>
                  <a:gd name="connsiteY333" fmla="*/ 6556 h 10000"/>
                  <a:gd name="connsiteX334" fmla="*/ 7793 w 10354"/>
                  <a:gd name="connsiteY334" fmla="*/ 6547 h 10000"/>
                  <a:gd name="connsiteX335" fmla="*/ 7793 w 10354"/>
                  <a:gd name="connsiteY335" fmla="*/ 6530 h 10000"/>
                  <a:gd name="connsiteX336" fmla="*/ 7802 w 10354"/>
                  <a:gd name="connsiteY336" fmla="*/ 6496 h 10000"/>
                  <a:gd name="connsiteX337" fmla="*/ 7806 w 10354"/>
                  <a:gd name="connsiteY337" fmla="*/ 6487 h 10000"/>
                  <a:gd name="connsiteX338" fmla="*/ 7876 w 10354"/>
                  <a:gd name="connsiteY338" fmla="*/ 6530 h 10000"/>
                  <a:gd name="connsiteX339" fmla="*/ 7894 w 10354"/>
                  <a:gd name="connsiteY339" fmla="*/ 6530 h 10000"/>
                  <a:gd name="connsiteX340" fmla="*/ 7894 w 10354"/>
                  <a:gd name="connsiteY340" fmla="*/ 6504 h 10000"/>
                  <a:gd name="connsiteX341" fmla="*/ 7899 w 10354"/>
                  <a:gd name="connsiteY341" fmla="*/ 6504 h 10000"/>
                  <a:gd name="connsiteX342" fmla="*/ 7926 w 10354"/>
                  <a:gd name="connsiteY342" fmla="*/ 6504 h 10000"/>
                  <a:gd name="connsiteX343" fmla="*/ 7940 w 10354"/>
                  <a:gd name="connsiteY343" fmla="*/ 6547 h 10000"/>
                  <a:gd name="connsiteX344" fmla="*/ 7949 w 10354"/>
                  <a:gd name="connsiteY344" fmla="*/ 6547 h 10000"/>
                  <a:gd name="connsiteX345" fmla="*/ 7963 w 10354"/>
                  <a:gd name="connsiteY345" fmla="*/ 6530 h 10000"/>
                  <a:gd name="connsiteX346" fmla="*/ 7963 w 10354"/>
                  <a:gd name="connsiteY346" fmla="*/ 6504 h 10000"/>
                  <a:gd name="connsiteX347" fmla="*/ 7963 w 10354"/>
                  <a:gd name="connsiteY347" fmla="*/ 6504 h 10000"/>
                  <a:gd name="connsiteX348" fmla="*/ 7954 w 10354"/>
                  <a:gd name="connsiteY348" fmla="*/ 6496 h 10000"/>
                  <a:gd name="connsiteX349" fmla="*/ 7963 w 10354"/>
                  <a:gd name="connsiteY349" fmla="*/ 6487 h 10000"/>
                  <a:gd name="connsiteX350" fmla="*/ 7982 w 10354"/>
                  <a:gd name="connsiteY350" fmla="*/ 6487 h 10000"/>
                  <a:gd name="connsiteX351" fmla="*/ 7982 w 10354"/>
                  <a:gd name="connsiteY351" fmla="*/ 6470 h 10000"/>
                  <a:gd name="connsiteX352" fmla="*/ 7972 w 10354"/>
                  <a:gd name="connsiteY352" fmla="*/ 6462 h 10000"/>
                  <a:gd name="connsiteX353" fmla="*/ 7972 w 10354"/>
                  <a:gd name="connsiteY353" fmla="*/ 6436 h 10000"/>
                  <a:gd name="connsiteX354" fmla="*/ 7986 w 10354"/>
                  <a:gd name="connsiteY354" fmla="*/ 6419 h 10000"/>
                  <a:gd name="connsiteX355" fmla="*/ 8000 w 10354"/>
                  <a:gd name="connsiteY355" fmla="*/ 6419 h 10000"/>
                  <a:gd name="connsiteX356" fmla="*/ 8055 w 10354"/>
                  <a:gd name="connsiteY356" fmla="*/ 6462 h 10000"/>
                  <a:gd name="connsiteX357" fmla="*/ 8069 w 10354"/>
                  <a:gd name="connsiteY357" fmla="*/ 6444 h 10000"/>
                  <a:gd name="connsiteX358" fmla="*/ 8083 w 10354"/>
                  <a:gd name="connsiteY358" fmla="*/ 6470 h 10000"/>
                  <a:gd name="connsiteX359" fmla="*/ 8083 w 10354"/>
                  <a:gd name="connsiteY359" fmla="*/ 6487 h 10000"/>
                  <a:gd name="connsiteX360" fmla="*/ 8097 w 10354"/>
                  <a:gd name="connsiteY360" fmla="*/ 6487 h 10000"/>
                  <a:gd name="connsiteX361" fmla="*/ 8101 w 10354"/>
                  <a:gd name="connsiteY361" fmla="*/ 6462 h 10000"/>
                  <a:gd name="connsiteX362" fmla="*/ 8115 w 10354"/>
                  <a:gd name="connsiteY362" fmla="*/ 6462 h 10000"/>
                  <a:gd name="connsiteX363" fmla="*/ 8129 w 10354"/>
                  <a:gd name="connsiteY363" fmla="*/ 6462 h 10000"/>
                  <a:gd name="connsiteX364" fmla="*/ 8157 w 10354"/>
                  <a:gd name="connsiteY364" fmla="*/ 6496 h 10000"/>
                  <a:gd name="connsiteX365" fmla="*/ 8157 w 10354"/>
                  <a:gd name="connsiteY365" fmla="*/ 6521 h 10000"/>
                  <a:gd name="connsiteX366" fmla="*/ 8180 w 10354"/>
                  <a:gd name="connsiteY366" fmla="*/ 6530 h 10000"/>
                  <a:gd name="connsiteX367" fmla="*/ 8180 w 10354"/>
                  <a:gd name="connsiteY367" fmla="*/ 6547 h 10000"/>
                  <a:gd name="connsiteX368" fmla="*/ 8171 w 10354"/>
                  <a:gd name="connsiteY368" fmla="*/ 6556 h 10000"/>
                  <a:gd name="connsiteX369" fmla="*/ 8129 w 10354"/>
                  <a:gd name="connsiteY369" fmla="*/ 6556 h 10000"/>
                  <a:gd name="connsiteX370" fmla="*/ 8106 w 10354"/>
                  <a:gd name="connsiteY370" fmla="*/ 6573 h 10000"/>
                  <a:gd name="connsiteX371" fmla="*/ 8115 w 10354"/>
                  <a:gd name="connsiteY371" fmla="*/ 6581 h 10000"/>
                  <a:gd name="connsiteX372" fmla="*/ 8129 w 10354"/>
                  <a:gd name="connsiteY372" fmla="*/ 6632 h 10000"/>
                  <a:gd name="connsiteX373" fmla="*/ 8171 w 10354"/>
                  <a:gd name="connsiteY373" fmla="*/ 6632 h 10000"/>
                  <a:gd name="connsiteX374" fmla="*/ 8180 w 10354"/>
                  <a:gd name="connsiteY374" fmla="*/ 6624 h 10000"/>
                  <a:gd name="connsiteX375" fmla="*/ 8189 w 10354"/>
                  <a:gd name="connsiteY375" fmla="*/ 6598 h 10000"/>
                  <a:gd name="connsiteX376" fmla="*/ 8203 w 10354"/>
                  <a:gd name="connsiteY376" fmla="*/ 6581 h 10000"/>
                  <a:gd name="connsiteX377" fmla="*/ 8207 w 10354"/>
                  <a:gd name="connsiteY377" fmla="*/ 6607 h 10000"/>
                  <a:gd name="connsiteX378" fmla="*/ 8221 w 10354"/>
                  <a:gd name="connsiteY378" fmla="*/ 6624 h 10000"/>
                  <a:gd name="connsiteX379" fmla="*/ 8235 w 10354"/>
                  <a:gd name="connsiteY379" fmla="*/ 6607 h 10000"/>
                  <a:gd name="connsiteX380" fmla="*/ 8240 w 10354"/>
                  <a:gd name="connsiteY380" fmla="*/ 6581 h 10000"/>
                  <a:gd name="connsiteX381" fmla="*/ 8253 w 10354"/>
                  <a:gd name="connsiteY381" fmla="*/ 6573 h 10000"/>
                  <a:gd name="connsiteX382" fmla="*/ 8263 w 10354"/>
                  <a:gd name="connsiteY382" fmla="*/ 6556 h 10000"/>
                  <a:gd name="connsiteX383" fmla="*/ 8276 w 10354"/>
                  <a:gd name="connsiteY383" fmla="*/ 6547 h 10000"/>
                  <a:gd name="connsiteX384" fmla="*/ 8290 w 10354"/>
                  <a:gd name="connsiteY384" fmla="*/ 6556 h 10000"/>
                  <a:gd name="connsiteX385" fmla="*/ 8304 w 10354"/>
                  <a:gd name="connsiteY385" fmla="*/ 6581 h 10000"/>
                  <a:gd name="connsiteX386" fmla="*/ 8309 w 10354"/>
                  <a:gd name="connsiteY386" fmla="*/ 6581 h 10000"/>
                  <a:gd name="connsiteX387" fmla="*/ 8327 w 10354"/>
                  <a:gd name="connsiteY387" fmla="*/ 6573 h 10000"/>
                  <a:gd name="connsiteX388" fmla="*/ 8327 w 10354"/>
                  <a:gd name="connsiteY388" fmla="*/ 6556 h 10000"/>
                  <a:gd name="connsiteX389" fmla="*/ 8350 w 10354"/>
                  <a:gd name="connsiteY389" fmla="*/ 6556 h 10000"/>
                  <a:gd name="connsiteX390" fmla="*/ 8355 w 10354"/>
                  <a:gd name="connsiteY390" fmla="*/ 6573 h 10000"/>
                  <a:gd name="connsiteX391" fmla="*/ 8364 w 10354"/>
                  <a:gd name="connsiteY391" fmla="*/ 6556 h 10000"/>
                  <a:gd name="connsiteX392" fmla="*/ 8369 w 10354"/>
                  <a:gd name="connsiteY392" fmla="*/ 6556 h 10000"/>
                  <a:gd name="connsiteX393" fmla="*/ 8378 w 10354"/>
                  <a:gd name="connsiteY393" fmla="*/ 6530 h 10000"/>
                  <a:gd name="connsiteX394" fmla="*/ 8369 w 10354"/>
                  <a:gd name="connsiteY394" fmla="*/ 6504 h 10000"/>
                  <a:gd name="connsiteX395" fmla="*/ 8364 w 10354"/>
                  <a:gd name="connsiteY395" fmla="*/ 6496 h 10000"/>
                  <a:gd name="connsiteX396" fmla="*/ 8336 w 10354"/>
                  <a:gd name="connsiteY396" fmla="*/ 6470 h 10000"/>
                  <a:gd name="connsiteX397" fmla="*/ 8309 w 10354"/>
                  <a:gd name="connsiteY397" fmla="*/ 6487 h 10000"/>
                  <a:gd name="connsiteX398" fmla="*/ 8313 w 10354"/>
                  <a:gd name="connsiteY398" fmla="*/ 6462 h 10000"/>
                  <a:gd name="connsiteX399" fmla="*/ 8323 w 10354"/>
                  <a:gd name="connsiteY399" fmla="*/ 6444 h 10000"/>
                  <a:gd name="connsiteX400" fmla="*/ 8309 w 10354"/>
                  <a:gd name="connsiteY400" fmla="*/ 6393 h 10000"/>
                  <a:gd name="connsiteX401" fmla="*/ 8313 w 10354"/>
                  <a:gd name="connsiteY401" fmla="*/ 6385 h 10000"/>
                  <a:gd name="connsiteX402" fmla="*/ 8323 w 10354"/>
                  <a:gd name="connsiteY402" fmla="*/ 6393 h 10000"/>
                  <a:gd name="connsiteX403" fmla="*/ 8323 w 10354"/>
                  <a:gd name="connsiteY403" fmla="*/ 6393 h 10000"/>
                  <a:gd name="connsiteX404" fmla="*/ 8355 w 10354"/>
                  <a:gd name="connsiteY404" fmla="*/ 6282 h 10000"/>
                  <a:gd name="connsiteX405" fmla="*/ 8369 w 10354"/>
                  <a:gd name="connsiteY405" fmla="*/ 6256 h 10000"/>
                  <a:gd name="connsiteX406" fmla="*/ 8382 w 10354"/>
                  <a:gd name="connsiteY406" fmla="*/ 6248 h 10000"/>
                  <a:gd name="connsiteX407" fmla="*/ 8424 w 10354"/>
                  <a:gd name="connsiteY407" fmla="*/ 6162 h 10000"/>
                  <a:gd name="connsiteX408" fmla="*/ 8429 w 10354"/>
                  <a:gd name="connsiteY408" fmla="*/ 6145 h 10000"/>
                  <a:gd name="connsiteX409" fmla="*/ 8470 w 10354"/>
                  <a:gd name="connsiteY409" fmla="*/ 6051 h 10000"/>
                  <a:gd name="connsiteX410" fmla="*/ 8475 w 10354"/>
                  <a:gd name="connsiteY410" fmla="*/ 5983 h 10000"/>
                  <a:gd name="connsiteX411" fmla="*/ 8512 w 10354"/>
                  <a:gd name="connsiteY411" fmla="*/ 5940 h 10000"/>
                  <a:gd name="connsiteX412" fmla="*/ 8521 w 10354"/>
                  <a:gd name="connsiteY412" fmla="*/ 5923 h 10000"/>
                  <a:gd name="connsiteX413" fmla="*/ 8535 w 10354"/>
                  <a:gd name="connsiteY413" fmla="*/ 5915 h 10000"/>
                  <a:gd name="connsiteX414" fmla="*/ 8562 w 10354"/>
                  <a:gd name="connsiteY414" fmla="*/ 5915 h 10000"/>
                  <a:gd name="connsiteX415" fmla="*/ 8618 w 10354"/>
                  <a:gd name="connsiteY415" fmla="*/ 5889 h 10000"/>
                  <a:gd name="connsiteX416" fmla="*/ 8622 w 10354"/>
                  <a:gd name="connsiteY416" fmla="*/ 5889 h 10000"/>
                  <a:gd name="connsiteX417" fmla="*/ 8622 w 10354"/>
                  <a:gd name="connsiteY417" fmla="*/ 5872 h 10000"/>
                  <a:gd name="connsiteX418" fmla="*/ 8636 w 10354"/>
                  <a:gd name="connsiteY418" fmla="*/ 5872 h 10000"/>
                  <a:gd name="connsiteX419" fmla="*/ 8650 w 10354"/>
                  <a:gd name="connsiteY419" fmla="*/ 5889 h 10000"/>
                  <a:gd name="connsiteX420" fmla="*/ 8659 w 10354"/>
                  <a:gd name="connsiteY420" fmla="*/ 5915 h 10000"/>
                  <a:gd name="connsiteX421" fmla="*/ 8664 w 10354"/>
                  <a:gd name="connsiteY421" fmla="*/ 5940 h 10000"/>
                  <a:gd name="connsiteX422" fmla="*/ 8682 w 10354"/>
                  <a:gd name="connsiteY422" fmla="*/ 5923 h 10000"/>
                  <a:gd name="connsiteX423" fmla="*/ 8719 w 10354"/>
                  <a:gd name="connsiteY423" fmla="*/ 5863 h 10000"/>
                  <a:gd name="connsiteX424" fmla="*/ 8705 w 10354"/>
                  <a:gd name="connsiteY424" fmla="*/ 5966 h 10000"/>
                  <a:gd name="connsiteX425" fmla="*/ 8696 w 10354"/>
                  <a:gd name="connsiteY425" fmla="*/ 5983 h 10000"/>
                  <a:gd name="connsiteX426" fmla="*/ 8682 w 10354"/>
                  <a:gd name="connsiteY426" fmla="*/ 6026 h 10000"/>
                  <a:gd name="connsiteX427" fmla="*/ 8682 w 10354"/>
                  <a:gd name="connsiteY427" fmla="*/ 6051 h 10000"/>
                  <a:gd name="connsiteX428" fmla="*/ 8691 w 10354"/>
                  <a:gd name="connsiteY428" fmla="*/ 6077 h 10000"/>
                  <a:gd name="connsiteX429" fmla="*/ 8691 w 10354"/>
                  <a:gd name="connsiteY429" fmla="*/ 6085 h 10000"/>
                  <a:gd name="connsiteX430" fmla="*/ 8682 w 10354"/>
                  <a:gd name="connsiteY430" fmla="*/ 6103 h 10000"/>
                  <a:gd name="connsiteX431" fmla="*/ 8682 w 10354"/>
                  <a:gd name="connsiteY431" fmla="*/ 6111 h 10000"/>
                  <a:gd name="connsiteX432" fmla="*/ 8691 w 10354"/>
                  <a:gd name="connsiteY432" fmla="*/ 6120 h 10000"/>
                  <a:gd name="connsiteX433" fmla="*/ 8719 w 10354"/>
                  <a:gd name="connsiteY433" fmla="*/ 6103 h 10000"/>
                  <a:gd name="connsiteX434" fmla="*/ 8705 w 10354"/>
                  <a:gd name="connsiteY434" fmla="*/ 6188 h 10000"/>
                  <a:gd name="connsiteX435" fmla="*/ 8705 w 10354"/>
                  <a:gd name="connsiteY435" fmla="*/ 6214 h 10000"/>
                  <a:gd name="connsiteX436" fmla="*/ 8710 w 10354"/>
                  <a:gd name="connsiteY436" fmla="*/ 6197 h 10000"/>
                  <a:gd name="connsiteX437" fmla="*/ 8728 w 10354"/>
                  <a:gd name="connsiteY437" fmla="*/ 6171 h 10000"/>
                  <a:gd name="connsiteX438" fmla="*/ 8737 w 10354"/>
                  <a:gd name="connsiteY438" fmla="*/ 6171 h 10000"/>
                  <a:gd name="connsiteX439" fmla="*/ 8843 w 10354"/>
                  <a:gd name="connsiteY439" fmla="*/ 5949 h 10000"/>
                  <a:gd name="connsiteX440" fmla="*/ 8866 w 10354"/>
                  <a:gd name="connsiteY440" fmla="*/ 5949 h 10000"/>
                  <a:gd name="connsiteX441" fmla="*/ 8871 w 10354"/>
                  <a:gd name="connsiteY441" fmla="*/ 5940 h 10000"/>
                  <a:gd name="connsiteX442" fmla="*/ 8876 w 10354"/>
                  <a:gd name="connsiteY442" fmla="*/ 5923 h 10000"/>
                  <a:gd name="connsiteX443" fmla="*/ 8885 w 10354"/>
                  <a:gd name="connsiteY443" fmla="*/ 5940 h 10000"/>
                  <a:gd name="connsiteX444" fmla="*/ 8885 w 10354"/>
                  <a:gd name="connsiteY444" fmla="*/ 5949 h 10000"/>
                  <a:gd name="connsiteX445" fmla="*/ 8885 w 10354"/>
                  <a:gd name="connsiteY445" fmla="*/ 5974 h 10000"/>
                  <a:gd name="connsiteX446" fmla="*/ 8889 w 10354"/>
                  <a:gd name="connsiteY446" fmla="*/ 5974 h 10000"/>
                  <a:gd name="connsiteX447" fmla="*/ 8903 w 10354"/>
                  <a:gd name="connsiteY447" fmla="*/ 5923 h 10000"/>
                  <a:gd name="connsiteX448" fmla="*/ 8889 w 10354"/>
                  <a:gd name="connsiteY448" fmla="*/ 5923 h 10000"/>
                  <a:gd name="connsiteX449" fmla="*/ 8889 w 10354"/>
                  <a:gd name="connsiteY449" fmla="*/ 5897 h 10000"/>
                  <a:gd name="connsiteX450" fmla="*/ 8899 w 10354"/>
                  <a:gd name="connsiteY450" fmla="*/ 5838 h 10000"/>
                  <a:gd name="connsiteX451" fmla="*/ 8889 w 10354"/>
                  <a:gd name="connsiteY451" fmla="*/ 5812 h 10000"/>
                  <a:gd name="connsiteX452" fmla="*/ 8903 w 10354"/>
                  <a:gd name="connsiteY452" fmla="*/ 5778 h 10000"/>
                  <a:gd name="connsiteX453" fmla="*/ 8903 w 10354"/>
                  <a:gd name="connsiteY453" fmla="*/ 5761 h 10000"/>
                  <a:gd name="connsiteX454" fmla="*/ 8912 w 10354"/>
                  <a:gd name="connsiteY454" fmla="*/ 5735 h 10000"/>
                  <a:gd name="connsiteX455" fmla="*/ 8931 w 10354"/>
                  <a:gd name="connsiteY455" fmla="*/ 5701 h 10000"/>
                  <a:gd name="connsiteX456" fmla="*/ 8977 w 10354"/>
                  <a:gd name="connsiteY456" fmla="*/ 5675 h 10000"/>
                  <a:gd name="connsiteX457" fmla="*/ 9000 w 10354"/>
                  <a:gd name="connsiteY457" fmla="*/ 5675 h 10000"/>
                  <a:gd name="connsiteX458" fmla="*/ 9018 w 10354"/>
                  <a:gd name="connsiteY458" fmla="*/ 5709 h 10000"/>
                  <a:gd name="connsiteX459" fmla="*/ 9009 w 10354"/>
                  <a:gd name="connsiteY459" fmla="*/ 5735 h 10000"/>
                  <a:gd name="connsiteX460" fmla="*/ 9000 w 10354"/>
                  <a:gd name="connsiteY460" fmla="*/ 5735 h 10000"/>
                  <a:gd name="connsiteX461" fmla="*/ 8963 w 10354"/>
                  <a:gd name="connsiteY461" fmla="*/ 5786 h 10000"/>
                  <a:gd name="connsiteX462" fmla="*/ 8949 w 10354"/>
                  <a:gd name="connsiteY462" fmla="*/ 5940 h 10000"/>
                  <a:gd name="connsiteX463" fmla="*/ 8945 w 10354"/>
                  <a:gd name="connsiteY463" fmla="*/ 5966 h 10000"/>
                  <a:gd name="connsiteX464" fmla="*/ 8945 w 10354"/>
                  <a:gd name="connsiteY464" fmla="*/ 6000 h 10000"/>
                  <a:gd name="connsiteX465" fmla="*/ 8945 w 10354"/>
                  <a:gd name="connsiteY465" fmla="*/ 6009 h 10000"/>
                  <a:gd name="connsiteX466" fmla="*/ 8945 w 10354"/>
                  <a:gd name="connsiteY466" fmla="*/ 6034 h 10000"/>
                  <a:gd name="connsiteX467" fmla="*/ 8931 w 10354"/>
                  <a:gd name="connsiteY467" fmla="*/ 6060 h 10000"/>
                  <a:gd name="connsiteX468" fmla="*/ 8926 w 10354"/>
                  <a:gd name="connsiteY468" fmla="*/ 6077 h 10000"/>
                  <a:gd name="connsiteX469" fmla="*/ 8926 w 10354"/>
                  <a:gd name="connsiteY469" fmla="*/ 6111 h 10000"/>
                  <a:gd name="connsiteX470" fmla="*/ 8931 w 10354"/>
                  <a:gd name="connsiteY470" fmla="*/ 6120 h 10000"/>
                  <a:gd name="connsiteX471" fmla="*/ 8931 w 10354"/>
                  <a:gd name="connsiteY471" fmla="*/ 6137 h 10000"/>
                  <a:gd name="connsiteX472" fmla="*/ 8912 w 10354"/>
                  <a:gd name="connsiteY472" fmla="*/ 6171 h 10000"/>
                  <a:gd name="connsiteX473" fmla="*/ 8899 w 10354"/>
                  <a:gd name="connsiteY473" fmla="*/ 6162 h 10000"/>
                  <a:gd name="connsiteX474" fmla="*/ 8885 w 10354"/>
                  <a:gd name="connsiteY474" fmla="*/ 6171 h 10000"/>
                  <a:gd name="connsiteX475" fmla="*/ 8866 w 10354"/>
                  <a:gd name="connsiteY475" fmla="*/ 6214 h 10000"/>
                  <a:gd name="connsiteX476" fmla="*/ 8853 w 10354"/>
                  <a:gd name="connsiteY476" fmla="*/ 6214 h 10000"/>
                  <a:gd name="connsiteX477" fmla="*/ 8816 w 10354"/>
                  <a:gd name="connsiteY477" fmla="*/ 6248 h 10000"/>
                  <a:gd name="connsiteX478" fmla="*/ 8816 w 10354"/>
                  <a:gd name="connsiteY478" fmla="*/ 6248 h 10000"/>
                  <a:gd name="connsiteX479" fmla="*/ 8816 w 10354"/>
                  <a:gd name="connsiteY479" fmla="*/ 6282 h 10000"/>
                  <a:gd name="connsiteX480" fmla="*/ 8811 w 10354"/>
                  <a:gd name="connsiteY480" fmla="*/ 6308 h 10000"/>
                  <a:gd name="connsiteX481" fmla="*/ 8751 w 10354"/>
                  <a:gd name="connsiteY481" fmla="*/ 6436 h 10000"/>
                  <a:gd name="connsiteX482" fmla="*/ 8724 w 10354"/>
                  <a:gd name="connsiteY482" fmla="*/ 6470 h 10000"/>
                  <a:gd name="connsiteX483" fmla="*/ 8710 w 10354"/>
                  <a:gd name="connsiteY483" fmla="*/ 6504 h 10000"/>
                  <a:gd name="connsiteX484" fmla="*/ 8705 w 10354"/>
                  <a:gd name="connsiteY484" fmla="*/ 6521 h 10000"/>
                  <a:gd name="connsiteX485" fmla="*/ 8677 w 10354"/>
                  <a:gd name="connsiteY485" fmla="*/ 6573 h 10000"/>
                  <a:gd name="connsiteX486" fmla="*/ 8677 w 10354"/>
                  <a:gd name="connsiteY486" fmla="*/ 6624 h 10000"/>
                  <a:gd name="connsiteX487" fmla="*/ 8590 w 10354"/>
                  <a:gd name="connsiteY487" fmla="*/ 6803 h 10000"/>
                  <a:gd name="connsiteX488" fmla="*/ 8562 w 10354"/>
                  <a:gd name="connsiteY488" fmla="*/ 6829 h 10000"/>
                  <a:gd name="connsiteX489" fmla="*/ 8544 w 10354"/>
                  <a:gd name="connsiteY489" fmla="*/ 6829 h 10000"/>
                  <a:gd name="connsiteX490" fmla="*/ 8521 w 10354"/>
                  <a:gd name="connsiteY490" fmla="*/ 6880 h 10000"/>
                  <a:gd name="connsiteX491" fmla="*/ 8498 w 10354"/>
                  <a:gd name="connsiteY491" fmla="*/ 6872 h 10000"/>
                  <a:gd name="connsiteX492" fmla="*/ 8488 w 10354"/>
                  <a:gd name="connsiteY492" fmla="*/ 6872 h 10000"/>
                  <a:gd name="connsiteX493" fmla="*/ 8498 w 10354"/>
                  <a:gd name="connsiteY493" fmla="*/ 6940 h 10000"/>
                  <a:gd name="connsiteX494" fmla="*/ 8484 w 10354"/>
                  <a:gd name="connsiteY494" fmla="*/ 7026 h 10000"/>
                  <a:gd name="connsiteX495" fmla="*/ 8429 w 10354"/>
                  <a:gd name="connsiteY495" fmla="*/ 7094 h 10000"/>
                  <a:gd name="connsiteX496" fmla="*/ 8401 w 10354"/>
                  <a:gd name="connsiteY496" fmla="*/ 7291 h 10000"/>
                  <a:gd name="connsiteX497" fmla="*/ 8424 w 10354"/>
                  <a:gd name="connsiteY497" fmla="*/ 7692 h 10000"/>
                  <a:gd name="connsiteX498" fmla="*/ 8424 w 10354"/>
                  <a:gd name="connsiteY498" fmla="*/ 7701 h 10000"/>
                  <a:gd name="connsiteX499" fmla="*/ 8484 w 10354"/>
                  <a:gd name="connsiteY499" fmla="*/ 8308 h 10000"/>
                  <a:gd name="connsiteX500" fmla="*/ 8576 w 10354"/>
                  <a:gd name="connsiteY500" fmla="*/ 8120 h 10000"/>
                  <a:gd name="connsiteX501" fmla="*/ 8590 w 10354"/>
                  <a:gd name="connsiteY501" fmla="*/ 8026 h 10000"/>
                  <a:gd name="connsiteX502" fmla="*/ 8590 w 10354"/>
                  <a:gd name="connsiteY502" fmla="*/ 7983 h 10000"/>
                  <a:gd name="connsiteX503" fmla="*/ 8594 w 10354"/>
                  <a:gd name="connsiteY503" fmla="*/ 7974 h 10000"/>
                  <a:gd name="connsiteX504" fmla="*/ 8594 w 10354"/>
                  <a:gd name="connsiteY504" fmla="*/ 7940 h 10000"/>
                  <a:gd name="connsiteX505" fmla="*/ 8594 w 10354"/>
                  <a:gd name="connsiteY505" fmla="*/ 7923 h 10000"/>
                  <a:gd name="connsiteX506" fmla="*/ 8594 w 10354"/>
                  <a:gd name="connsiteY506" fmla="*/ 7915 h 10000"/>
                  <a:gd name="connsiteX507" fmla="*/ 8604 w 10354"/>
                  <a:gd name="connsiteY507" fmla="*/ 7915 h 10000"/>
                  <a:gd name="connsiteX508" fmla="*/ 8608 w 10354"/>
                  <a:gd name="connsiteY508" fmla="*/ 7923 h 10000"/>
                  <a:gd name="connsiteX509" fmla="*/ 8645 w 10354"/>
                  <a:gd name="connsiteY509" fmla="*/ 7872 h 10000"/>
                  <a:gd name="connsiteX510" fmla="*/ 8668 w 10354"/>
                  <a:gd name="connsiteY510" fmla="*/ 7846 h 10000"/>
                  <a:gd name="connsiteX511" fmla="*/ 8691 w 10354"/>
                  <a:gd name="connsiteY511" fmla="*/ 7863 h 10000"/>
                  <a:gd name="connsiteX512" fmla="*/ 8691 w 10354"/>
                  <a:gd name="connsiteY512" fmla="*/ 7846 h 10000"/>
                  <a:gd name="connsiteX513" fmla="*/ 8682 w 10354"/>
                  <a:gd name="connsiteY513" fmla="*/ 7838 h 10000"/>
                  <a:gd name="connsiteX514" fmla="*/ 8682 w 10354"/>
                  <a:gd name="connsiteY514" fmla="*/ 7692 h 10000"/>
                  <a:gd name="connsiteX515" fmla="*/ 8728 w 10354"/>
                  <a:gd name="connsiteY515" fmla="*/ 7598 h 10000"/>
                  <a:gd name="connsiteX516" fmla="*/ 8751 w 10354"/>
                  <a:gd name="connsiteY516" fmla="*/ 7573 h 10000"/>
                  <a:gd name="connsiteX517" fmla="*/ 8770 w 10354"/>
                  <a:gd name="connsiteY517" fmla="*/ 7573 h 10000"/>
                  <a:gd name="connsiteX518" fmla="*/ 8779 w 10354"/>
                  <a:gd name="connsiteY518" fmla="*/ 7590 h 10000"/>
                  <a:gd name="connsiteX519" fmla="*/ 8793 w 10354"/>
                  <a:gd name="connsiteY519" fmla="*/ 7590 h 10000"/>
                  <a:gd name="connsiteX520" fmla="*/ 8811 w 10354"/>
                  <a:gd name="connsiteY520" fmla="*/ 7590 h 10000"/>
                  <a:gd name="connsiteX521" fmla="*/ 8825 w 10354"/>
                  <a:gd name="connsiteY521" fmla="*/ 7556 h 10000"/>
                  <a:gd name="connsiteX522" fmla="*/ 8829 w 10354"/>
                  <a:gd name="connsiteY522" fmla="*/ 7530 h 10000"/>
                  <a:gd name="connsiteX523" fmla="*/ 8802 w 10354"/>
                  <a:gd name="connsiteY523" fmla="*/ 7462 h 10000"/>
                  <a:gd name="connsiteX524" fmla="*/ 8797 w 10354"/>
                  <a:gd name="connsiteY524" fmla="*/ 7402 h 10000"/>
                  <a:gd name="connsiteX525" fmla="*/ 8816 w 10354"/>
                  <a:gd name="connsiteY525" fmla="*/ 7291 h 10000"/>
                  <a:gd name="connsiteX526" fmla="*/ 8825 w 10354"/>
                  <a:gd name="connsiteY526" fmla="*/ 7256 h 10000"/>
                  <a:gd name="connsiteX527" fmla="*/ 8843 w 10354"/>
                  <a:gd name="connsiteY527" fmla="*/ 7231 h 10000"/>
                  <a:gd name="connsiteX528" fmla="*/ 8839 w 10354"/>
                  <a:gd name="connsiteY528" fmla="*/ 7205 h 10000"/>
                  <a:gd name="connsiteX529" fmla="*/ 8839 w 10354"/>
                  <a:gd name="connsiteY529" fmla="*/ 7188 h 10000"/>
                  <a:gd name="connsiteX530" fmla="*/ 8876 w 10354"/>
                  <a:gd name="connsiteY530" fmla="*/ 7162 h 10000"/>
                  <a:gd name="connsiteX531" fmla="*/ 8885 w 10354"/>
                  <a:gd name="connsiteY531" fmla="*/ 7154 h 10000"/>
                  <a:gd name="connsiteX532" fmla="*/ 8885 w 10354"/>
                  <a:gd name="connsiteY532" fmla="*/ 7162 h 10000"/>
                  <a:gd name="connsiteX533" fmla="*/ 8876 w 10354"/>
                  <a:gd name="connsiteY533" fmla="*/ 7188 h 10000"/>
                  <a:gd name="connsiteX534" fmla="*/ 8871 w 10354"/>
                  <a:gd name="connsiteY534" fmla="*/ 7205 h 10000"/>
                  <a:gd name="connsiteX535" fmla="*/ 8866 w 10354"/>
                  <a:gd name="connsiteY535" fmla="*/ 7214 h 10000"/>
                  <a:gd name="connsiteX536" fmla="*/ 8876 w 10354"/>
                  <a:gd name="connsiteY536" fmla="*/ 7265 h 10000"/>
                  <a:gd name="connsiteX537" fmla="*/ 8885 w 10354"/>
                  <a:gd name="connsiteY537" fmla="*/ 7282 h 10000"/>
                  <a:gd name="connsiteX538" fmla="*/ 8889 w 10354"/>
                  <a:gd name="connsiteY538" fmla="*/ 7282 h 10000"/>
                  <a:gd name="connsiteX539" fmla="*/ 8903 w 10354"/>
                  <a:gd name="connsiteY539" fmla="*/ 7239 h 10000"/>
                  <a:gd name="connsiteX540" fmla="*/ 8903 w 10354"/>
                  <a:gd name="connsiteY540" fmla="*/ 7214 h 10000"/>
                  <a:gd name="connsiteX541" fmla="*/ 8899 w 10354"/>
                  <a:gd name="connsiteY541" fmla="*/ 7128 h 10000"/>
                  <a:gd name="connsiteX542" fmla="*/ 8889 w 10354"/>
                  <a:gd name="connsiteY542" fmla="*/ 7120 h 10000"/>
                  <a:gd name="connsiteX543" fmla="*/ 8871 w 10354"/>
                  <a:gd name="connsiteY543" fmla="*/ 7120 h 10000"/>
                  <a:gd name="connsiteX544" fmla="*/ 8871 w 10354"/>
                  <a:gd name="connsiteY544" fmla="*/ 7120 h 10000"/>
                  <a:gd name="connsiteX545" fmla="*/ 8871 w 10354"/>
                  <a:gd name="connsiteY545" fmla="*/ 6991 h 10000"/>
                  <a:gd name="connsiteX546" fmla="*/ 8871 w 10354"/>
                  <a:gd name="connsiteY546" fmla="*/ 6966 h 10000"/>
                  <a:gd name="connsiteX547" fmla="*/ 8889 w 10354"/>
                  <a:gd name="connsiteY547" fmla="*/ 6940 h 10000"/>
                  <a:gd name="connsiteX548" fmla="*/ 8903 w 10354"/>
                  <a:gd name="connsiteY548" fmla="*/ 6906 h 10000"/>
                  <a:gd name="connsiteX549" fmla="*/ 8899 w 10354"/>
                  <a:gd name="connsiteY549" fmla="*/ 6880 h 10000"/>
                  <a:gd name="connsiteX550" fmla="*/ 8866 w 10354"/>
                  <a:gd name="connsiteY550" fmla="*/ 6846 h 10000"/>
                  <a:gd name="connsiteX551" fmla="*/ 8853 w 10354"/>
                  <a:gd name="connsiteY551" fmla="*/ 6846 h 10000"/>
                  <a:gd name="connsiteX552" fmla="*/ 8843 w 10354"/>
                  <a:gd name="connsiteY552" fmla="*/ 6880 h 10000"/>
                  <a:gd name="connsiteX553" fmla="*/ 8843 w 10354"/>
                  <a:gd name="connsiteY553" fmla="*/ 6897 h 10000"/>
                  <a:gd name="connsiteX554" fmla="*/ 8829 w 10354"/>
                  <a:gd name="connsiteY554" fmla="*/ 6880 h 10000"/>
                  <a:gd name="connsiteX555" fmla="*/ 8825 w 10354"/>
                  <a:gd name="connsiteY555" fmla="*/ 6872 h 10000"/>
                  <a:gd name="connsiteX556" fmla="*/ 8816 w 10354"/>
                  <a:gd name="connsiteY556" fmla="*/ 6846 h 10000"/>
                  <a:gd name="connsiteX557" fmla="*/ 8816 w 10354"/>
                  <a:gd name="connsiteY557" fmla="*/ 6803 h 10000"/>
                  <a:gd name="connsiteX558" fmla="*/ 8876 w 10354"/>
                  <a:gd name="connsiteY558" fmla="*/ 6598 h 10000"/>
                  <a:gd name="connsiteX559" fmla="*/ 8876 w 10354"/>
                  <a:gd name="connsiteY559" fmla="*/ 6573 h 10000"/>
                  <a:gd name="connsiteX560" fmla="*/ 8885 w 10354"/>
                  <a:gd name="connsiteY560" fmla="*/ 6556 h 10000"/>
                  <a:gd name="connsiteX561" fmla="*/ 8899 w 10354"/>
                  <a:gd name="connsiteY561" fmla="*/ 6573 h 10000"/>
                  <a:gd name="connsiteX562" fmla="*/ 8889 w 10354"/>
                  <a:gd name="connsiteY562" fmla="*/ 6556 h 10000"/>
                  <a:gd name="connsiteX563" fmla="*/ 8889 w 10354"/>
                  <a:gd name="connsiteY563" fmla="*/ 6530 h 10000"/>
                  <a:gd name="connsiteX564" fmla="*/ 8903 w 10354"/>
                  <a:gd name="connsiteY564" fmla="*/ 6521 h 10000"/>
                  <a:gd name="connsiteX565" fmla="*/ 8903 w 10354"/>
                  <a:gd name="connsiteY565" fmla="*/ 6504 h 10000"/>
                  <a:gd name="connsiteX566" fmla="*/ 8903 w 10354"/>
                  <a:gd name="connsiteY566" fmla="*/ 6487 h 10000"/>
                  <a:gd name="connsiteX567" fmla="*/ 8903 w 10354"/>
                  <a:gd name="connsiteY567" fmla="*/ 6462 h 10000"/>
                  <a:gd name="connsiteX568" fmla="*/ 8912 w 10354"/>
                  <a:gd name="connsiteY568" fmla="*/ 6419 h 10000"/>
                  <a:gd name="connsiteX569" fmla="*/ 8917 w 10354"/>
                  <a:gd name="connsiteY569" fmla="*/ 6393 h 10000"/>
                  <a:gd name="connsiteX570" fmla="*/ 8926 w 10354"/>
                  <a:gd name="connsiteY570" fmla="*/ 6385 h 10000"/>
                  <a:gd name="connsiteX571" fmla="*/ 8931 w 10354"/>
                  <a:gd name="connsiteY571" fmla="*/ 6385 h 10000"/>
                  <a:gd name="connsiteX572" fmla="*/ 8949 w 10354"/>
                  <a:gd name="connsiteY572" fmla="*/ 6359 h 10000"/>
                  <a:gd name="connsiteX573" fmla="*/ 8959 w 10354"/>
                  <a:gd name="connsiteY573" fmla="*/ 6368 h 10000"/>
                  <a:gd name="connsiteX574" fmla="*/ 8963 w 10354"/>
                  <a:gd name="connsiteY574" fmla="*/ 6385 h 10000"/>
                  <a:gd name="connsiteX575" fmla="*/ 8972 w 10354"/>
                  <a:gd name="connsiteY575" fmla="*/ 6359 h 10000"/>
                  <a:gd name="connsiteX576" fmla="*/ 8991 w 10354"/>
                  <a:gd name="connsiteY576" fmla="*/ 6350 h 10000"/>
                  <a:gd name="connsiteX577" fmla="*/ 9000 w 10354"/>
                  <a:gd name="connsiteY577" fmla="*/ 6368 h 10000"/>
                  <a:gd name="connsiteX578" fmla="*/ 9005 w 10354"/>
                  <a:gd name="connsiteY578" fmla="*/ 6393 h 10000"/>
                  <a:gd name="connsiteX579" fmla="*/ 9018 w 10354"/>
                  <a:gd name="connsiteY579" fmla="*/ 6393 h 10000"/>
                  <a:gd name="connsiteX580" fmla="*/ 9023 w 10354"/>
                  <a:gd name="connsiteY580" fmla="*/ 6359 h 10000"/>
                  <a:gd name="connsiteX581" fmla="*/ 9023 w 10354"/>
                  <a:gd name="connsiteY581" fmla="*/ 6333 h 10000"/>
                  <a:gd name="connsiteX582" fmla="*/ 9037 w 10354"/>
                  <a:gd name="connsiteY582" fmla="*/ 6308 h 10000"/>
                  <a:gd name="connsiteX583" fmla="*/ 9074 w 10354"/>
                  <a:gd name="connsiteY583" fmla="*/ 6274 h 10000"/>
                  <a:gd name="connsiteX584" fmla="*/ 9092 w 10354"/>
                  <a:gd name="connsiteY584" fmla="*/ 6222 h 10000"/>
                  <a:gd name="connsiteX585" fmla="*/ 9097 w 10354"/>
                  <a:gd name="connsiteY585" fmla="*/ 6231 h 10000"/>
                  <a:gd name="connsiteX586" fmla="*/ 9097 w 10354"/>
                  <a:gd name="connsiteY586" fmla="*/ 6248 h 10000"/>
                  <a:gd name="connsiteX587" fmla="*/ 9097 w 10354"/>
                  <a:gd name="connsiteY587" fmla="*/ 6274 h 10000"/>
                  <a:gd name="connsiteX588" fmla="*/ 9097 w 10354"/>
                  <a:gd name="connsiteY588" fmla="*/ 6308 h 10000"/>
                  <a:gd name="connsiteX589" fmla="*/ 9092 w 10354"/>
                  <a:gd name="connsiteY589" fmla="*/ 6368 h 10000"/>
                  <a:gd name="connsiteX590" fmla="*/ 9092 w 10354"/>
                  <a:gd name="connsiteY590" fmla="*/ 6385 h 10000"/>
                  <a:gd name="connsiteX591" fmla="*/ 9092 w 10354"/>
                  <a:gd name="connsiteY591" fmla="*/ 6393 h 10000"/>
                  <a:gd name="connsiteX592" fmla="*/ 9092 w 10354"/>
                  <a:gd name="connsiteY592" fmla="*/ 6393 h 10000"/>
                  <a:gd name="connsiteX593" fmla="*/ 9143 w 10354"/>
                  <a:gd name="connsiteY593" fmla="*/ 6299 h 10000"/>
                  <a:gd name="connsiteX594" fmla="*/ 9143 w 10354"/>
                  <a:gd name="connsiteY594" fmla="*/ 6282 h 10000"/>
                  <a:gd name="connsiteX595" fmla="*/ 9143 w 10354"/>
                  <a:gd name="connsiteY595" fmla="*/ 6256 h 10000"/>
                  <a:gd name="connsiteX596" fmla="*/ 9143 w 10354"/>
                  <a:gd name="connsiteY596" fmla="*/ 6256 h 10000"/>
                  <a:gd name="connsiteX597" fmla="*/ 9157 w 10354"/>
                  <a:gd name="connsiteY597" fmla="*/ 6274 h 10000"/>
                  <a:gd name="connsiteX598" fmla="*/ 9166 w 10354"/>
                  <a:gd name="connsiteY598" fmla="*/ 6248 h 10000"/>
                  <a:gd name="connsiteX599" fmla="*/ 9180 w 10354"/>
                  <a:gd name="connsiteY599" fmla="*/ 6248 h 10000"/>
                  <a:gd name="connsiteX600" fmla="*/ 9198 w 10354"/>
                  <a:gd name="connsiteY600" fmla="*/ 6222 h 10000"/>
                  <a:gd name="connsiteX601" fmla="*/ 9212 w 10354"/>
                  <a:gd name="connsiteY601" fmla="*/ 6222 h 10000"/>
                  <a:gd name="connsiteX602" fmla="*/ 9226 w 10354"/>
                  <a:gd name="connsiteY602" fmla="*/ 6197 h 10000"/>
                  <a:gd name="connsiteX603" fmla="*/ 9230 w 10354"/>
                  <a:gd name="connsiteY603" fmla="*/ 6214 h 10000"/>
                  <a:gd name="connsiteX604" fmla="*/ 9272 w 10354"/>
                  <a:gd name="connsiteY604" fmla="*/ 6214 h 10000"/>
                  <a:gd name="connsiteX605" fmla="*/ 9304 w 10354"/>
                  <a:gd name="connsiteY605" fmla="*/ 6231 h 10000"/>
                  <a:gd name="connsiteX606" fmla="*/ 9318 w 10354"/>
                  <a:gd name="connsiteY606" fmla="*/ 6248 h 10000"/>
                  <a:gd name="connsiteX607" fmla="*/ 9327 w 10354"/>
                  <a:gd name="connsiteY607" fmla="*/ 6282 h 10000"/>
                  <a:gd name="connsiteX608" fmla="*/ 9355 w 10354"/>
                  <a:gd name="connsiteY608" fmla="*/ 6350 h 10000"/>
                  <a:gd name="connsiteX609" fmla="*/ 9355 w 10354"/>
                  <a:gd name="connsiteY609" fmla="*/ 6359 h 10000"/>
                  <a:gd name="connsiteX610" fmla="*/ 9364 w 10354"/>
                  <a:gd name="connsiteY610" fmla="*/ 6368 h 10000"/>
                  <a:gd name="connsiteX611" fmla="*/ 9373 w 10354"/>
                  <a:gd name="connsiteY611" fmla="*/ 6359 h 10000"/>
                  <a:gd name="connsiteX612" fmla="*/ 9373 w 10354"/>
                  <a:gd name="connsiteY612" fmla="*/ 6325 h 10000"/>
                  <a:gd name="connsiteX613" fmla="*/ 9387 w 10354"/>
                  <a:gd name="connsiteY613" fmla="*/ 6256 h 10000"/>
                  <a:gd name="connsiteX614" fmla="*/ 9387 w 10354"/>
                  <a:gd name="connsiteY614" fmla="*/ 6248 h 10000"/>
                  <a:gd name="connsiteX615" fmla="*/ 9378 w 10354"/>
                  <a:gd name="connsiteY615" fmla="*/ 6248 h 10000"/>
                  <a:gd name="connsiteX616" fmla="*/ 9406 w 10354"/>
                  <a:gd name="connsiteY616" fmla="*/ 6222 h 10000"/>
                  <a:gd name="connsiteX617" fmla="*/ 9415 w 10354"/>
                  <a:gd name="connsiteY617" fmla="*/ 6222 h 10000"/>
                  <a:gd name="connsiteX618" fmla="*/ 9415 w 10354"/>
                  <a:gd name="connsiteY618" fmla="*/ 6197 h 10000"/>
                  <a:gd name="connsiteX619" fmla="*/ 9419 w 10354"/>
                  <a:gd name="connsiteY619" fmla="*/ 6214 h 10000"/>
                  <a:gd name="connsiteX620" fmla="*/ 9424 w 10354"/>
                  <a:gd name="connsiteY620" fmla="*/ 6214 h 10000"/>
                  <a:gd name="connsiteX621" fmla="*/ 9447 w 10354"/>
                  <a:gd name="connsiteY621" fmla="*/ 6171 h 10000"/>
                  <a:gd name="connsiteX622" fmla="*/ 9452 w 10354"/>
                  <a:gd name="connsiteY622" fmla="*/ 6171 h 10000"/>
                  <a:gd name="connsiteX623" fmla="*/ 9452 w 10354"/>
                  <a:gd name="connsiteY623" fmla="*/ 6162 h 10000"/>
                  <a:gd name="connsiteX624" fmla="*/ 9461 w 10354"/>
                  <a:gd name="connsiteY624" fmla="*/ 6137 h 10000"/>
                  <a:gd name="connsiteX625" fmla="*/ 9475 w 10354"/>
                  <a:gd name="connsiteY625" fmla="*/ 6137 h 10000"/>
                  <a:gd name="connsiteX626" fmla="*/ 9475 w 10354"/>
                  <a:gd name="connsiteY626" fmla="*/ 6137 h 10000"/>
                  <a:gd name="connsiteX627" fmla="*/ 9479 w 10354"/>
                  <a:gd name="connsiteY627" fmla="*/ 6120 h 10000"/>
                  <a:gd name="connsiteX628" fmla="*/ 9488 w 10354"/>
                  <a:gd name="connsiteY628" fmla="*/ 6120 h 10000"/>
                  <a:gd name="connsiteX629" fmla="*/ 9488 w 10354"/>
                  <a:gd name="connsiteY629" fmla="*/ 6111 h 10000"/>
                  <a:gd name="connsiteX630" fmla="*/ 9479 w 10354"/>
                  <a:gd name="connsiteY630" fmla="*/ 6103 h 10000"/>
                  <a:gd name="connsiteX631" fmla="*/ 9479 w 10354"/>
                  <a:gd name="connsiteY631" fmla="*/ 6085 h 10000"/>
                  <a:gd name="connsiteX632" fmla="*/ 9488 w 10354"/>
                  <a:gd name="connsiteY632" fmla="*/ 6103 h 10000"/>
                  <a:gd name="connsiteX633" fmla="*/ 9493 w 10354"/>
                  <a:gd name="connsiteY633" fmla="*/ 6111 h 10000"/>
                  <a:gd name="connsiteX634" fmla="*/ 9498 w 10354"/>
                  <a:gd name="connsiteY634" fmla="*/ 6103 h 10000"/>
                  <a:gd name="connsiteX635" fmla="*/ 9507 w 10354"/>
                  <a:gd name="connsiteY635" fmla="*/ 6077 h 10000"/>
                  <a:gd name="connsiteX636" fmla="*/ 9498 w 10354"/>
                  <a:gd name="connsiteY636" fmla="*/ 6060 h 10000"/>
                  <a:gd name="connsiteX637" fmla="*/ 9512 w 10354"/>
                  <a:gd name="connsiteY637" fmla="*/ 6060 h 10000"/>
                  <a:gd name="connsiteX638" fmla="*/ 9525 w 10354"/>
                  <a:gd name="connsiteY638" fmla="*/ 6034 h 10000"/>
                  <a:gd name="connsiteX639" fmla="*/ 9535 w 10354"/>
                  <a:gd name="connsiteY639" fmla="*/ 6034 h 10000"/>
                  <a:gd name="connsiteX640" fmla="*/ 9535 w 10354"/>
                  <a:gd name="connsiteY640" fmla="*/ 6026 h 10000"/>
                  <a:gd name="connsiteX641" fmla="*/ 9525 w 10354"/>
                  <a:gd name="connsiteY641" fmla="*/ 6009 h 10000"/>
                  <a:gd name="connsiteX642" fmla="*/ 9535 w 10354"/>
                  <a:gd name="connsiteY642" fmla="*/ 6000 h 10000"/>
                  <a:gd name="connsiteX643" fmla="*/ 9539 w 10354"/>
                  <a:gd name="connsiteY643" fmla="*/ 6009 h 10000"/>
                  <a:gd name="connsiteX644" fmla="*/ 9548 w 10354"/>
                  <a:gd name="connsiteY644" fmla="*/ 6009 h 10000"/>
                  <a:gd name="connsiteX645" fmla="*/ 9553 w 10354"/>
                  <a:gd name="connsiteY645" fmla="*/ 6000 h 10000"/>
                  <a:gd name="connsiteX646" fmla="*/ 9562 w 10354"/>
                  <a:gd name="connsiteY646" fmla="*/ 5983 h 10000"/>
                  <a:gd name="connsiteX647" fmla="*/ 9562 w 10354"/>
                  <a:gd name="connsiteY647" fmla="*/ 5974 h 10000"/>
                  <a:gd name="connsiteX648" fmla="*/ 9567 w 10354"/>
                  <a:gd name="connsiteY648" fmla="*/ 5974 h 10000"/>
                  <a:gd name="connsiteX649" fmla="*/ 9567 w 10354"/>
                  <a:gd name="connsiteY649" fmla="*/ 5966 h 10000"/>
                  <a:gd name="connsiteX650" fmla="*/ 9567 w 10354"/>
                  <a:gd name="connsiteY650" fmla="*/ 5940 h 10000"/>
                  <a:gd name="connsiteX651" fmla="*/ 9571 w 10354"/>
                  <a:gd name="connsiteY651" fmla="*/ 5915 h 10000"/>
                  <a:gd name="connsiteX652" fmla="*/ 9581 w 10354"/>
                  <a:gd name="connsiteY652" fmla="*/ 5923 h 10000"/>
                  <a:gd name="connsiteX653" fmla="*/ 9585 w 10354"/>
                  <a:gd name="connsiteY653" fmla="*/ 5940 h 10000"/>
                  <a:gd name="connsiteX654" fmla="*/ 9594 w 10354"/>
                  <a:gd name="connsiteY654" fmla="*/ 5949 h 10000"/>
                  <a:gd name="connsiteX655" fmla="*/ 9599 w 10354"/>
                  <a:gd name="connsiteY655" fmla="*/ 5940 h 10000"/>
                  <a:gd name="connsiteX656" fmla="*/ 9613 w 10354"/>
                  <a:gd name="connsiteY656" fmla="*/ 5915 h 10000"/>
                  <a:gd name="connsiteX657" fmla="*/ 9645 w 10354"/>
                  <a:gd name="connsiteY657" fmla="*/ 5889 h 10000"/>
                  <a:gd name="connsiteX658" fmla="*/ 9654 w 10354"/>
                  <a:gd name="connsiteY658" fmla="*/ 5872 h 10000"/>
                  <a:gd name="connsiteX659" fmla="*/ 9673 w 10354"/>
                  <a:gd name="connsiteY659" fmla="*/ 5863 h 10000"/>
                  <a:gd name="connsiteX660" fmla="*/ 9682 w 10354"/>
                  <a:gd name="connsiteY660" fmla="*/ 5838 h 10000"/>
                  <a:gd name="connsiteX661" fmla="*/ 9682 w 10354"/>
                  <a:gd name="connsiteY661" fmla="*/ 5829 h 10000"/>
                  <a:gd name="connsiteX662" fmla="*/ 9682 w 10354"/>
                  <a:gd name="connsiteY662" fmla="*/ 5812 h 10000"/>
                  <a:gd name="connsiteX663" fmla="*/ 9687 w 10354"/>
                  <a:gd name="connsiteY663" fmla="*/ 5812 h 10000"/>
                  <a:gd name="connsiteX664" fmla="*/ 9687 w 10354"/>
                  <a:gd name="connsiteY664" fmla="*/ 5829 h 10000"/>
                  <a:gd name="connsiteX665" fmla="*/ 9687 w 10354"/>
                  <a:gd name="connsiteY665" fmla="*/ 5829 h 10000"/>
                  <a:gd name="connsiteX666" fmla="*/ 9719 w 10354"/>
                  <a:gd name="connsiteY666" fmla="*/ 5803 h 10000"/>
                  <a:gd name="connsiteX667" fmla="*/ 9728 w 10354"/>
                  <a:gd name="connsiteY667" fmla="*/ 5803 h 10000"/>
                  <a:gd name="connsiteX668" fmla="*/ 9779 w 10354"/>
                  <a:gd name="connsiteY668" fmla="*/ 5726 h 10000"/>
                  <a:gd name="connsiteX669" fmla="*/ 9816 w 10354"/>
                  <a:gd name="connsiteY669" fmla="*/ 5709 h 10000"/>
                  <a:gd name="connsiteX670" fmla="*/ 9820 w 10354"/>
                  <a:gd name="connsiteY670" fmla="*/ 5701 h 10000"/>
                  <a:gd name="connsiteX671" fmla="*/ 9816 w 10354"/>
                  <a:gd name="connsiteY671" fmla="*/ 5692 h 10000"/>
                  <a:gd name="connsiteX672" fmla="*/ 9816 w 10354"/>
                  <a:gd name="connsiteY672" fmla="*/ 5692 h 10000"/>
                  <a:gd name="connsiteX673" fmla="*/ 9802 w 10354"/>
                  <a:gd name="connsiteY673" fmla="*/ 5624 h 10000"/>
                  <a:gd name="connsiteX674" fmla="*/ 9806 w 10354"/>
                  <a:gd name="connsiteY674" fmla="*/ 5624 h 10000"/>
                  <a:gd name="connsiteX675" fmla="*/ 9820 w 10354"/>
                  <a:gd name="connsiteY675" fmla="*/ 5675 h 10000"/>
                  <a:gd name="connsiteX676" fmla="*/ 9829 w 10354"/>
                  <a:gd name="connsiteY676" fmla="*/ 5675 h 10000"/>
                  <a:gd name="connsiteX677" fmla="*/ 9829 w 10354"/>
                  <a:gd name="connsiteY677" fmla="*/ 5692 h 10000"/>
                  <a:gd name="connsiteX678" fmla="*/ 9829 w 10354"/>
                  <a:gd name="connsiteY678" fmla="*/ 5701 h 10000"/>
                  <a:gd name="connsiteX679" fmla="*/ 9839 w 10354"/>
                  <a:gd name="connsiteY679" fmla="*/ 5701 h 10000"/>
                  <a:gd name="connsiteX680" fmla="*/ 9839 w 10354"/>
                  <a:gd name="connsiteY680" fmla="*/ 5692 h 10000"/>
                  <a:gd name="connsiteX681" fmla="*/ 9839 w 10354"/>
                  <a:gd name="connsiteY681" fmla="*/ 5675 h 10000"/>
                  <a:gd name="connsiteX682" fmla="*/ 9848 w 10354"/>
                  <a:gd name="connsiteY682" fmla="*/ 5675 h 10000"/>
                  <a:gd name="connsiteX683" fmla="*/ 9848 w 10354"/>
                  <a:gd name="connsiteY683" fmla="*/ 5692 h 10000"/>
                  <a:gd name="connsiteX684" fmla="*/ 9853 w 10354"/>
                  <a:gd name="connsiteY684" fmla="*/ 5701 h 10000"/>
                  <a:gd name="connsiteX685" fmla="*/ 9880 w 10354"/>
                  <a:gd name="connsiteY685" fmla="*/ 5709 h 10000"/>
                  <a:gd name="connsiteX686" fmla="*/ 9912 w 10354"/>
                  <a:gd name="connsiteY686" fmla="*/ 5752 h 10000"/>
                  <a:gd name="connsiteX687" fmla="*/ 9926 w 10354"/>
                  <a:gd name="connsiteY687" fmla="*/ 5761 h 10000"/>
                  <a:gd name="connsiteX688" fmla="*/ 9935 w 10354"/>
                  <a:gd name="connsiteY688" fmla="*/ 5761 h 10000"/>
                  <a:gd name="connsiteX689" fmla="*/ 9940 w 10354"/>
                  <a:gd name="connsiteY689" fmla="*/ 5735 h 10000"/>
                  <a:gd name="connsiteX690" fmla="*/ 9949 w 10354"/>
                  <a:gd name="connsiteY690" fmla="*/ 5735 h 10000"/>
                  <a:gd name="connsiteX691" fmla="*/ 9968 w 10354"/>
                  <a:gd name="connsiteY691" fmla="*/ 5692 h 10000"/>
                  <a:gd name="connsiteX692" fmla="*/ 9968 w 10354"/>
                  <a:gd name="connsiteY692" fmla="*/ 5650 h 10000"/>
                  <a:gd name="connsiteX693" fmla="*/ 9968 w 10354"/>
                  <a:gd name="connsiteY693" fmla="*/ 5624 h 10000"/>
                  <a:gd name="connsiteX694" fmla="*/ 9935 w 10354"/>
                  <a:gd name="connsiteY694" fmla="*/ 5598 h 10000"/>
                  <a:gd name="connsiteX695" fmla="*/ 9935 w 10354"/>
                  <a:gd name="connsiteY695" fmla="*/ 5590 h 10000"/>
                  <a:gd name="connsiteX696" fmla="*/ 9935 w 10354"/>
                  <a:gd name="connsiteY696" fmla="*/ 5573 h 10000"/>
                  <a:gd name="connsiteX697" fmla="*/ 9935 w 10354"/>
                  <a:gd name="connsiteY697" fmla="*/ 5573 h 10000"/>
                  <a:gd name="connsiteX698" fmla="*/ 9940 w 10354"/>
                  <a:gd name="connsiteY698" fmla="*/ 5573 h 10000"/>
                  <a:gd name="connsiteX699" fmla="*/ 9954 w 10354"/>
                  <a:gd name="connsiteY699" fmla="*/ 5573 h 10000"/>
                  <a:gd name="connsiteX700" fmla="*/ 9963 w 10354"/>
                  <a:gd name="connsiteY700" fmla="*/ 5564 h 10000"/>
                  <a:gd name="connsiteX701" fmla="*/ 9954 w 10354"/>
                  <a:gd name="connsiteY701" fmla="*/ 5530 h 10000"/>
                  <a:gd name="connsiteX702" fmla="*/ 9949 w 10354"/>
                  <a:gd name="connsiteY702" fmla="*/ 5530 h 10000"/>
                  <a:gd name="connsiteX703" fmla="*/ 9926 w 10354"/>
                  <a:gd name="connsiteY703" fmla="*/ 5479 h 10000"/>
                  <a:gd name="connsiteX704" fmla="*/ 9912 w 10354"/>
                  <a:gd name="connsiteY704" fmla="*/ 5325 h 10000"/>
                  <a:gd name="connsiteX705" fmla="*/ 9903 w 10354"/>
                  <a:gd name="connsiteY705" fmla="*/ 5342 h 10000"/>
                  <a:gd name="connsiteX706" fmla="*/ 9889 w 10354"/>
                  <a:gd name="connsiteY706" fmla="*/ 5316 h 10000"/>
                  <a:gd name="connsiteX707" fmla="*/ 9889 w 10354"/>
                  <a:gd name="connsiteY707" fmla="*/ 5291 h 10000"/>
                  <a:gd name="connsiteX708" fmla="*/ 9903 w 10354"/>
                  <a:gd name="connsiteY708" fmla="*/ 5291 h 10000"/>
                  <a:gd name="connsiteX709" fmla="*/ 9903 w 10354"/>
                  <a:gd name="connsiteY709" fmla="*/ 5291 h 10000"/>
                  <a:gd name="connsiteX710" fmla="*/ 9894 w 10354"/>
                  <a:gd name="connsiteY710" fmla="*/ 5214 h 10000"/>
                  <a:gd name="connsiteX711" fmla="*/ 9880 w 10354"/>
                  <a:gd name="connsiteY711" fmla="*/ 5239 h 10000"/>
                  <a:gd name="connsiteX712" fmla="*/ 9876 w 10354"/>
                  <a:gd name="connsiteY712" fmla="*/ 5256 h 10000"/>
                  <a:gd name="connsiteX713" fmla="*/ 9862 w 10354"/>
                  <a:gd name="connsiteY713" fmla="*/ 5239 h 10000"/>
                  <a:gd name="connsiteX714" fmla="*/ 9853 w 10354"/>
                  <a:gd name="connsiteY714" fmla="*/ 5214 h 10000"/>
                  <a:gd name="connsiteX715" fmla="*/ 9839 w 10354"/>
                  <a:gd name="connsiteY715" fmla="*/ 5214 h 10000"/>
                  <a:gd name="connsiteX716" fmla="*/ 9834 w 10354"/>
                  <a:gd name="connsiteY716" fmla="*/ 5188 h 10000"/>
                  <a:gd name="connsiteX717" fmla="*/ 9834 w 10354"/>
                  <a:gd name="connsiteY717" fmla="*/ 5103 h 10000"/>
                  <a:gd name="connsiteX718" fmla="*/ 9839 w 10354"/>
                  <a:gd name="connsiteY718" fmla="*/ 5094 h 10000"/>
                  <a:gd name="connsiteX719" fmla="*/ 9853 w 10354"/>
                  <a:gd name="connsiteY719" fmla="*/ 5103 h 10000"/>
                  <a:gd name="connsiteX720" fmla="*/ 9876 w 10354"/>
                  <a:gd name="connsiteY720" fmla="*/ 5128 h 10000"/>
                  <a:gd name="connsiteX721" fmla="*/ 9889 w 10354"/>
                  <a:gd name="connsiteY721" fmla="*/ 5103 h 10000"/>
                  <a:gd name="connsiteX722" fmla="*/ 9880 w 10354"/>
                  <a:gd name="connsiteY722" fmla="*/ 5120 h 10000"/>
                  <a:gd name="connsiteX723" fmla="*/ 9889 w 10354"/>
                  <a:gd name="connsiteY723" fmla="*/ 5128 h 10000"/>
                  <a:gd name="connsiteX724" fmla="*/ 9912 w 10354"/>
                  <a:gd name="connsiteY724" fmla="*/ 5128 h 10000"/>
                  <a:gd name="connsiteX725" fmla="*/ 9908 w 10354"/>
                  <a:gd name="connsiteY725" fmla="*/ 5145 h 10000"/>
                  <a:gd name="connsiteX726" fmla="*/ 9908 w 10354"/>
                  <a:gd name="connsiteY726" fmla="*/ 5154 h 10000"/>
                  <a:gd name="connsiteX727" fmla="*/ 9922 w 10354"/>
                  <a:gd name="connsiteY727" fmla="*/ 5128 h 10000"/>
                  <a:gd name="connsiteX728" fmla="*/ 9935 w 10354"/>
                  <a:gd name="connsiteY728" fmla="*/ 5103 h 10000"/>
                  <a:gd name="connsiteX729" fmla="*/ 9968 w 10354"/>
                  <a:gd name="connsiteY729" fmla="*/ 5077 h 10000"/>
                  <a:gd name="connsiteX730" fmla="*/ 10000 w 10354"/>
                  <a:gd name="connsiteY730" fmla="*/ 5017 h 10000"/>
                  <a:gd name="connsiteX731" fmla="*/ 10354 w 10354"/>
                  <a:gd name="connsiteY731" fmla="*/ 4302 h 10000"/>
                  <a:gd name="connsiteX732" fmla="*/ 9912 w 10354"/>
                  <a:gd name="connsiteY732" fmla="*/ 3675 h 10000"/>
                  <a:gd name="connsiteX733" fmla="*/ 9903 w 10354"/>
                  <a:gd name="connsiteY733" fmla="*/ 3667 h 10000"/>
                  <a:gd name="connsiteX734" fmla="*/ 9894 w 10354"/>
                  <a:gd name="connsiteY734" fmla="*/ 3641 h 10000"/>
                  <a:gd name="connsiteX735" fmla="*/ 9889 w 10354"/>
                  <a:gd name="connsiteY735" fmla="*/ 3650 h 10000"/>
                  <a:gd name="connsiteX736" fmla="*/ 9848 w 10354"/>
                  <a:gd name="connsiteY736" fmla="*/ 3598 h 10000"/>
                  <a:gd name="connsiteX737" fmla="*/ 9829 w 10354"/>
                  <a:gd name="connsiteY737" fmla="*/ 3581 h 10000"/>
                  <a:gd name="connsiteX738" fmla="*/ 9820 w 10354"/>
                  <a:gd name="connsiteY738" fmla="*/ 3581 h 10000"/>
                  <a:gd name="connsiteX739" fmla="*/ 9793 w 10354"/>
                  <a:gd name="connsiteY739" fmla="*/ 3556 h 10000"/>
                  <a:gd name="connsiteX740" fmla="*/ 9779 w 10354"/>
                  <a:gd name="connsiteY740" fmla="*/ 3556 h 10000"/>
                  <a:gd name="connsiteX741" fmla="*/ 9747 w 10354"/>
                  <a:gd name="connsiteY741" fmla="*/ 3487 h 10000"/>
                  <a:gd name="connsiteX742" fmla="*/ 9668 w 10354"/>
                  <a:gd name="connsiteY742" fmla="*/ 3479 h 10000"/>
                  <a:gd name="connsiteX743" fmla="*/ 9659 w 10354"/>
                  <a:gd name="connsiteY743" fmla="*/ 3487 h 10000"/>
                  <a:gd name="connsiteX744" fmla="*/ 9645 w 10354"/>
                  <a:gd name="connsiteY744" fmla="*/ 3504 h 10000"/>
                  <a:gd name="connsiteX745" fmla="*/ 9631 w 10354"/>
                  <a:gd name="connsiteY745" fmla="*/ 3487 h 10000"/>
                  <a:gd name="connsiteX746" fmla="*/ 9613 w 10354"/>
                  <a:gd name="connsiteY746" fmla="*/ 3479 h 10000"/>
                  <a:gd name="connsiteX747" fmla="*/ 9599 w 10354"/>
                  <a:gd name="connsiteY747" fmla="*/ 3479 h 10000"/>
                  <a:gd name="connsiteX748" fmla="*/ 9571 w 10354"/>
                  <a:gd name="connsiteY748" fmla="*/ 3479 h 10000"/>
                  <a:gd name="connsiteX749" fmla="*/ 9562 w 10354"/>
                  <a:gd name="connsiteY749" fmla="*/ 3487 h 10000"/>
                  <a:gd name="connsiteX750" fmla="*/ 9539 w 10354"/>
                  <a:gd name="connsiteY750" fmla="*/ 3487 h 10000"/>
                  <a:gd name="connsiteX751" fmla="*/ 9507 w 10354"/>
                  <a:gd name="connsiteY751" fmla="*/ 3453 h 10000"/>
                  <a:gd name="connsiteX752" fmla="*/ 9498 w 10354"/>
                  <a:gd name="connsiteY752" fmla="*/ 3453 h 10000"/>
                  <a:gd name="connsiteX753" fmla="*/ 9387 w 10354"/>
                  <a:gd name="connsiteY753" fmla="*/ 3419 h 10000"/>
                  <a:gd name="connsiteX754" fmla="*/ 9373 w 10354"/>
                  <a:gd name="connsiteY754" fmla="*/ 3427 h 10000"/>
                  <a:gd name="connsiteX755" fmla="*/ 9373 w 10354"/>
                  <a:gd name="connsiteY755" fmla="*/ 3462 h 10000"/>
                  <a:gd name="connsiteX756" fmla="*/ 9378 w 10354"/>
                  <a:gd name="connsiteY756" fmla="*/ 3479 h 10000"/>
                  <a:gd name="connsiteX757" fmla="*/ 9378 w 10354"/>
                  <a:gd name="connsiteY757" fmla="*/ 3530 h 10000"/>
                  <a:gd name="connsiteX758" fmla="*/ 9355 w 10354"/>
                  <a:gd name="connsiteY758" fmla="*/ 3538 h 10000"/>
                  <a:gd name="connsiteX759" fmla="*/ 9355 w 10354"/>
                  <a:gd name="connsiteY759" fmla="*/ 3581 h 10000"/>
                  <a:gd name="connsiteX760" fmla="*/ 9387 w 10354"/>
                  <a:gd name="connsiteY760" fmla="*/ 3590 h 10000"/>
                  <a:gd name="connsiteX761" fmla="*/ 9401 w 10354"/>
                  <a:gd name="connsiteY761" fmla="*/ 3667 h 10000"/>
                  <a:gd name="connsiteX762" fmla="*/ 9406 w 10354"/>
                  <a:gd name="connsiteY762" fmla="*/ 3675 h 10000"/>
                  <a:gd name="connsiteX763" fmla="*/ 9406 w 10354"/>
                  <a:gd name="connsiteY763" fmla="*/ 3701 h 10000"/>
                  <a:gd name="connsiteX764" fmla="*/ 9415 w 10354"/>
                  <a:gd name="connsiteY764" fmla="*/ 3752 h 10000"/>
                  <a:gd name="connsiteX765" fmla="*/ 9373 w 10354"/>
                  <a:gd name="connsiteY765" fmla="*/ 3838 h 10000"/>
                  <a:gd name="connsiteX766" fmla="*/ 9355 w 10354"/>
                  <a:gd name="connsiteY766" fmla="*/ 3863 h 10000"/>
                  <a:gd name="connsiteX767" fmla="*/ 9327 w 10354"/>
                  <a:gd name="connsiteY767" fmla="*/ 3863 h 10000"/>
                  <a:gd name="connsiteX768" fmla="*/ 9313 w 10354"/>
                  <a:gd name="connsiteY768" fmla="*/ 3846 h 10000"/>
                  <a:gd name="connsiteX769" fmla="*/ 9300 w 10354"/>
                  <a:gd name="connsiteY769" fmla="*/ 3778 h 10000"/>
                  <a:gd name="connsiteX770" fmla="*/ 9281 w 10354"/>
                  <a:gd name="connsiteY770" fmla="*/ 3752 h 10000"/>
                  <a:gd name="connsiteX771" fmla="*/ 9281 w 10354"/>
                  <a:gd name="connsiteY771" fmla="*/ 3735 h 10000"/>
                  <a:gd name="connsiteX772" fmla="*/ 9267 w 10354"/>
                  <a:gd name="connsiteY772" fmla="*/ 3726 h 10000"/>
                  <a:gd name="connsiteX773" fmla="*/ 9240 w 10354"/>
                  <a:gd name="connsiteY773" fmla="*/ 3726 h 10000"/>
                  <a:gd name="connsiteX774" fmla="*/ 9230 w 10354"/>
                  <a:gd name="connsiteY774" fmla="*/ 3718 h 10000"/>
                  <a:gd name="connsiteX775" fmla="*/ 9226 w 10354"/>
                  <a:gd name="connsiteY775" fmla="*/ 3590 h 10000"/>
                  <a:gd name="connsiteX776" fmla="*/ 9207 w 10354"/>
                  <a:gd name="connsiteY776" fmla="*/ 3581 h 10000"/>
                  <a:gd name="connsiteX777" fmla="*/ 9207 w 10354"/>
                  <a:gd name="connsiteY777" fmla="*/ 3556 h 10000"/>
                  <a:gd name="connsiteX778" fmla="*/ 9217 w 10354"/>
                  <a:gd name="connsiteY778" fmla="*/ 3538 h 10000"/>
                  <a:gd name="connsiteX779" fmla="*/ 9212 w 10354"/>
                  <a:gd name="connsiteY779" fmla="*/ 3538 h 10000"/>
                  <a:gd name="connsiteX780" fmla="*/ 9198 w 10354"/>
                  <a:gd name="connsiteY780" fmla="*/ 3513 h 10000"/>
                  <a:gd name="connsiteX781" fmla="*/ 9194 w 10354"/>
                  <a:gd name="connsiteY781" fmla="*/ 3530 h 10000"/>
                  <a:gd name="connsiteX782" fmla="*/ 9143 w 10354"/>
                  <a:gd name="connsiteY782" fmla="*/ 3615 h 10000"/>
                  <a:gd name="connsiteX783" fmla="*/ 9138 w 10354"/>
                  <a:gd name="connsiteY783" fmla="*/ 3615 h 10000"/>
                  <a:gd name="connsiteX784" fmla="*/ 9134 w 10354"/>
                  <a:gd name="connsiteY784" fmla="*/ 3615 h 10000"/>
                  <a:gd name="connsiteX785" fmla="*/ 9106 w 10354"/>
                  <a:gd name="connsiteY785" fmla="*/ 3615 h 10000"/>
                  <a:gd name="connsiteX786" fmla="*/ 9078 w 10354"/>
                  <a:gd name="connsiteY786" fmla="*/ 3590 h 10000"/>
                  <a:gd name="connsiteX787" fmla="*/ 9037 w 10354"/>
                  <a:gd name="connsiteY787" fmla="*/ 3581 h 10000"/>
                  <a:gd name="connsiteX788" fmla="*/ 9023 w 10354"/>
                  <a:gd name="connsiteY788" fmla="*/ 3590 h 10000"/>
                  <a:gd name="connsiteX789" fmla="*/ 9018 w 10354"/>
                  <a:gd name="connsiteY789" fmla="*/ 3590 h 10000"/>
                  <a:gd name="connsiteX790" fmla="*/ 9018 w 10354"/>
                  <a:gd name="connsiteY790" fmla="*/ 3590 h 10000"/>
                  <a:gd name="connsiteX791" fmla="*/ 8991 w 10354"/>
                  <a:gd name="connsiteY791" fmla="*/ 3590 h 10000"/>
                  <a:gd name="connsiteX792" fmla="*/ 8972 w 10354"/>
                  <a:gd name="connsiteY792" fmla="*/ 3581 h 10000"/>
                  <a:gd name="connsiteX793" fmla="*/ 8959 w 10354"/>
                  <a:gd name="connsiteY793" fmla="*/ 3513 h 10000"/>
                  <a:gd name="connsiteX794" fmla="*/ 8931 w 10354"/>
                  <a:gd name="connsiteY794" fmla="*/ 3538 h 10000"/>
                  <a:gd name="connsiteX795" fmla="*/ 8889 w 10354"/>
                  <a:gd name="connsiteY795" fmla="*/ 3538 h 10000"/>
                  <a:gd name="connsiteX796" fmla="*/ 8871 w 10354"/>
                  <a:gd name="connsiteY796" fmla="*/ 3556 h 10000"/>
                  <a:gd name="connsiteX797" fmla="*/ 8857 w 10354"/>
                  <a:gd name="connsiteY797" fmla="*/ 3538 h 10000"/>
                  <a:gd name="connsiteX798" fmla="*/ 8843 w 10354"/>
                  <a:gd name="connsiteY798" fmla="*/ 3538 h 10000"/>
                  <a:gd name="connsiteX799" fmla="*/ 8839 w 10354"/>
                  <a:gd name="connsiteY799" fmla="*/ 3556 h 10000"/>
                  <a:gd name="connsiteX800" fmla="*/ 8839 w 10354"/>
                  <a:gd name="connsiteY800" fmla="*/ 3581 h 10000"/>
                  <a:gd name="connsiteX801" fmla="*/ 8825 w 10354"/>
                  <a:gd name="connsiteY801" fmla="*/ 3564 h 10000"/>
                  <a:gd name="connsiteX802" fmla="*/ 8825 w 10354"/>
                  <a:gd name="connsiteY802" fmla="*/ 3615 h 10000"/>
                  <a:gd name="connsiteX803" fmla="*/ 8802 w 10354"/>
                  <a:gd name="connsiteY803" fmla="*/ 3598 h 10000"/>
                  <a:gd name="connsiteX804" fmla="*/ 8797 w 10354"/>
                  <a:gd name="connsiteY804" fmla="*/ 3641 h 10000"/>
                  <a:gd name="connsiteX805" fmla="*/ 8783 w 10354"/>
                  <a:gd name="connsiteY805" fmla="*/ 3667 h 10000"/>
                  <a:gd name="connsiteX806" fmla="*/ 8779 w 10354"/>
                  <a:gd name="connsiteY806" fmla="*/ 3650 h 10000"/>
                  <a:gd name="connsiteX807" fmla="*/ 8779 w 10354"/>
                  <a:gd name="connsiteY807" fmla="*/ 3615 h 10000"/>
                  <a:gd name="connsiteX808" fmla="*/ 8770 w 10354"/>
                  <a:gd name="connsiteY808" fmla="*/ 3590 h 10000"/>
                  <a:gd name="connsiteX809" fmla="*/ 8765 w 10354"/>
                  <a:gd name="connsiteY809" fmla="*/ 3598 h 10000"/>
                  <a:gd name="connsiteX810" fmla="*/ 8756 w 10354"/>
                  <a:gd name="connsiteY810" fmla="*/ 3590 h 10000"/>
                  <a:gd name="connsiteX811" fmla="*/ 8737 w 10354"/>
                  <a:gd name="connsiteY811" fmla="*/ 3556 h 10000"/>
                  <a:gd name="connsiteX812" fmla="*/ 8724 w 10354"/>
                  <a:gd name="connsiteY812" fmla="*/ 3538 h 10000"/>
                  <a:gd name="connsiteX813" fmla="*/ 8696 w 10354"/>
                  <a:gd name="connsiteY813" fmla="*/ 3538 h 10000"/>
                  <a:gd name="connsiteX814" fmla="*/ 8691 w 10354"/>
                  <a:gd name="connsiteY814" fmla="*/ 3513 h 10000"/>
                  <a:gd name="connsiteX815" fmla="*/ 8668 w 10354"/>
                  <a:gd name="connsiteY815" fmla="*/ 3504 h 10000"/>
                  <a:gd name="connsiteX816" fmla="*/ 8668 w 10354"/>
                  <a:gd name="connsiteY816" fmla="*/ 3487 h 10000"/>
                  <a:gd name="connsiteX817" fmla="*/ 8691 w 10354"/>
                  <a:gd name="connsiteY817" fmla="*/ 3350 h 10000"/>
                  <a:gd name="connsiteX818" fmla="*/ 8691 w 10354"/>
                  <a:gd name="connsiteY818" fmla="*/ 3291 h 10000"/>
                  <a:gd name="connsiteX819" fmla="*/ 8677 w 10354"/>
                  <a:gd name="connsiteY819" fmla="*/ 3239 h 10000"/>
                  <a:gd name="connsiteX820" fmla="*/ 8677 w 10354"/>
                  <a:gd name="connsiteY820" fmla="*/ 3231 h 10000"/>
                  <a:gd name="connsiteX821" fmla="*/ 8636 w 10354"/>
                  <a:gd name="connsiteY821" fmla="*/ 3128 h 10000"/>
                  <a:gd name="connsiteX822" fmla="*/ 8622 w 10354"/>
                  <a:gd name="connsiteY822" fmla="*/ 3120 h 10000"/>
                  <a:gd name="connsiteX823" fmla="*/ 8618 w 10354"/>
                  <a:gd name="connsiteY823" fmla="*/ 3094 h 10000"/>
                  <a:gd name="connsiteX824" fmla="*/ 8594 w 10354"/>
                  <a:gd name="connsiteY824" fmla="*/ 3077 h 10000"/>
                  <a:gd name="connsiteX825" fmla="*/ 8548 w 10354"/>
                  <a:gd name="connsiteY825" fmla="*/ 3077 h 10000"/>
                  <a:gd name="connsiteX826" fmla="*/ 8535 w 10354"/>
                  <a:gd name="connsiteY826" fmla="*/ 3068 h 10000"/>
                  <a:gd name="connsiteX827" fmla="*/ 8429 w 10354"/>
                  <a:gd name="connsiteY827" fmla="*/ 3077 h 10000"/>
                  <a:gd name="connsiteX828" fmla="*/ 8424 w 10354"/>
                  <a:gd name="connsiteY828" fmla="*/ 3077 h 10000"/>
                  <a:gd name="connsiteX829" fmla="*/ 8396 w 10354"/>
                  <a:gd name="connsiteY829" fmla="*/ 3077 h 10000"/>
                  <a:gd name="connsiteX830" fmla="*/ 8387 w 10354"/>
                  <a:gd name="connsiteY830" fmla="*/ 3094 h 10000"/>
                  <a:gd name="connsiteX831" fmla="*/ 8378 w 10354"/>
                  <a:gd name="connsiteY831" fmla="*/ 3094 h 10000"/>
                  <a:gd name="connsiteX832" fmla="*/ 8341 w 10354"/>
                  <a:gd name="connsiteY832" fmla="*/ 3077 h 10000"/>
                  <a:gd name="connsiteX833" fmla="*/ 8336 w 10354"/>
                  <a:gd name="connsiteY833" fmla="*/ 3077 h 10000"/>
                  <a:gd name="connsiteX834" fmla="*/ 8327 w 10354"/>
                  <a:gd name="connsiteY834" fmla="*/ 3103 h 10000"/>
                  <a:gd name="connsiteX835" fmla="*/ 8309 w 10354"/>
                  <a:gd name="connsiteY835" fmla="*/ 3120 h 10000"/>
                  <a:gd name="connsiteX836" fmla="*/ 8304 w 10354"/>
                  <a:gd name="connsiteY836" fmla="*/ 3103 h 10000"/>
                  <a:gd name="connsiteX837" fmla="*/ 8276 w 10354"/>
                  <a:gd name="connsiteY837" fmla="*/ 3103 h 10000"/>
                  <a:gd name="connsiteX838" fmla="*/ 8267 w 10354"/>
                  <a:gd name="connsiteY838" fmla="*/ 3120 h 10000"/>
                  <a:gd name="connsiteX839" fmla="*/ 8253 w 10354"/>
                  <a:gd name="connsiteY839" fmla="*/ 3103 h 10000"/>
                  <a:gd name="connsiteX840" fmla="*/ 8230 w 10354"/>
                  <a:gd name="connsiteY840" fmla="*/ 3128 h 10000"/>
                  <a:gd name="connsiteX841" fmla="*/ 8217 w 10354"/>
                  <a:gd name="connsiteY841" fmla="*/ 3128 h 10000"/>
                  <a:gd name="connsiteX842" fmla="*/ 8203 w 10354"/>
                  <a:gd name="connsiteY842" fmla="*/ 3154 h 10000"/>
                  <a:gd name="connsiteX843" fmla="*/ 8175 w 10354"/>
                  <a:gd name="connsiteY843" fmla="*/ 3094 h 10000"/>
                  <a:gd name="connsiteX844" fmla="*/ 8161 w 10354"/>
                  <a:gd name="connsiteY844" fmla="*/ 3094 h 10000"/>
                  <a:gd name="connsiteX845" fmla="*/ 8157 w 10354"/>
                  <a:gd name="connsiteY845" fmla="*/ 3077 h 10000"/>
                  <a:gd name="connsiteX846" fmla="*/ 8180 w 10354"/>
                  <a:gd name="connsiteY846" fmla="*/ 3068 h 10000"/>
                  <a:gd name="connsiteX847" fmla="*/ 8189 w 10354"/>
                  <a:gd name="connsiteY847" fmla="*/ 3043 h 10000"/>
                  <a:gd name="connsiteX848" fmla="*/ 8189 w 10354"/>
                  <a:gd name="connsiteY848" fmla="*/ 3017 h 10000"/>
                  <a:gd name="connsiteX849" fmla="*/ 8147 w 10354"/>
                  <a:gd name="connsiteY849" fmla="*/ 2940 h 10000"/>
                  <a:gd name="connsiteX850" fmla="*/ 8143 w 10354"/>
                  <a:gd name="connsiteY850" fmla="*/ 2915 h 10000"/>
                  <a:gd name="connsiteX851" fmla="*/ 8143 w 10354"/>
                  <a:gd name="connsiteY851" fmla="*/ 2906 h 10000"/>
                  <a:gd name="connsiteX852" fmla="*/ 8097 w 10354"/>
                  <a:gd name="connsiteY852" fmla="*/ 2932 h 10000"/>
                  <a:gd name="connsiteX853" fmla="*/ 8083 w 10354"/>
                  <a:gd name="connsiteY853" fmla="*/ 2932 h 10000"/>
                  <a:gd name="connsiteX854" fmla="*/ 8074 w 10354"/>
                  <a:gd name="connsiteY854" fmla="*/ 2906 h 10000"/>
                  <a:gd name="connsiteX855" fmla="*/ 8074 w 10354"/>
                  <a:gd name="connsiteY855" fmla="*/ 2897 h 10000"/>
                  <a:gd name="connsiteX856" fmla="*/ 8055 w 10354"/>
                  <a:gd name="connsiteY856" fmla="*/ 2872 h 10000"/>
                  <a:gd name="connsiteX857" fmla="*/ 8046 w 10354"/>
                  <a:gd name="connsiteY857" fmla="*/ 2829 h 10000"/>
                  <a:gd name="connsiteX858" fmla="*/ 8041 w 10354"/>
                  <a:gd name="connsiteY858" fmla="*/ 2829 h 10000"/>
                  <a:gd name="connsiteX859" fmla="*/ 8023 w 10354"/>
                  <a:gd name="connsiteY859" fmla="*/ 2803 h 10000"/>
                  <a:gd name="connsiteX860" fmla="*/ 8014 w 10354"/>
                  <a:gd name="connsiteY860" fmla="*/ 2829 h 10000"/>
                  <a:gd name="connsiteX861" fmla="*/ 8000 w 10354"/>
                  <a:gd name="connsiteY861" fmla="*/ 2829 h 10000"/>
                  <a:gd name="connsiteX862" fmla="*/ 7995 w 10354"/>
                  <a:gd name="connsiteY862" fmla="*/ 2821 h 10000"/>
                  <a:gd name="connsiteX863" fmla="*/ 7972 w 10354"/>
                  <a:gd name="connsiteY863" fmla="*/ 2803 h 10000"/>
                  <a:gd name="connsiteX864" fmla="*/ 7968 w 10354"/>
                  <a:gd name="connsiteY864" fmla="*/ 2821 h 10000"/>
                  <a:gd name="connsiteX865" fmla="*/ 7968 w 10354"/>
                  <a:gd name="connsiteY865" fmla="*/ 2803 h 10000"/>
                  <a:gd name="connsiteX866" fmla="*/ 7995 w 10354"/>
                  <a:gd name="connsiteY866" fmla="*/ 2735 h 10000"/>
                  <a:gd name="connsiteX867" fmla="*/ 8000 w 10354"/>
                  <a:gd name="connsiteY867" fmla="*/ 2735 h 10000"/>
                  <a:gd name="connsiteX868" fmla="*/ 8014 w 10354"/>
                  <a:gd name="connsiteY868" fmla="*/ 2744 h 10000"/>
                  <a:gd name="connsiteX869" fmla="*/ 8023 w 10354"/>
                  <a:gd name="connsiteY869" fmla="*/ 2769 h 10000"/>
                  <a:gd name="connsiteX870" fmla="*/ 8032 w 10354"/>
                  <a:gd name="connsiteY870" fmla="*/ 2744 h 10000"/>
                  <a:gd name="connsiteX871" fmla="*/ 8032 w 10354"/>
                  <a:gd name="connsiteY871" fmla="*/ 2709 h 10000"/>
                  <a:gd name="connsiteX872" fmla="*/ 8023 w 10354"/>
                  <a:gd name="connsiteY872" fmla="*/ 2632 h 10000"/>
                  <a:gd name="connsiteX873" fmla="*/ 7986 w 10354"/>
                  <a:gd name="connsiteY873" fmla="*/ 2581 h 10000"/>
                  <a:gd name="connsiteX874" fmla="*/ 7968 w 10354"/>
                  <a:gd name="connsiteY874" fmla="*/ 2581 h 10000"/>
                  <a:gd name="connsiteX875" fmla="*/ 7963 w 10354"/>
                  <a:gd name="connsiteY875" fmla="*/ 2556 h 10000"/>
                  <a:gd name="connsiteX876" fmla="*/ 7935 w 10354"/>
                  <a:gd name="connsiteY876" fmla="*/ 2547 h 10000"/>
                  <a:gd name="connsiteX877" fmla="*/ 7912 w 10354"/>
                  <a:gd name="connsiteY877" fmla="*/ 2547 h 10000"/>
                  <a:gd name="connsiteX878" fmla="*/ 7912 w 10354"/>
                  <a:gd name="connsiteY878" fmla="*/ 2556 h 10000"/>
                  <a:gd name="connsiteX879" fmla="*/ 7908 w 10354"/>
                  <a:gd name="connsiteY879" fmla="*/ 2547 h 10000"/>
                  <a:gd name="connsiteX880" fmla="*/ 7862 w 10354"/>
                  <a:gd name="connsiteY880" fmla="*/ 2547 h 10000"/>
                  <a:gd name="connsiteX881" fmla="*/ 7848 w 10354"/>
                  <a:gd name="connsiteY881" fmla="*/ 2556 h 10000"/>
                  <a:gd name="connsiteX882" fmla="*/ 7820 w 10354"/>
                  <a:gd name="connsiteY882" fmla="*/ 2547 h 10000"/>
                  <a:gd name="connsiteX883" fmla="*/ 7806 w 10354"/>
                  <a:gd name="connsiteY883" fmla="*/ 2513 h 10000"/>
                  <a:gd name="connsiteX884" fmla="*/ 7788 w 10354"/>
                  <a:gd name="connsiteY884" fmla="*/ 2513 h 10000"/>
                  <a:gd name="connsiteX885" fmla="*/ 7760 w 10354"/>
                  <a:gd name="connsiteY885" fmla="*/ 2470 h 10000"/>
                  <a:gd name="connsiteX886" fmla="*/ 7751 w 10354"/>
                  <a:gd name="connsiteY886" fmla="*/ 2470 h 10000"/>
                  <a:gd name="connsiteX887" fmla="*/ 7705 w 10354"/>
                  <a:gd name="connsiteY887" fmla="*/ 2462 h 10000"/>
                  <a:gd name="connsiteX888" fmla="*/ 7673 w 10354"/>
                  <a:gd name="connsiteY888" fmla="*/ 2419 h 10000"/>
                  <a:gd name="connsiteX889" fmla="*/ 7627 w 10354"/>
                  <a:gd name="connsiteY889" fmla="*/ 2419 h 10000"/>
                  <a:gd name="connsiteX890" fmla="*/ 7613 w 10354"/>
                  <a:gd name="connsiteY890" fmla="*/ 2410 h 10000"/>
                  <a:gd name="connsiteX891" fmla="*/ 7493 w 10354"/>
                  <a:gd name="connsiteY891" fmla="*/ 2393 h 10000"/>
                  <a:gd name="connsiteX892" fmla="*/ 7479 w 10354"/>
                  <a:gd name="connsiteY892" fmla="*/ 2385 h 10000"/>
                  <a:gd name="connsiteX893" fmla="*/ 7479 w 10354"/>
                  <a:gd name="connsiteY893" fmla="*/ 2376 h 10000"/>
                  <a:gd name="connsiteX894" fmla="*/ 7465 w 10354"/>
                  <a:gd name="connsiteY894" fmla="*/ 2359 h 10000"/>
                  <a:gd name="connsiteX895" fmla="*/ 7447 w 10354"/>
                  <a:gd name="connsiteY895" fmla="*/ 2350 h 10000"/>
                  <a:gd name="connsiteX896" fmla="*/ 7433 w 10354"/>
                  <a:gd name="connsiteY896" fmla="*/ 2376 h 10000"/>
                  <a:gd name="connsiteX897" fmla="*/ 7433 w 10354"/>
                  <a:gd name="connsiteY897" fmla="*/ 2385 h 10000"/>
                  <a:gd name="connsiteX898" fmla="*/ 7447 w 10354"/>
                  <a:gd name="connsiteY898" fmla="*/ 2410 h 10000"/>
                  <a:gd name="connsiteX899" fmla="*/ 7447 w 10354"/>
                  <a:gd name="connsiteY899" fmla="*/ 2436 h 10000"/>
                  <a:gd name="connsiteX900" fmla="*/ 7452 w 10354"/>
                  <a:gd name="connsiteY900" fmla="*/ 2462 h 10000"/>
                  <a:gd name="connsiteX901" fmla="*/ 7447 w 10354"/>
                  <a:gd name="connsiteY901" fmla="*/ 2470 h 10000"/>
                  <a:gd name="connsiteX902" fmla="*/ 7424 w 10354"/>
                  <a:gd name="connsiteY902" fmla="*/ 2513 h 10000"/>
                  <a:gd name="connsiteX903" fmla="*/ 7419 w 10354"/>
                  <a:gd name="connsiteY903" fmla="*/ 2556 h 10000"/>
                  <a:gd name="connsiteX904" fmla="*/ 7406 w 10354"/>
                  <a:gd name="connsiteY904" fmla="*/ 2624 h 10000"/>
                  <a:gd name="connsiteX905" fmla="*/ 7392 w 10354"/>
                  <a:gd name="connsiteY905" fmla="*/ 2624 h 10000"/>
                  <a:gd name="connsiteX906" fmla="*/ 7373 w 10354"/>
                  <a:gd name="connsiteY906" fmla="*/ 2650 h 10000"/>
                  <a:gd name="connsiteX907" fmla="*/ 7364 w 10354"/>
                  <a:gd name="connsiteY907" fmla="*/ 2684 h 10000"/>
                  <a:gd name="connsiteX908" fmla="*/ 7364 w 10354"/>
                  <a:gd name="connsiteY908" fmla="*/ 2692 h 10000"/>
                  <a:gd name="connsiteX909" fmla="*/ 7373 w 10354"/>
                  <a:gd name="connsiteY909" fmla="*/ 2718 h 10000"/>
                  <a:gd name="connsiteX910" fmla="*/ 7373 w 10354"/>
                  <a:gd name="connsiteY910" fmla="*/ 2744 h 10000"/>
                  <a:gd name="connsiteX911" fmla="*/ 7359 w 10354"/>
                  <a:gd name="connsiteY911" fmla="*/ 2744 h 10000"/>
                  <a:gd name="connsiteX912" fmla="*/ 7359 w 10354"/>
                  <a:gd name="connsiteY912" fmla="*/ 2795 h 10000"/>
                  <a:gd name="connsiteX913" fmla="*/ 7364 w 10354"/>
                  <a:gd name="connsiteY913" fmla="*/ 2821 h 10000"/>
                  <a:gd name="connsiteX914" fmla="*/ 7378 w 10354"/>
                  <a:gd name="connsiteY914" fmla="*/ 2846 h 10000"/>
                  <a:gd name="connsiteX915" fmla="*/ 7378 w 10354"/>
                  <a:gd name="connsiteY915" fmla="*/ 2855 h 10000"/>
                  <a:gd name="connsiteX916" fmla="*/ 7378 w 10354"/>
                  <a:gd name="connsiteY916" fmla="*/ 2880 h 10000"/>
                  <a:gd name="connsiteX917" fmla="*/ 7378 w 10354"/>
                  <a:gd name="connsiteY917" fmla="*/ 2906 h 10000"/>
                  <a:gd name="connsiteX918" fmla="*/ 7364 w 10354"/>
                  <a:gd name="connsiteY918" fmla="*/ 2906 h 10000"/>
                  <a:gd name="connsiteX919" fmla="*/ 7346 w 10354"/>
                  <a:gd name="connsiteY919" fmla="*/ 2880 h 10000"/>
                  <a:gd name="connsiteX920" fmla="*/ 7332 w 10354"/>
                  <a:gd name="connsiteY920" fmla="*/ 2915 h 10000"/>
                  <a:gd name="connsiteX921" fmla="*/ 7318 w 10354"/>
                  <a:gd name="connsiteY921" fmla="*/ 2906 h 10000"/>
                  <a:gd name="connsiteX922" fmla="*/ 7313 w 10354"/>
                  <a:gd name="connsiteY922" fmla="*/ 2915 h 10000"/>
                  <a:gd name="connsiteX923" fmla="*/ 7313 w 10354"/>
                  <a:gd name="connsiteY923" fmla="*/ 2906 h 10000"/>
                  <a:gd name="connsiteX924" fmla="*/ 7286 w 10354"/>
                  <a:gd name="connsiteY924" fmla="*/ 2940 h 10000"/>
                  <a:gd name="connsiteX925" fmla="*/ 7276 w 10354"/>
                  <a:gd name="connsiteY925" fmla="*/ 2966 h 10000"/>
                  <a:gd name="connsiteX926" fmla="*/ 7272 w 10354"/>
                  <a:gd name="connsiteY926" fmla="*/ 2983 h 10000"/>
                  <a:gd name="connsiteX927" fmla="*/ 7267 w 10354"/>
                  <a:gd name="connsiteY927" fmla="*/ 3009 h 10000"/>
                  <a:gd name="connsiteX928" fmla="*/ 7253 w 10354"/>
                  <a:gd name="connsiteY928" fmla="*/ 3009 h 10000"/>
                  <a:gd name="connsiteX929" fmla="*/ 7244 w 10354"/>
                  <a:gd name="connsiteY929" fmla="*/ 3017 h 10000"/>
                  <a:gd name="connsiteX930" fmla="*/ 7240 w 10354"/>
                  <a:gd name="connsiteY930" fmla="*/ 3009 h 10000"/>
                  <a:gd name="connsiteX931" fmla="*/ 7230 w 10354"/>
                  <a:gd name="connsiteY931" fmla="*/ 2991 h 10000"/>
                  <a:gd name="connsiteX932" fmla="*/ 7226 w 10354"/>
                  <a:gd name="connsiteY932" fmla="*/ 2983 h 10000"/>
                  <a:gd name="connsiteX933" fmla="*/ 7226 w 10354"/>
                  <a:gd name="connsiteY933" fmla="*/ 2966 h 10000"/>
                  <a:gd name="connsiteX934" fmla="*/ 7212 w 10354"/>
                  <a:gd name="connsiteY934" fmla="*/ 2957 h 10000"/>
                  <a:gd name="connsiteX935" fmla="*/ 7212 w 10354"/>
                  <a:gd name="connsiteY935" fmla="*/ 2932 h 10000"/>
                  <a:gd name="connsiteX936" fmla="*/ 7198 w 10354"/>
                  <a:gd name="connsiteY936" fmla="*/ 2915 h 10000"/>
                  <a:gd name="connsiteX937" fmla="*/ 7194 w 10354"/>
                  <a:gd name="connsiteY937" fmla="*/ 2915 h 10000"/>
                  <a:gd name="connsiteX938" fmla="*/ 7157 w 10354"/>
                  <a:gd name="connsiteY938" fmla="*/ 2880 h 10000"/>
                  <a:gd name="connsiteX939" fmla="*/ 7138 w 10354"/>
                  <a:gd name="connsiteY939" fmla="*/ 2880 h 10000"/>
                  <a:gd name="connsiteX940" fmla="*/ 7120 w 10354"/>
                  <a:gd name="connsiteY940" fmla="*/ 2872 h 10000"/>
                  <a:gd name="connsiteX941" fmla="*/ 7111 w 10354"/>
                  <a:gd name="connsiteY941" fmla="*/ 2846 h 10000"/>
                  <a:gd name="connsiteX942" fmla="*/ 7106 w 10354"/>
                  <a:gd name="connsiteY942" fmla="*/ 2846 h 10000"/>
                  <a:gd name="connsiteX943" fmla="*/ 7092 w 10354"/>
                  <a:gd name="connsiteY943" fmla="*/ 2829 h 10000"/>
                  <a:gd name="connsiteX944" fmla="*/ 7051 w 10354"/>
                  <a:gd name="connsiteY944" fmla="*/ 2829 h 10000"/>
                  <a:gd name="connsiteX945" fmla="*/ 7037 w 10354"/>
                  <a:gd name="connsiteY945" fmla="*/ 2880 h 10000"/>
                  <a:gd name="connsiteX946" fmla="*/ 7037 w 10354"/>
                  <a:gd name="connsiteY946" fmla="*/ 2906 h 10000"/>
                  <a:gd name="connsiteX947" fmla="*/ 7037 w 10354"/>
                  <a:gd name="connsiteY947" fmla="*/ 2932 h 10000"/>
                  <a:gd name="connsiteX948" fmla="*/ 7037 w 10354"/>
                  <a:gd name="connsiteY948" fmla="*/ 2940 h 10000"/>
                  <a:gd name="connsiteX949" fmla="*/ 7023 w 10354"/>
                  <a:gd name="connsiteY949" fmla="*/ 2906 h 10000"/>
                  <a:gd name="connsiteX950" fmla="*/ 7023 w 10354"/>
                  <a:gd name="connsiteY950" fmla="*/ 2915 h 10000"/>
                  <a:gd name="connsiteX951" fmla="*/ 6991 w 10354"/>
                  <a:gd name="connsiteY951" fmla="*/ 2906 h 10000"/>
                  <a:gd name="connsiteX952" fmla="*/ 6977 w 10354"/>
                  <a:gd name="connsiteY952" fmla="*/ 2915 h 10000"/>
                  <a:gd name="connsiteX953" fmla="*/ 6963 w 10354"/>
                  <a:gd name="connsiteY953" fmla="*/ 2915 h 10000"/>
                  <a:gd name="connsiteX954" fmla="*/ 6949 w 10354"/>
                  <a:gd name="connsiteY954" fmla="*/ 2872 h 10000"/>
                  <a:gd name="connsiteX955" fmla="*/ 6935 w 10354"/>
                  <a:gd name="connsiteY955" fmla="*/ 2855 h 10000"/>
                  <a:gd name="connsiteX956" fmla="*/ 6922 w 10354"/>
                  <a:gd name="connsiteY956" fmla="*/ 2803 h 10000"/>
                  <a:gd name="connsiteX957" fmla="*/ 6917 w 10354"/>
                  <a:gd name="connsiteY957" fmla="*/ 2786 h 10000"/>
                  <a:gd name="connsiteX958" fmla="*/ 6903 w 10354"/>
                  <a:gd name="connsiteY958" fmla="*/ 2709 h 10000"/>
                  <a:gd name="connsiteX959" fmla="*/ 6903 w 10354"/>
                  <a:gd name="connsiteY959" fmla="*/ 2692 h 10000"/>
                  <a:gd name="connsiteX960" fmla="*/ 6899 w 10354"/>
                  <a:gd name="connsiteY960" fmla="*/ 2709 h 10000"/>
                  <a:gd name="connsiteX961" fmla="*/ 6857 w 10354"/>
                  <a:gd name="connsiteY961" fmla="*/ 2872 h 10000"/>
                  <a:gd name="connsiteX962" fmla="*/ 6857 w 10354"/>
                  <a:gd name="connsiteY962" fmla="*/ 3009 h 10000"/>
                  <a:gd name="connsiteX963" fmla="*/ 6848 w 10354"/>
                  <a:gd name="connsiteY963" fmla="*/ 3017 h 10000"/>
                  <a:gd name="connsiteX964" fmla="*/ 6839 w 10354"/>
                  <a:gd name="connsiteY964" fmla="*/ 3068 h 10000"/>
                  <a:gd name="connsiteX965" fmla="*/ 6829 w 10354"/>
                  <a:gd name="connsiteY965" fmla="*/ 3077 h 10000"/>
                  <a:gd name="connsiteX966" fmla="*/ 6829 w 10354"/>
                  <a:gd name="connsiteY966" fmla="*/ 3128 h 10000"/>
                  <a:gd name="connsiteX967" fmla="*/ 6816 w 10354"/>
                  <a:gd name="connsiteY967" fmla="*/ 3154 h 10000"/>
                  <a:gd name="connsiteX968" fmla="*/ 6811 w 10354"/>
                  <a:gd name="connsiteY968" fmla="*/ 3179 h 10000"/>
                  <a:gd name="connsiteX969" fmla="*/ 6797 w 10354"/>
                  <a:gd name="connsiteY969" fmla="*/ 3171 h 10000"/>
                  <a:gd name="connsiteX970" fmla="*/ 6783 w 10354"/>
                  <a:gd name="connsiteY970" fmla="*/ 3103 h 10000"/>
                  <a:gd name="connsiteX971" fmla="*/ 6779 w 10354"/>
                  <a:gd name="connsiteY971" fmla="*/ 3094 h 10000"/>
                  <a:gd name="connsiteX972" fmla="*/ 6779 w 10354"/>
                  <a:gd name="connsiteY972" fmla="*/ 3120 h 10000"/>
                  <a:gd name="connsiteX973" fmla="*/ 6770 w 10354"/>
                  <a:gd name="connsiteY973" fmla="*/ 3128 h 10000"/>
                  <a:gd name="connsiteX974" fmla="*/ 6765 w 10354"/>
                  <a:gd name="connsiteY974" fmla="*/ 3103 h 10000"/>
                  <a:gd name="connsiteX975" fmla="*/ 6756 w 10354"/>
                  <a:gd name="connsiteY975" fmla="*/ 3103 h 10000"/>
                  <a:gd name="connsiteX976" fmla="*/ 6742 w 10354"/>
                  <a:gd name="connsiteY976" fmla="*/ 3103 h 10000"/>
                  <a:gd name="connsiteX977" fmla="*/ 6737 w 10354"/>
                  <a:gd name="connsiteY977" fmla="*/ 3077 h 10000"/>
                  <a:gd name="connsiteX978" fmla="*/ 6737 w 10354"/>
                  <a:gd name="connsiteY978" fmla="*/ 3068 h 10000"/>
                  <a:gd name="connsiteX979" fmla="*/ 6728 w 10354"/>
                  <a:gd name="connsiteY979" fmla="*/ 3043 h 10000"/>
                  <a:gd name="connsiteX980" fmla="*/ 6724 w 10354"/>
                  <a:gd name="connsiteY980" fmla="*/ 3051 h 10000"/>
                  <a:gd name="connsiteX981" fmla="*/ 6714 w 10354"/>
                  <a:gd name="connsiteY981" fmla="*/ 3043 h 10000"/>
                  <a:gd name="connsiteX982" fmla="*/ 6710 w 10354"/>
                  <a:gd name="connsiteY982" fmla="*/ 3034 h 10000"/>
                  <a:gd name="connsiteX983" fmla="*/ 6705 w 10354"/>
                  <a:gd name="connsiteY983" fmla="*/ 2983 h 10000"/>
                  <a:gd name="connsiteX984" fmla="*/ 6696 w 10354"/>
                  <a:gd name="connsiteY984" fmla="*/ 2966 h 10000"/>
                  <a:gd name="connsiteX985" fmla="*/ 6691 w 10354"/>
                  <a:gd name="connsiteY985" fmla="*/ 2983 h 10000"/>
                  <a:gd name="connsiteX986" fmla="*/ 6677 w 10354"/>
                  <a:gd name="connsiteY986" fmla="*/ 2897 h 10000"/>
                  <a:gd name="connsiteX987" fmla="*/ 6677 w 10354"/>
                  <a:gd name="connsiteY987" fmla="*/ 2897 h 10000"/>
                  <a:gd name="connsiteX988" fmla="*/ 6677 w 10354"/>
                  <a:gd name="connsiteY988" fmla="*/ 2872 h 10000"/>
                  <a:gd name="connsiteX989" fmla="*/ 6668 w 10354"/>
                  <a:gd name="connsiteY989" fmla="*/ 2821 h 10000"/>
                  <a:gd name="connsiteX990" fmla="*/ 6664 w 10354"/>
                  <a:gd name="connsiteY990" fmla="*/ 2829 h 10000"/>
                  <a:gd name="connsiteX991" fmla="*/ 6654 w 10354"/>
                  <a:gd name="connsiteY991" fmla="*/ 2846 h 10000"/>
                  <a:gd name="connsiteX992" fmla="*/ 6650 w 10354"/>
                  <a:gd name="connsiteY992" fmla="*/ 2829 h 10000"/>
                  <a:gd name="connsiteX993" fmla="*/ 6650 w 10354"/>
                  <a:gd name="connsiteY993" fmla="*/ 2803 h 10000"/>
                  <a:gd name="connsiteX994" fmla="*/ 6650 w 10354"/>
                  <a:gd name="connsiteY994" fmla="*/ 2795 h 10000"/>
                  <a:gd name="connsiteX995" fmla="*/ 6641 w 10354"/>
                  <a:gd name="connsiteY995" fmla="*/ 2786 h 10000"/>
                  <a:gd name="connsiteX996" fmla="*/ 6636 w 10354"/>
                  <a:gd name="connsiteY996" fmla="*/ 2735 h 10000"/>
                  <a:gd name="connsiteX997" fmla="*/ 6664 w 10354"/>
                  <a:gd name="connsiteY997" fmla="*/ 2667 h 10000"/>
                  <a:gd name="connsiteX998" fmla="*/ 6668 w 10354"/>
                  <a:gd name="connsiteY998" fmla="*/ 2684 h 10000"/>
                  <a:gd name="connsiteX999" fmla="*/ 6677 w 10354"/>
                  <a:gd name="connsiteY999" fmla="*/ 2667 h 10000"/>
                  <a:gd name="connsiteX1000" fmla="*/ 6668 w 10354"/>
                  <a:gd name="connsiteY1000" fmla="*/ 2667 h 10000"/>
                  <a:gd name="connsiteX1001" fmla="*/ 6668 w 10354"/>
                  <a:gd name="connsiteY1001" fmla="*/ 2650 h 10000"/>
                  <a:gd name="connsiteX1002" fmla="*/ 6682 w 10354"/>
                  <a:gd name="connsiteY1002" fmla="*/ 2650 h 10000"/>
                  <a:gd name="connsiteX1003" fmla="*/ 6691 w 10354"/>
                  <a:gd name="connsiteY1003" fmla="*/ 2624 h 10000"/>
                  <a:gd name="connsiteX1004" fmla="*/ 6682 w 10354"/>
                  <a:gd name="connsiteY1004" fmla="*/ 2632 h 10000"/>
                  <a:gd name="connsiteX1005" fmla="*/ 6682 w 10354"/>
                  <a:gd name="connsiteY1005" fmla="*/ 2624 h 10000"/>
                  <a:gd name="connsiteX1006" fmla="*/ 6691 w 10354"/>
                  <a:gd name="connsiteY1006" fmla="*/ 2607 h 10000"/>
                  <a:gd name="connsiteX1007" fmla="*/ 6691 w 10354"/>
                  <a:gd name="connsiteY1007" fmla="*/ 2598 h 10000"/>
                  <a:gd name="connsiteX1008" fmla="*/ 6691 w 10354"/>
                  <a:gd name="connsiteY1008" fmla="*/ 2581 h 10000"/>
                  <a:gd name="connsiteX1009" fmla="*/ 6696 w 10354"/>
                  <a:gd name="connsiteY1009" fmla="*/ 2530 h 10000"/>
                  <a:gd name="connsiteX1010" fmla="*/ 6677 w 10354"/>
                  <a:gd name="connsiteY1010" fmla="*/ 2513 h 10000"/>
                  <a:gd name="connsiteX1011" fmla="*/ 6677 w 10354"/>
                  <a:gd name="connsiteY1011" fmla="*/ 2496 h 10000"/>
                  <a:gd name="connsiteX1012" fmla="*/ 6682 w 10354"/>
                  <a:gd name="connsiteY1012" fmla="*/ 2470 h 10000"/>
                  <a:gd name="connsiteX1013" fmla="*/ 6668 w 10354"/>
                  <a:gd name="connsiteY1013" fmla="*/ 2462 h 10000"/>
                  <a:gd name="connsiteX1014" fmla="*/ 6677 w 10354"/>
                  <a:gd name="connsiteY1014" fmla="*/ 2436 h 10000"/>
                  <a:gd name="connsiteX1015" fmla="*/ 6682 w 10354"/>
                  <a:gd name="connsiteY1015" fmla="*/ 2419 h 10000"/>
                  <a:gd name="connsiteX1016" fmla="*/ 6682 w 10354"/>
                  <a:gd name="connsiteY1016" fmla="*/ 2393 h 10000"/>
                  <a:gd name="connsiteX1017" fmla="*/ 6682 w 10354"/>
                  <a:gd name="connsiteY1017" fmla="*/ 2385 h 10000"/>
                  <a:gd name="connsiteX1018" fmla="*/ 6682 w 10354"/>
                  <a:gd name="connsiteY1018" fmla="*/ 2385 h 10000"/>
                  <a:gd name="connsiteX1019" fmla="*/ 6677 w 10354"/>
                  <a:gd name="connsiteY1019" fmla="*/ 2376 h 10000"/>
                  <a:gd name="connsiteX1020" fmla="*/ 6682 w 10354"/>
                  <a:gd name="connsiteY1020" fmla="*/ 2359 h 10000"/>
                  <a:gd name="connsiteX1021" fmla="*/ 6677 w 10354"/>
                  <a:gd name="connsiteY1021" fmla="*/ 2333 h 10000"/>
                  <a:gd name="connsiteX1022" fmla="*/ 6691 w 10354"/>
                  <a:gd name="connsiteY1022" fmla="*/ 2333 h 10000"/>
                  <a:gd name="connsiteX1023" fmla="*/ 6691 w 10354"/>
                  <a:gd name="connsiteY1023" fmla="*/ 2325 h 10000"/>
                  <a:gd name="connsiteX1024" fmla="*/ 6691 w 10354"/>
                  <a:gd name="connsiteY1024" fmla="*/ 2308 h 10000"/>
                  <a:gd name="connsiteX1025" fmla="*/ 6691 w 10354"/>
                  <a:gd name="connsiteY1025" fmla="*/ 2299 h 10000"/>
                  <a:gd name="connsiteX1026" fmla="*/ 6691 w 10354"/>
                  <a:gd name="connsiteY1026" fmla="*/ 2282 h 10000"/>
                  <a:gd name="connsiteX1027" fmla="*/ 6691 w 10354"/>
                  <a:gd name="connsiteY1027" fmla="*/ 2274 h 10000"/>
                  <a:gd name="connsiteX1028" fmla="*/ 6668 w 10354"/>
                  <a:gd name="connsiteY1028" fmla="*/ 2248 h 10000"/>
                  <a:gd name="connsiteX1029" fmla="*/ 6664 w 10354"/>
                  <a:gd name="connsiteY1029" fmla="*/ 2222 h 10000"/>
                  <a:gd name="connsiteX1030" fmla="*/ 6654 w 10354"/>
                  <a:gd name="connsiteY1030" fmla="*/ 2214 h 10000"/>
                  <a:gd name="connsiteX1031" fmla="*/ 6654 w 10354"/>
                  <a:gd name="connsiteY1031" fmla="*/ 2188 h 10000"/>
                  <a:gd name="connsiteX1032" fmla="*/ 6622 w 10354"/>
                  <a:gd name="connsiteY1032" fmla="*/ 2162 h 10000"/>
                  <a:gd name="connsiteX1033" fmla="*/ 6631 w 10354"/>
                  <a:gd name="connsiteY1033" fmla="*/ 2145 h 10000"/>
                  <a:gd name="connsiteX1034" fmla="*/ 6622 w 10354"/>
                  <a:gd name="connsiteY1034" fmla="*/ 2120 h 10000"/>
                  <a:gd name="connsiteX1035" fmla="*/ 6608 w 10354"/>
                  <a:gd name="connsiteY1035" fmla="*/ 2120 h 10000"/>
                  <a:gd name="connsiteX1036" fmla="*/ 6604 w 10354"/>
                  <a:gd name="connsiteY1036" fmla="*/ 2111 h 10000"/>
                  <a:gd name="connsiteX1037" fmla="*/ 6608 w 10354"/>
                  <a:gd name="connsiteY1037" fmla="*/ 2111 h 10000"/>
                  <a:gd name="connsiteX1038" fmla="*/ 6604 w 10354"/>
                  <a:gd name="connsiteY1038" fmla="*/ 2085 h 10000"/>
                  <a:gd name="connsiteX1039" fmla="*/ 6581 w 10354"/>
                  <a:gd name="connsiteY1039" fmla="*/ 2077 h 10000"/>
                  <a:gd name="connsiteX1040" fmla="*/ 6571 w 10354"/>
                  <a:gd name="connsiteY1040" fmla="*/ 2085 h 10000"/>
                  <a:gd name="connsiteX1041" fmla="*/ 6548 w 10354"/>
                  <a:gd name="connsiteY1041" fmla="*/ 2077 h 10000"/>
                  <a:gd name="connsiteX1042" fmla="*/ 6530 w 10354"/>
                  <a:gd name="connsiteY1042" fmla="*/ 2060 h 10000"/>
                  <a:gd name="connsiteX1043" fmla="*/ 6521 w 10354"/>
                  <a:gd name="connsiteY1043" fmla="*/ 2060 h 10000"/>
                  <a:gd name="connsiteX1044" fmla="*/ 6521 w 10354"/>
                  <a:gd name="connsiteY1044" fmla="*/ 2085 h 10000"/>
                  <a:gd name="connsiteX1045" fmla="*/ 6516 w 10354"/>
                  <a:gd name="connsiteY1045" fmla="*/ 2085 h 10000"/>
                  <a:gd name="connsiteX1046" fmla="*/ 6502 w 10354"/>
                  <a:gd name="connsiteY1046" fmla="*/ 2111 h 10000"/>
                  <a:gd name="connsiteX1047" fmla="*/ 6498 w 10354"/>
                  <a:gd name="connsiteY1047" fmla="*/ 2111 h 10000"/>
                  <a:gd name="connsiteX1048" fmla="*/ 6498 w 10354"/>
                  <a:gd name="connsiteY1048" fmla="*/ 2103 h 10000"/>
                  <a:gd name="connsiteX1049" fmla="*/ 6475 w 10354"/>
                  <a:gd name="connsiteY1049" fmla="*/ 2051 h 10000"/>
                  <a:gd name="connsiteX1050" fmla="*/ 6470 w 10354"/>
                  <a:gd name="connsiteY1050" fmla="*/ 2060 h 10000"/>
                  <a:gd name="connsiteX1051" fmla="*/ 6456 w 10354"/>
                  <a:gd name="connsiteY1051" fmla="*/ 2051 h 10000"/>
                  <a:gd name="connsiteX1052" fmla="*/ 6447 w 10354"/>
                  <a:gd name="connsiteY1052" fmla="*/ 2051 h 10000"/>
                  <a:gd name="connsiteX1053" fmla="*/ 6433 w 10354"/>
                  <a:gd name="connsiteY1053" fmla="*/ 2026 h 10000"/>
                  <a:gd name="connsiteX1054" fmla="*/ 6433 w 10354"/>
                  <a:gd name="connsiteY1054" fmla="*/ 2034 h 10000"/>
                  <a:gd name="connsiteX1055" fmla="*/ 6429 w 10354"/>
                  <a:gd name="connsiteY1055" fmla="*/ 2026 h 10000"/>
                  <a:gd name="connsiteX1056" fmla="*/ 6424 w 10354"/>
                  <a:gd name="connsiteY1056" fmla="*/ 2034 h 10000"/>
                  <a:gd name="connsiteX1057" fmla="*/ 6410 w 10354"/>
                  <a:gd name="connsiteY1057" fmla="*/ 2026 h 10000"/>
                  <a:gd name="connsiteX1058" fmla="*/ 6410 w 10354"/>
                  <a:gd name="connsiteY1058" fmla="*/ 1991 h 10000"/>
                  <a:gd name="connsiteX1059" fmla="*/ 6401 w 10354"/>
                  <a:gd name="connsiteY1059" fmla="*/ 1991 h 10000"/>
                  <a:gd name="connsiteX1060" fmla="*/ 6396 w 10354"/>
                  <a:gd name="connsiteY1060" fmla="*/ 2000 h 10000"/>
                  <a:gd name="connsiteX1061" fmla="*/ 6382 w 10354"/>
                  <a:gd name="connsiteY1061" fmla="*/ 1966 h 10000"/>
                  <a:gd name="connsiteX1062" fmla="*/ 6373 w 10354"/>
                  <a:gd name="connsiteY1062" fmla="*/ 1974 h 10000"/>
                  <a:gd name="connsiteX1063" fmla="*/ 6369 w 10354"/>
                  <a:gd name="connsiteY1063" fmla="*/ 1966 h 10000"/>
                  <a:gd name="connsiteX1064" fmla="*/ 6341 w 10354"/>
                  <a:gd name="connsiteY1064" fmla="*/ 1949 h 10000"/>
                  <a:gd name="connsiteX1065" fmla="*/ 6327 w 10354"/>
                  <a:gd name="connsiteY1065" fmla="*/ 1923 h 10000"/>
                  <a:gd name="connsiteX1066" fmla="*/ 6323 w 10354"/>
                  <a:gd name="connsiteY1066" fmla="*/ 1923 h 10000"/>
                  <a:gd name="connsiteX1067" fmla="*/ 6323 w 10354"/>
                  <a:gd name="connsiteY1067" fmla="*/ 1966 h 10000"/>
                  <a:gd name="connsiteX1068" fmla="*/ 6323 w 10354"/>
                  <a:gd name="connsiteY1068" fmla="*/ 1991 h 10000"/>
                  <a:gd name="connsiteX1069" fmla="*/ 6313 w 10354"/>
                  <a:gd name="connsiteY1069" fmla="*/ 1991 h 10000"/>
                  <a:gd name="connsiteX1070" fmla="*/ 6300 w 10354"/>
                  <a:gd name="connsiteY1070" fmla="*/ 1991 h 10000"/>
                  <a:gd name="connsiteX1071" fmla="*/ 6290 w 10354"/>
                  <a:gd name="connsiteY1071" fmla="*/ 1949 h 10000"/>
                  <a:gd name="connsiteX1072" fmla="*/ 6276 w 10354"/>
                  <a:gd name="connsiteY1072" fmla="*/ 2103 h 10000"/>
                  <a:gd name="connsiteX1073" fmla="*/ 6281 w 10354"/>
                  <a:gd name="connsiteY1073" fmla="*/ 2103 h 10000"/>
                  <a:gd name="connsiteX1074" fmla="*/ 6276 w 10354"/>
                  <a:gd name="connsiteY1074" fmla="*/ 2111 h 10000"/>
                  <a:gd name="connsiteX1075" fmla="*/ 6276 w 10354"/>
                  <a:gd name="connsiteY1075" fmla="*/ 2120 h 10000"/>
                  <a:gd name="connsiteX1076" fmla="*/ 6295 w 10354"/>
                  <a:gd name="connsiteY1076" fmla="*/ 2239 h 10000"/>
                  <a:gd name="connsiteX1077" fmla="*/ 6290 w 10354"/>
                  <a:gd name="connsiteY1077" fmla="*/ 2248 h 10000"/>
                  <a:gd name="connsiteX1078" fmla="*/ 6281 w 10354"/>
                  <a:gd name="connsiteY1078" fmla="*/ 2274 h 10000"/>
                  <a:gd name="connsiteX1079" fmla="*/ 6249 w 10354"/>
                  <a:gd name="connsiteY1079" fmla="*/ 2274 h 10000"/>
                  <a:gd name="connsiteX1080" fmla="*/ 6226 w 10354"/>
                  <a:gd name="connsiteY1080" fmla="*/ 2308 h 10000"/>
                  <a:gd name="connsiteX1081" fmla="*/ 6221 w 10354"/>
                  <a:gd name="connsiteY1081" fmla="*/ 2299 h 10000"/>
                  <a:gd name="connsiteX1082" fmla="*/ 6221 w 10354"/>
                  <a:gd name="connsiteY1082" fmla="*/ 2308 h 10000"/>
                  <a:gd name="connsiteX1083" fmla="*/ 6217 w 10354"/>
                  <a:gd name="connsiteY1083" fmla="*/ 2299 h 10000"/>
                  <a:gd name="connsiteX1084" fmla="*/ 6194 w 10354"/>
                  <a:gd name="connsiteY1084" fmla="*/ 2308 h 10000"/>
                  <a:gd name="connsiteX1085" fmla="*/ 6180 w 10354"/>
                  <a:gd name="connsiteY1085" fmla="*/ 2299 h 10000"/>
                  <a:gd name="connsiteX1086" fmla="*/ 6143 w 10354"/>
                  <a:gd name="connsiteY1086" fmla="*/ 2308 h 10000"/>
                  <a:gd name="connsiteX1087" fmla="*/ 6134 w 10354"/>
                  <a:gd name="connsiteY1087" fmla="*/ 2325 h 10000"/>
                  <a:gd name="connsiteX1088" fmla="*/ 6115 w 10354"/>
                  <a:gd name="connsiteY1088" fmla="*/ 2282 h 10000"/>
                  <a:gd name="connsiteX1089" fmla="*/ 6069 w 10354"/>
                  <a:gd name="connsiteY1089" fmla="*/ 2274 h 10000"/>
                  <a:gd name="connsiteX1090" fmla="*/ 6069 w 10354"/>
                  <a:gd name="connsiteY1090" fmla="*/ 2282 h 10000"/>
                  <a:gd name="connsiteX1091" fmla="*/ 6060 w 10354"/>
                  <a:gd name="connsiteY1091" fmla="*/ 2299 h 10000"/>
                  <a:gd name="connsiteX1092" fmla="*/ 5972 w 10354"/>
                  <a:gd name="connsiteY1092" fmla="*/ 2214 h 10000"/>
                  <a:gd name="connsiteX1093" fmla="*/ 5968 w 10354"/>
                  <a:gd name="connsiteY1093" fmla="*/ 2197 h 10000"/>
                  <a:gd name="connsiteX1094" fmla="*/ 5968 w 10354"/>
                  <a:gd name="connsiteY1094" fmla="*/ 2171 h 10000"/>
                  <a:gd name="connsiteX1095" fmla="*/ 5968 w 10354"/>
                  <a:gd name="connsiteY1095" fmla="*/ 2162 h 10000"/>
                  <a:gd name="connsiteX1096" fmla="*/ 5968 w 10354"/>
                  <a:gd name="connsiteY1096" fmla="*/ 2120 h 10000"/>
                  <a:gd name="connsiteX1097" fmla="*/ 5968 w 10354"/>
                  <a:gd name="connsiteY1097" fmla="*/ 2111 h 10000"/>
                  <a:gd name="connsiteX1098" fmla="*/ 5972 w 10354"/>
                  <a:gd name="connsiteY1098" fmla="*/ 2103 h 10000"/>
                  <a:gd name="connsiteX1099" fmla="*/ 5986 w 10354"/>
                  <a:gd name="connsiteY1099" fmla="*/ 2103 h 10000"/>
                  <a:gd name="connsiteX1100" fmla="*/ 5986 w 10354"/>
                  <a:gd name="connsiteY1100" fmla="*/ 2085 h 10000"/>
                  <a:gd name="connsiteX1101" fmla="*/ 5995 w 10354"/>
                  <a:gd name="connsiteY1101" fmla="*/ 2085 h 10000"/>
                  <a:gd name="connsiteX1102" fmla="*/ 5995 w 10354"/>
                  <a:gd name="connsiteY1102" fmla="*/ 2077 h 10000"/>
                  <a:gd name="connsiteX1103" fmla="*/ 5986 w 10354"/>
                  <a:gd name="connsiteY1103" fmla="*/ 2060 h 10000"/>
                  <a:gd name="connsiteX1104" fmla="*/ 5954 w 10354"/>
                  <a:gd name="connsiteY1104" fmla="*/ 2060 h 10000"/>
                  <a:gd name="connsiteX1105" fmla="*/ 5940 w 10354"/>
                  <a:gd name="connsiteY1105" fmla="*/ 2051 h 10000"/>
                  <a:gd name="connsiteX1106" fmla="*/ 5922 w 10354"/>
                  <a:gd name="connsiteY1106" fmla="*/ 2060 h 10000"/>
                  <a:gd name="connsiteX1107" fmla="*/ 5885 w 10354"/>
                  <a:gd name="connsiteY1107" fmla="*/ 2051 h 10000"/>
                  <a:gd name="connsiteX1108" fmla="*/ 5876 w 10354"/>
                  <a:gd name="connsiteY1108" fmla="*/ 2026 h 10000"/>
                  <a:gd name="connsiteX1109" fmla="*/ 5862 w 10354"/>
                  <a:gd name="connsiteY1109" fmla="*/ 2026 h 10000"/>
                  <a:gd name="connsiteX1110" fmla="*/ 5848 w 10354"/>
                  <a:gd name="connsiteY1110" fmla="*/ 2026 h 10000"/>
                  <a:gd name="connsiteX1111" fmla="*/ 5825 w 10354"/>
                  <a:gd name="connsiteY1111" fmla="*/ 2026 h 10000"/>
                  <a:gd name="connsiteX1112" fmla="*/ 5788 w 10354"/>
                  <a:gd name="connsiteY1112" fmla="*/ 1991 h 10000"/>
                  <a:gd name="connsiteX1113" fmla="*/ 5760 w 10354"/>
                  <a:gd name="connsiteY1113" fmla="*/ 2000 h 10000"/>
                  <a:gd name="connsiteX1114" fmla="*/ 5760 w 10354"/>
                  <a:gd name="connsiteY1114" fmla="*/ 2026 h 10000"/>
                  <a:gd name="connsiteX1115" fmla="*/ 5714 w 10354"/>
                  <a:gd name="connsiteY1115" fmla="*/ 2051 h 10000"/>
                  <a:gd name="connsiteX1116" fmla="*/ 5687 w 10354"/>
                  <a:gd name="connsiteY1116" fmla="*/ 2034 h 10000"/>
                  <a:gd name="connsiteX1117" fmla="*/ 5645 w 10354"/>
                  <a:gd name="connsiteY1117" fmla="*/ 2077 h 10000"/>
                  <a:gd name="connsiteX1118" fmla="*/ 5664 w 10354"/>
                  <a:gd name="connsiteY1118" fmla="*/ 2120 h 10000"/>
                  <a:gd name="connsiteX1119" fmla="*/ 5664 w 10354"/>
                  <a:gd name="connsiteY1119" fmla="*/ 2162 h 10000"/>
                  <a:gd name="connsiteX1120" fmla="*/ 5631 w 10354"/>
                  <a:gd name="connsiteY1120" fmla="*/ 2197 h 10000"/>
                  <a:gd name="connsiteX1121" fmla="*/ 5618 w 10354"/>
                  <a:gd name="connsiteY1121" fmla="*/ 2188 h 10000"/>
                  <a:gd name="connsiteX1122" fmla="*/ 5618 w 10354"/>
                  <a:gd name="connsiteY1122" fmla="*/ 2171 h 10000"/>
                  <a:gd name="connsiteX1123" fmla="*/ 5641 w 10354"/>
                  <a:gd name="connsiteY1123" fmla="*/ 2171 h 10000"/>
                  <a:gd name="connsiteX1124" fmla="*/ 5641 w 10354"/>
                  <a:gd name="connsiteY1124" fmla="*/ 2162 h 10000"/>
                  <a:gd name="connsiteX1125" fmla="*/ 5627 w 10354"/>
                  <a:gd name="connsiteY1125" fmla="*/ 2145 h 10000"/>
                  <a:gd name="connsiteX1126" fmla="*/ 5627 w 10354"/>
                  <a:gd name="connsiteY1126" fmla="*/ 2120 h 10000"/>
                  <a:gd name="connsiteX1127" fmla="*/ 5618 w 10354"/>
                  <a:gd name="connsiteY1127" fmla="*/ 2111 h 10000"/>
                  <a:gd name="connsiteX1128" fmla="*/ 5631 w 10354"/>
                  <a:gd name="connsiteY1128" fmla="*/ 2051 h 10000"/>
                  <a:gd name="connsiteX1129" fmla="*/ 5631 w 10354"/>
                  <a:gd name="connsiteY1129" fmla="*/ 2026 h 10000"/>
                  <a:gd name="connsiteX1130" fmla="*/ 5627 w 10354"/>
                  <a:gd name="connsiteY1130" fmla="*/ 1991 h 10000"/>
                  <a:gd name="connsiteX1131" fmla="*/ 5618 w 10354"/>
                  <a:gd name="connsiteY1131" fmla="*/ 1974 h 10000"/>
                  <a:gd name="connsiteX1132" fmla="*/ 5618 w 10354"/>
                  <a:gd name="connsiteY1132" fmla="*/ 1940 h 10000"/>
                  <a:gd name="connsiteX1133" fmla="*/ 5594 w 10354"/>
                  <a:gd name="connsiteY1133" fmla="*/ 1855 h 10000"/>
                  <a:gd name="connsiteX1134" fmla="*/ 5599 w 10354"/>
                  <a:gd name="connsiteY1134" fmla="*/ 1915 h 10000"/>
                  <a:gd name="connsiteX1135" fmla="*/ 5599 w 10354"/>
                  <a:gd name="connsiteY1135" fmla="*/ 1949 h 10000"/>
                  <a:gd name="connsiteX1136" fmla="*/ 5594 w 10354"/>
                  <a:gd name="connsiteY1136" fmla="*/ 1991 h 10000"/>
                  <a:gd name="connsiteX1137" fmla="*/ 5571 w 10354"/>
                  <a:gd name="connsiteY1137" fmla="*/ 2000 h 10000"/>
                  <a:gd name="connsiteX1138" fmla="*/ 5530 w 10354"/>
                  <a:gd name="connsiteY1138" fmla="*/ 1991 h 10000"/>
                  <a:gd name="connsiteX1139" fmla="*/ 5525 w 10354"/>
                  <a:gd name="connsiteY1139" fmla="*/ 2000 h 10000"/>
                  <a:gd name="connsiteX1140" fmla="*/ 5521 w 10354"/>
                  <a:gd name="connsiteY1140" fmla="*/ 1991 h 10000"/>
                  <a:gd name="connsiteX1141" fmla="*/ 5498 w 10354"/>
                  <a:gd name="connsiteY1141" fmla="*/ 1949 h 10000"/>
                  <a:gd name="connsiteX1142" fmla="*/ 5493 w 10354"/>
                  <a:gd name="connsiteY1142" fmla="*/ 1889 h 10000"/>
                  <a:gd name="connsiteX1143" fmla="*/ 5493 w 10354"/>
                  <a:gd name="connsiteY1143" fmla="*/ 1863 h 10000"/>
                  <a:gd name="connsiteX1144" fmla="*/ 5498 w 10354"/>
                  <a:gd name="connsiteY1144" fmla="*/ 1889 h 10000"/>
                  <a:gd name="connsiteX1145" fmla="*/ 5512 w 10354"/>
                  <a:gd name="connsiteY1145" fmla="*/ 1855 h 10000"/>
                  <a:gd name="connsiteX1146" fmla="*/ 5512 w 10354"/>
                  <a:gd name="connsiteY1146" fmla="*/ 1838 h 10000"/>
                  <a:gd name="connsiteX1147" fmla="*/ 5479 w 10354"/>
                  <a:gd name="connsiteY1147" fmla="*/ 1855 h 10000"/>
                  <a:gd name="connsiteX1148" fmla="*/ 5470 w 10354"/>
                  <a:gd name="connsiteY1148" fmla="*/ 1872 h 10000"/>
                  <a:gd name="connsiteX1149" fmla="*/ 5470 w 10354"/>
                  <a:gd name="connsiteY1149" fmla="*/ 1889 h 10000"/>
                  <a:gd name="connsiteX1150" fmla="*/ 5465 w 10354"/>
                  <a:gd name="connsiteY1150" fmla="*/ 1897 h 10000"/>
                  <a:gd name="connsiteX1151" fmla="*/ 5456 w 10354"/>
                  <a:gd name="connsiteY1151" fmla="*/ 1872 h 10000"/>
                  <a:gd name="connsiteX1152" fmla="*/ 5447 w 10354"/>
                  <a:gd name="connsiteY1152" fmla="*/ 1872 h 10000"/>
                  <a:gd name="connsiteX1153" fmla="*/ 5433 w 10354"/>
                  <a:gd name="connsiteY1153" fmla="*/ 1855 h 10000"/>
                  <a:gd name="connsiteX1154" fmla="*/ 5396 w 10354"/>
                  <a:gd name="connsiteY1154" fmla="*/ 1863 h 10000"/>
                  <a:gd name="connsiteX1155" fmla="*/ 5396 w 10354"/>
                  <a:gd name="connsiteY1155" fmla="*/ 1897 h 10000"/>
                  <a:gd name="connsiteX1156" fmla="*/ 5378 w 10354"/>
                  <a:gd name="connsiteY1156" fmla="*/ 1949 h 10000"/>
                  <a:gd name="connsiteX1157" fmla="*/ 5378 w 10354"/>
                  <a:gd name="connsiteY1157" fmla="*/ 1966 h 10000"/>
                  <a:gd name="connsiteX1158" fmla="*/ 5392 w 10354"/>
                  <a:gd name="connsiteY1158" fmla="*/ 2026 h 10000"/>
                  <a:gd name="connsiteX1159" fmla="*/ 5396 w 10354"/>
                  <a:gd name="connsiteY1159" fmla="*/ 2026 h 10000"/>
                  <a:gd name="connsiteX1160" fmla="*/ 5392 w 10354"/>
                  <a:gd name="connsiteY1160" fmla="*/ 2009 h 10000"/>
                  <a:gd name="connsiteX1161" fmla="*/ 5392 w 10354"/>
                  <a:gd name="connsiteY1161" fmla="*/ 2000 h 10000"/>
                  <a:gd name="connsiteX1162" fmla="*/ 5396 w 10354"/>
                  <a:gd name="connsiteY1162" fmla="*/ 2009 h 10000"/>
                  <a:gd name="connsiteX1163" fmla="*/ 5424 w 10354"/>
                  <a:gd name="connsiteY1163" fmla="*/ 2009 h 10000"/>
                  <a:gd name="connsiteX1164" fmla="*/ 5433 w 10354"/>
                  <a:gd name="connsiteY1164" fmla="*/ 1991 h 10000"/>
                  <a:gd name="connsiteX1165" fmla="*/ 5447 w 10354"/>
                  <a:gd name="connsiteY1165" fmla="*/ 1974 h 10000"/>
                  <a:gd name="connsiteX1166" fmla="*/ 5452 w 10354"/>
                  <a:gd name="connsiteY1166" fmla="*/ 1966 h 10000"/>
                  <a:gd name="connsiteX1167" fmla="*/ 5456 w 10354"/>
                  <a:gd name="connsiteY1167" fmla="*/ 1966 h 10000"/>
                  <a:gd name="connsiteX1168" fmla="*/ 5465 w 10354"/>
                  <a:gd name="connsiteY1168" fmla="*/ 2009 h 10000"/>
                  <a:gd name="connsiteX1169" fmla="*/ 5433 w 10354"/>
                  <a:gd name="connsiteY1169" fmla="*/ 2034 h 10000"/>
                  <a:gd name="connsiteX1170" fmla="*/ 5424 w 10354"/>
                  <a:gd name="connsiteY1170" fmla="*/ 2060 h 10000"/>
                  <a:gd name="connsiteX1171" fmla="*/ 5419 w 10354"/>
                  <a:gd name="connsiteY1171" fmla="*/ 2060 h 10000"/>
                  <a:gd name="connsiteX1172" fmla="*/ 5392 w 10354"/>
                  <a:gd name="connsiteY1172" fmla="*/ 2111 h 10000"/>
                  <a:gd name="connsiteX1173" fmla="*/ 5378 w 10354"/>
                  <a:gd name="connsiteY1173" fmla="*/ 2111 h 10000"/>
                  <a:gd name="connsiteX1174" fmla="*/ 5350 w 10354"/>
                  <a:gd name="connsiteY1174" fmla="*/ 2060 h 10000"/>
                  <a:gd name="connsiteX1175" fmla="*/ 5373 w 10354"/>
                  <a:gd name="connsiteY1175" fmla="*/ 2111 h 10000"/>
                  <a:gd name="connsiteX1176" fmla="*/ 5364 w 10354"/>
                  <a:gd name="connsiteY1176" fmla="*/ 2111 h 10000"/>
                  <a:gd name="connsiteX1177" fmla="*/ 5359 w 10354"/>
                  <a:gd name="connsiteY1177" fmla="*/ 2103 h 10000"/>
                  <a:gd name="connsiteX1178" fmla="*/ 5359 w 10354"/>
                  <a:gd name="connsiteY1178" fmla="*/ 2120 h 10000"/>
                  <a:gd name="connsiteX1179" fmla="*/ 5359 w 10354"/>
                  <a:gd name="connsiteY1179" fmla="*/ 2137 h 10000"/>
                  <a:gd name="connsiteX1180" fmla="*/ 5313 w 10354"/>
                  <a:gd name="connsiteY1180" fmla="*/ 2162 h 10000"/>
                  <a:gd name="connsiteX1181" fmla="*/ 5300 w 10354"/>
                  <a:gd name="connsiteY1181" fmla="*/ 2162 h 10000"/>
                  <a:gd name="connsiteX1182" fmla="*/ 5300 w 10354"/>
                  <a:gd name="connsiteY1182" fmla="*/ 2171 h 10000"/>
                  <a:gd name="connsiteX1183" fmla="*/ 5300 w 10354"/>
                  <a:gd name="connsiteY1183" fmla="*/ 2197 h 10000"/>
                  <a:gd name="connsiteX1184" fmla="*/ 5276 w 10354"/>
                  <a:gd name="connsiteY1184" fmla="*/ 2188 h 10000"/>
                  <a:gd name="connsiteX1185" fmla="*/ 5249 w 10354"/>
                  <a:gd name="connsiteY1185" fmla="*/ 2222 h 10000"/>
                  <a:gd name="connsiteX1186" fmla="*/ 5249 w 10354"/>
                  <a:gd name="connsiteY1186" fmla="*/ 2222 h 10000"/>
                  <a:gd name="connsiteX1187" fmla="*/ 5217 w 10354"/>
                  <a:gd name="connsiteY1187" fmla="*/ 2214 h 10000"/>
                  <a:gd name="connsiteX1188" fmla="*/ 5203 w 10354"/>
                  <a:gd name="connsiteY1188" fmla="*/ 2239 h 10000"/>
                  <a:gd name="connsiteX1189" fmla="*/ 5171 w 10354"/>
                  <a:gd name="connsiteY1189" fmla="*/ 2214 h 10000"/>
                  <a:gd name="connsiteX1190" fmla="*/ 5157 w 10354"/>
                  <a:gd name="connsiteY1190" fmla="*/ 2239 h 10000"/>
                  <a:gd name="connsiteX1191" fmla="*/ 5166 w 10354"/>
                  <a:gd name="connsiteY1191" fmla="*/ 2256 h 10000"/>
                  <a:gd name="connsiteX1192" fmla="*/ 5171 w 10354"/>
                  <a:gd name="connsiteY1192" fmla="*/ 2308 h 10000"/>
                  <a:gd name="connsiteX1193" fmla="*/ 5212 w 10354"/>
                  <a:gd name="connsiteY1193" fmla="*/ 2350 h 10000"/>
                  <a:gd name="connsiteX1194" fmla="*/ 5203 w 10354"/>
                  <a:gd name="connsiteY1194" fmla="*/ 2350 h 10000"/>
                  <a:gd name="connsiteX1195" fmla="*/ 5166 w 10354"/>
                  <a:gd name="connsiteY1195" fmla="*/ 2325 h 10000"/>
                  <a:gd name="connsiteX1196" fmla="*/ 5152 w 10354"/>
                  <a:gd name="connsiteY1196" fmla="*/ 2308 h 10000"/>
                  <a:gd name="connsiteX1197" fmla="*/ 5143 w 10354"/>
                  <a:gd name="connsiteY1197" fmla="*/ 2333 h 10000"/>
                  <a:gd name="connsiteX1198" fmla="*/ 5138 w 10354"/>
                  <a:gd name="connsiteY1198" fmla="*/ 2333 h 10000"/>
                  <a:gd name="connsiteX1199" fmla="*/ 5124 w 10354"/>
                  <a:gd name="connsiteY1199" fmla="*/ 2376 h 10000"/>
                  <a:gd name="connsiteX1200" fmla="*/ 5115 w 10354"/>
                  <a:gd name="connsiteY1200" fmla="*/ 2385 h 10000"/>
                  <a:gd name="connsiteX1201" fmla="*/ 5106 w 10354"/>
                  <a:gd name="connsiteY1201" fmla="*/ 2385 h 10000"/>
                  <a:gd name="connsiteX1202" fmla="*/ 5055 w 10354"/>
                  <a:gd name="connsiteY1202" fmla="*/ 2470 h 10000"/>
                  <a:gd name="connsiteX1203" fmla="*/ 5065 w 10354"/>
                  <a:gd name="connsiteY1203" fmla="*/ 2462 h 10000"/>
                  <a:gd name="connsiteX1204" fmla="*/ 5055 w 10354"/>
                  <a:gd name="connsiteY1204" fmla="*/ 2444 h 10000"/>
                  <a:gd name="connsiteX1205" fmla="*/ 5041 w 10354"/>
                  <a:gd name="connsiteY1205" fmla="*/ 2462 h 10000"/>
                  <a:gd name="connsiteX1206" fmla="*/ 5037 w 10354"/>
                  <a:gd name="connsiteY1206" fmla="*/ 2470 h 10000"/>
                  <a:gd name="connsiteX1207" fmla="*/ 5032 w 10354"/>
                  <a:gd name="connsiteY1207" fmla="*/ 2470 h 10000"/>
                  <a:gd name="connsiteX1208" fmla="*/ 5032 w 10354"/>
                  <a:gd name="connsiteY1208" fmla="*/ 2444 h 10000"/>
                  <a:gd name="connsiteX1209" fmla="*/ 5055 w 10354"/>
                  <a:gd name="connsiteY1209" fmla="*/ 2410 h 10000"/>
                  <a:gd name="connsiteX1210" fmla="*/ 5065 w 10354"/>
                  <a:gd name="connsiteY1210" fmla="*/ 2393 h 10000"/>
                  <a:gd name="connsiteX1211" fmla="*/ 5069 w 10354"/>
                  <a:gd name="connsiteY1211" fmla="*/ 2385 h 10000"/>
                  <a:gd name="connsiteX1212" fmla="*/ 5083 w 10354"/>
                  <a:gd name="connsiteY1212" fmla="*/ 2376 h 10000"/>
                  <a:gd name="connsiteX1213" fmla="*/ 5097 w 10354"/>
                  <a:gd name="connsiteY1213" fmla="*/ 2376 h 10000"/>
                  <a:gd name="connsiteX1214" fmla="*/ 5124 w 10354"/>
                  <a:gd name="connsiteY1214" fmla="*/ 2325 h 10000"/>
                  <a:gd name="connsiteX1215" fmla="*/ 5143 w 10354"/>
                  <a:gd name="connsiteY1215" fmla="*/ 2248 h 10000"/>
                  <a:gd name="connsiteX1216" fmla="*/ 5152 w 10354"/>
                  <a:gd name="connsiteY1216" fmla="*/ 2239 h 10000"/>
                  <a:gd name="connsiteX1217" fmla="*/ 5166 w 10354"/>
                  <a:gd name="connsiteY1217" fmla="*/ 2162 h 10000"/>
                  <a:gd name="connsiteX1218" fmla="*/ 5171 w 10354"/>
                  <a:gd name="connsiteY1218" fmla="*/ 2171 h 10000"/>
                  <a:gd name="connsiteX1219" fmla="*/ 5198 w 10354"/>
                  <a:gd name="connsiteY1219" fmla="*/ 2145 h 10000"/>
                  <a:gd name="connsiteX1220" fmla="*/ 5203 w 10354"/>
                  <a:gd name="connsiteY1220" fmla="*/ 2111 h 10000"/>
                  <a:gd name="connsiteX1221" fmla="*/ 5217 w 10354"/>
                  <a:gd name="connsiteY1221" fmla="*/ 2060 h 10000"/>
                  <a:gd name="connsiteX1222" fmla="*/ 5226 w 10354"/>
                  <a:gd name="connsiteY1222" fmla="*/ 2026 h 10000"/>
                  <a:gd name="connsiteX1223" fmla="*/ 5286 w 10354"/>
                  <a:gd name="connsiteY1223" fmla="*/ 2026 h 10000"/>
                  <a:gd name="connsiteX1224" fmla="*/ 5290 w 10354"/>
                  <a:gd name="connsiteY1224" fmla="*/ 2034 h 10000"/>
                  <a:gd name="connsiteX1225" fmla="*/ 5323 w 10354"/>
                  <a:gd name="connsiteY1225" fmla="*/ 1923 h 10000"/>
                  <a:gd name="connsiteX1226" fmla="*/ 5323 w 10354"/>
                  <a:gd name="connsiteY1226" fmla="*/ 1889 h 10000"/>
                  <a:gd name="connsiteX1227" fmla="*/ 5359 w 10354"/>
                  <a:gd name="connsiteY1227" fmla="*/ 1829 h 10000"/>
                  <a:gd name="connsiteX1228" fmla="*/ 5378 w 10354"/>
                  <a:gd name="connsiteY1228" fmla="*/ 1812 h 10000"/>
                  <a:gd name="connsiteX1229" fmla="*/ 5406 w 10354"/>
                  <a:gd name="connsiteY1229" fmla="*/ 1752 h 10000"/>
                  <a:gd name="connsiteX1230" fmla="*/ 5410 w 10354"/>
                  <a:gd name="connsiteY1230" fmla="*/ 1718 h 10000"/>
                  <a:gd name="connsiteX1231" fmla="*/ 5438 w 10354"/>
                  <a:gd name="connsiteY1231" fmla="*/ 1667 h 10000"/>
                  <a:gd name="connsiteX1232" fmla="*/ 5438 w 10354"/>
                  <a:gd name="connsiteY1232" fmla="*/ 1650 h 10000"/>
                  <a:gd name="connsiteX1233" fmla="*/ 5438 w 10354"/>
                  <a:gd name="connsiteY1233" fmla="*/ 1641 h 10000"/>
                  <a:gd name="connsiteX1234" fmla="*/ 5452 w 10354"/>
                  <a:gd name="connsiteY1234" fmla="*/ 1641 h 10000"/>
                  <a:gd name="connsiteX1235" fmla="*/ 5456 w 10354"/>
                  <a:gd name="connsiteY1235" fmla="*/ 1615 h 10000"/>
                  <a:gd name="connsiteX1236" fmla="*/ 5456 w 10354"/>
                  <a:gd name="connsiteY1236" fmla="*/ 1615 h 10000"/>
                  <a:gd name="connsiteX1237" fmla="*/ 5465 w 10354"/>
                  <a:gd name="connsiteY1237" fmla="*/ 1598 h 10000"/>
                  <a:gd name="connsiteX1238" fmla="*/ 5465 w 10354"/>
                  <a:gd name="connsiteY1238" fmla="*/ 1615 h 10000"/>
                  <a:gd name="connsiteX1239" fmla="*/ 5479 w 10354"/>
                  <a:gd name="connsiteY1239" fmla="*/ 1598 h 10000"/>
                  <a:gd name="connsiteX1240" fmla="*/ 5484 w 10354"/>
                  <a:gd name="connsiteY1240" fmla="*/ 1581 h 10000"/>
                  <a:gd name="connsiteX1241" fmla="*/ 5493 w 10354"/>
                  <a:gd name="connsiteY1241" fmla="*/ 1581 h 10000"/>
                  <a:gd name="connsiteX1242" fmla="*/ 5512 w 10354"/>
                  <a:gd name="connsiteY1242" fmla="*/ 1538 h 10000"/>
                  <a:gd name="connsiteX1243" fmla="*/ 5530 w 10354"/>
                  <a:gd name="connsiteY1243" fmla="*/ 1564 h 10000"/>
                  <a:gd name="connsiteX1244" fmla="*/ 5530 w 10354"/>
                  <a:gd name="connsiteY1244" fmla="*/ 1538 h 10000"/>
                  <a:gd name="connsiteX1245" fmla="*/ 5539 w 10354"/>
                  <a:gd name="connsiteY1245" fmla="*/ 1530 h 10000"/>
                  <a:gd name="connsiteX1246" fmla="*/ 5530 w 10354"/>
                  <a:gd name="connsiteY1246" fmla="*/ 1504 h 10000"/>
                  <a:gd name="connsiteX1247" fmla="*/ 5567 w 10354"/>
                  <a:gd name="connsiteY1247" fmla="*/ 1479 h 10000"/>
                  <a:gd name="connsiteX1248" fmla="*/ 5553 w 10354"/>
                  <a:gd name="connsiteY1248" fmla="*/ 1479 h 10000"/>
                  <a:gd name="connsiteX1249" fmla="*/ 5553 w 10354"/>
                  <a:gd name="connsiteY1249" fmla="*/ 1453 h 10000"/>
                  <a:gd name="connsiteX1250" fmla="*/ 5581 w 10354"/>
                  <a:gd name="connsiteY1250" fmla="*/ 1444 h 10000"/>
                  <a:gd name="connsiteX1251" fmla="*/ 5581 w 10354"/>
                  <a:gd name="connsiteY1251" fmla="*/ 1453 h 10000"/>
                  <a:gd name="connsiteX1252" fmla="*/ 5585 w 10354"/>
                  <a:gd name="connsiteY1252" fmla="*/ 1444 h 10000"/>
                  <a:gd name="connsiteX1253" fmla="*/ 5594 w 10354"/>
                  <a:gd name="connsiteY1253" fmla="*/ 1427 h 10000"/>
                  <a:gd name="connsiteX1254" fmla="*/ 5599 w 10354"/>
                  <a:gd name="connsiteY1254" fmla="*/ 1419 h 10000"/>
                  <a:gd name="connsiteX1255" fmla="*/ 5594 w 10354"/>
                  <a:gd name="connsiteY1255" fmla="*/ 1402 h 10000"/>
                  <a:gd name="connsiteX1256" fmla="*/ 5604 w 10354"/>
                  <a:gd name="connsiteY1256" fmla="*/ 1393 h 10000"/>
                  <a:gd name="connsiteX1257" fmla="*/ 5618 w 10354"/>
                  <a:gd name="connsiteY1257" fmla="*/ 1393 h 10000"/>
                  <a:gd name="connsiteX1258" fmla="*/ 5627 w 10354"/>
                  <a:gd name="connsiteY1258" fmla="*/ 1368 h 10000"/>
                  <a:gd name="connsiteX1259" fmla="*/ 5627 w 10354"/>
                  <a:gd name="connsiteY1259" fmla="*/ 1325 h 10000"/>
                  <a:gd name="connsiteX1260" fmla="*/ 5645 w 10354"/>
                  <a:gd name="connsiteY1260" fmla="*/ 1291 h 10000"/>
                  <a:gd name="connsiteX1261" fmla="*/ 5645 w 10354"/>
                  <a:gd name="connsiteY1261" fmla="*/ 1282 h 10000"/>
                  <a:gd name="connsiteX1262" fmla="*/ 5654 w 10354"/>
                  <a:gd name="connsiteY1262" fmla="*/ 1265 h 10000"/>
                  <a:gd name="connsiteX1263" fmla="*/ 5654 w 10354"/>
                  <a:gd name="connsiteY1263" fmla="*/ 1214 h 10000"/>
                  <a:gd name="connsiteX1264" fmla="*/ 5654 w 10354"/>
                  <a:gd name="connsiteY1264" fmla="*/ 1214 h 10000"/>
                  <a:gd name="connsiteX1265" fmla="*/ 5645 w 10354"/>
                  <a:gd name="connsiteY1265" fmla="*/ 1197 h 10000"/>
                  <a:gd name="connsiteX1266" fmla="*/ 5659 w 10354"/>
                  <a:gd name="connsiteY1266" fmla="*/ 1197 h 10000"/>
                  <a:gd name="connsiteX1267" fmla="*/ 5654 w 10354"/>
                  <a:gd name="connsiteY1267" fmla="*/ 1154 h 10000"/>
                  <a:gd name="connsiteX1268" fmla="*/ 5641 w 10354"/>
                  <a:gd name="connsiteY1268" fmla="*/ 1154 h 10000"/>
                  <a:gd name="connsiteX1269" fmla="*/ 5627 w 10354"/>
                  <a:gd name="connsiteY1269" fmla="*/ 1128 h 10000"/>
                  <a:gd name="connsiteX1270" fmla="*/ 5618 w 10354"/>
                  <a:gd name="connsiteY1270" fmla="*/ 1094 h 10000"/>
                  <a:gd name="connsiteX1271" fmla="*/ 5613 w 10354"/>
                  <a:gd name="connsiteY1271" fmla="*/ 1094 h 10000"/>
                  <a:gd name="connsiteX1272" fmla="*/ 5604 w 10354"/>
                  <a:gd name="connsiteY1272" fmla="*/ 1120 h 10000"/>
                  <a:gd name="connsiteX1273" fmla="*/ 5604 w 10354"/>
                  <a:gd name="connsiteY1273" fmla="*/ 1128 h 10000"/>
                  <a:gd name="connsiteX1274" fmla="*/ 5599 w 10354"/>
                  <a:gd name="connsiteY1274" fmla="*/ 1103 h 10000"/>
                  <a:gd name="connsiteX1275" fmla="*/ 5599 w 10354"/>
                  <a:gd name="connsiteY1275" fmla="*/ 1103 h 10000"/>
                  <a:gd name="connsiteX1276" fmla="*/ 5594 w 10354"/>
                  <a:gd name="connsiteY1276" fmla="*/ 1068 h 10000"/>
                  <a:gd name="connsiteX1277" fmla="*/ 5594 w 10354"/>
                  <a:gd name="connsiteY1277" fmla="*/ 1060 h 10000"/>
                  <a:gd name="connsiteX1278" fmla="*/ 5581 w 10354"/>
                  <a:gd name="connsiteY1278" fmla="*/ 1034 h 10000"/>
                  <a:gd name="connsiteX1279" fmla="*/ 5571 w 10354"/>
                  <a:gd name="connsiteY1279" fmla="*/ 1009 h 10000"/>
                  <a:gd name="connsiteX1280" fmla="*/ 5571 w 10354"/>
                  <a:gd name="connsiteY1280" fmla="*/ 991 h 10000"/>
                  <a:gd name="connsiteX1281" fmla="*/ 5585 w 10354"/>
                  <a:gd name="connsiteY1281" fmla="*/ 1009 h 10000"/>
                  <a:gd name="connsiteX1282" fmla="*/ 5604 w 10354"/>
                  <a:gd name="connsiteY1282" fmla="*/ 1043 h 10000"/>
                  <a:gd name="connsiteX1283" fmla="*/ 5641 w 10354"/>
                  <a:gd name="connsiteY1283" fmla="*/ 1094 h 10000"/>
                  <a:gd name="connsiteX1284" fmla="*/ 5631 w 10354"/>
                  <a:gd name="connsiteY1284" fmla="*/ 1128 h 10000"/>
                  <a:gd name="connsiteX1285" fmla="*/ 5641 w 10354"/>
                  <a:gd name="connsiteY1285" fmla="*/ 1128 h 10000"/>
                  <a:gd name="connsiteX1286" fmla="*/ 5659 w 10354"/>
                  <a:gd name="connsiteY1286" fmla="*/ 1017 h 10000"/>
                  <a:gd name="connsiteX1287" fmla="*/ 5659 w 10354"/>
                  <a:gd name="connsiteY1287" fmla="*/ 983 h 10000"/>
                  <a:gd name="connsiteX1288" fmla="*/ 5659 w 10354"/>
                  <a:gd name="connsiteY1288" fmla="*/ 957 h 10000"/>
                  <a:gd name="connsiteX1289" fmla="*/ 5654 w 10354"/>
                  <a:gd name="connsiteY1289" fmla="*/ 966 h 10000"/>
                  <a:gd name="connsiteX1290" fmla="*/ 5641 w 10354"/>
                  <a:gd name="connsiteY1290" fmla="*/ 957 h 10000"/>
                  <a:gd name="connsiteX1291" fmla="*/ 5631 w 10354"/>
                  <a:gd name="connsiteY1291" fmla="*/ 897 h 10000"/>
                  <a:gd name="connsiteX1292" fmla="*/ 5641 w 10354"/>
                  <a:gd name="connsiteY1292" fmla="*/ 872 h 10000"/>
                  <a:gd name="connsiteX1293" fmla="*/ 5618 w 10354"/>
                  <a:gd name="connsiteY1293" fmla="*/ 803 h 10000"/>
                  <a:gd name="connsiteX1294" fmla="*/ 5604 w 10354"/>
                  <a:gd name="connsiteY1294" fmla="*/ 821 h 10000"/>
                  <a:gd name="connsiteX1295" fmla="*/ 5613 w 10354"/>
                  <a:gd name="connsiteY1295" fmla="*/ 846 h 10000"/>
                  <a:gd name="connsiteX1296" fmla="*/ 5604 w 10354"/>
                  <a:gd name="connsiteY1296" fmla="*/ 855 h 10000"/>
                  <a:gd name="connsiteX1297" fmla="*/ 5599 w 10354"/>
                  <a:gd name="connsiteY1297" fmla="*/ 880 h 10000"/>
                  <a:gd name="connsiteX1298" fmla="*/ 5594 w 10354"/>
                  <a:gd name="connsiteY1298" fmla="*/ 880 h 10000"/>
                  <a:gd name="connsiteX1299" fmla="*/ 5585 w 10354"/>
                  <a:gd name="connsiteY1299" fmla="*/ 829 h 10000"/>
                  <a:gd name="connsiteX1300" fmla="*/ 5571 w 10354"/>
                  <a:gd name="connsiteY1300" fmla="*/ 803 h 10000"/>
                  <a:gd name="connsiteX1301" fmla="*/ 5585 w 10354"/>
                  <a:gd name="connsiteY1301" fmla="*/ 795 h 10000"/>
                  <a:gd name="connsiteX1302" fmla="*/ 5585 w 10354"/>
                  <a:gd name="connsiteY1302" fmla="*/ 761 h 10000"/>
                  <a:gd name="connsiteX1303" fmla="*/ 5558 w 10354"/>
                  <a:gd name="connsiteY1303" fmla="*/ 709 h 10000"/>
                  <a:gd name="connsiteX1304" fmla="*/ 5544 w 10354"/>
                  <a:gd name="connsiteY1304" fmla="*/ 709 h 10000"/>
                  <a:gd name="connsiteX1305" fmla="*/ 5544 w 10354"/>
                  <a:gd name="connsiteY1305" fmla="*/ 684 h 10000"/>
                  <a:gd name="connsiteX1306" fmla="*/ 5525 w 10354"/>
                  <a:gd name="connsiteY1306" fmla="*/ 632 h 10000"/>
                  <a:gd name="connsiteX1307" fmla="*/ 5507 w 10354"/>
                  <a:gd name="connsiteY1307" fmla="*/ 607 h 10000"/>
                  <a:gd name="connsiteX1308" fmla="*/ 5512 w 10354"/>
                  <a:gd name="connsiteY1308" fmla="*/ 598 h 10000"/>
                  <a:gd name="connsiteX1309" fmla="*/ 5507 w 10354"/>
                  <a:gd name="connsiteY1309" fmla="*/ 581 h 10000"/>
                  <a:gd name="connsiteX1310" fmla="*/ 5493 w 10354"/>
                  <a:gd name="connsiteY1310" fmla="*/ 573 h 10000"/>
                  <a:gd name="connsiteX1311" fmla="*/ 5484 w 10354"/>
                  <a:gd name="connsiteY1311" fmla="*/ 581 h 10000"/>
                  <a:gd name="connsiteX1312" fmla="*/ 5484 w 10354"/>
                  <a:gd name="connsiteY1312" fmla="*/ 573 h 10000"/>
                  <a:gd name="connsiteX1313" fmla="*/ 5484 w 10354"/>
                  <a:gd name="connsiteY1313" fmla="*/ 547 h 10000"/>
                  <a:gd name="connsiteX1314" fmla="*/ 5465 w 10354"/>
                  <a:gd name="connsiteY1314" fmla="*/ 556 h 10000"/>
                  <a:gd name="connsiteX1315" fmla="*/ 5433 w 10354"/>
                  <a:gd name="connsiteY1315" fmla="*/ 547 h 10000"/>
                  <a:gd name="connsiteX1316" fmla="*/ 5410 w 10354"/>
                  <a:gd name="connsiteY1316" fmla="*/ 573 h 10000"/>
                  <a:gd name="connsiteX1317" fmla="*/ 5406 w 10354"/>
                  <a:gd name="connsiteY1317" fmla="*/ 573 h 10000"/>
                  <a:gd name="connsiteX1318" fmla="*/ 5392 w 10354"/>
                  <a:gd name="connsiteY1318" fmla="*/ 573 h 10000"/>
                  <a:gd name="connsiteX1319" fmla="*/ 5364 w 10354"/>
                  <a:gd name="connsiteY1319" fmla="*/ 530 h 10000"/>
                  <a:gd name="connsiteX1320" fmla="*/ 5350 w 10354"/>
                  <a:gd name="connsiteY1320" fmla="*/ 556 h 10000"/>
                  <a:gd name="connsiteX1321" fmla="*/ 5346 w 10354"/>
                  <a:gd name="connsiteY1321" fmla="*/ 556 h 10000"/>
                  <a:gd name="connsiteX1322" fmla="*/ 5313 w 10354"/>
                  <a:gd name="connsiteY1322" fmla="*/ 573 h 10000"/>
                  <a:gd name="connsiteX1323" fmla="*/ 5304 w 10354"/>
                  <a:gd name="connsiteY1323" fmla="*/ 556 h 10000"/>
                  <a:gd name="connsiteX1324" fmla="*/ 5290 w 10354"/>
                  <a:gd name="connsiteY1324" fmla="*/ 573 h 10000"/>
                  <a:gd name="connsiteX1325" fmla="*/ 5290 w 10354"/>
                  <a:gd name="connsiteY1325" fmla="*/ 556 h 10000"/>
                  <a:gd name="connsiteX1326" fmla="*/ 5300 w 10354"/>
                  <a:gd name="connsiteY1326" fmla="*/ 547 h 10000"/>
                  <a:gd name="connsiteX1327" fmla="*/ 5300 w 10354"/>
                  <a:gd name="connsiteY1327" fmla="*/ 530 h 10000"/>
                  <a:gd name="connsiteX1328" fmla="*/ 5290 w 10354"/>
                  <a:gd name="connsiteY1328" fmla="*/ 530 h 10000"/>
                  <a:gd name="connsiteX1329" fmla="*/ 5286 w 10354"/>
                  <a:gd name="connsiteY1329" fmla="*/ 547 h 10000"/>
                  <a:gd name="connsiteX1330" fmla="*/ 5272 w 10354"/>
                  <a:gd name="connsiteY1330" fmla="*/ 556 h 10000"/>
                  <a:gd name="connsiteX1331" fmla="*/ 5272 w 10354"/>
                  <a:gd name="connsiteY1331" fmla="*/ 598 h 10000"/>
                  <a:gd name="connsiteX1332" fmla="*/ 5276 w 10354"/>
                  <a:gd name="connsiteY1332" fmla="*/ 581 h 10000"/>
                  <a:gd name="connsiteX1333" fmla="*/ 5272 w 10354"/>
                  <a:gd name="connsiteY1333" fmla="*/ 607 h 10000"/>
                  <a:gd name="connsiteX1334" fmla="*/ 5263 w 10354"/>
                  <a:gd name="connsiteY1334" fmla="*/ 607 h 10000"/>
                  <a:gd name="connsiteX1335" fmla="*/ 5263 w 10354"/>
                  <a:gd name="connsiteY1335" fmla="*/ 632 h 10000"/>
                  <a:gd name="connsiteX1336" fmla="*/ 5258 w 10354"/>
                  <a:gd name="connsiteY1336" fmla="*/ 658 h 10000"/>
                  <a:gd name="connsiteX1337" fmla="*/ 5244 w 10354"/>
                  <a:gd name="connsiteY1337" fmla="*/ 667 h 10000"/>
                  <a:gd name="connsiteX1338" fmla="*/ 5240 w 10354"/>
                  <a:gd name="connsiteY1338" fmla="*/ 658 h 10000"/>
                  <a:gd name="connsiteX1339" fmla="*/ 5240 w 10354"/>
                  <a:gd name="connsiteY1339" fmla="*/ 684 h 10000"/>
                  <a:gd name="connsiteX1340" fmla="*/ 5212 w 10354"/>
                  <a:gd name="connsiteY1340" fmla="*/ 684 h 10000"/>
                  <a:gd name="connsiteX1341" fmla="*/ 5198 w 10354"/>
                  <a:gd name="connsiteY1341" fmla="*/ 692 h 10000"/>
                  <a:gd name="connsiteX1342" fmla="*/ 5184 w 10354"/>
                  <a:gd name="connsiteY1342" fmla="*/ 684 h 10000"/>
                  <a:gd name="connsiteX1343" fmla="*/ 5157 w 10354"/>
                  <a:gd name="connsiteY1343" fmla="*/ 684 h 10000"/>
                  <a:gd name="connsiteX1344" fmla="*/ 5157 w 10354"/>
                  <a:gd name="connsiteY1344" fmla="*/ 667 h 10000"/>
                  <a:gd name="connsiteX1345" fmla="*/ 5157 w 10354"/>
                  <a:gd name="connsiteY1345" fmla="*/ 667 h 10000"/>
                  <a:gd name="connsiteX1346" fmla="*/ 5180 w 10354"/>
                  <a:gd name="connsiteY1346" fmla="*/ 650 h 10000"/>
                  <a:gd name="connsiteX1347" fmla="*/ 5184 w 10354"/>
                  <a:gd name="connsiteY1347" fmla="*/ 658 h 10000"/>
                  <a:gd name="connsiteX1348" fmla="*/ 5203 w 10354"/>
                  <a:gd name="connsiteY1348" fmla="*/ 547 h 10000"/>
                  <a:gd name="connsiteX1349" fmla="*/ 5226 w 10354"/>
                  <a:gd name="connsiteY1349" fmla="*/ 530 h 10000"/>
                  <a:gd name="connsiteX1350" fmla="*/ 5230 w 10354"/>
                  <a:gd name="connsiteY1350" fmla="*/ 487 h 10000"/>
                  <a:gd name="connsiteX1351" fmla="*/ 5230 w 10354"/>
                  <a:gd name="connsiteY1351" fmla="*/ 487 h 10000"/>
                  <a:gd name="connsiteX1352" fmla="*/ 5226 w 10354"/>
                  <a:gd name="connsiteY1352" fmla="*/ 462 h 10000"/>
                  <a:gd name="connsiteX1353" fmla="*/ 5226 w 10354"/>
                  <a:gd name="connsiteY1353" fmla="*/ 462 h 10000"/>
                  <a:gd name="connsiteX1354" fmla="*/ 5240 w 10354"/>
                  <a:gd name="connsiteY1354" fmla="*/ 462 h 10000"/>
                  <a:gd name="connsiteX1355" fmla="*/ 5240 w 10354"/>
                  <a:gd name="connsiteY1355" fmla="*/ 444 h 10000"/>
                  <a:gd name="connsiteX1356" fmla="*/ 5230 w 10354"/>
                  <a:gd name="connsiteY1356" fmla="*/ 436 h 10000"/>
                  <a:gd name="connsiteX1357" fmla="*/ 5230 w 10354"/>
                  <a:gd name="connsiteY1357" fmla="*/ 419 h 10000"/>
                  <a:gd name="connsiteX1358" fmla="*/ 5230 w 10354"/>
                  <a:gd name="connsiteY1358" fmla="*/ 410 h 10000"/>
                  <a:gd name="connsiteX1359" fmla="*/ 5198 w 10354"/>
                  <a:gd name="connsiteY1359" fmla="*/ 402 h 10000"/>
                  <a:gd name="connsiteX1360" fmla="*/ 5189 w 10354"/>
                  <a:gd name="connsiteY1360" fmla="*/ 402 h 10000"/>
                  <a:gd name="connsiteX1361" fmla="*/ 5184 w 10354"/>
                  <a:gd name="connsiteY1361" fmla="*/ 376 h 10000"/>
                  <a:gd name="connsiteX1362" fmla="*/ 5180 w 10354"/>
                  <a:gd name="connsiteY1362" fmla="*/ 376 h 10000"/>
                  <a:gd name="connsiteX1363" fmla="*/ 5166 w 10354"/>
                  <a:gd name="connsiteY1363" fmla="*/ 376 h 10000"/>
                  <a:gd name="connsiteX1364" fmla="*/ 5157 w 10354"/>
                  <a:gd name="connsiteY1364" fmla="*/ 385 h 10000"/>
                  <a:gd name="connsiteX1365" fmla="*/ 5152 w 10354"/>
                  <a:gd name="connsiteY1365" fmla="*/ 376 h 10000"/>
                  <a:gd name="connsiteX1366" fmla="*/ 5129 w 10354"/>
                  <a:gd name="connsiteY1366" fmla="*/ 385 h 10000"/>
                  <a:gd name="connsiteX1367" fmla="*/ 5129 w 10354"/>
                  <a:gd name="connsiteY1367" fmla="*/ 350 h 10000"/>
                  <a:gd name="connsiteX1368" fmla="*/ 5129 w 10354"/>
                  <a:gd name="connsiteY1368" fmla="*/ 325 h 10000"/>
                  <a:gd name="connsiteX1369" fmla="*/ 5124 w 10354"/>
                  <a:gd name="connsiteY1369" fmla="*/ 359 h 10000"/>
                  <a:gd name="connsiteX1370" fmla="*/ 5106 w 10354"/>
                  <a:gd name="connsiteY1370" fmla="*/ 359 h 10000"/>
                  <a:gd name="connsiteX1371" fmla="*/ 5037 w 10354"/>
                  <a:gd name="connsiteY1371" fmla="*/ 419 h 10000"/>
                  <a:gd name="connsiteX1372" fmla="*/ 5051 w 10354"/>
                  <a:gd name="connsiteY1372" fmla="*/ 385 h 10000"/>
                  <a:gd name="connsiteX1373" fmla="*/ 5055 w 10354"/>
                  <a:gd name="connsiteY1373" fmla="*/ 376 h 10000"/>
                  <a:gd name="connsiteX1374" fmla="*/ 5092 w 10354"/>
                  <a:gd name="connsiteY1374" fmla="*/ 282 h 10000"/>
                  <a:gd name="connsiteX1375" fmla="*/ 5106 w 10354"/>
                  <a:gd name="connsiteY1375" fmla="*/ 265 h 10000"/>
                  <a:gd name="connsiteX1376" fmla="*/ 5115 w 10354"/>
                  <a:gd name="connsiteY1376" fmla="*/ 265 h 10000"/>
                  <a:gd name="connsiteX1377" fmla="*/ 5124 w 10354"/>
                  <a:gd name="connsiteY1377" fmla="*/ 222 h 10000"/>
                  <a:gd name="connsiteX1378" fmla="*/ 5124 w 10354"/>
                  <a:gd name="connsiteY1378" fmla="*/ 214 h 10000"/>
                  <a:gd name="connsiteX1379" fmla="*/ 5143 w 10354"/>
                  <a:gd name="connsiteY1379" fmla="*/ 197 h 10000"/>
                  <a:gd name="connsiteX1380" fmla="*/ 5152 w 10354"/>
                  <a:gd name="connsiteY1380" fmla="*/ 214 h 10000"/>
                  <a:gd name="connsiteX1381" fmla="*/ 5143 w 10354"/>
                  <a:gd name="connsiteY1381" fmla="*/ 188 h 10000"/>
                  <a:gd name="connsiteX1382" fmla="*/ 5129 w 10354"/>
                  <a:gd name="connsiteY1382" fmla="*/ 103 h 10000"/>
                  <a:gd name="connsiteX1383" fmla="*/ 5115 w 10354"/>
                  <a:gd name="connsiteY1383" fmla="*/ 85 h 10000"/>
                  <a:gd name="connsiteX1384" fmla="*/ 5111 w 10354"/>
                  <a:gd name="connsiteY1384" fmla="*/ 111 h 10000"/>
                  <a:gd name="connsiteX1385" fmla="*/ 5092 w 10354"/>
                  <a:gd name="connsiteY1385" fmla="*/ 103 h 10000"/>
                  <a:gd name="connsiteX1386" fmla="*/ 5069 w 10354"/>
                  <a:gd name="connsiteY1386" fmla="*/ 77 h 10000"/>
                  <a:gd name="connsiteX1387" fmla="*/ 5051 w 10354"/>
                  <a:gd name="connsiteY1387" fmla="*/ 26 h 10000"/>
                  <a:gd name="connsiteX1388" fmla="*/ 5041 w 10354"/>
                  <a:gd name="connsiteY1388" fmla="*/ 34 h 10000"/>
                  <a:gd name="connsiteX1389" fmla="*/ 5037 w 10354"/>
                  <a:gd name="connsiteY1389" fmla="*/ 34 h 10000"/>
                  <a:gd name="connsiteX1390" fmla="*/ 5037 w 10354"/>
                  <a:gd name="connsiteY1390" fmla="*/ 26 h 10000"/>
                  <a:gd name="connsiteX1391" fmla="*/ 5037 w 10354"/>
                  <a:gd name="connsiteY1391" fmla="*/ 9 h 10000"/>
                  <a:gd name="connsiteX1392" fmla="*/ 5023 w 10354"/>
                  <a:gd name="connsiteY1392" fmla="*/ 0 h 10000"/>
                  <a:gd name="connsiteX1393" fmla="*/ 5009 w 10354"/>
                  <a:gd name="connsiteY1393" fmla="*/ 9 h 10000"/>
                  <a:gd name="connsiteX1394" fmla="*/ 4995 w 10354"/>
                  <a:gd name="connsiteY1394" fmla="*/ 34 h 10000"/>
                  <a:gd name="connsiteX1395" fmla="*/ 4991 w 10354"/>
                  <a:gd name="connsiteY1395" fmla="*/ 60 h 10000"/>
                  <a:gd name="connsiteX1396" fmla="*/ 4982 w 10354"/>
                  <a:gd name="connsiteY1396" fmla="*/ 60 h 10000"/>
                  <a:gd name="connsiteX1397" fmla="*/ 4949 w 10354"/>
                  <a:gd name="connsiteY1397" fmla="*/ 51 h 10000"/>
                  <a:gd name="connsiteX1398" fmla="*/ 4949 w 10354"/>
                  <a:gd name="connsiteY1398" fmla="*/ 85 h 10000"/>
                  <a:gd name="connsiteX1399" fmla="*/ 4903 w 10354"/>
                  <a:gd name="connsiteY1399" fmla="*/ 197 h 10000"/>
                  <a:gd name="connsiteX1400" fmla="*/ 4899 w 10354"/>
                  <a:gd name="connsiteY1400" fmla="*/ 239 h 10000"/>
                  <a:gd name="connsiteX1401" fmla="*/ 4871 w 10354"/>
                  <a:gd name="connsiteY1401" fmla="*/ 274 h 10000"/>
                  <a:gd name="connsiteX1402" fmla="*/ 4871 w 10354"/>
                  <a:gd name="connsiteY1402" fmla="*/ 282 h 10000"/>
                  <a:gd name="connsiteX1403" fmla="*/ 4834 w 10354"/>
                  <a:gd name="connsiteY1403" fmla="*/ 376 h 10000"/>
                  <a:gd name="connsiteX1404" fmla="*/ 4829 w 10354"/>
                  <a:gd name="connsiteY1404" fmla="*/ 402 h 10000"/>
                  <a:gd name="connsiteX1405" fmla="*/ 4834 w 10354"/>
                  <a:gd name="connsiteY1405" fmla="*/ 410 h 10000"/>
                  <a:gd name="connsiteX1406" fmla="*/ 4829 w 10354"/>
                  <a:gd name="connsiteY1406" fmla="*/ 436 h 10000"/>
                  <a:gd name="connsiteX1407" fmla="*/ 4825 w 10354"/>
                  <a:gd name="connsiteY1407" fmla="*/ 436 h 10000"/>
                  <a:gd name="connsiteX1408" fmla="*/ 4825 w 10354"/>
                  <a:gd name="connsiteY1408" fmla="*/ 444 h 10000"/>
                  <a:gd name="connsiteX1409" fmla="*/ 4811 w 10354"/>
                  <a:gd name="connsiteY1409" fmla="*/ 496 h 10000"/>
                  <a:gd name="connsiteX1410" fmla="*/ 4811 w 10354"/>
                  <a:gd name="connsiteY1410" fmla="*/ 496 h 10000"/>
                  <a:gd name="connsiteX1411" fmla="*/ 4811 w 10354"/>
                  <a:gd name="connsiteY1411" fmla="*/ 521 h 10000"/>
                  <a:gd name="connsiteX1412" fmla="*/ 4816 w 10354"/>
                  <a:gd name="connsiteY1412" fmla="*/ 530 h 10000"/>
                  <a:gd name="connsiteX1413" fmla="*/ 4834 w 10354"/>
                  <a:gd name="connsiteY1413" fmla="*/ 547 h 10000"/>
                  <a:gd name="connsiteX1414" fmla="*/ 4834 w 10354"/>
                  <a:gd name="connsiteY1414" fmla="*/ 581 h 10000"/>
                  <a:gd name="connsiteX1415" fmla="*/ 4843 w 10354"/>
                  <a:gd name="connsiteY1415" fmla="*/ 581 h 10000"/>
                  <a:gd name="connsiteX1416" fmla="*/ 4843 w 10354"/>
                  <a:gd name="connsiteY1416" fmla="*/ 598 h 10000"/>
                  <a:gd name="connsiteX1417" fmla="*/ 4829 w 10354"/>
                  <a:gd name="connsiteY1417" fmla="*/ 598 h 10000"/>
                  <a:gd name="connsiteX1418" fmla="*/ 4829 w 10354"/>
                  <a:gd name="connsiteY1418" fmla="*/ 573 h 10000"/>
                  <a:gd name="connsiteX1419" fmla="*/ 4829 w 10354"/>
                  <a:gd name="connsiteY1419" fmla="*/ 632 h 10000"/>
                  <a:gd name="connsiteX1420" fmla="*/ 4829 w 10354"/>
                  <a:gd name="connsiteY1420" fmla="*/ 632 h 10000"/>
                  <a:gd name="connsiteX1421" fmla="*/ 4829 w 10354"/>
                  <a:gd name="connsiteY1421" fmla="*/ 650 h 10000"/>
                  <a:gd name="connsiteX1422" fmla="*/ 4774 w 10354"/>
                  <a:gd name="connsiteY1422" fmla="*/ 684 h 10000"/>
                  <a:gd name="connsiteX1423" fmla="*/ 4756 w 10354"/>
                  <a:gd name="connsiteY1423" fmla="*/ 684 h 10000"/>
                  <a:gd name="connsiteX1424" fmla="*/ 4737 w 10354"/>
                  <a:gd name="connsiteY1424" fmla="*/ 692 h 10000"/>
                  <a:gd name="connsiteX1425" fmla="*/ 4677 w 10354"/>
                  <a:gd name="connsiteY1425" fmla="*/ 667 h 10000"/>
                  <a:gd name="connsiteX1426" fmla="*/ 4682 w 10354"/>
                  <a:gd name="connsiteY1426" fmla="*/ 692 h 10000"/>
                  <a:gd name="connsiteX1427" fmla="*/ 4682 w 10354"/>
                  <a:gd name="connsiteY1427" fmla="*/ 709 h 10000"/>
                  <a:gd name="connsiteX1428" fmla="*/ 4691 w 10354"/>
                  <a:gd name="connsiteY1428" fmla="*/ 718 h 10000"/>
                  <a:gd name="connsiteX1429" fmla="*/ 4691 w 10354"/>
                  <a:gd name="connsiteY1429" fmla="*/ 744 h 10000"/>
                  <a:gd name="connsiteX1430" fmla="*/ 4700 w 10354"/>
                  <a:gd name="connsiteY1430" fmla="*/ 744 h 10000"/>
                  <a:gd name="connsiteX1431" fmla="*/ 4714 w 10354"/>
                  <a:gd name="connsiteY1431" fmla="*/ 769 h 10000"/>
                  <a:gd name="connsiteX1432" fmla="*/ 4710 w 10354"/>
                  <a:gd name="connsiteY1432" fmla="*/ 786 h 10000"/>
                  <a:gd name="connsiteX1433" fmla="*/ 4737 w 10354"/>
                  <a:gd name="connsiteY1433" fmla="*/ 786 h 10000"/>
                  <a:gd name="connsiteX1434" fmla="*/ 4742 w 10354"/>
                  <a:gd name="connsiteY1434" fmla="*/ 795 h 10000"/>
                  <a:gd name="connsiteX1435" fmla="*/ 4742 w 10354"/>
                  <a:gd name="connsiteY1435" fmla="*/ 803 h 10000"/>
                  <a:gd name="connsiteX1436" fmla="*/ 4737 w 10354"/>
                  <a:gd name="connsiteY1436" fmla="*/ 846 h 10000"/>
                  <a:gd name="connsiteX1437" fmla="*/ 4737 w 10354"/>
                  <a:gd name="connsiteY1437" fmla="*/ 880 h 10000"/>
                  <a:gd name="connsiteX1438" fmla="*/ 4737 w 10354"/>
                  <a:gd name="connsiteY1438" fmla="*/ 906 h 10000"/>
                  <a:gd name="connsiteX1439" fmla="*/ 4724 w 10354"/>
                  <a:gd name="connsiteY1439" fmla="*/ 897 h 10000"/>
                  <a:gd name="connsiteX1440" fmla="*/ 4724 w 10354"/>
                  <a:gd name="connsiteY1440" fmla="*/ 872 h 10000"/>
                  <a:gd name="connsiteX1441" fmla="*/ 4714 w 10354"/>
                  <a:gd name="connsiteY1441" fmla="*/ 855 h 10000"/>
                  <a:gd name="connsiteX1442" fmla="*/ 4691 w 10354"/>
                  <a:gd name="connsiteY1442" fmla="*/ 846 h 10000"/>
                  <a:gd name="connsiteX1443" fmla="*/ 4691 w 10354"/>
                  <a:gd name="connsiteY1443" fmla="*/ 846 h 10000"/>
                  <a:gd name="connsiteX1444" fmla="*/ 4696 w 10354"/>
                  <a:gd name="connsiteY1444" fmla="*/ 821 h 10000"/>
                  <a:gd name="connsiteX1445" fmla="*/ 4691 w 10354"/>
                  <a:gd name="connsiteY1445" fmla="*/ 803 h 10000"/>
                  <a:gd name="connsiteX1446" fmla="*/ 4668 w 10354"/>
                  <a:gd name="connsiteY1446" fmla="*/ 821 h 10000"/>
                  <a:gd name="connsiteX1447" fmla="*/ 4668 w 10354"/>
                  <a:gd name="connsiteY1447" fmla="*/ 786 h 10000"/>
                  <a:gd name="connsiteX1448" fmla="*/ 4664 w 10354"/>
                  <a:gd name="connsiteY1448" fmla="*/ 786 h 10000"/>
                  <a:gd name="connsiteX1449" fmla="*/ 4622 w 10354"/>
                  <a:gd name="connsiteY1449" fmla="*/ 846 h 10000"/>
                  <a:gd name="connsiteX1450" fmla="*/ 4627 w 10354"/>
                  <a:gd name="connsiteY1450" fmla="*/ 872 h 10000"/>
                  <a:gd name="connsiteX1451" fmla="*/ 4622 w 10354"/>
                  <a:gd name="connsiteY1451" fmla="*/ 880 h 10000"/>
                  <a:gd name="connsiteX1452" fmla="*/ 4622 w 10354"/>
                  <a:gd name="connsiteY1452" fmla="*/ 880 h 10000"/>
                  <a:gd name="connsiteX1453" fmla="*/ 4618 w 10354"/>
                  <a:gd name="connsiteY1453" fmla="*/ 872 h 10000"/>
                  <a:gd name="connsiteX1454" fmla="*/ 4604 w 10354"/>
                  <a:gd name="connsiteY1454" fmla="*/ 880 h 10000"/>
                  <a:gd name="connsiteX1455" fmla="*/ 4594 w 10354"/>
                  <a:gd name="connsiteY1455" fmla="*/ 906 h 10000"/>
                  <a:gd name="connsiteX1456" fmla="*/ 4604 w 10354"/>
                  <a:gd name="connsiteY1456" fmla="*/ 906 h 10000"/>
                  <a:gd name="connsiteX1457" fmla="*/ 4608 w 10354"/>
                  <a:gd name="connsiteY1457" fmla="*/ 906 h 10000"/>
                  <a:gd name="connsiteX1458" fmla="*/ 4608 w 10354"/>
                  <a:gd name="connsiteY1458" fmla="*/ 932 h 10000"/>
                  <a:gd name="connsiteX1459" fmla="*/ 4604 w 10354"/>
                  <a:gd name="connsiteY1459" fmla="*/ 932 h 10000"/>
                  <a:gd name="connsiteX1460" fmla="*/ 4590 w 10354"/>
                  <a:gd name="connsiteY1460" fmla="*/ 932 h 10000"/>
                  <a:gd name="connsiteX1461" fmla="*/ 4567 w 10354"/>
                  <a:gd name="connsiteY1461" fmla="*/ 957 h 10000"/>
                  <a:gd name="connsiteX1462" fmla="*/ 4567 w 10354"/>
                  <a:gd name="connsiteY1462" fmla="*/ 932 h 10000"/>
                  <a:gd name="connsiteX1463" fmla="*/ 4567 w 10354"/>
                  <a:gd name="connsiteY1463" fmla="*/ 923 h 10000"/>
                  <a:gd name="connsiteX1464" fmla="*/ 4562 w 10354"/>
                  <a:gd name="connsiteY1464" fmla="*/ 932 h 10000"/>
                  <a:gd name="connsiteX1465" fmla="*/ 4548 w 10354"/>
                  <a:gd name="connsiteY1465" fmla="*/ 957 h 10000"/>
                  <a:gd name="connsiteX1466" fmla="*/ 4544 w 10354"/>
                  <a:gd name="connsiteY1466" fmla="*/ 957 h 10000"/>
                  <a:gd name="connsiteX1467" fmla="*/ 4521 w 10354"/>
                  <a:gd name="connsiteY1467" fmla="*/ 983 h 10000"/>
                  <a:gd name="connsiteX1468" fmla="*/ 4521 w 10354"/>
                  <a:gd name="connsiteY1468" fmla="*/ 983 h 10000"/>
                  <a:gd name="connsiteX1469" fmla="*/ 4530 w 10354"/>
                  <a:gd name="connsiteY1469" fmla="*/ 957 h 10000"/>
                  <a:gd name="connsiteX1470" fmla="*/ 4535 w 10354"/>
                  <a:gd name="connsiteY1470" fmla="*/ 932 h 10000"/>
                  <a:gd name="connsiteX1471" fmla="*/ 4521 w 10354"/>
                  <a:gd name="connsiteY1471" fmla="*/ 932 h 10000"/>
                  <a:gd name="connsiteX1472" fmla="*/ 4516 w 10354"/>
                  <a:gd name="connsiteY1472" fmla="*/ 923 h 10000"/>
                  <a:gd name="connsiteX1473" fmla="*/ 4516 w 10354"/>
                  <a:gd name="connsiteY1473" fmla="*/ 932 h 10000"/>
                  <a:gd name="connsiteX1474" fmla="*/ 4488 w 10354"/>
                  <a:gd name="connsiteY1474" fmla="*/ 940 h 10000"/>
                  <a:gd name="connsiteX1475" fmla="*/ 4484 w 10354"/>
                  <a:gd name="connsiteY1475" fmla="*/ 983 h 10000"/>
                  <a:gd name="connsiteX1476" fmla="*/ 4470 w 10354"/>
                  <a:gd name="connsiteY1476" fmla="*/ 983 h 10000"/>
                  <a:gd name="connsiteX1477" fmla="*/ 4470 w 10354"/>
                  <a:gd name="connsiteY1477" fmla="*/ 966 h 10000"/>
                  <a:gd name="connsiteX1478" fmla="*/ 4488 w 10354"/>
                  <a:gd name="connsiteY1478" fmla="*/ 923 h 10000"/>
                  <a:gd name="connsiteX1479" fmla="*/ 4493 w 10354"/>
                  <a:gd name="connsiteY1479" fmla="*/ 880 h 10000"/>
                  <a:gd name="connsiteX1480" fmla="*/ 4475 w 10354"/>
                  <a:gd name="connsiteY1480" fmla="*/ 846 h 10000"/>
                  <a:gd name="connsiteX1481" fmla="*/ 4442 w 10354"/>
                  <a:gd name="connsiteY1481" fmla="*/ 855 h 10000"/>
                  <a:gd name="connsiteX1482" fmla="*/ 4433 w 10354"/>
                  <a:gd name="connsiteY1482" fmla="*/ 855 h 10000"/>
                  <a:gd name="connsiteX1483" fmla="*/ 4433 w 10354"/>
                  <a:gd name="connsiteY1483" fmla="*/ 880 h 10000"/>
                  <a:gd name="connsiteX1484" fmla="*/ 4401 w 10354"/>
                  <a:gd name="connsiteY1484" fmla="*/ 855 h 10000"/>
                  <a:gd name="connsiteX1485" fmla="*/ 4396 w 10354"/>
                  <a:gd name="connsiteY1485" fmla="*/ 872 h 10000"/>
                  <a:gd name="connsiteX1486" fmla="*/ 4382 w 10354"/>
                  <a:gd name="connsiteY1486" fmla="*/ 897 h 10000"/>
                  <a:gd name="connsiteX1487" fmla="*/ 4373 w 10354"/>
                  <a:gd name="connsiteY1487" fmla="*/ 872 h 10000"/>
                  <a:gd name="connsiteX1488" fmla="*/ 4341 w 10354"/>
                  <a:gd name="connsiteY1488" fmla="*/ 872 h 10000"/>
                  <a:gd name="connsiteX1489" fmla="*/ 4336 w 10354"/>
                  <a:gd name="connsiteY1489" fmla="*/ 880 h 10000"/>
                  <a:gd name="connsiteX1490" fmla="*/ 4346 w 10354"/>
                  <a:gd name="connsiteY1490" fmla="*/ 897 h 10000"/>
                  <a:gd name="connsiteX1491" fmla="*/ 4346 w 10354"/>
                  <a:gd name="connsiteY1491" fmla="*/ 897 h 10000"/>
                  <a:gd name="connsiteX1492" fmla="*/ 4313 w 10354"/>
                  <a:gd name="connsiteY1492" fmla="*/ 906 h 10000"/>
                  <a:gd name="connsiteX1493" fmla="*/ 4313 w 10354"/>
                  <a:gd name="connsiteY1493" fmla="*/ 906 h 10000"/>
                  <a:gd name="connsiteX1494" fmla="*/ 4313 w 10354"/>
                  <a:gd name="connsiteY1494" fmla="*/ 880 h 10000"/>
                  <a:gd name="connsiteX1495" fmla="*/ 4309 w 10354"/>
                  <a:gd name="connsiteY1495" fmla="*/ 897 h 10000"/>
                  <a:gd name="connsiteX1496" fmla="*/ 4295 w 10354"/>
                  <a:gd name="connsiteY1496" fmla="*/ 923 h 10000"/>
                  <a:gd name="connsiteX1497" fmla="*/ 4286 w 10354"/>
                  <a:gd name="connsiteY1497" fmla="*/ 897 h 10000"/>
                  <a:gd name="connsiteX1498" fmla="*/ 4281 w 10354"/>
                  <a:gd name="connsiteY1498" fmla="*/ 906 h 10000"/>
                  <a:gd name="connsiteX1499" fmla="*/ 4281 w 10354"/>
                  <a:gd name="connsiteY1499" fmla="*/ 940 h 10000"/>
                  <a:gd name="connsiteX1500" fmla="*/ 4286 w 10354"/>
                  <a:gd name="connsiteY1500" fmla="*/ 957 h 10000"/>
                  <a:gd name="connsiteX1501" fmla="*/ 4309 w 10354"/>
                  <a:gd name="connsiteY1501" fmla="*/ 932 h 10000"/>
                  <a:gd name="connsiteX1502" fmla="*/ 4313 w 10354"/>
                  <a:gd name="connsiteY1502" fmla="*/ 957 h 10000"/>
                  <a:gd name="connsiteX1503" fmla="*/ 4313 w 10354"/>
                  <a:gd name="connsiteY1503" fmla="*/ 966 h 10000"/>
                  <a:gd name="connsiteX1504" fmla="*/ 4323 w 10354"/>
                  <a:gd name="connsiteY1504" fmla="*/ 966 h 10000"/>
                  <a:gd name="connsiteX1505" fmla="*/ 4323 w 10354"/>
                  <a:gd name="connsiteY1505" fmla="*/ 940 h 10000"/>
                  <a:gd name="connsiteX1506" fmla="*/ 4327 w 10354"/>
                  <a:gd name="connsiteY1506" fmla="*/ 940 h 10000"/>
                  <a:gd name="connsiteX1507" fmla="*/ 4327 w 10354"/>
                  <a:gd name="connsiteY1507" fmla="*/ 957 h 10000"/>
                  <a:gd name="connsiteX1508" fmla="*/ 4327 w 10354"/>
                  <a:gd name="connsiteY1508" fmla="*/ 966 h 10000"/>
                  <a:gd name="connsiteX1509" fmla="*/ 4323 w 10354"/>
                  <a:gd name="connsiteY1509" fmla="*/ 991 h 10000"/>
                  <a:gd name="connsiteX1510" fmla="*/ 4207 w 10354"/>
                  <a:gd name="connsiteY1510" fmla="*/ 1060 h 10000"/>
                  <a:gd name="connsiteX1511" fmla="*/ 4207 w 10354"/>
                  <a:gd name="connsiteY1511" fmla="*/ 1060 h 10000"/>
                  <a:gd name="connsiteX1512" fmla="*/ 4203 w 10354"/>
                  <a:gd name="connsiteY1512" fmla="*/ 1068 h 10000"/>
                  <a:gd name="connsiteX1513" fmla="*/ 4203 w 10354"/>
                  <a:gd name="connsiteY1513" fmla="*/ 1094 h 10000"/>
                  <a:gd name="connsiteX1514" fmla="*/ 4203 w 10354"/>
                  <a:gd name="connsiteY1514" fmla="*/ 1094 h 10000"/>
                  <a:gd name="connsiteX1515" fmla="*/ 4189 w 10354"/>
                  <a:gd name="connsiteY1515" fmla="*/ 1094 h 10000"/>
                  <a:gd name="connsiteX1516" fmla="*/ 4166 w 10354"/>
                  <a:gd name="connsiteY1516" fmla="*/ 1103 h 10000"/>
                  <a:gd name="connsiteX1517" fmla="*/ 4152 w 10354"/>
                  <a:gd name="connsiteY1517" fmla="*/ 1094 h 10000"/>
                  <a:gd name="connsiteX1518" fmla="*/ 4134 w 10354"/>
                  <a:gd name="connsiteY1518" fmla="*/ 1120 h 10000"/>
                  <a:gd name="connsiteX1519" fmla="*/ 4106 w 10354"/>
                  <a:gd name="connsiteY1519" fmla="*/ 1120 h 10000"/>
                  <a:gd name="connsiteX1520" fmla="*/ 4092 w 10354"/>
                  <a:gd name="connsiteY1520" fmla="*/ 1154 h 10000"/>
                  <a:gd name="connsiteX1521" fmla="*/ 4106 w 10354"/>
                  <a:gd name="connsiteY1521" fmla="*/ 1171 h 10000"/>
                  <a:gd name="connsiteX1522" fmla="*/ 4078 w 10354"/>
                  <a:gd name="connsiteY1522" fmla="*/ 1179 h 10000"/>
                  <a:gd name="connsiteX1523" fmla="*/ 4065 w 10354"/>
                  <a:gd name="connsiteY1523" fmla="*/ 1205 h 10000"/>
                  <a:gd name="connsiteX1524" fmla="*/ 4046 w 10354"/>
                  <a:gd name="connsiteY1524" fmla="*/ 1179 h 10000"/>
                  <a:gd name="connsiteX1525" fmla="*/ 4041 w 10354"/>
                  <a:gd name="connsiteY1525" fmla="*/ 1197 h 10000"/>
                  <a:gd name="connsiteX1526" fmla="*/ 4028 w 10354"/>
                  <a:gd name="connsiteY1526" fmla="*/ 1205 h 10000"/>
                  <a:gd name="connsiteX1527" fmla="*/ 4028 w 10354"/>
                  <a:gd name="connsiteY1527" fmla="*/ 1205 h 10000"/>
                  <a:gd name="connsiteX1528" fmla="*/ 4032 w 10354"/>
                  <a:gd name="connsiteY1528" fmla="*/ 1205 h 10000"/>
                  <a:gd name="connsiteX1529" fmla="*/ 4032 w 10354"/>
                  <a:gd name="connsiteY1529" fmla="*/ 1231 h 10000"/>
                  <a:gd name="connsiteX1530" fmla="*/ 4014 w 10354"/>
                  <a:gd name="connsiteY1530" fmla="*/ 1239 h 10000"/>
                  <a:gd name="connsiteX1531" fmla="*/ 4014 w 10354"/>
                  <a:gd name="connsiteY1531" fmla="*/ 1256 h 10000"/>
                  <a:gd name="connsiteX1532" fmla="*/ 4000 w 10354"/>
                  <a:gd name="connsiteY1532" fmla="*/ 1265 h 10000"/>
                  <a:gd name="connsiteX1533" fmla="*/ 3986 w 10354"/>
                  <a:gd name="connsiteY1533" fmla="*/ 1308 h 10000"/>
                  <a:gd name="connsiteX1534" fmla="*/ 3972 w 10354"/>
                  <a:gd name="connsiteY1534" fmla="*/ 1316 h 10000"/>
                  <a:gd name="connsiteX1535" fmla="*/ 3972 w 10354"/>
                  <a:gd name="connsiteY1535" fmla="*/ 1325 h 10000"/>
                  <a:gd name="connsiteX1536" fmla="*/ 3972 w 10354"/>
                  <a:gd name="connsiteY1536" fmla="*/ 1342 h 10000"/>
                  <a:gd name="connsiteX1537" fmla="*/ 3968 w 10354"/>
                  <a:gd name="connsiteY1537" fmla="*/ 1350 h 10000"/>
                  <a:gd name="connsiteX1538" fmla="*/ 3954 w 10354"/>
                  <a:gd name="connsiteY1538" fmla="*/ 1368 h 10000"/>
                  <a:gd name="connsiteX1539" fmla="*/ 3945 w 10354"/>
                  <a:gd name="connsiteY1539" fmla="*/ 1350 h 10000"/>
                  <a:gd name="connsiteX1540" fmla="*/ 3908 w 10354"/>
                  <a:gd name="connsiteY1540" fmla="*/ 1342 h 10000"/>
                  <a:gd name="connsiteX1541" fmla="*/ 3894 w 10354"/>
                  <a:gd name="connsiteY1541" fmla="*/ 1368 h 10000"/>
                  <a:gd name="connsiteX1542" fmla="*/ 3922 w 10354"/>
                  <a:gd name="connsiteY1542" fmla="*/ 1393 h 10000"/>
                  <a:gd name="connsiteX1543" fmla="*/ 3945 w 10354"/>
                  <a:gd name="connsiteY1543" fmla="*/ 1393 h 10000"/>
                  <a:gd name="connsiteX1544" fmla="*/ 3940 w 10354"/>
                  <a:gd name="connsiteY1544" fmla="*/ 1419 h 10000"/>
                  <a:gd name="connsiteX1545" fmla="*/ 3931 w 10354"/>
                  <a:gd name="connsiteY1545" fmla="*/ 1427 h 10000"/>
                  <a:gd name="connsiteX1546" fmla="*/ 3926 w 10354"/>
                  <a:gd name="connsiteY1546" fmla="*/ 1427 h 10000"/>
                  <a:gd name="connsiteX1547" fmla="*/ 3922 w 10354"/>
                  <a:gd name="connsiteY1547" fmla="*/ 1419 h 10000"/>
                  <a:gd name="connsiteX1548" fmla="*/ 3912 w 10354"/>
                  <a:gd name="connsiteY1548" fmla="*/ 1427 h 10000"/>
                  <a:gd name="connsiteX1549" fmla="*/ 3912 w 10354"/>
                  <a:gd name="connsiteY1549" fmla="*/ 1444 h 10000"/>
                  <a:gd name="connsiteX1550" fmla="*/ 3894 w 10354"/>
                  <a:gd name="connsiteY1550" fmla="*/ 1513 h 10000"/>
                  <a:gd name="connsiteX1551" fmla="*/ 3885 w 10354"/>
                  <a:gd name="connsiteY1551" fmla="*/ 1513 h 10000"/>
                  <a:gd name="connsiteX1552" fmla="*/ 3880 w 10354"/>
                  <a:gd name="connsiteY1552" fmla="*/ 1538 h 10000"/>
                  <a:gd name="connsiteX1553" fmla="*/ 3885 w 10354"/>
                  <a:gd name="connsiteY1553" fmla="*/ 1564 h 10000"/>
                  <a:gd name="connsiteX1554" fmla="*/ 3880 w 10354"/>
                  <a:gd name="connsiteY1554" fmla="*/ 1581 h 10000"/>
                  <a:gd name="connsiteX1555" fmla="*/ 3871 w 10354"/>
                  <a:gd name="connsiteY1555" fmla="*/ 1538 h 10000"/>
                  <a:gd name="connsiteX1556" fmla="*/ 3853 w 10354"/>
                  <a:gd name="connsiteY1556" fmla="*/ 1530 h 10000"/>
                  <a:gd name="connsiteX1557" fmla="*/ 3853 w 10354"/>
                  <a:gd name="connsiteY1557" fmla="*/ 1504 h 10000"/>
                  <a:gd name="connsiteX1558" fmla="*/ 3834 w 10354"/>
                  <a:gd name="connsiteY1558" fmla="*/ 1487 h 10000"/>
                  <a:gd name="connsiteX1559" fmla="*/ 3834 w 10354"/>
                  <a:gd name="connsiteY1559" fmla="*/ 1487 h 10000"/>
                  <a:gd name="connsiteX1560" fmla="*/ 3839 w 10354"/>
                  <a:gd name="connsiteY1560" fmla="*/ 1513 h 10000"/>
                  <a:gd name="connsiteX1561" fmla="*/ 3820 w 10354"/>
                  <a:gd name="connsiteY1561" fmla="*/ 1538 h 10000"/>
                  <a:gd name="connsiteX1562" fmla="*/ 3820 w 10354"/>
                  <a:gd name="connsiteY1562" fmla="*/ 1556 h 10000"/>
                  <a:gd name="connsiteX1563" fmla="*/ 3820 w 10354"/>
                  <a:gd name="connsiteY1563" fmla="*/ 1564 h 10000"/>
                  <a:gd name="connsiteX1564" fmla="*/ 3820 w 10354"/>
                  <a:gd name="connsiteY1564" fmla="*/ 1581 h 10000"/>
                  <a:gd name="connsiteX1565" fmla="*/ 3853 w 10354"/>
                  <a:gd name="connsiteY1565" fmla="*/ 1581 h 10000"/>
                  <a:gd name="connsiteX1566" fmla="*/ 3857 w 10354"/>
                  <a:gd name="connsiteY1566" fmla="*/ 1598 h 10000"/>
                  <a:gd name="connsiteX1567" fmla="*/ 3880 w 10354"/>
                  <a:gd name="connsiteY1567" fmla="*/ 1615 h 10000"/>
                  <a:gd name="connsiteX1568" fmla="*/ 3871 w 10354"/>
                  <a:gd name="connsiteY1568" fmla="*/ 1615 h 10000"/>
                  <a:gd name="connsiteX1569" fmla="*/ 3871 w 10354"/>
                  <a:gd name="connsiteY1569" fmla="*/ 1641 h 10000"/>
                  <a:gd name="connsiteX1570" fmla="*/ 3880 w 10354"/>
                  <a:gd name="connsiteY1570" fmla="*/ 1641 h 10000"/>
                  <a:gd name="connsiteX1571" fmla="*/ 3871 w 10354"/>
                  <a:gd name="connsiteY1571" fmla="*/ 1650 h 10000"/>
                  <a:gd name="connsiteX1572" fmla="*/ 3857 w 10354"/>
                  <a:gd name="connsiteY1572" fmla="*/ 1650 h 10000"/>
                  <a:gd name="connsiteX1573" fmla="*/ 3853 w 10354"/>
                  <a:gd name="connsiteY1573" fmla="*/ 1650 h 10000"/>
                  <a:gd name="connsiteX1574" fmla="*/ 3839 w 10354"/>
                  <a:gd name="connsiteY1574" fmla="*/ 1667 h 10000"/>
                  <a:gd name="connsiteX1575" fmla="*/ 3848 w 10354"/>
                  <a:gd name="connsiteY1575" fmla="*/ 1692 h 10000"/>
                  <a:gd name="connsiteX1576" fmla="*/ 3834 w 10354"/>
                  <a:gd name="connsiteY1576" fmla="*/ 1692 h 10000"/>
                  <a:gd name="connsiteX1577" fmla="*/ 3825 w 10354"/>
                  <a:gd name="connsiteY1577" fmla="*/ 1692 h 10000"/>
                  <a:gd name="connsiteX1578" fmla="*/ 3825 w 10354"/>
                  <a:gd name="connsiteY1578" fmla="*/ 1718 h 10000"/>
                  <a:gd name="connsiteX1579" fmla="*/ 3839 w 10354"/>
                  <a:gd name="connsiteY1579" fmla="*/ 1726 h 10000"/>
                  <a:gd name="connsiteX1580" fmla="*/ 3880 w 10354"/>
                  <a:gd name="connsiteY1580" fmla="*/ 1752 h 10000"/>
                  <a:gd name="connsiteX1581" fmla="*/ 3894 w 10354"/>
                  <a:gd name="connsiteY1581" fmla="*/ 1829 h 10000"/>
                  <a:gd name="connsiteX1582" fmla="*/ 3899 w 10354"/>
                  <a:gd name="connsiteY1582" fmla="*/ 1838 h 10000"/>
                  <a:gd name="connsiteX1583" fmla="*/ 3894 w 10354"/>
                  <a:gd name="connsiteY1583" fmla="*/ 1855 h 10000"/>
                  <a:gd name="connsiteX1584" fmla="*/ 3880 w 10354"/>
                  <a:gd name="connsiteY1584" fmla="*/ 1838 h 10000"/>
                  <a:gd name="connsiteX1585" fmla="*/ 3880 w 10354"/>
                  <a:gd name="connsiteY1585" fmla="*/ 1855 h 10000"/>
                  <a:gd name="connsiteX1586" fmla="*/ 3880 w 10354"/>
                  <a:gd name="connsiteY1586" fmla="*/ 1863 h 10000"/>
                  <a:gd name="connsiteX1587" fmla="*/ 3871 w 10354"/>
                  <a:gd name="connsiteY1587" fmla="*/ 1872 h 10000"/>
                  <a:gd name="connsiteX1588" fmla="*/ 3880 w 10354"/>
                  <a:gd name="connsiteY1588" fmla="*/ 1889 h 10000"/>
                  <a:gd name="connsiteX1589" fmla="*/ 3885 w 10354"/>
                  <a:gd name="connsiteY1589" fmla="*/ 1889 h 10000"/>
                  <a:gd name="connsiteX1590" fmla="*/ 3880 w 10354"/>
                  <a:gd name="connsiteY1590" fmla="*/ 1897 h 10000"/>
                  <a:gd name="connsiteX1591" fmla="*/ 3871 w 10354"/>
                  <a:gd name="connsiteY1591" fmla="*/ 1915 h 10000"/>
                  <a:gd name="connsiteX1592" fmla="*/ 3848 w 10354"/>
                  <a:gd name="connsiteY1592" fmla="*/ 1923 h 10000"/>
                  <a:gd name="connsiteX1593" fmla="*/ 3825 w 10354"/>
                  <a:gd name="connsiteY1593" fmla="*/ 1940 h 10000"/>
                  <a:gd name="connsiteX1594" fmla="*/ 3811 w 10354"/>
                  <a:gd name="connsiteY1594" fmla="*/ 1940 h 10000"/>
                  <a:gd name="connsiteX1595" fmla="*/ 3806 w 10354"/>
                  <a:gd name="connsiteY1595" fmla="*/ 1949 h 10000"/>
                  <a:gd name="connsiteX1596" fmla="*/ 3797 w 10354"/>
                  <a:gd name="connsiteY1596" fmla="*/ 1966 h 10000"/>
                  <a:gd name="connsiteX1597" fmla="*/ 3788 w 10354"/>
                  <a:gd name="connsiteY1597" fmla="*/ 1991 h 10000"/>
                  <a:gd name="connsiteX1598" fmla="*/ 3765 w 10354"/>
                  <a:gd name="connsiteY1598" fmla="*/ 1974 h 10000"/>
                  <a:gd name="connsiteX1599" fmla="*/ 3760 w 10354"/>
                  <a:gd name="connsiteY1599" fmla="*/ 1966 h 10000"/>
                  <a:gd name="connsiteX1600" fmla="*/ 3760 w 10354"/>
                  <a:gd name="connsiteY1600" fmla="*/ 1966 h 10000"/>
                  <a:gd name="connsiteX1601" fmla="*/ 3631 w 10354"/>
                  <a:gd name="connsiteY1601" fmla="*/ 2009 h 10000"/>
                  <a:gd name="connsiteX1602" fmla="*/ 3618 w 10354"/>
                  <a:gd name="connsiteY1602" fmla="*/ 2000 h 10000"/>
                  <a:gd name="connsiteX1603" fmla="*/ 3599 w 10354"/>
                  <a:gd name="connsiteY1603" fmla="*/ 2009 h 10000"/>
                  <a:gd name="connsiteX1604" fmla="*/ 3571 w 10354"/>
                  <a:gd name="connsiteY1604" fmla="*/ 2000 h 10000"/>
                  <a:gd name="connsiteX1605" fmla="*/ 3530 w 10354"/>
                  <a:gd name="connsiteY1605" fmla="*/ 2026 h 10000"/>
                  <a:gd name="connsiteX1606" fmla="*/ 3530 w 10354"/>
                  <a:gd name="connsiteY1606" fmla="*/ 2034 h 10000"/>
                  <a:gd name="connsiteX1607" fmla="*/ 3525 w 10354"/>
                  <a:gd name="connsiteY1607" fmla="*/ 2051 h 10000"/>
                  <a:gd name="connsiteX1608" fmla="*/ 3512 w 10354"/>
                  <a:gd name="connsiteY1608" fmla="*/ 2034 h 10000"/>
                  <a:gd name="connsiteX1609" fmla="*/ 3507 w 10354"/>
                  <a:gd name="connsiteY1609" fmla="*/ 2034 h 10000"/>
                  <a:gd name="connsiteX1610" fmla="*/ 3498 w 10354"/>
                  <a:gd name="connsiteY1610" fmla="*/ 2051 h 10000"/>
                  <a:gd name="connsiteX1611" fmla="*/ 3484 w 10354"/>
                  <a:gd name="connsiteY1611" fmla="*/ 2060 h 10000"/>
                  <a:gd name="connsiteX1612" fmla="*/ 3484 w 10354"/>
                  <a:gd name="connsiteY1612" fmla="*/ 2085 h 10000"/>
                  <a:gd name="connsiteX1613" fmla="*/ 3484 w 10354"/>
                  <a:gd name="connsiteY1613" fmla="*/ 2103 h 10000"/>
                  <a:gd name="connsiteX1614" fmla="*/ 3493 w 10354"/>
                  <a:gd name="connsiteY1614" fmla="*/ 2103 h 10000"/>
                  <a:gd name="connsiteX1615" fmla="*/ 3493 w 10354"/>
                  <a:gd name="connsiteY1615" fmla="*/ 2085 h 10000"/>
                  <a:gd name="connsiteX1616" fmla="*/ 3498 w 10354"/>
                  <a:gd name="connsiteY1616" fmla="*/ 2085 h 10000"/>
                  <a:gd name="connsiteX1617" fmla="*/ 3498 w 10354"/>
                  <a:gd name="connsiteY1617" fmla="*/ 2111 h 10000"/>
                  <a:gd name="connsiteX1618" fmla="*/ 3484 w 10354"/>
                  <a:gd name="connsiteY1618" fmla="*/ 2120 h 10000"/>
                  <a:gd name="connsiteX1619" fmla="*/ 3484 w 10354"/>
                  <a:gd name="connsiteY1619" fmla="*/ 2145 h 10000"/>
                  <a:gd name="connsiteX1620" fmla="*/ 3470 w 10354"/>
                  <a:gd name="connsiteY1620" fmla="*/ 2137 h 10000"/>
                  <a:gd name="connsiteX1621" fmla="*/ 3465 w 10354"/>
                  <a:gd name="connsiteY1621" fmla="*/ 2145 h 10000"/>
                  <a:gd name="connsiteX1622" fmla="*/ 3470 w 10354"/>
                  <a:gd name="connsiteY1622" fmla="*/ 2171 h 10000"/>
                  <a:gd name="connsiteX1623" fmla="*/ 3484 w 10354"/>
                  <a:gd name="connsiteY1623" fmla="*/ 2171 h 10000"/>
                  <a:gd name="connsiteX1624" fmla="*/ 3484 w 10354"/>
                  <a:gd name="connsiteY1624" fmla="*/ 2197 h 10000"/>
                  <a:gd name="connsiteX1625" fmla="*/ 3465 w 10354"/>
                  <a:gd name="connsiteY1625" fmla="*/ 2214 h 10000"/>
                  <a:gd name="connsiteX1626" fmla="*/ 3493 w 10354"/>
                  <a:gd name="connsiteY1626" fmla="*/ 2248 h 10000"/>
                  <a:gd name="connsiteX1627" fmla="*/ 3484 w 10354"/>
                  <a:gd name="connsiteY1627" fmla="*/ 2256 h 10000"/>
                  <a:gd name="connsiteX1628" fmla="*/ 3498 w 10354"/>
                  <a:gd name="connsiteY1628" fmla="*/ 2274 h 10000"/>
                  <a:gd name="connsiteX1629" fmla="*/ 3498 w 10354"/>
                  <a:gd name="connsiteY1629" fmla="*/ 2256 h 10000"/>
                  <a:gd name="connsiteX1630" fmla="*/ 3507 w 10354"/>
                  <a:gd name="connsiteY1630" fmla="*/ 2308 h 10000"/>
                  <a:gd name="connsiteX1631" fmla="*/ 3512 w 10354"/>
                  <a:gd name="connsiteY1631" fmla="*/ 2325 h 10000"/>
                  <a:gd name="connsiteX1632" fmla="*/ 3507 w 10354"/>
                  <a:gd name="connsiteY1632" fmla="*/ 2333 h 10000"/>
                  <a:gd name="connsiteX1633" fmla="*/ 3507 w 10354"/>
                  <a:gd name="connsiteY1633" fmla="*/ 2359 h 10000"/>
                  <a:gd name="connsiteX1634" fmla="*/ 3507 w 10354"/>
                  <a:gd name="connsiteY1634" fmla="*/ 2376 h 10000"/>
                  <a:gd name="connsiteX1635" fmla="*/ 3498 w 10354"/>
                  <a:gd name="connsiteY1635" fmla="*/ 2410 h 10000"/>
                  <a:gd name="connsiteX1636" fmla="*/ 3498 w 10354"/>
                  <a:gd name="connsiteY1636" fmla="*/ 2436 h 10000"/>
                  <a:gd name="connsiteX1637" fmla="*/ 3507 w 10354"/>
                  <a:gd name="connsiteY1637" fmla="*/ 2462 h 10000"/>
                  <a:gd name="connsiteX1638" fmla="*/ 3507 w 10354"/>
                  <a:gd name="connsiteY1638" fmla="*/ 2496 h 10000"/>
                  <a:gd name="connsiteX1639" fmla="*/ 3512 w 10354"/>
                  <a:gd name="connsiteY1639" fmla="*/ 2521 h 10000"/>
                  <a:gd name="connsiteX1640" fmla="*/ 3525 w 10354"/>
                  <a:gd name="connsiteY1640" fmla="*/ 2556 h 10000"/>
                  <a:gd name="connsiteX1641" fmla="*/ 3571 w 10354"/>
                  <a:gd name="connsiteY1641" fmla="*/ 2573 h 10000"/>
                  <a:gd name="connsiteX1642" fmla="*/ 3590 w 10354"/>
                  <a:gd name="connsiteY1642" fmla="*/ 2598 h 10000"/>
                  <a:gd name="connsiteX1643" fmla="*/ 3599 w 10354"/>
                  <a:gd name="connsiteY1643" fmla="*/ 2598 h 10000"/>
                  <a:gd name="connsiteX1644" fmla="*/ 3604 w 10354"/>
                  <a:gd name="connsiteY1644" fmla="*/ 2632 h 10000"/>
                  <a:gd name="connsiteX1645" fmla="*/ 3599 w 10354"/>
                  <a:gd name="connsiteY1645" fmla="*/ 2658 h 10000"/>
                  <a:gd name="connsiteX1646" fmla="*/ 3590 w 10354"/>
                  <a:gd name="connsiteY1646" fmla="*/ 2667 h 10000"/>
                  <a:gd name="connsiteX1647" fmla="*/ 3604 w 10354"/>
                  <a:gd name="connsiteY1647" fmla="*/ 2667 h 10000"/>
                  <a:gd name="connsiteX1648" fmla="*/ 3613 w 10354"/>
                  <a:gd name="connsiteY1648" fmla="*/ 2692 h 10000"/>
                  <a:gd name="connsiteX1649" fmla="*/ 3627 w 10354"/>
                  <a:gd name="connsiteY1649" fmla="*/ 2735 h 10000"/>
                  <a:gd name="connsiteX1650" fmla="*/ 3631 w 10354"/>
                  <a:gd name="connsiteY1650" fmla="*/ 2744 h 10000"/>
                  <a:gd name="connsiteX1651" fmla="*/ 3659 w 10354"/>
                  <a:gd name="connsiteY1651" fmla="*/ 2761 h 10000"/>
                  <a:gd name="connsiteX1652" fmla="*/ 3673 w 10354"/>
                  <a:gd name="connsiteY1652" fmla="*/ 2769 h 10000"/>
                  <a:gd name="connsiteX1653" fmla="*/ 3673 w 10354"/>
                  <a:gd name="connsiteY1653" fmla="*/ 2761 h 10000"/>
                  <a:gd name="connsiteX1654" fmla="*/ 3687 w 10354"/>
                  <a:gd name="connsiteY1654" fmla="*/ 2829 h 10000"/>
                  <a:gd name="connsiteX1655" fmla="*/ 3677 w 10354"/>
                  <a:gd name="connsiteY1655" fmla="*/ 2897 h 10000"/>
                  <a:gd name="connsiteX1656" fmla="*/ 3673 w 10354"/>
                  <a:gd name="connsiteY1656" fmla="*/ 2915 h 10000"/>
                  <a:gd name="connsiteX1657" fmla="*/ 3664 w 10354"/>
                  <a:gd name="connsiteY1657" fmla="*/ 2957 h 10000"/>
                  <a:gd name="connsiteX1658" fmla="*/ 3659 w 10354"/>
                  <a:gd name="connsiteY1658" fmla="*/ 2983 h 10000"/>
                  <a:gd name="connsiteX1659" fmla="*/ 3664 w 10354"/>
                  <a:gd name="connsiteY1659" fmla="*/ 3017 h 10000"/>
                  <a:gd name="connsiteX1660" fmla="*/ 3659 w 10354"/>
                  <a:gd name="connsiteY1660" fmla="*/ 3043 h 10000"/>
                  <a:gd name="connsiteX1661" fmla="*/ 3677 w 10354"/>
                  <a:gd name="connsiteY1661" fmla="*/ 3094 h 10000"/>
                  <a:gd name="connsiteX1662" fmla="*/ 3691 w 10354"/>
                  <a:gd name="connsiteY1662" fmla="*/ 3282 h 10000"/>
                  <a:gd name="connsiteX1663" fmla="*/ 3691 w 10354"/>
                  <a:gd name="connsiteY1663" fmla="*/ 3308 h 10000"/>
                  <a:gd name="connsiteX1664" fmla="*/ 3677 w 10354"/>
                  <a:gd name="connsiteY1664" fmla="*/ 3342 h 10000"/>
                  <a:gd name="connsiteX1665" fmla="*/ 3664 w 10354"/>
                  <a:gd name="connsiteY1665" fmla="*/ 3342 h 10000"/>
                  <a:gd name="connsiteX1666" fmla="*/ 3650 w 10354"/>
                  <a:gd name="connsiteY1666" fmla="*/ 3342 h 10000"/>
                  <a:gd name="connsiteX1667" fmla="*/ 3650 w 10354"/>
                  <a:gd name="connsiteY1667" fmla="*/ 3350 h 10000"/>
                  <a:gd name="connsiteX1668" fmla="*/ 3659 w 10354"/>
                  <a:gd name="connsiteY1668" fmla="*/ 3402 h 10000"/>
                  <a:gd name="connsiteX1669" fmla="*/ 3659 w 10354"/>
                  <a:gd name="connsiteY1669" fmla="*/ 3419 h 10000"/>
                  <a:gd name="connsiteX1670" fmla="*/ 3631 w 10354"/>
                  <a:gd name="connsiteY1670" fmla="*/ 3402 h 10000"/>
                  <a:gd name="connsiteX1671" fmla="*/ 3604 w 10354"/>
                  <a:gd name="connsiteY1671" fmla="*/ 3393 h 10000"/>
                  <a:gd name="connsiteX1672" fmla="*/ 3599 w 10354"/>
                  <a:gd name="connsiteY1672" fmla="*/ 3368 h 10000"/>
                  <a:gd name="connsiteX1673" fmla="*/ 3590 w 10354"/>
                  <a:gd name="connsiteY1673" fmla="*/ 3239 h 10000"/>
                  <a:gd name="connsiteX1674" fmla="*/ 3599 w 10354"/>
                  <a:gd name="connsiteY1674" fmla="*/ 3179 h 10000"/>
                  <a:gd name="connsiteX1675" fmla="*/ 3599 w 10354"/>
                  <a:gd name="connsiteY1675" fmla="*/ 3171 h 10000"/>
                  <a:gd name="connsiteX1676" fmla="*/ 3599 w 10354"/>
                  <a:gd name="connsiteY1676" fmla="*/ 3009 h 10000"/>
                  <a:gd name="connsiteX1677" fmla="*/ 3604 w 10354"/>
                  <a:gd name="connsiteY1677" fmla="*/ 2983 h 10000"/>
                  <a:gd name="connsiteX1678" fmla="*/ 3645 w 10354"/>
                  <a:gd name="connsiteY1678" fmla="*/ 2932 h 10000"/>
                  <a:gd name="connsiteX1679" fmla="*/ 3650 w 10354"/>
                  <a:gd name="connsiteY1679" fmla="*/ 2872 h 10000"/>
                  <a:gd name="connsiteX1680" fmla="*/ 3659 w 10354"/>
                  <a:gd name="connsiteY1680" fmla="*/ 2855 h 10000"/>
                  <a:gd name="connsiteX1681" fmla="*/ 3659 w 10354"/>
                  <a:gd name="connsiteY1681" fmla="*/ 2821 h 10000"/>
                  <a:gd name="connsiteX1682" fmla="*/ 3631 w 10354"/>
                  <a:gd name="connsiteY1682" fmla="*/ 2795 h 10000"/>
                  <a:gd name="connsiteX1683" fmla="*/ 3567 w 10354"/>
                  <a:gd name="connsiteY1683" fmla="*/ 2821 h 10000"/>
                  <a:gd name="connsiteX1684" fmla="*/ 3544 w 10354"/>
                  <a:gd name="connsiteY1684" fmla="*/ 2795 h 10000"/>
                  <a:gd name="connsiteX1685" fmla="*/ 3530 w 10354"/>
                  <a:gd name="connsiteY1685" fmla="*/ 2769 h 10000"/>
                  <a:gd name="connsiteX1686" fmla="*/ 3530 w 10354"/>
                  <a:gd name="connsiteY1686" fmla="*/ 2786 h 10000"/>
                  <a:gd name="connsiteX1687" fmla="*/ 3498 w 10354"/>
                  <a:gd name="connsiteY1687" fmla="*/ 2692 h 10000"/>
                  <a:gd name="connsiteX1688" fmla="*/ 3498 w 10354"/>
                  <a:gd name="connsiteY1688" fmla="*/ 2667 h 10000"/>
                  <a:gd name="connsiteX1689" fmla="*/ 3442 w 10354"/>
                  <a:gd name="connsiteY1689" fmla="*/ 2607 h 10000"/>
                  <a:gd name="connsiteX1690" fmla="*/ 3433 w 10354"/>
                  <a:gd name="connsiteY1690" fmla="*/ 2581 h 10000"/>
                  <a:gd name="connsiteX1691" fmla="*/ 3396 w 10354"/>
                  <a:gd name="connsiteY1691" fmla="*/ 2556 h 10000"/>
                  <a:gd name="connsiteX1692" fmla="*/ 3318 w 10354"/>
                  <a:gd name="connsiteY1692" fmla="*/ 2556 h 10000"/>
                  <a:gd name="connsiteX1693" fmla="*/ 3304 w 10354"/>
                  <a:gd name="connsiteY1693" fmla="*/ 2607 h 10000"/>
                  <a:gd name="connsiteX1694" fmla="*/ 3276 w 10354"/>
                  <a:gd name="connsiteY1694" fmla="*/ 2632 h 10000"/>
                  <a:gd name="connsiteX1695" fmla="*/ 3272 w 10354"/>
                  <a:gd name="connsiteY1695" fmla="*/ 2667 h 10000"/>
                  <a:gd name="connsiteX1696" fmla="*/ 3304 w 10354"/>
                  <a:gd name="connsiteY1696" fmla="*/ 2667 h 10000"/>
                  <a:gd name="connsiteX1697" fmla="*/ 3323 w 10354"/>
                  <a:gd name="connsiteY1697" fmla="*/ 2692 h 10000"/>
                  <a:gd name="connsiteX1698" fmla="*/ 3318 w 10354"/>
                  <a:gd name="connsiteY1698" fmla="*/ 2735 h 10000"/>
                  <a:gd name="connsiteX1699" fmla="*/ 3304 w 10354"/>
                  <a:gd name="connsiteY1699" fmla="*/ 2761 h 10000"/>
                  <a:gd name="connsiteX1700" fmla="*/ 3276 w 10354"/>
                  <a:gd name="connsiteY1700" fmla="*/ 2769 h 10000"/>
                  <a:gd name="connsiteX1701" fmla="*/ 3263 w 10354"/>
                  <a:gd name="connsiteY1701" fmla="*/ 2795 h 10000"/>
                  <a:gd name="connsiteX1702" fmla="*/ 3235 w 10354"/>
                  <a:gd name="connsiteY1702" fmla="*/ 2803 h 10000"/>
                  <a:gd name="connsiteX1703" fmla="*/ 3235 w 10354"/>
                  <a:gd name="connsiteY1703" fmla="*/ 2786 h 10000"/>
                  <a:gd name="connsiteX1704" fmla="*/ 3212 w 10354"/>
                  <a:gd name="connsiteY1704" fmla="*/ 2709 h 10000"/>
                  <a:gd name="connsiteX1705" fmla="*/ 3198 w 10354"/>
                  <a:gd name="connsiteY1705" fmla="*/ 2709 h 10000"/>
                  <a:gd name="connsiteX1706" fmla="*/ 3184 w 10354"/>
                  <a:gd name="connsiteY1706" fmla="*/ 2735 h 10000"/>
                  <a:gd name="connsiteX1707" fmla="*/ 3189 w 10354"/>
                  <a:gd name="connsiteY1707" fmla="*/ 2761 h 10000"/>
                  <a:gd name="connsiteX1708" fmla="*/ 3203 w 10354"/>
                  <a:gd name="connsiteY1708" fmla="*/ 2855 h 10000"/>
                  <a:gd name="connsiteX1709" fmla="*/ 3212 w 10354"/>
                  <a:gd name="connsiteY1709" fmla="*/ 2872 h 10000"/>
                  <a:gd name="connsiteX1710" fmla="*/ 3235 w 10354"/>
                  <a:gd name="connsiteY1710" fmla="*/ 2906 h 10000"/>
                  <a:gd name="connsiteX1711" fmla="*/ 3258 w 10354"/>
                  <a:gd name="connsiteY1711" fmla="*/ 2915 h 10000"/>
                  <a:gd name="connsiteX1712" fmla="*/ 3272 w 10354"/>
                  <a:gd name="connsiteY1712" fmla="*/ 2957 h 10000"/>
                  <a:gd name="connsiteX1713" fmla="*/ 3276 w 10354"/>
                  <a:gd name="connsiteY1713" fmla="*/ 2957 h 10000"/>
                  <a:gd name="connsiteX1714" fmla="*/ 3286 w 10354"/>
                  <a:gd name="connsiteY1714" fmla="*/ 2966 h 10000"/>
                  <a:gd name="connsiteX1715" fmla="*/ 3300 w 10354"/>
                  <a:gd name="connsiteY1715" fmla="*/ 2957 h 10000"/>
                  <a:gd name="connsiteX1716" fmla="*/ 3309 w 10354"/>
                  <a:gd name="connsiteY1716" fmla="*/ 2932 h 10000"/>
                  <a:gd name="connsiteX1717" fmla="*/ 3304 w 10354"/>
                  <a:gd name="connsiteY1717" fmla="*/ 2966 h 10000"/>
                  <a:gd name="connsiteX1718" fmla="*/ 3309 w 10354"/>
                  <a:gd name="connsiteY1718" fmla="*/ 2983 h 10000"/>
                  <a:gd name="connsiteX1719" fmla="*/ 3323 w 10354"/>
                  <a:gd name="connsiteY1719" fmla="*/ 2966 h 10000"/>
                  <a:gd name="connsiteX1720" fmla="*/ 3323 w 10354"/>
                  <a:gd name="connsiteY1720" fmla="*/ 3043 h 10000"/>
                  <a:gd name="connsiteX1721" fmla="*/ 3346 w 10354"/>
                  <a:gd name="connsiteY1721" fmla="*/ 3068 h 10000"/>
                  <a:gd name="connsiteX1722" fmla="*/ 3346 w 10354"/>
                  <a:gd name="connsiteY1722" fmla="*/ 3094 h 10000"/>
                  <a:gd name="connsiteX1723" fmla="*/ 3323 w 10354"/>
                  <a:gd name="connsiteY1723" fmla="*/ 3094 h 10000"/>
                  <a:gd name="connsiteX1724" fmla="*/ 3309 w 10354"/>
                  <a:gd name="connsiteY1724" fmla="*/ 3077 h 10000"/>
                  <a:gd name="connsiteX1725" fmla="*/ 3304 w 10354"/>
                  <a:gd name="connsiteY1725" fmla="*/ 3051 h 10000"/>
                  <a:gd name="connsiteX1726" fmla="*/ 3300 w 10354"/>
                  <a:gd name="connsiteY1726" fmla="*/ 3043 h 10000"/>
                  <a:gd name="connsiteX1727" fmla="*/ 3286 w 10354"/>
                  <a:gd name="connsiteY1727" fmla="*/ 3017 h 10000"/>
                  <a:gd name="connsiteX1728" fmla="*/ 3152 w 10354"/>
                  <a:gd name="connsiteY1728" fmla="*/ 2966 h 10000"/>
                  <a:gd name="connsiteX1729" fmla="*/ 3129 w 10354"/>
                  <a:gd name="connsiteY1729" fmla="*/ 2915 h 10000"/>
                  <a:gd name="connsiteX1730" fmla="*/ 3129 w 10354"/>
                  <a:gd name="connsiteY1730" fmla="*/ 2906 h 10000"/>
                  <a:gd name="connsiteX1731" fmla="*/ 3152 w 10354"/>
                  <a:gd name="connsiteY1731" fmla="*/ 2906 h 10000"/>
                  <a:gd name="connsiteX1732" fmla="*/ 3152 w 10354"/>
                  <a:gd name="connsiteY1732" fmla="*/ 2846 h 10000"/>
                  <a:gd name="connsiteX1733" fmla="*/ 3138 w 10354"/>
                  <a:gd name="connsiteY1733" fmla="*/ 2795 h 10000"/>
                  <a:gd name="connsiteX1734" fmla="*/ 3138 w 10354"/>
                  <a:gd name="connsiteY1734" fmla="*/ 2769 h 10000"/>
                  <a:gd name="connsiteX1735" fmla="*/ 3143 w 10354"/>
                  <a:gd name="connsiteY1735" fmla="*/ 2718 h 10000"/>
                  <a:gd name="connsiteX1736" fmla="*/ 3129 w 10354"/>
                  <a:gd name="connsiteY1736" fmla="*/ 2692 h 10000"/>
                  <a:gd name="connsiteX1737" fmla="*/ 3143 w 10354"/>
                  <a:gd name="connsiteY1737" fmla="*/ 2667 h 10000"/>
                  <a:gd name="connsiteX1738" fmla="*/ 3157 w 10354"/>
                  <a:gd name="connsiteY1738" fmla="*/ 2581 h 10000"/>
                  <a:gd name="connsiteX1739" fmla="*/ 3143 w 10354"/>
                  <a:gd name="connsiteY1739" fmla="*/ 2496 h 10000"/>
                  <a:gd name="connsiteX1740" fmla="*/ 3157 w 10354"/>
                  <a:gd name="connsiteY1740" fmla="*/ 2487 h 10000"/>
                  <a:gd name="connsiteX1741" fmla="*/ 3143 w 10354"/>
                  <a:gd name="connsiteY1741" fmla="*/ 2444 h 10000"/>
                  <a:gd name="connsiteX1742" fmla="*/ 3143 w 10354"/>
                  <a:gd name="connsiteY1742" fmla="*/ 2419 h 10000"/>
                  <a:gd name="connsiteX1743" fmla="*/ 3143 w 10354"/>
                  <a:gd name="connsiteY1743" fmla="*/ 2410 h 10000"/>
                  <a:gd name="connsiteX1744" fmla="*/ 3124 w 10354"/>
                  <a:gd name="connsiteY1744" fmla="*/ 2376 h 10000"/>
                  <a:gd name="connsiteX1745" fmla="*/ 3115 w 10354"/>
                  <a:gd name="connsiteY1745" fmla="*/ 2350 h 10000"/>
                  <a:gd name="connsiteX1746" fmla="*/ 3101 w 10354"/>
                  <a:gd name="connsiteY1746" fmla="*/ 2359 h 10000"/>
                  <a:gd name="connsiteX1747" fmla="*/ 3115 w 10354"/>
                  <a:gd name="connsiteY1747" fmla="*/ 2581 h 10000"/>
                  <a:gd name="connsiteX1748" fmla="*/ 3111 w 10354"/>
                  <a:gd name="connsiteY1748" fmla="*/ 2624 h 10000"/>
                  <a:gd name="connsiteX1749" fmla="*/ 3009 w 10354"/>
                  <a:gd name="connsiteY1749" fmla="*/ 2761 h 10000"/>
                  <a:gd name="connsiteX1750" fmla="*/ 3009 w 10354"/>
                  <a:gd name="connsiteY1750" fmla="*/ 2803 h 10000"/>
                  <a:gd name="connsiteX1751" fmla="*/ 3005 w 10354"/>
                  <a:gd name="connsiteY1751" fmla="*/ 2829 h 10000"/>
                  <a:gd name="connsiteX1752" fmla="*/ 2982 w 10354"/>
                  <a:gd name="connsiteY1752" fmla="*/ 2872 h 10000"/>
                  <a:gd name="connsiteX1753" fmla="*/ 2982 w 10354"/>
                  <a:gd name="connsiteY1753" fmla="*/ 2880 h 10000"/>
                  <a:gd name="connsiteX1754" fmla="*/ 3037 w 10354"/>
                  <a:gd name="connsiteY1754" fmla="*/ 3034 h 10000"/>
                  <a:gd name="connsiteX1755" fmla="*/ 3041 w 10354"/>
                  <a:gd name="connsiteY1755" fmla="*/ 3103 h 10000"/>
                  <a:gd name="connsiteX1756" fmla="*/ 3069 w 10354"/>
                  <a:gd name="connsiteY1756" fmla="*/ 3188 h 10000"/>
                  <a:gd name="connsiteX1757" fmla="*/ 3055 w 10354"/>
                  <a:gd name="connsiteY1757" fmla="*/ 3325 h 10000"/>
                  <a:gd name="connsiteX1758" fmla="*/ 3037 w 10354"/>
                  <a:gd name="connsiteY1758" fmla="*/ 3368 h 10000"/>
                  <a:gd name="connsiteX1759" fmla="*/ 3037 w 10354"/>
                  <a:gd name="connsiteY1759" fmla="*/ 3444 h 10000"/>
                  <a:gd name="connsiteX1760" fmla="*/ 3028 w 10354"/>
                  <a:gd name="connsiteY1760" fmla="*/ 3453 h 10000"/>
                  <a:gd name="connsiteX1761" fmla="*/ 3023 w 10354"/>
                  <a:gd name="connsiteY1761" fmla="*/ 3530 h 10000"/>
                  <a:gd name="connsiteX1762" fmla="*/ 3051 w 10354"/>
                  <a:gd name="connsiteY1762" fmla="*/ 3624 h 10000"/>
                  <a:gd name="connsiteX1763" fmla="*/ 3037 w 10354"/>
                  <a:gd name="connsiteY1763" fmla="*/ 3718 h 10000"/>
                  <a:gd name="connsiteX1764" fmla="*/ 3041 w 10354"/>
                  <a:gd name="connsiteY1764" fmla="*/ 3752 h 10000"/>
                  <a:gd name="connsiteX1765" fmla="*/ 3055 w 10354"/>
                  <a:gd name="connsiteY1765" fmla="*/ 3761 h 10000"/>
                  <a:gd name="connsiteX1766" fmla="*/ 3078 w 10354"/>
                  <a:gd name="connsiteY1766" fmla="*/ 3752 h 10000"/>
                  <a:gd name="connsiteX1767" fmla="*/ 3092 w 10354"/>
                  <a:gd name="connsiteY1767" fmla="*/ 3752 h 10000"/>
                  <a:gd name="connsiteX1768" fmla="*/ 3129 w 10354"/>
                  <a:gd name="connsiteY1768" fmla="*/ 3761 h 10000"/>
                  <a:gd name="connsiteX1769" fmla="*/ 3129 w 10354"/>
                  <a:gd name="connsiteY1769" fmla="*/ 3735 h 10000"/>
                  <a:gd name="connsiteX1770" fmla="*/ 3157 w 10354"/>
                  <a:gd name="connsiteY1770" fmla="*/ 3718 h 10000"/>
                  <a:gd name="connsiteX1771" fmla="*/ 3184 w 10354"/>
                  <a:gd name="connsiteY1771" fmla="*/ 3718 h 10000"/>
                  <a:gd name="connsiteX1772" fmla="*/ 3290 w 10354"/>
                  <a:gd name="connsiteY1772" fmla="*/ 3838 h 10000"/>
                  <a:gd name="connsiteX1773" fmla="*/ 3300 w 10354"/>
                  <a:gd name="connsiteY1773" fmla="*/ 3846 h 10000"/>
                  <a:gd name="connsiteX1774" fmla="*/ 3300 w 10354"/>
                  <a:gd name="connsiteY1774" fmla="*/ 3915 h 10000"/>
                  <a:gd name="connsiteX1775" fmla="*/ 3318 w 10354"/>
                  <a:gd name="connsiteY1775" fmla="*/ 4000 h 10000"/>
                  <a:gd name="connsiteX1776" fmla="*/ 3323 w 10354"/>
                  <a:gd name="connsiteY1776" fmla="*/ 4000 h 10000"/>
                  <a:gd name="connsiteX1777" fmla="*/ 3323 w 10354"/>
                  <a:gd name="connsiteY1777" fmla="*/ 4034 h 10000"/>
                  <a:gd name="connsiteX1778" fmla="*/ 3318 w 10354"/>
                  <a:gd name="connsiteY1778" fmla="*/ 4051 h 10000"/>
                  <a:gd name="connsiteX1779" fmla="*/ 3300 w 10354"/>
                  <a:gd name="connsiteY1779" fmla="*/ 4051 h 10000"/>
                  <a:gd name="connsiteX1780" fmla="*/ 3290 w 10354"/>
                  <a:gd name="connsiteY1780" fmla="*/ 4077 h 10000"/>
                  <a:gd name="connsiteX1781" fmla="*/ 3286 w 10354"/>
                  <a:gd name="connsiteY1781" fmla="*/ 4103 h 10000"/>
                  <a:gd name="connsiteX1782" fmla="*/ 3286 w 10354"/>
                  <a:gd name="connsiteY1782" fmla="*/ 4197 h 10000"/>
                  <a:gd name="connsiteX1783" fmla="*/ 3290 w 10354"/>
                  <a:gd name="connsiteY1783" fmla="*/ 4214 h 10000"/>
                  <a:gd name="connsiteX1784" fmla="*/ 3304 w 10354"/>
                  <a:gd name="connsiteY1784" fmla="*/ 4214 h 10000"/>
                  <a:gd name="connsiteX1785" fmla="*/ 3323 w 10354"/>
                  <a:gd name="connsiteY1785" fmla="*/ 4239 h 10000"/>
                  <a:gd name="connsiteX1786" fmla="*/ 3350 w 10354"/>
                  <a:gd name="connsiteY1786" fmla="*/ 4222 h 10000"/>
                  <a:gd name="connsiteX1787" fmla="*/ 3369 w 10354"/>
                  <a:gd name="connsiteY1787" fmla="*/ 4256 h 10000"/>
                  <a:gd name="connsiteX1788" fmla="*/ 3369 w 10354"/>
                  <a:gd name="connsiteY1788" fmla="*/ 4256 h 10000"/>
                  <a:gd name="connsiteX1789" fmla="*/ 3336 w 10354"/>
                  <a:gd name="connsiteY1789" fmla="*/ 4274 h 10000"/>
                  <a:gd name="connsiteX1790" fmla="*/ 3323 w 10354"/>
                  <a:gd name="connsiteY1790" fmla="*/ 4274 h 10000"/>
                  <a:gd name="connsiteX1791" fmla="*/ 3290 w 10354"/>
                  <a:gd name="connsiteY1791" fmla="*/ 4274 h 10000"/>
                  <a:gd name="connsiteX1792" fmla="*/ 3286 w 10354"/>
                  <a:gd name="connsiteY1792" fmla="*/ 4239 h 10000"/>
                  <a:gd name="connsiteX1793" fmla="*/ 3263 w 10354"/>
                  <a:gd name="connsiteY1793" fmla="*/ 4214 h 10000"/>
                  <a:gd name="connsiteX1794" fmla="*/ 3258 w 10354"/>
                  <a:gd name="connsiteY1794" fmla="*/ 4188 h 10000"/>
                  <a:gd name="connsiteX1795" fmla="*/ 3263 w 10354"/>
                  <a:gd name="connsiteY1795" fmla="*/ 4171 h 10000"/>
                  <a:gd name="connsiteX1796" fmla="*/ 3263 w 10354"/>
                  <a:gd name="connsiteY1796" fmla="*/ 4103 h 10000"/>
                  <a:gd name="connsiteX1797" fmla="*/ 3276 w 10354"/>
                  <a:gd name="connsiteY1797" fmla="*/ 4060 h 10000"/>
                  <a:gd name="connsiteX1798" fmla="*/ 3272 w 10354"/>
                  <a:gd name="connsiteY1798" fmla="*/ 4051 h 10000"/>
                  <a:gd name="connsiteX1799" fmla="*/ 3263 w 10354"/>
                  <a:gd name="connsiteY1799" fmla="*/ 4051 h 10000"/>
                  <a:gd name="connsiteX1800" fmla="*/ 3263 w 10354"/>
                  <a:gd name="connsiteY1800" fmla="*/ 4034 h 10000"/>
                  <a:gd name="connsiteX1801" fmla="*/ 3263 w 10354"/>
                  <a:gd name="connsiteY1801" fmla="*/ 4000 h 10000"/>
                  <a:gd name="connsiteX1802" fmla="*/ 3272 w 10354"/>
                  <a:gd name="connsiteY1802" fmla="*/ 4000 h 10000"/>
                  <a:gd name="connsiteX1803" fmla="*/ 3272 w 10354"/>
                  <a:gd name="connsiteY1803" fmla="*/ 3974 h 10000"/>
                  <a:gd name="connsiteX1804" fmla="*/ 3272 w 10354"/>
                  <a:gd name="connsiteY1804" fmla="*/ 3966 h 10000"/>
                  <a:gd name="connsiteX1805" fmla="*/ 3272 w 10354"/>
                  <a:gd name="connsiteY1805" fmla="*/ 3949 h 10000"/>
                  <a:gd name="connsiteX1806" fmla="*/ 3258 w 10354"/>
                  <a:gd name="connsiteY1806" fmla="*/ 3923 h 10000"/>
                  <a:gd name="connsiteX1807" fmla="*/ 3249 w 10354"/>
                  <a:gd name="connsiteY1807" fmla="*/ 3915 h 10000"/>
                  <a:gd name="connsiteX1808" fmla="*/ 3244 w 10354"/>
                  <a:gd name="connsiteY1808" fmla="*/ 3897 h 10000"/>
                  <a:gd name="connsiteX1809" fmla="*/ 3230 w 10354"/>
                  <a:gd name="connsiteY1809" fmla="*/ 3889 h 10000"/>
                  <a:gd name="connsiteX1810" fmla="*/ 3230 w 10354"/>
                  <a:gd name="connsiteY1810" fmla="*/ 3863 h 10000"/>
                  <a:gd name="connsiteX1811" fmla="*/ 3230 w 10354"/>
                  <a:gd name="connsiteY1811" fmla="*/ 3838 h 10000"/>
                  <a:gd name="connsiteX1812" fmla="*/ 3226 w 10354"/>
                  <a:gd name="connsiteY1812" fmla="*/ 3803 h 10000"/>
                  <a:gd name="connsiteX1813" fmla="*/ 3138 w 10354"/>
                  <a:gd name="connsiteY1813" fmla="*/ 3838 h 10000"/>
                  <a:gd name="connsiteX1814" fmla="*/ 3078 w 10354"/>
                  <a:gd name="connsiteY1814" fmla="*/ 3889 h 10000"/>
                  <a:gd name="connsiteX1815" fmla="*/ 3078 w 10354"/>
                  <a:gd name="connsiteY1815" fmla="*/ 3940 h 10000"/>
                  <a:gd name="connsiteX1816" fmla="*/ 3069 w 10354"/>
                  <a:gd name="connsiteY1816" fmla="*/ 3983 h 10000"/>
                  <a:gd name="connsiteX1817" fmla="*/ 3069 w 10354"/>
                  <a:gd name="connsiteY1817" fmla="*/ 4009 h 10000"/>
                  <a:gd name="connsiteX1818" fmla="*/ 3078 w 10354"/>
                  <a:gd name="connsiteY1818" fmla="*/ 4026 h 10000"/>
                  <a:gd name="connsiteX1819" fmla="*/ 3083 w 10354"/>
                  <a:gd name="connsiteY1819" fmla="*/ 4034 h 10000"/>
                  <a:gd name="connsiteX1820" fmla="*/ 3092 w 10354"/>
                  <a:gd name="connsiteY1820" fmla="*/ 4060 h 10000"/>
                  <a:gd name="connsiteX1821" fmla="*/ 3092 w 10354"/>
                  <a:gd name="connsiteY1821" fmla="*/ 4077 h 10000"/>
                  <a:gd name="connsiteX1822" fmla="*/ 3097 w 10354"/>
                  <a:gd name="connsiteY1822" fmla="*/ 4103 h 10000"/>
                  <a:gd name="connsiteX1823" fmla="*/ 3101 w 10354"/>
                  <a:gd name="connsiteY1823" fmla="*/ 4162 h 10000"/>
                  <a:gd name="connsiteX1824" fmla="*/ 3097 w 10354"/>
                  <a:gd name="connsiteY1824" fmla="*/ 4222 h 10000"/>
                  <a:gd name="connsiteX1825" fmla="*/ 3041 w 10354"/>
                  <a:gd name="connsiteY1825" fmla="*/ 4325 h 10000"/>
                  <a:gd name="connsiteX1826" fmla="*/ 3037 w 10354"/>
                  <a:gd name="connsiteY1826" fmla="*/ 4419 h 10000"/>
                  <a:gd name="connsiteX1827" fmla="*/ 3018 w 10354"/>
                  <a:gd name="connsiteY1827" fmla="*/ 4470 h 10000"/>
                  <a:gd name="connsiteX1828" fmla="*/ 2991 w 10354"/>
                  <a:gd name="connsiteY1828" fmla="*/ 4513 h 10000"/>
                  <a:gd name="connsiteX1829" fmla="*/ 2977 w 10354"/>
                  <a:gd name="connsiteY1829" fmla="*/ 4530 h 10000"/>
                  <a:gd name="connsiteX1830" fmla="*/ 2945 w 10354"/>
                  <a:gd name="connsiteY1830" fmla="*/ 4556 h 10000"/>
                  <a:gd name="connsiteX1831" fmla="*/ 2935 w 10354"/>
                  <a:gd name="connsiteY1831" fmla="*/ 4581 h 10000"/>
                  <a:gd name="connsiteX1832" fmla="*/ 2949 w 10354"/>
                  <a:gd name="connsiteY1832" fmla="*/ 4624 h 10000"/>
                  <a:gd name="connsiteX1833" fmla="*/ 2945 w 10354"/>
                  <a:gd name="connsiteY1833" fmla="*/ 4658 h 10000"/>
                  <a:gd name="connsiteX1834" fmla="*/ 2922 w 10354"/>
                  <a:gd name="connsiteY1834" fmla="*/ 4667 h 10000"/>
                  <a:gd name="connsiteX1835" fmla="*/ 2876 w 10354"/>
                  <a:gd name="connsiteY1835" fmla="*/ 4632 h 10000"/>
                  <a:gd name="connsiteX1836" fmla="*/ 2857 w 10354"/>
                  <a:gd name="connsiteY1836" fmla="*/ 4632 h 10000"/>
                  <a:gd name="connsiteX1837" fmla="*/ 2820 w 10354"/>
                  <a:gd name="connsiteY1837" fmla="*/ 4641 h 10000"/>
                  <a:gd name="connsiteX1838" fmla="*/ 2797 w 10354"/>
                  <a:gd name="connsiteY1838" fmla="*/ 4632 h 10000"/>
                  <a:gd name="connsiteX1839" fmla="*/ 2788 w 10354"/>
                  <a:gd name="connsiteY1839" fmla="*/ 4624 h 10000"/>
                  <a:gd name="connsiteX1840" fmla="*/ 2788 w 10354"/>
                  <a:gd name="connsiteY1840" fmla="*/ 4598 h 10000"/>
                  <a:gd name="connsiteX1841" fmla="*/ 2797 w 10354"/>
                  <a:gd name="connsiteY1841" fmla="*/ 4581 h 10000"/>
                  <a:gd name="connsiteX1842" fmla="*/ 2788 w 10354"/>
                  <a:gd name="connsiteY1842" fmla="*/ 4530 h 10000"/>
                  <a:gd name="connsiteX1843" fmla="*/ 2774 w 10354"/>
                  <a:gd name="connsiteY1843" fmla="*/ 4530 h 10000"/>
                  <a:gd name="connsiteX1844" fmla="*/ 2770 w 10354"/>
                  <a:gd name="connsiteY1844" fmla="*/ 4513 h 10000"/>
                  <a:gd name="connsiteX1845" fmla="*/ 2774 w 10354"/>
                  <a:gd name="connsiteY1845" fmla="*/ 4513 h 10000"/>
                  <a:gd name="connsiteX1846" fmla="*/ 2788 w 10354"/>
                  <a:gd name="connsiteY1846" fmla="*/ 4496 h 10000"/>
                  <a:gd name="connsiteX1847" fmla="*/ 2802 w 10354"/>
                  <a:gd name="connsiteY1847" fmla="*/ 4513 h 10000"/>
                  <a:gd name="connsiteX1848" fmla="*/ 2811 w 10354"/>
                  <a:gd name="connsiteY1848" fmla="*/ 4530 h 10000"/>
                  <a:gd name="connsiteX1849" fmla="*/ 2820 w 10354"/>
                  <a:gd name="connsiteY1849" fmla="*/ 4521 h 10000"/>
                  <a:gd name="connsiteX1850" fmla="*/ 2829 w 10354"/>
                  <a:gd name="connsiteY1850" fmla="*/ 4513 h 10000"/>
                  <a:gd name="connsiteX1851" fmla="*/ 2843 w 10354"/>
                  <a:gd name="connsiteY1851" fmla="*/ 4513 h 10000"/>
                  <a:gd name="connsiteX1852" fmla="*/ 2848 w 10354"/>
                  <a:gd name="connsiteY1852" fmla="*/ 4470 h 10000"/>
                  <a:gd name="connsiteX1853" fmla="*/ 2862 w 10354"/>
                  <a:gd name="connsiteY1853" fmla="*/ 4487 h 10000"/>
                  <a:gd name="connsiteX1854" fmla="*/ 2876 w 10354"/>
                  <a:gd name="connsiteY1854" fmla="*/ 4470 h 10000"/>
                  <a:gd name="connsiteX1855" fmla="*/ 2880 w 10354"/>
                  <a:gd name="connsiteY1855" fmla="*/ 4462 h 10000"/>
                  <a:gd name="connsiteX1856" fmla="*/ 2889 w 10354"/>
                  <a:gd name="connsiteY1856" fmla="*/ 4444 h 10000"/>
                  <a:gd name="connsiteX1857" fmla="*/ 2894 w 10354"/>
                  <a:gd name="connsiteY1857" fmla="*/ 4462 h 10000"/>
                  <a:gd name="connsiteX1858" fmla="*/ 2917 w 10354"/>
                  <a:gd name="connsiteY1858" fmla="*/ 4444 h 10000"/>
                  <a:gd name="connsiteX1859" fmla="*/ 2922 w 10354"/>
                  <a:gd name="connsiteY1859" fmla="*/ 4436 h 10000"/>
                  <a:gd name="connsiteX1860" fmla="*/ 2917 w 10354"/>
                  <a:gd name="connsiteY1860" fmla="*/ 4410 h 10000"/>
                  <a:gd name="connsiteX1861" fmla="*/ 2894 w 10354"/>
                  <a:gd name="connsiteY1861" fmla="*/ 4410 h 10000"/>
                  <a:gd name="connsiteX1862" fmla="*/ 2889 w 10354"/>
                  <a:gd name="connsiteY1862" fmla="*/ 4419 h 10000"/>
                  <a:gd name="connsiteX1863" fmla="*/ 2876 w 10354"/>
                  <a:gd name="connsiteY1863" fmla="*/ 4410 h 10000"/>
                  <a:gd name="connsiteX1864" fmla="*/ 2880 w 10354"/>
                  <a:gd name="connsiteY1864" fmla="*/ 4376 h 10000"/>
                  <a:gd name="connsiteX1865" fmla="*/ 2903 w 10354"/>
                  <a:gd name="connsiteY1865" fmla="*/ 4393 h 10000"/>
                  <a:gd name="connsiteX1866" fmla="*/ 2931 w 10354"/>
                  <a:gd name="connsiteY1866" fmla="*/ 4393 h 10000"/>
                  <a:gd name="connsiteX1867" fmla="*/ 2931 w 10354"/>
                  <a:gd name="connsiteY1867" fmla="*/ 4385 h 10000"/>
                  <a:gd name="connsiteX1868" fmla="*/ 2931 w 10354"/>
                  <a:gd name="connsiteY1868" fmla="*/ 4350 h 10000"/>
                  <a:gd name="connsiteX1869" fmla="*/ 2945 w 10354"/>
                  <a:gd name="connsiteY1869" fmla="*/ 4350 h 10000"/>
                  <a:gd name="connsiteX1870" fmla="*/ 2949 w 10354"/>
                  <a:gd name="connsiteY1870" fmla="*/ 4325 h 10000"/>
                  <a:gd name="connsiteX1871" fmla="*/ 2963 w 10354"/>
                  <a:gd name="connsiteY1871" fmla="*/ 4256 h 10000"/>
                  <a:gd name="connsiteX1872" fmla="*/ 2982 w 10354"/>
                  <a:gd name="connsiteY1872" fmla="*/ 4239 h 10000"/>
                  <a:gd name="connsiteX1873" fmla="*/ 2991 w 10354"/>
                  <a:gd name="connsiteY1873" fmla="*/ 4214 h 10000"/>
                  <a:gd name="connsiteX1874" fmla="*/ 2991 w 10354"/>
                  <a:gd name="connsiteY1874" fmla="*/ 4197 h 10000"/>
                  <a:gd name="connsiteX1875" fmla="*/ 2995 w 10354"/>
                  <a:gd name="connsiteY1875" fmla="*/ 4171 h 10000"/>
                  <a:gd name="connsiteX1876" fmla="*/ 2991 w 10354"/>
                  <a:gd name="connsiteY1876" fmla="*/ 4077 h 10000"/>
                  <a:gd name="connsiteX1877" fmla="*/ 2995 w 10354"/>
                  <a:gd name="connsiteY1877" fmla="*/ 4034 h 10000"/>
                  <a:gd name="connsiteX1878" fmla="*/ 3018 w 10354"/>
                  <a:gd name="connsiteY1878" fmla="*/ 3983 h 10000"/>
                  <a:gd name="connsiteX1879" fmla="*/ 3018 w 10354"/>
                  <a:gd name="connsiteY1879" fmla="*/ 3915 h 10000"/>
                  <a:gd name="connsiteX1880" fmla="*/ 2949 w 10354"/>
                  <a:gd name="connsiteY1880" fmla="*/ 3778 h 10000"/>
                  <a:gd name="connsiteX1881" fmla="*/ 2954 w 10354"/>
                  <a:gd name="connsiteY1881" fmla="*/ 3675 h 10000"/>
                  <a:gd name="connsiteX1882" fmla="*/ 2954 w 10354"/>
                  <a:gd name="connsiteY1882" fmla="*/ 3650 h 10000"/>
                  <a:gd name="connsiteX1883" fmla="*/ 2963 w 10354"/>
                  <a:gd name="connsiteY1883" fmla="*/ 3624 h 10000"/>
                  <a:gd name="connsiteX1884" fmla="*/ 2954 w 10354"/>
                  <a:gd name="connsiteY1884" fmla="*/ 3564 h 10000"/>
                  <a:gd name="connsiteX1885" fmla="*/ 2963 w 10354"/>
                  <a:gd name="connsiteY1885" fmla="*/ 3538 h 10000"/>
                  <a:gd name="connsiteX1886" fmla="*/ 2963 w 10354"/>
                  <a:gd name="connsiteY1886" fmla="*/ 3487 h 10000"/>
                  <a:gd name="connsiteX1887" fmla="*/ 2963 w 10354"/>
                  <a:gd name="connsiteY1887" fmla="*/ 3479 h 10000"/>
                  <a:gd name="connsiteX1888" fmla="*/ 2963 w 10354"/>
                  <a:gd name="connsiteY1888" fmla="*/ 3462 h 10000"/>
                  <a:gd name="connsiteX1889" fmla="*/ 2954 w 10354"/>
                  <a:gd name="connsiteY1889" fmla="*/ 3453 h 10000"/>
                  <a:gd name="connsiteX1890" fmla="*/ 2954 w 10354"/>
                  <a:gd name="connsiteY1890" fmla="*/ 3444 h 10000"/>
                  <a:gd name="connsiteX1891" fmla="*/ 2954 w 10354"/>
                  <a:gd name="connsiteY1891" fmla="*/ 3402 h 10000"/>
                  <a:gd name="connsiteX1892" fmla="*/ 2954 w 10354"/>
                  <a:gd name="connsiteY1892" fmla="*/ 3393 h 10000"/>
                  <a:gd name="connsiteX1893" fmla="*/ 2949 w 10354"/>
                  <a:gd name="connsiteY1893" fmla="*/ 3376 h 10000"/>
                  <a:gd name="connsiteX1894" fmla="*/ 2949 w 10354"/>
                  <a:gd name="connsiteY1894" fmla="*/ 3342 h 10000"/>
                  <a:gd name="connsiteX1895" fmla="*/ 2949 w 10354"/>
                  <a:gd name="connsiteY1895" fmla="*/ 3316 h 10000"/>
                  <a:gd name="connsiteX1896" fmla="*/ 2968 w 10354"/>
                  <a:gd name="connsiteY1896" fmla="*/ 3291 h 10000"/>
                  <a:gd name="connsiteX1897" fmla="*/ 2963 w 10354"/>
                  <a:gd name="connsiteY1897" fmla="*/ 3205 h 10000"/>
                  <a:gd name="connsiteX1898" fmla="*/ 2968 w 10354"/>
                  <a:gd name="connsiteY1898" fmla="*/ 3171 h 10000"/>
                  <a:gd name="connsiteX1899" fmla="*/ 2968 w 10354"/>
                  <a:gd name="connsiteY1899" fmla="*/ 3128 h 10000"/>
                  <a:gd name="connsiteX1900" fmla="*/ 2954 w 10354"/>
                  <a:gd name="connsiteY1900" fmla="*/ 3051 h 10000"/>
                  <a:gd name="connsiteX1901" fmla="*/ 2954 w 10354"/>
                  <a:gd name="connsiteY1901" fmla="*/ 3009 h 10000"/>
                  <a:gd name="connsiteX1902" fmla="*/ 2922 w 10354"/>
                  <a:gd name="connsiteY1902" fmla="*/ 2940 h 10000"/>
                  <a:gd name="connsiteX1903" fmla="*/ 2903 w 10354"/>
                  <a:gd name="connsiteY1903" fmla="*/ 2880 h 10000"/>
                  <a:gd name="connsiteX1904" fmla="*/ 2903 w 10354"/>
                  <a:gd name="connsiteY1904" fmla="*/ 2855 h 10000"/>
                  <a:gd name="connsiteX1905" fmla="*/ 2908 w 10354"/>
                  <a:gd name="connsiteY1905" fmla="*/ 2846 h 10000"/>
                  <a:gd name="connsiteX1906" fmla="*/ 2931 w 10354"/>
                  <a:gd name="connsiteY1906" fmla="*/ 2821 h 10000"/>
                  <a:gd name="connsiteX1907" fmla="*/ 2931 w 10354"/>
                  <a:gd name="connsiteY1907" fmla="*/ 2803 h 10000"/>
                  <a:gd name="connsiteX1908" fmla="*/ 2935 w 10354"/>
                  <a:gd name="connsiteY1908" fmla="*/ 2786 h 10000"/>
                  <a:gd name="connsiteX1909" fmla="*/ 2935 w 10354"/>
                  <a:gd name="connsiteY1909" fmla="*/ 2744 h 10000"/>
                  <a:gd name="connsiteX1910" fmla="*/ 2963 w 10354"/>
                  <a:gd name="connsiteY1910" fmla="*/ 2607 h 10000"/>
                  <a:gd name="connsiteX1911" fmla="*/ 2963 w 10354"/>
                  <a:gd name="connsiteY1911" fmla="*/ 2419 h 10000"/>
                  <a:gd name="connsiteX1912" fmla="*/ 2954 w 10354"/>
                  <a:gd name="connsiteY1912" fmla="*/ 2410 h 10000"/>
                  <a:gd name="connsiteX1913" fmla="*/ 2963 w 10354"/>
                  <a:gd name="connsiteY1913" fmla="*/ 2393 h 10000"/>
                  <a:gd name="connsiteX1914" fmla="*/ 2908 w 10354"/>
                  <a:gd name="connsiteY1914" fmla="*/ 2359 h 10000"/>
                  <a:gd name="connsiteX1915" fmla="*/ 2889 w 10354"/>
                  <a:gd name="connsiteY1915" fmla="*/ 2325 h 10000"/>
                  <a:gd name="connsiteX1916" fmla="*/ 2788 w 10354"/>
                  <a:gd name="connsiteY1916" fmla="*/ 2333 h 10000"/>
                  <a:gd name="connsiteX1917" fmla="*/ 2774 w 10354"/>
                  <a:gd name="connsiteY1917" fmla="*/ 2325 h 10000"/>
                  <a:gd name="connsiteX1918" fmla="*/ 2783 w 10354"/>
                  <a:gd name="connsiteY1918" fmla="*/ 2308 h 10000"/>
                  <a:gd name="connsiteX1919" fmla="*/ 2747 w 10354"/>
                  <a:gd name="connsiteY1919" fmla="*/ 2308 h 10000"/>
                  <a:gd name="connsiteX1920" fmla="*/ 2742 w 10354"/>
                  <a:gd name="connsiteY1920" fmla="*/ 2333 h 10000"/>
                  <a:gd name="connsiteX1921" fmla="*/ 2682 w 10354"/>
                  <a:gd name="connsiteY1921" fmla="*/ 2769 h 10000"/>
                  <a:gd name="connsiteX1922" fmla="*/ 2613 w 10354"/>
                  <a:gd name="connsiteY1922" fmla="*/ 2940 h 10000"/>
                  <a:gd name="connsiteX1923" fmla="*/ 2581 w 10354"/>
                  <a:gd name="connsiteY1923" fmla="*/ 2966 h 10000"/>
                  <a:gd name="connsiteX1924" fmla="*/ 2576 w 10354"/>
                  <a:gd name="connsiteY1924" fmla="*/ 3051 h 10000"/>
                  <a:gd name="connsiteX1925" fmla="*/ 2581 w 10354"/>
                  <a:gd name="connsiteY1925" fmla="*/ 3051 h 10000"/>
                  <a:gd name="connsiteX1926" fmla="*/ 2594 w 10354"/>
                  <a:gd name="connsiteY1926" fmla="*/ 3017 h 10000"/>
                  <a:gd name="connsiteX1927" fmla="*/ 2594 w 10354"/>
                  <a:gd name="connsiteY1927" fmla="*/ 3034 h 10000"/>
                  <a:gd name="connsiteX1928" fmla="*/ 2594 w 10354"/>
                  <a:gd name="connsiteY1928" fmla="*/ 3051 h 10000"/>
                  <a:gd name="connsiteX1929" fmla="*/ 2590 w 10354"/>
                  <a:gd name="connsiteY1929" fmla="*/ 3077 h 10000"/>
                  <a:gd name="connsiteX1930" fmla="*/ 2567 w 10354"/>
                  <a:gd name="connsiteY1930" fmla="*/ 3103 h 10000"/>
                  <a:gd name="connsiteX1931" fmla="*/ 2562 w 10354"/>
                  <a:gd name="connsiteY1931" fmla="*/ 3145 h 10000"/>
                  <a:gd name="connsiteX1932" fmla="*/ 2567 w 10354"/>
                  <a:gd name="connsiteY1932" fmla="*/ 3179 h 10000"/>
                  <a:gd name="connsiteX1933" fmla="*/ 2590 w 10354"/>
                  <a:gd name="connsiteY1933" fmla="*/ 3171 h 10000"/>
                  <a:gd name="connsiteX1934" fmla="*/ 2594 w 10354"/>
                  <a:gd name="connsiteY1934" fmla="*/ 3145 h 10000"/>
                  <a:gd name="connsiteX1935" fmla="*/ 2613 w 10354"/>
                  <a:gd name="connsiteY1935" fmla="*/ 3154 h 10000"/>
                  <a:gd name="connsiteX1936" fmla="*/ 2622 w 10354"/>
                  <a:gd name="connsiteY1936" fmla="*/ 3179 h 10000"/>
                  <a:gd name="connsiteX1937" fmla="*/ 2613 w 10354"/>
                  <a:gd name="connsiteY1937" fmla="*/ 3214 h 10000"/>
                  <a:gd name="connsiteX1938" fmla="*/ 2613 w 10354"/>
                  <a:gd name="connsiteY1938" fmla="*/ 3308 h 10000"/>
                  <a:gd name="connsiteX1939" fmla="*/ 2608 w 10354"/>
                  <a:gd name="connsiteY1939" fmla="*/ 3325 h 10000"/>
                  <a:gd name="connsiteX1940" fmla="*/ 2608 w 10354"/>
                  <a:gd name="connsiteY1940" fmla="*/ 3376 h 10000"/>
                  <a:gd name="connsiteX1941" fmla="*/ 2613 w 10354"/>
                  <a:gd name="connsiteY1941" fmla="*/ 3419 h 10000"/>
                  <a:gd name="connsiteX1942" fmla="*/ 2608 w 10354"/>
                  <a:gd name="connsiteY1942" fmla="*/ 3444 h 10000"/>
                  <a:gd name="connsiteX1943" fmla="*/ 2594 w 10354"/>
                  <a:gd name="connsiteY1943" fmla="*/ 3444 h 10000"/>
                  <a:gd name="connsiteX1944" fmla="*/ 2590 w 10354"/>
                  <a:gd name="connsiteY1944" fmla="*/ 3427 h 10000"/>
                  <a:gd name="connsiteX1945" fmla="*/ 2581 w 10354"/>
                  <a:gd name="connsiteY1945" fmla="*/ 3564 h 10000"/>
                  <a:gd name="connsiteX1946" fmla="*/ 2594 w 10354"/>
                  <a:gd name="connsiteY1946" fmla="*/ 3598 h 10000"/>
                  <a:gd name="connsiteX1947" fmla="*/ 2594 w 10354"/>
                  <a:gd name="connsiteY1947" fmla="*/ 3581 h 10000"/>
                  <a:gd name="connsiteX1948" fmla="*/ 2608 w 10354"/>
                  <a:gd name="connsiteY1948" fmla="*/ 3556 h 10000"/>
                  <a:gd name="connsiteX1949" fmla="*/ 2650 w 10354"/>
                  <a:gd name="connsiteY1949" fmla="*/ 3615 h 10000"/>
                  <a:gd name="connsiteX1950" fmla="*/ 2664 w 10354"/>
                  <a:gd name="connsiteY1950" fmla="*/ 3615 h 10000"/>
                  <a:gd name="connsiteX1951" fmla="*/ 2668 w 10354"/>
                  <a:gd name="connsiteY1951" fmla="*/ 3615 h 10000"/>
                  <a:gd name="connsiteX1952" fmla="*/ 2664 w 10354"/>
                  <a:gd name="connsiteY1952" fmla="*/ 3667 h 10000"/>
                  <a:gd name="connsiteX1953" fmla="*/ 2687 w 10354"/>
                  <a:gd name="connsiteY1953" fmla="*/ 3786 h 10000"/>
                  <a:gd name="connsiteX1954" fmla="*/ 2710 w 10354"/>
                  <a:gd name="connsiteY1954" fmla="*/ 3812 h 10000"/>
                  <a:gd name="connsiteX1955" fmla="*/ 2724 w 10354"/>
                  <a:gd name="connsiteY1955" fmla="*/ 3812 h 10000"/>
                  <a:gd name="connsiteX1956" fmla="*/ 2724 w 10354"/>
                  <a:gd name="connsiteY1956" fmla="*/ 3829 h 10000"/>
                  <a:gd name="connsiteX1957" fmla="*/ 2737 w 10354"/>
                  <a:gd name="connsiteY1957" fmla="*/ 3838 h 10000"/>
                  <a:gd name="connsiteX1958" fmla="*/ 2714 w 10354"/>
                  <a:gd name="connsiteY1958" fmla="*/ 3872 h 10000"/>
                  <a:gd name="connsiteX1959" fmla="*/ 2696 w 10354"/>
                  <a:gd name="connsiteY1959" fmla="*/ 4026 h 10000"/>
                  <a:gd name="connsiteX1960" fmla="*/ 2673 w 10354"/>
                  <a:gd name="connsiteY1960" fmla="*/ 4051 h 10000"/>
                  <a:gd name="connsiteX1961" fmla="*/ 2668 w 10354"/>
                  <a:gd name="connsiteY1961" fmla="*/ 4034 h 10000"/>
                  <a:gd name="connsiteX1962" fmla="*/ 2673 w 10354"/>
                  <a:gd name="connsiteY1962" fmla="*/ 4000 h 10000"/>
                  <a:gd name="connsiteX1963" fmla="*/ 2664 w 10354"/>
                  <a:gd name="connsiteY1963" fmla="*/ 3974 h 10000"/>
                  <a:gd name="connsiteX1964" fmla="*/ 2636 w 10354"/>
                  <a:gd name="connsiteY1964" fmla="*/ 3949 h 10000"/>
                  <a:gd name="connsiteX1965" fmla="*/ 2581 w 10354"/>
                  <a:gd name="connsiteY1965" fmla="*/ 3838 h 10000"/>
                  <a:gd name="connsiteX1966" fmla="*/ 2562 w 10354"/>
                  <a:gd name="connsiteY1966" fmla="*/ 3829 h 10000"/>
                  <a:gd name="connsiteX1967" fmla="*/ 2535 w 10354"/>
                  <a:gd name="connsiteY1967" fmla="*/ 3778 h 10000"/>
                  <a:gd name="connsiteX1968" fmla="*/ 2502 w 10354"/>
                  <a:gd name="connsiteY1968" fmla="*/ 3761 h 10000"/>
                  <a:gd name="connsiteX1969" fmla="*/ 2502 w 10354"/>
                  <a:gd name="connsiteY1969" fmla="*/ 3735 h 10000"/>
                  <a:gd name="connsiteX1970" fmla="*/ 2516 w 10354"/>
                  <a:gd name="connsiteY1970" fmla="*/ 3735 h 10000"/>
                  <a:gd name="connsiteX1971" fmla="*/ 2507 w 10354"/>
                  <a:gd name="connsiteY1971" fmla="*/ 3726 h 10000"/>
                  <a:gd name="connsiteX1972" fmla="*/ 2488 w 10354"/>
                  <a:gd name="connsiteY1972" fmla="*/ 3726 h 10000"/>
                  <a:gd name="connsiteX1973" fmla="*/ 2461 w 10354"/>
                  <a:gd name="connsiteY1973" fmla="*/ 3692 h 10000"/>
                  <a:gd name="connsiteX1974" fmla="*/ 2442 w 10354"/>
                  <a:gd name="connsiteY1974" fmla="*/ 3675 h 10000"/>
                  <a:gd name="connsiteX1975" fmla="*/ 2406 w 10354"/>
                  <a:gd name="connsiteY1975" fmla="*/ 3598 h 10000"/>
                  <a:gd name="connsiteX1976" fmla="*/ 2346 w 10354"/>
                  <a:gd name="connsiteY1976" fmla="*/ 3564 h 10000"/>
                  <a:gd name="connsiteX1977" fmla="*/ 2341 w 10354"/>
                  <a:gd name="connsiteY1977" fmla="*/ 3564 h 10000"/>
                  <a:gd name="connsiteX1978" fmla="*/ 2313 w 10354"/>
                  <a:gd name="connsiteY1978" fmla="*/ 3530 h 10000"/>
                  <a:gd name="connsiteX1979" fmla="*/ 2235 w 10354"/>
                  <a:gd name="connsiteY1979" fmla="*/ 3530 h 10000"/>
                  <a:gd name="connsiteX1980" fmla="*/ 2226 w 10354"/>
                  <a:gd name="connsiteY1980" fmla="*/ 3513 h 10000"/>
                  <a:gd name="connsiteX1981" fmla="*/ 2207 w 10354"/>
                  <a:gd name="connsiteY1981" fmla="*/ 3504 h 10000"/>
                  <a:gd name="connsiteX1982" fmla="*/ 2194 w 10354"/>
                  <a:gd name="connsiteY1982" fmla="*/ 3504 h 10000"/>
                  <a:gd name="connsiteX1983" fmla="*/ 2189 w 10354"/>
                  <a:gd name="connsiteY1983" fmla="*/ 3504 h 10000"/>
                  <a:gd name="connsiteX1984" fmla="*/ 2189 w 10354"/>
                  <a:gd name="connsiteY1984" fmla="*/ 3530 h 10000"/>
                  <a:gd name="connsiteX1985" fmla="*/ 2180 w 10354"/>
                  <a:gd name="connsiteY1985" fmla="*/ 3538 h 10000"/>
                  <a:gd name="connsiteX1986" fmla="*/ 2152 w 10354"/>
                  <a:gd name="connsiteY1986" fmla="*/ 3581 h 10000"/>
                  <a:gd name="connsiteX1987" fmla="*/ 2161 w 10354"/>
                  <a:gd name="connsiteY1987" fmla="*/ 3598 h 10000"/>
                  <a:gd name="connsiteX1988" fmla="*/ 2194 w 10354"/>
                  <a:gd name="connsiteY1988" fmla="*/ 3752 h 10000"/>
                  <a:gd name="connsiteX1989" fmla="*/ 2194 w 10354"/>
                  <a:gd name="connsiteY1989" fmla="*/ 3735 h 10000"/>
                  <a:gd name="connsiteX1990" fmla="*/ 2198 w 10354"/>
                  <a:gd name="connsiteY1990" fmla="*/ 3735 h 10000"/>
                  <a:gd name="connsiteX1991" fmla="*/ 2189 w 10354"/>
                  <a:gd name="connsiteY1991" fmla="*/ 3838 h 10000"/>
                  <a:gd name="connsiteX1992" fmla="*/ 2166 w 10354"/>
                  <a:gd name="connsiteY1992" fmla="*/ 3889 h 10000"/>
                  <a:gd name="connsiteX1993" fmla="*/ 2124 w 10354"/>
                  <a:gd name="connsiteY1993" fmla="*/ 3889 h 10000"/>
                  <a:gd name="connsiteX1994" fmla="*/ 2124 w 10354"/>
                  <a:gd name="connsiteY1994" fmla="*/ 3923 h 10000"/>
                  <a:gd name="connsiteX1995" fmla="*/ 2134 w 10354"/>
                  <a:gd name="connsiteY1995" fmla="*/ 3940 h 10000"/>
                  <a:gd name="connsiteX1996" fmla="*/ 2134 w 10354"/>
                  <a:gd name="connsiteY1996" fmla="*/ 3966 h 10000"/>
                  <a:gd name="connsiteX1997" fmla="*/ 2120 w 10354"/>
                  <a:gd name="connsiteY1997" fmla="*/ 4000 h 10000"/>
                  <a:gd name="connsiteX1998" fmla="*/ 2106 w 10354"/>
                  <a:gd name="connsiteY1998" fmla="*/ 4009 h 10000"/>
                  <a:gd name="connsiteX1999" fmla="*/ 2088 w 10354"/>
                  <a:gd name="connsiteY1999" fmla="*/ 4000 h 10000"/>
                  <a:gd name="connsiteX2000" fmla="*/ 2074 w 10354"/>
                  <a:gd name="connsiteY2000" fmla="*/ 3974 h 10000"/>
                  <a:gd name="connsiteX2001" fmla="*/ 2074 w 10354"/>
                  <a:gd name="connsiteY2001" fmla="*/ 3940 h 10000"/>
                  <a:gd name="connsiteX2002" fmla="*/ 2078 w 10354"/>
                  <a:gd name="connsiteY2002" fmla="*/ 3915 h 10000"/>
                  <a:gd name="connsiteX2003" fmla="*/ 2088 w 10354"/>
                  <a:gd name="connsiteY2003" fmla="*/ 3889 h 10000"/>
                  <a:gd name="connsiteX2004" fmla="*/ 2101 w 10354"/>
                  <a:gd name="connsiteY2004" fmla="*/ 3872 h 10000"/>
                  <a:gd name="connsiteX2005" fmla="*/ 2074 w 10354"/>
                  <a:gd name="connsiteY2005" fmla="*/ 3812 h 10000"/>
                  <a:gd name="connsiteX2006" fmla="*/ 2074 w 10354"/>
                  <a:gd name="connsiteY2006" fmla="*/ 3786 h 10000"/>
                  <a:gd name="connsiteX2007" fmla="*/ 2060 w 10354"/>
                  <a:gd name="connsiteY2007" fmla="*/ 3786 h 10000"/>
                  <a:gd name="connsiteX2008" fmla="*/ 2014 w 10354"/>
                  <a:gd name="connsiteY2008" fmla="*/ 3829 h 10000"/>
                  <a:gd name="connsiteX2009" fmla="*/ 2000 w 10354"/>
                  <a:gd name="connsiteY2009" fmla="*/ 3863 h 10000"/>
                  <a:gd name="connsiteX2010" fmla="*/ 1986 w 10354"/>
                  <a:gd name="connsiteY2010" fmla="*/ 3872 h 10000"/>
                  <a:gd name="connsiteX2011" fmla="*/ 1959 w 10354"/>
                  <a:gd name="connsiteY2011" fmla="*/ 3940 h 10000"/>
                  <a:gd name="connsiteX2012" fmla="*/ 1945 w 10354"/>
                  <a:gd name="connsiteY2012" fmla="*/ 3949 h 10000"/>
                  <a:gd name="connsiteX2013" fmla="*/ 1940 w 10354"/>
                  <a:gd name="connsiteY2013" fmla="*/ 3923 h 10000"/>
                  <a:gd name="connsiteX2014" fmla="*/ 1917 w 10354"/>
                  <a:gd name="connsiteY2014" fmla="*/ 3915 h 10000"/>
                  <a:gd name="connsiteX2015" fmla="*/ 1899 w 10354"/>
                  <a:gd name="connsiteY2015" fmla="*/ 3923 h 10000"/>
                  <a:gd name="connsiteX2016" fmla="*/ 1880 w 10354"/>
                  <a:gd name="connsiteY2016" fmla="*/ 3915 h 10000"/>
                  <a:gd name="connsiteX2017" fmla="*/ 1853 w 10354"/>
                  <a:gd name="connsiteY2017" fmla="*/ 3940 h 10000"/>
                  <a:gd name="connsiteX2018" fmla="*/ 1839 w 10354"/>
                  <a:gd name="connsiteY2018" fmla="*/ 3940 h 10000"/>
                  <a:gd name="connsiteX2019" fmla="*/ 1806 w 10354"/>
                  <a:gd name="connsiteY2019" fmla="*/ 3983 h 10000"/>
                  <a:gd name="connsiteX2020" fmla="*/ 1806 w 10354"/>
                  <a:gd name="connsiteY2020" fmla="*/ 4000 h 10000"/>
                  <a:gd name="connsiteX2021" fmla="*/ 1797 w 10354"/>
                  <a:gd name="connsiteY2021" fmla="*/ 4077 h 10000"/>
                  <a:gd name="connsiteX2022" fmla="*/ 1783 w 10354"/>
                  <a:gd name="connsiteY2022" fmla="*/ 4077 h 10000"/>
                  <a:gd name="connsiteX2023" fmla="*/ 1779 w 10354"/>
                  <a:gd name="connsiteY2023" fmla="*/ 4051 h 10000"/>
                  <a:gd name="connsiteX2024" fmla="*/ 1765 w 10354"/>
                  <a:gd name="connsiteY2024" fmla="*/ 4026 h 10000"/>
                  <a:gd name="connsiteX2025" fmla="*/ 1751 w 10354"/>
                  <a:gd name="connsiteY2025" fmla="*/ 4051 h 10000"/>
                  <a:gd name="connsiteX2026" fmla="*/ 1737 w 10354"/>
                  <a:gd name="connsiteY2026" fmla="*/ 4009 h 10000"/>
                  <a:gd name="connsiteX2027" fmla="*/ 1737 w 10354"/>
                  <a:gd name="connsiteY2027" fmla="*/ 3966 h 10000"/>
                  <a:gd name="connsiteX2028" fmla="*/ 1733 w 10354"/>
                  <a:gd name="connsiteY2028" fmla="*/ 3940 h 10000"/>
                  <a:gd name="connsiteX2029" fmla="*/ 1733 w 10354"/>
                  <a:gd name="connsiteY2029" fmla="*/ 3923 h 10000"/>
                  <a:gd name="connsiteX2030" fmla="*/ 1747 w 10354"/>
                  <a:gd name="connsiteY2030" fmla="*/ 3889 h 10000"/>
                  <a:gd name="connsiteX2031" fmla="*/ 1747 w 10354"/>
                  <a:gd name="connsiteY2031" fmla="*/ 3863 h 10000"/>
                  <a:gd name="connsiteX2032" fmla="*/ 1737 w 10354"/>
                  <a:gd name="connsiteY2032" fmla="*/ 3838 h 10000"/>
                  <a:gd name="connsiteX2033" fmla="*/ 1733 w 10354"/>
                  <a:gd name="connsiteY2033" fmla="*/ 3829 h 10000"/>
                  <a:gd name="connsiteX2034" fmla="*/ 1733 w 10354"/>
                  <a:gd name="connsiteY2034" fmla="*/ 3846 h 10000"/>
                  <a:gd name="connsiteX2035" fmla="*/ 1724 w 10354"/>
                  <a:gd name="connsiteY2035" fmla="*/ 3846 h 10000"/>
                  <a:gd name="connsiteX2036" fmla="*/ 1724 w 10354"/>
                  <a:gd name="connsiteY2036" fmla="*/ 3829 h 10000"/>
                  <a:gd name="connsiteX2037" fmla="*/ 1737 w 10354"/>
                  <a:gd name="connsiteY2037" fmla="*/ 3812 h 10000"/>
                  <a:gd name="connsiteX2038" fmla="*/ 1765 w 10354"/>
                  <a:gd name="connsiteY2038" fmla="*/ 3812 h 10000"/>
                  <a:gd name="connsiteX2039" fmla="*/ 1779 w 10354"/>
                  <a:gd name="connsiteY2039" fmla="*/ 3786 h 10000"/>
                  <a:gd name="connsiteX2040" fmla="*/ 1779 w 10354"/>
                  <a:gd name="connsiteY2040" fmla="*/ 3786 h 10000"/>
                  <a:gd name="connsiteX2041" fmla="*/ 1751 w 10354"/>
                  <a:gd name="connsiteY2041" fmla="*/ 3803 h 10000"/>
                  <a:gd name="connsiteX2042" fmla="*/ 1747 w 10354"/>
                  <a:gd name="connsiteY2042" fmla="*/ 3803 h 10000"/>
                  <a:gd name="connsiteX2043" fmla="*/ 1724 w 10354"/>
                  <a:gd name="connsiteY2043" fmla="*/ 3803 h 10000"/>
                  <a:gd name="connsiteX2044" fmla="*/ 1700 w 10354"/>
                  <a:gd name="connsiteY2044" fmla="*/ 3829 h 10000"/>
                  <a:gd name="connsiteX2045" fmla="*/ 1705 w 10354"/>
                  <a:gd name="connsiteY2045" fmla="*/ 3846 h 10000"/>
                  <a:gd name="connsiteX2046" fmla="*/ 1691 w 10354"/>
                  <a:gd name="connsiteY2046" fmla="*/ 3846 h 10000"/>
                  <a:gd name="connsiteX2047" fmla="*/ 1691 w 10354"/>
                  <a:gd name="connsiteY2047" fmla="*/ 3863 h 10000"/>
                  <a:gd name="connsiteX2048" fmla="*/ 1691 w 10354"/>
                  <a:gd name="connsiteY2048" fmla="*/ 3915 h 10000"/>
                  <a:gd name="connsiteX2049" fmla="*/ 1677 w 10354"/>
                  <a:gd name="connsiteY2049" fmla="*/ 3923 h 10000"/>
                  <a:gd name="connsiteX2050" fmla="*/ 1673 w 10354"/>
                  <a:gd name="connsiteY2050" fmla="*/ 3915 h 10000"/>
                  <a:gd name="connsiteX2051" fmla="*/ 1664 w 10354"/>
                  <a:gd name="connsiteY2051" fmla="*/ 3889 h 10000"/>
                  <a:gd name="connsiteX2052" fmla="*/ 1673 w 10354"/>
                  <a:gd name="connsiteY2052" fmla="*/ 3872 h 10000"/>
                  <a:gd name="connsiteX2053" fmla="*/ 1664 w 10354"/>
                  <a:gd name="connsiteY2053" fmla="*/ 3872 h 10000"/>
                  <a:gd name="connsiteX2054" fmla="*/ 1636 w 10354"/>
                  <a:gd name="connsiteY2054" fmla="*/ 3923 h 10000"/>
                  <a:gd name="connsiteX2055" fmla="*/ 1645 w 10354"/>
                  <a:gd name="connsiteY2055" fmla="*/ 3923 h 10000"/>
                  <a:gd name="connsiteX2056" fmla="*/ 1650 w 10354"/>
                  <a:gd name="connsiteY2056" fmla="*/ 3949 h 10000"/>
                  <a:gd name="connsiteX2057" fmla="*/ 1650 w 10354"/>
                  <a:gd name="connsiteY2057" fmla="*/ 3983 h 10000"/>
                  <a:gd name="connsiteX2058" fmla="*/ 1636 w 10354"/>
                  <a:gd name="connsiteY2058" fmla="*/ 4000 h 10000"/>
                  <a:gd name="connsiteX2059" fmla="*/ 1631 w 10354"/>
                  <a:gd name="connsiteY2059" fmla="*/ 4009 h 10000"/>
                  <a:gd name="connsiteX2060" fmla="*/ 1618 w 10354"/>
                  <a:gd name="connsiteY2060" fmla="*/ 3949 h 10000"/>
                  <a:gd name="connsiteX2061" fmla="*/ 1585 w 10354"/>
                  <a:gd name="connsiteY2061" fmla="*/ 3966 h 10000"/>
                  <a:gd name="connsiteX2062" fmla="*/ 1590 w 10354"/>
                  <a:gd name="connsiteY2062" fmla="*/ 3974 h 10000"/>
                  <a:gd name="connsiteX2063" fmla="*/ 1544 w 10354"/>
                  <a:gd name="connsiteY2063" fmla="*/ 4009 h 10000"/>
                  <a:gd name="connsiteX2064" fmla="*/ 1539 w 10354"/>
                  <a:gd name="connsiteY2064" fmla="*/ 4009 h 10000"/>
                  <a:gd name="connsiteX2065" fmla="*/ 1410 w 10354"/>
                  <a:gd name="connsiteY2065" fmla="*/ 4188 h 10000"/>
                  <a:gd name="connsiteX2066" fmla="*/ 1406 w 10354"/>
                  <a:gd name="connsiteY2066" fmla="*/ 4171 h 10000"/>
                  <a:gd name="connsiteX2067" fmla="*/ 1396 w 10354"/>
                  <a:gd name="connsiteY2067" fmla="*/ 4214 h 10000"/>
                  <a:gd name="connsiteX2068" fmla="*/ 1406 w 10354"/>
                  <a:gd name="connsiteY2068" fmla="*/ 4222 h 10000"/>
                  <a:gd name="connsiteX2069" fmla="*/ 1392 w 10354"/>
                  <a:gd name="connsiteY2069" fmla="*/ 4239 h 10000"/>
                  <a:gd name="connsiteX2070" fmla="*/ 1369 w 10354"/>
                  <a:gd name="connsiteY2070" fmla="*/ 4248 h 10000"/>
                  <a:gd name="connsiteX2071" fmla="*/ 1355 w 10354"/>
                  <a:gd name="connsiteY2071" fmla="*/ 4256 h 10000"/>
                  <a:gd name="connsiteX2072" fmla="*/ 1350 w 10354"/>
                  <a:gd name="connsiteY2072" fmla="*/ 4248 h 10000"/>
                  <a:gd name="connsiteX2073" fmla="*/ 1332 w 10354"/>
                  <a:gd name="connsiteY2073" fmla="*/ 4376 h 10000"/>
                  <a:gd name="connsiteX2074" fmla="*/ 1332 w 10354"/>
                  <a:gd name="connsiteY2074" fmla="*/ 4436 h 10000"/>
                  <a:gd name="connsiteX2075" fmla="*/ 1323 w 10354"/>
                  <a:gd name="connsiteY2075" fmla="*/ 4462 h 10000"/>
                  <a:gd name="connsiteX2076" fmla="*/ 1304 w 10354"/>
                  <a:gd name="connsiteY2076" fmla="*/ 4487 h 10000"/>
                  <a:gd name="connsiteX2077" fmla="*/ 1290 w 10354"/>
                  <a:gd name="connsiteY2077" fmla="*/ 4470 h 10000"/>
                  <a:gd name="connsiteX2078" fmla="*/ 1263 w 10354"/>
                  <a:gd name="connsiteY2078" fmla="*/ 4496 h 10000"/>
                  <a:gd name="connsiteX2079" fmla="*/ 1258 w 10354"/>
                  <a:gd name="connsiteY2079" fmla="*/ 4547 h 10000"/>
                  <a:gd name="connsiteX2080" fmla="*/ 1249 w 10354"/>
                  <a:gd name="connsiteY2080" fmla="*/ 4487 h 10000"/>
                  <a:gd name="connsiteX2081" fmla="*/ 1235 w 10354"/>
                  <a:gd name="connsiteY2081" fmla="*/ 4496 h 10000"/>
                  <a:gd name="connsiteX2082" fmla="*/ 1221 w 10354"/>
                  <a:gd name="connsiteY2082" fmla="*/ 4496 h 10000"/>
                  <a:gd name="connsiteX2083" fmla="*/ 1217 w 10354"/>
                  <a:gd name="connsiteY2083" fmla="*/ 4487 h 10000"/>
                  <a:gd name="connsiteX2084" fmla="*/ 1198 w 10354"/>
                  <a:gd name="connsiteY2084" fmla="*/ 4410 h 10000"/>
                  <a:gd name="connsiteX2085" fmla="*/ 1157 w 10354"/>
                  <a:gd name="connsiteY2085" fmla="*/ 4333 h 10000"/>
                  <a:gd name="connsiteX2086" fmla="*/ 1147 w 10354"/>
                  <a:gd name="connsiteY2086" fmla="*/ 4299 h 10000"/>
                  <a:gd name="connsiteX2087" fmla="*/ 1147 w 10354"/>
                  <a:gd name="connsiteY2087" fmla="*/ 4274 h 10000"/>
                  <a:gd name="connsiteX2088" fmla="*/ 1161 w 10354"/>
                  <a:gd name="connsiteY2088" fmla="*/ 4256 h 10000"/>
                  <a:gd name="connsiteX2089" fmla="*/ 1171 w 10354"/>
                  <a:gd name="connsiteY2089" fmla="*/ 4248 h 10000"/>
                  <a:gd name="connsiteX2090" fmla="*/ 1175 w 10354"/>
                  <a:gd name="connsiteY2090" fmla="*/ 4214 h 10000"/>
                  <a:gd name="connsiteX2091" fmla="*/ 1263 w 10354"/>
                  <a:gd name="connsiteY2091" fmla="*/ 4171 h 10000"/>
                  <a:gd name="connsiteX2092" fmla="*/ 1249 w 10354"/>
                  <a:gd name="connsiteY2092" fmla="*/ 4137 h 10000"/>
                  <a:gd name="connsiteX2093" fmla="*/ 1244 w 10354"/>
                  <a:gd name="connsiteY2093" fmla="*/ 4060 h 10000"/>
                  <a:gd name="connsiteX2094" fmla="*/ 1230 w 10354"/>
                  <a:gd name="connsiteY2094" fmla="*/ 4077 h 10000"/>
                  <a:gd name="connsiteX2095" fmla="*/ 1221 w 10354"/>
                  <a:gd name="connsiteY2095" fmla="*/ 4026 h 10000"/>
                  <a:gd name="connsiteX2096" fmla="*/ 1217 w 10354"/>
                  <a:gd name="connsiteY2096" fmla="*/ 4026 h 10000"/>
                  <a:gd name="connsiteX2097" fmla="*/ 1212 w 10354"/>
                  <a:gd name="connsiteY2097" fmla="*/ 3983 h 10000"/>
                  <a:gd name="connsiteX2098" fmla="*/ 1203 w 10354"/>
                  <a:gd name="connsiteY2098" fmla="*/ 3966 h 10000"/>
                  <a:gd name="connsiteX2099" fmla="*/ 1171 w 10354"/>
                  <a:gd name="connsiteY2099" fmla="*/ 3949 h 10000"/>
                  <a:gd name="connsiteX2100" fmla="*/ 1111 w 10354"/>
                  <a:gd name="connsiteY2100" fmla="*/ 3940 h 10000"/>
                  <a:gd name="connsiteX2101" fmla="*/ 1097 w 10354"/>
                  <a:gd name="connsiteY2101" fmla="*/ 3949 h 10000"/>
                  <a:gd name="connsiteX2102" fmla="*/ 1037 w 10354"/>
                  <a:gd name="connsiteY2102" fmla="*/ 3897 h 10000"/>
                  <a:gd name="connsiteX2103" fmla="*/ 1041 w 10354"/>
                  <a:gd name="connsiteY2103" fmla="*/ 3923 h 10000"/>
                  <a:gd name="connsiteX2104" fmla="*/ 1097 w 10354"/>
                  <a:gd name="connsiteY2104" fmla="*/ 4009 h 10000"/>
                  <a:gd name="connsiteX2105" fmla="*/ 1097 w 10354"/>
                  <a:gd name="connsiteY2105" fmla="*/ 4120 h 10000"/>
                  <a:gd name="connsiteX2106" fmla="*/ 1097 w 10354"/>
                  <a:gd name="connsiteY2106" fmla="*/ 4162 h 10000"/>
                  <a:gd name="connsiteX2107" fmla="*/ 1097 w 10354"/>
                  <a:gd name="connsiteY2107" fmla="*/ 4197 h 10000"/>
                  <a:gd name="connsiteX2108" fmla="*/ 1074 w 10354"/>
                  <a:gd name="connsiteY2108" fmla="*/ 4333 h 10000"/>
                  <a:gd name="connsiteX2109" fmla="*/ 1074 w 10354"/>
                  <a:gd name="connsiteY2109" fmla="*/ 4376 h 10000"/>
                  <a:gd name="connsiteX2110" fmla="*/ 1083 w 10354"/>
                  <a:gd name="connsiteY2110" fmla="*/ 4385 h 10000"/>
                  <a:gd name="connsiteX2111" fmla="*/ 1097 w 10354"/>
                  <a:gd name="connsiteY2111" fmla="*/ 4385 h 10000"/>
                  <a:gd name="connsiteX2112" fmla="*/ 1111 w 10354"/>
                  <a:gd name="connsiteY2112" fmla="*/ 4410 h 10000"/>
                  <a:gd name="connsiteX2113" fmla="*/ 1124 w 10354"/>
                  <a:gd name="connsiteY2113" fmla="*/ 4444 h 10000"/>
                  <a:gd name="connsiteX2114" fmla="*/ 1124 w 10354"/>
                  <a:gd name="connsiteY2114" fmla="*/ 4470 h 10000"/>
                  <a:gd name="connsiteX2115" fmla="*/ 1115 w 10354"/>
                  <a:gd name="connsiteY2115" fmla="*/ 4513 h 10000"/>
                  <a:gd name="connsiteX2116" fmla="*/ 1115 w 10354"/>
                  <a:gd name="connsiteY2116" fmla="*/ 4530 h 10000"/>
                  <a:gd name="connsiteX2117" fmla="*/ 1115 w 10354"/>
                  <a:gd name="connsiteY2117" fmla="*/ 4573 h 10000"/>
                  <a:gd name="connsiteX2118" fmla="*/ 1101 w 10354"/>
                  <a:gd name="connsiteY2118" fmla="*/ 4607 h 10000"/>
                  <a:gd name="connsiteX2119" fmla="*/ 1097 w 10354"/>
                  <a:gd name="connsiteY2119" fmla="*/ 4658 h 10000"/>
                  <a:gd name="connsiteX2120" fmla="*/ 1101 w 10354"/>
                  <a:gd name="connsiteY2120" fmla="*/ 4692 h 10000"/>
                  <a:gd name="connsiteX2121" fmla="*/ 1097 w 10354"/>
                  <a:gd name="connsiteY2121" fmla="*/ 4778 h 10000"/>
                  <a:gd name="connsiteX2122" fmla="*/ 1083 w 10354"/>
                  <a:gd name="connsiteY2122" fmla="*/ 4744 h 10000"/>
                  <a:gd name="connsiteX2123" fmla="*/ 1083 w 10354"/>
                  <a:gd name="connsiteY2123" fmla="*/ 4718 h 10000"/>
                  <a:gd name="connsiteX2124" fmla="*/ 1074 w 10354"/>
                  <a:gd name="connsiteY2124" fmla="*/ 4692 h 10000"/>
                  <a:gd name="connsiteX2125" fmla="*/ 1065 w 10354"/>
                  <a:gd name="connsiteY2125" fmla="*/ 4692 h 10000"/>
                  <a:gd name="connsiteX2126" fmla="*/ 1051 w 10354"/>
                  <a:gd name="connsiteY2126" fmla="*/ 4718 h 10000"/>
                  <a:gd name="connsiteX2127" fmla="*/ 1055 w 10354"/>
                  <a:gd name="connsiteY2127" fmla="*/ 4692 h 10000"/>
                  <a:gd name="connsiteX2128" fmla="*/ 1055 w 10354"/>
                  <a:gd name="connsiteY2128" fmla="*/ 4667 h 10000"/>
                  <a:gd name="connsiteX2129" fmla="*/ 1028 w 10354"/>
                  <a:gd name="connsiteY2129" fmla="*/ 4624 h 10000"/>
                  <a:gd name="connsiteX2130" fmla="*/ 1005 w 10354"/>
                  <a:gd name="connsiteY2130" fmla="*/ 4624 h 10000"/>
                  <a:gd name="connsiteX2131" fmla="*/ 977 w 10354"/>
                  <a:gd name="connsiteY2131" fmla="*/ 4581 h 10000"/>
                  <a:gd name="connsiteX2132" fmla="*/ 963 w 10354"/>
                  <a:gd name="connsiteY2132" fmla="*/ 4607 h 10000"/>
                  <a:gd name="connsiteX2133" fmla="*/ 963 w 10354"/>
                  <a:gd name="connsiteY2133" fmla="*/ 4632 h 10000"/>
                  <a:gd name="connsiteX2134" fmla="*/ 917 w 10354"/>
                  <a:gd name="connsiteY2134" fmla="*/ 4718 h 10000"/>
                  <a:gd name="connsiteX2135" fmla="*/ 889 w 10354"/>
                  <a:gd name="connsiteY2135" fmla="*/ 4744 h 10000"/>
                  <a:gd name="connsiteX2136" fmla="*/ 880 w 10354"/>
                  <a:gd name="connsiteY2136" fmla="*/ 4744 h 10000"/>
                  <a:gd name="connsiteX2137" fmla="*/ 862 w 10354"/>
                  <a:gd name="connsiteY2137" fmla="*/ 4769 h 10000"/>
                  <a:gd name="connsiteX2138" fmla="*/ 857 w 10354"/>
                  <a:gd name="connsiteY2138" fmla="*/ 4795 h 10000"/>
                  <a:gd name="connsiteX2139" fmla="*/ 829 w 10354"/>
                  <a:gd name="connsiteY2139" fmla="*/ 4846 h 10000"/>
                  <a:gd name="connsiteX2140" fmla="*/ 816 w 10354"/>
                  <a:gd name="connsiteY2140" fmla="*/ 4855 h 10000"/>
                  <a:gd name="connsiteX2141" fmla="*/ 816 w 10354"/>
                  <a:gd name="connsiteY2141" fmla="*/ 4940 h 10000"/>
                  <a:gd name="connsiteX2142" fmla="*/ 880 w 10354"/>
                  <a:gd name="connsiteY2142" fmla="*/ 5179 h 10000"/>
                  <a:gd name="connsiteX2143" fmla="*/ 880 w 10354"/>
                  <a:gd name="connsiteY2143" fmla="*/ 5188 h 10000"/>
                  <a:gd name="connsiteX2144" fmla="*/ 862 w 10354"/>
                  <a:gd name="connsiteY2144" fmla="*/ 5171 h 10000"/>
                  <a:gd name="connsiteX2145" fmla="*/ 857 w 10354"/>
                  <a:gd name="connsiteY2145" fmla="*/ 5171 h 10000"/>
                  <a:gd name="connsiteX2146" fmla="*/ 820 w 10354"/>
                  <a:gd name="connsiteY2146" fmla="*/ 5145 h 10000"/>
                  <a:gd name="connsiteX2147" fmla="*/ 820 w 10354"/>
                  <a:gd name="connsiteY2147" fmla="*/ 5154 h 10000"/>
                  <a:gd name="connsiteX2148" fmla="*/ 816 w 10354"/>
                  <a:gd name="connsiteY2148" fmla="*/ 5171 h 10000"/>
                  <a:gd name="connsiteX2149" fmla="*/ 783 w 10354"/>
                  <a:gd name="connsiteY2149" fmla="*/ 5145 h 10000"/>
                  <a:gd name="connsiteX2150" fmla="*/ 756 w 10354"/>
                  <a:gd name="connsiteY2150" fmla="*/ 5103 h 10000"/>
                  <a:gd name="connsiteX2151" fmla="*/ 742 w 10354"/>
                  <a:gd name="connsiteY2151" fmla="*/ 5103 h 10000"/>
                  <a:gd name="connsiteX2152" fmla="*/ 728 w 10354"/>
                  <a:gd name="connsiteY2152" fmla="*/ 5094 h 10000"/>
                  <a:gd name="connsiteX2153" fmla="*/ 710 w 10354"/>
                  <a:gd name="connsiteY2153" fmla="*/ 5120 h 10000"/>
                  <a:gd name="connsiteX2154" fmla="*/ 700 w 10354"/>
                  <a:gd name="connsiteY2154" fmla="*/ 5145 h 10000"/>
                  <a:gd name="connsiteX2155" fmla="*/ 696 w 10354"/>
                  <a:gd name="connsiteY2155" fmla="*/ 5103 h 10000"/>
                  <a:gd name="connsiteX2156" fmla="*/ 714 w 10354"/>
                  <a:gd name="connsiteY2156" fmla="*/ 5077 h 10000"/>
                  <a:gd name="connsiteX2157" fmla="*/ 682 w 10354"/>
                  <a:gd name="connsiteY2157" fmla="*/ 5068 h 10000"/>
                  <a:gd name="connsiteX2158" fmla="*/ 673 w 10354"/>
                  <a:gd name="connsiteY2158" fmla="*/ 5034 h 10000"/>
                  <a:gd name="connsiteX2159" fmla="*/ 636 w 10354"/>
                  <a:gd name="connsiteY2159" fmla="*/ 4991 h 10000"/>
                  <a:gd name="connsiteX2160" fmla="*/ 622 w 10354"/>
                  <a:gd name="connsiteY2160" fmla="*/ 4983 h 10000"/>
                  <a:gd name="connsiteX2161" fmla="*/ 622 w 10354"/>
                  <a:gd name="connsiteY2161" fmla="*/ 5034 h 10000"/>
                  <a:gd name="connsiteX2162" fmla="*/ 608 w 10354"/>
                  <a:gd name="connsiteY2162" fmla="*/ 5051 h 10000"/>
                  <a:gd name="connsiteX2163" fmla="*/ 594 w 10354"/>
                  <a:gd name="connsiteY2163" fmla="*/ 5068 h 10000"/>
                  <a:gd name="connsiteX2164" fmla="*/ 608 w 10354"/>
                  <a:gd name="connsiteY2164" fmla="*/ 5120 h 10000"/>
                  <a:gd name="connsiteX2165" fmla="*/ 613 w 10354"/>
                  <a:gd name="connsiteY2165" fmla="*/ 5128 h 10000"/>
                  <a:gd name="connsiteX2166" fmla="*/ 627 w 10354"/>
                  <a:gd name="connsiteY2166" fmla="*/ 5179 h 10000"/>
                  <a:gd name="connsiteX2167" fmla="*/ 650 w 10354"/>
                  <a:gd name="connsiteY2167" fmla="*/ 5214 h 10000"/>
                  <a:gd name="connsiteX2168" fmla="*/ 687 w 10354"/>
                  <a:gd name="connsiteY2168" fmla="*/ 5188 h 10000"/>
                  <a:gd name="connsiteX2169" fmla="*/ 700 w 10354"/>
                  <a:gd name="connsiteY2169" fmla="*/ 5325 h 10000"/>
                  <a:gd name="connsiteX2170" fmla="*/ 710 w 10354"/>
                  <a:gd name="connsiteY2170" fmla="*/ 5350 h 10000"/>
                  <a:gd name="connsiteX2171" fmla="*/ 687 w 10354"/>
                  <a:gd name="connsiteY2171" fmla="*/ 5325 h 10000"/>
                  <a:gd name="connsiteX2172" fmla="*/ 668 w 10354"/>
                  <a:gd name="connsiteY2172" fmla="*/ 5350 h 10000"/>
                  <a:gd name="connsiteX2173" fmla="*/ 668 w 10354"/>
                  <a:gd name="connsiteY2173" fmla="*/ 5368 h 10000"/>
                  <a:gd name="connsiteX2174" fmla="*/ 668 w 10354"/>
                  <a:gd name="connsiteY2174" fmla="*/ 5376 h 10000"/>
                  <a:gd name="connsiteX2175" fmla="*/ 581 w 10354"/>
                  <a:gd name="connsiteY2175" fmla="*/ 5316 h 10000"/>
                  <a:gd name="connsiteX2176" fmla="*/ 567 w 10354"/>
                  <a:gd name="connsiteY2176" fmla="*/ 5265 h 10000"/>
                  <a:gd name="connsiteX2177" fmla="*/ 562 w 10354"/>
                  <a:gd name="connsiteY2177" fmla="*/ 5256 h 10000"/>
                  <a:gd name="connsiteX2178" fmla="*/ 548 w 10354"/>
                  <a:gd name="connsiteY2178" fmla="*/ 5231 h 10000"/>
                  <a:gd name="connsiteX2179" fmla="*/ 535 w 10354"/>
                  <a:gd name="connsiteY2179" fmla="*/ 5214 h 10000"/>
                  <a:gd name="connsiteX2180" fmla="*/ 525 w 10354"/>
                  <a:gd name="connsiteY2180" fmla="*/ 5231 h 10000"/>
                  <a:gd name="connsiteX2181" fmla="*/ 521 w 10354"/>
                  <a:gd name="connsiteY2181" fmla="*/ 5231 h 10000"/>
                  <a:gd name="connsiteX2182" fmla="*/ 493 w 10354"/>
                  <a:gd name="connsiteY2182" fmla="*/ 5205 h 10000"/>
                  <a:gd name="connsiteX2183" fmla="*/ 488 w 10354"/>
                  <a:gd name="connsiteY2183" fmla="*/ 5179 h 10000"/>
                  <a:gd name="connsiteX2184" fmla="*/ 475 w 10354"/>
                  <a:gd name="connsiteY2184" fmla="*/ 5188 h 10000"/>
                  <a:gd name="connsiteX2185" fmla="*/ 475 w 10354"/>
                  <a:gd name="connsiteY2185" fmla="*/ 5171 h 10000"/>
                  <a:gd name="connsiteX2186" fmla="*/ 488 w 10354"/>
                  <a:gd name="connsiteY2186" fmla="*/ 5154 h 10000"/>
                  <a:gd name="connsiteX2187" fmla="*/ 488 w 10354"/>
                  <a:gd name="connsiteY2187" fmla="*/ 5068 h 10000"/>
                  <a:gd name="connsiteX2188" fmla="*/ 475 w 10354"/>
                  <a:gd name="connsiteY2188" fmla="*/ 5051 h 10000"/>
                  <a:gd name="connsiteX2189" fmla="*/ 475 w 10354"/>
                  <a:gd name="connsiteY2189" fmla="*/ 5017 h 10000"/>
                  <a:gd name="connsiteX2190" fmla="*/ 452 w 10354"/>
                  <a:gd name="connsiteY2190" fmla="*/ 4932 h 10000"/>
                  <a:gd name="connsiteX2191" fmla="*/ 461 w 10354"/>
                  <a:gd name="connsiteY2191" fmla="*/ 4915 h 10000"/>
                  <a:gd name="connsiteX2192" fmla="*/ 475 w 10354"/>
                  <a:gd name="connsiteY2192" fmla="*/ 4906 h 10000"/>
                  <a:gd name="connsiteX2193" fmla="*/ 479 w 10354"/>
                  <a:gd name="connsiteY2193" fmla="*/ 4803 h 10000"/>
                  <a:gd name="connsiteX2194" fmla="*/ 479 w 10354"/>
                  <a:gd name="connsiteY2194" fmla="*/ 4778 h 10000"/>
                  <a:gd name="connsiteX2195" fmla="*/ 475 w 10354"/>
                  <a:gd name="connsiteY2195" fmla="*/ 4761 h 10000"/>
                  <a:gd name="connsiteX2196" fmla="*/ 465 w 10354"/>
                  <a:gd name="connsiteY2196" fmla="*/ 4718 h 10000"/>
                  <a:gd name="connsiteX2197" fmla="*/ 461 w 10354"/>
                  <a:gd name="connsiteY2197" fmla="*/ 4709 h 10000"/>
                  <a:gd name="connsiteX2198" fmla="*/ 442 w 10354"/>
                  <a:gd name="connsiteY2198" fmla="*/ 4692 h 10000"/>
                  <a:gd name="connsiteX2199" fmla="*/ 433 w 10354"/>
                  <a:gd name="connsiteY2199" fmla="*/ 4667 h 10000"/>
                  <a:gd name="connsiteX2200" fmla="*/ 419 w 10354"/>
                  <a:gd name="connsiteY2200" fmla="*/ 4667 h 10000"/>
                  <a:gd name="connsiteX2201" fmla="*/ 401 w 10354"/>
                  <a:gd name="connsiteY2201" fmla="*/ 4658 h 10000"/>
                  <a:gd name="connsiteX2202" fmla="*/ 401 w 10354"/>
                  <a:gd name="connsiteY2202" fmla="*/ 4624 h 10000"/>
                  <a:gd name="connsiteX2203" fmla="*/ 401 w 10354"/>
                  <a:gd name="connsiteY2203" fmla="*/ 4607 h 10000"/>
                  <a:gd name="connsiteX2204" fmla="*/ 378 w 10354"/>
                  <a:gd name="connsiteY2204" fmla="*/ 4607 h 10000"/>
                  <a:gd name="connsiteX2205" fmla="*/ 341 w 10354"/>
                  <a:gd name="connsiteY2205" fmla="*/ 4530 h 10000"/>
                  <a:gd name="connsiteX2206" fmla="*/ 346 w 10354"/>
                  <a:gd name="connsiteY2206" fmla="*/ 4521 h 10000"/>
                  <a:gd name="connsiteX2207" fmla="*/ 332 w 10354"/>
                  <a:gd name="connsiteY2207" fmla="*/ 4487 h 10000"/>
                  <a:gd name="connsiteX2208" fmla="*/ 327 w 10354"/>
                  <a:gd name="connsiteY2208" fmla="*/ 4462 h 10000"/>
                  <a:gd name="connsiteX2209" fmla="*/ 313 w 10354"/>
                  <a:gd name="connsiteY2209" fmla="*/ 4436 h 10000"/>
                  <a:gd name="connsiteX2210" fmla="*/ 300 w 10354"/>
                  <a:gd name="connsiteY2210" fmla="*/ 4419 h 10000"/>
                  <a:gd name="connsiteX2211" fmla="*/ 309 w 10354"/>
                  <a:gd name="connsiteY2211" fmla="*/ 4393 h 10000"/>
                  <a:gd name="connsiteX2212" fmla="*/ 332 w 10354"/>
                  <a:gd name="connsiteY2212" fmla="*/ 4385 h 10000"/>
                  <a:gd name="connsiteX2213" fmla="*/ 355 w 10354"/>
                  <a:gd name="connsiteY2213" fmla="*/ 4419 h 10000"/>
                  <a:gd name="connsiteX2214" fmla="*/ 355 w 10354"/>
                  <a:gd name="connsiteY2214" fmla="*/ 4444 h 10000"/>
                  <a:gd name="connsiteX2215" fmla="*/ 369 w 10354"/>
                  <a:gd name="connsiteY2215" fmla="*/ 4470 h 10000"/>
                  <a:gd name="connsiteX2216" fmla="*/ 401 w 10354"/>
                  <a:gd name="connsiteY2216" fmla="*/ 4521 h 10000"/>
                  <a:gd name="connsiteX2217" fmla="*/ 406 w 10354"/>
                  <a:gd name="connsiteY2217" fmla="*/ 4513 h 10000"/>
                  <a:gd name="connsiteX2218" fmla="*/ 406 w 10354"/>
                  <a:gd name="connsiteY2218" fmla="*/ 4496 h 10000"/>
                  <a:gd name="connsiteX2219" fmla="*/ 419 w 10354"/>
                  <a:gd name="connsiteY2219" fmla="*/ 4521 h 10000"/>
                  <a:gd name="connsiteX2220" fmla="*/ 429 w 10354"/>
                  <a:gd name="connsiteY2220" fmla="*/ 4530 h 10000"/>
                  <a:gd name="connsiteX2221" fmla="*/ 433 w 10354"/>
                  <a:gd name="connsiteY2221" fmla="*/ 4521 h 10000"/>
                  <a:gd name="connsiteX2222" fmla="*/ 442 w 10354"/>
                  <a:gd name="connsiteY2222" fmla="*/ 4530 h 10000"/>
                  <a:gd name="connsiteX2223" fmla="*/ 447 w 10354"/>
                  <a:gd name="connsiteY2223" fmla="*/ 4521 h 10000"/>
                  <a:gd name="connsiteX2224" fmla="*/ 452 w 10354"/>
                  <a:gd name="connsiteY2224" fmla="*/ 4521 h 10000"/>
                  <a:gd name="connsiteX2225" fmla="*/ 461 w 10354"/>
                  <a:gd name="connsiteY2225" fmla="*/ 4573 h 10000"/>
                  <a:gd name="connsiteX2226" fmla="*/ 479 w 10354"/>
                  <a:gd name="connsiteY2226" fmla="*/ 4556 h 10000"/>
                  <a:gd name="connsiteX2227" fmla="*/ 502 w 10354"/>
                  <a:gd name="connsiteY2227" fmla="*/ 4573 h 10000"/>
                  <a:gd name="connsiteX2228" fmla="*/ 507 w 10354"/>
                  <a:gd name="connsiteY2228" fmla="*/ 4598 h 10000"/>
                  <a:gd name="connsiteX2229" fmla="*/ 525 w 10354"/>
                  <a:gd name="connsiteY2229" fmla="*/ 4598 h 10000"/>
                  <a:gd name="connsiteX2230" fmla="*/ 535 w 10354"/>
                  <a:gd name="connsiteY2230" fmla="*/ 4624 h 10000"/>
                  <a:gd name="connsiteX2231" fmla="*/ 594 w 10354"/>
                  <a:gd name="connsiteY2231" fmla="*/ 4658 h 10000"/>
                  <a:gd name="connsiteX2232" fmla="*/ 627 w 10354"/>
                  <a:gd name="connsiteY2232" fmla="*/ 4658 h 10000"/>
                  <a:gd name="connsiteX2233" fmla="*/ 654 w 10354"/>
                  <a:gd name="connsiteY2233" fmla="*/ 4684 h 10000"/>
                  <a:gd name="connsiteX2234" fmla="*/ 668 w 10354"/>
                  <a:gd name="connsiteY2234" fmla="*/ 4709 h 10000"/>
                  <a:gd name="connsiteX2235" fmla="*/ 747 w 10354"/>
                  <a:gd name="connsiteY2235" fmla="*/ 4718 h 10000"/>
                  <a:gd name="connsiteX2236" fmla="*/ 760 w 10354"/>
                  <a:gd name="connsiteY2236" fmla="*/ 4709 h 10000"/>
                  <a:gd name="connsiteX2237" fmla="*/ 774 w 10354"/>
                  <a:gd name="connsiteY2237" fmla="*/ 4692 h 10000"/>
                  <a:gd name="connsiteX2238" fmla="*/ 829 w 10354"/>
                  <a:gd name="connsiteY2238" fmla="*/ 4658 h 10000"/>
                  <a:gd name="connsiteX2239" fmla="*/ 903 w 10354"/>
                  <a:gd name="connsiteY2239" fmla="*/ 4496 h 10000"/>
                  <a:gd name="connsiteX2240" fmla="*/ 917 w 10354"/>
                  <a:gd name="connsiteY2240" fmla="*/ 4385 h 10000"/>
                  <a:gd name="connsiteX2241" fmla="*/ 903 w 10354"/>
                  <a:gd name="connsiteY2241" fmla="*/ 4376 h 10000"/>
                  <a:gd name="connsiteX2242" fmla="*/ 903 w 10354"/>
                  <a:gd name="connsiteY2242" fmla="*/ 4376 h 10000"/>
                  <a:gd name="connsiteX2243" fmla="*/ 889 w 10354"/>
                  <a:gd name="connsiteY2243" fmla="*/ 4239 h 10000"/>
                  <a:gd name="connsiteX2244" fmla="*/ 880 w 10354"/>
                  <a:gd name="connsiteY2244" fmla="*/ 4214 h 10000"/>
                  <a:gd name="connsiteX2245" fmla="*/ 862 w 10354"/>
                  <a:gd name="connsiteY2245" fmla="*/ 4188 h 10000"/>
                  <a:gd name="connsiteX2246" fmla="*/ 857 w 10354"/>
                  <a:gd name="connsiteY2246" fmla="*/ 4197 h 10000"/>
                  <a:gd name="connsiteX2247" fmla="*/ 848 w 10354"/>
                  <a:gd name="connsiteY2247" fmla="*/ 4188 h 10000"/>
                  <a:gd name="connsiteX2248" fmla="*/ 848 w 10354"/>
                  <a:gd name="connsiteY2248" fmla="*/ 4162 h 10000"/>
                  <a:gd name="connsiteX2249" fmla="*/ 829 w 10354"/>
                  <a:gd name="connsiteY2249" fmla="*/ 4120 h 10000"/>
                  <a:gd name="connsiteX2250" fmla="*/ 820 w 10354"/>
                  <a:gd name="connsiteY2250" fmla="*/ 4103 h 10000"/>
                  <a:gd name="connsiteX2251" fmla="*/ 806 w 10354"/>
                  <a:gd name="connsiteY2251" fmla="*/ 4077 h 10000"/>
                  <a:gd name="connsiteX2252" fmla="*/ 816 w 10354"/>
                  <a:gd name="connsiteY2252" fmla="*/ 4111 h 10000"/>
                  <a:gd name="connsiteX2253" fmla="*/ 802 w 10354"/>
                  <a:gd name="connsiteY2253" fmla="*/ 4111 h 10000"/>
                  <a:gd name="connsiteX2254" fmla="*/ 770 w 10354"/>
                  <a:gd name="connsiteY2254" fmla="*/ 4060 h 10000"/>
                  <a:gd name="connsiteX2255" fmla="*/ 760 w 10354"/>
                  <a:gd name="connsiteY2255" fmla="*/ 4077 h 10000"/>
                  <a:gd name="connsiteX2256" fmla="*/ 760 w 10354"/>
                  <a:gd name="connsiteY2256" fmla="*/ 4060 h 10000"/>
                  <a:gd name="connsiteX2257" fmla="*/ 756 w 10354"/>
                  <a:gd name="connsiteY2257" fmla="*/ 4034 h 10000"/>
                  <a:gd name="connsiteX2258" fmla="*/ 742 w 10354"/>
                  <a:gd name="connsiteY2258" fmla="*/ 4000 h 10000"/>
                  <a:gd name="connsiteX2259" fmla="*/ 747 w 10354"/>
                  <a:gd name="connsiteY2259" fmla="*/ 4034 h 10000"/>
                  <a:gd name="connsiteX2260" fmla="*/ 724 w 10354"/>
                  <a:gd name="connsiteY2260" fmla="*/ 4026 h 10000"/>
                  <a:gd name="connsiteX2261" fmla="*/ 714 w 10354"/>
                  <a:gd name="connsiteY2261" fmla="*/ 4000 h 10000"/>
                  <a:gd name="connsiteX2262" fmla="*/ 714 w 10354"/>
                  <a:gd name="connsiteY2262" fmla="*/ 3983 h 10000"/>
                  <a:gd name="connsiteX2263" fmla="*/ 553 w 10354"/>
                  <a:gd name="connsiteY2263" fmla="*/ 3726 h 10000"/>
                  <a:gd name="connsiteX2264" fmla="*/ 507 w 10354"/>
                  <a:gd name="connsiteY2264" fmla="*/ 3718 h 10000"/>
                  <a:gd name="connsiteX2265" fmla="*/ 516 w 10354"/>
                  <a:gd name="connsiteY2265" fmla="*/ 3726 h 10000"/>
                  <a:gd name="connsiteX2266" fmla="*/ 507 w 10354"/>
                  <a:gd name="connsiteY2266" fmla="*/ 3735 h 10000"/>
                  <a:gd name="connsiteX2267" fmla="*/ 502 w 10354"/>
                  <a:gd name="connsiteY2267" fmla="*/ 3735 h 10000"/>
                  <a:gd name="connsiteX2268" fmla="*/ 419 w 10354"/>
                  <a:gd name="connsiteY2268" fmla="*/ 3675 h 10000"/>
                  <a:gd name="connsiteX2269" fmla="*/ 419 w 10354"/>
                  <a:gd name="connsiteY2269" fmla="*/ 3692 h 10000"/>
                  <a:gd name="connsiteX2270" fmla="*/ 401 w 10354"/>
                  <a:gd name="connsiteY2270" fmla="*/ 3701 h 10000"/>
                  <a:gd name="connsiteX2271" fmla="*/ 387 w 10354"/>
                  <a:gd name="connsiteY2271" fmla="*/ 3718 h 10000"/>
                  <a:gd name="connsiteX2272" fmla="*/ 387 w 10354"/>
                  <a:gd name="connsiteY2272" fmla="*/ 3692 h 10000"/>
                  <a:gd name="connsiteX2273" fmla="*/ 378 w 10354"/>
                  <a:gd name="connsiteY2273" fmla="*/ 3675 h 10000"/>
                  <a:gd name="connsiteX2274" fmla="*/ 378 w 10354"/>
                  <a:gd name="connsiteY2274" fmla="*/ 3650 h 10000"/>
                  <a:gd name="connsiteX2275" fmla="*/ 378 w 10354"/>
                  <a:gd name="connsiteY2275" fmla="*/ 3650 h 10000"/>
                  <a:gd name="connsiteX2276" fmla="*/ 355 w 10354"/>
                  <a:gd name="connsiteY2276" fmla="*/ 3675 h 10000"/>
                  <a:gd name="connsiteX2277" fmla="*/ 359 w 10354"/>
                  <a:gd name="connsiteY2277" fmla="*/ 3641 h 10000"/>
                  <a:gd name="connsiteX2278" fmla="*/ 346 w 10354"/>
                  <a:gd name="connsiteY2278" fmla="*/ 3650 h 10000"/>
                  <a:gd name="connsiteX2279" fmla="*/ 355 w 10354"/>
                  <a:gd name="connsiteY2279" fmla="*/ 3624 h 10000"/>
                  <a:gd name="connsiteX2280" fmla="*/ 346 w 10354"/>
                  <a:gd name="connsiteY2280" fmla="*/ 3624 h 10000"/>
                  <a:gd name="connsiteX2281" fmla="*/ 341 w 10354"/>
                  <a:gd name="connsiteY2281" fmla="*/ 3624 h 10000"/>
                  <a:gd name="connsiteX2282" fmla="*/ 318 w 10354"/>
                  <a:gd name="connsiteY2282" fmla="*/ 3641 h 10000"/>
                  <a:gd name="connsiteX2283" fmla="*/ 327 w 10354"/>
                  <a:gd name="connsiteY2283" fmla="*/ 3624 h 10000"/>
                  <a:gd name="connsiteX2284" fmla="*/ 318 w 10354"/>
                  <a:gd name="connsiteY2284" fmla="*/ 3615 h 10000"/>
                  <a:gd name="connsiteX2285" fmla="*/ 318 w 10354"/>
                  <a:gd name="connsiteY2285" fmla="*/ 3598 h 10000"/>
                  <a:gd name="connsiteX2286" fmla="*/ 300 w 10354"/>
                  <a:gd name="connsiteY2286" fmla="*/ 3598 h 10000"/>
                  <a:gd name="connsiteX2287" fmla="*/ 309 w 10354"/>
                  <a:gd name="connsiteY2287" fmla="*/ 3538 h 10000"/>
                  <a:gd name="connsiteX2288" fmla="*/ 313 w 10354"/>
                  <a:gd name="connsiteY2288" fmla="*/ 3564 h 10000"/>
                  <a:gd name="connsiteX2289" fmla="*/ 318 w 10354"/>
                  <a:gd name="connsiteY2289" fmla="*/ 3581 h 10000"/>
                  <a:gd name="connsiteX2290" fmla="*/ 327 w 10354"/>
                  <a:gd name="connsiteY2290" fmla="*/ 3564 h 10000"/>
                  <a:gd name="connsiteX2291" fmla="*/ 332 w 10354"/>
                  <a:gd name="connsiteY2291" fmla="*/ 3590 h 10000"/>
                  <a:gd name="connsiteX2292" fmla="*/ 346 w 10354"/>
                  <a:gd name="connsiteY2292" fmla="*/ 3590 h 10000"/>
                  <a:gd name="connsiteX2293" fmla="*/ 355 w 10354"/>
                  <a:gd name="connsiteY2293" fmla="*/ 3590 h 10000"/>
                  <a:gd name="connsiteX2294" fmla="*/ 369 w 10354"/>
                  <a:gd name="connsiteY2294" fmla="*/ 3556 h 10000"/>
                  <a:gd name="connsiteX2295" fmla="*/ 369 w 10354"/>
                  <a:gd name="connsiteY2295" fmla="*/ 3538 h 10000"/>
                  <a:gd name="connsiteX2296" fmla="*/ 346 w 10354"/>
                  <a:gd name="connsiteY2296" fmla="*/ 3513 h 10000"/>
                  <a:gd name="connsiteX2297" fmla="*/ 341 w 10354"/>
                  <a:gd name="connsiteY2297" fmla="*/ 3530 h 10000"/>
                  <a:gd name="connsiteX2298" fmla="*/ 327 w 10354"/>
                  <a:gd name="connsiteY2298" fmla="*/ 3513 h 10000"/>
                  <a:gd name="connsiteX2299" fmla="*/ 327 w 10354"/>
                  <a:gd name="connsiteY2299" fmla="*/ 3504 h 10000"/>
                  <a:gd name="connsiteX2300" fmla="*/ 295 w 10354"/>
                  <a:gd name="connsiteY2300" fmla="*/ 3462 h 10000"/>
                  <a:gd name="connsiteX2301" fmla="*/ 300 w 10354"/>
                  <a:gd name="connsiteY2301" fmla="*/ 3479 h 10000"/>
                  <a:gd name="connsiteX2302" fmla="*/ 295 w 10354"/>
                  <a:gd name="connsiteY2302" fmla="*/ 3513 h 10000"/>
                  <a:gd name="connsiteX2303" fmla="*/ 286 w 10354"/>
                  <a:gd name="connsiteY2303" fmla="*/ 3513 h 10000"/>
                  <a:gd name="connsiteX2304" fmla="*/ 281 w 10354"/>
                  <a:gd name="connsiteY2304" fmla="*/ 3513 h 10000"/>
                  <a:gd name="connsiteX2305" fmla="*/ 281 w 10354"/>
                  <a:gd name="connsiteY2305" fmla="*/ 3530 h 10000"/>
                  <a:gd name="connsiteX2306" fmla="*/ 281 w 10354"/>
                  <a:gd name="connsiteY2306" fmla="*/ 3556 h 10000"/>
                  <a:gd name="connsiteX2307" fmla="*/ 272 w 10354"/>
                  <a:gd name="connsiteY2307" fmla="*/ 3564 h 10000"/>
                  <a:gd name="connsiteX2308" fmla="*/ 267 w 10354"/>
                  <a:gd name="connsiteY2308" fmla="*/ 3564 h 10000"/>
                  <a:gd name="connsiteX2309" fmla="*/ 253 w 10354"/>
                  <a:gd name="connsiteY2309" fmla="*/ 3538 h 10000"/>
                  <a:gd name="connsiteX2310" fmla="*/ 226 w 10354"/>
                  <a:gd name="connsiteY2310" fmla="*/ 3513 h 10000"/>
                  <a:gd name="connsiteX2311" fmla="*/ 226 w 10354"/>
                  <a:gd name="connsiteY2311" fmla="*/ 3530 h 10000"/>
                  <a:gd name="connsiteX2312" fmla="*/ 226 w 10354"/>
                  <a:gd name="connsiteY2312" fmla="*/ 3530 h 10000"/>
                  <a:gd name="connsiteX2313" fmla="*/ 226 w 10354"/>
                  <a:gd name="connsiteY2313" fmla="*/ 3530 h 10000"/>
                  <a:gd name="connsiteX2314" fmla="*/ 226 w 10354"/>
                  <a:gd name="connsiteY2314" fmla="*/ 3556 h 10000"/>
                  <a:gd name="connsiteX2315" fmla="*/ 221 w 10354"/>
                  <a:gd name="connsiteY2315" fmla="*/ 3598 h 10000"/>
                  <a:gd name="connsiteX2316" fmla="*/ 207 w 10354"/>
                  <a:gd name="connsiteY2316" fmla="*/ 3598 h 10000"/>
                  <a:gd name="connsiteX2317" fmla="*/ 180 w 10354"/>
                  <a:gd name="connsiteY2317" fmla="*/ 3581 h 10000"/>
                  <a:gd name="connsiteX2318" fmla="*/ 171 w 10354"/>
                  <a:gd name="connsiteY2318" fmla="*/ 3641 h 10000"/>
                  <a:gd name="connsiteX2319" fmla="*/ 166 w 10354"/>
                  <a:gd name="connsiteY2319" fmla="*/ 3650 h 10000"/>
                  <a:gd name="connsiteX2320" fmla="*/ 124 w 10354"/>
                  <a:gd name="connsiteY2320" fmla="*/ 3701 h 10000"/>
                  <a:gd name="connsiteX2321" fmla="*/ 124 w 10354"/>
                  <a:gd name="connsiteY2321" fmla="*/ 3718 h 10000"/>
                  <a:gd name="connsiteX2322" fmla="*/ 120 w 10354"/>
                  <a:gd name="connsiteY2322" fmla="*/ 3735 h 10000"/>
                  <a:gd name="connsiteX2323" fmla="*/ 120 w 10354"/>
                  <a:gd name="connsiteY2323" fmla="*/ 3735 h 10000"/>
                  <a:gd name="connsiteX2324" fmla="*/ 111 w 10354"/>
                  <a:gd name="connsiteY2324" fmla="*/ 3761 h 10000"/>
                  <a:gd name="connsiteX2325" fmla="*/ 106 w 10354"/>
                  <a:gd name="connsiteY2325" fmla="*/ 3761 h 10000"/>
                  <a:gd name="connsiteX2326" fmla="*/ 106 w 10354"/>
                  <a:gd name="connsiteY2326" fmla="*/ 3761 h 10000"/>
                  <a:gd name="connsiteX2327" fmla="*/ 74 w 10354"/>
                  <a:gd name="connsiteY2327" fmla="*/ 3829 h 10000"/>
                  <a:gd name="connsiteX2328" fmla="*/ 78 w 10354"/>
                  <a:gd name="connsiteY2328" fmla="*/ 3838 h 10000"/>
                  <a:gd name="connsiteX2329" fmla="*/ 88 w 10354"/>
                  <a:gd name="connsiteY2329" fmla="*/ 3846 h 10000"/>
                  <a:gd name="connsiteX2330" fmla="*/ 65 w 10354"/>
                  <a:gd name="connsiteY2330" fmla="*/ 3923 h 10000"/>
                  <a:gd name="connsiteX2331" fmla="*/ 78 w 10354"/>
                  <a:gd name="connsiteY2331" fmla="*/ 4026 h 10000"/>
                  <a:gd name="connsiteX2332" fmla="*/ 88 w 10354"/>
                  <a:gd name="connsiteY2332" fmla="*/ 4051 h 10000"/>
                  <a:gd name="connsiteX2333" fmla="*/ 92 w 10354"/>
                  <a:gd name="connsiteY2333" fmla="*/ 4060 h 10000"/>
                  <a:gd name="connsiteX2334" fmla="*/ 111 w 10354"/>
                  <a:gd name="connsiteY2334" fmla="*/ 4060 h 10000"/>
                  <a:gd name="connsiteX2335" fmla="*/ 124 w 10354"/>
                  <a:gd name="connsiteY2335" fmla="*/ 4085 h 10000"/>
                  <a:gd name="connsiteX2336" fmla="*/ 166 w 10354"/>
                  <a:gd name="connsiteY2336" fmla="*/ 4197 h 10000"/>
                  <a:gd name="connsiteX2337" fmla="*/ 166 w 10354"/>
                  <a:gd name="connsiteY2337" fmla="*/ 4248 h 10000"/>
                  <a:gd name="connsiteX2338" fmla="*/ 120 w 10354"/>
                  <a:gd name="connsiteY2338" fmla="*/ 4462 h 10000"/>
                  <a:gd name="connsiteX2339" fmla="*/ 120 w 10354"/>
                  <a:gd name="connsiteY2339" fmla="*/ 4513 h 10000"/>
                  <a:gd name="connsiteX2340" fmla="*/ 180 w 10354"/>
                  <a:gd name="connsiteY2340" fmla="*/ 4829 h 10000"/>
                  <a:gd name="connsiteX2341" fmla="*/ 161 w 10354"/>
                  <a:gd name="connsiteY2341" fmla="*/ 4855 h 10000"/>
                  <a:gd name="connsiteX2342" fmla="*/ 152 w 10354"/>
                  <a:gd name="connsiteY2342" fmla="*/ 4940 h 10000"/>
                  <a:gd name="connsiteX2343" fmla="*/ 161 w 10354"/>
                  <a:gd name="connsiteY2343" fmla="*/ 4966 h 10000"/>
                  <a:gd name="connsiteX2344" fmla="*/ 161 w 10354"/>
                  <a:gd name="connsiteY2344" fmla="*/ 5009 h 10000"/>
                  <a:gd name="connsiteX2345" fmla="*/ 152 w 10354"/>
                  <a:gd name="connsiteY2345" fmla="*/ 5034 h 10000"/>
                  <a:gd name="connsiteX2346" fmla="*/ 152 w 10354"/>
                  <a:gd name="connsiteY2346" fmla="*/ 5077 h 10000"/>
                  <a:gd name="connsiteX2347" fmla="*/ 171 w 10354"/>
                  <a:gd name="connsiteY2347" fmla="*/ 5094 h 10000"/>
                  <a:gd name="connsiteX2348" fmla="*/ 180 w 10354"/>
                  <a:gd name="connsiteY2348" fmla="*/ 5128 h 10000"/>
                  <a:gd name="connsiteX2349" fmla="*/ 180 w 10354"/>
                  <a:gd name="connsiteY2349" fmla="*/ 5171 h 10000"/>
                  <a:gd name="connsiteX2350" fmla="*/ 184 w 10354"/>
                  <a:gd name="connsiteY2350" fmla="*/ 5205 h 10000"/>
                  <a:gd name="connsiteX2351" fmla="*/ 207 w 10354"/>
                  <a:gd name="connsiteY2351" fmla="*/ 5239 h 10000"/>
                  <a:gd name="connsiteX2352" fmla="*/ 207 w 10354"/>
                  <a:gd name="connsiteY2352" fmla="*/ 5282 h 10000"/>
                  <a:gd name="connsiteX2353" fmla="*/ 180 w 10354"/>
                  <a:gd name="connsiteY2353" fmla="*/ 5393 h 10000"/>
                  <a:gd name="connsiteX2354" fmla="*/ 194 w 10354"/>
                  <a:gd name="connsiteY2354" fmla="*/ 5427 h 10000"/>
                  <a:gd name="connsiteX2355" fmla="*/ 198 w 10354"/>
                  <a:gd name="connsiteY2355" fmla="*/ 5462 h 10000"/>
                  <a:gd name="connsiteX2356" fmla="*/ 235 w 10354"/>
                  <a:gd name="connsiteY2356" fmla="*/ 5513 h 10000"/>
                  <a:gd name="connsiteX2357" fmla="*/ 240 w 10354"/>
                  <a:gd name="connsiteY2357" fmla="*/ 5556 h 10000"/>
                  <a:gd name="connsiteX2358" fmla="*/ 253 w 10354"/>
                  <a:gd name="connsiteY2358" fmla="*/ 5590 h 10000"/>
                  <a:gd name="connsiteX2359" fmla="*/ 258 w 10354"/>
                  <a:gd name="connsiteY2359" fmla="*/ 5573 h 10000"/>
                  <a:gd name="connsiteX2360" fmla="*/ 258 w 10354"/>
                  <a:gd name="connsiteY2360" fmla="*/ 5667 h 10000"/>
                  <a:gd name="connsiteX2361" fmla="*/ 14 w 10354"/>
                  <a:gd name="connsiteY2361" fmla="*/ 6214 h 10000"/>
                  <a:gd name="connsiteX2362" fmla="*/ 14 w 10354"/>
                  <a:gd name="connsiteY2362" fmla="*/ 6214 h 10000"/>
                  <a:gd name="connsiteX2363" fmla="*/ 37 w 10354"/>
                  <a:gd name="connsiteY2363" fmla="*/ 6214 h 10000"/>
                  <a:gd name="connsiteX2364" fmla="*/ 51 w 10354"/>
                  <a:gd name="connsiteY2364" fmla="*/ 6188 h 10000"/>
                  <a:gd name="connsiteX2365" fmla="*/ 78 w 10354"/>
                  <a:gd name="connsiteY2365" fmla="*/ 6162 h 10000"/>
                  <a:gd name="connsiteX2366" fmla="*/ 78 w 10354"/>
                  <a:gd name="connsiteY2366" fmla="*/ 6188 h 10000"/>
                  <a:gd name="connsiteX2367" fmla="*/ 74 w 10354"/>
                  <a:gd name="connsiteY2367" fmla="*/ 6197 h 10000"/>
                  <a:gd name="connsiteX2368" fmla="*/ 74 w 10354"/>
                  <a:gd name="connsiteY2368" fmla="*/ 6231 h 10000"/>
                  <a:gd name="connsiteX2369" fmla="*/ 74 w 10354"/>
                  <a:gd name="connsiteY2369" fmla="*/ 6214 h 10000"/>
                  <a:gd name="connsiteX2370" fmla="*/ 65 w 10354"/>
                  <a:gd name="connsiteY2370" fmla="*/ 6214 h 10000"/>
                  <a:gd name="connsiteX2371" fmla="*/ 65 w 10354"/>
                  <a:gd name="connsiteY2371" fmla="*/ 6248 h 10000"/>
                  <a:gd name="connsiteX2372" fmla="*/ 74 w 10354"/>
                  <a:gd name="connsiteY2372" fmla="*/ 6256 h 10000"/>
                  <a:gd name="connsiteX2373" fmla="*/ 78 w 10354"/>
                  <a:gd name="connsiteY2373" fmla="*/ 6256 h 10000"/>
                  <a:gd name="connsiteX2374" fmla="*/ 106 w 10354"/>
                  <a:gd name="connsiteY2374" fmla="*/ 6308 h 10000"/>
                  <a:gd name="connsiteX2375" fmla="*/ 138 w 10354"/>
                  <a:gd name="connsiteY2375" fmla="*/ 6299 h 10000"/>
                  <a:gd name="connsiteX2376" fmla="*/ 152 w 10354"/>
                  <a:gd name="connsiteY2376" fmla="*/ 6299 h 10000"/>
                  <a:gd name="connsiteX2377" fmla="*/ 166 w 10354"/>
                  <a:gd name="connsiteY2377" fmla="*/ 6325 h 10000"/>
                  <a:gd name="connsiteX2378" fmla="*/ 166 w 10354"/>
                  <a:gd name="connsiteY2378" fmla="*/ 6333 h 10000"/>
                  <a:gd name="connsiteX2379" fmla="*/ 171 w 10354"/>
                  <a:gd name="connsiteY2379" fmla="*/ 6350 h 10000"/>
                  <a:gd name="connsiteX2380" fmla="*/ 180 w 10354"/>
                  <a:gd name="connsiteY2380" fmla="*/ 6350 h 10000"/>
                  <a:gd name="connsiteX2381" fmla="*/ 180 w 10354"/>
                  <a:gd name="connsiteY2381" fmla="*/ 6359 h 10000"/>
                  <a:gd name="connsiteX2382" fmla="*/ 171 w 10354"/>
                  <a:gd name="connsiteY2382" fmla="*/ 6368 h 10000"/>
                  <a:gd name="connsiteX2383" fmla="*/ 106 w 10354"/>
                  <a:gd name="connsiteY2383" fmla="*/ 6350 h 10000"/>
                  <a:gd name="connsiteX2384" fmla="*/ 101 w 10354"/>
                  <a:gd name="connsiteY2384" fmla="*/ 6359 h 10000"/>
                  <a:gd name="connsiteX2385" fmla="*/ 101 w 10354"/>
                  <a:gd name="connsiteY2385" fmla="*/ 6385 h 10000"/>
                  <a:gd name="connsiteX2386" fmla="*/ 78 w 10354"/>
                  <a:gd name="connsiteY2386" fmla="*/ 6393 h 10000"/>
                  <a:gd name="connsiteX2387" fmla="*/ 74 w 10354"/>
                  <a:gd name="connsiteY2387" fmla="*/ 6385 h 10000"/>
                  <a:gd name="connsiteX2388" fmla="*/ 65 w 10354"/>
                  <a:gd name="connsiteY2388" fmla="*/ 6393 h 10000"/>
                  <a:gd name="connsiteX2389" fmla="*/ 60 w 10354"/>
                  <a:gd name="connsiteY2389" fmla="*/ 6419 h 10000"/>
                  <a:gd name="connsiteX2390" fmla="*/ 51 w 10354"/>
                  <a:gd name="connsiteY2390" fmla="*/ 6419 h 10000"/>
                  <a:gd name="connsiteX2391" fmla="*/ 46 w 10354"/>
                  <a:gd name="connsiteY2391" fmla="*/ 6410 h 10000"/>
                  <a:gd name="connsiteX2392" fmla="*/ 37 w 10354"/>
                  <a:gd name="connsiteY2392" fmla="*/ 6393 h 10000"/>
                  <a:gd name="connsiteX2393" fmla="*/ 32 w 10354"/>
                  <a:gd name="connsiteY2393" fmla="*/ 6419 h 10000"/>
                  <a:gd name="connsiteX2394" fmla="*/ 37 w 10354"/>
                  <a:gd name="connsiteY2394" fmla="*/ 6462 h 10000"/>
                  <a:gd name="connsiteX2395" fmla="*/ 46 w 10354"/>
                  <a:gd name="connsiteY2395" fmla="*/ 6462 h 10000"/>
                  <a:gd name="connsiteX2396" fmla="*/ 51 w 10354"/>
                  <a:gd name="connsiteY2396" fmla="*/ 6470 h 10000"/>
                  <a:gd name="connsiteX2397" fmla="*/ 51 w 10354"/>
                  <a:gd name="connsiteY2397" fmla="*/ 6496 h 10000"/>
                  <a:gd name="connsiteX2398" fmla="*/ 51 w 10354"/>
                  <a:gd name="connsiteY2398" fmla="*/ 6504 h 10000"/>
                  <a:gd name="connsiteX2399" fmla="*/ 37 w 10354"/>
                  <a:gd name="connsiteY2399" fmla="*/ 6530 h 10000"/>
                  <a:gd name="connsiteX2400" fmla="*/ 18 w 10354"/>
                  <a:gd name="connsiteY2400" fmla="*/ 6598 h 10000"/>
                  <a:gd name="connsiteX2401" fmla="*/ 28 w 10354"/>
                  <a:gd name="connsiteY2401" fmla="*/ 6632 h 10000"/>
                  <a:gd name="connsiteX2402" fmla="*/ 18 w 10354"/>
                  <a:gd name="connsiteY2402" fmla="*/ 6667 h 10000"/>
                  <a:gd name="connsiteX2403" fmla="*/ 28 w 10354"/>
                  <a:gd name="connsiteY2403" fmla="*/ 6692 h 10000"/>
                  <a:gd name="connsiteX2404" fmla="*/ 28 w 10354"/>
                  <a:gd name="connsiteY2404" fmla="*/ 6709 h 10000"/>
                  <a:gd name="connsiteX2405" fmla="*/ 18 w 10354"/>
                  <a:gd name="connsiteY2405" fmla="*/ 6718 h 10000"/>
                  <a:gd name="connsiteX2406" fmla="*/ 5 w 10354"/>
                  <a:gd name="connsiteY2406" fmla="*/ 6744 h 10000"/>
                  <a:gd name="connsiteX2407" fmla="*/ 0 w 10354"/>
                  <a:gd name="connsiteY2407" fmla="*/ 6769 h 10000"/>
                  <a:gd name="connsiteX2408" fmla="*/ 5 w 10354"/>
                  <a:gd name="connsiteY2408" fmla="*/ 6778 h 10000"/>
                  <a:gd name="connsiteX2409" fmla="*/ 32 w 10354"/>
                  <a:gd name="connsiteY2409" fmla="*/ 6778 h 10000"/>
                  <a:gd name="connsiteX2410" fmla="*/ 46 w 10354"/>
                  <a:gd name="connsiteY2410" fmla="*/ 6821 h 10000"/>
                  <a:gd name="connsiteX2411" fmla="*/ 46 w 10354"/>
                  <a:gd name="connsiteY2411" fmla="*/ 6855 h 10000"/>
                  <a:gd name="connsiteX2412" fmla="*/ 32 w 10354"/>
                  <a:gd name="connsiteY2412" fmla="*/ 6855 h 10000"/>
                  <a:gd name="connsiteX2413" fmla="*/ 14 w 10354"/>
                  <a:gd name="connsiteY2413" fmla="*/ 6821 h 10000"/>
                  <a:gd name="connsiteX2414" fmla="*/ 14 w 10354"/>
                  <a:gd name="connsiteY2414" fmla="*/ 6846 h 10000"/>
                  <a:gd name="connsiteX2415" fmla="*/ 0 w 10354"/>
                  <a:gd name="connsiteY2415" fmla="*/ 6897 h 10000"/>
                  <a:gd name="connsiteX2416" fmla="*/ 0 w 10354"/>
                  <a:gd name="connsiteY2416" fmla="*/ 6915 h 10000"/>
                  <a:gd name="connsiteX2417" fmla="*/ 5 w 10354"/>
                  <a:gd name="connsiteY2417" fmla="*/ 6932 h 10000"/>
                  <a:gd name="connsiteX2418" fmla="*/ 14 w 10354"/>
                  <a:gd name="connsiteY2418" fmla="*/ 6940 h 10000"/>
                  <a:gd name="connsiteX2419" fmla="*/ 18 w 10354"/>
                  <a:gd name="connsiteY2419" fmla="*/ 6957 h 10000"/>
                  <a:gd name="connsiteX2420" fmla="*/ 28 w 10354"/>
                  <a:gd name="connsiteY2420" fmla="*/ 6966 h 10000"/>
                  <a:gd name="connsiteX2421" fmla="*/ 28 w 10354"/>
                  <a:gd name="connsiteY2421" fmla="*/ 6983 h 10000"/>
                  <a:gd name="connsiteX2422" fmla="*/ 18 w 10354"/>
                  <a:gd name="connsiteY2422" fmla="*/ 7051 h 10000"/>
                  <a:gd name="connsiteX2423" fmla="*/ 28 w 10354"/>
                  <a:gd name="connsiteY2423" fmla="*/ 7068 h 10000"/>
                  <a:gd name="connsiteX2424" fmla="*/ 32 w 10354"/>
                  <a:gd name="connsiteY2424" fmla="*/ 7068 h 10000"/>
                  <a:gd name="connsiteX2425" fmla="*/ 32 w 10354"/>
                  <a:gd name="connsiteY2425" fmla="*/ 7094 h 10000"/>
                  <a:gd name="connsiteX2426" fmla="*/ 60 w 10354"/>
                  <a:gd name="connsiteY2426" fmla="*/ 7162 h 10000"/>
                  <a:gd name="connsiteX2427" fmla="*/ 60 w 10354"/>
                  <a:gd name="connsiteY2427" fmla="*/ 7231 h 10000"/>
                  <a:gd name="connsiteX2428" fmla="*/ 60 w 10354"/>
                  <a:gd name="connsiteY2428" fmla="*/ 7239 h 10000"/>
                  <a:gd name="connsiteX2429" fmla="*/ 78 w 10354"/>
                  <a:gd name="connsiteY2429" fmla="*/ 7239 h 10000"/>
                  <a:gd name="connsiteX2430" fmla="*/ 88 w 10354"/>
                  <a:gd name="connsiteY2430" fmla="*/ 7239 h 10000"/>
                  <a:gd name="connsiteX2431" fmla="*/ 92 w 10354"/>
                  <a:gd name="connsiteY2431" fmla="*/ 7256 h 10000"/>
                  <a:gd name="connsiteX2432" fmla="*/ 111 w 10354"/>
                  <a:gd name="connsiteY2432" fmla="*/ 7256 h 10000"/>
                  <a:gd name="connsiteX2433" fmla="*/ 120 w 10354"/>
                  <a:gd name="connsiteY2433" fmla="*/ 7256 h 10000"/>
                  <a:gd name="connsiteX2434" fmla="*/ 134 w 10354"/>
                  <a:gd name="connsiteY2434" fmla="*/ 7282 h 10000"/>
                  <a:gd name="connsiteX2435" fmla="*/ 134 w 10354"/>
                  <a:gd name="connsiteY2435" fmla="*/ 7316 h 10000"/>
                  <a:gd name="connsiteX2436" fmla="*/ 152 w 10354"/>
                  <a:gd name="connsiteY2436" fmla="*/ 7299 h 10000"/>
                  <a:gd name="connsiteX2437" fmla="*/ 161 w 10354"/>
                  <a:gd name="connsiteY2437" fmla="*/ 7299 h 10000"/>
                  <a:gd name="connsiteX2438" fmla="*/ 166 w 10354"/>
                  <a:gd name="connsiteY2438" fmla="*/ 7291 h 10000"/>
                  <a:gd name="connsiteX2439" fmla="*/ 194 w 10354"/>
                  <a:gd name="connsiteY2439" fmla="*/ 7291 h 10000"/>
                  <a:gd name="connsiteX2440" fmla="*/ 207 w 10354"/>
                  <a:gd name="connsiteY2440" fmla="*/ 7299 h 10000"/>
                  <a:gd name="connsiteX2441" fmla="*/ 221 w 10354"/>
                  <a:gd name="connsiteY2441" fmla="*/ 7342 h 10000"/>
                  <a:gd name="connsiteX2442" fmla="*/ 235 w 10354"/>
                  <a:gd name="connsiteY2442" fmla="*/ 7342 h 10000"/>
                  <a:gd name="connsiteX2443" fmla="*/ 235 w 10354"/>
                  <a:gd name="connsiteY2443" fmla="*/ 7368 h 10000"/>
                  <a:gd name="connsiteX2444" fmla="*/ 226 w 10354"/>
                  <a:gd name="connsiteY2444" fmla="*/ 7393 h 10000"/>
                  <a:gd name="connsiteX2445" fmla="*/ 226 w 10354"/>
                  <a:gd name="connsiteY2445" fmla="*/ 7402 h 10000"/>
                  <a:gd name="connsiteX2446" fmla="*/ 235 w 10354"/>
                  <a:gd name="connsiteY2446" fmla="*/ 7419 h 10000"/>
                  <a:gd name="connsiteX2447" fmla="*/ 240 w 10354"/>
                  <a:gd name="connsiteY2447" fmla="*/ 7436 h 10000"/>
                  <a:gd name="connsiteX2448" fmla="*/ 235 w 10354"/>
                  <a:gd name="connsiteY2448" fmla="*/ 7462 h 10000"/>
                  <a:gd name="connsiteX2449" fmla="*/ 226 w 10354"/>
                  <a:gd name="connsiteY2449" fmla="*/ 7479 h 10000"/>
                  <a:gd name="connsiteX2450" fmla="*/ 226 w 10354"/>
                  <a:gd name="connsiteY2450" fmla="*/ 7504 h 10000"/>
                  <a:gd name="connsiteX2451" fmla="*/ 226 w 10354"/>
                  <a:gd name="connsiteY2451" fmla="*/ 7513 h 10000"/>
                  <a:gd name="connsiteX2452" fmla="*/ 240 w 10354"/>
                  <a:gd name="connsiteY2452" fmla="*/ 7538 h 10000"/>
                  <a:gd name="connsiteX2453" fmla="*/ 267 w 10354"/>
                  <a:gd name="connsiteY2453" fmla="*/ 7641 h 10000"/>
                  <a:gd name="connsiteX2454" fmla="*/ 281 w 10354"/>
                  <a:gd name="connsiteY2454" fmla="*/ 7667 h 10000"/>
                  <a:gd name="connsiteX2455" fmla="*/ 286 w 10354"/>
                  <a:gd name="connsiteY2455" fmla="*/ 7675 h 10000"/>
                  <a:gd name="connsiteX2456" fmla="*/ 286 w 10354"/>
                  <a:gd name="connsiteY2456" fmla="*/ 7692 h 10000"/>
                  <a:gd name="connsiteX2457" fmla="*/ 286 w 10354"/>
                  <a:gd name="connsiteY2457" fmla="*/ 7709 h 10000"/>
                  <a:gd name="connsiteX2458" fmla="*/ 295 w 10354"/>
                  <a:gd name="connsiteY2458" fmla="*/ 7726 h 10000"/>
                  <a:gd name="connsiteX2459" fmla="*/ 318 w 10354"/>
                  <a:gd name="connsiteY2459" fmla="*/ 7709 h 10000"/>
                  <a:gd name="connsiteX2460" fmla="*/ 327 w 10354"/>
                  <a:gd name="connsiteY2460" fmla="*/ 7726 h 10000"/>
                  <a:gd name="connsiteX2461" fmla="*/ 341 w 10354"/>
                  <a:gd name="connsiteY2461" fmla="*/ 7735 h 10000"/>
                  <a:gd name="connsiteX2462" fmla="*/ 332 w 10354"/>
                  <a:gd name="connsiteY2462" fmla="*/ 7752 h 10000"/>
                  <a:gd name="connsiteX2463" fmla="*/ 341 w 10354"/>
                  <a:gd name="connsiteY2463" fmla="*/ 7761 h 10000"/>
                  <a:gd name="connsiteX2464" fmla="*/ 355 w 10354"/>
                  <a:gd name="connsiteY2464" fmla="*/ 7761 h 10000"/>
                  <a:gd name="connsiteX2465" fmla="*/ 355 w 10354"/>
                  <a:gd name="connsiteY2465" fmla="*/ 7803 h 10000"/>
                  <a:gd name="connsiteX2466" fmla="*/ 313 w 10354"/>
                  <a:gd name="connsiteY2466" fmla="*/ 7846 h 10000"/>
                  <a:gd name="connsiteX2467" fmla="*/ 295 w 10354"/>
                  <a:gd name="connsiteY2467" fmla="*/ 7846 h 10000"/>
                  <a:gd name="connsiteX2468" fmla="*/ 281 w 10354"/>
                  <a:gd name="connsiteY2468" fmla="*/ 7821 h 10000"/>
                  <a:gd name="connsiteX2469" fmla="*/ 272 w 10354"/>
                  <a:gd name="connsiteY2469" fmla="*/ 7821 h 10000"/>
                  <a:gd name="connsiteX2470" fmla="*/ 267 w 10354"/>
                  <a:gd name="connsiteY2470" fmla="*/ 7838 h 10000"/>
                  <a:gd name="connsiteX2471" fmla="*/ 258 w 10354"/>
                  <a:gd name="connsiteY2471" fmla="*/ 7846 h 10000"/>
                  <a:gd name="connsiteX2472" fmla="*/ 253 w 10354"/>
                  <a:gd name="connsiteY2472" fmla="*/ 7863 h 10000"/>
                  <a:gd name="connsiteX2473" fmla="*/ 253 w 10354"/>
                  <a:gd name="connsiteY2473" fmla="*/ 7872 h 10000"/>
                  <a:gd name="connsiteX2474" fmla="*/ 267 w 10354"/>
                  <a:gd name="connsiteY2474" fmla="*/ 7897 h 10000"/>
                  <a:gd name="connsiteX2475" fmla="*/ 272 w 10354"/>
                  <a:gd name="connsiteY2475" fmla="*/ 7915 h 10000"/>
                  <a:gd name="connsiteX2476" fmla="*/ 267 w 10354"/>
                  <a:gd name="connsiteY2476" fmla="*/ 7940 h 10000"/>
                  <a:gd name="connsiteX2477" fmla="*/ 272 w 10354"/>
                  <a:gd name="connsiteY2477" fmla="*/ 7949 h 10000"/>
                  <a:gd name="connsiteX2478" fmla="*/ 272 w 10354"/>
                  <a:gd name="connsiteY2478" fmla="*/ 7957 h 10000"/>
                  <a:gd name="connsiteX2479" fmla="*/ 281 w 10354"/>
                  <a:gd name="connsiteY2479" fmla="*/ 7974 h 10000"/>
                  <a:gd name="connsiteX2480" fmla="*/ 286 w 10354"/>
                  <a:gd name="connsiteY2480" fmla="*/ 7983 h 10000"/>
                  <a:gd name="connsiteX2481" fmla="*/ 281 w 10354"/>
                  <a:gd name="connsiteY2481" fmla="*/ 8009 h 10000"/>
                  <a:gd name="connsiteX2482" fmla="*/ 286 w 10354"/>
                  <a:gd name="connsiteY2482" fmla="*/ 8060 h 10000"/>
                  <a:gd name="connsiteX2483" fmla="*/ 286 w 10354"/>
                  <a:gd name="connsiteY2483" fmla="*/ 8060 h 10000"/>
                  <a:gd name="connsiteX2484" fmla="*/ 295 w 10354"/>
                  <a:gd name="connsiteY2484" fmla="*/ 8077 h 10000"/>
                  <a:gd name="connsiteX2485" fmla="*/ 309 w 10354"/>
                  <a:gd name="connsiteY2485" fmla="*/ 8077 h 10000"/>
                  <a:gd name="connsiteX2486" fmla="*/ 313 w 10354"/>
                  <a:gd name="connsiteY2486" fmla="*/ 8060 h 10000"/>
                  <a:gd name="connsiteX2487" fmla="*/ 318 w 10354"/>
                  <a:gd name="connsiteY2487" fmla="*/ 8051 h 10000"/>
                  <a:gd name="connsiteX2488" fmla="*/ 318 w 10354"/>
                  <a:gd name="connsiteY2488" fmla="*/ 8034 h 10000"/>
                  <a:gd name="connsiteX2489" fmla="*/ 332 w 10354"/>
                  <a:gd name="connsiteY2489" fmla="*/ 8026 h 10000"/>
                  <a:gd name="connsiteX2490" fmla="*/ 359 w 10354"/>
                  <a:gd name="connsiteY2490" fmla="*/ 8034 h 10000"/>
                  <a:gd name="connsiteX2491" fmla="*/ 378 w 10354"/>
                  <a:gd name="connsiteY2491" fmla="*/ 8026 h 10000"/>
                  <a:gd name="connsiteX2492" fmla="*/ 401 w 10354"/>
                  <a:gd name="connsiteY2492" fmla="*/ 8026 h 10000"/>
                  <a:gd name="connsiteX2493" fmla="*/ 419 w 10354"/>
                  <a:gd name="connsiteY2493" fmla="*/ 8009 h 10000"/>
                  <a:gd name="connsiteX2494" fmla="*/ 433 w 10354"/>
                  <a:gd name="connsiteY2494" fmla="*/ 8034 h 10000"/>
                  <a:gd name="connsiteX2495" fmla="*/ 442 w 10354"/>
                  <a:gd name="connsiteY2495" fmla="*/ 8060 h 10000"/>
                  <a:gd name="connsiteX2496" fmla="*/ 442 w 10354"/>
                  <a:gd name="connsiteY2496" fmla="*/ 8077 h 10000"/>
                  <a:gd name="connsiteX2497" fmla="*/ 461 w 10354"/>
                  <a:gd name="connsiteY2497" fmla="*/ 8111 h 10000"/>
                  <a:gd name="connsiteX2498" fmla="*/ 461 w 10354"/>
                  <a:gd name="connsiteY2498" fmla="*/ 8137 h 10000"/>
                  <a:gd name="connsiteX2499" fmla="*/ 447 w 10354"/>
                  <a:gd name="connsiteY2499" fmla="*/ 8145 h 10000"/>
                  <a:gd name="connsiteX2500" fmla="*/ 442 w 10354"/>
                  <a:gd name="connsiteY2500" fmla="*/ 8145 h 10000"/>
                  <a:gd name="connsiteX2501" fmla="*/ 442 w 10354"/>
                  <a:gd name="connsiteY2501" fmla="*/ 8162 h 10000"/>
                  <a:gd name="connsiteX2502" fmla="*/ 442 w 10354"/>
                  <a:gd name="connsiteY2502" fmla="*/ 8171 h 10000"/>
                  <a:gd name="connsiteX2503" fmla="*/ 447 w 10354"/>
                  <a:gd name="connsiteY2503" fmla="*/ 8214 h 10000"/>
                  <a:gd name="connsiteX2504" fmla="*/ 465 w 10354"/>
                  <a:gd name="connsiteY2504" fmla="*/ 8231 h 10000"/>
                  <a:gd name="connsiteX2505" fmla="*/ 488 w 10354"/>
                  <a:gd name="connsiteY2505" fmla="*/ 8231 h 10000"/>
                  <a:gd name="connsiteX2506" fmla="*/ 493 w 10354"/>
                  <a:gd name="connsiteY2506" fmla="*/ 8231 h 10000"/>
                  <a:gd name="connsiteX2507" fmla="*/ 502 w 10354"/>
                  <a:gd name="connsiteY2507" fmla="*/ 8231 h 10000"/>
                  <a:gd name="connsiteX2508" fmla="*/ 507 w 10354"/>
                  <a:gd name="connsiteY2508" fmla="*/ 8248 h 10000"/>
                  <a:gd name="connsiteX2509" fmla="*/ 521 w 10354"/>
                  <a:gd name="connsiteY2509" fmla="*/ 8274 h 10000"/>
                  <a:gd name="connsiteX2510" fmla="*/ 525 w 10354"/>
                  <a:gd name="connsiteY2510" fmla="*/ 8333 h 10000"/>
                  <a:gd name="connsiteX2511" fmla="*/ 525 w 10354"/>
                  <a:gd name="connsiteY2511" fmla="*/ 8359 h 10000"/>
                  <a:gd name="connsiteX2512" fmla="*/ 525 w 10354"/>
                  <a:gd name="connsiteY2512" fmla="*/ 8368 h 10000"/>
                  <a:gd name="connsiteX2513" fmla="*/ 548 w 10354"/>
                  <a:gd name="connsiteY2513" fmla="*/ 8393 h 10000"/>
                  <a:gd name="connsiteX2514" fmla="*/ 553 w 10354"/>
                  <a:gd name="connsiteY2514" fmla="*/ 8385 h 10000"/>
                  <a:gd name="connsiteX2515" fmla="*/ 562 w 10354"/>
                  <a:gd name="connsiteY2515" fmla="*/ 8385 h 10000"/>
                  <a:gd name="connsiteX2516" fmla="*/ 576 w 10354"/>
                  <a:gd name="connsiteY2516" fmla="*/ 8385 h 10000"/>
                  <a:gd name="connsiteX2517" fmla="*/ 585 w 10354"/>
                  <a:gd name="connsiteY2517" fmla="*/ 8410 h 10000"/>
                  <a:gd name="connsiteX2518" fmla="*/ 594 w 10354"/>
                  <a:gd name="connsiteY2518" fmla="*/ 8410 h 10000"/>
                  <a:gd name="connsiteX2519" fmla="*/ 608 w 10354"/>
                  <a:gd name="connsiteY2519" fmla="*/ 8410 h 10000"/>
                  <a:gd name="connsiteX2520" fmla="*/ 654 w 10354"/>
                  <a:gd name="connsiteY2520" fmla="*/ 8385 h 10000"/>
                  <a:gd name="connsiteX2521" fmla="*/ 659 w 10354"/>
                  <a:gd name="connsiteY2521" fmla="*/ 8385 h 10000"/>
                  <a:gd name="connsiteX2522" fmla="*/ 696 w 10354"/>
                  <a:gd name="connsiteY2522" fmla="*/ 8470 h 10000"/>
                  <a:gd name="connsiteX2523" fmla="*/ 700 w 10354"/>
                  <a:gd name="connsiteY2523" fmla="*/ 8470 h 10000"/>
                  <a:gd name="connsiteX2524" fmla="*/ 710 w 10354"/>
                  <a:gd name="connsiteY2524" fmla="*/ 8462 h 10000"/>
                  <a:gd name="connsiteX2525" fmla="*/ 714 w 10354"/>
                  <a:gd name="connsiteY2525" fmla="*/ 8462 h 10000"/>
                  <a:gd name="connsiteX2526" fmla="*/ 724 w 10354"/>
                  <a:gd name="connsiteY2526" fmla="*/ 8470 h 10000"/>
                  <a:gd name="connsiteX2527" fmla="*/ 733 w 10354"/>
                  <a:gd name="connsiteY2527" fmla="*/ 8470 h 10000"/>
                  <a:gd name="connsiteX2528" fmla="*/ 742 w 10354"/>
                  <a:gd name="connsiteY2528" fmla="*/ 8487 h 10000"/>
                  <a:gd name="connsiteX2529" fmla="*/ 747 w 10354"/>
                  <a:gd name="connsiteY2529" fmla="*/ 8496 h 10000"/>
                  <a:gd name="connsiteX2530" fmla="*/ 770 w 10354"/>
                  <a:gd name="connsiteY2530" fmla="*/ 8496 h 10000"/>
                  <a:gd name="connsiteX2531" fmla="*/ 783 w 10354"/>
                  <a:gd name="connsiteY2531" fmla="*/ 8521 h 10000"/>
                  <a:gd name="connsiteX2532" fmla="*/ 797 w 10354"/>
                  <a:gd name="connsiteY2532" fmla="*/ 8521 h 10000"/>
                  <a:gd name="connsiteX2533" fmla="*/ 806 w 10354"/>
                  <a:gd name="connsiteY2533" fmla="*/ 8530 h 10000"/>
                  <a:gd name="connsiteX2534" fmla="*/ 829 w 10354"/>
                  <a:gd name="connsiteY2534" fmla="*/ 8547 h 10000"/>
                  <a:gd name="connsiteX2535" fmla="*/ 834 w 10354"/>
                  <a:gd name="connsiteY2535" fmla="*/ 8556 h 10000"/>
                  <a:gd name="connsiteX2536" fmla="*/ 829 w 10354"/>
                  <a:gd name="connsiteY2536" fmla="*/ 8556 h 10000"/>
                  <a:gd name="connsiteX2537" fmla="*/ 834 w 10354"/>
                  <a:gd name="connsiteY2537" fmla="*/ 8607 h 10000"/>
                  <a:gd name="connsiteX2538" fmla="*/ 829 w 10354"/>
                  <a:gd name="connsiteY2538" fmla="*/ 8641 h 10000"/>
                  <a:gd name="connsiteX2539" fmla="*/ 806 w 10354"/>
                  <a:gd name="connsiteY2539" fmla="*/ 8658 h 10000"/>
                  <a:gd name="connsiteX2540" fmla="*/ 816 w 10354"/>
                  <a:gd name="connsiteY2540" fmla="*/ 8667 h 10000"/>
                  <a:gd name="connsiteX2541" fmla="*/ 820 w 10354"/>
                  <a:gd name="connsiteY2541" fmla="*/ 8667 h 10000"/>
                  <a:gd name="connsiteX2542" fmla="*/ 829 w 10354"/>
                  <a:gd name="connsiteY2542" fmla="*/ 8684 h 10000"/>
                  <a:gd name="connsiteX2543" fmla="*/ 806 w 10354"/>
                  <a:gd name="connsiteY2543" fmla="*/ 8692 h 10000"/>
                  <a:gd name="connsiteX2544" fmla="*/ 802 w 10354"/>
                  <a:gd name="connsiteY2544" fmla="*/ 8709 h 10000"/>
                  <a:gd name="connsiteX2545" fmla="*/ 802 w 10354"/>
                  <a:gd name="connsiteY2545" fmla="*/ 8735 h 10000"/>
                  <a:gd name="connsiteX2546" fmla="*/ 806 w 10354"/>
                  <a:gd name="connsiteY2546" fmla="*/ 8744 h 10000"/>
                  <a:gd name="connsiteX2547" fmla="*/ 816 w 10354"/>
                  <a:gd name="connsiteY2547" fmla="*/ 8752 h 10000"/>
                  <a:gd name="connsiteX2548" fmla="*/ 806 w 10354"/>
                  <a:gd name="connsiteY2548" fmla="*/ 8778 h 10000"/>
                  <a:gd name="connsiteX2549" fmla="*/ 820 w 10354"/>
                  <a:gd name="connsiteY2549" fmla="*/ 8778 h 10000"/>
                  <a:gd name="connsiteX2550" fmla="*/ 806 w 10354"/>
                  <a:gd name="connsiteY2550" fmla="*/ 8880 h 10000"/>
                  <a:gd name="connsiteX2551" fmla="*/ 797 w 10354"/>
                  <a:gd name="connsiteY2551" fmla="*/ 8880 h 10000"/>
                  <a:gd name="connsiteX2552" fmla="*/ 783 w 10354"/>
                  <a:gd name="connsiteY2552" fmla="*/ 8872 h 10000"/>
                  <a:gd name="connsiteX2553" fmla="*/ 770 w 10354"/>
                  <a:gd name="connsiteY2553" fmla="*/ 8880 h 10000"/>
                  <a:gd name="connsiteX2554" fmla="*/ 756 w 10354"/>
                  <a:gd name="connsiteY2554" fmla="*/ 8855 h 10000"/>
                  <a:gd name="connsiteX2555" fmla="*/ 733 w 10354"/>
                  <a:gd name="connsiteY2555" fmla="*/ 8906 h 10000"/>
                  <a:gd name="connsiteX2556" fmla="*/ 714 w 10354"/>
                  <a:gd name="connsiteY2556" fmla="*/ 8915 h 10000"/>
                  <a:gd name="connsiteX2557" fmla="*/ 710 w 10354"/>
                  <a:gd name="connsiteY2557" fmla="*/ 8940 h 10000"/>
                  <a:gd name="connsiteX2558" fmla="*/ 710 w 10354"/>
                  <a:gd name="connsiteY2558" fmla="*/ 9009 h 10000"/>
                  <a:gd name="connsiteX2559" fmla="*/ 728 w 10354"/>
                  <a:gd name="connsiteY2559" fmla="*/ 8991 h 10000"/>
                  <a:gd name="connsiteX2560" fmla="*/ 733 w 10354"/>
                  <a:gd name="connsiteY2560" fmla="*/ 8991 h 10000"/>
                  <a:gd name="connsiteX2561" fmla="*/ 747 w 10354"/>
                  <a:gd name="connsiteY2561" fmla="*/ 8983 h 10000"/>
                  <a:gd name="connsiteX2562" fmla="*/ 760 w 10354"/>
                  <a:gd name="connsiteY2562" fmla="*/ 8983 h 10000"/>
                  <a:gd name="connsiteX2563" fmla="*/ 770 w 10354"/>
                  <a:gd name="connsiteY2563" fmla="*/ 8983 h 10000"/>
                  <a:gd name="connsiteX2564" fmla="*/ 770 w 10354"/>
                  <a:gd name="connsiteY2564" fmla="*/ 8991 h 10000"/>
                  <a:gd name="connsiteX2565" fmla="*/ 783 w 10354"/>
                  <a:gd name="connsiteY2565" fmla="*/ 8991 h 10000"/>
                  <a:gd name="connsiteX2566" fmla="*/ 783 w 10354"/>
                  <a:gd name="connsiteY2566" fmla="*/ 9009 h 10000"/>
                  <a:gd name="connsiteX2567" fmla="*/ 783 w 10354"/>
                  <a:gd name="connsiteY2567" fmla="*/ 9017 h 10000"/>
                  <a:gd name="connsiteX2568" fmla="*/ 770 w 10354"/>
                  <a:gd name="connsiteY2568" fmla="*/ 9017 h 10000"/>
                  <a:gd name="connsiteX2569" fmla="*/ 724 w 10354"/>
                  <a:gd name="connsiteY2569" fmla="*/ 9051 h 10000"/>
                  <a:gd name="connsiteX2570" fmla="*/ 724 w 10354"/>
                  <a:gd name="connsiteY2570" fmla="*/ 9068 h 10000"/>
                  <a:gd name="connsiteX2571" fmla="*/ 728 w 10354"/>
                  <a:gd name="connsiteY2571" fmla="*/ 9077 h 10000"/>
                  <a:gd name="connsiteX2572" fmla="*/ 724 w 10354"/>
                  <a:gd name="connsiteY2572" fmla="*/ 9077 h 10000"/>
                  <a:gd name="connsiteX2573" fmla="*/ 710 w 10354"/>
                  <a:gd name="connsiteY2573" fmla="*/ 9077 h 10000"/>
                  <a:gd name="connsiteX2574" fmla="*/ 682 w 10354"/>
                  <a:gd name="connsiteY2574" fmla="*/ 9077 h 10000"/>
                  <a:gd name="connsiteX2575" fmla="*/ 673 w 10354"/>
                  <a:gd name="connsiteY2575" fmla="*/ 9103 h 10000"/>
                  <a:gd name="connsiteX2576" fmla="*/ 687 w 10354"/>
                  <a:gd name="connsiteY2576" fmla="*/ 9128 h 10000"/>
                  <a:gd name="connsiteX2577" fmla="*/ 700 w 10354"/>
                  <a:gd name="connsiteY2577" fmla="*/ 9128 h 10000"/>
                  <a:gd name="connsiteX2578" fmla="*/ 728 w 10354"/>
                  <a:gd name="connsiteY2578" fmla="*/ 9179 h 10000"/>
                  <a:gd name="connsiteX2579" fmla="*/ 724 w 10354"/>
                  <a:gd name="connsiteY2579" fmla="*/ 9188 h 10000"/>
                  <a:gd name="connsiteX2580" fmla="*/ 710 w 10354"/>
                  <a:gd name="connsiteY2580" fmla="*/ 9179 h 10000"/>
                  <a:gd name="connsiteX2581" fmla="*/ 700 w 10354"/>
                  <a:gd name="connsiteY2581" fmla="*/ 9205 h 10000"/>
                  <a:gd name="connsiteX2582" fmla="*/ 696 w 10354"/>
                  <a:gd name="connsiteY2582" fmla="*/ 9205 h 10000"/>
                  <a:gd name="connsiteX2583" fmla="*/ 654 w 10354"/>
                  <a:gd name="connsiteY2583" fmla="*/ 9299 h 10000"/>
                  <a:gd name="connsiteX2584" fmla="*/ 622 w 10354"/>
                  <a:gd name="connsiteY2584" fmla="*/ 9299 h 10000"/>
                  <a:gd name="connsiteX2585" fmla="*/ 613 w 10354"/>
                  <a:gd name="connsiteY2585" fmla="*/ 9316 h 10000"/>
                  <a:gd name="connsiteX2586" fmla="*/ 613 w 10354"/>
                  <a:gd name="connsiteY2586" fmla="*/ 9325 h 10000"/>
                  <a:gd name="connsiteX2587" fmla="*/ 608 w 10354"/>
                  <a:gd name="connsiteY2587" fmla="*/ 9342 h 10000"/>
                  <a:gd name="connsiteX2588" fmla="*/ 636 w 10354"/>
                  <a:gd name="connsiteY2588" fmla="*/ 9376 h 10000"/>
                  <a:gd name="connsiteX2589" fmla="*/ 641 w 10354"/>
                  <a:gd name="connsiteY2589" fmla="*/ 9402 h 10000"/>
                  <a:gd name="connsiteX2590" fmla="*/ 654 w 10354"/>
                  <a:gd name="connsiteY2590" fmla="*/ 9427 h 10000"/>
                  <a:gd name="connsiteX2591" fmla="*/ 668 w 10354"/>
                  <a:gd name="connsiteY2591" fmla="*/ 9427 h 10000"/>
                  <a:gd name="connsiteX2592" fmla="*/ 668 w 10354"/>
                  <a:gd name="connsiteY2592" fmla="*/ 9427 h 10000"/>
                  <a:gd name="connsiteX2593" fmla="*/ 774 w 10354"/>
                  <a:gd name="connsiteY2593" fmla="*/ 9547 h 10000"/>
                  <a:gd name="connsiteX2594" fmla="*/ 797 w 10354"/>
                  <a:gd name="connsiteY2594" fmla="*/ 9598 h 10000"/>
                  <a:gd name="connsiteX2595" fmla="*/ 802 w 10354"/>
                  <a:gd name="connsiteY2595" fmla="*/ 9598 h 10000"/>
                  <a:gd name="connsiteX2596" fmla="*/ 816 w 10354"/>
                  <a:gd name="connsiteY2596" fmla="*/ 9624 h 10000"/>
                  <a:gd name="connsiteX2597" fmla="*/ 843 w 10354"/>
                  <a:gd name="connsiteY2597" fmla="*/ 9615 h 10000"/>
                  <a:gd name="connsiteX2598" fmla="*/ 857 w 10354"/>
                  <a:gd name="connsiteY2598" fmla="*/ 9624 h 10000"/>
                  <a:gd name="connsiteX2599" fmla="*/ 862 w 10354"/>
                  <a:gd name="connsiteY2599" fmla="*/ 9615 h 10000"/>
                  <a:gd name="connsiteX2600" fmla="*/ 880 w 10354"/>
                  <a:gd name="connsiteY2600" fmla="*/ 9624 h 10000"/>
                  <a:gd name="connsiteX2601" fmla="*/ 889 w 10354"/>
                  <a:gd name="connsiteY2601" fmla="*/ 9641 h 10000"/>
                  <a:gd name="connsiteX2602" fmla="*/ 935 w 10354"/>
                  <a:gd name="connsiteY2602" fmla="*/ 9675 h 10000"/>
                  <a:gd name="connsiteX2603" fmla="*/ 977 w 10354"/>
                  <a:gd name="connsiteY2603" fmla="*/ 9667 h 10000"/>
                  <a:gd name="connsiteX2604" fmla="*/ 995 w 10354"/>
                  <a:gd name="connsiteY2604" fmla="*/ 9675 h 10000"/>
                  <a:gd name="connsiteX2605" fmla="*/ 1014 w 10354"/>
                  <a:gd name="connsiteY2605" fmla="*/ 9675 h 10000"/>
                  <a:gd name="connsiteX2606" fmla="*/ 1069 w 10354"/>
                  <a:gd name="connsiteY2606" fmla="*/ 9752 h 10000"/>
                  <a:gd name="connsiteX2607" fmla="*/ 1074 w 10354"/>
                  <a:gd name="connsiteY2607" fmla="*/ 9761 h 10000"/>
                  <a:gd name="connsiteX2608" fmla="*/ 1083 w 10354"/>
                  <a:gd name="connsiteY2608" fmla="*/ 9778 h 10000"/>
                  <a:gd name="connsiteX2609" fmla="*/ 1115 w 10354"/>
                  <a:gd name="connsiteY2609" fmla="*/ 9752 h 10000"/>
                  <a:gd name="connsiteX2610" fmla="*/ 1129 w 10354"/>
                  <a:gd name="connsiteY2610" fmla="*/ 9752 h 10000"/>
                  <a:gd name="connsiteX2611" fmla="*/ 1138 w 10354"/>
                  <a:gd name="connsiteY2611" fmla="*/ 9761 h 10000"/>
                  <a:gd name="connsiteX2612" fmla="*/ 1143 w 10354"/>
                  <a:gd name="connsiteY2612" fmla="*/ 9752 h 10000"/>
                  <a:gd name="connsiteX2613" fmla="*/ 1161 w 10354"/>
                  <a:gd name="connsiteY2613" fmla="*/ 9761 h 10000"/>
                  <a:gd name="connsiteX2614" fmla="*/ 1171 w 10354"/>
                  <a:gd name="connsiteY2614" fmla="*/ 9778 h 10000"/>
                  <a:gd name="connsiteX2615" fmla="*/ 1175 w 10354"/>
                  <a:gd name="connsiteY2615" fmla="*/ 9778 h 10000"/>
                  <a:gd name="connsiteX2616" fmla="*/ 1189 w 10354"/>
                  <a:gd name="connsiteY2616" fmla="*/ 9778 h 10000"/>
                  <a:gd name="connsiteX2617" fmla="*/ 1198 w 10354"/>
                  <a:gd name="connsiteY2617" fmla="*/ 9786 h 10000"/>
                  <a:gd name="connsiteX2618" fmla="*/ 1203 w 10354"/>
                  <a:gd name="connsiteY2618" fmla="*/ 9803 h 10000"/>
                  <a:gd name="connsiteX2619" fmla="*/ 1198 w 10354"/>
                  <a:gd name="connsiteY2619" fmla="*/ 9838 h 10000"/>
                  <a:gd name="connsiteX2620" fmla="*/ 1212 w 10354"/>
                  <a:gd name="connsiteY2620" fmla="*/ 9863 h 10000"/>
                  <a:gd name="connsiteX2621" fmla="*/ 1230 w 10354"/>
                  <a:gd name="connsiteY2621" fmla="*/ 9872 h 10000"/>
                  <a:gd name="connsiteX2622" fmla="*/ 1249 w 10354"/>
                  <a:gd name="connsiteY2622" fmla="*/ 9897 h 10000"/>
                  <a:gd name="connsiteX2623" fmla="*/ 1263 w 10354"/>
                  <a:gd name="connsiteY2623" fmla="*/ 9897 h 10000"/>
                  <a:gd name="connsiteX2624" fmla="*/ 1276 w 10354"/>
                  <a:gd name="connsiteY2624" fmla="*/ 9923 h 10000"/>
                  <a:gd name="connsiteX2625" fmla="*/ 1281 w 10354"/>
                  <a:gd name="connsiteY2625" fmla="*/ 9949 h 10000"/>
                  <a:gd name="connsiteX2626" fmla="*/ 1290 w 10354"/>
                  <a:gd name="connsiteY2626" fmla="*/ 9949 h 10000"/>
                  <a:gd name="connsiteX2627" fmla="*/ 1295 w 10354"/>
                  <a:gd name="connsiteY2627" fmla="*/ 10000 h 10000"/>
                  <a:gd name="connsiteX2628" fmla="*/ 1332 w 10354"/>
                  <a:gd name="connsiteY2628" fmla="*/ 10000 h 10000"/>
                  <a:gd name="connsiteX2629" fmla="*/ 1336 w 10354"/>
                  <a:gd name="connsiteY2629" fmla="*/ 10000 h 10000"/>
                  <a:gd name="connsiteX2630" fmla="*/ 1346 w 10354"/>
                  <a:gd name="connsiteY2630" fmla="*/ 9983 h 10000"/>
                  <a:gd name="connsiteX2631" fmla="*/ 1350 w 10354"/>
                  <a:gd name="connsiteY2631" fmla="*/ 9949 h 10000"/>
                  <a:gd name="connsiteX2632" fmla="*/ 1369 w 10354"/>
                  <a:gd name="connsiteY2632" fmla="*/ 9940 h 10000"/>
                  <a:gd name="connsiteX2633" fmla="*/ 1378 w 10354"/>
                  <a:gd name="connsiteY2633" fmla="*/ 9897 h 10000"/>
                  <a:gd name="connsiteX2634" fmla="*/ 1369 w 10354"/>
                  <a:gd name="connsiteY2634" fmla="*/ 9889 h 10000"/>
                  <a:gd name="connsiteX2635" fmla="*/ 1318 w 10354"/>
                  <a:gd name="connsiteY2635" fmla="*/ 9701 h 10000"/>
                  <a:gd name="connsiteX2636" fmla="*/ 1318 w 10354"/>
                  <a:gd name="connsiteY2636" fmla="*/ 9650 h 10000"/>
                  <a:gd name="connsiteX2637" fmla="*/ 1323 w 10354"/>
                  <a:gd name="connsiteY2637" fmla="*/ 9590 h 10000"/>
                  <a:gd name="connsiteX2638" fmla="*/ 1323 w 10354"/>
                  <a:gd name="connsiteY2638" fmla="*/ 9564 h 10000"/>
                  <a:gd name="connsiteX2639" fmla="*/ 1309 w 10354"/>
                  <a:gd name="connsiteY2639" fmla="*/ 9598 h 10000"/>
                  <a:gd name="connsiteX2640" fmla="*/ 1309 w 10354"/>
                  <a:gd name="connsiteY2640" fmla="*/ 9590 h 10000"/>
                  <a:gd name="connsiteX2641" fmla="*/ 1304 w 10354"/>
                  <a:gd name="connsiteY2641" fmla="*/ 9547 h 10000"/>
                  <a:gd name="connsiteX2642" fmla="*/ 1276 w 10354"/>
                  <a:gd name="connsiteY2642" fmla="*/ 9479 h 10000"/>
                  <a:gd name="connsiteX2643" fmla="*/ 1263 w 10354"/>
                  <a:gd name="connsiteY2643" fmla="*/ 9479 h 10000"/>
                  <a:gd name="connsiteX2644" fmla="*/ 1263 w 10354"/>
                  <a:gd name="connsiteY2644" fmla="*/ 9453 h 10000"/>
                  <a:gd name="connsiteX2645" fmla="*/ 1272 w 10354"/>
                  <a:gd name="connsiteY2645" fmla="*/ 9410 h 10000"/>
                  <a:gd name="connsiteX2646" fmla="*/ 1272 w 10354"/>
                  <a:gd name="connsiteY2646" fmla="*/ 9393 h 10000"/>
                  <a:gd name="connsiteX2647" fmla="*/ 1281 w 10354"/>
                  <a:gd name="connsiteY2647" fmla="*/ 9368 h 10000"/>
                  <a:gd name="connsiteX2648" fmla="*/ 1281 w 10354"/>
                  <a:gd name="connsiteY2648" fmla="*/ 9368 h 10000"/>
                  <a:gd name="connsiteX2649" fmla="*/ 1290 w 10354"/>
                  <a:gd name="connsiteY2649" fmla="*/ 9368 h 10000"/>
                  <a:gd name="connsiteX2650" fmla="*/ 1290 w 10354"/>
                  <a:gd name="connsiteY2650" fmla="*/ 9342 h 10000"/>
                  <a:gd name="connsiteX2651" fmla="*/ 1304 w 10354"/>
                  <a:gd name="connsiteY2651" fmla="*/ 9325 h 10000"/>
                  <a:gd name="connsiteX2652" fmla="*/ 1309 w 10354"/>
                  <a:gd name="connsiteY2652" fmla="*/ 9239 h 10000"/>
                  <a:gd name="connsiteX2653" fmla="*/ 1318 w 10354"/>
                  <a:gd name="connsiteY2653" fmla="*/ 9256 h 10000"/>
                  <a:gd name="connsiteX2654" fmla="*/ 1323 w 10354"/>
                  <a:gd name="connsiteY2654" fmla="*/ 9179 h 10000"/>
                  <a:gd name="connsiteX2655" fmla="*/ 1309 w 10354"/>
                  <a:gd name="connsiteY2655" fmla="*/ 9145 h 10000"/>
                  <a:gd name="connsiteX2656" fmla="*/ 1336 w 10354"/>
                  <a:gd name="connsiteY2656" fmla="*/ 9154 h 10000"/>
                  <a:gd name="connsiteX2657" fmla="*/ 1336 w 10354"/>
                  <a:gd name="connsiteY2657" fmla="*/ 9162 h 10000"/>
                  <a:gd name="connsiteX2658" fmla="*/ 1350 w 10354"/>
                  <a:gd name="connsiteY2658" fmla="*/ 9231 h 10000"/>
                  <a:gd name="connsiteX2659" fmla="*/ 1355 w 10354"/>
                  <a:gd name="connsiteY2659" fmla="*/ 9231 h 10000"/>
                  <a:gd name="connsiteX2660" fmla="*/ 1364 w 10354"/>
                  <a:gd name="connsiteY2660" fmla="*/ 9214 h 10000"/>
                  <a:gd name="connsiteX2661" fmla="*/ 1369 w 10354"/>
                  <a:gd name="connsiteY2661" fmla="*/ 9214 h 10000"/>
                  <a:gd name="connsiteX2662" fmla="*/ 1382 w 10354"/>
                  <a:gd name="connsiteY2662" fmla="*/ 9154 h 10000"/>
                  <a:gd name="connsiteX2663" fmla="*/ 1396 w 10354"/>
                  <a:gd name="connsiteY2663" fmla="*/ 9154 h 10000"/>
                  <a:gd name="connsiteX2664" fmla="*/ 1382 w 10354"/>
                  <a:gd name="connsiteY2664" fmla="*/ 9145 h 10000"/>
                  <a:gd name="connsiteX2665" fmla="*/ 1382 w 10354"/>
                  <a:gd name="connsiteY2665" fmla="*/ 9128 h 10000"/>
                  <a:gd name="connsiteX2666" fmla="*/ 1369 w 10354"/>
                  <a:gd name="connsiteY2666" fmla="*/ 9128 h 10000"/>
                  <a:gd name="connsiteX2667" fmla="*/ 1364 w 10354"/>
                  <a:gd name="connsiteY2667" fmla="*/ 9128 h 10000"/>
                  <a:gd name="connsiteX2668" fmla="*/ 1355 w 10354"/>
                  <a:gd name="connsiteY2668" fmla="*/ 9120 h 10000"/>
                  <a:gd name="connsiteX2669" fmla="*/ 1350 w 10354"/>
                  <a:gd name="connsiteY2669" fmla="*/ 9103 h 10000"/>
                  <a:gd name="connsiteX2670" fmla="*/ 1355 w 10354"/>
                  <a:gd name="connsiteY2670" fmla="*/ 9094 h 10000"/>
                  <a:gd name="connsiteX2671" fmla="*/ 1355 w 10354"/>
                  <a:gd name="connsiteY2671" fmla="*/ 9068 h 10000"/>
                  <a:gd name="connsiteX2672" fmla="*/ 1369 w 10354"/>
                  <a:gd name="connsiteY2672" fmla="*/ 9068 h 10000"/>
                  <a:gd name="connsiteX2673" fmla="*/ 1378 w 10354"/>
                  <a:gd name="connsiteY2673" fmla="*/ 9077 h 10000"/>
                  <a:gd name="connsiteX2674" fmla="*/ 1396 w 10354"/>
                  <a:gd name="connsiteY2674" fmla="*/ 9068 h 10000"/>
                  <a:gd name="connsiteX2675" fmla="*/ 1382 w 10354"/>
                  <a:gd name="connsiteY2675" fmla="*/ 8940 h 10000"/>
                  <a:gd name="connsiteX2676" fmla="*/ 1378 w 10354"/>
                  <a:gd name="connsiteY2676" fmla="*/ 8940 h 10000"/>
                  <a:gd name="connsiteX2677" fmla="*/ 1364 w 10354"/>
                  <a:gd name="connsiteY2677" fmla="*/ 8889 h 10000"/>
                  <a:gd name="connsiteX2678" fmla="*/ 1355 w 10354"/>
                  <a:gd name="connsiteY2678" fmla="*/ 8880 h 10000"/>
                  <a:gd name="connsiteX2679" fmla="*/ 1323 w 10354"/>
                  <a:gd name="connsiteY2679" fmla="*/ 8880 h 10000"/>
                  <a:gd name="connsiteX2680" fmla="*/ 1309 w 10354"/>
                  <a:gd name="connsiteY2680" fmla="*/ 8880 h 10000"/>
                  <a:gd name="connsiteX2681" fmla="*/ 1309 w 10354"/>
                  <a:gd name="connsiteY2681" fmla="*/ 8889 h 10000"/>
                  <a:gd name="connsiteX2682" fmla="*/ 1295 w 10354"/>
                  <a:gd name="connsiteY2682" fmla="*/ 8872 h 10000"/>
                  <a:gd name="connsiteX2683" fmla="*/ 1290 w 10354"/>
                  <a:gd name="connsiteY2683" fmla="*/ 8855 h 10000"/>
                  <a:gd name="connsiteX2684" fmla="*/ 1290 w 10354"/>
                  <a:gd name="connsiteY2684" fmla="*/ 8829 h 10000"/>
                  <a:gd name="connsiteX2685" fmla="*/ 1290 w 10354"/>
                  <a:gd name="connsiteY2685" fmla="*/ 8821 h 10000"/>
                  <a:gd name="connsiteX2686" fmla="*/ 1290 w 10354"/>
                  <a:gd name="connsiteY2686" fmla="*/ 8803 h 10000"/>
                  <a:gd name="connsiteX2687" fmla="*/ 1281 w 10354"/>
                  <a:gd name="connsiteY2687" fmla="*/ 8795 h 10000"/>
                  <a:gd name="connsiteX2688" fmla="*/ 1249 w 10354"/>
                  <a:gd name="connsiteY2688" fmla="*/ 8769 h 10000"/>
                  <a:gd name="connsiteX2689" fmla="*/ 1263 w 10354"/>
                  <a:gd name="connsiteY2689" fmla="*/ 8667 h 10000"/>
                  <a:gd name="connsiteX2690" fmla="*/ 1281 w 10354"/>
                  <a:gd name="connsiteY2690" fmla="*/ 8658 h 10000"/>
                  <a:gd name="connsiteX2691" fmla="*/ 1290 w 10354"/>
                  <a:gd name="connsiteY2691" fmla="*/ 8632 h 10000"/>
                  <a:gd name="connsiteX2692" fmla="*/ 1281 w 10354"/>
                  <a:gd name="connsiteY2692" fmla="*/ 8615 h 10000"/>
                  <a:gd name="connsiteX2693" fmla="*/ 1272 w 10354"/>
                  <a:gd name="connsiteY2693" fmla="*/ 8598 h 10000"/>
                  <a:gd name="connsiteX2694" fmla="*/ 1281 w 10354"/>
                  <a:gd name="connsiteY2694" fmla="*/ 8496 h 10000"/>
                  <a:gd name="connsiteX2695" fmla="*/ 1295 w 10354"/>
                  <a:gd name="connsiteY2695" fmla="*/ 8470 h 10000"/>
                  <a:gd name="connsiteX2696" fmla="*/ 1304 w 10354"/>
                  <a:gd name="connsiteY2696" fmla="*/ 8462 h 10000"/>
                  <a:gd name="connsiteX2697" fmla="*/ 1304 w 10354"/>
                  <a:gd name="connsiteY2697" fmla="*/ 8444 h 10000"/>
                  <a:gd name="connsiteX2698" fmla="*/ 1304 w 10354"/>
                  <a:gd name="connsiteY2698" fmla="*/ 8419 h 10000"/>
                  <a:gd name="connsiteX2699" fmla="*/ 1304 w 10354"/>
                  <a:gd name="connsiteY2699" fmla="*/ 8410 h 10000"/>
                  <a:gd name="connsiteX2700" fmla="*/ 1309 w 10354"/>
                  <a:gd name="connsiteY2700" fmla="*/ 8393 h 10000"/>
                  <a:gd name="connsiteX2701" fmla="*/ 1318 w 10354"/>
                  <a:gd name="connsiteY2701" fmla="*/ 8385 h 10000"/>
                  <a:gd name="connsiteX2702" fmla="*/ 1323 w 10354"/>
                  <a:gd name="connsiteY2702" fmla="*/ 8385 h 10000"/>
                  <a:gd name="connsiteX2703" fmla="*/ 1332 w 10354"/>
                  <a:gd name="connsiteY2703" fmla="*/ 8410 h 10000"/>
                  <a:gd name="connsiteX2704" fmla="*/ 1346 w 10354"/>
                  <a:gd name="connsiteY2704" fmla="*/ 8419 h 10000"/>
                  <a:gd name="connsiteX2705" fmla="*/ 1364 w 10354"/>
                  <a:gd name="connsiteY2705" fmla="*/ 8504 h 10000"/>
                  <a:gd name="connsiteX2706" fmla="*/ 1369 w 10354"/>
                  <a:gd name="connsiteY2706" fmla="*/ 8521 h 10000"/>
                  <a:gd name="connsiteX2707" fmla="*/ 1406 w 10354"/>
                  <a:gd name="connsiteY2707" fmla="*/ 8470 h 10000"/>
                  <a:gd name="connsiteX2708" fmla="*/ 1382 w 10354"/>
                  <a:gd name="connsiteY2708" fmla="*/ 8359 h 10000"/>
                  <a:gd name="connsiteX2709" fmla="*/ 1392 w 10354"/>
                  <a:gd name="connsiteY2709" fmla="*/ 8359 h 10000"/>
                  <a:gd name="connsiteX2710" fmla="*/ 1438 w 10354"/>
                  <a:gd name="connsiteY2710" fmla="*/ 8308 h 10000"/>
                  <a:gd name="connsiteX2711" fmla="*/ 1442 w 10354"/>
                  <a:gd name="connsiteY2711" fmla="*/ 8299 h 10000"/>
                  <a:gd name="connsiteX2712" fmla="*/ 1442 w 10354"/>
                  <a:gd name="connsiteY2712" fmla="*/ 8256 h 10000"/>
                  <a:gd name="connsiteX2713" fmla="*/ 1452 w 10354"/>
                  <a:gd name="connsiteY2713" fmla="*/ 8256 h 10000"/>
                  <a:gd name="connsiteX2714" fmla="*/ 1456 w 10354"/>
                  <a:gd name="connsiteY2714" fmla="*/ 8256 h 10000"/>
                  <a:gd name="connsiteX2715" fmla="*/ 1470 w 10354"/>
                  <a:gd name="connsiteY2715" fmla="*/ 8248 h 10000"/>
                  <a:gd name="connsiteX2716" fmla="*/ 1479 w 10354"/>
                  <a:gd name="connsiteY2716" fmla="*/ 8231 h 10000"/>
                  <a:gd name="connsiteX2717" fmla="*/ 1493 w 10354"/>
                  <a:gd name="connsiteY2717" fmla="*/ 8222 h 10000"/>
                  <a:gd name="connsiteX2718" fmla="*/ 1498 w 10354"/>
                  <a:gd name="connsiteY2718" fmla="*/ 8214 h 10000"/>
                  <a:gd name="connsiteX2719" fmla="*/ 1502 w 10354"/>
                  <a:gd name="connsiteY2719" fmla="*/ 8197 h 10000"/>
                  <a:gd name="connsiteX2720" fmla="*/ 1512 w 10354"/>
                  <a:gd name="connsiteY2720" fmla="*/ 8188 h 10000"/>
                  <a:gd name="connsiteX2721" fmla="*/ 1516 w 10354"/>
                  <a:gd name="connsiteY2721" fmla="*/ 8171 h 10000"/>
                  <a:gd name="connsiteX2722" fmla="*/ 1525 w 10354"/>
                  <a:gd name="connsiteY2722" fmla="*/ 8162 h 10000"/>
                  <a:gd name="connsiteX2723" fmla="*/ 1539 w 10354"/>
                  <a:gd name="connsiteY2723" fmla="*/ 8145 h 10000"/>
                  <a:gd name="connsiteX2724" fmla="*/ 1558 w 10354"/>
                  <a:gd name="connsiteY2724" fmla="*/ 8145 h 10000"/>
                  <a:gd name="connsiteX2725" fmla="*/ 1562 w 10354"/>
                  <a:gd name="connsiteY2725" fmla="*/ 8188 h 10000"/>
                  <a:gd name="connsiteX2726" fmla="*/ 1585 w 10354"/>
                  <a:gd name="connsiteY2726" fmla="*/ 8171 h 10000"/>
                  <a:gd name="connsiteX2727" fmla="*/ 1590 w 10354"/>
                  <a:gd name="connsiteY2727" fmla="*/ 8188 h 10000"/>
                  <a:gd name="connsiteX2728" fmla="*/ 1599 w 10354"/>
                  <a:gd name="connsiteY2728" fmla="*/ 8171 h 10000"/>
                  <a:gd name="connsiteX2729" fmla="*/ 1599 w 10354"/>
                  <a:gd name="connsiteY2729" fmla="*/ 8162 h 10000"/>
                  <a:gd name="connsiteX2730" fmla="*/ 1604 w 10354"/>
                  <a:gd name="connsiteY2730" fmla="*/ 8137 h 10000"/>
                  <a:gd name="connsiteX2731" fmla="*/ 1618 w 10354"/>
                  <a:gd name="connsiteY2731" fmla="*/ 8145 h 10000"/>
                  <a:gd name="connsiteX2732" fmla="*/ 1627 w 10354"/>
                  <a:gd name="connsiteY2732" fmla="*/ 8137 h 10000"/>
                  <a:gd name="connsiteX2733" fmla="*/ 1631 w 10354"/>
                  <a:gd name="connsiteY2733" fmla="*/ 8137 h 10000"/>
                  <a:gd name="connsiteX2734" fmla="*/ 1636 w 10354"/>
                  <a:gd name="connsiteY2734" fmla="*/ 8171 h 10000"/>
                  <a:gd name="connsiteX2735" fmla="*/ 1645 w 10354"/>
                  <a:gd name="connsiteY2735" fmla="*/ 8188 h 10000"/>
                  <a:gd name="connsiteX2736" fmla="*/ 1664 w 10354"/>
                  <a:gd name="connsiteY2736" fmla="*/ 8171 h 10000"/>
                  <a:gd name="connsiteX2737" fmla="*/ 1673 w 10354"/>
                  <a:gd name="connsiteY2737" fmla="*/ 8188 h 10000"/>
                  <a:gd name="connsiteX2738" fmla="*/ 1691 w 10354"/>
                  <a:gd name="connsiteY2738" fmla="*/ 8171 h 10000"/>
                  <a:gd name="connsiteX2739" fmla="*/ 1705 w 10354"/>
                  <a:gd name="connsiteY2739" fmla="*/ 8171 h 10000"/>
                  <a:gd name="connsiteX2740" fmla="*/ 1719 w 10354"/>
                  <a:gd name="connsiteY2740" fmla="*/ 8197 h 10000"/>
                  <a:gd name="connsiteX2741" fmla="*/ 1724 w 10354"/>
                  <a:gd name="connsiteY2741" fmla="*/ 8231 h 10000"/>
                  <a:gd name="connsiteX2742" fmla="*/ 1751 w 10354"/>
                  <a:gd name="connsiteY2742" fmla="*/ 8256 h 10000"/>
                  <a:gd name="connsiteX2743" fmla="*/ 1751 w 10354"/>
                  <a:gd name="connsiteY2743" fmla="*/ 8274 h 10000"/>
                  <a:gd name="connsiteX2744" fmla="*/ 1760 w 10354"/>
                  <a:gd name="connsiteY2744" fmla="*/ 8282 h 10000"/>
                  <a:gd name="connsiteX2745" fmla="*/ 1770 w 10354"/>
                  <a:gd name="connsiteY2745" fmla="*/ 8325 h 10000"/>
                  <a:gd name="connsiteX2746" fmla="*/ 1770 w 10354"/>
                  <a:gd name="connsiteY2746" fmla="*/ 8350 h 10000"/>
                  <a:gd name="connsiteX2747" fmla="*/ 1779 w 10354"/>
                  <a:gd name="connsiteY2747" fmla="*/ 8368 h 10000"/>
                  <a:gd name="connsiteX2748" fmla="*/ 1783 w 10354"/>
                  <a:gd name="connsiteY2748" fmla="*/ 8359 h 10000"/>
                  <a:gd name="connsiteX2749" fmla="*/ 1783 w 10354"/>
                  <a:gd name="connsiteY2749" fmla="*/ 8308 h 10000"/>
                  <a:gd name="connsiteX2750" fmla="*/ 1779 w 10354"/>
                  <a:gd name="connsiteY2750" fmla="*/ 8299 h 10000"/>
                  <a:gd name="connsiteX2751" fmla="*/ 1783 w 10354"/>
                  <a:gd name="connsiteY2751" fmla="*/ 8282 h 10000"/>
                  <a:gd name="connsiteX2752" fmla="*/ 1797 w 10354"/>
                  <a:gd name="connsiteY2752" fmla="*/ 8274 h 10000"/>
                  <a:gd name="connsiteX2753" fmla="*/ 1797 w 10354"/>
                  <a:gd name="connsiteY2753" fmla="*/ 8299 h 10000"/>
                  <a:gd name="connsiteX2754" fmla="*/ 1806 w 10354"/>
                  <a:gd name="connsiteY2754" fmla="*/ 8308 h 10000"/>
                  <a:gd name="connsiteX2755" fmla="*/ 1811 w 10354"/>
                  <a:gd name="connsiteY2755" fmla="*/ 8325 h 10000"/>
                  <a:gd name="connsiteX2756" fmla="*/ 1820 w 10354"/>
                  <a:gd name="connsiteY2756" fmla="*/ 8333 h 10000"/>
                  <a:gd name="connsiteX2757" fmla="*/ 1853 w 10354"/>
                  <a:gd name="connsiteY2757" fmla="*/ 8359 h 10000"/>
                  <a:gd name="connsiteX2758" fmla="*/ 1866 w 10354"/>
                  <a:gd name="connsiteY2758" fmla="*/ 8359 h 10000"/>
                  <a:gd name="connsiteX2759" fmla="*/ 1885 w 10354"/>
                  <a:gd name="connsiteY2759" fmla="*/ 8325 h 10000"/>
                  <a:gd name="connsiteX2760" fmla="*/ 1885 w 10354"/>
                  <a:gd name="connsiteY2760" fmla="*/ 8308 h 10000"/>
                  <a:gd name="connsiteX2761" fmla="*/ 1894 w 10354"/>
                  <a:gd name="connsiteY2761" fmla="*/ 8299 h 10000"/>
                  <a:gd name="connsiteX2762" fmla="*/ 1899 w 10354"/>
                  <a:gd name="connsiteY2762" fmla="*/ 8282 h 10000"/>
                  <a:gd name="connsiteX2763" fmla="*/ 1912 w 10354"/>
                  <a:gd name="connsiteY2763" fmla="*/ 8282 h 10000"/>
                  <a:gd name="connsiteX2764" fmla="*/ 1917 w 10354"/>
                  <a:gd name="connsiteY2764" fmla="*/ 8299 h 10000"/>
                  <a:gd name="connsiteX2765" fmla="*/ 1917 w 10354"/>
                  <a:gd name="connsiteY2765" fmla="*/ 8274 h 10000"/>
                  <a:gd name="connsiteX2766" fmla="*/ 1940 w 10354"/>
                  <a:gd name="connsiteY2766" fmla="*/ 8282 h 10000"/>
                  <a:gd name="connsiteX2767" fmla="*/ 1945 w 10354"/>
                  <a:gd name="connsiteY2767" fmla="*/ 8274 h 10000"/>
                  <a:gd name="connsiteX2768" fmla="*/ 1972 w 10354"/>
                  <a:gd name="connsiteY2768" fmla="*/ 8308 h 10000"/>
                  <a:gd name="connsiteX2769" fmla="*/ 1986 w 10354"/>
                  <a:gd name="connsiteY2769" fmla="*/ 8282 h 10000"/>
                  <a:gd name="connsiteX2770" fmla="*/ 1991 w 10354"/>
                  <a:gd name="connsiteY2770" fmla="*/ 8274 h 10000"/>
                  <a:gd name="connsiteX2771" fmla="*/ 2014 w 10354"/>
                  <a:gd name="connsiteY2771" fmla="*/ 8274 h 10000"/>
                  <a:gd name="connsiteX2772" fmla="*/ 2018 w 10354"/>
                  <a:gd name="connsiteY2772" fmla="*/ 8256 h 10000"/>
                  <a:gd name="connsiteX2773" fmla="*/ 2041 w 10354"/>
                  <a:gd name="connsiteY2773" fmla="*/ 8274 h 10000"/>
                  <a:gd name="connsiteX2774" fmla="*/ 2046 w 10354"/>
                  <a:gd name="connsiteY2774" fmla="*/ 8282 h 10000"/>
                  <a:gd name="connsiteX2775" fmla="*/ 2046 w 10354"/>
                  <a:gd name="connsiteY2775" fmla="*/ 8325 h 10000"/>
                  <a:gd name="connsiteX2776" fmla="*/ 2060 w 10354"/>
                  <a:gd name="connsiteY2776" fmla="*/ 8350 h 10000"/>
                  <a:gd name="connsiteX2777" fmla="*/ 2078 w 10354"/>
                  <a:gd name="connsiteY2777" fmla="*/ 8350 h 10000"/>
                  <a:gd name="connsiteX2778" fmla="*/ 2092 w 10354"/>
                  <a:gd name="connsiteY2778" fmla="*/ 8350 h 10000"/>
                  <a:gd name="connsiteX2779" fmla="*/ 2092 w 10354"/>
                  <a:gd name="connsiteY2779" fmla="*/ 8350 h 10000"/>
                  <a:gd name="connsiteX2780" fmla="*/ 2101 w 10354"/>
                  <a:gd name="connsiteY2780" fmla="*/ 8368 h 10000"/>
                  <a:gd name="connsiteX2781" fmla="*/ 2120 w 10354"/>
                  <a:gd name="connsiteY2781" fmla="*/ 8368 h 10000"/>
                  <a:gd name="connsiteX2782" fmla="*/ 2124 w 10354"/>
                  <a:gd name="connsiteY2782" fmla="*/ 8359 h 10000"/>
                  <a:gd name="connsiteX2783" fmla="*/ 2138 w 10354"/>
                  <a:gd name="connsiteY2783" fmla="*/ 8325 h 10000"/>
                  <a:gd name="connsiteX2784" fmla="*/ 2147 w 10354"/>
                  <a:gd name="connsiteY2784" fmla="*/ 8325 h 10000"/>
                  <a:gd name="connsiteX2785" fmla="*/ 2161 w 10354"/>
                  <a:gd name="connsiteY2785" fmla="*/ 8350 h 10000"/>
                  <a:gd name="connsiteX2786" fmla="*/ 2198 w 10354"/>
                  <a:gd name="connsiteY2786" fmla="*/ 8350 h 10000"/>
                  <a:gd name="connsiteX2787" fmla="*/ 2207 w 10354"/>
                  <a:gd name="connsiteY2787" fmla="*/ 8333 h 10000"/>
                  <a:gd name="connsiteX2788" fmla="*/ 2226 w 10354"/>
                  <a:gd name="connsiteY2788" fmla="*/ 8325 h 10000"/>
                  <a:gd name="connsiteX2789" fmla="*/ 2249 w 10354"/>
                  <a:gd name="connsiteY2789" fmla="*/ 8222 h 10000"/>
                  <a:gd name="connsiteX2790" fmla="*/ 2235 w 10354"/>
                  <a:gd name="connsiteY2790" fmla="*/ 8197 h 10000"/>
                  <a:gd name="connsiteX2791" fmla="*/ 2198 w 10354"/>
                  <a:gd name="connsiteY2791" fmla="*/ 8197 h 10000"/>
                  <a:gd name="connsiteX2792" fmla="*/ 2189 w 10354"/>
                  <a:gd name="connsiteY2792" fmla="*/ 8171 h 10000"/>
                  <a:gd name="connsiteX2793" fmla="*/ 2161 w 10354"/>
                  <a:gd name="connsiteY2793" fmla="*/ 8145 h 10000"/>
                  <a:gd name="connsiteX2794" fmla="*/ 2161 w 10354"/>
                  <a:gd name="connsiteY2794" fmla="*/ 8137 h 10000"/>
                  <a:gd name="connsiteX2795" fmla="*/ 2152 w 10354"/>
                  <a:gd name="connsiteY2795" fmla="*/ 8120 h 10000"/>
                  <a:gd name="connsiteX2796" fmla="*/ 2138 w 10354"/>
                  <a:gd name="connsiteY2796" fmla="*/ 8111 h 10000"/>
                  <a:gd name="connsiteX2797" fmla="*/ 2138 w 10354"/>
                  <a:gd name="connsiteY2797" fmla="*/ 8094 h 10000"/>
                  <a:gd name="connsiteX2798" fmla="*/ 2147 w 10354"/>
                  <a:gd name="connsiteY2798" fmla="*/ 8085 h 10000"/>
                  <a:gd name="connsiteX2799" fmla="*/ 2161 w 10354"/>
                  <a:gd name="connsiteY2799" fmla="*/ 8060 h 10000"/>
                  <a:gd name="connsiteX2800" fmla="*/ 2198 w 10354"/>
                  <a:gd name="connsiteY2800" fmla="*/ 8034 h 10000"/>
                  <a:gd name="connsiteX2801" fmla="*/ 2198 w 10354"/>
                  <a:gd name="connsiteY2801" fmla="*/ 8026 h 10000"/>
                  <a:gd name="connsiteX2802" fmla="*/ 2198 w 10354"/>
                  <a:gd name="connsiteY2802" fmla="*/ 8000 h 10000"/>
                  <a:gd name="connsiteX2803" fmla="*/ 2180 w 10354"/>
                  <a:gd name="connsiteY2803" fmla="*/ 7940 h 10000"/>
                  <a:gd name="connsiteX2804" fmla="*/ 2189 w 10354"/>
                  <a:gd name="connsiteY2804" fmla="*/ 7940 h 10000"/>
                  <a:gd name="connsiteX2805" fmla="*/ 2198 w 10354"/>
                  <a:gd name="connsiteY2805" fmla="*/ 7923 h 10000"/>
                  <a:gd name="connsiteX2806" fmla="*/ 2198 w 10354"/>
                  <a:gd name="connsiteY2806" fmla="*/ 7897 h 10000"/>
                  <a:gd name="connsiteX2807" fmla="*/ 2207 w 10354"/>
                  <a:gd name="connsiteY2807" fmla="*/ 7889 h 10000"/>
                  <a:gd name="connsiteX2808" fmla="*/ 2221 w 10354"/>
                  <a:gd name="connsiteY2808" fmla="*/ 7889 h 10000"/>
                  <a:gd name="connsiteX2809" fmla="*/ 2226 w 10354"/>
                  <a:gd name="connsiteY2809" fmla="*/ 7897 h 10000"/>
                  <a:gd name="connsiteX2810" fmla="*/ 2235 w 10354"/>
                  <a:gd name="connsiteY2810" fmla="*/ 7889 h 10000"/>
                  <a:gd name="connsiteX2811" fmla="*/ 2249 w 10354"/>
                  <a:gd name="connsiteY2811" fmla="*/ 7897 h 10000"/>
                  <a:gd name="connsiteX2812" fmla="*/ 2267 w 10354"/>
                  <a:gd name="connsiteY2812" fmla="*/ 7897 h 10000"/>
                  <a:gd name="connsiteX2813" fmla="*/ 2272 w 10354"/>
                  <a:gd name="connsiteY2813" fmla="*/ 7889 h 10000"/>
                  <a:gd name="connsiteX2814" fmla="*/ 2281 w 10354"/>
                  <a:gd name="connsiteY2814" fmla="*/ 7872 h 10000"/>
                  <a:gd name="connsiteX2815" fmla="*/ 2272 w 10354"/>
                  <a:gd name="connsiteY2815" fmla="*/ 7846 h 10000"/>
                  <a:gd name="connsiteX2816" fmla="*/ 2253 w 10354"/>
                  <a:gd name="connsiteY2816" fmla="*/ 7838 h 10000"/>
                  <a:gd name="connsiteX2817" fmla="*/ 2221 w 10354"/>
                  <a:gd name="connsiteY2817" fmla="*/ 7821 h 10000"/>
                  <a:gd name="connsiteX2818" fmla="*/ 2212 w 10354"/>
                  <a:gd name="connsiteY2818" fmla="*/ 7812 h 10000"/>
                  <a:gd name="connsiteX2819" fmla="*/ 2212 w 10354"/>
                  <a:gd name="connsiteY2819" fmla="*/ 7803 h 10000"/>
                  <a:gd name="connsiteX2820" fmla="*/ 2221 w 10354"/>
                  <a:gd name="connsiteY2820" fmla="*/ 7803 h 10000"/>
                  <a:gd name="connsiteX2821" fmla="*/ 2235 w 10354"/>
                  <a:gd name="connsiteY2821" fmla="*/ 7786 h 10000"/>
                  <a:gd name="connsiteX2822" fmla="*/ 2240 w 10354"/>
                  <a:gd name="connsiteY2822" fmla="*/ 7778 h 10000"/>
                  <a:gd name="connsiteX2823" fmla="*/ 2226 w 10354"/>
                  <a:gd name="connsiteY2823" fmla="*/ 7761 h 10000"/>
                  <a:gd name="connsiteX2824" fmla="*/ 2221 w 10354"/>
                  <a:gd name="connsiteY2824" fmla="*/ 7778 h 10000"/>
                  <a:gd name="connsiteX2825" fmla="*/ 2198 w 10354"/>
                  <a:gd name="connsiteY2825" fmla="*/ 7778 h 10000"/>
                  <a:gd name="connsiteX2826" fmla="*/ 2198 w 10354"/>
                  <a:gd name="connsiteY2826" fmla="*/ 7752 h 10000"/>
                  <a:gd name="connsiteX2827" fmla="*/ 2207 w 10354"/>
                  <a:gd name="connsiteY2827" fmla="*/ 7735 h 10000"/>
                  <a:gd name="connsiteX2828" fmla="*/ 2212 w 10354"/>
                  <a:gd name="connsiteY2828" fmla="*/ 7726 h 10000"/>
                  <a:gd name="connsiteX2829" fmla="*/ 2198 w 10354"/>
                  <a:gd name="connsiteY2829" fmla="*/ 7692 h 10000"/>
                  <a:gd name="connsiteX2830" fmla="*/ 2221 w 10354"/>
                  <a:gd name="connsiteY2830" fmla="*/ 7692 h 10000"/>
                  <a:gd name="connsiteX2831" fmla="*/ 2221 w 10354"/>
                  <a:gd name="connsiteY2831" fmla="*/ 7675 h 10000"/>
                  <a:gd name="connsiteX2832" fmla="*/ 2235 w 10354"/>
                  <a:gd name="connsiteY2832" fmla="*/ 7675 h 10000"/>
                  <a:gd name="connsiteX2833" fmla="*/ 2240 w 10354"/>
                  <a:gd name="connsiteY2833" fmla="*/ 7692 h 10000"/>
                  <a:gd name="connsiteX2834" fmla="*/ 2249 w 10354"/>
                  <a:gd name="connsiteY2834" fmla="*/ 7692 h 10000"/>
                  <a:gd name="connsiteX2835" fmla="*/ 2258 w 10354"/>
                  <a:gd name="connsiteY2835" fmla="*/ 7692 h 10000"/>
                  <a:gd name="connsiteX2836" fmla="*/ 2267 w 10354"/>
                  <a:gd name="connsiteY2836" fmla="*/ 7692 h 10000"/>
                  <a:gd name="connsiteX2837" fmla="*/ 2295 w 10354"/>
                  <a:gd name="connsiteY2837" fmla="*/ 7692 h 10000"/>
                  <a:gd name="connsiteX2838" fmla="*/ 2300 w 10354"/>
                  <a:gd name="connsiteY2838" fmla="*/ 7701 h 10000"/>
                  <a:gd name="connsiteX2839" fmla="*/ 2313 w 10354"/>
                  <a:gd name="connsiteY2839" fmla="*/ 7675 h 10000"/>
                  <a:gd name="connsiteX2840" fmla="*/ 2323 w 10354"/>
                  <a:gd name="connsiteY2840" fmla="*/ 7675 h 10000"/>
                  <a:gd name="connsiteX2841" fmla="*/ 2341 w 10354"/>
                  <a:gd name="connsiteY2841" fmla="*/ 7675 h 10000"/>
                  <a:gd name="connsiteX2842" fmla="*/ 2346 w 10354"/>
                  <a:gd name="connsiteY2842" fmla="*/ 7667 h 10000"/>
                  <a:gd name="connsiteX2843" fmla="*/ 2359 w 10354"/>
                  <a:gd name="connsiteY2843" fmla="*/ 7650 h 10000"/>
                  <a:gd name="connsiteX2844" fmla="*/ 2373 w 10354"/>
                  <a:gd name="connsiteY2844" fmla="*/ 7624 h 10000"/>
                  <a:gd name="connsiteX2845" fmla="*/ 2382 w 10354"/>
                  <a:gd name="connsiteY2845" fmla="*/ 7641 h 10000"/>
                  <a:gd name="connsiteX2846" fmla="*/ 2396 w 10354"/>
                  <a:gd name="connsiteY2846" fmla="*/ 7650 h 10000"/>
                  <a:gd name="connsiteX2847" fmla="*/ 2401 w 10354"/>
                  <a:gd name="connsiteY2847" fmla="*/ 7650 h 10000"/>
                  <a:gd name="connsiteX2848" fmla="*/ 2401 w 10354"/>
                  <a:gd name="connsiteY2848" fmla="*/ 7624 h 10000"/>
                  <a:gd name="connsiteX2849" fmla="*/ 2419 w 10354"/>
                  <a:gd name="connsiteY2849" fmla="*/ 7624 h 10000"/>
                  <a:gd name="connsiteX2850" fmla="*/ 2433 w 10354"/>
                  <a:gd name="connsiteY2850" fmla="*/ 7615 h 10000"/>
                  <a:gd name="connsiteX2851" fmla="*/ 2442 w 10354"/>
                  <a:gd name="connsiteY2851" fmla="*/ 7615 h 10000"/>
                  <a:gd name="connsiteX2852" fmla="*/ 2447 w 10354"/>
                  <a:gd name="connsiteY2852" fmla="*/ 7598 h 10000"/>
                  <a:gd name="connsiteX2853" fmla="*/ 2461 w 10354"/>
                  <a:gd name="connsiteY2853" fmla="*/ 7598 h 10000"/>
                  <a:gd name="connsiteX2854" fmla="*/ 2465 w 10354"/>
                  <a:gd name="connsiteY2854" fmla="*/ 7615 h 10000"/>
                  <a:gd name="connsiteX2855" fmla="*/ 2479 w 10354"/>
                  <a:gd name="connsiteY2855" fmla="*/ 7564 h 10000"/>
                  <a:gd name="connsiteX2856" fmla="*/ 2488 w 10354"/>
                  <a:gd name="connsiteY2856" fmla="*/ 7556 h 10000"/>
                  <a:gd name="connsiteX2857" fmla="*/ 2493 w 10354"/>
                  <a:gd name="connsiteY2857" fmla="*/ 7556 h 10000"/>
                  <a:gd name="connsiteX2858" fmla="*/ 2507 w 10354"/>
                  <a:gd name="connsiteY2858" fmla="*/ 7556 h 10000"/>
                  <a:gd name="connsiteX2859" fmla="*/ 2530 w 10354"/>
                  <a:gd name="connsiteY2859" fmla="*/ 7538 h 10000"/>
                  <a:gd name="connsiteX2860" fmla="*/ 2530 w 10354"/>
                  <a:gd name="connsiteY2860" fmla="*/ 7556 h 10000"/>
                  <a:gd name="connsiteX2861" fmla="*/ 2641 w 10354"/>
                  <a:gd name="connsiteY2861" fmla="*/ 7504 h 10000"/>
                  <a:gd name="connsiteX2862" fmla="*/ 2654 w 10354"/>
                  <a:gd name="connsiteY2862" fmla="*/ 7487 h 10000"/>
                  <a:gd name="connsiteX2863" fmla="*/ 2664 w 10354"/>
                  <a:gd name="connsiteY2863" fmla="*/ 7487 h 10000"/>
                  <a:gd name="connsiteX2864" fmla="*/ 2668 w 10354"/>
                  <a:gd name="connsiteY2864" fmla="*/ 7479 h 10000"/>
                  <a:gd name="connsiteX2865" fmla="*/ 2673 w 10354"/>
                  <a:gd name="connsiteY2865" fmla="*/ 7462 h 10000"/>
                  <a:gd name="connsiteX2866" fmla="*/ 2673 w 10354"/>
                  <a:gd name="connsiteY2866" fmla="*/ 7427 h 10000"/>
                  <a:gd name="connsiteX2867" fmla="*/ 2687 w 10354"/>
                  <a:gd name="connsiteY2867" fmla="*/ 7436 h 10000"/>
                  <a:gd name="connsiteX2868" fmla="*/ 2696 w 10354"/>
                  <a:gd name="connsiteY2868" fmla="*/ 7427 h 10000"/>
                  <a:gd name="connsiteX2869" fmla="*/ 2700 w 10354"/>
                  <a:gd name="connsiteY2869" fmla="*/ 7419 h 10000"/>
                  <a:gd name="connsiteX2870" fmla="*/ 2710 w 10354"/>
                  <a:gd name="connsiteY2870" fmla="*/ 7402 h 10000"/>
                  <a:gd name="connsiteX2871" fmla="*/ 2724 w 10354"/>
                  <a:gd name="connsiteY2871" fmla="*/ 7402 h 10000"/>
                  <a:gd name="connsiteX2872" fmla="*/ 2724 w 10354"/>
                  <a:gd name="connsiteY2872" fmla="*/ 7393 h 10000"/>
                  <a:gd name="connsiteX2873" fmla="*/ 2737 w 10354"/>
                  <a:gd name="connsiteY2873" fmla="*/ 7393 h 10000"/>
                  <a:gd name="connsiteX2874" fmla="*/ 2742 w 10354"/>
                  <a:gd name="connsiteY2874" fmla="*/ 7402 h 10000"/>
                  <a:gd name="connsiteX2875" fmla="*/ 2747 w 10354"/>
                  <a:gd name="connsiteY2875" fmla="*/ 7402 h 10000"/>
                  <a:gd name="connsiteX2876" fmla="*/ 2760 w 10354"/>
                  <a:gd name="connsiteY2876" fmla="*/ 7402 h 10000"/>
                  <a:gd name="connsiteX2877" fmla="*/ 2770 w 10354"/>
                  <a:gd name="connsiteY2877" fmla="*/ 7402 h 10000"/>
                  <a:gd name="connsiteX2878" fmla="*/ 2774 w 10354"/>
                  <a:gd name="connsiteY2878" fmla="*/ 7402 h 10000"/>
                  <a:gd name="connsiteX2879" fmla="*/ 2783 w 10354"/>
                  <a:gd name="connsiteY2879" fmla="*/ 7419 h 10000"/>
                  <a:gd name="connsiteX2880" fmla="*/ 2802 w 10354"/>
                  <a:gd name="connsiteY2880" fmla="*/ 7436 h 10000"/>
                  <a:gd name="connsiteX2881" fmla="*/ 2816 w 10354"/>
                  <a:gd name="connsiteY2881" fmla="*/ 7419 h 10000"/>
                  <a:gd name="connsiteX2882" fmla="*/ 2834 w 10354"/>
                  <a:gd name="connsiteY2882" fmla="*/ 7419 h 10000"/>
                  <a:gd name="connsiteX2883" fmla="*/ 2843 w 10354"/>
                  <a:gd name="connsiteY2883" fmla="*/ 7419 h 10000"/>
                  <a:gd name="connsiteX2884" fmla="*/ 2848 w 10354"/>
                  <a:gd name="connsiteY2884" fmla="*/ 7436 h 10000"/>
                  <a:gd name="connsiteX2885" fmla="*/ 2857 w 10354"/>
                  <a:gd name="connsiteY2885" fmla="*/ 7453 h 10000"/>
                  <a:gd name="connsiteX2886" fmla="*/ 2857 w 10354"/>
                  <a:gd name="connsiteY2886" fmla="*/ 7504 h 10000"/>
                  <a:gd name="connsiteX2887" fmla="*/ 2862 w 10354"/>
                  <a:gd name="connsiteY2887" fmla="*/ 7530 h 10000"/>
                  <a:gd name="connsiteX2888" fmla="*/ 2876 w 10354"/>
                  <a:gd name="connsiteY2888" fmla="*/ 7538 h 10000"/>
                  <a:gd name="connsiteX2889" fmla="*/ 2871 w 10354"/>
                  <a:gd name="connsiteY2889" fmla="*/ 7564 h 10000"/>
                  <a:gd name="connsiteX2890" fmla="*/ 2871 w 10354"/>
                  <a:gd name="connsiteY2890" fmla="*/ 7598 h 10000"/>
                  <a:gd name="connsiteX2891" fmla="*/ 2857 w 10354"/>
                  <a:gd name="connsiteY2891" fmla="*/ 7624 h 10000"/>
                  <a:gd name="connsiteX2892" fmla="*/ 2862 w 10354"/>
                  <a:gd name="connsiteY2892" fmla="*/ 7641 h 10000"/>
                  <a:gd name="connsiteX2893" fmla="*/ 2871 w 10354"/>
                  <a:gd name="connsiteY2893" fmla="*/ 7667 h 10000"/>
                  <a:gd name="connsiteX2894" fmla="*/ 2880 w 10354"/>
                  <a:gd name="connsiteY2894" fmla="*/ 7650 h 10000"/>
                  <a:gd name="connsiteX2895" fmla="*/ 2894 w 10354"/>
                  <a:gd name="connsiteY2895" fmla="*/ 7667 h 10000"/>
                  <a:gd name="connsiteX2896" fmla="*/ 2903 w 10354"/>
                  <a:gd name="connsiteY2896" fmla="*/ 7667 h 10000"/>
                  <a:gd name="connsiteX2897" fmla="*/ 2908 w 10354"/>
                  <a:gd name="connsiteY2897" fmla="*/ 7641 h 10000"/>
                  <a:gd name="connsiteX2898" fmla="*/ 2917 w 10354"/>
                  <a:gd name="connsiteY2898" fmla="*/ 7641 h 10000"/>
                  <a:gd name="connsiteX2899" fmla="*/ 2922 w 10354"/>
                  <a:gd name="connsiteY2899" fmla="*/ 7641 h 10000"/>
                  <a:gd name="connsiteX2900" fmla="*/ 2931 w 10354"/>
                  <a:gd name="connsiteY2900" fmla="*/ 7615 h 10000"/>
                  <a:gd name="connsiteX2901" fmla="*/ 2935 w 10354"/>
                  <a:gd name="connsiteY2901" fmla="*/ 7615 h 10000"/>
                  <a:gd name="connsiteX2902" fmla="*/ 2945 w 10354"/>
                  <a:gd name="connsiteY2902" fmla="*/ 7650 h 10000"/>
                  <a:gd name="connsiteX2903" fmla="*/ 2949 w 10354"/>
                  <a:gd name="connsiteY2903" fmla="*/ 7667 h 10000"/>
                  <a:gd name="connsiteX2904" fmla="*/ 2949 w 10354"/>
                  <a:gd name="connsiteY2904" fmla="*/ 7675 h 10000"/>
                  <a:gd name="connsiteX2905" fmla="*/ 2945 w 10354"/>
                  <a:gd name="connsiteY2905" fmla="*/ 7692 h 10000"/>
                  <a:gd name="connsiteX2906" fmla="*/ 2963 w 10354"/>
                  <a:gd name="connsiteY2906" fmla="*/ 7701 h 10000"/>
                  <a:gd name="connsiteX2907" fmla="*/ 2963 w 10354"/>
                  <a:gd name="connsiteY2907" fmla="*/ 7675 h 10000"/>
                  <a:gd name="connsiteX2908" fmla="*/ 2954 w 10354"/>
                  <a:gd name="connsiteY2908" fmla="*/ 7667 h 10000"/>
                  <a:gd name="connsiteX2909" fmla="*/ 2963 w 10354"/>
                  <a:gd name="connsiteY2909" fmla="*/ 7667 h 10000"/>
                  <a:gd name="connsiteX2910" fmla="*/ 2982 w 10354"/>
                  <a:gd name="connsiteY2910" fmla="*/ 7667 h 10000"/>
                  <a:gd name="connsiteX2911" fmla="*/ 2991 w 10354"/>
                  <a:gd name="connsiteY2911" fmla="*/ 7675 h 10000"/>
                  <a:gd name="connsiteX2912" fmla="*/ 2995 w 10354"/>
                  <a:gd name="connsiteY2912" fmla="*/ 7692 h 10000"/>
                  <a:gd name="connsiteX2913" fmla="*/ 3009 w 10354"/>
                  <a:gd name="connsiteY2913" fmla="*/ 7701 h 10000"/>
                  <a:gd name="connsiteX2914" fmla="*/ 3018 w 10354"/>
                  <a:gd name="connsiteY2914" fmla="*/ 7701 h 10000"/>
                  <a:gd name="connsiteX2915" fmla="*/ 3023 w 10354"/>
                  <a:gd name="connsiteY2915" fmla="*/ 7692 h 10000"/>
                  <a:gd name="connsiteX2916" fmla="*/ 3028 w 10354"/>
                  <a:gd name="connsiteY2916" fmla="*/ 7675 h 10000"/>
                  <a:gd name="connsiteX2917" fmla="*/ 3037 w 10354"/>
                  <a:gd name="connsiteY2917" fmla="*/ 7692 h 10000"/>
                  <a:gd name="connsiteX2918" fmla="*/ 3028 w 10354"/>
                  <a:gd name="connsiteY2918" fmla="*/ 7709 h 10000"/>
                  <a:gd name="connsiteX2919" fmla="*/ 3023 w 10354"/>
                  <a:gd name="connsiteY2919" fmla="*/ 7709 h 10000"/>
                  <a:gd name="connsiteX2920" fmla="*/ 3018 w 10354"/>
                  <a:gd name="connsiteY2920" fmla="*/ 7726 h 10000"/>
                  <a:gd name="connsiteX2921" fmla="*/ 3009 w 10354"/>
                  <a:gd name="connsiteY2921" fmla="*/ 7735 h 10000"/>
                  <a:gd name="connsiteX2922" fmla="*/ 3009 w 10354"/>
                  <a:gd name="connsiteY2922" fmla="*/ 7761 h 10000"/>
                  <a:gd name="connsiteX2923" fmla="*/ 3009 w 10354"/>
                  <a:gd name="connsiteY2923" fmla="*/ 7778 h 10000"/>
                  <a:gd name="connsiteX2924" fmla="*/ 3018 w 10354"/>
                  <a:gd name="connsiteY2924" fmla="*/ 7786 h 10000"/>
                  <a:gd name="connsiteX2925" fmla="*/ 3023 w 10354"/>
                  <a:gd name="connsiteY2925" fmla="*/ 7786 h 10000"/>
                  <a:gd name="connsiteX2926" fmla="*/ 3028 w 10354"/>
                  <a:gd name="connsiteY2926" fmla="*/ 7778 h 10000"/>
                  <a:gd name="connsiteX2927" fmla="*/ 3051 w 10354"/>
                  <a:gd name="connsiteY2927" fmla="*/ 7761 h 10000"/>
                  <a:gd name="connsiteX2928" fmla="*/ 3055 w 10354"/>
                  <a:gd name="connsiteY2928" fmla="*/ 7778 h 10000"/>
                  <a:gd name="connsiteX2929" fmla="*/ 3065 w 10354"/>
                  <a:gd name="connsiteY2929" fmla="*/ 7761 h 10000"/>
                  <a:gd name="connsiteX2930" fmla="*/ 3069 w 10354"/>
                  <a:gd name="connsiteY2930" fmla="*/ 7786 h 10000"/>
                  <a:gd name="connsiteX2931" fmla="*/ 3083 w 10354"/>
                  <a:gd name="connsiteY2931" fmla="*/ 7786 h 10000"/>
                  <a:gd name="connsiteX2932" fmla="*/ 3078 w 10354"/>
                  <a:gd name="connsiteY2932" fmla="*/ 7761 h 10000"/>
                  <a:gd name="connsiteX2933" fmla="*/ 3083 w 10354"/>
                  <a:gd name="connsiteY2933" fmla="*/ 7752 h 10000"/>
                  <a:gd name="connsiteX2934" fmla="*/ 3097 w 10354"/>
                  <a:gd name="connsiteY2934" fmla="*/ 7752 h 10000"/>
                  <a:gd name="connsiteX2935" fmla="*/ 3111 w 10354"/>
                  <a:gd name="connsiteY2935" fmla="*/ 7726 h 10000"/>
                  <a:gd name="connsiteX2936" fmla="*/ 3124 w 10354"/>
                  <a:gd name="connsiteY2936" fmla="*/ 7709 h 10000"/>
                  <a:gd name="connsiteX2937" fmla="*/ 3143 w 10354"/>
                  <a:gd name="connsiteY2937" fmla="*/ 7692 h 10000"/>
                  <a:gd name="connsiteX2938" fmla="*/ 3152 w 10354"/>
                  <a:gd name="connsiteY2938" fmla="*/ 7667 h 10000"/>
                  <a:gd name="connsiteX2939" fmla="*/ 3157 w 10354"/>
                  <a:gd name="connsiteY2939" fmla="*/ 7650 h 10000"/>
                  <a:gd name="connsiteX2940" fmla="*/ 3161 w 10354"/>
                  <a:gd name="connsiteY2940" fmla="*/ 7650 h 10000"/>
                  <a:gd name="connsiteX2941" fmla="*/ 3189 w 10354"/>
                  <a:gd name="connsiteY2941" fmla="*/ 7641 h 10000"/>
                  <a:gd name="connsiteX2942" fmla="*/ 3198 w 10354"/>
                  <a:gd name="connsiteY2942" fmla="*/ 7624 h 10000"/>
                  <a:gd name="connsiteX2943" fmla="*/ 3217 w 10354"/>
                  <a:gd name="connsiteY2943" fmla="*/ 7615 h 10000"/>
                  <a:gd name="connsiteX2944" fmla="*/ 3235 w 10354"/>
                  <a:gd name="connsiteY2944" fmla="*/ 7598 h 10000"/>
                  <a:gd name="connsiteX2945" fmla="*/ 3235 w 10354"/>
                  <a:gd name="connsiteY2945" fmla="*/ 7615 h 10000"/>
                  <a:gd name="connsiteX2946" fmla="*/ 3235 w 10354"/>
                  <a:gd name="connsiteY2946" fmla="*/ 7641 h 10000"/>
                  <a:gd name="connsiteX2947" fmla="*/ 3235 w 10354"/>
                  <a:gd name="connsiteY2947" fmla="*/ 7650 h 10000"/>
                  <a:gd name="connsiteX2948" fmla="*/ 3226 w 10354"/>
                  <a:gd name="connsiteY2948" fmla="*/ 7650 h 10000"/>
                  <a:gd name="connsiteX2949" fmla="*/ 3217 w 10354"/>
                  <a:gd name="connsiteY2949" fmla="*/ 7650 h 10000"/>
                  <a:gd name="connsiteX2950" fmla="*/ 3212 w 10354"/>
                  <a:gd name="connsiteY2950" fmla="*/ 7675 h 10000"/>
                  <a:gd name="connsiteX2951" fmla="*/ 3212 w 10354"/>
                  <a:gd name="connsiteY2951" fmla="*/ 7675 h 10000"/>
                  <a:gd name="connsiteX0" fmla="*/ 3212 w 10354"/>
                  <a:gd name="connsiteY0" fmla="*/ 7675 h 10000"/>
                  <a:gd name="connsiteX1" fmla="*/ 3217 w 10354"/>
                  <a:gd name="connsiteY1" fmla="*/ 7692 h 10000"/>
                  <a:gd name="connsiteX2" fmla="*/ 3226 w 10354"/>
                  <a:gd name="connsiteY2" fmla="*/ 7692 h 10000"/>
                  <a:gd name="connsiteX3" fmla="*/ 3309 w 10354"/>
                  <a:gd name="connsiteY3" fmla="*/ 7838 h 10000"/>
                  <a:gd name="connsiteX4" fmla="*/ 3452 w 10354"/>
                  <a:gd name="connsiteY4" fmla="*/ 8325 h 10000"/>
                  <a:gd name="connsiteX5" fmla="*/ 3470 w 10354"/>
                  <a:gd name="connsiteY5" fmla="*/ 8299 h 10000"/>
                  <a:gd name="connsiteX6" fmla="*/ 3470 w 10354"/>
                  <a:gd name="connsiteY6" fmla="*/ 8282 h 10000"/>
                  <a:gd name="connsiteX7" fmla="*/ 3470 w 10354"/>
                  <a:gd name="connsiteY7" fmla="*/ 8274 h 10000"/>
                  <a:gd name="connsiteX8" fmla="*/ 3484 w 10354"/>
                  <a:gd name="connsiteY8" fmla="*/ 8231 h 10000"/>
                  <a:gd name="connsiteX9" fmla="*/ 3498 w 10354"/>
                  <a:gd name="connsiteY9" fmla="*/ 8231 h 10000"/>
                  <a:gd name="connsiteX10" fmla="*/ 3498 w 10354"/>
                  <a:gd name="connsiteY10" fmla="*/ 8248 h 10000"/>
                  <a:gd name="connsiteX11" fmla="*/ 3512 w 10354"/>
                  <a:gd name="connsiteY11" fmla="*/ 8256 h 10000"/>
                  <a:gd name="connsiteX12" fmla="*/ 3525 w 10354"/>
                  <a:gd name="connsiteY12" fmla="*/ 8274 h 10000"/>
                  <a:gd name="connsiteX13" fmla="*/ 3525 w 10354"/>
                  <a:gd name="connsiteY13" fmla="*/ 8282 h 10000"/>
                  <a:gd name="connsiteX14" fmla="*/ 3525 w 10354"/>
                  <a:gd name="connsiteY14" fmla="*/ 8308 h 10000"/>
                  <a:gd name="connsiteX15" fmla="*/ 3530 w 10354"/>
                  <a:gd name="connsiteY15" fmla="*/ 8308 h 10000"/>
                  <a:gd name="connsiteX16" fmla="*/ 3539 w 10354"/>
                  <a:gd name="connsiteY16" fmla="*/ 8333 h 10000"/>
                  <a:gd name="connsiteX17" fmla="*/ 3571 w 10354"/>
                  <a:gd name="connsiteY17" fmla="*/ 8333 h 10000"/>
                  <a:gd name="connsiteX18" fmla="*/ 3590 w 10354"/>
                  <a:gd name="connsiteY18" fmla="*/ 8350 h 10000"/>
                  <a:gd name="connsiteX19" fmla="*/ 3599 w 10354"/>
                  <a:gd name="connsiteY19" fmla="*/ 8333 h 10000"/>
                  <a:gd name="connsiteX20" fmla="*/ 3618 w 10354"/>
                  <a:gd name="connsiteY20" fmla="*/ 8333 h 10000"/>
                  <a:gd name="connsiteX21" fmla="*/ 3618 w 10354"/>
                  <a:gd name="connsiteY21" fmla="*/ 8325 h 10000"/>
                  <a:gd name="connsiteX22" fmla="*/ 3627 w 10354"/>
                  <a:gd name="connsiteY22" fmla="*/ 8308 h 10000"/>
                  <a:gd name="connsiteX23" fmla="*/ 3641 w 10354"/>
                  <a:gd name="connsiteY23" fmla="*/ 8308 h 10000"/>
                  <a:gd name="connsiteX24" fmla="*/ 3645 w 10354"/>
                  <a:gd name="connsiteY24" fmla="*/ 8308 h 10000"/>
                  <a:gd name="connsiteX25" fmla="*/ 3650 w 10354"/>
                  <a:gd name="connsiteY25" fmla="*/ 8299 h 10000"/>
                  <a:gd name="connsiteX26" fmla="*/ 3659 w 10354"/>
                  <a:gd name="connsiteY26" fmla="*/ 8282 h 10000"/>
                  <a:gd name="connsiteX27" fmla="*/ 3677 w 10354"/>
                  <a:gd name="connsiteY27" fmla="*/ 8299 h 10000"/>
                  <a:gd name="connsiteX28" fmla="*/ 3687 w 10354"/>
                  <a:gd name="connsiteY28" fmla="*/ 8299 h 10000"/>
                  <a:gd name="connsiteX29" fmla="*/ 3691 w 10354"/>
                  <a:gd name="connsiteY29" fmla="*/ 8325 h 10000"/>
                  <a:gd name="connsiteX30" fmla="*/ 3700 w 10354"/>
                  <a:gd name="connsiteY30" fmla="*/ 8325 h 10000"/>
                  <a:gd name="connsiteX31" fmla="*/ 3714 w 10354"/>
                  <a:gd name="connsiteY31" fmla="*/ 8359 h 10000"/>
                  <a:gd name="connsiteX32" fmla="*/ 3719 w 10354"/>
                  <a:gd name="connsiteY32" fmla="*/ 8359 h 10000"/>
                  <a:gd name="connsiteX33" fmla="*/ 3724 w 10354"/>
                  <a:gd name="connsiteY33" fmla="*/ 8368 h 10000"/>
                  <a:gd name="connsiteX34" fmla="*/ 3719 w 10354"/>
                  <a:gd name="connsiteY34" fmla="*/ 8393 h 10000"/>
                  <a:gd name="connsiteX35" fmla="*/ 3724 w 10354"/>
                  <a:gd name="connsiteY35" fmla="*/ 8410 h 10000"/>
                  <a:gd name="connsiteX36" fmla="*/ 3724 w 10354"/>
                  <a:gd name="connsiteY36" fmla="*/ 8436 h 10000"/>
                  <a:gd name="connsiteX37" fmla="*/ 3737 w 10354"/>
                  <a:gd name="connsiteY37" fmla="*/ 8436 h 10000"/>
                  <a:gd name="connsiteX38" fmla="*/ 3765 w 10354"/>
                  <a:gd name="connsiteY38" fmla="*/ 8462 h 10000"/>
                  <a:gd name="connsiteX39" fmla="*/ 3765 w 10354"/>
                  <a:gd name="connsiteY39" fmla="*/ 8470 h 10000"/>
                  <a:gd name="connsiteX40" fmla="*/ 3765 w 10354"/>
                  <a:gd name="connsiteY40" fmla="*/ 8496 h 10000"/>
                  <a:gd name="connsiteX41" fmla="*/ 3774 w 10354"/>
                  <a:gd name="connsiteY41" fmla="*/ 8496 h 10000"/>
                  <a:gd name="connsiteX42" fmla="*/ 3779 w 10354"/>
                  <a:gd name="connsiteY42" fmla="*/ 8504 h 10000"/>
                  <a:gd name="connsiteX43" fmla="*/ 3793 w 10354"/>
                  <a:gd name="connsiteY43" fmla="*/ 8547 h 10000"/>
                  <a:gd name="connsiteX44" fmla="*/ 3797 w 10354"/>
                  <a:gd name="connsiteY44" fmla="*/ 8547 h 10000"/>
                  <a:gd name="connsiteX45" fmla="*/ 3820 w 10354"/>
                  <a:gd name="connsiteY45" fmla="*/ 8556 h 10000"/>
                  <a:gd name="connsiteX46" fmla="*/ 3834 w 10354"/>
                  <a:gd name="connsiteY46" fmla="*/ 8573 h 10000"/>
                  <a:gd name="connsiteX47" fmla="*/ 3853 w 10354"/>
                  <a:gd name="connsiteY47" fmla="*/ 8573 h 10000"/>
                  <a:gd name="connsiteX48" fmla="*/ 3857 w 10354"/>
                  <a:gd name="connsiteY48" fmla="*/ 8556 h 10000"/>
                  <a:gd name="connsiteX49" fmla="*/ 3866 w 10354"/>
                  <a:gd name="connsiteY49" fmla="*/ 8547 h 10000"/>
                  <a:gd name="connsiteX50" fmla="*/ 3880 w 10354"/>
                  <a:gd name="connsiteY50" fmla="*/ 8530 h 10000"/>
                  <a:gd name="connsiteX51" fmla="*/ 3885 w 10354"/>
                  <a:gd name="connsiteY51" fmla="*/ 8547 h 10000"/>
                  <a:gd name="connsiteX52" fmla="*/ 3885 w 10354"/>
                  <a:gd name="connsiteY52" fmla="*/ 8573 h 10000"/>
                  <a:gd name="connsiteX53" fmla="*/ 3899 w 10354"/>
                  <a:gd name="connsiteY53" fmla="*/ 8573 h 10000"/>
                  <a:gd name="connsiteX54" fmla="*/ 3908 w 10354"/>
                  <a:gd name="connsiteY54" fmla="*/ 8607 h 10000"/>
                  <a:gd name="connsiteX55" fmla="*/ 3912 w 10354"/>
                  <a:gd name="connsiteY55" fmla="*/ 8615 h 10000"/>
                  <a:gd name="connsiteX56" fmla="*/ 3922 w 10354"/>
                  <a:gd name="connsiteY56" fmla="*/ 8632 h 10000"/>
                  <a:gd name="connsiteX57" fmla="*/ 3908 w 10354"/>
                  <a:gd name="connsiteY57" fmla="*/ 8692 h 10000"/>
                  <a:gd name="connsiteX58" fmla="*/ 3908 w 10354"/>
                  <a:gd name="connsiteY58" fmla="*/ 8692 h 10000"/>
                  <a:gd name="connsiteX59" fmla="*/ 3931 w 10354"/>
                  <a:gd name="connsiteY59" fmla="*/ 8709 h 10000"/>
                  <a:gd name="connsiteX60" fmla="*/ 3954 w 10354"/>
                  <a:gd name="connsiteY60" fmla="*/ 8667 h 10000"/>
                  <a:gd name="connsiteX61" fmla="*/ 3959 w 10354"/>
                  <a:gd name="connsiteY61" fmla="*/ 8667 h 10000"/>
                  <a:gd name="connsiteX62" fmla="*/ 3972 w 10354"/>
                  <a:gd name="connsiteY62" fmla="*/ 8615 h 10000"/>
                  <a:gd name="connsiteX63" fmla="*/ 3995 w 10354"/>
                  <a:gd name="connsiteY63" fmla="*/ 8581 h 10000"/>
                  <a:gd name="connsiteX64" fmla="*/ 4032 w 10354"/>
                  <a:gd name="connsiteY64" fmla="*/ 8556 h 10000"/>
                  <a:gd name="connsiteX65" fmla="*/ 4138 w 10354"/>
                  <a:gd name="connsiteY65" fmla="*/ 8419 h 10000"/>
                  <a:gd name="connsiteX66" fmla="*/ 4249 w 10354"/>
                  <a:gd name="connsiteY66" fmla="*/ 8359 h 10000"/>
                  <a:gd name="connsiteX67" fmla="*/ 4295 w 10354"/>
                  <a:gd name="connsiteY67" fmla="*/ 8385 h 10000"/>
                  <a:gd name="connsiteX68" fmla="*/ 4309 w 10354"/>
                  <a:gd name="connsiteY68" fmla="*/ 8410 h 10000"/>
                  <a:gd name="connsiteX69" fmla="*/ 4355 w 10354"/>
                  <a:gd name="connsiteY69" fmla="*/ 8393 h 10000"/>
                  <a:gd name="connsiteX70" fmla="*/ 4382 w 10354"/>
                  <a:gd name="connsiteY70" fmla="*/ 8393 h 10000"/>
                  <a:gd name="connsiteX71" fmla="*/ 4419 w 10354"/>
                  <a:gd name="connsiteY71" fmla="*/ 8487 h 10000"/>
                  <a:gd name="connsiteX72" fmla="*/ 4442 w 10354"/>
                  <a:gd name="connsiteY72" fmla="*/ 8487 h 10000"/>
                  <a:gd name="connsiteX73" fmla="*/ 4493 w 10354"/>
                  <a:gd name="connsiteY73" fmla="*/ 8470 h 10000"/>
                  <a:gd name="connsiteX74" fmla="*/ 4516 w 10354"/>
                  <a:gd name="connsiteY74" fmla="*/ 8487 h 10000"/>
                  <a:gd name="connsiteX75" fmla="*/ 4608 w 10354"/>
                  <a:gd name="connsiteY75" fmla="*/ 8470 h 10000"/>
                  <a:gd name="connsiteX76" fmla="*/ 4622 w 10354"/>
                  <a:gd name="connsiteY76" fmla="*/ 8470 h 10000"/>
                  <a:gd name="connsiteX77" fmla="*/ 4618 w 10354"/>
                  <a:gd name="connsiteY77" fmla="*/ 8419 h 10000"/>
                  <a:gd name="connsiteX78" fmla="*/ 4622 w 10354"/>
                  <a:gd name="connsiteY78" fmla="*/ 8385 h 10000"/>
                  <a:gd name="connsiteX79" fmla="*/ 4636 w 10354"/>
                  <a:gd name="connsiteY79" fmla="*/ 8350 h 10000"/>
                  <a:gd name="connsiteX80" fmla="*/ 4636 w 10354"/>
                  <a:gd name="connsiteY80" fmla="*/ 8325 h 10000"/>
                  <a:gd name="connsiteX81" fmla="*/ 4622 w 10354"/>
                  <a:gd name="connsiteY81" fmla="*/ 8282 h 10000"/>
                  <a:gd name="connsiteX82" fmla="*/ 4618 w 10354"/>
                  <a:gd name="connsiteY82" fmla="*/ 8248 h 10000"/>
                  <a:gd name="connsiteX83" fmla="*/ 4618 w 10354"/>
                  <a:gd name="connsiteY83" fmla="*/ 8214 h 10000"/>
                  <a:gd name="connsiteX84" fmla="*/ 4691 w 10354"/>
                  <a:gd name="connsiteY84" fmla="*/ 8077 h 10000"/>
                  <a:gd name="connsiteX85" fmla="*/ 4700 w 10354"/>
                  <a:gd name="connsiteY85" fmla="*/ 8060 h 10000"/>
                  <a:gd name="connsiteX86" fmla="*/ 4728 w 10354"/>
                  <a:gd name="connsiteY86" fmla="*/ 8077 h 10000"/>
                  <a:gd name="connsiteX87" fmla="*/ 4751 w 10354"/>
                  <a:gd name="connsiteY87" fmla="*/ 8094 h 10000"/>
                  <a:gd name="connsiteX88" fmla="*/ 4788 w 10354"/>
                  <a:gd name="connsiteY88" fmla="*/ 8120 h 10000"/>
                  <a:gd name="connsiteX89" fmla="*/ 4802 w 10354"/>
                  <a:gd name="connsiteY89" fmla="*/ 8162 h 10000"/>
                  <a:gd name="connsiteX90" fmla="*/ 4885 w 10354"/>
                  <a:gd name="connsiteY90" fmla="*/ 8197 h 10000"/>
                  <a:gd name="connsiteX91" fmla="*/ 4889 w 10354"/>
                  <a:gd name="connsiteY91" fmla="*/ 8231 h 10000"/>
                  <a:gd name="connsiteX92" fmla="*/ 4899 w 10354"/>
                  <a:gd name="connsiteY92" fmla="*/ 8333 h 10000"/>
                  <a:gd name="connsiteX93" fmla="*/ 4903 w 10354"/>
                  <a:gd name="connsiteY93" fmla="*/ 8333 h 10000"/>
                  <a:gd name="connsiteX94" fmla="*/ 4949 w 10354"/>
                  <a:gd name="connsiteY94" fmla="*/ 8410 h 10000"/>
                  <a:gd name="connsiteX95" fmla="*/ 4991 w 10354"/>
                  <a:gd name="connsiteY95" fmla="*/ 8436 h 10000"/>
                  <a:gd name="connsiteX96" fmla="*/ 5023 w 10354"/>
                  <a:gd name="connsiteY96" fmla="*/ 8419 h 10000"/>
                  <a:gd name="connsiteX97" fmla="*/ 5092 w 10354"/>
                  <a:gd name="connsiteY97" fmla="*/ 8359 h 10000"/>
                  <a:gd name="connsiteX98" fmla="*/ 5180 w 10354"/>
                  <a:gd name="connsiteY98" fmla="*/ 8410 h 10000"/>
                  <a:gd name="connsiteX99" fmla="*/ 5189 w 10354"/>
                  <a:gd name="connsiteY99" fmla="*/ 8436 h 10000"/>
                  <a:gd name="connsiteX100" fmla="*/ 5198 w 10354"/>
                  <a:gd name="connsiteY100" fmla="*/ 8436 h 10000"/>
                  <a:gd name="connsiteX101" fmla="*/ 5226 w 10354"/>
                  <a:gd name="connsiteY101" fmla="*/ 8487 h 10000"/>
                  <a:gd name="connsiteX102" fmla="*/ 5276 w 10354"/>
                  <a:gd name="connsiteY102" fmla="*/ 8504 h 10000"/>
                  <a:gd name="connsiteX103" fmla="*/ 5290 w 10354"/>
                  <a:gd name="connsiteY103" fmla="*/ 8556 h 10000"/>
                  <a:gd name="connsiteX104" fmla="*/ 5323 w 10354"/>
                  <a:gd name="connsiteY104" fmla="*/ 8598 h 10000"/>
                  <a:gd name="connsiteX105" fmla="*/ 5447 w 10354"/>
                  <a:gd name="connsiteY105" fmla="*/ 8615 h 10000"/>
                  <a:gd name="connsiteX106" fmla="*/ 5465 w 10354"/>
                  <a:gd name="connsiteY106" fmla="*/ 8632 h 10000"/>
                  <a:gd name="connsiteX107" fmla="*/ 5604 w 10354"/>
                  <a:gd name="connsiteY107" fmla="*/ 8556 h 10000"/>
                  <a:gd name="connsiteX108" fmla="*/ 5677 w 10354"/>
                  <a:gd name="connsiteY108" fmla="*/ 8462 h 10000"/>
                  <a:gd name="connsiteX109" fmla="*/ 5705 w 10354"/>
                  <a:gd name="connsiteY109" fmla="*/ 8444 h 10000"/>
                  <a:gd name="connsiteX110" fmla="*/ 5737 w 10354"/>
                  <a:gd name="connsiteY110" fmla="*/ 8470 h 10000"/>
                  <a:gd name="connsiteX111" fmla="*/ 5760 w 10354"/>
                  <a:gd name="connsiteY111" fmla="*/ 8496 h 10000"/>
                  <a:gd name="connsiteX112" fmla="*/ 5788 w 10354"/>
                  <a:gd name="connsiteY112" fmla="*/ 8504 h 10000"/>
                  <a:gd name="connsiteX113" fmla="*/ 5806 w 10354"/>
                  <a:gd name="connsiteY113" fmla="*/ 8496 h 10000"/>
                  <a:gd name="connsiteX114" fmla="*/ 5820 w 10354"/>
                  <a:gd name="connsiteY114" fmla="*/ 8487 h 10000"/>
                  <a:gd name="connsiteX115" fmla="*/ 5825 w 10354"/>
                  <a:gd name="connsiteY115" fmla="*/ 8487 h 10000"/>
                  <a:gd name="connsiteX116" fmla="*/ 5825 w 10354"/>
                  <a:gd name="connsiteY116" fmla="*/ 8487 h 10000"/>
                  <a:gd name="connsiteX117" fmla="*/ 5926 w 10354"/>
                  <a:gd name="connsiteY117" fmla="*/ 8556 h 10000"/>
                  <a:gd name="connsiteX118" fmla="*/ 5940 w 10354"/>
                  <a:gd name="connsiteY118" fmla="*/ 8556 h 10000"/>
                  <a:gd name="connsiteX119" fmla="*/ 6014 w 10354"/>
                  <a:gd name="connsiteY119" fmla="*/ 8470 h 10000"/>
                  <a:gd name="connsiteX120" fmla="*/ 6018 w 10354"/>
                  <a:gd name="connsiteY120" fmla="*/ 8444 h 10000"/>
                  <a:gd name="connsiteX121" fmla="*/ 6014 w 10354"/>
                  <a:gd name="connsiteY121" fmla="*/ 8419 h 10000"/>
                  <a:gd name="connsiteX122" fmla="*/ 6018 w 10354"/>
                  <a:gd name="connsiteY122" fmla="*/ 8393 h 10000"/>
                  <a:gd name="connsiteX123" fmla="*/ 6041 w 10354"/>
                  <a:gd name="connsiteY123" fmla="*/ 8333 h 10000"/>
                  <a:gd name="connsiteX124" fmla="*/ 6069 w 10354"/>
                  <a:gd name="connsiteY124" fmla="*/ 8188 h 10000"/>
                  <a:gd name="connsiteX125" fmla="*/ 6088 w 10354"/>
                  <a:gd name="connsiteY125" fmla="*/ 8162 h 10000"/>
                  <a:gd name="connsiteX126" fmla="*/ 6115 w 10354"/>
                  <a:gd name="connsiteY126" fmla="*/ 8094 h 10000"/>
                  <a:gd name="connsiteX127" fmla="*/ 6115 w 10354"/>
                  <a:gd name="connsiteY127" fmla="*/ 8094 h 10000"/>
                  <a:gd name="connsiteX128" fmla="*/ 6106 w 10354"/>
                  <a:gd name="connsiteY128" fmla="*/ 8077 h 10000"/>
                  <a:gd name="connsiteX129" fmla="*/ 6106 w 10354"/>
                  <a:gd name="connsiteY129" fmla="*/ 8009 h 10000"/>
                  <a:gd name="connsiteX130" fmla="*/ 6101 w 10354"/>
                  <a:gd name="connsiteY130" fmla="*/ 8000 h 10000"/>
                  <a:gd name="connsiteX131" fmla="*/ 6069 w 10354"/>
                  <a:gd name="connsiteY131" fmla="*/ 8009 h 10000"/>
                  <a:gd name="connsiteX132" fmla="*/ 6069 w 10354"/>
                  <a:gd name="connsiteY132" fmla="*/ 8000 h 10000"/>
                  <a:gd name="connsiteX133" fmla="*/ 6069 w 10354"/>
                  <a:gd name="connsiteY133" fmla="*/ 7974 h 10000"/>
                  <a:gd name="connsiteX134" fmla="*/ 6101 w 10354"/>
                  <a:gd name="connsiteY134" fmla="*/ 7923 h 10000"/>
                  <a:gd name="connsiteX135" fmla="*/ 6106 w 10354"/>
                  <a:gd name="connsiteY135" fmla="*/ 7889 h 10000"/>
                  <a:gd name="connsiteX136" fmla="*/ 6129 w 10354"/>
                  <a:gd name="connsiteY136" fmla="*/ 7863 h 10000"/>
                  <a:gd name="connsiteX137" fmla="*/ 6300 w 10354"/>
                  <a:gd name="connsiteY137" fmla="*/ 7812 h 10000"/>
                  <a:gd name="connsiteX138" fmla="*/ 6359 w 10354"/>
                  <a:gd name="connsiteY138" fmla="*/ 7872 h 10000"/>
                  <a:gd name="connsiteX139" fmla="*/ 6373 w 10354"/>
                  <a:gd name="connsiteY139" fmla="*/ 7889 h 10000"/>
                  <a:gd name="connsiteX140" fmla="*/ 6401 w 10354"/>
                  <a:gd name="connsiteY140" fmla="*/ 7889 h 10000"/>
                  <a:gd name="connsiteX141" fmla="*/ 6433 w 10354"/>
                  <a:gd name="connsiteY141" fmla="*/ 7915 h 10000"/>
                  <a:gd name="connsiteX142" fmla="*/ 6461 w 10354"/>
                  <a:gd name="connsiteY142" fmla="*/ 7974 h 10000"/>
                  <a:gd name="connsiteX143" fmla="*/ 6461 w 10354"/>
                  <a:gd name="connsiteY143" fmla="*/ 8000 h 10000"/>
                  <a:gd name="connsiteX144" fmla="*/ 6484 w 10354"/>
                  <a:gd name="connsiteY144" fmla="*/ 8034 h 10000"/>
                  <a:gd name="connsiteX145" fmla="*/ 6484 w 10354"/>
                  <a:gd name="connsiteY145" fmla="*/ 8051 h 10000"/>
                  <a:gd name="connsiteX146" fmla="*/ 6484 w 10354"/>
                  <a:gd name="connsiteY146" fmla="*/ 8034 h 10000"/>
                  <a:gd name="connsiteX147" fmla="*/ 6558 w 10354"/>
                  <a:gd name="connsiteY147" fmla="*/ 8444 h 10000"/>
                  <a:gd name="connsiteX148" fmla="*/ 6558 w 10354"/>
                  <a:gd name="connsiteY148" fmla="*/ 8462 h 10000"/>
                  <a:gd name="connsiteX149" fmla="*/ 6558 w 10354"/>
                  <a:gd name="connsiteY149" fmla="*/ 8462 h 10000"/>
                  <a:gd name="connsiteX150" fmla="*/ 6562 w 10354"/>
                  <a:gd name="connsiteY150" fmla="*/ 8547 h 10000"/>
                  <a:gd name="connsiteX151" fmla="*/ 6576 w 10354"/>
                  <a:gd name="connsiteY151" fmla="*/ 8573 h 10000"/>
                  <a:gd name="connsiteX152" fmla="*/ 6604 w 10354"/>
                  <a:gd name="connsiteY152" fmla="*/ 8581 h 10000"/>
                  <a:gd name="connsiteX153" fmla="*/ 6631 w 10354"/>
                  <a:gd name="connsiteY153" fmla="*/ 8556 h 10000"/>
                  <a:gd name="connsiteX154" fmla="*/ 6691 w 10354"/>
                  <a:gd name="connsiteY154" fmla="*/ 8607 h 10000"/>
                  <a:gd name="connsiteX155" fmla="*/ 6728 w 10354"/>
                  <a:gd name="connsiteY155" fmla="*/ 8667 h 10000"/>
                  <a:gd name="connsiteX156" fmla="*/ 6742 w 10354"/>
                  <a:gd name="connsiteY156" fmla="*/ 8684 h 10000"/>
                  <a:gd name="connsiteX157" fmla="*/ 6765 w 10354"/>
                  <a:gd name="connsiteY157" fmla="*/ 8684 h 10000"/>
                  <a:gd name="connsiteX158" fmla="*/ 6765 w 10354"/>
                  <a:gd name="connsiteY158" fmla="*/ 8709 h 10000"/>
                  <a:gd name="connsiteX159" fmla="*/ 6765 w 10354"/>
                  <a:gd name="connsiteY159" fmla="*/ 8709 h 10000"/>
                  <a:gd name="connsiteX160" fmla="*/ 6770 w 10354"/>
                  <a:gd name="connsiteY160" fmla="*/ 8709 h 10000"/>
                  <a:gd name="connsiteX161" fmla="*/ 6770 w 10354"/>
                  <a:gd name="connsiteY161" fmla="*/ 8744 h 10000"/>
                  <a:gd name="connsiteX162" fmla="*/ 6779 w 10354"/>
                  <a:gd name="connsiteY162" fmla="*/ 8769 h 10000"/>
                  <a:gd name="connsiteX163" fmla="*/ 6779 w 10354"/>
                  <a:gd name="connsiteY163" fmla="*/ 8846 h 10000"/>
                  <a:gd name="connsiteX164" fmla="*/ 6797 w 10354"/>
                  <a:gd name="connsiteY164" fmla="*/ 8906 h 10000"/>
                  <a:gd name="connsiteX165" fmla="*/ 6816 w 10354"/>
                  <a:gd name="connsiteY165" fmla="*/ 8906 h 10000"/>
                  <a:gd name="connsiteX166" fmla="*/ 6843 w 10354"/>
                  <a:gd name="connsiteY166" fmla="*/ 8915 h 10000"/>
                  <a:gd name="connsiteX167" fmla="*/ 6862 w 10354"/>
                  <a:gd name="connsiteY167" fmla="*/ 8906 h 10000"/>
                  <a:gd name="connsiteX168" fmla="*/ 6935 w 10354"/>
                  <a:gd name="connsiteY168" fmla="*/ 8829 h 10000"/>
                  <a:gd name="connsiteX169" fmla="*/ 6963 w 10354"/>
                  <a:gd name="connsiteY169" fmla="*/ 8829 h 10000"/>
                  <a:gd name="connsiteX170" fmla="*/ 7046 w 10354"/>
                  <a:gd name="connsiteY170" fmla="*/ 8769 h 10000"/>
                  <a:gd name="connsiteX171" fmla="*/ 7046 w 10354"/>
                  <a:gd name="connsiteY171" fmla="*/ 8769 h 10000"/>
                  <a:gd name="connsiteX172" fmla="*/ 7032 w 10354"/>
                  <a:gd name="connsiteY172" fmla="*/ 8803 h 10000"/>
                  <a:gd name="connsiteX173" fmla="*/ 7032 w 10354"/>
                  <a:gd name="connsiteY173" fmla="*/ 8846 h 10000"/>
                  <a:gd name="connsiteX174" fmla="*/ 7037 w 10354"/>
                  <a:gd name="connsiteY174" fmla="*/ 8880 h 10000"/>
                  <a:gd name="connsiteX175" fmla="*/ 7037 w 10354"/>
                  <a:gd name="connsiteY175" fmla="*/ 8932 h 10000"/>
                  <a:gd name="connsiteX176" fmla="*/ 7005 w 10354"/>
                  <a:gd name="connsiteY176" fmla="*/ 8983 h 10000"/>
                  <a:gd name="connsiteX177" fmla="*/ 6977 w 10354"/>
                  <a:gd name="connsiteY177" fmla="*/ 9188 h 10000"/>
                  <a:gd name="connsiteX178" fmla="*/ 6935 w 10354"/>
                  <a:gd name="connsiteY178" fmla="*/ 9316 h 10000"/>
                  <a:gd name="connsiteX179" fmla="*/ 6931 w 10354"/>
                  <a:gd name="connsiteY179" fmla="*/ 9368 h 10000"/>
                  <a:gd name="connsiteX180" fmla="*/ 6917 w 10354"/>
                  <a:gd name="connsiteY180" fmla="*/ 9376 h 10000"/>
                  <a:gd name="connsiteX181" fmla="*/ 6912 w 10354"/>
                  <a:gd name="connsiteY181" fmla="*/ 9376 h 10000"/>
                  <a:gd name="connsiteX182" fmla="*/ 6848 w 10354"/>
                  <a:gd name="connsiteY182" fmla="*/ 9342 h 10000"/>
                  <a:gd name="connsiteX183" fmla="*/ 6788 w 10354"/>
                  <a:gd name="connsiteY183" fmla="*/ 9436 h 10000"/>
                  <a:gd name="connsiteX184" fmla="*/ 6802 w 10354"/>
                  <a:gd name="connsiteY184" fmla="*/ 9462 h 10000"/>
                  <a:gd name="connsiteX185" fmla="*/ 6811 w 10354"/>
                  <a:gd name="connsiteY185" fmla="*/ 9667 h 10000"/>
                  <a:gd name="connsiteX186" fmla="*/ 6788 w 10354"/>
                  <a:gd name="connsiteY186" fmla="*/ 9709 h 10000"/>
                  <a:gd name="connsiteX187" fmla="*/ 6765 w 10354"/>
                  <a:gd name="connsiteY187" fmla="*/ 9752 h 10000"/>
                  <a:gd name="connsiteX188" fmla="*/ 6765 w 10354"/>
                  <a:gd name="connsiteY188" fmla="*/ 9803 h 10000"/>
                  <a:gd name="connsiteX189" fmla="*/ 6770 w 10354"/>
                  <a:gd name="connsiteY189" fmla="*/ 9821 h 10000"/>
                  <a:gd name="connsiteX190" fmla="*/ 6779 w 10354"/>
                  <a:gd name="connsiteY190" fmla="*/ 9812 h 10000"/>
                  <a:gd name="connsiteX191" fmla="*/ 6779 w 10354"/>
                  <a:gd name="connsiteY191" fmla="*/ 9803 h 10000"/>
                  <a:gd name="connsiteX192" fmla="*/ 6770 w 10354"/>
                  <a:gd name="connsiteY192" fmla="*/ 9786 h 10000"/>
                  <a:gd name="connsiteX193" fmla="*/ 6811 w 10354"/>
                  <a:gd name="connsiteY193" fmla="*/ 9786 h 10000"/>
                  <a:gd name="connsiteX194" fmla="*/ 6816 w 10354"/>
                  <a:gd name="connsiteY194" fmla="*/ 9761 h 10000"/>
                  <a:gd name="connsiteX195" fmla="*/ 6825 w 10354"/>
                  <a:gd name="connsiteY195" fmla="*/ 9752 h 10000"/>
                  <a:gd name="connsiteX196" fmla="*/ 6825 w 10354"/>
                  <a:gd name="connsiteY196" fmla="*/ 9726 h 10000"/>
                  <a:gd name="connsiteX197" fmla="*/ 6843 w 10354"/>
                  <a:gd name="connsiteY197" fmla="*/ 9701 h 10000"/>
                  <a:gd name="connsiteX198" fmla="*/ 6848 w 10354"/>
                  <a:gd name="connsiteY198" fmla="*/ 9650 h 10000"/>
                  <a:gd name="connsiteX199" fmla="*/ 6848 w 10354"/>
                  <a:gd name="connsiteY199" fmla="*/ 9675 h 10000"/>
                  <a:gd name="connsiteX200" fmla="*/ 6862 w 10354"/>
                  <a:gd name="connsiteY200" fmla="*/ 9675 h 10000"/>
                  <a:gd name="connsiteX201" fmla="*/ 6857 w 10354"/>
                  <a:gd name="connsiteY201" fmla="*/ 9701 h 10000"/>
                  <a:gd name="connsiteX202" fmla="*/ 6857 w 10354"/>
                  <a:gd name="connsiteY202" fmla="*/ 9701 h 10000"/>
                  <a:gd name="connsiteX203" fmla="*/ 6876 w 10354"/>
                  <a:gd name="connsiteY203" fmla="*/ 9684 h 10000"/>
                  <a:gd name="connsiteX204" fmla="*/ 6885 w 10354"/>
                  <a:gd name="connsiteY204" fmla="*/ 9675 h 10000"/>
                  <a:gd name="connsiteX205" fmla="*/ 6876 w 10354"/>
                  <a:gd name="connsiteY205" fmla="*/ 9735 h 10000"/>
                  <a:gd name="connsiteX206" fmla="*/ 6885 w 10354"/>
                  <a:gd name="connsiteY206" fmla="*/ 9752 h 10000"/>
                  <a:gd name="connsiteX207" fmla="*/ 6903 w 10354"/>
                  <a:gd name="connsiteY207" fmla="*/ 9752 h 10000"/>
                  <a:gd name="connsiteX208" fmla="*/ 6917 w 10354"/>
                  <a:gd name="connsiteY208" fmla="*/ 9761 h 10000"/>
                  <a:gd name="connsiteX209" fmla="*/ 6917 w 10354"/>
                  <a:gd name="connsiteY209" fmla="*/ 9761 h 10000"/>
                  <a:gd name="connsiteX210" fmla="*/ 6922 w 10354"/>
                  <a:gd name="connsiteY210" fmla="*/ 9778 h 10000"/>
                  <a:gd name="connsiteX211" fmla="*/ 6945 w 10354"/>
                  <a:gd name="connsiteY211" fmla="*/ 9778 h 10000"/>
                  <a:gd name="connsiteX212" fmla="*/ 6972 w 10354"/>
                  <a:gd name="connsiteY212" fmla="*/ 9752 h 10000"/>
                  <a:gd name="connsiteX213" fmla="*/ 6977 w 10354"/>
                  <a:gd name="connsiteY213" fmla="*/ 9752 h 10000"/>
                  <a:gd name="connsiteX214" fmla="*/ 7069 w 10354"/>
                  <a:gd name="connsiteY214" fmla="*/ 9624 h 10000"/>
                  <a:gd name="connsiteX215" fmla="*/ 7097 w 10354"/>
                  <a:gd name="connsiteY215" fmla="*/ 9547 h 10000"/>
                  <a:gd name="connsiteX216" fmla="*/ 7106 w 10354"/>
                  <a:gd name="connsiteY216" fmla="*/ 9530 h 10000"/>
                  <a:gd name="connsiteX217" fmla="*/ 7124 w 10354"/>
                  <a:gd name="connsiteY217" fmla="*/ 9479 h 10000"/>
                  <a:gd name="connsiteX218" fmla="*/ 7138 w 10354"/>
                  <a:gd name="connsiteY218" fmla="*/ 9462 h 10000"/>
                  <a:gd name="connsiteX219" fmla="*/ 7378 w 10354"/>
                  <a:gd name="connsiteY219" fmla="*/ 8795 h 10000"/>
                  <a:gd name="connsiteX220" fmla="*/ 7392 w 10354"/>
                  <a:gd name="connsiteY220" fmla="*/ 8795 h 10000"/>
                  <a:gd name="connsiteX221" fmla="*/ 7401 w 10354"/>
                  <a:gd name="connsiteY221" fmla="*/ 8769 h 10000"/>
                  <a:gd name="connsiteX222" fmla="*/ 7406 w 10354"/>
                  <a:gd name="connsiteY222" fmla="*/ 8692 h 10000"/>
                  <a:gd name="connsiteX223" fmla="*/ 7406 w 10354"/>
                  <a:gd name="connsiteY223" fmla="*/ 8667 h 10000"/>
                  <a:gd name="connsiteX224" fmla="*/ 7419 w 10354"/>
                  <a:gd name="connsiteY224" fmla="*/ 8598 h 10000"/>
                  <a:gd name="connsiteX225" fmla="*/ 7419 w 10354"/>
                  <a:gd name="connsiteY225" fmla="*/ 8496 h 10000"/>
                  <a:gd name="connsiteX226" fmla="*/ 7424 w 10354"/>
                  <a:gd name="connsiteY226" fmla="*/ 8470 h 10000"/>
                  <a:gd name="connsiteX227" fmla="*/ 7424 w 10354"/>
                  <a:gd name="connsiteY227" fmla="*/ 8462 h 10000"/>
                  <a:gd name="connsiteX228" fmla="*/ 7419 w 10354"/>
                  <a:gd name="connsiteY228" fmla="*/ 8462 h 10000"/>
                  <a:gd name="connsiteX229" fmla="*/ 7410 w 10354"/>
                  <a:gd name="connsiteY229" fmla="*/ 8350 h 10000"/>
                  <a:gd name="connsiteX230" fmla="*/ 7419 w 10354"/>
                  <a:gd name="connsiteY230" fmla="*/ 8325 h 10000"/>
                  <a:gd name="connsiteX231" fmla="*/ 7424 w 10354"/>
                  <a:gd name="connsiteY231" fmla="*/ 8248 h 10000"/>
                  <a:gd name="connsiteX232" fmla="*/ 7433 w 10354"/>
                  <a:gd name="connsiteY232" fmla="*/ 8248 h 10000"/>
                  <a:gd name="connsiteX233" fmla="*/ 7433 w 10354"/>
                  <a:gd name="connsiteY233" fmla="*/ 8231 h 10000"/>
                  <a:gd name="connsiteX234" fmla="*/ 7433 w 10354"/>
                  <a:gd name="connsiteY234" fmla="*/ 8222 h 10000"/>
                  <a:gd name="connsiteX235" fmla="*/ 7433 w 10354"/>
                  <a:gd name="connsiteY235" fmla="*/ 8214 h 10000"/>
                  <a:gd name="connsiteX236" fmla="*/ 7447 w 10354"/>
                  <a:gd name="connsiteY236" fmla="*/ 8162 h 10000"/>
                  <a:gd name="connsiteX237" fmla="*/ 7461 w 10354"/>
                  <a:gd name="connsiteY237" fmla="*/ 8162 h 10000"/>
                  <a:gd name="connsiteX238" fmla="*/ 7475 w 10354"/>
                  <a:gd name="connsiteY238" fmla="*/ 8111 h 10000"/>
                  <a:gd name="connsiteX239" fmla="*/ 7475 w 10354"/>
                  <a:gd name="connsiteY239" fmla="*/ 8085 h 10000"/>
                  <a:gd name="connsiteX240" fmla="*/ 7479 w 10354"/>
                  <a:gd name="connsiteY240" fmla="*/ 8060 h 10000"/>
                  <a:gd name="connsiteX241" fmla="*/ 7452 w 10354"/>
                  <a:gd name="connsiteY241" fmla="*/ 8009 h 10000"/>
                  <a:gd name="connsiteX242" fmla="*/ 7465 w 10354"/>
                  <a:gd name="connsiteY242" fmla="*/ 7974 h 10000"/>
                  <a:gd name="connsiteX243" fmla="*/ 7452 w 10354"/>
                  <a:gd name="connsiteY243" fmla="*/ 7923 h 10000"/>
                  <a:gd name="connsiteX244" fmla="*/ 7433 w 10354"/>
                  <a:gd name="connsiteY244" fmla="*/ 7889 h 10000"/>
                  <a:gd name="connsiteX245" fmla="*/ 7419 w 10354"/>
                  <a:gd name="connsiteY245" fmla="*/ 7889 h 10000"/>
                  <a:gd name="connsiteX246" fmla="*/ 7401 w 10354"/>
                  <a:gd name="connsiteY246" fmla="*/ 7863 h 10000"/>
                  <a:gd name="connsiteX247" fmla="*/ 7387 w 10354"/>
                  <a:gd name="connsiteY247" fmla="*/ 7863 h 10000"/>
                  <a:gd name="connsiteX248" fmla="*/ 7373 w 10354"/>
                  <a:gd name="connsiteY248" fmla="*/ 7863 h 10000"/>
                  <a:gd name="connsiteX249" fmla="*/ 7387 w 10354"/>
                  <a:gd name="connsiteY249" fmla="*/ 7846 h 10000"/>
                  <a:gd name="connsiteX250" fmla="*/ 7401 w 10354"/>
                  <a:gd name="connsiteY250" fmla="*/ 7846 h 10000"/>
                  <a:gd name="connsiteX251" fmla="*/ 7410 w 10354"/>
                  <a:gd name="connsiteY251" fmla="*/ 7863 h 10000"/>
                  <a:gd name="connsiteX252" fmla="*/ 7424 w 10354"/>
                  <a:gd name="connsiteY252" fmla="*/ 7872 h 10000"/>
                  <a:gd name="connsiteX253" fmla="*/ 7433 w 10354"/>
                  <a:gd name="connsiteY253" fmla="*/ 7863 h 10000"/>
                  <a:gd name="connsiteX254" fmla="*/ 7461 w 10354"/>
                  <a:gd name="connsiteY254" fmla="*/ 7897 h 10000"/>
                  <a:gd name="connsiteX255" fmla="*/ 7465 w 10354"/>
                  <a:gd name="connsiteY255" fmla="*/ 7889 h 10000"/>
                  <a:gd name="connsiteX256" fmla="*/ 7475 w 10354"/>
                  <a:gd name="connsiteY256" fmla="*/ 7863 h 10000"/>
                  <a:gd name="connsiteX257" fmla="*/ 7475 w 10354"/>
                  <a:gd name="connsiteY257" fmla="*/ 7838 h 10000"/>
                  <a:gd name="connsiteX258" fmla="*/ 7465 w 10354"/>
                  <a:gd name="connsiteY258" fmla="*/ 7838 h 10000"/>
                  <a:gd name="connsiteX259" fmla="*/ 7406 w 10354"/>
                  <a:gd name="connsiteY259" fmla="*/ 7752 h 10000"/>
                  <a:gd name="connsiteX260" fmla="*/ 7401 w 10354"/>
                  <a:gd name="connsiteY260" fmla="*/ 7735 h 10000"/>
                  <a:gd name="connsiteX261" fmla="*/ 7401 w 10354"/>
                  <a:gd name="connsiteY261" fmla="*/ 7701 h 10000"/>
                  <a:gd name="connsiteX262" fmla="*/ 7378 w 10354"/>
                  <a:gd name="connsiteY262" fmla="*/ 7675 h 10000"/>
                  <a:gd name="connsiteX263" fmla="*/ 7373 w 10354"/>
                  <a:gd name="connsiteY263" fmla="*/ 7667 h 10000"/>
                  <a:gd name="connsiteX264" fmla="*/ 7364 w 10354"/>
                  <a:gd name="connsiteY264" fmla="*/ 7650 h 10000"/>
                  <a:gd name="connsiteX265" fmla="*/ 7364 w 10354"/>
                  <a:gd name="connsiteY265" fmla="*/ 7641 h 10000"/>
                  <a:gd name="connsiteX266" fmla="*/ 7350 w 10354"/>
                  <a:gd name="connsiteY266" fmla="*/ 7641 h 10000"/>
                  <a:gd name="connsiteX267" fmla="*/ 7336 w 10354"/>
                  <a:gd name="connsiteY267" fmla="*/ 7650 h 10000"/>
                  <a:gd name="connsiteX268" fmla="*/ 7327 w 10354"/>
                  <a:gd name="connsiteY268" fmla="*/ 7650 h 10000"/>
                  <a:gd name="connsiteX269" fmla="*/ 7300 w 10354"/>
                  <a:gd name="connsiteY269" fmla="*/ 7641 h 10000"/>
                  <a:gd name="connsiteX270" fmla="*/ 7300 w 10354"/>
                  <a:gd name="connsiteY270" fmla="*/ 7675 h 10000"/>
                  <a:gd name="connsiteX271" fmla="*/ 7300 w 10354"/>
                  <a:gd name="connsiteY271" fmla="*/ 7692 h 10000"/>
                  <a:gd name="connsiteX272" fmla="*/ 7286 w 10354"/>
                  <a:gd name="connsiteY272" fmla="*/ 7786 h 10000"/>
                  <a:gd name="connsiteX273" fmla="*/ 7272 w 10354"/>
                  <a:gd name="connsiteY273" fmla="*/ 7803 h 10000"/>
                  <a:gd name="connsiteX274" fmla="*/ 7276 w 10354"/>
                  <a:gd name="connsiteY274" fmla="*/ 7761 h 10000"/>
                  <a:gd name="connsiteX275" fmla="*/ 7286 w 10354"/>
                  <a:gd name="connsiteY275" fmla="*/ 7735 h 10000"/>
                  <a:gd name="connsiteX276" fmla="*/ 7276 w 10354"/>
                  <a:gd name="connsiteY276" fmla="*/ 7709 h 10000"/>
                  <a:gd name="connsiteX277" fmla="*/ 7258 w 10354"/>
                  <a:gd name="connsiteY277" fmla="*/ 7761 h 10000"/>
                  <a:gd name="connsiteX278" fmla="*/ 7217 w 10354"/>
                  <a:gd name="connsiteY278" fmla="*/ 7786 h 10000"/>
                  <a:gd name="connsiteX279" fmla="*/ 7203 w 10354"/>
                  <a:gd name="connsiteY279" fmla="*/ 7786 h 10000"/>
                  <a:gd name="connsiteX280" fmla="*/ 7198 w 10354"/>
                  <a:gd name="connsiteY280" fmla="*/ 7778 h 10000"/>
                  <a:gd name="connsiteX281" fmla="*/ 7212 w 10354"/>
                  <a:gd name="connsiteY281" fmla="*/ 7761 h 10000"/>
                  <a:gd name="connsiteX282" fmla="*/ 7230 w 10354"/>
                  <a:gd name="connsiteY282" fmla="*/ 7726 h 10000"/>
                  <a:gd name="connsiteX283" fmla="*/ 7226 w 10354"/>
                  <a:gd name="connsiteY283" fmla="*/ 7709 h 10000"/>
                  <a:gd name="connsiteX284" fmla="*/ 7212 w 10354"/>
                  <a:gd name="connsiteY284" fmla="*/ 7701 h 10000"/>
                  <a:gd name="connsiteX285" fmla="*/ 7203 w 10354"/>
                  <a:gd name="connsiteY285" fmla="*/ 7675 h 10000"/>
                  <a:gd name="connsiteX286" fmla="*/ 7217 w 10354"/>
                  <a:gd name="connsiteY286" fmla="*/ 7675 h 10000"/>
                  <a:gd name="connsiteX287" fmla="*/ 7226 w 10354"/>
                  <a:gd name="connsiteY287" fmla="*/ 7650 h 10000"/>
                  <a:gd name="connsiteX288" fmla="*/ 7226 w 10354"/>
                  <a:gd name="connsiteY288" fmla="*/ 7641 h 10000"/>
                  <a:gd name="connsiteX289" fmla="*/ 7203 w 10354"/>
                  <a:gd name="connsiteY289" fmla="*/ 7641 h 10000"/>
                  <a:gd name="connsiteX290" fmla="*/ 7198 w 10354"/>
                  <a:gd name="connsiteY290" fmla="*/ 7650 h 10000"/>
                  <a:gd name="connsiteX291" fmla="*/ 7194 w 10354"/>
                  <a:gd name="connsiteY291" fmla="*/ 7675 h 10000"/>
                  <a:gd name="connsiteX292" fmla="*/ 7198 w 10354"/>
                  <a:gd name="connsiteY292" fmla="*/ 7692 h 10000"/>
                  <a:gd name="connsiteX293" fmla="*/ 7198 w 10354"/>
                  <a:gd name="connsiteY293" fmla="*/ 7709 h 10000"/>
                  <a:gd name="connsiteX294" fmla="*/ 7184 w 10354"/>
                  <a:gd name="connsiteY294" fmla="*/ 7726 h 10000"/>
                  <a:gd name="connsiteX295" fmla="*/ 7180 w 10354"/>
                  <a:gd name="connsiteY295" fmla="*/ 7726 h 10000"/>
                  <a:gd name="connsiteX296" fmla="*/ 7171 w 10354"/>
                  <a:gd name="connsiteY296" fmla="*/ 7752 h 10000"/>
                  <a:gd name="connsiteX297" fmla="*/ 7166 w 10354"/>
                  <a:gd name="connsiteY297" fmla="*/ 7735 h 10000"/>
                  <a:gd name="connsiteX298" fmla="*/ 7171 w 10354"/>
                  <a:gd name="connsiteY298" fmla="*/ 7624 h 10000"/>
                  <a:gd name="connsiteX299" fmla="*/ 7171 w 10354"/>
                  <a:gd name="connsiteY299" fmla="*/ 7615 h 10000"/>
                  <a:gd name="connsiteX300" fmla="*/ 7171 w 10354"/>
                  <a:gd name="connsiteY300" fmla="*/ 7590 h 10000"/>
                  <a:gd name="connsiteX301" fmla="*/ 7166 w 10354"/>
                  <a:gd name="connsiteY301" fmla="*/ 7564 h 10000"/>
                  <a:gd name="connsiteX302" fmla="*/ 7157 w 10354"/>
                  <a:gd name="connsiteY302" fmla="*/ 7564 h 10000"/>
                  <a:gd name="connsiteX303" fmla="*/ 7097 w 10354"/>
                  <a:gd name="connsiteY303" fmla="*/ 7573 h 10000"/>
                  <a:gd name="connsiteX304" fmla="*/ 7065 w 10354"/>
                  <a:gd name="connsiteY304" fmla="*/ 7538 h 10000"/>
                  <a:gd name="connsiteX305" fmla="*/ 7069 w 10354"/>
                  <a:gd name="connsiteY305" fmla="*/ 7504 h 10000"/>
                  <a:gd name="connsiteX306" fmla="*/ 7106 w 10354"/>
                  <a:gd name="connsiteY306" fmla="*/ 7453 h 10000"/>
                  <a:gd name="connsiteX307" fmla="*/ 7111 w 10354"/>
                  <a:gd name="connsiteY307" fmla="*/ 7436 h 10000"/>
                  <a:gd name="connsiteX308" fmla="*/ 7138 w 10354"/>
                  <a:gd name="connsiteY308" fmla="*/ 7402 h 10000"/>
                  <a:gd name="connsiteX309" fmla="*/ 7143 w 10354"/>
                  <a:gd name="connsiteY309" fmla="*/ 7376 h 10000"/>
                  <a:gd name="connsiteX310" fmla="*/ 7152 w 10354"/>
                  <a:gd name="connsiteY310" fmla="*/ 7368 h 10000"/>
                  <a:gd name="connsiteX311" fmla="*/ 7157 w 10354"/>
                  <a:gd name="connsiteY311" fmla="*/ 7350 h 10000"/>
                  <a:gd name="connsiteX312" fmla="*/ 7230 w 10354"/>
                  <a:gd name="connsiteY312" fmla="*/ 7239 h 10000"/>
                  <a:gd name="connsiteX313" fmla="*/ 7240 w 10354"/>
                  <a:gd name="connsiteY313" fmla="*/ 7205 h 10000"/>
                  <a:gd name="connsiteX314" fmla="*/ 7253 w 10354"/>
                  <a:gd name="connsiteY314" fmla="*/ 7188 h 10000"/>
                  <a:gd name="connsiteX315" fmla="*/ 7258 w 10354"/>
                  <a:gd name="connsiteY315" fmla="*/ 7162 h 10000"/>
                  <a:gd name="connsiteX316" fmla="*/ 7258 w 10354"/>
                  <a:gd name="connsiteY316" fmla="*/ 7154 h 10000"/>
                  <a:gd name="connsiteX317" fmla="*/ 7272 w 10354"/>
                  <a:gd name="connsiteY317" fmla="*/ 7120 h 10000"/>
                  <a:gd name="connsiteX318" fmla="*/ 7276 w 10354"/>
                  <a:gd name="connsiteY318" fmla="*/ 7094 h 10000"/>
                  <a:gd name="connsiteX319" fmla="*/ 7286 w 10354"/>
                  <a:gd name="connsiteY319" fmla="*/ 7094 h 10000"/>
                  <a:gd name="connsiteX320" fmla="*/ 7290 w 10354"/>
                  <a:gd name="connsiteY320" fmla="*/ 7068 h 10000"/>
                  <a:gd name="connsiteX321" fmla="*/ 7332 w 10354"/>
                  <a:gd name="connsiteY321" fmla="*/ 6991 h 10000"/>
                  <a:gd name="connsiteX322" fmla="*/ 7336 w 10354"/>
                  <a:gd name="connsiteY322" fmla="*/ 6991 h 10000"/>
                  <a:gd name="connsiteX323" fmla="*/ 7364 w 10354"/>
                  <a:gd name="connsiteY323" fmla="*/ 6940 h 10000"/>
                  <a:gd name="connsiteX324" fmla="*/ 7373 w 10354"/>
                  <a:gd name="connsiteY324" fmla="*/ 6906 h 10000"/>
                  <a:gd name="connsiteX325" fmla="*/ 7378 w 10354"/>
                  <a:gd name="connsiteY325" fmla="*/ 6915 h 10000"/>
                  <a:gd name="connsiteX326" fmla="*/ 7406 w 10354"/>
                  <a:gd name="connsiteY326" fmla="*/ 6880 h 10000"/>
                  <a:gd name="connsiteX327" fmla="*/ 7410 w 10354"/>
                  <a:gd name="connsiteY327" fmla="*/ 6846 h 10000"/>
                  <a:gd name="connsiteX328" fmla="*/ 7419 w 10354"/>
                  <a:gd name="connsiteY328" fmla="*/ 6803 h 10000"/>
                  <a:gd name="connsiteX329" fmla="*/ 7585 w 10354"/>
                  <a:gd name="connsiteY329" fmla="*/ 6504 h 10000"/>
                  <a:gd name="connsiteX330" fmla="*/ 7765 w 10354"/>
                  <a:gd name="connsiteY330" fmla="*/ 6504 h 10000"/>
                  <a:gd name="connsiteX331" fmla="*/ 7765 w 10354"/>
                  <a:gd name="connsiteY331" fmla="*/ 6530 h 10000"/>
                  <a:gd name="connsiteX332" fmla="*/ 7774 w 10354"/>
                  <a:gd name="connsiteY332" fmla="*/ 6556 h 10000"/>
                  <a:gd name="connsiteX333" fmla="*/ 7779 w 10354"/>
                  <a:gd name="connsiteY333" fmla="*/ 6556 h 10000"/>
                  <a:gd name="connsiteX334" fmla="*/ 7793 w 10354"/>
                  <a:gd name="connsiteY334" fmla="*/ 6547 h 10000"/>
                  <a:gd name="connsiteX335" fmla="*/ 7793 w 10354"/>
                  <a:gd name="connsiteY335" fmla="*/ 6530 h 10000"/>
                  <a:gd name="connsiteX336" fmla="*/ 7802 w 10354"/>
                  <a:gd name="connsiteY336" fmla="*/ 6496 h 10000"/>
                  <a:gd name="connsiteX337" fmla="*/ 7806 w 10354"/>
                  <a:gd name="connsiteY337" fmla="*/ 6487 h 10000"/>
                  <a:gd name="connsiteX338" fmla="*/ 7876 w 10354"/>
                  <a:gd name="connsiteY338" fmla="*/ 6530 h 10000"/>
                  <a:gd name="connsiteX339" fmla="*/ 7894 w 10354"/>
                  <a:gd name="connsiteY339" fmla="*/ 6530 h 10000"/>
                  <a:gd name="connsiteX340" fmla="*/ 7894 w 10354"/>
                  <a:gd name="connsiteY340" fmla="*/ 6504 h 10000"/>
                  <a:gd name="connsiteX341" fmla="*/ 7899 w 10354"/>
                  <a:gd name="connsiteY341" fmla="*/ 6504 h 10000"/>
                  <a:gd name="connsiteX342" fmla="*/ 7926 w 10354"/>
                  <a:gd name="connsiteY342" fmla="*/ 6504 h 10000"/>
                  <a:gd name="connsiteX343" fmla="*/ 7940 w 10354"/>
                  <a:gd name="connsiteY343" fmla="*/ 6547 h 10000"/>
                  <a:gd name="connsiteX344" fmla="*/ 7949 w 10354"/>
                  <a:gd name="connsiteY344" fmla="*/ 6547 h 10000"/>
                  <a:gd name="connsiteX345" fmla="*/ 7963 w 10354"/>
                  <a:gd name="connsiteY345" fmla="*/ 6530 h 10000"/>
                  <a:gd name="connsiteX346" fmla="*/ 7963 w 10354"/>
                  <a:gd name="connsiteY346" fmla="*/ 6504 h 10000"/>
                  <a:gd name="connsiteX347" fmla="*/ 7963 w 10354"/>
                  <a:gd name="connsiteY347" fmla="*/ 6504 h 10000"/>
                  <a:gd name="connsiteX348" fmla="*/ 7954 w 10354"/>
                  <a:gd name="connsiteY348" fmla="*/ 6496 h 10000"/>
                  <a:gd name="connsiteX349" fmla="*/ 7963 w 10354"/>
                  <a:gd name="connsiteY349" fmla="*/ 6487 h 10000"/>
                  <a:gd name="connsiteX350" fmla="*/ 7982 w 10354"/>
                  <a:gd name="connsiteY350" fmla="*/ 6487 h 10000"/>
                  <a:gd name="connsiteX351" fmla="*/ 7982 w 10354"/>
                  <a:gd name="connsiteY351" fmla="*/ 6470 h 10000"/>
                  <a:gd name="connsiteX352" fmla="*/ 7972 w 10354"/>
                  <a:gd name="connsiteY352" fmla="*/ 6462 h 10000"/>
                  <a:gd name="connsiteX353" fmla="*/ 7972 w 10354"/>
                  <a:gd name="connsiteY353" fmla="*/ 6436 h 10000"/>
                  <a:gd name="connsiteX354" fmla="*/ 7986 w 10354"/>
                  <a:gd name="connsiteY354" fmla="*/ 6419 h 10000"/>
                  <a:gd name="connsiteX355" fmla="*/ 8000 w 10354"/>
                  <a:gd name="connsiteY355" fmla="*/ 6419 h 10000"/>
                  <a:gd name="connsiteX356" fmla="*/ 8055 w 10354"/>
                  <a:gd name="connsiteY356" fmla="*/ 6462 h 10000"/>
                  <a:gd name="connsiteX357" fmla="*/ 8069 w 10354"/>
                  <a:gd name="connsiteY357" fmla="*/ 6444 h 10000"/>
                  <a:gd name="connsiteX358" fmla="*/ 8083 w 10354"/>
                  <a:gd name="connsiteY358" fmla="*/ 6470 h 10000"/>
                  <a:gd name="connsiteX359" fmla="*/ 8083 w 10354"/>
                  <a:gd name="connsiteY359" fmla="*/ 6487 h 10000"/>
                  <a:gd name="connsiteX360" fmla="*/ 8097 w 10354"/>
                  <a:gd name="connsiteY360" fmla="*/ 6487 h 10000"/>
                  <a:gd name="connsiteX361" fmla="*/ 8101 w 10354"/>
                  <a:gd name="connsiteY361" fmla="*/ 6462 h 10000"/>
                  <a:gd name="connsiteX362" fmla="*/ 8115 w 10354"/>
                  <a:gd name="connsiteY362" fmla="*/ 6462 h 10000"/>
                  <a:gd name="connsiteX363" fmla="*/ 8129 w 10354"/>
                  <a:gd name="connsiteY363" fmla="*/ 6462 h 10000"/>
                  <a:gd name="connsiteX364" fmla="*/ 8157 w 10354"/>
                  <a:gd name="connsiteY364" fmla="*/ 6496 h 10000"/>
                  <a:gd name="connsiteX365" fmla="*/ 8157 w 10354"/>
                  <a:gd name="connsiteY365" fmla="*/ 6521 h 10000"/>
                  <a:gd name="connsiteX366" fmla="*/ 8180 w 10354"/>
                  <a:gd name="connsiteY366" fmla="*/ 6530 h 10000"/>
                  <a:gd name="connsiteX367" fmla="*/ 8180 w 10354"/>
                  <a:gd name="connsiteY367" fmla="*/ 6547 h 10000"/>
                  <a:gd name="connsiteX368" fmla="*/ 8171 w 10354"/>
                  <a:gd name="connsiteY368" fmla="*/ 6556 h 10000"/>
                  <a:gd name="connsiteX369" fmla="*/ 8129 w 10354"/>
                  <a:gd name="connsiteY369" fmla="*/ 6556 h 10000"/>
                  <a:gd name="connsiteX370" fmla="*/ 8106 w 10354"/>
                  <a:gd name="connsiteY370" fmla="*/ 6573 h 10000"/>
                  <a:gd name="connsiteX371" fmla="*/ 8115 w 10354"/>
                  <a:gd name="connsiteY371" fmla="*/ 6581 h 10000"/>
                  <a:gd name="connsiteX372" fmla="*/ 8129 w 10354"/>
                  <a:gd name="connsiteY372" fmla="*/ 6632 h 10000"/>
                  <a:gd name="connsiteX373" fmla="*/ 8171 w 10354"/>
                  <a:gd name="connsiteY373" fmla="*/ 6632 h 10000"/>
                  <a:gd name="connsiteX374" fmla="*/ 8180 w 10354"/>
                  <a:gd name="connsiteY374" fmla="*/ 6624 h 10000"/>
                  <a:gd name="connsiteX375" fmla="*/ 8189 w 10354"/>
                  <a:gd name="connsiteY375" fmla="*/ 6598 h 10000"/>
                  <a:gd name="connsiteX376" fmla="*/ 8203 w 10354"/>
                  <a:gd name="connsiteY376" fmla="*/ 6581 h 10000"/>
                  <a:gd name="connsiteX377" fmla="*/ 8207 w 10354"/>
                  <a:gd name="connsiteY377" fmla="*/ 6607 h 10000"/>
                  <a:gd name="connsiteX378" fmla="*/ 8221 w 10354"/>
                  <a:gd name="connsiteY378" fmla="*/ 6624 h 10000"/>
                  <a:gd name="connsiteX379" fmla="*/ 8235 w 10354"/>
                  <a:gd name="connsiteY379" fmla="*/ 6607 h 10000"/>
                  <a:gd name="connsiteX380" fmla="*/ 8240 w 10354"/>
                  <a:gd name="connsiteY380" fmla="*/ 6581 h 10000"/>
                  <a:gd name="connsiteX381" fmla="*/ 8253 w 10354"/>
                  <a:gd name="connsiteY381" fmla="*/ 6573 h 10000"/>
                  <a:gd name="connsiteX382" fmla="*/ 8263 w 10354"/>
                  <a:gd name="connsiteY382" fmla="*/ 6556 h 10000"/>
                  <a:gd name="connsiteX383" fmla="*/ 8276 w 10354"/>
                  <a:gd name="connsiteY383" fmla="*/ 6547 h 10000"/>
                  <a:gd name="connsiteX384" fmla="*/ 8290 w 10354"/>
                  <a:gd name="connsiteY384" fmla="*/ 6556 h 10000"/>
                  <a:gd name="connsiteX385" fmla="*/ 8304 w 10354"/>
                  <a:gd name="connsiteY385" fmla="*/ 6581 h 10000"/>
                  <a:gd name="connsiteX386" fmla="*/ 8309 w 10354"/>
                  <a:gd name="connsiteY386" fmla="*/ 6581 h 10000"/>
                  <a:gd name="connsiteX387" fmla="*/ 8327 w 10354"/>
                  <a:gd name="connsiteY387" fmla="*/ 6573 h 10000"/>
                  <a:gd name="connsiteX388" fmla="*/ 8327 w 10354"/>
                  <a:gd name="connsiteY388" fmla="*/ 6556 h 10000"/>
                  <a:gd name="connsiteX389" fmla="*/ 8350 w 10354"/>
                  <a:gd name="connsiteY389" fmla="*/ 6556 h 10000"/>
                  <a:gd name="connsiteX390" fmla="*/ 8355 w 10354"/>
                  <a:gd name="connsiteY390" fmla="*/ 6573 h 10000"/>
                  <a:gd name="connsiteX391" fmla="*/ 8364 w 10354"/>
                  <a:gd name="connsiteY391" fmla="*/ 6556 h 10000"/>
                  <a:gd name="connsiteX392" fmla="*/ 8369 w 10354"/>
                  <a:gd name="connsiteY392" fmla="*/ 6556 h 10000"/>
                  <a:gd name="connsiteX393" fmla="*/ 8378 w 10354"/>
                  <a:gd name="connsiteY393" fmla="*/ 6530 h 10000"/>
                  <a:gd name="connsiteX394" fmla="*/ 8369 w 10354"/>
                  <a:gd name="connsiteY394" fmla="*/ 6504 h 10000"/>
                  <a:gd name="connsiteX395" fmla="*/ 8364 w 10354"/>
                  <a:gd name="connsiteY395" fmla="*/ 6496 h 10000"/>
                  <a:gd name="connsiteX396" fmla="*/ 8336 w 10354"/>
                  <a:gd name="connsiteY396" fmla="*/ 6470 h 10000"/>
                  <a:gd name="connsiteX397" fmla="*/ 8309 w 10354"/>
                  <a:gd name="connsiteY397" fmla="*/ 6487 h 10000"/>
                  <a:gd name="connsiteX398" fmla="*/ 8313 w 10354"/>
                  <a:gd name="connsiteY398" fmla="*/ 6462 h 10000"/>
                  <a:gd name="connsiteX399" fmla="*/ 8323 w 10354"/>
                  <a:gd name="connsiteY399" fmla="*/ 6444 h 10000"/>
                  <a:gd name="connsiteX400" fmla="*/ 8309 w 10354"/>
                  <a:gd name="connsiteY400" fmla="*/ 6393 h 10000"/>
                  <a:gd name="connsiteX401" fmla="*/ 8313 w 10354"/>
                  <a:gd name="connsiteY401" fmla="*/ 6385 h 10000"/>
                  <a:gd name="connsiteX402" fmla="*/ 8323 w 10354"/>
                  <a:gd name="connsiteY402" fmla="*/ 6393 h 10000"/>
                  <a:gd name="connsiteX403" fmla="*/ 8323 w 10354"/>
                  <a:gd name="connsiteY403" fmla="*/ 6393 h 10000"/>
                  <a:gd name="connsiteX404" fmla="*/ 8355 w 10354"/>
                  <a:gd name="connsiteY404" fmla="*/ 6282 h 10000"/>
                  <a:gd name="connsiteX405" fmla="*/ 8369 w 10354"/>
                  <a:gd name="connsiteY405" fmla="*/ 6256 h 10000"/>
                  <a:gd name="connsiteX406" fmla="*/ 8382 w 10354"/>
                  <a:gd name="connsiteY406" fmla="*/ 6248 h 10000"/>
                  <a:gd name="connsiteX407" fmla="*/ 8424 w 10354"/>
                  <a:gd name="connsiteY407" fmla="*/ 6162 h 10000"/>
                  <a:gd name="connsiteX408" fmla="*/ 8429 w 10354"/>
                  <a:gd name="connsiteY408" fmla="*/ 6145 h 10000"/>
                  <a:gd name="connsiteX409" fmla="*/ 8470 w 10354"/>
                  <a:gd name="connsiteY409" fmla="*/ 6051 h 10000"/>
                  <a:gd name="connsiteX410" fmla="*/ 8475 w 10354"/>
                  <a:gd name="connsiteY410" fmla="*/ 5983 h 10000"/>
                  <a:gd name="connsiteX411" fmla="*/ 8512 w 10354"/>
                  <a:gd name="connsiteY411" fmla="*/ 5940 h 10000"/>
                  <a:gd name="connsiteX412" fmla="*/ 8521 w 10354"/>
                  <a:gd name="connsiteY412" fmla="*/ 5923 h 10000"/>
                  <a:gd name="connsiteX413" fmla="*/ 8535 w 10354"/>
                  <a:gd name="connsiteY413" fmla="*/ 5915 h 10000"/>
                  <a:gd name="connsiteX414" fmla="*/ 8562 w 10354"/>
                  <a:gd name="connsiteY414" fmla="*/ 5915 h 10000"/>
                  <a:gd name="connsiteX415" fmla="*/ 8618 w 10354"/>
                  <a:gd name="connsiteY415" fmla="*/ 5889 h 10000"/>
                  <a:gd name="connsiteX416" fmla="*/ 8622 w 10354"/>
                  <a:gd name="connsiteY416" fmla="*/ 5889 h 10000"/>
                  <a:gd name="connsiteX417" fmla="*/ 8622 w 10354"/>
                  <a:gd name="connsiteY417" fmla="*/ 5872 h 10000"/>
                  <a:gd name="connsiteX418" fmla="*/ 8636 w 10354"/>
                  <a:gd name="connsiteY418" fmla="*/ 5872 h 10000"/>
                  <a:gd name="connsiteX419" fmla="*/ 8650 w 10354"/>
                  <a:gd name="connsiteY419" fmla="*/ 5889 h 10000"/>
                  <a:gd name="connsiteX420" fmla="*/ 8659 w 10354"/>
                  <a:gd name="connsiteY420" fmla="*/ 5915 h 10000"/>
                  <a:gd name="connsiteX421" fmla="*/ 8664 w 10354"/>
                  <a:gd name="connsiteY421" fmla="*/ 5940 h 10000"/>
                  <a:gd name="connsiteX422" fmla="*/ 8682 w 10354"/>
                  <a:gd name="connsiteY422" fmla="*/ 5923 h 10000"/>
                  <a:gd name="connsiteX423" fmla="*/ 8719 w 10354"/>
                  <a:gd name="connsiteY423" fmla="*/ 5863 h 10000"/>
                  <a:gd name="connsiteX424" fmla="*/ 8705 w 10354"/>
                  <a:gd name="connsiteY424" fmla="*/ 5966 h 10000"/>
                  <a:gd name="connsiteX425" fmla="*/ 8696 w 10354"/>
                  <a:gd name="connsiteY425" fmla="*/ 5983 h 10000"/>
                  <a:gd name="connsiteX426" fmla="*/ 8682 w 10354"/>
                  <a:gd name="connsiteY426" fmla="*/ 6026 h 10000"/>
                  <a:gd name="connsiteX427" fmla="*/ 8682 w 10354"/>
                  <a:gd name="connsiteY427" fmla="*/ 6051 h 10000"/>
                  <a:gd name="connsiteX428" fmla="*/ 8691 w 10354"/>
                  <a:gd name="connsiteY428" fmla="*/ 6077 h 10000"/>
                  <a:gd name="connsiteX429" fmla="*/ 8691 w 10354"/>
                  <a:gd name="connsiteY429" fmla="*/ 6085 h 10000"/>
                  <a:gd name="connsiteX430" fmla="*/ 8682 w 10354"/>
                  <a:gd name="connsiteY430" fmla="*/ 6103 h 10000"/>
                  <a:gd name="connsiteX431" fmla="*/ 8682 w 10354"/>
                  <a:gd name="connsiteY431" fmla="*/ 6111 h 10000"/>
                  <a:gd name="connsiteX432" fmla="*/ 8691 w 10354"/>
                  <a:gd name="connsiteY432" fmla="*/ 6120 h 10000"/>
                  <a:gd name="connsiteX433" fmla="*/ 8719 w 10354"/>
                  <a:gd name="connsiteY433" fmla="*/ 6103 h 10000"/>
                  <a:gd name="connsiteX434" fmla="*/ 8705 w 10354"/>
                  <a:gd name="connsiteY434" fmla="*/ 6188 h 10000"/>
                  <a:gd name="connsiteX435" fmla="*/ 8705 w 10354"/>
                  <a:gd name="connsiteY435" fmla="*/ 6214 h 10000"/>
                  <a:gd name="connsiteX436" fmla="*/ 8710 w 10354"/>
                  <a:gd name="connsiteY436" fmla="*/ 6197 h 10000"/>
                  <a:gd name="connsiteX437" fmla="*/ 8728 w 10354"/>
                  <a:gd name="connsiteY437" fmla="*/ 6171 h 10000"/>
                  <a:gd name="connsiteX438" fmla="*/ 8737 w 10354"/>
                  <a:gd name="connsiteY438" fmla="*/ 6171 h 10000"/>
                  <a:gd name="connsiteX439" fmla="*/ 8843 w 10354"/>
                  <a:gd name="connsiteY439" fmla="*/ 5949 h 10000"/>
                  <a:gd name="connsiteX440" fmla="*/ 8866 w 10354"/>
                  <a:gd name="connsiteY440" fmla="*/ 5949 h 10000"/>
                  <a:gd name="connsiteX441" fmla="*/ 8871 w 10354"/>
                  <a:gd name="connsiteY441" fmla="*/ 5940 h 10000"/>
                  <a:gd name="connsiteX442" fmla="*/ 8876 w 10354"/>
                  <a:gd name="connsiteY442" fmla="*/ 5923 h 10000"/>
                  <a:gd name="connsiteX443" fmla="*/ 8885 w 10354"/>
                  <a:gd name="connsiteY443" fmla="*/ 5940 h 10000"/>
                  <a:gd name="connsiteX444" fmla="*/ 8885 w 10354"/>
                  <a:gd name="connsiteY444" fmla="*/ 5949 h 10000"/>
                  <a:gd name="connsiteX445" fmla="*/ 8885 w 10354"/>
                  <a:gd name="connsiteY445" fmla="*/ 5974 h 10000"/>
                  <a:gd name="connsiteX446" fmla="*/ 8889 w 10354"/>
                  <a:gd name="connsiteY446" fmla="*/ 5974 h 10000"/>
                  <a:gd name="connsiteX447" fmla="*/ 8903 w 10354"/>
                  <a:gd name="connsiteY447" fmla="*/ 5923 h 10000"/>
                  <a:gd name="connsiteX448" fmla="*/ 8889 w 10354"/>
                  <a:gd name="connsiteY448" fmla="*/ 5923 h 10000"/>
                  <a:gd name="connsiteX449" fmla="*/ 8889 w 10354"/>
                  <a:gd name="connsiteY449" fmla="*/ 5897 h 10000"/>
                  <a:gd name="connsiteX450" fmla="*/ 8899 w 10354"/>
                  <a:gd name="connsiteY450" fmla="*/ 5838 h 10000"/>
                  <a:gd name="connsiteX451" fmla="*/ 8889 w 10354"/>
                  <a:gd name="connsiteY451" fmla="*/ 5812 h 10000"/>
                  <a:gd name="connsiteX452" fmla="*/ 8903 w 10354"/>
                  <a:gd name="connsiteY452" fmla="*/ 5778 h 10000"/>
                  <a:gd name="connsiteX453" fmla="*/ 8903 w 10354"/>
                  <a:gd name="connsiteY453" fmla="*/ 5761 h 10000"/>
                  <a:gd name="connsiteX454" fmla="*/ 8912 w 10354"/>
                  <a:gd name="connsiteY454" fmla="*/ 5735 h 10000"/>
                  <a:gd name="connsiteX455" fmla="*/ 8931 w 10354"/>
                  <a:gd name="connsiteY455" fmla="*/ 5701 h 10000"/>
                  <a:gd name="connsiteX456" fmla="*/ 8977 w 10354"/>
                  <a:gd name="connsiteY456" fmla="*/ 5675 h 10000"/>
                  <a:gd name="connsiteX457" fmla="*/ 9000 w 10354"/>
                  <a:gd name="connsiteY457" fmla="*/ 5675 h 10000"/>
                  <a:gd name="connsiteX458" fmla="*/ 9018 w 10354"/>
                  <a:gd name="connsiteY458" fmla="*/ 5709 h 10000"/>
                  <a:gd name="connsiteX459" fmla="*/ 9009 w 10354"/>
                  <a:gd name="connsiteY459" fmla="*/ 5735 h 10000"/>
                  <a:gd name="connsiteX460" fmla="*/ 9000 w 10354"/>
                  <a:gd name="connsiteY460" fmla="*/ 5735 h 10000"/>
                  <a:gd name="connsiteX461" fmla="*/ 8963 w 10354"/>
                  <a:gd name="connsiteY461" fmla="*/ 5786 h 10000"/>
                  <a:gd name="connsiteX462" fmla="*/ 8949 w 10354"/>
                  <a:gd name="connsiteY462" fmla="*/ 5940 h 10000"/>
                  <a:gd name="connsiteX463" fmla="*/ 8945 w 10354"/>
                  <a:gd name="connsiteY463" fmla="*/ 5966 h 10000"/>
                  <a:gd name="connsiteX464" fmla="*/ 8945 w 10354"/>
                  <a:gd name="connsiteY464" fmla="*/ 6000 h 10000"/>
                  <a:gd name="connsiteX465" fmla="*/ 8945 w 10354"/>
                  <a:gd name="connsiteY465" fmla="*/ 6009 h 10000"/>
                  <a:gd name="connsiteX466" fmla="*/ 8945 w 10354"/>
                  <a:gd name="connsiteY466" fmla="*/ 6034 h 10000"/>
                  <a:gd name="connsiteX467" fmla="*/ 8931 w 10354"/>
                  <a:gd name="connsiteY467" fmla="*/ 6060 h 10000"/>
                  <a:gd name="connsiteX468" fmla="*/ 8926 w 10354"/>
                  <a:gd name="connsiteY468" fmla="*/ 6077 h 10000"/>
                  <a:gd name="connsiteX469" fmla="*/ 8926 w 10354"/>
                  <a:gd name="connsiteY469" fmla="*/ 6111 h 10000"/>
                  <a:gd name="connsiteX470" fmla="*/ 8931 w 10354"/>
                  <a:gd name="connsiteY470" fmla="*/ 6120 h 10000"/>
                  <a:gd name="connsiteX471" fmla="*/ 8931 w 10354"/>
                  <a:gd name="connsiteY471" fmla="*/ 6137 h 10000"/>
                  <a:gd name="connsiteX472" fmla="*/ 8912 w 10354"/>
                  <a:gd name="connsiteY472" fmla="*/ 6171 h 10000"/>
                  <a:gd name="connsiteX473" fmla="*/ 8899 w 10354"/>
                  <a:gd name="connsiteY473" fmla="*/ 6162 h 10000"/>
                  <a:gd name="connsiteX474" fmla="*/ 8885 w 10354"/>
                  <a:gd name="connsiteY474" fmla="*/ 6171 h 10000"/>
                  <a:gd name="connsiteX475" fmla="*/ 8866 w 10354"/>
                  <a:gd name="connsiteY475" fmla="*/ 6214 h 10000"/>
                  <a:gd name="connsiteX476" fmla="*/ 8853 w 10354"/>
                  <a:gd name="connsiteY476" fmla="*/ 6214 h 10000"/>
                  <a:gd name="connsiteX477" fmla="*/ 8816 w 10354"/>
                  <a:gd name="connsiteY477" fmla="*/ 6248 h 10000"/>
                  <a:gd name="connsiteX478" fmla="*/ 8816 w 10354"/>
                  <a:gd name="connsiteY478" fmla="*/ 6248 h 10000"/>
                  <a:gd name="connsiteX479" fmla="*/ 8816 w 10354"/>
                  <a:gd name="connsiteY479" fmla="*/ 6282 h 10000"/>
                  <a:gd name="connsiteX480" fmla="*/ 8811 w 10354"/>
                  <a:gd name="connsiteY480" fmla="*/ 6308 h 10000"/>
                  <a:gd name="connsiteX481" fmla="*/ 8751 w 10354"/>
                  <a:gd name="connsiteY481" fmla="*/ 6436 h 10000"/>
                  <a:gd name="connsiteX482" fmla="*/ 8724 w 10354"/>
                  <a:gd name="connsiteY482" fmla="*/ 6470 h 10000"/>
                  <a:gd name="connsiteX483" fmla="*/ 8710 w 10354"/>
                  <a:gd name="connsiteY483" fmla="*/ 6504 h 10000"/>
                  <a:gd name="connsiteX484" fmla="*/ 8705 w 10354"/>
                  <a:gd name="connsiteY484" fmla="*/ 6521 h 10000"/>
                  <a:gd name="connsiteX485" fmla="*/ 8677 w 10354"/>
                  <a:gd name="connsiteY485" fmla="*/ 6573 h 10000"/>
                  <a:gd name="connsiteX486" fmla="*/ 8677 w 10354"/>
                  <a:gd name="connsiteY486" fmla="*/ 6624 h 10000"/>
                  <a:gd name="connsiteX487" fmla="*/ 8590 w 10354"/>
                  <a:gd name="connsiteY487" fmla="*/ 6803 h 10000"/>
                  <a:gd name="connsiteX488" fmla="*/ 8562 w 10354"/>
                  <a:gd name="connsiteY488" fmla="*/ 6829 h 10000"/>
                  <a:gd name="connsiteX489" fmla="*/ 8544 w 10354"/>
                  <a:gd name="connsiteY489" fmla="*/ 6829 h 10000"/>
                  <a:gd name="connsiteX490" fmla="*/ 8521 w 10354"/>
                  <a:gd name="connsiteY490" fmla="*/ 6880 h 10000"/>
                  <a:gd name="connsiteX491" fmla="*/ 8498 w 10354"/>
                  <a:gd name="connsiteY491" fmla="*/ 6872 h 10000"/>
                  <a:gd name="connsiteX492" fmla="*/ 8488 w 10354"/>
                  <a:gd name="connsiteY492" fmla="*/ 6872 h 10000"/>
                  <a:gd name="connsiteX493" fmla="*/ 8498 w 10354"/>
                  <a:gd name="connsiteY493" fmla="*/ 6940 h 10000"/>
                  <a:gd name="connsiteX494" fmla="*/ 8484 w 10354"/>
                  <a:gd name="connsiteY494" fmla="*/ 7026 h 10000"/>
                  <a:gd name="connsiteX495" fmla="*/ 8429 w 10354"/>
                  <a:gd name="connsiteY495" fmla="*/ 7094 h 10000"/>
                  <a:gd name="connsiteX496" fmla="*/ 8401 w 10354"/>
                  <a:gd name="connsiteY496" fmla="*/ 7291 h 10000"/>
                  <a:gd name="connsiteX497" fmla="*/ 8424 w 10354"/>
                  <a:gd name="connsiteY497" fmla="*/ 7692 h 10000"/>
                  <a:gd name="connsiteX498" fmla="*/ 8424 w 10354"/>
                  <a:gd name="connsiteY498" fmla="*/ 7701 h 10000"/>
                  <a:gd name="connsiteX499" fmla="*/ 8484 w 10354"/>
                  <a:gd name="connsiteY499" fmla="*/ 8308 h 10000"/>
                  <a:gd name="connsiteX500" fmla="*/ 8576 w 10354"/>
                  <a:gd name="connsiteY500" fmla="*/ 8120 h 10000"/>
                  <a:gd name="connsiteX501" fmla="*/ 8590 w 10354"/>
                  <a:gd name="connsiteY501" fmla="*/ 8026 h 10000"/>
                  <a:gd name="connsiteX502" fmla="*/ 8590 w 10354"/>
                  <a:gd name="connsiteY502" fmla="*/ 7983 h 10000"/>
                  <a:gd name="connsiteX503" fmla="*/ 8594 w 10354"/>
                  <a:gd name="connsiteY503" fmla="*/ 7974 h 10000"/>
                  <a:gd name="connsiteX504" fmla="*/ 8594 w 10354"/>
                  <a:gd name="connsiteY504" fmla="*/ 7940 h 10000"/>
                  <a:gd name="connsiteX505" fmla="*/ 8594 w 10354"/>
                  <a:gd name="connsiteY505" fmla="*/ 7923 h 10000"/>
                  <a:gd name="connsiteX506" fmla="*/ 8594 w 10354"/>
                  <a:gd name="connsiteY506" fmla="*/ 7915 h 10000"/>
                  <a:gd name="connsiteX507" fmla="*/ 8604 w 10354"/>
                  <a:gd name="connsiteY507" fmla="*/ 7915 h 10000"/>
                  <a:gd name="connsiteX508" fmla="*/ 8608 w 10354"/>
                  <a:gd name="connsiteY508" fmla="*/ 7923 h 10000"/>
                  <a:gd name="connsiteX509" fmla="*/ 8645 w 10354"/>
                  <a:gd name="connsiteY509" fmla="*/ 7872 h 10000"/>
                  <a:gd name="connsiteX510" fmla="*/ 8668 w 10354"/>
                  <a:gd name="connsiteY510" fmla="*/ 7846 h 10000"/>
                  <a:gd name="connsiteX511" fmla="*/ 8691 w 10354"/>
                  <a:gd name="connsiteY511" fmla="*/ 7863 h 10000"/>
                  <a:gd name="connsiteX512" fmla="*/ 8691 w 10354"/>
                  <a:gd name="connsiteY512" fmla="*/ 7846 h 10000"/>
                  <a:gd name="connsiteX513" fmla="*/ 8682 w 10354"/>
                  <a:gd name="connsiteY513" fmla="*/ 7838 h 10000"/>
                  <a:gd name="connsiteX514" fmla="*/ 8682 w 10354"/>
                  <a:gd name="connsiteY514" fmla="*/ 7692 h 10000"/>
                  <a:gd name="connsiteX515" fmla="*/ 8728 w 10354"/>
                  <a:gd name="connsiteY515" fmla="*/ 7598 h 10000"/>
                  <a:gd name="connsiteX516" fmla="*/ 8751 w 10354"/>
                  <a:gd name="connsiteY516" fmla="*/ 7573 h 10000"/>
                  <a:gd name="connsiteX517" fmla="*/ 8770 w 10354"/>
                  <a:gd name="connsiteY517" fmla="*/ 7573 h 10000"/>
                  <a:gd name="connsiteX518" fmla="*/ 8779 w 10354"/>
                  <a:gd name="connsiteY518" fmla="*/ 7590 h 10000"/>
                  <a:gd name="connsiteX519" fmla="*/ 8793 w 10354"/>
                  <a:gd name="connsiteY519" fmla="*/ 7590 h 10000"/>
                  <a:gd name="connsiteX520" fmla="*/ 8811 w 10354"/>
                  <a:gd name="connsiteY520" fmla="*/ 7590 h 10000"/>
                  <a:gd name="connsiteX521" fmla="*/ 8825 w 10354"/>
                  <a:gd name="connsiteY521" fmla="*/ 7556 h 10000"/>
                  <a:gd name="connsiteX522" fmla="*/ 8829 w 10354"/>
                  <a:gd name="connsiteY522" fmla="*/ 7530 h 10000"/>
                  <a:gd name="connsiteX523" fmla="*/ 8802 w 10354"/>
                  <a:gd name="connsiteY523" fmla="*/ 7462 h 10000"/>
                  <a:gd name="connsiteX524" fmla="*/ 8797 w 10354"/>
                  <a:gd name="connsiteY524" fmla="*/ 7402 h 10000"/>
                  <a:gd name="connsiteX525" fmla="*/ 8816 w 10354"/>
                  <a:gd name="connsiteY525" fmla="*/ 7291 h 10000"/>
                  <a:gd name="connsiteX526" fmla="*/ 8825 w 10354"/>
                  <a:gd name="connsiteY526" fmla="*/ 7256 h 10000"/>
                  <a:gd name="connsiteX527" fmla="*/ 8843 w 10354"/>
                  <a:gd name="connsiteY527" fmla="*/ 7231 h 10000"/>
                  <a:gd name="connsiteX528" fmla="*/ 8839 w 10354"/>
                  <a:gd name="connsiteY528" fmla="*/ 7205 h 10000"/>
                  <a:gd name="connsiteX529" fmla="*/ 8839 w 10354"/>
                  <a:gd name="connsiteY529" fmla="*/ 7188 h 10000"/>
                  <a:gd name="connsiteX530" fmla="*/ 8876 w 10354"/>
                  <a:gd name="connsiteY530" fmla="*/ 7162 h 10000"/>
                  <a:gd name="connsiteX531" fmla="*/ 8885 w 10354"/>
                  <a:gd name="connsiteY531" fmla="*/ 7154 h 10000"/>
                  <a:gd name="connsiteX532" fmla="*/ 8885 w 10354"/>
                  <a:gd name="connsiteY532" fmla="*/ 7162 h 10000"/>
                  <a:gd name="connsiteX533" fmla="*/ 8876 w 10354"/>
                  <a:gd name="connsiteY533" fmla="*/ 7188 h 10000"/>
                  <a:gd name="connsiteX534" fmla="*/ 8871 w 10354"/>
                  <a:gd name="connsiteY534" fmla="*/ 7205 h 10000"/>
                  <a:gd name="connsiteX535" fmla="*/ 8866 w 10354"/>
                  <a:gd name="connsiteY535" fmla="*/ 7214 h 10000"/>
                  <a:gd name="connsiteX536" fmla="*/ 8876 w 10354"/>
                  <a:gd name="connsiteY536" fmla="*/ 7265 h 10000"/>
                  <a:gd name="connsiteX537" fmla="*/ 8885 w 10354"/>
                  <a:gd name="connsiteY537" fmla="*/ 7282 h 10000"/>
                  <a:gd name="connsiteX538" fmla="*/ 8889 w 10354"/>
                  <a:gd name="connsiteY538" fmla="*/ 7282 h 10000"/>
                  <a:gd name="connsiteX539" fmla="*/ 8903 w 10354"/>
                  <a:gd name="connsiteY539" fmla="*/ 7239 h 10000"/>
                  <a:gd name="connsiteX540" fmla="*/ 8903 w 10354"/>
                  <a:gd name="connsiteY540" fmla="*/ 7214 h 10000"/>
                  <a:gd name="connsiteX541" fmla="*/ 8899 w 10354"/>
                  <a:gd name="connsiteY541" fmla="*/ 7128 h 10000"/>
                  <a:gd name="connsiteX542" fmla="*/ 8889 w 10354"/>
                  <a:gd name="connsiteY542" fmla="*/ 7120 h 10000"/>
                  <a:gd name="connsiteX543" fmla="*/ 8871 w 10354"/>
                  <a:gd name="connsiteY543" fmla="*/ 7120 h 10000"/>
                  <a:gd name="connsiteX544" fmla="*/ 8871 w 10354"/>
                  <a:gd name="connsiteY544" fmla="*/ 7120 h 10000"/>
                  <a:gd name="connsiteX545" fmla="*/ 8871 w 10354"/>
                  <a:gd name="connsiteY545" fmla="*/ 6991 h 10000"/>
                  <a:gd name="connsiteX546" fmla="*/ 8871 w 10354"/>
                  <a:gd name="connsiteY546" fmla="*/ 6966 h 10000"/>
                  <a:gd name="connsiteX547" fmla="*/ 8889 w 10354"/>
                  <a:gd name="connsiteY547" fmla="*/ 6940 h 10000"/>
                  <a:gd name="connsiteX548" fmla="*/ 8903 w 10354"/>
                  <a:gd name="connsiteY548" fmla="*/ 6906 h 10000"/>
                  <a:gd name="connsiteX549" fmla="*/ 8899 w 10354"/>
                  <a:gd name="connsiteY549" fmla="*/ 6880 h 10000"/>
                  <a:gd name="connsiteX550" fmla="*/ 8866 w 10354"/>
                  <a:gd name="connsiteY550" fmla="*/ 6846 h 10000"/>
                  <a:gd name="connsiteX551" fmla="*/ 8853 w 10354"/>
                  <a:gd name="connsiteY551" fmla="*/ 6846 h 10000"/>
                  <a:gd name="connsiteX552" fmla="*/ 8843 w 10354"/>
                  <a:gd name="connsiteY552" fmla="*/ 6880 h 10000"/>
                  <a:gd name="connsiteX553" fmla="*/ 8843 w 10354"/>
                  <a:gd name="connsiteY553" fmla="*/ 6897 h 10000"/>
                  <a:gd name="connsiteX554" fmla="*/ 8829 w 10354"/>
                  <a:gd name="connsiteY554" fmla="*/ 6880 h 10000"/>
                  <a:gd name="connsiteX555" fmla="*/ 8825 w 10354"/>
                  <a:gd name="connsiteY555" fmla="*/ 6872 h 10000"/>
                  <a:gd name="connsiteX556" fmla="*/ 8816 w 10354"/>
                  <a:gd name="connsiteY556" fmla="*/ 6846 h 10000"/>
                  <a:gd name="connsiteX557" fmla="*/ 8816 w 10354"/>
                  <a:gd name="connsiteY557" fmla="*/ 6803 h 10000"/>
                  <a:gd name="connsiteX558" fmla="*/ 8876 w 10354"/>
                  <a:gd name="connsiteY558" fmla="*/ 6598 h 10000"/>
                  <a:gd name="connsiteX559" fmla="*/ 8876 w 10354"/>
                  <a:gd name="connsiteY559" fmla="*/ 6573 h 10000"/>
                  <a:gd name="connsiteX560" fmla="*/ 8885 w 10354"/>
                  <a:gd name="connsiteY560" fmla="*/ 6556 h 10000"/>
                  <a:gd name="connsiteX561" fmla="*/ 8899 w 10354"/>
                  <a:gd name="connsiteY561" fmla="*/ 6573 h 10000"/>
                  <a:gd name="connsiteX562" fmla="*/ 8889 w 10354"/>
                  <a:gd name="connsiteY562" fmla="*/ 6556 h 10000"/>
                  <a:gd name="connsiteX563" fmla="*/ 8889 w 10354"/>
                  <a:gd name="connsiteY563" fmla="*/ 6530 h 10000"/>
                  <a:gd name="connsiteX564" fmla="*/ 8903 w 10354"/>
                  <a:gd name="connsiteY564" fmla="*/ 6521 h 10000"/>
                  <a:gd name="connsiteX565" fmla="*/ 8903 w 10354"/>
                  <a:gd name="connsiteY565" fmla="*/ 6504 h 10000"/>
                  <a:gd name="connsiteX566" fmla="*/ 8903 w 10354"/>
                  <a:gd name="connsiteY566" fmla="*/ 6487 h 10000"/>
                  <a:gd name="connsiteX567" fmla="*/ 8903 w 10354"/>
                  <a:gd name="connsiteY567" fmla="*/ 6462 h 10000"/>
                  <a:gd name="connsiteX568" fmla="*/ 8912 w 10354"/>
                  <a:gd name="connsiteY568" fmla="*/ 6419 h 10000"/>
                  <a:gd name="connsiteX569" fmla="*/ 8917 w 10354"/>
                  <a:gd name="connsiteY569" fmla="*/ 6393 h 10000"/>
                  <a:gd name="connsiteX570" fmla="*/ 8926 w 10354"/>
                  <a:gd name="connsiteY570" fmla="*/ 6385 h 10000"/>
                  <a:gd name="connsiteX571" fmla="*/ 8931 w 10354"/>
                  <a:gd name="connsiteY571" fmla="*/ 6385 h 10000"/>
                  <a:gd name="connsiteX572" fmla="*/ 8949 w 10354"/>
                  <a:gd name="connsiteY572" fmla="*/ 6359 h 10000"/>
                  <a:gd name="connsiteX573" fmla="*/ 8959 w 10354"/>
                  <a:gd name="connsiteY573" fmla="*/ 6368 h 10000"/>
                  <a:gd name="connsiteX574" fmla="*/ 8963 w 10354"/>
                  <a:gd name="connsiteY574" fmla="*/ 6385 h 10000"/>
                  <a:gd name="connsiteX575" fmla="*/ 8972 w 10354"/>
                  <a:gd name="connsiteY575" fmla="*/ 6359 h 10000"/>
                  <a:gd name="connsiteX576" fmla="*/ 8991 w 10354"/>
                  <a:gd name="connsiteY576" fmla="*/ 6350 h 10000"/>
                  <a:gd name="connsiteX577" fmla="*/ 9000 w 10354"/>
                  <a:gd name="connsiteY577" fmla="*/ 6368 h 10000"/>
                  <a:gd name="connsiteX578" fmla="*/ 9005 w 10354"/>
                  <a:gd name="connsiteY578" fmla="*/ 6393 h 10000"/>
                  <a:gd name="connsiteX579" fmla="*/ 9018 w 10354"/>
                  <a:gd name="connsiteY579" fmla="*/ 6393 h 10000"/>
                  <a:gd name="connsiteX580" fmla="*/ 9023 w 10354"/>
                  <a:gd name="connsiteY580" fmla="*/ 6359 h 10000"/>
                  <a:gd name="connsiteX581" fmla="*/ 9023 w 10354"/>
                  <a:gd name="connsiteY581" fmla="*/ 6333 h 10000"/>
                  <a:gd name="connsiteX582" fmla="*/ 9037 w 10354"/>
                  <a:gd name="connsiteY582" fmla="*/ 6308 h 10000"/>
                  <a:gd name="connsiteX583" fmla="*/ 9074 w 10354"/>
                  <a:gd name="connsiteY583" fmla="*/ 6274 h 10000"/>
                  <a:gd name="connsiteX584" fmla="*/ 9092 w 10354"/>
                  <a:gd name="connsiteY584" fmla="*/ 6222 h 10000"/>
                  <a:gd name="connsiteX585" fmla="*/ 9097 w 10354"/>
                  <a:gd name="connsiteY585" fmla="*/ 6231 h 10000"/>
                  <a:gd name="connsiteX586" fmla="*/ 9097 w 10354"/>
                  <a:gd name="connsiteY586" fmla="*/ 6248 h 10000"/>
                  <a:gd name="connsiteX587" fmla="*/ 9097 w 10354"/>
                  <a:gd name="connsiteY587" fmla="*/ 6274 h 10000"/>
                  <a:gd name="connsiteX588" fmla="*/ 9097 w 10354"/>
                  <a:gd name="connsiteY588" fmla="*/ 6308 h 10000"/>
                  <a:gd name="connsiteX589" fmla="*/ 9092 w 10354"/>
                  <a:gd name="connsiteY589" fmla="*/ 6368 h 10000"/>
                  <a:gd name="connsiteX590" fmla="*/ 9092 w 10354"/>
                  <a:gd name="connsiteY590" fmla="*/ 6385 h 10000"/>
                  <a:gd name="connsiteX591" fmla="*/ 9092 w 10354"/>
                  <a:gd name="connsiteY591" fmla="*/ 6393 h 10000"/>
                  <a:gd name="connsiteX592" fmla="*/ 9092 w 10354"/>
                  <a:gd name="connsiteY592" fmla="*/ 6393 h 10000"/>
                  <a:gd name="connsiteX593" fmla="*/ 9143 w 10354"/>
                  <a:gd name="connsiteY593" fmla="*/ 6299 h 10000"/>
                  <a:gd name="connsiteX594" fmla="*/ 9143 w 10354"/>
                  <a:gd name="connsiteY594" fmla="*/ 6282 h 10000"/>
                  <a:gd name="connsiteX595" fmla="*/ 9143 w 10354"/>
                  <a:gd name="connsiteY595" fmla="*/ 6256 h 10000"/>
                  <a:gd name="connsiteX596" fmla="*/ 9143 w 10354"/>
                  <a:gd name="connsiteY596" fmla="*/ 6256 h 10000"/>
                  <a:gd name="connsiteX597" fmla="*/ 9157 w 10354"/>
                  <a:gd name="connsiteY597" fmla="*/ 6274 h 10000"/>
                  <a:gd name="connsiteX598" fmla="*/ 9166 w 10354"/>
                  <a:gd name="connsiteY598" fmla="*/ 6248 h 10000"/>
                  <a:gd name="connsiteX599" fmla="*/ 9180 w 10354"/>
                  <a:gd name="connsiteY599" fmla="*/ 6248 h 10000"/>
                  <a:gd name="connsiteX600" fmla="*/ 9198 w 10354"/>
                  <a:gd name="connsiteY600" fmla="*/ 6222 h 10000"/>
                  <a:gd name="connsiteX601" fmla="*/ 9212 w 10354"/>
                  <a:gd name="connsiteY601" fmla="*/ 6222 h 10000"/>
                  <a:gd name="connsiteX602" fmla="*/ 9226 w 10354"/>
                  <a:gd name="connsiteY602" fmla="*/ 6197 h 10000"/>
                  <a:gd name="connsiteX603" fmla="*/ 9230 w 10354"/>
                  <a:gd name="connsiteY603" fmla="*/ 6214 h 10000"/>
                  <a:gd name="connsiteX604" fmla="*/ 9272 w 10354"/>
                  <a:gd name="connsiteY604" fmla="*/ 6214 h 10000"/>
                  <a:gd name="connsiteX605" fmla="*/ 9304 w 10354"/>
                  <a:gd name="connsiteY605" fmla="*/ 6231 h 10000"/>
                  <a:gd name="connsiteX606" fmla="*/ 9318 w 10354"/>
                  <a:gd name="connsiteY606" fmla="*/ 6248 h 10000"/>
                  <a:gd name="connsiteX607" fmla="*/ 9327 w 10354"/>
                  <a:gd name="connsiteY607" fmla="*/ 6282 h 10000"/>
                  <a:gd name="connsiteX608" fmla="*/ 9355 w 10354"/>
                  <a:gd name="connsiteY608" fmla="*/ 6350 h 10000"/>
                  <a:gd name="connsiteX609" fmla="*/ 9355 w 10354"/>
                  <a:gd name="connsiteY609" fmla="*/ 6359 h 10000"/>
                  <a:gd name="connsiteX610" fmla="*/ 9364 w 10354"/>
                  <a:gd name="connsiteY610" fmla="*/ 6368 h 10000"/>
                  <a:gd name="connsiteX611" fmla="*/ 9373 w 10354"/>
                  <a:gd name="connsiteY611" fmla="*/ 6359 h 10000"/>
                  <a:gd name="connsiteX612" fmla="*/ 9373 w 10354"/>
                  <a:gd name="connsiteY612" fmla="*/ 6325 h 10000"/>
                  <a:gd name="connsiteX613" fmla="*/ 9387 w 10354"/>
                  <a:gd name="connsiteY613" fmla="*/ 6256 h 10000"/>
                  <a:gd name="connsiteX614" fmla="*/ 9387 w 10354"/>
                  <a:gd name="connsiteY614" fmla="*/ 6248 h 10000"/>
                  <a:gd name="connsiteX615" fmla="*/ 9378 w 10354"/>
                  <a:gd name="connsiteY615" fmla="*/ 6248 h 10000"/>
                  <a:gd name="connsiteX616" fmla="*/ 9406 w 10354"/>
                  <a:gd name="connsiteY616" fmla="*/ 6222 h 10000"/>
                  <a:gd name="connsiteX617" fmla="*/ 9415 w 10354"/>
                  <a:gd name="connsiteY617" fmla="*/ 6222 h 10000"/>
                  <a:gd name="connsiteX618" fmla="*/ 9415 w 10354"/>
                  <a:gd name="connsiteY618" fmla="*/ 6197 h 10000"/>
                  <a:gd name="connsiteX619" fmla="*/ 9419 w 10354"/>
                  <a:gd name="connsiteY619" fmla="*/ 6214 h 10000"/>
                  <a:gd name="connsiteX620" fmla="*/ 9424 w 10354"/>
                  <a:gd name="connsiteY620" fmla="*/ 6214 h 10000"/>
                  <a:gd name="connsiteX621" fmla="*/ 9447 w 10354"/>
                  <a:gd name="connsiteY621" fmla="*/ 6171 h 10000"/>
                  <a:gd name="connsiteX622" fmla="*/ 9452 w 10354"/>
                  <a:gd name="connsiteY622" fmla="*/ 6171 h 10000"/>
                  <a:gd name="connsiteX623" fmla="*/ 9452 w 10354"/>
                  <a:gd name="connsiteY623" fmla="*/ 6162 h 10000"/>
                  <a:gd name="connsiteX624" fmla="*/ 9461 w 10354"/>
                  <a:gd name="connsiteY624" fmla="*/ 6137 h 10000"/>
                  <a:gd name="connsiteX625" fmla="*/ 9475 w 10354"/>
                  <a:gd name="connsiteY625" fmla="*/ 6137 h 10000"/>
                  <a:gd name="connsiteX626" fmla="*/ 9475 w 10354"/>
                  <a:gd name="connsiteY626" fmla="*/ 6137 h 10000"/>
                  <a:gd name="connsiteX627" fmla="*/ 9479 w 10354"/>
                  <a:gd name="connsiteY627" fmla="*/ 6120 h 10000"/>
                  <a:gd name="connsiteX628" fmla="*/ 9488 w 10354"/>
                  <a:gd name="connsiteY628" fmla="*/ 6120 h 10000"/>
                  <a:gd name="connsiteX629" fmla="*/ 9488 w 10354"/>
                  <a:gd name="connsiteY629" fmla="*/ 6111 h 10000"/>
                  <a:gd name="connsiteX630" fmla="*/ 9479 w 10354"/>
                  <a:gd name="connsiteY630" fmla="*/ 6103 h 10000"/>
                  <a:gd name="connsiteX631" fmla="*/ 9479 w 10354"/>
                  <a:gd name="connsiteY631" fmla="*/ 6085 h 10000"/>
                  <a:gd name="connsiteX632" fmla="*/ 9488 w 10354"/>
                  <a:gd name="connsiteY632" fmla="*/ 6103 h 10000"/>
                  <a:gd name="connsiteX633" fmla="*/ 9493 w 10354"/>
                  <a:gd name="connsiteY633" fmla="*/ 6111 h 10000"/>
                  <a:gd name="connsiteX634" fmla="*/ 9498 w 10354"/>
                  <a:gd name="connsiteY634" fmla="*/ 6103 h 10000"/>
                  <a:gd name="connsiteX635" fmla="*/ 9507 w 10354"/>
                  <a:gd name="connsiteY635" fmla="*/ 6077 h 10000"/>
                  <a:gd name="connsiteX636" fmla="*/ 9498 w 10354"/>
                  <a:gd name="connsiteY636" fmla="*/ 6060 h 10000"/>
                  <a:gd name="connsiteX637" fmla="*/ 9512 w 10354"/>
                  <a:gd name="connsiteY637" fmla="*/ 6060 h 10000"/>
                  <a:gd name="connsiteX638" fmla="*/ 9525 w 10354"/>
                  <a:gd name="connsiteY638" fmla="*/ 6034 h 10000"/>
                  <a:gd name="connsiteX639" fmla="*/ 9535 w 10354"/>
                  <a:gd name="connsiteY639" fmla="*/ 6034 h 10000"/>
                  <a:gd name="connsiteX640" fmla="*/ 9535 w 10354"/>
                  <a:gd name="connsiteY640" fmla="*/ 6026 h 10000"/>
                  <a:gd name="connsiteX641" fmla="*/ 9525 w 10354"/>
                  <a:gd name="connsiteY641" fmla="*/ 6009 h 10000"/>
                  <a:gd name="connsiteX642" fmla="*/ 9535 w 10354"/>
                  <a:gd name="connsiteY642" fmla="*/ 6000 h 10000"/>
                  <a:gd name="connsiteX643" fmla="*/ 9539 w 10354"/>
                  <a:gd name="connsiteY643" fmla="*/ 6009 h 10000"/>
                  <a:gd name="connsiteX644" fmla="*/ 9548 w 10354"/>
                  <a:gd name="connsiteY644" fmla="*/ 6009 h 10000"/>
                  <a:gd name="connsiteX645" fmla="*/ 9553 w 10354"/>
                  <a:gd name="connsiteY645" fmla="*/ 6000 h 10000"/>
                  <a:gd name="connsiteX646" fmla="*/ 9562 w 10354"/>
                  <a:gd name="connsiteY646" fmla="*/ 5983 h 10000"/>
                  <a:gd name="connsiteX647" fmla="*/ 9562 w 10354"/>
                  <a:gd name="connsiteY647" fmla="*/ 5974 h 10000"/>
                  <a:gd name="connsiteX648" fmla="*/ 9567 w 10354"/>
                  <a:gd name="connsiteY648" fmla="*/ 5974 h 10000"/>
                  <a:gd name="connsiteX649" fmla="*/ 9567 w 10354"/>
                  <a:gd name="connsiteY649" fmla="*/ 5966 h 10000"/>
                  <a:gd name="connsiteX650" fmla="*/ 9567 w 10354"/>
                  <a:gd name="connsiteY650" fmla="*/ 5940 h 10000"/>
                  <a:gd name="connsiteX651" fmla="*/ 9571 w 10354"/>
                  <a:gd name="connsiteY651" fmla="*/ 5915 h 10000"/>
                  <a:gd name="connsiteX652" fmla="*/ 9581 w 10354"/>
                  <a:gd name="connsiteY652" fmla="*/ 5923 h 10000"/>
                  <a:gd name="connsiteX653" fmla="*/ 9585 w 10354"/>
                  <a:gd name="connsiteY653" fmla="*/ 5940 h 10000"/>
                  <a:gd name="connsiteX654" fmla="*/ 9594 w 10354"/>
                  <a:gd name="connsiteY654" fmla="*/ 5949 h 10000"/>
                  <a:gd name="connsiteX655" fmla="*/ 9599 w 10354"/>
                  <a:gd name="connsiteY655" fmla="*/ 5940 h 10000"/>
                  <a:gd name="connsiteX656" fmla="*/ 9613 w 10354"/>
                  <a:gd name="connsiteY656" fmla="*/ 5915 h 10000"/>
                  <a:gd name="connsiteX657" fmla="*/ 9645 w 10354"/>
                  <a:gd name="connsiteY657" fmla="*/ 5889 h 10000"/>
                  <a:gd name="connsiteX658" fmla="*/ 9654 w 10354"/>
                  <a:gd name="connsiteY658" fmla="*/ 5872 h 10000"/>
                  <a:gd name="connsiteX659" fmla="*/ 9673 w 10354"/>
                  <a:gd name="connsiteY659" fmla="*/ 5863 h 10000"/>
                  <a:gd name="connsiteX660" fmla="*/ 9682 w 10354"/>
                  <a:gd name="connsiteY660" fmla="*/ 5838 h 10000"/>
                  <a:gd name="connsiteX661" fmla="*/ 9682 w 10354"/>
                  <a:gd name="connsiteY661" fmla="*/ 5829 h 10000"/>
                  <a:gd name="connsiteX662" fmla="*/ 9682 w 10354"/>
                  <a:gd name="connsiteY662" fmla="*/ 5812 h 10000"/>
                  <a:gd name="connsiteX663" fmla="*/ 9687 w 10354"/>
                  <a:gd name="connsiteY663" fmla="*/ 5812 h 10000"/>
                  <a:gd name="connsiteX664" fmla="*/ 9687 w 10354"/>
                  <a:gd name="connsiteY664" fmla="*/ 5829 h 10000"/>
                  <a:gd name="connsiteX665" fmla="*/ 9687 w 10354"/>
                  <a:gd name="connsiteY665" fmla="*/ 5829 h 10000"/>
                  <a:gd name="connsiteX666" fmla="*/ 9719 w 10354"/>
                  <a:gd name="connsiteY666" fmla="*/ 5803 h 10000"/>
                  <a:gd name="connsiteX667" fmla="*/ 9728 w 10354"/>
                  <a:gd name="connsiteY667" fmla="*/ 5803 h 10000"/>
                  <a:gd name="connsiteX668" fmla="*/ 9779 w 10354"/>
                  <a:gd name="connsiteY668" fmla="*/ 5726 h 10000"/>
                  <a:gd name="connsiteX669" fmla="*/ 9816 w 10354"/>
                  <a:gd name="connsiteY669" fmla="*/ 5709 h 10000"/>
                  <a:gd name="connsiteX670" fmla="*/ 9820 w 10354"/>
                  <a:gd name="connsiteY670" fmla="*/ 5701 h 10000"/>
                  <a:gd name="connsiteX671" fmla="*/ 9816 w 10354"/>
                  <a:gd name="connsiteY671" fmla="*/ 5692 h 10000"/>
                  <a:gd name="connsiteX672" fmla="*/ 9816 w 10354"/>
                  <a:gd name="connsiteY672" fmla="*/ 5692 h 10000"/>
                  <a:gd name="connsiteX673" fmla="*/ 9802 w 10354"/>
                  <a:gd name="connsiteY673" fmla="*/ 5624 h 10000"/>
                  <a:gd name="connsiteX674" fmla="*/ 9806 w 10354"/>
                  <a:gd name="connsiteY674" fmla="*/ 5624 h 10000"/>
                  <a:gd name="connsiteX675" fmla="*/ 9820 w 10354"/>
                  <a:gd name="connsiteY675" fmla="*/ 5675 h 10000"/>
                  <a:gd name="connsiteX676" fmla="*/ 9829 w 10354"/>
                  <a:gd name="connsiteY676" fmla="*/ 5675 h 10000"/>
                  <a:gd name="connsiteX677" fmla="*/ 9829 w 10354"/>
                  <a:gd name="connsiteY677" fmla="*/ 5692 h 10000"/>
                  <a:gd name="connsiteX678" fmla="*/ 9829 w 10354"/>
                  <a:gd name="connsiteY678" fmla="*/ 5701 h 10000"/>
                  <a:gd name="connsiteX679" fmla="*/ 9839 w 10354"/>
                  <a:gd name="connsiteY679" fmla="*/ 5701 h 10000"/>
                  <a:gd name="connsiteX680" fmla="*/ 9839 w 10354"/>
                  <a:gd name="connsiteY680" fmla="*/ 5692 h 10000"/>
                  <a:gd name="connsiteX681" fmla="*/ 9839 w 10354"/>
                  <a:gd name="connsiteY681" fmla="*/ 5675 h 10000"/>
                  <a:gd name="connsiteX682" fmla="*/ 9848 w 10354"/>
                  <a:gd name="connsiteY682" fmla="*/ 5675 h 10000"/>
                  <a:gd name="connsiteX683" fmla="*/ 9848 w 10354"/>
                  <a:gd name="connsiteY683" fmla="*/ 5692 h 10000"/>
                  <a:gd name="connsiteX684" fmla="*/ 9853 w 10354"/>
                  <a:gd name="connsiteY684" fmla="*/ 5701 h 10000"/>
                  <a:gd name="connsiteX685" fmla="*/ 9880 w 10354"/>
                  <a:gd name="connsiteY685" fmla="*/ 5709 h 10000"/>
                  <a:gd name="connsiteX686" fmla="*/ 9912 w 10354"/>
                  <a:gd name="connsiteY686" fmla="*/ 5752 h 10000"/>
                  <a:gd name="connsiteX687" fmla="*/ 9926 w 10354"/>
                  <a:gd name="connsiteY687" fmla="*/ 5761 h 10000"/>
                  <a:gd name="connsiteX688" fmla="*/ 9935 w 10354"/>
                  <a:gd name="connsiteY688" fmla="*/ 5761 h 10000"/>
                  <a:gd name="connsiteX689" fmla="*/ 9940 w 10354"/>
                  <a:gd name="connsiteY689" fmla="*/ 5735 h 10000"/>
                  <a:gd name="connsiteX690" fmla="*/ 9949 w 10354"/>
                  <a:gd name="connsiteY690" fmla="*/ 5735 h 10000"/>
                  <a:gd name="connsiteX691" fmla="*/ 9968 w 10354"/>
                  <a:gd name="connsiteY691" fmla="*/ 5692 h 10000"/>
                  <a:gd name="connsiteX692" fmla="*/ 9968 w 10354"/>
                  <a:gd name="connsiteY692" fmla="*/ 5650 h 10000"/>
                  <a:gd name="connsiteX693" fmla="*/ 9968 w 10354"/>
                  <a:gd name="connsiteY693" fmla="*/ 5624 h 10000"/>
                  <a:gd name="connsiteX694" fmla="*/ 9935 w 10354"/>
                  <a:gd name="connsiteY694" fmla="*/ 5598 h 10000"/>
                  <a:gd name="connsiteX695" fmla="*/ 9935 w 10354"/>
                  <a:gd name="connsiteY695" fmla="*/ 5590 h 10000"/>
                  <a:gd name="connsiteX696" fmla="*/ 9935 w 10354"/>
                  <a:gd name="connsiteY696" fmla="*/ 5573 h 10000"/>
                  <a:gd name="connsiteX697" fmla="*/ 9935 w 10354"/>
                  <a:gd name="connsiteY697" fmla="*/ 5573 h 10000"/>
                  <a:gd name="connsiteX698" fmla="*/ 9940 w 10354"/>
                  <a:gd name="connsiteY698" fmla="*/ 5573 h 10000"/>
                  <a:gd name="connsiteX699" fmla="*/ 9954 w 10354"/>
                  <a:gd name="connsiteY699" fmla="*/ 5573 h 10000"/>
                  <a:gd name="connsiteX700" fmla="*/ 9963 w 10354"/>
                  <a:gd name="connsiteY700" fmla="*/ 5564 h 10000"/>
                  <a:gd name="connsiteX701" fmla="*/ 9954 w 10354"/>
                  <a:gd name="connsiteY701" fmla="*/ 5530 h 10000"/>
                  <a:gd name="connsiteX702" fmla="*/ 9949 w 10354"/>
                  <a:gd name="connsiteY702" fmla="*/ 5530 h 10000"/>
                  <a:gd name="connsiteX703" fmla="*/ 9926 w 10354"/>
                  <a:gd name="connsiteY703" fmla="*/ 5479 h 10000"/>
                  <a:gd name="connsiteX704" fmla="*/ 9912 w 10354"/>
                  <a:gd name="connsiteY704" fmla="*/ 5325 h 10000"/>
                  <a:gd name="connsiteX705" fmla="*/ 9903 w 10354"/>
                  <a:gd name="connsiteY705" fmla="*/ 5342 h 10000"/>
                  <a:gd name="connsiteX706" fmla="*/ 9889 w 10354"/>
                  <a:gd name="connsiteY706" fmla="*/ 5316 h 10000"/>
                  <a:gd name="connsiteX707" fmla="*/ 9889 w 10354"/>
                  <a:gd name="connsiteY707" fmla="*/ 5291 h 10000"/>
                  <a:gd name="connsiteX708" fmla="*/ 9903 w 10354"/>
                  <a:gd name="connsiteY708" fmla="*/ 5291 h 10000"/>
                  <a:gd name="connsiteX709" fmla="*/ 9903 w 10354"/>
                  <a:gd name="connsiteY709" fmla="*/ 5291 h 10000"/>
                  <a:gd name="connsiteX710" fmla="*/ 9894 w 10354"/>
                  <a:gd name="connsiteY710" fmla="*/ 5214 h 10000"/>
                  <a:gd name="connsiteX711" fmla="*/ 9880 w 10354"/>
                  <a:gd name="connsiteY711" fmla="*/ 5239 h 10000"/>
                  <a:gd name="connsiteX712" fmla="*/ 9876 w 10354"/>
                  <a:gd name="connsiteY712" fmla="*/ 5256 h 10000"/>
                  <a:gd name="connsiteX713" fmla="*/ 9862 w 10354"/>
                  <a:gd name="connsiteY713" fmla="*/ 5239 h 10000"/>
                  <a:gd name="connsiteX714" fmla="*/ 9853 w 10354"/>
                  <a:gd name="connsiteY714" fmla="*/ 5214 h 10000"/>
                  <a:gd name="connsiteX715" fmla="*/ 9839 w 10354"/>
                  <a:gd name="connsiteY715" fmla="*/ 5214 h 10000"/>
                  <a:gd name="connsiteX716" fmla="*/ 9834 w 10354"/>
                  <a:gd name="connsiteY716" fmla="*/ 5188 h 10000"/>
                  <a:gd name="connsiteX717" fmla="*/ 9834 w 10354"/>
                  <a:gd name="connsiteY717" fmla="*/ 5103 h 10000"/>
                  <a:gd name="connsiteX718" fmla="*/ 9839 w 10354"/>
                  <a:gd name="connsiteY718" fmla="*/ 5094 h 10000"/>
                  <a:gd name="connsiteX719" fmla="*/ 9853 w 10354"/>
                  <a:gd name="connsiteY719" fmla="*/ 5103 h 10000"/>
                  <a:gd name="connsiteX720" fmla="*/ 9876 w 10354"/>
                  <a:gd name="connsiteY720" fmla="*/ 5128 h 10000"/>
                  <a:gd name="connsiteX721" fmla="*/ 9889 w 10354"/>
                  <a:gd name="connsiteY721" fmla="*/ 5103 h 10000"/>
                  <a:gd name="connsiteX722" fmla="*/ 9880 w 10354"/>
                  <a:gd name="connsiteY722" fmla="*/ 5120 h 10000"/>
                  <a:gd name="connsiteX723" fmla="*/ 9889 w 10354"/>
                  <a:gd name="connsiteY723" fmla="*/ 5128 h 10000"/>
                  <a:gd name="connsiteX724" fmla="*/ 9912 w 10354"/>
                  <a:gd name="connsiteY724" fmla="*/ 5128 h 10000"/>
                  <a:gd name="connsiteX725" fmla="*/ 9908 w 10354"/>
                  <a:gd name="connsiteY725" fmla="*/ 5145 h 10000"/>
                  <a:gd name="connsiteX726" fmla="*/ 9908 w 10354"/>
                  <a:gd name="connsiteY726" fmla="*/ 5154 h 10000"/>
                  <a:gd name="connsiteX727" fmla="*/ 9922 w 10354"/>
                  <a:gd name="connsiteY727" fmla="*/ 5128 h 10000"/>
                  <a:gd name="connsiteX728" fmla="*/ 9935 w 10354"/>
                  <a:gd name="connsiteY728" fmla="*/ 5103 h 10000"/>
                  <a:gd name="connsiteX729" fmla="*/ 9968 w 10354"/>
                  <a:gd name="connsiteY729" fmla="*/ 5077 h 10000"/>
                  <a:gd name="connsiteX730" fmla="*/ 10000 w 10354"/>
                  <a:gd name="connsiteY730" fmla="*/ 5017 h 10000"/>
                  <a:gd name="connsiteX731" fmla="*/ 10354 w 10354"/>
                  <a:gd name="connsiteY731" fmla="*/ 4302 h 10000"/>
                  <a:gd name="connsiteX732" fmla="*/ 9912 w 10354"/>
                  <a:gd name="connsiteY732" fmla="*/ 3675 h 10000"/>
                  <a:gd name="connsiteX733" fmla="*/ 9903 w 10354"/>
                  <a:gd name="connsiteY733" fmla="*/ 3667 h 10000"/>
                  <a:gd name="connsiteX734" fmla="*/ 9894 w 10354"/>
                  <a:gd name="connsiteY734" fmla="*/ 3641 h 10000"/>
                  <a:gd name="connsiteX735" fmla="*/ 9889 w 10354"/>
                  <a:gd name="connsiteY735" fmla="*/ 3650 h 10000"/>
                  <a:gd name="connsiteX736" fmla="*/ 9848 w 10354"/>
                  <a:gd name="connsiteY736" fmla="*/ 3598 h 10000"/>
                  <a:gd name="connsiteX737" fmla="*/ 9829 w 10354"/>
                  <a:gd name="connsiteY737" fmla="*/ 3581 h 10000"/>
                  <a:gd name="connsiteX738" fmla="*/ 9820 w 10354"/>
                  <a:gd name="connsiteY738" fmla="*/ 3581 h 10000"/>
                  <a:gd name="connsiteX739" fmla="*/ 9793 w 10354"/>
                  <a:gd name="connsiteY739" fmla="*/ 3556 h 10000"/>
                  <a:gd name="connsiteX740" fmla="*/ 9779 w 10354"/>
                  <a:gd name="connsiteY740" fmla="*/ 3556 h 10000"/>
                  <a:gd name="connsiteX741" fmla="*/ 9747 w 10354"/>
                  <a:gd name="connsiteY741" fmla="*/ 3487 h 10000"/>
                  <a:gd name="connsiteX742" fmla="*/ 9668 w 10354"/>
                  <a:gd name="connsiteY742" fmla="*/ 3479 h 10000"/>
                  <a:gd name="connsiteX743" fmla="*/ 9659 w 10354"/>
                  <a:gd name="connsiteY743" fmla="*/ 3487 h 10000"/>
                  <a:gd name="connsiteX744" fmla="*/ 9645 w 10354"/>
                  <a:gd name="connsiteY744" fmla="*/ 3504 h 10000"/>
                  <a:gd name="connsiteX745" fmla="*/ 9631 w 10354"/>
                  <a:gd name="connsiteY745" fmla="*/ 3487 h 10000"/>
                  <a:gd name="connsiteX746" fmla="*/ 9613 w 10354"/>
                  <a:gd name="connsiteY746" fmla="*/ 3479 h 10000"/>
                  <a:gd name="connsiteX747" fmla="*/ 9599 w 10354"/>
                  <a:gd name="connsiteY747" fmla="*/ 3479 h 10000"/>
                  <a:gd name="connsiteX748" fmla="*/ 9571 w 10354"/>
                  <a:gd name="connsiteY748" fmla="*/ 3479 h 10000"/>
                  <a:gd name="connsiteX749" fmla="*/ 9562 w 10354"/>
                  <a:gd name="connsiteY749" fmla="*/ 3487 h 10000"/>
                  <a:gd name="connsiteX750" fmla="*/ 9539 w 10354"/>
                  <a:gd name="connsiteY750" fmla="*/ 3487 h 10000"/>
                  <a:gd name="connsiteX751" fmla="*/ 9507 w 10354"/>
                  <a:gd name="connsiteY751" fmla="*/ 3453 h 10000"/>
                  <a:gd name="connsiteX752" fmla="*/ 9498 w 10354"/>
                  <a:gd name="connsiteY752" fmla="*/ 3453 h 10000"/>
                  <a:gd name="connsiteX753" fmla="*/ 9387 w 10354"/>
                  <a:gd name="connsiteY753" fmla="*/ 3419 h 10000"/>
                  <a:gd name="connsiteX754" fmla="*/ 9373 w 10354"/>
                  <a:gd name="connsiteY754" fmla="*/ 3427 h 10000"/>
                  <a:gd name="connsiteX755" fmla="*/ 9373 w 10354"/>
                  <a:gd name="connsiteY755" fmla="*/ 3462 h 10000"/>
                  <a:gd name="connsiteX756" fmla="*/ 9378 w 10354"/>
                  <a:gd name="connsiteY756" fmla="*/ 3479 h 10000"/>
                  <a:gd name="connsiteX757" fmla="*/ 9378 w 10354"/>
                  <a:gd name="connsiteY757" fmla="*/ 3530 h 10000"/>
                  <a:gd name="connsiteX758" fmla="*/ 9355 w 10354"/>
                  <a:gd name="connsiteY758" fmla="*/ 3538 h 10000"/>
                  <a:gd name="connsiteX759" fmla="*/ 9355 w 10354"/>
                  <a:gd name="connsiteY759" fmla="*/ 3581 h 10000"/>
                  <a:gd name="connsiteX760" fmla="*/ 9387 w 10354"/>
                  <a:gd name="connsiteY760" fmla="*/ 3590 h 10000"/>
                  <a:gd name="connsiteX761" fmla="*/ 9401 w 10354"/>
                  <a:gd name="connsiteY761" fmla="*/ 3667 h 10000"/>
                  <a:gd name="connsiteX762" fmla="*/ 9406 w 10354"/>
                  <a:gd name="connsiteY762" fmla="*/ 3675 h 10000"/>
                  <a:gd name="connsiteX763" fmla="*/ 9406 w 10354"/>
                  <a:gd name="connsiteY763" fmla="*/ 3701 h 10000"/>
                  <a:gd name="connsiteX764" fmla="*/ 9415 w 10354"/>
                  <a:gd name="connsiteY764" fmla="*/ 3752 h 10000"/>
                  <a:gd name="connsiteX765" fmla="*/ 9373 w 10354"/>
                  <a:gd name="connsiteY765" fmla="*/ 3838 h 10000"/>
                  <a:gd name="connsiteX766" fmla="*/ 9355 w 10354"/>
                  <a:gd name="connsiteY766" fmla="*/ 3863 h 10000"/>
                  <a:gd name="connsiteX767" fmla="*/ 9327 w 10354"/>
                  <a:gd name="connsiteY767" fmla="*/ 3863 h 10000"/>
                  <a:gd name="connsiteX768" fmla="*/ 9313 w 10354"/>
                  <a:gd name="connsiteY768" fmla="*/ 3846 h 10000"/>
                  <a:gd name="connsiteX769" fmla="*/ 9300 w 10354"/>
                  <a:gd name="connsiteY769" fmla="*/ 3778 h 10000"/>
                  <a:gd name="connsiteX770" fmla="*/ 9281 w 10354"/>
                  <a:gd name="connsiteY770" fmla="*/ 3752 h 10000"/>
                  <a:gd name="connsiteX771" fmla="*/ 9281 w 10354"/>
                  <a:gd name="connsiteY771" fmla="*/ 3735 h 10000"/>
                  <a:gd name="connsiteX772" fmla="*/ 9267 w 10354"/>
                  <a:gd name="connsiteY772" fmla="*/ 3726 h 10000"/>
                  <a:gd name="connsiteX773" fmla="*/ 9240 w 10354"/>
                  <a:gd name="connsiteY773" fmla="*/ 3726 h 10000"/>
                  <a:gd name="connsiteX774" fmla="*/ 9230 w 10354"/>
                  <a:gd name="connsiteY774" fmla="*/ 3718 h 10000"/>
                  <a:gd name="connsiteX775" fmla="*/ 9226 w 10354"/>
                  <a:gd name="connsiteY775" fmla="*/ 3590 h 10000"/>
                  <a:gd name="connsiteX776" fmla="*/ 9207 w 10354"/>
                  <a:gd name="connsiteY776" fmla="*/ 3581 h 10000"/>
                  <a:gd name="connsiteX777" fmla="*/ 9207 w 10354"/>
                  <a:gd name="connsiteY777" fmla="*/ 3556 h 10000"/>
                  <a:gd name="connsiteX778" fmla="*/ 9217 w 10354"/>
                  <a:gd name="connsiteY778" fmla="*/ 3538 h 10000"/>
                  <a:gd name="connsiteX779" fmla="*/ 9212 w 10354"/>
                  <a:gd name="connsiteY779" fmla="*/ 3538 h 10000"/>
                  <a:gd name="connsiteX780" fmla="*/ 9198 w 10354"/>
                  <a:gd name="connsiteY780" fmla="*/ 3513 h 10000"/>
                  <a:gd name="connsiteX781" fmla="*/ 9194 w 10354"/>
                  <a:gd name="connsiteY781" fmla="*/ 3530 h 10000"/>
                  <a:gd name="connsiteX782" fmla="*/ 9143 w 10354"/>
                  <a:gd name="connsiteY782" fmla="*/ 3615 h 10000"/>
                  <a:gd name="connsiteX783" fmla="*/ 9138 w 10354"/>
                  <a:gd name="connsiteY783" fmla="*/ 3615 h 10000"/>
                  <a:gd name="connsiteX784" fmla="*/ 9134 w 10354"/>
                  <a:gd name="connsiteY784" fmla="*/ 3615 h 10000"/>
                  <a:gd name="connsiteX785" fmla="*/ 9106 w 10354"/>
                  <a:gd name="connsiteY785" fmla="*/ 3615 h 10000"/>
                  <a:gd name="connsiteX786" fmla="*/ 9078 w 10354"/>
                  <a:gd name="connsiteY786" fmla="*/ 3590 h 10000"/>
                  <a:gd name="connsiteX787" fmla="*/ 9037 w 10354"/>
                  <a:gd name="connsiteY787" fmla="*/ 3581 h 10000"/>
                  <a:gd name="connsiteX788" fmla="*/ 9023 w 10354"/>
                  <a:gd name="connsiteY788" fmla="*/ 3590 h 10000"/>
                  <a:gd name="connsiteX789" fmla="*/ 9018 w 10354"/>
                  <a:gd name="connsiteY789" fmla="*/ 3590 h 10000"/>
                  <a:gd name="connsiteX790" fmla="*/ 9018 w 10354"/>
                  <a:gd name="connsiteY790" fmla="*/ 3590 h 10000"/>
                  <a:gd name="connsiteX791" fmla="*/ 8991 w 10354"/>
                  <a:gd name="connsiteY791" fmla="*/ 3590 h 10000"/>
                  <a:gd name="connsiteX792" fmla="*/ 8972 w 10354"/>
                  <a:gd name="connsiteY792" fmla="*/ 3581 h 10000"/>
                  <a:gd name="connsiteX793" fmla="*/ 8959 w 10354"/>
                  <a:gd name="connsiteY793" fmla="*/ 3513 h 10000"/>
                  <a:gd name="connsiteX794" fmla="*/ 8931 w 10354"/>
                  <a:gd name="connsiteY794" fmla="*/ 3538 h 10000"/>
                  <a:gd name="connsiteX795" fmla="*/ 8889 w 10354"/>
                  <a:gd name="connsiteY795" fmla="*/ 3538 h 10000"/>
                  <a:gd name="connsiteX796" fmla="*/ 8871 w 10354"/>
                  <a:gd name="connsiteY796" fmla="*/ 3556 h 10000"/>
                  <a:gd name="connsiteX797" fmla="*/ 8857 w 10354"/>
                  <a:gd name="connsiteY797" fmla="*/ 3538 h 10000"/>
                  <a:gd name="connsiteX798" fmla="*/ 8843 w 10354"/>
                  <a:gd name="connsiteY798" fmla="*/ 3538 h 10000"/>
                  <a:gd name="connsiteX799" fmla="*/ 8839 w 10354"/>
                  <a:gd name="connsiteY799" fmla="*/ 3556 h 10000"/>
                  <a:gd name="connsiteX800" fmla="*/ 8839 w 10354"/>
                  <a:gd name="connsiteY800" fmla="*/ 3581 h 10000"/>
                  <a:gd name="connsiteX801" fmla="*/ 8825 w 10354"/>
                  <a:gd name="connsiteY801" fmla="*/ 3564 h 10000"/>
                  <a:gd name="connsiteX802" fmla="*/ 8825 w 10354"/>
                  <a:gd name="connsiteY802" fmla="*/ 3615 h 10000"/>
                  <a:gd name="connsiteX803" fmla="*/ 8802 w 10354"/>
                  <a:gd name="connsiteY803" fmla="*/ 3598 h 10000"/>
                  <a:gd name="connsiteX804" fmla="*/ 8797 w 10354"/>
                  <a:gd name="connsiteY804" fmla="*/ 3641 h 10000"/>
                  <a:gd name="connsiteX805" fmla="*/ 8783 w 10354"/>
                  <a:gd name="connsiteY805" fmla="*/ 3667 h 10000"/>
                  <a:gd name="connsiteX806" fmla="*/ 8779 w 10354"/>
                  <a:gd name="connsiteY806" fmla="*/ 3650 h 10000"/>
                  <a:gd name="connsiteX807" fmla="*/ 8779 w 10354"/>
                  <a:gd name="connsiteY807" fmla="*/ 3615 h 10000"/>
                  <a:gd name="connsiteX808" fmla="*/ 8770 w 10354"/>
                  <a:gd name="connsiteY808" fmla="*/ 3590 h 10000"/>
                  <a:gd name="connsiteX809" fmla="*/ 8765 w 10354"/>
                  <a:gd name="connsiteY809" fmla="*/ 3598 h 10000"/>
                  <a:gd name="connsiteX810" fmla="*/ 8756 w 10354"/>
                  <a:gd name="connsiteY810" fmla="*/ 3590 h 10000"/>
                  <a:gd name="connsiteX811" fmla="*/ 8737 w 10354"/>
                  <a:gd name="connsiteY811" fmla="*/ 3556 h 10000"/>
                  <a:gd name="connsiteX812" fmla="*/ 8724 w 10354"/>
                  <a:gd name="connsiteY812" fmla="*/ 3538 h 10000"/>
                  <a:gd name="connsiteX813" fmla="*/ 8696 w 10354"/>
                  <a:gd name="connsiteY813" fmla="*/ 3538 h 10000"/>
                  <a:gd name="connsiteX814" fmla="*/ 8691 w 10354"/>
                  <a:gd name="connsiteY814" fmla="*/ 3513 h 10000"/>
                  <a:gd name="connsiteX815" fmla="*/ 8668 w 10354"/>
                  <a:gd name="connsiteY815" fmla="*/ 3504 h 10000"/>
                  <a:gd name="connsiteX816" fmla="*/ 8668 w 10354"/>
                  <a:gd name="connsiteY816" fmla="*/ 3487 h 10000"/>
                  <a:gd name="connsiteX817" fmla="*/ 8691 w 10354"/>
                  <a:gd name="connsiteY817" fmla="*/ 3350 h 10000"/>
                  <a:gd name="connsiteX818" fmla="*/ 8691 w 10354"/>
                  <a:gd name="connsiteY818" fmla="*/ 3291 h 10000"/>
                  <a:gd name="connsiteX819" fmla="*/ 8677 w 10354"/>
                  <a:gd name="connsiteY819" fmla="*/ 3239 h 10000"/>
                  <a:gd name="connsiteX820" fmla="*/ 8677 w 10354"/>
                  <a:gd name="connsiteY820" fmla="*/ 3231 h 10000"/>
                  <a:gd name="connsiteX821" fmla="*/ 8636 w 10354"/>
                  <a:gd name="connsiteY821" fmla="*/ 3128 h 10000"/>
                  <a:gd name="connsiteX822" fmla="*/ 8622 w 10354"/>
                  <a:gd name="connsiteY822" fmla="*/ 3120 h 10000"/>
                  <a:gd name="connsiteX823" fmla="*/ 8618 w 10354"/>
                  <a:gd name="connsiteY823" fmla="*/ 3094 h 10000"/>
                  <a:gd name="connsiteX824" fmla="*/ 8594 w 10354"/>
                  <a:gd name="connsiteY824" fmla="*/ 3077 h 10000"/>
                  <a:gd name="connsiteX825" fmla="*/ 8548 w 10354"/>
                  <a:gd name="connsiteY825" fmla="*/ 3077 h 10000"/>
                  <a:gd name="connsiteX826" fmla="*/ 8535 w 10354"/>
                  <a:gd name="connsiteY826" fmla="*/ 3068 h 10000"/>
                  <a:gd name="connsiteX827" fmla="*/ 8429 w 10354"/>
                  <a:gd name="connsiteY827" fmla="*/ 3077 h 10000"/>
                  <a:gd name="connsiteX828" fmla="*/ 8424 w 10354"/>
                  <a:gd name="connsiteY828" fmla="*/ 3077 h 10000"/>
                  <a:gd name="connsiteX829" fmla="*/ 8396 w 10354"/>
                  <a:gd name="connsiteY829" fmla="*/ 3077 h 10000"/>
                  <a:gd name="connsiteX830" fmla="*/ 8387 w 10354"/>
                  <a:gd name="connsiteY830" fmla="*/ 3094 h 10000"/>
                  <a:gd name="connsiteX831" fmla="*/ 8378 w 10354"/>
                  <a:gd name="connsiteY831" fmla="*/ 3094 h 10000"/>
                  <a:gd name="connsiteX832" fmla="*/ 8341 w 10354"/>
                  <a:gd name="connsiteY832" fmla="*/ 3077 h 10000"/>
                  <a:gd name="connsiteX833" fmla="*/ 8336 w 10354"/>
                  <a:gd name="connsiteY833" fmla="*/ 3077 h 10000"/>
                  <a:gd name="connsiteX834" fmla="*/ 8327 w 10354"/>
                  <a:gd name="connsiteY834" fmla="*/ 3103 h 10000"/>
                  <a:gd name="connsiteX835" fmla="*/ 8309 w 10354"/>
                  <a:gd name="connsiteY835" fmla="*/ 3120 h 10000"/>
                  <a:gd name="connsiteX836" fmla="*/ 8304 w 10354"/>
                  <a:gd name="connsiteY836" fmla="*/ 3103 h 10000"/>
                  <a:gd name="connsiteX837" fmla="*/ 8276 w 10354"/>
                  <a:gd name="connsiteY837" fmla="*/ 3103 h 10000"/>
                  <a:gd name="connsiteX838" fmla="*/ 8267 w 10354"/>
                  <a:gd name="connsiteY838" fmla="*/ 3120 h 10000"/>
                  <a:gd name="connsiteX839" fmla="*/ 8253 w 10354"/>
                  <a:gd name="connsiteY839" fmla="*/ 3103 h 10000"/>
                  <a:gd name="connsiteX840" fmla="*/ 8230 w 10354"/>
                  <a:gd name="connsiteY840" fmla="*/ 3128 h 10000"/>
                  <a:gd name="connsiteX841" fmla="*/ 8217 w 10354"/>
                  <a:gd name="connsiteY841" fmla="*/ 3128 h 10000"/>
                  <a:gd name="connsiteX842" fmla="*/ 8203 w 10354"/>
                  <a:gd name="connsiteY842" fmla="*/ 3154 h 10000"/>
                  <a:gd name="connsiteX843" fmla="*/ 8175 w 10354"/>
                  <a:gd name="connsiteY843" fmla="*/ 3094 h 10000"/>
                  <a:gd name="connsiteX844" fmla="*/ 8161 w 10354"/>
                  <a:gd name="connsiteY844" fmla="*/ 3094 h 10000"/>
                  <a:gd name="connsiteX845" fmla="*/ 8157 w 10354"/>
                  <a:gd name="connsiteY845" fmla="*/ 3077 h 10000"/>
                  <a:gd name="connsiteX846" fmla="*/ 8180 w 10354"/>
                  <a:gd name="connsiteY846" fmla="*/ 3068 h 10000"/>
                  <a:gd name="connsiteX847" fmla="*/ 8189 w 10354"/>
                  <a:gd name="connsiteY847" fmla="*/ 3043 h 10000"/>
                  <a:gd name="connsiteX848" fmla="*/ 8189 w 10354"/>
                  <a:gd name="connsiteY848" fmla="*/ 3017 h 10000"/>
                  <a:gd name="connsiteX849" fmla="*/ 8147 w 10354"/>
                  <a:gd name="connsiteY849" fmla="*/ 2940 h 10000"/>
                  <a:gd name="connsiteX850" fmla="*/ 8143 w 10354"/>
                  <a:gd name="connsiteY850" fmla="*/ 2915 h 10000"/>
                  <a:gd name="connsiteX851" fmla="*/ 8143 w 10354"/>
                  <a:gd name="connsiteY851" fmla="*/ 2906 h 10000"/>
                  <a:gd name="connsiteX852" fmla="*/ 8097 w 10354"/>
                  <a:gd name="connsiteY852" fmla="*/ 2932 h 10000"/>
                  <a:gd name="connsiteX853" fmla="*/ 8083 w 10354"/>
                  <a:gd name="connsiteY853" fmla="*/ 2932 h 10000"/>
                  <a:gd name="connsiteX854" fmla="*/ 8074 w 10354"/>
                  <a:gd name="connsiteY854" fmla="*/ 2906 h 10000"/>
                  <a:gd name="connsiteX855" fmla="*/ 8074 w 10354"/>
                  <a:gd name="connsiteY855" fmla="*/ 2897 h 10000"/>
                  <a:gd name="connsiteX856" fmla="*/ 8055 w 10354"/>
                  <a:gd name="connsiteY856" fmla="*/ 2872 h 10000"/>
                  <a:gd name="connsiteX857" fmla="*/ 8046 w 10354"/>
                  <a:gd name="connsiteY857" fmla="*/ 2829 h 10000"/>
                  <a:gd name="connsiteX858" fmla="*/ 8041 w 10354"/>
                  <a:gd name="connsiteY858" fmla="*/ 2829 h 10000"/>
                  <a:gd name="connsiteX859" fmla="*/ 8023 w 10354"/>
                  <a:gd name="connsiteY859" fmla="*/ 2803 h 10000"/>
                  <a:gd name="connsiteX860" fmla="*/ 8014 w 10354"/>
                  <a:gd name="connsiteY860" fmla="*/ 2829 h 10000"/>
                  <a:gd name="connsiteX861" fmla="*/ 8000 w 10354"/>
                  <a:gd name="connsiteY861" fmla="*/ 2829 h 10000"/>
                  <a:gd name="connsiteX862" fmla="*/ 7995 w 10354"/>
                  <a:gd name="connsiteY862" fmla="*/ 2821 h 10000"/>
                  <a:gd name="connsiteX863" fmla="*/ 7972 w 10354"/>
                  <a:gd name="connsiteY863" fmla="*/ 2803 h 10000"/>
                  <a:gd name="connsiteX864" fmla="*/ 7968 w 10354"/>
                  <a:gd name="connsiteY864" fmla="*/ 2821 h 10000"/>
                  <a:gd name="connsiteX865" fmla="*/ 7968 w 10354"/>
                  <a:gd name="connsiteY865" fmla="*/ 2803 h 10000"/>
                  <a:gd name="connsiteX866" fmla="*/ 7995 w 10354"/>
                  <a:gd name="connsiteY866" fmla="*/ 2735 h 10000"/>
                  <a:gd name="connsiteX867" fmla="*/ 8000 w 10354"/>
                  <a:gd name="connsiteY867" fmla="*/ 2735 h 10000"/>
                  <a:gd name="connsiteX868" fmla="*/ 8014 w 10354"/>
                  <a:gd name="connsiteY868" fmla="*/ 2744 h 10000"/>
                  <a:gd name="connsiteX869" fmla="*/ 8023 w 10354"/>
                  <a:gd name="connsiteY869" fmla="*/ 2769 h 10000"/>
                  <a:gd name="connsiteX870" fmla="*/ 8032 w 10354"/>
                  <a:gd name="connsiteY870" fmla="*/ 2744 h 10000"/>
                  <a:gd name="connsiteX871" fmla="*/ 8032 w 10354"/>
                  <a:gd name="connsiteY871" fmla="*/ 2709 h 10000"/>
                  <a:gd name="connsiteX872" fmla="*/ 8023 w 10354"/>
                  <a:gd name="connsiteY872" fmla="*/ 2632 h 10000"/>
                  <a:gd name="connsiteX873" fmla="*/ 7986 w 10354"/>
                  <a:gd name="connsiteY873" fmla="*/ 2581 h 10000"/>
                  <a:gd name="connsiteX874" fmla="*/ 7968 w 10354"/>
                  <a:gd name="connsiteY874" fmla="*/ 2581 h 10000"/>
                  <a:gd name="connsiteX875" fmla="*/ 7963 w 10354"/>
                  <a:gd name="connsiteY875" fmla="*/ 2556 h 10000"/>
                  <a:gd name="connsiteX876" fmla="*/ 7935 w 10354"/>
                  <a:gd name="connsiteY876" fmla="*/ 2547 h 10000"/>
                  <a:gd name="connsiteX877" fmla="*/ 7912 w 10354"/>
                  <a:gd name="connsiteY877" fmla="*/ 2547 h 10000"/>
                  <a:gd name="connsiteX878" fmla="*/ 7912 w 10354"/>
                  <a:gd name="connsiteY878" fmla="*/ 2556 h 10000"/>
                  <a:gd name="connsiteX879" fmla="*/ 7908 w 10354"/>
                  <a:gd name="connsiteY879" fmla="*/ 2547 h 10000"/>
                  <a:gd name="connsiteX880" fmla="*/ 7862 w 10354"/>
                  <a:gd name="connsiteY880" fmla="*/ 2547 h 10000"/>
                  <a:gd name="connsiteX881" fmla="*/ 7848 w 10354"/>
                  <a:gd name="connsiteY881" fmla="*/ 2556 h 10000"/>
                  <a:gd name="connsiteX882" fmla="*/ 7820 w 10354"/>
                  <a:gd name="connsiteY882" fmla="*/ 2547 h 10000"/>
                  <a:gd name="connsiteX883" fmla="*/ 7806 w 10354"/>
                  <a:gd name="connsiteY883" fmla="*/ 2513 h 10000"/>
                  <a:gd name="connsiteX884" fmla="*/ 7788 w 10354"/>
                  <a:gd name="connsiteY884" fmla="*/ 2513 h 10000"/>
                  <a:gd name="connsiteX885" fmla="*/ 7760 w 10354"/>
                  <a:gd name="connsiteY885" fmla="*/ 2470 h 10000"/>
                  <a:gd name="connsiteX886" fmla="*/ 7751 w 10354"/>
                  <a:gd name="connsiteY886" fmla="*/ 2470 h 10000"/>
                  <a:gd name="connsiteX887" fmla="*/ 7705 w 10354"/>
                  <a:gd name="connsiteY887" fmla="*/ 2462 h 10000"/>
                  <a:gd name="connsiteX888" fmla="*/ 7673 w 10354"/>
                  <a:gd name="connsiteY888" fmla="*/ 2419 h 10000"/>
                  <a:gd name="connsiteX889" fmla="*/ 7627 w 10354"/>
                  <a:gd name="connsiteY889" fmla="*/ 2419 h 10000"/>
                  <a:gd name="connsiteX890" fmla="*/ 7613 w 10354"/>
                  <a:gd name="connsiteY890" fmla="*/ 2410 h 10000"/>
                  <a:gd name="connsiteX891" fmla="*/ 7493 w 10354"/>
                  <a:gd name="connsiteY891" fmla="*/ 2393 h 10000"/>
                  <a:gd name="connsiteX892" fmla="*/ 7479 w 10354"/>
                  <a:gd name="connsiteY892" fmla="*/ 2385 h 10000"/>
                  <a:gd name="connsiteX893" fmla="*/ 7479 w 10354"/>
                  <a:gd name="connsiteY893" fmla="*/ 2376 h 10000"/>
                  <a:gd name="connsiteX894" fmla="*/ 7465 w 10354"/>
                  <a:gd name="connsiteY894" fmla="*/ 2359 h 10000"/>
                  <a:gd name="connsiteX895" fmla="*/ 7447 w 10354"/>
                  <a:gd name="connsiteY895" fmla="*/ 2350 h 10000"/>
                  <a:gd name="connsiteX896" fmla="*/ 7433 w 10354"/>
                  <a:gd name="connsiteY896" fmla="*/ 2376 h 10000"/>
                  <a:gd name="connsiteX897" fmla="*/ 7433 w 10354"/>
                  <a:gd name="connsiteY897" fmla="*/ 2385 h 10000"/>
                  <a:gd name="connsiteX898" fmla="*/ 7447 w 10354"/>
                  <a:gd name="connsiteY898" fmla="*/ 2410 h 10000"/>
                  <a:gd name="connsiteX899" fmla="*/ 7447 w 10354"/>
                  <a:gd name="connsiteY899" fmla="*/ 2436 h 10000"/>
                  <a:gd name="connsiteX900" fmla="*/ 7452 w 10354"/>
                  <a:gd name="connsiteY900" fmla="*/ 2462 h 10000"/>
                  <a:gd name="connsiteX901" fmla="*/ 7447 w 10354"/>
                  <a:gd name="connsiteY901" fmla="*/ 2470 h 10000"/>
                  <a:gd name="connsiteX902" fmla="*/ 7424 w 10354"/>
                  <a:gd name="connsiteY902" fmla="*/ 2513 h 10000"/>
                  <a:gd name="connsiteX903" fmla="*/ 7419 w 10354"/>
                  <a:gd name="connsiteY903" fmla="*/ 2556 h 10000"/>
                  <a:gd name="connsiteX904" fmla="*/ 7406 w 10354"/>
                  <a:gd name="connsiteY904" fmla="*/ 2624 h 10000"/>
                  <a:gd name="connsiteX905" fmla="*/ 7392 w 10354"/>
                  <a:gd name="connsiteY905" fmla="*/ 2624 h 10000"/>
                  <a:gd name="connsiteX906" fmla="*/ 7373 w 10354"/>
                  <a:gd name="connsiteY906" fmla="*/ 2650 h 10000"/>
                  <a:gd name="connsiteX907" fmla="*/ 7364 w 10354"/>
                  <a:gd name="connsiteY907" fmla="*/ 2684 h 10000"/>
                  <a:gd name="connsiteX908" fmla="*/ 7364 w 10354"/>
                  <a:gd name="connsiteY908" fmla="*/ 2692 h 10000"/>
                  <a:gd name="connsiteX909" fmla="*/ 7373 w 10354"/>
                  <a:gd name="connsiteY909" fmla="*/ 2718 h 10000"/>
                  <a:gd name="connsiteX910" fmla="*/ 7373 w 10354"/>
                  <a:gd name="connsiteY910" fmla="*/ 2744 h 10000"/>
                  <a:gd name="connsiteX911" fmla="*/ 7359 w 10354"/>
                  <a:gd name="connsiteY911" fmla="*/ 2744 h 10000"/>
                  <a:gd name="connsiteX912" fmla="*/ 7359 w 10354"/>
                  <a:gd name="connsiteY912" fmla="*/ 2795 h 10000"/>
                  <a:gd name="connsiteX913" fmla="*/ 7364 w 10354"/>
                  <a:gd name="connsiteY913" fmla="*/ 2821 h 10000"/>
                  <a:gd name="connsiteX914" fmla="*/ 7378 w 10354"/>
                  <a:gd name="connsiteY914" fmla="*/ 2846 h 10000"/>
                  <a:gd name="connsiteX915" fmla="*/ 7378 w 10354"/>
                  <a:gd name="connsiteY915" fmla="*/ 2855 h 10000"/>
                  <a:gd name="connsiteX916" fmla="*/ 7378 w 10354"/>
                  <a:gd name="connsiteY916" fmla="*/ 2880 h 10000"/>
                  <a:gd name="connsiteX917" fmla="*/ 7378 w 10354"/>
                  <a:gd name="connsiteY917" fmla="*/ 2906 h 10000"/>
                  <a:gd name="connsiteX918" fmla="*/ 7364 w 10354"/>
                  <a:gd name="connsiteY918" fmla="*/ 2906 h 10000"/>
                  <a:gd name="connsiteX919" fmla="*/ 7346 w 10354"/>
                  <a:gd name="connsiteY919" fmla="*/ 2880 h 10000"/>
                  <a:gd name="connsiteX920" fmla="*/ 7332 w 10354"/>
                  <a:gd name="connsiteY920" fmla="*/ 2915 h 10000"/>
                  <a:gd name="connsiteX921" fmla="*/ 7318 w 10354"/>
                  <a:gd name="connsiteY921" fmla="*/ 2906 h 10000"/>
                  <a:gd name="connsiteX922" fmla="*/ 7313 w 10354"/>
                  <a:gd name="connsiteY922" fmla="*/ 2915 h 10000"/>
                  <a:gd name="connsiteX923" fmla="*/ 7313 w 10354"/>
                  <a:gd name="connsiteY923" fmla="*/ 2906 h 10000"/>
                  <a:gd name="connsiteX924" fmla="*/ 7286 w 10354"/>
                  <a:gd name="connsiteY924" fmla="*/ 2940 h 10000"/>
                  <a:gd name="connsiteX925" fmla="*/ 7276 w 10354"/>
                  <a:gd name="connsiteY925" fmla="*/ 2966 h 10000"/>
                  <a:gd name="connsiteX926" fmla="*/ 7272 w 10354"/>
                  <a:gd name="connsiteY926" fmla="*/ 2983 h 10000"/>
                  <a:gd name="connsiteX927" fmla="*/ 7267 w 10354"/>
                  <a:gd name="connsiteY927" fmla="*/ 3009 h 10000"/>
                  <a:gd name="connsiteX928" fmla="*/ 7253 w 10354"/>
                  <a:gd name="connsiteY928" fmla="*/ 3009 h 10000"/>
                  <a:gd name="connsiteX929" fmla="*/ 7244 w 10354"/>
                  <a:gd name="connsiteY929" fmla="*/ 3017 h 10000"/>
                  <a:gd name="connsiteX930" fmla="*/ 7240 w 10354"/>
                  <a:gd name="connsiteY930" fmla="*/ 3009 h 10000"/>
                  <a:gd name="connsiteX931" fmla="*/ 7230 w 10354"/>
                  <a:gd name="connsiteY931" fmla="*/ 2991 h 10000"/>
                  <a:gd name="connsiteX932" fmla="*/ 7226 w 10354"/>
                  <a:gd name="connsiteY932" fmla="*/ 2983 h 10000"/>
                  <a:gd name="connsiteX933" fmla="*/ 7226 w 10354"/>
                  <a:gd name="connsiteY933" fmla="*/ 2966 h 10000"/>
                  <a:gd name="connsiteX934" fmla="*/ 7212 w 10354"/>
                  <a:gd name="connsiteY934" fmla="*/ 2957 h 10000"/>
                  <a:gd name="connsiteX935" fmla="*/ 7212 w 10354"/>
                  <a:gd name="connsiteY935" fmla="*/ 2932 h 10000"/>
                  <a:gd name="connsiteX936" fmla="*/ 7198 w 10354"/>
                  <a:gd name="connsiteY936" fmla="*/ 2915 h 10000"/>
                  <a:gd name="connsiteX937" fmla="*/ 7194 w 10354"/>
                  <a:gd name="connsiteY937" fmla="*/ 2915 h 10000"/>
                  <a:gd name="connsiteX938" fmla="*/ 7157 w 10354"/>
                  <a:gd name="connsiteY938" fmla="*/ 2880 h 10000"/>
                  <a:gd name="connsiteX939" fmla="*/ 7138 w 10354"/>
                  <a:gd name="connsiteY939" fmla="*/ 2880 h 10000"/>
                  <a:gd name="connsiteX940" fmla="*/ 7120 w 10354"/>
                  <a:gd name="connsiteY940" fmla="*/ 2872 h 10000"/>
                  <a:gd name="connsiteX941" fmla="*/ 7111 w 10354"/>
                  <a:gd name="connsiteY941" fmla="*/ 2846 h 10000"/>
                  <a:gd name="connsiteX942" fmla="*/ 7106 w 10354"/>
                  <a:gd name="connsiteY942" fmla="*/ 2846 h 10000"/>
                  <a:gd name="connsiteX943" fmla="*/ 7092 w 10354"/>
                  <a:gd name="connsiteY943" fmla="*/ 2829 h 10000"/>
                  <a:gd name="connsiteX944" fmla="*/ 7051 w 10354"/>
                  <a:gd name="connsiteY944" fmla="*/ 2829 h 10000"/>
                  <a:gd name="connsiteX945" fmla="*/ 7037 w 10354"/>
                  <a:gd name="connsiteY945" fmla="*/ 2880 h 10000"/>
                  <a:gd name="connsiteX946" fmla="*/ 7037 w 10354"/>
                  <a:gd name="connsiteY946" fmla="*/ 2906 h 10000"/>
                  <a:gd name="connsiteX947" fmla="*/ 7037 w 10354"/>
                  <a:gd name="connsiteY947" fmla="*/ 2932 h 10000"/>
                  <a:gd name="connsiteX948" fmla="*/ 7037 w 10354"/>
                  <a:gd name="connsiteY948" fmla="*/ 2940 h 10000"/>
                  <a:gd name="connsiteX949" fmla="*/ 7023 w 10354"/>
                  <a:gd name="connsiteY949" fmla="*/ 2906 h 10000"/>
                  <a:gd name="connsiteX950" fmla="*/ 7023 w 10354"/>
                  <a:gd name="connsiteY950" fmla="*/ 2915 h 10000"/>
                  <a:gd name="connsiteX951" fmla="*/ 6991 w 10354"/>
                  <a:gd name="connsiteY951" fmla="*/ 2906 h 10000"/>
                  <a:gd name="connsiteX952" fmla="*/ 6977 w 10354"/>
                  <a:gd name="connsiteY952" fmla="*/ 2915 h 10000"/>
                  <a:gd name="connsiteX953" fmla="*/ 6963 w 10354"/>
                  <a:gd name="connsiteY953" fmla="*/ 2915 h 10000"/>
                  <a:gd name="connsiteX954" fmla="*/ 6949 w 10354"/>
                  <a:gd name="connsiteY954" fmla="*/ 2872 h 10000"/>
                  <a:gd name="connsiteX955" fmla="*/ 6935 w 10354"/>
                  <a:gd name="connsiteY955" fmla="*/ 2855 h 10000"/>
                  <a:gd name="connsiteX956" fmla="*/ 6922 w 10354"/>
                  <a:gd name="connsiteY956" fmla="*/ 2803 h 10000"/>
                  <a:gd name="connsiteX957" fmla="*/ 6917 w 10354"/>
                  <a:gd name="connsiteY957" fmla="*/ 2786 h 10000"/>
                  <a:gd name="connsiteX958" fmla="*/ 6903 w 10354"/>
                  <a:gd name="connsiteY958" fmla="*/ 2709 h 10000"/>
                  <a:gd name="connsiteX959" fmla="*/ 6903 w 10354"/>
                  <a:gd name="connsiteY959" fmla="*/ 2692 h 10000"/>
                  <a:gd name="connsiteX960" fmla="*/ 6899 w 10354"/>
                  <a:gd name="connsiteY960" fmla="*/ 2709 h 10000"/>
                  <a:gd name="connsiteX961" fmla="*/ 6857 w 10354"/>
                  <a:gd name="connsiteY961" fmla="*/ 2872 h 10000"/>
                  <a:gd name="connsiteX962" fmla="*/ 6857 w 10354"/>
                  <a:gd name="connsiteY962" fmla="*/ 3009 h 10000"/>
                  <a:gd name="connsiteX963" fmla="*/ 6848 w 10354"/>
                  <a:gd name="connsiteY963" fmla="*/ 3017 h 10000"/>
                  <a:gd name="connsiteX964" fmla="*/ 6839 w 10354"/>
                  <a:gd name="connsiteY964" fmla="*/ 3068 h 10000"/>
                  <a:gd name="connsiteX965" fmla="*/ 6829 w 10354"/>
                  <a:gd name="connsiteY965" fmla="*/ 3077 h 10000"/>
                  <a:gd name="connsiteX966" fmla="*/ 6829 w 10354"/>
                  <a:gd name="connsiteY966" fmla="*/ 3128 h 10000"/>
                  <a:gd name="connsiteX967" fmla="*/ 6816 w 10354"/>
                  <a:gd name="connsiteY967" fmla="*/ 3154 h 10000"/>
                  <a:gd name="connsiteX968" fmla="*/ 6811 w 10354"/>
                  <a:gd name="connsiteY968" fmla="*/ 3179 h 10000"/>
                  <a:gd name="connsiteX969" fmla="*/ 6797 w 10354"/>
                  <a:gd name="connsiteY969" fmla="*/ 3171 h 10000"/>
                  <a:gd name="connsiteX970" fmla="*/ 6783 w 10354"/>
                  <a:gd name="connsiteY970" fmla="*/ 3103 h 10000"/>
                  <a:gd name="connsiteX971" fmla="*/ 6779 w 10354"/>
                  <a:gd name="connsiteY971" fmla="*/ 3094 h 10000"/>
                  <a:gd name="connsiteX972" fmla="*/ 6779 w 10354"/>
                  <a:gd name="connsiteY972" fmla="*/ 3120 h 10000"/>
                  <a:gd name="connsiteX973" fmla="*/ 6770 w 10354"/>
                  <a:gd name="connsiteY973" fmla="*/ 3128 h 10000"/>
                  <a:gd name="connsiteX974" fmla="*/ 6765 w 10354"/>
                  <a:gd name="connsiteY974" fmla="*/ 3103 h 10000"/>
                  <a:gd name="connsiteX975" fmla="*/ 6756 w 10354"/>
                  <a:gd name="connsiteY975" fmla="*/ 3103 h 10000"/>
                  <a:gd name="connsiteX976" fmla="*/ 6742 w 10354"/>
                  <a:gd name="connsiteY976" fmla="*/ 3103 h 10000"/>
                  <a:gd name="connsiteX977" fmla="*/ 6737 w 10354"/>
                  <a:gd name="connsiteY977" fmla="*/ 3077 h 10000"/>
                  <a:gd name="connsiteX978" fmla="*/ 6737 w 10354"/>
                  <a:gd name="connsiteY978" fmla="*/ 3068 h 10000"/>
                  <a:gd name="connsiteX979" fmla="*/ 6728 w 10354"/>
                  <a:gd name="connsiteY979" fmla="*/ 3043 h 10000"/>
                  <a:gd name="connsiteX980" fmla="*/ 6724 w 10354"/>
                  <a:gd name="connsiteY980" fmla="*/ 3051 h 10000"/>
                  <a:gd name="connsiteX981" fmla="*/ 6714 w 10354"/>
                  <a:gd name="connsiteY981" fmla="*/ 3043 h 10000"/>
                  <a:gd name="connsiteX982" fmla="*/ 6710 w 10354"/>
                  <a:gd name="connsiteY982" fmla="*/ 3034 h 10000"/>
                  <a:gd name="connsiteX983" fmla="*/ 6705 w 10354"/>
                  <a:gd name="connsiteY983" fmla="*/ 2983 h 10000"/>
                  <a:gd name="connsiteX984" fmla="*/ 6696 w 10354"/>
                  <a:gd name="connsiteY984" fmla="*/ 2966 h 10000"/>
                  <a:gd name="connsiteX985" fmla="*/ 6691 w 10354"/>
                  <a:gd name="connsiteY985" fmla="*/ 2983 h 10000"/>
                  <a:gd name="connsiteX986" fmla="*/ 6677 w 10354"/>
                  <a:gd name="connsiteY986" fmla="*/ 2897 h 10000"/>
                  <a:gd name="connsiteX987" fmla="*/ 6677 w 10354"/>
                  <a:gd name="connsiteY987" fmla="*/ 2897 h 10000"/>
                  <a:gd name="connsiteX988" fmla="*/ 6677 w 10354"/>
                  <a:gd name="connsiteY988" fmla="*/ 2872 h 10000"/>
                  <a:gd name="connsiteX989" fmla="*/ 6668 w 10354"/>
                  <a:gd name="connsiteY989" fmla="*/ 2821 h 10000"/>
                  <a:gd name="connsiteX990" fmla="*/ 6664 w 10354"/>
                  <a:gd name="connsiteY990" fmla="*/ 2829 h 10000"/>
                  <a:gd name="connsiteX991" fmla="*/ 6654 w 10354"/>
                  <a:gd name="connsiteY991" fmla="*/ 2846 h 10000"/>
                  <a:gd name="connsiteX992" fmla="*/ 6650 w 10354"/>
                  <a:gd name="connsiteY992" fmla="*/ 2829 h 10000"/>
                  <a:gd name="connsiteX993" fmla="*/ 6650 w 10354"/>
                  <a:gd name="connsiteY993" fmla="*/ 2803 h 10000"/>
                  <a:gd name="connsiteX994" fmla="*/ 6650 w 10354"/>
                  <a:gd name="connsiteY994" fmla="*/ 2795 h 10000"/>
                  <a:gd name="connsiteX995" fmla="*/ 6641 w 10354"/>
                  <a:gd name="connsiteY995" fmla="*/ 2786 h 10000"/>
                  <a:gd name="connsiteX996" fmla="*/ 6636 w 10354"/>
                  <a:gd name="connsiteY996" fmla="*/ 2735 h 10000"/>
                  <a:gd name="connsiteX997" fmla="*/ 6664 w 10354"/>
                  <a:gd name="connsiteY997" fmla="*/ 2667 h 10000"/>
                  <a:gd name="connsiteX998" fmla="*/ 6668 w 10354"/>
                  <a:gd name="connsiteY998" fmla="*/ 2684 h 10000"/>
                  <a:gd name="connsiteX999" fmla="*/ 6677 w 10354"/>
                  <a:gd name="connsiteY999" fmla="*/ 2667 h 10000"/>
                  <a:gd name="connsiteX1000" fmla="*/ 6668 w 10354"/>
                  <a:gd name="connsiteY1000" fmla="*/ 2667 h 10000"/>
                  <a:gd name="connsiteX1001" fmla="*/ 6668 w 10354"/>
                  <a:gd name="connsiteY1001" fmla="*/ 2650 h 10000"/>
                  <a:gd name="connsiteX1002" fmla="*/ 6682 w 10354"/>
                  <a:gd name="connsiteY1002" fmla="*/ 2650 h 10000"/>
                  <a:gd name="connsiteX1003" fmla="*/ 6691 w 10354"/>
                  <a:gd name="connsiteY1003" fmla="*/ 2624 h 10000"/>
                  <a:gd name="connsiteX1004" fmla="*/ 6682 w 10354"/>
                  <a:gd name="connsiteY1004" fmla="*/ 2632 h 10000"/>
                  <a:gd name="connsiteX1005" fmla="*/ 6682 w 10354"/>
                  <a:gd name="connsiteY1005" fmla="*/ 2624 h 10000"/>
                  <a:gd name="connsiteX1006" fmla="*/ 6691 w 10354"/>
                  <a:gd name="connsiteY1006" fmla="*/ 2607 h 10000"/>
                  <a:gd name="connsiteX1007" fmla="*/ 6691 w 10354"/>
                  <a:gd name="connsiteY1007" fmla="*/ 2598 h 10000"/>
                  <a:gd name="connsiteX1008" fmla="*/ 6691 w 10354"/>
                  <a:gd name="connsiteY1008" fmla="*/ 2581 h 10000"/>
                  <a:gd name="connsiteX1009" fmla="*/ 6696 w 10354"/>
                  <a:gd name="connsiteY1009" fmla="*/ 2530 h 10000"/>
                  <a:gd name="connsiteX1010" fmla="*/ 6677 w 10354"/>
                  <a:gd name="connsiteY1010" fmla="*/ 2513 h 10000"/>
                  <a:gd name="connsiteX1011" fmla="*/ 6677 w 10354"/>
                  <a:gd name="connsiteY1011" fmla="*/ 2496 h 10000"/>
                  <a:gd name="connsiteX1012" fmla="*/ 6682 w 10354"/>
                  <a:gd name="connsiteY1012" fmla="*/ 2470 h 10000"/>
                  <a:gd name="connsiteX1013" fmla="*/ 6668 w 10354"/>
                  <a:gd name="connsiteY1013" fmla="*/ 2462 h 10000"/>
                  <a:gd name="connsiteX1014" fmla="*/ 6677 w 10354"/>
                  <a:gd name="connsiteY1014" fmla="*/ 2436 h 10000"/>
                  <a:gd name="connsiteX1015" fmla="*/ 6682 w 10354"/>
                  <a:gd name="connsiteY1015" fmla="*/ 2419 h 10000"/>
                  <a:gd name="connsiteX1016" fmla="*/ 6682 w 10354"/>
                  <a:gd name="connsiteY1016" fmla="*/ 2393 h 10000"/>
                  <a:gd name="connsiteX1017" fmla="*/ 6682 w 10354"/>
                  <a:gd name="connsiteY1017" fmla="*/ 2385 h 10000"/>
                  <a:gd name="connsiteX1018" fmla="*/ 6682 w 10354"/>
                  <a:gd name="connsiteY1018" fmla="*/ 2385 h 10000"/>
                  <a:gd name="connsiteX1019" fmla="*/ 6677 w 10354"/>
                  <a:gd name="connsiteY1019" fmla="*/ 2376 h 10000"/>
                  <a:gd name="connsiteX1020" fmla="*/ 6682 w 10354"/>
                  <a:gd name="connsiteY1020" fmla="*/ 2359 h 10000"/>
                  <a:gd name="connsiteX1021" fmla="*/ 6677 w 10354"/>
                  <a:gd name="connsiteY1021" fmla="*/ 2333 h 10000"/>
                  <a:gd name="connsiteX1022" fmla="*/ 6691 w 10354"/>
                  <a:gd name="connsiteY1022" fmla="*/ 2333 h 10000"/>
                  <a:gd name="connsiteX1023" fmla="*/ 6691 w 10354"/>
                  <a:gd name="connsiteY1023" fmla="*/ 2325 h 10000"/>
                  <a:gd name="connsiteX1024" fmla="*/ 6691 w 10354"/>
                  <a:gd name="connsiteY1024" fmla="*/ 2308 h 10000"/>
                  <a:gd name="connsiteX1025" fmla="*/ 6691 w 10354"/>
                  <a:gd name="connsiteY1025" fmla="*/ 2299 h 10000"/>
                  <a:gd name="connsiteX1026" fmla="*/ 6691 w 10354"/>
                  <a:gd name="connsiteY1026" fmla="*/ 2282 h 10000"/>
                  <a:gd name="connsiteX1027" fmla="*/ 6691 w 10354"/>
                  <a:gd name="connsiteY1027" fmla="*/ 2274 h 10000"/>
                  <a:gd name="connsiteX1028" fmla="*/ 6668 w 10354"/>
                  <a:gd name="connsiteY1028" fmla="*/ 2248 h 10000"/>
                  <a:gd name="connsiteX1029" fmla="*/ 6664 w 10354"/>
                  <a:gd name="connsiteY1029" fmla="*/ 2222 h 10000"/>
                  <a:gd name="connsiteX1030" fmla="*/ 6654 w 10354"/>
                  <a:gd name="connsiteY1030" fmla="*/ 2214 h 10000"/>
                  <a:gd name="connsiteX1031" fmla="*/ 6654 w 10354"/>
                  <a:gd name="connsiteY1031" fmla="*/ 2188 h 10000"/>
                  <a:gd name="connsiteX1032" fmla="*/ 6622 w 10354"/>
                  <a:gd name="connsiteY1032" fmla="*/ 2162 h 10000"/>
                  <a:gd name="connsiteX1033" fmla="*/ 6631 w 10354"/>
                  <a:gd name="connsiteY1033" fmla="*/ 2145 h 10000"/>
                  <a:gd name="connsiteX1034" fmla="*/ 6622 w 10354"/>
                  <a:gd name="connsiteY1034" fmla="*/ 2120 h 10000"/>
                  <a:gd name="connsiteX1035" fmla="*/ 6608 w 10354"/>
                  <a:gd name="connsiteY1035" fmla="*/ 2120 h 10000"/>
                  <a:gd name="connsiteX1036" fmla="*/ 6604 w 10354"/>
                  <a:gd name="connsiteY1036" fmla="*/ 2111 h 10000"/>
                  <a:gd name="connsiteX1037" fmla="*/ 6608 w 10354"/>
                  <a:gd name="connsiteY1037" fmla="*/ 2111 h 10000"/>
                  <a:gd name="connsiteX1038" fmla="*/ 6604 w 10354"/>
                  <a:gd name="connsiteY1038" fmla="*/ 2085 h 10000"/>
                  <a:gd name="connsiteX1039" fmla="*/ 6581 w 10354"/>
                  <a:gd name="connsiteY1039" fmla="*/ 2077 h 10000"/>
                  <a:gd name="connsiteX1040" fmla="*/ 6571 w 10354"/>
                  <a:gd name="connsiteY1040" fmla="*/ 2085 h 10000"/>
                  <a:gd name="connsiteX1041" fmla="*/ 6548 w 10354"/>
                  <a:gd name="connsiteY1041" fmla="*/ 2077 h 10000"/>
                  <a:gd name="connsiteX1042" fmla="*/ 6530 w 10354"/>
                  <a:gd name="connsiteY1042" fmla="*/ 2060 h 10000"/>
                  <a:gd name="connsiteX1043" fmla="*/ 6521 w 10354"/>
                  <a:gd name="connsiteY1043" fmla="*/ 2060 h 10000"/>
                  <a:gd name="connsiteX1044" fmla="*/ 6521 w 10354"/>
                  <a:gd name="connsiteY1044" fmla="*/ 2085 h 10000"/>
                  <a:gd name="connsiteX1045" fmla="*/ 6516 w 10354"/>
                  <a:gd name="connsiteY1045" fmla="*/ 2085 h 10000"/>
                  <a:gd name="connsiteX1046" fmla="*/ 6502 w 10354"/>
                  <a:gd name="connsiteY1046" fmla="*/ 2111 h 10000"/>
                  <a:gd name="connsiteX1047" fmla="*/ 6498 w 10354"/>
                  <a:gd name="connsiteY1047" fmla="*/ 2111 h 10000"/>
                  <a:gd name="connsiteX1048" fmla="*/ 6498 w 10354"/>
                  <a:gd name="connsiteY1048" fmla="*/ 2103 h 10000"/>
                  <a:gd name="connsiteX1049" fmla="*/ 6475 w 10354"/>
                  <a:gd name="connsiteY1049" fmla="*/ 2051 h 10000"/>
                  <a:gd name="connsiteX1050" fmla="*/ 6470 w 10354"/>
                  <a:gd name="connsiteY1050" fmla="*/ 2060 h 10000"/>
                  <a:gd name="connsiteX1051" fmla="*/ 6456 w 10354"/>
                  <a:gd name="connsiteY1051" fmla="*/ 2051 h 10000"/>
                  <a:gd name="connsiteX1052" fmla="*/ 6447 w 10354"/>
                  <a:gd name="connsiteY1052" fmla="*/ 2051 h 10000"/>
                  <a:gd name="connsiteX1053" fmla="*/ 6433 w 10354"/>
                  <a:gd name="connsiteY1053" fmla="*/ 2026 h 10000"/>
                  <a:gd name="connsiteX1054" fmla="*/ 6433 w 10354"/>
                  <a:gd name="connsiteY1054" fmla="*/ 2034 h 10000"/>
                  <a:gd name="connsiteX1055" fmla="*/ 6429 w 10354"/>
                  <a:gd name="connsiteY1055" fmla="*/ 2026 h 10000"/>
                  <a:gd name="connsiteX1056" fmla="*/ 6424 w 10354"/>
                  <a:gd name="connsiteY1056" fmla="*/ 2034 h 10000"/>
                  <a:gd name="connsiteX1057" fmla="*/ 6410 w 10354"/>
                  <a:gd name="connsiteY1057" fmla="*/ 2026 h 10000"/>
                  <a:gd name="connsiteX1058" fmla="*/ 6410 w 10354"/>
                  <a:gd name="connsiteY1058" fmla="*/ 1991 h 10000"/>
                  <a:gd name="connsiteX1059" fmla="*/ 6401 w 10354"/>
                  <a:gd name="connsiteY1059" fmla="*/ 1991 h 10000"/>
                  <a:gd name="connsiteX1060" fmla="*/ 6396 w 10354"/>
                  <a:gd name="connsiteY1060" fmla="*/ 2000 h 10000"/>
                  <a:gd name="connsiteX1061" fmla="*/ 6382 w 10354"/>
                  <a:gd name="connsiteY1061" fmla="*/ 1966 h 10000"/>
                  <a:gd name="connsiteX1062" fmla="*/ 6373 w 10354"/>
                  <a:gd name="connsiteY1062" fmla="*/ 1974 h 10000"/>
                  <a:gd name="connsiteX1063" fmla="*/ 6369 w 10354"/>
                  <a:gd name="connsiteY1063" fmla="*/ 1966 h 10000"/>
                  <a:gd name="connsiteX1064" fmla="*/ 6341 w 10354"/>
                  <a:gd name="connsiteY1064" fmla="*/ 1949 h 10000"/>
                  <a:gd name="connsiteX1065" fmla="*/ 6327 w 10354"/>
                  <a:gd name="connsiteY1065" fmla="*/ 1923 h 10000"/>
                  <a:gd name="connsiteX1066" fmla="*/ 6323 w 10354"/>
                  <a:gd name="connsiteY1066" fmla="*/ 1923 h 10000"/>
                  <a:gd name="connsiteX1067" fmla="*/ 6323 w 10354"/>
                  <a:gd name="connsiteY1067" fmla="*/ 1966 h 10000"/>
                  <a:gd name="connsiteX1068" fmla="*/ 6323 w 10354"/>
                  <a:gd name="connsiteY1068" fmla="*/ 1991 h 10000"/>
                  <a:gd name="connsiteX1069" fmla="*/ 6313 w 10354"/>
                  <a:gd name="connsiteY1069" fmla="*/ 1991 h 10000"/>
                  <a:gd name="connsiteX1070" fmla="*/ 6300 w 10354"/>
                  <a:gd name="connsiteY1070" fmla="*/ 1991 h 10000"/>
                  <a:gd name="connsiteX1071" fmla="*/ 6290 w 10354"/>
                  <a:gd name="connsiteY1071" fmla="*/ 1949 h 10000"/>
                  <a:gd name="connsiteX1072" fmla="*/ 6276 w 10354"/>
                  <a:gd name="connsiteY1072" fmla="*/ 2103 h 10000"/>
                  <a:gd name="connsiteX1073" fmla="*/ 6281 w 10354"/>
                  <a:gd name="connsiteY1073" fmla="*/ 2103 h 10000"/>
                  <a:gd name="connsiteX1074" fmla="*/ 6276 w 10354"/>
                  <a:gd name="connsiteY1074" fmla="*/ 2111 h 10000"/>
                  <a:gd name="connsiteX1075" fmla="*/ 6276 w 10354"/>
                  <a:gd name="connsiteY1075" fmla="*/ 2120 h 10000"/>
                  <a:gd name="connsiteX1076" fmla="*/ 6295 w 10354"/>
                  <a:gd name="connsiteY1076" fmla="*/ 2239 h 10000"/>
                  <a:gd name="connsiteX1077" fmla="*/ 6290 w 10354"/>
                  <a:gd name="connsiteY1077" fmla="*/ 2248 h 10000"/>
                  <a:gd name="connsiteX1078" fmla="*/ 6281 w 10354"/>
                  <a:gd name="connsiteY1078" fmla="*/ 2274 h 10000"/>
                  <a:gd name="connsiteX1079" fmla="*/ 6249 w 10354"/>
                  <a:gd name="connsiteY1079" fmla="*/ 2274 h 10000"/>
                  <a:gd name="connsiteX1080" fmla="*/ 6226 w 10354"/>
                  <a:gd name="connsiteY1080" fmla="*/ 2308 h 10000"/>
                  <a:gd name="connsiteX1081" fmla="*/ 6221 w 10354"/>
                  <a:gd name="connsiteY1081" fmla="*/ 2299 h 10000"/>
                  <a:gd name="connsiteX1082" fmla="*/ 6221 w 10354"/>
                  <a:gd name="connsiteY1082" fmla="*/ 2308 h 10000"/>
                  <a:gd name="connsiteX1083" fmla="*/ 6217 w 10354"/>
                  <a:gd name="connsiteY1083" fmla="*/ 2299 h 10000"/>
                  <a:gd name="connsiteX1084" fmla="*/ 6194 w 10354"/>
                  <a:gd name="connsiteY1084" fmla="*/ 2308 h 10000"/>
                  <a:gd name="connsiteX1085" fmla="*/ 6180 w 10354"/>
                  <a:gd name="connsiteY1085" fmla="*/ 2299 h 10000"/>
                  <a:gd name="connsiteX1086" fmla="*/ 6143 w 10354"/>
                  <a:gd name="connsiteY1086" fmla="*/ 2308 h 10000"/>
                  <a:gd name="connsiteX1087" fmla="*/ 6134 w 10354"/>
                  <a:gd name="connsiteY1087" fmla="*/ 2325 h 10000"/>
                  <a:gd name="connsiteX1088" fmla="*/ 6115 w 10354"/>
                  <a:gd name="connsiteY1088" fmla="*/ 2282 h 10000"/>
                  <a:gd name="connsiteX1089" fmla="*/ 6069 w 10354"/>
                  <a:gd name="connsiteY1089" fmla="*/ 2274 h 10000"/>
                  <a:gd name="connsiteX1090" fmla="*/ 6069 w 10354"/>
                  <a:gd name="connsiteY1090" fmla="*/ 2282 h 10000"/>
                  <a:gd name="connsiteX1091" fmla="*/ 6060 w 10354"/>
                  <a:gd name="connsiteY1091" fmla="*/ 2299 h 10000"/>
                  <a:gd name="connsiteX1092" fmla="*/ 5972 w 10354"/>
                  <a:gd name="connsiteY1092" fmla="*/ 2214 h 10000"/>
                  <a:gd name="connsiteX1093" fmla="*/ 5968 w 10354"/>
                  <a:gd name="connsiteY1093" fmla="*/ 2197 h 10000"/>
                  <a:gd name="connsiteX1094" fmla="*/ 5968 w 10354"/>
                  <a:gd name="connsiteY1094" fmla="*/ 2171 h 10000"/>
                  <a:gd name="connsiteX1095" fmla="*/ 5968 w 10354"/>
                  <a:gd name="connsiteY1095" fmla="*/ 2162 h 10000"/>
                  <a:gd name="connsiteX1096" fmla="*/ 5968 w 10354"/>
                  <a:gd name="connsiteY1096" fmla="*/ 2120 h 10000"/>
                  <a:gd name="connsiteX1097" fmla="*/ 5968 w 10354"/>
                  <a:gd name="connsiteY1097" fmla="*/ 2111 h 10000"/>
                  <a:gd name="connsiteX1098" fmla="*/ 5972 w 10354"/>
                  <a:gd name="connsiteY1098" fmla="*/ 2103 h 10000"/>
                  <a:gd name="connsiteX1099" fmla="*/ 5986 w 10354"/>
                  <a:gd name="connsiteY1099" fmla="*/ 2103 h 10000"/>
                  <a:gd name="connsiteX1100" fmla="*/ 5986 w 10354"/>
                  <a:gd name="connsiteY1100" fmla="*/ 2085 h 10000"/>
                  <a:gd name="connsiteX1101" fmla="*/ 5995 w 10354"/>
                  <a:gd name="connsiteY1101" fmla="*/ 2085 h 10000"/>
                  <a:gd name="connsiteX1102" fmla="*/ 5995 w 10354"/>
                  <a:gd name="connsiteY1102" fmla="*/ 2077 h 10000"/>
                  <a:gd name="connsiteX1103" fmla="*/ 5986 w 10354"/>
                  <a:gd name="connsiteY1103" fmla="*/ 2060 h 10000"/>
                  <a:gd name="connsiteX1104" fmla="*/ 5954 w 10354"/>
                  <a:gd name="connsiteY1104" fmla="*/ 2060 h 10000"/>
                  <a:gd name="connsiteX1105" fmla="*/ 5940 w 10354"/>
                  <a:gd name="connsiteY1105" fmla="*/ 2051 h 10000"/>
                  <a:gd name="connsiteX1106" fmla="*/ 5922 w 10354"/>
                  <a:gd name="connsiteY1106" fmla="*/ 2060 h 10000"/>
                  <a:gd name="connsiteX1107" fmla="*/ 5885 w 10354"/>
                  <a:gd name="connsiteY1107" fmla="*/ 2051 h 10000"/>
                  <a:gd name="connsiteX1108" fmla="*/ 5876 w 10354"/>
                  <a:gd name="connsiteY1108" fmla="*/ 2026 h 10000"/>
                  <a:gd name="connsiteX1109" fmla="*/ 5862 w 10354"/>
                  <a:gd name="connsiteY1109" fmla="*/ 2026 h 10000"/>
                  <a:gd name="connsiteX1110" fmla="*/ 5848 w 10354"/>
                  <a:gd name="connsiteY1110" fmla="*/ 2026 h 10000"/>
                  <a:gd name="connsiteX1111" fmla="*/ 5825 w 10354"/>
                  <a:gd name="connsiteY1111" fmla="*/ 2026 h 10000"/>
                  <a:gd name="connsiteX1112" fmla="*/ 5788 w 10354"/>
                  <a:gd name="connsiteY1112" fmla="*/ 1991 h 10000"/>
                  <a:gd name="connsiteX1113" fmla="*/ 5760 w 10354"/>
                  <a:gd name="connsiteY1113" fmla="*/ 2000 h 10000"/>
                  <a:gd name="connsiteX1114" fmla="*/ 5760 w 10354"/>
                  <a:gd name="connsiteY1114" fmla="*/ 2026 h 10000"/>
                  <a:gd name="connsiteX1115" fmla="*/ 5714 w 10354"/>
                  <a:gd name="connsiteY1115" fmla="*/ 2051 h 10000"/>
                  <a:gd name="connsiteX1116" fmla="*/ 5687 w 10354"/>
                  <a:gd name="connsiteY1116" fmla="*/ 2034 h 10000"/>
                  <a:gd name="connsiteX1117" fmla="*/ 5645 w 10354"/>
                  <a:gd name="connsiteY1117" fmla="*/ 2077 h 10000"/>
                  <a:gd name="connsiteX1118" fmla="*/ 5664 w 10354"/>
                  <a:gd name="connsiteY1118" fmla="*/ 2120 h 10000"/>
                  <a:gd name="connsiteX1119" fmla="*/ 5664 w 10354"/>
                  <a:gd name="connsiteY1119" fmla="*/ 2162 h 10000"/>
                  <a:gd name="connsiteX1120" fmla="*/ 5631 w 10354"/>
                  <a:gd name="connsiteY1120" fmla="*/ 2197 h 10000"/>
                  <a:gd name="connsiteX1121" fmla="*/ 5618 w 10354"/>
                  <a:gd name="connsiteY1121" fmla="*/ 2188 h 10000"/>
                  <a:gd name="connsiteX1122" fmla="*/ 5618 w 10354"/>
                  <a:gd name="connsiteY1122" fmla="*/ 2171 h 10000"/>
                  <a:gd name="connsiteX1123" fmla="*/ 5641 w 10354"/>
                  <a:gd name="connsiteY1123" fmla="*/ 2171 h 10000"/>
                  <a:gd name="connsiteX1124" fmla="*/ 5641 w 10354"/>
                  <a:gd name="connsiteY1124" fmla="*/ 2162 h 10000"/>
                  <a:gd name="connsiteX1125" fmla="*/ 5627 w 10354"/>
                  <a:gd name="connsiteY1125" fmla="*/ 2145 h 10000"/>
                  <a:gd name="connsiteX1126" fmla="*/ 5627 w 10354"/>
                  <a:gd name="connsiteY1126" fmla="*/ 2120 h 10000"/>
                  <a:gd name="connsiteX1127" fmla="*/ 5618 w 10354"/>
                  <a:gd name="connsiteY1127" fmla="*/ 2111 h 10000"/>
                  <a:gd name="connsiteX1128" fmla="*/ 5631 w 10354"/>
                  <a:gd name="connsiteY1128" fmla="*/ 2051 h 10000"/>
                  <a:gd name="connsiteX1129" fmla="*/ 5631 w 10354"/>
                  <a:gd name="connsiteY1129" fmla="*/ 2026 h 10000"/>
                  <a:gd name="connsiteX1130" fmla="*/ 5627 w 10354"/>
                  <a:gd name="connsiteY1130" fmla="*/ 1991 h 10000"/>
                  <a:gd name="connsiteX1131" fmla="*/ 5618 w 10354"/>
                  <a:gd name="connsiteY1131" fmla="*/ 1974 h 10000"/>
                  <a:gd name="connsiteX1132" fmla="*/ 5618 w 10354"/>
                  <a:gd name="connsiteY1132" fmla="*/ 1940 h 10000"/>
                  <a:gd name="connsiteX1133" fmla="*/ 5594 w 10354"/>
                  <a:gd name="connsiteY1133" fmla="*/ 1855 h 10000"/>
                  <a:gd name="connsiteX1134" fmla="*/ 5599 w 10354"/>
                  <a:gd name="connsiteY1134" fmla="*/ 1915 h 10000"/>
                  <a:gd name="connsiteX1135" fmla="*/ 5599 w 10354"/>
                  <a:gd name="connsiteY1135" fmla="*/ 1949 h 10000"/>
                  <a:gd name="connsiteX1136" fmla="*/ 5594 w 10354"/>
                  <a:gd name="connsiteY1136" fmla="*/ 1991 h 10000"/>
                  <a:gd name="connsiteX1137" fmla="*/ 5571 w 10354"/>
                  <a:gd name="connsiteY1137" fmla="*/ 2000 h 10000"/>
                  <a:gd name="connsiteX1138" fmla="*/ 5530 w 10354"/>
                  <a:gd name="connsiteY1138" fmla="*/ 1991 h 10000"/>
                  <a:gd name="connsiteX1139" fmla="*/ 5525 w 10354"/>
                  <a:gd name="connsiteY1139" fmla="*/ 2000 h 10000"/>
                  <a:gd name="connsiteX1140" fmla="*/ 5521 w 10354"/>
                  <a:gd name="connsiteY1140" fmla="*/ 1991 h 10000"/>
                  <a:gd name="connsiteX1141" fmla="*/ 5498 w 10354"/>
                  <a:gd name="connsiteY1141" fmla="*/ 1949 h 10000"/>
                  <a:gd name="connsiteX1142" fmla="*/ 5493 w 10354"/>
                  <a:gd name="connsiteY1142" fmla="*/ 1889 h 10000"/>
                  <a:gd name="connsiteX1143" fmla="*/ 5493 w 10354"/>
                  <a:gd name="connsiteY1143" fmla="*/ 1863 h 10000"/>
                  <a:gd name="connsiteX1144" fmla="*/ 5498 w 10354"/>
                  <a:gd name="connsiteY1144" fmla="*/ 1889 h 10000"/>
                  <a:gd name="connsiteX1145" fmla="*/ 5512 w 10354"/>
                  <a:gd name="connsiteY1145" fmla="*/ 1855 h 10000"/>
                  <a:gd name="connsiteX1146" fmla="*/ 5512 w 10354"/>
                  <a:gd name="connsiteY1146" fmla="*/ 1838 h 10000"/>
                  <a:gd name="connsiteX1147" fmla="*/ 5479 w 10354"/>
                  <a:gd name="connsiteY1147" fmla="*/ 1855 h 10000"/>
                  <a:gd name="connsiteX1148" fmla="*/ 5470 w 10354"/>
                  <a:gd name="connsiteY1148" fmla="*/ 1872 h 10000"/>
                  <a:gd name="connsiteX1149" fmla="*/ 5470 w 10354"/>
                  <a:gd name="connsiteY1149" fmla="*/ 1889 h 10000"/>
                  <a:gd name="connsiteX1150" fmla="*/ 5465 w 10354"/>
                  <a:gd name="connsiteY1150" fmla="*/ 1897 h 10000"/>
                  <a:gd name="connsiteX1151" fmla="*/ 5456 w 10354"/>
                  <a:gd name="connsiteY1151" fmla="*/ 1872 h 10000"/>
                  <a:gd name="connsiteX1152" fmla="*/ 5447 w 10354"/>
                  <a:gd name="connsiteY1152" fmla="*/ 1872 h 10000"/>
                  <a:gd name="connsiteX1153" fmla="*/ 5433 w 10354"/>
                  <a:gd name="connsiteY1153" fmla="*/ 1855 h 10000"/>
                  <a:gd name="connsiteX1154" fmla="*/ 5396 w 10354"/>
                  <a:gd name="connsiteY1154" fmla="*/ 1863 h 10000"/>
                  <a:gd name="connsiteX1155" fmla="*/ 5396 w 10354"/>
                  <a:gd name="connsiteY1155" fmla="*/ 1897 h 10000"/>
                  <a:gd name="connsiteX1156" fmla="*/ 5378 w 10354"/>
                  <a:gd name="connsiteY1156" fmla="*/ 1949 h 10000"/>
                  <a:gd name="connsiteX1157" fmla="*/ 5378 w 10354"/>
                  <a:gd name="connsiteY1157" fmla="*/ 1966 h 10000"/>
                  <a:gd name="connsiteX1158" fmla="*/ 5392 w 10354"/>
                  <a:gd name="connsiteY1158" fmla="*/ 2026 h 10000"/>
                  <a:gd name="connsiteX1159" fmla="*/ 5396 w 10354"/>
                  <a:gd name="connsiteY1159" fmla="*/ 2026 h 10000"/>
                  <a:gd name="connsiteX1160" fmla="*/ 5392 w 10354"/>
                  <a:gd name="connsiteY1160" fmla="*/ 2009 h 10000"/>
                  <a:gd name="connsiteX1161" fmla="*/ 5392 w 10354"/>
                  <a:gd name="connsiteY1161" fmla="*/ 2000 h 10000"/>
                  <a:gd name="connsiteX1162" fmla="*/ 5396 w 10354"/>
                  <a:gd name="connsiteY1162" fmla="*/ 2009 h 10000"/>
                  <a:gd name="connsiteX1163" fmla="*/ 5424 w 10354"/>
                  <a:gd name="connsiteY1163" fmla="*/ 2009 h 10000"/>
                  <a:gd name="connsiteX1164" fmla="*/ 5433 w 10354"/>
                  <a:gd name="connsiteY1164" fmla="*/ 1991 h 10000"/>
                  <a:gd name="connsiteX1165" fmla="*/ 5447 w 10354"/>
                  <a:gd name="connsiteY1165" fmla="*/ 1974 h 10000"/>
                  <a:gd name="connsiteX1166" fmla="*/ 5452 w 10354"/>
                  <a:gd name="connsiteY1166" fmla="*/ 1966 h 10000"/>
                  <a:gd name="connsiteX1167" fmla="*/ 5456 w 10354"/>
                  <a:gd name="connsiteY1167" fmla="*/ 1966 h 10000"/>
                  <a:gd name="connsiteX1168" fmla="*/ 5465 w 10354"/>
                  <a:gd name="connsiteY1168" fmla="*/ 2009 h 10000"/>
                  <a:gd name="connsiteX1169" fmla="*/ 5433 w 10354"/>
                  <a:gd name="connsiteY1169" fmla="*/ 2034 h 10000"/>
                  <a:gd name="connsiteX1170" fmla="*/ 5424 w 10354"/>
                  <a:gd name="connsiteY1170" fmla="*/ 2060 h 10000"/>
                  <a:gd name="connsiteX1171" fmla="*/ 5419 w 10354"/>
                  <a:gd name="connsiteY1171" fmla="*/ 2060 h 10000"/>
                  <a:gd name="connsiteX1172" fmla="*/ 5392 w 10354"/>
                  <a:gd name="connsiteY1172" fmla="*/ 2111 h 10000"/>
                  <a:gd name="connsiteX1173" fmla="*/ 5378 w 10354"/>
                  <a:gd name="connsiteY1173" fmla="*/ 2111 h 10000"/>
                  <a:gd name="connsiteX1174" fmla="*/ 5350 w 10354"/>
                  <a:gd name="connsiteY1174" fmla="*/ 2060 h 10000"/>
                  <a:gd name="connsiteX1175" fmla="*/ 5373 w 10354"/>
                  <a:gd name="connsiteY1175" fmla="*/ 2111 h 10000"/>
                  <a:gd name="connsiteX1176" fmla="*/ 5364 w 10354"/>
                  <a:gd name="connsiteY1176" fmla="*/ 2111 h 10000"/>
                  <a:gd name="connsiteX1177" fmla="*/ 5359 w 10354"/>
                  <a:gd name="connsiteY1177" fmla="*/ 2103 h 10000"/>
                  <a:gd name="connsiteX1178" fmla="*/ 5359 w 10354"/>
                  <a:gd name="connsiteY1178" fmla="*/ 2120 h 10000"/>
                  <a:gd name="connsiteX1179" fmla="*/ 5359 w 10354"/>
                  <a:gd name="connsiteY1179" fmla="*/ 2137 h 10000"/>
                  <a:gd name="connsiteX1180" fmla="*/ 5313 w 10354"/>
                  <a:gd name="connsiteY1180" fmla="*/ 2162 h 10000"/>
                  <a:gd name="connsiteX1181" fmla="*/ 5300 w 10354"/>
                  <a:gd name="connsiteY1181" fmla="*/ 2162 h 10000"/>
                  <a:gd name="connsiteX1182" fmla="*/ 5300 w 10354"/>
                  <a:gd name="connsiteY1182" fmla="*/ 2171 h 10000"/>
                  <a:gd name="connsiteX1183" fmla="*/ 5300 w 10354"/>
                  <a:gd name="connsiteY1183" fmla="*/ 2197 h 10000"/>
                  <a:gd name="connsiteX1184" fmla="*/ 5276 w 10354"/>
                  <a:gd name="connsiteY1184" fmla="*/ 2188 h 10000"/>
                  <a:gd name="connsiteX1185" fmla="*/ 5249 w 10354"/>
                  <a:gd name="connsiteY1185" fmla="*/ 2222 h 10000"/>
                  <a:gd name="connsiteX1186" fmla="*/ 5249 w 10354"/>
                  <a:gd name="connsiteY1186" fmla="*/ 2222 h 10000"/>
                  <a:gd name="connsiteX1187" fmla="*/ 5217 w 10354"/>
                  <a:gd name="connsiteY1187" fmla="*/ 2214 h 10000"/>
                  <a:gd name="connsiteX1188" fmla="*/ 5203 w 10354"/>
                  <a:gd name="connsiteY1188" fmla="*/ 2239 h 10000"/>
                  <a:gd name="connsiteX1189" fmla="*/ 5171 w 10354"/>
                  <a:gd name="connsiteY1189" fmla="*/ 2214 h 10000"/>
                  <a:gd name="connsiteX1190" fmla="*/ 5157 w 10354"/>
                  <a:gd name="connsiteY1190" fmla="*/ 2239 h 10000"/>
                  <a:gd name="connsiteX1191" fmla="*/ 5166 w 10354"/>
                  <a:gd name="connsiteY1191" fmla="*/ 2256 h 10000"/>
                  <a:gd name="connsiteX1192" fmla="*/ 5171 w 10354"/>
                  <a:gd name="connsiteY1192" fmla="*/ 2308 h 10000"/>
                  <a:gd name="connsiteX1193" fmla="*/ 5212 w 10354"/>
                  <a:gd name="connsiteY1193" fmla="*/ 2350 h 10000"/>
                  <a:gd name="connsiteX1194" fmla="*/ 5203 w 10354"/>
                  <a:gd name="connsiteY1194" fmla="*/ 2350 h 10000"/>
                  <a:gd name="connsiteX1195" fmla="*/ 5166 w 10354"/>
                  <a:gd name="connsiteY1195" fmla="*/ 2325 h 10000"/>
                  <a:gd name="connsiteX1196" fmla="*/ 5152 w 10354"/>
                  <a:gd name="connsiteY1196" fmla="*/ 2308 h 10000"/>
                  <a:gd name="connsiteX1197" fmla="*/ 5143 w 10354"/>
                  <a:gd name="connsiteY1197" fmla="*/ 2333 h 10000"/>
                  <a:gd name="connsiteX1198" fmla="*/ 5138 w 10354"/>
                  <a:gd name="connsiteY1198" fmla="*/ 2333 h 10000"/>
                  <a:gd name="connsiteX1199" fmla="*/ 5124 w 10354"/>
                  <a:gd name="connsiteY1199" fmla="*/ 2376 h 10000"/>
                  <a:gd name="connsiteX1200" fmla="*/ 5115 w 10354"/>
                  <a:gd name="connsiteY1200" fmla="*/ 2385 h 10000"/>
                  <a:gd name="connsiteX1201" fmla="*/ 5106 w 10354"/>
                  <a:gd name="connsiteY1201" fmla="*/ 2385 h 10000"/>
                  <a:gd name="connsiteX1202" fmla="*/ 5055 w 10354"/>
                  <a:gd name="connsiteY1202" fmla="*/ 2470 h 10000"/>
                  <a:gd name="connsiteX1203" fmla="*/ 5065 w 10354"/>
                  <a:gd name="connsiteY1203" fmla="*/ 2462 h 10000"/>
                  <a:gd name="connsiteX1204" fmla="*/ 5055 w 10354"/>
                  <a:gd name="connsiteY1204" fmla="*/ 2444 h 10000"/>
                  <a:gd name="connsiteX1205" fmla="*/ 5041 w 10354"/>
                  <a:gd name="connsiteY1205" fmla="*/ 2462 h 10000"/>
                  <a:gd name="connsiteX1206" fmla="*/ 5037 w 10354"/>
                  <a:gd name="connsiteY1206" fmla="*/ 2470 h 10000"/>
                  <a:gd name="connsiteX1207" fmla="*/ 5032 w 10354"/>
                  <a:gd name="connsiteY1207" fmla="*/ 2470 h 10000"/>
                  <a:gd name="connsiteX1208" fmla="*/ 5032 w 10354"/>
                  <a:gd name="connsiteY1208" fmla="*/ 2444 h 10000"/>
                  <a:gd name="connsiteX1209" fmla="*/ 5055 w 10354"/>
                  <a:gd name="connsiteY1209" fmla="*/ 2410 h 10000"/>
                  <a:gd name="connsiteX1210" fmla="*/ 5065 w 10354"/>
                  <a:gd name="connsiteY1210" fmla="*/ 2393 h 10000"/>
                  <a:gd name="connsiteX1211" fmla="*/ 5069 w 10354"/>
                  <a:gd name="connsiteY1211" fmla="*/ 2385 h 10000"/>
                  <a:gd name="connsiteX1212" fmla="*/ 5083 w 10354"/>
                  <a:gd name="connsiteY1212" fmla="*/ 2376 h 10000"/>
                  <a:gd name="connsiteX1213" fmla="*/ 5097 w 10354"/>
                  <a:gd name="connsiteY1213" fmla="*/ 2376 h 10000"/>
                  <a:gd name="connsiteX1214" fmla="*/ 5124 w 10354"/>
                  <a:gd name="connsiteY1214" fmla="*/ 2325 h 10000"/>
                  <a:gd name="connsiteX1215" fmla="*/ 5143 w 10354"/>
                  <a:gd name="connsiteY1215" fmla="*/ 2248 h 10000"/>
                  <a:gd name="connsiteX1216" fmla="*/ 5152 w 10354"/>
                  <a:gd name="connsiteY1216" fmla="*/ 2239 h 10000"/>
                  <a:gd name="connsiteX1217" fmla="*/ 5166 w 10354"/>
                  <a:gd name="connsiteY1217" fmla="*/ 2162 h 10000"/>
                  <a:gd name="connsiteX1218" fmla="*/ 5171 w 10354"/>
                  <a:gd name="connsiteY1218" fmla="*/ 2171 h 10000"/>
                  <a:gd name="connsiteX1219" fmla="*/ 5198 w 10354"/>
                  <a:gd name="connsiteY1219" fmla="*/ 2145 h 10000"/>
                  <a:gd name="connsiteX1220" fmla="*/ 5203 w 10354"/>
                  <a:gd name="connsiteY1220" fmla="*/ 2111 h 10000"/>
                  <a:gd name="connsiteX1221" fmla="*/ 5217 w 10354"/>
                  <a:gd name="connsiteY1221" fmla="*/ 2060 h 10000"/>
                  <a:gd name="connsiteX1222" fmla="*/ 5226 w 10354"/>
                  <a:gd name="connsiteY1222" fmla="*/ 2026 h 10000"/>
                  <a:gd name="connsiteX1223" fmla="*/ 5286 w 10354"/>
                  <a:gd name="connsiteY1223" fmla="*/ 2026 h 10000"/>
                  <a:gd name="connsiteX1224" fmla="*/ 5290 w 10354"/>
                  <a:gd name="connsiteY1224" fmla="*/ 2034 h 10000"/>
                  <a:gd name="connsiteX1225" fmla="*/ 5323 w 10354"/>
                  <a:gd name="connsiteY1225" fmla="*/ 1923 h 10000"/>
                  <a:gd name="connsiteX1226" fmla="*/ 5323 w 10354"/>
                  <a:gd name="connsiteY1226" fmla="*/ 1889 h 10000"/>
                  <a:gd name="connsiteX1227" fmla="*/ 5359 w 10354"/>
                  <a:gd name="connsiteY1227" fmla="*/ 1829 h 10000"/>
                  <a:gd name="connsiteX1228" fmla="*/ 5378 w 10354"/>
                  <a:gd name="connsiteY1228" fmla="*/ 1812 h 10000"/>
                  <a:gd name="connsiteX1229" fmla="*/ 5406 w 10354"/>
                  <a:gd name="connsiteY1229" fmla="*/ 1752 h 10000"/>
                  <a:gd name="connsiteX1230" fmla="*/ 5410 w 10354"/>
                  <a:gd name="connsiteY1230" fmla="*/ 1718 h 10000"/>
                  <a:gd name="connsiteX1231" fmla="*/ 5438 w 10354"/>
                  <a:gd name="connsiteY1231" fmla="*/ 1667 h 10000"/>
                  <a:gd name="connsiteX1232" fmla="*/ 5438 w 10354"/>
                  <a:gd name="connsiteY1232" fmla="*/ 1650 h 10000"/>
                  <a:gd name="connsiteX1233" fmla="*/ 5438 w 10354"/>
                  <a:gd name="connsiteY1233" fmla="*/ 1641 h 10000"/>
                  <a:gd name="connsiteX1234" fmla="*/ 5452 w 10354"/>
                  <a:gd name="connsiteY1234" fmla="*/ 1641 h 10000"/>
                  <a:gd name="connsiteX1235" fmla="*/ 5456 w 10354"/>
                  <a:gd name="connsiteY1235" fmla="*/ 1615 h 10000"/>
                  <a:gd name="connsiteX1236" fmla="*/ 5456 w 10354"/>
                  <a:gd name="connsiteY1236" fmla="*/ 1615 h 10000"/>
                  <a:gd name="connsiteX1237" fmla="*/ 5465 w 10354"/>
                  <a:gd name="connsiteY1237" fmla="*/ 1598 h 10000"/>
                  <a:gd name="connsiteX1238" fmla="*/ 5465 w 10354"/>
                  <a:gd name="connsiteY1238" fmla="*/ 1615 h 10000"/>
                  <a:gd name="connsiteX1239" fmla="*/ 5479 w 10354"/>
                  <a:gd name="connsiteY1239" fmla="*/ 1598 h 10000"/>
                  <a:gd name="connsiteX1240" fmla="*/ 5484 w 10354"/>
                  <a:gd name="connsiteY1240" fmla="*/ 1581 h 10000"/>
                  <a:gd name="connsiteX1241" fmla="*/ 5493 w 10354"/>
                  <a:gd name="connsiteY1241" fmla="*/ 1581 h 10000"/>
                  <a:gd name="connsiteX1242" fmla="*/ 5512 w 10354"/>
                  <a:gd name="connsiteY1242" fmla="*/ 1538 h 10000"/>
                  <a:gd name="connsiteX1243" fmla="*/ 5530 w 10354"/>
                  <a:gd name="connsiteY1243" fmla="*/ 1564 h 10000"/>
                  <a:gd name="connsiteX1244" fmla="*/ 5530 w 10354"/>
                  <a:gd name="connsiteY1244" fmla="*/ 1538 h 10000"/>
                  <a:gd name="connsiteX1245" fmla="*/ 5539 w 10354"/>
                  <a:gd name="connsiteY1245" fmla="*/ 1530 h 10000"/>
                  <a:gd name="connsiteX1246" fmla="*/ 5530 w 10354"/>
                  <a:gd name="connsiteY1246" fmla="*/ 1504 h 10000"/>
                  <a:gd name="connsiteX1247" fmla="*/ 5567 w 10354"/>
                  <a:gd name="connsiteY1247" fmla="*/ 1479 h 10000"/>
                  <a:gd name="connsiteX1248" fmla="*/ 5553 w 10354"/>
                  <a:gd name="connsiteY1248" fmla="*/ 1479 h 10000"/>
                  <a:gd name="connsiteX1249" fmla="*/ 5553 w 10354"/>
                  <a:gd name="connsiteY1249" fmla="*/ 1453 h 10000"/>
                  <a:gd name="connsiteX1250" fmla="*/ 5581 w 10354"/>
                  <a:gd name="connsiteY1250" fmla="*/ 1444 h 10000"/>
                  <a:gd name="connsiteX1251" fmla="*/ 5581 w 10354"/>
                  <a:gd name="connsiteY1251" fmla="*/ 1453 h 10000"/>
                  <a:gd name="connsiteX1252" fmla="*/ 5585 w 10354"/>
                  <a:gd name="connsiteY1252" fmla="*/ 1444 h 10000"/>
                  <a:gd name="connsiteX1253" fmla="*/ 5594 w 10354"/>
                  <a:gd name="connsiteY1253" fmla="*/ 1427 h 10000"/>
                  <a:gd name="connsiteX1254" fmla="*/ 5599 w 10354"/>
                  <a:gd name="connsiteY1254" fmla="*/ 1419 h 10000"/>
                  <a:gd name="connsiteX1255" fmla="*/ 5594 w 10354"/>
                  <a:gd name="connsiteY1255" fmla="*/ 1402 h 10000"/>
                  <a:gd name="connsiteX1256" fmla="*/ 5604 w 10354"/>
                  <a:gd name="connsiteY1256" fmla="*/ 1393 h 10000"/>
                  <a:gd name="connsiteX1257" fmla="*/ 5618 w 10354"/>
                  <a:gd name="connsiteY1257" fmla="*/ 1393 h 10000"/>
                  <a:gd name="connsiteX1258" fmla="*/ 5627 w 10354"/>
                  <a:gd name="connsiteY1258" fmla="*/ 1368 h 10000"/>
                  <a:gd name="connsiteX1259" fmla="*/ 5627 w 10354"/>
                  <a:gd name="connsiteY1259" fmla="*/ 1325 h 10000"/>
                  <a:gd name="connsiteX1260" fmla="*/ 5645 w 10354"/>
                  <a:gd name="connsiteY1260" fmla="*/ 1291 h 10000"/>
                  <a:gd name="connsiteX1261" fmla="*/ 5645 w 10354"/>
                  <a:gd name="connsiteY1261" fmla="*/ 1282 h 10000"/>
                  <a:gd name="connsiteX1262" fmla="*/ 5654 w 10354"/>
                  <a:gd name="connsiteY1262" fmla="*/ 1265 h 10000"/>
                  <a:gd name="connsiteX1263" fmla="*/ 5654 w 10354"/>
                  <a:gd name="connsiteY1263" fmla="*/ 1214 h 10000"/>
                  <a:gd name="connsiteX1264" fmla="*/ 5654 w 10354"/>
                  <a:gd name="connsiteY1264" fmla="*/ 1214 h 10000"/>
                  <a:gd name="connsiteX1265" fmla="*/ 5645 w 10354"/>
                  <a:gd name="connsiteY1265" fmla="*/ 1197 h 10000"/>
                  <a:gd name="connsiteX1266" fmla="*/ 5659 w 10354"/>
                  <a:gd name="connsiteY1266" fmla="*/ 1197 h 10000"/>
                  <a:gd name="connsiteX1267" fmla="*/ 5654 w 10354"/>
                  <a:gd name="connsiteY1267" fmla="*/ 1154 h 10000"/>
                  <a:gd name="connsiteX1268" fmla="*/ 5641 w 10354"/>
                  <a:gd name="connsiteY1268" fmla="*/ 1154 h 10000"/>
                  <a:gd name="connsiteX1269" fmla="*/ 5627 w 10354"/>
                  <a:gd name="connsiteY1269" fmla="*/ 1128 h 10000"/>
                  <a:gd name="connsiteX1270" fmla="*/ 5618 w 10354"/>
                  <a:gd name="connsiteY1270" fmla="*/ 1094 h 10000"/>
                  <a:gd name="connsiteX1271" fmla="*/ 5613 w 10354"/>
                  <a:gd name="connsiteY1271" fmla="*/ 1094 h 10000"/>
                  <a:gd name="connsiteX1272" fmla="*/ 5604 w 10354"/>
                  <a:gd name="connsiteY1272" fmla="*/ 1120 h 10000"/>
                  <a:gd name="connsiteX1273" fmla="*/ 5604 w 10354"/>
                  <a:gd name="connsiteY1273" fmla="*/ 1128 h 10000"/>
                  <a:gd name="connsiteX1274" fmla="*/ 5599 w 10354"/>
                  <a:gd name="connsiteY1274" fmla="*/ 1103 h 10000"/>
                  <a:gd name="connsiteX1275" fmla="*/ 5599 w 10354"/>
                  <a:gd name="connsiteY1275" fmla="*/ 1103 h 10000"/>
                  <a:gd name="connsiteX1276" fmla="*/ 5594 w 10354"/>
                  <a:gd name="connsiteY1276" fmla="*/ 1068 h 10000"/>
                  <a:gd name="connsiteX1277" fmla="*/ 5594 w 10354"/>
                  <a:gd name="connsiteY1277" fmla="*/ 1060 h 10000"/>
                  <a:gd name="connsiteX1278" fmla="*/ 5581 w 10354"/>
                  <a:gd name="connsiteY1278" fmla="*/ 1034 h 10000"/>
                  <a:gd name="connsiteX1279" fmla="*/ 5571 w 10354"/>
                  <a:gd name="connsiteY1279" fmla="*/ 1009 h 10000"/>
                  <a:gd name="connsiteX1280" fmla="*/ 5571 w 10354"/>
                  <a:gd name="connsiteY1280" fmla="*/ 991 h 10000"/>
                  <a:gd name="connsiteX1281" fmla="*/ 5585 w 10354"/>
                  <a:gd name="connsiteY1281" fmla="*/ 1009 h 10000"/>
                  <a:gd name="connsiteX1282" fmla="*/ 5604 w 10354"/>
                  <a:gd name="connsiteY1282" fmla="*/ 1043 h 10000"/>
                  <a:gd name="connsiteX1283" fmla="*/ 5641 w 10354"/>
                  <a:gd name="connsiteY1283" fmla="*/ 1094 h 10000"/>
                  <a:gd name="connsiteX1284" fmla="*/ 5631 w 10354"/>
                  <a:gd name="connsiteY1284" fmla="*/ 1128 h 10000"/>
                  <a:gd name="connsiteX1285" fmla="*/ 5641 w 10354"/>
                  <a:gd name="connsiteY1285" fmla="*/ 1128 h 10000"/>
                  <a:gd name="connsiteX1286" fmla="*/ 5659 w 10354"/>
                  <a:gd name="connsiteY1286" fmla="*/ 1017 h 10000"/>
                  <a:gd name="connsiteX1287" fmla="*/ 5659 w 10354"/>
                  <a:gd name="connsiteY1287" fmla="*/ 983 h 10000"/>
                  <a:gd name="connsiteX1288" fmla="*/ 5659 w 10354"/>
                  <a:gd name="connsiteY1288" fmla="*/ 957 h 10000"/>
                  <a:gd name="connsiteX1289" fmla="*/ 5654 w 10354"/>
                  <a:gd name="connsiteY1289" fmla="*/ 966 h 10000"/>
                  <a:gd name="connsiteX1290" fmla="*/ 5641 w 10354"/>
                  <a:gd name="connsiteY1290" fmla="*/ 957 h 10000"/>
                  <a:gd name="connsiteX1291" fmla="*/ 5631 w 10354"/>
                  <a:gd name="connsiteY1291" fmla="*/ 897 h 10000"/>
                  <a:gd name="connsiteX1292" fmla="*/ 5641 w 10354"/>
                  <a:gd name="connsiteY1292" fmla="*/ 872 h 10000"/>
                  <a:gd name="connsiteX1293" fmla="*/ 5618 w 10354"/>
                  <a:gd name="connsiteY1293" fmla="*/ 803 h 10000"/>
                  <a:gd name="connsiteX1294" fmla="*/ 5604 w 10354"/>
                  <a:gd name="connsiteY1294" fmla="*/ 821 h 10000"/>
                  <a:gd name="connsiteX1295" fmla="*/ 5613 w 10354"/>
                  <a:gd name="connsiteY1295" fmla="*/ 846 h 10000"/>
                  <a:gd name="connsiteX1296" fmla="*/ 5604 w 10354"/>
                  <a:gd name="connsiteY1296" fmla="*/ 855 h 10000"/>
                  <a:gd name="connsiteX1297" fmla="*/ 5599 w 10354"/>
                  <a:gd name="connsiteY1297" fmla="*/ 880 h 10000"/>
                  <a:gd name="connsiteX1298" fmla="*/ 5594 w 10354"/>
                  <a:gd name="connsiteY1298" fmla="*/ 880 h 10000"/>
                  <a:gd name="connsiteX1299" fmla="*/ 5585 w 10354"/>
                  <a:gd name="connsiteY1299" fmla="*/ 829 h 10000"/>
                  <a:gd name="connsiteX1300" fmla="*/ 5571 w 10354"/>
                  <a:gd name="connsiteY1300" fmla="*/ 803 h 10000"/>
                  <a:gd name="connsiteX1301" fmla="*/ 5585 w 10354"/>
                  <a:gd name="connsiteY1301" fmla="*/ 795 h 10000"/>
                  <a:gd name="connsiteX1302" fmla="*/ 5585 w 10354"/>
                  <a:gd name="connsiteY1302" fmla="*/ 761 h 10000"/>
                  <a:gd name="connsiteX1303" fmla="*/ 5558 w 10354"/>
                  <a:gd name="connsiteY1303" fmla="*/ 709 h 10000"/>
                  <a:gd name="connsiteX1304" fmla="*/ 5544 w 10354"/>
                  <a:gd name="connsiteY1304" fmla="*/ 709 h 10000"/>
                  <a:gd name="connsiteX1305" fmla="*/ 5544 w 10354"/>
                  <a:gd name="connsiteY1305" fmla="*/ 684 h 10000"/>
                  <a:gd name="connsiteX1306" fmla="*/ 5525 w 10354"/>
                  <a:gd name="connsiteY1306" fmla="*/ 632 h 10000"/>
                  <a:gd name="connsiteX1307" fmla="*/ 5507 w 10354"/>
                  <a:gd name="connsiteY1307" fmla="*/ 607 h 10000"/>
                  <a:gd name="connsiteX1308" fmla="*/ 5512 w 10354"/>
                  <a:gd name="connsiteY1308" fmla="*/ 598 h 10000"/>
                  <a:gd name="connsiteX1309" fmla="*/ 5507 w 10354"/>
                  <a:gd name="connsiteY1309" fmla="*/ 581 h 10000"/>
                  <a:gd name="connsiteX1310" fmla="*/ 5493 w 10354"/>
                  <a:gd name="connsiteY1310" fmla="*/ 573 h 10000"/>
                  <a:gd name="connsiteX1311" fmla="*/ 5484 w 10354"/>
                  <a:gd name="connsiteY1311" fmla="*/ 581 h 10000"/>
                  <a:gd name="connsiteX1312" fmla="*/ 5484 w 10354"/>
                  <a:gd name="connsiteY1312" fmla="*/ 573 h 10000"/>
                  <a:gd name="connsiteX1313" fmla="*/ 5484 w 10354"/>
                  <a:gd name="connsiteY1313" fmla="*/ 547 h 10000"/>
                  <a:gd name="connsiteX1314" fmla="*/ 5465 w 10354"/>
                  <a:gd name="connsiteY1314" fmla="*/ 556 h 10000"/>
                  <a:gd name="connsiteX1315" fmla="*/ 5433 w 10354"/>
                  <a:gd name="connsiteY1315" fmla="*/ 547 h 10000"/>
                  <a:gd name="connsiteX1316" fmla="*/ 5410 w 10354"/>
                  <a:gd name="connsiteY1316" fmla="*/ 573 h 10000"/>
                  <a:gd name="connsiteX1317" fmla="*/ 5406 w 10354"/>
                  <a:gd name="connsiteY1317" fmla="*/ 573 h 10000"/>
                  <a:gd name="connsiteX1318" fmla="*/ 5392 w 10354"/>
                  <a:gd name="connsiteY1318" fmla="*/ 573 h 10000"/>
                  <a:gd name="connsiteX1319" fmla="*/ 5364 w 10354"/>
                  <a:gd name="connsiteY1319" fmla="*/ 530 h 10000"/>
                  <a:gd name="connsiteX1320" fmla="*/ 5350 w 10354"/>
                  <a:gd name="connsiteY1320" fmla="*/ 556 h 10000"/>
                  <a:gd name="connsiteX1321" fmla="*/ 5346 w 10354"/>
                  <a:gd name="connsiteY1321" fmla="*/ 556 h 10000"/>
                  <a:gd name="connsiteX1322" fmla="*/ 5313 w 10354"/>
                  <a:gd name="connsiteY1322" fmla="*/ 573 h 10000"/>
                  <a:gd name="connsiteX1323" fmla="*/ 5304 w 10354"/>
                  <a:gd name="connsiteY1323" fmla="*/ 556 h 10000"/>
                  <a:gd name="connsiteX1324" fmla="*/ 5290 w 10354"/>
                  <a:gd name="connsiteY1324" fmla="*/ 573 h 10000"/>
                  <a:gd name="connsiteX1325" fmla="*/ 5290 w 10354"/>
                  <a:gd name="connsiteY1325" fmla="*/ 556 h 10000"/>
                  <a:gd name="connsiteX1326" fmla="*/ 5300 w 10354"/>
                  <a:gd name="connsiteY1326" fmla="*/ 547 h 10000"/>
                  <a:gd name="connsiteX1327" fmla="*/ 5300 w 10354"/>
                  <a:gd name="connsiteY1327" fmla="*/ 530 h 10000"/>
                  <a:gd name="connsiteX1328" fmla="*/ 5290 w 10354"/>
                  <a:gd name="connsiteY1328" fmla="*/ 530 h 10000"/>
                  <a:gd name="connsiteX1329" fmla="*/ 5286 w 10354"/>
                  <a:gd name="connsiteY1329" fmla="*/ 547 h 10000"/>
                  <a:gd name="connsiteX1330" fmla="*/ 5272 w 10354"/>
                  <a:gd name="connsiteY1330" fmla="*/ 556 h 10000"/>
                  <a:gd name="connsiteX1331" fmla="*/ 5272 w 10354"/>
                  <a:gd name="connsiteY1331" fmla="*/ 598 h 10000"/>
                  <a:gd name="connsiteX1332" fmla="*/ 5276 w 10354"/>
                  <a:gd name="connsiteY1332" fmla="*/ 581 h 10000"/>
                  <a:gd name="connsiteX1333" fmla="*/ 5272 w 10354"/>
                  <a:gd name="connsiteY1333" fmla="*/ 607 h 10000"/>
                  <a:gd name="connsiteX1334" fmla="*/ 5263 w 10354"/>
                  <a:gd name="connsiteY1334" fmla="*/ 607 h 10000"/>
                  <a:gd name="connsiteX1335" fmla="*/ 5263 w 10354"/>
                  <a:gd name="connsiteY1335" fmla="*/ 632 h 10000"/>
                  <a:gd name="connsiteX1336" fmla="*/ 5258 w 10354"/>
                  <a:gd name="connsiteY1336" fmla="*/ 658 h 10000"/>
                  <a:gd name="connsiteX1337" fmla="*/ 5244 w 10354"/>
                  <a:gd name="connsiteY1337" fmla="*/ 667 h 10000"/>
                  <a:gd name="connsiteX1338" fmla="*/ 5240 w 10354"/>
                  <a:gd name="connsiteY1338" fmla="*/ 658 h 10000"/>
                  <a:gd name="connsiteX1339" fmla="*/ 5240 w 10354"/>
                  <a:gd name="connsiteY1339" fmla="*/ 684 h 10000"/>
                  <a:gd name="connsiteX1340" fmla="*/ 5212 w 10354"/>
                  <a:gd name="connsiteY1340" fmla="*/ 684 h 10000"/>
                  <a:gd name="connsiteX1341" fmla="*/ 5198 w 10354"/>
                  <a:gd name="connsiteY1341" fmla="*/ 692 h 10000"/>
                  <a:gd name="connsiteX1342" fmla="*/ 5184 w 10354"/>
                  <a:gd name="connsiteY1342" fmla="*/ 684 h 10000"/>
                  <a:gd name="connsiteX1343" fmla="*/ 5157 w 10354"/>
                  <a:gd name="connsiteY1343" fmla="*/ 684 h 10000"/>
                  <a:gd name="connsiteX1344" fmla="*/ 5157 w 10354"/>
                  <a:gd name="connsiteY1344" fmla="*/ 667 h 10000"/>
                  <a:gd name="connsiteX1345" fmla="*/ 5157 w 10354"/>
                  <a:gd name="connsiteY1345" fmla="*/ 667 h 10000"/>
                  <a:gd name="connsiteX1346" fmla="*/ 5180 w 10354"/>
                  <a:gd name="connsiteY1346" fmla="*/ 650 h 10000"/>
                  <a:gd name="connsiteX1347" fmla="*/ 5184 w 10354"/>
                  <a:gd name="connsiteY1347" fmla="*/ 658 h 10000"/>
                  <a:gd name="connsiteX1348" fmla="*/ 5203 w 10354"/>
                  <a:gd name="connsiteY1348" fmla="*/ 547 h 10000"/>
                  <a:gd name="connsiteX1349" fmla="*/ 5226 w 10354"/>
                  <a:gd name="connsiteY1349" fmla="*/ 530 h 10000"/>
                  <a:gd name="connsiteX1350" fmla="*/ 5230 w 10354"/>
                  <a:gd name="connsiteY1350" fmla="*/ 487 h 10000"/>
                  <a:gd name="connsiteX1351" fmla="*/ 5230 w 10354"/>
                  <a:gd name="connsiteY1351" fmla="*/ 487 h 10000"/>
                  <a:gd name="connsiteX1352" fmla="*/ 5226 w 10354"/>
                  <a:gd name="connsiteY1352" fmla="*/ 462 h 10000"/>
                  <a:gd name="connsiteX1353" fmla="*/ 5226 w 10354"/>
                  <a:gd name="connsiteY1353" fmla="*/ 462 h 10000"/>
                  <a:gd name="connsiteX1354" fmla="*/ 5240 w 10354"/>
                  <a:gd name="connsiteY1354" fmla="*/ 462 h 10000"/>
                  <a:gd name="connsiteX1355" fmla="*/ 5240 w 10354"/>
                  <a:gd name="connsiteY1355" fmla="*/ 444 h 10000"/>
                  <a:gd name="connsiteX1356" fmla="*/ 5230 w 10354"/>
                  <a:gd name="connsiteY1356" fmla="*/ 436 h 10000"/>
                  <a:gd name="connsiteX1357" fmla="*/ 5230 w 10354"/>
                  <a:gd name="connsiteY1357" fmla="*/ 419 h 10000"/>
                  <a:gd name="connsiteX1358" fmla="*/ 5230 w 10354"/>
                  <a:gd name="connsiteY1358" fmla="*/ 410 h 10000"/>
                  <a:gd name="connsiteX1359" fmla="*/ 5198 w 10354"/>
                  <a:gd name="connsiteY1359" fmla="*/ 402 h 10000"/>
                  <a:gd name="connsiteX1360" fmla="*/ 5189 w 10354"/>
                  <a:gd name="connsiteY1360" fmla="*/ 402 h 10000"/>
                  <a:gd name="connsiteX1361" fmla="*/ 5184 w 10354"/>
                  <a:gd name="connsiteY1361" fmla="*/ 376 h 10000"/>
                  <a:gd name="connsiteX1362" fmla="*/ 5180 w 10354"/>
                  <a:gd name="connsiteY1362" fmla="*/ 376 h 10000"/>
                  <a:gd name="connsiteX1363" fmla="*/ 5166 w 10354"/>
                  <a:gd name="connsiteY1363" fmla="*/ 376 h 10000"/>
                  <a:gd name="connsiteX1364" fmla="*/ 5157 w 10354"/>
                  <a:gd name="connsiteY1364" fmla="*/ 385 h 10000"/>
                  <a:gd name="connsiteX1365" fmla="*/ 5152 w 10354"/>
                  <a:gd name="connsiteY1365" fmla="*/ 376 h 10000"/>
                  <a:gd name="connsiteX1366" fmla="*/ 5129 w 10354"/>
                  <a:gd name="connsiteY1366" fmla="*/ 385 h 10000"/>
                  <a:gd name="connsiteX1367" fmla="*/ 5129 w 10354"/>
                  <a:gd name="connsiteY1367" fmla="*/ 350 h 10000"/>
                  <a:gd name="connsiteX1368" fmla="*/ 5129 w 10354"/>
                  <a:gd name="connsiteY1368" fmla="*/ 325 h 10000"/>
                  <a:gd name="connsiteX1369" fmla="*/ 5124 w 10354"/>
                  <a:gd name="connsiteY1369" fmla="*/ 359 h 10000"/>
                  <a:gd name="connsiteX1370" fmla="*/ 5106 w 10354"/>
                  <a:gd name="connsiteY1370" fmla="*/ 359 h 10000"/>
                  <a:gd name="connsiteX1371" fmla="*/ 5037 w 10354"/>
                  <a:gd name="connsiteY1371" fmla="*/ 419 h 10000"/>
                  <a:gd name="connsiteX1372" fmla="*/ 5051 w 10354"/>
                  <a:gd name="connsiteY1372" fmla="*/ 385 h 10000"/>
                  <a:gd name="connsiteX1373" fmla="*/ 5055 w 10354"/>
                  <a:gd name="connsiteY1373" fmla="*/ 376 h 10000"/>
                  <a:gd name="connsiteX1374" fmla="*/ 5092 w 10354"/>
                  <a:gd name="connsiteY1374" fmla="*/ 282 h 10000"/>
                  <a:gd name="connsiteX1375" fmla="*/ 5106 w 10354"/>
                  <a:gd name="connsiteY1375" fmla="*/ 265 h 10000"/>
                  <a:gd name="connsiteX1376" fmla="*/ 5115 w 10354"/>
                  <a:gd name="connsiteY1376" fmla="*/ 265 h 10000"/>
                  <a:gd name="connsiteX1377" fmla="*/ 5124 w 10354"/>
                  <a:gd name="connsiteY1377" fmla="*/ 222 h 10000"/>
                  <a:gd name="connsiteX1378" fmla="*/ 5124 w 10354"/>
                  <a:gd name="connsiteY1378" fmla="*/ 214 h 10000"/>
                  <a:gd name="connsiteX1379" fmla="*/ 5143 w 10354"/>
                  <a:gd name="connsiteY1379" fmla="*/ 197 h 10000"/>
                  <a:gd name="connsiteX1380" fmla="*/ 5152 w 10354"/>
                  <a:gd name="connsiteY1380" fmla="*/ 214 h 10000"/>
                  <a:gd name="connsiteX1381" fmla="*/ 5143 w 10354"/>
                  <a:gd name="connsiteY1381" fmla="*/ 188 h 10000"/>
                  <a:gd name="connsiteX1382" fmla="*/ 5129 w 10354"/>
                  <a:gd name="connsiteY1382" fmla="*/ 103 h 10000"/>
                  <a:gd name="connsiteX1383" fmla="*/ 5115 w 10354"/>
                  <a:gd name="connsiteY1383" fmla="*/ 85 h 10000"/>
                  <a:gd name="connsiteX1384" fmla="*/ 5111 w 10354"/>
                  <a:gd name="connsiteY1384" fmla="*/ 111 h 10000"/>
                  <a:gd name="connsiteX1385" fmla="*/ 5092 w 10354"/>
                  <a:gd name="connsiteY1385" fmla="*/ 103 h 10000"/>
                  <a:gd name="connsiteX1386" fmla="*/ 5069 w 10354"/>
                  <a:gd name="connsiteY1386" fmla="*/ 77 h 10000"/>
                  <a:gd name="connsiteX1387" fmla="*/ 5051 w 10354"/>
                  <a:gd name="connsiteY1387" fmla="*/ 26 h 10000"/>
                  <a:gd name="connsiteX1388" fmla="*/ 5041 w 10354"/>
                  <a:gd name="connsiteY1388" fmla="*/ 34 h 10000"/>
                  <a:gd name="connsiteX1389" fmla="*/ 5037 w 10354"/>
                  <a:gd name="connsiteY1389" fmla="*/ 34 h 10000"/>
                  <a:gd name="connsiteX1390" fmla="*/ 5037 w 10354"/>
                  <a:gd name="connsiteY1390" fmla="*/ 26 h 10000"/>
                  <a:gd name="connsiteX1391" fmla="*/ 5037 w 10354"/>
                  <a:gd name="connsiteY1391" fmla="*/ 9 h 10000"/>
                  <a:gd name="connsiteX1392" fmla="*/ 5023 w 10354"/>
                  <a:gd name="connsiteY1392" fmla="*/ 0 h 10000"/>
                  <a:gd name="connsiteX1393" fmla="*/ 5009 w 10354"/>
                  <a:gd name="connsiteY1393" fmla="*/ 9 h 10000"/>
                  <a:gd name="connsiteX1394" fmla="*/ 4995 w 10354"/>
                  <a:gd name="connsiteY1394" fmla="*/ 34 h 10000"/>
                  <a:gd name="connsiteX1395" fmla="*/ 4991 w 10354"/>
                  <a:gd name="connsiteY1395" fmla="*/ 60 h 10000"/>
                  <a:gd name="connsiteX1396" fmla="*/ 4982 w 10354"/>
                  <a:gd name="connsiteY1396" fmla="*/ 60 h 10000"/>
                  <a:gd name="connsiteX1397" fmla="*/ 4949 w 10354"/>
                  <a:gd name="connsiteY1397" fmla="*/ 51 h 10000"/>
                  <a:gd name="connsiteX1398" fmla="*/ 4949 w 10354"/>
                  <a:gd name="connsiteY1398" fmla="*/ 85 h 10000"/>
                  <a:gd name="connsiteX1399" fmla="*/ 4903 w 10354"/>
                  <a:gd name="connsiteY1399" fmla="*/ 197 h 10000"/>
                  <a:gd name="connsiteX1400" fmla="*/ 4899 w 10354"/>
                  <a:gd name="connsiteY1400" fmla="*/ 239 h 10000"/>
                  <a:gd name="connsiteX1401" fmla="*/ 4871 w 10354"/>
                  <a:gd name="connsiteY1401" fmla="*/ 274 h 10000"/>
                  <a:gd name="connsiteX1402" fmla="*/ 4871 w 10354"/>
                  <a:gd name="connsiteY1402" fmla="*/ 282 h 10000"/>
                  <a:gd name="connsiteX1403" fmla="*/ 4834 w 10354"/>
                  <a:gd name="connsiteY1403" fmla="*/ 376 h 10000"/>
                  <a:gd name="connsiteX1404" fmla="*/ 4829 w 10354"/>
                  <a:gd name="connsiteY1404" fmla="*/ 402 h 10000"/>
                  <a:gd name="connsiteX1405" fmla="*/ 4834 w 10354"/>
                  <a:gd name="connsiteY1405" fmla="*/ 410 h 10000"/>
                  <a:gd name="connsiteX1406" fmla="*/ 4829 w 10354"/>
                  <a:gd name="connsiteY1406" fmla="*/ 436 h 10000"/>
                  <a:gd name="connsiteX1407" fmla="*/ 4825 w 10354"/>
                  <a:gd name="connsiteY1407" fmla="*/ 436 h 10000"/>
                  <a:gd name="connsiteX1408" fmla="*/ 4825 w 10354"/>
                  <a:gd name="connsiteY1408" fmla="*/ 444 h 10000"/>
                  <a:gd name="connsiteX1409" fmla="*/ 4811 w 10354"/>
                  <a:gd name="connsiteY1409" fmla="*/ 496 h 10000"/>
                  <a:gd name="connsiteX1410" fmla="*/ 4811 w 10354"/>
                  <a:gd name="connsiteY1410" fmla="*/ 496 h 10000"/>
                  <a:gd name="connsiteX1411" fmla="*/ 4811 w 10354"/>
                  <a:gd name="connsiteY1411" fmla="*/ 521 h 10000"/>
                  <a:gd name="connsiteX1412" fmla="*/ 4816 w 10354"/>
                  <a:gd name="connsiteY1412" fmla="*/ 530 h 10000"/>
                  <a:gd name="connsiteX1413" fmla="*/ 4834 w 10354"/>
                  <a:gd name="connsiteY1413" fmla="*/ 547 h 10000"/>
                  <a:gd name="connsiteX1414" fmla="*/ 4834 w 10354"/>
                  <a:gd name="connsiteY1414" fmla="*/ 581 h 10000"/>
                  <a:gd name="connsiteX1415" fmla="*/ 4843 w 10354"/>
                  <a:gd name="connsiteY1415" fmla="*/ 581 h 10000"/>
                  <a:gd name="connsiteX1416" fmla="*/ 4843 w 10354"/>
                  <a:gd name="connsiteY1416" fmla="*/ 598 h 10000"/>
                  <a:gd name="connsiteX1417" fmla="*/ 4829 w 10354"/>
                  <a:gd name="connsiteY1417" fmla="*/ 598 h 10000"/>
                  <a:gd name="connsiteX1418" fmla="*/ 4829 w 10354"/>
                  <a:gd name="connsiteY1418" fmla="*/ 573 h 10000"/>
                  <a:gd name="connsiteX1419" fmla="*/ 4829 w 10354"/>
                  <a:gd name="connsiteY1419" fmla="*/ 632 h 10000"/>
                  <a:gd name="connsiteX1420" fmla="*/ 4829 w 10354"/>
                  <a:gd name="connsiteY1420" fmla="*/ 632 h 10000"/>
                  <a:gd name="connsiteX1421" fmla="*/ 4829 w 10354"/>
                  <a:gd name="connsiteY1421" fmla="*/ 650 h 10000"/>
                  <a:gd name="connsiteX1422" fmla="*/ 4774 w 10354"/>
                  <a:gd name="connsiteY1422" fmla="*/ 684 h 10000"/>
                  <a:gd name="connsiteX1423" fmla="*/ 4756 w 10354"/>
                  <a:gd name="connsiteY1423" fmla="*/ 684 h 10000"/>
                  <a:gd name="connsiteX1424" fmla="*/ 4737 w 10354"/>
                  <a:gd name="connsiteY1424" fmla="*/ 692 h 10000"/>
                  <a:gd name="connsiteX1425" fmla="*/ 4677 w 10354"/>
                  <a:gd name="connsiteY1425" fmla="*/ 667 h 10000"/>
                  <a:gd name="connsiteX1426" fmla="*/ 4682 w 10354"/>
                  <a:gd name="connsiteY1426" fmla="*/ 692 h 10000"/>
                  <a:gd name="connsiteX1427" fmla="*/ 4682 w 10354"/>
                  <a:gd name="connsiteY1427" fmla="*/ 709 h 10000"/>
                  <a:gd name="connsiteX1428" fmla="*/ 4691 w 10354"/>
                  <a:gd name="connsiteY1428" fmla="*/ 718 h 10000"/>
                  <a:gd name="connsiteX1429" fmla="*/ 4691 w 10354"/>
                  <a:gd name="connsiteY1429" fmla="*/ 744 h 10000"/>
                  <a:gd name="connsiteX1430" fmla="*/ 4700 w 10354"/>
                  <a:gd name="connsiteY1430" fmla="*/ 744 h 10000"/>
                  <a:gd name="connsiteX1431" fmla="*/ 4714 w 10354"/>
                  <a:gd name="connsiteY1431" fmla="*/ 769 h 10000"/>
                  <a:gd name="connsiteX1432" fmla="*/ 4710 w 10354"/>
                  <a:gd name="connsiteY1432" fmla="*/ 786 h 10000"/>
                  <a:gd name="connsiteX1433" fmla="*/ 4737 w 10354"/>
                  <a:gd name="connsiteY1433" fmla="*/ 786 h 10000"/>
                  <a:gd name="connsiteX1434" fmla="*/ 4742 w 10354"/>
                  <a:gd name="connsiteY1434" fmla="*/ 795 h 10000"/>
                  <a:gd name="connsiteX1435" fmla="*/ 4742 w 10354"/>
                  <a:gd name="connsiteY1435" fmla="*/ 803 h 10000"/>
                  <a:gd name="connsiteX1436" fmla="*/ 4737 w 10354"/>
                  <a:gd name="connsiteY1436" fmla="*/ 846 h 10000"/>
                  <a:gd name="connsiteX1437" fmla="*/ 4737 w 10354"/>
                  <a:gd name="connsiteY1437" fmla="*/ 880 h 10000"/>
                  <a:gd name="connsiteX1438" fmla="*/ 4737 w 10354"/>
                  <a:gd name="connsiteY1438" fmla="*/ 906 h 10000"/>
                  <a:gd name="connsiteX1439" fmla="*/ 4724 w 10354"/>
                  <a:gd name="connsiteY1439" fmla="*/ 897 h 10000"/>
                  <a:gd name="connsiteX1440" fmla="*/ 4724 w 10354"/>
                  <a:gd name="connsiteY1440" fmla="*/ 872 h 10000"/>
                  <a:gd name="connsiteX1441" fmla="*/ 4714 w 10354"/>
                  <a:gd name="connsiteY1441" fmla="*/ 855 h 10000"/>
                  <a:gd name="connsiteX1442" fmla="*/ 4691 w 10354"/>
                  <a:gd name="connsiteY1442" fmla="*/ 846 h 10000"/>
                  <a:gd name="connsiteX1443" fmla="*/ 4691 w 10354"/>
                  <a:gd name="connsiteY1443" fmla="*/ 846 h 10000"/>
                  <a:gd name="connsiteX1444" fmla="*/ 4696 w 10354"/>
                  <a:gd name="connsiteY1444" fmla="*/ 821 h 10000"/>
                  <a:gd name="connsiteX1445" fmla="*/ 4691 w 10354"/>
                  <a:gd name="connsiteY1445" fmla="*/ 803 h 10000"/>
                  <a:gd name="connsiteX1446" fmla="*/ 4668 w 10354"/>
                  <a:gd name="connsiteY1446" fmla="*/ 821 h 10000"/>
                  <a:gd name="connsiteX1447" fmla="*/ 4668 w 10354"/>
                  <a:gd name="connsiteY1447" fmla="*/ 786 h 10000"/>
                  <a:gd name="connsiteX1448" fmla="*/ 4664 w 10354"/>
                  <a:gd name="connsiteY1448" fmla="*/ 786 h 10000"/>
                  <a:gd name="connsiteX1449" fmla="*/ 4622 w 10354"/>
                  <a:gd name="connsiteY1449" fmla="*/ 846 h 10000"/>
                  <a:gd name="connsiteX1450" fmla="*/ 4627 w 10354"/>
                  <a:gd name="connsiteY1450" fmla="*/ 872 h 10000"/>
                  <a:gd name="connsiteX1451" fmla="*/ 4622 w 10354"/>
                  <a:gd name="connsiteY1451" fmla="*/ 880 h 10000"/>
                  <a:gd name="connsiteX1452" fmla="*/ 4622 w 10354"/>
                  <a:gd name="connsiteY1452" fmla="*/ 880 h 10000"/>
                  <a:gd name="connsiteX1453" fmla="*/ 4618 w 10354"/>
                  <a:gd name="connsiteY1453" fmla="*/ 872 h 10000"/>
                  <a:gd name="connsiteX1454" fmla="*/ 4604 w 10354"/>
                  <a:gd name="connsiteY1454" fmla="*/ 880 h 10000"/>
                  <a:gd name="connsiteX1455" fmla="*/ 4594 w 10354"/>
                  <a:gd name="connsiteY1455" fmla="*/ 906 h 10000"/>
                  <a:gd name="connsiteX1456" fmla="*/ 4604 w 10354"/>
                  <a:gd name="connsiteY1456" fmla="*/ 906 h 10000"/>
                  <a:gd name="connsiteX1457" fmla="*/ 4608 w 10354"/>
                  <a:gd name="connsiteY1457" fmla="*/ 906 h 10000"/>
                  <a:gd name="connsiteX1458" fmla="*/ 4608 w 10354"/>
                  <a:gd name="connsiteY1458" fmla="*/ 932 h 10000"/>
                  <a:gd name="connsiteX1459" fmla="*/ 4604 w 10354"/>
                  <a:gd name="connsiteY1459" fmla="*/ 932 h 10000"/>
                  <a:gd name="connsiteX1460" fmla="*/ 4590 w 10354"/>
                  <a:gd name="connsiteY1460" fmla="*/ 932 h 10000"/>
                  <a:gd name="connsiteX1461" fmla="*/ 4567 w 10354"/>
                  <a:gd name="connsiteY1461" fmla="*/ 957 h 10000"/>
                  <a:gd name="connsiteX1462" fmla="*/ 4567 w 10354"/>
                  <a:gd name="connsiteY1462" fmla="*/ 932 h 10000"/>
                  <a:gd name="connsiteX1463" fmla="*/ 4567 w 10354"/>
                  <a:gd name="connsiteY1463" fmla="*/ 923 h 10000"/>
                  <a:gd name="connsiteX1464" fmla="*/ 4562 w 10354"/>
                  <a:gd name="connsiteY1464" fmla="*/ 932 h 10000"/>
                  <a:gd name="connsiteX1465" fmla="*/ 4548 w 10354"/>
                  <a:gd name="connsiteY1465" fmla="*/ 957 h 10000"/>
                  <a:gd name="connsiteX1466" fmla="*/ 4544 w 10354"/>
                  <a:gd name="connsiteY1466" fmla="*/ 957 h 10000"/>
                  <a:gd name="connsiteX1467" fmla="*/ 4521 w 10354"/>
                  <a:gd name="connsiteY1467" fmla="*/ 983 h 10000"/>
                  <a:gd name="connsiteX1468" fmla="*/ 4521 w 10354"/>
                  <a:gd name="connsiteY1468" fmla="*/ 983 h 10000"/>
                  <a:gd name="connsiteX1469" fmla="*/ 4530 w 10354"/>
                  <a:gd name="connsiteY1469" fmla="*/ 957 h 10000"/>
                  <a:gd name="connsiteX1470" fmla="*/ 4535 w 10354"/>
                  <a:gd name="connsiteY1470" fmla="*/ 932 h 10000"/>
                  <a:gd name="connsiteX1471" fmla="*/ 4521 w 10354"/>
                  <a:gd name="connsiteY1471" fmla="*/ 932 h 10000"/>
                  <a:gd name="connsiteX1472" fmla="*/ 4516 w 10354"/>
                  <a:gd name="connsiteY1472" fmla="*/ 923 h 10000"/>
                  <a:gd name="connsiteX1473" fmla="*/ 4516 w 10354"/>
                  <a:gd name="connsiteY1473" fmla="*/ 932 h 10000"/>
                  <a:gd name="connsiteX1474" fmla="*/ 4488 w 10354"/>
                  <a:gd name="connsiteY1474" fmla="*/ 940 h 10000"/>
                  <a:gd name="connsiteX1475" fmla="*/ 4484 w 10354"/>
                  <a:gd name="connsiteY1475" fmla="*/ 983 h 10000"/>
                  <a:gd name="connsiteX1476" fmla="*/ 4470 w 10354"/>
                  <a:gd name="connsiteY1476" fmla="*/ 983 h 10000"/>
                  <a:gd name="connsiteX1477" fmla="*/ 4470 w 10354"/>
                  <a:gd name="connsiteY1477" fmla="*/ 966 h 10000"/>
                  <a:gd name="connsiteX1478" fmla="*/ 4488 w 10354"/>
                  <a:gd name="connsiteY1478" fmla="*/ 923 h 10000"/>
                  <a:gd name="connsiteX1479" fmla="*/ 4493 w 10354"/>
                  <a:gd name="connsiteY1479" fmla="*/ 880 h 10000"/>
                  <a:gd name="connsiteX1480" fmla="*/ 4475 w 10354"/>
                  <a:gd name="connsiteY1480" fmla="*/ 846 h 10000"/>
                  <a:gd name="connsiteX1481" fmla="*/ 4442 w 10354"/>
                  <a:gd name="connsiteY1481" fmla="*/ 855 h 10000"/>
                  <a:gd name="connsiteX1482" fmla="*/ 4433 w 10354"/>
                  <a:gd name="connsiteY1482" fmla="*/ 855 h 10000"/>
                  <a:gd name="connsiteX1483" fmla="*/ 4433 w 10354"/>
                  <a:gd name="connsiteY1483" fmla="*/ 880 h 10000"/>
                  <a:gd name="connsiteX1484" fmla="*/ 4401 w 10354"/>
                  <a:gd name="connsiteY1484" fmla="*/ 855 h 10000"/>
                  <a:gd name="connsiteX1485" fmla="*/ 4396 w 10354"/>
                  <a:gd name="connsiteY1485" fmla="*/ 872 h 10000"/>
                  <a:gd name="connsiteX1486" fmla="*/ 4382 w 10354"/>
                  <a:gd name="connsiteY1486" fmla="*/ 897 h 10000"/>
                  <a:gd name="connsiteX1487" fmla="*/ 4373 w 10354"/>
                  <a:gd name="connsiteY1487" fmla="*/ 872 h 10000"/>
                  <a:gd name="connsiteX1488" fmla="*/ 4341 w 10354"/>
                  <a:gd name="connsiteY1488" fmla="*/ 872 h 10000"/>
                  <a:gd name="connsiteX1489" fmla="*/ 4336 w 10354"/>
                  <a:gd name="connsiteY1489" fmla="*/ 880 h 10000"/>
                  <a:gd name="connsiteX1490" fmla="*/ 4346 w 10354"/>
                  <a:gd name="connsiteY1490" fmla="*/ 897 h 10000"/>
                  <a:gd name="connsiteX1491" fmla="*/ 4346 w 10354"/>
                  <a:gd name="connsiteY1491" fmla="*/ 897 h 10000"/>
                  <a:gd name="connsiteX1492" fmla="*/ 4313 w 10354"/>
                  <a:gd name="connsiteY1492" fmla="*/ 906 h 10000"/>
                  <a:gd name="connsiteX1493" fmla="*/ 4313 w 10354"/>
                  <a:gd name="connsiteY1493" fmla="*/ 906 h 10000"/>
                  <a:gd name="connsiteX1494" fmla="*/ 4313 w 10354"/>
                  <a:gd name="connsiteY1494" fmla="*/ 880 h 10000"/>
                  <a:gd name="connsiteX1495" fmla="*/ 4309 w 10354"/>
                  <a:gd name="connsiteY1495" fmla="*/ 897 h 10000"/>
                  <a:gd name="connsiteX1496" fmla="*/ 4295 w 10354"/>
                  <a:gd name="connsiteY1496" fmla="*/ 923 h 10000"/>
                  <a:gd name="connsiteX1497" fmla="*/ 4286 w 10354"/>
                  <a:gd name="connsiteY1497" fmla="*/ 897 h 10000"/>
                  <a:gd name="connsiteX1498" fmla="*/ 4281 w 10354"/>
                  <a:gd name="connsiteY1498" fmla="*/ 906 h 10000"/>
                  <a:gd name="connsiteX1499" fmla="*/ 4281 w 10354"/>
                  <a:gd name="connsiteY1499" fmla="*/ 940 h 10000"/>
                  <a:gd name="connsiteX1500" fmla="*/ 4286 w 10354"/>
                  <a:gd name="connsiteY1500" fmla="*/ 957 h 10000"/>
                  <a:gd name="connsiteX1501" fmla="*/ 4309 w 10354"/>
                  <a:gd name="connsiteY1501" fmla="*/ 932 h 10000"/>
                  <a:gd name="connsiteX1502" fmla="*/ 4313 w 10354"/>
                  <a:gd name="connsiteY1502" fmla="*/ 957 h 10000"/>
                  <a:gd name="connsiteX1503" fmla="*/ 4313 w 10354"/>
                  <a:gd name="connsiteY1503" fmla="*/ 966 h 10000"/>
                  <a:gd name="connsiteX1504" fmla="*/ 4323 w 10354"/>
                  <a:gd name="connsiteY1504" fmla="*/ 966 h 10000"/>
                  <a:gd name="connsiteX1505" fmla="*/ 4323 w 10354"/>
                  <a:gd name="connsiteY1505" fmla="*/ 940 h 10000"/>
                  <a:gd name="connsiteX1506" fmla="*/ 4327 w 10354"/>
                  <a:gd name="connsiteY1506" fmla="*/ 940 h 10000"/>
                  <a:gd name="connsiteX1507" fmla="*/ 4327 w 10354"/>
                  <a:gd name="connsiteY1507" fmla="*/ 957 h 10000"/>
                  <a:gd name="connsiteX1508" fmla="*/ 4327 w 10354"/>
                  <a:gd name="connsiteY1508" fmla="*/ 966 h 10000"/>
                  <a:gd name="connsiteX1509" fmla="*/ 4323 w 10354"/>
                  <a:gd name="connsiteY1509" fmla="*/ 991 h 10000"/>
                  <a:gd name="connsiteX1510" fmla="*/ 4207 w 10354"/>
                  <a:gd name="connsiteY1510" fmla="*/ 1060 h 10000"/>
                  <a:gd name="connsiteX1511" fmla="*/ 4207 w 10354"/>
                  <a:gd name="connsiteY1511" fmla="*/ 1060 h 10000"/>
                  <a:gd name="connsiteX1512" fmla="*/ 4203 w 10354"/>
                  <a:gd name="connsiteY1512" fmla="*/ 1068 h 10000"/>
                  <a:gd name="connsiteX1513" fmla="*/ 4203 w 10354"/>
                  <a:gd name="connsiteY1513" fmla="*/ 1094 h 10000"/>
                  <a:gd name="connsiteX1514" fmla="*/ 4203 w 10354"/>
                  <a:gd name="connsiteY1514" fmla="*/ 1094 h 10000"/>
                  <a:gd name="connsiteX1515" fmla="*/ 4189 w 10354"/>
                  <a:gd name="connsiteY1515" fmla="*/ 1094 h 10000"/>
                  <a:gd name="connsiteX1516" fmla="*/ 4166 w 10354"/>
                  <a:gd name="connsiteY1516" fmla="*/ 1103 h 10000"/>
                  <a:gd name="connsiteX1517" fmla="*/ 4152 w 10354"/>
                  <a:gd name="connsiteY1517" fmla="*/ 1094 h 10000"/>
                  <a:gd name="connsiteX1518" fmla="*/ 4134 w 10354"/>
                  <a:gd name="connsiteY1518" fmla="*/ 1120 h 10000"/>
                  <a:gd name="connsiteX1519" fmla="*/ 4106 w 10354"/>
                  <a:gd name="connsiteY1519" fmla="*/ 1120 h 10000"/>
                  <a:gd name="connsiteX1520" fmla="*/ 4092 w 10354"/>
                  <a:gd name="connsiteY1520" fmla="*/ 1154 h 10000"/>
                  <a:gd name="connsiteX1521" fmla="*/ 4106 w 10354"/>
                  <a:gd name="connsiteY1521" fmla="*/ 1171 h 10000"/>
                  <a:gd name="connsiteX1522" fmla="*/ 4078 w 10354"/>
                  <a:gd name="connsiteY1522" fmla="*/ 1179 h 10000"/>
                  <a:gd name="connsiteX1523" fmla="*/ 4065 w 10354"/>
                  <a:gd name="connsiteY1523" fmla="*/ 1205 h 10000"/>
                  <a:gd name="connsiteX1524" fmla="*/ 4046 w 10354"/>
                  <a:gd name="connsiteY1524" fmla="*/ 1179 h 10000"/>
                  <a:gd name="connsiteX1525" fmla="*/ 4041 w 10354"/>
                  <a:gd name="connsiteY1525" fmla="*/ 1197 h 10000"/>
                  <a:gd name="connsiteX1526" fmla="*/ 4028 w 10354"/>
                  <a:gd name="connsiteY1526" fmla="*/ 1205 h 10000"/>
                  <a:gd name="connsiteX1527" fmla="*/ 4028 w 10354"/>
                  <a:gd name="connsiteY1527" fmla="*/ 1205 h 10000"/>
                  <a:gd name="connsiteX1528" fmla="*/ 4032 w 10354"/>
                  <a:gd name="connsiteY1528" fmla="*/ 1205 h 10000"/>
                  <a:gd name="connsiteX1529" fmla="*/ 4032 w 10354"/>
                  <a:gd name="connsiteY1529" fmla="*/ 1231 h 10000"/>
                  <a:gd name="connsiteX1530" fmla="*/ 4014 w 10354"/>
                  <a:gd name="connsiteY1530" fmla="*/ 1239 h 10000"/>
                  <a:gd name="connsiteX1531" fmla="*/ 4014 w 10354"/>
                  <a:gd name="connsiteY1531" fmla="*/ 1256 h 10000"/>
                  <a:gd name="connsiteX1532" fmla="*/ 4000 w 10354"/>
                  <a:gd name="connsiteY1532" fmla="*/ 1265 h 10000"/>
                  <a:gd name="connsiteX1533" fmla="*/ 3986 w 10354"/>
                  <a:gd name="connsiteY1533" fmla="*/ 1308 h 10000"/>
                  <a:gd name="connsiteX1534" fmla="*/ 3972 w 10354"/>
                  <a:gd name="connsiteY1534" fmla="*/ 1316 h 10000"/>
                  <a:gd name="connsiteX1535" fmla="*/ 3972 w 10354"/>
                  <a:gd name="connsiteY1535" fmla="*/ 1325 h 10000"/>
                  <a:gd name="connsiteX1536" fmla="*/ 3972 w 10354"/>
                  <a:gd name="connsiteY1536" fmla="*/ 1342 h 10000"/>
                  <a:gd name="connsiteX1537" fmla="*/ 3968 w 10354"/>
                  <a:gd name="connsiteY1537" fmla="*/ 1350 h 10000"/>
                  <a:gd name="connsiteX1538" fmla="*/ 3954 w 10354"/>
                  <a:gd name="connsiteY1538" fmla="*/ 1368 h 10000"/>
                  <a:gd name="connsiteX1539" fmla="*/ 3945 w 10354"/>
                  <a:gd name="connsiteY1539" fmla="*/ 1350 h 10000"/>
                  <a:gd name="connsiteX1540" fmla="*/ 3908 w 10354"/>
                  <a:gd name="connsiteY1540" fmla="*/ 1342 h 10000"/>
                  <a:gd name="connsiteX1541" fmla="*/ 3894 w 10354"/>
                  <a:gd name="connsiteY1541" fmla="*/ 1368 h 10000"/>
                  <a:gd name="connsiteX1542" fmla="*/ 3922 w 10354"/>
                  <a:gd name="connsiteY1542" fmla="*/ 1393 h 10000"/>
                  <a:gd name="connsiteX1543" fmla="*/ 3945 w 10354"/>
                  <a:gd name="connsiteY1543" fmla="*/ 1393 h 10000"/>
                  <a:gd name="connsiteX1544" fmla="*/ 3940 w 10354"/>
                  <a:gd name="connsiteY1544" fmla="*/ 1419 h 10000"/>
                  <a:gd name="connsiteX1545" fmla="*/ 3931 w 10354"/>
                  <a:gd name="connsiteY1545" fmla="*/ 1427 h 10000"/>
                  <a:gd name="connsiteX1546" fmla="*/ 3926 w 10354"/>
                  <a:gd name="connsiteY1546" fmla="*/ 1427 h 10000"/>
                  <a:gd name="connsiteX1547" fmla="*/ 3922 w 10354"/>
                  <a:gd name="connsiteY1547" fmla="*/ 1419 h 10000"/>
                  <a:gd name="connsiteX1548" fmla="*/ 3912 w 10354"/>
                  <a:gd name="connsiteY1548" fmla="*/ 1427 h 10000"/>
                  <a:gd name="connsiteX1549" fmla="*/ 3912 w 10354"/>
                  <a:gd name="connsiteY1549" fmla="*/ 1444 h 10000"/>
                  <a:gd name="connsiteX1550" fmla="*/ 3894 w 10354"/>
                  <a:gd name="connsiteY1550" fmla="*/ 1513 h 10000"/>
                  <a:gd name="connsiteX1551" fmla="*/ 3885 w 10354"/>
                  <a:gd name="connsiteY1551" fmla="*/ 1513 h 10000"/>
                  <a:gd name="connsiteX1552" fmla="*/ 3880 w 10354"/>
                  <a:gd name="connsiteY1552" fmla="*/ 1538 h 10000"/>
                  <a:gd name="connsiteX1553" fmla="*/ 3885 w 10354"/>
                  <a:gd name="connsiteY1553" fmla="*/ 1564 h 10000"/>
                  <a:gd name="connsiteX1554" fmla="*/ 3880 w 10354"/>
                  <a:gd name="connsiteY1554" fmla="*/ 1581 h 10000"/>
                  <a:gd name="connsiteX1555" fmla="*/ 3871 w 10354"/>
                  <a:gd name="connsiteY1555" fmla="*/ 1538 h 10000"/>
                  <a:gd name="connsiteX1556" fmla="*/ 3853 w 10354"/>
                  <a:gd name="connsiteY1556" fmla="*/ 1530 h 10000"/>
                  <a:gd name="connsiteX1557" fmla="*/ 3853 w 10354"/>
                  <a:gd name="connsiteY1557" fmla="*/ 1504 h 10000"/>
                  <a:gd name="connsiteX1558" fmla="*/ 3834 w 10354"/>
                  <a:gd name="connsiteY1558" fmla="*/ 1487 h 10000"/>
                  <a:gd name="connsiteX1559" fmla="*/ 3834 w 10354"/>
                  <a:gd name="connsiteY1559" fmla="*/ 1487 h 10000"/>
                  <a:gd name="connsiteX1560" fmla="*/ 3839 w 10354"/>
                  <a:gd name="connsiteY1560" fmla="*/ 1513 h 10000"/>
                  <a:gd name="connsiteX1561" fmla="*/ 3820 w 10354"/>
                  <a:gd name="connsiteY1561" fmla="*/ 1538 h 10000"/>
                  <a:gd name="connsiteX1562" fmla="*/ 3820 w 10354"/>
                  <a:gd name="connsiteY1562" fmla="*/ 1556 h 10000"/>
                  <a:gd name="connsiteX1563" fmla="*/ 3820 w 10354"/>
                  <a:gd name="connsiteY1563" fmla="*/ 1564 h 10000"/>
                  <a:gd name="connsiteX1564" fmla="*/ 3820 w 10354"/>
                  <a:gd name="connsiteY1564" fmla="*/ 1581 h 10000"/>
                  <a:gd name="connsiteX1565" fmla="*/ 3853 w 10354"/>
                  <a:gd name="connsiteY1565" fmla="*/ 1581 h 10000"/>
                  <a:gd name="connsiteX1566" fmla="*/ 3857 w 10354"/>
                  <a:gd name="connsiteY1566" fmla="*/ 1598 h 10000"/>
                  <a:gd name="connsiteX1567" fmla="*/ 3880 w 10354"/>
                  <a:gd name="connsiteY1567" fmla="*/ 1615 h 10000"/>
                  <a:gd name="connsiteX1568" fmla="*/ 3871 w 10354"/>
                  <a:gd name="connsiteY1568" fmla="*/ 1615 h 10000"/>
                  <a:gd name="connsiteX1569" fmla="*/ 3871 w 10354"/>
                  <a:gd name="connsiteY1569" fmla="*/ 1641 h 10000"/>
                  <a:gd name="connsiteX1570" fmla="*/ 3880 w 10354"/>
                  <a:gd name="connsiteY1570" fmla="*/ 1641 h 10000"/>
                  <a:gd name="connsiteX1571" fmla="*/ 3871 w 10354"/>
                  <a:gd name="connsiteY1571" fmla="*/ 1650 h 10000"/>
                  <a:gd name="connsiteX1572" fmla="*/ 3857 w 10354"/>
                  <a:gd name="connsiteY1572" fmla="*/ 1650 h 10000"/>
                  <a:gd name="connsiteX1573" fmla="*/ 3853 w 10354"/>
                  <a:gd name="connsiteY1573" fmla="*/ 1650 h 10000"/>
                  <a:gd name="connsiteX1574" fmla="*/ 3839 w 10354"/>
                  <a:gd name="connsiteY1574" fmla="*/ 1667 h 10000"/>
                  <a:gd name="connsiteX1575" fmla="*/ 3848 w 10354"/>
                  <a:gd name="connsiteY1575" fmla="*/ 1692 h 10000"/>
                  <a:gd name="connsiteX1576" fmla="*/ 3834 w 10354"/>
                  <a:gd name="connsiteY1576" fmla="*/ 1692 h 10000"/>
                  <a:gd name="connsiteX1577" fmla="*/ 3825 w 10354"/>
                  <a:gd name="connsiteY1577" fmla="*/ 1692 h 10000"/>
                  <a:gd name="connsiteX1578" fmla="*/ 3825 w 10354"/>
                  <a:gd name="connsiteY1578" fmla="*/ 1718 h 10000"/>
                  <a:gd name="connsiteX1579" fmla="*/ 3839 w 10354"/>
                  <a:gd name="connsiteY1579" fmla="*/ 1726 h 10000"/>
                  <a:gd name="connsiteX1580" fmla="*/ 3880 w 10354"/>
                  <a:gd name="connsiteY1580" fmla="*/ 1752 h 10000"/>
                  <a:gd name="connsiteX1581" fmla="*/ 3894 w 10354"/>
                  <a:gd name="connsiteY1581" fmla="*/ 1829 h 10000"/>
                  <a:gd name="connsiteX1582" fmla="*/ 3899 w 10354"/>
                  <a:gd name="connsiteY1582" fmla="*/ 1838 h 10000"/>
                  <a:gd name="connsiteX1583" fmla="*/ 3894 w 10354"/>
                  <a:gd name="connsiteY1583" fmla="*/ 1855 h 10000"/>
                  <a:gd name="connsiteX1584" fmla="*/ 3880 w 10354"/>
                  <a:gd name="connsiteY1584" fmla="*/ 1838 h 10000"/>
                  <a:gd name="connsiteX1585" fmla="*/ 3880 w 10354"/>
                  <a:gd name="connsiteY1585" fmla="*/ 1855 h 10000"/>
                  <a:gd name="connsiteX1586" fmla="*/ 3880 w 10354"/>
                  <a:gd name="connsiteY1586" fmla="*/ 1863 h 10000"/>
                  <a:gd name="connsiteX1587" fmla="*/ 3871 w 10354"/>
                  <a:gd name="connsiteY1587" fmla="*/ 1872 h 10000"/>
                  <a:gd name="connsiteX1588" fmla="*/ 3880 w 10354"/>
                  <a:gd name="connsiteY1588" fmla="*/ 1889 h 10000"/>
                  <a:gd name="connsiteX1589" fmla="*/ 3885 w 10354"/>
                  <a:gd name="connsiteY1589" fmla="*/ 1889 h 10000"/>
                  <a:gd name="connsiteX1590" fmla="*/ 3880 w 10354"/>
                  <a:gd name="connsiteY1590" fmla="*/ 1897 h 10000"/>
                  <a:gd name="connsiteX1591" fmla="*/ 3871 w 10354"/>
                  <a:gd name="connsiteY1591" fmla="*/ 1915 h 10000"/>
                  <a:gd name="connsiteX1592" fmla="*/ 3848 w 10354"/>
                  <a:gd name="connsiteY1592" fmla="*/ 1923 h 10000"/>
                  <a:gd name="connsiteX1593" fmla="*/ 3825 w 10354"/>
                  <a:gd name="connsiteY1593" fmla="*/ 1940 h 10000"/>
                  <a:gd name="connsiteX1594" fmla="*/ 3811 w 10354"/>
                  <a:gd name="connsiteY1594" fmla="*/ 1940 h 10000"/>
                  <a:gd name="connsiteX1595" fmla="*/ 3806 w 10354"/>
                  <a:gd name="connsiteY1595" fmla="*/ 1949 h 10000"/>
                  <a:gd name="connsiteX1596" fmla="*/ 3797 w 10354"/>
                  <a:gd name="connsiteY1596" fmla="*/ 1966 h 10000"/>
                  <a:gd name="connsiteX1597" fmla="*/ 3788 w 10354"/>
                  <a:gd name="connsiteY1597" fmla="*/ 1991 h 10000"/>
                  <a:gd name="connsiteX1598" fmla="*/ 3765 w 10354"/>
                  <a:gd name="connsiteY1598" fmla="*/ 1974 h 10000"/>
                  <a:gd name="connsiteX1599" fmla="*/ 3760 w 10354"/>
                  <a:gd name="connsiteY1599" fmla="*/ 1966 h 10000"/>
                  <a:gd name="connsiteX1600" fmla="*/ 3760 w 10354"/>
                  <a:gd name="connsiteY1600" fmla="*/ 1966 h 10000"/>
                  <a:gd name="connsiteX1601" fmla="*/ 3631 w 10354"/>
                  <a:gd name="connsiteY1601" fmla="*/ 2009 h 10000"/>
                  <a:gd name="connsiteX1602" fmla="*/ 3618 w 10354"/>
                  <a:gd name="connsiteY1602" fmla="*/ 2000 h 10000"/>
                  <a:gd name="connsiteX1603" fmla="*/ 3599 w 10354"/>
                  <a:gd name="connsiteY1603" fmla="*/ 2009 h 10000"/>
                  <a:gd name="connsiteX1604" fmla="*/ 3571 w 10354"/>
                  <a:gd name="connsiteY1604" fmla="*/ 2000 h 10000"/>
                  <a:gd name="connsiteX1605" fmla="*/ 3530 w 10354"/>
                  <a:gd name="connsiteY1605" fmla="*/ 2026 h 10000"/>
                  <a:gd name="connsiteX1606" fmla="*/ 3530 w 10354"/>
                  <a:gd name="connsiteY1606" fmla="*/ 2034 h 10000"/>
                  <a:gd name="connsiteX1607" fmla="*/ 3525 w 10354"/>
                  <a:gd name="connsiteY1607" fmla="*/ 2051 h 10000"/>
                  <a:gd name="connsiteX1608" fmla="*/ 3512 w 10354"/>
                  <a:gd name="connsiteY1608" fmla="*/ 2034 h 10000"/>
                  <a:gd name="connsiteX1609" fmla="*/ 3507 w 10354"/>
                  <a:gd name="connsiteY1609" fmla="*/ 2034 h 10000"/>
                  <a:gd name="connsiteX1610" fmla="*/ 3498 w 10354"/>
                  <a:gd name="connsiteY1610" fmla="*/ 2051 h 10000"/>
                  <a:gd name="connsiteX1611" fmla="*/ 3484 w 10354"/>
                  <a:gd name="connsiteY1611" fmla="*/ 2060 h 10000"/>
                  <a:gd name="connsiteX1612" fmla="*/ 3484 w 10354"/>
                  <a:gd name="connsiteY1612" fmla="*/ 2085 h 10000"/>
                  <a:gd name="connsiteX1613" fmla="*/ 3484 w 10354"/>
                  <a:gd name="connsiteY1613" fmla="*/ 2103 h 10000"/>
                  <a:gd name="connsiteX1614" fmla="*/ 3493 w 10354"/>
                  <a:gd name="connsiteY1614" fmla="*/ 2103 h 10000"/>
                  <a:gd name="connsiteX1615" fmla="*/ 3493 w 10354"/>
                  <a:gd name="connsiteY1615" fmla="*/ 2085 h 10000"/>
                  <a:gd name="connsiteX1616" fmla="*/ 3498 w 10354"/>
                  <a:gd name="connsiteY1616" fmla="*/ 2085 h 10000"/>
                  <a:gd name="connsiteX1617" fmla="*/ 3498 w 10354"/>
                  <a:gd name="connsiteY1617" fmla="*/ 2111 h 10000"/>
                  <a:gd name="connsiteX1618" fmla="*/ 3484 w 10354"/>
                  <a:gd name="connsiteY1618" fmla="*/ 2120 h 10000"/>
                  <a:gd name="connsiteX1619" fmla="*/ 3484 w 10354"/>
                  <a:gd name="connsiteY1619" fmla="*/ 2145 h 10000"/>
                  <a:gd name="connsiteX1620" fmla="*/ 3470 w 10354"/>
                  <a:gd name="connsiteY1620" fmla="*/ 2137 h 10000"/>
                  <a:gd name="connsiteX1621" fmla="*/ 3465 w 10354"/>
                  <a:gd name="connsiteY1621" fmla="*/ 2145 h 10000"/>
                  <a:gd name="connsiteX1622" fmla="*/ 3470 w 10354"/>
                  <a:gd name="connsiteY1622" fmla="*/ 2171 h 10000"/>
                  <a:gd name="connsiteX1623" fmla="*/ 3484 w 10354"/>
                  <a:gd name="connsiteY1623" fmla="*/ 2171 h 10000"/>
                  <a:gd name="connsiteX1624" fmla="*/ 3484 w 10354"/>
                  <a:gd name="connsiteY1624" fmla="*/ 2197 h 10000"/>
                  <a:gd name="connsiteX1625" fmla="*/ 3465 w 10354"/>
                  <a:gd name="connsiteY1625" fmla="*/ 2214 h 10000"/>
                  <a:gd name="connsiteX1626" fmla="*/ 3493 w 10354"/>
                  <a:gd name="connsiteY1626" fmla="*/ 2248 h 10000"/>
                  <a:gd name="connsiteX1627" fmla="*/ 3484 w 10354"/>
                  <a:gd name="connsiteY1627" fmla="*/ 2256 h 10000"/>
                  <a:gd name="connsiteX1628" fmla="*/ 3498 w 10354"/>
                  <a:gd name="connsiteY1628" fmla="*/ 2274 h 10000"/>
                  <a:gd name="connsiteX1629" fmla="*/ 3498 w 10354"/>
                  <a:gd name="connsiteY1629" fmla="*/ 2256 h 10000"/>
                  <a:gd name="connsiteX1630" fmla="*/ 3507 w 10354"/>
                  <a:gd name="connsiteY1630" fmla="*/ 2308 h 10000"/>
                  <a:gd name="connsiteX1631" fmla="*/ 3512 w 10354"/>
                  <a:gd name="connsiteY1631" fmla="*/ 2325 h 10000"/>
                  <a:gd name="connsiteX1632" fmla="*/ 3507 w 10354"/>
                  <a:gd name="connsiteY1632" fmla="*/ 2333 h 10000"/>
                  <a:gd name="connsiteX1633" fmla="*/ 3507 w 10354"/>
                  <a:gd name="connsiteY1633" fmla="*/ 2359 h 10000"/>
                  <a:gd name="connsiteX1634" fmla="*/ 3507 w 10354"/>
                  <a:gd name="connsiteY1634" fmla="*/ 2376 h 10000"/>
                  <a:gd name="connsiteX1635" fmla="*/ 3498 w 10354"/>
                  <a:gd name="connsiteY1635" fmla="*/ 2410 h 10000"/>
                  <a:gd name="connsiteX1636" fmla="*/ 3498 w 10354"/>
                  <a:gd name="connsiteY1636" fmla="*/ 2436 h 10000"/>
                  <a:gd name="connsiteX1637" fmla="*/ 3507 w 10354"/>
                  <a:gd name="connsiteY1637" fmla="*/ 2462 h 10000"/>
                  <a:gd name="connsiteX1638" fmla="*/ 3507 w 10354"/>
                  <a:gd name="connsiteY1638" fmla="*/ 2496 h 10000"/>
                  <a:gd name="connsiteX1639" fmla="*/ 3512 w 10354"/>
                  <a:gd name="connsiteY1639" fmla="*/ 2521 h 10000"/>
                  <a:gd name="connsiteX1640" fmla="*/ 3525 w 10354"/>
                  <a:gd name="connsiteY1640" fmla="*/ 2556 h 10000"/>
                  <a:gd name="connsiteX1641" fmla="*/ 3571 w 10354"/>
                  <a:gd name="connsiteY1641" fmla="*/ 2573 h 10000"/>
                  <a:gd name="connsiteX1642" fmla="*/ 3590 w 10354"/>
                  <a:gd name="connsiteY1642" fmla="*/ 2598 h 10000"/>
                  <a:gd name="connsiteX1643" fmla="*/ 3599 w 10354"/>
                  <a:gd name="connsiteY1643" fmla="*/ 2598 h 10000"/>
                  <a:gd name="connsiteX1644" fmla="*/ 3604 w 10354"/>
                  <a:gd name="connsiteY1644" fmla="*/ 2632 h 10000"/>
                  <a:gd name="connsiteX1645" fmla="*/ 3599 w 10354"/>
                  <a:gd name="connsiteY1645" fmla="*/ 2658 h 10000"/>
                  <a:gd name="connsiteX1646" fmla="*/ 3590 w 10354"/>
                  <a:gd name="connsiteY1646" fmla="*/ 2667 h 10000"/>
                  <a:gd name="connsiteX1647" fmla="*/ 3604 w 10354"/>
                  <a:gd name="connsiteY1647" fmla="*/ 2667 h 10000"/>
                  <a:gd name="connsiteX1648" fmla="*/ 3613 w 10354"/>
                  <a:gd name="connsiteY1648" fmla="*/ 2692 h 10000"/>
                  <a:gd name="connsiteX1649" fmla="*/ 3627 w 10354"/>
                  <a:gd name="connsiteY1649" fmla="*/ 2735 h 10000"/>
                  <a:gd name="connsiteX1650" fmla="*/ 3631 w 10354"/>
                  <a:gd name="connsiteY1650" fmla="*/ 2744 h 10000"/>
                  <a:gd name="connsiteX1651" fmla="*/ 3659 w 10354"/>
                  <a:gd name="connsiteY1651" fmla="*/ 2761 h 10000"/>
                  <a:gd name="connsiteX1652" fmla="*/ 3673 w 10354"/>
                  <a:gd name="connsiteY1652" fmla="*/ 2769 h 10000"/>
                  <a:gd name="connsiteX1653" fmla="*/ 3673 w 10354"/>
                  <a:gd name="connsiteY1653" fmla="*/ 2761 h 10000"/>
                  <a:gd name="connsiteX1654" fmla="*/ 3687 w 10354"/>
                  <a:gd name="connsiteY1654" fmla="*/ 2829 h 10000"/>
                  <a:gd name="connsiteX1655" fmla="*/ 3677 w 10354"/>
                  <a:gd name="connsiteY1655" fmla="*/ 2897 h 10000"/>
                  <a:gd name="connsiteX1656" fmla="*/ 3673 w 10354"/>
                  <a:gd name="connsiteY1656" fmla="*/ 2915 h 10000"/>
                  <a:gd name="connsiteX1657" fmla="*/ 3664 w 10354"/>
                  <a:gd name="connsiteY1657" fmla="*/ 2957 h 10000"/>
                  <a:gd name="connsiteX1658" fmla="*/ 3659 w 10354"/>
                  <a:gd name="connsiteY1658" fmla="*/ 2983 h 10000"/>
                  <a:gd name="connsiteX1659" fmla="*/ 3664 w 10354"/>
                  <a:gd name="connsiteY1659" fmla="*/ 3017 h 10000"/>
                  <a:gd name="connsiteX1660" fmla="*/ 3659 w 10354"/>
                  <a:gd name="connsiteY1660" fmla="*/ 3043 h 10000"/>
                  <a:gd name="connsiteX1661" fmla="*/ 3677 w 10354"/>
                  <a:gd name="connsiteY1661" fmla="*/ 3094 h 10000"/>
                  <a:gd name="connsiteX1662" fmla="*/ 3691 w 10354"/>
                  <a:gd name="connsiteY1662" fmla="*/ 3282 h 10000"/>
                  <a:gd name="connsiteX1663" fmla="*/ 3691 w 10354"/>
                  <a:gd name="connsiteY1663" fmla="*/ 3308 h 10000"/>
                  <a:gd name="connsiteX1664" fmla="*/ 3677 w 10354"/>
                  <a:gd name="connsiteY1664" fmla="*/ 3342 h 10000"/>
                  <a:gd name="connsiteX1665" fmla="*/ 3664 w 10354"/>
                  <a:gd name="connsiteY1665" fmla="*/ 3342 h 10000"/>
                  <a:gd name="connsiteX1666" fmla="*/ 3650 w 10354"/>
                  <a:gd name="connsiteY1666" fmla="*/ 3342 h 10000"/>
                  <a:gd name="connsiteX1667" fmla="*/ 3650 w 10354"/>
                  <a:gd name="connsiteY1667" fmla="*/ 3350 h 10000"/>
                  <a:gd name="connsiteX1668" fmla="*/ 3659 w 10354"/>
                  <a:gd name="connsiteY1668" fmla="*/ 3402 h 10000"/>
                  <a:gd name="connsiteX1669" fmla="*/ 3659 w 10354"/>
                  <a:gd name="connsiteY1669" fmla="*/ 3419 h 10000"/>
                  <a:gd name="connsiteX1670" fmla="*/ 3631 w 10354"/>
                  <a:gd name="connsiteY1670" fmla="*/ 3402 h 10000"/>
                  <a:gd name="connsiteX1671" fmla="*/ 3604 w 10354"/>
                  <a:gd name="connsiteY1671" fmla="*/ 3393 h 10000"/>
                  <a:gd name="connsiteX1672" fmla="*/ 3599 w 10354"/>
                  <a:gd name="connsiteY1672" fmla="*/ 3368 h 10000"/>
                  <a:gd name="connsiteX1673" fmla="*/ 3590 w 10354"/>
                  <a:gd name="connsiteY1673" fmla="*/ 3239 h 10000"/>
                  <a:gd name="connsiteX1674" fmla="*/ 3599 w 10354"/>
                  <a:gd name="connsiteY1674" fmla="*/ 3179 h 10000"/>
                  <a:gd name="connsiteX1675" fmla="*/ 3599 w 10354"/>
                  <a:gd name="connsiteY1675" fmla="*/ 3171 h 10000"/>
                  <a:gd name="connsiteX1676" fmla="*/ 3599 w 10354"/>
                  <a:gd name="connsiteY1676" fmla="*/ 3009 h 10000"/>
                  <a:gd name="connsiteX1677" fmla="*/ 3604 w 10354"/>
                  <a:gd name="connsiteY1677" fmla="*/ 2983 h 10000"/>
                  <a:gd name="connsiteX1678" fmla="*/ 3645 w 10354"/>
                  <a:gd name="connsiteY1678" fmla="*/ 2932 h 10000"/>
                  <a:gd name="connsiteX1679" fmla="*/ 3650 w 10354"/>
                  <a:gd name="connsiteY1679" fmla="*/ 2872 h 10000"/>
                  <a:gd name="connsiteX1680" fmla="*/ 3659 w 10354"/>
                  <a:gd name="connsiteY1680" fmla="*/ 2855 h 10000"/>
                  <a:gd name="connsiteX1681" fmla="*/ 3659 w 10354"/>
                  <a:gd name="connsiteY1681" fmla="*/ 2821 h 10000"/>
                  <a:gd name="connsiteX1682" fmla="*/ 3631 w 10354"/>
                  <a:gd name="connsiteY1682" fmla="*/ 2795 h 10000"/>
                  <a:gd name="connsiteX1683" fmla="*/ 3567 w 10354"/>
                  <a:gd name="connsiteY1683" fmla="*/ 2821 h 10000"/>
                  <a:gd name="connsiteX1684" fmla="*/ 3544 w 10354"/>
                  <a:gd name="connsiteY1684" fmla="*/ 2795 h 10000"/>
                  <a:gd name="connsiteX1685" fmla="*/ 3530 w 10354"/>
                  <a:gd name="connsiteY1685" fmla="*/ 2769 h 10000"/>
                  <a:gd name="connsiteX1686" fmla="*/ 3530 w 10354"/>
                  <a:gd name="connsiteY1686" fmla="*/ 2786 h 10000"/>
                  <a:gd name="connsiteX1687" fmla="*/ 3498 w 10354"/>
                  <a:gd name="connsiteY1687" fmla="*/ 2692 h 10000"/>
                  <a:gd name="connsiteX1688" fmla="*/ 3498 w 10354"/>
                  <a:gd name="connsiteY1688" fmla="*/ 2667 h 10000"/>
                  <a:gd name="connsiteX1689" fmla="*/ 3442 w 10354"/>
                  <a:gd name="connsiteY1689" fmla="*/ 2607 h 10000"/>
                  <a:gd name="connsiteX1690" fmla="*/ 3433 w 10354"/>
                  <a:gd name="connsiteY1690" fmla="*/ 2581 h 10000"/>
                  <a:gd name="connsiteX1691" fmla="*/ 3396 w 10354"/>
                  <a:gd name="connsiteY1691" fmla="*/ 2556 h 10000"/>
                  <a:gd name="connsiteX1692" fmla="*/ 3318 w 10354"/>
                  <a:gd name="connsiteY1692" fmla="*/ 2556 h 10000"/>
                  <a:gd name="connsiteX1693" fmla="*/ 3304 w 10354"/>
                  <a:gd name="connsiteY1693" fmla="*/ 2607 h 10000"/>
                  <a:gd name="connsiteX1694" fmla="*/ 3276 w 10354"/>
                  <a:gd name="connsiteY1694" fmla="*/ 2632 h 10000"/>
                  <a:gd name="connsiteX1695" fmla="*/ 3272 w 10354"/>
                  <a:gd name="connsiteY1695" fmla="*/ 2667 h 10000"/>
                  <a:gd name="connsiteX1696" fmla="*/ 3304 w 10354"/>
                  <a:gd name="connsiteY1696" fmla="*/ 2667 h 10000"/>
                  <a:gd name="connsiteX1697" fmla="*/ 3323 w 10354"/>
                  <a:gd name="connsiteY1697" fmla="*/ 2692 h 10000"/>
                  <a:gd name="connsiteX1698" fmla="*/ 3318 w 10354"/>
                  <a:gd name="connsiteY1698" fmla="*/ 2735 h 10000"/>
                  <a:gd name="connsiteX1699" fmla="*/ 3304 w 10354"/>
                  <a:gd name="connsiteY1699" fmla="*/ 2761 h 10000"/>
                  <a:gd name="connsiteX1700" fmla="*/ 3276 w 10354"/>
                  <a:gd name="connsiteY1700" fmla="*/ 2769 h 10000"/>
                  <a:gd name="connsiteX1701" fmla="*/ 3263 w 10354"/>
                  <a:gd name="connsiteY1701" fmla="*/ 2795 h 10000"/>
                  <a:gd name="connsiteX1702" fmla="*/ 3235 w 10354"/>
                  <a:gd name="connsiteY1702" fmla="*/ 2803 h 10000"/>
                  <a:gd name="connsiteX1703" fmla="*/ 3235 w 10354"/>
                  <a:gd name="connsiteY1703" fmla="*/ 2786 h 10000"/>
                  <a:gd name="connsiteX1704" fmla="*/ 3212 w 10354"/>
                  <a:gd name="connsiteY1704" fmla="*/ 2709 h 10000"/>
                  <a:gd name="connsiteX1705" fmla="*/ 3198 w 10354"/>
                  <a:gd name="connsiteY1705" fmla="*/ 2709 h 10000"/>
                  <a:gd name="connsiteX1706" fmla="*/ 3184 w 10354"/>
                  <a:gd name="connsiteY1706" fmla="*/ 2735 h 10000"/>
                  <a:gd name="connsiteX1707" fmla="*/ 3189 w 10354"/>
                  <a:gd name="connsiteY1707" fmla="*/ 2761 h 10000"/>
                  <a:gd name="connsiteX1708" fmla="*/ 3203 w 10354"/>
                  <a:gd name="connsiteY1708" fmla="*/ 2855 h 10000"/>
                  <a:gd name="connsiteX1709" fmla="*/ 3212 w 10354"/>
                  <a:gd name="connsiteY1709" fmla="*/ 2872 h 10000"/>
                  <a:gd name="connsiteX1710" fmla="*/ 3235 w 10354"/>
                  <a:gd name="connsiteY1710" fmla="*/ 2906 h 10000"/>
                  <a:gd name="connsiteX1711" fmla="*/ 3258 w 10354"/>
                  <a:gd name="connsiteY1711" fmla="*/ 2915 h 10000"/>
                  <a:gd name="connsiteX1712" fmla="*/ 3272 w 10354"/>
                  <a:gd name="connsiteY1712" fmla="*/ 2957 h 10000"/>
                  <a:gd name="connsiteX1713" fmla="*/ 3276 w 10354"/>
                  <a:gd name="connsiteY1713" fmla="*/ 2957 h 10000"/>
                  <a:gd name="connsiteX1714" fmla="*/ 3286 w 10354"/>
                  <a:gd name="connsiteY1714" fmla="*/ 2966 h 10000"/>
                  <a:gd name="connsiteX1715" fmla="*/ 3300 w 10354"/>
                  <a:gd name="connsiteY1715" fmla="*/ 2957 h 10000"/>
                  <a:gd name="connsiteX1716" fmla="*/ 3309 w 10354"/>
                  <a:gd name="connsiteY1716" fmla="*/ 2932 h 10000"/>
                  <a:gd name="connsiteX1717" fmla="*/ 3304 w 10354"/>
                  <a:gd name="connsiteY1717" fmla="*/ 2966 h 10000"/>
                  <a:gd name="connsiteX1718" fmla="*/ 3309 w 10354"/>
                  <a:gd name="connsiteY1718" fmla="*/ 2983 h 10000"/>
                  <a:gd name="connsiteX1719" fmla="*/ 3323 w 10354"/>
                  <a:gd name="connsiteY1719" fmla="*/ 2966 h 10000"/>
                  <a:gd name="connsiteX1720" fmla="*/ 3323 w 10354"/>
                  <a:gd name="connsiteY1720" fmla="*/ 3043 h 10000"/>
                  <a:gd name="connsiteX1721" fmla="*/ 3346 w 10354"/>
                  <a:gd name="connsiteY1721" fmla="*/ 3068 h 10000"/>
                  <a:gd name="connsiteX1722" fmla="*/ 3346 w 10354"/>
                  <a:gd name="connsiteY1722" fmla="*/ 3094 h 10000"/>
                  <a:gd name="connsiteX1723" fmla="*/ 3323 w 10354"/>
                  <a:gd name="connsiteY1723" fmla="*/ 3094 h 10000"/>
                  <a:gd name="connsiteX1724" fmla="*/ 3309 w 10354"/>
                  <a:gd name="connsiteY1724" fmla="*/ 3077 h 10000"/>
                  <a:gd name="connsiteX1725" fmla="*/ 3304 w 10354"/>
                  <a:gd name="connsiteY1725" fmla="*/ 3051 h 10000"/>
                  <a:gd name="connsiteX1726" fmla="*/ 3300 w 10354"/>
                  <a:gd name="connsiteY1726" fmla="*/ 3043 h 10000"/>
                  <a:gd name="connsiteX1727" fmla="*/ 3286 w 10354"/>
                  <a:gd name="connsiteY1727" fmla="*/ 3017 h 10000"/>
                  <a:gd name="connsiteX1728" fmla="*/ 3152 w 10354"/>
                  <a:gd name="connsiteY1728" fmla="*/ 2966 h 10000"/>
                  <a:gd name="connsiteX1729" fmla="*/ 3129 w 10354"/>
                  <a:gd name="connsiteY1729" fmla="*/ 2915 h 10000"/>
                  <a:gd name="connsiteX1730" fmla="*/ 3129 w 10354"/>
                  <a:gd name="connsiteY1730" fmla="*/ 2906 h 10000"/>
                  <a:gd name="connsiteX1731" fmla="*/ 3152 w 10354"/>
                  <a:gd name="connsiteY1731" fmla="*/ 2906 h 10000"/>
                  <a:gd name="connsiteX1732" fmla="*/ 3152 w 10354"/>
                  <a:gd name="connsiteY1732" fmla="*/ 2846 h 10000"/>
                  <a:gd name="connsiteX1733" fmla="*/ 3138 w 10354"/>
                  <a:gd name="connsiteY1733" fmla="*/ 2795 h 10000"/>
                  <a:gd name="connsiteX1734" fmla="*/ 3138 w 10354"/>
                  <a:gd name="connsiteY1734" fmla="*/ 2769 h 10000"/>
                  <a:gd name="connsiteX1735" fmla="*/ 3143 w 10354"/>
                  <a:gd name="connsiteY1735" fmla="*/ 2718 h 10000"/>
                  <a:gd name="connsiteX1736" fmla="*/ 3129 w 10354"/>
                  <a:gd name="connsiteY1736" fmla="*/ 2692 h 10000"/>
                  <a:gd name="connsiteX1737" fmla="*/ 3143 w 10354"/>
                  <a:gd name="connsiteY1737" fmla="*/ 2667 h 10000"/>
                  <a:gd name="connsiteX1738" fmla="*/ 3157 w 10354"/>
                  <a:gd name="connsiteY1738" fmla="*/ 2581 h 10000"/>
                  <a:gd name="connsiteX1739" fmla="*/ 3143 w 10354"/>
                  <a:gd name="connsiteY1739" fmla="*/ 2496 h 10000"/>
                  <a:gd name="connsiteX1740" fmla="*/ 3157 w 10354"/>
                  <a:gd name="connsiteY1740" fmla="*/ 2487 h 10000"/>
                  <a:gd name="connsiteX1741" fmla="*/ 3143 w 10354"/>
                  <a:gd name="connsiteY1741" fmla="*/ 2444 h 10000"/>
                  <a:gd name="connsiteX1742" fmla="*/ 3143 w 10354"/>
                  <a:gd name="connsiteY1742" fmla="*/ 2419 h 10000"/>
                  <a:gd name="connsiteX1743" fmla="*/ 3143 w 10354"/>
                  <a:gd name="connsiteY1743" fmla="*/ 2410 h 10000"/>
                  <a:gd name="connsiteX1744" fmla="*/ 3124 w 10354"/>
                  <a:gd name="connsiteY1744" fmla="*/ 2376 h 10000"/>
                  <a:gd name="connsiteX1745" fmla="*/ 3115 w 10354"/>
                  <a:gd name="connsiteY1745" fmla="*/ 2350 h 10000"/>
                  <a:gd name="connsiteX1746" fmla="*/ 3101 w 10354"/>
                  <a:gd name="connsiteY1746" fmla="*/ 2359 h 10000"/>
                  <a:gd name="connsiteX1747" fmla="*/ 3115 w 10354"/>
                  <a:gd name="connsiteY1747" fmla="*/ 2581 h 10000"/>
                  <a:gd name="connsiteX1748" fmla="*/ 3111 w 10354"/>
                  <a:gd name="connsiteY1748" fmla="*/ 2624 h 10000"/>
                  <a:gd name="connsiteX1749" fmla="*/ 3009 w 10354"/>
                  <a:gd name="connsiteY1749" fmla="*/ 2761 h 10000"/>
                  <a:gd name="connsiteX1750" fmla="*/ 3009 w 10354"/>
                  <a:gd name="connsiteY1750" fmla="*/ 2803 h 10000"/>
                  <a:gd name="connsiteX1751" fmla="*/ 3005 w 10354"/>
                  <a:gd name="connsiteY1751" fmla="*/ 2829 h 10000"/>
                  <a:gd name="connsiteX1752" fmla="*/ 2982 w 10354"/>
                  <a:gd name="connsiteY1752" fmla="*/ 2872 h 10000"/>
                  <a:gd name="connsiteX1753" fmla="*/ 2982 w 10354"/>
                  <a:gd name="connsiteY1753" fmla="*/ 2880 h 10000"/>
                  <a:gd name="connsiteX1754" fmla="*/ 3037 w 10354"/>
                  <a:gd name="connsiteY1754" fmla="*/ 3034 h 10000"/>
                  <a:gd name="connsiteX1755" fmla="*/ 3041 w 10354"/>
                  <a:gd name="connsiteY1755" fmla="*/ 3103 h 10000"/>
                  <a:gd name="connsiteX1756" fmla="*/ 3069 w 10354"/>
                  <a:gd name="connsiteY1756" fmla="*/ 3188 h 10000"/>
                  <a:gd name="connsiteX1757" fmla="*/ 3055 w 10354"/>
                  <a:gd name="connsiteY1757" fmla="*/ 3325 h 10000"/>
                  <a:gd name="connsiteX1758" fmla="*/ 3037 w 10354"/>
                  <a:gd name="connsiteY1758" fmla="*/ 3368 h 10000"/>
                  <a:gd name="connsiteX1759" fmla="*/ 3037 w 10354"/>
                  <a:gd name="connsiteY1759" fmla="*/ 3444 h 10000"/>
                  <a:gd name="connsiteX1760" fmla="*/ 3028 w 10354"/>
                  <a:gd name="connsiteY1760" fmla="*/ 3453 h 10000"/>
                  <a:gd name="connsiteX1761" fmla="*/ 3023 w 10354"/>
                  <a:gd name="connsiteY1761" fmla="*/ 3530 h 10000"/>
                  <a:gd name="connsiteX1762" fmla="*/ 3051 w 10354"/>
                  <a:gd name="connsiteY1762" fmla="*/ 3624 h 10000"/>
                  <a:gd name="connsiteX1763" fmla="*/ 3037 w 10354"/>
                  <a:gd name="connsiteY1763" fmla="*/ 3718 h 10000"/>
                  <a:gd name="connsiteX1764" fmla="*/ 3041 w 10354"/>
                  <a:gd name="connsiteY1764" fmla="*/ 3752 h 10000"/>
                  <a:gd name="connsiteX1765" fmla="*/ 3055 w 10354"/>
                  <a:gd name="connsiteY1765" fmla="*/ 3761 h 10000"/>
                  <a:gd name="connsiteX1766" fmla="*/ 3078 w 10354"/>
                  <a:gd name="connsiteY1766" fmla="*/ 3752 h 10000"/>
                  <a:gd name="connsiteX1767" fmla="*/ 3092 w 10354"/>
                  <a:gd name="connsiteY1767" fmla="*/ 3752 h 10000"/>
                  <a:gd name="connsiteX1768" fmla="*/ 3129 w 10354"/>
                  <a:gd name="connsiteY1768" fmla="*/ 3761 h 10000"/>
                  <a:gd name="connsiteX1769" fmla="*/ 3129 w 10354"/>
                  <a:gd name="connsiteY1769" fmla="*/ 3735 h 10000"/>
                  <a:gd name="connsiteX1770" fmla="*/ 3157 w 10354"/>
                  <a:gd name="connsiteY1770" fmla="*/ 3718 h 10000"/>
                  <a:gd name="connsiteX1771" fmla="*/ 3184 w 10354"/>
                  <a:gd name="connsiteY1771" fmla="*/ 3718 h 10000"/>
                  <a:gd name="connsiteX1772" fmla="*/ 3290 w 10354"/>
                  <a:gd name="connsiteY1772" fmla="*/ 3838 h 10000"/>
                  <a:gd name="connsiteX1773" fmla="*/ 3300 w 10354"/>
                  <a:gd name="connsiteY1773" fmla="*/ 3846 h 10000"/>
                  <a:gd name="connsiteX1774" fmla="*/ 3300 w 10354"/>
                  <a:gd name="connsiteY1774" fmla="*/ 3915 h 10000"/>
                  <a:gd name="connsiteX1775" fmla="*/ 3318 w 10354"/>
                  <a:gd name="connsiteY1775" fmla="*/ 4000 h 10000"/>
                  <a:gd name="connsiteX1776" fmla="*/ 3323 w 10354"/>
                  <a:gd name="connsiteY1776" fmla="*/ 4000 h 10000"/>
                  <a:gd name="connsiteX1777" fmla="*/ 3323 w 10354"/>
                  <a:gd name="connsiteY1777" fmla="*/ 4034 h 10000"/>
                  <a:gd name="connsiteX1778" fmla="*/ 3318 w 10354"/>
                  <a:gd name="connsiteY1778" fmla="*/ 4051 h 10000"/>
                  <a:gd name="connsiteX1779" fmla="*/ 3300 w 10354"/>
                  <a:gd name="connsiteY1779" fmla="*/ 4051 h 10000"/>
                  <a:gd name="connsiteX1780" fmla="*/ 3290 w 10354"/>
                  <a:gd name="connsiteY1780" fmla="*/ 4077 h 10000"/>
                  <a:gd name="connsiteX1781" fmla="*/ 3286 w 10354"/>
                  <a:gd name="connsiteY1781" fmla="*/ 4103 h 10000"/>
                  <a:gd name="connsiteX1782" fmla="*/ 3286 w 10354"/>
                  <a:gd name="connsiteY1782" fmla="*/ 4197 h 10000"/>
                  <a:gd name="connsiteX1783" fmla="*/ 3290 w 10354"/>
                  <a:gd name="connsiteY1783" fmla="*/ 4214 h 10000"/>
                  <a:gd name="connsiteX1784" fmla="*/ 3304 w 10354"/>
                  <a:gd name="connsiteY1784" fmla="*/ 4214 h 10000"/>
                  <a:gd name="connsiteX1785" fmla="*/ 3323 w 10354"/>
                  <a:gd name="connsiteY1785" fmla="*/ 4239 h 10000"/>
                  <a:gd name="connsiteX1786" fmla="*/ 3350 w 10354"/>
                  <a:gd name="connsiteY1786" fmla="*/ 4222 h 10000"/>
                  <a:gd name="connsiteX1787" fmla="*/ 3369 w 10354"/>
                  <a:gd name="connsiteY1787" fmla="*/ 4256 h 10000"/>
                  <a:gd name="connsiteX1788" fmla="*/ 3369 w 10354"/>
                  <a:gd name="connsiteY1788" fmla="*/ 4256 h 10000"/>
                  <a:gd name="connsiteX1789" fmla="*/ 3336 w 10354"/>
                  <a:gd name="connsiteY1789" fmla="*/ 4274 h 10000"/>
                  <a:gd name="connsiteX1790" fmla="*/ 3323 w 10354"/>
                  <a:gd name="connsiteY1790" fmla="*/ 4274 h 10000"/>
                  <a:gd name="connsiteX1791" fmla="*/ 3290 w 10354"/>
                  <a:gd name="connsiteY1791" fmla="*/ 4274 h 10000"/>
                  <a:gd name="connsiteX1792" fmla="*/ 3286 w 10354"/>
                  <a:gd name="connsiteY1792" fmla="*/ 4239 h 10000"/>
                  <a:gd name="connsiteX1793" fmla="*/ 3263 w 10354"/>
                  <a:gd name="connsiteY1793" fmla="*/ 4214 h 10000"/>
                  <a:gd name="connsiteX1794" fmla="*/ 3258 w 10354"/>
                  <a:gd name="connsiteY1794" fmla="*/ 4188 h 10000"/>
                  <a:gd name="connsiteX1795" fmla="*/ 3263 w 10354"/>
                  <a:gd name="connsiteY1795" fmla="*/ 4171 h 10000"/>
                  <a:gd name="connsiteX1796" fmla="*/ 3263 w 10354"/>
                  <a:gd name="connsiteY1796" fmla="*/ 4103 h 10000"/>
                  <a:gd name="connsiteX1797" fmla="*/ 3276 w 10354"/>
                  <a:gd name="connsiteY1797" fmla="*/ 4060 h 10000"/>
                  <a:gd name="connsiteX1798" fmla="*/ 3272 w 10354"/>
                  <a:gd name="connsiteY1798" fmla="*/ 4051 h 10000"/>
                  <a:gd name="connsiteX1799" fmla="*/ 3263 w 10354"/>
                  <a:gd name="connsiteY1799" fmla="*/ 4051 h 10000"/>
                  <a:gd name="connsiteX1800" fmla="*/ 3263 w 10354"/>
                  <a:gd name="connsiteY1800" fmla="*/ 4034 h 10000"/>
                  <a:gd name="connsiteX1801" fmla="*/ 3263 w 10354"/>
                  <a:gd name="connsiteY1801" fmla="*/ 4000 h 10000"/>
                  <a:gd name="connsiteX1802" fmla="*/ 3272 w 10354"/>
                  <a:gd name="connsiteY1802" fmla="*/ 4000 h 10000"/>
                  <a:gd name="connsiteX1803" fmla="*/ 3272 w 10354"/>
                  <a:gd name="connsiteY1803" fmla="*/ 3974 h 10000"/>
                  <a:gd name="connsiteX1804" fmla="*/ 3272 w 10354"/>
                  <a:gd name="connsiteY1804" fmla="*/ 3966 h 10000"/>
                  <a:gd name="connsiteX1805" fmla="*/ 3272 w 10354"/>
                  <a:gd name="connsiteY1805" fmla="*/ 3949 h 10000"/>
                  <a:gd name="connsiteX1806" fmla="*/ 3258 w 10354"/>
                  <a:gd name="connsiteY1806" fmla="*/ 3923 h 10000"/>
                  <a:gd name="connsiteX1807" fmla="*/ 3249 w 10354"/>
                  <a:gd name="connsiteY1807" fmla="*/ 3915 h 10000"/>
                  <a:gd name="connsiteX1808" fmla="*/ 3244 w 10354"/>
                  <a:gd name="connsiteY1808" fmla="*/ 3897 h 10000"/>
                  <a:gd name="connsiteX1809" fmla="*/ 3230 w 10354"/>
                  <a:gd name="connsiteY1809" fmla="*/ 3889 h 10000"/>
                  <a:gd name="connsiteX1810" fmla="*/ 3230 w 10354"/>
                  <a:gd name="connsiteY1810" fmla="*/ 3863 h 10000"/>
                  <a:gd name="connsiteX1811" fmla="*/ 3230 w 10354"/>
                  <a:gd name="connsiteY1811" fmla="*/ 3838 h 10000"/>
                  <a:gd name="connsiteX1812" fmla="*/ 3226 w 10354"/>
                  <a:gd name="connsiteY1812" fmla="*/ 3803 h 10000"/>
                  <a:gd name="connsiteX1813" fmla="*/ 3138 w 10354"/>
                  <a:gd name="connsiteY1813" fmla="*/ 3838 h 10000"/>
                  <a:gd name="connsiteX1814" fmla="*/ 3078 w 10354"/>
                  <a:gd name="connsiteY1814" fmla="*/ 3889 h 10000"/>
                  <a:gd name="connsiteX1815" fmla="*/ 3078 w 10354"/>
                  <a:gd name="connsiteY1815" fmla="*/ 3940 h 10000"/>
                  <a:gd name="connsiteX1816" fmla="*/ 3069 w 10354"/>
                  <a:gd name="connsiteY1816" fmla="*/ 3983 h 10000"/>
                  <a:gd name="connsiteX1817" fmla="*/ 3069 w 10354"/>
                  <a:gd name="connsiteY1817" fmla="*/ 4009 h 10000"/>
                  <a:gd name="connsiteX1818" fmla="*/ 3078 w 10354"/>
                  <a:gd name="connsiteY1818" fmla="*/ 4026 h 10000"/>
                  <a:gd name="connsiteX1819" fmla="*/ 3083 w 10354"/>
                  <a:gd name="connsiteY1819" fmla="*/ 4034 h 10000"/>
                  <a:gd name="connsiteX1820" fmla="*/ 3092 w 10354"/>
                  <a:gd name="connsiteY1820" fmla="*/ 4060 h 10000"/>
                  <a:gd name="connsiteX1821" fmla="*/ 3092 w 10354"/>
                  <a:gd name="connsiteY1821" fmla="*/ 4077 h 10000"/>
                  <a:gd name="connsiteX1822" fmla="*/ 3097 w 10354"/>
                  <a:gd name="connsiteY1822" fmla="*/ 4103 h 10000"/>
                  <a:gd name="connsiteX1823" fmla="*/ 3101 w 10354"/>
                  <a:gd name="connsiteY1823" fmla="*/ 4162 h 10000"/>
                  <a:gd name="connsiteX1824" fmla="*/ 3097 w 10354"/>
                  <a:gd name="connsiteY1824" fmla="*/ 4222 h 10000"/>
                  <a:gd name="connsiteX1825" fmla="*/ 3041 w 10354"/>
                  <a:gd name="connsiteY1825" fmla="*/ 4325 h 10000"/>
                  <a:gd name="connsiteX1826" fmla="*/ 3037 w 10354"/>
                  <a:gd name="connsiteY1826" fmla="*/ 4419 h 10000"/>
                  <a:gd name="connsiteX1827" fmla="*/ 3018 w 10354"/>
                  <a:gd name="connsiteY1827" fmla="*/ 4470 h 10000"/>
                  <a:gd name="connsiteX1828" fmla="*/ 2991 w 10354"/>
                  <a:gd name="connsiteY1828" fmla="*/ 4513 h 10000"/>
                  <a:gd name="connsiteX1829" fmla="*/ 2977 w 10354"/>
                  <a:gd name="connsiteY1829" fmla="*/ 4530 h 10000"/>
                  <a:gd name="connsiteX1830" fmla="*/ 2945 w 10354"/>
                  <a:gd name="connsiteY1830" fmla="*/ 4556 h 10000"/>
                  <a:gd name="connsiteX1831" fmla="*/ 2935 w 10354"/>
                  <a:gd name="connsiteY1831" fmla="*/ 4581 h 10000"/>
                  <a:gd name="connsiteX1832" fmla="*/ 2949 w 10354"/>
                  <a:gd name="connsiteY1832" fmla="*/ 4624 h 10000"/>
                  <a:gd name="connsiteX1833" fmla="*/ 2945 w 10354"/>
                  <a:gd name="connsiteY1833" fmla="*/ 4658 h 10000"/>
                  <a:gd name="connsiteX1834" fmla="*/ 2922 w 10354"/>
                  <a:gd name="connsiteY1834" fmla="*/ 4667 h 10000"/>
                  <a:gd name="connsiteX1835" fmla="*/ 2876 w 10354"/>
                  <a:gd name="connsiteY1835" fmla="*/ 4632 h 10000"/>
                  <a:gd name="connsiteX1836" fmla="*/ 2857 w 10354"/>
                  <a:gd name="connsiteY1836" fmla="*/ 4632 h 10000"/>
                  <a:gd name="connsiteX1837" fmla="*/ 2820 w 10354"/>
                  <a:gd name="connsiteY1837" fmla="*/ 4641 h 10000"/>
                  <a:gd name="connsiteX1838" fmla="*/ 2797 w 10354"/>
                  <a:gd name="connsiteY1838" fmla="*/ 4632 h 10000"/>
                  <a:gd name="connsiteX1839" fmla="*/ 2788 w 10354"/>
                  <a:gd name="connsiteY1839" fmla="*/ 4624 h 10000"/>
                  <a:gd name="connsiteX1840" fmla="*/ 2788 w 10354"/>
                  <a:gd name="connsiteY1840" fmla="*/ 4598 h 10000"/>
                  <a:gd name="connsiteX1841" fmla="*/ 2797 w 10354"/>
                  <a:gd name="connsiteY1841" fmla="*/ 4581 h 10000"/>
                  <a:gd name="connsiteX1842" fmla="*/ 2788 w 10354"/>
                  <a:gd name="connsiteY1842" fmla="*/ 4530 h 10000"/>
                  <a:gd name="connsiteX1843" fmla="*/ 2774 w 10354"/>
                  <a:gd name="connsiteY1843" fmla="*/ 4530 h 10000"/>
                  <a:gd name="connsiteX1844" fmla="*/ 2770 w 10354"/>
                  <a:gd name="connsiteY1844" fmla="*/ 4513 h 10000"/>
                  <a:gd name="connsiteX1845" fmla="*/ 2774 w 10354"/>
                  <a:gd name="connsiteY1845" fmla="*/ 4513 h 10000"/>
                  <a:gd name="connsiteX1846" fmla="*/ 2788 w 10354"/>
                  <a:gd name="connsiteY1846" fmla="*/ 4496 h 10000"/>
                  <a:gd name="connsiteX1847" fmla="*/ 2802 w 10354"/>
                  <a:gd name="connsiteY1847" fmla="*/ 4513 h 10000"/>
                  <a:gd name="connsiteX1848" fmla="*/ 2811 w 10354"/>
                  <a:gd name="connsiteY1848" fmla="*/ 4530 h 10000"/>
                  <a:gd name="connsiteX1849" fmla="*/ 2820 w 10354"/>
                  <a:gd name="connsiteY1849" fmla="*/ 4521 h 10000"/>
                  <a:gd name="connsiteX1850" fmla="*/ 2829 w 10354"/>
                  <a:gd name="connsiteY1850" fmla="*/ 4513 h 10000"/>
                  <a:gd name="connsiteX1851" fmla="*/ 2843 w 10354"/>
                  <a:gd name="connsiteY1851" fmla="*/ 4513 h 10000"/>
                  <a:gd name="connsiteX1852" fmla="*/ 2848 w 10354"/>
                  <a:gd name="connsiteY1852" fmla="*/ 4470 h 10000"/>
                  <a:gd name="connsiteX1853" fmla="*/ 2862 w 10354"/>
                  <a:gd name="connsiteY1853" fmla="*/ 4487 h 10000"/>
                  <a:gd name="connsiteX1854" fmla="*/ 2876 w 10354"/>
                  <a:gd name="connsiteY1854" fmla="*/ 4470 h 10000"/>
                  <a:gd name="connsiteX1855" fmla="*/ 2880 w 10354"/>
                  <a:gd name="connsiteY1855" fmla="*/ 4462 h 10000"/>
                  <a:gd name="connsiteX1856" fmla="*/ 2889 w 10354"/>
                  <a:gd name="connsiteY1856" fmla="*/ 4444 h 10000"/>
                  <a:gd name="connsiteX1857" fmla="*/ 2894 w 10354"/>
                  <a:gd name="connsiteY1857" fmla="*/ 4462 h 10000"/>
                  <a:gd name="connsiteX1858" fmla="*/ 2917 w 10354"/>
                  <a:gd name="connsiteY1858" fmla="*/ 4444 h 10000"/>
                  <a:gd name="connsiteX1859" fmla="*/ 2922 w 10354"/>
                  <a:gd name="connsiteY1859" fmla="*/ 4436 h 10000"/>
                  <a:gd name="connsiteX1860" fmla="*/ 2917 w 10354"/>
                  <a:gd name="connsiteY1860" fmla="*/ 4410 h 10000"/>
                  <a:gd name="connsiteX1861" fmla="*/ 2894 w 10354"/>
                  <a:gd name="connsiteY1861" fmla="*/ 4410 h 10000"/>
                  <a:gd name="connsiteX1862" fmla="*/ 2889 w 10354"/>
                  <a:gd name="connsiteY1862" fmla="*/ 4419 h 10000"/>
                  <a:gd name="connsiteX1863" fmla="*/ 2876 w 10354"/>
                  <a:gd name="connsiteY1863" fmla="*/ 4410 h 10000"/>
                  <a:gd name="connsiteX1864" fmla="*/ 2880 w 10354"/>
                  <a:gd name="connsiteY1864" fmla="*/ 4376 h 10000"/>
                  <a:gd name="connsiteX1865" fmla="*/ 2903 w 10354"/>
                  <a:gd name="connsiteY1865" fmla="*/ 4393 h 10000"/>
                  <a:gd name="connsiteX1866" fmla="*/ 2931 w 10354"/>
                  <a:gd name="connsiteY1866" fmla="*/ 4393 h 10000"/>
                  <a:gd name="connsiteX1867" fmla="*/ 2931 w 10354"/>
                  <a:gd name="connsiteY1867" fmla="*/ 4385 h 10000"/>
                  <a:gd name="connsiteX1868" fmla="*/ 2931 w 10354"/>
                  <a:gd name="connsiteY1868" fmla="*/ 4350 h 10000"/>
                  <a:gd name="connsiteX1869" fmla="*/ 2945 w 10354"/>
                  <a:gd name="connsiteY1869" fmla="*/ 4350 h 10000"/>
                  <a:gd name="connsiteX1870" fmla="*/ 2949 w 10354"/>
                  <a:gd name="connsiteY1870" fmla="*/ 4325 h 10000"/>
                  <a:gd name="connsiteX1871" fmla="*/ 2963 w 10354"/>
                  <a:gd name="connsiteY1871" fmla="*/ 4256 h 10000"/>
                  <a:gd name="connsiteX1872" fmla="*/ 2982 w 10354"/>
                  <a:gd name="connsiteY1872" fmla="*/ 4239 h 10000"/>
                  <a:gd name="connsiteX1873" fmla="*/ 2991 w 10354"/>
                  <a:gd name="connsiteY1873" fmla="*/ 4214 h 10000"/>
                  <a:gd name="connsiteX1874" fmla="*/ 2991 w 10354"/>
                  <a:gd name="connsiteY1874" fmla="*/ 4197 h 10000"/>
                  <a:gd name="connsiteX1875" fmla="*/ 2995 w 10354"/>
                  <a:gd name="connsiteY1875" fmla="*/ 4171 h 10000"/>
                  <a:gd name="connsiteX1876" fmla="*/ 2991 w 10354"/>
                  <a:gd name="connsiteY1876" fmla="*/ 4077 h 10000"/>
                  <a:gd name="connsiteX1877" fmla="*/ 2995 w 10354"/>
                  <a:gd name="connsiteY1877" fmla="*/ 4034 h 10000"/>
                  <a:gd name="connsiteX1878" fmla="*/ 3018 w 10354"/>
                  <a:gd name="connsiteY1878" fmla="*/ 3983 h 10000"/>
                  <a:gd name="connsiteX1879" fmla="*/ 3018 w 10354"/>
                  <a:gd name="connsiteY1879" fmla="*/ 3915 h 10000"/>
                  <a:gd name="connsiteX1880" fmla="*/ 2949 w 10354"/>
                  <a:gd name="connsiteY1880" fmla="*/ 3778 h 10000"/>
                  <a:gd name="connsiteX1881" fmla="*/ 2954 w 10354"/>
                  <a:gd name="connsiteY1881" fmla="*/ 3675 h 10000"/>
                  <a:gd name="connsiteX1882" fmla="*/ 2954 w 10354"/>
                  <a:gd name="connsiteY1882" fmla="*/ 3650 h 10000"/>
                  <a:gd name="connsiteX1883" fmla="*/ 2963 w 10354"/>
                  <a:gd name="connsiteY1883" fmla="*/ 3624 h 10000"/>
                  <a:gd name="connsiteX1884" fmla="*/ 2954 w 10354"/>
                  <a:gd name="connsiteY1884" fmla="*/ 3564 h 10000"/>
                  <a:gd name="connsiteX1885" fmla="*/ 2963 w 10354"/>
                  <a:gd name="connsiteY1885" fmla="*/ 3538 h 10000"/>
                  <a:gd name="connsiteX1886" fmla="*/ 2963 w 10354"/>
                  <a:gd name="connsiteY1886" fmla="*/ 3487 h 10000"/>
                  <a:gd name="connsiteX1887" fmla="*/ 2963 w 10354"/>
                  <a:gd name="connsiteY1887" fmla="*/ 3479 h 10000"/>
                  <a:gd name="connsiteX1888" fmla="*/ 2963 w 10354"/>
                  <a:gd name="connsiteY1888" fmla="*/ 3462 h 10000"/>
                  <a:gd name="connsiteX1889" fmla="*/ 2954 w 10354"/>
                  <a:gd name="connsiteY1889" fmla="*/ 3453 h 10000"/>
                  <a:gd name="connsiteX1890" fmla="*/ 2954 w 10354"/>
                  <a:gd name="connsiteY1890" fmla="*/ 3444 h 10000"/>
                  <a:gd name="connsiteX1891" fmla="*/ 2954 w 10354"/>
                  <a:gd name="connsiteY1891" fmla="*/ 3402 h 10000"/>
                  <a:gd name="connsiteX1892" fmla="*/ 2954 w 10354"/>
                  <a:gd name="connsiteY1892" fmla="*/ 3393 h 10000"/>
                  <a:gd name="connsiteX1893" fmla="*/ 2949 w 10354"/>
                  <a:gd name="connsiteY1893" fmla="*/ 3376 h 10000"/>
                  <a:gd name="connsiteX1894" fmla="*/ 2949 w 10354"/>
                  <a:gd name="connsiteY1894" fmla="*/ 3342 h 10000"/>
                  <a:gd name="connsiteX1895" fmla="*/ 2949 w 10354"/>
                  <a:gd name="connsiteY1895" fmla="*/ 3316 h 10000"/>
                  <a:gd name="connsiteX1896" fmla="*/ 2968 w 10354"/>
                  <a:gd name="connsiteY1896" fmla="*/ 3291 h 10000"/>
                  <a:gd name="connsiteX1897" fmla="*/ 2963 w 10354"/>
                  <a:gd name="connsiteY1897" fmla="*/ 3205 h 10000"/>
                  <a:gd name="connsiteX1898" fmla="*/ 2968 w 10354"/>
                  <a:gd name="connsiteY1898" fmla="*/ 3171 h 10000"/>
                  <a:gd name="connsiteX1899" fmla="*/ 2968 w 10354"/>
                  <a:gd name="connsiteY1899" fmla="*/ 3128 h 10000"/>
                  <a:gd name="connsiteX1900" fmla="*/ 2954 w 10354"/>
                  <a:gd name="connsiteY1900" fmla="*/ 3051 h 10000"/>
                  <a:gd name="connsiteX1901" fmla="*/ 2954 w 10354"/>
                  <a:gd name="connsiteY1901" fmla="*/ 3009 h 10000"/>
                  <a:gd name="connsiteX1902" fmla="*/ 2922 w 10354"/>
                  <a:gd name="connsiteY1902" fmla="*/ 2940 h 10000"/>
                  <a:gd name="connsiteX1903" fmla="*/ 2903 w 10354"/>
                  <a:gd name="connsiteY1903" fmla="*/ 2880 h 10000"/>
                  <a:gd name="connsiteX1904" fmla="*/ 2903 w 10354"/>
                  <a:gd name="connsiteY1904" fmla="*/ 2855 h 10000"/>
                  <a:gd name="connsiteX1905" fmla="*/ 2908 w 10354"/>
                  <a:gd name="connsiteY1905" fmla="*/ 2846 h 10000"/>
                  <a:gd name="connsiteX1906" fmla="*/ 2931 w 10354"/>
                  <a:gd name="connsiteY1906" fmla="*/ 2821 h 10000"/>
                  <a:gd name="connsiteX1907" fmla="*/ 2931 w 10354"/>
                  <a:gd name="connsiteY1907" fmla="*/ 2803 h 10000"/>
                  <a:gd name="connsiteX1908" fmla="*/ 2935 w 10354"/>
                  <a:gd name="connsiteY1908" fmla="*/ 2786 h 10000"/>
                  <a:gd name="connsiteX1909" fmla="*/ 2935 w 10354"/>
                  <a:gd name="connsiteY1909" fmla="*/ 2744 h 10000"/>
                  <a:gd name="connsiteX1910" fmla="*/ 2963 w 10354"/>
                  <a:gd name="connsiteY1910" fmla="*/ 2607 h 10000"/>
                  <a:gd name="connsiteX1911" fmla="*/ 2963 w 10354"/>
                  <a:gd name="connsiteY1911" fmla="*/ 2419 h 10000"/>
                  <a:gd name="connsiteX1912" fmla="*/ 2954 w 10354"/>
                  <a:gd name="connsiteY1912" fmla="*/ 2410 h 10000"/>
                  <a:gd name="connsiteX1913" fmla="*/ 2963 w 10354"/>
                  <a:gd name="connsiteY1913" fmla="*/ 2393 h 10000"/>
                  <a:gd name="connsiteX1914" fmla="*/ 2908 w 10354"/>
                  <a:gd name="connsiteY1914" fmla="*/ 2359 h 10000"/>
                  <a:gd name="connsiteX1915" fmla="*/ 2889 w 10354"/>
                  <a:gd name="connsiteY1915" fmla="*/ 2325 h 10000"/>
                  <a:gd name="connsiteX1916" fmla="*/ 2788 w 10354"/>
                  <a:gd name="connsiteY1916" fmla="*/ 2333 h 10000"/>
                  <a:gd name="connsiteX1917" fmla="*/ 2774 w 10354"/>
                  <a:gd name="connsiteY1917" fmla="*/ 2325 h 10000"/>
                  <a:gd name="connsiteX1918" fmla="*/ 2783 w 10354"/>
                  <a:gd name="connsiteY1918" fmla="*/ 2308 h 10000"/>
                  <a:gd name="connsiteX1919" fmla="*/ 2747 w 10354"/>
                  <a:gd name="connsiteY1919" fmla="*/ 2308 h 10000"/>
                  <a:gd name="connsiteX1920" fmla="*/ 2742 w 10354"/>
                  <a:gd name="connsiteY1920" fmla="*/ 2333 h 10000"/>
                  <a:gd name="connsiteX1921" fmla="*/ 2682 w 10354"/>
                  <a:gd name="connsiteY1921" fmla="*/ 2769 h 10000"/>
                  <a:gd name="connsiteX1922" fmla="*/ 2613 w 10354"/>
                  <a:gd name="connsiteY1922" fmla="*/ 2940 h 10000"/>
                  <a:gd name="connsiteX1923" fmla="*/ 2581 w 10354"/>
                  <a:gd name="connsiteY1923" fmla="*/ 2966 h 10000"/>
                  <a:gd name="connsiteX1924" fmla="*/ 2576 w 10354"/>
                  <a:gd name="connsiteY1924" fmla="*/ 3051 h 10000"/>
                  <a:gd name="connsiteX1925" fmla="*/ 2581 w 10354"/>
                  <a:gd name="connsiteY1925" fmla="*/ 3051 h 10000"/>
                  <a:gd name="connsiteX1926" fmla="*/ 2594 w 10354"/>
                  <a:gd name="connsiteY1926" fmla="*/ 3017 h 10000"/>
                  <a:gd name="connsiteX1927" fmla="*/ 2594 w 10354"/>
                  <a:gd name="connsiteY1927" fmla="*/ 3034 h 10000"/>
                  <a:gd name="connsiteX1928" fmla="*/ 2594 w 10354"/>
                  <a:gd name="connsiteY1928" fmla="*/ 3051 h 10000"/>
                  <a:gd name="connsiteX1929" fmla="*/ 2590 w 10354"/>
                  <a:gd name="connsiteY1929" fmla="*/ 3077 h 10000"/>
                  <a:gd name="connsiteX1930" fmla="*/ 2567 w 10354"/>
                  <a:gd name="connsiteY1930" fmla="*/ 3103 h 10000"/>
                  <a:gd name="connsiteX1931" fmla="*/ 2562 w 10354"/>
                  <a:gd name="connsiteY1931" fmla="*/ 3145 h 10000"/>
                  <a:gd name="connsiteX1932" fmla="*/ 2567 w 10354"/>
                  <a:gd name="connsiteY1932" fmla="*/ 3179 h 10000"/>
                  <a:gd name="connsiteX1933" fmla="*/ 2590 w 10354"/>
                  <a:gd name="connsiteY1933" fmla="*/ 3171 h 10000"/>
                  <a:gd name="connsiteX1934" fmla="*/ 2594 w 10354"/>
                  <a:gd name="connsiteY1934" fmla="*/ 3145 h 10000"/>
                  <a:gd name="connsiteX1935" fmla="*/ 2613 w 10354"/>
                  <a:gd name="connsiteY1935" fmla="*/ 3154 h 10000"/>
                  <a:gd name="connsiteX1936" fmla="*/ 2622 w 10354"/>
                  <a:gd name="connsiteY1936" fmla="*/ 3179 h 10000"/>
                  <a:gd name="connsiteX1937" fmla="*/ 2613 w 10354"/>
                  <a:gd name="connsiteY1937" fmla="*/ 3214 h 10000"/>
                  <a:gd name="connsiteX1938" fmla="*/ 2613 w 10354"/>
                  <a:gd name="connsiteY1938" fmla="*/ 3308 h 10000"/>
                  <a:gd name="connsiteX1939" fmla="*/ 2608 w 10354"/>
                  <a:gd name="connsiteY1939" fmla="*/ 3325 h 10000"/>
                  <a:gd name="connsiteX1940" fmla="*/ 2608 w 10354"/>
                  <a:gd name="connsiteY1940" fmla="*/ 3376 h 10000"/>
                  <a:gd name="connsiteX1941" fmla="*/ 2613 w 10354"/>
                  <a:gd name="connsiteY1941" fmla="*/ 3419 h 10000"/>
                  <a:gd name="connsiteX1942" fmla="*/ 2608 w 10354"/>
                  <a:gd name="connsiteY1942" fmla="*/ 3444 h 10000"/>
                  <a:gd name="connsiteX1943" fmla="*/ 2594 w 10354"/>
                  <a:gd name="connsiteY1943" fmla="*/ 3444 h 10000"/>
                  <a:gd name="connsiteX1944" fmla="*/ 2590 w 10354"/>
                  <a:gd name="connsiteY1944" fmla="*/ 3427 h 10000"/>
                  <a:gd name="connsiteX1945" fmla="*/ 2581 w 10354"/>
                  <a:gd name="connsiteY1945" fmla="*/ 3564 h 10000"/>
                  <a:gd name="connsiteX1946" fmla="*/ 2594 w 10354"/>
                  <a:gd name="connsiteY1946" fmla="*/ 3598 h 10000"/>
                  <a:gd name="connsiteX1947" fmla="*/ 2594 w 10354"/>
                  <a:gd name="connsiteY1947" fmla="*/ 3581 h 10000"/>
                  <a:gd name="connsiteX1948" fmla="*/ 2608 w 10354"/>
                  <a:gd name="connsiteY1948" fmla="*/ 3556 h 10000"/>
                  <a:gd name="connsiteX1949" fmla="*/ 2650 w 10354"/>
                  <a:gd name="connsiteY1949" fmla="*/ 3615 h 10000"/>
                  <a:gd name="connsiteX1950" fmla="*/ 2664 w 10354"/>
                  <a:gd name="connsiteY1950" fmla="*/ 3615 h 10000"/>
                  <a:gd name="connsiteX1951" fmla="*/ 2668 w 10354"/>
                  <a:gd name="connsiteY1951" fmla="*/ 3615 h 10000"/>
                  <a:gd name="connsiteX1952" fmla="*/ 2664 w 10354"/>
                  <a:gd name="connsiteY1952" fmla="*/ 3667 h 10000"/>
                  <a:gd name="connsiteX1953" fmla="*/ 2687 w 10354"/>
                  <a:gd name="connsiteY1953" fmla="*/ 3786 h 10000"/>
                  <a:gd name="connsiteX1954" fmla="*/ 2710 w 10354"/>
                  <a:gd name="connsiteY1954" fmla="*/ 3812 h 10000"/>
                  <a:gd name="connsiteX1955" fmla="*/ 2724 w 10354"/>
                  <a:gd name="connsiteY1955" fmla="*/ 3812 h 10000"/>
                  <a:gd name="connsiteX1956" fmla="*/ 2724 w 10354"/>
                  <a:gd name="connsiteY1956" fmla="*/ 3829 h 10000"/>
                  <a:gd name="connsiteX1957" fmla="*/ 2737 w 10354"/>
                  <a:gd name="connsiteY1957" fmla="*/ 3838 h 10000"/>
                  <a:gd name="connsiteX1958" fmla="*/ 2714 w 10354"/>
                  <a:gd name="connsiteY1958" fmla="*/ 3872 h 10000"/>
                  <a:gd name="connsiteX1959" fmla="*/ 2696 w 10354"/>
                  <a:gd name="connsiteY1959" fmla="*/ 4026 h 10000"/>
                  <a:gd name="connsiteX1960" fmla="*/ 2673 w 10354"/>
                  <a:gd name="connsiteY1960" fmla="*/ 4051 h 10000"/>
                  <a:gd name="connsiteX1961" fmla="*/ 2668 w 10354"/>
                  <a:gd name="connsiteY1961" fmla="*/ 4034 h 10000"/>
                  <a:gd name="connsiteX1962" fmla="*/ 2673 w 10354"/>
                  <a:gd name="connsiteY1962" fmla="*/ 4000 h 10000"/>
                  <a:gd name="connsiteX1963" fmla="*/ 2664 w 10354"/>
                  <a:gd name="connsiteY1963" fmla="*/ 3974 h 10000"/>
                  <a:gd name="connsiteX1964" fmla="*/ 2636 w 10354"/>
                  <a:gd name="connsiteY1964" fmla="*/ 3949 h 10000"/>
                  <a:gd name="connsiteX1965" fmla="*/ 2581 w 10354"/>
                  <a:gd name="connsiteY1965" fmla="*/ 3838 h 10000"/>
                  <a:gd name="connsiteX1966" fmla="*/ 2562 w 10354"/>
                  <a:gd name="connsiteY1966" fmla="*/ 3829 h 10000"/>
                  <a:gd name="connsiteX1967" fmla="*/ 2535 w 10354"/>
                  <a:gd name="connsiteY1967" fmla="*/ 3778 h 10000"/>
                  <a:gd name="connsiteX1968" fmla="*/ 2502 w 10354"/>
                  <a:gd name="connsiteY1968" fmla="*/ 3761 h 10000"/>
                  <a:gd name="connsiteX1969" fmla="*/ 2502 w 10354"/>
                  <a:gd name="connsiteY1969" fmla="*/ 3735 h 10000"/>
                  <a:gd name="connsiteX1970" fmla="*/ 2516 w 10354"/>
                  <a:gd name="connsiteY1970" fmla="*/ 3735 h 10000"/>
                  <a:gd name="connsiteX1971" fmla="*/ 2507 w 10354"/>
                  <a:gd name="connsiteY1971" fmla="*/ 3726 h 10000"/>
                  <a:gd name="connsiteX1972" fmla="*/ 2488 w 10354"/>
                  <a:gd name="connsiteY1972" fmla="*/ 3726 h 10000"/>
                  <a:gd name="connsiteX1973" fmla="*/ 2461 w 10354"/>
                  <a:gd name="connsiteY1973" fmla="*/ 3692 h 10000"/>
                  <a:gd name="connsiteX1974" fmla="*/ 2442 w 10354"/>
                  <a:gd name="connsiteY1974" fmla="*/ 3675 h 10000"/>
                  <a:gd name="connsiteX1975" fmla="*/ 2406 w 10354"/>
                  <a:gd name="connsiteY1975" fmla="*/ 3598 h 10000"/>
                  <a:gd name="connsiteX1976" fmla="*/ 2346 w 10354"/>
                  <a:gd name="connsiteY1976" fmla="*/ 3564 h 10000"/>
                  <a:gd name="connsiteX1977" fmla="*/ 2341 w 10354"/>
                  <a:gd name="connsiteY1977" fmla="*/ 3564 h 10000"/>
                  <a:gd name="connsiteX1978" fmla="*/ 2313 w 10354"/>
                  <a:gd name="connsiteY1978" fmla="*/ 3530 h 10000"/>
                  <a:gd name="connsiteX1979" fmla="*/ 2235 w 10354"/>
                  <a:gd name="connsiteY1979" fmla="*/ 3530 h 10000"/>
                  <a:gd name="connsiteX1980" fmla="*/ 2226 w 10354"/>
                  <a:gd name="connsiteY1980" fmla="*/ 3513 h 10000"/>
                  <a:gd name="connsiteX1981" fmla="*/ 2207 w 10354"/>
                  <a:gd name="connsiteY1981" fmla="*/ 3504 h 10000"/>
                  <a:gd name="connsiteX1982" fmla="*/ 2194 w 10354"/>
                  <a:gd name="connsiteY1982" fmla="*/ 3504 h 10000"/>
                  <a:gd name="connsiteX1983" fmla="*/ 2189 w 10354"/>
                  <a:gd name="connsiteY1983" fmla="*/ 3504 h 10000"/>
                  <a:gd name="connsiteX1984" fmla="*/ 2189 w 10354"/>
                  <a:gd name="connsiteY1984" fmla="*/ 3530 h 10000"/>
                  <a:gd name="connsiteX1985" fmla="*/ 2180 w 10354"/>
                  <a:gd name="connsiteY1985" fmla="*/ 3538 h 10000"/>
                  <a:gd name="connsiteX1986" fmla="*/ 2152 w 10354"/>
                  <a:gd name="connsiteY1986" fmla="*/ 3581 h 10000"/>
                  <a:gd name="connsiteX1987" fmla="*/ 2161 w 10354"/>
                  <a:gd name="connsiteY1987" fmla="*/ 3598 h 10000"/>
                  <a:gd name="connsiteX1988" fmla="*/ 2194 w 10354"/>
                  <a:gd name="connsiteY1988" fmla="*/ 3752 h 10000"/>
                  <a:gd name="connsiteX1989" fmla="*/ 2194 w 10354"/>
                  <a:gd name="connsiteY1989" fmla="*/ 3735 h 10000"/>
                  <a:gd name="connsiteX1990" fmla="*/ 2198 w 10354"/>
                  <a:gd name="connsiteY1990" fmla="*/ 3735 h 10000"/>
                  <a:gd name="connsiteX1991" fmla="*/ 2189 w 10354"/>
                  <a:gd name="connsiteY1991" fmla="*/ 3838 h 10000"/>
                  <a:gd name="connsiteX1992" fmla="*/ 2166 w 10354"/>
                  <a:gd name="connsiteY1992" fmla="*/ 3889 h 10000"/>
                  <a:gd name="connsiteX1993" fmla="*/ 2124 w 10354"/>
                  <a:gd name="connsiteY1993" fmla="*/ 3889 h 10000"/>
                  <a:gd name="connsiteX1994" fmla="*/ 2124 w 10354"/>
                  <a:gd name="connsiteY1994" fmla="*/ 3923 h 10000"/>
                  <a:gd name="connsiteX1995" fmla="*/ 2134 w 10354"/>
                  <a:gd name="connsiteY1995" fmla="*/ 3940 h 10000"/>
                  <a:gd name="connsiteX1996" fmla="*/ 2134 w 10354"/>
                  <a:gd name="connsiteY1996" fmla="*/ 3966 h 10000"/>
                  <a:gd name="connsiteX1997" fmla="*/ 2120 w 10354"/>
                  <a:gd name="connsiteY1997" fmla="*/ 4000 h 10000"/>
                  <a:gd name="connsiteX1998" fmla="*/ 2106 w 10354"/>
                  <a:gd name="connsiteY1998" fmla="*/ 4009 h 10000"/>
                  <a:gd name="connsiteX1999" fmla="*/ 2088 w 10354"/>
                  <a:gd name="connsiteY1999" fmla="*/ 4000 h 10000"/>
                  <a:gd name="connsiteX2000" fmla="*/ 2074 w 10354"/>
                  <a:gd name="connsiteY2000" fmla="*/ 3974 h 10000"/>
                  <a:gd name="connsiteX2001" fmla="*/ 2074 w 10354"/>
                  <a:gd name="connsiteY2001" fmla="*/ 3940 h 10000"/>
                  <a:gd name="connsiteX2002" fmla="*/ 2078 w 10354"/>
                  <a:gd name="connsiteY2002" fmla="*/ 3915 h 10000"/>
                  <a:gd name="connsiteX2003" fmla="*/ 2088 w 10354"/>
                  <a:gd name="connsiteY2003" fmla="*/ 3889 h 10000"/>
                  <a:gd name="connsiteX2004" fmla="*/ 2101 w 10354"/>
                  <a:gd name="connsiteY2004" fmla="*/ 3872 h 10000"/>
                  <a:gd name="connsiteX2005" fmla="*/ 2074 w 10354"/>
                  <a:gd name="connsiteY2005" fmla="*/ 3812 h 10000"/>
                  <a:gd name="connsiteX2006" fmla="*/ 2074 w 10354"/>
                  <a:gd name="connsiteY2006" fmla="*/ 3786 h 10000"/>
                  <a:gd name="connsiteX2007" fmla="*/ 2060 w 10354"/>
                  <a:gd name="connsiteY2007" fmla="*/ 3786 h 10000"/>
                  <a:gd name="connsiteX2008" fmla="*/ 2014 w 10354"/>
                  <a:gd name="connsiteY2008" fmla="*/ 3829 h 10000"/>
                  <a:gd name="connsiteX2009" fmla="*/ 2000 w 10354"/>
                  <a:gd name="connsiteY2009" fmla="*/ 3863 h 10000"/>
                  <a:gd name="connsiteX2010" fmla="*/ 1986 w 10354"/>
                  <a:gd name="connsiteY2010" fmla="*/ 3872 h 10000"/>
                  <a:gd name="connsiteX2011" fmla="*/ 1959 w 10354"/>
                  <a:gd name="connsiteY2011" fmla="*/ 3940 h 10000"/>
                  <a:gd name="connsiteX2012" fmla="*/ 1945 w 10354"/>
                  <a:gd name="connsiteY2012" fmla="*/ 3949 h 10000"/>
                  <a:gd name="connsiteX2013" fmla="*/ 1940 w 10354"/>
                  <a:gd name="connsiteY2013" fmla="*/ 3923 h 10000"/>
                  <a:gd name="connsiteX2014" fmla="*/ 1917 w 10354"/>
                  <a:gd name="connsiteY2014" fmla="*/ 3915 h 10000"/>
                  <a:gd name="connsiteX2015" fmla="*/ 1899 w 10354"/>
                  <a:gd name="connsiteY2015" fmla="*/ 3923 h 10000"/>
                  <a:gd name="connsiteX2016" fmla="*/ 1880 w 10354"/>
                  <a:gd name="connsiteY2016" fmla="*/ 3915 h 10000"/>
                  <a:gd name="connsiteX2017" fmla="*/ 1853 w 10354"/>
                  <a:gd name="connsiteY2017" fmla="*/ 3940 h 10000"/>
                  <a:gd name="connsiteX2018" fmla="*/ 1839 w 10354"/>
                  <a:gd name="connsiteY2018" fmla="*/ 3940 h 10000"/>
                  <a:gd name="connsiteX2019" fmla="*/ 1806 w 10354"/>
                  <a:gd name="connsiteY2019" fmla="*/ 3983 h 10000"/>
                  <a:gd name="connsiteX2020" fmla="*/ 1806 w 10354"/>
                  <a:gd name="connsiteY2020" fmla="*/ 4000 h 10000"/>
                  <a:gd name="connsiteX2021" fmla="*/ 1797 w 10354"/>
                  <a:gd name="connsiteY2021" fmla="*/ 4077 h 10000"/>
                  <a:gd name="connsiteX2022" fmla="*/ 1783 w 10354"/>
                  <a:gd name="connsiteY2022" fmla="*/ 4077 h 10000"/>
                  <a:gd name="connsiteX2023" fmla="*/ 1779 w 10354"/>
                  <a:gd name="connsiteY2023" fmla="*/ 4051 h 10000"/>
                  <a:gd name="connsiteX2024" fmla="*/ 1765 w 10354"/>
                  <a:gd name="connsiteY2024" fmla="*/ 4026 h 10000"/>
                  <a:gd name="connsiteX2025" fmla="*/ 1751 w 10354"/>
                  <a:gd name="connsiteY2025" fmla="*/ 4051 h 10000"/>
                  <a:gd name="connsiteX2026" fmla="*/ 1737 w 10354"/>
                  <a:gd name="connsiteY2026" fmla="*/ 4009 h 10000"/>
                  <a:gd name="connsiteX2027" fmla="*/ 1737 w 10354"/>
                  <a:gd name="connsiteY2027" fmla="*/ 3966 h 10000"/>
                  <a:gd name="connsiteX2028" fmla="*/ 1733 w 10354"/>
                  <a:gd name="connsiteY2028" fmla="*/ 3940 h 10000"/>
                  <a:gd name="connsiteX2029" fmla="*/ 1733 w 10354"/>
                  <a:gd name="connsiteY2029" fmla="*/ 3923 h 10000"/>
                  <a:gd name="connsiteX2030" fmla="*/ 1747 w 10354"/>
                  <a:gd name="connsiteY2030" fmla="*/ 3889 h 10000"/>
                  <a:gd name="connsiteX2031" fmla="*/ 1747 w 10354"/>
                  <a:gd name="connsiteY2031" fmla="*/ 3863 h 10000"/>
                  <a:gd name="connsiteX2032" fmla="*/ 1737 w 10354"/>
                  <a:gd name="connsiteY2032" fmla="*/ 3838 h 10000"/>
                  <a:gd name="connsiteX2033" fmla="*/ 1733 w 10354"/>
                  <a:gd name="connsiteY2033" fmla="*/ 3829 h 10000"/>
                  <a:gd name="connsiteX2034" fmla="*/ 1733 w 10354"/>
                  <a:gd name="connsiteY2034" fmla="*/ 3846 h 10000"/>
                  <a:gd name="connsiteX2035" fmla="*/ 1724 w 10354"/>
                  <a:gd name="connsiteY2035" fmla="*/ 3846 h 10000"/>
                  <a:gd name="connsiteX2036" fmla="*/ 1724 w 10354"/>
                  <a:gd name="connsiteY2036" fmla="*/ 3829 h 10000"/>
                  <a:gd name="connsiteX2037" fmla="*/ 1737 w 10354"/>
                  <a:gd name="connsiteY2037" fmla="*/ 3812 h 10000"/>
                  <a:gd name="connsiteX2038" fmla="*/ 1765 w 10354"/>
                  <a:gd name="connsiteY2038" fmla="*/ 3812 h 10000"/>
                  <a:gd name="connsiteX2039" fmla="*/ 1779 w 10354"/>
                  <a:gd name="connsiteY2039" fmla="*/ 3786 h 10000"/>
                  <a:gd name="connsiteX2040" fmla="*/ 1779 w 10354"/>
                  <a:gd name="connsiteY2040" fmla="*/ 3786 h 10000"/>
                  <a:gd name="connsiteX2041" fmla="*/ 1751 w 10354"/>
                  <a:gd name="connsiteY2041" fmla="*/ 3803 h 10000"/>
                  <a:gd name="connsiteX2042" fmla="*/ 1747 w 10354"/>
                  <a:gd name="connsiteY2042" fmla="*/ 3803 h 10000"/>
                  <a:gd name="connsiteX2043" fmla="*/ 1724 w 10354"/>
                  <a:gd name="connsiteY2043" fmla="*/ 3803 h 10000"/>
                  <a:gd name="connsiteX2044" fmla="*/ 1700 w 10354"/>
                  <a:gd name="connsiteY2044" fmla="*/ 3829 h 10000"/>
                  <a:gd name="connsiteX2045" fmla="*/ 1705 w 10354"/>
                  <a:gd name="connsiteY2045" fmla="*/ 3846 h 10000"/>
                  <a:gd name="connsiteX2046" fmla="*/ 1691 w 10354"/>
                  <a:gd name="connsiteY2046" fmla="*/ 3846 h 10000"/>
                  <a:gd name="connsiteX2047" fmla="*/ 1691 w 10354"/>
                  <a:gd name="connsiteY2047" fmla="*/ 3863 h 10000"/>
                  <a:gd name="connsiteX2048" fmla="*/ 1691 w 10354"/>
                  <a:gd name="connsiteY2048" fmla="*/ 3915 h 10000"/>
                  <a:gd name="connsiteX2049" fmla="*/ 1677 w 10354"/>
                  <a:gd name="connsiteY2049" fmla="*/ 3923 h 10000"/>
                  <a:gd name="connsiteX2050" fmla="*/ 1673 w 10354"/>
                  <a:gd name="connsiteY2050" fmla="*/ 3915 h 10000"/>
                  <a:gd name="connsiteX2051" fmla="*/ 1664 w 10354"/>
                  <a:gd name="connsiteY2051" fmla="*/ 3889 h 10000"/>
                  <a:gd name="connsiteX2052" fmla="*/ 1673 w 10354"/>
                  <a:gd name="connsiteY2052" fmla="*/ 3872 h 10000"/>
                  <a:gd name="connsiteX2053" fmla="*/ 1664 w 10354"/>
                  <a:gd name="connsiteY2053" fmla="*/ 3872 h 10000"/>
                  <a:gd name="connsiteX2054" fmla="*/ 1636 w 10354"/>
                  <a:gd name="connsiteY2054" fmla="*/ 3923 h 10000"/>
                  <a:gd name="connsiteX2055" fmla="*/ 1645 w 10354"/>
                  <a:gd name="connsiteY2055" fmla="*/ 3923 h 10000"/>
                  <a:gd name="connsiteX2056" fmla="*/ 1650 w 10354"/>
                  <a:gd name="connsiteY2056" fmla="*/ 3949 h 10000"/>
                  <a:gd name="connsiteX2057" fmla="*/ 1650 w 10354"/>
                  <a:gd name="connsiteY2057" fmla="*/ 3983 h 10000"/>
                  <a:gd name="connsiteX2058" fmla="*/ 1636 w 10354"/>
                  <a:gd name="connsiteY2058" fmla="*/ 4000 h 10000"/>
                  <a:gd name="connsiteX2059" fmla="*/ 1631 w 10354"/>
                  <a:gd name="connsiteY2059" fmla="*/ 4009 h 10000"/>
                  <a:gd name="connsiteX2060" fmla="*/ 1618 w 10354"/>
                  <a:gd name="connsiteY2060" fmla="*/ 3949 h 10000"/>
                  <a:gd name="connsiteX2061" fmla="*/ 1585 w 10354"/>
                  <a:gd name="connsiteY2061" fmla="*/ 3966 h 10000"/>
                  <a:gd name="connsiteX2062" fmla="*/ 1590 w 10354"/>
                  <a:gd name="connsiteY2062" fmla="*/ 3974 h 10000"/>
                  <a:gd name="connsiteX2063" fmla="*/ 1544 w 10354"/>
                  <a:gd name="connsiteY2063" fmla="*/ 4009 h 10000"/>
                  <a:gd name="connsiteX2064" fmla="*/ 1539 w 10354"/>
                  <a:gd name="connsiteY2064" fmla="*/ 4009 h 10000"/>
                  <a:gd name="connsiteX2065" fmla="*/ 1410 w 10354"/>
                  <a:gd name="connsiteY2065" fmla="*/ 4188 h 10000"/>
                  <a:gd name="connsiteX2066" fmla="*/ 1406 w 10354"/>
                  <a:gd name="connsiteY2066" fmla="*/ 4171 h 10000"/>
                  <a:gd name="connsiteX2067" fmla="*/ 1396 w 10354"/>
                  <a:gd name="connsiteY2067" fmla="*/ 4214 h 10000"/>
                  <a:gd name="connsiteX2068" fmla="*/ 1406 w 10354"/>
                  <a:gd name="connsiteY2068" fmla="*/ 4222 h 10000"/>
                  <a:gd name="connsiteX2069" fmla="*/ 1392 w 10354"/>
                  <a:gd name="connsiteY2069" fmla="*/ 4239 h 10000"/>
                  <a:gd name="connsiteX2070" fmla="*/ 1369 w 10354"/>
                  <a:gd name="connsiteY2070" fmla="*/ 4248 h 10000"/>
                  <a:gd name="connsiteX2071" fmla="*/ 1355 w 10354"/>
                  <a:gd name="connsiteY2071" fmla="*/ 4256 h 10000"/>
                  <a:gd name="connsiteX2072" fmla="*/ 1350 w 10354"/>
                  <a:gd name="connsiteY2072" fmla="*/ 4248 h 10000"/>
                  <a:gd name="connsiteX2073" fmla="*/ 1332 w 10354"/>
                  <a:gd name="connsiteY2073" fmla="*/ 4376 h 10000"/>
                  <a:gd name="connsiteX2074" fmla="*/ 1332 w 10354"/>
                  <a:gd name="connsiteY2074" fmla="*/ 4436 h 10000"/>
                  <a:gd name="connsiteX2075" fmla="*/ 1323 w 10354"/>
                  <a:gd name="connsiteY2075" fmla="*/ 4462 h 10000"/>
                  <a:gd name="connsiteX2076" fmla="*/ 1304 w 10354"/>
                  <a:gd name="connsiteY2076" fmla="*/ 4487 h 10000"/>
                  <a:gd name="connsiteX2077" fmla="*/ 1290 w 10354"/>
                  <a:gd name="connsiteY2077" fmla="*/ 4470 h 10000"/>
                  <a:gd name="connsiteX2078" fmla="*/ 1263 w 10354"/>
                  <a:gd name="connsiteY2078" fmla="*/ 4496 h 10000"/>
                  <a:gd name="connsiteX2079" fmla="*/ 1258 w 10354"/>
                  <a:gd name="connsiteY2079" fmla="*/ 4547 h 10000"/>
                  <a:gd name="connsiteX2080" fmla="*/ 1249 w 10354"/>
                  <a:gd name="connsiteY2080" fmla="*/ 4487 h 10000"/>
                  <a:gd name="connsiteX2081" fmla="*/ 1235 w 10354"/>
                  <a:gd name="connsiteY2081" fmla="*/ 4496 h 10000"/>
                  <a:gd name="connsiteX2082" fmla="*/ 1221 w 10354"/>
                  <a:gd name="connsiteY2082" fmla="*/ 4496 h 10000"/>
                  <a:gd name="connsiteX2083" fmla="*/ 1217 w 10354"/>
                  <a:gd name="connsiteY2083" fmla="*/ 4487 h 10000"/>
                  <a:gd name="connsiteX2084" fmla="*/ 1198 w 10354"/>
                  <a:gd name="connsiteY2084" fmla="*/ 4410 h 10000"/>
                  <a:gd name="connsiteX2085" fmla="*/ 1157 w 10354"/>
                  <a:gd name="connsiteY2085" fmla="*/ 4333 h 10000"/>
                  <a:gd name="connsiteX2086" fmla="*/ 1147 w 10354"/>
                  <a:gd name="connsiteY2086" fmla="*/ 4299 h 10000"/>
                  <a:gd name="connsiteX2087" fmla="*/ 1147 w 10354"/>
                  <a:gd name="connsiteY2087" fmla="*/ 4274 h 10000"/>
                  <a:gd name="connsiteX2088" fmla="*/ 1161 w 10354"/>
                  <a:gd name="connsiteY2088" fmla="*/ 4256 h 10000"/>
                  <a:gd name="connsiteX2089" fmla="*/ 1171 w 10354"/>
                  <a:gd name="connsiteY2089" fmla="*/ 4248 h 10000"/>
                  <a:gd name="connsiteX2090" fmla="*/ 1175 w 10354"/>
                  <a:gd name="connsiteY2090" fmla="*/ 4214 h 10000"/>
                  <a:gd name="connsiteX2091" fmla="*/ 1263 w 10354"/>
                  <a:gd name="connsiteY2091" fmla="*/ 4171 h 10000"/>
                  <a:gd name="connsiteX2092" fmla="*/ 1249 w 10354"/>
                  <a:gd name="connsiteY2092" fmla="*/ 4137 h 10000"/>
                  <a:gd name="connsiteX2093" fmla="*/ 1244 w 10354"/>
                  <a:gd name="connsiteY2093" fmla="*/ 4060 h 10000"/>
                  <a:gd name="connsiteX2094" fmla="*/ 1230 w 10354"/>
                  <a:gd name="connsiteY2094" fmla="*/ 4077 h 10000"/>
                  <a:gd name="connsiteX2095" fmla="*/ 1221 w 10354"/>
                  <a:gd name="connsiteY2095" fmla="*/ 4026 h 10000"/>
                  <a:gd name="connsiteX2096" fmla="*/ 1217 w 10354"/>
                  <a:gd name="connsiteY2096" fmla="*/ 4026 h 10000"/>
                  <a:gd name="connsiteX2097" fmla="*/ 1212 w 10354"/>
                  <a:gd name="connsiteY2097" fmla="*/ 3983 h 10000"/>
                  <a:gd name="connsiteX2098" fmla="*/ 1203 w 10354"/>
                  <a:gd name="connsiteY2098" fmla="*/ 3966 h 10000"/>
                  <a:gd name="connsiteX2099" fmla="*/ 1171 w 10354"/>
                  <a:gd name="connsiteY2099" fmla="*/ 3949 h 10000"/>
                  <a:gd name="connsiteX2100" fmla="*/ 1111 w 10354"/>
                  <a:gd name="connsiteY2100" fmla="*/ 3940 h 10000"/>
                  <a:gd name="connsiteX2101" fmla="*/ 1097 w 10354"/>
                  <a:gd name="connsiteY2101" fmla="*/ 3949 h 10000"/>
                  <a:gd name="connsiteX2102" fmla="*/ 1037 w 10354"/>
                  <a:gd name="connsiteY2102" fmla="*/ 3897 h 10000"/>
                  <a:gd name="connsiteX2103" fmla="*/ 1041 w 10354"/>
                  <a:gd name="connsiteY2103" fmla="*/ 3923 h 10000"/>
                  <a:gd name="connsiteX2104" fmla="*/ 1097 w 10354"/>
                  <a:gd name="connsiteY2104" fmla="*/ 4009 h 10000"/>
                  <a:gd name="connsiteX2105" fmla="*/ 1097 w 10354"/>
                  <a:gd name="connsiteY2105" fmla="*/ 4120 h 10000"/>
                  <a:gd name="connsiteX2106" fmla="*/ 1097 w 10354"/>
                  <a:gd name="connsiteY2106" fmla="*/ 4162 h 10000"/>
                  <a:gd name="connsiteX2107" fmla="*/ 1097 w 10354"/>
                  <a:gd name="connsiteY2107" fmla="*/ 4197 h 10000"/>
                  <a:gd name="connsiteX2108" fmla="*/ 1074 w 10354"/>
                  <a:gd name="connsiteY2108" fmla="*/ 4333 h 10000"/>
                  <a:gd name="connsiteX2109" fmla="*/ 1074 w 10354"/>
                  <a:gd name="connsiteY2109" fmla="*/ 4376 h 10000"/>
                  <a:gd name="connsiteX2110" fmla="*/ 1083 w 10354"/>
                  <a:gd name="connsiteY2110" fmla="*/ 4385 h 10000"/>
                  <a:gd name="connsiteX2111" fmla="*/ 1097 w 10354"/>
                  <a:gd name="connsiteY2111" fmla="*/ 4385 h 10000"/>
                  <a:gd name="connsiteX2112" fmla="*/ 1111 w 10354"/>
                  <a:gd name="connsiteY2112" fmla="*/ 4410 h 10000"/>
                  <a:gd name="connsiteX2113" fmla="*/ 1124 w 10354"/>
                  <a:gd name="connsiteY2113" fmla="*/ 4444 h 10000"/>
                  <a:gd name="connsiteX2114" fmla="*/ 1124 w 10354"/>
                  <a:gd name="connsiteY2114" fmla="*/ 4470 h 10000"/>
                  <a:gd name="connsiteX2115" fmla="*/ 1115 w 10354"/>
                  <a:gd name="connsiteY2115" fmla="*/ 4513 h 10000"/>
                  <a:gd name="connsiteX2116" fmla="*/ 1115 w 10354"/>
                  <a:gd name="connsiteY2116" fmla="*/ 4530 h 10000"/>
                  <a:gd name="connsiteX2117" fmla="*/ 1115 w 10354"/>
                  <a:gd name="connsiteY2117" fmla="*/ 4573 h 10000"/>
                  <a:gd name="connsiteX2118" fmla="*/ 1101 w 10354"/>
                  <a:gd name="connsiteY2118" fmla="*/ 4607 h 10000"/>
                  <a:gd name="connsiteX2119" fmla="*/ 1097 w 10354"/>
                  <a:gd name="connsiteY2119" fmla="*/ 4658 h 10000"/>
                  <a:gd name="connsiteX2120" fmla="*/ 1101 w 10354"/>
                  <a:gd name="connsiteY2120" fmla="*/ 4692 h 10000"/>
                  <a:gd name="connsiteX2121" fmla="*/ 1097 w 10354"/>
                  <a:gd name="connsiteY2121" fmla="*/ 4778 h 10000"/>
                  <a:gd name="connsiteX2122" fmla="*/ 1083 w 10354"/>
                  <a:gd name="connsiteY2122" fmla="*/ 4744 h 10000"/>
                  <a:gd name="connsiteX2123" fmla="*/ 1083 w 10354"/>
                  <a:gd name="connsiteY2123" fmla="*/ 4718 h 10000"/>
                  <a:gd name="connsiteX2124" fmla="*/ 1074 w 10354"/>
                  <a:gd name="connsiteY2124" fmla="*/ 4692 h 10000"/>
                  <a:gd name="connsiteX2125" fmla="*/ 1065 w 10354"/>
                  <a:gd name="connsiteY2125" fmla="*/ 4692 h 10000"/>
                  <a:gd name="connsiteX2126" fmla="*/ 1051 w 10354"/>
                  <a:gd name="connsiteY2126" fmla="*/ 4718 h 10000"/>
                  <a:gd name="connsiteX2127" fmla="*/ 1055 w 10354"/>
                  <a:gd name="connsiteY2127" fmla="*/ 4692 h 10000"/>
                  <a:gd name="connsiteX2128" fmla="*/ 1055 w 10354"/>
                  <a:gd name="connsiteY2128" fmla="*/ 4667 h 10000"/>
                  <a:gd name="connsiteX2129" fmla="*/ 1028 w 10354"/>
                  <a:gd name="connsiteY2129" fmla="*/ 4624 h 10000"/>
                  <a:gd name="connsiteX2130" fmla="*/ 1005 w 10354"/>
                  <a:gd name="connsiteY2130" fmla="*/ 4624 h 10000"/>
                  <a:gd name="connsiteX2131" fmla="*/ 977 w 10354"/>
                  <a:gd name="connsiteY2131" fmla="*/ 4581 h 10000"/>
                  <a:gd name="connsiteX2132" fmla="*/ 963 w 10354"/>
                  <a:gd name="connsiteY2132" fmla="*/ 4607 h 10000"/>
                  <a:gd name="connsiteX2133" fmla="*/ 963 w 10354"/>
                  <a:gd name="connsiteY2133" fmla="*/ 4632 h 10000"/>
                  <a:gd name="connsiteX2134" fmla="*/ 917 w 10354"/>
                  <a:gd name="connsiteY2134" fmla="*/ 4718 h 10000"/>
                  <a:gd name="connsiteX2135" fmla="*/ 889 w 10354"/>
                  <a:gd name="connsiteY2135" fmla="*/ 4744 h 10000"/>
                  <a:gd name="connsiteX2136" fmla="*/ 880 w 10354"/>
                  <a:gd name="connsiteY2136" fmla="*/ 4744 h 10000"/>
                  <a:gd name="connsiteX2137" fmla="*/ 862 w 10354"/>
                  <a:gd name="connsiteY2137" fmla="*/ 4769 h 10000"/>
                  <a:gd name="connsiteX2138" fmla="*/ 857 w 10354"/>
                  <a:gd name="connsiteY2138" fmla="*/ 4795 h 10000"/>
                  <a:gd name="connsiteX2139" fmla="*/ 829 w 10354"/>
                  <a:gd name="connsiteY2139" fmla="*/ 4846 h 10000"/>
                  <a:gd name="connsiteX2140" fmla="*/ 816 w 10354"/>
                  <a:gd name="connsiteY2140" fmla="*/ 4855 h 10000"/>
                  <a:gd name="connsiteX2141" fmla="*/ 816 w 10354"/>
                  <a:gd name="connsiteY2141" fmla="*/ 4940 h 10000"/>
                  <a:gd name="connsiteX2142" fmla="*/ 880 w 10354"/>
                  <a:gd name="connsiteY2142" fmla="*/ 5179 h 10000"/>
                  <a:gd name="connsiteX2143" fmla="*/ 880 w 10354"/>
                  <a:gd name="connsiteY2143" fmla="*/ 5188 h 10000"/>
                  <a:gd name="connsiteX2144" fmla="*/ 862 w 10354"/>
                  <a:gd name="connsiteY2144" fmla="*/ 5171 h 10000"/>
                  <a:gd name="connsiteX2145" fmla="*/ 857 w 10354"/>
                  <a:gd name="connsiteY2145" fmla="*/ 5171 h 10000"/>
                  <a:gd name="connsiteX2146" fmla="*/ 820 w 10354"/>
                  <a:gd name="connsiteY2146" fmla="*/ 5145 h 10000"/>
                  <a:gd name="connsiteX2147" fmla="*/ 820 w 10354"/>
                  <a:gd name="connsiteY2147" fmla="*/ 5154 h 10000"/>
                  <a:gd name="connsiteX2148" fmla="*/ 816 w 10354"/>
                  <a:gd name="connsiteY2148" fmla="*/ 5171 h 10000"/>
                  <a:gd name="connsiteX2149" fmla="*/ 783 w 10354"/>
                  <a:gd name="connsiteY2149" fmla="*/ 5145 h 10000"/>
                  <a:gd name="connsiteX2150" fmla="*/ 756 w 10354"/>
                  <a:gd name="connsiteY2150" fmla="*/ 5103 h 10000"/>
                  <a:gd name="connsiteX2151" fmla="*/ 742 w 10354"/>
                  <a:gd name="connsiteY2151" fmla="*/ 5103 h 10000"/>
                  <a:gd name="connsiteX2152" fmla="*/ 728 w 10354"/>
                  <a:gd name="connsiteY2152" fmla="*/ 5094 h 10000"/>
                  <a:gd name="connsiteX2153" fmla="*/ 710 w 10354"/>
                  <a:gd name="connsiteY2153" fmla="*/ 5120 h 10000"/>
                  <a:gd name="connsiteX2154" fmla="*/ 700 w 10354"/>
                  <a:gd name="connsiteY2154" fmla="*/ 5145 h 10000"/>
                  <a:gd name="connsiteX2155" fmla="*/ 696 w 10354"/>
                  <a:gd name="connsiteY2155" fmla="*/ 5103 h 10000"/>
                  <a:gd name="connsiteX2156" fmla="*/ 714 w 10354"/>
                  <a:gd name="connsiteY2156" fmla="*/ 5077 h 10000"/>
                  <a:gd name="connsiteX2157" fmla="*/ 682 w 10354"/>
                  <a:gd name="connsiteY2157" fmla="*/ 5068 h 10000"/>
                  <a:gd name="connsiteX2158" fmla="*/ 673 w 10354"/>
                  <a:gd name="connsiteY2158" fmla="*/ 5034 h 10000"/>
                  <a:gd name="connsiteX2159" fmla="*/ 636 w 10354"/>
                  <a:gd name="connsiteY2159" fmla="*/ 4991 h 10000"/>
                  <a:gd name="connsiteX2160" fmla="*/ 622 w 10354"/>
                  <a:gd name="connsiteY2160" fmla="*/ 4983 h 10000"/>
                  <a:gd name="connsiteX2161" fmla="*/ 622 w 10354"/>
                  <a:gd name="connsiteY2161" fmla="*/ 5034 h 10000"/>
                  <a:gd name="connsiteX2162" fmla="*/ 608 w 10354"/>
                  <a:gd name="connsiteY2162" fmla="*/ 5051 h 10000"/>
                  <a:gd name="connsiteX2163" fmla="*/ 594 w 10354"/>
                  <a:gd name="connsiteY2163" fmla="*/ 5068 h 10000"/>
                  <a:gd name="connsiteX2164" fmla="*/ 608 w 10354"/>
                  <a:gd name="connsiteY2164" fmla="*/ 5120 h 10000"/>
                  <a:gd name="connsiteX2165" fmla="*/ 613 w 10354"/>
                  <a:gd name="connsiteY2165" fmla="*/ 5128 h 10000"/>
                  <a:gd name="connsiteX2166" fmla="*/ 627 w 10354"/>
                  <a:gd name="connsiteY2166" fmla="*/ 5179 h 10000"/>
                  <a:gd name="connsiteX2167" fmla="*/ 650 w 10354"/>
                  <a:gd name="connsiteY2167" fmla="*/ 5214 h 10000"/>
                  <a:gd name="connsiteX2168" fmla="*/ 687 w 10354"/>
                  <a:gd name="connsiteY2168" fmla="*/ 5188 h 10000"/>
                  <a:gd name="connsiteX2169" fmla="*/ 700 w 10354"/>
                  <a:gd name="connsiteY2169" fmla="*/ 5325 h 10000"/>
                  <a:gd name="connsiteX2170" fmla="*/ 710 w 10354"/>
                  <a:gd name="connsiteY2170" fmla="*/ 5350 h 10000"/>
                  <a:gd name="connsiteX2171" fmla="*/ 687 w 10354"/>
                  <a:gd name="connsiteY2171" fmla="*/ 5325 h 10000"/>
                  <a:gd name="connsiteX2172" fmla="*/ 668 w 10354"/>
                  <a:gd name="connsiteY2172" fmla="*/ 5350 h 10000"/>
                  <a:gd name="connsiteX2173" fmla="*/ 668 w 10354"/>
                  <a:gd name="connsiteY2173" fmla="*/ 5368 h 10000"/>
                  <a:gd name="connsiteX2174" fmla="*/ 668 w 10354"/>
                  <a:gd name="connsiteY2174" fmla="*/ 5376 h 10000"/>
                  <a:gd name="connsiteX2175" fmla="*/ 581 w 10354"/>
                  <a:gd name="connsiteY2175" fmla="*/ 5316 h 10000"/>
                  <a:gd name="connsiteX2176" fmla="*/ 567 w 10354"/>
                  <a:gd name="connsiteY2176" fmla="*/ 5265 h 10000"/>
                  <a:gd name="connsiteX2177" fmla="*/ 562 w 10354"/>
                  <a:gd name="connsiteY2177" fmla="*/ 5256 h 10000"/>
                  <a:gd name="connsiteX2178" fmla="*/ 548 w 10354"/>
                  <a:gd name="connsiteY2178" fmla="*/ 5231 h 10000"/>
                  <a:gd name="connsiteX2179" fmla="*/ 535 w 10354"/>
                  <a:gd name="connsiteY2179" fmla="*/ 5214 h 10000"/>
                  <a:gd name="connsiteX2180" fmla="*/ 525 w 10354"/>
                  <a:gd name="connsiteY2180" fmla="*/ 5231 h 10000"/>
                  <a:gd name="connsiteX2181" fmla="*/ 521 w 10354"/>
                  <a:gd name="connsiteY2181" fmla="*/ 5231 h 10000"/>
                  <a:gd name="connsiteX2182" fmla="*/ 493 w 10354"/>
                  <a:gd name="connsiteY2182" fmla="*/ 5205 h 10000"/>
                  <a:gd name="connsiteX2183" fmla="*/ 488 w 10354"/>
                  <a:gd name="connsiteY2183" fmla="*/ 5179 h 10000"/>
                  <a:gd name="connsiteX2184" fmla="*/ 475 w 10354"/>
                  <a:gd name="connsiteY2184" fmla="*/ 5188 h 10000"/>
                  <a:gd name="connsiteX2185" fmla="*/ 475 w 10354"/>
                  <a:gd name="connsiteY2185" fmla="*/ 5171 h 10000"/>
                  <a:gd name="connsiteX2186" fmla="*/ 488 w 10354"/>
                  <a:gd name="connsiteY2186" fmla="*/ 5154 h 10000"/>
                  <a:gd name="connsiteX2187" fmla="*/ 488 w 10354"/>
                  <a:gd name="connsiteY2187" fmla="*/ 5068 h 10000"/>
                  <a:gd name="connsiteX2188" fmla="*/ 475 w 10354"/>
                  <a:gd name="connsiteY2188" fmla="*/ 5051 h 10000"/>
                  <a:gd name="connsiteX2189" fmla="*/ 475 w 10354"/>
                  <a:gd name="connsiteY2189" fmla="*/ 5017 h 10000"/>
                  <a:gd name="connsiteX2190" fmla="*/ 452 w 10354"/>
                  <a:gd name="connsiteY2190" fmla="*/ 4932 h 10000"/>
                  <a:gd name="connsiteX2191" fmla="*/ 461 w 10354"/>
                  <a:gd name="connsiteY2191" fmla="*/ 4915 h 10000"/>
                  <a:gd name="connsiteX2192" fmla="*/ 475 w 10354"/>
                  <a:gd name="connsiteY2192" fmla="*/ 4906 h 10000"/>
                  <a:gd name="connsiteX2193" fmla="*/ 479 w 10354"/>
                  <a:gd name="connsiteY2193" fmla="*/ 4803 h 10000"/>
                  <a:gd name="connsiteX2194" fmla="*/ 479 w 10354"/>
                  <a:gd name="connsiteY2194" fmla="*/ 4778 h 10000"/>
                  <a:gd name="connsiteX2195" fmla="*/ 475 w 10354"/>
                  <a:gd name="connsiteY2195" fmla="*/ 4761 h 10000"/>
                  <a:gd name="connsiteX2196" fmla="*/ 465 w 10354"/>
                  <a:gd name="connsiteY2196" fmla="*/ 4718 h 10000"/>
                  <a:gd name="connsiteX2197" fmla="*/ 461 w 10354"/>
                  <a:gd name="connsiteY2197" fmla="*/ 4709 h 10000"/>
                  <a:gd name="connsiteX2198" fmla="*/ 442 w 10354"/>
                  <a:gd name="connsiteY2198" fmla="*/ 4692 h 10000"/>
                  <a:gd name="connsiteX2199" fmla="*/ 433 w 10354"/>
                  <a:gd name="connsiteY2199" fmla="*/ 4667 h 10000"/>
                  <a:gd name="connsiteX2200" fmla="*/ 419 w 10354"/>
                  <a:gd name="connsiteY2200" fmla="*/ 4667 h 10000"/>
                  <a:gd name="connsiteX2201" fmla="*/ 401 w 10354"/>
                  <a:gd name="connsiteY2201" fmla="*/ 4658 h 10000"/>
                  <a:gd name="connsiteX2202" fmla="*/ 401 w 10354"/>
                  <a:gd name="connsiteY2202" fmla="*/ 4624 h 10000"/>
                  <a:gd name="connsiteX2203" fmla="*/ 401 w 10354"/>
                  <a:gd name="connsiteY2203" fmla="*/ 4607 h 10000"/>
                  <a:gd name="connsiteX2204" fmla="*/ 378 w 10354"/>
                  <a:gd name="connsiteY2204" fmla="*/ 4607 h 10000"/>
                  <a:gd name="connsiteX2205" fmla="*/ 341 w 10354"/>
                  <a:gd name="connsiteY2205" fmla="*/ 4530 h 10000"/>
                  <a:gd name="connsiteX2206" fmla="*/ 346 w 10354"/>
                  <a:gd name="connsiteY2206" fmla="*/ 4521 h 10000"/>
                  <a:gd name="connsiteX2207" fmla="*/ 332 w 10354"/>
                  <a:gd name="connsiteY2207" fmla="*/ 4487 h 10000"/>
                  <a:gd name="connsiteX2208" fmla="*/ 327 w 10354"/>
                  <a:gd name="connsiteY2208" fmla="*/ 4462 h 10000"/>
                  <a:gd name="connsiteX2209" fmla="*/ 313 w 10354"/>
                  <a:gd name="connsiteY2209" fmla="*/ 4436 h 10000"/>
                  <a:gd name="connsiteX2210" fmla="*/ 300 w 10354"/>
                  <a:gd name="connsiteY2210" fmla="*/ 4419 h 10000"/>
                  <a:gd name="connsiteX2211" fmla="*/ 309 w 10354"/>
                  <a:gd name="connsiteY2211" fmla="*/ 4393 h 10000"/>
                  <a:gd name="connsiteX2212" fmla="*/ 332 w 10354"/>
                  <a:gd name="connsiteY2212" fmla="*/ 4385 h 10000"/>
                  <a:gd name="connsiteX2213" fmla="*/ 355 w 10354"/>
                  <a:gd name="connsiteY2213" fmla="*/ 4419 h 10000"/>
                  <a:gd name="connsiteX2214" fmla="*/ 355 w 10354"/>
                  <a:gd name="connsiteY2214" fmla="*/ 4444 h 10000"/>
                  <a:gd name="connsiteX2215" fmla="*/ 369 w 10354"/>
                  <a:gd name="connsiteY2215" fmla="*/ 4470 h 10000"/>
                  <a:gd name="connsiteX2216" fmla="*/ 401 w 10354"/>
                  <a:gd name="connsiteY2216" fmla="*/ 4521 h 10000"/>
                  <a:gd name="connsiteX2217" fmla="*/ 406 w 10354"/>
                  <a:gd name="connsiteY2217" fmla="*/ 4513 h 10000"/>
                  <a:gd name="connsiteX2218" fmla="*/ 406 w 10354"/>
                  <a:gd name="connsiteY2218" fmla="*/ 4496 h 10000"/>
                  <a:gd name="connsiteX2219" fmla="*/ 419 w 10354"/>
                  <a:gd name="connsiteY2219" fmla="*/ 4521 h 10000"/>
                  <a:gd name="connsiteX2220" fmla="*/ 429 w 10354"/>
                  <a:gd name="connsiteY2220" fmla="*/ 4530 h 10000"/>
                  <a:gd name="connsiteX2221" fmla="*/ 433 w 10354"/>
                  <a:gd name="connsiteY2221" fmla="*/ 4521 h 10000"/>
                  <a:gd name="connsiteX2222" fmla="*/ 442 w 10354"/>
                  <a:gd name="connsiteY2222" fmla="*/ 4530 h 10000"/>
                  <a:gd name="connsiteX2223" fmla="*/ 447 w 10354"/>
                  <a:gd name="connsiteY2223" fmla="*/ 4521 h 10000"/>
                  <a:gd name="connsiteX2224" fmla="*/ 452 w 10354"/>
                  <a:gd name="connsiteY2224" fmla="*/ 4521 h 10000"/>
                  <a:gd name="connsiteX2225" fmla="*/ 461 w 10354"/>
                  <a:gd name="connsiteY2225" fmla="*/ 4573 h 10000"/>
                  <a:gd name="connsiteX2226" fmla="*/ 479 w 10354"/>
                  <a:gd name="connsiteY2226" fmla="*/ 4556 h 10000"/>
                  <a:gd name="connsiteX2227" fmla="*/ 502 w 10354"/>
                  <a:gd name="connsiteY2227" fmla="*/ 4573 h 10000"/>
                  <a:gd name="connsiteX2228" fmla="*/ 507 w 10354"/>
                  <a:gd name="connsiteY2228" fmla="*/ 4598 h 10000"/>
                  <a:gd name="connsiteX2229" fmla="*/ 525 w 10354"/>
                  <a:gd name="connsiteY2229" fmla="*/ 4598 h 10000"/>
                  <a:gd name="connsiteX2230" fmla="*/ 535 w 10354"/>
                  <a:gd name="connsiteY2230" fmla="*/ 4624 h 10000"/>
                  <a:gd name="connsiteX2231" fmla="*/ 594 w 10354"/>
                  <a:gd name="connsiteY2231" fmla="*/ 4658 h 10000"/>
                  <a:gd name="connsiteX2232" fmla="*/ 627 w 10354"/>
                  <a:gd name="connsiteY2232" fmla="*/ 4658 h 10000"/>
                  <a:gd name="connsiteX2233" fmla="*/ 654 w 10354"/>
                  <a:gd name="connsiteY2233" fmla="*/ 4684 h 10000"/>
                  <a:gd name="connsiteX2234" fmla="*/ 668 w 10354"/>
                  <a:gd name="connsiteY2234" fmla="*/ 4709 h 10000"/>
                  <a:gd name="connsiteX2235" fmla="*/ 747 w 10354"/>
                  <a:gd name="connsiteY2235" fmla="*/ 4718 h 10000"/>
                  <a:gd name="connsiteX2236" fmla="*/ 760 w 10354"/>
                  <a:gd name="connsiteY2236" fmla="*/ 4709 h 10000"/>
                  <a:gd name="connsiteX2237" fmla="*/ 774 w 10354"/>
                  <a:gd name="connsiteY2237" fmla="*/ 4692 h 10000"/>
                  <a:gd name="connsiteX2238" fmla="*/ 829 w 10354"/>
                  <a:gd name="connsiteY2238" fmla="*/ 4658 h 10000"/>
                  <a:gd name="connsiteX2239" fmla="*/ 903 w 10354"/>
                  <a:gd name="connsiteY2239" fmla="*/ 4496 h 10000"/>
                  <a:gd name="connsiteX2240" fmla="*/ 917 w 10354"/>
                  <a:gd name="connsiteY2240" fmla="*/ 4385 h 10000"/>
                  <a:gd name="connsiteX2241" fmla="*/ 903 w 10354"/>
                  <a:gd name="connsiteY2241" fmla="*/ 4376 h 10000"/>
                  <a:gd name="connsiteX2242" fmla="*/ 903 w 10354"/>
                  <a:gd name="connsiteY2242" fmla="*/ 4376 h 10000"/>
                  <a:gd name="connsiteX2243" fmla="*/ 889 w 10354"/>
                  <a:gd name="connsiteY2243" fmla="*/ 4239 h 10000"/>
                  <a:gd name="connsiteX2244" fmla="*/ 880 w 10354"/>
                  <a:gd name="connsiteY2244" fmla="*/ 4214 h 10000"/>
                  <a:gd name="connsiteX2245" fmla="*/ 862 w 10354"/>
                  <a:gd name="connsiteY2245" fmla="*/ 4188 h 10000"/>
                  <a:gd name="connsiteX2246" fmla="*/ 857 w 10354"/>
                  <a:gd name="connsiteY2246" fmla="*/ 4197 h 10000"/>
                  <a:gd name="connsiteX2247" fmla="*/ 848 w 10354"/>
                  <a:gd name="connsiteY2247" fmla="*/ 4188 h 10000"/>
                  <a:gd name="connsiteX2248" fmla="*/ 848 w 10354"/>
                  <a:gd name="connsiteY2248" fmla="*/ 4162 h 10000"/>
                  <a:gd name="connsiteX2249" fmla="*/ 829 w 10354"/>
                  <a:gd name="connsiteY2249" fmla="*/ 4120 h 10000"/>
                  <a:gd name="connsiteX2250" fmla="*/ 820 w 10354"/>
                  <a:gd name="connsiteY2250" fmla="*/ 4103 h 10000"/>
                  <a:gd name="connsiteX2251" fmla="*/ 806 w 10354"/>
                  <a:gd name="connsiteY2251" fmla="*/ 4077 h 10000"/>
                  <a:gd name="connsiteX2252" fmla="*/ 816 w 10354"/>
                  <a:gd name="connsiteY2252" fmla="*/ 4111 h 10000"/>
                  <a:gd name="connsiteX2253" fmla="*/ 802 w 10354"/>
                  <a:gd name="connsiteY2253" fmla="*/ 4111 h 10000"/>
                  <a:gd name="connsiteX2254" fmla="*/ 770 w 10354"/>
                  <a:gd name="connsiteY2254" fmla="*/ 4060 h 10000"/>
                  <a:gd name="connsiteX2255" fmla="*/ 760 w 10354"/>
                  <a:gd name="connsiteY2255" fmla="*/ 4077 h 10000"/>
                  <a:gd name="connsiteX2256" fmla="*/ 760 w 10354"/>
                  <a:gd name="connsiteY2256" fmla="*/ 4060 h 10000"/>
                  <a:gd name="connsiteX2257" fmla="*/ 756 w 10354"/>
                  <a:gd name="connsiteY2257" fmla="*/ 4034 h 10000"/>
                  <a:gd name="connsiteX2258" fmla="*/ 742 w 10354"/>
                  <a:gd name="connsiteY2258" fmla="*/ 4000 h 10000"/>
                  <a:gd name="connsiteX2259" fmla="*/ 747 w 10354"/>
                  <a:gd name="connsiteY2259" fmla="*/ 4034 h 10000"/>
                  <a:gd name="connsiteX2260" fmla="*/ 724 w 10354"/>
                  <a:gd name="connsiteY2260" fmla="*/ 4026 h 10000"/>
                  <a:gd name="connsiteX2261" fmla="*/ 714 w 10354"/>
                  <a:gd name="connsiteY2261" fmla="*/ 4000 h 10000"/>
                  <a:gd name="connsiteX2262" fmla="*/ 714 w 10354"/>
                  <a:gd name="connsiteY2262" fmla="*/ 3983 h 10000"/>
                  <a:gd name="connsiteX2263" fmla="*/ 553 w 10354"/>
                  <a:gd name="connsiteY2263" fmla="*/ 3726 h 10000"/>
                  <a:gd name="connsiteX2264" fmla="*/ 507 w 10354"/>
                  <a:gd name="connsiteY2264" fmla="*/ 3718 h 10000"/>
                  <a:gd name="connsiteX2265" fmla="*/ 516 w 10354"/>
                  <a:gd name="connsiteY2265" fmla="*/ 3726 h 10000"/>
                  <a:gd name="connsiteX2266" fmla="*/ 507 w 10354"/>
                  <a:gd name="connsiteY2266" fmla="*/ 3735 h 10000"/>
                  <a:gd name="connsiteX2267" fmla="*/ 502 w 10354"/>
                  <a:gd name="connsiteY2267" fmla="*/ 3735 h 10000"/>
                  <a:gd name="connsiteX2268" fmla="*/ 419 w 10354"/>
                  <a:gd name="connsiteY2268" fmla="*/ 3675 h 10000"/>
                  <a:gd name="connsiteX2269" fmla="*/ 419 w 10354"/>
                  <a:gd name="connsiteY2269" fmla="*/ 3692 h 10000"/>
                  <a:gd name="connsiteX2270" fmla="*/ 401 w 10354"/>
                  <a:gd name="connsiteY2270" fmla="*/ 3701 h 10000"/>
                  <a:gd name="connsiteX2271" fmla="*/ 387 w 10354"/>
                  <a:gd name="connsiteY2271" fmla="*/ 3718 h 10000"/>
                  <a:gd name="connsiteX2272" fmla="*/ 387 w 10354"/>
                  <a:gd name="connsiteY2272" fmla="*/ 3692 h 10000"/>
                  <a:gd name="connsiteX2273" fmla="*/ 378 w 10354"/>
                  <a:gd name="connsiteY2273" fmla="*/ 3675 h 10000"/>
                  <a:gd name="connsiteX2274" fmla="*/ 378 w 10354"/>
                  <a:gd name="connsiteY2274" fmla="*/ 3650 h 10000"/>
                  <a:gd name="connsiteX2275" fmla="*/ 378 w 10354"/>
                  <a:gd name="connsiteY2275" fmla="*/ 3650 h 10000"/>
                  <a:gd name="connsiteX2276" fmla="*/ 355 w 10354"/>
                  <a:gd name="connsiteY2276" fmla="*/ 3675 h 10000"/>
                  <a:gd name="connsiteX2277" fmla="*/ 359 w 10354"/>
                  <a:gd name="connsiteY2277" fmla="*/ 3641 h 10000"/>
                  <a:gd name="connsiteX2278" fmla="*/ 346 w 10354"/>
                  <a:gd name="connsiteY2278" fmla="*/ 3650 h 10000"/>
                  <a:gd name="connsiteX2279" fmla="*/ 355 w 10354"/>
                  <a:gd name="connsiteY2279" fmla="*/ 3624 h 10000"/>
                  <a:gd name="connsiteX2280" fmla="*/ 346 w 10354"/>
                  <a:gd name="connsiteY2280" fmla="*/ 3624 h 10000"/>
                  <a:gd name="connsiteX2281" fmla="*/ 341 w 10354"/>
                  <a:gd name="connsiteY2281" fmla="*/ 3624 h 10000"/>
                  <a:gd name="connsiteX2282" fmla="*/ 318 w 10354"/>
                  <a:gd name="connsiteY2282" fmla="*/ 3641 h 10000"/>
                  <a:gd name="connsiteX2283" fmla="*/ 327 w 10354"/>
                  <a:gd name="connsiteY2283" fmla="*/ 3624 h 10000"/>
                  <a:gd name="connsiteX2284" fmla="*/ 318 w 10354"/>
                  <a:gd name="connsiteY2284" fmla="*/ 3615 h 10000"/>
                  <a:gd name="connsiteX2285" fmla="*/ 318 w 10354"/>
                  <a:gd name="connsiteY2285" fmla="*/ 3598 h 10000"/>
                  <a:gd name="connsiteX2286" fmla="*/ 300 w 10354"/>
                  <a:gd name="connsiteY2286" fmla="*/ 3598 h 10000"/>
                  <a:gd name="connsiteX2287" fmla="*/ 309 w 10354"/>
                  <a:gd name="connsiteY2287" fmla="*/ 3538 h 10000"/>
                  <a:gd name="connsiteX2288" fmla="*/ 313 w 10354"/>
                  <a:gd name="connsiteY2288" fmla="*/ 3564 h 10000"/>
                  <a:gd name="connsiteX2289" fmla="*/ 318 w 10354"/>
                  <a:gd name="connsiteY2289" fmla="*/ 3581 h 10000"/>
                  <a:gd name="connsiteX2290" fmla="*/ 327 w 10354"/>
                  <a:gd name="connsiteY2290" fmla="*/ 3564 h 10000"/>
                  <a:gd name="connsiteX2291" fmla="*/ 332 w 10354"/>
                  <a:gd name="connsiteY2291" fmla="*/ 3590 h 10000"/>
                  <a:gd name="connsiteX2292" fmla="*/ 346 w 10354"/>
                  <a:gd name="connsiteY2292" fmla="*/ 3590 h 10000"/>
                  <a:gd name="connsiteX2293" fmla="*/ 355 w 10354"/>
                  <a:gd name="connsiteY2293" fmla="*/ 3590 h 10000"/>
                  <a:gd name="connsiteX2294" fmla="*/ 369 w 10354"/>
                  <a:gd name="connsiteY2294" fmla="*/ 3556 h 10000"/>
                  <a:gd name="connsiteX2295" fmla="*/ 369 w 10354"/>
                  <a:gd name="connsiteY2295" fmla="*/ 3538 h 10000"/>
                  <a:gd name="connsiteX2296" fmla="*/ 346 w 10354"/>
                  <a:gd name="connsiteY2296" fmla="*/ 3513 h 10000"/>
                  <a:gd name="connsiteX2297" fmla="*/ 341 w 10354"/>
                  <a:gd name="connsiteY2297" fmla="*/ 3530 h 10000"/>
                  <a:gd name="connsiteX2298" fmla="*/ 327 w 10354"/>
                  <a:gd name="connsiteY2298" fmla="*/ 3513 h 10000"/>
                  <a:gd name="connsiteX2299" fmla="*/ 327 w 10354"/>
                  <a:gd name="connsiteY2299" fmla="*/ 3504 h 10000"/>
                  <a:gd name="connsiteX2300" fmla="*/ 295 w 10354"/>
                  <a:gd name="connsiteY2300" fmla="*/ 3462 h 10000"/>
                  <a:gd name="connsiteX2301" fmla="*/ 300 w 10354"/>
                  <a:gd name="connsiteY2301" fmla="*/ 3479 h 10000"/>
                  <a:gd name="connsiteX2302" fmla="*/ 295 w 10354"/>
                  <a:gd name="connsiteY2302" fmla="*/ 3513 h 10000"/>
                  <a:gd name="connsiteX2303" fmla="*/ 286 w 10354"/>
                  <a:gd name="connsiteY2303" fmla="*/ 3513 h 10000"/>
                  <a:gd name="connsiteX2304" fmla="*/ 281 w 10354"/>
                  <a:gd name="connsiteY2304" fmla="*/ 3513 h 10000"/>
                  <a:gd name="connsiteX2305" fmla="*/ 281 w 10354"/>
                  <a:gd name="connsiteY2305" fmla="*/ 3530 h 10000"/>
                  <a:gd name="connsiteX2306" fmla="*/ 281 w 10354"/>
                  <a:gd name="connsiteY2306" fmla="*/ 3556 h 10000"/>
                  <a:gd name="connsiteX2307" fmla="*/ 272 w 10354"/>
                  <a:gd name="connsiteY2307" fmla="*/ 3564 h 10000"/>
                  <a:gd name="connsiteX2308" fmla="*/ 267 w 10354"/>
                  <a:gd name="connsiteY2308" fmla="*/ 3564 h 10000"/>
                  <a:gd name="connsiteX2309" fmla="*/ 253 w 10354"/>
                  <a:gd name="connsiteY2309" fmla="*/ 3538 h 10000"/>
                  <a:gd name="connsiteX2310" fmla="*/ 226 w 10354"/>
                  <a:gd name="connsiteY2310" fmla="*/ 3513 h 10000"/>
                  <a:gd name="connsiteX2311" fmla="*/ 226 w 10354"/>
                  <a:gd name="connsiteY2311" fmla="*/ 3530 h 10000"/>
                  <a:gd name="connsiteX2312" fmla="*/ 226 w 10354"/>
                  <a:gd name="connsiteY2312" fmla="*/ 3530 h 10000"/>
                  <a:gd name="connsiteX2313" fmla="*/ 226 w 10354"/>
                  <a:gd name="connsiteY2313" fmla="*/ 3530 h 10000"/>
                  <a:gd name="connsiteX2314" fmla="*/ 226 w 10354"/>
                  <a:gd name="connsiteY2314" fmla="*/ 3556 h 10000"/>
                  <a:gd name="connsiteX2315" fmla="*/ 221 w 10354"/>
                  <a:gd name="connsiteY2315" fmla="*/ 3598 h 10000"/>
                  <a:gd name="connsiteX2316" fmla="*/ 207 w 10354"/>
                  <a:gd name="connsiteY2316" fmla="*/ 3598 h 10000"/>
                  <a:gd name="connsiteX2317" fmla="*/ 180 w 10354"/>
                  <a:gd name="connsiteY2317" fmla="*/ 3581 h 10000"/>
                  <a:gd name="connsiteX2318" fmla="*/ 171 w 10354"/>
                  <a:gd name="connsiteY2318" fmla="*/ 3641 h 10000"/>
                  <a:gd name="connsiteX2319" fmla="*/ 166 w 10354"/>
                  <a:gd name="connsiteY2319" fmla="*/ 3650 h 10000"/>
                  <a:gd name="connsiteX2320" fmla="*/ 124 w 10354"/>
                  <a:gd name="connsiteY2320" fmla="*/ 3701 h 10000"/>
                  <a:gd name="connsiteX2321" fmla="*/ 124 w 10354"/>
                  <a:gd name="connsiteY2321" fmla="*/ 3718 h 10000"/>
                  <a:gd name="connsiteX2322" fmla="*/ 120 w 10354"/>
                  <a:gd name="connsiteY2322" fmla="*/ 3735 h 10000"/>
                  <a:gd name="connsiteX2323" fmla="*/ 120 w 10354"/>
                  <a:gd name="connsiteY2323" fmla="*/ 3735 h 10000"/>
                  <a:gd name="connsiteX2324" fmla="*/ 111 w 10354"/>
                  <a:gd name="connsiteY2324" fmla="*/ 3761 h 10000"/>
                  <a:gd name="connsiteX2325" fmla="*/ 106 w 10354"/>
                  <a:gd name="connsiteY2325" fmla="*/ 3761 h 10000"/>
                  <a:gd name="connsiteX2326" fmla="*/ 106 w 10354"/>
                  <a:gd name="connsiteY2326" fmla="*/ 3761 h 10000"/>
                  <a:gd name="connsiteX2327" fmla="*/ 74 w 10354"/>
                  <a:gd name="connsiteY2327" fmla="*/ 3829 h 10000"/>
                  <a:gd name="connsiteX2328" fmla="*/ 78 w 10354"/>
                  <a:gd name="connsiteY2328" fmla="*/ 3838 h 10000"/>
                  <a:gd name="connsiteX2329" fmla="*/ 88 w 10354"/>
                  <a:gd name="connsiteY2329" fmla="*/ 3846 h 10000"/>
                  <a:gd name="connsiteX2330" fmla="*/ 65 w 10354"/>
                  <a:gd name="connsiteY2330" fmla="*/ 3923 h 10000"/>
                  <a:gd name="connsiteX2331" fmla="*/ 78 w 10354"/>
                  <a:gd name="connsiteY2331" fmla="*/ 4026 h 10000"/>
                  <a:gd name="connsiteX2332" fmla="*/ 88 w 10354"/>
                  <a:gd name="connsiteY2332" fmla="*/ 4051 h 10000"/>
                  <a:gd name="connsiteX2333" fmla="*/ 92 w 10354"/>
                  <a:gd name="connsiteY2333" fmla="*/ 4060 h 10000"/>
                  <a:gd name="connsiteX2334" fmla="*/ 111 w 10354"/>
                  <a:gd name="connsiteY2334" fmla="*/ 4060 h 10000"/>
                  <a:gd name="connsiteX2335" fmla="*/ 124 w 10354"/>
                  <a:gd name="connsiteY2335" fmla="*/ 4085 h 10000"/>
                  <a:gd name="connsiteX2336" fmla="*/ 166 w 10354"/>
                  <a:gd name="connsiteY2336" fmla="*/ 4197 h 10000"/>
                  <a:gd name="connsiteX2337" fmla="*/ 166 w 10354"/>
                  <a:gd name="connsiteY2337" fmla="*/ 4248 h 10000"/>
                  <a:gd name="connsiteX2338" fmla="*/ 120 w 10354"/>
                  <a:gd name="connsiteY2338" fmla="*/ 4462 h 10000"/>
                  <a:gd name="connsiteX2339" fmla="*/ 120 w 10354"/>
                  <a:gd name="connsiteY2339" fmla="*/ 4513 h 10000"/>
                  <a:gd name="connsiteX2340" fmla="*/ 180 w 10354"/>
                  <a:gd name="connsiteY2340" fmla="*/ 4829 h 10000"/>
                  <a:gd name="connsiteX2341" fmla="*/ 161 w 10354"/>
                  <a:gd name="connsiteY2341" fmla="*/ 4855 h 10000"/>
                  <a:gd name="connsiteX2342" fmla="*/ 152 w 10354"/>
                  <a:gd name="connsiteY2342" fmla="*/ 4940 h 10000"/>
                  <a:gd name="connsiteX2343" fmla="*/ 161 w 10354"/>
                  <a:gd name="connsiteY2343" fmla="*/ 4966 h 10000"/>
                  <a:gd name="connsiteX2344" fmla="*/ 161 w 10354"/>
                  <a:gd name="connsiteY2344" fmla="*/ 5009 h 10000"/>
                  <a:gd name="connsiteX2345" fmla="*/ 152 w 10354"/>
                  <a:gd name="connsiteY2345" fmla="*/ 5034 h 10000"/>
                  <a:gd name="connsiteX2346" fmla="*/ 152 w 10354"/>
                  <a:gd name="connsiteY2346" fmla="*/ 5077 h 10000"/>
                  <a:gd name="connsiteX2347" fmla="*/ 171 w 10354"/>
                  <a:gd name="connsiteY2347" fmla="*/ 5094 h 10000"/>
                  <a:gd name="connsiteX2348" fmla="*/ 180 w 10354"/>
                  <a:gd name="connsiteY2348" fmla="*/ 5128 h 10000"/>
                  <a:gd name="connsiteX2349" fmla="*/ 180 w 10354"/>
                  <a:gd name="connsiteY2349" fmla="*/ 5171 h 10000"/>
                  <a:gd name="connsiteX2350" fmla="*/ 184 w 10354"/>
                  <a:gd name="connsiteY2350" fmla="*/ 5205 h 10000"/>
                  <a:gd name="connsiteX2351" fmla="*/ 207 w 10354"/>
                  <a:gd name="connsiteY2351" fmla="*/ 5239 h 10000"/>
                  <a:gd name="connsiteX2352" fmla="*/ 207 w 10354"/>
                  <a:gd name="connsiteY2352" fmla="*/ 5282 h 10000"/>
                  <a:gd name="connsiteX2353" fmla="*/ 180 w 10354"/>
                  <a:gd name="connsiteY2353" fmla="*/ 5393 h 10000"/>
                  <a:gd name="connsiteX2354" fmla="*/ 194 w 10354"/>
                  <a:gd name="connsiteY2354" fmla="*/ 5427 h 10000"/>
                  <a:gd name="connsiteX2355" fmla="*/ 198 w 10354"/>
                  <a:gd name="connsiteY2355" fmla="*/ 5462 h 10000"/>
                  <a:gd name="connsiteX2356" fmla="*/ 235 w 10354"/>
                  <a:gd name="connsiteY2356" fmla="*/ 5513 h 10000"/>
                  <a:gd name="connsiteX2357" fmla="*/ 240 w 10354"/>
                  <a:gd name="connsiteY2357" fmla="*/ 5556 h 10000"/>
                  <a:gd name="connsiteX2358" fmla="*/ 253 w 10354"/>
                  <a:gd name="connsiteY2358" fmla="*/ 5590 h 10000"/>
                  <a:gd name="connsiteX2359" fmla="*/ 258 w 10354"/>
                  <a:gd name="connsiteY2359" fmla="*/ 5573 h 10000"/>
                  <a:gd name="connsiteX2360" fmla="*/ 258 w 10354"/>
                  <a:gd name="connsiteY2360" fmla="*/ 5667 h 10000"/>
                  <a:gd name="connsiteX2361" fmla="*/ 14 w 10354"/>
                  <a:gd name="connsiteY2361" fmla="*/ 6214 h 10000"/>
                  <a:gd name="connsiteX2362" fmla="*/ 14 w 10354"/>
                  <a:gd name="connsiteY2362" fmla="*/ 6214 h 10000"/>
                  <a:gd name="connsiteX2363" fmla="*/ 37 w 10354"/>
                  <a:gd name="connsiteY2363" fmla="*/ 6214 h 10000"/>
                  <a:gd name="connsiteX2364" fmla="*/ 51 w 10354"/>
                  <a:gd name="connsiteY2364" fmla="*/ 6188 h 10000"/>
                  <a:gd name="connsiteX2365" fmla="*/ 78 w 10354"/>
                  <a:gd name="connsiteY2365" fmla="*/ 6162 h 10000"/>
                  <a:gd name="connsiteX2366" fmla="*/ 78 w 10354"/>
                  <a:gd name="connsiteY2366" fmla="*/ 6188 h 10000"/>
                  <a:gd name="connsiteX2367" fmla="*/ 74 w 10354"/>
                  <a:gd name="connsiteY2367" fmla="*/ 6197 h 10000"/>
                  <a:gd name="connsiteX2368" fmla="*/ 74 w 10354"/>
                  <a:gd name="connsiteY2368" fmla="*/ 6231 h 10000"/>
                  <a:gd name="connsiteX2369" fmla="*/ 74 w 10354"/>
                  <a:gd name="connsiteY2369" fmla="*/ 6214 h 10000"/>
                  <a:gd name="connsiteX2370" fmla="*/ 65 w 10354"/>
                  <a:gd name="connsiteY2370" fmla="*/ 6214 h 10000"/>
                  <a:gd name="connsiteX2371" fmla="*/ 65 w 10354"/>
                  <a:gd name="connsiteY2371" fmla="*/ 6248 h 10000"/>
                  <a:gd name="connsiteX2372" fmla="*/ 74 w 10354"/>
                  <a:gd name="connsiteY2372" fmla="*/ 6256 h 10000"/>
                  <a:gd name="connsiteX2373" fmla="*/ 78 w 10354"/>
                  <a:gd name="connsiteY2373" fmla="*/ 6256 h 10000"/>
                  <a:gd name="connsiteX2374" fmla="*/ 106 w 10354"/>
                  <a:gd name="connsiteY2374" fmla="*/ 6308 h 10000"/>
                  <a:gd name="connsiteX2375" fmla="*/ 138 w 10354"/>
                  <a:gd name="connsiteY2375" fmla="*/ 6299 h 10000"/>
                  <a:gd name="connsiteX2376" fmla="*/ 152 w 10354"/>
                  <a:gd name="connsiteY2376" fmla="*/ 6299 h 10000"/>
                  <a:gd name="connsiteX2377" fmla="*/ 166 w 10354"/>
                  <a:gd name="connsiteY2377" fmla="*/ 6325 h 10000"/>
                  <a:gd name="connsiteX2378" fmla="*/ 166 w 10354"/>
                  <a:gd name="connsiteY2378" fmla="*/ 6333 h 10000"/>
                  <a:gd name="connsiteX2379" fmla="*/ 171 w 10354"/>
                  <a:gd name="connsiteY2379" fmla="*/ 6350 h 10000"/>
                  <a:gd name="connsiteX2380" fmla="*/ 180 w 10354"/>
                  <a:gd name="connsiteY2380" fmla="*/ 6350 h 10000"/>
                  <a:gd name="connsiteX2381" fmla="*/ 180 w 10354"/>
                  <a:gd name="connsiteY2381" fmla="*/ 6359 h 10000"/>
                  <a:gd name="connsiteX2382" fmla="*/ 171 w 10354"/>
                  <a:gd name="connsiteY2382" fmla="*/ 6368 h 10000"/>
                  <a:gd name="connsiteX2383" fmla="*/ 106 w 10354"/>
                  <a:gd name="connsiteY2383" fmla="*/ 6350 h 10000"/>
                  <a:gd name="connsiteX2384" fmla="*/ 101 w 10354"/>
                  <a:gd name="connsiteY2384" fmla="*/ 6359 h 10000"/>
                  <a:gd name="connsiteX2385" fmla="*/ 101 w 10354"/>
                  <a:gd name="connsiteY2385" fmla="*/ 6385 h 10000"/>
                  <a:gd name="connsiteX2386" fmla="*/ 78 w 10354"/>
                  <a:gd name="connsiteY2386" fmla="*/ 6393 h 10000"/>
                  <a:gd name="connsiteX2387" fmla="*/ 74 w 10354"/>
                  <a:gd name="connsiteY2387" fmla="*/ 6385 h 10000"/>
                  <a:gd name="connsiteX2388" fmla="*/ 65 w 10354"/>
                  <a:gd name="connsiteY2388" fmla="*/ 6393 h 10000"/>
                  <a:gd name="connsiteX2389" fmla="*/ 60 w 10354"/>
                  <a:gd name="connsiteY2389" fmla="*/ 6419 h 10000"/>
                  <a:gd name="connsiteX2390" fmla="*/ 51 w 10354"/>
                  <a:gd name="connsiteY2390" fmla="*/ 6419 h 10000"/>
                  <a:gd name="connsiteX2391" fmla="*/ 46 w 10354"/>
                  <a:gd name="connsiteY2391" fmla="*/ 6410 h 10000"/>
                  <a:gd name="connsiteX2392" fmla="*/ 37 w 10354"/>
                  <a:gd name="connsiteY2392" fmla="*/ 6393 h 10000"/>
                  <a:gd name="connsiteX2393" fmla="*/ 32 w 10354"/>
                  <a:gd name="connsiteY2393" fmla="*/ 6419 h 10000"/>
                  <a:gd name="connsiteX2394" fmla="*/ 37 w 10354"/>
                  <a:gd name="connsiteY2394" fmla="*/ 6462 h 10000"/>
                  <a:gd name="connsiteX2395" fmla="*/ 46 w 10354"/>
                  <a:gd name="connsiteY2395" fmla="*/ 6462 h 10000"/>
                  <a:gd name="connsiteX2396" fmla="*/ 51 w 10354"/>
                  <a:gd name="connsiteY2396" fmla="*/ 6470 h 10000"/>
                  <a:gd name="connsiteX2397" fmla="*/ 51 w 10354"/>
                  <a:gd name="connsiteY2397" fmla="*/ 6496 h 10000"/>
                  <a:gd name="connsiteX2398" fmla="*/ 51 w 10354"/>
                  <a:gd name="connsiteY2398" fmla="*/ 6504 h 10000"/>
                  <a:gd name="connsiteX2399" fmla="*/ 37 w 10354"/>
                  <a:gd name="connsiteY2399" fmla="*/ 6530 h 10000"/>
                  <a:gd name="connsiteX2400" fmla="*/ 18 w 10354"/>
                  <a:gd name="connsiteY2400" fmla="*/ 6598 h 10000"/>
                  <a:gd name="connsiteX2401" fmla="*/ 28 w 10354"/>
                  <a:gd name="connsiteY2401" fmla="*/ 6632 h 10000"/>
                  <a:gd name="connsiteX2402" fmla="*/ 18 w 10354"/>
                  <a:gd name="connsiteY2402" fmla="*/ 6667 h 10000"/>
                  <a:gd name="connsiteX2403" fmla="*/ 28 w 10354"/>
                  <a:gd name="connsiteY2403" fmla="*/ 6692 h 10000"/>
                  <a:gd name="connsiteX2404" fmla="*/ 28 w 10354"/>
                  <a:gd name="connsiteY2404" fmla="*/ 6709 h 10000"/>
                  <a:gd name="connsiteX2405" fmla="*/ 18 w 10354"/>
                  <a:gd name="connsiteY2405" fmla="*/ 6718 h 10000"/>
                  <a:gd name="connsiteX2406" fmla="*/ 5 w 10354"/>
                  <a:gd name="connsiteY2406" fmla="*/ 6744 h 10000"/>
                  <a:gd name="connsiteX2407" fmla="*/ 0 w 10354"/>
                  <a:gd name="connsiteY2407" fmla="*/ 6769 h 10000"/>
                  <a:gd name="connsiteX2408" fmla="*/ 5 w 10354"/>
                  <a:gd name="connsiteY2408" fmla="*/ 6778 h 10000"/>
                  <a:gd name="connsiteX2409" fmla="*/ 32 w 10354"/>
                  <a:gd name="connsiteY2409" fmla="*/ 6778 h 10000"/>
                  <a:gd name="connsiteX2410" fmla="*/ 46 w 10354"/>
                  <a:gd name="connsiteY2410" fmla="*/ 6821 h 10000"/>
                  <a:gd name="connsiteX2411" fmla="*/ 46 w 10354"/>
                  <a:gd name="connsiteY2411" fmla="*/ 6855 h 10000"/>
                  <a:gd name="connsiteX2412" fmla="*/ 32 w 10354"/>
                  <a:gd name="connsiteY2412" fmla="*/ 6855 h 10000"/>
                  <a:gd name="connsiteX2413" fmla="*/ 14 w 10354"/>
                  <a:gd name="connsiteY2413" fmla="*/ 6821 h 10000"/>
                  <a:gd name="connsiteX2414" fmla="*/ 14 w 10354"/>
                  <a:gd name="connsiteY2414" fmla="*/ 6846 h 10000"/>
                  <a:gd name="connsiteX2415" fmla="*/ 0 w 10354"/>
                  <a:gd name="connsiteY2415" fmla="*/ 6897 h 10000"/>
                  <a:gd name="connsiteX2416" fmla="*/ 0 w 10354"/>
                  <a:gd name="connsiteY2416" fmla="*/ 6915 h 10000"/>
                  <a:gd name="connsiteX2417" fmla="*/ 5 w 10354"/>
                  <a:gd name="connsiteY2417" fmla="*/ 6932 h 10000"/>
                  <a:gd name="connsiteX2418" fmla="*/ 14 w 10354"/>
                  <a:gd name="connsiteY2418" fmla="*/ 6940 h 10000"/>
                  <a:gd name="connsiteX2419" fmla="*/ 18 w 10354"/>
                  <a:gd name="connsiteY2419" fmla="*/ 6957 h 10000"/>
                  <a:gd name="connsiteX2420" fmla="*/ 28 w 10354"/>
                  <a:gd name="connsiteY2420" fmla="*/ 6966 h 10000"/>
                  <a:gd name="connsiteX2421" fmla="*/ 28 w 10354"/>
                  <a:gd name="connsiteY2421" fmla="*/ 6983 h 10000"/>
                  <a:gd name="connsiteX2422" fmla="*/ 18 w 10354"/>
                  <a:gd name="connsiteY2422" fmla="*/ 7051 h 10000"/>
                  <a:gd name="connsiteX2423" fmla="*/ 28 w 10354"/>
                  <a:gd name="connsiteY2423" fmla="*/ 7068 h 10000"/>
                  <a:gd name="connsiteX2424" fmla="*/ 32 w 10354"/>
                  <a:gd name="connsiteY2424" fmla="*/ 7068 h 10000"/>
                  <a:gd name="connsiteX2425" fmla="*/ 32 w 10354"/>
                  <a:gd name="connsiteY2425" fmla="*/ 7094 h 10000"/>
                  <a:gd name="connsiteX2426" fmla="*/ 60 w 10354"/>
                  <a:gd name="connsiteY2426" fmla="*/ 7162 h 10000"/>
                  <a:gd name="connsiteX2427" fmla="*/ 60 w 10354"/>
                  <a:gd name="connsiteY2427" fmla="*/ 7231 h 10000"/>
                  <a:gd name="connsiteX2428" fmla="*/ 60 w 10354"/>
                  <a:gd name="connsiteY2428" fmla="*/ 7239 h 10000"/>
                  <a:gd name="connsiteX2429" fmla="*/ 78 w 10354"/>
                  <a:gd name="connsiteY2429" fmla="*/ 7239 h 10000"/>
                  <a:gd name="connsiteX2430" fmla="*/ 88 w 10354"/>
                  <a:gd name="connsiteY2430" fmla="*/ 7239 h 10000"/>
                  <a:gd name="connsiteX2431" fmla="*/ 92 w 10354"/>
                  <a:gd name="connsiteY2431" fmla="*/ 7256 h 10000"/>
                  <a:gd name="connsiteX2432" fmla="*/ 111 w 10354"/>
                  <a:gd name="connsiteY2432" fmla="*/ 7256 h 10000"/>
                  <a:gd name="connsiteX2433" fmla="*/ 120 w 10354"/>
                  <a:gd name="connsiteY2433" fmla="*/ 7256 h 10000"/>
                  <a:gd name="connsiteX2434" fmla="*/ 134 w 10354"/>
                  <a:gd name="connsiteY2434" fmla="*/ 7282 h 10000"/>
                  <a:gd name="connsiteX2435" fmla="*/ 134 w 10354"/>
                  <a:gd name="connsiteY2435" fmla="*/ 7316 h 10000"/>
                  <a:gd name="connsiteX2436" fmla="*/ 152 w 10354"/>
                  <a:gd name="connsiteY2436" fmla="*/ 7299 h 10000"/>
                  <a:gd name="connsiteX2437" fmla="*/ 161 w 10354"/>
                  <a:gd name="connsiteY2437" fmla="*/ 7299 h 10000"/>
                  <a:gd name="connsiteX2438" fmla="*/ 166 w 10354"/>
                  <a:gd name="connsiteY2438" fmla="*/ 7291 h 10000"/>
                  <a:gd name="connsiteX2439" fmla="*/ 194 w 10354"/>
                  <a:gd name="connsiteY2439" fmla="*/ 7291 h 10000"/>
                  <a:gd name="connsiteX2440" fmla="*/ 207 w 10354"/>
                  <a:gd name="connsiteY2440" fmla="*/ 7299 h 10000"/>
                  <a:gd name="connsiteX2441" fmla="*/ 221 w 10354"/>
                  <a:gd name="connsiteY2441" fmla="*/ 7342 h 10000"/>
                  <a:gd name="connsiteX2442" fmla="*/ 235 w 10354"/>
                  <a:gd name="connsiteY2442" fmla="*/ 7342 h 10000"/>
                  <a:gd name="connsiteX2443" fmla="*/ 235 w 10354"/>
                  <a:gd name="connsiteY2443" fmla="*/ 7368 h 10000"/>
                  <a:gd name="connsiteX2444" fmla="*/ 226 w 10354"/>
                  <a:gd name="connsiteY2444" fmla="*/ 7393 h 10000"/>
                  <a:gd name="connsiteX2445" fmla="*/ 226 w 10354"/>
                  <a:gd name="connsiteY2445" fmla="*/ 7402 h 10000"/>
                  <a:gd name="connsiteX2446" fmla="*/ 235 w 10354"/>
                  <a:gd name="connsiteY2446" fmla="*/ 7419 h 10000"/>
                  <a:gd name="connsiteX2447" fmla="*/ 240 w 10354"/>
                  <a:gd name="connsiteY2447" fmla="*/ 7436 h 10000"/>
                  <a:gd name="connsiteX2448" fmla="*/ 235 w 10354"/>
                  <a:gd name="connsiteY2448" fmla="*/ 7462 h 10000"/>
                  <a:gd name="connsiteX2449" fmla="*/ 226 w 10354"/>
                  <a:gd name="connsiteY2449" fmla="*/ 7479 h 10000"/>
                  <a:gd name="connsiteX2450" fmla="*/ 226 w 10354"/>
                  <a:gd name="connsiteY2450" fmla="*/ 7504 h 10000"/>
                  <a:gd name="connsiteX2451" fmla="*/ 226 w 10354"/>
                  <a:gd name="connsiteY2451" fmla="*/ 7513 h 10000"/>
                  <a:gd name="connsiteX2452" fmla="*/ 240 w 10354"/>
                  <a:gd name="connsiteY2452" fmla="*/ 7538 h 10000"/>
                  <a:gd name="connsiteX2453" fmla="*/ 267 w 10354"/>
                  <a:gd name="connsiteY2453" fmla="*/ 7641 h 10000"/>
                  <a:gd name="connsiteX2454" fmla="*/ 281 w 10354"/>
                  <a:gd name="connsiteY2454" fmla="*/ 7667 h 10000"/>
                  <a:gd name="connsiteX2455" fmla="*/ 286 w 10354"/>
                  <a:gd name="connsiteY2455" fmla="*/ 7675 h 10000"/>
                  <a:gd name="connsiteX2456" fmla="*/ 286 w 10354"/>
                  <a:gd name="connsiteY2456" fmla="*/ 7692 h 10000"/>
                  <a:gd name="connsiteX2457" fmla="*/ 286 w 10354"/>
                  <a:gd name="connsiteY2457" fmla="*/ 7709 h 10000"/>
                  <a:gd name="connsiteX2458" fmla="*/ 295 w 10354"/>
                  <a:gd name="connsiteY2458" fmla="*/ 7726 h 10000"/>
                  <a:gd name="connsiteX2459" fmla="*/ 318 w 10354"/>
                  <a:gd name="connsiteY2459" fmla="*/ 7709 h 10000"/>
                  <a:gd name="connsiteX2460" fmla="*/ 327 w 10354"/>
                  <a:gd name="connsiteY2460" fmla="*/ 7726 h 10000"/>
                  <a:gd name="connsiteX2461" fmla="*/ 341 w 10354"/>
                  <a:gd name="connsiteY2461" fmla="*/ 7735 h 10000"/>
                  <a:gd name="connsiteX2462" fmla="*/ 332 w 10354"/>
                  <a:gd name="connsiteY2462" fmla="*/ 7752 h 10000"/>
                  <a:gd name="connsiteX2463" fmla="*/ 341 w 10354"/>
                  <a:gd name="connsiteY2463" fmla="*/ 7761 h 10000"/>
                  <a:gd name="connsiteX2464" fmla="*/ 355 w 10354"/>
                  <a:gd name="connsiteY2464" fmla="*/ 7761 h 10000"/>
                  <a:gd name="connsiteX2465" fmla="*/ 355 w 10354"/>
                  <a:gd name="connsiteY2465" fmla="*/ 7803 h 10000"/>
                  <a:gd name="connsiteX2466" fmla="*/ 313 w 10354"/>
                  <a:gd name="connsiteY2466" fmla="*/ 7846 h 10000"/>
                  <a:gd name="connsiteX2467" fmla="*/ 295 w 10354"/>
                  <a:gd name="connsiteY2467" fmla="*/ 7846 h 10000"/>
                  <a:gd name="connsiteX2468" fmla="*/ 281 w 10354"/>
                  <a:gd name="connsiteY2468" fmla="*/ 7821 h 10000"/>
                  <a:gd name="connsiteX2469" fmla="*/ 272 w 10354"/>
                  <a:gd name="connsiteY2469" fmla="*/ 7821 h 10000"/>
                  <a:gd name="connsiteX2470" fmla="*/ 267 w 10354"/>
                  <a:gd name="connsiteY2470" fmla="*/ 7838 h 10000"/>
                  <a:gd name="connsiteX2471" fmla="*/ 258 w 10354"/>
                  <a:gd name="connsiteY2471" fmla="*/ 7846 h 10000"/>
                  <a:gd name="connsiteX2472" fmla="*/ 253 w 10354"/>
                  <a:gd name="connsiteY2472" fmla="*/ 7863 h 10000"/>
                  <a:gd name="connsiteX2473" fmla="*/ 253 w 10354"/>
                  <a:gd name="connsiteY2473" fmla="*/ 7872 h 10000"/>
                  <a:gd name="connsiteX2474" fmla="*/ 267 w 10354"/>
                  <a:gd name="connsiteY2474" fmla="*/ 7897 h 10000"/>
                  <a:gd name="connsiteX2475" fmla="*/ 272 w 10354"/>
                  <a:gd name="connsiteY2475" fmla="*/ 7915 h 10000"/>
                  <a:gd name="connsiteX2476" fmla="*/ 267 w 10354"/>
                  <a:gd name="connsiteY2476" fmla="*/ 7940 h 10000"/>
                  <a:gd name="connsiteX2477" fmla="*/ 272 w 10354"/>
                  <a:gd name="connsiteY2477" fmla="*/ 7949 h 10000"/>
                  <a:gd name="connsiteX2478" fmla="*/ 272 w 10354"/>
                  <a:gd name="connsiteY2478" fmla="*/ 7957 h 10000"/>
                  <a:gd name="connsiteX2479" fmla="*/ 281 w 10354"/>
                  <a:gd name="connsiteY2479" fmla="*/ 7974 h 10000"/>
                  <a:gd name="connsiteX2480" fmla="*/ 286 w 10354"/>
                  <a:gd name="connsiteY2480" fmla="*/ 7983 h 10000"/>
                  <a:gd name="connsiteX2481" fmla="*/ 281 w 10354"/>
                  <a:gd name="connsiteY2481" fmla="*/ 8009 h 10000"/>
                  <a:gd name="connsiteX2482" fmla="*/ 286 w 10354"/>
                  <a:gd name="connsiteY2482" fmla="*/ 8060 h 10000"/>
                  <a:gd name="connsiteX2483" fmla="*/ 286 w 10354"/>
                  <a:gd name="connsiteY2483" fmla="*/ 8060 h 10000"/>
                  <a:gd name="connsiteX2484" fmla="*/ 295 w 10354"/>
                  <a:gd name="connsiteY2484" fmla="*/ 8077 h 10000"/>
                  <a:gd name="connsiteX2485" fmla="*/ 309 w 10354"/>
                  <a:gd name="connsiteY2485" fmla="*/ 8077 h 10000"/>
                  <a:gd name="connsiteX2486" fmla="*/ 313 w 10354"/>
                  <a:gd name="connsiteY2486" fmla="*/ 8060 h 10000"/>
                  <a:gd name="connsiteX2487" fmla="*/ 318 w 10354"/>
                  <a:gd name="connsiteY2487" fmla="*/ 8051 h 10000"/>
                  <a:gd name="connsiteX2488" fmla="*/ 318 w 10354"/>
                  <a:gd name="connsiteY2488" fmla="*/ 8034 h 10000"/>
                  <a:gd name="connsiteX2489" fmla="*/ 332 w 10354"/>
                  <a:gd name="connsiteY2489" fmla="*/ 8026 h 10000"/>
                  <a:gd name="connsiteX2490" fmla="*/ 359 w 10354"/>
                  <a:gd name="connsiteY2490" fmla="*/ 8034 h 10000"/>
                  <a:gd name="connsiteX2491" fmla="*/ 378 w 10354"/>
                  <a:gd name="connsiteY2491" fmla="*/ 8026 h 10000"/>
                  <a:gd name="connsiteX2492" fmla="*/ 401 w 10354"/>
                  <a:gd name="connsiteY2492" fmla="*/ 8026 h 10000"/>
                  <a:gd name="connsiteX2493" fmla="*/ 419 w 10354"/>
                  <a:gd name="connsiteY2493" fmla="*/ 8009 h 10000"/>
                  <a:gd name="connsiteX2494" fmla="*/ 433 w 10354"/>
                  <a:gd name="connsiteY2494" fmla="*/ 8034 h 10000"/>
                  <a:gd name="connsiteX2495" fmla="*/ 442 w 10354"/>
                  <a:gd name="connsiteY2495" fmla="*/ 8060 h 10000"/>
                  <a:gd name="connsiteX2496" fmla="*/ 442 w 10354"/>
                  <a:gd name="connsiteY2496" fmla="*/ 8077 h 10000"/>
                  <a:gd name="connsiteX2497" fmla="*/ 461 w 10354"/>
                  <a:gd name="connsiteY2497" fmla="*/ 8111 h 10000"/>
                  <a:gd name="connsiteX2498" fmla="*/ 461 w 10354"/>
                  <a:gd name="connsiteY2498" fmla="*/ 8137 h 10000"/>
                  <a:gd name="connsiteX2499" fmla="*/ 447 w 10354"/>
                  <a:gd name="connsiteY2499" fmla="*/ 8145 h 10000"/>
                  <a:gd name="connsiteX2500" fmla="*/ 442 w 10354"/>
                  <a:gd name="connsiteY2500" fmla="*/ 8145 h 10000"/>
                  <a:gd name="connsiteX2501" fmla="*/ 442 w 10354"/>
                  <a:gd name="connsiteY2501" fmla="*/ 8162 h 10000"/>
                  <a:gd name="connsiteX2502" fmla="*/ 442 w 10354"/>
                  <a:gd name="connsiteY2502" fmla="*/ 8171 h 10000"/>
                  <a:gd name="connsiteX2503" fmla="*/ 447 w 10354"/>
                  <a:gd name="connsiteY2503" fmla="*/ 8214 h 10000"/>
                  <a:gd name="connsiteX2504" fmla="*/ 465 w 10354"/>
                  <a:gd name="connsiteY2504" fmla="*/ 8231 h 10000"/>
                  <a:gd name="connsiteX2505" fmla="*/ 488 w 10354"/>
                  <a:gd name="connsiteY2505" fmla="*/ 8231 h 10000"/>
                  <a:gd name="connsiteX2506" fmla="*/ 493 w 10354"/>
                  <a:gd name="connsiteY2506" fmla="*/ 8231 h 10000"/>
                  <a:gd name="connsiteX2507" fmla="*/ 502 w 10354"/>
                  <a:gd name="connsiteY2507" fmla="*/ 8231 h 10000"/>
                  <a:gd name="connsiteX2508" fmla="*/ 507 w 10354"/>
                  <a:gd name="connsiteY2508" fmla="*/ 8248 h 10000"/>
                  <a:gd name="connsiteX2509" fmla="*/ 521 w 10354"/>
                  <a:gd name="connsiteY2509" fmla="*/ 8274 h 10000"/>
                  <a:gd name="connsiteX2510" fmla="*/ 525 w 10354"/>
                  <a:gd name="connsiteY2510" fmla="*/ 8333 h 10000"/>
                  <a:gd name="connsiteX2511" fmla="*/ 525 w 10354"/>
                  <a:gd name="connsiteY2511" fmla="*/ 8359 h 10000"/>
                  <a:gd name="connsiteX2512" fmla="*/ 525 w 10354"/>
                  <a:gd name="connsiteY2512" fmla="*/ 8368 h 10000"/>
                  <a:gd name="connsiteX2513" fmla="*/ 548 w 10354"/>
                  <a:gd name="connsiteY2513" fmla="*/ 8393 h 10000"/>
                  <a:gd name="connsiteX2514" fmla="*/ 553 w 10354"/>
                  <a:gd name="connsiteY2514" fmla="*/ 8385 h 10000"/>
                  <a:gd name="connsiteX2515" fmla="*/ 562 w 10354"/>
                  <a:gd name="connsiteY2515" fmla="*/ 8385 h 10000"/>
                  <a:gd name="connsiteX2516" fmla="*/ 576 w 10354"/>
                  <a:gd name="connsiteY2516" fmla="*/ 8385 h 10000"/>
                  <a:gd name="connsiteX2517" fmla="*/ 585 w 10354"/>
                  <a:gd name="connsiteY2517" fmla="*/ 8410 h 10000"/>
                  <a:gd name="connsiteX2518" fmla="*/ 594 w 10354"/>
                  <a:gd name="connsiteY2518" fmla="*/ 8410 h 10000"/>
                  <a:gd name="connsiteX2519" fmla="*/ 608 w 10354"/>
                  <a:gd name="connsiteY2519" fmla="*/ 8410 h 10000"/>
                  <a:gd name="connsiteX2520" fmla="*/ 654 w 10354"/>
                  <a:gd name="connsiteY2520" fmla="*/ 8385 h 10000"/>
                  <a:gd name="connsiteX2521" fmla="*/ 659 w 10354"/>
                  <a:gd name="connsiteY2521" fmla="*/ 8385 h 10000"/>
                  <a:gd name="connsiteX2522" fmla="*/ 696 w 10354"/>
                  <a:gd name="connsiteY2522" fmla="*/ 8470 h 10000"/>
                  <a:gd name="connsiteX2523" fmla="*/ 700 w 10354"/>
                  <a:gd name="connsiteY2523" fmla="*/ 8470 h 10000"/>
                  <a:gd name="connsiteX2524" fmla="*/ 710 w 10354"/>
                  <a:gd name="connsiteY2524" fmla="*/ 8462 h 10000"/>
                  <a:gd name="connsiteX2525" fmla="*/ 714 w 10354"/>
                  <a:gd name="connsiteY2525" fmla="*/ 8462 h 10000"/>
                  <a:gd name="connsiteX2526" fmla="*/ 724 w 10354"/>
                  <a:gd name="connsiteY2526" fmla="*/ 8470 h 10000"/>
                  <a:gd name="connsiteX2527" fmla="*/ 733 w 10354"/>
                  <a:gd name="connsiteY2527" fmla="*/ 8470 h 10000"/>
                  <a:gd name="connsiteX2528" fmla="*/ 742 w 10354"/>
                  <a:gd name="connsiteY2528" fmla="*/ 8487 h 10000"/>
                  <a:gd name="connsiteX2529" fmla="*/ 747 w 10354"/>
                  <a:gd name="connsiteY2529" fmla="*/ 8496 h 10000"/>
                  <a:gd name="connsiteX2530" fmla="*/ 770 w 10354"/>
                  <a:gd name="connsiteY2530" fmla="*/ 8496 h 10000"/>
                  <a:gd name="connsiteX2531" fmla="*/ 783 w 10354"/>
                  <a:gd name="connsiteY2531" fmla="*/ 8521 h 10000"/>
                  <a:gd name="connsiteX2532" fmla="*/ 797 w 10354"/>
                  <a:gd name="connsiteY2532" fmla="*/ 8521 h 10000"/>
                  <a:gd name="connsiteX2533" fmla="*/ 806 w 10354"/>
                  <a:gd name="connsiteY2533" fmla="*/ 8530 h 10000"/>
                  <a:gd name="connsiteX2534" fmla="*/ 829 w 10354"/>
                  <a:gd name="connsiteY2534" fmla="*/ 8547 h 10000"/>
                  <a:gd name="connsiteX2535" fmla="*/ 834 w 10354"/>
                  <a:gd name="connsiteY2535" fmla="*/ 8556 h 10000"/>
                  <a:gd name="connsiteX2536" fmla="*/ 829 w 10354"/>
                  <a:gd name="connsiteY2536" fmla="*/ 8556 h 10000"/>
                  <a:gd name="connsiteX2537" fmla="*/ 834 w 10354"/>
                  <a:gd name="connsiteY2537" fmla="*/ 8607 h 10000"/>
                  <a:gd name="connsiteX2538" fmla="*/ 829 w 10354"/>
                  <a:gd name="connsiteY2538" fmla="*/ 8641 h 10000"/>
                  <a:gd name="connsiteX2539" fmla="*/ 806 w 10354"/>
                  <a:gd name="connsiteY2539" fmla="*/ 8658 h 10000"/>
                  <a:gd name="connsiteX2540" fmla="*/ 816 w 10354"/>
                  <a:gd name="connsiteY2540" fmla="*/ 8667 h 10000"/>
                  <a:gd name="connsiteX2541" fmla="*/ 820 w 10354"/>
                  <a:gd name="connsiteY2541" fmla="*/ 8667 h 10000"/>
                  <a:gd name="connsiteX2542" fmla="*/ 829 w 10354"/>
                  <a:gd name="connsiteY2542" fmla="*/ 8684 h 10000"/>
                  <a:gd name="connsiteX2543" fmla="*/ 806 w 10354"/>
                  <a:gd name="connsiteY2543" fmla="*/ 8692 h 10000"/>
                  <a:gd name="connsiteX2544" fmla="*/ 802 w 10354"/>
                  <a:gd name="connsiteY2544" fmla="*/ 8709 h 10000"/>
                  <a:gd name="connsiteX2545" fmla="*/ 802 w 10354"/>
                  <a:gd name="connsiteY2545" fmla="*/ 8735 h 10000"/>
                  <a:gd name="connsiteX2546" fmla="*/ 806 w 10354"/>
                  <a:gd name="connsiteY2546" fmla="*/ 8744 h 10000"/>
                  <a:gd name="connsiteX2547" fmla="*/ 816 w 10354"/>
                  <a:gd name="connsiteY2547" fmla="*/ 8752 h 10000"/>
                  <a:gd name="connsiteX2548" fmla="*/ 806 w 10354"/>
                  <a:gd name="connsiteY2548" fmla="*/ 8778 h 10000"/>
                  <a:gd name="connsiteX2549" fmla="*/ 820 w 10354"/>
                  <a:gd name="connsiteY2549" fmla="*/ 8778 h 10000"/>
                  <a:gd name="connsiteX2550" fmla="*/ 806 w 10354"/>
                  <a:gd name="connsiteY2550" fmla="*/ 8880 h 10000"/>
                  <a:gd name="connsiteX2551" fmla="*/ 797 w 10354"/>
                  <a:gd name="connsiteY2551" fmla="*/ 8880 h 10000"/>
                  <a:gd name="connsiteX2552" fmla="*/ 783 w 10354"/>
                  <a:gd name="connsiteY2552" fmla="*/ 8872 h 10000"/>
                  <a:gd name="connsiteX2553" fmla="*/ 770 w 10354"/>
                  <a:gd name="connsiteY2553" fmla="*/ 8880 h 10000"/>
                  <a:gd name="connsiteX2554" fmla="*/ 756 w 10354"/>
                  <a:gd name="connsiteY2554" fmla="*/ 8855 h 10000"/>
                  <a:gd name="connsiteX2555" fmla="*/ 733 w 10354"/>
                  <a:gd name="connsiteY2555" fmla="*/ 8906 h 10000"/>
                  <a:gd name="connsiteX2556" fmla="*/ 714 w 10354"/>
                  <a:gd name="connsiteY2556" fmla="*/ 8915 h 10000"/>
                  <a:gd name="connsiteX2557" fmla="*/ 710 w 10354"/>
                  <a:gd name="connsiteY2557" fmla="*/ 8940 h 10000"/>
                  <a:gd name="connsiteX2558" fmla="*/ 710 w 10354"/>
                  <a:gd name="connsiteY2558" fmla="*/ 9009 h 10000"/>
                  <a:gd name="connsiteX2559" fmla="*/ 728 w 10354"/>
                  <a:gd name="connsiteY2559" fmla="*/ 8991 h 10000"/>
                  <a:gd name="connsiteX2560" fmla="*/ 733 w 10354"/>
                  <a:gd name="connsiteY2560" fmla="*/ 8991 h 10000"/>
                  <a:gd name="connsiteX2561" fmla="*/ 747 w 10354"/>
                  <a:gd name="connsiteY2561" fmla="*/ 8983 h 10000"/>
                  <a:gd name="connsiteX2562" fmla="*/ 760 w 10354"/>
                  <a:gd name="connsiteY2562" fmla="*/ 8983 h 10000"/>
                  <a:gd name="connsiteX2563" fmla="*/ 770 w 10354"/>
                  <a:gd name="connsiteY2563" fmla="*/ 8983 h 10000"/>
                  <a:gd name="connsiteX2564" fmla="*/ 770 w 10354"/>
                  <a:gd name="connsiteY2564" fmla="*/ 8991 h 10000"/>
                  <a:gd name="connsiteX2565" fmla="*/ 783 w 10354"/>
                  <a:gd name="connsiteY2565" fmla="*/ 8991 h 10000"/>
                  <a:gd name="connsiteX2566" fmla="*/ 783 w 10354"/>
                  <a:gd name="connsiteY2566" fmla="*/ 9009 h 10000"/>
                  <a:gd name="connsiteX2567" fmla="*/ 783 w 10354"/>
                  <a:gd name="connsiteY2567" fmla="*/ 9017 h 10000"/>
                  <a:gd name="connsiteX2568" fmla="*/ 770 w 10354"/>
                  <a:gd name="connsiteY2568" fmla="*/ 9017 h 10000"/>
                  <a:gd name="connsiteX2569" fmla="*/ 724 w 10354"/>
                  <a:gd name="connsiteY2569" fmla="*/ 9051 h 10000"/>
                  <a:gd name="connsiteX2570" fmla="*/ 724 w 10354"/>
                  <a:gd name="connsiteY2570" fmla="*/ 9068 h 10000"/>
                  <a:gd name="connsiteX2571" fmla="*/ 728 w 10354"/>
                  <a:gd name="connsiteY2571" fmla="*/ 9077 h 10000"/>
                  <a:gd name="connsiteX2572" fmla="*/ 724 w 10354"/>
                  <a:gd name="connsiteY2572" fmla="*/ 9077 h 10000"/>
                  <a:gd name="connsiteX2573" fmla="*/ 710 w 10354"/>
                  <a:gd name="connsiteY2573" fmla="*/ 9077 h 10000"/>
                  <a:gd name="connsiteX2574" fmla="*/ 682 w 10354"/>
                  <a:gd name="connsiteY2574" fmla="*/ 9077 h 10000"/>
                  <a:gd name="connsiteX2575" fmla="*/ 673 w 10354"/>
                  <a:gd name="connsiteY2575" fmla="*/ 9103 h 10000"/>
                  <a:gd name="connsiteX2576" fmla="*/ 687 w 10354"/>
                  <a:gd name="connsiteY2576" fmla="*/ 9128 h 10000"/>
                  <a:gd name="connsiteX2577" fmla="*/ 700 w 10354"/>
                  <a:gd name="connsiteY2577" fmla="*/ 9128 h 10000"/>
                  <a:gd name="connsiteX2578" fmla="*/ 728 w 10354"/>
                  <a:gd name="connsiteY2578" fmla="*/ 9179 h 10000"/>
                  <a:gd name="connsiteX2579" fmla="*/ 724 w 10354"/>
                  <a:gd name="connsiteY2579" fmla="*/ 9188 h 10000"/>
                  <a:gd name="connsiteX2580" fmla="*/ 710 w 10354"/>
                  <a:gd name="connsiteY2580" fmla="*/ 9179 h 10000"/>
                  <a:gd name="connsiteX2581" fmla="*/ 700 w 10354"/>
                  <a:gd name="connsiteY2581" fmla="*/ 9205 h 10000"/>
                  <a:gd name="connsiteX2582" fmla="*/ 696 w 10354"/>
                  <a:gd name="connsiteY2582" fmla="*/ 9205 h 10000"/>
                  <a:gd name="connsiteX2583" fmla="*/ 654 w 10354"/>
                  <a:gd name="connsiteY2583" fmla="*/ 9299 h 10000"/>
                  <a:gd name="connsiteX2584" fmla="*/ 622 w 10354"/>
                  <a:gd name="connsiteY2584" fmla="*/ 9299 h 10000"/>
                  <a:gd name="connsiteX2585" fmla="*/ 613 w 10354"/>
                  <a:gd name="connsiteY2585" fmla="*/ 9316 h 10000"/>
                  <a:gd name="connsiteX2586" fmla="*/ 613 w 10354"/>
                  <a:gd name="connsiteY2586" fmla="*/ 9325 h 10000"/>
                  <a:gd name="connsiteX2587" fmla="*/ 608 w 10354"/>
                  <a:gd name="connsiteY2587" fmla="*/ 9342 h 10000"/>
                  <a:gd name="connsiteX2588" fmla="*/ 636 w 10354"/>
                  <a:gd name="connsiteY2588" fmla="*/ 9376 h 10000"/>
                  <a:gd name="connsiteX2589" fmla="*/ 641 w 10354"/>
                  <a:gd name="connsiteY2589" fmla="*/ 9402 h 10000"/>
                  <a:gd name="connsiteX2590" fmla="*/ 654 w 10354"/>
                  <a:gd name="connsiteY2590" fmla="*/ 9427 h 10000"/>
                  <a:gd name="connsiteX2591" fmla="*/ 668 w 10354"/>
                  <a:gd name="connsiteY2591" fmla="*/ 9427 h 10000"/>
                  <a:gd name="connsiteX2592" fmla="*/ 668 w 10354"/>
                  <a:gd name="connsiteY2592" fmla="*/ 9427 h 10000"/>
                  <a:gd name="connsiteX2593" fmla="*/ 774 w 10354"/>
                  <a:gd name="connsiteY2593" fmla="*/ 9547 h 10000"/>
                  <a:gd name="connsiteX2594" fmla="*/ 797 w 10354"/>
                  <a:gd name="connsiteY2594" fmla="*/ 9598 h 10000"/>
                  <a:gd name="connsiteX2595" fmla="*/ 802 w 10354"/>
                  <a:gd name="connsiteY2595" fmla="*/ 9598 h 10000"/>
                  <a:gd name="connsiteX2596" fmla="*/ 816 w 10354"/>
                  <a:gd name="connsiteY2596" fmla="*/ 9624 h 10000"/>
                  <a:gd name="connsiteX2597" fmla="*/ 843 w 10354"/>
                  <a:gd name="connsiteY2597" fmla="*/ 9615 h 10000"/>
                  <a:gd name="connsiteX2598" fmla="*/ 857 w 10354"/>
                  <a:gd name="connsiteY2598" fmla="*/ 9624 h 10000"/>
                  <a:gd name="connsiteX2599" fmla="*/ 862 w 10354"/>
                  <a:gd name="connsiteY2599" fmla="*/ 9615 h 10000"/>
                  <a:gd name="connsiteX2600" fmla="*/ 880 w 10354"/>
                  <a:gd name="connsiteY2600" fmla="*/ 9624 h 10000"/>
                  <a:gd name="connsiteX2601" fmla="*/ 889 w 10354"/>
                  <a:gd name="connsiteY2601" fmla="*/ 9641 h 10000"/>
                  <a:gd name="connsiteX2602" fmla="*/ 935 w 10354"/>
                  <a:gd name="connsiteY2602" fmla="*/ 9675 h 10000"/>
                  <a:gd name="connsiteX2603" fmla="*/ 977 w 10354"/>
                  <a:gd name="connsiteY2603" fmla="*/ 9667 h 10000"/>
                  <a:gd name="connsiteX2604" fmla="*/ 995 w 10354"/>
                  <a:gd name="connsiteY2604" fmla="*/ 9675 h 10000"/>
                  <a:gd name="connsiteX2605" fmla="*/ 1014 w 10354"/>
                  <a:gd name="connsiteY2605" fmla="*/ 9675 h 10000"/>
                  <a:gd name="connsiteX2606" fmla="*/ 1069 w 10354"/>
                  <a:gd name="connsiteY2606" fmla="*/ 9752 h 10000"/>
                  <a:gd name="connsiteX2607" fmla="*/ 1074 w 10354"/>
                  <a:gd name="connsiteY2607" fmla="*/ 9761 h 10000"/>
                  <a:gd name="connsiteX2608" fmla="*/ 1083 w 10354"/>
                  <a:gd name="connsiteY2608" fmla="*/ 9778 h 10000"/>
                  <a:gd name="connsiteX2609" fmla="*/ 1115 w 10354"/>
                  <a:gd name="connsiteY2609" fmla="*/ 9752 h 10000"/>
                  <a:gd name="connsiteX2610" fmla="*/ 1129 w 10354"/>
                  <a:gd name="connsiteY2610" fmla="*/ 9752 h 10000"/>
                  <a:gd name="connsiteX2611" fmla="*/ 1138 w 10354"/>
                  <a:gd name="connsiteY2611" fmla="*/ 9761 h 10000"/>
                  <a:gd name="connsiteX2612" fmla="*/ 1143 w 10354"/>
                  <a:gd name="connsiteY2612" fmla="*/ 9752 h 10000"/>
                  <a:gd name="connsiteX2613" fmla="*/ 1161 w 10354"/>
                  <a:gd name="connsiteY2613" fmla="*/ 9761 h 10000"/>
                  <a:gd name="connsiteX2614" fmla="*/ 1171 w 10354"/>
                  <a:gd name="connsiteY2614" fmla="*/ 9778 h 10000"/>
                  <a:gd name="connsiteX2615" fmla="*/ 1175 w 10354"/>
                  <a:gd name="connsiteY2615" fmla="*/ 9778 h 10000"/>
                  <a:gd name="connsiteX2616" fmla="*/ 1189 w 10354"/>
                  <a:gd name="connsiteY2616" fmla="*/ 9778 h 10000"/>
                  <a:gd name="connsiteX2617" fmla="*/ 1198 w 10354"/>
                  <a:gd name="connsiteY2617" fmla="*/ 9786 h 10000"/>
                  <a:gd name="connsiteX2618" fmla="*/ 1203 w 10354"/>
                  <a:gd name="connsiteY2618" fmla="*/ 9803 h 10000"/>
                  <a:gd name="connsiteX2619" fmla="*/ 1198 w 10354"/>
                  <a:gd name="connsiteY2619" fmla="*/ 9838 h 10000"/>
                  <a:gd name="connsiteX2620" fmla="*/ 1212 w 10354"/>
                  <a:gd name="connsiteY2620" fmla="*/ 9863 h 10000"/>
                  <a:gd name="connsiteX2621" fmla="*/ 1230 w 10354"/>
                  <a:gd name="connsiteY2621" fmla="*/ 9872 h 10000"/>
                  <a:gd name="connsiteX2622" fmla="*/ 1249 w 10354"/>
                  <a:gd name="connsiteY2622" fmla="*/ 9897 h 10000"/>
                  <a:gd name="connsiteX2623" fmla="*/ 1263 w 10354"/>
                  <a:gd name="connsiteY2623" fmla="*/ 9897 h 10000"/>
                  <a:gd name="connsiteX2624" fmla="*/ 1276 w 10354"/>
                  <a:gd name="connsiteY2624" fmla="*/ 9923 h 10000"/>
                  <a:gd name="connsiteX2625" fmla="*/ 1281 w 10354"/>
                  <a:gd name="connsiteY2625" fmla="*/ 9949 h 10000"/>
                  <a:gd name="connsiteX2626" fmla="*/ 1290 w 10354"/>
                  <a:gd name="connsiteY2626" fmla="*/ 9949 h 10000"/>
                  <a:gd name="connsiteX2627" fmla="*/ 1295 w 10354"/>
                  <a:gd name="connsiteY2627" fmla="*/ 10000 h 10000"/>
                  <a:gd name="connsiteX2628" fmla="*/ 1332 w 10354"/>
                  <a:gd name="connsiteY2628" fmla="*/ 10000 h 10000"/>
                  <a:gd name="connsiteX2629" fmla="*/ 1336 w 10354"/>
                  <a:gd name="connsiteY2629" fmla="*/ 10000 h 10000"/>
                  <a:gd name="connsiteX2630" fmla="*/ 1346 w 10354"/>
                  <a:gd name="connsiteY2630" fmla="*/ 9983 h 10000"/>
                  <a:gd name="connsiteX2631" fmla="*/ 1350 w 10354"/>
                  <a:gd name="connsiteY2631" fmla="*/ 9949 h 10000"/>
                  <a:gd name="connsiteX2632" fmla="*/ 1369 w 10354"/>
                  <a:gd name="connsiteY2632" fmla="*/ 9940 h 10000"/>
                  <a:gd name="connsiteX2633" fmla="*/ 1378 w 10354"/>
                  <a:gd name="connsiteY2633" fmla="*/ 9897 h 10000"/>
                  <a:gd name="connsiteX2634" fmla="*/ 1369 w 10354"/>
                  <a:gd name="connsiteY2634" fmla="*/ 9889 h 10000"/>
                  <a:gd name="connsiteX2635" fmla="*/ 1318 w 10354"/>
                  <a:gd name="connsiteY2635" fmla="*/ 9701 h 10000"/>
                  <a:gd name="connsiteX2636" fmla="*/ 1318 w 10354"/>
                  <a:gd name="connsiteY2636" fmla="*/ 9650 h 10000"/>
                  <a:gd name="connsiteX2637" fmla="*/ 1323 w 10354"/>
                  <a:gd name="connsiteY2637" fmla="*/ 9590 h 10000"/>
                  <a:gd name="connsiteX2638" fmla="*/ 1323 w 10354"/>
                  <a:gd name="connsiteY2638" fmla="*/ 9564 h 10000"/>
                  <a:gd name="connsiteX2639" fmla="*/ 1309 w 10354"/>
                  <a:gd name="connsiteY2639" fmla="*/ 9598 h 10000"/>
                  <a:gd name="connsiteX2640" fmla="*/ 1309 w 10354"/>
                  <a:gd name="connsiteY2640" fmla="*/ 9590 h 10000"/>
                  <a:gd name="connsiteX2641" fmla="*/ 1304 w 10354"/>
                  <a:gd name="connsiteY2641" fmla="*/ 9547 h 10000"/>
                  <a:gd name="connsiteX2642" fmla="*/ 1276 w 10354"/>
                  <a:gd name="connsiteY2642" fmla="*/ 9479 h 10000"/>
                  <a:gd name="connsiteX2643" fmla="*/ 1263 w 10354"/>
                  <a:gd name="connsiteY2643" fmla="*/ 9479 h 10000"/>
                  <a:gd name="connsiteX2644" fmla="*/ 1263 w 10354"/>
                  <a:gd name="connsiteY2644" fmla="*/ 9453 h 10000"/>
                  <a:gd name="connsiteX2645" fmla="*/ 1272 w 10354"/>
                  <a:gd name="connsiteY2645" fmla="*/ 9410 h 10000"/>
                  <a:gd name="connsiteX2646" fmla="*/ 1272 w 10354"/>
                  <a:gd name="connsiteY2646" fmla="*/ 9393 h 10000"/>
                  <a:gd name="connsiteX2647" fmla="*/ 1281 w 10354"/>
                  <a:gd name="connsiteY2647" fmla="*/ 9368 h 10000"/>
                  <a:gd name="connsiteX2648" fmla="*/ 1281 w 10354"/>
                  <a:gd name="connsiteY2648" fmla="*/ 9368 h 10000"/>
                  <a:gd name="connsiteX2649" fmla="*/ 1290 w 10354"/>
                  <a:gd name="connsiteY2649" fmla="*/ 9368 h 10000"/>
                  <a:gd name="connsiteX2650" fmla="*/ 1290 w 10354"/>
                  <a:gd name="connsiteY2650" fmla="*/ 9342 h 10000"/>
                  <a:gd name="connsiteX2651" fmla="*/ 1304 w 10354"/>
                  <a:gd name="connsiteY2651" fmla="*/ 9325 h 10000"/>
                  <a:gd name="connsiteX2652" fmla="*/ 1309 w 10354"/>
                  <a:gd name="connsiteY2652" fmla="*/ 9239 h 10000"/>
                  <a:gd name="connsiteX2653" fmla="*/ 1318 w 10354"/>
                  <a:gd name="connsiteY2653" fmla="*/ 9256 h 10000"/>
                  <a:gd name="connsiteX2654" fmla="*/ 1323 w 10354"/>
                  <a:gd name="connsiteY2654" fmla="*/ 9179 h 10000"/>
                  <a:gd name="connsiteX2655" fmla="*/ 1309 w 10354"/>
                  <a:gd name="connsiteY2655" fmla="*/ 9145 h 10000"/>
                  <a:gd name="connsiteX2656" fmla="*/ 1336 w 10354"/>
                  <a:gd name="connsiteY2656" fmla="*/ 9154 h 10000"/>
                  <a:gd name="connsiteX2657" fmla="*/ 1336 w 10354"/>
                  <a:gd name="connsiteY2657" fmla="*/ 9162 h 10000"/>
                  <a:gd name="connsiteX2658" fmla="*/ 1350 w 10354"/>
                  <a:gd name="connsiteY2658" fmla="*/ 9231 h 10000"/>
                  <a:gd name="connsiteX2659" fmla="*/ 1355 w 10354"/>
                  <a:gd name="connsiteY2659" fmla="*/ 9231 h 10000"/>
                  <a:gd name="connsiteX2660" fmla="*/ 1364 w 10354"/>
                  <a:gd name="connsiteY2660" fmla="*/ 9214 h 10000"/>
                  <a:gd name="connsiteX2661" fmla="*/ 1369 w 10354"/>
                  <a:gd name="connsiteY2661" fmla="*/ 9214 h 10000"/>
                  <a:gd name="connsiteX2662" fmla="*/ 1382 w 10354"/>
                  <a:gd name="connsiteY2662" fmla="*/ 9154 h 10000"/>
                  <a:gd name="connsiteX2663" fmla="*/ 1396 w 10354"/>
                  <a:gd name="connsiteY2663" fmla="*/ 9154 h 10000"/>
                  <a:gd name="connsiteX2664" fmla="*/ 1382 w 10354"/>
                  <a:gd name="connsiteY2664" fmla="*/ 9145 h 10000"/>
                  <a:gd name="connsiteX2665" fmla="*/ 1382 w 10354"/>
                  <a:gd name="connsiteY2665" fmla="*/ 9128 h 10000"/>
                  <a:gd name="connsiteX2666" fmla="*/ 1369 w 10354"/>
                  <a:gd name="connsiteY2666" fmla="*/ 9128 h 10000"/>
                  <a:gd name="connsiteX2667" fmla="*/ 1364 w 10354"/>
                  <a:gd name="connsiteY2667" fmla="*/ 9128 h 10000"/>
                  <a:gd name="connsiteX2668" fmla="*/ 1355 w 10354"/>
                  <a:gd name="connsiteY2668" fmla="*/ 9120 h 10000"/>
                  <a:gd name="connsiteX2669" fmla="*/ 1350 w 10354"/>
                  <a:gd name="connsiteY2669" fmla="*/ 9103 h 10000"/>
                  <a:gd name="connsiteX2670" fmla="*/ 1355 w 10354"/>
                  <a:gd name="connsiteY2670" fmla="*/ 9094 h 10000"/>
                  <a:gd name="connsiteX2671" fmla="*/ 1355 w 10354"/>
                  <a:gd name="connsiteY2671" fmla="*/ 9068 h 10000"/>
                  <a:gd name="connsiteX2672" fmla="*/ 1369 w 10354"/>
                  <a:gd name="connsiteY2672" fmla="*/ 9068 h 10000"/>
                  <a:gd name="connsiteX2673" fmla="*/ 1378 w 10354"/>
                  <a:gd name="connsiteY2673" fmla="*/ 9077 h 10000"/>
                  <a:gd name="connsiteX2674" fmla="*/ 1396 w 10354"/>
                  <a:gd name="connsiteY2674" fmla="*/ 9068 h 10000"/>
                  <a:gd name="connsiteX2675" fmla="*/ 1382 w 10354"/>
                  <a:gd name="connsiteY2675" fmla="*/ 8940 h 10000"/>
                  <a:gd name="connsiteX2676" fmla="*/ 1378 w 10354"/>
                  <a:gd name="connsiteY2676" fmla="*/ 8940 h 10000"/>
                  <a:gd name="connsiteX2677" fmla="*/ 1364 w 10354"/>
                  <a:gd name="connsiteY2677" fmla="*/ 8889 h 10000"/>
                  <a:gd name="connsiteX2678" fmla="*/ 1355 w 10354"/>
                  <a:gd name="connsiteY2678" fmla="*/ 8880 h 10000"/>
                  <a:gd name="connsiteX2679" fmla="*/ 1323 w 10354"/>
                  <a:gd name="connsiteY2679" fmla="*/ 8880 h 10000"/>
                  <a:gd name="connsiteX2680" fmla="*/ 1309 w 10354"/>
                  <a:gd name="connsiteY2680" fmla="*/ 8880 h 10000"/>
                  <a:gd name="connsiteX2681" fmla="*/ 1309 w 10354"/>
                  <a:gd name="connsiteY2681" fmla="*/ 8889 h 10000"/>
                  <a:gd name="connsiteX2682" fmla="*/ 1295 w 10354"/>
                  <a:gd name="connsiteY2682" fmla="*/ 8872 h 10000"/>
                  <a:gd name="connsiteX2683" fmla="*/ 1290 w 10354"/>
                  <a:gd name="connsiteY2683" fmla="*/ 8855 h 10000"/>
                  <a:gd name="connsiteX2684" fmla="*/ 1290 w 10354"/>
                  <a:gd name="connsiteY2684" fmla="*/ 8829 h 10000"/>
                  <a:gd name="connsiteX2685" fmla="*/ 1290 w 10354"/>
                  <a:gd name="connsiteY2685" fmla="*/ 8821 h 10000"/>
                  <a:gd name="connsiteX2686" fmla="*/ 1290 w 10354"/>
                  <a:gd name="connsiteY2686" fmla="*/ 8803 h 10000"/>
                  <a:gd name="connsiteX2687" fmla="*/ 1281 w 10354"/>
                  <a:gd name="connsiteY2687" fmla="*/ 8795 h 10000"/>
                  <a:gd name="connsiteX2688" fmla="*/ 1249 w 10354"/>
                  <a:gd name="connsiteY2688" fmla="*/ 8769 h 10000"/>
                  <a:gd name="connsiteX2689" fmla="*/ 1263 w 10354"/>
                  <a:gd name="connsiteY2689" fmla="*/ 8667 h 10000"/>
                  <a:gd name="connsiteX2690" fmla="*/ 1281 w 10354"/>
                  <a:gd name="connsiteY2690" fmla="*/ 8658 h 10000"/>
                  <a:gd name="connsiteX2691" fmla="*/ 1290 w 10354"/>
                  <a:gd name="connsiteY2691" fmla="*/ 8632 h 10000"/>
                  <a:gd name="connsiteX2692" fmla="*/ 1281 w 10354"/>
                  <a:gd name="connsiteY2692" fmla="*/ 8615 h 10000"/>
                  <a:gd name="connsiteX2693" fmla="*/ 1272 w 10354"/>
                  <a:gd name="connsiteY2693" fmla="*/ 8598 h 10000"/>
                  <a:gd name="connsiteX2694" fmla="*/ 1281 w 10354"/>
                  <a:gd name="connsiteY2694" fmla="*/ 8496 h 10000"/>
                  <a:gd name="connsiteX2695" fmla="*/ 1295 w 10354"/>
                  <a:gd name="connsiteY2695" fmla="*/ 8470 h 10000"/>
                  <a:gd name="connsiteX2696" fmla="*/ 1304 w 10354"/>
                  <a:gd name="connsiteY2696" fmla="*/ 8462 h 10000"/>
                  <a:gd name="connsiteX2697" fmla="*/ 1304 w 10354"/>
                  <a:gd name="connsiteY2697" fmla="*/ 8444 h 10000"/>
                  <a:gd name="connsiteX2698" fmla="*/ 1304 w 10354"/>
                  <a:gd name="connsiteY2698" fmla="*/ 8419 h 10000"/>
                  <a:gd name="connsiteX2699" fmla="*/ 1304 w 10354"/>
                  <a:gd name="connsiteY2699" fmla="*/ 8410 h 10000"/>
                  <a:gd name="connsiteX2700" fmla="*/ 1309 w 10354"/>
                  <a:gd name="connsiteY2700" fmla="*/ 8393 h 10000"/>
                  <a:gd name="connsiteX2701" fmla="*/ 1318 w 10354"/>
                  <a:gd name="connsiteY2701" fmla="*/ 8385 h 10000"/>
                  <a:gd name="connsiteX2702" fmla="*/ 1323 w 10354"/>
                  <a:gd name="connsiteY2702" fmla="*/ 8385 h 10000"/>
                  <a:gd name="connsiteX2703" fmla="*/ 1332 w 10354"/>
                  <a:gd name="connsiteY2703" fmla="*/ 8410 h 10000"/>
                  <a:gd name="connsiteX2704" fmla="*/ 1346 w 10354"/>
                  <a:gd name="connsiteY2704" fmla="*/ 8419 h 10000"/>
                  <a:gd name="connsiteX2705" fmla="*/ 1364 w 10354"/>
                  <a:gd name="connsiteY2705" fmla="*/ 8504 h 10000"/>
                  <a:gd name="connsiteX2706" fmla="*/ 1369 w 10354"/>
                  <a:gd name="connsiteY2706" fmla="*/ 8521 h 10000"/>
                  <a:gd name="connsiteX2707" fmla="*/ 1406 w 10354"/>
                  <a:gd name="connsiteY2707" fmla="*/ 8470 h 10000"/>
                  <a:gd name="connsiteX2708" fmla="*/ 1382 w 10354"/>
                  <a:gd name="connsiteY2708" fmla="*/ 8359 h 10000"/>
                  <a:gd name="connsiteX2709" fmla="*/ 1392 w 10354"/>
                  <a:gd name="connsiteY2709" fmla="*/ 8359 h 10000"/>
                  <a:gd name="connsiteX2710" fmla="*/ 1438 w 10354"/>
                  <a:gd name="connsiteY2710" fmla="*/ 8308 h 10000"/>
                  <a:gd name="connsiteX2711" fmla="*/ 1442 w 10354"/>
                  <a:gd name="connsiteY2711" fmla="*/ 8299 h 10000"/>
                  <a:gd name="connsiteX2712" fmla="*/ 1442 w 10354"/>
                  <a:gd name="connsiteY2712" fmla="*/ 8256 h 10000"/>
                  <a:gd name="connsiteX2713" fmla="*/ 1452 w 10354"/>
                  <a:gd name="connsiteY2713" fmla="*/ 8256 h 10000"/>
                  <a:gd name="connsiteX2714" fmla="*/ 1456 w 10354"/>
                  <a:gd name="connsiteY2714" fmla="*/ 8256 h 10000"/>
                  <a:gd name="connsiteX2715" fmla="*/ 1470 w 10354"/>
                  <a:gd name="connsiteY2715" fmla="*/ 8248 h 10000"/>
                  <a:gd name="connsiteX2716" fmla="*/ 1479 w 10354"/>
                  <a:gd name="connsiteY2716" fmla="*/ 8231 h 10000"/>
                  <a:gd name="connsiteX2717" fmla="*/ 1493 w 10354"/>
                  <a:gd name="connsiteY2717" fmla="*/ 8222 h 10000"/>
                  <a:gd name="connsiteX2718" fmla="*/ 1498 w 10354"/>
                  <a:gd name="connsiteY2718" fmla="*/ 8214 h 10000"/>
                  <a:gd name="connsiteX2719" fmla="*/ 1502 w 10354"/>
                  <a:gd name="connsiteY2719" fmla="*/ 8197 h 10000"/>
                  <a:gd name="connsiteX2720" fmla="*/ 1512 w 10354"/>
                  <a:gd name="connsiteY2720" fmla="*/ 8188 h 10000"/>
                  <a:gd name="connsiteX2721" fmla="*/ 1516 w 10354"/>
                  <a:gd name="connsiteY2721" fmla="*/ 8171 h 10000"/>
                  <a:gd name="connsiteX2722" fmla="*/ 1525 w 10354"/>
                  <a:gd name="connsiteY2722" fmla="*/ 8162 h 10000"/>
                  <a:gd name="connsiteX2723" fmla="*/ 1539 w 10354"/>
                  <a:gd name="connsiteY2723" fmla="*/ 8145 h 10000"/>
                  <a:gd name="connsiteX2724" fmla="*/ 1558 w 10354"/>
                  <a:gd name="connsiteY2724" fmla="*/ 8145 h 10000"/>
                  <a:gd name="connsiteX2725" fmla="*/ 1562 w 10354"/>
                  <a:gd name="connsiteY2725" fmla="*/ 8188 h 10000"/>
                  <a:gd name="connsiteX2726" fmla="*/ 1585 w 10354"/>
                  <a:gd name="connsiteY2726" fmla="*/ 8171 h 10000"/>
                  <a:gd name="connsiteX2727" fmla="*/ 1590 w 10354"/>
                  <a:gd name="connsiteY2727" fmla="*/ 8188 h 10000"/>
                  <a:gd name="connsiteX2728" fmla="*/ 1599 w 10354"/>
                  <a:gd name="connsiteY2728" fmla="*/ 8171 h 10000"/>
                  <a:gd name="connsiteX2729" fmla="*/ 1599 w 10354"/>
                  <a:gd name="connsiteY2729" fmla="*/ 8162 h 10000"/>
                  <a:gd name="connsiteX2730" fmla="*/ 1604 w 10354"/>
                  <a:gd name="connsiteY2730" fmla="*/ 8137 h 10000"/>
                  <a:gd name="connsiteX2731" fmla="*/ 1618 w 10354"/>
                  <a:gd name="connsiteY2731" fmla="*/ 8145 h 10000"/>
                  <a:gd name="connsiteX2732" fmla="*/ 1627 w 10354"/>
                  <a:gd name="connsiteY2732" fmla="*/ 8137 h 10000"/>
                  <a:gd name="connsiteX2733" fmla="*/ 1631 w 10354"/>
                  <a:gd name="connsiteY2733" fmla="*/ 8137 h 10000"/>
                  <a:gd name="connsiteX2734" fmla="*/ 1636 w 10354"/>
                  <a:gd name="connsiteY2734" fmla="*/ 8171 h 10000"/>
                  <a:gd name="connsiteX2735" fmla="*/ 1645 w 10354"/>
                  <a:gd name="connsiteY2735" fmla="*/ 8188 h 10000"/>
                  <a:gd name="connsiteX2736" fmla="*/ 1664 w 10354"/>
                  <a:gd name="connsiteY2736" fmla="*/ 8171 h 10000"/>
                  <a:gd name="connsiteX2737" fmla="*/ 1673 w 10354"/>
                  <a:gd name="connsiteY2737" fmla="*/ 8188 h 10000"/>
                  <a:gd name="connsiteX2738" fmla="*/ 1691 w 10354"/>
                  <a:gd name="connsiteY2738" fmla="*/ 8171 h 10000"/>
                  <a:gd name="connsiteX2739" fmla="*/ 1705 w 10354"/>
                  <a:gd name="connsiteY2739" fmla="*/ 8171 h 10000"/>
                  <a:gd name="connsiteX2740" fmla="*/ 1719 w 10354"/>
                  <a:gd name="connsiteY2740" fmla="*/ 8197 h 10000"/>
                  <a:gd name="connsiteX2741" fmla="*/ 1724 w 10354"/>
                  <a:gd name="connsiteY2741" fmla="*/ 8231 h 10000"/>
                  <a:gd name="connsiteX2742" fmla="*/ 1751 w 10354"/>
                  <a:gd name="connsiteY2742" fmla="*/ 8256 h 10000"/>
                  <a:gd name="connsiteX2743" fmla="*/ 1751 w 10354"/>
                  <a:gd name="connsiteY2743" fmla="*/ 8274 h 10000"/>
                  <a:gd name="connsiteX2744" fmla="*/ 1760 w 10354"/>
                  <a:gd name="connsiteY2744" fmla="*/ 8282 h 10000"/>
                  <a:gd name="connsiteX2745" fmla="*/ 1770 w 10354"/>
                  <a:gd name="connsiteY2745" fmla="*/ 8325 h 10000"/>
                  <a:gd name="connsiteX2746" fmla="*/ 1770 w 10354"/>
                  <a:gd name="connsiteY2746" fmla="*/ 8350 h 10000"/>
                  <a:gd name="connsiteX2747" fmla="*/ 1779 w 10354"/>
                  <a:gd name="connsiteY2747" fmla="*/ 8368 h 10000"/>
                  <a:gd name="connsiteX2748" fmla="*/ 1783 w 10354"/>
                  <a:gd name="connsiteY2748" fmla="*/ 8359 h 10000"/>
                  <a:gd name="connsiteX2749" fmla="*/ 1783 w 10354"/>
                  <a:gd name="connsiteY2749" fmla="*/ 8308 h 10000"/>
                  <a:gd name="connsiteX2750" fmla="*/ 1779 w 10354"/>
                  <a:gd name="connsiteY2750" fmla="*/ 8299 h 10000"/>
                  <a:gd name="connsiteX2751" fmla="*/ 1783 w 10354"/>
                  <a:gd name="connsiteY2751" fmla="*/ 8282 h 10000"/>
                  <a:gd name="connsiteX2752" fmla="*/ 1797 w 10354"/>
                  <a:gd name="connsiteY2752" fmla="*/ 8274 h 10000"/>
                  <a:gd name="connsiteX2753" fmla="*/ 1797 w 10354"/>
                  <a:gd name="connsiteY2753" fmla="*/ 8299 h 10000"/>
                  <a:gd name="connsiteX2754" fmla="*/ 1806 w 10354"/>
                  <a:gd name="connsiteY2754" fmla="*/ 8308 h 10000"/>
                  <a:gd name="connsiteX2755" fmla="*/ 1811 w 10354"/>
                  <a:gd name="connsiteY2755" fmla="*/ 8325 h 10000"/>
                  <a:gd name="connsiteX2756" fmla="*/ 1820 w 10354"/>
                  <a:gd name="connsiteY2756" fmla="*/ 8333 h 10000"/>
                  <a:gd name="connsiteX2757" fmla="*/ 1853 w 10354"/>
                  <a:gd name="connsiteY2757" fmla="*/ 8359 h 10000"/>
                  <a:gd name="connsiteX2758" fmla="*/ 1866 w 10354"/>
                  <a:gd name="connsiteY2758" fmla="*/ 8359 h 10000"/>
                  <a:gd name="connsiteX2759" fmla="*/ 1885 w 10354"/>
                  <a:gd name="connsiteY2759" fmla="*/ 8325 h 10000"/>
                  <a:gd name="connsiteX2760" fmla="*/ 1885 w 10354"/>
                  <a:gd name="connsiteY2760" fmla="*/ 8308 h 10000"/>
                  <a:gd name="connsiteX2761" fmla="*/ 1894 w 10354"/>
                  <a:gd name="connsiteY2761" fmla="*/ 8299 h 10000"/>
                  <a:gd name="connsiteX2762" fmla="*/ 1899 w 10354"/>
                  <a:gd name="connsiteY2762" fmla="*/ 8282 h 10000"/>
                  <a:gd name="connsiteX2763" fmla="*/ 1912 w 10354"/>
                  <a:gd name="connsiteY2763" fmla="*/ 8282 h 10000"/>
                  <a:gd name="connsiteX2764" fmla="*/ 1917 w 10354"/>
                  <a:gd name="connsiteY2764" fmla="*/ 8299 h 10000"/>
                  <a:gd name="connsiteX2765" fmla="*/ 1917 w 10354"/>
                  <a:gd name="connsiteY2765" fmla="*/ 8274 h 10000"/>
                  <a:gd name="connsiteX2766" fmla="*/ 1940 w 10354"/>
                  <a:gd name="connsiteY2766" fmla="*/ 8282 h 10000"/>
                  <a:gd name="connsiteX2767" fmla="*/ 1945 w 10354"/>
                  <a:gd name="connsiteY2767" fmla="*/ 8274 h 10000"/>
                  <a:gd name="connsiteX2768" fmla="*/ 1972 w 10354"/>
                  <a:gd name="connsiteY2768" fmla="*/ 8308 h 10000"/>
                  <a:gd name="connsiteX2769" fmla="*/ 1986 w 10354"/>
                  <a:gd name="connsiteY2769" fmla="*/ 8282 h 10000"/>
                  <a:gd name="connsiteX2770" fmla="*/ 1991 w 10354"/>
                  <a:gd name="connsiteY2770" fmla="*/ 8274 h 10000"/>
                  <a:gd name="connsiteX2771" fmla="*/ 2014 w 10354"/>
                  <a:gd name="connsiteY2771" fmla="*/ 8274 h 10000"/>
                  <a:gd name="connsiteX2772" fmla="*/ 2018 w 10354"/>
                  <a:gd name="connsiteY2772" fmla="*/ 8256 h 10000"/>
                  <a:gd name="connsiteX2773" fmla="*/ 2041 w 10354"/>
                  <a:gd name="connsiteY2773" fmla="*/ 8274 h 10000"/>
                  <a:gd name="connsiteX2774" fmla="*/ 2046 w 10354"/>
                  <a:gd name="connsiteY2774" fmla="*/ 8282 h 10000"/>
                  <a:gd name="connsiteX2775" fmla="*/ 2046 w 10354"/>
                  <a:gd name="connsiteY2775" fmla="*/ 8325 h 10000"/>
                  <a:gd name="connsiteX2776" fmla="*/ 2060 w 10354"/>
                  <a:gd name="connsiteY2776" fmla="*/ 8350 h 10000"/>
                  <a:gd name="connsiteX2777" fmla="*/ 2078 w 10354"/>
                  <a:gd name="connsiteY2777" fmla="*/ 8350 h 10000"/>
                  <a:gd name="connsiteX2778" fmla="*/ 2092 w 10354"/>
                  <a:gd name="connsiteY2778" fmla="*/ 8350 h 10000"/>
                  <a:gd name="connsiteX2779" fmla="*/ 2092 w 10354"/>
                  <a:gd name="connsiteY2779" fmla="*/ 8350 h 10000"/>
                  <a:gd name="connsiteX2780" fmla="*/ 2101 w 10354"/>
                  <a:gd name="connsiteY2780" fmla="*/ 8368 h 10000"/>
                  <a:gd name="connsiteX2781" fmla="*/ 2120 w 10354"/>
                  <a:gd name="connsiteY2781" fmla="*/ 8368 h 10000"/>
                  <a:gd name="connsiteX2782" fmla="*/ 2124 w 10354"/>
                  <a:gd name="connsiteY2782" fmla="*/ 8359 h 10000"/>
                  <a:gd name="connsiteX2783" fmla="*/ 2138 w 10354"/>
                  <a:gd name="connsiteY2783" fmla="*/ 8325 h 10000"/>
                  <a:gd name="connsiteX2784" fmla="*/ 2147 w 10354"/>
                  <a:gd name="connsiteY2784" fmla="*/ 8325 h 10000"/>
                  <a:gd name="connsiteX2785" fmla="*/ 2161 w 10354"/>
                  <a:gd name="connsiteY2785" fmla="*/ 8350 h 10000"/>
                  <a:gd name="connsiteX2786" fmla="*/ 2198 w 10354"/>
                  <a:gd name="connsiteY2786" fmla="*/ 8350 h 10000"/>
                  <a:gd name="connsiteX2787" fmla="*/ 2207 w 10354"/>
                  <a:gd name="connsiteY2787" fmla="*/ 8333 h 10000"/>
                  <a:gd name="connsiteX2788" fmla="*/ 2226 w 10354"/>
                  <a:gd name="connsiteY2788" fmla="*/ 8325 h 10000"/>
                  <a:gd name="connsiteX2789" fmla="*/ 2249 w 10354"/>
                  <a:gd name="connsiteY2789" fmla="*/ 8222 h 10000"/>
                  <a:gd name="connsiteX2790" fmla="*/ 2235 w 10354"/>
                  <a:gd name="connsiteY2790" fmla="*/ 8197 h 10000"/>
                  <a:gd name="connsiteX2791" fmla="*/ 2198 w 10354"/>
                  <a:gd name="connsiteY2791" fmla="*/ 8197 h 10000"/>
                  <a:gd name="connsiteX2792" fmla="*/ 2189 w 10354"/>
                  <a:gd name="connsiteY2792" fmla="*/ 8171 h 10000"/>
                  <a:gd name="connsiteX2793" fmla="*/ 2161 w 10354"/>
                  <a:gd name="connsiteY2793" fmla="*/ 8145 h 10000"/>
                  <a:gd name="connsiteX2794" fmla="*/ 2161 w 10354"/>
                  <a:gd name="connsiteY2794" fmla="*/ 8137 h 10000"/>
                  <a:gd name="connsiteX2795" fmla="*/ 2152 w 10354"/>
                  <a:gd name="connsiteY2795" fmla="*/ 8120 h 10000"/>
                  <a:gd name="connsiteX2796" fmla="*/ 2138 w 10354"/>
                  <a:gd name="connsiteY2796" fmla="*/ 8111 h 10000"/>
                  <a:gd name="connsiteX2797" fmla="*/ 2138 w 10354"/>
                  <a:gd name="connsiteY2797" fmla="*/ 8094 h 10000"/>
                  <a:gd name="connsiteX2798" fmla="*/ 2147 w 10354"/>
                  <a:gd name="connsiteY2798" fmla="*/ 8085 h 10000"/>
                  <a:gd name="connsiteX2799" fmla="*/ 2161 w 10354"/>
                  <a:gd name="connsiteY2799" fmla="*/ 8060 h 10000"/>
                  <a:gd name="connsiteX2800" fmla="*/ 2198 w 10354"/>
                  <a:gd name="connsiteY2800" fmla="*/ 8034 h 10000"/>
                  <a:gd name="connsiteX2801" fmla="*/ 2198 w 10354"/>
                  <a:gd name="connsiteY2801" fmla="*/ 8026 h 10000"/>
                  <a:gd name="connsiteX2802" fmla="*/ 2198 w 10354"/>
                  <a:gd name="connsiteY2802" fmla="*/ 8000 h 10000"/>
                  <a:gd name="connsiteX2803" fmla="*/ 2180 w 10354"/>
                  <a:gd name="connsiteY2803" fmla="*/ 7940 h 10000"/>
                  <a:gd name="connsiteX2804" fmla="*/ 2189 w 10354"/>
                  <a:gd name="connsiteY2804" fmla="*/ 7940 h 10000"/>
                  <a:gd name="connsiteX2805" fmla="*/ 2198 w 10354"/>
                  <a:gd name="connsiteY2805" fmla="*/ 7923 h 10000"/>
                  <a:gd name="connsiteX2806" fmla="*/ 2198 w 10354"/>
                  <a:gd name="connsiteY2806" fmla="*/ 7897 h 10000"/>
                  <a:gd name="connsiteX2807" fmla="*/ 2207 w 10354"/>
                  <a:gd name="connsiteY2807" fmla="*/ 7889 h 10000"/>
                  <a:gd name="connsiteX2808" fmla="*/ 2221 w 10354"/>
                  <a:gd name="connsiteY2808" fmla="*/ 7889 h 10000"/>
                  <a:gd name="connsiteX2809" fmla="*/ 2226 w 10354"/>
                  <a:gd name="connsiteY2809" fmla="*/ 7897 h 10000"/>
                  <a:gd name="connsiteX2810" fmla="*/ 2235 w 10354"/>
                  <a:gd name="connsiteY2810" fmla="*/ 7889 h 10000"/>
                  <a:gd name="connsiteX2811" fmla="*/ 2249 w 10354"/>
                  <a:gd name="connsiteY2811" fmla="*/ 7897 h 10000"/>
                  <a:gd name="connsiteX2812" fmla="*/ 2267 w 10354"/>
                  <a:gd name="connsiteY2812" fmla="*/ 7897 h 10000"/>
                  <a:gd name="connsiteX2813" fmla="*/ 2272 w 10354"/>
                  <a:gd name="connsiteY2813" fmla="*/ 7889 h 10000"/>
                  <a:gd name="connsiteX2814" fmla="*/ 2281 w 10354"/>
                  <a:gd name="connsiteY2814" fmla="*/ 7872 h 10000"/>
                  <a:gd name="connsiteX2815" fmla="*/ 2272 w 10354"/>
                  <a:gd name="connsiteY2815" fmla="*/ 7846 h 10000"/>
                  <a:gd name="connsiteX2816" fmla="*/ 2253 w 10354"/>
                  <a:gd name="connsiteY2816" fmla="*/ 7838 h 10000"/>
                  <a:gd name="connsiteX2817" fmla="*/ 2221 w 10354"/>
                  <a:gd name="connsiteY2817" fmla="*/ 7821 h 10000"/>
                  <a:gd name="connsiteX2818" fmla="*/ 2212 w 10354"/>
                  <a:gd name="connsiteY2818" fmla="*/ 7812 h 10000"/>
                  <a:gd name="connsiteX2819" fmla="*/ 2212 w 10354"/>
                  <a:gd name="connsiteY2819" fmla="*/ 7803 h 10000"/>
                  <a:gd name="connsiteX2820" fmla="*/ 2221 w 10354"/>
                  <a:gd name="connsiteY2820" fmla="*/ 7803 h 10000"/>
                  <a:gd name="connsiteX2821" fmla="*/ 2235 w 10354"/>
                  <a:gd name="connsiteY2821" fmla="*/ 7786 h 10000"/>
                  <a:gd name="connsiteX2822" fmla="*/ 2240 w 10354"/>
                  <a:gd name="connsiteY2822" fmla="*/ 7778 h 10000"/>
                  <a:gd name="connsiteX2823" fmla="*/ 2226 w 10354"/>
                  <a:gd name="connsiteY2823" fmla="*/ 7761 h 10000"/>
                  <a:gd name="connsiteX2824" fmla="*/ 2221 w 10354"/>
                  <a:gd name="connsiteY2824" fmla="*/ 7778 h 10000"/>
                  <a:gd name="connsiteX2825" fmla="*/ 2198 w 10354"/>
                  <a:gd name="connsiteY2825" fmla="*/ 7778 h 10000"/>
                  <a:gd name="connsiteX2826" fmla="*/ 2198 w 10354"/>
                  <a:gd name="connsiteY2826" fmla="*/ 7752 h 10000"/>
                  <a:gd name="connsiteX2827" fmla="*/ 2207 w 10354"/>
                  <a:gd name="connsiteY2827" fmla="*/ 7735 h 10000"/>
                  <a:gd name="connsiteX2828" fmla="*/ 2212 w 10354"/>
                  <a:gd name="connsiteY2828" fmla="*/ 7726 h 10000"/>
                  <a:gd name="connsiteX2829" fmla="*/ 2198 w 10354"/>
                  <a:gd name="connsiteY2829" fmla="*/ 7692 h 10000"/>
                  <a:gd name="connsiteX2830" fmla="*/ 2221 w 10354"/>
                  <a:gd name="connsiteY2830" fmla="*/ 7692 h 10000"/>
                  <a:gd name="connsiteX2831" fmla="*/ 2221 w 10354"/>
                  <a:gd name="connsiteY2831" fmla="*/ 7675 h 10000"/>
                  <a:gd name="connsiteX2832" fmla="*/ 2235 w 10354"/>
                  <a:gd name="connsiteY2832" fmla="*/ 7675 h 10000"/>
                  <a:gd name="connsiteX2833" fmla="*/ 2240 w 10354"/>
                  <a:gd name="connsiteY2833" fmla="*/ 7692 h 10000"/>
                  <a:gd name="connsiteX2834" fmla="*/ 2249 w 10354"/>
                  <a:gd name="connsiteY2834" fmla="*/ 7692 h 10000"/>
                  <a:gd name="connsiteX2835" fmla="*/ 2258 w 10354"/>
                  <a:gd name="connsiteY2835" fmla="*/ 7692 h 10000"/>
                  <a:gd name="connsiteX2836" fmla="*/ 2267 w 10354"/>
                  <a:gd name="connsiteY2836" fmla="*/ 7692 h 10000"/>
                  <a:gd name="connsiteX2837" fmla="*/ 2295 w 10354"/>
                  <a:gd name="connsiteY2837" fmla="*/ 7692 h 10000"/>
                  <a:gd name="connsiteX2838" fmla="*/ 2300 w 10354"/>
                  <a:gd name="connsiteY2838" fmla="*/ 7701 h 10000"/>
                  <a:gd name="connsiteX2839" fmla="*/ 2313 w 10354"/>
                  <a:gd name="connsiteY2839" fmla="*/ 7675 h 10000"/>
                  <a:gd name="connsiteX2840" fmla="*/ 2323 w 10354"/>
                  <a:gd name="connsiteY2840" fmla="*/ 7675 h 10000"/>
                  <a:gd name="connsiteX2841" fmla="*/ 2341 w 10354"/>
                  <a:gd name="connsiteY2841" fmla="*/ 7675 h 10000"/>
                  <a:gd name="connsiteX2842" fmla="*/ 2346 w 10354"/>
                  <a:gd name="connsiteY2842" fmla="*/ 7667 h 10000"/>
                  <a:gd name="connsiteX2843" fmla="*/ 2359 w 10354"/>
                  <a:gd name="connsiteY2843" fmla="*/ 7650 h 10000"/>
                  <a:gd name="connsiteX2844" fmla="*/ 2373 w 10354"/>
                  <a:gd name="connsiteY2844" fmla="*/ 7624 h 10000"/>
                  <a:gd name="connsiteX2845" fmla="*/ 2382 w 10354"/>
                  <a:gd name="connsiteY2845" fmla="*/ 7641 h 10000"/>
                  <a:gd name="connsiteX2846" fmla="*/ 2396 w 10354"/>
                  <a:gd name="connsiteY2846" fmla="*/ 7650 h 10000"/>
                  <a:gd name="connsiteX2847" fmla="*/ 2401 w 10354"/>
                  <a:gd name="connsiteY2847" fmla="*/ 7650 h 10000"/>
                  <a:gd name="connsiteX2848" fmla="*/ 2401 w 10354"/>
                  <a:gd name="connsiteY2848" fmla="*/ 7624 h 10000"/>
                  <a:gd name="connsiteX2849" fmla="*/ 2419 w 10354"/>
                  <a:gd name="connsiteY2849" fmla="*/ 7624 h 10000"/>
                  <a:gd name="connsiteX2850" fmla="*/ 2433 w 10354"/>
                  <a:gd name="connsiteY2850" fmla="*/ 7615 h 10000"/>
                  <a:gd name="connsiteX2851" fmla="*/ 2442 w 10354"/>
                  <a:gd name="connsiteY2851" fmla="*/ 7615 h 10000"/>
                  <a:gd name="connsiteX2852" fmla="*/ 2447 w 10354"/>
                  <a:gd name="connsiteY2852" fmla="*/ 7598 h 10000"/>
                  <a:gd name="connsiteX2853" fmla="*/ 2461 w 10354"/>
                  <a:gd name="connsiteY2853" fmla="*/ 7598 h 10000"/>
                  <a:gd name="connsiteX2854" fmla="*/ 2465 w 10354"/>
                  <a:gd name="connsiteY2854" fmla="*/ 7615 h 10000"/>
                  <a:gd name="connsiteX2855" fmla="*/ 2479 w 10354"/>
                  <a:gd name="connsiteY2855" fmla="*/ 7564 h 10000"/>
                  <a:gd name="connsiteX2856" fmla="*/ 2488 w 10354"/>
                  <a:gd name="connsiteY2856" fmla="*/ 7556 h 10000"/>
                  <a:gd name="connsiteX2857" fmla="*/ 2493 w 10354"/>
                  <a:gd name="connsiteY2857" fmla="*/ 7556 h 10000"/>
                  <a:gd name="connsiteX2858" fmla="*/ 2507 w 10354"/>
                  <a:gd name="connsiteY2858" fmla="*/ 7556 h 10000"/>
                  <a:gd name="connsiteX2859" fmla="*/ 2530 w 10354"/>
                  <a:gd name="connsiteY2859" fmla="*/ 7538 h 10000"/>
                  <a:gd name="connsiteX2860" fmla="*/ 2530 w 10354"/>
                  <a:gd name="connsiteY2860" fmla="*/ 7556 h 10000"/>
                  <a:gd name="connsiteX2861" fmla="*/ 2641 w 10354"/>
                  <a:gd name="connsiteY2861" fmla="*/ 7504 h 10000"/>
                  <a:gd name="connsiteX2862" fmla="*/ 2654 w 10354"/>
                  <a:gd name="connsiteY2862" fmla="*/ 7487 h 10000"/>
                  <a:gd name="connsiteX2863" fmla="*/ 2664 w 10354"/>
                  <a:gd name="connsiteY2863" fmla="*/ 7487 h 10000"/>
                  <a:gd name="connsiteX2864" fmla="*/ 2668 w 10354"/>
                  <a:gd name="connsiteY2864" fmla="*/ 7479 h 10000"/>
                  <a:gd name="connsiteX2865" fmla="*/ 2673 w 10354"/>
                  <a:gd name="connsiteY2865" fmla="*/ 7462 h 10000"/>
                  <a:gd name="connsiteX2866" fmla="*/ 2673 w 10354"/>
                  <a:gd name="connsiteY2866" fmla="*/ 7427 h 10000"/>
                  <a:gd name="connsiteX2867" fmla="*/ 2687 w 10354"/>
                  <a:gd name="connsiteY2867" fmla="*/ 7436 h 10000"/>
                  <a:gd name="connsiteX2868" fmla="*/ 2696 w 10354"/>
                  <a:gd name="connsiteY2868" fmla="*/ 7427 h 10000"/>
                  <a:gd name="connsiteX2869" fmla="*/ 2700 w 10354"/>
                  <a:gd name="connsiteY2869" fmla="*/ 7419 h 10000"/>
                  <a:gd name="connsiteX2870" fmla="*/ 2710 w 10354"/>
                  <a:gd name="connsiteY2870" fmla="*/ 7402 h 10000"/>
                  <a:gd name="connsiteX2871" fmla="*/ 2724 w 10354"/>
                  <a:gd name="connsiteY2871" fmla="*/ 7402 h 10000"/>
                  <a:gd name="connsiteX2872" fmla="*/ 2724 w 10354"/>
                  <a:gd name="connsiteY2872" fmla="*/ 7393 h 10000"/>
                  <a:gd name="connsiteX2873" fmla="*/ 2737 w 10354"/>
                  <a:gd name="connsiteY2873" fmla="*/ 7393 h 10000"/>
                  <a:gd name="connsiteX2874" fmla="*/ 2742 w 10354"/>
                  <a:gd name="connsiteY2874" fmla="*/ 7402 h 10000"/>
                  <a:gd name="connsiteX2875" fmla="*/ 2747 w 10354"/>
                  <a:gd name="connsiteY2875" fmla="*/ 7402 h 10000"/>
                  <a:gd name="connsiteX2876" fmla="*/ 2760 w 10354"/>
                  <a:gd name="connsiteY2876" fmla="*/ 7402 h 10000"/>
                  <a:gd name="connsiteX2877" fmla="*/ 2770 w 10354"/>
                  <a:gd name="connsiteY2877" fmla="*/ 7402 h 10000"/>
                  <a:gd name="connsiteX2878" fmla="*/ 2774 w 10354"/>
                  <a:gd name="connsiteY2878" fmla="*/ 7402 h 10000"/>
                  <a:gd name="connsiteX2879" fmla="*/ 2783 w 10354"/>
                  <a:gd name="connsiteY2879" fmla="*/ 7419 h 10000"/>
                  <a:gd name="connsiteX2880" fmla="*/ 2802 w 10354"/>
                  <a:gd name="connsiteY2880" fmla="*/ 7436 h 10000"/>
                  <a:gd name="connsiteX2881" fmla="*/ 2816 w 10354"/>
                  <a:gd name="connsiteY2881" fmla="*/ 7419 h 10000"/>
                  <a:gd name="connsiteX2882" fmla="*/ 2834 w 10354"/>
                  <a:gd name="connsiteY2882" fmla="*/ 7419 h 10000"/>
                  <a:gd name="connsiteX2883" fmla="*/ 2843 w 10354"/>
                  <a:gd name="connsiteY2883" fmla="*/ 7419 h 10000"/>
                  <a:gd name="connsiteX2884" fmla="*/ 2848 w 10354"/>
                  <a:gd name="connsiteY2884" fmla="*/ 7436 h 10000"/>
                  <a:gd name="connsiteX2885" fmla="*/ 2857 w 10354"/>
                  <a:gd name="connsiteY2885" fmla="*/ 7453 h 10000"/>
                  <a:gd name="connsiteX2886" fmla="*/ 2857 w 10354"/>
                  <a:gd name="connsiteY2886" fmla="*/ 7504 h 10000"/>
                  <a:gd name="connsiteX2887" fmla="*/ 2862 w 10354"/>
                  <a:gd name="connsiteY2887" fmla="*/ 7530 h 10000"/>
                  <a:gd name="connsiteX2888" fmla="*/ 2876 w 10354"/>
                  <a:gd name="connsiteY2888" fmla="*/ 7538 h 10000"/>
                  <a:gd name="connsiteX2889" fmla="*/ 2871 w 10354"/>
                  <a:gd name="connsiteY2889" fmla="*/ 7564 h 10000"/>
                  <a:gd name="connsiteX2890" fmla="*/ 2871 w 10354"/>
                  <a:gd name="connsiteY2890" fmla="*/ 7598 h 10000"/>
                  <a:gd name="connsiteX2891" fmla="*/ 2857 w 10354"/>
                  <a:gd name="connsiteY2891" fmla="*/ 7624 h 10000"/>
                  <a:gd name="connsiteX2892" fmla="*/ 2862 w 10354"/>
                  <a:gd name="connsiteY2892" fmla="*/ 7641 h 10000"/>
                  <a:gd name="connsiteX2893" fmla="*/ 2871 w 10354"/>
                  <a:gd name="connsiteY2893" fmla="*/ 7667 h 10000"/>
                  <a:gd name="connsiteX2894" fmla="*/ 2880 w 10354"/>
                  <a:gd name="connsiteY2894" fmla="*/ 7650 h 10000"/>
                  <a:gd name="connsiteX2895" fmla="*/ 2894 w 10354"/>
                  <a:gd name="connsiteY2895" fmla="*/ 7667 h 10000"/>
                  <a:gd name="connsiteX2896" fmla="*/ 2903 w 10354"/>
                  <a:gd name="connsiteY2896" fmla="*/ 7667 h 10000"/>
                  <a:gd name="connsiteX2897" fmla="*/ 2908 w 10354"/>
                  <a:gd name="connsiteY2897" fmla="*/ 7641 h 10000"/>
                  <a:gd name="connsiteX2898" fmla="*/ 2917 w 10354"/>
                  <a:gd name="connsiteY2898" fmla="*/ 7641 h 10000"/>
                  <a:gd name="connsiteX2899" fmla="*/ 2922 w 10354"/>
                  <a:gd name="connsiteY2899" fmla="*/ 7641 h 10000"/>
                  <a:gd name="connsiteX2900" fmla="*/ 2931 w 10354"/>
                  <a:gd name="connsiteY2900" fmla="*/ 7615 h 10000"/>
                  <a:gd name="connsiteX2901" fmla="*/ 2935 w 10354"/>
                  <a:gd name="connsiteY2901" fmla="*/ 7615 h 10000"/>
                  <a:gd name="connsiteX2902" fmla="*/ 2945 w 10354"/>
                  <a:gd name="connsiteY2902" fmla="*/ 7650 h 10000"/>
                  <a:gd name="connsiteX2903" fmla="*/ 2949 w 10354"/>
                  <a:gd name="connsiteY2903" fmla="*/ 7667 h 10000"/>
                  <a:gd name="connsiteX2904" fmla="*/ 2949 w 10354"/>
                  <a:gd name="connsiteY2904" fmla="*/ 7675 h 10000"/>
                  <a:gd name="connsiteX2905" fmla="*/ 2945 w 10354"/>
                  <a:gd name="connsiteY2905" fmla="*/ 7692 h 10000"/>
                  <a:gd name="connsiteX2906" fmla="*/ 2963 w 10354"/>
                  <a:gd name="connsiteY2906" fmla="*/ 7701 h 10000"/>
                  <a:gd name="connsiteX2907" fmla="*/ 2963 w 10354"/>
                  <a:gd name="connsiteY2907" fmla="*/ 7675 h 10000"/>
                  <a:gd name="connsiteX2908" fmla="*/ 2954 w 10354"/>
                  <a:gd name="connsiteY2908" fmla="*/ 7667 h 10000"/>
                  <a:gd name="connsiteX2909" fmla="*/ 2963 w 10354"/>
                  <a:gd name="connsiteY2909" fmla="*/ 7667 h 10000"/>
                  <a:gd name="connsiteX2910" fmla="*/ 2982 w 10354"/>
                  <a:gd name="connsiteY2910" fmla="*/ 7667 h 10000"/>
                  <a:gd name="connsiteX2911" fmla="*/ 2991 w 10354"/>
                  <a:gd name="connsiteY2911" fmla="*/ 7675 h 10000"/>
                  <a:gd name="connsiteX2912" fmla="*/ 2995 w 10354"/>
                  <a:gd name="connsiteY2912" fmla="*/ 7692 h 10000"/>
                  <a:gd name="connsiteX2913" fmla="*/ 3009 w 10354"/>
                  <a:gd name="connsiteY2913" fmla="*/ 7701 h 10000"/>
                  <a:gd name="connsiteX2914" fmla="*/ 3018 w 10354"/>
                  <a:gd name="connsiteY2914" fmla="*/ 7701 h 10000"/>
                  <a:gd name="connsiteX2915" fmla="*/ 3023 w 10354"/>
                  <a:gd name="connsiteY2915" fmla="*/ 7692 h 10000"/>
                  <a:gd name="connsiteX2916" fmla="*/ 3028 w 10354"/>
                  <a:gd name="connsiteY2916" fmla="*/ 7675 h 10000"/>
                  <a:gd name="connsiteX2917" fmla="*/ 3037 w 10354"/>
                  <a:gd name="connsiteY2917" fmla="*/ 7692 h 10000"/>
                  <a:gd name="connsiteX2918" fmla="*/ 3028 w 10354"/>
                  <a:gd name="connsiteY2918" fmla="*/ 7709 h 10000"/>
                  <a:gd name="connsiteX2919" fmla="*/ 3023 w 10354"/>
                  <a:gd name="connsiteY2919" fmla="*/ 7709 h 10000"/>
                  <a:gd name="connsiteX2920" fmla="*/ 3018 w 10354"/>
                  <a:gd name="connsiteY2920" fmla="*/ 7726 h 10000"/>
                  <a:gd name="connsiteX2921" fmla="*/ 3009 w 10354"/>
                  <a:gd name="connsiteY2921" fmla="*/ 7735 h 10000"/>
                  <a:gd name="connsiteX2922" fmla="*/ 3009 w 10354"/>
                  <a:gd name="connsiteY2922" fmla="*/ 7761 h 10000"/>
                  <a:gd name="connsiteX2923" fmla="*/ 3009 w 10354"/>
                  <a:gd name="connsiteY2923" fmla="*/ 7778 h 10000"/>
                  <a:gd name="connsiteX2924" fmla="*/ 3018 w 10354"/>
                  <a:gd name="connsiteY2924" fmla="*/ 7786 h 10000"/>
                  <a:gd name="connsiteX2925" fmla="*/ 3023 w 10354"/>
                  <a:gd name="connsiteY2925" fmla="*/ 7786 h 10000"/>
                  <a:gd name="connsiteX2926" fmla="*/ 3028 w 10354"/>
                  <a:gd name="connsiteY2926" fmla="*/ 7778 h 10000"/>
                  <a:gd name="connsiteX2927" fmla="*/ 3051 w 10354"/>
                  <a:gd name="connsiteY2927" fmla="*/ 7761 h 10000"/>
                  <a:gd name="connsiteX2928" fmla="*/ 3055 w 10354"/>
                  <a:gd name="connsiteY2928" fmla="*/ 7778 h 10000"/>
                  <a:gd name="connsiteX2929" fmla="*/ 3065 w 10354"/>
                  <a:gd name="connsiteY2929" fmla="*/ 7761 h 10000"/>
                  <a:gd name="connsiteX2930" fmla="*/ 3069 w 10354"/>
                  <a:gd name="connsiteY2930" fmla="*/ 7786 h 10000"/>
                  <a:gd name="connsiteX2931" fmla="*/ 3083 w 10354"/>
                  <a:gd name="connsiteY2931" fmla="*/ 7786 h 10000"/>
                  <a:gd name="connsiteX2932" fmla="*/ 3078 w 10354"/>
                  <a:gd name="connsiteY2932" fmla="*/ 7761 h 10000"/>
                  <a:gd name="connsiteX2933" fmla="*/ 3083 w 10354"/>
                  <a:gd name="connsiteY2933" fmla="*/ 7752 h 10000"/>
                  <a:gd name="connsiteX2934" fmla="*/ 3097 w 10354"/>
                  <a:gd name="connsiteY2934" fmla="*/ 7752 h 10000"/>
                  <a:gd name="connsiteX2935" fmla="*/ 3111 w 10354"/>
                  <a:gd name="connsiteY2935" fmla="*/ 7726 h 10000"/>
                  <a:gd name="connsiteX2936" fmla="*/ 3124 w 10354"/>
                  <a:gd name="connsiteY2936" fmla="*/ 7709 h 10000"/>
                  <a:gd name="connsiteX2937" fmla="*/ 3143 w 10354"/>
                  <a:gd name="connsiteY2937" fmla="*/ 7692 h 10000"/>
                  <a:gd name="connsiteX2938" fmla="*/ 3152 w 10354"/>
                  <a:gd name="connsiteY2938" fmla="*/ 7667 h 10000"/>
                  <a:gd name="connsiteX2939" fmla="*/ 3157 w 10354"/>
                  <a:gd name="connsiteY2939" fmla="*/ 7650 h 10000"/>
                  <a:gd name="connsiteX2940" fmla="*/ 3161 w 10354"/>
                  <a:gd name="connsiteY2940" fmla="*/ 7650 h 10000"/>
                  <a:gd name="connsiteX2941" fmla="*/ 3189 w 10354"/>
                  <a:gd name="connsiteY2941" fmla="*/ 7641 h 10000"/>
                  <a:gd name="connsiteX2942" fmla="*/ 3198 w 10354"/>
                  <a:gd name="connsiteY2942" fmla="*/ 7624 h 10000"/>
                  <a:gd name="connsiteX2943" fmla="*/ 3217 w 10354"/>
                  <a:gd name="connsiteY2943" fmla="*/ 7615 h 10000"/>
                  <a:gd name="connsiteX2944" fmla="*/ 3235 w 10354"/>
                  <a:gd name="connsiteY2944" fmla="*/ 7598 h 10000"/>
                  <a:gd name="connsiteX2945" fmla="*/ 3235 w 10354"/>
                  <a:gd name="connsiteY2945" fmla="*/ 7615 h 10000"/>
                  <a:gd name="connsiteX2946" fmla="*/ 3235 w 10354"/>
                  <a:gd name="connsiteY2946" fmla="*/ 7641 h 10000"/>
                  <a:gd name="connsiteX2947" fmla="*/ 3235 w 10354"/>
                  <a:gd name="connsiteY2947" fmla="*/ 7650 h 10000"/>
                  <a:gd name="connsiteX2948" fmla="*/ 3226 w 10354"/>
                  <a:gd name="connsiteY2948" fmla="*/ 7650 h 10000"/>
                  <a:gd name="connsiteX2949" fmla="*/ 3217 w 10354"/>
                  <a:gd name="connsiteY2949" fmla="*/ 7650 h 10000"/>
                  <a:gd name="connsiteX2950" fmla="*/ 3212 w 10354"/>
                  <a:gd name="connsiteY2950" fmla="*/ 7675 h 10000"/>
                  <a:gd name="connsiteX2951" fmla="*/ 3212 w 10354"/>
                  <a:gd name="connsiteY2951" fmla="*/ 7675 h 10000"/>
                  <a:gd name="connsiteX0" fmla="*/ 3212 w 10354"/>
                  <a:gd name="connsiteY0" fmla="*/ 7675 h 10000"/>
                  <a:gd name="connsiteX1" fmla="*/ 3217 w 10354"/>
                  <a:gd name="connsiteY1" fmla="*/ 7692 h 10000"/>
                  <a:gd name="connsiteX2" fmla="*/ 3226 w 10354"/>
                  <a:gd name="connsiteY2" fmla="*/ 7692 h 10000"/>
                  <a:gd name="connsiteX3" fmla="*/ 3309 w 10354"/>
                  <a:gd name="connsiteY3" fmla="*/ 7838 h 10000"/>
                  <a:gd name="connsiteX4" fmla="*/ 3452 w 10354"/>
                  <a:gd name="connsiteY4" fmla="*/ 8325 h 10000"/>
                  <a:gd name="connsiteX5" fmla="*/ 3470 w 10354"/>
                  <a:gd name="connsiteY5" fmla="*/ 8299 h 10000"/>
                  <a:gd name="connsiteX6" fmla="*/ 3470 w 10354"/>
                  <a:gd name="connsiteY6" fmla="*/ 8282 h 10000"/>
                  <a:gd name="connsiteX7" fmla="*/ 3470 w 10354"/>
                  <a:gd name="connsiteY7" fmla="*/ 8274 h 10000"/>
                  <a:gd name="connsiteX8" fmla="*/ 3484 w 10354"/>
                  <a:gd name="connsiteY8" fmla="*/ 8231 h 10000"/>
                  <a:gd name="connsiteX9" fmla="*/ 3498 w 10354"/>
                  <a:gd name="connsiteY9" fmla="*/ 8231 h 10000"/>
                  <a:gd name="connsiteX10" fmla="*/ 3498 w 10354"/>
                  <a:gd name="connsiteY10" fmla="*/ 8248 h 10000"/>
                  <a:gd name="connsiteX11" fmla="*/ 3512 w 10354"/>
                  <a:gd name="connsiteY11" fmla="*/ 8256 h 10000"/>
                  <a:gd name="connsiteX12" fmla="*/ 3525 w 10354"/>
                  <a:gd name="connsiteY12" fmla="*/ 8274 h 10000"/>
                  <a:gd name="connsiteX13" fmla="*/ 3525 w 10354"/>
                  <a:gd name="connsiteY13" fmla="*/ 8282 h 10000"/>
                  <a:gd name="connsiteX14" fmla="*/ 3525 w 10354"/>
                  <a:gd name="connsiteY14" fmla="*/ 8308 h 10000"/>
                  <a:gd name="connsiteX15" fmla="*/ 3530 w 10354"/>
                  <a:gd name="connsiteY15" fmla="*/ 8308 h 10000"/>
                  <a:gd name="connsiteX16" fmla="*/ 3539 w 10354"/>
                  <a:gd name="connsiteY16" fmla="*/ 8333 h 10000"/>
                  <a:gd name="connsiteX17" fmla="*/ 3571 w 10354"/>
                  <a:gd name="connsiteY17" fmla="*/ 8333 h 10000"/>
                  <a:gd name="connsiteX18" fmla="*/ 3590 w 10354"/>
                  <a:gd name="connsiteY18" fmla="*/ 8350 h 10000"/>
                  <a:gd name="connsiteX19" fmla="*/ 3599 w 10354"/>
                  <a:gd name="connsiteY19" fmla="*/ 8333 h 10000"/>
                  <a:gd name="connsiteX20" fmla="*/ 3618 w 10354"/>
                  <a:gd name="connsiteY20" fmla="*/ 8333 h 10000"/>
                  <a:gd name="connsiteX21" fmla="*/ 3618 w 10354"/>
                  <a:gd name="connsiteY21" fmla="*/ 8325 h 10000"/>
                  <a:gd name="connsiteX22" fmla="*/ 3627 w 10354"/>
                  <a:gd name="connsiteY22" fmla="*/ 8308 h 10000"/>
                  <a:gd name="connsiteX23" fmla="*/ 3641 w 10354"/>
                  <a:gd name="connsiteY23" fmla="*/ 8308 h 10000"/>
                  <a:gd name="connsiteX24" fmla="*/ 3645 w 10354"/>
                  <a:gd name="connsiteY24" fmla="*/ 8308 h 10000"/>
                  <a:gd name="connsiteX25" fmla="*/ 3650 w 10354"/>
                  <a:gd name="connsiteY25" fmla="*/ 8299 h 10000"/>
                  <a:gd name="connsiteX26" fmla="*/ 3659 w 10354"/>
                  <a:gd name="connsiteY26" fmla="*/ 8282 h 10000"/>
                  <a:gd name="connsiteX27" fmla="*/ 3677 w 10354"/>
                  <a:gd name="connsiteY27" fmla="*/ 8299 h 10000"/>
                  <a:gd name="connsiteX28" fmla="*/ 3687 w 10354"/>
                  <a:gd name="connsiteY28" fmla="*/ 8299 h 10000"/>
                  <a:gd name="connsiteX29" fmla="*/ 3691 w 10354"/>
                  <a:gd name="connsiteY29" fmla="*/ 8325 h 10000"/>
                  <a:gd name="connsiteX30" fmla="*/ 3700 w 10354"/>
                  <a:gd name="connsiteY30" fmla="*/ 8325 h 10000"/>
                  <a:gd name="connsiteX31" fmla="*/ 3714 w 10354"/>
                  <a:gd name="connsiteY31" fmla="*/ 8359 h 10000"/>
                  <a:gd name="connsiteX32" fmla="*/ 3719 w 10354"/>
                  <a:gd name="connsiteY32" fmla="*/ 8359 h 10000"/>
                  <a:gd name="connsiteX33" fmla="*/ 3724 w 10354"/>
                  <a:gd name="connsiteY33" fmla="*/ 8368 h 10000"/>
                  <a:gd name="connsiteX34" fmla="*/ 3719 w 10354"/>
                  <a:gd name="connsiteY34" fmla="*/ 8393 h 10000"/>
                  <a:gd name="connsiteX35" fmla="*/ 3724 w 10354"/>
                  <a:gd name="connsiteY35" fmla="*/ 8410 h 10000"/>
                  <a:gd name="connsiteX36" fmla="*/ 3724 w 10354"/>
                  <a:gd name="connsiteY36" fmla="*/ 8436 h 10000"/>
                  <a:gd name="connsiteX37" fmla="*/ 3737 w 10354"/>
                  <a:gd name="connsiteY37" fmla="*/ 8436 h 10000"/>
                  <a:gd name="connsiteX38" fmla="*/ 3765 w 10354"/>
                  <a:gd name="connsiteY38" fmla="*/ 8462 h 10000"/>
                  <a:gd name="connsiteX39" fmla="*/ 3765 w 10354"/>
                  <a:gd name="connsiteY39" fmla="*/ 8470 h 10000"/>
                  <a:gd name="connsiteX40" fmla="*/ 3765 w 10354"/>
                  <a:gd name="connsiteY40" fmla="*/ 8496 h 10000"/>
                  <a:gd name="connsiteX41" fmla="*/ 3774 w 10354"/>
                  <a:gd name="connsiteY41" fmla="*/ 8496 h 10000"/>
                  <a:gd name="connsiteX42" fmla="*/ 3779 w 10354"/>
                  <a:gd name="connsiteY42" fmla="*/ 8504 h 10000"/>
                  <a:gd name="connsiteX43" fmla="*/ 3793 w 10354"/>
                  <a:gd name="connsiteY43" fmla="*/ 8547 h 10000"/>
                  <a:gd name="connsiteX44" fmla="*/ 3797 w 10354"/>
                  <a:gd name="connsiteY44" fmla="*/ 8547 h 10000"/>
                  <a:gd name="connsiteX45" fmla="*/ 3820 w 10354"/>
                  <a:gd name="connsiteY45" fmla="*/ 8556 h 10000"/>
                  <a:gd name="connsiteX46" fmla="*/ 3834 w 10354"/>
                  <a:gd name="connsiteY46" fmla="*/ 8573 h 10000"/>
                  <a:gd name="connsiteX47" fmla="*/ 3853 w 10354"/>
                  <a:gd name="connsiteY47" fmla="*/ 8573 h 10000"/>
                  <a:gd name="connsiteX48" fmla="*/ 3857 w 10354"/>
                  <a:gd name="connsiteY48" fmla="*/ 8556 h 10000"/>
                  <a:gd name="connsiteX49" fmla="*/ 3866 w 10354"/>
                  <a:gd name="connsiteY49" fmla="*/ 8547 h 10000"/>
                  <a:gd name="connsiteX50" fmla="*/ 3880 w 10354"/>
                  <a:gd name="connsiteY50" fmla="*/ 8530 h 10000"/>
                  <a:gd name="connsiteX51" fmla="*/ 3885 w 10354"/>
                  <a:gd name="connsiteY51" fmla="*/ 8547 h 10000"/>
                  <a:gd name="connsiteX52" fmla="*/ 3885 w 10354"/>
                  <a:gd name="connsiteY52" fmla="*/ 8573 h 10000"/>
                  <a:gd name="connsiteX53" fmla="*/ 3899 w 10354"/>
                  <a:gd name="connsiteY53" fmla="*/ 8573 h 10000"/>
                  <a:gd name="connsiteX54" fmla="*/ 3908 w 10354"/>
                  <a:gd name="connsiteY54" fmla="*/ 8607 h 10000"/>
                  <a:gd name="connsiteX55" fmla="*/ 3912 w 10354"/>
                  <a:gd name="connsiteY55" fmla="*/ 8615 h 10000"/>
                  <a:gd name="connsiteX56" fmla="*/ 3922 w 10354"/>
                  <a:gd name="connsiteY56" fmla="*/ 8632 h 10000"/>
                  <a:gd name="connsiteX57" fmla="*/ 3908 w 10354"/>
                  <a:gd name="connsiteY57" fmla="*/ 8692 h 10000"/>
                  <a:gd name="connsiteX58" fmla="*/ 3908 w 10354"/>
                  <a:gd name="connsiteY58" fmla="*/ 8692 h 10000"/>
                  <a:gd name="connsiteX59" fmla="*/ 3931 w 10354"/>
                  <a:gd name="connsiteY59" fmla="*/ 8709 h 10000"/>
                  <a:gd name="connsiteX60" fmla="*/ 3954 w 10354"/>
                  <a:gd name="connsiteY60" fmla="*/ 8667 h 10000"/>
                  <a:gd name="connsiteX61" fmla="*/ 3959 w 10354"/>
                  <a:gd name="connsiteY61" fmla="*/ 8667 h 10000"/>
                  <a:gd name="connsiteX62" fmla="*/ 3972 w 10354"/>
                  <a:gd name="connsiteY62" fmla="*/ 8615 h 10000"/>
                  <a:gd name="connsiteX63" fmla="*/ 3995 w 10354"/>
                  <a:gd name="connsiteY63" fmla="*/ 8581 h 10000"/>
                  <a:gd name="connsiteX64" fmla="*/ 4032 w 10354"/>
                  <a:gd name="connsiteY64" fmla="*/ 8556 h 10000"/>
                  <a:gd name="connsiteX65" fmla="*/ 4138 w 10354"/>
                  <a:gd name="connsiteY65" fmla="*/ 8419 h 10000"/>
                  <a:gd name="connsiteX66" fmla="*/ 4249 w 10354"/>
                  <a:gd name="connsiteY66" fmla="*/ 8359 h 10000"/>
                  <a:gd name="connsiteX67" fmla="*/ 4295 w 10354"/>
                  <a:gd name="connsiteY67" fmla="*/ 8385 h 10000"/>
                  <a:gd name="connsiteX68" fmla="*/ 4309 w 10354"/>
                  <a:gd name="connsiteY68" fmla="*/ 8410 h 10000"/>
                  <a:gd name="connsiteX69" fmla="*/ 4355 w 10354"/>
                  <a:gd name="connsiteY69" fmla="*/ 8393 h 10000"/>
                  <a:gd name="connsiteX70" fmla="*/ 4382 w 10354"/>
                  <a:gd name="connsiteY70" fmla="*/ 8393 h 10000"/>
                  <a:gd name="connsiteX71" fmla="*/ 4419 w 10354"/>
                  <a:gd name="connsiteY71" fmla="*/ 8487 h 10000"/>
                  <a:gd name="connsiteX72" fmla="*/ 4442 w 10354"/>
                  <a:gd name="connsiteY72" fmla="*/ 8487 h 10000"/>
                  <a:gd name="connsiteX73" fmla="*/ 4493 w 10354"/>
                  <a:gd name="connsiteY73" fmla="*/ 8470 h 10000"/>
                  <a:gd name="connsiteX74" fmla="*/ 4516 w 10354"/>
                  <a:gd name="connsiteY74" fmla="*/ 8487 h 10000"/>
                  <a:gd name="connsiteX75" fmla="*/ 4608 w 10354"/>
                  <a:gd name="connsiteY75" fmla="*/ 8470 h 10000"/>
                  <a:gd name="connsiteX76" fmla="*/ 4622 w 10354"/>
                  <a:gd name="connsiteY76" fmla="*/ 8470 h 10000"/>
                  <a:gd name="connsiteX77" fmla="*/ 4618 w 10354"/>
                  <a:gd name="connsiteY77" fmla="*/ 8419 h 10000"/>
                  <a:gd name="connsiteX78" fmla="*/ 4622 w 10354"/>
                  <a:gd name="connsiteY78" fmla="*/ 8385 h 10000"/>
                  <a:gd name="connsiteX79" fmla="*/ 4636 w 10354"/>
                  <a:gd name="connsiteY79" fmla="*/ 8350 h 10000"/>
                  <a:gd name="connsiteX80" fmla="*/ 4636 w 10354"/>
                  <a:gd name="connsiteY80" fmla="*/ 8325 h 10000"/>
                  <a:gd name="connsiteX81" fmla="*/ 4622 w 10354"/>
                  <a:gd name="connsiteY81" fmla="*/ 8282 h 10000"/>
                  <a:gd name="connsiteX82" fmla="*/ 4618 w 10354"/>
                  <a:gd name="connsiteY82" fmla="*/ 8248 h 10000"/>
                  <a:gd name="connsiteX83" fmla="*/ 4618 w 10354"/>
                  <a:gd name="connsiteY83" fmla="*/ 8214 h 10000"/>
                  <a:gd name="connsiteX84" fmla="*/ 4691 w 10354"/>
                  <a:gd name="connsiteY84" fmla="*/ 8077 h 10000"/>
                  <a:gd name="connsiteX85" fmla="*/ 4700 w 10354"/>
                  <a:gd name="connsiteY85" fmla="*/ 8060 h 10000"/>
                  <a:gd name="connsiteX86" fmla="*/ 4728 w 10354"/>
                  <a:gd name="connsiteY86" fmla="*/ 8077 h 10000"/>
                  <a:gd name="connsiteX87" fmla="*/ 4751 w 10354"/>
                  <a:gd name="connsiteY87" fmla="*/ 8094 h 10000"/>
                  <a:gd name="connsiteX88" fmla="*/ 4788 w 10354"/>
                  <a:gd name="connsiteY88" fmla="*/ 8120 h 10000"/>
                  <a:gd name="connsiteX89" fmla="*/ 4802 w 10354"/>
                  <a:gd name="connsiteY89" fmla="*/ 8162 h 10000"/>
                  <a:gd name="connsiteX90" fmla="*/ 4885 w 10354"/>
                  <a:gd name="connsiteY90" fmla="*/ 8197 h 10000"/>
                  <a:gd name="connsiteX91" fmla="*/ 4889 w 10354"/>
                  <a:gd name="connsiteY91" fmla="*/ 8231 h 10000"/>
                  <a:gd name="connsiteX92" fmla="*/ 4899 w 10354"/>
                  <a:gd name="connsiteY92" fmla="*/ 8333 h 10000"/>
                  <a:gd name="connsiteX93" fmla="*/ 4903 w 10354"/>
                  <a:gd name="connsiteY93" fmla="*/ 8333 h 10000"/>
                  <a:gd name="connsiteX94" fmla="*/ 4949 w 10354"/>
                  <a:gd name="connsiteY94" fmla="*/ 8410 h 10000"/>
                  <a:gd name="connsiteX95" fmla="*/ 4991 w 10354"/>
                  <a:gd name="connsiteY95" fmla="*/ 8436 h 10000"/>
                  <a:gd name="connsiteX96" fmla="*/ 5023 w 10354"/>
                  <a:gd name="connsiteY96" fmla="*/ 8419 h 10000"/>
                  <a:gd name="connsiteX97" fmla="*/ 5092 w 10354"/>
                  <a:gd name="connsiteY97" fmla="*/ 8359 h 10000"/>
                  <a:gd name="connsiteX98" fmla="*/ 5180 w 10354"/>
                  <a:gd name="connsiteY98" fmla="*/ 8410 h 10000"/>
                  <a:gd name="connsiteX99" fmla="*/ 5189 w 10354"/>
                  <a:gd name="connsiteY99" fmla="*/ 8436 h 10000"/>
                  <a:gd name="connsiteX100" fmla="*/ 5198 w 10354"/>
                  <a:gd name="connsiteY100" fmla="*/ 8436 h 10000"/>
                  <a:gd name="connsiteX101" fmla="*/ 5226 w 10354"/>
                  <a:gd name="connsiteY101" fmla="*/ 8487 h 10000"/>
                  <a:gd name="connsiteX102" fmla="*/ 5276 w 10354"/>
                  <a:gd name="connsiteY102" fmla="*/ 8504 h 10000"/>
                  <a:gd name="connsiteX103" fmla="*/ 5290 w 10354"/>
                  <a:gd name="connsiteY103" fmla="*/ 8556 h 10000"/>
                  <a:gd name="connsiteX104" fmla="*/ 5323 w 10354"/>
                  <a:gd name="connsiteY104" fmla="*/ 8598 h 10000"/>
                  <a:gd name="connsiteX105" fmla="*/ 5447 w 10354"/>
                  <a:gd name="connsiteY105" fmla="*/ 8615 h 10000"/>
                  <a:gd name="connsiteX106" fmla="*/ 5465 w 10354"/>
                  <a:gd name="connsiteY106" fmla="*/ 8632 h 10000"/>
                  <a:gd name="connsiteX107" fmla="*/ 5604 w 10354"/>
                  <a:gd name="connsiteY107" fmla="*/ 8556 h 10000"/>
                  <a:gd name="connsiteX108" fmla="*/ 5677 w 10354"/>
                  <a:gd name="connsiteY108" fmla="*/ 8462 h 10000"/>
                  <a:gd name="connsiteX109" fmla="*/ 5705 w 10354"/>
                  <a:gd name="connsiteY109" fmla="*/ 8444 h 10000"/>
                  <a:gd name="connsiteX110" fmla="*/ 5737 w 10354"/>
                  <a:gd name="connsiteY110" fmla="*/ 8470 h 10000"/>
                  <a:gd name="connsiteX111" fmla="*/ 5760 w 10354"/>
                  <a:gd name="connsiteY111" fmla="*/ 8496 h 10000"/>
                  <a:gd name="connsiteX112" fmla="*/ 5788 w 10354"/>
                  <a:gd name="connsiteY112" fmla="*/ 8504 h 10000"/>
                  <a:gd name="connsiteX113" fmla="*/ 5806 w 10354"/>
                  <a:gd name="connsiteY113" fmla="*/ 8496 h 10000"/>
                  <a:gd name="connsiteX114" fmla="*/ 5820 w 10354"/>
                  <a:gd name="connsiteY114" fmla="*/ 8487 h 10000"/>
                  <a:gd name="connsiteX115" fmla="*/ 5825 w 10354"/>
                  <a:gd name="connsiteY115" fmla="*/ 8487 h 10000"/>
                  <a:gd name="connsiteX116" fmla="*/ 5825 w 10354"/>
                  <a:gd name="connsiteY116" fmla="*/ 8487 h 10000"/>
                  <a:gd name="connsiteX117" fmla="*/ 5926 w 10354"/>
                  <a:gd name="connsiteY117" fmla="*/ 8556 h 10000"/>
                  <a:gd name="connsiteX118" fmla="*/ 5940 w 10354"/>
                  <a:gd name="connsiteY118" fmla="*/ 8556 h 10000"/>
                  <a:gd name="connsiteX119" fmla="*/ 6014 w 10354"/>
                  <a:gd name="connsiteY119" fmla="*/ 8470 h 10000"/>
                  <a:gd name="connsiteX120" fmla="*/ 6018 w 10354"/>
                  <a:gd name="connsiteY120" fmla="*/ 8444 h 10000"/>
                  <a:gd name="connsiteX121" fmla="*/ 6014 w 10354"/>
                  <a:gd name="connsiteY121" fmla="*/ 8419 h 10000"/>
                  <a:gd name="connsiteX122" fmla="*/ 6018 w 10354"/>
                  <a:gd name="connsiteY122" fmla="*/ 8393 h 10000"/>
                  <a:gd name="connsiteX123" fmla="*/ 6041 w 10354"/>
                  <a:gd name="connsiteY123" fmla="*/ 8333 h 10000"/>
                  <a:gd name="connsiteX124" fmla="*/ 6069 w 10354"/>
                  <a:gd name="connsiteY124" fmla="*/ 8188 h 10000"/>
                  <a:gd name="connsiteX125" fmla="*/ 6088 w 10354"/>
                  <a:gd name="connsiteY125" fmla="*/ 8162 h 10000"/>
                  <a:gd name="connsiteX126" fmla="*/ 6115 w 10354"/>
                  <a:gd name="connsiteY126" fmla="*/ 8094 h 10000"/>
                  <a:gd name="connsiteX127" fmla="*/ 6115 w 10354"/>
                  <a:gd name="connsiteY127" fmla="*/ 8094 h 10000"/>
                  <a:gd name="connsiteX128" fmla="*/ 6106 w 10354"/>
                  <a:gd name="connsiteY128" fmla="*/ 8077 h 10000"/>
                  <a:gd name="connsiteX129" fmla="*/ 6106 w 10354"/>
                  <a:gd name="connsiteY129" fmla="*/ 8009 h 10000"/>
                  <a:gd name="connsiteX130" fmla="*/ 6101 w 10354"/>
                  <a:gd name="connsiteY130" fmla="*/ 8000 h 10000"/>
                  <a:gd name="connsiteX131" fmla="*/ 6069 w 10354"/>
                  <a:gd name="connsiteY131" fmla="*/ 8009 h 10000"/>
                  <a:gd name="connsiteX132" fmla="*/ 6069 w 10354"/>
                  <a:gd name="connsiteY132" fmla="*/ 8000 h 10000"/>
                  <a:gd name="connsiteX133" fmla="*/ 6069 w 10354"/>
                  <a:gd name="connsiteY133" fmla="*/ 7974 h 10000"/>
                  <a:gd name="connsiteX134" fmla="*/ 6101 w 10354"/>
                  <a:gd name="connsiteY134" fmla="*/ 7923 h 10000"/>
                  <a:gd name="connsiteX135" fmla="*/ 6106 w 10354"/>
                  <a:gd name="connsiteY135" fmla="*/ 7889 h 10000"/>
                  <a:gd name="connsiteX136" fmla="*/ 6129 w 10354"/>
                  <a:gd name="connsiteY136" fmla="*/ 7863 h 10000"/>
                  <a:gd name="connsiteX137" fmla="*/ 6300 w 10354"/>
                  <a:gd name="connsiteY137" fmla="*/ 7812 h 10000"/>
                  <a:gd name="connsiteX138" fmla="*/ 6359 w 10354"/>
                  <a:gd name="connsiteY138" fmla="*/ 7872 h 10000"/>
                  <a:gd name="connsiteX139" fmla="*/ 6373 w 10354"/>
                  <a:gd name="connsiteY139" fmla="*/ 7889 h 10000"/>
                  <a:gd name="connsiteX140" fmla="*/ 6401 w 10354"/>
                  <a:gd name="connsiteY140" fmla="*/ 7889 h 10000"/>
                  <a:gd name="connsiteX141" fmla="*/ 6433 w 10354"/>
                  <a:gd name="connsiteY141" fmla="*/ 7915 h 10000"/>
                  <a:gd name="connsiteX142" fmla="*/ 6461 w 10354"/>
                  <a:gd name="connsiteY142" fmla="*/ 7974 h 10000"/>
                  <a:gd name="connsiteX143" fmla="*/ 6461 w 10354"/>
                  <a:gd name="connsiteY143" fmla="*/ 8000 h 10000"/>
                  <a:gd name="connsiteX144" fmla="*/ 6484 w 10354"/>
                  <a:gd name="connsiteY144" fmla="*/ 8034 h 10000"/>
                  <a:gd name="connsiteX145" fmla="*/ 6484 w 10354"/>
                  <a:gd name="connsiteY145" fmla="*/ 8051 h 10000"/>
                  <a:gd name="connsiteX146" fmla="*/ 6484 w 10354"/>
                  <a:gd name="connsiteY146" fmla="*/ 8034 h 10000"/>
                  <a:gd name="connsiteX147" fmla="*/ 6558 w 10354"/>
                  <a:gd name="connsiteY147" fmla="*/ 8444 h 10000"/>
                  <a:gd name="connsiteX148" fmla="*/ 6558 w 10354"/>
                  <a:gd name="connsiteY148" fmla="*/ 8462 h 10000"/>
                  <a:gd name="connsiteX149" fmla="*/ 6558 w 10354"/>
                  <a:gd name="connsiteY149" fmla="*/ 8462 h 10000"/>
                  <a:gd name="connsiteX150" fmla="*/ 6562 w 10354"/>
                  <a:gd name="connsiteY150" fmla="*/ 8547 h 10000"/>
                  <a:gd name="connsiteX151" fmla="*/ 6576 w 10354"/>
                  <a:gd name="connsiteY151" fmla="*/ 8573 h 10000"/>
                  <a:gd name="connsiteX152" fmla="*/ 6604 w 10354"/>
                  <a:gd name="connsiteY152" fmla="*/ 8581 h 10000"/>
                  <a:gd name="connsiteX153" fmla="*/ 6631 w 10354"/>
                  <a:gd name="connsiteY153" fmla="*/ 8556 h 10000"/>
                  <a:gd name="connsiteX154" fmla="*/ 6691 w 10354"/>
                  <a:gd name="connsiteY154" fmla="*/ 8607 h 10000"/>
                  <a:gd name="connsiteX155" fmla="*/ 6728 w 10354"/>
                  <a:gd name="connsiteY155" fmla="*/ 8667 h 10000"/>
                  <a:gd name="connsiteX156" fmla="*/ 6742 w 10354"/>
                  <a:gd name="connsiteY156" fmla="*/ 8684 h 10000"/>
                  <a:gd name="connsiteX157" fmla="*/ 6765 w 10354"/>
                  <a:gd name="connsiteY157" fmla="*/ 8684 h 10000"/>
                  <a:gd name="connsiteX158" fmla="*/ 6765 w 10354"/>
                  <a:gd name="connsiteY158" fmla="*/ 8709 h 10000"/>
                  <a:gd name="connsiteX159" fmla="*/ 6765 w 10354"/>
                  <a:gd name="connsiteY159" fmla="*/ 8709 h 10000"/>
                  <a:gd name="connsiteX160" fmla="*/ 6770 w 10354"/>
                  <a:gd name="connsiteY160" fmla="*/ 8709 h 10000"/>
                  <a:gd name="connsiteX161" fmla="*/ 6770 w 10354"/>
                  <a:gd name="connsiteY161" fmla="*/ 8744 h 10000"/>
                  <a:gd name="connsiteX162" fmla="*/ 6779 w 10354"/>
                  <a:gd name="connsiteY162" fmla="*/ 8769 h 10000"/>
                  <a:gd name="connsiteX163" fmla="*/ 6779 w 10354"/>
                  <a:gd name="connsiteY163" fmla="*/ 8846 h 10000"/>
                  <a:gd name="connsiteX164" fmla="*/ 6797 w 10354"/>
                  <a:gd name="connsiteY164" fmla="*/ 8906 h 10000"/>
                  <a:gd name="connsiteX165" fmla="*/ 6816 w 10354"/>
                  <a:gd name="connsiteY165" fmla="*/ 8906 h 10000"/>
                  <a:gd name="connsiteX166" fmla="*/ 6843 w 10354"/>
                  <a:gd name="connsiteY166" fmla="*/ 8915 h 10000"/>
                  <a:gd name="connsiteX167" fmla="*/ 6862 w 10354"/>
                  <a:gd name="connsiteY167" fmla="*/ 8906 h 10000"/>
                  <a:gd name="connsiteX168" fmla="*/ 6935 w 10354"/>
                  <a:gd name="connsiteY168" fmla="*/ 8829 h 10000"/>
                  <a:gd name="connsiteX169" fmla="*/ 6963 w 10354"/>
                  <a:gd name="connsiteY169" fmla="*/ 8829 h 10000"/>
                  <a:gd name="connsiteX170" fmla="*/ 7046 w 10354"/>
                  <a:gd name="connsiteY170" fmla="*/ 8769 h 10000"/>
                  <a:gd name="connsiteX171" fmla="*/ 7046 w 10354"/>
                  <a:gd name="connsiteY171" fmla="*/ 8769 h 10000"/>
                  <a:gd name="connsiteX172" fmla="*/ 7032 w 10354"/>
                  <a:gd name="connsiteY172" fmla="*/ 8803 h 10000"/>
                  <a:gd name="connsiteX173" fmla="*/ 7032 w 10354"/>
                  <a:gd name="connsiteY173" fmla="*/ 8846 h 10000"/>
                  <a:gd name="connsiteX174" fmla="*/ 7037 w 10354"/>
                  <a:gd name="connsiteY174" fmla="*/ 8880 h 10000"/>
                  <a:gd name="connsiteX175" fmla="*/ 7037 w 10354"/>
                  <a:gd name="connsiteY175" fmla="*/ 8932 h 10000"/>
                  <a:gd name="connsiteX176" fmla="*/ 7005 w 10354"/>
                  <a:gd name="connsiteY176" fmla="*/ 8983 h 10000"/>
                  <a:gd name="connsiteX177" fmla="*/ 6977 w 10354"/>
                  <a:gd name="connsiteY177" fmla="*/ 9188 h 10000"/>
                  <a:gd name="connsiteX178" fmla="*/ 6935 w 10354"/>
                  <a:gd name="connsiteY178" fmla="*/ 9316 h 10000"/>
                  <a:gd name="connsiteX179" fmla="*/ 6931 w 10354"/>
                  <a:gd name="connsiteY179" fmla="*/ 9368 h 10000"/>
                  <a:gd name="connsiteX180" fmla="*/ 6917 w 10354"/>
                  <a:gd name="connsiteY180" fmla="*/ 9376 h 10000"/>
                  <a:gd name="connsiteX181" fmla="*/ 6912 w 10354"/>
                  <a:gd name="connsiteY181" fmla="*/ 9376 h 10000"/>
                  <a:gd name="connsiteX182" fmla="*/ 6848 w 10354"/>
                  <a:gd name="connsiteY182" fmla="*/ 9342 h 10000"/>
                  <a:gd name="connsiteX183" fmla="*/ 6788 w 10354"/>
                  <a:gd name="connsiteY183" fmla="*/ 9436 h 10000"/>
                  <a:gd name="connsiteX184" fmla="*/ 6802 w 10354"/>
                  <a:gd name="connsiteY184" fmla="*/ 9462 h 10000"/>
                  <a:gd name="connsiteX185" fmla="*/ 6811 w 10354"/>
                  <a:gd name="connsiteY185" fmla="*/ 9667 h 10000"/>
                  <a:gd name="connsiteX186" fmla="*/ 6788 w 10354"/>
                  <a:gd name="connsiteY186" fmla="*/ 9709 h 10000"/>
                  <a:gd name="connsiteX187" fmla="*/ 6765 w 10354"/>
                  <a:gd name="connsiteY187" fmla="*/ 9752 h 10000"/>
                  <a:gd name="connsiteX188" fmla="*/ 6765 w 10354"/>
                  <a:gd name="connsiteY188" fmla="*/ 9803 h 10000"/>
                  <a:gd name="connsiteX189" fmla="*/ 6770 w 10354"/>
                  <a:gd name="connsiteY189" fmla="*/ 9821 h 10000"/>
                  <a:gd name="connsiteX190" fmla="*/ 6779 w 10354"/>
                  <a:gd name="connsiteY190" fmla="*/ 9812 h 10000"/>
                  <a:gd name="connsiteX191" fmla="*/ 6779 w 10354"/>
                  <a:gd name="connsiteY191" fmla="*/ 9803 h 10000"/>
                  <a:gd name="connsiteX192" fmla="*/ 6770 w 10354"/>
                  <a:gd name="connsiteY192" fmla="*/ 9786 h 10000"/>
                  <a:gd name="connsiteX193" fmla="*/ 6811 w 10354"/>
                  <a:gd name="connsiteY193" fmla="*/ 9786 h 10000"/>
                  <a:gd name="connsiteX194" fmla="*/ 6816 w 10354"/>
                  <a:gd name="connsiteY194" fmla="*/ 9761 h 10000"/>
                  <a:gd name="connsiteX195" fmla="*/ 6825 w 10354"/>
                  <a:gd name="connsiteY195" fmla="*/ 9752 h 10000"/>
                  <a:gd name="connsiteX196" fmla="*/ 6825 w 10354"/>
                  <a:gd name="connsiteY196" fmla="*/ 9726 h 10000"/>
                  <a:gd name="connsiteX197" fmla="*/ 6843 w 10354"/>
                  <a:gd name="connsiteY197" fmla="*/ 9701 h 10000"/>
                  <a:gd name="connsiteX198" fmla="*/ 6848 w 10354"/>
                  <a:gd name="connsiteY198" fmla="*/ 9650 h 10000"/>
                  <a:gd name="connsiteX199" fmla="*/ 6848 w 10354"/>
                  <a:gd name="connsiteY199" fmla="*/ 9675 h 10000"/>
                  <a:gd name="connsiteX200" fmla="*/ 6862 w 10354"/>
                  <a:gd name="connsiteY200" fmla="*/ 9675 h 10000"/>
                  <a:gd name="connsiteX201" fmla="*/ 6857 w 10354"/>
                  <a:gd name="connsiteY201" fmla="*/ 9701 h 10000"/>
                  <a:gd name="connsiteX202" fmla="*/ 6857 w 10354"/>
                  <a:gd name="connsiteY202" fmla="*/ 9701 h 10000"/>
                  <a:gd name="connsiteX203" fmla="*/ 6876 w 10354"/>
                  <a:gd name="connsiteY203" fmla="*/ 9684 h 10000"/>
                  <a:gd name="connsiteX204" fmla="*/ 6885 w 10354"/>
                  <a:gd name="connsiteY204" fmla="*/ 9675 h 10000"/>
                  <a:gd name="connsiteX205" fmla="*/ 6876 w 10354"/>
                  <a:gd name="connsiteY205" fmla="*/ 9735 h 10000"/>
                  <a:gd name="connsiteX206" fmla="*/ 6885 w 10354"/>
                  <a:gd name="connsiteY206" fmla="*/ 9752 h 10000"/>
                  <a:gd name="connsiteX207" fmla="*/ 6903 w 10354"/>
                  <a:gd name="connsiteY207" fmla="*/ 9752 h 10000"/>
                  <a:gd name="connsiteX208" fmla="*/ 6917 w 10354"/>
                  <a:gd name="connsiteY208" fmla="*/ 9761 h 10000"/>
                  <a:gd name="connsiteX209" fmla="*/ 6917 w 10354"/>
                  <a:gd name="connsiteY209" fmla="*/ 9761 h 10000"/>
                  <a:gd name="connsiteX210" fmla="*/ 6922 w 10354"/>
                  <a:gd name="connsiteY210" fmla="*/ 9778 h 10000"/>
                  <a:gd name="connsiteX211" fmla="*/ 6945 w 10354"/>
                  <a:gd name="connsiteY211" fmla="*/ 9778 h 10000"/>
                  <a:gd name="connsiteX212" fmla="*/ 6972 w 10354"/>
                  <a:gd name="connsiteY212" fmla="*/ 9752 h 10000"/>
                  <a:gd name="connsiteX213" fmla="*/ 6977 w 10354"/>
                  <a:gd name="connsiteY213" fmla="*/ 9752 h 10000"/>
                  <a:gd name="connsiteX214" fmla="*/ 7069 w 10354"/>
                  <a:gd name="connsiteY214" fmla="*/ 9624 h 10000"/>
                  <a:gd name="connsiteX215" fmla="*/ 7097 w 10354"/>
                  <a:gd name="connsiteY215" fmla="*/ 9547 h 10000"/>
                  <a:gd name="connsiteX216" fmla="*/ 7106 w 10354"/>
                  <a:gd name="connsiteY216" fmla="*/ 9530 h 10000"/>
                  <a:gd name="connsiteX217" fmla="*/ 7124 w 10354"/>
                  <a:gd name="connsiteY217" fmla="*/ 9479 h 10000"/>
                  <a:gd name="connsiteX218" fmla="*/ 7138 w 10354"/>
                  <a:gd name="connsiteY218" fmla="*/ 9462 h 10000"/>
                  <a:gd name="connsiteX219" fmla="*/ 7378 w 10354"/>
                  <a:gd name="connsiteY219" fmla="*/ 8795 h 10000"/>
                  <a:gd name="connsiteX220" fmla="*/ 7392 w 10354"/>
                  <a:gd name="connsiteY220" fmla="*/ 8795 h 10000"/>
                  <a:gd name="connsiteX221" fmla="*/ 7401 w 10354"/>
                  <a:gd name="connsiteY221" fmla="*/ 8769 h 10000"/>
                  <a:gd name="connsiteX222" fmla="*/ 7406 w 10354"/>
                  <a:gd name="connsiteY222" fmla="*/ 8692 h 10000"/>
                  <a:gd name="connsiteX223" fmla="*/ 7406 w 10354"/>
                  <a:gd name="connsiteY223" fmla="*/ 8667 h 10000"/>
                  <a:gd name="connsiteX224" fmla="*/ 7419 w 10354"/>
                  <a:gd name="connsiteY224" fmla="*/ 8598 h 10000"/>
                  <a:gd name="connsiteX225" fmla="*/ 7419 w 10354"/>
                  <a:gd name="connsiteY225" fmla="*/ 8496 h 10000"/>
                  <a:gd name="connsiteX226" fmla="*/ 7424 w 10354"/>
                  <a:gd name="connsiteY226" fmla="*/ 8470 h 10000"/>
                  <a:gd name="connsiteX227" fmla="*/ 7424 w 10354"/>
                  <a:gd name="connsiteY227" fmla="*/ 8462 h 10000"/>
                  <a:gd name="connsiteX228" fmla="*/ 7419 w 10354"/>
                  <a:gd name="connsiteY228" fmla="*/ 8462 h 10000"/>
                  <a:gd name="connsiteX229" fmla="*/ 7410 w 10354"/>
                  <a:gd name="connsiteY229" fmla="*/ 8350 h 10000"/>
                  <a:gd name="connsiteX230" fmla="*/ 7419 w 10354"/>
                  <a:gd name="connsiteY230" fmla="*/ 8325 h 10000"/>
                  <a:gd name="connsiteX231" fmla="*/ 7424 w 10354"/>
                  <a:gd name="connsiteY231" fmla="*/ 8248 h 10000"/>
                  <a:gd name="connsiteX232" fmla="*/ 7433 w 10354"/>
                  <a:gd name="connsiteY232" fmla="*/ 8248 h 10000"/>
                  <a:gd name="connsiteX233" fmla="*/ 7433 w 10354"/>
                  <a:gd name="connsiteY233" fmla="*/ 8231 h 10000"/>
                  <a:gd name="connsiteX234" fmla="*/ 7433 w 10354"/>
                  <a:gd name="connsiteY234" fmla="*/ 8222 h 10000"/>
                  <a:gd name="connsiteX235" fmla="*/ 7433 w 10354"/>
                  <a:gd name="connsiteY235" fmla="*/ 8214 h 10000"/>
                  <a:gd name="connsiteX236" fmla="*/ 7447 w 10354"/>
                  <a:gd name="connsiteY236" fmla="*/ 8162 h 10000"/>
                  <a:gd name="connsiteX237" fmla="*/ 7461 w 10354"/>
                  <a:gd name="connsiteY237" fmla="*/ 8162 h 10000"/>
                  <a:gd name="connsiteX238" fmla="*/ 7475 w 10354"/>
                  <a:gd name="connsiteY238" fmla="*/ 8111 h 10000"/>
                  <a:gd name="connsiteX239" fmla="*/ 7475 w 10354"/>
                  <a:gd name="connsiteY239" fmla="*/ 8085 h 10000"/>
                  <a:gd name="connsiteX240" fmla="*/ 7479 w 10354"/>
                  <a:gd name="connsiteY240" fmla="*/ 8060 h 10000"/>
                  <a:gd name="connsiteX241" fmla="*/ 7452 w 10354"/>
                  <a:gd name="connsiteY241" fmla="*/ 8009 h 10000"/>
                  <a:gd name="connsiteX242" fmla="*/ 7465 w 10354"/>
                  <a:gd name="connsiteY242" fmla="*/ 7974 h 10000"/>
                  <a:gd name="connsiteX243" fmla="*/ 7452 w 10354"/>
                  <a:gd name="connsiteY243" fmla="*/ 7923 h 10000"/>
                  <a:gd name="connsiteX244" fmla="*/ 7433 w 10354"/>
                  <a:gd name="connsiteY244" fmla="*/ 7889 h 10000"/>
                  <a:gd name="connsiteX245" fmla="*/ 7419 w 10354"/>
                  <a:gd name="connsiteY245" fmla="*/ 7889 h 10000"/>
                  <a:gd name="connsiteX246" fmla="*/ 7401 w 10354"/>
                  <a:gd name="connsiteY246" fmla="*/ 7863 h 10000"/>
                  <a:gd name="connsiteX247" fmla="*/ 7387 w 10354"/>
                  <a:gd name="connsiteY247" fmla="*/ 7863 h 10000"/>
                  <a:gd name="connsiteX248" fmla="*/ 7373 w 10354"/>
                  <a:gd name="connsiteY248" fmla="*/ 7863 h 10000"/>
                  <a:gd name="connsiteX249" fmla="*/ 7387 w 10354"/>
                  <a:gd name="connsiteY249" fmla="*/ 7846 h 10000"/>
                  <a:gd name="connsiteX250" fmla="*/ 7401 w 10354"/>
                  <a:gd name="connsiteY250" fmla="*/ 7846 h 10000"/>
                  <a:gd name="connsiteX251" fmla="*/ 7410 w 10354"/>
                  <a:gd name="connsiteY251" fmla="*/ 7863 h 10000"/>
                  <a:gd name="connsiteX252" fmla="*/ 7424 w 10354"/>
                  <a:gd name="connsiteY252" fmla="*/ 7872 h 10000"/>
                  <a:gd name="connsiteX253" fmla="*/ 7433 w 10354"/>
                  <a:gd name="connsiteY253" fmla="*/ 7863 h 10000"/>
                  <a:gd name="connsiteX254" fmla="*/ 7461 w 10354"/>
                  <a:gd name="connsiteY254" fmla="*/ 7897 h 10000"/>
                  <a:gd name="connsiteX255" fmla="*/ 7465 w 10354"/>
                  <a:gd name="connsiteY255" fmla="*/ 7889 h 10000"/>
                  <a:gd name="connsiteX256" fmla="*/ 7475 w 10354"/>
                  <a:gd name="connsiteY256" fmla="*/ 7863 h 10000"/>
                  <a:gd name="connsiteX257" fmla="*/ 7475 w 10354"/>
                  <a:gd name="connsiteY257" fmla="*/ 7838 h 10000"/>
                  <a:gd name="connsiteX258" fmla="*/ 7465 w 10354"/>
                  <a:gd name="connsiteY258" fmla="*/ 7838 h 10000"/>
                  <a:gd name="connsiteX259" fmla="*/ 7406 w 10354"/>
                  <a:gd name="connsiteY259" fmla="*/ 7752 h 10000"/>
                  <a:gd name="connsiteX260" fmla="*/ 7401 w 10354"/>
                  <a:gd name="connsiteY260" fmla="*/ 7735 h 10000"/>
                  <a:gd name="connsiteX261" fmla="*/ 7401 w 10354"/>
                  <a:gd name="connsiteY261" fmla="*/ 7701 h 10000"/>
                  <a:gd name="connsiteX262" fmla="*/ 7378 w 10354"/>
                  <a:gd name="connsiteY262" fmla="*/ 7675 h 10000"/>
                  <a:gd name="connsiteX263" fmla="*/ 7373 w 10354"/>
                  <a:gd name="connsiteY263" fmla="*/ 7667 h 10000"/>
                  <a:gd name="connsiteX264" fmla="*/ 7364 w 10354"/>
                  <a:gd name="connsiteY264" fmla="*/ 7650 h 10000"/>
                  <a:gd name="connsiteX265" fmla="*/ 7364 w 10354"/>
                  <a:gd name="connsiteY265" fmla="*/ 7641 h 10000"/>
                  <a:gd name="connsiteX266" fmla="*/ 7350 w 10354"/>
                  <a:gd name="connsiteY266" fmla="*/ 7641 h 10000"/>
                  <a:gd name="connsiteX267" fmla="*/ 7336 w 10354"/>
                  <a:gd name="connsiteY267" fmla="*/ 7650 h 10000"/>
                  <a:gd name="connsiteX268" fmla="*/ 7327 w 10354"/>
                  <a:gd name="connsiteY268" fmla="*/ 7650 h 10000"/>
                  <a:gd name="connsiteX269" fmla="*/ 7300 w 10354"/>
                  <a:gd name="connsiteY269" fmla="*/ 7641 h 10000"/>
                  <a:gd name="connsiteX270" fmla="*/ 7300 w 10354"/>
                  <a:gd name="connsiteY270" fmla="*/ 7675 h 10000"/>
                  <a:gd name="connsiteX271" fmla="*/ 7300 w 10354"/>
                  <a:gd name="connsiteY271" fmla="*/ 7692 h 10000"/>
                  <a:gd name="connsiteX272" fmla="*/ 7286 w 10354"/>
                  <a:gd name="connsiteY272" fmla="*/ 7786 h 10000"/>
                  <a:gd name="connsiteX273" fmla="*/ 7272 w 10354"/>
                  <a:gd name="connsiteY273" fmla="*/ 7803 h 10000"/>
                  <a:gd name="connsiteX274" fmla="*/ 7276 w 10354"/>
                  <a:gd name="connsiteY274" fmla="*/ 7761 h 10000"/>
                  <a:gd name="connsiteX275" fmla="*/ 7286 w 10354"/>
                  <a:gd name="connsiteY275" fmla="*/ 7735 h 10000"/>
                  <a:gd name="connsiteX276" fmla="*/ 7276 w 10354"/>
                  <a:gd name="connsiteY276" fmla="*/ 7709 h 10000"/>
                  <a:gd name="connsiteX277" fmla="*/ 7258 w 10354"/>
                  <a:gd name="connsiteY277" fmla="*/ 7761 h 10000"/>
                  <a:gd name="connsiteX278" fmla="*/ 7217 w 10354"/>
                  <a:gd name="connsiteY278" fmla="*/ 7786 h 10000"/>
                  <a:gd name="connsiteX279" fmla="*/ 7203 w 10354"/>
                  <a:gd name="connsiteY279" fmla="*/ 7786 h 10000"/>
                  <a:gd name="connsiteX280" fmla="*/ 7198 w 10354"/>
                  <a:gd name="connsiteY280" fmla="*/ 7778 h 10000"/>
                  <a:gd name="connsiteX281" fmla="*/ 7212 w 10354"/>
                  <a:gd name="connsiteY281" fmla="*/ 7761 h 10000"/>
                  <a:gd name="connsiteX282" fmla="*/ 7230 w 10354"/>
                  <a:gd name="connsiteY282" fmla="*/ 7726 h 10000"/>
                  <a:gd name="connsiteX283" fmla="*/ 7226 w 10354"/>
                  <a:gd name="connsiteY283" fmla="*/ 7709 h 10000"/>
                  <a:gd name="connsiteX284" fmla="*/ 7212 w 10354"/>
                  <a:gd name="connsiteY284" fmla="*/ 7701 h 10000"/>
                  <a:gd name="connsiteX285" fmla="*/ 7203 w 10354"/>
                  <a:gd name="connsiteY285" fmla="*/ 7675 h 10000"/>
                  <a:gd name="connsiteX286" fmla="*/ 7217 w 10354"/>
                  <a:gd name="connsiteY286" fmla="*/ 7675 h 10000"/>
                  <a:gd name="connsiteX287" fmla="*/ 7226 w 10354"/>
                  <a:gd name="connsiteY287" fmla="*/ 7650 h 10000"/>
                  <a:gd name="connsiteX288" fmla="*/ 7226 w 10354"/>
                  <a:gd name="connsiteY288" fmla="*/ 7641 h 10000"/>
                  <a:gd name="connsiteX289" fmla="*/ 7203 w 10354"/>
                  <a:gd name="connsiteY289" fmla="*/ 7641 h 10000"/>
                  <a:gd name="connsiteX290" fmla="*/ 7198 w 10354"/>
                  <a:gd name="connsiteY290" fmla="*/ 7650 h 10000"/>
                  <a:gd name="connsiteX291" fmla="*/ 7194 w 10354"/>
                  <a:gd name="connsiteY291" fmla="*/ 7675 h 10000"/>
                  <a:gd name="connsiteX292" fmla="*/ 7198 w 10354"/>
                  <a:gd name="connsiteY292" fmla="*/ 7692 h 10000"/>
                  <a:gd name="connsiteX293" fmla="*/ 7198 w 10354"/>
                  <a:gd name="connsiteY293" fmla="*/ 7709 h 10000"/>
                  <a:gd name="connsiteX294" fmla="*/ 7184 w 10354"/>
                  <a:gd name="connsiteY294" fmla="*/ 7726 h 10000"/>
                  <a:gd name="connsiteX295" fmla="*/ 7180 w 10354"/>
                  <a:gd name="connsiteY295" fmla="*/ 7726 h 10000"/>
                  <a:gd name="connsiteX296" fmla="*/ 7171 w 10354"/>
                  <a:gd name="connsiteY296" fmla="*/ 7752 h 10000"/>
                  <a:gd name="connsiteX297" fmla="*/ 7166 w 10354"/>
                  <a:gd name="connsiteY297" fmla="*/ 7735 h 10000"/>
                  <a:gd name="connsiteX298" fmla="*/ 7171 w 10354"/>
                  <a:gd name="connsiteY298" fmla="*/ 7624 h 10000"/>
                  <a:gd name="connsiteX299" fmla="*/ 7171 w 10354"/>
                  <a:gd name="connsiteY299" fmla="*/ 7615 h 10000"/>
                  <a:gd name="connsiteX300" fmla="*/ 7171 w 10354"/>
                  <a:gd name="connsiteY300" fmla="*/ 7590 h 10000"/>
                  <a:gd name="connsiteX301" fmla="*/ 7166 w 10354"/>
                  <a:gd name="connsiteY301" fmla="*/ 7564 h 10000"/>
                  <a:gd name="connsiteX302" fmla="*/ 7157 w 10354"/>
                  <a:gd name="connsiteY302" fmla="*/ 7564 h 10000"/>
                  <a:gd name="connsiteX303" fmla="*/ 7097 w 10354"/>
                  <a:gd name="connsiteY303" fmla="*/ 7573 h 10000"/>
                  <a:gd name="connsiteX304" fmla="*/ 7065 w 10354"/>
                  <a:gd name="connsiteY304" fmla="*/ 7538 h 10000"/>
                  <a:gd name="connsiteX305" fmla="*/ 7069 w 10354"/>
                  <a:gd name="connsiteY305" fmla="*/ 7504 h 10000"/>
                  <a:gd name="connsiteX306" fmla="*/ 7106 w 10354"/>
                  <a:gd name="connsiteY306" fmla="*/ 7453 h 10000"/>
                  <a:gd name="connsiteX307" fmla="*/ 7111 w 10354"/>
                  <a:gd name="connsiteY307" fmla="*/ 7436 h 10000"/>
                  <a:gd name="connsiteX308" fmla="*/ 7138 w 10354"/>
                  <a:gd name="connsiteY308" fmla="*/ 7402 h 10000"/>
                  <a:gd name="connsiteX309" fmla="*/ 7143 w 10354"/>
                  <a:gd name="connsiteY309" fmla="*/ 7376 h 10000"/>
                  <a:gd name="connsiteX310" fmla="*/ 7152 w 10354"/>
                  <a:gd name="connsiteY310" fmla="*/ 7368 h 10000"/>
                  <a:gd name="connsiteX311" fmla="*/ 7157 w 10354"/>
                  <a:gd name="connsiteY311" fmla="*/ 7350 h 10000"/>
                  <a:gd name="connsiteX312" fmla="*/ 7230 w 10354"/>
                  <a:gd name="connsiteY312" fmla="*/ 7239 h 10000"/>
                  <a:gd name="connsiteX313" fmla="*/ 7240 w 10354"/>
                  <a:gd name="connsiteY313" fmla="*/ 7205 h 10000"/>
                  <a:gd name="connsiteX314" fmla="*/ 7253 w 10354"/>
                  <a:gd name="connsiteY314" fmla="*/ 7188 h 10000"/>
                  <a:gd name="connsiteX315" fmla="*/ 7258 w 10354"/>
                  <a:gd name="connsiteY315" fmla="*/ 7162 h 10000"/>
                  <a:gd name="connsiteX316" fmla="*/ 7258 w 10354"/>
                  <a:gd name="connsiteY316" fmla="*/ 7154 h 10000"/>
                  <a:gd name="connsiteX317" fmla="*/ 7272 w 10354"/>
                  <a:gd name="connsiteY317" fmla="*/ 7120 h 10000"/>
                  <a:gd name="connsiteX318" fmla="*/ 7276 w 10354"/>
                  <a:gd name="connsiteY318" fmla="*/ 7094 h 10000"/>
                  <a:gd name="connsiteX319" fmla="*/ 7286 w 10354"/>
                  <a:gd name="connsiteY319" fmla="*/ 7094 h 10000"/>
                  <a:gd name="connsiteX320" fmla="*/ 7290 w 10354"/>
                  <a:gd name="connsiteY320" fmla="*/ 7068 h 10000"/>
                  <a:gd name="connsiteX321" fmla="*/ 7332 w 10354"/>
                  <a:gd name="connsiteY321" fmla="*/ 6991 h 10000"/>
                  <a:gd name="connsiteX322" fmla="*/ 7336 w 10354"/>
                  <a:gd name="connsiteY322" fmla="*/ 6991 h 10000"/>
                  <a:gd name="connsiteX323" fmla="*/ 7364 w 10354"/>
                  <a:gd name="connsiteY323" fmla="*/ 6940 h 10000"/>
                  <a:gd name="connsiteX324" fmla="*/ 7373 w 10354"/>
                  <a:gd name="connsiteY324" fmla="*/ 6906 h 10000"/>
                  <a:gd name="connsiteX325" fmla="*/ 7378 w 10354"/>
                  <a:gd name="connsiteY325" fmla="*/ 6915 h 10000"/>
                  <a:gd name="connsiteX326" fmla="*/ 7406 w 10354"/>
                  <a:gd name="connsiteY326" fmla="*/ 6880 h 10000"/>
                  <a:gd name="connsiteX327" fmla="*/ 7410 w 10354"/>
                  <a:gd name="connsiteY327" fmla="*/ 6846 h 10000"/>
                  <a:gd name="connsiteX328" fmla="*/ 7419 w 10354"/>
                  <a:gd name="connsiteY328" fmla="*/ 6803 h 10000"/>
                  <a:gd name="connsiteX329" fmla="*/ 7585 w 10354"/>
                  <a:gd name="connsiteY329" fmla="*/ 6504 h 10000"/>
                  <a:gd name="connsiteX330" fmla="*/ 7765 w 10354"/>
                  <a:gd name="connsiteY330" fmla="*/ 6504 h 10000"/>
                  <a:gd name="connsiteX331" fmla="*/ 7765 w 10354"/>
                  <a:gd name="connsiteY331" fmla="*/ 6530 h 10000"/>
                  <a:gd name="connsiteX332" fmla="*/ 7774 w 10354"/>
                  <a:gd name="connsiteY332" fmla="*/ 6556 h 10000"/>
                  <a:gd name="connsiteX333" fmla="*/ 7779 w 10354"/>
                  <a:gd name="connsiteY333" fmla="*/ 6556 h 10000"/>
                  <a:gd name="connsiteX334" fmla="*/ 7793 w 10354"/>
                  <a:gd name="connsiteY334" fmla="*/ 6547 h 10000"/>
                  <a:gd name="connsiteX335" fmla="*/ 7793 w 10354"/>
                  <a:gd name="connsiteY335" fmla="*/ 6530 h 10000"/>
                  <a:gd name="connsiteX336" fmla="*/ 7802 w 10354"/>
                  <a:gd name="connsiteY336" fmla="*/ 6496 h 10000"/>
                  <a:gd name="connsiteX337" fmla="*/ 7806 w 10354"/>
                  <a:gd name="connsiteY337" fmla="*/ 6487 h 10000"/>
                  <a:gd name="connsiteX338" fmla="*/ 7876 w 10354"/>
                  <a:gd name="connsiteY338" fmla="*/ 6530 h 10000"/>
                  <a:gd name="connsiteX339" fmla="*/ 7894 w 10354"/>
                  <a:gd name="connsiteY339" fmla="*/ 6530 h 10000"/>
                  <a:gd name="connsiteX340" fmla="*/ 7894 w 10354"/>
                  <a:gd name="connsiteY340" fmla="*/ 6504 h 10000"/>
                  <a:gd name="connsiteX341" fmla="*/ 7899 w 10354"/>
                  <a:gd name="connsiteY341" fmla="*/ 6504 h 10000"/>
                  <a:gd name="connsiteX342" fmla="*/ 7926 w 10354"/>
                  <a:gd name="connsiteY342" fmla="*/ 6504 h 10000"/>
                  <a:gd name="connsiteX343" fmla="*/ 7940 w 10354"/>
                  <a:gd name="connsiteY343" fmla="*/ 6547 h 10000"/>
                  <a:gd name="connsiteX344" fmla="*/ 7949 w 10354"/>
                  <a:gd name="connsiteY344" fmla="*/ 6547 h 10000"/>
                  <a:gd name="connsiteX345" fmla="*/ 7963 w 10354"/>
                  <a:gd name="connsiteY345" fmla="*/ 6530 h 10000"/>
                  <a:gd name="connsiteX346" fmla="*/ 7963 w 10354"/>
                  <a:gd name="connsiteY346" fmla="*/ 6504 h 10000"/>
                  <a:gd name="connsiteX347" fmla="*/ 7963 w 10354"/>
                  <a:gd name="connsiteY347" fmla="*/ 6504 h 10000"/>
                  <a:gd name="connsiteX348" fmla="*/ 7954 w 10354"/>
                  <a:gd name="connsiteY348" fmla="*/ 6496 h 10000"/>
                  <a:gd name="connsiteX349" fmla="*/ 7963 w 10354"/>
                  <a:gd name="connsiteY349" fmla="*/ 6487 h 10000"/>
                  <a:gd name="connsiteX350" fmla="*/ 7982 w 10354"/>
                  <a:gd name="connsiteY350" fmla="*/ 6487 h 10000"/>
                  <a:gd name="connsiteX351" fmla="*/ 7982 w 10354"/>
                  <a:gd name="connsiteY351" fmla="*/ 6470 h 10000"/>
                  <a:gd name="connsiteX352" fmla="*/ 7972 w 10354"/>
                  <a:gd name="connsiteY352" fmla="*/ 6462 h 10000"/>
                  <a:gd name="connsiteX353" fmla="*/ 7972 w 10354"/>
                  <a:gd name="connsiteY353" fmla="*/ 6436 h 10000"/>
                  <a:gd name="connsiteX354" fmla="*/ 7986 w 10354"/>
                  <a:gd name="connsiteY354" fmla="*/ 6419 h 10000"/>
                  <a:gd name="connsiteX355" fmla="*/ 8000 w 10354"/>
                  <a:gd name="connsiteY355" fmla="*/ 6419 h 10000"/>
                  <a:gd name="connsiteX356" fmla="*/ 8055 w 10354"/>
                  <a:gd name="connsiteY356" fmla="*/ 6462 h 10000"/>
                  <a:gd name="connsiteX357" fmla="*/ 8069 w 10354"/>
                  <a:gd name="connsiteY357" fmla="*/ 6444 h 10000"/>
                  <a:gd name="connsiteX358" fmla="*/ 8083 w 10354"/>
                  <a:gd name="connsiteY358" fmla="*/ 6470 h 10000"/>
                  <a:gd name="connsiteX359" fmla="*/ 8083 w 10354"/>
                  <a:gd name="connsiteY359" fmla="*/ 6487 h 10000"/>
                  <a:gd name="connsiteX360" fmla="*/ 8097 w 10354"/>
                  <a:gd name="connsiteY360" fmla="*/ 6487 h 10000"/>
                  <a:gd name="connsiteX361" fmla="*/ 8101 w 10354"/>
                  <a:gd name="connsiteY361" fmla="*/ 6462 h 10000"/>
                  <a:gd name="connsiteX362" fmla="*/ 8115 w 10354"/>
                  <a:gd name="connsiteY362" fmla="*/ 6462 h 10000"/>
                  <a:gd name="connsiteX363" fmla="*/ 8129 w 10354"/>
                  <a:gd name="connsiteY363" fmla="*/ 6462 h 10000"/>
                  <a:gd name="connsiteX364" fmla="*/ 8157 w 10354"/>
                  <a:gd name="connsiteY364" fmla="*/ 6496 h 10000"/>
                  <a:gd name="connsiteX365" fmla="*/ 8157 w 10354"/>
                  <a:gd name="connsiteY365" fmla="*/ 6521 h 10000"/>
                  <a:gd name="connsiteX366" fmla="*/ 8180 w 10354"/>
                  <a:gd name="connsiteY366" fmla="*/ 6530 h 10000"/>
                  <a:gd name="connsiteX367" fmla="*/ 8180 w 10354"/>
                  <a:gd name="connsiteY367" fmla="*/ 6547 h 10000"/>
                  <a:gd name="connsiteX368" fmla="*/ 8171 w 10354"/>
                  <a:gd name="connsiteY368" fmla="*/ 6556 h 10000"/>
                  <a:gd name="connsiteX369" fmla="*/ 8129 w 10354"/>
                  <a:gd name="connsiteY369" fmla="*/ 6556 h 10000"/>
                  <a:gd name="connsiteX370" fmla="*/ 8106 w 10354"/>
                  <a:gd name="connsiteY370" fmla="*/ 6573 h 10000"/>
                  <a:gd name="connsiteX371" fmla="*/ 8115 w 10354"/>
                  <a:gd name="connsiteY371" fmla="*/ 6581 h 10000"/>
                  <a:gd name="connsiteX372" fmla="*/ 8129 w 10354"/>
                  <a:gd name="connsiteY372" fmla="*/ 6632 h 10000"/>
                  <a:gd name="connsiteX373" fmla="*/ 8171 w 10354"/>
                  <a:gd name="connsiteY373" fmla="*/ 6632 h 10000"/>
                  <a:gd name="connsiteX374" fmla="*/ 8180 w 10354"/>
                  <a:gd name="connsiteY374" fmla="*/ 6624 h 10000"/>
                  <a:gd name="connsiteX375" fmla="*/ 8189 w 10354"/>
                  <a:gd name="connsiteY375" fmla="*/ 6598 h 10000"/>
                  <a:gd name="connsiteX376" fmla="*/ 8203 w 10354"/>
                  <a:gd name="connsiteY376" fmla="*/ 6581 h 10000"/>
                  <a:gd name="connsiteX377" fmla="*/ 8207 w 10354"/>
                  <a:gd name="connsiteY377" fmla="*/ 6607 h 10000"/>
                  <a:gd name="connsiteX378" fmla="*/ 8221 w 10354"/>
                  <a:gd name="connsiteY378" fmla="*/ 6624 h 10000"/>
                  <a:gd name="connsiteX379" fmla="*/ 8235 w 10354"/>
                  <a:gd name="connsiteY379" fmla="*/ 6607 h 10000"/>
                  <a:gd name="connsiteX380" fmla="*/ 8240 w 10354"/>
                  <a:gd name="connsiteY380" fmla="*/ 6581 h 10000"/>
                  <a:gd name="connsiteX381" fmla="*/ 8253 w 10354"/>
                  <a:gd name="connsiteY381" fmla="*/ 6573 h 10000"/>
                  <a:gd name="connsiteX382" fmla="*/ 8263 w 10354"/>
                  <a:gd name="connsiteY382" fmla="*/ 6556 h 10000"/>
                  <a:gd name="connsiteX383" fmla="*/ 8276 w 10354"/>
                  <a:gd name="connsiteY383" fmla="*/ 6547 h 10000"/>
                  <a:gd name="connsiteX384" fmla="*/ 8290 w 10354"/>
                  <a:gd name="connsiteY384" fmla="*/ 6556 h 10000"/>
                  <a:gd name="connsiteX385" fmla="*/ 8304 w 10354"/>
                  <a:gd name="connsiteY385" fmla="*/ 6581 h 10000"/>
                  <a:gd name="connsiteX386" fmla="*/ 8309 w 10354"/>
                  <a:gd name="connsiteY386" fmla="*/ 6581 h 10000"/>
                  <a:gd name="connsiteX387" fmla="*/ 8327 w 10354"/>
                  <a:gd name="connsiteY387" fmla="*/ 6573 h 10000"/>
                  <a:gd name="connsiteX388" fmla="*/ 8327 w 10354"/>
                  <a:gd name="connsiteY388" fmla="*/ 6556 h 10000"/>
                  <a:gd name="connsiteX389" fmla="*/ 8350 w 10354"/>
                  <a:gd name="connsiteY389" fmla="*/ 6556 h 10000"/>
                  <a:gd name="connsiteX390" fmla="*/ 8355 w 10354"/>
                  <a:gd name="connsiteY390" fmla="*/ 6573 h 10000"/>
                  <a:gd name="connsiteX391" fmla="*/ 8364 w 10354"/>
                  <a:gd name="connsiteY391" fmla="*/ 6556 h 10000"/>
                  <a:gd name="connsiteX392" fmla="*/ 8369 w 10354"/>
                  <a:gd name="connsiteY392" fmla="*/ 6556 h 10000"/>
                  <a:gd name="connsiteX393" fmla="*/ 8378 w 10354"/>
                  <a:gd name="connsiteY393" fmla="*/ 6530 h 10000"/>
                  <a:gd name="connsiteX394" fmla="*/ 8369 w 10354"/>
                  <a:gd name="connsiteY394" fmla="*/ 6504 h 10000"/>
                  <a:gd name="connsiteX395" fmla="*/ 8364 w 10354"/>
                  <a:gd name="connsiteY395" fmla="*/ 6496 h 10000"/>
                  <a:gd name="connsiteX396" fmla="*/ 8336 w 10354"/>
                  <a:gd name="connsiteY396" fmla="*/ 6470 h 10000"/>
                  <a:gd name="connsiteX397" fmla="*/ 8309 w 10354"/>
                  <a:gd name="connsiteY397" fmla="*/ 6487 h 10000"/>
                  <a:gd name="connsiteX398" fmla="*/ 8313 w 10354"/>
                  <a:gd name="connsiteY398" fmla="*/ 6462 h 10000"/>
                  <a:gd name="connsiteX399" fmla="*/ 8323 w 10354"/>
                  <a:gd name="connsiteY399" fmla="*/ 6444 h 10000"/>
                  <a:gd name="connsiteX400" fmla="*/ 8309 w 10354"/>
                  <a:gd name="connsiteY400" fmla="*/ 6393 h 10000"/>
                  <a:gd name="connsiteX401" fmla="*/ 8313 w 10354"/>
                  <a:gd name="connsiteY401" fmla="*/ 6385 h 10000"/>
                  <a:gd name="connsiteX402" fmla="*/ 8323 w 10354"/>
                  <a:gd name="connsiteY402" fmla="*/ 6393 h 10000"/>
                  <a:gd name="connsiteX403" fmla="*/ 8323 w 10354"/>
                  <a:gd name="connsiteY403" fmla="*/ 6393 h 10000"/>
                  <a:gd name="connsiteX404" fmla="*/ 8355 w 10354"/>
                  <a:gd name="connsiteY404" fmla="*/ 6282 h 10000"/>
                  <a:gd name="connsiteX405" fmla="*/ 8369 w 10354"/>
                  <a:gd name="connsiteY405" fmla="*/ 6256 h 10000"/>
                  <a:gd name="connsiteX406" fmla="*/ 8382 w 10354"/>
                  <a:gd name="connsiteY406" fmla="*/ 6248 h 10000"/>
                  <a:gd name="connsiteX407" fmla="*/ 8424 w 10354"/>
                  <a:gd name="connsiteY407" fmla="*/ 6162 h 10000"/>
                  <a:gd name="connsiteX408" fmla="*/ 8429 w 10354"/>
                  <a:gd name="connsiteY408" fmla="*/ 6145 h 10000"/>
                  <a:gd name="connsiteX409" fmla="*/ 8470 w 10354"/>
                  <a:gd name="connsiteY409" fmla="*/ 6051 h 10000"/>
                  <a:gd name="connsiteX410" fmla="*/ 8475 w 10354"/>
                  <a:gd name="connsiteY410" fmla="*/ 5983 h 10000"/>
                  <a:gd name="connsiteX411" fmla="*/ 8512 w 10354"/>
                  <a:gd name="connsiteY411" fmla="*/ 5940 h 10000"/>
                  <a:gd name="connsiteX412" fmla="*/ 8521 w 10354"/>
                  <a:gd name="connsiteY412" fmla="*/ 5923 h 10000"/>
                  <a:gd name="connsiteX413" fmla="*/ 8535 w 10354"/>
                  <a:gd name="connsiteY413" fmla="*/ 5915 h 10000"/>
                  <a:gd name="connsiteX414" fmla="*/ 8562 w 10354"/>
                  <a:gd name="connsiteY414" fmla="*/ 5915 h 10000"/>
                  <a:gd name="connsiteX415" fmla="*/ 8618 w 10354"/>
                  <a:gd name="connsiteY415" fmla="*/ 5889 h 10000"/>
                  <a:gd name="connsiteX416" fmla="*/ 8622 w 10354"/>
                  <a:gd name="connsiteY416" fmla="*/ 5889 h 10000"/>
                  <a:gd name="connsiteX417" fmla="*/ 8622 w 10354"/>
                  <a:gd name="connsiteY417" fmla="*/ 5872 h 10000"/>
                  <a:gd name="connsiteX418" fmla="*/ 8636 w 10354"/>
                  <a:gd name="connsiteY418" fmla="*/ 5872 h 10000"/>
                  <a:gd name="connsiteX419" fmla="*/ 8650 w 10354"/>
                  <a:gd name="connsiteY419" fmla="*/ 5889 h 10000"/>
                  <a:gd name="connsiteX420" fmla="*/ 8659 w 10354"/>
                  <a:gd name="connsiteY420" fmla="*/ 5915 h 10000"/>
                  <a:gd name="connsiteX421" fmla="*/ 8664 w 10354"/>
                  <a:gd name="connsiteY421" fmla="*/ 5940 h 10000"/>
                  <a:gd name="connsiteX422" fmla="*/ 8682 w 10354"/>
                  <a:gd name="connsiteY422" fmla="*/ 5923 h 10000"/>
                  <a:gd name="connsiteX423" fmla="*/ 8719 w 10354"/>
                  <a:gd name="connsiteY423" fmla="*/ 5863 h 10000"/>
                  <a:gd name="connsiteX424" fmla="*/ 8705 w 10354"/>
                  <a:gd name="connsiteY424" fmla="*/ 5966 h 10000"/>
                  <a:gd name="connsiteX425" fmla="*/ 8696 w 10354"/>
                  <a:gd name="connsiteY425" fmla="*/ 5983 h 10000"/>
                  <a:gd name="connsiteX426" fmla="*/ 8682 w 10354"/>
                  <a:gd name="connsiteY426" fmla="*/ 6026 h 10000"/>
                  <a:gd name="connsiteX427" fmla="*/ 8682 w 10354"/>
                  <a:gd name="connsiteY427" fmla="*/ 6051 h 10000"/>
                  <a:gd name="connsiteX428" fmla="*/ 8691 w 10354"/>
                  <a:gd name="connsiteY428" fmla="*/ 6077 h 10000"/>
                  <a:gd name="connsiteX429" fmla="*/ 8691 w 10354"/>
                  <a:gd name="connsiteY429" fmla="*/ 6085 h 10000"/>
                  <a:gd name="connsiteX430" fmla="*/ 8682 w 10354"/>
                  <a:gd name="connsiteY430" fmla="*/ 6103 h 10000"/>
                  <a:gd name="connsiteX431" fmla="*/ 8682 w 10354"/>
                  <a:gd name="connsiteY431" fmla="*/ 6111 h 10000"/>
                  <a:gd name="connsiteX432" fmla="*/ 8691 w 10354"/>
                  <a:gd name="connsiteY432" fmla="*/ 6120 h 10000"/>
                  <a:gd name="connsiteX433" fmla="*/ 8719 w 10354"/>
                  <a:gd name="connsiteY433" fmla="*/ 6103 h 10000"/>
                  <a:gd name="connsiteX434" fmla="*/ 8705 w 10354"/>
                  <a:gd name="connsiteY434" fmla="*/ 6188 h 10000"/>
                  <a:gd name="connsiteX435" fmla="*/ 8705 w 10354"/>
                  <a:gd name="connsiteY435" fmla="*/ 6214 h 10000"/>
                  <a:gd name="connsiteX436" fmla="*/ 8710 w 10354"/>
                  <a:gd name="connsiteY436" fmla="*/ 6197 h 10000"/>
                  <a:gd name="connsiteX437" fmla="*/ 8728 w 10354"/>
                  <a:gd name="connsiteY437" fmla="*/ 6171 h 10000"/>
                  <a:gd name="connsiteX438" fmla="*/ 8737 w 10354"/>
                  <a:gd name="connsiteY438" fmla="*/ 6171 h 10000"/>
                  <a:gd name="connsiteX439" fmla="*/ 8843 w 10354"/>
                  <a:gd name="connsiteY439" fmla="*/ 5949 h 10000"/>
                  <a:gd name="connsiteX440" fmla="*/ 8866 w 10354"/>
                  <a:gd name="connsiteY440" fmla="*/ 5949 h 10000"/>
                  <a:gd name="connsiteX441" fmla="*/ 8871 w 10354"/>
                  <a:gd name="connsiteY441" fmla="*/ 5940 h 10000"/>
                  <a:gd name="connsiteX442" fmla="*/ 8876 w 10354"/>
                  <a:gd name="connsiteY442" fmla="*/ 5923 h 10000"/>
                  <a:gd name="connsiteX443" fmla="*/ 8885 w 10354"/>
                  <a:gd name="connsiteY443" fmla="*/ 5940 h 10000"/>
                  <a:gd name="connsiteX444" fmla="*/ 8885 w 10354"/>
                  <a:gd name="connsiteY444" fmla="*/ 5949 h 10000"/>
                  <a:gd name="connsiteX445" fmla="*/ 8885 w 10354"/>
                  <a:gd name="connsiteY445" fmla="*/ 5974 h 10000"/>
                  <a:gd name="connsiteX446" fmla="*/ 8889 w 10354"/>
                  <a:gd name="connsiteY446" fmla="*/ 5974 h 10000"/>
                  <a:gd name="connsiteX447" fmla="*/ 8903 w 10354"/>
                  <a:gd name="connsiteY447" fmla="*/ 5923 h 10000"/>
                  <a:gd name="connsiteX448" fmla="*/ 8889 w 10354"/>
                  <a:gd name="connsiteY448" fmla="*/ 5923 h 10000"/>
                  <a:gd name="connsiteX449" fmla="*/ 8889 w 10354"/>
                  <a:gd name="connsiteY449" fmla="*/ 5897 h 10000"/>
                  <a:gd name="connsiteX450" fmla="*/ 8899 w 10354"/>
                  <a:gd name="connsiteY450" fmla="*/ 5838 h 10000"/>
                  <a:gd name="connsiteX451" fmla="*/ 8889 w 10354"/>
                  <a:gd name="connsiteY451" fmla="*/ 5812 h 10000"/>
                  <a:gd name="connsiteX452" fmla="*/ 8903 w 10354"/>
                  <a:gd name="connsiteY452" fmla="*/ 5778 h 10000"/>
                  <a:gd name="connsiteX453" fmla="*/ 8903 w 10354"/>
                  <a:gd name="connsiteY453" fmla="*/ 5761 h 10000"/>
                  <a:gd name="connsiteX454" fmla="*/ 8912 w 10354"/>
                  <a:gd name="connsiteY454" fmla="*/ 5735 h 10000"/>
                  <a:gd name="connsiteX455" fmla="*/ 8931 w 10354"/>
                  <a:gd name="connsiteY455" fmla="*/ 5701 h 10000"/>
                  <a:gd name="connsiteX456" fmla="*/ 8977 w 10354"/>
                  <a:gd name="connsiteY456" fmla="*/ 5675 h 10000"/>
                  <a:gd name="connsiteX457" fmla="*/ 9000 w 10354"/>
                  <a:gd name="connsiteY457" fmla="*/ 5675 h 10000"/>
                  <a:gd name="connsiteX458" fmla="*/ 9018 w 10354"/>
                  <a:gd name="connsiteY458" fmla="*/ 5709 h 10000"/>
                  <a:gd name="connsiteX459" fmla="*/ 9009 w 10354"/>
                  <a:gd name="connsiteY459" fmla="*/ 5735 h 10000"/>
                  <a:gd name="connsiteX460" fmla="*/ 9000 w 10354"/>
                  <a:gd name="connsiteY460" fmla="*/ 5735 h 10000"/>
                  <a:gd name="connsiteX461" fmla="*/ 8963 w 10354"/>
                  <a:gd name="connsiteY461" fmla="*/ 5786 h 10000"/>
                  <a:gd name="connsiteX462" fmla="*/ 8949 w 10354"/>
                  <a:gd name="connsiteY462" fmla="*/ 5940 h 10000"/>
                  <a:gd name="connsiteX463" fmla="*/ 8945 w 10354"/>
                  <a:gd name="connsiteY463" fmla="*/ 5966 h 10000"/>
                  <a:gd name="connsiteX464" fmla="*/ 8945 w 10354"/>
                  <a:gd name="connsiteY464" fmla="*/ 6000 h 10000"/>
                  <a:gd name="connsiteX465" fmla="*/ 8945 w 10354"/>
                  <a:gd name="connsiteY465" fmla="*/ 6009 h 10000"/>
                  <a:gd name="connsiteX466" fmla="*/ 8945 w 10354"/>
                  <a:gd name="connsiteY466" fmla="*/ 6034 h 10000"/>
                  <a:gd name="connsiteX467" fmla="*/ 8931 w 10354"/>
                  <a:gd name="connsiteY467" fmla="*/ 6060 h 10000"/>
                  <a:gd name="connsiteX468" fmla="*/ 8926 w 10354"/>
                  <a:gd name="connsiteY468" fmla="*/ 6077 h 10000"/>
                  <a:gd name="connsiteX469" fmla="*/ 8926 w 10354"/>
                  <a:gd name="connsiteY469" fmla="*/ 6111 h 10000"/>
                  <a:gd name="connsiteX470" fmla="*/ 8931 w 10354"/>
                  <a:gd name="connsiteY470" fmla="*/ 6120 h 10000"/>
                  <a:gd name="connsiteX471" fmla="*/ 8931 w 10354"/>
                  <a:gd name="connsiteY471" fmla="*/ 6137 h 10000"/>
                  <a:gd name="connsiteX472" fmla="*/ 8912 w 10354"/>
                  <a:gd name="connsiteY472" fmla="*/ 6171 h 10000"/>
                  <a:gd name="connsiteX473" fmla="*/ 8899 w 10354"/>
                  <a:gd name="connsiteY473" fmla="*/ 6162 h 10000"/>
                  <a:gd name="connsiteX474" fmla="*/ 8885 w 10354"/>
                  <a:gd name="connsiteY474" fmla="*/ 6171 h 10000"/>
                  <a:gd name="connsiteX475" fmla="*/ 8866 w 10354"/>
                  <a:gd name="connsiteY475" fmla="*/ 6214 h 10000"/>
                  <a:gd name="connsiteX476" fmla="*/ 8853 w 10354"/>
                  <a:gd name="connsiteY476" fmla="*/ 6214 h 10000"/>
                  <a:gd name="connsiteX477" fmla="*/ 8816 w 10354"/>
                  <a:gd name="connsiteY477" fmla="*/ 6248 h 10000"/>
                  <a:gd name="connsiteX478" fmla="*/ 8816 w 10354"/>
                  <a:gd name="connsiteY478" fmla="*/ 6248 h 10000"/>
                  <a:gd name="connsiteX479" fmla="*/ 8816 w 10354"/>
                  <a:gd name="connsiteY479" fmla="*/ 6282 h 10000"/>
                  <a:gd name="connsiteX480" fmla="*/ 8811 w 10354"/>
                  <a:gd name="connsiteY480" fmla="*/ 6308 h 10000"/>
                  <a:gd name="connsiteX481" fmla="*/ 8751 w 10354"/>
                  <a:gd name="connsiteY481" fmla="*/ 6436 h 10000"/>
                  <a:gd name="connsiteX482" fmla="*/ 8724 w 10354"/>
                  <a:gd name="connsiteY482" fmla="*/ 6470 h 10000"/>
                  <a:gd name="connsiteX483" fmla="*/ 8710 w 10354"/>
                  <a:gd name="connsiteY483" fmla="*/ 6504 h 10000"/>
                  <a:gd name="connsiteX484" fmla="*/ 8705 w 10354"/>
                  <a:gd name="connsiteY484" fmla="*/ 6521 h 10000"/>
                  <a:gd name="connsiteX485" fmla="*/ 8677 w 10354"/>
                  <a:gd name="connsiteY485" fmla="*/ 6573 h 10000"/>
                  <a:gd name="connsiteX486" fmla="*/ 8677 w 10354"/>
                  <a:gd name="connsiteY486" fmla="*/ 6624 h 10000"/>
                  <a:gd name="connsiteX487" fmla="*/ 8590 w 10354"/>
                  <a:gd name="connsiteY487" fmla="*/ 6803 h 10000"/>
                  <a:gd name="connsiteX488" fmla="*/ 8562 w 10354"/>
                  <a:gd name="connsiteY488" fmla="*/ 6829 h 10000"/>
                  <a:gd name="connsiteX489" fmla="*/ 8544 w 10354"/>
                  <a:gd name="connsiteY489" fmla="*/ 6829 h 10000"/>
                  <a:gd name="connsiteX490" fmla="*/ 8521 w 10354"/>
                  <a:gd name="connsiteY490" fmla="*/ 6880 h 10000"/>
                  <a:gd name="connsiteX491" fmla="*/ 8498 w 10354"/>
                  <a:gd name="connsiteY491" fmla="*/ 6872 h 10000"/>
                  <a:gd name="connsiteX492" fmla="*/ 8488 w 10354"/>
                  <a:gd name="connsiteY492" fmla="*/ 6872 h 10000"/>
                  <a:gd name="connsiteX493" fmla="*/ 8498 w 10354"/>
                  <a:gd name="connsiteY493" fmla="*/ 6940 h 10000"/>
                  <a:gd name="connsiteX494" fmla="*/ 8484 w 10354"/>
                  <a:gd name="connsiteY494" fmla="*/ 7026 h 10000"/>
                  <a:gd name="connsiteX495" fmla="*/ 8429 w 10354"/>
                  <a:gd name="connsiteY495" fmla="*/ 7094 h 10000"/>
                  <a:gd name="connsiteX496" fmla="*/ 8401 w 10354"/>
                  <a:gd name="connsiteY496" fmla="*/ 7291 h 10000"/>
                  <a:gd name="connsiteX497" fmla="*/ 8424 w 10354"/>
                  <a:gd name="connsiteY497" fmla="*/ 7692 h 10000"/>
                  <a:gd name="connsiteX498" fmla="*/ 8424 w 10354"/>
                  <a:gd name="connsiteY498" fmla="*/ 7701 h 10000"/>
                  <a:gd name="connsiteX499" fmla="*/ 8484 w 10354"/>
                  <a:gd name="connsiteY499" fmla="*/ 8308 h 10000"/>
                  <a:gd name="connsiteX500" fmla="*/ 8576 w 10354"/>
                  <a:gd name="connsiteY500" fmla="*/ 8120 h 10000"/>
                  <a:gd name="connsiteX501" fmla="*/ 8590 w 10354"/>
                  <a:gd name="connsiteY501" fmla="*/ 8026 h 10000"/>
                  <a:gd name="connsiteX502" fmla="*/ 8590 w 10354"/>
                  <a:gd name="connsiteY502" fmla="*/ 7983 h 10000"/>
                  <a:gd name="connsiteX503" fmla="*/ 8594 w 10354"/>
                  <a:gd name="connsiteY503" fmla="*/ 7974 h 10000"/>
                  <a:gd name="connsiteX504" fmla="*/ 8594 w 10354"/>
                  <a:gd name="connsiteY504" fmla="*/ 7940 h 10000"/>
                  <a:gd name="connsiteX505" fmla="*/ 8594 w 10354"/>
                  <a:gd name="connsiteY505" fmla="*/ 7923 h 10000"/>
                  <a:gd name="connsiteX506" fmla="*/ 8594 w 10354"/>
                  <a:gd name="connsiteY506" fmla="*/ 7915 h 10000"/>
                  <a:gd name="connsiteX507" fmla="*/ 8604 w 10354"/>
                  <a:gd name="connsiteY507" fmla="*/ 7915 h 10000"/>
                  <a:gd name="connsiteX508" fmla="*/ 8608 w 10354"/>
                  <a:gd name="connsiteY508" fmla="*/ 7923 h 10000"/>
                  <a:gd name="connsiteX509" fmla="*/ 8645 w 10354"/>
                  <a:gd name="connsiteY509" fmla="*/ 7872 h 10000"/>
                  <a:gd name="connsiteX510" fmla="*/ 8668 w 10354"/>
                  <a:gd name="connsiteY510" fmla="*/ 7846 h 10000"/>
                  <a:gd name="connsiteX511" fmla="*/ 8691 w 10354"/>
                  <a:gd name="connsiteY511" fmla="*/ 7863 h 10000"/>
                  <a:gd name="connsiteX512" fmla="*/ 8691 w 10354"/>
                  <a:gd name="connsiteY512" fmla="*/ 7846 h 10000"/>
                  <a:gd name="connsiteX513" fmla="*/ 8682 w 10354"/>
                  <a:gd name="connsiteY513" fmla="*/ 7838 h 10000"/>
                  <a:gd name="connsiteX514" fmla="*/ 8682 w 10354"/>
                  <a:gd name="connsiteY514" fmla="*/ 7692 h 10000"/>
                  <a:gd name="connsiteX515" fmla="*/ 8728 w 10354"/>
                  <a:gd name="connsiteY515" fmla="*/ 7598 h 10000"/>
                  <a:gd name="connsiteX516" fmla="*/ 8751 w 10354"/>
                  <a:gd name="connsiteY516" fmla="*/ 7573 h 10000"/>
                  <a:gd name="connsiteX517" fmla="*/ 8770 w 10354"/>
                  <a:gd name="connsiteY517" fmla="*/ 7573 h 10000"/>
                  <a:gd name="connsiteX518" fmla="*/ 8779 w 10354"/>
                  <a:gd name="connsiteY518" fmla="*/ 7590 h 10000"/>
                  <a:gd name="connsiteX519" fmla="*/ 8793 w 10354"/>
                  <a:gd name="connsiteY519" fmla="*/ 7590 h 10000"/>
                  <a:gd name="connsiteX520" fmla="*/ 8811 w 10354"/>
                  <a:gd name="connsiteY520" fmla="*/ 7590 h 10000"/>
                  <a:gd name="connsiteX521" fmla="*/ 8825 w 10354"/>
                  <a:gd name="connsiteY521" fmla="*/ 7556 h 10000"/>
                  <a:gd name="connsiteX522" fmla="*/ 8829 w 10354"/>
                  <a:gd name="connsiteY522" fmla="*/ 7530 h 10000"/>
                  <a:gd name="connsiteX523" fmla="*/ 8802 w 10354"/>
                  <a:gd name="connsiteY523" fmla="*/ 7462 h 10000"/>
                  <a:gd name="connsiteX524" fmla="*/ 8797 w 10354"/>
                  <a:gd name="connsiteY524" fmla="*/ 7402 h 10000"/>
                  <a:gd name="connsiteX525" fmla="*/ 8816 w 10354"/>
                  <a:gd name="connsiteY525" fmla="*/ 7291 h 10000"/>
                  <a:gd name="connsiteX526" fmla="*/ 8825 w 10354"/>
                  <a:gd name="connsiteY526" fmla="*/ 7256 h 10000"/>
                  <a:gd name="connsiteX527" fmla="*/ 8843 w 10354"/>
                  <a:gd name="connsiteY527" fmla="*/ 7231 h 10000"/>
                  <a:gd name="connsiteX528" fmla="*/ 8839 w 10354"/>
                  <a:gd name="connsiteY528" fmla="*/ 7205 h 10000"/>
                  <a:gd name="connsiteX529" fmla="*/ 8839 w 10354"/>
                  <a:gd name="connsiteY529" fmla="*/ 7188 h 10000"/>
                  <a:gd name="connsiteX530" fmla="*/ 8876 w 10354"/>
                  <a:gd name="connsiteY530" fmla="*/ 7162 h 10000"/>
                  <a:gd name="connsiteX531" fmla="*/ 8885 w 10354"/>
                  <a:gd name="connsiteY531" fmla="*/ 7154 h 10000"/>
                  <a:gd name="connsiteX532" fmla="*/ 8885 w 10354"/>
                  <a:gd name="connsiteY532" fmla="*/ 7162 h 10000"/>
                  <a:gd name="connsiteX533" fmla="*/ 8876 w 10354"/>
                  <a:gd name="connsiteY533" fmla="*/ 7188 h 10000"/>
                  <a:gd name="connsiteX534" fmla="*/ 8871 w 10354"/>
                  <a:gd name="connsiteY534" fmla="*/ 7205 h 10000"/>
                  <a:gd name="connsiteX535" fmla="*/ 8866 w 10354"/>
                  <a:gd name="connsiteY535" fmla="*/ 7214 h 10000"/>
                  <a:gd name="connsiteX536" fmla="*/ 8876 w 10354"/>
                  <a:gd name="connsiteY536" fmla="*/ 7265 h 10000"/>
                  <a:gd name="connsiteX537" fmla="*/ 8885 w 10354"/>
                  <a:gd name="connsiteY537" fmla="*/ 7282 h 10000"/>
                  <a:gd name="connsiteX538" fmla="*/ 8889 w 10354"/>
                  <a:gd name="connsiteY538" fmla="*/ 7282 h 10000"/>
                  <a:gd name="connsiteX539" fmla="*/ 8903 w 10354"/>
                  <a:gd name="connsiteY539" fmla="*/ 7239 h 10000"/>
                  <a:gd name="connsiteX540" fmla="*/ 8903 w 10354"/>
                  <a:gd name="connsiteY540" fmla="*/ 7214 h 10000"/>
                  <a:gd name="connsiteX541" fmla="*/ 8899 w 10354"/>
                  <a:gd name="connsiteY541" fmla="*/ 7128 h 10000"/>
                  <a:gd name="connsiteX542" fmla="*/ 8889 w 10354"/>
                  <a:gd name="connsiteY542" fmla="*/ 7120 h 10000"/>
                  <a:gd name="connsiteX543" fmla="*/ 8871 w 10354"/>
                  <a:gd name="connsiteY543" fmla="*/ 7120 h 10000"/>
                  <a:gd name="connsiteX544" fmla="*/ 8871 w 10354"/>
                  <a:gd name="connsiteY544" fmla="*/ 7120 h 10000"/>
                  <a:gd name="connsiteX545" fmla="*/ 8871 w 10354"/>
                  <a:gd name="connsiteY545" fmla="*/ 6991 h 10000"/>
                  <a:gd name="connsiteX546" fmla="*/ 8871 w 10354"/>
                  <a:gd name="connsiteY546" fmla="*/ 6966 h 10000"/>
                  <a:gd name="connsiteX547" fmla="*/ 8889 w 10354"/>
                  <a:gd name="connsiteY547" fmla="*/ 6940 h 10000"/>
                  <a:gd name="connsiteX548" fmla="*/ 8903 w 10354"/>
                  <a:gd name="connsiteY548" fmla="*/ 6906 h 10000"/>
                  <a:gd name="connsiteX549" fmla="*/ 8899 w 10354"/>
                  <a:gd name="connsiteY549" fmla="*/ 6880 h 10000"/>
                  <a:gd name="connsiteX550" fmla="*/ 8866 w 10354"/>
                  <a:gd name="connsiteY550" fmla="*/ 6846 h 10000"/>
                  <a:gd name="connsiteX551" fmla="*/ 8853 w 10354"/>
                  <a:gd name="connsiteY551" fmla="*/ 6846 h 10000"/>
                  <a:gd name="connsiteX552" fmla="*/ 8843 w 10354"/>
                  <a:gd name="connsiteY552" fmla="*/ 6880 h 10000"/>
                  <a:gd name="connsiteX553" fmla="*/ 8843 w 10354"/>
                  <a:gd name="connsiteY553" fmla="*/ 6897 h 10000"/>
                  <a:gd name="connsiteX554" fmla="*/ 8829 w 10354"/>
                  <a:gd name="connsiteY554" fmla="*/ 6880 h 10000"/>
                  <a:gd name="connsiteX555" fmla="*/ 8825 w 10354"/>
                  <a:gd name="connsiteY555" fmla="*/ 6872 h 10000"/>
                  <a:gd name="connsiteX556" fmla="*/ 8816 w 10354"/>
                  <a:gd name="connsiteY556" fmla="*/ 6846 h 10000"/>
                  <a:gd name="connsiteX557" fmla="*/ 8816 w 10354"/>
                  <a:gd name="connsiteY557" fmla="*/ 6803 h 10000"/>
                  <a:gd name="connsiteX558" fmla="*/ 8876 w 10354"/>
                  <a:gd name="connsiteY558" fmla="*/ 6598 h 10000"/>
                  <a:gd name="connsiteX559" fmla="*/ 8876 w 10354"/>
                  <a:gd name="connsiteY559" fmla="*/ 6573 h 10000"/>
                  <a:gd name="connsiteX560" fmla="*/ 8885 w 10354"/>
                  <a:gd name="connsiteY560" fmla="*/ 6556 h 10000"/>
                  <a:gd name="connsiteX561" fmla="*/ 8899 w 10354"/>
                  <a:gd name="connsiteY561" fmla="*/ 6573 h 10000"/>
                  <a:gd name="connsiteX562" fmla="*/ 8889 w 10354"/>
                  <a:gd name="connsiteY562" fmla="*/ 6556 h 10000"/>
                  <a:gd name="connsiteX563" fmla="*/ 8889 w 10354"/>
                  <a:gd name="connsiteY563" fmla="*/ 6530 h 10000"/>
                  <a:gd name="connsiteX564" fmla="*/ 8903 w 10354"/>
                  <a:gd name="connsiteY564" fmla="*/ 6521 h 10000"/>
                  <a:gd name="connsiteX565" fmla="*/ 8903 w 10354"/>
                  <a:gd name="connsiteY565" fmla="*/ 6504 h 10000"/>
                  <a:gd name="connsiteX566" fmla="*/ 8903 w 10354"/>
                  <a:gd name="connsiteY566" fmla="*/ 6487 h 10000"/>
                  <a:gd name="connsiteX567" fmla="*/ 8903 w 10354"/>
                  <a:gd name="connsiteY567" fmla="*/ 6462 h 10000"/>
                  <a:gd name="connsiteX568" fmla="*/ 8912 w 10354"/>
                  <a:gd name="connsiteY568" fmla="*/ 6419 h 10000"/>
                  <a:gd name="connsiteX569" fmla="*/ 8917 w 10354"/>
                  <a:gd name="connsiteY569" fmla="*/ 6393 h 10000"/>
                  <a:gd name="connsiteX570" fmla="*/ 8926 w 10354"/>
                  <a:gd name="connsiteY570" fmla="*/ 6385 h 10000"/>
                  <a:gd name="connsiteX571" fmla="*/ 8931 w 10354"/>
                  <a:gd name="connsiteY571" fmla="*/ 6385 h 10000"/>
                  <a:gd name="connsiteX572" fmla="*/ 8949 w 10354"/>
                  <a:gd name="connsiteY572" fmla="*/ 6359 h 10000"/>
                  <a:gd name="connsiteX573" fmla="*/ 8959 w 10354"/>
                  <a:gd name="connsiteY573" fmla="*/ 6368 h 10000"/>
                  <a:gd name="connsiteX574" fmla="*/ 8963 w 10354"/>
                  <a:gd name="connsiteY574" fmla="*/ 6385 h 10000"/>
                  <a:gd name="connsiteX575" fmla="*/ 8972 w 10354"/>
                  <a:gd name="connsiteY575" fmla="*/ 6359 h 10000"/>
                  <a:gd name="connsiteX576" fmla="*/ 8991 w 10354"/>
                  <a:gd name="connsiteY576" fmla="*/ 6350 h 10000"/>
                  <a:gd name="connsiteX577" fmla="*/ 9000 w 10354"/>
                  <a:gd name="connsiteY577" fmla="*/ 6368 h 10000"/>
                  <a:gd name="connsiteX578" fmla="*/ 9005 w 10354"/>
                  <a:gd name="connsiteY578" fmla="*/ 6393 h 10000"/>
                  <a:gd name="connsiteX579" fmla="*/ 9018 w 10354"/>
                  <a:gd name="connsiteY579" fmla="*/ 6393 h 10000"/>
                  <a:gd name="connsiteX580" fmla="*/ 9023 w 10354"/>
                  <a:gd name="connsiteY580" fmla="*/ 6359 h 10000"/>
                  <a:gd name="connsiteX581" fmla="*/ 9023 w 10354"/>
                  <a:gd name="connsiteY581" fmla="*/ 6333 h 10000"/>
                  <a:gd name="connsiteX582" fmla="*/ 9037 w 10354"/>
                  <a:gd name="connsiteY582" fmla="*/ 6308 h 10000"/>
                  <a:gd name="connsiteX583" fmla="*/ 9074 w 10354"/>
                  <a:gd name="connsiteY583" fmla="*/ 6274 h 10000"/>
                  <a:gd name="connsiteX584" fmla="*/ 9092 w 10354"/>
                  <a:gd name="connsiteY584" fmla="*/ 6222 h 10000"/>
                  <a:gd name="connsiteX585" fmla="*/ 9097 w 10354"/>
                  <a:gd name="connsiteY585" fmla="*/ 6231 h 10000"/>
                  <a:gd name="connsiteX586" fmla="*/ 9097 w 10354"/>
                  <a:gd name="connsiteY586" fmla="*/ 6248 h 10000"/>
                  <a:gd name="connsiteX587" fmla="*/ 9097 w 10354"/>
                  <a:gd name="connsiteY587" fmla="*/ 6274 h 10000"/>
                  <a:gd name="connsiteX588" fmla="*/ 9097 w 10354"/>
                  <a:gd name="connsiteY588" fmla="*/ 6308 h 10000"/>
                  <a:gd name="connsiteX589" fmla="*/ 9092 w 10354"/>
                  <a:gd name="connsiteY589" fmla="*/ 6368 h 10000"/>
                  <a:gd name="connsiteX590" fmla="*/ 9092 w 10354"/>
                  <a:gd name="connsiteY590" fmla="*/ 6385 h 10000"/>
                  <a:gd name="connsiteX591" fmla="*/ 9092 w 10354"/>
                  <a:gd name="connsiteY591" fmla="*/ 6393 h 10000"/>
                  <a:gd name="connsiteX592" fmla="*/ 9092 w 10354"/>
                  <a:gd name="connsiteY592" fmla="*/ 6393 h 10000"/>
                  <a:gd name="connsiteX593" fmla="*/ 9143 w 10354"/>
                  <a:gd name="connsiteY593" fmla="*/ 6299 h 10000"/>
                  <a:gd name="connsiteX594" fmla="*/ 9143 w 10354"/>
                  <a:gd name="connsiteY594" fmla="*/ 6282 h 10000"/>
                  <a:gd name="connsiteX595" fmla="*/ 9143 w 10354"/>
                  <a:gd name="connsiteY595" fmla="*/ 6256 h 10000"/>
                  <a:gd name="connsiteX596" fmla="*/ 9143 w 10354"/>
                  <a:gd name="connsiteY596" fmla="*/ 6256 h 10000"/>
                  <a:gd name="connsiteX597" fmla="*/ 9157 w 10354"/>
                  <a:gd name="connsiteY597" fmla="*/ 6274 h 10000"/>
                  <a:gd name="connsiteX598" fmla="*/ 9166 w 10354"/>
                  <a:gd name="connsiteY598" fmla="*/ 6248 h 10000"/>
                  <a:gd name="connsiteX599" fmla="*/ 9180 w 10354"/>
                  <a:gd name="connsiteY599" fmla="*/ 6248 h 10000"/>
                  <a:gd name="connsiteX600" fmla="*/ 9198 w 10354"/>
                  <a:gd name="connsiteY600" fmla="*/ 6222 h 10000"/>
                  <a:gd name="connsiteX601" fmla="*/ 9212 w 10354"/>
                  <a:gd name="connsiteY601" fmla="*/ 6222 h 10000"/>
                  <a:gd name="connsiteX602" fmla="*/ 9226 w 10354"/>
                  <a:gd name="connsiteY602" fmla="*/ 6197 h 10000"/>
                  <a:gd name="connsiteX603" fmla="*/ 9230 w 10354"/>
                  <a:gd name="connsiteY603" fmla="*/ 6214 h 10000"/>
                  <a:gd name="connsiteX604" fmla="*/ 9272 w 10354"/>
                  <a:gd name="connsiteY604" fmla="*/ 6214 h 10000"/>
                  <a:gd name="connsiteX605" fmla="*/ 9304 w 10354"/>
                  <a:gd name="connsiteY605" fmla="*/ 6231 h 10000"/>
                  <a:gd name="connsiteX606" fmla="*/ 9318 w 10354"/>
                  <a:gd name="connsiteY606" fmla="*/ 6248 h 10000"/>
                  <a:gd name="connsiteX607" fmla="*/ 9327 w 10354"/>
                  <a:gd name="connsiteY607" fmla="*/ 6282 h 10000"/>
                  <a:gd name="connsiteX608" fmla="*/ 9355 w 10354"/>
                  <a:gd name="connsiteY608" fmla="*/ 6350 h 10000"/>
                  <a:gd name="connsiteX609" fmla="*/ 9355 w 10354"/>
                  <a:gd name="connsiteY609" fmla="*/ 6359 h 10000"/>
                  <a:gd name="connsiteX610" fmla="*/ 9364 w 10354"/>
                  <a:gd name="connsiteY610" fmla="*/ 6368 h 10000"/>
                  <a:gd name="connsiteX611" fmla="*/ 9373 w 10354"/>
                  <a:gd name="connsiteY611" fmla="*/ 6359 h 10000"/>
                  <a:gd name="connsiteX612" fmla="*/ 9373 w 10354"/>
                  <a:gd name="connsiteY612" fmla="*/ 6325 h 10000"/>
                  <a:gd name="connsiteX613" fmla="*/ 9387 w 10354"/>
                  <a:gd name="connsiteY613" fmla="*/ 6256 h 10000"/>
                  <a:gd name="connsiteX614" fmla="*/ 9387 w 10354"/>
                  <a:gd name="connsiteY614" fmla="*/ 6248 h 10000"/>
                  <a:gd name="connsiteX615" fmla="*/ 9378 w 10354"/>
                  <a:gd name="connsiteY615" fmla="*/ 6248 h 10000"/>
                  <a:gd name="connsiteX616" fmla="*/ 9406 w 10354"/>
                  <a:gd name="connsiteY616" fmla="*/ 6222 h 10000"/>
                  <a:gd name="connsiteX617" fmla="*/ 9415 w 10354"/>
                  <a:gd name="connsiteY617" fmla="*/ 6222 h 10000"/>
                  <a:gd name="connsiteX618" fmla="*/ 9415 w 10354"/>
                  <a:gd name="connsiteY618" fmla="*/ 6197 h 10000"/>
                  <a:gd name="connsiteX619" fmla="*/ 9419 w 10354"/>
                  <a:gd name="connsiteY619" fmla="*/ 6214 h 10000"/>
                  <a:gd name="connsiteX620" fmla="*/ 9424 w 10354"/>
                  <a:gd name="connsiteY620" fmla="*/ 6214 h 10000"/>
                  <a:gd name="connsiteX621" fmla="*/ 9447 w 10354"/>
                  <a:gd name="connsiteY621" fmla="*/ 6171 h 10000"/>
                  <a:gd name="connsiteX622" fmla="*/ 9452 w 10354"/>
                  <a:gd name="connsiteY622" fmla="*/ 6171 h 10000"/>
                  <a:gd name="connsiteX623" fmla="*/ 9452 w 10354"/>
                  <a:gd name="connsiteY623" fmla="*/ 6162 h 10000"/>
                  <a:gd name="connsiteX624" fmla="*/ 9461 w 10354"/>
                  <a:gd name="connsiteY624" fmla="*/ 6137 h 10000"/>
                  <a:gd name="connsiteX625" fmla="*/ 9475 w 10354"/>
                  <a:gd name="connsiteY625" fmla="*/ 6137 h 10000"/>
                  <a:gd name="connsiteX626" fmla="*/ 9475 w 10354"/>
                  <a:gd name="connsiteY626" fmla="*/ 6137 h 10000"/>
                  <a:gd name="connsiteX627" fmla="*/ 9479 w 10354"/>
                  <a:gd name="connsiteY627" fmla="*/ 6120 h 10000"/>
                  <a:gd name="connsiteX628" fmla="*/ 9488 w 10354"/>
                  <a:gd name="connsiteY628" fmla="*/ 6120 h 10000"/>
                  <a:gd name="connsiteX629" fmla="*/ 9488 w 10354"/>
                  <a:gd name="connsiteY629" fmla="*/ 6111 h 10000"/>
                  <a:gd name="connsiteX630" fmla="*/ 9479 w 10354"/>
                  <a:gd name="connsiteY630" fmla="*/ 6103 h 10000"/>
                  <a:gd name="connsiteX631" fmla="*/ 9479 w 10354"/>
                  <a:gd name="connsiteY631" fmla="*/ 6085 h 10000"/>
                  <a:gd name="connsiteX632" fmla="*/ 9488 w 10354"/>
                  <a:gd name="connsiteY632" fmla="*/ 6103 h 10000"/>
                  <a:gd name="connsiteX633" fmla="*/ 9493 w 10354"/>
                  <a:gd name="connsiteY633" fmla="*/ 6111 h 10000"/>
                  <a:gd name="connsiteX634" fmla="*/ 9498 w 10354"/>
                  <a:gd name="connsiteY634" fmla="*/ 6103 h 10000"/>
                  <a:gd name="connsiteX635" fmla="*/ 9507 w 10354"/>
                  <a:gd name="connsiteY635" fmla="*/ 6077 h 10000"/>
                  <a:gd name="connsiteX636" fmla="*/ 9498 w 10354"/>
                  <a:gd name="connsiteY636" fmla="*/ 6060 h 10000"/>
                  <a:gd name="connsiteX637" fmla="*/ 9512 w 10354"/>
                  <a:gd name="connsiteY637" fmla="*/ 6060 h 10000"/>
                  <a:gd name="connsiteX638" fmla="*/ 9525 w 10354"/>
                  <a:gd name="connsiteY638" fmla="*/ 6034 h 10000"/>
                  <a:gd name="connsiteX639" fmla="*/ 9535 w 10354"/>
                  <a:gd name="connsiteY639" fmla="*/ 6034 h 10000"/>
                  <a:gd name="connsiteX640" fmla="*/ 9535 w 10354"/>
                  <a:gd name="connsiteY640" fmla="*/ 6026 h 10000"/>
                  <a:gd name="connsiteX641" fmla="*/ 9525 w 10354"/>
                  <a:gd name="connsiteY641" fmla="*/ 6009 h 10000"/>
                  <a:gd name="connsiteX642" fmla="*/ 9535 w 10354"/>
                  <a:gd name="connsiteY642" fmla="*/ 6000 h 10000"/>
                  <a:gd name="connsiteX643" fmla="*/ 9539 w 10354"/>
                  <a:gd name="connsiteY643" fmla="*/ 6009 h 10000"/>
                  <a:gd name="connsiteX644" fmla="*/ 9548 w 10354"/>
                  <a:gd name="connsiteY644" fmla="*/ 6009 h 10000"/>
                  <a:gd name="connsiteX645" fmla="*/ 9553 w 10354"/>
                  <a:gd name="connsiteY645" fmla="*/ 6000 h 10000"/>
                  <a:gd name="connsiteX646" fmla="*/ 9562 w 10354"/>
                  <a:gd name="connsiteY646" fmla="*/ 5983 h 10000"/>
                  <a:gd name="connsiteX647" fmla="*/ 9562 w 10354"/>
                  <a:gd name="connsiteY647" fmla="*/ 5974 h 10000"/>
                  <a:gd name="connsiteX648" fmla="*/ 9567 w 10354"/>
                  <a:gd name="connsiteY648" fmla="*/ 5974 h 10000"/>
                  <a:gd name="connsiteX649" fmla="*/ 9567 w 10354"/>
                  <a:gd name="connsiteY649" fmla="*/ 5966 h 10000"/>
                  <a:gd name="connsiteX650" fmla="*/ 9567 w 10354"/>
                  <a:gd name="connsiteY650" fmla="*/ 5940 h 10000"/>
                  <a:gd name="connsiteX651" fmla="*/ 9571 w 10354"/>
                  <a:gd name="connsiteY651" fmla="*/ 5915 h 10000"/>
                  <a:gd name="connsiteX652" fmla="*/ 9581 w 10354"/>
                  <a:gd name="connsiteY652" fmla="*/ 5923 h 10000"/>
                  <a:gd name="connsiteX653" fmla="*/ 9585 w 10354"/>
                  <a:gd name="connsiteY653" fmla="*/ 5940 h 10000"/>
                  <a:gd name="connsiteX654" fmla="*/ 9594 w 10354"/>
                  <a:gd name="connsiteY654" fmla="*/ 5949 h 10000"/>
                  <a:gd name="connsiteX655" fmla="*/ 9599 w 10354"/>
                  <a:gd name="connsiteY655" fmla="*/ 5940 h 10000"/>
                  <a:gd name="connsiteX656" fmla="*/ 9613 w 10354"/>
                  <a:gd name="connsiteY656" fmla="*/ 5915 h 10000"/>
                  <a:gd name="connsiteX657" fmla="*/ 9645 w 10354"/>
                  <a:gd name="connsiteY657" fmla="*/ 5889 h 10000"/>
                  <a:gd name="connsiteX658" fmla="*/ 9654 w 10354"/>
                  <a:gd name="connsiteY658" fmla="*/ 5872 h 10000"/>
                  <a:gd name="connsiteX659" fmla="*/ 9673 w 10354"/>
                  <a:gd name="connsiteY659" fmla="*/ 5863 h 10000"/>
                  <a:gd name="connsiteX660" fmla="*/ 9682 w 10354"/>
                  <a:gd name="connsiteY660" fmla="*/ 5838 h 10000"/>
                  <a:gd name="connsiteX661" fmla="*/ 9682 w 10354"/>
                  <a:gd name="connsiteY661" fmla="*/ 5829 h 10000"/>
                  <a:gd name="connsiteX662" fmla="*/ 9682 w 10354"/>
                  <a:gd name="connsiteY662" fmla="*/ 5812 h 10000"/>
                  <a:gd name="connsiteX663" fmla="*/ 9687 w 10354"/>
                  <a:gd name="connsiteY663" fmla="*/ 5812 h 10000"/>
                  <a:gd name="connsiteX664" fmla="*/ 9687 w 10354"/>
                  <a:gd name="connsiteY664" fmla="*/ 5829 h 10000"/>
                  <a:gd name="connsiteX665" fmla="*/ 9687 w 10354"/>
                  <a:gd name="connsiteY665" fmla="*/ 5829 h 10000"/>
                  <a:gd name="connsiteX666" fmla="*/ 9719 w 10354"/>
                  <a:gd name="connsiteY666" fmla="*/ 5803 h 10000"/>
                  <a:gd name="connsiteX667" fmla="*/ 9728 w 10354"/>
                  <a:gd name="connsiteY667" fmla="*/ 5803 h 10000"/>
                  <a:gd name="connsiteX668" fmla="*/ 9779 w 10354"/>
                  <a:gd name="connsiteY668" fmla="*/ 5726 h 10000"/>
                  <a:gd name="connsiteX669" fmla="*/ 9816 w 10354"/>
                  <a:gd name="connsiteY669" fmla="*/ 5709 h 10000"/>
                  <a:gd name="connsiteX670" fmla="*/ 9820 w 10354"/>
                  <a:gd name="connsiteY670" fmla="*/ 5701 h 10000"/>
                  <a:gd name="connsiteX671" fmla="*/ 9816 w 10354"/>
                  <a:gd name="connsiteY671" fmla="*/ 5692 h 10000"/>
                  <a:gd name="connsiteX672" fmla="*/ 9816 w 10354"/>
                  <a:gd name="connsiteY672" fmla="*/ 5692 h 10000"/>
                  <a:gd name="connsiteX673" fmla="*/ 9802 w 10354"/>
                  <a:gd name="connsiteY673" fmla="*/ 5624 h 10000"/>
                  <a:gd name="connsiteX674" fmla="*/ 9806 w 10354"/>
                  <a:gd name="connsiteY674" fmla="*/ 5624 h 10000"/>
                  <a:gd name="connsiteX675" fmla="*/ 9820 w 10354"/>
                  <a:gd name="connsiteY675" fmla="*/ 5675 h 10000"/>
                  <a:gd name="connsiteX676" fmla="*/ 9829 w 10354"/>
                  <a:gd name="connsiteY676" fmla="*/ 5675 h 10000"/>
                  <a:gd name="connsiteX677" fmla="*/ 9829 w 10354"/>
                  <a:gd name="connsiteY677" fmla="*/ 5692 h 10000"/>
                  <a:gd name="connsiteX678" fmla="*/ 9829 w 10354"/>
                  <a:gd name="connsiteY678" fmla="*/ 5701 h 10000"/>
                  <a:gd name="connsiteX679" fmla="*/ 9839 w 10354"/>
                  <a:gd name="connsiteY679" fmla="*/ 5701 h 10000"/>
                  <a:gd name="connsiteX680" fmla="*/ 9839 w 10354"/>
                  <a:gd name="connsiteY680" fmla="*/ 5692 h 10000"/>
                  <a:gd name="connsiteX681" fmla="*/ 9839 w 10354"/>
                  <a:gd name="connsiteY681" fmla="*/ 5675 h 10000"/>
                  <a:gd name="connsiteX682" fmla="*/ 9848 w 10354"/>
                  <a:gd name="connsiteY682" fmla="*/ 5675 h 10000"/>
                  <a:gd name="connsiteX683" fmla="*/ 9848 w 10354"/>
                  <a:gd name="connsiteY683" fmla="*/ 5692 h 10000"/>
                  <a:gd name="connsiteX684" fmla="*/ 9853 w 10354"/>
                  <a:gd name="connsiteY684" fmla="*/ 5701 h 10000"/>
                  <a:gd name="connsiteX685" fmla="*/ 9880 w 10354"/>
                  <a:gd name="connsiteY685" fmla="*/ 5709 h 10000"/>
                  <a:gd name="connsiteX686" fmla="*/ 9912 w 10354"/>
                  <a:gd name="connsiteY686" fmla="*/ 5752 h 10000"/>
                  <a:gd name="connsiteX687" fmla="*/ 9926 w 10354"/>
                  <a:gd name="connsiteY687" fmla="*/ 5761 h 10000"/>
                  <a:gd name="connsiteX688" fmla="*/ 9935 w 10354"/>
                  <a:gd name="connsiteY688" fmla="*/ 5761 h 10000"/>
                  <a:gd name="connsiteX689" fmla="*/ 9940 w 10354"/>
                  <a:gd name="connsiteY689" fmla="*/ 5735 h 10000"/>
                  <a:gd name="connsiteX690" fmla="*/ 9949 w 10354"/>
                  <a:gd name="connsiteY690" fmla="*/ 5735 h 10000"/>
                  <a:gd name="connsiteX691" fmla="*/ 9968 w 10354"/>
                  <a:gd name="connsiteY691" fmla="*/ 5692 h 10000"/>
                  <a:gd name="connsiteX692" fmla="*/ 9968 w 10354"/>
                  <a:gd name="connsiteY692" fmla="*/ 5650 h 10000"/>
                  <a:gd name="connsiteX693" fmla="*/ 9968 w 10354"/>
                  <a:gd name="connsiteY693" fmla="*/ 5624 h 10000"/>
                  <a:gd name="connsiteX694" fmla="*/ 9935 w 10354"/>
                  <a:gd name="connsiteY694" fmla="*/ 5598 h 10000"/>
                  <a:gd name="connsiteX695" fmla="*/ 9935 w 10354"/>
                  <a:gd name="connsiteY695" fmla="*/ 5590 h 10000"/>
                  <a:gd name="connsiteX696" fmla="*/ 9935 w 10354"/>
                  <a:gd name="connsiteY696" fmla="*/ 5573 h 10000"/>
                  <a:gd name="connsiteX697" fmla="*/ 9935 w 10354"/>
                  <a:gd name="connsiteY697" fmla="*/ 5573 h 10000"/>
                  <a:gd name="connsiteX698" fmla="*/ 9940 w 10354"/>
                  <a:gd name="connsiteY698" fmla="*/ 5573 h 10000"/>
                  <a:gd name="connsiteX699" fmla="*/ 9954 w 10354"/>
                  <a:gd name="connsiteY699" fmla="*/ 5573 h 10000"/>
                  <a:gd name="connsiteX700" fmla="*/ 9963 w 10354"/>
                  <a:gd name="connsiteY700" fmla="*/ 5564 h 10000"/>
                  <a:gd name="connsiteX701" fmla="*/ 9954 w 10354"/>
                  <a:gd name="connsiteY701" fmla="*/ 5530 h 10000"/>
                  <a:gd name="connsiteX702" fmla="*/ 9949 w 10354"/>
                  <a:gd name="connsiteY702" fmla="*/ 5530 h 10000"/>
                  <a:gd name="connsiteX703" fmla="*/ 9926 w 10354"/>
                  <a:gd name="connsiteY703" fmla="*/ 5479 h 10000"/>
                  <a:gd name="connsiteX704" fmla="*/ 9912 w 10354"/>
                  <a:gd name="connsiteY704" fmla="*/ 5325 h 10000"/>
                  <a:gd name="connsiteX705" fmla="*/ 9903 w 10354"/>
                  <a:gd name="connsiteY705" fmla="*/ 5342 h 10000"/>
                  <a:gd name="connsiteX706" fmla="*/ 9889 w 10354"/>
                  <a:gd name="connsiteY706" fmla="*/ 5316 h 10000"/>
                  <a:gd name="connsiteX707" fmla="*/ 9889 w 10354"/>
                  <a:gd name="connsiteY707" fmla="*/ 5291 h 10000"/>
                  <a:gd name="connsiteX708" fmla="*/ 9903 w 10354"/>
                  <a:gd name="connsiteY708" fmla="*/ 5291 h 10000"/>
                  <a:gd name="connsiteX709" fmla="*/ 9903 w 10354"/>
                  <a:gd name="connsiteY709" fmla="*/ 5291 h 10000"/>
                  <a:gd name="connsiteX710" fmla="*/ 9894 w 10354"/>
                  <a:gd name="connsiteY710" fmla="*/ 5214 h 10000"/>
                  <a:gd name="connsiteX711" fmla="*/ 9880 w 10354"/>
                  <a:gd name="connsiteY711" fmla="*/ 5239 h 10000"/>
                  <a:gd name="connsiteX712" fmla="*/ 9876 w 10354"/>
                  <a:gd name="connsiteY712" fmla="*/ 5256 h 10000"/>
                  <a:gd name="connsiteX713" fmla="*/ 9862 w 10354"/>
                  <a:gd name="connsiteY713" fmla="*/ 5239 h 10000"/>
                  <a:gd name="connsiteX714" fmla="*/ 9853 w 10354"/>
                  <a:gd name="connsiteY714" fmla="*/ 5214 h 10000"/>
                  <a:gd name="connsiteX715" fmla="*/ 9839 w 10354"/>
                  <a:gd name="connsiteY715" fmla="*/ 5214 h 10000"/>
                  <a:gd name="connsiteX716" fmla="*/ 9834 w 10354"/>
                  <a:gd name="connsiteY716" fmla="*/ 5188 h 10000"/>
                  <a:gd name="connsiteX717" fmla="*/ 9834 w 10354"/>
                  <a:gd name="connsiteY717" fmla="*/ 5103 h 10000"/>
                  <a:gd name="connsiteX718" fmla="*/ 9839 w 10354"/>
                  <a:gd name="connsiteY718" fmla="*/ 5094 h 10000"/>
                  <a:gd name="connsiteX719" fmla="*/ 9853 w 10354"/>
                  <a:gd name="connsiteY719" fmla="*/ 5103 h 10000"/>
                  <a:gd name="connsiteX720" fmla="*/ 9876 w 10354"/>
                  <a:gd name="connsiteY720" fmla="*/ 5128 h 10000"/>
                  <a:gd name="connsiteX721" fmla="*/ 9889 w 10354"/>
                  <a:gd name="connsiteY721" fmla="*/ 5103 h 10000"/>
                  <a:gd name="connsiteX722" fmla="*/ 9880 w 10354"/>
                  <a:gd name="connsiteY722" fmla="*/ 5120 h 10000"/>
                  <a:gd name="connsiteX723" fmla="*/ 9889 w 10354"/>
                  <a:gd name="connsiteY723" fmla="*/ 5128 h 10000"/>
                  <a:gd name="connsiteX724" fmla="*/ 9912 w 10354"/>
                  <a:gd name="connsiteY724" fmla="*/ 5128 h 10000"/>
                  <a:gd name="connsiteX725" fmla="*/ 9908 w 10354"/>
                  <a:gd name="connsiteY725" fmla="*/ 5145 h 10000"/>
                  <a:gd name="connsiteX726" fmla="*/ 9908 w 10354"/>
                  <a:gd name="connsiteY726" fmla="*/ 5154 h 10000"/>
                  <a:gd name="connsiteX727" fmla="*/ 9922 w 10354"/>
                  <a:gd name="connsiteY727" fmla="*/ 5128 h 10000"/>
                  <a:gd name="connsiteX728" fmla="*/ 9935 w 10354"/>
                  <a:gd name="connsiteY728" fmla="*/ 5103 h 10000"/>
                  <a:gd name="connsiteX729" fmla="*/ 9968 w 10354"/>
                  <a:gd name="connsiteY729" fmla="*/ 5077 h 10000"/>
                  <a:gd name="connsiteX730" fmla="*/ 10000 w 10354"/>
                  <a:gd name="connsiteY730" fmla="*/ 5017 h 10000"/>
                  <a:gd name="connsiteX731" fmla="*/ 10307 w 10354"/>
                  <a:gd name="connsiteY731" fmla="*/ 4416 h 10000"/>
                  <a:gd name="connsiteX732" fmla="*/ 10354 w 10354"/>
                  <a:gd name="connsiteY732" fmla="*/ 4302 h 10000"/>
                  <a:gd name="connsiteX733" fmla="*/ 9912 w 10354"/>
                  <a:gd name="connsiteY733" fmla="*/ 3675 h 10000"/>
                  <a:gd name="connsiteX734" fmla="*/ 9903 w 10354"/>
                  <a:gd name="connsiteY734" fmla="*/ 3667 h 10000"/>
                  <a:gd name="connsiteX735" fmla="*/ 9894 w 10354"/>
                  <a:gd name="connsiteY735" fmla="*/ 3641 h 10000"/>
                  <a:gd name="connsiteX736" fmla="*/ 9889 w 10354"/>
                  <a:gd name="connsiteY736" fmla="*/ 3650 h 10000"/>
                  <a:gd name="connsiteX737" fmla="*/ 9848 w 10354"/>
                  <a:gd name="connsiteY737" fmla="*/ 3598 h 10000"/>
                  <a:gd name="connsiteX738" fmla="*/ 9829 w 10354"/>
                  <a:gd name="connsiteY738" fmla="*/ 3581 h 10000"/>
                  <a:gd name="connsiteX739" fmla="*/ 9820 w 10354"/>
                  <a:gd name="connsiteY739" fmla="*/ 3581 h 10000"/>
                  <a:gd name="connsiteX740" fmla="*/ 9793 w 10354"/>
                  <a:gd name="connsiteY740" fmla="*/ 3556 h 10000"/>
                  <a:gd name="connsiteX741" fmla="*/ 9779 w 10354"/>
                  <a:gd name="connsiteY741" fmla="*/ 3556 h 10000"/>
                  <a:gd name="connsiteX742" fmla="*/ 9747 w 10354"/>
                  <a:gd name="connsiteY742" fmla="*/ 3487 h 10000"/>
                  <a:gd name="connsiteX743" fmla="*/ 9668 w 10354"/>
                  <a:gd name="connsiteY743" fmla="*/ 3479 h 10000"/>
                  <a:gd name="connsiteX744" fmla="*/ 9659 w 10354"/>
                  <a:gd name="connsiteY744" fmla="*/ 3487 h 10000"/>
                  <a:gd name="connsiteX745" fmla="*/ 9645 w 10354"/>
                  <a:gd name="connsiteY745" fmla="*/ 3504 h 10000"/>
                  <a:gd name="connsiteX746" fmla="*/ 9631 w 10354"/>
                  <a:gd name="connsiteY746" fmla="*/ 3487 h 10000"/>
                  <a:gd name="connsiteX747" fmla="*/ 9613 w 10354"/>
                  <a:gd name="connsiteY747" fmla="*/ 3479 h 10000"/>
                  <a:gd name="connsiteX748" fmla="*/ 9599 w 10354"/>
                  <a:gd name="connsiteY748" fmla="*/ 3479 h 10000"/>
                  <a:gd name="connsiteX749" fmla="*/ 9571 w 10354"/>
                  <a:gd name="connsiteY749" fmla="*/ 3479 h 10000"/>
                  <a:gd name="connsiteX750" fmla="*/ 9562 w 10354"/>
                  <a:gd name="connsiteY750" fmla="*/ 3487 h 10000"/>
                  <a:gd name="connsiteX751" fmla="*/ 9539 w 10354"/>
                  <a:gd name="connsiteY751" fmla="*/ 3487 h 10000"/>
                  <a:gd name="connsiteX752" fmla="*/ 9507 w 10354"/>
                  <a:gd name="connsiteY752" fmla="*/ 3453 h 10000"/>
                  <a:gd name="connsiteX753" fmla="*/ 9498 w 10354"/>
                  <a:gd name="connsiteY753" fmla="*/ 3453 h 10000"/>
                  <a:gd name="connsiteX754" fmla="*/ 9387 w 10354"/>
                  <a:gd name="connsiteY754" fmla="*/ 3419 h 10000"/>
                  <a:gd name="connsiteX755" fmla="*/ 9373 w 10354"/>
                  <a:gd name="connsiteY755" fmla="*/ 3427 h 10000"/>
                  <a:gd name="connsiteX756" fmla="*/ 9373 w 10354"/>
                  <a:gd name="connsiteY756" fmla="*/ 3462 h 10000"/>
                  <a:gd name="connsiteX757" fmla="*/ 9378 w 10354"/>
                  <a:gd name="connsiteY757" fmla="*/ 3479 h 10000"/>
                  <a:gd name="connsiteX758" fmla="*/ 9378 w 10354"/>
                  <a:gd name="connsiteY758" fmla="*/ 3530 h 10000"/>
                  <a:gd name="connsiteX759" fmla="*/ 9355 w 10354"/>
                  <a:gd name="connsiteY759" fmla="*/ 3538 h 10000"/>
                  <a:gd name="connsiteX760" fmla="*/ 9355 w 10354"/>
                  <a:gd name="connsiteY760" fmla="*/ 3581 h 10000"/>
                  <a:gd name="connsiteX761" fmla="*/ 9387 w 10354"/>
                  <a:gd name="connsiteY761" fmla="*/ 3590 h 10000"/>
                  <a:gd name="connsiteX762" fmla="*/ 9401 w 10354"/>
                  <a:gd name="connsiteY762" fmla="*/ 3667 h 10000"/>
                  <a:gd name="connsiteX763" fmla="*/ 9406 w 10354"/>
                  <a:gd name="connsiteY763" fmla="*/ 3675 h 10000"/>
                  <a:gd name="connsiteX764" fmla="*/ 9406 w 10354"/>
                  <a:gd name="connsiteY764" fmla="*/ 3701 h 10000"/>
                  <a:gd name="connsiteX765" fmla="*/ 9415 w 10354"/>
                  <a:gd name="connsiteY765" fmla="*/ 3752 h 10000"/>
                  <a:gd name="connsiteX766" fmla="*/ 9373 w 10354"/>
                  <a:gd name="connsiteY766" fmla="*/ 3838 h 10000"/>
                  <a:gd name="connsiteX767" fmla="*/ 9355 w 10354"/>
                  <a:gd name="connsiteY767" fmla="*/ 3863 h 10000"/>
                  <a:gd name="connsiteX768" fmla="*/ 9327 w 10354"/>
                  <a:gd name="connsiteY768" fmla="*/ 3863 h 10000"/>
                  <a:gd name="connsiteX769" fmla="*/ 9313 w 10354"/>
                  <a:gd name="connsiteY769" fmla="*/ 3846 h 10000"/>
                  <a:gd name="connsiteX770" fmla="*/ 9300 w 10354"/>
                  <a:gd name="connsiteY770" fmla="*/ 3778 h 10000"/>
                  <a:gd name="connsiteX771" fmla="*/ 9281 w 10354"/>
                  <a:gd name="connsiteY771" fmla="*/ 3752 h 10000"/>
                  <a:gd name="connsiteX772" fmla="*/ 9281 w 10354"/>
                  <a:gd name="connsiteY772" fmla="*/ 3735 h 10000"/>
                  <a:gd name="connsiteX773" fmla="*/ 9267 w 10354"/>
                  <a:gd name="connsiteY773" fmla="*/ 3726 h 10000"/>
                  <a:gd name="connsiteX774" fmla="*/ 9240 w 10354"/>
                  <a:gd name="connsiteY774" fmla="*/ 3726 h 10000"/>
                  <a:gd name="connsiteX775" fmla="*/ 9230 w 10354"/>
                  <a:gd name="connsiteY775" fmla="*/ 3718 h 10000"/>
                  <a:gd name="connsiteX776" fmla="*/ 9226 w 10354"/>
                  <a:gd name="connsiteY776" fmla="*/ 3590 h 10000"/>
                  <a:gd name="connsiteX777" fmla="*/ 9207 w 10354"/>
                  <a:gd name="connsiteY777" fmla="*/ 3581 h 10000"/>
                  <a:gd name="connsiteX778" fmla="*/ 9207 w 10354"/>
                  <a:gd name="connsiteY778" fmla="*/ 3556 h 10000"/>
                  <a:gd name="connsiteX779" fmla="*/ 9217 w 10354"/>
                  <a:gd name="connsiteY779" fmla="*/ 3538 h 10000"/>
                  <a:gd name="connsiteX780" fmla="*/ 9212 w 10354"/>
                  <a:gd name="connsiteY780" fmla="*/ 3538 h 10000"/>
                  <a:gd name="connsiteX781" fmla="*/ 9198 w 10354"/>
                  <a:gd name="connsiteY781" fmla="*/ 3513 h 10000"/>
                  <a:gd name="connsiteX782" fmla="*/ 9194 w 10354"/>
                  <a:gd name="connsiteY782" fmla="*/ 3530 h 10000"/>
                  <a:gd name="connsiteX783" fmla="*/ 9143 w 10354"/>
                  <a:gd name="connsiteY783" fmla="*/ 3615 h 10000"/>
                  <a:gd name="connsiteX784" fmla="*/ 9138 w 10354"/>
                  <a:gd name="connsiteY784" fmla="*/ 3615 h 10000"/>
                  <a:gd name="connsiteX785" fmla="*/ 9134 w 10354"/>
                  <a:gd name="connsiteY785" fmla="*/ 3615 h 10000"/>
                  <a:gd name="connsiteX786" fmla="*/ 9106 w 10354"/>
                  <a:gd name="connsiteY786" fmla="*/ 3615 h 10000"/>
                  <a:gd name="connsiteX787" fmla="*/ 9078 w 10354"/>
                  <a:gd name="connsiteY787" fmla="*/ 3590 h 10000"/>
                  <a:gd name="connsiteX788" fmla="*/ 9037 w 10354"/>
                  <a:gd name="connsiteY788" fmla="*/ 3581 h 10000"/>
                  <a:gd name="connsiteX789" fmla="*/ 9023 w 10354"/>
                  <a:gd name="connsiteY789" fmla="*/ 3590 h 10000"/>
                  <a:gd name="connsiteX790" fmla="*/ 9018 w 10354"/>
                  <a:gd name="connsiteY790" fmla="*/ 3590 h 10000"/>
                  <a:gd name="connsiteX791" fmla="*/ 9018 w 10354"/>
                  <a:gd name="connsiteY791" fmla="*/ 3590 h 10000"/>
                  <a:gd name="connsiteX792" fmla="*/ 8991 w 10354"/>
                  <a:gd name="connsiteY792" fmla="*/ 3590 h 10000"/>
                  <a:gd name="connsiteX793" fmla="*/ 8972 w 10354"/>
                  <a:gd name="connsiteY793" fmla="*/ 3581 h 10000"/>
                  <a:gd name="connsiteX794" fmla="*/ 8959 w 10354"/>
                  <a:gd name="connsiteY794" fmla="*/ 3513 h 10000"/>
                  <a:gd name="connsiteX795" fmla="*/ 8931 w 10354"/>
                  <a:gd name="connsiteY795" fmla="*/ 3538 h 10000"/>
                  <a:gd name="connsiteX796" fmla="*/ 8889 w 10354"/>
                  <a:gd name="connsiteY796" fmla="*/ 3538 h 10000"/>
                  <a:gd name="connsiteX797" fmla="*/ 8871 w 10354"/>
                  <a:gd name="connsiteY797" fmla="*/ 3556 h 10000"/>
                  <a:gd name="connsiteX798" fmla="*/ 8857 w 10354"/>
                  <a:gd name="connsiteY798" fmla="*/ 3538 h 10000"/>
                  <a:gd name="connsiteX799" fmla="*/ 8843 w 10354"/>
                  <a:gd name="connsiteY799" fmla="*/ 3538 h 10000"/>
                  <a:gd name="connsiteX800" fmla="*/ 8839 w 10354"/>
                  <a:gd name="connsiteY800" fmla="*/ 3556 h 10000"/>
                  <a:gd name="connsiteX801" fmla="*/ 8839 w 10354"/>
                  <a:gd name="connsiteY801" fmla="*/ 3581 h 10000"/>
                  <a:gd name="connsiteX802" fmla="*/ 8825 w 10354"/>
                  <a:gd name="connsiteY802" fmla="*/ 3564 h 10000"/>
                  <a:gd name="connsiteX803" fmla="*/ 8825 w 10354"/>
                  <a:gd name="connsiteY803" fmla="*/ 3615 h 10000"/>
                  <a:gd name="connsiteX804" fmla="*/ 8802 w 10354"/>
                  <a:gd name="connsiteY804" fmla="*/ 3598 h 10000"/>
                  <a:gd name="connsiteX805" fmla="*/ 8797 w 10354"/>
                  <a:gd name="connsiteY805" fmla="*/ 3641 h 10000"/>
                  <a:gd name="connsiteX806" fmla="*/ 8783 w 10354"/>
                  <a:gd name="connsiteY806" fmla="*/ 3667 h 10000"/>
                  <a:gd name="connsiteX807" fmla="*/ 8779 w 10354"/>
                  <a:gd name="connsiteY807" fmla="*/ 3650 h 10000"/>
                  <a:gd name="connsiteX808" fmla="*/ 8779 w 10354"/>
                  <a:gd name="connsiteY808" fmla="*/ 3615 h 10000"/>
                  <a:gd name="connsiteX809" fmla="*/ 8770 w 10354"/>
                  <a:gd name="connsiteY809" fmla="*/ 3590 h 10000"/>
                  <a:gd name="connsiteX810" fmla="*/ 8765 w 10354"/>
                  <a:gd name="connsiteY810" fmla="*/ 3598 h 10000"/>
                  <a:gd name="connsiteX811" fmla="*/ 8756 w 10354"/>
                  <a:gd name="connsiteY811" fmla="*/ 3590 h 10000"/>
                  <a:gd name="connsiteX812" fmla="*/ 8737 w 10354"/>
                  <a:gd name="connsiteY812" fmla="*/ 3556 h 10000"/>
                  <a:gd name="connsiteX813" fmla="*/ 8724 w 10354"/>
                  <a:gd name="connsiteY813" fmla="*/ 3538 h 10000"/>
                  <a:gd name="connsiteX814" fmla="*/ 8696 w 10354"/>
                  <a:gd name="connsiteY814" fmla="*/ 3538 h 10000"/>
                  <a:gd name="connsiteX815" fmla="*/ 8691 w 10354"/>
                  <a:gd name="connsiteY815" fmla="*/ 3513 h 10000"/>
                  <a:gd name="connsiteX816" fmla="*/ 8668 w 10354"/>
                  <a:gd name="connsiteY816" fmla="*/ 3504 h 10000"/>
                  <a:gd name="connsiteX817" fmla="*/ 8668 w 10354"/>
                  <a:gd name="connsiteY817" fmla="*/ 3487 h 10000"/>
                  <a:gd name="connsiteX818" fmla="*/ 8691 w 10354"/>
                  <a:gd name="connsiteY818" fmla="*/ 3350 h 10000"/>
                  <a:gd name="connsiteX819" fmla="*/ 8691 w 10354"/>
                  <a:gd name="connsiteY819" fmla="*/ 3291 h 10000"/>
                  <a:gd name="connsiteX820" fmla="*/ 8677 w 10354"/>
                  <a:gd name="connsiteY820" fmla="*/ 3239 h 10000"/>
                  <a:gd name="connsiteX821" fmla="*/ 8677 w 10354"/>
                  <a:gd name="connsiteY821" fmla="*/ 3231 h 10000"/>
                  <a:gd name="connsiteX822" fmla="*/ 8636 w 10354"/>
                  <a:gd name="connsiteY822" fmla="*/ 3128 h 10000"/>
                  <a:gd name="connsiteX823" fmla="*/ 8622 w 10354"/>
                  <a:gd name="connsiteY823" fmla="*/ 3120 h 10000"/>
                  <a:gd name="connsiteX824" fmla="*/ 8618 w 10354"/>
                  <a:gd name="connsiteY824" fmla="*/ 3094 h 10000"/>
                  <a:gd name="connsiteX825" fmla="*/ 8594 w 10354"/>
                  <a:gd name="connsiteY825" fmla="*/ 3077 h 10000"/>
                  <a:gd name="connsiteX826" fmla="*/ 8548 w 10354"/>
                  <a:gd name="connsiteY826" fmla="*/ 3077 h 10000"/>
                  <a:gd name="connsiteX827" fmla="*/ 8535 w 10354"/>
                  <a:gd name="connsiteY827" fmla="*/ 3068 h 10000"/>
                  <a:gd name="connsiteX828" fmla="*/ 8429 w 10354"/>
                  <a:gd name="connsiteY828" fmla="*/ 3077 h 10000"/>
                  <a:gd name="connsiteX829" fmla="*/ 8424 w 10354"/>
                  <a:gd name="connsiteY829" fmla="*/ 3077 h 10000"/>
                  <a:gd name="connsiteX830" fmla="*/ 8396 w 10354"/>
                  <a:gd name="connsiteY830" fmla="*/ 3077 h 10000"/>
                  <a:gd name="connsiteX831" fmla="*/ 8387 w 10354"/>
                  <a:gd name="connsiteY831" fmla="*/ 3094 h 10000"/>
                  <a:gd name="connsiteX832" fmla="*/ 8378 w 10354"/>
                  <a:gd name="connsiteY832" fmla="*/ 3094 h 10000"/>
                  <a:gd name="connsiteX833" fmla="*/ 8341 w 10354"/>
                  <a:gd name="connsiteY833" fmla="*/ 3077 h 10000"/>
                  <a:gd name="connsiteX834" fmla="*/ 8336 w 10354"/>
                  <a:gd name="connsiteY834" fmla="*/ 3077 h 10000"/>
                  <a:gd name="connsiteX835" fmla="*/ 8327 w 10354"/>
                  <a:gd name="connsiteY835" fmla="*/ 3103 h 10000"/>
                  <a:gd name="connsiteX836" fmla="*/ 8309 w 10354"/>
                  <a:gd name="connsiteY836" fmla="*/ 3120 h 10000"/>
                  <a:gd name="connsiteX837" fmla="*/ 8304 w 10354"/>
                  <a:gd name="connsiteY837" fmla="*/ 3103 h 10000"/>
                  <a:gd name="connsiteX838" fmla="*/ 8276 w 10354"/>
                  <a:gd name="connsiteY838" fmla="*/ 3103 h 10000"/>
                  <a:gd name="connsiteX839" fmla="*/ 8267 w 10354"/>
                  <a:gd name="connsiteY839" fmla="*/ 3120 h 10000"/>
                  <a:gd name="connsiteX840" fmla="*/ 8253 w 10354"/>
                  <a:gd name="connsiteY840" fmla="*/ 3103 h 10000"/>
                  <a:gd name="connsiteX841" fmla="*/ 8230 w 10354"/>
                  <a:gd name="connsiteY841" fmla="*/ 3128 h 10000"/>
                  <a:gd name="connsiteX842" fmla="*/ 8217 w 10354"/>
                  <a:gd name="connsiteY842" fmla="*/ 3128 h 10000"/>
                  <a:gd name="connsiteX843" fmla="*/ 8203 w 10354"/>
                  <a:gd name="connsiteY843" fmla="*/ 3154 h 10000"/>
                  <a:gd name="connsiteX844" fmla="*/ 8175 w 10354"/>
                  <a:gd name="connsiteY844" fmla="*/ 3094 h 10000"/>
                  <a:gd name="connsiteX845" fmla="*/ 8161 w 10354"/>
                  <a:gd name="connsiteY845" fmla="*/ 3094 h 10000"/>
                  <a:gd name="connsiteX846" fmla="*/ 8157 w 10354"/>
                  <a:gd name="connsiteY846" fmla="*/ 3077 h 10000"/>
                  <a:gd name="connsiteX847" fmla="*/ 8180 w 10354"/>
                  <a:gd name="connsiteY847" fmla="*/ 3068 h 10000"/>
                  <a:gd name="connsiteX848" fmla="*/ 8189 w 10354"/>
                  <a:gd name="connsiteY848" fmla="*/ 3043 h 10000"/>
                  <a:gd name="connsiteX849" fmla="*/ 8189 w 10354"/>
                  <a:gd name="connsiteY849" fmla="*/ 3017 h 10000"/>
                  <a:gd name="connsiteX850" fmla="*/ 8147 w 10354"/>
                  <a:gd name="connsiteY850" fmla="*/ 2940 h 10000"/>
                  <a:gd name="connsiteX851" fmla="*/ 8143 w 10354"/>
                  <a:gd name="connsiteY851" fmla="*/ 2915 h 10000"/>
                  <a:gd name="connsiteX852" fmla="*/ 8143 w 10354"/>
                  <a:gd name="connsiteY852" fmla="*/ 2906 h 10000"/>
                  <a:gd name="connsiteX853" fmla="*/ 8097 w 10354"/>
                  <a:gd name="connsiteY853" fmla="*/ 2932 h 10000"/>
                  <a:gd name="connsiteX854" fmla="*/ 8083 w 10354"/>
                  <a:gd name="connsiteY854" fmla="*/ 2932 h 10000"/>
                  <a:gd name="connsiteX855" fmla="*/ 8074 w 10354"/>
                  <a:gd name="connsiteY855" fmla="*/ 2906 h 10000"/>
                  <a:gd name="connsiteX856" fmla="*/ 8074 w 10354"/>
                  <a:gd name="connsiteY856" fmla="*/ 2897 h 10000"/>
                  <a:gd name="connsiteX857" fmla="*/ 8055 w 10354"/>
                  <a:gd name="connsiteY857" fmla="*/ 2872 h 10000"/>
                  <a:gd name="connsiteX858" fmla="*/ 8046 w 10354"/>
                  <a:gd name="connsiteY858" fmla="*/ 2829 h 10000"/>
                  <a:gd name="connsiteX859" fmla="*/ 8041 w 10354"/>
                  <a:gd name="connsiteY859" fmla="*/ 2829 h 10000"/>
                  <a:gd name="connsiteX860" fmla="*/ 8023 w 10354"/>
                  <a:gd name="connsiteY860" fmla="*/ 2803 h 10000"/>
                  <a:gd name="connsiteX861" fmla="*/ 8014 w 10354"/>
                  <a:gd name="connsiteY861" fmla="*/ 2829 h 10000"/>
                  <a:gd name="connsiteX862" fmla="*/ 8000 w 10354"/>
                  <a:gd name="connsiteY862" fmla="*/ 2829 h 10000"/>
                  <a:gd name="connsiteX863" fmla="*/ 7995 w 10354"/>
                  <a:gd name="connsiteY863" fmla="*/ 2821 h 10000"/>
                  <a:gd name="connsiteX864" fmla="*/ 7972 w 10354"/>
                  <a:gd name="connsiteY864" fmla="*/ 2803 h 10000"/>
                  <a:gd name="connsiteX865" fmla="*/ 7968 w 10354"/>
                  <a:gd name="connsiteY865" fmla="*/ 2821 h 10000"/>
                  <a:gd name="connsiteX866" fmla="*/ 7968 w 10354"/>
                  <a:gd name="connsiteY866" fmla="*/ 2803 h 10000"/>
                  <a:gd name="connsiteX867" fmla="*/ 7995 w 10354"/>
                  <a:gd name="connsiteY867" fmla="*/ 2735 h 10000"/>
                  <a:gd name="connsiteX868" fmla="*/ 8000 w 10354"/>
                  <a:gd name="connsiteY868" fmla="*/ 2735 h 10000"/>
                  <a:gd name="connsiteX869" fmla="*/ 8014 w 10354"/>
                  <a:gd name="connsiteY869" fmla="*/ 2744 h 10000"/>
                  <a:gd name="connsiteX870" fmla="*/ 8023 w 10354"/>
                  <a:gd name="connsiteY870" fmla="*/ 2769 h 10000"/>
                  <a:gd name="connsiteX871" fmla="*/ 8032 w 10354"/>
                  <a:gd name="connsiteY871" fmla="*/ 2744 h 10000"/>
                  <a:gd name="connsiteX872" fmla="*/ 8032 w 10354"/>
                  <a:gd name="connsiteY872" fmla="*/ 2709 h 10000"/>
                  <a:gd name="connsiteX873" fmla="*/ 8023 w 10354"/>
                  <a:gd name="connsiteY873" fmla="*/ 2632 h 10000"/>
                  <a:gd name="connsiteX874" fmla="*/ 7986 w 10354"/>
                  <a:gd name="connsiteY874" fmla="*/ 2581 h 10000"/>
                  <a:gd name="connsiteX875" fmla="*/ 7968 w 10354"/>
                  <a:gd name="connsiteY875" fmla="*/ 2581 h 10000"/>
                  <a:gd name="connsiteX876" fmla="*/ 7963 w 10354"/>
                  <a:gd name="connsiteY876" fmla="*/ 2556 h 10000"/>
                  <a:gd name="connsiteX877" fmla="*/ 7935 w 10354"/>
                  <a:gd name="connsiteY877" fmla="*/ 2547 h 10000"/>
                  <a:gd name="connsiteX878" fmla="*/ 7912 w 10354"/>
                  <a:gd name="connsiteY878" fmla="*/ 2547 h 10000"/>
                  <a:gd name="connsiteX879" fmla="*/ 7912 w 10354"/>
                  <a:gd name="connsiteY879" fmla="*/ 2556 h 10000"/>
                  <a:gd name="connsiteX880" fmla="*/ 7908 w 10354"/>
                  <a:gd name="connsiteY880" fmla="*/ 2547 h 10000"/>
                  <a:gd name="connsiteX881" fmla="*/ 7862 w 10354"/>
                  <a:gd name="connsiteY881" fmla="*/ 2547 h 10000"/>
                  <a:gd name="connsiteX882" fmla="*/ 7848 w 10354"/>
                  <a:gd name="connsiteY882" fmla="*/ 2556 h 10000"/>
                  <a:gd name="connsiteX883" fmla="*/ 7820 w 10354"/>
                  <a:gd name="connsiteY883" fmla="*/ 2547 h 10000"/>
                  <a:gd name="connsiteX884" fmla="*/ 7806 w 10354"/>
                  <a:gd name="connsiteY884" fmla="*/ 2513 h 10000"/>
                  <a:gd name="connsiteX885" fmla="*/ 7788 w 10354"/>
                  <a:gd name="connsiteY885" fmla="*/ 2513 h 10000"/>
                  <a:gd name="connsiteX886" fmla="*/ 7760 w 10354"/>
                  <a:gd name="connsiteY886" fmla="*/ 2470 h 10000"/>
                  <a:gd name="connsiteX887" fmla="*/ 7751 w 10354"/>
                  <a:gd name="connsiteY887" fmla="*/ 2470 h 10000"/>
                  <a:gd name="connsiteX888" fmla="*/ 7705 w 10354"/>
                  <a:gd name="connsiteY888" fmla="*/ 2462 h 10000"/>
                  <a:gd name="connsiteX889" fmla="*/ 7673 w 10354"/>
                  <a:gd name="connsiteY889" fmla="*/ 2419 h 10000"/>
                  <a:gd name="connsiteX890" fmla="*/ 7627 w 10354"/>
                  <a:gd name="connsiteY890" fmla="*/ 2419 h 10000"/>
                  <a:gd name="connsiteX891" fmla="*/ 7613 w 10354"/>
                  <a:gd name="connsiteY891" fmla="*/ 2410 h 10000"/>
                  <a:gd name="connsiteX892" fmla="*/ 7493 w 10354"/>
                  <a:gd name="connsiteY892" fmla="*/ 2393 h 10000"/>
                  <a:gd name="connsiteX893" fmla="*/ 7479 w 10354"/>
                  <a:gd name="connsiteY893" fmla="*/ 2385 h 10000"/>
                  <a:gd name="connsiteX894" fmla="*/ 7479 w 10354"/>
                  <a:gd name="connsiteY894" fmla="*/ 2376 h 10000"/>
                  <a:gd name="connsiteX895" fmla="*/ 7465 w 10354"/>
                  <a:gd name="connsiteY895" fmla="*/ 2359 h 10000"/>
                  <a:gd name="connsiteX896" fmla="*/ 7447 w 10354"/>
                  <a:gd name="connsiteY896" fmla="*/ 2350 h 10000"/>
                  <a:gd name="connsiteX897" fmla="*/ 7433 w 10354"/>
                  <a:gd name="connsiteY897" fmla="*/ 2376 h 10000"/>
                  <a:gd name="connsiteX898" fmla="*/ 7433 w 10354"/>
                  <a:gd name="connsiteY898" fmla="*/ 2385 h 10000"/>
                  <a:gd name="connsiteX899" fmla="*/ 7447 w 10354"/>
                  <a:gd name="connsiteY899" fmla="*/ 2410 h 10000"/>
                  <a:gd name="connsiteX900" fmla="*/ 7447 w 10354"/>
                  <a:gd name="connsiteY900" fmla="*/ 2436 h 10000"/>
                  <a:gd name="connsiteX901" fmla="*/ 7452 w 10354"/>
                  <a:gd name="connsiteY901" fmla="*/ 2462 h 10000"/>
                  <a:gd name="connsiteX902" fmla="*/ 7447 w 10354"/>
                  <a:gd name="connsiteY902" fmla="*/ 2470 h 10000"/>
                  <a:gd name="connsiteX903" fmla="*/ 7424 w 10354"/>
                  <a:gd name="connsiteY903" fmla="*/ 2513 h 10000"/>
                  <a:gd name="connsiteX904" fmla="*/ 7419 w 10354"/>
                  <a:gd name="connsiteY904" fmla="*/ 2556 h 10000"/>
                  <a:gd name="connsiteX905" fmla="*/ 7406 w 10354"/>
                  <a:gd name="connsiteY905" fmla="*/ 2624 h 10000"/>
                  <a:gd name="connsiteX906" fmla="*/ 7392 w 10354"/>
                  <a:gd name="connsiteY906" fmla="*/ 2624 h 10000"/>
                  <a:gd name="connsiteX907" fmla="*/ 7373 w 10354"/>
                  <a:gd name="connsiteY907" fmla="*/ 2650 h 10000"/>
                  <a:gd name="connsiteX908" fmla="*/ 7364 w 10354"/>
                  <a:gd name="connsiteY908" fmla="*/ 2684 h 10000"/>
                  <a:gd name="connsiteX909" fmla="*/ 7364 w 10354"/>
                  <a:gd name="connsiteY909" fmla="*/ 2692 h 10000"/>
                  <a:gd name="connsiteX910" fmla="*/ 7373 w 10354"/>
                  <a:gd name="connsiteY910" fmla="*/ 2718 h 10000"/>
                  <a:gd name="connsiteX911" fmla="*/ 7373 w 10354"/>
                  <a:gd name="connsiteY911" fmla="*/ 2744 h 10000"/>
                  <a:gd name="connsiteX912" fmla="*/ 7359 w 10354"/>
                  <a:gd name="connsiteY912" fmla="*/ 2744 h 10000"/>
                  <a:gd name="connsiteX913" fmla="*/ 7359 w 10354"/>
                  <a:gd name="connsiteY913" fmla="*/ 2795 h 10000"/>
                  <a:gd name="connsiteX914" fmla="*/ 7364 w 10354"/>
                  <a:gd name="connsiteY914" fmla="*/ 2821 h 10000"/>
                  <a:gd name="connsiteX915" fmla="*/ 7378 w 10354"/>
                  <a:gd name="connsiteY915" fmla="*/ 2846 h 10000"/>
                  <a:gd name="connsiteX916" fmla="*/ 7378 w 10354"/>
                  <a:gd name="connsiteY916" fmla="*/ 2855 h 10000"/>
                  <a:gd name="connsiteX917" fmla="*/ 7378 w 10354"/>
                  <a:gd name="connsiteY917" fmla="*/ 2880 h 10000"/>
                  <a:gd name="connsiteX918" fmla="*/ 7378 w 10354"/>
                  <a:gd name="connsiteY918" fmla="*/ 2906 h 10000"/>
                  <a:gd name="connsiteX919" fmla="*/ 7364 w 10354"/>
                  <a:gd name="connsiteY919" fmla="*/ 2906 h 10000"/>
                  <a:gd name="connsiteX920" fmla="*/ 7346 w 10354"/>
                  <a:gd name="connsiteY920" fmla="*/ 2880 h 10000"/>
                  <a:gd name="connsiteX921" fmla="*/ 7332 w 10354"/>
                  <a:gd name="connsiteY921" fmla="*/ 2915 h 10000"/>
                  <a:gd name="connsiteX922" fmla="*/ 7318 w 10354"/>
                  <a:gd name="connsiteY922" fmla="*/ 2906 h 10000"/>
                  <a:gd name="connsiteX923" fmla="*/ 7313 w 10354"/>
                  <a:gd name="connsiteY923" fmla="*/ 2915 h 10000"/>
                  <a:gd name="connsiteX924" fmla="*/ 7313 w 10354"/>
                  <a:gd name="connsiteY924" fmla="*/ 2906 h 10000"/>
                  <a:gd name="connsiteX925" fmla="*/ 7286 w 10354"/>
                  <a:gd name="connsiteY925" fmla="*/ 2940 h 10000"/>
                  <a:gd name="connsiteX926" fmla="*/ 7276 w 10354"/>
                  <a:gd name="connsiteY926" fmla="*/ 2966 h 10000"/>
                  <a:gd name="connsiteX927" fmla="*/ 7272 w 10354"/>
                  <a:gd name="connsiteY927" fmla="*/ 2983 h 10000"/>
                  <a:gd name="connsiteX928" fmla="*/ 7267 w 10354"/>
                  <a:gd name="connsiteY928" fmla="*/ 3009 h 10000"/>
                  <a:gd name="connsiteX929" fmla="*/ 7253 w 10354"/>
                  <a:gd name="connsiteY929" fmla="*/ 3009 h 10000"/>
                  <a:gd name="connsiteX930" fmla="*/ 7244 w 10354"/>
                  <a:gd name="connsiteY930" fmla="*/ 3017 h 10000"/>
                  <a:gd name="connsiteX931" fmla="*/ 7240 w 10354"/>
                  <a:gd name="connsiteY931" fmla="*/ 3009 h 10000"/>
                  <a:gd name="connsiteX932" fmla="*/ 7230 w 10354"/>
                  <a:gd name="connsiteY932" fmla="*/ 2991 h 10000"/>
                  <a:gd name="connsiteX933" fmla="*/ 7226 w 10354"/>
                  <a:gd name="connsiteY933" fmla="*/ 2983 h 10000"/>
                  <a:gd name="connsiteX934" fmla="*/ 7226 w 10354"/>
                  <a:gd name="connsiteY934" fmla="*/ 2966 h 10000"/>
                  <a:gd name="connsiteX935" fmla="*/ 7212 w 10354"/>
                  <a:gd name="connsiteY935" fmla="*/ 2957 h 10000"/>
                  <a:gd name="connsiteX936" fmla="*/ 7212 w 10354"/>
                  <a:gd name="connsiteY936" fmla="*/ 2932 h 10000"/>
                  <a:gd name="connsiteX937" fmla="*/ 7198 w 10354"/>
                  <a:gd name="connsiteY937" fmla="*/ 2915 h 10000"/>
                  <a:gd name="connsiteX938" fmla="*/ 7194 w 10354"/>
                  <a:gd name="connsiteY938" fmla="*/ 2915 h 10000"/>
                  <a:gd name="connsiteX939" fmla="*/ 7157 w 10354"/>
                  <a:gd name="connsiteY939" fmla="*/ 2880 h 10000"/>
                  <a:gd name="connsiteX940" fmla="*/ 7138 w 10354"/>
                  <a:gd name="connsiteY940" fmla="*/ 2880 h 10000"/>
                  <a:gd name="connsiteX941" fmla="*/ 7120 w 10354"/>
                  <a:gd name="connsiteY941" fmla="*/ 2872 h 10000"/>
                  <a:gd name="connsiteX942" fmla="*/ 7111 w 10354"/>
                  <a:gd name="connsiteY942" fmla="*/ 2846 h 10000"/>
                  <a:gd name="connsiteX943" fmla="*/ 7106 w 10354"/>
                  <a:gd name="connsiteY943" fmla="*/ 2846 h 10000"/>
                  <a:gd name="connsiteX944" fmla="*/ 7092 w 10354"/>
                  <a:gd name="connsiteY944" fmla="*/ 2829 h 10000"/>
                  <a:gd name="connsiteX945" fmla="*/ 7051 w 10354"/>
                  <a:gd name="connsiteY945" fmla="*/ 2829 h 10000"/>
                  <a:gd name="connsiteX946" fmla="*/ 7037 w 10354"/>
                  <a:gd name="connsiteY946" fmla="*/ 2880 h 10000"/>
                  <a:gd name="connsiteX947" fmla="*/ 7037 w 10354"/>
                  <a:gd name="connsiteY947" fmla="*/ 2906 h 10000"/>
                  <a:gd name="connsiteX948" fmla="*/ 7037 w 10354"/>
                  <a:gd name="connsiteY948" fmla="*/ 2932 h 10000"/>
                  <a:gd name="connsiteX949" fmla="*/ 7037 w 10354"/>
                  <a:gd name="connsiteY949" fmla="*/ 2940 h 10000"/>
                  <a:gd name="connsiteX950" fmla="*/ 7023 w 10354"/>
                  <a:gd name="connsiteY950" fmla="*/ 2906 h 10000"/>
                  <a:gd name="connsiteX951" fmla="*/ 7023 w 10354"/>
                  <a:gd name="connsiteY951" fmla="*/ 2915 h 10000"/>
                  <a:gd name="connsiteX952" fmla="*/ 6991 w 10354"/>
                  <a:gd name="connsiteY952" fmla="*/ 2906 h 10000"/>
                  <a:gd name="connsiteX953" fmla="*/ 6977 w 10354"/>
                  <a:gd name="connsiteY953" fmla="*/ 2915 h 10000"/>
                  <a:gd name="connsiteX954" fmla="*/ 6963 w 10354"/>
                  <a:gd name="connsiteY954" fmla="*/ 2915 h 10000"/>
                  <a:gd name="connsiteX955" fmla="*/ 6949 w 10354"/>
                  <a:gd name="connsiteY955" fmla="*/ 2872 h 10000"/>
                  <a:gd name="connsiteX956" fmla="*/ 6935 w 10354"/>
                  <a:gd name="connsiteY956" fmla="*/ 2855 h 10000"/>
                  <a:gd name="connsiteX957" fmla="*/ 6922 w 10354"/>
                  <a:gd name="connsiteY957" fmla="*/ 2803 h 10000"/>
                  <a:gd name="connsiteX958" fmla="*/ 6917 w 10354"/>
                  <a:gd name="connsiteY958" fmla="*/ 2786 h 10000"/>
                  <a:gd name="connsiteX959" fmla="*/ 6903 w 10354"/>
                  <a:gd name="connsiteY959" fmla="*/ 2709 h 10000"/>
                  <a:gd name="connsiteX960" fmla="*/ 6903 w 10354"/>
                  <a:gd name="connsiteY960" fmla="*/ 2692 h 10000"/>
                  <a:gd name="connsiteX961" fmla="*/ 6899 w 10354"/>
                  <a:gd name="connsiteY961" fmla="*/ 2709 h 10000"/>
                  <a:gd name="connsiteX962" fmla="*/ 6857 w 10354"/>
                  <a:gd name="connsiteY962" fmla="*/ 2872 h 10000"/>
                  <a:gd name="connsiteX963" fmla="*/ 6857 w 10354"/>
                  <a:gd name="connsiteY963" fmla="*/ 3009 h 10000"/>
                  <a:gd name="connsiteX964" fmla="*/ 6848 w 10354"/>
                  <a:gd name="connsiteY964" fmla="*/ 3017 h 10000"/>
                  <a:gd name="connsiteX965" fmla="*/ 6839 w 10354"/>
                  <a:gd name="connsiteY965" fmla="*/ 3068 h 10000"/>
                  <a:gd name="connsiteX966" fmla="*/ 6829 w 10354"/>
                  <a:gd name="connsiteY966" fmla="*/ 3077 h 10000"/>
                  <a:gd name="connsiteX967" fmla="*/ 6829 w 10354"/>
                  <a:gd name="connsiteY967" fmla="*/ 3128 h 10000"/>
                  <a:gd name="connsiteX968" fmla="*/ 6816 w 10354"/>
                  <a:gd name="connsiteY968" fmla="*/ 3154 h 10000"/>
                  <a:gd name="connsiteX969" fmla="*/ 6811 w 10354"/>
                  <a:gd name="connsiteY969" fmla="*/ 3179 h 10000"/>
                  <a:gd name="connsiteX970" fmla="*/ 6797 w 10354"/>
                  <a:gd name="connsiteY970" fmla="*/ 3171 h 10000"/>
                  <a:gd name="connsiteX971" fmla="*/ 6783 w 10354"/>
                  <a:gd name="connsiteY971" fmla="*/ 3103 h 10000"/>
                  <a:gd name="connsiteX972" fmla="*/ 6779 w 10354"/>
                  <a:gd name="connsiteY972" fmla="*/ 3094 h 10000"/>
                  <a:gd name="connsiteX973" fmla="*/ 6779 w 10354"/>
                  <a:gd name="connsiteY973" fmla="*/ 3120 h 10000"/>
                  <a:gd name="connsiteX974" fmla="*/ 6770 w 10354"/>
                  <a:gd name="connsiteY974" fmla="*/ 3128 h 10000"/>
                  <a:gd name="connsiteX975" fmla="*/ 6765 w 10354"/>
                  <a:gd name="connsiteY975" fmla="*/ 3103 h 10000"/>
                  <a:gd name="connsiteX976" fmla="*/ 6756 w 10354"/>
                  <a:gd name="connsiteY976" fmla="*/ 3103 h 10000"/>
                  <a:gd name="connsiteX977" fmla="*/ 6742 w 10354"/>
                  <a:gd name="connsiteY977" fmla="*/ 3103 h 10000"/>
                  <a:gd name="connsiteX978" fmla="*/ 6737 w 10354"/>
                  <a:gd name="connsiteY978" fmla="*/ 3077 h 10000"/>
                  <a:gd name="connsiteX979" fmla="*/ 6737 w 10354"/>
                  <a:gd name="connsiteY979" fmla="*/ 3068 h 10000"/>
                  <a:gd name="connsiteX980" fmla="*/ 6728 w 10354"/>
                  <a:gd name="connsiteY980" fmla="*/ 3043 h 10000"/>
                  <a:gd name="connsiteX981" fmla="*/ 6724 w 10354"/>
                  <a:gd name="connsiteY981" fmla="*/ 3051 h 10000"/>
                  <a:gd name="connsiteX982" fmla="*/ 6714 w 10354"/>
                  <a:gd name="connsiteY982" fmla="*/ 3043 h 10000"/>
                  <a:gd name="connsiteX983" fmla="*/ 6710 w 10354"/>
                  <a:gd name="connsiteY983" fmla="*/ 3034 h 10000"/>
                  <a:gd name="connsiteX984" fmla="*/ 6705 w 10354"/>
                  <a:gd name="connsiteY984" fmla="*/ 2983 h 10000"/>
                  <a:gd name="connsiteX985" fmla="*/ 6696 w 10354"/>
                  <a:gd name="connsiteY985" fmla="*/ 2966 h 10000"/>
                  <a:gd name="connsiteX986" fmla="*/ 6691 w 10354"/>
                  <a:gd name="connsiteY986" fmla="*/ 2983 h 10000"/>
                  <a:gd name="connsiteX987" fmla="*/ 6677 w 10354"/>
                  <a:gd name="connsiteY987" fmla="*/ 2897 h 10000"/>
                  <a:gd name="connsiteX988" fmla="*/ 6677 w 10354"/>
                  <a:gd name="connsiteY988" fmla="*/ 2897 h 10000"/>
                  <a:gd name="connsiteX989" fmla="*/ 6677 w 10354"/>
                  <a:gd name="connsiteY989" fmla="*/ 2872 h 10000"/>
                  <a:gd name="connsiteX990" fmla="*/ 6668 w 10354"/>
                  <a:gd name="connsiteY990" fmla="*/ 2821 h 10000"/>
                  <a:gd name="connsiteX991" fmla="*/ 6664 w 10354"/>
                  <a:gd name="connsiteY991" fmla="*/ 2829 h 10000"/>
                  <a:gd name="connsiteX992" fmla="*/ 6654 w 10354"/>
                  <a:gd name="connsiteY992" fmla="*/ 2846 h 10000"/>
                  <a:gd name="connsiteX993" fmla="*/ 6650 w 10354"/>
                  <a:gd name="connsiteY993" fmla="*/ 2829 h 10000"/>
                  <a:gd name="connsiteX994" fmla="*/ 6650 w 10354"/>
                  <a:gd name="connsiteY994" fmla="*/ 2803 h 10000"/>
                  <a:gd name="connsiteX995" fmla="*/ 6650 w 10354"/>
                  <a:gd name="connsiteY995" fmla="*/ 2795 h 10000"/>
                  <a:gd name="connsiteX996" fmla="*/ 6641 w 10354"/>
                  <a:gd name="connsiteY996" fmla="*/ 2786 h 10000"/>
                  <a:gd name="connsiteX997" fmla="*/ 6636 w 10354"/>
                  <a:gd name="connsiteY997" fmla="*/ 2735 h 10000"/>
                  <a:gd name="connsiteX998" fmla="*/ 6664 w 10354"/>
                  <a:gd name="connsiteY998" fmla="*/ 2667 h 10000"/>
                  <a:gd name="connsiteX999" fmla="*/ 6668 w 10354"/>
                  <a:gd name="connsiteY999" fmla="*/ 2684 h 10000"/>
                  <a:gd name="connsiteX1000" fmla="*/ 6677 w 10354"/>
                  <a:gd name="connsiteY1000" fmla="*/ 2667 h 10000"/>
                  <a:gd name="connsiteX1001" fmla="*/ 6668 w 10354"/>
                  <a:gd name="connsiteY1001" fmla="*/ 2667 h 10000"/>
                  <a:gd name="connsiteX1002" fmla="*/ 6668 w 10354"/>
                  <a:gd name="connsiteY1002" fmla="*/ 2650 h 10000"/>
                  <a:gd name="connsiteX1003" fmla="*/ 6682 w 10354"/>
                  <a:gd name="connsiteY1003" fmla="*/ 2650 h 10000"/>
                  <a:gd name="connsiteX1004" fmla="*/ 6691 w 10354"/>
                  <a:gd name="connsiteY1004" fmla="*/ 2624 h 10000"/>
                  <a:gd name="connsiteX1005" fmla="*/ 6682 w 10354"/>
                  <a:gd name="connsiteY1005" fmla="*/ 2632 h 10000"/>
                  <a:gd name="connsiteX1006" fmla="*/ 6682 w 10354"/>
                  <a:gd name="connsiteY1006" fmla="*/ 2624 h 10000"/>
                  <a:gd name="connsiteX1007" fmla="*/ 6691 w 10354"/>
                  <a:gd name="connsiteY1007" fmla="*/ 2607 h 10000"/>
                  <a:gd name="connsiteX1008" fmla="*/ 6691 w 10354"/>
                  <a:gd name="connsiteY1008" fmla="*/ 2598 h 10000"/>
                  <a:gd name="connsiteX1009" fmla="*/ 6691 w 10354"/>
                  <a:gd name="connsiteY1009" fmla="*/ 2581 h 10000"/>
                  <a:gd name="connsiteX1010" fmla="*/ 6696 w 10354"/>
                  <a:gd name="connsiteY1010" fmla="*/ 2530 h 10000"/>
                  <a:gd name="connsiteX1011" fmla="*/ 6677 w 10354"/>
                  <a:gd name="connsiteY1011" fmla="*/ 2513 h 10000"/>
                  <a:gd name="connsiteX1012" fmla="*/ 6677 w 10354"/>
                  <a:gd name="connsiteY1012" fmla="*/ 2496 h 10000"/>
                  <a:gd name="connsiteX1013" fmla="*/ 6682 w 10354"/>
                  <a:gd name="connsiteY1013" fmla="*/ 2470 h 10000"/>
                  <a:gd name="connsiteX1014" fmla="*/ 6668 w 10354"/>
                  <a:gd name="connsiteY1014" fmla="*/ 2462 h 10000"/>
                  <a:gd name="connsiteX1015" fmla="*/ 6677 w 10354"/>
                  <a:gd name="connsiteY1015" fmla="*/ 2436 h 10000"/>
                  <a:gd name="connsiteX1016" fmla="*/ 6682 w 10354"/>
                  <a:gd name="connsiteY1016" fmla="*/ 2419 h 10000"/>
                  <a:gd name="connsiteX1017" fmla="*/ 6682 w 10354"/>
                  <a:gd name="connsiteY1017" fmla="*/ 2393 h 10000"/>
                  <a:gd name="connsiteX1018" fmla="*/ 6682 w 10354"/>
                  <a:gd name="connsiteY1018" fmla="*/ 2385 h 10000"/>
                  <a:gd name="connsiteX1019" fmla="*/ 6682 w 10354"/>
                  <a:gd name="connsiteY1019" fmla="*/ 2385 h 10000"/>
                  <a:gd name="connsiteX1020" fmla="*/ 6677 w 10354"/>
                  <a:gd name="connsiteY1020" fmla="*/ 2376 h 10000"/>
                  <a:gd name="connsiteX1021" fmla="*/ 6682 w 10354"/>
                  <a:gd name="connsiteY1021" fmla="*/ 2359 h 10000"/>
                  <a:gd name="connsiteX1022" fmla="*/ 6677 w 10354"/>
                  <a:gd name="connsiteY1022" fmla="*/ 2333 h 10000"/>
                  <a:gd name="connsiteX1023" fmla="*/ 6691 w 10354"/>
                  <a:gd name="connsiteY1023" fmla="*/ 2333 h 10000"/>
                  <a:gd name="connsiteX1024" fmla="*/ 6691 w 10354"/>
                  <a:gd name="connsiteY1024" fmla="*/ 2325 h 10000"/>
                  <a:gd name="connsiteX1025" fmla="*/ 6691 w 10354"/>
                  <a:gd name="connsiteY1025" fmla="*/ 2308 h 10000"/>
                  <a:gd name="connsiteX1026" fmla="*/ 6691 w 10354"/>
                  <a:gd name="connsiteY1026" fmla="*/ 2299 h 10000"/>
                  <a:gd name="connsiteX1027" fmla="*/ 6691 w 10354"/>
                  <a:gd name="connsiteY1027" fmla="*/ 2282 h 10000"/>
                  <a:gd name="connsiteX1028" fmla="*/ 6691 w 10354"/>
                  <a:gd name="connsiteY1028" fmla="*/ 2274 h 10000"/>
                  <a:gd name="connsiteX1029" fmla="*/ 6668 w 10354"/>
                  <a:gd name="connsiteY1029" fmla="*/ 2248 h 10000"/>
                  <a:gd name="connsiteX1030" fmla="*/ 6664 w 10354"/>
                  <a:gd name="connsiteY1030" fmla="*/ 2222 h 10000"/>
                  <a:gd name="connsiteX1031" fmla="*/ 6654 w 10354"/>
                  <a:gd name="connsiteY1031" fmla="*/ 2214 h 10000"/>
                  <a:gd name="connsiteX1032" fmla="*/ 6654 w 10354"/>
                  <a:gd name="connsiteY1032" fmla="*/ 2188 h 10000"/>
                  <a:gd name="connsiteX1033" fmla="*/ 6622 w 10354"/>
                  <a:gd name="connsiteY1033" fmla="*/ 2162 h 10000"/>
                  <a:gd name="connsiteX1034" fmla="*/ 6631 w 10354"/>
                  <a:gd name="connsiteY1034" fmla="*/ 2145 h 10000"/>
                  <a:gd name="connsiteX1035" fmla="*/ 6622 w 10354"/>
                  <a:gd name="connsiteY1035" fmla="*/ 2120 h 10000"/>
                  <a:gd name="connsiteX1036" fmla="*/ 6608 w 10354"/>
                  <a:gd name="connsiteY1036" fmla="*/ 2120 h 10000"/>
                  <a:gd name="connsiteX1037" fmla="*/ 6604 w 10354"/>
                  <a:gd name="connsiteY1037" fmla="*/ 2111 h 10000"/>
                  <a:gd name="connsiteX1038" fmla="*/ 6608 w 10354"/>
                  <a:gd name="connsiteY1038" fmla="*/ 2111 h 10000"/>
                  <a:gd name="connsiteX1039" fmla="*/ 6604 w 10354"/>
                  <a:gd name="connsiteY1039" fmla="*/ 2085 h 10000"/>
                  <a:gd name="connsiteX1040" fmla="*/ 6581 w 10354"/>
                  <a:gd name="connsiteY1040" fmla="*/ 2077 h 10000"/>
                  <a:gd name="connsiteX1041" fmla="*/ 6571 w 10354"/>
                  <a:gd name="connsiteY1041" fmla="*/ 2085 h 10000"/>
                  <a:gd name="connsiteX1042" fmla="*/ 6548 w 10354"/>
                  <a:gd name="connsiteY1042" fmla="*/ 2077 h 10000"/>
                  <a:gd name="connsiteX1043" fmla="*/ 6530 w 10354"/>
                  <a:gd name="connsiteY1043" fmla="*/ 2060 h 10000"/>
                  <a:gd name="connsiteX1044" fmla="*/ 6521 w 10354"/>
                  <a:gd name="connsiteY1044" fmla="*/ 2060 h 10000"/>
                  <a:gd name="connsiteX1045" fmla="*/ 6521 w 10354"/>
                  <a:gd name="connsiteY1045" fmla="*/ 2085 h 10000"/>
                  <a:gd name="connsiteX1046" fmla="*/ 6516 w 10354"/>
                  <a:gd name="connsiteY1046" fmla="*/ 2085 h 10000"/>
                  <a:gd name="connsiteX1047" fmla="*/ 6502 w 10354"/>
                  <a:gd name="connsiteY1047" fmla="*/ 2111 h 10000"/>
                  <a:gd name="connsiteX1048" fmla="*/ 6498 w 10354"/>
                  <a:gd name="connsiteY1048" fmla="*/ 2111 h 10000"/>
                  <a:gd name="connsiteX1049" fmla="*/ 6498 w 10354"/>
                  <a:gd name="connsiteY1049" fmla="*/ 2103 h 10000"/>
                  <a:gd name="connsiteX1050" fmla="*/ 6475 w 10354"/>
                  <a:gd name="connsiteY1050" fmla="*/ 2051 h 10000"/>
                  <a:gd name="connsiteX1051" fmla="*/ 6470 w 10354"/>
                  <a:gd name="connsiteY1051" fmla="*/ 2060 h 10000"/>
                  <a:gd name="connsiteX1052" fmla="*/ 6456 w 10354"/>
                  <a:gd name="connsiteY1052" fmla="*/ 2051 h 10000"/>
                  <a:gd name="connsiteX1053" fmla="*/ 6447 w 10354"/>
                  <a:gd name="connsiteY1053" fmla="*/ 2051 h 10000"/>
                  <a:gd name="connsiteX1054" fmla="*/ 6433 w 10354"/>
                  <a:gd name="connsiteY1054" fmla="*/ 2026 h 10000"/>
                  <a:gd name="connsiteX1055" fmla="*/ 6433 w 10354"/>
                  <a:gd name="connsiteY1055" fmla="*/ 2034 h 10000"/>
                  <a:gd name="connsiteX1056" fmla="*/ 6429 w 10354"/>
                  <a:gd name="connsiteY1056" fmla="*/ 2026 h 10000"/>
                  <a:gd name="connsiteX1057" fmla="*/ 6424 w 10354"/>
                  <a:gd name="connsiteY1057" fmla="*/ 2034 h 10000"/>
                  <a:gd name="connsiteX1058" fmla="*/ 6410 w 10354"/>
                  <a:gd name="connsiteY1058" fmla="*/ 2026 h 10000"/>
                  <a:gd name="connsiteX1059" fmla="*/ 6410 w 10354"/>
                  <a:gd name="connsiteY1059" fmla="*/ 1991 h 10000"/>
                  <a:gd name="connsiteX1060" fmla="*/ 6401 w 10354"/>
                  <a:gd name="connsiteY1060" fmla="*/ 1991 h 10000"/>
                  <a:gd name="connsiteX1061" fmla="*/ 6396 w 10354"/>
                  <a:gd name="connsiteY1061" fmla="*/ 2000 h 10000"/>
                  <a:gd name="connsiteX1062" fmla="*/ 6382 w 10354"/>
                  <a:gd name="connsiteY1062" fmla="*/ 1966 h 10000"/>
                  <a:gd name="connsiteX1063" fmla="*/ 6373 w 10354"/>
                  <a:gd name="connsiteY1063" fmla="*/ 1974 h 10000"/>
                  <a:gd name="connsiteX1064" fmla="*/ 6369 w 10354"/>
                  <a:gd name="connsiteY1064" fmla="*/ 1966 h 10000"/>
                  <a:gd name="connsiteX1065" fmla="*/ 6341 w 10354"/>
                  <a:gd name="connsiteY1065" fmla="*/ 1949 h 10000"/>
                  <a:gd name="connsiteX1066" fmla="*/ 6327 w 10354"/>
                  <a:gd name="connsiteY1066" fmla="*/ 1923 h 10000"/>
                  <a:gd name="connsiteX1067" fmla="*/ 6323 w 10354"/>
                  <a:gd name="connsiteY1067" fmla="*/ 1923 h 10000"/>
                  <a:gd name="connsiteX1068" fmla="*/ 6323 w 10354"/>
                  <a:gd name="connsiteY1068" fmla="*/ 1966 h 10000"/>
                  <a:gd name="connsiteX1069" fmla="*/ 6323 w 10354"/>
                  <a:gd name="connsiteY1069" fmla="*/ 1991 h 10000"/>
                  <a:gd name="connsiteX1070" fmla="*/ 6313 w 10354"/>
                  <a:gd name="connsiteY1070" fmla="*/ 1991 h 10000"/>
                  <a:gd name="connsiteX1071" fmla="*/ 6300 w 10354"/>
                  <a:gd name="connsiteY1071" fmla="*/ 1991 h 10000"/>
                  <a:gd name="connsiteX1072" fmla="*/ 6290 w 10354"/>
                  <a:gd name="connsiteY1072" fmla="*/ 1949 h 10000"/>
                  <a:gd name="connsiteX1073" fmla="*/ 6276 w 10354"/>
                  <a:gd name="connsiteY1073" fmla="*/ 2103 h 10000"/>
                  <a:gd name="connsiteX1074" fmla="*/ 6281 w 10354"/>
                  <a:gd name="connsiteY1074" fmla="*/ 2103 h 10000"/>
                  <a:gd name="connsiteX1075" fmla="*/ 6276 w 10354"/>
                  <a:gd name="connsiteY1075" fmla="*/ 2111 h 10000"/>
                  <a:gd name="connsiteX1076" fmla="*/ 6276 w 10354"/>
                  <a:gd name="connsiteY1076" fmla="*/ 2120 h 10000"/>
                  <a:gd name="connsiteX1077" fmla="*/ 6295 w 10354"/>
                  <a:gd name="connsiteY1077" fmla="*/ 2239 h 10000"/>
                  <a:gd name="connsiteX1078" fmla="*/ 6290 w 10354"/>
                  <a:gd name="connsiteY1078" fmla="*/ 2248 h 10000"/>
                  <a:gd name="connsiteX1079" fmla="*/ 6281 w 10354"/>
                  <a:gd name="connsiteY1079" fmla="*/ 2274 h 10000"/>
                  <a:gd name="connsiteX1080" fmla="*/ 6249 w 10354"/>
                  <a:gd name="connsiteY1080" fmla="*/ 2274 h 10000"/>
                  <a:gd name="connsiteX1081" fmla="*/ 6226 w 10354"/>
                  <a:gd name="connsiteY1081" fmla="*/ 2308 h 10000"/>
                  <a:gd name="connsiteX1082" fmla="*/ 6221 w 10354"/>
                  <a:gd name="connsiteY1082" fmla="*/ 2299 h 10000"/>
                  <a:gd name="connsiteX1083" fmla="*/ 6221 w 10354"/>
                  <a:gd name="connsiteY1083" fmla="*/ 2308 h 10000"/>
                  <a:gd name="connsiteX1084" fmla="*/ 6217 w 10354"/>
                  <a:gd name="connsiteY1084" fmla="*/ 2299 h 10000"/>
                  <a:gd name="connsiteX1085" fmla="*/ 6194 w 10354"/>
                  <a:gd name="connsiteY1085" fmla="*/ 2308 h 10000"/>
                  <a:gd name="connsiteX1086" fmla="*/ 6180 w 10354"/>
                  <a:gd name="connsiteY1086" fmla="*/ 2299 h 10000"/>
                  <a:gd name="connsiteX1087" fmla="*/ 6143 w 10354"/>
                  <a:gd name="connsiteY1087" fmla="*/ 2308 h 10000"/>
                  <a:gd name="connsiteX1088" fmla="*/ 6134 w 10354"/>
                  <a:gd name="connsiteY1088" fmla="*/ 2325 h 10000"/>
                  <a:gd name="connsiteX1089" fmla="*/ 6115 w 10354"/>
                  <a:gd name="connsiteY1089" fmla="*/ 2282 h 10000"/>
                  <a:gd name="connsiteX1090" fmla="*/ 6069 w 10354"/>
                  <a:gd name="connsiteY1090" fmla="*/ 2274 h 10000"/>
                  <a:gd name="connsiteX1091" fmla="*/ 6069 w 10354"/>
                  <a:gd name="connsiteY1091" fmla="*/ 2282 h 10000"/>
                  <a:gd name="connsiteX1092" fmla="*/ 6060 w 10354"/>
                  <a:gd name="connsiteY1092" fmla="*/ 2299 h 10000"/>
                  <a:gd name="connsiteX1093" fmla="*/ 5972 w 10354"/>
                  <a:gd name="connsiteY1093" fmla="*/ 2214 h 10000"/>
                  <a:gd name="connsiteX1094" fmla="*/ 5968 w 10354"/>
                  <a:gd name="connsiteY1094" fmla="*/ 2197 h 10000"/>
                  <a:gd name="connsiteX1095" fmla="*/ 5968 w 10354"/>
                  <a:gd name="connsiteY1095" fmla="*/ 2171 h 10000"/>
                  <a:gd name="connsiteX1096" fmla="*/ 5968 w 10354"/>
                  <a:gd name="connsiteY1096" fmla="*/ 2162 h 10000"/>
                  <a:gd name="connsiteX1097" fmla="*/ 5968 w 10354"/>
                  <a:gd name="connsiteY1097" fmla="*/ 2120 h 10000"/>
                  <a:gd name="connsiteX1098" fmla="*/ 5968 w 10354"/>
                  <a:gd name="connsiteY1098" fmla="*/ 2111 h 10000"/>
                  <a:gd name="connsiteX1099" fmla="*/ 5972 w 10354"/>
                  <a:gd name="connsiteY1099" fmla="*/ 2103 h 10000"/>
                  <a:gd name="connsiteX1100" fmla="*/ 5986 w 10354"/>
                  <a:gd name="connsiteY1100" fmla="*/ 2103 h 10000"/>
                  <a:gd name="connsiteX1101" fmla="*/ 5986 w 10354"/>
                  <a:gd name="connsiteY1101" fmla="*/ 2085 h 10000"/>
                  <a:gd name="connsiteX1102" fmla="*/ 5995 w 10354"/>
                  <a:gd name="connsiteY1102" fmla="*/ 2085 h 10000"/>
                  <a:gd name="connsiteX1103" fmla="*/ 5995 w 10354"/>
                  <a:gd name="connsiteY1103" fmla="*/ 2077 h 10000"/>
                  <a:gd name="connsiteX1104" fmla="*/ 5986 w 10354"/>
                  <a:gd name="connsiteY1104" fmla="*/ 2060 h 10000"/>
                  <a:gd name="connsiteX1105" fmla="*/ 5954 w 10354"/>
                  <a:gd name="connsiteY1105" fmla="*/ 2060 h 10000"/>
                  <a:gd name="connsiteX1106" fmla="*/ 5940 w 10354"/>
                  <a:gd name="connsiteY1106" fmla="*/ 2051 h 10000"/>
                  <a:gd name="connsiteX1107" fmla="*/ 5922 w 10354"/>
                  <a:gd name="connsiteY1107" fmla="*/ 2060 h 10000"/>
                  <a:gd name="connsiteX1108" fmla="*/ 5885 w 10354"/>
                  <a:gd name="connsiteY1108" fmla="*/ 2051 h 10000"/>
                  <a:gd name="connsiteX1109" fmla="*/ 5876 w 10354"/>
                  <a:gd name="connsiteY1109" fmla="*/ 2026 h 10000"/>
                  <a:gd name="connsiteX1110" fmla="*/ 5862 w 10354"/>
                  <a:gd name="connsiteY1110" fmla="*/ 2026 h 10000"/>
                  <a:gd name="connsiteX1111" fmla="*/ 5848 w 10354"/>
                  <a:gd name="connsiteY1111" fmla="*/ 2026 h 10000"/>
                  <a:gd name="connsiteX1112" fmla="*/ 5825 w 10354"/>
                  <a:gd name="connsiteY1112" fmla="*/ 2026 h 10000"/>
                  <a:gd name="connsiteX1113" fmla="*/ 5788 w 10354"/>
                  <a:gd name="connsiteY1113" fmla="*/ 1991 h 10000"/>
                  <a:gd name="connsiteX1114" fmla="*/ 5760 w 10354"/>
                  <a:gd name="connsiteY1114" fmla="*/ 2000 h 10000"/>
                  <a:gd name="connsiteX1115" fmla="*/ 5760 w 10354"/>
                  <a:gd name="connsiteY1115" fmla="*/ 2026 h 10000"/>
                  <a:gd name="connsiteX1116" fmla="*/ 5714 w 10354"/>
                  <a:gd name="connsiteY1116" fmla="*/ 2051 h 10000"/>
                  <a:gd name="connsiteX1117" fmla="*/ 5687 w 10354"/>
                  <a:gd name="connsiteY1117" fmla="*/ 2034 h 10000"/>
                  <a:gd name="connsiteX1118" fmla="*/ 5645 w 10354"/>
                  <a:gd name="connsiteY1118" fmla="*/ 2077 h 10000"/>
                  <a:gd name="connsiteX1119" fmla="*/ 5664 w 10354"/>
                  <a:gd name="connsiteY1119" fmla="*/ 2120 h 10000"/>
                  <a:gd name="connsiteX1120" fmla="*/ 5664 w 10354"/>
                  <a:gd name="connsiteY1120" fmla="*/ 2162 h 10000"/>
                  <a:gd name="connsiteX1121" fmla="*/ 5631 w 10354"/>
                  <a:gd name="connsiteY1121" fmla="*/ 2197 h 10000"/>
                  <a:gd name="connsiteX1122" fmla="*/ 5618 w 10354"/>
                  <a:gd name="connsiteY1122" fmla="*/ 2188 h 10000"/>
                  <a:gd name="connsiteX1123" fmla="*/ 5618 w 10354"/>
                  <a:gd name="connsiteY1123" fmla="*/ 2171 h 10000"/>
                  <a:gd name="connsiteX1124" fmla="*/ 5641 w 10354"/>
                  <a:gd name="connsiteY1124" fmla="*/ 2171 h 10000"/>
                  <a:gd name="connsiteX1125" fmla="*/ 5641 w 10354"/>
                  <a:gd name="connsiteY1125" fmla="*/ 2162 h 10000"/>
                  <a:gd name="connsiteX1126" fmla="*/ 5627 w 10354"/>
                  <a:gd name="connsiteY1126" fmla="*/ 2145 h 10000"/>
                  <a:gd name="connsiteX1127" fmla="*/ 5627 w 10354"/>
                  <a:gd name="connsiteY1127" fmla="*/ 2120 h 10000"/>
                  <a:gd name="connsiteX1128" fmla="*/ 5618 w 10354"/>
                  <a:gd name="connsiteY1128" fmla="*/ 2111 h 10000"/>
                  <a:gd name="connsiteX1129" fmla="*/ 5631 w 10354"/>
                  <a:gd name="connsiteY1129" fmla="*/ 2051 h 10000"/>
                  <a:gd name="connsiteX1130" fmla="*/ 5631 w 10354"/>
                  <a:gd name="connsiteY1130" fmla="*/ 2026 h 10000"/>
                  <a:gd name="connsiteX1131" fmla="*/ 5627 w 10354"/>
                  <a:gd name="connsiteY1131" fmla="*/ 1991 h 10000"/>
                  <a:gd name="connsiteX1132" fmla="*/ 5618 w 10354"/>
                  <a:gd name="connsiteY1132" fmla="*/ 1974 h 10000"/>
                  <a:gd name="connsiteX1133" fmla="*/ 5618 w 10354"/>
                  <a:gd name="connsiteY1133" fmla="*/ 1940 h 10000"/>
                  <a:gd name="connsiteX1134" fmla="*/ 5594 w 10354"/>
                  <a:gd name="connsiteY1134" fmla="*/ 1855 h 10000"/>
                  <a:gd name="connsiteX1135" fmla="*/ 5599 w 10354"/>
                  <a:gd name="connsiteY1135" fmla="*/ 1915 h 10000"/>
                  <a:gd name="connsiteX1136" fmla="*/ 5599 w 10354"/>
                  <a:gd name="connsiteY1136" fmla="*/ 1949 h 10000"/>
                  <a:gd name="connsiteX1137" fmla="*/ 5594 w 10354"/>
                  <a:gd name="connsiteY1137" fmla="*/ 1991 h 10000"/>
                  <a:gd name="connsiteX1138" fmla="*/ 5571 w 10354"/>
                  <a:gd name="connsiteY1138" fmla="*/ 2000 h 10000"/>
                  <a:gd name="connsiteX1139" fmla="*/ 5530 w 10354"/>
                  <a:gd name="connsiteY1139" fmla="*/ 1991 h 10000"/>
                  <a:gd name="connsiteX1140" fmla="*/ 5525 w 10354"/>
                  <a:gd name="connsiteY1140" fmla="*/ 2000 h 10000"/>
                  <a:gd name="connsiteX1141" fmla="*/ 5521 w 10354"/>
                  <a:gd name="connsiteY1141" fmla="*/ 1991 h 10000"/>
                  <a:gd name="connsiteX1142" fmla="*/ 5498 w 10354"/>
                  <a:gd name="connsiteY1142" fmla="*/ 1949 h 10000"/>
                  <a:gd name="connsiteX1143" fmla="*/ 5493 w 10354"/>
                  <a:gd name="connsiteY1143" fmla="*/ 1889 h 10000"/>
                  <a:gd name="connsiteX1144" fmla="*/ 5493 w 10354"/>
                  <a:gd name="connsiteY1144" fmla="*/ 1863 h 10000"/>
                  <a:gd name="connsiteX1145" fmla="*/ 5498 w 10354"/>
                  <a:gd name="connsiteY1145" fmla="*/ 1889 h 10000"/>
                  <a:gd name="connsiteX1146" fmla="*/ 5512 w 10354"/>
                  <a:gd name="connsiteY1146" fmla="*/ 1855 h 10000"/>
                  <a:gd name="connsiteX1147" fmla="*/ 5512 w 10354"/>
                  <a:gd name="connsiteY1147" fmla="*/ 1838 h 10000"/>
                  <a:gd name="connsiteX1148" fmla="*/ 5479 w 10354"/>
                  <a:gd name="connsiteY1148" fmla="*/ 1855 h 10000"/>
                  <a:gd name="connsiteX1149" fmla="*/ 5470 w 10354"/>
                  <a:gd name="connsiteY1149" fmla="*/ 1872 h 10000"/>
                  <a:gd name="connsiteX1150" fmla="*/ 5470 w 10354"/>
                  <a:gd name="connsiteY1150" fmla="*/ 1889 h 10000"/>
                  <a:gd name="connsiteX1151" fmla="*/ 5465 w 10354"/>
                  <a:gd name="connsiteY1151" fmla="*/ 1897 h 10000"/>
                  <a:gd name="connsiteX1152" fmla="*/ 5456 w 10354"/>
                  <a:gd name="connsiteY1152" fmla="*/ 1872 h 10000"/>
                  <a:gd name="connsiteX1153" fmla="*/ 5447 w 10354"/>
                  <a:gd name="connsiteY1153" fmla="*/ 1872 h 10000"/>
                  <a:gd name="connsiteX1154" fmla="*/ 5433 w 10354"/>
                  <a:gd name="connsiteY1154" fmla="*/ 1855 h 10000"/>
                  <a:gd name="connsiteX1155" fmla="*/ 5396 w 10354"/>
                  <a:gd name="connsiteY1155" fmla="*/ 1863 h 10000"/>
                  <a:gd name="connsiteX1156" fmla="*/ 5396 w 10354"/>
                  <a:gd name="connsiteY1156" fmla="*/ 1897 h 10000"/>
                  <a:gd name="connsiteX1157" fmla="*/ 5378 w 10354"/>
                  <a:gd name="connsiteY1157" fmla="*/ 1949 h 10000"/>
                  <a:gd name="connsiteX1158" fmla="*/ 5378 w 10354"/>
                  <a:gd name="connsiteY1158" fmla="*/ 1966 h 10000"/>
                  <a:gd name="connsiteX1159" fmla="*/ 5392 w 10354"/>
                  <a:gd name="connsiteY1159" fmla="*/ 2026 h 10000"/>
                  <a:gd name="connsiteX1160" fmla="*/ 5396 w 10354"/>
                  <a:gd name="connsiteY1160" fmla="*/ 2026 h 10000"/>
                  <a:gd name="connsiteX1161" fmla="*/ 5392 w 10354"/>
                  <a:gd name="connsiteY1161" fmla="*/ 2009 h 10000"/>
                  <a:gd name="connsiteX1162" fmla="*/ 5392 w 10354"/>
                  <a:gd name="connsiteY1162" fmla="*/ 2000 h 10000"/>
                  <a:gd name="connsiteX1163" fmla="*/ 5396 w 10354"/>
                  <a:gd name="connsiteY1163" fmla="*/ 2009 h 10000"/>
                  <a:gd name="connsiteX1164" fmla="*/ 5424 w 10354"/>
                  <a:gd name="connsiteY1164" fmla="*/ 2009 h 10000"/>
                  <a:gd name="connsiteX1165" fmla="*/ 5433 w 10354"/>
                  <a:gd name="connsiteY1165" fmla="*/ 1991 h 10000"/>
                  <a:gd name="connsiteX1166" fmla="*/ 5447 w 10354"/>
                  <a:gd name="connsiteY1166" fmla="*/ 1974 h 10000"/>
                  <a:gd name="connsiteX1167" fmla="*/ 5452 w 10354"/>
                  <a:gd name="connsiteY1167" fmla="*/ 1966 h 10000"/>
                  <a:gd name="connsiteX1168" fmla="*/ 5456 w 10354"/>
                  <a:gd name="connsiteY1168" fmla="*/ 1966 h 10000"/>
                  <a:gd name="connsiteX1169" fmla="*/ 5465 w 10354"/>
                  <a:gd name="connsiteY1169" fmla="*/ 2009 h 10000"/>
                  <a:gd name="connsiteX1170" fmla="*/ 5433 w 10354"/>
                  <a:gd name="connsiteY1170" fmla="*/ 2034 h 10000"/>
                  <a:gd name="connsiteX1171" fmla="*/ 5424 w 10354"/>
                  <a:gd name="connsiteY1171" fmla="*/ 2060 h 10000"/>
                  <a:gd name="connsiteX1172" fmla="*/ 5419 w 10354"/>
                  <a:gd name="connsiteY1172" fmla="*/ 2060 h 10000"/>
                  <a:gd name="connsiteX1173" fmla="*/ 5392 w 10354"/>
                  <a:gd name="connsiteY1173" fmla="*/ 2111 h 10000"/>
                  <a:gd name="connsiteX1174" fmla="*/ 5378 w 10354"/>
                  <a:gd name="connsiteY1174" fmla="*/ 2111 h 10000"/>
                  <a:gd name="connsiteX1175" fmla="*/ 5350 w 10354"/>
                  <a:gd name="connsiteY1175" fmla="*/ 2060 h 10000"/>
                  <a:gd name="connsiteX1176" fmla="*/ 5373 w 10354"/>
                  <a:gd name="connsiteY1176" fmla="*/ 2111 h 10000"/>
                  <a:gd name="connsiteX1177" fmla="*/ 5364 w 10354"/>
                  <a:gd name="connsiteY1177" fmla="*/ 2111 h 10000"/>
                  <a:gd name="connsiteX1178" fmla="*/ 5359 w 10354"/>
                  <a:gd name="connsiteY1178" fmla="*/ 2103 h 10000"/>
                  <a:gd name="connsiteX1179" fmla="*/ 5359 w 10354"/>
                  <a:gd name="connsiteY1179" fmla="*/ 2120 h 10000"/>
                  <a:gd name="connsiteX1180" fmla="*/ 5359 w 10354"/>
                  <a:gd name="connsiteY1180" fmla="*/ 2137 h 10000"/>
                  <a:gd name="connsiteX1181" fmla="*/ 5313 w 10354"/>
                  <a:gd name="connsiteY1181" fmla="*/ 2162 h 10000"/>
                  <a:gd name="connsiteX1182" fmla="*/ 5300 w 10354"/>
                  <a:gd name="connsiteY1182" fmla="*/ 2162 h 10000"/>
                  <a:gd name="connsiteX1183" fmla="*/ 5300 w 10354"/>
                  <a:gd name="connsiteY1183" fmla="*/ 2171 h 10000"/>
                  <a:gd name="connsiteX1184" fmla="*/ 5300 w 10354"/>
                  <a:gd name="connsiteY1184" fmla="*/ 2197 h 10000"/>
                  <a:gd name="connsiteX1185" fmla="*/ 5276 w 10354"/>
                  <a:gd name="connsiteY1185" fmla="*/ 2188 h 10000"/>
                  <a:gd name="connsiteX1186" fmla="*/ 5249 w 10354"/>
                  <a:gd name="connsiteY1186" fmla="*/ 2222 h 10000"/>
                  <a:gd name="connsiteX1187" fmla="*/ 5249 w 10354"/>
                  <a:gd name="connsiteY1187" fmla="*/ 2222 h 10000"/>
                  <a:gd name="connsiteX1188" fmla="*/ 5217 w 10354"/>
                  <a:gd name="connsiteY1188" fmla="*/ 2214 h 10000"/>
                  <a:gd name="connsiteX1189" fmla="*/ 5203 w 10354"/>
                  <a:gd name="connsiteY1189" fmla="*/ 2239 h 10000"/>
                  <a:gd name="connsiteX1190" fmla="*/ 5171 w 10354"/>
                  <a:gd name="connsiteY1190" fmla="*/ 2214 h 10000"/>
                  <a:gd name="connsiteX1191" fmla="*/ 5157 w 10354"/>
                  <a:gd name="connsiteY1191" fmla="*/ 2239 h 10000"/>
                  <a:gd name="connsiteX1192" fmla="*/ 5166 w 10354"/>
                  <a:gd name="connsiteY1192" fmla="*/ 2256 h 10000"/>
                  <a:gd name="connsiteX1193" fmla="*/ 5171 w 10354"/>
                  <a:gd name="connsiteY1193" fmla="*/ 2308 h 10000"/>
                  <a:gd name="connsiteX1194" fmla="*/ 5212 w 10354"/>
                  <a:gd name="connsiteY1194" fmla="*/ 2350 h 10000"/>
                  <a:gd name="connsiteX1195" fmla="*/ 5203 w 10354"/>
                  <a:gd name="connsiteY1195" fmla="*/ 2350 h 10000"/>
                  <a:gd name="connsiteX1196" fmla="*/ 5166 w 10354"/>
                  <a:gd name="connsiteY1196" fmla="*/ 2325 h 10000"/>
                  <a:gd name="connsiteX1197" fmla="*/ 5152 w 10354"/>
                  <a:gd name="connsiteY1197" fmla="*/ 2308 h 10000"/>
                  <a:gd name="connsiteX1198" fmla="*/ 5143 w 10354"/>
                  <a:gd name="connsiteY1198" fmla="*/ 2333 h 10000"/>
                  <a:gd name="connsiteX1199" fmla="*/ 5138 w 10354"/>
                  <a:gd name="connsiteY1199" fmla="*/ 2333 h 10000"/>
                  <a:gd name="connsiteX1200" fmla="*/ 5124 w 10354"/>
                  <a:gd name="connsiteY1200" fmla="*/ 2376 h 10000"/>
                  <a:gd name="connsiteX1201" fmla="*/ 5115 w 10354"/>
                  <a:gd name="connsiteY1201" fmla="*/ 2385 h 10000"/>
                  <a:gd name="connsiteX1202" fmla="*/ 5106 w 10354"/>
                  <a:gd name="connsiteY1202" fmla="*/ 2385 h 10000"/>
                  <a:gd name="connsiteX1203" fmla="*/ 5055 w 10354"/>
                  <a:gd name="connsiteY1203" fmla="*/ 2470 h 10000"/>
                  <a:gd name="connsiteX1204" fmla="*/ 5065 w 10354"/>
                  <a:gd name="connsiteY1204" fmla="*/ 2462 h 10000"/>
                  <a:gd name="connsiteX1205" fmla="*/ 5055 w 10354"/>
                  <a:gd name="connsiteY1205" fmla="*/ 2444 h 10000"/>
                  <a:gd name="connsiteX1206" fmla="*/ 5041 w 10354"/>
                  <a:gd name="connsiteY1206" fmla="*/ 2462 h 10000"/>
                  <a:gd name="connsiteX1207" fmla="*/ 5037 w 10354"/>
                  <a:gd name="connsiteY1207" fmla="*/ 2470 h 10000"/>
                  <a:gd name="connsiteX1208" fmla="*/ 5032 w 10354"/>
                  <a:gd name="connsiteY1208" fmla="*/ 2470 h 10000"/>
                  <a:gd name="connsiteX1209" fmla="*/ 5032 w 10354"/>
                  <a:gd name="connsiteY1209" fmla="*/ 2444 h 10000"/>
                  <a:gd name="connsiteX1210" fmla="*/ 5055 w 10354"/>
                  <a:gd name="connsiteY1210" fmla="*/ 2410 h 10000"/>
                  <a:gd name="connsiteX1211" fmla="*/ 5065 w 10354"/>
                  <a:gd name="connsiteY1211" fmla="*/ 2393 h 10000"/>
                  <a:gd name="connsiteX1212" fmla="*/ 5069 w 10354"/>
                  <a:gd name="connsiteY1212" fmla="*/ 2385 h 10000"/>
                  <a:gd name="connsiteX1213" fmla="*/ 5083 w 10354"/>
                  <a:gd name="connsiteY1213" fmla="*/ 2376 h 10000"/>
                  <a:gd name="connsiteX1214" fmla="*/ 5097 w 10354"/>
                  <a:gd name="connsiteY1214" fmla="*/ 2376 h 10000"/>
                  <a:gd name="connsiteX1215" fmla="*/ 5124 w 10354"/>
                  <a:gd name="connsiteY1215" fmla="*/ 2325 h 10000"/>
                  <a:gd name="connsiteX1216" fmla="*/ 5143 w 10354"/>
                  <a:gd name="connsiteY1216" fmla="*/ 2248 h 10000"/>
                  <a:gd name="connsiteX1217" fmla="*/ 5152 w 10354"/>
                  <a:gd name="connsiteY1217" fmla="*/ 2239 h 10000"/>
                  <a:gd name="connsiteX1218" fmla="*/ 5166 w 10354"/>
                  <a:gd name="connsiteY1218" fmla="*/ 2162 h 10000"/>
                  <a:gd name="connsiteX1219" fmla="*/ 5171 w 10354"/>
                  <a:gd name="connsiteY1219" fmla="*/ 2171 h 10000"/>
                  <a:gd name="connsiteX1220" fmla="*/ 5198 w 10354"/>
                  <a:gd name="connsiteY1220" fmla="*/ 2145 h 10000"/>
                  <a:gd name="connsiteX1221" fmla="*/ 5203 w 10354"/>
                  <a:gd name="connsiteY1221" fmla="*/ 2111 h 10000"/>
                  <a:gd name="connsiteX1222" fmla="*/ 5217 w 10354"/>
                  <a:gd name="connsiteY1222" fmla="*/ 2060 h 10000"/>
                  <a:gd name="connsiteX1223" fmla="*/ 5226 w 10354"/>
                  <a:gd name="connsiteY1223" fmla="*/ 2026 h 10000"/>
                  <a:gd name="connsiteX1224" fmla="*/ 5286 w 10354"/>
                  <a:gd name="connsiteY1224" fmla="*/ 2026 h 10000"/>
                  <a:gd name="connsiteX1225" fmla="*/ 5290 w 10354"/>
                  <a:gd name="connsiteY1225" fmla="*/ 2034 h 10000"/>
                  <a:gd name="connsiteX1226" fmla="*/ 5323 w 10354"/>
                  <a:gd name="connsiteY1226" fmla="*/ 1923 h 10000"/>
                  <a:gd name="connsiteX1227" fmla="*/ 5323 w 10354"/>
                  <a:gd name="connsiteY1227" fmla="*/ 1889 h 10000"/>
                  <a:gd name="connsiteX1228" fmla="*/ 5359 w 10354"/>
                  <a:gd name="connsiteY1228" fmla="*/ 1829 h 10000"/>
                  <a:gd name="connsiteX1229" fmla="*/ 5378 w 10354"/>
                  <a:gd name="connsiteY1229" fmla="*/ 1812 h 10000"/>
                  <a:gd name="connsiteX1230" fmla="*/ 5406 w 10354"/>
                  <a:gd name="connsiteY1230" fmla="*/ 1752 h 10000"/>
                  <a:gd name="connsiteX1231" fmla="*/ 5410 w 10354"/>
                  <a:gd name="connsiteY1231" fmla="*/ 1718 h 10000"/>
                  <a:gd name="connsiteX1232" fmla="*/ 5438 w 10354"/>
                  <a:gd name="connsiteY1232" fmla="*/ 1667 h 10000"/>
                  <a:gd name="connsiteX1233" fmla="*/ 5438 w 10354"/>
                  <a:gd name="connsiteY1233" fmla="*/ 1650 h 10000"/>
                  <a:gd name="connsiteX1234" fmla="*/ 5438 w 10354"/>
                  <a:gd name="connsiteY1234" fmla="*/ 1641 h 10000"/>
                  <a:gd name="connsiteX1235" fmla="*/ 5452 w 10354"/>
                  <a:gd name="connsiteY1235" fmla="*/ 1641 h 10000"/>
                  <a:gd name="connsiteX1236" fmla="*/ 5456 w 10354"/>
                  <a:gd name="connsiteY1236" fmla="*/ 1615 h 10000"/>
                  <a:gd name="connsiteX1237" fmla="*/ 5456 w 10354"/>
                  <a:gd name="connsiteY1237" fmla="*/ 1615 h 10000"/>
                  <a:gd name="connsiteX1238" fmla="*/ 5465 w 10354"/>
                  <a:gd name="connsiteY1238" fmla="*/ 1598 h 10000"/>
                  <a:gd name="connsiteX1239" fmla="*/ 5465 w 10354"/>
                  <a:gd name="connsiteY1239" fmla="*/ 1615 h 10000"/>
                  <a:gd name="connsiteX1240" fmla="*/ 5479 w 10354"/>
                  <a:gd name="connsiteY1240" fmla="*/ 1598 h 10000"/>
                  <a:gd name="connsiteX1241" fmla="*/ 5484 w 10354"/>
                  <a:gd name="connsiteY1241" fmla="*/ 1581 h 10000"/>
                  <a:gd name="connsiteX1242" fmla="*/ 5493 w 10354"/>
                  <a:gd name="connsiteY1242" fmla="*/ 1581 h 10000"/>
                  <a:gd name="connsiteX1243" fmla="*/ 5512 w 10354"/>
                  <a:gd name="connsiteY1243" fmla="*/ 1538 h 10000"/>
                  <a:gd name="connsiteX1244" fmla="*/ 5530 w 10354"/>
                  <a:gd name="connsiteY1244" fmla="*/ 1564 h 10000"/>
                  <a:gd name="connsiteX1245" fmla="*/ 5530 w 10354"/>
                  <a:gd name="connsiteY1245" fmla="*/ 1538 h 10000"/>
                  <a:gd name="connsiteX1246" fmla="*/ 5539 w 10354"/>
                  <a:gd name="connsiteY1246" fmla="*/ 1530 h 10000"/>
                  <a:gd name="connsiteX1247" fmla="*/ 5530 w 10354"/>
                  <a:gd name="connsiteY1247" fmla="*/ 1504 h 10000"/>
                  <a:gd name="connsiteX1248" fmla="*/ 5567 w 10354"/>
                  <a:gd name="connsiteY1248" fmla="*/ 1479 h 10000"/>
                  <a:gd name="connsiteX1249" fmla="*/ 5553 w 10354"/>
                  <a:gd name="connsiteY1249" fmla="*/ 1479 h 10000"/>
                  <a:gd name="connsiteX1250" fmla="*/ 5553 w 10354"/>
                  <a:gd name="connsiteY1250" fmla="*/ 1453 h 10000"/>
                  <a:gd name="connsiteX1251" fmla="*/ 5581 w 10354"/>
                  <a:gd name="connsiteY1251" fmla="*/ 1444 h 10000"/>
                  <a:gd name="connsiteX1252" fmla="*/ 5581 w 10354"/>
                  <a:gd name="connsiteY1252" fmla="*/ 1453 h 10000"/>
                  <a:gd name="connsiteX1253" fmla="*/ 5585 w 10354"/>
                  <a:gd name="connsiteY1253" fmla="*/ 1444 h 10000"/>
                  <a:gd name="connsiteX1254" fmla="*/ 5594 w 10354"/>
                  <a:gd name="connsiteY1254" fmla="*/ 1427 h 10000"/>
                  <a:gd name="connsiteX1255" fmla="*/ 5599 w 10354"/>
                  <a:gd name="connsiteY1255" fmla="*/ 1419 h 10000"/>
                  <a:gd name="connsiteX1256" fmla="*/ 5594 w 10354"/>
                  <a:gd name="connsiteY1256" fmla="*/ 1402 h 10000"/>
                  <a:gd name="connsiteX1257" fmla="*/ 5604 w 10354"/>
                  <a:gd name="connsiteY1257" fmla="*/ 1393 h 10000"/>
                  <a:gd name="connsiteX1258" fmla="*/ 5618 w 10354"/>
                  <a:gd name="connsiteY1258" fmla="*/ 1393 h 10000"/>
                  <a:gd name="connsiteX1259" fmla="*/ 5627 w 10354"/>
                  <a:gd name="connsiteY1259" fmla="*/ 1368 h 10000"/>
                  <a:gd name="connsiteX1260" fmla="*/ 5627 w 10354"/>
                  <a:gd name="connsiteY1260" fmla="*/ 1325 h 10000"/>
                  <a:gd name="connsiteX1261" fmla="*/ 5645 w 10354"/>
                  <a:gd name="connsiteY1261" fmla="*/ 1291 h 10000"/>
                  <a:gd name="connsiteX1262" fmla="*/ 5645 w 10354"/>
                  <a:gd name="connsiteY1262" fmla="*/ 1282 h 10000"/>
                  <a:gd name="connsiteX1263" fmla="*/ 5654 w 10354"/>
                  <a:gd name="connsiteY1263" fmla="*/ 1265 h 10000"/>
                  <a:gd name="connsiteX1264" fmla="*/ 5654 w 10354"/>
                  <a:gd name="connsiteY1264" fmla="*/ 1214 h 10000"/>
                  <a:gd name="connsiteX1265" fmla="*/ 5654 w 10354"/>
                  <a:gd name="connsiteY1265" fmla="*/ 1214 h 10000"/>
                  <a:gd name="connsiteX1266" fmla="*/ 5645 w 10354"/>
                  <a:gd name="connsiteY1266" fmla="*/ 1197 h 10000"/>
                  <a:gd name="connsiteX1267" fmla="*/ 5659 w 10354"/>
                  <a:gd name="connsiteY1267" fmla="*/ 1197 h 10000"/>
                  <a:gd name="connsiteX1268" fmla="*/ 5654 w 10354"/>
                  <a:gd name="connsiteY1268" fmla="*/ 1154 h 10000"/>
                  <a:gd name="connsiteX1269" fmla="*/ 5641 w 10354"/>
                  <a:gd name="connsiteY1269" fmla="*/ 1154 h 10000"/>
                  <a:gd name="connsiteX1270" fmla="*/ 5627 w 10354"/>
                  <a:gd name="connsiteY1270" fmla="*/ 1128 h 10000"/>
                  <a:gd name="connsiteX1271" fmla="*/ 5618 w 10354"/>
                  <a:gd name="connsiteY1271" fmla="*/ 1094 h 10000"/>
                  <a:gd name="connsiteX1272" fmla="*/ 5613 w 10354"/>
                  <a:gd name="connsiteY1272" fmla="*/ 1094 h 10000"/>
                  <a:gd name="connsiteX1273" fmla="*/ 5604 w 10354"/>
                  <a:gd name="connsiteY1273" fmla="*/ 1120 h 10000"/>
                  <a:gd name="connsiteX1274" fmla="*/ 5604 w 10354"/>
                  <a:gd name="connsiteY1274" fmla="*/ 1128 h 10000"/>
                  <a:gd name="connsiteX1275" fmla="*/ 5599 w 10354"/>
                  <a:gd name="connsiteY1275" fmla="*/ 1103 h 10000"/>
                  <a:gd name="connsiteX1276" fmla="*/ 5599 w 10354"/>
                  <a:gd name="connsiteY1276" fmla="*/ 1103 h 10000"/>
                  <a:gd name="connsiteX1277" fmla="*/ 5594 w 10354"/>
                  <a:gd name="connsiteY1277" fmla="*/ 1068 h 10000"/>
                  <a:gd name="connsiteX1278" fmla="*/ 5594 w 10354"/>
                  <a:gd name="connsiteY1278" fmla="*/ 1060 h 10000"/>
                  <a:gd name="connsiteX1279" fmla="*/ 5581 w 10354"/>
                  <a:gd name="connsiteY1279" fmla="*/ 1034 h 10000"/>
                  <a:gd name="connsiteX1280" fmla="*/ 5571 w 10354"/>
                  <a:gd name="connsiteY1280" fmla="*/ 1009 h 10000"/>
                  <a:gd name="connsiteX1281" fmla="*/ 5571 w 10354"/>
                  <a:gd name="connsiteY1281" fmla="*/ 991 h 10000"/>
                  <a:gd name="connsiteX1282" fmla="*/ 5585 w 10354"/>
                  <a:gd name="connsiteY1282" fmla="*/ 1009 h 10000"/>
                  <a:gd name="connsiteX1283" fmla="*/ 5604 w 10354"/>
                  <a:gd name="connsiteY1283" fmla="*/ 1043 h 10000"/>
                  <a:gd name="connsiteX1284" fmla="*/ 5641 w 10354"/>
                  <a:gd name="connsiteY1284" fmla="*/ 1094 h 10000"/>
                  <a:gd name="connsiteX1285" fmla="*/ 5631 w 10354"/>
                  <a:gd name="connsiteY1285" fmla="*/ 1128 h 10000"/>
                  <a:gd name="connsiteX1286" fmla="*/ 5641 w 10354"/>
                  <a:gd name="connsiteY1286" fmla="*/ 1128 h 10000"/>
                  <a:gd name="connsiteX1287" fmla="*/ 5659 w 10354"/>
                  <a:gd name="connsiteY1287" fmla="*/ 1017 h 10000"/>
                  <a:gd name="connsiteX1288" fmla="*/ 5659 w 10354"/>
                  <a:gd name="connsiteY1288" fmla="*/ 983 h 10000"/>
                  <a:gd name="connsiteX1289" fmla="*/ 5659 w 10354"/>
                  <a:gd name="connsiteY1289" fmla="*/ 957 h 10000"/>
                  <a:gd name="connsiteX1290" fmla="*/ 5654 w 10354"/>
                  <a:gd name="connsiteY1290" fmla="*/ 966 h 10000"/>
                  <a:gd name="connsiteX1291" fmla="*/ 5641 w 10354"/>
                  <a:gd name="connsiteY1291" fmla="*/ 957 h 10000"/>
                  <a:gd name="connsiteX1292" fmla="*/ 5631 w 10354"/>
                  <a:gd name="connsiteY1292" fmla="*/ 897 h 10000"/>
                  <a:gd name="connsiteX1293" fmla="*/ 5641 w 10354"/>
                  <a:gd name="connsiteY1293" fmla="*/ 872 h 10000"/>
                  <a:gd name="connsiteX1294" fmla="*/ 5618 w 10354"/>
                  <a:gd name="connsiteY1294" fmla="*/ 803 h 10000"/>
                  <a:gd name="connsiteX1295" fmla="*/ 5604 w 10354"/>
                  <a:gd name="connsiteY1295" fmla="*/ 821 h 10000"/>
                  <a:gd name="connsiteX1296" fmla="*/ 5613 w 10354"/>
                  <a:gd name="connsiteY1296" fmla="*/ 846 h 10000"/>
                  <a:gd name="connsiteX1297" fmla="*/ 5604 w 10354"/>
                  <a:gd name="connsiteY1297" fmla="*/ 855 h 10000"/>
                  <a:gd name="connsiteX1298" fmla="*/ 5599 w 10354"/>
                  <a:gd name="connsiteY1298" fmla="*/ 880 h 10000"/>
                  <a:gd name="connsiteX1299" fmla="*/ 5594 w 10354"/>
                  <a:gd name="connsiteY1299" fmla="*/ 880 h 10000"/>
                  <a:gd name="connsiteX1300" fmla="*/ 5585 w 10354"/>
                  <a:gd name="connsiteY1300" fmla="*/ 829 h 10000"/>
                  <a:gd name="connsiteX1301" fmla="*/ 5571 w 10354"/>
                  <a:gd name="connsiteY1301" fmla="*/ 803 h 10000"/>
                  <a:gd name="connsiteX1302" fmla="*/ 5585 w 10354"/>
                  <a:gd name="connsiteY1302" fmla="*/ 795 h 10000"/>
                  <a:gd name="connsiteX1303" fmla="*/ 5585 w 10354"/>
                  <a:gd name="connsiteY1303" fmla="*/ 761 h 10000"/>
                  <a:gd name="connsiteX1304" fmla="*/ 5558 w 10354"/>
                  <a:gd name="connsiteY1304" fmla="*/ 709 h 10000"/>
                  <a:gd name="connsiteX1305" fmla="*/ 5544 w 10354"/>
                  <a:gd name="connsiteY1305" fmla="*/ 709 h 10000"/>
                  <a:gd name="connsiteX1306" fmla="*/ 5544 w 10354"/>
                  <a:gd name="connsiteY1306" fmla="*/ 684 h 10000"/>
                  <a:gd name="connsiteX1307" fmla="*/ 5525 w 10354"/>
                  <a:gd name="connsiteY1307" fmla="*/ 632 h 10000"/>
                  <a:gd name="connsiteX1308" fmla="*/ 5507 w 10354"/>
                  <a:gd name="connsiteY1308" fmla="*/ 607 h 10000"/>
                  <a:gd name="connsiteX1309" fmla="*/ 5512 w 10354"/>
                  <a:gd name="connsiteY1309" fmla="*/ 598 h 10000"/>
                  <a:gd name="connsiteX1310" fmla="*/ 5507 w 10354"/>
                  <a:gd name="connsiteY1310" fmla="*/ 581 h 10000"/>
                  <a:gd name="connsiteX1311" fmla="*/ 5493 w 10354"/>
                  <a:gd name="connsiteY1311" fmla="*/ 573 h 10000"/>
                  <a:gd name="connsiteX1312" fmla="*/ 5484 w 10354"/>
                  <a:gd name="connsiteY1312" fmla="*/ 581 h 10000"/>
                  <a:gd name="connsiteX1313" fmla="*/ 5484 w 10354"/>
                  <a:gd name="connsiteY1313" fmla="*/ 573 h 10000"/>
                  <a:gd name="connsiteX1314" fmla="*/ 5484 w 10354"/>
                  <a:gd name="connsiteY1314" fmla="*/ 547 h 10000"/>
                  <a:gd name="connsiteX1315" fmla="*/ 5465 w 10354"/>
                  <a:gd name="connsiteY1315" fmla="*/ 556 h 10000"/>
                  <a:gd name="connsiteX1316" fmla="*/ 5433 w 10354"/>
                  <a:gd name="connsiteY1316" fmla="*/ 547 h 10000"/>
                  <a:gd name="connsiteX1317" fmla="*/ 5410 w 10354"/>
                  <a:gd name="connsiteY1317" fmla="*/ 573 h 10000"/>
                  <a:gd name="connsiteX1318" fmla="*/ 5406 w 10354"/>
                  <a:gd name="connsiteY1318" fmla="*/ 573 h 10000"/>
                  <a:gd name="connsiteX1319" fmla="*/ 5392 w 10354"/>
                  <a:gd name="connsiteY1319" fmla="*/ 573 h 10000"/>
                  <a:gd name="connsiteX1320" fmla="*/ 5364 w 10354"/>
                  <a:gd name="connsiteY1320" fmla="*/ 530 h 10000"/>
                  <a:gd name="connsiteX1321" fmla="*/ 5350 w 10354"/>
                  <a:gd name="connsiteY1321" fmla="*/ 556 h 10000"/>
                  <a:gd name="connsiteX1322" fmla="*/ 5346 w 10354"/>
                  <a:gd name="connsiteY1322" fmla="*/ 556 h 10000"/>
                  <a:gd name="connsiteX1323" fmla="*/ 5313 w 10354"/>
                  <a:gd name="connsiteY1323" fmla="*/ 573 h 10000"/>
                  <a:gd name="connsiteX1324" fmla="*/ 5304 w 10354"/>
                  <a:gd name="connsiteY1324" fmla="*/ 556 h 10000"/>
                  <a:gd name="connsiteX1325" fmla="*/ 5290 w 10354"/>
                  <a:gd name="connsiteY1325" fmla="*/ 573 h 10000"/>
                  <a:gd name="connsiteX1326" fmla="*/ 5290 w 10354"/>
                  <a:gd name="connsiteY1326" fmla="*/ 556 h 10000"/>
                  <a:gd name="connsiteX1327" fmla="*/ 5300 w 10354"/>
                  <a:gd name="connsiteY1327" fmla="*/ 547 h 10000"/>
                  <a:gd name="connsiteX1328" fmla="*/ 5300 w 10354"/>
                  <a:gd name="connsiteY1328" fmla="*/ 530 h 10000"/>
                  <a:gd name="connsiteX1329" fmla="*/ 5290 w 10354"/>
                  <a:gd name="connsiteY1329" fmla="*/ 530 h 10000"/>
                  <a:gd name="connsiteX1330" fmla="*/ 5286 w 10354"/>
                  <a:gd name="connsiteY1330" fmla="*/ 547 h 10000"/>
                  <a:gd name="connsiteX1331" fmla="*/ 5272 w 10354"/>
                  <a:gd name="connsiteY1331" fmla="*/ 556 h 10000"/>
                  <a:gd name="connsiteX1332" fmla="*/ 5272 w 10354"/>
                  <a:gd name="connsiteY1332" fmla="*/ 598 h 10000"/>
                  <a:gd name="connsiteX1333" fmla="*/ 5276 w 10354"/>
                  <a:gd name="connsiteY1333" fmla="*/ 581 h 10000"/>
                  <a:gd name="connsiteX1334" fmla="*/ 5272 w 10354"/>
                  <a:gd name="connsiteY1334" fmla="*/ 607 h 10000"/>
                  <a:gd name="connsiteX1335" fmla="*/ 5263 w 10354"/>
                  <a:gd name="connsiteY1335" fmla="*/ 607 h 10000"/>
                  <a:gd name="connsiteX1336" fmla="*/ 5263 w 10354"/>
                  <a:gd name="connsiteY1336" fmla="*/ 632 h 10000"/>
                  <a:gd name="connsiteX1337" fmla="*/ 5258 w 10354"/>
                  <a:gd name="connsiteY1337" fmla="*/ 658 h 10000"/>
                  <a:gd name="connsiteX1338" fmla="*/ 5244 w 10354"/>
                  <a:gd name="connsiteY1338" fmla="*/ 667 h 10000"/>
                  <a:gd name="connsiteX1339" fmla="*/ 5240 w 10354"/>
                  <a:gd name="connsiteY1339" fmla="*/ 658 h 10000"/>
                  <a:gd name="connsiteX1340" fmla="*/ 5240 w 10354"/>
                  <a:gd name="connsiteY1340" fmla="*/ 684 h 10000"/>
                  <a:gd name="connsiteX1341" fmla="*/ 5212 w 10354"/>
                  <a:gd name="connsiteY1341" fmla="*/ 684 h 10000"/>
                  <a:gd name="connsiteX1342" fmla="*/ 5198 w 10354"/>
                  <a:gd name="connsiteY1342" fmla="*/ 692 h 10000"/>
                  <a:gd name="connsiteX1343" fmla="*/ 5184 w 10354"/>
                  <a:gd name="connsiteY1343" fmla="*/ 684 h 10000"/>
                  <a:gd name="connsiteX1344" fmla="*/ 5157 w 10354"/>
                  <a:gd name="connsiteY1344" fmla="*/ 684 h 10000"/>
                  <a:gd name="connsiteX1345" fmla="*/ 5157 w 10354"/>
                  <a:gd name="connsiteY1345" fmla="*/ 667 h 10000"/>
                  <a:gd name="connsiteX1346" fmla="*/ 5157 w 10354"/>
                  <a:gd name="connsiteY1346" fmla="*/ 667 h 10000"/>
                  <a:gd name="connsiteX1347" fmla="*/ 5180 w 10354"/>
                  <a:gd name="connsiteY1347" fmla="*/ 650 h 10000"/>
                  <a:gd name="connsiteX1348" fmla="*/ 5184 w 10354"/>
                  <a:gd name="connsiteY1348" fmla="*/ 658 h 10000"/>
                  <a:gd name="connsiteX1349" fmla="*/ 5203 w 10354"/>
                  <a:gd name="connsiteY1349" fmla="*/ 547 h 10000"/>
                  <a:gd name="connsiteX1350" fmla="*/ 5226 w 10354"/>
                  <a:gd name="connsiteY1350" fmla="*/ 530 h 10000"/>
                  <a:gd name="connsiteX1351" fmla="*/ 5230 w 10354"/>
                  <a:gd name="connsiteY1351" fmla="*/ 487 h 10000"/>
                  <a:gd name="connsiteX1352" fmla="*/ 5230 w 10354"/>
                  <a:gd name="connsiteY1352" fmla="*/ 487 h 10000"/>
                  <a:gd name="connsiteX1353" fmla="*/ 5226 w 10354"/>
                  <a:gd name="connsiteY1353" fmla="*/ 462 h 10000"/>
                  <a:gd name="connsiteX1354" fmla="*/ 5226 w 10354"/>
                  <a:gd name="connsiteY1354" fmla="*/ 462 h 10000"/>
                  <a:gd name="connsiteX1355" fmla="*/ 5240 w 10354"/>
                  <a:gd name="connsiteY1355" fmla="*/ 462 h 10000"/>
                  <a:gd name="connsiteX1356" fmla="*/ 5240 w 10354"/>
                  <a:gd name="connsiteY1356" fmla="*/ 444 h 10000"/>
                  <a:gd name="connsiteX1357" fmla="*/ 5230 w 10354"/>
                  <a:gd name="connsiteY1357" fmla="*/ 436 h 10000"/>
                  <a:gd name="connsiteX1358" fmla="*/ 5230 w 10354"/>
                  <a:gd name="connsiteY1358" fmla="*/ 419 h 10000"/>
                  <a:gd name="connsiteX1359" fmla="*/ 5230 w 10354"/>
                  <a:gd name="connsiteY1359" fmla="*/ 410 h 10000"/>
                  <a:gd name="connsiteX1360" fmla="*/ 5198 w 10354"/>
                  <a:gd name="connsiteY1360" fmla="*/ 402 h 10000"/>
                  <a:gd name="connsiteX1361" fmla="*/ 5189 w 10354"/>
                  <a:gd name="connsiteY1361" fmla="*/ 402 h 10000"/>
                  <a:gd name="connsiteX1362" fmla="*/ 5184 w 10354"/>
                  <a:gd name="connsiteY1362" fmla="*/ 376 h 10000"/>
                  <a:gd name="connsiteX1363" fmla="*/ 5180 w 10354"/>
                  <a:gd name="connsiteY1363" fmla="*/ 376 h 10000"/>
                  <a:gd name="connsiteX1364" fmla="*/ 5166 w 10354"/>
                  <a:gd name="connsiteY1364" fmla="*/ 376 h 10000"/>
                  <a:gd name="connsiteX1365" fmla="*/ 5157 w 10354"/>
                  <a:gd name="connsiteY1365" fmla="*/ 385 h 10000"/>
                  <a:gd name="connsiteX1366" fmla="*/ 5152 w 10354"/>
                  <a:gd name="connsiteY1366" fmla="*/ 376 h 10000"/>
                  <a:gd name="connsiteX1367" fmla="*/ 5129 w 10354"/>
                  <a:gd name="connsiteY1367" fmla="*/ 385 h 10000"/>
                  <a:gd name="connsiteX1368" fmla="*/ 5129 w 10354"/>
                  <a:gd name="connsiteY1368" fmla="*/ 350 h 10000"/>
                  <a:gd name="connsiteX1369" fmla="*/ 5129 w 10354"/>
                  <a:gd name="connsiteY1369" fmla="*/ 325 h 10000"/>
                  <a:gd name="connsiteX1370" fmla="*/ 5124 w 10354"/>
                  <a:gd name="connsiteY1370" fmla="*/ 359 h 10000"/>
                  <a:gd name="connsiteX1371" fmla="*/ 5106 w 10354"/>
                  <a:gd name="connsiteY1371" fmla="*/ 359 h 10000"/>
                  <a:gd name="connsiteX1372" fmla="*/ 5037 w 10354"/>
                  <a:gd name="connsiteY1372" fmla="*/ 419 h 10000"/>
                  <a:gd name="connsiteX1373" fmla="*/ 5051 w 10354"/>
                  <a:gd name="connsiteY1373" fmla="*/ 385 h 10000"/>
                  <a:gd name="connsiteX1374" fmla="*/ 5055 w 10354"/>
                  <a:gd name="connsiteY1374" fmla="*/ 376 h 10000"/>
                  <a:gd name="connsiteX1375" fmla="*/ 5092 w 10354"/>
                  <a:gd name="connsiteY1375" fmla="*/ 282 h 10000"/>
                  <a:gd name="connsiteX1376" fmla="*/ 5106 w 10354"/>
                  <a:gd name="connsiteY1376" fmla="*/ 265 h 10000"/>
                  <a:gd name="connsiteX1377" fmla="*/ 5115 w 10354"/>
                  <a:gd name="connsiteY1377" fmla="*/ 265 h 10000"/>
                  <a:gd name="connsiteX1378" fmla="*/ 5124 w 10354"/>
                  <a:gd name="connsiteY1378" fmla="*/ 222 h 10000"/>
                  <a:gd name="connsiteX1379" fmla="*/ 5124 w 10354"/>
                  <a:gd name="connsiteY1379" fmla="*/ 214 h 10000"/>
                  <a:gd name="connsiteX1380" fmla="*/ 5143 w 10354"/>
                  <a:gd name="connsiteY1380" fmla="*/ 197 h 10000"/>
                  <a:gd name="connsiteX1381" fmla="*/ 5152 w 10354"/>
                  <a:gd name="connsiteY1381" fmla="*/ 214 h 10000"/>
                  <a:gd name="connsiteX1382" fmla="*/ 5143 w 10354"/>
                  <a:gd name="connsiteY1382" fmla="*/ 188 h 10000"/>
                  <a:gd name="connsiteX1383" fmla="*/ 5129 w 10354"/>
                  <a:gd name="connsiteY1383" fmla="*/ 103 h 10000"/>
                  <a:gd name="connsiteX1384" fmla="*/ 5115 w 10354"/>
                  <a:gd name="connsiteY1384" fmla="*/ 85 h 10000"/>
                  <a:gd name="connsiteX1385" fmla="*/ 5111 w 10354"/>
                  <a:gd name="connsiteY1385" fmla="*/ 111 h 10000"/>
                  <a:gd name="connsiteX1386" fmla="*/ 5092 w 10354"/>
                  <a:gd name="connsiteY1386" fmla="*/ 103 h 10000"/>
                  <a:gd name="connsiteX1387" fmla="*/ 5069 w 10354"/>
                  <a:gd name="connsiteY1387" fmla="*/ 77 h 10000"/>
                  <a:gd name="connsiteX1388" fmla="*/ 5051 w 10354"/>
                  <a:gd name="connsiteY1388" fmla="*/ 26 h 10000"/>
                  <a:gd name="connsiteX1389" fmla="*/ 5041 w 10354"/>
                  <a:gd name="connsiteY1389" fmla="*/ 34 h 10000"/>
                  <a:gd name="connsiteX1390" fmla="*/ 5037 w 10354"/>
                  <a:gd name="connsiteY1390" fmla="*/ 34 h 10000"/>
                  <a:gd name="connsiteX1391" fmla="*/ 5037 w 10354"/>
                  <a:gd name="connsiteY1391" fmla="*/ 26 h 10000"/>
                  <a:gd name="connsiteX1392" fmla="*/ 5037 w 10354"/>
                  <a:gd name="connsiteY1392" fmla="*/ 9 h 10000"/>
                  <a:gd name="connsiteX1393" fmla="*/ 5023 w 10354"/>
                  <a:gd name="connsiteY1393" fmla="*/ 0 h 10000"/>
                  <a:gd name="connsiteX1394" fmla="*/ 5009 w 10354"/>
                  <a:gd name="connsiteY1394" fmla="*/ 9 h 10000"/>
                  <a:gd name="connsiteX1395" fmla="*/ 4995 w 10354"/>
                  <a:gd name="connsiteY1395" fmla="*/ 34 h 10000"/>
                  <a:gd name="connsiteX1396" fmla="*/ 4991 w 10354"/>
                  <a:gd name="connsiteY1396" fmla="*/ 60 h 10000"/>
                  <a:gd name="connsiteX1397" fmla="*/ 4982 w 10354"/>
                  <a:gd name="connsiteY1397" fmla="*/ 60 h 10000"/>
                  <a:gd name="connsiteX1398" fmla="*/ 4949 w 10354"/>
                  <a:gd name="connsiteY1398" fmla="*/ 51 h 10000"/>
                  <a:gd name="connsiteX1399" fmla="*/ 4949 w 10354"/>
                  <a:gd name="connsiteY1399" fmla="*/ 85 h 10000"/>
                  <a:gd name="connsiteX1400" fmla="*/ 4903 w 10354"/>
                  <a:gd name="connsiteY1400" fmla="*/ 197 h 10000"/>
                  <a:gd name="connsiteX1401" fmla="*/ 4899 w 10354"/>
                  <a:gd name="connsiteY1401" fmla="*/ 239 h 10000"/>
                  <a:gd name="connsiteX1402" fmla="*/ 4871 w 10354"/>
                  <a:gd name="connsiteY1402" fmla="*/ 274 h 10000"/>
                  <a:gd name="connsiteX1403" fmla="*/ 4871 w 10354"/>
                  <a:gd name="connsiteY1403" fmla="*/ 282 h 10000"/>
                  <a:gd name="connsiteX1404" fmla="*/ 4834 w 10354"/>
                  <a:gd name="connsiteY1404" fmla="*/ 376 h 10000"/>
                  <a:gd name="connsiteX1405" fmla="*/ 4829 w 10354"/>
                  <a:gd name="connsiteY1405" fmla="*/ 402 h 10000"/>
                  <a:gd name="connsiteX1406" fmla="*/ 4834 w 10354"/>
                  <a:gd name="connsiteY1406" fmla="*/ 410 h 10000"/>
                  <a:gd name="connsiteX1407" fmla="*/ 4829 w 10354"/>
                  <a:gd name="connsiteY1407" fmla="*/ 436 h 10000"/>
                  <a:gd name="connsiteX1408" fmla="*/ 4825 w 10354"/>
                  <a:gd name="connsiteY1408" fmla="*/ 436 h 10000"/>
                  <a:gd name="connsiteX1409" fmla="*/ 4825 w 10354"/>
                  <a:gd name="connsiteY1409" fmla="*/ 444 h 10000"/>
                  <a:gd name="connsiteX1410" fmla="*/ 4811 w 10354"/>
                  <a:gd name="connsiteY1410" fmla="*/ 496 h 10000"/>
                  <a:gd name="connsiteX1411" fmla="*/ 4811 w 10354"/>
                  <a:gd name="connsiteY1411" fmla="*/ 496 h 10000"/>
                  <a:gd name="connsiteX1412" fmla="*/ 4811 w 10354"/>
                  <a:gd name="connsiteY1412" fmla="*/ 521 h 10000"/>
                  <a:gd name="connsiteX1413" fmla="*/ 4816 w 10354"/>
                  <a:gd name="connsiteY1413" fmla="*/ 530 h 10000"/>
                  <a:gd name="connsiteX1414" fmla="*/ 4834 w 10354"/>
                  <a:gd name="connsiteY1414" fmla="*/ 547 h 10000"/>
                  <a:gd name="connsiteX1415" fmla="*/ 4834 w 10354"/>
                  <a:gd name="connsiteY1415" fmla="*/ 581 h 10000"/>
                  <a:gd name="connsiteX1416" fmla="*/ 4843 w 10354"/>
                  <a:gd name="connsiteY1416" fmla="*/ 581 h 10000"/>
                  <a:gd name="connsiteX1417" fmla="*/ 4843 w 10354"/>
                  <a:gd name="connsiteY1417" fmla="*/ 598 h 10000"/>
                  <a:gd name="connsiteX1418" fmla="*/ 4829 w 10354"/>
                  <a:gd name="connsiteY1418" fmla="*/ 598 h 10000"/>
                  <a:gd name="connsiteX1419" fmla="*/ 4829 w 10354"/>
                  <a:gd name="connsiteY1419" fmla="*/ 573 h 10000"/>
                  <a:gd name="connsiteX1420" fmla="*/ 4829 w 10354"/>
                  <a:gd name="connsiteY1420" fmla="*/ 632 h 10000"/>
                  <a:gd name="connsiteX1421" fmla="*/ 4829 w 10354"/>
                  <a:gd name="connsiteY1421" fmla="*/ 632 h 10000"/>
                  <a:gd name="connsiteX1422" fmla="*/ 4829 w 10354"/>
                  <a:gd name="connsiteY1422" fmla="*/ 650 h 10000"/>
                  <a:gd name="connsiteX1423" fmla="*/ 4774 w 10354"/>
                  <a:gd name="connsiteY1423" fmla="*/ 684 h 10000"/>
                  <a:gd name="connsiteX1424" fmla="*/ 4756 w 10354"/>
                  <a:gd name="connsiteY1424" fmla="*/ 684 h 10000"/>
                  <a:gd name="connsiteX1425" fmla="*/ 4737 w 10354"/>
                  <a:gd name="connsiteY1425" fmla="*/ 692 h 10000"/>
                  <a:gd name="connsiteX1426" fmla="*/ 4677 w 10354"/>
                  <a:gd name="connsiteY1426" fmla="*/ 667 h 10000"/>
                  <a:gd name="connsiteX1427" fmla="*/ 4682 w 10354"/>
                  <a:gd name="connsiteY1427" fmla="*/ 692 h 10000"/>
                  <a:gd name="connsiteX1428" fmla="*/ 4682 w 10354"/>
                  <a:gd name="connsiteY1428" fmla="*/ 709 h 10000"/>
                  <a:gd name="connsiteX1429" fmla="*/ 4691 w 10354"/>
                  <a:gd name="connsiteY1429" fmla="*/ 718 h 10000"/>
                  <a:gd name="connsiteX1430" fmla="*/ 4691 w 10354"/>
                  <a:gd name="connsiteY1430" fmla="*/ 744 h 10000"/>
                  <a:gd name="connsiteX1431" fmla="*/ 4700 w 10354"/>
                  <a:gd name="connsiteY1431" fmla="*/ 744 h 10000"/>
                  <a:gd name="connsiteX1432" fmla="*/ 4714 w 10354"/>
                  <a:gd name="connsiteY1432" fmla="*/ 769 h 10000"/>
                  <a:gd name="connsiteX1433" fmla="*/ 4710 w 10354"/>
                  <a:gd name="connsiteY1433" fmla="*/ 786 h 10000"/>
                  <a:gd name="connsiteX1434" fmla="*/ 4737 w 10354"/>
                  <a:gd name="connsiteY1434" fmla="*/ 786 h 10000"/>
                  <a:gd name="connsiteX1435" fmla="*/ 4742 w 10354"/>
                  <a:gd name="connsiteY1435" fmla="*/ 795 h 10000"/>
                  <a:gd name="connsiteX1436" fmla="*/ 4742 w 10354"/>
                  <a:gd name="connsiteY1436" fmla="*/ 803 h 10000"/>
                  <a:gd name="connsiteX1437" fmla="*/ 4737 w 10354"/>
                  <a:gd name="connsiteY1437" fmla="*/ 846 h 10000"/>
                  <a:gd name="connsiteX1438" fmla="*/ 4737 w 10354"/>
                  <a:gd name="connsiteY1438" fmla="*/ 880 h 10000"/>
                  <a:gd name="connsiteX1439" fmla="*/ 4737 w 10354"/>
                  <a:gd name="connsiteY1439" fmla="*/ 906 h 10000"/>
                  <a:gd name="connsiteX1440" fmla="*/ 4724 w 10354"/>
                  <a:gd name="connsiteY1440" fmla="*/ 897 h 10000"/>
                  <a:gd name="connsiteX1441" fmla="*/ 4724 w 10354"/>
                  <a:gd name="connsiteY1441" fmla="*/ 872 h 10000"/>
                  <a:gd name="connsiteX1442" fmla="*/ 4714 w 10354"/>
                  <a:gd name="connsiteY1442" fmla="*/ 855 h 10000"/>
                  <a:gd name="connsiteX1443" fmla="*/ 4691 w 10354"/>
                  <a:gd name="connsiteY1443" fmla="*/ 846 h 10000"/>
                  <a:gd name="connsiteX1444" fmla="*/ 4691 w 10354"/>
                  <a:gd name="connsiteY1444" fmla="*/ 846 h 10000"/>
                  <a:gd name="connsiteX1445" fmla="*/ 4696 w 10354"/>
                  <a:gd name="connsiteY1445" fmla="*/ 821 h 10000"/>
                  <a:gd name="connsiteX1446" fmla="*/ 4691 w 10354"/>
                  <a:gd name="connsiteY1446" fmla="*/ 803 h 10000"/>
                  <a:gd name="connsiteX1447" fmla="*/ 4668 w 10354"/>
                  <a:gd name="connsiteY1447" fmla="*/ 821 h 10000"/>
                  <a:gd name="connsiteX1448" fmla="*/ 4668 w 10354"/>
                  <a:gd name="connsiteY1448" fmla="*/ 786 h 10000"/>
                  <a:gd name="connsiteX1449" fmla="*/ 4664 w 10354"/>
                  <a:gd name="connsiteY1449" fmla="*/ 786 h 10000"/>
                  <a:gd name="connsiteX1450" fmla="*/ 4622 w 10354"/>
                  <a:gd name="connsiteY1450" fmla="*/ 846 h 10000"/>
                  <a:gd name="connsiteX1451" fmla="*/ 4627 w 10354"/>
                  <a:gd name="connsiteY1451" fmla="*/ 872 h 10000"/>
                  <a:gd name="connsiteX1452" fmla="*/ 4622 w 10354"/>
                  <a:gd name="connsiteY1452" fmla="*/ 880 h 10000"/>
                  <a:gd name="connsiteX1453" fmla="*/ 4622 w 10354"/>
                  <a:gd name="connsiteY1453" fmla="*/ 880 h 10000"/>
                  <a:gd name="connsiteX1454" fmla="*/ 4618 w 10354"/>
                  <a:gd name="connsiteY1454" fmla="*/ 872 h 10000"/>
                  <a:gd name="connsiteX1455" fmla="*/ 4604 w 10354"/>
                  <a:gd name="connsiteY1455" fmla="*/ 880 h 10000"/>
                  <a:gd name="connsiteX1456" fmla="*/ 4594 w 10354"/>
                  <a:gd name="connsiteY1456" fmla="*/ 906 h 10000"/>
                  <a:gd name="connsiteX1457" fmla="*/ 4604 w 10354"/>
                  <a:gd name="connsiteY1457" fmla="*/ 906 h 10000"/>
                  <a:gd name="connsiteX1458" fmla="*/ 4608 w 10354"/>
                  <a:gd name="connsiteY1458" fmla="*/ 906 h 10000"/>
                  <a:gd name="connsiteX1459" fmla="*/ 4608 w 10354"/>
                  <a:gd name="connsiteY1459" fmla="*/ 932 h 10000"/>
                  <a:gd name="connsiteX1460" fmla="*/ 4604 w 10354"/>
                  <a:gd name="connsiteY1460" fmla="*/ 932 h 10000"/>
                  <a:gd name="connsiteX1461" fmla="*/ 4590 w 10354"/>
                  <a:gd name="connsiteY1461" fmla="*/ 932 h 10000"/>
                  <a:gd name="connsiteX1462" fmla="*/ 4567 w 10354"/>
                  <a:gd name="connsiteY1462" fmla="*/ 957 h 10000"/>
                  <a:gd name="connsiteX1463" fmla="*/ 4567 w 10354"/>
                  <a:gd name="connsiteY1463" fmla="*/ 932 h 10000"/>
                  <a:gd name="connsiteX1464" fmla="*/ 4567 w 10354"/>
                  <a:gd name="connsiteY1464" fmla="*/ 923 h 10000"/>
                  <a:gd name="connsiteX1465" fmla="*/ 4562 w 10354"/>
                  <a:gd name="connsiteY1465" fmla="*/ 932 h 10000"/>
                  <a:gd name="connsiteX1466" fmla="*/ 4548 w 10354"/>
                  <a:gd name="connsiteY1466" fmla="*/ 957 h 10000"/>
                  <a:gd name="connsiteX1467" fmla="*/ 4544 w 10354"/>
                  <a:gd name="connsiteY1467" fmla="*/ 957 h 10000"/>
                  <a:gd name="connsiteX1468" fmla="*/ 4521 w 10354"/>
                  <a:gd name="connsiteY1468" fmla="*/ 983 h 10000"/>
                  <a:gd name="connsiteX1469" fmla="*/ 4521 w 10354"/>
                  <a:gd name="connsiteY1469" fmla="*/ 983 h 10000"/>
                  <a:gd name="connsiteX1470" fmla="*/ 4530 w 10354"/>
                  <a:gd name="connsiteY1470" fmla="*/ 957 h 10000"/>
                  <a:gd name="connsiteX1471" fmla="*/ 4535 w 10354"/>
                  <a:gd name="connsiteY1471" fmla="*/ 932 h 10000"/>
                  <a:gd name="connsiteX1472" fmla="*/ 4521 w 10354"/>
                  <a:gd name="connsiteY1472" fmla="*/ 932 h 10000"/>
                  <a:gd name="connsiteX1473" fmla="*/ 4516 w 10354"/>
                  <a:gd name="connsiteY1473" fmla="*/ 923 h 10000"/>
                  <a:gd name="connsiteX1474" fmla="*/ 4516 w 10354"/>
                  <a:gd name="connsiteY1474" fmla="*/ 932 h 10000"/>
                  <a:gd name="connsiteX1475" fmla="*/ 4488 w 10354"/>
                  <a:gd name="connsiteY1475" fmla="*/ 940 h 10000"/>
                  <a:gd name="connsiteX1476" fmla="*/ 4484 w 10354"/>
                  <a:gd name="connsiteY1476" fmla="*/ 983 h 10000"/>
                  <a:gd name="connsiteX1477" fmla="*/ 4470 w 10354"/>
                  <a:gd name="connsiteY1477" fmla="*/ 983 h 10000"/>
                  <a:gd name="connsiteX1478" fmla="*/ 4470 w 10354"/>
                  <a:gd name="connsiteY1478" fmla="*/ 966 h 10000"/>
                  <a:gd name="connsiteX1479" fmla="*/ 4488 w 10354"/>
                  <a:gd name="connsiteY1479" fmla="*/ 923 h 10000"/>
                  <a:gd name="connsiteX1480" fmla="*/ 4493 w 10354"/>
                  <a:gd name="connsiteY1480" fmla="*/ 880 h 10000"/>
                  <a:gd name="connsiteX1481" fmla="*/ 4475 w 10354"/>
                  <a:gd name="connsiteY1481" fmla="*/ 846 h 10000"/>
                  <a:gd name="connsiteX1482" fmla="*/ 4442 w 10354"/>
                  <a:gd name="connsiteY1482" fmla="*/ 855 h 10000"/>
                  <a:gd name="connsiteX1483" fmla="*/ 4433 w 10354"/>
                  <a:gd name="connsiteY1483" fmla="*/ 855 h 10000"/>
                  <a:gd name="connsiteX1484" fmla="*/ 4433 w 10354"/>
                  <a:gd name="connsiteY1484" fmla="*/ 880 h 10000"/>
                  <a:gd name="connsiteX1485" fmla="*/ 4401 w 10354"/>
                  <a:gd name="connsiteY1485" fmla="*/ 855 h 10000"/>
                  <a:gd name="connsiteX1486" fmla="*/ 4396 w 10354"/>
                  <a:gd name="connsiteY1486" fmla="*/ 872 h 10000"/>
                  <a:gd name="connsiteX1487" fmla="*/ 4382 w 10354"/>
                  <a:gd name="connsiteY1487" fmla="*/ 897 h 10000"/>
                  <a:gd name="connsiteX1488" fmla="*/ 4373 w 10354"/>
                  <a:gd name="connsiteY1488" fmla="*/ 872 h 10000"/>
                  <a:gd name="connsiteX1489" fmla="*/ 4341 w 10354"/>
                  <a:gd name="connsiteY1489" fmla="*/ 872 h 10000"/>
                  <a:gd name="connsiteX1490" fmla="*/ 4336 w 10354"/>
                  <a:gd name="connsiteY1490" fmla="*/ 880 h 10000"/>
                  <a:gd name="connsiteX1491" fmla="*/ 4346 w 10354"/>
                  <a:gd name="connsiteY1491" fmla="*/ 897 h 10000"/>
                  <a:gd name="connsiteX1492" fmla="*/ 4346 w 10354"/>
                  <a:gd name="connsiteY1492" fmla="*/ 897 h 10000"/>
                  <a:gd name="connsiteX1493" fmla="*/ 4313 w 10354"/>
                  <a:gd name="connsiteY1493" fmla="*/ 906 h 10000"/>
                  <a:gd name="connsiteX1494" fmla="*/ 4313 w 10354"/>
                  <a:gd name="connsiteY1494" fmla="*/ 906 h 10000"/>
                  <a:gd name="connsiteX1495" fmla="*/ 4313 w 10354"/>
                  <a:gd name="connsiteY1495" fmla="*/ 880 h 10000"/>
                  <a:gd name="connsiteX1496" fmla="*/ 4309 w 10354"/>
                  <a:gd name="connsiteY1496" fmla="*/ 897 h 10000"/>
                  <a:gd name="connsiteX1497" fmla="*/ 4295 w 10354"/>
                  <a:gd name="connsiteY1497" fmla="*/ 923 h 10000"/>
                  <a:gd name="connsiteX1498" fmla="*/ 4286 w 10354"/>
                  <a:gd name="connsiteY1498" fmla="*/ 897 h 10000"/>
                  <a:gd name="connsiteX1499" fmla="*/ 4281 w 10354"/>
                  <a:gd name="connsiteY1499" fmla="*/ 906 h 10000"/>
                  <a:gd name="connsiteX1500" fmla="*/ 4281 w 10354"/>
                  <a:gd name="connsiteY1500" fmla="*/ 940 h 10000"/>
                  <a:gd name="connsiteX1501" fmla="*/ 4286 w 10354"/>
                  <a:gd name="connsiteY1501" fmla="*/ 957 h 10000"/>
                  <a:gd name="connsiteX1502" fmla="*/ 4309 w 10354"/>
                  <a:gd name="connsiteY1502" fmla="*/ 932 h 10000"/>
                  <a:gd name="connsiteX1503" fmla="*/ 4313 w 10354"/>
                  <a:gd name="connsiteY1503" fmla="*/ 957 h 10000"/>
                  <a:gd name="connsiteX1504" fmla="*/ 4313 w 10354"/>
                  <a:gd name="connsiteY1504" fmla="*/ 966 h 10000"/>
                  <a:gd name="connsiteX1505" fmla="*/ 4323 w 10354"/>
                  <a:gd name="connsiteY1505" fmla="*/ 966 h 10000"/>
                  <a:gd name="connsiteX1506" fmla="*/ 4323 w 10354"/>
                  <a:gd name="connsiteY1506" fmla="*/ 940 h 10000"/>
                  <a:gd name="connsiteX1507" fmla="*/ 4327 w 10354"/>
                  <a:gd name="connsiteY1507" fmla="*/ 940 h 10000"/>
                  <a:gd name="connsiteX1508" fmla="*/ 4327 w 10354"/>
                  <a:gd name="connsiteY1508" fmla="*/ 957 h 10000"/>
                  <a:gd name="connsiteX1509" fmla="*/ 4327 w 10354"/>
                  <a:gd name="connsiteY1509" fmla="*/ 966 h 10000"/>
                  <a:gd name="connsiteX1510" fmla="*/ 4323 w 10354"/>
                  <a:gd name="connsiteY1510" fmla="*/ 991 h 10000"/>
                  <a:gd name="connsiteX1511" fmla="*/ 4207 w 10354"/>
                  <a:gd name="connsiteY1511" fmla="*/ 1060 h 10000"/>
                  <a:gd name="connsiteX1512" fmla="*/ 4207 w 10354"/>
                  <a:gd name="connsiteY1512" fmla="*/ 1060 h 10000"/>
                  <a:gd name="connsiteX1513" fmla="*/ 4203 w 10354"/>
                  <a:gd name="connsiteY1513" fmla="*/ 1068 h 10000"/>
                  <a:gd name="connsiteX1514" fmla="*/ 4203 w 10354"/>
                  <a:gd name="connsiteY1514" fmla="*/ 1094 h 10000"/>
                  <a:gd name="connsiteX1515" fmla="*/ 4203 w 10354"/>
                  <a:gd name="connsiteY1515" fmla="*/ 1094 h 10000"/>
                  <a:gd name="connsiteX1516" fmla="*/ 4189 w 10354"/>
                  <a:gd name="connsiteY1516" fmla="*/ 1094 h 10000"/>
                  <a:gd name="connsiteX1517" fmla="*/ 4166 w 10354"/>
                  <a:gd name="connsiteY1517" fmla="*/ 1103 h 10000"/>
                  <a:gd name="connsiteX1518" fmla="*/ 4152 w 10354"/>
                  <a:gd name="connsiteY1518" fmla="*/ 1094 h 10000"/>
                  <a:gd name="connsiteX1519" fmla="*/ 4134 w 10354"/>
                  <a:gd name="connsiteY1519" fmla="*/ 1120 h 10000"/>
                  <a:gd name="connsiteX1520" fmla="*/ 4106 w 10354"/>
                  <a:gd name="connsiteY1520" fmla="*/ 1120 h 10000"/>
                  <a:gd name="connsiteX1521" fmla="*/ 4092 w 10354"/>
                  <a:gd name="connsiteY1521" fmla="*/ 1154 h 10000"/>
                  <a:gd name="connsiteX1522" fmla="*/ 4106 w 10354"/>
                  <a:gd name="connsiteY1522" fmla="*/ 1171 h 10000"/>
                  <a:gd name="connsiteX1523" fmla="*/ 4078 w 10354"/>
                  <a:gd name="connsiteY1523" fmla="*/ 1179 h 10000"/>
                  <a:gd name="connsiteX1524" fmla="*/ 4065 w 10354"/>
                  <a:gd name="connsiteY1524" fmla="*/ 1205 h 10000"/>
                  <a:gd name="connsiteX1525" fmla="*/ 4046 w 10354"/>
                  <a:gd name="connsiteY1525" fmla="*/ 1179 h 10000"/>
                  <a:gd name="connsiteX1526" fmla="*/ 4041 w 10354"/>
                  <a:gd name="connsiteY1526" fmla="*/ 1197 h 10000"/>
                  <a:gd name="connsiteX1527" fmla="*/ 4028 w 10354"/>
                  <a:gd name="connsiteY1527" fmla="*/ 1205 h 10000"/>
                  <a:gd name="connsiteX1528" fmla="*/ 4028 w 10354"/>
                  <a:gd name="connsiteY1528" fmla="*/ 1205 h 10000"/>
                  <a:gd name="connsiteX1529" fmla="*/ 4032 w 10354"/>
                  <a:gd name="connsiteY1529" fmla="*/ 1205 h 10000"/>
                  <a:gd name="connsiteX1530" fmla="*/ 4032 w 10354"/>
                  <a:gd name="connsiteY1530" fmla="*/ 1231 h 10000"/>
                  <a:gd name="connsiteX1531" fmla="*/ 4014 w 10354"/>
                  <a:gd name="connsiteY1531" fmla="*/ 1239 h 10000"/>
                  <a:gd name="connsiteX1532" fmla="*/ 4014 w 10354"/>
                  <a:gd name="connsiteY1532" fmla="*/ 1256 h 10000"/>
                  <a:gd name="connsiteX1533" fmla="*/ 4000 w 10354"/>
                  <a:gd name="connsiteY1533" fmla="*/ 1265 h 10000"/>
                  <a:gd name="connsiteX1534" fmla="*/ 3986 w 10354"/>
                  <a:gd name="connsiteY1534" fmla="*/ 1308 h 10000"/>
                  <a:gd name="connsiteX1535" fmla="*/ 3972 w 10354"/>
                  <a:gd name="connsiteY1535" fmla="*/ 1316 h 10000"/>
                  <a:gd name="connsiteX1536" fmla="*/ 3972 w 10354"/>
                  <a:gd name="connsiteY1536" fmla="*/ 1325 h 10000"/>
                  <a:gd name="connsiteX1537" fmla="*/ 3972 w 10354"/>
                  <a:gd name="connsiteY1537" fmla="*/ 1342 h 10000"/>
                  <a:gd name="connsiteX1538" fmla="*/ 3968 w 10354"/>
                  <a:gd name="connsiteY1538" fmla="*/ 1350 h 10000"/>
                  <a:gd name="connsiteX1539" fmla="*/ 3954 w 10354"/>
                  <a:gd name="connsiteY1539" fmla="*/ 1368 h 10000"/>
                  <a:gd name="connsiteX1540" fmla="*/ 3945 w 10354"/>
                  <a:gd name="connsiteY1540" fmla="*/ 1350 h 10000"/>
                  <a:gd name="connsiteX1541" fmla="*/ 3908 w 10354"/>
                  <a:gd name="connsiteY1541" fmla="*/ 1342 h 10000"/>
                  <a:gd name="connsiteX1542" fmla="*/ 3894 w 10354"/>
                  <a:gd name="connsiteY1542" fmla="*/ 1368 h 10000"/>
                  <a:gd name="connsiteX1543" fmla="*/ 3922 w 10354"/>
                  <a:gd name="connsiteY1543" fmla="*/ 1393 h 10000"/>
                  <a:gd name="connsiteX1544" fmla="*/ 3945 w 10354"/>
                  <a:gd name="connsiteY1544" fmla="*/ 1393 h 10000"/>
                  <a:gd name="connsiteX1545" fmla="*/ 3940 w 10354"/>
                  <a:gd name="connsiteY1545" fmla="*/ 1419 h 10000"/>
                  <a:gd name="connsiteX1546" fmla="*/ 3931 w 10354"/>
                  <a:gd name="connsiteY1546" fmla="*/ 1427 h 10000"/>
                  <a:gd name="connsiteX1547" fmla="*/ 3926 w 10354"/>
                  <a:gd name="connsiteY1547" fmla="*/ 1427 h 10000"/>
                  <a:gd name="connsiteX1548" fmla="*/ 3922 w 10354"/>
                  <a:gd name="connsiteY1548" fmla="*/ 1419 h 10000"/>
                  <a:gd name="connsiteX1549" fmla="*/ 3912 w 10354"/>
                  <a:gd name="connsiteY1549" fmla="*/ 1427 h 10000"/>
                  <a:gd name="connsiteX1550" fmla="*/ 3912 w 10354"/>
                  <a:gd name="connsiteY1550" fmla="*/ 1444 h 10000"/>
                  <a:gd name="connsiteX1551" fmla="*/ 3894 w 10354"/>
                  <a:gd name="connsiteY1551" fmla="*/ 1513 h 10000"/>
                  <a:gd name="connsiteX1552" fmla="*/ 3885 w 10354"/>
                  <a:gd name="connsiteY1552" fmla="*/ 1513 h 10000"/>
                  <a:gd name="connsiteX1553" fmla="*/ 3880 w 10354"/>
                  <a:gd name="connsiteY1553" fmla="*/ 1538 h 10000"/>
                  <a:gd name="connsiteX1554" fmla="*/ 3885 w 10354"/>
                  <a:gd name="connsiteY1554" fmla="*/ 1564 h 10000"/>
                  <a:gd name="connsiteX1555" fmla="*/ 3880 w 10354"/>
                  <a:gd name="connsiteY1555" fmla="*/ 1581 h 10000"/>
                  <a:gd name="connsiteX1556" fmla="*/ 3871 w 10354"/>
                  <a:gd name="connsiteY1556" fmla="*/ 1538 h 10000"/>
                  <a:gd name="connsiteX1557" fmla="*/ 3853 w 10354"/>
                  <a:gd name="connsiteY1557" fmla="*/ 1530 h 10000"/>
                  <a:gd name="connsiteX1558" fmla="*/ 3853 w 10354"/>
                  <a:gd name="connsiteY1558" fmla="*/ 1504 h 10000"/>
                  <a:gd name="connsiteX1559" fmla="*/ 3834 w 10354"/>
                  <a:gd name="connsiteY1559" fmla="*/ 1487 h 10000"/>
                  <a:gd name="connsiteX1560" fmla="*/ 3834 w 10354"/>
                  <a:gd name="connsiteY1560" fmla="*/ 1487 h 10000"/>
                  <a:gd name="connsiteX1561" fmla="*/ 3839 w 10354"/>
                  <a:gd name="connsiteY1561" fmla="*/ 1513 h 10000"/>
                  <a:gd name="connsiteX1562" fmla="*/ 3820 w 10354"/>
                  <a:gd name="connsiteY1562" fmla="*/ 1538 h 10000"/>
                  <a:gd name="connsiteX1563" fmla="*/ 3820 w 10354"/>
                  <a:gd name="connsiteY1563" fmla="*/ 1556 h 10000"/>
                  <a:gd name="connsiteX1564" fmla="*/ 3820 w 10354"/>
                  <a:gd name="connsiteY1564" fmla="*/ 1564 h 10000"/>
                  <a:gd name="connsiteX1565" fmla="*/ 3820 w 10354"/>
                  <a:gd name="connsiteY1565" fmla="*/ 1581 h 10000"/>
                  <a:gd name="connsiteX1566" fmla="*/ 3853 w 10354"/>
                  <a:gd name="connsiteY1566" fmla="*/ 1581 h 10000"/>
                  <a:gd name="connsiteX1567" fmla="*/ 3857 w 10354"/>
                  <a:gd name="connsiteY1567" fmla="*/ 1598 h 10000"/>
                  <a:gd name="connsiteX1568" fmla="*/ 3880 w 10354"/>
                  <a:gd name="connsiteY1568" fmla="*/ 1615 h 10000"/>
                  <a:gd name="connsiteX1569" fmla="*/ 3871 w 10354"/>
                  <a:gd name="connsiteY1569" fmla="*/ 1615 h 10000"/>
                  <a:gd name="connsiteX1570" fmla="*/ 3871 w 10354"/>
                  <a:gd name="connsiteY1570" fmla="*/ 1641 h 10000"/>
                  <a:gd name="connsiteX1571" fmla="*/ 3880 w 10354"/>
                  <a:gd name="connsiteY1571" fmla="*/ 1641 h 10000"/>
                  <a:gd name="connsiteX1572" fmla="*/ 3871 w 10354"/>
                  <a:gd name="connsiteY1572" fmla="*/ 1650 h 10000"/>
                  <a:gd name="connsiteX1573" fmla="*/ 3857 w 10354"/>
                  <a:gd name="connsiteY1573" fmla="*/ 1650 h 10000"/>
                  <a:gd name="connsiteX1574" fmla="*/ 3853 w 10354"/>
                  <a:gd name="connsiteY1574" fmla="*/ 1650 h 10000"/>
                  <a:gd name="connsiteX1575" fmla="*/ 3839 w 10354"/>
                  <a:gd name="connsiteY1575" fmla="*/ 1667 h 10000"/>
                  <a:gd name="connsiteX1576" fmla="*/ 3848 w 10354"/>
                  <a:gd name="connsiteY1576" fmla="*/ 1692 h 10000"/>
                  <a:gd name="connsiteX1577" fmla="*/ 3834 w 10354"/>
                  <a:gd name="connsiteY1577" fmla="*/ 1692 h 10000"/>
                  <a:gd name="connsiteX1578" fmla="*/ 3825 w 10354"/>
                  <a:gd name="connsiteY1578" fmla="*/ 1692 h 10000"/>
                  <a:gd name="connsiteX1579" fmla="*/ 3825 w 10354"/>
                  <a:gd name="connsiteY1579" fmla="*/ 1718 h 10000"/>
                  <a:gd name="connsiteX1580" fmla="*/ 3839 w 10354"/>
                  <a:gd name="connsiteY1580" fmla="*/ 1726 h 10000"/>
                  <a:gd name="connsiteX1581" fmla="*/ 3880 w 10354"/>
                  <a:gd name="connsiteY1581" fmla="*/ 1752 h 10000"/>
                  <a:gd name="connsiteX1582" fmla="*/ 3894 w 10354"/>
                  <a:gd name="connsiteY1582" fmla="*/ 1829 h 10000"/>
                  <a:gd name="connsiteX1583" fmla="*/ 3899 w 10354"/>
                  <a:gd name="connsiteY1583" fmla="*/ 1838 h 10000"/>
                  <a:gd name="connsiteX1584" fmla="*/ 3894 w 10354"/>
                  <a:gd name="connsiteY1584" fmla="*/ 1855 h 10000"/>
                  <a:gd name="connsiteX1585" fmla="*/ 3880 w 10354"/>
                  <a:gd name="connsiteY1585" fmla="*/ 1838 h 10000"/>
                  <a:gd name="connsiteX1586" fmla="*/ 3880 w 10354"/>
                  <a:gd name="connsiteY1586" fmla="*/ 1855 h 10000"/>
                  <a:gd name="connsiteX1587" fmla="*/ 3880 w 10354"/>
                  <a:gd name="connsiteY1587" fmla="*/ 1863 h 10000"/>
                  <a:gd name="connsiteX1588" fmla="*/ 3871 w 10354"/>
                  <a:gd name="connsiteY1588" fmla="*/ 1872 h 10000"/>
                  <a:gd name="connsiteX1589" fmla="*/ 3880 w 10354"/>
                  <a:gd name="connsiteY1589" fmla="*/ 1889 h 10000"/>
                  <a:gd name="connsiteX1590" fmla="*/ 3885 w 10354"/>
                  <a:gd name="connsiteY1590" fmla="*/ 1889 h 10000"/>
                  <a:gd name="connsiteX1591" fmla="*/ 3880 w 10354"/>
                  <a:gd name="connsiteY1591" fmla="*/ 1897 h 10000"/>
                  <a:gd name="connsiteX1592" fmla="*/ 3871 w 10354"/>
                  <a:gd name="connsiteY1592" fmla="*/ 1915 h 10000"/>
                  <a:gd name="connsiteX1593" fmla="*/ 3848 w 10354"/>
                  <a:gd name="connsiteY1593" fmla="*/ 1923 h 10000"/>
                  <a:gd name="connsiteX1594" fmla="*/ 3825 w 10354"/>
                  <a:gd name="connsiteY1594" fmla="*/ 1940 h 10000"/>
                  <a:gd name="connsiteX1595" fmla="*/ 3811 w 10354"/>
                  <a:gd name="connsiteY1595" fmla="*/ 1940 h 10000"/>
                  <a:gd name="connsiteX1596" fmla="*/ 3806 w 10354"/>
                  <a:gd name="connsiteY1596" fmla="*/ 1949 h 10000"/>
                  <a:gd name="connsiteX1597" fmla="*/ 3797 w 10354"/>
                  <a:gd name="connsiteY1597" fmla="*/ 1966 h 10000"/>
                  <a:gd name="connsiteX1598" fmla="*/ 3788 w 10354"/>
                  <a:gd name="connsiteY1598" fmla="*/ 1991 h 10000"/>
                  <a:gd name="connsiteX1599" fmla="*/ 3765 w 10354"/>
                  <a:gd name="connsiteY1599" fmla="*/ 1974 h 10000"/>
                  <a:gd name="connsiteX1600" fmla="*/ 3760 w 10354"/>
                  <a:gd name="connsiteY1600" fmla="*/ 1966 h 10000"/>
                  <a:gd name="connsiteX1601" fmla="*/ 3760 w 10354"/>
                  <a:gd name="connsiteY1601" fmla="*/ 1966 h 10000"/>
                  <a:gd name="connsiteX1602" fmla="*/ 3631 w 10354"/>
                  <a:gd name="connsiteY1602" fmla="*/ 2009 h 10000"/>
                  <a:gd name="connsiteX1603" fmla="*/ 3618 w 10354"/>
                  <a:gd name="connsiteY1603" fmla="*/ 2000 h 10000"/>
                  <a:gd name="connsiteX1604" fmla="*/ 3599 w 10354"/>
                  <a:gd name="connsiteY1604" fmla="*/ 2009 h 10000"/>
                  <a:gd name="connsiteX1605" fmla="*/ 3571 w 10354"/>
                  <a:gd name="connsiteY1605" fmla="*/ 2000 h 10000"/>
                  <a:gd name="connsiteX1606" fmla="*/ 3530 w 10354"/>
                  <a:gd name="connsiteY1606" fmla="*/ 2026 h 10000"/>
                  <a:gd name="connsiteX1607" fmla="*/ 3530 w 10354"/>
                  <a:gd name="connsiteY1607" fmla="*/ 2034 h 10000"/>
                  <a:gd name="connsiteX1608" fmla="*/ 3525 w 10354"/>
                  <a:gd name="connsiteY1608" fmla="*/ 2051 h 10000"/>
                  <a:gd name="connsiteX1609" fmla="*/ 3512 w 10354"/>
                  <a:gd name="connsiteY1609" fmla="*/ 2034 h 10000"/>
                  <a:gd name="connsiteX1610" fmla="*/ 3507 w 10354"/>
                  <a:gd name="connsiteY1610" fmla="*/ 2034 h 10000"/>
                  <a:gd name="connsiteX1611" fmla="*/ 3498 w 10354"/>
                  <a:gd name="connsiteY1611" fmla="*/ 2051 h 10000"/>
                  <a:gd name="connsiteX1612" fmla="*/ 3484 w 10354"/>
                  <a:gd name="connsiteY1612" fmla="*/ 2060 h 10000"/>
                  <a:gd name="connsiteX1613" fmla="*/ 3484 w 10354"/>
                  <a:gd name="connsiteY1613" fmla="*/ 2085 h 10000"/>
                  <a:gd name="connsiteX1614" fmla="*/ 3484 w 10354"/>
                  <a:gd name="connsiteY1614" fmla="*/ 2103 h 10000"/>
                  <a:gd name="connsiteX1615" fmla="*/ 3493 w 10354"/>
                  <a:gd name="connsiteY1615" fmla="*/ 2103 h 10000"/>
                  <a:gd name="connsiteX1616" fmla="*/ 3493 w 10354"/>
                  <a:gd name="connsiteY1616" fmla="*/ 2085 h 10000"/>
                  <a:gd name="connsiteX1617" fmla="*/ 3498 w 10354"/>
                  <a:gd name="connsiteY1617" fmla="*/ 2085 h 10000"/>
                  <a:gd name="connsiteX1618" fmla="*/ 3498 w 10354"/>
                  <a:gd name="connsiteY1618" fmla="*/ 2111 h 10000"/>
                  <a:gd name="connsiteX1619" fmla="*/ 3484 w 10354"/>
                  <a:gd name="connsiteY1619" fmla="*/ 2120 h 10000"/>
                  <a:gd name="connsiteX1620" fmla="*/ 3484 w 10354"/>
                  <a:gd name="connsiteY1620" fmla="*/ 2145 h 10000"/>
                  <a:gd name="connsiteX1621" fmla="*/ 3470 w 10354"/>
                  <a:gd name="connsiteY1621" fmla="*/ 2137 h 10000"/>
                  <a:gd name="connsiteX1622" fmla="*/ 3465 w 10354"/>
                  <a:gd name="connsiteY1622" fmla="*/ 2145 h 10000"/>
                  <a:gd name="connsiteX1623" fmla="*/ 3470 w 10354"/>
                  <a:gd name="connsiteY1623" fmla="*/ 2171 h 10000"/>
                  <a:gd name="connsiteX1624" fmla="*/ 3484 w 10354"/>
                  <a:gd name="connsiteY1624" fmla="*/ 2171 h 10000"/>
                  <a:gd name="connsiteX1625" fmla="*/ 3484 w 10354"/>
                  <a:gd name="connsiteY1625" fmla="*/ 2197 h 10000"/>
                  <a:gd name="connsiteX1626" fmla="*/ 3465 w 10354"/>
                  <a:gd name="connsiteY1626" fmla="*/ 2214 h 10000"/>
                  <a:gd name="connsiteX1627" fmla="*/ 3493 w 10354"/>
                  <a:gd name="connsiteY1627" fmla="*/ 2248 h 10000"/>
                  <a:gd name="connsiteX1628" fmla="*/ 3484 w 10354"/>
                  <a:gd name="connsiteY1628" fmla="*/ 2256 h 10000"/>
                  <a:gd name="connsiteX1629" fmla="*/ 3498 w 10354"/>
                  <a:gd name="connsiteY1629" fmla="*/ 2274 h 10000"/>
                  <a:gd name="connsiteX1630" fmla="*/ 3498 w 10354"/>
                  <a:gd name="connsiteY1630" fmla="*/ 2256 h 10000"/>
                  <a:gd name="connsiteX1631" fmla="*/ 3507 w 10354"/>
                  <a:gd name="connsiteY1631" fmla="*/ 2308 h 10000"/>
                  <a:gd name="connsiteX1632" fmla="*/ 3512 w 10354"/>
                  <a:gd name="connsiteY1632" fmla="*/ 2325 h 10000"/>
                  <a:gd name="connsiteX1633" fmla="*/ 3507 w 10354"/>
                  <a:gd name="connsiteY1633" fmla="*/ 2333 h 10000"/>
                  <a:gd name="connsiteX1634" fmla="*/ 3507 w 10354"/>
                  <a:gd name="connsiteY1634" fmla="*/ 2359 h 10000"/>
                  <a:gd name="connsiteX1635" fmla="*/ 3507 w 10354"/>
                  <a:gd name="connsiteY1635" fmla="*/ 2376 h 10000"/>
                  <a:gd name="connsiteX1636" fmla="*/ 3498 w 10354"/>
                  <a:gd name="connsiteY1636" fmla="*/ 2410 h 10000"/>
                  <a:gd name="connsiteX1637" fmla="*/ 3498 w 10354"/>
                  <a:gd name="connsiteY1637" fmla="*/ 2436 h 10000"/>
                  <a:gd name="connsiteX1638" fmla="*/ 3507 w 10354"/>
                  <a:gd name="connsiteY1638" fmla="*/ 2462 h 10000"/>
                  <a:gd name="connsiteX1639" fmla="*/ 3507 w 10354"/>
                  <a:gd name="connsiteY1639" fmla="*/ 2496 h 10000"/>
                  <a:gd name="connsiteX1640" fmla="*/ 3512 w 10354"/>
                  <a:gd name="connsiteY1640" fmla="*/ 2521 h 10000"/>
                  <a:gd name="connsiteX1641" fmla="*/ 3525 w 10354"/>
                  <a:gd name="connsiteY1641" fmla="*/ 2556 h 10000"/>
                  <a:gd name="connsiteX1642" fmla="*/ 3571 w 10354"/>
                  <a:gd name="connsiteY1642" fmla="*/ 2573 h 10000"/>
                  <a:gd name="connsiteX1643" fmla="*/ 3590 w 10354"/>
                  <a:gd name="connsiteY1643" fmla="*/ 2598 h 10000"/>
                  <a:gd name="connsiteX1644" fmla="*/ 3599 w 10354"/>
                  <a:gd name="connsiteY1644" fmla="*/ 2598 h 10000"/>
                  <a:gd name="connsiteX1645" fmla="*/ 3604 w 10354"/>
                  <a:gd name="connsiteY1645" fmla="*/ 2632 h 10000"/>
                  <a:gd name="connsiteX1646" fmla="*/ 3599 w 10354"/>
                  <a:gd name="connsiteY1646" fmla="*/ 2658 h 10000"/>
                  <a:gd name="connsiteX1647" fmla="*/ 3590 w 10354"/>
                  <a:gd name="connsiteY1647" fmla="*/ 2667 h 10000"/>
                  <a:gd name="connsiteX1648" fmla="*/ 3604 w 10354"/>
                  <a:gd name="connsiteY1648" fmla="*/ 2667 h 10000"/>
                  <a:gd name="connsiteX1649" fmla="*/ 3613 w 10354"/>
                  <a:gd name="connsiteY1649" fmla="*/ 2692 h 10000"/>
                  <a:gd name="connsiteX1650" fmla="*/ 3627 w 10354"/>
                  <a:gd name="connsiteY1650" fmla="*/ 2735 h 10000"/>
                  <a:gd name="connsiteX1651" fmla="*/ 3631 w 10354"/>
                  <a:gd name="connsiteY1651" fmla="*/ 2744 h 10000"/>
                  <a:gd name="connsiteX1652" fmla="*/ 3659 w 10354"/>
                  <a:gd name="connsiteY1652" fmla="*/ 2761 h 10000"/>
                  <a:gd name="connsiteX1653" fmla="*/ 3673 w 10354"/>
                  <a:gd name="connsiteY1653" fmla="*/ 2769 h 10000"/>
                  <a:gd name="connsiteX1654" fmla="*/ 3673 w 10354"/>
                  <a:gd name="connsiteY1654" fmla="*/ 2761 h 10000"/>
                  <a:gd name="connsiteX1655" fmla="*/ 3687 w 10354"/>
                  <a:gd name="connsiteY1655" fmla="*/ 2829 h 10000"/>
                  <a:gd name="connsiteX1656" fmla="*/ 3677 w 10354"/>
                  <a:gd name="connsiteY1656" fmla="*/ 2897 h 10000"/>
                  <a:gd name="connsiteX1657" fmla="*/ 3673 w 10354"/>
                  <a:gd name="connsiteY1657" fmla="*/ 2915 h 10000"/>
                  <a:gd name="connsiteX1658" fmla="*/ 3664 w 10354"/>
                  <a:gd name="connsiteY1658" fmla="*/ 2957 h 10000"/>
                  <a:gd name="connsiteX1659" fmla="*/ 3659 w 10354"/>
                  <a:gd name="connsiteY1659" fmla="*/ 2983 h 10000"/>
                  <a:gd name="connsiteX1660" fmla="*/ 3664 w 10354"/>
                  <a:gd name="connsiteY1660" fmla="*/ 3017 h 10000"/>
                  <a:gd name="connsiteX1661" fmla="*/ 3659 w 10354"/>
                  <a:gd name="connsiteY1661" fmla="*/ 3043 h 10000"/>
                  <a:gd name="connsiteX1662" fmla="*/ 3677 w 10354"/>
                  <a:gd name="connsiteY1662" fmla="*/ 3094 h 10000"/>
                  <a:gd name="connsiteX1663" fmla="*/ 3691 w 10354"/>
                  <a:gd name="connsiteY1663" fmla="*/ 3282 h 10000"/>
                  <a:gd name="connsiteX1664" fmla="*/ 3691 w 10354"/>
                  <a:gd name="connsiteY1664" fmla="*/ 3308 h 10000"/>
                  <a:gd name="connsiteX1665" fmla="*/ 3677 w 10354"/>
                  <a:gd name="connsiteY1665" fmla="*/ 3342 h 10000"/>
                  <a:gd name="connsiteX1666" fmla="*/ 3664 w 10354"/>
                  <a:gd name="connsiteY1666" fmla="*/ 3342 h 10000"/>
                  <a:gd name="connsiteX1667" fmla="*/ 3650 w 10354"/>
                  <a:gd name="connsiteY1667" fmla="*/ 3342 h 10000"/>
                  <a:gd name="connsiteX1668" fmla="*/ 3650 w 10354"/>
                  <a:gd name="connsiteY1668" fmla="*/ 3350 h 10000"/>
                  <a:gd name="connsiteX1669" fmla="*/ 3659 w 10354"/>
                  <a:gd name="connsiteY1669" fmla="*/ 3402 h 10000"/>
                  <a:gd name="connsiteX1670" fmla="*/ 3659 w 10354"/>
                  <a:gd name="connsiteY1670" fmla="*/ 3419 h 10000"/>
                  <a:gd name="connsiteX1671" fmla="*/ 3631 w 10354"/>
                  <a:gd name="connsiteY1671" fmla="*/ 3402 h 10000"/>
                  <a:gd name="connsiteX1672" fmla="*/ 3604 w 10354"/>
                  <a:gd name="connsiteY1672" fmla="*/ 3393 h 10000"/>
                  <a:gd name="connsiteX1673" fmla="*/ 3599 w 10354"/>
                  <a:gd name="connsiteY1673" fmla="*/ 3368 h 10000"/>
                  <a:gd name="connsiteX1674" fmla="*/ 3590 w 10354"/>
                  <a:gd name="connsiteY1674" fmla="*/ 3239 h 10000"/>
                  <a:gd name="connsiteX1675" fmla="*/ 3599 w 10354"/>
                  <a:gd name="connsiteY1675" fmla="*/ 3179 h 10000"/>
                  <a:gd name="connsiteX1676" fmla="*/ 3599 w 10354"/>
                  <a:gd name="connsiteY1676" fmla="*/ 3171 h 10000"/>
                  <a:gd name="connsiteX1677" fmla="*/ 3599 w 10354"/>
                  <a:gd name="connsiteY1677" fmla="*/ 3009 h 10000"/>
                  <a:gd name="connsiteX1678" fmla="*/ 3604 w 10354"/>
                  <a:gd name="connsiteY1678" fmla="*/ 2983 h 10000"/>
                  <a:gd name="connsiteX1679" fmla="*/ 3645 w 10354"/>
                  <a:gd name="connsiteY1679" fmla="*/ 2932 h 10000"/>
                  <a:gd name="connsiteX1680" fmla="*/ 3650 w 10354"/>
                  <a:gd name="connsiteY1680" fmla="*/ 2872 h 10000"/>
                  <a:gd name="connsiteX1681" fmla="*/ 3659 w 10354"/>
                  <a:gd name="connsiteY1681" fmla="*/ 2855 h 10000"/>
                  <a:gd name="connsiteX1682" fmla="*/ 3659 w 10354"/>
                  <a:gd name="connsiteY1682" fmla="*/ 2821 h 10000"/>
                  <a:gd name="connsiteX1683" fmla="*/ 3631 w 10354"/>
                  <a:gd name="connsiteY1683" fmla="*/ 2795 h 10000"/>
                  <a:gd name="connsiteX1684" fmla="*/ 3567 w 10354"/>
                  <a:gd name="connsiteY1684" fmla="*/ 2821 h 10000"/>
                  <a:gd name="connsiteX1685" fmla="*/ 3544 w 10354"/>
                  <a:gd name="connsiteY1685" fmla="*/ 2795 h 10000"/>
                  <a:gd name="connsiteX1686" fmla="*/ 3530 w 10354"/>
                  <a:gd name="connsiteY1686" fmla="*/ 2769 h 10000"/>
                  <a:gd name="connsiteX1687" fmla="*/ 3530 w 10354"/>
                  <a:gd name="connsiteY1687" fmla="*/ 2786 h 10000"/>
                  <a:gd name="connsiteX1688" fmla="*/ 3498 w 10354"/>
                  <a:gd name="connsiteY1688" fmla="*/ 2692 h 10000"/>
                  <a:gd name="connsiteX1689" fmla="*/ 3498 w 10354"/>
                  <a:gd name="connsiteY1689" fmla="*/ 2667 h 10000"/>
                  <a:gd name="connsiteX1690" fmla="*/ 3442 w 10354"/>
                  <a:gd name="connsiteY1690" fmla="*/ 2607 h 10000"/>
                  <a:gd name="connsiteX1691" fmla="*/ 3433 w 10354"/>
                  <a:gd name="connsiteY1691" fmla="*/ 2581 h 10000"/>
                  <a:gd name="connsiteX1692" fmla="*/ 3396 w 10354"/>
                  <a:gd name="connsiteY1692" fmla="*/ 2556 h 10000"/>
                  <a:gd name="connsiteX1693" fmla="*/ 3318 w 10354"/>
                  <a:gd name="connsiteY1693" fmla="*/ 2556 h 10000"/>
                  <a:gd name="connsiteX1694" fmla="*/ 3304 w 10354"/>
                  <a:gd name="connsiteY1694" fmla="*/ 2607 h 10000"/>
                  <a:gd name="connsiteX1695" fmla="*/ 3276 w 10354"/>
                  <a:gd name="connsiteY1695" fmla="*/ 2632 h 10000"/>
                  <a:gd name="connsiteX1696" fmla="*/ 3272 w 10354"/>
                  <a:gd name="connsiteY1696" fmla="*/ 2667 h 10000"/>
                  <a:gd name="connsiteX1697" fmla="*/ 3304 w 10354"/>
                  <a:gd name="connsiteY1697" fmla="*/ 2667 h 10000"/>
                  <a:gd name="connsiteX1698" fmla="*/ 3323 w 10354"/>
                  <a:gd name="connsiteY1698" fmla="*/ 2692 h 10000"/>
                  <a:gd name="connsiteX1699" fmla="*/ 3318 w 10354"/>
                  <a:gd name="connsiteY1699" fmla="*/ 2735 h 10000"/>
                  <a:gd name="connsiteX1700" fmla="*/ 3304 w 10354"/>
                  <a:gd name="connsiteY1700" fmla="*/ 2761 h 10000"/>
                  <a:gd name="connsiteX1701" fmla="*/ 3276 w 10354"/>
                  <a:gd name="connsiteY1701" fmla="*/ 2769 h 10000"/>
                  <a:gd name="connsiteX1702" fmla="*/ 3263 w 10354"/>
                  <a:gd name="connsiteY1702" fmla="*/ 2795 h 10000"/>
                  <a:gd name="connsiteX1703" fmla="*/ 3235 w 10354"/>
                  <a:gd name="connsiteY1703" fmla="*/ 2803 h 10000"/>
                  <a:gd name="connsiteX1704" fmla="*/ 3235 w 10354"/>
                  <a:gd name="connsiteY1704" fmla="*/ 2786 h 10000"/>
                  <a:gd name="connsiteX1705" fmla="*/ 3212 w 10354"/>
                  <a:gd name="connsiteY1705" fmla="*/ 2709 h 10000"/>
                  <a:gd name="connsiteX1706" fmla="*/ 3198 w 10354"/>
                  <a:gd name="connsiteY1706" fmla="*/ 2709 h 10000"/>
                  <a:gd name="connsiteX1707" fmla="*/ 3184 w 10354"/>
                  <a:gd name="connsiteY1707" fmla="*/ 2735 h 10000"/>
                  <a:gd name="connsiteX1708" fmla="*/ 3189 w 10354"/>
                  <a:gd name="connsiteY1708" fmla="*/ 2761 h 10000"/>
                  <a:gd name="connsiteX1709" fmla="*/ 3203 w 10354"/>
                  <a:gd name="connsiteY1709" fmla="*/ 2855 h 10000"/>
                  <a:gd name="connsiteX1710" fmla="*/ 3212 w 10354"/>
                  <a:gd name="connsiteY1710" fmla="*/ 2872 h 10000"/>
                  <a:gd name="connsiteX1711" fmla="*/ 3235 w 10354"/>
                  <a:gd name="connsiteY1711" fmla="*/ 2906 h 10000"/>
                  <a:gd name="connsiteX1712" fmla="*/ 3258 w 10354"/>
                  <a:gd name="connsiteY1712" fmla="*/ 2915 h 10000"/>
                  <a:gd name="connsiteX1713" fmla="*/ 3272 w 10354"/>
                  <a:gd name="connsiteY1713" fmla="*/ 2957 h 10000"/>
                  <a:gd name="connsiteX1714" fmla="*/ 3276 w 10354"/>
                  <a:gd name="connsiteY1714" fmla="*/ 2957 h 10000"/>
                  <a:gd name="connsiteX1715" fmla="*/ 3286 w 10354"/>
                  <a:gd name="connsiteY1715" fmla="*/ 2966 h 10000"/>
                  <a:gd name="connsiteX1716" fmla="*/ 3300 w 10354"/>
                  <a:gd name="connsiteY1716" fmla="*/ 2957 h 10000"/>
                  <a:gd name="connsiteX1717" fmla="*/ 3309 w 10354"/>
                  <a:gd name="connsiteY1717" fmla="*/ 2932 h 10000"/>
                  <a:gd name="connsiteX1718" fmla="*/ 3304 w 10354"/>
                  <a:gd name="connsiteY1718" fmla="*/ 2966 h 10000"/>
                  <a:gd name="connsiteX1719" fmla="*/ 3309 w 10354"/>
                  <a:gd name="connsiteY1719" fmla="*/ 2983 h 10000"/>
                  <a:gd name="connsiteX1720" fmla="*/ 3323 w 10354"/>
                  <a:gd name="connsiteY1720" fmla="*/ 2966 h 10000"/>
                  <a:gd name="connsiteX1721" fmla="*/ 3323 w 10354"/>
                  <a:gd name="connsiteY1721" fmla="*/ 3043 h 10000"/>
                  <a:gd name="connsiteX1722" fmla="*/ 3346 w 10354"/>
                  <a:gd name="connsiteY1722" fmla="*/ 3068 h 10000"/>
                  <a:gd name="connsiteX1723" fmla="*/ 3346 w 10354"/>
                  <a:gd name="connsiteY1723" fmla="*/ 3094 h 10000"/>
                  <a:gd name="connsiteX1724" fmla="*/ 3323 w 10354"/>
                  <a:gd name="connsiteY1724" fmla="*/ 3094 h 10000"/>
                  <a:gd name="connsiteX1725" fmla="*/ 3309 w 10354"/>
                  <a:gd name="connsiteY1725" fmla="*/ 3077 h 10000"/>
                  <a:gd name="connsiteX1726" fmla="*/ 3304 w 10354"/>
                  <a:gd name="connsiteY1726" fmla="*/ 3051 h 10000"/>
                  <a:gd name="connsiteX1727" fmla="*/ 3300 w 10354"/>
                  <a:gd name="connsiteY1727" fmla="*/ 3043 h 10000"/>
                  <a:gd name="connsiteX1728" fmla="*/ 3286 w 10354"/>
                  <a:gd name="connsiteY1728" fmla="*/ 3017 h 10000"/>
                  <a:gd name="connsiteX1729" fmla="*/ 3152 w 10354"/>
                  <a:gd name="connsiteY1729" fmla="*/ 2966 h 10000"/>
                  <a:gd name="connsiteX1730" fmla="*/ 3129 w 10354"/>
                  <a:gd name="connsiteY1730" fmla="*/ 2915 h 10000"/>
                  <a:gd name="connsiteX1731" fmla="*/ 3129 w 10354"/>
                  <a:gd name="connsiteY1731" fmla="*/ 2906 h 10000"/>
                  <a:gd name="connsiteX1732" fmla="*/ 3152 w 10354"/>
                  <a:gd name="connsiteY1732" fmla="*/ 2906 h 10000"/>
                  <a:gd name="connsiteX1733" fmla="*/ 3152 w 10354"/>
                  <a:gd name="connsiteY1733" fmla="*/ 2846 h 10000"/>
                  <a:gd name="connsiteX1734" fmla="*/ 3138 w 10354"/>
                  <a:gd name="connsiteY1734" fmla="*/ 2795 h 10000"/>
                  <a:gd name="connsiteX1735" fmla="*/ 3138 w 10354"/>
                  <a:gd name="connsiteY1735" fmla="*/ 2769 h 10000"/>
                  <a:gd name="connsiteX1736" fmla="*/ 3143 w 10354"/>
                  <a:gd name="connsiteY1736" fmla="*/ 2718 h 10000"/>
                  <a:gd name="connsiteX1737" fmla="*/ 3129 w 10354"/>
                  <a:gd name="connsiteY1737" fmla="*/ 2692 h 10000"/>
                  <a:gd name="connsiteX1738" fmla="*/ 3143 w 10354"/>
                  <a:gd name="connsiteY1738" fmla="*/ 2667 h 10000"/>
                  <a:gd name="connsiteX1739" fmla="*/ 3157 w 10354"/>
                  <a:gd name="connsiteY1739" fmla="*/ 2581 h 10000"/>
                  <a:gd name="connsiteX1740" fmla="*/ 3143 w 10354"/>
                  <a:gd name="connsiteY1740" fmla="*/ 2496 h 10000"/>
                  <a:gd name="connsiteX1741" fmla="*/ 3157 w 10354"/>
                  <a:gd name="connsiteY1741" fmla="*/ 2487 h 10000"/>
                  <a:gd name="connsiteX1742" fmla="*/ 3143 w 10354"/>
                  <a:gd name="connsiteY1742" fmla="*/ 2444 h 10000"/>
                  <a:gd name="connsiteX1743" fmla="*/ 3143 w 10354"/>
                  <a:gd name="connsiteY1743" fmla="*/ 2419 h 10000"/>
                  <a:gd name="connsiteX1744" fmla="*/ 3143 w 10354"/>
                  <a:gd name="connsiteY1744" fmla="*/ 2410 h 10000"/>
                  <a:gd name="connsiteX1745" fmla="*/ 3124 w 10354"/>
                  <a:gd name="connsiteY1745" fmla="*/ 2376 h 10000"/>
                  <a:gd name="connsiteX1746" fmla="*/ 3115 w 10354"/>
                  <a:gd name="connsiteY1746" fmla="*/ 2350 h 10000"/>
                  <a:gd name="connsiteX1747" fmla="*/ 3101 w 10354"/>
                  <a:gd name="connsiteY1747" fmla="*/ 2359 h 10000"/>
                  <a:gd name="connsiteX1748" fmla="*/ 3115 w 10354"/>
                  <a:gd name="connsiteY1748" fmla="*/ 2581 h 10000"/>
                  <a:gd name="connsiteX1749" fmla="*/ 3111 w 10354"/>
                  <a:gd name="connsiteY1749" fmla="*/ 2624 h 10000"/>
                  <a:gd name="connsiteX1750" fmla="*/ 3009 w 10354"/>
                  <a:gd name="connsiteY1750" fmla="*/ 2761 h 10000"/>
                  <a:gd name="connsiteX1751" fmla="*/ 3009 w 10354"/>
                  <a:gd name="connsiteY1751" fmla="*/ 2803 h 10000"/>
                  <a:gd name="connsiteX1752" fmla="*/ 3005 w 10354"/>
                  <a:gd name="connsiteY1752" fmla="*/ 2829 h 10000"/>
                  <a:gd name="connsiteX1753" fmla="*/ 2982 w 10354"/>
                  <a:gd name="connsiteY1753" fmla="*/ 2872 h 10000"/>
                  <a:gd name="connsiteX1754" fmla="*/ 2982 w 10354"/>
                  <a:gd name="connsiteY1754" fmla="*/ 2880 h 10000"/>
                  <a:gd name="connsiteX1755" fmla="*/ 3037 w 10354"/>
                  <a:gd name="connsiteY1755" fmla="*/ 3034 h 10000"/>
                  <a:gd name="connsiteX1756" fmla="*/ 3041 w 10354"/>
                  <a:gd name="connsiteY1756" fmla="*/ 3103 h 10000"/>
                  <a:gd name="connsiteX1757" fmla="*/ 3069 w 10354"/>
                  <a:gd name="connsiteY1757" fmla="*/ 3188 h 10000"/>
                  <a:gd name="connsiteX1758" fmla="*/ 3055 w 10354"/>
                  <a:gd name="connsiteY1758" fmla="*/ 3325 h 10000"/>
                  <a:gd name="connsiteX1759" fmla="*/ 3037 w 10354"/>
                  <a:gd name="connsiteY1759" fmla="*/ 3368 h 10000"/>
                  <a:gd name="connsiteX1760" fmla="*/ 3037 w 10354"/>
                  <a:gd name="connsiteY1760" fmla="*/ 3444 h 10000"/>
                  <a:gd name="connsiteX1761" fmla="*/ 3028 w 10354"/>
                  <a:gd name="connsiteY1761" fmla="*/ 3453 h 10000"/>
                  <a:gd name="connsiteX1762" fmla="*/ 3023 w 10354"/>
                  <a:gd name="connsiteY1762" fmla="*/ 3530 h 10000"/>
                  <a:gd name="connsiteX1763" fmla="*/ 3051 w 10354"/>
                  <a:gd name="connsiteY1763" fmla="*/ 3624 h 10000"/>
                  <a:gd name="connsiteX1764" fmla="*/ 3037 w 10354"/>
                  <a:gd name="connsiteY1764" fmla="*/ 3718 h 10000"/>
                  <a:gd name="connsiteX1765" fmla="*/ 3041 w 10354"/>
                  <a:gd name="connsiteY1765" fmla="*/ 3752 h 10000"/>
                  <a:gd name="connsiteX1766" fmla="*/ 3055 w 10354"/>
                  <a:gd name="connsiteY1766" fmla="*/ 3761 h 10000"/>
                  <a:gd name="connsiteX1767" fmla="*/ 3078 w 10354"/>
                  <a:gd name="connsiteY1767" fmla="*/ 3752 h 10000"/>
                  <a:gd name="connsiteX1768" fmla="*/ 3092 w 10354"/>
                  <a:gd name="connsiteY1768" fmla="*/ 3752 h 10000"/>
                  <a:gd name="connsiteX1769" fmla="*/ 3129 w 10354"/>
                  <a:gd name="connsiteY1769" fmla="*/ 3761 h 10000"/>
                  <a:gd name="connsiteX1770" fmla="*/ 3129 w 10354"/>
                  <a:gd name="connsiteY1770" fmla="*/ 3735 h 10000"/>
                  <a:gd name="connsiteX1771" fmla="*/ 3157 w 10354"/>
                  <a:gd name="connsiteY1771" fmla="*/ 3718 h 10000"/>
                  <a:gd name="connsiteX1772" fmla="*/ 3184 w 10354"/>
                  <a:gd name="connsiteY1772" fmla="*/ 3718 h 10000"/>
                  <a:gd name="connsiteX1773" fmla="*/ 3290 w 10354"/>
                  <a:gd name="connsiteY1773" fmla="*/ 3838 h 10000"/>
                  <a:gd name="connsiteX1774" fmla="*/ 3300 w 10354"/>
                  <a:gd name="connsiteY1774" fmla="*/ 3846 h 10000"/>
                  <a:gd name="connsiteX1775" fmla="*/ 3300 w 10354"/>
                  <a:gd name="connsiteY1775" fmla="*/ 3915 h 10000"/>
                  <a:gd name="connsiteX1776" fmla="*/ 3318 w 10354"/>
                  <a:gd name="connsiteY1776" fmla="*/ 4000 h 10000"/>
                  <a:gd name="connsiteX1777" fmla="*/ 3323 w 10354"/>
                  <a:gd name="connsiteY1777" fmla="*/ 4000 h 10000"/>
                  <a:gd name="connsiteX1778" fmla="*/ 3323 w 10354"/>
                  <a:gd name="connsiteY1778" fmla="*/ 4034 h 10000"/>
                  <a:gd name="connsiteX1779" fmla="*/ 3318 w 10354"/>
                  <a:gd name="connsiteY1779" fmla="*/ 4051 h 10000"/>
                  <a:gd name="connsiteX1780" fmla="*/ 3300 w 10354"/>
                  <a:gd name="connsiteY1780" fmla="*/ 4051 h 10000"/>
                  <a:gd name="connsiteX1781" fmla="*/ 3290 w 10354"/>
                  <a:gd name="connsiteY1781" fmla="*/ 4077 h 10000"/>
                  <a:gd name="connsiteX1782" fmla="*/ 3286 w 10354"/>
                  <a:gd name="connsiteY1782" fmla="*/ 4103 h 10000"/>
                  <a:gd name="connsiteX1783" fmla="*/ 3286 w 10354"/>
                  <a:gd name="connsiteY1783" fmla="*/ 4197 h 10000"/>
                  <a:gd name="connsiteX1784" fmla="*/ 3290 w 10354"/>
                  <a:gd name="connsiteY1784" fmla="*/ 4214 h 10000"/>
                  <a:gd name="connsiteX1785" fmla="*/ 3304 w 10354"/>
                  <a:gd name="connsiteY1785" fmla="*/ 4214 h 10000"/>
                  <a:gd name="connsiteX1786" fmla="*/ 3323 w 10354"/>
                  <a:gd name="connsiteY1786" fmla="*/ 4239 h 10000"/>
                  <a:gd name="connsiteX1787" fmla="*/ 3350 w 10354"/>
                  <a:gd name="connsiteY1787" fmla="*/ 4222 h 10000"/>
                  <a:gd name="connsiteX1788" fmla="*/ 3369 w 10354"/>
                  <a:gd name="connsiteY1788" fmla="*/ 4256 h 10000"/>
                  <a:gd name="connsiteX1789" fmla="*/ 3369 w 10354"/>
                  <a:gd name="connsiteY1789" fmla="*/ 4256 h 10000"/>
                  <a:gd name="connsiteX1790" fmla="*/ 3336 w 10354"/>
                  <a:gd name="connsiteY1790" fmla="*/ 4274 h 10000"/>
                  <a:gd name="connsiteX1791" fmla="*/ 3323 w 10354"/>
                  <a:gd name="connsiteY1791" fmla="*/ 4274 h 10000"/>
                  <a:gd name="connsiteX1792" fmla="*/ 3290 w 10354"/>
                  <a:gd name="connsiteY1792" fmla="*/ 4274 h 10000"/>
                  <a:gd name="connsiteX1793" fmla="*/ 3286 w 10354"/>
                  <a:gd name="connsiteY1793" fmla="*/ 4239 h 10000"/>
                  <a:gd name="connsiteX1794" fmla="*/ 3263 w 10354"/>
                  <a:gd name="connsiteY1794" fmla="*/ 4214 h 10000"/>
                  <a:gd name="connsiteX1795" fmla="*/ 3258 w 10354"/>
                  <a:gd name="connsiteY1795" fmla="*/ 4188 h 10000"/>
                  <a:gd name="connsiteX1796" fmla="*/ 3263 w 10354"/>
                  <a:gd name="connsiteY1796" fmla="*/ 4171 h 10000"/>
                  <a:gd name="connsiteX1797" fmla="*/ 3263 w 10354"/>
                  <a:gd name="connsiteY1797" fmla="*/ 4103 h 10000"/>
                  <a:gd name="connsiteX1798" fmla="*/ 3276 w 10354"/>
                  <a:gd name="connsiteY1798" fmla="*/ 4060 h 10000"/>
                  <a:gd name="connsiteX1799" fmla="*/ 3272 w 10354"/>
                  <a:gd name="connsiteY1799" fmla="*/ 4051 h 10000"/>
                  <a:gd name="connsiteX1800" fmla="*/ 3263 w 10354"/>
                  <a:gd name="connsiteY1800" fmla="*/ 4051 h 10000"/>
                  <a:gd name="connsiteX1801" fmla="*/ 3263 w 10354"/>
                  <a:gd name="connsiteY1801" fmla="*/ 4034 h 10000"/>
                  <a:gd name="connsiteX1802" fmla="*/ 3263 w 10354"/>
                  <a:gd name="connsiteY1802" fmla="*/ 4000 h 10000"/>
                  <a:gd name="connsiteX1803" fmla="*/ 3272 w 10354"/>
                  <a:gd name="connsiteY1803" fmla="*/ 4000 h 10000"/>
                  <a:gd name="connsiteX1804" fmla="*/ 3272 w 10354"/>
                  <a:gd name="connsiteY1804" fmla="*/ 3974 h 10000"/>
                  <a:gd name="connsiteX1805" fmla="*/ 3272 w 10354"/>
                  <a:gd name="connsiteY1805" fmla="*/ 3966 h 10000"/>
                  <a:gd name="connsiteX1806" fmla="*/ 3272 w 10354"/>
                  <a:gd name="connsiteY1806" fmla="*/ 3949 h 10000"/>
                  <a:gd name="connsiteX1807" fmla="*/ 3258 w 10354"/>
                  <a:gd name="connsiteY1807" fmla="*/ 3923 h 10000"/>
                  <a:gd name="connsiteX1808" fmla="*/ 3249 w 10354"/>
                  <a:gd name="connsiteY1808" fmla="*/ 3915 h 10000"/>
                  <a:gd name="connsiteX1809" fmla="*/ 3244 w 10354"/>
                  <a:gd name="connsiteY1809" fmla="*/ 3897 h 10000"/>
                  <a:gd name="connsiteX1810" fmla="*/ 3230 w 10354"/>
                  <a:gd name="connsiteY1810" fmla="*/ 3889 h 10000"/>
                  <a:gd name="connsiteX1811" fmla="*/ 3230 w 10354"/>
                  <a:gd name="connsiteY1811" fmla="*/ 3863 h 10000"/>
                  <a:gd name="connsiteX1812" fmla="*/ 3230 w 10354"/>
                  <a:gd name="connsiteY1812" fmla="*/ 3838 h 10000"/>
                  <a:gd name="connsiteX1813" fmla="*/ 3226 w 10354"/>
                  <a:gd name="connsiteY1813" fmla="*/ 3803 h 10000"/>
                  <a:gd name="connsiteX1814" fmla="*/ 3138 w 10354"/>
                  <a:gd name="connsiteY1814" fmla="*/ 3838 h 10000"/>
                  <a:gd name="connsiteX1815" fmla="*/ 3078 w 10354"/>
                  <a:gd name="connsiteY1815" fmla="*/ 3889 h 10000"/>
                  <a:gd name="connsiteX1816" fmla="*/ 3078 w 10354"/>
                  <a:gd name="connsiteY1816" fmla="*/ 3940 h 10000"/>
                  <a:gd name="connsiteX1817" fmla="*/ 3069 w 10354"/>
                  <a:gd name="connsiteY1817" fmla="*/ 3983 h 10000"/>
                  <a:gd name="connsiteX1818" fmla="*/ 3069 w 10354"/>
                  <a:gd name="connsiteY1818" fmla="*/ 4009 h 10000"/>
                  <a:gd name="connsiteX1819" fmla="*/ 3078 w 10354"/>
                  <a:gd name="connsiteY1819" fmla="*/ 4026 h 10000"/>
                  <a:gd name="connsiteX1820" fmla="*/ 3083 w 10354"/>
                  <a:gd name="connsiteY1820" fmla="*/ 4034 h 10000"/>
                  <a:gd name="connsiteX1821" fmla="*/ 3092 w 10354"/>
                  <a:gd name="connsiteY1821" fmla="*/ 4060 h 10000"/>
                  <a:gd name="connsiteX1822" fmla="*/ 3092 w 10354"/>
                  <a:gd name="connsiteY1822" fmla="*/ 4077 h 10000"/>
                  <a:gd name="connsiteX1823" fmla="*/ 3097 w 10354"/>
                  <a:gd name="connsiteY1823" fmla="*/ 4103 h 10000"/>
                  <a:gd name="connsiteX1824" fmla="*/ 3101 w 10354"/>
                  <a:gd name="connsiteY1824" fmla="*/ 4162 h 10000"/>
                  <a:gd name="connsiteX1825" fmla="*/ 3097 w 10354"/>
                  <a:gd name="connsiteY1825" fmla="*/ 4222 h 10000"/>
                  <a:gd name="connsiteX1826" fmla="*/ 3041 w 10354"/>
                  <a:gd name="connsiteY1826" fmla="*/ 4325 h 10000"/>
                  <a:gd name="connsiteX1827" fmla="*/ 3037 w 10354"/>
                  <a:gd name="connsiteY1827" fmla="*/ 4419 h 10000"/>
                  <a:gd name="connsiteX1828" fmla="*/ 3018 w 10354"/>
                  <a:gd name="connsiteY1828" fmla="*/ 4470 h 10000"/>
                  <a:gd name="connsiteX1829" fmla="*/ 2991 w 10354"/>
                  <a:gd name="connsiteY1829" fmla="*/ 4513 h 10000"/>
                  <a:gd name="connsiteX1830" fmla="*/ 2977 w 10354"/>
                  <a:gd name="connsiteY1830" fmla="*/ 4530 h 10000"/>
                  <a:gd name="connsiteX1831" fmla="*/ 2945 w 10354"/>
                  <a:gd name="connsiteY1831" fmla="*/ 4556 h 10000"/>
                  <a:gd name="connsiteX1832" fmla="*/ 2935 w 10354"/>
                  <a:gd name="connsiteY1832" fmla="*/ 4581 h 10000"/>
                  <a:gd name="connsiteX1833" fmla="*/ 2949 w 10354"/>
                  <a:gd name="connsiteY1833" fmla="*/ 4624 h 10000"/>
                  <a:gd name="connsiteX1834" fmla="*/ 2945 w 10354"/>
                  <a:gd name="connsiteY1834" fmla="*/ 4658 h 10000"/>
                  <a:gd name="connsiteX1835" fmla="*/ 2922 w 10354"/>
                  <a:gd name="connsiteY1835" fmla="*/ 4667 h 10000"/>
                  <a:gd name="connsiteX1836" fmla="*/ 2876 w 10354"/>
                  <a:gd name="connsiteY1836" fmla="*/ 4632 h 10000"/>
                  <a:gd name="connsiteX1837" fmla="*/ 2857 w 10354"/>
                  <a:gd name="connsiteY1837" fmla="*/ 4632 h 10000"/>
                  <a:gd name="connsiteX1838" fmla="*/ 2820 w 10354"/>
                  <a:gd name="connsiteY1838" fmla="*/ 4641 h 10000"/>
                  <a:gd name="connsiteX1839" fmla="*/ 2797 w 10354"/>
                  <a:gd name="connsiteY1839" fmla="*/ 4632 h 10000"/>
                  <a:gd name="connsiteX1840" fmla="*/ 2788 w 10354"/>
                  <a:gd name="connsiteY1840" fmla="*/ 4624 h 10000"/>
                  <a:gd name="connsiteX1841" fmla="*/ 2788 w 10354"/>
                  <a:gd name="connsiteY1841" fmla="*/ 4598 h 10000"/>
                  <a:gd name="connsiteX1842" fmla="*/ 2797 w 10354"/>
                  <a:gd name="connsiteY1842" fmla="*/ 4581 h 10000"/>
                  <a:gd name="connsiteX1843" fmla="*/ 2788 w 10354"/>
                  <a:gd name="connsiteY1843" fmla="*/ 4530 h 10000"/>
                  <a:gd name="connsiteX1844" fmla="*/ 2774 w 10354"/>
                  <a:gd name="connsiteY1844" fmla="*/ 4530 h 10000"/>
                  <a:gd name="connsiteX1845" fmla="*/ 2770 w 10354"/>
                  <a:gd name="connsiteY1845" fmla="*/ 4513 h 10000"/>
                  <a:gd name="connsiteX1846" fmla="*/ 2774 w 10354"/>
                  <a:gd name="connsiteY1846" fmla="*/ 4513 h 10000"/>
                  <a:gd name="connsiteX1847" fmla="*/ 2788 w 10354"/>
                  <a:gd name="connsiteY1847" fmla="*/ 4496 h 10000"/>
                  <a:gd name="connsiteX1848" fmla="*/ 2802 w 10354"/>
                  <a:gd name="connsiteY1848" fmla="*/ 4513 h 10000"/>
                  <a:gd name="connsiteX1849" fmla="*/ 2811 w 10354"/>
                  <a:gd name="connsiteY1849" fmla="*/ 4530 h 10000"/>
                  <a:gd name="connsiteX1850" fmla="*/ 2820 w 10354"/>
                  <a:gd name="connsiteY1850" fmla="*/ 4521 h 10000"/>
                  <a:gd name="connsiteX1851" fmla="*/ 2829 w 10354"/>
                  <a:gd name="connsiteY1851" fmla="*/ 4513 h 10000"/>
                  <a:gd name="connsiteX1852" fmla="*/ 2843 w 10354"/>
                  <a:gd name="connsiteY1852" fmla="*/ 4513 h 10000"/>
                  <a:gd name="connsiteX1853" fmla="*/ 2848 w 10354"/>
                  <a:gd name="connsiteY1853" fmla="*/ 4470 h 10000"/>
                  <a:gd name="connsiteX1854" fmla="*/ 2862 w 10354"/>
                  <a:gd name="connsiteY1854" fmla="*/ 4487 h 10000"/>
                  <a:gd name="connsiteX1855" fmla="*/ 2876 w 10354"/>
                  <a:gd name="connsiteY1855" fmla="*/ 4470 h 10000"/>
                  <a:gd name="connsiteX1856" fmla="*/ 2880 w 10354"/>
                  <a:gd name="connsiteY1856" fmla="*/ 4462 h 10000"/>
                  <a:gd name="connsiteX1857" fmla="*/ 2889 w 10354"/>
                  <a:gd name="connsiteY1857" fmla="*/ 4444 h 10000"/>
                  <a:gd name="connsiteX1858" fmla="*/ 2894 w 10354"/>
                  <a:gd name="connsiteY1858" fmla="*/ 4462 h 10000"/>
                  <a:gd name="connsiteX1859" fmla="*/ 2917 w 10354"/>
                  <a:gd name="connsiteY1859" fmla="*/ 4444 h 10000"/>
                  <a:gd name="connsiteX1860" fmla="*/ 2922 w 10354"/>
                  <a:gd name="connsiteY1860" fmla="*/ 4436 h 10000"/>
                  <a:gd name="connsiteX1861" fmla="*/ 2917 w 10354"/>
                  <a:gd name="connsiteY1861" fmla="*/ 4410 h 10000"/>
                  <a:gd name="connsiteX1862" fmla="*/ 2894 w 10354"/>
                  <a:gd name="connsiteY1862" fmla="*/ 4410 h 10000"/>
                  <a:gd name="connsiteX1863" fmla="*/ 2889 w 10354"/>
                  <a:gd name="connsiteY1863" fmla="*/ 4419 h 10000"/>
                  <a:gd name="connsiteX1864" fmla="*/ 2876 w 10354"/>
                  <a:gd name="connsiteY1864" fmla="*/ 4410 h 10000"/>
                  <a:gd name="connsiteX1865" fmla="*/ 2880 w 10354"/>
                  <a:gd name="connsiteY1865" fmla="*/ 4376 h 10000"/>
                  <a:gd name="connsiteX1866" fmla="*/ 2903 w 10354"/>
                  <a:gd name="connsiteY1866" fmla="*/ 4393 h 10000"/>
                  <a:gd name="connsiteX1867" fmla="*/ 2931 w 10354"/>
                  <a:gd name="connsiteY1867" fmla="*/ 4393 h 10000"/>
                  <a:gd name="connsiteX1868" fmla="*/ 2931 w 10354"/>
                  <a:gd name="connsiteY1868" fmla="*/ 4385 h 10000"/>
                  <a:gd name="connsiteX1869" fmla="*/ 2931 w 10354"/>
                  <a:gd name="connsiteY1869" fmla="*/ 4350 h 10000"/>
                  <a:gd name="connsiteX1870" fmla="*/ 2945 w 10354"/>
                  <a:gd name="connsiteY1870" fmla="*/ 4350 h 10000"/>
                  <a:gd name="connsiteX1871" fmla="*/ 2949 w 10354"/>
                  <a:gd name="connsiteY1871" fmla="*/ 4325 h 10000"/>
                  <a:gd name="connsiteX1872" fmla="*/ 2963 w 10354"/>
                  <a:gd name="connsiteY1872" fmla="*/ 4256 h 10000"/>
                  <a:gd name="connsiteX1873" fmla="*/ 2982 w 10354"/>
                  <a:gd name="connsiteY1873" fmla="*/ 4239 h 10000"/>
                  <a:gd name="connsiteX1874" fmla="*/ 2991 w 10354"/>
                  <a:gd name="connsiteY1874" fmla="*/ 4214 h 10000"/>
                  <a:gd name="connsiteX1875" fmla="*/ 2991 w 10354"/>
                  <a:gd name="connsiteY1875" fmla="*/ 4197 h 10000"/>
                  <a:gd name="connsiteX1876" fmla="*/ 2995 w 10354"/>
                  <a:gd name="connsiteY1876" fmla="*/ 4171 h 10000"/>
                  <a:gd name="connsiteX1877" fmla="*/ 2991 w 10354"/>
                  <a:gd name="connsiteY1877" fmla="*/ 4077 h 10000"/>
                  <a:gd name="connsiteX1878" fmla="*/ 2995 w 10354"/>
                  <a:gd name="connsiteY1878" fmla="*/ 4034 h 10000"/>
                  <a:gd name="connsiteX1879" fmla="*/ 3018 w 10354"/>
                  <a:gd name="connsiteY1879" fmla="*/ 3983 h 10000"/>
                  <a:gd name="connsiteX1880" fmla="*/ 3018 w 10354"/>
                  <a:gd name="connsiteY1880" fmla="*/ 3915 h 10000"/>
                  <a:gd name="connsiteX1881" fmla="*/ 2949 w 10354"/>
                  <a:gd name="connsiteY1881" fmla="*/ 3778 h 10000"/>
                  <a:gd name="connsiteX1882" fmla="*/ 2954 w 10354"/>
                  <a:gd name="connsiteY1882" fmla="*/ 3675 h 10000"/>
                  <a:gd name="connsiteX1883" fmla="*/ 2954 w 10354"/>
                  <a:gd name="connsiteY1883" fmla="*/ 3650 h 10000"/>
                  <a:gd name="connsiteX1884" fmla="*/ 2963 w 10354"/>
                  <a:gd name="connsiteY1884" fmla="*/ 3624 h 10000"/>
                  <a:gd name="connsiteX1885" fmla="*/ 2954 w 10354"/>
                  <a:gd name="connsiteY1885" fmla="*/ 3564 h 10000"/>
                  <a:gd name="connsiteX1886" fmla="*/ 2963 w 10354"/>
                  <a:gd name="connsiteY1886" fmla="*/ 3538 h 10000"/>
                  <a:gd name="connsiteX1887" fmla="*/ 2963 w 10354"/>
                  <a:gd name="connsiteY1887" fmla="*/ 3487 h 10000"/>
                  <a:gd name="connsiteX1888" fmla="*/ 2963 w 10354"/>
                  <a:gd name="connsiteY1888" fmla="*/ 3479 h 10000"/>
                  <a:gd name="connsiteX1889" fmla="*/ 2963 w 10354"/>
                  <a:gd name="connsiteY1889" fmla="*/ 3462 h 10000"/>
                  <a:gd name="connsiteX1890" fmla="*/ 2954 w 10354"/>
                  <a:gd name="connsiteY1890" fmla="*/ 3453 h 10000"/>
                  <a:gd name="connsiteX1891" fmla="*/ 2954 w 10354"/>
                  <a:gd name="connsiteY1891" fmla="*/ 3444 h 10000"/>
                  <a:gd name="connsiteX1892" fmla="*/ 2954 w 10354"/>
                  <a:gd name="connsiteY1892" fmla="*/ 3402 h 10000"/>
                  <a:gd name="connsiteX1893" fmla="*/ 2954 w 10354"/>
                  <a:gd name="connsiteY1893" fmla="*/ 3393 h 10000"/>
                  <a:gd name="connsiteX1894" fmla="*/ 2949 w 10354"/>
                  <a:gd name="connsiteY1894" fmla="*/ 3376 h 10000"/>
                  <a:gd name="connsiteX1895" fmla="*/ 2949 w 10354"/>
                  <a:gd name="connsiteY1895" fmla="*/ 3342 h 10000"/>
                  <a:gd name="connsiteX1896" fmla="*/ 2949 w 10354"/>
                  <a:gd name="connsiteY1896" fmla="*/ 3316 h 10000"/>
                  <a:gd name="connsiteX1897" fmla="*/ 2968 w 10354"/>
                  <a:gd name="connsiteY1897" fmla="*/ 3291 h 10000"/>
                  <a:gd name="connsiteX1898" fmla="*/ 2963 w 10354"/>
                  <a:gd name="connsiteY1898" fmla="*/ 3205 h 10000"/>
                  <a:gd name="connsiteX1899" fmla="*/ 2968 w 10354"/>
                  <a:gd name="connsiteY1899" fmla="*/ 3171 h 10000"/>
                  <a:gd name="connsiteX1900" fmla="*/ 2968 w 10354"/>
                  <a:gd name="connsiteY1900" fmla="*/ 3128 h 10000"/>
                  <a:gd name="connsiteX1901" fmla="*/ 2954 w 10354"/>
                  <a:gd name="connsiteY1901" fmla="*/ 3051 h 10000"/>
                  <a:gd name="connsiteX1902" fmla="*/ 2954 w 10354"/>
                  <a:gd name="connsiteY1902" fmla="*/ 3009 h 10000"/>
                  <a:gd name="connsiteX1903" fmla="*/ 2922 w 10354"/>
                  <a:gd name="connsiteY1903" fmla="*/ 2940 h 10000"/>
                  <a:gd name="connsiteX1904" fmla="*/ 2903 w 10354"/>
                  <a:gd name="connsiteY1904" fmla="*/ 2880 h 10000"/>
                  <a:gd name="connsiteX1905" fmla="*/ 2903 w 10354"/>
                  <a:gd name="connsiteY1905" fmla="*/ 2855 h 10000"/>
                  <a:gd name="connsiteX1906" fmla="*/ 2908 w 10354"/>
                  <a:gd name="connsiteY1906" fmla="*/ 2846 h 10000"/>
                  <a:gd name="connsiteX1907" fmla="*/ 2931 w 10354"/>
                  <a:gd name="connsiteY1907" fmla="*/ 2821 h 10000"/>
                  <a:gd name="connsiteX1908" fmla="*/ 2931 w 10354"/>
                  <a:gd name="connsiteY1908" fmla="*/ 2803 h 10000"/>
                  <a:gd name="connsiteX1909" fmla="*/ 2935 w 10354"/>
                  <a:gd name="connsiteY1909" fmla="*/ 2786 h 10000"/>
                  <a:gd name="connsiteX1910" fmla="*/ 2935 w 10354"/>
                  <a:gd name="connsiteY1910" fmla="*/ 2744 h 10000"/>
                  <a:gd name="connsiteX1911" fmla="*/ 2963 w 10354"/>
                  <a:gd name="connsiteY1911" fmla="*/ 2607 h 10000"/>
                  <a:gd name="connsiteX1912" fmla="*/ 2963 w 10354"/>
                  <a:gd name="connsiteY1912" fmla="*/ 2419 h 10000"/>
                  <a:gd name="connsiteX1913" fmla="*/ 2954 w 10354"/>
                  <a:gd name="connsiteY1913" fmla="*/ 2410 h 10000"/>
                  <a:gd name="connsiteX1914" fmla="*/ 2963 w 10354"/>
                  <a:gd name="connsiteY1914" fmla="*/ 2393 h 10000"/>
                  <a:gd name="connsiteX1915" fmla="*/ 2908 w 10354"/>
                  <a:gd name="connsiteY1915" fmla="*/ 2359 h 10000"/>
                  <a:gd name="connsiteX1916" fmla="*/ 2889 w 10354"/>
                  <a:gd name="connsiteY1916" fmla="*/ 2325 h 10000"/>
                  <a:gd name="connsiteX1917" fmla="*/ 2788 w 10354"/>
                  <a:gd name="connsiteY1917" fmla="*/ 2333 h 10000"/>
                  <a:gd name="connsiteX1918" fmla="*/ 2774 w 10354"/>
                  <a:gd name="connsiteY1918" fmla="*/ 2325 h 10000"/>
                  <a:gd name="connsiteX1919" fmla="*/ 2783 w 10354"/>
                  <a:gd name="connsiteY1919" fmla="*/ 2308 h 10000"/>
                  <a:gd name="connsiteX1920" fmla="*/ 2747 w 10354"/>
                  <a:gd name="connsiteY1920" fmla="*/ 2308 h 10000"/>
                  <a:gd name="connsiteX1921" fmla="*/ 2742 w 10354"/>
                  <a:gd name="connsiteY1921" fmla="*/ 2333 h 10000"/>
                  <a:gd name="connsiteX1922" fmla="*/ 2682 w 10354"/>
                  <a:gd name="connsiteY1922" fmla="*/ 2769 h 10000"/>
                  <a:gd name="connsiteX1923" fmla="*/ 2613 w 10354"/>
                  <a:gd name="connsiteY1923" fmla="*/ 2940 h 10000"/>
                  <a:gd name="connsiteX1924" fmla="*/ 2581 w 10354"/>
                  <a:gd name="connsiteY1924" fmla="*/ 2966 h 10000"/>
                  <a:gd name="connsiteX1925" fmla="*/ 2576 w 10354"/>
                  <a:gd name="connsiteY1925" fmla="*/ 3051 h 10000"/>
                  <a:gd name="connsiteX1926" fmla="*/ 2581 w 10354"/>
                  <a:gd name="connsiteY1926" fmla="*/ 3051 h 10000"/>
                  <a:gd name="connsiteX1927" fmla="*/ 2594 w 10354"/>
                  <a:gd name="connsiteY1927" fmla="*/ 3017 h 10000"/>
                  <a:gd name="connsiteX1928" fmla="*/ 2594 w 10354"/>
                  <a:gd name="connsiteY1928" fmla="*/ 3034 h 10000"/>
                  <a:gd name="connsiteX1929" fmla="*/ 2594 w 10354"/>
                  <a:gd name="connsiteY1929" fmla="*/ 3051 h 10000"/>
                  <a:gd name="connsiteX1930" fmla="*/ 2590 w 10354"/>
                  <a:gd name="connsiteY1930" fmla="*/ 3077 h 10000"/>
                  <a:gd name="connsiteX1931" fmla="*/ 2567 w 10354"/>
                  <a:gd name="connsiteY1931" fmla="*/ 3103 h 10000"/>
                  <a:gd name="connsiteX1932" fmla="*/ 2562 w 10354"/>
                  <a:gd name="connsiteY1932" fmla="*/ 3145 h 10000"/>
                  <a:gd name="connsiteX1933" fmla="*/ 2567 w 10354"/>
                  <a:gd name="connsiteY1933" fmla="*/ 3179 h 10000"/>
                  <a:gd name="connsiteX1934" fmla="*/ 2590 w 10354"/>
                  <a:gd name="connsiteY1934" fmla="*/ 3171 h 10000"/>
                  <a:gd name="connsiteX1935" fmla="*/ 2594 w 10354"/>
                  <a:gd name="connsiteY1935" fmla="*/ 3145 h 10000"/>
                  <a:gd name="connsiteX1936" fmla="*/ 2613 w 10354"/>
                  <a:gd name="connsiteY1936" fmla="*/ 3154 h 10000"/>
                  <a:gd name="connsiteX1937" fmla="*/ 2622 w 10354"/>
                  <a:gd name="connsiteY1937" fmla="*/ 3179 h 10000"/>
                  <a:gd name="connsiteX1938" fmla="*/ 2613 w 10354"/>
                  <a:gd name="connsiteY1938" fmla="*/ 3214 h 10000"/>
                  <a:gd name="connsiteX1939" fmla="*/ 2613 w 10354"/>
                  <a:gd name="connsiteY1939" fmla="*/ 3308 h 10000"/>
                  <a:gd name="connsiteX1940" fmla="*/ 2608 w 10354"/>
                  <a:gd name="connsiteY1940" fmla="*/ 3325 h 10000"/>
                  <a:gd name="connsiteX1941" fmla="*/ 2608 w 10354"/>
                  <a:gd name="connsiteY1941" fmla="*/ 3376 h 10000"/>
                  <a:gd name="connsiteX1942" fmla="*/ 2613 w 10354"/>
                  <a:gd name="connsiteY1942" fmla="*/ 3419 h 10000"/>
                  <a:gd name="connsiteX1943" fmla="*/ 2608 w 10354"/>
                  <a:gd name="connsiteY1943" fmla="*/ 3444 h 10000"/>
                  <a:gd name="connsiteX1944" fmla="*/ 2594 w 10354"/>
                  <a:gd name="connsiteY1944" fmla="*/ 3444 h 10000"/>
                  <a:gd name="connsiteX1945" fmla="*/ 2590 w 10354"/>
                  <a:gd name="connsiteY1945" fmla="*/ 3427 h 10000"/>
                  <a:gd name="connsiteX1946" fmla="*/ 2581 w 10354"/>
                  <a:gd name="connsiteY1946" fmla="*/ 3564 h 10000"/>
                  <a:gd name="connsiteX1947" fmla="*/ 2594 w 10354"/>
                  <a:gd name="connsiteY1947" fmla="*/ 3598 h 10000"/>
                  <a:gd name="connsiteX1948" fmla="*/ 2594 w 10354"/>
                  <a:gd name="connsiteY1948" fmla="*/ 3581 h 10000"/>
                  <a:gd name="connsiteX1949" fmla="*/ 2608 w 10354"/>
                  <a:gd name="connsiteY1949" fmla="*/ 3556 h 10000"/>
                  <a:gd name="connsiteX1950" fmla="*/ 2650 w 10354"/>
                  <a:gd name="connsiteY1950" fmla="*/ 3615 h 10000"/>
                  <a:gd name="connsiteX1951" fmla="*/ 2664 w 10354"/>
                  <a:gd name="connsiteY1951" fmla="*/ 3615 h 10000"/>
                  <a:gd name="connsiteX1952" fmla="*/ 2668 w 10354"/>
                  <a:gd name="connsiteY1952" fmla="*/ 3615 h 10000"/>
                  <a:gd name="connsiteX1953" fmla="*/ 2664 w 10354"/>
                  <a:gd name="connsiteY1953" fmla="*/ 3667 h 10000"/>
                  <a:gd name="connsiteX1954" fmla="*/ 2687 w 10354"/>
                  <a:gd name="connsiteY1954" fmla="*/ 3786 h 10000"/>
                  <a:gd name="connsiteX1955" fmla="*/ 2710 w 10354"/>
                  <a:gd name="connsiteY1955" fmla="*/ 3812 h 10000"/>
                  <a:gd name="connsiteX1956" fmla="*/ 2724 w 10354"/>
                  <a:gd name="connsiteY1956" fmla="*/ 3812 h 10000"/>
                  <a:gd name="connsiteX1957" fmla="*/ 2724 w 10354"/>
                  <a:gd name="connsiteY1957" fmla="*/ 3829 h 10000"/>
                  <a:gd name="connsiteX1958" fmla="*/ 2737 w 10354"/>
                  <a:gd name="connsiteY1958" fmla="*/ 3838 h 10000"/>
                  <a:gd name="connsiteX1959" fmla="*/ 2714 w 10354"/>
                  <a:gd name="connsiteY1959" fmla="*/ 3872 h 10000"/>
                  <a:gd name="connsiteX1960" fmla="*/ 2696 w 10354"/>
                  <a:gd name="connsiteY1960" fmla="*/ 4026 h 10000"/>
                  <a:gd name="connsiteX1961" fmla="*/ 2673 w 10354"/>
                  <a:gd name="connsiteY1961" fmla="*/ 4051 h 10000"/>
                  <a:gd name="connsiteX1962" fmla="*/ 2668 w 10354"/>
                  <a:gd name="connsiteY1962" fmla="*/ 4034 h 10000"/>
                  <a:gd name="connsiteX1963" fmla="*/ 2673 w 10354"/>
                  <a:gd name="connsiteY1963" fmla="*/ 4000 h 10000"/>
                  <a:gd name="connsiteX1964" fmla="*/ 2664 w 10354"/>
                  <a:gd name="connsiteY1964" fmla="*/ 3974 h 10000"/>
                  <a:gd name="connsiteX1965" fmla="*/ 2636 w 10354"/>
                  <a:gd name="connsiteY1965" fmla="*/ 3949 h 10000"/>
                  <a:gd name="connsiteX1966" fmla="*/ 2581 w 10354"/>
                  <a:gd name="connsiteY1966" fmla="*/ 3838 h 10000"/>
                  <a:gd name="connsiteX1967" fmla="*/ 2562 w 10354"/>
                  <a:gd name="connsiteY1967" fmla="*/ 3829 h 10000"/>
                  <a:gd name="connsiteX1968" fmla="*/ 2535 w 10354"/>
                  <a:gd name="connsiteY1968" fmla="*/ 3778 h 10000"/>
                  <a:gd name="connsiteX1969" fmla="*/ 2502 w 10354"/>
                  <a:gd name="connsiteY1969" fmla="*/ 3761 h 10000"/>
                  <a:gd name="connsiteX1970" fmla="*/ 2502 w 10354"/>
                  <a:gd name="connsiteY1970" fmla="*/ 3735 h 10000"/>
                  <a:gd name="connsiteX1971" fmla="*/ 2516 w 10354"/>
                  <a:gd name="connsiteY1971" fmla="*/ 3735 h 10000"/>
                  <a:gd name="connsiteX1972" fmla="*/ 2507 w 10354"/>
                  <a:gd name="connsiteY1972" fmla="*/ 3726 h 10000"/>
                  <a:gd name="connsiteX1973" fmla="*/ 2488 w 10354"/>
                  <a:gd name="connsiteY1973" fmla="*/ 3726 h 10000"/>
                  <a:gd name="connsiteX1974" fmla="*/ 2461 w 10354"/>
                  <a:gd name="connsiteY1974" fmla="*/ 3692 h 10000"/>
                  <a:gd name="connsiteX1975" fmla="*/ 2442 w 10354"/>
                  <a:gd name="connsiteY1975" fmla="*/ 3675 h 10000"/>
                  <a:gd name="connsiteX1976" fmla="*/ 2406 w 10354"/>
                  <a:gd name="connsiteY1976" fmla="*/ 3598 h 10000"/>
                  <a:gd name="connsiteX1977" fmla="*/ 2346 w 10354"/>
                  <a:gd name="connsiteY1977" fmla="*/ 3564 h 10000"/>
                  <a:gd name="connsiteX1978" fmla="*/ 2341 w 10354"/>
                  <a:gd name="connsiteY1978" fmla="*/ 3564 h 10000"/>
                  <a:gd name="connsiteX1979" fmla="*/ 2313 w 10354"/>
                  <a:gd name="connsiteY1979" fmla="*/ 3530 h 10000"/>
                  <a:gd name="connsiteX1980" fmla="*/ 2235 w 10354"/>
                  <a:gd name="connsiteY1980" fmla="*/ 3530 h 10000"/>
                  <a:gd name="connsiteX1981" fmla="*/ 2226 w 10354"/>
                  <a:gd name="connsiteY1981" fmla="*/ 3513 h 10000"/>
                  <a:gd name="connsiteX1982" fmla="*/ 2207 w 10354"/>
                  <a:gd name="connsiteY1982" fmla="*/ 3504 h 10000"/>
                  <a:gd name="connsiteX1983" fmla="*/ 2194 w 10354"/>
                  <a:gd name="connsiteY1983" fmla="*/ 3504 h 10000"/>
                  <a:gd name="connsiteX1984" fmla="*/ 2189 w 10354"/>
                  <a:gd name="connsiteY1984" fmla="*/ 3504 h 10000"/>
                  <a:gd name="connsiteX1985" fmla="*/ 2189 w 10354"/>
                  <a:gd name="connsiteY1985" fmla="*/ 3530 h 10000"/>
                  <a:gd name="connsiteX1986" fmla="*/ 2180 w 10354"/>
                  <a:gd name="connsiteY1986" fmla="*/ 3538 h 10000"/>
                  <a:gd name="connsiteX1987" fmla="*/ 2152 w 10354"/>
                  <a:gd name="connsiteY1987" fmla="*/ 3581 h 10000"/>
                  <a:gd name="connsiteX1988" fmla="*/ 2161 w 10354"/>
                  <a:gd name="connsiteY1988" fmla="*/ 3598 h 10000"/>
                  <a:gd name="connsiteX1989" fmla="*/ 2194 w 10354"/>
                  <a:gd name="connsiteY1989" fmla="*/ 3752 h 10000"/>
                  <a:gd name="connsiteX1990" fmla="*/ 2194 w 10354"/>
                  <a:gd name="connsiteY1990" fmla="*/ 3735 h 10000"/>
                  <a:gd name="connsiteX1991" fmla="*/ 2198 w 10354"/>
                  <a:gd name="connsiteY1991" fmla="*/ 3735 h 10000"/>
                  <a:gd name="connsiteX1992" fmla="*/ 2189 w 10354"/>
                  <a:gd name="connsiteY1992" fmla="*/ 3838 h 10000"/>
                  <a:gd name="connsiteX1993" fmla="*/ 2166 w 10354"/>
                  <a:gd name="connsiteY1993" fmla="*/ 3889 h 10000"/>
                  <a:gd name="connsiteX1994" fmla="*/ 2124 w 10354"/>
                  <a:gd name="connsiteY1994" fmla="*/ 3889 h 10000"/>
                  <a:gd name="connsiteX1995" fmla="*/ 2124 w 10354"/>
                  <a:gd name="connsiteY1995" fmla="*/ 3923 h 10000"/>
                  <a:gd name="connsiteX1996" fmla="*/ 2134 w 10354"/>
                  <a:gd name="connsiteY1996" fmla="*/ 3940 h 10000"/>
                  <a:gd name="connsiteX1997" fmla="*/ 2134 w 10354"/>
                  <a:gd name="connsiteY1997" fmla="*/ 3966 h 10000"/>
                  <a:gd name="connsiteX1998" fmla="*/ 2120 w 10354"/>
                  <a:gd name="connsiteY1998" fmla="*/ 4000 h 10000"/>
                  <a:gd name="connsiteX1999" fmla="*/ 2106 w 10354"/>
                  <a:gd name="connsiteY1999" fmla="*/ 4009 h 10000"/>
                  <a:gd name="connsiteX2000" fmla="*/ 2088 w 10354"/>
                  <a:gd name="connsiteY2000" fmla="*/ 4000 h 10000"/>
                  <a:gd name="connsiteX2001" fmla="*/ 2074 w 10354"/>
                  <a:gd name="connsiteY2001" fmla="*/ 3974 h 10000"/>
                  <a:gd name="connsiteX2002" fmla="*/ 2074 w 10354"/>
                  <a:gd name="connsiteY2002" fmla="*/ 3940 h 10000"/>
                  <a:gd name="connsiteX2003" fmla="*/ 2078 w 10354"/>
                  <a:gd name="connsiteY2003" fmla="*/ 3915 h 10000"/>
                  <a:gd name="connsiteX2004" fmla="*/ 2088 w 10354"/>
                  <a:gd name="connsiteY2004" fmla="*/ 3889 h 10000"/>
                  <a:gd name="connsiteX2005" fmla="*/ 2101 w 10354"/>
                  <a:gd name="connsiteY2005" fmla="*/ 3872 h 10000"/>
                  <a:gd name="connsiteX2006" fmla="*/ 2074 w 10354"/>
                  <a:gd name="connsiteY2006" fmla="*/ 3812 h 10000"/>
                  <a:gd name="connsiteX2007" fmla="*/ 2074 w 10354"/>
                  <a:gd name="connsiteY2007" fmla="*/ 3786 h 10000"/>
                  <a:gd name="connsiteX2008" fmla="*/ 2060 w 10354"/>
                  <a:gd name="connsiteY2008" fmla="*/ 3786 h 10000"/>
                  <a:gd name="connsiteX2009" fmla="*/ 2014 w 10354"/>
                  <a:gd name="connsiteY2009" fmla="*/ 3829 h 10000"/>
                  <a:gd name="connsiteX2010" fmla="*/ 2000 w 10354"/>
                  <a:gd name="connsiteY2010" fmla="*/ 3863 h 10000"/>
                  <a:gd name="connsiteX2011" fmla="*/ 1986 w 10354"/>
                  <a:gd name="connsiteY2011" fmla="*/ 3872 h 10000"/>
                  <a:gd name="connsiteX2012" fmla="*/ 1959 w 10354"/>
                  <a:gd name="connsiteY2012" fmla="*/ 3940 h 10000"/>
                  <a:gd name="connsiteX2013" fmla="*/ 1945 w 10354"/>
                  <a:gd name="connsiteY2013" fmla="*/ 3949 h 10000"/>
                  <a:gd name="connsiteX2014" fmla="*/ 1940 w 10354"/>
                  <a:gd name="connsiteY2014" fmla="*/ 3923 h 10000"/>
                  <a:gd name="connsiteX2015" fmla="*/ 1917 w 10354"/>
                  <a:gd name="connsiteY2015" fmla="*/ 3915 h 10000"/>
                  <a:gd name="connsiteX2016" fmla="*/ 1899 w 10354"/>
                  <a:gd name="connsiteY2016" fmla="*/ 3923 h 10000"/>
                  <a:gd name="connsiteX2017" fmla="*/ 1880 w 10354"/>
                  <a:gd name="connsiteY2017" fmla="*/ 3915 h 10000"/>
                  <a:gd name="connsiteX2018" fmla="*/ 1853 w 10354"/>
                  <a:gd name="connsiteY2018" fmla="*/ 3940 h 10000"/>
                  <a:gd name="connsiteX2019" fmla="*/ 1839 w 10354"/>
                  <a:gd name="connsiteY2019" fmla="*/ 3940 h 10000"/>
                  <a:gd name="connsiteX2020" fmla="*/ 1806 w 10354"/>
                  <a:gd name="connsiteY2020" fmla="*/ 3983 h 10000"/>
                  <a:gd name="connsiteX2021" fmla="*/ 1806 w 10354"/>
                  <a:gd name="connsiteY2021" fmla="*/ 4000 h 10000"/>
                  <a:gd name="connsiteX2022" fmla="*/ 1797 w 10354"/>
                  <a:gd name="connsiteY2022" fmla="*/ 4077 h 10000"/>
                  <a:gd name="connsiteX2023" fmla="*/ 1783 w 10354"/>
                  <a:gd name="connsiteY2023" fmla="*/ 4077 h 10000"/>
                  <a:gd name="connsiteX2024" fmla="*/ 1779 w 10354"/>
                  <a:gd name="connsiteY2024" fmla="*/ 4051 h 10000"/>
                  <a:gd name="connsiteX2025" fmla="*/ 1765 w 10354"/>
                  <a:gd name="connsiteY2025" fmla="*/ 4026 h 10000"/>
                  <a:gd name="connsiteX2026" fmla="*/ 1751 w 10354"/>
                  <a:gd name="connsiteY2026" fmla="*/ 4051 h 10000"/>
                  <a:gd name="connsiteX2027" fmla="*/ 1737 w 10354"/>
                  <a:gd name="connsiteY2027" fmla="*/ 4009 h 10000"/>
                  <a:gd name="connsiteX2028" fmla="*/ 1737 w 10354"/>
                  <a:gd name="connsiteY2028" fmla="*/ 3966 h 10000"/>
                  <a:gd name="connsiteX2029" fmla="*/ 1733 w 10354"/>
                  <a:gd name="connsiteY2029" fmla="*/ 3940 h 10000"/>
                  <a:gd name="connsiteX2030" fmla="*/ 1733 w 10354"/>
                  <a:gd name="connsiteY2030" fmla="*/ 3923 h 10000"/>
                  <a:gd name="connsiteX2031" fmla="*/ 1747 w 10354"/>
                  <a:gd name="connsiteY2031" fmla="*/ 3889 h 10000"/>
                  <a:gd name="connsiteX2032" fmla="*/ 1747 w 10354"/>
                  <a:gd name="connsiteY2032" fmla="*/ 3863 h 10000"/>
                  <a:gd name="connsiteX2033" fmla="*/ 1737 w 10354"/>
                  <a:gd name="connsiteY2033" fmla="*/ 3838 h 10000"/>
                  <a:gd name="connsiteX2034" fmla="*/ 1733 w 10354"/>
                  <a:gd name="connsiteY2034" fmla="*/ 3829 h 10000"/>
                  <a:gd name="connsiteX2035" fmla="*/ 1733 w 10354"/>
                  <a:gd name="connsiteY2035" fmla="*/ 3846 h 10000"/>
                  <a:gd name="connsiteX2036" fmla="*/ 1724 w 10354"/>
                  <a:gd name="connsiteY2036" fmla="*/ 3846 h 10000"/>
                  <a:gd name="connsiteX2037" fmla="*/ 1724 w 10354"/>
                  <a:gd name="connsiteY2037" fmla="*/ 3829 h 10000"/>
                  <a:gd name="connsiteX2038" fmla="*/ 1737 w 10354"/>
                  <a:gd name="connsiteY2038" fmla="*/ 3812 h 10000"/>
                  <a:gd name="connsiteX2039" fmla="*/ 1765 w 10354"/>
                  <a:gd name="connsiteY2039" fmla="*/ 3812 h 10000"/>
                  <a:gd name="connsiteX2040" fmla="*/ 1779 w 10354"/>
                  <a:gd name="connsiteY2040" fmla="*/ 3786 h 10000"/>
                  <a:gd name="connsiteX2041" fmla="*/ 1779 w 10354"/>
                  <a:gd name="connsiteY2041" fmla="*/ 3786 h 10000"/>
                  <a:gd name="connsiteX2042" fmla="*/ 1751 w 10354"/>
                  <a:gd name="connsiteY2042" fmla="*/ 3803 h 10000"/>
                  <a:gd name="connsiteX2043" fmla="*/ 1747 w 10354"/>
                  <a:gd name="connsiteY2043" fmla="*/ 3803 h 10000"/>
                  <a:gd name="connsiteX2044" fmla="*/ 1724 w 10354"/>
                  <a:gd name="connsiteY2044" fmla="*/ 3803 h 10000"/>
                  <a:gd name="connsiteX2045" fmla="*/ 1700 w 10354"/>
                  <a:gd name="connsiteY2045" fmla="*/ 3829 h 10000"/>
                  <a:gd name="connsiteX2046" fmla="*/ 1705 w 10354"/>
                  <a:gd name="connsiteY2046" fmla="*/ 3846 h 10000"/>
                  <a:gd name="connsiteX2047" fmla="*/ 1691 w 10354"/>
                  <a:gd name="connsiteY2047" fmla="*/ 3846 h 10000"/>
                  <a:gd name="connsiteX2048" fmla="*/ 1691 w 10354"/>
                  <a:gd name="connsiteY2048" fmla="*/ 3863 h 10000"/>
                  <a:gd name="connsiteX2049" fmla="*/ 1691 w 10354"/>
                  <a:gd name="connsiteY2049" fmla="*/ 3915 h 10000"/>
                  <a:gd name="connsiteX2050" fmla="*/ 1677 w 10354"/>
                  <a:gd name="connsiteY2050" fmla="*/ 3923 h 10000"/>
                  <a:gd name="connsiteX2051" fmla="*/ 1673 w 10354"/>
                  <a:gd name="connsiteY2051" fmla="*/ 3915 h 10000"/>
                  <a:gd name="connsiteX2052" fmla="*/ 1664 w 10354"/>
                  <a:gd name="connsiteY2052" fmla="*/ 3889 h 10000"/>
                  <a:gd name="connsiteX2053" fmla="*/ 1673 w 10354"/>
                  <a:gd name="connsiteY2053" fmla="*/ 3872 h 10000"/>
                  <a:gd name="connsiteX2054" fmla="*/ 1664 w 10354"/>
                  <a:gd name="connsiteY2054" fmla="*/ 3872 h 10000"/>
                  <a:gd name="connsiteX2055" fmla="*/ 1636 w 10354"/>
                  <a:gd name="connsiteY2055" fmla="*/ 3923 h 10000"/>
                  <a:gd name="connsiteX2056" fmla="*/ 1645 w 10354"/>
                  <a:gd name="connsiteY2056" fmla="*/ 3923 h 10000"/>
                  <a:gd name="connsiteX2057" fmla="*/ 1650 w 10354"/>
                  <a:gd name="connsiteY2057" fmla="*/ 3949 h 10000"/>
                  <a:gd name="connsiteX2058" fmla="*/ 1650 w 10354"/>
                  <a:gd name="connsiteY2058" fmla="*/ 3983 h 10000"/>
                  <a:gd name="connsiteX2059" fmla="*/ 1636 w 10354"/>
                  <a:gd name="connsiteY2059" fmla="*/ 4000 h 10000"/>
                  <a:gd name="connsiteX2060" fmla="*/ 1631 w 10354"/>
                  <a:gd name="connsiteY2060" fmla="*/ 4009 h 10000"/>
                  <a:gd name="connsiteX2061" fmla="*/ 1618 w 10354"/>
                  <a:gd name="connsiteY2061" fmla="*/ 3949 h 10000"/>
                  <a:gd name="connsiteX2062" fmla="*/ 1585 w 10354"/>
                  <a:gd name="connsiteY2062" fmla="*/ 3966 h 10000"/>
                  <a:gd name="connsiteX2063" fmla="*/ 1590 w 10354"/>
                  <a:gd name="connsiteY2063" fmla="*/ 3974 h 10000"/>
                  <a:gd name="connsiteX2064" fmla="*/ 1544 w 10354"/>
                  <a:gd name="connsiteY2064" fmla="*/ 4009 h 10000"/>
                  <a:gd name="connsiteX2065" fmla="*/ 1539 w 10354"/>
                  <a:gd name="connsiteY2065" fmla="*/ 4009 h 10000"/>
                  <a:gd name="connsiteX2066" fmla="*/ 1410 w 10354"/>
                  <a:gd name="connsiteY2066" fmla="*/ 4188 h 10000"/>
                  <a:gd name="connsiteX2067" fmla="*/ 1406 w 10354"/>
                  <a:gd name="connsiteY2067" fmla="*/ 4171 h 10000"/>
                  <a:gd name="connsiteX2068" fmla="*/ 1396 w 10354"/>
                  <a:gd name="connsiteY2068" fmla="*/ 4214 h 10000"/>
                  <a:gd name="connsiteX2069" fmla="*/ 1406 w 10354"/>
                  <a:gd name="connsiteY2069" fmla="*/ 4222 h 10000"/>
                  <a:gd name="connsiteX2070" fmla="*/ 1392 w 10354"/>
                  <a:gd name="connsiteY2070" fmla="*/ 4239 h 10000"/>
                  <a:gd name="connsiteX2071" fmla="*/ 1369 w 10354"/>
                  <a:gd name="connsiteY2071" fmla="*/ 4248 h 10000"/>
                  <a:gd name="connsiteX2072" fmla="*/ 1355 w 10354"/>
                  <a:gd name="connsiteY2072" fmla="*/ 4256 h 10000"/>
                  <a:gd name="connsiteX2073" fmla="*/ 1350 w 10354"/>
                  <a:gd name="connsiteY2073" fmla="*/ 4248 h 10000"/>
                  <a:gd name="connsiteX2074" fmla="*/ 1332 w 10354"/>
                  <a:gd name="connsiteY2074" fmla="*/ 4376 h 10000"/>
                  <a:gd name="connsiteX2075" fmla="*/ 1332 w 10354"/>
                  <a:gd name="connsiteY2075" fmla="*/ 4436 h 10000"/>
                  <a:gd name="connsiteX2076" fmla="*/ 1323 w 10354"/>
                  <a:gd name="connsiteY2076" fmla="*/ 4462 h 10000"/>
                  <a:gd name="connsiteX2077" fmla="*/ 1304 w 10354"/>
                  <a:gd name="connsiteY2077" fmla="*/ 4487 h 10000"/>
                  <a:gd name="connsiteX2078" fmla="*/ 1290 w 10354"/>
                  <a:gd name="connsiteY2078" fmla="*/ 4470 h 10000"/>
                  <a:gd name="connsiteX2079" fmla="*/ 1263 w 10354"/>
                  <a:gd name="connsiteY2079" fmla="*/ 4496 h 10000"/>
                  <a:gd name="connsiteX2080" fmla="*/ 1258 w 10354"/>
                  <a:gd name="connsiteY2080" fmla="*/ 4547 h 10000"/>
                  <a:gd name="connsiteX2081" fmla="*/ 1249 w 10354"/>
                  <a:gd name="connsiteY2081" fmla="*/ 4487 h 10000"/>
                  <a:gd name="connsiteX2082" fmla="*/ 1235 w 10354"/>
                  <a:gd name="connsiteY2082" fmla="*/ 4496 h 10000"/>
                  <a:gd name="connsiteX2083" fmla="*/ 1221 w 10354"/>
                  <a:gd name="connsiteY2083" fmla="*/ 4496 h 10000"/>
                  <a:gd name="connsiteX2084" fmla="*/ 1217 w 10354"/>
                  <a:gd name="connsiteY2084" fmla="*/ 4487 h 10000"/>
                  <a:gd name="connsiteX2085" fmla="*/ 1198 w 10354"/>
                  <a:gd name="connsiteY2085" fmla="*/ 4410 h 10000"/>
                  <a:gd name="connsiteX2086" fmla="*/ 1157 w 10354"/>
                  <a:gd name="connsiteY2086" fmla="*/ 4333 h 10000"/>
                  <a:gd name="connsiteX2087" fmla="*/ 1147 w 10354"/>
                  <a:gd name="connsiteY2087" fmla="*/ 4299 h 10000"/>
                  <a:gd name="connsiteX2088" fmla="*/ 1147 w 10354"/>
                  <a:gd name="connsiteY2088" fmla="*/ 4274 h 10000"/>
                  <a:gd name="connsiteX2089" fmla="*/ 1161 w 10354"/>
                  <a:gd name="connsiteY2089" fmla="*/ 4256 h 10000"/>
                  <a:gd name="connsiteX2090" fmla="*/ 1171 w 10354"/>
                  <a:gd name="connsiteY2090" fmla="*/ 4248 h 10000"/>
                  <a:gd name="connsiteX2091" fmla="*/ 1175 w 10354"/>
                  <a:gd name="connsiteY2091" fmla="*/ 4214 h 10000"/>
                  <a:gd name="connsiteX2092" fmla="*/ 1263 w 10354"/>
                  <a:gd name="connsiteY2092" fmla="*/ 4171 h 10000"/>
                  <a:gd name="connsiteX2093" fmla="*/ 1249 w 10354"/>
                  <a:gd name="connsiteY2093" fmla="*/ 4137 h 10000"/>
                  <a:gd name="connsiteX2094" fmla="*/ 1244 w 10354"/>
                  <a:gd name="connsiteY2094" fmla="*/ 4060 h 10000"/>
                  <a:gd name="connsiteX2095" fmla="*/ 1230 w 10354"/>
                  <a:gd name="connsiteY2095" fmla="*/ 4077 h 10000"/>
                  <a:gd name="connsiteX2096" fmla="*/ 1221 w 10354"/>
                  <a:gd name="connsiteY2096" fmla="*/ 4026 h 10000"/>
                  <a:gd name="connsiteX2097" fmla="*/ 1217 w 10354"/>
                  <a:gd name="connsiteY2097" fmla="*/ 4026 h 10000"/>
                  <a:gd name="connsiteX2098" fmla="*/ 1212 w 10354"/>
                  <a:gd name="connsiteY2098" fmla="*/ 3983 h 10000"/>
                  <a:gd name="connsiteX2099" fmla="*/ 1203 w 10354"/>
                  <a:gd name="connsiteY2099" fmla="*/ 3966 h 10000"/>
                  <a:gd name="connsiteX2100" fmla="*/ 1171 w 10354"/>
                  <a:gd name="connsiteY2100" fmla="*/ 3949 h 10000"/>
                  <a:gd name="connsiteX2101" fmla="*/ 1111 w 10354"/>
                  <a:gd name="connsiteY2101" fmla="*/ 3940 h 10000"/>
                  <a:gd name="connsiteX2102" fmla="*/ 1097 w 10354"/>
                  <a:gd name="connsiteY2102" fmla="*/ 3949 h 10000"/>
                  <a:gd name="connsiteX2103" fmla="*/ 1037 w 10354"/>
                  <a:gd name="connsiteY2103" fmla="*/ 3897 h 10000"/>
                  <a:gd name="connsiteX2104" fmla="*/ 1041 w 10354"/>
                  <a:gd name="connsiteY2104" fmla="*/ 3923 h 10000"/>
                  <a:gd name="connsiteX2105" fmla="*/ 1097 w 10354"/>
                  <a:gd name="connsiteY2105" fmla="*/ 4009 h 10000"/>
                  <a:gd name="connsiteX2106" fmla="*/ 1097 w 10354"/>
                  <a:gd name="connsiteY2106" fmla="*/ 4120 h 10000"/>
                  <a:gd name="connsiteX2107" fmla="*/ 1097 w 10354"/>
                  <a:gd name="connsiteY2107" fmla="*/ 4162 h 10000"/>
                  <a:gd name="connsiteX2108" fmla="*/ 1097 w 10354"/>
                  <a:gd name="connsiteY2108" fmla="*/ 4197 h 10000"/>
                  <a:gd name="connsiteX2109" fmla="*/ 1074 w 10354"/>
                  <a:gd name="connsiteY2109" fmla="*/ 4333 h 10000"/>
                  <a:gd name="connsiteX2110" fmla="*/ 1074 w 10354"/>
                  <a:gd name="connsiteY2110" fmla="*/ 4376 h 10000"/>
                  <a:gd name="connsiteX2111" fmla="*/ 1083 w 10354"/>
                  <a:gd name="connsiteY2111" fmla="*/ 4385 h 10000"/>
                  <a:gd name="connsiteX2112" fmla="*/ 1097 w 10354"/>
                  <a:gd name="connsiteY2112" fmla="*/ 4385 h 10000"/>
                  <a:gd name="connsiteX2113" fmla="*/ 1111 w 10354"/>
                  <a:gd name="connsiteY2113" fmla="*/ 4410 h 10000"/>
                  <a:gd name="connsiteX2114" fmla="*/ 1124 w 10354"/>
                  <a:gd name="connsiteY2114" fmla="*/ 4444 h 10000"/>
                  <a:gd name="connsiteX2115" fmla="*/ 1124 w 10354"/>
                  <a:gd name="connsiteY2115" fmla="*/ 4470 h 10000"/>
                  <a:gd name="connsiteX2116" fmla="*/ 1115 w 10354"/>
                  <a:gd name="connsiteY2116" fmla="*/ 4513 h 10000"/>
                  <a:gd name="connsiteX2117" fmla="*/ 1115 w 10354"/>
                  <a:gd name="connsiteY2117" fmla="*/ 4530 h 10000"/>
                  <a:gd name="connsiteX2118" fmla="*/ 1115 w 10354"/>
                  <a:gd name="connsiteY2118" fmla="*/ 4573 h 10000"/>
                  <a:gd name="connsiteX2119" fmla="*/ 1101 w 10354"/>
                  <a:gd name="connsiteY2119" fmla="*/ 4607 h 10000"/>
                  <a:gd name="connsiteX2120" fmla="*/ 1097 w 10354"/>
                  <a:gd name="connsiteY2120" fmla="*/ 4658 h 10000"/>
                  <a:gd name="connsiteX2121" fmla="*/ 1101 w 10354"/>
                  <a:gd name="connsiteY2121" fmla="*/ 4692 h 10000"/>
                  <a:gd name="connsiteX2122" fmla="*/ 1097 w 10354"/>
                  <a:gd name="connsiteY2122" fmla="*/ 4778 h 10000"/>
                  <a:gd name="connsiteX2123" fmla="*/ 1083 w 10354"/>
                  <a:gd name="connsiteY2123" fmla="*/ 4744 h 10000"/>
                  <a:gd name="connsiteX2124" fmla="*/ 1083 w 10354"/>
                  <a:gd name="connsiteY2124" fmla="*/ 4718 h 10000"/>
                  <a:gd name="connsiteX2125" fmla="*/ 1074 w 10354"/>
                  <a:gd name="connsiteY2125" fmla="*/ 4692 h 10000"/>
                  <a:gd name="connsiteX2126" fmla="*/ 1065 w 10354"/>
                  <a:gd name="connsiteY2126" fmla="*/ 4692 h 10000"/>
                  <a:gd name="connsiteX2127" fmla="*/ 1051 w 10354"/>
                  <a:gd name="connsiteY2127" fmla="*/ 4718 h 10000"/>
                  <a:gd name="connsiteX2128" fmla="*/ 1055 w 10354"/>
                  <a:gd name="connsiteY2128" fmla="*/ 4692 h 10000"/>
                  <a:gd name="connsiteX2129" fmla="*/ 1055 w 10354"/>
                  <a:gd name="connsiteY2129" fmla="*/ 4667 h 10000"/>
                  <a:gd name="connsiteX2130" fmla="*/ 1028 w 10354"/>
                  <a:gd name="connsiteY2130" fmla="*/ 4624 h 10000"/>
                  <a:gd name="connsiteX2131" fmla="*/ 1005 w 10354"/>
                  <a:gd name="connsiteY2131" fmla="*/ 4624 h 10000"/>
                  <a:gd name="connsiteX2132" fmla="*/ 977 w 10354"/>
                  <a:gd name="connsiteY2132" fmla="*/ 4581 h 10000"/>
                  <a:gd name="connsiteX2133" fmla="*/ 963 w 10354"/>
                  <a:gd name="connsiteY2133" fmla="*/ 4607 h 10000"/>
                  <a:gd name="connsiteX2134" fmla="*/ 963 w 10354"/>
                  <a:gd name="connsiteY2134" fmla="*/ 4632 h 10000"/>
                  <a:gd name="connsiteX2135" fmla="*/ 917 w 10354"/>
                  <a:gd name="connsiteY2135" fmla="*/ 4718 h 10000"/>
                  <a:gd name="connsiteX2136" fmla="*/ 889 w 10354"/>
                  <a:gd name="connsiteY2136" fmla="*/ 4744 h 10000"/>
                  <a:gd name="connsiteX2137" fmla="*/ 880 w 10354"/>
                  <a:gd name="connsiteY2137" fmla="*/ 4744 h 10000"/>
                  <a:gd name="connsiteX2138" fmla="*/ 862 w 10354"/>
                  <a:gd name="connsiteY2138" fmla="*/ 4769 h 10000"/>
                  <a:gd name="connsiteX2139" fmla="*/ 857 w 10354"/>
                  <a:gd name="connsiteY2139" fmla="*/ 4795 h 10000"/>
                  <a:gd name="connsiteX2140" fmla="*/ 829 w 10354"/>
                  <a:gd name="connsiteY2140" fmla="*/ 4846 h 10000"/>
                  <a:gd name="connsiteX2141" fmla="*/ 816 w 10354"/>
                  <a:gd name="connsiteY2141" fmla="*/ 4855 h 10000"/>
                  <a:gd name="connsiteX2142" fmla="*/ 816 w 10354"/>
                  <a:gd name="connsiteY2142" fmla="*/ 4940 h 10000"/>
                  <a:gd name="connsiteX2143" fmla="*/ 880 w 10354"/>
                  <a:gd name="connsiteY2143" fmla="*/ 5179 h 10000"/>
                  <a:gd name="connsiteX2144" fmla="*/ 880 w 10354"/>
                  <a:gd name="connsiteY2144" fmla="*/ 5188 h 10000"/>
                  <a:gd name="connsiteX2145" fmla="*/ 862 w 10354"/>
                  <a:gd name="connsiteY2145" fmla="*/ 5171 h 10000"/>
                  <a:gd name="connsiteX2146" fmla="*/ 857 w 10354"/>
                  <a:gd name="connsiteY2146" fmla="*/ 5171 h 10000"/>
                  <a:gd name="connsiteX2147" fmla="*/ 820 w 10354"/>
                  <a:gd name="connsiteY2147" fmla="*/ 5145 h 10000"/>
                  <a:gd name="connsiteX2148" fmla="*/ 820 w 10354"/>
                  <a:gd name="connsiteY2148" fmla="*/ 5154 h 10000"/>
                  <a:gd name="connsiteX2149" fmla="*/ 816 w 10354"/>
                  <a:gd name="connsiteY2149" fmla="*/ 5171 h 10000"/>
                  <a:gd name="connsiteX2150" fmla="*/ 783 w 10354"/>
                  <a:gd name="connsiteY2150" fmla="*/ 5145 h 10000"/>
                  <a:gd name="connsiteX2151" fmla="*/ 756 w 10354"/>
                  <a:gd name="connsiteY2151" fmla="*/ 5103 h 10000"/>
                  <a:gd name="connsiteX2152" fmla="*/ 742 w 10354"/>
                  <a:gd name="connsiteY2152" fmla="*/ 5103 h 10000"/>
                  <a:gd name="connsiteX2153" fmla="*/ 728 w 10354"/>
                  <a:gd name="connsiteY2153" fmla="*/ 5094 h 10000"/>
                  <a:gd name="connsiteX2154" fmla="*/ 710 w 10354"/>
                  <a:gd name="connsiteY2154" fmla="*/ 5120 h 10000"/>
                  <a:gd name="connsiteX2155" fmla="*/ 700 w 10354"/>
                  <a:gd name="connsiteY2155" fmla="*/ 5145 h 10000"/>
                  <a:gd name="connsiteX2156" fmla="*/ 696 w 10354"/>
                  <a:gd name="connsiteY2156" fmla="*/ 5103 h 10000"/>
                  <a:gd name="connsiteX2157" fmla="*/ 714 w 10354"/>
                  <a:gd name="connsiteY2157" fmla="*/ 5077 h 10000"/>
                  <a:gd name="connsiteX2158" fmla="*/ 682 w 10354"/>
                  <a:gd name="connsiteY2158" fmla="*/ 5068 h 10000"/>
                  <a:gd name="connsiteX2159" fmla="*/ 673 w 10354"/>
                  <a:gd name="connsiteY2159" fmla="*/ 5034 h 10000"/>
                  <a:gd name="connsiteX2160" fmla="*/ 636 w 10354"/>
                  <a:gd name="connsiteY2160" fmla="*/ 4991 h 10000"/>
                  <a:gd name="connsiteX2161" fmla="*/ 622 w 10354"/>
                  <a:gd name="connsiteY2161" fmla="*/ 4983 h 10000"/>
                  <a:gd name="connsiteX2162" fmla="*/ 622 w 10354"/>
                  <a:gd name="connsiteY2162" fmla="*/ 5034 h 10000"/>
                  <a:gd name="connsiteX2163" fmla="*/ 608 w 10354"/>
                  <a:gd name="connsiteY2163" fmla="*/ 5051 h 10000"/>
                  <a:gd name="connsiteX2164" fmla="*/ 594 w 10354"/>
                  <a:gd name="connsiteY2164" fmla="*/ 5068 h 10000"/>
                  <a:gd name="connsiteX2165" fmla="*/ 608 w 10354"/>
                  <a:gd name="connsiteY2165" fmla="*/ 5120 h 10000"/>
                  <a:gd name="connsiteX2166" fmla="*/ 613 w 10354"/>
                  <a:gd name="connsiteY2166" fmla="*/ 5128 h 10000"/>
                  <a:gd name="connsiteX2167" fmla="*/ 627 w 10354"/>
                  <a:gd name="connsiteY2167" fmla="*/ 5179 h 10000"/>
                  <a:gd name="connsiteX2168" fmla="*/ 650 w 10354"/>
                  <a:gd name="connsiteY2168" fmla="*/ 5214 h 10000"/>
                  <a:gd name="connsiteX2169" fmla="*/ 687 w 10354"/>
                  <a:gd name="connsiteY2169" fmla="*/ 5188 h 10000"/>
                  <a:gd name="connsiteX2170" fmla="*/ 700 w 10354"/>
                  <a:gd name="connsiteY2170" fmla="*/ 5325 h 10000"/>
                  <a:gd name="connsiteX2171" fmla="*/ 710 w 10354"/>
                  <a:gd name="connsiteY2171" fmla="*/ 5350 h 10000"/>
                  <a:gd name="connsiteX2172" fmla="*/ 687 w 10354"/>
                  <a:gd name="connsiteY2172" fmla="*/ 5325 h 10000"/>
                  <a:gd name="connsiteX2173" fmla="*/ 668 w 10354"/>
                  <a:gd name="connsiteY2173" fmla="*/ 5350 h 10000"/>
                  <a:gd name="connsiteX2174" fmla="*/ 668 w 10354"/>
                  <a:gd name="connsiteY2174" fmla="*/ 5368 h 10000"/>
                  <a:gd name="connsiteX2175" fmla="*/ 668 w 10354"/>
                  <a:gd name="connsiteY2175" fmla="*/ 5376 h 10000"/>
                  <a:gd name="connsiteX2176" fmla="*/ 581 w 10354"/>
                  <a:gd name="connsiteY2176" fmla="*/ 5316 h 10000"/>
                  <a:gd name="connsiteX2177" fmla="*/ 567 w 10354"/>
                  <a:gd name="connsiteY2177" fmla="*/ 5265 h 10000"/>
                  <a:gd name="connsiteX2178" fmla="*/ 562 w 10354"/>
                  <a:gd name="connsiteY2178" fmla="*/ 5256 h 10000"/>
                  <a:gd name="connsiteX2179" fmla="*/ 548 w 10354"/>
                  <a:gd name="connsiteY2179" fmla="*/ 5231 h 10000"/>
                  <a:gd name="connsiteX2180" fmla="*/ 535 w 10354"/>
                  <a:gd name="connsiteY2180" fmla="*/ 5214 h 10000"/>
                  <a:gd name="connsiteX2181" fmla="*/ 525 w 10354"/>
                  <a:gd name="connsiteY2181" fmla="*/ 5231 h 10000"/>
                  <a:gd name="connsiteX2182" fmla="*/ 521 w 10354"/>
                  <a:gd name="connsiteY2182" fmla="*/ 5231 h 10000"/>
                  <a:gd name="connsiteX2183" fmla="*/ 493 w 10354"/>
                  <a:gd name="connsiteY2183" fmla="*/ 5205 h 10000"/>
                  <a:gd name="connsiteX2184" fmla="*/ 488 w 10354"/>
                  <a:gd name="connsiteY2184" fmla="*/ 5179 h 10000"/>
                  <a:gd name="connsiteX2185" fmla="*/ 475 w 10354"/>
                  <a:gd name="connsiteY2185" fmla="*/ 5188 h 10000"/>
                  <a:gd name="connsiteX2186" fmla="*/ 475 w 10354"/>
                  <a:gd name="connsiteY2186" fmla="*/ 5171 h 10000"/>
                  <a:gd name="connsiteX2187" fmla="*/ 488 w 10354"/>
                  <a:gd name="connsiteY2187" fmla="*/ 5154 h 10000"/>
                  <a:gd name="connsiteX2188" fmla="*/ 488 w 10354"/>
                  <a:gd name="connsiteY2188" fmla="*/ 5068 h 10000"/>
                  <a:gd name="connsiteX2189" fmla="*/ 475 w 10354"/>
                  <a:gd name="connsiteY2189" fmla="*/ 5051 h 10000"/>
                  <a:gd name="connsiteX2190" fmla="*/ 475 w 10354"/>
                  <a:gd name="connsiteY2190" fmla="*/ 5017 h 10000"/>
                  <a:gd name="connsiteX2191" fmla="*/ 452 w 10354"/>
                  <a:gd name="connsiteY2191" fmla="*/ 4932 h 10000"/>
                  <a:gd name="connsiteX2192" fmla="*/ 461 w 10354"/>
                  <a:gd name="connsiteY2192" fmla="*/ 4915 h 10000"/>
                  <a:gd name="connsiteX2193" fmla="*/ 475 w 10354"/>
                  <a:gd name="connsiteY2193" fmla="*/ 4906 h 10000"/>
                  <a:gd name="connsiteX2194" fmla="*/ 479 w 10354"/>
                  <a:gd name="connsiteY2194" fmla="*/ 4803 h 10000"/>
                  <a:gd name="connsiteX2195" fmla="*/ 479 w 10354"/>
                  <a:gd name="connsiteY2195" fmla="*/ 4778 h 10000"/>
                  <a:gd name="connsiteX2196" fmla="*/ 475 w 10354"/>
                  <a:gd name="connsiteY2196" fmla="*/ 4761 h 10000"/>
                  <a:gd name="connsiteX2197" fmla="*/ 465 w 10354"/>
                  <a:gd name="connsiteY2197" fmla="*/ 4718 h 10000"/>
                  <a:gd name="connsiteX2198" fmla="*/ 461 w 10354"/>
                  <a:gd name="connsiteY2198" fmla="*/ 4709 h 10000"/>
                  <a:gd name="connsiteX2199" fmla="*/ 442 w 10354"/>
                  <a:gd name="connsiteY2199" fmla="*/ 4692 h 10000"/>
                  <a:gd name="connsiteX2200" fmla="*/ 433 w 10354"/>
                  <a:gd name="connsiteY2200" fmla="*/ 4667 h 10000"/>
                  <a:gd name="connsiteX2201" fmla="*/ 419 w 10354"/>
                  <a:gd name="connsiteY2201" fmla="*/ 4667 h 10000"/>
                  <a:gd name="connsiteX2202" fmla="*/ 401 w 10354"/>
                  <a:gd name="connsiteY2202" fmla="*/ 4658 h 10000"/>
                  <a:gd name="connsiteX2203" fmla="*/ 401 w 10354"/>
                  <a:gd name="connsiteY2203" fmla="*/ 4624 h 10000"/>
                  <a:gd name="connsiteX2204" fmla="*/ 401 w 10354"/>
                  <a:gd name="connsiteY2204" fmla="*/ 4607 h 10000"/>
                  <a:gd name="connsiteX2205" fmla="*/ 378 w 10354"/>
                  <a:gd name="connsiteY2205" fmla="*/ 4607 h 10000"/>
                  <a:gd name="connsiteX2206" fmla="*/ 341 w 10354"/>
                  <a:gd name="connsiteY2206" fmla="*/ 4530 h 10000"/>
                  <a:gd name="connsiteX2207" fmla="*/ 346 w 10354"/>
                  <a:gd name="connsiteY2207" fmla="*/ 4521 h 10000"/>
                  <a:gd name="connsiteX2208" fmla="*/ 332 w 10354"/>
                  <a:gd name="connsiteY2208" fmla="*/ 4487 h 10000"/>
                  <a:gd name="connsiteX2209" fmla="*/ 327 w 10354"/>
                  <a:gd name="connsiteY2209" fmla="*/ 4462 h 10000"/>
                  <a:gd name="connsiteX2210" fmla="*/ 313 w 10354"/>
                  <a:gd name="connsiteY2210" fmla="*/ 4436 h 10000"/>
                  <a:gd name="connsiteX2211" fmla="*/ 300 w 10354"/>
                  <a:gd name="connsiteY2211" fmla="*/ 4419 h 10000"/>
                  <a:gd name="connsiteX2212" fmla="*/ 309 w 10354"/>
                  <a:gd name="connsiteY2212" fmla="*/ 4393 h 10000"/>
                  <a:gd name="connsiteX2213" fmla="*/ 332 w 10354"/>
                  <a:gd name="connsiteY2213" fmla="*/ 4385 h 10000"/>
                  <a:gd name="connsiteX2214" fmla="*/ 355 w 10354"/>
                  <a:gd name="connsiteY2214" fmla="*/ 4419 h 10000"/>
                  <a:gd name="connsiteX2215" fmla="*/ 355 w 10354"/>
                  <a:gd name="connsiteY2215" fmla="*/ 4444 h 10000"/>
                  <a:gd name="connsiteX2216" fmla="*/ 369 w 10354"/>
                  <a:gd name="connsiteY2216" fmla="*/ 4470 h 10000"/>
                  <a:gd name="connsiteX2217" fmla="*/ 401 w 10354"/>
                  <a:gd name="connsiteY2217" fmla="*/ 4521 h 10000"/>
                  <a:gd name="connsiteX2218" fmla="*/ 406 w 10354"/>
                  <a:gd name="connsiteY2218" fmla="*/ 4513 h 10000"/>
                  <a:gd name="connsiteX2219" fmla="*/ 406 w 10354"/>
                  <a:gd name="connsiteY2219" fmla="*/ 4496 h 10000"/>
                  <a:gd name="connsiteX2220" fmla="*/ 419 w 10354"/>
                  <a:gd name="connsiteY2220" fmla="*/ 4521 h 10000"/>
                  <a:gd name="connsiteX2221" fmla="*/ 429 w 10354"/>
                  <a:gd name="connsiteY2221" fmla="*/ 4530 h 10000"/>
                  <a:gd name="connsiteX2222" fmla="*/ 433 w 10354"/>
                  <a:gd name="connsiteY2222" fmla="*/ 4521 h 10000"/>
                  <a:gd name="connsiteX2223" fmla="*/ 442 w 10354"/>
                  <a:gd name="connsiteY2223" fmla="*/ 4530 h 10000"/>
                  <a:gd name="connsiteX2224" fmla="*/ 447 w 10354"/>
                  <a:gd name="connsiteY2224" fmla="*/ 4521 h 10000"/>
                  <a:gd name="connsiteX2225" fmla="*/ 452 w 10354"/>
                  <a:gd name="connsiteY2225" fmla="*/ 4521 h 10000"/>
                  <a:gd name="connsiteX2226" fmla="*/ 461 w 10354"/>
                  <a:gd name="connsiteY2226" fmla="*/ 4573 h 10000"/>
                  <a:gd name="connsiteX2227" fmla="*/ 479 w 10354"/>
                  <a:gd name="connsiteY2227" fmla="*/ 4556 h 10000"/>
                  <a:gd name="connsiteX2228" fmla="*/ 502 w 10354"/>
                  <a:gd name="connsiteY2228" fmla="*/ 4573 h 10000"/>
                  <a:gd name="connsiteX2229" fmla="*/ 507 w 10354"/>
                  <a:gd name="connsiteY2229" fmla="*/ 4598 h 10000"/>
                  <a:gd name="connsiteX2230" fmla="*/ 525 w 10354"/>
                  <a:gd name="connsiteY2230" fmla="*/ 4598 h 10000"/>
                  <a:gd name="connsiteX2231" fmla="*/ 535 w 10354"/>
                  <a:gd name="connsiteY2231" fmla="*/ 4624 h 10000"/>
                  <a:gd name="connsiteX2232" fmla="*/ 594 w 10354"/>
                  <a:gd name="connsiteY2232" fmla="*/ 4658 h 10000"/>
                  <a:gd name="connsiteX2233" fmla="*/ 627 w 10354"/>
                  <a:gd name="connsiteY2233" fmla="*/ 4658 h 10000"/>
                  <a:gd name="connsiteX2234" fmla="*/ 654 w 10354"/>
                  <a:gd name="connsiteY2234" fmla="*/ 4684 h 10000"/>
                  <a:gd name="connsiteX2235" fmla="*/ 668 w 10354"/>
                  <a:gd name="connsiteY2235" fmla="*/ 4709 h 10000"/>
                  <a:gd name="connsiteX2236" fmla="*/ 747 w 10354"/>
                  <a:gd name="connsiteY2236" fmla="*/ 4718 h 10000"/>
                  <a:gd name="connsiteX2237" fmla="*/ 760 w 10354"/>
                  <a:gd name="connsiteY2237" fmla="*/ 4709 h 10000"/>
                  <a:gd name="connsiteX2238" fmla="*/ 774 w 10354"/>
                  <a:gd name="connsiteY2238" fmla="*/ 4692 h 10000"/>
                  <a:gd name="connsiteX2239" fmla="*/ 829 w 10354"/>
                  <a:gd name="connsiteY2239" fmla="*/ 4658 h 10000"/>
                  <a:gd name="connsiteX2240" fmla="*/ 903 w 10354"/>
                  <a:gd name="connsiteY2240" fmla="*/ 4496 h 10000"/>
                  <a:gd name="connsiteX2241" fmla="*/ 917 w 10354"/>
                  <a:gd name="connsiteY2241" fmla="*/ 4385 h 10000"/>
                  <a:gd name="connsiteX2242" fmla="*/ 903 w 10354"/>
                  <a:gd name="connsiteY2242" fmla="*/ 4376 h 10000"/>
                  <a:gd name="connsiteX2243" fmla="*/ 903 w 10354"/>
                  <a:gd name="connsiteY2243" fmla="*/ 4376 h 10000"/>
                  <a:gd name="connsiteX2244" fmla="*/ 889 w 10354"/>
                  <a:gd name="connsiteY2244" fmla="*/ 4239 h 10000"/>
                  <a:gd name="connsiteX2245" fmla="*/ 880 w 10354"/>
                  <a:gd name="connsiteY2245" fmla="*/ 4214 h 10000"/>
                  <a:gd name="connsiteX2246" fmla="*/ 862 w 10354"/>
                  <a:gd name="connsiteY2246" fmla="*/ 4188 h 10000"/>
                  <a:gd name="connsiteX2247" fmla="*/ 857 w 10354"/>
                  <a:gd name="connsiteY2247" fmla="*/ 4197 h 10000"/>
                  <a:gd name="connsiteX2248" fmla="*/ 848 w 10354"/>
                  <a:gd name="connsiteY2248" fmla="*/ 4188 h 10000"/>
                  <a:gd name="connsiteX2249" fmla="*/ 848 w 10354"/>
                  <a:gd name="connsiteY2249" fmla="*/ 4162 h 10000"/>
                  <a:gd name="connsiteX2250" fmla="*/ 829 w 10354"/>
                  <a:gd name="connsiteY2250" fmla="*/ 4120 h 10000"/>
                  <a:gd name="connsiteX2251" fmla="*/ 820 w 10354"/>
                  <a:gd name="connsiteY2251" fmla="*/ 4103 h 10000"/>
                  <a:gd name="connsiteX2252" fmla="*/ 806 w 10354"/>
                  <a:gd name="connsiteY2252" fmla="*/ 4077 h 10000"/>
                  <a:gd name="connsiteX2253" fmla="*/ 816 w 10354"/>
                  <a:gd name="connsiteY2253" fmla="*/ 4111 h 10000"/>
                  <a:gd name="connsiteX2254" fmla="*/ 802 w 10354"/>
                  <a:gd name="connsiteY2254" fmla="*/ 4111 h 10000"/>
                  <a:gd name="connsiteX2255" fmla="*/ 770 w 10354"/>
                  <a:gd name="connsiteY2255" fmla="*/ 4060 h 10000"/>
                  <a:gd name="connsiteX2256" fmla="*/ 760 w 10354"/>
                  <a:gd name="connsiteY2256" fmla="*/ 4077 h 10000"/>
                  <a:gd name="connsiteX2257" fmla="*/ 760 w 10354"/>
                  <a:gd name="connsiteY2257" fmla="*/ 4060 h 10000"/>
                  <a:gd name="connsiteX2258" fmla="*/ 756 w 10354"/>
                  <a:gd name="connsiteY2258" fmla="*/ 4034 h 10000"/>
                  <a:gd name="connsiteX2259" fmla="*/ 742 w 10354"/>
                  <a:gd name="connsiteY2259" fmla="*/ 4000 h 10000"/>
                  <a:gd name="connsiteX2260" fmla="*/ 747 w 10354"/>
                  <a:gd name="connsiteY2260" fmla="*/ 4034 h 10000"/>
                  <a:gd name="connsiteX2261" fmla="*/ 724 w 10354"/>
                  <a:gd name="connsiteY2261" fmla="*/ 4026 h 10000"/>
                  <a:gd name="connsiteX2262" fmla="*/ 714 w 10354"/>
                  <a:gd name="connsiteY2262" fmla="*/ 4000 h 10000"/>
                  <a:gd name="connsiteX2263" fmla="*/ 714 w 10354"/>
                  <a:gd name="connsiteY2263" fmla="*/ 3983 h 10000"/>
                  <a:gd name="connsiteX2264" fmla="*/ 553 w 10354"/>
                  <a:gd name="connsiteY2264" fmla="*/ 3726 h 10000"/>
                  <a:gd name="connsiteX2265" fmla="*/ 507 w 10354"/>
                  <a:gd name="connsiteY2265" fmla="*/ 3718 h 10000"/>
                  <a:gd name="connsiteX2266" fmla="*/ 516 w 10354"/>
                  <a:gd name="connsiteY2266" fmla="*/ 3726 h 10000"/>
                  <a:gd name="connsiteX2267" fmla="*/ 507 w 10354"/>
                  <a:gd name="connsiteY2267" fmla="*/ 3735 h 10000"/>
                  <a:gd name="connsiteX2268" fmla="*/ 502 w 10354"/>
                  <a:gd name="connsiteY2268" fmla="*/ 3735 h 10000"/>
                  <a:gd name="connsiteX2269" fmla="*/ 419 w 10354"/>
                  <a:gd name="connsiteY2269" fmla="*/ 3675 h 10000"/>
                  <a:gd name="connsiteX2270" fmla="*/ 419 w 10354"/>
                  <a:gd name="connsiteY2270" fmla="*/ 3692 h 10000"/>
                  <a:gd name="connsiteX2271" fmla="*/ 401 w 10354"/>
                  <a:gd name="connsiteY2271" fmla="*/ 3701 h 10000"/>
                  <a:gd name="connsiteX2272" fmla="*/ 387 w 10354"/>
                  <a:gd name="connsiteY2272" fmla="*/ 3718 h 10000"/>
                  <a:gd name="connsiteX2273" fmla="*/ 387 w 10354"/>
                  <a:gd name="connsiteY2273" fmla="*/ 3692 h 10000"/>
                  <a:gd name="connsiteX2274" fmla="*/ 378 w 10354"/>
                  <a:gd name="connsiteY2274" fmla="*/ 3675 h 10000"/>
                  <a:gd name="connsiteX2275" fmla="*/ 378 w 10354"/>
                  <a:gd name="connsiteY2275" fmla="*/ 3650 h 10000"/>
                  <a:gd name="connsiteX2276" fmla="*/ 378 w 10354"/>
                  <a:gd name="connsiteY2276" fmla="*/ 3650 h 10000"/>
                  <a:gd name="connsiteX2277" fmla="*/ 355 w 10354"/>
                  <a:gd name="connsiteY2277" fmla="*/ 3675 h 10000"/>
                  <a:gd name="connsiteX2278" fmla="*/ 359 w 10354"/>
                  <a:gd name="connsiteY2278" fmla="*/ 3641 h 10000"/>
                  <a:gd name="connsiteX2279" fmla="*/ 346 w 10354"/>
                  <a:gd name="connsiteY2279" fmla="*/ 3650 h 10000"/>
                  <a:gd name="connsiteX2280" fmla="*/ 355 w 10354"/>
                  <a:gd name="connsiteY2280" fmla="*/ 3624 h 10000"/>
                  <a:gd name="connsiteX2281" fmla="*/ 346 w 10354"/>
                  <a:gd name="connsiteY2281" fmla="*/ 3624 h 10000"/>
                  <a:gd name="connsiteX2282" fmla="*/ 341 w 10354"/>
                  <a:gd name="connsiteY2282" fmla="*/ 3624 h 10000"/>
                  <a:gd name="connsiteX2283" fmla="*/ 318 w 10354"/>
                  <a:gd name="connsiteY2283" fmla="*/ 3641 h 10000"/>
                  <a:gd name="connsiteX2284" fmla="*/ 327 w 10354"/>
                  <a:gd name="connsiteY2284" fmla="*/ 3624 h 10000"/>
                  <a:gd name="connsiteX2285" fmla="*/ 318 w 10354"/>
                  <a:gd name="connsiteY2285" fmla="*/ 3615 h 10000"/>
                  <a:gd name="connsiteX2286" fmla="*/ 318 w 10354"/>
                  <a:gd name="connsiteY2286" fmla="*/ 3598 h 10000"/>
                  <a:gd name="connsiteX2287" fmla="*/ 300 w 10354"/>
                  <a:gd name="connsiteY2287" fmla="*/ 3598 h 10000"/>
                  <a:gd name="connsiteX2288" fmla="*/ 309 w 10354"/>
                  <a:gd name="connsiteY2288" fmla="*/ 3538 h 10000"/>
                  <a:gd name="connsiteX2289" fmla="*/ 313 w 10354"/>
                  <a:gd name="connsiteY2289" fmla="*/ 3564 h 10000"/>
                  <a:gd name="connsiteX2290" fmla="*/ 318 w 10354"/>
                  <a:gd name="connsiteY2290" fmla="*/ 3581 h 10000"/>
                  <a:gd name="connsiteX2291" fmla="*/ 327 w 10354"/>
                  <a:gd name="connsiteY2291" fmla="*/ 3564 h 10000"/>
                  <a:gd name="connsiteX2292" fmla="*/ 332 w 10354"/>
                  <a:gd name="connsiteY2292" fmla="*/ 3590 h 10000"/>
                  <a:gd name="connsiteX2293" fmla="*/ 346 w 10354"/>
                  <a:gd name="connsiteY2293" fmla="*/ 3590 h 10000"/>
                  <a:gd name="connsiteX2294" fmla="*/ 355 w 10354"/>
                  <a:gd name="connsiteY2294" fmla="*/ 3590 h 10000"/>
                  <a:gd name="connsiteX2295" fmla="*/ 369 w 10354"/>
                  <a:gd name="connsiteY2295" fmla="*/ 3556 h 10000"/>
                  <a:gd name="connsiteX2296" fmla="*/ 369 w 10354"/>
                  <a:gd name="connsiteY2296" fmla="*/ 3538 h 10000"/>
                  <a:gd name="connsiteX2297" fmla="*/ 346 w 10354"/>
                  <a:gd name="connsiteY2297" fmla="*/ 3513 h 10000"/>
                  <a:gd name="connsiteX2298" fmla="*/ 341 w 10354"/>
                  <a:gd name="connsiteY2298" fmla="*/ 3530 h 10000"/>
                  <a:gd name="connsiteX2299" fmla="*/ 327 w 10354"/>
                  <a:gd name="connsiteY2299" fmla="*/ 3513 h 10000"/>
                  <a:gd name="connsiteX2300" fmla="*/ 327 w 10354"/>
                  <a:gd name="connsiteY2300" fmla="*/ 3504 h 10000"/>
                  <a:gd name="connsiteX2301" fmla="*/ 295 w 10354"/>
                  <a:gd name="connsiteY2301" fmla="*/ 3462 h 10000"/>
                  <a:gd name="connsiteX2302" fmla="*/ 300 w 10354"/>
                  <a:gd name="connsiteY2302" fmla="*/ 3479 h 10000"/>
                  <a:gd name="connsiteX2303" fmla="*/ 295 w 10354"/>
                  <a:gd name="connsiteY2303" fmla="*/ 3513 h 10000"/>
                  <a:gd name="connsiteX2304" fmla="*/ 286 w 10354"/>
                  <a:gd name="connsiteY2304" fmla="*/ 3513 h 10000"/>
                  <a:gd name="connsiteX2305" fmla="*/ 281 w 10354"/>
                  <a:gd name="connsiteY2305" fmla="*/ 3513 h 10000"/>
                  <a:gd name="connsiteX2306" fmla="*/ 281 w 10354"/>
                  <a:gd name="connsiteY2306" fmla="*/ 3530 h 10000"/>
                  <a:gd name="connsiteX2307" fmla="*/ 281 w 10354"/>
                  <a:gd name="connsiteY2307" fmla="*/ 3556 h 10000"/>
                  <a:gd name="connsiteX2308" fmla="*/ 272 w 10354"/>
                  <a:gd name="connsiteY2308" fmla="*/ 3564 h 10000"/>
                  <a:gd name="connsiteX2309" fmla="*/ 267 w 10354"/>
                  <a:gd name="connsiteY2309" fmla="*/ 3564 h 10000"/>
                  <a:gd name="connsiteX2310" fmla="*/ 253 w 10354"/>
                  <a:gd name="connsiteY2310" fmla="*/ 3538 h 10000"/>
                  <a:gd name="connsiteX2311" fmla="*/ 226 w 10354"/>
                  <a:gd name="connsiteY2311" fmla="*/ 3513 h 10000"/>
                  <a:gd name="connsiteX2312" fmla="*/ 226 w 10354"/>
                  <a:gd name="connsiteY2312" fmla="*/ 3530 h 10000"/>
                  <a:gd name="connsiteX2313" fmla="*/ 226 w 10354"/>
                  <a:gd name="connsiteY2313" fmla="*/ 3530 h 10000"/>
                  <a:gd name="connsiteX2314" fmla="*/ 226 w 10354"/>
                  <a:gd name="connsiteY2314" fmla="*/ 3530 h 10000"/>
                  <a:gd name="connsiteX2315" fmla="*/ 226 w 10354"/>
                  <a:gd name="connsiteY2315" fmla="*/ 3556 h 10000"/>
                  <a:gd name="connsiteX2316" fmla="*/ 221 w 10354"/>
                  <a:gd name="connsiteY2316" fmla="*/ 3598 h 10000"/>
                  <a:gd name="connsiteX2317" fmla="*/ 207 w 10354"/>
                  <a:gd name="connsiteY2317" fmla="*/ 3598 h 10000"/>
                  <a:gd name="connsiteX2318" fmla="*/ 180 w 10354"/>
                  <a:gd name="connsiteY2318" fmla="*/ 3581 h 10000"/>
                  <a:gd name="connsiteX2319" fmla="*/ 171 w 10354"/>
                  <a:gd name="connsiteY2319" fmla="*/ 3641 h 10000"/>
                  <a:gd name="connsiteX2320" fmla="*/ 166 w 10354"/>
                  <a:gd name="connsiteY2320" fmla="*/ 3650 h 10000"/>
                  <a:gd name="connsiteX2321" fmla="*/ 124 w 10354"/>
                  <a:gd name="connsiteY2321" fmla="*/ 3701 h 10000"/>
                  <a:gd name="connsiteX2322" fmla="*/ 124 w 10354"/>
                  <a:gd name="connsiteY2322" fmla="*/ 3718 h 10000"/>
                  <a:gd name="connsiteX2323" fmla="*/ 120 w 10354"/>
                  <a:gd name="connsiteY2323" fmla="*/ 3735 h 10000"/>
                  <a:gd name="connsiteX2324" fmla="*/ 120 w 10354"/>
                  <a:gd name="connsiteY2324" fmla="*/ 3735 h 10000"/>
                  <a:gd name="connsiteX2325" fmla="*/ 111 w 10354"/>
                  <a:gd name="connsiteY2325" fmla="*/ 3761 h 10000"/>
                  <a:gd name="connsiteX2326" fmla="*/ 106 w 10354"/>
                  <a:gd name="connsiteY2326" fmla="*/ 3761 h 10000"/>
                  <a:gd name="connsiteX2327" fmla="*/ 106 w 10354"/>
                  <a:gd name="connsiteY2327" fmla="*/ 3761 h 10000"/>
                  <a:gd name="connsiteX2328" fmla="*/ 74 w 10354"/>
                  <a:gd name="connsiteY2328" fmla="*/ 3829 h 10000"/>
                  <a:gd name="connsiteX2329" fmla="*/ 78 w 10354"/>
                  <a:gd name="connsiteY2329" fmla="*/ 3838 h 10000"/>
                  <a:gd name="connsiteX2330" fmla="*/ 88 w 10354"/>
                  <a:gd name="connsiteY2330" fmla="*/ 3846 h 10000"/>
                  <a:gd name="connsiteX2331" fmla="*/ 65 w 10354"/>
                  <a:gd name="connsiteY2331" fmla="*/ 3923 h 10000"/>
                  <a:gd name="connsiteX2332" fmla="*/ 78 w 10354"/>
                  <a:gd name="connsiteY2332" fmla="*/ 4026 h 10000"/>
                  <a:gd name="connsiteX2333" fmla="*/ 88 w 10354"/>
                  <a:gd name="connsiteY2333" fmla="*/ 4051 h 10000"/>
                  <a:gd name="connsiteX2334" fmla="*/ 92 w 10354"/>
                  <a:gd name="connsiteY2334" fmla="*/ 4060 h 10000"/>
                  <a:gd name="connsiteX2335" fmla="*/ 111 w 10354"/>
                  <a:gd name="connsiteY2335" fmla="*/ 4060 h 10000"/>
                  <a:gd name="connsiteX2336" fmla="*/ 124 w 10354"/>
                  <a:gd name="connsiteY2336" fmla="*/ 4085 h 10000"/>
                  <a:gd name="connsiteX2337" fmla="*/ 166 w 10354"/>
                  <a:gd name="connsiteY2337" fmla="*/ 4197 h 10000"/>
                  <a:gd name="connsiteX2338" fmla="*/ 166 w 10354"/>
                  <a:gd name="connsiteY2338" fmla="*/ 4248 h 10000"/>
                  <a:gd name="connsiteX2339" fmla="*/ 120 w 10354"/>
                  <a:gd name="connsiteY2339" fmla="*/ 4462 h 10000"/>
                  <a:gd name="connsiteX2340" fmla="*/ 120 w 10354"/>
                  <a:gd name="connsiteY2340" fmla="*/ 4513 h 10000"/>
                  <a:gd name="connsiteX2341" fmla="*/ 180 w 10354"/>
                  <a:gd name="connsiteY2341" fmla="*/ 4829 h 10000"/>
                  <a:gd name="connsiteX2342" fmla="*/ 161 w 10354"/>
                  <a:gd name="connsiteY2342" fmla="*/ 4855 h 10000"/>
                  <a:gd name="connsiteX2343" fmla="*/ 152 w 10354"/>
                  <a:gd name="connsiteY2343" fmla="*/ 4940 h 10000"/>
                  <a:gd name="connsiteX2344" fmla="*/ 161 w 10354"/>
                  <a:gd name="connsiteY2344" fmla="*/ 4966 h 10000"/>
                  <a:gd name="connsiteX2345" fmla="*/ 161 w 10354"/>
                  <a:gd name="connsiteY2345" fmla="*/ 5009 h 10000"/>
                  <a:gd name="connsiteX2346" fmla="*/ 152 w 10354"/>
                  <a:gd name="connsiteY2346" fmla="*/ 5034 h 10000"/>
                  <a:gd name="connsiteX2347" fmla="*/ 152 w 10354"/>
                  <a:gd name="connsiteY2347" fmla="*/ 5077 h 10000"/>
                  <a:gd name="connsiteX2348" fmla="*/ 171 w 10354"/>
                  <a:gd name="connsiteY2348" fmla="*/ 5094 h 10000"/>
                  <a:gd name="connsiteX2349" fmla="*/ 180 w 10354"/>
                  <a:gd name="connsiteY2349" fmla="*/ 5128 h 10000"/>
                  <a:gd name="connsiteX2350" fmla="*/ 180 w 10354"/>
                  <a:gd name="connsiteY2350" fmla="*/ 5171 h 10000"/>
                  <a:gd name="connsiteX2351" fmla="*/ 184 w 10354"/>
                  <a:gd name="connsiteY2351" fmla="*/ 5205 h 10000"/>
                  <a:gd name="connsiteX2352" fmla="*/ 207 w 10354"/>
                  <a:gd name="connsiteY2352" fmla="*/ 5239 h 10000"/>
                  <a:gd name="connsiteX2353" fmla="*/ 207 w 10354"/>
                  <a:gd name="connsiteY2353" fmla="*/ 5282 h 10000"/>
                  <a:gd name="connsiteX2354" fmla="*/ 180 w 10354"/>
                  <a:gd name="connsiteY2354" fmla="*/ 5393 h 10000"/>
                  <a:gd name="connsiteX2355" fmla="*/ 194 w 10354"/>
                  <a:gd name="connsiteY2355" fmla="*/ 5427 h 10000"/>
                  <a:gd name="connsiteX2356" fmla="*/ 198 w 10354"/>
                  <a:gd name="connsiteY2356" fmla="*/ 5462 h 10000"/>
                  <a:gd name="connsiteX2357" fmla="*/ 235 w 10354"/>
                  <a:gd name="connsiteY2357" fmla="*/ 5513 h 10000"/>
                  <a:gd name="connsiteX2358" fmla="*/ 240 w 10354"/>
                  <a:gd name="connsiteY2358" fmla="*/ 5556 h 10000"/>
                  <a:gd name="connsiteX2359" fmla="*/ 253 w 10354"/>
                  <a:gd name="connsiteY2359" fmla="*/ 5590 h 10000"/>
                  <a:gd name="connsiteX2360" fmla="*/ 258 w 10354"/>
                  <a:gd name="connsiteY2360" fmla="*/ 5573 h 10000"/>
                  <a:gd name="connsiteX2361" fmla="*/ 258 w 10354"/>
                  <a:gd name="connsiteY2361" fmla="*/ 5667 h 10000"/>
                  <a:gd name="connsiteX2362" fmla="*/ 14 w 10354"/>
                  <a:gd name="connsiteY2362" fmla="*/ 6214 h 10000"/>
                  <a:gd name="connsiteX2363" fmla="*/ 14 w 10354"/>
                  <a:gd name="connsiteY2363" fmla="*/ 6214 h 10000"/>
                  <a:gd name="connsiteX2364" fmla="*/ 37 w 10354"/>
                  <a:gd name="connsiteY2364" fmla="*/ 6214 h 10000"/>
                  <a:gd name="connsiteX2365" fmla="*/ 51 w 10354"/>
                  <a:gd name="connsiteY2365" fmla="*/ 6188 h 10000"/>
                  <a:gd name="connsiteX2366" fmla="*/ 78 w 10354"/>
                  <a:gd name="connsiteY2366" fmla="*/ 6162 h 10000"/>
                  <a:gd name="connsiteX2367" fmla="*/ 78 w 10354"/>
                  <a:gd name="connsiteY2367" fmla="*/ 6188 h 10000"/>
                  <a:gd name="connsiteX2368" fmla="*/ 74 w 10354"/>
                  <a:gd name="connsiteY2368" fmla="*/ 6197 h 10000"/>
                  <a:gd name="connsiteX2369" fmla="*/ 74 w 10354"/>
                  <a:gd name="connsiteY2369" fmla="*/ 6231 h 10000"/>
                  <a:gd name="connsiteX2370" fmla="*/ 74 w 10354"/>
                  <a:gd name="connsiteY2370" fmla="*/ 6214 h 10000"/>
                  <a:gd name="connsiteX2371" fmla="*/ 65 w 10354"/>
                  <a:gd name="connsiteY2371" fmla="*/ 6214 h 10000"/>
                  <a:gd name="connsiteX2372" fmla="*/ 65 w 10354"/>
                  <a:gd name="connsiteY2372" fmla="*/ 6248 h 10000"/>
                  <a:gd name="connsiteX2373" fmla="*/ 74 w 10354"/>
                  <a:gd name="connsiteY2373" fmla="*/ 6256 h 10000"/>
                  <a:gd name="connsiteX2374" fmla="*/ 78 w 10354"/>
                  <a:gd name="connsiteY2374" fmla="*/ 6256 h 10000"/>
                  <a:gd name="connsiteX2375" fmla="*/ 106 w 10354"/>
                  <a:gd name="connsiteY2375" fmla="*/ 6308 h 10000"/>
                  <a:gd name="connsiteX2376" fmla="*/ 138 w 10354"/>
                  <a:gd name="connsiteY2376" fmla="*/ 6299 h 10000"/>
                  <a:gd name="connsiteX2377" fmla="*/ 152 w 10354"/>
                  <a:gd name="connsiteY2377" fmla="*/ 6299 h 10000"/>
                  <a:gd name="connsiteX2378" fmla="*/ 166 w 10354"/>
                  <a:gd name="connsiteY2378" fmla="*/ 6325 h 10000"/>
                  <a:gd name="connsiteX2379" fmla="*/ 166 w 10354"/>
                  <a:gd name="connsiteY2379" fmla="*/ 6333 h 10000"/>
                  <a:gd name="connsiteX2380" fmla="*/ 171 w 10354"/>
                  <a:gd name="connsiteY2380" fmla="*/ 6350 h 10000"/>
                  <a:gd name="connsiteX2381" fmla="*/ 180 w 10354"/>
                  <a:gd name="connsiteY2381" fmla="*/ 6350 h 10000"/>
                  <a:gd name="connsiteX2382" fmla="*/ 180 w 10354"/>
                  <a:gd name="connsiteY2382" fmla="*/ 6359 h 10000"/>
                  <a:gd name="connsiteX2383" fmla="*/ 171 w 10354"/>
                  <a:gd name="connsiteY2383" fmla="*/ 6368 h 10000"/>
                  <a:gd name="connsiteX2384" fmla="*/ 106 w 10354"/>
                  <a:gd name="connsiteY2384" fmla="*/ 6350 h 10000"/>
                  <a:gd name="connsiteX2385" fmla="*/ 101 w 10354"/>
                  <a:gd name="connsiteY2385" fmla="*/ 6359 h 10000"/>
                  <a:gd name="connsiteX2386" fmla="*/ 101 w 10354"/>
                  <a:gd name="connsiteY2386" fmla="*/ 6385 h 10000"/>
                  <a:gd name="connsiteX2387" fmla="*/ 78 w 10354"/>
                  <a:gd name="connsiteY2387" fmla="*/ 6393 h 10000"/>
                  <a:gd name="connsiteX2388" fmla="*/ 74 w 10354"/>
                  <a:gd name="connsiteY2388" fmla="*/ 6385 h 10000"/>
                  <a:gd name="connsiteX2389" fmla="*/ 65 w 10354"/>
                  <a:gd name="connsiteY2389" fmla="*/ 6393 h 10000"/>
                  <a:gd name="connsiteX2390" fmla="*/ 60 w 10354"/>
                  <a:gd name="connsiteY2390" fmla="*/ 6419 h 10000"/>
                  <a:gd name="connsiteX2391" fmla="*/ 51 w 10354"/>
                  <a:gd name="connsiteY2391" fmla="*/ 6419 h 10000"/>
                  <a:gd name="connsiteX2392" fmla="*/ 46 w 10354"/>
                  <a:gd name="connsiteY2392" fmla="*/ 6410 h 10000"/>
                  <a:gd name="connsiteX2393" fmla="*/ 37 w 10354"/>
                  <a:gd name="connsiteY2393" fmla="*/ 6393 h 10000"/>
                  <a:gd name="connsiteX2394" fmla="*/ 32 w 10354"/>
                  <a:gd name="connsiteY2394" fmla="*/ 6419 h 10000"/>
                  <a:gd name="connsiteX2395" fmla="*/ 37 w 10354"/>
                  <a:gd name="connsiteY2395" fmla="*/ 6462 h 10000"/>
                  <a:gd name="connsiteX2396" fmla="*/ 46 w 10354"/>
                  <a:gd name="connsiteY2396" fmla="*/ 6462 h 10000"/>
                  <a:gd name="connsiteX2397" fmla="*/ 51 w 10354"/>
                  <a:gd name="connsiteY2397" fmla="*/ 6470 h 10000"/>
                  <a:gd name="connsiteX2398" fmla="*/ 51 w 10354"/>
                  <a:gd name="connsiteY2398" fmla="*/ 6496 h 10000"/>
                  <a:gd name="connsiteX2399" fmla="*/ 51 w 10354"/>
                  <a:gd name="connsiteY2399" fmla="*/ 6504 h 10000"/>
                  <a:gd name="connsiteX2400" fmla="*/ 37 w 10354"/>
                  <a:gd name="connsiteY2400" fmla="*/ 6530 h 10000"/>
                  <a:gd name="connsiteX2401" fmla="*/ 18 w 10354"/>
                  <a:gd name="connsiteY2401" fmla="*/ 6598 h 10000"/>
                  <a:gd name="connsiteX2402" fmla="*/ 28 w 10354"/>
                  <a:gd name="connsiteY2402" fmla="*/ 6632 h 10000"/>
                  <a:gd name="connsiteX2403" fmla="*/ 18 w 10354"/>
                  <a:gd name="connsiteY2403" fmla="*/ 6667 h 10000"/>
                  <a:gd name="connsiteX2404" fmla="*/ 28 w 10354"/>
                  <a:gd name="connsiteY2404" fmla="*/ 6692 h 10000"/>
                  <a:gd name="connsiteX2405" fmla="*/ 28 w 10354"/>
                  <a:gd name="connsiteY2405" fmla="*/ 6709 h 10000"/>
                  <a:gd name="connsiteX2406" fmla="*/ 18 w 10354"/>
                  <a:gd name="connsiteY2406" fmla="*/ 6718 h 10000"/>
                  <a:gd name="connsiteX2407" fmla="*/ 5 w 10354"/>
                  <a:gd name="connsiteY2407" fmla="*/ 6744 h 10000"/>
                  <a:gd name="connsiteX2408" fmla="*/ 0 w 10354"/>
                  <a:gd name="connsiteY2408" fmla="*/ 6769 h 10000"/>
                  <a:gd name="connsiteX2409" fmla="*/ 5 w 10354"/>
                  <a:gd name="connsiteY2409" fmla="*/ 6778 h 10000"/>
                  <a:gd name="connsiteX2410" fmla="*/ 32 w 10354"/>
                  <a:gd name="connsiteY2410" fmla="*/ 6778 h 10000"/>
                  <a:gd name="connsiteX2411" fmla="*/ 46 w 10354"/>
                  <a:gd name="connsiteY2411" fmla="*/ 6821 h 10000"/>
                  <a:gd name="connsiteX2412" fmla="*/ 46 w 10354"/>
                  <a:gd name="connsiteY2412" fmla="*/ 6855 h 10000"/>
                  <a:gd name="connsiteX2413" fmla="*/ 32 w 10354"/>
                  <a:gd name="connsiteY2413" fmla="*/ 6855 h 10000"/>
                  <a:gd name="connsiteX2414" fmla="*/ 14 w 10354"/>
                  <a:gd name="connsiteY2414" fmla="*/ 6821 h 10000"/>
                  <a:gd name="connsiteX2415" fmla="*/ 14 w 10354"/>
                  <a:gd name="connsiteY2415" fmla="*/ 6846 h 10000"/>
                  <a:gd name="connsiteX2416" fmla="*/ 0 w 10354"/>
                  <a:gd name="connsiteY2416" fmla="*/ 6897 h 10000"/>
                  <a:gd name="connsiteX2417" fmla="*/ 0 w 10354"/>
                  <a:gd name="connsiteY2417" fmla="*/ 6915 h 10000"/>
                  <a:gd name="connsiteX2418" fmla="*/ 5 w 10354"/>
                  <a:gd name="connsiteY2418" fmla="*/ 6932 h 10000"/>
                  <a:gd name="connsiteX2419" fmla="*/ 14 w 10354"/>
                  <a:gd name="connsiteY2419" fmla="*/ 6940 h 10000"/>
                  <a:gd name="connsiteX2420" fmla="*/ 18 w 10354"/>
                  <a:gd name="connsiteY2420" fmla="*/ 6957 h 10000"/>
                  <a:gd name="connsiteX2421" fmla="*/ 28 w 10354"/>
                  <a:gd name="connsiteY2421" fmla="*/ 6966 h 10000"/>
                  <a:gd name="connsiteX2422" fmla="*/ 28 w 10354"/>
                  <a:gd name="connsiteY2422" fmla="*/ 6983 h 10000"/>
                  <a:gd name="connsiteX2423" fmla="*/ 18 w 10354"/>
                  <a:gd name="connsiteY2423" fmla="*/ 7051 h 10000"/>
                  <a:gd name="connsiteX2424" fmla="*/ 28 w 10354"/>
                  <a:gd name="connsiteY2424" fmla="*/ 7068 h 10000"/>
                  <a:gd name="connsiteX2425" fmla="*/ 32 w 10354"/>
                  <a:gd name="connsiteY2425" fmla="*/ 7068 h 10000"/>
                  <a:gd name="connsiteX2426" fmla="*/ 32 w 10354"/>
                  <a:gd name="connsiteY2426" fmla="*/ 7094 h 10000"/>
                  <a:gd name="connsiteX2427" fmla="*/ 60 w 10354"/>
                  <a:gd name="connsiteY2427" fmla="*/ 7162 h 10000"/>
                  <a:gd name="connsiteX2428" fmla="*/ 60 w 10354"/>
                  <a:gd name="connsiteY2428" fmla="*/ 7231 h 10000"/>
                  <a:gd name="connsiteX2429" fmla="*/ 60 w 10354"/>
                  <a:gd name="connsiteY2429" fmla="*/ 7239 h 10000"/>
                  <a:gd name="connsiteX2430" fmla="*/ 78 w 10354"/>
                  <a:gd name="connsiteY2430" fmla="*/ 7239 h 10000"/>
                  <a:gd name="connsiteX2431" fmla="*/ 88 w 10354"/>
                  <a:gd name="connsiteY2431" fmla="*/ 7239 h 10000"/>
                  <a:gd name="connsiteX2432" fmla="*/ 92 w 10354"/>
                  <a:gd name="connsiteY2432" fmla="*/ 7256 h 10000"/>
                  <a:gd name="connsiteX2433" fmla="*/ 111 w 10354"/>
                  <a:gd name="connsiteY2433" fmla="*/ 7256 h 10000"/>
                  <a:gd name="connsiteX2434" fmla="*/ 120 w 10354"/>
                  <a:gd name="connsiteY2434" fmla="*/ 7256 h 10000"/>
                  <a:gd name="connsiteX2435" fmla="*/ 134 w 10354"/>
                  <a:gd name="connsiteY2435" fmla="*/ 7282 h 10000"/>
                  <a:gd name="connsiteX2436" fmla="*/ 134 w 10354"/>
                  <a:gd name="connsiteY2436" fmla="*/ 7316 h 10000"/>
                  <a:gd name="connsiteX2437" fmla="*/ 152 w 10354"/>
                  <a:gd name="connsiteY2437" fmla="*/ 7299 h 10000"/>
                  <a:gd name="connsiteX2438" fmla="*/ 161 w 10354"/>
                  <a:gd name="connsiteY2438" fmla="*/ 7299 h 10000"/>
                  <a:gd name="connsiteX2439" fmla="*/ 166 w 10354"/>
                  <a:gd name="connsiteY2439" fmla="*/ 7291 h 10000"/>
                  <a:gd name="connsiteX2440" fmla="*/ 194 w 10354"/>
                  <a:gd name="connsiteY2440" fmla="*/ 7291 h 10000"/>
                  <a:gd name="connsiteX2441" fmla="*/ 207 w 10354"/>
                  <a:gd name="connsiteY2441" fmla="*/ 7299 h 10000"/>
                  <a:gd name="connsiteX2442" fmla="*/ 221 w 10354"/>
                  <a:gd name="connsiteY2442" fmla="*/ 7342 h 10000"/>
                  <a:gd name="connsiteX2443" fmla="*/ 235 w 10354"/>
                  <a:gd name="connsiteY2443" fmla="*/ 7342 h 10000"/>
                  <a:gd name="connsiteX2444" fmla="*/ 235 w 10354"/>
                  <a:gd name="connsiteY2444" fmla="*/ 7368 h 10000"/>
                  <a:gd name="connsiteX2445" fmla="*/ 226 w 10354"/>
                  <a:gd name="connsiteY2445" fmla="*/ 7393 h 10000"/>
                  <a:gd name="connsiteX2446" fmla="*/ 226 w 10354"/>
                  <a:gd name="connsiteY2446" fmla="*/ 7402 h 10000"/>
                  <a:gd name="connsiteX2447" fmla="*/ 235 w 10354"/>
                  <a:gd name="connsiteY2447" fmla="*/ 7419 h 10000"/>
                  <a:gd name="connsiteX2448" fmla="*/ 240 w 10354"/>
                  <a:gd name="connsiteY2448" fmla="*/ 7436 h 10000"/>
                  <a:gd name="connsiteX2449" fmla="*/ 235 w 10354"/>
                  <a:gd name="connsiteY2449" fmla="*/ 7462 h 10000"/>
                  <a:gd name="connsiteX2450" fmla="*/ 226 w 10354"/>
                  <a:gd name="connsiteY2450" fmla="*/ 7479 h 10000"/>
                  <a:gd name="connsiteX2451" fmla="*/ 226 w 10354"/>
                  <a:gd name="connsiteY2451" fmla="*/ 7504 h 10000"/>
                  <a:gd name="connsiteX2452" fmla="*/ 226 w 10354"/>
                  <a:gd name="connsiteY2452" fmla="*/ 7513 h 10000"/>
                  <a:gd name="connsiteX2453" fmla="*/ 240 w 10354"/>
                  <a:gd name="connsiteY2453" fmla="*/ 7538 h 10000"/>
                  <a:gd name="connsiteX2454" fmla="*/ 267 w 10354"/>
                  <a:gd name="connsiteY2454" fmla="*/ 7641 h 10000"/>
                  <a:gd name="connsiteX2455" fmla="*/ 281 w 10354"/>
                  <a:gd name="connsiteY2455" fmla="*/ 7667 h 10000"/>
                  <a:gd name="connsiteX2456" fmla="*/ 286 w 10354"/>
                  <a:gd name="connsiteY2456" fmla="*/ 7675 h 10000"/>
                  <a:gd name="connsiteX2457" fmla="*/ 286 w 10354"/>
                  <a:gd name="connsiteY2457" fmla="*/ 7692 h 10000"/>
                  <a:gd name="connsiteX2458" fmla="*/ 286 w 10354"/>
                  <a:gd name="connsiteY2458" fmla="*/ 7709 h 10000"/>
                  <a:gd name="connsiteX2459" fmla="*/ 295 w 10354"/>
                  <a:gd name="connsiteY2459" fmla="*/ 7726 h 10000"/>
                  <a:gd name="connsiteX2460" fmla="*/ 318 w 10354"/>
                  <a:gd name="connsiteY2460" fmla="*/ 7709 h 10000"/>
                  <a:gd name="connsiteX2461" fmla="*/ 327 w 10354"/>
                  <a:gd name="connsiteY2461" fmla="*/ 7726 h 10000"/>
                  <a:gd name="connsiteX2462" fmla="*/ 341 w 10354"/>
                  <a:gd name="connsiteY2462" fmla="*/ 7735 h 10000"/>
                  <a:gd name="connsiteX2463" fmla="*/ 332 w 10354"/>
                  <a:gd name="connsiteY2463" fmla="*/ 7752 h 10000"/>
                  <a:gd name="connsiteX2464" fmla="*/ 341 w 10354"/>
                  <a:gd name="connsiteY2464" fmla="*/ 7761 h 10000"/>
                  <a:gd name="connsiteX2465" fmla="*/ 355 w 10354"/>
                  <a:gd name="connsiteY2465" fmla="*/ 7761 h 10000"/>
                  <a:gd name="connsiteX2466" fmla="*/ 355 w 10354"/>
                  <a:gd name="connsiteY2466" fmla="*/ 7803 h 10000"/>
                  <a:gd name="connsiteX2467" fmla="*/ 313 w 10354"/>
                  <a:gd name="connsiteY2467" fmla="*/ 7846 h 10000"/>
                  <a:gd name="connsiteX2468" fmla="*/ 295 w 10354"/>
                  <a:gd name="connsiteY2468" fmla="*/ 7846 h 10000"/>
                  <a:gd name="connsiteX2469" fmla="*/ 281 w 10354"/>
                  <a:gd name="connsiteY2469" fmla="*/ 7821 h 10000"/>
                  <a:gd name="connsiteX2470" fmla="*/ 272 w 10354"/>
                  <a:gd name="connsiteY2470" fmla="*/ 7821 h 10000"/>
                  <a:gd name="connsiteX2471" fmla="*/ 267 w 10354"/>
                  <a:gd name="connsiteY2471" fmla="*/ 7838 h 10000"/>
                  <a:gd name="connsiteX2472" fmla="*/ 258 w 10354"/>
                  <a:gd name="connsiteY2472" fmla="*/ 7846 h 10000"/>
                  <a:gd name="connsiteX2473" fmla="*/ 253 w 10354"/>
                  <a:gd name="connsiteY2473" fmla="*/ 7863 h 10000"/>
                  <a:gd name="connsiteX2474" fmla="*/ 253 w 10354"/>
                  <a:gd name="connsiteY2474" fmla="*/ 7872 h 10000"/>
                  <a:gd name="connsiteX2475" fmla="*/ 267 w 10354"/>
                  <a:gd name="connsiteY2475" fmla="*/ 7897 h 10000"/>
                  <a:gd name="connsiteX2476" fmla="*/ 272 w 10354"/>
                  <a:gd name="connsiteY2476" fmla="*/ 7915 h 10000"/>
                  <a:gd name="connsiteX2477" fmla="*/ 267 w 10354"/>
                  <a:gd name="connsiteY2477" fmla="*/ 7940 h 10000"/>
                  <a:gd name="connsiteX2478" fmla="*/ 272 w 10354"/>
                  <a:gd name="connsiteY2478" fmla="*/ 7949 h 10000"/>
                  <a:gd name="connsiteX2479" fmla="*/ 272 w 10354"/>
                  <a:gd name="connsiteY2479" fmla="*/ 7957 h 10000"/>
                  <a:gd name="connsiteX2480" fmla="*/ 281 w 10354"/>
                  <a:gd name="connsiteY2480" fmla="*/ 7974 h 10000"/>
                  <a:gd name="connsiteX2481" fmla="*/ 286 w 10354"/>
                  <a:gd name="connsiteY2481" fmla="*/ 7983 h 10000"/>
                  <a:gd name="connsiteX2482" fmla="*/ 281 w 10354"/>
                  <a:gd name="connsiteY2482" fmla="*/ 8009 h 10000"/>
                  <a:gd name="connsiteX2483" fmla="*/ 286 w 10354"/>
                  <a:gd name="connsiteY2483" fmla="*/ 8060 h 10000"/>
                  <a:gd name="connsiteX2484" fmla="*/ 286 w 10354"/>
                  <a:gd name="connsiteY2484" fmla="*/ 8060 h 10000"/>
                  <a:gd name="connsiteX2485" fmla="*/ 295 w 10354"/>
                  <a:gd name="connsiteY2485" fmla="*/ 8077 h 10000"/>
                  <a:gd name="connsiteX2486" fmla="*/ 309 w 10354"/>
                  <a:gd name="connsiteY2486" fmla="*/ 8077 h 10000"/>
                  <a:gd name="connsiteX2487" fmla="*/ 313 w 10354"/>
                  <a:gd name="connsiteY2487" fmla="*/ 8060 h 10000"/>
                  <a:gd name="connsiteX2488" fmla="*/ 318 w 10354"/>
                  <a:gd name="connsiteY2488" fmla="*/ 8051 h 10000"/>
                  <a:gd name="connsiteX2489" fmla="*/ 318 w 10354"/>
                  <a:gd name="connsiteY2489" fmla="*/ 8034 h 10000"/>
                  <a:gd name="connsiteX2490" fmla="*/ 332 w 10354"/>
                  <a:gd name="connsiteY2490" fmla="*/ 8026 h 10000"/>
                  <a:gd name="connsiteX2491" fmla="*/ 359 w 10354"/>
                  <a:gd name="connsiteY2491" fmla="*/ 8034 h 10000"/>
                  <a:gd name="connsiteX2492" fmla="*/ 378 w 10354"/>
                  <a:gd name="connsiteY2492" fmla="*/ 8026 h 10000"/>
                  <a:gd name="connsiteX2493" fmla="*/ 401 w 10354"/>
                  <a:gd name="connsiteY2493" fmla="*/ 8026 h 10000"/>
                  <a:gd name="connsiteX2494" fmla="*/ 419 w 10354"/>
                  <a:gd name="connsiteY2494" fmla="*/ 8009 h 10000"/>
                  <a:gd name="connsiteX2495" fmla="*/ 433 w 10354"/>
                  <a:gd name="connsiteY2495" fmla="*/ 8034 h 10000"/>
                  <a:gd name="connsiteX2496" fmla="*/ 442 w 10354"/>
                  <a:gd name="connsiteY2496" fmla="*/ 8060 h 10000"/>
                  <a:gd name="connsiteX2497" fmla="*/ 442 w 10354"/>
                  <a:gd name="connsiteY2497" fmla="*/ 8077 h 10000"/>
                  <a:gd name="connsiteX2498" fmla="*/ 461 w 10354"/>
                  <a:gd name="connsiteY2498" fmla="*/ 8111 h 10000"/>
                  <a:gd name="connsiteX2499" fmla="*/ 461 w 10354"/>
                  <a:gd name="connsiteY2499" fmla="*/ 8137 h 10000"/>
                  <a:gd name="connsiteX2500" fmla="*/ 447 w 10354"/>
                  <a:gd name="connsiteY2500" fmla="*/ 8145 h 10000"/>
                  <a:gd name="connsiteX2501" fmla="*/ 442 w 10354"/>
                  <a:gd name="connsiteY2501" fmla="*/ 8145 h 10000"/>
                  <a:gd name="connsiteX2502" fmla="*/ 442 w 10354"/>
                  <a:gd name="connsiteY2502" fmla="*/ 8162 h 10000"/>
                  <a:gd name="connsiteX2503" fmla="*/ 442 w 10354"/>
                  <a:gd name="connsiteY2503" fmla="*/ 8171 h 10000"/>
                  <a:gd name="connsiteX2504" fmla="*/ 447 w 10354"/>
                  <a:gd name="connsiteY2504" fmla="*/ 8214 h 10000"/>
                  <a:gd name="connsiteX2505" fmla="*/ 465 w 10354"/>
                  <a:gd name="connsiteY2505" fmla="*/ 8231 h 10000"/>
                  <a:gd name="connsiteX2506" fmla="*/ 488 w 10354"/>
                  <a:gd name="connsiteY2506" fmla="*/ 8231 h 10000"/>
                  <a:gd name="connsiteX2507" fmla="*/ 493 w 10354"/>
                  <a:gd name="connsiteY2507" fmla="*/ 8231 h 10000"/>
                  <a:gd name="connsiteX2508" fmla="*/ 502 w 10354"/>
                  <a:gd name="connsiteY2508" fmla="*/ 8231 h 10000"/>
                  <a:gd name="connsiteX2509" fmla="*/ 507 w 10354"/>
                  <a:gd name="connsiteY2509" fmla="*/ 8248 h 10000"/>
                  <a:gd name="connsiteX2510" fmla="*/ 521 w 10354"/>
                  <a:gd name="connsiteY2510" fmla="*/ 8274 h 10000"/>
                  <a:gd name="connsiteX2511" fmla="*/ 525 w 10354"/>
                  <a:gd name="connsiteY2511" fmla="*/ 8333 h 10000"/>
                  <a:gd name="connsiteX2512" fmla="*/ 525 w 10354"/>
                  <a:gd name="connsiteY2512" fmla="*/ 8359 h 10000"/>
                  <a:gd name="connsiteX2513" fmla="*/ 525 w 10354"/>
                  <a:gd name="connsiteY2513" fmla="*/ 8368 h 10000"/>
                  <a:gd name="connsiteX2514" fmla="*/ 548 w 10354"/>
                  <a:gd name="connsiteY2514" fmla="*/ 8393 h 10000"/>
                  <a:gd name="connsiteX2515" fmla="*/ 553 w 10354"/>
                  <a:gd name="connsiteY2515" fmla="*/ 8385 h 10000"/>
                  <a:gd name="connsiteX2516" fmla="*/ 562 w 10354"/>
                  <a:gd name="connsiteY2516" fmla="*/ 8385 h 10000"/>
                  <a:gd name="connsiteX2517" fmla="*/ 576 w 10354"/>
                  <a:gd name="connsiteY2517" fmla="*/ 8385 h 10000"/>
                  <a:gd name="connsiteX2518" fmla="*/ 585 w 10354"/>
                  <a:gd name="connsiteY2518" fmla="*/ 8410 h 10000"/>
                  <a:gd name="connsiteX2519" fmla="*/ 594 w 10354"/>
                  <a:gd name="connsiteY2519" fmla="*/ 8410 h 10000"/>
                  <a:gd name="connsiteX2520" fmla="*/ 608 w 10354"/>
                  <a:gd name="connsiteY2520" fmla="*/ 8410 h 10000"/>
                  <a:gd name="connsiteX2521" fmla="*/ 654 w 10354"/>
                  <a:gd name="connsiteY2521" fmla="*/ 8385 h 10000"/>
                  <a:gd name="connsiteX2522" fmla="*/ 659 w 10354"/>
                  <a:gd name="connsiteY2522" fmla="*/ 8385 h 10000"/>
                  <a:gd name="connsiteX2523" fmla="*/ 696 w 10354"/>
                  <a:gd name="connsiteY2523" fmla="*/ 8470 h 10000"/>
                  <a:gd name="connsiteX2524" fmla="*/ 700 w 10354"/>
                  <a:gd name="connsiteY2524" fmla="*/ 8470 h 10000"/>
                  <a:gd name="connsiteX2525" fmla="*/ 710 w 10354"/>
                  <a:gd name="connsiteY2525" fmla="*/ 8462 h 10000"/>
                  <a:gd name="connsiteX2526" fmla="*/ 714 w 10354"/>
                  <a:gd name="connsiteY2526" fmla="*/ 8462 h 10000"/>
                  <a:gd name="connsiteX2527" fmla="*/ 724 w 10354"/>
                  <a:gd name="connsiteY2527" fmla="*/ 8470 h 10000"/>
                  <a:gd name="connsiteX2528" fmla="*/ 733 w 10354"/>
                  <a:gd name="connsiteY2528" fmla="*/ 8470 h 10000"/>
                  <a:gd name="connsiteX2529" fmla="*/ 742 w 10354"/>
                  <a:gd name="connsiteY2529" fmla="*/ 8487 h 10000"/>
                  <a:gd name="connsiteX2530" fmla="*/ 747 w 10354"/>
                  <a:gd name="connsiteY2530" fmla="*/ 8496 h 10000"/>
                  <a:gd name="connsiteX2531" fmla="*/ 770 w 10354"/>
                  <a:gd name="connsiteY2531" fmla="*/ 8496 h 10000"/>
                  <a:gd name="connsiteX2532" fmla="*/ 783 w 10354"/>
                  <a:gd name="connsiteY2532" fmla="*/ 8521 h 10000"/>
                  <a:gd name="connsiteX2533" fmla="*/ 797 w 10354"/>
                  <a:gd name="connsiteY2533" fmla="*/ 8521 h 10000"/>
                  <a:gd name="connsiteX2534" fmla="*/ 806 w 10354"/>
                  <a:gd name="connsiteY2534" fmla="*/ 8530 h 10000"/>
                  <a:gd name="connsiteX2535" fmla="*/ 829 w 10354"/>
                  <a:gd name="connsiteY2535" fmla="*/ 8547 h 10000"/>
                  <a:gd name="connsiteX2536" fmla="*/ 834 w 10354"/>
                  <a:gd name="connsiteY2536" fmla="*/ 8556 h 10000"/>
                  <a:gd name="connsiteX2537" fmla="*/ 829 w 10354"/>
                  <a:gd name="connsiteY2537" fmla="*/ 8556 h 10000"/>
                  <a:gd name="connsiteX2538" fmla="*/ 834 w 10354"/>
                  <a:gd name="connsiteY2538" fmla="*/ 8607 h 10000"/>
                  <a:gd name="connsiteX2539" fmla="*/ 829 w 10354"/>
                  <a:gd name="connsiteY2539" fmla="*/ 8641 h 10000"/>
                  <a:gd name="connsiteX2540" fmla="*/ 806 w 10354"/>
                  <a:gd name="connsiteY2540" fmla="*/ 8658 h 10000"/>
                  <a:gd name="connsiteX2541" fmla="*/ 816 w 10354"/>
                  <a:gd name="connsiteY2541" fmla="*/ 8667 h 10000"/>
                  <a:gd name="connsiteX2542" fmla="*/ 820 w 10354"/>
                  <a:gd name="connsiteY2542" fmla="*/ 8667 h 10000"/>
                  <a:gd name="connsiteX2543" fmla="*/ 829 w 10354"/>
                  <a:gd name="connsiteY2543" fmla="*/ 8684 h 10000"/>
                  <a:gd name="connsiteX2544" fmla="*/ 806 w 10354"/>
                  <a:gd name="connsiteY2544" fmla="*/ 8692 h 10000"/>
                  <a:gd name="connsiteX2545" fmla="*/ 802 w 10354"/>
                  <a:gd name="connsiteY2545" fmla="*/ 8709 h 10000"/>
                  <a:gd name="connsiteX2546" fmla="*/ 802 w 10354"/>
                  <a:gd name="connsiteY2546" fmla="*/ 8735 h 10000"/>
                  <a:gd name="connsiteX2547" fmla="*/ 806 w 10354"/>
                  <a:gd name="connsiteY2547" fmla="*/ 8744 h 10000"/>
                  <a:gd name="connsiteX2548" fmla="*/ 816 w 10354"/>
                  <a:gd name="connsiteY2548" fmla="*/ 8752 h 10000"/>
                  <a:gd name="connsiteX2549" fmla="*/ 806 w 10354"/>
                  <a:gd name="connsiteY2549" fmla="*/ 8778 h 10000"/>
                  <a:gd name="connsiteX2550" fmla="*/ 820 w 10354"/>
                  <a:gd name="connsiteY2550" fmla="*/ 8778 h 10000"/>
                  <a:gd name="connsiteX2551" fmla="*/ 806 w 10354"/>
                  <a:gd name="connsiteY2551" fmla="*/ 8880 h 10000"/>
                  <a:gd name="connsiteX2552" fmla="*/ 797 w 10354"/>
                  <a:gd name="connsiteY2552" fmla="*/ 8880 h 10000"/>
                  <a:gd name="connsiteX2553" fmla="*/ 783 w 10354"/>
                  <a:gd name="connsiteY2553" fmla="*/ 8872 h 10000"/>
                  <a:gd name="connsiteX2554" fmla="*/ 770 w 10354"/>
                  <a:gd name="connsiteY2554" fmla="*/ 8880 h 10000"/>
                  <a:gd name="connsiteX2555" fmla="*/ 756 w 10354"/>
                  <a:gd name="connsiteY2555" fmla="*/ 8855 h 10000"/>
                  <a:gd name="connsiteX2556" fmla="*/ 733 w 10354"/>
                  <a:gd name="connsiteY2556" fmla="*/ 8906 h 10000"/>
                  <a:gd name="connsiteX2557" fmla="*/ 714 w 10354"/>
                  <a:gd name="connsiteY2557" fmla="*/ 8915 h 10000"/>
                  <a:gd name="connsiteX2558" fmla="*/ 710 w 10354"/>
                  <a:gd name="connsiteY2558" fmla="*/ 8940 h 10000"/>
                  <a:gd name="connsiteX2559" fmla="*/ 710 w 10354"/>
                  <a:gd name="connsiteY2559" fmla="*/ 9009 h 10000"/>
                  <a:gd name="connsiteX2560" fmla="*/ 728 w 10354"/>
                  <a:gd name="connsiteY2560" fmla="*/ 8991 h 10000"/>
                  <a:gd name="connsiteX2561" fmla="*/ 733 w 10354"/>
                  <a:gd name="connsiteY2561" fmla="*/ 8991 h 10000"/>
                  <a:gd name="connsiteX2562" fmla="*/ 747 w 10354"/>
                  <a:gd name="connsiteY2562" fmla="*/ 8983 h 10000"/>
                  <a:gd name="connsiteX2563" fmla="*/ 760 w 10354"/>
                  <a:gd name="connsiteY2563" fmla="*/ 8983 h 10000"/>
                  <a:gd name="connsiteX2564" fmla="*/ 770 w 10354"/>
                  <a:gd name="connsiteY2564" fmla="*/ 8983 h 10000"/>
                  <a:gd name="connsiteX2565" fmla="*/ 770 w 10354"/>
                  <a:gd name="connsiteY2565" fmla="*/ 8991 h 10000"/>
                  <a:gd name="connsiteX2566" fmla="*/ 783 w 10354"/>
                  <a:gd name="connsiteY2566" fmla="*/ 8991 h 10000"/>
                  <a:gd name="connsiteX2567" fmla="*/ 783 w 10354"/>
                  <a:gd name="connsiteY2567" fmla="*/ 9009 h 10000"/>
                  <a:gd name="connsiteX2568" fmla="*/ 783 w 10354"/>
                  <a:gd name="connsiteY2568" fmla="*/ 9017 h 10000"/>
                  <a:gd name="connsiteX2569" fmla="*/ 770 w 10354"/>
                  <a:gd name="connsiteY2569" fmla="*/ 9017 h 10000"/>
                  <a:gd name="connsiteX2570" fmla="*/ 724 w 10354"/>
                  <a:gd name="connsiteY2570" fmla="*/ 9051 h 10000"/>
                  <a:gd name="connsiteX2571" fmla="*/ 724 w 10354"/>
                  <a:gd name="connsiteY2571" fmla="*/ 9068 h 10000"/>
                  <a:gd name="connsiteX2572" fmla="*/ 728 w 10354"/>
                  <a:gd name="connsiteY2572" fmla="*/ 9077 h 10000"/>
                  <a:gd name="connsiteX2573" fmla="*/ 724 w 10354"/>
                  <a:gd name="connsiteY2573" fmla="*/ 9077 h 10000"/>
                  <a:gd name="connsiteX2574" fmla="*/ 710 w 10354"/>
                  <a:gd name="connsiteY2574" fmla="*/ 9077 h 10000"/>
                  <a:gd name="connsiteX2575" fmla="*/ 682 w 10354"/>
                  <a:gd name="connsiteY2575" fmla="*/ 9077 h 10000"/>
                  <a:gd name="connsiteX2576" fmla="*/ 673 w 10354"/>
                  <a:gd name="connsiteY2576" fmla="*/ 9103 h 10000"/>
                  <a:gd name="connsiteX2577" fmla="*/ 687 w 10354"/>
                  <a:gd name="connsiteY2577" fmla="*/ 9128 h 10000"/>
                  <a:gd name="connsiteX2578" fmla="*/ 700 w 10354"/>
                  <a:gd name="connsiteY2578" fmla="*/ 9128 h 10000"/>
                  <a:gd name="connsiteX2579" fmla="*/ 728 w 10354"/>
                  <a:gd name="connsiteY2579" fmla="*/ 9179 h 10000"/>
                  <a:gd name="connsiteX2580" fmla="*/ 724 w 10354"/>
                  <a:gd name="connsiteY2580" fmla="*/ 9188 h 10000"/>
                  <a:gd name="connsiteX2581" fmla="*/ 710 w 10354"/>
                  <a:gd name="connsiteY2581" fmla="*/ 9179 h 10000"/>
                  <a:gd name="connsiteX2582" fmla="*/ 700 w 10354"/>
                  <a:gd name="connsiteY2582" fmla="*/ 9205 h 10000"/>
                  <a:gd name="connsiteX2583" fmla="*/ 696 w 10354"/>
                  <a:gd name="connsiteY2583" fmla="*/ 9205 h 10000"/>
                  <a:gd name="connsiteX2584" fmla="*/ 654 w 10354"/>
                  <a:gd name="connsiteY2584" fmla="*/ 9299 h 10000"/>
                  <a:gd name="connsiteX2585" fmla="*/ 622 w 10354"/>
                  <a:gd name="connsiteY2585" fmla="*/ 9299 h 10000"/>
                  <a:gd name="connsiteX2586" fmla="*/ 613 w 10354"/>
                  <a:gd name="connsiteY2586" fmla="*/ 9316 h 10000"/>
                  <a:gd name="connsiteX2587" fmla="*/ 613 w 10354"/>
                  <a:gd name="connsiteY2587" fmla="*/ 9325 h 10000"/>
                  <a:gd name="connsiteX2588" fmla="*/ 608 w 10354"/>
                  <a:gd name="connsiteY2588" fmla="*/ 9342 h 10000"/>
                  <a:gd name="connsiteX2589" fmla="*/ 636 w 10354"/>
                  <a:gd name="connsiteY2589" fmla="*/ 9376 h 10000"/>
                  <a:gd name="connsiteX2590" fmla="*/ 641 w 10354"/>
                  <a:gd name="connsiteY2590" fmla="*/ 9402 h 10000"/>
                  <a:gd name="connsiteX2591" fmla="*/ 654 w 10354"/>
                  <a:gd name="connsiteY2591" fmla="*/ 9427 h 10000"/>
                  <a:gd name="connsiteX2592" fmla="*/ 668 w 10354"/>
                  <a:gd name="connsiteY2592" fmla="*/ 9427 h 10000"/>
                  <a:gd name="connsiteX2593" fmla="*/ 668 w 10354"/>
                  <a:gd name="connsiteY2593" fmla="*/ 9427 h 10000"/>
                  <a:gd name="connsiteX2594" fmla="*/ 774 w 10354"/>
                  <a:gd name="connsiteY2594" fmla="*/ 9547 h 10000"/>
                  <a:gd name="connsiteX2595" fmla="*/ 797 w 10354"/>
                  <a:gd name="connsiteY2595" fmla="*/ 9598 h 10000"/>
                  <a:gd name="connsiteX2596" fmla="*/ 802 w 10354"/>
                  <a:gd name="connsiteY2596" fmla="*/ 9598 h 10000"/>
                  <a:gd name="connsiteX2597" fmla="*/ 816 w 10354"/>
                  <a:gd name="connsiteY2597" fmla="*/ 9624 h 10000"/>
                  <a:gd name="connsiteX2598" fmla="*/ 843 w 10354"/>
                  <a:gd name="connsiteY2598" fmla="*/ 9615 h 10000"/>
                  <a:gd name="connsiteX2599" fmla="*/ 857 w 10354"/>
                  <a:gd name="connsiteY2599" fmla="*/ 9624 h 10000"/>
                  <a:gd name="connsiteX2600" fmla="*/ 862 w 10354"/>
                  <a:gd name="connsiteY2600" fmla="*/ 9615 h 10000"/>
                  <a:gd name="connsiteX2601" fmla="*/ 880 w 10354"/>
                  <a:gd name="connsiteY2601" fmla="*/ 9624 h 10000"/>
                  <a:gd name="connsiteX2602" fmla="*/ 889 w 10354"/>
                  <a:gd name="connsiteY2602" fmla="*/ 9641 h 10000"/>
                  <a:gd name="connsiteX2603" fmla="*/ 935 w 10354"/>
                  <a:gd name="connsiteY2603" fmla="*/ 9675 h 10000"/>
                  <a:gd name="connsiteX2604" fmla="*/ 977 w 10354"/>
                  <a:gd name="connsiteY2604" fmla="*/ 9667 h 10000"/>
                  <a:gd name="connsiteX2605" fmla="*/ 995 w 10354"/>
                  <a:gd name="connsiteY2605" fmla="*/ 9675 h 10000"/>
                  <a:gd name="connsiteX2606" fmla="*/ 1014 w 10354"/>
                  <a:gd name="connsiteY2606" fmla="*/ 9675 h 10000"/>
                  <a:gd name="connsiteX2607" fmla="*/ 1069 w 10354"/>
                  <a:gd name="connsiteY2607" fmla="*/ 9752 h 10000"/>
                  <a:gd name="connsiteX2608" fmla="*/ 1074 w 10354"/>
                  <a:gd name="connsiteY2608" fmla="*/ 9761 h 10000"/>
                  <a:gd name="connsiteX2609" fmla="*/ 1083 w 10354"/>
                  <a:gd name="connsiteY2609" fmla="*/ 9778 h 10000"/>
                  <a:gd name="connsiteX2610" fmla="*/ 1115 w 10354"/>
                  <a:gd name="connsiteY2610" fmla="*/ 9752 h 10000"/>
                  <a:gd name="connsiteX2611" fmla="*/ 1129 w 10354"/>
                  <a:gd name="connsiteY2611" fmla="*/ 9752 h 10000"/>
                  <a:gd name="connsiteX2612" fmla="*/ 1138 w 10354"/>
                  <a:gd name="connsiteY2612" fmla="*/ 9761 h 10000"/>
                  <a:gd name="connsiteX2613" fmla="*/ 1143 w 10354"/>
                  <a:gd name="connsiteY2613" fmla="*/ 9752 h 10000"/>
                  <a:gd name="connsiteX2614" fmla="*/ 1161 w 10354"/>
                  <a:gd name="connsiteY2614" fmla="*/ 9761 h 10000"/>
                  <a:gd name="connsiteX2615" fmla="*/ 1171 w 10354"/>
                  <a:gd name="connsiteY2615" fmla="*/ 9778 h 10000"/>
                  <a:gd name="connsiteX2616" fmla="*/ 1175 w 10354"/>
                  <a:gd name="connsiteY2616" fmla="*/ 9778 h 10000"/>
                  <a:gd name="connsiteX2617" fmla="*/ 1189 w 10354"/>
                  <a:gd name="connsiteY2617" fmla="*/ 9778 h 10000"/>
                  <a:gd name="connsiteX2618" fmla="*/ 1198 w 10354"/>
                  <a:gd name="connsiteY2618" fmla="*/ 9786 h 10000"/>
                  <a:gd name="connsiteX2619" fmla="*/ 1203 w 10354"/>
                  <a:gd name="connsiteY2619" fmla="*/ 9803 h 10000"/>
                  <a:gd name="connsiteX2620" fmla="*/ 1198 w 10354"/>
                  <a:gd name="connsiteY2620" fmla="*/ 9838 h 10000"/>
                  <a:gd name="connsiteX2621" fmla="*/ 1212 w 10354"/>
                  <a:gd name="connsiteY2621" fmla="*/ 9863 h 10000"/>
                  <a:gd name="connsiteX2622" fmla="*/ 1230 w 10354"/>
                  <a:gd name="connsiteY2622" fmla="*/ 9872 h 10000"/>
                  <a:gd name="connsiteX2623" fmla="*/ 1249 w 10354"/>
                  <a:gd name="connsiteY2623" fmla="*/ 9897 h 10000"/>
                  <a:gd name="connsiteX2624" fmla="*/ 1263 w 10354"/>
                  <a:gd name="connsiteY2624" fmla="*/ 9897 h 10000"/>
                  <a:gd name="connsiteX2625" fmla="*/ 1276 w 10354"/>
                  <a:gd name="connsiteY2625" fmla="*/ 9923 h 10000"/>
                  <a:gd name="connsiteX2626" fmla="*/ 1281 w 10354"/>
                  <a:gd name="connsiteY2626" fmla="*/ 9949 h 10000"/>
                  <a:gd name="connsiteX2627" fmla="*/ 1290 w 10354"/>
                  <a:gd name="connsiteY2627" fmla="*/ 9949 h 10000"/>
                  <a:gd name="connsiteX2628" fmla="*/ 1295 w 10354"/>
                  <a:gd name="connsiteY2628" fmla="*/ 10000 h 10000"/>
                  <a:gd name="connsiteX2629" fmla="*/ 1332 w 10354"/>
                  <a:gd name="connsiteY2629" fmla="*/ 10000 h 10000"/>
                  <a:gd name="connsiteX2630" fmla="*/ 1336 w 10354"/>
                  <a:gd name="connsiteY2630" fmla="*/ 10000 h 10000"/>
                  <a:gd name="connsiteX2631" fmla="*/ 1346 w 10354"/>
                  <a:gd name="connsiteY2631" fmla="*/ 9983 h 10000"/>
                  <a:gd name="connsiteX2632" fmla="*/ 1350 w 10354"/>
                  <a:gd name="connsiteY2632" fmla="*/ 9949 h 10000"/>
                  <a:gd name="connsiteX2633" fmla="*/ 1369 w 10354"/>
                  <a:gd name="connsiteY2633" fmla="*/ 9940 h 10000"/>
                  <a:gd name="connsiteX2634" fmla="*/ 1378 w 10354"/>
                  <a:gd name="connsiteY2634" fmla="*/ 9897 h 10000"/>
                  <a:gd name="connsiteX2635" fmla="*/ 1369 w 10354"/>
                  <a:gd name="connsiteY2635" fmla="*/ 9889 h 10000"/>
                  <a:gd name="connsiteX2636" fmla="*/ 1318 w 10354"/>
                  <a:gd name="connsiteY2636" fmla="*/ 9701 h 10000"/>
                  <a:gd name="connsiteX2637" fmla="*/ 1318 w 10354"/>
                  <a:gd name="connsiteY2637" fmla="*/ 9650 h 10000"/>
                  <a:gd name="connsiteX2638" fmla="*/ 1323 w 10354"/>
                  <a:gd name="connsiteY2638" fmla="*/ 9590 h 10000"/>
                  <a:gd name="connsiteX2639" fmla="*/ 1323 w 10354"/>
                  <a:gd name="connsiteY2639" fmla="*/ 9564 h 10000"/>
                  <a:gd name="connsiteX2640" fmla="*/ 1309 w 10354"/>
                  <a:gd name="connsiteY2640" fmla="*/ 9598 h 10000"/>
                  <a:gd name="connsiteX2641" fmla="*/ 1309 w 10354"/>
                  <a:gd name="connsiteY2641" fmla="*/ 9590 h 10000"/>
                  <a:gd name="connsiteX2642" fmla="*/ 1304 w 10354"/>
                  <a:gd name="connsiteY2642" fmla="*/ 9547 h 10000"/>
                  <a:gd name="connsiteX2643" fmla="*/ 1276 w 10354"/>
                  <a:gd name="connsiteY2643" fmla="*/ 9479 h 10000"/>
                  <a:gd name="connsiteX2644" fmla="*/ 1263 w 10354"/>
                  <a:gd name="connsiteY2644" fmla="*/ 9479 h 10000"/>
                  <a:gd name="connsiteX2645" fmla="*/ 1263 w 10354"/>
                  <a:gd name="connsiteY2645" fmla="*/ 9453 h 10000"/>
                  <a:gd name="connsiteX2646" fmla="*/ 1272 w 10354"/>
                  <a:gd name="connsiteY2646" fmla="*/ 9410 h 10000"/>
                  <a:gd name="connsiteX2647" fmla="*/ 1272 w 10354"/>
                  <a:gd name="connsiteY2647" fmla="*/ 9393 h 10000"/>
                  <a:gd name="connsiteX2648" fmla="*/ 1281 w 10354"/>
                  <a:gd name="connsiteY2648" fmla="*/ 9368 h 10000"/>
                  <a:gd name="connsiteX2649" fmla="*/ 1281 w 10354"/>
                  <a:gd name="connsiteY2649" fmla="*/ 9368 h 10000"/>
                  <a:gd name="connsiteX2650" fmla="*/ 1290 w 10354"/>
                  <a:gd name="connsiteY2650" fmla="*/ 9368 h 10000"/>
                  <a:gd name="connsiteX2651" fmla="*/ 1290 w 10354"/>
                  <a:gd name="connsiteY2651" fmla="*/ 9342 h 10000"/>
                  <a:gd name="connsiteX2652" fmla="*/ 1304 w 10354"/>
                  <a:gd name="connsiteY2652" fmla="*/ 9325 h 10000"/>
                  <a:gd name="connsiteX2653" fmla="*/ 1309 w 10354"/>
                  <a:gd name="connsiteY2653" fmla="*/ 9239 h 10000"/>
                  <a:gd name="connsiteX2654" fmla="*/ 1318 w 10354"/>
                  <a:gd name="connsiteY2654" fmla="*/ 9256 h 10000"/>
                  <a:gd name="connsiteX2655" fmla="*/ 1323 w 10354"/>
                  <a:gd name="connsiteY2655" fmla="*/ 9179 h 10000"/>
                  <a:gd name="connsiteX2656" fmla="*/ 1309 w 10354"/>
                  <a:gd name="connsiteY2656" fmla="*/ 9145 h 10000"/>
                  <a:gd name="connsiteX2657" fmla="*/ 1336 w 10354"/>
                  <a:gd name="connsiteY2657" fmla="*/ 9154 h 10000"/>
                  <a:gd name="connsiteX2658" fmla="*/ 1336 w 10354"/>
                  <a:gd name="connsiteY2658" fmla="*/ 9162 h 10000"/>
                  <a:gd name="connsiteX2659" fmla="*/ 1350 w 10354"/>
                  <a:gd name="connsiteY2659" fmla="*/ 9231 h 10000"/>
                  <a:gd name="connsiteX2660" fmla="*/ 1355 w 10354"/>
                  <a:gd name="connsiteY2660" fmla="*/ 9231 h 10000"/>
                  <a:gd name="connsiteX2661" fmla="*/ 1364 w 10354"/>
                  <a:gd name="connsiteY2661" fmla="*/ 9214 h 10000"/>
                  <a:gd name="connsiteX2662" fmla="*/ 1369 w 10354"/>
                  <a:gd name="connsiteY2662" fmla="*/ 9214 h 10000"/>
                  <a:gd name="connsiteX2663" fmla="*/ 1382 w 10354"/>
                  <a:gd name="connsiteY2663" fmla="*/ 9154 h 10000"/>
                  <a:gd name="connsiteX2664" fmla="*/ 1396 w 10354"/>
                  <a:gd name="connsiteY2664" fmla="*/ 9154 h 10000"/>
                  <a:gd name="connsiteX2665" fmla="*/ 1382 w 10354"/>
                  <a:gd name="connsiteY2665" fmla="*/ 9145 h 10000"/>
                  <a:gd name="connsiteX2666" fmla="*/ 1382 w 10354"/>
                  <a:gd name="connsiteY2666" fmla="*/ 9128 h 10000"/>
                  <a:gd name="connsiteX2667" fmla="*/ 1369 w 10354"/>
                  <a:gd name="connsiteY2667" fmla="*/ 9128 h 10000"/>
                  <a:gd name="connsiteX2668" fmla="*/ 1364 w 10354"/>
                  <a:gd name="connsiteY2668" fmla="*/ 9128 h 10000"/>
                  <a:gd name="connsiteX2669" fmla="*/ 1355 w 10354"/>
                  <a:gd name="connsiteY2669" fmla="*/ 9120 h 10000"/>
                  <a:gd name="connsiteX2670" fmla="*/ 1350 w 10354"/>
                  <a:gd name="connsiteY2670" fmla="*/ 9103 h 10000"/>
                  <a:gd name="connsiteX2671" fmla="*/ 1355 w 10354"/>
                  <a:gd name="connsiteY2671" fmla="*/ 9094 h 10000"/>
                  <a:gd name="connsiteX2672" fmla="*/ 1355 w 10354"/>
                  <a:gd name="connsiteY2672" fmla="*/ 9068 h 10000"/>
                  <a:gd name="connsiteX2673" fmla="*/ 1369 w 10354"/>
                  <a:gd name="connsiteY2673" fmla="*/ 9068 h 10000"/>
                  <a:gd name="connsiteX2674" fmla="*/ 1378 w 10354"/>
                  <a:gd name="connsiteY2674" fmla="*/ 9077 h 10000"/>
                  <a:gd name="connsiteX2675" fmla="*/ 1396 w 10354"/>
                  <a:gd name="connsiteY2675" fmla="*/ 9068 h 10000"/>
                  <a:gd name="connsiteX2676" fmla="*/ 1382 w 10354"/>
                  <a:gd name="connsiteY2676" fmla="*/ 8940 h 10000"/>
                  <a:gd name="connsiteX2677" fmla="*/ 1378 w 10354"/>
                  <a:gd name="connsiteY2677" fmla="*/ 8940 h 10000"/>
                  <a:gd name="connsiteX2678" fmla="*/ 1364 w 10354"/>
                  <a:gd name="connsiteY2678" fmla="*/ 8889 h 10000"/>
                  <a:gd name="connsiteX2679" fmla="*/ 1355 w 10354"/>
                  <a:gd name="connsiteY2679" fmla="*/ 8880 h 10000"/>
                  <a:gd name="connsiteX2680" fmla="*/ 1323 w 10354"/>
                  <a:gd name="connsiteY2680" fmla="*/ 8880 h 10000"/>
                  <a:gd name="connsiteX2681" fmla="*/ 1309 w 10354"/>
                  <a:gd name="connsiteY2681" fmla="*/ 8880 h 10000"/>
                  <a:gd name="connsiteX2682" fmla="*/ 1309 w 10354"/>
                  <a:gd name="connsiteY2682" fmla="*/ 8889 h 10000"/>
                  <a:gd name="connsiteX2683" fmla="*/ 1295 w 10354"/>
                  <a:gd name="connsiteY2683" fmla="*/ 8872 h 10000"/>
                  <a:gd name="connsiteX2684" fmla="*/ 1290 w 10354"/>
                  <a:gd name="connsiteY2684" fmla="*/ 8855 h 10000"/>
                  <a:gd name="connsiteX2685" fmla="*/ 1290 w 10354"/>
                  <a:gd name="connsiteY2685" fmla="*/ 8829 h 10000"/>
                  <a:gd name="connsiteX2686" fmla="*/ 1290 w 10354"/>
                  <a:gd name="connsiteY2686" fmla="*/ 8821 h 10000"/>
                  <a:gd name="connsiteX2687" fmla="*/ 1290 w 10354"/>
                  <a:gd name="connsiteY2687" fmla="*/ 8803 h 10000"/>
                  <a:gd name="connsiteX2688" fmla="*/ 1281 w 10354"/>
                  <a:gd name="connsiteY2688" fmla="*/ 8795 h 10000"/>
                  <a:gd name="connsiteX2689" fmla="*/ 1249 w 10354"/>
                  <a:gd name="connsiteY2689" fmla="*/ 8769 h 10000"/>
                  <a:gd name="connsiteX2690" fmla="*/ 1263 w 10354"/>
                  <a:gd name="connsiteY2690" fmla="*/ 8667 h 10000"/>
                  <a:gd name="connsiteX2691" fmla="*/ 1281 w 10354"/>
                  <a:gd name="connsiteY2691" fmla="*/ 8658 h 10000"/>
                  <a:gd name="connsiteX2692" fmla="*/ 1290 w 10354"/>
                  <a:gd name="connsiteY2692" fmla="*/ 8632 h 10000"/>
                  <a:gd name="connsiteX2693" fmla="*/ 1281 w 10354"/>
                  <a:gd name="connsiteY2693" fmla="*/ 8615 h 10000"/>
                  <a:gd name="connsiteX2694" fmla="*/ 1272 w 10354"/>
                  <a:gd name="connsiteY2694" fmla="*/ 8598 h 10000"/>
                  <a:gd name="connsiteX2695" fmla="*/ 1281 w 10354"/>
                  <a:gd name="connsiteY2695" fmla="*/ 8496 h 10000"/>
                  <a:gd name="connsiteX2696" fmla="*/ 1295 w 10354"/>
                  <a:gd name="connsiteY2696" fmla="*/ 8470 h 10000"/>
                  <a:gd name="connsiteX2697" fmla="*/ 1304 w 10354"/>
                  <a:gd name="connsiteY2697" fmla="*/ 8462 h 10000"/>
                  <a:gd name="connsiteX2698" fmla="*/ 1304 w 10354"/>
                  <a:gd name="connsiteY2698" fmla="*/ 8444 h 10000"/>
                  <a:gd name="connsiteX2699" fmla="*/ 1304 w 10354"/>
                  <a:gd name="connsiteY2699" fmla="*/ 8419 h 10000"/>
                  <a:gd name="connsiteX2700" fmla="*/ 1304 w 10354"/>
                  <a:gd name="connsiteY2700" fmla="*/ 8410 h 10000"/>
                  <a:gd name="connsiteX2701" fmla="*/ 1309 w 10354"/>
                  <a:gd name="connsiteY2701" fmla="*/ 8393 h 10000"/>
                  <a:gd name="connsiteX2702" fmla="*/ 1318 w 10354"/>
                  <a:gd name="connsiteY2702" fmla="*/ 8385 h 10000"/>
                  <a:gd name="connsiteX2703" fmla="*/ 1323 w 10354"/>
                  <a:gd name="connsiteY2703" fmla="*/ 8385 h 10000"/>
                  <a:gd name="connsiteX2704" fmla="*/ 1332 w 10354"/>
                  <a:gd name="connsiteY2704" fmla="*/ 8410 h 10000"/>
                  <a:gd name="connsiteX2705" fmla="*/ 1346 w 10354"/>
                  <a:gd name="connsiteY2705" fmla="*/ 8419 h 10000"/>
                  <a:gd name="connsiteX2706" fmla="*/ 1364 w 10354"/>
                  <a:gd name="connsiteY2706" fmla="*/ 8504 h 10000"/>
                  <a:gd name="connsiteX2707" fmla="*/ 1369 w 10354"/>
                  <a:gd name="connsiteY2707" fmla="*/ 8521 h 10000"/>
                  <a:gd name="connsiteX2708" fmla="*/ 1406 w 10354"/>
                  <a:gd name="connsiteY2708" fmla="*/ 8470 h 10000"/>
                  <a:gd name="connsiteX2709" fmla="*/ 1382 w 10354"/>
                  <a:gd name="connsiteY2709" fmla="*/ 8359 h 10000"/>
                  <a:gd name="connsiteX2710" fmla="*/ 1392 w 10354"/>
                  <a:gd name="connsiteY2710" fmla="*/ 8359 h 10000"/>
                  <a:gd name="connsiteX2711" fmla="*/ 1438 w 10354"/>
                  <a:gd name="connsiteY2711" fmla="*/ 8308 h 10000"/>
                  <a:gd name="connsiteX2712" fmla="*/ 1442 w 10354"/>
                  <a:gd name="connsiteY2712" fmla="*/ 8299 h 10000"/>
                  <a:gd name="connsiteX2713" fmla="*/ 1442 w 10354"/>
                  <a:gd name="connsiteY2713" fmla="*/ 8256 h 10000"/>
                  <a:gd name="connsiteX2714" fmla="*/ 1452 w 10354"/>
                  <a:gd name="connsiteY2714" fmla="*/ 8256 h 10000"/>
                  <a:gd name="connsiteX2715" fmla="*/ 1456 w 10354"/>
                  <a:gd name="connsiteY2715" fmla="*/ 8256 h 10000"/>
                  <a:gd name="connsiteX2716" fmla="*/ 1470 w 10354"/>
                  <a:gd name="connsiteY2716" fmla="*/ 8248 h 10000"/>
                  <a:gd name="connsiteX2717" fmla="*/ 1479 w 10354"/>
                  <a:gd name="connsiteY2717" fmla="*/ 8231 h 10000"/>
                  <a:gd name="connsiteX2718" fmla="*/ 1493 w 10354"/>
                  <a:gd name="connsiteY2718" fmla="*/ 8222 h 10000"/>
                  <a:gd name="connsiteX2719" fmla="*/ 1498 w 10354"/>
                  <a:gd name="connsiteY2719" fmla="*/ 8214 h 10000"/>
                  <a:gd name="connsiteX2720" fmla="*/ 1502 w 10354"/>
                  <a:gd name="connsiteY2720" fmla="*/ 8197 h 10000"/>
                  <a:gd name="connsiteX2721" fmla="*/ 1512 w 10354"/>
                  <a:gd name="connsiteY2721" fmla="*/ 8188 h 10000"/>
                  <a:gd name="connsiteX2722" fmla="*/ 1516 w 10354"/>
                  <a:gd name="connsiteY2722" fmla="*/ 8171 h 10000"/>
                  <a:gd name="connsiteX2723" fmla="*/ 1525 w 10354"/>
                  <a:gd name="connsiteY2723" fmla="*/ 8162 h 10000"/>
                  <a:gd name="connsiteX2724" fmla="*/ 1539 w 10354"/>
                  <a:gd name="connsiteY2724" fmla="*/ 8145 h 10000"/>
                  <a:gd name="connsiteX2725" fmla="*/ 1558 w 10354"/>
                  <a:gd name="connsiteY2725" fmla="*/ 8145 h 10000"/>
                  <a:gd name="connsiteX2726" fmla="*/ 1562 w 10354"/>
                  <a:gd name="connsiteY2726" fmla="*/ 8188 h 10000"/>
                  <a:gd name="connsiteX2727" fmla="*/ 1585 w 10354"/>
                  <a:gd name="connsiteY2727" fmla="*/ 8171 h 10000"/>
                  <a:gd name="connsiteX2728" fmla="*/ 1590 w 10354"/>
                  <a:gd name="connsiteY2728" fmla="*/ 8188 h 10000"/>
                  <a:gd name="connsiteX2729" fmla="*/ 1599 w 10354"/>
                  <a:gd name="connsiteY2729" fmla="*/ 8171 h 10000"/>
                  <a:gd name="connsiteX2730" fmla="*/ 1599 w 10354"/>
                  <a:gd name="connsiteY2730" fmla="*/ 8162 h 10000"/>
                  <a:gd name="connsiteX2731" fmla="*/ 1604 w 10354"/>
                  <a:gd name="connsiteY2731" fmla="*/ 8137 h 10000"/>
                  <a:gd name="connsiteX2732" fmla="*/ 1618 w 10354"/>
                  <a:gd name="connsiteY2732" fmla="*/ 8145 h 10000"/>
                  <a:gd name="connsiteX2733" fmla="*/ 1627 w 10354"/>
                  <a:gd name="connsiteY2733" fmla="*/ 8137 h 10000"/>
                  <a:gd name="connsiteX2734" fmla="*/ 1631 w 10354"/>
                  <a:gd name="connsiteY2734" fmla="*/ 8137 h 10000"/>
                  <a:gd name="connsiteX2735" fmla="*/ 1636 w 10354"/>
                  <a:gd name="connsiteY2735" fmla="*/ 8171 h 10000"/>
                  <a:gd name="connsiteX2736" fmla="*/ 1645 w 10354"/>
                  <a:gd name="connsiteY2736" fmla="*/ 8188 h 10000"/>
                  <a:gd name="connsiteX2737" fmla="*/ 1664 w 10354"/>
                  <a:gd name="connsiteY2737" fmla="*/ 8171 h 10000"/>
                  <a:gd name="connsiteX2738" fmla="*/ 1673 w 10354"/>
                  <a:gd name="connsiteY2738" fmla="*/ 8188 h 10000"/>
                  <a:gd name="connsiteX2739" fmla="*/ 1691 w 10354"/>
                  <a:gd name="connsiteY2739" fmla="*/ 8171 h 10000"/>
                  <a:gd name="connsiteX2740" fmla="*/ 1705 w 10354"/>
                  <a:gd name="connsiteY2740" fmla="*/ 8171 h 10000"/>
                  <a:gd name="connsiteX2741" fmla="*/ 1719 w 10354"/>
                  <a:gd name="connsiteY2741" fmla="*/ 8197 h 10000"/>
                  <a:gd name="connsiteX2742" fmla="*/ 1724 w 10354"/>
                  <a:gd name="connsiteY2742" fmla="*/ 8231 h 10000"/>
                  <a:gd name="connsiteX2743" fmla="*/ 1751 w 10354"/>
                  <a:gd name="connsiteY2743" fmla="*/ 8256 h 10000"/>
                  <a:gd name="connsiteX2744" fmla="*/ 1751 w 10354"/>
                  <a:gd name="connsiteY2744" fmla="*/ 8274 h 10000"/>
                  <a:gd name="connsiteX2745" fmla="*/ 1760 w 10354"/>
                  <a:gd name="connsiteY2745" fmla="*/ 8282 h 10000"/>
                  <a:gd name="connsiteX2746" fmla="*/ 1770 w 10354"/>
                  <a:gd name="connsiteY2746" fmla="*/ 8325 h 10000"/>
                  <a:gd name="connsiteX2747" fmla="*/ 1770 w 10354"/>
                  <a:gd name="connsiteY2747" fmla="*/ 8350 h 10000"/>
                  <a:gd name="connsiteX2748" fmla="*/ 1779 w 10354"/>
                  <a:gd name="connsiteY2748" fmla="*/ 8368 h 10000"/>
                  <a:gd name="connsiteX2749" fmla="*/ 1783 w 10354"/>
                  <a:gd name="connsiteY2749" fmla="*/ 8359 h 10000"/>
                  <a:gd name="connsiteX2750" fmla="*/ 1783 w 10354"/>
                  <a:gd name="connsiteY2750" fmla="*/ 8308 h 10000"/>
                  <a:gd name="connsiteX2751" fmla="*/ 1779 w 10354"/>
                  <a:gd name="connsiteY2751" fmla="*/ 8299 h 10000"/>
                  <a:gd name="connsiteX2752" fmla="*/ 1783 w 10354"/>
                  <a:gd name="connsiteY2752" fmla="*/ 8282 h 10000"/>
                  <a:gd name="connsiteX2753" fmla="*/ 1797 w 10354"/>
                  <a:gd name="connsiteY2753" fmla="*/ 8274 h 10000"/>
                  <a:gd name="connsiteX2754" fmla="*/ 1797 w 10354"/>
                  <a:gd name="connsiteY2754" fmla="*/ 8299 h 10000"/>
                  <a:gd name="connsiteX2755" fmla="*/ 1806 w 10354"/>
                  <a:gd name="connsiteY2755" fmla="*/ 8308 h 10000"/>
                  <a:gd name="connsiteX2756" fmla="*/ 1811 w 10354"/>
                  <a:gd name="connsiteY2756" fmla="*/ 8325 h 10000"/>
                  <a:gd name="connsiteX2757" fmla="*/ 1820 w 10354"/>
                  <a:gd name="connsiteY2757" fmla="*/ 8333 h 10000"/>
                  <a:gd name="connsiteX2758" fmla="*/ 1853 w 10354"/>
                  <a:gd name="connsiteY2758" fmla="*/ 8359 h 10000"/>
                  <a:gd name="connsiteX2759" fmla="*/ 1866 w 10354"/>
                  <a:gd name="connsiteY2759" fmla="*/ 8359 h 10000"/>
                  <a:gd name="connsiteX2760" fmla="*/ 1885 w 10354"/>
                  <a:gd name="connsiteY2760" fmla="*/ 8325 h 10000"/>
                  <a:gd name="connsiteX2761" fmla="*/ 1885 w 10354"/>
                  <a:gd name="connsiteY2761" fmla="*/ 8308 h 10000"/>
                  <a:gd name="connsiteX2762" fmla="*/ 1894 w 10354"/>
                  <a:gd name="connsiteY2762" fmla="*/ 8299 h 10000"/>
                  <a:gd name="connsiteX2763" fmla="*/ 1899 w 10354"/>
                  <a:gd name="connsiteY2763" fmla="*/ 8282 h 10000"/>
                  <a:gd name="connsiteX2764" fmla="*/ 1912 w 10354"/>
                  <a:gd name="connsiteY2764" fmla="*/ 8282 h 10000"/>
                  <a:gd name="connsiteX2765" fmla="*/ 1917 w 10354"/>
                  <a:gd name="connsiteY2765" fmla="*/ 8299 h 10000"/>
                  <a:gd name="connsiteX2766" fmla="*/ 1917 w 10354"/>
                  <a:gd name="connsiteY2766" fmla="*/ 8274 h 10000"/>
                  <a:gd name="connsiteX2767" fmla="*/ 1940 w 10354"/>
                  <a:gd name="connsiteY2767" fmla="*/ 8282 h 10000"/>
                  <a:gd name="connsiteX2768" fmla="*/ 1945 w 10354"/>
                  <a:gd name="connsiteY2768" fmla="*/ 8274 h 10000"/>
                  <a:gd name="connsiteX2769" fmla="*/ 1972 w 10354"/>
                  <a:gd name="connsiteY2769" fmla="*/ 8308 h 10000"/>
                  <a:gd name="connsiteX2770" fmla="*/ 1986 w 10354"/>
                  <a:gd name="connsiteY2770" fmla="*/ 8282 h 10000"/>
                  <a:gd name="connsiteX2771" fmla="*/ 1991 w 10354"/>
                  <a:gd name="connsiteY2771" fmla="*/ 8274 h 10000"/>
                  <a:gd name="connsiteX2772" fmla="*/ 2014 w 10354"/>
                  <a:gd name="connsiteY2772" fmla="*/ 8274 h 10000"/>
                  <a:gd name="connsiteX2773" fmla="*/ 2018 w 10354"/>
                  <a:gd name="connsiteY2773" fmla="*/ 8256 h 10000"/>
                  <a:gd name="connsiteX2774" fmla="*/ 2041 w 10354"/>
                  <a:gd name="connsiteY2774" fmla="*/ 8274 h 10000"/>
                  <a:gd name="connsiteX2775" fmla="*/ 2046 w 10354"/>
                  <a:gd name="connsiteY2775" fmla="*/ 8282 h 10000"/>
                  <a:gd name="connsiteX2776" fmla="*/ 2046 w 10354"/>
                  <a:gd name="connsiteY2776" fmla="*/ 8325 h 10000"/>
                  <a:gd name="connsiteX2777" fmla="*/ 2060 w 10354"/>
                  <a:gd name="connsiteY2777" fmla="*/ 8350 h 10000"/>
                  <a:gd name="connsiteX2778" fmla="*/ 2078 w 10354"/>
                  <a:gd name="connsiteY2778" fmla="*/ 8350 h 10000"/>
                  <a:gd name="connsiteX2779" fmla="*/ 2092 w 10354"/>
                  <a:gd name="connsiteY2779" fmla="*/ 8350 h 10000"/>
                  <a:gd name="connsiteX2780" fmla="*/ 2092 w 10354"/>
                  <a:gd name="connsiteY2780" fmla="*/ 8350 h 10000"/>
                  <a:gd name="connsiteX2781" fmla="*/ 2101 w 10354"/>
                  <a:gd name="connsiteY2781" fmla="*/ 8368 h 10000"/>
                  <a:gd name="connsiteX2782" fmla="*/ 2120 w 10354"/>
                  <a:gd name="connsiteY2782" fmla="*/ 8368 h 10000"/>
                  <a:gd name="connsiteX2783" fmla="*/ 2124 w 10354"/>
                  <a:gd name="connsiteY2783" fmla="*/ 8359 h 10000"/>
                  <a:gd name="connsiteX2784" fmla="*/ 2138 w 10354"/>
                  <a:gd name="connsiteY2784" fmla="*/ 8325 h 10000"/>
                  <a:gd name="connsiteX2785" fmla="*/ 2147 w 10354"/>
                  <a:gd name="connsiteY2785" fmla="*/ 8325 h 10000"/>
                  <a:gd name="connsiteX2786" fmla="*/ 2161 w 10354"/>
                  <a:gd name="connsiteY2786" fmla="*/ 8350 h 10000"/>
                  <a:gd name="connsiteX2787" fmla="*/ 2198 w 10354"/>
                  <a:gd name="connsiteY2787" fmla="*/ 8350 h 10000"/>
                  <a:gd name="connsiteX2788" fmla="*/ 2207 w 10354"/>
                  <a:gd name="connsiteY2788" fmla="*/ 8333 h 10000"/>
                  <a:gd name="connsiteX2789" fmla="*/ 2226 w 10354"/>
                  <a:gd name="connsiteY2789" fmla="*/ 8325 h 10000"/>
                  <a:gd name="connsiteX2790" fmla="*/ 2249 w 10354"/>
                  <a:gd name="connsiteY2790" fmla="*/ 8222 h 10000"/>
                  <a:gd name="connsiteX2791" fmla="*/ 2235 w 10354"/>
                  <a:gd name="connsiteY2791" fmla="*/ 8197 h 10000"/>
                  <a:gd name="connsiteX2792" fmla="*/ 2198 w 10354"/>
                  <a:gd name="connsiteY2792" fmla="*/ 8197 h 10000"/>
                  <a:gd name="connsiteX2793" fmla="*/ 2189 w 10354"/>
                  <a:gd name="connsiteY2793" fmla="*/ 8171 h 10000"/>
                  <a:gd name="connsiteX2794" fmla="*/ 2161 w 10354"/>
                  <a:gd name="connsiteY2794" fmla="*/ 8145 h 10000"/>
                  <a:gd name="connsiteX2795" fmla="*/ 2161 w 10354"/>
                  <a:gd name="connsiteY2795" fmla="*/ 8137 h 10000"/>
                  <a:gd name="connsiteX2796" fmla="*/ 2152 w 10354"/>
                  <a:gd name="connsiteY2796" fmla="*/ 8120 h 10000"/>
                  <a:gd name="connsiteX2797" fmla="*/ 2138 w 10354"/>
                  <a:gd name="connsiteY2797" fmla="*/ 8111 h 10000"/>
                  <a:gd name="connsiteX2798" fmla="*/ 2138 w 10354"/>
                  <a:gd name="connsiteY2798" fmla="*/ 8094 h 10000"/>
                  <a:gd name="connsiteX2799" fmla="*/ 2147 w 10354"/>
                  <a:gd name="connsiteY2799" fmla="*/ 8085 h 10000"/>
                  <a:gd name="connsiteX2800" fmla="*/ 2161 w 10354"/>
                  <a:gd name="connsiteY2800" fmla="*/ 8060 h 10000"/>
                  <a:gd name="connsiteX2801" fmla="*/ 2198 w 10354"/>
                  <a:gd name="connsiteY2801" fmla="*/ 8034 h 10000"/>
                  <a:gd name="connsiteX2802" fmla="*/ 2198 w 10354"/>
                  <a:gd name="connsiteY2802" fmla="*/ 8026 h 10000"/>
                  <a:gd name="connsiteX2803" fmla="*/ 2198 w 10354"/>
                  <a:gd name="connsiteY2803" fmla="*/ 8000 h 10000"/>
                  <a:gd name="connsiteX2804" fmla="*/ 2180 w 10354"/>
                  <a:gd name="connsiteY2804" fmla="*/ 7940 h 10000"/>
                  <a:gd name="connsiteX2805" fmla="*/ 2189 w 10354"/>
                  <a:gd name="connsiteY2805" fmla="*/ 7940 h 10000"/>
                  <a:gd name="connsiteX2806" fmla="*/ 2198 w 10354"/>
                  <a:gd name="connsiteY2806" fmla="*/ 7923 h 10000"/>
                  <a:gd name="connsiteX2807" fmla="*/ 2198 w 10354"/>
                  <a:gd name="connsiteY2807" fmla="*/ 7897 h 10000"/>
                  <a:gd name="connsiteX2808" fmla="*/ 2207 w 10354"/>
                  <a:gd name="connsiteY2808" fmla="*/ 7889 h 10000"/>
                  <a:gd name="connsiteX2809" fmla="*/ 2221 w 10354"/>
                  <a:gd name="connsiteY2809" fmla="*/ 7889 h 10000"/>
                  <a:gd name="connsiteX2810" fmla="*/ 2226 w 10354"/>
                  <a:gd name="connsiteY2810" fmla="*/ 7897 h 10000"/>
                  <a:gd name="connsiteX2811" fmla="*/ 2235 w 10354"/>
                  <a:gd name="connsiteY2811" fmla="*/ 7889 h 10000"/>
                  <a:gd name="connsiteX2812" fmla="*/ 2249 w 10354"/>
                  <a:gd name="connsiteY2812" fmla="*/ 7897 h 10000"/>
                  <a:gd name="connsiteX2813" fmla="*/ 2267 w 10354"/>
                  <a:gd name="connsiteY2813" fmla="*/ 7897 h 10000"/>
                  <a:gd name="connsiteX2814" fmla="*/ 2272 w 10354"/>
                  <a:gd name="connsiteY2814" fmla="*/ 7889 h 10000"/>
                  <a:gd name="connsiteX2815" fmla="*/ 2281 w 10354"/>
                  <a:gd name="connsiteY2815" fmla="*/ 7872 h 10000"/>
                  <a:gd name="connsiteX2816" fmla="*/ 2272 w 10354"/>
                  <a:gd name="connsiteY2816" fmla="*/ 7846 h 10000"/>
                  <a:gd name="connsiteX2817" fmla="*/ 2253 w 10354"/>
                  <a:gd name="connsiteY2817" fmla="*/ 7838 h 10000"/>
                  <a:gd name="connsiteX2818" fmla="*/ 2221 w 10354"/>
                  <a:gd name="connsiteY2818" fmla="*/ 7821 h 10000"/>
                  <a:gd name="connsiteX2819" fmla="*/ 2212 w 10354"/>
                  <a:gd name="connsiteY2819" fmla="*/ 7812 h 10000"/>
                  <a:gd name="connsiteX2820" fmla="*/ 2212 w 10354"/>
                  <a:gd name="connsiteY2820" fmla="*/ 7803 h 10000"/>
                  <a:gd name="connsiteX2821" fmla="*/ 2221 w 10354"/>
                  <a:gd name="connsiteY2821" fmla="*/ 7803 h 10000"/>
                  <a:gd name="connsiteX2822" fmla="*/ 2235 w 10354"/>
                  <a:gd name="connsiteY2822" fmla="*/ 7786 h 10000"/>
                  <a:gd name="connsiteX2823" fmla="*/ 2240 w 10354"/>
                  <a:gd name="connsiteY2823" fmla="*/ 7778 h 10000"/>
                  <a:gd name="connsiteX2824" fmla="*/ 2226 w 10354"/>
                  <a:gd name="connsiteY2824" fmla="*/ 7761 h 10000"/>
                  <a:gd name="connsiteX2825" fmla="*/ 2221 w 10354"/>
                  <a:gd name="connsiteY2825" fmla="*/ 7778 h 10000"/>
                  <a:gd name="connsiteX2826" fmla="*/ 2198 w 10354"/>
                  <a:gd name="connsiteY2826" fmla="*/ 7778 h 10000"/>
                  <a:gd name="connsiteX2827" fmla="*/ 2198 w 10354"/>
                  <a:gd name="connsiteY2827" fmla="*/ 7752 h 10000"/>
                  <a:gd name="connsiteX2828" fmla="*/ 2207 w 10354"/>
                  <a:gd name="connsiteY2828" fmla="*/ 7735 h 10000"/>
                  <a:gd name="connsiteX2829" fmla="*/ 2212 w 10354"/>
                  <a:gd name="connsiteY2829" fmla="*/ 7726 h 10000"/>
                  <a:gd name="connsiteX2830" fmla="*/ 2198 w 10354"/>
                  <a:gd name="connsiteY2830" fmla="*/ 7692 h 10000"/>
                  <a:gd name="connsiteX2831" fmla="*/ 2221 w 10354"/>
                  <a:gd name="connsiteY2831" fmla="*/ 7692 h 10000"/>
                  <a:gd name="connsiteX2832" fmla="*/ 2221 w 10354"/>
                  <a:gd name="connsiteY2832" fmla="*/ 7675 h 10000"/>
                  <a:gd name="connsiteX2833" fmla="*/ 2235 w 10354"/>
                  <a:gd name="connsiteY2833" fmla="*/ 7675 h 10000"/>
                  <a:gd name="connsiteX2834" fmla="*/ 2240 w 10354"/>
                  <a:gd name="connsiteY2834" fmla="*/ 7692 h 10000"/>
                  <a:gd name="connsiteX2835" fmla="*/ 2249 w 10354"/>
                  <a:gd name="connsiteY2835" fmla="*/ 7692 h 10000"/>
                  <a:gd name="connsiteX2836" fmla="*/ 2258 w 10354"/>
                  <a:gd name="connsiteY2836" fmla="*/ 7692 h 10000"/>
                  <a:gd name="connsiteX2837" fmla="*/ 2267 w 10354"/>
                  <a:gd name="connsiteY2837" fmla="*/ 7692 h 10000"/>
                  <a:gd name="connsiteX2838" fmla="*/ 2295 w 10354"/>
                  <a:gd name="connsiteY2838" fmla="*/ 7692 h 10000"/>
                  <a:gd name="connsiteX2839" fmla="*/ 2300 w 10354"/>
                  <a:gd name="connsiteY2839" fmla="*/ 7701 h 10000"/>
                  <a:gd name="connsiteX2840" fmla="*/ 2313 w 10354"/>
                  <a:gd name="connsiteY2840" fmla="*/ 7675 h 10000"/>
                  <a:gd name="connsiteX2841" fmla="*/ 2323 w 10354"/>
                  <a:gd name="connsiteY2841" fmla="*/ 7675 h 10000"/>
                  <a:gd name="connsiteX2842" fmla="*/ 2341 w 10354"/>
                  <a:gd name="connsiteY2842" fmla="*/ 7675 h 10000"/>
                  <a:gd name="connsiteX2843" fmla="*/ 2346 w 10354"/>
                  <a:gd name="connsiteY2843" fmla="*/ 7667 h 10000"/>
                  <a:gd name="connsiteX2844" fmla="*/ 2359 w 10354"/>
                  <a:gd name="connsiteY2844" fmla="*/ 7650 h 10000"/>
                  <a:gd name="connsiteX2845" fmla="*/ 2373 w 10354"/>
                  <a:gd name="connsiteY2845" fmla="*/ 7624 h 10000"/>
                  <a:gd name="connsiteX2846" fmla="*/ 2382 w 10354"/>
                  <a:gd name="connsiteY2846" fmla="*/ 7641 h 10000"/>
                  <a:gd name="connsiteX2847" fmla="*/ 2396 w 10354"/>
                  <a:gd name="connsiteY2847" fmla="*/ 7650 h 10000"/>
                  <a:gd name="connsiteX2848" fmla="*/ 2401 w 10354"/>
                  <a:gd name="connsiteY2848" fmla="*/ 7650 h 10000"/>
                  <a:gd name="connsiteX2849" fmla="*/ 2401 w 10354"/>
                  <a:gd name="connsiteY2849" fmla="*/ 7624 h 10000"/>
                  <a:gd name="connsiteX2850" fmla="*/ 2419 w 10354"/>
                  <a:gd name="connsiteY2850" fmla="*/ 7624 h 10000"/>
                  <a:gd name="connsiteX2851" fmla="*/ 2433 w 10354"/>
                  <a:gd name="connsiteY2851" fmla="*/ 7615 h 10000"/>
                  <a:gd name="connsiteX2852" fmla="*/ 2442 w 10354"/>
                  <a:gd name="connsiteY2852" fmla="*/ 7615 h 10000"/>
                  <a:gd name="connsiteX2853" fmla="*/ 2447 w 10354"/>
                  <a:gd name="connsiteY2853" fmla="*/ 7598 h 10000"/>
                  <a:gd name="connsiteX2854" fmla="*/ 2461 w 10354"/>
                  <a:gd name="connsiteY2854" fmla="*/ 7598 h 10000"/>
                  <a:gd name="connsiteX2855" fmla="*/ 2465 w 10354"/>
                  <a:gd name="connsiteY2855" fmla="*/ 7615 h 10000"/>
                  <a:gd name="connsiteX2856" fmla="*/ 2479 w 10354"/>
                  <a:gd name="connsiteY2856" fmla="*/ 7564 h 10000"/>
                  <a:gd name="connsiteX2857" fmla="*/ 2488 w 10354"/>
                  <a:gd name="connsiteY2857" fmla="*/ 7556 h 10000"/>
                  <a:gd name="connsiteX2858" fmla="*/ 2493 w 10354"/>
                  <a:gd name="connsiteY2858" fmla="*/ 7556 h 10000"/>
                  <a:gd name="connsiteX2859" fmla="*/ 2507 w 10354"/>
                  <a:gd name="connsiteY2859" fmla="*/ 7556 h 10000"/>
                  <a:gd name="connsiteX2860" fmla="*/ 2530 w 10354"/>
                  <a:gd name="connsiteY2860" fmla="*/ 7538 h 10000"/>
                  <a:gd name="connsiteX2861" fmla="*/ 2530 w 10354"/>
                  <a:gd name="connsiteY2861" fmla="*/ 7556 h 10000"/>
                  <a:gd name="connsiteX2862" fmla="*/ 2641 w 10354"/>
                  <a:gd name="connsiteY2862" fmla="*/ 7504 h 10000"/>
                  <a:gd name="connsiteX2863" fmla="*/ 2654 w 10354"/>
                  <a:gd name="connsiteY2863" fmla="*/ 7487 h 10000"/>
                  <a:gd name="connsiteX2864" fmla="*/ 2664 w 10354"/>
                  <a:gd name="connsiteY2864" fmla="*/ 7487 h 10000"/>
                  <a:gd name="connsiteX2865" fmla="*/ 2668 w 10354"/>
                  <a:gd name="connsiteY2865" fmla="*/ 7479 h 10000"/>
                  <a:gd name="connsiteX2866" fmla="*/ 2673 w 10354"/>
                  <a:gd name="connsiteY2866" fmla="*/ 7462 h 10000"/>
                  <a:gd name="connsiteX2867" fmla="*/ 2673 w 10354"/>
                  <a:gd name="connsiteY2867" fmla="*/ 7427 h 10000"/>
                  <a:gd name="connsiteX2868" fmla="*/ 2687 w 10354"/>
                  <a:gd name="connsiteY2868" fmla="*/ 7436 h 10000"/>
                  <a:gd name="connsiteX2869" fmla="*/ 2696 w 10354"/>
                  <a:gd name="connsiteY2869" fmla="*/ 7427 h 10000"/>
                  <a:gd name="connsiteX2870" fmla="*/ 2700 w 10354"/>
                  <a:gd name="connsiteY2870" fmla="*/ 7419 h 10000"/>
                  <a:gd name="connsiteX2871" fmla="*/ 2710 w 10354"/>
                  <a:gd name="connsiteY2871" fmla="*/ 7402 h 10000"/>
                  <a:gd name="connsiteX2872" fmla="*/ 2724 w 10354"/>
                  <a:gd name="connsiteY2872" fmla="*/ 7402 h 10000"/>
                  <a:gd name="connsiteX2873" fmla="*/ 2724 w 10354"/>
                  <a:gd name="connsiteY2873" fmla="*/ 7393 h 10000"/>
                  <a:gd name="connsiteX2874" fmla="*/ 2737 w 10354"/>
                  <a:gd name="connsiteY2874" fmla="*/ 7393 h 10000"/>
                  <a:gd name="connsiteX2875" fmla="*/ 2742 w 10354"/>
                  <a:gd name="connsiteY2875" fmla="*/ 7402 h 10000"/>
                  <a:gd name="connsiteX2876" fmla="*/ 2747 w 10354"/>
                  <a:gd name="connsiteY2876" fmla="*/ 7402 h 10000"/>
                  <a:gd name="connsiteX2877" fmla="*/ 2760 w 10354"/>
                  <a:gd name="connsiteY2877" fmla="*/ 7402 h 10000"/>
                  <a:gd name="connsiteX2878" fmla="*/ 2770 w 10354"/>
                  <a:gd name="connsiteY2878" fmla="*/ 7402 h 10000"/>
                  <a:gd name="connsiteX2879" fmla="*/ 2774 w 10354"/>
                  <a:gd name="connsiteY2879" fmla="*/ 7402 h 10000"/>
                  <a:gd name="connsiteX2880" fmla="*/ 2783 w 10354"/>
                  <a:gd name="connsiteY2880" fmla="*/ 7419 h 10000"/>
                  <a:gd name="connsiteX2881" fmla="*/ 2802 w 10354"/>
                  <a:gd name="connsiteY2881" fmla="*/ 7436 h 10000"/>
                  <a:gd name="connsiteX2882" fmla="*/ 2816 w 10354"/>
                  <a:gd name="connsiteY2882" fmla="*/ 7419 h 10000"/>
                  <a:gd name="connsiteX2883" fmla="*/ 2834 w 10354"/>
                  <a:gd name="connsiteY2883" fmla="*/ 7419 h 10000"/>
                  <a:gd name="connsiteX2884" fmla="*/ 2843 w 10354"/>
                  <a:gd name="connsiteY2884" fmla="*/ 7419 h 10000"/>
                  <a:gd name="connsiteX2885" fmla="*/ 2848 w 10354"/>
                  <a:gd name="connsiteY2885" fmla="*/ 7436 h 10000"/>
                  <a:gd name="connsiteX2886" fmla="*/ 2857 w 10354"/>
                  <a:gd name="connsiteY2886" fmla="*/ 7453 h 10000"/>
                  <a:gd name="connsiteX2887" fmla="*/ 2857 w 10354"/>
                  <a:gd name="connsiteY2887" fmla="*/ 7504 h 10000"/>
                  <a:gd name="connsiteX2888" fmla="*/ 2862 w 10354"/>
                  <a:gd name="connsiteY2888" fmla="*/ 7530 h 10000"/>
                  <a:gd name="connsiteX2889" fmla="*/ 2876 w 10354"/>
                  <a:gd name="connsiteY2889" fmla="*/ 7538 h 10000"/>
                  <a:gd name="connsiteX2890" fmla="*/ 2871 w 10354"/>
                  <a:gd name="connsiteY2890" fmla="*/ 7564 h 10000"/>
                  <a:gd name="connsiteX2891" fmla="*/ 2871 w 10354"/>
                  <a:gd name="connsiteY2891" fmla="*/ 7598 h 10000"/>
                  <a:gd name="connsiteX2892" fmla="*/ 2857 w 10354"/>
                  <a:gd name="connsiteY2892" fmla="*/ 7624 h 10000"/>
                  <a:gd name="connsiteX2893" fmla="*/ 2862 w 10354"/>
                  <a:gd name="connsiteY2893" fmla="*/ 7641 h 10000"/>
                  <a:gd name="connsiteX2894" fmla="*/ 2871 w 10354"/>
                  <a:gd name="connsiteY2894" fmla="*/ 7667 h 10000"/>
                  <a:gd name="connsiteX2895" fmla="*/ 2880 w 10354"/>
                  <a:gd name="connsiteY2895" fmla="*/ 7650 h 10000"/>
                  <a:gd name="connsiteX2896" fmla="*/ 2894 w 10354"/>
                  <a:gd name="connsiteY2896" fmla="*/ 7667 h 10000"/>
                  <a:gd name="connsiteX2897" fmla="*/ 2903 w 10354"/>
                  <a:gd name="connsiteY2897" fmla="*/ 7667 h 10000"/>
                  <a:gd name="connsiteX2898" fmla="*/ 2908 w 10354"/>
                  <a:gd name="connsiteY2898" fmla="*/ 7641 h 10000"/>
                  <a:gd name="connsiteX2899" fmla="*/ 2917 w 10354"/>
                  <a:gd name="connsiteY2899" fmla="*/ 7641 h 10000"/>
                  <a:gd name="connsiteX2900" fmla="*/ 2922 w 10354"/>
                  <a:gd name="connsiteY2900" fmla="*/ 7641 h 10000"/>
                  <a:gd name="connsiteX2901" fmla="*/ 2931 w 10354"/>
                  <a:gd name="connsiteY2901" fmla="*/ 7615 h 10000"/>
                  <a:gd name="connsiteX2902" fmla="*/ 2935 w 10354"/>
                  <a:gd name="connsiteY2902" fmla="*/ 7615 h 10000"/>
                  <a:gd name="connsiteX2903" fmla="*/ 2945 w 10354"/>
                  <a:gd name="connsiteY2903" fmla="*/ 7650 h 10000"/>
                  <a:gd name="connsiteX2904" fmla="*/ 2949 w 10354"/>
                  <a:gd name="connsiteY2904" fmla="*/ 7667 h 10000"/>
                  <a:gd name="connsiteX2905" fmla="*/ 2949 w 10354"/>
                  <a:gd name="connsiteY2905" fmla="*/ 7675 h 10000"/>
                  <a:gd name="connsiteX2906" fmla="*/ 2945 w 10354"/>
                  <a:gd name="connsiteY2906" fmla="*/ 7692 h 10000"/>
                  <a:gd name="connsiteX2907" fmla="*/ 2963 w 10354"/>
                  <a:gd name="connsiteY2907" fmla="*/ 7701 h 10000"/>
                  <a:gd name="connsiteX2908" fmla="*/ 2963 w 10354"/>
                  <a:gd name="connsiteY2908" fmla="*/ 7675 h 10000"/>
                  <a:gd name="connsiteX2909" fmla="*/ 2954 w 10354"/>
                  <a:gd name="connsiteY2909" fmla="*/ 7667 h 10000"/>
                  <a:gd name="connsiteX2910" fmla="*/ 2963 w 10354"/>
                  <a:gd name="connsiteY2910" fmla="*/ 7667 h 10000"/>
                  <a:gd name="connsiteX2911" fmla="*/ 2982 w 10354"/>
                  <a:gd name="connsiteY2911" fmla="*/ 7667 h 10000"/>
                  <a:gd name="connsiteX2912" fmla="*/ 2991 w 10354"/>
                  <a:gd name="connsiteY2912" fmla="*/ 7675 h 10000"/>
                  <a:gd name="connsiteX2913" fmla="*/ 2995 w 10354"/>
                  <a:gd name="connsiteY2913" fmla="*/ 7692 h 10000"/>
                  <a:gd name="connsiteX2914" fmla="*/ 3009 w 10354"/>
                  <a:gd name="connsiteY2914" fmla="*/ 7701 h 10000"/>
                  <a:gd name="connsiteX2915" fmla="*/ 3018 w 10354"/>
                  <a:gd name="connsiteY2915" fmla="*/ 7701 h 10000"/>
                  <a:gd name="connsiteX2916" fmla="*/ 3023 w 10354"/>
                  <a:gd name="connsiteY2916" fmla="*/ 7692 h 10000"/>
                  <a:gd name="connsiteX2917" fmla="*/ 3028 w 10354"/>
                  <a:gd name="connsiteY2917" fmla="*/ 7675 h 10000"/>
                  <a:gd name="connsiteX2918" fmla="*/ 3037 w 10354"/>
                  <a:gd name="connsiteY2918" fmla="*/ 7692 h 10000"/>
                  <a:gd name="connsiteX2919" fmla="*/ 3028 w 10354"/>
                  <a:gd name="connsiteY2919" fmla="*/ 7709 h 10000"/>
                  <a:gd name="connsiteX2920" fmla="*/ 3023 w 10354"/>
                  <a:gd name="connsiteY2920" fmla="*/ 7709 h 10000"/>
                  <a:gd name="connsiteX2921" fmla="*/ 3018 w 10354"/>
                  <a:gd name="connsiteY2921" fmla="*/ 7726 h 10000"/>
                  <a:gd name="connsiteX2922" fmla="*/ 3009 w 10354"/>
                  <a:gd name="connsiteY2922" fmla="*/ 7735 h 10000"/>
                  <a:gd name="connsiteX2923" fmla="*/ 3009 w 10354"/>
                  <a:gd name="connsiteY2923" fmla="*/ 7761 h 10000"/>
                  <a:gd name="connsiteX2924" fmla="*/ 3009 w 10354"/>
                  <a:gd name="connsiteY2924" fmla="*/ 7778 h 10000"/>
                  <a:gd name="connsiteX2925" fmla="*/ 3018 w 10354"/>
                  <a:gd name="connsiteY2925" fmla="*/ 7786 h 10000"/>
                  <a:gd name="connsiteX2926" fmla="*/ 3023 w 10354"/>
                  <a:gd name="connsiteY2926" fmla="*/ 7786 h 10000"/>
                  <a:gd name="connsiteX2927" fmla="*/ 3028 w 10354"/>
                  <a:gd name="connsiteY2927" fmla="*/ 7778 h 10000"/>
                  <a:gd name="connsiteX2928" fmla="*/ 3051 w 10354"/>
                  <a:gd name="connsiteY2928" fmla="*/ 7761 h 10000"/>
                  <a:gd name="connsiteX2929" fmla="*/ 3055 w 10354"/>
                  <a:gd name="connsiteY2929" fmla="*/ 7778 h 10000"/>
                  <a:gd name="connsiteX2930" fmla="*/ 3065 w 10354"/>
                  <a:gd name="connsiteY2930" fmla="*/ 7761 h 10000"/>
                  <a:gd name="connsiteX2931" fmla="*/ 3069 w 10354"/>
                  <a:gd name="connsiteY2931" fmla="*/ 7786 h 10000"/>
                  <a:gd name="connsiteX2932" fmla="*/ 3083 w 10354"/>
                  <a:gd name="connsiteY2932" fmla="*/ 7786 h 10000"/>
                  <a:gd name="connsiteX2933" fmla="*/ 3078 w 10354"/>
                  <a:gd name="connsiteY2933" fmla="*/ 7761 h 10000"/>
                  <a:gd name="connsiteX2934" fmla="*/ 3083 w 10354"/>
                  <a:gd name="connsiteY2934" fmla="*/ 7752 h 10000"/>
                  <a:gd name="connsiteX2935" fmla="*/ 3097 w 10354"/>
                  <a:gd name="connsiteY2935" fmla="*/ 7752 h 10000"/>
                  <a:gd name="connsiteX2936" fmla="*/ 3111 w 10354"/>
                  <a:gd name="connsiteY2936" fmla="*/ 7726 h 10000"/>
                  <a:gd name="connsiteX2937" fmla="*/ 3124 w 10354"/>
                  <a:gd name="connsiteY2937" fmla="*/ 7709 h 10000"/>
                  <a:gd name="connsiteX2938" fmla="*/ 3143 w 10354"/>
                  <a:gd name="connsiteY2938" fmla="*/ 7692 h 10000"/>
                  <a:gd name="connsiteX2939" fmla="*/ 3152 w 10354"/>
                  <a:gd name="connsiteY2939" fmla="*/ 7667 h 10000"/>
                  <a:gd name="connsiteX2940" fmla="*/ 3157 w 10354"/>
                  <a:gd name="connsiteY2940" fmla="*/ 7650 h 10000"/>
                  <a:gd name="connsiteX2941" fmla="*/ 3161 w 10354"/>
                  <a:gd name="connsiteY2941" fmla="*/ 7650 h 10000"/>
                  <a:gd name="connsiteX2942" fmla="*/ 3189 w 10354"/>
                  <a:gd name="connsiteY2942" fmla="*/ 7641 h 10000"/>
                  <a:gd name="connsiteX2943" fmla="*/ 3198 w 10354"/>
                  <a:gd name="connsiteY2943" fmla="*/ 7624 h 10000"/>
                  <a:gd name="connsiteX2944" fmla="*/ 3217 w 10354"/>
                  <a:gd name="connsiteY2944" fmla="*/ 7615 h 10000"/>
                  <a:gd name="connsiteX2945" fmla="*/ 3235 w 10354"/>
                  <a:gd name="connsiteY2945" fmla="*/ 7598 h 10000"/>
                  <a:gd name="connsiteX2946" fmla="*/ 3235 w 10354"/>
                  <a:gd name="connsiteY2946" fmla="*/ 7615 h 10000"/>
                  <a:gd name="connsiteX2947" fmla="*/ 3235 w 10354"/>
                  <a:gd name="connsiteY2947" fmla="*/ 7641 h 10000"/>
                  <a:gd name="connsiteX2948" fmla="*/ 3235 w 10354"/>
                  <a:gd name="connsiteY2948" fmla="*/ 7650 h 10000"/>
                  <a:gd name="connsiteX2949" fmla="*/ 3226 w 10354"/>
                  <a:gd name="connsiteY2949" fmla="*/ 7650 h 10000"/>
                  <a:gd name="connsiteX2950" fmla="*/ 3217 w 10354"/>
                  <a:gd name="connsiteY2950" fmla="*/ 7650 h 10000"/>
                  <a:gd name="connsiteX2951" fmla="*/ 3212 w 10354"/>
                  <a:gd name="connsiteY2951" fmla="*/ 7675 h 10000"/>
                  <a:gd name="connsiteX2952" fmla="*/ 3212 w 10354"/>
                  <a:gd name="connsiteY2952" fmla="*/ 7675 h 10000"/>
                  <a:gd name="connsiteX0" fmla="*/ 3212 w 10586"/>
                  <a:gd name="connsiteY0" fmla="*/ 7675 h 10000"/>
                  <a:gd name="connsiteX1" fmla="*/ 3217 w 10586"/>
                  <a:gd name="connsiteY1" fmla="*/ 7692 h 10000"/>
                  <a:gd name="connsiteX2" fmla="*/ 3226 w 10586"/>
                  <a:gd name="connsiteY2" fmla="*/ 7692 h 10000"/>
                  <a:gd name="connsiteX3" fmla="*/ 3309 w 10586"/>
                  <a:gd name="connsiteY3" fmla="*/ 7838 h 10000"/>
                  <a:gd name="connsiteX4" fmla="*/ 3452 w 10586"/>
                  <a:gd name="connsiteY4" fmla="*/ 8325 h 10000"/>
                  <a:gd name="connsiteX5" fmla="*/ 3470 w 10586"/>
                  <a:gd name="connsiteY5" fmla="*/ 8299 h 10000"/>
                  <a:gd name="connsiteX6" fmla="*/ 3470 w 10586"/>
                  <a:gd name="connsiteY6" fmla="*/ 8282 h 10000"/>
                  <a:gd name="connsiteX7" fmla="*/ 3470 w 10586"/>
                  <a:gd name="connsiteY7" fmla="*/ 8274 h 10000"/>
                  <a:gd name="connsiteX8" fmla="*/ 3484 w 10586"/>
                  <a:gd name="connsiteY8" fmla="*/ 8231 h 10000"/>
                  <a:gd name="connsiteX9" fmla="*/ 3498 w 10586"/>
                  <a:gd name="connsiteY9" fmla="*/ 8231 h 10000"/>
                  <a:gd name="connsiteX10" fmla="*/ 3498 w 10586"/>
                  <a:gd name="connsiteY10" fmla="*/ 8248 h 10000"/>
                  <a:gd name="connsiteX11" fmla="*/ 3512 w 10586"/>
                  <a:gd name="connsiteY11" fmla="*/ 8256 h 10000"/>
                  <a:gd name="connsiteX12" fmla="*/ 3525 w 10586"/>
                  <a:gd name="connsiteY12" fmla="*/ 8274 h 10000"/>
                  <a:gd name="connsiteX13" fmla="*/ 3525 w 10586"/>
                  <a:gd name="connsiteY13" fmla="*/ 8282 h 10000"/>
                  <a:gd name="connsiteX14" fmla="*/ 3525 w 10586"/>
                  <a:gd name="connsiteY14" fmla="*/ 8308 h 10000"/>
                  <a:gd name="connsiteX15" fmla="*/ 3530 w 10586"/>
                  <a:gd name="connsiteY15" fmla="*/ 8308 h 10000"/>
                  <a:gd name="connsiteX16" fmla="*/ 3539 w 10586"/>
                  <a:gd name="connsiteY16" fmla="*/ 8333 h 10000"/>
                  <a:gd name="connsiteX17" fmla="*/ 3571 w 10586"/>
                  <a:gd name="connsiteY17" fmla="*/ 8333 h 10000"/>
                  <a:gd name="connsiteX18" fmla="*/ 3590 w 10586"/>
                  <a:gd name="connsiteY18" fmla="*/ 8350 h 10000"/>
                  <a:gd name="connsiteX19" fmla="*/ 3599 w 10586"/>
                  <a:gd name="connsiteY19" fmla="*/ 8333 h 10000"/>
                  <a:gd name="connsiteX20" fmla="*/ 3618 w 10586"/>
                  <a:gd name="connsiteY20" fmla="*/ 8333 h 10000"/>
                  <a:gd name="connsiteX21" fmla="*/ 3618 w 10586"/>
                  <a:gd name="connsiteY21" fmla="*/ 8325 h 10000"/>
                  <a:gd name="connsiteX22" fmla="*/ 3627 w 10586"/>
                  <a:gd name="connsiteY22" fmla="*/ 8308 h 10000"/>
                  <a:gd name="connsiteX23" fmla="*/ 3641 w 10586"/>
                  <a:gd name="connsiteY23" fmla="*/ 8308 h 10000"/>
                  <a:gd name="connsiteX24" fmla="*/ 3645 w 10586"/>
                  <a:gd name="connsiteY24" fmla="*/ 8308 h 10000"/>
                  <a:gd name="connsiteX25" fmla="*/ 3650 w 10586"/>
                  <a:gd name="connsiteY25" fmla="*/ 8299 h 10000"/>
                  <a:gd name="connsiteX26" fmla="*/ 3659 w 10586"/>
                  <a:gd name="connsiteY26" fmla="*/ 8282 h 10000"/>
                  <a:gd name="connsiteX27" fmla="*/ 3677 w 10586"/>
                  <a:gd name="connsiteY27" fmla="*/ 8299 h 10000"/>
                  <a:gd name="connsiteX28" fmla="*/ 3687 w 10586"/>
                  <a:gd name="connsiteY28" fmla="*/ 8299 h 10000"/>
                  <a:gd name="connsiteX29" fmla="*/ 3691 w 10586"/>
                  <a:gd name="connsiteY29" fmla="*/ 8325 h 10000"/>
                  <a:gd name="connsiteX30" fmla="*/ 3700 w 10586"/>
                  <a:gd name="connsiteY30" fmla="*/ 8325 h 10000"/>
                  <a:gd name="connsiteX31" fmla="*/ 3714 w 10586"/>
                  <a:gd name="connsiteY31" fmla="*/ 8359 h 10000"/>
                  <a:gd name="connsiteX32" fmla="*/ 3719 w 10586"/>
                  <a:gd name="connsiteY32" fmla="*/ 8359 h 10000"/>
                  <a:gd name="connsiteX33" fmla="*/ 3724 w 10586"/>
                  <a:gd name="connsiteY33" fmla="*/ 8368 h 10000"/>
                  <a:gd name="connsiteX34" fmla="*/ 3719 w 10586"/>
                  <a:gd name="connsiteY34" fmla="*/ 8393 h 10000"/>
                  <a:gd name="connsiteX35" fmla="*/ 3724 w 10586"/>
                  <a:gd name="connsiteY35" fmla="*/ 8410 h 10000"/>
                  <a:gd name="connsiteX36" fmla="*/ 3724 w 10586"/>
                  <a:gd name="connsiteY36" fmla="*/ 8436 h 10000"/>
                  <a:gd name="connsiteX37" fmla="*/ 3737 w 10586"/>
                  <a:gd name="connsiteY37" fmla="*/ 8436 h 10000"/>
                  <a:gd name="connsiteX38" fmla="*/ 3765 w 10586"/>
                  <a:gd name="connsiteY38" fmla="*/ 8462 h 10000"/>
                  <a:gd name="connsiteX39" fmla="*/ 3765 w 10586"/>
                  <a:gd name="connsiteY39" fmla="*/ 8470 h 10000"/>
                  <a:gd name="connsiteX40" fmla="*/ 3765 w 10586"/>
                  <a:gd name="connsiteY40" fmla="*/ 8496 h 10000"/>
                  <a:gd name="connsiteX41" fmla="*/ 3774 w 10586"/>
                  <a:gd name="connsiteY41" fmla="*/ 8496 h 10000"/>
                  <a:gd name="connsiteX42" fmla="*/ 3779 w 10586"/>
                  <a:gd name="connsiteY42" fmla="*/ 8504 h 10000"/>
                  <a:gd name="connsiteX43" fmla="*/ 3793 w 10586"/>
                  <a:gd name="connsiteY43" fmla="*/ 8547 h 10000"/>
                  <a:gd name="connsiteX44" fmla="*/ 3797 w 10586"/>
                  <a:gd name="connsiteY44" fmla="*/ 8547 h 10000"/>
                  <a:gd name="connsiteX45" fmla="*/ 3820 w 10586"/>
                  <a:gd name="connsiteY45" fmla="*/ 8556 h 10000"/>
                  <a:gd name="connsiteX46" fmla="*/ 3834 w 10586"/>
                  <a:gd name="connsiteY46" fmla="*/ 8573 h 10000"/>
                  <a:gd name="connsiteX47" fmla="*/ 3853 w 10586"/>
                  <a:gd name="connsiteY47" fmla="*/ 8573 h 10000"/>
                  <a:gd name="connsiteX48" fmla="*/ 3857 w 10586"/>
                  <a:gd name="connsiteY48" fmla="*/ 8556 h 10000"/>
                  <a:gd name="connsiteX49" fmla="*/ 3866 w 10586"/>
                  <a:gd name="connsiteY49" fmla="*/ 8547 h 10000"/>
                  <a:gd name="connsiteX50" fmla="*/ 3880 w 10586"/>
                  <a:gd name="connsiteY50" fmla="*/ 8530 h 10000"/>
                  <a:gd name="connsiteX51" fmla="*/ 3885 w 10586"/>
                  <a:gd name="connsiteY51" fmla="*/ 8547 h 10000"/>
                  <a:gd name="connsiteX52" fmla="*/ 3885 w 10586"/>
                  <a:gd name="connsiteY52" fmla="*/ 8573 h 10000"/>
                  <a:gd name="connsiteX53" fmla="*/ 3899 w 10586"/>
                  <a:gd name="connsiteY53" fmla="*/ 8573 h 10000"/>
                  <a:gd name="connsiteX54" fmla="*/ 3908 w 10586"/>
                  <a:gd name="connsiteY54" fmla="*/ 8607 h 10000"/>
                  <a:gd name="connsiteX55" fmla="*/ 3912 w 10586"/>
                  <a:gd name="connsiteY55" fmla="*/ 8615 h 10000"/>
                  <a:gd name="connsiteX56" fmla="*/ 3922 w 10586"/>
                  <a:gd name="connsiteY56" fmla="*/ 8632 h 10000"/>
                  <a:gd name="connsiteX57" fmla="*/ 3908 w 10586"/>
                  <a:gd name="connsiteY57" fmla="*/ 8692 h 10000"/>
                  <a:gd name="connsiteX58" fmla="*/ 3908 w 10586"/>
                  <a:gd name="connsiteY58" fmla="*/ 8692 h 10000"/>
                  <a:gd name="connsiteX59" fmla="*/ 3931 w 10586"/>
                  <a:gd name="connsiteY59" fmla="*/ 8709 h 10000"/>
                  <a:gd name="connsiteX60" fmla="*/ 3954 w 10586"/>
                  <a:gd name="connsiteY60" fmla="*/ 8667 h 10000"/>
                  <a:gd name="connsiteX61" fmla="*/ 3959 w 10586"/>
                  <a:gd name="connsiteY61" fmla="*/ 8667 h 10000"/>
                  <a:gd name="connsiteX62" fmla="*/ 3972 w 10586"/>
                  <a:gd name="connsiteY62" fmla="*/ 8615 h 10000"/>
                  <a:gd name="connsiteX63" fmla="*/ 3995 w 10586"/>
                  <a:gd name="connsiteY63" fmla="*/ 8581 h 10000"/>
                  <a:gd name="connsiteX64" fmla="*/ 4032 w 10586"/>
                  <a:gd name="connsiteY64" fmla="*/ 8556 h 10000"/>
                  <a:gd name="connsiteX65" fmla="*/ 4138 w 10586"/>
                  <a:gd name="connsiteY65" fmla="*/ 8419 h 10000"/>
                  <a:gd name="connsiteX66" fmla="*/ 4249 w 10586"/>
                  <a:gd name="connsiteY66" fmla="*/ 8359 h 10000"/>
                  <a:gd name="connsiteX67" fmla="*/ 4295 w 10586"/>
                  <a:gd name="connsiteY67" fmla="*/ 8385 h 10000"/>
                  <a:gd name="connsiteX68" fmla="*/ 4309 w 10586"/>
                  <a:gd name="connsiteY68" fmla="*/ 8410 h 10000"/>
                  <a:gd name="connsiteX69" fmla="*/ 4355 w 10586"/>
                  <a:gd name="connsiteY69" fmla="*/ 8393 h 10000"/>
                  <a:gd name="connsiteX70" fmla="*/ 4382 w 10586"/>
                  <a:gd name="connsiteY70" fmla="*/ 8393 h 10000"/>
                  <a:gd name="connsiteX71" fmla="*/ 4419 w 10586"/>
                  <a:gd name="connsiteY71" fmla="*/ 8487 h 10000"/>
                  <a:gd name="connsiteX72" fmla="*/ 4442 w 10586"/>
                  <a:gd name="connsiteY72" fmla="*/ 8487 h 10000"/>
                  <a:gd name="connsiteX73" fmla="*/ 4493 w 10586"/>
                  <a:gd name="connsiteY73" fmla="*/ 8470 h 10000"/>
                  <a:gd name="connsiteX74" fmla="*/ 4516 w 10586"/>
                  <a:gd name="connsiteY74" fmla="*/ 8487 h 10000"/>
                  <a:gd name="connsiteX75" fmla="*/ 4608 w 10586"/>
                  <a:gd name="connsiteY75" fmla="*/ 8470 h 10000"/>
                  <a:gd name="connsiteX76" fmla="*/ 4622 w 10586"/>
                  <a:gd name="connsiteY76" fmla="*/ 8470 h 10000"/>
                  <a:gd name="connsiteX77" fmla="*/ 4618 w 10586"/>
                  <a:gd name="connsiteY77" fmla="*/ 8419 h 10000"/>
                  <a:gd name="connsiteX78" fmla="*/ 4622 w 10586"/>
                  <a:gd name="connsiteY78" fmla="*/ 8385 h 10000"/>
                  <a:gd name="connsiteX79" fmla="*/ 4636 w 10586"/>
                  <a:gd name="connsiteY79" fmla="*/ 8350 h 10000"/>
                  <a:gd name="connsiteX80" fmla="*/ 4636 w 10586"/>
                  <a:gd name="connsiteY80" fmla="*/ 8325 h 10000"/>
                  <a:gd name="connsiteX81" fmla="*/ 4622 w 10586"/>
                  <a:gd name="connsiteY81" fmla="*/ 8282 h 10000"/>
                  <a:gd name="connsiteX82" fmla="*/ 4618 w 10586"/>
                  <a:gd name="connsiteY82" fmla="*/ 8248 h 10000"/>
                  <a:gd name="connsiteX83" fmla="*/ 4618 w 10586"/>
                  <a:gd name="connsiteY83" fmla="*/ 8214 h 10000"/>
                  <a:gd name="connsiteX84" fmla="*/ 4691 w 10586"/>
                  <a:gd name="connsiteY84" fmla="*/ 8077 h 10000"/>
                  <a:gd name="connsiteX85" fmla="*/ 4700 w 10586"/>
                  <a:gd name="connsiteY85" fmla="*/ 8060 h 10000"/>
                  <a:gd name="connsiteX86" fmla="*/ 4728 w 10586"/>
                  <a:gd name="connsiteY86" fmla="*/ 8077 h 10000"/>
                  <a:gd name="connsiteX87" fmla="*/ 4751 w 10586"/>
                  <a:gd name="connsiteY87" fmla="*/ 8094 h 10000"/>
                  <a:gd name="connsiteX88" fmla="*/ 4788 w 10586"/>
                  <a:gd name="connsiteY88" fmla="*/ 8120 h 10000"/>
                  <a:gd name="connsiteX89" fmla="*/ 4802 w 10586"/>
                  <a:gd name="connsiteY89" fmla="*/ 8162 h 10000"/>
                  <a:gd name="connsiteX90" fmla="*/ 4885 w 10586"/>
                  <a:gd name="connsiteY90" fmla="*/ 8197 h 10000"/>
                  <a:gd name="connsiteX91" fmla="*/ 4889 w 10586"/>
                  <a:gd name="connsiteY91" fmla="*/ 8231 h 10000"/>
                  <a:gd name="connsiteX92" fmla="*/ 4899 w 10586"/>
                  <a:gd name="connsiteY92" fmla="*/ 8333 h 10000"/>
                  <a:gd name="connsiteX93" fmla="*/ 4903 w 10586"/>
                  <a:gd name="connsiteY93" fmla="*/ 8333 h 10000"/>
                  <a:gd name="connsiteX94" fmla="*/ 4949 w 10586"/>
                  <a:gd name="connsiteY94" fmla="*/ 8410 h 10000"/>
                  <a:gd name="connsiteX95" fmla="*/ 4991 w 10586"/>
                  <a:gd name="connsiteY95" fmla="*/ 8436 h 10000"/>
                  <a:gd name="connsiteX96" fmla="*/ 5023 w 10586"/>
                  <a:gd name="connsiteY96" fmla="*/ 8419 h 10000"/>
                  <a:gd name="connsiteX97" fmla="*/ 5092 w 10586"/>
                  <a:gd name="connsiteY97" fmla="*/ 8359 h 10000"/>
                  <a:gd name="connsiteX98" fmla="*/ 5180 w 10586"/>
                  <a:gd name="connsiteY98" fmla="*/ 8410 h 10000"/>
                  <a:gd name="connsiteX99" fmla="*/ 5189 w 10586"/>
                  <a:gd name="connsiteY99" fmla="*/ 8436 h 10000"/>
                  <a:gd name="connsiteX100" fmla="*/ 5198 w 10586"/>
                  <a:gd name="connsiteY100" fmla="*/ 8436 h 10000"/>
                  <a:gd name="connsiteX101" fmla="*/ 5226 w 10586"/>
                  <a:gd name="connsiteY101" fmla="*/ 8487 h 10000"/>
                  <a:gd name="connsiteX102" fmla="*/ 5276 w 10586"/>
                  <a:gd name="connsiteY102" fmla="*/ 8504 h 10000"/>
                  <a:gd name="connsiteX103" fmla="*/ 5290 w 10586"/>
                  <a:gd name="connsiteY103" fmla="*/ 8556 h 10000"/>
                  <a:gd name="connsiteX104" fmla="*/ 5323 w 10586"/>
                  <a:gd name="connsiteY104" fmla="*/ 8598 h 10000"/>
                  <a:gd name="connsiteX105" fmla="*/ 5447 w 10586"/>
                  <a:gd name="connsiteY105" fmla="*/ 8615 h 10000"/>
                  <a:gd name="connsiteX106" fmla="*/ 5465 w 10586"/>
                  <a:gd name="connsiteY106" fmla="*/ 8632 h 10000"/>
                  <a:gd name="connsiteX107" fmla="*/ 5604 w 10586"/>
                  <a:gd name="connsiteY107" fmla="*/ 8556 h 10000"/>
                  <a:gd name="connsiteX108" fmla="*/ 5677 w 10586"/>
                  <a:gd name="connsiteY108" fmla="*/ 8462 h 10000"/>
                  <a:gd name="connsiteX109" fmla="*/ 5705 w 10586"/>
                  <a:gd name="connsiteY109" fmla="*/ 8444 h 10000"/>
                  <a:gd name="connsiteX110" fmla="*/ 5737 w 10586"/>
                  <a:gd name="connsiteY110" fmla="*/ 8470 h 10000"/>
                  <a:gd name="connsiteX111" fmla="*/ 5760 w 10586"/>
                  <a:gd name="connsiteY111" fmla="*/ 8496 h 10000"/>
                  <a:gd name="connsiteX112" fmla="*/ 5788 w 10586"/>
                  <a:gd name="connsiteY112" fmla="*/ 8504 h 10000"/>
                  <a:gd name="connsiteX113" fmla="*/ 5806 w 10586"/>
                  <a:gd name="connsiteY113" fmla="*/ 8496 h 10000"/>
                  <a:gd name="connsiteX114" fmla="*/ 5820 w 10586"/>
                  <a:gd name="connsiteY114" fmla="*/ 8487 h 10000"/>
                  <a:gd name="connsiteX115" fmla="*/ 5825 w 10586"/>
                  <a:gd name="connsiteY115" fmla="*/ 8487 h 10000"/>
                  <a:gd name="connsiteX116" fmla="*/ 5825 w 10586"/>
                  <a:gd name="connsiteY116" fmla="*/ 8487 h 10000"/>
                  <a:gd name="connsiteX117" fmla="*/ 5926 w 10586"/>
                  <a:gd name="connsiteY117" fmla="*/ 8556 h 10000"/>
                  <a:gd name="connsiteX118" fmla="*/ 5940 w 10586"/>
                  <a:gd name="connsiteY118" fmla="*/ 8556 h 10000"/>
                  <a:gd name="connsiteX119" fmla="*/ 6014 w 10586"/>
                  <a:gd name="connsiteY119" fmla="*/ 8470 h 10000"/>
                  <a:gd name="connsiteX120" fmla="*/ 6018 w 10586"/>
                  <a:gd name="connsiteY120" fmla="*/ 8444 h 10000"/>
                  <a:gd name="connsiteX121" fmla="*/ 6014 w 10586"/>
                  <a:gd name="connsiteY121" fmla="*/ 8419 h 10000"/>
                  <a:gd name="connsiteX122" fmla="*/ 6018 w 10586"/>
                  <a:gd name="connsiteY122" fmla="*/ 8393 h 10000"/>
                  <a:gd name="connsiteX123" fmla="*/ 6041 w 10586"/>
                  <a:gd name="connsiteY123" fmla="*/ 8333 h 10000"/>
                  <a:gd name="connsiteX124" fmla="*/ 6069 w 10586"/>
                  <a:gd name="connsiteY124" fmla="*/ 8188 h 10000"/>
                  <a:gd name="connsiteX125" fmla="*/ 6088 w 10586"/>
                  <a:gd name="connsiteY125" fmla="*/ 8162 h 10000"/>
                  <a:gd name="connsiteX126" fmla="*/ 6115 w 10586"/>
                  <a:gd name="connsiteY126" fmla="*/ 8094 h 10000"/>
                  <a:gd name="connsiteX127" fmla="*/ 6115 w 10586"/>
                  <a:gd name="connsiteY127" fmla="*/ 8094 h 10000"/>
                  <a:gd name="connsiteX128" fmla="*/ 6106 w 10586"/>
                  <a:gd name="connsiteY128" fmla="*/ 8077 h 10000"/>
                  <a:gd name="connsiteX129" fmla="*/ 6106 w 10586"/>
                  <a:gd name="connsiteY129" fmla="*/ 8009 h 10000"/>
                  <a:gd name="connsiteX130" fmla="*/ 6101 w 10586"/>
                  <a:gd name="connsiteY130" fmla="*/ 8000 h 10000"/>
                  <a:gd name="connsiteX131" fmla="*/ 6069 w 10586"/>
                  <a:gd name="connsiteY131" fmla="*/ 8009 h 10000"/>
                  <a:gd name="connsiteX132" fmla="*/ 6069 w 10586"/>
                  <a:gd name="connsiteY132" fmla="*/ 8000 h 10000"/>
                  <a:gd name="connsiteX133" fmla="*/ 6069 w 10586"/>
                  <a:gd name="connsiteY133" fmla="*/ 7974 h 10000"/>
                  <a:gd name="connsiteX134" fmla="*/ 6101 w 10586"/>
                  <a:gd name="connsiteY134" fmla="*/ 7923 h 10000"/>
                  <a:gd name="connsiteX135" fmla="*/ 6106 w 10586"/>
                  <a:gd name="connsiteY135" fmla="*/ 7889 h 10000"/>
                  <a:gd name="connsiteX136" fmla="*/ 6129 w 10586"/>
                  <a:gd name="connsiteY136" fmla="*/ 7863 h 10000"/>
                  <a:gd name="connsiteX137" fmla="*/ 6300 w 10586"/>
                  <a:gd name="connsiteY137" fmla="*/ 7812 h 10000"/>
                  <a:gd name="connsiteX138" fmla="*/ 6359 w 10586"/>
                  <a:gd name="connsiteY138" fmla="*/ 7872 h 10000"/>
                  <a:gd name="connsiteX139" fmla="*/ 6373 w 10586"/>
                  <a:gd name="connsiteY139" fmla="*/ 7889 h 10000"/>
                  <a:gd name="connsiteX140" fmla="*/ 6401 w 10586"/>
                  <a:gd name="connsiteY140" fmla="*/ 7889 h 10000"/>
                  <a:gd name="connsiteX141" fmla="*/ 6433 w 10586"/>
                  <a:gd name="connsiteY141" fmla="*/ 7915 h 10000"/>
                  <a:gd name="connsiteX142" fmla="*/ 6461 w 10586"/>
                  <a:gd name="connsiteY142" fmla="*/ 7974 h 10000"/>
                  <a:gd name="connsiteX143" fmla="*/ 6461 w 10586"/>
                  <a:gd name="connsiteY143" fmla="*/ 8000 h 10000"/>
                  <a:gd name="connsiteX144" fmla="*/ 6484 w 10586"/>
                  <a:gd name="connsiteY144" fmla="*/ 8034 h 10000"/>
                  <a:gd name="connsiteX145" fmla="*/ 6484 w 10586"/>
                  <a:gd name="connsiteY145" fmla="*/ 8051 h 10000"/>
                  <a:gd name="connsiteX146" fmla="*/ 6484 w 10586"/>
                  <a:gd name="connsiteY146" fmla="*/ 8034 h 10000"/>
                  <a:gd name="connsiteX147" fmla="*/ 6558 w 10586"/>
                  <a:gd name="connsiteY147" fmla="*/ 8444 h 10000"/>
                  <a:gd name="connsiteX148" fmla="*/ 6558 w 10586"/>
                  <a:gd name="connsiteY148" fmla="*/ 8462 h 10000"/>
                  <a:gd name="connsiteX149" fmla="*/ 6558 w 10586"/>
                  <a:gd name="connsiteY149" fmla="*/ 8462 h 10000"/>
                  <a:gd name="connsiteX150" fmla="*/ 6562 w 10586"/>
                  <a:gd name="connsiteY150" fmla="*/ 8547 h 10000"/>
                  <a:gd name="connsiteX151" fmla="*/ 6576 w 10586"/>
                  <a:gd name="connsiteY151" fmla="*/ 8573 h 10000"/>
                  <a:gd name="connsiteX152" fmla="*/ 6604 w 10586"/>
                  <a:gd name="connsiteY152" fmla="*/ 8581 h 10000"/>
                  <a:gd name="connsiteX153" fmla="*/ 6631 w 10586"/>
                  <a:gd name="connsiteY153" fmla="*/ 8556 h 10000"/>
                  <a:gd name="connsiteX154" fmla="*/ 6691 w 10586"/>
                  <a:gd name="connsiteY154" fmla="*/ 8607 h 10000"/>
                  <a:gd name="connsiteX155" fmla="*/ 6728 w 10586"/>
                  <a:gd name="connsiteY155" fmla="*/ 8667 h 10000"/>
                  <a:gd name="connsiteX156" fmla="*/ 6742 w 10586"/>
                  <a:gd name="connsiteY156" fmla="*/ 8684 h 10000"/>
                  <a:gd name="connsiteX157" fmla="*/ 6765 w 10586"/>
                  <a:gd name="connsiteY157" fmla="*/ 8684 h 10000"/>
                  <a:gd name="connsiteX158" fmla="*/ 6765 w 10586"/>
                  <a:gd name="connsiteY158" fmla="*/ 8709 h 10000"/>
                  <a:gd name="connsiteX159" fmla="*/ 6765 w 10586"/>
                  <a:gd name="connsiteY159" fmla="*/ 8709 h 10000"/>
                  <a:gd name="connsiteX160" fmla="*/ 6770 w 10586"/>
                  <a:gd name="connsiteY160" fmla="*/ 8709 h 10000"/>
                  <a:gd name="connsiteX161" fmla="*/ 6770 w 10586"/>
                  <a:gd name="connsiteY161" fmla="*/ 8744 h 10000"/>
                  <a:gd name="connsiteX162" fmla="*/ 6779 w 10586"/>
                  <a:gd name="connsiteY162" fmla="*/ 8769 h 10000"/>
                  <a:gd name="connsiteX163" fmla="*/ 6779 w 10586"/>
                  <a:gd name="connsiteY163" fmla="*/ 8846 h 10000"/>
                  <a:gd name="connsiteX164" fmla="*/ 6797 w 10586"/>
                  <a:gd name="connsiteY164" fmla="*/ 8906 h 10000"/>
                  <a:gd name="connsiteX165" fmla="*/ 6816 w 10586"/>
                  <a:gd name="connsiteY165" fmla="*/ 8906 h 10000"/>
                  <a:gd name="connsiteX166" fmla="*/ 6843 w 10586"/>
                  <a:gd name="connsiteY166" fmla="*/ 8915 h 10000"/>
                  <a:gd name="connsiteX167" fmla="*/ 6862 w 10586"/>
                  <a:gd name="connsiteY167" fmla="*/ 8906 h 10000"/>
                  <a:gd name="connsiteX168" fmla="*/ 6935 w 10586"/>
                  <a:gd name="connsiteY168" fmla="*/ 8829 h 10000"/>
                  <a:gd name="connsiteX169" fmla="*/ 6963 w 10586"/>
                  <a:gd name="connsiteY169" fmla="*/ 8829 h 10000"/>
                  <a:gd name="connsiteX170" fmla="*/ 7046 w 10586"/>
                  <a:gd name="connsiteY170" fmla="*/ 8769 h 10000"/>
                  <a:gd name="connsiteX171" fmla="*/ 7046 w 10586"/>
                  <a:gd name="connsiteY171" fmla="*/ 8769 h 10000"/>
                  <a:gd name="connsiteX172" fmla="*/ 7032 w 10586"/>
                  <a:gd name="connsiteY172" fmla="*/ 8803 h 10000"/>
                  <a:gd name="connsiteX173" fmla="*/ 7032 w 10586"/>
                  <a:gd name="connsiteY173" fmla="*/ 8846 h 10000"/>
                  <a:gd name="connsiteX174" fmla="*/ 7037 w 10586"/>
                  <a:gd name="connsiteY174" fmla="*/ 8880 h 10000"/>
                  <a:gd name="connsiteX175" fmla="*/ 7037 w 10586"/>
                  <a:gd name="connsiteY175" fmla="*/ 8932 h 10000"/>
                  <a:gd name="connsiteX176" fmla="*/ 7005 w 10586"/>
                  <a:gd name="connsiteY176" fmla="*/ 8983 h 10000"/>
                  <a:gd name="connsiteX177" fmla="*/ 6977 w 10586"/>
                  <a:gd name="connsiteY177" fmla="*/ 9188 h 10000"/>
                  <a:gd name="connsiteX178" fmla="*/ 6935 w 10586"/>
                  <a:gd name="connsiteY178" fmla="*/ 9316 h 10000"/>
                  <a:gd name="connsiteX179" fmla="*/ 6931 w 10586"/>
                  <a:gd name="connsiteY179" fmla="*/ 9368 h 10000"/>
                  <a:gd name="connsiteX180" fmla="*/ 6917 w 10586"/>
                  <a:gd name="connsiteY180" fmla="*/ 9376 h 10000"/>
                  <a:gd name="connsiteX181" fmla="*/ 6912 w 10586"/>
                  <a:gd name="connsiteY181" fmla="*/ 9376 h 10000"/>
                  <a:gd name="connsiteX182" fmla="*/ 6848 w 10586"/>
                  <a:gd name="connsiteY182" fmla="*/ 9342 h 10000"/>
                  <a:gd name="connsiteX183" fmla="*/ 6788 w 10586"/>
                  <a:gd name="connsiteY183" fmla="*/ 9436 h 10000"/>
                  <a:gd name="connsiteX184" fmla="*/ 6802 w 10586"/>
                  <a:gd name="connsiteY184" fmla="*/ 9462 h 10000"/>
                  <a:gd name="connsiteX185" fmla="*/ 6811 w 10586"/>
                  <a:gd name="connsiteY185" fmla="*/ 9667 h 10000"/>
                  <a:gd name="connsiteX186" fmla="*/ 6788 w 10586"/>
                  <a:gd name="connsiteY186" fmla="*/ 9709 h 10000"/>
                  <a:gd name="connsiteX187" fmla="*/ 6765 w 10586"/>
                  <a:gd name="connsiteY187" fmla="*/ 9752 h 10000"/>
                  <a:gd name="connsiteX188" fmla="*/ 6765 w 10586"/>
                  <a:gd name="connsiteY188" fmla="*/ 9803 h 10000"/>
                  <a:gd name="connsiteX189" fmla="*/ 6770 w 10586"/>
                  <a:gd name="connsiteY189" fmla="*/ 9821 h 10000"/>
                  <a:gd name="connsiteX190" fmla="*/ 6779 w 10586"/>
                  <a:gd name="connsiteY190" fmla="*/ 9812 h 10000"/>
                  <a:gd name="connsiteX191" fmla="*/ 6779 w 10586"/>
                  <a:gd name="connsiteY191" fmla="*/ 9803 h 10000"/>
                  <a:gd name="connsiteX192" fmla="*/ 6770 w 10586"/>
                  <a:gd name="connsiteY192" fmla="*/ 9786 h 10000"/>
                  <a:gd name="connsiteX193" fmla="*/ 6811 w 10586"/>
                  <a:gd name="connsiteY193" fmla="*/ 9786 h 10000"/>
                  <a:gd name="connsiteX194" fmla="*/ 6816 w 10586"/>
                  <a:gd name="connsiteY194" fmla="*/ 9761 h 10000"/>
                  <a:gd name="connsiteX195" fmla="*/ 6825 w 10586"/>
                  <a:gd name="connsiteY195" fmla="*/ 9752 h 10000"/>
                  <a:gd name="connsiteX196" fmla="*/ 6825 w 10586"/>
                  <a:gd name="connsiteY196" fmla="*/ 9726 h 10000"/>
                  <a:gd name="connsiteX197" fmla="*/ 6843 w 10586"/>
                  <a:gd name="connsiteY197" fmla="*/ 9701 h 10000"/>
                  <a:gd name="connsiteX198" fmla="*/ 6848 w 10586"/>
                  <a:gd name="connsiteY198" fmla="*/ 9650 h 10000"/>
                  <a:gd name="connsiteX199" fmla="*/ 6848 w 10586"/>
                  <a:gd name="connsiteY199" fmla="*/ 9675 h 10000"/>
                  <a:gd name="connsiteX200" fmla="*/ 6862 w 10586"/>
                  <a:gd name="connsiteY200" fmla="*/ 9675 h 10000"/>
                  <a:gd name="connsiteX201" fmla="*/ 6857 w 10586"/>
                  <a:gd name="connsiteY201" fmla="*/ 9701 h 10000"/>
                  <a:gd name="connsiteX202" fmla="*/ 6857 w 10586"/>
                  <a:gd name="connsiteY202" fmla="*/ 9701 h 10000"/>
                  <a:gd name="connsiteX203" fmla="*/ 6876 w 10586"/>
                  <a:gd name="connsiteY203" fmla="*/ 9684 h 10000"/>
                  <a:gd name="connsiteX204" fmla="*/ 6885 w 10586"/>
                  <a:gd name="connsiteY204" fmla="*/ 9675 h 10000"/>
                  <a:gd name="connsiteX205" fmla="*/ 6876 w 10586"/>
                  <a:gd name="connsiteY205" fmla="*/ 9735 h 10000"/>
                  <a:gd name="connsiteX206" fmla="*/ 6885 w 10586"/>
                  <a:gd name="connsiteY206" fmla="*/ 9752 h 10000"/>
                  <a:gd name="connsiteX207" fmla="*/ 6903 w 10586"/>
                  <a:gd name="connsiteY207" fmla="*/ 9752 h 10000"/>
                  <a:gd name="connsiteX208" fmla="*/ 6917 w 10586"/>
                  <a:gd name="connsiteY208" fmla="*/ 9761 h 10000"/>
                  <a:gd name="connsiteX209" fmla="*/ 6917 w 10586"/>
                  <a:gd name="connsiteY209" fmla="*/ 9761 h 10000"/>
                  <a:gd name="connsiteX210" fmla="*/ 6922 w 10586"/>
                  <a:gd name="connsiteY210" fmla="*/ 9778 h 10000"/>
                  <a:gd name="connsiteX211" fmla="*/ 6945 w 10586"/>
                  <a:gd name="connsiteY211" fmla="*/ 9778 h 10000"/>
                  <a:gd name="connsiteX212" fmla="*/ 6972 w 10586"/>
                  <a:gd name="connsiteY212" fmla="*/ 9752 h 10000"/>
                  <a:gd name="connsiteX213" fmla="*/ 6977 w 10586"/>
                  <a:gd name="connsiteY213" fmla="*/ 9752 h 10000"/>
                  <a:gd name="connsiteX214" fmla="*/ 7069 w 10586"/>
                  <a:gd name="connsiteY214" fmla="*/ 9624 h 10000"/>
                  <a:gd name="connsiteX215" fmla="*/ 7097 w 10586"/>
                  <a:gd name="connsiteY215" fmla="*/ 9547 h 10000"/>
                  <a:gd name="connsiteX216" fmla="*/ 7106 w 10586"/>
                  <a:gd name="connsiteY216" fmla="*/ 9530 h 10000"/>
                  <a:gd name="connsiteX217" fmla="*/ 7124 w 10586"/>
                  <a:gd name="connsiteY217" fmla="*/ 9479 h 10000"/>
                  <a:gd name="connsiteX218" fmla="*/ 7138 w 10586"/>
                  <a:gd name="connsiteY218" fmla="*/ 9462 h 10000"/>
                  <a:gd name="connsiteX219" fmla="*/ 7378 w 10586"/>
                  <a:gd name="connsiteY219" fmla="*/ 8795 h 10000"/>
                  <a:gd name="connsiteX220" fmla="*/ 7392 w 10586"/>
                  <a:gd name="connsiteY220" fmla="*/ 8795 h 10000"/>
                  <a:gd name="connsiteX221" fmla="*/ 7401 w 10586"/>
                  <a:gd name="connsiteY221" fmla="*/ 8769 h 10000"/>
                  <a:gd name="connsiteX222" fmla="*/ 7406 w 10586"/>
                  <a:gd name="connsiteY222" fmla="*/ 8692 h 10000"/>
                  <a:gd name="connsiteX223" fmla="*/ 7406 w 10586"/>
                  <a:gd name="connsiteY223" fmla="*/ 8667 h 10000"/>
                  <a:gd name="connsiteX224" fmla="*/ 7419 w 10586"/>
                  <a:gd name="connsiteY224" fmla="*/ 8598 h 10000"/>
                  <a:gd name="connsiteX225" fmla="*/ 7419 w 10586"/>
                  <a:gd name="connsiteY225" fmla="*/ 8496 h 10000"/>
                  <a:gd name="connsiteX226" fmla="*/ 7424 w 10586"/>
                  <a:gd name="connsiteY226" fmla="*/ 8470 h 10000"/>
                  <a:gd name="connsiteX227" fmla="*/ 7424 w 10586"/>
                  <a:gd name="connsiteY227" fmla="*/ 8462 h 10000"/>
                  <a:gd name="connsiteX228" fmla="*/ 7419 w 10586"/>
                  <a:gd name="connsiteY228" fmla="*/ 8462 h 10000"/>
                  <a:gd name="connsiteX229" fmla="*/ 7410 w 10586"/>
                  <a:gd name="connsiteY229" fmla="*/ 8350 h 10000"/>
                  <a:gd name="connsiteX230" fmla="*/ 7419 w 10586"/>
                  <a:gd name="connsiteY230" fmla="*/ 8325 h 10000"/>
                  <a:gd name="connsiteX231" fmla="*/ 7424 w 10586"/>
                  <a:gd name="connsiteY231" fmla="*/ 8248 h 10000"/>
                  <a:gd name="connsiteX232" fmla="*/ 7433 w 10586"/>
                  <a:gd name="connsiteY232" fmla="*/ 8248 h 10000"/>
                  <a:gd name="connsiteX233" fmla="*/ 7433 w 10586"/>
                  <a:gd name="connsiteY233" fmla="*/ 8231 h 10000"/>
                  <a:gd name="connsiteX234" fmla="*/ 7433 w 10586"/>
                  <a:gd name="connsiteY234" fmla="*/ 8222 h 10000"/>
                  <a:gd name="connsiteX235" fmla="*/ 7433 w 10586"/>
                  <a:gd name="connsiteY235" fmla="*/ 8214 h 10000"/>
                  <a:gd name="connsiteX236" fmla="*/ 7447 w 10586"/>
                  <a:gd name="connsiteY236" fmla="*/ 8162 h 10000"/>
                  <a:gd name="connsiteX237" fmla="*/ 7461 w 10586"/>
                  <a:gd name="connsiteY237" fmla="*/ 8162 h 10000"/>
                  <a:gd name="connsiteX238" fmla="*/ 7475 w 10586"/>
                  <a:gd name="connsiteY238" fmla="*/ 8111 h 10000"/>
                  <a:gd name="connsiteX239" fmla="*/ 7475 w 10586"/>
                  <a:gd name="connsiteY239" fmla="*/ 8085 h 10000"/>
                  <a:gd name="connsiteX240" fmla="*/ 7479 w 10586"/>
                  <a:gd name="connsiteY240" fmla="*/ 8060 h 10000"/>
                  <a:gd name="connsiteX241" fmla="*/ 7452 w 10586"/>
                  <a:gd name="connsiteY241" fmla="*/ 8009 h 10000"/>
                  <a:gd name="connsiteX242" fmla="*/ 7465 w 10586"/>
                  <a:gd name="connsiteY242" fmla="*/ 7974 h 10000"/>
                  <a:gd name="connsiteX243" fmla="*/ 7452 w 10586"/>
                  <a:gd name="connsiteY243" fmla="*/ 7923 h 10000"/>
                  <a:gd name="connsiteX244" fmla="*/ 7433 w 10586"/>
                  <a:gd name="connsiteY244" fmla="*/ 7889 h 10000"/>
                  <a:gd name="connsiteX245" fmla="*/ 7419 w 10586"/>
                  <a:gd name="connsiteY245" fmla="*/ 7889 h 10000"/>
                  <a:gd name="connsiteX246" fmla="*/ 7401 w 10586"/>
                  <a:gd name="connsiteY246" fmla="*/ 7863 h 10000"/>
                  <a:gd name="connsiteX247" fmla="*/ 7387 w 10586"/>
                  <a:gd name="connsiteY247" fmla="*/ 7863 h 10000"/>
                  <a:gd name="connsiteX248" fmla="*/ 7373 w 10586"/>
                  <a:gd name="connsiteY248" fmla="*/ 7863 h 10000"/>
                  <a:gd name="connsiteX249" fmla="*/ 7387 w 10586"/>
                  <a:gd name="connsiteY249" fmla="*/ 7846 h 10000"/>
                  <a:gd name="connsiteX250" fmla="*/ 7401 w 10586"/>
                  <a:gd name="connsiteY250" fmla="*/ 7846 h 10000"/>
                  <a:gd name="connsiteX251" fmla="*/ 7410 w 10586"/>
                  <a:gd name="connsiteY251" fmla="*/ 7863 h 10000"/>
                  <a:gd name="connsiteX252" fmla="*/ 7424 w 10586"/>
                  <a:gd name="connsiteY252" fmla="*/ 7872 h 10000"/>
                  <a:gd name="connsiteX253" fmla="*/ 7433 w 10586"/>
                  <a:gd name="connsiteY253" fmla="*/ 7863 h 10000"/>
                  <a:gd name="connsiteX254" fmla="*/ 7461 w 10586"/>
                  <a:gd name="connsiteY254" fmla="*/ 7897 h 10000"/>
                  <a:gd name="connsiteX255" fmla="*/ 7465 w 10586"/>
                  <a:gd name="connsiteY255" fmla="*/ 7889 h 10000"/>
                  <a:gd name="connsiteX256" fmla="*/ 7475 w 10586"/>
                  <a:gd name="connsiteY256" fmla="*/ 7863 h 10000"/>
                  <a:gd name="connsiteX257" fmla="*/ 7475 w 10586"/>
                  <a:gd name="connsiteY257" fmla="*/ 7838 h 10000"/>
                  <a:gd name="connsiteX258" fmla="*/ 7465 w 10586"/>
                  <a:gd name="connsiteY258" fmla="*/ 7838 h 10000"/>
                  <a:gd name="connsiteX259" fmla="*/ 7406 w 10586"/>
                  <a:gd name="connsiteY259" fmla="*/ 7752 h 10000"/>
                  <a:gd name="connsiteX260" fmla="*/ 7401 w 10586"/>
                  <a:gd name="connsiteY260" fmla="*/ 7735 h 10000"/>
                  <a:gd name="connsiteX261" fmla="*/ 7401 w 10586"/>
                  <a:gd name="connsiteY261" fmla="*/ 7701 h 10000"/>
                  <a:gd name="connsiteX262" fmla="*/ 7378 w 10586"/>
                  <a:gd name="connsiteY262" fmla="*/ 7675 h 10000"/>
                  <a:gd name="connsiteX263" fmla="*/ 7373 w 10586"/>
                  <a:gd name="connsiteY263" fmla="*/ 7667 h 10000"/>
                  <a:gd name="connsiteX264" fmla="*/ 7364 w 10586"/>
                  <a:gd name="connsiteY264" fmla="*/ 7650 h 10000"/>
                  <a:gd name="connsiteX265" fmla="*/ 7364 w 10586"/>
                  <a:gd name="connsiteY265" fmla="*/ 7641 h 10000"/>
                  <a:gd name="connsiteX266" fmla="*/ 7350 w 10586"/>
                  <a:gd name="connsiteY266" fmla="*/ 7641 h 10000"/>
                  <a:gd name="connsiteX267" fmla="*/ 7336 w 10586"/>
                  <a:gd name="connsiteY267" fmla="*/ 7650 h 10000"/>
                  <a:gd name="connsiteX268" fmla="*/ 7327 w 10586"/>
                  <a:gd name="connsiteY268" fmla="*/ 7650 h 10000"/>
                  <a:gd name="connsiteX269" fmla="*/ 7300 w 10586"/>
                  <a:gd name="connsiteY269" fmla="*/ 7641 h 10000"/>
                  <a:gd name="connsiteX270" fmla="*/ 7300 w 10586"/>
                  <a:gd name="connsiteY270" fmla="*/ 7675 h 10000"/>
                  <a:gd name="connsiteX271" fmla="*/ 7300 w 10586"/>
                  <a:gd name="connsiteY271" fmla="*/ 7692 h 10000"/>
                  <a:gd name="connsiteX272" fmla="*/ 7286 w 10586"/>
                  <a:gd name="connsiteY272" fmla="*/ 7786 h 10000"/>
                  <a:gd name="connsiteX273" fmla="*/ 7272 w 10586"/>
                  <a:gd name="connsiteY273" fmla="*/ 7803 h 10000"/>
                  <a:gd name="connsiteX274" fmla="*/ 7276 w 10586"/>
                  <a:gd name="connsiteY274" fmla="*/ 7761 h 10000"/>
                  <a:gd name="connsiteX275" fmla="*/ 7286 w 10586"/>
                  <a:gd name="connsiteY275" fmla="*/ 7735 h 10000"/>
                  <a:gd name="connsiteX276" fmla="*/ 7276 w 10586"/>
                  <a:gd name="connsiteY276" fmla="*/ 7709 h 10000"/>
                  <a:gd name="connsiteX277" fmla="*/ 7258 w 10586"/>
                  <a:gd name="connsiteY277" fmla="*/ 7761 h 10000"/>
                  <a:gd name="connsiteX278" fmla="*/ 7217 w 10586"/>
                  <a:gd name="connsiteY278" fmla="*/ 7786 h 10000"/>
                  <a:gd name="connsiteX279" fmla="*/ 7203 w 10586"/>
                  <a:gd name="connsiteY279" fmla="*/ 7786 h 10000"/>
                  <a:gd name="connsiteX280" fmla="*/ 7198 w 10586"/>
                  <a:gd name="connsiteY280" fmla="*/ 7778 h 10000"/>
                  <a:gd name="connsiteX281" fmla="*/ 7212 w 10586"/>
                  <a:gd name="connsiteY281" fmla="*/ 7761 h 10000"/>
                  <a:gd name="connsiteX282" fmla="*/ 7230 w 10586"/>
                  <a:gd name="connsiteY282" fmla="*/ 7726 h 10000"/>
                  <a:gd name="connsiteX283" fmla="*/ 7226 w 10586"/>
                  <a:gd name="connsiteY283" fmla="*/ 7709 h 10000"/>
                  <a:gd name="connsiteX284" fmla="*/ 7212 w 10586"/>
                  <a:gd name="connsiteY284" fmla="*/ 7701 h 10000"/>
                  <a:gd name="connsiteX285" fmla="*/ 7203 w 10586"/>
                  <a:gd name="connsiteY285" fmla="*/ 7675 h 10000"/>
                  <a:gd name="connsiteX286" fmla="*/ 7217 w 10586"/>
                  <a:gd name="connsiteY286" fmla="*/ 7675 h 10000"/>
                  <a:gd name="connsiteX287" fmla="*/ 7226 w 10586"/>
                  <a:gd name="connsiteY287" fmla="*/ 7650 h 10000"/>
                  <a:gd name="connsiteX288" fmla="*/ 7226 w 10586"/>
                  <a:gd name="connsiteY288" fmla="*/ 7641 h 10000"/>
                  <a:gd name="connsiteX289" fmla="*/ 7203 w 10586"/>
                  <a:gd name="connsiteY289" fmla="*/ 7641 h 10000"/>
                  <a:gd name="connsiteX290" fmla="*/ 7198 w 10586"/>
                  <a:gd name="connsiteY290" fmla="*/ 7650 h 10000"/>
                  <a:gd name="connsiteX291" fmla="*/ 7194 w 10586"/>
                  <a:gd name="connsiteY291" fmla="*/ 7675 h 10000"/>
                  <a:gd name="connsiteX292" fmla="*/ 7198 w 10586"/>
                  <a:gd name="connsiteY292" fmla="*/ 7692 h 10000"/>
                  <a:gd name="connsiteX293" fmla="*/ 7198 w 10586"/>
                  <a:gd name="connsiteY293" fmla="*/ 7709 h 10000"/>
                  <a:gd name="connsiteX294" fmla="*/ 7184 w 10586"/>
                  <a:gd name="connsiteY294" fmla="*/ 7726 h 10000"/>
                  <a:gd name="connsiteX295" fmla="*/ 7180 w 10586"/>
                  <a:gd name="connsiteY295" fmla="*/ 7726 h 10000"/>
                  <a:gd name="connsiteX296" fmla="*/ 7171 w 10586"/>
                  <a:gd name="connsiteY296" fmla="*/ 7752 h 10000"/>
                  <a:gd name="connsiteX297" fmla="*/ 7166 w 10586"/>
                  <a:gd name="connsiteY297" fmla="*/ 7735 h 10000"/>
                  <a:gd name="connsiteX298" fmla="*/ 7171 w 10586"/>
                  <a:gd name="connsiteY298" fmla="*/ 7624 h 10000"/>
                  <a:gd name="connsiteX299" fmla="*/ 7171 w 10586"/>
                  <a:gd name="connsiteY299" fmla="*/ 7615 h 10000"/>
                  <a:gd name="connsiteX300" fmla="*/ 7171 w 10586"/>
                  <a:gd name="connsiteY300" fmla="*/ 7590 h 10000"/>
                  <a:gd name="connsiteX301" fmla="*/ 7166 w 10586"/>
                  <a:gd name="connsiteY301" fmla="*/ 7564 h 10000"/>
                  <a:gd name="connsiteX302" fmla="*/ 7157 w 10586"/>
                  <a:gd name="connsiteY302" fmla="*/ 7564 h 10000"/>
                  <a:gd name="connsiteX303" fmla="*/ 7097 w 10586"/>
                  <a:gd name="connsiteY303" fmla="*/ 7573 h 10000"/>
                  <a:gd name="connsiteX304" fmla="*/ 7065 w 10586"/>
                  <a:gd name="connsiteY304" fmla="*/ 7538 h 10000"/>
                  <a:gd name="connsiteX305" fmla="*/ 7069 w 10586"/>
                  <a:gd name="connsiteY305" fmla="*/ 7504 h 10000"/>
                  <a:gd name="connsiteX306" fmla="*/ 7106 w 10586"/>
                  <a:gd name="connsiteY306" fmla="*/ 7453 h 10000"/>
                  <a:gd name="connsiteX307" fmla="*/ 7111 w 10586"/>
                  <a:gd name="connsiteY307" fmla="*/ 7436 h 10000"/>
                  <a:gd name="connsiteX308" fmla="*/ 7138 w 10586"/>
                  <a:gd name="connsiteY308" fmla="*/ 7402 h 10000"/>
                  <a:gd name="connsiteX309" fmla="*/ 7143 w 10586"/>
                  <a:gd name="connsiteY309" fmla="*/ 7376 h 10000"/>
                  <a:gd name="connsiteX310" fmla="*/ 7152 w 10586"/>
                  <a:gd name="connsiteY310" fmla="*/ 7368 h 10000"/>
                  <a:gd name="connsiteX311" fmla="*/ 7157 w 10586"/>
                  <a:gd name="connsiteY311" fmla="*/ 7350 h 10000"/>
                  <a:gd name="connsiteX312" fmla="*/ 7230 w 10586"/>
                  <a:gd name="connsiteY312" fmla="*/ 7239 h 10000"/>
                  <a:gd name="connsiteX313" fmla="*/ 7240 w 10586"/>
                  <a:gd name="connsiteY313" fmla="*/ 7205 h 10000"/>
                  <a:gd name="connsiteX314" fmla="*/ 7253 w 10586"/>
                  <a:gd name="connsiteY314" fmla="*/ 7188 h 10000"/>
                  <a:gd name="connsiteX315" fmla="*/ 7258 w 10586"/>
                  <a:gd name="connsiteY315" fmla="*/ 7162 h 10000"/>
                  <a:gd name="connsiteX316" fmla="*/ 7258 w 10586"/>
                  <a:gd name="connsiteY316" fmla="*/ 7154 h 10000"/>
                  <a:gd name="connsiteX317" fmla="*/ 7272 w 10586"/>
                  <a:gd name="connsiteY317" fmla="*/ 7120 h 10000"/>
                  <a:gd name="connsiteX318" fmla="*/ 7276 w 10586"/>
                  <a:gd name="connsiteY318" fmla="*/ 7094 h 10000"/>
                  <a:gd name="connsiteX319" fmla="*/ 7286 w 10586"/>
                  <a:gd name="connsiteY319" fmla="*/ 7094 h 10000"/>
                  <a:gd name="connsiteX320" fmla="*/ 7290 w 10586"/>
                  <a:gd name="connsiteY320" fmla="*/ 7068 h 10000"/>
                  <a:gd name="connsiteX321" fmla="*/ 7332 w 10586"/>
                  <a:gd name="connsiteY321" fmla="*/ 6991 h 10000"/>
                  <a:gd name="connsiteX322" fmla="*/ 7336 w 10586"/>
                  <a:gd name="connsiteY322" fmla="*/ 6991 h 10000"/>
                  <a:gd name="connsiteX323" fmla="*/ 7364 w 10586"/>
                  <a:gd name="connsiteY323" fmla="*/ 6940 h 10000"/>
                  <a:gd name="connsiteX324" fmla="*/ 7373 w 10586"/>
                  <a:gd name="connsiteY324" fmla="*/ 6906 h 10000"/>
                  <a:gd name="connsiteX325" fmla="*/ 7378 w 10586"/>
                  <a:gd name="connsiteY325" fmla="*/ 6915 h 10000"/>
                  <a:gd name="connsiteX326" fmla="*/ 7406 w 10586"/>
                  <a:gd name="connsiteY326" fmla="*/ 6880 h 10000"/>
                  <a:gd name="connsiteX327" fmla="*/ 7410 w 10586"/>
                  <a:gd name="connsiteY327" fmla="*/ 6846 h 10000"/>
                  <a:gd name="connsiteX328" fmla="*/ 7419 w 10586"/>
                  <a:gd name="connsiteY328" fmla="*/ 6803 h 10000"/>
                  <a:gd name="connsiteX329" fmla="*/ 7585 w 10586"/>
                  <a:gd name="connsiteY329" fmla="*/ 6504 h 10000"/>
                  <a:gd name="connsiteX330" fmla="*/ 7765 w 10586"/>
                  <a:gd name="connsiteY330" fmla="*/ 6504 h 10000"/>
                  <a:gd name="connsiteX331" fmla="*/ 7765 w 10586"/>
                  <a:gd name="connsiteY331" fmla="*/ 6530 h 10000"/>
                  <a:gd name="connsiteX332" fmla="*/ 7774 w 10586"/>
                  <a:gd name="connsiteY332" fmla="*/ 6556 h 10000"/>
                  <a:gd name="connsiteX333" fmla="*/ 7779 w 10586"/>
                  <a:gd name="connsiteY333" fmla="*/ 6556 h 10000"/>
                  <a:gd name="connsiteX334" fmla="*/ 7793 w 10586"/>
                  <a:gd name="connsiteY334" fmla="*/ 6547 h 10000"/>
                  <a:gd name="connsiteX335" fmla="*/ 7793 w 10586"/>
                  <a:gd name="connsiteY335" fmla="*/ 6530 h 10000"/>
                  <a:gd name="connsiteX336" fmla="*/ 7802 w 10586"/>
                  <a:gd name="connsiteY336" fmla="*/ 6496 h 10000"/>
                  <a:gd name="connsiteX337" fmla="*/ 7806 w 10586"/>
                  <a:gd name="connsiteY337" fmla="*/ 6487 h 10000"/>
                  <a:gd name="connsiteX338" fmla="*/ 7876 w 10586"/>
                  <a:gd name="connsiteY338" fmla="*/ 6530 h 10000"/>
                  <a:gd name="connsiteX339" fmla="*/ 7894 w 10586"/>
                  <a:gd name="connsiteY339" fmla="*/ 6530 h 10000"/>
                  <a:gd name="connsiteX340" fmla="*/ 7894 w 10586"/>
                  <a:gd name="connsiteY340" fmla="*/ 6504 h 10000"/>
                  <a:gd name="connsiteX341" fmla="*/ 7899 w 10586"/>
                  <a:gd name="connsiteY341" fmla="*/ 6504 h 10000"/>
                  <a:gd name="connsiteX342" fmla="*/ 7926 w 10586"/>
                  <a:gd name="connsiteY342" fmla="*/ 6504 h 10000"/>
                  <a:gd name="connsiteX343" fmla="*/ 7940 w 10586"/>
                  <a:gd name="connsiteY343" fmla="*/ 6547 h 10000"/>
                  <a:gd name="connsiteX344" fmla="*/ 7949 w 10586"/>
                  <a:gd name="connsiteY344" fmla="*/ 6547 h 10000"/>
                  <a:gd name="connsiteX345" fmla="*/ 7963 w 10586"/>
                  <a:gd name="connsiteY345" fmla="*/ 6530 h 10000"/>
                  <a:gd name="connsiteX346" fmla="*/ 7963 w 10586"/>
                  <a:gd name="connsiteY346" fmla="*/ 6504 h 10000"/>
                  <a:gd name="connsiteX347" fmla="*/ 7963 w 10586"/>
                  <a:gd name="connsiteY347" fmla="*/ 6504 h 10000"/>
                  <a:gd name="connsiteX348" fmla="*/ 7954 w 10586"/>
                  <a:gd name="connsiteY348" fmla="*/ 6496 h 10000"/>
                  <a:gd name="connsiteX349" fmla="*/ 7963 w 10586"/>
                  <a:gd name="connsiteY349" fmla="*/ 6487 h 10000"/>
                  <a:gd name="connsiteX350" fmla="*/ 7982 w 10586"/>
                  <a:gd name="connsiteY350" fmla="*/ 6487 h 10000"/>
                  <a:gd name="connsiteX351" fmla="*/ 7982 w 10586"/>
                  <a:gd name="connsiteY351" fmla="*/ 6470 h 10000"/>
                  <a:gd name="connsiteX352" fmla="*/ 7972 w 10586"/>
                  <a:gd name="connsiteY352" fmla="*/ 6462 h 10000"/>
                  <a:gd name="connsiteX353" fmla="*/ 7972 w 10586"/>
                  <a:gd name="connsiteY353" fmla="*/ 6436 h 10000"/>
                  <a:gd name="connsiteX354" fmla="*/ 7986 w 10586"/>
                  <a:gd name="connsiteY354" fmla="*/ 6419 h 10000"/>
                  <a:gd name="connsiteX355" fmla="*/ 8000 w 10586"/>
                  <a:gd name="connsiteY355" fmla="*/ 6419 h 10000"/>
                  <a:gd name="connsiteX356" fmla="*/ 8055 w 10586"/>
                  <a:gd name="connsiteY356" fmla="*/ 6462 h 10000"/>
                  <a:gd name="connsiteX357" fmla="*/ 8069 w 10586"/>
                  <a:gd name="connsiteY357" fmla="*/ 6444 h 10000"/>
                  <a:gd name="connsiteX358" fmla="*/ 8083 w 10586"/>
                  <a:gd name="connsiteY358" fmla="*/ 6470 h 10000"/>
                  <a:gd name="connsiteX359" fmla="*/ 8083 w 10586"/>
                  <a:gd name="connsiteY359" fmla="*/ 6487 h 10000"/>
                  <a:gd name="connsiteX360" fmla="*/ 8097 w 10586"/>
                  <a:gd name="connsiteY360" fmla="*/ 6487 h 10000"/>
                  <a:gd name="connsiteX361" fmla="*/ 8101 w 10586"/>
                  <a:gd name="connsiteY361" fmla="*/ 6462 h 10000"/>
                  <a:gd name="connsiteX362" fmla="*/ 8115 w 10586"/>
                  <a:gd name="connsiteY362" fmla="*/ 6462 h 10000"/>
                  <a:gd name="connsiteX363" fmla="*/ 8129 w 10586"/>
                  <a:gd name="connsiteY363" fmla="*/ 6462 h 10000"/>
                  <a:gd name="connsiteX364" fmla="*/ 8157 w 10586"/>
                  <a:gd name="connsiteY364" fmla="*/ 6496 h 10000"/>
                  <a:gd name="connsiteX365" fmla="*/ 8157 w 10586"/>
                  <a:gd name="connsiteY365" fmla="*/ 6521 h 10000"/>
                  <a:gd name="connsiteX366" fmla="*/ 8180 w 10586"/>
                  <a:gd name="connsiteY366" fmla="*/ 6530 h 10000"/>
                  <a:gd name="connsiteX367" fmla="*/ 8180 w 10586"/>
                  <a:gd name="connsiteY367" fmla="*/ 6547 h 10000"/>
                  <a:gd name="connsiteX368" fmla="*/ 8171 w 10586"/>
                  <a:gd name="connsiteY368" fmla="*/ 6556 h 10000"/>
                  <a:gd name="connsiteX369" fmla="*/ 8129 w 10586"/>
                  <a:gd name="connsiteY369" fmla="*/ 6556 h 10000"/>
                  <a:gd name="connsiteX370" fmla="*/ 8106 w 10586"/>
                  <a:gd name="connsiteY370" fmla="*/ 6573 h 10000"/>
                  <a:gd name="connsiteX371" fmla="*/ 8115 w 10586"/>
                  <a:gd name="connsiteY371" fmla="*/ 6581 h 10000"/>
                  <a:gd name="connsiteX372" fmla="*/ 8129 w 10586"/>
                  <a:gd name="connsiteY372" fmla="*/ 6632 h 10000"/>
                  <a:gd name="connsiteX373" fmla="*/ 8171 w 10586"/>
                  <a:gd name="connsiteY373" fmla="*/ 6632 h 10000"/>
                  <a:gd name="connsiteX374" fmla="*/ 8180 w 10586"/>
                  <a:gd name="connsiteY374" fmla="*/ 6624 h 10000"/>
                  <a:gd name="connsiteX375" fmla="*/ 8189 w 10586"/>
                  <a:gd name="connsiteY375" fmla="*/ 6598 h 10000"/>
                  <a:gd name="connsiteX376" fmla="*/ 8203 w 10586"/>
                  <a:gd name="connsiteY376" fmla="*/ 6581 h 10000"/>
                  <a:gd name="connsiteX377" fmla="*/ 8207 w 10586"/>
                  <a:gd name="connsiteY377" fmla="*/ 6607 h 10000"/>
                  <a:gd name="connsiteX378" fmla="*/ 8221 w 10586"/>
                  <a:gd name="connsiteY378" fmla="*/ 6624 h 10000"/>
                  <a:gd name="connsiteX379" fmla="*/ 8235 w 10586"/>
                  <a:gd name="connsiteY379" fmla="*/ 6607 h 10000"/>
                  <a:gd name="connsiteX380" fmla="*/ 8240 w 10586"/>
                  <a:gd name="connsiteY380" fmla="*/ 6581 h 10000"/>
                  <a:gd name="connsiteX381" fmla="*/ 8253 w 10586"/>
                  <a:gd name="connsiteY381" fmla="*/ 6573 h 10000"/>
                  <a:gd name="connsiteX382" fmla="*/ 8263 w 10586"/>
                  <a:gd name="connsiteY382" fmla="*/ 6556 h 10000"/>
                  <a:gd name="connsiteX383" fmla="*/ 8276 w 10586"/>
                  <a:gd name="connsiteY383" fmla="*/ 6547 h 10000"/>
                  <a:gd name="connsiteX384" fmla="*/ 8290 w 10586"/>
                  <a:gd name="connsiteY384" fmla="*/ 6556 h 10000"/>
                  <a:gd name="connsiteX385" fmla="*/ 8304 w 10586"/>
                  <a:gd name="connsiteY385" fmla="*/ 6581 h 10000"/>
                  <a:gd name="connsiteX386" fmla="*/ 8309 w 10586"/>
                  <a:gd name="connsiteY386" fmla="*/ 6581 h 10000"/>
                  <a:gd name="connsiteX387" fmla="*/ 8327 w 10586"/>
                  <a:gd name="connsiteY387" fmla="*/ 6573 h 10000"/>
                  <a:gd name="connsiteX388" fmla="*/ 8327 w 10586"/>
                  <a:gd name="connsiteY388" fmla="*/ 6556 h 10000"/>
                  <a:gd name="connsiteX389" fmla="*/ 8350 w 10586"/>
                  <a:gd name="connsiteY389" fmla="*/ 6556 h 10000"/>
                  <a:gd name="connsiteX390" fmla="*/ 8355 w 10586"/>
                  <a:gd name="connsiteY390" fmla="*/ 6573 h 10000"/>
                  <a:gd name="connsiteX391" fmla="*/ 8364 w 10586"/>
                  <a:gd name="connsiteY391" fmla="*/ 6556 h 10000"/>
                  <a:gd name="connsiteX392" fmla="*/ 8369 w 10586"/>
                  <a:gd name="connsiteY392" fmla="*/ 6556 h 10000"/>
                  <a:gd name="connsiteX393" fmla="*/ 8378 w 10586"/>
                  <a:gd name="connsiteY393" fmla="*/ 6530 h 10000"/>
                  <a:gd name="connsiteX394" fmla="*/ 8369 w 10586"/>
                  <a:gd name="connsiteY394" fmla="*/ 6504 h 10000"/>
                  <a:gd name="connsiteX395" fmla="*/ 8364 w 10586"/>
                  <a:gd name="connsiteY395" fmla="*/ 6496 h 10000"/>
                  <a:gd name="connsiteX396" fmla="*/ 8336 w 10586"/>
                  <a:gd name="connsiteY396" fmla="*/ 6470 h 10000"/>
                  <a:gd name="connsiteX397" fmla="*/ 8309 w 10586"/>
                  <a:gd name="connsiteY397" fmla="*/ 6487 h 10000"/>
                  <a:gd name="connsiteX398" fmla="*/ 8313 w 10586"/>
                  <a:gd name="connsiteY398" fmla="*/ 6462 h 10000"/>
                  <a:gd name="connsiteX399" fmla="*/ 8323 w 10586"/>
                  <a:gd name="connsiteY399" fmla="*/ 6444 h 10000"/>
                  <a:gd name="connsiteX400" fmla="*/ 8309 w 10586"/>
                  <a:gd name="connsiteY400" fmla="*/ 6393 h 10000"/>
                  <a:gd name="connsiteX401" fmla="*/ 8313 w 10586"/>
                  <a:gd name="connsiteY401" fmla="*/ 6385 h 10000"/>
                  <a:gd name="connsiteX402" fmla="*/ 8323 w 10586"/>
                  <a:gd name="connsiteY402" fmla="*/ 6393 h 10000"/>
                  <a:gd name="connsiteX403" fmla="*/ 8323 w 10586"/>
                  <a:gd name="connsiteY403" fmla="*/ 6393 h 10000"/>
                  <a:gd name="connsiteX404" fmla="*/ 8355 w 10586"/>
                  <a:gd name="connsiteY404" fmla="*/ 6282 h 10000"/>
                  <a:gd name="connsiteX405" fmla="*/ 8369 w 10586"/>
                  <a:gd name="connsiteY405" fmla="*/ 6256 h 10000"/>
                  <a:gd name="connsiteX406" fmla="*/ 8382 w 10586"/>
                  <a:gd name="connsiteY406" fmla="*/ 6248 h 10000"/>
                  <a:gd name="connsiteX407" fmla="*/ 8424 w 10586"/>
                  <a:gd name="connsiteY407" fmla="*/ 6162 h 10000"/>
                  <a:gd name="connsiteX408" fmla="*/ 8429 w 10586"/>
                  <a:gd name="connsiteY408" fmla="*/ 6145 h 10000"/>
                  <a:gd name="connsiteX409" fmla="*/ 8470 w 10586"/>
                  <a:gd name="connsiteY409" fmla="*/ 6051 h 10000"/>
                  <a:gd name="connsiteX410" fmla="*/ 8475 w 10586"/>
                  <a:gd name="connsiteY410" fmla="*/ 5983 h 10000"/>
                  <a:gd name="connsiteX411" fmla="*/ 8512 w 10586"/>
                  <a:gd name="connsiteY411" fmla="*/ 5940 h 10000"/>
                  <a:gd name="connsiteX412" fmla="*/ 8521 w 10586"/>
                  <a:gd name="connsiteY412" fmla="*/ 5923 h 10000"/>
                  <a:gd name="connsiteX413" fmla="*/ 8535 w 10586"/>
                  <a:gd name="connsiteY413" fmla="*/ 5915 h 10000"/>
                  <a:gd name="connsiteX414" fmla="*/ 8562 w 10586"/>
                  <a:gd name="connsiteY414" fmla="*/ 5915 h 10000"/>
                  <a:gd name="connsiteX415" fmla="*/ 8618 w 10586"/>
                  <a:gd name="connsiteY415" fmla="*/ 5889 h 10000"/>
                  <a:gd name="connsiteX416" fmla="*/ 8622 w 10586"/>
                  <a:gd name="connsiteY416" fmla="*/ 5889 h 10000"/>
                  <a:gd name="connsiteX417" fmla="*/ 8622 w 10586"/>
                  <a:gd name="connsiteY417" fmla="*/ 5872 h 10000"/>
                  <a:gd name="connsiteX418" fmla="*/ 8636 w 10586"/>
                  <a:gd name="connsiteY418" fmla="*/ 5872 h 10000"/>
                  <a:gd name="connsiteX419" fmla="*/ 8650 w 10586"/>
                  <a:gd name="connsiteY419" fmla="*/ 5889 h 10000"/>
                  <a:gd name="connsiteX420" fmla="*/ 8659 w 10586"/>
                  <a:gd name="connsiteY420" fmla="*/ 5915 h 10000"/>
                  <a:gd name="connsiteX421" fmla="*/ 8664 w 10586"/>
                  <a:gd name="connsiteY421" fmla="*/ 5940 h 10000"/>
                  <a:gd name="connsiteX422" fmla="*/ 8682 w 10586"/>
                  <a:gd name="connsiteY422" fmla="*/ 5923 h 10000"/>
                  <a:gd name="connsiteX423" fmla="*/ 8719 w 10586"/>
                  <a:gd name="connsiteY423" fmla="*/ 5863 h 10000"/>
                  <a:gd name="connsiteX424" fmla="*/ 8705 w 10586"/>
                  <a:gd name="connsiteY424" fmla="*/ 5966 h 10000"/>
                  <a:gd name="connsiteX425" fmla="*/ 8696 w 10586"/>
                  <a:gd name="connsiteY425" fmla="*/ 5983 h 10000"/>
                  <a:gd name="connsiteX426" fmla="*/ 8682 w 10586"/>
                  <a:gd name="connsiteY426" fmla="*/ 6026 h 10000"/>
                  <a:gd name="connsiteX427" fmla="*/ 8682 w 10586"/>
                  <a:gd name="connsiteY427" fmla="*/ 6051 h 10000"/>
                  <a:gd name="connsiteX428" fmla="*/ 8691 w 10586"/>
                  <a:gd name="connsiteY428" fmla="*/ 6077 h 10000"/>
                  <a:gd name="connsiteX429" fmla="*/ 8691 w 10586"/>
                  <a:gd name="connsiteY429" fmla="*/ 6085 h 10000"/>
                  <a:gd name="connsiteX430" fmla="*/ 8682 w 10586"/>
                  <a:gd name="connsiteY430" fmla="*/ 6103 h 10000"/>
                  <a:gd name="connsiteX431" fmla="*/ 8682 w 10586"/>
                  <a:gd name="connsiteY431" fmla="*/ 6111 h 10000"/>
                  <a:gd name="connsiteX432" fmla="*/ 8691 w 10586"/>
                  <a:gd name="connsiteY432" fmla="*/ 6120 h 10000"/>
                  <a:gd name="connsiteX433" fmla="*/ 8719 w 10586"/>
                  <a:gd name="connsiteY433" fmla="*/ 6103 h 10000"/>
                  <a:gd name="connsiteX434" fmla="*/ 8705 w 10586"/>
                  <a:gd name="connsiteY434" fmla="*/ 6188 h 10000"/>
                  <a:gd name="connsiteX435" fmla="*/ 8705 w 10586"/>
                  <a:gd name="connsiteY435" fmla="*/ 6214 h 10000"/>
                  <a:gd name="connsiteX436" fmla="*/ 8710 w 10586"/>
                  <a:gd name="connsiteY436" fmla="*/ 6197 h 10000"/>
                  <a:gd name="connsiteX437" fmla="*/ 8728 w 10586"/>
                  <a:gd name="connsiteY437" fmla="*/ 6171 h 10000"/>
                  <a:gd name="connsiteX438" fmla="*/ 8737 w 10586"/>
                  <a:gd name="connsiteY438" fmla="*/ 6171 h 10000"/>
                  <a:gd name="connsiteX439" fmla="*/ 8843 w 10586"/>
                  <a:gd name="connsiteY439" fmla="*/ 5949 h 10000"/>
                  <a:gd name="connsiteX440" fmla="*/ 8866 w 10586"/>
                  <a:gd name="connsiteY440" fmla="*/ 5949 h 10000"/>
                  <a:gd name="connsiteX441" fmla="*/ 8871 w 10586"/>
                  <a:gd name="connsiteY441" fmla="*/ 5940 h 10000"/>
                  <a:gd name="connsiteX442" fmla="*/ 8876 w 10586"/>
                  <a:gd name="connsiteY442" fmla="*/ 5923 h 10000"/>
                  <a:gd name="connsiteX443" fmla="*/ 8885 w 10586"/>
                  <a:gd name="connsiteY443" fmla="*/ 5940 h 10000"/>
                  <a:gd name="connsiteX444" fmla="*/ 8885 w 10586"/>
                  <a:gd name="connsiteY444" fmla="*/ 5949 h 10000"/>
                  <a:gd name="connsiteX445" fmla="*/ 8885 w 10586"/>
                  <a:gd name="connsiteY445" fmla="*/ 5974 h 10000"/>
                  <a:gd name="connsiteX446" fmla="*/ 8889 w 10586"/>
                  <a:gd name="connsiteY446" fmla="*/ 5974 h 10000"/>
                  <a:gd name="connsiteX447" fmla="*/ 8903 w 10586"/>
                  <a:gd name="connsiteY447" fmla="*/ 5923 h 10000"/>
                  <a:gd name="connsiteX448" fmla="*/ 8889 w 10586"/>
                  <a:gd name="connsiteY448" fmla="*/ 5923 h 10000"/>
                  <a:gd name="connsiteX449" fmla="*/ 8889 w 10586"/>
                  <a:gd name="connsiteY449" fmla="*/ 5897 h 10000"/>
                  <a:gd name="connsiteX450" fmla="*/ 8899 w 10586"/>
                  <a:gd name="connsiteY450" fmla="*/ 5838 h 10000"/>
                  <a:gd name="connsiteX451" fmla="*/ 8889 w 10586"/>
                  <a:gd name="connsiteY451" fmla="*/ 5812 h 10000"/>
                  <a:gd name="connsiteX452" fmla="*/ 8903 w 10586"/>
                  <a:gd name="connsiteY452" fmla="*/ 5778 h 10000"/>
                  <a:gd name="connsiteX453" fmla="*/ 8903 w 10586"/>
                  <a:gd name="connsiteY453" fmla="*/ 5761 h 10000"/>
                  <a:gd name="connsiteX454" fmla="*/ 8912 w 10586"/>
                  <a:gd name="connsiteY454" fmla="*/ 5735 h 10000"/>
                  <a:gd name="connsiteX455" fmla="*/ 8931 w 10586"/>
                  <a:gd name="connsiteY455" fmla="*/ 5701 h 10000"/>
                  <a:gd name="connsiteX456" fmla="*/ 8977 w 10586"/>
                  <a:gd name="connsiteY456" fmla="*/ 5675 h 10000"/>
                  <a:gd name="connsiteX457" fmla="*/ 9000 w 10586"/>
                  <a:gd name="connsiteY457" fmla="*/ 5675 h 10000"/>
                  <a:gd name="connsiteX458" fmla="*/ 9018 w 10586"/>
                  <a:gd name="connsiteY458" fmla="*/ 5709 h 10000"/>
                  <a:gd name="connsiteX459" fmla="*/ 9009 w 10586"/>
                  <a:gd name="connsiteY459" fmla="*/ 5735 h 10000"/>
                  <a:gd name="connsiteX460" fmla="*/ 9000 w 10586"/>
                  <a:gd name="connsiteY460" fmla="*/ 5735 h 10000"/>
                  <a:gd name="connsiteX461" fmla="*/ 8963 w 10586"/>
                  <a:gd name="connsiteY461" fmla="*/ 5786 h 10000"/>
                  <a:gd name="connsiteX462" fmla="*/ 8949 w 10586"/>
                  <a:gd name="connsiteY462" fmla="*/ 5940 h 10000"/>
                  <a:gd name="connsiteX463" fmla="*/ 8945 w 10586"/>
                  <a:gd name="connsiteY463" fmla="*/ 5966 h 10000"/>
                  <a:gd name="connsiteX464" fmla="*/ 8945 w 10586"/>
                  <a:gd name="connsiteY464" fmla="*/ 6000 h 10000"/>
                  <a:gd name="connsiteX465" fmla="*/ 8945 w 10586"/>
                  <a:gd name="connsiteY465" fmla="*/ 6009 h 10000"/>
                  <a:gd name="connsiteX466" fmla="*/ 8945 w 10586"/>
                  <a:gd name="connsiteY466" fmla="*/ 6034 h 10000"/>
                  <a:gd name="connsiteX467" fmla="*/ 8931 w 10586"/>
                  <a:gd name="connsiteY467" fmla="*/ 6060 h 10000"/>
                  <a:gd name="connsiteX468" fmla="*/ 8926 w 10586"/>
                  <a:gd name="connsiteY468" fmla="*/ 6077 h 10000"/>
                  <a:gd name="connsiteX469" fmla="*/ 8926 w 10586"/>
                  <a:gd name="connsiteY469" fmla="*/ 6111 h 10000"/>
                  <a:gd name="connsiteX470" fmla="*/ 8931 w 10586"/>
                  <a:gd name="connsiteY470" fmla="*/ 6120 h 10000"/>
                  <a:gd name="connsiteX471" fmla="*/ 8931 w 10586"/>
                  <a:gd name="connsiteY471" fmla="*/ 6137 h 10000"/>
                  <a:gd name="connsiteX472" fmla="*/ 8912 w 10586"/>
                  <a:gd name="connsiteY472" fmla="*/ 6171 h 10000"/>
                  <a:gd name="connsiteX473" fmla="*/ 8899 w 10586"/>
                  <a:gd name="connsiteY473" fmla="*/ 6162 h 10000"/>
                  <a:gd name="connsiteX474" fmla="*/ 8885 w 10586"/>
                  <a:gd name="connsiteY474" fmla="*/ 6171 h 10000"/>
                  <a:gd name="connsiteX475" fmla="*/ 8866 w 10586"/>
                  <a:gd name="connsiteY475" fmla="*/ 6214 h 10000"/>
                  <a:gd name="connsiteX476" fmla="*/ 8853 w 10586"/>
                  <a:gd name="connsiteY476" fmla="*/ 6214 h 10000"/>
                  <a:gd name="connsiteX477" fmla="*/ 8816 w 10586"/>
                  <a:gd name="connsiteY477" fmla="*/ 6248 h 10000"/>
                  <a:gd name="connsiteX478" fmla="*/ 8816 w 10586"/>
                  <a:gd name="connsiteY478" fmla="*/ 6248 h 10000"/>
                  <a:gd name="connsiteX479" fmla="*/ 8816 w 10586"/>
                  <a:gd name="connsiteY479" fmla="*/ 6282 h 10000"/>
                  <a:gd name="connsiteX480" fmla="*/ 8811 w 10586"/>
                  <a:gd name="connsiteY480" fmla="*/ 6308 h 10000"/>
                  <a:gd name="connsiteX481" fmla="*/ 8751 w 10586"/>
                  <a:gd name="connsiteY481" fmla="*/ 6436 h 10000"/>
                  <a:gd name="connsiteX482" fmla="*/ 8724 w 10586"/>
                  <a:gd name="connsiteY482" fmla="*/ 6470 h 10000"/>
                  <a:gd name="connsiteX483" fmla="*/ 8710 w 10586"/>
                  <a:gd name="connsiteY483" fmla="*/ 6504 h 10000"/>
                  <a:gd name="connsiteX484" fmla="*/ 8705 w 10586"/>
                  <a:gd name="connsiteY484" fmla="*/ 6521 h 10000"/>
                  <a:gd name="connsiteX485" fmla="*/ 8677 w 10586"/>
                  <a:gd name="connsiteY485" fmla="*/ 6573 h 10000"/>
                  <a:gd name="connsiteX486" fmla="*/ 8677 w 10586"/>
                  <a:gd name="connsiteY486" fmla="*/ 6624 h 10000"/>
                  <a:gd name="connsiteX487" fmla="*/ 8590 w 10586"/>
                  <a:gd name="connsiteY487" fmla="*/ 6803 h 10000"/>
                  <a:gd name="connsiteX488" fmla="*/ 8562 w 10586"/>
                  <a:gd name="connsiteY488" fmla="*/ 6829 h 10000"/>
                  <a:gd name="connsiteX489" fmla="*/ 8544 w 10586"/>
                  <a:gd name="connsiteY489" fmla="*/ 6829 h 10000"/>
                  <a:gd name="connsiteX490" fmla="*/ 8521 w 10586"/>
                  <a:gd name="connsiteY490" fmla="*/ 6880 h 10000"/>
                  <a:gd name="connsiteX491" fmla="*/ 8498 w 10586"/>
                  <a:gd name="connsiteY491" fmla="*/ 6872 h 10000"/>
                  <a:gd name="connsiteX492" fmla="*/ 8488 w 10586"/>
                  <a:gd name="connsiteY492" fmla="*/ 6872 h 10000"/>
                  <a:gd name="connsiteX493" fmla="*/ 8498 w 10586"/>
                  <a:gd name="connsiteY493" fmla="*/ 6940 h 10000"/>
                  <a:gd name="connsiteX494" fmla="*/ 8484 w 10586"/>
                  <a:gd name="connsiteY494" fmla="*/ 7026 h 10000"/>
                  <a:gd name="connsiteX495" fmla="*/ 8429 w 10586"/>
                  <a:gd name="connsiteY495" fmla="*/ 7094 h 10000"/>
                  <a:gd name="connsiteX496" fmla="*/ 8401 w 10586"/>
                  <a:gd name="connsiteY496" fmla="*/ 7291 h 10000"/>
                  <a:gd name="connsiteX497" fmla="*/ 8424 w 10586"/>
                  <a:gd name="connsiteY497" fmla="*/ 7692 h 10000"/>
                  <a:gd name="connsiteX498" fmla="*/ 8424 w 10586"/>
                  <a:gd name="connsiteY498" fmla="*/ 7701 h 10000"/>
                  <a:gd name="connsiteX499" fmla="*/ 8484 w 10586"/>
                  <a:gd name="connsiteY499" fmla="*/ 8308 h 10000"/>
                  <a:gd name="connsiteX500" fmla="*/ 8576 w 10586"/>
                  <a:gd name="connsiteY500" fmla="*/ 8120 h 10000"/>
                  <a:gd name="connsiteX501" fmla="*/ 8590 w 10586"/>
                  <a:gd name="connsiteY501" fmla="*/ 8026 h 10000"/>
                  <a:gd name="connsiteX502" fmla="*/ 8590 w 10586"/>
                  <a:gd name="connsiteY502" fmla="*/ 7983 h 10000"/>
                  <a:gd name="connsiteX503" fmla="*/ 8594 w 10586"/>
                  <a:gd name="connsiteY503" fmla="*/ 7974 h 10000"/>
                  <a:gd name="connsiteX504" fmla="*/ 8594 w 10586"/>
                  <a:gd name="connsiteY504" fmla="*/ 7940 h 10000"/>
                  <a:gd name="connsiteX505" fmla="*/ 8594 w 10586"/>
                  <a:gd name="connsiteY505" fmla="*/ 7923 h 10000"/>
                  <a:gd name="connsiteX506" fmla="*/ 8594 w 10586"/>
                  <a:gd name="connsiteY506" fmla="*/ 7915 h 10000"/>
                  <a:gd name="connsiteX507" fmla="*/ 8604 w 10586"/>
                  <a:gd name="connsiteY507" fmla="*/ 7915 h 10000"/>
                  <a:gd name="connsiteX508" fmla="*/ 8608 w 10586"/>
                  <a:gd name="connsiteY508" fmla="*/ 7923 h 10000"/>
                  <a:gd name="connsiteX509" fmla="*/ 8645 w 10586"/>
                  <a:gd name="connsiteY509" fmla="*/ 7872 h 10000"/>
                  <a:gd name="connsiteX510" fmla="*/ 8668 w 10586"/>
                  <a:gd name="connsiteY510" fmla="*/ 7846 h 10000"/>
                  <a:gd name="connsiteX511" fmla="*/ 8691 w 10586"/>
                  <a:gd name="connsiteY511" fmla="*/ 7863 h 10000"/>
                  <a:gd name="connsiteX512" fmla="*/ 8691 w 10586"/>
                  <a:gd name="connsiteY512" fmla="*/ 7846 h 10000"/>
                  <a:gd name="connsiteX513" fmla="*/ 8682 w 10586"/>
                  <a:gd name="connsiteY513" fmla="*/ 7838 h 10000"/>
                  <a:gd name="connsiteX514" fmla="*/ 8682 w 10586"/>
                  <a:gd name="connsiteY514" fmla="*/ 7692 h 10000"/>
                  <a:gd name="connsiteX515" fmla="*/ 8728 w 10586"/>
                  <a:gd name="connsiteY515" fmla="*/ 7598 h 10000"/>
                  <a:gd name="connsiteX516" fmla="*/ 8751 w 10586"/>
                  <a:gd name="connsiteY516" fmla="*/ 7573 h 10000"/>
                  <a:gd name="connsiteX517" fmla="*/ 8770 w 10586"/>
                  <a:gd name="connsiteY517" fmla="*/ 7573 h 10000"/>
                  <a:gd name="connsiteX518" fmla="*/ 8779 w 10586"/>
                  <a:gd name="connsiteY518" fmla="*/ 7590 h 10000"/>
                  <a:gd name="connsiteX519" fmla="*/ 8793 w 10586"/>
                  <a:gd name="connsiteY519" fmla="*/ 7590 h 10000"/>
                  <a:gd name="connsiteX520" fmla="*/ 8811 w 10586"/>
                  <a:gd name="connsiteY520" fmla="*/ 7590 h 10000"/>
                  <a:gd name="connsiteX521" fmla="*/ 8825 w 10586"/>
                  <a:gd name="connsiteY521" fmla="*/ 7556 h 10000"/>
                  <a:gd name="connsiteX522" fmla="*/ 8829 w 10586"/>
                  <a:gd name="connsiteY522" fmla="*/ 7530 h 10000"/>
                  <a:gd name="connsiteX523" fmla="*/ 8802 w 10586"/>
                  <a:gd name="connsiteY523" fmla="*/ 7462 h 10000"/>
                  <a:gd name="connsiteX524" fmla="*/ 8797 w 10586"/>
                  <a:gd name="connsiteY524" fmla="*/ 7402 h 10000"/>
                  <a:gd name="connsiteX525" fmla="*/ 8816 w 10586"/>
                  <a:gd name="connsiteY525" fmla="*/ 7291 h 10000"/>
                  <a:gd name="connsiteX526" fmla="*/ 8825 w 10586"/>
                  <a:gd name="connsiteY526" fmla="*/ 7256 h 10000"/>
                  <a:gd name="connsiteX527" fmla="*/ 8843 w 10586"/>
                  <a:gd name="connsiteY527" fmla="*/ 7231 h 10000"/>
                  <a:gd name="connsiteX528" fmla="*/ 8839 w 10586"/>
                  <a:gd name="connsiteY528" fmla="*/ 7205 h 10000"/>
                  <a:gd name="connsiteX529" fmla="*/ 8839 w 10586"/>
                  <a:gd name="connsiteY529" fmla="*/ 7188 h 10000"/>
                  <a:gd name="connsiteX530" fmla="*/ 8876 w 10586"/>
                  <a:gd name="connsiteY530" fmla="*/ 7162 h 10000"/>
                  <a:gd name="connsiteX531" fmla="*/ 8885 w 10586"/>
                  <a:gd name="connsiteY531" fmla="*/ 7154 h 10000"/>
                  <a:gd name="connsiteX532" fmla="*/ 8885 w 10586"/>
                  <a:gd name="connsiteY532" fmla="*/ 7162 h 10000"/>
                  <a:gd name="connsiteX533" fmla="*/ 8876 w 10586"/>
                  <a:gd name="connsiteY533" fmla="*/ 7188 h 10000"/>
                  <a:gd name="connsiteX534" fmla="*/ 8871 w 10586"/>
                  <a:gd name="connsiteY534" fmla="*/ 7205 h 10000"/>
                  <a:gd name="connsiteX535" fmla="*/ 8866 w 10586"/>
                  <a:gd name="connsiteY535" fmla="*/ 7214 h 10000"/>
                  <a:gd name="connsiteX536" fmla="*/ 8876 w 10586"/>
                  <a:gd name="connsiteY536" fmla="*/ 7265 h 10000"/>
                  <a:gd name="connsiteX537" fmla="*/ 8885 w 10586"/>
                  <a:gd name="connsiteY537" fmla="*/ 7282 h 10000"/>
                  <a:gd name="connsiteX538" fmla="*/ 8889 w 10586"/>
                  <a:gd name="connsiteY538" fmla="*/ 7282 h 10000"/>
                  <a:gd name="connsiteX539" fmla="*/ 8903 w 10586"/>
                  <a:gd name="connsiteY539" fmla="*/ 7239 h 10000"/>
                  <a:gd name="connsiteX540" fmla="*/ 8903 w 10586"/>
                  <a:gd name="connsiteY540" fmla="*/ 7214 h 10000"/>
                  <a:gd name="connsiteX541" fmla="*/ 8899 w 10586"/>
                  <a:gd name="connsiteY541" fmla="*/ 7128 h 10000"/>
                  <a:gd name="connsiteX542" fmla="*/ 8889 w 10586"/>
                  <a:gd name="connsiteY542" fmla="*/ 7120 h 10000"/>
                  <a:gd name="connsiteX543" fmla="*/ 8871 w 10586"/>
                  <a:gd name="connsiteY543" fmla="*/ 7120 h 10000"/>
                  <a:gd name="connsiteX544" fmla="*/ 8871 w 10586"/>
                  <a:gd name="connsiteY544" fmla="*/ 7120 h 10000"/>
                  <a:gd name="connsiteX545" fmla="*/ 8871 w 10586"/>
                  <a:gd name="connsiteY545" fmla="*/ 6991 h 10000"/>
                  <a:gd name="connsiteX546" fmla="*/ 8871 w 10586"/>
                  <a:gd name="connsiteY546" fmla="*/ 6966 h 10000"/>
                  <a:gd name="connsiteX547" fmla="*/ 8889 w 10586"/>
                  <a:gd name="connsiteY547" fmla="*/ 6940 h 10000"/>
                  <a:gd name="connsiteX548" fmla="*/ 8903 w 10586"/>
                  <a:gd name="connsiteY548" fmla="*/ 6906 h 10000"/>
                  <a:gd name="connsiteX549" fmla="*/ 8899 w 10586"/>
                  <a:gd name="connsiteY549" fmla="*/ 6880 h 10000"/>
                  <a:gd name="connsiteX550" fmla="*/ 8866 w 10586"/>
                  <a:gd name="connsiteY550" fmla="*/ 6846 h 10000"/>
                  <a:gd name="connsiteX551" fmla="*/ 8853 w 10586"/>
                  <a:gd name="connsiteY551" fmla="*/ 6846 h 10000"/>
                  <a:gd name="connsiteX552" fmla="*/ 8843 w 10586"/>
                  <a:gd name="connsiteY552" fmla="*/ 6880 h 10000"/>
                  <a:gd name="connsiteX553" fmla="*/ 8843 w 10586"/>
                  <a:gd name="connsiteY553" fmla="*/ 6897 h 10000"/>
                  <a:gd name="connsiteX554" fmla="*/ 8829 w 10586"/>
                  <a:gd name="connsiteY554" fmla="*/ 6880 h 10000"/>
                  <a:gd name="connsiteX555" fmla="*/ 8825 w 10586"/>
                  <a:gd name="connsiteY555" fmla="*/ 6872 h 10000"/>
                  <a:gd name="connsiteX556" fmla="*/ 8816 w 10586"/>
                  <a:gd name="connsiteY556" fmla="*/ 6846 h 10000"/>
                  <a:gd name="connsiteX557" fmla="*/ 8816 w 10586"/>
                  <a:gd name="connsiteY557" fmla="*/ 6803 h 10000"/>
                  <a:gd name="connsiteX558" fmla="*/ 8876 w 10586"/>
                  <a:gd name="connsiteY558" fmla="*/ 6598 h 10000"/>
                  <a:gd name="connsiteX559" fmla="*/ 8876 w 10586"/>
                  <a:gd name="connsiteY559" fmla="*/ 6573 h 10000"/>
                  <a:gd name="connsiteX560" fmla="*/ 8885 w 10586"/>
                  <a:gd name="connsiteY560" fmla="*/ 6556 h 10000"/>
                  <a:gd name="connsiteX561" fmla="*/ 8899 w 10586"/>
                  <a:gd name="connsiteY561" fmla="*/ 6573 h 10000"/>
                  <a:gd name="connsiteX562" fmla="*/ 8889 w 10586"/>
                  <a:gd name="connsiteY562" fmla="*/ 6556 h 10000"/>
                  <a:gd name="connsiteX563" fmla="*/ 8889 w 10586"/>
                  <a:gd name="connsiteY563" fmla="*/ 6530 h 10000"/>
                  <a:gd name="connsiteX564" fmla="*/ 8903 w 10586"/>
                  <a:gd name="connsiteY564" fmla="*/ 6521 h 10000"/>
                  <a:gd name="connsiteX565" fmla="*/ 8903 w 10586"/>
                  <a:gd name="connsiteY565" fmla="*/ 6504 h 10000"/>
                  <a:gd name="connsiteX566" fmla="*/ 8903 w 10586"/>
                  <a:gd name="connsiteY566" fmla="*/ 6487 h 10000"/>
                  <a:gd name="connsiteX567" fmla="*/ 8903 w 10586"/>
                  <a:gd name="connsiteY567" fmla="*/ 6462 h 10000"/>
                  <a:gd name="connsiteX568" fmla="*/ 8912 w 10586"/>
                  <a:gd name="connsiteY568" fmla="*/ 6419 h 10000"/>
                  <a:gd name="connsiteX569" fmla="*/ 8917 w 10586"/>
                  <a:gd name="connsiteY569" fmla="*/ 6393 h 10000"/>
                  <a:gd name="connsiteX570" fmla="*/ 8926 w 10586"/>
                  <a:gd name="connsiteY570" fmla="*/ 6385 h 10000"/>
                  <a:gd name="connsiteX571" fmla="*/ 8931 w 10586"/>
                  <a:gd name="connsiteY571" fmla="*/ 6385 h 10000"/>
                  <a:gd name="connsiteX572" fmla="*/ 8949 w 10586"/>
                  <a:gd name="connsiteY572" fmla="*/ 6359 h 10000"/>
                  <a:gd name="connsiteX573" fmla="*/ 8959 w 10586"/>
                  <a:gd name="connsiteY573" fmla="*/ 6368 h 10000"/>
                  <a:gd name="connsiteX574" fmla="*/ 8963 w 10586"/>
                  <a:gd name="connsiteY574" fmla="*/ 6385 h 10000"/>
                  <a:gd name="connsiteX575" fmla="*/ 8972 w 10586"/>
                  <a:gd name="connsiteY575" fmla="*/ 6359 h 10000"/>
                  <a:gd name="connsiteX576" fmla="*/ 8991 w 10586"/>
                  <a:gd name="connsiteY576" fmla="*/ 6350 h 10000"/>
                  <a:gd name="connsiteX577" fmla="*/ 9000 w 10586"/>
                  <a:gd name="connsiteY577" fmla="*/ 6368 h 10000"/>
                  <a:gd name="connsiteX578" fmla="*/ 9005 w 10586"/>
                  <a:gd name="connsiteY578" fmla="*/ 6393 h 10000"/>
                  <a:gd name="connsiteX579" fmla="*/ 9018 w 10586"/>
                  <a:gd name="connsiteY579" fmla="*/ 6393 h 10000"/>
                  <a:gd name="connsiteX580" fmla="*/ 9023 w 10586"/>
                  <a:gd name="connsiteY580" fmla="*/ 6359 h 10000"/>
                  <a:gd name="connsiteX581" fmla="*/ 9023 w 10586"/>
                  <a:gd name="connsiteY581" fmla="*/ 6333 h 10000"/>
                  <a:gd name="connsiteX582" fmla="*/ 9037 w 10586"/>
                  <a:gd name="connsiteY582" fmla="*/ 6308 h 10000"/>
                  <a:gd name="connsiteX583" fmla="*/ 9074 w 10586"/>
                  <a:gd name="connsiteY583" fmla="*/ 6274 h 10000"/>
                  <a:gd name="connsiteX584" fmla="*/ 9092 w 10586"/>
                  <a:gd name="connsiteY584" fmla="*/ 6222 h 10000"/>
                  <a:gd name="connsiteX585" fmla="*/ 9097 w 10586"/>
                  <a:gd name="connsiteY585" fmla="*/ 6231 h 10000"/>
                  <a:gd name="connsiteX586" fmla="*/ 9097 w 10586"/>
                  <a:gd name="connsiteY586" fmla="*/ 6248 h 10000"/>
                  <a:gd name="connsiteX587" fmla="*/ 9097 w 10586"/>
                  <a:gd name="connsiteY587" fmla="*/ 6274 h 10000"/>
                  <a:gd name="connsiteX588" fmla="*/ 9097 w 10586"/>
                  <a:gd name="connsiteY588" fmla="*/ 6308 h 10000"/>
                  <a:gd name="connsiteX589" fmla="*/ 9092 w 10586"/>
                  <a:gd name="connsiteY589" fmla="*/ 6368 h 10000"/>
                  <a:gd name="connsiteX590" fmla="*/ 9092 w 10586"/>
                  <a:gd name="connsiteY590" fmla="*/ 6385 h 10000"/>
                  <a:gd name="connsiteX591" fmla="*/ 9092 w 10586"/>
                  <a:gd name="connsiteY591" fmla="*/ 6393 h 10000"/>
                  <a:gd name="connsiteX592" fmla="*/ 9092 w 10586"/>
                  <a:gd name="connsiteY592" fmla="*/ 6393 h 10000"/>
                  <a:gd name="connsiteX593" fmla="*/ 9143 w 10586"/>
                  <a:gd name="connsiteY593" fmla="*/ 6299 h 10000"/>
                  <a:gd name="connsiteX594" fmla="*/ 9143 w 10586"/>
                  <a:gd name="connsiteY594" fmla="*/ 6282 h 10000"/>
                  <a:gd name="connsiteX595" fmla="*/ 9143 w 10586"/>
                  <a:gd name="connsiteY595" fmla="*/ 6256 h 10000"/>
                  <a:gd name="connsiteX596" fmla="*/ 9143 w 10586"/>
                  <a:gd name="connsiteY596" fmla="*/ 6256 h 10000"/>
                  <a:gd name="connsiteX597" fmla="*/ 9157 w 10586"/>
                  <a:gd name="connsiteY597" fmla="*/ 6274 h 10000"/>
                  <a:gd name="connsiteX598" fmla="*/ 9166 w 10586"/>
                  <a:gd name="connsiteY598" fmla="*/ 6248 h 10000"/>
                  <a:gd name="connsiteX599" fmla="*/ 9180 w 10586"/>
                  <a:gd name="connsiteY599" fmla="*/ 6248 h 10000"/>
                  <a:gd name="connsiteX600" fmla="*/ 9198 w 10586"/>
                  <a:gd name="connsiteY600" fmla="*/ 6222 h 10000"/>
                  <a:gd name="connsiteX601" fmla="*/ 9212 w 10586"/>
                  <a:gd name="connsiteY601" fmla="*/ 6222 h 10000"/>
                  <a:gd name="connsiteX602" fmla="*/ 9226 w 10586"/>
                  <a:gd name="connsiteY602" fmla="*/ 6197 h 10000"/>
                  <a:gd name="connsiteX603" fmla="*/ 9230 w 10586"/>
                  <a:gd name="connsiteY603" fmla="*/ 6214 h 10000"/>
                  <a:gd name="connsiteX604" fmla="*/ 9272 w 10586"/>
                  <a:gd name="connsiteY604" fmla="*/ 6214 h 10000"/>
                  <a:gd name="connsiteX605" fmla="*/ 9304 w 10586"/>
                  <a:gd name="connsiteY605" fmla="*/ 6231 h 10000"/>
                  <a:gd name="connsiteX606" fmla="*/ 9318 w 10586"/>
                  <a:gd name="connsiteY606" fmla="*/ 6248 h 10000"/>
                  <a:gd name="connsiteX607" fmla="*/ 9327 w 10586"/>
                  <a:gd name="connsiteY607" fmla="*/ 6282 h 10000"/>
                  <a:gd name="connsiteX608" fmla="*/ 9355 w 10586"/>
                  <a:gd name="connsiteY608" fmla="*/ 6350 h 10000"/>
                  <a:gd name="connsiteX609" fmla="*/ 9355 w 10586"/>
                  <a:gd name="connsiteY609" fmla="*/ 6359 h 10000"/>
                  <a:gd name="connsiteX610" fmla="*/ 9364 w 10586"/>
                  <a:gd name="connsiteY610" fmla="*/ 6368 h 10000"/>
                  <a:gd name="connsiteX611" fmla="*/ 9373 w 10586"/>
                  <a:gd name="connsiteY611" fmla="*/ 6359 h 10000"/>
                  <a:gd name="connsiteX612" fmla="*/ 9373 w 10586"/>
                  <a:gd name="connsiteY612" fmla="*/ 6325 h 10000"/>
                  <a:gd name="connsiteX613" fmla="*/ 9387 w 10586"/>
                  <a:gd name="connsiteY613" fmla="*/ 6256 h 10000"/>
                  <a:gd name="connsiteX614" fmla="*/ 9387 w 10586"/>
                  <a:gd name="connsiteY614" fmla="*/ 6248 h 10000"/>
                  <a:gd name="connsiteX615" fmla="*/ 9378 w 10586"/>
                  <a:gd name="connsiteY615" fmla="*/ 6248 h 10000"/>
                  <a:gd name="connsiteX616" fmla="*/ 9406 w 10586"/>
                  <a:gd name="connsiteY616" fmla="*/ 6222 h 10000"/>
                  <a:gd name="connsiteX617" fmla="*/ 9415 w 10586"/>
                  <a:gd name="connsiteY617" fmla="*/ 6222 h 10000"/>
                  <a:gd name="connsiteX618" fmla="*/ 9415 w 10586"/>
                  <a:gd name="connsiteY618" fmla="*/ 6197 h 10000"/>
                  <a:gd name="connsiteX619" fmla="*/ 9419 w 10586"/>
                  <a:gd name="connsiteY619" fmla="*/ 6214 h 10000"/>
                  <a:gd name="connsiteX620" fmla="*/ 9424 w 10586"/>
                  <a:gd name="connsiteY620" fmla="*/ 6214 h 10000"/>
                  <a:gd name="connsiteX621" fmla="*/ 9447 w 10586"/>
                  <a:gd name="connsiteY621" fmla="*/ 6171 h 10000"/>
                  <a:gd name="connsiteX622" fmla="*/ 9452 w 10586"/>
                  <a:gd name="connsiteY622" fmla="*/ 6171 h 10000"/>
                  <a:gd name="connsiteX623" fmla="*/ 9452 w 10586"/>
                  <a:gd name="connsiteY623" fmla="*/ 6162 h 10000"/>
                  <a:gd name="connsiteX624" fmla="*/ 9461 w 10586"/>
                  <a:gd name="connsiteY624" fmla="*/ 6137 h 10000"/>
                  <a:gd name="connsiteX625" fmla="*/ 9475 w 10586"/>
                  <a:gd name="connsiteY625" fmla="*/ 6137 h 10000"/>
                  <a:gd name="connsiteX626" fmla="*/ 9475 w 10586"/>
                  <a:gd name="connsiteY626" fmla="*/ 6137 h 10000"/>
                  <a:gd name="connsiteX627" fmla="*/ 9479 w 10586"/>
                  <a:gd name="connsiteY627" fmla="*/ 6120 h 10000"/>
                  <a:gd name="connsiteX628" fmla="*/ 9488 w 10586"/>
                  <a:gd name="connsiteY628" fmla="*/ 6120 h 10000"/>
                  <a:gd name="connsiteX629" fmla="*/ 9488 w 10586"/>
                  <a:gd name="connsiteY629" fmla="*/ 6111 h 10000"/>
                  <a:gd name="connsiteX630" fmla="*/ 9479 w 10586"/>
                  <a:gd name="connsiteY630" fmla="*/ 6103 h 10000"/>
                  <a:gd name="connsiteX631" fmla="*/ 9479 w 10586"/>
                  <a:gd name="connsiteY631" fmla="*/ 6085 h 10000"/>
                  <a:gd name="connsiteX632" fmla="*/ 9488 w 10586"/>
                  <a:gd name="connsiteY632" fmla="*/ 6103 h 10000"/>
                  <a:gd name="connsiteX633" fmla="*/ 9493 w 10586"/>
                  <a:gd name="connsiteY633" fmla="*/ 6111 h 10000"/>
                  <a:gd name="connsiteX634" fmla="*/ 9498 w 10586"/>
                  <a:gd name="connsiteY634" fmla="*/ 6103 h 10000"/>
                  <a:gd name="connsiteX635" fmla="*/ 9507 w 10586"/>
                  <a:gd name="connsiteY635" fmla="*/ 6077 h 10000"/>
                  <a:gd name="connsiteX636" fmla="*/ 9498 w 10586"/>
                  <a:gd name="connsiteY636" fmla="*/ 6060 h 10000"/>
                  <a:gd name="connsiteX637" fmla="*/ 9512 w 10586"/>
                  <a:gd name="connsiteY637" fmla="*/ 6060 h 10000"/>
                  <a:gd name="connsiteX638" fmla="*/ 9525 w 10586"/>
                  <a:gd name="connsiteY638" fmla="*/ 6034 h 10000"/>
                  <a:gd name="connsiteX639" fmla="*/ 9535 w 10586"/>
                  <a:gd name="connsiteY639" fmla="*/ 6034 h 10000"/>
                  <a:gd name="connsiteX640" fmla="*/ 9535 w 10586"/>
                  <a:gd name="connsiteY640" fmla="*/ 6026 h 10000"/>
                  <a:gd name="connsiteX641" fmla="*/ 9525 w 10586"/>
                  <a:gd name="connsiteY641" fmla="*/ 6009 h 10000"/>
                  <a:gd name="connsiteX642" fmla="*/ 9535 w 10586"/>
                  <a:gd name="connsiteY642" fmla="*/ 6000 h 10000"/>
                  <a:gd name="connsiteX643" fmla="*/ 9539 w 10586"/>
                  <a:gd name="connsiteY643" fmla="*/ 6009 h 10000"/>
                  <a:gd name="connsiteX644" fmla="*/ 9548 w 10586"/>
                  <a:gd name="connsiteY644" fmla="*/ 6009 h 10000"/>
                  <a:gd name="connsiteX645" fmla="*/ 9553 w 10586"/>
                  <a:gd name="connsiteY645" fmla="*/ 6000 h 10000"/>
                  <a:gd name="connsiteX646" fmla="*/ 9562 w 10586"/>
                  <a:gd name="connsiteY646" fmla="*/ 5983 h 10000"/>
                  <a:gd name="connsiteX647" fmla="*/ 9562 w 10586"/>
                  <a:gd name="connsiteY647" fmla="*/ 5974 h 10000"/>
                  <a:gd name="connsiteX648" fmla="*/ 9567 w 10586"/>
                  <a:gd name="connsiteY648" fmla="*/ 5974 h 10000"/>
                  <a:gd name="connsiteX649" fmla="*/ 9567 w 10586"/>
                  <a:gd name="connsiteY649" fmla="*/ 5966 h 10000"/>
                  <a:gd name="connsiteX650" fmla="*/ 9567 w 10586"/>
                  <a:gd name="connsiteY650" fmla="*/ 5940 h 10000"/>
                  <a:gd name="connsiteX651" fmla="*/ 9571 w 10586"/>
                  <a:gd name="connsiteY651" fmla="*/ 5915 h 10000"/>
                  <a:gd name="connsiteX652" fmla="*/ 9581 w 10586"/>
                  <a:gd name="connsiteY652" fmla="*/ 5923 h 10000"/>
                  <a:gd name="connsiteX653" fmla="*/ 9585 w 10586"/>
                  <a:gd name="connsiteY653" fmla="*/ 5940 h 10000"/>
                  <a:gd name="connsiteX654" fmla="*/ 9594 w 10586"/>
                  <a:gd name="connsiteY654" fmla="*/ 5949 h 10000"/>
                  <a:gd name="connsiteX655" fmla="*/ 9599 w 10586"/>
                  <a:gd name="connsiteY655" fmla="*/ 5940 h 10000"/>
                  <a:gd name="connsiteX656" fmla="*/ 9613 w 10586"/>
                  <a:gd name="connsiteY656" fmla="*/ 5915 h 10000"/>
                  <a:gd name="connsiteX657" fmla="*/ 9645 w 10586"/>
                  <a:gd name="connsiteY657" fmla="*/ 5889 h 10000"/>
                  <a:gd name="connsiteX658" fmla="*/ 9654 w 10586"/>
                  <a:gd name="connsiteY658" fmla="*/ 5872 h 10000"/>
                  <a:gd name="connsiteX659" fmla="*/ 9673 w 10586"/>
                  <a:gd name="connsiteY659" fmla="*/ 5863 h 10000"/>
                  <a:gd name="connsiteX660" fmla="*/ 9682 w 10586"/>
                  <a:gd name="connsiteY660" fmla="*/ 5838 h 10000"/>
                  <a:gd name="connsiteX661" fmla="*/ 9682 w 10586"/>
                  <a:gd name="connsiteY661" fmla="*/ 5829 h 10000"/>
                  <a:gd name="connsiteX662" fmla="*/ 9682 w 10586"/>
                  <a:gd name="connsiteY662" fmla="*/ 5812 h 10000"/>
                  <a:gd name="connsiteX663" fmla="*/ 9687 w 10586"/>
                  <a:gd name="connsiteY663" fmla="*/ 5812 h 10000"/>
                  <a:gd name="connsiteX664" fmla="*/ 9687 w 10586"/>
                  <a:gd name="connsiteY664" fmla="*/ 5829 h 10000"/>
                  <a:gd name="connsiteX665" fmla="*/ 9687 w 10586"/>
                  <a:gd name="connsiteY665" fmla="*/ 5829 h 10000"/>
                  <a:gd name="connsiteX666" fmla="*/ 9719 w 10586"/>
                  <a:gd name="connsiteY666" fmla="*/ 5803 h 10000"/>
                  <a:gd name="connsiteX667" fmla="*/ 9728 w 10586"/>
                  <a:gd name="connsiteY667" fmla="*/ 5803 h 10000"/>
                  <a:gd name="connsiteX668" fmla="*/ 9779 w 10586"/>
                  <a:gd name="connsiteY668" fmla="*/ 5726 h 10000"/>
                  <a:gd name="connsiteX669" fmla="*/ 9816 w 10586"/>
                  <a:gd name="connsiteY669" fmla="*/ 5709 h 10000"/>
                  <a:gd name="connsiteX670" fmla="*/ 9820 w 10586"/>
                  <a:gd name="connsiteY670" fmla="*/ 5701 h 10000"/>
                  <a:gd name="connsiteX671" fmla="*/ 9816 w 10586"/>
                  <a:gd name="connsiteY671" fmla="*/ 5692 h 10000"/>
                  <a:gd name="connsiteX672" fmla="*/ 9816 w 10586"/>
                  <a:gd name="connsiteY672" fmla="*/ 5692 h 10000"/>
                  <a:gd name="connsiteX673" fmla="*/ 9802 w 10586"/>
                  <a:gd name="connsiteY673" fmla="*/ 5624 h 10000"/>
                  <a:gd name="connsiteX674" fmla="*/ 9806 w 10586"/>
                  <a:gd name="connsiteY674" fmla="*/ 5624 h 10000"/>
                  <a:gd name="connsiteX675" fmla="*/ 9820 w 10586"/>
                  <a:gd name="connsiteY675" fmla="*/ 5675 h 10000"/>
                  <a:gd name="connsiteX676" fmla="*/ 9829 w 10586"/>
                  <a:gd name="connsiteY676" fmla="*/ 5675 h 10000"/>
                  <a:gd name="connsiteX677" fmla="*/ 9829 w 10586"/>
                  <a:gd name="connsiteY677" fmla="*/ 5692 h 10000"/>
                  <a:gd name="connsiteX678" fmla="*/ 9829 w 10586"/>
                  <a:gd name="connsiteY678" fmla="*/ 5701 h 10000"/>
                  <a:gd name="connsiteX679" fmla="*/ 9839 w 10586"/>
                  <a:gd name="connsiteY679" fmla="*/ 5701 h 10000"/>
                  <a:gd name="connsiteX680" fmla="*/ 9839 w 10586"/>
                  <a:gd name="connsiteY680" fmla="*/ 5692 h 10000"/>
                  <a:gd name="connsiteX681" fmla="*/ 9839 w 10586"/>
                  <a:gd name="connsiteY681" fmla="*/ 5675 h 10000"/>
                  <a:gd name="connsiteX682" fmla="*/ 9848 w 10586"/>
                  <a:gd name="connsiteY682" fmla="*/ 5675 h 10000"/>
                  <a:gd name="connsiteX683" fmla="*/ 9848 w 10586"/>
                  <a:gd name="connsiteY683" fmla="*/ 5692 h 10000"/>
                  <a:gd name="connsiteX684" fmla="*/ 9853 w 10586"/>
                  <a:gd name="connsiteY684" fmla="*/ 5701 h 10000"/>
                  <a:gd name="connsiteX685" fmla="*/ 9880 w 10586"/>
                  <a:gd name="connsiteY685" fmla="*/ 5709 h 10000"/>
                  <a:gd name="connsiteX686" fmla="*/ 9912 w 10586"/>
                  <a:gd name="connsiteY686" fmla="*/ 5752 h 10000"/>
                  <a:gd name="connsiteX687" fmla="*/ 9926 w 10586"/>
                  <a:gd name="connsiteY687" fmla="*/ 5761 h 10000"/>
                  <a:gd name="connsiteX688" fmla="*/ 9935 w 10586"/>
                  <a:gd name="connsiteY688" fmla="*/ 5761 h 10000"/>
                  <a:gd name="connsiteX689" fmla="*/ 9940 w 10586"/>
                  <a:gd name="connsiteY689" fmla="*/ 5735 h 10000"/>
                  <a:gd name="connsiteX690" fmla="*/ 9949 w 10586"/>
                  <a:gd name="connsiteY690" fmla="*/ 5735 h 10000"/>
                  <a:gd name="connsiteX691" fmla="*/ 9968 w 10586"/>
                  <a:gd name="connsiteY691" fmla="*/ 5692 h 10000"/>
                  <a:gd name="connsiteX692" fmla="*/ 9968 w 10586"/>
                  <a:gd name="connsiteY692" fmla="*/ 5650 h 10000"/>
                  <a:gd name="connsiteX693" fmla="*/ 9968 w 10586"/>
                  <a:gd name="connsiteY693" fmla="*/ 5624 h 10000"/>
                  <a:gd name="connsiteX694" fmla="*/ 9935 w 10586"/>
                  <a:gd name="connsiteY694" fmla="*/ 5598 h 10000"/>
                  <a:gd name="connsiteX695" fmla="*/ 9935 w 10586"/>
                  <a:gd name="connsiteY695" fmla="*/ 5590 h 10000"/>
                  <a:gd name="connsiteX696" fmla="*/ 9935 w 10586"/>
                  <a:gd name="connsiteY696" fmla="*/ 5573 h 10000"/>
                  <a:gd name="connsiteX697" fmla="*/ 9935 w 10586"/>
                  <a:gd name="connsiteY697" fmla="*/ 5573 h 10000"/>
                  <a:gd name="connsiteX698" fmla="*/ 9940 w 10586"/>
                  <a:gd name="connsiteY698" fmla="*/ 5573 h 10000"/>
                  <a:gd name="connsiteX699" fmla="*/ 9954 w 10586"/>
                  <a:gd name="connsiteY699" fmla="*/ 5573 h 10000"/>
                  <a:gd name="connsiteX700" fmla="*/ 9963 w 10586"/>
                  <a:gd name="connsiteY700" fmla="*/ 5564 h 10000"/>
                  <a:gd name="connsiteX701" fmla="*/ 9954 w 10586"/>
                  <a:gd name="connsiteY701" fmla="*/ 5530 h 10000"/>
                  <a:gd name="connsiteX702" fmla="*/ 9949 w 10586"/>
                  <a:gd name="connsiteY702" fmla="*/ 5530 h 10000"/>
                  <a:gd name="connsiteX703" fmla="*/ 9926 w 10586"/>
                  <a:gd name="connsiteY703" fmla="*/ 5479 h 10000"/>
                  <a:gd name="connsiteX704" fmla="*/ 9912 w 10586"/>
                  <a:gd name="connsiteY704" fmla="*/ 5325 h 10000"/>
                  <a:gd name="connsiteX705" fmla="*/ 9903 w 10586"/>
                  <a:gd name="connsiteY705" fmla="*/ 5342 h 10000"/>
                  <a:gd name="connsiteX706" fmla="*/ 9889 w 10586"/>
                  <a:gd name="connsiteY706" fmla="*/ 5316 h 10000"/>
                  <a:gd name="connsiteX707" fmla="*/ 9889 w 10586"/>
                  <a:gd name="connsiteY707" fmla="*/ 5291 h 10000"/>
                  <a:gd name="connsiteX708" fmla="*/ 9903 w 10586"/>
                  <a:gd name="connsiteY708" fmla="*/ 5291 h 10000"/>
                  <a:gd name="connsiteX709" fmla="*/ 9903 w 10586"/>
                  <a:gd name="connsiteY709" fmla="*/ 5291 h 10000"/>
                  <a:gd name="connsiteX710" fmla="*/ 9894 w 10586"/>
                  <a:gd name="connsiteY710" fmla="*/ 5214 h 10000"/>
                  <a:gd name="connsiteX711" fmla="*/ 9880 w 10586"/>
                  <a:gd name="connsiteY711" fmla="*/ 5239 h 10000"/>
                  <a:gd name="connsiteX712" fmla="*/ 9876 w 10586"/>
                  <a:gd name="connsiteY712" fmla="*/ 5256 h 10000"/>
                  <a:gd name="connsiteX713" fmla="*/ 9862 w 10586"/>
                  <a:gd name="connsiteY713" fmla="*/ 5239 h 10000"/>
                  <a:gd name="connsiteX714" fmla="*/ 9853 w 10586"/>
                  <a:gd name="connsiteY714" fmla="*/ 5214 h 10000"/>
                  <a:gd name="connsiteX715" fmla="*/ 9839 w 10586"/>
                  <a:gd name="connsiteY715" fmla="*/ 5214 h 10000"/>
                  <a:gd name="connsiteX716" fmla="*/ 9834 w 10586"/>
                  <a:gd name="connsiteY716" fmla="*/ 5188 h 10000"/>
                  <a:gd name="connsiteX717" fmla="*/ 9834 w 10586"/>
                  <a:gd name="connsiteY717" fmla="*/ 5103 h 10000"/>
                  <a:gd name="connsiteX718" fmla="*/ 9839 w 10586"/>
                  <a:gd name="connsiteY718" fmla="*/ 5094 h 10000"/>
                  <a:gd name="connsiteX719" fmla="*/ 9853 w 10586"/>
                  <a:gd name="connsiteY719" fmla="*/ 5103 h 10000"/>
                  <a:gd name="connsiteX720" fmla="*/ 9876 w 10586"/>
                  <a:gd name="connsiteY720" fmla="*/ 5128 h 10000"/>
                  <a:gd name="connsiteX721" fmla="*/ 9889 w 10586"/>
                  <a:gd name="connsiteY721" fmla="*/ 5103 h 10000"/>
                  <a:gd name="connsiteX722" fmla="*/ 9880 w 10586"/>
                  <a:gd name="connsiteY722" fmla="*/ 5120 h 10000"/>
                  <a:gd name="connsiteX723" fmla="*/ 9889 w 10586"/>
                  <a:gd name="connsiteY723" fmla="*/ 5128 h 10000"/>
                  <a:gd name="connsiteX724" fmla="*/ 9912 w 10586"/>
                  <a:gd name="connsiteY724" fmla="*/ 5128 h 10000"/>
                  <a:gd name="connsiteX725" fmla="*/ 9908 w 10586"/>
                  <a:gd name="connsiteY725" fmla="*/ 5145 h 10000"/>
                  <a:gd name="connsiteX726" fmla="*/ 9908 w 10586"/>
                  <a:gd name="connsiteY726" fmla="*/ 5154 h 10000"/>
                  <a:gd name="connsiteX727" fmla="*/ 9922 w 10586"/>
                  <a:gd name="connsiteY727" fmla="*/ 5128 h 10000"/>
                  <a:gd name="connsiteX728" fmla="*/ 9935 w 10586"/>
                  <a:gd name="connsiteY728" fmla="*/ 5103 h 10000"/>
                  <a:gd name="connsiteX729" fmla="*/ 9968 w 10586"/>
                  <a:gd name="connsiteY729" fmla="*/ 5077 h 10000"/>
                  <a:gd name="connsiteX730" fmla="*/ 10000 w 10586"/>
                  <a:gd name="connsiteY730" fmla="*/ 5017 h 10000"/>
                  <a:gd name="connsiteX731" fmla="*/ 10570 w 10586"/>
                  <a:gd name="connsiteY731" fmla="*/ 4302 h 10000"/>
                  <a:gd name="connsiteX732" fmla="*/ 10354 w 10586"/>
                  <a:gd name="connsiteY732" fmla="*/ 4302 h 10000"/>
                  <a:gd name="connsiteX733" fmla="*/ 9912 w 10586"/>
                  <a:gd name="connsiteY733" fmla="*/ 3675 h 10000"/>
                  <a:gd name="connsiteX734" fmla="*/ 9903 w 10586"/>
                  <a:gd name="connsiteY734" fmla="*/ 3667 h 10000"/>
                  <a:gd name="connsiteX735" fmla="*/ 9894 w 10586"/>
                  <a:gd name="connsiteY735" fmla="*/ 3641 h 10000"/>
                  <a:gd name="connsiteX736" fmla="*/ 9889 w 10586"/>
                  <a:gd name="connsiteY736" fmla="*/ 3650 h 10000"/>
                  <a:gd name="connsiteX737" fmla="*/ 9848 w 10586"/>
                  <a:gd name="connsiteY737" fmla="*/ 3598 h 10000"/>
                  <a:gd name="connsiteX738" fmla="*/ 9829 w 10586"/>
                  <a:gd name="connsiteY738" fmla="*/ 3581 h 10000"/>
                  <a:gd name="connsiteX739" fmla="*/ 9820 w 10586"/>
                  <a:gd name="connsiteY739" fmla="*/ 3581 h 10000"/>
                  <a:gd name="connsiteX740" fmla="*/ 9793 w 10586"/>
                  <a:gd name="connsiteY740" fmla="*/ 3556 h 10000"/>
                  <a:gd name="connsiteX741" fmla="*/ 9779 w 10586"/>
                  <a:gd name="connsiteY741" fmla="*/ 3556 h 10000"/>
                  <a:gd name="connsiteX742" fmla="*/ 9747 w 10586"/>
                  <a:gd name="connsiteY742" fmla="*/ 3487 h 10000"/>
                  <a:gd name="connsiteX743" fmla="*/ 9668 w 10586"/>
                  <a:gd name="connsiteY743" fmla="*/ 3479 h 10000"/>
                  <a:gd name="connsiteX744" fmla="*/ 9659 w 10586"/>
                  <a:gd name="connsiteY744" fmla="*/ 3487 h 10000"/>
                  <a:gd name="connsiteX745" fmla="*/ 9645 w 10586"/>
                  <a:gd name="connsiteY745" fmla="*/ 3504 h 10000"/>
                  <a:gd name="connsiteX746" fmla="*/ 9631 w 10586"/>
                  <a:gd name="connsiteY746" fmla="*/ 3487 h 10000"/>
                  <a:gd name="connsiteX747" fmla="*/ 9613 w 10586"/>
                  <a:gd name="connsiteY747" fmla="*/ 3479 h 10000"/>
                  <a:gd name="connsiteX748" fmla="*/ 9599 w 10586"/>
                  <a:gd name="connsiteY748" fmla="*/ 3479 h 10000"/>
                  <a:gd name="connsiteX749" fmla="*/ 9571 w 10586"/>
                  <a:gd name="connsiteY749" fmla="*/ 3479 h 10000"/>
                  <a:gd name="connsiteX750" fmla="*/ 9562 w 10586"/>
                  <a:gd name="connsiteY750" fmla="*/ 3487 h 10000"/>
                  <a:gd name="connsiteX751" fmla="*/ 9539 w 10586"/>
                  <a:gd name="connsiteY751" fmla="*/ 3487 h 10000"/>
                  <a:gd name="connsiteX752" fmla="*/ 9507 w 10586"/>
                  <a:gd name="connsiteY752" fmla="*/ 3453 h 10000"/>
                  <a:gd name="connsiteX753" fmla="*/ 9498 w 10586"/>
                  <a:gd name="connsiteY753" fmla="*/ 3453 h 10000"/>
                  <a:gd name="connsiteX754" fmla="*/ 9387 w 10586"/>
                  <a:gd name="connsiteY754" fmla="*/ 3419 h 10000"/>
                  <a:gd name="connsiteX755" fmla="*/ 9373 w 10586"/>
                  <a:gd name="connsiteY755" fmla="*/ 3427 h 10000"/>
                  <a:gd name="connsiteX756" fmla="*/ 9373 w 10586"/>
                  <a:gd name="connsiteY756" fmla="*/ 3462 h 10000"/>
                  <a:gd name="connsiteX757" fmla="*/ 9378 w 10586"/>
                  <a:gd name="connsiteY757" fmla="*/ 3479 h 10000"/>
                  <a:gd name="connsiteX758" fmla="*/ 9378 w 10586"/>
                  <a:gd name="connsiteY758" fmla="*/ 3530 h 10000"/>
                  <a:gd name="connsiteX759" fmla="*/ 9355 w 10586"/>
                  <a:gd name="connsiteY759" fmla="*/ 3538 h 10000"/>
                  <a:gd name="connsiteX760" fmla="*/ 9355 w 10586"/>
                  <a:gd name="connsiteY760" fmla="*/ 3581 h 10000"/>
                  <a:gd name="connsiteX761" fmla="*/ 9387 w 10586"/>
                  <a:gd name="connsiteY761" fmla="*/ 3590 h 10000"/>
                  <a:gd name="connsiteX762" fmla="*/ 9401 w 10586"/>
                  <a:gd name="connsiteY762" fmla="*/ 3667 h 10000"/>
                  <a:gd name="connsiteX763" fmla="*/ 9406 w 10586"/>
                  <a:gd name="connsiteY763" fmla="*/ 3675 h 10000"/>
                  <a:gd name="connsiteX764" fmla="*/ 9406 w 10586"/>
                  <a:gd name="connsiteY764" fmla="*/ 3701 h 10000"/>
                  <a:gd name="connsiteX765" fmla="*/ 9415 w 10586"/>
                  <a:gd name="connsiteY765" fmla="*/ 3752 h 10000"/>
                  <a:gd name="connsiteX766" fmla="*/ 9373 w 10586"/>
                  <a:gd name="connsiteY766" fmla="*/ 3838 h 10000"/>
                  <a:gd name="connsiteX767" fmla="*/ 9355 w 10586"/>
                  <a:gd name="connsiteY767" fmla="*/ 3863 h 10000"/>
                  <a:gd name="connsiteX768" fmla="*/ 9327 w 10586"/>
                  <a:gd name="connsiteY768" fmla="*/ 3863 h 10000"/>
                  <a:gd name="connsiteX769" fmla="*/ 9313 w 10586"/>
                  <a:gd name="connsiteY769" fmla="*/ 3846 h 10000"/>
                  <a:gd name="connsiteX770" fmla="*/ 9300 w 10586"/>
                  <a:gd name="connsiteY770" fmla="*/ 3778 h 10000"/>
                  <a:gd name="connsiteX771" fmla="*/ 9281 w 10586"/>
                  <a:gd name="connsiteY771" fmla="*/ 3752 h 10000"/>
                  <a:gd name="connsiteX772" fmla="*/ 9281 w 10586"/>
                  <a:gd name="connsiteY772" fmla="*/ 3735 h 10000"/>
                  <a:gd name="connsiteX773" fmla="*/ 9267 w 10586"/>
                  <a:gd name="connsiteY773" fmla="*/ 3726 h 10000"/>
                  <a:gd name="connsiteX774" fmla="*/ 9240 w 10586"/>
                  <a:gd name="connsiteY774" fmla="*/ 3726 h 10000"/>
                  <a:gd name="connsiteX775" fmla="*/ 9230 w 10586"/>
                  <a:gd name="connsiteY775" fmla="*/ 3718 h 10000"/>
                  <a:gd name="connsiteX776" fmla="*/ 9226 w 10586"/>
                  <a:gd name="connsiteY776" fmla="*/ 3590 h 10000"/>
                  <a:gd name="connsiteX777" fmla="*/ 9207 w 10586"/>
                  <a:gd name="connsiteY777" fmla="*/ 3581 h 10000"/>
                  <a:gd name="connsiteX778" fmla="*/ 9207 w 10586"/>
                  <a:gd name="connsiteY778" fmla="*/ 3556 h 10000"/>
                  <a:gd name="connsiteX779" fmla="*/ 9217 w 10586"/>
                  <a:gd name="connsiteY779" fmla="*/ 3538 h 10000"/>
                  <a:gd name="connsiteX780" fmla="*/ 9212 w 10586"/>
                  <a:gd name="connsiteY780" fmla="*/ 3538 h 10000"/>
                  <a:gd name="connsiteX781" fmla="*/ 9198 w 10586"/>
                  <a:gd name="connsiteY781" fmla="*/ 3513 h 10000"/>
                  <a:gd name="connsiteX782" fmla="*/ 9194 w 10586"/>
                  <a:gd name="connsiteY782" fmla="*/ 3530 h 10000"/>
                  <a:gd name="connsiteX783" fmla="*/ 9143 w 10586"/>
                  <a:gd name="connsiteY783" fmla="*/ 3615 h 10000"/>
                  <a:gd name="connsiteX784" fmla="*/ 9138 w 10586"/>
                  <a:gd name="connsiteY784" fmla="*/ 3615 h 10000"/>
                  <a:gd name="connsiteX785" fmla="*/ 9134 w 10586"/>
                  <a:gd name="connsiteY785" fmla="*/ 3615 h 10000"/>
                  <a:gd name="connsiteX786" fmla="*/ 9106 w 10586"/>
                  <a:gd name="connsiteY786" fmla="*/ 3615 h 10000"/>
                  <a:gd name="connsiteX787" fmla="*/ 9078 w 10586"/>
                  <a:gd name="connsiteY787" fmla="*/ 3590 h 10000"/>
                  <a:gd name="connsiteX788" fmla="*/ 9037 w 10586"/>
                  <a:gd name="connsiteY788" fmla="*/ 3581 h 10000"/>
                  <a:gd name="connsiteX789" fmla="*/ 9023 w 10586"/>
                  <a:gd name="connsiteY789" fmla="*/ 3590 h 10000"/>
                  <a:gd name="connsiteX790" fmla="*/ 9018 w 10586"/>
                  <a:gd name="connsiteY790" fmla="*/ 3590 h 10000"/>
                  <a:gd name="connsiteX791" fmla="*/ 9018 w 10586"/>
                  <a:gd name="connsiteY791" fmla="*/ 3590 h 10000"/>
                  <a:gd name="connsiteX792" fmla="*/ 8991 w 10586"/>
                  <a:gd name="connsiteY792" fmla="*/ 3590 h 10000"/>
                  <a:gd name="connsiteX793" fmla="*/ 8972 w 10586"/>
                  <a:gd name="connsiteY793" fmla="*/ 3581 h 10000"/>
                  <a:gd name="connsiteX794" fmla="*/ 8959 w 10586"/>
                  <a:gd name="connsiteY794" fmla="*/ 3513 h 10000"/>
                  <a:gd name="connsiteX795" fmla="*/ 8931 w 10586"/>
                  <a:gd name="connsiteY795" fmla="*/ 3538 h 10000"/>
                  <a:gd name="connsiteX796" fmla="*/ 8889 w 10586"/>
                  <a:gd name="connsiteY796" fmla="*/ 3538 h 10000"/>
                  <a:gd name="connsiteX797" fmla="*/ 8871 w 10586"/>
                  <a:gd name="connsiteY797" fmla="*/ 3556 h 10000"/>
                  <a:gd name="connsiteX798" fmla="*/ 8857 w 10586"/>
                  <a:gd name="connsiteY798" fmla="*/ 3538 h 10000"/>
                  <a:gd name="connsiteX799" fmla="*/ 8843 w 10586"/>
                  <a:gd name="connsiteY799" fmla="*/ 3538 h 10000"/>
                  <a:gd name="connsiteX800" fmla="*/ 8839 w 10586"/>
                  <a:gd name="connsiteY800" fmla="*/ 3556 h 10000"/>
                  <a:gd name="connsiteX801" fmla="*/ 8839 w 10586"/>
                  <a:gd name="connsiteY801" fmla="*/ 3581 h 10000"/>
                  <a:gd name="connsiteX802" fmla="*/ 8825 w 10586"/>
                  <a:gd name="connsiteY802" fmla="*/ 3564 h 10000"/>
                  <a:gd name="connsiteX803" fmla="*/ 8825 w 10586"/>
                  <a:gd name="connsiteY803" fmla="*/ 3615 h 10000"/>
                  <a:gd name="connsiteX804" fmla="*/ 8802 w 10586"/>
                  <a:gd name="connsiteY804" fmla="*/ 3598 h 10000"/>
                  <a:gd name="connsiteX805" fmla="*/ 8797 w 10586"/>
                  <a:gd name="connsiteY805" fmla="*/ 3641 h 10000"/>
                  <a:gd name="connsiteX806" fmla="*/ 8783 w 10586"/>
                  <a:gd name="connsiteY806" fmla="*/ 3667 h 10000"/>
                  <a:gd name="connsiteX807" fmla="*/ 8779 w 10586"/>
                  <a:gd name="connsiteY807" fmla="*/ 3650 h 10000"/>
                  <a:gd name="connsiteX808" fmla="*/ 8779 w 10586"/>
                  <a:gd name="connsiteY808" fmla="*/ 3615 h 10000"/>
                  <a:gd name="connsiteX809" fmla="*/ 8770 w 10586"/>
                  <a:gd name="connsiteY809" fmla="*/ 3590 h 10000"/>
                  <a:gd name="connsiteX810" fmla="*/ 8765 w 10586"/>
                  <a:gd name="connsiteY810" fmla="*/ 3598 h 10000"/>
                  <a:gd name="connsiteX811" fmla="*/ 8756 w 10586"/>
                  <a:gd name="connsiteY811" fmla="*/ 3590 h 10000"/>
                  <a:gd name="connsiteX812" fmla="*/ 8737 w 10586"/>
                  <a:gd name="connsiteY812" fmla="*/ 3556 h 10000"/>
                  <a:gd name="connsiteX813" fmla="*/ 8724 w 10586"/>
                  <a:gd name="connsiteY813" fmla="*/ 3538 h 10000"/>
                  <a:gd name="connsiteX814" fmla="*/ 8696 w 10586"/>
                  <a:gd name="connsiteY814" fmla="*/ 3538 h 10000"/>
                  <a:gd name="connsiteX815" fmla="*/ 8691 w 10586"/>
                  <a:gd name="connsiteY815" fmla="*/ 3513 h 10000"/>
                  <a:gd name="connsiteX816" fmla="*/ 8668 w 10586"/>
                  <a:gd name="connsiteY816" fmla="*/ 3504 h 10000"/>
                  <a:gd name="connsiteX817" fmla="*/ 8668 w 10586"/>
                  <a:gd name="connsiteY817" fmla="*/ 3487 h 10000"/>
                  <a:gd name="connsiteX818" fmla="*/ 8691 w 10586"/>
                  <a:gd name="connsiteY818" fmla="*/ 3350 h 10000"/>
                  <a:gd name="connsiteX819" fmla="*/ 8691 w 10586"/>
                  <a:gd name="connsiteY819" fmla="*/ 3291 h 10000"/>
                  <a:gd name="connsiteX820" fmla="*/ 8677 w 10586"/>
                  <a:gd name="connsiteY820" fmla="*/ 3239 h 10000"/>
                  <a:gd name="connsiteX821" fmla="*/ 8677 w 10586"/>
                  <a:gd name="connsiteY821" fmla="*/ 3231 h 10000"/>
                  <a:gd name="connsiteX822" fmla="*/ 8636 w 10586"/>
                  <a:gd name="connsiteY822" fmla="*/ 3128 h 10000"/>
                  <a:gd name="connsiteX823" fmla="*/ 8622 w 10586"/>
                  <a:gd name="connsiteY823" fmla="*/ 3120 h 10000"/>
                  <a:gd name="connsiteX824" fmla="*/ 8618 w 10586"/>
                  <a:gd name="connsiteY824" fmla="*/ 3094 h 10000"/>
                  <a:gd name="connsiteX825" fmla="*/ 8594 w 10586"/>
                  <a:gd name="connsiteY825" fmla="*/ 3077 h 10000"/>
                  <a:gd name="connsiteX826" fmla="*/ 8548 w 10586"/>
                  <a:gd name="connsiteY826" fmla="*/ 3077 h 10000"/>
                  <a:gd name="connsiteX827" fmla="*/ 8535 w 10586"/>
                  <a:gd name="connsiteY827" fmla="*/ 3068 h 10000"/>
                  <a:gd name="connsiteX828" fmla="*/ 8429 w 10586"/>
                  <a:gd name="connsiteY828" fmla="*/ 3077 h 10000"/>
                  <a:gd name="connsiteX829" fmla="*/ 8424 w 10586"/>
                  <a:gd name="connsiteY829" fmla="*/ 3077 h 10000"/>
                  <a:gd name="connsiteX830" fmla="*/ 8396 w 10586"/>
                  <a:gd name="connsiteY830" fmla="*/ 3077 h 10000"/>
                  <a:gd name="connsiteX831" fmla="*/ 8387 w 10586"/>
                  <a:gd name="connsiteY831" fmla="*/ 3094 h 10000"/>
                  <a:gd name="connsiteX832" fmla="*/ 8378 w 10586"/>
                  <a:gd name="connsiteY832" fmla="*/ 3094 h 10000"/>
                  <a:gd name="connsiteX833" fmla="*/ 8341 w 10586"/>
                  <a:gd name="connsiteY833" fmla="*/ 3077 h 10000"/>
                  <a:gd name="connsiteX834" fmla="*/ 8336 w 10586"/>
                  <a:gd name="connsiteY834" fmla="*/ 3077 h 10000"/>
                  <a:gd name="connsiteX835" fmla="*/ 8327 w 10586"/>
                  <a:gd name="connsiteY835" fmla="*/ 3103 h 10000"/>
                  <a:gd name="connsiteX836" fmla="*/ 8309 w 10586"/>
                  <a:gd name="connsiteY836" fmla="*/ 3120 h 10000"/>
                  <a:gd name="connsiteX837" fmla="*/ 8304 w 10586"/>
                  <a:gd name="connsiteY837" fmla="*/ 3103 h 10000"/>
                  <a:gd name="connsiteX838" fmla="*/ 8276 w 10586"/>
                  <a:gd name="connsiteY838" fmla="*/ 3103 h 10000"/>
                  <a:gd name="connsiteX839" fmla="*/ 8267 w 10586"/>
                  <a:gd name="connsiteY839" fmla="*/ 3120 h 10000"/>
                  <a:gd name="connsiteX840" fmla="*/ 8253 w 10586"/>
                  <a:gd name="connsiteY840" fmla="*/ 3103 h 10000"/>
                  <a:gd name="connsiteX841" fmla="*/ 8230 w 10586"/>
                  <a:gd name="connsiteY841" fmla="*/ 3128 h 10000"/>
                  <a:gd name="connsiteX842" fmla="*/ 8217 w 10586"/>
                  <a:gd name="connsiteY842" fmla="*/ 3128 h 10000"/>
                  <a:gd name="connsiteX843" fmla="*/ 8203 w 10586"/>
                  <a:gd name="connsiteY843" fmla="*/ 3154 h 10000"/>
                  <a:gd name="connsiteX844" fmla="*/ 8175 w 10586"/>
                  <a:gd name="connsiteY844" fmla="*/ 3094 h 10000"/>
                  <a:gd name="connsiteX845" fmla="*/ 8161 w 10586"/>
                  <a:gd name="connsiteY845" fmla="*/ 3094 h 10000"/>
                  <a:gd name="connsiteX846" fmla="*/ 8157 w 10586"/>
                  <a:gd name="connsiteY846" fmla="*/ 3077 h 10000"/>
                  <a:gd name="connsiteX847" fmla="*/ 8180 w 10586"/>
                  <a:gd name="connsiteY847" fmla="*/ 3068 h 10000"/>
                  <a:gd name="connsiteX848" fmla="*/ 8189 w 10586"/>
                  <a:gd name="connsiteY848" fmla="*/ 3043 h 10000"/>
                  <a:gd name="connsiteX849" fmla="*/ 8189 w 10586"/>
                  <a:gd name="connsiteY849" fmla="*/ 3017 h 10000"/>
                  <a:gd name="connsiteX850" fmla="*/ 8147 w 10586"/>
                  <a:gd name="connsiteY850" fmla="*/ 2940 h 10000"/>
                  <a:gd name="connsiteX851" fmla="*/ 8143 w 10586"/>
                  <a:gd name="connsiteY851" fmla="*/ 2915 h 10000"/>
                  <a:gd name="connsiteX852" fmla="*/ 8143 w 10586"/>
                  <a:gd name="connsiteY852" fmla="*/ 2906 h 10000"/>
                  <a:gd name="connsiteX853" fmla="*/ 8097 w 10586"/>
                  <a:gd name="connsiteY853" fmla="*/ 2932 h 10000"/>
                  <a:gd name="connsiteX854" fmla="*/ 8083 w 10586"/>
                  <a:gd name="connsiteY854" fmla="*/ 2932 h 10000"/>
                  <a:gd name="connsiteX855" fmla="*/ 8074 w 10586"/>
                  <a:gd name="connsiteY855" fmla="*/ 2906 h 10000"/>
                  <a:gd name="connsiteX856" fmla="*/ 8074 w 10586"/>
                  <a:gd name="connsiteY856" fmla="*/ 2897 h 10000"/>
                  <a:gd name="connsiteX857" fmla="*/ 8055 w 10586"/>
                  <a:gd name="connsiteY857" fmla="*/ 2872 h 10000"/>
                  <a:gd name="connsiteX858" fmla="*/ 8046 w 10586"/>
                  <a:gd name="connsiteY858" fmla="*/ 2829 h 10000"/>
                  <a:gd name="connsiteX859" fmla="*/ 8041 w 10586"/>
                  <a:gd name="connsiteY859" fmla="*/ 2829 h 10000"/>
                  <a:gd name="connsiteX860" fmla="*/ 8023 w 10586"/>
                  <a:gd name="connsiteY860" fmla="*/ 2803 h 10000"/>
                  <a:gd name="connsiteX861" fmla="*/ 8014 w 10586"/>
                  <a:gd name="connsiteY861" fmla="*/ 2829 h 10000"/>
                  <a:gd name="connsiteX862" fmla="*/ 8000 w 10586"/>
                  <a:gd name="connsiteY862" fmla="*/ 2829 h 10000"/>
                  <a:gd name="connsiteX863" fmla="*/ 7995 w 10586"/>
                  <a:gd name="connsiteY863" fmla="*/ 2821 h 10000"/>
                  <a:gd name="connsiteX864" fmla="*/ 7972 w 10586"/>
                  <a:gd name="connsiteY864" fmla="*/ 2803 h 10000"/>
                  <a:gd name="connsiteX865" fmla="*/ 7968 w 10586"/>
                  <a:gd name="connsiteY865" fmla="*/ 2821 h 10000"/>
                  <a:gd name="connsiteX866" fmla="*/ 7968 w 10586"/>
                  <a:gd name="connsiteY866" fmla="*/ 2803 h 10000"/>
                  <a:gd name="connsiteX867" fmla="*/ 7995 w 10586"/>
                  <a:gd name="connsiteY867" fmla="*/ 2735 h 10000"/>
                  <a:gd name="connsiteX868" fmla="*/ 8000 w 10586"/>
                  <a:gd name="connsiteY868" fmla="*/ 2735 h 10000"/>
                  <a:gd name="connsiteX869" fmla="*/ 8014 w 10586"/>
                  <a:gd name="connsiteY869" fmla="*/ 2744 h 10000"/>
                  <a:gd name="connsiteX870" fmla="*/ 8023 w 10586"/>
                  <a:gd name="connsiteY870" fmla="*/ 2769 h 10000"/>
                  <a:gd name="connsiteX871" fmla="*/ 8032 w 10586"/>
                  <a:gd name="connsiteY871" fmla="*/ 2744 h 10000"/>
                  <a:gd name="connsiteX872" fmla="*/ 8032 w 10586"/>
                  <a:gd name="connsiteY872" fmla="*/ 2709 h 10000"/>
                  <a:gd name="connsiteX873" fmla="*/ 8023 w 10586"/>
                  <a:gd name="connsiteY873" fmla="*/ 2632 h 10000"/>
                  <a:gd name="connsiteX874" fmla="*/ 7986 w 10586"/>
                  <a:gd name="connsiteY874" fmla="*/ 2581 h 10000"/>
                  <a:gd name="connsiteX875" fmla="*/ 7968 w 10586"/>
                  <a:gd name="connsiteY875" fmla="*/ 2581 h 10000"/>
                  <a:gd name="connsiteX876" fmla="*/ 7963 w 10586"/>
                  <a:gd name="connsiteY876" fmla="*/ 2556 h 10000"/>
                  <a:gd name="connsiteX877" fmla="*/ 7935 w 10586"/>
                  <a:gd name="connsiteY877" fmla="*/ 2547 h 10000"/>
                  <a:gd name="connsiteX878" fmla="*/ 7912 w 10586"/>
                  <a:gd name="connsiteY878" fmla="*/ 2547 h 10000"/>
                  <a:gd name="connsiteX879" fmla="*/ 7912 w 10586"/>
                  <a:gd name="connsiteY879" fmla="*/ 2556 h 10000"/>
                  <a:gd name="connsiteX880" fmla="*/ 7908 w 10586"/>
                  <a:gd name="connsiteY880" fmla="*/ 2547 h 10000"/>
                  <a:gd name="connsiteX881" fmla="*/ 7862 w 10586"/>
                  <a:gd name="connsiteY881" fmla="*/ 2547 h 10000"/>
                  <a:gd name="connsiteX882" fmla="*/ 7848 w 10586"/>
                  <a:gd name="connsiteY882" fmla="*/ 2556 h 10000"/>
                  <a:gd name="connsiteX883" fmla="*/ 7820 w 10586"/>
                  <a:gd name="connsiteY883" fmla="*/ 2547 h 10000"/>
                  <a:gd name="connsiteX884" fmla="*/ 7806 w 10586"/>
                  <a:gd name="connsiteY884" fmla="*/ 2513 h 10000"/>
                  <a:gd name="connsiteX885" fmla="*/ 7788 w 10586"/>
                  <a:gd name="connsiteY885" fmla="*/ 2513 h 10000"/>
                  <a:gd name="connsiteX886" fmla="*/ 7760 w 10586"/>
                  <a:gd name="connsiteY886" fmla="*/ 2470 h 10000"/>
                  <a:gd name="connsiteX887" fmla="*/ 7751 w 10586"/>
                  <a:gd name="connsiteY887" fmla="*/ 2470 h 10000"/>
                  <a:gd name="connsiteX888" fmla="*/ 7705 w 10586"/>
                  <a:gd name="connsiteY888" fmla="*/ 2462 h 10000"/>
                  <a:gd name="connsiteX889" fmla="*/ 7673 w 10586"/>
                  <a:gd name="connsiteY889" fmla="*/ 2419 h 10000"/>
                  <a:gd name="connsiteX890" fmla="*/ 7627 w 10586"/>
                  <a:gd name="connsiteY890" fmla="*/ 2419 h 10000"/>
                  <a:gd name="connsiteX891" fmla="*/ 7613 w 10586"/>
                  <a:gd name="connsiteY891" fmla="*/ 2410 h 10000"/>
                  <a:gd name="connsiteX892" fmla="*/ 7493 w 10586"/>
                  <a:gd name="connsiteY892" fmla="*/ 2393 h 10000"/>
                  <a:gd name="connsiteX893" fmla="*/ 7479 w 10586"/>
                  <a:gd name="connsiteY893" fmla="*/ 2385 h 10000"/>
                  <a:gd name="connsiteX894" fmla="*/ 7479 w 10586"/>
                  <a:gd name="connsiteY894" fmla="*/ 2376 h 10000"/>
                  <a:gd name="connsiteX895" fmla="*/ 7465 w 10586"/>
                  <a:gd name="connsiteY895" fmla="*/ 2359 h 10000"/>
                  <a:gd name="connsiteX896" fmla="*/ 7447 w 10586"/>
                  <a:gd name="connsiteY896" fmla="*/ 2350 h 10000"/>
                  <a:gd name="connsiteX897" fmla="*/ 7433 w 10586"/>
                  <a:gd name="connsiteY897" fmla="*/ 2376 h 10000"/>
                  <a:gd name="connsiteX898" fmla="*/ 7433 w 10586"/>
                  <a:gd name="connsiteY898" fmla="*/ 2385 h 10000"/>
                  <a:gd name="connsiteX899" fmla="*/ 7447 w 10586"/>
                  <a:gd name="connsiteY899" fmla="*/ 2410 h 10000"/>
                  <a:gd name="connsiteX900" fmla="*/ 7447 w 10586"/>
                  <a:gd name="connsiteY900" fmla="*/ 2436 h 10000"/>
                  <a:gd name="connsiteX901" fmla="*/ 7452 w 10586"/>
                  <a:gd name="connsiteY901" fmla="*/ 2462 h 10000"/>
                  <a:gd name="connsiteX902" fmla="*/ 7447 w 10586"/>
                  <a:gd name="connsiteY902" fmla="*/ 2470 h 10000"/>
                  <a:gd name="connsiteX903" fmla="*/ 7424 w 10586"/>
                  <a:gd name="connsiteY903" fmla="*/ 2513 h 10000"/>
                  <a:gd name="connsiteX904" fmla="*/ 7419 w 10586"/>
                  <a:gd name="connsiteY904" fmla="*/ 2556 h 10000"/>
                  <a:gd name="connsiteX905" fmla="*/ 7406 w 10586"/>
                  <a:gd name="connsiteY905" fmla="*/ 2624 h 10000"/>
                  <a:gd name="connsiteX906" fmla="*/ 7392 w 10586"/>
                  <a:gd name="connsiteY906" fmla="*/ 2624 h 10000"/>
                  <a:gd name="connsiteX907" fmla="*/ 7373 w 10586"/>
                  <a:gd name="connsiteY907" fmla="*/ 2650 h 10000"/>
                  <a:gd name="connsiteX908" fmla="*/ 7364 w 10586"/>
                  <a:gd name="connsiteY908" fmla="*/ 2684 h 10000"/>
                  <a:gd name="connsiteX909" fmla="*/ 7364 w 10586"/>
                  <a:gd name="connsiteY909" fmla="*/ 2692 h 10000"/>
                  <a:gd name="connsiteX910" fmla="*/ 7373 w 10586"/>
                  <a:gd name="connsiteY910" fmla="*/ 2718 h 10000"/>
                  <a:gd name="connsiteX911" fmla="*/ 7373 w 10586"/>
                  <a:gd name="connsiteY911" fmla="*/ 2744 h 10000"/>
                  <a:gd name="connsiteX912" fmla="*/ 7359 w 10586"/>
                  <a:gd name="connsiteY912" fmla="*/ 2744 h 10000"/>
                  <a:gd name="connsiteX913" fmla="*/ 7359 w 10586"/>
                  <a:gd name="connsiteY913" fmla="*/ 2795 h 10000"/>
                  <a:gd name="connsiteX914" fmla="*/ 7364 w 10586"/>
                  <a:gd name="connsiteY914" fmla="*/ 2821 h 10000"/>
                  <a:gd name="connsiteX915" fmla="*/ 7378 w 10586"/>
                  <a:gd name="connsiteY915" fmla="*/ 2846 h 10000"/>
                  <a:gd name="connsiteX916" fmla="*/ 7378 w 10586"/>
                  <a:gd name="connsiteY916" fmla="*/ 2855 h 10000"/>
                  <a:gd name="connsiteX917" fmla="*/ 7378 w 10586"/>
                  <a:gd name="connsiteY917" fmla="*/ 2880 h 10000"/>
                  <a:gd name="connsiteX918" fmla="*/ 7378 w 10586"/>
                  <a:gd name="connsiteY918" fmla="*/ 2906 h 10000"/>
                  <a:gd name="connsiteX919" fmla="*/ 7364 w 10586"/>
                  <a:gd name="connsiteY919" fmla="*/ 2906 h 10000"/>
                  <a:gd name="connsiteX920" fmla="*/ 7346 w 10586"/>
                  <a:gd name="connsiteY920" fmla="*/ 2880 h 10000"/>
                  <a:gd name="connsiteX921" fmla="*/ 7332 w 10586"/>
                  <a:gd name="connsiteY921" fmla="*/ 2915 h 10000"/>
                  <a:gd name="connsiteX922" fmla="*/ 7318 w 10586"/>
                  <a:gd name="connsiteY922" fmla="*/ 2906 h 10000"/>
                  <a:gd name="connsiteX923" fmla="*/ 7313 w 10586"/>
                  <a:gd name="connsiteY923" fmla="*/ 2915 h 10000"/>
                  <a:gd name="connsiteX924" fmla="*/ 7313 w 10586"/>
                  <a:gd name="connsiteY924" fmla="*/ 2906 h 10000"/>
                  <a:gd name="connsiteX925" fmla="*/ 7286 w 10586"/>
                  <a:gd name="connsiteY925" fmla="*/ 2940 h 10000"/>
                  <a:gd name="connsiteX926" fmla="*/ 7276 w 10586"/>
                  <a:gd name="connsiteY926" fmla="*/ 2966 h 10000"/>
                  <a:gd name="connsiteX927" fmla="*/ 7272 w 10586"/>
                  <a:gd name="connsiteY927" fmla="*/ 2983 h 10000"/>
                  <a:gd name="connsiteX928" fmla="*/ 7267 w 10586"/>
                  <a:gd name="connsiteY928" fmla="*/ 3009 h 10000"/>
                  <a:gd name="connsiteX929" fmla="*/ 7253 w 10586"/>
                  <a:gd name="connsiteY929" fmla="*/ 3009 h 10000"/>
                  <a:gd name="connsiteX930" fmla="*/ 7244 w 10586"/>
                  <a:gd name="connsiteY930" fmla="*/ 3017 h 10000"/>
                  <a:gd name="connsiteX931" fmla="*/ 7240 w 10586"/>
                  <a:gd name="connsiteY931" fmla="*/ 3009 h 10000"/>
                  <a:gd name="connsiteX932" fmla="*/ 7230 w 10586"/>
                  <a:gd name="connsiteY932" fmla="*/ 2991 h 10000"/>
                  <a:gd name="connsiteX933" fmla="*/ 7226 w 10586"/>
                  <a:gd name="connsiteY933" fmla="*/ 2983 h 10000"/>
                  <a:gd name="connsiteX934" fmla="*/ 7226 w 10586"/>
                  <a:gd name="connsiteY934" fmla="*/ 2966 h 10000"/>
                  <a:gd name="connsiteX935" fmla="*/ 7212 w 10586"/>
                  <a:gd name="connsiteY935" fmla="*/ 2957 h 10000"/>
                  <a:gd name="connsiteX936" fmla="*/ 7212 w 10586"/>
                  <a:gd name="connsiteY936" fmla="*/ 2932 h 10000"/>
                  <a:gd name="connsiteX937" fmla="*/ 7198 w 10586"/>
                  <a:gd name="connsiteY937" fmla="*/ 2915 h 10000"/>
                  <a:gd name="connsiteX938" fmla="*/ 7194 w 10586"/>
                  <a:gd name="connsiteY938" fmla="*/ 2915 h 10000"/>
                  <a:gd name="connsiteX939" fmla="*/ 7157 w 10586"/>
                  <a:gd name="connsiteY939" fmla="*/ 2880 h 10000"/>
                  <a:gd name="connsiteX940" fmla="*/ 7138 w 10586"/>
                  <a:gd name="connsiteY940" fmla="*/ 2880 h 10000"/>
                  <a:gd name="connsiteX941" fmla="*/ 7120 w 10586"/>
                  <a:gd name="connsiteY941" fmla="*/ 2872 h 10000"/>
                  <a:gd name="connsiteX942" fmla="*/ 7111 w 10586"/>
                  <a:gd name="connsiteY942" fmla="*/ 2846 h 10000"/>
                  <a:gd name="connsiteX943" fmla="*/ 7106 w 10586"/>
                  <a:gd name="connsiteY943" fmla="*/ 2846 h 10000"/>
                  <a:gd name="connsiteX944" fmla="*/ 7092 w 10586"/>
                  <a:gd name="connsiteY944" fmla="*/ 2829 h 10000"/>
                  <a:gd name="connsiteX945" fmla="*/ 7051 w 10586"/>
                  <a:gd name="connsiteY945" fmla="*/ 2829 h 10000"/>
                  <a:gd name="connsiteX946" fmla="*/ 7037 w 10586"/>
                  <a:gd name="connsiteY946" fmla="*/ 2880 h 10000"/>
                  <a:gd name="connsiteX947" fmla="*/ 7037 w 10586"/>
                  <a:gd name="connsiteY947" fmla="*/ 2906 h 10000"/>
                  <a:gd name="connsiteX948" fmla="*/ 7037 w 10586"/>
                  <a:gd name="connsiteY948" fmla="*/ 2932 h 10000"/>
                  <a:gd name="connsiteX949" fmla="*/ 7037 w 10586"/>
                  <a:gd name="connsiteY949" fmla="*/ 2940 h 10000"/>
                  <a:gd name="connsiteX950" fmla="*/ 7023 w 10586"/>
                  <a:gd name="connsiteY950" fmla="*/ 2906 h 10000"/>
                  <a:gd name="connsiteX951" fmla="*/ 7023 w 10586"/>
                  <a:gd name="connsiteY951" fmla="*/ 2915 h 10000"/>
                  <a:gd name="connsiteX952" fmla="*/ 6991 w 10586"/>
                  <a:gd name="connsiteY952" fmla="*/ 2906 h 10000"/>
                  <a:gd name="connsiteX953" fmla="*/ 6977 w 10586"/>
                  <a:gd name="connsiteY953" fmla="*/ 2915 h 10000"/>
                  <a:gd name="connsiteX954" fmla="*/ 6963 w 10586"/>
                  <a:gd name="connsiteY954" fmla="*/ 2915 h 10000"/>
                  <a:gd name="connsiteX955" fmla="*/ 6949 w 10586"/>
                  <a:gd name="connsiteY955" fmla="*/ 2872 h 10000"/>
                  <a:gd name="connsiteX956" fmla="*/ 6935 w 10586"/>
                  <a:gd name="connsiteY956" fmla="*/ 2855 h 10000"/>
                  <a:gd name="connsiteX957" fmla="*/ 6922 w 10586"/>
                  <a:gd name="connsiteY957" fmla="*/ 2803 h 10000"/>
                  <a:gd name="connsiteX958" fmla="*/ 6917 w 10586"/>
                  <a:gd name="connsiteY958" fmla="*/ 2786 h 10000"/>
                  <a:gd name="connsiteX959" fmla="*/ 6903 w 10586"/>
                  <a:gd name="connsiteY959" fmla="*/ 2709 h 10000"/>
                  <a:gd name="connsiteX960" fmla="*/ 6903 w 10586"/>
                  <a:gd name="connsiteY960" fmla="*/ 2692 h 10000"/>
                  <a:gd name="connsiteX961" fmla="*/ 6899 w 10586"/>
                  <a:gd name="connsiteY961" fmla="*/ 2709 h 10000"/>
                  <a:gd name="connsiteX962" fmla="*/ 6857 w 10586"/>
                  <a:gd name="connsiteY962" fmla="*/ 2872 h 10000"/>
                  <a:gd name="connsiteX963" fmla="*/ 6857 w 10586"/>
                  <a:gd name="connsiteY963" fmla="*/ 3009 h 10000"/>
                  <a:gd name="connsiteX964" fmla="*/ 6848 w 10586"/>
                  <a:gd name="connsiteY964" fmla="*/ 3017 h 10000"/>
                  <a:gd name="connsiteX965" fmla="*/ 6839 w 10586"/>
                  <a:gd name="connsiteY965" fmla="*/ 3068 h 10000"/>
                  <a:gd name="connsiteX966" fmla="*/ 6829 w 10586"/>
                  <a:gd name="connsiteY966" fmla="*/ 3077 h 10000"/>
                  <a:gd name="connsiteX967" fmla="*/ 6829 w 10586"/>
                  <a:gd name="connsiteY967" fmla="*/ 3128 h 10000"/>
                  <a:gd name="connsiteX968" fmla="*/ 6816 w 10586"/>
                  <a:gd name="connsiteY968" fmla="*/ 3154 h 10000"/>
                  <a:gd name="connsiteX969" fmla="*/ 6811 w 10586"/>
                  <a:gd name="connsiteY969" fmla="*/ 3179 h 10000"/>
                  <a:gd name="connsiteX970" fmla="*/ 6797 w 10586"/>
                  <a:gd name="connsiteY970" fmla="*/ 3171 h 10000"/>
                  <a:gd name="connsiteX971" fmla="*/ 6783 w 10586"/>
                  <a:gd name="connsiteY971" fmla="*/ 3103 h 10000"/>
                  <a:gd name="connsiteX972" fmla="*/ 6779 w 10586"/>
                  <a:gd name="connsiteY972" fmla="*/ 3094 h 10000"/>
                  <a:gd name="connsiteX973" fmla="*/ 6779 w 10586"/>
                  <a:gd name="connsiteY973" fmla="*/ 3120 h 10000"/>
                  <a:gd name="connsiteX974" fmla="*/ 6770 w 10586"/>
                  <a:gd name="connsiteY974" fmla="*/ 3128 h 10000"/>
                  <a:gd name="connsiteX975" fmla="*/ 6765 w 10586"/>
                  <a:gd name="connsiteY975" fmla="*/ 3103 h 10000"/>
                  <a:gd name="connsiteX976" fmla="*/ 6756 w 10586"/>
                  <a:gd name="connsiteY976" fmla="*/ 3103 h 10000"/>
                  <a:gd name="connsiteX977" fmla="*/ 6742 w 10586"/>
                  <a:gd name="connsiteY977" fmla="*/ 3103 h 10000"/>
                  <a:gd name="connsiteX978" fmla="*/ 6737 w 10586"/>
                  <a:gd name="connsiteY978" fmla="*/ 3077 h 10000"/>
                  <a:gd name="connsiteX979" fmla="*/ 6737 w 10586"/>
                  <a:gd name="connsiteY979" fmla="*/ 3068 h 10000"/>
                  <a:gd name="connsiteX980" fmla="*/ 6728 w 10586"/>
                  <a:gd name="connsiteY980" fmla="*/ 3043 h 10000"/>
                  <a:gd name="connsiteX981" fmla="*/ 6724 w 10586"/>
                  <a:gd name="connsiteY981" fmla="*/ 3051 h 10000"/>
                  <a:gd name="connsiteX982" fmla="*/ 6714 w 10586"/>
                  <a:gd name="connsiteY982" fmla="*/ 3043 h 10000"/>
                  <a:gd name="connsiteX983" fmla="*/ 6710 w 10586"/>
                  <a:gd name="connsiteY983" fmla="*/ 3034 h 10000"/>
                  <a:gd name="connsiteX984" fmla="*/ 6705 w 10586"/>
                  <a:gd name="connsiteY984" fmla="*/ 2983 h 10000"/>
                  <a:gd name="connsiteX985" fmla="*/ 6696 w 10586"/>
                  <a:gd name="connsiteY985" fmla="*/ 2966 h 10000"/>
                  <a:gd name="connsiteX986" fmla="*/ 6691 w 10586"/>
                  <a:gd name="connsiteY986" fmla="*/ 2983 h 10000"/>
                  <a:gd name="connsiteX987" fmla="*/ 6677 w 10586"/>
                  <a:gd name="connsiteY987" fmla="*/ 2897 h 10000"/>
                  <a:gd name="connsiteX988" fmla="*/ 6677 w 10586"/>
                  <a:gd name="connsiteY988" fmla="*/ 2897 h 10000"/>
                  <a:gd name="connsiteX989" fmla="*/ 6677 w 10586"/>
                  <a:gd name="connsiteY989" fmla="*/ 2872 h 10000"/>
                  <a:gd name="connsiteX990" fmla="*/ 6668 w 10586"/>
                  <a:gd name="connsiteY990" fmla="*/ 2821 h 10000"/>
                  <a:gd name="connsiteX991" fmla="*/ 6664 w 10586"/>
                  <a:gd name="connsiteY991" fmla="*/ 2829 h 10000"/>
                  <a:gd name="connsiteX992" fmla="*/ 6654 w 10586"/>
                  <a:gd name="connsiteY992" fmla="*/ 2846 h 10000"/>
                  <a:gd name="connsiteX993" fmla="*/ 6650 w 10586"/>
                  <a:gd name="connsiteY993" fmla="*/ 2829 h 10000"/>
                  <a:gd name="connsiteX994" fmla="*/ 6650 w 10586"/>
                  <a:gd name="connsiteY994" fmla="*/ 2803 h 10000"/>
                  <a:gd name="connsiteX995" fmla="*/ 6650 w 10586"/>
                  <a:gd name="connsiteY995" fmla="*/ 2795 h 10000"/>
                  <a:gd name="connsiteX996" fmla="*/ 6641 w 10586"/>
                  <a:gd name="connsiteY996" fmla="*/ 2786 h 10000"/>
                  <a:gd name="connsiteX997" fmla="*/ 6636 w 10586"/>
                  <a:gd name="connsiteY997" fmla="*/ 2735 h 10000"/>
                  <a:gd name="connsiteX998" fmla="*/ 6664 w 10586"/>
                  <a:gd name="connsiteY998" fmla="*/ 2667 h 10000"/>
                  <a:gd name="connsiteX999" fmla="*/ 6668 w 10586"/>
                  <a:gd name="connsiteY999" fmla="*/ 2684 h 10000"/>
                  <a:gd name="connsiteX1000" fmla="*/ 6677 w 10586"/>
                  <a:gd name="connsiteY1000" fmla="*/ 2667 h 10000"/>
                  <a:gd name="connsiteX1001" fmla="*/ 6668 w 10586"/>
                  <a:gd name="connsiteY1001" fmla="*/ 2667 h 10000"/>
                  <a:gd name="connsiteX1002" fmla="*/ 6668 w 10586"/>
                  <a:gd name="connsiteY1002" fmla="*/ 2650 h 10000"/>
                  <a:gd name="connsiteX1003" fmla="*/ 6682 w 10586"/>
                  <a:gd name="connsiteY1003" fmla="*/ 2650 h 10000"/>
                  <a:gd name="connsiteX1004" fmla="*/ 6691 w 10586"/>
                  <a:gd name="connsiteY1004" fmla="*/ 2624 h 10000"/>
                  <a:gd name="connsiteX1005" fmla="*/ 6682 w 10586"/>
                  <a:gd name="connsiteY1005" fmla="*/ 2632 h 10000"/>
                  <a:gd name="connsiteX1006" fmla="*/ 6682 w 10586"/>
                  <a:gd name="connsiteY1006" fmla="*/ 2624 h 10000"/>
                  <a:gd name="connsiteX1007" fmla="*/ 6691 w 10586"/>
                  <a:gd name="connsiteY1007" fmla="*/ 2607 h 10000"/>
                  <a:gd name="connsiteX1008" fmla="*/ 6691 w 10586"/>
                  <a:gd name="connsiteY1008" fmla="*/ 2598 h 10000"/>
                  <a:gd name="connsiteX1009" fmla="*/ 6691 w 10586"/>
                  <a:gd name="connsiteY1009" fmla="*/ 2581 h 10000"/>
                  <a:gd name="connsiteX1010" fmla="*/ 6696 w 10586"/>
                  <a:gd name="connsiteY1010" fmla="*/ 2530 h 10000"/>
                  <a:gd name="connsiteX1011" fmla="*/ 6677 w 10586"/>
                  <a:gd name="connsiteY1011" fmla="*/ 2513 h 10000"/>
                  <a:gd name="connsiteX1012" fmla="*/ 6677 w 10586"/>
                  <a:gd name="connsiteY1012" fmla="*/ 2496 h 10000"/>
                  <a:gd name="connsiteX1013" fmla="*/ 6682 w 10586"/>
                  <a:gd name="connsiteY1013" fmla="*/ 2470 h 10000"/>
                  <a:gd name="connsiteX1014" fmla="*/ 6668 w 10586"/>
                  <a:gd name="connsiteY1014" fmla="*/ 2462 h 10000"/>
                  <a:gd name="connsiteX1015" fmla="*/ 6677 w 10586"/>
                  <a:gd name="connsiteY1015" fmla="*/ 2436 h 10000"/>
                  <a:gd name="connsiteX1016" fmla="*/ 6682 w 10586"/>
                  <a:gd name="connsiteY1016" fmla="*/ 2419 h 10000"/>
                  <a:gd name="connsiteX1017" fmla="*/ 6682 w 10586"/>
                  <a:gd name="connsiteY1017" fmla="*/ 2393 h 10000"/>
                  <a:gd name="connsiteX1018" fmla="*/ 6682 w 10586"/>
                  <a:gd name="connsiteY1018" fmla="*/ 2385 h 10000"/>
                  <a:gd name="connsiteX1019" fmla="*/ 6682 w 10586"/>
                  <a:gd name="connsiteY1019" fmla="*/ 2385 h 10000"/>
                  <a:gd name="connsiteX1020" fmla="*/ 6677 w 10586"/>
                  <a:gd name="connsiteY1020" fmla="*/ 2376 h 10000"/>
                  <a:gd name="connsiteX1021" fmla="*/ 6682 w 10586"/>
                  <a:gd name="connsiteY1021" fmla="*/ 2359 h 10000"/>
                  <a:gd name="connsiteX1022" fmla="*/ 6677 w 10586"/>
                  <a:gd name="connsiteY1022" fmla="*/ 2333 h 10000"/>
                  <a:gd name="connsiteX1023" fmla="*/ 6691 w 10586"/>
                  <a:gd name="connsiteY1023" fmla="*/ 2333 h 10000"/>
                  <a:gd name="connsiteX1024" fmla="*/ 6691 w 10586"/>
                  <a:gd name="connsiteY1024" fmla="*/ 2325 h 10000"/>
                  <a:gd name="connsiteX1025" fmla="*/ 6691 w 10586"/>
                  <a:gd name="connsiteY1025" fmla="*/ 2308 h 10000"/>
                  <a:gd name="connsiteX1026" fmla="*/ 6691 w 10586"/>
                  <a:gd name="connsiteY1026" fmla="*/ 2299 h 10000"/>
                  <a:gd name="connsiteX1027" fmla="*/ 6691 w 10586"/>
                  <a:gd name="connsiteY1027" fmla="*/ 2282 h 10000"/>
                  <a:gd name="connsiteX1028" fmla="*/ 6691 w 10586"/>
                  <a:gd name="connsiteY1028" fmla="*/ 2274 h 10000"/>
                  <a:gd name="connsiteX1029" fmla="*/ 6668 w 10586"/>
                  <a:gd name="connsiteY1029" fmla="*/ 2248 h 10000"/>
                  <a:gd name="connsiteX1030" fmla="*/ 6664 w 10586"/>
                  <a:gd name="connsiteY1030" fmla="*/ 2222 h 10000"/>
                  <a:gd name="connsiteX1031" fmla="*/ 6654 w 10586"/>
                  <a:gd name="connsiteY1031" fmla="*/ 2214 h 10000"/>
                  <a:gd name="connsiteX1032" fmla="*/ 6654 w 10586"/>
                  <a:gd name="connsiteY1032" fmla="*/ 2188 h 10000"/>
                  <a:gd name="connsiteX1033" fmla="*/ 6622 w 10586"/>
                  <a:gd name="connsiteY1033" fmla="*/ 2162 h 10000"/>
                  <a:gd name="connsiteX1034" fmla="*/ 6631 w 10586"/>
                  <a:gd name="connsiteY1034" fmla="*/ 2145 h 10000"/>
                  <a:gd name="connsiteX1035" fmla="*/ 6622 w 10586"/>
                  <a:gd name="connsiteY1035" fmla="*/ 2120 h 10000"/>
                  <a:gd name="connsiteX1036" fmla="*/ 6608 w 10586"/>
                  <a:gd name="connsiteY1036" fmla="*/ 2120 h 10000"/>
                  <a:gd name="connsiteX1037" fmla="*/ 6604 w 10586"/>
                  <a:gd name="connsiteY1037" fmla="*/ 2111 h 10000"/>
                  <a:gd name="connsiteX1038" fmla="*/ 6608 w 10586"/>
                  <a:gd name="connsiteY1038" fmla="*/ 2111 h 10000"/>
                  <a:gd name="connsiteX1039" fmla="*/ 6604 w 10586"/>
                  <a:gd name="connsiteY1039" fmla="*/ 2085 h 10000"/>
                  <a:gd name="connsiteX1040" fmla="*/ 6581 w 10586"/>
                  <a:gd name="connsiteY1040" fmla="*/ 2077 h 10000"/>
                  <a:gd name="connsiteX1041" fmla="*/ 6571 w 10586"/>
                  <a:gd name="connsiteY1041" fmla="*/ 2085 h 10000"/>
                  <a:gd name="connsiteX1042" fmla="*/ 6548 w 10586"/>
                  <a:gd name="connsiteY1042" fmla="*/ 2077 h 10000"/>
                  <a:gd name="connsiteX1043" fmla="*/ 6530 w 10586"/>
                  <a:gd name="connsiteY1043" fmla="*/ 2060 h 10000"/>
                  <a:gd name="connsiteX1044" fmla="*/ 6521 w 10586"/>
                  <a:gd name="connsiteY1044" fmla="*/ 2060 h 10000"/>
                  <a:gd name="connsiteX1045" fmla="*/ 6521 w 10586"/>
                  <a:gd name="connsiteY1045" fmla="*/ 2085 h 10000"/>
                  <a:gd name="connsiteX1046" fmla="*/ 6516 w 10586"/>
                  <a:gd name="connsiteY1046" fmla="*/ 2085 h 10000"/>
                  <a:gd name="connsiteX1047" fmla="*/ 6502 w 10586"/>
                  <a:gd name="connsiteY1047" fmla="*/ 2111 h 10000"/>
                  <a:gd name="connsiteX1048" fmla="*/ 6498 w 10586"/>
                  <a:gd name="connsiteY1048" fmla="*/ 2111 h 10000"/>
                  <a:gd name="connsiteX1049" fmla="*/ 6498 w 10586"/>
                  <a:gd name="connsiteY1049" fmla="*/ 2103 h 10000"/>
                  <a:gd name="connsiteX1050" fmla="*/ 6475 w 10586"/>
                  <a:gd name="connsiteY1050" fmla="*/ 2051 h 10000"/>
                  <a:gd name="connsiteX1051" fmla="*/ 6470 w 10586"/>
                  <a:gd name="connsiteY1051" fmla="*/ 2060 h 10000"/>
                  <a:gd name="connsiteX1052" fmla="*/ 6456 w 10586"/>
                  <a:gd name="connsiteY1052" fmla="*/ 2051 h 10000"/>
                  <a:gd name="connsiteX1053" fmla="*/ 6447 w 10586"/>
                  <a:gd name="connsiteY1053" fmla="*/ 2051 h 10000"/>
                  <a:gd name="connsiteX1054" fmla="*/ 6433 w 10586"/>
                  <a:gd name="connsiteY1054" fmla="*/ 2026 h 10000"/>
                  <a:gd name="connsiteX1055" fmla="*/ 6433 w 10586"/>
                  <a:gd name="connsiteY1055" fmla="*/ 2034 h 10000"/>
                  <a:gd name="connsiteX1056" fmla="*/ 6429 w 10586"/>
                  <a:gd name="connsiteY1056" fmla="*/ 2026 h 10000"/>
                  <a:gd name="connsiteX1057" fmla="*/ 6424 w 10586"/>
                  <a:gd name="connsiteY1057" fmla="*/ 2034 h 10000"/>
                  <a:gd name="connsiteX1058" fmla="*/ 6410 w 10586"/>
                  <a:gd name="connsiteY1058" fmla="*/ 2026 h 10000"/>
                  <a:gd name="connsiteX1059" fmla="*/ 6410 w 10586"/>
                  <a:gd name="connsiteY1059" fmla="*/ 1991 h 10000"/>
                  <a:gd name="connsiteX1060" fmla="*/ 6401 w 10586"/>
                  <a:gd name="connsiteY1060" fmla="*/ 1991 h 10000"/>
                  <a:gd name="connsiteX1061" fmla="*/ 6396 w 10586"/>
                  <a:gd name="connsiteY1061" fmla="*/ 2000 h 10000"/>
                  <a:gd name="connsiteX1062" fmla="*/ 6382 w 10586"/>
                  <a:gd name="connsiteY1062" fmla="*/ 1966 h 10000"/>
                  <a:gd name="connsiteX1063" fmla="*/ 6373 w 10586"/>
                  <a:gd name="connsiteY1063" fmla="*/ 1974 h 10000"/>
                  <a:gd name="connsiteX1064" fmla="*/ 6369 w 10586"/>
                  <a:gd name="connsiteY1064" fmla="*/ 1966 h 10000"/>
                  <a:gd name="connsiteX1065" fmla="*/ 6341 w 10586"/>
                  <a:gd name="connsiteY1065" fmla="*/ 1949 h 10000"/>
                  <a:gd name="connsiteX1066" fmla="*/ 6327 w 10586"/>
                  <a:gd name="connsiteY1066" fmla="*/ 1923 h 10000"/>
                  <a:gd name="connsiteX1067" fmla="*/ 6323 w 10586"/>
                  <a:gd name="connsiteY1067" fmla="*/ 1923 h 10000"/>
                  <a:gd name="connsiteX1068" fmla="*/ 6323 w 10586"/>
                  <a:gd name="connsiteY1068" fmla="*/ 1966 h 10000"/>
                  <a:gd name="connsiteX1069" fmla="*/ 6323 w 10586"/>
                  <a:gd name="connsiteY1069" fmla="*/ 1991 h 10000"/>
                  <a:gd name="connsiteX1070" fmla="*/ 6313 w 10586"/>
                  <a:gd name="connsiteY1070" fmla="*/ 1991 h 10000"/>
                  <a:gd name="connsiteX1071" fmla="*/ 6300 w 10586"/>
                  <a:gd name="connsiteY1071" fmla="*/ 1991 h 10000"/>
                  <a:gd name="connsiteX1072" fmla="*/ 6290 w 10586"/>
                  <a:gd name="connsiteY1072" fmla="*/ 1949 h 10000"/>
                  <a:gd name="connsiteX1073" fmla="*/ 6276 w 10586"/>
                  <a:gd name="connsiteY1073" fmla="*/ 2103 h 10000"/>
                  <a:gd name="connsiteX1074" fmla="*/ 6281 w 10586"/>
                  <a:gd name="connsiteY1074" fmla="*/ 2103 h 10000"/>
                  <a:gd name="connsiteX1075" fmla="*/ 6276 w 10586"/>
                  <a:gd name="connsiteY1075" fmla="*/ 2111 h 10000"/>
                  <a:gd name="connsiteX1076" fmla="*/ 6276 w 10586"/>
                  <a:gd name="connsiteY1076" fmla="*/ 2120 h 10000"/>
                  <a:gd name="connsiteX1077" fmla="*/ 6295 w 10586"/>
                  <a:gd name="connsiteY1077" fmla="*/ 2239 h 10000"/>
                  <a:gd name="connsiteX1078" fmla="*/ 6290 w 10586"/>
                  <a:gd name="connsiteY1078" fmla="*/ 2248 h 10000"/>
                  <a:gd name="connsiteX1079" fmla="*/ 6281 w 10586"/>
                  <a:gd name="connsiteY1079" fmla="*/ 2274 h 10000"/>
                  <a:gd name="connsiteX1080" fmla="*/ 6249 w 10586"/>
                  <a:gd name="connsiteY1080" fmla="*/ 2274 h 10000"/>
                  <a:gd name="connsiteX1081" fmla="*/ 6226 w 10586"/>
                  <a:gd name="connsiteY1081" fmla="*/ 2308 h 10000"/>
                  <a:gd name="connsiteX1082" fmla="*/ 6221 w 10586"/>
                  <a:gd name="connsiteY1082" fmla="*/ 2299 h 10000"/>
                  <a:gd name="connsiteX1083" fmla="*/ 6221 w 10586"/>
                  <a:gd name="connsiteY1083" fmla="*/ 2308 h 10000"/>
                  <a:gd name="connsiteX1084" fmla="*/ 6217 w 10586"/>
                  <a:gd name="connsiteY1084" fmla="*/ 2299 h 10000"/>
                  <a:gd name="connsiteX1085" fmla="*/ 6194 w 10586"/>
                  <a:gd name="connsiteY1085" fmla="*/ 2308 h 10000"/>
                  <a:gd name="connsiteX1086" fmla="*/ 6180 w 10586"/>
                  <a:gd name="connsiteY1086" fmla="*/ 2299 h 10000"/>
                  <a:gd name="connsiteX1087" fmla="*/ 6143 w 10586"/>
                  <a:gd name="connsiteY1087" fmla="*/ 2308 h 10000"/>
                  <a:gd name="connsiteX1088" fmla="*/ 6134 w 10586"/>
                  <a:gd name="connsiteY1088" fmla="*/ 2325 h 10000"/>
                  <a:gd name="connsiteX1089" fmla="*/ 6115 w 10586"/>
                  <a:gd name="connsiteY1089" fmla="*/ 2282 h 10000"/>
                  <a:gd name="connsiteX1090" fmla="*/ 6069 w 10586"/>
                  <a:gd name="connsiteY1090" fmla="*/ 2274 h 10000"/>
                  <a:gd name="connsiteX1091" fmla="*/ 6069 w 10586"/>
                  <a:gd name="connsiteY1091" fmla="*/ 2282 h 10000"/>
                  <a:gd name="connsiteX1092" fmla="*/ 6060 w 10586"/>
                  <a:gd name="connsiteY1092" fmla="*/ 2299 h 10000"/>
                  <a:gd name="connsiteX1093" fmla="*/ 5972 w 10586"/>
                  <a:gd name="connsiteY1093" fmla="*/ 2214 h 10000"/>
                  <a:gd name="connsiteX1094" fmla="*/ 5968 w 10586"/>
                  <a:gd name="connsiteY1094" fmla="*/ 2197 h 10000"/>
                  <a:gd name="connsiteX1095" fmla="*/ 5968 w 10586"/>
                  <a:gd name="connsiteY1095" fmla="*/ 2171 h 10000"/>
                  <a:gd name="connsiteX1096" fmla="*/ 5968 w 10586"/>
                  <a:gd name="connsiteY1096" fmla="*/ 2162 h 10000"/>
                  <a:gd name="connsiteX1097" fmla="*/ 5968 w 10586"/>
                  <a:gd name="connsiteY1097" fmla="*/ 2120 h 10000"/>
                  <a:gd name="connsiteX1098" fmla="*/ 5968 w 10586"/>
                  <a:gd name="connsiteY1098" fmla="*/ 2111 h 10000"/>
                  <a:gd name="connsiteX1099" fmla="*/ 5972 w 10586"/>
                  <a:gd name="connsiteY1099" fmla="*/ 2103 h 10000"/>
                  <a:gd name="connsiteX1100" fmla="*/ 5986 w 10586"/>
                  <a:gd name="connsiteY1100" fmla="*/ 2103 h 10000"/>
                  <a:gd name="connsiteX1101" fmla="*/ 5986 w 10586"/>
                  <a:gd name="connsiteY1101" fmla="*/ 2085 h 10000"/>
                  <a:gd name="connsiteX1102" fmla="*/ 5995 w 10586"/>
                  <a:gd name="connsiteY1102" fmla="*/ 2085 h 10000"/>
                  <a:gd name="connsiteX1103" fmla="*/ 5995 w 10586"/>
                  <a:gd name="connsiteY1103" fmla="*/ 2077 h 10000"/>
                  <a:gd name="connsiteX1104" fmla="*/ 5986 w 10586"/>
                  <a:gd name="connsiteY1104" fmla="*/ 2060 h 10000"/>
                  <a:gd name="connsiteX1105" fmla="*/ 5954 w 10586"/>
                  <a:gd name="connsiteY1105" fmla="*/ 2060 h 10000"/>
                  <a:gd name="connsiteX1106" fmla="*/ 5940 w 10586"/>
                  <a:gd name="connsiteY1106" fmla="*/ 2051 h 10000"/>
                  <a:gd name="connsiteX1107" fmla="*/ 5922 w 10586"/>
                  <a:gd name="connsiteY1107" fmla="*/ 2060 h 10000"/>
                  <a:gd name="connsiteX1108" fmla="*/ 5885 w 10586"/>
                  <a:gd name="connsiteY1108" fmla="*/ 2051 h 10000"/>
                  <a:gd name="connsiteX1109" fmla="*/ 5876 w 10586"/>
                  <a:gd name="connsiteY1109" fmla="*/ 2026 h 10000"/>
                  <a:gd name="connsiteX1110" fmla="*/ 5862 w 10586"/>
                  <a:gd name="connsiteY1110" fmla="*/ 2026 h 10000"/>
                  <a:gd name="connsiteX1111" fmla="*/ 5848 w 10586"/>
                  <a:gd name="connsiteY1111" fmla="*/ 2026 h 10000"/>
                  <a:gd name="connsiteX1112" fmla="*/ 5825 w 10586"/>
                  <a:gd name="connsiteY1112" fmla="*/ 2026 h 10000"/>
                  <a:gd name="connsiteX1113" fmla="*/ 5788 w 10586"/>
                  <a:gd name="connsiteY1113" fmla="*/ 1991 h 10000"/>
                  <a:gd name="connsiteX1114" fmla="*/ 5760 w 10586"/>
                  <a:gd name="connsiteY1114" fmla="*/ 2000 h 10000"/>
                  <a:gd name="connsiteX1115" fmla="*/ 5760 w 10586"/>
                  <a:gd name="connsiteY1115" fmla="*/ 2026 h 10000"/>
                  <a:gd name="connsiteX1116" fmla="*/ 5714 w 10586"/>
                  <a:gd name="connsiteY1116" fmla="*/ 2051 h 10000"/>
                  <a:gd name="connsiteX1117" fmla="*/ 5687 w 10586"/>
                  <a:gd name="connsiteY1117" fmla="*/ 2034 h 10000"/>
                  <a:gd name="connsiteX1118" fmla="*/ 5645 w 10586"/>
                  <a:gd name="connsiteY1118" fmla="*/ 2077 h 10000"/>
                  <a:gd name="connsiteX1119" fmla="*/ 5664 w 10586"/>
                  <a:gd name="connsiteY1119" fmla="*/ 2120 h 10000"/>
                  <a:gd name="connsiteX1120" fmla="*/ 5664 w 10586"/>
                  <a:gd name="connsiteY1120" fmla="*/ 2162 h 10000"/>
                  <a:gd name="connsiteX1121" fmla="*/ 5631 w 10586"/>
                  <a:gd name="connsiteY1121" fmla="*/ 2197 h 10000"/>
                  <a:gd name="connsiteX1122" fmla="*/ 5618 w 10586"/>
                  <a:gd name="connsiteY1122" fmla="*/ 2188 h 10000"/>
                  <a:gd name="connsiteX1123" fmla="*/ 5618 w 10586"/>
                  <a:gd name="connsiteY1123" fmla="*/ 2171 h 10000"/>
                  <a:gd name="connsiteX1124" fmla="*/ 5641 w 10586"/>
                  <a:gd name="connsiteY1124" fmla="*/ 2171 h 10000"/>
                  <a:gd name="connsiteX1125" fmla="*/ 5641 w 10586"/>
                  <a:gd name="connsiteY1125" fmla="*/ 2162 h 10000"/>
                  <a:gd name="connsiteX1126" fmla="*/ 5627 w 10586"/>
                  <a:gd name="connsiteY1126" fmla="*/ 2145 h 10000"/>
                  <a:gd name="connsiteX1127" fmla="*/ 5627 w 10586"/>
                  <a:gd name="connsiteY1127" fmla="*/ 2120 h 10000"/>
                  <a:gd name="connsiteX1128" fmla="*/ 5618 w 10586"/>
                  <a:gd name="connsiteY1128" fmla="*/ 2111 h 10000"/>
                  <a:gd name="connsiteX1129" fmla="*/ 5631 w 10586"/>
                  <a:gd name="connsiteY1129" fmla="*/ 2051 h 10000"/>
                  <a:gd name="connsiteX1130" fmla="*/ 5631 w 10586"/>
                  <a:gd name="connsiteY1130" fmla="*/ 2026 h 10000"/>
                  <a:gd name="connsiteX1131" fmla="*/ 5627 w 10586"/>
                  <a:gd name="connsiteY1131" fmla="*/ 1991 h 10000"/>
                  <a:gd name="connsiteX1132" fmla="*/ 5618 w 10586"/>
                  <a:gd name="connsiteY1132" fmla="*/ 1974 h 10000"/>
                  <a:gd name="connsiteX1133" fmla="*/ 5618 w 10586"/>
                  <a:gd name="connsiteY1133" fmla="*/ 1940 h 10000"/>
                  <a:gd name="connsiteX1134" fmla="*/ 5594 w 10586"/>
                  <a:gd name="connsiteY1134" fmla="*/ 1855 h 10000"/>
                  <a:gd name="connsiteX1135" fmla="*/ 5599 w 10586"/>
                  <a:gd name="connsiteY1135" fmla="*/ 1915 h 10000"/>
                  <a:gd name="connsiteX1136" fmla="*/ 5599 w 10586"/>
                  <a:gd name="connsiteY1136" fmla="*/ 1949 h 10000"/>
                  <a:gd name="connsiteX1137" fmla="*/ 5594 w 10586"/>
                  <a:gd name="connsiteY1137" fmla="*/ 1991 h 10000"/>
                  <a:gd name="connsiteX1138" fmla="*/ 5571 w 10586"/>
                  <a:gd name="connsiteY1138" fmla="*/ 2000 h 10000"/>
                  <a:gd name="connsiteX1139" fmla="*/ 5530 w 10586"/>
                  <a:gd name="connsiteY1139" fmla="*/ 1991 h 10000"/>
                  <a:gd name="connsiteX1140" fmla="*/ 5525 w 10586"/>
                  <a:gd name="connsiteY1140" fmla="*/ 2000 h 10000"/>
                  <a:gd name="connsiteX1141" fmla="*/ 5521 w 10586"/>
                  <a:gd name="connsiteY1141" fmla="*/ 1991 h 10000"/>
                  <a:gd name="connsiteX1142" fmla="*/ 5498 w 10586"/>
                  <a:gd name="connsiteY1142" fmla="*/ 1949 h 10000"/>
                  <a:gd name="connsiteX1143" fmla="*/ 5493 w 10586"/>
                  <a:gd name="connsiteY1143" fmla="*/ 1889 h 10000"/>
                  <a:gd name="connsiteX1144" fmla="*/ 5493 w 10586"/>
                  <a:gd name="connsiteY1144" fmla="*/ 1863 h 10000"/>
                  <a:gd name="connsiteX1145" fmla="*/ 5498 w 10586"/>
                  <a:gd name="connsiteY1145" fmla="*/ 1889 h 10000"/>
                  <a:gd name="connsiteX1146" fmla="*/ 5512 w 10586"/>
                  <a:gd name="connsiteY1146" fmla="*/ 1855 h 10000"/>
                  <a:gd name="connsiteX1147" fmla="*/ 5512 w 10586"/>
                  <a:gd name="connsiteY1147" fmla="*/ 1838 h 10000"/>
                  <a:gd name="connsiteX1148" fmla="*/ 5479 w 10586"/>
                  <a:gd name="connsiteY1148" fmla="*/ 1855 h 10000"/>
                  <a:gd name="connsiteX1149" fmla="*/ 5470 w 10586"/>
                  <a:gd name="connsiteY1149" fmla="*/ 1872 h 10000"/>
                  <a:gd name="connsiteX1150" fmla="*/ 5470 w 10586"/>
                  <a:gd name="connsiteY1150" fmla="*/ 1889 h 10000"/>
                  <a:gd name="connsiteX1151" fmla="*/ 5465 w 10586"/>
                  <a:gd name="connsiteY1151" fmla="*/ 1897 h 10000"/>
                  <a:gd name="connsiteX1152" fmla="*/ 5456 w 10586"/>
                  <a:gd name="connsiteY1152" fmla="*/ 1872 h 10000"/>
                  <a:gd name="connsiteX1153" fmla="*/ 5447 w 10586"/>
                  <a:gd name="connsiteY1153" fmla="*/ 1872 h 10000"/>
                  <a:gd name="connsiteX1154" fmla="*/ 5433 w 10586"/>
                  <a:gd name="connsiteY1154" fmla="*/ 1855 h 10000"/>
                  <a:gd name="connsiteX1155" fmla="*/ 5396 w 10586"/>
                  <a:gd name="connsiteY1155" fmla="*/ 1863 h 10000"/>
                  <a:gd name="connsiteX1156" fmla="*/ 5396 w 10586"/>
                  <a:gd name="connsiteY1156" fmla="*/ 1897 h 10000"/>
                  <a:gd name="connsiteX1157" fmla="*/ 5378 w 10586"/>
                  <a:gd name="connsiteY1157" fmla="*/ 1949 h 10000"/>
                  <a:gd name="connsiteX1158" fmla="*/ 5378 w 10586"/>
                  <a:gd name="connsiteY1158" fmla="*/ 1966 h 10000"/>
                  <a:gd name="connsiteX1159" fmla="*/ 5392 w 10586"/>
                  <a:gd name="connsiteY1159" fmla="*/ 2026 h 10000"/>
                  <a:gd name="connsiteX1160" fmla="*/ 5396 w 10586"/>
                  <a:gd name="connsiteY1160" fmla="*/ 2026 h 10000"/>
                  <a:gd name="connsiteX1161" fmla="*/ 5392 w 10586"/>
                  <a:gd name="connsiteY1161" fmla="*/ 2009 h 10000"/>
                  <a:gd name="connsiteX1162" fmla="*/ 5392 w 10586"/>
                  <a:gd name="connsiteY1162" fmla="*/ 2000 h 10000"/>
                  <a:gd name="connsiteX1163" fmla="*/ 5396 w 10586"/>
                  <a:gd name="connsiteY1163" fmla="*/ 2009 h 10000"/>
                  <a:gd name="connsiteX1164" fmla="*/ 5424 w 10586"/>
                  <a:gd name="connsiteY1164" fmla="*/ 2009 h 10000"/>
                  <a:gd name="connsiteX1165" fmla="*/ 5433 w 10586"/>
                  <a:gd name="connsiteY1165" fmla="*/ 1991 h 10000"/>
                  <a:gd name="connsiteX1166" fmla="*/ 5447 w 10586"/>
                  <a:gd name="connsiteY1166" fmla="*/ 1974 h 10000"/>
                  <a:gd name="connsiteX1167" fmla="*/ 5452 w 10586"/>
                  <a:gd name="connsiteY1167" fmla="*/ 1966 h 10000"/>
                  <a:gd name="connsiteX1168" fmla="*/ 5456 w 10586"/>
                  <a:gd name="connsiteY1168" fmla="*/ 1966 h 10000"/>
                  <a:gd name="connsiteX1169" fmla="*/ 5465 w 10586"/>
                  <a:gd name="connsiteY1169" fmla="*/ 2009 h 10000"/>
                  <a:gd name="connsiteX1170" fmla="*/ 5433 w 10586"/>
                  <a:gd name="connsiteY1170" fmla="*/ 2034 h 10000"/>
                  <a:gd name="connsiteX1171" fmla="*/ 5424 w 10586"/>
                  <a:gd name="connsiteY1171" fmla="*/ 2060 h 10000"/>
                  <a:gd name="connsiteX1172" fmla="*/ 5419 w 10586"/>
                  <a:gd name="connsiteY1172" fmla="*/ 2060 h 10000"/>
                  <a:gd name="connsiteX1173" fmla="*/ 5392 w 10586"/>
                  <a:gd name="connsiteY1173" fmla="*/ 2111 h 10000"/>
                  <a:gd name="connsiteX1174" fmla="*/ 5378 w 10586"/>
                  <a:gd name="connsiteY1174" fmla="*/ 2111 h 10000"/>
                  <a:gd name="connsiteX1175" fmla="*/ 5350 w 10586"/>
                  <a:gd name="connsiteY1175" fmla="*/ 2060 h 10000"/>
                  <a:gd name="connsiteX1176" fmla="*/ 5373 w 10586"/>
                  <a:gd name="connsiteY1176" fmla="*/ 2111 h 10000"/>
                  <a:gd name="connsiteX1177" fmla="*/ 5364 w 10586"/>
                  <a:gd name="connsiteY1177" fmla="*/ 2111 h 10000"/>
                  <a:gd name="connsiteX1178" fmla="*/ 5359 w 10586"/>
                  <a:gd name="connsiteY1178" fmla="*/ 2103 h 10000"/>
                  <a:gd name="connsiteX1179" fmla="*/ 5359 w 10586"/>
                  <a:gd name="connsiteY1179" fmla="*/ 2120 h 10000"/>
                  <a:gd name="connsiteX1180" fmla="*/ 5359 w 10586"/>
                  <a:gd name="connsiteY1180" fmla="*/ 2137 h 10000"/>
                  <a:gd name="connsiteX1181" fmla="*/ 5313 w 10586"/>
                  <a:gd name="connsiteY1181" fmla="*/ 2162 h 10000"/>
                  <a:gd name="connsiteX1182" fmla="*/ 5300 w 10586"/>
                  <a:gd name="connsiteY1182" fmla="*/ 2162 h 10000"/>
                  <a:gd name="connsiteX1183" fmla="*/ 5300 w 10586"/>
                  <a:gd name="connsiteY1183" fmla="*/ 2171 h 10000"/>
                  <a:gd name="connsiteX1184" fmla="*/ 5300 w 10586"/>
                  <a:gd name="connsiteY1184" fmla="*/ 2197 h 10000"/>
                  <a:gd name="connsiteX1185" fmla="*/ 5276 w 10586"/>
                  <a:gd name="connsiteY1185" fmla="*/ 2188 h 10000"/>
                  <a:gd name="connsiteX1186" fmla="*/ 5249 w 10586"/>
                  <a:gd name="connsiteY1186" fmla="*/ 2222 h 10000"/>
                  <a:gd name="connsiteX1187" fmla="*/ 5249 w 10586"/>
                  <a:gd name="connsiteY1187" fmla="*/ 2222 h 10000"/>
                  <a:gd name="connsiteX1188" fmla="*/ 5217 w 10586"/>
                  <a:gd name="connsiteY1188" fmla="*/ 2214 h 10000"/>
                  <a:gd name="connsiteX1189" fmla="*/ 5203 w 10586"/>
                  <a:gd name="connsiteY1189" fmla="*/ 2239 h 10000"/>
                  <a:gd name="connsiteX1190" fmla="*/ 5171 w 10586"/>
                  <a:gd name="connsiteY1190" fmla="*/ 2214 h 10000"/>
                  <a:gd name="connsiteX1191" fmla="*/ 5157 w 10586"/>
                  <a:gd name="connsiteY1191" fmla="*/ 2239 h 10000"/>
                  <a:gd name="connsiteX1192" fmla="*/ 5166 w 10586"/>
                  <a:gd name="connsiteY1192" fmla="*/ 2256 h 10000"/>
                  <a:gd name="connsiteX1193" fmla="*/ 5171 w 10586"/>
                  <a:gd name="connsiteY1193" fmla="*/ 2308 h 10000"/>
                  <a:gd name="connsiteX1194" fmla="*/ 5212 w 10586"/>
                  <a:gd name="connsiteY1194" fmla="*/ 2350 h 10000"/>
                  <a:gd name="connsiteX1195" fmla="*/ 5203 w 10586"/>
                  <a:gd name="connsiteY1195" fmla="*/ 2350 h 10000"/>
                  <a:gd name="connsiteX1196" fmla="*/ 5166 w 10586"/>
                  <a:gd name="connsiteY1196" fmla="*/ 2325 h 10000"/>
                  <a:gd name="connsiteX1197" fmla="*/ 5152 w 10586"/>
                  <a:gd name="connsiteY1197" fmla="*/ 2308 h 10000"/>
                  <a:gd name="connsiteX1198" fmla="*/ 5143 w 10586"/>
                  <a:gd name="connsiteY1198" fmla="*/ 2333 h 10000"/>
                  <a:gd name="connsiteX1199" fmla="*/ 5138 w 10586"/>
                  <a:gd name="connsiteY1199" fmla="*/ 2333 h 10000"/>
                  <a:gd name="connsiteX1200" fmla="*/ 5124 w 10586"/>
                  <a:gd name="connsiteY1200" fmla="*/ 2376 h 10000"/>
                  <a:gd name="connsiteX1201" fmla="*/ 5115 w 10586"/>
                  <a:gd name="connsiteY1201" fmla="*/ 2385 h 10000"/>
                  <a:gd name="connsiteX1202" fmla="*/ 5106 w 10586"/>
                  <a:gd name="connsiteY1202" fmla="*/ 2385 h 10000"/>
                  <a:gd name="connsiteX1203" fmla="*/ 5055 w 10586"/>
                  <a:gd name="connsiteY1203" fmla="*/ 2470 h 10000"/>
                  <a:gd name="connsiteX1204" fmla="*/ 5065 w 10586"/>
                  <a:gd name="connsiteY1204" fmla="*/ 2462 h 10000"/>
                  <a:gd name="connsiteX1205" fmla="*/ 5055 w 10586"/>
                  <a:gd name="connsiteY1205" fmla="*/ 2444 h 10000"/>
                  <a:gd name="connsiteX1206" fmla="*/ 5041 w 10586"/>
                  <a:gd name="connsiteY1206" fmla="*/ 2462 h 10000"/>
                  <a:gd name="connsiteX1207" fmla="*/ 5037 w 10586"/>
                  <a:gd name="connsiteY1207" fmla="*/ 2470 h 10000"/>
                  <a:gd name="connsiteX1208" fmla="*/ 5032 w 10586"/>
                  <a:gd name="connsiteY1208" fmla="*/ 2470 h 10000"/>
                  <a:gd name="connsiteX1209" fmla="*/ 5032 w 10586"/>
                  <a:gd name="connsiteY1209" fmla="*/ 2444 h 10000"/>
                  <a:gd name="connsiteX1210" fmla="*/ 5055 w 10586"/>
                  <a:gd name="connsiteY1210" fmla="*/ 2410 h 10000"/>
                  <a:gd name="connsiteX1211" fmla="*/ 5065 w 10586"/>
                  <a:gd name="connsiteY1211" fmla="*/ 2393 h 10000"/>
                  <a:gd name="connsiteX1212" fmla="*/ 5069 w 10586"/>
                  <a:gd name="connsiteY1212" fmla="*/ 2385 h 10000"/>
                  <a:gd name="connsiteX1213" fmla="*/ 5083 w 10586"/>
                  <a:gd name="connsiteY1213" fmla="*/ 2376 h 10000"/>
                  <a:gd name="connsiteX1214" fmla="*/ 5097 w 10586"/>
                  <a:gd name="connsiteY1214" fmla="*/ 2376 h 10000"/>
                  <a:gd name="connsiteX1215" fmla="*/ 5124 w 10586"/>
                  <a:gd name="connsiteY1215" fmla="*/ 2325 h 10000"/>
                  <a:gd name="connsiteX1216" fmla="*/ 5143 w 10586"/>
                  <a:gd name="connsiteY1216" fmla="*/ 2248 h 10000"/>
                  <a:gd name="connsiteX1217" fmla="*/ 5152 w 10586"/>
                  <a:gd name="connsiteY1217" fmla="*/ 2239 h 10000"/>
                  <a:gd name="connsiteX1218" fmla="*/ 5166 w 10586"/>
                  <a:gd name="connsiteY1218" fmla="*/ 2162 h 10000"/>
                  <a:gd name="connsiteX1219" fmla="*/ 5171 w 10586"/>
                  <a:gd name="connsiteY1219" fmla="*/ 2171 h 10000"/>
                  <a:gd name="connsiteX1220" fmla="*/ 5198 w 10586"/>
                  <a:gd name="connsiteY1220" fmla="*/ 2145 h 10000"/>
                  <a:gd name="connsiteX1221" fmla="*/ 5203 w 10586"/>
                  <a:gd name="connsiteY1221" fmla="*/ 2111 h 10000"/>
                  <a:gd name="connsiteX1222" fmla="*/ 5217 w 10586"/>
                  <a:gd name="connsiteY1222" fmla="*/ 2060 h 10000"/>
                  <a:gd name="connsiteX1223" fmla="*/ 5226 w 10586"/>
                  <a:gd name="connsiteY1223" fmla="*/ 2026 h 10000"/>
                  <a:gd name="connsiteX1224" fmla="*/ 5286 w 10586"/>
                  <a:gd name="connsiteY1224" fmla="*/ 2026 h 10000"/>
                  <a:gd name="connsiteX1225" fmla="*/ 5290 w 10586"/>
                  <a:gd name="connsiteY1225" fmla="*/ 2034 h 10000"/>
                  <a:gd name="connsiteX1226" fmla="*/ 5323 w 10586"/>
                  <a:gd name="connsiteY1226" fmla="*/ 1923 h 10000"/>
                  <a:gd name="connsiteX1227" fmla="*/ 5323 w 10586"/>
                  <a:gd name="connsiteY1227" fmla="*/ 1889 h 10000"/>
                  <a:gd name="connsiteX1228" fmla="*/ 5359 w 10586"/>
                  <a:gd name="connsiteY1228" fmla="*/ 1829 h 10000"/>
                  <a:gd name="connsiteX1229" fmla="*/ 5378 w 10586"/>
                  <a:gd name="connsiteY1229" fmla="*/ 1812 h 10000"/>
                  <a:gd name="connsiteX1230" fmla="*/ 5406 w 10586"/>
                  <a:gd name="connsiteY1230" fmla="*/ 1752 h 10000"/>
                  <a:gd name="connsiteX1231" fmla="*/ 5410 w 10586"/>
                  <a:gd name="connsiteY1231" fmla="*/ 1718 h 10000"/>
                  <a:gd name="connsiteX1232" fmla="*/ 5438 w 10586"/>
                  <a:gd name="connsiteY1232" fmla="*/ 1667 h 10000"/>
                  <a:gd name="connsiteX1233" fmla="*/ 5438 w 10586"/>
                  <a:gd name="connsiteY1233" fmla="*/ 1650 h 10000"/>
                  <a:gd name="connsiteX1234" fmla="*/ 5438 w 10586"/>
                  <a:gd name="connsiteY1234" fmla="*/ 1641 h 10000"/>
                  <a:gd name="connsiteX1235" fmla="*/ 5452 w 10586"/>
                  <a:gd name="connsiteY1235" fmla="*/ 1641 h 10000"/>
                  <a:gd name="connsiteX1236" fmla="*/ 5456 w 10586"/>
                  <a:gd name="connsiteY1236" fmla="*/ 1615 h 10000"/>
                  <a:gd name="connsiteX1237" fmla="*/ 5456 w 10586"/>
                  <a:gd name="connsiteY1237" fmla="*/ 1615 h 10000"/>
                  <a:gd name="connsiteX1238" fmla="*/ 5465 w 10586"/>
                  <a:gd name="connsiteY1238" fmla="*/ 1598 h 10000"/>
                  <a:gd name="connsiteX1239" fmla="*/ 5465 w 10586"/>
                  <a:gd name="connsiteY1239" fmla="*/ 1615 h 10000"/>
                  <a:gd name="connsiteX1240" fmla="*/ 5479 w 10586"/>
                  <a:gd name="connsiteY1240" fmla="*/ 1598 h 10000"/>
                  <a:gd name="connsiteX1241" fmla="*/ 5484 w 10586"/>
                  <a:gd name="connsiteY1241" fmla="*/ 1581 h 10000"/>
                  <a:gd name="connsiteX1242" fmla="*/ 5493 w 10586"/>
                  <a:gd name="connsiteY1242" fmla="*/ 1581 h 10000"/>
                  <a:gd name="connsiteX1243" fmla="*/ 5512 w 10586"/>
                  <a:gd name="connsiteY1243" fmla="*/ 1538 h 10000"/>
                  <a:gd name="connsiteX1244" fmla="*/ 5530 w 10586"/>
                  <a:gd name="connsiteY1244" fmla="*/ 1564 h 10000"/>
                  <a:gd name="connsiteX1245" fmla="*/ 5530 w 10586"/>
                  <a:gd name="connsiteY1245" fmla="*/ 1538 h 10000"/>
                  <a:gd name="connsiteX1246" fmla="*/ 5539 w 10586"/>
                  <a:gd name="connsiteY1246" fmla="*/ 1530 h 10000"/>
                  <a:gd name="connsiteX1247" fmla="*/ 5530 w 10586"/>
                  <a:gd name="connsiteY1247" fmla="*/ 1504 h 10000"/>
                  <a:gd name="connsiteX1248" fmla="*/ 5567 w 10586"/>
                  <a:gd name="connsiteY1248" fmla="*/ 1479 h 10000"/>
                  <a:gd name="connsiteX1249" fmla="*/ 5553 w 10586"/>
                  <a:gd name="connsiteY1249" fmla="*/ 1479 h 10000"/>
                  <a:gd name="connsiteX1250" fmla="*/ 5553 w 10586"/>
                  <a:gd name="connsiteY1250" fmla="*/ 1453 h 10000"/>
                  <a:gd name="connsiteX1251" fmla="*/ 5581 w 10586"/>
                  <a:gd name="connsiteY1251" fmla="*/ 1444 h 10000"/>
                  <a:gd name="connsiteX1252" fmla="*/ 5581 w 10586"/>
                  <a:gd name="connsiteY1252" fmla="*/ 1453 h 10000"/>
                  <a:gd name="connsiteX1253" fmla="*/ 5585 w 10586"/>
                  <a:gd name="connsiteY1253" fmla="*/ 1444 h 10000"/>
                  <a:gd name="connsiteX1254" fmla="*/ 5594 w 10586"/>
                  <a:gd name="connsiteY1254" fmla="*/ 1427 h 10000"/>
                  <a:gd name="connsiteX1255" fmla="*/ 5599 w 10586"/>
                  <a:gd name="connsiteY1255" fmla="*/ 1419 h 10000"/>
                  <a:gd name="connsiteX1256" fmla="*/ 5594 w 10586"/>
                  <a:gd name="connsiteY1256" fmla="*/ 1402 h 10000"/>
                  <a:gd name="connsiteX1257" fmla="*/ 5604 w 10586"/>
                  <a:gd name="connsiteY1257" fmla="*/ 1393 h 10000"/>
                  <a:gd name="connsiteX1258" fmla="*/ 5618 w 10586"/>
                  <a:gd name="connsiteY1258" fmla="*/ 1393 h 10000"/>
                  <a:gd name="connsiteX1259" fmla="*/ 5627 w 10586"/>
                  <a:gd name="connsiteY1259" fmla="*/ 1368 h 10000"/>
                  <a:gd name="connsiteX1260" fmla="*/ 5627 w 10586"/>
                  <a:gd name="connsiteY1260" fmla="*/ 1325 h 10000"/>
                  <a:gd name="connsiteX1261" fmla="*/ 5645 w 10586"/>
                  <a:gd name="connsiteY1261" fmla="*/ 1291 h 10000"/>
                  <a:gd name="connsiteX1262" fmla="*/ 5645 w 10586"/>
                  <a:gd name="connsiteY1262" fmla="*/ 1282 h 10000"/>
                  <a:gd name="connsiteX1263" fmla="*/ 5654 w 10586"/>
                  <a:gd name="connsiteY1263" fmla="*/ 1265 h 10000"/>
                  <a:gd name="connsiteX1264" fmla="*/ 5654 w 10586"/>
                  <a:gd name="connsiteY1264" fmla="*/ 1214 h 10000"/>
                  <a:gd name="connsiteX1265" fmla="*/ 5654 w 10586"/>
                  <a:gd name="connsiteY1265" fmla="*/ 1214 h 10000"/>
                  <a:gd name="connsiteX1266" fmla="*/ 5645 w 10586"/>
                  <a:gd name="connsiteY1266" fmla="*/ 1197 h 10000"/>
                  <a:gd name="connsiteX1267" fmla="*/ 5659 w 10586"/>
                  <a:gd name="connsiteY1267" fmla="*/ 1197 h 10000"/>
                  <a:gd name="connsiteX1268" fmla="*/ 5654 w 10586"/>
                  <a:gd name="connsiteY1268" fmla="*/ 1154 h 10000"/>
                  <a:gd name="connsiteX1269" fmla="*/ 5641 w 10586"/>
                  <a:gd name="connsiteY1269" fmla="*/ 1154 h 10000"/>
                  <a:gd name="connsiteX1270" fmla="*/ 5627 w 10586"/>
                  <a:gd name="connsiteY1270" fmla="*/ 1128 h 10000"/>
                  <a:gd name="connsiteX1271" fmla="*/ 5618 w 10586"/>
                  <a:gd name="connsiteY1271" fmla="*/ 1094 h 10000"/>
                  <a:gd name="connsiteX1272" fmla="*/ 5613 w 10586"/>
                  <a:gd name="connsiteY1272" fmla="*/ 1094 h 10000"/>
                  <a:gd name="connsiteX1273" fmla="*/ 5604 w 10586"/>
                  <a:gd name="connsiteY1273" fmla="*/ 1120 h 10000"/>
                  <a:gd name="connsiteX1274" fmla="*/ 5604 w 10586"/>
                  <a:gd name="connsiteY1274" fmla="*/ 1128 h 10000"/>
                  <a:gd name="connsiteX1275" fmla="*/ 5599 w 10586"/>
                  <a:gd name="connsiteY1275" fmla="*/ 1103 h 10000"/>
                  <a:gd name="connsiteX1276" fmla="*/ 5599 w 10586"/>
                  <a:gd name="connsiteY1276" fmla="*/ 1103 h 10000"/>
                  <a:gd name="connsiteX1277" fmla="*/ 5594 w 10586"/>
                  <a:gd name="connsiteY1277" fmla="*/ 1068 h 10000"/>
                  <a:gd name="connsiteX1278" fmla="*/ 5594 w 10586"/>
                  <a:gd name="connsiteY1278" fmla="*/ 1060 h 10000"/>
                  <a:gd name="connsiteX1279" fmla="*/ 5581 w 10586"/>
                  <a:gd name="connsiteY1279" fmla="*/ 1034 h 10000"/>
                  <a:gd name="connsiteX1280" fmla="*/ 5571 w 10586"/>
                  <a:gd name="connsiteY1280" fmla="*/ 1009 h 10000"/>
                  <a:gd name="connsiteX1281" fmla="*/ 5571 w 10586"/>
                  <a:gd name="connsiteY1281" fmla="*/ 991 h 10000"/>
                  <a:gd name="connsiteX1282" fmla="*/ 5585 w 10586"/>
                  <a:gd name="connsiteY1282" fmla="*/ 1009 h 10000"/>
                  <a:gd name="connsiteX1283" fmla="*/ 5604 w 10586"/>
                  <a:gd name="connsiteY1283" fmla="*/ 1043 h 10000"/>
                  <a:gd name="connsiteX1284" fmla="*/ 5641 w 10586"/>
                  <a:gd name="connsiteY1284" fmla="*/ 1094 h 10000"/>
                  <a:gd name="connsiteX1285" fmla="*/ 5631 w 10586"/>
                  <a:gd name="connsiteY1285" fmla="*/ 1128 h 10000"/>
                  <a:gd name="connsiteX1286" fmla="*/ 5641 w 10586"/>
                  <a:gd name="connsiteY1286" fmla="*/ 1128 h 10000"/>
                  <a:gd name="connsiteX1287" fmla="*/ 5659 w 10586"/>
                  <a:gd name="connsiteY1287" fmla="*/ 1017 h 10000"/>
                  <a:gd name="connsiteX1288" fmla="*/ 5659 w 10586"/>
                  <a:gd name="connsiteY1288" fmla="*/ 983 h 10000"/>
                  <a:gd name="connsiteX1289" fmla="*/ 5659 w 10586"/>
                  <a:gd name="connsiteY1289" fmla="*/ 957 h 10000"/>
                  <a:gd name="connsiteX1290" fmla="*/ 5654 w 10586"/>
                  <a:gd name="connsiteY1290" fmla="*/ 966 h 10000"/>
                  <a:gd name="connsiteX1291" fmla="*/ 5641 w 10586"/>
                  <a:gd name="connsiteY1291" fmla="*/ 957 h 10000"/>
                  <a:gd name="connsiteX1292" fmla="*/ 5631 w 10586"/>
                  <a:gd name="connsiteY1292" fmla="*/ 897 h 10000"/>
                  <a:gd name="connsiteX1293" fmla="*/ 5641 w 10586"/>
                  <a:gd name="connsiteY1293" fmla="*/ 872 h 10000"/>
                  <a:gd name="connsiteX1294" fmla="*/ 5618 w 10586"/>
                  <a:gd name="connsiteY1294" fmla="*/ 803 h 10000"/>
                  <a:gd name="connsiteX1295" fmla="*/ 5604 w 10586"/>
                  <a:gd name="connsiteY1295" fmla="*/ 821 h 10000"/>
                  <a:gd name="connsiteX1296" fmla="*/ 5613 w 10586"/>
                  <a:gd name="connsiteY1296" fmla="*/ 846 h 10000"/>
                  <a:gd name="connsiteX1297" fmla="*/ 5604 w 10586"/>
                  <a:gd name="connsiteY1297" fmla="*/ 855 h 10000"/>
                  <a:gd name="connsiteX1298" fmla="*/ 5599 w 10586"/>
                  <a:gd name="connsiteY1298" fmla="*/ 880 h 10000"/>
                  <a:gd name="connsiteX1299" fmla="*/ 5594 w 10586"/>
                  <a:gd name="connsiteY1299" fmla="*/ 880 h 10000"/>
                  <a:gd name="connsiteX1300" fmla="*/ 5585 w 10586"/>
                  <a:gd name="connsiteY1300" fmla="*/ 829 h 10000"/>
                  <a:gd name="connsiteX1301" fmla="*/ 5571 w 10586"/>
                  <a:gd name="connsiteY1301" fmla="*/ 803 h 10000"/>
                  <a:gd name="connsiteX1302" fmla="*/ 5585 w 10586"/>
                  <a:gd name="connsiteY1302" fmla="*/ 795 h 10000"/>
                  <a:gd name="connsiteX1303" fmla="*/ 5585 w 10586"/>
                  <a:gd name="connsiteY1303" fmla="*/ 761 h 10000"/>
                  <a:gd name="connsiteX1304" fmla="*/ 5558 w 10586"/>
                  <a:gd name="connsiteY1304" fmla="*/ 709 h 10000"/>
                  <a:gd name="connsiteX1305" fmla="*/ 5544 w 10586"/>
                  <a:gd name="connsiteY1305" fmla="*/ 709 h 10000"/>
                  <a:gd name="connsiteX1306" fmla="*/ 5544 w 10586"/>
                  <a:gd name="connsiteY1306" fmla="*/ 684 h 10000"/>
                  <a:gd name="connsiteX1307" fmla="*/ 5525 w 10586"/>
                  <a:gd name="connsiteY1307" fmla="*/ 632 h 10000"/>
                  <a:gd name="connsiteX1308" fmla="*/ 5507 w 10586"/>
                  <a:gd name="connsiteY1308" fmla="*/ 607 h 10000"/>
                  <a:gd name="connsiteX1309" fmla="*/ 5512 w 10586"/>
                  <a:gd name="connsiteY1309" fmla="*/ 598 h 10000"/>
                  <a:gd name="connsiteX1310" fmla="*/ 5507 w 10586"/>
                  <a:gd name="connsiteY1310" fmla="*/ 581 h 10000"/>
                  <a:gd name="connsiteX1311" fmla="*/ 5493 w 10586"/>
                  <a:gd name="connsiteY1311" fmla="*/ 573 h 10000"/>
                  <a:gd name="connsiteX1312" fmla="*/ 5484 w 10586"/>
                  <a:gd name="connsiteY1312" fmla="*/ 581 h 10000"/>
                  <a:gd name="connsiteX1313" fmla="*/ 5484 w 10586"/>
                  <a:gd name="connsiteY1313" fmla="*/ 573 h 10000"/>
                  <a:gd name="connsiteX1314" fmla="*/ 5484 w 10586"/>
                  <a:gd name="connsiteY1314" fmla="*/ 547 h 10000"/>
                  <a:gd name="connsiteX1315" fmla="*/ 5465 w 10586"/>
                  <a:gd name="connsiteY1315" fmla="*/ 556 h 10000"/>
                  <a:gd name="connsiteX1316" fmla="*/ 5433 w 10586"/>
                  <a:gd name="connsiteY1316" fmla="*/ 547 h 10000"/>
                  <a:gd name="connsiteX1317" fmla="*/ 5410 w 10586"/>
                  <a:gd name="connsiteY1317" fmla="*/ 573 h 10000"/>
                  <a:gd name="connsiteX1318" fmla="*/ 5406 w 10586"/>
                  <a:gd name="connsiteY1318" fmla="*/ 573 h 10000"/>
                  <a:gd name="connsiteX1319" fmla="*/ 5392 w 10586"/>
                  <a:gd name="connsiteY1319" fmla="*/ 573 h 10000"/>
                  <a:gd name="connsiteX1320" fmla="*/ 5364 w 10586"/>
                  <a:gd name="connsiteY1320" fmla="*/ 530 h 10000"/>
                  <a:gd name="connsiteX1321" fmla="*/ 5350 w 10586"/>
                  <a:gd name="connsiteY1321" fmla="*/ 556 h 10000"/>
                  <a:gd name="connsiteX1322" fmla="*/ 5346 w 10586"/>
                  <a:gd name="connsiteY1322" fmla="*/ 556 h 10000"/>
                  <a:gd name="connsiteX1323" fmla="*/ 5313 w 10586"/>
                  <a:gd name="connsiteY1323" fmla="*/ 573 h 10000"/>
                  <a:gd name="connsiteX1324" fmla="*/ 5304 w 10586"/>
                  <a:gd name="connsiteY1324" fmla="*/ 556 h 10000"/>
                  <a:gd name="connsiteX1325" fmla="*/ 5290 w 10586"/>
                  <a:gd name="connsiteY1325" fmla="*/ 573 h 10000"/>
                  <a:gd name="connsiteX1326" fmla="*/ 5290 w 10586"/>
                  <a:gd name="connsiteY1326" fmla="*/ 556 h 10000"/>
                  <a:gd name="connsiteX1327" fmla="*/ 5300 w 10586"/>
                  <a:gd name="connsiteY1327" fmla="*/ 547 h 10000"/>
                  <a:gd name="connsiteX1328" fmla="*/ 5300 w 10586"/>
                  <a:gd name="connsiteY1328" fmla="*/ 530 h 10000"/>
                  <a:gd name="connsiteX1329" fmla="*/ 5290 w 10586"/>
                  <a:gd name="connsiteY1329" fmla="*/ 530 h 10000"/>
                  <a:gd name="connsiteX1330" fmla="*/ 5286 w 10586"/>
                  <a:gd name="connsiteY1330" fmla="*/ 547 h 10000"/>
                  <a:gd name="connsiteX1331" fmla="*/ 5272 w 10586"/>
                  <a:gd name="connsiteY1331" fmla="*/ 556 h 10000"/>
                  <a:gd name="connsiteX1332" fmla="*/ 5272 w 10586"/>
                  <a:gd name="connsiteY1332" fmla="*/ 598 h 10000"/>
                  <a:gd name="connsiteX1333" fmla="*/ 5276 w 10586"/>
                  <a:gd name="connsiteY1333" fmla="*/ 581 h 10000"/>
                  <a:gd name="connsiteX1334" fmla="*/ 5272 w 10586"/>
                  <a:gd name="connsiteY1334" fmla="*/ 607 h 10000"/>
                  <a:gd name="connsiteX1335" fmla="*/ 5263 w 10586"/>
                  <a:gd name="connsiteY1335" fmla="*/ 607 h 10000"/>
                  <a:gd name="connsiteX1336" fmla="*/ 5263 w 10586"/>
                  <a:gd name="connsiteY1336" fmla="*/ 632 h 10000"/>
                  <a:gd name="connsiteX1337" fmla="*/ 5258 w 10586"/>
                  <a:gd name="connsiteY1337" fmla="*/ 658 h 10000"/>
                  <a:gd name="connsiteX1338" fmla="*/ 5244 w 10586"/>
                  <a:gd name="connsiteY1338" fmla="*/ 667 h 10000"/>
                  <a:gd name="connsiteX1339" fmla="*/ 5240 w 10586"/>
                  <a:gd name="connsiteY1339" fmla="*/ 658 h 10000"/>
                  <a:gd name="connsiteX1340" fmla="*/ 5240 w 10586"/>
                  <a:gd name="connsiteY1340" fmla="*/ 684 h 10000"/>
                  <a:gd name="connsiteX1341" fmla="*/ 5212 w 10586"/>
                  <a:gd name="connsiteY1341" fmla="*/ 684 h 10000"/>
                  <a:gd name="connsiteX1342" fmla="*/ 5198 w 10586"/>
                  <a:gd name="connsiteY1342" fmla="*/ 692 h 10000"/>
                  <a:gd name="connsiteX1343" fmla="*/ 5184 w 10586"/>
                  <a:gd name="connsiteY1343" fmla="*/ 684 h 10000"/>
                  <a:gd name="connsiteX1344" fmla="*/ 5157 w 10586"/>
                  <a:gd name="connsiteY1344" fmla="*/ 684 h 10000"/>
                  <a:gd name="connsiteX1345" fmla="*/ 5157 w 10586"/>
                  <a:gd name="connsiteY1345" fmla="*/ 667 h 10000"/>
                  <a:gd name="connsiteX1346" fmla="*/ 5157 w 10586"/>
                  <a:gd name="connsiteY1346" fmla="*/ 667 h 10000"/>
                  <a:gd name="connsiteX1347" fmla="*/ 5180 w 10586"/>
                  <a:gd name="connsiteY1347" fmla="*/ 650 h 10000"/>
                  <a:gd name="connsiteX1348" fmla="*/ 5184 w 10586"/>
                  <a:gd name="connsiteY1348" fmla="*/ 658 h 10000"/>
                  <a:gd name="connsiteX1349" fmla="*/ 5203 w 10586"/>
                  <a:gd name="connsiteY1349" fmla="*/ 547 h 10000"/>
                  <a:gd name="connsiteX1350" fmla="*/ 5226 w 10586"/>
                  <a:gd name="connsiteY1350" fmla="*/ 530 h 10000"/>
                  <a:gd name="connsiteX1351" fmla="*/ 5230 w 10586"/>
                  <a:gd name="connsiteY1351" fmla="*/ 487 h 10000"/>
                  <a:gd name="connsiteX1352" fmla="*/ 5230 w 10586"/>
                  <a:gd name="connsiteY1352" fmla="*/ 487 h 10000"/>
                  <a:gd name="connsiteX1353" fmla="*/ 5226 w 10586"/>
                  <a:gd name="connsiteY1353" fmla="*/ 462 h 10000"/>
                  <a:gd name="connsiteX1354" fmla="*/ 5226 w 10586"/>
                  <a:gd name="connsiteY1354" fmla="*/ 462 h 10000"/>
                  <a:gd name="connsiteX1355" fmla="*/ 5240 w 10586"/>
                  <a:gd name="connsiteY1355" fmla="*/ 462 h 10000"/>
                  <a:gd name="connsiteX1356" fmla="*/ 5240 w 10586"/>
                  <a:gd name="connsiteY1356" fmla="*/ 444 h 10000"/>
                  <a:gd name="connsiteX1357" fmla="*/ 5230 w 10586"/>
                  <a:gd name="connsiteY1357" fmla="*/ 436 h 10000"/>
                  <a:gd name="connsiteX1358" fmla="*/ 5230 w 10586"/>
                  <a:gd name="connsiteY1358" fmla="*/ 419 h 10000"/>
                  <a:gd name="connsiteX1359" fmla="*/ 5230 w 10586"/>
                  <a:gd name="connsiteY1359" fmla="*/ 410 h 10000"/>
                  <a:gd name="connsiteX1360" fmla="*/ 5198 w 10586"/>
                  <a:gd name="connsiteY1360" fmla="*/ 402 h 10000"/>
                  <a:gd name="connsiteX1361" fmla="*/ 5189 w 10586"/>
                  <a:gd name="connsiteY1361" fmla="*/ 402 h 10000"/>
                  <a:gd name="connsiteX1362" fmla="*/ 5184 w 10586"/>
                  <a:gd name="connsiteY1362" fmla="*/ 376 h 10000"/>
                  <a:gd name="connsiteX1363" fmla="*/ 5180 w 10586"/>
                  <a:gd name="connsiteY1363" fmla="*/ 376 h 10000"/>
                  <a:gd name="connsiteX1364" fmla="*/ 5166 w 10586"/>
                  <a:gd name="connsiteY1364" fmla="*/ 376 h 10000"/>
                  <a:gd name="connsiteX1365" fmla="*/ 5157 w 10586"/>
                  <a:gd name="connsiteY1365" fmla="*/ 385 h 10000"/>
                  <a:gd name="connsiteX1366" fmla="*/ 5152 w 10586"/>
                  <a:gd name="connsiteY1366" fmla="*/ 376 h 10000"/>
                  <a:gd name="connsiteX1367" fmla="*/ 5129 w 10586"/>
                  <a:gd name="connsiteY1367" fmla="*/ 385 h 10000"/>
                  <a:gd name="connsiteX1368" fmla="*/ 5129 w 10586"/>
                  <a:gd name="connsiteY1368" fmla="*/ 350 h 10000"/>
                  <a:gd name="connsiteX1369" fmla="*/ 5129 w 10586"/>
                  <a:gd name="connsiteY1369" fmla="*/ 325 h 10000"/>
                  <a:gd name="connsiteX1370" fmla="*/ 5124 w 10586"/>
                  <a:gd name="connsiteY1370" fmla="*/ 359 h 10000"/>
                  <a:gd name="connsiteX1371" fmla="*/ 5106 w 10586"/>
                  <a:gd name="connsiteY1371" fmla="*/ 359 h 10000"/>
                  <a:gd name="connsiteX1372" fmla="*/ 5037 w 10586"/>
                  <a:gd name="connsiteY1372" fmla="*/ 419 h 10000"/>
                  <a:gd name="connsiteX1373" fmla="*/ 5051 w 10586"/>
                  <a:gd name="connsiteY1373" fmla="*/ 385 h 10000"/>
                  <a:gd name="connsiteX1374" fmla="*/ 5055 w 10586"/>
                  <a:gd name="connsiteY1374" fmla="*/ 376 h 10000"/>
                  <a:gd name="connsiteX1375" fmla="*/ 5092 w 10586"/>
                  <a:gd name="connsiteY1375" fmla="*/ 282 h 10000"/>
                  <a:gd name="connsiteX1376" fmla="*/ 5106 w 10586"/>
                  <a:gd name="connsiteY1376" fmla="*/ 265 h 10000"/>
                  <a:gd name="connsiteX1377" fmla="*/ 5115 w 10586"/>
                  <a:gd name="connsiteY1377" fmla="*/ 265 h 10000"/>
                  <a:gd name="connsiteX1378" fmla="*/ 5124 w 10586"/>
                  <a:gd name="connsiteY1378" fmla="*/ 222 h 10000"/>
                  <a:gd name="connsiteX1379" fmla="*/ 5124 w 10586"/>
                  <a:gd name="connsiteY1379" fmla="*/ 214 h 10000"/>
                  <a:gd name="connsiteX1380" fmla="*/ 5143 w 10586"/>
                  <a:gd name="connsiteY1380" fmla="*/ 197 h 10000"/>
                  <a:gd name="connsiteX1381" fmla="*/ 5152 w 10586"/>
                  <a:gd name="connsiteY1381" fmla="*/ 214 h 10000"/>
                  <a:gd name="connsiteX1382" fmla="*/ 5143 w 10586"/>
                  <a:gd name="connsiteY1382" fmla="*/ 188 h 10000"/>
                  <a:gd name="connsiteX1383" fmla="*/ 5129 w 10586"/>
                  <a:gd name="connsiteY1383" fmla="*/ 103 h 10000"/>
                  <a:gd name="connsiteX1384" fmla="*/ 5115 w 10586"/>
                  <a:gd name="connsiteY1384" fmla="*/ 85 h 10000"/>
                  <a:gd name="connsiteX1385" fmla="*/ 5111 w 10586"/>
                  <a:gd name="connsiteY1385" fmla="*/ 111 h 10000"/>
                  <a:gd name="connsiteX1386" fmla="*/ 5092 w 10586"/>
                  <a:gd name="connsiteY1386" fmla="*/ 103 h 10000"/>
                  <a:gd name="connsiteX1387" fmla="*/ 5069 w 10586"/>
                  <a:gd name="connsiteY1387" fmla="*/ 77 h 10000"/>
                  <a:gd name="connsiteX1388" fmla="*/ 5051 w 10586"/>
                  <a:gd name="connsiteY1388" fmla="*/ 26 h 10000"/>
                  <a:gd name="connsiteX1389" fmla="*/ 5041 w 10586"/>
                  <a:gd name="connsiteY1389" fmla="*/ 34 h 10000"/>
                  <a:gd name="connsiteX1390" fmla="*/ 5037 w 10586"/>
                  <a:gd name="connsiteY1390" fmla="*/ 34 h 10000"/>
                  <a:gd name="connsiteX1391" fmla="*/ 5037 w 10586"/>
                  <a:gd name="connsiteY1391" fmla="*/ 26 h 10000"/>
                  <a:gd name="connsiteX1392" fmla="*/ 5037 w 10586"/>
                  <a:gd name="connsiteY1392" fmla="*/ 9 h 10000"/>
                  <a:gd name="connsiteX1393" fmla="*/ 5023 w 10586"/>
                  <a:gd name="connsiteY1393" fmla="*/ 0 h 10000"/>
                  <a:gd name="connsiteX1394" fmla="*/ 5009 w 10586"/>
                  <a:gd name="connsiteY1394" fmla="*/ 9 h 10000"/>
                  <a:gd name="connsiteX1395" fmla="*/ 4995 w 10586"/>
                  <a:gd name="connsiteY1395" fmla="*/ 34 h 10000"/>
                  <a:gd name="connsiteX1396" fmla="*/ 4991 w 10586"/>
                  <a:gd name="connsiteY1396" fmla="*/ 60 h 10000"/>
                  <a:gd name="connsiteX1397" fmla="*/ 4982 w 10586"/>
                  <a:gd name="connsiteY1397" fmla="*/ 60 h 10000"/>
                  <a:gd name="connsiteX1398" fmla="*/ 4949 w 10586"/>
                  <a:gd name="connsiteY1398" fmla="*/ 51 h 10000"/>
                  <a:gd name="connsiteX1399" fmla="*/ 4949 w 10586"/>
                  <a:gd name="connsiteY1399" fmla="*/ 85 h 10000"/>
                  <a:gd name="connsiteX1400" fmla="*/ 4903 w 10586"/>
                  <a:gd name="connsiteY1400" fmla="*/ 197 h 10000"/>
                  <a:gd name="connsiteX1401" fmla="*/ 4899 w 10586"/>
                  <a:gd name="connsiteY1401" fmla="*/ 239 h 10000"/>
                  <a:gd name="connsiteX1402" fmla="*/ 4871 w 10586"/>
                  <a:gd name="connsiteY1402" fmla="*/ 274 h 10000"/>
                  <a:gd name="connsiteX1403" fmla="*/ 4871 w 10586"/>
                  <a:gd name="connsiteY1403" fmla="*/ 282 h 10000"/>
                  <a:gd name="connsiteX1404" fmla="*/ 4834 w 10586"/>
                  <a:gd name="connsiteY1404" fmla="*/ 376 h 10000"/>
                  <a:gd name="connsiteX1405" fmla="*/ 4829 w 10586"/>
                  <a:gd name="connsiteY1405" fmla="*/ 402 h 10000"/>
                  <a:gd name="connsiteX1406" fmla="*/ 4834 w 10586"/>
                  <a:gd name="connsiteY1406" fmla="*/ 410 h 10000"/>
                  <a:gd name="connsiteX1407" fmla="*/ 4829 w 10586"/>
                  <a:gd name="connsiteY1407" fmla="*/ 436 h 10000"/>
                  <a:gd name="connsiteX1408" fmla="*/ 4825 w 10586"/>
                  <a:gd name="connsiteY1408" fmla="*/ 436 h 10000"/>
                  <a:gd name="connsiteX1409" fmla="*/ 4825 w 10586"/>
                  <a:gd name="connsiteY1409" fmla="*/ 444 h 10000"/>
                  <a:gd name="connsiteX1410" fmla="*/ 4811 w 10586"/>
                  <a:gd name="connsiteY1410" fmla="*/ 496 h 10000"/>
                  <a:gd name="connsiteX1411" fmla="*/ 4811 w 10586"/>
                  <a:gd name="connsiteY1411" fmla="*/ 496 h 10000"/>
                  <a:gd name="connsiteX1412" fmla="*/ 4811 w 10586"/>
                  <a:gd name="connsiteY1412" fmla="*/ 521 h 10000"/>
                  <a:gd name="connsiteX1413" fmla="*/ 4816 w 10586"/>
                  <a:gd name="connsiteY1413" fmla="*/ 530 h 10000"/>
                  <a:gd name="connsiteX1414" fmla="*/ 4834 w 10586"/>
                  <a:gd name="connsiteY1414" fmla="*/ 547 h 10000"/>
                  <a:gd name="connsiteX1415" fmla="*/ 4834 w 10586"/>
                  <a:gd name="connsiteY1415" fmla="*/ 581 h 10000"/>
                  <a:gd name="connsiteX1416" fmla="*/ 4843 w 10586"/>
                  <a:gd name="connsiteY1416" fmla="*/ 581 h 10000"/>
                  <a:gd name="connsiteX1417" fmla="*/ 4843 w 10586"/>
                  <a:gd name="connsiteY1417" fmla="*/ 598 h 10000"/>
                  <a:gd name="connsiteX1418" fmla="*/ 4829 w 10586"/>
                  <a:gd name="connsiteY1418" fmla="*/ 598 h 10000"/>
                  <a:gd name="connsiteX1419" fmla="*/ 4829 w 10586"/>
                  <a:gd name="connsiteY1419" fmla="*/ 573 h 10000"/>
                  <a:gd name="connsiteX1420" fmla="*/ 4829 w 10586"/>
                  <a:gd name="connsiteY1420" fmla="*/ 632 h 10000"/>
                  <a:gd name="connsiteX1421" fmla="*/ 4829 w 10586"/>
                  <a:gd name="connsiteY1421" fmla="*/ 632 h 10000"/>
                  <a:gd name="connsiteX1422" fmla="*/ 4829 w 10586"/>
                  <a:gd name="connsiteY1422" fmla="*/ 650 h 10000"/>
                  <a:gd name="connsiteX1423" fmla="*/ 4774 w 10586"/>
                  <a:gd name="connsiteY1423" fmla="*/ 684 h 10000"/>
                  <a:gd name="connsiteX1424" fmla="*/ 4756 w 10586"/>
                  <a:gd name="connsiteY1424" fmla="*/ 684 h 10000"/>
                  <a:gd name="connsiteX1425" fmla="*/ 4737 w 10586"/>
                  <a:gd name="connsiteY1425" fmla="*/ 692 h 10000"/>
                  <a:gd name="connsiteX1426" fmla="*/ 4677 w 10586"/>
                  <a:gd name="connsiteY1426" fmla="*/ 667 h 10000"/>
                  <a:gd name="connsiteX1427" fmla="*/ 4682 w 10586"/>
                  <a:gd name="connsiteY1427" fmla="*/ 692 h 10000"/>
                  <a:gd name="connsiteX1428" fmla="*/ 4682 w 10586"/>
                  <a:gd name="connsiteY1428" fmla="*/ 709 h 10000"/>
                  <a:gd name="connsiteX1429" fmla="*/ 4691 w 10586"/>
                  <a:gd name="connsiteY1429" fmla="*/ 718 h 10000"/>
                  <a:gd name="connsiteX1430" fmla="*/ 4691 w 10586"/>
                  <a:gd name="connsiteY1430" fmla="*/ 744 h 10000"/>
                  <a:gd name="connsiteX1431" fmla="*/ 4700 w 10586"/>
                  <a:gd name="connsiteY1431" fmla="*/ 744 h 10000"/>
                  <a:gd name="connsiteX1432" fmla="*/ 4714 w 10586"/>
                  <a:gd name="connsiteY1432" fmla="*/ 769 h 10000"/>
                  <a:gd name="connsiteX1433" fmla="*/ 4710 w 10586"/>
                  <a:gd name="connsiteY1433" fmla="*/ 786 h 10000"/>
                  <a:gd name="connsiteX1434" fmla="*/ 4737 w 10586"/>
                  <a:gd name="connsiteY1434" fmla="*/ 786 h 10000"/>
                  <a:gd name="connsiteX1435" fmla="*/ 4742 w 10586"/>
                  <a:gd name="connsiteY1435" fmla="*/ 795 h 10000"/>
                  <a:gd name="connsiteX1436" fmla="*/ 4742 w 10586"/>
                  <a:gd name="connsiteY1436" fmla="*/ 803 h 10000"/>
                  <a:gd name="connsiteX1437" fmla="*/ 4737 w 10586"/>
                  <a:gd name="connsiteY1437" fmla="*/ 846 h 10000"/>
                  <a:gd name="connsiteX1438" fmla="*/ 4737 w 10586"/>
                  <a:gd name="connsiteY1438" fmla="*/ 880 h 10000"/>
                  <a:gd name="connsiteX1439" fmla="*/ 4737 w 10586"/>
                  <a:gd name="connsiteY1439" fmla="*/ 906 h 10000"/>
                  <a:gd name="connsiteX1440" fmla="*/ 4724 w 10586"/>
                  <a:gd name="connsiteY1440" fmla="*/ 897 h 10000"/>
                  <a:gd name="connsiteX1441" fmla="*/ 4724 w 10586"/>
                  <a:gd name="connsiteY1441" fmla="*/ 872 h 10000"/>
                  <a:gd name="connsiteX1442" fmla="*/ 4714 w 10586"/>
                  <a:gd name="connsiteY1442" fmla="*/ 855 h 10000"/>
                  <a:gd name="connsiteX1443" fmla="*/ 4691 w 10586"/>
                  <a:gd name="connsiteY1443" fmla="*/ 846 h 10000"/>
                  <a:gd name="connsiteX1444" fmla="*/ 4691 w 10586"/>
                  <a:gd name="connsiteY1444" fmla="*/ 846 h 10000"/>
                  <a:gd name="connsiteX1445" fmla="*/ 4696 w 10586"/>
                  <a:gd name="connsiteY1445" fmla="*/ 821 h 10000"/>
                  <a:gd name="connsiteX1446" fmla="*/ 4691 w 10586"/>
                  <a:gd name="connsiteY1446" fmla="*/ 803 h 10000"/>
                  <a:gd name="connsiteX1447" fmla="*/ 4668 w 10586"/>
                  <a:gd name="connsiteY1447" fmla="*/ 821 h 10000"/>
                  <a:gd name="connsiteX1448" fmla="*/ 4668 w 10586"/>
                  <a:gd name="connsiteY1448" fmla="*/ 786 h 10000"/>
                  <a:gd name="connsiteX1449" fmla="*/ 4664 w 10586"/>
                  <a:gd name="connsiteY1449" fmla="*/ 786 h 10000"/>
                  <a:gd name="connsiteX1450" fmla="*/ 4622 w 10586"/>
                  <a:gd name="connsiteY1450" fmla="*/ 846 h 10000"/>
                  <a:gd name="connsiteX1451" fmla="*/ 4627 w 10586"/>
                  <a:gd name="connsiteY1451" fmla="*/ 872 h 10000"/>
                  <a:gd name="connsiteX1452" fmla="*/ 4622 w 10586"/>
                  <a:gd name="connsiteY1452" fmla="*/ 880 h 10000"/>
                  <a:gd name="connsiteX1453" fmla="*/ 4622 w 10586"/>
                  <a:gd name="connsiteY1453" fmla="*/ 880 h 10000"/>
                  <a:gd name="connsiteX1454" fmla="*/ 4618 w 10586"/>
                  <a:gd name="connsiteY1454" fmla="*/ 872 h 10000"/>
                  <a:gd name="connsiteX1455" fmla="*/ 4604 w 10586"/>
                  <a:gd name="connsiteY1455" fmla="*/ 880 h 10000"/>
                  <a:gd name="connsiteX1456" fmla="*/ 4594 w 10586"/>
                  <a:gd name="connsiteY1456" fmla="*/ 906 h 10000"/>
                  <a:gd name="connsiteX1457" fmla="*/ 4604 w 10586"/>
                  <a:gd name="connsiteY1457" fmla="*/ 906 h 10000"/>
                  <a:gd name="connsiteX1458" fmla="*/ 4608 w 10586"/>
                  <a:gd name="connsiteY1458" fmla="*/ 906 h 10000"/>
                  <a:gd name="connsiteX1459" fmla="*/ 4608 w 10586"/>
                  <a:gd name="connsiteY1459" fmla="*/ 932 h 10000"/>
                  <a:gd name="connsiteX1460" fmla="*/ 4604 w 10586"/>
                  <a:gd name="connsiteY1460" fmla="*/ 932 h 10000"/>
                  <a:gd name="connsiteX1461" fmla="*/ 4590 w 10586"/>
                  <a:gd name="connsiteY1461" fmla="*/ 932 h 10000"/>
                  <a:gd name="connsiteX1462" fmla="*/ 4567 w 10586"/>
                  <a:gd name="connsiteY1462" fmla="*/ 957 h 10000"/>
                  <a:gd name="connsiteX1463" fmla="*/ 4567 w 10586"/>
                  <a:gd name="connsiteY1463" fmla="*/ 932 h 10000"/>
                  <a:gd name="connsiteX1464" fmla="*/ 4567 w 10586"/>
                  <a:gd name="connsiteY1464" fmla="*/ 923 h 10000"/>
                  <a:gd name="connsiteX1465" fmla="*/ 4562 w 10586"/>
                  <a:gd name="connsiteY1465" fmla="*/ 932 h 10000"/>
                  <a:gd name="connsiteX1466" fmla="*/ 4548 w 10586"/>
                  <a:gd name="connsiteY1466" fmla="*/ 957 h 10000"/>
                  <a:gd name="connsiteX1467" fmla="*/ 4544 w 10586"/>
                  <a:gd name="connsiteY1467" fmla="*/ 957 h 10000"/>
                  <a:gd name="connsiteX1468" fmla="*/ 4521 w 10586"/>
                  <a:gd name="connsiteY1468" fmla="*/ 983 h 10000"/>
                  <a:gd name="connsiteX1469" fmla="*/ 4521 w 10586"/>
                  <a:gd name="connsiteY1469" fmla="*/ 983 h 10000"/>
                  <a:gd name="connsiteX1470" fmla="*/ 4530 w 10586"/>
                  <a:gd name="connsiteY1470" fmla="*/ 957 h 10000"/>
                  <a:gd name="connsiteX1471" fmla="*/ 4535 w 10586"/>
                  <a:gd name="connsiteY1471" fmla="*/ 932 h 10000"/>
                  <a:gd name="connsiteX1472" fmla="*/ 4521 w 10586"/>
                  <a:gd name="connsiteY1472" fmla="*/ 932 h 10000"/>
                  <a:gd name="connsiteX1473" fmla="*/ 4516 w 10586"/>
                  <a:gd name="connsiteY1473" fmla="*/ 923 h 10000"/>
                  <a:gd name="connsiteX1474" fmla="*/ 4516 w 10586"/>
                  <a:gd name="connsiteY1474" fmla="*/ 932 h 10000"/>
                  <a:gd name="connsiteX1475" fmla="*/ 4488 w 10586"/>
                  <a:gd name="connsiteY1475" fmla="*/ 940 h 10000"/>
                  <a:gd name="connsiteX1476" fmla="*/ 4484 w 10586"/>
                  <a:gd name="connsiteY1476" fmla="*/ 983 h 10000"/>
                  <a:gd name="connsiteX1477" fmla="*/ 4470 w 10586"/>
                  <a:gd name="connsiteY1477" fmla="*/ 983 h 10000"/>
                  <a:gd name="connsiteX1478" fmla="*/ 4470 w 10586"/>
                  <a:gd name="connsiteY1478" fmla="*/ 966 h 10000"/>
                  <a:gd name="connsiteX1479" fmla="*/ 4488 w 10586"/>
                  <a:gd name="connsiteY1479" fmla="*/ 923 h 10000"/>
                  <a:gd name="connsiteX1480" fmla="*/ 4493 w 10586"/>
                  <a:gd name="connsiteY1480" fmla="*/ 880 h 10000"/>
                  <a:gd name="connsiteX1481" fmla="*/ 4475 w 10586"/>
                  <a:gd name="connsiteY1481" fmla="*/ 846 h 10000"/>
                  <a:gd name="connsiteX1482" fmla="*/ 4442 w 10586"/>
                  <a:gd name="connsiteY1482" fmla="*/ 855 h 10000"/>
                  <a:gd name="connsiteX1483" fmla="*/ 4433 w 10586"/>
                  <a:gd name="connsiteY1483" fmla="*/ 855 h 10000"/>
                  <a:gd name="connsiteX1484" fmla="*/ 4433 w 10586"/>
                  <a:gd name="connsiteY1484" fmla="*/ 880 h 10000"/>
                  <a:gd name="connsiteX1485" fmla="*/ 4401 w 10586"/>
                  <a:gd name="connsiteY1485" fmla="*/ 855 h 10000"/>
                  <a:gd name="connsiteX1486" fmla="*/ 4396 w 10586"/>
                  <a:gd name="connsiteY1486" fmla="*/ 872 h 10000"/>
                  <a:gd name="connsiteX1487" fmla="*/ 4382 w 10586"/>
                  <a:gd name="connsiteY1487" fmla="*/ 897 h 10000"/>
                  <a:gd name="connsiteX1488" fmla="*/ 4373 w 10586"/>
                  <a:gd name="connsiteY1488" fmla="*/ 872 h 10000"/>
                  <a:gd name="connsiteX1489" fmla="*/ 4341 w 10586"/>
                  <a:gd name="connsiteY1489" fmla="*/ 872 h 10000"/>
                  <a:gd name="connsiteX1490" fmla="*/ 4336 w 10586"/>
                  <a:gd name="connsiteY1490" fmla="*/ 880 h 10000"/>
                  <a:gd name="connsiteX1491" fmla="*/ 4346 w 10586"/>
                  <a:gd name="connsiteY1491" fmla="*/ 897 h 10000"/>
                  <a:gd name="connsiteX1492" fmla="*/ 4346 w 10586"/>
                  <a:gd name="connsiteY1492" fmla="*/ 897 h 10000"/>
                  <a:gd name="connsiteX1493" fmla="*/ 4313 w 10586"/>
                  <a:gd name="connsiteY1493" fmla="*/ 906 h 10000"/>
                  <a:gd name="connsiteX1494" fmla="*/ 4313 w 10586"/>
                  <a:gd name="connsiteY1494" fmla="*/ 906 h 10000"/>
                  <a:gd name="connsiteX1495" fmla="*/ 4313 w 10586"/>
                  <a:gd name="connsiteY1495" fmla="*/ 880 h 10000"/>
                  <a:gd name="connsiteX1496" fmla="*/ 4309 w 10586"/>
                  <a:gd name="connsiteY1496" fmla="*/ 897 h 10000"/>
                  <a:gd name="connsiteX1497" fmla="*/ 4295 w 10586"/>
                  <a:gd name="connsiteY1497" fmla="*/ 923 h 10000"/>
                  <a:gd name="connsiteX1498" fmla="*/ 4286 w 10586"/>
                  <a:gd name="connsiteY1498" fmla="*/ 897 h 10000"/>
                  <a:gd name="connsiteX1499" fmla="*/ 4281 w 10586"/>
                  <a:gd name="connsiteY1499" fmla="*/ 906 h 10000"/>
                  <a:gd name="connsiteX1500" fmla="*/ 4281 w 10586"/>
                  <a:gd name="connsiteY1500" fmla="*/ 940 h 10000"/>
                  <a:gd name="connsiteX1501" fmla="*/ 4286 w 10586"/>
                  <a:gd name="connsiteY1501" fmla="*/ 957 h 10000"/>
                  <a:gd name="connsiteX1502" fmla="*/ 4309 w 10586"/>
                  <a:gd name="connsiteY1502" fmla="*/ 932 h 10000"/>
                  <a:gd name="connsiteX1503" fmla="*/ 4313 w 10586"/>
                  <a:gd name="connsiteY1503" fmla="*/ 957 h 10000"/>
                  <a:gd name="connsiteX1504" fmla="*/ 4313 w 10586"/>
                  <a:gd name="connsiteY1504" fmla="*/ 966 h 10000"/>
                  <a:gd name="connsiteX1505" fmla="*/ 4323 w 10586"/>
                  <a:gd name="connsiteY1505" fmla="*/ 966 h 10000"/>
                  <a:gd name="connsiteX1506" fmla="*/ 4323 w 10586"/>
                  <a:gd name="connsiteY1506" fmla="*/ 940 h 10000"/>
                  <a:gd name="connsiteX1507" fmla="*/ 4327 w 10586"/>
                  <a:gd name="connsiteY1507" fmla="*/ 940 h 10000"/>
                  <a:gd name="connsiteX1508" fmla="*/ 4327 w 10586"/>
                  <a:gd name="connsiteY1508" fmla="*/ 957 h 10000"/>
                  <a:gd name="connsiteX1509" fmla="*/ 4327 w 10586"/>
                  <a:gd name="connsiteY1509" fmla="*/ 966 h 10000"/>
                  <a:gd name="connsiteX1510" fmla="*/ 4323 w 10586"/>
                  <a:gd name="connsiteY1510" fmla="*/ 991 h 10000"/>
                  <a:gd name="connsiteX1511" fmla="*/ 4207 w 10586"/>
                  <a:gd name="connsiteY1511" fmla="*/ 1060 h 10000"/>
                  <a:gd name="connsiteX1512" fmla="*/ 4207 w 10586"/>
                  <a:gd name="connsiteY1512" fmla="*/ 1060 h 10000"/>
                  <a:gd name="connsiteX1513" fmla="*/ 4203 w 10586"/>
                  <a:gd name="connsiteY1513" fmla="*/ 1068 h 10000"/>
                  <a:gd name="connsiteX1514" fmla="*/ 4203 w 10586"/>
                  <a:gd name="connsiteY1514" fmla="*/ 1094 h 10000"/>
                  <a:gd name="connsiteX1515" fmla="*/ 4203 w 10586"/>
                  <a:gd name="connsiteY1515" fmla="*/ 1094 h 10000"/>
                  <a:gd name="connsiteX1516" fmla="*/ 4189 w 10586"/>
                  <a:gd name="connsiteY1516" fmla="*/ 1094 h 10000"/>
                  <a:gd name="connsiteX1517" fmla="*/ 4166 w 10586"/>
                  <a:gd name="connsiteY1517" fmla="*/ 1103 h 10000"/>
                  <a:gd name="connsiteX1518" fmla="*/ 4152 w 10586"/>
                  <a:gd name="connsiteY1518" fmla="*/ 1094 h 10000"/>
                  <a:gd name="connsiteX1519" fmla="*/ 4134 w 10586"/>
                  <a:gd name="connsiteY1519" fmla="*/ 1120 h 10000"/>
                  <a:gd name="connsiteX1520" fmla="*/ 4106 w 10586"/>
                  <a:gd name="connsiteY1520" fmla="*/ 1120 h 10000"/>
                  <a:gd name="connsiteX1521" fmla="*/ 4092 w 10586"/>
                  <a:gd name="connsiteY1521" fmla="*/ 1154 h 10000"/>
                  <a:gd name="connsiteX1522" fmla="*/ 4106 w 10586"/>
                  <a:gd name="connsiteY1522" fmla="*/ 1171 h 10000"/>
                  <a:gd name="connsiteX1523" fmla="*/ 4078 w 10586"/>
                  <a:gd name="connsiteY1523" fmla="*/ 1179 h 10000"/>
                  <a:gd name="connsiteX1524" fmla="*/ 4065 w 10586"/>
                  <a:gd name="connsiteY1524" fmla="*/ 1205 h 10000"/>
                  <a:gd name="connsiteX1525" fmla="*/ 4046 w 10586"/>
                  <a:gd name="connsiteY1525" fmla="*/ 1179 h 10000"/>
                  <a:gd name="connsiteX1526" fmla="*/ 4041 w 10586"/>
                  <a:gd name="connsiteY1526" fmla="*/ 1197 h 10000"/>
                  <a:gd name="connsiteX1527" fmla="*/ 4028 w 10586"/>
                  <a:gd name="connsiteY1527" fmla="*/ 1205 h 10000"/>
                  <a:gd name="connsiteX1528" fmla="*/ 4028 w 10586"/>
                  <a:gd name="connsiteY1528" fmla="*/ 1205 h 10000"/>
                  <a:gd name="connsiteX1529" fmla="*/ 4032 w 10586"/>
                  <a:gd name="connsiteY1529" fmla="*/ 1205 h 10000"/>
                  <a:gd name="connsiteX1530" fmla="*/ 4032 w 10586"/>
                  <a:gd name="connsiteY1530" fmla="*/ 1231 h 10000"/>
                  <a:gd name="connsiteX1531" fmla="*/ 4014 w 10586"/>
                  <a:gd name="connsiteY1531" fmla="*/ 1239 h 10000"/>
                  <a:gd name="connsiteX1532" fmla="*/ 4014 w 10586"/>
                  <a:gd name="connsiteY1532" fmla="*/ 1256 h 10000"/>
                  <a:gd name="connsiteX1533" fmla="*/ 4000 w 10586"/>
                  <a:gd name="connsiteY1533" fmla="*/ 1265 h 10000"/>
                  <a:gd name="connsiteX1534" fmla="*/ 3986 w 10586"/>
                  <a:gd name="connsiteY1534" fmla="*/ 1308 h 10000"/>
                  <a:gd name="connsiteX1535" fmla="*/ 3972 w 10586"/>
                  <a:gd name="connsiteY1535" fmla="*/ 1316 h 10000"/>
                  <a:gd name="connsiteX1536" fmla="*/ 3972 w 10586"/>
                  <a:gd name="connsiteY1536" fmla="*/ 1325 h 10000"/>
                  <a:gd name="connsiteX1537" fmla="*/ 3972 w 10586"/>
                  <a:gd name="connsiteY1537" fmla="*/ 1342 h 10000"/>
                  <a:gd name="connsiteX1538" fmla="*/ 3968 w 10586"/>
                  <a:gd name="connsiteY1538" fmla="*/ 1350 h 10000"/>
                  <a:gd name="connsiteX1539" fmla="*/ 3954 w 10586"/>
                  <a:gd name="connsiteY1539" fmla="*/ 1368 h 10000"/>
                  <a:gd name="connsiteX1540" fmla="*/ 3945 w 10586"/>
                  <a:gd name="connsiteY1540" fmla="*/ 1350 h 10000"/>
                  <a:gd name="connsiteX1541" fmla="*/ 3908 w 10586"/>
                  <a:gd name="connsiteY1541" fmla="*/ 1342 h 10000"/>
                  <a:gd name="connsiteX1542" fmla="*/ 3894 w 10586"/>
                  <a:gd name="connsiteY1542" fmla="*/ 1368 h 10000"/>
                  <a:gd name="connsiteX1543" fmla="*/ 3922 w 10586"/>
                  <a:gd name="connsiteY1543" fmla="*/ 1393 h 10000"/>
                  <a:gd name="connsiteX1544" fmla="*/ 3945 w 10586"/>
                  <a:gd name="connsiteY1544" fmla="*/ 1393 h 10000"/>
                  <a:gd name="connsiteX1545" fmla="*/ 3940 w 10586"/>
                  <a:gd name="connsiteY1545" fmla="*/ 1419 h 10000"/>
                  <a:gd name="connsiteX1546" fmla="*/ 3931 w 10586"/>
                  <a:gd name="connsiteY1546" fmla="*/ 1427 h 10000"/>
                  <a:gd name="connsiteX1547" fmla="*/ 3926 w 10586"/>
                  <a:gd name="connsiteY1547" fmla="*/ 1427 h 10000"/>
                  <a:gd name="connsiteX1548" fmla="*/ 3922 w 10586"/>
                  <a:gd name="connsiteY1548" fmla="*/ 1419 h 10000"/>
                  <a:gd name="connsiteX1549" fmla="*/ 3912 w 10586"/>
                  <a:gd name="connsiteY1549" fmla="*/ 1427 h 10000"/>
                  <a:gd name="connsiteX1550" fmla="*/ 3912 w 10586"/>
                  <a:gd name="connsiteY1550" fmla="*/ 1444 h 10000"/>
                  <a:gd name="connsiteX1551" fmla="*/ 3894 w 10586"/>
                  <a:gd name="connsiteY1551" fmla="*/ 1513 h 10000"/>
                  <a:gd name="connsiteX1552" fmla="*/ 3885 w 10586"/>
                  <a:gd name="connsiteY1552" fmla="*/ 1513 h 10000"/>
                  <a:gd name="connsiteX1553" fmla="*/ 3880 w 10586"/>
                  <a:gd name="connsiteY1553" fmla="*/ 1538 h 10000"/>
                  <a:gd name="connsiteX1554" fmla="*/ 3885 w 10586"/>
                  <a:gd name="connsiteY1554" fmla="*/ 1564 h 10000"/>
                  <a:gd name="connsiteX1555" fmla="*/ 3880 w 10586"/>
                  <a:gd name="connsiteY1555" fmla="*/ 1581 h 10000"/>
                  <a:gd name="connsiteX1556" fmla="*/ 3871 w 10586"/>
                  <a:gd name="connsiteY1556" fmla="*/ 1538 h 10000"/>
                  <a:gd name="connsiteX1557" fmla="*/ 3853 w 10586"/>
                  <a:gd name="connsiteY1557" fmla="*/ 1530 h 10000"/>
                  <a:gd name="connsiteX1558" fmla="*/ 3853 w 10586"/>
                  <a:gd name="connsiteY1558" fmla="*/ 1504 h 10000"/>
                  <a:gd name="connsiteX1559" fmla="*/ 3834 w 10586"/>
                  <a:gd name="connsiteY1559" fmla="*/ 1487 h 10000"/>
                  <a:gd name="connsiteX1560" fmla="*/ 3834 w 10586"/>
                  <a:gd name="connsiteY1560" fmla="*/ 1487 h 10000"/>
                  <a:gd name="connsiteX1561" fmla="*/ 3839 w 10586"/>
                  <a:gd name="connsiteY1561" fmla="*/ 1513 h 10000"/>
                  <a:gd name="connsiteX1562" fmla="*/ 3820 w 10586"/>
                  <a:gd name="connsiteY1562" fmla="*/ 1538 h 10000"/>
                  <a:gd name="connsiteX1563" fmla="*/ 3820 w 10586"/>
                  <a:gd name="connsiteY1563" fmla="*/ 1556 h 10000"/>
                  <a:gd name="connsiteX1564" fmla="*/ 3820 w 10586"/>
                  <a:gd name="connsiteY1564" fmla="*/ 1564 h 10000"/>
                  <a:gd name="connsiteX1565" fmla="*/ 3820 w 10586"/>
                  <a:gd name="connsiteY1565" fmla="*/ 1581 h 10000"/>
                  <a:gd name="connsiteX1566" fmla="*/ 3853 w 10586"/>
                  <a:gd name="connsiteY1566" fmla="*/ 1581 h 10000"/>
                  <a:gd name="connsiteX1567" fmla="*/ 3857 w 10586"/>
                  <a:gd name="connsiteY1567" fmla="*/ 1598 h 10000"/>
                  <a:gd name="connsiteX1568" fmla="*/ 3880 w 10586"/>
                  <a:gd name="connsiteY1568" fmla="*/ 1615 h 10000"/>
                  <a:gd name="connsiteX1569" fmla="*/ 3871 w 10586"/>
                  <a:gd name="connsiteY1569" fmla="*/ 1615 h 10000"/>
                  <a:gd name="connsiteX1570" fmla="*/ 3871 w 10586"/>
                  <a:gd name="connsiteY1570" fmla="*/ 1641 h 10000"/>
                  <a:gd name="connsiteX1571" fmla="*/ 3880 w 10586"/>
                  <a:gd name="connsiteY1571" fmla="*/ 1641 h 10000"/>
                  <a:gd name="connsiteX1572" fmla="*/ 3871 w 10586"/>
                  <a:gd name="connsiteY1572" fmla="*/ 1650 h 10000"/>
                  <a:gd name="connsiteX1573" fmla="*/ 3857 w 10586"/>
                  <a:gd name="connsiteY1573" fmla="*/ 1650 h 10000"/>
                  <a:gd name="connsiteX1574" fmla="*/ 3853 w 10586"/>
                  <a:gd name="connsiteY1574" fmla="*/ 1650 h 10000"/>
                  <a:gd name="connsiteX1575" fmla="*/ 3839 w 10586"/>
                  <a:gd name="connsiteY1575" fmla="*/ 1667 h 10000"/>
                  <a:gd name="connsiteX1576" fmla="*/ 3848 w 10586"/>
                  <a:gd name="connsiteY1576" fmla="*/ 1692 h 10000"/>
                  <a:gd name="connsiteX1577" fmla="*/ 3834 w 10586"/>
                  <a:gd name="connsiteY1577" fmla="*/ 1692 h 10000"/>
                  <a:gd name="connsiteX1578" fmla="*/ 3825 w 10586"/>
                  <a:gd name="connsiteY1578" fmla="*/ 1692 h 10000"/>
                  <a:gd name="connsiteX1579" fmla="*/ 3825 w 10586"/>
                  <a:gd name="connsiteY1579" fmla="*/ 1718 h 10000"/>
                  <a:gd name="connsiteX1580" fmla="*/ 3839 w 10586"/>
                  <a:gd name="connsiteY1580" fmla="*/ 1726 h 10000"/>
                  <a:gd name="connsiteX1581" fmla="*/ 3880 w 10586"/>
                  <a:gd name="connsiteY1581" fmla="*/ 1752 h 10000"/>
                  <a:gd name="connsiteX1582" fmla="*/ 3894 w 10586"/>
                  <a:gd name="connsiteY1582" fmla="*/ 1829 h 10000"/>
                  <a:gd name="connsiteX1583" fmla="*/ 3899 w 10586"/>
                  <a:gd name="connsiteY1583" fmla="*/ 1838 h 10000"/>
                  <a:gd name="connsiteX1584" fmla="*/ 3894 w 10586"/>
                  <a:gd name="connsiteY1584" fmla="*/ 1855 h 10000"/>
                  <a:gd name="connsiteX1585" fmla="*/ 3880 w 10586"/>
                  <a:gd name="connsiteY1585" fmla="*/ 1838 h 10000"/>
                  <a:gd name="connsiteX1586" fmla="*/ 3880 w 10586"/>
                  <a:gd name="connsiteY1586" fmla="*/ 1855 h 10000"/>
                  <a:gd name="connsiteX1587" fmla="*/ 3880 w 10586"/>
                  <a:gd name="connsiteY1587" fmla="*/ 1863 h 10000"/>
                  <a:gd name="connsiteX1588" fmla="*/ 3871 w 10586"/>
                  <a:gd name="connsiteY1588" fmla="*/ 1872 h 10000"/>
                  <a:gd name="connsiteX1589" fmla="*/ 3880 w 10586"/>
                  <a:gd name="connsiteY1589" fmla="*/ 1889 h 10000"/>
                  <a:gd name="connsiteX1590" fmla="*/ 3885 w 10586"/>
                  <a:gd name="connsiteY1590" fmla="*/ 1889 h 10000"/>
                  <a:gd name="connsiteX1591" fmla="*/ 3880 w 10586"/>
                  <a:gd name="connsiteY1591" fmla="*/ 1897 h 10000"/>
                  <a:gd name="connsiteX1592" fmla="*/ 3871 w 10586"/>
                  <a:gd name="connsiteY1592" fmla="*/ 1915 h 10000"/>
                  <a:gd name="connsiteX1593" fmla="*/ 3848 w 10586"/>
                  <a:gd name="connsiteY1593" fmla="*/ 1923 h 10000"/>
                  <a:gd name="connsiteX1594" fmla="*/ 3825 w 10586"/>
                  <a:gd name="connsiteY1594" fmla="*/ 1940 h 10000"/>
                  <a:gd name="connsiteX1595" fmla="*/ 3811 w 10586"/>
                  <a:gd name="connsiteY1595" fmla="*/ 1940 h 10000"/>
                  <a:gd name="connsiteX1596" fmla="*/ 3806 w 10586"/>
                  <a:gd name="connsiteY1596" fmla="*/ 1949 h 10000"/>
                  <a:gd name="connsiteX1597" fmla="*/ 3797 w 10586"/>
                  <a:gd name="connsiteY1597" fmla="*/ 1966 h 10000"/>
                  <a:gd name="connsiteX1598" fmla="*/ 3788 w 10586"/>
                  <a:gd name="connsiteY1598" fmla="*/ 1991 h 10000"/>
                  <a:gd name="connsiteX1599" fmla="*/ 3765 w 10586"/>
                  <a:gd name="connsiteY1599" fmla="*/ 1974 h 10000"/>
                  <a:gd name="connsiteX1600" fmla="*/ 3760 w 10586"/>
                  <a:gd name="connsiteY1600" fmla="*/ 1966 h 10000"/>
                  <a:gd name="connsiteX1601" fmla="*/ 3760 w 10586"/>
                  <a:gd name="connsiteY1601" fmla="*/ 1966 h 10000"/>
                  <a:gd name="connsiteX1602" fmla="*/ 3631 w 10586"/>
                  <a:gd name="connsiteY1602" fmla="*/ 2009 h 10000"/>
                  <a:gd name="connsiteX1603" fmla="*/ 3618 w 10586"/>
                  <a:gd name="connsiteY1603" fmla="*/ 2000 h 10000"/>
                  <a:gd name="connsiteX1604" fmla="*/ 3599 w 10586"/>
                  <a:gd name="connsiteY1604" fmla="*/ 2009 h 10000"/>
                  <a:gd name="connsiteX1605" fmla="*/ 3571 w 10586"/>
                  <a:gd name="connsiteY1605" fmla="*/ 2000 h 10000"/>
                  <a:gd name="connsiteX1606" fmla="*/ 3530 w 10586"/>
                  <a:gd name="connsiteY1606" fmla="*/ 2026 h 10000"/>
                  <a:gd name="connsiteX1607" fmla="*/ 3530 w 10586"/>
                  <a:gd name="connsiteY1607" fmla="*/ 2034 h 10000"/>
                  <a:gd name="connsiteX1608" fmla="*/ 3525 w 10586"/>
                  <a:gd name="connsiteY1608" fmla="*/ 2051 h 10000"/>
                  <a:gd name="connsiteX1609" fmla="*/ 3512 w 10586"/>
                  <a:gd name="connsiteY1609" fmla="*/ 2034 h 10000"/>
                  <a:gd name="connsiteX1610" fmla="*/ 3507 w 10586"/>
                  <a:gd name="connsiteY1610" fmla="*/ 2034 h 10000"/>
                  <a:gd name="connsiteX1611" fmla="*/ 3498 w 10586"/>
                  <a:gd name="connsiteY1611" fmla="*/ 2051 h 10000"/>
                  <a:gd name="connsiteX1612" fmla="*/ 3484 w 10586"/>
                  <a:gd name="connsiteY1612" fmla="*/ 2060 h 10000"/>
                  <a:gd name="connsiteX1613" fmla="*/ 3484 w 10586"/>
                  <a:gd name="connsiteY1613" fmla="*/ 2085 h 10000"/>
                  <a:gd name="connsiteX1614" fmla="*/ 3484 w 10586"/>
                  <a:gd name="connsiteY1614" fmla="*/ 2103 h 10000"/>
                  <a:gd name="connsiteX1615" fmla="*/ 3493 w 10586"/>
                  <a:gd name="connsiteY1615" fmla="*/ 2103 h 10000"/>
                  <a:gd name="connsiteX1616" fmla="*/ 3493 w 10586"/>
                  <a:gd name="connsiteY1616" fmla="*/ 2085 h 10000"/>
                  <a:gd name="connsiteX1617" fmla="*/ 3498 w 10586"/>
                  <a:gd name="connsiteY1617" fmla="*/ 2085 h 10000"/>
                  <a:gd name="connsiteX1618" fmla="*/ 3498 w 10586"/>
                  <a:gd name="connsiteY1618" fmla="*/ 2111 h 10000"/>
                  <a:gd name="connsiteX1619" fmla="*/ 3484 w 10586"/>
                  <a:gd name="connsiteY1619" fmla="*/ 2120 h 10000"/>
                  <a:gd name="connsiteX1620" fmla="*/ 3484 w 10586"/>
                  <a:gd name="connsiteY1620" fmla="*/ 2145 h 10000"/>
                  <a:gd name="connsiteX1621" fmla="*/ 3470 w 10586"/>
                  <a:gd name="connsiteY1621" fmla="*/ 2137 h 10000"/>
                  <a:gd name="connsiteX1622" fmla="*/ 3465 w 10586"/>
                  <a:gd name="connsiteY1622" fmla="*/ 2145 h 10000"/>
                  <a:gd name="connsiteX1623" fmla="*/ 3470 w 10586"/>
                  <a:gd name="connsiteY1623" fmla="*/ 2171 h 10000"/>
                  <a:gd name="connsiteX1624" fmla="*/ 3484 w 10586"/>
                  <a:gd name="connsiteY1624" fmla="*/ 2171 h 10000"/>
                  <a:gd name="connsiteX1625" fmla="*/ 3484 w 10586"/>
                  <a:gd name="connsiteY1625" fmla="*/ 2197 h 10000"/>
                  <a:gd name="connsiteX1626" fmla="*/ 3465 w 10586"/>
                  <a:gd name="connsiteY1626" fmla="*/ 2214 h 10000"/>
                  <a:gd name="connsiteX1627" fmla="*/ 3493 w 10586"/>
                  <a:gd name="connsiteY1627" fmla="*/ 2248 h 10000"/>
                  <a:gd name="connsiteX1628" fmla="*/ 3484 w 10586"/>
                  <a:gd name="connsiteY1628" fmla="*/ 2256 h 10000"/>
                  <a:gd name="connsiteX1629" fmla="*/ 3498 w 10586"/>
                  <a:gd name="connsiteY1629" fmla="*/ 2274 h 10000"/>
                  <a:gd name="connsiteX1630" fmla="*/ 3498 w 10586"/>
                  <a:gd name="connsiteY1630" fmla="*/ 2256 h 10000"/>
                  <a:gd name="connsiteX1631" fmla="*/ 3507 w 10586"/>
                  <a:gd name="connsiteY1631" fmla="*/ 2308 h 10000"/>
                  <a:gd name="connsiteX1632" fmla="*/ 3512 w 10586"/>
                  <a:gd name="connsiteY1632" fmla="*/ 2325 h 10000"/>
                  <a:gd name="connsiteX1633" fmla="*/ 3507 w 10586"/>
                  <a:gd name="connsiteY1633" fmla="*/ 2333 h 10000"/>
                  <a:gd name="connsiteX1634" fmla="*/ 3507 w 10586"/>
                  <a:gd name="connsiteY1634" fmla="*/ 2359 h 10000"/>
                  <a:gd name="connsiteX1635" fmla="*/ 3507 w 10586"/>
                  <a:gd name="connsiteY1635" fmla="*/ 2376 h 10000"/>
                  <a:gd name="connsiteX1636" fmla="*/ 3498 w 10586"/>
                  <a:gd name="connsiteY1636" fmla="*/ 2410 h 10000"/>
                  <a:gd name="connsiteX1637" fmla="*/ 3498 w 10586"/>
                  <a:gd name="connsiteY1637" fmla="*/ 2436 h 10000"/>
                  <a:gd name="connsiteX1638" fmla="*/ 3507 w 10586"/>
                  <a:gd name="connsiteY1638" fmla="*/ 2462 h 10000"/>
                  <a:gd name="connsiteX1639" fmla="*/ 3507 w 10586"/>
                  <a:gd name="connsiteY1639" fmla="*/ 2496 h 10000"/>
                  <a:gd name="connsiteX1640" fmla="*/ 3512 w 10586"/>
                  <a:gd name="connsiteY1640" fmla="*/ 2521 h 10000"/>
                  <a:gd name="connsiteX1641" fmla="*/ 3525 w 10586"/>
                  <a:gd name="connsiteY1641" fmla="*/ 2556 h 10000"/>
                  <a:gd name="connsiteX1642" fmla="*/ 3571 w 10586"/>
                  <a:gd name="connsiteY1642" fmla="*/ 2573 h 10000"/>
                  <a:gd name="connsiteX1643" fmla="*/ 3590 w 10586"/>
                  <a:gd name="connsiteY1643" fmla="*/ 2598 h 10000"/>
                  <a:gd name="connsiteX1644" fmla="*/ 3599 w 10586"/>
                  <a:gd name="connsiteY1644" fmla="*/ 2598 h 10000"/>
                  <a:gd name="connsiteX1645" fmla="*/ 3604 w 10586"/>
                  <a:gd name="connsiteY1645" fmla="*/ 2632 h 10000"/>
                  <a:gd name="connsiteX1646" fmla="*/ 3599 w 10586"/>
                  <a:gd name="connsiteY1646" fmla="*/ 2658 h 10000"/>
                  <a:gd name="connsiteX1647" fmla="*/ 3590 w 10586"/>
                  <a:gd name="connsiteY1647" fmla="*/ 2667 h 10000"/>
                  <a:gd name="connsiteX1648" fmla="*/ 3604 w 10586"/>
                  <a:gd name="connsiteY1648" fmla="*/ 2667 h 10000"/>
                  <a:gd name="connsiteX1649" fmla="*/ 3613 w 10586"/>
                  <a:gd name="connsiteY1649" fmla="*/ 2692 h 10000"/>
                  <a:gd name="connsiteX1650" fmla="*/ 3627 w 10586"/>
                  <a:gd name="connsiteY1650" fmla="*/ 2735 h 10000"/>
                  <a:gd name="connsiteX1651" fmla="*/ 3631 w 10586"/>
                  <a:gd name="connsiteY1651" fmla="*/ 2744 h 10000"/>
                  <a:gd name="connsiteX1652" fmla="*/ 3659 w 10586"/>
                  <a:gd name="connsiteY1652" fmla="*/ 2761 h 10000"/>
                  <a:gd name="connsiteX1653" fmla="*/ 3673 w 10586"/>
                  <a:gd name="connsiteY1653" fmla="*/ 2769 h 10000"/>
                  <a:gd name="connsiteX1654" fmla="*/ 3673 w 10586"/>
                  <a:gd name="connsiteY1654" fmla="*/ 2761 h 10000"/>
                  <a:gd name="connsiteX1655" fmla="*/ 3687 w 10586"/>
                  <a:gd name="connsiteY1655" fmla="*/ 2829 h 10000"/>
                  <a:gd name="connsiteX1656" fmla="*/ 3677 w 10586"/>
                  <a:gd name="connsiteY1656" fmla="*/ 2897 h 10000"/>
                  <a:gd name="connsiteX1657" fmla="*/ 3673 w 10586"/>
                  <a:gd name="connsiteY1657" fmla="*/ 2915 h 10000"/>
                  <a:gd name="connsiteX1658" fmla="*/ 3664 w 10586"/>
                  <a:gd name="connsiteY1658" fmla="*/ 2957 h 10000"/>
                  <a:gd name="connsiteX1659" fmla="*/ 3659 w 10586"/>
                  <a:gd name="connsiteY1659" fmla="*/ 2983 h 10000"/>
                  <a:gd name="connsiteX1660" fmla="*/ 3664 w 10586"/>
                  <a:gd name="connsiteY1660" fmla="*/ 3017 h 10000"/>
                  <a:gd name="connsiteX1661" fmla="*/ 3659 w 10586"/>
                  <a:gd name="connsiteY1661" fmla="*/ 3043 h 10000"/>
                  <a:gd name="connsiteX1662" fmla="*/ 3677 w 10586"/>
                  <a:gd name="connsiteY1662" fmla="*/ 3094 h 10000"/>
                  <a:gd name="connsiteX1663" fmla="*/ 3691 w 10586"/>
                  <a:gd name="connsiteY1663" fmla="*/ 3282 h 10000"/>
                  <a:gd name="connsiteX1664" fmla="*/ 3691 w 10586"/>
                  <a:gd name="connsiteY1664" fmla="*/ 3308 h 10000"/>
                  <a:gd name="connsiteX1665" fmla="*/ 3677 w 10586"/>
                  <a:gd name="connsiteY1665" fmla="*/ 3342 h 10000"/>
                  <a:gd name="connsiteX1666" fmla="*/ 3664 w 10586"/>
                  <a:gd name="connsiteY1666" fmla="*/ 3342 h 10000"/>
                  <a:gd name="connsiteX1667" fmla="*/ 3650 w 10586"/>
                  <a:gd name="connsiteY1667" fmla="*/ 3342 h 10000"/>
                  <a:gd name="connsiteX1668" fmla="*/ 3650 w 10586"/>
                  <a:gd name="connsiteY1668" fmla="*/ 3350 h 10000"/>
                  <a:gd name="connsiteX1669" fmla="*/ 3659 w 10586"/>
                  <a:gd name="connsiteY1669" fmla="*/ 3402 h 10000"/>
                  <a:gd name="connsiteX1670" fmla="*/ 3659 w 10586"/>
                  <a:gd name="connsiteY1670" fmla="*/ 3419 h 10000"/>
                  <a:gd name="connsiteX1671" fmla="*/ 3631 w 10586"/>
                  <a:gd name="connsiteY1671" fmla="*/ 3402 h 10000"/>
                  <a:gd name="connsiteX1672" fmla="*/ 3604 w 10586"/>
                  <a:gd name="connsiteY1672" fmla="*/ 3393 h 10000"/>
                  <a:gd name="connsiteX1673" fmla="*/ 3599 w 10586"/>
                  <a:gd name="connsiteY1673" fmla="*/ 3368 h 10000"/>
                  <a:gd name="connsiteX1674" fmla="*/ 3590 w 10586"/>
                  <a:gd name="connsiteY1674" fmla="*/ 3239 h 10000"/>
                  <a:gd name="connsiteX1675" fmla="*/ 3599 w 10586"/>
                  <a:gd name="connsiteY1675" fmla="*/ 3179 h 10000"/>
                  <a:gd name="connsiteX1676" fmla="*/ 3599 w 10586"/>
                  <a:gd name="connsiteY1676" fmla="*/ 3171 h 10000"/>
                  <a:gd name="connsiteX1677" fmla="*/ 3599 w 10586"/>
                  <a:gd name="connsiteY1677" fmla="*/ 3009 h 10000"/>
                  <a:gd name="connsiteX1678" fmla="*/ 3604 w 10586"/>
                  <a:gd name="connsiteY1678" fmla="*/ 2983 h 10000"/>
                  <a:gd name="connsiteX1679" fmla="*/ 3645 w 10586"/>
                  <a:gd name="connsiteY1679" fmla="*/ 2932 h 10000"/>
                  <a:gd name="connsiteX1680" fmla="*/ 3650 w 10586"/>
                  <a:gd name="connsiteY1680" fmla="*/ 2872 h 10000"/>
                  <a:gd name="connsiteX1681" fmla="*/ 3659 w 10586"/>
                  <a:gd name="connsiteY1681" fmla="*/ 2855 h 10000"/>
                  <a:gd name="connsiteX1682" fmla="*/ 3659 w 10586"/>
                  <a:gd name="connsiteY1682" fmla="*/ 2821 h 10000"/>
                  <a:gd name="connsiteX1683" fmla="*/ 3631 w 10586"/>
                  <a:gd name="connsiteY1683" fmla="*/ 2795 h 10000"/>
                  <a:gd name="connsiteX1684" fmla="*/ 3567 w 10586"/>
                  <a:gd name="connsiteY1684" fmla="*/ 2821 h 10000"/>
                  <a:gd name="connsiteX1685" fmla="*/ 3544 w 10586"/>
                  <a:gd name="connsiteY1685" fmla="*/ 2795 h 10000"/>
                  <a:gd name="connsiteX1686" fmla="*/ 3530 w 10586"/>
                  <a:gd name="connsiteY1686" fmla="*/ 2769 h 10000"/>
                  <a:gd name="connsiteX1687" fmla="*/ 3530 w 10586"/>
                  <a:gd name="connsiteY1687" fmla="*/ 2786 h 10000"/>
                  <a:gd name="connsiteX1688" fmla="*/ 3498 w 10586"/>
                  <a:gd name="connsiteY1688" fmla="*/ 2692 h 10000"/>
                  <a:gd name="connsiteX1689" fmla="*/ 3498 w 10586"/>
                  <a:gd name="connsiteY1689" fmla="*/ 2667 h 10000"/>
                  <a:gd name="connsiteX1690" fmla="*/ 3442 w 10586"/>
                  <a:gd name="connsiteY1690" fmla="*/ 2607 h 10000"/>
                  <a:gd name="connsiteX1691" fmla="*/ 3433 w 10586"/>
                  <a:gd name="connsiteY1691" fmla="*/ 2581 h 10000"/>
                  <a:gd name="connsiteX1692" fmla="*/ 3396 w 10586"/>
                  <a:gd name="connsiteY1692" fmla="*/ 2556 h 10000"/>
                  <a:gd name="connsiteX1693" fmla="*/ 3318 w 10586"/>
                  <a:gd name="connsiteY1693" fmla="*/ 2556 h 10000"/>
                  <a:gd name="connsiteX1694" fmla="*/ 3304 w 10586"/>
                  <a:gd name="connsiteY1694" fmla="*/ 2607 h 10000"/>
                  <a:gd name="connsiteX1695" fmla="*/ 3276 w 10586"/>
                  <a:gd name="connsiteY1695" fmla="*/ 2632 h 10000"/>
                  <a:gd name="connsiteX1696" fmla="*/ 3272 w 10586"/>
                  <a:gd name="connsiteY1696" fmla="*/ 2667 h 10000"/>
                  <a:gd name="connsiteX1697" fmla="*/ 3304 w 10586"/>
                  <a:gd name="connsiteY1697" fmla="*/ 2667 h 10000"/>
                  <a:gd name="connsiteX1698" fmla="*/ 3323 w 10586"/>
                  <a:gd name="connsiteY1698" fmla="*/ 2692 h 10000"/>
                  <a:gd name="connsiteX1699" fmla="*/ 3318 w 10586"/>
                  <a:gd name="connsiteY1699" fmla="*/ 2735 h 10000"/>
                  <a:gd name="connsiteX1700" fmla="*/ 3304 w 10586"/>
                  <a:gd name="connsiteY1700" fmla="*/ 2761 h 10000"/>
                  <a:gd name="connsiteX1701" fmla="*/ 3276 w 10586"/>
                  <a:gd name="connsiteY1701" fmla="*/ 2769 h 10000"/>
                  <a:gd name="connsiteX1702" fmla="*/ 3263 w 10586"/>
                  <a:gd name="connsiteY1702" fmla="*/ 2795 h 10000"/>
                  <a:gd name="connsiteX1703" fmla="*/ 3235 w 10586"/>
                  <a:gd name="connsiteY1703" fmla="*/ 2803 h 10000"/>
                  <a:gd name="connsiteX1704" fmla="*/ 3235 w 10586"/>
                  <a:gd name="connsiteY1704" fmla="*/ 2786 h 10000"/>
                  <a:gd name="connsiteX1705" fmla="*/ 3212 w 10586"/>
                  <a:gd name="connsiteY1705" fmla="*/ 2709 h 10000"/>
                  <a:gd name="connsiteX1706" fmla="*/ 3198 w 10586"/>
                  <a:gd name="connsiteY1706" fmla="*/ 2709 h 10000"/>
                  <a:gd name="connsiteX1707" fmla="*/ 3184 w 10586"/>
                  <a:gd name="connsiteY1707" fmla="*/ 2735 h 10000"/>
                  <a:gd name="connsiteX1708" fmla="*/ 3189 w 10586"/>
                  <a:gd name="connsiteY1708" fmla="*/ 2761 h 10000"/>
                  <a:gd name="connsiteX1709" fmla="*/ 3203 w 10586"/>
                  <a:gd name="connsiteY1709" fmla="*/ 2855 h 10000"/>
                  <a:gd name="connsiteX1710" fmla="*/ 3212 w 10586"/>
                  <a:gd name="connsiteY1710" fmla="*/ 2872 h 10000"/>
                  <a:gd name="connsiteX1711" fmla="*/ 3235 w 10586"/>
                  <a:gd name="connsiteY1711" fmla="*/ 2906 h 10000"/>
                  <a:gd name="connsiteX1712" fmla="*/ 3258 w 10586"/>
                  <a:gd name="connsiteY1712" fmla="*/ 2915 h 10000"/>
                  <a:gd name="connsiteX1713" fmla="*/ 3272 w 10586"/>
                  <a:gd name="connsiteY1713" fmla="*/ 2957 h 10000"/>
                  <a:gd name="connsiteX1714" fmla="*/ 3276 w 10586"/>
                  <a:gd name="connsiteY1714" fmla="*/ 2957 h 10000"/>
                  <a:gd name="connsiteX1715" fmla="*/ 3286 w 10586"/>
                  <a:gd name="connsiteY1715" fmla="*/ 2966 h 10000"/>
                  <a:gd name="connsiteX1716" fmla="*/ 3300 w 10586"/>
                  <a:gd name="connsiteY1716" fmla="*/ 2957 h 10000"/>
                  <a:gd name="connsiteX1717" fmla="*/ 3309 w 10586"/>
                  <a:gd name="connsiteY1717" fmla="*/ 2932 h 10000"/>
                  <a:gd name="connsiteX1718" fmla="*/ 3304 w 10586"/>
                  <a:gd name="connsiteY1718" fmla="*/ 2966 h 10000"/>
                  <a:gd name="connsiteX1719" fmla="*/ 3309 w 10586"/>
                  <a:gd name="connsiteY1719" fmla="*/ 2983 h 10000"/>
                  <a:gd name="connsiteX1720" fmla="*/ 3323 w 10586"/>
                  <a:gd name="connsiteY1720" fmla="*/ 2966 h 10000"/>
                  <a:gd name="connsiteX1721" fmla="*/ 3323 w 10586"/>
                  <a:gd name="connsiteY1721" fmla="*/ 3043 h 10000"/>
                  <a:gd name="connsiteX1722" fmla="*/ 3346 w 10586"/>
                  <a:gd name="connsiteY1722" fmla="*/ 3068 h 10000"/>
                  <a:gd name="connsiteX1723" fmla="*/ 3346 w 10586"/>
                  <a:gd name="connsiteY1723" fmla="*/ 3094 h 10000"/>
                  <a:gd name="connsiteX1724" fmla="*/ 3323 w 10586"/>
                  <a:gd name="connsiteY1724" fmla="*/ 3094 h 10000"/>
                  <a:gd name="connsiteX1725" fmla="*/ 3309 w 10586"/>
                  <a:gd name="connsiteY1725" fmla="*/ 3077 h 10000"/>
                  <a:gd name="connsiteX1726" fmla="*/ 3304 w 10586"/>
                  <a:gd name="connsiteY1726" fmla="*/ 3051 h 10000"/>
                  <a:gd name="connsiteX1727" fmla="*/ 3300 w 10586"/>
                  <a:gd name="connsiteY1727" fmla="*/ 3043 h 10000"/>
                  <a:gd name="connsiteX1728" fmla="*/ 3286 w 10586"/>
                  <a:gd name="connsiteY1728" fmla="*/ 3017 h 10000"/>
                  <a:gd name="connsiteX1729" fmla="*/ 3152 w 10586"/>
                  <a:gd name="connsiteY1729" fmla="*/ 2966 h 10000"/>
                  <a:gd name="connsiteX1730" fmla="*/ 3129 w 10586"/>
                  <a:gd name="connsiteY1730" fmla="*/ 2915 h 10000"/>
                  <a:gd name="connsiteX1731" fmla="*/ 3129 w 10586"/>
                  <a:gd name="connsiteY1731" fmla="*/ 2906 h 10000"/>
                  <a:gd name="connsiteX1732" fmla="*/ 3152 w 10586"/>
                  <a:gd name="connsiteY1732" fmla="*/ 2906 h 10000"/>
                  <a:gd name="connsiteX1733" fmla="*/ 3152 w 10586"/>
                  <a:gd name="connsiteY1733" fmla="*/ 2846 h 10000"/>
                  <a:gd name="connsiteX1734" fmla="*/ 3138 w 10586"/>
                  <a:gd name="connsiteY1734" fmla="*/ 2795 h 10000"/>
                  <a:gd name="connsiteX1735" fmla="*/ 3138 w 10586"/>
                  <a:gd name="connsiteY1735" fmla="*/ 2769 h 10000"/>
                  <a:gd name="connsiteX1736" fmla="*/ 3143 w 10586"/>
                  <a:gd name="connsiteY1736" fmla="*/ 2718 h 10000"/>
                  <a:gd name="connsiteX1737" fmla="*/ 3129 w 10586"/>
                  <a:gd name="connsiteY1737" fmla="*/ 2692 h 10000"/>
                  <a:gd name="connsiteX1738" fmla="*/ 3143 w 10586"/>
                  <a:gd name="connsiteY1738" fmla="*/ 2667 h 10000"/>
                  <a:gd name="connsiteX1739" fmla="*/ 3157 w 10586"/>
                  <a:gd name="connsiteY1739" fmla="*/ 2581 h 10000"/>
                  <a:gd name="connsiteX1740" fmla="*/ 3143 w 10586"/>
                  <a:gd name="connsiteY1740" fmla="*/ 2496 h 10000"/>
                  <a:gd name="connsiteX1741" fmla="*/ 3157 w 10586"/>
                  <a:gd name="connsiteY1741" fmla="*/ 2487 h 10000"/>
                  <a:gd name="connsiteX1742" fmla="*/ 3143 w 10586"/>
                  <a:gd name="connsiteY1742" fmla="*/ 2444 h 10000"/>
                  <a:gd name="connsiteX1743" fmla="*/ 3143 w 10586"/>
                  <a:gd name="connsiteY1743" fmla="*/ 2419 h 10000"/>
                  <a:gd name="connsiteX1744" fmla="*/ 3143 w 10586"/>
                  <a:gd name="connsiteY1744" fmla="*/ 2410 h 10000"/>
                  <a:gd name="connsiteX1745" fmla="*/ 3124 w 10586"/>
                  <a:gd name="connsiteY1745" fmla="*/ 2376 h 10000"/>
                  <a:gd name="connsiteX1746" fmla="*/ 3115 w 10586"/>
                  <a:gd name="connsiteY1746" fmla="*/ 2350 h 10000"/>
                  <a:gd name="connsiteX1747" fmla="*/ 3101 w 10586"/>
                  <a:gd name="connsiteY1747" fmla="*/ 2359 h 10000"/>
                  <a:gd name="connsiteX1748" fmla="*/ 3115 w 10586"/>
                  <a:gd name="connsiteY1748" fmla="*/ 2581 h 10000"/>
                  <a:gd name="connsiteX1749" fmla="*/ 3111 w 10586"/>
                  <a:gd name="connsiteY1749" fmla="*/ 2624 h 10000"/>
                  <a:gd name="connsiteX1750" fmla="*/ 3009 w 10586"/>
                  <a:gd name="connsiteY1750" fmla="*/ 2761 h 10000"/>
                  <a:gd name="connsiteX1751" fmla="*/ 3009 w 10586"/>
                  <a:gd name="connsiteY1751" fmla="*/ 2803 h 10000"/>
                  <a:gd name="connsiteX1752" fmla="*/ 3005 w 10586"/>
                  <a:gd name="connsiteY1752" fmla="*/ 2829 h 10000"/>
                  <a:gd name="connsiteX1753" fmla="*/ 2982 w 10586"/>
                  <a:gd name="connsiteY1753" fmla="*/ 2872 h 10000"/>
                  <a:gd name="connsiteX1754" fmla="*/ 2982 w 10586"/>
                  <a:gd name="connsiteY1754" fmla="*/ 2880 h 10000"/>
                  <a:gd name="connsiteX1755" fmla="*/ 3037 w 10586"/>
                  <a:gd name="connsiteY1755" fmla="*/ 3034 h 10000"/>
                  <a:gd name="connsiteX1756" fmla="*/ 3041 w 10586"/>
                  <a:gd name="connsiteY1756" fmla="*/ 3103 h 10000"/>
                  <a:gd name="connsiteX1757" fmla="*/ 3069 w 10586"/>
                  <a:gd name="connsiteY1757" fmla="*/ 3188 h 10000"/>
                  <a:gd name="connsiteX1758" fmla="*/ 3055 w 10586"/>
                  <a:gd name="connsiteY1758" fmla="*/ 3325 h 10000"/>
                  <a:gd name="connsiteX1759" fmla="*/ 3037 w 10586"/>
                  <a:gd name="connsiteY1759" fmla="*/ 3368 h 10000"/>
                  <a:gd name="connsiteX1760" fmla="*/ 3037 w 10586"/>
                  <a:gd name="connsiteY1760" fmla="*/ 3444 h 10000"/>
                  <a:gd name="connsiteX1761" fmla="*/ 3028 w 10586"/>
                  <a:gd name="connsiteY1761" fmla="*/ 3453 h 10000"/>
                  <a:gd name="connsiteX1762" fmla="*/ 3023 w 10586"/>
                  <a:gd name="connsiteY1762" fmla="*/ 3530 h 10000"/>
                  <a:gd name="connsiteX1763" fmla="*/ 3051 w 10586"/>
                  <a:gd name="connsiteY1763" fmla="*/ 3624 h 10000"/>
                  <a:gd name="connsiteX1764" fmla="*/ 3037 w 10586"/>
                  <a:gd name="connsiteY1764" fmla="*/ 3718 h 10000"/>
                  <a:gd name="connsiteX1765" fmla="*/ 3041 w 10586"/>
                  <a:gd name="connsiteY1765" fmla="*/ 3752 h 10000"/>
                  <a:gd name="connsiteX1766" fmla="*/ 3055 w 10586"/>
                  <a:gd name="connsiteY1766" fmla="*/ 3761 h 10000"/>
                  <a:gd name="connsiteX1767" fmla="*/ 3078 w 10586"/>
                  <a:gd name="connsiteY1767" fmla="*/ 3752 h 10000"/>
                  <a:gd name="connsiteX1768" fmla="*/ 3092 w 10586"/>
                  <a:gd name="connsiteY1768" fmla="*/ 3752 h 10000"/>
                  <a:gd name="connsiteX1769" fmla="*/ 3129 w 10586"/>
                  <a:gd name="connsiteY1769" fmla="*/ 3761 h 10000"/>
                  <a:gd name="connsiteX1770" fmla="*/ 3129 w 10586"/>
                  <a:gd name="connsiteY1770" fmla="*/ 3735 h 10000"/>
                  <a:gd name="connsiteX1771" fmla="*/ 3157 w 10586"/>
                  <a:gd name="connsiteY1771" fmla="*/ 3718 h 10000"/>
                  <a:gd name="connsiteX1772" fmla="*/ 3184 w 10586"/>
                  <a:gd name="connsiteY1772" fmla="*/ 3718 h 10000"/>
                  <a:gd name="connsiteX1773" fmla="*/ 3290 w 10586"/>
                  <a:gd name="connsiteY1773" fmla="*/ 3838 h 10000"/>
                  <a:gd name="connsiteX1774" fmla="*/ 3300 w 10586"/>
                  <a:gd name="connsiteY1774" fmla="*/ 3846 h 10000"/>
                  <a:gd name="connsiteX1775" fmla="*/ 3300 w 10586"/>
                  <a:gd name="connsiteY1775" fmla="*/ 3915 h 10000"/>
                  <a:gd name="connsiteX1776" fmla="*/ 3318 w 10586"/>
                  <a:gd name="connsiteY1776" fmla="*/ 4000 h 10000"/>
                  <a:gd name="connsiteX1777" fmla="*/ 3323 w 10586"/>
                  <a:gd name="connsiteY1777" fmla="*/ 4000 h 10000"/>
                  <a:gd name="connsiteX1778" fmla="*/ 3323 w 10586"/>
                  <a:gd name="connsiteY1778" fmla="*/ 4034 h 10000"/>
                  <a:gd name="connsiteX1779" fmla="*/ 3318 w 10586"/>
                  <a:gd name="connsiteY1779" fmla="*/ 4051 h 10000"/>
                  <a:gd name="connsiteX1780" fmla="*/ 3300 w 10586"/>
                  <a:gd name="connsiteY1780" fmla="*/ 4051 h 10000"/>
                  <a:gd name="connsiteX1781" fmla="*/ 3290 w 10586"/>
                  <a:gd name="connsiteY1781" fmla="*/ 4077 h 10000"/>
                  <a:gd name="connsiteX1782" fmla="*/ 3286 w 10586"/>
                  <a:gd name="connsiteY1782" fmla="*/ 4103 h 10000"/>
                  <a:gd name="connsiteX1783" fmla="*/ 3286 w 10586"/>
                  <a:gd name="connsiteY1783" fmla="*/ 4197 h 10000"/>
                  <a:gd name="connsiteX1784" fmla="*/ 3290 w 10586"/>
                  <a:gd name="connsiteY1784" fmla="*/ 4214 h 10000"/>
                  <a:gd name="connsiteX1785" fmla="*/ 3304 w 10586"/>
                  <a:gd name="connsiteY1785" fmla="*/ 4214 h 10000"/>
                  <a:gd name="connsiteX1786" fmla="*/ 3323 w 10586"/>
                  <a:gd name="connsiteY1786" fmla="*/ 4239 h 10000"/>
                  <a:gd name="connsiteX1787" fmla="*/ 3350 w 10586"/>
                  <a:gd name="connsiteY1787" fmla="*/ 4222 h 10000"/>
                  <a:gd name="connsiteX1788" fmla="*/ 3369 w 10586"/>
                  <a:gd name="connsiteY1788" fmla="*/ 4256 h 10000"/>
                  <a:gd name="connsiteX1789" fmla="*/ 3369 w 10586"/>
                  <a:gd name="connsiteY1789" fmla="*/ 4256 h 10000"/>
                  <a:gd name="connsiteX1790" fmla="*/ 3336 w 10586"/>
                  <a:gd name="connsiteY1790" fmla="*/ 4274 h 10000"/>
                  <a:gd name="connsiteX1791" fmla="*/ 3323 w 10586"/>
                  <a:gd name="connsiteY1791" fmla="*/ 4274 h 10000"/>
                  <a:gd name="connsiteX1792" fmla="*/ 3290 w 10586"/>
                  <a:gd name="connsiteY1792" fmla="*/ 4274 h 10000"/>
                  <a:gd name="connsiteX1793" fmla="*/ 3286 w 10586"/>
                  <a:gd name="connsiteY1793" fmla="*/ 4239 h 10000"/>
                  <a:gd name="connsiteX1794" fmla="*/ 3263 w 10586"/>
                  <a:gd name="connsiteY1794" fmla="*/ 4214 h 10000"/>
                  <a:gd name="connsiteX1795" fmla="*/ 3258 w 10586"/>
                  <a:gd name="connsiteY1795" fmla="*/ 4188 h 10000"/>
                  <a:gd name="connsiteX1796" fmla="*/ 3263 w 10586"/>
                  <a:gd name="connsiteY1796" fmla="*/ 4171 h 10000"/>
                  <a:gd name="connsiteX1797" fmla="*/ 3263 w 10586"/>
                  <a:gd name="connsiteY1797" fmla="*/ 4103 h 10000"/>
                  <a:gd name="connsiteX1798" fmla="*/ 3276 w 10586"/>
                  <a:gd name="connsiteY1798" fmla="*/ 4060 h 10000"/>
                  <a:gd name="connsiteX1799" fmla="*/ 3272 w 10586"/>
                  <a:gd name="connsiteY1799" fmla="*/ 4051 h 10000"/>
                  <a:gd name="connsiteX1800" fmla="*/ 3263 w 10586"/>
                  <a:gd name="connsiteY1800" fmla="*/ 4051 h 10000"/>
                  <a:gd name="connsiteX1801" fmla="*/ 3263 w 10586"/>
                  <a:gd name="connsiteY1801" fmla="*/ 4034 h 10000"/>
                  <a:gd name="connsiteX1802" fmla="*/ 3263 w 10586"/>
                  <a:gd name="connsiteY1802" fmla="*/ 4000 h 10000"/>
                  <a:gd name="connsiteX1803" fmla="*/ 3272 w 10586"/>
                  <a:gd name="connsiteY1803" fmla="*/ 4000 h 10000"/>
                  <a:gd name="connsiteX1804" fmla="*/ 3272 w 10586"/>
                  <a:gd name="connsiteY1804" fmla="*/ 3974 h 10000"/>
                  <a:gd name="connsiteX1805" fmla="*/ 3272 w 10586"/>
                  <a:gd name="connsiteY1805" fmla="*/ 3966 h 10000"/>
                  <a:gd name="connsiteX1806" fmla="*/ 3272 w 10586"/>
                  <a:gd name="connsiteY1806" fmla="*/ 3949 h 10000"/>
                  <a:gd name="connsiteX1807" fmla="*/ 3258 w 10586"/>
                  <a:gd name="connsiteY1807" fmla="*/ 3923 h 10000"/>
                  <a:gd name="connsiteX1808" fmla="*/ 3249 w 10586"/>
                  <a:gd name="connsiteY1808" fmla="*/ 3915 h 10000"/>
                  <a:gd name="connsiteX1809" fmla="*/ 3244 w 10586"/>
                  <a:gd name="connsiteY1809" fmla="*/ 3897 h 10000"/>
                  <a:gd name="connsiteX1810" fmla="*/ 3230 w 10586"/>
                  <a:gd name="connsiteY1810" fmla="*/ 3889 h 10000"/>
                  <a:gd name="connsiteX1811" fmla="*/ 3230 w 10586"/>
                  <a:gd name="connsiteY1811" fmla="*/ 3863 h 10000"/>
                  <a:gd name="connsiteX1812" fmla="*/ 3230 w 10586"/>
                  <a:gd name="connsiteY1812" fmla="*/ 3838 h 10000"/>
                  <a:gd name="connsiteX1813" fmla="*/ 3226 w 10586"/>
                  <a:gd name="connsiteY1813" fmla="*/ 3803 h 10000"/>
                  <a:gd name="connsiteX1814" fmla="*/ 3138 w 10586"/>
                  <a:gd name="connsiteY1814" fmla="*/ 3838 h 10000"/>
                  <a:gd name="connsiteX1815" fmla="*/ 3078 w 10586"/>
                  <a:gd name="connsiteY1815" fmla="*/ 3889 h 10000"/>
                  <a:gd name="connsiteX1816" fmla="*/ 3078 w 10586"/>
                  <a:gd name="connsiteY1816" fmla="*/ 3940 h 10000"/>
                  <a:gd name="connsiteX1817" fmla="*/ 3069 w 10586"/>
                  <a:gd name="connsiteY1817" fmla="*/ 3983 h 10000"/>
                  <a:gd name="connsiteX1818" fmla="*/ 3069 w 10586"/>
                  <a:gd name="connsiteY1818" fmla="*/ 4009 h 10000"/>
                  <a:gd name="connsiteX1819" fmla="*/ 3078 w 10586"/>
                  <a:gd name="connsiteY1819" fmla="*/ 4026 h 10000"/>
                  <a:gd name="connsiteX1820" fmla="*/ 3083 w 10586"/>
                  <a:gd name="connsiteY1820" fmla="*/ 4034 h 10000"/>
                  <a:gd name="connsiteX1821" fmla="*/ 3092 w 10586"/>
                  <a:gd name="connsiteY1821" fmla="*/ 4060 h 10000"/>
                  <a:gd name="connsiteX1822" fmla="*/ 3092 w 10586"/>
                  <a:gd name="connsiteY1822" fmla="*/ 4077 h 10000"/>
                  <a:gd name="connsiteX1823" fmla="*/ 3097 w 10586"/>
                  <a:gd name="connsiteY1823" fmla="*/ 4103 h 10000"/>
                  <a:gd name="connsiteX1824" fmla="*/ 3101 w 10586"/>
                  <a:gd name="connsiteY1824" fmla="*/ 4162 h 10000"/>
                  <a:gd name="connsiteX1825" fmla="*/ 3097 w 10586"/>
                  <a:gd name="connsiteY1825" fmla="*/ 4222 h 10000"/>
                  <a:gd name="connsiteX1826" fmla="*/ 3041 w 10586"/>
                  <a:gd name="connsiteY1826" fmla="*/ 4325 h 10000"/>
                  <a:gd name="connsiteX1827" fmla="*/ 3037 w 10586"/>
                  <a:gd name="connsiteY1827" fmla="*/ 4419 h 10000"/>
                  <a:gd name="connsiteX1828" fmla="*/ 3018 w 10586"/>
                  <a:gd name="connsiteY1828" fmla="*/ 4470 h 10000"/>
                  <a:gd name="connsiteX1829" fmla="*/ 2991 w 10586"/>
                  <a:gd name="connsiteY1829" fmla="*/ 4513 h 10000"/>
                  <a:gd name="connsiteX1830" fmla="*/ 2977 w 10586"/>
                  <a:gd name="connsiteY1830" fmla="*/ 4530 h 10000"/>
                  <a:gd name="connsiteX1831" fmla="*/ 2945 w 10586"/>
                  <a:gd name="connsiteY1831" fmla="*/ 4556 h 10000"/>
                  <a:gd name="connsiteX1832" fmla="*/ 2935 w 10586"/>
                  <a:gd name="connsiteY1832" fmla="*/ 4581 h 10000"/>
                  <a:gd name="connsiteX1833" fmla="*/ 2949 w 10586"/>
                  <a:gd name="connsiteY1833" fmla="*/ 4624 h 10000"/>
                  <a:gd name="connsiteX1834" fmla="*/ 2945 w 10586"/>
                  <a:gd name="connsiteY1834" fmla="*/ 4658 h 10000"/>
                  <a:gd name="connsiteX1835" fmla="*/ 2922 w 10586"/>
                  <a:gd name="connsiteY1835" fmla="*/ 4667 h 10000"/>
                  <a:gd name="connsiteX1836" fmla="*/ 2876 w 10586"/>
                  <a:gd name="connsiteY1836" fmla="*/ 4632 h 10000"/>
                  <a:gd name="connsiteX1837" fmla="*/ 2857 w 10586"/>
                  <a:gd name="connsiteY1837" fmla="*/ 4632 h 10000"/>
                  <a:gd name="connsiteX1838" fmla="*/ 2820 w 10586"/>
                  <a:gd name="connsiteY1838" fmla="*/ 4641 h 10000"/>
                  <a:gd name="connsiteX1839" fmla="*/ 2797 w 10586"/>
                  <a:gd name="connsiteY1839" fmla="*/ 4632 h 10000"/>
                  <a:gd name="connsiteX1840" fmla="*/ 2788 w 10586"/>
                  <a:gd name="connsiteY1840" fmla="*/ 4624 h 10000"/>
                  <a:gd name="connsiteX1841" fmla="*/ 2788 w 10586"/>
                  <a:gd name="connsiteY1841" fmla="*/ 4598 h 10000"/>
                  <a:gd name="connsiteX1842" fmla="*/ 2797 w 10586"/>
                  <a:gd name="connsiteY1842" fmla="*/ 4581 h 10000"/>
                  <a:gd name="connsiteX1843" fmla="*/ 2788 w 10586"/>
                  <a:gd name="connsiteY1843" fmla="*/ 4530 h 10000"/>
                  <a:gd name="connsiteX1844" fmla="*/ 2774 w 10586"/>
                  <a:gd name="connsiteY1844" fmla="*/ 4530 h 10000"/>
                  <a:gd name="connsiteX1845" fmla="*/ 2770 w 10586"/>
                  <a:gd name="connsiteY1845" fmla="*/ 4513 h 10000"/>
                  <a:gd name="connsiteX1846" fmla="*/ 2774 w 10586"/>
                  <a:gd name="connsiteY1846" fmla="*/ 4513 h 10000"/>
                  <a:gd name="connsiteX1847" fmla="*/ 2788 w 10586"/>
                  <a:gd name="connsiteY1847" fmla="*/ 4496 h 10000"/>
                  <a:gd name="connsiteX1848" fmla="*/ 2802 w 10586"/>
                  <a:gd name="connsiteY1848" fmla="*/ 4513 h 10000"/>
                  <a:gd name="connsiteX1849" fmla="*/ 2811 w 10586"/>
                  <a:gd name="connsiteY1849" fmla="*/ 4530 h 10000"/>
                  <a:gd name="connsiteX1850" fmla="*/ 2820 w 10586"/>
                  <a:gd name="connsiteY1850" fmla="*/ 4521 h 10000"/>
                  <a:gd name="connsiteX1851" fmla="*/ 2829 w 10586"/>
                  <a:gd name="connsiteY1851" fmla="*/ 4513 h 10000"/>
                  <a:gd name="connsiteX1852" fmla="*/ 2843 w 10586"/>
                  <a:gd name="connsiteY1852" fmla="*/ 4513 h 10000"/>
                  <a:gd name="connsiteX1853" fmla="*/ 2848 w 10586"/>
                  <a:gd name="connsiteY1853" fmla="*/ 4470 h 10000"/>
                  <a:gd name="connsiteX1854" fmla="*/ 2862 w 10586"/>
                  <a:gd name="connsiteY1854" fmla="*/ 4487 h 10000"/>
                  <a:gd name="connsiteX1855" fmla="*/ 2876 w 10586"/>
                  <a:gd name="connsiteY1855" fmla="*/ 4470 h 10000"/>
                  <a:gd name="connsiteX1856" fmla="*/ 2880 w 10586"/>
                  <a:gd name="connsiteY1856" fmla="*/ 4462 h 10000"/>
                  <a:gd name="connsiteX1857" fmla="*/ 2889 w 10586"/>
                  <a:gd name="connsiteY1857" fmla="*/ 4444 h 10000"/>
                  <a:gd name="connsiteX1858" fmla="*/ 2894 w 10586"/>
                  <a:gd name="connsiteY1858" fmla="*/ 4462 h 10000"/>
                  <a:gd name="connsiteX1859" fmla="*/ 2917 w 10586"/>
                  <a:gd name="connsiteY1859" fmla="*/ 4444 h 10000"/>
                  <a:gd name="connsiteX1860" fmla="*/ 2922 w 10586"/>
                  <a:gd name="connsiteY1860" fmla="*/ 4436 h 10000"/>
                  <a:gd name="connsiteX1861" fmla="*/ 2917 w 10586"/>
                  <a:gd name="connsiteY1861" fmla="*/ 4410 h 10000"/>
                  <a:gd name="connsiteX1862" fmla="*/ 2894 w 10586"/>
                  <a:gd name="connsiteY1862" fmla="*/ 4410 h 10000"/>
                  <a:gd name="connsiteX1863" fmla="*/ 2889 w 10586"/>
                  <a:gd name="connsiteY1863" fmla="*/ 4419 h 10000"/>
                  <a:gd name="connsiteX1864" fmla="*/ 2876 w 10586"/>
                  <a:gd name="connsiteY1864" fmla="*/ 4410 h 10000"/>
                  <a:gd name="connsiteX1865" fmla="*/ 2880 w 10586"/>
                  <a:gd name="connsiteY1865" fmla="*/ 4376 h 10000"/>
                  <a:gd name="connsiteX1866" fmla="*/ 2903 w 10586"/>
                  <a:gd name="connsiteY1866" fmla="*/ 4393 h 10000"/>
                  <a:gd name="connsiteX1867" fmla="*/ 2931 w 10586"/>
                  <a:gd name="connsiteY1867" fmla="*/ 4393 h 10000"/>
                  <a:gd name="connsiteX1868" fmla="*/ 2931 w 10586"/>
                  <a:gd name="connsiteY1868" fmla="*/ 4385 h 10000"/>
                  <a:gd name="connsiteX1869" fmla="*/ 2931 w 10586"/>
                  <a:gd name="connsiteY1869" fmla="*/ 4350 h 10000"/>
                  <a:gd name="connsiteX1870" fmla="*/ 2945 w 10586"/>
                  <a:gd name="connsiteY1870" fmla="*/ 4350 h 10000"/>
                  <a:gd name="connsiteX1871" fmla="*/ 2949 w 10586"/>
                  <a:gd name="connsiteY1871" fmla="*/ 4325 h 10000"/>
                  <a:gd name="connsiteX1872" fmla="*/ 2963 w 10586"/>
                  <a:gd name="connsiteY1872" fmla="*/ 4256 h 10000"/>
                  <a:gd name="connsiteX1873" fmla="*/ 2982 w 10586"/>
                  <a:gd name="connsiteY1873" fmla="*/ 4239 h 10000"/>
                  <a:gd name="connsiteX1874" fmla="*/ 2991 w 10586"/>
                  <a:gd name="connsiteY1874" fmla="*/ 4214 h 10000"/>
                  <a:gd name="connsiteX1875" fmla="*/ 2991 w 10586"/>
                  <a:gd name="connsiteY1875" fmla="*/ 4197 h 10000"/>
                  <a:gd name="connsiteX1876" fmla="*/ 2995 w 10586"/>
                  <a:gd name="connsiteY1876" fmla="*/ 4171 h 10000"/>
                  <a:gd name="connsiteX1877" fmla="*/ 2991 w 10586"/>
                  <a:gd name="connsiteY1877" fmla="*/ 4077 h 10000"/>
                  <a:gd name="connsiteX1878" fmla="*/ 2995 w 10586"/>
                  <a:gd name="connsiteY1878" fmla="*/ 4034 h 10000"/>
                  <a:gd name="connsiteX1879" fmla="*/ 3018 w 10586"/>
                  <a:gd name="connsiteY1879" fmla="*/ 3983 h 10000"/>
                  <a:gd name="connsiteX1880" fmla="*/ 3018 w 10586"/>
                  <a:gd name="connsiteY1880" fmla="*/ 3915 h 10000"/>
                  <a:gd name="connsiteX1881" fmla="*/ 2949 w 10586"/>
                  <a:gd name="connsiteY1881" fmla="*/ 3778 h 10000"/>
                  <a:gd name="connsiteX1882" fmla="*/ 2954 w 10586"/>
                  <a:gd name="connsiteY1882" fmla="*/ 3675 h 10000"/>
                  <a:gd name="connsiteX1883" fmla="*/ 2954 w 10586"/>
                  <a:gd name="connsiteY1883" fmla="*/ 3650 h 10000"/>
                  <a:gd name="connsiteX1884" fmla="*/ 2963 w 10586"/>
                  <a:gd name="connsiteY1884" fmla="*/ 3624 h 10000"/>
                  <a:gd name="connsiteX1885" fmla="*/ 2954 w 10586"/>
                  <a:gd name="connsiteY1885" fmla="*/ 3564 h 10000"/>
                  <a:gd name="connsiteX1886" fmla="*/ 2963 w 10586"/>
                  <a:gd name="connsiteY1886" fmla="*/ 3538 h 10000"/>
                  <a:gd name="connsiteX1887" fmla="*/ 2963 w 10586"/>
                  <a:gd name="connsiteY1887" fmla="*/ 3487 h 10000"/>
                  <a:gd name="connsiteX1888" fmla="*/ 2963 w 10586"/>
                  <a:gd name="connsiteY1888" fmla="*/ 3479 h 10000"/>
                  <a:gd name="connsiteX1889" fmla="*/ 2963 w 10586"/>
                  <a:gd name="connsiteY1889" fmla="*/ 3462 h 10000"/>
                  <a:gd name="connsiteX1890" fmla="*/ 2954 w 10586"/>
                  <a:gd name="connsiteY1890" fmla="*/ 3453 h 10000"/>
                  <a:gd name="connsiteX1891" fmla="*/ 2954 w 10586"/>
                  <a:gd name="connsiteY1891" fmla="*/ 3444 h 10000"/>
                  <a:gd name="connsiteX1892" fmla="*/ 2954 w 10586"/>
                  <a:gd name="connsiteY1892" fmla="*/ 3402 h 10000"/>
                  <a:gd name="connsiteX1893" fmla="*/ 2954 w 10586"/>
                  <a:gd name="connsiteY1893" fmla="*/ 3393 h 10000"/>
                  <a:gd name="connsiteX1894" fmla="*/ 2949 w 10586"/>
                  <a:gd name="connsiteY1894" fmla="*/ 3376 h 10000"/>
                  <a:gd name="connsiteX1895" fmla="*/ 2949 w 10586"/>
                  <a:gd name="connsiteY1895" fmla="*/ 3342 h 10000"/>
                  <a:gd name="connsiteX1896" fmla="*/ 2949 w 10586"/>
                  <a:gd name="connsiteY1896" fmla="*/ 3316 h 10000"/>
                  <a:gd name="connsiteX1897" fmla="*/ 2968 w 10586"/>
                  <a:gd name="connsiteY1897" fmla="*/ 3291 h 10000"/>
                  <a:gd name="connsiteX1898" fmla="*/ 2963 w 10586"/>
                  <a:gd name="connsiteY1898" fmla="*/ 3205 h 10000"/>
                  <a:gd name="connsiteX1899" fmla="*/ 2968 w 10586"/>
                  <a:gd name="connsiteY1899" fmla="*/ 3171 h 10000"/>
                  <a:gd name="connsiteX1900" fmla="*/ 2968 w 10586"/>
                  <a:gd name="connsiteY1900" fmla="*/ 3128 h 10000"/>
                  <a:gd name="connsiteX1901" fmla="*/ 2954 w 10586"/>
                  <a:gd name="connsiteY1901" fmla="*/ 3051 h 10000"/>
                  <a:gd name="connsiteX1902" fmla="*/ 2954 w 10586"/>
                  <a:gd name="connsiteY1902" fmla="*/ 3009 h 10000"/>
                  <a:gd name="connsiteX1903" fmla="*/ 2922 w 10586"/>
                  <a:gd name="connsiteY1903" fmla="*/ 2940 h 10000"/>
                  <a:gd name="connsiteX1904" fmla="*/ 2903 w 10586"/>
                  <a:gd name="connsiteY1904" fmla="*/ 2880 h 10000"/>
                  <a:gd name="connsiteX1905" fmla="*/ 2903 w 10586"/>
                  <a:gd name="connsiteY1905" fmla="*/ 2855 h 10000"/>
                  <a:gd name="connsiteX1906" fmla="*/ 2908 w 10586"/>
                  <a:gd name="connsiteY1906" fmla="*/ 2846 h 10000"/>
                  <a:gd name="connsiteX1907" fmla="*/ 2931 w 10586"/>
                  <a:gd name="connsiteY1907" fmla="*/ 2821 h 10000"/>
                  <a:gd name="connsiteX1908" fmla="*/ 2931 w 10586"/>
                  <a:gd name="connsiteY1908" fmla="*/ 2803 h 10000"/>
                  <a:gd name="connsiteX1909" fmla="*/ 2935 w 10586"/>
                  <a:gd name="connsiteY1909" fmla="*/ 2786 h 10000"/>
                  <a:gd name="connsiteX1910" fmla="*/ 2935 w 10586"/>
                  <a:gd name="connsiteY1910" fmla="*/ 2744 h 10000"/>
                  <a:gd name="connsiteX1911" fmla="*/ 2963 w 10586"/>
                  <a:gd name="connsiteY1911" fmla="*/ 2607 h 10000"/>
                  <a:gd name="connsiteX1912" fmla="*/ 2963 w 10586"/>
                  <a:gd name="connsiteY1912" fmla="*/ 2419 h 10000"/>
                  <a:gd name="connsiteX1913" fmla="*/ 2954 w 10586"/>
                  <a:gd name="connsiteY1913" fmla="*/ 2410 h 10000"/>
                  <a:gd name="connsiteX1914" fmla="*/ 2963 w 10586"/>
                  <a:gd name="connsiteY1914" fmla="*/ 2393 h 10000"/>
                  <a:gd name="connsiteX1915" fmla="*/ 2908 w 10586"/>
                  <a:gd name="connsiteY1915" fmla="*/ 2359 h 10000"/>
                  <a:gd name="connsiteX1916" fmla="*/ 2889 w 10586"/>
                  <a:gd name="connsiteY1916" fmla="*/ 2325 h 10000"/>
                  <a:gd name="connsiteX1917" fmla="*/ 2788 w 10586"/>
                  <a:gd name="connsiteY1917" fmla="*/ 2333 h 10000"/>
                  <a:gd name="connsiteX1918" fmla="*/ 2774 w 10586"/>
                  <a:gd name="connsiteY1918" fmla="*/ 2325 h 10000"/>
                  <a:gd name="connsiteX1919" fmla="*/ 2783 w 10586"/>
                  <a:gd name="connsiteY1919" fmla="*/ 2308 h 10000"/>
                  <a:gd name="connsiteX1920" fmla="*/ 2747 w 10586"/>
                  <a:gd name="connsiteY1920" fmla="*/ 2308 h 10000"/>
                  <a:gd name="connsiteX1921" fmla="*/ 2742 w 10586"/>
                  <a:gd name="connsiteY1921" fmla="*/ 2333 h 10000"/>
                  <a:gd name="connsiteX1922" fmla="*/ 2682 w 10586"/>
                  <a:gd name="connsiteY1922" fmla="*/ 2769 h 10000"/>
                  <a:gd name="connsiteX1923" fmla="*/ 2613 w 10586"/>
                  <a:gd name="connsiteY1923" fmla="*/ 2940 h 10000"/>
                  <a:gd name="connsiteX1924" fmla="*/ 2581 w 10586"/>
                  <a:gd name="connsiteY1924" fmla="*/ 2966 h 10000"/>
                  <a:gd name="connsiteX1925" fmla="*/ 2576 w 10586"/>
                  <a:gd name="connsiteY1925" fmla="*/ 3051 h 10000"/>
                  <a:gd name="connsiteX1926" fmla="*/ 2581 w 10586"/>
                  <a:gd name="connsiteY1926" fmla="*/ 3051 h 10000"/>
                  <a:gd name="connsiteX1927" fmla="*/ 2594 w 10586"/>
                  <a:gd name="connsiteY1927" fmla="*/ 3017 h 10000"/>
                  <a:gd name="connsiteX1928" fmla="*/ 2594 w 10586"/>
                  <a:gd name="connsiteY1928" fmla="*/ 3034 h 10000"/>
                  <a:gd name="connsiteX1929" fmla="*/ 2594 w 10586"/>
                  <a:gd name="connsiteY1929" fmla="*/ 3051 h 10000"/>
                  <a:gd name="connsiteX1930" fmla="*/ 2590 w 10586"/>
                  <a:gd name="connsiteY1930" fmla="*/ 3077 h 10000"/>
                  <a:gd name="connsiteX1931" fmla="*/ 2567 w 10586"/>
                  <a:gd name="connsiteY1931" fmla="*/ 3103 h 10000"/>
                  <a:gd name="connsiteX1932" fmla="*/ 2562 w 10586"/>
                  <a:gd name="connsiteY1932" fmla="*/ 3145 h 10000"/>
                  <a:gd name="connsiteX1933" fmla="*/ 2567 w 10586"/>
                  <a:gd name="connsiteY1933" fmla="*/ 3179 h 10000"/>
                  <a:gd name="connsiteX1934" fmla="*/ 2590 w 10586"/>
                  <a:gd name="connsiteY1934" fmla="*/ 3171 h 10000"/>
                  <a:gd name="connsiteX1935" fmla="*/ 2594 w 10586"/>
                  <a:gd name="connsiteY1935" fmla="*/ 3145 h 10000"/>
                  <a:gd name="connsiteX1936" fmla="*/ 2613 w 10586"/>
                  <a:gd name="connsiteY1936" fmla="*/ 3154 h 10000"/>
                  <a:gd name="connsiteX1937" fmla="*/ 2622 w 10586"/>
                  <a:gd name="connsiteY1937" fmla="*/ 3179 h 10000"/>
                  <a:gd name="connsiteX1938" fmla="*/ 2613 w 10586"/>
                  <a:gd name="connsiteY1938" fmla="*/ 3214 h 10000"/>
                  <a:gd name="connsiteX1939" fmla="*/ 2613 w 10586"/>
                  <a:gd name="connsiteY1939" fmla="*/ 3308 h 10000"/>
                  <a:gd name="connsiteX1940" fmla="*/ 2608 w 10586"/>
                  <a:gd name="connsiteY1940" fmla="*/ 3325 h 10000"/>
                  <a:gd name="connsiteX1941" fmla="*/ 2608 w 10586"/>
                  <a:gd name="connsiteY1941" fmla="*/ 3376 h 10000"/>
                  <a:gd name="connsiteX1942" fmla="*/ 2613 w 10586"/>
                  <a:gd name="connsiteY1942" fmla="*/ 3419 h 10000"/>
                  <a:gd name="connsiteX1943" fmla="*/ 2608 w 10586"/>
                  <a:gd name="connsiteY1943" fmla="*/ 3444 h 10000"/>
                  <a:gd name="connsiteX1944" fmla="*/ 2594 w 10586"/>
                  <a:gd name="connsiteY1944" fmla="*/ 3444 h 10000"/>
                  <a:gd name="connsiteX1945" fmla="*/ 2590 w 10586"/>
                  <a:gd name="connsiteY1945" fmla="*/ 3427 h 10000"/>
                  <a:gd name="connsiteX1946" fmla="*/ 2581 w 10586"/>
                  <a:gd name="connsiteY1946" fmla="*/ 3564 h 10000"/>
                  <a:gd name="connsiteX1947" fmla="*/ 2594 w 10586"/>
                  <a:gd name="connsiteY1947" fmla="*/ 3598 h 10000"/>
                  <a:gd name="connsiteX1948" fmla="*/ 2594 w 10586"/>
                  <a:gd name="connsiteY1948" fmla="*/ 3581 h 10000"/>
                  <a:gd name="connsiteX1949" fmla="*/ 2608 w 10586"/>
                  <a:gd name="connsiteY1949" fmla="*/ 3556 h 10000"/>
                  <a:gd name="connsiteX1950" fmla="*/ 2650 w 10586"/>
                  <a:gd name="connsiteY1950" fmla="*/ 3615 h 10000"/>
                  <a:gd name="connsiteX1951" fmla="*/ 2664 w 10586"/>
                  <a:gd name="connsiteY1951" fmla="*/ 3615 h 10000"/>
                  <a:gd name="connsiteX1952" fmla="*/ 2668 w 10586"/>
                  <a:gd name="connsiteY1952" fmla="*/ 3615 h 10000"/>
                  <a:gd name="connsiteX1953" fmla="*/ 2664 w 10586"/>
                  <a:gd name="connsiteY1953" fmla="*/ 3667 h 10000"/>
                  <a:gd name="connsiteX1954" fmla="*/ 2687 w 10586"/>
                  <a:gd name="connsiteY1954" fmla="*/ 3786 h 10000"/>
                  <a:gd name="connsiteX1955" fmla="*/ 2710 w 10586"/>
                  <a:gd name="connsiteY1955" fmla="*/ 3812 h 10000"/>
                  <a:gd name="connsiteX1956" fmla="*/ 2724 w 10586"/>
                  <a:gd name="connsiteY1956" fmla="*/ 3812 h 10000"/>
                  <a:gd name="connsiteX1957" fmla="*/ 2724 w 10586"/>
                  <a:gd name="connsiteY1957" fmla="*/ 3829 h 10000"/>
                  <a:gd name="connsiteX1958" fmla="*/ 2737 w 10586"/>
                  <a:gd name="connsiteY1958" fmla="*/ 3838 h 10000"/>
                  <a:gd name="connsiteX1959" fmla="*/ 2714 w 10586"/>
                  <a:gd name="connsiteY1959" fmla="*/ 3872 h 10000"/>
                  <a:gd name="connsiteX1960" fmla="*/ 2696 w 10586"/>
                  <a:gd name="connsiteY1960" fmla="*/ 4026 h 10000"/>
                  <a:gd name="connsiteX1961" fmla="*/ 2673 w 10586"/>
                  <a:gd name="connsiteY1961" fmla="*/ 4051 h 10000"/>
                  <a:gd name="connsiteX1962" fmla="*/ 2668 w 10586"/>
                  <a:gd name="connsiteY1962" fmla="*/ 4034 h 10000"/>
                  <a:gd name="connsiteX1963" fmla="*/ 2673 w 10586"/>
                  <a:gd name="connsiteY1963" fmla="*/ 4000 h 10000"/>
                  <a:gd name="connsiteX1964" fmla="*/ 2664 w 10586"/>
                  <a:gd name="connsiteY1964" fmla="*/ 3974 h 10000"/>
                  <a:gd name="connsiteX1965" fmla="*/ 2636 w 10586"/>
                  <a:gd name="connsiteY1965" fmla="*/ 3949 h 10000"/>
                  <a:gd name="connsiteX1966" fmla="*/ 2581 w 10586"/>
                  <a:gd name="connsiteY1966" fmla="*/ 3838 h 10000"/>
                  <a:gd name="connsiteX1967" fmla="*/ 2562 w 10586"/>
                  <a:gd name="connsiteY1967" fmla="*/ 3829 h 10000"/>
                  <a:gd name="connsiteX1968" fmla="*/ 2535 w 10586"/>
                  <a:gd name="connsiteY1968" fmla="*/ 3778 h 10000"/>
                  <a:gd name="connsiteX1969" fmla="*/ 2502 w 10586"/>
                  <a:gd name="connsiteY1969" fmla="*/ 3761 h 10000"/>
                  <a:gd name="connsiteX1970" fmla="*/ 2502 w 10586"/>
                  <a:gd name="connsiteY1970" fmla="*/ 3735 h 10000"/>
                  <a:gd name="connsiteX1971" fmla="*/ 2516 w 10586"/>
                  <a:gd name="connsiteY1971" fmla="*/ 3735 h 10000"/>
                  <a:gd name="connsiteX1972" fmla="*/ 2507 w 10586"/>
                  <a:gd name="connsiteY1972" fmla="*/ 3726 h 10000"/>
                  <a:gd name="connsiteX1973" fmla="*/ 2488 w 10586"/>
                  <a:gd name="connsiteY1973" fmla="*/ 3726 h 10000"/>
                  <a:gd name="connsiteX1974" fmla="*/ 2461 w 10586"/>
                  <a:gd name="connsiteY1974" fmla="*/ 3692 h 10000"/>
                  <a:gd name="connsiteX1975" fmla="*/ 2442 w 10586"/>
                  <a:gd name="connsiteY1975" fmla="*/ 3675 h 10000"/>
                  <a:gd name="connsiteX1976" fmla="*/ 2406 w 10586"/>
                  <a:gd name="connsiteY1976" fmla="*/ 3598 h 10000"/>
                  <a:gd name="connsiteX1977" fmla="*/ 2346 w 10586"/>
                  <a:gd name="connsiteY1977" fmla="*/ 3564 h 10000"/>
                  <a:gd name="connsiteX1978" fmla="*/ 2341 w 10586"/>
                  <a:gd name="connsiteY1978" fmla="*/ 3564 h 10000"/>
                  <a:gd name="connsiteX1979" fmla="*/ 2313 w 10586"/>
                  <a:gd name="connsiteY1979" fmla="*/ 3530 h 10000"/>
                  <a:gd name="connsiteX1980" fmla="*/ 2235 w 10586"/>
                  <a:gd name="connsiteY1980" fmla="*/ 3530 h 10000"/>
                  <a:gd name="connsiteX1981" fmla="*/ 2226 w 10586"/>
                  <a:gd name="connsiteY1981" fmla="*/ 3513 h 10000"/>
                  <a:gd name="connsiteX1982" fmla="*/ 2207 w 10586"/>
                  <a:gd name="connsiteY1982" fmla="*/ 3504 h 10000"/>
                  <a:gd name="connsiteX1983" fmla="*/ 2194 w 10586"/>
                  <a:gd name="connsiteY1983" fmla="*/ 3504 h 10000"/>
                  <a:gd name="connsiteX1984" fmla="*/ 2189 w 10586"/>
                  <a:gd name="connsiteY1984" fmla="*/ 3504 h 10000"/>
                  <a:gd name="connsiteX1985" fmla="*/ 2189 w 10586"/>
                  <a:gd name="connsiteY1985" fmla="*/ 3530 h 10000"/>
                  <a:gd name="connsiteX1986" fmla="*/ 2180 w 10586"/>
                  <a:gd name="connsiteY1986" fmla="*/ 3538 h 10000"/>
                  <a:gd name="connsiteX1987" fmla="*/ 2152 w 10586"/>
                  <a:gd name="connsiteY1987" fmla="*/ 3581 h 10000"/>
                  <a:gd name="connsiteX1988" fmla="*/ 2161 w 10586"/>
                  <a:gd name="connsiteY1988" fmla="*/ 3598 h 10000"/>
                  <a:gd name="connsiteX1989" fmla="*/ 2194 w 10586"/>
                  <a:gd name="connsiteY1989" fmla="*/ 3752 h 10000"/>
                  <a:gd name="connsiteX1990" fmla="*/ 2194 w 10586"/>
                  <a:gd name="connsiteY1990" fmla="*/ 3735 h 10000"/>
                  <a:gd name="connsiteX1991" fmla="*/ 2198 w 10586"/>
                  <a:gd name="connsiteY1991" fmla="*/ 3735 h 10000"/>
                  <a:gd name="connsiteX1992" fmla="*/ 2189 w 10586"/>
                  <a:gd name="connsiteY1992" fmla="*/ 3838 h 10000"/>
                  <a:gd name="connsiteX1993" fmla="*/ 2166 w 10586"/>
                  <a:gd name="connsiteY1993" fmla="*/ 3889 h 10000"/>
                  <a:gd name="connsiteX1994" fmla="*/ 2124 w 10586"/>
                  <a:gd name="connsiteY1994" fmla="*/ 3889 h 10000"/>
                  <a:gd name="connsiteX1995" fmla="*/ 2124 w 10586"/>
                  <a:gd name="connsiteY1995" fmla="*/ 3923 h 10000"/>
                  <a:gd name="connsiteX1996" fmla="*/ 2134 w 10586"/>
                  <a:gd name="connsiteY1996" fmla="*/ 3940 h 10000"/>
                  <a:gd name="connsiteX1997" fmla="*/ 2134 w 10586"/>
                  <a:gd name="connsiteY1997" fmla="*/ 3966 h 10000"/>
                  <a:gd name="connsiteX1998" fmla="*/ 2120 w 10586"/>
                  <a:gd name="connsiteY1998" fmla="*/ 4000 h 10000"/>
                  <a:gd name="connsiteX1999" fmla="*/ 2106 w 10586"/>
                  <a:gd name="connsiteY1999" fmla="*/ 4009 h 10000"/>
                  <a:gd name="connsiteX2000" fmla="*/ 2088 w 10586"/>
                  <a:gd name="connsiteY2000" fmla="*/ 4000 h 10000"/>
                  <a:gd name="connsiteX2001" fmla="*/ 2074 w 10586"/>
                  <a:gd name="connsiteY2001" fmla="*/ 3974 h 10000"/>
                  <a:gd name="connsiteX2002" fmla="*/ 2074 w 10586"/>
                  <a:gd name="connsiteY2002" fmla="*/ 3940 h 10000"/>
                  <a:gd name="connsiteX2003" fmla="*/ 2078 w 10586"/>
                  <a:gd name="connsiteY2003" fmla="*/ 3915 h 10000"/>
                  <a:gd name="connsiteX2004" fmla="*/ 2088 w 10586"/>
                  <a:gd name="connsiteY2004" fmla="*/ 3889 h 10000"/>
                  <a:gd name="connsiteX2005" fmla="*/ 2101 w 10586"/>
                  <a:gd name="connsiteY2005" fmla="*/ 3872 h 10000"/>
                  <a:gd name="connsiteX2006" fmla="*/ 2074 w 10586"/>
                  <a:gd name="connsiteY2006" fmla="*/ 3812 h 10000"/>
                  <a:gd name="connsiteX2007" fmla="*/ 2074 w 10586"/>
                  <a:gd name="connsiteY2007" fmla="*/ 3786 h 10000"/>
                  <a:gd name="connsiteX2008" fmla="*/ 2060 w 10586"/>
                  <a:gd name="connsiteY2008" fmla="*/ 3786 h 10000"/>
                  <a:gd name="connsiteX2009" fmla="*/ 2014 w 10586"/>
                  <a:gd name="connsiteY2009" fmla="*/ 3829 h 10000"/>
                  <a:gd name="connsiteX2010" fmla="*/ 2000 w 10586"/>
                  <a:gd name="connsiteY2010" fmla="*/ 3863 h 10000"/>
                  <a:gd name="connsiteX2011" fmla="*/ 1986 w 10586"/>
                  <a:gd name="connsiteY2011" fmla="*/ 3872 h 10000"/>
                  <a:gd name="connsiteX2012" fmla="*/ 1959 w 10586"/>
                  <a:gd name="connsiteY2012" fmla="*/ 3940 h 10000"/>
                  <a:gd name="connsiteX2013" fmla="*/ 1945 w 10586"/>
                  <a:gd name="connsiteY2013" fmla="*/ 3949 h 10000"/>
                  <a:gd name="connsiteX2014" fmla="*/ 1940 w 10586"/>
                  <a:gd name="connsiteY2014" fmla="*/ 3923 h 10000"/>
                  <a:gd name="connsiteX2015" fmla="*/ 1917 w 10586"/>
                  <a:gd name="connsiteY2015" fmla="*/ 3915 h 10000"/>
                  <a:gd name="connsiteX2016" fmla="*/ 1899 w 10586"/>
                  <a:gd name="connsiteY2016" fmla="*/ 3923 h 10000"/>
                  <a:gd name="connsiteX2017" fmla="*/ 1880 w 10586"/>
                  <a:gd name="connsiteY2017" fmla="*/ 3915 h 10000"/>
                  <a:gd name="connsiteX2018" fmla="*/ 1853 w 10586"/>
                  <a:gd name="connsiteY2018" fmla="*/ 3940 h 10000"/>
                  <a:gd name="connsiteX2019" fmla="*/ 1839 w 10586"/>
                  <a:gd name="connsiteY2019" fmla="*/ 3940 h 10000"/>
                  <a:gd name="connsiteX2020" fmla="*/ 1806 w 10586"/>
                  <a:gd name="connsiteY2020" fmla="*/ 3983 h 10000"/>
                  <a:gd name="connsiteX2021" fmla="*/ 1806 w 10586"/>
                  <a:gd name="connsiteY2021" fmla="*/ 4000 h 10000"/>
                  <a:gd name="connsiteX2022" fmla="*/ 1797 w 10586"/>
                  <a:gd name="connsiteY2022" fmla="*/ 4077 h 10000"/>
                  <a:gd name="connsiteX2023" fmla="*/ 1783 w 10586"/>
                  <a:gd name="connsiteY2023" fmla="*/ 4077 h 10000"/>
                  <a:gd name="connsiteX2024" fmla="*/ 1779 w 10586"/>
                  <a:gd name="connsiteY2024" fmla="*/ 4051 h 10000"/>
                  <a:gd name="connsiteX2025" fmla="*/ 1765 w 10586"/>
                  <a:gd name="connsiteY2025" fmla="*/ 4026 h 10000"/>
                  <a:gd name="connsiteX2026" fmla="*/ 1751 w 10586"/>
                  <a:gd name="connsiteY2026" fmla="*/ 4051 h 10000"/>
                  <a:gd name="connsiteX2027" fmla="*/ 1737 w 10586"/>
                  <a:gd name="connsiteY2027" fmla="*/ 4009 h 10000"/>
                  <a:gd name="connsiteX2028" fmla="*/ 1737 w 10586"/>
                  <a:gd name="connsiteY2028" fmla="*/ 3966 h 10000"/>
                  <a:gd name="connsiteX2029" fmla="*/ 1733 w 10586"/>
                  <a:gd name="connsiteY2029" fmla="*/ 3940 h 10000"/>
                  <a:gd name="connsiteX2030" fmla="*/ 1733 w 10586"/>
                  <a:gd name="connsiteY2030" fmla="*/ 3923 h 10000"/>
                  <a:gd name="connsiteX2031" fmla="*/ 1747 w 10586"/>
                  <a:gd name="connsiteY2031" fmla="*/ 3889 h 10000"/>
                  <a:gd name="connsiteX2032" fmla="*/ 1747 w 10586"/>
                  <a:gd name="connsiteY2032" fmla="*/ 3863 h 10000"/>
                  <a:gd name="connsiteX2033" fmla="*/ 1737 w 10586"/>
                  <a:gd name="connsiteY2033" fmla="*/ 3838 h 10000"/>
                  <a:gd name="connsiteX2034" fmla="*/ 1733 w 10586"/>
                  <a:gd name="connsiteY2034" fmla="*/ 3829 h 10000"/>
                  <a:gd name="connsiteX2035" fmla="*/ 1733 w 10586"/>
                  <a:gd name="connsiteY2035" fmla="*/ 3846 h 10000"/>
                  <a:gd name="connsiteX2036" fmla="*/ 1724 w 10586"/>
                  <a:gd name="connsiteY2036" fmla="*/ 3846 h 10000"/>
                  <a:gd name="connsiteX2037" fmla="*/ 1724 w 10586"/>
                  <a:gd name="connsiteY2037" fmla="*/ 3829 h 10000"/>
                  <a:gd name="connsiteX2038" fmla="*/ 1737 w 10586"/>
                  <a:gd name="connsiteY2038" fmla="*/ 3812 h 10000"/>
                  <a:gd name="connsiteX2039" fmla="*/ 1765 w 10586"/>
                  <a:gd name="connsiteY2039" fmla="*/ 3812 h 10000"/>
                  <a:gd name="connsiteX2040" fmla="*/ 1779 w 10586"/>
                  <a:gd name="connsiteY2040" fmla="*/ 3786 h 10000"/>
                  <a:gd name="connsiteX2041" fmla="*/ 1779 w 10586"/>
                  <a:gd name="connsiteY2041" fmla="*/ 3786 h 10000"/>
                  <a:gd name="connsiteX2042" fmla="*/ 1751 w 10586"/>
                  <a:gd name="connsiteY2042" fmla="*/ 3803 h 10000"/>
                  <a:gd name="connsiteX2043" fmla="*/ 1747 w 10586"/>
                  <a:gd name="connsiteY2043" fmla="*/ 3803 h 10000"/>
                  <a:gd name="connsiteX2044" fmla="*/ 1724 w 10586"/>
                  <a:gd name="connsiteY2044" fmla="*/ 3803 h 10000"/>
                  <a:gd name="connsiteX2045" fmla="*/ 1700 w 10586"/>
                  <a:gd name="connsiteY2045" fmla="*/ 3829 h 10000"/>
                  <a:gd name="connsiteX2046" fmla="*/ 1705 w 10586"/>
                  <a:gd name="connsiteY2046" fmla="*/ 3846 h 10000"/>
                  <a:gd name="connsiteX2047" fmla="*/ 1691 w 10586"/>
                  <a:gd name="connsiteY2047" fmla="*/ 3846 h 10000"/>
                  <a:gd name="connsiteX2048" fmla="*/ 1691 w 10586"/>
                  <a:gd name="connsiteY2048" fmla="*/ 3863 h 10000"/>
                  <a:gd name="connsiteX2049" fmla="*/ 1691 w 10586"/>
                  <a:gd name="connsiteY2049" fmla="*/ 3915 h 10000"/>
                  <a:gd name="connsiteX2050" fmla="*/ 1677 w 10586"/>
                  <a:gd name="connsiteY2050" fmla="*/ 3923 h 10000"/>
                  <a:gd name="connsiteX2051" fmla="*/ 1673 w 10586"/>
                  <a:gd name="connsiteY2051" fmla="*/ 3915 h 10000"/>
                  <a:gd name="connsiteX2052" fmla="*/ 1664 w 10586"/>
                  <a:gd name="connsiteY2052" fmla="*/ 3889 h 10000"/>
                  <a:gd name="connsiteX2053" fmla="*/ 1673 w 10586"/>
                  <a:gd name="connsiteY2053" fmla="*/ 3872 h 10000"/>
                  <a:gd name="connsiteX2054" fmla="*/ 1664 w 10586"/>
                  <a:gd name="connsiteY2054" fmla="*/ 3872 h 10000"/>
                  <a:gd name="connsiteX2055" fmla="*/ 1636 w 10586"/>
                  <a:gd name="connsiteY2055" fmla="*/ 3923 h 10000"/>
                  <a:gd name="connsiteX2056" fmla="*/ 1645 w 10586"/>
                  <a:gd name="connsiteY2056" fmla="*/ 3923 h 10000"/>
                  <a:gd name="connsiteX2057" fmla="*/ 1650 w 10586"/>
                  <a:gd name="connsiteY2057" fmla="*/ 3949 h 10000"/>
                  <a:gd name="connsiteX2058" fmla="*/ 1650 w 10586"/>
                  <a:gd name="connsiteY2058" fmla="*/ 3983 h 10000"/>
                  <a:gd name="connsiteX2059" fmla="*/ 1636 w 10586"/>
                  <a:gd name="connsiteY2059" fmla="*/ 4000 h 10000"/>
                  <a:gd name="connsiteX2060" fmla="*/ 1631 w 10586"/>
                  <a:gd name="connsiteY2060" fmla="*/ 4009 h 10000"/>
                  <a:gd name="connsiteX2061" fmla="*/ 1618 w 10586"/>
                  <a:gd name="connsiteY2061" fmla="*/ 3949 h 10000"/>
                  <a:gd name="connsiteX2062" fmla="*/ 1585 w 10586"/>
                  <a:gd name="connsiteY2062" fmla="*/ 3966 h 10000"/>
                  <a:gd name="connsiteX2063" fmla="*/ 1590 w 10586"/>
                  <a:gd name="connsiteY2063" fmla="*/ 3974 h 10000"/>
                  <a:gd name="connsiteX2064" fmla="*/ 1544 w 10586"/>
                  <a:gd name="connsiteY2064" fmla="*/ 4009 h 10000"/>
                  <a:gd name="connsiteX2065" fmla="*/ 1539 w 10586"/>
                  <a:gd name="connsiteY2065" fmla="*/ 4009 h 10000"/>
                  <a:gd name="connsiteX2066" fmla="*/ 1410 w 10586"/>
                  <a:gd name="connsiteY2066" fmla="*/ 4188 h 10000"/>
                  <a:gd name="connsiteX2067" fmla="*/ 1406 w 10586"/>
                  <a:gd name="connsiteY2067" fmla="*/ 4171 h 10000"/>
                  <a:gd name="connsiteX2068" fmla="*/ 1396 w 10586"/>
                  <a:gd name="connsiteY2068" fmla="*/ 4214 h 10000"/>
                  <a:gd name="connsiteX2069" fmla="*/ 1406 w 10586"/>
                  <a:gd name="connsiteY2069" fmla="*/ 4222 h 10000"/>
                  <a:gd name="connsiteX2070" fmla="*/ 1392 w 10586"/>
                  <a:gd name="connsiteY2070" fmla="*/ 4239 h 10000"/>
                  <a:gd name="connsiteX2071" fmla="*/ 1369 w 10586"/>
                  <a:gd name="connsiteY2071" fmla="*/ 4248 h 10000"/>
                  <a:gd name="connsiteX2072" fmla="*/ 1355 w 10586"/>
                  <a:gd name="connsiteY2072" fmla="*/ 4256 h 10000"/>
                  <a:gd name="connsiteX2073" fmla="*/ 1350 w 10586"/>
                  <a:gd name="connsiteY2073" fmla="*/ 4248 h 10000"/>
                  <a:gd name="connsiteX2074" fmla="*/ 1332 w 10586"/>
                  <a:gd name="connsiteY2074" fmla="*/ 4376 h 10000"/>
                  <a:gd name="connsiteX2075" fmla="*/ 1332 w 10586"/>
                  <a:gd name="connsiteY2075" fmla="*/ 4436 h 10000"/>
                  <a:gd name="connsiteX2076" fmla="*/ 1323 w 10586"/>
                  <a:gd name="connsiteY2076" fmla="*/ 4462 h 10000"/>
                  <a:gd name="connsiteX2077" fmla="*/ 1304 w 10586"/>
                  <a:gd name="connsiteY2077" fmla="*/ 4487 h 10000"/>
                  <a:gd name="connsiteX2078" fmla="*/ 1290 w 10586"/>
                  <a:gd name="connsiteY2078" fmla="*/ 4470 h 10000"/>
                  <a:gd name="connsiteX2079" fmla="*/ 1263 w 10586"/>
                  <a:gd name="connsiteY2079" fmla="*/ 4496 h 10000"/>
                  <a:gd name="connsiteX2080" fmla="*/ 1258 w 10586"/>
                  <a:gd name="connsiteY2080" fmla="*/ 4547 h 10000"/>
                  <a:gd name="connsiteX2081" fmla="*/ 1249 w 10586"/>
                  <a:gd name="connsiteY2081" fmla="*/ 4487 h 10000"/>
                  <a:gd name="connsiteX2082" fmla="*/ 1235 w 10586"/>
                  <a:gd name="connsiteY2082" fmla="*/ 4496 h 10000"/>
                  <a:gd name="connsiteX2083" fmla="*/ 1221 w 10586"/>
                  <a:gd name="connsiteY2083" fmla="*/ 4496 h 10000"/>
                  <a:gd name="connsiteX2084" fmla="*/ 1217 w 10586"/>
                  <a:gd name="connsiteY2084" fmla="*/ 4487 h 10000"/>
                  <a:gd name="connsiteX2085" fmla="*/ 1198 w 10586"/>
                  <a:gd name="connsiteY2085" fmla="*/ 4410 h 10000"/>
                  <a:gd name="connsiteX2086" fmla="*/ 1157 w 10586"/>
                  <a:gd name="connsiteY2086" fmla="*/ 4333 h 10000"/>
                  <a:gd name="connsiteX2087" fmla="*/ 1147 w 10586"/>
                  <a:gd name="connsiteY2087" fmla="*/ 4299 h 10000"/>
                  <a:gd name="connsiteX2088" fmla="*/ 1147 w 10586"/>
                  <a:gd name="connsiteY2088" fmla="*/ 4274 h 10000"/>
                  <a:gd name="connsiteX2089" fmla="*/ 1161 w 10586"/>
                  <a:gd name="connsiteY2089" fmla="*/ 4256 h 10000"/>
                  <a:gd name="connsiteX2090" fmla="*/ 1171 w 10586"/>
                  <a:gd name="connsiteY2090" fmla="*/ 4248 h 10000"/>
                  <a:gd name="connsiteX2091" fmla="*/ 1175 w 10586"/>
                  <a:gd name="connsiteY2091" fmla="*/ 4214 h 10000"/>
                  <a:gd name="connsiteX2092" fmla="*/ 1263 w 10586"/>
                  <a:gd name="connsiteY2092" fmla="*/ 4171 h 10000"/>
                  <a:gd name="connsiteX2093" fmla="*/ 1249 w 10586"/>
                  <a:gd name="connsiteY2093" fmla="*/ 4137 h 10000"/>
                  <a:gd name="connsiteX2094" fmla="*/ 1244 w 10586"/>
                  <a:gd name="connsiteY2094" fmla="*/ 4060 h 10000"/>
                  <a:gd name="connsiteX2095" fmla="*/ 1230 w 10586"/>
                  <a:gd name="connsiteY2095" fmla="*/ 4077 h 10000"/>
                  <a:gd name="connsiteX2096" fmla="*/ 1221 w 10586"/>
                  <a:gd name="connsiteY2096" fmla="*/ 4026 h 10000"/>
                  <a:gd name="connsiteX2097" fmla="*/ 1217 w 10586"/>
                  <a:gd name="connsiteY2097" fmla="*/ 4026 h 10000"/>
                  <a:gd name="connsiteX2098" fmla="*/ 1212 w 10586"/>
                  <a:gd name="connsiteY2098" fmla="*/ 3983 h 10000"/>
                  <a:gd name="connsiteX2099" fmla="*/ 1203 w 10586"/>
                  <a:gd name="connsiteY2099" fmla="*/ 3966 h 10000"/>
                  <a:gd name="connsiteX2100" fmla="*/ 1171 w 10586"/>
                  <a:gd name="connsiteY2100" fmla="*/ 3949 h 10000"/>
                  <a:gd name="connsiteX2101" fmla="*/ 1111 w 10586"/>
                  <a:gd name="connsiteY2101" fmla="*/ 3940 h 10000"/>
                  <a:gd name="connsiteX2102" fmla="*/ 1097 w 10586"/>
                  <a:gd name="connsiteY2102" fmla="*/ 3949 h 10000"/>
                  <a:gd name="connsiteX2103" fmla="*/ 1037 w 10586"/>
                  <a:gd name="connsiteY2103" fmla="*/ 3897 h 10000"/>
                  <a:gd name="connsiteX2104" fmla="*/ 1041 w 10586"/>
                  <a:gd name="connsiteY2104" fmla="*/ 3923 h 10000"/>
                  <a:gd name="connsiteX2105" fmla="*/ 1097 w 10586"/>
                  <a:gd name="connsiteY2105" fmla="*/ 4009 h 10000"/>
                  <a:gd name="connsiteX2106" fmla="*/ 1097 w 10586"/>
                  <a:gd name="connsiteY2106" fmla="*/ 4120 h 10000"/>
                  <a:gd name="connsiteX2107" fmla="*/ 1097 w 10586"/>
                  <a:gd name="connsiteY2107" fmla="*/ 4162 h 10000"/>
                  <a:gd name="connsiteX2108" fmla="*/ 1097 w 10586"/>
                  <a:gd name="connsiteY2108" fmla="*/ 4197 h 10000"/>
                  <a:gd name="connsiteX2109" fmla="*/ 1074 w 10586"/>
                  <a:gd name="connsiteY2109" fmla="*/ 4333 h 10000"/>
                  <a:gd name="connsiteX2110" fmla="*/ 1074 w 10586"/>
                  <a:gd name="connsiteY2110" fmla="*/ 4376 h 10000"/>
                  <a:gd name="connsiteX2111" fmla="*/ 1083 w 10586"/>
                  <a:gd name="connsiteY2111" fmla="*/ 4385 h 10000"/>
                  <a:gd name="connsiteX2112" fmla="*/ 1097 w 10586"/>
                  <a:gd name="connsiteY2112" fmla="*/ 4385 h 10000"/>
                  <a:gd name="connsiteX2113" fmla="*/ 1111 w 10586"/>
                  <a:gd name="connsiteY2113" fmla="*/ 4410 h 10000"/>
                  <a:gd name="connsiteX2114" fmla="*/ 1124 w 10586"/>
                  <a:gd name="connsiteY2114" fmla="*/ 4444 h 10000"/>
                  <a:gd name="connsiteX2115" fmla="*/ 1124 w 10586"/>
                  <a:gd name="connsiteY2115" fmla="*/ 4470 h 10000"/>
                  <a:gd name="connsiteX2116" fmla="*/ 1115 w 10586"/>
                  <a:gd name="connsiteY2116" fmla="*/ 4513 h 10000"/>
                  <a:gd name="connsiteX2117" fmla="*/ 1115 w 10586"/>
                  <a:gd name="connsiteY2117" fmla="*/ 4530 h 10000"/>
                  <a:gd name="connsiteX2118" fmla="*/ 1115 w 10586"/>
                  <a:gd name="connsiteY2118" fmla="*/ 4573 h 10000"/>
                  <a:gd name="connsiteX2119" fmla="*/ 1101 w 10586"/>
                  <a:gd name="connsiteY2119" fmla="*/ 4607 h 10000"/>
                  <a:gd name="connsiteX2120" fmla="*/ 1097 w 10586"/>
                  <a:gd name="connsiteY2120" fmla="*/ 4658 h 10000"/>
                  <a:gd name="connsiteX2121" fmla="*/ 1101 w 10586"/>
                  <a:gd name="connsiteY2121" fmla="*/ 4692 h 10000"/>
                  <a:gd name="connsiteX2122" fmla="*/ 1097 w 10586"/>
                  <a:gd name="connsiteY2122" fmla="*/ 4778 h 10000"/>
                  <a:gd name="connsiteX2123" fmla="*/ 1083 w 10586"/>
                  <a:gd name="connsiteY2123" fmla="*/ 4744 h 10000"/>
                  <a:gd name="connsiteX2124" fmla="*/ 1083 w 10586"/>
                  <a:gd name="connsiteY2124" fmla="*/ 4718 h 10000"/>
                  <a:gd name="connsiteX2125" fmla="*/ 1074 w 10586"/>
                  <a:gd name="connsiteY2125" fmla="*/ 4692 h 10000"/>
                  <a:gd name="connsiteX2126" fmla="*/ 1065 w 10586"/>
                  <a:gd name="connsiteY2126" fmla="*/ 4692 h 10000"/>
                  <a:gd name="connsiteX2127" fmla="*/ 1051 w 10586"/>
                  <a:gd name="connsiteY2127" fmla="*/ 4718 h 10000"/>
                  <a:gd name="connsiteX2128" fmla="*/ 1055 w 10586"/>
                  <a:gd name="connsiteY2128" fmla="*/ 4692 h 10000"/>
                  <a:gd name="connsiteX2129" fmla="*/ 1055 w 10586"/>
                  <a:gd name="connsiteY2129" fmla="*/ 4667 h 10000"/>
                  <a:gd name="connsiteX2130" fmla="*/ 1028 w 10586"/>
                  <a:gd name="connsiteY2130" fmla="*/ 4624 h 10000"/>
                  <a:gd name="connsiteX2131" fmla="*/ 1005 w 10586"/>
                  <a:gd name="connsiteY2131" fmla="*/ 4624 h 10000"/>
                  <a:gd name="connsiteX2132" fmla="*/ 977 w 10586"/>
                  <a:gd name="connsiteY2132" fmla="*/ 4581 h 10000"/>
                  <a:gd name="connsiteX2133" fmla="*/ 963 w 10586"/>
                  <a:gd name="connsiteY2133" fmla="*/ 4607 h 10000"/>
                  <a:gd name="connsiteX2134" fmla="*/ 963 w 10586"/>
                  <a:gd name="connsiteY2134" fmla="*/ 4632 h 10000"/>
                  <a:gd name="connsiteX2135" fmla="*/ 917 w 10586"/>
                  <a:gd name="connsiteY2135" fmla="*/ 4718 h 10000"/>
                  <a:gd name="connsiteX2136" fmla="*/ 889 w 10586"/>
                  <a:gd name="connsiteY2136" fmla="*/ 4744 h 10000"/>
                  <a:gd name="connsiteX2137" fmla="*/ 880 w 10586"/>
                  <a:gd name="connsiteY2137" fmla="*/ 4744 h 10000"/>
                  <a:gd name="connsiteX2138" fmla="*/ 862 w 10586"/>
                  <a:gd name="connsiteY2138" fmla="*/ 4769 h 10000"/>
                  <a:gd name="connsiteX2139" fmla="*/ 857 w 10586"/>
                  <a:gd name="connsiteY2139" fmla="*/ 4795 h 10000"/>
                  <a:gd name="connsiteX2140" fmla="*/ 829 w 10586"/>
                  <a:gd name="connsiteY2140" fmla="*/ 4846 h 10000"/>
                  <a:gd name="connsiteX2141" fmla="*/ 816 w 10586"/>
                  <a:gd name="connsiteY2141" fmla="*/ 4855 h 10000"/>
                  <a:gd name="connsiteX2142" fmla="*/ 816 w 10586"/>
                  <a:gd name="connsiteY2142" fmla="*/ 4940 h 10000"/>
                  <a:gd name="connsiteX2143" fmla="*/ 880 w 10586"/>
                  <a:gd name="connsiteY2143" fmla="*/ 5179 h 10000"/>
                  <a:gd name="connsiteX2144" fmla="*/ 880 w 10586"/>
                  <a:gd name="connsiteY2144" fmla="*/ 5188 h 10000"/>
                  <a:gd name="connsiteX2145" fmla="*/ 862 w 10586"/>
                  <a:gd name="connsiteY2145" fmla="*/ 5171 h 10000"/>
                  <a:gd name="connsiteX2146" fmla="*/ 857 w 10586"/>
                  <a:gd name="connsiteY2146" fmla="*/ 5171 h 10000"/>
                  <a:gd name="connsiteX2147" fmla="*/ 820 w 10586"/>
                  <a:gd name="connsiteY2147" fmla="*/ 5145 h 10000"/>
                  <a:gd name="connsiteX2148" fmla="*/ 820 w 10586"/>
                  <a:gd name="connsiteY2148" fmla="*/ 5154 h 10000"/>
                  <a:gd name="connsiteX2149" fmla="*/ 816 w 10586"/>
                  <a:gd name="connsiteY2149" fmla="*/ 5171 h 10000"/>
                  <a:gd name="connsiteX2150" fmla="*/ 783 w 10586"/>
                  <a:gd name="connsiteY2150" fmla="*/ 5145 h 10000"/>
                  <a:gd name="connsiteX2151" fmla="*/ 756 w 10586"/>
                  <a:gd name="connsiteY2151" fmla="*/ 5103 h 10000"/>
                  <a:gd name="connsiteX2152" fmla="*/ 742 w 10586"/>
                  <a:gd name="connsiteY2152" fmla="*/ 5103 h 10000"/>
                  <a:gd name="connsiteX2153" fmla="*/ 728 w 10586"/>
                  <a:gd name="connsiteY2153" fmla="*/ 5094 h 10000"/>
                  <a:gd name="connsiteX2154" fmla="*/ 710 w 10586"/>
                  <a:gd name="connsiteY2154" fmla="*/ 5120 h 10000"/>
                  <a:gd name="connsiteX2155" fmla="*/ 700 w 10586"/>
                  <a:gd name="connsiteY2155" fmla="*/ 5145 h 10000"/>
                  <a:gd name="connsiteX2156" fmla="*/ 696 w 10586"/>
                  <a:gd name="connsiteY2156" fmla="*/ 5103 h 10000"/>
                  <a:gd name="connsiteX2157" fmla="*/ 714 w 10586"/>
                  <a:gd name="connsiteY2157" fmla="*/ 5077 h 10000"/>
                  <a:gd name="connsiteX2158" fmla="*/ 682 w 10586"/>
                  <a:gd name="connsiteY2158" fmla="*/ 5068 h 10000"/>
                  <a:gd name="connsiteX2159" fmla="*/ 673 w 10586"/>
                  <a:gd name="connsiteY2159" fmla="*/ 5034 h 10000"/>
                  <a:gd name="connsiteX2160" fmla="*/ 636 w 10586"/>
                  <a:gd name="connsiteY2160" fmla="*/ 4991 h 10000"/>
                  <a:gd name="connsiteX2161" fmla="*/ 622 w 10586"/>
                  <a:gd name="connsiteY2161" fmla="*/ 4983 h 10000"/>
                  <a:gd name="connsiteX2162" fmla="*/ 622 w 10586"/>
                  <a:gd name="connsiteY2162" fmla="*/ 5034 h 10000"/>
                  <a:gd name="connsiteX2163" fmla="*/ 608 w 10586"/>
                  <a:gd name="connsiteY2163" fmla="*/ 5051 h 10000"/>
                  <a:gd name="connsiteX2164" fmla="*/ 594 w 10586"/>
                  <a:gd name="connsiteY2164" fmla="*/ 5068 h 10000"/>
                  <a:gd name="connsiteX2165" fmla="*/ 608 w 10586"/>
                  <a:gd name="connsiteY2165" fmla="*/ 5120 h 10000"/>
                  <a:gd name="connsiteX2166" fmla="*/ 613 w 10586"/>
                  <a:gd name="connsiteY2166" fmla="*/ 5128 h 10000"/>
                  <a:gd name="connsiteX2167" fmla="*/ 627 w 10586"/>
                  <a:gd name="connsiteY2167" fmla="*/ 5179 h 10000"/>
                  <a:gd name="connsiteX2168" fmla="*/ 650 w 10586"/>
                  <a:gd name="connsiteY2168" fmla="*/ 5214 h 10000"/>
                  <a:gd name="connsiteX2169" fmla="*/ 687 w 10586"/>
                  <a:gd name="connsiteY2169" fmla="*/ 5188 h 10000"/>
                  <a:gd name="connsiteX2170" fmla="*/ 700 w 10586"/>
                  <a:gd name="connsiteY2170" fmla="*/ 5325 h 10000"/>
                  <a:gd name="connsiteX2171" fmla="*/ 710 w 10586"/>
                  <a:gd name="connsiteY2171" fmla="*/ 5350 h 10000"/>
                  <a:gd name="connsiteX2172" fmla="*/ 687 w 10586"/>
                  <a:gd name="connsiteY2172" fmla="*/ 5325 h 10000"/>
                  <a:gd name="connsiteX2173" fmla="*/ 668 w 10586"/>
                  <a:gd name="connsiteY2173" fmla="*/ 5350 h 10000"/>
                  <a:gd name="connsiteX2174" fmla="*/ 668 w 10586"/>
                  <a:gd name="connsiteY2174" fmla="*/ 5368 h 10000"/>
                  <a:gd name="connsiteX2175" fmla="*/ 668 w 10586"/>
                  <a:gd name="connsiteY2175" fmla="*/ 5376 h 10000"/>
                  <a:gd name="connsiteX2176" fmla="*/ 581 w 10586"/>
                  <a:gd name="connsiteY2176" fmla="*/ 5316 h 10000"/>
                  <a:gd name="connsiteX2177" fmla="*/ 567 w 10586"/>
                  <a:gd name="connsiteY2177" fmla="*/ 5265 h 10000"/>
                  <a:gd name="connsiteX2178" fmla="*/ 562 w 10586"/>
                  <a:gd name="connsiteY2178" fmla="*/ 5256 h 10000"/>
                  <a:gd name="connsiteX2179" fmla="*/ 548 w 10586"/>
                  <a:gd name="connsiteY2179" fmla="*/ 5231 h 10000"/>
                  <a:gd name="connsiteX2180" fmla="*/ 535 w 10586"/>
                  <a:gd name="connsiteY2180" fmla="*/ 5214 h 10000"/>
                  <a:gd name="connsiteX2181" fmla="*/ 525 w 10586"/>
                  <a:gd name="connsiteY2181" fmla="*/ 5231 h 10000"/>
                  <a:gd name="connsiteX2182" fmla="*/ 521 w 10586"/>
                  <a:gd name="connsiteY2182" fmla="*/ 5231 h 10000"/>
                  <a:gd name="connsiteX2183" fmla="*/ 493 w 10586"/>
                  <a:gd name="connsiteY2183" fmla="*/ 5205 h 10000"/>
                  <a:gd name="connsiteX2184" fmla="*/ 488 w 10586"/>
                  <a:gd name="connsiteY2184" fmla="*/ 5179 h 10000"/>
                  <a:gd name="connsiteX2185" fmla="*/ 475 w 10586"/>
                  <a:gd name="connsiteY2185" fmla="*/ 5188 h 10000"/>
                  <a:gd name="connsiteX2186" fmla="*/ 475 w 10586"/>
                  <a:gd name="connsiteY2186" fmla="*/ 5171 h 10000"/>
                  <a:gd name="connsiteX2187" fmla="*/ 488 w 10586"/>
                  <a:gd name="connsiteY2187" fmla="*/ 5154 h 10000"/>
                  <a:gd name="connsiteX2188" fmla="*/ 488 w 10586"/>
                  <a:gd name="connsiteY2188" fmla="*/ 5068 h 10000"/>
                  <a:gd name="connsiteX2189" fmla="*/ 475 w 10586"/>
                  <a:gd name="connsiteY2189" fmla="*/ 5051 h 10000"/>
                  <a:gd name="connsiteX2190" fmla="*/ 475 w 10586"/>
                  <a:gd name="connsiteY2190" fmla="*/ 5017 h 10000"/>
                  <a:gd name="connsiteX2191" fmla="*/ 452 w 10586"/>
                  <a:gd name="connsiteY2191" fmla="*/ 4932 h 10000"/>
                  <a:gd name="connsiteX2192" fmla="*/ 461 w 10586"/>
                  <a:gd name="connsiteY2192" fmla="*/ 4915 h 10000"/>
                  <a:gd name="connsiteX2193" fmla="*/ 475 w 10586"/>
                  <a:gd name="connsiteY2193" fmla="*/ 4906 h 10000"/>
                  <a:gd name="connsiteX2194" fmla="*/ 479 w 10586"/>
                  <a:gd name="connsiteY2194" fmla="*/ 4803 h 10000"/>
                  <a:gd name="connsiteX2195" fmla="*/ 479 w 10586"/>
                  <a:gd name="connsiteY2195" fmla="*/ 4778 h 10000"/>
                  <a:gd name="connsiteX2196" fmla="*/ 475 w 10586"/>
                  <a:gd name="connsiteY2196" fmla="*/ 4761 h 10000"/>
                  <a:gd name="connsiteX2197" fmla="*/ 465 w 10586"/>
                  <a:gd name="connsiteY2197" fmla="*/ 4718 h 10000"/>
                  <a:gd name="connsiteX2198" fmla="*/ 461 w 10586"/>
                  <a:gd name="connsiteY2198" fmla="*/ 4709 h 10000"/>
                  <a:gd name="connsiteX2199" fmla="*/ 442 w 10586"/>
                  <a:gd name="connsiteY2199" fmla="*/ 4692 h 10000"/>
                  <a:gd name="connsiteX2200" fmla="*/ 433 w 10586"/>
                  <a:gd name="connsiteY2200" fmla="*/ 4667 h 10000"/>
                  <a:gd name="connsiteX2201" fmla="*/ 419 w 10586"/>
                  <a:gd name="connsiteY2201" fmla="*/ 4667 h 10000"/>
                  <a:gd name="connsiteX2202" fmla="*/ 401 w 10586"/>
                  <a:gd name="connsiteY2202" fmla="*/ 4658 h 10000"/>
                  <a:gd name="connsiteX2203" fmla="*/ 401 w 10586"/>
                  <a:gd name="connsiteY2203" fmla="*/ 4624 h 10000"/>
                  <a:gd name="connsiteX2204" fmla="*/ 401 w 10586"/>
                  <a:gd name="connsiteY2204" fmla="*/ 4607 h 10000"/>
                  <a:gd name="connsiteX2205" fmla="*/ 378 w 10586"/>
                  <a:gd name="connsiteY2205" fmla="*/ 4607 h 10000"/>
                  <a:gd name="connsiteX2206" fmla="*/ 341 w 10586"/>
                  <a:gd name="connsiteY2206" fmla="*/ 4530 h 10000"/>
                  <a:gd name="connsiteX2207" fmla="*/ 346 w 10586"/>
                  <a:gd name="connsiteY2207" fmla="*/ 4521 h 10000"/>
                  <a:gd name="connsiteX2208" fmla="*/ 332 w 10586"/>
                  <a:gd name="connsiteY2208" fmla="*/ 4487 h 10000"/>
                  <a:gd name="connsiteX2209" fmla="*/ 327 w 10586"/>
                  <a:gd name="connsiteY2209" fmla="*/ 4462 h 10000"/>
                  <a:gd name="connsiteX2210" fmla="*/ 313 w 10586"/>
                  <a:gd name="connsiteY2210" fmla="*/ 4436 h 10000"/>
                  <a:gd name="connsiteX2211" fmla="*/ 300 w 10586"/>
                  <a:gd name="connsiteY2211" fmla="*/ 4419 h 10000"/>
                  <a:gd name="connsiteX2212" fmla="*/ 309 w 10586"/>
                  <a:gd name="connsiteY2212" fmla="*/ 4393 h 10000"/>
                  <a:gd name="connsiteX2213" fmla="*/ 332 w 10586"/>
                  <a:gd name="connsiteY2213" fmla="*/ 4385 h 10000"/>
                  <a:gd name="connsiteX2214" fmla="*/ 355 w 10586"/>
                  <a:gd name="connsiteY2214" fmla="*/ 4419 h 10000"/>
                  <a:gd name="connsiteX2215" fmla="*/ 355 w 10586"/>
                  <a:gd name="connsiteY2215" fmla="*/ 4444 h 10000"/>
                  <a:gd name="connsiteX2216" fmla="*/ 369 w 10586"/>
                  <a:gd name="connsiteY2216" fmla="*/ 4470 h 10000"/>
                  <a:gd name="connsiteX2217" fmla="*/ 401 w 10586"/>
                  <a:gd name="connsiteY2217" fmla="*/ 4521 h 10000"/>
                  <a:gd name="connsiteX2218" fmla="*/ 406 w 10586"/>
                  <a:gd name="connsiteY2218" fmla="*/ 4513 h 10000"/>
                  <a:gd name="connsiteX2219" fmla="*/ 406 w 10586"/>
                  <a:gd name="connsiteY2219" fmla="*/ 4496 h 10000"/>
                  <a:gd name="connsiteX2220" fmla="*/ 419 w 10586"/>
                  <a:gd name="connsiteY2220" fmla="*/ 4521 h 10000"/>
                  <a:gd name="connsiteX2221" fmla="*/ 429 w 10586"/>
                  <a:gd name="connsiteY2221" fmla="*/ 4530 h 10000"/>
                  <a:gd name="connsiteX2222" fmla="*/ 433 w 10586"/>
                  <a:gd name="connsiteY2222" fmla="*/ 4521 h 10000"/>
                  <a:gd name="connsiteX2223" fmla="*/ 442 w 10586"/>
                  <a:gd name="connsiteY2223" fmla="*/ 4530 h 10000"/>
                  <a:gd name="connsiteX2224" fmla="*/ 447 w 10586"/>
                  <a:gd name="connsiteY2224" fmla="*/ 4521 h 10000"/>
                  <a:gd name="connsiteX2225" fmla="*/ 452 w 10586"/>
                  <a:gd name="connsiteY2225" fmla="*/ 4521 h 10000"/>
                  <a:gd name="connsiteX2226" fmla="*/ 461 w 10586"/>
                  <a:gd name="connsiteY2226" fmla="*/ 4573 h 10000"/>
                  <a:gd name="connsiteX2227" fmla="*/ 479 w 10586"/>
                  <a:gd name="connsiteY2227" fmla="*/ 4556 h 10000"/>
                  <a:gd name="connsiteX2228" fmla="*/ 502 w 10586"/>
                  <a:gd name="connsiteY2228" fmla="*/ 4573 h 10000"/>
                  <a:gd name="connsiteX2229" fmla="*/ 507 w 10586"/>
                  <a:gd name="connsiteY2229" fmla="*/ 4598 h 10000"/>
                  <a:gd name="connsiteX2230" fmla="*/ 525 w 10586"/>
                  <a:gd name="connsiteY2230" fmla="*/ 4598 h 10000"/>
                  <a:gd name="connsiteX2231" fmla="*/ 535 w 10586"/>
                  <a:gd name="connsiteY2231" fmla="*/ 4624 h 10000"/>
                  <a:gd name="connsiteX2232" fmla="*/ 594 w 10586"/>
                  <a:gd name="connsiteY2232" fmla="*/ 4658 h 10000"/>
                  <a:gd name="connsiteX2233" fmla="*/ 627 w 10586"/>
                  <a:gd name="connsiteY2233" fmla="*/ 4658 h 10000"/>
                  <a:gd name="connsiteX2234" fmla="*/ 654 w 10586"/>
                  <a:gd name="connsiteY2234" fmla="*/ 4684 h 10000"/>
                  <a:gd name="connsiteX2235" fmla="*/ 668 w 10586"/>
                  <a:gd name="connsiteY2235" fmla="*/ 4709 h 10000"/>
                  <a:gd name="connsiteX2236" fmla="*/ 747 w 10586"/>
                  <a:gd name="connsiteY2236" fmla="*/ 4718 h 10000"/>
                  <a:gd name="connsiteX2237" fmla="*/ 760 w 10586"/>
                  <a:gd name="connsiteY2237" fmla="*/ 4709 h 10000"/>
                  <a:gd name="connsiteX2238" fmla="*/ 774 w 10586"/>
                  <a:gd name="connsiteY2238" fmla="*/ 4692 h 10000"/>
                  <a:gd name="connsiteX2239" fmla="*/ 829 w 10586"/>
                  <a:gd name="connsiteY2239" fmla="*/ 4658 h 10000"/>
                  <a:gd name="connsiteX2240" fmla="*/ 903 w 10586"/>
                  <a:gd name="connsiteY2240" fmla="*/ 4496 h 10000"/>
                  <a:gd name="connsiteX2241" fmla="*/ 917 w 10586"/>
                  <a:gd name="connsiteY2241" fmla="*/ 4385 h 10000"/>
                  <a:gd name="connsiteX2242" fmla="*/ 903 w 10586"/>
                  <a:gd name="connsiteY2242" fmla="*/ 4376 h 10000"/>
                  <a:gd name="connsiteX2243" fmla="*/ 903 w 10586"/>
                  <a:gd name="connsiteY2243" fmla="*/ 4376 h 10000"/>
                  <a:gd name="connsiteX2244" fmla="*/ 889 w 10586"/>
                  <a:gd name="connsiteY2244" fmla="*/ 4239 h 10000"/>
                  <a:gd name="connsiteX2245" fmla="*/ 880 w 10586"/>
                  <a:gd name="connsiteY2245" fmla="*/ 4214 h 10000"/>
                  <a:gd name="connsiteX2246" fmla="*/ 862 w 10586"/>
                  <a:gd name="connsiteY2246" fmla="*/ 4188 h 10000"/>
                  <a:gd name="connsiteX2247" fmla="*/ 857 w 10586"/>
                  <a:gd name="connsiteY2247" fmla="*/ 4197 h 10000"/>
                  <a:gd name="connsiteX2248" fmla="*/ 848 w 10586"/>
                  <a:gd name="connsiteY2248" fmla="*/ 4188 h 10000"/>
                  <a:gd name="connsiteX2249" fmla="*/ 848 w 10586"/>
                  <a:gd name="connsiteY2249" fmla="*/ 4162 h 10000"/>
                  <a:gd name="connsiteX2250" fmla="*/ 829 w 10586"/>
                  <a:gd name="connsiteY2250" fmla="*/ 4120 h 10000"/>
                  <a:gd name="connsiteX2251" fmla="*/ 820 w 10586"/>
                  <a:gd name="connsiteY2251" fmla="*/ 4103 h 10000"/>
                  <a:gd name="connsiteX2252" fmla="*/ 806 w 10586"/>
                  <a:gd name="connsiteY2252" fmla="*/ 4077 h 10000"/>
                  <a:gd name="connsiteX2253" fmla="*/ 816 w 10586"/>
                  <a:gd name="connsiteY2253" fmla="*/ 4111 h 10000"/>
                  <a:gd name="connsiteX2254" fmla="*/ 802 w 10586"/>
                  <a:gd name="connsiteY2254" fmla="*/ 4111 h 10000"/>
                  <a:gd name="connsiteX2255" fmla="*/ 770 w 10586"/>
                  <a:gd name="connsiteY2255" fmla="*/ 4060 h 10000"/>
                  <a:gd name="connsiteX2256" fmla="*/ 760 w 10586"/>
                  <a:gd name="connsiteY2256" fmla="*/ 4077 h 10000"/>
                  <a:gd name="connsiteX2257" fmla="*/ 760 w 10586"/>
                  <a:gd name="connsiteY2257" fmla="*/ 4060 h 10000"/>
                  <a:gd name="connsiteX2258" fmla="*/ 756 w 10586"/>
                  <a:gd name="connsiteY2258" fmla="*/ 4034 h 10000"/>
                  <a:gd name="connsiteX2259" fmla="*/ 742 w 10586"/>
                  <a:gd name="connsiteY2259" fmla="*/ 4000 h 10000"/>
                  <a:gd name="connsiteX2260" fmla="*/ 747 w 10586"/>
                  <a:gd name="connsiteY2260" fmla="*/ 4034 h 10000"/>
                  <a:gd name="connsiteX2261" fmla="*/ 724 w 10586"/>
                  <a:gd name="connsiteY2261" fmla="*/ 4026 h 10000"/>
                  <a:gd name="connsiteX2262" fmla="*/ 714 w 10586"/>
                  <a:gd name="connsiteY2262" fmla="*/ 4000 h 10000"/>
                  <a:gd name="connsiteX2263" fmla="*/ 714 w 10586"/>
                  <a:gd name="connsiteY2263" fmla="*/ 3983 h 10000"/>
                  <a:gd name="connsiteX2264" fmla="*/ 553 w 10586"/>
                  <a:gd name="connsiteY2264" fmla="*/ 3726 h 10000"/>
                  <a:gd name="connsiteX2265" fmla="*/ 507 w 10586"/>
                  <a:gd name="connsiteY2265" fmla="*/ 3718 h 10000"/>
                  <a:gd name="connsiteX2266" fmla="*/ 516 w 10586"/>
                  <a:gd name="connsiteY2266" fmla="*/ 3726 h 10000"/>
                  <a:gd name="connsiteX2267" fmla="*/ 507 w 10586"/>
                  <a:gd name="connsiteY2267" fmla="*/ 3735 h 10000"/>
                  <a:gd name="connsiteX2268" fmla="*/ 502 w 10586"/>
                  <a:gd name="connsiteY2268" fmla="*/ 3735 h 10000"/>
                  <a:gd name="connsiteX2269" fmla="*/ 419 w 10586"/>
                  <a:gd name="connsiteY2269" fmla="*/ 3675 h 10000"/>
                  <a:gd name="connsiteX2270" fmla="*/ 419 w 10586"/>
                  <a:gd name="connsiteY2270" fmla="*/ 3692 h 10000"/>
                  <a:gd name="connsiteX2271" fmla="*/ 401 w 10586"/>
                  <a:gd name="connsiteY2271" fmla="*/ 3701 h 10000"/>
                  <a:gd name="connsiteX2272" fmla="*/ 387 w 10586"/>
                  <a:gd name="connsiteY2272" fmla="*/ 3718 h 10000"/>
                  <a:gd name="connsiteX2273" fmla="*/ 387 w 10586"/>
                  <a:gd name="connsiteY2273" fmla="*/ 3692 h 10000"/>
                  <a:gd name="connsiteX2274" fmla="*/ 378 w 10586"/>
                  <a:gd name="connsiteY2274" fmla="*/ 3675 h 10000"/>
                  <a:gd name="connsiteX2275" fmla="*/ 378 w 10586"/>
                  <a:gd name="connsiteY2275" fmla="*/ 3650 h 10000"/>
                  <a:gd name="connsiteX2276" fmla="*/ 378 w 10586"/>
                  <a:gd name="connsiteY2276" fmla="*/ 3650 h 10000"/>
                  <a:gd name="connsiteX2277" fmla="*/ 355 w 10586"/>
                  <a:gd name="connsiteY2277" fmla="*/ 3675 h 10000"/>
                  <a:gd name="connsiteX2278" fmla="*/ 359 w 10586"/>
                  <a:gd name="connsiteY2278" fmla="*/ 3641 h 10000"/>
                  <a:gd name="connsiteX2279" fmla="*/ 346 w 10586"/>
                  <a:gd name="connsiteY2279" fmla="*/ 3650 h 10000"/>
                  <a:gd name="connsiteX2280" fmla="*/ 355 w 10586"/>
                  <a:gd name="connsiteY2280" fmla="*/ 3624 h 10000"/>
                  <a:gd name="connsiteX2281" fmla="*/ 346 w 10586"/>
                  <a:gd name="connsiteY2281" fmla="*/ 3624 h 10000"/>
                  <a:gd name="connsiteX2282" fmla="*/ 341 w 10586"/>
                  <a:gd name="connsiteY2282" fmla="*/ 3624 h 10000"/>
                  <a:gd name="connsiteX2283" fmla="*/ 318 w 10586"/>
                  <a:gd name="connsiteY2283" fmla="*/ 3641 h 10000"/>
                  <a:gd name="connsiteX2284" fmla="*/ 327 w 10586"/>
                  <a:gd name="connsiteY2284" fmla="*/ 3624 h 10000"/>
                  <a:gd name="connsiteX2285" fmla="*/ 318 w 10586"/>
                  <a:gd name="connsiteY2285" fmla="*/ 3615 h 10000"/>
                  <a:gd name="connsiteX2286" fmla="*/ 318 w 10586"/>
                  <a:gd name="connsiteY2286" fmla="*/ 3598 h 10000"/>
                  <a:gd name="connsiteX2287" fmla="*/ 300 w 10586"/>
                  <a:gd name="connsiteY2287" fmla="*/ 3598 h 10000"/>
                  <a:gd name="connsiteX2288" fmla="*/ 309 w 10586"/>
                  <a:gd name="connsiteY2288" fmla="*/ 3538 h 10000"/>
                  <a:gd name="connsiteX2289" fmla="*/ 313 w 10586"/>
                  <a:gd name="connsiteY2289" fmla="*/ 3564 h 10000"/>
                  <a:gd name="connsiteX2290" fmla="*/ 318 w 10586"/>
                  <a:gd name="connsiteY2290" fmla="*/ 3581 h 10000"/>
                  <a:gd name="connsiteX2291" fmla="*/ 327 w 10586"/>
                  <a:gd name="connsiteY2291" fmla="*/ 3564 h 10000"/>
                  <a:gd name="connsiteX2292" fmla="*/ 332 w 10586"/>
                  <a:gd name="connsiteY2292" fmla="*/ 3590 h 10000"/>
                  <a:gd name="connsiteX2293" fmla="*/ 346 w 10586"/>
                  <a:gd name="connsiteY2293" fmla="*/ 3590 h 10000"/>
                  <a:gd name="connsiteX2294" fmla="*/ 355 w 10586"/>
                  <a:gd name="connsiteY2294" fmla="*/ 3590 h 10000"/>
                  <a:gd name="connsiteX2295" fmla="*/ 369 w 10586"/>
                  <a:gd name="connsiteY2295" fmla="*/ 3556 h 10000"/>
                  <a:gd name="connsiteX2296" fmla="*/ 369 w 10586"/>
                  <a:gd name="connsiteY2296" fmla="*/ 3538 h 10000"/>
                  <a:gd name="connsiteX2297" fmla="*/ 346 w 10586"/>
                  <a:gd name="connsiteY2297" fmla="*/ 3513 h 10000"/>
                  <a:gd name="connsiteX2298" fmla="*/ 341 w 10586"/>
                  <a:gd name="connsiteY2298" fmla="*/ 3530 h 10000"/>
                  <a:gd name="connsiteX2299" fmla="*/ 327 w 10586"/>
                  <a:gd name="connsiteY2299" fmla="*/ 3513 h 10000"/>
                  <a:gd name="connsiteX2300" fmla="*/ 327 w 10586"/>
                  <a:gd name="connsiteY2300" fmla="*/ 3504 h 10000"/>
                  <a:gd name="connsiteX2301" fmla="*/ 295 w 10586"/>
                  <a:gd name="connsiteY2301" fmla="*/ 3462 h 10000"/>
                  <a:gd name="connsiteX2302" fmla="*/ 300 w 10586"/>
                  <a:gd name="connsiteY2302" fmla="*/ 3479 h 10000"/>
                  <a:gd name="connsiteX2303" fmla="*/ 295 w 10586"/>
                  <a:gd name="connsiteY2303" fmla="*/ 3513 h 10000"/>
                  <a:gd name="connsiteX2304" fmla="*/ 286 w 10586"/>
                  <a:gd name="connsiteY2304" fmla="*/ 3513 h 10000"/>
                  <a:gd name="connsiteX2305" fmla="*/ 281 w 10586"/>
                  <a:gd name="connsiteY2305" fmla="*/ 3513 h 10000"/>
                  <a:gd name="connsiteX2306" fmla="*/ 281 w 10586"/>
                  <a:gd name="connsiteY2306" fmla="*/ 3530 h 10000"/>
                  <a:gd name="connsiteX2307" fmla="*/ 281 w 10586"/>
                  <a:gd name="connsiteY2307" fmla="*/ 3556 h 10000"/>
                  <a:gd name="connsiteX2308" fmla="*/ 272 w 10586"/>
                  <a:gd name="connsiteY2308" fmla="*/ 3564 h 10000"/>
                  <a:gd name="connsiteX2309" fmla="*/ 267 w 10586"/>
                  <a:gd name="connsiteY2309" fmla="*/ 3564 h 10000"/>
                  <a:gd name="connsiteX2310" fmla="*/ 253 w 10586"/>
                  <a:gd name="connsiteY2310" fmla="*/ 3538 h 10000"/>
                  <a:gd name="connsiteX2311" fmla="*/ 226 w 10586"/>
                  <a:gd name="connsiteY2311" fmla="*/ 3513 h 10000"/>
                  <a:gd name="connsiteX2312" fmla="*/ 226 w 10586"/>
                  <a:gd name="connsiteY2312" fmla="*/ 3530 h 10000"/>
                  <a:gd name="connsiteX2313" fmla="*/ 226 w 10586"/>
                  <a:gd name="connsiteY2313" fmla="*/ 3530 h 10000"/>
                  <a:gd name="connsiteX2314" fmla="*/ 226 w 10586"/>
                  <a:gd name="connsiteY2314" fmla="*/ 3530 h 10000"/>
                  <a:gd name="connsiteX2315" fmla="*/ 226 w 10586"/>
                  <a:gd name="connsiteY2315" fmla="*/ 3556 h 10000"/>
                  <a:gd name="connsiteX2316" fmla="*/ 221 w 10586"/>
                  <a:gd name="connsiteY2316" fmla="*/ 3598 h 10000"/>
                  <a:gd name="connsiteX2317" fmla="*/ 207 w 10586"/>
                  <a:gd name="connsiteY2317" fmla="*/ 3598 h 10000"/>
                  <a:gd name="connsiteX2318" fmla="*/ 180 w 10586"/>
                  <a:gd name="connsiteY2318" fmla="*/ 3581 h 10000"/>
                  <a:gd name="connsiteX2319" fmla="*/ 171 w 10586"/>
                  <a:gd name="connsiteY2319" fmla="*/ 3641 h 10000"/>
                  <a:gd name="connsiteX2320" fmla="*/ 166 w 10586"/>
                  <a:gd name="connsiteY2320" fmla="*/ 3650 h 10000"/>
                  <a:gd name="connsiteX2321" fmla="*/ 124 w 10586"/>
                  <a:gd name="connsiteY2321" fmla="*/ 3701 h 10000"/>
                  <a:gd name="connsiteX2322" fmla="*/ 124 w 10586"/>
                  <a:gd name="connsiteY2322" fmla="*/ 3718 h 10000"/>
                  <a:gd name="connsiteX2323" fmla="*/ 120 w 10586"/>
                  <a:gd name="connsiteY2323" fmla="*/ 3735 h 10000"/>
                  <a:gd name="connsiteX2324" fmla="*/ 120 w 10586"/>
                  <a:gd name="connsiteY2324" fmla="*/ 3735 h 10000"/>
                  <a:gd name="connsiteX2325" fmla="*/ 111 w 10586"/>
                  <a:gd name="connsiteY2325" fmla="*/ 3761 h 10000"/>
                  <a:gd name="connsiteX2326" fmla="*/ 106 w 10586"/>
                  <a:gd name="connsiteY2326" fmla="*/ 3761 h 10000"/>
                  <a:gd name="connsiteX2327" fmla="*/ 106 w 10586"/>
                  <a:gd name="connsiteY2327" fmla="*/ 3761 h 10000"/>
                  <a:gd name="connsiteX2328" fmla="*/ 74 w 10586"/>
                  <a:gd name="connsiteY2328" fmla="*/ 3829 h 10000"/>
                  <a:gd name="connsiteX2329" fmla="*/ 78 w 10586"/>
                  <a:gd name="connsiteY2329" fmla="*/ 3838 h 10000"/>
                  <a:gd name="connsiteX2330" fmla="*/ 88 w 10586"/>
                  <a:gd name="connsiteY2330" fmla="*/ 3846 h 10000"/>
                  <a:gd name="connsiteX2331" fmla="*/ 65 w 10586"/>
                  <a:gd name="connsiteY2331" fmla="*/ 3923 h 10000"/>
                  <a:gd name="connsiteX2332" fmla="*/ 78 w 10586"/>
                  <a:gd name="connsiteY2332" fmla="*/ 4026 h 10000"/>
                  <a:gd name="connsiteX2333" fmla="*/ 88 w 10586"/>
                  <a:gd name="connsiteY2333" fmla="*/ 4051 h 10000"/>
                  <a:gd name="connsiteX2334" fmla="*/ 92 w 10586"/>
                  <a:gd name="connsiteY2334" fmla="*/ 4060 h 10000"/>
                  <a:gd name="connsiteX2335" fmla="*/ 111 w 10586"/>
                  <a:gd name="connsiteY2335" fmla="*/ 4060 h 10000"/>
                  <a:gd name="connsiteX2336" fmla="*/ 124 w 10586"/>
                  <a:gd name="connsiteY2336" fmla="*/ 4085 h 10000"/>
                  <a:gd name="connsiteX2337" fmla="*/ 166 w 10586"/>
                  <a:gd name="connsiteY2337" fmla="*/ 4197 h 10000"/>
                  <a:gd name="connsiteX2338" fmla="*/ 166 w 10586"/>
                  <a:gd name="connsiteY2338" fmla="*/ 4248 h 10000"/>
                  <a:gd name="connsiteX2339" fmla="*/ 120 w 10586"/>
                  <a:gd name="connsiteY2339" fmla="*/ 4462 h 10000"/>
                  <a:gd name="connsiteX2340" fmla="*/ 120 w 10586"/>
                  <a:gd name="connsiteY2340" fmla="*/ 4513 h 10000"/>
                  <a:gd name="connsiteX2341" fmla="*/ 180 w 10586"/>
                  <a:gd name="connsiteY2341" fmla="*/ 4829 h 10000"/>
                  <a:gd name="connsiteX2342" fmla="*/ 161 w 10586"/>
                  <a:gd name="connsiteY2342" fmla="*/ 4855 h 10000"/>
                  <a:gd name="connsiteX2343" fmla="*/ 152 w 10586"/>
                  <a:gd name="connsiteY2343" fmla="*/ 4940 h 10000"/>
                  <a:gd name="connsiteX2344" fmla="*/ 161 w 10586"/>
                  <a:gd name="connsiteY2344" fmla="*/ 4966 h 10000"/>
                  <a:gd name="connsiteX2345" fmla="*/ 161 w 10586"/>
                  <a:gd name="connsiteY2345" fmla="*/ 5009 h 10000"/>
                  <a:gd name="connsiteX2346" fmla="*/ 152 w 10586"/>
                  <a:gd name="connsiteY2346" fmla="*/ 5034 h 10000"/>
                  <a:gd name="connsiteX2347" fmla="*/ 152 w 10586"/>
                  <a:gd name="connsiteY2347" fmla="*/ 5077 h 10000"/>
                  <a:gd name="connsiteX2348" fmla="*/ 171 w 10586"/>
                  <a:gd name="connsiteY2348" fmla="*/ 5094 h 10000"/>
                  <a:gd name="connsiteX2349" fmla="*/ 180 w 10586"/>
                  <a:gd name="connsiteY2349" fmla="*/ 5128 h 10000"/>
                  <a:gd name="connsiteX2350" fmla="*/ 180 w 10586"/>
                  <a:gd name="connsiteY2350" fmla="*/ 5171 h 10000"/>
                  <a:gd name="connsiteX2351" fmla="*/ 184 w 10586"/>
                  <a:gd name="connsiteY2351" fmla="*/ 5205 h 10000"/>
                  <a:gd name="connsiteX2352" fmla="*/ 207 w 10586"/>
                  <a:gd name="connsiteY2352" fmla="*/ 5239 h 10000"/>
                  <a:gd name="connsiteX2353" fmla="*/ 207 w 10586"/>
                  <a:gd name="connsiteY2353" fmla="*/ 5282 h 10000"/>
                  <a:gd name="connsiteX2354" fmla="*/ 180 w 10586"/>
                  <a:gd name="connsiteY2354" fmla="*/ 5393 h 10000"/>
                  <a:gd name="connsiteX2355" fmla="*/ 194 w 10586"/>
                  <a:gd name="connsiteY2355" fmla="*/ 5427 h 10000"/>
                  <a:gd name="connsiteX2356" fmla="*/ 198 w 10586"/>
                  <a:gd name="connsiteY2356" fmla="*/ 5462 h 10000"/>
                  <a:gd name="connsiteX2357" fmla="*/ 235 w 10586"/>
                  <a:gd name="connsiteY2357" fmla="*/ 5513 h 10000"/>
                  <a:gd name="connsiteX2358" fmla="*/ 240 w 10586"/>
                  <a:gd name="connsiteY2358" fmla="*/ 5556 h 10000"/>
                  <a:gd name="connsiteX2359" fmla="*/ 253 w 10586"/>
                  <a:gd name="connsiteY2359" fmla="*/ 5590 h 10000"/>
                  <a:gd name="connsiteX2360" fmla="*/ 258 w 10586"/>
                  <a:gd name="connsiteY2360" fmla="*/ 5573 h 10000"/>
                  <a:gd name="connsiteX2361" fmla="*/ 258 w 10586"/>
                  <a:gd name="connsiteY2361" fmla="*/ 5667 h 10000"/>
                  <a:gd name="connsiteX2362" fmla="*/ 14 w 10586"/>
                  <a:gd name="connsiteY2362" fmla="*/ 6214 h 10000"/>
                  <a:gd name="connsiteX2363" fmla="*/ 14 w 10586"/>
                  <a:gd name="connsiteY2363" fmla="*/ 6214 h 10000"/>
                  <a:gd name="connsiteX2364" fmla="*/ 37 w 10586"/>
                  <a:gd name="connsiteY2364" fmla="*/ 6214 h 10000"/>
                  <a:gd name="connsiteX2365" fmla="*/ 51 w 10586"/>
                  <a:gd name="connsiteY2365" fmla="*/ 6188 h 10000"/>
                  <a:gd name="connsiteX2366" fmla="*/ 78 w 10586"/>
                  <a:gd name="connsiteY2366" fmla="*/ 6162 h 10000"/>
                  <a:gd name="connsiteX2367" fmla="*/ 78 w 10586"/>
                  <a:gd name="connsiteY2367" fmla="*/ 6188 h 10000"/>
                  <a:gd name="connsiteX2368" fmla="*/ 74 w 10586"/>
                  <a:gd name="connsiteY2368" fmla="*/ 6197 h 10000"/>
                  <a:gd name="connsiteX2369" fmla="*/ 74 w 10586"/>
                  <a:gd name="connsiteY2369" fmla="*/ 6231 h 10000"/>
                  <a:gd name="connsiteX2370" fmla="*/ 74 w 10586"/>
                  <a:gd name="connsiteY2370" fmla="*/ 6214 h 10000"/>
                  <a:gd name="connsiteX2371" fmla="*/ 65 w 10586"/>
                  <a:gd name="connsiteY2371" fmla="*/ 6214 h 10000"/>
                  <a:gd name="connsiteX2372" fmla="*/ 65 w 10586"/>
                  <a:gd name="connsiteY2372" fmla="*/ 6248 h 10000"/>
                  <a:gd name="connsiteX2373" fmla="*/ 74 w 10586"/>
                  <a:gd name="connsiteY2373" fmla="*/ 6256 h 10000"/>
                  <a:gd name="connsiteX2374" fmla="*/ 78 w 10586"/>
                  <a:gd name="connsiteY2374" fmla="*/ 6256 h 10000"/>
                  <a:gd name="connsiteX2375" fmla="*/ 106 w 10586"/>
                  <a:gd name="connsiteY2375" fmla="*/ 6308 h 10000"/>
                  <a:gd name="connsiteX2376" fmla="*/ 138 w 10586"/>
                  <a:gd name="connsiteY2376" fmla="*/ 6299 h 10000"/>
                  <a:gd name="connsiteX2377" fmla="*/ 152 w 10586"/>
                  <a:gd name="connsiteY2377" fmla="*/ 6299 h 10000"/>
                  <a:gd name="connsiteX2378" fmla="*/ 166 w 10586"/>
                  <a:gd name="connsiteY2378" fmla="*/ 6325 h 10000"/>
                  <a:gd name="connsiteX2379" fmla="*/ 166 w 10586"/>
                  <a:gd name="connsiteY2379" fmla="*/ 6333 h 10000"/>
                  <a:gd name="connsiteX2380" fmla="*/ 171 w 10586"/>
                  <a:gd name="connsiteY2380" fmla="*/ 6350 h 10000"/>
                  <a:gd name="connsiteX2381" fmla="*/ 180 w 10586"/>
                  <a:gd name="connsiteY2381" fmla="*/ 6350 h 10000"/>
                  <a:gd name="connsiteX2382" fmla="*/ 180 w 10586"/>
                  <a:gd name="connsiteY2382" fmla="*/ 6359 h 10000"/>
                  <a:gd name="connsiteX2383" fmla="*/ 171 w 10586"/>
                  <a:gd name="connsiteY2383" fmla="*/ 6368 h 10000"/>
                  <a:gd name="connsiteX2384" fmla="*/ 106 w 10586"/>
                  <a:gd name="connsiteY2384" fmla="*/ 6350 h 10000"/>
                  <a:gd name="connsiteX2385" fmla="*/ 101 w 10586"/>
                  <a:gd name="connsiteY2385" fmla="*/ 6359 h 10000"/>
                  <a:gd name="connsiteX2386" fmla="*/ 101 w 10586"/>
                  <a:gd name="connsiteY2386" fmla="*/ 6385 h 10000"/>
                  <a:gd name="connsiteX2387" fmla="*/ 78 w 10586"/>
                  <a:gd name="connsiteY2387" fmla="*/ 6393 h 10000"/>
                  <a:gd name="connsiteX2388" fmla="*/ 74 w 10586"/>
                  <a:gd name="connsiteY2388" fmla="*/ 6385 h 10000"/>
                  <a:gd name="connsiteX2389" fmla="*/ 65 w 10586"/>
                  <a:gd name="connsiteY2389" fmla="*/ 6393 h 10000"/>
                  <a:gd name="connsiteX2390" fmla="*/ 60 w 10586"/>
                  <a:gd name="connsiteY2390" fmla="*/ 6419 h 10000"/>
                  <a:gd name="connsiteX2391" fmla="*/ 51 w 10586"/>
                  <a:gd name="connsiteY2391" fmla="*/ 6419 h 10000"/>
                  <a:gd name="connsiteX2392" fmla="*/ 46 w 10586"/>
                  <a:gd name="connsiteY2392" fmla="*/ 6410 h 10000"/>
                  <a:gd name="connsiteX2393" fmla="*/ 37 w 10586"/>
                  <a:gd name="connsiteY2393" fmla="*/ 6393 h 10000"/>
                  <a:gd name="connsiteX2394" fmla="*/ 32 w 10586"/>
                  <a:gd name="connsiteY2394" fmla="*/ 6419 h 10000"/>
                  <a:gd name="connsiteX2395" fmla="*/ 37 w 10586"/>
                  <a:gd name="connsiteY2395" fmla="*/ 6462 h 10000"/>
                  <a:gd name="connsiteX2396" fmla="*/ 46 w 10586"/>
                  <a:gd name="connsiteY2396" fmla="*/ 6462 h 10000"/>
                  <a:gd name="connsiteX2397" fmla="*/ 51 w 10586"/>
                  <a:gd name="connsiteY2397" fmla="*/ 6470 h 10000"/>
                  <a:gd name="connsiteX2398" fmla="*/ 51 w 10586"/>
                  <a:gd name="connsiteY2398" fmla="*/ 6496 h 10000"/>
                  <a:gd name="connsiteX2399" fmla="*/ 51 w 10586"/>
                  <a:gd name="connsiteY2399" fmla="*/ 6504 h 10000"/>
                  <a:gd name="connsiteX2400" fmla="*/ 37 w 10586"/>
                  <a:gd name="connsiteY2400" fmla="*/ 6530 h 10000"/>
                  <a:gd name="connsiteX2401" fmla="*/ 18 w 10586"/>
                  <a:gd name="connsiteY2401" fmla="*/ 6598 h 10000"/>
                  <a:gd name="connsiteX2402" fmla="*/ 28 w 10586"/>
                  <a:gd name="connsiteY2402" fmla="*/ 6632 h 10000"/>
                  <a:gd name="connsiteX2403" fmla="*/ 18 w 10586"/>
                  <a:gd name="connsiteY2403" fmla="*/ 6667 h 10000"/>
                  <a:gd name="connsiteX2404" fmla="*/ 28 w 10586"/>
                  <a:gd name="connsiteY2404" fmla="*/ 6692 h 10000"/>
                  <a:gd name="connsiteX2405" fmla="*/ 28 w 10586"/>
                  <a:gd name="connsiteY2405" fmla="*/ 6709 h 10000"/>
                  <a:gd name="connsiteX2406" fmla="*/ 18 w 10586"/>
                  <a:gd name="connsiteY2406" fmla="*/ 6718 h 10000"/>
                  <a:gd name="connsiteX2407" fmla="*/ 5 w 10586"/>
                  <a:gd name="connsiteY2407" fmla="*/ 6744 h 10000"/>
                  <a:gd name="connsiteX2408" fmla="*/ 0 w 10586"/>
                  <a:gd name="connsiteY2408" fmla="*/ 6769 h 10000"/>
                  <a:gd name="connsiteX2409" fmla="*/ 5 w 10586"/>
                  <a:gd name="connsiteY2409" fmla="*/ 6778 h 10000"/>
                  <a:gd name="connsiteX2410" fmla="*/ 32 w 10586"/>
                  <a:gd name="connsiteY2410" fmla="*/ 6778 h 10000"/>
                  <a:gd name="connsiteX2411" fmla="*/ 46 w 10586"/>
                  <a:gd name="connsiteY2411" fmla="*/ 6821 h 10000"/>
                  <a:gd name="connsiteX2412" fmla="*/ 46 w 10586"/>
                  <a:gd name="connsiteY2412" fmla="*/ 6855 h 10000"/>
                  <a:gd name="connsiteX2413" fmla="*/ 32 w 10586"/>
                  <a:gd name="connsiteY2413" fmla="*/ 6855 h 10000"/>
                  <a:gd name="connsiteX2414" fmla="*/ 14 w 10586"/>
                  <a:gd name="connsiteY2414" fmla="*/ 6821 h 10000"/>
                  <a:gd name="connsiteX2415" fmla="*/ 14 w 10586"/>
                  <a:gd name="connsiteY2415" fmla="*/ 6846 h 10000"/>
                  <a:gd name="connsiteX2416" fmla="*/ 0 w 10586"/>
                  <a:gd name="connsiteY2416" fmla="*/ 6897 h 10000"/>
                  <a:gd name="connsiteX2417" fmla="*/ 0 w 10586"/>
                  <a:gd name="connsiteY2417" fmla="*/ 6915 h 10000"/>
                  <a:gd name="connsiteX2418" fmla="*/ 5 w 10586"/>
                  <a:gd name="connsiteY2418" fmla="*/ 6932 h 10000"/>
                  <a:gd name="connsiteX2419" fmla="*/ 14 w 10586"/>
                  <a:gd name="connsiteY2419" fmla="*/ 6940 h 10000"/>
                  <a:gd name="connsiteX2420" fmla="*/ 18 w 10586"/>
                  <a:gd name="connsiteY2420" fmla="*/ 6957 h 10000"/>
                  <a:gd name="connsiteX2421" fmla="*/ 28 w 10586"/>
                  <a:gd name="connsiteY2421" fmla="*/ 6966 h 10000"/>
                  <a:gd name="connsiteX2422" fmla="*/ 28 w 10586"/>
                  <a:gd name="connsiteY2422" fmla="*/ 6983 h 10000"/>
                  <a:gd name="connsiteX2423" fmla="*/ 18 w 10586"/>
                  <a:gd name="connsiteY2423" fmla="*/ 7051 h 10000"/>
                  <a:gd name="connsiteX2424" fmla="*/ 28 w 10586"/>
                  <a:gd name="connsiteY2424" fmla="*/ 7068 h 10000"/>
                  <a:gd name="connsiteX2425" fmla="*/ 32 w 10586"/>
                  <a:gd name="connsiteY2425" fmla="*/ 7068 h 10000"/>
                  <a:gd name="connsiteX2426" fmla="*/ 32 w 10586"/>
                  <a:gd name="connsiteY2426" fmla="*/ 7094 h 10000"/>
                  <a:gd name="connsiteX2427" fmla="*/ 60 w 10586"/>
                  <a:gd name="connsiteY2427" fmla="*/ 7162 h 10000"/>
                  <a:gd name="connsiteX2428" fmla="*/ 60 w 10586"/>
                  <a:gd name="connsiteY2428" fmla="*/ 7231 h 10000"/>
                  <a:gd name="connsiteX2429" fmla="*/ 60 w 10586"/>
                  <a:gd name="connsiteY2429" fmla="*/ 7239 h 10000"/>
                  <a:gd name="connsiteX2430" fmla="*/ 78 w 10586"/>
                  <a:gd name="connsiteY2430" fmla="*/ 7239 h 10000"/>
                  <a:gd name="connsiteX2431" fmla="*/ 88 w 10586"/>
                  <a:gd name="connsiteY2431" fmla="*/ 7239 h 10000"/>
                  <a:gd name="connsiteX2432" fmla="*/ 92 w 10586"/>
                  <a:gd name="connsiteY2432" fmla="*/ 7256 h 10000"/>
                  <a:gd name="connsiteX2433" fmla="*/ 111 w 10586"/>
                  <a:gd name="connsiteY2433" fmla="*/ 7256 h 10000"/>
                  <a:gd name="connsiteX2434" fmla="*/ 120 w 10586"/>
                  <a:gd name="connsiteY2434" fmla="*/ 7256 h 10000"/>
                  <a:gd name="connsiteX2435" fmla="*/ 134 w 10586"/>
                  <a:gd name="connsiteY2435" fmla="*/ 7282 h 10000"/>
                  <a:gd name="connsiteX2436" fmla="*/ 134 w 10586"/>
                  <a:gd name="connsiteY2436" fmla="*/ 7316 h 10000"/>
                  <a:gd name="connsiteX2437" fmla="*/ 152 w 10586"/>
                  <a:gd name="connsiteY2437" fmla="*/ 7299 h 10000"/>
                  <a:gd name="connsiteX2438" fmla="*/ 161 w 10586"/>
                  <a:gd name="connsiteY2438" fmla="*/ 7299 h 10000"/>
                  <a:gd name="connsiteX2439" fmla="*/ 166 w 10586"/>
                  <a:gd name="connsiteY2439" fmla="*/ 7291 h 10000"/>
                  <a:gd name="connsiteX2440" fmla="*/ 194 w 10586"/>
                  <a:gd name="connsiteY2440" fmla="*/ 7291 h 10000"/>
                  <a:gd name="connsiteX2441" fmla="*/ 207 w 10586"/>
                  <a:gd name="connsiteY2441" fmla="*/ 7299 h 10000"/>
                  <a:gd name="connsiteX2442" fmla="*/ 221 w 10586"/>
                  <a:gd name="connsiteY2442" fmla="*/ 7342 h 10000"/>
                  <a:gd name="connsiteX2443" fmla="*/ 235 w 10586"/>
                  <a:gd name="connsiteY2443" fmla="*/ 7342 h 10000"/>
                  <a:gd name="connsiteX2444" fmla="*/ 235 w 10586"/>
                  <a:gd name="connsiteY2444" fmla="*/ 7368 h 10000"/>
                  <a:gd name="connsiteX2445" fmla="*/ 226 w 10586"/>
                  <a:gd name="connsiteY2445" fmla="*/ 7393 h 10000"/>
                  <a:gd name="connsiteX2446" fmla="*/ 226 w 10586"/>
                  <a:gd name="connsiteY2446" fmla="*/ 7402 h 10000"/>
                  <a:gd name="connsiteX2447" fmla="*/ 235 w 10586"/>
                  <a:gd name="connsiteY2447" fmla="*/ 7419 h 10000"/>
                  <a:gd name="connsiteX2448" fmla="*/ 240 w 10586"/>
                  <a:gd name="connsiteY2448" fmla="*/ 7436 h 10000"/>
                  <a:gd name="connsiteX2449" fmla="*/ 235 w 10586"/>
                  <a:gd name="connsiteY2449" fmla="*/ 7462 h 10000"/>
                  <a:gd name="connsiteX2450" fmla="*/ 226 w 10586"/>
                  <a:gd name="connsiteY2450" fmla="*/ 7479 h 10000"/>
                  <a:gd name="connsiteX2451" fmla="*/ 226 w 10586"/>
                  <a:gd name="connsiteY2451" fmla="*/ 7504 h 10000"/>
                  <a:gd name="connsiteX2452" fmla="*/ 226 w 10586"/>
                  <a:gd name="connsiteY2452" fmla="*/ 7513 h 10000"/>
                  <a:gd name="connsiteX2453" fmla="*/ 240 w 10586"/>
                  <a:gd name="connsiteY2453" fmla="*/ 7538 h 10000"/>
                  <a:gd name="connsiteX2454" fmla="*/ 267 w 10586"/>
                  <a:gd name="connsiteY2454" fmla="*/ 7641 h 10000"/>
                  <a:gd name="connsiteX2455" fmla="*/ 281 w 10586"/>
                  <a:gd name="connsiteY2455" fmla="*/ 7667 h 10000"/>
                  <a:gd name="connsiteX2456" fmla="*/ 286 w 10586"/>
                  <a:gd name="connsiteY2456" fmla="*/ 7675 h 10000"/>
                  <a:gd name="connsiteX2457" fmla="*/ 286 w 10586"/>
                  <a:gd name="connsiteY2457" fmla="*/ 7692 h 10000"/>
                  <a:gd name="connsiteX2458" fmla="*/ 286 w 10586"/>
                  <a:gd name="connsiteY2458" fmla="*/ 7709 h 10000"/>
                  <a:gd name="connsiteX2459" fmla="*/ 295 w 10586"/>
                  <a:gd name="connsiteY2459" fmla="*/ 7726 h 10000"/>
                  <a:gd name="connsiteX2460" fmla="*/ 318 w 10586"/>
                  <a:gd name="connsiteY2460" fmla="*/ 7709 h 10000"/>
                  <a:gd name="connsiteX2461" fmla="*/ 327 w 10586"/>
                  <a:gd name="connsiteY2461" fmla="*/ 7726 h 10000"/>
                  <a:gd name="connsiteX2462" fmla="*/ 341 w 10586"/>
                  <a:gd name="connsiteY2462" fmla="*/ 7735 h 10000"/>
                  <a:gd name="connsiteX2463" fmla="*/ 332 w 10586"/>
                  <a:gd name="connsiteY2463" fmla="*/ 7752 h 10000"/>
                  <a:gd name="connsiteX2464" fmla="*/ 341 w 10586"/>
                  <a:gd name="connsiteY2464" fmla="*/ 7761 h 10000"/>
                  <a:gd name="connsiteX2465" fmla="*/ 355 w 10586"/>
                  <a:gd name="connsiteY2465" fmla="*/ 7761 h 10000"/>
                  <a:gd name="connsiteX2466" fmla="*/ 355 w 10586"/>
                  <a:gd name="connsiteY2466" fmla="*/ 7803 h 10000"/>
                  <a:gd name="connsiteX2467" fmla="*/ 313 w 10586"/>
                  <a:gd name="connsiteY2467" fmla="*/ 7846 h 10000"/>
                  <a:gd name="connsiteX2468" fmla="*/ 295 w 10586"/>
                  <a:gd name="connsiteY2468" fmla="*/ 7846 h 10000"/>
                  <a:gd name="connsiteX2469" fmla="*/ 281 w 10586"/>
                  <a:gd name="connsiteY2469" fmla="*/ 7821 h 10000"/>
                  <a:gd name="connsiteX2470" fmla="*/ 272 w 10586"/>
                  <a:gd name="connsiteY2470" fmla="*/ 7821 h 10000"/>
                  <a:gd name="connsiteX2471" fmla="*/ 267 w 10586"/>
                  <a:gd name="connsiteY2471" fmla="*/ 7838 h 10000"/>
                  <a:gd name="connsiteX2472" fmla="*/ 258 w 10586"/>
                  <a:gd name="connsiteY2472" fmla="*/ 7846 h 10000"/>
                  <a:gd name="connsiteX2473" fmla="*/ 253 w 10586"/>
                  <a:gd name="connsiteY2473" fmla="*/ 7863 h 10000"/>
                  <a:gd name="connsiteX2474" fmla="*/ 253 w 10586"/>
                  <a:gd name="connsiteY2474" fmla="*/ 7872 h 10000"/>
                  <a:gd name="connsiteX2475" fmla="*/ 267 w 10586"/>
                  <a:gd name="connsiteY2475" fmla="*/ 7897 h 10000"/>
                  <a:gd name="connsiteX2476" fmla="*/ 272 w 10586"/>
                  <a:gd name="connsiteY2476" fmla="*/ 7915 h 10000"/>
                  <a:gd name="connsiteX2477" fmla="*/ 267 w 10586"/>
                  <a:gd name="connsiteY2477" fmla="*/ 7940 h 10000"/>
                  <a:gd name="connsiteX2478" fmla="*/ 272 w 10586"/>
                  <a:gd name="connsiteY2478" fmla="*/ 7949 h 10000"/>
                  <a:gd name="connsiteX2479" fmla="*/ 272 w 10586"/>
                  <a:gd name="connsiteY2479" fmla="*/ 7957 h 10000"/>
                  <a:gd name="connsiteX2480" fmla="*/ 281 w 10586"/>
                  <a:gd name="connsiteY2480" fmla="*/ 7974 h 10000"/>
                  <a:gd name="connsiteX2481" fmla="*/ 286 w 10586"/>
                  <a:gd name="connsiteY2481" fmla="*/ 7983 h 10000"/>
                  <a:gd name="connsiteX2482" fmla="*/ 281 w 10586"/>
                  <a:gd name="connsiteY2482" fmla="*/ 8009 h 10000"/>
                  <a:gd name="connsiteX2483" fmla="*/ 286 w 10586"/>
                  <a:gd name="connsiteY2483" fmla="*/ 8060 h 10000"/>
                  <a:gd name="connsiteX2484" fmla="*/ 286 w 10586"/>
                  <a:gd name="connsiteY2484" fmla="*/ 8060 h 10000"/>
                  <a:gd name="connsiteX2485" fmla="*/ 295 w 10586"/>
                  <a:gd name="connsiteY2485" fmla="*/ 8077 h 10000"/>
                  <a:gd name="connsiteX2486" fmla="*/ 309 w 10586"/>
                  <a:gd name="connsiteY2486" fmla="*/ 8077 h 10000"/>
                  <a:gd name="connsiteX2487" fmla="*/ 313 w 10586"/>
                  <a:gd name="connsiteY2487" fmla="*/ 8060 h 10000"/>
                  <a:gd name="connsiteX2488" fmla="*/ 318 w 10586"/>
                  <a:gd name="connsiteY2488" fmla="*/ 8051 h 10000"/>
                  <a:gd name="connsiteX2489" fmla="*/ 318 w 10586"/>
                  <a:gd name="connsiteY2489" fmla="*/ 8034 h 10000"/>
                  <a:gd name="connsiteX2490" fmla="*/ 332 w 10586"/>
                  <a:gd name="connsiteY2490" fmla="*/ 8026 h 10000"/>
                  <a:gd name="connsiteX2491" fmla="*/ 359 w 10586"/>
                  <a:gd name="connsiteY2491" fmla="*/ 8034 h 10000"/>
                  <a:gd name="connsiteX2492" fmla="*/ 378 w 10586"/>
                  <a:gd name="connsiteY2492" fmla="*/ 8026 h 10000"/>
                  <a:gd name="connsiteX2493" fmla="*/ 401 w 10586"/>
                  <a:gd name="connsiteY2493" fmla="*/ 8026 h 10000"/>
                  <a:gd name="connsiteX2494" fmla="*/ 419 w 10586"/>
                  <a:gd name="connsiteY2494" fmla="*/ 8009 h 10000"/>
                  <a:gd name="connsiteX2495" fmla="*/ 433 w 10586"/>
                  <a:gd name="connsiteY2495" fmla="*/ 8034 h 10000"/>
                  <a:gd name="connsiteX2496" fmla="*/ 442 w 10586"/>
                  <a:gd name="connsiteY2496" fmla="*/ 8060 h 10000"/>
                  <a:gd name="connsiteX2497" fmla="*/ 442 w 10586"/>
                  <a:gd name="connsiteY2497" fmla="*/ 8077 h 10000"/>
                  <a:gd name="connsiteX2498" fmla="*/ 461 w 10586"/>
                  <a:gd name="connsiteY2498" fmla="*/ 8111 h 10000"/>
                  <a:gd name="connsiteX2499" fmla="*/ 461 w 10586"/>
                  <a:gd name="connsiteY2499" fmla="*/ 8137 h 10000"/>
                  <a:gd name="connsiteX2500" fmla="*/ 447 w 10586"/>
                  <a:gd name="connsiteY2500" fmla="*/ 8145 h 10000"/>
                  <a:gd name="connsiteX2501" fmla="*/ 442 w 10586"/>
                  <a:gd name="connsiteY2501" fmla="*/ 8145 h 10000"/>
                  <a:gd name="connsiteX2502" fmla="*/ 442 w 10586"/>
                  <a:gd name="connsiteY2502" fmla="*/ 8162 h 10000"/>
                  <a:gd name="connsiteX2503" fmla="*/ 442 w 10586"/>
                  <a:gd name="connsiteY2503" fmla="*/ 8171 h 10000"/>
                  <a:gd name="connsiteX2504" fmla="*/ 447 w 10586"/>
                  <a:gd name="connsiteY2504" fmla="*/ 8214 h 10000"/>
                  <a:gd name="connsiteX2505" fmla="*/ 465 w 10586"/>
                  <a:gd name="connsiteY2505" fmla="*/ 8231 h 10000"/>
                  <a:gd name="connsiteX2506" fmla="*/ 488 w 10586"/>
                  <a:gd name="connsiteY2506" fmla="*/ 8231 h 10000"/>
                  <a:gd name="connsiteX2507" fmla="*/ 493 w 10586"/>
                  <a:gd name="connsiteY2507" fmla="*/ 8231 h 10000"/>
                  <a:gd name="connsiteX2508" fmla="*/ 502 w 10586"/>
                  <a:gd name="connsiteY2508" fmla="*/ 8231 h 10000"/>
                  <a:gd name="connsiteX2509" fmla="*/ 507 w 10586"/>
                  <a:gd name="connsiteY2509" fmla="*/ 8248 h 10000"/>
                  <a:gd name="connsiteX2510" fmla="*/ 521 w 10586"/>
                  <a:gd name="connsiteY2510" fmla="*/ 8274 h 10000"/>
                  <a:gd name="connsiteX2511" fmla="*/ 525 w 10586"/>
                  <a:gd name="connsiteY2511" fmla="*/ 8333 h 10000"/>
                  <a:gd name="connsiteX2512" fmla="*/ 525 w 10586"/>
                  <a:gd name="connsiteY2512" fmla="*/ 8359 h 10000"/>
                  <a:gd name="connsiteX2513" fmla="*/ 525 w 10586"/>
                  <a:gd name="connsiteY2513" fmla="*/ 8368 h 10000"/>
                  <a:gd name="connsiteX2514" fmla="*/ 548 w 10586"/>
                  <a:gd name="connsiteY2514" fmla="*/ 8393 h 10000"/>
                  <a:gd name="connsiteX2515" fmla="*/ 553 w 10586"/>
                  <a:gd name="connsiteY2515" fmla="*/ 8385 h 10000"/>
                  <a:gd name="connsiteX2516" fmla="*/ 562 w 10586"/>
                  <a:gd name="connsiteY2516" fmla="*/ 8385 h 10000"/>
                  <a:gd name="connsiteX2517" fmla="*/ 576 w 10586"/>
                  <a:gd name="connsiteY2517" fmla="*/ 8385 h 10000"/>
                  <a:gd name="connsiteX2518" fmla="*/ 585 w 10586"/>
                  <a:gd name="connsiteY2518" fmla="*/ 8410 h 10000"/>
                  <a:gd name="connsiteX2519" fmla="*/ 594 w 10586"/>
                  <a:gd name="connsiteY2519" fmla="*/ 8410 h 10000"/>
                  <a:gd name="connsiteX2520" fmla="*/ 608 w 10586"/>
                  <a:gd name="connsiteY2520" fmla="*/ 8410 h 10000"/>
                  <a:gd name="connsiteX2521" fmla="*/ 654 w 10586"/>
                  <a:gd name="connsiteY2521" fmla="*/ 8385 h 10000"/>
                  <a:gd name="connsiteX2522" fmla="*/ 659 w 10586"/>
                  <a:gd name="connsiteY2522" fmla="*/ 8385 h 10000"/>
                  <a:gd name="connsiteX2523" fmla="*/ 696 w 10586"/>
                  <a:gd name="connsiteY2523" fmla="*/ 8470 h 10000"/>
                  <a:gd name="connsiteX2524" fmla="*/ 700 w 10586"/>
                  <a:gd name="connsiteY2524" fmla="*/ 8470 h 10000"/>
                  <a:gd name="connsiteX2525" fmla="*/ 710 w 10586"/>
                  <a:gd name="connsiteY2525" fmla="*/ 8462 h 10000"/>
                  <a:gd name="connsiteX2526" fmla="*/ 714 w 10586"/>
                  <a:gd name="connsiteY2526" fmla="*/ 8462 h 10000"/>
                  <a:gd name="connsiteX2527" fmla="*/ 724 w 10586"/>
                  <a:gd name="connsiteY2527" fmla="*/ 8470 h 10000"/>
                  <a:gd name="connsiteX2528" fmla="*/ 733 w 10586"/>
                  <a:gd name="connsiteY2528" fmla="*/ 8470 h 10000"/>
                  <a:gd name="connsiteX2529" fmla="*/ 742 w 10586"/>
                  <a:gd name="connsiteY2529" fmla="*/ 8487 h 10000"/>
                  <a:gd name="connsiteX2530" fmla="*/ 747 w 10586"/>
                  <a:gd name="connsiteY2530" fmla="*/ 8496 h 10000"/>
                  <a:gd name="connsiteX2531" fmla="*/ 770 w 10586"/>
                  <a:gd name="connsiteY2531" fmla="*/ 8496 h 10000"/>
                  <a:gd name="connsiteX2532" fmla="*/ 783 w 10586"/>
                  <a:gd name="connsiteY2532" fmla="*/ 8521 h 10000"/>
                  <a:gd name="connsiteX2533" fmla="*/ 797 w 10586"/>
                  <a:gd name="connsiteY2533" fmla="*/ 8521 h 10000"/>
                  <a:gd name="connsiteX2534" fmla="*/ 806 w 10586"/>
                  <a:gd name="connsiteY2534" fmla="*/ 8530 h 10000"/>
                  <a:gd name="connsiteX2535" fmla="*/ 829 w 10586"/>
                  <a:gd name="connsiteY2535" fmla="*/ 8547 h 10000"/>
                  <a:gd name="connsiteX2536" fmla="*/ 834 w 10586"/>
                  <a:gd name="connsiteY2536" fmla="*/ 8556 h 10000"/>
                  <a:gd name="connsiteX2537" fmla="*/ 829 w 10586"/>
                  <a:gd name="connsiteY2537" fmla="*/ 8556 h 10000"/>
                  <a:gd name="connsiteX2538" fmla="*/ 834 w 10586"/>
                  <a:gd name="connsiteY2538" fmla="*/ 8607 h 10000"/>
                  <a:gd name="connsiteX2539" fmla="*/ 829 w 10586"/>
                  <a:gd name="connsiteY2539" fmla="*/ 8641 h 10000"/>
                  <a:gd name="connsiteX2540" fmla="*/ 806 w 10586"/>
                  <a:gd name="connsiteY2540" fmla="*/ 8658 h 10000"/>
                  <a:gd name="connsiteX2541" fmla="*/ 816 w 10586"/>
                  <a:gd name="connsiteY2541" fmla="*/ 8667 h 10000"/>
                  <a:gd name="connsiteX2542" fmla="*/ 820 w 10586"/>
                  <a:gd name="connsiteY2542" fmla="*/ 8667 h 10000"/>
                  <a:gd name="connsiteX2543" fmla="*/ 829 w 10586"/>
                  <a:gd name="connsiteY2543" fmla="*/ 8684 h 10000"/>
                  <a:gd name="connsiteX2544" fmla="*/ 806 w 10586"/>
                  <a:gd name="connsiteY2544" fmla="*/ 8692 h 10000"/>
                  <a:gd name="connsiteX2545" fmla="*/ 802 w 10586"/>
                  <a:gd name="connsiteY2545" fmla="*/ 8709 h 10000"/>
                  <a:gd name="connsiteX2546" fmla="*/ 802 w 10586"/>
                  <a:gd name="connsiteY2546" fmla="*/ 8735 h 10000"/>
                  <a:gd name="connsiteX2547" fmla="*/ 806 w 10586"/>
                  <a:gd name="connsiteY2547" fmla="*/ 8744 h 10000"/>
                  <a:gd name="connsiteX2548" fmla="*/ 816 w 10586"/>
                  <a:gd name="connsiteY2548" fmla="*/ 8752 h 10000"/>
                  <a:gd name="connsiteX2549" fmla="*/ 806 w 10586"/>
                  <a:gd name="connsiteY2549" fmla="*/ 8778 h 10000"/>
                  <a:gd name="connsiteX2550" fmla="*/ 820 w 10586"/>
                  <a:gd name="connsiteY2550" fmla="*/ 8778 h 10000"/>
                  <a:gd name="connsiteX2551" fmla="*/ 806 w 10586"/>
                  <a:gd name="connsiteY2551" fmla="*/ 8880 h 10000"/>
                  <a:gd name="connsiteX2552" fmla="*/ 797 w 10586"/>
                  <a:gd name="connsiteY2552" fmla="*/ 8880 h 10000"/>
                  <a:gd name="connsiteX2553" fmla="*/ 783 w 10586"/>
                  <a:gd name="connsiteY2553" fmla="*/ 8872 h 10000"/>
                  <a:gd name="connsiteX2554" fmla="*/ 770 w 10586"/>
                  <a:gd name="connsiteY2554" fmla="*/ 8880 h 10000"/>
                  <a:gd name="connsiteX2555" fmla="*/ 756 w 10586"/>
                  <a:gd name="connsiteY2555" fmla="*/ 8855 h 10000"/>
                  <a:gd name="connsiteX2556" fmla="*/ 733 w 10586"/>
                  <a:gd name="connsiteY2556" fmla="*/ 8906 h 10000"/>
                  <a:gd name="connsiteX2557" fmla="*/ 714 w 10586"/>
                  <a:gd name="connsiteY2557" fmla="*/ 8915 h 10000"/>
                  <a:gd name="connsiteX2558" fmla="*/ 710 w 10586"/>
                  <a:gd name="connsiteY2558" fmla="*/ 8940 h 10000"/>
                  <a:gd name="connsiteX2559" fmla="*/ 710 w 10586"/>
                  <a:gd name="connsiteY2559" fmla="*/ 9009 h 10000"/>
                  <a:gd name="connsiteX2560" fmla="*/ 728 w 10586"/>
                  <a:gd name="connsiteY2560" fmla="*/ 8991 h 10000"/>
                  <a:gd name="connsiteX2561" fmla="*/ 733 w 10586"/>
                  <a:gd name="connsiteY2561" fmla="*/ 8991 h 10000"/>
                  <a:gd name="connsiteX2562" fmla="*/ 747 w 10586"/>
                  <a:gd name="connsiteY2562" fmla="*/ 8983 h 10000"/>
                  <a:gd name="connsiteX2563" fmla="*/ 760 w 10586"/>
                  <a:gd name="connsiteY2563" fmla="*/ 8983 h 10000"/>
                  <a:gd name="connsiteX2564" fmla="*/ 770 w 10586"/>
                  <a:gd name="connsiteY2564" fmla="*/ 8983 h 10000"/>
                  <a:gd name="connsiteX2565" fmla="*/ 770 w 10586"/>
                  <a:gd name="connsiteY2565" fmla="*/ 8991 h 10000"/>
                  <a:gd name="connsiteX2566" fmla="*/ 783 w 10586"/>
                  <a:gd name="connsiteY2566" fmla="*/ 8991 h 10000"/>
                  <a:gd name="connsiteX2567" fmla="*/ 783 w 10586"/>
                  <a:gd name="connsiteY2567" fmla="*/ 9009 h 10000"/>
                  <a:gd name="connsiteX2568" fmla="*/ 783 w 10586"/>
                  <a:gd name="connsiteY2568" fmla="*/ 9017 h 10000"/>
                  <a:gd name="connsiteX2569" fmla="*/ 770 w 10586"/>
                  <a:gd name="connsiteY2569" fmla="*/ 9017 h 10000"/>
                  <a:gd name="connsiteX2570" fmla="*/ 724 w 10586"/>
                  <a:gd name="connsiteY2570" fmla="*/ 9051 h 10000"/>
                  <a:gd name="connsiteX2571" fmla="*/ 724 w 10586"/>
                  <a:gd name="connsiteY2571" fmla="*/ 9068 h 10000"/>
                  <a:gd name="connsiteX2572" fmla="*/ 728 w 10586"/>
                  <a:gd name="connsiteY2572" fmla="*/ 9077 h 10000"/>
                  <a:gd name="connsiteX2573" fmla="*/ 724 w 10586"/>
                  <a:gd name="connsiteY2573" fmla="*/ 9077 h 10000"/>
                  <a:gd name="connsiteX2574" fmla="*/ 710 w 10586"/>
                  <a:gd name="connsiteY2574" fmla="*/ 9077 h 10000"/>
                  <a:gd name="connsiteX2575" fmla="*/ 682 w 10586"/>
                  <a:gd name="connsiteY2575" fmla="*/ 9077 h 10000"/>
                  <a:gd name="connsiteX2576" fmla="*/ 673 w 10586"/>
                  <a:gd name="connsiteY2576" fmla="*/ 9103 h 10000"/>
                  <a:gd name="connsiteX2577" fmla="*/ 687 w 10586"/>
                  <a:gd name="connsiteY2577" fmla="*/ 9128 h 10000"/>
                  <a:gd name="connsiteX2578" fmla="*/ 700 w 10586"/>
                  <a:gd name="connsiteY2578" fmla="*/ 9128 h 10000"/>
                  <a:gd name="connsiteX2579" fmla="*/ 728 w 10586"/>
                  <a:gd name="connsiteY2579" fmla="*/ 9179 h 10000"/>
                  <a:gd name="connsiteX2580" fmla="*/ 724 w 10586"/>
                  <a:gd name="connsiteY2580" fmla="*/ 9188 h 10000"/>
                  <a:gd name="connsiteX2581" fmla="*/ 710 w 10586"/>
                  <a:gd name="connsiteY2581" fmla="*/ 9179 h 10000"/>
                  <a:gd name="connsiteX2582" fmla="*/ 700 w 10586"/>
                  <a:gd name="connsiteY2582" fmla="*/ 9205 h 10000"/>
                  <a:gd name="connsiteX2583" fmla="*/ 696 w 10586"/>
                  <a:gd name="connsiteY2583" fmla="*/ 9205 h 10000"/>
                  <a:gd name="connsiteX2584" fmla="*/ 654 w 10586"/>
                  <a:gd name="connsiteY2584" fmla="*/ 9299 h 10000"/>
                  <a:gd name="connsiteX2585" fmla="*/ 622 w 10586"/>
                  <a:gd name="connsiteY2585" fmla="*/ 9299 h 10000"/>
                  <a:gd name="connsiteX2586" fmla="*/ 613 w 10586"/>
                  <a:gd name="connsiteY2586" fmla="*/ 9316 h 10000"/>
                  <a:gd name="connsiteX2587" fmla="*/ 613 w 10586"/>
                  <a:gd name="connsiteY2587" fmla="*/ 9325 h 10000"/>
                  <a:gd name="connsiteX2588" fmla="*/ 608 w 10586"/>
                  <a:gd name="connsiteY2588" fmla="*/ 9342 h 10000"/>
                  <a:gd name="connsiteX2589" fmla="*/ 636 w 10586"/>
                  <a:gd name="connsiteY2589" fmla="*/ 9376 h 10000"/>
                  <a:gd name="connsiteX2590" fmla="*/ 641 w 10586"/>
                  <a:gd name="connsiteY2590" fmla="*/ 9402 h 10000"/>
                  <a:gd name="connsiteX2591" fmla="*/ 654 w 10586"/>
                  <a:gd name="connsiteY2591" fmla="*/ 9427 h 10000"/>
                  <a:gd name="connsiteX2592" fmla="*/ 668 w 10586"/>
                  <a:gd name="connsiteY2592" fmla="*/ 9427 h 10000"/>
                  <a:gd name="connsiteX2593" fmla="*/ 668 w 10586"/>
                  <a:gd name="connsiteY2593" fmla="*/ 9427 h 10000"/>
                  <a:gd name="connsiteX2594" fmla="*/ 774 w 10586"/>
                  <a:gd name="connsiteY2594" fmla="*/ 9547 h 10000"/>
                  <a:gd name="connsiteX2595" fmla="*/ 797 w 10586"/>
                  <a:gd name="connsiteY2595" fmla="*/ 9598 h 10000"/>
                  <a:gd name="connsiteX2596" fmla="*/ 802 w 10586"/>
                  <a:gd name="connsiteY2596" fmla="*/ 9598 h 10000"/>
                  <a:gd name="connsiteX2597" fmla="*/ 816 w 10586"/>
                  <a:gd name="connsiteY2597" fmla="*/ 9624 h 10000"/>
                  <a:gd name="connsiteX2598" fmla="*/ 843 w 10586"/>
                  <a:gd name="connsiteY2598" fmla="*/ 9615 h 10000"/>
                  <a:gd name="connsiteX2599" fmla="*/ 857 w 10586"/>
                  <a:gd name="connsiteY2599" fmla="*/ 9624 h 10000"/>
                  <a:gd name="connsiteX2600" fmla="*/ 862 w 10586"/>
                  <a:gd name="connsiteY2600" fmla="*/ 9615 h 10000"/>
                  <a:gd name="connsiteX2601" fmla="*/ 880 w 10586"/>
                  <a:gd name="connsiteY2601" fmla="*/ 9624 h 10000"/>
                  <a:gd name="connsiteX2602" fmla="*/ 889 w 10586"/>
                  <a:gd name="connsiteY2602" fmla="*/ 9641 h 10000"/>
                  <a:gd name="connsiteX2603" fmla="*/ 935 w 10586"/>
                  <a:gd name="connsiteY2603" fmla="*/ 9675 h 10000"/>
                  <a:gd name="connsiteX2604" fmla="*/ 977 w 10586"/>
                  <a:gd name="connsiteY2604" fmla="*/ 9667 h 10000"/>
                  <a:gd name="connsiteX2605" fmla="*/ 995 w 10586"/>
                  <a:gd name="connsiteY2605" fmla="*/ 9675 h 10000"/>
                  <a:gd name="connsiteX2606" fmla="*/ 1014 w 10586"/>
                  <a:gd name="connsiteY2606" fmla="*/ 9675 h 10000"/>
                  <a:gd name="connsiteX2607" fmla="*/ 1069 w 10586"/>
                  <a:gd name="connsiteY2607" fmla="*/ 9752 h 10000"/>
                  <a:gd name="connsiteX2608" fmla="*/ 1074 w 10586"/>
                  <a:gd name="connsiteY2608" fmla="*/ 9761 h 10000"/>
                  <a:gd name="connsiteX2609" fmla="*/ 1083 w 10586"/>
                  <a:gd name="connsiteY2609" fmla="*/ 9778 h 10000"/>
                  <a:gd name="connsiteX2610" fmla="*/ 1115 w 10586"/>
                  <a:gd name="connsiteY2610" fmla="*/ 9752 h 10000"/>
                  <a:gd name="connsiteX2611" fmla="*/ 1129 w 10586"/>
                  <a:gd name="connsiteY2611" fmla="*/ 9752 h 10000"/>
                  <a:gd name="connsiteX2612" fmla="*/ 1138 w 10586"/>
                  <a:gd name="connsiteY2612" fmla="*/ 9761 h 10000"/>
                  <a:gd name="connsiteX2613" fmla="*/ 1143 w 10586"/>
                  <a:gd name="connsiteY2613" fmla="*/ 9752 h 10000"/>
                  <a:gd name="connsiteX2614" fmla="*/ 1161 w 10586"/>
                  <a:gd name="connsiteY2614" fmla="*/ 9761 h 10000"/>
                  <a:gd name="connsiteX2615" fmla="*/ 1171 w 10586"/>
                  <a:gd name="connsiteY2615" fmla="*/ 9778 h 10000"/>
                  <a:gd name="connsiteX2616" fmla="*/ 1175 w 10586"/>
                  <a:gd name="connsiteY2616" fmla="*/ 9778 h 10000"/>
                  <a:gd name="connsiteX2617" fmla="*/ 1189 w 10586"/>
                  <a:gd name="connsiteY2617" fmla="*/ 9778 h 10000"/>
                  <a:gd name="connsiteX2618" fmla="*/ 1198 w 10586"/>
                  <a:gd name="connsiteY2618" fmla="*/ 9786 h 10000"/>
                  <a:gd name="connsiteX2619" fmla="*/ 1203 w 10586"/>
                  <a:gd name="connsiteY2619" fmla="*/ 9803 h 10000"/>
                  <a:gd name="connsiteX2620" fmla="*/ 1198 w 10586"/>
                  <a:gd name="connsiteY2620" fmla="*/ 9838 h 10000"/>
                  <a:gd name="connsiteX2621" fmla="*/ 1212 w 10586"/>
                  <a:gd name="connsiteY2621" fmla="*/ 9863 h 10000"/>
                  <a:gd name="connsiteX2622" fmla="*/ 1230 w 10586"/>
                  <a:gd name="connsiteY2622" fmla="*/ 9872 h 10000"/>
                  <a:gd name="connsiteX2623" fmla="*/ 1249 w 10586"/>
                  <a:gd name="connsiteY2623" fmla="*/ 9897 h 10000"/>
                  <a:gd name="connsiteX2624" fmla="*/ 1263 w 10586"/>
                  <a:gd name="connsiteY2624" fmla="*/ 9897 h 10000"/>
                  <a:gd name="connsiteX2625" fmla="*/ 1276 w 10586"/>
                  <a:gd name="connsiteY2625" fmla="*/ 9923 h 10000"/>
                  <a:gd name="connsiteX2626" fmla="*/ 1281 w 10586"/>
                  <a:gd name="connsiteY2626" fmla="*/ 9949 h 10000"/>
                  <a:gd name="connsiteX2627" fmla="*/ 1290 w 10586"/>
                  <a:gd name="connsiteY2627" fmla="*/ 9949 h 10000"/>
                  <a:gd name="connsiteX2628" fmla="*/ 1295 w 10586"/>
                  <a:gd name="connsiteY2628" fmla="*/ 10000 h 10000"/>
                  <a:gd name="connsiteX2629" fmla="*/ 1332 w 10586"/>
                  <a:gd name="connsiteY2629" fmla="*/ 10000 h 10000"/>
                  <a:gd name="connsiteX2630" fmla="*/ 1336 w 10586"/>
                  <a:gd name="connsiteY2630" fmla="*/ 10000 h 10000"/>
                  <a:gd name="connsiteX2631" fmla="*/ 1346 w 10586"/>
                  <a:gd name="connsiteY2631" fmla="*/ 9983 h 10000"/>
                  <a:gd name="connsiteX2632" fmla="*/ 1350 w 10586"/>
                  <a:gd name="connsiteY2632" fmla="*/ 9949 h 10000"/>
                  <a:gd name="connsiteX2633" fmla="*/ 1369 w 10586"/>
                  <a:gd name="connsiteY2633" fmla="*/ 9940 h 10000"/>
                  <a:gd name="connsiteX2634" fmla="*/ 1378 w 10586"/>
                  <a:gd name="connsiteY2634" fmla="*/ 9897 h 10000"/>
                  <a:gd name="connsiteX2635" fmla="*/ 1369 w 10586"/>
                  <a:gd name="connsiteY2635" fmla="*/ 9889 h 10000"/>
                  <a:gd name="connsiteX2636" fmla="*/ 1318 w 10586"/>
                  <a:gd name="connsiteY2636" fmla="*/ 9701 h 10000"/>
                  <a:gd name="connsiteX2637" fmla="*/ 1318 w 10586"/>
                  <a:gd name="connsiteY2637" fmla="*/ 9650 h 10000"/>
                  <a:gd name="connsiteX2638" fmla="*/ 1323 w 10586"/>
                  <a:gd name="connsiteY2638" fmla="*/ 9590 h 10000"/>
                  <a:gd name="connsiteX2639" fmla="*/ 1323 w 10586"/>
                  <a:gd name="connsiteY2639" fmla="*/ 9564 h 10000"/>
                  <a:gd name="connsiteX2640" fmla="*/ 1309 w 10586"/>
                  <a:gd name="connsiteY2640" fmla="*/ 9598 h 10000"/>
                  <a:gd name="connsiteX2641" fmla="*/ 1309 w 10586"/>
                  <a:gd name="connsiteY2641" fmla="*/ 9590 h 10000"/>
                  <a:gd name="connsiteX2642" fmla="*/ 1304 w 10586"/>
                  <a:gd name="connsiteY2642" fmla="*/ 9547 h 10000"/>
                  <a:gd name="connsiteX2643" fmla="*/ 1276 w 10586"/>
                  <a:gd name="connsiteY2643" fmla="*/ 9479 h 10000"/>
                  <a:gd name="connsiteX2644" fmla="*/ 1263 w 10586"/>
                  <a:gd name="connsiteY2644" fmla="*/ 9479 h 10000"/>
                  <a:gd name="connsiteX2645" fmla="*/ 1263 w 10586"/>
                  <a:gd name="connsiteY2645" fmla="*/ 9453 h 10000"/>
                  <a:gd name="connsiteX2646" fmla="*/ 1272 w 10586"/>
                  <a:gd name="connsiteY2646" fmla="*/ 9410 h 10000"/>
                  <a:gd name="connsiteX2647" fmla="*/ 1272 w 10586"/>
                  <a:gd name="connsiteY2647" fmla="*/ 9393 h 10000"/>
                  <a:gd name="connsiteX2648" fmla="*/ 1281 w 10586"/>
                  <a:gd name="connsiteY2648" fmla="*/ 9368 h 10000"/>
                  <a:gd name="connsiteX2649" fmla="*/ 1281 w 10586"/>
                  <a:gd name="connsiteY2649" fmla="*/ 9368 h 10000"/>
                  <a:gd name="connsiteX2650" fmla="*/ 1290 w 10586"/>
                  <a:gd name="connsiteY2650" fmla="*/ 9368 h 10000"/>
                  <a:gd name="connsiteX2651" fmla="*/ 1290 w 10586"/>
                  <a:gd name="connsiteY2651" fmla="*/ 9342 h 10000"/>
                  <a:gd name="connsiteX2652" fmla="*/ 1304 w 10586"/>
                  <a:gd name="connsiteY2652" fmla="*/ 9325 h 10000"/>
                  <a:gd name="connsiteX2653" fmla="*/ 1309 w 10586"/>
                  <a:gd name="connsiteY2653" fmla="*/ 9239 h 10000"/>
                  <a:gd name="connsiteX2654" fmla="*/ 1318 w 10586"/>
                  <a:gd name="connsiteY2654" fmla="*/ 9256 h 10000"/>
                  <a:gd name="connsiteX2655" fmla="*/ 1323 w 10586"/>
                  <a:gd name="connsiteY2655" fmla="*/ 9179 h 10000"/>
                  <a:gd name="connsiteX2656" fmla="*/ 1309 w 10586"/>
                  <a:gd name="connsiteY2656" fmla="*/ 9145 h 10000"/>
                  <a:gd name="connsiteX2657" fmla="*/ 1336 w 10586"/>
                  <a:gd name="connsiteY2657" fmla="*/ 9154 h 10000"/>
                  <a:gd name="connsiteX2658" fmla="*/ 1336 w 10586"/>
                  <a:gd name="connsiteY2658" fmla="*/ 9162 h 10000"/>
                  <a:gd name="connsiteX2659" fmla="*/ 1350 w 10586"/>
                  <a:gd name="connsiteY2659" fmla="*/ 9231 h 10000"/>
                  <a:gd name="connsiteX2660" fmla="*/ 1355 w 10586"/>
                  <a:gd name="connsiteY2660" fmla="*/ 9231 h 10000"/>
                  <a:gd name="connsiteX2661" fmla="*/ 1364 w 10586"/>
                  <a:gd name="connsiteY2661" fmla="*/ 9214 h 10000"/>
                  <a:gd name="connsiteX2662" fmla="*/ 1369 w 10586"/>
                  <a:gd name="connsiteY2662" fmla="*/ 9214 h 10000"/>
                  <a:gd name="connsiteX2663" fmla="*/ 1382 w 10586"/>
                  <a:gd name="connsiteY2663" fmla="*/ 9154 h 10000"/>
                  <a:gd name="connsiteX2664" fmla="*/ 1396 w 10586"/>
                  <a:gd name="connsiteY2664" fmla="*/ 9154 h 10000"/>
                  <a:gd name="connsiteX2665" fmla="*/ 1382 w 10586"/>
                  <a:gd name="connsiteY2665" fmla="*/ 9145 h 10000"/>
                  <a:gd name="connsiteX2666" fmla="*/ 1382 w 10586"/>
                  <a:gd name="connsiteY2666" fmla="*/ 9128 h 10000"/>
                  <a:gd name="connsiteX2667" fmla="*/ 1369 w 10586"/>
                  <a:gd name="connsiteY2667" fmla="*/ 9128 h 10000"/>
                  <a:gd name="connsiteX2668" fmla="*/ 1364 w 10586"/>
                  <a:gd name="connsiteY2668" fmla="*/ 9128 h 10000"/>
                  <a:gd name="connsiteX2669" fmla="*/ 1355 w 10586"/>
                  <a:gd name="connsiteY2669" fmla="*/ 9120 h 10000"/>
                  <a:gd name="connsiteX2670" fmla="*/ 1350 w 10586"/>
                  <a:gd name="connsiteY2670" fmla="*/ 9103 h 10000"/>
                  <a:gd name="connsiteX2671" fmla="*/ 1355 w 10586"/>
                  <a:gd name="connsiteY2671" fmla="*/ 9094 h 10000"/>
                  <a:gd name="connsiteX2672" fmla="*/ 1355 w 10586"/>
                  <a:gd name="connsiteY2672" fmla="*/ 9068 h 10000"/>
                  <a:gd name="connsiteX2673" fmla="*/ 1369 w 10586"/>
                  <a:gd name="connsiteY2673" fmla="*/ 9068 h 10000"/>
                  <a:gd name="connsiteX2674" fmla="*/ 1378 w 10586"/>
                  <a:gd name="connsiteY2674" fmla="*/ 9077 h 10000"/>
                  <a:gd name="connsiteX2675" fmla="*/ 1396 w 10586"/>
                  <a:gd name="connsiteY2675" fmla="*/ 9068 h 10000"/>
                  <a:gd name="connsiteX2676" fmla="*/ 1382 w 10586"/>
                  <a:gd name="connsiteY2676" fmla="*/ 8940 h 10000"/>
                  <a:gd name="connsiteX2677" fmla="*/ 1378 w 10586"/>
                  <a:gd name="connsiteY2677" fmla="*/ 8940 h 10000"/>
                  <a:gd name="connsiteX2678" fmla="*/ 1364 w 10586"/>
                  <a:gd name="connsiteY2678" fmla="*/ 8889 h 10000"/>
                  <a:gd name="connsiteX2679" fmla="*/ 1355 w 10586"/>
                  <a:gd name="connsiteY2679" fmla="*/ 8880 h 10000"/>
                  <a:gd name="connsiteX2680" fmla="*/ 1323 w 10586"/>
                  <a:gd name="connsiteY2680" fmla="*/ 8880 h 10000"/>
                  <a:gd name="connsiteX2681" fmla="*/ 1309 w 10586"/>
                  <a:gd name="connsiteY2681" fmla="*/ 8880 h 10000"/>
                  <a:gd name="connsiteX2682" fmla="*/ 1309 w 10586"/>
                  <a:gd name="connsiteY2682" fmla="*/ 8889 h 10000"/>
                  <a:gd name="connsiteX2683" fmla="*/ 1295 w 10586"/>
                  <a:gd name="connsiteY2683" fmla="*/ 8872 h 10000"/>
                  <a:gd name="connsiteX2684" fmla="*/ 1290 w 10586"/>
                  <a:gd name="connsiteY2684" fmla="*/ 8855 h 10000"/>
                  <a:gd name="connsiteX2685" fmla="*/ 1290 w 10586"/>
                  <a:gd name="connsiteY2685" fmla="*/ 8829 h 10000"/>
                  <a:gd name="connsiteX2686" fmla="*/ 1290 w 10586"/>
                  <a:gd name="connsiteY2686" fmla="*/ 8821 h 10000"/>
                  <a:gd name="connsiteX2687" fmla="*/ 1290 w 10586"/>
                  <a:gd name="connsiteY2687" fmla="*/ 8803 h 10000"/>
                  <a:gd name="connsiteX2688" fmla="*/ 1281 w 10586"/>
                  <a:gd name="connsiteY2688" fmla="*/ 8795 h 10000"/>
                  <a:gd name="connsiteX2689" fmla="*/ 1249 w 10586"/>
                  <a:gd name="connsiteY2689" fmla="*/ 8769 h 10000"/>
                  <a:gd name="connsiteX2690" fmla="*/ 1263 w 10586"/>
                  <a:gd name="connsiteY2690" fmla="*/ 8667 h 10000"/>
                  <a:gd name="connsiteX2691" fmla="*/ 1281 w 10586"/>
                  <a:gd name="connsiteY2691" fmla="*/ 8658 h 10000"/>
                  <a:gd name="connsiteX2692" fmla="*/ 1290 w 10586"/>
                  <a:gd name="connsiteY2692" fmla="*/ 8632 h 10000"/>
                  <a:gd name="connsiteX2693" fmla="*/ 1281 w 10586"/>
                  <a:gd name="connsiteY2693" fmla="*/ 8615 h 10000"/>
                  <a:gd name="connsiteX2694" fmla="*/ 1272 w 10586"/>
                  <a:gd name="connsiteY2694" fmla="*/ 8598 h 10000"/>
                  <a:gd name="connsiteX2695" fmla="*/ 1281 w 10586"/>
                  <a:gd name="connsiteY2695" fmla="*/ 8496 h 10000"/>
                  <a:gd name="connsiteX2696" fmla="*/ 1295 w 10586"/>
                  <a:gd name="connsiteY2696" fmla="*/ 8470 h 10000"/>
                  <a:gd name="connsiteX2697" fmla="*/ 1304 w 10586"/>
                  <a:gd name="connsiteY2697" fmla="*/ 8462 h 10000"/>
                  <a:gd name="connsiteX2698" fmla="*/ 1304 w 10586"/>
                  <a:gd name="connsiteY2698" fmla="*/ 8444 h 10000"/>
                  <a:gd name="connsiteX2699" fmla="*/ 1304 w 10586"/>
                  <a:gd name="connsiteY2699" fmla="*/ 8419 h 10000"/>
                  <a:gd name="connsiteX2700" fmla="*/ 1304 w 10586"/>
                  <a:gd name="connsiteY2700" fmla="*/ 8410 h 10000"/>
                  <a:gd name="connsiteX2701" fmla="*/ 1309 w 10586"/>
                  <a:gd name="connsiteY2701" fmla="*/ 8393 h 10000"/>
                  <a:gd name="connsiteX2702" fmla="*/ 1318 w 10586"/>
                  <a:gd name="connsiteY2702" fmla="*/ 8385 h 10000"/>
                  <a:gd name="connsiteX2703" fmla="*/ 1323 w 10586"/>
                  <a:gd name="connsiteY2703" fmla="*/ 8385 h 10000"/>
                  <a:gd name="connsiteX2704" fmla="*/ 1332 w 10586"/>
                  <a:gd name="connsiteY2704" fmla="*/ 8410 h 10000"/>
                  <a:gd name="connsiteX2705" fmla="*/ 1346 w 10586"/>
                  <a:gd name="connsiteY2705" fmla="*/ 8419 h 10000"/>
                  <a:gd name="connsiteX2706" fmla="*/ 1364 w 10586"/>
                  <a:gd name="connsiteY2706" fmla="*/ 8504 h 10000"/>
                  <a:gd name="connsiteX2707" fmla="*/ 1369 w 10586"/>
                  <a:gd name="connsiteY2707" fmla="*/ 8521 h 10000"/>
                  <a:gd name="connsiteX2708" fmla="*/ 1406 w 10586"/>
                  <a:gd name="connsiteY2708" fmla="*/ 8470 h 10000"/>
                  <a:gd name="connsiteX2709" fmla="*/ 1382 w 10586"/>
                  <a:gd name="connsiteY2709" fmla="*/ 8359 h 10000"/>
                  <a:gd name="connsiteX2710" fmla="*/ 1392 w 10586"/>
                  <a:gd name="connsiteY2710" fmla="*/ 8359 h 10000"/>
                  <a:gd name="connsiteX2711" fmla="*/ 1438 w 10586"/>
                  <a:gd name="connsiteY2711" fmla="*/ 8308 h 10000"/>
                  <a:gd name="connsiteX2712" fmla="*/ 1442 w 10586"/>
                  <a:gd name="connsiteY2712" fmla="*/ 8299 h 10000"/>
                  <a:gd name="connsiteX2713" fmla="*/ 1442 w 10586"/>
                  <a:gd name="connsiteY2713" fmla="*/ 8256 h 10000"/>
                  <a:gd name="connsiteX2714" fmla="*/ 1452 w 10586"/>
                  <a:gd name="connsiteY2714" fmla="*/ 8256 h 10000"/>
                  <a:gd name="connsiteX2715" fmla="*/ 1456 w 10586"/>
                  <a:gd name="connsiteY2715" fmla="*/ 8256 h 10000"/>
                  <a:gd name="connsiteX2716" fmla="*/ 1470 w 10586"/>
                  <a:gd name="connsiteY2716" fmla="*/ 8248 h 10000"/>
                  <a:gd name="connsiteX2717" fmla="*/ 1479 w 10586"/>
                  <a:gd name="connsiteY2717" fmla="*/ 8231 h 10000"/>
                  <a:gd name="connsiteX2718" fmla="*/ 1493 w 10586"/>
                  <a:gd name="connsiteY2718" fmla="*/ 8222 h 10000"/>
                  <a:gd name="connsiteX2719" fmla="*/ 1498 w 10586"/>
                  <a:gd name="connsiteY2719" fmla="*/ 8214 h 10000"/>
                  <a:gd name="connsiteX2720" fmla="*/ 1502 w 10586"/>
                  <a:gd name="connsiteY2720" fmla="*/ 8197 h 10000"/>
                  <a:gd name="connsiteX2721" fmla="*/ 1512 w 10586"/>
                  <a:gd name="connsiteY2721" fmla="*/ 8188 h 10000"/>
                  <a:gd name="connsiteX2722" fmla="*/ 1516 w 10586"/>
                  <a:gd name="connsiteY2722" fmla="*/ 8171 h 10000"/>
                  <a:gd name="connsiteX2723" fmla="*/ 1525 w 10586"/>
                  <a:gd name="connsiteY2723" fmla="*/ 8162 h 10000"/>
                  <a:gd name="connsiteX2724" fmla="*/ 1539 w 10586"/>
                  <a:gd name="connsiteY2724" fmla="*/ 8145 h 10000"/>
                  <a:gd name="connsiteX2725" fmla="*/ 1558 w 10586"/>
                  <a:gd name="connsiteY2725" fmla="*/ 8145 h 10000"/>
                  <a:gd name="connsiteX2726" fmla="*/ 1562 w 10586"/>
                  <a:gd name="connsiteY2726" fmla="*/ 8188 h 10000"/>
                  <a:gd name="connsiteX2727" fmla="*/ 1585 w 10586"/>
                  <a:gd name="connsiteY2727" fmla="*/ 8171 h 10000"/>
                  <a:gd name="connsiteX2728" fmla="*/ 1590 w 10586"/>
                  <a:gd name="connsiteY2728" fmla="*/ 8188 h 10000"/>
                  <a:gd name="connsiteX2729" fmla="*/ 1599 w 10586"/>
                  <a:gd name="connsiteY2729" fmla="*/ 8171 h 10000"/>
                  <a:gd name="connsiteX2730" fmla="*/ 1599 w 10586"/>
                  <a:gd name="connsiteY2730" fmla="*/ 8162 h 10000"/>
                  <a:gd name="connsiteX2731" fmla="*/ 1604 w 10586"/>
                  <a:gd name="connsiteY2731" fmla="*/ 8137 h 10000"/>
                  <a:gd name="connsiteX2732" fmla="*/ 1618 w 10586"/>
                  <a:gd name="connsiteY2732" fmla="*/ 8145 h 10000"/>
                  <a:gd name="connsiteX2733" fmla="*/ 1627 w 10586"/>
                  <a:gd name="connsiteY2733" fmla="*/ 8137 h 10000"/>
                  <a:gd name="connsiteX2734" fmla="*/ 1631 w 10586"/>
                  <a:gd name="connsiteY2734" fmla="*/ 8137 h 10000"/>
                  <a:gd name="connsiteX2735" fmla="*/ 1636 w 10586"/>
                  <a:gd name="connsiteY2735" fmla="*/ 8171 h 10000"/>
                  <a:gd name="connsiteX2736" fmla="*/ 1645 w 10586"/>
                  <a:gd name="connsiteY2736" fmla="*/ 8188 h 10000"/>
                  <a:gd name="connsiteX2737" fmla="*/ 1664 w 10586"/>
                  <a:gd name="connsiteY2737" fmla="*/ 8171 h 10000"/>
                  <a:gd name="connsiteX2738" fmla="*/ 1673 w 10586"/>
                  <a:gd name="connsiteY2738" fmla="*/ 8188 h 10000"/>
                  <a:gd name="connsiteX2739" fmla="*/ 1691 w 10586"/>
                  <a:gd name="connsiteY2739" fmla="*/ 8171 h 10000"/>
                  <a:gd name="connsiteX2740" fmla="*/ 1705 w 10586"/>
                  <a:gd name="connsiteY2740" fmla="*/ 8171 h 10000"/>
                  <a:gd name="connsiteX2741" fmla="*/ 1719 w 10586"/>
                  <a:gd name="connsiteY2741" fmla="*/ 8197 h 10000"/>
                  <a:gd name="connsiteX2742" fmla="*/ 1724 w 10586"/>
                  <a:gd name="connsiteY2742" fmla="*/ 8231 h 10000"/>
                  <a:gd name="connsiteX2743" fmla="*/ 1751 w 10586"/>
                  <a:gd name="connsiteY2743" fmla="*/ 8256 h 10000"/>
                  <a:gd name="connsiteX2744" fmla="*/ 1751 w 10586"/>
                  <a:gd name="connsiteY2744" fmla="*/ 8274 h 10000"/>
                  <a:gd name="connsiteX2745" fmla="*/ 1760 w 10586"/>
                  <a:gd name="connsiteY2745" fmla="*/ 8282 h 10000"/>
                  <a:gd name="connsiteX2746" fmla="*/ 1770 w 10586"/>
                  <a:gd name="connsiteY2746" fmla="*/ 8325 h 10000"/>
                  <a:gd name="connsiteX2747" fmla="*/ 1770 w 10586"/>
                  <a:gd name="connsiteY2747" fmla="*/ 8350 h 10000"/>
                  <a:gd name="connsiteX2748" fmla="*/ 1779 w 10586"/>
                  <a:gd name="connsiteY2748" fmla="*/ 8368 h 10000"/>
                  <a:gd name="connsiteX2749" fmla="*/ 1783 w 10586"/>
                  <a:gd name="connsiteY2749" fmla="*/ 8359 h 10000"/>
                  <a:gd name="connsiteX2750" fmla="*/ 1783 w 10586"/>
                  <a:gd name="connsiteY2750" fmla="*/ 8308 h 10000"/>
                  <a:gd name="connsiteX2751" fmla="*/ 1779 w 10586"/>
                  <a:gd name="connsiteY2751" fmla="*/ 8299 h 10000"/>
                  <a:gd name="connsiteX2752" fmla="*/ 1783 w 10586"/>
                  <a:gd name="connsiteY2752" fmla="*/ 8282 h 10000"/>
                  <a:gd name="connsiteX2753" fmla="*/ 1797 w 10586"/>
                  <a:gd name="connsiteY2753" fmla="*/ 8274 h 10000"/>
                  <a:gd name="connsiteX2754" fmla="*/ 1797 w 10586"/>
                  <a:gd name="connsiteY2754" fmla="*/ 8299 h 10000"/>
                  <a:gd name="connsiteX2755" fmla="*/ 1806 w 10586"/>
                  <a:gd name="connsiteY2755" fmla="*/ 8308 h 10000"/>
                  <a:gd name="connsiteX2756" fmla="*/ 1811 w 10586"/>
                  <a:gd name="connsiteY2756" fmla="*/ 8325 h 10000"/>
                  <a:gd name="connsiteX2757" fmla="*/ 1820 w 10586"/>
                  <a:gd name="connsiteY2757" fmla="*/ 8333 h 10000"/>
                  <a:gd name="connsiteX2758" fmla="*/ 1853 w 10586"/>
                  <a:gd name="connsiteY2758" fmla="*/ 8359 h 10000"/>
                  <a:gd name="connsiteX2759" fmla="*/ 1866 w 10586"/>
                  <a:gd name="connsiteY2759" fmla="*/ 8359 h 10000"/>
                  <a:gd name="connsiteX2760" fmla="*/ 1885 w 10586"/>
                  <a:gd name="connsiteY2760" fmla="*/ 8325 h 10000"/>
                  <a:gd name="connsiteX2761" fmla="*/ 1885 w 10586"/>
                  <a:gd name="connsiteY2761" fmla="*/ 8308 h 10000"/>
                  <a:gd name="connsiteX2762" fmla="*/ 1894 w 10586"/>
                  <a:gd name="connsiteY2762" fmla="*/ 8299 h 10000"/>
                  <a:gd name="connsiteX2763" fmla="*/ 1899 w 10586"/>
                  <a:gd name="connsiteY2763" fmla="*/ 8282 h 10000"/>
                  <a:gd name="connsiteX2764" fmla="*/ 1912 w 10586"/>
                  <a:gd name="connsiteY2764" fmla="*/ 8282 h 10000"/>
                  <a:gd name="connsiteX2765" fmla="*/ 1917 w 10586"/>
                  <a:gd name="connsiteY2765" fmla="*/ 8299 h 10000"/>
                  <a:gd name="connsiteX2766" fmla="*/ 1917 w 10586"/>
                  <a:gd name="connsiteY2766" fmla="*/ 8274 h 10000"/>
                  <a:gd name="connsiteX2767" fmla="*/ 1940 w 10586"/>
                  <a:gd name="connsiteY2767" fmla="*/ 8282 h 10000"/>
                  <a:gd name="connsiteX2768" fmla="*/ 1945 w 10586"/>
                  <a:gd name="connsiteY2768" fmla="*/ 8274 h 10000"/>
                  <a:gd name="connsiteX2769" fmla="*/ 1972 w 10586"/>
                  <a:gd name="connsiteY2769" fmla="*/ 8308 h 10000"/>
                  <a:gd name="connsiteX2770" fmla="*/ 1986 w 10586"/>
                  <a:gd name="connsiteY2770" fmla="*/ 8282 h 10000"/>
                  <a:gd name="connsiteX2771" fmla="*/ 1991 w 10586"/>
                  <a:gd name="connsiteY2771" fmla="*/ 8274 h 10000"/>
                  <a:gd name="connsiteX2772" fmla="*/ 2014 w 10586"/>
                  <a:gd name="connsiteY2772" fmla="*/ 8274 h 10000"/>
                  <a:gd name="connsiteX2773" fmla="*/ 2018 w 10586"/>
                  <a:gd name="connsiteY2773" fmla="*/ 8256 h 10000"/>
                  <a:gd name="connsiteX2774" fmla="*/ 2041 w 10586"/>
                  <a:gd name="connsiteY2774" fmla="*/ 8274 h 10000"/>
                  <a:gd name="connsiteX2775" fmla="*/ 2046 w 10586"/>
                  <a:gd name="connsiteY2775" fmla="*/ 8282 h 10000"/>
                  <a:gd name="connsiteX2776" fmla="*/ 2046 w 10586"/>
                  <a:gd name="connsiteY2776" fmla="*/ 8325 h 10000"/>
                  <a:gd name="connsiteX2777" fmla="*/ 2060 w 10586"/>
                  <a:gd name="connsiteY2777" fmla="*/ 8350 h 10000"/>
                  <a:gd name="connsiteX2778" fmla="*/ 2078 w 10586"/>
                  <a:gd name="connsiteY2778" fmla="*/ 8350 h 10000"/>
                  <a:gd name="connsiteX2779" fmla="*/ 2092 w 10586"/>
                  <a:gd name="connsiteY2779" fmla="*/ 8350 h 10000"/>
                  <a:gd name="connsiteX2780" fmla="*/ 2092 w 10586"/>
                  <a:gd name="connsiteY2780" fmla="*/ 8350 h 10000"/>
                  <a:gd name="connsiteX2781" fmla="*/ 2101 w 10586"/>
                  <a:gd name="connsiteY2781" fmla="*/ 8368 h 10000"/>
                  <a:gd name="connsiteX2782" fmla="*/ 2120 w 10586"/>
                  <a:gd name="connsiteY2782" fmla="*/ 8368 h 10000"/>
                  <a:gd name="connsiteX2783" fmla="*/ 2124 w 10586"/>
                  <a:gd name="connsiteY2783" fmla="*/ 8359 h 10000"/>
                  <a:gd name="connsiteX2784" fmla="*/ 2138 w 10586"/>
                  <a:gd name="connsiteY2784" fmla="*/ 8325 h 10000"/>
                  <a:gd name="connsiteX2785" fmla="*/ 2147 w 10586"/>
                  <a:gd name="connsiteY2785" fmla="*/ 8325 h 10000"/>
                  <a:gd name="connsiteX2786" fmla="*/ 2161 w 10586"/>
                  <a:gd name="connsiteY2786" fmla="*/ 8350 h 10000"/>
                  <a:gd name="connsiteX2787" fmla="*/ 2198 w 10586"/>
                  <a:gd name="connsiteY2787" fmla="*/ 8350 h 10000"/>
                  <a:gd name="connsiteX2788" fmla="*/ 2207 w 10586"/>
                  <a:gd name="connsiteY2788" fmla="*/ 8333 h 10000"/>
                  <a:gd name="connsiteX2789" fmla="*/ 2226 w 10586"/>
                  <a:gd name="connsiteY2789" fmla="*/ 8325 h 10000"/>
                  <a:gd name="connsiteX2790" fmla="*/ 2249 w 10586"/>
                  <a:gd name="connsiteY2790" fmla="*/ 8222 h 10000"/>
                  <a:gd name="connsiteX2791" fmla="*/ 2235 w 10586"/>
                  <a:gd name="connsiteY2791" fmla="*/ 8197 h 10000"/>
                  <a:gd name="connsiteX2792" fmla="*/ 2198 w 10586"/>
                  <a:gd name="connsiteY2792" fmla="*/ 8197 h 10000"/>
                  <a:gd name="connsiteX2793" fmla="*/ 2189 w 10586"/>
                  <a:gd name="connsiteY2793" fmla="*/ 8171 h 10000"/>
                  <a:gd name="connsiteX2794" fmla="*/ 2161 w 10586"/>
                  <a:gd name="connsiteY2794" fmla="*/ 8145 h 10000"/>
                  <a:gd name="connsiteX2795" fmla="*/ 2161 w 10586"/>
                  <a:gd name="connsiteY2795" fmla="*/ 8137 h 10000"/>
                  <a:gd name="connsiteX2796" fmla="*/ 2152 w 10586"/>
                  <a:gd name="connsiteY2796" fmla="*/ 8120 h 10000"/>
                  <a:gd name="connsiteX2797" fmla="*/ 2138 w 10586"/>
                  <a:gd name="connsiteY2797" fmla="*/ 8111 h 10000"/>
                  <a:gd name="connsiteX2798" fmla="*/ 2138 w 10586"/>
                  <a:gd name="connsiteY2798" fmla="*/ 8094 h 10000"/>
                  <a:gd name="connsiteX2799" fmla="*/ 2147 w 10586"/>
                  <a:gd name="connsiteY2799" fmla="*/ 8085 h 10000"/>
                  <a:gd name="connsiteX2800" fmla="*/ 2161 w 10586"/>
                  <a:gd name="connsiteY2800" fmla="*/ 8060 h 10000"/>
                  <a:gd name="connsiteX2801" fmla="*/ 2198 w 10586"/>
                  <a:gd name="connsiteY2801" fmla="*/ 8034 h 10000"/>
                  <a:gd name="connsiteX2802" fmla="*/ 2198 w 10586"/>
                  <a:gd name="connsiteY2802" fmla="*/ 8026 h 10000"/>
                  <a:gd name="connsiteX2803" fmla="*/ 2198 w 10586"/>
                  <a:gd name="connsiteY2803" fmla="*/ 8000 h 10000"/>
                  <a:gd name="connsiteX2804" fmla="*/ 2180 w 10586"/>
                  <a:gd name="connsiteY2804" fmla="*/ 7940 h 10000"/>
                  <a:gd name="connsiteX2805" fmla="*/ 2189 w 10586"/>
                  <a:gd name="connsiteY2805" fmla="*/ 7940 h 10000"/>
                  <a:gd name="connsiteX2806" fmla="*/ 2198 w 10586"/>
                  <a:gd name="connsiteY2806" fmla="*/ 7923 h 10000"/>
                  <a:gd name="connsiteX2807" fmla="*/ 2198 w 10586"/>
                  <a:gd name="connsiteY2807" fmla="*/ 7897 h 10000"/>
                  <a:gd name="connsiteX2808" fmla="*/ 2207 w 10586"/>
                  <a:gd name="connsiteY2808" fmla="*/ 7889 h 10000"/>
                  <a:gd name="connsiteX2809" fmla="*/ 2221 w 10586"/>
                  <a:gd name="connsiteY2809" fmla="*/ 7889 h 10000"/>
                  <a:gd name="connsiteX2810" fmla="*/ 2226 w 10586"/>
                  <a:gd name="connsiteY2810" fmla="*/ 7897 h 10000"/>
                  <a:gd name="connsiteX2811" fmla="*/ 2235 w 10586"/>
                  <a:gd name="connsiteY2811" fmla="*/ 7889 h 10000"/>
                  <a:gd name="connsiteX2812" fmla="*/ 2249 w 10586"/>
                  <a:gd name="connsiteY2812" fmla="*/ 7897 h 10000"/>
                  <a:gd name="connsiteX2813" fmla="*/ 2267 w 10586"/>
                  <a:gd name="connsiteY2813" fmla="*/ 7897 h 10000"/>
                  <a:gd name="connsiteX2814" fmla="*/ 2272 w 10586"/>
                  <a:gd name="connsiteY2814" fmla="*/ 7889 h 10000"/>
                  <a:gd name="connsiteX2815" fmla="*/ 2281 w 10586"/>
                  <a:gd name="connsiteY2815" fmla="*/ 7872 h 10000"/>
                  <a:gd name="connsiteX2816" fmla="*/ 2272 w 10586"/>
                  <a:gd name="connsiteY2816" fmla="*/ 7846 h 10000"/>
                  <a:gd name="connsiteX2817" fmla="*/ 2253 w 10586"/>
                  <a:gd name="connsiteY2817" fmla="*/ 7838 h 10000"/>
                  <a:gd name="connsiteX2818" fmla="*/ 2221 w 10586"/>
                  <a:gd name="connsiteY2818" fmla="*/ 7821 h 10000"/>
                  <a:gd name="connsiteX2819" fmla="*/ 2212 w 10586"/>
                  <a:gd name="connsiteY2819" fmla="*/ 7812 h 10000"/>
                  <a:gd name="connsiteX2820" fmla="*/ 2212 w 10586"/>
                  <a:gd name="connsiteY2820" fmla="*/ 7803 h 10000"/>
                  <a:gd name="connsiteX2821" fmla="*/ 2221 w 10586"/>
                  <a:gd name="connsiteY2821" fmla="*/ 7803 h 10000"/>
                  <a:gd name="connsiteX2822" fmla="*/ 2235 w 10586"/>
                  <a:gd name="connsiteY2822" fmla="*/ 7786 h 10000"/>
                  <a:gd name="connsiteX2823" fmla="*/ 2240 w 10586"/>
                  <a:gd name="connsiteY2823" fmla="*/ 7778 h 10000"/>
                  <a:gd name="connsiteX2824" fmla="*/ 2226 w 10586"/>
                  <a:gd name="connsiteY2824" fmla="*/ 7761 h 10000"/>
                  <a:gd name="connsiteX2825" fmla="*/ 2221 w 10586"/>
                  <a:gd name="connsiteY2825" fmla="*/ 7778 h 10000"/>
                  <a:gd name="connsiteX2826" fmla="*/ 2198 w 10586"/>
                  <a:gd name="connsiteY2826" fmla="*/ 7778 h 10000"/>
                  <a:gd name="connsiteX2827" fmla="*/ 2198 w 10586"/>
                  <a:gd name="connsiteY2827" fmla="*/ 7752 h 10000"/>
                  <a:gd name="connsiteX2828" fmla="*/ 2207 w 10586"/>
                  <a:gd name="connsiteY2828" fmla="*/ 7735 h 10000"/>
                  <a:gd name="connsiteX2829" fmla="*/ 2212 w 10586"/>
                  <a:gd name="connsiteY2829" fmla="*/ 7726 h 10000"/>
                  <a:gd name="connsiteX2830" fmla="*/ 2198 w 10586"/>
                  <a:gd name="connsiteY2830" fmla="*/ 7692 h 10000"/>
                  <a:gd name="connsiteX2831" fmla="*/ 2221 w 10586"/>
                  <a:gd name="connsiteY2831" fmla="*/ 7692 h 10000"/>
                  <a:gd name="connsiteX2832" fmla="*/ 2221 w 10586"/>
                  <a:gd name="connsiteY2832" fmla="*/ 7675 h 10000"/>
                  <a:gd name="connsiteX2833" fmla="*/ 2235 w 10586"/>
                  <a:gd name="connsiteY2833" fmla="*/ 7675 h 10000"/>
                  <a:gd name="connsiteX2834" fmla="*/ 2240 w 10586"/>
                  <a:gd name="connsiteY2834" fmla="*/ 7692 h 10000"/>
                  <a:gd name="connsiteX2835" fmla="*/ 2249 w 10586"/>
                  <a:gd name="connsiteY2835" fmla="*/ 7692 h 10000"/>
                  <a:gd name="connsiteX2836" fmla="*/ 2258 w 10586"/>
                  <a:gd name="connsiteY2836" fmla="*/ 7692 h 10000"/>
                  <a:gd name="connsiteX2837" fmla="*/ 2267 w 10586"/>
                  <a:gd name="connsiteY2837" fmla="*/ 7692 h 10000"/>
                  <a:gd name="connsiteX2838" fmla="*/ 2295 w 10586"/>
                  <a:gd name="connsiteY2838" fmla="*/ 7692 h 10000"/>
                  <a:gd name="connsiteX2839" fmla="*/ 2300 w 10586"/>
                  <a:gd name="connsiteY2839" fmla="*/ 7701 h 10000"/>
                  <a:gd name="connsiteX2840" fmla="*/ 2313 w 10586"/>
                  <a:gd name="connsiteY2840" fmla="*/ 7675 h 10000"/>
                  <a:gd name="connsiteX2841" fmla="*/ 2323 w 10586"/>
                  <a:gd name="connsiteY2841" fmla="*/ 7675 h 10000"/>
                  <a:gd name="connsiteX2842" fmla="*/ 2341 w 10586"/>
                  <a:gd name="connsiteY2842" fmla="*/ 7675 h 10000"/>
                  <a:gd name="connsiteX2843" fmla="*/ 2346 w 10586"/>
                  <a:gd name="connsiteY2843" fmla="*/ 7667 h 10000"/>
                  <a:gd name="connsiteX2844" fmla="*/ 2359 w 10586"/>
                  <a:gd name="connsiteY2844" fmla="*/ 7650 h 10000"/>
                  <a:gd name="connsiteX2845" fmla="*/ 2373 w 10586"/>
                  <a:gd name="connsiteY2845" fmla="*/ 7624 h 10000"/>
                  <a:gd name="connsiteX2846" fmla="*/ 2382 w 10586"/>
                  <a:gd name="connsiteY2846" fmla="*/ 7641 h 10000"/>
                  <a:gd name="connsiteX2847" fmla="*/ 2396 w 10586"/>
                  <a:gd name="connsiteY2847" fmla="*/ 7650 h 10000"/>
                  <a:gd name="connsiteX2848" fmla="*/ 2401 w 10586"/>
                  <a:gd name="connsiteY2848" fmla="*/ 7650 h 10000"/>
                  <a:gd name="connsiteX2849" fmla="*/ 2401 w 10586"/>
                  <a:gd name="connsiteY2849" fmla="*/ 7624 h 10000"/>
                  <a:gd name="connsiteX2850" fmla="*/ 2419 w 10586"/>
                  <a:gd name="connsiteY2850" fmla="*/ 7624 h 10000"/>
                  <a:gd name="connsiteX2851" fmla="*/ 2433 w 10586"/>
                  <a:gd name="connsiteY2851" fmla="*/ 7615 h 10000"/>
                  <a:gd name="connsiteX2852" fmla="*/ 2442 w 10586"/>
                  <a:gd name="connsiteY2852" fmla="*/ 7615 h 10000"/>
                  <a:gd name="connsiteX2853" fmla="*/ 2447 w 10586"/>
                  <a:gd name="connsiteY2853" fmla="*/ 7598 h 10000"/>
                  <a:gd name="connsiteX2854" fmla="*/ 2461 w 10586"/>
                  <a:gd name="connsiteY2854" fmla="*/ 7598 h 10000"/>
                  <a:gd name="connsiteX2855" fmla="*/ 2465 w 10586"/>
                  <a:gd name="connsiteY2855" fmla="*/ 7615 h 10000"/>
                  <a:gd name="connsiteX2856" fmla="*/ 2479 w 10586"/>
                  <a:gd name="connsiteY2856" fmla="*/ 7564 h 10000"/>
                  <a:gd name="connsiteX2857" fmla="*/ 2488 w 10586"/>
                  <a:gd name="connsiteY2857" fmla="*/ 7556 h 10000"/>
                  <a:gd name="connsiteX2858" fmla="*/ 2493 w 10586"/>
                  <a:gd name="connsiteY2858" fmla="*/ 7556 h 10000"/>
                  <a:gd name="connsiteX2859" fmla="*/ 2507 w 10586"/>
                  <a:gd name="connsiteY2859" fmla="*/ 7556 h 10000"/>
                  <a:gd name="connsiteX2860" fmla="*/ 2530 w 10586"/>
                  <a:gd name="connsiteY2860" fmla="*/ 7538 h 10000"/>
                  <a:gd name="connsiteX2861" fmla="*/ 2530 w 10586"/>
                  <a:gd name="connsiteY2861" fmla="*/ 7556 h 10000"/>
                  <a:gd name="connsiteX2862" fmla="*/ 2641 w 10586"/>
                  <a:gd name="connsiteY2862" fmla="*/ 7504 h 10000"/>
                  <a:gd name="connsiteX2863" fmla="*/ 2654 w 10586"/>
                  <a:gd name="connsiteY2863" fmla="*/ 7487 h 10000"/>
                  <a:gd name="connsiteX2864" fmla="*/ 2664 w 10586"/>
                  <a:gd name="connsiteY2864" fmla="*/ 7487 h 10000"/>
                  <a:gd name="connsiteX2865" fmla="*/ 2668 w 10586"/>
                  <a:gd name="connsiteY2865" fmla="*/ 7479 h 10000"/>
                  <a:gd name="connsiteX2866" fmla="*/ 2673 w 10586"/>
                  <a:gd name="connsiteY2866" fmla="*/ 7462 h 10000"/>
                  <a:gd name="connsiteX2867" fmla="*/ 2673 w 10586"/>
                  <a:gd name="connsiteY2867" fmla="*/ 7427 h 10000"/>
                  <a:gd name="connsiteX2868" fmla="*/ 2687 w 10586"/>
                  <a:gd name="connsiteY2868" fmla="*/ 7436 h 10000"/>
                  <a:gd name="connsiteX2869" fmla="*/ 2696 w 10586"/>
                  <a:gd name="connsiteY2869" fmla="*/ 7427 h 10000"/>
                  <a:gd name="connsiteX2870" fmla="*/ 2700 w 10586"/>
                  <a:gd name="connsiteY2870" fmla="*/ 7419 h 10000"/>
                  <a:gd name="connsiteX2871" fmla="*/ 2710 w 10586"/>
                  <a:gd name="connsiteY2871" fmla="*/ 7402 h 10000"/>
                  <a:gd name="connsiteX2872" fmla="*/ 2724 w 10586"/>
                  <a:gd name="connsiteY2872" fmla="*/ 7402 h 10000"/>
                  <a:gd name="connsiteX2873" fmla="*/ 2724 w 10586"/>
                  <a:gd name="connsiteY2873" fmla="*/ 7393 h 10000"/>
                  <a:gd name="connsiteX2874" fmla="*/ 2737 w 10586"/>
                  <a:gd name="connsiteY2874" fmla="*/ 7393 h 10000"/>
                  <a:gd name="connsiteX2875" fmla="*/ 2742 w 10586"/>
                  <a:gd name="connsiteY2875" fmla="*/ 7402 h 10000"/>
                  <a:gd name="connsiteX2876" fmla="*/ 2747 w 10586"/>
                  <a:gd name="connsiteY2876" fmla="*/ 7402 h 10000"/>
                  <a:gd name="connsiteX2877" fmla="*/ 2760 w 10586"/>
                  <a:gd name="connsiteY2877" fmla="*/ 7402 h 10000"/>
                  <a:gd name="connsiteX2878" fmla="*/ 2770 w 10586"/>
                  <a:gd name="connsiteY2878" fmla="*/ 7402 h 10000"/>
                  <a:gd name="connsiteX2879" fmla="*/ 2774 w 10586"/>
                  <a:gd name="connsiteY2879" fmla="*/ 7402 h 10000"/>
                  <a:gd name="connsiteX2880" fmla="*/ 2783 w 10586"/>
                  <a:gd name="connsiteY2880" fmla="*/ 7419 h 10000"/>
                  <a:gd name="connsiteX2881" fmla="*/ 2802 w 10586"/>
                  <a:gd name="connsiteY2881" fmla="*/ 7436 h 10000"/>
                  <a:gd name="connsiteX2882" fmla="*/ 2816 w 10586"/>
                  <a:gd name="connsiteY2882" fmla="*/ 7419 h 10000"/>
                  <a:gd name="connsiteX2883" fmla="*/ 2834 w 10586"/>
                  <a:gd name="connsiteY2883" fmla="*/ 7419 h 10000"/>
                  <a:gd name="connsiteX2884" fmla="*/ 2843 w 10586"/>
                  <a:gd name="connsiteY2884" fmla="*/ 7419 h 10000"/>
                  <a:gd name="connsiteX2885" fmla="*/ 2848 w 10586"/>
                  <a:gd name="connsiteY2885" fmla="*/ 7436 h 10000"/>
                  <a:gd name="connsiteX2886" fmla="*/ 2857 w 10586"/>
                  <a:gd name="connsiteY2886" fmla="*/ 7453 h 10000"/>
                  <a:gd name="connsiteX2887" fmla="*/ 2857 w 10586"/>
                  <a:gd name="connsiteY2887" fmla="*/ 7504 h 10000"/>
                  <a:gd name="connsiteX2888" fmla="*/ 2862 w 10586"/>
                  <a:gd name="connsiteY2888" fmla="*/ 7530 h 10000"/>
                  <a:gd name="connsiteX2889" fmla="*/ 2876 w 10586"/>
                  <a:gd name="connsiteY2889" fmla="*/ 7538 h 10000"/>
                  <a:gd name="connsiteX2890" fmla="*/ 2871 w 10586"/>
                  <a:gd name="connsiteY2890" fmla="*/ 7564 h 10000"/>
                  <a:gd name="connsiteX2891" fmla="*/ 2871 w 10586"/>
                  <a:gd name="connsiteY2891" fmla="*/ 7598 h 10000"/>
                  <a:gd name="connsiteX2892" fmla="*/ 2857 w 10586"/>
                  <a:gd name="connsiteY2892" fmla="*/ 7624 h 10000"/>
                  <a:gd name="connsiteX2893" fmla="*/ 2862 w 10586"/>
                  <a:gd name="connsiteY2893" fmla="*/ 7641 h 10000"/>
                  <a:gd name="connsiteX2894" fmla="*/ 2871 w 10586"/>
                  <a:gd name="connsiteY2894" fmla="*/ 7667 h 10000"/>
                  <a:gd name="connsiteX2895" fmla="*/ 2880 w 10586"/>
                  <a:gd name="connsiteY2895" fmla="*/ 7650 h 10000"/>
                  <a:gd name="connsiteX2896" fmla="*/ 2894 w 10586"/>
                  <a:gd name="connsiteY2896" fmla="*/ 7667 h 10000"/>
                  <a:gd name="connsiteX2897" fmla="*/ 2903 w 10586"/>
                  <a:gd name="connsiteY2897" fmla="*/ 7667 h 10000"/>
                  <a:gd name="connsiteX2898" fmla="*/ 2908 w 10586"/>
                  <a:gd name="connsiteY2898" fmla="*/ 7641 h 10000"/>
                  <a:gd name="connsiteX2899" fmla="*/ 2917 w 10586"/>
                  <a:gd name="connsiteY2899" fmla="*/ 7641 h 10000"/>
                  <a:gd name="connsiteX2900" fmla="*/ 2922 w 10586"/>
                  <a:gd name="connsiteY2900" fmla="*/ 7641 h 10000"/>
                  <a:gd name="connsiteX2901" fmla="*/ 2931 w 10586"/>
                  <a:gd name="connsiteY2901" fmla="*/ 7615 h 10000"/>
                  <a:gd name="connsiteX2902" fmla="*/ 2935 w 10586"/>
                  <a:gd name="connsiteY2902" fmla="*/ 7615 h 10000"/>
                  <a:gd name="connsiteX2903" fmla="*/ 2945 w 10586"/>
                  <a:gd name="connsiteY2903" fmla="*/ 7650 h 10000"/>
                  <a:gd name="connsiteX2904" fmla="*/ 2949 w 10586"/>
                  <a:gd name="connsiteY2904" fmla="*/ 7667 h 10000"/>
                  <a:gd name="connsiteX2905" fmla="*/ 2949 w 10586"/>
                  <a:gd name="connsiteY2905" fmla="*/ 7675 h 10000"/>
                  <a:gd name="connsiteX2906" fmla="*/ 2945 w 10586"/>
                  <a:gd name="connsiteY2906" fmla="*/ 7692 h 10000"/>
                  <a:gd name="connsiteX2907" fmla="*/ 2963 w 10586"/>
                  <a:gd name="connsiteY2907" fmla="*/ 7701 h 10000"/>
                  <a:gd name="connsiteX2908" fmla="*/ 2963 w 10586"/>
                  <a:gd name="connsiteY2908" fmla="*/ 7675 h 10000"/>
                  <a:gd name="connsiteX2909" fmla="*/ 2954 w 10586"/>
                  <a:gd name="connsiteY2909" fmla="*/ 7667 h 10000"/>
                  <a:gd name="connsiteX2910" fmla="*/ 2963 w 10586"/>
                  <a:gd name="connsiteY2910" fmla="*/ 7667 h 10000"/>
                  <a:gd name="connsiteX2911" fmla="*/ 2982 w 10586"/>
                  <a:gd name="connsiteY2911" fmla="*/ 7667 h 10000"/>
                  <a:gd name="connsiteX2912" fmla="*/ 2991 w 10586"/>
                  <a:gd name="connsiteY2912" fmla="*/ 7675 h 10000"/>
                  <a:gd name="connsiteX2913" fmla="*/ 2995 w 10586"/>
                  <a:gd name="connsiteY2913" fmla="*/ 7692 h 10000"/>
                  <a:gd name="connsiteX2914" fmla="*/ 3009 w 10586"/>
                  <a:gd name="connsiteY2914" fmla="*/ 7701 h 10000"/>
                  <a:gd name="connsiteX2915" fmla="*/ 3018 w 10586"/>
                  <a:gd name="connsiteY2915" fmla="*/ 7701 h 10000"/>
                  <a:gd name="connsiteX2916" fmla="*/ 3023 w 10586"/>
                  <a:gd name="connsiteY2916" fmla="*/ 7692 h 10000"/>
                  <a:gd name="connsiteX2917" fmla="*/ 3028 w 10586"/>
                  <a:gd name="connsiteY2917" fmla="*/ 7675 h 10000"/>
                  <a:gd name="connsiteX2918" fmla="*/ 3037 w 10586"/>
                  <a:gd name="connsiteY2918" fmla="*/ 7692 h 10000"/>
                  <a:gd name="connsiteX2919" fmla="*/ 3028 w 10586"/>
                  <a:gd name="connsiteY2919" fmla="*/ 7709 h 10000"/>
                  <a:gd name="connsiteX2920" fmla="*/ 3023 w 10586"/>
                  <a:gd name="connsiteY2920" fmla="*/ 7709 h 10000"/>
                  <a:gd name="connsiteX2921" fmla="*/ 3018 w 10586"/>
                  <a:gd name="connsiteY2921" fmla="*/ 7726 h 10000"/>
                  <a:gd name="connsiteX2922" fmla="*/ 3009 w 10586"/>
                  <a:gd name="connsiteY2922" fmla="*/ 7735 h 10000"/>
                  <a:gd name="connsiteX2923" fmla="*/ 3009 w 10586"/>
                  <a:gd name="connsiteY2923" fmla="*/ 7761 h 10000"/>
                  <a:gd name="connsiteX2924" fmla="*/ 3009 w 10586"/>
                  <a:gd name="connsiteY2924" fmla="*/ 7778 h 10000"/>
                  <a:gd name="connsiteX2925" fmla="*/ 3018 w 10586"/>
                  <a:gd name="connsiteY2925" fmla="*/ 7786 h 10000"/>
                  <a:gd name="connsiteX2926" fmla="*/ 3023 w 10586"/>
                  <a:gd name="connsiteY2926" fmla="*/ 7786 h 10000"/>
                  <a:gd name="connsiteX2927" fmla="*/ 3028 w 10586"/>
                  <a:gd name="connsiteY2927" fmla="*/ 7778 h 10000"/>
                  <a:gd name="connsiteX2928" fmla="*/ 3051 w 10586"/>
                  <a:gd name="connsiteY2928" fmla="*/ 7761 h 10000"/>
                  <a:gd name="connsiteX2929" fmla="*/ 3055 w 10586"/>
                  <a:gd name="connsiteY2929" fmla="*/ 7778 h 10000"/>
                  <a:gd name="connsiteX2930" fmla="*/ 3065 w 10586"/>
                  <a:gd name="connsiteY2930" fmla="*/ 7761 h 10000"/>
                  <a:gd name="connsiteX2931" fmla="*/ 3069 w 10586"/>
                  <a:gd name="connsiteY2931" fmla="*/ 7786 h 10000"/>
                  <a:gd name="connsiteX2932" fmla="*/ 3083 w 10586"/>
                  <a:gd name="connsiteY2932" fmla="*/ 7786 h 10000"/>
                  <a:gd name="connsiteX2933" fmla="*/ 3078 w 10586"/>
                  <a:gd name="connsiteY2933" fmla="*/ 7761 h 10000"/>
                  <a:gd name="connsiteX2934" fmla="*/ 3083 w 10586"/>
                  <a:gd name="connsiteY2934" fmla="*/ 7752 h 10000"/>
                  <a:gd name="connsiteX2935" fmla="*/ 3097 w 10586"/>
                  <a:gd name="connsiteY2935" fmla="*/ 7752 h 10000"/>
                  <a:gd name="connsiteX2936" fmla="*/ 3111 w 10586"/>
                  <a:gd name="connsiteY2936" fmla="*/ 7726 h 10000"/>
                  <a:gd name="connsiteX2937" fmla="*/ 3124 w 10586"/>
                  <a:gd name="connsiteY2937" fmla="*/ 7709 h 10000"/>
                  <a:gd name="connsiteX2938" fmla="*/ 3143 w 10586"/>
                  <a:gd name="connsiteY2938" fmla="*/ 7692 h 10000"/>
                  <a:gd name="connsiteX2939" fmla="*/ 3152 w 10586"/>
                  <a:gd name="connsiteY2939" fmla="*/ 7667 h 10000"/>
                  <a:gd name="connsiteX2940" fmla="*/ 3157 w 10586"/>
                  <a:gd name="connsiteY2940" fmla="*/ 7650 h 10000"/>
                  <a:gd name="connsiteX2941" fmla="*/ 3161 w 10586"/>
                  <a:gd name="connsiteY2941" fmla="*/ 7650 h 10000"/>
                  <a:gd name="connsiteX2942" fmla="*/ 3189 w 10586"/>
                  <a:gd name="connsiteY2942" fmla="*/ 7641 h 10000"/>
                  <a:gd name="connsiteX2943" fmla="*/ 3198 w 10586"/>
                  <a:gd name="connsiteY2943" fmla="*/ 7624 h 10000"/>
                  <a:gd name="connsiteX2944" fmla="*/ 3217 w 10586"/>
                  <a:gd name="connsiteY2944" fmla="*/ 7615 h 10000"/>
                  <a:gd name="connsiteX2945" fmla="*/ 3235 w 10586"/>
                  <a:gd name="connsiteY2945" fmla="*/ 7598 h 10000"/>
                  <a:gd name="connsiteX2946" fmla="*/ 3235 w 10586"/>
                  <a:gd name="connsiteY2946" fmla="*/ 7615 h 10000"/>
                  <a:gd name="connsiteX2947" fmla="*/ 3235 w 10586"/>
                  <a:gd name="connsiteY2947" fmla="*/ 7641 h 10000"/>
                  <a:gd name="connsiteX2948" fmla="*/ 3235 w 10586"/>
                  <a:gd name="connsiteY2948" fmla="*/ 7650 h 10000"/>
                  <a:gd name="connsiteX2949" fmla="*/ 3226 w 10586"/>
                  <a:gd name="connsiteY2949" fmla="*/ 7650 h 10000"/>
                  <a:gd name="connsiteX2950" fmla="*/ 3217 w 10586"/>
                  <a:gd name="connsiteY2950" fmla="*/ 7650 h 10000"/>
                  <a:gd name="connsiteX2951" fmla="*/ 3212 w 10586"/>
                  <a:gd name="connsiteY2951" fmla="*/ 7675 h 10000"/>
                  <a:gd name="connsiteX2952" fmla="*/ 3212 w 10586"/>
                  <a:gd name="connsiteY2952" fmla="*/ 7675 h 10000"/>
                  <a:gd name="connsiteX0" fmla="*/ 3212 w 10577"/>
                  <a:gd name="connsiteY0" fmla="*/ 7675 h 10000"/>
                  <a:gd name="connsiteX1" fmla="*/ 3217 w 10577"/>
                  <a:gd name="connsiteY1" fmla="*/ 7692 h 10000"/>
                  <a:gd name="connsiteX2" fmla="*/ 3226 w 10577"/>
                  <a:gd name="connsiteY2" fmla="*/ 7692 h 10000"/>
                  <a:gd name="connsiteX3" fmla="*/ 3309 w 10577"/>
                  <a:gd name="connsiteY3" fmla="*/ 7838 h 10000"/>
                  <a:gd name="connsiteX4" fmla="*/ 3452 w 10577"/>
                  <a:gd name="connsiteY4" fmla="*/ 8325 h 10000"/>
                  <a:gd name="connsiteX5" fmla="*/ 3470 w 10577"/>
                  <a:gd name="connsiteY5" fmla="*/ 8299 h 10000"/>
                  <a:gd name="connsiteX6" fmla="*/ 3470 w 10577"/>
                  <a:gd name="connsiteY6" fmla="*/ 8282 h 10000"/>
                  <a:gd name="connsiteX7" fmla="*/ 3470 w 10577"/>
                  <a:gd name="connsiteY7" fmla="*/ 8274 h 10000"/>
                  <a:gd name="connsiteX8" fmla="*/ 3484 w 10577"/>
                  <a:gd name="connsiteY8" fmla="*/ 8231 h 10000"/>
                  <a:gd name="connsiteX9" fmla="*/ 3498 w 10577"/>
                  <a:gd name="connsiteY9" fmla="*/ 8231 h 10000"/>
                  <a:gd name="connsiteX10" fmla="*/ 3498 w 10577"/>
                  <a:gd name="connsiteY10" fmla="*/ 8248 h 10000"/>
                  <a:gd name="connsiteX11" fmla="*/ 3512 w 10577"/>
                  <a:gd name="connsiteY11" fmla="*/ 8256 h 10000"/>
                  <a:gd name="connsiteX12" fmla="*/ 3525 w 10577"/>
                  <a:gd name="connsiteY12" fmla="*/ 8274 h 10000"/>
                  <a:gd name="connsiteX13" fmla="*/ 3525 w 10577"/>
                  <a:gd name="connsiteY13" fmla="*/ 8282 h 10000"/>
                  <a:gd name="connsiteX14" fmla="*/ 3525 w 10577"/>
                  <a:gd name="connsiteY14" fmla="*/ 8308 h 10000"/>
                  <a:gd name="connsiteX15" fmla="*/ 3530 w 10577"/>
                  <a:gd name="connsiteY15" fmla="*/ 8308 h 10000"/>
                  <a:gd name="connsiteX16" fmla="*/ 3539 w 10577"/>
                  <a:gd name="connsiteY16" fmla="*/ 8333 h 10000"/>
                  <a:gd name="connsiteX17" fmla="*/ 3571 w 10577"/>
                  <a:gd name="connsiteY17" fmla="*/ 8333 h 10000"/>
                  <a:gd name="connsiteX18" fmla="*/ 3590 w 10577"/>
                  <a:gd name="connsiteY18" fmla="*/ 8350 h 10000"/>
                  <a:gd name="connsiteX19" fmla="*/ 3599 w 10577"/>
                  <a:gd name="connsiteY19" fmla="*/ 8333 h 10000"/>
                  <a:gd name="connsiteX20" fmla="*/ 3618 w 10577"/>
                  <a:gd name="connsiteY20" fmla="*/ 8333 h 10000"/>
                  <a:gd name="connsiteX21" fmla="*/ 3618 w 10577"/>
                  <a:gd name="connsiteY21" fmla="*/ 8325 h 10000"/>
                  <a:gd name="connsiteX22" fmla="*/ 3627 w 10577"/>
                  <a:gd name="connsiteY22" fmla="*/ 8308 h 10000"/>
                  <a:gd name="connsiteX23" fmla="*/ 3641 w 10577"/>
                  <a:gd name="connsiteY23" fmla="*/ 8308 h 10000"/>
                  <a:gd name="connsiteX24" fmla="*/ 3645 w 10577"/>
                  <a:gd name="connsiteY24" fmla="*/ 8308 h 10000"/>
                  <a:gd name="connsiteX25" fmla="*/ 3650 w 10577"/>
                  <a:gd name="connsiteY25" fmla="*/ 8299 h 10000"/>
                  <a:gd name="connsiteX26" fmla="*/ 3659 w 10577"/>
                  <a:gd name="connsiteY26" fmla="*/ 8282 h 10000"/>
                  <a:gd name="connsiteX27" fmla="*/ 3677 w 10577"/>
                  <a:gd name="connsiteY27" fmla="*/ 8299 h 10000"/>
                  <a:gd name="connsiteX28" fmla="*/ 3687 w 10577"/>
                  <a:gd name="connsiteY28" fmla="*/ 8299 h 10000"/>
                  <a:gd name="connsiteX29" fmla="*/ 3691 w 10577"/>
                  <a:gd name="connsiteY29" fmla="*/ 8325 h 10000"/>
                  <a:gd name="connsiteX30" fmla="*/ 3700 w 10577"/>
                  <a:gd name="connsiteY30" fmla="*/ 8325 h 10000"/>
                  <a:gd name="connsiteX31" fmla="*/ 3714 w 10577"/>
                  <a:gd name="connsiteY31" fmla="*/ 8359 h 10000"/>
                  <a:gd name="connsiteX32" fmla="*/ 3719 w 10577"/>
                  <a:gd name="connsiteY32" fmla="*/ 8359 h 10000"/>
                  <a:gd name="connsiteX33" fmla="*/ 3724 w 10577"/>
                  <a:gd name="connsiteY33" fmla="*/ 8368 h 10000"/>
                  <a:gd name="connsiteX34" fmla="*/ 3719 w 10577"/>
                  <a:gd name="connsiteY34" fmla="*/ 8393 h 10000"/>
                  <a:gd name="connsiteX35" fmla="*/ 3724 w 10577"/>
                  <a:gd name="connsiteY35" fmla="*/ 8410 h 10000"/>
                  <a:gd name="connsiteX36" fmla="*/ 3724 w 10577"/>
                  <a:gd name="connsiteY36" fmla="*/ 8436 h 10000"/>
                  <a:gd name="connsiteX37" fmla="*/ 3737 w 10577"/>
                  <a:gd name="connsiteY37" fmla="*/ 8436 h 10000"/>
                  <a:gd name="connsiteX38" fmla="*/ 3765 w 10577"/>
                  <a:gd name="connsiteY38" fmla="*/ 8462 h 10000"/>
                  <a:gd name="connsiteX39" fmla="*/ 3765 w 10577"/>
                  <a:gd name="connsiteY39" fmla="*/ 8470 h 10000"/>
                  <a:gd name="connsiteX40" fmla="*/ 3765 w 10577"/>
                  <a:gd name="connsiteY40" fmla="*/ 8496 h 10000"/>
                  <a:gd name="connsiteX41" fmla="*/ 3774 w 10577"/>
                  <a:gd name="connsiteY41" fmla="*/ 8496 h 10000"/>
                  <a:gd name="connsiteX42" fmla="*/ 3779 w 10577"/>
                  <a:gd name="connsiteY42" fmla="*/ 8504 h 10000"/>
                  <a:gd name="connsiteX43" fmla="*/ 3793 w 10577"/>
                  <a:gd name="connsiteY43" fmla="*/ 8547 h 10000"/>
                  <a:gd name="connsiteX44" fmla="*/ 3797 w 10577"/>
                  <a:gd name="connsiteY44" fmla="*/ 8547 h 10000"/>
                  <a:gd name="connsiteX45" fmla="*/ 3820 w 10577"/>
                  <a:gd name="connsiteY45" fmla="*/ 8556 h 10000"/>
                  <a:gd name="connsiteX46" fmla="*/ 3834 w 10577"/>
                  <a:gd name="connsiteY46" fmla="*/ 8573 h 10000"/>
                  <a:gd name="connsiteX47" fmla="*/ 3853 w 10577"/>
                  <a:gd name="connsiteY47" fmla="*/ 8573 h 10000"/>
                  <a:gd name="connsiteX48" fmla="*/ 3857 w 10577"/>
                  <a:gd name="connsiteY48" fmla="*/ 8556 h 10000"/>
                  <a:gd name="connsiteX49" fmla="*/ 3866 w 10577"/>
                  <a:gd name="connsiteY49" fmla="*/ 8547 h 10000"/>
                  <a:gd name="connsiteX50" fmla="*/ 3880 w 10577"/>
                  <a:gd name="connsiteY50" fmla="*/ 8530 h 10000"/>
                  <a:gd name="connsiteX51" fmla="*/ 3885 w 10577"/>
                  <a:gd name="connsiteY51" fmla="*/ 8547 h 10000"/>
                  <a:gd name="connsiteX52" fmla="*/ 3885 w 10577"/>
                  <a:gd name="connsiteY52" fmla="*/ 8573 h 10000"/>
                  <a:gd name="connsiteX53" fmla="*/ 3899 w 10577"/>
                  <a:gd name="connsiteY53" fmla="*/ 8573 h 10000"/>
                  <a:gd name="connsiteX54" fmla="*/ 3908 w 10577"/>
                  <a:gd name="connsiteY54" fmla="*/ 8607 h 10000"/>
                  <a:gd name="connsiteX55" fmla="*/ 3912 w 10577"/>
                  <a:gd name="connsiteY55" fmla="*/ 8615 h 10000"/>
                  <a:gd name="connsiteX56" fmla="*/ 3922 w 10577"/>
                  <a:gd name="connsiteY56" fmla="*/ 8632 h 10000"/>
                  <a:gd name="connsiteX57" fmla="*/ 3908 w 10577"/>
                  <a:gd name="connsiteY57" fmla="*/ 8692 h 10000"/>
                  <a:gd name="connsiteX58" fmla="*/ 3908 w 10577"/>
                  <a:gd name="connsiteY58" fmla="*/ 8692 h 10000"/>
                  <a:gd name="connsiteX59" fmla="*/ 3931 w 10577"/>
                  <a:gd name="connsiteY59" fmla="*/ 8709 h 10000"/>
                  <a:gd name="connsiteX60" fmla="*/ 3954 w 10577"/>
                  <a:gd name="connsiteY60" fmla="*/ 8667 h 10000"/>
                  <a:gd name="connsiteX61" fmla="*/ 3959 w 10577"/>
                  <a:gd name="connsiteY61" fmla="*/ 8667 h 10000"/>
                  <a:gd name="connsiteX62" fmla="*/ 3972 w 10577"/>
                  <a:gd name="connsiteY62" fmla="*/ 8615 h 10000"/>
                  <a:gd name="connsiteX63" fmla="*/ 3995 w 10577"/>
                  <a:gd name="connsiteY63" fmla="*/ 8581 h 10000"/>
                  <a:gd name="connsiteX64" fmla="*/ 4032 w 10577"/>
                  <a:gd name="connsiteY64" fmla="*/ 8556 h 10000"/>
                  <a:gd name="connsiteX65" fmla="*/ 4138 w 10577"/>
                  <a:gd name="connsiteY65" fmla="*/ 8419 h 10000"/>
                  <a:gd name="connsiteX66" fmla="*/ 4249 w 10577"/>
                  <a:gd name="connsiteY66" fmla="*/ 8359 h 10000"/>
                  <a:gd name="connsiteX67" fmla="*/ 4295 w 10577"/>
                  <a:gd name="connsiteY67" fmla="*/ 8385 h 10000"/>
                  <a:gd name="connsiteX68" fmla="*/ 4309 w 10577"/>
                  <a:gd name="connsiteY68" fmla="*/ 8410 h 10000"/>
                  <a:gd name="connsiteX69" fmla="*/ 4355 w 10577"/>
                  <a:gd name="connsiteY69" fmla="*/ 8393 h 10000"/>
                  <a:gd name="connsiteX70" fmla="*/ 4382 w 10577"/>
                  <a:gd name="connsiteY70" fmla="*/ 8393 h 10000"/>
                  <a:gd name="connsiteX71" fmla="*/ 4419 w 10577"/>
                  <a:gd name="connsiteY71" fmla="*/ 8487 h 10000"/>
                  <a:gd name="connsiteX72" fmla="*/ 4442 w 10577"/>
                  <a:gd name="connsiteY72" fmla="*/ 8487 h 10000"/>
                  <a:gd name="connsiteX73" fmla="*/ 4493 w 10577"/>
                  <a:gd name="connsiteY73" fmla="*/ 8470 h 10000"/>
                  <a:gd name="connsiteX74" fmla="*/ 4516 w 10577"/>
                  <a:gd name="connsiteY74" fmla="*/ 8487 h 10000"/>
                  <a:gd name="connsiteX75" fmla="*/ 4608 w 10577"/>
                  <a:gd name="connsiteY75" fmla="*/ 8470 h 10000"/>
                  <a:gd name="connsiteX76" fmla="*/ 4622 w 10577"/>
                  <a:gd name="connsiteY76" fmla="*/ 8470 h 10000"/>
                  <a:gd name="connsiteX77" fmla="*/ 4618 w 10577"/>
                  <a:gd name="connsiteY77" fmla="*/ 8419 h 10000"/>
                  <a:gd name="connsiteX78" fmla="*/ 4622 w 10577"/>
                  <a:gd name="connsiteY78" fmla="*/ 8385 h 10000"/>
                  <a:gd name="connsiteX79" fmla="*/ 4636 w 10577"/>
                  <a:gd name="connsiteY79" fmla="*/ 8350 h 10000"/>
                  <a:gd name="connsiteX80" fmla="*/ 4636 w 10577"/>
                  <a:gd name="connsiteY80" fmla="*/ 8325 h 10000"/>
                  <a:gd name="connsiteX81" fmla="*/ 4622 w 10577"/>
                  <a:gd name="connsiteY81" fmla="*/ 8282 h 10000"/>
                  <a:gd name="connsiteX82" fmla="*/ 4618 w 10577"/>
                  <a:gd name="connsiteY82" fmla="*/ 8248 h 10000"/>
                  <a:gd name="connsiteX83" fmla="*/ 4618 w 10577"/>
                  <a:gd name="connsiteY83" fmla="*/ 8214 h 10000"/>
                  <a:gd name="connsiteX84" fmla="*/ 4691 w 10577"/>
                  <a:gd name="connsiteY84" fmla="*/ 8077 h 10000"/>
                  <a:gd name="connsiteX85" fmla="*/ 4700 w 10577"/>
                  <a:gd name="connsiteY85" fmla="*/ 8060 h 10000"/>
                  <a:gd name="connsiteX86" fmla="*/ 4728 w 10577"/>
                  <a:gd name="connsiteY86" fmla="*/ 8077 h 10000"/>
                  <a:gd name="connsiteX87" fmla="*/ 4751 w 10577"/>
                  <a:gd name="connsiteY87" fmla="*/ 8094 h 10000"/>
                  <a:gd name="connsiteX88" fmla="*/ 4788 w 10577"/>
                  <a:gd name="connsiteY88" fmla="*/ 8120 h 10000"/>
                  <a:gd name="connsiteX89" fmla="*/ 4802 w 10577"/>
                  <a:gd name="connsiteY89" fmla="*/ 8162 h 10000"/>
                  <a:gd name="connsiteX90" fmla="*/ 4885 w 10577"/>
                  <a:gd name="connsiteY90" fmla="*/ 8197 h 10000"/>
                  <a:gd name="connsiteX91" fmla="*/ 4889 w 10577"/>
                  <a:gd name="connsiteY91" fmla="*/ 8231 h 10000"/>
                  <a:gd name="connsiteX92" fmla="*/ 4899 w 10577"/>
                  <a:gd name="connsiteY92" fmla="*/ 8333 h 10000"/>
                  <a:gd name="connsiteX93" fmla="*/ 4903 w 10577"/>
                  <a:gd name="connsiteY93" fmla="*/ 8333 h 10000"/>
                  <a:gd name="connsiteX94" fmla="*/ 4949 w 10577"/>
                  <a:gd name="connsiteY94" fmla="*/ 8410 h 10000"/>
                  <a:gd name="connsiteX95" fmla="*/ 4991 w 10577"/>
                  <a:gd name="connsiteY95" fmla="*/ 8436 h 10000"/>
                  <a:gd name="connsiteX96" fmla="*/ 5023 w 10577"/>
                  <a:gd name="connsiteY96" fmla="*/ 8419 h 10000"/>
                  <a:gd name="connsiteX97" fmla="*/ 5092 w 10577"/>
                  <a:gd name="connsiteY97" fmla="*/ 8359 h 10000"/>
                  <a:gd name="connsiteX98" fmla="*/ 5180 w 10577"/>
                  <a:gd name="connsiteY98" fmla="*/ 8410 h 10000"/>
                  <a:gd name="connsiteX99" fmla="*/ 5189 w 10577"/>
                  <a:gd name="connsiteY99" fmla="*/ 8436 h 10000"/>
                  <a:gd name="connsiteX100" fmla="*/ 5198 w 10577"/>
                  <a:gd name="connsiteY100" fmla="*/ 8436 h 10000"/>
                  <a:gd name="connsiteX101" fmla="*/ 5226 w 10577"/>
                  <a:gd name="connsiteY101" fmla="*/ 8487 h 10000"/>
                  <a:gd name="connsiteX102" fmla="*/ 5276 w 10577"/>
                  <a:gd name="connsiteY102" fmla="*/ 8504 h 10000"/>
                  <a:gd name="connsiteX103" fmla="*/ 5290 w 10577"/>
                  <a:gd name="connsiteY103" fmla="*/ 8556 h 10000"/>
                  <a:gd name="connsiteX104" fmla="*/ 5323 w 10577"/>
                  <a:gd name="connsiteY104" fmla="*/ 8598 h 10000"/>
                  <a:gd name="connsiteX105" fmla="*/ 5447 w 10577"/>
                  <a:gd name="connsiteY105" fmla="*/ 8615 h 10000"/>
                  <a:gd name="connsiteX106" fmla="*/ 5465 w 10577"/>
                  <a:gd name="connsiteY106" fmla="*/ 8632 h 10000"/>
                  <a:gd name="connsiteX107" fmla="*/ 5604 w 10577"/>
                  <a:gd name="connsiteY107" fmla="*/ 8556 h 10000"/>
                  <a:gd name="connsiteX108" fmla="*/ 5677 w 10577"/>
                  <a:gd name="connsiteY108" fmla="*/ 8462 h 10000"/>
                  <a:gd name="connsiteX109" fmla="*/ 5705 w 10577"/>
                  <a:gd name="connsiteY109" fmla="*/ 8444 h 10000"/>
                  <a:gd name="connsiteX110" fmla="*/ 5737 w 10577"/>
                  <a:gd name="connsiteY110" fmla="*/ 8470 h 10000"/>
                  <a:gd name="connsiteX111" fmla="*/ 5760 w 10577"/>
                  <a:gd name="connsiteY111" fmla="*/ 8496 h 10000"/>
                  <a:gd name="connsiteX112" fmla="*/ 5788 w 10577"/>
                  <a:gd name="connsiteY112" fmla="*/ 8504 h 10000"/>
                  <a:gd name="connsiteX113" fmla="*/ 5806 w 10577"/>
                  <a:gd name="connsiteY113" fmla="*/ 8496 h 10000"/>
                  <a:gd name="connsiteX114" fmla="*/ 5820 w 10577"/>
                  <a:gd name="connsiteY114" fmla="*/ 8487 h 10000"/>
                  <a:gd name="connsiteX115" fmla="*/ 5825 w 10577"/>
                  <a:gd name="connsiteY115" fmla="*/ 8487 h 10000"/>
                  <a:gd name="connsiteX116" fmla="*/ 5825 w 10577"/>
                  <a:gd name="connsiteY116" fmla="*/ 8487 h 10000"/>
                  <a:gd name="connsiteX117" fmla="*/ 5926 w 10577"/>
                  <a:gd name="connsiteY117" fmla="*/ 8556 h 10000"/>
                  <a:gd name="connsiteX118" fmla="*/ 5940 w 10577"/>
                  <a:gd name="connsiteY118" fmla="*/ 8556 h 10000"/>
                  <a:gd name="connsiteX119" fmla="*/ 6014 w 10577"/>
                  <a:gd name="connsiteY119" fmla="*/ 8470 h 10000"/>
                  <a:gd name="connsiteX120" fmla="*/ 6018 w 10577"/>
                  <a:gd name="connsiteY120" fmla="*/ 8444 h 10000"/>
                  <a:gd name="connsiteX121" fmla="*/ 6014 w 10577"/>
                  <a:gd name="connsiteY121" fmla="*/ 8419 h 10000"/>
                  <a:gd name="connsiteX122" fmla="*/ 6018 w 10577"/>
                  <a:gd name="connsiteY122" fmla="*/ 8393 h 10000"/>
                  <a:gd name="connsiteX123" fmla="*/ 6041 w 10577"/>
                  <a:gd name="connsiteY123" fmla="*/ 8333 h 10000"/>
                  <a:gd name="connsiteX124" fmla="*/ 6069 w 10577"/>
                  <a:gd name="connsiteY124" fmla="*/ 8188 h 10000"/>
                  <a:gd name="connsiteX125" fmla="*/ 6088 w 10577"/>
                  <a:gd name="connsiteY125" fmla="*/ 8162 h 10000"/>
                  <a:gd name="connsiteX126" fmla="*/ 6115 w 10577"/>
                  <a:gd name="connsiteY126" fmla="*/ 8094 h 10000"/>
                  <a:gd name="connsiteX127" fmla="*/ 6115 w 10577"/>
                  <a:gd name="connsiteY127" fmla="*/ 8094 h 10000"/>
                  <a:gd name="connsiteX128" fmla="*/ 6106 w 10577"/>
                  <a:gd name="connsiteY128" fmla="*/ 8077 h 10000"/>
                  <a:gd name="connsiteX129" fmla="*/ 6106 w 10577"/>
                  <a:gd name="connsiteY129" fmla="*/ 8009 h 10000"/>
                  <a:gd name="connsiteX130" fmla="*/ 6101 w 10577"/>
                  <a:gd name="connsiteY130" fmla="*/ 8000 h 10000"/>
                  <a:gd name="connsiteX131" fmla="*/ 6069 w 10577"/>
                  <a:gd name="connsiteY131" fmla="*/ 8009 h 10000"/>
                  <a:gd name="connsiteX132" fmla="*/ 6069 w 10577"/>
                  <a:gd name="connsiteY132" fmla="*/ 8000 h 10000"/>
                  <a:gd name="connsiteX133" fmla="*/ 6069 w 10577"/>
                  <a:gd name="connsiteY133" fmla="*/ 7974 h 10000"/>
                  <a:gd name="connsiteX134" fmla="*/ 6101 w 10577"/>
                  <a:gd name="connsiteY134" fmla="*/ 7923 h 10000"/>
                  <a:gd name="connsiteX135" fmla="*/ 6106 w 10577"/>
                  <a:gd name="connsiteY135" fmla="*/ 7889 h 10000"/>
                  <a:gd name="connsiteX136" fmla="*/ 6129 w 10577"/>
                  <a:gd name="connsiteY136" fmla="*/ 7863 h 10000"/>
                  <a:gd name="connsiteX137" fmla="*/ 6300 w 10577"/>
                  <a:gd name="connsiteY137" fmla="*/ 7812 h 10000"/>
                  <a:gd name="connsiteX138" fmla="*/ 6359 w 10577"/>
                  <a:gd name="connsiteY138" fmla="*/ 7872 h 10000"/>
                  <a:gd name="connsiteX139" fmla="*/ 6373 w 10577"/>
                  <a:gd name="connsiteY139" fmla="*/ 7889 h 10000"/>
                  <a:gd name="connsiteX140" fmla="*/ 6401 w 10577"/>
                  <a:gd name="connsiteY140" fmla="*/ 7889 h 10000"/>
                  <a:gd name="connsiteX141" fmla="*/ 6433 w 10577"/>
                  <a:gd name="connsiteY141" fmla="*/ 7915 h 10000"/>
                  <a:gd name="connsiteX142" fmla="*/ 6461 w 10577"/>
                  <a:gd name="connsiteY142" fmla="*/ 7974 h 10000"/>
                  <a:gd name="connsiteX143" fmla="*/ 6461 w 10577"/>
                  <a:gd name="connsiteY143" fmla="*/ 8000 h 10000"/>
                  <a:gd name="connsiteX144" fmla="*/ 6484 w 10577"/>
                  <a:gd name="connsiteY144" fmla="*/ 8034 h 10000"/>
                  <a:gd name="connsiteX145" fmla="*/ 6484 w 10577"/>
                  <a:gd name="connsiteY145" fmla="*/ 8051 h 10000"/>
                  <a:gd name="connsiteX146" fmla="*/ 6484 w 10577"/>
                  <a:gd name="connsiteY146" fmla="*/ 8034 h 10000"/>
                  <a:gd name="connsiteX147" fmla="*/ 6558 w 10577"/>
                  <a:gd name="connsiteY147" fmla="*/ 8444 h 10000"/>
                  <a:gd name="connsiteX148" fmla="*/ 6558 w 10577"/>
                  <a:gd name="connsiteY148" fmla="*/ 8462 h 10000"/>
                  <a:gd name="connsiteX149" fmla="*/ 6558 w 10577"/>
                  <a:gd name="connsiteY149" fmla="*/ 8462 h 10000"/>
                  <a:gd name="connsiteX150" fmla="*/ 6562 w 10577"/>
                  <a:gd name="connsiteY150" fmla="*/ 8547 h 10000"/>
                  <a:gd name="connsiteX151" fmla="*/ 6576 w 10577"/>
                  <a:gd name="connsiteY151" fmla="*/ 8573 h 10000"/>
                  <a:gd name="connsiteX152" fmla="*/ 6604 w 10577"/>
                  <a:gd name="connsiteY152" fmla="*/ 8581 h 10000"/>
                  <a:gd name="connsiteX153" fmla="*/ 6631 w 10577"/>
                  <a:gd name="connsiteY153" fmla="*/ 8556 h 10000"/>
                  <a:gd name="connsiteX154" fmla="*/ 6691 w 10577"/>
                  <a:gd name="connsiteY154" fmla="*/ 8607 h 10000"/>
                  <a:gd name="connsiteX155" fmla="*/ 6728 w 10577"/>
                  <a:gd name="connsiteY155" fmla="*/ 8667 h 10000"/>
                  <a:gd name="connsiteX156" fmla="*/ 6742 w 10577"/>
                  <a:gd name="connsiteY156" fmla="*/ 8684 h 10000"/>
                  <a:gd name="connsiteX157" fmla="*/ 6765 w 10577"/>
                  <a:gd name="connsiteY157" fmla="*/ 8684 h 10000"/>
                  <a:gd name="connsiteX158" fmla="*/ 6765 w 10577"/>
                  <a:gd name="connsiteY158" fmla="*/ 8709 h 10000"/>
                  <a:gd name="connsiteX159" fmla="*/ 6765 w 10577"/>
                  <a:gd name="connsiteY159" fmla="*/ 8709 h 10000"/>
                  <a:gd name="connsiteX160" fmla="*/ 6770 w 10577"/>
                  <a:gd name="connsiteY160" fmla="*/ 8709 h 10000"/>
                  <a:gd name="connsiteX161" fmla="*/ 6770 w 10577"/>
                  <a:gd name="connsiteY161" fmla="*/ 8744 h 10000"/>
                  <a:gd name="connsiteX162" fmla="*/ 6779 w 10577"/>
                  <a:gd name="connsiteY162" fmla="*/ 8769 h 10000"/>
                  <a:gd name="connsiteX163" fmla="*/ 6779 w 10577"/>
                  <a:gd name="connsiteY163" fmla="*/ 8846 h 10000"/>
                  <a:gd name="connsiteX164" fmla="*/ 6797 w 10577"/>
                  <a:gd name="connsiteY164" fmla="*/ 8906 h 10000"/>
                  <a:gd name="connsiteX165" fmla="*/ 6816 w 10577"/>
                  <a:gd name="connsiteY165" fmla="*/ 8906 h 10000"/>
                  <a:gd name="connsiteX166" fmla="*/ 6843 w 10577"/>
                  <a:gd name="connsiteY166" fmla="*/ 8915 h 10000"/>
                  <a:gd name="connsiteX167" fmla="*/ 6862 w 10577"/>
                  <a:gd name="connsiteY167" fmla="*/ 8906 h 10000"/>
                  <a:gd name="connsiteX168" fmla="*/ 6935 w 10577"/>
                  <a:gd name="connsiteY168" fmla="*/ 8829 h 10000"/>
                  <a:gd name="connsiteX169" fmla="*/ 6963 w 10577"/>
                  <a:gd name="connsiteY169" fmla="*/ 8829 h 10000"/>
                  <a:gd name="connsiteX170" fmla="*/ 7046 w 10577"/>
                  <a:gd name="connsiteY170" fmla="*/ 8769 h 10000"/>
                  <a:gd name="connsiteX171" fmla="*/ 7046 w 10577"/>
                  <a:gd name="connsiteY171" fmla="*/ 8769 h 10000"/>
                  <a:gd name="connsiteX172" fmla="*/ 7032 w 10577"/>
                  <a:gd name="connsiteY172" fmla="*/ 8803 h 10000"/>
                  <a:gd name="connsiteX173" fmla="*/ 7032 w 10577"/>
                  <a:gd name="connsiteY173" fmla="*/ 8846 h 10000"/>
                  <a:gd name="connsiteX174" fmla="*/ 7037 w 10577"/>
                  <a:gd name="connsiteY174" fmla="*/ 8880 h 10000"/>
                  <a:gd name="connsiteX175" fmla="*/ 7037 w 10577"/>
                  <a:gd name="connsiteY175" fmla="*/ 8932 h 10000"/>
                  <a:gd name="connsiteX176" fmla="*/ 7005 w 10577"/>
                  <a:gd name="connsiteY176" fmla="*/ 8983 h 10000"/>
                  <a:gd name="connsiteX177" fmla="*/ 6977 w 10577"/>
                  <a:gd name="connsiteY177" fmla="*/ 9188 h 10000"/>
                  <a:gd name="connsiteX178" fmla="*/ 6935 w 10577"/>
                  <a:gd name="connsiteY178" fmla="*/ 9316 h 10000"/>
                  <a:gd name="connsiteX179" fmla="*/ 6931 w 10577"/>
                  <a:gd name="connsiteY179" fmla="*/ 9368 h 10000"/>
                  <a:gd name="connsiteX180" fmla="*/ 6917 w 10577"/>
                  <a:gd name="connsiteY180" fmla="*/ 9376 h 10000"/>
                  <a:gd name="connsiteX181" fmla="*/ 6912 w 10577"/>
                  <a:gd name="connsiteY181" fmla="*/ 9376 h 10000"/>
                  <a:gd name="connsiteX182" fmla="*/ 6848 w 10577"/>
                  <a:gd name="connsiteY182" fmla="*/ 9342 h 10000"/>
                  <a:gd name="connsiteX183" fmla="*/ 6788 w 10577"/>
                  <a:gd name="connsiteY183" fmla="*/ 9436 h 10000"/>
                  <a:gd name="connsiteX184" fmla="*/ 6802 w 10577"/>
                  <a:gd name="connsiteY184" fmla="*/ 9462 h 10000"/>
                  <a:gd name="connsiteX185" fmla="*/ 6811 w 10577"/>
                  <a:gd name="connsiteY185" fmla="*/ 9667 h 10000"/>
                  <a:gd name="connsiteX186" fmla="*/ 6788 w 10577"/>
                  <a:gd name="connsiteY186" fmla="*/ 9709 h 10000"/>
                  <a:gd name="connsiteX187" fmla="*/ 6765 w 10577"/>
                  <a:gd name="connsiteY187" fmla="*/ 9752 h 10000"/>
                  <a:gd name="connsiteX188" fmla="*/ 6765 w 10577"/>
                  <a:gd name="connsiteY188" fmla="*/ 9803 h 10000"/>
                  <a:gd name="connsiteX189" fmla="*/ 6770 w 10577"/>
                  <a:gd name="connsiteY189" fmla="*/ 9821 h 10000"/>
                  <a:gd name="connsiteX190" fmla="*/ 6779 w 10577"/>
                  <a:gd name="connsiteY190" fmla="*/ 9812 h 10000"/>
                  <a:gd name="connsiteX191" fmla="*/ 6779 w 10577"/>
                  <a:gd name="connsiteY191" fmla="*/ 9803 h 10000"/>
                  <a:gd name="connsiteX192" fmla="*/ 6770 w 10577"/>
                  <a:gd name="connsiteY192" fmla="*/ 9786 h 10000"/>
                  <a:gd name="connsiteX193" fmla="*/ 6811 w 10577"/>
                  <a:gd name="connsiteY193" fmla="*/ 9786 h 10000"/>
                  <a:gd name="connsiteX194" fmla="*/ 6816 w 10577"/>
                  <a:gd name="connsiteY194" fmla="*/ 9761 h 10000"/>
                  <a:gd name="connsiteX195" fmla="*/ 6825 w 10577"/>
                  <a:gd name="connsiteY195" fmla="*/ 9752 h 10000"/>
                  <a:gd name="connsiteX196" fmla="*/ 6825 w 10577"/>
                  <a:gd name="connsiteY196" fmla="*/ 9726 h 10000"/>
                  <a:gd name="connsiteX197" fmla="*/ 6843 w 10577"/>
                  <a:gd name="connsiteY197" fmla="*/ 9701 h 10000"/>
                  <a:gd name="connsiteX198" fmla="*/ 6848 w 10577"/>
                  <a:gd name="connsiteY198" fmla="*/ 9650 h 10000"/>
                  <a:gd name="connsiteX199" fmla="*/ 6848 w 10577"/>
                  <a:gd name="connsiteY199" fmla="*/ 9675 h 10000"/>
                  <a:gd name="connsiteX200" fmla="*/ 6862 w 10577"/>
                  <a:gd name="connsiteY200" fmla="*/ 9675 h 10000"/>
                  <a:gd name="connsiteX201" fmla="*/ 6857 w 10577"/>
                  <a:gd name="connsiteY201" fmla="*/ 9701 h 10000"/>
                  <a:gd name="connsiteX202" fmla="*/ 6857 w 10577"/>
                  <a:gd name="connsiteY202" fmla="*/ 9701 h 10000"/>
                  <a:gd name="connsiteX203" fmla="*/ 6876 w 10577"/>
                  <a:gd name="connsiteY203" fmla="*/ 9684 h 10000"/>
                  <a:gd name="connsiteX204" fmla="*/ 6885 w 10577"/>
                  <a:gd name="connsiteY204" fmla="*/ 9675 h 10000"/>
                  <a:gd name="connsiteX205" fmla="*/ 6876 w 10577"/>
                  <a:gd name="connsiteY205" fmla="*/ 9735 h 10000"/>
                  <a:gd name="connsiteX206" fmla="*/ 6885 w 10577"/>
                  <a:gd name="connsiteY206" fmla="*/ 9752 h 10000"/>
                  <a:gd name="connsiteX207" fmla="*/ 6903 w 10577"/>
                  <a:gd name="connsiteY207" fmla="*/ 9752 h 10000"/>
                  <a:gd name="connsiteX208" fmla="*/ 6917 w 10577"/>
                  <a:gd name="connsiteY208" fmla="*/ 9761 h 10000"/>
                  <a:gd name="connsiteX209" fmla="*/ 6917 w 10577"/>
                  <a:gd name="connsiteY209" fmla="*/ 9761 h 10000"/>
                  <a:gd name="connsiteX210" fmla="*/ 6922 w 10577"/>
                  <a:gd name="connsiteY210" fmla="*/ 9778 h 10000"/>
                  <a:gd name="connsiteX211" fmla="*/ 6945 w 10577"/>
                  <a:gd name="connsiteY211" fmla="*/ 9778 h 10000"/>
                  <a:gd name="connsiteX212" fmla="*/ 6972 w 10577"/>
                  <a:gd name="connsiteY212" fmla="*/ 9752 h 10000"/>
                  <a:gd name="connsiteX213" fmla="*/ 6977 w 10577"/>
                  <a:gd name="connsiteY213" fmla="*/ 9752 h 10000"/>
                  <a:gd name="connsiteX214" fmla="*/ 7069 w 10577"/>
                  <a:gd name="connsiteY214" fmla="*/ 9624 h 10000"/>
                  <a:gd name="connsiteX215" fmla="*/ 7097 w 10577"/>
                  <a:gd name="connsiteY215" fmla="*/ 9547 h 10000"/>
                  <a:gd name="connsiteX216" fmla="*/ 7106 w 10577"/>
                  <a:gd name="connsiteY216" fmla="*/ 9530 h 10000"/>
                  <a:gd name="connsiteX217" fmla="*/ 7124 w 10577"/>
                  <a:gd name="connsiteY217" fmla="*/ 9479 h 10000"/>
                  <a:gd name="connsiteX218" fmla="*/ 7138 w 10577"/>
                  <a:gd name="connsiteY218" fmla="*/ 9462 h 10000"/>
                  <a:gd name="connsiteX219" fmla="*/ 7378 w 10577"/>
                  <a:gd name="connsiteY219" fmla="*/ 8795 h 10000"/>
                  <a:gd name="connsiteX220" fmla="*/ 7392 w 10577"/>
                  <a:gd name="connsiteY220" fmla="*/ 8795 h 10000"/>
                  <a:gd name="connsiteX221" fmla="*/ 7401 w 10577"/>
                  <a:gd name="connsiteY221" fmla="*/ 8769 h 10000"/>
                  <a:gd name="connsiteX222" fmla="*/ 7406 w 10577"/>
                  <a:gd name="connsiteY222" fmla="*/ 8692 h 10000"/>
                  <a:gd name="connsiteX223" fmla="*/ 7406 w 10577"/>
                  <a:gd name="connsiteY223" fmla="*/ 8667 h 10000"/>
                  <a:gd name="connsiteX224" fmla="*/ 7419 w 10577"/>
                  <a:gd name="connsiteY224" fmla="*/ 8598 h 10000"/>
                  <a:gd name="connsiteX225" fmla="*/ 7419 w 10577"/>
                  <a:gd name="connsiteY225" fmla="*/ 8496 h 10000"/>
                  <a:gd name="connsiteX226" fmla="*/ 7424 w 10577"/>
                  <a:gd name="connsiteY226" fmla="*/ 8470 h 10000"/>
                  <a:gd name="connsiteX227" fmla="*/ 7424 w 10577"/>
                  <a:gd name="connsiteY227" fmla="*/ 8462 h 10000"/>
                  <a:gd name="connsiteX228" fmla="*/ 7419 w 10577"/>
                  <a:gd name="connsiteY228" fmla="*/ 8462 h 10000"/>
                  <a:gd name="connsiteX229" fmla="*/ 7410 w 10577"/>
                  <a:gd name="connsiteY229" fmla="*/ 8350 h 10000"/>
                  <a:gd name="connsiteX230" fmla="*/ 7419 w 10577"/>
                  <a:gd name="connsiteY230" fmla="*/ 8325 h 10000"/>
                  <a:gd name="connsiteX231" fmla="*/ 7424 w 10577"/>
                  <a:gd name="connsiteY231" fmla="*/ 8248 h 10000"/>
                  <a:gd name="connsiteX232" fmla="*/ 7433 w 10577"/>
                  <a:gd name="connsiteY232" fmla="*/ 8248 h 10000"/>
                  <a:gd name="connsiteX233" fmla="*/ 7433 w 10577"/>
                  <a:gd name="connsiteY233" fmla="*/ 8231 h 10000"/>
                  <a:gd name="connsiteX234" fmla="*/ 7433 w 10577"/>
                  <a:gd name="connsiteY234" fmla="*/ 8222 h 10000"/>
                  <a:gd name="connsiteX235" fmla="*/ 7433 w 10577"/>
                  <a:gd name="connsiteY235" fmla="*/ 8214 h 10000"/>
                  <a:gd name="connsiteX236" fmla="*/ 7447 w 10577"/>
                  <a:gd name="connsiteY236" fmla="*/ 8162 h 10000"/>
                  <a:gd name="connsiteX237" fmla="*/ 7461 w 10577"/>
                  <a:gd name="connsiteY237" fmla="*/ 8162 h 10000"/>
                  <a:gd name="connsiteX238" fmla="*/ 7475 w 10577"/>
                  <a:gd name="connsiteY238" fmla="*/ 8111 h 10000"/>
                  <a:gd name="connsiteX239" fmla="*/ 7475 w 10577"/>
                  <a:gd name="connsiteY239" fmla="*/ 8085 h 10000"/>
                  <a:gd name="connsiteX240" fmla="*/ 7479 w 10577"/>
                  <a:gd name="connsiteY240" fmla="*/ 8060 h 10000"/>
                  <a:gd name="connsiteX241" fmla="*/ 7452 w 10577"/>
                  <a:gd name="connsiteY241" fmla="*/ 8009 h 10000"/>
                  <a:gd name="connsiteX242" fmla="*/ 7465 w 10577"/>
                  <a:gd name="connsiteY242" fmla="*/ 7974 h 10000"/>
                  <a:gd name="connsiteX243" fmla="*/ 7452 w 10577"/>
                  <a:gd name="connsiteY243" fmla="*/ 7923 h 10000"/>
                  <a:gd name="connsiteX244" fmla="*/ 7433 w 10577"/>
                  <a:gd name="connsiteY244" fmla="*/ 7889 h 10000"/>
                  <a:gd name="connsiteX245" fmla="*/ 7419 w 10577"/>
                  <a:gd name="connsiteY245" fmla="*/ 7889 h 10000"/>
                  <a:gd name="connsiteX246" fmla="*/ 7401 w 10577"/>
                  <a:gd name="connsiteY246" fmla="*/ 7863 h 10000"/>
                  <a:gd name="connsiteX247" fmla="*/ 7387 w 10577"/>
                  <a:gd name="connsiteY247" fmla="*/ 7863 h 10000"/>
                  <a:gd name="connsiteX248" fmla="*/ 7373 w 10577"/>
                  <a:gd name="connsiteY248" fmla="*/ 7863 h 10000"/>
                  <a:gd name="connsiteX249" fmla="*/ 7387 w 10577"/>
                  <a:gd name="connsiteY249" fmla="*/ 7846 h 10000"/>
                  <a:gd name="connsiteX250" fmla="*/ 7401 w 10577"/>
                  <a:gd name="connsiteY250" fmla="*/ 7846 h 10000"/>
                  <a:gd name="connsiteX251" fmla="*/ 7410 w 10577"/>
                  <a:gd name="connsiteY251" fmla="*/ 7863 h 10000"/>
                  <a:gd name="connsiteX252" fmla="*/ 7424 w 10577"/>
                  <a:gd name="connsiteY252" fmla="*/ 7872 h 10000"/>
                  <a:gd name="connsiteX253" fmla="*/ 7433 w 10577"/>
                  <a:gd name="connsiteY253" fmla="*/ 7863 h 10000"/>
                  <a:gd name="connsiteX254" fmla="*/ 7461 w 10577"/>
                  <a:gd name="connsiteY254" fmla="*/ 7897 h 10000"/>
                  <a:gd name="connsiteX255" fmla="*/ 7465 w 10577"/>
                  <a:gd name="connsiteY255" fmla="*/ 7889 h 10000"/>
                  <a:gd name="connsiteX256" fmla="*/ 7475 w 10577"/>
                  <a:gd name="connsiteY256" fmla="*/ 7863 h 10000"/>
                  <a:gd name="connsiteX257" fmla="*/ 7475 w 10577"/>
                  <a:gd name="connsiteY257" fmla="*/ 7838 h 10000"/>
                  <a:gd name="connsiteX258" fmla="*/ 7465 w 10577"/>
                  <a:gd name="connsiteY258" fmla="*/ 7838 h 10000"/>
                  <a:gd name="connsiteX259" fmla="*/ 7406 w 10577"/>
                  <a:gd name="connsiteY259" fmla="*/ 7752 h 10000"/>
                  <a:gd name="connsiteX260" fmla="*/ 7401 w 10577"/>
                  <a:gd name="connsiteY260" fmla="*/ 7735 h 10000"/>
                  <a:gd name="connsiteX261" fmla="*/ 7401 w 10577"/>
                  <a:gd name="connsiteY261" fmla="*/ 7701 h 10000"/>
                  <a:gd name="connsiteX262" fmla="*/ 7378 w 10577"/>
                  <a:gd name="connsiteY262" fmla="*/ 7675 h 10000"/>
                  <a:gd name="connsiteX263" fmla="*/ 7373 w 10577"/>
                  <a:gd name="connsiteY263" fmla="*/ 7667 h 10000"/>
                  <a:gd name="connsiteX264" fmla="*/ 7364 w 10577"/>
                  <a:gd name="connsiteY264" fmla="*/ 7650 h 10000"/>
                  <a:gd name="connsiteX265" fmla="*/ 7364 w 10577"/>
                  <a:gd name="connsiteY265" fmla="*/ 7641 h 10000"/>
                  <a:gd name="connsiteX266" fmla="*/ 7350 w 10577"/>
                  <a:gd name="connsiteY266" fmla="*/ 7641 h 10000"/>
                  <a:gd name="connsiteX267" fmla="*/ 7336 w 10577"/>
                  <a:gd name="connsiteY267" fmla="*/ 7650 h 10000"/>
                  <a:gd name="connsiteX268" fmla="*/ 7327 w 10577"/>
                  <a:gd name="connsiteY268" fmla="*/ 7650 h 10000"/>
                  <a:gd name="connsiteX269" fmla="*/ 7300 w 10577"/>
                  <a:gd name="connsiteY269" fmla="*/ 7641 h 10000"/>
                  <a:gd name="connsiteX270" fmla="*/ 7300 w 10577"/>
                  <a:gd name="connsiteY270" fmla="*/ 7675 h 10000"/>
                  <a:gd name="connsiteX271" fmla="*/ 7300 w 10577"/>
                  <a:gd name="connsiteY271" fmla="*/ 7692 h 10000"/>
                  <a:gd name="connsiteX272" fmla="*/ 7286 w 10577"/>
                  <a:gd name="connsiteY272" fmla="*/ 7786 h 10000"/>
                  <a:gd name="connsiteX273" fmla="*/ 7272 w 10577"/>
                  <a:gd name="connsiteY273" fmla="*/ 7803 h 10000"/>
                  <a:gd name="connsiteX274" fmla="*/ 7276 w 10577"/>
                  <a:gd name="connsiteY274" fmla="*/ 7761 h 10000"/>
                  <a:gd name="connsiteX275" fmla="*/ 7286 w 10577"/>
                  <a:gd name="connsiteY275" fmla="*/ 7735 h 10000"/>
                  <a:gd name="connsiteX276" fmla="*/ 7276 w 10577"/>
                  <a:gd name="connsiteY276" fmla="*/ 7709 h 10000"/>
                  <a:gd name="connsiteX277" fmla="*/ 7258 w 10577"/>
                  <a:gd name="connsiteY277" fmla="*/ 7761 h 10000"/>
                  <a:gd name="connsiteX278" fmla="*/ 7217 w 10577"/>
                  <a:gd name="connsiteY278" fmla="*/ 7786 h 10000"/>
                  <a:gd name="connsiteX279" fmla="*/ 7203 w 10577"/>
                  <a:gd name="connsiteY279" fmla="*/ 7786 h 10000"/>
                  <a:gd name="connsiteX280" fmla="*/ 7198 w 10577"/>
                  <a:gd name="connsiteY280" fmla="*/ 7778 h 10000"/>
                  <a:gd name="connsiteX281" fmla="*/ 7212 w 10577"/>
                  <a:gd name="connsiteY281" fmla="*/ 7761 h 10000"/>
                  <a:gd name="connsiteX282" fmla="*/ 7230 w 10577"/>
                  <a:gd name="connsiteY282" fmla="*/ 7726 h 10000"/>
                  <a:gd name="connsiteX283" fmla="*/ 7226 w 10577"/>
                  <a:gd name="connsiteY283" fmla="*/ 7709 h 10000"/>
                  <a:gd name="connsiteX284" fmla="*/ 7212 w 10577"/>
                  <a:gd name="connsiteY284" fmla="*/ 7701 h 10000"/>
                  <a:gd name="connsiteX285" fmla="*/ 7203 w 10577"/>
                  <a:gd name="connsiteY285" fmla="*/ 7675 h 10000"/>
                  <a:gd name="connsiteX286" fmla="*/ 7217 w 10577"/>
                  <a:gd name="connsiteY286" fmla="*/ 7675 h 10000"/>
                  <a:gd name="connsiteX287" fmla="*/ 7226 w 10577"/>
                  <a:gd name="connsiteY287" fmla="*/ 7650 h 10000"/>
                  <a:gd name="connsiteX288" fmla="*/ 7226 w 10577"/>
                  <a:gd name="connsiteY288" fmla="*/ 7641 h 10000"/>
                  <a:gd name="connsiteX289" fmla="*/ 7203 w 10577"/>
                  <a:gd name="connsiteY289" fmla="*/ 7641 h 10000"/>
                  <a:gd name="connsiteX290" fmla="*/ 7198 w 10577"/>
                  <a:gd name="connsiteY290" fmla="*/ 7650 h 10000"/>
                  <a:gd name="connsiteX291" fmla="*/ 7194 w 10577"/>
                  <a:gd name="connsiteY291" fmla="*/ 7675 h 10000"/>
                  <a:gd name="connsiteX292" fmla="*/ 7198 w 10577"/>
                  <a:gd name="connsiteY292" fmla="*/ 7692 h 10000"/>
                  <a:gd name="connsiteX293" fmla="*/ 7198 w 10577"/>
                  <a:gd name="connsiteY293" fmla="*/ 7709 h 10000"/>
                  <a:gd name="connsiteX294" fmla="*/ 7184 w 10577"/>
                  <a:gd name="connsiteY294" fmla="*/ 7726 h 10000"/>
                  <a:gd name="connsiteX295" fmla="*/ 7180 w 10577"/>
                  <a:gd name="connsiteY295" fmla="*/ 7726 h 10000"/>
                  <a:gd name="connsiteX296" fmla="*/ 7171 w 10577"/>
                  <a:gd name="connsiteY296" fmla="*/ 7752 h 10000"/>
                  <a:gd name="connsiteX297" fmla="*/ 7166 w 10577"/>
                  <a:gd name="connsiteY297" fmla="*/ 7735 h 10000"/>
                  <a:gd name="connsiteX298" fmla="*/ 7171 w 10577"/>
                  <a:gd name="connsiteY298" fmla="*/ 7624 h 10000"/>
                  <a:gd name="connsiteX299" fmla="*/ 7171 w 10577"/>
                  <a:gd name="connsiteY299" fmla="*/ 7615 h 10000"/>
                  <a:gd name="connsiteX300" fmla="*/ 7171 w 10577"/>
                  <a:gd name="connsiteY300" fmla="*/ 7590 h 10000"/>
                  <a:gd name="connsiteX301" fmla="*/ 7166 w 10577"/>
                  <a:gd name="connsiteY301" fmla="*/ 7564 h 10000"/>
                  <a:gd name="connsiteX302" fmla="*/ 7157 w 10577"/>
                  <a:gd name="connsiteY302" fmla="*/ 7564 h 10000"/>
                  <a:gd name="connsiteX303" fmla="*/ 7097 w 10577"/>
                  <a:gd name="connsiteY303" fmla="*/ 7573 h 10000"/>
                  <a:gd name="connsiteX304" fmla="*/ 7065 w 10577"/>
                  <a:gd name="connsiteY304" fmla="*/ 7538 h 10000"/>
                  <a:gd name="connsiteX305" fmla="*/ 7069 w 10577"/>
                  <a:gd name="connsiteY305" fmla="*/ 7504 h 10000"/>
                  <a:gd name="connsiteX306" fmla="*/ 7106 w 10577"/>
                  <a:gd name="connsiteY306" fmla="*/ 7453 h 10000"/>
                  <a:gd name="connsiteX307" fmla="*/ 7111 w 10577"/>
                  <a:gd name="connsiteY307" fmla="*/ 7436 h 10000"/>
                  <a:gd name="connsiteX308" fmla="*/ 7138 w 10577"/>
                  <a:gd name="connsiteY308" fmla="*/ 7402 h 10000"/>
                  <a:gd name="connsiteX309" fmla="*/ 7143 w 10577"/>
                  <a:gd name="connsiteY309" fmla="*/ 7376 h 10000"/>
                  <a:gd name="connsiteX310" fmla="*/ 7152 w 10577"/>
                  <a:gd name="connsiteY310" fmla="*/ 7368 h 10000"/>
                  <a:gd name="connsiteX311" fmla="*/ 7157 w 10577"/>
                  <a:gd name="connsiteY311" fmla="*/ 7350 h 10000"/>
                  <a:gd name="connsiteX312" fmla="*/ 7230 w 10577"/>
                  <a:gd name="connsiteY312" fmla="*/ 7239 h 10000"/>
                  <a:gd name="connsiteX313" fmla="*/ 7240 w 10577"/>
                  <a:gd name="connsiteY313" fmla="*/ 7205 h 10000"/>
                  <a:gd name="connsiteX314" fmla="*/ 7253 w 10577"/>
                  <a:gd name="connsiteY314" fmla="*/ 7188 h 10000"/>
                  <a:gd name="connsiteX315" fmla="*/ 7258 w 10577"/>
                  <a:gd name="connsiteY315" fmla="*/ 7162 h 10000"/>
                  <a:gd name="connsiteX316" fmla="*/ 7258 w 10577"/>
                  <a:gd name="connsiteY316" fmla="*/ 7154 h 10000"/>
                  <a:gd name="connsiteX317" fmla="*/ 7272 w 10577"/>
                  <a:gd name="connsiteY317" fmla="*/ 7120 h 10000"/>
                  <a:gd name="connsiteX318" fmla="*/ 7276 w 10577"/>
                  <a:gd name="connsiteY318" fmla="*/ 7094 h 10000"/>
                  <a:gd name="connsiteX319" fmla="*/ 7286 w 10577"/>
                  <a:gd name="connsiteY319" fmla="*/ 7094 h 10000"/>
                  <a:gd name="connsiteX320" fmla="*/ 7290 w 10577"/>
                  <a:gd name="connsiteY320" fmla="*/ 7068 h 10000"/>
                  <a:gd name="connsiteX321" fmla="*/ 7332 w 10577"/>
                  <a:gd name="connsiteY321" fmla="*/ 6991 h 10000"/>
                  <a:gd name="connsiteX322" fmla="*/ 7336 w 10577"/>
                  <a:gd name="connsiteY322" fmla="*/ 6991 h 10000"/>
                  <a:gd name="connsiteX323" fmla="*/ 7364 w 10577"/>
                  <a:gd name="connsiteY323" fmla="*/ 6940 h 10000"/>
                  <a:gd name="connsiteX324" fmla="*/ 7373 w 10577"/>
                  <a:gd name="connsiteY324" fmla="*/ 6906 h 10000"/>
                  <a:gd name="connsiteX325" fmla="*/ 7378 w 10577"/>
                  <a:gd name="connsiteY325" fmla="*/ 6915 h 10000"/>
                  <a:gd name="connsiteX326" fmla="*/ 7406 w 10577"/>
                  <a:gd name="connsiteY326" fmla="*/ 6880 h 10000"/>
                  <a:gd name="connsiteX327" fmla="*/ 7410 w 10577"/>
                  <a:gd name="connsiteY327" fmla="*/ 6846 h 10000"/>
                  <a:gd name="connsiteX328" fmla="*/ 7419 w 10577"/>
                  <a:gd name="connsiteY328" fmla="*/ 6803 h 10000"/>
                  <a:gd name="connsiteX329" fmla="*/ 7585 w 10577"/>
                  <a:gd name="connsiteY329" fmla="*/ 6504 h 10000"/>
                  <a:gd name="connsiteX330" fmla="*/ 7765 w 10577"/>
                  <a:gd name="connsiteY330" fmla="*/ 6504 h 10000"/>
                  <a:gd name="connsiteX331" fmla="*/ 7765 w 10577"/>
                  <a:gd name="connsiteY331" fmla="*/ 6530 h 10000"/>
                  <a:gd name="connsiteX332" fmla="*/ 7774 w 10577"/>
                  <a:gd name="connsiteY332" fmla="*/ 6556 h 10000"/>
                  <a:gd name="connsiteX333" fmla="*/ 7779 w 10577"/>
                  <a:gd name="connsiteY333" fmla="*/ 6556 h 10000"/>
                  <a:gd name="connsiteX334" fmla="*/ 7793 w 10577"/>
                  <a:gd name="connsiteY334" fmla="*/ 6547 h 10000"/>
                  <a:gd name="connsiteX335" fmla="*/ 7793 w 10577"/>
                  <a:gd name="connsiteY335" fmla="*/ 6530 h 10000"/>
                  <a:gd name="connsiteX336" fmla="*/ 7802 w 10577"/>
                  <a:gd name="connsiteY336" fmla="*/ 6496 h 10000"/>
                  <a:gd name="connsiteX337" fmla="*/ 7806 w 10577"/>
                  <a:gd name="connsiteY337" fmla="*/ 6487 h 10000"/>
                  <a:gd name="connsiteX338" fmla="*/ 7876 w 10577"/>
                  <a:gd name="connsiteY338" fmla="*/ 6530 h 10000"/>
                  <a:gd name="connsiteX339" fmla="*/ 7894 w 10577"/>
                  <a:gd name="connsiteY339" fmla="*/ 6530 h 10000"/>
                  <a:gd name="connsiteX340" fmla="*/ 7894 w 10577"/>
                  <a:gd name="connsiteY340" fmla="*/ 6504 h 10000"/>
                  <a:gd name="connsiteX341" fmla="*/ 7899 w 10577"/>
                  <a:gd name="connsiteY341" fmla="*/ 6504 h 10000"/>
                  <a:gd name="connsiteX342" fmla="*/ 7926 w 10577"/>
                  <a:gd name="connsiteY342" fmla="*/ 6504 h 10000"/>
                  <a:gd name="connsiteX343" fmla="*/ 7940 w 10577"/>
                  <a:gd name="connsiteY343" fmla="*/ 6547 h 10000"/>
                  <a:gd name="connsiteX344" fmla="*/ 7949 w 10577"/>
                  <a:gd name="connsiteY344" fmla="*/ 6547 h 10000"/>
                  <a:gd name="connsiteX345" fmla="*/ 7963 w 10577"/>
                  <a:gd name="connsiteY345" fmla="*/ 6530 h 10000"/>
                  <a:gd name="connsiteX346" fmla="*/ 7963 w 10577"/>
                  <a:gd name="connsiteY346" fmla="*/ 6504 h 10000"/>
                  <a:gd name="connsiteX347" fmla="*/ 7963 w 10577"/>
                  <a:gd name="connsiteY347" fmla="*/ 6504 h 10000"/>
                  <a:gd name="connsiteX348" fmla="*/ 7954 w 10577"/>
                  <a:gd name="connsiteY348" fmla="*/ 6496 h 10000"/>
                  <a:gd name="connsiteX349" fmla="*/ 7963 w 10577"/>
                  <a:gd name="connsiteY349" fmla="*/ 6487 h 10000"/>
                  <a:gd name="connsiteX350" fmla="*/ 7982 w 10577"/>
                  <a:gd name="connsiteY350" fmla="*/ 6487 h 10000"/>
                  <a:gd name="connsiteX351" fmla="*/ 7982 w 10577"/>
                  <a:gd name="connsiteY351" fmla="*/ 6470 h 10000"/>
                  <a:gd name="connsiteX352" fmla="*/ 7972 w 10577"/>
                  <a:gd name="connsiteY352" fmla="*/ 6462 h 10000"/>
                  <a:gd name="connsiteX353" fmla="*/ 7972 w 10577"/>
                  <a:gd name="connsiteY353" fmla="*/ 6436 h 10000"/>
                  <a:gd name="connsiteX354" fmla="*/ 7986 w 10577"/>
                  <a:gd name="connsiteY354" fmla="*/ 6419 h 10000"/>
                  <a:gd name="connsiteX355" fmla="*/ 8000 w 10577"/>
                  <a:gd name="connsiteY355" fmla="*/ 6419 h 10000"/>
                  <a:gd name="connsiteX356" fmla="*/ 8055 w 10577"/>
                  <a:gd name="connsiteY356" fmla="*/ 6462 h 10000"/>
                  <a:gd name="connsiteX357" fmla="*/ 8069 w 10577"/>
                  <a:gd name="connsiteY357" fmla="*/ 6444 h 10000"/>
                  <a:gd name="connsiteX358" fmla="*/ 8083 w 10577"/>
                  <a:gd name="connsiteY358" fmla="*/ 6470 h 10000"/>
                  <a:gd name="connsiteX359" fmla="*/ 8083 w 10577"/>
                  <a:gd name="connsiteY359" fmla="*/ 6487 h 10000"/>
                  <a:gd name="connsiteX360" fmla="*/ 8097 w 10577"/>
                  <a:gd name="connsiteY360" fmla="*/ 6487 h 10000"/>
                  <a:gd name="connsiteX361" fmla="*/ 8101 w 10577"/>
                  <a:gd name="connsiteY361" fmla="*/ 6462 h 10000"/>
                  <a:gd name="connsiteX362" fmla="*/ 8115 w 10577"/>
                  <a:gd name="connsiteY362" fmla="*/ 6462 h 10000"/>
                  <a:gd name="connsiteX363" fmla="*/ 8129 w 10577"/>
                  <a:gd name="connsiteY363" fmla="*/ 6462 h 10000"/>
                  <a:gd name="connsiteX364" fmla="*/ 8157 w 10577"/>
                  <a:gd name="connsiteY364" fmla="*/ 6496 h 10000"/>
                  <a:gd name="connsiteX365" fmla="*/ 8157 w 10577"/>
                  <a:gd name="connsiteY365" fmla="*/ 6521 h 10000"/>
                  <a:gd name="connsiteX366" fmla="*/ 8180 w 10577"/>
                  <a:gd name="connsiteY366" fmla="*/ 6530 h 10000"/>
                  <a:gd name="connsiteX367" fmla="*/ 8180 w 10577"/>
                  <a:gd name="connsiteY367" fmla="*/ 6547 h 10000"/>
                  <a:gd name="connsiteX368" fmla="*/ 8171 w 10577"/>
                  <a:gd name="connsiteY368" fmla="*/ 6556 h 10000"/>
                  <a:gd name="connsiteX369" fmla="*/ 8129 w 10577"/>
                  <a:gd name="connsiteY369" fmla="*/ 6556 h 10000"/>
                  <a:gd name="connsiteX370" fmla="*/ 8106 w 10577"/>
                  <a:gd name="connsiteY370" fmla="*/ 6573 h 10000"/>
                  <a:gd name="connsiteX371" fmla="*/ 8115 w 10577"/>
                  <a:gd name="connsiteY371" fmla="*/ 6581 h 10000"/>
                  <a:gd name="connsiteX372" fmla="*/ 8129 w 10577"/>
                  <a:gd name="connsiteY372" fmla="*/ 6632 h 10000"/>
                  <a:gd name="connsiteX373" fmla="*/ 8171 w 10577"/>
                  <a:gd name="connsiteY373" fmla="*/ 6632 h 10000"/>
                  <a:gd name="connsiteX374" fmla="*/ 8180 w 10577"/>
                  <a:gd name="connsiteY374" fmla="*/ 6624 h 10000"/>
                  <a:gd name="connsiteX375" fmla="*/ 8189 w 10577"/>
                  <a:gd name="connsiteY375" fmla="*/ 6598 h 10000"/>
                  <a:gd name="connsiteX376" fmla="*/ 8203 w 10577"/>
                  <a:gd name="connsiteY376" fmla="*/ 6581 h 10000"/>
                  <a:gd name="connsiteX377" fmla="*/ 8207 w 10577"/>
                  <a:gd name="connsiteY377" fmla="*/ 6607 h 10000"/>
                  <a:gd name="connsiteX378" fmla="*/ 8221 w 10577"/>
                  <a:gd name="connsiteY378" fmla="*/ 6624 h 10000"/>
                  <a:gd name="connsiteX379" fmla="*/ 8235 w 10577"/>
                  <a:gd name="connsiteY379" fmla="*/ 6607 h 10000"/>
                  <a:gd name="connsiteX380" fmla="*/ 8240 w 10577"/>
                  <a:gd name="connsiteY380" fmla="*/ 6581 h 10000"/>
                  <a:gd name="connsiteX381" fmla="*/ 8253 w 10577"/>
                  <a:gd name="connsiteY381" fmla="*/ 6573 h 10000"/>
                  <a:gd name="connsiteX382" fmla="*/ 8263 w 10577"/>
                  <a:gd name="connsiteY382" fmla="*/ 6556 h 10000"/>
                  <a:gd name="connsiteX383" fmla="*/ 8276 w 10577"/>
                  <a:gd name="connsiteY383" fmla="*/ 6547 h 10000"/>
                  <a:gd name="connsiteX384" fmla="*/ 8290 w 10577"/>
                  <a:gd name="connsiteY384" fmla="*/ 6556 h 10000"/>
                  <a:gd name="connsiteX385" fmla="*/ 8304 w 10577"/>
                  <a:gd name="connsiteY385" fmla="*/ 6581 h 10000"/>
                  <a:gd name="connsiteX386" fmla="*/ 8309 w 10577"/>
                  <a:gd name="connsiteY386" fmla="*/ 6581 h 10000"/>
                  <a:gd name="connsiteX387" fmla="*/ 8327 w 10577"/>
                  <a:gd name="connsiteY387" fmla="*/ 6573 h 10000"/>
                  <a:gd name="connsiteX388" fmla="*/ 8327 w 10577"/>
                  <a:gd name="connsiteY388" fmla="*/ 6556 h 10000"/>
                  <a:gd name="connsiteX389" fmla="*/ 8350 w 10577"/>
                  <a:gd name="connsiteY389" fmla="*/ 6556 h 10000"/>
                  <a:gd name="connsiteX390" fmla="*/ 8355 w 10577"/>
                  <a:gd name="connsiteY390" fmla="*/ 6573 h 10000"/>
                  <a:gd name="connsiteX391" fmla="*/ 8364 w 10577"/>
                  <a:gd name="connsiteY391" fmla="*/ 6556 h 10000"/>
                  <a:gd name="connsiteX392" fmla="*/ 8369 w 10577"/>
                  <a:gd name="connsiteY392" fmla="*/ 6556 h 10000"/>
                  <a:gd name="connsiteX393" fmla="*/ 8378 w 10577"/>
                  <a:gd name="connsiteY393" fmla="*/ 6530 h 10000"/>
                  <a:gd name="connsiteX394" fmla="*/ 8369 w 10577"/>
                  <a:gd name="connsiteY394" fmla="*/ 6504 h 10000"/>
                  <a:gd name="connsiteX395" fmla="*/ 8364 w 10577"/>
                  <a:gd name="connsiteY395" fmla="*/ 6496 h 10000"/>
                  <a:gd name="connsiteX396" fmla="*/ 8336 w 10577"/>
                  <a:gd name="connsiteY396" fmla="*/ 6470 h 10000"/>
                  <a:gd name="connsiteX397" fmla="*/ 8309 w 10577"/>
                  <a:gd name="connsiteY397" fmla="*/ 6487 h 10000"/>
                  <a:gd name="connsiteX398" fmla="*/ 8313 w 10577"/>
                  <a:gd name="connsiteY398" fmla="*/ 6462 h 10000"/>
                  <a:gd name="connsiteX399" fmla="*/ 8323 w 10577"/>
                  <a:gd name="connsiteY399" fmla="*/ 6444 h 10000"/>
                  <a:gd name="connsiteX400" fmla="*/ 8309 w 10577"/>
                  <a:gd name="connsiteY400" fmla="*/ 6393 h 10000"/>
                  <a:gd name="connsiteX401" fmla="*/ 8313 w 10577"/>
                  <a:gd name="connsiteY401" fmla="*/ 6385 h 10000"/>
                  <a:gd name="connsiteX402" fmla="*/ 8323 w 10577"/>
                  <a:gd name="connsiteY402" fmla="*/ 6393 h 10000"/>
                  <a:gd name="connsiteX403" fmla="*/ 8323 w 10577"/>
                  <a:gd name="connsiteY403" fmla="*/ 6393 h 10000"/>
                  <a:gd name="connsiteX404" fmla="*/ 8355 w 10577"/>
                  <a:gd name="connsiteY404" fmla="*/ 6282 h 10000"/>
                  <a:gd name="connsiteX405" fmla="*/ 8369 w 10577"/>
                  <a:gd name="connsiteY405" fmla="*/ 6256 h 10000"/>
                  <a:gd name="connsiteX406" fmla="*/ 8382 w 10577"/>
                  <a:gd name="connsiteY406" fmla="*/ 6248 h 10000"/>
                  <a:gd name="connsiteX407" fmla="*/ 8424 w 10577"/>
                  <a:gd name="connsiteY407" fmla="*/ 6162 h 10000"/>
                  <a:gd name="connsiteX408" fmla="*/ 8429 w 10577"/>
                  <a:gd name="connsiteY408" fmla="*/ 6145 h 10000"/>
                  <a:gd name="connsiteX409" fmla="*/ 8470 w 10577"/>
                  <a:gd name="connsiteY409" fmla="*/ 6051 h 10000"/>
                  <a:gd name="connsiteX410" fmla="*/ 8475 w 10577"/>
                  <a:gd name="connsiteY410" fmla="*/ 5983 h 10000"/>
                  <a:gd name="connsiteX411" fmla="*/ 8512 w 10577"/>
                  <a:gd name="connsiteY411" fmla="*/ 5940 h 10000"/>
                  <a:gd name="connsiteX412" fmla="*/ 8521 w 10577"/>
                  <a:gd name="connsiteY412" fmla="*/ 5923 h 10000"/>
                  <a:gd name="connsiteX413" fmla="*/ 8535 w 10577"/>
                  <a:gd name="connsiteY413" fmla="*/ 5915 h 10000"/>
                  <a:gd name="connsiteX414" fmla="*/ 8562 w 10577"/>
                  <a:gd name="connsiteY414" fmla="*/ 5915 h 10000"/>
                  <a:gd name="connsiteX415" fmla="*/ 8618 w 10577"/>
                  <a:gd name="connsiteY415" fmla="*/ 5889 h 10000"/>
                  <a:gd name="connsiteX416" fmla="*/ 8622 w 10577"/>
                  <a:gd name="connsiteY416" fmla="*/ 5889 h 10000"/>
                  <a:gd name="connsiteX417" fmla="*/ 8622 w 10577"/>
                  <a:gd name="connsiteY417" fmla="*/ 5872 h 10000"/>
                  <a:gd name="connsiteX418" fmla="*/ 8636 w 10577"/>
                  <a:gd name="connsiteY418" fmla="*/ 5872 h 10000"/>
                  <a:gd name="connsiteX419" fmla="*/ 8650 w 10577"/>
                  <a:gd name="connsiteY419" fmla="*/ 5889 h 10000"/>
                  <a:gd name="connsiteX420" fmla="*/ 8659 w 10577"/>
                  <a:gd name="connsiteY420" fmla="*/ 5915 h 10000"/>
                  <a:gd name="connsiteX421" fmla="*/ 8664 w 10577"/>
                  <a:gd name="connsiteY421" fmla="*/ 5940 h 10000"/>
                  <a:gd name="connsiteX422" fmla="*/ 8682 w 10577"/>
                  <a:gd name="connsiteY422" fmla="*/ 5923 h 10000"/>
                  <a:gd name="connsiteX423" fmla="*/ 8719 w 10577"/>
                  <a:gd name="connsiteY423" fmla="*/ 5863 h 10000"/>
                  <a:gd name="connsiteX424" fmla="*/ 8705 w 10577"/>
                  <a:gd name="connsiteY424" fmla="*/ 5966 h 10000"/>
                  <a:gd name="connsiteX425" fmla="*/ 8696 w 10577"/>
                  <a:gd name="connsiteY425" fmla="*/ 5983 h 10000"/>
                  <a:gd name="connsiteX426" fmla="*/ 8682 w 10577"/>
                  <a:gd name="connsiteY426" fmla="*/ 6026 h 10000"/>
                  <a:gd name="connsiteX427" fmla="*/ 8682 w 10577"/>
                  <a:gd name="connsiteY427" fmla="*/ 6051 h 10000"/>
                  <a:gd name="connsiteX428" fmla="*/ 8691 w 10577"/>
                  <a:gd name="connsiteY428" fmla="*/ 6077 h 10000"/>
                  <a:gd name="connsiteX429" fmla="*/ 8691 w 10577"/>
                  <a:gd name="connsiteY429" fmla="*/ 6085 h 10000"/>
                  <a:gd name="connsiteX430" fmla="*/ 8682 w 10577"/>
                  <a:gd name="connsiteY430" fmla="*/ 6103 h 10000"/>
                  <a:gd name="connsiteX431" fmla="*/ 8682 w 10577"/>
                  <a:gd name="connsiteY431" fmla="*/ 6111 h 10000"/>
                  <a:gd name="connsiteX432" fmla="*/ 8691 w 10577"/>
                  <a:gd name="connsiteY432" fmla="*/ 6120 h 10000"/>
                  <a:gd name="connsiteX433" fmla="*/ 8719 w 10577"/>
                  <a:gd name="connsiteY433" fmla="*/ 6103 h 10000"/>
                  <a:gd name="connsiteX434" fmla="*/ 8705 w 10577"/>
                  <a:gd name="connsiteY434" fmla="*/ 6188 h 10000"/>
                  <a:gd name="connsiteX435" fmla="*/ 8705 w 10577"/>
                  <a:gd name="connsiteY435" fmla="*/ 6214 h 10000"/>
                  <a:gd name="connsiteX436" fmla="*/ 8710 w 10577"/>
                  <a:gd name="connsiteY436" fmla="*/ 6197 h 10000"/>
                  <a:gd name="connsiteX437" fmla="*/ 8728 w 10577"/>
                  <a:gd name="connsiteY437" fmla="*/ 6171 h 10000"/>
                  <a:gd name="connsiteX438" fmla="*/ 8737 w 10577"/>
                  <a:gd name="connsiteY438" fmla="*/ 6171 h 10000"/>
                  <a:gd name="connsiteX439" fmla="*/ 8843 w 10577"/>
                  <a:gd name="connsiteY439" fmla="*/ 5949 h 10000"/>
                  <a:gd name="connsiteX440" fmla="*/ 8866 w 10577"/>
                  <a:gd name="connsiteY440" fmla="*/ 5949 h 10000"/>
                  <a:gd name="connsiteX441" fmla="*/ 8871 w 10577"/>
                  <a:gd name="connsiteY441" fmla="*/ 5940 h 10000"/>
                  <a:gd name="connsiteX442" fmla="*/ 8876 w 10577"/>
                  <a:gd name="connsiteY442" fmla="*/ 5923 h 10000"/>
                  <a:gd name="connsiteX443" fmla="*/ 8885 w 10577"/>
                  <a:gd name="connsiteY443" fmla="*/ 5940 h 10000"/>
                  <a:gd name="connsiteX444" fmla="*/ 8885 w 10577"/>
                  <a:gd name="connsiteY444" fmla="*/ 5949 h 10000"/>
                  <a:gd name="connsiteX445" fmla="*/ 8885 w 10577"/>
                  <a:gd name="connsiteY445" fmla="*/ 5974 h 10000"/>
                  <a:gd name="connsiteX446" fmla="*/ 8889 w 10577"/>
                  <a:gd name="connsiteY446" fmla="*/ 5974 h 10000"/>
                  <a:gd name="connsiteX447" fmla="*/ 8903 w 10577"/>
                  <a:gd name="connsiteY447" fmla="*/ 5923 h 10000"/>
                  <a:gd name="connsiteX448" fmla="*/ 8889 w 10577"/>
                  <a:gd name="connsiteY448" fmla="*/ 5923 h 10000"/>
                  <a:gd name="connsiteX449" fmla="*/ 8889 w 10577"/>
                  <a:gd name="connsiteY449" fmla="*/ 5897 h 10000"/>
                  <a:gd name="connsiteX450" fmla="*/ 8899 w 10577"/>
                  <a:gd name="connsiteY450" fmla="*/ 5838 h 10000"/>
                  <a:gd name="connsiteX451" fmla="*/ 8889 w 10577"/>
                  <a:gd name="connsiteY451" fmla="*/ 5812 h 10000"/>
                  <a:gd name="connsiteX452" fmla="*/ 8903 w 10577"/>
                  <a:gd name="connsiteY452" fmla="*/ 5778 h 10000"/>
                  <a:gd name="connsiteX453" fmla="*/ 8903 w 10577"/>
                  <a:gd name="connsiteY453" fmla="*/ 5761 h 10000"/>
                  <a:gd name="connsiteX454" fmla="*/ 8912 w 10577"/>
                  <a:gd name="connsiteY454" fmla="*/ 5735 h 10000"/>
                  <a:gd name="connsiteX455" fmla="*/ 8931 w 10577"/>
                  <a:gd name="connsiteY455" fmla="*/ 5701 h 10000"/>
                  <a:gd name="connsiteX456" fmla="*/ 8977 w 10577"/>
                  <a:gd name="connsiteY456" fmla="*/ 5675 h 10000"/>
                  <a:gd name="connsiteX457" fmla="*/ 9000 w 10577"/>
                  <a:gd name="connsiteY457" fmla="*/ 5675 h 10000"/>
                  <a:gd name="connsiteX458" fmla="*/ 9018 w 10577"/>
                  <a:gd name="connsiteY458" fmla="*/ 5709 h 10000"/>
                  <a:gd name="connsiteX459" fmla="*/ 9009 w 10577"/>
                  <a:gd name="connsiteY459" fmla="*/ 5735 h 10000"/>
                  <a:gd name="connsiteX460" fmla="*/ 9000 w 10577"/>
                  <a:gd name="connsiteY460" fmla="*/ 5735 h 10000"/>
                  <a:gd name="connsiteX461" fmla="*/ 8963 w 10577"/>
                  <a:gd name="connsiteY461" fmla="*/ 5786 h 10000"/>
                  <a:gd name="connsiteX462" fmla="*/ 8949 w 10577"/>
                  <a:gd name="connsiteY462" fmla="*/ 5940 h 10000"/>
                  <a:gd name="connsiteX463" fmla="*/ 8945 w 10577"/>
                  <a:gd name="connsiteY463" fmla="*/ 5966 h 10000"/>
                  <a:gd name="connsiteX464" fmla="*/ 8945 w 10577"/>
                  <a:gd name="connsiteY464" fmla="*/ 6000 h 10000"/>
                  <a:gd name="connsiteX465" fmla="*/ 8945 w 10577"/>
                  <a:gd name="connsiteY465" fmla="*/ 6009 h 10000"/>
                  <a:gd name="connsiteX466" fmla="*/ 8945 w 10577"/>
                  <a:gd name="connsiteY466" fmla="*/ 6034 h 10000"/>
                  <a:gd name="connsiteX467" fmla="*/ 8931 w 10577"/>
                  <a:gd name="connsiteY467" fmla="*/ 6060 h 10000"/>
                  <a:gd name="connsiteX468" fmla="*/ 8926 w 10577"/>
                  <a:gd name="connsiteY468" fmla="*/ 6077 h 10000"/>
                  <a:gd name="connsiteX469" fmla="*/ 8926 w 10577"/>
                  <a:gd name="connsiteY469" fmla="*/ 6111 h 10000"/>
                  <a:gd name="connsiteX470" fmla="*/ 8931 w 10577"/>
                  <a:gd name="connsiteY470" fmla="*/ 6120 h 10000"/>
                  <a:gd name="connsiteX471" fmla="*/ 8931 w 10577"/>
                  <a:gd name="connsiteY471" fmla="*/ 6137 h 10000"/>
                  <a:gd name="connsiteX472" fmla="*/ 8912 w 10577"/>
                  <a:gd name="connsiteY472" fmla="*/ 6171 h 10000"/>
                  <a:gd name="connsiteX473" fmla="*/ 8899 w 10577"/>
                  <a:gd name="connsiteY473" fmla="*/ 6162 h 10000"/>
                  <a:gd name="connsiteX474" fmla="*/ 8885 w 10577"/>
                  <a:gd name="connsiteY474" fmla="*/ 6171 h 10000"/>
                  <a:gd name="connsiteX475" fmla="*/ 8866 w 10577"/>
                  <a:gd name="connsiteY475" fmla="*/ 6214 h 10000"/>
                  <a:gd name="connsiteX476" fmla="*/ 8853 w 10577"/>
                  <a:gd name="connsiteY476" fmla="*/ 6214 h 10000"/>
                  <a:gd name="connsiteX477" fmla="*/ 8816 w 10577"/>
                  <a:gd name="connsiteY477" fmla="*/ 6248 h 10000"/>
                  <a:gd name="connsiteX478" fmla="*/ 8816 w 10577"/>
                  <a:gd name="connsiteY478" fmla="*/ 6248 h 10000"/>
                  <a:gd name="connsiteX479" fmla="*/ 8816 w 10577"/>
                  <a:gd name="connsiteY479" fmla="*/ 6282 h 10000"/>
                  <a:gd name="connsiteX480" fmla="*/ 8811 w 10577"/>
                  <a:gd name="connsiteY480" fmla="*/ 6308 h 10000"/>
                  <a:gd name="connsiteX481" fmla="*/ 8751 w 10577"/>
                  <a:gd name="connsiteY481" fmla="*/ 6436 h 10000"/>
                  <a:gd name="connsiteX482" fmla="*/ 8724 w 10577"/>
                  <a:gd name="connsiteY482" fmla="*/ 6470 h 10000"/>
                  <a:gd name="connsiteX483" fmla="*/ 8710 w 10577"/>
                  <a:gd name="connsiteY483" fmla="*/ 6504 h 10000"/>
                  <a:gd name="connsiteX484" fmla="*/ 8705 w 10577"/>
                  <a:gd name="connsiteY484" fmla="*/ 6521 h 10000"/>
                  <a:gd name="connsiteX485" fmla="*/ 8677 w 10577"/>
                  <a:gd name="connsiteY485" fmla="*/ 6573 h 10000"/>
                  <a:gd name="connsiteX486" fmla="*/ 8677 w 10577"/>
                  <a:gd name="connsiteY486" fmla="*/ 6624 h 10000"/>
                  <a:gd name="connsiteX487" fmla="*/ 8590 w 10577"/>
                  <a:gd name="connsiteY487" fmla="*/ 6803 h 10000"/>
                  <a:gd name="connsiteX488" fmla="*/ 8562 w 10577"/>
                  <a:gd name="connsiteY488" fmla="*/ 6829 h 10000"/>
                  <a:gd name="connsiteX489" fmla="*/ 8544 w 10577"/>
                  <a:gd name="connsiteY489" fmla="*/ 6829 h 10000"/>
                  <a:gd name="connsiteX490" fmla="*/ 8521 w 10577"/>
                  <a:gd name="connsiteY490" fmla="*/ 6880 h 10000"/>
                  <a:gd name="connsiteX491" fmla="*/ 8498 w 10577"/>
                  <a:gd name="connsiteY491" fmla="*/ 6872 h 10000"/>
                  <a:gd name="connsiteX492" fmla="*/ 8488 w 10577"/>
                  <a:gd name="connsiteY492" fmla="*/ 6872 h 10000"/>
                  <a:gd name="connsiteX493" fmla="*/ 8498 w 10577"/>
                  <a:gd name="connsiteY493" fmla="*/ 6940 h 10000"/>
                  <a:gd name="connsiteX494" fmla="*/ 8484 w 10577"/>
                  <a:gd name="connsiteY494" fmla="*/ 7026 h 10000"/>
                  <a:gd name="connsiteX495" fmla="*/ 8429 w 10577"/>
                  <a:gd name="connsiteY495" fmla="*/ 7094 h 10000"/>
                  <a:gd name="connsiteX496" fmla="*/ 8401 w 10577"/>
                  <a:gd name="connsiteY496" fmla="*/ 7291 h 10000"/>
                  <a:gd name="connsiteX497" fmla="*/ 8424 w 10577"/>
                  <a:gd name="connsiteY497" fmla="*/ 7692 h 10000"/>
                  <a:gd name="connsiteX498" fmla="*/ 8424 w 10577"/>
                  <a:gd name="connsiteY498" fmla="*/ 7701 h 10000"/>
                  <a:gd name="connsiteX499" fmla="*/ 8484 w 10577"/>
                  <a:gd name="connsiteY499" fmla="*/ 8308 h 10000"/>
                  <a:gd name="connsiteX500" fmla="*/ 8576 w 10577"/>
                  <a:gd name="connsiteY500" fmla="*/ 8120 h 10000"/>
                  <a:gd name="connsiteX501" fmla="*/ 8590 w 10577"/>
                  <a:gd name="connsiteY501" fmla="*/ 8026 h 10000"/>
                  <a:gd name="connsiteX502" fmla="*/ 8590 w 10577"/>
                  <a:gd name="connsiteY502" fmla="*/ 7983 h 10000"/>
                  <a:gd name="connsiteX503" fmla="*/ 8594 w 10577"/>
                  <a:gd name="connsiteY503" fmla="*/ 7974 h 10000"/>
                  <a:gd name="connsiteX504" fmla="*/ 8594 w 10577"/>
                  <a:gd name="connsiteY504" fmla="*/ 7940 h 10000"/>
                  <a:gd name="connsiteX505" fmla="*/ 8594 w 10577"/>
                  <a:gd name="connsiteY505" fmla="*/ 7923 h 10000"/>
                  <a:gd name="connsiteX506" fmla="*/ 8594 w 10577"/>
                  <a:gd name="connsiteY506" fmla="*/ 7915 h 10000"/>
                  <a:gd name="connsiteX507" fmla="*/ 8604 w 10577"/>
                  <a:gd name="connsiteY507" fmla="*/ 7915 h 10000"/>
                  <a:gd name="connsiteX508" fmla="*/ 8608 w 10577"/>
                  <a:gd name="connsiteY508" fmla="*/ 7923 h 10000"/>
                  <a:gd name="connsiteX509" fmla="*/ 8645 w 10577"/>
                  <a:gd name="connsiteY509" fmla="*/ 7872 h 10000"/>
                  <a:gd name="connsiteX510" fmla="*/ 8668 w 10577"/>
                  <a:gd name="connsiteY510" fmla="*/ 7846 h 10000"/>
                  <a:gd name="connsiteX511" fmla="*/ 8691 w 10577"/>
                  <a:gd name="connsiteY511" fmla="*/ 7863 h 10000"/>
                  <a:gd name="connsiteX512" fmla="*/ 8691 w 10577"/>
                  <a:gd name="connsiteY512" fmla="*/ 7846 h 10000"/>
                  <a:gd name="connsiteX513" fmla="*/ 8682 w 10577"/>
                  <a:gd name="connsiteY513" fmla="*/ 7838 h 10000"/>
                  <a:gd name="connsiteX514" fmla="*/ 8682 w 10577"/>
                  <a:gd name="connsiteY514" fmla="*/ 7692 h 10000"/>
                  <a:gd name="connsiteX515" fmla="*/ 8728 w 10577"/>
                  <a:gd name="connsiteY515" fmla="*/ 7598 h 10000"/>
                  <a:gd name="connsiteX516" fmla="*/ 8751 w 10577"/>
                  <a:gd name="connsiteY516" fmla="*/ 7573 h 10000"/>
                  <a:gd name="connsiteX517" fmla="*/ 8770 w 10577"/>
                  <a:gd name="connsiteY517" fmla="*/ 7573 h 10000"/>
                  <a:gd name="connsiteX518" fmla="*/ 8779 w 10577"/>
                  <a:gd name="connsiteY518" fmla="*/ 7590 h 10000"/>
                  <a:gd name="connsiteX519" fmla="*/ 8793 w 10577"/>
                  <a:gd name="connsiteY519" fmla="*/ 7590 h 10000"/>
                  <a:gd name="connsiteX520" fmla="*/ 8811 w 10577"/>
                  <a:gd name="connsiteY520" fmla="*/ 7590 h 10000"/>
                  <a:gd name="connsiteX521" fmla="*/ 8825 w 10577"/>
                  <a:gd name="connsiteY521" fmla="*/ 7556 h 10000"/>
                  <a:gd name="connsiteX522" fmla="*/ 8829 w 10577"/>
                  <a:gd name="connsiteY522" fmla="*/ 7530 h 10000"/>
                  <a:gd name="connsiteX523" fmla="*/ 8802 w 10577"/>
                  <a:gd name="connsiteY523" fmla="*/ 7462 h 10000"/>
                  <a:gd name="connsiteX524" fmla="*/ 8797 w 10577"/>
                  <a:gd name="connsiteY524" fmla="*/ 7402 h 10000"/>
                  <a:gd name="connsiteX525" fmla="*/ 8816 w 10577"/>
                  <a:gd name="connsiteY525" fmla="*/ 7291 h 10000"/>
                  <a:gd name="connsiteX526" fmla="*/ 8825 w 10577"/>
                  <a:gd name="connsiteY526" fmla="*/ 7256 h 10000"/>
                  <a:gd name="connsiteX527" fmla="*/ 8843 w 10577"/>
                  <a:gd name="connsiteY527" fmla="*/ 7231 h 10000"/>
                  <a:gd name="connsiteX528" fmla="*/ 8839 w 10577"/>
                  <a:gd name="connsiteY528" fmla="*/ 7205 h 10000"/>
                  <a:gd name="connsiteX529" fmla="*/ 8839 w 10577"/>
                  <a:gd name="connsiteY529" fmla="*/ 7188 h 10000"/>
                  <a:gd name="connsiteX530" fmla="*/ 8876 w 10577"/>
                  <a:gd name="connsiteY530" fmla="*/ 7162 h 10000"/>
                  <a:gd name="connsiteX531" fmla="*/ 8885 w 10577"/>
                  <a:gd name="connsiteY531" fmla="*/ 7154 h 10000"/>
                  <a:gd name="connsiteX532" fmla="*/ 8885 w 10577"/>
                  <a:gd name="connsiteY532" fmla="*/ 7162 h 10000"/>
                  <a:gd name="connsiteX533" fmla="*/ 8876 w 10577"/>
                  <a:gd name="connsiteY533" fmla="*/ 7188 h 10000"/>
                  <a:gd name="connsiteX534" fmla="*/ 8871 w 10577"/>
                  <a:gd name="connsiteY534" fmla="*/ 7205 h 10000"/>
                  <a:gd name="connsiteX535" fmla="*/ 8866 w 10577"/>
                  <a:gd name="connsiteY535" fmla="*/ 7214 h 10000"/>
                  <a:gd name="connsiteX536" fmla="*/ 8876 w 10577"/>
                  <a:gd name="connsiteY536" fmla="*/ 7265 h 10000"/>
                  <a:gd name="connsiteX537" fmla="*/ 8885 w 10577"/>
                  <a:gd name="connsiteY537" fmla="*/ 7282 h 10000"/>
                  <a:gd name="connsiteX538" fmla="*/ 8889 w 10577"/>
                  <a:gd name="connsiteY538" fmla="*/ 7282 h 10000"/>
                  <a:gd name="connsiteX539" fmla="*/ 8903 w 10577"/>
                  <a:gd name="connsiteY539" fmla="*/ 7239 h 10000"/>
                  <a:gd name="connsiteX540" fmla="*/ 8903 w 10577"/>
                  <a:gd name="connsiteY540" fmla="*/ 7214 h 10000"/>
                  <a:gd name="connsiteX541" fmla="*/ 8899 w 10577"/>
                  <a:gd name="connsiteY541" fmla="*/ 7128 h 10000"/>
                  <a:gd name="connsiteX542" fmla="*/ 8889 w 10577"/>
                  <a:gd name="connsiteY542" fmla="*/ 7120 h 10000"/>
                  <a:gd name="connsiteX543" fmla="*/ 8871 w 10577"/>
                  <a:gd name="connsiteY543" fmla="*/ 7120 h 10000"/>
                  <a:gd name="connsiteX544" fmla="*/ 8871 w 10577"/>
                  <a:gd name="connsiteY544" fmla="*/ 7120 h 10000"/>
                  <a:gd name="connsiteX545" fmla="*/ 8871 w 10577"/>
                  <a:gd name="connsiteY545" fmla="*/ 6991 h 10000"/>
                  <a:gd name="connsiteX546" fmla="*/ 8871 w 10577"/>
                  <a:gd name="connsiteY546" fmla="*/ 6966 h 10000"/>
                  <a:gd name="connsiteX547" fmla="*/ 8889 w 10577"/>
                  <a:gd name="connsiteY547" fmla="*/ 6940 h 10000"/>
                  <a:gd name="connsiteX548" fmla="*/ 8903 w 10577"/>
                  <a:gd name="connsiteY548" fmla="*/ 6906 h 10000"/>
                  <a:gd name="connsiteX549" fmla="*/ 8899 w 10577"/>
                  <a:gd name="connsiteY549" fmla="*/ 6880 h 10000"/>
                  <a:gd name="connsiteX550" fmla="*/ 8866 w 10577"/>
                  <a:gd name="connsiteY550" fmla="*/ 6846 h 10000"/>
                  <a:gd name="connsiteX551" fmla="*/ 8853 w 10577"/>
                  <a:gd name="connsiteY551" fmla="*/ 6846 h 10000"/>
                  <a:gd name="connsiteX552" fmla="*/ 8843 w 10577"/>
                  <a:gd name="connsiteY552" fmla="*/ 6880 h 10000"/>
                  <a:gd name="connsiteX553" fmla="*/ 8843 w 10577"/>
                  <a:gd name="connsiteY553" fmla="*/ 6897 h 10000"/>
                  <a:gd name="connsiteX554" fmla="*/ 8829 w 10577"/>
                  <a:gd name="connsiteY554" fmla="*/ 6880 h 10000"/>
                  <a:gd name="connsiteX555" fmla="*/ 8825 w 10577"/>
                  <a:gd name="connsiteY555" fmla="*/ 6872 h 10000"/>
                  <a:gd name="connsiteX556" fmla="*/ 8816 w 10577"/>
                  <a:gd name="connsiteY556" fmla="*/ 6846 h 10000"/>
                  <a:gd name="connsiteX557" fmla="*/ 8816 w 10577"/>
                  <a:gd name="connsiteY557" fmla="*/ 6803 h 10000"/>
                  <a:gd name="connsiteX558" fmla="*/ 8876 w 10577"/>
                  <a:gd name="connsiteY558" fmla="*/ 6598 h 10000"/>
                  <a:gd name="connsiteX559" fmla="*/ 8876 w 10577"/>
                  <a:gd name="connsiteY559" fmla="*/ 6573 h 10000"/>
                  <a:gd name="connsiteX560" fmla="*/ 8885 w 10577"/>
                  <a:gd name="connsiteY560" fmla="*/ 6556 h 10000"/>
                  <a:gd name="connsiteX561" fmla="*/ 8899 w 10577"/>
                  <a:gd name="connsiteY561" fmla="*/ 6573 h 10000"/>
                  <a:gd name="connsiteX562" fmla="*/ 8889 w 10577"/>
                  <a:gd name="connsiteY562" fmla="*/ 6556 h 10000"/>
                  <a:gd name="connsiteX563" fmla="*/ 8889 w 10577"/>
                  <a:gd name="connsiteY563" fmla="*/ 6530 h 10000"/>
                  <a:gd name="connsiteX564" fmla="*/ 8903 w 10577"/>
                  <a:gd name="connsiteY564" fmla="*/ 6521 h 10000"/>
                  <a:gd name="connsiteX565" fmla="*/ 8903 w 10577"/>
                  <a:gd name="connsiteY565" fmla="*/ 6504 h 10000"/>
                  <a:gd name="connsiteX566" fmla="*/ 8903 w 10577"/>
                  <a:gd name="connsiteY566" fmla="*/ 6487 h 10000"/>
                  <a:gd name="connsiteX567" fmla="*/ 8903 w 10577"/>
                  <a:gd name="connsiteY567" fmla="*/ 6462 h 10000"/>
                  <a:gd name="connsiteX568" fmla="*/ 8912 w 10577"/>
                  <a:gd name="connsiteY568" fmla="*/ 6419 h 10000"/>
                  <a:gd name="connsiteX569" fmla="*/ 8917 w 10577"/>
                  <a:gd name="connsiteY569" fmla="*/ 6393 h 10000"/>
                  <a:gd name="connsiteX570" fmla="*/ 8926 w 10577"/>
                  <a:gd name="connsiteY570" fmla="*/ 6385 h 10000"/>
                  <a:gd name="connsiteX571" fmla="*/ 8931 w 10577"/>
                  <a:gd name="connsiteY571" fmla="*/ 6385 h 10000"/>
                  <a:gd name="connsiteX572" fmla="*/ 8949 w 10577"/>
                  <a:gd name="connsiteY572" fmla="*/ 6359 h 10000"/>
                  <a:gd name="connsiteX573" fmla="*/ 8959 w 10577"/>
                  <a:gd name="connsiteY573" fmla="*/ 6368 h 10000"/>
                  <a:gd name="connsiteX574" fmla="*/ 8963 w 10577"/>
                  <a:gd name="connsiteY574" fmla="*/ 6385 h 10000"/>
                  <a:gd name="connsiteX575" fmla="*/ 8972 w 10577"/>
                  <a:gd name="connsiteY575" fmla="*/ 6359 h 10000"/>
                  <a:gd name="connsiteX576" fmla="*/ 8991 w 10577"/>
                  <a:gd name="connsiteY576" fmla="*/ 6350 h 10000"/>
                  <a:gd name="connsiteX577" fmla="*/ 9000 w 10577"/>
                  <a:gd name="connsiteY577" fmla="*/ 6368 h 10000"/>
                  <a:gd name="connsiteX578" fmla="*/ 9005 w 10577"/>
                  <a:gd name="connsiteY578" fmla="*/ 6393 h 10000"/>
                  <a:gd name="connsiteX579" fmla="*/ 9018 w 10577"/>
                  <a:gd name="connsiteY579" fmla="*/ 6393 h 10000"/>
                  <a:gd name="connsiteX580" fmla="*/ 9023 w 10577"/>
                  <a:gd name="connsiteY580" fmla="*/ 6359 h 10000"/>
                  <a:gd name="connsiteX581" fmla="*/ 9023 w 10577"/>
                  <a:gd name="connsiteY581" fmla="*/ 6333 h 10000"/>
                  <a:gd name="connsiteX582" fmla="*/ 9037 w 10577"/>
                  <a:gd name="connsiteY582" fmla="*/ 6308 h 10000"/>
                  <a:gd name="connsiteX583" fmla="*/ 9074 w 10577"/>
                  <a:gd name="connsiteY583" fmla="*/ 6274 h 10000"/>
                  <a:gd name="connsiteX584" fmla="*/ 9092 w 10577"/>
                  <a:gd name="connsiteY584" fmla="*/ 6222 h 10000"/>
                  <a:gd name="connsiteX585" fmla="*/ 9097 w 10577"/>
                  <a:gd name="connsiteY585" fmla="*/ 6231 h 10000"/>
                  <a:gd name="connsiteX586" fmla="*/ 9097 w 10577"/>
                  <a:gd name="connsiteY586" fmla="*/ 6248 h 10000"/>
                  <a:gd name="connsiteX587" fmla="*/ 9097 w 10577"/>
                  <a:gd name="connsiteY587" fmla="*/ 6274 h 10000"/>
                  <a:gd name="connsiteX588" fmla="*/ 9097 w 10577"/>
                  <a:gd name="connsiteY588" fmla="*/ 6308 h 10000"/>
                  <a:gd name="connsiteX589" fmla="*/ 9092 w 10577"/>
                  <a:gd name="connsiteY589" fmla="*/ 6368 h 10000"/>
                  <a:gd name="connsiteX590" fmla="*/ 9092 w 10577"/>
                  <a:gd name="connsiteY590" fmla="*/ 6385 h 10000"/>
                  <a:gd name="connsiteX591" fmla="*/ 9092 w 10577"/>
                  <a:gd name="connsiteY591" fmla="*/ 6393 h 10000"/>
                  <a:gd name="connsiteX592" fmla="*/ 9092 w 10577"/>
                  <a:gd name="connsiteY592" fmla="*/ 6393 h 10000"/>
                  <a:gd name="connsiteX593" fmla="*/ 9143 w 10577"/>
                  <a:gd name="connsiteY593" fmla="*/ 6299 h 10000"/>
                  <a:gd name="connsiteX594" fmla="*/ 9143 w 10577"/>
                  <a:gd name="connsiteY594" fmla="*/ 6282 h 10000"/>
                  <a:gd name="connsiteX595" fmla="*/ 9143 w 10577"/>
                  <a:gd name="connsiteY595" fmla="*/ 6256 h 10000"/>
                  <a:gd name="connsiteX596" fmla="*/ 9143 w 10577"/>
                  <a:gd name="connsiteY596" fmla="*/ 6256 h 10000"/>
                  <a:gd name="connsiteX597" fmla="*/ 9157 w 10577"/>
                  <a:gd name="connsiteY597" fmla="*/ 6274 h 10000"/>
                  <a:gd name="connsiteX598" fmla="*/ 9166 w 10577"/>
                  <a:gd name="connsiteY598" fmla="*/ 6248 h 10000"/>
                  <a:gd name="connsiteX599" fmla="*/ 9180 w 10577"/>
                  <a:gd name="connsiteY599" fmla="*/ 6248 h 10000"/>
                  <a:gd name="connsiteX600" fmla="*/ 9198 w 10577"/>
                  <a:gd name="connsiteY600" fmla="*/ 6222 h 10000"/>
                  <a:gd name="connsiteX601" fmla="*/ 9212 w 10577"/>
                  <a:gd name="connsiteY601" fmla="*/ 6222 h 10000"/>
                  <a:gd name="connsiteX602" fmla="*/ 9226 w 10577"/>
                  <a:gd name="connsiteY602" fmla="*/ 6197 h 10000"/>
                  <a:gd name="connsiteX603" fmla="*/ 9230 w 10577"/>
                  <a:gd name="connsiteY603" fmla="*/ 6214 h 10000"/>
                  <a:gd name="connsiteX604" fmla="*/ 9272 w 10577"/>
                  <a:gd name="connsiteY604" fmla="*/ 6214 h 10000"/>
                  <a:gd name="connsiteX605" fmla="*/ 9304 w 10577"/>
                  <a:gd name="connsiteY605" fmla="*/ 6231 h 10000"/>
                  <a:gd name="connsiteX606" fmla="*/ 9318 w 10577"/>
                  <a:gd name="connsiteY606" fmla="*/ 6248 h 10000"/>
                  <a:gd name="connsiteX607" fmla="*/ 9327 w 10577"/>
                  <a:gd name="connsiteY607" fmla="*/ 6282 h 10000"/>
                  <a:gd name="connsiteX608" fmla="*/ 9355 w 10577"/>
                  <a:gd name="connsiteY608" fmla="*/ 6350 h 10000"/>
                  <a:gd name="connsiteX609" fmla="*/ 9355 w 10577"/>
                  <a:gd name="connsiteY609" fmla="*/ 6359 h 10000"/>
                  <a:gd name="connsiteX610" fmla="*/ 9364 w 10577"/>
                  <a:gd name="connsiteY610" fmla="*/ 6368 h 10000"/>
                  <a:gd name="connsiteX611" fmla="*/ 9373 w 10577"/>
                  <a:gd name="connsiteY611" fmla="*/ 6359 h 10000"/>
                  <a:gd name="connsiteX612" fmla="*/ 9373 w 10577"/>
                  <a:gd name="connsiteY612" fmla="*/ 6325 h 10000"/>
                  <a:gd name="connsiteX613" fmla="*/ 9387 w 10577"/>
                  <a:gd name="connsiteY613" fmla="*/ 6256 h 10000"/>
                  <a:gd name="connsiteX614" fmla="*/ 9387 w 10577"/>
                  <a:gd name="connsiteY614" fmla="*/ 6248 h 10000"/>
                  <a:gd name="connsiteX615" fmla="*/ 9378 w 10577"/>
                  <a:gd name="connsiteY615" fmla="*/ 6248 h 10000"/>
                  <a:gd name="connsiteX616" fmla="*/ 9406 w 10577"/>
                  <a:gd name="connsiteY616" fmla="*/ 6222 h 10000"/>
                  <a:gd name="connsiteX617" fmla="*/ 9415 w 10577"/>
                  <a:gd name="connsiteY617" fmla="*/ 6222 h 10000"/>
                  <a:gd name="connsiteX618" fmla="*/ 9415 w 10577"/>
                  <a:gd name="connsiteY618" fmla="*/ 6197 h 10000"/>
                  <a:gd name="connsiteX619" fmla="*/ 9419 w 10577"/>
                  <a:gd name="connsiteY619" fmla="*/ 6214 h 10000"/>
                  <a:gd name="connsiteX620" fmla="*/ 9424 w 10577"/>
                  <a:gd name="connsiteY620" fmla="*/ 6214 h 10000"/>
                  <a:gd name="connsiteX621" fmla="*/ 9447 w 10577"/>
                  <a:gd name="connsiteY621" fmla="*/ 6171 h 10000"/>
                  <a:gd name="connsiteX622" fmla="*/ 9452 w 10577"/>
                  <a:gd name="connsiteY622" fmla="*/ 6171 h 10000"/>
                  <a:gd name="connsiteX623" fmla="*/ 9452 w 10577"/>
                  <a:gd name="connsiteY623" fmla="*/ 6162 h 10000"/>
                  <a:gd name="connsiteX624" fmla="*/ 9461 w 10577"/>
                  <a:gd name="connsiteY624" fmla="*/ 6137 h 10000"/>
                  <a:gd name="connsiteX625" fmla="*/ 9475 w 10577"/>
                  <a:gd name="connsiteY625" fmla="*/ 6137 h 10000"/>
                  <a:gd name="connsiteX626" fmla="*/ 9475 w 10577"/>
                  <a:gd name="connsiteY626" fmla="*/ 6137 h 10000"/>
                  <a:gd name="connsiteX627" fmla="*/ 9479 w 10577"/>
                  <a:gd name="connsiteY627" fmla="*/ 6120 h 10000"/>
                  <a:gd name="connsiteX628" fmla="*/ 9488 w 10577"/>
                  <a:gd name="connsiteY628" fmla="*/ 6120 h 10000"/>
                  <a:gd name="connsiteX629" fmla="*/ 9488 w 10577"/>
                  <a:gd name="connsiteY629" fmla="*/ 6111 h 10000"/>
                  <a:gd name="connsiteX630" fmla="*/ 9479 w 10577"/>
                  <a:gd name="connsiteY630" fmla="*/ 6103 h 10000"/>
                  <a:gd name="connsiteX631" fmla="*/ 9479 w 10577"/>
                  <a:gd name="connsiteY631" fmla="*/ 6085 h 10000"/>
                  <a:gd name="connsiteX632" fmla="*/ 9488 w 10577"/>
                  <a:gd name="connsiteY632" fmla="*/ 6103 h 10000"/>
                  <a:gd name="connsiteX633" fmla="*/ 9493 w 10577"/>
                  <a:gd name="connsiteY633" fmla="*/ 6111 h 10000"/>
                  <a:gd name="connsiteX634" fmla="*/ 9498 w 10577"/>
                  <a:gd name="connsiteY634" fmla="*/ 6103 h 10000"/>
                  <a:gd name="connsiteX635" fmla="*/ 9507 w 10577"/>
                  <a:gd name="connsiteY635" fmla="*/ 6077 h 10000"/>
                  <a:gd name="connsiteX636" fmla="*/ 9498 w 10577"/>
                  <a:gd name="connsiteY636" fmla="*/ 6060 h 10000"/>
                  <a:gd name="connsiteX637" fmla="*/ 9512 w 10577"/>
                  <a:gd name="connsiteY637" fmla="*/ 6060 h 10000"/>
                  <a:gd name="connsiteX638" fmla="*/ 9525 w 10577"/>
                  <a:gd name="connsiteY638" fmla="*/ 6034 h 10000"/>
                  <a:gd name="connsiteX639" fmla="*/ 9535 w 10577"/>
                  <a:gd name="connsiteY639" fmla="*/ 6034 h 10000"/>
                  <a:gd name="connsiteX640" fmla="*/ 9535 w 10577"/>
                  <a:gd name="connsiteY640" fmla="*/ 6026 h 10000"/>
                  <a:gd name="connsiteX641" fmla="*/ 9525 w 10577"/>
                  <a:gd name="connsiteY641" fmla="*/ 6009 h 10000"/>
                  <a:gd name="connsiteX642" fmla="*/ 9535 w 10577"/>
                  <a:gd name="connsiteY642" fmla="*/ 6000 h 10000"/>
                  <a:gd name="connsiteX643" fmla="*/ 9539 w 10577"/>
                  <a:gd name="connsiteY643" fmla="*/ 6009 h 10000"/>
                  <a:gd name="connsiteX644" fmla="*/ 9548 w 10577"/>
                  <a:gd name="connsiteY644" fmla="*/ 6009 h 10000"/>
                  <a:gd name="connsiteX645" fmla="*/ 9553 w 10577"/>
                  <a:gd name="connsiteY645" fmla="*/ 6000 h 10000"/>
                  <a:gd name="connsiteX646" fmla="*/ 9562 w 10577"/>
                  <a:gd name="connsiteY646" fmla="*/ 5983 h 10000"/>
                  <a:gd name="connsiteX647" fmla="*/ 9562 w 10577"/>
                  <a:gd name="connsiteY647" fmla="*/ 5974 h 10000"/>
                  <a:gd name="connsiteX648" fmla="*/ 9567 w 10577"/>
                  <a:gd name="connsiteY648" fmla="*/ 5974 h 10000"/>
                  <a:gd name="connsiteX649" fmla="*/ 9567 w 10577"/>
                  <a:gd name="connsiteY649" fmla="*/ 5966 h 10000"/>
                  <a:gd name="connsiteX650" fmla="*/ 9567 w 10577"/>
                  <a:gd name="connsiteY650" fmla="*/ 5940 h 10000"/>
                  <a:gd name="connsiteX651" fmla="*/ 9571 w 10577"/>
                  <a:gd name="connsiteY651" fmla="*/ 5915 h 10000"/>
                  <a:gd name="connsiteX652" fmla="*/ 9581 w 10577"/>
                  <a:gd name="connsiteY652" fmla="*/ 5923 h 10000"/>
                  <a:gd name="connsiteX653" fmla="*/ 9585 w 10577"/>
                  <a:gd name="connsiteY653" fmla="*/ 5940 h 10000"/>
                  <a:gd name="connsiteX654" fmla="*/ 9594 w 10577"/>
                  <a:gd name="connsiteY654" fmla="*/ 5949 h 10000"/>
                  <a:gd name="connsiteX655" fmla="*/ 9599 w 10577"/>
                  <a:gd name="connsiteY655" fmla="*/ 5940 h 10000"/>
                  <a:gd name="connsiteX656" fmla="*/ 9613 w 10577"/>
                  <a:gd name="connsiteY656" fmla="*/ 5915 h 10000"/>
                  <a:gd name="connsiteX657" fmla="*/ 9645 w 10577"/>
                  <a:gd name="connsiteY657" fmla="*/ 5889 h 10000"/>
                  <a:gd name="connsiteX658" fmla="*/ 9654 w 10577"/>
                  <a:gd name="connsiteY658" fmla="*/ 5872 h 10000"/>
                  <a:gd name="connsiteX659" fmla="*/ 9673 w 10577"/>
                  <a:gd name="connsiteY659" fmla="*/ 5863 h 10000"/>
                  <a:gd name="connsiteX660" fmla="*/ 9682 w 10577"/>
                  <a:gd name="connsiteY660" fmla="*/ 5838 h 10000"/>
                  <a:gd name="connsiteX661" fmla="*/ 9682 w 10577"/>
                  <a:gd name="connsiteY661" fmla="*/ 5829 h 10000"/>
                  <a:gd name="connsiteX662" fmla="*/ 9682 w 10577"/>
                  <a:gd name="connsiteY662" fmla="*/ 5812 h 10000"/>
                  <a:gd name="connsiteX663" fmla="*/ 9687 w 10577"/>
                  <a:gd name="connsiteY663" fmla="*/ 5812 h 10000"/>
                  <a:gd name="connsiteX664" fmla="*/ 9687 w 10577"/>
                  <a:gd name="connsiteY664" fmla="*/ 5829 h 10000"/>
                  <a:gd name="connsiteX665" fmla="*/ 9687 w 10577"/>
                  <a:gd name="connsiteY665" fmla="*/ 5829 h 10000"/>
                  <a:gd name="connsiteX666" fmla="*/ 9719 w 10577"/>
                  <a:gd name="connsiteY666" fmla="*/ 5803 h 10000"/>
                  <a:gd name="connsiteX667" fmla="*/ 9728 w 10577"/>
                  <a:gd name="connsiteY667" fmla="*/ 5803 h 10000"/>
                  <a:gd name="connsiteX668" fmla="*/ 9779 w 10577"/>
                  <a:gd name="connsiteY668" fmla="*/ 5726 h 10000"/>
                  <a:gd name="connsiteX669" fmla="*/ 9816 w 10577"/>
                  <a:gd name="connsiteY669" fmla="*/ 5709 h 10000"/>
                  <a:gd name="connsiteX670" fmla="*/ 9820 w 10577"/>
                  <a:gd name="connsiteY670" fmla="*/ 5701 h 10000"/>
                  <a:gd name="connsiteX671" fmla="*/ 9816 w 10577"/>
                  <a:gd name="connsiteY671" fmla="*/ 5692 h 10000"/>
                  <a:gd name="connsiteX672" fmla="*/ 9816 w 10577"/>
                  <a:gd name="connsiteY672" fmla="*/ 5692 h 10000"/>
                  <a:gd name="connsiteX673" fmla="*/ 9802 w 10577"/>
                  <a:gd name="connsiteY673" fmla="*/ 5624 h 10000"/>
                  <a:gd name="connsiteX674" fmla="*/ 9806 w 10577"/>
                  <a:gd name="connsiteY674" fmla="*/ 5624 h 10000"/>
                  <a:gd name="connsiteX675" fmla="*/ 9820 w 10577"/>
                  <a:gd name="connsiteY675" fmla="*/ 5675 h 10000"/>
                  <a:gd name="connsiteX676" fmla="*/ 9829 w 10577"/>
                  <a:gd name="connsiteY676" fmla="*/ 5675 h 10000"/>
                  <a:gd name="connsiteX677" fmla="*/ 9829 w 10577"/>
                  <a:gd name="connsiteY677" fmla="*/ 5692 h 10000"/>
                  <a:gd name="connsiteX678" fmla="*/ 9829 w 10577"/>
                  <a:gd name="connsiteY678" fmla="*/ 5701 h 10000"/>
                  <a:gd name="connsiteX679" fmla="*/ 9839 w 10577"/>
                  <a:gd name="connsiteY679" fmla="*/ 5701 h 10000"/>
                  <a:gd name="connsiteX680" fmla="*/ 9839 w 10577"/>
                  <a:gd name="connsiteY680" fmla="*/ 5692 h 10000"/>
                  <a:gd name="connsiteX681" fmla="*/ 9839 w 10577"/>
                  <a:gd name="connsiteY681" fmla="*/ 5675 h 10000"/>
                  <a:gd name="connsiteX682" fmla="*/ 9848 w 10577"/>
                  <a:gd name="connsiteY682" fmla="*/ 5675 h 10000"/>
                  <a:gd name="connsiteX683" fmla="*/ 9848 w 10577"/>
                  <a:gd name="connsiteY683" fmla="*/ 5692 h 10000"/>
                  <a:gd name="connsiteX684" fmla="*/ 9853 w 10577"/>
                  <a:gd name="connsiteY684" fmla="*/ 5701 h 10000"/>
                  <a:gd name="connsiteX685" fmla="*/ 9880 w 10577"/>
                  <a:gd name="connsiteY685" fmla="*/ 5709 h 10000"/>
                  <a:gd name="connsiteX686" fmla="*/ 9912 w 10577"/>
                  <a:gd name="connsiteY686" fmla="*/ 5752 h 10000"/>
                  <a:gd name="connsiteX687" fmla="*/ 9926 w 10577"/>
                  <a:gd name="connsiteY687" fmla="*/ 5761 h 10000"/>
                  <a:gd name="connsiteX688" fmla="*/ 9935 w 10577"/>
                  <a:gd name="connsiteY688" fmla="*/ 5761 h 10000"/>
                  <a:gd name="connsiteX689" fmla="*/ 9940 w 10577"/>
                  <a:gd name="connsiteY689" fmla="*/ 5735 h 10000"/>
                  <a:gd name="connsiteX690" fmla="*/ 9949 w 10577"/>
                  <a:gd name="connsiteY690" fmla="*/ 5735 h 10000"/>
                  <a:gd name="connsiteX691" fmla="*/ 9968 w 10577"/>
                  <a:gd name="connsiteY691" fmla="*/ 5692 h 10000"/>
                  <a:gd name="connsiteX692" fmla="*/ 9968 w 10577"/>
                  <a:gd name="connsiteY692" fmla="*/ 5650 h 10000"/>
                  <a:gd name="connsiteX693" fmla="*/ 9968 w 10577"/>
                  <a:gd name="connsiteY693" fmla="*/ 5624 h 10000"/>
                  <a:gd name="connsiteX694" fmla="*/ 9935 w 10577"/>
                  <a:gd name="connsiteY694" fmla="*/ 5598 h 10000"/>
                  <a:gd name="connsiteX695" fmla="*/ 9935 w 10577"/>
                  <a:gd name="connsiteY695" fmla="*/ 5590 h 10000"/>
                  <a:gd name="connsiteX696" fmla="*/ 9935 w 10577"/>
                  <a:gd name="connsiteY696" fmla="*/ 5573 h 10000"/>
                  <a:gd name="connsiteX697" fmla="*/ 9935 w 10577"/>
                  <a:gd name="connsiteY697" fmla="*/ 5573 h 10000"/>
                  <a:gd name="connsiteX698" fmla="*/ 9940 w 10577"/>
                  <a:gd name="connsiteY698" fmla="*/ 5573 h 10000"/>
                  <a:gd name="connsiteX699" fmla="*/ 9954 w 10577"/>
                  <a:gd name="connsiteY699" fmla="*/ 5573 h 10000"/>
                  <a:gd name="connsiteX700" fmla="*/ 9963 w 10577"/>
                  <a:gd name="connsiteY700" fmla="*/ 5564 h 10000"/>
                  <a:gd name="connsiteX701" fmla="*/ 9954 w 10577"/>
                  <a:gd name="connsiteY701" fmla="*/ 5530 h 10000"/>
                  <a:gd name="connsiteX702" fmla="*/ 9949 w 10577"/>
                  <a:gd name="connsiteY702" fmla="*/ 5530 h 10000"/>
                  <a:gd name="connsiteX703" fmla="*/ 9926 w 10577"/>
                  <a:gd name="connsiteY703" fmla="*/ 5479 h 10000"/>
                  <a:gd name="connsiteX704" fmla="*/ 9912 w 10577"/>
                  <a:gd name="connsiteY704" fmla="*/ 5325 h 10000"/>
                  <a:gd name="connsiteX705" fmla="*/ 9903 w 10577"/>
                  <a:gd name="connsiteY705" fmla="*/ 5342 h 10000"/>
                  <a:gd name="connsiteX706" fmla="*/ 9889 w 10577"/>
                  <a:gd name="connsiteY706" fmla="*/ 5316 h 10000"/>
                  <a:gd name="connsiteX707" fmla="*/ 9889 w 10577"/>
                  <a:gd name="connsiteY707" fmla="*/ 5291 h 10000"/>
                  <a:gd name="connsiteX708" fmla="*/ 9903 w 10577"/>
                  <a:gd name="connsiteY708" fmla="*/ 5291 h 10000"/>
                  <a:gd name="connsiteX709" fmla="*/ 9903 w 10577"/>
                  <a:gd name="connsiteY709" fmla="*/ 5291 h 10000"/>
                  <a:gd name="connsiteX710" fmla="*/ 9894 w 10577"/>
                  <a:gd name="connsiteY710" fmla="*/ 5214 h 10000"/>
                  <a:gd name="connsiteX711" fmla="*/ 9880 w 10577"/>
                  <a:gd name="connsiteY711" fmla="*/ 5239 h 10000"/>
                  <a:gd name="connsiteX712" fmla="*/ 9876 w 10577"/>
                  <a:gd name="connsiteY712" fmla="*/ 5256 h 10000"/>
                  <a:gd name="connsiteX713" fmla="*/ 9862 w 10577"/>
                  <a:gd name="connsiteY713" fmla="*/ 5239 h 10000"/>
                  <a:gd name="connsiteX714" fmla="*/ 9853 w 10577"/>
                  <a:gd name="connsiteY714" fmla="*/ 5214 h 10000"/>
                  <a:gd name="connsiteX715" fmla="*/ 9839 w 10577"/>
                  <a:gd name="connsiteY715" fmla="*/ 5214 h 10000"/>
                  <a:gd name="connsiteX716" fmla="*/ 9834 w 10577"/>
                  <a:gd name="connsiteY716" fmla="*/ 5188 h 10000"/>
                  <a:gd name="connsiteX717" fmla="*/ 9834 w 10577"/>
                  <a:gd name="connsiteY717" fmla="*/ 5103 h 10000"/>
                  <a:gd name="connsiteX718" fmla="*/ 9839 w 10577"/>
                  <a:gd name="connsiteY718" fmla="*/ 5094 h 10000"/>
                  <a:gd name="connsiteX719" fmla="*/ 9853 w 10577"/>
                  <a:gd name="connsiteY719" fmla="*/ 5103 h 10000"/>
                  <a:gd name="connsiteX720" fmla="*/ 9876 w 10577"/>
                  <a:gd name="connsiteY720" fmla="*/ 5128 h 10000"/>
                  <a:gd name="connsiteX721" fmla="*/ 9889 w 10577"/>
                  <a:gd name="connsiteY721" fmla="*/ 5103 h 10000"/>
                  <a:gd name="connsiteX722" fmla="*/ 9880 w 10577"/>
                  <a:gd name="connsiteY722" fmla="*/ 5120 h 10000"/>
                  <a:gd name="connsiteX723" fmla="*/ 9889 w 10577"/>
                  <a:gd name="connsiteY723" fmla="*/ 5128 h 10000"/>
                  <a:gd name="connsiteX724" fmla="*/ 9912 w 10577"/>
                  <a:gd name="connsiteY724" fmla="*/ 5128 h 10000"/>
                  <a:gd name="connsiteX725" fmla="*/ 9908 w 10577"/>
                  <a:gd name="connsiteY725" fmla="*/ 5145 h 10000"/>
                  <a:gd name="connsiteX726" fmla="*/ 9908 w 10577"/>
                  <a:gd name="connsiteY726" fmla="*/ 5154 h 10000"/>
                  <a:gd name="connsiteX727" fmla="*/ 9922 w 10577"/>
                  <a:gd name="connsiteY727" fmla="*/ 5128 h 10000"/>
                  <a:gd name="connsiteX728" fmla="*/ 9935 w 10577"/>
                  <a:gd name="connsiteY728" fmla="*/ 5103 h 10000"/>
                  <a:gd name="connsiteX729" fmla="*/ 9968 w 10577"/>
                  <a:gd name="connsiteY729" fmla="*/ 5077 h 10000"/>
                  <a:gd name="connsiteX730" fmla="*/ 10000 w 10577"/>
                  <a:gd name="connsiteY730" fmla="*/ 5017 h 10000"/>
                  <a:gd name="connsiteX731" fmla="*/ 10561 w 10577"/>
                  <a:gd name="connsiteY731" fmla="*/ 4442 h 10000"/>
                  <a:gd name="connsiteX732" fmla="*/ 10354 w 10577"/>
                  <a:gd name="connsiteY732" fmla="*/ 4302 h 10000"/>
                  <a:gd name="connsiteX733" fmla="*/ 9912 w 10577"/>
                  <a:gd name="connsiteY733" fmla="*/ 3675 h 10000"/>
                  <a:gd name="connsiteX734" fmla="*/ 9903 w 10577"/>
                  <a:gd name="connsiteY734" fmla="*/ 3667 h 10000"/>
                  <a:gd name="connsiteX735" fmla="*/ 9894 w 10577"/>
                  <a:gd name="connsiteY735" fmla="*/ 3641 h 10000"/>
                  <a:gd name="connsiteX736" fmla="*/ 9889 w 10577"/>
                  <a:gd name="connsiteY736" fmla="*/ 3650 h 10000"/>
                  <a:gd name="connsiteX737" fmla="*/ 9848 w 10577"/>
                  <a:gd name="connsiteY737" fmla="*/ 3598 h 10000"/>
                  <a:gd name="connsiteX738" fmla="*/ 9829 w 10577"/>
                  <a:gd name="connsiteY738" fmla="*/ 3581 h 10000"/>
                  <a:gd name="connsiteX739" fmla="*/ 9820 w 10577"/>
                  <a:gd name="connsiteY739" fmla="*/ 3581 h 10000"/>
                  <a:gd name="connsiteX740" fmla="*/ 9793 w 10577"/>
                  <a:gd name="connsiteY740" fmla="*/ 3556 h 10000"/>
                  <a:gd name="connsiteX741" fmla="*/ 9779 w 10577"/>
                  <a:gd name="connsiteY741" fmla="*/ 3556 h 10000"/>
                  <a:gd name="connsiteX742" fmla="*/ 9747 w 10577"/>
                  <a:gd name="connsiteY742" fmla="*/ 3487 h 10000"/>
                  <a:gd name="connsiteX743" fmla="*/ 9668 w 10577"/>
                  <a:gd name="connsiteY743" fmla="*/ 3479 h 10000"/>
                  <a:gd name="connsiteX744" fmla="*/ 9659 w 10577"/>
                  <a:gd name="connsiteY744" fmla="*/ 3487 h 10000"/>
                  <a:gd name="connsiteX745" fmla="*/ 9645 w 10577"/>
                  <a:gd name="connsiteY745" fmla="*/ 3504 h 10000"/>
                  <a:gd name="connsiteX746" fmla="*/ 9631 w 10577"/>
                  <a:gd name="connsiteY746" fmla="*/ 3487 h 10000"/>
                  <a:gd name="connsiteX747" fmla="*/ 9613 w 10577"/>
                  <a:gd name="connsiteY747" fmla="*/ 3479 h 10000"/>
                  <a:gd name="connsiteX748" fmla="*/ 9599 w 10577"/>
                  <a:gd name="connsiteY748" fmla="*/ 3479 h 10000"/>
                  <a:gd name="connsiteX749" fmla="*/ 9571 w 10577"/>
                  <a:gd name="connsiteY749" fmla="*/ 3479 h 10000"/>
                  <a:gd name="connsiteX750" fmla="*/ 9562 w 10577"/>
                  <a:gd name="connsiteY750" fmla="*/ 3487 h 10000"/>
                  <a:gd name="connsiteX751" fmla="*/ 9539 w 10577"/>
                  <a:gd name="connsiteY751" fmla="*/ 3487 h 10000"/>
                  <a:gd name="connsiteX752" fmla="*/ 9507 w 10577"/>
                  <a:gd name="connsiteY752" fmla="*/ 3453 h 10000"/>
                  <a:gd name="connsiteX753" fmla="*/ 9498 w 10577"/>
                  <a:gd name="connsiteY753" fmla="*/ 3453 h 10000"/>
                  <a:gd name="connsiteX754" fmla="*/ 9387 w 10577"/>
                  <a:gd name="connsiteY754" fmla="*/ 3419 h 10000"/>
                  <a:gd name="connsiteX755" fmla="*/ 9373 w 10577"/>
                  <a:gd name="connsiteY755" fmla="*/ 3427 h 10000"/>
                  <a:gd name="connsiteX756" fmla="*/ 9373 w 10577"/>
                  <a:gd name="connsiteY756" fmla="*/ 3462 h 10000"/>
                  <a:gd name="connsiteX757" fmla="*/ 9378 w 10577"/>
                  <a:gd name="connsiteY757" fmla="*/ 3479 h 10000"/>
                  <a:gd name="connsiteX758" fmla="*/ 9378 w 10577"/>
                  <a:gd name="connsiteY758" fmla="*/ 3530 h 10000"/>
                  <a:gd name="connsiteX759" fmla="*/ 9355 w 10577"/>
                  <a:gd name="connsiteY759" fmla="*/ 3538 h 10000"/>
                  <a:gd name="connsiteX760" fmla="*/ 9355 w 10577"/>
                  <a:gd name="connsiteY760" fmla="*/ 3581 h 10000"/>
                  <a:gd name="connsiteX761" fmla="*/ 9387 w 10577"/>
                  <a:gd name="connsiteY761" fmla="*/ 3590 h 10000"/>
                  <a:gd name="connsiteX762" fmla="*/ 9401 w 10577"/>
                  <a:gd name="connsiteY762" fmla="*/ 3667 h 10000"/>
                  <a:gd name="connsiteX763" fmla="*/ 9406 w 10577"/>
                  <a:gd name="connsiteY763" fmla="*/ 3675 h 10000"/>
                  <a:gd name="connsiteX764" fmla="*/ 9406 w 10577"/>
                  <a:gd name="connsiteY764" fmla="*/ 3701 h 10000"/>
                  <a:gd name="connsiteX765" fmla="*/ 9415 w 10577"/>
                  <a:gd name="connsiteY765" fmla="*/ 3752 h 10000"/>
                  <a:gd name="connsiteX766" fmla="*/ 9373 w 10577"/>
                  <a:gd name="connsiteY766" fmla="*/ 3838 h 10000"/>
                  <a:gd name="connsiteX767" fmla="*/ 9355 w 10577"/>
                  <a:gd name="connsiteY767" fmla="*/ 3863 h 10000"/>
                  <a:gd name="connsiteX768" fmla="*/ 9327 w 10577"/>
                  <a:gd name="connsiteY768" fmla="*/ 3863 h 10000"/>
                  <a:gd name="connsiteX769" fmla="*/ 9313 w 10577"/>
                  <a:gd name="connsiteY769" fmla="*/ 3846 h 10000"/>
                  <a:gd name="connsiteX770" fmla="*/ 9300 w 10577"/>
                  <a:gd name="connsiteY770" fmla="*/ 3778 h 10000"/>
                  <a:gd name="connsiteX771" fmla="*/ 9281 w 10577"/>
                  <a:gd name="connsiteY771" fmla="*/ 3752 h 10000"/>
                  <a:gd name="connsiteX772" fmla="*/ 9281 w 10577"/>
                  <a:gd name="connsiteY772" fmla="*/ 3735 h 10000"/>
                  <a:gd name="connsiteX773" fmla="*/ 9267 w 10577"/>
                  <a:gd name="connsiteY773" fmla="*/ 3726 h 10000"/>
                  <a:gd name="connsiteX774" fmla="*/ 9240 w 10577"/>
                  <a:gd name="connsiteY774" fmla="*/ 3726 h 10000"/>
                  <a:gd name="connsiteX775" fmla="*/ 9230 w 10577"/>
                  <a:gd name="connsiteY775" fmla="*/ 3718 h 10000"/>
                  <a:gd name="connsiteX776" fmla="*/ 9226 w 10577"/>
                  <a:gd name="connsiteY776" fmla="*/ 3590 h 10000"/>
                  <a:gd name="connsiteX777" fmla="*/ 9207 w 10577"/>
                  <a:gd name="connsiteY777" fmla="*/ 3581 h 10000"/>
                  <a:gd name="connsiteX778" fmla="*/ 9207 w 10577"/>
                  <a:gd name="connsiteY778" fmla="*/ 3556 h 10000"/>
                  <a:gd name="connsiteX779" fmla="*/ 9217 w 10577"/>
                  <a:gd name="connsiteY779" fmla="*/ 3538 h 10000"/>
                  <a:gd name="connsiteX780" fmla="*/ 9212 w 10577"/>
                  <a:gd name="connsiteY780" fmla="*/ 3538 h 10000"/>
                  <a:gd name="connsiteX781" fmla="*/ 9198 w 10577"/>
                  <a:gd name="connsiteY781" fmla="*/ 3513 h 10000"/>
                  <a:gd name="connsiteX782" fmla="*/ 9194 w 10577"/>
                  <a:gd name="connsiteY782" fmla="*/ 3530 h 10000"/>
                  <a:gd name="connsiteX783" fmla="*/ 9143 w 10577"/>
                  <a:gd name="connsiteY783" fmla="*/ 3615 h 10000"/>
                  <a:gd name="connsiteX784" fmla="*/ 9138 w 10577"/>
                  <a:gd name="connsiteY784" fmla="*/ 3615 h 10000"/>
                  <a:gd name="connsiteX785" fmla="*/ 9134 w 10577"/>
                  <a:gd name="connsiteY785" fmla="*/ 3615 h 10000"/>
                  <a:gd name="connsiteX786" fmla="*/ 9106 w 10577"/>
                  <a:gd name="connsiteY786" fmla="*/ 3615 h 10000"/>
                  <a:gd name="connsiteX787" fmla="*/ 9078 w 10577"/>
                  <a:gd name="connsiteY787" fmla="*/ 3590 h 10000"/>
                  <a:gd name="connsiteX788" fmla="*/ 9037 w 10577"/>
                  <a:gd name="connsiteY788" fmla="*/ 3581 h 10000"/>
                  <a:gd name="connsiteX789" fmla="*/ 9023 w 10577"/>
                  <a:gd name="connsiteY789" fmla="*/ 3590 h 10000"/>
                  <a:gd name="connsiteX790" fmla="*/ 9018 w 10577"/>
                  <a:gd name="connsiteY790" fmla="*/ 3590 h 10000"/>
                  <a:gd name="connsiteX791" fmla="*/ 9018 w 10577"/>
                  <a:gd name="connsiteY791" fmla="*/ 3590 h 10000"/>
                  <a:gd name="connsiteX792" fmla="*/ 8991 w 10577"/>
                  <a:gd name="connsiteY792" fmla="*/ 3590 h 10000"/>
                  <a:gd name="connsiteX793" fmla="*/ 8972 w 10577"/>
                  <a:gd name="connsiteY793" fmla="*/ 3581 h 10000"/>
                  <a:gd name="connsiteX794" fmla="*/ 8959 w 10577"/>
                  <a:gd name="connsiteY794" fmla="*/ 3513 h 10000"/>
                  <a:gd name="connsiteX795" fmla="*/ 8931 w 10577"/>
                  <a:gd name="connsiteY795" fmla="*/ 3538 h 10000"/>
                  <a:gd name="connsiteX796" fmla="*/ 8889 w 10577"/>
                  <a:gd name="connsiteY796" fmla="*/ 3538 h 10000"/>
                  <a:gd name="connsiteX797" fmla="*/ 8871 w 10577"/>
                  <a:gd name="connsiteY797" fmla="*/ 3556 h 10000"/>
                  <a:gd name="connsiteX798" fmla="*/ 8857 w 10577"/>
                  <a:gd name="connsiteY798" fmla="*/ 3538 h 10000"/>
                  <a:gd name="connsiteX799" fmla="*/ 8843 w 10577"/>
                  <a:gd name="connsiteY799" fmla="*/ 3538 h 10000"/>
                  <a:gd name="connsiteX800" fmla="*/ 8839 w 10577"/>
                  <a:gd name="connsiteY800" fmla="*/ 3556 h 10000"/>
                  <a:gd name="connsiteX801" fmla="*/ 8839 w 10577"/>
                  <a:gd name="connsiteY801" fmla="*/ 3581 h 10000"/>
                  <a:gd name="connsiteX802" fmla="*/ 8825 w 10577"/>
                  <a:gd name="connsiteY802" fmla="*/ 3564 h 10000"/>
                  <a:gd name="connsiteX803" fmla="*/ 8825 w 10577"/>
                  <a:gd name="connsiteY803" fmla="*/ 3615 h 10000"/>
                  <a:gd name="connsiteX804" fmla="*/ 8802 w 10577"/>
                  <a:gd name="connsiteY804" fmla="*/ 3598 h 10000"/>
                  <a:gd name="connsiteX805" fmla="*/ 8797 w 10577"/>
                  <a:gd name="connsiteY805" fmla="*/ 3641 h 10000"/>
                  <a:gd name="connsiteX806" fmla="*/ 8783 w 10577"/>
                  <a:gd name="connsiteY806" fmla="*/ 3667 h 10000"/>
                  <a:gd name="connsiteX807" fmla="*/ 8779 w 10577"/>
                  <a:gd name="connsiteY807" fmla="*/ 3650 h 10000"/>
                  <a:gd name="connsiteX808" fmla="*/ 8779 w 10577"/>
                  <a:gd name="connsiteY808" fmla="*/ 3615 h 10000"/>
                  <a:gd name="connsiteX809" fmla="*/ 8770 w 10577"/>
                  <a:gd name="connsiteY809" fmla="*/ 3590 h 10000"/>
                  <a:gd name="connsiteX810" fmla="*/ 8765 w 10577"/>
                  <a:gd name="connsiteY810" fmla="*/ 3598 h 10000"/>
                  <a:gd name="connsiteX811" fmla="*/ 8756 w 10577"/>
                  <a:gd name="connsiteY811" fmla="*/ 3590 h 10000"/>
                  <a:gd name="connsiteX812" fmla="*/ 8737 w 10577"/>
                  <a:gd name="connsiteY812" fmla="*/ 3556 h 10000"/>
                  <a:gd name="connsiteX813" fmla="*/ 8724 w 10577"/>
                  <a:gd name="connsiteY813" fmla="*/ 3538 h 10000"/>
                  <a:gd name="connsiteX814" fmla="*/ 8696 w 10577"/>
                  <a:gd name="connsiteY814" fmla="*/ 3538 h 10000"/>
                  <a:gd name="connsiteX815" fmla="*/ 8691 w 10577"/>
                  <a:gd name="connsiteY815" fmla="*/ 3513 h 10000"/>
                  <a:gd name="connsiteX816" fmla="*/ 8668 w 10577"/>
                  <a:gd name="connsiteY816" fmla="*/ 3504 h 10000"/>
                  <a:gd name="connsiteX817" fmla="*/ 8668 w 10577"/>
                  <a:gd name="connsiteY817" fmla="*/ 3487 h 10000"/>
                  <a:gd name="connsiteX818" fmla="*/ 8691 w 10577"/>
                  <a:gd name="connsiteY818" fmla="*/ 3350 h 10000"/>
                  <a:gd name="connsiteX819" fmla="*/ 8691 w 10577"/>
                  <a:gd name="connsiteY819" fmla="*/ 3291 h 10000"/>
                  <a:gd name="connsiteX820" fmla="*/ 8677 w 10577"/>
                  <a:gd name="connsiteY820" fmla="*/ 3239 h 10000"/>
                  <a:gd name="connsiteX821" fmla="*/ 8677 w 10577"/>
                  <a:gd name="connsiteY821" fmla="*/ 3231 h 10000"/>
                  <a:gd name="connsiteX822" fmla="*/ 8636 w 10577"/>
                  <a:gd name="connsiteY822" fmla="*/ 3128 h 10000"/>
                  <a:gd name="connsiteX823" fmla="*/ 8622 w 10577"/>
                  <a:gd name="connsiteY823" fmla="*/ 3120 h 10000"/>
                  <a:gd name="connsiteX824" fmla="*/ 8618 w 10577"/>
                  <a:gd name="connsiteY824" fmla="*/ 3094 h 10000"/>
                  <a:gd name="connsiteX825" fmla="*/ 8594 w 10577"/>
                  <a:gd name="connsiteY825" fmla="*/ 3077 h 10000"/>
                  <a:gd name="connsiteX826" fmla="*/ 8548 w 10577"/>
                  <a:gd name="connsiteY826" fmla="*/ 3077 h 10000"/>
                  <a:gd name="connsiteX827" fmla="*/ 8535 w 10577"/>
                  <a:gd name="connsiteY827" fmla="*/ 3068 h 10000"/>
                  <a:gd name="connsiteX828" fmla="*/ 8429 w 10577"/>
                  <a:gd name="connsiteY828" fmla="*/ 3077 h 10000"/>
                  <a:gd name="connsiteX829" fmla="*/ 8424 w 10577"/>
                  <a:gd name="connsiteY829" fmla="*/ 3077 h 10000"/>
                  <a:gd name="connsiteX830" fmla="*/ 8396 w 10577"/>
                  <a:gd name="connsiteY830" fmla="*/ 3077 h 10000"/>
                  <a:gd name="connsiteX831" fmla="*/ 8387 w 10577"/>
                  <a:gd name="connsiteY831" fmla="*/ 3094 h 10000"/>
                  <a:gd name="connsiteX832" fmla="*/ 8378 w 10577"/>
                  <a:gd name="connsiteY832" fmla="*/ 3094 h 10000"/>
                  <a:gd name="connsiteX833" fmla="*/ 8341 w 10577"/>
                  <a:gd name="connsiteY833" fmla="*/ 3077 h 10000"/>
                  <a:gd name="connsiteX834" fmla="*/ 8336 w 10577"/>
                  <a:gd name="connsiteY834" fmla="*/ 3077 h 10000"/>
                  <a:gd name="connsiteX835" fmla="*/ 8327 w 10577"/>
                  <a:gd name="connsiteY835" fmla="*/ 3103 h 10000"/>
                  <a:gd name="connsiteX836" fmla="*/ 8309 w 10577"/>
                  <a:gd name="connsiteY836" fmla="*/ 3120 h 10000"/>
                  <a:gd name="connsiteX837" fmla="*/ 8304 w 10577"/>
                  <a:gd name="connsiteY837" fmla="*/ 3103 h 10000"/>
                  <a:gd name="connsiteX838" fmla="*/ 8276 w 10577"/>
                  <a:gd name="connsiteY838" fmla="*/ 3103 h 10000"/>
                  <a:gd name="connsiteX839" fmla="*/ 8267 w 10577"/>
                  <a:gd name="connsiteY839" fmla="*/ 3120 h 10000"/>
                  <a:gd name="connsiteX840" fmla="*/ 8253 w 10577"/>
                  <a:gd name="connsiteY840" fmla="*/ 3103 h 10000"/>
                  <a:gd name="connsiteX841" fmla="*/ 8230 w 10577"/>
                  <a:gd name="connsiteY841" fmla="*/ 3128 h 10000"/>
                  <a:gd name="connsiteX842" fmla="*/ 8217 w 10577"/>
                  <a:gd name="connsiteY842" fmla="*/ 3128 h 10000"/>
                  <a:gd name="connsiteX843" fmla="*/ 8203 w 10577"/>
                  <a:gd name="connsiteY843" fmla="*/ 3154 h 10000"/>
                  <a:gd name="connsiteX844" fmla="*/ 8175 w 10577"/>
                  <a:gd name="connsiteY844" fmla="*/ 3094 h 10000"/>
                  <a:gd name="connsiteX845" fmla="*/ 8161 w 10577"/>
                  <a:gd name="connsiteY845" fmla="*/ 3094 h 10000"/>
                  <a:gd name="connsiteX846" fmla="*/ 8157 w 10577"/>
                  <a:gd name="connsiteY846" fmla="*/ 3077 h 10000"/>
                  <a:gd name="connsiteX847" fmla="*/ 8180 w 10577"/>
                  <a:gd name="connsiteY847" fmla="*/ 3068 h 10000"/>
                  <a:gd name="connsiteX848" fmla="*/ 8189 w 10577"/>
                  <a:gd name="connsiteY848" fmla="*/ 3043 h 10000"/>
                  <a:gd name="connsiteX849" fmla="*/ 8189 w 10577"/>
                  <a:gd name="connsiteY849" fmla="*/ 3017 h 10000"/>
                  <a:gd name="connsiteX850" fmla="*/ 8147 w 10577"/>
                  <a:gd name="connsiteY850" fmla="*/ 2940 h 10000"/>
                  <a:gd name="connsiteX851" fmla="*/ 8143 w 10577"/>
                  <a:gd name="connsiteY851" fmla="*/ 2915 h 10000"/>
                  <a:gd name="connsiteX852" fmla="*/ 8143 w 10577"/>
                  <a:gd name="connsiteY852" fmla="*/ 2906 h 10000"/>
                  <a:gd name="connsiteX853" fmla="*/ 8097 w 10577"/>
                  <a:gd name="connsiteY853" fmla="*/ 2932 h 10000"/>
                  <a:gd name="connsiteX854" fmla="*/ 8083 w 10577"/>
                  <a:gd name="connsiteY854" fmla="*/ 2932 h 10000"/>
                  <a:gd name="connsiteX855" fmla="*/ 8074 w 10577"/>
                  <a:gd name="connsiteY855" fmla="*/ 2906 h 10000"/>
                  <a:gd name="connsiteX856" fmla="*/ 8074 w 10577"/>
                  <a:gd name="connsiteY856" fmla="*/ 2897 h 10000"/>
                  <a:gd name="connsiteX857" fmla="*/ 8055 w 10577"/>
                  <a:gd name="connsiteY857" fmla="*/ 2872 h 10000"/>
                  <a:gd name="connsiteX858" fmla="*/ 8046 w 10577"/>
                  <a:gd name="connsiteY858" fmla="*/ 2829 h 10000"/>
                  <a:gd name="connsiteX859" fmla="*/ 8041 w 10577"/>
                  <a:gd name="connsiteY859" fmla="*/ 2829 h 10000"/>
                  <a:gd name="connsiteX860" fmla="*/ 8023 w 10577"/>
                  <a:gd name="connsiteY860" fmla="*/ 2803 h 10000"/>
                  <a:gd name="connsiteX861" fmla="*/ 8014 w 10577"/>
                  <a:gd name="connsiteY861" fmla="*/ 2829 h 10000"/>
                  <a:gd name="connsiteX862" fmla="*/ 8000 w 10577"/>
                  <a:gd name="connsiteY862" fmla="*/ 2829 h 10000"/>
                  <a:gd name="connsiteX863" fmla="*/ 7995 w 10577"/>
                  <a:gd name="connsiteY863" fmla="*/ 2821 h 10000"/>
                  <a:gd name="connsiteX864" fmla="*/ 7972 w 10577"/>
                  <a:gd name="connsiteY864" fmla="*/ 2803 h 10000"/>
                  <a:gd name="connsiteX865" fmla="*/ 7968 w 10577"/>
                  <a:gd name="connsiteY865" fmla="*/ 2821 h 10000"/>
                  <a:gd name="connsiteX866" fmla="*/ 7968 w 10577"/>
                  <a:gd name="connsiteY866" fmla="*/ 2803 h 10000"/>
                  <a:gd name="connsiteX867" fmla="*/ 7995 w 10577"/>
                  <a:gd name="connsiteY867" fmla="*/ 2735 h 10000"/>
                  <a:gd name="connsiteX868" fmla="*/ 8000 w 10577"/>
                  <a:gd name="connsiteY868" fmla="*/ 2735 h 10000"/>
                  <a:gd name="connsiteX869" fmla="*/ 8014 w 10577"/>
                  <a:gd name="connsiteY869" fmla="*/ 2744 h 10000"/>
                  <a:gd name="connsiteX870" fmla="*/ 8023 w 10577"/>
                  <a:gd name="connsiteY870" fmla="*/ 2769 h 10000"/>
                  <a:gd name="connsiteX871" fmla="*/ 8032 w 10577"/>
                  <a:gd name="connsiteY871" fmla="*/ 2744 h 10000"/>
                  <a:gd name="connsiteX872" fmla="*/ 8032 w 10577"/>
                  <a:gd name="connsiteY872" fmla="*/ 2709 h 10000"/>
                  <a:gd name="connsiteX873" fmla="*/ 8023 w 10577"/>
                  <a:gd name="connsiteY873" fmla="*/ 2632 h 10000"/>
                  <a:gd name="connsiteX874" fmla="*/ 7986 w 10577"/>
                  <a:gd name="connsiteY874" fmla="*/ 2581 h 10000"/>
                  <a:gd name="connsiteX875" fmla="*/ 7968 w 10577"/>
                  <a:gd name="connsiteY875" fmla="*/ 2581 h 10000"/>
                  <a:gd name="connsiteX876" fmla="*/ 7963 w 10577"/>
                  <a:gd name="connsiteY876" fmla="*/ 2556 h 10000"/>
                  <a:gd name="connsiteX877" fmla="*/ 7935 w 10577"/>
                  <a:gd name="connsiteY877" fmla="*/ 2547 h 10000"/>
                  <a:gd name="connsiteX878" fmla="*/ 7912 w 10577"/>
                  <a:gd name="connsiteY878" fmla="*/ 2547 h 10000"/>
                  <a:gd name="connsiteX879" fmla="*/ 7912 w 10577"/>
                  <a:gd name="connsiteY879" fmla="*/ 2556 h 10000"/>
                  <a:gd name="connsiteX880" fmla="*/ 7908 w 10577"/>
                  <a:gd name="connsiteY880" fmla="*/ 2547 h 10000"/>
                  <a:gd name="connsiteX881" fmla="*/ 7862 w 10577"/>
                  <a:gd name="connsiteY881" fmla="*/ 2547 h 10000"/>
                  <a:gd name="connsiteX882" fmla="*/ 7848 w 10577"/>
                  <a:gd name="connsiteY882" fmla="*/ 2556 h 10000"/>
                  <a:gd name="connsiteX883" fmla="*/ 7820 w 10577"/>
                  <a:gd name="connsiteY883" fmla="*/ 2547 h 10000"/>
                  <a:gd name="connsiteX884" fmla="*/ 7806 w 10577"/>
                  <a:gd name="connsiteY884" fmla="*/ 2513 h 10000"/>
                  <a:gd name="connsiteX885" fmla="*/ 7788 w 10577"/>
                  <a:gd name="connsiteY885" fmla="*/ 2513 h 10000"/>
                  <a:gd name="connsiteX886" fmla="*/ 7760 w 10577"/>
                  <a:gd name="connsiteY886" fmla="*/ 2470 h 10000"/>
                  <a:gd name="connsiteX887" fmla="*/ 7751 w 10577"/>
                  <a:gd name="connsiteY887" fmla="*/ 2470 h 10000"/>
                  <a:gd name="connsiteX888" fmla="*/ 7705 w 10577"/>
                  <a:gd name="connsiteY888" fmla="*/ 2462 h 10000"/>
                  <a:gd name="connsiteX889" fmla="*/ 7673 w 10577"/>
                  <a:gd name="connsiteY889" fmla="*/ 2419 h 10000"/>
                  <a:gd name="connsiteX890" fmla="*/ 7627 w 10577"/>
                  <a:gd name="connsiteY890" fmla="*/ 2419 h 10000"/>
                  <a:gd name="connsiteX891" fmla="*/ 7613 w 10577"/>
                  <a:gd name="connsiteY891" fmla="*/ 2410 h 10000"/>
                  <a:gd name="connsiteX892" fmla="*/ 7493 w 10577"/>
                  <a:gd name="connsiteY892" fmla="*/ 2393 h 10000"/>
                  <a:gd name="connsiteX893" fmla="*/ 7479 w 10577"/>
                  <a:gd name="connsiteY893" fmla="*/ 2385 h 10000"/>
                  <a:gd name="connsiteX894" fmla="*/ 7479 w 10577"/>
                  <a:gd name="connsiteY894" fmla="*/ 2376 h 10000"/>
                  <a:gd name="connsiteX895" fmla="*/ 7465 w 10577"/>
                  <a:gd name="connsiteY895" fmla="*/ 2359 h 10000"/>
                  <a:gd name="connsiteX896" fmla="*/ 7447 w 10577"/>
                  <a:gd name="connsiteY896" fmla="*/ 2350 h 10000"/>
                  <a:gd name="connsiteX897" fmla="*/ 7433 w 10577"/>
                  <a:gd name="connsiteY897" fmla="*/ 2376 h 10000"/>
                  <a:gd name="connsiteX898" fmla="*/ 7433 w 10577"/>
                  <a:gd name="connsiteY898" fmla="*/ 2385 h 10000"/>
                  <a:gd name="connsiteX899" fmla="*/ 7447 w 10577"/>
                  <a:gd name="connsiteY899" fmla="*/ 2410 h 10000"/>
                  <a:gd name="connsiteX900" fmla="*/ 7447 w 10577"/>
                  <a:gd name="connsiteY900" fmla="*/ 2436 h 10000"/>
                  <a:gd name="connsiteX901" fmla="*/ 7452 w 10577"/>
                  <a:gd name="connsiteY901" fmla="*/ 2462 h 10000"/>
                  <a:gd name="connsiteX902" fmla="*/ 7447 w 10577"/>
                  <a:gd name="connsiteY902" fmla="*/ 2470 h 10000"/>
                  <a:gd name="connsiteX903" fmla="*/ 7424 w 10577"/>
                  <a:gd name="connsiteY903" fmla="*/ 2513 h 10000"/>
                  <a:gd name="connsiteX904" fmla="*/ 7419 w 10577"/>
                  <a:gd name="connsiteY904" fmla="*/ 2556 h 10000"/>
                  <a:gd name="connsiteX905" fmla="*/ 7406 w 10577"/>
                  <a:gd name="connsiteY905" fmla="*/ 2624 h 10000"/>
                  <a:gd name="connsiteX906" fmla="*/ 7392 w 10577"/>
                  <a:gd name="connsiteY906" fmla="*/ 2624 h 10000"/>
                  <a:gd name="connsiteX907" fmla="*/ 7373 w 10577"/>
                  <a:gd name="connsiteY907" fmla="*/ 2650 h 10000"/>
                  <a:gd name="connsiteX908" fmla="*/ 7364 w 10577"/>
                  <a:gd name="connsiteY908" fmla="*/ 2684 h 10000"/>
                  <a:gd name="connsiteX909" fmla="*/ 7364 w 10577"/>
                  <a:gd name="connsiteY909" fmla="*/ 2692 h 10000"/>
                  <a:gd name="connsiteX910" fmla="*/ 7373 w 10577"/>
                  <a:gd name="connsiteY910" fmla="*/ 2718 h 10000"/>
                  <a:gd name="connsiteX911" fmla="*/ 7373 w 10577"/>
                  <a:gd name="connsiteY911" fmla="*/ 2744 h 10000"/>
                  <a:gd name="connsiteX912" fmla="*/ 7359 w 10577"/>
                  <a:gd name="connsiteY912" fmla="*/ 2744 h 10000"/>
                  <a:gd name="connsiteX913" fmla="*/ 7359 w 10577"/>
                  <a:gd name="connsiteY913" fmla="*/ 2795 h 10000"/>
                  <a:gd name="connsiteX914" fmla="*/ 7364 w 10577"/>
                  <a:gd name="connsiteY914" fmla="*/ 2821 h 10000"/>
                  <a:gd name="connsiteX915" fmla="*/ 7378 w 10577"/>
                  <a:gd name="connsiteY915" fmla="*/ 2846 h 10000"/>
                  <a:gd name="connsiteX916" fmla="*/ 7378 w 10577"/>
                  <a:gd name="connsiteY916" fmla="*/ 2855 h 10000"/>
                  <a:gd name="connsiteX917" fmla="*/ 7378 w 10577"/>
                  <a:gd name="connsiteY917" fmla="*/ 2880 h 10000"/>
                  <a:gd name="connsiteX918" fmla="*/ 7378 w 10577"/>
                  <a:gd name="connsiteY918" fmla="*/ 2906 h 10000"/>
                  <a:gd name="connsiteX919" fmla="*/ 7364 w 10577"/>
                  <a:gd name="connsiteY919" fmla="*/ 2906 h 10000"/>
                  <a:gd name="connsiteX920" fmla="*/ 7346 w 10577"/>
                  <a:gd name="connsiteY920" fmla="*/ 2880 h 10000"/>
                  <a:gd name="connsiteX921" fmla="*/ 7332 w 10577"/>
                  <a:gd name="connsiteY921" fmla="*/ 2915 h 10000"/>
                  <a:gd name="connsiteX922" fmla="*/ 7318 w 10577"/>
                  <a:gd name="connsiteY922" fmla="*/ 2906 h 10000"/>
                  <a:gd name="connsiteX923" fmla="*/ 7313 w 10577"/>
                  <a:gd name="connsiteY923" fmla="*/ 2915 h 10000"/>
                  <a:gd name="connsiteX924" fmla="*/ 7313 w 10577"/>
                  <a:gd name="connsiteY924" fmla="*/ 2906 h 10000"/>
                  <a:gd name="connsiteX925" fmla="*/ 7286 w 10577"/>
                  <a:gd name="connsiteY925" fmla="*/ 2940 h 10000"/>
                  <a:gd name="connsiteX926" fmla="*/ 7276 w 10577"/>
                  <a:gd name="connsiteY926" fmla="*/ 2966 h 10000"/>
                  <a:gd name="connsiteX927" fmla="*/ 7272 w 10577"/>
                  <a:gd name="connsiteY927" fmla="*/ 2983 h 10000"/>
                  <a:gd name="connsiteX928" fmla="*/ 7267 w 10577"/>
                  <a:gd name="connsiteY928" fmla="*/ 3009 h 10000"/>
                  <a:gd name="connsiteX929" fmla="*/ 7253 w 10577"/>
                  <a:gd name="connsiteY929" fmla="*/ 3009 h 10000"/>
                  <a:gd name="connsiteX930" fmla="*/ 7244 w 10577"/>
                  <a:gd name="connsiteY930" fmla="*/ 3017 h 10000"/>
                  <a:gd name="connsiteX931" fmla="*/ 7240 w 10577"/>
                  <a:gd name="connsiteY931" fmla="*/ 3009 h 10000"/>
                  <a:gd name="connsiteX932" fmla="*/ 7230 w 10577"/>
                  <a:gd name="connsiteY932" fmla="*/ 2991 h 10000"/>
                  <a:gd name="connsiteX933" fmla="*/ 7226 w 10577"/>
                  <a:gd name="connsiteY933" fmla="*/ 2983 h 10000"/>
                  <a:gd name="connsiteX934" fmla="*/ 7226 w 10577"/>
                  <a:gd name="connsiteY934" fmla="*/ 2966 h 10000"/>
                  <a:gd name="connsiteX935" fmla="*/ 7212 w 10577"/>
                  <a:gd name="connsiteY935" fmla="*/ 2957 h 10000"/>
                  <a:gd name="connsiteX936" fmla="*/ 7212 w 10577"/>
                  <a:gd name="connsiteY936" fmla="*/ 2932 h 10000"/>
                  <a:gd name="connsiteX937" fmla="*/ 7198 w 10577"/>
                  <a:gd name="connsiteY937" fmla="*/ 2915 h 10000"/>
                  <a:gd name="connsiteX938" fmla="*/ 7194 w 10577"/>
                  <a:gd name="connsiteY938" fmla="*/ 2915 h 10000"/>
                  <a:gd name="connsiteX939" fmla="*/ 7157 w 10577"/>
                  <a:gd name="connsiteY939" fmla="*/ 2880 h 10000"/>
                  <a:gd name="connsiteX940" fmla="*/ 7138 w 10577"/>
                  <a:gd name="connsiteY940" fmla="*/ 2880 h 10000"/>
                  <a:gd name="connsiteX941" fmla="*/ 7120 w 10577"/>
                  <a:gd name="connsiteY941" fmla="*/ 2872 h 10000"/>
                  <a:gd name="connsiteX942" fmla="*/ 7111 w 10577"/>
                  <a:gd name="connsiteY942" fmla="*/ 2846 h 10000"/>
                  <a:gd name="connsiteX943" fmla="*/ 7106 w 10577"/>
                  <a:gd name="connsiteY943" fmla="*/ 2846 h 10000"/>
                  <a:gd name="connsiteX944" fmla="*/ 7092 w 10577"/>
                  <a:gd name="connsiteY944" fmla="*/ 2829 h 10000"/>
                  <a:gd name="connsiteX945" fmla="*/ 7051 w 10577"/>
                  <a:gd name="connsiteY945" fmla="*/ 2829 h 10000"/>
                  <a:gd name="connsiteX946" fmla="*/ 7037 w 10577"/>
                  <a:gd name="connsiteY946" fmla="*/ 2880 h 10000"/>
                  <a:gd name="connsiteX947" fmla="*/ 7037 w 10577"/>
                  <a:gd name="connsiteY947" fmla="*/ 2906 h 10000"/>
                  <a:gd name="connsiteX948" fmla="*/ 7037 w 10577"/>
                  <a:gd name="connsiteY948" fmla="*/ 2932 h 10000"/>
                  <a:gd name="connsiteX949" fmla="*/ 7037 w 10577"/>
                  <a:gd name="connsiteY949" fmla="*/ 2940 h 10000"/>
                  <a:gd name="connsiteX950" fmla="*/ 7023 w 10577"/>
                  <a:gd name="connsiteY950" fmla="*/ 2906 h 10000"/>
                  <a:gd name="connsiteX951" fmla="*/ 7023 w 10577"/>
                  <a:gd name="connsiteY951" fmla="*/ 2915 h 10000"/>
                  <a:gd name="connsiteX952" fmla="*/ 6991 w 10577"/>
                  <a:gd name="connsiteY952" fmla="*/ 2906 h 10000"/>
                  <a:gd name="connsiteX953" fmla="*/ 6977 w 10577"/>
                  <a:gd name="connsiteY953" fmla="*/ 2915 h 10000"/>
                  <a:gd name="connsiteX954" fmla="*/ 6963 w 10577"/>
                  <a:gd name="connsiteY954" fmla="*/ 2915 h 10000"/>
                  <a:gd name="connsiteX955" fmla="*/ 6949 w 10577"/>
                  <a:gd name="connsiteY955" fmla="*/ 2872 h 10000"/>
                  <a:gd name="connsiteX956" fmla="*/ 6935 w 10577"/>
                  <a:gd name="connsiteY956" fmla="*/ 2855 h 10000"/>
                  <a:gd name="connsiteX957" fmla="*/ 6922 w 10577"/>
                  <a:gd name="connsiteY957" fmla="*/ 2803 h 10000"/>
                  <a:gd name="connsiteX958" fmla="*/ 6917 w 10577"/>
                  <a:gd name="connsiteY958" fmla="*/ 2786 h 10000"/>
                  <a:gd name="connsiteX959" fmla="*/ 6903 w 10577"/>
                  <a:gd name="connsiteY959" fmla="*/ 2709 h 10000"/>
                  <a:gd name="connsiteX960" fmla="*/ 6903 w 10577"/>
                  <a:gd name="connsiteY960" fmla="*/ 2692 h 10000"/>
                  <a:gd name="connsiteX961" fmla="*/ 6899 w 10577"/>
                  <a:gd name="connsiteY961" fmla="*/ 2709 h 10000"/>
                  <a:gd name="connsiteX962" fmla="*/ 6857 w 10577"/>
                  <a:gd name="connsiteY962" fmla="*/ 2872 h 10000"/>
                  <a:gd name="connsiteX963" fmla="*/ 6857 w 10577"/>
                  <a:gd name="connsiteY963" fmla="*/ 3009 h 10000"/>
                  <a:gd name="connsiteX964" fmla="*/ 6848 w 10577"/>
                  <a:gd name="connsiteY964" fmla="*/ 3017 h 10000"/>
                  <a:gd name="connsiteX965" fmla="*/ 6839 w 10577"/>
                  <a:gd name="connsiteY965" fmla="*/ 3068 h 10000"/>
                  <a:gd name="connsiteX966" fmla="*/ 6829 w 10577"/>
                  <a:gd name="connsiteY966" fmla="*/ 3077 h 10000"/>
                  <a:gd name="connsiteX967" fmla="*/ 6829 w 10577"/>
                  <a:gd name="connsiteY967" fmla="*/ 3128 h 10000"/>
                  <a:gd name="connsiteX968" fmla="*/ 6816 w 10577"/>
                  <a:gd name="connsiteY968" fmla="*/ 3154 h 10000"/>
                  <a:gd name="connsiteX969" fmla="*/ 6811 w 10577"/>
                  <a:gd name="connsiteY969" fmla="*/ 3179 h 10000"/>
                  <a:gd name="connsiteX970" fmla="*/ 6797 w 10577"/>
                  <a:gd name="connsiteY970" fmla="*/ 3171 h 10000"/>
                  <a:gd name="connsiteX971" fmla="*/ 6783 w 10577"/>
                  <a:gd name="connsiteY971" fmla="*/ 3103 h 10000"/>
                  <a:gd name="connsiteX972" fmla="*/ 6779 w 10577"/>
                  <a:gd name="connsiteY972" fmla="*/ 3094 h 10000"/>
                  <a:gd name="connsiteX973" fmla="*/ 6779 w 10577"/>
                  <a:gd name="connsiteY973" fmla="*/ 3120 h 10000"/>
                  <a:gd name="connsiteX974" fmla="*/ 6770 w 10577"/>
                  <a:gd name="connsiteY974" fmla="*/ 3128 h 10000"/>
                  <a:gd name="connsiteX975" fmla="*/ 6765 w 10577"/>
                  <a:gd name="connsiteY975" fmla="*/ 3103 h 10000"/>
                  <a:gd name="connsiteX976" fmla="*/ 6756 w 10577"/>
                  <a:gd name="connsiteY976" fmla="*/ 3103 h 10000"/>
                  <a:gd name="connsiteX977" fmla="*/ 6742 w 10577"/>
                  <a:gd name="connsiteY977" fmla="*/ 3103 h 10000"/>
                  <a:gd name="connsiteX978" fmla="*/ 6737 w 10577"/>
                  <a:gd name="connsiteY978" fmla="*/ 3077 h 10000"/>
                  <a:gd name="connsiteX979" fmla="*/ 6737 w 10577"/>
                  <a:gd name="connsiteY979" fmla="*/ 3068 h 10000"/>
                  <a:gd name="connsiteX980" fmla="*/ 6728 w 10577"/>
                  <a:gd name="connsiteY980" fmla="*/ 3043 h 10000"/>
                  <a:gd name="connsiteX981" fmla="*/ 6724 w 10577"/>
                  <a:gd name="connsiteY981" fmla="*/ 3051 h 10000"/>
                  <a:gd name="connsiteX982" fmla="*/ 6714 w 10577"/>
                  <a:gd name="connsiteY982" fmla="*/ 3043 h 10000"/>
                  <a:gd name="connsiteX983" fmla="*/ 6710 w 10577"/>
                  <a:gd name="connsiteY983" fmla="*/ 3034 h 10000"/>
                  <a:gd name="connsiteX984" fmla="*/ 6705 w 10577"/>
                  <a:gd name="connsiteY984" fmla="*/ 2983 h 10000"/>
                  <a:gd name="connsiteX985" fmla="*/ 6696 w 10577"/>
                  <a:gd name="connsiteY985" fmla="*/ 2966 h 10000"/>
                  <a:gd name="connsiteX986" fmla="*/ 6691 w 10577"/>
                  <a:gd name="connsiteY986" fmla="*/ 2983 h 10000"/>
                  <a:gd name="connsiteX987" fmla="*/ 6677 w 10577"/>
                  <a:gd name="connsiteY987" fmla="*/ 2897 h 10000"/>
                  <a:gd name="connsiteX988" fmla="*/ 6677 w 10577"/>
                  <a:gd name="connsiteY988" fmla="*/ 2897 h 10000"/>
                  <a:gd name="connsiteX989" fmla="*/ 6677 w 10577"/>
                  <a:gd name="connsiteY989" fmla="*/ 2872 h 10000"/>
                  <a:gd name="connsiteX990" fmla="*/ 6668 w 10577"/>
                  <a:gd name="connsiteY990" fmla="*/ 2821 h 10000"/>
                  <a:gd name="connsiteX991" fmla="*/ 6664 w 10577"/>
                  <a:gd name="connsiteY991" fmla="*/ 2829 h 10000"/>
                  <a:gd name="connsiteX992" fmla="*/ 6654 w 10577"/>
                  <a:gd name="connsiteY992" fmla="*/ 2846 h 10000"/>
                  <a:gd name="connsiteX993" fmla="*/ 6650 w 10577"/>
                  <a:gd name="connsiteY993" fmla="*/ 2829 h 10000"/>
                  <a:gd name="connsiteX994" fmla="*/ 6650 w 10577"/>
                  <a:gd name="connsiteY994" fmla="*/ 2803 h 10000"/>
                  <a:gd name="connsiteX995" fmla="*/ 6650 w 10577"/>
                  <a:gd name="connsiteY995" fmla="*/ 2795 h 10000"/>
                  <a:gd name="connsiteX996" fmla="*/ 6641 w 10577"/>
                  <a:gd name="connsiteY996" fmla="*/ 2786 h 10000"/>
                  <a:gd name="connsiteX997" fmla="*/ 6636 w 10577"/>
                  <a:gd name="connsiteY997" fmla="*/ 2735 h 10000"/>
                  <a:gd name="connsiteX998" fmla="*/ 6664 w 10577"/>
                  <a:gd name="connsiteY998" fmla="*/ 2667 h 10000"/>
                  <a:gd name="connsiteX999" fmla="*/ 6668 w 10577"/>
                  <a:gd name="connsiteY999" fmla="*/ 2684 h 10000"/>
                  <a:gd name="connsiteX1000" fmla="*/ 6677 w 10577"/>
                  <a:gd name="connsiteY1000" fmla="*/ 2667 h 10000"/>
                  <a:gd name="connsiteX1001" fmla="*/ 6668 w 10577"/>
                  <a:gd name="connsiteY1001" fmla="*/ 2667 h 10000"/>
                  <a:gd name="connsiteX1002" fmla="*/ 6668 w 10577"/>
                  <a:gd name="connsiteY1002" fmla="*/ 2650 h 10000"/>
                  <a:gd name="connsiteX1003" fmla="*/ 6682 w 10577"/>
                  <a:gd name="connsiteY1003" fmla="*/ 2650 h 10000"/>
                  <a:gd name="connsiteX1004" fmla="*/ 6691 w 10577"/>
                  <a:gd name="connsiteY1004" fmla="*/ 2624 h 10000"/>
                  <a:gd name="connsiteX1005" fmla="*/ 6682 w 10577"/>
                  <a:gd name="connsiteY1005" fmla="*/ 2632 h 10000"/>
                  <a:gd name="connsiteX1006" fmla="*/ 6682 w 10577"/>
                  <a:gd name="connsiteY1006" fmla="*/ 2624 h 10000"/>
                  <a:gd name="connsiteX1007" fmla="*/ 6691 w 10577"/>
                  <a:gd name="connsiteY1007" fmla="*/ 2607 h 10000"/>
                  <a:gd name="connsiteX1008" fmla="*/ 6691 w 10577"/>
                  <a:gd name="connsiteY1008" fmla="*/ 2598 h 10000"/>
                  <a:gd name="connsiteX1009" fmla="*/ 6691 w 10577"/>
                  <a:gd name="connsiteY1009" fmla="*/ 2581 h 10000"/>
                  <a:gd name="connsiteX1010" fmla="*/ 6696 w 10577"/>
                  <a:gd name="connsiteY1010" fmla="*/ 2530 h 10000"/>
                  <a:gd name="connsiteX1011" fmla="*/ 6677 w 10577"/>
                  <a:gd name="connsiteY1011" fmla="*/ 2513 h 10000"/>
                  <a:gd name="connsiteX1012" fmla="*/ 6677 w 10577"/>
                  <a:gd name="connsiteY1012" fmla="*/ 2496 h 10000"/>
                  <a:gd name="connsiteX1013" fmla="*/ 6682 w 10577"/>
                  <a:gd name="connsiteY1013" fmla="*/ 2470 h 10000"/>
                  <a:gd name="connsiteX1014" fmla="*/ 6668 w 10577"/>
                  <a:gd name="connsiteY1014" fmla="*/ 2462 h 10000"/>
                  <a:gd name="connsiteX1015" fmla="*/ 6677 w 10577"/>
                  <a:gd name="connsiteY1015" fmla="*/ 2436 h 10000"/>
                  <a:gd name="connsiteX1016" fmla="*/ 6682 w 10577"/>
                  <a:gd name="connsiteY1016" fmla="*/ 2419 h 10000"/>
                  <a:gd name="connsiteX1017" fmla="*/ 6682 w 10577"/>
                  <a:gd name="connsiteY1017" fmla="*/ 2393 h 10000"/>
                  <a:gd name="connsiteX1018" fmla="*/ 6682 w 10577"/>
                  <a:gd name="connsiteY1018" fmla="*/ 2385 h 10000"/>
                  <a:gd name="connsiteX1019" fmla="*/ 6682 w 10577"/>
                  <a:gd name="connsiteY1019" fmla="*/ 2385 h 10000"/>
                  <a:gd name="connsiteX1020" fmla="*/ 6677 w 10577"/>
                  <a:gd name="connsiteY1020" fmla="*/ 2376 h 10000"/>
                  <a:gd name="connsiteX1021" fmla="*/ 6682 w 10577"/>
                  <a:gd name="connsiteY1021" fmla="*/ 2359 h 10000"/>
                  <a:gd name="connsiteX1022" fmla="*/ 6677 w 10577"/>
                  <a:gd name="connsiteY1022" fmla="*/ 2333 h 10000"/>
                  <a:gd name="connsiteX1023" fmla="*/ 6691 w 10577"/>
                  <a:gd name="connsiteY1023" fmla="*/ 2333 h 10000"/>
                  <a:gd name="connsiteX1024" fmla="*/ 6691 w 10577"/>
                  <a:gd name="connsiteY1024" fmla="*/ 2325 h 10000"/>
                  <a:gd name="connsiteX1025" fmla="*/ 6691 w 10577"/>
                  <a:gd name="connsiteY1025" fmla="*/ 2308 h 10000"/>
                  <a:gd name="connsiteX1026" fmla="*/ 6691 w 10577"/>
                  <a:gd name="connsiteY1026" fmla="*/ 2299 h 10000"/>
                  <a:gd name="connsiteX1027" fmla="*/ 6691 w 10577"/>
                  <a:gd name="connsiteY1027" fmla="*/ 2282 h 10000"/>
                  <a:gd name="connsiteX1028" fmla="*/ 6691 w 10577"/>
                  <a:gd name="connsiteY1028" fmla="*/ 2274 h 10000"/>
                  <a:gd name="connsiteX1029" fmla="*/ 6668 w 10577"/>
                  <a:gd name="connsiteY1029" fmla="*/ 2248 h 10000"/>
                  <a:gd name="connsiteX1030" fmla="*/ 6664 w 10577"/>
                  <a:gd name="connsiteY1030" fmla="*/ 2222 h 10000"/>
                  <a:gd name="connsiteX1031" fmla="*/ 6654 w 10577"/>
                  <a:gd name="connsiteY1031" fmla="*/ 2214 h 10000"/>
                  <a:gd name="connsiteX1032" fmla="*/ 6654 w 10577"/>
                  <a:gd name="connsiteY1032" fmla="*/ 2188 h 10000"/>
                  <a:gd name="connsiteX1033" fmla="*/ 6622 w 10577"/>
                  <a:gd name="connsiteY1033" fmla="*/ 2162 h 10000"/>
                  <a:gd name="connsiteX1034" fmla="*/ 6631 w 10577"/>
                  <a:gd name="connsiteY1034" fmla="*/ 2145 h 10000"/>
                  <a:gd name="connsiteX1035" fmla="*/ 6622 w 10577"/>
                  <a:gd name="connsiteY1035" fmla="*/ 2120 h 10000"/>
                  <a:gd name="connsiteX1036" fmla="*/ 6608 w 10577"/>
                  <a:gd name="connsiteY1036" fmla="*/ 2120 h 10000"/>
                  <a:gd name="connsiteX1037" fmla="*/ 6604 w 10577"/>
                  <a:gd name="connsiteY1037" fmla="*/ 2111 h 10000"/>
                  <a:gd name="connsiteX1038" fmla="*/ 6608 w 10577"/>
                  <a:gd name="connsiteY1038" fmla="*/ 2111 h 10000"/>
                  <a:gd name="connsiteX1039" fmla="*/ 6604 w 10577"/>
                  <a:gd name="connsiteY1039" fmla="*/ 2085 h 10000"/>
                  <a:gd name="connsiteX1040" fmla="*/ 6581 w 10577"/>
                  <a:gd name="connsiteY1040" fmla="*/ 2077 h 10000"/>
                  <a:gd name="connsiteX1041" fmla="*/ 6571 w 10577"/>
                  <a:gd name="connsiteY1041" fmla="*/ 2085 h 10000"/>
                  <a:gd name="connsiteX1042" fmla="*/ 6548 w 10577"/>
                  <a:gd name="connsiteY1042" fmla="*/ 2077 h 10000"/>
                  <a:gd name="connsiteX1043" fmla="*/ 6530 w 10577"/>
                  <a:gd name="connsiteY1043" fmla="*/ 2060 h 10000"/>
                  <a:gd name="connsiteX1044" fmla="*/ 6521 w 10577"/>
                  <a:gd name="connsiteY1044" fmla="*/ 2060 h 10000"/>
                  <a:gd name="connsiteX1045" fmla="*/ 6521 w 10577"/>
                  <a:gd name="connsiteY1045" fmla="*/ 2085 h 10000"/>
                  <a:gd name="connsiteX1046" fmla="*/ 6516 w 10577"/>
                  <a:gd name="connsiteY1046" fmla="*/ 2085 h 10000"/>
                  <a:gd name="connsiteX1047" fmla="*/ 6502 w 10577"/>
                  <a:gd name="connsiteY1047" fmla="*/ 2111 h 10000"/>
                  <a:gd name="connsiteX1048" fmla="*/ 6498 w 10577"/>
                  <a:gd name="connsiteY1048" fmla="*/ 2111 h 10000"/>
                  <a:gd name="connsiteX1049" fmla="*/ 6498 w 10577"/>
                  <a:gd name="connsiteY1049" fmla="*/ 2103 h 10000"/>
                  <a:gd name="connsiteX1050" fmla="*/ 6475 w 10577"/>
                  <a:gd name="connsiteY1050" fmla="*/ 2051 h 10000"/>
                  <a:gd name="connsiteX1051" fmla="*/ 6470 w 10577"/>
                  <a:gd name="connsiteY1051" fmla="*/ 2060 h 10000"/>
                  <a:gd name="connsiteX1052" fmla="*/ 6456 w 10577"/>
                  <a:gd name="connsiteY1052" fmla="*/ 2051 h 10000"/>
                  <a:gd name="connsiteX1053" fmla="*/ 6447 w 10577"/>
                  <a:gd name="connsiteY1053" fmla="*/ 2051 h 10000"/>
                  <a:gd name="connsiteX1054" fmla="*/ 6433 w 10577"/>
                  <a:gd name="connsiteY1054" fmla="*/ 2026 h 10000"/>
                  <a:gd name="connsiteX1055" fmla="*/ 6433 w 10577"/>
                  <a:gd name="connsiteY1055" fmla="*/ 2034 h 10000"/>
                  <a:gd name="connsiteX1056" fmla="*/ 6429 w 10577"/>
                  <a:gd name="connsiteY1056" fmla="*/ 2026 h 10000"/>
                  <a:gd name="connsiteX1057" fmla="*/ 6424 w 10577"/>
                  <a:gd name="connsiteY1057" fmla="*/ 2034 h 10000"/>
                  <a:gd name="connsiteX1058" fmla="*/ 6410 w 10577"/>
                  <a:gd name="connsiteY1058" fmla="*/ 2026 h 10000"/>
                  <a:gd name="connsiteX1059" fmla="*/ 6410 w 10577"/>
                  <a:gd name="connsiteY1059" fmla="*/ 1991 h 10000"/>
                  <a:gd name="connsiteX1060" fmla="*/ 6401 w 10577"/>
                  <a:gd name="connsiteY1060" fmla="*/ 1991 h 10000"/>
                  <a:gd name="connsiteX1061" fmla="*/ 6396 w 10577"/>
                  <a:gd name="connsiteY1061" fmla="*/ 2000 h 10000"/>
                  <a:gd name="connsiteX1062" fmla="*/ 6382 w 10577"/>
                  <a:gd name="connsiteY1062" fmla="*/ 1966 h 10000"/>
                  <a:gd name="connsiteX1063" fmla="*/ 6373 w 10577"/>
                  <a:gd name="connsiteY1063" fmla="*/ 1974 h 10000"/>
                  <a:gd name="connsiteX1064" fmla="*/ 6369 w 10577"/>
                  <a:gd name="connsiteY1064" fmla="*/ 1966 h 10000"/>
                  <a:gd name="connsiteX1065" fmla="*/ 6341 w 10577"/>
                  <a:gd name="connsiteY1065" fmla="*/ 1949 h 10000"/>
                  <a:gd name="connsiteX1066" fmla="*/ 6327 w 10577"/>
                  <a:gd name="connsiteY1066" fmla="*/ 1923 h 10000"/>
                  <a:gd name="connsiteX1067" fmla="*/ 6323 w 10577"/>
                  <a:gd name="connsiteY1067" fmla="*/ 1923 h 10000"/>
                  <a:gd name="connsiteX1068" fmla="*/ 6323 w 10577"/>
                  <a:gd name="connsiteY1068" fmla="*/ 1966 h 10000"/>
                  <a:gd name="connsiteX1069" fmla="*/ 6323 w 10577"/>
                  <a:gd name="connsiteY1069" fmla="*/ 1991 h 10000"/>
                  <a:gd name="connsiteX1070" fmla="*/ 6313 w 10577"/>
                  <a:gd name="connsiteY1070" fmla="*/ 1991 h 10000"/>
                  <a:gd name="connsiteX1071" fmla="*/ 6300 w 10577"/>
                  <a:gd name="connsiteY1071" fmla="*/ 1991 h 10000"/>
                  <a:gd name="connsiteX1072" fmla="*/ 6290 w 10577"/>
                  <a:gd name="connsiteY1072" fmla="*/ 1949 h 10000"/>
                  <a:gd name="connsiteX1073" fmla="*/ 6276 w 10577"/>
                  <a:gd name="connsiteY1073" fmla="*/ 2103 h 10000"/>
                  <a:gd name="connsiteX1074" fmla="*/ 6281 w 10577"/>
                  <a:gd name="connsiteY1074" fmla="*/ 2103 h 10000"/>
                  <a:gd name="connsiteX1075" fmla="*/ 6276 w 10577"/>
                  <a:gd name="connsiteY1075" fmla="*/ 2111 h 10000"/>
                  <a:gd name="connsiteX1076" fmla="*/ 6276 w 10577"/>
                  <a:gd name="connsiteY1076" fmla="*/ 2120 h 10000"/>
                  <a:gd name="connsiteX1077" fmla="*/ 6295 w 10577"/>
                  <a:gd name="connsiteY1077" fmla="*/ 2239 h 10000"/>
                  <a:gd name="connsiteX1078" fmla="*/ 6290 w 10577"/>
                  <a:gd name="connsiteY1078" fmla="*/ 2248 h 10000"/>
                  <a:gd name="connsiteX1079" fmla="*/ 6281 w 10577"/>
                  <a:gd name="connsiteY1079" fmla="*/ 2274 h 10000"/>
                  <a:gd name="connsiteX1080" fmla="*/ 6249 w 10577"/>
                  <a:gd name="connsiteY1080" fmla="*/ 2274 h 10000"/>
                  <a:gd name="connsiteX1081" fmla="*/ 6226 w 10577"/>
                  <a:gd name="connsiteY1081" fmla="*/ 2308 h 10000"/>
                  <a:gd name="connsiteX1082" fmla="*/ 6221 w 10577"/>
                  <a:gd name="connsiteY1082" fmla="*/ 2299 h 10000"/>
                  <a:gd name="connsiteX1083" fmla="*/ 6221 w 10577"/>
                  <a:gd name="connsiteY1083" fmla="*/ 2308 h 10000"/>
                  <a:gd name="connsiteX1084" fmla="*/ 6217 w 10577"/>
                  <a:gd name="connsiteY1084" fmla="*/ 2299 h 10000"/>
                  <a:gd name="connsiteX1085" fmla="*/ 6194 w 10577"/>
                  <a:gd name="connsiteY1085" fmla="*/ 2308 h 10000"/>
                  <a:gd name="connsiteX1086" fmla="*/ 6180 w 10577"/>
                  <a:gd name="connsiteY1086" fmla="*/ 2299 h 10000"/>
                  <a:gd name="connsiteX1087" fmla="*/ 6143 w 10577"/>
                  <a:gd name="connsiteY1087" fmla="*/ 2308 h 10000"/>
                  <a:gd name="connsiteX1088" fmla="*/ 6134 w 10577"/>
                  <a:gd name="connsiteY1088" fmla="*/ 2325 h 10000"/>
                  <a:gd name="connsiteX1089" fmla="*/ 6115 w 10577"/>
                  <a:gd name="connsiteY1089" fmla="*/ 2282 h 10000"/>
                  <a:gd name="connsiteX1090" fmla="*/ 6069 w 10577"/>
                  <a:gd name="connsiteY1090" fmla="*/ 2274 h 10000"/>
                  <a:gd name="connsiteX1091" fmla="*/ 6069 w 10577"/>
                  <a:gd name="connsiteY1091" fmla="*/ 2282 h 10000"/>
                  <a:gd name="connsiteX1092" fmla="*/ 6060 w 10577"/>
                  <a:gd name="connsiteY1092" fmla="*/ 2299 h 10000"/>
                  <a:gd name="connsiteX1093" fmla="*/ 5972 w 10577"/>
                  <a:gd name="connsiteY1093" fmla="*/ 2214 h 10000"/>
                  <a:gd name="connsiteX1094" fmla="*/ 5968 w 10577"/>
                  <a:gd name="connsiteY1094" fmla="*/ 2197 h 10000"/>
                  <a:gd name="connsiteX1095" fmla="*/ 5968 w 10577"/>
                  <a:gd name="connsiteY1095" fmla="*/ 2171 h 10000"/>
                  <a:gd name="connsiteX1096" fmla="*/ 5968 w 10577"/>
                  <a:gd name="connsiteY1096" fmla="*/ 2162 h 10000"/>
                  <a:gd name="connsiteX1097" fmla="*/ 5968 w 10577"/>
                  <a:gd name="connsiteY1097" fmla="*/ 2120 h 10000"/>
                  <a:gd name="connsiteX1098" fmla="*/ 5968 w 10577"/>
                  <a:gd name="connsiteY1098" fmla="*/ 2111 h 10000"/>
                  <a:gd name="connsiteX1099" fmla="*/ 5972 w 10577"/>
                  <a:gd name="connsiteY1099" fmla="*/ 2103 h 10000"/>
                  <a:gd name="connsiteX1100" fmla="*/ 5986 w 10577"/>
                  <a:gd name="connsiteY1100" fmla="*/ 2103 h 10000"/>
                  <a:gd name="connsiteX1101" fmla="*/ 5986 w 10577"/>
                  <a:gd name="connsiteY1101" fmla="*/ 2085 h 10000"/>
                  <a:gd name="connsiteX1102" fmla="*/ 5995 w 10577"/>
                  <a:gd name="connsiteY1102" fmla="*/ 2085 h 10000"/>
                  <a:gd name="connsiteX1103" fmla="*/ 5995 w 10577"/>
                  <a:gd name="connsiteY1103" fmla="*/ 2077 h 10000"/>
                  <a:gd name="connsiteX1104" fmla="*/ 5986 w 10577"/>
                  <a:gd name="connsiteY1104" fmla="*/ 2060 h 10000"/>
                  <a:gd name="connsiteX1105" fmla="*/ 5954 w 10577"/>
                  <a:gd name="connsiteY1105" fmla="*/ 2060 h 10000"/>
                  <a:gd name="connsiteX1106" fmla="*/ 5940 w 10577"/>
                  <a:gd name="connsiteY1106" fmla="*/ 2051 h 10000"/>
                  <a:gd name="connsiteX1107" fmla="*/ 5922 w 10577"/>
                  <a:gd name="connsiteY1107" fmla="*/ 2060 h 10000"/>
                  <a:gd name="connsiteX1108" fmla="*/ 5885 w 10577"/>
                  <a:gd name="connsiteY1108" fmla="*/ 2051 h 10000"/>
                  <a:gd name="connsiteX1109" fmla="*/ 5876 w 10577"/>
                  <a:gd name="connsiteY1109" fmla="*/ 2026 h 10000"/>
                  <a:gd name="connsiteX1110" fmla="*/ 5862 w 10577"/>
                  <a:gd name="connsiteY1110" fmla="*/ 2026 h 10000"/>
                  <a:gd name="connsiteX1111" fmla="*/ 5848 w 10577"/>
                  <a:gd name="connsiteY1111" fmla="*/ 2026 h 10000"/>
                  <a:gd name="connsiteX1112" fmla="*/ 5825 w 10577"/>
                  <a:gd name="connsiteY1112" fmla="*/ 2026 h 10000"/>
                  <a:gd name="connsiteX1113" fmla="*/ 5788 w 10577"/>
                  <a:gd name="connsiteY1113" fmla="*/ 1991 h 10000"/>
                  <a:gd name="connsiteX1114" fmla="*/ 5760 w 10577"/>
                  <a:gd name="connsiteY1114" fmla="*/ 2000 h 10000"/>
                  <a:gd name="connsiteX1115" fmla="*/ 5760 w 10577"/>
                  <a:gd name="connsiteY1115" fmla="*/ 2026 h 10000"/>
                  <a:gd name="connsiteX1116" fmla="*/ 5714 w 10577"/>
                  <a:gd name="connsiteY1116" fmla="*/ 2051 h 10000"/>
                  <a:gd name="connsiteX1117" fmla="*/ 5687 w 10577"/>
                  <a:gd name="connsiteY1117" fmla="*/ 2034 h 10000"/>
                  <a:gd name="connsiteX1118" fmla="*/ 5645 w 10577"/>
                  <a:gd name="connsiteY1118" fmla="*/ 2077 h 10000"/>
                  <a:gd name="connsiteX1119" fmla="*/ 5664 w 10577"/>
                  <a:gd name="connsiteY1119" fmla="*/ 2120 h 10000"/>
                  <a:gd name="connsiteX1120" fmla="*/ 5664 w 10577"/>
                  <a:gd name="connsiteY1120" fmla="*/ 2162 h 10000"/>
                  <a:gd name="connsiteX1121" fmla="*/ 5631 w 10577"/>
                  <a:gd name="connsiteY1121" fmla="*/ 2197 h 10000"/>
                  <a:gd name="connsiteX1122" fmla="*/ 5618 w 10577"/>
                  <a:gd name="connsiteY1122" fmla="*/ 2188 h 10000"/>
                  <a:gd name="connsiteX1123" fmla="*/ 5618 w 10577"/>
                  <a:gd name="connsiteY1123" fmla="*/ 2171 h 10000"/>
                  <a:gd name="connsiteX1124" fmla="*/ 5641 w 10577"/>
                  <a:gd name="connsiteY1124" fmla="*/ 2171 h 10000"/>
                  <a:gd name="connsiteX1125" fmla="*/ 5641 w 10577"/>
                  <a:gd name="connsiteY1125" fmla="*/ 2162 h 10000"/>
                  <a:gd name="connsiteX1126" fmla="*/ 5627 w 10577"/>
                  <a:gd name="connsiteY1126" fmla="*/ 2145 h 10000"/>
                  <a:gd name="connsiteX1127" fmla="*/ 5627 w 10577"/>
                  <a:gd name="connsiteY1127" fmla="*/ 2120 h 10000"/>
                  <a:gd name="connsiteX1128" fmla="*/ 5618 w 10577"/>
                  <a:gd name="connsiteY1128" fmla="*/ 2111 h 10000"/>
                  <a:gd name="connsiteX1129" fmla="*/ 5631 w 10577"/>
                  <a:gd name="connsiteY1129" fmla="*/ 2051 h 10000"/>
                  <a:gd name="connsiteX1130" fmla="*/ 5631 w 10577"/>
                  <a:gd name="connsiteY1130" fmla="*/ 2026 h 10000"/>
                  <a:gd name="connsiteX1131" fmla="*/ 5627 w 10577"/>
                  <a:gd name="connsiteY1131" fmla="*/ 1991 h 10000"/>
                  <a:gd name="connsiteX1132" fmla="*/ 5618 w 10577"/>
                  <a:gd name="connsiteY1132" fmla="*/ 1974 h 10000"/>
                  <a:gd name="connsiteX1133" fmla="*/ 5618 w 10577"/>
                  <a:gd name="connsiteY1133" fmla="*/ 1940 h 10000"/>
                  <a:gd name="connsiteX1134" fmla="*/ 5594 w 10577"/>
                  <a:gd name="connsiteY1134" fmla="*/ 1855 h 10000"/>
                  <a:gd name="connsiteX1135" fmla="*/ 5599 w 10577"/>
                  <a:gd name="connsiteY1135" fmla="*/ 1915 h 10000"/>
                  <a:gd name="connsiteX1136" fmla="*/ 5599 w 10577"/>
                  <a:gd name="connsiteY1136" fmla="*/ 1949 h 10000"/>
                  <a:gd name="connsiteX1137" fmla="*/ 5594 w 10577"/>
                  <a:gd name="connsiteY1137" fmla="*/ 1991 h 10000"/>
                  <a:gd name="connsiteX1138" fmla="*/ 5571 w 10577"/>
                  <a:gd name="connsiteY1138" fmla="*/ 2000 h 10000"/>
                  <a:gd name="connsiteX1139" fmla="*/ 5530 w 10577"/>
                  <a:gd name="connsiteY1139" fmla="*/ 1991 h 10000"/>
                  <a:gd name="connsiteX1140" fmla="*/ 5525 w 10577"/>
                  <a:gd name="connsiteY1140" fmla="*/ 2000 h 10000"/>
                  <a:gd name="connsiteX1141" fmla="*/ 5521 w 10577"/>
                  <a:gd name="connsiteY1141" fmla="*/ 1991 h 10000"/>
                  <a:gd name="connsiteX1142" fmla="*/ 5498 w 10577"/>
                  <a:gd name="connsiteY1142" fmla="*/ 1949 h 10000"/>
                  <a:gd name="connsiteX1143" fmla="*/ 5493 w 10577"/>
                  <a:gd name="connsiteY1143" fmla="*/ 1889 h 10000"/>
                  <a:gd name="connsiteX1144" fmla="*/ 5493 w 10577"/>
                  <a:gd name="connsiteY1144" fmla="*/ 1863 h 10000"/>
                  <a:gd name="connsiteX1145" fmla="*/ 5498 w 10577"/>
                  <a:gd name="connsiteY1145" fmla="*/ 1889 h 10000"/>
                  <a:gd name="connsiteX1146" fmla="*/ 5512 w 10577"/>
                  <a:gd name="connsiteY1146" fmla="*/ 1855 h 10000"/>
                  <a:gd name="connsiteX1147" fmla="*/ 5512 w 10577"/>
                  <a:gd name="connsiteY1147" fmla="*/ 1838 h 10000"/>
                  <a:gd name="connsiteX1148" fmla="*/ 5479 w 10577"/>
                  <a:gd name="connsiteY1148" fmla="*/ 1855 h 10000"/>
                  <a:gd name="connsiteX1149" fmla="*/ 5470 w 10577"/>
                  <a:gd name="connsiteY1149" fmla="*/ 1872 h 10000"/>
                  <a:gd name="connsiteX1150" fmla="*/ 5470 w 10577"/>
                  <a:gd name="connsiteY1150" fmla="*/ 1889 h 10000"/>
                  <a:gd name="connsiteX1151" fmla="*/ 5465 w 10577"/>
                  <a:gd name="connsiteY1151" fmla="*/ 1897 h 10000"/>
                  <a:gd name="connsiteX1152" fmla="*/ 5456 w 10577"/>
                  <a:gd name="connsiteY1152" fmla="*/ 1872 h 10000"/>
                  <a:gd name="connsiteX1153" fmla="*/ 5447 w 10577"/>
                  <a:gd name="connsiteY1153" fmla="*/ 1872 h 10000"/>
                  <a:gd name="connsiteX1154" fmla="*/ 5433 w 10577"/>
                  <a:gd name="connsiteY1154" fmla="*/ 1855 h 10000"/>
                  <a:gd name="connsiteX1155" fmla="*/ 5396 w 10577"/>
                  <a:gd name="connsiteY1155" fmla="*/ 1863 h 10000"/>
                  <a:gd name="connsiteX1156" fmla="*/ 5396 w 10577"/>
                  <a:gd name="connsiteY1156" fmla="*/ 1897 h 10000"/>
                  <a:gd name="connsiteX1157" fmla="*/ 5378 w 10577"/>
                  <a:gd name="connsiteY1157" fmla="*/ 1949 h 10000"/>
                  <a:gd name="connsiteX1158" fmla="*/ 5378 w 10577"/>
                  <a:gd name="connsiteY1158" fmla="*/ 1966 h 10000"/>
                  <a:gd name="connsiteX1159" fmla="*/ 5392 w 10577"/>
                  <a:gd name="connsiteY1159" fmla="*/ 2026 h 10000"/>
                  <a:gd name="connsiteX1160" fmla="*/ 5396 w 10577"/>
                  <a:gd name="connsiteY1160" fmla="*/ 2026 h 10000"/>
                  <a:gd name="connsiteX1161" fmla="*/ 5392 w 10577"/>
                  <a:gd name="connsiteY1161" fmla="*/ 2009 h 10000"/>
                  <a:gd name="connsiteX1162" fmla="*/ 5392 w 10577"/>
                  <a:gd name="connsiteY1162" fmla="*/ 2000 h 10000"/>
                  <a:gd name="connsiteX1163" fmla="*/ 5396 w 10577"/>
                  <a:gd name="connsiteY1163" fmla="*/ 2009 h 10000"/>
                  <a:gd name="connsiteX1164" fmla="*/ 5424 w 10577"/>
                  <a:gd name="connsiteY1164" fmla="*/ 2009 h 10000"/>
                  <a:gd name="connsiteX1165" fmla="*/ 5433 w 10577"/>
                  <a:gd name="connsiteY1165" fmla="*/ 1991 h 10000"/>
                  <a:gd name="connsiteX1166" fmla="*/ 5447 w 10577"/>
                  <a:gd name="connsiteY1166" fmla="*/ 1974 h 10000"/>
                  <a:gd name="connsiteX1167" fmla="*/ 5452 w 10577"/>
                  <a:gd name="connsiteY1167" fmla="*/ 1966 h 10000"/>
                  <a:gd name="connsiteX1168" fmla="*/ 5456 w 10577"/>
                  <a:gd name="connsiteY1168" fmla="*/ 1966 h 10000"/>
                  <a:gd name="connsiteX1169" fmla="*/ 5465 w 10577"/>
                  <a:gd name="connsiteY1169" fmla="*/ 2009 h 10000"/>
                  <a:gd name="connsiteX1170" fmla="*/ 5433 w 10577"/>
                  <a:gd name="connsiteY1170" fmla="*/ 2034 h 10000"/>
                  <a:gd name="connsiteX1171" fmla="*/ 5424 w 10577"/>
                  <a:gd name="connsiteY1171" fmla="*/ 2060 h 10000"/>
                  <a:gd name="connsiteX1172" fmla="*/ 5419 w 10577"/>
                  <a:gd name="connsiteY1172" fmla="*/ 2060 h 10000"/>
                  <a:gd name="connsiteX1173" fmla="*/ 5392 w 10577"/>
                  <a:gd name="connsiteY1173" fmla="*/ 2111 h 10000"/>
                  <a:gd name="connsiteX1174" fmla="*/ 5378 w 10577"/>
                  <a:gd name="connsiteY1174" fmla="*/ 2111 h 10000"/>
                  <a:gd name="connsiteX1175" fmla="*/ 5350 w 10577"/>
                  <a:gd name="connsiteY1175" fmla="*/ 2060 h 10000"/>
                  <a:gd name="connsiteX1176" fmla="*/ 5373 w 10577"/>
                  <a:gd name="connsiteY1176" fmla="*/ 2111 h 10000"/>
                  <a:gd name="connsiteX1177" fmla="*/ 5364 w 10577"/>
                  <a:gd name="connsiteY1177" fmla="*/ 2111 h 10000"/>
                  <a:gd name="connsiteX1178" fmla="*/ 5359 w 10577"/>
                  <a:gd name="connsiteY1178" fmla="*/ 2103 h 10000"/>
                  <a:gd name="connsiteX1179" fmla="*/ 5359 w 10577"/>
                  <a:gd name="connsiteY1179" fmla="*/ 2120 h 10000"/>
                  <a:gd name="connsiteX1180" fmla="*/ 5359 w 10577"/>
                  <a:gd name="connsiteY1180" fmla="*/ 2137 h 10000"/>
                  <a:gd name="connsiteX1181" fmla="*/ 5313 w 10577"/>
                  <a:gd name="connsiteY1181" fmla="*/ 2162 h 10000"/>
                  <a:gd name="connsiteX1182" fmla="*/ 5300 w 10577"/>
                  <a:gd name="connsiteY1182" fmla="*/ 2162 h 10000"/>
                  <a:gd name="connsiteX1183" fmla="*/ 5300 w 10577"/>
                  <a:gd name="connsiteY1183" fmla="*/ 2171 h 10000"/>
                  <a:gd name="connsiteX1184" fmla="*/ 5300 w 10577"/>
                  <a:gd name="connsiteY1184" fmla="*/ 2197 h 10000"/>
                  <a:gd name="connsiteX1185" fmla="*/ 5276 w 10577"/>
                  <a:gd name="connsiteY1185" fmla="*/ 2188 h 10000"/>
                  <a:gd name="connsiteX1186" fmla="*/ 5249 w 10577"/>
                  <a:gd name="connsiteY1186" fmla="*/ 2222 h 10000"/>
                  <a:gd name="connsiteX1187" fmla="*/ 5249 w 10577"/>
                  <a:gd name="connsiteY1187" fmla="*/ 2222 h 10000"/>
                  <a:gd name="connsiteX1188" fmla="*/ 5217 w 10577"/>
                  <a:gd name="connsiteY1188" fmla="*/ 2214 h 10000"/>
                  <a:gd name="connsiteX1189" fmla="*/ 5203 w 10577"/>
                  <a:gd name="connsiteY1189" fmla="*/ 2239 h 10000"/>
                  <a:gd name="connsiteX1190" fmla="*/ 5171 w 10577"/>
                  <a:gd name="connsiteY1190" fmla="*/ 2214 h 10000"/>
                  <a:gd name="connsiteX1191" fmla="*/ 5157 w 10577"/>
                  <a:gd name="connsiteY1191" fmla="*/ 2239 h 10000"/>
                  <a:gd name="connsiteX1192" fmla="*/ 5166 w 10577"/>
                  <a:gd name="connsiteY1192" fmla="*/ 2256 h 10000"/>
                  <a:gd name="connsiteX1193" fmla="*/ 5171 w 10577"/>
                  <a:gd name="connsiteY1193" fmla="*/ 2308 h 10000"/>
                  <a:gd name="connsiteX1194" fmla="*/ 5212 w 10577"/>
                  <a:gd name="connsiteY1194" fmla="*/ 2350 h 10000"/>
                  <a:gd name="connsiteX1195" fmla="*/ 5203 w 10577"/>
                  <a:gd name="connsiteY1195" fmla="*/ 2350 h 10000"/>
                  <a:gd name="connsiteX1196" fmla="*/ 5166 w 10577"/>
                  <a:gd name="connsiteY1196" fmla="*/ 2325 h 10000"/>
                  <a:gd name="connsiteX1197" fmla="*/ 5152 w 10577"/>
                  <a:gd name="connsiteY1197" fmla="*/ 2308 h 10000"/>
                  <a:gd name="connsiteX1198" fmla="*/ 5143 w 10577"/>
                  <a:gd name="connsiteY1198" fmla="*/ 2333 h 10000"/>
                  <a:gd name="connsiteX1199" fmla="*/ 5138 w 10577"/>
                  <a:gd name="connsiteY1199" fmla="*/ 2333 h 10000"/>
                  <a:gd name="connsiteX1200" fmla="*/ 5124 w 10577"/>
                  <a:gd name="connsiteY1200" fmla="*/ 2376 h 10000"/>
                  <a:gd name="connsiteX1201" fmla="*/ 5115 w 10577"/>
                  <a:gd name="connsiteY1201" fmla="*/ 2385 h 10000"/>
                  <a:gd name="connsiteX1202" fmla="*/ 5106 w 10577"/>
                  <a:gd name="connsiteY1202" fmla="*/ 2385 h 10000"/>
                  <a:gd name="connsiteX1203" fmla="*/ 5055 w 10577"/>
                  <a:gd name="connsiteY1203" fmla="*/ 2470 h 10000"/>
                  <a:gd name="connsiteX1204" fmla="*/ 5065 w 10577"/>
                  <a:gd name="connsiteY1204" fmla="*/ 2462 h 10000"/>
                  <a:gd name="connsiteX1205" fmla="*/ 5055 w 10577"/>
                  <a:gd name="connsiteY1205" fmla="*/ 2444 h 10000"/>
                  <a:gd name="connsiteX1206" fmla="*/ 5041 w 10577"/>
                  <a:gd name="connsiteY1206" fmla="*/ 2462 h 10000"/>
                  <a:gd name="connsiteX1207" fmla="*/ 5037 w 10577"/>
                  <a:gd name="connsiteY1207" fmla="*/ 2470 h 10000"/>
                  <a:gd name="connsiteX1208" fmla="*/ 5032 w 10577"/>
                  <a:gd name="connsiteY1208" fmla="*/ 2470 h 10000"/>
                  <a:gd name="connsiteX1209" fmla="*/ 5032 w 10577"/>
                  <a:gd name="connsiteY1209" fmla="*/ 2444 h 10000"/>
                  <a:gd name="connsiteX1210" fmla="*/ 5055 w 10577"/>
                  <a:gd name="connsiteY1210" fmla="*/ 2410 h 10000"/>
                  <a:gd name="connsiteX1211" fmla="*/ 5065 w 10577"/>
                  <a:gd name="connsiteY1211" fmla="*/ 2393 h 10000"/>
                  <a:gd name="connsiteX1212" fmla="*/ 5069 w 10577"/>
                  <a:gd name="connsiteY1212" fmla="*/ 2385 h 10000"/>
                  <a:gd name="connsiteX1213" fmla="*/ 5083 w 10577"/>
                  <a:gd name="connsiteY1213" fmla="*/ 2376 h 10000"/>
                  <a:gd name="connsiteX1214" fmla="*/ 5097 w 10577"/>
                  <a:gd name="connsiteY1214" fmla="*/ 2376 h 10000"/>
                  <a:gd name="connsiteX1215" fmla="*/ 5124 w 10577"/>
                  <a:gd name="connsiteY1215" fmla="*/ 2325 h 10000"/>
                  <a:gd name="connsiteX1216" fmla="*/ 5143 w 10577"/>
                  <a:gd name="connsiteY1216" fmla="*/ 2248 h 10000"/>
                  <a:gd name="connsiteX1217" fmla="*/ 5152 w 10577"/>
                  <a:gd name="connsiteY1217" fmla="*/ 2239 h 10000"/>
                  <a:gd name="connsiteX1218" fmla="*/ 5166 w 10577"/>
                  <a:gd name="connsiteY1218" fmla="*/ 2162 h 10000"/>
                  <a:gd name="connsiteX1219" fmla="*/ 5171 w 10577"/>
                  <a:gd name="connsiteY1219" fmla="*/ 2171 h 10000"/>
                  <a:gd name="connsiteX1220" fmla="*/ 5198 w 10577"/>
                  <a:gd name="connsiteY1220" fmla="*/ 2145 h 10000"/>
                  <a:gd name="connsiteX1221" fmla="*/ 5203 w 10577"/>
                  <a:gd name="connsiteY1221" fmla="*/ 2111 h 10000"/>
                  <a:gd name="connsiteX1222" fmla="*/ 5217 w 10577"/>
                  <a:gd name="connsiteY1222" fmla="*/ 2060 h 10000"/>
                  <a:gd name="connsiteX1223" fmla="*/ 5226 w 10577"/>
                  <a:gd name="connsiteY1223" fmla="*/ 2026 h 10000"/>
                  <a:gd name="connsiteX1224" fmla="*/ 5286 w 10577"/>
                  <a:gd name="connsiteY1224" fmla="*/ 2026 h 10000"/>
                  <a:gd name="connsiteX1225" fmla="*/ 5290 w 10577"/>
                  <a:gd name="connsiteY1225" fmla="*/ 2034 h 10000"/>
                  <a:gd name="connsiteX1226" fmla="*/ 5323 w 10577"/>
                  <a:gd name="connsiteY1226" fmla="*/ 1923 h 10000"/>
                  <a:gd name="connsiteX1227" fmla="*/ 5323 w 10577"/>
                  <a:gd name="connsiteY1227" fmla="*/ 1889 h 10000"/>
                  <a:gd name="connsiteX1228" fmla="*/ 5359 w 10577"/>
                  <a:gd name="connsiteY1228" fmla="*/ 1829 h 10000"/>
                  <a:gd name="connsiteX1229" fmla="*/ 5378 w 10577"/>
                  <a:gd name="connsiteY1229" fmla="*/ 1812 h 10000"/>
                  <a:gd name="connsiteX1230" fmla="*/ 5406 w 10577"/>
                  <a:gd name="connsiteY1230" fmla="*/ 1752 h 10000"/>
                  <a:gd name="connsiteX1231" fmla="*/ 5410 w 10577"/>
                  <a:gd name="connsiteY1231" fmla="*/ 1718 h 10000"/>
                  <a:gd name="connsiteX1232" fmla="*/ 5438 w 10577"/>
                  <a:gd name="connsiteY1232" fmla="*/ 1667 h 10000"/>
                  <a:gd name="connsiteX1233" fmla="*/ 5438 w 10577"/>
                  <a:gd name="connsiteY1233" fmla="*/ 1650 h 10000"/>
                  <a:gd name="connsiteX1234" fmla="*/ 5438 w 10577"/>
                  <a:gd name="connsiteY1234" fmla="*/ 1641 h 10000"/>
                  <a:gd name="connsiteX1235" fmla="*/ 5452 w 10577"/>
                  <a:gd name="connsiteY1235" fmla="*/ 1641 h 10000"/>
                  <a:gd name="connsiteX1236" fmla="*/ 5456 w 10577"/>
                  <a:gd name="connsiteY1236" fmla="*/ 1615 h 10000"/>
                  <a:gd name="connsiteX1237" fmla="*/ 5456 w 10577"/>
                  <a:gd name="connsiteY1237" fmla="*/ 1615 h 10000"/>
                  <a:gd name="connsiteX1238" fmla="*/ 5465 w 10577"/>
                  <a:gd name="connsiteY1238" fmla="*/ 1598 h 10000"/>
                  <a:gd name="connsiteX1239" fmla="*/ 5465 w 10577"/>
                  <a:gd name="connsiteY1239" fmla="*/ 1615 h 10000"/>
                  <a:gd name="connsiteX1240" fmla="*/ 5479 w 10577"/>
                  <a:gd name="connsiteY1240" fmla="*/ 1598 h 10000"/>
                  <a:gd name="connsiteX1241" fmla="*/ 5484 w 10577"/>
                  <a:gd name="connsiteY1241" fmla="*/ 1581 h 10000"/>
                  <a:gd name="connsiteX1242" fmla="*/ 5493 w 10577"/>
                  <a:gd name="connsiteY1242" fmla="*/ 1581 h 10000"/>
                  <a:gd name="connsiteX1243" fmla="*/ 5512 w 10577"/>
                  <a:gd name="connsiteY1243" fmla="*/ 1538 h 10000"/>
                  <a:gd name="connsiteX1244" fmla="*/ 5530 w 10577"/>
                  <a:gd name="connsiteY1244" fmla="*/ 1564 h 10000"/>
                  <a:gd name="connsiteX1245" fmla="*/ 5530 w 10577"/>
                  <a:gd name="connsiteY1245" fmla="*/ 1538 h 10000"/>
                  <a:gd name="connsiteX1246" fmla="*/ 5539 w 10577"/>
                  <a:gd name="connsiteY1246" fmla="*/ 1530 h 10000"/>
                  <a:gd name="connsiteX1247" fmla="*/ 5530 w 10577"/>
                  <a:gd name="connsiteY1247" fmla="*/ 1504 h 10000"/>
                  <a:gd name="connsiteX1248" fmla="*/ 5567 w 10577"/>
                  <a:gd name="connsiteY1248" fmla="*/ 1479 h 10000"/>
                  <a:gd name="connsiteX1249" fmla="*/ 5553 w 10577"/>
                  <a:gd name="connsiteY1249" fmla="*/ 1479 h 10000"/>
                  <a:gd name="connsiteX1250" fmla="*/ 5553 w 10577"/>
                  <a:gd name="connsiteY1250" fmla="*/ 1453 h 10000"/>
                  <a:gd name="connsiteX1251" fmla="*/ 5581 w 10577"/>
                  <a:gd name="connsiteY1251" fmla="*/ 1444 h 10000"/>
                  <a:gd name="connsiteX1252" fmla="*/ 5581 w 10577"/>
                  <a:gd name="connsiteY1252" fmla="*/ 1453 h 10000"/>
                  <a:gd name="connsiteX1253" fmla="*/ 5585 w 10577"/>
                  <a:gd name="connsiteY1253" fmla="*/ 1444 h 10000"/>
                  <a:gd name="connsiteX1254" fmla="*/ 5594 w 10577"/>
                  <a:gd name="connsiteY1254" fmla="*/ 1427 h 10000"/>
                  <a:gd name="connsiteX1255" fmla="*/ 5599 w 10577"/>
                  <a:gd name="connsiteY1255" fmla="*/ 1419 h 10000"/>
                  <a:gd name="connsiteX1256" fmla="*/ 5594 w 10577"/>
                  <a:gd name="connsiteY1256" fmla="*/ 1402 h 10000"/>
                  <a:gd name="connsiteX1257" fmla="*/ 5604 w 10577"/>
                  <a:gd name="connsiteY1257" fmla="*/ 1393 h 10000"/>
                  <a:gd name="connsiteX1258" fmla="*/ 5618 w 10577"/>
                  <a:gd name="connsiteY1258" fmla="*/ 1393 h 10000"/>
                  <a:gd name="connsiteX1259" fmla="*/ 5627 w 10577"/>
                  <a:gd name="connsiteY1259" fmla="*/ 1368 h 10000"/>
                  <a:gd name="connsiteX1260" fmla="*/ 5627 w 10577"/>
                  <a:gd name="connsiteY1260" fmla="*/ 1325 h 10000"/>
                  <a:gd name="connsiteX1261" fmla="*/ 5645 w 10577"/>
                  <a:gd name="connsiteY1261" fmla="*/ 1291 h 10000"/>
                  <a:gd name="connsiteX1262" fmla="*/ 5645 w 10577"/>
                  <a:gd name="connsiteY1262" fmla="*/ 1282 h 10000"/>
                  <a:gd name="connsiteX1263" fmla="*/ 5654 w 10577"/>
                  <a:gd name="connsiteY1263" fmla="*/ 1265 h 10000"/>
                  <a:gd name="connsiteX1264" fmla="*/ 5654 w 10577"/>
                  <a:gd name="connsiteY1264" fmla="*/ 1214 h 10000"/>
                  <a:gd name="connsiteX1265" fmla="*/ 5654 w 10577"/>
                  <a:gd name="connsiteY1265" fmla="*/ 1214 h 10000"/>
                  <a:gd name="connsiteX1266" fmla="*/ 5645 w 10577"/>
                  <a:gd name="connsiteY1266" fmla="*/ 1197 h 10000"/>
                  <a:gd name="connsiteX1267" fmla="*/ 5659 w 10577"/>
                  <a:gd name="connsiteY1267" fmla="*/ 1197 h 10000"/>
                  <a:gd name="connsiteX1268" fmla="*/ 5654 w 10577"/>
                  <a:gd name="connsiteY1268" fmla="*/ 1154 h 10000"/>
                  <a:gd name="connsiteX1269" fmla="*/ 5641 w 10577"/>
                  <a:gd name="connsiteY1269" fmla="*/ 1154 h 10000"/>
                  <a:gd name="connsiteX1270" fmla="*/ 5627 w 10577"/>
                  <a:gd name="connsiteY1270" fmla="*/ 1128 h 10000"/>
                  <a:gd name="connsiteX1271" fmla="*/ 5618 w 10577"/>
                  <a:gd name="connsiteY1271" fmla="*/ 1094 h 10000"/>
                  <a:gd name="connsiteX1272" fmla="*/ 5613 w 10577"/>
                  <a:gd name="connsiteY1272" fmla="*/ 1094 h 10000"/>
                  <a:gd name="connsiteX1273" fmla="*/ 5604 w 10577"/>
                  <a:gd name="connsiteY1273" fmla="*/ 1120 h 10000"/>
                  <a:gd name="connsiteX1274" fmla="*/ 5604 w 10577"/>
                  <a:gd name="connsiteY1274" fmla="*/ 1128 h 10000"/>
                  <a:gd name="connsiteX1275" fmla="*/ 5599 w 10577"/>
                  <a:gd name="connsiteY1275" fmla="*/ 1103 h 10000"/>
                  <a:gd name="connsiteX1276" fmla="*/ 5599 w 10577"/>
                  <a:gd name="connsiteY1276" fmla="*/ 1103 h 10000"/>
                  <a:gd name="connsiteX1277" fmla="*/ 5594 w 10577"/>
                  <a:gd name="connsiteY1277" fmla="*/ 1068 h 10000"/>
                  <a:gd name="connsiteX1278" fmla="*/ 5594 w 10577"/>
                  <a:gd name="connsiteY1278" fmla="*/ 1060 h 10000"/>
                  <a:gd name="connsiteX1279" fmla="*/ 5581 w 10577"/>
                  <a:gd name="connsiteY1279" fmla="*/ 1034 h 10000"/>
                  <a:gd name="connsiteX1280" fmla="*/ 5571 w 10577"/>
                  <a:gd name="connsiteY1280" fmla="*/ 1009 h 10000"/>
                  <a:gd name="connsiteX1281" fmla="*/ 5571 w 10577"/>
                  <a:gd name="connsiteY1281" fmla="*/ 991 h 10000"/>
                  <a:gd name="connsiteX1282" fmla="*/ 5585 w 10577"/>
                  <a:gd name="connsiteY1282" fmla="*/ 1009 h 10000"/>
                  <a:gd name="connsiteX1283" fmla="*/ 5604 w 10577"/>
                  <a:gd name="connsiteY1283" fmla="*/ 1043 h 10000"/>
                  <a:gd name="connsiteX1284" fmla="*/ 5641 w 10577"/>
                  <a:gd name="connsiteY1284" fmla="*/ 1094 h 10000"/>
                  <a:gd name="connsiteX1285" fmla="*/ 5631 w 10577"/>
                  <a:gd name="connsiteY1285" fmla="*/ 1128 h 10000"/>
                  <a:gd name="connsiteX1286" fmla="*/ 5641 w 10577"/>
                  <a:gd name="connsiteY1286" fmla="*/ 1128 h 10000"/>
                  <a:gd name="connsiteX1287" fmla="*/ 5659 w 10577"/>
                  <a:gd name="connsiteY1287" fmla="*/ 1017 h 10000"/>
                  <a:gd name="connsiteX1288" fmla="*/ 5659 w 10577"/>
                  <a:gd name="connsiteY1288" fmla="*/ 983 h 10000"/>
                  <a:gd name="connsiteX1289" fmla="*/ 5659 w 10577"/>
                  <a:gd name="connsiteY1289" fmla="*/ 957 h 10000"/>
                  <a:gd name="connsiteX1290" fmla="*/ 5654 w 10577"/>
                  <a:gd name="connsiteY1290" fmla="*/ 966 h 10000"/>
                  <a:gd name="connsiteX1291" fmla="*/ 5641 w 10577"/>
                  <a:gd name="connsiteY1291" fmla="*/ 957 h 10000"/>
                  <a:gd name="connsiteX1292" fmla="*/ 5631 w 10577"/>
                  <a:gd name="connsiteY1292" fmla="*/ 897 h 10000"/>
                  <a:gd name="connsiteX1293" fmla="*/ 5641 w 10577"/>
                  <a:gd name="connsiteY1293" fmla="*/ 872 h 10000"/>
                  <a:gd name="connsiteX1294" fmla="*/ 5618 w 10577"/>
                  <a:gd name="connsiteY1294" fmla="*/ 803 h 10000"/>
                  <a:gd name="connsiteX1295" fmla="*/ 5604 w 10577"/>
                  <a:gd name="connsiteY1295" fmla="*/ 821 h 10000"/>
                  <a:gd name="connsiteX1296" fmla="*/ 5613 w 10577"/>
                  <a:gd name="connsiteY1296" fmla="*/ 846 h 10000"/>
                  <a:gd name="connsiteX1297" fmla="*/ 5604 w 10577"/>
                  <a:gd name="connsiteY1297" fmla="*/ 855 h 10000"/>
                  <a:gd name="connsiteX1298" fmla="*/ 5599 w 10577"/>
                  <a:gd name="connsiteY1298" fmla="*/ 880 h 10000"/>
                  <a:gd name="connsiteX1299" fmla="*/ 5594 w 10577"/>
                  <a:gd name="connsiteY1299" fmla="*/ 880 h 10000"/>
                  <a:gd name="connsiteX1300" fmla="*/ 5585 w 10577"/>
                  <a:gd name="connsiteY1300" fmla="*/ 829 h 10000"/>
                  <a:gd name="connsiteX1301" fmla="*/ 5571 w 10577"/>
                  <a:gd name="connsiteY1301" fmla="*/ 803 h 10000"/>
                  <a:gd name="connsiteX1302" fmla="*/ 5585 w 10577"/>
                  <a:gd name="connsiteY1302" fmla="*/ 795 h 10000"/>
                  <a:gd name="connsiteX1303" fmla="*/ 5585 w 10577"/>
                  <a:gd name="connsiteY1303" fmla="*/ 761 h 10000"/>
                  <a:gd name="connsiteX1304" fmla="*/ 5558 w 10577"/>
                  <a:gd name="connsiteY1304" fmla="*/ 709 h 10000"/>
                  <a:gd name="connsiteX1305" fmla="*/ 5544 w 10577"/>
                  <a:gd name="connsiteY1305" fmla="*/ 709 h 10000"/>
                  <a:gd name="connsiteX1306" fmla="*/ 5544 w 10577"/>
                  <a:gd name="connsiteY1306" fmla="*/ 684 h 10000"/>
                  <a:gd name="connsiteX1307" fmla="*/ 5525 w 10577"/>
                  <a:gd name="connsiteY1307" fmla="*/ 632 h 10000"/>
                  <a:gd name="connsiteX1308" fmla="*/ 5507 w 10577"/>
                  <a:gd name="connsiteY1308" fmla="*/ 607 h 10000"/>
                  <a:gd name="connsiteX1309" fmla="*/ 5512 w 10577"/>
                  <a:gd name="connsiteY1309" fmla="*/ 598 h 10000"/>
                  <a:gd name="connsiteX1310" fmla="*/ 5507 w 10577"/>
                  <a:gd name="connsiteY1310" fmla="*/ 581 h 10000"/>
                  <a:gd name="connsiteX1311" fmla="*/ 5493 w 10577"/>
                  <a:gd name="connsiteY1311" fmla="*/ 573 h 10000"/>
                  <a:gd name="connsiteX1312" fmla="*/ 5484 w 10577"/>
                  <a:gd name="connsiteY1312" fmla="*/ 581 h 10000"/>
                  <a:gd name="connsiteX1313" fmla="*/ 5484 w 10577"/>
                  <a:gd name="connsiteY1313" fmla="*/ 573 h 10000"/>
                  <a:gd name="connsiteX1314" fmla="*/ 5484 w 10577"/>
                  <a:gd name="connsiteY1314" fmla="*/ 547 h 10000"/>
                  <a:gd name="connsiteX1315" fmla="*/ 5465 w 10577"/>
                  <a:gd name="connsiteY1315" fmla="*/ 556 h 10000"/>
                  <a:gd name="connsiteX1316" fmla="*/ 5433 w 10577"/>
                  <a:gd name="connsiteY1316" fmla="*/ 547 h 10000"/>
                  <a:gd name="connsiteX1317" fmla="*/ 5410 w 10577"/>
                  <a:gd name="connsiteY1317" fmla="*/ 573 h 10000"/>
                  <a:gd name="connsiteX1318" fmla="*/ 5406 w 10577"/>
                  <a:gd name="connsiteY1318" fmla="*/ 573 h 10000"/>
                  <a:gd name="connsiteX1319" fmla="*/ 5392 w 10577"/>
                  <a:gd name="connsiteY1319" fmla="*/ 573 h 10000"/>
                  <a:gd name="connsiteX1320" fmla="*/ 5364 w 10577"/>
                  <a:gd name="connsiteY1320" fmla="*/ 530 h 10000"/>
                  <a:gd name="connsiteX1321" fmla="*/ 5350 w 10577"/>
                  <a:gd name="connsiteY1321" fmla="*/ 556 h 10000"/>
                  <a:gd name="connsiteX1322" fmla="*/ 5346 w 10577"/>
                  <a:gd name="connsiteY1322" fmla="*/ 556 h 10000"/>
                  <a:gd name="connsiteX1323" fmla="*/ 5313 w 10577"/>
                  <a:gd name="connsiteY1323" fmla="*/ 573 h 10000"/>
                  <a:gd name="connsiteX1324" fmla="*/ 5304 w 10577"/>
                  <a:gd name="connsiteY1324" fmla="*/ 556 h 10000"/>
                  <a:gd name="connsiteX1325" fmla="*/ 5290 w 10577"/>
                  <a:gd name="connsiteY1325" fmla="*/ 573 h 10000"/>
                  <a:gd name="connsiteX1326" fmla="*/ 5290 w 10577"/>
                  <a:gd name="connsiteY1326" fmla="*/ 556 h 10000"/>
                  <a:gd name="connsiteX1327" fmla="*/ 5300 w 10577"/>
                  <a:gd name="connsiteY1327" fmla="*/ 547 h 10000"/>
                  <a:gd name="connsiteX1328" fmla="*/ 5300 w 10577"/>
                  <a:gd name="connsiteY1328" fmla="*/ 530 h 10000"/>
                  <a:gd name="connsiteX1329" fmla="*/ 5290 w 10577"/>
                  <a:gd name="connsiteY1329" fmla="*/ 530 h 10000"/>
                  <a:gd name="connsiteX1330" fmla="*/ 5286 w 10577"/>
                  <a:gd name="connsiteY1330" fmla="*/ 547 h 10000"/>
                  <a:gd name="connsiteX1331" fmla="*/ 5272 w 10577"/>
                  <a:gd name="connsiteY1331" fmla="*/ 556 h 10000"/>
                  <a:gd name="connsiteX1332" fmla="*/ 5272 w 10577"/>
                  <a:gd name="connsiteY1332" fmla="*/ 598 h 10000"/>
                  <a:gd name="connsiteX1333" fmla="*/ 5276 w 10577"/>
                  <a:gd name="connsiteY1333" fmla="*/ 581 h 10000"/>
                  <a:gd name="connsiteX1334" fmla="*/ 5272 w 10577"/>
                  <a:gd name="connsiteY1334" fmla="*/ 607 h 10000"/>
                  <a:gd name="connsiteX1335" fmla="*/ 5263 w 10577"/>
                  <a:gd name="connsiteY1335" fmla="*/ 607 h 10000"/>
                  <a:gd name="connsiteX1336" fmla="*/ 5263 w 10577"/>
                  <a:gd name="connsiteY1336" fmla="*/ 632 h 10000"/>
                  <a:gd name="connsiteX1337" fmla="*/ 5258 w 10577"/>
                  <a:gd name="connsiteY1337" fmla="*/ 658 h 10000"/>
                  <a:gd name="connsiteX1338" fmla="*/ 5244 w 10577"/>
                  <a:gd name="connsiteY1338" fmla="*/ 667 h 10000"/>
                  <a:gd name="connsiteX1339" fmla="*/ 5240 w 10577"/>
                  <a:gd name="connsiteY1339" fmla="*/ 658 h 10000"/>
                  <a:gd name="connsiteX1340" fmla="*/ 5240 w 10577"/>
                  <a:gd name="connsiteY1340" fmla="*/ 684 h 10000"/>
                  <a:gd name="connsiteX1341" fmla="*/ 5212 w 10577"/>
                  <a:gd name="connsiteY1341" fmla="*/ 684 h 10000"/>
                  <a:gd name="connsiteX1342" fmla="*/ 5198 w 10577"/>
                  <a:gd name="connsiteY1342" fmla="*/ 692 h 10000"/>
                  <a:gd name="connsiteX1343" fmla="*/ 5184 w 10577"/>
                  <a:gd name="connsiteY1343" fmla="*/ 684 h 10000"/>
                  <a:gd name="connsiteX1344" fmla="*/ 5157 w 10577"/>
                  <a:gd name="connsiteY1344" fmla="*/ 684 h 10000"/>
                  <a:gd name="connsiteX1345" fmla="*/ 5157 w 10577"/>
                  <a:gd name="connsiteY1345" fmla="*/ 667 h 10000"/>
                  <a:gd name="connsiteX1346" fmla="*/ 5157 w 10577"/>
                  <a:gd name="connsiteY1346" fmla="*/ 667 h 10000"/>
                  <a:gd name="connsiteX1347" fmla="*/ 5180 w 10577"/>
                  <a:gd name="connsiteY1347" fmla="*/ 650 h 10000"/>
                  <a:gd name="connsiteX1348" fmla="*/ 5184 w 10577"/>
                  <a:gd name="connsiteY1348" fmla="*/ 658 h 10000"/>
                  <a:gd name="connsiteX1349" fmla="*/ 5203 w 10577"/>
                  <a:gd name="connsiteY1349" fmla="*/ 547 h 10000"/>
                  <a:gd name="connsiteX1350" fmla="*/ 5226 w 10577"/>
                  <a:gd name="connsiteY1350" fmla="*/ 530 h 10000"/>
                  <a:gd name="connsiteX1351" fmla="*/ 5230 w 10577"/>
                  <a:gd name="connsiteY1351" fmla="*/ 487 h 10000"/>
                  <a:gd name="connsiteX1352" fmla="*/ 5230 w 10577"/>
                  <a:gd name="connsiteY1352" fmla="*/ 487 h 10000"/>
                  <a:gd name="connsiteX1353" fmla="*/ 5226 w 10577"/>
                  <a:gd name="connsiteY1353" fmla="*/ 462 h 10000"/>
                  <a:gd name="connsiteX1354" fmla="*/ 5226 w 10577"/>
                  <a:gd name="connsiteY1354" fmla="*/ 462 h 10000"/>
                  <a:gd name="connsiteX1355" fmla="*/ 5240 w 10577"/>
                  <a:gd name="connsiteY1355" fmla="*/ 462 h 10000"/>
                  <a:gd name="connsiteX1356" fmla="*/ 5240 w 10577"/>
                  <a:gd name="connsiteY1356" fmla="*/ 444 h 10000"/>
                  <a:gd name="connsiteX1357" fmla="*/ 5230 w 10577"/>
                  <a:gd name="connsiteY1357" fmla="*/ 436 h 10000"/>
                  <a:gd name="connsiteX1358" fmla="*/ 5230 w 10577"/>
                  <a:gd name="connsiteY1358" fmla="*/ 419 h 10000"/>
                  <a:gd name="connsiteX1359" fmla="*/ 5230 w 10577"/>
                  <a:gd name="connsiteY1359" fmla="*/ 410 h 10000"/>
                  <a:gd name="connsiteX1360" fmla="*/ 5198 w 10577"/>
                  <a:gd name="connsiteY1360" fmla="*/ 402 h 10000"/>
                  <a:gd name="connsiteX1361" fmla="*/ 5189 w 10577"/>
                  <a:gd name="connsiteY1361" fmla="*/ 402 h 10000"/>
                  <a:gd name="connsiteX1362" fmla="*/ 5184 w 10577"/>
                  <a:gd name="connsiteY1362" fmla="*/ 376 h 10000"/>
                  <a:gd name="connsiteX1363" fmla="*/ 5180 w 10577"/>
                  <a:gd name="connsiteY1363" fmla="*/ 376 h 10000"/>
                  <a:gd name="connsiteX1364" fmla="*/ 5166 w 10577"/>
                  <a:gd name="connsiteY1364" fmla="*/ 376 h 10000"/>
                  <a:gd name="connsiteX1365" fmla="*/ 5157 w 10577"/>
                  <a:gd name="connsiteY1365" fmla="*/ 385 h 10000"/>
                  <a:gd name="connsiteX1366" fmla="*/ 5152 w 10577"/>
                  <a:gd name="connsiteY1366" fmla="*/ 376 h 10000"/>
                  <a:gd name="connsiteX1367" fmla="*/ 5129 w 10577"/>
                  <a:gd name="connsiteY1367" fmla="*/ 385 h 10000"/>
                  <a:gd name="connsiteX1368" fmla="*/ 5129 w 10577"/>
                  <a:gd name="connsiteY1368" fmla="*/ 350 h 10000"/>
                  <a:gd name="connsiteX1369" fmla="*/ 5129 w 10577"/>
                  <a:gd name="connsiteY1369" fmla="*/ 325 h 10000"/>
                  <a:gd name="connsiteX1370" fmla="*/ 5124 w 10577"/>
                  <a:gd name="connsiteY1370" fmla="*/ 359 h 10000"/>
                  <a:gd name="connsiteX1371" fmla="*/ 5106 w 10577"/>
                  <a:gd name="connsiteY1371" fmla="*/ 359 h 10000"/>
                  <a:gd name="connsiteX1372" fmla="*/ 5037 w 10577"/>
                  <a:gd name="connsiteY1372" fmla="*/ 419 h 10000"/>
                  <a:gd name="connsiteX1373" fmla="*/ 5051 w 10577"/>
                  <a:gd name="connsiteY1373" fmla="*/ 385 h 10000"/>
                  <a:gd name="connsiteX1374" fmla="*/ 5055 w 10577"/>
                  <a:gd name="connsiteY1374" fmla="*/ 376 h 10000"/>
                  <a:gd name="connsiteX1375" fmla="*/ 5092 w 10577"/>
                  <a:gd name="connsiteY1375" fmla="*/ 282 h 10000"/>
                  <a:gd name="connsiteX1376" fmla="*/ 5106 w 10577"/>
                  <a:gd name="connsiteY1376" fmla="*/ 265 h 10000"/>
                  <a:gd name="connsiteX1377" fmla="*/ 5115 w 10577"/>
                  <a:gd name="connsiteY1377" fmla="*/ 265 h 10000"/>
                  <a:gd name="connsiteX1378" fmla="*/ 5124 w 10577"/>
                  <a:gd name="connsiteY1378" fmla="*/ 222 h 10000"/>
                  <a:gd name="connsiteX1379" fmla="*/ 5124 w 10577"/>
                  <a:gd name="connsiteY1379" fmla="*/ 214 h 10000"/>
                  <a:gd name="connsiteX1380" fmla="*/ 5143 w 10577"/>
                  <a:gd name="connsiteY1380" fmla="*/ 197 h 10000"/>
                  <a:gd name="connsiteX1381" fmla="*/ 5152 w 10577"/>
                  <a:gd name="connsiteY1381" fmla="*/ 214 h 10000"/>
                  <a:gd name="connsiteX1382" fmla="*/ 5143 w 10577"/>
                  <a:gd name="connsiteY1382" fmla="*/ 188 h 10000"/>
                  <a:gd name="connsiteX1383" fmla="*/ 5129 w 10577"/>
                  <a:gd name="connsiteY1383" fmla="*/ 103 h 10000"/>
                  <a:gd name="connsiteX1384" fmla="*/ 5115 w 10577"/>
                  <a:gd name="connsiteY1384" fmla="*/ 85 h 10000"/>
                  <a:gd name="connsiteX1385" fmla="*/ 5111 w 10577"/>
                  <a:gd name="connsiteY1385" fmla="*/ 111 h 10000"/>
                  <a:gd name="connsiteX1386" fmla="*/ 5092 w 10577"/>
                  <a:gd name="connsiteY1386" fmla="*/ 103 h 10000"/>
                  <a:gd name="connsiteX1387" fmla="*/ 5069 w 10577"/>
                  <a:gd name="connsiteY1387" fmla="*/ 77 h 10000"/>
                  <a:gd name="connsiteX1388" fmla="*/ 5051 w 10577"/>
                  <a:gd name="connsiteY1388" fmla="*/ 26 h 10000"/>
                  <a:gd name="connsiteX1389" fmla="*/ 5041 w 10577"/>
                  <a:gd name="connsiteY1389" fmla="*/ 34 h 10000"/>
                  <a:gd name="connsiteX1390" fmla="*/ 5037 w 10577"/>
                  <a:gd name="connsiteY1390" fmla="*/ 34 h 10000"/>
                  <a:gd name="connsiteX1391" fmla="*/ 5037 w 10577"/>
                  <a:gd name="connsiteY1391" fmla="*/ 26 h 10000"/>
                  <a:gd name="connsiteX1392" fmla="*/ 5037 w 10577"/>
                  <a:gd name="connsiteY1392" fmla="*/ 9 h 10000"/>
                  <a:gd name="connsiteX1393" fmla="*/ 5023 w 10577"/>
                  <a:gd name="connsiteY1393" fmla="*/ 0 h 10000"/>
                  <a:gd name="connsiteX1394" fmla="*/ 5009 w 10577"/>
                  <a:gd name="connsiteY1394" fmla="*/ 9 h 10000"/>
                  <a:gd name="connsiteX1395" fmla="*/ 4995 w 10577"/>
                  <a:gd name="connsiteY1395" fmla="*/ 34 h 10000"/>
                  <a:gd name="connsiteX1396" fmla="*/ 4991 w 10577"/>
                  <a:gd name="connsiteY1396" fmla="*/ 60 h 10000"/>
                  <a:gd name="connsiteX1397" fmla="*/ 4982 w 10577"/>
                  <a:gd name="connsiteY1397" fmla="*/ 60 h 10000"/>
                  <a:gd name="connsiteX1398" fmla="*/ 4949 w 10577"/>
                  <a:gd name="connsiteY1398" fmla="*/ 51 h 10000"/>
                  <a:gd name="connsiteX1399" fmla="*/ 4949 w 10577"/>
                  <a:gd name="connsiteY1399" fmla="*/ 85 h 10000"/>
                  <a:gd name="connsiteX1400" fmla="*/ 4903 w 10577"/>
                  <a:gd name="connsiteY1400" fmla="*/ 197 h 10000"/>
                  <a:gd name="connsiteX1401" fmla="*/ 4899 w 10577"/>
                  <a:gd name="connsiteY1401" fmla="*/ 239 h 10000"/>
                  <a:gd name="connsiteX1402" fmla="*/ 4871 w 10577"/>
                  <a:gd name="connsiteY1402" fmla="*/ 274 h 10000"/>
                  <a:gd name="connsiteX1403" fmla="*/ 4871 w 10577"/>
                  <a:gd name="connsiteY1403" fmla="*/ 282 h 10000"/>
                  <a:gd name="connsiteX1404" fmla="*/ 4834 w 10577"/>
                  <a:gd name="connsiteY1404" fmla="*/ 376 h 10000"/>
                  <a:gd name="connsiteX1405" fmla="*/ 4829 w 10577"/>
                  <a:gd name="connsiteY1405" fmla="*/ 402 h 10000"/>
                  <a:gd name="connsiteX1406" fmla="*/ 4834 w 10577"/>
                  <a:gd name="connsiteY1406" fmla="*/ 410 h 10000"/>
                  <a:gd name="connsiteX1407" fmla="*/ 4829 w 10577"/>
                  <a:gd name="connsiteY1407" fmla="*/ 436 h 10000"/>
                  <a:gd name="connsiteX1408" fmla="*/ 4825 w 10577"/>
                  <a:gd name="connsiteY1408" fmla="*/ 436 h 10000"/>
                  <a:gd name="connsiteX1409" fmla="*/ 4825 w 10577"/>
                  <a:gd name="connsiteY1409" fmla="*/ 444 h 10000"/>
                  <a:gd name="connsiteX1410" fmla="*/ 4811 w 10577"/>
                  <a:gd name="connsiteY1410" fmla="*/ 496 h 10000"/>
                  <a:gd name="connsiteX1411" fmla="*/ 4811 w 10577"/>
                  <a:gd name="connsiteY1411" fmla="*/ 496 h 10000"/>
                  <a:gd name="connsiteX1412" fmla="*/ 4811 w 10577"/>
                  <a:gd name="connsiteY1412" fmla="*/ 521 h 10000"/>
                  <a:gd name="connsiteX1413" fmla="*/ 4816 w 10577"/>
                  <a:gd name="connsiteY1413" fmla="*/ 530 h 10000"/>
                  <a:gd name="connsiteX1414" fmla="*/ 4834 w 10577"/>
                  <a:gd name="connsiteY1414" fmla="*/ 547 h 10000"/>
                  <a:gd name="connsiteX1415" fmla="*/ 4834 w 10577"/>
                  <a:gd name="connsiteY1415" fmla="*/ 581 h 10000"/>
                  <a:gd name="connsiteX1416" fmla="*/ 4843 w 10577"/>
                  <a:gd name="connsiteY1416" fmla="*/ 581 h 10000"/>
                  <a:gd name="connsiteX1417" fmla="*/ 4843 w 10577"/>
                  <a:gd name="connsiteY1417" fmla="*/ 598 h 10000"/>
                  <a:gd name="connsiteX1418" fmla="*/ 4829 w 10577"/>
                  <a:gd name="connsiteY1418" fmla="*/ 598 h 10000"/>
                  <a:gd name="connsiteX1419" fmla="*/ 4829 w 10577"/>
                  <a:gd name="connsiteY1419" fmla="*/ 573 h 10000"/>
                  <a:gd name="connsiteX1420" fmla="*/ 4829 w 10577"/>
                  <a:gd name="connsiteY1420" fmla="*/ 632 h 10000"/>
                  <a:gd name="connsiteX1421" fmla="*/ 4829 w 10577"/>
                  <a:gd name="connsiteY1421" fmla="*/ 632 h 10000"/>
                  <a:gd name="connsiteX1422" fmla="*/ 4829 w 10577"/>
                  <a:gd name="connsiteY1422" fmla="*/ 650 h 10000"/>
                  <a:gd name="connsiteX1423" fmla="*/ 4774 w 10577"/>
                  <a:gd name="connsiteY1423" fmla="*/ 684 h 10000"/>
                  <a:gd name="connsiteX1424" fmla="*/ 4756 w 10577"/>
                  <a:gd name="connsiteY1424" fmla="*/ 684 h 10000"/>
                  <a:gd name="connsiteX1425" fmla="*/ 4737 w 10577"/>
                  <a:gd name="connsiteY1425" fmla="*/ 692 h 10000"/>
                  <a:gd name="connsiteX1426" fmla="*/ 4677 w 10577"/>
                  <a:gd name="connsiteY1426" fmla="*/ 667 h 10000"/>
                  <a:gd name="connsiteX1427" fmla="*/ 4682 w 10577"/>
                  <a:gd name="connsiteY1427" fmla="*/ 692 h 10000"/>
                  <a:gd name="connsiteX1428" fmla="*/ 4682 w 10577"/>
                  <a:gd name="connsiteY1428" fmla="*/ 709 h 10000"/>
                  <a:gd name="connsiteX1429" fmla="*/ 4691 w 10577"/>
                  <a:gd name="connsiteY1429" fmla="*/ 718 h 10000"/>
                  <a:gd name="connsiteX1430" fmla="*/ 4691 w 10577"/>
                  <a:gd name="connsiteY1430" fmla="*/ 744 h 10000"/>
                  <a:gd name="connsiteX1431" fmla="*/ 4700 w 10577"/>
                  <a:gd name="connsiteY1431" fmla="*/ 744 h 10000"/>
                  <a:gd name="connsiteX1432" fmla="*/ 4714 w 10577"/>
                  <a:gd name="connsiteY1432" fmla="*/ 769 h 10000"/>
                  <a:gd name="connsiteX1433" fmla="*/ 4710 w 10577"/>
                  <a:gd name="connsiteY1433" fmla="*/ 786 h 10000"/>
                  <a:gd name="connsiteX1434" fmla="*/ 4737 w 10577"/>
                  <a:gd name="connsiteY1434" fmla="*/ 786 h 10000"/>
                  <a:gd name="connsiteX1435" fmla="*/ 4742 w 10577"/>
                  <a:gd name="connsiteY1435" fmla="*/ 795 h 10000"/>
                  <a:gd name="connsiteX1436" fmla="*/ 4742 w 10577"/>
                  <a:gd name="connsiteY1436" fmla="*/ 803 h 10000"/>
                  <a:gd name="connsiteX1437" fmla="*/ 4737 w 10577"/>
                  <a:gd name="connsiteY1437" fmla="*/ 846 h 10000"/>
                  <a:gd name="connsiteX1438" fmla="*/ 4737 w 10577"/>
                  <a:gd name="connsiteY1438" fmla="*/ 880 h 10000"/>
                  <a:gd name="connsiteX1439" fmla="*/ 4737 w 10577"/>
                  <a:gd name="connsiteY1439" fmla="*/ 906 h 10000"/>
                  <a:gd name="connsiteX1440" fmla="*/ 4724 w 10577"/>
                  <a:gd name="connsiteY1440" fmla="*/ 897 h 10000"/>
                  <a:gd name="connsiteX1441" fmla="*/ 4724 w 10577"/>
                  <a:gd name="connsiteY1441" fmla="*/ 872 h 10000"/>
                  <a:gd name="connsiteX1442" fmla="*/ 4714 w 10577"/>
                  <a:gd name="connsiteY1442" fmla="*/ 855 h 10000"/>
                  <a:gd name="connsiteX1443" fmla="*/ 4691 w 10577"/>
                  <a:gd name="connsiteY1443" fmla="*/ 846 h 10000"/>
                  <a:gd name="connsiteX1444" fmla="*/ 4691 w 10577"/>
                  <a:gd name="connsiteY1444" fmla="*/ 846 h 10000"/>
                  <a:gd name="connsiteX1445" fmla="*/ 4696 w 10577"/>
                  <a:gd name="connsiteY1445" fmla="*/ 821 h 10000"/>
                  <a:gd name="connsiteX1446" fmla="*/ 4691 w 10577"/>
                  <a:gd name="connsiteY1446" fmla="*/ 803 h 10000"/>
                  <a:gd name="connsiteX1447" fmla="*/ 4668 w 10577"/>
                  <a:gd name="connsiteY1447" fmla="*/ 821 h 10000"/>
                  <a:gd name="connsiteX1448" fmla="*/ 4668 w 10577"/>
                  <a:gd name="connsiteY1448" fmla="*/ 786 h 10000"/>
                  <a:gd name="connsiteX1449" fmla="*/ 4664 w 10577"/>
                  <a:gd name="connsiteY1449" fmla="*/ 786 h 10000"/>
                  <a:gd name="connsiteX1450" fmla="*/ 4622 w 10577"/>
                  <a:gd name="connsiteY1450" fmla="*/ 846 h 10000"/>
                  <a:gd name="connsiteX1451" fmla="*/ 4627 w 10577"/>
                  <a:gd name="connsiteY1451" fmla="*/ 872 h 10000"/>
                  <a:gd name="connsiteX1452" fmla="*/ 4622 w 10577"/>
                  <a:gd name="connsiteY1452" fmla="*/ 880 h 10000"/>
                  <a:gd name="connsiteX1453" fmla="*/ 4622 w 10577"/>
                  <a:gd name="connsiteY1453" fmla="*/ 880 h 10000"/>
                  <a:gd name="connsiteX1454" fmla="*/ 4618 w 10577"/>
                  <a:gd name="connsiteY1454" fmla="*/ 872 h 10000"/>
                  <a:gd name="connsiteX1455" fmla="*/ 4604 w 10577"/>
                  <a:gd name="connsiteY1455" fmla="*/ 880 h 10000"/>
                  <a:gd name="connsiteX1456" fmla="*/ 4594 w 10577"/>
                  <a:gd name="connsiteY1456" fmla="*/ 906 h 10000"/>
                  <a:gd name="connsiteX1457" fmla="*/ 4604 w 10577"/>
                  <a:gd name="connsiteY1457" fmla="*/ 906 h 10000"/>
                  <a:gd name="connsiteX1458" fmla="*/ 4608 w 10577"/>
                  <a:gd name="connsiteY1458" fmla="*/ 906 h 10000"/>
                  <a:gd name="connsiteX1459" fmla="*/ 4608 w 10577"/>
                  <a:gd name="connsiteY1459" fmla="*/ 932 h 10000"/>
                  <a:gd name="connsiteX1460" fmla="*/ 4604 w 10577"/>
                  <a:gd name="connsiteY1460" fmla="*/ 932 h 10000"/>
                  <a:gd name="connsiteX1461" fmla="*/ 4590 w 10577"/>
                  <a:gd name="connsiteY1461" fmla="*/ 932 h 10000"/>
                  <a:gd name="connsiteX1462" fmla="*/ 4567 w 10577"/>
                  <a:gd name="connsiteY1462" fmla="*/ 957 h 10000"/>
                  <a:gd name="connsiteX1463" fmla="*/ 4567 w 10577"/>
                  <a:gd name="connsiteY1463" fmla="*/ 932 h 10000"/>
                  <a:gd name="connsiteX1464" fmla="*/ 4567 w 10577"/>
                  <a:gd name="connsiteY1464" fmla="*/ 923 h 10000"/>
                  <a:gd name="connsiteX1465" fmla="*/ 4562 w 10577"/>
                  <a:gd name="connsiteY1465" fmla="*/ 932 h 10000"/>
                  <a:gd name="connsiteX1466" fmla="*/ 4548 w 10577"/>
                  <a:gd name="connsiteY1466" fmla="*/ 957 h 10000"/>
                  <a:gd name="connsiteX1467" fmla="*/ 4544 w 10577"/>
                  <a:gd name="connsiteY1467" fmla="*/ 957 h 10000"/>
                  <a:gd name="connsiteX1468" fmla="*/ 4521 w 10577"/>
                  <a:gd name="connsiteY1468" fmla="*/ 983 h 10000"/>
                  <a:gd name="connsiteX1469" fmla="*/ 4521 w 10577"/>
                  <a:gd name="connsiteY1469" fmla="*/ 983 h 10000"/>
                  <a:gd name="connsiteX1470" fmla="*/ 4530 w 10577"/>
                  <a:gd name="connsiteY1470" fmla="*/ 957 h 10000"/>
                  <a:gd name="connsiteX1471" fmla="*/ 4535 w 10577"/>
                  <a:gd name="connsiteY1471" fmla="*/ 932 h 10000"/>
                  <a:gd name="connsiteX1472" fmla="*/ 4521 w 10577"/>
                  <a:gd name="connsiteY1472" fmla="*/ 932 h 10000"/>
                  <a:gd name="connsiteX1473" fmla="*/ 4516 w 10577"/>
                  <a:gd name="connsiteY1473" fmla="*/ 923 h 10000"/>
                  <a:gd name="connsiteX1474" fmla="*/ 4516 w 10577"/>
                  <a:gd name="connsiteY1474" fmla="*/ 932 h 10000"/>
                  <a:gd name="connsiteX1475" fmla="*/ 4488 w 10577"/>
                  <a:gd name="connsiteY1475" fmla="*/ 940 h 10000"/>
                  <a:gd name="connsiteX1476" fmla="*/ 4484 w 10577"/>
                  <a:gd name="connsiteY1476" fmla="*/ 983 h 10000"/>
                  <a:gd name="connsiteX1477" fmla="*/ 4470 w 10577"/>
                  <a:gd name="connsiteY1477" fmla="*/ 983 h 10000"/>
                  <a:gd name="connsiteX1478" fmla="*/ 4470 w 10577"/>
                  <a:gd name="connsiteY1478" fmla="*/ 966 h 10000"/>
                  <a:gd name="connsiteX1479" fmla="*/ 4488 w 10577"/>
                  <a:gd name="connsiteY1479" fmla="*/ 923 h 10000"/>
                  <a:gd name="connsiteX1480" fmla="*/ 4493 w 10577"/>
                  <a:gd name="connsiteY1480" fmla="*/ 880 h 10000"/>
                  <a:gd name="connsiteX1481" fmla="*/ 4475 w 10577"/>
                  <a:gd name="connsiteY1481" fmla="*/ 846 h 10000"/>
                  <a:gd name="connsiteX1482" fmla="*/ 4442 w 10577"/>
                  <a:gd name="connsiteY1482" fmla="*/ 855 h 10000"/>
                  <a:gd name="connsiteX1483" fmla="*/ 4433 w 10577"/>
                  <a:gd name="connsiteY1483" fmla="*/ 855 h 10000"/>
                  <a:gd name="connsiteX1484" fmla="*/ 4433 w 10577"/>
                  <a:gd name="connsiteY1484" fmla="*/ 880 h 10000"/>
                  <a:gd name="connsiteX1485" fmla="*/ 4401 w 10577"/>
                  <a:gd name="connsiteY1485" fmla="*/ 855 h 10000"/>
                  <a:gd name="connsiteX1486" fmla="*/ 4396 w 10577"/>
                  <a:gd name="connsiteY1486" fmla="*/ 872 h 10000"/>
                  <a:gd name="connsiteX1487" fmla="*/ 4382 w 10577"/>
                  <a:gd name="connsiteY1487" fmla="*/ 897 h 10000"/>
                  <a:gd name="connsiteX1488" fmla="*/ 4373 w 10577"/>
                  <a:gd name="connsiteY1488" fmla="*/ 872 h 10000"/>
                  <a:gd name="connsiteX1489" fmla="*/ 4341 w 10577"/>
                  <a:gd name="connsiteY1489" fmla="*/ 872 h 10000"/>
                  <a:gd name="connsiteX1490" fmla="*/ 4336 w 10577"/>
                  <a:gd name="connsiteY1490" fmla="*/ 880 h 10000"/>
                  <a:gd name="connsiteX1491" fmla="*/ 4346 w 10577"/>
                  <a:gd name="connsiteY1491" fmla="*/ 897 h 10000"/>
                  <a:gd name="connsiteX1492" fmla="*/ 4346 w 10577"/>
                  <a:gd name="connsiteY1492" fmla="*/ 897 h 10000"/>
                  <a:gd name="connsiteX1493" fmla="*/ 4313 w 10577"/>
                  <a:gd name="connsiteY1493" fmla="*/ 906 h 10000"/>
                  <a:gd name="connsiteX1494" fmla="*/ 4313 w 10577"/>
                  <a:gd name="connsiteY1494" fmla="*/ 906 h 10000"/>
                  <a:gd name="connsiteX1495" fmla="*/ 4313 w 10577"/>
                  <a:gd name="connsiteY1495" fmla="*/ 880 h 10000"/>
                  <a:gd name="connsiteX1496" fmla="*/ 4309 w 10577"/>
                  <a:gd name="connsiteY1496" fmla="*/ 897 h 10000"/>
                  <a:gd name="connsiteX1497" fmla="*/ 4295 w 10577"/>
                  <a:gd name="connsiteY1497" fmla="*/ 923 h 10000"/>
                  <a:gd name="connsiteX1498" fmla="*/ 4286 w 10577"/>
                  <a:gd name="connsiteY1498" fmla="*/ 897 h 10000"/>
                  <a:gd name="connsiteX1499" fmla="*/ 4281 w 10577"/>
                  <a:gd name="connsiteY1499" fmla="*/ 906 h 10000"/>
                  <a:gd name="connsiteX1500" fmla="*/ 4281 w 10577"/>
                  <a:gd name="connsiteY1500" fmla="*/ 940 h 10000"/>
                  <a:gd name="connsiteX1501" fmla="*/ 4286 w 10577"/>
                  <a:gd name="connsiteY1501" fmla="*/ 957 h 10000"/>
                  <a:gd name="connsiteX1502" fmla="*/ 4309 w 10577"/>
                  <a:gd name="connsiteY1502" fmla="*/ 932 h 10000"/>
                  <a:gd name="connsiteX1503" fmla="*/ 4313 w 10577"/>
                  <a:gd name="connsiteY1503" fmla="*/ 957 h 10000"/>
                  <a:gd name="connsiteX1504" fmla="*/ 4313 w 10577"/>
                  <a:gd name="connsiteY1504" fmla="*/ 966 h 10000"/>
                  <a:gd name="connsiteX1505" fmla="*/ 4323 w 10577"/>
                  <a:gd name="connsiteY1505" fmla="*/ 966 h 10000"/>
                  <a:gd name="connsiteX1506" fmla="*/ 4323 w 10577"/>
                  <a:gd name="connsiteY1506" fmla="*/ 940 h 10000"/>
                  <a:gd name="connsiteX1507" fmla="*/ 4327 w 10577"/>
                  <a:gd name="connsiteY1507" fmla="*/ 940 h 10000"/>
                  <a:gd name="connsiteX1508" fmla="*/ 4327 w 10577"/>
                  <a:gd name="connsiteY1508" fmla="*/ 957 h 10000"/>
                  <a:gd name="connsiteX1509" fmla="*/ 4327 w 10577"/>
                  <a:gd name="connsiteY1509" fmla="*/ 966 h 10000"/>
                  <a:gd name="connsiteX1510" fmla="*/ 4323 w 10577"/>
                  <a:gd name="connsiteY1510" fmla="*/ 991 h 10000"/>
                  <a:gd name="connsiteX1511" fmla="*/ 4207 w 10577"/>
                  <a:gd name="connsiteY1511" fmla="*/ 1060 h 10000"/>
                  <a:gd name="connsiteX1512" fmla="*/ 4207 w 10577"/>
                  <a:gd name="connsiteY1512" fmla="*/ 1060 h 10000"/>
                  <a:gd name="connsiteX1513" fmla="*/ 4203 w 10577"/>
                  <a:gd name="connsiteY1513" fmla="*/ 1068 h 10000"/>
                  <a:gd name="connsiteX1514" fmla="*/ 4203 w 10577"/>
                  <a:gd name="connsiteY1514" fmla="*/ 1094 h 10000"/>
                  <a:gd name="connsiteX1515" fmla="*/ 4203 w 10577"/>
                  <a:gd name="connsiteY1515" fmla="*/ 1094 h 10000"/>
                  <a:gd name="connsiteX1516" fmla="*/ 4189 w 10577"/>
                  <a:gd name="connsiteY1516" fmla="*/ 1094 h 10000"/>
                  <a:gd name="connsiteX1517" fmla="*/ 4166 w 10577"/>
                  <a:gd name="connsiteY1517" fmla="*/ 1103 h 10000"/>
                  <a:gd name="connsiteX1518" fmla="*/ 4152 w 10577"/>
                  <a:gd name="connsiteY1518" fmla="*/ 1094 h 10000"/>
                  <a:gd name="connsiteX1519" fmla="*/ 4134 w 10577"/>
                  <a:gd name="connsiteY1519" fmla="*/ 1120 h 10000"/>
                  <a:gd name="connsiteX1520" fmla="*/ 4106 w 10577"/>
                  <a:gd name="connsiteY1520" fmla="*/ 1120 h 10000"/>
                  <a:gd name="connsiteX1521" fmla="*/ 4092 w 10577"/>
                  <a:gd name="connsiteY1521" fmla="*/ 1154 h 10000"/>
                  <a:gd name="connsiteX1522" fmla="*/ 4106 w 10577"/>
                  <a:gd name="connsiteY1522" fmla="*/ 1171 h 10000"/>
                  <a:gd name="connsiteX1523" fmla="*/ 4078 w 10577"/>
                  <a:gd name="connsiteY1523" fmla="*/ 1179 h 10000"/>
                  <a:gd name="connsiteX1524" fmla="*/ 4065 w 10577"/>
                  <a:gd name="connsiteY1524" fmla="*/ 1205 h 10000"/>
                  <a:gd name="connsiteX1525" fmla="*/ 4046 w 10577"/>
                  <a:gd name="connsiteY1525" fmla="*/ 1179 h 10000"/>
                  <a:gd name="connsiteX1526" fmla="*/ 4041 w 10577"/>
                  <a:gd name="connsiteY1526" fmla="*/ 1197 h 10000"/>
                  <a:gd name="connsiteX1527" fmla="*/ 4028 w 10577"/>
                  <a:gd name="connsiteY1527" fmla="*/ 1205 h 10000"/>
                  <a:gd name="connsiteX1528" fmla="*/ 4028 w 10577"/>
                  <a:gd name="connsiteY1528" fmla="*/ 1205 h 10000"/>
                  <a:gd name="connsiteX1529" fmla="*/ 4032 w 10577"/>
                  <a:gd name="connsiteY1529" fmla="*/ 1205 h 10000"/>
                  <a:gd name="connsiteX1530" fmla="*/ 4032 w 10577"/>
                  <a:gd name="connsiteY1530" fmla="*/ 1231 h 10000"/>
                  <a:gd name="connsiteX1531" fmla="*/ 4014 w 10577"/>
                  <a:gd name="connsiteY1531" fmla="*/ 1239 h 10000"/>
                  <a:gd name="connsiteX1532" fmla="*/ 4014 w 10577"/>
                  <a:gd name="connsiteY1532" fmla="*/ 1256 h 10000"/>
                  <a:gd name="connsiteX1533" fmla="*/ 4000 w 10577"/>
                  <a:gd name="connsiteY1533" fmla="*/ 1265 h 10000"/>
                  <a:gd name="connsiteX1534" fmla="*/ 3986 w 10577"/>
                  <a:gd name="connsiteY1534" fmla="*/ 1308 h 10000"/>
                  <a:gd name="connsiteX1535" fmla="*/ 3972 w 10577"/>
                  <a:gd name="connsiteY1535" fmla="*/ 1316 h 10000"/>
                  <a:gd name="connsiteX1536" fmla="*/ 3972 w 10577"/>
                  <a:gd name="connsiteY1536" fmla="*/ 1325 h 10000"/>
                  <a:gd name="connsiteX1537" fmla="*/ 3972 w 10577"/>
                  <a:gd name="connsiteY1537" fmla="*/ 1342 h 10000"/>
                  <a:gd name="connsiteX1538" fmla="*/ 3968 w 10577"/>
                  <a:gd name="connsiteY1538" fmla="*/ 1350 h 10000"/>
                  <a:gd name="connsiteX1539" fmla="*/ 3954 w 10577"/>
                  <a:gd name="connsiteY1539" fmla="*/ 1368 h 10000"/>
                  <a:gd name="connsiteX1540" fmla="*/ 3945 w 10577"/>
                  <a:gd name="connsiteY1540" fmla="*/ 1350 h 10000"/>
                  <a:gd name="connsiteX1541" fmla="*/ 3908 w 10577"/>
                  <a:gd name="connsiteY1541" fmla="*/ 1342 h 10000"/>
                  <a:gd name="connsiteX1542" fmla="*/ 3894 w 10577"/>
                  <a:gd name="connsiteY1542" fmla="*/ 1368 h 10000"/>
                  <a:gd name="connsiteX1543" fmla="*/ 3922 w 10577"/>
                  <a:gd name="connsiteY1543" fmla="*/ 1393 h 10000"/>
                  <a:gd name="connsiteX1544" fmla="*/ 3945 w 10577"/>
                  <a:gd name="connsiteY1544" fmla="*/ 1393 h 10000"/>
                  <a:gd name="connsiteX1545" fmla="*/ 3940 w 10577"/>
                  <a:gd name="connsiteY1545" fmla="*/ 1419 h 10000"/>
                  <a:gd name="connsiteX1546" fmla="*/ 3931 w 10577"/>
                  <a:gd name="connsiteY1546" fmla="*/ 1427 h 10000"/>
                  <a:gd name="connsiteX1547" fmla="*/ 3926 w 10577"/>
                  <a:gd name="connsiteY1547" fmla="*/ 1427 h 10000"/>
                  <a:gd name="connsiteX1548" fmla="*/ 3922 w 10577"/>
                  <a:gd name="connsiteY1548" fmla="*/ 1419 h 10000"/>
                  <a:gd name="connsiteX1549" fmla="*/ 3912 w 10577"/>
                  <a:gd name="connsiteY1549" fmla="*/ 1427 h 10000"/>
                  <a:gd name="connsiteX1550" fmla="*/ 3912 w 10577"/>
                  <a:gd name="connsiteY1550" fmla="*/ 1444 h 10000"/>
                  <a:gd name="connsiteX1551" fmla="*/ 3894 w 10577"/>
                  <a:gd name="connsiteY1551" fmla="*/ 1513 h 10000"/>
                  <a:gd name="connsiteX1552" fmla="*/ 3885 w 10577"/>
                  <a:gd name="connsiteY1552" fmla="*/ 1513 h 10000"/>
                  <a:gd name="connsiteX1553" fmla="*/ 3880 w 10577"/>
                  <a:gd name="connsiteY1553" fmla="*/ 1538 h 10000"/>
                  <a:gd name="connsiteX1554" fmla="*/ 3885 w 10577"/>
                  <a:gd name="connsiteY1554" fmla="*/ 1564 h 10000"/>
                  <a:gd name="connsiteX1555" fmla="*/ 3880 w 10577"/>
                  <a:gd name="connsiteY1555" fmla="*/ 1581 h 10000"/>
                  <a:gd name="connsiteX1556" fmla="*/ 3871 w 10577"/>
                  <a:gd name="connsiteY1556" fmla="*/ 1538 h 10000"/>
                  <a:gd name="connsiteX1557" fmla="*/ 3853 w 10577"/>
                  <a:gd name="connsiteY1557" fmla="*/ 1530 h 10000"/>
                  <a:gd name="connsiteX1558" fmla="*/ 3853 w 10577"/>
                  <a:gd name="connsiteY1558" fmla="*/ 1504 h 10000"/>
                  <a:gd name="connsiteX1559" fmla="*/ 3834 w 10577"/>
                  <a:gd name="connsiteY1559" fmla="*/ 1487 h 10000"/>
                  <a:gd name="connsiteX1560" fmla="*/ 3834 w 10577"/>
                  <a:gd name="connsiteY1560" fmla="*/ 1487 h 10000"/>
                  <a:gd name="connsiteX1561" fmla="*/ 3839 w 10577"/>
                  <a:gd name="connsiteY1561" fmla="*/ 1513 h 10000"/>
                  <a:gd name="connsiteX1562" fmla="*/ 3820 w 10577"/>
                  <a:gd name="connsiteY1562" fmla="*/ 1538 h 10000"/>
                  <a:gd name="connsiteX1563" fmla="*/ 3820 w 10577"/>
                  <a:gd name="connsiteY1563" fmla="*/ 1556 h 10000"/>
                  <a:gd name="connsiteX1564" fmla="*/ 3820 w 10577"/>
                  <a:gd name="connsiteY1564" fmla="*/ 1564 h 10000"/>
                  <a:gd name="connsiteX1565" fmla="*/ 3820 w 10577"/>
                  <a:gd name="connsiteY1565" fmla="*/ 1581 h 10000"/>
                  <a:gd name="connsiteX1566" fmla="*/ 3853 w 10577"/>
                  <a:gd name="connsiteY1566" fmla="*/ 1581 h 10000"/>
                  <a:gd name="connsiteX1567" fmla="*/ 3857 w 10577"/>
                  <a:gd name="connsiteY1567" fmla="*/ 1598 h 10000"/>
                  <a:gd name="connsiteX1568" fmla="*/ 3880 w 10577"/>
                  <a:gd name="connsiteY1568" fmla="*/ 1615 h 10000"/>
                  <a:gd name="connsiteX1569" fmla="*/ 3871 w 10577"/>
                  <a:gd name="connsiteY1569" fmla="*/ 1615 h 10000"/>
                  <a:gd name="connsiteX1570" fmla="*/ 3871 w 10577"/>
                  <a:gd name="connsiteY1570" fmla="*/ 1641 h 10000"/>
                  <a:gd name="connsiteX1571" fmla="*/ 3880 w 10577"/>
                  <a:gd name="connsiteY1571" fmla="*/ 1641 h 10000"/>
                  <a:gd name="connsiteX1572" fmla="*/ 3871 w 10577"/>
                  <a:gd name="connsiteY1572" fmla="*/ 1650 h 10000"/>
                  <a:gd name="connsiteX1573" fmla="*/ 3857 w 10577"/>
                  <a:gd name="connsiteY1573" fmla="*/ 1650 h 10000"/>
                  <a:gd name="connsiteX1574" fmla="*/ 3853 w 10577"/>
                  <a:gd name="connsiteY1574" fmla="*/ 1650 h 10000"/>
                  <a:gd name="connsiteX1575" fmla="*/ 3839 w 10577"/>
                  <a:gd name="connsiteY1575" fmla="*/ 1667 h 10000"/>
                  <a:gd name="connsiteX1576" fmla="*/ 3848 w 10577"/>
                  <a:gd name="connsiteY1576" fmla="*/ 1692 h 10000"/>
                  <a:gd name="connsiteX1577" fmla="*/ 3834 w 10577"/>
                  <a:gd name="connsiteY1577" fmla="*/ 1692 h 10000"/>
                  <a:gd name="connsiteX1578" fmla="*/ 3825 w 10577"/>
                  <a:gd name="connsiteY1578" fmla="*/ 1692 h 10000"/>
                  <a:gd name="connsiteX1579" fmla="*/ 3825 w 10577"/>
                  <a:gd name="connsiteY1579" fmla="*/ 1718 h 10000"/>
                  <a:gd name="connsiteX1580" fmla="*/ 3839 w 10577"/>
                  <a:gd name="connsiteY1580" fmla="*/ 1726 h 10000"/>
                  <a:gd name="connsiteX1581" fmla="*/ 3880 w 10577"/>
                  <a:gd name="connsiteY1581" fmla="*/ 1752 h 10000"/>
                  <a:gd name="connsiteX1582" fmla="*/ 3894 w 10577"/>
                  <a:gd name="connsiteY1582" fmla="*/ 1829 h 10000"/>
                  <a:gd name="connsiteX1583" fmla="*/ 3899 w 10577"/>
                  <a:gd name="connsiteY1583" fmla="*/ 1838 h 10000"/>
                  <a:gd name="connsiteX1584" fmla="*/ 3894 w 10577"/>
                  <a:gd name="connsiteY1584" fmla="*/ 1855 h 10000"/>
                  <a:gd name="connsiteX1585" fmla="*/ 3880 w 10577"/>
                  <a:gd name="connsiteY1585" fmla="*/ 1838 h 10000"/>
                  <a:gd name="connsiteX1586" fmla="*/ 3880 w 10577"/>
                  <a:gd name="connsiteY1586" fmla="*/ 1855 h 10000"/>
                  <a:gd name="connsiteX1587" fmla="*/ 3880 w 10577"/>
                  <a:gd name="connsiteY1587" fmla="*/ 1863 h 10000"/>
                  <a:gd name="connsiteX1588" fmla="*/ 3871 w 10577"/>
                  <a:gd name="connsiteY1588" fmla="*/ 1872 h 10000"/>
                  <a:gd name="connsiteX1589" fmla="*/ 3880 w 10577"/>
                  <a:gd name="connsiteY1589" fmla="*/ 1889 h 10000"/>
                  <a:gd name="connsiteX1590" fmla="*/ 3885 w 10577"/>
                  <a:gd name="connsiteY1590" fmla="*/ 1889 h 10000"/>
                  <a:gd name="connsiteX1591" fmla="*/ 3880 w 10577"/>
                  <a:gd name="connsiteY1591" fmla="*/ 1897 h 10000"/>
                  <a:gd name="connsiteX1592" fmla="*/ 3871 w 10577"/>
                  <a:gd name="connsiteY1592" fmla="*/ 1915 h 10000"/>
                  <a:gd name="connsiteX1593" fmla="*/ 3848 w 10577"/>
                  <a:gd name="connsiteY1593" fmla="*/ 1923 h 10000"/>
                  <a:gd name="connsiteX1594" fmla="*/ 3825 w 10577"/>
                  <a:gd name="connsiteY1594" fmla="*/ 1940 h 10000"/>
                  <a:gd name="connsiteX1595" fmla="*/ 3811 w 10577"/>
                  <a:gd name="connsiteY1595" fmla="*/ 1940 h 10000"/>
                  <a:gd name="connsiteX1596" fmla="*/ 3806 w 10577"/>
                  <a:gd name="connsiteY1596" fmla="*/ 1949 h 10000"/>
                  <a:gd name="connsiteX1597" fmla="*/ 3797 w 10577"/>
                  <a:gd name="connsiteY1597" fmla="*/ 1966 h 10000"/>
                  <a:gd name="connsiteX1598" fmla="*/ 3788 w 10577"/>
                  <a:gd name="connsiteY1598" fmla="*/ 1991 h 10000"/>
                  <a:gd name="connsiteX1599" fmla="*/ 3765 w 10577"/>
                  <a:gd name="connsiteY1599" fmla="*/ 1974 h 10000"/>
                  <a:gd name="connsiteX1600" fmla="*/ 3760 w 10577"/>
                  <a:gd name="connsiteY1600" fmla="*/ 1966 h 10000"/>
                  <a:gd name="connsiteX1601" fmla="*/ 3760 w 10577"/>
                  <a:gd name="connsiteY1601" fmla="*/ 1966 h 10000"/>
                  <a:gd name="connsiteX1602" fmla="*/ 3631 w 10577"/>
                  <a:gd name="connsiteY1602" fmla="*/ 2009 h 10000"/>
                  <a:gd name="connsiteX1603" fmla="*/ 3618 w 10577"/>
                  <a:gd name="connsiteY1603" fmla="*/ 2000 h 10000"/>
                  <a:gd name="connsiteX1604" fmla="*/ 3599 w 10577"/>
                  <a:gd name="connsiteY1604" fmla="*/ 2009 h 10000"/>
                  <a:gd name="connsiteX1605" fmla="*/ 3571 w 10577"/>
                  <a:gd name="connsiteY1605" fmla="*/ 2000 h 10000"/>
                  <a:gd name="connsiteX1606" fmla="*/ 3530 w 10577"/>
                  <a:gd name="connsiteY1606" fmla="*/ 2026 h 10000"/>
                  <a:gd name="connsiteX1607" fmla="*/ 3530 w 10577"/>
                  <a:gd name="connsiteY1607" fmla="*/ 2034 h 10000"/>
                  <a:gd name="connsiteX1608" fmla="*/ 3525 w 10577"/>
                  <a:gd name="connsiteY1608" fmla="*/ 2051 h 10000"/>
                  <a:gd name="connsiteX1609" fmla="*/ 3512 w 10577"/>
                  <a:gd name="connsiteY1609" fmla="*/ 2034 h 10000"/>
                  <a:gd name="connsiteX1610" fmla="*/ 3507 w 10577"/>
                  <a:gd name="connsiteY1610" fmla="*/ 2034 h 10000"/>
                  <a:gd name="connsiteX1611" fmla="*/ 3498 w 10577"/>
                  <a:gd name="connsiteY1611" fmla="*/ 2051 h 10000"/>
                  <a:gd name="connsiteX1612" fmla="*/ 3484 w 10577"/>
                  <a:gd name="connsiteY1612" fmla="*/ 2060 h 10000"/>
                  <a:gd name="connsiteX1613" fmla="*/ 3484 w 10577"/>
                  <a:gd name="connsiteY1613" fmla="*/ 2085 h 10000"/>
                  <a:gd name="connsiteX1614" fmla="*/ 3484 w 10577"/>
                  <a:gd name="connsiteY1614" fmla="*/ 2103 h 10000"/>
                  <a:gd name="connsiteX1615" fmla="*/ 3493 w 10577"/>
                  <a:gd name="connsiteY1615" fmla="*/ 2103 h 10000"/>
                  <a:gd name="connsiteX1616" fmla="*/ 3493 w 10577"/>
                  <a:gd name="connsiteY1616" fmla="*/ 2085 h 10000"/>
                  <a:gd name="connsiteX1617" fmla="*/ 3498 w 10577"/>
                  <a:gd name="connsiteY1617" fmla="*/ 2085 h 10000"/>
                  <a:gd name="connsiteX1618" fmla="*/ 3498 w 10577"/>
                  <a:gd name="connsiteY1618" fmla="*/ 2111 h 10000"/>
                  <a:gd name="connsiteX1619" fmla="*/ 3484 w 10577"/>
                  <a:gd name="connsiteY1619" fmla="*/ 2120 h 10000"/>
                  <a:gd name="connsiteX1620" fmla="*/ 3484 w 10577"/>
                  <a:gd name="connsiteY1620" fmla="*/ 2145 h 10000"/>
                  <a:gd name="connsiteX1621" fmla="*/ 3470 w 10577"/>
                  <a:gd name="connsiteY1621" fmla="*/ 2137 h 10000"/>
                  <a:gd name="connsiteX1622" fmla="*/ 3465 w 10577"/>
                  <a:gd name="connsiteY1622" fmla="*/ 2145 h 10000"/>
                  <a:gd name="connsiteX1623" fmla="*/ 3470 w 10577"/>
                  <a:gd name="connsiteY1623" fmla="*/ 2171 h 10000"/>
                  <a:gd name="connsiteX1624" fmla="*/ 3484 w 10577"/>
                  <a:gd name="connsiteY1624" fmla="*/ 2171 h 10000"/>
                  <a:gd name="connsiteX1625" fmla="*/ 3484 w 10577"/>
                  <a:gd name="connsiteY1625" fmla="*/ 2197 h 10000"/>
                  <a:gd name="connsiteX1626" fmla="*/ 3465 w 10577"/>
                  <a:gd name="connsiteY1626" fmla="*/ 2214 h 10000"/>
                  <a:gd name="connsiteX1627" fmla="*/ 3493 w 10577"/>
                  <a:gd name="connsiteY1627" fmla="*/ 2248 h 10000"/>
                  <a:gd name="connsiteX1628" fmla="*/ 3484 w 10577"/>
                  <a:gd name="connsiteY1628" fmla="*/ 2256 h 10000"/>
                  <a:gd name="connsiteX1629" fmla="*/ 3498 w 10577"/>
                  <a:gd name="connsiteY1629" fmla="*/ 2274 h 10000"/>
                  <a:gd name="connsiteX1630" fmla="*/ 3498 w 10577"/>
                  <a:gd name="connsiteY1630" fmla="*/ 2256 h 10000"/>
                  <a:gd name="connsiteX1631" fmla="*/ 3507 w 10577"/>
                  <a:gd name="connsiteY1631" fmla="*/ 2308 h 10000"/>
                  <a:gd name="connsiteX1632" fmla="*/ 3512 w 10577"/>
                  <a:gd name="connsiteY1632" fmla="*/ 2325 h 10000"/>
                  <a:gd name="connsiteX1633" fmla="*/ 3507 w 10577"/>
                  <a:gd name="connsiteY1633" fmla="*/ 2333 h 10000"/>
                  <a:gd name="connsiteX1634" fmla="*/ 3507 w 10577"/>
                  <a:gd name="connsiteY1634" fmla="*/ 2359 h 10000"/>
                  <a:gd name="connsiteX1635" fmla="*/ 3507 w 10577"/>
                  <a:gd name="connsiteY1635" fmla="*/ 2376 h 10000"/>
                  <a:gd name="connsiteX1636" fmla="*/ 3498 w 10577"/>
                  <a:gd name="connsiteY1636" fmla="*/ 2410 h 10000"/>
                  <a:gd name="connsiteX1637" fmla="*/ 3498 w 10577"/>
                  <a:gd name="connsiteY1637" fmla="*/ 2436 h 10000"/>
                  <a:gd name="connsiteX1638" fmla="*/ 3507 w 10577"/>
                  <a:gd name="connsiteY1638" fmla="*/ 2462 h 10000"/>
                  <a:gd name="connsiteX1639" fmla="*/ 3507 w 10577"/>
                  <a:gd name="connsiteY1639" fmla="*/ 2496 h 10000"/>
                  <a:gd name="connsiteX1640" fmla="*/ 3512 w 10577"/>
                  <a:gd name="connsiteY1640" fmla="*/ 2521 h 10000"/>
                  <a:gd name="connsiteX1641" fmla="*/ 3525 w 10577"/>
                  <a:gd name="connsiteY1641" fmla="*/ 2556 h 10000"/>
                  <a:gd name="connsiteX1642" fmla="*/ 3571 w 10577"/>
                  <a:gd name="connsiteY1642" fmla="*/ 2573 h 10000"/>
                  <a:gd name="connsiteX1643" fmla="*/ 3590 w 10577"/>
                  <a:gd name="connsiteY1643" fmla="*/ 2598 h 10000"/>
                  <a:gd name="connsiteX1644" fmla="*/ 3599 w 10577"/>
                  <a:gd name="connsiteY1644" fmla="*/ 2598 h 10000"/>
                  <a:gd name="connsiteX1645" fmla="*/ 3604 w 10577"/>
                  <a:gd name="connsiteY1645" fmla="*/ 2632 h 10000"/>
                  <a:gd name="connsiteX1646" fmla="*/ 3599 w 10577"/>
                  <a:gd name="connsiteY1646" fmla="*/ 2658 h 10000"/>
                  <a:gd name="connsiteX1647" fmla="*/ 3590 w 10577"/>
                  <a:gd name="connsiteY1647" fmla="*/ 2667 h 10000"/>
                  <a:gd name="connsiteX1648" fmla="*/ 3604 w 10577"/>
                  <a:gd name="connsiteY1648" fmla="*/ 2667 h 10000"/>
                  <a:gd name="connsiteX1649" fmla="*/ 3613 w 10577"/>
                  <a:gd name="connsiteY1649" fmla="*/ 2692 h 10000"/>
                  <a:gd name="connsiteX1650" fmla="*/ 3627 w 10577"/>
                  <a:gd name="connsiteY1650" fmla="*/ 2735 h 10000"/>
                  <a:gd name="connsiteX1651" fmla="*/ 3631 w 10577"/>
                  <a:gd name="connsiteY1651" fmla="*/ 2744 h 10000"/>
                  <a:gd name="connsiteX1652" fmla="*/ 3659 w 10577"/>
                  <a:gd name="connsiteY1652" fmla="*/ 2761 h 10000"/>
                  <a:gd name="connsiteX1653" fmla="*/ 3673 w 10577"/>
                  <a:gd name="connsiteY1653" fmla="*/ 2769 h 10000"/>
                  <a:gd name="connsiteX1654" fmla="*/ 3673 w 10577"/>
                  <a:gd name="connsiteY1654" fmla="*/ 2761 h 10000"/>
                  <a:gd name="connsiteX1655" fmla="*/ 3687 w 10577"/>
                  <a:gd name="connsiteY1655" fmla="*/ 2829 h 10000"/>
                  <a:gd name="connsiteX1656" fmla="*/ 3677 w 10577"/>
                  <a:gd name="connsiteY1656" fmla="*/ 2897 h 10000"/>
                  <a:gd name="connsiteX1657" fmla="*/ 3673 w 10577"/>
                  <a:gd name="connsiteY1657" fmla="*/ 2915 h 10000"/>
                  <a:gd name="connsiteX1658" fmla="*/ 3664 w 10577"/>
                  <a:gd name="connsiteY1658" fmla="*/ 2957 h 10000"/>
                  <a:gd name="connsiteX1659" fmla="*/ 3659 w 10577"/>
                  <a:gd name="connsiteY1659" fmla="*/ 2983 h 10000"/>
                  <a:gd name="connsiteX1660" fmla="*/ 3664 w 10577"/>
                  <a:gd name="connsiteY1660" fmla="*/ 3017 h 10000"/>
                  <a:gd name="connsiteX1661" fmla="*/ 3659 w 10577"/>
                  <a:gd name="connsiteY1661" fmla="*/ 3043 h 10000"/>
                  <a:gd name="connsiteX1662" fmla="*/ 3677 w 10577"/>
                  <a:gd name="connsiteY1662" fmla="*/ 3094 h 10000"/>
                  <a:gd name="connsiteX1663" fmla="*/ 3691 w 10577"/>
                  <a:gd name="connsiteY1663" fmla="*/ 3282 h 10000"/>
                  <a:gd name="connsiteX1664" fmla="*/ 3691 w 10577"/>
                  <a:gd name="connsiteY1664" fmla="*/ 3308 h 10000"/>
                  <a:gd name="connsiteX1665" fmla="*/ 3677 w 10577"/>
                  <a:gd name="connsiteY1665" fmla="*/ 3342 h 10000"/>
                  <a:gd name="connsiteX1666" fmla="*/ 3664 w 10577"/>
                  <a:gd name="connsiteY1666" fmla="*/ 3342 h 10000"/>
                  <a:gd name="connsiteX1667" fmla="*/ 3650 w 10577"/>
                  <a:gd name="connsiteY1667" fmla="*/ 3342 h 10000"/>
                  <a:gd name="connsiteX1668" fmla="*/ 3650 w 10577"/>
                  <a:gd name="connsiteY1668" fmla="*/ 3350 h 10000"/>
                  <a:gd name="connsiteX1669" fmla="*/ 3659 w 10577"/>
                  <a:gd name="connsiteY1669" fmla="*/ 3402 h 10000"/>
                  <a:gd name="connsiteX1670" fmla="*/ 3659 w 10577"/>
                  <a:gd name="connsiteY1670" fmla="*/ 3419 h 10000"/>
                  <a:gd name="connsiteX1671" fmla="*/ 3631 w 10577"/>
                  <a:gd name="connsiteY1671" fmla="*/ 3402 h 10000"/>
                  <a:gd name="connsiteX1672" fmla="*/ 3604 w 10577"/>
                  <a:gd name="connsiteY1672" fmla="*/ 3393 h 10000"/>
                  <a:gd name="connsiteX1673" fmla="*/ 3599 w 10577"/>
                  <a:gd name="connsiteY1673" fmla="*/ 3368 h 10000"/>
                  <a:gd name="connsiteX1674" fmla="*/ 3590 w 10577"/>
                  <a:gd name="connsiteY1674" fmla="*/ 3239 h 10000"/>
                  <a:gd name="connsiteX1675" fmla="*/ 3599 w 10577"/>
                  <a:gd name="connsiteY1675" fmla="*/ 3179 h 10000"/>
                  <a:gd name="connsiteX1676" fmla="*/ 3599 w 10577"/>
                  <a:gd name="connsiteY1676" fmla="*/ 3171 h 10000"/>
                  <a:gd name="connsiteX1677" fmla="*/ 3599 w 10577"/>
                  <a:gd name="connsiteY1677" fmla="*/ 3009 h 10000"/>
                  <a:gd name="connsiteX1678" fmla="*/ 3604 w 10577"/>
                  <a:gd name="connsiteY1678" fmla="*/ 2983 h 10000"/>
                  <a:gd name="connsiteX1679" fmla="*/ 3645 w 10577"/>
                  <a:gd name="connsiteY1679" fmla="*/ 2932 h 10000"/>
                  <a:gd name="connsiteX1680" fmla="*/ 3650 w 10577"/>
                  <a:gd name="connsiteY1680" fmla="*/ 2872 h 10000"/>
                  <a:gd name="connsiteX1681" fmla="*/ 3659 w 10577"/>
                  <a:gd name="connsiteY1681" fmla="*/ 2855 h 10000"/>
                  <a:gd name="connsiteX1682" fmla="*/ 3659 w 10577"/>
                  <a:gd name="connsiteY1682" fmla="*/ 2821 h 10000"/>
                  <a:gd name="connsiteX1683" fmla="*/ 3631 w 10577"/>
                  <a:gd name="connsiteY1683" fmla="*/ 2795 h 10000"/>
                  <a:gd name="connsiteX1684" fmla="*/ 3567 w 10577"/>
                  <a:gd name="connsiteY1684" fmla="*/ 2821 h 10000"/>
                  <a:gd name="connsiteX1685" fmla="*/ 3544 w 10577"/>
                  <a:gd name="connsiteY1685" fmla="*/ 2795 h 10000"/>
                  <a:gd name="connsiteX1686" fmla="*/ 3530 w 10577"/>
                  <a:gd name="connsiteY1686" fmla="*/ 2769 h 10000"/>
                  <a:gd name="connsiteX1687" fmla="*/ 3530 w 10577"/>
                  <a:gd name="connsiteY1687" fmla="*/ 2786 h 10000"/>
                  <a:gd name="connsiteX1688" fmla="*/ 3498 w 10577"/>
                  <a:gd name="connsiteY1688" fmla="*/ 2692 h 10000"/>
                  <a:gd name="connsiteX1689" fmla="*/ 3498 w 10577"/>
                  <a:gd name="connsiteY1689" fmla="*/ 2667 h 10000"/>
                  <a:gd name="connsiteX1690" fmla="*/ 3442 w 10577"/>
                  <a:gd name="connsiteY1690" fmla="*/ 2607 h 10000"/>
                  <a:gd name="connsiteX1691" fmla="*/ 3433 w 10577"/>
                  <a:gd name="connsiteY1691" fmla="*/ 2581 h 10000"/>
                  <a:gd name="connsiteX1692" fmla="*/ 3396 w 10577"/>
                  <a:gd name="connsiteY1692" fmla="*/ 2556 h 10000"/>
                  <a:gd name="connsiteX1693" fmla="*/ 3318 w 10577"/>
                  <a:gd name="connsiteY1693" fmla="*/ 2556 h 10000"/>
                  <a:gd name="connsiteX1694" fmla="*/ 3304 w 10577"/>
                  <a:gd name="connsiteY1694" fmla="*/ 2607 h 10000"/>
                  <a:gd name="connsiteX1695" fmla="*/ 3276 w 10577"/>
                  <a:gd name="connsiteY1695" fmla="*/ 2632 h 10000"/>
                  <a:gd name="connsiteX1696" fmla="*/ 3272 w 10577"/>
                  <a:gd name="connsiteY1696" fmla="*/ 2667 h 10000"/>
                  <a:gd name="connsiteX1697" fmla="*/ 3304 w 10577"/>
                  <a:gd name="connsiteY1697" fmla="*/ 2667 h 10000"/>
                  <a:gd name="connsiteX1698" fmla="*/ 3323 w 10577"/>
                  <a:gd name="connsiteY1698" fmla="*/ 2692 h 10000"/>
                  <a:gd name="connsiteX1699" fmla="*/ 3318 w 10577"/>
                  <a:gd name="connsiteY1699" fmla="*/ 2735 h 10000"/>
                  <a:gd name="connsiteX1700" fmla="*/ 3304 w 10577"/>
                  <a:gd name="connsiteY1700" fmla="*/ 2761 h 10000"/>
                  <a:gd name="connsiteX1701" fmla="*/ 3276 w 10577"/>
                  <a:gd name="connsiteY1701" fmla="*/ 2769 h 10000"/>
                  <a:gd name="connsiteX1702" fmla="*/ 3263 w 10577"/>
                  <a:gd name="connsiteY1702" fmla="*/ 2795 h 10000"/>
                  <a:gd name="connsiteX1703" fmla="*/ 3235 w 10577"/>
                  <a:gd name="connsiteY1703" fmla="*/ 2803 h 10000"/>
                  <a:gd name="connsiteX1704" fmla="*/ 3235 w 10577"/>
                  <a:gd name="connsiteY1704" fmla="*/ 2786 h 10000"/>
                  <a:gd name="connsiteX1705" fmla="*/ 3212 w 10577"/>
                  <a:gd name="connsiteY1705" fmla="*/ 2709 h 10000"/>
                  <a:gd name="connsiteX1706" fmla="*/ 3198 w 10577"/>
                  <a:gd name="connsiteY1706" fmla="*/ 2709 h 10000"/>
                  <a:gd name="connsiteX1707" fmla="*/ 3184 w 10577"/>
                  <a:gd name="connsiteY1707" fmla="*/ 2735 h 10000"/>
                  <a:gd name="connsiteX1708" fmla="*/ 3189 w 10577"/>
                  <a:gd name="connsiteY1708" fmla="*/ 2761 h 10000"/>
                  <a:gd name="connsiteX1709" fmla="*/ 3203 w 10577"/>
                  <a:gd name="connsiteY1709" fmla="*/ 2855 h 10000"/>
                  <a:gd name="connsiteX1710" fmla="*/ 3212 w 10577"/>
                  <a:gd name="connsiteY1710" fmla="*/ 2872 h 10000"/>
                  <a:gd name="connsiteX1711" fmla="*/ 3235 w 10577"/>
                  <a:gd name="connsiteY1711" fmla="*/ 2906 h 10000"/>
                  <a:gd name="connsiteX1712" fmla="*/ 3258 w 10577"/>
                  <a:gd name="connsiteY1712" fmla="*/ 2915 h 10000"/>
                  <a:gd name="connsiteX1713" fmla="*/ 3272 w 10577"/>
                  <a:gd name="connsiteY1713" fmla="*/ 2957 h 10000"/>
                  <a:gd name="connsiteX1714" fmla="*/ 3276 w 10577"/>
                  <a:gd name="connsiteY1714" fmla="*/ 2957 h 10000"/>
                  <a:gd name="connsiteX1715" fmla="*/ 3286 w 10577"/>
                  <a:gd name="connsiteY1715" fmla="*/ 2966 h 10000"/>
                  <a:gd name="connsiteX1716" fmla="*/ 3300 w 10577"/>
                  <a:gd name="connsiteY1716" fmla="*/ 2957 h 10000"/>
                  <a:gd name="connsiteX1717" fmla="*/ 3309 w 10577"/>
                  <a:gd name="connsiteY1717" fmla="*/ 2932 h 10000"/>
                  <a:gd name="connsiteX1718" fmla="*/ 3304 w 10577"/>
                  <a:gd name="connsiteY1718" fmla="*/ 2966 h 10000"/>
                  <a:gd name="connsiteX1719" fmla="*/ 3309 w 10577"/>
                  <a:gd name="connsiteY1719" fmla="*/ 2983 h 10000"/>
                  <a:gd name="connsiteX1720" fmla="*/ 3323 w 10577"/>
                  <a:gd name="connsiteY1720" fmla="*/ 2966 h 10000"/>
                  <a:gd name="connsiteX1721" fmla="*/ 3323 w 10577"/>
                  <a:gd name="connsiteY1721" fmla="*/ 3043 h 10000"/>
                  <a:gd name="connsiteX1722" fmla="*/ 3346 w 10577"/>
                  <a:gd name="connsiteY1722" fmla="*/ 3068 h 10000"/>
                  <a:gd name="connsiteX1723" fmla="*/ 3346 w 10577"/>
                  <a:gd name="connsiteY1723" fmla="*/ 3094 h 10000"/>
                  <a:gd name="connsiteX1724" fmla="*/ 3323 w 10577"/>
                  <a:gd name="connsiteY1724" fmla="*/ 3094 h 10000"/>
                  <a:gd name="connsiteX1725" fmla="*/ 3309 w 10577"/>
                  <a:gd name="connsiteY1725" fmla="*/ 3077 h 10000"/>
                  <a:gd name="connsiteX1726" fmla="*/ 3304 w 10577"/>
                  <a:gd name="connsiteY1726" fmla="*/ 3051 h 10000"/>
                  <a:gd name="connsiteX1727" fmla="*/ 3300 w 10577"/>
                  <a:gd name="connsiteY1727" fmla="*/ 3043 h 10000"/>
                  <a:gd name="connsiteX1728" fmla="*/ 3286 w 10577"/>
                  <a:gd name="connsiteY1728" fmla="*/ 3017 h 10000"/>
                  <a:gd name="connsiteX1729" fmla="*/ 3152 w 10577"/>
                  <a:gd name="connsiteY1729" fmla="*/ 2966 h 10000"/>
                  <a:gd name="connsiteX1730" fmla="*/ 3129 w 10577"/>
                  <a:gd name="connsiteY1730" fmla="*/ 2915 h 10000"/>
                  <a:gd name="connsiteX1731" fmla="*/ 3129 w 10577"/>
                  <a:gd name="connsiteY1731" fmla="*/ 2906 h 10000"/>
                  <a:gd name="connsiteX1732" fmla="*/ 3152 w 10577"/>
                  <a:gd name="connsiteY1732" fmla="*/ 2906 h 10000"/>
                  <a:gd name="connsiteX1733" fmla="*/ 3152 w 10577"/>
                  <a:gd name="connsiteY1733" fmla="*/ 2846 h 10000"/>
                  <a:gd name="connsiteX1734" fmla="*/ 3138 w 10577"/>
                  <a:gd name="connsiteY1734" fmla="*/ 2795 h 10000"/>
                  <a:gd name="connsiteX1735" fmla="*/ 3138 w 10577"/>
                  <a:gd name="connsiteY1735" fmla="*/ 2769 h 10000"/>
                  <a:gd name="connsiteX1736" fmla="*/ 3143 w 10577"/>
                  <a:gd name="connsiteY1736" fmla="*/ 2718 h 10000"/>
                  <a:gd name="connsiteX1737" fmla="*/ 3129 w 10577"/>
                  <a:gd name="connsiteY1737" fmla="*/ 2692 h 10000"/>
                  <a:gd name="connsiteX1738" fmla="*/ 3143 w 10577"/>
                  <a:gd name="connsiteY1738" fmla="*/ 2667 h 10000"/>
                  <a:gd name="connsiteX1739" fmla="*/ 3157 w 10577"/>
                  <a:gd name="connsiteY1739" fmla="*/ 2581 h 10000"/>
                  <a:gd name="connsiteX1740" fmla="*/ 3143 w 10577"/>
                  <a:gd name="connsiteY1740" fmla="*/ 2496 h 10000"/>
                  <a:gd name="connsiteX1741" fmla="*/ 3157 w 10577"/>
                  <a:gd name="connsiteY1741" fmla="*/ 2487 h 10000"/>
                  <a:gd name="connsiteX1742" fmla="*/ 3143 w 10577"/>
                  <a:gd name="connsiteY1742" fmla="*/ 2444 h 10000"/>
                  <a:gd name="connsiteX1743" fmla="*/ 3143 w 10577"/>
                  <a:gd name="connsiteY1743" fmla="*/ 2419 h 10000"/>
                  <a:gd name="connsiteX1744" fmla="*/ 3143 w 10577"/>
                  <a:gd name="connsiteY1744" fmla="*/ 2410 h 10000"/>
                  <a:gd name="connsiteX1745" fmla="*/ 3124 w 10577"/>
                  <a:gd name="connsiteY1745" fmla="*/ 2376 h 10000"/>
                  <a:gd name="connsiteX1746" fmla="*/ 3115 w 10577"/>
                  <a:gd name="connsiteY1746" fmla="*/ 2350 h 10000"/>
                  <a:gd name="connsiteX1747" fmla="*/ 3101 w 10577"/>
                  <a:gd name="connsiteY1747" fmla="*/ 2359 h 10000"/>
                  <a:gd name="connsiteX1748" fmla="*/ 3115 w 10577"/>
                  <a:gd name="connsiteY1748" fmla="*/ 2581 h 10000"/>
                  <a:gd name="connsiteX1749" fmla="*/ 3111 w 10577"/>
                  <a:gd name="connsiteY1749" fmla="*/ 2624 h 10000"/>
                  <a:gd name="connsiteX1750" fmla="*/ 3009 w 10577"/>
                  <a:gd name="connsiteY1750" fmla="*/ 2761 h 10000"/>
                  <a:gd name="connsiteX1751" fmla="*/ 3009 w 10577"/>
                  <a:gd name="connsiteY1751" fmla="*/ 2803 h 10000"/>
                  <a:gd name="connsiteX1752" fmla="*/ 3005 w 10577"/>
                  <a:gd name="connsiteY1752" fmla="*/ 2829 h 10000"/>
                  <a:gd name="connsiteX1753" fmla="*/ 2982 w 10577"/>
                  <a:gd name="connsiteY1753" fmla="*/ 2872 h 10000"/>
                  <a:gd name="connsiteX1754" fmla="*/ 2982 w 10577"/>
                  <a:gd name="connsiteY1754" fmla="*/ 2880 h 10000"/>
                  <a:gd name="connsiteX1755" fmla="*/ 3037 w 10577"/>
                  <a:gd name="connsiteY1755" fmla="*/ 3034 h 10000"/>
                  <a:gd name="connsiteX1756" fmla="*/ 3041 w 10577"/>
                  <a:gd name="connsiteY1756" fmla="*/ 3103 h 10000"/>
                  <a:gd name="connsiteX1757" fmla="*/ 3069 w 10577"/>
                  <a:gd name="connsiteY1757" fmla="*/ 3188 h 10000"/>
                  <a:gd name="connsiteX1758" fmla="*/ 3055 w 10577"/>
                  <a:gd name="connsiteY1758" fmla="*/ 3325 h 10000"/>
                  <a:gd name="connsiteX1759" fmla="*/ 3037 w 10577"/>
                  <a:gd name="connsiteY1759" fmla="*/ 3368 h 10000"/>
                  <a:gd name="connsiteX1760" fmla="*/ 3037 w 10577"/>
                  <a:gd name="connsiteY1760" fmla="*/ 3444 h 10000"/>
                  <a:gd name="connsiteX1761" fmla="*/ 3028 w 10577"/>
                  <a:gd name="connsiteY1761" fmla="*/ 3453 h 10000"/>
                  <a:gd name="connsiteX1762" fmla="*/ 3023 w 10577"/>
                  <a:gd name="connsiteY1762" fmla="*/ 3530 h 10000"/>
                  <a:gd name="connsiteX1763" fmla="*/ 3051 w 10577"/>
                  <a:gd name="connsiteY1763" fmla="*/ 3624 h 10000"/>
                  <a:gd name="connsiteX1764" fmla="*/ 3037 w 10577"/>
                  <a:gd name="connsiteY1764" fmla="*/ 3718 h 10000"/>
                  <a:gd name="connsiteX1765" fmla="*/ 3041 w 10577"/>
                  <a:gd name="connsiteY1765" fmla="*/ 3752 h 10000"/>
                  <a:gd name="connsiteX1766" fmla="*/ 3055 w 10577"/>
                  <a:gd name="connsiteY1766" fmla="*/ 3761 h 10000"/>
                  <a:gd name="connsiteX1767" fmla="*/ 3078 w 10577"/>
                  <a:gd name="connsiteY1767" fmla="*/ 3752 h 10000"/>
                  <a:gd name="connsiteX1768" fmla="*/ 3092 w 10577"/>
                  <a:gd name="connsiteY1768" fmla="*/ 3752 h 10000"/>
                  <a:gd name="connsiteX1769" fmla="*/ 3129 w 10577"/>
                  <a:gd name="connsiteY1769" fmla="*/ 3761 h 10000"/>
                  <a:gd name="connsiteX1770" fmla="*/ 3129 w 10577"/>
                  <a:gd name="connsiteY1770" fmla="*/ 3735 h 10000"/>
                  <a:gd name="connsiteX1771" fmla="*/ 3157 w 10577"/>
                  <a:gd name="connsiteY1771" fmla="*/ 3718 h 10000"/>
                  <a:gd name="connsiteX1772" fmla="*/ 3184 w 10577"/>
                  <a:gd name="connsiteY1772" fmla="*/ 3718 h 10000"/>
                  <a:gd name="connsiteX1773" fmla="*/ 3290 w 10577"/>
                  <a:gd name="connsiteY1773" fmla="*/ 3838 h 10000"/>
                  <a:gd name="connsiteX1774" fmla="*/ 3300 w 10577"/>
                  <a:gd name="connsiteY1774" fmla="*/ 3846 h 10000"/>
                  <a:gd name="connsiteX1775" fmla="*/ 3300 w 10577"/>
                  <a:gd name="connsiteY1775" fmla="*/ 3915 h 10000"/>
                  <a:gd name="connsiteX1776" fmla="*/ 3318 w 10577"/>
                  <a:gd name="connsiteY1776" fmla="*/ 4000 h 10000"/>
                  <a:gd name="connsiteX1777" fmla="*/ 3323 w 10577"/>
                  <a:gd name="connsiteY1777" fmla="*/ 4000 h 10000"/>
                  <a:gd name="connsiteX1778" fmla="*/ 3323 w 10577"/>
                  <a:gd name="connsiteY1778" fmla="*/ 4034 h 10000"/>
                  <a:gd name="connsiteX1779" fmla="*/ 3318 w 10577"/>
                  <a:gd name="connsiteY1779" fmla="*/ 4051 h 10000"/>
                  <a:gd name="connsiteX1780" fmla="*/ 3300 w 10577"/>
                  <a:gd name="connsiteY1780" fmla="*/ 4051 h 10000"/>
                  <a:gd name="connsiteX1781" fmla="*/ 3290 w 10577"/>
                  <a:gd name="connsiteY1781" fmla="*/ 4077 h 10000"/>
                  <a:gd name="connsiteX1782" fmla="*/ 3286 w 10577"/>
                  <a:gd name="connsiteY1782" fmla="*/ 4103 h 10000"/>
                  <a:gd name="connsiteX1783" fmla="*/ 3286 w 10577"/>
                  <a:gd name="connsiteY1783" fmla="*/ 4197 h 10000"/>
                  <a:gd name="connsiteX1784" fmla="*/ 3290 w 10577"/>
                  <a:gd name="connsiteY1784" fmla="*/ 4214 h 10000"/>
                  <a:gd name="connsiteX1785" fmla="*/ 3304 w 10577"/>
                  <a:gd name="connsiteY1785" fmla="*/ 4214 h 10000"/>
                  <a:gd name="connsiteX1786" fmla="*/ 3323 w 10577"/>
                  <a:gd name="connsiteY1786" fmla="*/ 4239 h 10000"/>
                  <a:gd name="connsiteX1787" fmla="*/ 3350 w 10577"/>
                  <a:gd name="connsiteY1787" fmla="*/ 4222 h 10000"/>
                  <a:gd name="connsiteX1788" fmla="*/ 3369 w 10577"/>
                  <a:gd name="connsiteY1788" fmla="*/ 4256 h 10000"/>
                  <a:gd name="connsiteX1789" fmla="*/ 3369 w 10577"/>
                  <a:gd name="connsiteY1789" fmla="*/ 4256 h 10000"/>
                  <a:gd name="connsiteX1790" fmla="*/ 3336 w 10577"/>
                  <a:gd name="connsiteY1790" fmla="*/ 4274 h 10000"/>
                  <a:gd name="connsiteX1791" fmla="*/ 3323 w 10577"/>
                  <a:gd name="connsiteY1791" fmla="*/ 4274 h 10000"/>
                  <a:gd name="connsiteX1792" fmla="*/ 3290 w 10577"/>
                  <a:gd name="connsiteY1792" fmla="*/ 4274 h 10000"/>
                  <a:gd name="connsiteX1793" fmla="*/ 3286 w 10577"/>
                  <a:gd name="connsiteY1793" fmla="*/ 4239 h 10000"/>
                  <a:gd name="connsiteX1794" fmla="*/ 3263 w 10577"/>
                  <a:gd name="connsiteY1794" fmla="*/ 4214 h 10000"/>
                  <a:gd name="connsiteX1795" fmla="*/ 3258 w 10577"/>
                  <a:gd name="connsiteY1795" fmla="*/ 4188 h 10000"/>
                  <a:gd name="connsiteX1796" fmla="*/ 3263 w 10577"/>
                  <a:gd name="connsiteY1796" fmla="*/ 4171 h 10000"/>
                  <a:gd name="connsiteX1797" fmla="*/ 3263 w 10577"/>
                  <a:gd name="connsiteY1797" fmla="*/ 4103 h 10000"/>
                  <a:gd name="connsiteX1798" fmla="*/ 3276 w 10577"/>
                  <a:gd name="connsiteY1798" fmla="*/ 4060 h 10000"/>
                  <a:gd name="connsiteX1799" fmla="*/ 3272 w 10577"/>
                  <a:gd name="connsiteY1799" fmla="*/ 4051 h 10000"/>
                  <a:gd name="connsiteX1800" fmla="*/ 3263 w 10577"/>
                  <a:gd name="connsiteY1800" fmla="*/ 4051 h 10000"/>
                  <a:gd name="connsiteX1801" fmla="*/ 3263 w 10577"/>
                  <a:gd name="connsiteY1801" fmla="*/ 4034 h 10000"/>
                  <a:gd name="connsiteX1802" fmla="*/ 3263 w 10577"/>
                  <a:gd name="connsiteY1802" fmla="*/ 4000 h 10000"/>
                  <a:gd name="connsiteX1803" fmla="*/ 3272 w 10577"/>
                  <a:gd name="connsiteY1803" fmla="*/ 4000 h 10000"/>
                  <a:gd name="connsiteX1804" fmla="*/ 3272 w 10577"/>
                  <a:gd name="connsiteY1804" fmla="*/ 3974 h 10000"/>
                  <a:gd name="connsiteX1805" fmla="*/ 3272 w 10577"/>
                  <a:gd name="connsiteY1805" fmla="*/ 3966 h 10000"/>
                  <a:gd name="connsiteX1806" fmla="*/ 3272 w 10577"/>
                  <a:gd name="connsiteY1806" fmla="*/ 3949 h 10000"/>
                  <a:gd name="connsiteX1807" fmla="*/ 3258 w 10577"/>
                  <a:gd name="connsiteY1807" fmla="*/ 3923 h 10000"/>
                  <a:gd name="connsiteX1808" fmla="*/ 3249 w 10577"/>
                  <a:gd name="connsiteY1808" fmla="*/ 3915 h 10000"/>
                  <a:gd name="connsiteX1809" fmla="*/ 3244 w 10577"/>
                  <a:gd name="connsiteY1809" fmla="*/ 3897 h 10000"/>
                  <a:gd name="connsiteX1810" fmla="*/ 3230 w 10577"/>
                  <a:gd name="connsiteY1810" fmla="*/ 3889 h 10000"/>
                  <a:gd name="connsiteX1811" fmla="*/ 3230 w 10577"/>
                  <a:gd name="connsiteY1811" fmla="*/ 3863 h 10000"/>
                  <a:gd name="connsiteX1812" fmla="*/ 3230 w 10577"/>
                  <a:gd name="connsiteY1812" fmla="*/ 3838 h 10000"/>
                  <a:gd name="connsiteX1813" fmla="*/ 3226 w 10577"/>
                  <a:gd name="connsiteY1813" fmla="*/ 3803 h 10000"/>
                  <a:gd name="connsiteX1814" fmla="*/ 3138 w 10577"/>
                  <a:gd name="connsiteY1814" fmla="*/ 3838 h 10000"/>
                  <a:gd name="connsiteX1815" fmla="*/ 3078 w 10577"/>
                  <a:gd name="connsiteY1815" fmla="*/ 3889 h 10000"/>
                  <a:gd name="connsiteX1816" fmla="*/ 3078 w 10577"/>
                  <a:gd name="connsiteY1816" fmla="*/ 3940 h 10000"/>
                  <a:gd name="connsiteX1817" fmla="*/ 3069 w 10577"/>
                  <a:gd name="connsiteY1817" fmla="*/ 3983 h 10000"/>
                  <a:gd name="connsiteX1818" fmla="*/ 3069 w 10577"/>
                  <a:gd name="connsiteY1818" fmla="*/ 4009 h 10000"/>
                  <a:gd name="connsiteX1819" fmla="*/ 3078 w 10577"/>
                  <a:gd name="connsiteY1819" fmla="*/ 4026 h 10000"/>
                  <a:gd name="connsiteX1820" fmla="*/ 3083 w 10577"/>
                  <a:gd name="connsiteY1820" fmla="*/ 4034 h 10000"/>
                  <a:gd name="connsiteX1821" fmla="*/ 3092 w 10577"/>
                  <a:gd name="connsiteY1821" fmla="*/ 4060 h 10000"/>
                  <a:gd name="connsiteX1822" fmla="*/ 3092 w 10577"/>
                  <a:gd name="connsiteY1822" fmla="*/ 4077 h 10000"/>
                  <a:gd name="connsiteX1823" fmla="*/ 3097 w 10577"/>
                  <a:gd name="connsiteY1823" fmla="*/ 4103 h 10000"/>
                  <a:gd name="connsiteX1824" fmla="*/ 3101 w 10577"/>
                  <a:gd name="connsiteY1824" fmla="*/ 4162 h 10000"/>
                  <a:gd name="connsiteX1825" fmla="*/ 3097 w 10577"/>
                  <a:gd name="connsiteY1825" fmla="*/ 4222 h 10000"/>
                  <a:gd name="connsiteX1826" fmla="*/ 3041 w 10577"/>
                  <a:gd name="connsiteY1826" fmla="*/ 4325 h 10000"/>
                  <a:gd name="connsiteX1827" fmla="*/ 3037 w 10577"/>
                  <a:gd name="connsiteY1827" fmla="*/ 4419 h 10000"/>
                  <a:gd name="connsiteX1828" fmla="*/ 3018 w 10577"/>
                  <a:gd name="connsiteY1828" fmla="*/ 4470 h 10000"/>
                  <a:gd name="connsiteX1829" fmla="*/ 2991 w 10577"/>
                  <a:gd name="connsiteY1829" fmla="*/ 4513 h 10000"/>
                  <a:gd name="connsiteX1830" fmla="*/ 2977 w 10577"/>
                  <a:gd name="connsiteY1830" fmla="*/ 4530 h 10000"/>
                  <a:gd name="connsiteX1831" fmla="*/ 2945 w 10577"/>
                  <a:gd name="connsiteY1831" fmla="*/ 4556 h 10000"/>
                  <a:gd name="connsiteX1832" fmla="*/ 2935 w 10577"/>
                  <a:gd name="connsiteY1832" fmla="*/ 4581 h 10000"/>
                  <a:gd name="connsiteX1833" fmla="*/ 2949 w 10577"/>
                  <a:gd name="connsiteY1833" fmla="*/ 4624 h 10000"/>
                  <a:gd name="connsiteX1834" fmla="*/ 2945 w 10577"/>
                  <a:gd name="connsiteY1834" fmla="*/ 4658 h 10000"/>
                  <a:gd name="connsiteX1835" fmla="*/ 2922 w 10577"/>
                  <a:gd name="connsiteY1835" fmla="*/ 4667 h 10000"/>
                  <a:gd name="connsiteX1836" fmla="*/ 2876 w 10577"/>
                  <a:gd name="connsiteY1836" fmla="*/ 4632 h 10000"/>
                  <a:gd name="connsiteX1837" fmla="*/ 2857 w 10577"/>
                  <a:gd name="connsiteY1837" fmla="*/ 4632 h 10000"/>
                  <a:gd name="connsiteX1838" fmla="*/ 2820 w 10577"/>
                  <a:gd name="connsiteY1838" fmla="*/ 4641 h 10000"/>
                  <a:gd name="connsiteX1839" fmla="*/ 2797 w 10577"/>
                  <a:gd name="connsiteY1839" fmla="*/ 4632 h 10000"/>
                  <a:gd name="connsiteX1840" fmla="*/ 2788 w 10577"/>
                  <a:gd name="connsiteY1840" fmla="*/ 4624 h 10000"/>
                  <a:gd name="connsiteX1841" fmla="*/ 2788 w 10577"/>
                  <a:gd name="connsiteY1841" fmla="*/ 4598 h 10000"/>
                  <a:gd name="connsiteX1842" fmla="*/ 2797 w 10577"/>
                  <a:gd name="connsiteY1842" fmla="*/ 4581 h 10000"/>
                  <a:gd name="connsiteX1843" fmla="*/ 2788 w 10577"/>
                  <a:gd name="connsiteY1843" fmla="*/ 4530 h 10000"/>
                  <a:gd name="connsiteX1844" fmla="*/ 2774 w 10577"/>
                  <a:gd name="connsiteY1844" fmla="*/ 4530 h 10000"/>
                  <a:gd name="connsiteX1845" fmla="*/ 2770 w 10577"/>
                  <a:gd name="connsiteY1845" fmla="*/ 4513 h 10000"/>
                  <a:gd name="connsiteX1846" fmla="*/ 2774 w 10577"/>
                  <a:gd name="connsiteY1846" fmla="*/ 4513 h 10000"/>
                  <a:gd name="connsiteX1847" fmla="*/ 2788 w 10577"/>
                  <a:gd name="connsiteY1847" fmla="*/ 4496 h 10000"/>
                  <a:gd name="connsiteX1848" fmla="*/ 2802 w 10577"/>
                  <a:gd name="connsiteY1848" fmla="*/ 4513 h 10000"/>
                  <a:gd name="connsiteX1849" fmla="*/ 2811 w 10577"/>
                  <a:gd name="connsiteY1849" fmla="*/ 4530 h 10000"/>
                  <a:gd name="connsiteX1850" fmla="*/ 2820 w 10577"/>
                  <a:gd name="connsiteY1850" fmla="*/ 4521 h 10000"/>
                  <a:gd name="connsiteX1851" fmla="*/ 2829 w 10577"/>
                  <a:gd name="connsiteY1851" fmla="*/ 4513 h 10000"/>
                  <a:gd name="connsiteX1852" fmla="*/ 2843 w 10577"/>
                  <a:gd name="connsiteY1852" fmla="*/ 4513 h 10000"/>
                  <a:gd name="connsiteX1853" fmla="*/ 2848 w 10577"/>
                  <a:gd name="connsiteY1853" fmla="*/ 4470 h 10000"/>
                  <a:gd name="connsiteX1854" fmla="*/ 2862 w 10577"/>
                  <a:gd name="connsiteY1854" fmla="*/ 4487 h 10000"/>
                  <a:gd name="connsiteX1855" fmla="*/ 2876 w 10577"/>
                  <a:gd name="connsiteY1855" fmla="*/ 4470 h 10000"/>
                  <a:gd name="connsiteX1856" fmla="*/ 2880 w 10577"/>
                  <a:gd name="connsiteY1856" fmla="*/ 4462 h 10000"/>
                  <a:gd name="connsiteX1857" fmla="*/ 2889 w 10577"/>
                  <a:gd name="connsiteY1857" fmla="*/ 4444 h 10000"/>
                  <a:gd name="connsiteX1858" fmla="*/ 2894 w 10577"/>
                  <a:gd name="connsiteY1858" fmla="*/ 4462 h 10000"/>
                  <a:gd name="connsiteX1859" fmla="*/ 2917 w 10577"/>
                  <a:gd name="connsiteY1859" fmla="*/ 4444 h 10000"/>
                  <a:gd name="connsiteX1860" fmla="*/ 2922 w 10577"/>
                  <a:gd name="connsiteY1860" fmla="*/ 4436 h 10000"/>
                  <a:gd name="connsiteX1861" fmla="*/ 2917 w 10577"/>
                  <a:gd name="connsiteY1861" fmla="*/ 4410 h 10000"/>
                  <a:gd name="connsiteX1862" fmla="*/ 2894 w 10577"/>
                  <a:gd name="connsiteY1862" fmla="*/ 4410 h 10000"/>
                  <a:gd name="connsiteX1863" fmla="*/ 2889 w 10577"/>
                  <a:gd name="connsiteY1863" fmla="*/ 4419 h 10000"/>
                  <a:gd name="connsiteX1864" fmla="*/ 2876 w 10577"/>
                  <a:gd name="connsiteY1864" fmla="*/ 4410 h 10000"/>
                  <a:gd name="connsiteX1865" fmla="*/ 2880 w 10577"/>
                  <a:gd name="connsiteY1865" fmla="*/ 4376 h 10000"/>
                  <a:gd name="connsiteX1866" fmla="*/ 2903 w 10577"/>
                  <a:gd name="connsiteY1866" fmla="*/ 4393 h 10000"/>
                  <a:gd name="connsiteX1867" fmla="*/ 2931 w 10577"/>
                  <a:gd name="connsiteY1867" fmla="*/ 4393 h 10000"/>
                  <a:gd name="connsiteX1868" fmla="*/ 2931 w 10577"/>
                  <a:gd name="connsiteY1868" fmla="*/ 4385 h 10000"/>
                  <a:gd name="connsiteX1869" fmla="*/ 2931 w 10577"/>
                  <a:gd name="connsiteY1869" fmla="*/ 4350 h 10000"/>
                  <a:gd name="connsiteX1870" fmla="*/ 2945 w 10577"/>
                  <a:gd name="connsiteY1870" fmla="*/ 4350 h 10000"/>
                  <a:gd name="connsiteX1871" fmla="*/ 2949 w 10577"/>
                  <a:gd name="connsiteY1871" fmla="*/ 4325 h 10000"/>
                  <a:gd name="connsiteX1872" fmla="*/ 2963 w 10577"/>
                  <a:gd name="connsiteY1872" fmla="*/ 4256 h 10000"/>
                  <a:gd name="connsiteX1873" fmla="*/ 2982 w 10577"/>
                  <a:gd name="connsiteY1873" fmla="*/ 4239 h 10000"/>
                  <a:gd name="connsiteX1874" fmla="*/ 2991 w 10577"/>
                  <a:gd name="connsiteY1874" fmla="*/ 4214 h 10000"/>
                  <a:gd name="connsiteX1875" fmla="*/ 2991 w 10577"/>
                  <a:gd name="connsiteY1875" fmla="*/ 4197 h 10000"/>
                  <a:gd name="connsiteX1876" fmla="*/ 2995 w 10577"/>
                  <a:gd name="connsiteY1876" fmla="*/ 4171 h 10000"/>
                  <a:gd name="connsiteX1877" fmla="*/ 2991 w 10577"/>
                  <a:gd name="connsiteY1877" fmla="*/ 4077 h 10000"/>
                  <a:gd name="connsiteX1878" fmla="*/ 2995 w 10577"/>
                  <a:gd name="connsiteY1878" fmla="*/ 4034 h 10000"/>
                  <a:gd name="connsiteX1879" fmla="*/ 3018 w 10577"/>
                  <a:gd name="connsiteY1879" fmla="*/ 3983 h 10000"/>
                  <a:gd name="connsiteX1880" fmla="*/ 3018 w 10577"/>
                  <a:gd name="connsiteY1880" fmla="*/ 3915 h 10000"/>
                  <a:gd name="connsiteX1881" fmla="*/ 2949 w 10577"/>
                  <a:gd name="connsiteY1881" fmla="*/ 3778 h 10000"/>
                  <a:gd name="connsiteX1882" fmla="*/ 2954 w 10577"/>
                  <a:gd name="connsiteY1882" fmla="*/ 3675 h 10000"/>
                  <a:gd name="connsiteX1883" fmla="*/ 2954 w 10577"/>
                  <a:gd name="connsiteY1883" fmla="*/ 3650 h 10000"/>
                  <a:gd name="connsiteX1884" fmla="*/ 2963 w 10577"/>
                  <a:gd name="connsiteY1884" fmla="*/ 3624 h 10000"/>
                  <a:gd name="connsiteX1885" fmla="*/ 2954 w 10577"/>
                  <a:gd name="connsiteY1885" fmla="*/ 3564 h 10000"/>
                  <a:gd name="connsiteX1886" fmla="*/ 2963 w 10577"/>
                  <a:gd name="connsiteY1886" fmla="*/ 3538 h 10000"/>
                  <a:gd name="connsiteX1887" fmla="*/ 2963 w 10577"/>
                  <a:gd name="connsiteY1887" fmla="*/ 3487 h 10000"/>
                  <a:gd name="connsiteX1888" fmla="*/ 2963 w 10577"/>
                  <a:gd name="connsiteY1888" fmla="*/ 3479 h 10000"/>
                  <a:gd name="connsiteX1889" fmla="*/ 2963 w 10577"/>
                  <a:gd name="connsiteY1889" fmla="*/ 3462 h 10000"/>
                  <a:gd name="connsiteX1890" fmla="*/ 2954 w 10577"/>
                  <a:gd name="connsiteY1890" fmla="*/ 3453 h 10000"/>
                  <a:gd name="connsiteX1891" fmla="*/ 2954 w 10577"/>
                  <a:gd name="connsiteY1891" fmla="*/ 3444 h 10000"/>
                  <a:gd name="connsiteX1892" fmla="*/ 2954 w 10577"/>
                  <a:gd name="connsiteY1892" fmla="*/ 3402 h 10000"/>
                  <a:gd name="connsiteX1893" fmla="*/ 2954 w 10577"/>
                  <a:gd name="connsiteY1893" fmla="*/ 3393 h 10000"/>
                  <a:gd name="connsiteX1894" fmla="*/ 2949 w 10577"/>
                  <a:gd name="connsiteY1894" fmla="*/ 3376 h 10000"/>
                  <a:gd name="connsiteX1895" fmla="*/ 2949 w 10577"/>
                  <a:gd name="connsiteY1895" fmla="*/ 3342 h 10000"/>
                  <a:gd name="connsiteX1896" fmla="*/ 2949 w 10577"/>
                  <a:gd name="connsiteY1896" fmla="*/ 3316 h 10000"/>
                  <a:gd name="connsiteX1897" fmla="*/ 2968 w 10577"/>
                  <a:gd name="connsiteY1897" fmla="*/ 3291 h 10000"/>
                  <a:gd name="connsiteX1898" fmla="*/ 2963 w 10577"/>
                  <a:gd name="connsiteY1898" fmla="*/ 3205 h 10000"/>
                  <a:gd name="connsiteX1899" fmla="*/ 2968 w 10577"/>
                  <a:gd name="connsiteY1899" fmla="*/ 3171 h 10000"/>
                  <a:gd name="connsiteX1900" fmla="*/ 2968 w 10577"/>
                  <a:gd name="connsiteY1900" fmla="*/ 3128 h 10000"/>
                  <a:gd name="connsiteX1901" fmla="*/ 2954 w 10577"/>
                  <a:gd name="connsiteY1901" fmla="*/ 3051 h 10000"/>
                  <a:gd name="connsiteX1902" fmla="*/ 2954 w 10577"/>
                  <a:gd name="connsiteY1902" fmla="*/ 3009 h 10000"/>
                  <a:gd name="connsiteX1903" fmla="*/ 2922 w 10577"/>
                  <a:gd name="connsiteY1903" fmla="*/ 2940 h 10000"/>
                  <a:gd name="connsiteX1904" fmla="*/ 2903 w 10577"/>
                  <a:gd name="connsiteY1904" fmla="*/ 2880 h 10000"/>
                  <a:gd name="connsiteX1905" fmla="*/ 2903 w 10577"/>
                  <a:gd name="connsiteY1905" fmla="*/ 2855 h 10000"/>
                  <a:gd name="connsiteX1906" fmla="*/ 2908 w 10577"/>
                  <a:gd name="connsiteY1906" fmla="*/ 2846 h 10000"/>
                  <a:gd name="connsiteX1907" fmla="*/ 2931 w 10577"/>
                  <a:gd name="connsiteY1907" fmla="*/ 2821 h 10000"/>
                  <a:gd name="connsiteX1908" fmla="*/ 2931 w 10577"/>
                  <a:gd name="connsiteY1908" fmla="*/ 2803 h 10000"/>
                  <a:gd name="connsiteX1909" fmla="*/ 2935 w 10577"/>
                  <a:gd name="connsiteY1909" fmla="*/ 2786 h 10000"/>
                  <a:gd name="connsiteX1910" fmla="*/ 2935 w 10577"/>
                  <a:gd name="connsiteY1910" fmla="*/ 2744 h 10000"/>
                  <a:gd name="connsiteX1911" fmla="*/ 2963 w 10577"/>
                  <a:gd name="connsiteY1911" fmla="*/ 2607 h 10000"/>
                  <a:gd name="connsiteX1912" fmla="*/ 2963 w 10577"/>
                  <a:gd name="connsiteY1912" fmla="*/ 2419 h 10000"/>
                  <a:gd name="connsiteX1913" fmla="*/ 2954 w 10577"/>
                  <a:gd name="connsiteY1913" fmla="*/ 2410 h 10000"/>
                  <a:gd name="connsiteX1914" fmla="*/ 2963 w 10577"/>
                  <a:gd name="connsiteY1914" fmla="*/ 2393 h 10000"/>
                  <a:gd name="connsiteX1915" fmla="*/ 2908 w 10577"/>
                  <a:gd name="connsiteY1915" fmla="*/ 2359 h 10000"/>
                  <a:gd name="connsiteX1916" fmla="*/ 2889 w 10577"/>
                  <a:gd name="connsiteY1916" fmla="*/ 2325 h 10000"/>
                  <a:gd name="connsiteX1917" fmla="*/ 2788 w 10577"/>
                  <a:gd name="connsiteY1917" fmla="*/ 2333 h 10000"/>
                  <a:gd name="connsiteX1918" fmla="*/ 2774 w 10577"/>
                  <a:gd name="connsiteY1918" fmla="*/ 2325 h 10000"/>
                  <a:gd name="connsiteX1919" fmla="*/ 2783 w 10577"/>
                  <a:gd name="connsiteY1919" fmla="*/ 2308 h 10000"/>
                  <a:gd name="connsiteX1920" fmla="*/ 2747 w 10577"/>
                  <a:gd name="connsiteY1920" fmla="*/ 2308 h 10000"/>
                  <a:gd name="connsiteX1921" fmla="*/ 2742 w 10577"/>
                  <a:gd name="connsiteY1921" fmla="*/ 2333 h 10000"/>
                  <a:gd name="connsiteX1922" fmla="*/ 2682 w 10577"/>
                  <a:gd name="connsiteY1922" fmla="*/ 2769 h 10000"/>
                  <a:gd name="connsiteX1923" fmla="*/ 2613 w 10577"/>
                  <a:gd name="connsiteY1923" fmla="*/ 2940 h 10000"/>
                  <a:gd name="connsiteX1924" fmla="*/ 2581 w 10577"/>
                  <a:gd name="connsiteY1924" fmla="*/ 2966 h 10000"/>
                  <a:gd name="connsiteX1925" fmla="*/ 2576 w 10577"/>
                  <a:gd name="connsiteY1925" fmla="*/ 3051 h 10000"/>
                  <a:gd name="connsiteX1926" fmla="*/ 2581 w 10577"/>
                  <a:gd name="connsiteY1926" fmla="*/ 3051 h 10000"/>
                  <a:gd name="connsiteX1927" fmla="*/ 2594 w 10577"/>
                  <a:gd name="connsiteY1927" fmla="*/ 3017 h 10000"/>
                  <a:gd name="connsiteX1928" fmla="*/ 2594 w 10577"/>
                  <a:gd name="connsiteY1928" fmla="*/ 3034 h 10000"/>
                  <a:gd name="connsiteX1929" fmla="*/ 2594 w 10577"/>
                  <a:gd name="connsiteY1929" fmla="*/ 3051 h 10000"/>
                  <a:gd name="connsiteX1930" fmla="*/ 2590 w 10577"/>
                  <a:gd name="connsiteY1930" fmla="*/ 3077 h 10000"/>
                  <a:gd name="connsiteX1931" fmla="*/ 2567 w 10577"/>
                  <a:gd name="connsiteY1931" fmla="*/ 3103 h 10000"/>
                  <a:gd name="connsiteX1932" fmla="*/ 2562 w 10577"/>
                  <a:gd name="connsiteY1932" fmla="*/ 3145 h 10000"/>
                  <a:gd name="connsiteX1933" fmla="*/ 2567 w 10577"/>
                  <a:gd name="connsiteY1933" fmla="*/ 3179 h 10000"/>
                  <a:gd name="connsiteX1934" fmla="*/ 2590 w 10577"/>
                  <a:gd name="connsiteY1934" fmla="*/ 3171 h 10000"/>
                  <a:gd name="connsiteX1935" fmla="*/ 2594 w 10577"/>
                  <a:gd name="connsiteY1935" fmla="*/ 3145 h 10000"/>
                  <a:gd name="connsiteX1936" fmla="*/ 2613 w 10577"/>
                  <a:gd name="connsiteY1936" fmla="*/ 3154 h 10000"/>
                  <a:gd name="connsiteX1937" fmla="*/ 2622 w 10577"/>
                  <a:gd name="connsiteY1937" fmla="*/ 3179 h 10000"/>
                  <a:gd name="connsiteX1938" fmla="*/ 2613 w 10577"/>
                  <a:gd name="connsiteY1938" fmla="*/ 3214 h 10000"/>
                  <a:gd name="connsiteX1939" fmla="*/ 2613 w 10577"/>
                  <a:gd name="connsiteY1939" fmla="*/ 3308 h 10000"/>
                  <a:gd name="connsiteX1940" fmla="*/ 2608 w 10577"/>
                  <a:gd name="connsiteY1940" fmla="*/ 3325 h 10000"/>
                  <a:gd name="connsiteX1941" fmla="*/ 2608 w 10577"/>
                  <a:gd name="connsiteY1941" fmla="*/ 3376 h 10000"/>
                  <a:gd name="connsiteX1942" fmla="*/ 2613 w 10577"/>
                  <a:gd name="connsiteY1942" fmla="*/ 3419 h 10000"/>
                  <a:gd name="connsiteX1943" fmla="*/ 2608 w 10577"/>
                  <a:gd name="connsiteY1943" fmla="*/ 3444 h 10000"/>
                  <a:gd name="connsiteX1944" fmla="*/ 2594 w 10577"/>
                  <a:gd name="connsiteY1944" fmla="*/ 3444 h 10000"/>
                  <a:gd name="connsiteX1945" fmla="*/ 2590 w 10577"/>
                  <a:gd name="connsiteY1945" fmla="*/ 3427 h 10000"/>
                  <a:gd name="connsiteX1946" fmla="*/ 2581 w 10577"/>
                  <a:gd name="connsiteY1946" fmla="*/ 3564 h 10000"/>
                  <a:gd name="connsiteX1947" fmla="*/ 2594 w 10577"/>
                  <a:gd name="connsiteY1947" fmla="*/ 3598 h 10000"/>
                  <a:gd name="connsiteX1948" fmla="*/ 2594 w 10577"/>
                  <a:gd name="connsiteY1948" fmla="*/ 3581 h 10000"/>
                  <a:gd name="connsiteX1949" fmla="*/ 2608 w 10577"/>
                  <a:gd name="connsiteY1949" fmla="*/ 3556 h 10000"/>
                  <a:gd name="connsiteX1950" fmla="*/ 2650 w 10577"/>
                  <a:gd name="connsiteY1950" fmla="*/ 3615 h 10000"/>
                  <a:gd name="connsiteX1951" fmla="*/ 2664 w 10577"/>
                  <a:gd name="connsiteY1951" fmla="*/ 3615 h 10000"/>
                  <a:gd name="connsiteX1952" fmla="*/ 2668 w 10577"/>
                  <a:gd name="connsiteY1952" fmla="*/ 3615 h 10000"/>
                  <a:gd name="connsiteX1953" fmla="*/ 2664 w 10577"/>
                  <a:gd name="connsiteY1953" fmla="*/ 3667 h 10000"/>
                  <a:gd name="connsiteX1954" fmla="*/ 2687 w 10577"/>
                  <a:gd name="connsiteY1954" fmla="*/ 3786 h 10000"/>
                  <a:gd name="connsiteX1955" fmla="*/ 2710 w 10577"/>
                  <a:gd name="connsiteY1955" fmla="*/ 3812 h 10000"/>
                  <a:gd name="connsiteX1956" fmla="*/ 2724 w 10577"/>
                  <a:gd name="connsiteY1956" fmla="*/ 3812 h 10000"/>
                  <a:gd name="connsiteX1957" fmla="*/ 2724 w 10577"/>
                  <a:gd name="connsiteY1957" fmla="*/ 3829 h 10000"/>
                  <a:gd name="connsiteX1958" fmla="*/ 2737 w 10577"/>
                  <a:gd name="connsiteY1958" fmla="*/ 3838 h 10000"/>
                  <a:gd name="connsiteX1959" fmla="*/ 2714 w 10577"/>
                  <a:gd name="connsiteY1959" fmla="*/ 3872 h 10000"/>
                  <a:gd name="connsiteX1960" fmla="*/ 2696 w 10577"/>
                  <a:gd name="connsiteY1960" fmla="*/ 4026 h 10000"/>
                  <a:gd name="connsiteX1961" fmla="*/ 2673 w 10577"/>
                  <a:gd name="connsiteY1961" fmla="*/ 4051 h 10000"/>
                  <a:gd name="connsiteX1962" fmla="*/ 2668 w 10577"/>
                  <a:gd name="connsiteY1962" fmla="*/ 4034 h 10000"/>
                  <a:gd name="connsiteX1963" fmla="*/ 2673 w 10577"/>
                  <a:gd name="connsiteY1963" fmla="*/ 4000 h 10000"/>
                  <a:gd name="connsiteX1964" fmla="*/ 2664 w 10577"/>
                  <a:gd name="connsiteY1964" fmla="*/ 3974 h 10000"/>
                  <a:gd name="connsiteX1965" fmla="*/ 2636 w 10577"/>
                  <a:gd name="connsiteY1965" fmla="*/ 3949 h 10000"/>
                  <a:gd name="connsiteX1966" fmla="*/ 2581 w 10577"/>
                  <a:gd name="connsiteY1966" fmla="*/ 3838 h 10000"/>
                  <a:gd name="connsiteX1967" fmla="*/ 2562 w 10577"/>
                  <a:gd name="connsiteY1967" fmla="*/ 3829 h 10000"/>
                  <a:gd name="connsiteX1968" fmla="*/ 2535 w 10577"/>
                  <a:gd name="connsiteY1968" fmla="*/ 3778 h 10000"/>
                  <a:gd name="connsiteX1969" fmla="*/ 2502 w 10577"/>
                  <a:gd name="connsiteY1969" fmla="*/ 3761 h 10000"/>
                  <a:gd name="connsiteX1970" fmla="*/ 2502 w 10577"/>
                  <a:gd name="connsiteY1970" fmla="*/ 3735 h 10000"/>
                  <a:gd name="connsiteX1971" fmla="*/ 2516 w 10577"/>
                  <a:gd name="connsiteY1971" fmla="*/ 3735 h 10000"/>
                  <a:gd name="connsiteX1972" fmla="*/ 2507 w 10577"/>
                  <a:gd name="connsiteY1972" fmla="*/ 3726 h 10000"/>
                  <a:gd name="connsiteX1973" fmla="*/ 2488 w 10577"/>
                  <a:gd name="connsiteY1973" fmla="*/ 3726 h 10000"/>
                  <a:gd name="connsiteX1974" fmla="*/ 2461 w 10577"/>
                  <a:gd name="connsiteY1974" fmla="*/ 3692 h 10000"/>
                  <a:gd name="connsiteX1975" fmla="*/ 2442 w 10577"/>
                  <a:gd name="connsiteY1975" fmla="*/ 3675 h 10000"/>
                  <a:gd name="connsiteX1976" fmla="*/ 2406 w 10577"/>
                  <a:gd name="connsiteY1976" fmla="*/ 3598 h 10000"/>
                  <a:gd name="connsiteX1977" fmla="*/ 2346 w 10577"/>
                  <a:gd name="connsiteY1977" fmla="*/ 3564 h 10000"/>
                  <a:gd name="connsiteX1978" fmla="*/ 2341 w 10577"/>
                  <a:gd name="connsiteY1978" fmla="*/ 3564 h 10000"/>
                  <a:gd name="connsiteX1979" fmla="*/ 2313 w 10577"/>
                  <a:gd name="connsiteY1979" fmla="*/ 3530 h 10000"/>
                  <a:gd name="connsiteX1980" fmla="*/ 2235 w 10577"/>
                  <a:gd name="connsiteY1980" fmla="*/ 3530 h 10000"/>
                  <a:gd name="connsiteX1981" fmla="*/ 2226 w 10577"/>
                  <a:gd name="connsiteY1981" fmla="*/ 3513 h 10000"/>
                  <a:gd name="connsiteX1982" fmla="*/ 2207 w 10577"/>
                  <a:gd name="connsiteY1982" fmla="*/ 3504 h 10000"/>
                  <a:gd name="connsiteX1983" fmla="*/ 2194 w 10577"/>
                  <a:gd name="connsiteY1983" fmla="*/ 3504 h 10000"/>
                  <a:gd name="connsiteX1984" fmla="*/ 2189 w 10577"/>
                  <a:gd name="connsiteY1984" fmla="*/ 3504 h 10000"/>
                  <a:gd name="connsiteX1985" fmla="*/ 2189 w 10577"/>
                  <a:gd name="connsiteY1985" fmla="*/ 3530 h 10000"/>
                  <a:gd name="connsiteX1986" fmla="*/ 2180 w 10577"/>
                  <a:gd name="connsiteY1986" fmla="*/ 3538 h 10000"/>
                  <a:gd name="connsiteX1987" fmla="*/ 2152 w 10577"/>
                  <a:gd name="connsiteY1987" fmla="*/ 3581 h 10000"/>
                  <a:gd name="connsiteX1988" fmla="*/ 2161 w 10577"/>
                  <a:gd name="connsiteY1988" fmla="*/ 3598 h 10000"/>
                  <a:gd name="connsiteX1989" fmla="*/ 2194 w 10577"/>
                  <a:gd name="connsiteY1989" fmla="*/ 3752 h 10000"/>
                  <a:gd name="connsiteX1990" fmla="*/ 2194 w 10577"/>
                  <a:gd name="connsiteY1990" fmla="*/ 3735 h 10000"/>
                  <a:gd name="connsiteX1991" fmla="*/ 2198 w 10577"/>
                  <a:gd name="connsiteY1991" fmla="*/ 3735 h 10000"/>
                  <a:gd name="connsiteX1992" fmla="*/ 2189 w 10577"/>
                  <a:gd name="connsiteY1992" fmla="*/ 3838 h 10000"/>
                  <a:gd name="connsiteX1993" fmla="*/ 2166 w 10577"/>
                  <a:gd name="connsiteY1993" fmla="*/ 3889 h 10000"/>
                  <a:gd name="connsiteX1994" fmla="*/ 2124 w 10577"/>
                  <a:gd name="connsiteY1994" fmla="*/ 3889 h 10000"/>
                  <a:gd name="connsiteX1995" fmla="*/ 2124 w 10577"/>
                  <a:gd name="connsiteY1995" fmla="*/ 3923 h 10000"/>
                  <a:gd name="connsiteX1996" fmla="*/ 2134 w 10577"/>
                  <a:gd name="connsiteY1996" fmla="*/ 3940 h 10000"/>
                  <a:gd name="connsiteX1997" fmla="*/ 2134 w 10577"/>
                  <a:gd name="connsiteY1997" fmla="*/ 3966 h 10000"/>
                  <a:gd name="connsiteX1998" fmla="*/ 2120 w 10577"/>
                  <a:gd name="connsiteY1998" fmla="*/ 4000 h 10000"/>
                  <a:gd name="connsiteX1999" fmla="*/ 2106 w 10577"/>
                  <a:gd name="connsiteY1999" fmla="*/ 4009 h 10000"/>
                  <a:gd name="connsiteX2000" fmla="*/ 2088 w 10577"/>
                  <a:gd name="connsiteY2000" fmla="*/ 4000 h 10000"/>
                  <a:gd name="connsiteX2001" fmla="*/ 2074 w 10577"/>
                  <a:gd name="connsiteY2001" fmla="*/ 3974 h 10000"/>
                  <a:gd name="connsiteX2002" fmla="*/ 2074 w 10577"/>
                  <a:gd name="connsiteY2002" fmla="*/ 3940 h 10000"/>
                  <a:gd name="connsiteX2003" fmla="*/ 2078 w 10577"/>
                  <a:gd name="connsiteY2003" fmla="*/ 3915 h 10000"/>
                  <a:gd name="connsiteX2004" fmla="*/ 2088 w 10577"/>
                  <a:gd name="connsiteY2004" fmla="*/ 3889 h 10000"/>
                  <a:gd name="connsiteX2005" fmla="*/ 2101 w 10577"/>
                  <a:gd name="connsiteY2005" fmla="*/ 3872 h 10000"/>
                  <a:gd name="connsiteX2006" fmla="*/ 2074 w 10577"/>
                  <a:gd name="connsiteY2006" fmla="*/ 3812 h 10000"/>
                  <a:gd name="connsiteX2007" fmla="*/ 2074 w 10577"/>
                  <a:gd name="connsiteY2007" fmla="*/ 3786 h 10000"/>
                  <a:gd name="connsiteX2008" fmla="*/ 2060 w 10577"/>
                  <a:gd name="connsiteY2008" fmla="*/ 3786 h 10000"/>
                  <a:gd name="connsiteX2009" fmla="*/ 2014 w 10577"/>
                  <a:gd name="connsiteY2009" fmla="*/ 3829 h 10000"/>
                  <a:gd name="connsiteX2010" fmla="*/ 2000 w 10577"/>
                  <a:gd name="connsiteY2010" fmla="*/ 3863 h 10000"/>
                  <a:gd name="connsiteX2011" fmla="*/ 1986 w 10577"/>
                  <a:gd name="connsiteY2011" fmla="*/ 3872 h 10000"/>
                  <a:gd name="connsiteX2012" fmla="*/ 1959 w 10577"/>
                  <a:gd name="connsiteY2012" fmla="*/ 3940 h 10000"/>
                  <a:gd name="connsiteX2013" fmla="*/ 1945 w 10577"/>
                  <a:gd name="connsiteY2013" fmla="*/ 3949 h 10000"/>
                  <a:gd name="connsiteX2014" fmla="*/ 1940 w 10577"/>
                  <a:gd name="connsiteY2014" fmla="*/ 3923 h 10000"/>
                  <a:gd name="connsiteX2015" fmla="*/ 1917 w 10577"/>
                  <a:gd name="connsiteY2015" fmla="*/ 3915 h 10000"/>
                  <a:gd name="connsiteX2016" fmla="*/ 1899 w 10577"/>
                  <a:gd name="connsiteY2016" fmla="*/ 3923 h 10000"/>
                  <a:gd name="connsiteX2017" fmla="*/ 1880 w 10577"/>
                  <a:gd name="connsiteY2017" fmla="*/ 3915 h 10000"/>
                  <a:gd name="connsiteX2018" fmla="*/ 1853 w 10577"/>
                  <a:gd name="connsiteY2018" fmla="*/ 3940 h 10000"/>
                  <a:gd name="connsiteX2019" fmla="*/ 1839 w 10577"/>
                  <a:gd name="connsiteY2019" fmla="*/ 3940 h 10000"/>
                  <a:gd name="connsiteX2020" fmla="*/ 1806 w 10577"/>
                  <a:gd name="connsiteY2020" fmla="*/ 3983 h 10000"/>
                  <a:gd name="connsiteX2021" fmla="*/ 1806 w 10577"/>
                  <a:gd name="connsiteY2021" fmla="*/ 4000 h 10000"/>
                  <a:gd name="connsiteX2022" fmla="*/ 1797 w 10577"/>
                  <a:gd name="connsiteY2022" fmla="*/ 4077 h 10000"/>
                  <a:gd name="connsiteX2023" fmla="*/ 1783 w 10577"/>
                  <a:gd name="connsiteY2023" fmla="*/ 4077 h 10000"/>
                  <a:gd name="connsiteX2024" fmla="*/ 1779 w 10577"/>
                  <a:gd name="connsiteY2024" fmla="*/ 4051 h 10000"/>
                  <a:gd name="connsiteX2025" fmla="*/ 1765 w 10577"/>
                  <a:gd name="connsiteY2025" fmla="*/ 4026 h 10000"/>
                  <a:gd name="connsiteX2026" fmla="*/ 1751 w 10577"/>
                  <a:gd name="connsiteY2026" fmla="*/ 4051 h 10000"/>
                  <a:gd name="connsiteX2027" fmla="*/ 1737 w 10577"/>
                  <a:gd name="connsiteY2027" fmla="*/ 4009 h 10000"/>
                  <a:gd name="connsiteX2028" fmla="*/ 1737 w 10577"/>
                  <a:gd name="connsiteY2028" fmla="*/ 3966 h 10000"/>
                  <a:gd name="connsiteX2029" fmla="*/ 1733 w 10577"/>
                  <a:gd name="connsiteY2029" fmla="*/ 3940 h 10000"/>
                  <a:gd name="connsiteX2030" fmla="*/ 1733 w 10577"/>
                  <a:gd name="connsiteY2030" fmla="*/ 3923 h 10000"/>
                  <a:gd name="connsiteX2031" fmla="*/ 1747 w 10577"/>
                  <a:gd name="connsiteY2031" fmla="*/ 3889 h 10000"/>
                  <a:gd name="connsiteX2032" fmla="*/ 1747 w 10577"/>
                  <a:gd name="connsiteY2032" fmla="*/ 3863 h 10000"/>
                  <a:gd name="connsiteX2033" fmla="*/ 1737 w 10577"/>
                  <a:gd name="connsiteY2033" fmla="*/ 3838 h 10000"/>
                  <a:gd name="connsiteX2034" fmla="*/ 1733 w 10577"/>
                  <a:gd name="connsiteY2034" fmla="*/ 3829 h 10000"/>
                  <a:gd name="connsiteX2035" fmla="*/ 1733 w 10577"/>
                  <a:gd name="connsiteY2035" fmla="*/ 3846 h 10000"/>
                  <a:gd name="connsiteX2036" fmla="*/ 1724 w 10577"/>
                  <a:gd name="connsiteY2036" fmla="*/ 3846 h 10000"/>
                  <a:gd name="connsiteX2037" fmla="*/ 1724 w 10577"/>
                  <a:gd name="connsiteY2037" fmla="*/ 3829 h 10000"/>
                  <a:gd name="connsiteX2038" fmla="*/ 1737 w 10577"/>
                  <a:gd name="connsiteY2038" fmla="*/ 3812 h 10000"/>
                  <a:gd name="connsiteX2039" fmla="*/ 1765 w 10577"/>
                  <a:gd name="connsiteY2039" fmla="*/ 3812 h 10000"/>
                  <a:gd name="connsiteX2040" fmla="*/ 1779 w 10577"/>
                  <a:gd name="connsiteY2040" fmla="*/ 3786 h 10000"/>
                  <a:gd name="connsiteX2041" fmla="*/ 1779 w 10577"/>
                  <a:gd name="connsiteY2041" fmla="*/ 3786 h 10000"/>
                  <a:gd name="connsiteX2042" fmla="*/ 1751 w 10577"/>
                  <a:gd name="connsiteY2042" fmla="*/ 3803 h 10000"/>
                  <a:gd name="connsiteX2043" fmla="*/ 1747 w 10577"/>
                  <a:gd name="connsiteY2043" fmla="*/ 3803 h 10000"/>
                  <a:gd name="connsiteX2044" fmla="*/ 1724 w 10577"/>
                  <a:gd name="connsiteY2044" fmla="*/ 3803 h 10000"/>
                  <a:gd name="connsiteX2045" fmla="*/ 1700 w 10577"/>
                  <a:gd name="connsiteY2045" fmla="*/ 3829 h 10000"/>
                  <a:gd name="connsiteX2046" fmla="*/ 1705 w 10577"/>
                  <a:gd name="connsiteY2046" fmla="*/ 3846 h 10000"/>
                  <a:gd name="connsiteX2047" fmla="*/ 1691 w 10577"/>
                  <a:gd name="connsiteY2047" fmla="*/ 3846 h 10000"/>
                  <a:gd name="connsiteX2048" fmla="*/ 1691 w 10577"/>
                  <a:gd name="connsiteY2048" fmla="*/ 3863 h 10000"/>
                  <a:gd name="connsiteX2049" fmla="*/ 1691 w 10577"/>
                  <a:gd name="connsiteY2049" fmla="*/ 3915 h 10000"/>
                  <a:gd name="connsiteX2050" fmla="*/ 1677 w 10577"/>
                  <a:gd name="connsiteY2050" fmla="*/ 3923 h 10000"/>
                  <a:gd name="connsiteX2051" fmla="*/ 1673 w 10577"/>
                  <a:gd name="connsiteY2051" fmla="*/ 3915 h 10000"/>
                  <a:gd name="connsiteX2052" fmla="*/ 1664 w 10577"/>
                  <a:gd name="connsiteY2052" fmla="*/ 3889 h 10000"/>
                  <a:gd name="connsiteX2053" fmla="*/ 1673 w 10577"/>
                  <a:gd name="connsiteY2053" fmla="*/ 3872 h 10000"/>
                  <a:gd name="connsiteX2054" fmla="*/ 1664 w 10577"/>
                  <a:gd name="connsiteY2054" fmla="*/ 3872 h 10000"/>
                  <a:gd name="connsiteX2055" fmla="*/ 1636 w 10577"/>
                  <a:gd name="connsiteY2055" fmla="*/ 3923 h 10000"/>
                  <a:gd name="connsiteX2056" fmla="*/ 1645 w 10577"/>
                  <a:gd name="connsiteY2056" fmla="*/ 3923 h 10000"/>
                  <a:gd name="connsiteX2057" fmla="*/ 1650 w 10577"/>
                  <a:gd name="connsiteY2057" fmla="*/ 3949 h 10000"/>
                  <a:gd name="connsiteX2058" fmla="*/ 1650 w 10577"/>
                  <a:gd name="connsiteY2058" fmla="*/ 3983 h 10000"/>
                  <a:gd name="connsiteX2059" fmla="*/ 1636 w 10577"/>
                  <a:gd name="connsiteY2059" fmla="*/ 4000 h 10000"/>
                  <a:gd name="connsiteX2060" fmla="*/ 1631 w 10577"/>
                  <a:gd name="connsiteY2060" fmla="*/ 4009 h 10000"/>
                  <a:gd name="connsiteX2061" fmla="*/ 1618 w 10577"/>
                  <a:gd name="connsiteY2061" fmla="*/ 3949 h 10000"/>
                  <a:gd name="connsiteX2062" fmla="*/ 1585 w 10577"/>
                  <a:gd name="connsiteY2062" fmla="*/ 3966 h 10000"/>
                  <a:gd name="connsiteX2063" fmla="*/ 1590 w 10577"/>
                  <a:gd name="connsiteY2063" fmla="*/ 3974 h 10000"/>
                  <a:gd name="connsiteX2064" fmla="*/ 1544 w 10577"/>
                  <a:gd name="connsiteY2064" fmla="*/ 4009 h 10000"/>
                  <a:gd name="connsiteX2065" fmla="*/ 1539 w 10577"/>
                  <a:gd name="connsiteY2065" fmla="*/ 4009 h 10000"/>
                  <a:gd name="connsiteX2066" fmla="*/ 1410 w 10577"/>
                  <a:gd name="connsiteY2066" fmla="*/ 4188 h 10000"/>
                  <a:gd name="connsiteX2067" fmla="*/ 1406 w 10577"/>
                  <a:gd name="connsiteY2067" fmla="*/ 4171 h 10000"/>
                  <a:gd name="connsiteX2068" fmla="*/ 1396 w 10577"/>
                  <a:gd name="connsiteY2068" fmla="*/ 4214 h 10000"/>
                  <a:gd name="connsiteX2069" fmla="*/ 1406 w 10577"/>
                  <a:gd name="connsiteY2069" fmla="*/ 4222 h 10000"/>
                  <a:gd name="connsiteX2070" fmla="*/ 1392 w 10577"/>
                  <a:gd name="connsiteY2070" fmla="*/ 4239 h 10000"/>
                  <a:gd name="connsiteX2071" fmla="*/ 1369 w 10577"/>
                  <a:gd name="connsiteY2071" fmla="*/ 4248 h 10000"/>
                  <a:gd name="connsiteX2072" fmla="*/ 1355 w 10577"/>
                  <a:gd name="connsiteY2072" fmla="*/ 4256 h 10000"/>
                  <a:gd name="connsiteX2073" fmla="*/ 1350 w 10577"/>
                  <a:gd name="connsiteY2073" fmla="*/ 4248 h 10000"/>
                  <a:gd name="connsiteX2074" fmla="*/ 1332 w 10577"/>
                  <a:gd name="connsiteY2074" fmla="*/ 4376 h 10000"/>
                  <a:gd name="connsiteX2075" fmla="*/ 1332 w 10577"/>
                  <a:gd name="connsiteY2075" fmla="*/ 4436 h 10000"/>
                  <a:gd name="connsiteX2076" fmla="*/ 1323 w 10577"/>
                  <a:gd name="connsiteY2076" fmla="*/ 4462 h 10000"/>
                  <a:gd name="connsiteX2077" fmla="*/ 1304 w 10577"/>
                  <a:gd name="connsiteY2077" fmla="*/ 4487 h 10000"/>
                  <a:gd name="connsiteX2078" fmla="*/ 1290 w 10577"/>
                  <a:gd name="connsiteY2078" fmla="*/ 4470 h 10000"/>
                  <a:gd name="connsiteX2079" fmla="*/ 1263 w 10577"/>
                  <a:gd name="connsiteY2079" fmla="*/ 4496 h 10000"/>
                  <a:gd name="connsiteX2080" fmla="*/ 1258 w 10577"/>
                  <a:gd name="connsiteY2080" fmla="*/ 4547 h 10000"/>
                  <a:gd name="connsiteX2081" fmla="*/ 1249 w 10577"/>
                  <a:gd name="connsiteY2081" fmla="*/ 4487 h 10000"/>
                  <a:gd name="connsiteX2082" fmla="*/ 1235 w 10577"/>
                  <a:gd name="connsiteY2082" fmla="*/ 4496 h 10000"/>
                  <a:gd name="connsiteX2083" fmla="*/ 1221 w 10577"/>
                  <a:gd name="connsiteY2083" fmla="*/ 4496 h 10000"/>
                  <a:gd name="connsiteX2084" fmla="*/ 1217 w 10577"/>
                  <a:gd name="connsiteY2084" fmla="*/ 4487 h 10000"/>
                  <a:gd name="connsiteX2085" fmla="*/ 1198 w 10577"/>
                  <a:gd name="connsiteY2085" fmla="*/ 4410 h 10000"/>
                  <a:gd name="connsiteX2086" fmla="*/ 1157 w 10577"/>
                  <a:gd name="connsiteY2086" fmla="*/ 4333 h 10000"/>
                  <a:gd name="connsiteX2087" fmla="*/ 1147 w 10577"/>
                  <a:gd name="connsiteY2087" fmla="*/ 4299 h 10000"/>
                  <a:gd name="connsiteX2088" fmla="*/ 1147 w 10577"/>
                  <a:gd name="connsiteY2088" fmla="*/ 4274 h 10000"/>
                  <a:gd name="connsiteX2089" fmla="*/ 1161 w 10577"/>
                  <a:gd name="connsiteY2089" fmla="*/ 4256 h 10000"/>
                  <a:gd name="connsiteX2090" fmla="*/ 1171 w 10577"/>
                  <a:gd name="connsiteY2090" fmla="*/ 4248 h 10000"/>
                  <a:gd name="connsiteX2091" fmla="*/ 1175 w 10577"/>
                  <a:gd name="connsiteY2091" fmla="*/ 4214 h 10000"/>
                  <a:gd name="connsiteX2092" fmla="*/ 1263 w 10577"/>
                  <a:gd name="connsiteY2092" fmla="*/ 4171 h 10000"/>
                  <a:gd name="connsiteX2093" fmla="*/ 1249 w 10577"/>
                  <a:gd name="connsiteY2093" fmla="*/ 4137 h 10000"/>
                  <a:gd name="connsiteX2094" fmla="*/ 1244 w 10577"/>
                  <a:gd name="connsiteY2094" fmla="*/ 4060 h 10000"/>
                  <a:gd name="connsiteX2095" fmla="*/ 1230 w 10577"/>
                  <a:gd name="connsiteY2095" fmla="*/ 4077 h 10000"/>
                  <a:gd name="connsiteX2096" fmla="*/ 1221 w 10577"/>
                  <a:gd name="connsiteY2096" fmla="*/ 4026 h 10000"/>
                  <a:gd name="connsiteX2097" fmla="*/ 1217 w 10577"/>
                  <a:gd name="connsiteY2097" fmla="*/ 4026 h 10000"/>
                  <a:gd name="connsiteX2098" fmla="*/ 1212 w 10577"/>
                  <a:gd name="connsiteY2098" fmla="*/ 3983 h 10000"/>
                  <a:gd name="connsiteX2099" fmla="*/ 1203 w 10577"/>
                  <a:gd name="connsiteY2099" fmla="*/ 3966 h 10000"/>
                  <a:gd name="connsiteX2100" fmla="*/ 1171 w 10577"/>
                  <a:gd name="connsiteY2100" fmla="*/ 3949 h 10000"/>
                  <a:gd name="connsiteX2101" fmla="*/ 1111 w 10577"/>
                  <a:gd name="connsiteY2101" fmla="*/ 3940 h 10000"/>
                  <a:gd name="connsiteX2102" fmla="*/ 1097 w 10577"/>
                  <a:gd name="connsiteY2102" fmla="*/ 3949 h 10000"/>
                  <a:gd name="connsiteX2103" fmla="*/ 1037 w 10577"/>
                  <a:gd name="connsiteY2103" fmla="*/ 3897 h 10000"/>
                  <a:gd name="connsiteX2104" fmla="*/ 1041 w 10577"/>
                  <a:gd name="connsiteY2104" fmla="*/ 3923 h 10000"/>
                  <a:gd name="connsiteX2105" fmla="*/ 1097 w 10577"/>
                  <a:gd name="connsiteY2105" fmla="*/ 4009 h 10000"/>
                  <a:gd name="connsiteX2106" fmla="*/ 1097 w 10577"/>
                  <a:gd name="connsiteY2106" fmla="*/ 4120 h 10000"/>
                  <a:gd name="connsiteX2107" fmla="*/ 1097 w 10577"/>
                  <a:gd name="connsiteY2107" fmla="*/ 4162 h 10000"/>
                  <a:gd name="connsiteX2108" fmla="*/ 1097 w 10577"/>
                  <a:gd name="connsiteY2108" fmla="*/ 4197 h 10000"/>
                  <a:gd name="connsiteX2109" fmla="*/ 1074 w 10577"/>
                  <a:gd name="connsiteY2109" fmla="*/ 4333 h 10000"/>
                  <a:gd name="connsiteX2110" fmla="*/ 1074 w 10577"/>
                  <a:gd name="connsiteY2110" fmla="*/ 4376 h 10000"/>
                  <a:gd name="connsiteX2111" fmla="*/ 1083 w 10577"/>
                  <a:gd name="connsiteY2111" fmla="*/ 4385 h 10000"/>
                  <a:gd name="connsiteX2112" fmla="*/ 1097 w 10577"/>
                  <a:gd name="connsiteY2112" fmla="*/ 4385 h 10000"/>
                  <a:gd name="connsiteX2113" fmla="*/ 1111 w 10577"/>
                  <a:gd name="connsiteY2113" fmla="*/ 4410 h 10000"/>
                  <a:gd name="connsiteX2114" fmla="*/ 1124 w 10577"/>
                  <a:gd name="connsiteY2114" fmla="*/ 4444 h 10000"/>
                  <a:gd name="connsiteX2115" fmla="*/ 1124 w 10577"/>
                  <a:gd name="connsiteY2115" fmla="*/ 4470 h 10000"/>
                  <a:gd name="connsiteX2116" fmla="*/ 1115 w 10577"/>
                  <a:gd name="connsiteY2116" fmla="*/ 4513 h 10000"/>
                  <a:gd name="connsiteX2117" fmla="*/ 1115 w 10577"/>
                  <a:gd name="connsiteY2117" fmla="*/ 4530 h 10000"/>
                  <a:gd name="connsiteX2118" fmla="*/ 1115 w 10577"/>
                  <a:gd name="connsiteY2118" fmla="*/ 4573 h 10000"/>
                  <a:gd name="connsiteX2119" fmla="*/ 1101 w 10577"/>
                  <a:gd name="connsiteY2119" fmla="*/ 4607 h 10000"/>
                  <a:gd name="connsiteX2120" fmla="*/ 1097 w 10577"/>
                  <a:gd name="connsiteY2120" fmla="*/ 4658 h 10000"/>
                  <a:gd name="connsiteX2121" fmla="*/ 1101 w 10577"/>
                  <a:gd name="connsiteY2121" fmla="*/ 4692 h 10000"/>
                  <a:gd name="connsiteX2122" fmla="*/ 1097 w 10577"/>
                  <a:gd name="connsiteY2122" fmla="*/ 4778 h 10000"/>
                  <a:gd name="connsiteX2123" fmla="*/ 1083 w 10577"/>
                  <a:gd name="connsiteY2123" fmla="*/ 4744 h 10000"/>
                  <a:gd name="connsiteX2124" fmla="*/ 1083 w 10577"/>
                  <a:gd name="connsiteY2124" fmla="*/ 4718 h 10000"/>
                  <a:gd name="connsiteX2125" fmla="*/ 1074 w 10577"/>
                  <a:gd name="connsiteY2125" fmla="*/ 4692 h 10000"/>
                  <a:gd name="connsiteX2126" fmla="*/ 1065 w 10577"/>
                  <a:gd name="connsiteY2126" fmla="*/ 4692 h 10000"/>
                  <a:gd name="connsiteX2127" fmla="*/ 1051 w 10577"/>
                  <a:gd name="connsiteY2127" fmla="*/ 4718 h 10000"/>
                  <a:gd name="connsiteX2128" fmla="*/ 1055 w 10577"/>
                  <a:gd name="connsiteY2128" fmla="*/ 4692 h 10000"/>
                  <a:gd name="connsiteX2129" fmla="*/ 1055 w 10577"/>
                  <a:gd name="connsiteY2129" fmla="*/ 4667 h 10000"/>
                  <a:gd name="connsiteX2130" fmla="*/ 1028 w 10577"/>
                  <a:gd name="connsiteY2130" fmla="*/ 4624 h 10000"/>
                  <a:gd name="connsiteX2131" fmla="*/ 1005 w 10577"/>
                  <a:gd name="connsiteY2131" fmla="*/ 4624 h 10000"/>
                  <a:gd name="connsiteX2132" fmla="*/ 977 w 10577"/>
                  <a:gd name="connsiteY2132" fmla="*/ 4581 h 10000"/>
                  <a:gd name="connsiteX2133" fmla="*/ 963 w 10577"/>
                  <a:gd name="connsiteY2133" fmla="*/ 4607 h 10000"/>
                  <a:gd name="connsiteX2134" fmla="*/ 963 w 10577"/>
                  <a:gd name="connsiteY2134" fmla="*/ 4632 h 10000"/>
                  <a:gd name="connsiteX2135" fmla="*/ 917 w 10577"/>
                  <a:gd name="connsiteY2135" fmla="*/ 4718 h 10000"/>
                  <a:gd name="connsiteX2136" fmla="*/ 889 w 10577"/>
                  <a:gd name="connsiteY2136" fmla="*/ 4744 h 10000"/>
                  <a:gd name="connsiteX2137" fmla="*/ 880 w 10577"/>
                  <a:gd name="connsiteY2137" fmla="*/ 4744 h 10000"/>
                  <a:gd name="connsiteX2138" fmla="*/ 862 w 10577"/>
                  <a:gd name="connsiteY2138" fmla="*/ 4769 h 10000"/>
                  <a:gd name="connsiteX2139" fmla="*/ 857 w 10577"/>
                  <a:gd name="connsiteY2139" fmla="*/ 4795 h 10000"/>
                  <a:gd name="connsiteX2140" fmla="*/ 829 w 10577"/>
                  <a:gd name="connsiteY2140" fmla="*/ 4846 h 10000"/>
                  <a:gd name="connsiteX2141" fmla="*/ 816 w 10577"/>
                  <a:gd name="connsiteY2141" fmla="*/ 4855 h 10000"/>
                  <a:gd name="connsiteX2142" fmla="*/ 816 w 10577"/>
                  <a:gd name="connsiteY2142" fmla="*/ 4940 h 10000"/>
                  <a:gd name="connsiteX2143" fmla="*/ 880 w 10577"/>
                  <a:gd name="connsiteY2143" fmla="*/ 5179 h 10000"/>
                  <a:gd name="connsiteX2144" fmla="*/ 880 w 10577"/>
                  <a:gd name="connsiteY2144" fmla="*/ 5188 h 10000"/>
                  <a:gd name="connsiteX2145" fmla="*/ 862 w 10577"/>
                  <a:gd name="connsiteY2145" fmla="*/ 5171 h 10000"/>
                  <a:gd name="connsiteX2146" fmla="*/ 857 w 10577"/>
                  <a:gd name="connsiteY2146" fmla="*/ 5171 h 10000"/>
                  <a:gd name="connsiteX2147" fmla="*/ 820 w 10577"/>
                  <a:gd name="connsiteY2147" fmla="*/ 5145 h 10000"/>
                  <a:gd name="connsiteX2148" fmla="*/ 820 w 10577"/>
                  <a:gd name="connsiteY2148" fmla="*/ 5154 h 10000"/>
                  <a:gd name="connsiteX2149" fmla="*/ 816 w 10577"/>
                  <a:gd name="connsiteY2149" fmla="*/ 5171 h 10000"/>
                  <a:gd name="connsiteX2150" fmla="*/ 783 w 10577"/>
                  <a:gd name="connsiteY2150" fmla="*/ 5145 h 10000"/>
                  <a:gd name="connsiteX2151" fmla="*/ 756 w 10577"/>
                  <a:gd name="connsiteY2151" fmla="*/ 5103 h 10000"/>
                  <a:gd name="connsiteX2152" fmla="*/ 742 w 10577"/>
                  <a:gd name="connsiteY2152" fmla="*/ 5103 h 10000"/>
                  <a:gd name="connsiteX2153" fmla="*/ 728 w 10577"/>
                  <a:gd name="connsiteY2153" fmla="*/ 5094 h 10000"/>
                  <a:gd name="connsiteX2154" fmla="*/ 710 w 10577"/>
                  <a:gd name="connsiteY2154" fmla="*/ 5120 h 10000"/>
                  <a:gd name="connsiteX2155" fmla="*/ 700 w 10577"/>
                  <a:gd name="connsiteY2155" fmla="*/ 5145 h 10000"/>
                  <a:gd name="connsiteX2156" fmla="*/ 696 w 10577"/>
                  <a:gd name="connsiteY2156" fmla="*/ 5103 h 10000"/>
                  <a:gd name="connsiteX2157" fmla="*/ 714 w 10577"/>
                  <a:gd name="connsiteY2157" fmla="*/ 5077 h 10000"/>
                  <a:gd name="connsiteX2158" fmla="*/ 682 w 10577"/>
                  <a:gd name="connsiteY2158" fmla="*/ 5068 h 10000"/>
                  <a:gd name="connsiteX2159" fmla="*/ 673 w 10577"/>
                  <a:gd name="connsiteY2159" fmla="*/ 5034 h 10000"/>
                  <a:gd name="connsiteX2160" fmla="*/ 636 w 10577"/>
                  <a:gd name="connsiteY2160" fmla="*/ 4991 h 10000"/>
                  <a:gd name="connsiteX2161" fmla="*/ 622 w 10577"/>
                  <a:gd name="connsiteY2161" fmla="*/ 4983 h 10000"/>
                  <a:gd name="connsiteX2162" fmla="*/ 622 w 10577"/>
                  <a:gd name="connsiteY2162" fmla="*/ 5034 h 10000"/>
                  <a:gd name="connsiteX2163" fmla="*/ 608 w 10577"/>
                  <a:gd name="connsiteY2163" fmla="*/ 5051 h 10000"/>
                  <a:gd name="connsiteX2164" fmla="*/ 594 w 10577"/>
                  <a:gd name="connsiteY2164" fmla="*/ 5068 h 10000"/>
                  <a:gd name="connsiteX2165" fmla="*/ 608 w 10577"/>
                  <a:gd name="connsiteY2165" fmla="*/ 5120 h 10000"/>
                  <a:gd name="connsiteX2166" fmla="*/ 613 w 10577"/>
                  <a:gd name="connsiteY2166" fmla="*/ 5128 h 10000"/>
                  <a:gd name="connsiteX2167" fmla="*/ 627 w 10577"/>
                  <a:gd name="connsiteY2167" fmla="*/ 5179 h 10000"/>
                  <a:gd name="connsiteX2168" fmla="*/ 650 w 10577"/>
                  <a:gd name="connsiteY2168" fmla="*/ 5214 h 10000"/>
                  <a:gd name="connsiteX2169" fmla="*/ 687 w 10577"/>
                  <a:gd name="connsiteY2169" fmla="*/ 5188 h 10000"/>
                  <a:gd name="connsiteX2170" fmla="*/ 700 w 10577"/>
                  <a:gd name="connsiteY2170" fmla="*/ 5325 h 10000"/>
                  <a:gd name="connsiteX2171" fmla="*/ 710 w 10577"/>
                  <a:gd name="connsiteY2171" fmla="*/ 5350 h 10000"/>
                  <a:gd name="connsiteX2172" fmla="*/ 687 w 10577"/>
                  <a:gd name="connsiteY2172" fmla="*/ 5325 h 10000"/>
                  <a:gd name="connsiteX2173" fmla="*/ 668 w 10577"/>
                  <a:gd name="connsiteY2173" fmla="*/ 5350 h 10000"/>
                  <a:gd name="connsiteX2174" fmla="*/ 668 w 10577"/>
                  <a:gd name="connsiteY2174" fmla="*/ 5368 h 10000"/>
                  <a:gd name="connsiteX2175" fmla="*/ 668 w 10577"/>
                  <a:gd name="connsiteY2175" fmla="*/ 5376 h 10000"/>
                  <a:gd name="connsiteX2176" fmla="*/ 581 w 10577"/>
                  <a:gd name="connsiteY2176" fmla="*/ 5316 h 10000"/>
                  <a:gd name="connsiteX2177" fmla="*/ 567 w 10577"/>
                  <a:gd name="connsiteY2177" fmla="*/ 5265 h 10000"/>
                  <a:gd name="connsiteX2178" fmla="*/ 562 w 10577"/>
                  <a:gd name="connsiteY2178" fmla="*/ 5256 h 10000"/>
                  <a:gd name="connsiteX2179" fmla="*/ 548 w 10577"/>
                  <a:gd name="connsiteY2179" fmla="*/ 5231 h 10000"/>
                  <a:gd name="connsiteX2180" fmla="*/ 535 w 10577"/>
                  <a:gd name="connsiteY2180" fmla="*/ 5214 h 10000"/>
                  <a:gd name="connsiteX2181" fmla="*/ 525 w 10577"/>
                  <a:gd name="connsiteY2181" fmla="*/ 5231 h 10000"/>
                  <a:gd name="connsiteX2182" fmla="*/ 521 w 10577"/>
                  <a:gd name="connsiteY2182" fmla="*/ 5231 h 10000"/>
                  <a:gd name="connsiteX2183" fmla="*/ 493 w 10577"/>
                  <a:gd name="connsiteY2183" fmla="*/ 5205 h 10000"/>
                  <a:gd name="connsiteX2184" fmla="*/ 488 w 10577"/>
                  <a:gd name="connsiteY2184" fmla="*/ 5179 h 10000"/>
                  <a:gd name="connsiteX2185" fmla="*/ 475 w 10577"/>
                  <a:gd name="connsiteY2185" fmla="*/ 5188 h 10000"/>
                  <a:gd name="connsiteX2186" fmla="*/ 475 w 10577"/>
                  <a:gd name="connsiteY2186" fmla="*/ 5171 h 10000"/>
                  <a:gd name="connsiteX2187" fmla="*/ 488 w 10577"/>
                  <a:gd name="connsiteY2187" fmla="*/ 5154 h 10000"/>
                  <a:gd name="connsiteX2188" fmla="*/ 488 w 10577"/>
                  <a:gd name="connsiteY2188" fmla="*/ 5068 h 10000"/>
                  <a:gd name="connsiteX2189" fmla="*/ 475 w 10577"/>
                  <a:gd name="connsiteY2189" fmla="*/ 5051 h 10000"/>
                  <a:gd name="connsiteX2190" fmla="*/ 475 w 10577"/>
                  <a:gd name="connsiteY2190" fmla="*/ 5017 h 10000"/>
                  <a:gd name="connsiteX2191" fmla="*/ 452 w 10577"/>
                  <a:gd name="connsiteY2191" fmla="*/ 4932 h 10000"/>
                  <a:gd name="connsiteX2192" fmla="*/ 461 w 10577"/>
                  <a:gd name="connsiteY2192" fmla="*/ 4915 h 10000"/>
                  <a:gd name="connsiteX2193" fmla="*/ 475 w 10577"/>
                  <a:gd name="connsiteY2193" fmla="*/ 4906 h 10000"/>
                  <a:gd name="connsiteX2194" fmla="*/ 479 w 10577"/>
                  <a:gd name="connsiteY2194" fmla="*/ 4803 h 10000"/>
                  <a:gd name="connsiteX2195" fmla="*/ 479 w 10577"/>
                  <a:gd name="connsiteY2195" fmla="*/ 4778 h 10000"/>
                  <a:gd name="connsiteX2196" fmla="*/ 475 w 10577"/>
                  <a:gd name="connsiteY2196" fmla="*/ 4761 h 10000"/>
                  <a:gd name="connsiteX2197" fmla="*/ 465 w 10577"/>
                  <a:gd name="connsiteY2197" fmla="*/ 4718 h 10000"/>
                  <a:gd name="connsiteX2198" fmla="*/ 461 w 10577"/>
                  <a:gd name="connsiteY2198" fmla="*/ 4709 h 10000"/>
                  <a:gd name="connsiteX2199" fmla="*/ 442 w 10577"/>
                  <a:gd name="connsiteY2199" fmla="*/ 4692 h 10000"/>
                  <a:gd name="connsiteX2200" fmla="*/ 433 w 10577"/>
                  <a:gd name="connsiteY2200" fmla="*/ 4667 h 10000"/>
                  <a:gd name="connsiteX2201" fmla="*/ 419 w 10577"/>
                  <a:gd name="connsiteY2201" fmla="*/ 4667 h 10000"/>
                  <a:gd name="connsiteX2202" fmla="*/ 401 w 10577"/>
                  <a:gd name="connsiteY2202" fmla="*/ 4658 h 10000"/>
                  <a:gd name="connsiteX2203" fmla="*/ 401 w 10577"/>
                  <a:gd name="connsiteY2203" fmla="*/ 4624 h 10000"/>
                  <a:gd name="connsiteX2204" fmla="*/ 401 w 10577"/>
                  <a:gd name="connsiteY2204" fmla="*/ 4607 h 10000"/>
                  <a:gd name="connsiteX2205" fmla="*/ 378 w 10577"/>
                  <a:gd name="connsiteY2205" fmla="*/ 4607 h 10000"/>
                  <a:gd name="connsiteX2206" fmla="*/ 341 w 10577"/>
                  <a:gd name="connsiteY2206" fmla="*/ 4530 h 10000"/>
                  <a:gd name="connsiteX2207" fmla="*/ 346 w 10577"/>
                  <a:gd name="connsiteY2207" fmla="*/ 4521 h 10000"/>
                  <a:gd name="connsiteX2208" fmla="*/ 332 w 10577"/>
                  <a:gd name="connsiteY2208" fmla="*/ 4487 h 10000"/>
                  <a:gd name="connsiteX2209" fmla="*/ 327 w 10577"/>
                  <a:gd name="connsiteY2209" fmla="*/ 4462 h 10000"/>
                  <a:gd name="connsiteX2210" fmla="*/ 313 w 10577"/>
                  <a:gd name="connsiteY2210" fmla="*/ 4436 h 10000"/>
                  <a:gd name="connsiteX2211" fmla="*/ 300 w 10577"/>
                  <a:gd name="connsiteY2211" fmla="*/ 4419 h 10000"/>
                  <a:gd name="connsiteX2212" fmla="*/ 309 w 10577"/>
                  <a:gd name="connsiteY2212" fmla="*/ 4393 h 10000"/>
                  <a:gd name="connsiteX2213" fmla="*/ 332 w 10577"/>
                  <a:gd name="connsiteY2213" fmla="*/ 4385 h 10000"/>
                  <a:gd name="connsiteX2214" fmla="*/ 355 w 10577"/>
                  <a:gd name="connsiteY2214" fmla="*/ 4419 h 10000"/>
                  <a:gd name="connsiteX2215" fmla="*/ 355 w 10577"/>
                  <a:gd name="connsiteY2215" fmla="*/ 4444 h 10000"/>
                  <a:gd name="connsiteX2216" fmla="*/ 369 w 10577"/>
                  <a:gd name="connsiteY2216" fmla="*/ 4470 h 10000"/>
                  <a:gd name="connsiteX2217" fmla="*/ 401 w 10577"/>
                  <a:gd name="connsiteY2217" fmla="*/ 4521 h 10000"/>
                  <a:gd name="connsiteX2218" fmla="*/ 406 w 10577"/>
                  <a:gd name="connsiteY2218" fmla="*/ 4513 h 10000"/>
                  <a:gd name="connsiteX2219" fmla="*/ 406 w 10577"/>
                  <a:gd name="connsiteY2219" fmla="*/ 4496 h 10000"/>
                  <a:gd name="connsiteX2220" fmla="*/ 419 w 10577"/>
                  <a:gd name="connsiteY2220" fmla="*/ 4521 h 10000"/>
                  <a:gd name="connsiteX2221" fmla="*/ 429 w 10577"/>
                  <a:gd name="connsiteY2221" fmla="*/ 4530 h 10000"/>
                  <a:gd name="connsiteX2222" fmla="*/ 433 w 10577"/>
                  <a:gd name="connsiteY2222" fmla="*/ 4521 h 10000"/>
                  <a:gd name="connsiteX2223" fmla="*/ 442 w 10577"/>
                  <a:gd name="connsiteY2223" fmla="*/ 4530 h 10000"/>
                  <a:gd name="connsiteX2224" fmla="*/ 447 w 10577"/>
                  <a:gd name="connsiteY2224" fmla="*/ 4521 h 10000"/>
                  <a:gd name="connsiteX2225" fmla="*/ 452 w 10577"/>
                  <a:gd name="connsiteY2225" fmla="*/ 4521 h 10000"/>
                  <a:gd name="connsiteX2226" fmla="*/ 461 w 10577"/>
                  <a:gd name="connsiteY2226" fmla="*/ 4573 h 10000"/>
                  <a:gd name="connsiteX2227" fmla="*/ 479 w 10577"/>
                  <a:gd name="connsiteY2227" fmla="*/ 4556 h 10000"/>
                  <a:gd name="connsiteX2228" fmla="*/ 502 w 10577"/>
                  <a:gd name="connsiteY2228" fmla="*/ 4573 h 10000"/>
                  <a:gd name="connsiteX2229" fmla="*/ 507 w 10577"/>
                  <a:gd name="connsiteY2229" fmla="*/ 4598 h 10000"/>
                  <a:gd name="connsiteX2230" fmla="*/ 525 w 10577"/>
                  <a:gd name="connsiteY2230" fmla="*/ 4598 h 10000"/>
                  <a:gd name="connsiteX2231" fmla="*/ 535 w 10577"/>
                  <a:gd name="connsiteY2231" fmla="*/ 4624 h 10000"/>
                  <a:gd name="connsiteX2232" fmla="*/ 594 w 10577"/>
                  <a:gd name="connsiteY2232" fmla="*/ 4658 h 10000"/>
                  <a:gd name="connsiteX2233" fmla="*/ 627 w 10577"/>
                  <a:gd name="connsiteY2233" fmla="*/ 4658 h 10000"/>
                  <a:gd name="connsiteX2234" fmla="*/ 654 w 10577"/>
                  <a:gd name="connsiteY2234" fmla="*/ 4684 h 10000"/>
                  <a:gd name="connsiteX2235" fmla="*/ 668 w 10577"/>
                  <a:gd name="connsiteY2235" fmla="*/ 4709 h 10000"/>
                  <a:gd name="connsiteX2236" fmla="*/ 747 w 10577"/>
                  <a:gd name="connsiteY2236" fmla="*/ 4718 h 10000"/>
                  <a:gd name="connsiteX2237" fmla="*/ 760 w 10577"/>
                  <a:gd name="connsiteY2237" fmla="*/ 4709 h 10000"/>
                  <a:gd name="connsiteX2238" fmla="*/ 774 w 10577"/>
                  <a:gd name="connsiteY2238" fmla="*/ 4692 h 10000"/>
                  <a:gd name="connsiteX2239" fmla="*/ 829 w 10577"/>
                  <a:gd name="connsiteY2239" fmla="*/ 4658 h 10000"/>
                  <a:gd name="connsiteX2240" fmla="*/ 903 w 10577"/>
                  <a:gd name="connsiteY2240" fmla="*/ 4496 h 10000"/>
                  <a:gd name="connsiteX2241" fmla="*/ 917 w 10577"/>
                  <a:gd name="connsiteY2241" fmla="*/ 4385 h 10000"/>
                  <a:gd name="connsiteX2242" fmla="*/ 903 w 10577"/>
                  <a:gd name="connsiteY2242" fmla="*/ 4376 h 10000"/>
                  <a:gd name="connsiteX2243" fmla="*/ 903 w 10577"/>
                  <a:gd name="connsiteY2243" fmla="*/ 4376 h 10000"/>
                  <a:gd name="connsiteX2244" fmla="*/ 889 w 10577"/>
                  <a:gd name="connsiteY2244" fmla="*/ 4239 h 10000"/>
                  <a:gd name="connsiteX2245" fmla="*/ 880 w 10577"/>
                  <a:gd name="connsiteY2245" fmla="*/ 4214 h 10000"/>
                  <a:gd name="connsiteX2246" fmla="*/ 862 w 10577"/>
                  <a:gd name="connsiteY2246" fmla="*/ 4188 h 10000"/>
                  <a:gd name="connsiteX2247" fmla="*/ 857 w 10577"/>
                  <a:gd name="connsiteY2247" fmla="*/ 4197 h 10000"/>
                  <a:gd name="connsiteX2248" fmla="*/ 848 w 10577"/>
                  <a:gd name="connsiteY2248" fmla="*/ 4188 h 10000"/>
                  <a:gd name="connsiteX2249" fmla="*/ 848 w 10577"/>
                  <a:gd name="connsiteY2249" fmla="*/ 4162 h 10000"/>
                  <a:gd name="connsiteX2250" fmla="*/ 829 w 10577"/>
                  <a:gd name="connsiteY2250" fmla="*/ 4120 h 10000"/>
                  <a:gd name="connsiteX2251" fmla="*/ 820 w 10577"/>
                  <a:gd name="connsiteY2251" fmla="*/ 4103 h 10000"/>
                  <a:gd name="connsiteX2252" fmla="*/ 806 w 10577"/>
                  <a:gd name="connsiteY2252" fmla="*/ 4077 h 10000"/>
                  <a:gd name="connsiteX2253" fmla="*/ 816 w 10577"/>
                  <a:gd name="connsiteY2253" fmla="*/ 4111 h 10000"/>
                  <a:gd name="connsiteX2254" fmla="*/ 802 w 10577"/>
                  <a:gd name="connsiteY2254" fmla="*/ 4111 h 10000"/>
                  <a:gd name="connsiteX2255" fmla="*/ 770 w 10577"/>
                  <a:gd name="connsiteY2255" fmla="*/ 4060 h 10000"/>
                  <a:gd name="connsiteX2256" fmla="*/ 760 w 10577"/>
                  <a:gd name="connsiteY2256" fmla="*/ 4077 h 10000"/>
                  <a:gd name="connsiteX2257" fmla="*/ 760 w 10577"/>
                  <a:gd name="connsiteY2257" fmla="*/ 4060 h 10000"/>
                  <a:gd name="connsiteX2258" fmla="*/ 756 w 10577"/>
                  <a:gd name="connsiteY2258" fmla="*/ 4034 h 10000"/>
                  <a:gd name="connsiteX2259" fmla="*/ 742 w 10577"/>
                  <a:gd name="connsiteY2259" fmla="*/ 4000 h 10000"/>
                  <a:gd name="connsiteX2260" fmla="*/ 747 w 10577"/>
                  <a:gd name="connsiteY2260" fmla="*/ 4034 h 10000"/>
                  <a:gd name="connsiteX2261" fmla="*/ 724 w 10577"/>
                  <a:gd name="connsiteY2261" fmla="*/ 4026 h 10000"/>
                  <a:gd name="connsiteX2262" fmla="*/ 714 w 10577"/>
                  <a:gd name="connsiteY2262" fmla="*/ 4000 h 10000"/>
                  <a:gd name="connsiteX2263" fmla="*/ 714 w 10577"/>
                  <a:gd name="connsiteY2263" fmla="*/ 3983 h 10000"/>
                  <a:gd name="connsiteX2264" fmla="*/ 553 w 10577"/>
                  <a:gd name="connsiteY2264" fmla="*/ 3726 h 10000"/>
                  <a:gd name="connsiteX2265" fmla="*/ 507 w 10577"/>
                  <a:gd name="connsiteY2265" fmla="*/ 3718 h 10000"/>
                  <a:gd name="connsiteX2266" fmla="*/ 516 w 10577"/>
                  <a:gd name="connsiteY2266" fmla="*/ 3726 h 10000"/>
                  <a:gd name="connsiteX2267" fmla="*/ 507 w 10577"/>
                  <a:gd name="connsiteY2267" fmla="*/ 3735 h 10000"/>
                  <a:gd name="connsiteX2268" fmla="*/ 502 w 10577"/>
                  <a:gd name="connsiteY2268" fmla="*/ 3735 h 10000"/>
                  <a:gd name="connsiteX2269" fmla="*/ 419 w 10577"/>
                  <a:gd name="connsiteY2269" fmla="*/ 3675 h 10000"/>
                  <a:gd name="connsiteX2270" fmla="*/ 419 w 10577"/>
                  <a:gd name="connsiteY2270" fmla="*/ 3692 h 10000"/>
                  <a:gd name="connsiteX2271" fmla="*/ 401 w 10577"/>
                  <a:gd name="connsiteY2271" fmla="*/ 3701 h 10000"/>
                  <a:gd name="connsiteX2272" fmla="*/ 387 w 10577"/>
                  <a:gd name="connsiteY2272" fmla="*/ 3718 h 10000"/>
                  <a:gd name="connsiteX2273" fmla="*/ 387 w 10577"/>
                  <a:gd name="connsiteY2273" fmla="*/ 3692 h 10000"/>
                  <a:gd name="connsiteX2274" fmla="*/ 378 w 10577"/>
                  <a:gd name="connsiteY2274" fmla="*/ 3675 h 10000"/>
                  <a:gd name="connsiteX2275" fmla="*/ 378 w 10577"/>
                  <a:gd name="connsiteY2275" fmla="*/ 3650 h 10000"/>
                  <a:gd name="connsiteX2276" fmla="*/ 378 w 10577"/>
                  <a:gd name="connsiteY2276" fmla="*/ 3650 h 10000"/>
                  <a:gd name="connsiteX2277" fmla="*/ 355 w 10577"/>
                  <a:gd name="connsiteY2277" fmla="*/ 3675 h 10000"/>
                  <a:gd name="connsiteX2278" fmla="*/ 359 w 10577"/>
                  <a:gd name="connsiteY2278" fmla="*/ 3641 h 10000"/>
                  <a:gd name="connsiteX2279" fmla="*/ 346 w 10577"/>
                  <a:gd name="connsiteY2279" fmla="*/ 3650 h 10000"/>
                  <a:gd name="connsiteX2280" fmla="*/ 355 w 10577"/>
                  <a:gd name="connsiteY2280" fmla="*/ 3624 h 10000"/>
                  <a:gd name="connsiteX2281" fmla="*/ 346 w 10577"/>
                  <a:gd name="connsiteY2281" fmla="*/ 3624 h 10000"/>
                  <a:gd name="connsiteX2282" fmla="*/ 341 w 10577"/>
                  <a:gd name="connsiteY2282" fmla="*/ 3624 h 10000"/>
                  <a:gd name="connsiteX2283" fmla="*/ 318 w 10577"/>
                  <a:gd name="connsiteY2283" fmla="*/ 3641 h 10000"/>
                  <a:gd name="connsiteX2284" fmla="*/ 327 w 10577"/>
                  <a:gd name="connsiteY2284" fmla="*/ 3624 h 10000"/>
                  <a:gd name="connsiteX2285" fmla="*/ 318 w 10577"/>
                  <a:gd name="connsiteY2285" fmla="*/ 3615 h 10000"/>
                  <a:gd name="connsiteX2286" fmla="*/ 318 w 10577"/>
                  <a:gd name="connsiteY2286" fmla="*/ 3598 h 10000"/>
                  <a:gd name="connsiteX2287" fmla="*/ 300 w 10577"/>
                  <a:gd name="connsiteY2287" fmla="*/ 3598 h 10000"/>
                  <a:gd name="connsiteX2288" fmla="*/ 309 w 10577"/>
                  <a:gd name="connsiteY2288" fmla="*/ 3538 h 10000"/>
                  <a:gd name="connsiteX2289" fmla="*/ 313 w 10577"/>
                  <a:gd name="connsiteY2289" fmla="*/ 3564 h 10000"/>
                  <a:gd name="connsiteX2290" fmla="*/ 318 w 10577"/>
                  <a:gd name="connsiteY2290" fmla="*/ 3581 h 10000"/>
                  <a:gd name="connsiteX2291" fmla="*/ 327 w 10577"/>
                  <a:gd name="connsiteY2291" fmla="*/ 3564 h 10000"/>
                  <a:gd name="connsiteX2292" fmla="*/ 332 w 10577"/>
                  <a:gd name="connsiteY2292" fmla="*/ 3590 h 10000"/>
                  <a:gd name="connsiteX2293" fmla="*/ 346 w 10577"/>
                  <a:gd name="connsiteY2293" fmla="*/ 3590 h 10000"/>
                  <a:gd name="connsiteX2294" fmla="*/ 355 w 10577"/>
                  <a:gd name="connsiteY2294" fmla="*/ 3590 h 10000"/>
                  <a:gd name="connsiteX2295" fmla="*/ 369 w 10577"/>
                  <a:gd name="connsiteY2295" fmla="*/ 3556 h 10000"/>
                  <a:gd name="connsiteX2296" fmla="*/ 369 w 10577"/>
                  <a:gd name="connsiteY2296" fmla="*/ 3538 h 10000"/>
                  <a:gd name="connsiteX2297" fmla="*/ 346 w 10577"/>
                  <a:gd name="connsiteY2297" fmla="*/ 3513 h 10000"/>
                  <a:gd name="connsiteX2298" fmla="*/ 341 w 10577"/>
                  <a:gd name="connsiteY2298" fmla="*/ 3530 h 10000"/>
                  <a:gd name="connsiteX2299" fmla="*/ 327 w 10577"/>
                  <a:gd name="connsiteY2299" fmla="*/ 3513 h 10000"/>
                  <a:gd name="connsiteX2300" fmla="*/ 327 w 10577"/>
                  <a:gd name="connsiteY2300" fmla="*/ 3504 h 10000"/>
                  <a:gd name="connsiteX2301" fmla="*/ 295 w 10577"/>
                  <a:gd name="connsiteY2301" fmla="*/ 3462 h 10000"/>
                  <a:gd name="connsiteX2302" fmla="*/ 300 w 10577"/>
                  <a:gd name="connsiteY2302" fmla="*/ 3479 h 10000"/>
                  <a:gd name="connsiteX2303" fmla="*/ 295 w 10577"/>
                  <a:gd name="connsiteY2303" fmla="*/ 3513 h 10000"/>
                  <a:gd name="connsiteX2304" fmla="*/ 286 w 10577"/>
                  <a:gd name="connsiteY2304" fmla="*/ 3513 h 10000"/>
                  <a:gd name="connsiteX2305" fmla="*/ 281 w 10577"/>
                  <a:gd name="connsiteY2305" fmla="*/ 3513 h 10000"/>
                  <a:gd name="connsiteX2306" fmla="*/ 281 w 10577"/>
                  <a:gd name="connsiteY2306" fmla="*/ 3530 h 10000"/>
                  <a:gd name="connsiteX2307" fmla="*/ 281 w 10577"/>
                  <a:gd name="connsiteY2307" fmla="*/ 3556 h 10000"/>
                  <a:gd name="connsiteX2308" fmla="*/ 272 w 10577"/>
                  <a:gd name="connsiteY2308" fmla="*/ 3564 h 10000"/>
                  <a:gd name="connsiteX2309" fmla="*/ 267 w 10577"/>
                  <a:gd name="connsiteY2309" fmla="*/ 3564 h 10000"/>
                  <a:gd name="connsiteX2310" fmla="*/ 253 w 10577"/>
                  <a:gd name="connsiteY2310" fmla="*/ 3538 h 10000"/>
                  <a:gd name="connsiteX2311" fmla="*/ 226 w 10577"/>
                  <a:gd name="connsiteY2311" fmla="*/ 3513 h 10000"/>
                  <a:gd name="connsiteX2312" fmla="*/ 226 w 10577"/>
                  <a:gd name="connsiteY2312" fmla="*/ 3530 h 10000"/>
                  <a:gd name="connsiteX2313" fmla="*/ 226 w 10577"/>
                  <a:gd name="connsiteY2313" fmla="*/ 3530 h 10000"/>
                  <a:gd name="connsiteX2314" fmla="*/ 226 w 10577"/>
                  <a:gd name="connsiteY2314" fmla="*/ 3530 h 10000"/>
                  <a:gd name="connsiteX2315" fmla="*/ 226 w 10577"/>
                  <a:gd name="connsiteY2315" fmla="*/ 3556 h 10000"/>
                  <a:gd name="connsiteX2316" fmla="*/ 221 w 10577"/>
                  <a:gd name="connsiteY2316" fmla="*/ 3598 h 10000"/>
                  <a:gd name="connsiteX2317" fmla="*/ 207 w 10577"/>
                  <a:gd name="connsiteY2317" fmla="*/ 3598 h 10000"/>
                  <a:gd name="connsiteX2318" fmla="*/ 180 w 10577"/>
                  <a:gd name="connsiteY2318" fmla="*/ 3581 h 10000"/>
                  <a:gd name="connsiteX2319" fmla="*/ 171 w 10577"/>
                  <a:gd name="connsiteY2319" fmla="*/ 3641 h 10000"/>
                  <a:gd name="connsiteX2320" fmla="*/ 166 w 10577"/>
                  <a:gd name="connsiteY2320" fmla="*/ 3650 h 10000"/>
                  <a:gd name="connsiteX2321" fmla="*/ 124 w 10577"/>
                  <a:gd name="connsiteY2321" fmla="*/ 3701 h 10000"/>
                  <a:gd name="connsiteX2322" fmla="*/ 124 w 10577"/>
                  <a:gd name="connsiteY2322" fmla="*/ 3718 h 10000"/>
                  <a:gd name="connsiteX2323" fmla="*/ 120 w 10577"/>
                  <a:gd name="connsiteY2323" fmla="*/ 3735 h 10000"/>
                  <a:gd name="connsiteX2324" fmla="*/ 120 w 10577"/>
                  <a:gd name="connsiteY2324" fmla="*/ 3735 h 10000"/>
                  <a:gd name="connsiteX2325" fmla="*/ 111 w 10577"/>
                  <a:gd name="connsiteY2325" fmla="*/ 3761 h 10000"/>
                  <a:gd name="connsiteX2326" fmla="*/ 106 w 10577"/>
                  <a:gd name="connsiteY2326" fmla="*/ 3761 h 10000"/>
                  <a:gd name="connsiteX2327" fmla="*/ 106 w 10577"/>
                  <a:gd name="connsiteY2327" fmla="*/ 3761 h 10000"/>
                  <a:gd name="connsiteX2328" fmla="*/ 74 w 10577"/>
                  <a:gd name="connsiteY2328" fmla="*/ 3829 h 10000"/>
                  <a:gd name="connsiteX2329" fmla="*/ 78 w 10577"/>
                  <a:gd name="connsiteY2329" fmla="*/ 3838 h 10000"/>
                  <a:gd name="connsiteX2330" fmla="*/ 88 w 10577"/>
                  <a:gd name="connsiteY2330" fmla="*/ 3846 h 10000"/>
                  <a:gd name="connsiteX2331" fmla="*/ 65 w 10577"/>
                  <a:gd name="connsiteY2331" fmla="*/ 3923 h 10000"/>
                  <a:gd name="connsiteX2332" fmla="*/ 78 w 10577"/>
                  <a:gd name="connsiteY2332" fmla="*/ 4026 h 10000"/>
                  <a:gd name="connsiteX2333" fmla="*/ 88 w 10577"/>
                  <a:gd name="connsiteY2333" fmla="*/ 4051 h 10000"/>
                  <a:gd name="connsiteX2334" fmla="*/ 92 w 10577"/>
                  <a:gd name="connsiteY2334" fmla="*/ 4060 h 10000"/>
                  <a:gd name="connsiteX2335" fmla="*/ 111 w 10577"/>
                  <a:gd name="connsiteY2335" fmla="*/ 4060 h 10000"/>
                  <a:gd name="connsiteX2336" fmla="*/ 124 w 10577"/>
                  <a:gd name="connsiteY2336" fmla="*/ 4085 h 10000"/>
                  <a:gd name="connsiteX2337" fmla="*/ 166 w 10577"/>
                  <a:gd name="connsiteY2337" fmla="*/ 4197 h 10000"/>
                  <a:gd name="connsiteX2338" fmla="*/ 166 w 10577"/>
                  <a:gd name="connsiteY2338" fmla="*/ 4248 h 10000"/>
                  <a:gd name="connsiteX2339" fmla="*/ 120 w 10577"/>
                  <a:gd name="connsiteY2339" fmla="*/ 4462 h 10000"/>
                  <a:gd name="connsiteX2340" fmla="*/ 120 w 10577"/>
                  <a:gd name="connsiteY2340" fmla="*/ 4513 h 10000"/>
                  <a:gd name="connsiteX2341" fmla="*/ 180 w 10577"/>
                  <a:gd name="connsiteY2341" fmla="*/ 4829 h 10000"/>
                  <a:gd name="connsiteX2342" fmla="*/ 161 w 10577"/>
                  <a:gd name="connsiteY2342" fmla="*/ 4855 h 10000"/>
                  <a:gd name="connsiteX2343" fmla="*/ 152 w 10577"/>
                  <a:gd name="connsiteY2343" fmla="*/ 4940 h 10000"/>
                  <a:gd name="connsiteX2344" fmla="*/ 161 w 10577"/>
                  <a:gd name="connsiteY2344" fmla="*/ 4966 h 10000"/>
                  <a:gd name="connsiteX2345" fmla="*/ 161 w 10577"/>
                  <a:gd name="connsiteY2345" fmla="*/ 5009 h 10000"/>
                  <a:gd name="connsiteX2346" fmla="*/ 152 w 10577"/>
                  <a:gd name="connsiteY2346" fmla="*/ 5034 h 10000"/>
                  <a:gd name="connsiteX2347" fmla="*/ 152 w 10577"/>
                  <a:gd name="connsiteY2347" fmla="*/ 5077 h 10000"/>
                  <a:gd name="connsiteX2348" fmla="*/ 171 w 10577"/>
                  <a:gd name="connsiteY2348" fmla="*/ 5094 h 10000"/>
                  <a:gd name="connsiteX2349" fmla="*/ 180 w 10577"/>
                  <a:gd name="connsiteY2349" fmla="*/ 5128 h 10000"/>
                  <a:gd name="connsiteX2350" fmla="*/ 180 w 10577"/>
                  <a:gd name="connsiteY2350" fmla="*/ 5171 h 10000"/>
                  <a:gd name="connsiteX2351" fmla="*/ 184 w 10577"/>
                  <a:gd name="connsiteY2351" fmla="*/ 5205 h 10000"/>
                  <a:gd name="connsiteX2352" fmla="*/ 207 w 10577"/>
                  <a:gd name="connsiteY2352" fmla="*/ 5239 h 10000"/>
                  <a:gd name="connsiteX2353" fmla="*/ 207 w 10577"/>
                  <a:gd name="connsiteY2353" fmla="*/ 5282 h 10000"/>
                  <a:gd name="connsiteX2354" fmla="*/ 180 w 10577"/>
                  <a:gd name="connsiteY2354" fmla="*/ 5393 h 10000"/>
                  <a:gd name="connsiteX2355" fmla="*/ 194 w 10577"/>
                  <a:gd name="connsiteY2355" fmla="*/ 5427 h 10000"/>
                  <a:gd name="connsiteX2356" fmla="*/ 198 w 10577"/>
                  <a:gd name="connsiteY2356" fmla="*/ 5462 h 10000"/>
                  <a:gd name="connsiteX2357" fmla="*/ 235 w 10577"/>
                  <a:gd name="connsiteY2357" fmla="*/ 5513 h 10000"/>
                  <a:gd name="connsiteX2358" fmla="*/ 240 w 10577"/>
                  <a:gd name="connsiteY2358" fmla="*/ 5556 h 10000"/>
                  <a:gd name="connsiteX2359" fmla="*/ 253 w 10577"/>
                  <a:gd name="connsiteY2359" fmla="*/ 5590 h 10000"/>
                  <a:gd name="connsiteX2360" fmla="*/ 258 w 10577"/>
                  <a:gd name="connsiteY2360" fmla="*/ 5573 h 10000"/>
                  <a:gd name="connsiteX2361" fmla="*/ 258 w 10577"/>
                  <a:gd name="connsiteY2361" fmla="*/ 5667 h 10000"/>
                  <a:gd name="connsiteX2362" fmla="*/ 14 w 10577"/>
                  <a:gd name="connsiteY2362" fmla="*/ 6214 h 10000"/>
                  <a:gd name="connsiteX2363" fmla="*/ 14 w 10577"/>
                  <a:gd name="connsiteY2363" fmla="*/ 6214 h 10000"/>
                  <a:gd name="connsiteX2364" fmla="*/ 37 w 10577"/>
                  <a:gd name="connsiteY2364" fmla="*/ 6214 h 10000"/>
                  <a:gd name="connsiteX2365" fmla="*/ 51 w 10577"/>
                  <a:gd name="connsiteY2365" fmla="*/ 6188 h 10000"/>
                  <a:gd name="connsiteX2366" fmla="*/ 78 w 10577"/>
                  <a:gd name="connsiteY2366" fmla="*/ 6162 h 10000"/>
                  <a:gd name="connsiteX2367" fmla="*/ 78 w 10577"/>
                  <a:gd name="connsiteY2367" fmla="*/ 6188 h 10000"/>
                  <a:gd name="connsiteX2368" fmla="*/ 74 w 10577"/>
                  <a:gd name="connsiteY2368" fmla="*/ 6197 h 10000"/>
                  <a:gd name="connsiteX2369" fmla="*/ 74 w 10577"/>
                  <a:gd name="connsiteY2369" fmla="*/ 6231 h 10000"/>
                  <a:gd name="connsiteX2370" fmla="*/ 74 w 10577"/>
                  <a:gd name="connsiteY2370" fmla="*/ 6214 h 10000"/>
                  <a:gd name="connsiteX2371" fmla="*/ 65 w 10577"/>
                  <a:gd name="connsiteY2371" fmla="*/ 6214 h 10000"/>
                  <a:gd name="connsiteX2372" fmla="*/ 65 w 10577"/>
                  <a:gd name="connsiteY2372" fmla="*/ 6248 h 10000"/>
                  <a:gd name="connsiteX2373" fmla="*/ 74 w 10577"/>
                  <a:gd name="connsiteY2373" fmla="*/ 6256 h 10000"/>
                  <a:gd name="connsiteX2374" fmla="*/ 78 w 10577"/>
                  <a:gd name="connsiteY2374" fmla="*/ 6256 h 10000"/>
                  <a:gd name="connsiteX2375" fmla="*/ 106 w 10577"/>
                  <a:gd name="connsiteY2375" fmla="*/ 6308 h 10000"/>
                  <a:gd name="connsiteX2376" fmla="*/ 138 w 10577"/>
                  <a:gd name="connsiteY2376" fmla="*/ 6299 h 10000"/>
                  <a:gd name="connsiteX2377" fmla="*/ 152 w 10577"/>
                  <a:gd name="connsiteY2377" fmla="*/ 6299 h 10000"/>
                  <a:gd name="connsiteX2378" fmla="*/ 166 w 10577"/>
                  <a:gd name="connsiteY2378" fmla="*/ 6325 h 10000"/>
                  <a:gd name="connsiteX2379" fmla="*/ 166 w 10577"/>
                  <a:gd name="connsiteY2379" fmla="*/ 6333 h 10000"/>
                  <a:gd name="connsiteX2380" fmla="*/ 171 w 10577"/>
                  <a:gd name="connsiteY2380" fmla="*/ 6350 h 10000"/>
                  <a:gd name="connsiteX2381" fmla="*/ 180 w 10577"/>
                  <a:gd name="connsiteY2381" fmla="*/ 6350 h 10000"/>
                  <a:gd name="connsiteX2382" fmla="*/ 180 w 10577"/>
                  <a:gd name="connsiteY2382" fmla="*/ 6359 h 10000"/>
                  <a:gd name="connsiteX2383" fmla="*/ 171 w 10577"/>
                  <a:gd name="connsiteY2383" fmla="*/ 6368 h 10000"/>
                  <a:gd name="connsiteX2384" fmla="*/ 106 w 10577"/>
                  <a:gd name="connsiteY2384" fmla="*/ 6350 h 10000"/>
                  <a:gd name="connsiteX2385" fmla="*/ 101 w 10577"/>
                  <a:gd name="connsiteY2385" fmla="*/ 6359 h 10000"/>
                  <a:gd name="connsiteX2386" fmla="*/ 101 w 10577"/>
                  <a:gd name="connsiteY2386" fmla="*/ 6385 h 10000"/>
                  <a:gd name="connsiteX2387" fmla="*/ 78 w 10577"/>
                  <a:gd name="connsiteY2387" fmla="*/ 6393 h 10000"/>
                  <a:gd name="connsiteX2388" fmla="*/ 74 w 10577"/>
                  <a:gd name="connsiteY2388" fmla="*/ 6385 h 10000"/>
                  <a:gd name="connsiteX2389" fmla="*/ 65 w 10577"/>
                  <a:gd name="connsiteY2389" fmla="*/ 6393 h 10000"/>
                  <a:gd name="connsiteX2390" fmla="*/ 60 w 10577"/>
                  <a:gd name="connsiteY2390" fmla="*/ 6419 h 10000"/>
                  <a:gd name="connsiteX2391" fmla="*/ 51 w 10577"/>
                  <a:gd name="connsiteY2391" fmla="*/ 6419 h 10000"/>
                  <a:gd name="connsiteX2392" fmla="*/ 46 w 10577"/>
                  <a:gd name="connsiteY2392" fmla="*/ 6410 h 10000"/>
                  <a:gd name="connsiteX2393" fmla="*/ 37 w 10577"/>
                  <a:gd name="connsiteY2393" fmla="*/ 6393 h 10000"/>
                  <a:gd name="connsiteX2394" fmla="*/ 32 w 10577"/>
                  <a:gd name="connsiteY2394" fmla="*/ 6419 h 10000"/>
                  <a:gd name="connsiteX2395" fmla="*/ 37 w 10577"/>
                  <a:gd name="connsiteY2395" fmla="*/ 6462 h 10000"/>
                  <a:gd name="connsiteX2396" fmla="*/ 46 w 10577"/>
                  <a:gd name="connsiteY2396" fmla="*/ 6462 h 10000"/>
                  <a:gd name="connsiteX2397" fmla="*/ 51 w 10577"/>
                  <a:gd name="connsiteY2397" fmla="*/ 6470 h 10000"/>
                  <a:gd name="connsiteX2398" fmla="*/ 51 w 10577"/>
                  <a:gd name="connsiteY2398" fmla="*/ 6496 h 10000"/>
                  <a:gd name="connsiteX2399" fmla="*/ 51 w 10577"/>
                  <a:gd name="connsiteY2399" fmla="*/ 6504 h 10000"/>
                  <a:gd name="connsiteX2400" fmla="*/ 37 w 10577"/>
                  <a:gd name="connsiteY2400" fmla="*/ 6530 h 10000"/>
                  <a:gd name="connsiteX2401" fmla="*/ 18 w 10577"/>
                  <a:gd name="connsiteY2401" fmla="*/ 6598 h 10000"/>
                  <a:gd name="connsiteX2402" fmla="*/ 28 w 10577"/>
                  <a:gd name="connsiteY2402" fmla="*/ 6632 h 10000"/>
                  <a:gd name="connsiteX2403" fmla="*/ 18 w 10577"/>
                  <a:gd name="connsiteY2403" fmla="*/ 6667 h 10000"/>
                  <a:gd name="connsiteX2404" fmla="*/ 28 w 10577"/>
                  <a:gd name="connsiteY2404" fmla="*/ 6692 h 10000"/>
                  <a:gd name="connsiteX2405" fmla="*/ 28 w 10577"/>
                  <a:gd name="connsiteY2405" fmla="*/ 6709 h 10000"/>
                  <a:gd name="connsiteX2406" fmla="*/ 18 w 10577"/>
                  <a:gd name="connsiteY2406" fmla="*/ 6718 h 10000"/>
                  <a:gd name="connsiteX2407" fmla="*/ 5 w 10577"/>
                  <a:gd name="connsiteY2407" fmla="*/ 6744 h 10000"/>
                  <a:gd name="connsiteX2408" fmla="*/ 0 w 10577"/>
                  <a:gd name="connsiteY2408" fmla="*/ 6769 h 10000"/>
                  <a:gd name="connsiteX2409" fmla="*/ 5 w 10577"/>
                  <a:gd name="connsiteY2409" fmla="*/ 6778 h 10000"/>
                  <a:gd name="connsiteX2410" fmla="*/ 32 w 10577"/>
                  <a:gd name="connsiteY2410" fmla="*/ 6778 h 10000"/>
                  <a:gd name="connsiteX2411" fmla="*/ 46 w 10577"/>
                  <a:gd name="connsiteY2411" fmla="*/ 6821 h 10000"/>
                  <a:gd name="connsiteX2412" fmla="*/ 46 w 10577"/>
                  <a:gd name="connsiteY2412" fmla="*/ 6855 h 10000"/>
                  <a:gd name="connsiteX2413" fmla="*/ 32 w 10577"/>
                  <a:gd name="connsiteY2413" fmla="*/ 6855 h 10000"/>
                  <a:gd name="connsiteX2414" fmla="*/ 14 w 10577"/>
                  <a:gd name="connsiteY2414" fmla="*/ 6821 h 10000"/>
                  <a:gd name="connsiteX2415" fmla="*/ 14 w 10577"/>
                  <a:gd name="connsiteY2415" fmla="*/ 6846 h 10000"/>
                  <a:gd name="connsiteX2416" fmla="*/ 0 w 10577"/>
                  <a:gd name="connsiteY2416" fmla="*/ 6897 h 10000"/>
                  <a:gd name="connsiteX2417" fmla="*/ 0 w 10577"/>
                  <a:gd name="connsiteY2417" fmla="*/ 6915 h 10000"/>
                  <a:gd name="connsiteX2418" fmla="*/ 5 w 10577"/>
                  <a:gd name="connsiteY2418" fmla="*/ 6932 h 10000"/>
                  <a:gd name="connsiteX2419" fmla="*/ 14 w 10577"/>
                  <a:gd name="connsiteY2419" fmla="*/ 6940 h 10000"/>
                  <a:gd name="connsiteX2420" fmla="*/ 18 w 10577"/>
                  <a:gd name="connsiteY2420" fmla="*/ 6957 h 10000"/>
                  <a:gd name="connsiteX2421" fmla="*/ 28 w 10577"/>
                  <a:gd name="connsiteY2421" fmla="*/ 6966 h 10000"/>
                  <a:gd name="connsiteX2422" fmla="*/ 28 w 10577"/>
                  <a:gd name="connsiteY2422" fmla="*/ 6983 h 10000"/>
                  <a:gd name="connsiteX2423" fmla="*/ 18 w 10577"/>
                  <a:gd name="connsiteY2423" fmla="*/ 7051 h 10000"/>
                  <a:gd name="connsiteX2424" fmla="*/ 28 w 10577"/>
                  <a:gd name="connsiteY2424" fmla="*/ 7068 h 10000"/>
                  <a:gd name="connsiteX2425" fmla="*/ 32 w 10577"/>
                  <a:gd name="connsiteY2425" fmla="*/ 7068 h 10000"/>
                  <a:gd name="connsiteX2426" fmla="*/ 32 w 10577"/>
                  <a:gd name="connsiteY2426" fmla="*/ 7094 h 10000"/>
                  <a:gd name="connsiteX2427" fmla="*/ 60 w 10577"/>
                  <a:gd name="connsiteY2427" fmla="*/ 7162 h 10000"/>
                  <a:gd name="connsiteX2428" fmla="*/ 60 w 10577"/>
                  <a:gd name="connsiteY2428" fmla="*/ 7231 h 10000"/>
                  <a:gd name="connsiteX2429" fmla="*/ 60 w 10577"/>
                  <a:gd name="connsiteY2429" fmla="*/ 7239 h 10000"/>
                  <a:gd name="connsiteX2430" fmla="*/ 78 w 10577"/>
                  <a:gd name="connsiteY2430" fmla="*/ 7239 h 10000"/>
                  <a:gd name="connsiteX2431" fmla="*/ 88 w 10577"/>
                  <a:gd name="connsiteY2431" fmla="*/ 7239 h 10000"/>
                  <a:gd name="connsiteX2432" fmla="*/ 92 w 10577"/>
                  <a:gd name="connsiteY2432" fmla="*/ 7256 h 10000"/>
                  <a:gd name="connsiteX2433" fmla="*/ 111 w 10577"/>
                  <a:gd name="connsiteY2433" fmla="*/ 7256 h 10000"/>
                  <a:gd name="connsiteX2434" fmla="*/ 120 w 10577"/>
                  <a:gd name="connsiteY2434" fmla="*/ 7256 h 10000"/>
                  <a:gd name="connsiteX2435" fmla="*/ 134 w 10577"/>
                  <a:gd name="connsiteY2435" fmla="*/ 7282 h 10000"/>
                  <a:gd name="connsiteX2436" fmla="*/ 134 w 10577"/>
                  <a:gd name="connsiteY2436" fmla="*/ 7316 h 10000"/>
                  <a:gd name="connsiteX2437" fmla="*/ 152 w 10577"/>
                  <a:gd name="connsiteY2437" fmla="*/ 7299 h 10000"/>
                  <a:gd name="connsiteX2438" fmla="*/ 161 w 10577"/>
                  <a:gd name="connsiteY2438" fmla="*/ 7299 h 10000"/>
                  <a:gd name="connsiteX2439" fmla="*/ 166 w 10577"/>
                  <a:gd name="connsiteY2439" fmla="*/ 7291 h 10000"/>
                  <a:gd name="connsiteX2440" fmla="*/ 194 w 10577"/>
                  <a:gd name="connsiteY2440" fmla="*/ 7291 h 10000"/>
                  <a:gd name="connsiteX2441" fmla="*/ 207 w 10577"/>
                  <a:gd name="connsiteY2441" fmla="*/ 7299 h 10000"/>
                  <a:gd name="connsiteX2442" fmla="*/ 221 w 10577"/>
                  <a:gd name="connsiteY2442" fmla="*/ 7342 h 10000"/>
                  <a:gd name="connsiteX2443" fmla="*/ 235 w 10577"/>
                  <a:gd name="connsiteY2443" fmla="*/ 7342 h 10000"/>
                  <a:gd name="connsiteX2444" fmla="*/ 235 w 10577"/>
                  <a:gd name="connsiteY2444" fmla="*/ 7368 h 10000"/>
                  <a:gd name="connsiteX2445" fmla="*/ 226 w 10577"/>
                  <a:gd name="connsiteY2445" fmla="*/ 7393 h 10000"/>
                  <a:gd name="connsiteX2446" fmla="*/ 226 w 10577"/>
                  <a:gd name="connsiteY2446" fmla="*/ 7402 h 10000"/>
                  <a:gd name="connsiteX2447" fmla="*/ 235 w 10577"/>
                  <a:gd name="connsiteY2447" fmla="*/ 7419 h 10000"/>
                  <a:gd name="connsiteX2448" fmla="*/ 240 w 10577"/>
                  <a:gd name="connsiteY2448" fmla="*/ 7436 h 10000"/>
                  <a:gd name="connsiteX2449" fmla="*/ 235 w 10577"/>
                  <a:gd name="connsiteY2449" fmla="*/ 7462 h 10000"/>
                  <a:gd name="connsiteX2450" fmla="*/ 226 w 10577"/>
                  <a:gd name="connsiteY2450" fmla="*/ 7479 h 10000"/>
                  <a:gd name="connsiteX2451" fmla="*/ 226 w 10577"/>
                  <a:gd name="connsiteY2451" fmla="*/ 7504 h 10000"/>
                  <a:gd name="connsiteX2452" fmla="*/ 226 w 10577"/>
                  <a:gd name="connsiteY2452" fmla="*/ 7513 h 10000"/>
                  <a:gd name="connsiteX2453" fmla="*/ 240 w 10577"/>
                  <a:gd name="connsiteY2453" fmla="*/ 7538 h 10000"/>
                  <a:gd name="connsiteX2454" fmla="*/ 267 w 10577"/>
                  <a:gd name="connsiteY2454" fmla="*/ 7641 h 10000"/>
                  <a:gd name="connsiteX2455" fmla="*/ 281 w 10577"/>
                  <a:gd name="connsiteY2455" fmla="*/ 7667 h 10000"/>
                  <a:gd name="connsiteX2456" fmla="*/ 286 w 10577"/>
                  <a:gd name="connsiteY2456" fmla="*/ 7675 h 10000"/>
                  <a:gd name="connsiteX2457" fmla="*/ 286 w 10577"/>
                  <a:gd name="connsiteY2457" fmla="*/ 7692 h 10000"/>
                  <a:gd name="connsiteX2458" fmla="*/ 286 w 10577"/>
                  <a:gd name="connsiteY2458" fmla="*/ 7709 h 10000"/>
                  <a:gd name="connsiteX2459" fmla="*/ 295 w 10577"/>
                  <a:gd name="connsiteY2459" fmla="*/ 7726 h 10000"/>
                  <a:gd name="connsiteX2460" fmla="*/ 318 w 10577"/>
                  <a:gd name="connsiteY2460" fmla="*/ 7709 h 10000"/>
                  <a:gd name="connsiteX2461" fmla="*/ 327 w 10577"/>
                  <a:gd name="connsiteY2461" fmla="*/ 7726 h 10000"/>
                  <a:gd name="connsiteX2462" fmla="*/ 341 w 10577"/>
                  <a:gd name="connsiteY2462" fmla="*/ 7735 h 10000"/>
                  <a:gd name="connsiteX2463" fmla="*/ 332 w 10577"/>
                  <a:gd name="connsiteY2463" fmla="*/ 7752 h 10000"/>
                  <a:gd name="connsiteX2464" fmla="*/ 341 w 10577"/>
                  <a:gd name="connsiteY2464" fmla="*/ 7761 h 10000"/>
                  <a:gd name="connsiteX2465" fmla="*/ 355 w 10577"/>
                  <a:gd name="connsiteY2465" fmla="*/ 7761 h 10000"/>
                  <a:gd name="connsiteX2466" fmla="*/ 355 w 10577"/>
                  <a:gd name="connsiteY2466" fmla="*/ 7803 h 10000"/>
                  <a:gd name="connsiteX2467" fmla="*/ 313 w 10577"/>
                  <a:gd name="connsiteY2467" fmla="*/ 7846 h 10000"/>
                  <a:gd name="connsiteX2468" fmla="*/ 295 w 10577"/>
                  <a:gd name="connsiteY2468" fmla="*/ 7846 h 10000"/>
                  <a:gd name="connsiteX2469" fmla="*/ 281 w 10577"/>
                  <a:gd name="connsiteY2469" fmla="*/ 7821 h 10000"/>
                  <a:gd name="connsiteX2470" fmla="*/ 272 w 10577"/>
                  <a:gd name="connsiteY2470" fmla="*/ 7821 h 10000"/>
                  <a:gd name="connsiteX2471" fmla="*/ 267 w 10577"/>
                  <a:gd name="connsiteY2471" fmla="*/ 7838 h 10000"/>
                  <a:gd name="connsiteX2472" fmla="*/ 258 w 10577"/>
                  <a:gd name="connsiteY2472" fmla="*/ 7846 h 10000"/>
                  <a:gd name="connsiteX2473" fmla="*/ 253 w 10577"/>
                  <a:gd name="connsiteY2473" fmla="*/ 7863 h 10000"/>
                  <a:gd name="connsiteX2474" fmla="*/ 253 w 10577"/>
                  <a:gd name="connsiteY2474" fmla="*/ 7872 h 10000"/>
                  <a:gd name="connsiteX2475" fmla="*/ 267 w 10577"/>
                  <a:gd name="connsiteY2475" fmla="*/ 7897 h 10000"/>
                  <a:gd name="connsiteX2476" fmla="*/ 272 w 10577"/>
                  <a:gd name="connsiteY2476" fmla="*/ 7915 h 10000"/>
                  <a:gd name="connsiteX2477" fmla="*/ 267 w 10577"/>
                  <a:gd name="connsiteY2477" fmla="*/ 7940 h 10000"/>
                  <a:gd name="connsiteX2478" fmla="*/ 272 w 10577"/>
                  <a:gd name="connsiteY2478" fmla="*/ 7949 h 10000"/>
                  <a:gd name="connsiteX2479" fmla="*/ 272 w 10577"/>
                  <a:gd name="connsiteY2479" fmla="*/ 7957 h 10000"/>
                  <a:gd name="connsiteX2480" fmla="*/ 281 w 10577"/>
                  <a:gd name="connsiteY2480" fmla="*/ 7974 h 10000"/>
                  <a:gd name="connsiteX2481" fmla="*/ 286 w 10577"/>
                  <a:gd name="connsiteY2481" fmla="*/ 7983 h 10000"/>
                  <a:gd name="connsiteX2482" fmla="*/ 281 w 10577"/>
                  <a:gd name="connsiteY2482" fmla="*/ 8009 h 10000"/>
                  <a:gd name="connsiteX2483" fmla="*/ 286 w 10577"/>
                  <a:gd name="connsiteY2483" fmla="*/ 8060 h 10000"/>
                  <a:gd name="connsiteX2484" fmla="*/ 286 w 10577"/>
                  <a:gd name="connsiteY2484" fmla="*/ 8060 h 10000"/>
                  <a:gd name="connsiteX2485" fmla="*/ 295 w 10577"/>
                  <a:gd name="connsiteY2485" fmla="*/ 8077 h 10000"/>
                  <a:gd name="connsiteX2486" fmla="*/ 309 w 10577"/>
                  <a:gd name="connsiteY2486" fmla="*/ 8077 h 10000"/>
                  <a:gd name="connsiteX2487" fmla="*/ 313 w 10577"/>
                  <a:gd name="connsiteY2487" fmla="*/ 8060 h 10000"/>
                  <a:gd name="connsiteX2488" fmla="*/ 318 w 10577"/>
                  <a:gd name="connsiteY2488" fmla="*/ 8051 h 10000"/>
                  <a:gd name="connsiteX2489" fmla="*/ 318 w 10577"/>
                  <a:gd name="connsiteY2489" fmla="*/ 8034 h 10000"/>
                  <a:gd name="connsiteX2490" fmla="*/ 332 w 10577"/>
                  <a:gd name="connsiteY2490" fmla="*/ 8026 h 10000"/>
                  <a:gd name="connsiteX2491" fmla="*/ 359 w 10577"/>
                  <a:gd name="connsiteY2491" fmla="*/ 8034 h 10000"/>
                  <a:gd name="connsiteX2492" fmla="*/ 378 w 10577"/>
                  <a:gd name="connsiteY2492" fmla="*/ 8026 h 10000"/>
                  <a:gd name="connsiteX2493" fmla="*/ 401 w 10577"/>
                  <a:gd name="connsiteY2493" fmla="*/ 8026 h 10000"/>
                  <a:gd name="connsiteX2494" fmla="*/ 419 w 10577"/>
                  <a:gd name="connsiteY2494" fmla="*/ 8009 h 10000"/>
                  <a:gd name="connsiteX2495" fmla="*/ 433 w 10577"/>
                  <a:gd name="connsiteY2495" fmla="*/ 8034 h 10000"/>
                  <a:gd name="connsiteX2496" fmla="*/ 442 w 10577"/>
                  <a:gd name="connsiteY2496" fmla="*/ 8060 h 10000"/>
                  <a:gd name="connsiteX2497" fmla="*/ 442 w 10577"/>
                  <a:gd name="connsiteY2497" fmla="*/ 8077 h 10000"/>
                  <a:gd name="connsiteX2498" fmla="*/ 461 w 10577"/>
                  <a:gd name="connsiteY2498" fmla="*/ 8111 h 10000"/>
                  <a:gd name="connsiteX2499" fmla="*/ 461 w 10577"/>
                  <a:gd name="connsiteY2499" fmla="*/ 8137 h 10000"/>
                  <a:gd name="connsiteX2500" fmla="*/ 447 w 10577"/>
                  <a:gd name="connsiteY2500" fmla="*/ 8145 h 10000"/>
                  <a:gd name="connsiteX2501" fmla="*/ 442 w 10577"/>
                  <a:gd name="connsiteY2501" fmla="*/ 8145 h 10000"/>
                  <a:gd name="connsiteX2502" fmla="*/ 442 w 10577"/>
                  <a:gd name="connsiteY2502" fmla="*/ 8162 h 10000"/>
                  <a:gd name="connsiteX2503" fmla="*/ 442 w 10577"/>
                  <a:gd name="connsiteY2503" fmla="*/ 8171 h 10000"/>
                  <a:gd name="connsiteX2504" fmla="*/ 447 w 10577"/>
                  <a:gd name="connsiteY2504" fmla="*/ 8214 h 10000"/>
                  <a:gd name="connsiteX2505" fmla="*/ 465 w 10577"/>
                  <a:gd name="connsiteY2505" fmla="*/ 8231 h 10000"/>
                  <a:gd name="connsiteX2506" fmla="*/ 488 w 10577"/>
                  <a:gd name="connsiteY2506" fmla="*/ 8231 h 10000"/>
                  <a:gd name="connsiteX2507" fmla="*/ 493 w 10577"/>
                  <a:gd name="connsiteY2507" fmla="*/ 8231 h 10000"/>
                  <a:gd name="connsiteX2508" fmla="*/ 502 w 10577"/>
                  <a:gd name="connsiteY2508" fmla="*/ 8231 h 10000"/>
                  <a:gd name="connsiteX2509" fmla="*/ 507 w 10577"/>
                  <a:gd name="connsiteY2509" fmla="*/ 8248 h 10000"/>
                  <a:gd name="connsiteX2510" fmla="*/ 521 w 10577"/>
                  <a:gd name="connsiteY2510" fmla="*/ 8274 h 10000"/>
                  <a:gd name="connsiteX2511" fmla="*/ 525 w 10577"/>
                  <a:gd name="connsiteY2511" fmla="*/ 8333 h 10000"/>
                  <a:gd name="connsiteX2512" fmla="*/ 525 w 10577"/>
                  <a:gd name="connsiteY2512" fmla="*/ 8359 h 10000"/>
                  <a:gd name="connsiteX2513" fmla="*/ 525 w 10577"/>
                  <a:gd name="connsiteY2513" fmla="*/ 8368 h 10000"/>
                  <a:gd name="connsiteX2514" fmla="*/ 548 w 10577"/>
                  <a:gd name="connsiteY2514" fmla="*/ 8393 h 10000"/>
                  <a:gd name="connsiteX2515" fmla="*/ 553 w 10577"/>
                  <a:gd name="connsiteY2515" fmla="*/ 8385 h 10000"/>
                  <a:gd name="connsiteX2516" fmla="*/ 562 w 10577"/>
                  <a:gd name="connsiteY2516" fmla="*/ 8385 h 10000"/>
                  <a:gd name="connsiteX2517" fmla="*/ 576 w 10577"/>
                  <a:gd name="connsiteY2517" fmla="*/ 8385 h 10000"/>
                  <a:gd name="connsiteX2518" fmla="*/ 585 w 10577"/>
                  <a:gd name="connsiteY2518" fmla="*/ 8410 h 10000"/>
                  <a:gd name="connsiteX2519" fmla="*/ 594 w 10577"/>
                  <a:gd name="connsiteY2519" fmla="*/ 8410 h 10000"/>
                  <a:gd name="connsiteX2520" fmla="*/ 608 w 10577"/>
                  <a:gd name="connsiteY2520" fmla="*/ 8410 h 10000"/>
                  <a:gd name="connsiteX2521" fmla="*/ 654 w 10577"/>
                  <a:gd name="connsiteY2521" fmla="*/ 8385 h 10000"/>
                  <a:gd name="connsiteX2522" fmla="*/ 659 w 10577"/>
                  <a:gd name="connsiteY2522" fmla="*/ 8385 h 10000"/>
                  <a:gd name="connsiteX2523" fmla="*/ 696 w 10577"/>
                  <a:gd name="connsiteY2523" fmla="*/ 8470 h 10000"/>
                  <a:gd name="connsiteX2524" fmla="*/ 700 w 10577"/>
                  <a:gd name="connsiteY2524" fmla="*/ 8470 h 10000"/>
                  <a:gd name="connsiteX2525" fmla="*/ 710 w 10577"/>
                  <a:gd name="connsiteY2525" fmla="*/ 8462 h 10000"/>
                  <a:gd name="connsiteX2526" fmla="*/ 714 w 10577"/>
                  <a:gd name="connsiteY2526" fmla="*/ 8462 h 10000"/>
                  <a:gd name="connsiteX2527" fmla="*/ 724 w 10577"/>
                  <a:gd name="connsiteY2527" fmla="*/ 8470 h 10000"/>
                  <a:gd name="connsiteX2528" fmla="*/ 733 w 10577"/>
                  <a:gd name="connsiteY2528" fmla="*/ 8470 h 10000"/>
                  <a:gd name="connsiteX2529" fmla="*/ 742 w 10577"/>
                  <a:gd name="connsiteY2529" fmla="*/ 8487 h 10000"/>
                  <a:gd name="connsiteX2530" fmla="*/ 747 w 10577"/>
                  <a:gd name="connsiteY2530" fmla="*/ 8496 h 10000"/>
                  <a:gd name="connsiteX2531" fmla="*/ 770 w 10577"/>
                  <a:gd name="connsiteY2531" fmla="*/ 8496 h 10000"/>
                  <a:gd name="connsiteX2532" fmla="*/ 783 w 10577"/>
                  <a:gd name="connsiteY2532" fmla="*/ 8521 h 10000"/>
                  <a:gd name="connsiteX2533" fmla="*/ 797 w 10577"/>
                  <a:gd name="connsiteY2533" fmla="*/ 8521 h 10000"/>
                  <a:gd name="connsiteX2534" fmla="*/ 806 w 10577"/>
                  <a:gd name="connsiteY2534" fmla="*/ 8530 h 10000"/>
                  <a:gd name="connsiteX2535" fmla="*/ 829 w 10577"/>
                  <a:gd name="connsiteY2535" fmla="*/ 8547 h 10000"/>
                  <a:gd name="connsiteX2536" fmla="*/ 834 w 10577"/>
                  <a:gd name="connsiteY2536" fmla="*/ 8556 h 10000"/>
                  <a:gd name="connsiteX2537" fmla="*/ 829 w 10577"/>
                  <a:gd name="connsiteY2537" fmla="*/ 8556 h 10000"/>
                  <a:gd name="connsiteX2538" fmla="*/ 834 w 10577"/>
                  <a:gd name="connsiteY2538" fmla="*/ 8607 h 10000"/>
                  <a:gd name="connsiteX2539" fmla="*/ 829 w 10577"/>
                  <a:gd name="connsiteY2539" fmla="*/ 8641 h 10000"/>
                  <a:gd name="connsiteX2540" fmla="*/ 806 w 10577"/>
                  <a:gd name="connsiteY2540" fmla="*/ 8658 h 10000"/>
                  <a:gd name="connsiteX2541" fmla="*/ 816 w 10577"/>
                  <a:gd name="connsiteY2541" fmla="*/ 8667 h 10000"/>
                  <a:gd name="connsiteX2542" fmla="*/ 820 w 10577"/>
                  <a:gd name="connsiteY2542" fmla="*/ 8667 h 10000"/>
                  <a:gd name="connsiteX2543" fmla="*/ 829 w 10577"/>
                  <a:gd name="connsiteY2543" fmla="*/ 8684 h 10000"/>
                  <a:gd name="connsiteX2544" fmla="*/ 806 w 10577"/>
                  <a:gd name="connsiteY2544" fmla="*/ 8692 h 10000"/>
                  <a:gd name="connsiteX2545" fmla="*/ 802 w 10577"/>
                  <a:gd name="connsiteY2545" fmla="*/ 8709 h 10000"/>
                  <a:gd name="connsiteX2546" fmla="*/ 802 w 10577"/>
                  <a:gd name="connsiteY2546" fmla="*/ 8735 h 10000"/>
                  <a:gd name="connsiteX2547" fmla="*/ 806 w 10577"/>
                  <a:gd name="connsiteY2547" fmla="*/ 8744 h 10000"/>
                  <a:gd name="connsiteX2548" fmla="*/ 816 w 10577"/>
                  <a:gd name="connsiteY2548" fmla="*/ 8752 h 10000"/>
                  <a:gd name="connsiteX2549" fmla="*/ 806 w 10577"/>
                  <a:gd name="connsiteY2549" fmla="*/ 8778 h 10000"/>
                  <a:gd name="connsiteX2550" fmla="*/ 820 w 10577"/>
                  <a:gd name="connsiteY2550" fmla="*/ 8778 h 10000"/>
                  <a:gd name="connsiteX2551" fmla="*/ 806 w 10577"/>
                  <a:gd name="connsiteY2551" fmla="*/ 8880 h 10000"/>
                  <a:gd name="connsiteX2552" fmla="*/ 797 w 10577"/>
                  <a:gd name="connsiteY2552" fmla="*/ 8880 h 10000"/>
                  <a:gd name="connsiteX2553" fmla="*/ 783 w 10577"/>
                  <a:gd name="connsiteY2553" fmla="*/ 8872 h 10000"/>
                  <a:gd name="connsiteX2554" fmla="*/ 770 w 10577"/>
                  <a:gd name="connsiteY2554" fmla="*/ 8880 h 10000"/>
                  <a:gd name="connsiteX2555" fmla="*/ 756 w 10577"/>
                  <a:gd name="connsiteY2555" fmla="*/ 8855 h 10000"/>
                  <a:gd name="connsiteX2556" fmla="*/ 733 w 10577"/>
                  <a:gd name="connsiteY2556" fmla="*/ 8906 h 10000"/>
                  <a:gd name="connsiteX2557" fmla="*/ 714 w 10577"/>
                  <a:gd name="connsiteY2557" fmla="*/ 8915 h 10000"/>
                  <a:gd name="connsiteX2558" fmla="*/ 710 w 10577"/>
                  <a:gd name="connsiteY2558" fmla="*/ 8940 h 10000"/>
                  <a:gd name="connsiteX2559" fmla="*/ 710 w 10577"/>
                  <a:gd name="connsiteY2559" fmla="*/ 9009 h 10000"/>
                  <a:gd name="connsiteX2560" fmla="*/ 728 w 10577"/>
                  <a:gd name="connsiteY2560" fmla="*/ 8991 h 10000"/>
                  <a:gd name="connsiteX2561" fmla="*/ 733 w 10577"/>
                  <a:gd name="connsiteY2561" fmla="*/ 8991 h 10000"/>
                  <a:gd name="connsiteX2562" fmla="*/ 747 w 10577"/>
                  <a:gd name="connsiteY2562" fmla="*/ 8983 h 10000"/>
                  <a:gd name="connsiteX2563" fmla="*/ 760 w 10577"/>
                  <a:gd name="connsiteY2563" fmla="*/ 8983 h 10000"/>
                  <a:gd name="connsiteX2564" fmla="*/ 770 w 10577"/>
                  <a:gd name="connsiteY2564" fmla="*/ 8983 h 10000"/>
                  <a:gd name="connsiteX2565" fmla="*/ 770 w 10577"/>
                  <a:gd name="connsiteY2565" fmla="*/ 8991 h 10000"/>
                  <a:gd name="connsiteX2566" fmla="*/ 783 w 10577"/>
                  <a:gd name="connsiteY2566" fmla="*/ 8991 h 10000"/>
                  <a:gd name="connsiteX2567" fmla="*/ 783 w 10577"/>
                  <a:gd name="connsiteY2567" fmla="*/ 9009 h 10000"/>
                  <a:gd name="connsiteX2568" fmla="*/ 783 w 10577"/>
                  <a:gd name="connsiteY2568" fmla="*/ 9017 h 10000"/>
                  <a:gd name="connsiteX2569" fmla="*/ 770 w 10577"/>
                  <a:gd name="connsiteY2569" fmla="*/ 9017 h 10000"/>
                  <a:gd name="connsiteX2570" fmla="*/ 724 w 10577"/>
                  <a:gd name="connsiteY2570" fmla="*/ 9051 h 10000"/>
                  <a:gd name="connsiteX2571" fmla="*/ 724 w 10577"/>
                  <a:gd name="connsiteY2571" fmla="*/ 9068 h 10000"/>
                  <a:gd name="connsiteX2572" fmla="*/ 728 w 10577"/>
                  <a:gd name="connsiteY2572" fmla="*/ 9077 h 10000"/>
                  <a:gd name="connsiteX2573" fmla="*/ 724 w 10577"/>
                  <a:gd name="connsiteY2573" fmla="*/ 9077 h 10000"/>
                  <a:gd name="connsiteX2574" fmla="*/ 710 w 10577"/>
                  <a:gd name="connsiteY2574" fmla="*/ 9077 h 10000"/>
                  <a:gd name="connsiteX2575" fmla="*/ 682 w 10577"/>
                  <a:gd name="connsiteY2575" fmla="*/ 9077 h 10000"/>
                  <a:gd name="connsiteX2576" fmla="*/ 673 w 10577"/>
                  <a:gd name="connsiteY2576" fmla="*/ 9103 h 10000"/>
                  <a:gd name="connsiteX2577" fmla="*/ 687 w 10577"/>
                  <a:gd name="connsiteY2577" fmla="*/ 9128 h 10000"/>
                  <a:gd name="connsiteX2578" fmla="*/ 700 w 10577"/>
                  <a:gd name="connsiteY2578" fmla="*/ 9128 h 10000"/>
                  <a:gd name="connsiteX2579" fmla="*/ 728 w 10577"/>
                  <a:gd name="connsiteY2579" fmla="*/ 9179 h 10000"/>
                  <a:gd name="connsiteX2580" fmla="*/ 724 w 10577"/>
                  <a:gd name="connsiteY2580" fmla="*/ 9188 h 10000"/>
                  <a:gd name="connsiteX2581" fmla="*/ 710 w 10577"/>
                  <a:gd name="connsiteY2581" fmla="*/ 9179 h 10000"/>
                  <a:gd name="connsiteX2582" fmla="*/ 700 w 10577"/>
                  <a:gd name="connsiteY2582" fmla="*/ 9205 h 10000"/>
                  <a:gd name="connsiteX2583" fmla="*/ 696 w 10577"/>
                  <a:gd name="connsiteY2583" fmla="*/ 9205 h 10000"/>
                  <a:gd name="connsiteX2584" fmla="*/ 654 w 10577"/>
                  <a:gd name="connsiteY2584" fmla="*/ 9299 h 10000"/>
                  <a:gd name="connsiteX2585" fmla="*/ 622 w 10577"/>
                  <a:gd name="connsiteY2585" fmla="*/ 9299 h 10000"/>
                  <a:gd name="connsiteX2586" fmla="*/ 613 w 10577"/>
                  <a:gd name="connsiteY2586" fmla="*/ 9316 h 10000"/>
                  <a:gd name="connsiteX2587" fmla="*/ 613 w 10577"/>
                  <a:gd name="connsiteY2587" fmla="*/ 9325 h 10000"/>
                  <a:gd name="connsiteX2588" fmla="*/ 608 w 10577"/>
                  <a:gd name="connsiteY2588" fmla="*/ 9342 h 10000"/>
                  <a:gd name="connsiteX2589" fmla="*/ 636 w 10577"/>
                  <a:gd name="connsiteY2589" fmla="*/ 9376 h 10000"/>
                  <a:gd name="connsiteX2590" fmla="*/ 641 w 10577"/>
                  <a:gd name="connsiteY2590" fmla="*/ 9402 h 10000"/>
                  <a:gd name="connsiteX2591" fmla="*/ 654 w 10577"/>
                  <a:gd name="connsiteY2591" fmla="*/ 9427 h 10000"/>
                  <a:gd name="connsiteX2592" fmla="*/ 668 w 10577"/>
                  <a:gd name="connsiteY2592" fmla="*/ 9427 h 10000"/>
                  <a:gd name="connsiteX2593" fmla="*/ 668 w 10577"/>
                  <a:gd name="connsiteY2593" fmla="*/ 9427 h 10000"/>
                  <a:gd name="connsiteX2594" fmla="*/ 774 w 10577"/>
                  <a:gd name="connsiteY2594" fmla="*/ 9547 h 10000"/>
                  <a:gd name="connsiteX2595" fmla="*/ 797 w 10577"/>
                  <a:gd name="connsiteY2595" fmla="*/ 9598 h 10000"/>
                  <a:gd name="connsiteX2596" fmla="*/ 802 w 10577"/>
                  <a:gd name="connsiteY2596" fmla="*/ 9598 h 10000"/>
                  <a:gd name="connsiteX2597" fmla="*/ 816 w 10577"/>
                  <a:gd name="connsiteY2597" fmla="*/ 9624 h 10000"/>
                  <a:gd name="connsiteX2598" fmla="*/ 843 w 10577"/>
                  <a:gd name="connsiteY2598" fmla="*/ 9615 h 10000"/>
                  <a:gd name="connsiteX2599" fmla="*/ 857 w 10577"/>
                  <a:gd name="connsiteY2599" fmla="*/ 9624 h 10000"/>
                  <a:gd name="connsiteX2600" fmla="*/ 862 w 10577"/>
                  <a:gd name="connsiteY2600" fmla="*/ 9615 h 10000"/>
                  <a:gd name="connsiteX2601" fmla="*/ 880 w 10577"/>
                  <a:gd name="connsiteY2601" fmla="*/ 9624 h 10000"/>
                  <a:gd name="connsiteX2602" fmla="*/ 889 w 10577"/>
                  <a:gd name="connsiteY2602" fmla="*/ 9641 h 10000"/>
                  <a:gd name="connsiteX2603" fmla="*/ 935 w 10577"/>
                  <a:gd name="connsiteY2603" fmla="*/ 9675 h 10000"/>
                  <a:gd name="connsiteX2604" fmla="*/ 977 w 10577"/>
                  <a:gd name="connsiteY2604" fmla="*/ 9667 h 10000"/>
                  <a:gd name="connsiteX2605" fmla="*/ 995 w 10577"/>
                  <a:gd name="connsiteY2605" fmla="*/ 9675 h 10000"/>
                  <a:gd name="connsiteX2606" fmla="*/ 1014 w 10577"/>
                  <a:gd name="connsiteY2606" fmla="*/ 9675 h 10000"/>
                  <a:gd name="connsiteX2607" fmla="*/ 1069 w 10577"/>
                  <a:gd name="connsiteY2607" fmla="*/ 9752 h 10000"/>
                  <a:gd name="connsiteX2608" fmla="*/ 1074 w 10577"/>
                  <a:gd name="connsiteY2608" fmla="*/ 9761 h 10000"/>
                  <a:gd name="connsiteX2609" fmla="*/ 1083 w 10577"/>
                  <a:gd name="connsiteY2609" fmla="*/ 9778 h 10000"/>
                  <a:gd name="connsiteX2610" fmla="*/ 1115 w 10577"/>
                  <a:gd name="connsiteY2610" fmla="*/ 9752 h 10000"/>
                  <a:gd name="connsiteX2611" fmla="*/ 1129 w 10577"/>
                  <a:gd name="connsiteY2611" fmla="*/ 9752 h 10000"/>
                  <a:gd name="connsiteX2612" fmla="*/ 1138 w 10577"/>
                  <a:gd name="connsiteY2612" fmla="*/ 9761 h 10000"/>
                  <a:gd name="connsiteX2613" fmla="*/ 1143 w 10577"/>
                  <a:gd name="connsiteY2613" fmla="*/ 9752 h 10000"/>
                  <a:gd name="connsiteX2614" fmla="*/ 1161 w 10577"/>
                  <a:gd name="connsiteY2614" fmla="*/ 9761 h 10000"/>
                  <a:gd name="connsiteX2615" fmla="*/ 1171 w 10577"/>
                  <a:gd name="connsiteY2615" fmla="*/ 9778 h 10000"/>
                  <a:gd name="connsiteX2616" fmla="*/ 1175 w 10577"/>
                  <a:gd name="connsiteY2616" fmla="*/ 9778 h 10000"/>
                  <a:gd name="connsiteX2617" fmla="*/ 1189 w 10577"/>
                  <a:gd name="connsiteY2617" fmla="*/ 9778 h 10000"/>
                  <a:gd name="connsiteX2618" fmla="*/ 1198 w 10577"/>
                  <a:gd name="connsiteY2618" fmla="*/ 9786 h 10000"/>
                  <a:gd name="connsiteX2619" fmla="*/ 1203 w 10577"/>
                  <a:gd name="connsiteY2619" fmla="*/ 9803 h 10000"/>
                  <a:gd name="connsiteX2620" fmla="*/ 1198 w 10577"/>
                  <a:gd name="connsiteY2620" fmla="*/ 9838 h 10000"/>
                  <a:gd name="connsiteX2621" fmla="*/ 1212 w 10577"/>
                  <a:gd name="connsiteY2621" fmla="*/ 9863 h 10000"/>
                  <a:gd name="connsiteX2622" fmla="*/ 1230 w 10577"/>
                  <a:gd name="connsiteY2622" fmla="*/ 9872 h 10000"/>
                  <a:gd name="connsiteX2623" fmla="*/ 1249 w 10577"/>
                  <a:gd name="connsiteY2623" fmla="*/ 9897 h 10000"/>
                  <a:gd name="connsiteX2624" fmla="*/ 1263 w 10577"/>
                  <a:gd name="connsiteY2624" fmla="*/ 9897 h 10000"/>
                  <a:gd name="connsiteX2625" fmla="*/ 1276 w 10577"/>
                  <a:gd name="connsiteY2625" fmla="*/ 9923 h 10000"/>
                  <a:gd name="connsiteX2626" fmla="*/ 1281 w 10577"/>
                  <a:gd name="connsiteY2626" fmla="*/ 9949 h 10000"/>
                  <a:gd name="connsiteX2627" fmla="*/ 1290 w 10577"/>
                  <a:gd name="connsiteY2627" fmla="*/ 9949 h 10000"/>
                  <a:gd name="connsiteX2628" fmla="*/ 1295 w 10577"/>
                  <a:gd name="connsiteY2628" fmla="*/ 10000 h 10000"/>
                  <a:gd name="connsiteX2629" fmla="*/ 1332 w 10577"/>
                  <a:gd name="connsiteY2629" fmla="*/ 10000 h 10000"/>
                  <a:gd name="connsiteX2630" fmla="*/ 1336 w 10577"/>
                  <a:gd name="connsiteY2630" fmla="*/ 10000 h 10000"/>
                  <a:gd name="connsiteX2631" fmla="*/ 1346 w 10577"/>
                  <a:gd name="connsiteY2631" fmla="*/ 9983 h 10000"/>
                  <a:gd name="connsiteX2632" fmla="*/ 1350 w 10577"/>
                  <a:gd name="connsiteY2632" fmla="*/ 9949 h 10000"/>
                  <a:gd name="connsiteX2633" fmla="*/ 1369 w 10577"/>
                  <a:gd name="connsiteY2633" fmla="*/ 9940 h 10000"/>
                  <a:gd name="connsiteX2634" fmla="*/ 1378 w 10577"/>
                  <a:gd name="connsiteY2634" fmla="*/ 9897 h 10000"/>
                  <a:gd name="connsiteX2635" fmla="*/ 1369 w 10577"/>
                  <a:gd name="connsiteY2635" fmla="*/ 9889 h 10000"/>
                  <a:gd name="connsiteX2636" fmla="*/ 1318 w 10577"/>
                  <a:gd name="connsiteY2636" fmla="*/ 9701 h 10000"/>
                  <a:gd name="connsiteX2637" fmla="*/ 1318 w 10577"/>
                  <a:gd name="connsiteY2637" fmla="*/ 9650 h 10000"/>
                  <a:gd name="connsiteX2638" fmla="*/ 1323 w 10577"/>
                  <a:gd name="connsiteY2638" fmla="*/ 9590 h 10000"/>
                  <a:gd name="connsiteX2639" fmla="*/ 1323 w 10577"/>
                  <a:gd name="connsiteY2639" fmla="*/ 9564 h 10000"/>
                  <a:gd name="connsiteX2640" fmla="*/ 1309 w 10577"/>
                  <a:gd name="connsiteY2640" fmla="*/ 9598 h 10000"/>
                  <a:gd name="connsiteX2641" fmla="*/ 1309 w 10577"/>
                  <a:gd name="connsiteY2641" fmla="*/ 9590 h 10000"/>
                  <a:gd name="connsiteX2642" fmla="*/ 1304 w 10577"/>
                  <a:gd name="connsiteY2642" fmla="*/ 9547 h 10000"/>
                  <a:gd name="connsiteX2643" fmla="*/ 1276 w 10577"/>
                  <a:gd name="connsiteY2643" fmla="*/ 9479 h 10000"/>
                  <a:gd name="connsiteX2644" fmla="*/ 1263 w 10577"/>
                  <a:gd name="connsiteY2644" fmla="*/ 9479 h 10000"/>
                  <a:gd name="connsiteX2645" fmla="*/ 1263 w 10577"/>
                  <a:gd name="connsiteY2645" fmla="*/ 9453 h 10000"/>
                  <a:gd name="connsiteX2646" fmla="*/ 1272 w 10577"/>
                  <a:gd name="connsiteY2646" fmla="*/ 9410 h 10000"/>
                  <a:gd name="connsiteX2647" fmla="*/ 1272 w 10577"/>
                  <a:gd name="connsiteY2647" fmla="*/ 9393 h 10000"/>
                  <a:gd name="connsiteX2648" fmla="*/ 1281 w 10577"/>
                  <a:gd name="connsiteY2648" fmla="*/ 9368 h 10000"/>
                  <a:gd name="connsiteX2649" fmla="*/ 1281 w 10577"/>
                  <a:gd name="connsiteY2649" fmla="*/ 9368 h 10000"/>
                  <a:gd name="connsiteX2650" fmla="*/ 1290 w 10577"/>
                  <a:gd name="connsiteY2650" fmla="*/ 9368 h 10000"/>
                  <a:gd name="connsiteX2651" fmla="*/ 1290 w 10577"/>
                  <a:gd name="connsiteY2651" fmla="*/ 9342 h 10000"/>
                  <a:gd name="connsiteX2652" fmla="*/ 1304 w 10577"/>
                  <a:gd name="connsiteY2652" fmla="*/ 9325 h 10000"/>
                  <a:gd name="connsiteX2653" fmla="*/ 1309 w 10577"/>
                  <a:gd name="connsiteY2653" fmla="*/ 9239 h 10000"/>
                  <a:gd name="connsiteX2654" fmla="*/ 1318 w 10577"/>
                  <a:gd name="connsiteY2654" fmla="*/ 9256 h 10000"/>
                  <a:gd name="connsiteX2655" fmla="*/ 1323 w 10577"/>
                  <a:gd name="connsiteY2655" fmla="*/ 9179 h 10000"/>
                  <a:gd name="connsiteX2656" fmla="*/ 1309 w 10577"/>
                  <a:gd name="connsiteY2656" fmla="*/ 9145 h 10000"/>
                  <a:gd name="connsiteX2657" fmla="*/ 1336 w 10577"/>
                  <a:gd name="connsiteY2657" fmla="*/ 9154 h 10000"/>
                  <a:gd name="connsiteX2658" fmla="*/ 1336 w 10577"/>
                  <a:gd name="connsiteY2658" fmla="*/ 9162 h 10000"/>
                  <a:gd name="connsiteX2659" fmla="*/ 1350 w 10577"/>
                  <a:gd name="connsiteY2659" fmla="*/ 9231 h 10000"/>
                  <a:gd name="connsiteX2660" fmla="*/ 1355 w 10577"/>
                  <a:gd name="connsiteY2660" fmla="*/ 9231 h 10000"/>
                  <a:gd name="connsiteX2661" fmla="*/ 1364 w 10577"/>
                  <a:gd name="connsiteY2661" fmla="*/ 9214 h 10000"/>
                  <a:gd name="connsiteX2662" fmla="*/ 1369 w 10577"/>
                  <a:gd name="connsiteY2662" fmla="*/ 9214 h 10000"/>
                  <a:gd name="connsiteX2663" fmla="*/ 1382 w 10577"/>
                  <a:gd name="connsiteY2663" fmla="*/ 9154 h 10000"/>
                  <a:gd name="connsiteX2664" fmla="*/ 1396 w 10577"/>
                  <a:gd name="connsiteY2664" fmla="*/ 9154 h 10000"/>
                  <a:gd name="connsiteX2665" fmla="*/ 1382 w 10577"/>
                  <a:gd name="connsiteY2665" fmla="*/ 9145 h 10000"/>
                  <a:gd name="connsiteX2666" fmla="*/ 1382 w 10577"/>
                  <a:gd name="connsiteY2666" fmla="*/ 9128 h 10000"/>
                  <a:gd name="connsiteX2667" fmla="*/ 1369 w 10577"/>
                  <a:gd name="connsiteY2667" fmla="*/ 9128 h 10000"/>
                  <a:gd name="connsiteX2668" fmla="*/ 1364 w 10577"/>
                  <a:gd name="connsiteY2668" fmla="*/ 9128 h 10000"/>
                  <a:gd name="connsiteX2669" fmla="*/ 1355 w 10577"/>
                  <a:gd name="connsiteY2669" fmla="*/ 9120 h 10000"/>
                  <a:gd name="connsiteX2670" fmla="*/ 1350 w 10577"/>
                  <a:gd name="connsiteY2670" fmla="*/ 9103 h 10000"/>
                  <a:gd name="connsiteX2671" fmla="*/ 1355 w 10577"/>
                  <a:gd name="connsiteY2671" fmla="*/ 9094 h 10000"/>
                  <a:gd name="connsiteX2672" fmla="*/ 1355 w 10577"/>
                  <a:gd name="connsiteY2672" fmla="*/ 9068 h 10000"/>
                  <a:gd name="connsiteX2673" fmla="*/ 1369 w 10577"/>
                  <a:gd name="connsiteY2673" fmla="*/ 9068 h 10000"/>
                  <a:gd name="connsiteX2674" fmla="*/ 1378 w 10577"/>
                  <a:gd name="connsiteY2674" fmla="*/ 9077 h 10000"/>
                  <a:gd name="connsiteX2675" fmla="*/ 1396 w 10577"/>
                  <a:gd name="connsiteY2675" fmla="*/ 9068 h 10000"/>
                  <a:gd name="connsiteX2676" fmla="*/ 1382 w 10577"/>
                  <a:gd name="connsiteY2676" fmla="*/ 8940 h 10000"/>
                  <a:gd name="connsiteX2677" fmla="*/ 1378 w 10577"/>
                  <a:gd name="connsiteY2677" fmla="*/ 8940 h 10000"/>
                  <a:gd name="connsiteX2678" fmla="*/ 1364 w 10577"/>
                  <a:gd name="connsiteY2678" fmla="*/ 8889 h 10000"/>
                  <a:gd name="connsiteX2679" fmla="*/ 1355 w 10577"/>
                  <a:gd name="connsiteY2679" fmla="*/ 8880 h 10000"/>
                  <a:gd name="connsiteX2680" fmla="*/ 1323 w 10577"/>
                  <a:gd name="connsiteY2680" fmla="*/ 8880 h 10000"/>
                  <a:gd name="connsiteX2681" fmla="*/ 1309 w 10577"/>
                  <a:gd name="connsiteY2681" fmla="*/ 8880 h 10000"/>
                  <a:gd name="connsiteX2682" fmla="*/ 1309 w 10577"/>
                  <a:gd name="connsiteY2682" fmla="*/ 8889 h 10000"/>
                  <a:gd name="connsiteX2683" fmla="*/ 1295 w 10577"/>
                  <a:gd name="connsiteY2683" fmla="*/ 8872 h 10000"/>
                  <a:gd name="connsiteX2684" fmla="*/ 1290 w 10577"/>
                  <a:gd name="connsiteY2684" fmla="*/ 8855 h 10000"/>
                  <a:gd name="connsiteX2685" fmla="*/ 1290 w 10577"/>
                  <a:gd name="connsiteY2685" fmla="*/ 8829 h 10000"/>
                  <a:gd name="connsiteX2686" fmla="*/ 1290 w 10577"/>
                  <a:gd name="connsiteY2686" fmla="*/ 8821 h 10000"/>
                  <a:gd name="connsiteX2687" fmla="*/ 1290 w 10577"/>
                  <a:gd name="connsiteY2687" fmla="*/ 8803 h 10000"/>
                  <a:gd name="connsiteX2688" fmla="*/ 1281 w 10577"/>
                  <a:gd name="connsiteY2688" fmla="*/ 8795 h 10000"/>
                  <a:gd name="connsiteX2689" fmla="*/ 1249 w 10577"/>
                  <a:gd name="connsiteY2689" fmla="*/ 8769 h 10000"/>
                  <a:gd name="connsiteX2690" fmla="*/ 1263 w 10577"/>
                  <a:gd name="connsiteY2690" fmla="*/ 8667 h 10000"/>
                  <a:gd name="connsiteX2691" fmla="*/ 1281 w 10577"/>
                  <a:gd name="connsiteY2691" fmla="*/ 8658 h 10000"/>
                  <a:gd name="connsiteX2692" fmla="*/ 1290 w 10577"/>
                  <a:gd name="connsiteY2692" fmla="*/ 8632 h 10000"/>
                  <a:gd name="connsiteX2693" fmla="*/ 1281 w 10577"/>
                  <a:gd name="connsiteY2693" fmla="*/ 8615 h 10000"/>
                  <a:gd name="connsiteX2694" fmla="*/ 1272 w 10577"/>
                  <a:gd name="connsiteY2694" fmla="*/ 8598 h 10000"/>
                  <a:gd name="connsiteX2695" fmla="*/ 1281 w 10577"/>
                  <a:gd name="connsiteY2695" fmla="*/ 8496 h 10000"/>
                  <a:gd name="connsiteX2696" fmla="*/ 1295 w 10577"/>
                  <a:gd name="connsiteY2696" fmla="*/ 8470 h 10000"/>
                  <a:gd name="connsiteX2697" fmla="*/ 1304 w 10577"/>
                  <a:gd name="connsiteY2697" fmla="*/ 8462 h 10000"/>
                  <a:gd name="connsiteX2698" fmla="*/ 1304 w 10577"/>
                  <a:gd name="connsiteY2698" fmla="*/ 8444 h 10000"/>
                  <a:gd name="connsiteX2699" fmla="*/ 1304 w 10577"/>
                  <a:gd name="connsiteY2699" fmla="*/ 8419 h 10000"/>
                  <a:gd name="connsiteX2700" fmla="*/ 1304 w 10577"/>
                  <a:gd name="connsiteY2700" fmla="*/ 8410 h 10000"/>
                  <a:gd name="connsiteX2701" fmla="*/ 1309 w 10577"/>
                  <a:gd name="connsiteY2701" fmla="*/ 8393 h 10000"/>
                  <a:gd name="connsiteX2702" fmla="*/ 1318 w 10577"/>
                  <a:gd name="connsiteY2702" fmla="*/ 8385 h 10000"/>
                  <a:gd name="connsiteX2703" fmla="*/ 1323 w 10577"/>
                  <a:gd name="connsiteY2703" fmla="*/ 8385 h 10000"/>
                  <a:gd name="connsiteX2704" fmla="*/ 1332 w 10577"/>
                  <a:gd name="connsiteY2704" fmla="*/ 8410 h 10000"/>
                  <a:gd name="connsiteX2705" fmla="*/ 1346 w 10577"/>
                  <a:gd name="connsiteY2705" fmla="*/ 8419 h 10000"/>
                  <a:gd name="connsiteX2706" fmla="*/ 1364 w 10577"/>
                  <a:gd name="connsiteY2706" fmla="*/ 8504 h 10000"/>
                  <a:gd name="connsiteX2707" fmla="*/ 1369 w 10577"/>
                  <a:gd name="connsiteY2707" fmla="*/ 8521 h 10000"/>
                  <a:gd name="connsiteX2708" fmla="*/ 1406 w 10577"/>
                  <a:gd name="connsiteY2708" fmla="*/ 8470 h 10000"/>
                  <a:gd name="connsiteX2709" fmla="*/ 1382 w 10577"/>
                  <a:gd name="connsiteY2709" fmla="*/ 8359 h 10000"/>
                  <a:gd name="connsiteX2710" fmla="*/ 1392 w 10577"/>
                  <a:gd name="connsiteY2710" fmla="*/ 8359 h 10000"/>
                  <a:gd name="connsiteX2711" fmla="*/ 1438 w 10577"/>
                  <a:gd name="connsiteY2711" fmla="*/ 8308 h 10000"/>
                  <a:gd name="connsiteX2712" fmla="*/ 1442 w 10577"/>
                  <a:gd name="connsiteY2712" fmla="*/ 8299 h 10000"/>
                  <a:gd name="connsiteX2713" fmla="*/ 1442 w 10577"/>
                  <a:gd name="connsiteY2713" fmla="*/ 8256 h 10000"/>
                  <a:gd name="connsiteX2714" fmla="*/ 1452 w 10577"/>
                  <a:gd name="connsiteY2714" fmla="*/ 8256 h 10000"/>
                  <a:gd name="connsiteX2715" fmla="*/ 1456 w 10577"/>
                  <a:gd name="connsiteY2715" fmla="*/ 8256 h 10000"/>
                  <a:gd name="connsiteX2716" fmla="*/ 1470 w 10577"/>
                  <a:gd name="connsiteY2716" fmla="*/ 8248 h 10000"/>
                  <a:gd name="connsiteX2717" fmla="*/ 1479 w 10577"/>
                  <a:gd name="connsiteY2717" fmla="*/ 8231 h 10000"/>
                  <a:gd name="connsiteX2718" fmla="*/ 1493 w 10577"/>
                  <a:gd name="connsiteY2718" fmla="*/ 8222 h 10000"/>
                  <a:gd name="connsiteX2719" fmla="*/ 1498 w 10577"/>
                  <a:gd name="connsiteY2719" fmla="*/ 8214 h 10000"/>
                  <a:gd name="connsiteX2720" fmla="*/ 1502 w 10577"/>
                  <a:gd name="connsiteY2720" fmla="*/ 8197 h 10000"/>
                  <a:gd name="connsiteX2721" fmla="*/ 1512 w 10577"/>
                  <a:gd name="connsiteY2721" fmla="*/ 8188 h 10000"/>
                  <a:gd name="connsiteX2722" fmla="*/ 1516 w 10577"/>
                  <a:gd name="connsiteY2722" fmla="*/ 8171 h 10000"/>
                  <a:gd name="connsiteX2723" fmla="*/ 1525 w 10577"/>
                  <a:gd name="connsiteY2723" fmla="*/ 8162 h 10000"/>
                  <a:gd name="connsiteX2724" fmla="*/ 1539 w 10577"/>
                  <a:gd name="connsiteY2724" fmla="*/ 8145 h 10000"/>
                  <a:gd name="connsiteX2725" fmla="*/ 1558 w 10577"/>
                  <a:gd name="connsiteY2725" fmla="*/ 8145 h 10000"/>
                  <a:gd name="connsiteX2726" fmla="*/ 1562 w 10577"/>
                  <a:gd name="connsiteY2726" fmla="*/ 8188 h 10000"/>
                  <a:gd name="connsiteX2727" fmla="*/ 1585 w 10577"/>
                  <a:gd name="connsiteY2727" fmla="*/ 8171 h 10000"/>
                  <a:gd name="connsiteX2728" fmla="*/ 1590 w 10577"/>
                  <a:gd name="connsiteY2728" fmla="*/ 8188 h 10000"/>
                  <a:gd name="connsiteX2729" fmla="*/ 1599 w 10577"/>
                  <a:gd name="connsiteY2729" fmla="*/ 8171 h 10000"/>
                  <a:gd name="connsiteX2730" fmla="*/ 1599 w 10577"/>
                  <a:gd name="connsiteY2730" fmla="*/ 8162 h 10000"/>
                  <a:gd name="connsiteX2731" fmla="*/ 1604 w 10577"/>
                  <a:gd name="connsiteY2731" fmla="*/ 8137 h 10000"/>
                  <a:gd name="connsiteX2732" fmla="*/ 1618 w 10577"/>
                  <a:gd name="connsiteY2732" fmla="*/ 8145 h 10000"/>
                  <a:gd name="connsiteX2733" fmla="*/ 1627 w 10577"/>
                  <a:gd name="connsiteY2733" fmla="*/ 8137 h 10000"/>
                  <a:gd name="connsiteX2734" fmla="*/ 1631 w 10577"/>
                  <a:gd name="connsiteY2734" fmla="*/ 8137 h 10000"/>
                  <a:gd name="connsiteX2735" fmla="*/ 1636 w 10577"/>
                  <a:gd name="connsiteY2735" fmla="*/ 8171 h 10000"/>
                  <a:gd name="connsiteX2736" fmla="*/ 1645 w 10577"/>
                  <a:gd name="connsiteY2736" fmla="*/ 8188 h 10000"/>
                  <a:gd name="connsiteX2737" fmla="*/ 1664 w 10577"/>
                  <a:gd name="connsiteY2737" fmla="*/ 8171 h 10000"/>
                  <a:gd name="connsiteX2738" fmla="*/ 1673 w 10577"/>
                  <a:gd name="connsiteY2738" fmla="*/ 8188 h 10000"/>
                  <a:gd name="connsiteX2739" fmla="*/ 1691 w 10577"/>
                  <a:gd name="connsiteY2739" fmla="*/ 8171 h 10000"/>
                  <a:gd name="connsiteX2740" fmla="*/ 1705 w 10577"/>
                  <a:gd name="connsiteY2740" fmla="*/ 8171 h 10000"/>
                  <a:gd name="connsiteX2741" fmla="*/ 1719 w 10577"/>
                  <a:gd name="connsiteY2741" fmla="*/ 8197 h 10000"/>
                  <a:gd name="connsiteX2742" fmla="*/ 1724 w 10577"/>
                  <a:gd name="connsiteY2742" fmla="*/ 8231 h 10000"/>
                  <a:gd name="connsiteX2743" fmla="*/ 1751 w 10577"/>
                  <a:gd name="connsiteY2743" fmla="*/ 8256 h 10000"/>
                  <a:gd name="connsiteX2744" fmla="*/ 1751 w 10577"/>
                  <a:gd name="connsiteY2744" fmla="*/ 8274 h 10000"/>
                  <a:gd name="connsiteX2745" fmla="*/ 1760 w 10577"/>
                  <a:gd name="connsiteY2745" fmla="*/ 8282 h 10000"/>
                  <a:gd name="connsiteX2746" fmla="*/ 1770 w 10577"/>
                  <a:gd name="connsiteY2746" fmla="*/ 8325 h 10000"/>
                  <a:gd name="connsiteX2747" fmla="*/ 1770 w 10577"/>
                  <a:gd name="connsiteY2747" fmla="*/ 8350 h 10000"/>
                  <a:gd name="connsiteX2748" fmla="*/ 1779 w 10577"/>
                  <a:gd name="connsiteY2748" fmla="*/ 8368 h 10000"/>
                  <a:gd name="connsiteX2749" fmla="*/ 1783 w 10577"/>
                  <a:gd name="connsiteY2749" fmla="*/ 8359 h 10000"/>
                  <a:gd name="connsiteX2750" fmla="*/ 1783 w 10577"/>
                  <a:gd name="connsiteY2750" fmla="*/ 8308 h 10000"/>
                  <a:gd name="connsiteX2751" fmla="*/ 1779 w 10577"/>
                  <a:gd name="connsiteY2751" fmla="*/ 8299 h 10000"/>
                  <a:gd name="connsiteX2752" fmla="*/ 1783 w 10577"/>
                  <a:gd name="connsiteY2752" fmla="*/ 8282 h 10000"/>
                  <a:gd name="connsiteX2753" fmla="*/ 1797 w 10577"/>
                  <a:gd name="connsiteY2753" fmla="*/ 8274 h 10000"/>
                  <a:gd name="connsiteX2754" fmla="*/ 1797 w 10577"/>
                  <a:gd name="connsiteY2754" fmla="*/ 8299 h 10000"/>
                  <a:gd name="connsiteX2755" fmla="*/ 1806 w 10577"/>
                  <a:gd name="connsiteY2755" fmla="*/ 8308 h 10000"/>
                  <a:gd name="connsiteX2756" fmla="*/ 1811 w 10577"/>
                  <a:gd name="connsiteY2756" fmla="*/ 8325 h 10000"/>
                  <a:gd name="connsiteX2757" fmla="*/ 1820 w 10577"/>
                  <a:gd name="connsiteY2757" fmla="*/ 8333 h 10000"/>
                  <a:gd name="connsiteX2758" fmla="*/ 1853 w 10577"/>
                  <a:gd name="connsiteY2758" fmla="*/ 8359 h 10000"/>
                  <a:gd name="connsiteX2759" fmla="*/ 1866 w 10577"/>
                  <a:gd name="connsiteY2759" fmla="*/ 8359 h 10000"/>
                  <a:gd name="connsiteX2760" fmla="*/ 1885 w 10577"/>
                  <a:gd name="connsiteY2760" fmla="*/ 8325 h 10000"/>
                  <a:gd name="connsiteX2761" fmla="*/ 1885 w 10577"/>
                  <a:gd name="connsiteY2761" fmla="*/ 8308 h 10000"/>
                  <a:gd name="connsiteX2762" fmla="*/ 1894 w 10577"/>
                  <a:gd name="connsiteY2762" fmla="*/ 8299 h 10000"/>
                  <a:gd name="connsiteX2763" fmla="*/ 1899 w 10577"/>
                  <a:gd name="connsiteY2763" fmla="*/ 8282 h 10000"/>
                  <a:gd name="connsiteX2764" fmla="*/ 1912 w 10577"/>
                  <a:gd name="connsiteY2764" fmla="*/ 8282 h 10000"/>
                  <a:gd name="connsiteX2765" fmla="*/ 1917 w 10577"/>
                  <a:gd name="connsiteY2765" fmla="*/ 8299 h 10000"/>
                  <a:gd name="connsiteX2766" fmla="*/ 1917 w 10577"/>
                  <a:gd name="connsiteY2766" fmla="*/ 8274 h 10000"/>
                  <a:gd name="connsiteX2767" fmla="*/ 1940 w 10577"/>
                  <a:gd name="connsiteY2767" fmla="*/ 8282 h 10000"/>
                  <a:gd name="connsiteX2768" fmla="*/ 1945 w 10577"/>
                  <a:gd name="connsiteY2768" fmla="*/ 8274 h 10000"/>
                  <a:gd name="connsiteX2769" fmla="*/ 1972 w 10577"/>
                  <a:gd name="connsiteY2769" fmla="*/ 8308 h 10000"/>
                  <a:gd name="connsiteX2770" fmla="*/ 1986 w 10577"/>
                  <a:gd name="connsiteY2770" fmla="*/ 8282 h 10000"/>
                  <a:gd name="connsiteX2771" fmla="*/ 1991 w 10577"/>
                  <a:gd name="connsiteY2771" fmla="*/ 8274 h 10000"/>
                  <a:gd name="connsiteX2772" fmla="*/ 2014 w 10577"/>
                  <a:gd name="connsiteY2772" fmla="*/ 8274 h 10000"/>
                  <a:gd name="connsiteX2773" fmla="*/ 2018 w 10577"/>
                  <a:gd name="connsiteY2773" fmla="*/ 8256 h 10000"/>
                  <a:gd name="connsiteX2774" fmla="*/ 2041 w 10577"/>
                  <a:gd name="connsiteY2774" fmla="*/ 8274 h 10000"/>
                  <a:gd name="connsiteX2775" fmla="*/ 2046 w 10577"/>
                  <a:gd name="connsiteY2775" fmla="*/ 8282 h 10000"/>
                  <a:gd name="connsiteX2776" fmla="*/ 2046 w 10577"/>
                  <a:gd name="connsiteY2776" fmla="*/ 8325 h 10000"/>
                  <a:gd name="connsiteX2777" fmla="*/ 2060 w 10577"/>
                  <a:gd name="connsiteY2777" fmla="*/ 8350 h 10000"/>
                  <a:gd name="connsiteX2778" fmla="*/ 2078 w 10577"/>
                  <a:gd name="connsiteY2778" fmla="*/ 8350 h 10000"/>
                  <a:gd name="connsiteX2779" fmla="*/ 2092 w 10577"/>
                  <a:gd name="connsiteY2779" fmla="*/ 8350 h 10000"/>
                  <a:gd name="connsiteX2780" fmla="*/ 2092 w 10577"/>
                  <a:gd name="connsiteY2780" fmla="*/ 8350 h 10000"/>
                  <a:gd name="connsiteX2781" fmla="*/ 2101 w 10577"/>
                  <a:gd name="connsiteY2781" fmla="*/ 8368 h 10000"/>
                  <a:gd name="connsiteX2782" fmla="*/ 2120 w 10577"/>
                  <a:gd name="connsiteY2782" fmla="*/ 8368 h 10000"/>
                  <a:gd name="connsiteX2783" fmla="*/ 2124 w 10577"/>
                  <a:gd name="connsiteY2783" fmla="*/ 8359 h 10000"/>
                  <a:gd name="connsiteX2784" fmla="*/ 2138 w 10577"/>
                  <a:gd name="connsiteY2784" fmla="*/ 8325 h 10000"/>
                  <a:gd name="connsiteX2785" fmla="*/ 2147 w 10577"/>
                  <a:gd name="connsiteY2785" fmla="*/ 8325 h 10000"/>
                  <a:gd name="connsiteX2786" fmla="*/ 2161 w 10577"/>
                  <a:gd name="connsiteY2786" fmla="*/ 8350 h 10000"/>
                  <a:gd name="connsiteX2787" fmla="*/ 2198 w 10577"/>
                  <a:gd name="connsiteY2787" fmla="*/ 8350 h 10000"/>
                  <a:gd name="connsiteX2788" fmla="*/ 2207 w 10577"/>
                  <a:gd name="connsiteY2788" fmla="*/ 8333 h 10000"/>
                  <a:gd name="connsiteX2789" fmla="*/ 2226 w 10577"/>
                  <a:gd name="connsiteY2789" fmla="*/ 8325 h 10000"/>
                  <a:gd name="connsiteX2790" fmla="*/ 2249 w 10577"/>
                  <a:gd name="connsiteY2790" fmla="*/ 8222 h 10000"/>
                  <a:gd name="connsiteX2791" fmla="*/ 2235 w 10577"/>
                  <a:gd name="connsiteY2791" fmla="*/ 8197 h 10000"/>
                  <a:gd name="connsiteX2792" fmla="*/ 2198 w 10577"/>
                  <a:gd name="connsiteY2792" fmla="*/ 8197 h 10000"/>
                  <a:gd name="connsiteX2793" fmla="*/ 2189 w 10577"/>
                  <a:gd name="connsiteY2793" fmla="*/ 8171 h 10000"/>
                  <a:gd name="connsiteX2794" fmla="*/ 2161 w 10577"/>
                  <a:gd name="connsiteY2794" fmla="*/ 8145 h 10000"/>
                  <a:gd name="connsiteX2795" fmla="*/ 2161 w 10577"/>
                  <a:gd name="connsiteY2795" fmla="*/ 8137 h 10000"/>
                  <a:gd name="connsiteX2796" fmla="*/ 2152 w 10577"/>
                  <a:gd name="connsiteY2796" fmla="*/ 8120 h 10000"/>
                  <a:gd name="connsiteX2797" fmla="*/ 2138 w 10577"/>
                  <a:gd name="connsiteY2797" fmla="*/ 8111 h 10000"/>
                  <a:gd name="connsiteX2798" fmla="*/ 2138 w 10577"/>
                  <a:gd name="connsiteY2798" fmla="*/ 8094 h 10000"/>
                  <a:gd name="connsiteX2799" fmla="*/ 2147 w 10577"/>
                  <a:gd name="connsiteY2799" fmla="*/ 8085 h 10000"/>
                  <a:gd name="connsiteX2800" fmla="*/ 2161 w 10577"/>
                  <a:gd name="connsiteY2800" fmla="*/ 8060 h 10000"/>
                  <a:gd name="connsiteX2801" fmla="*/ 2198 w 10577"/>
                  <a:gd name="connsiteY2801" fmla="*/ 8034 h 10000"/>
                  <a:gd name="connsiteX2802" fmla="*/ 2198 w 10577"/>
                  <a:gd name="connsiteY2802" fmla="*/ 8026 h 10000"/>
                  <a:gd name="connsiteX2803" fmla="*/ 2198 w 10577"/>
                  <a:gd name="connsiteY2803" fmla="*/ 8000 h 10000"/>
                  <a:gd name="connsiteX2804" fmla="*/ 2180 w 10577"/>
                  <a:gd name="connsiteY2804" fmla="*/ 7940 h 10000"/>
                  <a:gd name="connsiteX2805" fmla="*/ 2189 w 10577"/>
                  <a:gd name="connsiteY2805" fmla="*/ 7940 h 10000"/>
                  <a:gd name="connsiteX2806" fmla="*/ 2198 w 10577"/>
                  <a:gd name="connsiteY2806" fmla="*/ 7923 h 10000"/>
                  <a:gd name="connsiteX2807" fmla="*/ 2198 w 10577"/>
                  <a:gd name="connsiteY2807" fmla="*/ 7897 h 10000"/>
                  <a:gd name="connsiteX2808" fmla="*/ 2207 w 10577"/>
                  <a:gd name="connsiteY2808" fmla="*/ 7889 h 10000"/>
                  <a:gd name="connsiteX2809" fmla="*/ 2221 w 10577"/>
                  <a:gd name="connsiteY2809" fmla="*/ 7889 h 10000"/>
                  <a:gd name="connsiteX2810" fmla="*/ 2226 w 10577"/>
                  <a:gd name="connsiteY2810" fmla="*/ 7897 h 10000"/>
                  <a:gd name="connsiteX2811" fmla="*/ 2235 w 10577"/>
                  <a:gd name="connsiteY2811" fmla="*/ 7889 h 10000"/>
                  <a:gd name="connsiteX2812" fmla="*/ 2249 w 10577"/>
                  <a:gd name="connsiteY2812" fmla="*/ 7897 h 10000"/>
                  <a:gd name="connsiteX2813" fmla="*/ 2267 w 10577"/>
                  <a:gd name="connsiteY2813" fmla="*/ 7897 h 10000"/>
                  <a:gd name="connsiteX2814" fmla="*/ 2272 w 10577"/>
                  <a:gd name="connsiteY2814" fmla="*/ 7889 h 10000"/>
                  <a:gd name="connsiteX2815" fmla="*/ 2281 w 10577"/>
                  <a:gd name="connsiteY2815" fmla="*/ 7872 h 10000"/>
                  <a:gd name="connsiteX2816" fmla="*/ 2272 w 10577"/>
                  <a:gd name="connsiteY2816" fmla="*/ 7846 h 10000"/>
                  <a:gd name="connsiteX2817" fmla="*/ 2253 w 10577"/>
                  <a:gd name="connsiteY2817" fmla="*/ 7838 h 10000"/>
                  <a:gd name="connsiteX2818" fmla="*/ 2221 w 10577"/>
                  <a:gd name="connsiteY2818" fmla="*/ 7821 h 10000"/>
                  <a:gd name="connsiteX2819" fmla="*/ 2212 w 10577"/>
                  <a:gd name="connsiteY2819" fmla="*/ 7812 h 10000"/>
                  <a:gd name="connsiteX2820" fmla="*/ 2212 w 10577"/>
                  <a:gd name="connsiteY2820" fmla="*/ 7803 h 10000"/>
                  <a:gd name="connsiteX2821" fmla="*/ 2221 w 10577"/>
                  <a:gd name="connsiteY2821" fmla="*/ 7803 h 10000"/>
                  <a:gd name="connsiteX2822" fmla="*/ 2235 w 10577"/>
                  <a:gd name="connsiteY2822" fmla="*/ 7786 h 10000"/>
                  <a:gd name="connsiteX2823" fmla="*/ 2240 w 10577"/>
                  <a:gd name="connsiteY2823" fmla="*/ 7778 h 10000"/>
                  <a:gd name="connsiteX2824" fmla="*/ 2226 w 10577"/>
                  <a:gd name="connsiteY2824" fmla="*/ 7761 h 10000"/>
                  <a:gd name="connsiteX2825" fmla="*/ 2221 w 10577"/>
                  <a:gd name="connsiteY2825" fmla="*/ 7778 h 10000"/>
                  <a:gd name="connsiteX2826" fmla="*/ 2198 w 10577"/>
                  <a:gd name="connsiteY2826" fmla="*/ 7778 h 10000"/>
                  <a:gd name="connsiteX2827" fmla="*/ 2198 w 10577"/>
                  <a:gd name="connsiteY2827" fmla="*/ 7752 h 10000"/>
                  <a:gd name="connsiteX2828" fmla="*/ 2207 w 10577"/>
                  <a:gd name="connsiteY2828" fmla="*/ 7735 h 10000"/>
                  <a:gd name="connsiteX2829" fmla="*/ 2212 w 10577"/>
                  <a:gd name="connsiteY2829" fmla="*/ 7726 h 10000"/>
                  <a:gd name="connsiteX2830" fmla="*/ 2198 w 10577"/>
                  <a:gd name="connsiteY2830" fmla="*/ 7692 h 10000"/>
                  <a:gd name="connsiteX2831" fmla="*/ 2221 w 10577"/>
                  <a:gd name="connsiteY2831" fmla="*/ 7692 h 10000"/>
                  <a:gd name="connsiteX2832" fmla="*/ 2221 w 10577"/>
                  <a:gd name="connsiteY2832" fmla="*/ 7675 h 10000"/>
                  <a:gd name="connsiteX2833" fmla="*/ 2235 w 10577"/>
                  <a:gd name="connsiteY2833" fmla="*/ 7675 h 10000"/>
                  <a:gd name="connsiteX2834" fmla="*/ 2240 w 10577"/>
                  <a:gd name="connsiteY2834" fmla="*/ 7692 h 10000"/>
                  <a:gd name="connsiteX2835" fmla="*/ 2249 w 10577"/>
                  <a:gd name="connsiteY2835" fmla="*/ 7692 h 10000"/>
                  <a:gd name="connsiteX2836" fmla="*/ 2258 w 10577"/>
                  <a:gd name="connsiteY2836" fmla="*/ 7692 h 10000"/>
                  <a:gd name="connsiteX2837" fmla="*/ 2267 w 10577"/>
                  <a:gd name="connsiteY2837" fmla="*/ 7692 h 10000"/>
                  <a:gd name="connsiteX2838" fmla="*/ 2295 w 10577"/>
                  <a:gd name="connsiteY2838" fmla="*/ 7692 h 10000"/>
                  <a:gd name="connsiteX2839" fmla="*/ 2300 w 10577"/>
                  <a:gd name="connsiteY2839" fmla="*/ 7701 h 10000"/>
                  <a:gd name="connsiteX2840" fmla="*/ 2313 w 10577"/>
                  <a:gd name="connsiteY2840" fmla="*/ 7675 h 10000"/>
                  <a:gd name="connsiteX2841" fmla="*/ 2323 w 10577"/>
                  <a:gd name="connsiteY2841" fmla="*/ 7675 h 10000"/>
                  <a:gd name="connsiteX2842" fmla="*/ 2341 w 10577"/>
                  <a:gd name="connsiteY2842" fmla="*/ 7675 h 10000"/>
                  <a:gd name="connsiteX2843" fmla="*/ 2346 w 10577"/>
                  <a:gd name="connsiteY2843" fmla="*/ 7667 h 10000"/>
                  <a:gd name="connsiteX2844" fmla="*/ 2359 w 10577"/>
                  <a:gd name="connsiteY2844" fmla="*/ 7650 h 10000"/>
                  <a:gd name="connsiteX2845" fmla="*/ 2373 w 10577"/>
                  <a:gd name="connsiteY2845" fmla="*/ 7624 h 10000"/>
                  <a:gd name="connsiteX2846" fmla="*/ 2382 w 10577"/>
                  <a:gd name="connsiteY2846" fmla="*/ 7641 h 10000"/>
                  <a:gd name="connsiteX2847" fmla="*/ 2396 w 10577"/>
                  <a:gd name="connsiteY2847" fmla="*/ 7650 h 10000"/>
                  <a:gd name="connsiteX2848" fmla="*/ 2401 w 10577"/>
                  <a:gd name="connsiteY2848" fmla="*/ 7650 h 10000"/>
                  <a:gd name="connsiteX2849" fmla="*/ 2401 w 10577"/>
                  <a:gd name="connsiteY2849" fmla="*/ 7624 h 10000"/>
                  <a:gd name="connsiteX2850" fmla="*/ 2419 w 10577"/>
                  <a:gd name="connsiteY2850" fmla="*/ 7624 h 10000"/>
                  <a:gd name="connsiteX2851" fmla="*/ 2433 w 10577"/>
                  <a:gd name="connsiteY2851" fmla="*/ 7615 h 10000"/>
                  <a:gd name="connsiteX2852" fmla="*/ 2442 w 10577"/>
                  <a:gd name="connsiteY2852" fmla="*/ 7615 h 10000"/>
                  <a:gd name="connsiteX2853" fmla="*/ 2447 w 10577"/>
                  <a:gd name="connsiteY2853" fmla="*/ 7598 h 10000"/>
                  <a:gd name="connsiteX2854" fmla="*/ 2461 w 10577"/>
                  <a:gd name="connsiteY2854" fmla="*/ 7598 h 10000"/>
                  <a:gd name="connsiteX2855" fmla="*/ 2465 w 10577"/>
                  <a:gd name="connsiteY2855" fmla="*/ 7615 h 10000"/>
                  <a:gd name="connsiteX2856" fmla="*/ 2479 w 10577"/>
                  <a:gd name="connsiteY2856" fmla="*/ 7564 h 10000"/>
                  <a:gd name="connsiteX2857" fmla="*/ 2488 w 10577"/>
                  <a:gd name="connsiteY2857" fmla="*/ 7556 h 10000"/>
                  <a:gd name="connsiteX2858" fmla="*/ 2493 w 10577"/>
                  <a:gd name="connsiteY2858" fmla="*/ 7556 h 10000"/>
                  <a:gd name="connsiteX2859" fmla="*/ 2507 w 10577"/>
                  <a:gd name="connsiteY2859" fmla="*/ 7556 h 10000"/>
                  <a:gd name="connsiteX2860" fmla="*/ 2530 w 10577"/>
                  <a:gd name="connsiteY2860" fmla="*/ 7538 h 10000"/>
                  <a:gd name="connsiteX2861" fmla="*/ 2530 w 10577"/>
                  <a:gd name="connsiteY2861" fmla="*/ 7556 h 10000"/>
                  <a:gd name="connsiteX2862" fmla="*/ 2641 w 10577"/>
                  <a:gd name="connsiteY2862" fmla="*/ 7504 h 10000"/>
                  <a:gd name="connsiteX2863" fmla="*/ 2654 w 10577"/>
                  <a:gd name="connsiteY2863" fmla="*/ 7487 h 10000"/>
                  <a:gd name="connsiteX2864" fmla="*/ 2664 w 10577"/>
                  <a:gd name="connsiteY2864" fmla="*/ 7487 h 10000"/>
                  <a:gd name="connsiteX2865" fmla="*/ 2668 w 10577"/>
                  <a:gd name="connsiteY2865" fmla="*/ 7479 h 10000"/>
                  <a:gd name="connsiteX2866" fmla="*/ 2673 w 10577"/>
                  <a:gd name="connsiteY2866" fmla="*/ 7462 h 10000"/>
                  <a:gd name="connsiteX2867" fmla="*/ 2673 w 10577"/>
                  <a:gd name="connsiteY2867" fmla="*/ 7427 h 10000"/>
                  <a:gd name="connsiteX2868" fmla="*/ 2687 w 10577"/>
                  <a:gd name="connsiteY2868" fmla="*/ 7436 h 10000"/>
                  <a:gd name="connsiteX2869" fmla="*/ 2696 w 10577"/>
                  <a:gd name="connsiteY2869" fmla="*/ 7427 h 10000"/>
                  <a:gd name="connsiteX2870" fmla="*/ 2700 w 10577"/>
                  <a:gd name="connsiteY2870" fmla="*/ 7419 h 10000"/>
                  <a:gd name="connsiteX2871" fmla="*/ 2710 w 10577"/>
                  <a:gd name="connsiteY2871" fmla="*/ 7402 h 10000"/>
                  <a:gd name="connsiteX2872" fmla="*/ 2724 w 10577"/>
                  <a:gd name="connsiteY2872" fmla="*/ 7402 h 10000"/>
                  <a:gd name="connsiteX2873" fmla="*/ 2724 w 10577"/>
                  <a:gd name="connsiteY2873" fmla="*/ 7393 h 10000"/>
                  <a:gd name="connsiteX2874" fmla="*/ 2737 w 10577"/>
                  <a:gd name="connsiteY2874" fmla="*/ 7393 h 10000"/>
                  <a:gd name="connsiteX2875" fmla="*/ 2742 w 10577"/>
                  <a:gd name="connsiteY2875" fmla="*/ 7402 h 10000"/>
                  <a:gd name="connsiteX2876" fmla="*/ 2747 w 10577"/>
                  <a:gd name="connsiteY2876" fmla="*/ 7402 h 10000"/>
                  <a:gd name="connsiteX2877" fmla="*/ 2760 w 10577"/>
                  <a:gd name="connsiteY2877" fmla="*/ 7402 h 10000"/>
                  <a:gd name="connsiteX2878" fmla="*/ 2770 w 10577"/>
                  <a:gd name="connsiteY2878" fmla="*/ 7402 h 10000"/>
                  <a:gd name="connsiteX2879" fmla="*/ 2774 w 10577"/>
                  <a:gd name="connsiteY2879" fmla="*/ 7402 h 10000"/>
                  <a:gd name="connsiteX2880" fmla="*/ 2783 w 10577"/>
                  <a:gd name="connsiteY2880" fmla="*/ 7419 h 10000"/>
                  <a:gd name="connsiteX2881" fmla="*/ 2802 w 10577"/>
                  <a:gd name="connsiteY2881" fmla="*/ 7436 h 10000"/>
                  <a:gd name="connsiteX2882" fmla="*/ 2816 w 10577"/>
                  <a:gd name="connsiteY2882" fmla="*/ 7419 h 10000"/>
                  <a:gd name="connsiteX2883" fmla="*/ 2834 w 10577"/>
                  <a:gd name="connsiteY2883" fmla="*/ 7419 h 10000"/>
                  <a:gd name="connsiteX2884" fmla="*/ 2843 w 10577"/>
                  <a:gd name="connsiteY2884" fmla="*/ 7419 h 10000"/>
                  <a:gd name="connsiteX2885" fmla="*/ 2848 w 10577"/>
                  <a:gd name="connsiteY2885" fmla="*/ 7436 h 10000"/>
                  <a:gd name="connsiteX2886" fmla="*/ 2857 w 10577"/>
                  <a:gd name="connsiteY2886" fmla="*/ 7453 h 10000"/>
                  <a:gd name="connsiteX2887" fmla="*/ 2857 w 10577"/>
                  <a:gd name="connsiteY2887" fmla="*/ 7504 h 10000"/>
                  <a:gd name="connsiteX2888" fmla="*/ 2862 w 10577"/>
                  <a:gd name="connsiteY2888" fmla="*/ 7530 h 10000"/>
                  <a:gd name="connsiteX2889" fmla="*/ 2876 w 10577"/>
                  <a:gd name="connsiteY2889" fmla="*/ 7538 h 10000"/>
                  <a:gd name="connsiteX2890" fmla="*/ 2871 w 10577"/>
                  <a:gd name="connsiteY2890" fmla="*/ 7564 h 10000"/>
                  <a:gd name="connsiteX2891" fmla="*/ 2871 w 10577"/>
                  <a:gd name="connsiteY2891" fmla="*/ 7598 h 10000"/>
                  <a:gd name="connsiteX2892" fmla="*/ 2857 w 10577"/>
                  <a:gd name="connsiteY2892" fmla="*/ 7624 h 10000"/>
                  <a:gd name="connsiteX2893" fmla="*/ 2862 w 10577"/>
                  <a:gd name="connsiteY2893" fmla="*/ 7641 h 10000"/>
                  <a:gd name="connsiteX2894" fmla="*/ 2871 w 10577"/>
                  <a:gd name="connsiteY2894" fmla="*/ 7667 h 10000"/>
                  <a:gd name="connsiteX2895" fmla="*/ 2880 w 10577"/>
                  <a:gd name="connsiteY2895" fmla="*/ 7650 h 10000"/>
                  <a:gd name="connsiteX2896" fmla="*/ 2894 w 10577"/>
                  <a:gd name="connsiteY2896" fmla="*/ 7667 h 10000"/>
                  <a:gd name="connsiteX2897" fmla="*/ 2903 w 10577"/>
                  <a:gd name="connsiteY2897" fmla="*/ 7667 h 10000"/>
                  <a:gd name="connsiteX2898" fmla="*/ 2908 w 10577"/>
                  <a:gd name="connsiteY2898" fmla="*/ 7641 h 10000"/>
                  <a:gd name="connsiteX2899" fmla="*/ 2917 w 10577"/>
                  <a:gd name="connsiteY2899" fmla="*/ 7641 h 10000"/>
                  <a:gd name="connsiteX2900" fmla="*/ 2922 w 10577"/>
                  <a:gd name="connsiteY2900" fmla="*/ 7641 h 10000"/>
                  <a:gd name="connsiteX2901" fmla="*/ 2931 w 10577"/>
                  <a:gd name="connsiteY2901" fmla="*/ 7615 h 10000"/>
                  <a:gd name="connsiteX2902" fmla="*/ 2935 w 10577"/>
                  <a:gd name="connsiteY2902" fmla="*/ 7615 h 10000"/>
                  <a:gd name="connsiteX2903" fmla="*/ 2945 w 10577"/>
                  <a:gd name="connsiteY2903" fmla="*/ 7650 h 10000"/>
                  <a:gd name="connsiteX2904" fmla="*/ 2949 w 10577"/>
                  <a:gd name="connsiteY2904" fmla="*/ 7667 h 10000"/>
                  <a:gd name="connsiteX2905" fmla="*/ 2949 w 10577"/>
                  <a:gd name="connsiteY2905" fmla="*/ 7675 h 10000"/>
                  <a:gd name="connsiteX2906" fmla="*/ 2945 w 10577"/>
                  <a:gd name="connsiteY2906" fmla="*/ 7692 h 10000"/>
                  <a:gd name="connsiteX2907" fmla="*/ 2963 w 10577"/>
                  <a:gd name="connsiteY2907" fmla="*/ 7701 h 10000"/>
                  <a:gd name="connsiteX2908" fmla="*/ 2963 w 10577"/>
                  <a:gd name="connsiteY2908" fmla="*/ 7675 h 10000"/>
                  <a:gd name="connsiteX2909" fmla="*/ 2954 w 10577"/>
                  <a:gd name="connsiteY2909" fmla="*/ 7667 h 10000"/>
                  <a:gd name="connsiteX2910" fmla="*/ 2963 w 10577"/>
                  <a:gd name="connsiteY2910" fmla="*/ 7667 h 10000"/>
                  <a:gd name="connsiteX2911" fmla="*/ 2982 w 10577"/>
                  <a:gd name="connsiteY2911" fmla="*/ 7667 h 10000"/>
                  <a:gd name="connsiteX2912" fmla="*/ 2991 w 10577"/>
                  <a:gd name="connsiteY2912" fmla="*/ 7675 h 10000"/>
                  <a:gd name="connsiteX2913" fmla="*/ 2995 w 10577"/>
                  <a:gd name="connsiteY2913" fmla="*/ 7692 h 10000"/>
                  <a:gd name="connsiteX2914" fmla="*/ 3009 w 10577"/>
                  <a:gd name="connsiteY2914" fmla="*/ 7701 h 10000"/>
                  <a:gd name="connsiteX2915" fmla="*/ 3018 w 10577"/>
                  <a:gd name="connsiteY2915" fmla="*/ 7701 h 10000"/>
                  <a:gd name="connsiteX2916" fmla="*/ 3023 w 10577"/>
                  <a:gd name="connsiteY2916" fmla="*/ 7692 h 10000"/>
                  <a:gd name="connsiteX2917" fmla="*/ 3028 w 10577"/>
                  <a:gd name="connsiteY2917" fmla="*/ 7675 h 10000"/>
                  <a:gd name="connsiteX2918" fmla="*/ 3037 w 10577"/>
                  <a:gd name="connsiteY2918" fmla="*/ 7692 h 10000"/>
                  <a:gd name="connsiteX2919" fmla="*/ 3028 w 10577"/>
                  <a:gd name="connsiteY2919" fmla="*/ 7709 h 10000"/>
                  <a:gd name="connsiteX2920" fmla="*/ 3023 w 10577"/>
                  <a:gd name="connsiteY2920" fmla="*/ 7709 h 10000"/>
                  <a:gd name="connsiteX2921" fmla="*/ 3018 w 10577"/>
                  <a:gd name="connsiteY2921" fmla="*/ 7726 h 10000"/>
                  <a:gd name="connsiteX2922" fmla="*/ 3009 w 10577"/>
                  <a:gd name="connsiteY2922" fmla="*/ 7735 h 10000"/>
                  <a:gd name="connsiteX2923" fmla="*/ 3009 w 10577"/>
                  <a:gd name="connsiteY2923" fmla="*/ 7761 h 10000"/>
                  <a:gd name="connsiteX2924" fmla="*/ 3009 w 10577"/>
                  <a:gd name="connsiteY2924" fmla="*/ 7778 h 10000"/>
                  <a:gd name="connsiteX2925" fmla="*/ 3018 w 10577"/>
                  <a:gd name="connsiteY2925" fmla="*/ 7786 h 10000"/>
                  <a:gd name="connsiteX2926" fmla="*/ 3023 w 10577"/>
                  <a:gd name="connsiteY2926" fmla="*/ 7786 h 10000"/>
                  <a:gd name="connsiteX2927" fmla="*/ 3028 w 10577"/>
                  <a:gd name="connsiteY2927" fmla="*/ 7778 h 10000"/>
                  <a:gd name="connsiteX2928" fmla="*/ 3051 w 10577"/>
                  <a:gd name="connsiteY2928" fmla="*/ 7761 h 10000"/>
                  <a:gd name="connsiteX2929" fmla="*/ 3055 w 10577"/>
                  <a:gd name="connsiteY2929" fmla="*/ 7778 h 10000"/>
                  <a:gd name="connsiteX2930" fmla="*/ 3065 w 10577"/>
                  <a:gd name="connsiteY2930" fmla="*/ 7761 h 10000"/>
                  <a:gd name="connsiteX2931" fmla="*/ 3069 w 10577"/>
                  <a:gd name="connsiteY2931" fmla="*/ 7786 h 10000"/>
                  <a:gd name="connsiteX2932" fmla="*/ 3083 w 10577"/>
                  <a:gd name="connsiteY2932" fmla="*/ 7786 h 10000"/>
                  <a:gd name="connsiteX2933" fmla="*/ 3078 w 10577"/>
                  <a:gd name="connsiteY2933" fmla="*/ 7761 h 10000"/>
                  <a:gd name="connsiteX2934" fmla="*/ 3083 w 10577"/>
                  <a:gd name="connsiteY2934" fmla="*/ 7752 h 10000"/>
                  <a:gd name="connsiteX2935" fmla="*/ 3097 w 10577"/>
                  <a:gd name="connsiteY2935" fmla="*/ 7752 h 10000"/>
                  <a:gd name="connsiteX2936" fmla="*/ 3111 w 10577"/>
                  <a:gd name="connsiteY2936" fmla="*/ 7726 h 10000"/>
                  <a:gd name="connsiteX2937" fmla="*/ 3124 w 10577"/>
                  <a:gd name="connsiteY2937" fmla="*/ 7709 h 10000"/>
                  <a:gd name="connsiteX2938" fmla="*/ 3143 w 10577"/>
                  <a:gd name="connsiteY2938" fmla="*/ 7692 h 10000"/>
                  <a:gd name="connsiteX2939" fmla="*/ 3152 w 10577"/>
                  <a:gd name="connsiteY2939" fmla="*/ 7667 h 10000"/>
                  <a:gd name="connsiteX2940" fmla="*/ 3157 w 10577"/>
                  <a:gd name="connsiteY2940" fmla="*/ 7650 h 10000"/>
                  <a:gd name="connsiteX2941" fmla="*/ 3161 w 10577"/>
                  <a:gd name="connsiteY2941" fmla="*/ 7650 h 10000"/>
                  <a:gd name="connsiteX2942" fmla="*/ 3189 w 10577"/>
                  <a:gd name="connsiteY2942" fmla="*/ 7641 h 10000"/>
                  <a:gd name="connsiteX2943" fmla="*/ 3198 w 10577"/>
                  <a:gd name="connsiteY2943" fmla="*/ 7624 h 10000"/>
                  <a:gd name="connsiteX2944" fmla="*/ 3217 w 10577"/>
                  <a:gd name="connsiteY2944" fmla="*/ 7615 h 10000"/>
                  <a:gd name="connsiteX2945" fmla="*/ 3235 w 10577"/>
                  <a:gd name="connsiteY2945" fmla="*/ 7598 h 10000"/>
                  <a:gd name="connsiteX2946" fmla="*/ 3235 w 10577"/>
                  <a:gd name="connsiteY2946" fmla="*/ 7615 h 10000"/>
                  <a:gd name="connsiteX2947" fmla="*/ 3235 w 10577"/>
                  <a:gd name="connsiteY2947" fmla="*/ 7641 h 10000"/>
                  <a:gd name="connsiteX2948" fmla="*/ 3235 w 10577"/>
                  <a:gd name="connsiteY2948" fmla="*/ 7650 h 10000"/>
                  <a:gd name="connsiteX2949" fmla="*/ 3226 w 10577"/>
                  <a:gd name="connsiteY2949" fmla="*/ 7650 h 10000"/>
                  <a:gd name="connsiteX2950" fmla="*/ 3217 w 10577"/>
                  <a:gd name="connsiteY2950" fmla="*/ 7650 h 10000"/>
                  <a:gd name="connsiteX2951" fmla="*/ 3212 w 10577"/>
                  <a:gd name="connsiteY2951" fmla="*/ 7675 h 10000"/>
                  <a:gd name="connsiteX2952" fmla="*/ 3212 w 10577"/>
                  <a:gd name="connsiteY2952" fmla="*/ 7675 h 10000"/>
                  <a:gd name="connsiteX0" fmla="*/ 3212 w 10577"/>
                  <a:gd name="connsiteY0" fmla="*/ 7675 h 10000"/>
                  <a:gd name="connsiteX1" fmla="*/ 3217 w 10577"/>
                  <a:gd name="connsiteY1" fmla="*/ 7692 h 10000"/>
                  <a:gd name="connsiteX2" fmla="*/ 3226 w 10577"/>
                  <a:gd name="connsiteY2" fmla="*/ 7692 h 10000"/>
                  <a:gd name="connsiteX3" fmla="*/ 3309 w 10577"/>
                  <a:gd name="connsiteY3" fmla="*/ 7838 h 10000"/>
                  <a:gd name="connsiteX4" fmla="*/ 3452 w 10577"/>
                  <a:gd name="connsiteY4" fmla="*/ 8325 h 10000"/>
                  <a:gd name="connsiteX5" fmla="*/ 3470 w 10577"/>
                  <a:gd name="connsiteY5" fmla="*/ 8299 h 10000"/>
                  <a:gd name="connsiteX6" fmla="*/ 3470 w 10577"/>
                  <a:gd name="connsiteY6" fmla="*/ 8282 h 10000"/>
                  <a:gd name="connsiteX7" fmla="*/ 3470 w 10577"/>
                  <a:gd name="connsiteY7" fmla="*/ 8274 h 10000"/>
                  <a:gd name="connsiteX8" fmla="*/ 3484 w 10577"/>
                  <a:gd name="connsiteY8" fmla="*/ 8231 h 10000"/>
                  <a:gd name="connsiteX9" fmla="*/ 3498 w 10577"/>
                  <a:gd name="connsiteY9" fmla="*/ 8231 h 10000"/>
                  <a:gd name="connsiteX10" fmla="*/ 3498 w 10577"/>
                  <a:gd name="connsiteY10" fmla="*/ 8248 h 10000"/>
                  <a:gd name="connsiteX11" fmla="*/ 3512 w 10577"/>
                  <a:gd name="connsiteY11" fmla="*/ 8256 h 10000"/>
                  <a:gd name="connsiteX12" fmla="*/ 3525 w 10577"/>
                  <a:gd name="connsiteY12" fmla="*/ 8274 h 10000"/>
                  <a:gd name="connsiteX13" fmla="*/ 3525 w 10577"/>
                  <a:gd name="connsiteY13" fmla="*/ 8282 h 10000"/>
                  <a:gd name="connsiteX14" fmla="*/ 3525 w 10577"/>
                  <a:gd name="connsiteY14" fmla="*/ 8308 h 10000"/>
                  <a:gd name="connsiteX15" fmla="*/ 3530 w 10577"/>
                  <a:gd name="connsiteY15" fmla="*/ 8308 h 10000"/>
                  <a:gd name="connsiteX16" fmla="*/ 3539 w 10577"/>
                  <a:gd name="connsiteY16" fmla="*/ 8333 h 10000"/>
                  <a:gd name="connsiteX17" fmla="*/ 3571 w 10577"/>
                  <a:gd name="connsiteY17" fmla="*/ 8333 h 10000"/>
                  <a:gd name="connsiteX18" fmla="*/ 3590 w 10577"/>
                  <a:gd name="connsiteY18" fmla="*/ 8350 h 10000"/>
                  <a:gd name="connsiteX19" fmla="*/ 3599 w 10577"/>
                  <a:gd name="connsiteY19" fmla="*/ 8333 h 10000"/>
                  <a:gd name="connsiteX20" fmla="*/ 3618 w 10577"/>
                  <a:gd name="connsiteY20" fmla="*/ 8333 h 10000"/>
                  <a:gd name="connsiteX21" fmla="*/ 3618 w 10577"/>
                  <a:gd name="connsiteY21" fmla="*/ 8325 h 10000"/>
                  <a:gd name="connsiteX22" fmla="*/ 3627 w 10577"/>
                  <a:gd name="connsiteY22" fmla="*/ 8308 h 10000"/>
                  <a:gd name="connsiteX23" fmla="*/ 3641 w 10577"/>
                  <a:gd name="connsiteY23" fmla="*/ 8308 h 10000"/>
                  <a:gd name="connsiteX24" fmla="*/ 3645 w 10577"/>
                  <a:gd name="connsiteY24" fmla="*/ 8308 h 10000"/>
                  <a:gd name="connsiteX25" fmla="*/ 3650 w 10577"/>
                  <a:gd name="connsiteY25" fmla="*/ 8299 h 10000"/>
                  <a:gd name="connsiteX26" fmla="*/ 3659 w 10577"/>
                  <a:gd name="connsiteY26" fmla="*/ 8282 h 10000"/>
                  <a:gd name="connsiteX27" fmla="*/ 3677 w 10577"/>
                  <a:gd name="connsiteY27" fmla="*/ 8299 h 10000"/>
                  <a:gd name="connsiteX28" fmla="*/ 3687 w 10577"/>
                  <a:gd name="connsiteY28" fmla="*/ 8299 h 10000"/>
                  <a:gd name="connsiteX29" fmla="*/ 3691 w 10577"/>
                  <a:gd name="connsiteY29" fmla="*/ 8325 h 10000"/>
                  <a:gd name="connsiteX30" fmla="*/ 3700 w 10577"/>
                  <a:gd name="connsiteY30" fmla="*/ 8325 h 10000"/>
                  <a:gd name="connsiteX31" fmla="*/ 3714 w 10577"/>
                  <a:gd name="connsiteY31" fmla="*/ 8359 h 10000"/>
                  <a:gd name="connsiteX32" fmla="*/ 3719 w 10577"/>
                  <a:gd name="connsiteY32" fmla="*/ 8359 h 10000"/>
                  <a:gd name="connsiteX33" fmla="*/ 3724 w 10577"/>
                  <a:gd name="connsiteY33" fmla="*/ 8368 h 10000"/>
                  <a:gd name="connsiteX34" fmla="*/ 3719 w 10577"/>
                  <a:gd name="connsiteY34" fmla="*/ 8393 h 10000"/>
                  <a:gd name="connsiteX35" fmla="*/ 3724 w 10577"/>
                  <a:gd name="connsiteY35" fmla="*/ 8410 h 10000"/>
                  <a:gd name="connsiteX36" fmla="*/ 3724 w 10577"/>
                  <a:gd name="connsiteY36" fmla="*/ 8436 h 10000"/>
                  <a:gd name="connsiteX37" fmla="*/ 3737 w 10577"/>
                  <a:gd name="connsiteY37" fmla="*/ 8436 h 10000"/>
                  <a:gd name="connsiteX38" fmla="*/ 3765 w 10577"/>
                  <a:gd name="connsiteY38" fmla="*/ 8462 h 10000"/>
                  <a:gd name="connsiteX39" fmla="*/ 3765 w 10577"/>
                  <a:gd name="connsiteY39" fmla="*/ 8470 h 10000"/>
                  <a:gd name="connsiteX40" fmla="*/ 3765 w 10577"/>
                  <a:gd name="connsiteY40" fmla="*/ 8496 h 10000"/>
                  <a:gd name="connsiteX41" fmla="*/ 3774 w 10577"/>
                  <a:gd name="connsiteY41" fmla="*/ 8496 h 10000"/>
                  <a:gd name="connsiteX42" fmla="*/ 3779 w 10577"/>
                  <a:gd name="connsiteY42" fmla="*/ 8504 h 10000"/>
                  <a:gd name="connsiteX43" fmla="*/ 3793 w 10577"/>
                  <a:gd name="connsiteY43" fmla="*/ 8547 h 10000"/>
                  <a:gd name="connsiteX44" fmla="*/ 3797 w 10577"/>
                  <a:gd name="connsiteY44" fmla="*/ 8547 h 10000"/>
                  <a:gd name="connsiteX45" fmla="*/ 3820 w 10577"/>
                  <a:gd name="connsiteY45" fmla="*/ 8556 h 10000"/>
                  <a:gd name="connsiteX46" fmla="*/ 3834 w 10577"/>
                  <a:gd name="connsiteY46" fmla="*/ 8573 h 10000"/>
                  <a:gd name="connsiteX47" fmla="*/ 3853 w 10577"/>
                  <a:gd name="connsiteY47" fmla="*/ 8573 h 10000"/>
                  <a:gd name="connsiteX48" fmla="*/ 3857 w 10577"/>
                  <a:gd name="connsiteY48" fmla="*/ 8556 h 10000"/>
                  <a:gd name="connsiteX49" fmla="*/ 3866 w 10577"/>
                  <a:gd name="connsiteY49" fmla="*/ 8547 h 10000"/>
                  <a:gd name="connsiteX50" fmla="*/ 3880 w 10577"/>
                  <a:gd name="connsiteY50" fmla="*/ 8530 h 10000"/>
                  <a:gd name="connsiteX51" fmla="*/ 3885 w 10577"/>
                  <a:gd name="connsiteY51" fmla="*/ 8547 h 10000"/>
                  <a:gd name="connsiteX52" fmla="*/ 3885 w 10577"/>
                  <a:gd name="connsiteY52" fmla="*/ 8573 h 10000"/>
                  <a:gd name="connsiteX53" fmla="*/ 3899 w 10577"/>
                  <a:gd name="connsiteY53" fmla="*/ 8573 h 10000"/>
                  <a:gd name="connsiteX54" fmla="*/ 3908 w 10577"/>
                  <a:gd name="connsiteY54" fmla="*/ 8607 h 10000"/>
                  <a:gd name="connsiteX55" fmla="*/ 3912 w 10577"/>
                  <a:gd name="connsiteY55" fmla="*/ 8615 h 10000"/>
                  <a:gd name="connsiteX56" fmla="*/ 3922 w 10577"/>
                  <a:gd name="connsiteY56" fmla="*/ 8632 h 10000"/>
                  <a:gd name="connsiteX57" fmla="*/ 3908 w 10577"/>
                  <a:gd name="connsiteY57" fmla="*/ 8692 h 10000"/>
                  <a:gd name="connsiteX58" fmla="*/ 3908 w 10577"/>
                  <a:gd name="connsiteY58" fmla="*/ 8692 h 10000"/>
                  <a:gd name="connsiteX59" fmla="*/ 3931 w 10577"/>
                  <a:gd name="connsiteY59" fmla="*/ 8709 h 10000"/>
                  <a:gd name="connsiteX60" fmla="*/ 3954 w 10577"/>
                  <a:gd name="connsiteY60" fmla="*/ 8667 h 10000"/>
                  <a:gd name="connsiteX61" fmla="*/ 3959 w 10577"/>
                  <a:gd name="connsiteY61" fmla="*/ 8667 h 10000"/>
                  <a:gd name="connsiteX62" fmla="*/ 3972 w 10577"/>
                  <a:gd name="connsiteY62" fmla="*/ 8615 h 10000"/>
                  <a:gd name="connsiteX63" fmla="*/ 3995 w 10577"/>
                  <a:gd name="connsiteY63" fmla="*/ 8581 h 10000"/>
                  <a:gd name="connsiteX64" fmla="*/ 4032 w 10577"/>
                  <a:gd name="connsiteY64" fmla="*/ 8556 h 10000"/>
                  <a:gd name="connsiteX65" fmla="*/ 4138 w 10577"/>
                  <a:gd name="connsiteY65" fmla="*/ 8419 h 10000"/>
                  <a:gd name="connsiteX66" fmla="*/ 4249 w 10577"/>
                  <a:gd name="connsiteY66" fmla="*/ 8359 h 10000"/>
                  <a:gd name="connsiteX67" fmla="*/ 4295 w 10577"/>
                  <a:gd name="connsiteY67" fmla="*/ 8385 h 10000"/>
                  <a:gd name="connsiteX68" fmla="*/ 4309 w 10577"/>
                  <a:gd name="connsiteY68" fmla="*/ 8410 h 10000"/>
                  <a:gd name="connsiteX69" fmla="*/ 4355 w 10577"/>
                  <a:gd name="connsiteY69" fmla="*/ 8393 h 10000"/>
                  <a:gd name="connsiteX70" fmla="*/ 4382 w 10577"/>
                  <a:gd name="connsiteY70" fmla="*/ 8393 h 10000"/>
                  <a:gd name="connsiteX71" fmla="*/ 4419 w 10577"/>
                  <a:gd name="connsiteY71" fmla="*/ 8487 h 10000"/>
                  <a:gd name="connsiteX72" fmla="*/ 4442 w 10577"/>
                  <a:gd name="connsiteY72" fmla="*/ 8487 h 10000"/>
                  <a:gd name="connsiteX73" fmla="*/ 4493 w 10577"/>
                  <a:gd name="connsiteY73" fmla="*/ 8470 h 10000"/>
                  <a:gd name="connsiteX74" fmla="*/ 4516 w 10577"/>
                  <a:gd name="connsiteY74" fmla="*/ 8487 h 10000"/>
                  <a:gd name="connsiteX75" fmla="*/ 4608 w 10577"/>
                  <a:gd name="connsiteY75" fmla="*/ 8470 h 10000"/>
                  <a:gd name="connsiteX76" fmla="*/ 4622 w 10577"/>
                  <a:gd name="connsiteY76" fmla="*/ 8470 h 10000"/>
                  <a:gd name="connsiteX77" fmla="*/ 4618 w 10577"/>
                  <a:gd name="connsiteY77" fmla="*/ 8419 h 10000"/>
                  <a:gd name="connsiteX78" fmla="*/ 4622 w 10577"/>
                  <a:gd name="connsiteY78" fmla="*/ 8385 h 10000"/>
                  <a:gd name="connsiteX79" fmla="*/ 4636 w 10577"/>
                  <a:gd name="connsiteY79" fmla="*/ 8350 h 10000"/>
                  <a:gd name="connsiteX80" fmla="*/ 4636 w 10577"/>
                  <a:gd name="connsiteY80" fmla="*/ 8325 h 10000"/>
                  <a:gd name="connsiteX81" fmla="*/ 4622 w 10577"/>
                  <a:gd name="connsiteY81" fmla="*/ 8282 h 10000"/>
                  <a:gd name="connsiteX82" fmla="*/ 4618 w 10577"/>
                  <a:gd name="connsiteY82" fmla="*/ 8248 h 10000"/>
                  <a:gd name="connsiteX83" fmla="*/ 4618 w 10577"/>
                  <a:gd name="connsiteY83" fmla="*/ 8214 h 10000"/>
                  <a:gd name="connsiteX84" fmla="*/ 4691 w 10577"/>
                  <a:gd name="connsiteY84" fmla="*/ 8077 h 10000"/>
                  <a:gd name="connsiteX85" fmla="*/ 4700 w 10577"/>
                  <a:gd name="connsiteY85" fmla="*/ 8060 h 10000"/>
                  <a:gd name="connsiteX86" fmla="*/ 4728 w 10577"/>
                  <a:gd name="connsiteY86" fmla="*/ 8077 h 10000"/>
                  <a:gd name="connsiteX87" fmla="*/ 4751 w 10577"/>
                  <a:gd name="connsiteY87" fmla="*/ 8094 h 10000"/>
                  <a:gd name="connsiteX88" fmla="*/ 4788 w 10577"/>
                  <a:gd name="connsiteY88" fmla="*/ 8120 h 10000"/>
                  <a:gd name="connsiteX89" fmla="*/ 4802 w 10577"/>
                  <a:gd name="connsiteY89" fmla="*/ 8162 h 10000"/>
                  <a:gd name="connsiteX90" fmla="*/ 4885 w 10577"/>
                  <a:gd name="connsiteY90" fmla="*/ 8197 h 10000"/>
                  <a:gd name="connsiteX91" fmla="*/ 4889 w 10577"/>
                  <a:gd name="connsiteY91" fmla="*/ 8231 h 10000"/>
                  <a:gd name="connsiteX92" fmla="*/ 4899 w 10577"/>
                  <a:gd name="connsiteY92" fmla="*/ 8333 h 10000"/>
                  <a:gd name="connsiteX93" fmla="*/ 4903 w 10577"/>
                  <a:gd name="connsiteY93" fmla="*/ 8333 h 10000"/>
                  <a:gd name="connsiteX94" fmla="*/ 4949 w 10577"/>
                  <a:gd name="connsiteY94" fmla="*/ 8410 h 10000"/>
                  <a:gd name="connsiteX95" fmla="*/ 4991 w 10577"/>
                  <a:gd name="connsiteY95" fmla="*/ 8436 h 10000"/>
                  <a:gd name="connsiteX96" fmla="*/ 5023 w 10577"/>
                  <a:gd name="connsiteY96" fmla="*/ 8419 h 10000"/>
                  <a:gd name="connsiteX97" fmla="*/ 5092 w 10577"/>
                  <a:gd name="connsiteY97" fmla="*/ 8359 h 10000"/>
                  <a:gd name="connsiteX98" fmla="*/ 5180 w 10577"/>
                  <a:gd name="connsiteY98" fmla="*/ 8410 h 10000"/>
                  <a:gd name="connsiteX99" fmla="*/ 5189 w 10577"/>
                  <a:gd name="connsiteY99" fmla="*/ 8436 h 10000"/>
                  <a:gd name="connsiteX100" fmla="*/ 5198 w 10577"/>
                  <a:gd name="connsiteY100" fmla="*/ 8436 h 10000"/>
                  <a:gd name="connsiteX101" fmla="*/ 5226 w 10577"/>
                  <a:gd name="connsiteY101" fmla="*/ 8487 h 10000"/>
                  <a:gd name="connsiteX102" fmla="*/ 5276 w 10577"/>
                  <a:gd name="connsiteY102" fmla="*/ 8504 h 10000"/>
                  <a:gd name="connsiteX103" fmla="*/ 5290 w 10577"/>
                  <a:gd name="connsiteY103" fmla="*/ 8556 h 10000"/>
                  <a:gd name="connsiteX104" fmla="*/ 5323 w 10577"/>
                  <a:gd name="connsiteY104" fmla="*/ 8598 h 10000"/>
                  <a:gd name="connsiteX105" fmla="*/ 5447 w 10577"/>
                  <a:gd name="connsiteY105" fmla="*/ 8615 h 10000"/>
                  <a:gd name="connsiteX106" fmla="*/ 5465 w 10577"/>
                  <a:gd name="connsiteY106" fmla="*/ 8632 h 10000"/>
                  <a:gd name="connsiteX107" fmla="*/ 5604 w 10577"/>
                  <a:gd name="connsiteY107" fmla="*/ 8556 h 10000"/>
                  <a:gd name="connsiteX108" fmla="*/ 5677 w 10577"/>
                  <a:gd name="connsiteY108" fmla="*/ 8462 h 10000"/>
                  <a:gd name="connsiteX109" fmla="*/ 5705 w 10577"/>
                  <a:gd name="connsiteY109" fmla="*/ 8444 h 10000"/>
                  <a:gd name="connsiteX110" fmla="*/ 5737 w 10577"/>
                  <a:gd name="connsiteY110" fmla="*/ 8470 h 10000"/>
                  <a:gd name="connsiteX111" fmla="*/ 5760 w 10577"/>
                  <a:gd name="connsiteY111" fmla="*/ 8496 h 10000"/>
                  <a:gd name="connsiteX112" fmla="*/ 5788 w 10577"/>
                  <a:gd name="connsiteY112" fmla="*/ 8504 h 10000"/>
                  <a:gd name="connsiteX113" fmla="*/ 5806 w 10577"/>
                  <a:gd name="connsiteY113" fmla="*/ 8496 h 10000"/>
                  <a:gd name="connsiteX114" fmla="*/ 5820 w 10577"/>
                  <a:gd name="connsiteY114" fmla="*/ 8487 h 10000"/>
                  <a:gd name="connsiteX115" fmla="*/ 5825 w 10577"/>
                  <a:gd name="connsiteY115" fmla="*/ 8487 h 10000"/>
                  <a:gd name="connsiteX116" fmla="*/ 5825 w 10577"/>
                  <a:gd name="connsiteY116" fmla="*/ 8487 h 10000"/>
                  <a:gd name="connsiteX117" fmla="*/ 5926 w 10577"/>
                  <a:gd name="connsiteY117" fmla="*/ 8556 h 10000"/>
                  <a:gd name="connsiteX118" fmla="*/ 5940 w 10577"/>
                  <a:gd name="connsiteY118" fmla="*/ 8556 h 10000"/>
                  <a:gd name="connsiteX119" fmla="*/ 6014 w 10577"/>
                  <a:gd name="connsiteY119" fmla="*/ 8470 h 10000"/>
                  <a:gd name="connsiteX120" fmla="*/ 6018 w 10577"/>
                  <a:gd name="connsiteY120" fmla="*/ 8444 h 10000"/>
                  <a:gd name="connsiteX121" fmla="*/ 6014 w 10577"/>
                  <a:gd name="connsiteY121" fmla="*/ 8419 h 10000"/>
                  <a:gd name="connsiteX122" fmla="*/ 6018 w 10577"/>
                  <a:gd name="connsiteY122" fmla="*/ 8393 h 10000"/>
                  <a:gd name="connsiteX123" fmla="*/ 6041 w 10577"/>
                  <a:gd name="connsiteY123" fmla="*/ 8333 h 10000"/>
                  <a:gd name="connsiteX124" fmla="*/ 6069 w 10577"/>
                  <a:gd name="connsiteY124" fmla="*/ 8188 h 10000"/>
                  <a:gd name="connsiteX125" fmla="*/ 6088 w 10577"/>
                  <a:gd name="connsiteY125" fmla="*/ 8162 h 10000"/>
                  <a:gd name="connsiteX126" fmla="*/ 6115 w 10577"/>
                  <a:gd name="connsiteY126" fmla="*/ 8094 h 10000"/>
                  <a:gd name="connsiteX127" fmla="*/ 6115 w 10577"/>
                  <a:gd name="connsiteY127" fmla="*/ 8094 h 10000"/>
                  <a:gd name="connsiteX128" fmla="*/ 6106 w 10577"/>
                  <a:gd name="connsiteY128" fmla="*/ 8077 h 10000"/>
                  <a:gd name="connsiteX129" fmla="*/ 6106 w 10577"/>
                  <a:gd name="connsiteY129" fmla="*/ 8009 h 10000"/>
                  <a:gd name="connsiteX130" fmla="*/ 6101 w 10577"/>
                  <a:gd name="connsiteY130" fmla="*/ 8000 h 10000"/>
                  <a:gd name="connsiteX131" fmla="*/ 6069 w 10577"/>
                  <a:gd name="connsiteY131" fmla="*/ 8009 h 10000"/>
                  <a:gd name="connsiteX132" fmla="*/ 6069 w 10577"/>
                  <a:gd name="connsiteY132" fmla="*/ 8000 h 10000"/>
                  <a:gd name="connsiteX133" fmla="*/ 6069 w 10577"/>
                  <a:gd name="connsiteY133" fmla="*/ 7974 h 10000"/>
                  <a:gd name="connsiteX134" fmla="*/ 6101 w 10577"/>
                  <a:gd name="connsiteY134" fmla="*/ 7923 h 10000"/>
                  <a:gd name="connsiteX135" fmla="*/ 6106 w 10577"/>
                  <a:gd name="connsiteY135" fmla="*/ 7889 h 10000"/>
                  <a:gd name="connsiteX136" fmla="*/ 6129 w 10577"/>
                  <a:gd name="connsiteY136" fmla="*/ 7863 h 10000"/>
                  <a:gd name="connsiteX137" fmla="*/ 6300 w 10577"/>
                  <a:gd name="connsiteY137" fmla="*/ 7812 h 10000"/>
                  <a:gd name="connsiteX138" fmla="*/ 6359 w 10577"/>
                  <a:gd name="connsiteY138" fmla="*/ 7872 h 10000"/>
                  <a:gd name="connsiteX139" fmla="*/ 6373 w 10577"/>
                  <a:gd name="connsiteY139" fmla="*/ 7889 h 10000"/>
                  <a:gd name="connsiteX140" fmla="*/ 6401 w 10577"/>
                  <a:gd name="connsiteY140" fmla="*/ 7889 h 10000"/>
                  <a:gd name="connsiteX141" fmla="*/ 6433 w 10577"/>
                  <a:gd name="connsiteY141" fmla="*/ 7915 h 10000"/>
                  <a:gd name="connsiteX142" fmla="*/ 6461 w 10577"/>
                  <a:gd name="connsiteY142" fmla="*/ 7974 h 10000"/>
                  <a:gd name="connsiteX143" fmla="*/ 6461 w 10577"/>
                  <a:gd name="connsiteY143" fmla="*/ 8000 h 10000"/>
                  <a:gd name="connsiteX144" fmla="*/ 6484 w 10577"/>
                  <a:gd name="connsiteY144" fmla="*/ 8034 h 10000"/>
                  <a:gd name="connsiteX145" fmla="*/ 6484 w 10577"/>
                  <a:gd name="connsiteY145" fmla="*/ 8051 h 10000"/>
                  <a:gd name="connsiteX146" fmla="*/ 6484 w 10577"/>
                  <a:gd name="connsiteY146" fmla="*/ 8034 h 10000"/>
                  <a:gd name="connsiteX147" fmla="*/ 6558 w 10577"/>
                  <a:gd name="connsiteY147" fmla="*/ 8444 h 10000"/>
                  <a:gd name="connsiteX148" fmla="*/ 6558 w 10577"/>
                  <a:gd name="connsiteY148" fmla="*/ 8462 h 10000"/>
                  <a:gd name="connsiteX149" fmla="*/ 6558 w 10577"/>
                  <a:gd name="connsiteY149" fmla="*/ 8462 h 10000"/>
                  <a:gd name="connsiteX150" fmla="*/ 6562 w 10577"/>
                  <a:gd name="connsiteY150" fmla="*/ 8547 h 10000"/>
                  <a:gd name="connsiteX151" fmla="*/ 6576 w 10577"/>
                  <a:gd name="connsiteY151" fmla="*/ 8573 h 10000"/>
                  <a:gd name="connsiteX152" fmla="*/ 6604 w 10577"/>
                  <a:gd name="connsiteY152" fmla="*/ 8581 h 10000"/>
                  <a:gd name="connsiteX153" fmla="*/ 6631 w 10577"/>
                  <a:gd name="connsiteY153" fmla="*/ 8556 h 10000"/>
                  <a:gd name="connsiteX154" fmla="*/ 6691 w 10577"/>
                  <a:gd name="connsiteY154" fmla="*/ 8607 h 10000"/>
                  <a:gd name="connsiteX155" fmla="*/ 6728 w 10577"/>
                  <a:gd name="connsiteY155" fmla="*/ 8667 h 10000"/>
                  <a:gd name="connsiteX156" fmla="*/ 6742 w 10577"/>
                  <a:gd name="connsiteY156" fmla="*/ 8684 h 10000"/>
                  <a:gd name="connsiteX157" fmla="*/ 6765 w 10577"/>
                  <a:gd name="connsiteY157" fmla="*/ 8684 h 10000"/>
                  <a:gd name="connsiteX158" fmla="*/ 6765 w 10577"/>
                  <a:gd name="connsiteY158" fmla="*/ 8709 h 10000"/>
                  <a:gd name="connsiteX159" fmla="*/ 6765 w 10577"/>
                  <a:gd name="connsiteY159" fmla="*/ 8709 h 10000"/>
                  <a:gd name="connsiteX160" fmla="*/ 6770 w 10577"/>
                  <a:gd name="connsiteY160" fmla="*/ 8709 h 10000"/>
                  <a:gd name="connsiteX161" fmla="*/ 6770 w 10577"/>
                  <a:gd name="connsiteY161" fmla="*/ 8744 h 10000"/>
                  <a:gd name="connsiteX162" fmla="*/ 6779 w 10577"/>
                  <a:gd name="connsiteY162" fmla="*/ 8769 h 10000"/>
                  <a:gd name="connsiteX163" fmla="*/ 6779 w 10577"/>
                  <a:gd name="connsiteY163" fmla="*/ 8846 h 10000"/>
                  <a:gd name="connsiteX164" fmla="*/ 6797 w 10577"/>
                  <a:gd name="connsiteY164" fmla="*/ 8906 h 10000"/>
                  <a:gd name="connsiteX165" fmla="*/ 6816 w 10577"/>
                  <a:gd name="connsiteY165" fmla="*/ 8906 h 10000"/>
                  <a:gd name="connsiteX166" fmla="*/ 6843 w 10577"/>
                  <a:gd name="connsiteY166" fmla="*/ 8915 h 10000"/>
                  <a:gd name="connsiteX167" fmla="*/ 6862 w 10577"/>
                  <a:gd name="connsiteY167" fmla="*/ 8906 h 10000"/>
                  <a:gd name="connsiteX168" fmla="*/ 6935 w 10577"/>
                  <a:gd name="connsiteY168" fmla="*/ 8829 h 10000"/>
                  <a:gd name="connsiteX169" fmla="*/ 6963 w 10577"/>
                  <a:gd name="connsiteY169" fmla="*/ 8829 h 10000"/>
                  <a:gd name="connsiteX170" fmla="*/ 7046 w 10577"/>
                  <a:gd name="connsiteY170" fmla="*/ 8769 h 10000"/>
                  <a:gd name="connsiteX171" fmla="*/ 7046 w 10577"/>
                  <a:gd name="connsiteY171" fmla="*/ 8769 h 10000"/>
                  <a:gd name="connsiteX172" fmla="*/ 7032 w 10577"/>
                  <a:gd name="connsiteY172" fmla="*/ 8803 h 10000"/>
                  <a:gd name="connsiteX173" fmla="*/ 7032 w 10577"/>
                  <a:gd name="connsiteY173" fmla="*/ 8846 h 10000"/>
                  <a:gd name="connsiteX174" fmla="*/ 7037 w 10577"/>
                  <a:gd name="connsiteY174" fmla="*/ 8880 h 10000"/>
                  <a:gd name="connsiteX175" fmla="*/ 7037 w 10577"/>
                  <a:gd name="connsiteY175" fmla="*/ 8932 h 10000"/>
                  <a:gd name="connsiteX176" fmla="*/ 7005 w 10577"/>
                  <a:gd name="connsiteY176" fmla="*/ 8983 h 10000"/>
                  <a:gd name="connsiteX177" fmla="*/ 6977 w 10577"/>
                  <a:gd name="connsiteY177" fmla="*/ 9188 h 10000"/>
                  <a:gd name="connsiteX178" fmla="*/ 6935 w 10577"/>
                  <a:gd name="connsiteY178" fmla="*/ 9316 h 10000"/>
                  <a:gd name="connsiteX179" fmla="*/ 6931 w 10577"/>
                  <a:gd name="connsiteY179" fmla="*/ 9368 h 10000"/>
                  <a:gd name="connsiteX180" fmla="*/ 6917 w 10577"/>
                  <a:gd name="connsiteY180" fmla="*/ 9376 h 10000"/>
                  <a:gd name="connsiteX181" fmla="*/ 6912 w 10577"/>
                  <a:gd name="connsiteY181" fmla="*/ 9376 h 10000"/>
                  <a:gd name="connsiteX182" fmla="*/ 6848 w 10577"/>
                  <a:gd name="connsiteY182" fmla="*/ 9342 h 10000"/>
                  <a:gd name="connsiteX183" fmla="*/ 6788 w 10577"/>
                  <a:gd name="connsiteY183" fmla="*/ 9436 h 10000"/>
                  <a:gd name="connsiteX184" fmla="*/ 6802 w 10577"/>
                  <a:gd name="connsiteY184" fmla="*/ 9462 h 10000"/>
                  <a:gd name="connsiteX185" fmla="*/ 6811 w 10577"/>
                  <a:gd name="connsiteY185" fmla="*/ 9667 h 10000"/>
                  <a:gd name="connsiteX186" fmla="*/ 6788 w 10577"/>
                  <a:gd name="connsiteY186" fmla="*/ 9709 h 10000"/>
                  <a:gd name="connsiteX187" fmla="*/ 6765 w 10577"/>
                  <a:gd name="connsiteY187" fmla="*/ 9752 h 10000"/>
                  <a:gd name="connsiteX188" fmla="*/ 6765 w 10577"/>
                  <a:gd name="connsiteY188" fmla="*/ 9803 h 10000"/>
                  <a:gd name="connsiteX189" fmla="*/ 6770 w 10577"/>
                  <a:gd name="connsiteY189" fmla="*/ 9821 h 10000"/>
                  <a:gd name="connsiteX190" fmla="*/ 6779 w 10577"/>
                  <a:gd name="connsiteY190" fmla="*/ 9812 h 10000"/>
                  <a:gd name="connsiteX191" fmla="*/ 6779 w 10577"/>
                  <a:gd name="connsiteY191" fmla="*/ 9803 h 10000"/>
                  <a:gd name="connsiteX192" fmla="*/ 6770 w 10577"/>
                  <a:gd name="connsiteY192" fmla="*/ 9786 h 10000"/>
                  <a:gd name="connsiteX193" fmla="*/ 6811 w 10577"/>
                  <a:gd name="connsiteY193" fmla="*/ 9786 h 10000"/>
                  <a:gd name="connsiteX194" fmla="*/ 6816 w 10577"/>
                  <a:gd name="connsiteY194" fmla="*/ 9761 h 10000"/>
                  <a:gd name="connsiteX195" fmla="*/ 6825 w 10577"/>
                  <a:gd name="connsiteY195" fmla="*/ 9752 h 10000"/>
                  <a:gd name="connsiteX196" fmla="*/ 6825 w 10577"/>
                  <a:gd name="connsiteY196" fmla="*/ 9726 h 10000"/>
                  <a:gd name="connsiteX197" fmla="*/ 6843 w 10577"/>
                  <a:gd name="connsiteY197" fmla="*/ 9701 h 10000"/>
                  <a:gd name="connsiteX198" fmla="*/ 6848 w 10577"/>
                  <a:gd name="connsiteY198" fmla="*/ 9650 h 10000"/>
                  <a:gd name="connsiteX199" fmla="*/ 6848 w 10577"/>
                  <a:gd name="connsiteY199" fmla="*/ 9675 h 10000"/>
                  <a:gd name="connsiteX200" fmla="*/ 6862 w 10577"/>
                  <a:gd name="connsiteY200" fmla="*/ 9675 h 10000"/>
                  <a:gd name="connsiteX201" fmla="*/ 6857 w 10577"/>
                  <a:gd name="connsiteY201" fmla="*/ 9701 h 10000"/>
                  <a:gd name="connsiteX202" fmla="*/ 6857 w 10577"/>
                  <a:gd name="connsiteY202" fmla="*/ 9701 h 10000"/>
                  <a:gd name="connsiteX203" fmla="*/ 6876 w 10577"/>
                  <a:gd name="connsiteY203" fmla="*/ 9684 h 10000"/>
                  <a:gd name="connsiteX204" fmla="*/ 6885 w 10577"/>
                  <a:gd name="connsiteY204" fmla="*/ 9675 h 10000"/>
                  <a:gd name="connsiteX205" fmla="*/ 6876 w 10577"/>
                  <a:gd name="connsiteY205" fmla="*/ 9735 h 10000"/>
                  <a:gd name="connsiteX206" fmla="*/ 6885 w 10577"/>
                  <a:gd name="connsiteY206" fmla="*/ 9752 h 10000"/>
                  <a:gd name="connsiteX207" fmla="*/ 6903 w 10577"/>
                  <a:gd name="connsiteY207" fmla="*/ 9752 h 10000"/>
                  <a:gd name="connsiteX208" fmla="*/ 6917 w 10577"/>
                  <a:gd name="connsiteY208" fmla="*/ 9761 h 10000"/>
                  <a:gd name="connsiteX209" fmla="*/ 6917 w 10577"/>
                  <a:gd name="connsiteY209" fmla="*/ 9761 h 10000"/>
                  <a:gd name="connsiteX210" fmla="*/ 6922 w 10577"/>
                  <a:gd name="connsiteY210" fmla="*/ 9778 h 10000"/>
                  <a:gd name="connsiteX211" fmla="*/ 6945 w 10577"/>
                  <a:gd name="connsiteY211" fmla="*/ 9778 h 10000"/>
                  <a:gd name="connsiteX212" fmla="*/ 6972 w 10577"/>
                  <a:gd name="connsiteY212" fmla="*/ 9752 h 10000"/>
                  <a:gd name="connsiteX213" fmla="*/ 6977 w 10577"/>
                  <a:gd name="connsiteY213" fmla="*/ 9752 h 10000"/>
                  <a:gd name="connsiteX214" fmla="*/ 7069 w 10577"/>
                  <a:gd name="connsiteY214" fmla="*/ 9624 h 10000"/>
                  <a:gd name="connsiteX215" fmla="*/ 7097 w 10577"/>
                  <a:gd name="connsiteY215" fmla="*/ 9547 h 10000"/>
                  <a:gd name="connsiteX216" fmla="*/ 7106 w 10577"/>
                  <a:gd name="connsiteY216" fmla="*/ 9530 h 10000"/>
                  <a:gd name="connsiteX217" fmla="*/ 7124 w 10577"/>
                  <a:gd name="connsiteY217" fmla="*/ 9479 h 10000"/>
                  <a:gd name="connsiteX218" fmla="*/ 7138 w 10577"/>
                  <a:gd name="connsiteY218" fmla="*/ 9462 h 10000"/>
                  <a:gd name="connsiteX219" fmla="*/ 7378 w 10577"/>
                  <a:gd name="connsiteY219" fmla="*/ 8795 h 10000"/>
                  <a:gd name="connsiteX220" fmla="*/ 7392 w 10577"/>
                  <a:gd name="connsiteY220" fmla="*/ 8795 h 10000"/>
                  <a:gd name="connsiteX221" fmla="*/ 7401 w 10577"/>
                  <a:gd name="connsiteY221" fmla="*/ 8769 h 10000"/>
                  <a:gd name="connsiteX222" fmla="*/ 7406 w 10577"/>
                  <a:gd name="connsiteY222" fmla="*/ 8692 h 10000"/>
                  <a:gd name="connsiteX223" fmla="*/ 7406 w 10577"/>
                  <a:gd name="connsiteY223" fmla="*/ 8667 h 10000"/>
                  <a:gd name="connsiteX224" fmla="*/ 7419 w 10577"/>
                  <a:gd name="connsiteY224" fmla="*/ 8598 h 10000"/>
                  <a:gd name="connsiteX225" fmla="*/ 7419 w 10577"/>
                  <a:gd name="connsiteY225" fmla="*/ 8496 h 10000"/>
                  <a:gd name="connsiteX226" fmla="*/ 7424 w 10577"/>
                  <a:gd name="connsiteY226" fmla="*/ 8470 h 10000"/>
                  <a:gd name="connsiteX227" fmla="*/ 7424 w 10577"/>
                  <a:gd name="connsiteY227" fmla="*/ 8462 h 10000"/>
                  <a:gd name="connsiteX228" fmla="*/ 7419 w 10577"/>
                  <a:gd name="connsiteY228" fmla="*/ 8462 h 10000"/>
                  <a:gd name="connsiteX229" fmla="*/ 7410 w 10577"/>
                  <a:gd name="connsiteY229" fmla="*/ 8350 h 10000"/>
                  <a:gd name="connsiteX230" fmla="*/ 7419 w 10577"/>
                  <a:gd name="connsiteY230" fmla="*/ 8325 h 10000"/>
                  <a:gd name="connsiteX231" fmla="*/ 7424 w 10577"/>
                  <a:gd name="connsiteY231" fmla="*/ 8248 h 10000"/>
                  <a:gd name="connsiteX232" fmla="*/ 7433 w 10577"/>
                  <a:gd name="connsiteY232" fmla="*/ 8248 h 10000"/>
                  <a:gd name="connsiteX233" fmla="*/ 7433 w 10577"/>
                  <a:gd name="connsiteY233" fmla="*/ 8231 h 10000"/>
                  <a:gd name="connsiteX234" fmla="*/ 7433 w 10577"/>
                  <a:gd name="connsiteY234" fmla="*/ 8222 h 10000"/>
                  <a:gd name="connsiteX235" fmla="*/ 7433 w 10577"/>
                  <a:gd name="connsiteY235" fmla="*/ 8214 h 10000"/>
                  <a:gd name="connsiteX236" fmla="*/ 7447 w 10577"/>
                  <a:gd name="connsiteY236" fmla="*/ 8162 h 10000"/>
                  <a:gd name="connsiteX237" fmla="*/ 7461 w 10577"/>
                  <a:gd name="connsiteY237" fmla="*/ 8162 h 10000"/>
                  <a:gd name="connsiteX238" fmla="*/ 7475 w 10577"/>
                  <a:gd name="connsiteY238" fmla="*/ 8111 h 10000"/>
                  <a:gd name="connsiteX239" fmla="*/ 7475 w 10577"/>
                  <a:gd name="connsiteY239" fmla="*/ 8085 h 10000"/>
                  <a:gd name="connsiteX240" fmla="*/ 7479 w 10577"/>
                  <a:gd name="connsiteY240" fmla="*/ 8060 h 10000"/>
                  <a:gd name="connsiteX241" fmla="*/ 7452 w 10577"/>
                  <a:gd name="connsiteY241" fmla="*/ 8009 h 10000"/>
                  <a:gd name="connsiteX242" fmla="*/ 7465 w 10577"/>
                  <a:gd name="connsiteY242" fmla="*/ 7974 h 10000"/>
                  <a:gd name="connsiteX243" fmla="*/ 7452 w 10577"/>
                  <a:gd name="connsiteY243" fmla="*/ 7923 h 10000"/>
                  <a:gd name="connsiteX244" fmla="*/ 7433 w 10577"/>
                  <a:gd name="connsiteY244" fmla="*/ 7889 h 10000"/>
                  <a:gd name="connsiteX245" fmla="*/ 7419 w 10577"/>
                  <a:gd name="connsiteY245" fmla="*/ 7889 h 10000"/>
                  <a:gd name="connsiteX246" fmla="*/ 7401 w 10577"/>
                  <a:gd name="connsiteY246" fmla="*/ 7863 h 10000"/>
                  <a:gd name="connsiteX247" fmla="*/ 7387 w 10577"/>
                  <a:gd name="connsiteY247" fmla="*/ 7863 h 10000"/>
                  <a:gd name="connsiteX248" fmla="*/ 7373 w 10577"/>
                  <a:gd name="connsiteY248" fmla="*/ 7863 h 10000"/>
                  <a:gd name="connsiteX249" fmla="*/ 7387 w 10577"/>
                  <a:gd name="connsiteY249" fmla="*/ 7846 h 10000"/>
                  <a:gd name="connsiteX250" fmla="*/ 7401 w 10577"/>
                  <a:gd name="connsiteY250" fmla="*/ 7846 h 10000"/>
                  <a:gd name="connsiteX251" fmla="*/ 7410 w 10577"/>
                  <a:gd name="connsiteY251" fmla="*/ 7863 h 10000"/>
                  <a:gd name="connsiteX252" fmla="*/ 7424 w 10577"/>
                  <a:gd name="connsiteY252" fmla="*/ 7872 h 10000"/>
                  <a:gd name="connsiteX253" fmla="*/ 7433 w 10577"/>
                  <a:gd name="connsiteY253" fmla="*/ 7863 h 10000"/>
                  <a:gd name="connsiteX254" fmla="*/ 7461 w 10577"/>
                  <a:gd name="connsiteY254" fmla="*/ 7897 h 10000"/>
                  <a:gd name="connsiteX255" fmla="*/ 7465 w 10577"/>
                  <a:gd name="connsiteY255" fmla="*/ 7889 h 10000"/>
                  <a:gd name="connsiteX256" fmla="*/ 7475 w 10577"/>
                  <a:gd name="connsiteY256" fmla="*/ 7863 h 10000"/>
                  <a:gd name="connsiteX257" fmla="*/ 7475 w 10577"/>
                  <a:gd name="connsiteY257" fmla="*/ 7838 h 10000"/>
                  <a:gd name="connsiteX258" fmla="*/ 7465 w 10577"/>
                  <a:gd name="connsiteY258" fmla="*/ 7838 h 10000"/>
                  <a:gd name="connsiteX259" fmla="*/ 7406 w 10577"/>
                  <a:gd name="connsiteY259" fmla="*/ 7752 h 10000"/>
                  <a:gd name="connsiteX260" fmla="*/ 7401 w 10577"/>
                  <a:gd name="connsiteY260" fmla="*/ 7735 h 10000"/>
                  <a:gd name="connsiteX261" fmla="*/ 7401 w 10577"/>
                  <a:gd name="connsiteY261" fmla="*/ 7701 h 10000"/>
                  <a:gd name="connsiteX262" fmla="*/ 7378 w 10577"/>
                  <a:gd name="connsiteY262" fmla="*/ 7675 h 10000"/>
                  <a:gd name="connsiteX263" fmla="*/ 7373 w 10577"/>
                  <a:gd name="connsiteY263" fmla="*/ 7667 h 10000"/>
                  <a:gd name="connsiteX264" fmla="*/ 7364 w 10577"/>
                  <a:gd name="connsiteY264" fmla="*/ 7650 h 10000"/>
                  <a:gd name="connsiteX265" fmla="*/ 7364 w 10577"/>
                  <a:gd name="connsiteY265" fmla="*/ 7641 h 10000"/>
                  <a:gd name="connsiteX266" fmla="*/ 7350 w 10577"/>
                  <a:gd name="connsiteY266" fmla="*/ 7641 h 10000"/>
                  <a:gd name="connsiteX267" fmla="*/ 7336 w 10577"/>
                  <a:gd name="connsiteY267" fmla="*/ 7650 h 10000"/>
                  <a:gd name="connsiteX268" fmla="*/ 7327 w 10577"/>
                  <a:gd name="connsiteY268" fmla="*/ 7650 h 10000"/>
                  <a:gd name="connsiteX269" fmla="*/ 7300 w 10577"/>
                  <a:gd name="connsiteY269" fmla="*/ 7641 h 10000"/>
                  <a:gd name="connsiteX270" fmla="*/ 7300 w 10577"/>
                  <a:gd name="connsiteY270" fmla="*/ 7675 h 10000"/>
                  <a:gd name="connsiteX271" fmla="*/ 7300 w 10577"/>
                  <a:gd name="connsiteY271" fmla="*/ 7692 h 10000"/>
                  <a:gd name="connsiteX272" fmla="*/ 7286 w 10577"/>
                  <a:gd name="connsiteY272" fmla="*/ 7786 h 10000"/>
                  <a:gd name="connsiteX273" fmla="*/ 7272 w 10577"/>
                  <a:gd name="connsiteY273" fmla="*/ 7803 h 10000"/>
                  <a:gd name="connsiteX274" fmla="*/ 7276 w 10577"/>
                  <a:gd name="connsiteY274" fmla="*/ 7761 h 10000"/>
                  <a:gd name="connsiteX275" fmla="*/ 7286 w 10577"/>
                  <a:gd name="connsiteY275" fmla="*/ 7735 h 10000"/>
                  <a:gd name="connsiteX276" fmla="*/ 7276 w 10577"/>
                  <a:gd name="connsiteY276" fmla="*/ 7709 h 10000"/>
                  <a:gd name="connsiteX277" fmla="*/ 7258 w 10577"/>
                  <a:gd name="connsiteY277" fmla="*/ 7761 h 10000"/>
                  <a:gd name="connsiteX278" fmla="*/ 7217 w 10577"/>
                  <a:gd name="connsiteY278" fmla="*/ 7786 h 10000"/>
                  <a:gd name="connsiteX279" fmla="*/ 7203 w 10577"/>
                  <a:gd name="connsiteY279" fmla="*/ 7786 h 10000"/>
                  <a:gd name="connsiteX280" fmla="*/ 7198 w 10577"/>
                  <a:gd name="connsiteY280" fmla="*/ 7778 h 10000"/>
                  <a:gd name="connsiteX281" fmla="*/ 7212 w 10577"/>
                  <a:gd name="connsiteY281" fmla="*/ 7761 h 10000"/>
                  <a:gd name="connsiteX282" fmla="*/ 7230 w 10577"/>
                  <a:gd name="connsiteY282" fmla="*/ 7726 h 10000"/>
                  <a:gd name="connsiteX283" fmla="*/ 7226 w 10577"/>
                  <a:gd name="connsiteY283" fmla="*/ 7709 h 10000"/>
                  <a:gd name="connsiteX284" fmla="*/ 7212 w 10577"/>
                  <a:gd name="connsiteY284" fmla="*/ 7701 h 10000"/>
                  <a:gd name="connsiteX285" fmla="*/ 7203 w 10577"/>
                  <a:gd name="connsiteY285" fmla="*/ 7675 h 10000"/>
                  <a:gd name="connsiteX286" fmla="*/ 7217 w 10577"/>
                  <a:gd name="connsiteY286" fmla="*/ 7675 h 10000"/>
                  <a:gd name="connsiteX287" fmla="*/ 7226 w 10577"/>
                  <a:gd name="connsiteY287" fmla="*/ 7650 h 10000"/>
                  <a:gd name="connsiteX288" fmla="*/ 7226 w 10577"/>
                  <a:gd name="connsiteY288" fmla="*/ 7641 h 10000"/>
                  <a:gd name="connsiteX289" fmla="*/ 7203 w 10577"/>
                  <a:gd name="connsiteY289" fmla="*/ 7641 h 10000"/>
                  <a:gd name="connsiteX290" fmla="*/ 7198 w 10577"/>
                  <a:gd name="connsiteY290" fmla="*/ 7650 h 10000"/>
                  <a:gd name="connsiteX291" fmla="*/ 7194 w 10577"/>
                  <a:gd name="connsiteY291" fmla="*/ 7675 h 10000"/>
                  <a:gd name="connsiteX292" fmla="*/ 7198 w 10577"/>
                  <a:gd name="connsiteY292" fmla="*/ 7692 h 10000"/>
                  <a:gd name="connsiteX293" fmla="*/ 7198 w 10577"/>
                  <a:gd name="connsiteY293" fmla="*/ 7709 h 10000"/>
                  <a:gd name="connsiteX294" fmla="*/ 7184 w 10577"/>
                  <a:gd name="connsiteY294" fmla="*/ 7726 h 10000"/>
                  <a:gd name="connsiteX295" fmla="*/ 7180 w 10577"/>
                  <a:gd name="connsiteY295" fmla="*/ 7726 h 10000"/>
                  <a:gd name="connsiteX296" fmla="*/ 7171 w 10577"/>
                  <a:gd name="connsiteY296" fmla="*/ 7752 h 10000"/>
                  <a:gd name="connsiteX297" fmla="*/ 7166 w 10577"/>
                  <a:gd name="connsiteY297" fmla="*/ 7735 h 10000"/>
                  <a:gd name="connsiteX298" fmla="*/ 7171 w 10577"/>
                  <a:gd name="connsiteY298" fmla="*/ 7624 h 10000"/>
                  <a:gd name="connsiteX299" fmla="*/ 7171 w 10577"/>
                  <a:gd name="connsiteY299" fmla="*/ 7615 h 10000"/>
                  <a:gd name="connsiteX300" fmla="*/ 7171 w 10577"/>
                  <a:gd name="connsiteY300" fmla="*/ 7590 h 10000"/>
                  <a:gd name="connsiteX301" fmla="*/ 7166 w 10577"/>
                  <a:gd name="connsiteY301" fmla="*/ 7564 h 10000"/>
                  <a:gd name="connsiteX302" fmla="*/ 7157 w 10577"/>
                  <a:gd name="connsiteY302" fmla="*/ 7564 h 10000"/>
                  <a:gd name="connsiteX303" fmla="*/ 7097 w 10577"/>
                  <a:gd name="connsiteY303" fmla="*/ 7573 h 10000"/>
                  <a:gd name="connsiteX304" fmla="*/ 7065 w 10577"/>
                  <a:gd name="connsiteY304" fmla="*/ 7538 h 10000"/>
                  <a:gd name="connsiteX305" fmla="*/ 7069 w 10577"/>
                  <a:gd name="connsiteY305" fmla="*/ 7504 h 10000"/>
                  <a:gd name="connsiteX306" fmla="*/ 7106 w 10577"/>
                  <a:gd name="connsiteY306" fmla="*/ 7453 h 10000"/>
                  <a:gd name="connsiteX307" fmla="*/ 7111 w 10577"/>
                  <a:gd name="connsiteY307" fmla="*/ 7436 h 10000"/>
                  <a:gd name="connsiteX308" fmla="*/ 7138 w 10577"/>
                  <a:gd name="connsiteY308" fmla="*/ 7402 h 10000"/>
                  <a:gd name="connsiteX309" fmla="*/ 7143 w 10577"/>
                  <a:gd name="connsiteY309" fmla="*/ 7376 h 10000"/>
                  <a:gd name="connsiteX310" fmla="*/ 7152 w 10577"/>
                  <a:gd name="connsiteY310" fmla="*/ 7368 h 10000"/>
                  <a:gd name="connsiteX311" fmla="*/ 7157 w 10577"/>
                  <a:gd name="connsiteY311" fmla="*/ 7350 h 10000"/>
                  <a:gd name="connsiteX312" fmla="*/ 7230 w 10577"/>
                  <a:gd name="connsiteY312" fmla="*/ 7239 h 10000"/>
                  <a:gd name="connsiteX313" fmla="*/ 7240 w 10577"/>
                  <a:gd name="connsiteY313" fmla="*/ 7205 h 10000"/>
                  <a:gd name="connsiteX314" fmla="*/ 7253 w 10577"/>
                  <a:gd name="connsiteY314" fmla="*/ 7188 h 10000"/>
                  <a:gd name="connsiteX315" fmla="*/ 7258 w 10577"/>
                  <a:gd name="connsiteY315" fmla="*/ 7162 h 10000"/>
                  <a:gd name="connsiteX316" fmla="*/ 7258 w 10577"/>
                  <a:gd name="connsiteY316" fmla="*/ 7154 h 10000"/>
                  <a:gd name="connsiteX317" fmla="*/ 7272 w 10577"/>
                  <a:gd name="connsiteY317" fmla="*/ 7120 h 10000"/>
                  <a:gd name="connsiteX318" fmla="*/ 7276 w 10577"/>
                  <a:gd name="connsiteY318" fmla="*/ 7094 h 10000"/>
                  <a:gd name="connsiteX319" fmla="*/ 7286 w 10577"/>
                  <a:gd name="connsiteY319" fmla="*/ 7094 h 10000"/>
                  <a:gd name="connsiteX320" fmla="*/ 7290 w 10577"/>
                  <a:gd name="connsiteY320" fmla="*/ 7068 h 10000"/>
                  <a:gd name="connsiteX321" fmla="*/ 7332 w 10577"/>
                  <a:gd name="connsiteY321" fmla="*/ 6991 h 10000"/>
                  <a:gd name="connsiteX322" fmla="*/ 7336 w 10577"/>
                  <a:gd name="connsiteY322" fmla="*/ 6991 h 10000"/>
                  <a:gd name="connsiteX323" fmla="*/ 7364 w 10577"/>
                  <a:gd name="connsiteY323" fmla="*/ 6940 h 10000"/>
                  <a:gd name="connsiteX324" fmla="*/ 7373 w 10577"/>
                  <a:gd name="connsiteY324" fmla="*/ 6906 h 10000"/>
                  <a:gd name="connsiteX325" fmla="*/ 7378 w 10577"/>
                  <a:gd name="connsiteY325" fmla="*/ 6915 h 10000"/>
                  <a:gd name="connsiteX326" fmla="*/ 7406 w 10577"/>
                  <a:gd name="connsiteY326" fmla="*/ 6880 h 10000"/>
                  <a:gd name="connsiteX327" fmla="*/ 7410 w 10577"/>
                  <a:gd name="connsiteY327" fmla="*/ 6846 h 10000"/>
                  <a:gd name="connsiteX328" fmla="*/ 7419 w 10577"/>
                  <a:gd name="connsiteY328" fmla="*/ 6803 h 10000"/>
                  <a:gd name="connsiteX329" fmla="*/ 7585 w 10577"/>
                  <a:gd name="connsiteY329" fmla="*/ 6504 h 10000"/>
                  <a:gd name="connsiteX330" fmla="*/ 7765 w 10577"/>
                  <a:gd name="connsiteY330" fmla="*/ 6504 h 10000"/>
                  <a:gd name="connsiteX331" fmla="*/ 7765 w 10577"/>
                  <a:gd name="connsiteY331" fmla="*/ 6530 h 10000"/>
                  <a:gd name="connsiteX332" fmla="*/ 7774 w 10577"/>
                  <a:gd name="connsiteY332" fmla="*/ 6556 h 10000"/>
                  <a:gd name="connsiteX333" fmla="*/ 7779 w 10577"/>
                  <a:gd name="connsiteY333" fmla="*/ 6556 h 10000"/>
                  <a:gd name="connsiteX334" fmla="*/ 7793 w 10577"/>
                  <a:gd name="connsiteY334" fmla="*/ 6547 h 10000"/>
                  <a:gd name="connsiteX335" fmla="*/ 7793 w 10577"/>
                  <a:gd name="connsiteY335" fmla="*/ 6530 h 10000"/>
                  <a:gd name="connsiteX336" fmla="*/ 7802 w 10577"/>
                  <a:gd name="connsiteY336" fmla="*/ 6496 h 10000"/>
                  <a:gd name="connsiteX337" fmla="*/ 7806 w 10577"/>
                  <a:gd name="connsiteY337" fmla="*/ 6487 h 10000"/>
                  <a:gd name="connsiteX338" fmla="*/ 7876 w 10577"/>
                  <a:gd name="connsiteY338" fmla="*/ 6530 h 10000"/>
                  <a:gd name="connsiteX339" fmla="*/ 7894 w 10577"/>
                  <a:gd name="connsiteY339" fmla="*/ 6530 h 10000"/>
                  <a:gd name="connsiteX340" fmla="*/ 7894 w 10577"/>
                  <a:gd name="connsiteY340" fmla="*/ 6504 h 10000"/>
                  <a:gd name="connsiteX341" fmla="*/ 7899 w 10577"/>
                  <a:gd name="connsiteY341" fmla="*/ 6504 h 10000"/>
                  <a:gd name="connsiteX342" fmla="*/ 7926 w 10577"/>
                  <a:gd name="connsiteY342" fmla="*/ 6504 h 10000"/>
                  <a:gd name="connsiteX343" fmla="*/ 7940 w 10577"/>
                  <a:gd name="connsiteY343" fmla="*/ 6547 h 10000"/>
                  <a:gd name="connsiteX344" fmla="*/ 7949 w 10577"/>
                  <a:gd name="connsiteY344" fmla="*/ 6547 h 10000"/>
                  <a:gd name="connsiteX345" fmla="*/ 7963 w 10577"/>
                  <a:gd name="connsiteY345" fmla="*/ 6530 h 10000"/>
                  <a:gd name="connsiteX346" fmla="*/ 7963 w 10577"/>
                  <a:gd name="connsiteY346" fmla="*/ 6504 h 10000"/>
                  <a:gd name="connsiteX347" fmla="*/ 7963 w 10577"/>
                  <a:gd name="connsiteY347" fmla="*/ 6504 h 10000"/>
                  <a:gd name="connsiteX348" fmla="*/ 7954 w 10577"/>
                  <a:gd name="connsiteY348" fmla="*/ 6496 h 10000"/>
                  <a:gd name="connsiteX349" fmla="*/ 7963 w 10577"/>
                  <a:gd name="connsiteY349" fmla="*/ 6487 h 10000"/>
                  <a:gd name="connsiteX350" fmla="*/ 7982 w 10577"/>
                  <a:gd name="connsiteY350" fmla="*/ 6487 h 10000"/>
                  <a:gd name="connsiteX351" fmla="*/ 7982 w 10577"/>
                  <a:gd name="connsiteY351" fmla="*/ 6470 h 10000"/>
                  <a:gd name="connsiteX352" fmla="*/ 7972 w 10577"/>
                  <a:gd name="connsiteY352" fmla="*/ 6462 h 10000"/>
                  <a:gd name="connsiteX353" fmla="*/ 7972 w 10577"/>
                  <a:gd name="connsiteY353" fmla="*/ 6436 h 10000"/>
                  <a:gd name="connsiteX354" fmla="*/ 7986 w 10577"/>
                  <a:gd name="connsiteY354" fmla="*/ 6419 h 10000"/>
                  <a:gd name="connsiteX355" fmla="*/ 8000 w 10577"/>
                  <a:gd name="connsiteY355" fmla="*/ 6419 h 10000"/>
                  <a:gd name="connsiteX356" fmla="*/ 8055 w 10577"/>
                  <a:gd name="connsiteY356" fmla="*/ 6462 h 10000"/>
                  <a:gd name="connsiteX357" fmla="*/ 8069 w 10577"/>
                  <a:gd name="connsiteY357" fmla="*/ 6444 h 10000"/>
                  <a:gd name="connsiteX358" fmla="*/ 8083 w 10577"/>
                  <a:gd name="connsiteY358" fmla="*/ 6470 h 10000"/>
                  <a:gd name="connsiteX359" fmla="*/ 8083 w 10577"/>
                  <a:gd name="connsiteY359" fmla="*/ 6487 h 10000"/>
                  <a:gd name="connsiteX360" fmla="*/ 8097 w 10577"/>
                  <a:gd name="connsiteY360" fmla="*/ 6487 h 10000"/>
                  <a:gd name="connsiteX361" fmla="*/ 8101 w 10577"/>
                  <a:gd name="connsiteY361" fmla="*/ 6462 h 10000"/>
                  <a:gd name="connsiteX362" fmla="*/ 8115 w 10577"/>
                  <a:gd name="connsiteY362" fmla="*/ 6462 h 10000"/>
                  <a:gd name="connsiteX363" fmla="*/ 8129 w 10577"/>
                  <a:gd name="connsiteY363" fmla="*/ 6462 h 10000"/>
                  <a:gd name="connsiteX364" fmla="*/ 8157 w 10577"/>
                  <a:gd name="connsiteY364" fmla="*/ 6496 h 10000"/>
                  <a:gd name="connsiteX365" fmla="*/ 8157 w 10577"/>
                  <a:gd name="connsiteY365" fmla="*/ 6521 h 10000"/>
                  <a:gd name="connsiteX366" fmla="*/ 8180 w 10577"/>
                  <a:gd name="connsiteY366" fmla="*/ 6530 h 10000"/>
                  <a:gd name="connsiteX367" fmla="*/ 8180 w 10577"/>
                  <a:gd name="connsiteY367" fmla="*/ 6547 h 10000"/>
                  <a:gd name="connsiteX368" fmla="*/ 8171 w 10577"/>
                  <a:gd name="connsiteY368" fmla="*/ 6556 h 10000"/>
                  <a:gd name="connsiteX369" fmla="*/ 8129 w 10577"/>
                  <a:gd name="connsiteY369" fmla="*/ 6556 h 10000"/>
                  <a:gd name="connsiteX370" fmla="*/ 8106 w 10577"/>
                  <a:gd name="connsiteY370" fmla="*/ 6573 h 10000"/>
                  <a:gd name="connsiteX371" fmla="*/ 8115 w 10577"/>
                  <a:gd name="connsiteY371" fmla="*/ 6581 h 10000"/>
                  <a:gd name="connsiteX372" fmla="*/ 8129 w 10577"/>
                  <a:gd name="connsiteY372" fmla="*/ 6632 h 10000"/>
                  <a:gd name="connsiteX373" fmla="*/ 8171 w 10577"/>
                  <a:gd name="connsiteY373" fmla="*/ 6632 h 10000"/>
                  <a:gd name="connsiteX374" fmla="*/ 8180 w 10577"/>
                  <a:gd name="connsiteY374" fmla="*/ 6624 h 10000"/>
                  <a:gd name="connsiteX375" fmla="*/ 8189 w 10577"/>
                  <a:gd name="connsiteY375" fmla="*/ 6598 h 10000"/>
                  <a:gd name="connsiteX376" fmla="*/ 8203 w 10577"/>
                  <a:gd name="connsiteY376" fmla="*/ 6581 h 10000"/>
                  <a:gd name="connsiteX377" fmla="*/ 8207 w 10577"/>
                  <a:gd name="connsiteY377" fmla="*/ 6607 h 10000"/>
                  <a:gd name="connsiteX378" fmla="*/ 8221 w 10577"/>
                  <a:gd name="connsiteY378" fmla="*/ 6624 h 10000"/>
                  <a:gd name="connsiteX379" fmla="*/ 8235 w 10577"/>
                  <a:gd name="connsiteY379" fmla="*/ 6607 h 10000"/>
                  <a:gd name="connsiteX380" fmla="*/ 8240 w 10577"/>
                  <a:gd name="connsiteY380" fmla="*/ 6581 h 10000"/>
                  <a:gd name="connsiteX381" fmla="*/ 8253 w 10577"/>
                  <a:gd name="connsiteY381" fmla="*/ 6573 h 10000"/>
                  <a:gd name="connsiteX382" fmla="*/ 8263 w 10577"/>
                  <a:gd name="connsiteY382" fmla="*/ 6556 h 10000"/>
                  <a:gd name="connsiteX383" fmla="*/ 8276 w 10577"/>
                  <a:gd name="connsiteY383" fmla="*/ 6547 h 10000"/>
                  <a:gd name="connsiteX384" fmla="*/ 8290 w 10577"/>
                  <a:gd name="connsiteY384" fmla="*/ 6556 h 10000"/>
                  <a:gd name="connsiteX385" fmla="*/ 8304 w 10577"/>
                  <a:gd name="connsiteY385" fmla="*/ 6581 h 10000"/>
                  <a:gd name="connsiteX386" fmla="*/ 8309 w 10577"/>
                  <a:gd name="connsiteY386" fmla="*/ 6581 h 10000"/>
                  <a:gd name="connsiteX387" fmla="*/ 8327 w 10577"/>
                  <a:gd name="connsiteY387" fmla="*/ 6573 h 10000"/>
                  <a:gd name="connsiteX388" fmla="*/ 8327 w 10577"/>
                  <a:gd name="connsiteY388" fmla="*/ 6556 h 10000"/>
                  <a:gd name="connsiteX389" fmla="*/ 8350 w 10577"/>
                  <a:gd name="connsiteY389" fmla="*/ 6556 h 10000"/>
                  <a:gd name="connsiteX390" fmla="*/ 8355 w 10577"/>
                  <a:gd name="connsiteY390" fmla="*/ 6573 h 10000"/>
                  <a:gd name="connsiteX391" fmla="*/ 8364 w 10577"/>
                  <a:gd name="connsiteY391" fmla="*/ 6556 h 10000"/>
                  <a:gd name="connsiteX392" fmla="*/ 8369 w 10577"/>
                  <a:gd name="connsiteY392" fmla="*/ 6556 h 10000"/>
                  <a:gd name="connsiteX393" fmla="*/ 8378 w 10577"/>
                  <a:gd name="connsiteY393" fmla="*/ 6530 h 10000"/>
                  <a:gd name="connsiteX394" fmla="*/ 8369 w 10577"/>
                  <a:gd name="connsiteY394" fmla="*/ 6504 h 10000"/>
                  <a:gd name="connsiteX395" fmla="*/ 8364 w 10577"/>
                  <a:gd name="connsiteY395" fmla="*/ 6496 h 10000"/>
                  <a:gd name="connsiteX396" fmla="*/ 8336 w 10577"/>
                  <a:gd name="connsiteY396" fmla="*/ 6470 h 10000"/>
                  <a:gd name="connsiteX397" fmla="*/ 8309 w 10577"/>
                  <a:gd name="connsiteY397" fmla="*/ 6487 h 10000"/>
                  <a:gd name="connsiteX398" fmla="*/ 8313 w 10577"/>
                  <a:gd name="connsiteY398" fmla="*/ 6462 h 10000"/>
                  <a:gd name="connsiteX399" fmla="*/ 8323 w 10577"/>
                  <a:gd name="connsiteY399" fmla="*/ 6444 h 10000"/>
                  <a:gd name="connsiteX400" fmla="*/ 8309 w 10577"/>
                  <a:gd name="connsiteY400" fmla="*/ 6393 h 10000"/>
                  <a:gd name="connsiteX401" fmla="*/ 8313 w 10577"/>
                  <a:gd name="connsiteY401" fmla="*/ 6385 h 10000"/>
                  <a:gd name="connsiteX402" fmla="*/ 8323 w 10577"/>
                  <a:gd name="connsiteY402" fmla="*/ 6393 h 10000"/>
                  <a:gd name="connsiteX403" fmla="*/ 8323 w 10577"/>
                  <a:gd name="connsiteY403" fmla="*/ 6393 h 10000"/>
                  <a:gd name="connsiteX404" fmla="*/ 8355 w 10577"/>
                  <a:gd name="connsiteY404" fmla="*/ 6282 h 10000"/>
                  <a:gd name="connsiteX405" fmla="*/ 8369 w 10577"/>
                  <a:gd name="connsiteY405" fmla="*/ 6256 h 10000"/>
                  <a:gd name="connsiteX406" fmla="*/ 8382 w 10577"/>
                  <a:gd name="connsiteY406" fmla="*/ 6248 h 10000"/>
                  <a:gd name="connsiteX407" fmla="*/ 8424 w 10577"/>
                  <a:gd name="connsiteY407" fmla="*/ 6162 h 10000"/>
                  <a:gd name="connsiteX408" fmla="*/ 8429 w 10577"/>
                  <a:gd name="connsiteY408" fmla="*/ 6145 h 10000"/>
                  <a:gd name="connsiteX409" fmla="*/ 8470 w 10577"/>
                  <a:gd name="connsiteY409" fmla="*/ 6051 h 10000"/>
                  <a:gd name="connsiteX410" fmla="*/ 8475 w 10577"/>
                  <a:gd name="connsiteY410" fmla="*/ 5983 h 10000"/>
                  <a:gd name="connsiteX411" fmla="*/ 8512 w 10577"/>
                  <a:gd name="connsiteY411" fmla="*/ 5940 h 10000"/>
                  <a:gd name="connsiteX412" fmla="*/ 8521 w 10577"/>
                  <a:gd name="connsiteY412" fmla="*/ 5923 h 10000"/>
                  <a:gd name="connsiteX413" fmla="*/ 8535 w 10577"/>
                  <a:gd name="connsiteY413" fmla="*/ 5915 h 10000"/>
                  <a:gd name="connsiteX414" fmla="*/ 8562 w 10577"/>
                  <a:gd name="connsiteY414" fmla="*/ 5915 h 10000"/>
                  <a:gd name="connsiteX415" fmla="*/ 8618 w 10577"/>
                  <a:gd name="connsiteY415" fmla="*/ 5889 h 10000"/>
                  <a:gd name="connsiteX416" fmla="*/ 8622 w 10577"/>
                  <a:gd name="connsiteY416" fmla="*/ 5889 h 10000"/>
                  <a:gd name="connsiteX417" fmla="*/ 8622 w 10577"/>
                  <a:gd name="connsiteY417" fmla="*/ 5872 h 10000"/>
                  <a:gd name="connsiteX418" fmla="*/ 8636 w 10577"/>
                  <a:gd name="connsiteY418" fmla="*/ 5872 h 10000"/>
                  <a:gd name="connsiteX419" fmla="*/ 8650 w 10577"/>
                  <a:gd name="connsiteY419" fmla="*/ 5889 h 10000"/>
                  <a:gd name="connsiteX420" fmla="*/ 8659 w 10577"/>
                  <a:gd name="connsiteY420" fmla="*/ 5915 h 10000"/>
                  <a:gd name="connsiteX421" fmla="*/ 8664 w 10577"/>
                  <a:gd name="connsiteY421" fmla="*/ 5940 h 10000"/>
                  <a:gd name="connsiteX422" fmla="*/ 8682 w 10577"/>
                  <a:gd name="connsiteY422" fmla="*/ 5923 h 10000"/>
                  <a:gd name="connsiteX423" fmla="*/ 8719 w 10577"/>
                  <a:gd name="connsiteY423" fmla="*/ 5863 h 10000"/>
                  <a:gd name="connsiteX424" fmla="*/ 8705 w 10577"/>
                  <a:gd name="connsiteY424" fmla="*/ 5966 h 10000"/>
                  <a:gd name="connsiteX425" fmla="*/ 8696 w 10577"/>
                  <a:gd name="connsiteY425" fmla="*/ 5983 h 10000"/>
                  <a:gd name="connsiteX426" fmla="*/ 8682 w 10577"/>
                  <a:gd name="connsiteY426" fmla="*/ 6026 h 10000"/>
                  <a:gd name="connsiteX427" fmla="*/ 8682 w 10577"/>
                  <a:gd name="connsiteY427" fmla="*/ 6051 h 10000"/>
                  <a:gd name="connsiteX428" fmla="*/ 8691 w 10577"/>
                  <a:gd name="connsiteY428" fmla="*/ 6077 h 10000"/>
                  <a:gd name="connsiteX429" fmla="*/ 8691 w 10577"/>
                  <a:gd name="connsiteY429" fmla="*/ 6085 h 10000"/>
                  <a:gd name="connsiteX430" fmla="*/ 8682 w 10577"/>
                  <a:gd name="connsiteY430" fmla="*/ 6103 h 10000"/>
                  <a:gd name="connsiteX431" fmla="*/ 8682 w 10577"/>
                  <a:gd name="connsiteY431" fmla="*/ 6111 h 10000"/>
                  <a:gd name="connsiteX432" fmla="*/ 8691 w 10577"/>
                  <a:gd name="connsiteY432" fmla="*/ 6120 h 10000"/>
                  <a:gd name="connsiteX433" fmla="*/ 8719 w 10577"/>
                  <a:gd name="connsiteY433" fmla="*/ 6103 h 10000"/>
                  <a:gd name="connsiteX434" fmla="*/ 8705 w 10577"/>
                  <a:gd name="connsiteY434" fmla="*/ 6188 h 10000"/>
                  <a:gd name="connsiteX435" fmla="*/ 8705 w 10577"/>
                  <a:gd name="connsiteY435" fmla="*/ 6214 h 10000"/>
                  <a:gd name="connsiteX436" fmla="*/ 8710 w 10577"/>
                  <a:gd name="connsiteY436" fmla="*/ 6197 h 10000"/>
                  <a:gd name="connsiteX437" fmla="*/ 8728 w 10577"/>
                  <a:gd name="connsiteY437" fmla="*/ 6171 h 10000"/>
                  <a:gd name="connsiteX438" fmla="*/ 8737 w 10577"/>
                  <a:gd name="connsiteY438" fmla="*/ 6171 h 10000"/>
                  <a:gd name="connsiteX439" fmla="*/ 8843 w 10577"/>
                  <a:gd name="connsiteY439" fmla="*/ 5949 h 10000"/>
                  <a:gd name="connsiteX440" fmla="*/ 8866 w 10577"/>
                  <a:gd name="connsiteY440" fmla="*/ 5949 h 10000"/>
                  <a:gd name="connsiteX441" fmla="*/ 8871 w 10577"/>
                  <a:gd name="connsiteY441" fmla="*/ 5940 h 10000"/>
                  <a:gd name="connsiteX442" fmla="*/ 8876 w 10577"/>
                  <a:gd name="connsiteY442" fmla="*/ 5923 h 10000"/>
                  <a:gd name="connsiteX443" fmla="*/ 8885 w 10577"/>
                  <a:gd name="connsiteY443" fmla="*/ 5940 h 10000"/>
                  <a:gd name="connsiteX444" fmla="*/ 8885 w 10577"/>
                  <a:gd name="connsiteY444" fmla="*/ 5949 h 10000"/>
                  <a:gd name="connsiteX445" fmla="*/ 8885 w 10577"/>
                  <a:gd name="connsiteY445" fmla="*/ 5974 h 10000"/>
                  <a:gd name="connsiteX446" fmla="*/ 8889 w 10577"/>
                  <a:gd name="connsiteY446" fmla="*/ 5974 h 10000"/>
                  <a:gd name="connsiteX447" fmla="*/ 8903 w 10577"/>
                  <a:gd name="connsiteY447" fmla="*/ 5923 h 10000"/>
                  <a:gd name="connsiteX448" fmla="*/ 8889 w 10577"/>
                  <a:gd name="connsiteY448" fmla="*/ 5923 h 10000"/>
                  <a:gd name="connsiteX449" fmla="*/ 8889 w 10577"/>
                  <a:gd name="connsiteY449" fmla="*/ 5897 h 10000"/>
                  <a:gd name="connsiteX450" fmla="*/ 8899 w 10577"/>
                  <a:gd name="connsiteY450" fmla="*/ 5838 h 10000"/>
                  <a:gd name="connsiteX451" fmla="*/ 8889 w 10577"/>
                  <a:gd name="connsiteY451" fmla="*/ 5812 h 10000"/>
                  <a:gd name="connsiteX452" fmla="*/ 8903 w 10577"/>
                  <a:gd name="connsiteY452" fmla="*/ 5778 h 10000"/>
                  <a:gd name="connsiteX453" fmla="*/ 8903 w 10577"/>
                  <a:gd name="connsiteY453" fmla="*/ 5761 h 10000"/>
                  <a:gd name="connsiteX454" fmla="*/ 8912 w 10577"/>
                  <a:gd name="connsiteY454" fmla="*/ 5735 h 10000"/>
                  <a:gd name="connsiteX455" fmla="*/ 8931 w 10577"/>
                  <a:gd name="connsiteY455" fmla="*/ 5701 h 10000"/>
                  <a:gd name="connsiteX456" fmla="*/ 8977 w 10577"/>
                  <a:gd name="connsiteY456" fmla="*/ 5675 h 10000"/>
                  <a:gd name="connsiteX457" fmla="*/ 9000 w 10577"/>
                  <a:gd name="connsiteY457" fmla="*/ 5675 h 10000"/>
                  <a:gd name="connsiteX458" fmla="*/ 9018 w 10577"/>
                  <a:gd name="connsiteY458" fmla="*/ 5709 h 10000"/>
                  <a:gd name="connsiteX459" fmla="*/ 9009 w 10577"/>
                  <a:gd name="connsiteY459" fmla="*/ 5735 h 10000"/>
                  <a:gd name="connsiteX460" fmla="*/ 9000 w 10577"/>
                  <a:gd name="connsiteY460" fmla="*/ 5735 h 10000"/>
                  <a:gd name="connsiteX461" fmla="*/ 8963 w 10577"/>
                  <a:gd name="connsiteY461" fmla="*/ 5786 h 10000"/>
                  <a:gd name="connsiteX462" fmla="*/ 8949 w 10577"/>
                  <a:gd name="connsiteY462" fmla="*/ 5940 h 10000"/>
                  <a:gd name="connsiteX463" fmla="*/ 8945 w 10577"/>
                  <a:gd name="connsiteY463" fmla="*/ 5966 h 10000"/>
                  <a:gd name="connsiteX464" fmla="*/ 8945 w 10577"/>
                  <a:gd name="connsiteY464" fmla="*/ 6000 h 10000"/>
                  <a:gd name="connsiteX465" fmla="*/ 8945 w 10577"/>
                  <a:gd name="connsiteY465" fmla="*/ 6009 h 10000"/>
                  <a:gd name="connsiteX466" fmla="*/ 8945 w 10577"/>
                  <a:gd name="connsiteY466" fmla="*/ 6034 h 10000"/>
                  <a:gd name="connsiteX467" fmla="*/ 8931 w 10577"/>
                  <a:gd name="connsiteY467" fmla="*/ 6060 h 10000"/>
                  <a:gd name="connsiteX468" fmla="*/ 8926 w 10577"/>
                  <a:gd name="connsiteY468" fmla="*/ 6077 h 10000"/>
                  <a:gd name="connsiteX469" fmla="*/ 8926 w 10577"/>
                  <a:gd name="connsiteY469" fmla="*/ 6111 h 10000"/>
                  <a:gd name="connsiteX470" fmla="*/ 8931 w 10577"/>
                  <a:gd name="connsiteY470" fmla="*/ 6120 h 10000"/>
                  <a:gd name="connsiteX471" fmla="*/ 8931 w 10577"/>
                  <a:gd name="connsiteY471" fmla="*/ 6137 h 10000"/>
                  <a:gd name="connsiteX472" fmla="*/ 8912 w 10577"/>
                  <a:gd name="connsiteY472" fmla="*/ 6171 h 10000"/>
                  <a:gd name="connsiteX473" fmla="*/ 8899 w 10577"/>
                  <a:gd name="connsiteY473" fmla="*/ 6162 h 10000"/>
                  <a:gd name="connsiteX474" fmla="*/ 8885 w 10577"/>
                  <a:gd name="connsiteY474" fmla="*/ 6171 h 10000"/>
                  <a:gd name="connsiteX475" fmla="*/ 8866 w 10577"/>
                  <a:gd name="connsiteY475" fmla="*/ 6214 h 10000"/>
                  <a:gd name="connsiteX476" fmla="*/ 8853 w 10577"/>
                  <a:gd name="connsiteY476" fmla="*/ 6214 h 10000"/>
                  <a:gd name="connsiteX477" fmla="*/ 8816 w 10577"/>
                  <a:gd name="connsiteY477" fmla="*/ 6248 h 10000"/>
                  <a:gd name="connsiteX478" fmla="*/ 8816 w 10577"/>
                  <a:gd name="connsiteY478" fmla="*/ 6248 h 10000"/>
                  <a:gd name="connsiteX479" fmla="*/ 8816 w 10577"/>
                  <a:gd name="connsiteY479" fmla="*/ 6282 h 10000"/>
                  <a:gd name="connsiteX480" fmla="*/ 8811 w 10577"/>
                  <a:gd name="connsiteY480" fmla="*/ 6308 h 10000"/>
                  <a:gd name="connsiteX481" fmla="*/ 8751 w 10577"/>
                  <a:gd name="connsiteY481" fmla="*/ 6436 h 10000"/>
                  <a:gd name="connsiteX482" fmla="*/ 8724 w 10577"/>
                  <a:gd name="connsiteY482" fmla="*/ 6470 h 10000"/>
                  <a:gd name="connsiteX483" fmla="*/ 8710 w 10577"/>
                  <a:gd name="connsiteY483" fmla="*/ 6504 h 10000"/>
                  <a:gd name="connsiteX484" fmla="*/ 8705 w 10577"/>
                  <a:gd name="connsiteY484" fmla="*/ 6521 h 10000"/>
                  <a:gd name="connsiteX485" fmla="*/ 8677 w 10577"/>
                  <a:gd name="connsiteY485" fmla="*/ 6573 h 10000"/>
                  <a:gd name="connsiteX486" fmla="*/ 8677 w 10577"/>
                  <a:gd name="connsiteY486" fmla="*/ 6624 h 10000"/>
                  <a:gd name="connsiteX487" fmla="*/ 8590 w 10577"/>
                  <a:gd name="connsiteY487" fmla="*/ 6803 h 10000"/>
                  <a:gd name="connsiteX488" fmla="*/ 8562 w 10577"/>
                  <a:gd name="connsiteY488" fmla="*/ 6829 h 10000"/>
                  <a:gd name="connsiteX489" fmla="*/ 8544 w 10577"/>
                  <a:gd name="connsiteY489" fmla="*/ 6829 h 10000"/>
                  <a:gd name="connsiteX490" fmla="*/ 8521 w 10577"/>
                  <a:gd name="connsiteY490" fmla="*/ 6880 h 10000"/>
                  <a:gd name="connsiteX491" fmla="*/ 8498 w 10577"/>
                  <a:gd name="connsiteY491" fmla="*/ 6872 h 10000"/>
                  <a:gd name="connsiteX492" fmla="*/ 8488 w 10577"/>
                  <a:gd name="connsiteY492" fmla="*/ 6872 h 10000"/>
                  <a:gd name="connsiteX493" fmla="*/ 8498 w 10577"/>
                  <a:gd name="connsiteY493" fmla="*/ 6940 h 10000"/>
                  <a:gd name="connsiteX494" fmla="*/ 8484 w 10577"/>
                  <a:gd name="connsiteY494" fmla="*/ 7026 h 10000"/>
                  <a:gd name="connsiteX495" fmla="*/ 8429 w 10577"/>
                  <a:gd name="connsiteY495" fmla="*/ 7094 h 10000"/>
                  <a:gd name="connsiteX496" fmla="*/ 8401 w 10577"/>
                  <a:gd name="connsiteY496" fmla="*/ 7291 h 10000"/>
                  <a:gd name="connsiteX497" fmla="*/ 8424 w 10577"/>
                  <a:gd name="connsiteY497" fmla="*/ 7692 h 10000"/>
                  <a:gd name="connsiteX498" fmla="*/ 8424 w 10577"/>
                  <a:gd name="connsiteY498" fmla="*/ 7701 h 10000"/>
                  <a:gd name="connsiteX499" fmla="*/ 8484 w 10577"/>
                  <a:gd name="connsiteY499" fmla="*/ 8308 h 10000"/>
                  <a:gd name="connsiteX500" fmla="*/ 8576 w 10577"/>
                  <a:gd name="connsiteY500" fmla="*/ 8120 h 10000"/>
                  <a:gd name="connsiteX501" fmla="*/ 8590 w 10577"/>
                  <a:gd name="connsiteY501" fmla="*/ 8026 h 10000"/>
                  <a:gd name="connsiteX502" fmla="*/ 8590 w 10577"/>
                  <a:gd name="connsiteY502" fmla="*/ 7983 h 10000"/>
                  <a:gd name="connsiteX503" fmla="*/ 8594 w 10577"/>
                  <a:gd name="connsiteY503" fmla="*/ 7974 h 10000"/>
                  <a:gd name="connsiteX504" fmla="*/ 8594 w 10577"/>
                  <a:gd name="connsiteY504" fmla="*/ 7940 h 10000"/>
                  <a:gd name="connsiteX505" fmla="*/ 8594 w 10577"/>
                  <a:gd name="connsiteY505" fmla="*/ 7923 h 10000"/>
                  <a:gd name="connsiteX506" fmla="*/ 8594 w 10577"/>
                  <a:gd name="connsiteY506" fmla="*/ 7915 h 10000"/>
                  <a:gd name="connsiteX507" fmla="*/ 8604 w 10577"/>
                  <a:gd name="connsiteY507" fmla="*/ 7915 h 10000"/>
                  <a:gd name="connsiteX508" fmla="*/ 8608 w 10577"/>
                  <a:gd name="connsiteY508" fmla="*/ 7923 h 10000"/>
                  <a:gd name="connsiteX509" fmla="*/ 8645 w 10577"/>
                  <a:gd name="connsiteY509" fmla="*/ 7872 h 10000"/>
                  <a:gd name="connsiteX510" fmla="*/ 8668 w 10577"/>
                  <a:gd name="connsiteY510" fmla="*/ 7846 h 10000"/>
                  <a:gd name="connsiteX511" fmla="*/ 8691 w 10577"/>
                  <a:gd name="connsiteY511" fmla="*/ 7863 h 10000"/>
                  <a:gd name="connsiteX512" fmla="*/ 8691 w 10577"/>
                  <a:gd name="connsiteY512" fmla="*/ 7846 h 10000"/>
                  <a:gd name="connsiteX513" fmla="*/ 8682 w 10577"/>
                  <a:gd name="connsiteY513" fmla="*/ 7838 h 10000"/>
                  <a:gd name="connsiteX514" fmla="*/ 8682 w 10577"/>
                  <a:gd name="connsiteY514" fmla="*/ 7692 h 10000"/>
                  <a:gd name="connsiteX515" fmla="*/ 8728 w 10577"/>
                  <a:gd name="connsiteY515" fmla="*/ 7598 h 10000"/>
                  <a:gd name="connsiteX516" fmla="*/ 8751 w 10577"/>
                  <a:gd name="connsiteY516" fmla="*/ 7573 h 10000"/>
                  <a:gd name="connsiteX517" fmla="*/ 8770 w 10577"/>
                  <a:gd name="connsiteY517" fmla="*/ 7573 h 10000"/>
                  <a:gd name="connsiteX518" fmla="*/ 8779 w 10577"/>
                  <a:gd name="connsiteY518" fmla="*/ 7590 h 10000"/>
                  <a:gd name="connsiteX519" fmla="*/ 8793 w 10577"/>
                  <a:gd name="connsiteY519" fmla="*/ 7590 h 10000"/>
                  <a:gd name="connsiteX520" fmla="*/ 8811 w 10577"/>
                  <a:gd name="connsiteY520" fmla="*/ 7590 h 10000"/>
                  <a:gd name="connsiteX521" fmla="*/ 8825 w 10577"/>
                  <a:gd name="connsiteY521" fmla="*/ 7556 h 10000"/>
                  <a:gd name="connsiteX522" fmla="*/ 8829 w 10577"/>
                  <a:gd name="connsiteY522" fmla="*/ 7530 h 10000"/>
                  <a:gd name="connsiteX523" fmla="*/ 8802 w 10577"/>
                  <a:gd name="connsiteY523" fmla="*/ 7462 h 10000"/>
                  <a:gd name="connsiteX524" fmla="*/ 8797 w 10577"/>
                  <a:gd name="connsiteY524" fmla="*/ 7402 h 10000"/>
                  <a:gd name="connsiteX525" fmla="*/ 8816 w 10577"/>
                  <a:gd name="connsiteY525" fmla="*/ 7291 h 10000"/>
                  <a:gd name="connsiteX526" fmla="*/ 8825 w 10577"/>
                  <a:gd name="connsiteY526" fmla="*/ 7256 h 10000"/>
                  <a:gd name="connsiteX527" fmla="*/ 8843 w 10577"/>
                  <a:gd name="connsiteY527" fmla="*/ 7231 h 10000"/>
                  <a:gd name="connsiteX528" fmla="*/ 8839 w 10577"/>
                  <a:gd name="connsiteY528" fmla="*/ 7205 h 10000"/>
                  <a:gd name="connsiteX529" fmla="*/ 8839 w 10577"/>
                  <a:gd name="connsiteY529" fmla="*/ 7188 h 10000"/>
                  <a:gd name="connsiteX530" fmla="*/ 8876 w 10577"/>
                  <a:gd name="connsiteY530" fmla="*/ 7162 h 10000"/>
                  <a:gd name="connsiteX531" fmla="*/ 8885 w 10577"/>
                  <a:gd name="connsiteY531" fmla="*/ 7154 h 10000"/>
                  <a:gd name="connsiteX532" fmla="*/ 8885 w 10577"/>
                  <a:gd name="connsiteY532" fmla="*/ 7162 h 10000"/>
                  <a:gd name="connsiteX533" fmla="*/ 8876 w 10577"/>
                  <a:gd name="connsiteY533" fmla="*/ 7188 h 10000"/>
                  <a:gd name="connsiteX534" fmla="*/ 8871 w 10577"/>
                  <a:gd name="connsiteY534" fmla="*/ 7205 h 10000"/>
                  <a:gd name="connsiteX535" fmla="*/ 8866 w 10577"/>
                  <a:gd name="connsiteY535" fmla="*/ 7214 h 10000"/>
                  <a:gd name="connsiteX536" fmla="*/ 8876 w 10577"/>
                  <a:gd name="connsiteY536" fmla="*/ 7265 h 10000"/>
                  <a:gd name="connsiteX537" fmla="*/ 8885 w 10577"/>
                  <a:gd name="connsiteY537" fmla="*/ 7282 h 10000"/>
                  <a:gd name="connsiteX538" fmla="*/ 8889 w 10577"/>
                  <a:gd name="connsiteY538" fmla="*/ 7282 h 10000"/>
                  <a:gd name="connsiteX539" fmla="*/ 8903 w 10577"/>
                  <a:gd name="connsiteY539" fmla="*/ 7239 h 10000"/>
                  <a:gd name="connsiteX540" fmla="*/ 8903 w 10577"/>
                  <a:gd name="connsiteY540" fmla="*/ 7214 h 10000"/>
                  <a:gd name="connsiteX541" fmla="*/ 8899 w 10577"/>
                  <a:gd name="connsiteY541" fmla="*/ 7128 h 10000"/>
                  <a:gd name="connsiteX542" fmla="*/ 8889 w 10577"/>
                  <a:gd name="connsiteY542" fmla="*/ 7120 h 10000"/>
                  <a:gd name="connsiteX543" fmla="*/ 8871 w 10577"/>
                  <a:gd name="connsiteY543" fmla="*/ 7120 h 10000"/>
                  <a:gd name="connsiteX544" fmla="*/ 8871 w 10577"/>
                  <a:gd name="connsiteY544" fmla="*/ 7120 h 10000"/>
                  <a:gd name="connsiteX545" fmla="*/ 8871 w 10577"/>
                  <a:gd name="connsiteY545" fmla="*/ 6991 h 10000"/>
                  <a:gd name="connsiteX546" fmla="*/ 8871 w 10577"/>
                  <a:gd name="connsiteY546" fmla="*/ 6966 h 10000"/>
                  <a:gd name="connsiteX547" fmla="*/ 8889 w 10577"/>
                  <a:gd name="connsiteY547" fmla="*/ 6940 h 10000"/>
                  <a:gd name="connsiteX548" fmla="*/ 8903 w 10577"/>
                  <a:gd name="connsiteY548" fmla="*/ 6906 h 10000"/>
                  <a:gd name="connsiteX549" fmla="*/ 8899 w 10577"/>
                  <a:gd name="connsiteY549" fmla="*/ 6880 h 10000"/>
                  <a:gd name="connsiteX550" fmla="*/ 8866 w 10577"/>
                  <a:gd name="connsiteY550" fmla="*/ 6846 h 10000"/>
                  <a:gd name="connsiteX551" fmla="*/ 8853 w 10577"/>
                  <a:gd name="connsiteY551" fmla="*/ 6846 h 10000"/>
                  <a:gd name="connsiteX552" fmla="*/ 8843 w 10577"/>
                  <a:gd name="connsiteY552" fmla="*/ 6880 h 10000"/>
                  <a:gd name="connsiteX553" fmla="*/ 8843 w 10577"/>
                  <a:gd name="connsiteY553" fmla="*/ 6897 h 10000"/>
                  <a:gd name="connsiteX554" fmla="*/ 8829 w 10577"/>
                  <a:gd name="connsiteY554" fmla="*/ 6880 h 10000"/>
                  <a:gd name="connsiteX555" fmla="*/ 8825 w 10577"/>
                  <a:gd name="connsiteY555" fmla="*/ 6872 h 10000"/>
                  <a:gd name="connsiteX556" fmla="*/ 8816 w 10577"/>
                  <a:gd name="connsiteY556" fmla="*/ 6846 h 10000"/>
                  <a:gd name="connsiteX557" fmla="*/ 8816 w 10577"/>
                  <a:gd name="connsiteY557" fmla="*/ 6803 h 10000"/>
                  <a:gd name="connsiteX558" fmla="*/ 8876 w 10577"/>
                  <a:gd name="connsiteY558" fmla="*/ 6598 h 10000"/>
                  <a:gd name="connsiteX559" fmla="*/ 8876 w 10577"/>
                  <a:gd name="connsiteY559" fmla="*/ 6573 h 10000"/>
                  <a:gd name="connsiteX560" fmla="*/ 8885 w 10577"/>
                  <a:gd name="connsiteY560" fmla="*/ 6556 h 10000"/>
                  <a:gd name="connsiteX561" fmla="*/ 8899 w 10577"/>
                  <a:gd name="connsiteY561" fmla="*/ 6573 h 10000"/>
                  <a:gd name="connsiteX562" fmla="*/ 8889 w 10577"/>
                  <a:gd name="connsiteY562" fmla="*/ 6556 h 10000"/>
                  <a:gd name="connsiteX563" fmla="*/ 8889 w 10577"/>
                  <a:gd name="connsiteY563" fmla="*/ 6530 h 10000"/>
                  <a:gd name="connsiteX564" fmla="*/ 8903 w 10577"/>
                  <a:gd name="connsiteY564" fmla="*/ 6521 h 10000"/>
                  <a:gd name="connsiteX565" fmla="*/ 8903 w 10577"/>
                  <a:gd name="connsiteY565" fmla="*/ 6504 h 10000"/>
                  <a:gd name="connsiteX566" fmla="*/ 8903 w 10577"/>
                  <a:gd name="connsiteY566" fmla="*/ 6487 h 10000"/>
                  <a:gd name="connsiteX567" fmla="*/ 8903 w 10577"/>
                  <a:gd name="connsiteY567" fmla="*/ 6462 h 10000"/>
                  <a:gd name="connsiteX568" fmla="*/ 8912 w 10577"/>
                  <a:gd name="connsiteY568" fmla="*/ 6419 h 10000"/>
                  <a:gd name="connsiteX569" fmla="*/ 8917 w 10577"/>
                  <a:gd name="connsiteY569" fmla="*/ 6393 h 10000"/>
                  <a:gd name="connsiteX570" fmla="*/ 8926 w 10577"/>
                  <a:gd name="connsiteY570" fmla="*/ 6385 h 10000"/>
                  <a:gd name="connsiteX571" fmla="*/ 8931 w 10577"/>
                  <a:gd name="connsiteY571" fmla="*/ 6385 h 10000"/>
                  <a:gd name="connsiteX572" fmla="*/ 8949 w 10577"/>
                  <a:gd name="connsiteY572" fmla="*/ 6359 h 10000"/>
                  <a:gd name="connsiteX573" fmla="*/ 8959 w 10577"/>
                  <a:gd name="connsiteY573" fmla="*/ 6368 h 10000"/>
                  <a:gd name="connsiteX574" fmla="*/ 8963 w 10577"/>
                  <a:gd name="connsiteY574" fmla="*/ 6385 h 10000"/>
                  <a:gd name="connsiteX575" fmla="*/ 8972 w 10577"/>
                  <a:gd name="connsiteY575" fmla="*/ 6359 h 10000"/>
                  <a:gd name="connsiteX576" fmla="*/ 8991 w 10577"/>
                  <a:gd name="connsiteY576" fmla="*/ 6350 h 10000"/>
                  <a:gd name="connsiteX577" fmla="*/ 9000 w 10577"/>
                  <a:gd name="connsiteY577" fmla="*/ 6368 h 10000"/>
                  <a:gd name="connsiteX578" fmla="*/ 9005 w 10577"/>
                  <a:gd name="connsiteY578" fmla="*/ 6393 h 10000"/>
                  <a:gd name="connsiteX579" fmla="*/ 9018 w 10577"/>
                  <a:gd name="connsiteY579" fmla="*/ 6393 h 10000"/>
                  <a:gd name="connsiteX580" fmla="*/ 9023 w 10577"/>
                  <a:gd name="connsiteY580" fmla="*/ 6359 h 10000"/>
                  <a:gd name="connsiteX581" fmla="*/ 9023 w 10577"/>
                  <a:gd name="connsiteY581" fmla="*/ 6333 h 10000"/>
                  <a:gd name="connsiteX582" fmla="*/ 9037 w 10577"/>
                  <a:gd name="connsiteY582" fmla="*/ 6308 h 10000"/>
                  <a:gd name="connsiteX583" fmla="*/ 9074 w 10577"/>
                  <a:gd name="connsiteY583" fmla="*/ 6274 h 10000"/>
                  <a:gd name="connsiteX584" fmla="*/ 9092 w 10577"/>
                  <a:gd name="connsiteY584" fmla="*/ 6222 h 10000"/>
                  <a:gd name="connsiteX585" fmla="*/ 9097 w 10577"/>
                  <a:gd name="connsiteY585" fmla="*/ 6231 h 10000"/>
                  <a:gd name="connsiteX586" fmla="*/ 9097 w 10577"/>
                  <a:gd name="connsiteY586" fmla="*/ 6248 h 10000"/>
                  <a:gd name="connsiteX587" fmla="*/ 9097 w 10577"/>
                  <a:gd name="connsiteY587" fmla="*/ 6274 h 10000"/>
                  <a:gd name="connsiteX588" fmla="*/ 9097 w 10577"/>
                  <a:gd name="connsiteY588" fmla="*/ 6308 h 10000"/>
                  <a:gd name="connsiteX589" fmla="*/ 9092 w 10577"/>
                  <a:gd name="connsiteY589" fmla="*/ 6368 h 10000"/>
                  <a:gd name="connsiteX590" fmla="*/ 9092 w 10577"/>
                  <a:gd name="connsiteY590" fmla="*/ 6385 h 10000"/>
                  <a:gd name="connsiteX591" fmla="*/ 9092 w 10577"/>
                  <a:gd name="connsiteY591" fmla="*/ 6393 h 10000"/>
                  <a:gd name="connsiteX592" fmla="*/ 9092 w 10577"/>
                  <a:gd name="connsiteY592" fmla="*/ 6393 h 10000"/>
                  <a:gd name="connsiteX593" fmla="*/ 9143 w 10577"/>
                  <a:gd name="connsiteY593" fmla="*/ 6299 h 10000"/>
                  <a:gd name="connsiteX594" fmla="*/ 9143 w 10577"/>
                  <a:gd name="connsiteY594" fmla="*/ 6282 h 10000"/>
                  <a:gd name="connsiteX595" fmla="*/ 9143 w 10577"/>
                  <a:gd name="connsiteY595" fmla="*/ 6256 h 10000"/>
                  <a:gd name="connsiteX596" fmla="*/ 9143 w 10577"/>
                  <a:gd name="connsiteY596" fmla="*/ 6256 h 10000"/>
                  <a:gd name="connsiteX597" fmla="*/ 9157 w 10577"/>
                  <a:gd name="connsiteY597" fmla="*/ 6274 h 10000"/>
                  <a:gd name="connsiteX598" fmla="*/ 9166 w 10577"/>
                  <a:gd name="connsiteY598" fmla="*/ 6248 h 10000"/>
                  <a:gd name="connsiteX599" fmla="*/ 9180 w 10577"/>
                  <a:gd name="connsiteY599" fmla="*/ 6248 h 10000"/>
                  <a:gd name="connsiteX600" fmla="*/ 9198 w 10577"/>
                  <a:gd name="connsiteY600" fmla="*/ 6222 h 10000"/>
                  <a:gd name="connsiteX601" fmla="*/ 9212 w 10577"/>
                  <a:gd name="connsiteY601" fmla="*/ 6222 h 10000"/>
                  <a:gd name="connsiteX602" fmla="*/ 9226 w 10577"/>
                  <a:gd name="connsiteY602" fmla="*/ 6197 h 10000"/>
                  <a:gd name="connsiteX603" fmla="*/ 9230 w 10577"/>
                  <a:gd name="connsiteY603" fmla="*/ 6214 h 10000"/>
                  <a:gd name="connsiteX604" fmla="*/ 9272 w 10577"/>
                  <a:gd name="connsiteY604" fmla="*/ 6214 h 10000"/>
                  <a:gd name="connsiteX605" fmla="*/ 9304 w 10577"/>
                  <a:gd name="connsiteY605" fmla="*/ 6231 h 10000"/>
                  <a:gd name="connsiteX606" fmla="*/ 9318 w 10577"/>
                  <a:gd name="connsiteY606" fmla="*/ 6248 h 10000"/>
                  <a:gd name="connsiteX607" fmla="*/ 9327 w 10577"/>
                  <a:gd name="connsiteY607" fmla="*/ 6282 h 10000"/>
                  <a:gd name="connsiteX608" fmla="*/ 9355 w 10577"/>
                  <a:gd name="connsiteY608" fmla="*/ 6350 h 10000"/>
                  <a:gd name="connsiteX609" fmla="*/ 9355 w 10577"/>
                  <a:gd name="connsiteY609" fmla="*/ 6359 h 10000"/>
                  <a:gd name="connsiteX610" fmla="*/ 9364 w 10577"/>
                  <a:gd name="connsiteY610" fmla="*/ 6368 h 10000"/>
                  <a:gd name="connsiteX611" fmla="*/ 9373 w 10577"/>
                  <a:gd name="connsiteY611" fmla="*/ 6359 h 10000"/>
                  <a:gd name="connsiteX612" fmla="*/ 9373 w 10577"/>
                  <a:gd name="connsiteY612" fmla="*/ 6325 h 10000"/>
                  <a:gd name="connsiteX613" fmla="*/ 9387 w 10577"/>
                  <a:gd name="connsiteY613" fmla="*/ 6256 h 10000"/>
                  <a:gd name="connsiteX614" fmla="*/ 9387 w 10577"/>
                  <a:gd name="connsiteY614" fmla="*/ 6248 h 10000"/>
                  <a:gd name="connsiteX615" fmla="*/ 9378 w 10577"/>
                  <a:gd name="connsiteY615" fmla="*/ 6248 h 10000"/>
                  <a:gd name="connsiteX616" fmla="*/ 9406 w 10577"/>
                  <a:gd name="connsiteY616" fmla="*/ 6222 h 10000"/>
                  <a:gd name="connsiteX617" fmla="*/ 9415 w 10577"/>
                  <a:gd name="connsiteY617" fmla="*/ 6222 h 10000"/>
                  <a:gd name="connsiteX618" fmla="*/ 9415 w 10577"/>
                  <a:gd name="connsiteY618" fmla="*/ 6197 h 10000"/>
                  <a:gd name="connsiteX619" fmla="*/ 9419 w 10577"/>
                  <a:gd name="connsiteY619" fmla="*/ 6214 h 10000"/>
                  <a:gd name="connsiteX620" fmla="*/ 9424 w 10577"/>
                  <a:gd name="connsiteY620" fmla="*/ 6214 h 10000"/>
                  <a:gd name="connsiteX621" fmla="*/ 9447 w 10577"/>
                  <a:gd name="connsiteY621" fmla="*/ 6171 h 10000"/>
                  <a:gd name="connsiteX622" fmla="*/ 9452 w 10577"/>
                  <a:gd name="connsiteY622" fmla="*/ 6171 h 10000"/>
                  <a:gd name="connsiteX623" fmla="*/ 9452 w 10577"/>
                  <a:gd name="connsiteY623" fmla="*/ 6162 h 10000"/>
                  <a:gd name="connsiteX624" fmla="*/ 9461 w 10577"/>
                  <a:gd name="connsiteY624" fmla="*/ 6137 h 10000"/>
                  <a:gd name="connsiteX625" fmla="*/ 9475 w 10577"/>
                  <a:gd name="connsiteY625" fmla="*/ 6137 h 10000"/>
                  <a:gd name="connsiteX626" fmla="*/ 9475 w 10577"/>
                  <a:gd name="connsiteY626" fmla="*/ 6137 h 10000"/>
                  <a:gd name="connsiteX627" fmla="*/ 9479 w 10577"/>
                  <a:gd name="connsiteY627" fmla="*/ 6120 h 10000"/>
                  <a:gd name="connsiteX628" fmla="*/ 9488 w 10577"/>
                  <a:gd name="connsiteY628" fmla="*/ 6120 h 10000"/>
                  <a:gd name="connsiteX629" fmla="*/ 9488 w 10577"/>
                  <a:gd name="connsiteY629" fmla="*/ 6111 h 10000"/>
                  <a:gd name="connsiteX630" fmla="*/ 9479 w 10577"/>
                  <a:gd name="connsiteY630" fmla="*/ 6103 h 10000"/>
                  <a:gd name="connsiteX631" fmla="*/ 9479 w 10577"/>
                  <a:gd name="connsiteY631" fmla="*/ 6085 h 10000"/>
                  <a:gd name="connsiteX632" fmla="*/ 9488 w 10577"/>
                  <a:gd name="connsiteY632" fmla="*/ 6103 h 10000"/>
                  <a:gd name="connsiteX633" fmla="*/ 9493 w 10577"/>
                  <a:gd name="connsiteY633" fmla="*/ 6111 h 10000"/>
                  <a:gd name="connsiteX634" fmla="*/ 9498 w 10577"/>
                  <a:gd name="connsiteY634" fmla="*/ 6103 h 10000"/>
                  <a:gd name="connsiteX635" fmla="*/ 9507 w 10577"/>
                  <a:gd name="connsiteY635" fmla="*/ 6077 h 10000"/>
                  <a:gd name="connsiteX636" fmla="*/ 9498 w 10577"/>
                  <a:gd name="connsiteY636" fmla="*/ 6060 h 10000"/>
                  <a:gd name="connsiteX637" fmla="*/ 9512 w 10577"/>
                  <a:gd name="connsiteY637" fmla="*/ 6060 h 10000"/>
                  <a:gd name="connsiteX638" fmla="*/ 9525 w 10577"/>
                  <a:gd name="connsiteY638" fmla="*/ 6034 h 10000"/>
                  <a:gd name="connsiteX639" fmla="*/ 9535 w 10577"/>
                  <a:gd name="connsiteY639" fmla="*/ 6034 h 10000"/>
                  <a:gd name="connsiteX640" fmla="*/ 9535 w 10577"/>
                  <a:gd name="connsiteY640" fmla="*/ 6026 h 10000"/>
                  <a:gd name="connsiteX641" fmla="*/ 9525 w 10577"/>
                  <a:gd name="connsiteY641" fmla="*/ 6009 h 10000"/>
                  <a:gd name="connsiteX642" fmla="*/ 9535 w 10577"/>
                  <a:gd name="connsiteY642" fmla="*/ 6000 h 10000"/>
                  <a:gd name="connsiteX643" fmla="*/ 9539 w 10577"/>
                  <a:gd name="connsiteY643" fmla="*/ 6009 h 10000"/>
                  <a:gd name="connsiteX644" fmla="*/ 9548 w 10577"/>
                  <a:gd name="connsiteY644" fmla="*/ 6009 h 10000"/>
                  <a:gd name="connsiteX645" fmla="*/ 9553 w 10577"/>
                  <a:gd name="connsiteY645" fmla="*/ 6000 h 10000"/>
                  <a:gd name="connsiteX646" fmla="*/ 9562 w 10577"/>
                  <a:gd name="connsiteY646" fmla="*/ 5983 h 10000"/>
                  <a:gd name="connsiteX647" fmla="*/ 9562 w 10577"/>
                  <a:gd name="connsiteY647" fmla="*/ 5974 h 10000"/>
                  <a:gd name="connsiteX648" fmla="*/ 9567 w 10577"/>
                  <a:gd name="connsiteY648" fmla="*/ 5974 h 10000"/>
                  <a:gd name="connsiteX649" fmla="*/ 9567 w 10577"/>
                  <a:gd name="connsiteY649" fmla="*/ 5966 h 10000"/>
                  <a:gd name="connsiteX650" fmla="*/ 9567 w 10577"/>
                  <a:gd name="connsiteY650" fmla="*/ 5940 h 10000"/>
                  <a:gd name="connsiteX651" fmla="*/ 9571 w 10577"/>
                  <a:gd name="connsiteY651" fmla="*/ 5915 h 10000"/>
                  <a:gd name="connsiteX652" fmla="*/ 9581 w 10577"/>
                  <a:gd name="connsiteY652" fmla="*/ 5923 h 10000"/>
                  <a:gd name="connsiteX653" fmla="*/ 9585 w 10577"/>
                  <a:gd name="connsiteY653" fmla="*/ 5940 h 10000"/>
                  <a:gd name="connsiteX654" fmla="*/ 9594 w 10577"/>
                  <a:gd name="connsiteY654" fmla="*/ 5949 h 10000"/>
                  <a:gd name="connsiteX655" fmla="*/ 9599 w 10577"/>
                  <a:gd name="connsiteY655" fmla="*/ 5940 h 10000"/>
                  <a:gd name="connsiteX656" fmla="*/ 9613 w 10577"/>
                  <a:gd name="connsiteY656" fmla="*/ 5915 h 10000"/>
                  <a:gd name="connsiteX657" fmla="*/ 9645 w 10577"/>
                  <a:gd name="connsiteY657" fmla="*/ 5889 h 10000"/>
                  <a:gd name="connsiteX658" fmla="*/ 9654 w 10577"/>
                  <a:gd name="connsiteY658" fmla="*/ 5872 h 10000"/>
                  <a:gd name="connsiteX659" fmla="*/ 9673 w 10577"/>
                  <a:gd name="connsiteY659" fmla="*/ 5863 h 10000"/>
                  <a:gd name="connsiteX660" fmla="*/ 9682 w 10577"/>
                  <a:gd name="connsiteY660" fmla="*/ 5838 h 10000"/>
                  <a:gd name="connsiteX661" fmla="*/ 9682 w 10577"/>
                  <a:gd name="connsiteY661" fmla="*/ 5829 h 10000"/>
                  <a:gd name="connsiteX662" fmla="*/ 9682 w 10577"/>
                  <a:gd name="connsiteY662" fmla="*/ 5812 h 10000"/>
                  <a:gd name="connsiteX663" fmla="*/ 9687 w 10577"/>
                  <a:gd name="connsiteY663" fmla="*/ 5812 h 10000"/>
                  <a:gd name="connsiteX664" fmla="*/ 9687 w 10577"/>
                  <a:gd name="connsiteY664" fmla="*/ 5829 h 10000"/>
                  <a:gd name="connsiteX665" fmla="*/ 9687 w 10577"/>
                  <a:gd name="connsiteY665" fmla="*/ 5829 h 10000"/>
                  <a:gd name="connsiteX666" fmla="*/ 9719 w 10577"/>
                  <a:gd name="connsiteY666" fmla="*/ 5803 h 10000"/>
                  <a:gd name="connsiteX667" fmla="*/ 9728 w 10577"/>
                  <a:gd name="connsiteY667" fmla="*/ 5803 h 10000"/>
                  <a:gd name="connsiteX668" fmla="*/ 9779 w 10577"/>
                  <a:gd name="connsiteY668" fmla="*/ 5726 h 10000"/>
                  <a:gd name="connsiteX669" fmla="*/ 9816 w 10577"/>
                  <a:gd name="connsiteY669" fmla="*/ 5709 h 10000"/>
                  <a:gd name="connsiteX670" fmla="*/ 9820 w 10577"/>
                  <a:gd name="connsiteY670" fmla="*/ 5701 h 10000"/>
                  <a:gd name="connsiteX671" fmla="*/ 9816 w 10577"/>
                  <a:gd name="connsiteY671" fmla="*/ 5692 h 10000"/>
                  <a:gd name="connsiteX672" fmla="*/ 9816 w 10577"/>
                  <a:gd name="connsiteY672" fmla="*/ 5692 h 10000"/>
                  <a:gd name="connsiteX673" fmla="*/ 9802 w 10577"/>
                  <a:gd name="connsiteY673" fmla="*/ 5624 h 10000"/>
                  <a:gd name="connsiteX674" fmla="*/ 9806 w 10577"/>
                  <a:gd name="connsiteY674" fmla="*/ 5624 h 10000"/>
                  <a:gd name="connsiteX675" fmla="*/ 9820 w 10577"/>
                  <a:gd name="connsiteY675" fmla="*/ 5675 h 10000"/>
                  <a:gd name="connsiteX676" fmla="*/ 9829 w 10577"/>
                  <a:gd name="connsiteY676" fmla="*/ 5675 h 10000"/>
                  <a:gd name="connsiteX677" fmla="*/ 9829 w 10577"/>
                  <a:gd name="connsiteY677" fmla="*/ 5692 h 10000"/>
                  <a:gd name="connsiteX678" fmla="*/ 9829 w 10577"/>
                  <a:gd name="connsiteY678" fmla="*/ 5701 h 10000"/>
                  <a:gd name="connsiteX679" fmla="*/ 9839 w 10577"/>
                  <a:gd name="connsiteY679" fmla="*/ 5701 h 10000"/>
                  <a:gd name="connsiteX680" fmla="*/ 9839 w 10577"/>
                  <a:gd name="connsiteY680" fmla="*/ 5692 h 10000"/>
                  <a:gd name="connsiteX681" fmla="*/ 9839 w 10577"/>
                  <a:gd name="connsiteY681" fmla="*/ 5675 h 10000"/>
                  <a:gd name="connsiteX682" fmla="*/ 9848 w 10577"/>
                  <a:gd name="connsiteY682" fmla="*/ 5675 h 10000"/>
                  <a:gd name="connsiteX683" fmla="*/ 9848 w 10577"/>
                  <a:gd name="connsiteY683" fmla="*/ 5692 h 10000"/>
                  <a:gd name="connsiteX684" fmla="*/ 9853 w 10577"/>
                  <a:gd name="connsiteY684" fmla="*/ 5701 h 10000"/>
                  <a:gd name="connsiteX685" fmla="*/ 9880 w 10577"/>
                  <a:gd name="connsiteY685" fmla="*/ 5709 h 10000"/>
                  <a:gd name="connsiteX686" fmla="*/ 9912 w 10577"/>
                  <a:gd name="connsiteY686" fmla="*/ 5752 h 10000"/>
                  <a:gd name="connsiteX687" fmla="*/ 9926 w 10577"/>
                  <a:gd name="connsiteY687" fmla="*/ 5761 h 10000"/>
                  <a:gd name="connsiteX688" fmla="*/ 9935 w 10577"/>
                  <a:gd name="connsiteY688" fmla="*/ 5761 h 10000"/>
                  <a:gd name="connsiteX689" fmla="*/ 9940 w 10577"/>
                  <a:gd name="connsiteY689" fmla="*/ 5735 h 10000"/>
                  <a:gd name="connsiteX690" fmla="*/ 9949 w 10577"/>
                  <a:gd name="connsiteY690" fmla="*/ 5735 h 10000"/>
                  <a:gd name="connsiteX691" fmla="*/ 9968 w 10577"/>
                  <a:gd name="connsiteY691" fmla="*/ 5692 h 10000"/>
                  <a:gd name="connsiteX692" fmla="*/ 9968 w 10577"/>
                  <a:gd name="connsiteY692" fmla="*/ 5650 h 10000"/>
                  <a:gd name="connsiteX693" fmla="*/ 9968 w 10577"/>
                  <a:gd name="connsiteY693" fmla="*/ 5624 h 10000"/>
                  <a:gd name="connsiteX694" fmla="*/ 9935 w 10577"/>
                  <a:gd name="connsiteY694" fmla="*/ 5598 h 10000"/>
                  <a:gd name="connsiteX695" fmla="*/ 9935 w 10577"/>
                  <a:gd name="connsiteY695" fmla="*/ 5590 h 10000"/>
                  <a:gd name="connsiteX696" fmla="*/ 9935 w 10577"/>
                  <a:gd name="connsiteY696" fmla="*/ 5573 h 10000"/>
                  <a:gd name="connsiteX697" fmla="*/ 9935 w 10577"/>
                  <a:gd name="connsiteY697" fmla="*/ 5573 h 10000"/>
                  <a:gd name="connsiteX698" fmla="*/ 9940 w 10577"/>
                  <a:gd name="connsiteY698" fmla="*/ 5573 h 10000"/>
                  <a:gd name="connsiteX699" fmla="*/ 9954 w 10577"/>
                  <a:gd name="connsiteY699" fmla="*/ 5573 h 10000"/>
                  <a:gd name="connsiteX700" fmla="*/ 9963 w 10577"/>
                  <a:gd name="connsiteY700" fmla="*/ 5564 h 10000"/>
                  <a:gd name="connsiteX701" fmla="*/ 9954 w 10577"/>
                  <a:gd name="connsiteY701" fmla="*/ 5530 h 10000"/>
                  <a:gd name="connsiteX702" fmla="*/ 9949 w 10577"/>
                  <a:gd name="connsiteY702" fmla="*/ 5530 h 10000"/>
                  <a:gd name="connsiteX703" fmla="*/ 9926 w 10577"/>
                  <a:gd name="connsiteY703" fmla="*/ 5479 h 10000"/>
                  <a:gd name="connsiteX704" fmla="*/ 9912 w 10577"/>
                  <a:gd name="connsiteY704" fmla="*/ 5325 h 10000"/>
                  <a:gd name="connsiteX705" fmla="*/ 9903 w 10577"/>
                  <a:gd name="connsiteY705" fmla="*/ 5342 h 10000"/>
                  <a:gd name="connsiteX706" fmla="*/ 9889 w 10577"/>
                  <a:gd name="connsiteY706" fmla="*/ 5316 h 10000"/>
                  <a:gd name="connsiteX707" fmla="*/ 9889 w 10577"/>
                  <a:gd name="connsiteY707" fmla="*/ 5291 h 10000"/>
                  <a:gd name="connsiteX708" fmla="*/ 9903 w 10577"/>
                  <a:gd name="connsiteY708" fmla="*/ 5291 h 10000"/>
                  <a:gd name="connsiteX709" fmla="*/ 9903 w 10577"/>
                  <a:gd name="connsiteY709" fmla="*/ 5291 h 10000"/>
                  <a:gd name="connsiteX710" fmla="*/ 9894 w 10577"/>
                  <a:gd name="connsiteY710" fmla="*/ 5214 h 10000"/>
                  <a:gd name="connsiteX711" fmla="*/ 9880 w 10577"/>
                  <a:gd name="connsiteY711" fmla="*/ 5239 h 10000"/>
                  <a:gd name="connsiteX712" fmla="*/ 9876 w 10577"/>
                  <a:gd name="connsiteY712" fmla="*/ 5256 h 10000"/>
                  <a:gd name="connsiteX713" fmla="*/ 9862 w 10577"/>
                  <a:gd name="connsiteY713" fmla="*/ 5239 h 10000"/>
                  <a:gd name="connsiteX714" fmla="*/ 9853 w 10577"/>
                  <a:gd name="connsiteY714" fmla="*/ 5214 h 10000"/>
                  <a:gd name="connsiteX715" fmla="*/ 9839 w 10577"/>
                  <a:gd name="connsiteY715" fmla="*/ 5214 h 10000"/>
                  <a:gd name="connsiteX716" fmla="*/ 9834 w 10577"/>
                  <a:gd name="connsiteY716" fmla="*/ 5188 h 10000"/>
                  <a:gd name="connsiteX717" fmla="*/ 9834 w 10577"/>
                  <a:gd name="connsiteY717" fmla="*/ 5103 h 10000"/>
                  <a:gd name="connsiteX718" fmla="*/ 9839 w 10577"/>
                  <a:gd name="connsiteY718" fmla="*/ 5094 h 10000"/>
                  <a:gd name="connsiteX719" fmla="*/ 9853 w 10577"/>
                  <a:gd name="connsiteY719" fmla="*/ 5103 h 10000"/>
                  <a:gd name="connsiteX720" fmla="*/ 9876 w 10577"/>
                  <a:gd name="connsiteY720" fmla="*/ 5128 h 10000"/>
                  <a:gd name="connsiteX721" fmla="*/ 9889 w 10577"/>
                  <a:gd name="connsiteY721" fmla="*/ 5103 h 10000"/>
                  <a:gd name="connsiteX722" fmla="*/ 9880 w 10577"/>
                  <a:gd name="connsiteY722" fmla="*/ 5120 h 10000"/>
                  <a:gd name="connsiteX723" fmla="*/ 9889 w 10577"/>
                  <a:gd name="connsiteY723" fmla="*/ 5128 h 10000"/>
                  <a:gd name="connsiteX724" fmla="*/ 9912 w 10577"/>
                  <a:gd name="connsiteY724" fmla="*/ 5128 h 10000"/>
                  <a:gd name="connsiteX725" fmla="*/ 9908 w 10577"/>
                  <a:gd name="connsiteY725" fmla="*/ 5145 h 10000"/>
                  <a:gd name="connsiteX726" fmla="*/ 9908 w 10577"/>
                  <a:gd name="connsiteY726" fmla="*/ 5154 h 10000"/>
                  <a:gd name="connsiteX727" fmla="*/ 9922 w 10577"/>
                  <a:gd name="connsiteY727" fmla="*/ 5128 h 10000"/>
                  <a:gd name="connsiteX728" fmla="*/ 9935 w 10577"/>
                  <a:gd name="connsiteY728" fmla="*/ 5103 h 10000"/>
                  <a:gd name="connsiteX729" fmla="*/ 9968 w 10577"/>
                  <a:gd name="connsiteY729" fmla="*/ 5077 h 10000"/>
                  <a:gd name="connsiteX730" fmla="*/ 10000 w 10577"/>
                  <a:gd name="connsiteY730" fmla="*/ 5017 h 10000"/>
                  <a:gd name="connsiteX731" fmla="*/ 10455 w 10577"/>
                  <a:gd name="connsiteY731" fmla="*/ 4568 h 10000"/>
                  <a:gd name="connsiteX732" fmla="*/ 10561 w 10577"/>
                  <a:gd name="connsiteY732" fmla="*/ 4442 h 10000"/>
                  <a:gd name="connsiteX733" fmla="*/ 10354 w 10577"/>
                  <a:gd name="connsiteY733" fmla="*/ 4302 h 10000"/>
                  <a:gd name="connsiteX734" fmla="*/ 9912 w 10577"/>
                  <a:gd name="connsiteY734" fmla="*/ 3675 h 10000"/>
                  <a:gd name="connsiteX735" fmla="*/ 9903 w 10577"/>
                  <a:gd name="connsiteY735" fmla="*/ 3667 h 10000"/>
                  <a:gd name="connsiteX736" fmla="*/ 9894 w 10577"/>
                  <a:gd name="connsiteY736" fmla="*/ 3641 h 10000"/>
                  <a:gd name="connsiteX737" fmla="*/ 9889 w 10577"/>
                  <a:gd name="connsiteY737" fmla="*/ 3650 h 10000"/>
                  <a:gd name="connsiteX738" fmla="*/ 9848 w 10577"/>
                  <a:gd name="connsiteY738" fmla="*/ 3598 h 10000"/>
                  <a:gd name="connsiteX739" fmla="*/ 9829 w 10577"/>
                  <a:gd name="connsiteY739" fmla="*/ 3581 h 10000"/>
                  <a:gd name="connsiteX740" fmla="*/ 9820 w 10577"/>
                  <a:gd name="connsiteY740" fmla="*/ 3581 h 10000"/>
                  <a:gd name="connsiteX741" fmla="*/ 9793 w 10577"/>
                  <a:gd name="connsiteY741" fmla="*/ 3556 h 10000"/>
                  <a:gd name="connsiteX742" fmla="*/ 9779 w 10577"/>
                  <a:gd name="connsiteY742" fmla="*/ 3556 h 10000"/>
                  <a:gd name="connsiteX743" fmla="*/ 9747 w 10577"/>
                  <a:gd name="connsiteY743" fmla="*/ 3487 h 10000"/>
                  <a:gd name="connsiteX744" fmla="*/ 9668 w 10577"/>
                  <a:gd name="connsiteY744" fmla="*/ 3479 h 10000"/>
                  <a:gd name="connsiteX745" fmla="*/ 9659 w 10577"/>
                  <a:gd name="connsiteY745" fmla="*/ 3487 h 10000"/>
                  <a:gd name="connsiteX746" fmla="*/ 9645 w 10577"/>
                  <a:gd name="connsiteY746" fmla="*/ 3504 h 10000"/>
                  <a:gd name="connsiteX747" fmla="*/ 9631 w 10577"/>
                  <a:gd name="connsiteY747" fmla="*/ 3487 h 10000"/>
                  <a:gd name="connsiteX748" fmla="*/ 9613 w 10577"/>
                  <a:gd name="connsiteY748" fmla="*/ 3479 h 10000"/>
                  <a:gd name="connsiteX749" fmla="*/ 9599 w 10577"/>
                  <a:gd name="connsiteY749" fmla="*/ 3479 h 10000"/>
                  <a:gd name="connsiteX750" fmla="*/ 9571 w 10577"/>
                  <a:gd name="connsiteY750" fmla="*/ 3479 h 10000"/>
                  <a:gd name="connsiteX751" fmla="*/ 9562 w 10577"/>
                  <a:gd name="connsiteY751" fmla="*/ 3487 h 10000"/>
                  <a:gd name="connsiteX752" fmla="*/ 9539 w 10577"/>
                  <a:gd name="connsiteY752" fmla="*/ 3487 h 10000"/>
                  <a:gd name="connsiteX753" fmla="*/ 9507 w 10577"/>
                  <a:gd name="connsiteY753" fmla="*/ 3453 h 10000"/>
                  <a:gd name="connsiteX754" fmla="*/ 9498 w 10577"/>
                  <a:gd name="connsiteY754" fmla="*/ 3453 h 10000"/>
                  <a:gd name="connsiteX755" fmla="*/ 9387 w 10577"/>
                  <a:gd name="connsiteY755" fmla="*/ 3419 h 10000"/>
                  <a:gd name="connsiteX756" fmla="*/ 9373 w 10577"/>
                  <a:gd name="connsiteY756" fmla="*/ 3427 h 10000"/>
                  <a:gd name="connsiteX757" fmla="*/ 9373 w 10577"/>
                  <a:gd name="connsiteY757" fmla="*/ 3462 h 10000"/>
                  <a:gd name="connsiteX758" fmla="*/ 9378 w 10577"/>
                  <a:gd name="connsiteY758" fmla="*/ 3479 h 10000"/>
                  <a:gd name="connsiteX759" fmla="*/ 9378 w 10577"/>
                  <a:gd name="connsiteY759" fmla="*/ 3530 h 10000"/>
                  <a:gd name="connsiteX760" fmla="*/ 9355 w 10577"/>
                  <a:gd name="connsiteY760" fmla="*/ 3538 h 10000"/>
                  <a:gd name="connsiteX761" fmla="*/ 9355 w 10577"/>
                  <a:gd name="connsiteY761" fmla="*/ 3581 h 10000"/>
                  <a:gd name="connsiteX762" fmla="*/ 9387 w 10577"/>
                  <a:gd name="connsiteY762" fmla="*/ 3590 h 10000"/>
                  <a:gd name="connsiteX763" fmla="*/ 9401 w 10577"/>
                  <a:gd name="connsiteY763" fmla="*/ 3667 h 10000"/>
                  <a:gd name="connsiteX764" fmla="*/ 9406 w 10577"/>
                  <a:gd name="connsiteY764" fmla="*/ 3675 h 10000"/>
                  <a:gd name="connsiteX765" fmla="*/ 9406 w 10577"/>
                  <a:gd name="connsiteY765" fmla="*/ 3701 h 10000"/>
                  <a:gd name="connsiteX766" fmla="*/ 9415 w 10577"/>
                  <a:gd name="connsiteY766" fmla="*/ 3752 h 10000"/>
                  <a:gd name="connsiteX767" fmla="*/ 9373 w 10577"/>
                  <a:gd name="connsiteY767" fmla="*/ 3838 h 10000"/>
                  <a:gd name="connsiteX768" fmla="*/ 9355 w 10577"/>
                  <a:gd name="connsiteY768" fmla="*/ 3863 h 10000"/>
                  <a:gd name="connsiteX769" fmla="*/ 9327 w 10577"/>
                  <a:gd name="connsiteY769" fmla="*/ 3863 h 10000"/>
                  <a:gd name="connsiteX770" fmla="*/ 9313 w 10577"/>
                  <a:gd name="connsiteY770" fmla="*/ 3846 h 10000"/>
                  <a:gd name="connsiteX771" fmla="*/ 9300 w 10577"/>
                  <a:gd name="connsiteY771" fmla="*/ 3778 h 10000"/>
                  <a:gd name="connsiteX772" fmla="*/ 9281 w 10577"/>
                  <a:gd name="connsiteY772" fmla="*/ 3752 h 10000"/>
                  <a:gd name="connsiteX773" fmla="*/ 9281 w 10577"/>
                  <a:gd name="connsiteY773" fmla="*/ 3735 h 10000"/>
                  <a:gd name="connsiteX774" fmla="*/ 9267 w 10577"/>
                  <a:gd name="connsiteY774" fmla="*/ 3726 h 10000"/>
                  <a:gd name="connsiteX775" fmla="*/ 9240 w 10577"/>
                  <a:gd name="connsiteY775" fmla="*/ 3726 h 10000"/>
                  <a:gd name="connsiteX776" fmla="*/ 9230 w 10577"/>
                  <a:gd name="connsiteY776" fmla="*/ 3718 h 10000"/>
                  <a:gd name="connsiteX777" fmla="*/ 9226 w 10577"/>
                  <a:gd name="connsiteY777" fmla="*/ 3590 h 10000"/>
                  <a:gd name="connsiteX778" fmla="*/ 9207 w 10577"/>
                  <a:gd name="connsiteY778" fmla="*/ 3581 h 10000"/>
                  <a:gd name="connsiteX779" fmla="*/ 9207 w 10577"/>
                  <a:gd name="connsiteY779" fmla="*/ 3556 h 10000"/>
                  <a:gd name="connsiteX780" fmla="*/ 9217 w 10577"/>
                  <a:gd name="connsiteY780" fmla="*/ 3538 h 10000"/>
                  <a:gd name="connsiteX781" fmla="*/ 9212 w 10577"/>
                  <a:gd name="connsiteY781" fmla="*/ 3538 h 10000"/>
                  <a:gd name="connsiteX782" fmla="*/ 9198 w 10577"/>
                  <a:gd name="connsiteY782" fmla="*/ 3513 h 10000"/>
                  <a:gd name="connsiteX783" fmla="*/ 9194 w 10577"/>
                  <a:gd name="connsiteY783" fmla="*/ 3530 h 10000"/>
                  <a:gd name="connsiteX784" fmla="*/ 9143 w 10577"/>
                  <a:gd name="connsiteY784" fmla="*/ 3615 h 10000"/>
                  <a:gd name="connsiteX785" fmla="*/ 9138 w 10577"/>
                  <a:gd name="connsiteY785" fmla="*/ 3615 h 10000"/>
                  <a:gd name="connsiteX786" fmla="*/ 9134 w 10577"/>
                  <a:gd name="connsiteY786" fmla="*/ 3615 h 10000"/>
                  <a:gd name="connsiteX787" fmla="*/ 9106 w 10577"/>
                  <a:gd name="connsiteY787" fmla="*/ 3615 h 10000"/>
                  <a:gd name="connsiteX788" fmla="*/ 9078 w 10577"/>
                  <a:gd name="connsiteY788" fmla="*/ 3590 h 10000"/>
                  <a:gd name="connsiteX789" fmla="*/ 9037 w 10577"/>
                  <a:gd name="connsiteY789" fmla="*/ 3581 h 10000"/>
                  <a:gd name="connsiteX790" fmla="*/ 9023 w 10577"/>
                  <a:gd name="connsiteY790" fmla="*/ 3590 h 10000"/>
                  <a:gd name="connsiteX791" fmla="*/ 9018 w 10577"/>
                  <a:gd name="connsiteY791" fmla="*/ 3590 h 10000"/>
                  <a:gd name="connsiteX792" fmla="*/ 9018 w 10577"/>
                  <a:gd name="connsiteY792" fmla="*/ 3590 h 10000"/>
                  <a:gd name="connsiteX793" fmla="*/ 8991 w 10577"/>
                  <a:gd name="connsiteY793" fmla="*/ 3590 h 10000"/>
                  <a:gd name="connsiteX794" fmla="*/ 8972 w 10577"/>
                  <a:gd name="connsiteY794" fmla="*/ 3581 h 10000"/>
                  <a:gd name="connsiteX795" fmla="*/ 8959 w 10577"/>
                  <a:gd name="connsiteY795" fmla="*/ 3513 h 10000"/>
                  <a:gd name="connsiteX796" fmla="*/ 8931 w 10577"/>
                  <a:gd name="connsiteY796" fmla="*/ 3538 h 10000"/>
                  <a:gd name="connsiteX797" fmla="*/ 8889 w 10577"/>
                  <a:gd name="connsiteY797" fmla="*/ 3538 h 10000"/>
                  <a:gd name="connsiteX798" fmla="*/ 8871 w 10577"/>
                  <a:gd name="connsiteY798" fmla="*/ 3556 h 10000"/>
                  <a:gd name="connsiteX799" fmla="*/ 8857 w 10577"/>
                  <a:gd name="connsiteY799" fmla="*/ 3538 h 10000"/>
                  <a:gd name="connsiteX800" fmla="*/ 8843 w 10577"/>
                  <a:gd name="connsiteY800" fmla="*/ 3538 h 10000"/>
                  <a:gd name="connsiteX801" fmla="*/ 8839 w 10577"/>
                  <a:gd name="connsiteY801" fmla="*/ 3556 h 10000"/>
                  <a:gd name="connsiteX802" fmla="*/ 8839 w 10577"/>
                  <a:gd name="connsiteY802" fmla="*/ 3581 h 10000"/>
                  <a:gd name="connsiteX803" fmla="*/ 8825 w 10577"/>
                  <a:gd name="connsiteY803" fmla="*/ 3564 h 10000"/>
                  <a:gd name="connsiteX804" fmla="*/ 8825 w 10577"/>
                  <a:gd name="connsiteY804" fmla="*/ 3615 h 10000"/>
                  <a:gd name="connsiteX805" fmla="*/ 8802 w 10577"/>
                  <a:gd name="connsiteY805" fmla="*/ 3598 h 10000"/>
                  <a:gd name="connsiteX806" fmla="*/ 8797 w 10577"/>
                  <a:gd name="connsiteY806" fmla="*/ 3641 h 10000"/>
                  <a:gd name="connsiteX807" fmla="*/ 8783 w 10577"/>
                  <a:gd name="connsiteY807" fmla="*/ 3667 h 10000"/>
                  <a:gd name="connsiteX808" fmla="*/ 8779 w 10577"/>
                  <a:gd name="connsiteY808" fmla="*/ 3650 h 10000"/>
                  <a:gd name="connsiteX809" fmla="*/ 8779 w 10577"/>
                  <a:gd name="connsiteY809" fmla="*/ 3615 h 10000"/>
                  <a:gd name="connsiteX810" fmla="*/ 8770 w 10577"/>
                  <a:gd name="connsiteY810" fmla="*/ 3590 h 10000"/>
                  <a:gd name="connsiteX811" fmla="*/ 8765 w 10577"/>
                  <a:gd name="connsiteY811" fmla="*/ 3598 h 10000"/>
                  <a:gd name="connsiteX812" fmla="*/ 8756 w 10577"/>
                  <a:gd name="connsiteY812" fmla="*/ 3590 h 10000"/>
                  <a:gd name="connsiteX813" fmla="*/ 8737 w 10577"/>
                  <a:gd name="connsiteY813" fmla="*/ 3556 h 10000"/>
                  <a:gd name="connsiteX814" fmla="*/ 8724 w 10577"/>
                  <a:gd name="connsiteY814" fmla="*/ 3538 h 10000"/>
                  <a:gd name="connsiteX815" fmla="*/ 8696 w 10577"/>
                  <a:gd name="connsiteY815" fmla="*/ 3538 h 10000"/>
                  <a:gd name="connsiteX816" fmla="*/ 8691 w 10577"/>
                  <a:gd name="connsiteY816" fmla="*/ 3513 h 10000"/>
                  <a:gd name="connsiteX817" fmla="*/ 8668 w 10577"/>
                  <a:gd name="connsiteY817" fmla="*/ 3504 h 10000"/>
                  <a:gd name="connsiteX818" fmla="*/ 8668 w 10577"/>
                  <a:gd name="connsiteY818" fmla="*/ 3487 h 10000"/>
                  <a:gd name="connsiteX819" fmla="*/ 8691 w 10577"/>
                  <a:gd name="connsiteY819" fmla="*/ 3350 h 10000"/>
                  <a:gd name="connsiteX820" fmla="*/ 8691 w 10577"/>
                  <a:gd name="connsiteY820" fmla="*/ 3291 h 10000"/>
                  <a:gd name="connsiteX821" fmla="*/ 8677 w 10577"/>
                  <a:gd name="connsiteY821" fmla="*/ 3239 h 10000"/>
                  <a:gd name="connsiteX822" fmla="*/ 8677 w 10577"/>
                  <a:gd name="connsiteY822" fmla="*/ 3231 h 10000"/>
                  <a:gd name="connsiteX823" fmla="*/ 8636 w 10577"/>
                  <a:gd name="connsiteY823" fmla="*/ 3128 h 10000"/>
                  <a:gd name="connsiteX824" fmla="*/ 8622 w 10577"/>
                  <a:gd name="connsiteY824" fmla="*/ 3120 h 10000"/>
                  <a:gd name="connsiteX825" fmla="*/ 8618 w 10577"/>
                  <a:gd name="connsiteY825" fmla="*/ 3094 h 10000"/>
                  <a:gd name="connsiteX826" fmla="*/ 8594 w 10577"/>
                  <a:gd name="connsiteY826" fmla="*/ 3077 h 10000"/>
                  <a:gd name="connsiteX827" fmla="*/ 8548 w 10577"/>
                  <a:gd name="connsiteY827" fmla="*/ 3077 h 10000"/>
                  <a:gd name="connsiteX828" fmla="*/ 8535 w 10577"/>
                  <a:gd name="connsiteY828" fmla="*/ 3068 h 10000"/>
                  <a:gd name="connsiteX829" fmla="*/ 8429 w 10577"/>
                  <a:gd name="connsiteY829" fmla="*/ 3077 h 10000"/>
                  <a:gd name="connsiteX830" fmla="*/ 8424 w 10577"/>
                  <a:gd name="connsiteY830" fmla="*/ 3077 h 10000"/>
                  <a:gd name="connsiteX831" fmla="*/ 8396 w 10577"/>
                  <a:gd name="connsiteY831" fmla="*/ 3077 h 10000"/>
                  <a:gd name="connsiteX832" fmla="*/ 8387 w 10577"/>
                  <a:gd name="connsiteY832" fmla="*/ 3094 h 10000"/>
                  <a:gd name="connsiteX833" fmla="*/ 8378 w 10577"/>
                  <a:gd name="connsiteY833" fmla="*/ 3094 h 10000"/>
                  <a:gd name="connsiteX834" fmla="*/ 8341 w 10577"/>
                  <a:gd name="connsiteY834" fmla="*/ 3077 h 10000"/>
                  <a:gd name="connsiteX835" fmla="*/ 8336 w 10577"/>
                  <a:gd name="connsiteY835" fmla="*/ 3077 h 10000"/>
                  <a:gd name="connsiteX836" fmla="*/ 8327 w 10577"/>
                  <a:gd name="connsiteY836" fmla="*/ 3103 h 10000"/>
                  <a:gd name="connsiteX837" fmla="*/ 8309 w 10577"/>
                  <a:gd name="connsiteY837" fmla="*/ 3120 h 10000"/>
                  <a:gd name="connsiteX838" fmla="*/ 8304 w 10577"/>
                  <a:gd name="connsiteY838" fmla="*/ 3103 h 10000"/>
                  <a:gd name="connsiteX839" fmla="*/ 8276 w 10577"/>
                  <a:gd name="connsiteY839" fmla="*/ 3103 h 10000"/>
                  <a:gd name="connsiteX840" fmla="*/ 8267 w 10577"/>
                  <a:gd name="connsiteY840" fmla="*/ 3120 h 10000"/>
                  <a:gd name="connsiteX841" fmla="*/ 8253 w 10577"/>
                  <a:gd name="connsiteY841" fmla="*/ 3103 h 10000"/>
                  <a:gd name="connsiteX842" fmla="*/ 8230 w 10577"/>
                  <a:gd name="connsiteY842" fmla="*/ 3128 h 10000"/>
                  <a:gd name="connsiteX843" fmla="*/ 8217 w 10577"/>
                  <a:gd name="connsiteY843" fmla="*/ 3128 h 10000"/>
                  <a:gd name="connsiteX844" fmla="*/ 8203 w 10577"/>
                  <a:gd name="connsiteY844" fmla="*/ 3154 h 10000"/>
                  <a:gd name="connsiteX845" fmla="*/ 8175 w 10577"/>
                  <a:gd name="connsiteY845" fmla="*/ 3094 h 10000"/>
                  <a:gd name="connsiteX846" fmla="*/ 8161 w 10577"/>
                  <a:gd name="connsiteY846" fmla="*/ 3094 h 10000"/>
                  <a:gd name="connsiteX847" fmla="*/ 8157 w 10577"/>
                  <a:gd name="connsiteY847" fmla="*/ 3077 h 10000"/>
                  <a:gd name="connsiteX848" fmla="*/ 8180 w 10577"/>
                  <a:gd name="connsiteY848" fmla="*/ 3068 h 10000"/>
                  <a:gd name="connsiteX849" fmla="*/ 8189 w 10577"/>
                  <a:gd name="connsiteY849" fmla="*/ 3043 h 10000"/>
                  <a:gd name="connsiteX850" fmla="*/ 8189 w 10577"/>
                  <a:gd name="connsiteY850" fmla="*/ 3017 h 10000"/>
                  <a:gd name="connsiteX851" fmla="*/ 8147 w 10577"/>
                  <a:gd name="connsiteY851" fmla="*/ 2940 h 10000"/>
                  <a:gd name="connsiteX852" fmla="*/ 8143 w 10577"/>
                  <a:gd name="connsiteY852" fmla="*/ 2915 h 10000"/>
                  <a:gd name="connsiteX853" fmla="*/ 8143 w 10577"/>
                  <a:gd name="connsiteY853" fmla="*/ 2906 h 10000"/>
                  <a:gd name="connsiteX854" fmla="*/ 8097 w 10577"/>
                  <a:gd name="connsiteY854" fmla="*/ 2932 h 10000"/>
                  <a:gd name="connsiteX855" fmla="*/ 8083 w 10577"/>
                  <a:gd name="connsiteY855" fmla="*/ 2932 h 10000"/>
                  <a:gd name="connsiteX856" fmla="*/ 8074 w 10577"/>
                  <a:gd name="connsiteY856" fmla="*/ 2906 h 10000"/>
                  <a:gd name="connsiteX857" fmla="*/ 8074 w 10577"/>
                  <a:gd name="connsiteY857" fmla="*/ 2897 h 10000"/>
                  <a:gd name="connsiteX858" fmla="*/ 8055 w 10577"/>
                  <a:gd name="connsiteY858" fmla="*/ 2872 h 10000"/>
                  <a:gd name="connsiteX859" fmla="*/ 8046 w 10577"/>
                  <a:gd name="connsiteY859" fmla="*/ 2829 h 10000"/>
                  <a:gd name="connsiteX860" fmla="*/ 8041 w 10577"/>
                  <a:gd name="connsiteY860" fmla="*/ 2829 h 10000"/>
                  <a:gd name="connsiteX861" fmla="*/ 8023 w 10577"/>
                  <a:gd name="connsiteY861" fmla="*/ 2803 h 10000"/>
                  <a:gd name="connsiteX862" fmla="*/ 8014 w 10577"/>
                  <a:gd name="connsiteY862" fmla="*/ 2829 h 10000"/>
                  <a:gd name="connsiteX863" fmla="*/ 8000 w 10577"/>
                  <a:gd name="connsiteY863" fmla="*/ 2829 h 10000"/>
                  <a:gd name="connsiteX864" fmla="*/ 7995 w 10577"/>
                  <a:gd name="connsiteY864" fmla="*/ 2821 h 10000"/>
                  <a:gd name="connsiteX865" fmla="*/ 7972 w 10577"/>
                  <a:gd name="connsiteY865" fmla="*/ 2803 h 10000"/>
                  <a:gd name="connsiteX866" fmla="*/ 7968 w 10577"/>
                  <a:gd name="connsiteY866" fmla="*/ 2821 h 10000"/>
                  <a:gd name="connsiteX867" fmla="*/ 7968 w 10577"/>
                  <a:gd name="connsiteY867" fmla="*/ 2803 h 10000"/>
                  <a:gd name="connsiteX868" fmla="*/ 7995 w 10577"/>
                  <a:gd name="connsiteY868" fmla="*/ 2735 h 10000"/>
                  <a:gd name="connsiteX869" fmla="*/ 8000 w 10577"/>
                  <a:gd name="connsiteY869" fmla="*/ 2735 h 10000"/>
                  <a:gd name="connsiteX870" fmla="*/ 8014 w 10577"/>
                  <a:gd name="connsiteY870" fmla="*/ 2744 h 10000"/>
                  <a:gd name="connsiteX871" fmla="*/ 8023 w 10577"/>
                  <a:gd name="connsiteY871" fmla="*/ 2769 h 10000"/>
                  <a:gd name="connsiteX872" fmla="*/ 8032 w 10577"/>
                  <a:gd name="connsiteY872" fmla="*/ 2744 h 10000"/>
                  <a:gd name="connsiteX873" fmla="*/ 8032 w 10577"/>
                  <a:gd name="connsiteY873" fmla="*/ 2709 h 10000"/>
                  <a:gd name="connsiteX874" fmla="*/ 8023 w 10577"/>
                  <a:gd name="connsiteY874" fmla="*/ 2632 h 10000"/>
                  <a:gd name="connsiteX875" fmla="*/ 7986 w 10577"/>
                  <a:gd name="connsiteY875" fmla="*/ 2581 h 10000"/>
                  <a:gd name="connsiteX876" fmla="*/ 7968 w 10577"/>
                  <a:gd name="connsiteY876" fmla="*/ 2581 h 10000"/>
                  <a:gd name="connsiteX877" fmla="*/ 7963 w 10577"/>
                  <a:gd name="connsiteY877" fmla="*/ 2556 h 10000"/>
                  <a:gd name="connsiteX878" fmla="*/ 7935 w 10577"/>
                  <a:gd name="connsiteY878" fmla="*/ 2547 h 10000"/>
                  <a:gd name="connsiteX879" fmla="*/ 7912 w 10577"/>
                  <a:gd name="connsiteY879" fmla="*/ 2547 h 10000"/>
                  <a:gd name="connsiteX880" fmla="*/ 7912 w 10577"/>
                  <a:gd name="connsiteY880" fmla="*/ 2556 h 10000"/>
                  <a:gd name="connsiteX881" fmla="*/ 7908 w 10577"/>
                  <a:gd name="connsiteY881" fmla="*/ 2547 h 10000"/>
                  <a:gd name="connsiteX882" fmla="*/ 7862 w 10577"/>
                  <a:gd name="connsiteY882" fmla="*/ 2547 h 10000"/>
                  <a:gd name="connsiteX883" fmla="*/ 7848 w 10577"/>
                  <a:gd name="connsiteY883" fmla="*/ 2556 h 10000"/>
                  <a:gd name="connsiteX884" fmla="*/ 7820 w 10577"/>
                  <a:gd name="connsiteY884" fmla="*/ 2547 h 10000"/>
                  <a:gd name="connsiteX885" fmla="*/ 7806 w 10577"/>
                  <a:gd name="connsiteY885" fmla="*/ 2513 h 10000"/>
                  <a:gd name="connsiteX886" fmla="*/ 7788 w 10577"/>
                  <a:gd name="connsiteY886" fmla="*/ 2513 h 10000"/>
                  <a:gd name="connsiteX887" fmla="*/ 7760 w 10577"/>
                  <a:gd name="connsiteY887" fmla="*/ 2470 h 10000"/>
                  <a:gd name="connsiteX888" fmla="*/ 7751 w 10577"/>
                  <a:gd name="connsiteY888" fmla="*/ 2470 h 10000"/>
                  <a:gd name="connsiteX889" fmla="*/ 7705 w 10577"/>
                  <a:gd name="connsiteY889" fmla="*/ 2462 h 10000"/>
                  <a:gd name="connsiteX890" fmla="*/ 7673 w 10577"/>
                  <a:gd name="connsiteY890" fmla="*/ 2419 h 10000"/>
                  <a:gd name="connsiteX891" fmla="*/ 7627 w 10577"/>
                  <a:gd name="connsiteY891" fmla="*/ 2419 h 10000"/>
                  <a:gd name="connsiteX892" fmla="*/ 7613 w 10577"/>
                  <a:gd name="connsiteY892" fmla="*/ 2410 h 10000"/>
                  <a:gd name="connsiteX893" fmla="*/ 7493 w 10577"/>
                  <a:gd name="connsiteY893" fmla="*/ 2393 h 10000"/>
                  <a:gd name="connsiteX894" fmla="*/ 7479 w 10577"/>
                  <a:gd name="connsiteY894" fmla="*/ 2385 h 10000"/>
                  <a:gd name="connsiteX895" fmla="*/ 7479 w 10577"/>
                  <a:gd name="connsiteY895" fmla="*/ 2376 h 10000"/>
                  <a:gd name="connsiteX896" fmla="*/ 7465 w 10577"/>
                  <a:gd name="connsiteY896" fmla="*/ 2359 h 10000"/>
                  <a:gd name="connsiteX897" fmla="*/ 7447 w 10577"/>
                  <a:gd name="connsiteY897" fmla="*/ 2350 h 10000"/>
                  <a:gd name="connsiteX898" fmla="*/ 7433 w 10577"/>
                  <a:gd name="connsiteY898" fmla="*/ 2376 h 10000"/>
                  <a:gd name="connsiteX899" fmla="*/ 7433 w 10577"/>
                  <a:gd name="connsiteY899" fmla="*/ 2385 h 10000"/>
                  <a:gd name="connsiteX900" fmla="*/ 7447 w 10577"/>
                  <a:gd name="connsiteY900" fmla="*/ 2410 h 10000"/>
                  <a:gd name="connsiteX901" fmla="*/ 7447 w 10577"/>
                  <a:gd name="connsiteY901" fmla="*/ 2436 h 10000"/>
                  <a:gd name="connsiteX902" fmla="*/ 7452 w 10577"/>
                  <a:gd name="connsiteY902" fmla="*/ 2462 h 10000"/>
                  <a:gd name="connsiteX903" fmla="*/ 7447 w 10577"/>
                  <a:gd name="connsiteY903" fmla="*/ 2470 h 10000"/>
                  <a:gd name="connsiteX904" fmla="*/ 7424 w 10577"/>
                  <a:gd name="connsiteY904" fmla="*/ 2513 h 10000"/>
                  <a:gd name="connsiteX905" fmla="*/ 7419 w 10577"/>
                  <a:gd name="connsiteY905" fmla="*/ 2556 h 10000"/>
                  <a:gd name="connsiteX906" fmla="*/ 7406 w 10577"/>
                  <a:gd name="connsiteY906" fmla="*/ 2624 h 10000"/>
                  <a:gd name="connsiteX907" fmla="*/ 7392 w 10577"/>
                  <a:gd name="connsiteY907" fmla="*/ 2624 h 10000"/>
                  <a:gd name="connsiteX908" fmla="*/ 7373 w 10577"/>
                  <a:gd name="connsiteY908" fmla="*/ 2650 h 10000"/>
                  <a:gd name="connsiteX909" fmla="*/ 7364 w 10577"/>
                  <a:gd name="connsiteY909" fmla="*/ 2684 h 10000"/>
                  <a:gd name="connsiteX910" fmla="*/ 7364 w 10577"/>
                  <a:gd name="connsiteY910" fmla="*/ 2692 h 10000"/>
                  <a:gd name="connsiteX911" fmla="*/ 7373 w 10577"/>
                  <a:gd name="connsiteY911" fmla="*/ 2718 h 10000"/>
                  <a:gd name="connsiteX912" fmla="*/ 7373 w 10577"/>
                  <a:gd name="connsiteY912" fmla="*/ 2744 h 10000"/>
                  <a:gd name="connsiteX913" fmla="*/ 7359 w 10577"/>
                  <a:gd name="connsiteY913" fmla="*/ 2744 h 10000"/>
                  <a:gd name="connsiteX914" fmla="*/ 7359 w 10577"/>
                  <a:gd name="connsiteY914" fmla="*/ 2795 h 10000"/>
                  <a:gd name="connsiteX915" fmla="*/ 7364 w 10577"/>
                  <a:gd name="connsiteY915" fmla="*/ 2821 h 10000"/>
                  <a:gd name="connsiteX916" fmla="*/ 7378 w 10577"/>
                  <a:gd name="connsiteY916" fmla="*/ 2846 h 10000"/>
                  <a:gd name="connsiteX917" fmla="*/ 7378 w 10577"/>
                  <a:gd name="connsiteY917" fmla="*/ 2855 h 10000"/>
                  <a:gd name="connsiteX918" fmla="*/ 7378 w 10577"/>
                  <a:gd name="connsiteY918" fmla="*/ 2880 h 10000"/>
                  <a:gd name="connsiteX919" fmla="*/ 7378 w 10577"/>
                  <a:gd name="connsiteY919" fmla="*/ 2906 h 10000"/>
                  <a:gd name="connsiteX920" fmla="*/ 7364 w 10577"/>
                  <a:gd name="connsiteY920" fmla="*/ 2906 h 10000"/>
                  <a:gd name="connsiteX921" fmla="*/ 7346 w 10577"/>
                  <a:gd name="connsiteY921" fmla="*/ 2880 h 10000"/>
                  <a:gd name="connsiteX922" fmla="*/ 7332 w 10577"/>
                  <a:gd name="connsiteY922" fmla="*/ 2915 h 10000"/>
                  <a:gd name="connsiteX923" fmla="*/ 7318 w 10577"/>
                  <a:gd name="connsiteY923" fmla="*/ 2906 h 10000"/>
                  <a:gd name="connsiteX924" fmla="*/ 7313 w 10577"/>
                  <a:gd name="connsiteY924" fmla="*/ 2915 h 10000"/>
                  <a:gd name="connsiteX925" fmla="*/ 7313 w 10577"/>
                  <a:gd name="connsiteY925" fmla="*/ 2906 h 10000"/>
                  <a:gd name="connsiteX926" fmla="*/ 7286 w 10577"/>
                  <a:gd name="connsiteY926" fmla="*/ 2940 h 10000"/>
                  <a:gd name="connsiteX927" fmla="*/ 7276 w 10577"/>
                  <a:gd name="connsiteY927" fmla="*/ 2966 h 10000"/>
                  <a:gd name="connsiteX928" fmla="*/ 7272 w 10577"/>
                  <a:gd name="connsiteY928" fmla="*/ 2983 h 10000"/>
                  <a:gd name="connsiteX929" fmla="*/ 7267 w 10577"/>
                  <a:gd name="connsiteY929" fmla="*/ 3009 h 10000"/>
                  <a:gd name="connsiteX930" fmla="*/ 7253 w 10577"/>
                  <a:gd name="connsiteY930" fmla="*/ 3009 h 10000"/>
                  <a:gd name="connsiteX931" fmla="*/ 7244 w 10577"/>
                  <a:gd name="connsiteY931" fmla="*/ 3017 h 10000"/>
                  <a:gd name="connsiteX932" fmla="*/ 7240 w 10577"/>
                  <a:gd name="connsiteY932" fmla="*/ 3009 h 10000"/>
                  <a:gd name="connsiteX933" fmla="*/ 7230 w 10577"/>
                  <a:gd name="connsiteY933" fmla="*/ 2991 h 10000"/>
                  <a:gd name="connsiteX934" fmla="*/ 7226 w 10577"/>
                  <a:gd name="connsiteY934" fmla="*/ 2983 h 10000"/>
                  <a:gd name="connsiteX935" fmla="*/ 7226 w 10577"/>
                  <a:gd name="connsiteY935" fmla="*/ 2966 h 10000"/>
                  <a:gd name="connsiteX936" fmla="*/ 7212 w 10577"/>
                  <a:gd name="connsiteY936" fmla="*/ 2957 h 10000"/>
                  <a:gd name="connsiteX937" fmla="*/ 7212 w 10577"/>
                  <a:gd name="connsiteY937" fmla="*/ 2932 h 10000"/>
                  <a:gd name="connsiteX938" fmla="*/ 7198 w 10577"/>
                  <a:gd name="connsiteY938" fmla="*/ 2915 h 10000"/>
                  <a:gd name="connsiteX939" fmla="*/ 7194 w 10577"/>
                  <a:gd name="connsiteY939" fmla="*/ 2915 h 10000"/>
                  <a:gd name="connsiteX940" fmla="*/ 7157 w 10577"/>
                  <a:gd name="connsiteY940" fmla="*/ 2880 h 10000"/>
                  <a:gd name="connsiteX941" fmla="*/ 7138 w 10577"/>
                  <a:gd name="connsiteY941" fmla="*/ 2880 h 10000"/>
                  <a:gd name="connsiteX942" fmla="*/ 7120 w 10577"/>
                  <a:gd name="connsiteY942" fmla="*/ 2872 h 10000"/>
                  <a:gd name="connsiteX943" fmla="*/ 7111 w 10577"/>
                  <a:gd name="connsiteY943" fmla="*/ 2846 h 10000"/>
                  <a:gd name="connsiteX944" fmla="*/ 7106 w 10577"/>
                  <a:gd name="connsiteY944" fmla="*/ 2846 h 10000"/>
                  <a:gd name="connsiteX945" fmla="*/ 7092 w 10577"/>
                  <a:gd name="connsiteY945" fmla="*/ 2829 h 10000"/>
                  <a:gd name="connsiteX946" fmla="*/ 7051 w 10577"/>
                  <a:gd name="connsiteY946" fmla="*/ 2829 h 10000"/>
                  <a:gd name="connsiteX947" fmla="*/ 7037 w 10577"/>
                  <a:gd name="connsiteY947" fmla="*/ 2880 h 10000"/>
                  <a:gd name="connsiteX948" fmla="*/ 7037 w 10577"/>
                  <a:gd name="connsiteY948" fmla="*/ 2906 h 10000"/>
                  <a:gd name="connsiteX949" fmla="*/ 7037 w 10577"/>
                  <a:gd name="connsiteY949" fmla="*/ 2932 h 10000"/>
                  <a:gd name="connsiteX950" fmla="*/ 7037 w 10577"/>
                  <a:gd name="connsiteY950" fmla="*/ 2940 h 10000"/>
                  <a:gd name="connsiteX951" fmla="*/ 7023 w 10577"/>
                  <a:gd name="connsiteY951" fmla="*/ 2906 h 10000"/>
                  <a:gd name="connsiteX952" fmla="*/ 7023 w 10577"/>
                  <a:gd name="connsiteY952" fmla="*/ 2915 h 10000"/>
                  <a:gd name="connsiteX953" fmla="*/ 6991 w 10577"/>
                  <a:gd name="connsiteY953" fmla="*/ 2906 h 10000"/>
                  <a:gd name="connsiteX954" fmla="*/ 6977 w 10577"/>
                  <a:gd name="connsiteY954" fmla="*/ 2915 h 10000"/>
                  <a:gd name="connsiteX955" fmla="*/ 6963 w 10577"/>
                  <a:gd name="connsiteY955" fmla="*/ 2915 h 10000"/>
                  <a:gd name="connsiteX956" fmla="*/ 6949 w 10577"/>
                  <a:gd name="connsiteY956" fmla="*/ 2872 h 10000"/>
                  <a:gd name="connsiteX957" fmla="*/ 6935 w 10577"/>
                  <a:gd name="connsiteY957" fmla="*/ 2855 h 10000"/>
                  <a:gd name="connsiteX958" fmla="*/ 6922 w 10577"/>
                  <a:gd name="connsiteY958" fmla="*/ 2803 h 10000"/>
                  <a:gd name="connsiteX959" fmla="*/ 6917 w 10577"/>
                  <a:gd name="connsiteY959" fmla="*/ 2786 h 10000"/>
                  <a:gd name="connsiteX960" fmla="*/ 6903 w 10577"/>
                  <a:gd name="connsiteY960" fmla="*/ 2709 h 10000"/>
                  <a:gd name="connsiteX961" fmla="*/ 6903 w 10577"/>
                  <a:gd name="connsiteY961" fmla="*/ 2692 h 10000"/>
                  <a:gd name="connsiteX962" fmla="*/ 6899 w 10577"/>
                  <a:gd name="connsiteY962" fmla="*/ 2709 h 10000"/>
                  <a:gd name="connsiteX963" fmla="*/ 6857 w 10577"/>
                  <a:gd name="connsiteY963" fmla="*/ 2872 h 10000"/>
                  <a:gd name="connsiteX964" fmla="*/ 6857 w 10577"/>
                  <a:gd name="connsiteY964" fmla="*/ 3009 h 10000"/>
                  <a:gd name="connsiteX965" fmla="*/ 6848 w 10577"/>
                  <a:gd name="connsiteY965" fmla="*/ 3017 h 10000"/>
                  <a:gd name="connsiteX966" fmla="*/ 6839 w 10577"/>
                  <a:gd name="connsiteY966" fmla="*/ 3068 h 10000"/>
                  <a:gd name="connsiteX967" fmla="*/ 6829 w 10577"/>
                  <a:gd name="connsiteY967" fmla="*/ 3077 h 10000"/>
                  <a:gd name="connsiteX968" fmla="*/ 6829 w 10577"/>
                  <a:gd name="connsiteY968" fmla="*/ 3128 h 10000"/>
                  <a:gd name="connsiteX969" fmla="*/ 6816 w 10577"/>
                  <a:gd name="connsiteY969" fmla="*/ 3154 h 10000"/>
                  <a:gd name="connsiteX970" fmla="*/ 6811 w 10577"/>
                  <a:gd name="connsiteY970" fmla="*/ 3179 h 10000"/>
                  <a:gd name="connsiteX971" fmla="*/ 6797 w 10577"/>
                  <a:gd name="connsiteY971" fmla="*/ 3171 h 10000"/>
                  <a:gd name="connsiteX972" fmla="*/ 6783 w 10577"/>
                  <a:gd name="connsiteY972" fmla="*/ 3103 h 10000"/>
                  <a:gd name="connsiteX973" fmla="*/ 6779 w 10577"/>
                  <a:gd name="connsiteY973" fmla="*/ 3094 h 10000"/>
                  <a:gd name="connsiteX974" fmla="*/ 6779 w 10577"/>
                  <a:gd name="connsiteY974" fmla="*/ 3120 h 10000"/>
                  <a:gd name="connsiteX975" fmla="*/ 6770 w 10577"/>
                  <a:gd name="connsiteY975" fmla="*/ 3128 h 10000"/>
                  <a:gd name="connsiteX976" fmla="*/ 6765 w 10577"/>
                  <a:gd name="connsiteY976" fmla="*/ 3103 h 10000"/>
                  <a:gd name="connsiteX977" fmla="*/ 6756 w 10577"/>
                  <a:gd name="connsiteY977" fmla="*/ 3103 h 10000"/>
                  <a:gd name="connsiteX978" fmla="*/ 6742 w 10577"/>
                  <a:gd name="connsiteY978" fmla="*/ 3103 h 10000"/>
                  <a:gd name="connsiteX979" fmla="*/ 6737 w 10577"/>
                  <a:gd name="connsiteY979" fmla="*/ 3077 h 10000"/>
                  <a:gd name="connsiteX980" fmla="*/ 6737 w 10577"/>
                  <a:gd name="connsiteY980" fmla="*/ 3068 h 10000"/>
                  <a:gd name="connsiteX981" fmla="*/ 6728 w 10577"/>
                  <a:gd name="connsiteY981" fmla="*/ 3043 h 10000"/>
                  <a:gd name="connsiteX982" fmla="*/ 6724 w 10577"/>
                  <a:gd name="connsiteY982" fmla="*/ 3051 h 10000"/>
                  <a:gd name="connsiteX983" fmla="*/ 6714 w 10577"/>
                  <a:gd name="connsiteY983" fmla="*/ 3043 h 10000"/>
                  <a:gd name="connsiteX984" fmla="*/ 6710 w 10577"/>
                  <a:gd name="connsiteY984" fmla="*/ 3034 h 10000"/>
                  <a:gd name="connsiteX985" fmla="*/ 6705 w 10577"/>
                  <a:gd name="connsiteY985" fmla="*/ 2983 h 10000"/>
                  <a:gd name="connsiteX986" fmla="*/ 6696 w 10577"/>
                  <a:gd name="connsiteY986" fmla="*/ 2966 h 10000"/>
                  <a:gd name="connsiteX987" fmla="*/ 6691 w 10577"/>
                  <a:gd name="connsiteY987" fmla="*/ 2983 h 10000"/>
                  <a:gd name="connsiteX988" fmla="*/ 6677 w 10577"/>
                  <a:gd name="connsiteY988" fmla="*/ 2897 h 10000"/>
                  <a:gd name="connsiteX989" fmla="*/ 6677 w 10577"/>
                  <a:gd name="connsiteY989" fmla="*/ 2897 h 10000"/>
                  <a:gd name="connsiteX990" fmla="*/ 6677 w 10577"/>
                  <a:gd name="connsiteY990" fmla="*/ 2872 h 10000"/>
                  <a:gd name="connsiteX991" fmla="*/ 6668 w 10577"/>
                  <a:gd name="connsiteY991" fmla="*/ 2821 h 10000"/>
                  <a:gd name="connsiteX992" fmla="*/ 6664 w 10577"/>
                  <a:gd name="connsiteY992" fmla="*/ 2829 h 10000"/>
                  <a:gd name="connsiteX993" fmla="*/ 6654 w 10577"/>
                  <a:gd name="connsiteY993" fmla="*/ 2846 h 10000"/>
                  <a:gd name="connsiteX994" fmla="*/ 6650 w 10577"/>
                  <a:gd name="connsiteY994" fmla="*/ 2829 h 10000"/>
                  <a:gd name="connsiteX995" fmla="*/ 6650 w 10577"/>
                  <a:gd name="connsiteY995" fmla="*/ 2803 h 10000"/>
                  <a:gd name="connsiteX996" fmla="*/ 6650 w 10577"/>
                  <a:gd name="connsiteY996" fmla="*/ 2795 h 10000"/>
                  <a:gd name="connsiteX997" fmla="*/ 6641 w 10577"/>
                  <a:gd name="connsiteY997" fmla="*/ 2786 h 10000"/>
                  <a:gd name="connsiteX998" fmla="*/ 6636 w 10577"/>
                  <a:gd name="connsiteY998" fmla="*/ 2735 h 10000"/>
                  <a:gd name="connsiteX999" fmla="*/ 6664 w 10577"/>
                  <a:gd name="connsiteY999" fmla="*/ 2667 h 10000"/>
                  <a:gd name="connsiteX1000" fmla="*/ 6668 w 10577"/>
                  <a:gd name="connsiteY1000" fmla="*/ 2684 h 10000"/>
                  <a:gd name="connsiteX1001" fmla="*/ 6677 w 10577"/>
                  <a:gd name="connsiteY1001" fmla="*/ 2667 h 10000"/>
                  <a:gd name="connsiteX1002" fmla="*/ 6668 w 10577"/>
                  <a:gd name="connsiteY1002" fmla="*/ 2667 h 10000"/>
                  <a:gd name="connsiteX1003" fmla="*/ 6668 w 10577"/>
                  <a:gd name="connsiteY1003" fmla="*/ 2650 h 10000"/>
                  <a:gd name="connsiteX1004" fmla="*/ 6682 w 10577"/>
                  <a:gd name="connsiteY1004" fmla="*/ 2650 h 10000"/>
                  <a:gd name="connsiteX1005" fmla="*/ 6691 w 10577"/>
                  <a:gd name="connsiteY1005" fmla="*/ 2624 h 10000"/>
                  <a:gd name="connsiteX1006" fmla="*/ 6682 w 10577"/>
                  <a:gd name="connsiteY1006" fmla="*/ 2632 h 10000"/>
                  <a:gd name="connsiteX1007" fmla="*/ 6682 w 10577"/>
                  <a:gd name="connsiteY1007" fmla="*/ 2624 h 10000"/>
                  <a:gd name="connsiteX1008" fmla="*/ 6691 w 10577"/>
                  <a:gd name="connsiteY1008" fmla="*/ 2607 h 10000"/>
                  <a:gd name="connsiteX1009" fmla="*/ 6691 w 10577"/>
                  <a:gd name="connsiteY1009" fmla="*/ 2598 h 10000"/>
                  <a:gd name="connsiteX1010" fmla="*/ 6691 w 10577"/>
                  <a:gd name="connsiteY1010" fmla="*/ 2581 h 10000"/>
                  <a:gd name="connsiteX1011" fmla="*/ 6696 w 10577"/>
                  <a:gd name="connsiteY1011" fmla="*/ 2530 h 10000"/>
                  <a:gd name="connsiteX1012" fmla="*/ 6677 w 10577"/>
                  <a:gd name="connsiteY1012" fmla="*/ 2513 h 10000"/>
                  <a:gd name="connsiteX1013" fmla="*/ 6677 w 10577"/>
                  <a:gd name="connsiteY1013" fmla="*/ 2496 h 10000"/>
                  <a:gd name="connsiteX1014" fmla="*/ 6682 w 10577"/>
                  <a:gd name="connsiteY1014" fmla="*/ 2470 h 10000"/>
                  <a:gd name="connsiteX1015" fmla="*/ 6668 w 10577"/>
                  <a:gd name="connsiteY1015" fmla="*/ 2462 h 10000"/>
                  <a:gd name="connsiteX1016" fmla="*/ 6677 w 10577"/>
                  <a:gd name="connsiteY1016" fmla="*/ 2436 h 10000"/>
                  <a:gd name="connsiteX1017" fmla="*/ 6682 w 10577"/>
                  <a:gd name="connsiteY1017" fmla="*/ 2419 h 10000"/>
                  <a:gd name="connsiteX1018" fmla="*/ 6682 w 10577"/>
                  <a:gd name="connsiteY1018" fmla="*/ 2393 h 10000"/>
                  <a:gd name="connsiteX1019" fmla="*/ 6682 w 10577"/>
                  <a:gd name="connsiteY1019" fmla="*/ 2385 h 10000"/>
                  <a:gd name="connsiteX1020" fmla="*/ 6682 w 10577"/>
                  <a:gd name="connsiteY1020" fmla="*/ 2385 h 10000"/>
                  <a:gd name="connsiteX1021" fmla="*/ 6677 w 10577"/>
                  <a:gd name="connsiteY1021" fmla="*/ 2376 h 10000"/>
                  <a:gd name="connsiteX1022" fmla="*/ 6682 w 10577"/>
                  <a:gd name="connsiteY1022" fmla="*/ 2359 h 10000"/>
                  <a:gd name="connsiteX1023" fmla="*/ 6677 w 10577"/>
                  <a:gd name="connsiteY1023" fmla="*/ 2333 h 10000"/>
                  <a:gd name="connsiteX1024" fmla="*/ 6691 w 10577"/>
                  <a:gd name="connsiteY1024" fmla="*/ 2333 h 10000"/>
                  <a:gd name="connsiteX1025" fmla="*/ 6691 w 10577"/>
                  <a:gd name="connsiteY1025" fmla="*/ 2325 h 10000"/>
                  <a:gd name="connsiteX1026" fmla="*/ 6691 w 10577"/>
                  <a:gd name="connsiteY1026" fmla="*/ 2308 h 10000"/>
                  <a:gd name="connsiteX1027" fmla="*/ 6691 w 10577"/>
                  <a:gd name="connsiteY1027" fmla="*/ 2299 h 10000"/>
                  <a:gd name="connsiteX1028" fmla="*/ 6691 w 10577"/>
                  <a:gd name="connsiteY1028" fmla="*/ 2282 h 10000"/>
                  <a:gd name="connsiteX1029" fmla="*/ 6691 w 10577"/>
                  <a:gd name="connsiteY1029" fmla="*/ 2274 h 10000"/>
                  <a:gd name="connsiteX1030" fmla="*/ 6668 w 10577"/>
                  <a:gd name="connsiteY1030" fmla="*/ 2248 h 10000"/>
                  <a:gd name="connsiteX1031" fmla="*/ 6664 w 10577"/>
                  <a:gd name="connsiteY1031" fmla="*/ 2222 h 10000"/>
                  <a:gd name="connsiteX1032" fmla="*/ 6654 w 10577"/>
                  <a:gd name="connsiteY1032" fmla="*/ 2214 h 10000"/>
                  <a:gd name="connsiteX1033" fmla="*/ 6654 w 10577"/>
                  <a:gd name="connsiteY1033" fmla="*/ 2188 h 10000"/>
                  <a:gd name="connsiteX1034" fmla="*/ 6622 w 10577"/>
                  <a:gd name="connsiteY1034" fmla="*/ 2162 h 10000"/>
                  <a:gd name="connsiteX1035" fmla="*/ 6631 w 10577"/>
                  <a:gd name="connsiteY1035" fmla="*/ 2145 h 10000"/>
                  <a:gd name="connsiteX1036" fmla="*/ 6622 w 10577"/>
                  <a:gd name="connsiteY1036" fmla="*/ 2120 h 10000"/>
                  <a:gd name="connsiteX1037" fmla="*/ 6608 w 10577"/>
                  <a:gd name="connsiteY1037" fmla="*/ 2120 h 10000"/>
                  <a:gd name="connsiteX1038" fmla="*/ 6604 w 10577"/>
                  <a:gd name="connsiteY1038" fmla="*/ 2111 h 10000"/>
                  <a:gd name="connsiteX1039" fmla="*/ 6608 w 10577"/>
                  <a:gd name="connsiteY1039" fmla="*/ 2111 h 10000"/>
                  <a:gd name="connsiteX1040" fmla="*/ 6604 w 10577"/>
                  <a:gd name="connsiteY1040" fmla="*/ 2085 h 10000"/>
                  <a:gd name="connsiteX1041" fmla="*/ 6581 w 10577"/>
                  <a:gd name="connsiteY1041" fmla="*/ 2077 h 10000"/>
                  <a:gd name="connsiteX1042" fmla="*/ 6571 w 10577"/>
                  <a:gd name="connsiteY1042" fmla="*/ 2085 h 10000"/>
                  <a:gd name="connsiteX1043" fmla="*/ 6548 w 10577"/>
                  <a:gd name="connsiteY1043" fmla="*/ 2077 h 10000"/>
                  <a:gd name="connsiteX1044" fmla="*/ 6530 w 10577"/>
                  <a:gd name="connsiteY1044" fmla="*/ 2060 h 10000"/>
                  <a:gd name="connsiteX1045" fmla="*/ 6521 w 10577"/>
                  <a:gd name="connsiteY1045" fmla="*/ 2060 h 10000"/>
                  <a:gd name="connsiteX1046" fmla="*/ 6521 w 10577"/>
                  <a:gd name="connsiteY1046" fmla="*/ 2085 h 10000"/>
                  <a:gd name="connsiteX1047" fmla="*/ 6516 w 10577"/>
                  <a:gd name="connsiteY1047" fmla="*/ 2085 h 10000"/>
                  <a:gd name="connsiteX1048" fmla="*/ 6502 w 10577"/>
                  <a:gd name="connsiteY1048" fmla="*/ 2111 h 10000"/>
                  <a:gd name="connsiteX1049" fmla="*/ 6498 w 10577"/>
                  <a:gd name="connsiteY1049" fmla="*/ 2111 h 10000"/>
                  <a:gd name="connsiteX1050" fmla="*/ 6498 w 10577"/>
                  <a:gd name="connsiteY1050" fmla="*/ 2103 h 10000"/>
                  <a:gd name="connsiteX1051" fmla="*/ 6475 w 10577"/>
                  <a:gd name="connsiteY1051" fmla="*/ 2051 h 10000"/>
                  <a:gd name="connsiteX1052" fmla="*/ 6470 w 10577"/>
                  <a:gd name="connsiteY1052" fmla="*/ 2060 h 10000"/>
                  <a:gd name="connsiteX1053" fmla="*/ 6456 w 10577"/>
                  <a:gd name="connsiteY1053" fmla="*/ 2051 h 10000"/>
                  <a:gd name="connsiteX1054" fmla="*/ 6447 w 10577"/>
                  <a:gd name="connsiteY1054" fmla="*/ 2051 h 10000"/>
                  <a:gd name="connsiteX1055" fmla="*/ 6433 w 10577"/>
                  <a:gd name="connsiteY1055" fmla="*/ 2026 h 10000"/>
                  <a:gd name="connsiteX1056" fmla="*/ 6433 w 10577"/>
                  <a:gd name="connsiteY1056" fmla="*/ 2034 h 10000"/>
                  <a:gd name="connsiteX1057" fmla="*/ 6429 w 10577"/>
                  <a:gd name="connsiteY1057" fmla="*/ 2026 h 10000"/>
                  <a:gd name="connsiteX1058" fmla="*/ 6424 w 10577"/>
                  <a:gd name="connsiteY1058" fmla="*/ 2034 h 10000"/>
                  <a:gd name="connsiteX1059" fmla="*/ 6410 w 10577"/>
                  <a:gd name="connsiteY1059" fmla="*/ 2026 h 10000"/>
                  <a:gd name="connsiteX1060" fmla="*/ 6410 w 10577"/>
                  <a:gd name="connsiteY1060" fmla="*/ 1991 h 10000"/>
                  <a:gd name="connsiteX1061" fmla="*/ 6401 w 10577"/>
                  <a:gd name="connsiteY1061" fmla="*/ 1991 h 10000"/>
                  <a:gd name="connsiteX1062" fmla="*/ 6396 w 10577"/>
                  <a:gd name="connsiteY1062" fmla="*/ 2000 h 10000"/>
                  <a:gd name="connsiteX1063" fmla="*/ 6382 w 10577"/>
                  <a:gd name="connsiteY1063" fmla="*/ 1966 h 10000"/>
                  <a:gd name="connsiteX1064" fmla="*/ 6373 w 10577"/>
                  <a:gd name="connsiteY1064" fmla="*/ 1974 h 10000"/>
                  <a:gd name="connsiteX1065" fmla="*/ 6369 w 10577"/>
                  <a:gd name="connsiteY1065" fmla="*/ 1966 h 10000"/>
                  <a:gd name="connsiteX1066" fmla="*/ 6341 w 10577"/>
                  <a:gd name="connsiteY1066" fmla="*/ 1949 h 10000"/>
                  <a:gd name="connsiteX1067" fmla="*/ 6327 w 10577"/>
                  <a:gd name="connsiteY1067" fmla="*/ 1923 h 10000"/>
                  <a:gd name="connsiteX1068" fmla="*/ 6323 w 10577"/>
                  <a:gd name="connsiteY1068" fmla="*/ 1923 h 10000"/>
                  <a:gd name="connsiteX1069" fmla="*/ 6323 w 10577"/>
                  <a:gd name="connsiteY1069" fmla="*/ 1966 h 10000"/>
                  <a:gd name="connsiteX1070" fmla="*/ 6323 w 10577"/>
                  <a:gd name="connsiteY1070" fmla="*/ 1991 h 10000"/>
                  <a:gd name="connsiteX1071" fmla="*/ 6313 w 10577"/>
                  <a:gd name="connsiteY1071" fmla="*/ 1991 h 10000"/>
                  <a:gd name="connsiteX1072" fmla="*/ 6300 w 10577"/>
                  <a:gd name="connsiteY1072" fmla="*/ 1991 h 10000"/>
                  <a:gd name="connsiteX1073" fmla="*/ 6290 w 10577"/>
                  <a:gd name="connsiteY1073" fmla="*/ 1949 h 10000"/>
                  <a:gd name="connsiteX1074" fmla="*/ 6276 w 10577"/>
                  <a:gd name="connsiteY1074" fmla="*/ 2103 h 10000"/>
                  <a:gd name="connsiteX1075" fmla="*/ 6281 w 10577"/>
                  <a:gd name="connsiteY1075" fmla="*/ 2103 h 10000"/>
                  <a:gd name="connsiteX1076" fmla="*/ 6276 w 10577"/>
                  <a:gd name="connsiteY1076" fmla="*/ 2111 h 10000"/>
                  <a:gd name="connsiteX1077" fmla="*/ 6276 w 10577"/>
                  <a:gd name="connsiteY1077" fmla="*/ 2120 h 10000"/>
                  <a:gd name="connsiteX1078" fmla="*/ 6295 w 10577"/>
                  <a:gd name="connsiteY1078" fmla="*/ 2239 h 10000"/>
                  <a:gd name="connsiteX1079" fmla="*/ 6290 w 10577"/>
                  <a:gd name="connsiteY1079" fmla="*/ 2248 h 10000"/>
                  <a:gd name="connsiteX1080" fmla="*/ 6281 w 10577"/>
                  <a:gd name="connsiteY1080" fmla="*/ 2274 h 10000"/>
                  <a:gd name="connsiteX1081" fmla="*/ 6249 w 10577"/>
                  <a:gd name="connsiteY1081" fmla="*/ 2274 h 10000"/>
                  <a:gd name="connsiteX1082" fmla="*/ 6226 w 10577"/>
                  <a:gd name="connsiteY1082" fmla="*/ 2308 h 10000"/>
                  <a:gd name="connsiteX1083" fmla="*/ 6221 w 10577"/>
                  <a:gd name="connsiteY1083" fmla="*/ 2299 h 10000"/>
                  <a:gd name="connsiteX1084" fmla="*/ 6221 w 10577"/>
                  <a:gd name="connsiteY1084" fmla="*/ 2308 h 10000"/>
                  <a:gd name="connsiteX1085" fmla="*/ 6217 w 10577"/>
                  <a:gd name="connsiteY1085" fmla="*/ 2299 h 10000"/>
                  <a:gd name="connsiteX1086" fmla="*/ 6194 w 10577"/>
                  <a:gd name="connsiteY1086" fmla="*/ 2308 h 10000"/>
                  <a:gd name="connsiteX1087" fmla="*/ 6180 w 10577"/>
                  <a:gd name="connsiteY1087" fmla="*/ 2299 h 10000"/>
                  <a:gd name="connsiteX1088" fmla="*/ 6143 w 10577"/>
                  <a:gd name="connsiteY1088" fmla="*/ 2308 h 10000"/>
                  <a:gd name="connsiteX1089" fmla="*/ 6134 w 10577"/>
                  <a:gd name="connsiteY1089" fmla="*/ 2325 h 10000"/>
                  <a:gd name="connsiteX1090" fmla="*/ 6115 w 10577"/>
                  <a:gd name="connsiteY1090" fmla="*/ 2282 h 10000"/>
                  <a:gd name="connsiteX1091" fmla="*/ 6069 w 10577"/>
                  <a:gd name="connsiteY1091" fmla="*/ 2274 h 10000"/>
                  <a:gd name="connsiteX1092" fmla="*/ 6069 w 10577"/>
                  <a:gd name="connsiteY1092" fmla="*/ 2282 h 10000"/>
                  <a:gd name="connsiteX1093" fmla="*/ 6060 w 10577"/>
                  <a:gd name="connsiteY1093" fmla="*/ 2299 h 10000"/>
                  <a:gd name="connsiteX1094" fmla="*/ 5972 w 10577"/>
                  <a:gd name="connsiteY1094" fmla="*/ 2214 h 10000"/>
                  <a:gd name="connsiteX1095" fmla="*/ 5968 w 10577"/>
                  <a:gd name="connsiteY1095" fmla="*/ 2197 h 10000"/>
                  <a:gd name="connsiteX1096" fmla="*/ 5968 w 10577"/>
                  <a:gd name="connsiteY1096" fmla="*/ 2171 h 10000"/>
                  <a:gd name="connsiteX1097" fmla="*/ 5968 w 10577"/>
                  <a:gd name="connsiteY1097" fmla="*/ 2162 h 10000"/>
                  <a:gd name="connsiteX1098" fmla="*/ 5968 w 10577"/>
                  <a:gd name="connsiteY1098" fmla="*/ 2120 h 10000"/>
                  <a:gd name="connsiteX1099" fmla="*/ 5968 w 10577"/>
                  <a:gd name="connsiteY1099" fmla="*/ 2111 h 10000"/>
                  <a:gd name="connsiteX1100" fmla="*/ 5972 w 10577"/>
                  <a:gd name="connsiteY1100" fmla="*/ 2103 h 10000"/>
                  <a:gd name="connsiteX1101" fmla="*/ 5986 w 10577"/>
                  <a:gd name="connsiteY1101" fmla="*/ 2103 h 10000"/>
                  <a:gd name="connsiteX1102" fmla="*/ 5986 w 10577"/>
                  <a:gd name="connsiteY1102" fmla="*/ 2085 h 10000"/>
                  <a:gd name="connsiteX1103" fmla="*/ 5995 w 10577"/>
                  <a:gd name="connsiteY1103" fmla="*/ 2085 h 10000"/>
                  <a:gd name="connsiteX1104" fmla="*/ 5995 w 10577"/>
                  <a:gd name="connsiteY1104" fmla="*/ 2077 h 10000"/>
                  <a:gd name="connsiteX1105" fmla="*/ 5986 w 10577"/>
                  <a:gd name="connsiteY1105" fmla="*/ 2060 h 10000"/>
                  <a:gd name="connsiteX1106" fmla="*/ 5954 w 10577"/>
                  <a:gd name="connsiteY1106" fmla="*/ 2060 h 10000"/>
                  <a:gd name="connsiteX1107" fmla="*/ 5940 w 10577"/>
                  <a:gd name="connsiteY1107" fmla="*/ 2051 h 10000"/>
                  <a:gd name="connsiteX1108" fmla="*/ 5922 w 10577"/>
                  <a:gd name="connsiteY1108" fmla="*/ 2060 h 10000"/>
                  <a:gd name="connsiteX1109" fmla="*/ 5885 w 10577"/>
                  <a:gd name="connsiteY1109" fmla="*/ 2051 h 10000"/>
                  <a:gd name="connsiteX1110" fmla="*/ 5876 w 10577"/>
                  <a:gd name="connsiteY1110" fmla="*/ 2026 h 10000"/>
                  <a:gd name="connsiteX1111" fmla="*/ 5862 w 10577"/>
                  <a:gd name="connsiteY1111" fmla="*/ 2026 h 10000"/>
                  <a:gd name="connsiteX1112" fmla="*/ 5848 w 10577"/>
                  <a:gd name="connsiteY1112" fmla="*/ 2026 h 10000"/>
                  <a:gd name="connsiteX1113" fmla="*/ 5825 w 10577"/>
                  <a:gd name="connsiteY1113" fmla="*/ 2026 h 10000"/>
                  <a:gd name="connsiteX1114" fmla="*/ 5788 w 10577"/>
                  <a:gd name="connsiteY1114" fmla="*/ 1991 h 10000"/>
                  <a:gd name="connsiteX1115" fmla="*/ 5760 w 10577"/>
                  <a:gd name="connsiteY1115" fmla="*/ 2000 h 10000"/>
                  <a:gd name="connsiteX1116" fmla="*/ 5760 w 10577"/>
                  <a:gd name="connsiteY1116" fmla="*/ 2026 h 10000"/>
                  <a:gd name="connsiteX1117" fmla="*/ 5714 w 10577"/>
                  <a:gd name="connsiteY1117" fmla="*/ 2051 h 10000"/>
                  <a:gd name="connsiteX1118" fmla="*/ 5687 w 10577"/>
                  <a:gd name="connsiteY1118" fmla="*/ 2034 h 10000"/>
                  <a:gd name="connsiteX1119" fmla="*/ 5645 w 10577"/>
                  <a:gd name="connsiteY1119" fmla="*/ 2077 h 10000"/>
                  <a:gd name="connsiteX1120" fmla="*/ 5664 w 10577"/>
                  <a:gd name="connsiteY1120" fmla="*/ 2120 h 10000"/>
                  <a:gd name="connsiteX1121" fmla="*/ 5664 w 10577"/>
                  <a:gd name="connsiteY1121" fmla="*/ 2162 h 10000"/>
                  <a:gd name="connsiteX1122" fmla="*/ 5631 w 10577"/>
                  <a:gd name="connsiteY1122" fmla="*/ 2197 h 10000"/>
                  <a:gd name="connsiteX1123" fmla="*/ 5618 w 10577"/>
                  <a:gd name="connsiteY1123" fmla="*/ 2188 h 10000"/>
                  <a:gd name="connsiteX1124" fmla="*/ 5618 w 10577"/>
                  <a:gd name="connsiteY1124" fmla="*/ 2171 h 10000"/>
                  <a:gd name="connsiteX1125" fmla="*/ 5641 w 10577"/>
                  <a:gd name="connsiteY1125" fmla="*/ 2171 h 10000"/>
                  <a:gd name="connsiteX1126" fmla="*/ 5641 w 10577"/>
                  <a:gd name="connsiteY1126" fmla="*/ 2162 h 10000"/>
                  <a:gd name="connsiteX1127" fmla="*/ 5627 w 10577"/>
                  <a:gd name="connsiteY1127" fmla="*/ 2145 h 10000"/>
                  <a:gd name="connsiteX1128" fmla="*/ 5627 w 10577"/>
                  <a:gd name="connsiteY1128" fmla="*/ 2120 h 10000"/>
                  <a:gd name="connsiteX1129" fmla="*/ 5618 w 10577"/>
                  <a:gd name="connsiteY1129" fmla="*/ 2111 h 10000"/>
                  <a:gd name="connsiteX1130" fmla="*/ 5631 w 10577"/>
                  <a:gd name="connsiteY1130" fmla="*/ 2051 h 10000"/>
                  <a:gd name="connsiteX1131" fmla="*/ 5631 w 10577"/>
                  <a:gd name="connsiteY1131" fmla="*/ 2026 h 10000"/>
                  <a:gd name="connsiteX1132" fmla="*/ 5627 w 10577"/>
                  <a:gd name="connsiteY1132" fmla="*/ 1991 h 10000"/>
                  <a:gd name="connsiteX1133" fmla="*/ 5618 w 10577"/>
                  <a:gd name="connsiteY1133" fmla="*/ 1974 h 10000"/>
                  <a:gd name="connsiteX1134" fmla="*/ 5618 w 10577"/>
                  <a:gd name="connsiteY1134" fmla="*/ 1940 h 10000"/>
                  <a:gd name="connsiteX1135" fmla="*/ 5594 w 10577"/>
                  <a:gd name="connsiteY1135" fmla="*/ 1855 h 10000"/>
                  <a:gd name="connsiteX1136" fmla="*/ 5599 w 10577"/>
                  <a:gd name="connsiteY1136" fmla="*/ 1915 h 10000"/>
                  <a:gd name="connsiteX1137" fmla="*/ 5599 w 10577"/>
                  <a:gd name="connsiteY1137" fmla="*/ 1949 h 10000"/>
                  <a:gd name="connsiteX1138" fmla="*/ 5594 w 10577"/>
                  <a:gd name="connsiteY1138" fmla="*/ 1991 h 10000"/>
                  <a:gd name="connsiteX1139" fmla="*/ 5571 w 10577"/>
                  <a:gd name="connsiteY1139" fmla="*/ 2000 h 10000"/>
                  <a:gd name="connsiteX1140" fmla="*/ 5530 w 10577"/>
                  <a:gd name="connsiteY1140" fmla="*/ 1991 h 10000"/>
                  <a:gd name="connsiteX1141" fmla="*/ 5525 w 10577"/>
                  <a:gd name="connsiteY1141" fmla="*/ 2000 h 10000"/>
                  <a:gd name="connsiteX1142" fmla="*/ 5521 w 10577"/>
                  <a:gd name="connsiteY1142" fmla="*/ 1991 h 10000"/>
                  <a:gd name="connsiteX1143" fmla="*/ 5498 w 10577"/>
                  <a:gd name="connsiteY1143" fmla="*/ 1949 h 10000"/>
                  <a:gd name="connsiteX1144" fmla="*/ 5493 w 10577"/>
                  <a:gd name="connsiteY1144" fmla="*/ 1889 h 10000"/>
                  <a:gd name="connsiteX1145" fmla="*/ 5493 w 10577"/>
                  <a:gd name="connsiteY1145" fmla="*/ 1863 h 10000"/>
                  <a:gd name="connsiteX1146" fmla="*/ 5498 w 10577"/>
                  <a:gd name="connsiteY1146" fmla="*/ 1889 h 10000"/>
                  <a:gd name="connsiteX1147" fmla="*/ 5512 w 10577"/>
                  <a:gd name="connsiteY1147" fmla="*/ 1855 h 10000"/>
                  <a:gd name="connsiteX1148" fmla="*/ 5512 w 10577"/>
                  <a:gd name="connsiteY1148" fmla="*/ 1838 h 10000"/>
                  <a:gd name="connsiteX1149" fmla="*/ 5479 w 10577"/>
                  <a:gd name="connsiteY1149" fmla="*/ 1855 h 10000"/>
                  <a:gd name="connsiteX1150" fmla="*/ 5470 w 10577"/>
                  <a:gd name="connsiteY1150" fmla="*/ 1872 h 10000"/>
                  <a:gd name="connsiteX1151" fmla="*/ 5470 w 10577"/>
                  <a:gd name="connsiteY1151" fmla="*/ 1889 h 10000"/>
                  <a:gd name="connsiteX1152" fmla="*/ 5465 w 10577"/>
                  <a:gd name="connsiteY1152" fmla="*/ 1897 h 10000"/>
                  <a:gd name="connsiteX1153" fmla="*/ 5456 w 10577"/>
                  <a:gd name="connsiteY1153" fmla="*/ 1872 h 10000"/>
                  <a:gd name="connsiteX1154" fmla="*/ 5447 w 10577"/>
                  <a:gd name="connsiteY1154" fmla="*/ 1872 h 10000"/>
                  <a:gd name="connsiteX1155" fmla="*/ 5433 w 10577"/>
                  <a:gd name="connsiteY1155" fmla="*/ 1855 h 10000"/>
                  <a:gd name="connsiteX1156" fmla="*/ 5396 w 10577"/>
                  <a:gd name="connsiteY1156" fmla="*/ 1863 h 10000"/>
                  <a:gd name="connsiteX1157" fmla="*/ 5396 w 10577"/>
                  <a:gd name="connsiteY1157" fmla="*/ 1897 h 10000"/>
                  <a:gd name="connsiteX1158" fmla="*/ 5378 w 10577"/>
                  <a:gd name="connsiteY1158" fmla="*/ 1949 h 10000"/>
                  <a:gd name="connsiteX1159" fmla="*/ 5378 w 10577"/>
                  <a:gd name="connsiteY1159" fmla="*/ 1966 h 10000"/>
                  <a:gd name="connsiteX1160" fmla="*/ 5392 w 10577"/>
                  <a:gd name="connsiteY1160" fmla="*/ 2026 h 10000"/>
                  <a:gd name="connsiteX1161" fmla="*/ 5396 w 10577"/>
                  <a:gd name="connsiteY1161" fmla="*/ 2026 h 10000"/>
                  <a:gd name="connsiteX1162" fmla="*/ 5392 w 10577"/>
                  <a:gd name="connsiteY1162" fmla="*/ 2009 h 10000"/>
                  <a:gd name="connsiteX1163" fmla="*/ 5392 w 10577"/>
                  <a:gd name="connsiteY1163" fmla="*/ 2000 h 10000"/>
                  <a:gd name="connsiteX1164" fmla="*/ 5396 w 10577"/>
                  <a:gd name="connsiteY1164" fmla="*/ 2009 h 10000"/>
                  <a:gd name="connsiteX1165" fmla="*/ 5424 w 10577"/>
                  <a:gd name="connsiteY1165" fmla="*/ 2009 h 10000"/>
                  <a:gd name="connsiteX1166" fmla="*/ 5433 w 10577"/>
                  <a:gd name="connsiteY1166" fmla="*/ 1991 h 10000"/>
                  <a:gd name="connsiteX1167" fmla="*/ 5447 w 10577"/>
                  <a:gd name="connsiteY1167" fmla="*/ 1974 h 10000"/>
                  <a:gd name="connsiteX1168" fmla="*/ 5452 w 10577"/>
                  <a:gd name="connsiteY1168" fmla="*/ 1966 h 10000"/>
                  <a:gd name="connsiteX1169" fmla="*/ 5456 w 10577"/>
                  <a:gd name="connsiteY1169" fmla="*/ 1966 h 10000"/>
                  <a:gd name="connsiteX1170" fmla="*/ 5465 w 10577"/>
                  <a:gd name="connsiteY1170" fmla="*/ 2009 h 10000"/>
                  <a:gd name="connsiteX1171" fmla="*/ 5433 w 10577"/>
                  <a:gd name="connsiteY1171" fmla="*/ 2034 h 10000"/>
                  <a:gd name="connsiteX1172" fmla="*/ 5424 w 10577"/>
                  <a:gd name="connsiteY1172" fmla="*/ 2060 h 10000"/>
                  <a:gd name="connsiteX1173" fmla="*/ 5419 w 10577"/>
                  <a:gd name="connsiteY1173" fmla="*/ 2060 h 10000"/>
                  <a:gd name="connsiteX1174" fmla="*/ 5392 w 10577"/>
                  <a:gd name="connsiteY1174" fmla="*/ 2111 h 10000"/>
                  <a:gd name="connsiteX1175" fmla="*/ 5378 w 10577"/>
                  <a:gd name="connsiteY1175" fmla="*/ 2111 h 10000"/>
                  <a:gd name="connsiteX1176" fmla="*/ 5350 w 10577"/>
                  <a:gd name="connsiteY1176" fmla="*/ 2060 h 10000"/>
                  <a:gd name="connsiteX1177" fmla="*/ 5373 w 10577"/>
                  <a:gd name="connsiteY1177" fmla="*/ 2111 h 10000"/>
                  <a:gd name="connsiteX1178" fmla="*/ 5364 w 10577"/>
                  <a:gd name="connsiteY1178" fmla="*/ 2111 h 10000"/>
                  <a:gd name="connsiteX1179" fmla="*/ 5359 w 10577"/>
                  <a:gd name="connsiteY1179" fmla="*/ 2103 h 10000"/>
                  <a:gd name="connsiteX1180" fmla="*/ 5359 w 10577"/>
                  <a:gd name="connsiteY1180" fmla="*/ 2120 h 10000"/>
                  <a:gd name="connsiteX1181" fmla="*/ 5359 w 10577"/>
                  <a:gd name="connsiteY1181" fmla="*/ 2137 h 10000"/>
                  <a:gd name="connsiteX1182" fmla="*/ 5313 w 10577"/>
                  <a:gd name="connsiteY1182" fmla="*/ 2162 h 10000"/>
                  <a:gd name="connsiteX1183" fmla="*/ 5300 w 10577"/>
                  <a:gd name="connsiteY1183" fmla="*/ 2162 h 10000"/>
                  <a:gd name="connsiteX1184" fmla="*/ 5300 w 10577"/>
                  <a:gd name="connsiteY1184" fmla="*/ 2171 h 10000"/>
                  <a:gd name="connsiteX1185" fmla="*/ 5300 w 10577"/>
                  <a:gd name="connsiteY1185" fmla="*/ 2197 h 10000"/>
                  <a:gd name="connsiteX1186" fmla="*/ 5276 w 10577"/>
                  <a:gd name="connsiteY1186" fmla="*/ 2188 h 10000"/>
                  <a:gd name="connsiteX1187" fmla="*/ 5249 w 10577"/>
                  <a:gd name="connsiteY1187" fmla="*/ 2222 h 10000"/>
                  <a:gd name="connsiteX1188" fmla="*/ 5249 w 10577"/>
                  <a:gd name="connsiteY1188" fmla="*/ 2222 h 10000"/>
                  <a:gd name="connsiteX1189" fmla="*/ 5217 w 10577"/>
                  <a:gd name="connsiteY1189" fmla="*/ 2214 h 10000"/>
                  <a:gd name="connsiteX1190" fmla="*/ 5203 w 10577"/>
                  <a:gd name="connsiteY1190" fmla="*/ 2239 h 10000"/>
                  <a:gd name="connsiteX1191" fmla="*/ 5171 w 10577"/>
                  <a:gd name="connsiteY1191" fmla="*/ 2214 h 10000"/>
                  <a:gd name="connsiteX1192" fmla="*/ 5157 w 10577"/>
                  <a:gd name="connsiteY1192" fmla="*/ 2239 h 10000"/>
                  <a:gd name="connsiteX1193" fmla="*/ 5166 w 10577"/>
                  <a:gd name="connsiteY1193" fmla="*/ 2256 h 10000"/>
                  <a:gd name="connsiteX1194" fmla="*/ 5171 w 10577"/>
                  <a:gd name="connsiteY1194" fmla="*/ 2308 h 10000"/>
                  <a:gd name="connsiteX1195" fmla="*/ 5212 w 10577"/>
                  <a:gd name="connsiteY1195" fmla="*/ 2350 h 10000"/>
                  <a:gd name="connsiteX1196" fmla="*/ 5203 w 10577"/>
                  <a:gd name="connsiteY1196" fmla="*/ 2350 h 10000"/>
                  <a:gd name="connsiteX1197" fmla="*/ 5166 w 10577"/>
                  <a:gd name="connsiteY1197" fmla="*/ 2325 h 10000"/>
                  <a:gd name="connsiteX1198" fmla="*/ 5152 w 10577"/>
                  <a:gd name="connsiteY1198" fmla="*/ 2308 h 10000"/>
                  <a:gd name="connsiteX1199" fmla="*/ 5143 w 10577"/>
                  <a:gd name="connsiteY1199" fmla="*/ 2333 h 10000"/>
                  <a:gd name="connsiteX1200" fmla="*/ 5138 w 10577"/>
                  <a:gd name="connsiteY1200" fmla="*/ 2333 h 10000"/>
                  <a:gd name="connsiteX1201" fmla="*/ 5124 w 10577"/>
                  <a:gd name="connsiteY1201" fmla="*/ 2376 h 10000"/>
                  <a:gd name="connsiteX1202" fmla="*/ 5115 w 10577"/>
                  <a:gd name="connsiteY1202" fmla="*/ 2385 h 10000"/>
                  <a:gd name="connsiteX1203" fmla="*/ 5106 w 10577"/>
                  <a:gd name="connsiteY1203" fmla="*/ 2385 h 10000"/>
                  <a:gd name="connsiteX1204" fmla="*/ 5055 w 10577"/>
                  <a:gd name="connsiteY1204" fmla="*/ 2470 h 10000"/>
                  <a:gd name="connsiteX1205" fmla="*/ 5065 w 10577"/>
                  <a:gd name="connsiteY1205" fmla="*/ 2462 h 10000"/>
                  <a:gd name="connsiteX1206" fmla="*/ 5055 w 10577"/>
                  <a:gd name="connsiteY1206" fmla="*/ 2444 h 10000"/>
                  <a:gd name="connsiteX1207" fmla="*/ 5041 w 10577"/>
                  <a:gd name="connsiteY1207" fmla="*/ 2462 h 10000"/>
                  <a:gd name="connsiteX1208" fmla="*/ 5037 w 10577"/>
                  <a:gd name="connsiteY1208" fmla="*/ 2470 h 10000"/>
                  <a:gd name="connsiteX1209" fmla="*/ 5032 w 10577"/>
                  <a:gd name="connsiteY1209" fmla="*/ 2470 h 10000"/>
                  <a:gd name="connsiteX1210" fmla="*/ 5032 w 10577"/>
                  <a:gd name="connsiteY1210" fmla="*/ 2444 h 10000"/>
                  <a:gd name="connsiteX1211" fmla="*/ 5055 w 10577"/>
                  <a:gd name="connsiteY1211" fmla="*/ 2410 h 10000"/>
                  <a:gd name="connsiteX1212" fmla="*/ 5065 w 10577"/>
                  <a:gd name="connsiteY1212" fmla="*/ 2393 h 10000"/>
                  <a:gd name="connsiteX1213" fmla="*/ 5069 w 10577"/>
                  <a:gd name="connsiteY1213" fmla="*/ 2385 h 10000"/>
                  <a:gd name="connsiteX1214" fmla="*/ 5083 w 10577"/>
                  <a:gd name="connsiteY1214" fmla="*/ 2376 h 10000"/>
                  <a:gd name="connsiteX1215" fmla="*/ 5097 w 10577"/>
                  <a:gd name="connsiteY1215" fmla="*/ 2376 h 10000"/>
                  <a:gd name="connsiteX1216" fmla="*/ 5124 w 10577"/>
                  <a:gd name="connsiteY1216" fmla="*/ 2325 h 10000"/>
                  <a:gd name="connsiteX1217" fmla="*/ 5143 w 10577"/>
                  <a:gd name="connsiteY1217" fmla="*/ 2248 h 10000"/>
                  <a:gd name="connsiteX1218" fmla="*/ 5152 w 10577"/>
                  <a:gd name="connsiteY1218" fmla="*/ 2239 h 10000"/>
                  <a:gd name="connsiteX1219" fmla="*/ 5166 w 10577"/>
                  <a:gd name="connsiteY1219" fmla="*/ 2162 h 10000"/>
                  <a:gd name="connsiteX1220" fmla="*/ 5171 w 10577"/>
                  <a:gd name="connsiteY1220" fmla="*/ 2171 h 10000"/>
                  <a:gd name="connsiteX1221" fmla="*/ 5198 w 10577"/>
                  <a:gd name="connsiteY1221" fmla="*/ 2145 h 10000"/>
                  <a:gd name="connsiteX1222" fmla="*/ 5203 w 10577"/>
                  <a:gd name="connsiteY1222" fmla="*/ 2111 h 10000"/>
                  <a:gd name="connsiteX1223" fmla="*/ 5217 w 10577"/>
                  <a:gd name="connsiteY1223" fmla="*/ 2060 h 10000"/>
                  <a:gd name="connsiteX1224" fmla="*/ 5226 w 10577"/>
                  <a:gd name="connsiteY1224" fmla="*/ 2026 h 10000"/>
                  <a:gd name="connsiteX1225" fmla="*/ 5286 w 10577"/>
                  <a:gd name="connsiteY1225" fmla="*/ 2026 h 10000"/>
                  <a:gd name="connsiteX1226" fmla="*/ 5290 w 10577"/>
                  <a:gd name="connsiteY1226" fmla="*/ 2034 h 10000"/>
                  <a:gd name="connsiteX1227" fmla="*/ 5323 w 10577"/>
                  <a:gd name="connsiteY1227" fmla="*/ 1923 h 10000"/>
                  <a:gd name="connsiteX1228" fmla="*/ 5323 w 10577"/>
                  <a:gd name="connsiteY1228" fmla="*/ 1889 h 10000"/>
                  <a:gd name="connsiteX1229" fmla="*/ 5359 w 10577"/>
                  <a:gd name="connsiteY1229" fmla="*/ 1829 h 10000"/>
                  <a:gd name="connsiteX1230" fmla="*/ 5378 w 10577"/>
                  <a:gd name="connsiteY1230" fmla="*/ 1812 h 10000"/>
                  <a:gd name="connsiteX1231" fmla="*/ 5406 w 10577"/>
                  <a:gd name="connsiteY1231" fmla="*/ 1752 h 10000"/>
                  <a:gd name="connsiteX1232" fmla="*/ 5410 w 10577"/>
                  <a:gd name="connsiteY1232" fmla="*/ 1718 h 10000"/>
                  <a:gd name="connsiteX1233" fmla="*/ 5438 w 10577"/>
                  <a:gd name="connsiteY1233" fmla="*/ 1667 h 10000"/>
                  <a:gd name="connsiteX1234" fmla="*/ 5438 w 10577"/>
                  <a:gd name="connsiteY1234" fmla="*/ 1650 h 10000"/>
                  <a:gd name="connsiteX1235" fmla="*/ 5438 w 10577"/>
                  <a:gd name="connsiteY1235" fmla="*/ 1641 h 10000"/>
                  <a:gd name="connsiteX1236" fmla="*/ 5452 w 10577"/>
                  <a:gd name="connsiteY1236" fmla="*/ 1641 h 10000"/>
                  <a:gd name="connsiteX1237" fmla="*/ 5456 w 10577"/>
                  <a:gd name="connsiteY1237" fmla="*/ 1615 h 10000"/>
                  <a:gd name="connsiteX1238" fmla="*/ 5456 w 10577"/>
                  <a:gd name="connsiteY1238" fmla="*/ 1615 h 10000"/>
                  <a:gd name="connsiteX1239" fmla="*/ 5465 w 10577"/>
                  <a:gd name="connsiteY1239" fmla="*/ 1598 h 10000"/>
                  <a:gd name="connsiteX1240" fmla="*/ 5465 w 10577"/>
                  <a:gd name="connsiteY1240" fmla="*/ 1615 h 10000"/>
                  <a:gd name="connsiteX1241" fmla="*/ 5479 w 10577"/>
                  <a:gd name="connsiteY1241" fmla="*/ 1598 h 10000"/>
                  <a:gd name="connsiteX1242" fmla="*/ 5484 w 10577"/>
                  <a:gd name="connsiteY1242" fmla="*/ 1581 h 10000"/>
                  <a:gd name="connsiteX1243" fmla="*/ 5493 w 10577"/>
                  <a:gd name="connsiteY1243" fmla="*/ 1581 h 10000"/>
                  <a:gd name="connsiteX1244" fmla="*/ 5512 w 10577"/>
                  <a:gd name="connsiteY1244" fmla="*/ 1538 h 10000"/>
                  <a:gd name="connsiteX1245" fmla="*/ 5530 w 10577"/>
                  <a:gd name="connsiteY1245" fmla="*/ 1564 h 10000"/>
                  <a:gd name="connsiteX1246" fmla="*/ 5530 w 10577"/>
                  <a:gd name="connsiteY1246" fmla="*/ 1538 h 10000"/>
                  <a:gd name="connsiteX1247" fmla="*/ 5539 w 10577"/>
                  <a:gd name="connsiteY1247" fmla="*/ 1530 h 10000"/>
                  <a:gd name="connsiteX1248" fmla="*/ 5530 w 10577"/>
                  <a:gd name="connsiteY1248" fmla="*/ 1504 h 10000"/>
                  <a:gd name="connsiteX1249" fmla="*/ 5567 w 10577"/>
                  <a:gd name="connsiteY1249" fmla="*/ 1479 h 10000"/>
                  <a:gd name="connsiteX1250" fmla="*/ 5553 w 10577"/>
                  <a:gd name="connsiteY1250" fmla="*/ 1479 h 10000"/>
                  <a:gd name="connsiteX1251" fmla="*/ 5553 w 10577"/>
                  <a:gd name="connsiteY1251" fmla="*/ 1453 h 10000"/>
                  <a:gd name="connsiteX1252" fmla="*/ 5581 w 10577"/>
                  <a:gd name="connsiteY1252" fmla="*/ 1444 h 10000"/>
                  <a:gd name="connsiteX1253" fmla="*/ 5581 w 10577"/>
                  <a:gd name="connsiteY1253" fmla="*/ 1453 h 10000"/>
                  <a:gd name="connsiteX1254" fmla="*/ 5585 w 10577"/>
                  <a:gd name="connsiteY1254" fmla="*/ 1444 h 10000"/>
                  <a:gd name="connsiteX1255" fmla="*/ 5594 w 10577"/>
                  <a:gd name="connsiteY1255" fmla="*/ 1427 h 10000"/>
                  <a:gd name="connsiteX1256" fmla="*/ 5599 w 10577"/>
                  <a:gd name="connsiteY1256" fmla="*/ 1419 h 10000"/>
                  <a:gd name="connsiteX1257" fmla="*/ 5594 w 10577"/>
                  <a:gd name="connsiteY1257" fmla="*/ 1402 h 10000"/>
                  <a:gd name="connsiteX1258" fmla="*/ 5604 w 10577"/>
                  <a:gd name="connsiteY1258" fmla="*/ 1393 h 10000"/>
                  <a:gd name="connsiteX1259" fmla="*/ 5618 w 10577"/>
                  <a:gd name="connsiteY1259" fmla="*/ 1393 h 10000"/>
                  <a:gd name="connsiteX1260" fmla="*/ 5627 w 10577"/>
                  <a:gd name="connsiteY1260" fmla="*/ 1368 h 10000"/>
                  <a:gd name="connsiteX1261" fmla="*/ 5627 w 10577"/>
                  <a:gd name="connsiteY1261" fmla="*/ 1325 h 10000"/>
                  <a:gd name="connsiteX1262" fmla="*/ 5645 w 10577"/>
                  <a:gd name="connsiteY1262" fmla="*/ 1291 h 10000"/>
                  <a:gd name="connsiteX1263" fmla="*/ 5645 w 10577"/>
                  <a:gd name="connsiteY1263" fmla="*/ 1282 h 10000"/>
                  <a:gd name="connsiteX1264" fmla="*/ 5654 w 10577"/>
                  <a:gd name="connsiteY1264" fmla="*/ 1265 h 10000"/>
                  <a:gd name="connsiteX1265" fmla="*/ 5654 w 10577"/>
                  <a:gd name="connsiteY1265" fmla="*/ 1214 h 10000"/>
                  <a:gd name="connsiteX1266" fmla="*/ 5654 w 10577"/>
                  <a:gd name="connsiteY1266" fmla="*/ 1214 h 10000"/>
                  <a:gd name="connsiteX1267" fmla="*/ 5645 w 10577"/>
                  <a:gd name="connsiteY1267" fmla="*/ 1197 h 10000"/>
                  <a:gd name="connsiteX1268" fmla="*/ 5659 w 10577"/>
                  <a:gd name="connsiteY1268" fmla="*/ 1197 h 10000"/>
                  <a:gd name="connsiteX1269" fmla="*/ 5654 w 10577"/>
                  <a:gd name="connsiteY1269" fmla="*/ 1154 h 10000"/>
                  <a:gd name="connsiteX1270" fmla="*/ 5641 w 10577"/>
                  <a:gd name="connsiteY1270" fmla="*/ 1154 h 10000"/>
                  <a:gd name="connsiteX1271" fmla="*/ 5627 w 10577"/>
                  <a:gd name="connsiteY1271" fmla="*/ 1128 h 10000"/>
                  <a:gd name="connsiteX1272" fmla="*/ 5618 w 10577"/>
                  <a:gd name="connsiteY1272" fmla="*/ 1094 h 10000"/>
                  <a:gd name="connsiteX1273" fmla="*/ 5613 w 10577"/>
                  <a:gd name="connsiteY1273" fmla="*/ 1094 h 10000"/>
                  <a:gd name="connsiteX1274" fmla="*/ 5604 w 10577"/>
                  <a:gd name="connsiteY1274" fmla="*/ 1120 h 10000"/>
                  <a:gd name="connsiteX1275" fmla="*/ 5604 w 10577"/>
                  <a:gd name="connsiteY1275" fmla="*/ 1128 h 10000"/>
                  <a:gd name="connsiteX1276" fmla="*/ 5599 w 10577"/>
                  <a:gd name="connsiteY1276" fmla="*/ 1103 h 10000"/>
                  <a:gd name="connsiteX1277" fmla="*/ 5599 w 10577"/>
                  <a:gd name="connsiteY1277" fmla="*/ 1103 h 10000"/>
                  <a:gd name="connsiteX1278" fmla="*/ 5594 w 10577"/>
                  <a:gd name="connsiteY1278" fmla="*/ 1068 h 10000"/>
                  <a:gd name="connsiteX1279" fmla="*/ 5594 w 10577"/>
                  <a:gd name="connsiteY1279" fmla="*/ 1060 h 10000"/>
                  <a:gd name="connsiteX1280" fmla="*/ 5581 w 10577"/>
                  <a:gd name="connsiteY1280" fmla="*/ 1034 h 10000"/>
                  <a:gd name="connsiteX1281" fmla="*/ 5571 w 10577"/>
                  <a:gd name="connsiteY1281" fmla="*/ 1009 h 10000"/>
                  <a:gd name="connsiteX1282" fmla="*/ 5571 w 10577"/>
                  <a:gd name="connsiteY1282" fmla="*/ 991 h 10000"/>
                  <a:gd name="connsiteX1283" fmla="*/ 5585 w 10577"/>
                  <a:gd name="connsiteY1283" fmla="*/ 1009 h 10000"/>
                  <a:gd name="connsiteX1284" fmla="*/ 5604 w 10577"/>
                  <a:gd name="connsiteY1284" fmla="*/ 1043 h 10000"/>
                  <a:gd name="connsiteX1285" fmla="*/ 5641 w 10577"/>
                  <a:gd name="connsiteY1285" fmla="*/ 1094 h 10000"/>
                  <a:gd name="connsiteX1286" fmla="*/ 5631 w 10577"/>
                  <a:gd name="connsiteY1286" fmla="*/ 1128 h 10000"/>
                  <a:gd name="connsiteX1287" fmla="*/ 5641 w 10577"/>
                  <a:gd name="connsiteY1287" fmla="*/ 1128 h 10000"/>
                  <a:gd name="connsiteX1288" fmla="*/ 5659 w 10577"/>
                  <a:gd name="connsiteY1288" fmla="*/ 1017 h 10000"/>
                  <a:gd name="connsiteX1289" fmla="*/ 5659 w 10577"/>
                  <a:gd name="connsiteY1289" fmla="*/ 983 h 10000"/>
                  <a:gd name="connsiteX1290" fmla="*/ 5659 w 10577"/>
                  <a:gd name="connsiteY1290" fmla="*/ 957 h 10000"/>
                  <a:gd name="connsiteX1291" fmla="*/ 5654 w 10577"/>
                  <a:gd name="connsiteY1291" fmla="*/ 966 h 10000"/>
                  <a:gd name="connsiteX1292" fmla="*/ 5641 w 10577"/>
                  <a:gd name="connsiteY1292" fmla="*/ 957 h 10000"/>
                  <a:gd name="connsiteX1293" fmla="*/ 5631 w 10577"/>
                  <a:gd name="connsiteY1293" fmla="*/ 897 h 10000"/>
                  <a:gd name="connsiteX1294" fmla="*/ 5641 w 10577"/>
                  <a:gd name="connsiteY1294" fmla="*/ 872 h 10000"/>
                  <a:gd name="connsiteX1295" fmla="*/ 5618 w 10577"/>
                  <a:gd name="connsiteY1295" fmla="*/ 803 h 10000"/>
                  <a:gd name="connsiteX1296" fmla="*/ 5604 w 10577"/>
                  <a:gd name="connsiteY1296" fmla="*/ 821 h 10000"/>
                  <a:gd name="connsiteX1297" fmla="*/ 5613 w 10577"/>
                  <a:gd name="connsiteY1297" fmla="*/ 846 h 10000"/>
                  <a:gd name="connsiteX1298" fmla="*/ 5604 w 10577"/>
                  <a:gd name="connsiteY1298" fmla="*/ 855 h 10000"/>
                  <a:gd name="connsiteX1299" fmla="*/ 5599 w 10577"/>
                  <a:gd name="connsiteY1299" fmla="*/ 880 h 10000"/>
                  <a:gd name="connsiteX1300" fmla="*/ 5594 w 10577"/>
                  <a:gd name="connsiteY1300" fmla="*/ 880 h 10000"/>
                  <a:gd name="connsiteX1301" fmla="*/ 5585 w 10577"/>
                  <a:gd name="connsiteY1301" fmla="*/ 829 h 10000"/>
                  <a:gd name="connsiteX1302" fmla="*/ 5571 w 10577"/>
                  <a:gd name="connsiteY1302" fmla="*/ 803 h 10000"/>
                  <a:gd name="connsiteX1303" fmla="*/ 5585 w 10577"/>
                  <a:gd name="connsiteY1303" fmla="*/ 795 h 10000"/>
                  <a:gd name="connsiteX1304" fmla="*/ 5585 w 10577"/>
                  <a:gd name="connsiteY1304" fmla="*/ 761 h 10000"/>
                  <a:gd name="connsiteX1305" fmla="*/ 5558 w 10577"/>
                  <a:gd name="connsiteY1305" fmla="*/ 709 h 10000"/>
                  <a:gd name="connsiteX1306" fmla="*/ 5544 w 10577"/>
                  <a:gd name="connsiteY1306" fmla="*/ 709 h 10000"/>
                  <a:gd name="connsiteX1307" fmla="*/ 5544 w 10577"/>
                  <a:gd name="connsiteY1307" fmla="*/ 684 h 10000"/>
                  <a:gd name="connsiteX1308" fmla="*/ 5525 w 10577"/>
                  <a:gd name="connsiteY1308" fmla="*/ 632 h 10000"/>
                  <a:gd name="connsiteX1309" fmla="*/ 5507 w 10577"/>
                  <a:gd name="connsiteY1309" fmla="*/ 607 h 10000"/>
                  <a:gd name="connsiteX1310" fmla="*/ 5512 w 10577"/>
                  <a:gd name="connsiteY1310" fmla="*/ 598 h 10000"/>
                  <a:gd name="connsiteX1311" fmla="*/ 5507 w 10577"/>
                  <a:gd name="connsiteY1311" fmla="*/ 581 h 10000"/>
                  <a:gd name="connsiteX1312" fmla="*/ 5493 w 10577"/>
                  <a:gd name="connsiteY1312" fmla="*/ 573 h 10000"/>
                  <a:gd name="connsiteX1313" fmla="*/ 5484 w 10577"/>
                  <a:gd name="connsiteY1313" fmla="*/ 581 h 10000"/>
                  <a:gd name="connsiteX1314" fmla="*/ 5484 w 10577"/>
                  <a:gd name="connsiteY1314" fmla="*/ 573 h 10000"/>
                  <a:gd name="connsiteX1315" fmla="*/ 5484 w 10577"/>
                  <a:gd name="connsiteY1315" fmla="*/ 547 h 10000"/>
                  <a:gd name="connsiteX1316" fmla="*/ 5465 w 10577"/>
                  <a:gd name="connsiteY1316" fmla="*/ 556 h 10000"/>
                  <a:gd name="connsiteX1317" fmla="*/ 5433 w 10577"/>
                  <a:gd name="connsiteY1317" fmla="*/ 547 h 10000"/>
                  <a:gd name="connsiteX1318" fmla="*/ 5410 w 10577"/>
                  <a:gd name="connsiteY1318" fmla="*/ 573 h 10000"/>
                  <a:gd name="connsiteX1319" fmla="*/ 5406 w 10577"/>
                  <a:gd name="connsiteY1319" fmla="*/ 573 h 10000"/>
                  <a:gd name="connsiteX1320" fmla="*/ 5392 w 10577"/>
                  <a:gd name="connsiteY1320" fmla="*/ 573 h 10000"/>
                  <a:gd name="connsiteX1321" fmla="*/ 5364 w 10577"/>
                  <a:gd name="connsiteY1321" fmla="*/ 530 h 10000"/>
                  <a:gd name="connsiteX1322" fmla="*/ 5350 w 10577"/>
                  <a:gd name="connsiteY1322" fmla="*/ 556 h 10000"/>
                  <a:gd name="connsiteX1323" fmla="*/ 5346 w 10577"/>
                  <a:gd name="connsiteY1323" fmla="*/ 556 h 10000"/>
                  <a:gd name="connsiteX1324" fmla="*/ 5313 w 10577"/>
                  <a:gd name="connsiteY1324" fmla="*/ 573 h 10000"/>
                  <a:gd name="connsiteX1325" fmla="*/ 5304 w 10577"/>
                  <a:gd name="connsiteY1325" fmla="*/ 556 h 10000"/>
                  <a:gd name="connsiteX1326" fmla="*/ 5290 w 10577"/>
                  <a:gd name="connsiteY1326" fmla="*/ 573 h 10000"/>
                  <a:gd name="connsiteX1327" fmla="*/ 5290 w 10577"/>
                  <a:gd name="connsiteY1327" fmla="*/ 556 h 10000"/>
                  <a:gd name="connsiteX1328" fmla="*/ 5300 w 10577"/>
                  <a:gd name="connsiteY1328" fmla="*/ 547 h 10000"/>
                  <a:gd name="connsiteX1329" fmla="*/ 5300 w 10577"/>
                  <a:gd name="connsiteY1329" fmla="*/ 530 h 10000"/>
                  <a:gd name="connsiteX1330" fmla="*/ 5290 w 10577"/>
                  <a:gd name="connsiteY1330" fmla="*/ 530 h 10000"/>
                  <a:gd name="connsiteX1331" fmla="*/ 5286 w 10577"/>
                  <a:gd name="connsiteY1331" fmla="*/ 547 h 10000"/>
                  <a:gd name="connsiteX1332" fmla="*/ 5272 w 10577"/>
                  <a:gd name="connsiteY1332" fmla="*/ 556 h 10000"/>
                  <a:gd name="connsiteX1333" fmla="*/ 5272 w 10577"/>
                  <a:gd name="connsiteY1333" fmla="*/ 598 h 10000"/>
                  <a:gd name="connsiteX1334" fmla="*/ 5276 w 10577"/>
                  <a:gd name="connsiteY1334" fmla="*/ 581 h 10000"/>
                  <a:gd name="connsiteX1335" fmla="*/ 5272 w 10577"/>
                  <a:gd name="connsiteY1335" fmla="*/ 607 h 10000"/>
                  <a:gd name="connsiteX1336" fmla="*/ 5263 w 10577"/>
                  <a:gd name="connsiteY1336" fmla="*/ 607 h 10000"/>
                  <a:gd name="connsiteX1337" fmla="*/ 5263 w 10577"/>
                  <a:gd name="connsiteY1337" fmla="*/ 632 h 10000"/>
                  <a:gd name="connsiteX1338" fmla="*/ 5258 w 10577"/>
                  <a:gd name="connsiteY1338" fmla="*/ 658 h 10000"/>
                  <a:gd name="connsiteX1339" fmla="*/ 5244 w 10577"/>
                  <a:gd name="connsiteY1339" fmla="*/ 667 h 10000"/>
                  <a:gd name="connsiteX1340" fmla="*/ 5240 w 10577"/>
                  <a:gd name="connsiteY1340" fmla="*/ 658 h 10000"/>
                  <a:gd name="connsiteX1341" fmla="*/ 5240 w 10577"/>
                  <a:gd name="connsiteY1341" fmla="*/ 684 h 10000"/>
                  <a:gd name="connsiteX1342" fmla="*/ 5212 w 10577"/>
                  <a:gd name="connsiteY1342" fmla="*/ 684 h 10000"/>
                  <a:gd name="connsiteX1343" fmla="*/ 5198 w 10577"/>
                  <a:gd name="connsiteY1343" fmla="*/ 692 h 10000"/>
                  <a:gd name="connsiteX1344" fmla="*/ 5184 w 10577"/>
                  <a:gd name="connsiteY1344" fmla="*/ 684 h 10000"/>
                  <a:gd name="connsiteX1345" fmla="*/ 5157 w 10577"/>
                  <a:gd name="connsiteY1345" fmla="*/ 684 h 10000"/>
                  <a:gd name="connsiteX1346" fmla="*/ 5157 w 10577"/>
                  <a:gd name="connsiteY1346" fmla="*/ 667 h 10000"/>
                  <a:gd name="connsiteX1347" fmla="*/ 5157 w 10577"/>
                  <a:gd name="connsiteY1347" fmla="*/ 667 h 10000"/>
                  <a:gd name="connsiteX1348" fmla="*/ 5180 w 10577"/>
                  <a:gd name="connsiteY1348" fmla="*/ 650 h 10000"/>
                  <a:gd name="connsiteX1349" fmla="*/ 5184 w 10577"/>
                  <a:gd name="connsiteY1349" fmla="*/ 658 h 10000"/>
                  <a:gd name="connsiteX1350" fmla="*/ 5203 w 10577"/>
                  <a:gd name="connsiteY1350" fmla="*/ 547 h 10000"/>
                  <a:gd name="connsiteX1351" fmla="*/ 5226 w 10577"/>
                  <a:gd name="connsiteY1351" fmla="*/ 530 h 10000"/>
                  <a:gd name="connsiteX1352" fmla="*/ 5230 w 10577"/>
                  <a:gd name="connsiteY1352" fmla="*/ 487 h 10000"/>
                  <a:gd name="connsiteX1353" fmla="*/ 5230 w 10577"/>
                  <a:gd name="connsiteY1353" fmla="*/ 487 h 10000"/>
                  <a:gd name="connsiteX1354" fmla="*/ 5226 w 10577"/>
                  <a:gd name="connsiteY1354" fmla="*/ 462 h 10000"/>
                  <a:gd name="connsiteX1355" fmla="*/ 5226 w 10577"/>
                  <a:gd name="connsiteY1355" fmla="*/ 462 h 10000"/>
                  <a:gd name="connsiteX1356" fmla="*/ 5240 w 10577"/>
                  <a:gd name="connsiteY1356" fmla="*/ 462 h 10000"/>
                  <a:gd name="connsiteX1357" fmla="*/ 5240 w 10577"/>
                  <a:gd name="connsiteY1357" fmla="*/ 444 h 10000"/>
                  <a:gd name="connsiteX1358" fmla="*/ 5230 w 10577"/>
                  <a:gd name="connsiteY1358" fmla="*/ 436 h 10000"/>
                  <a:gd name="connsiteX1359" fmla="*/ 5230 w 10577"/>
                  <a:gd name="connsiteY1359" fmla="*/ 419 h 10000"/>
                  <a:gd name="connsiteX1360" fmla="*/ 5230 w 10577"/>
                  <a:gd name="connsiteY1360" fmla="*/ 410 h 10000"/>
                  <a:gd name="connsiteX1361" fmla="*/ 5198 w 10577"/>
                  <a:gd name="connsiteY1361" fmla="*/ 402 h 10000"/>
                  <a:gd name="connsiteX1362" fmla="*/ 5189 w 10577"/>
                  <a:gd name="connsiteY1362" fmla="*/ 402 h 10000"/>
                  <a:gd name="connsiteX1363" fmla="*/ 5184 w 10577"/>
                  <a:gd name="connsiteY1363" fmla="*/ 376 h 10000"/>
                  <a:gd name="connsiteX1364" fmla="*/ 5180 w 10577"/>
                  <a:gd name="connsiteY1364" fmla="*/ 376 h 10000"/>
                  <a:gd name="connsiteX1365" fmla="*/ 5166 w 10577"/>
                  <a:gd name="connsiteY1365" fmla="*/ 376 h 10000"/>
                  <a:gd name="connsiteX1366" fmla="*/ 5157 w 10577"/>
                  <a:gd name="connsiteY1366" fmla="*/ 385 h 10000"/>
                  <a:gd name="connsiteX1367" fmla="*/ 5152 w 10577"/>
                  <a:gd name="connsiteY1367" fmla="*/ 376 h 10000"/>
                  <a:gd name="connsiteX1368" fmla="*/ 5129 w 10577"/>
                  <a:gd name="connsiteY1368" fmla="*/ 385 h 10000"/>
                  <a:gd name="connsiteX1369" fmla="*/ 5129 w 10577"/>
                  <a:gd name="connsiteY1369" fmla="*/ 350 h 10000"/>
                  <a:gd name="connsiteX1370" fmla="*/ 5129 w 10577"/>
                  <a:gd name="connsiteY1370" fmla="*/ 325 h 10000"/>
                  <a:gd name="connsiteX1371" fmla="*/ 5124 w 10577"/>
                  <a:gd name="connsiteY1371" fmla="*/ 359 h 10000"/>
                  <a:gd name="connsiteX1372" fmla="*/ 5106 w 10577"/>
                  <a:gd name="connsiteY1372" fmla="*/ 359 h 10000"/>
                  <a:gd name="connsiteX1373" fmla="*/ 5037 w 10577"/>
                  <a:gd name="connsiteY1373" fmla="*/ 419 h 10000"/>
                  <a:gd name="connsiteX1374" fmla="*/ 5051 w 10577"/>
                  <a:gd name="connsiteY1374" fmla="*/ 385 h 10000"/>
                  <a:gd name="connsiteX1375" fmla="*/ 5055 w 10577"/>
                  <a:gd name="connsiteY1375" fmla="*/ 376 h 10000"/>
                  <a:gd name="connsiteX1376" fmla="*/ 5092 w 10577"/>
                  <a:gd name="connsiteY1376" fmla="*/ 282 h 10000"/>
                  <a:gd name="connsiteX1377" fmla="*/ 5106 w 10577"/>
                  <a:gd name="connsiteY1377" fmla="*/ 265 h 10000"/>
                  <a:gd name="connsiteX1378" fmla="*/ 5115 w 10577"/>
                  <a:gd name="connsiteY1378" fmla="*/ 265 h 10000"/>
                  <a:gd name="connsiteX1379" fmla="*/ 5124 w 10577"/>
                  <a:gd name="connsiteY1379" fmla="*/ 222 h 10000"/>
                  <a:gd name="connsiteX1380" fmla="*/ 5124 w 10577"/>
                  <a:gd name="connsiteY1380" fmla="*/ 214 h 10000"/>
                  <a:gd name="connsiteX1381" fmla="*/ 5143 w 10577"/>
                  <a:gd name="connsiteY1381" fmla="*/ 197 h 10000"/>
                  <a:gd name="connsiteX1382" fmla="*/ 5152 w 10577"/>
                  <a:gd name="connsiteY1382" fmla="*/ 214 h 10000"/>
                  <a:gd name="connsiteX1383" fmla="*/ 5143 w 10577"/>
                  <a:gd name="connsiteY1383" fmla="*/ 188 h 10000"/>
                  <a:gd name="connsiteX1384" fmla="*/ 5129 w 10577"/>
                  <a:gd name="connsiteY1384" fmla="*/ 103 h 10000"/>
                  <a:gd name="connsiteX1385" fmla="*/ 5115 w 10577"/>
                  <a:gd name="connsiteY1385" fmla="*/ 85 h 10000"/>
                  <a:gd name="connsiteX1386" fmla="*/ 5111 w 10577"/>
                  <a:gd name="connsiteY1386" fmla="*/ 111 h 10000"/>
                  <a:gd name="connsiteX1387" fmla="*/ 5092 w 10577"/>
                  <a:gd name="connsiteY1387" fmla="*/ 103 h 10000"/>
                  <a:gd name="connsiteX1388" fmla="*/ 5069 w 10577"/>
                  <a:gd name="connsiteY1388" fmla="*/ 77 h 10000"/>
                  <a:gd name="connsiteX1389" fmla="*/ 5051 w 10577"/>
                  <a:gd name="connsiteY1389" fmla="*/ 26 h 10000"/>
                  <a:gd name="connsiteX1390" fmla="*/ 5041 w 10577"/>
                  <a:gd name="connsiteY1390" fmla="*/ 34 h 10000"/>
                  <a:gd name="connsiteX1391" fmla="*/ 5037 w 10577"/>
                  <a:gd name="connsiteY1391" fmla="*/ 34 h 10000"/>
                  <a:gd name="connsiteX1392" fmla="*/ 5037 w 10577"/>
                  <a:gd name="connsiteY1392" fmla="*/ 26 h 10000"/>
                  <a:gd name="connsiteX1393" fmla="*/ 5037 w 10577"/>
                  <a:gd name="connsiteY1393" fmla="*/ 9 h 10000"/>
                  <a:gd name="connsiteX1394" fmla="*/ 5023 w 10577"/>
                  <a:gd name="connsiteY1394" fmla="*/ 0 h 10000"/>
                  <a:gd name="connsiteX1395" fmla="*/ 5009 w 10577"/>
                  <a:gd name="connsiteY1395" fmla="*/ 9 h 10000"/>
                  <a:gd name="connsiteX1396" fmla="*/ 4995 w 10577"/>
                  <a:gd name="connsiteY1396" fmla="*/ 34 h 10000"/>
                  <a:gd name="connsiteX1397" fmla="*/ 4991 w 10577"/>
                  <a:gd name="connsiteY1397" fmla="*/ 60 h 10000"/>
                  <a:gd name="connsiteX1398" fmla="*/ 4982 w 10577"/>
                  <a:gd name="connsiteY1398" fmla="*/ 60 h 10000"/>
                  <a:gd name="connsiteX1399" fmla="*/ 4949 w 10577"/>
                  <a:gd name="connsiteY1399" fmla="*/ 51 h 10000"/>
                  <a:gd name="connsiteX1400" fmla="*/ 4949 w 10577"/>
                  <a:gd name="connsiteY1400" fmla="*/ 85 h 10000"/>
                  <a:gd name="connsiteX1401" fmla="*/ 4903 w 10577"/>
                  <a:gd name="connsiteY1401" fmla="*/ 197 h 10000"/>
                  <a:gd name="connsiteX1402" fmla="*/ 4899 w 10577"/>
                  <a:gd name="connsiteY1402" fmla="*/ 239 h 10000"/>
                  <a:gd name="connsiteX1403" fmla="*/ 4871 w 10577"/>
                  <a:gd name="connsiteY1403" fmla="*/ 274 h 10000"/>
                  <a:gd name="connsiteX1404" fmla="*/ 4871 w 10577"/>
                  <a:gd name="connsiteY1404" fmla="*/ 282 h 10000"/>
                  <a:gd name="connsiteX1405" fmla="*/ 4834 w 10577"/>
                  <a:gd name="connsiteY1405" fmla="*/ 376 h 10000"/>
                  <a:gd name="connsiteX1406" fmla="*/ 4829 w 10577"/>
                  <a:gd name="connsiteY1406" fmla="*/ 402 h 10000"/>
                  <a:gd name="connsiteX1407" fmla="*/ 4834 w 10577"/>
                  <a:gd name="connsiteY1407" fmla="*/ 410 h 10000"/>
                  <a:gd name="connsiteX1408" fmla="*/ 4829 w 10577"/>
                  <a:gd name="connsiteY1408" fmla="*/ 436 h 10000"/>
                  <a:gd name="connsiteX1409" fmla="*/ 4825 w 10577"/>
                  <a:gd name="connsiteY1409" fmla="*/ 436 h 10000"/>
                  <a:gd name="connsiteX1410" fmla="*/ 4825 w 10577"/>
                  <a:gd name="connsiteY1410" fmla="*/ 444 h 10000"/>
                  <a:gd name="connsiteX1411" fmla="*/ 4811 w 10577"/>
                  <a:gd name="connsiteY1411" fmla="*/ 496 h 10000"/>
                  <a:gd name="connsiteX1412" fmla="*/ 4811 w 10577"/>
                  <a:gd name="connsiteY1412" fmla="*/ 496 h 10000"/>
                  <a:gd name="connsiteX1413" fmla="*/ 4811 w 10577"/>
                  <a:gd name="connsiteY1413" fmla="*/ 521 h 10000"/>
                  <a:gd name="connsiteX1414" fmla="*/ 4816 w 10577"/>
                  <a:gd name="connsiteY1414" fmla="*/ 530 h 10000"/>
                  <a:gd name="connsiteX1415" fmla="*/ 4834 w 10577"/>
                  <a:gd name="connsiteY1415" fmla="*/ 547 h 10000"/>
                  <a:gd name="connsiteX1416" fmla="*/ 4834 w 10577"/>
                  <a:gd name="connsiteY1416" fmla="*/ 581 h 10000"/>
                  <a:gd name="connsiteX1417" fmla="*/ 4843 w 10577"/>
                  <a:gd name="connsiteY1417" fmla="*/ 581 h 10000"/>
                  <a:gd name="connsiteX1418" fmla="*/ 4843 w 10577"/>
                  <a:gd name="connsiteY1418" fmla="*/ 598 h 10000"/>
                  <a:gd name="connsiteX1419" fmla="*/ 4829 w 10577"/>
                  <a:gd name="connsiteY1419" fmla="*/ 598 h 10000"/>
                  <a:gd name="connsiteX1420" fmla="*/ 4829 w 10577"/>
                  <a:gd name="connsiteY1420" fmla="*/ 573 h 10000"/>
                  <a:gd name="connsiteX1421" fmla="*/ 4829 w 10577"/>
                  <a:gd name="connsiteY1421" fmla="*/ 632 h 10000"/>
                  <a:gd name="connsiteX1422" fmla="*/ 4829 w 10577"/>
                  <a:gd name="connsiteY1422" fmla="*/ 632 h 10000"/>
                  <a:gd name="connsiteX1423" fmla="*/ 4829 w 10577"/>
                  <a:gd name="connsiteY1423" fmla="*/ 650 h 10000"/>
                  <a:gd name="connsiteX1424" fmla="*/ 4774 w 10577"/>
                  <a:gd name="connsiteY1424" fmla="*/ 684 h 10000"/>
                  <a:gd name="connsiteX1425" fmla="*/ 4756 w 10577"/>
                  <a:gd name="connsiteY1425" fmla="*/ 684 h 10000"/>
                  <a:gd name="connsiteX1426" fmla="*/ 4737 w 10577"/>
                  <a:gd name="connsiteY1426" fmla="*/ 692 h 10000"/>
                  <a:gd name="connsiteX1427" fmla="*/ 4677 w 10577"/>
                  <a:gd name="connsiteY1427" fmla="*/ 667 h 10000"/>
                  <a:gd name="connsiteX1428" fmla="*/ 4682 w 10577"/>
                  <a:gd name="connsiteY1428" fmla="*/ 692 h 10000"/>
                  <a:gd name="connsiteX1429" fmla="*/ 4682 w 10577"/>
                  <a:gd name="connsiteY1429" fmla="*/ 709 h 10000"/>
                  <a:gd name="connsiteX1430" fmla="*/ 4691 w 10577"/>
                  <a:gd name="connsiteY1430" fmla="*/ 718 h 10000"/>
                  <a:gd name="connsiteX1431" fmla="*/ 4691 w 10577"/>
                  <a:gd name="connsiteY1431" fmla="*/ 744 h 10000"/>
                  <a:gd name="connsiteX1432" fmla="*/ 4700 w 10577"/>
                  <a:gd name="connsiteY1432" fmla="*/ 744 h 10000"/>
                  <a:gd name="connsiteX1433" fmla="*/ 4714 w 10577"/>
                  <a:gd name="connsiteY1433" fmla="*/ 769 h 10000"/>
                  <a:gd name="connsiteX1434" fmla="*/ 4710 w 10577"/>
                  <a:gd name="connsiteY1434" fmla="*/ 786 h 10000"/>
                  <a:gd name="connsiteX1435" fmla="*/ 4737 w 10577"/>
                  <a:gd name="connsiteY1435" fmla="*/ 786 h 10000"/>
                  <a:gd name="connsiteX1436" fmla="*/ 4742 w 10577"/>
                  <a:gd name="connsiteY1436" fmla="*/ 795 h 10000"/>
                  <a:gd name="connsiteX1437" fmla="*/ 4742 w 10577"/>
                  <a:gd name="connsiteY1437" fmla="*/ 803 h 10000"/>
                  <a:gd name="connsiteX1438" fmla="*/ 4737 w 10577"/>
                  <a:gd name="connsiteY1438" fmla="*/ 846 h 10000"/>
                  <a:gd name="connsiteX1439" fmla="*/ 4737 w 10577"/>
                  <a:gd name="connsiteY1439" fmla="*/ 880 h 10000"/>
                  <a:gd name="connsiteX1440" fmla="*/ 4737 w 10577"/>
                  <a:gd name="connsiteY1440" fmla="*/ 906 h 10000"/>
                  <a:gd name="connsiteX1441" fmla="*/ 4724 w 10577"/>
                  <a:gd name="connsiteY1441" fmla="*/ 897 h 10000"/>
                  <a:gd name="connsiteX1442" fmla="*/ 4724 w 10577"/>
                  <a:gd name="connsiteY1442" fmla="*/ 872 h 10000"/>
                  <a:gd name="connsiteX1443" fmla="*/ 4714 w 10577"/>
                  <a:gd name="connsiteY1443" fmla="*/ 855 h 10000"/>
                  <a:gd name="connsiteX1444" fmla="*/ 4691 w 10577"/>
                  <a:gd name="connsiteY1444" fmla="*/ 846 h 10000"/>
                  <a:gd name="connsiteX1445" fmla="*/ 4691 w 10577"/>
                  <a:gd name="connsiteY1445" fmla="*/ 846 h 10000"/>
                  <a:gd name="connsiteX1446" fmla="*/ 4696 w 10577"/>
                  <a:gd name="connsiteY1446" fmla="*/ 821 h 10000"/>
                  <a:gd name="connsiteX1447" fmla="*/ 4691 w 10577"/>
                  <a:gd name="connsiteY1447" fmla="*/ 803 h 10000"/>
                  <a:gd name="connsiteX1448" fmla="*/ 4668 w 10577"/>
                  <a:gd name="connsiteY1448" fmla="*/ 821 h 10000"/>
                  <a:gd name="connsiteX1449" fmla="*/ 4668 w 10577"/>
                  <a:gd name="connsiteY1449" fmla="*/ 786 h 10000"/>
                  <a:gd name="connsiteX1450" fmla="*/ 4664 w 10577"/>
                  <a:gd name="connsiteY1450" fmla="*/ 786 h 10000"/>
                  <a:gd name="connsiteX1451" fmla="*/ 4622 w 10577"/>
                  <a:gd name="connsiteY1451" fmla="*/ 846 h 10000"/>
                  <a:gd name="connsiteX1452" fmla="*/ 4627 w 10577"/>
                  <a:gd name="connsiteY1452" fmla="*/ 872 h 10000"/>
                  <a:gd name="connsiteX1453" fmla="*/ 4622 w 10577"/>
                  <a:gd name="connsiteY1453" fmla="*/ 880 h 10000"/>
                  <a:gd name="connsiteX1454" fmla="*/ 4622 w 10577"/>
                  <a:gd name="connsiteY1454" fmla="*/ 880 h 10000"/>
                  <a:gd name="connsiteX1455" fmla="*/ 4618 w 10577"/>
                  <a:gd name="connsiteY1455" fmla="*/ 872 h 10000"/>
                  <a:gd name="connsiteX1456" fmla="*/ 4604 w 10577"/>
                  <a:gd name="connsiteY1456" fmla="*/ 880 h 10000"/>
                  <a:gd name="connsiteX1457" fmla="*/ 4594 w 10577"/>
                  <a:gd name="connsiteY1457" fmla="*/ 906 h 10000"/>
                  <a:gd name="connsiteX1458" fmla="*/ 4604 w 10577"/>
                  <a:gd name="connsiteY1458" fmla="*/ 906 h 10000"/>
                  <a:gd name="connsiteX1459" fmla="*/ 4608 w 10577"/>
                  <a:gd name="connsiteY1459" fmla="*/ 906 h 10000"/>
                  <a:gd name="connsiteX1460" fmla="*/ 4608 w 10577"/>
                  <a:gd name="connsiteY1460" fmla="*/ 932 h 10000"/>
                  <a:gd name="connsiteX1461" fmla="*/ 4604 w 10577"/>
                  <a:gd name="connsiteY1461" fmla="*/ 932 h 10000"/>
                  <a:gd name="connsiteX1462" fmla="*/ 4590 w 10577"/>
                  <a:gd name="connsiteY1462" fmla="*/ 932 h 10000"/>
                  <a:gd name="connsiteX1463" fmla="*/ 4567 w 10577"/>
                  <a:gd name="connsiteY1463" fmla="*/ 957 h 10000"/>
                  <a:gd name="connsiteX1464" fmla="*/ 4567 w 10577"/>
                  <a:gd name="connsiteY1464" fmla="*/ 932 h 10000"/>
                  <a:gd name="connsiteX1465" fmla="*/ 4567 w 10577"/>
                  <a:gd name="connsiteY1465" fmla="*/ 923 h 10000"/>
                  <a:gd name="connsiteX1466" fmla="*/ 4562 w 10577"/>
                  <a:gd name="connsiteY1466" fmla="*/ 932 h 10000"/>
                  <a:gd name="connsiteX1467" fmla="*/ 4548 w 10577"/>
                  <a:gd name="connsiteY1467" fmla="*/ 957 h 10000"/>
                  <a:gd name="connsiteX1468" fmla="*/ 4544 w 10577"/>
                  <a:gd name="connsiteY1468" fmla="*/ 957 h 10000"/>
                  <a:gd name="connsiteX1469" fmla="*/ 4521 w 10577"/>
                  <a:gd name="connsiteY1469" fmla="*/ 983 h 10000"/>
                  <a:gd name="connsiteX1470" fmla="*/ 4521 w 10577"/>
                  <a:gd name="connsiteY1470" fmla="*/ 983 h 10000"/>
                  <a:gd name="connsiteX1471" fmla="*/ 4530 w 10577"/>
                  <a:gd name="connsiteY1471" fmla="*/ 957 h 10000"/>
                  <a:gd name="connsiteX1472" fmla="*/ 4535 w 10577"/>
                  <a:gd name="connsiteY1472" fmla="*/ 932 h 10000"/>
                  <a:gd name="connsiteX1473" fmla="*/ 4521 w 10577"/>
                  <a:gd name="connsiteY1473" fmla="*/ 932 h 10000"/>
                  <a:gd name="connsiteX1474" fmla="*/ 4516 w 10577"/>
                  <a:gd name="connsiteY1474" fmla="*/ 923 h 10000"/>
                  <a:gd name="connsiteX1475" fmla="*/ 4516 w 10577"/>
                  <a:gd name="connsiteY1475" fmla="*/ 932 h 10000"/>
                  <a:gd name="connsiteX1476" fmla="*/ 4488 w 10577"/>
                  <a:gd name="connsiteY1476" fmla="*/ 940 h 10000"/>
                  <a:gd name="connsiteX1477" fmla="*/ 4484 w 10577"/>
                  <a:gd name="connsiteY1477" fmla="*/ 983 h 10000"/>
                  <a:gd name="connsiteX1478" fmla="*/ 4470 w 10577"/>
                  <a:gd name="connsiteY1478" fmla="*/ 983 h 10000"/>
                  <a:gd name="connsiteX1479" fmla="*/ 4470 w 10577"/>
                  <a:gd name="connsiteY1479" fmla="*/ 966 h 10000"/>
                  <a:gd name="connsiteX1480" fmla="*/ 4488 w 10577"/>
                  <a:gd name="connsiteY1480" fmla="*/ 923 h 10000"/>
                  <a:gd name="connsiteX1481" fmla="*/ 4493 w 10577"/>
                  <a:gd name="connsiteY1481" fmla="*/ 880 h 10000"/>
                  <a:gd name="connsiteX1482" fmla="*/ 4475 w 10577"/>
                  <a:gd name="connsiteY1482" fmla="*/ 846 h 10000"/>
                  <a:gd name="connsiteX1483" fmla="*/ 4442 w 10577"/>
                  <a:gd name="connsiteY1483" fmla="*/ 855 h 10000"/>
                  <a:gd name="connsiteX1484" fmla="*/ 4433 w 10577"/>
                  <a:gd name="connsiteY1484" fmla="*/ 855 h 10000"/>
                  <a:gd name="connsiteX1485" fmla="*/ 4433 w 10577"/>
                  <a:gd name="connsiteY1485" fmla="*/ 880 h 10000"/>
                  <a:gd name="connsiteX1486" fmla="*/ 4401 w 10577"/>
                  <a:gd name="connsiteY1486" fmla="*/ 855 h 10000"/>
                  <a:gd name="connsiteX1487" fmla="*/ 4396 w 10577"/>
                  <a:gd name="connsiteY1487" fmla="*/ 872 h 10000"/>
                  <a:gd name="connsiteX1488" fmla="*/ 4382 w 10577"/>
                  <a:gd name="connsiteY1488" fmla="*/ 897 h 10000"/>
                  <a:gd name="connsiteX1489" fmla="*/ 4373 w 10577"/>
                  <a:gd name="connsiteY1489" fmla="*/ 872 h 10000"/>
                  <a:gd name="connsiteX1490" fmla="*/ 4341 w 10577"/>
                  <a:gd name="connsiteY1490" fmla="*/ 872 h 10000"/>
                  <a:gd name="connsiteX1491" fmla="*/ 4336 w 10577"/>
                  <a:gd name="connsiteY1491" fmla="*/ 880 h 10000"/>
                  <a:gd name="connsiteX1492" fmla="*/ 4346 w 10577"/>
                  <a:gd name="connsiteY1492" fmla="*/ 897 h 10000"/>
                  <a:gd name="connsiteX1493" fmla="*/ 4346 w 10577"/>
                  <a:gd name="connsiteY1493" fmla="*/ 897 h 10000"/>
                  <a:gd name="connsiteX1494" fmla="*/ 4313 w 10577"/>
                  <a:gd name="connsiteY1494" fmla="*/ 906 h 10000"/>
                  <a:gd name="connsiteX1495" fmla="*/ 4313 w 10577"/>
                  <a:gd name="connsiteY1495" fmla="*/ 906 h 10000"/>
                  <a:gd name="connsiteX1496" fmla="*/ 4313 w 10577"/>
                  <a:gd name="connsiteY1496" fmla="*/ 880 h 10000"/>
                  <a:gd name="connsiteX1497" fmla="*/ 4309 w 10577"/>
                  <a:gd name="connsiteY1497" fmla="*/ 897 h 10000"/>
                  <a:gd name="connsiteX1498" fmla="*/ 4295 w 10577"/>
                  <a:gd name="connsiteY1498" fmla="*/ 923 h 10000"/>
                  <a:gd name="connsiteX1499" fmla="*/ 4286 w 10577"/>
                  <a:gd name="connsiteY1499" fmla="*/ 897 h 10000"/>
                  <a:gd name="connsiteX1500" fmla="*/ 4281 w 10577"/>
                  <a:gd name="connsiteY1500" fmla="*/ 906 h 10000"/>
                  <a:gd name="connsiteX1501" fmla="*/ 4281 w 10577"/>
                  <a:gd name="connsiteY1501" fmla="*/ 940 h 10000"/>
                  <a:gd name="connsiteX1502" fmla="*/ 4286 w 10577"/>
                  <a:gd name="connsiteY1502" fmla="*/ 957 h 10000"/>
                  <a:gd name="connsiteX1503" fmla="*/ 4309 w 10577"/>
                  <a:gd name="connsiteY1503" fmla="*/ 932 h 10000"/>
                  <a:gd name="connsiteX1504" fmla="*/ 4313 w 10577"/>
                  <a:gd name="connsiteY1504" fmla="*/ 957 h 10000"/>
                  <a:gd name="connsiteX1505" fmla="*/ 4313 w 10577"/>
                  <a:gd name="connsiteY1505" fmla="*/ 966 h 10000"/>
                  <a:gd name="connsiteX1506" fmla="*/ 4323 w 10577"/>
                  <a:gd name="connsiteY1506" fmla="*/ 966 h 10000"/>
                  <a:gd name="connsiteX1507" fmla="*/ 4323 w 10577"/>
                  <a:gd name="connsiteY1507" fmla="*/ 940 h 10000"/>
                  <a:gd name="connsiteX1508" fmla="*/ 4327 w 10577"/>
                  <a:gd name="connsiteY1508" fmla="*/ 940 h 10000"/>
                  <a:gd name="connsiteX1509" fmla="*/ 4327 w 10577"/>
                  <a:gd name="connsiteY1509" fmla="*/ 957 h 10000"/>
                  <a:gd name="connsiteX1510" fmla="*/ 4327 w 10577"/>
                  <a:gd name="connsiteY1510" fmla="*/ 966 h 10000"/>
                  <a:gd name="connsiteX1511" fmla="*/ 4323 w 10577"/>
                  <a:gd name="connsiteY1511" fmla="*/ 991 h 10000"/>
                  <a:gd name="connsiteX1512" fmla="*/ 4207 w 10577"/>
                  <a:gd name="connsiteY1512" fmla="*/ 1060 h 10000"/>
                  <a:gd name="connsiteX1513" fmla="*/ 4207 w 10577"/>
                  <a:gd name="connsiteY1513" fmla="*/ 1060 h 10000"/>
                  <a:gd name="connsiteX1514" fmla="*/ 4203 w 10577"/>
                  <a:gd name="connsiteY1514" fmla="*/ 1068 h 10000"/>
                  <a:gd name="connsiteX1515" fmla="*/ 4203 w 10577"/>
                  <a:gd name="connsiteY1515" fmla="*/ 1094 h 10000"/>
                  <a:gd name="connsiteX1516" fmla="*/ 4203 w 10577"/>
                  <a:gd name="connsiteY1516" fmla="*/ 1094 h 10000"/>
                  <a:gd name="connsiteX1517" fmla="*/ 4189 w 10577"/>
                  <a:gd name="connsiteY1517" fmla="*/ 1094 h 10000"/>
                  <a:gd name="connsiteX1518" fmla="*/ 4166 w 10577"/>
                  <a:gd name="connsiteY1518" fmla="*/ 1103 h 10000"/>
                  <a:gd name="connsiteX1519" fmla="*/ 4152 w 10577"/>
                  <a:gd name="connsiteY1519" fmla="*/ 1094 h 10000"/>
                  <a:gd name="connsiteX1520" fmla="*/ 4134 w 10577"/>
                  <a:gd name="connsiteY1520" fmla="*/ 1120 h 10000"/>
                  <a:gd name="connsiteX1521" fmla="*/ 4106 w 10577"/>
                  <a:gd name="connsiteY1521" fmla="*/ 1120 h 10000"/>
                  <a:gd name="connsiteX1522" fmla="*/ 4092 w 10577"/>
                  <a:gd name="connsiteY1522" fmla="*/ 1154 h 10000"/>
                  <a:gd name="connsiteX1523" fmla="*/ 4106 w 10577"/>
                  <a:gd name="connsiteY1523" fmla="*/ 1171 h 10000"/>
                  <a:gd name="connsiteX1524" fmla="*/ 4078 w 10577"/>
                  <a:gd name="connsiteY1524" fmla="*/ 1179 h 10000"/>
                  <a:gd name="connsiteX1525" fmla="*/ 4065 w 10577"/>
                  <a:gd name="connsiteY1525" fmla="*/ 1205 h 10000"/>
                  <a:gd name="connsiteX1526" fmla="*/ 4046 w 10577"/>
                  <a:gd name="connsiteY1526" fmla="*/ 1179 h 10000"/>
                  <a:gd name="connsiteX1527" fmla="*/ 4041 w 10577"/>
                  <a:gd name="connsiteY1527" fmla="*/ 1197 h 10000"/>
                  <a:gd name="connsiteX1528" fmla="*/ 4028 w 10577"/>
                  <a:gd name="connsiteY1528" fmla="*/ 1205 h 10000"/>
                  <a:gd name="connsiteX1529" fmla="*/ 4028 w 10577"/>
                  <a:gd name="connsiteY1529" fmla="*/ 1205 h 10000"/>
                  <a:gd name="connsiteX1530" fmla="*/ 4032 w 10577"/>
                  <a:gd name="connsiteY1530" fmla="*/ 1205 h 10000"/>
                  <a:gd name="connsiteX1531" fmla="*/ 4032 w 10577"/>
                  <a:gd name="connsiteY1531" fmla="*/ 1231 h 10000"/>
                  <a:gd name="connsiteX1532" fmla="*/ 4014 w 10577"/>
                  <a:gd name="connsiteY1532" fmla="*/ 1239 h 10000"/>
                  <a:gd name="connsiteX1533" fmla="*/ 4014 w 10577"/>
                  <a:gd name="connsiteY1533" fmla="*/ 1256 h 10000"/>
                  <a:gd name="connsiteX1534" fmla="*/ 4000 w 10577"/>
                  <a:gd name="connsiteY1534" fmla="*/ 1265 h 10000"/>
                  <a:gd name="connsiteX1535" fmla="*/ 3986 w 10577"/>
                  <a:gd name="connsiteY1535" fmla="*/ 1308 h 10000"/>
                  <a:gd name="connsiteX1536" fmla="*/ 3972 w 10577"/>
                  <a:gd name="connsiteY1536" fmla="*/ 1316 h 10000"/>
                  <a:gd name="connsiteX1537" fmla="*/ 3972 w 10577"/>
                  <a:gd name="connsiteY1537" fmla="*/ 1325 h 10000"/>
                  <a:gd name="connsiteX1538" fmla="*/ 3972 w 10577"/>
                  <a:gd name="connsiteY1538" fmla="*/ 1342 h 10000"/>
                  <a:gd name="connsiteX1539" fmla="*/ 3968 w 10577"/>
                  <a:gd name="connsiteY1539" fmla="*/ 1350 h 10000"/>
                  <a:gd name="connsiteX1540" fmla="*/ 3954 w 10577"/>
                  <a:gd name="connsiteY1540" fmla="*/ 1368 h 10000"/>
                  <a:gd name="connsiteX1541" fmla="*/ 3945 w 10577"/>
                  <a:gd name="connsiteY1541" fmla="*/ 1350 h 10000"/>
                  <a:gd name="connsiteX1542" fmla="*/ 3908 w 10577"/>
                  <a:gd name="connsiteY1542" fmla="*/ 1342 h 10000"/>
                  <a:gd name="connsiteX1543" fmla="*/ 3894 w 10577"/>
                  <a:gd name="connsiteY1543" fmla="*/ 1368 h 10000"/>
                  <a:gd name="connsiteX1544" fmla="*/ 3922 w 10577"/>
                  <a:gd name="connsiteY1544" fmla="*/ 1393 h 10000"/>
                  <a:gd name="connsiteX1545" fmla="*/ 3945 w 10577"/>
                  <a:gd name="connsiteY1545" fmla="*/ 1393 h 10000"/>
                  <a:gd name="connsiteX1546" fmla="*/ 3940 w 10577"/>
                  <a:gd name="connsiteY1546" fmla="*/ 1419 h 10000"/>
                  <a:gd name="connsiteX1547" fmla="*/ 3931 w 10577"/>
                  <a:gd name="connsiteY1547" fmla="*/ 1427 h 10000"/>
                  <a:gd name="connsiteX1548" fmla="*/ 3926 w 10577"/>
                  <a:gd name="connsiteY1548" fmla="*/ 1427 h 10000"/>
                  <a:gd name="connsiteX1549" fmla="*/ 3922 w 10577"/>
                  <a:gd name="connsiteY1549" fmla="*/ 1419 h 10000"/>
                  <a:gd name="connsiteX1550" fmla="*/ 3912 w 10577"/>
                  <a:gd name="connsiteY1550" fmla="*/ 1427 h 10000"/>
                  <a:gd name="connsiteX1551" fmla="*/ 3912 w 10577"/>
                  <a:gd name="connsiteY1551" fmla="*/ 1444 h 10000"/>
                  <a:gd name="connsiteX1552" fmla="*/ 3894 w 10577"/>
                  <a:gd name="connsiteY1552" fmla="*/ 1513 h 10000"/>
                  <a:gd name="connsiteX1553" fmla="*/ 3885 w 10577"/>
                  <a:gd name="connsiteY1553" fmla="*/ 1513 h 10000"/>
                  <a:gd name="connsiteX1554" fmla="*/ 3880 w 10577"/>
                  <a:gd name="connsiteY1554" fmla="*/ 1538 h 10000"/>
                  <a:gd name="connsiteX1555" fmla="*/ 3885 w 10577"/>
                  <a:gd name="connsiteY1555" fmla="*/ 1564 h 10000"/>
                  <a:gd name="connsiteX1556" fmla="*/ 3880 w 10577"/>
                  <a:gd name="connsiteY1556" fmla="*/ 1581 h 10000"/>
                  <a:gd name="connsiteX1557" fmla="*/ 3871 w 10577"/>
                  <a:gd name="connsiteY1557" fmla="*/ 1538 h 10000"/>
                  <a:gd name="connsiteX1558" fmla="*/ 3853 w 10577"/>
                  <a:gd name="connsiteY1558" fmla="*/ 1530 h 10000"/>
                  <a:gd name="connsiteX1559" fmla="*/ 3853 w 10577"/>
                  <a:gd name="connsiteY1559" fmla="*/ 1504 h 10000"/>
                  <a:gd name="connsiteX1560" fmla="*/ 3834 w 10577"/>
                  <a:gd name="connsiteY1560" fmla="*/ 1487 h 10000"/>
                  <a:gd name="connsiteX1561" fmla="*/ 3834 w 10577"/>
                  <a:gd name="connsiteY1561" fmla="*/ 1487 h 10000"/>
                  <a:gd name="connsiteX1562" fmla="*/ 3839 w 10577"/>
                  <a:gd name="connsiteY1562" fmla="*/ 1513 h 10000"/>
                  <a:gd name="connsiteX1563" fmla="*/ 3820 w 10577"/>
                  <a:gd name="connsiteY1563" fmla="*/ 1538 h 10000"/>
                  <a:gd name="connsiteX1564" fmla="*/ 3820 w 10577"/>
                  <a:gd name="connsiteY1564" fmla="*/ 1556 h 10000"/>
                  <a:gd name="connsiteX1565" fmla="*/ 3820 w 10577"/>
                  <a:gd name="connsiteY1565" fmla="*/ 1564 h 10000"/>
                  <a:gd name="connsiteX1566" fmla="*/ 3820 w 10577"/>
                  <a:gd name="connsiteY1566" fmla="*/ 1581 h 10000"/>
                  <a:gd name="connsiteX1567" fmla="*/ 3853 w 10577"/>
                  <a:gd name="connsiteY1567" fmla="*/ 1581 h 10000"/>
                  <a:gd name="connsiteX1568" fmla="*/ 3857 w 10577"/>
                  <a:gd name="connsiteY1568" fmla="*/ 1598 h 10000"/>
                  <a:gd name="connsiteX1569" fmla="*/ 3880 w 10577"/>
                  <a:gd name="connsiteY1569" fmla="*/ 1615 h 10000"/>
                  <a:gd name="connsiteX1570" fmla="*/ 3871 w 10577"/>
                  <a:gd name="connsiteY1570" fmla="*/ 1615 h 10000"/>
                  <a:gd name="connsiteX1571" fmla="*/ 3871 w 10577"/>
                  <a:gd name="connsiteY1571" fmla="*/ 1641 h 10000"/>
                  <a:gd name="connsiteX1572" fmla="*/ 3880 w 10577"/>
                  <a:gd name="connsiteY1572" fmla="*/ 1641 h 10000"/>
                  <a:gd name="connsiteX1573" fmla="*/ 3871 w 10577"/>
                  <a:gd name="connsiteY1573" fmla="*/ 1650 h 10000"/>
                  <a:gd name="connsiteX1574" fmla="*/ 3857 w 10577"/>
                  <a:gd name="connsiteY1574" fmla="*/ 1650 h 10000"/>
                  <a:gd name="connsiteX1575" fmla="*/ 3853 w 10577"/>
                  <a:gd name="connsiteY1575" fmla="*/ 1650 h 10000"/>
                  <a:gd name="connsiteX1576" fmla="*/ 3839 w 10577"/>
                  <a:gd name="connsiteY1576" fmla="*/ 1667 h 10000"/>
                  <a:gd name="connsiteX1577" fmla="*/ 3848 w 10577"/>
                  <a:gd name="connsiteY1577" fmla="*/ 1692 h 10000"/>
                  <a:gd name="connsiteX1578" fmla="*/ 3834 w 10577"/>
                  <a:gd name="connsiteY1578" fmla="*/ 1692 h 10000"/>
                  <a:gd name="connsiteX1579" fmla="*/ 3825 w 10577"/>
                  <a:gd name="connsiteY1579" fmla="*/ 1692 h 10000"/>
                  <a:gd name="connsiteX1580" fmla="*/ 3825 w 10577"/>
                  <a:gd name="connsiteY1580" fmla="*/ 1718 h 10000"/>
                  <a:gd name="connsiteX1581" fmla="*/ 3839 w 10577"/>
                  <a:gd name="connsiteY1581" fmla="*/ 1726 h 10000"/>
                  <a:gd name="connsiteX1582" fmla="*/ 3880 w 10577"/>
                  <a:gd name="connsiteY1582" fmla="*/ 1752 h 10000"/>
                  <a:gd name="connsiteX1583" fmla="*/ 3894 w 10577"/>
                  <a:gd name="connsiteY1583" fmla="*/ 1829 h 10000"/>
                  <a:gd name="connsiteX1584" fmla="*/ 3899 w 10577"/>
                  <a:gd name="connsiteY1584" fmla="*/ 1838 h 10000"/>
                  <a:gd name="connsiteX1585" fmla="*/ 3894 w 10577"/>
                  <a:gd name="connsiteY1585" fmla="*/ 1855 h 10000"/>
                  <a:gd name="connsiteX1586" fmla="*/ 3880 w 10577"/>
                  <a:gd name="connsiteY1586" fmla="*/ 1838 h 10000"/>
                  <a:gd name="connsiteX1587" fmla="*/ 3880 w 10577"/>
                  <a:gd name="connsiteY1587" fmla="*/ 1855 h 10000"/>
                  <a:gd name="connsiteX1588" fmla="*/ 3880 w 10577"/>
                  <a:gd name="connsiteY1588" fmla="*/ 1863 h 10000"/>
                  <a:gd name="connsiteX1589" fmla="*/ 3871 w 10577"/>
                  <a:gd name="connsiteY1589" fmla="*/ 1872 h 10000"/>
                  <a:gd name="connsiteX1590" fmla="*/ 3880 w 10577"/>
                  <a:gd name="connsiteY1590" fmla="*/ 1889 h 10000"/>
                  <a:gd name="connsiteX1591" fmla="*/ 3885 w 10577"/>
                  <a:gd name="connsiteY1591" fmla="*/ 1889 h 10000"/>
                  <a:gd name="connsiteX1592" fmla="*/ 3880 w 10577"/>
                  <a:gd name="connsiteY1592" fmla="*/ 1897 h 10000"/>
                  <a:gd name="connsiteX1593" fmla="*/ 3871 w 10577"/>
                  <a:gd name="connsiteY1593" fmla="*/ 1915 h 10000"/>
                  <a:gd name="connsiteX1594" fmla="*/ 3848 w 10577"/>
                  <a:gd name="connsiteY1594" fmla="*/ 1923 h 10000"/>
                  <a:gd name="connsiteX1595" fmla="*/ 3825 w 10577"/>
                  <a:gd name="connsiteY1595" fmla="*/ 1940 h 10000"/>
                  <a:gd name="connsiteX1596" fmla="*/ 3811 w 10577"/>
                  <a:gd name="connsiteY1596" fmla="*/ 1940 h 10000"/>
                  <a:gd name="connsiteX1597" fmla="*/ 3806 w 10577"/>
                  <a:gd name="connsiteY1597" fmla="*/ 1949 h 10000"/>
                  <a:gd name="connsiteX1598" fmla="*/ 3797 w 10577"/>
                  <a:gd name="connsiteY1598" fmla="*/ 1966 h 10000"/>
                  <a:gd name="connsiteX1599" fmla="*/ 3788 w 10577"/>
                  <a:gd name="connsiteY1599" fmla="*/ 1991 h 10000"/>
                  <a:gd name="connsiteX1600" fmla="*/ 3765 w 10577"/>
                  <a:gd name="connsiteY1600" fmla="*/ 1974 h 10000"/>
                  <a:gd name="connsiteX1601" fmla="*/ 3760 w 10577"/>
                  <a:gd name="connsiteY1601" fmla="*/ 1966 h 10000"/>
                  <a:gd name="connsiteX1602" fmla="*/ 3760 w 10577"/>
                  <a:gd name="connsiteY1602" fmla="*/ 1966 h 10000"/>
                  <a:gd name="connsiteX1603" fmla="*/ 3631 w 10577"/>
                  <a:gd name="connsiteY1603" fmla="*/ 2009 h 10000"/>
                  <a:gd name="connsiteX1604" fmla="*/ 3618 w 10577"/>
                  <a:gd name="connsiteY1604" fmla="*/ 2000 h 10000"/>
                  <a:gd name="connsiteX1605" fmla="*/ 3599 w 10577"/>
                  <a:gd name="connsiteY1605" fmla="*/ 2009 h 10000"/>
                  <a:gd name="connsiteX1606" fmla="*/ 3571 w 10577"/>
                  <a:gd name="connsiteY1606" fmla="*/ 2000 h 10000"/>
                  <a:gd name="connsiteX1607" fmla="*/ 3530 w 10577"/>
                  <a:gd name="connsiteY1607" fmla="*/ 2026 h 10000"/>
                  <a:gd name="connsiteX1608" fmla="*/ 3530 w 10577"/>
                  <a:gd name="connsiteY1608" fmla="*/ 2034 h 10000"/>
                  <a:gd name="connsiteX1609" fmla="*/ 3525 w 10577"/>
                  <a:gd name="connsiteY1609" fmla="*/ 2051 h 10000"/>
                  <a:gd name="connsiteX1610" fmla="*/ 3512 w 10577"/>
                  <a:gd name="connsiteY1610" fmla="*/ 2034 h 10000"/>
                  <a:gd name="connsiteX1611" fmla="*/ 3507 w 10577"/>
                  <a:gd name="connsiteY1611" fmla="*/ 2034 h 10000"/>
                  <a:gd name="connsiteX1612" fmla="*/ 3498 w 10577"/>
                  <a:gd name="connsiteY1612" fmla="*/ 2051 h 10000"/>
                  <a:gd name="connsiteX1613" fmla="*/ 3484 w 10577"/>
                  <a:gd name="connsiteY1613" fmla="*/ 2060 h 10000"/>
                  <a:gd name="connsiteX1614" fmla="*/ 3484 w 10577"/>
                  <a:gd name="connsiteY1614" fmla="*/ 2085 h 10000"/>
                  <a:gd name="connsiteX1615" fmla="*/ 3484 w 10577"/>
                  <a:gd name="connsiteY1615" fmla="*/ 2103 h 10000"/>
                  <a:gd name="connsiteX1616" fmla="*/ 3493 w 10577"/>
                  <a:gd name="connsiteY1616" fmla="*/ 2103 h 10000"/>
                  <a:gd name="connsiteX1617" fmla="*/ 3493 w 10577"/>
                  <a:gd name="connsiteY1617" fmla="*/ 2085 h 10000"/>
                  <a:gd name="connsiteX1618" fmla="*/ 3498 w 10577"/>
                  <a:gd name="connsiteY1618" fmla="*/ 2085 h 10000"/>
                  <a:gd name="connsiteX1619" fmla="*/ 3498 w 10577"/>
                  <a:gd name="connsiteY1619" fmla="*/ 2111 h 10000"/>
                  <a:gd name="connsiteX1620" fmla="*/ 3484 w 10577"/>
                  <a:gd name="connsiteY1620" fmla="*/ 2120 h 10000"/>
                  <a:gd name="connsiteX1621" fmla="*/ 3484 w 10577"/>
                  <a:gd name="connsiteY1621" fmla="*/ 2145 h 10000"/>
                  <a:gd name="connsiteX1622" fmla="*/ 3470 w 10577"/>
                  <a:gd name="connsiteY1622" fmla="*/ 2137 h 10000"/>
                  <a:gd name="connsiteX1623" fmla="*/ 3465 w 10577"/>
                  <a:gd name="connsiteY1623" fmla="*/ 2145 h 10000"/>
                  <a:gd name="connsiteX1624" fmla="*/ 3470 w 10577"/>
                  <a:gd name="connsiteY1624" fmla="*/ 2171 h 10000"/>
                  <a:gd name="connsiteX1625" fmla="*/ 3484 w 10577"/>
                  <a:gd name="connsiteY1625" fmla="*/ 2171 h 10000"/>
                  <a:gd name="connsiteX1626" fmla="*/ 3484 w 10577"/>
                  <a:gd name="connsiteY1626" fmla="*/ 2197 h 10000"/>
                  <a:gd name="connsiteX1627" fmla="*/ 3465 w 10577"/>
                  <a:gd name="connsiteY1627" fmla="*/ 2214 h 10000"/>
                  <a:gd name="connsiteX1628" fmla="*/ 3493 w 10577"/>
                  <a:gd name="connsiteY1628" fmla="*/ 2248 h 10000"/>
                  <a:gd name="connsiteX1629" fmla="*/ 3484 w 10577"/>
                  <a:gd name="connsiteY1629" fmla="*/ 2256 h 10000"/>
                  <a:gd name="connsiteX1630" fmla="*/ 3498 w 10577"/>
                  <a:gd name="connsiteY1630" fmla="*/ 2274 h 10000"/>
                  <a:gd name="connsiteX1631" fmla="*/ 3498 w 10577"/>
                  <a:gd name="connsiteY1631" fmla="*/ 2256 h 10000"/>
                  <a:gd name="connsiteX1632" fmla="*/ 3507 w 10577"/>
                  <a:gd name="connsiteY1632" fmla="*/ 2308 h 10000"/>
                  <a:gd name="connsiteX1633" fmla="*/ 3512 w 10577"/>
                  <a:gd name="connsiteY1633" fmla="*/ 2325 h 10000"/>
                  <a:gd name="connsiteX1634" fmla="*/ 3507 w 10577"/>
                  <a:gd name="connsiteY1634" fmla="*/ 2333 h 10000"/>
                  <a:gd name="connsiteX1635" fmla="*/ 3507 w 10577"/>
                  <a:gd name="connsiteY1635" fmla="*/ 2359 h 10000"/>
                  <a:gd name="connsiteX1636" fmla="*/ 3507 w 10577"/>
                  <a:gd name="connsiteY1636" fmla="*/ 2376 h 10000"/>
                  <a:gd name="connsiteX1637" fmla="*/ 3498 w 10577"/>
                  <a:gd name="connsiteY1637" fmla="*/ 2410 h 10000"/>
                  <a:gd name="connsiteX1638" fmla="*/ 3498 w 10577"/>
                  <a:gd name="connsiteY1638" fmla="*/ 2436 h 10000"/>
                  <a:gd name="connsiteX1639" fmla="*/ 3507 w 10577"/>
                  <a:gd name="connsiteY1639" fmla="*/ 2462 h 10000"/>
                  <a:gd name="connsiteX1640" fmla="*/ 3507 w 10577"/>
                  <a:gd name="connsiteY1640" fmla="*/ 2496 h 10000"/>
                  <a:gd name="connsiteX1641" fmla="*/ 3512 w 10577"/>
                  <a:gd name="connsiteY1641" fmla="*/ 2521 h 10000"/>
                  <a:gd name="connsiteX1642" fmla="*/ 3525 w 10577"/>
                  <a:gd name="connsiteY1642" fmla="*/ 2556 h 10000"/>
                  <a:gd name="connsiteX1643" fmla="*/ 3571 w 10577"/>
                  <a:gd name="connsiteY1643" fmla="*/ 2573 h 10000"/>
                  <a:gd name="connsiteX1644" fmla="*/ 3590 w 10577"/>
                  <a:gd name="connsiteY1644" fmla="*/ 2598 h 10000"/>
                  <a:gd name="connsiteX1645" fmla="*/ 3599 w 10577"/>
                  <a:gd name="connsiteY1645" fmla="*/ 2598 h 10000"/>
                  <a:gd name="connsiteX1646" fmla="*/ 3604 w 10577"/>
                  <a:gd name="connsiteY1646" fmla="*/ 2632 h 10000"/>
                  <a:gd name="connsiteX1647" fmla="*/ 3599 w 10577"/>
                  <a:gd name="connsiteY1647" fmla="*/ 2658 h 10000"/>
                  <a:gd name="connsiteX1648" fmla="*/ 3590 w 10577"/>
                  <a:gd name="connsiteY1648" fmla="*/ 2667 h 10000"/>
                  <a:gd name="connsiteX1649" fmla="*/ 3604 w 10577"/>
                  <a:gd name="connsiteY1649" fmla="*/ 2667 h 10000"/>
                  <a:gd name="connsiteX1650" fmla="*/ 3613 w 10577"/>
                  <a:gd name="connsiteY1650" fmla="*/ 2692 h 10000"/>
                  <a:gd name="connsiteX1651" fmla="*/ 3627 w 10577"/>
                  <a:gd name="connsiteY1651" fmla="*/ 2735 h 10000"/>
                  <a:gd name="connsiteX1652" fmla="*/ 3631 w 10577"/>
                  <a:gd name="connsiteY1652" fmla="*/ 2744 h 10000"/>
                  <a:gd name="connsiteX1653" fmla="*/ 3659 w 10577"/>
                  <a:gd name="connsiteY1653" fmla="*/ 2761 h 10000"/>
                  <a:gd name="connsiteX1654" fmla="*/ 3673 w 10577"/>
                  <a:gd name="connsiteY1654" fmla="*/ 2769 h 10000"/>
                  <a:gd name="connsiteX1655" fmla="*/ 3673 w 10577"/>
                  <a:gd name="connsiteY1655" fmla="*/ 2761 h 10000"/>
                  <a:gd name="connsiteX1656" fmla="*/ 3687 w 10577"/>
                  <a:gd name="connsiteY1656" fmla="*/ 2829 h 10000"/>
                  <a:gd name="connsiteX1657" fmla="*/ 3677 w 10577"/>
                  <a:gd name="connsiteY1657" fmla="*/ 2897 h 10000"/>
                  <a:gd name="connsiteX1658" fmla="*/ 3673 w 10577"/>
                  <a:gd name="connsiteY1658" fmla="*/ 2915 h 10000"/>
                  <a:gd name="connsiteX1659" fmla="*/ 3664 w 10577"/>
                  <a:gd name="connsiteY1659" fmla="*/ 2957 h 10000"/>
                  <a:gd name="connsiteX1660" fmla="*/ 3659 w 10577"/>
                  <a:gd name="connsiteY1660" fmla="*/ 2983 h 10000"/>
                  <a:gd name="connsiteX1661" fmla="*/ 3664 w 10577"/>
                  <a:gd name="connsiteY1661" fmla="*/ 3017 h 10000"/>
                  <a:gd name="connsiteX1662" fmla="*/ 3659 w 10577"/>
                  <a:gd name="connsiteY1662" fmla="*/ 3043 h 10000"/>
                  <a:gd name="connsiteX1663" fmla="*/ 3677 w 10577"/>
                  <a:gd name="connsiteY1663" fmla="*/ 3094 h 10000"/>
                  <a:gd name="connsiteX1664" fmla="*/ 3691 w 10577"/>
                  <a:gd name="connsiteY1664" fmla="*/ 3282 h 10000"/>
                  <a:gd name="connsiteX1665" fmla="*/ 3691 w 10577"/>
                  <a:gd name="connsiteY1665" fmla="*/ 3308 h 10000"/>
                  <a:gd name="connsiteX1666" fmla="*/ 3677 w 10577"/>
                  <a:gd name="connsiteY1666" fmla="*/ 3342 h 10000"/>
                  <a:gd name="connsiteX1667" fmla="*/ 3664 w 10577"/>
                  <a:gd name="connsiteY1667" fmla="*/ 3342 h 10000"/>
                  <a:gd name="connsiteX1668" fmla="*/ 3650 w 10577"/>
                  <a:gd name="connsiteY1668" fmla="*/ 3342 h 10000"/>
                  <a:gd name="connsiteX1669" fmla="*/ 3650 w 10577"/>
                  <a:gd name="connsiteY1669" fmla="*/ 3350 h 10000"/>
                  <a:gd name="connsiteX1670" fmla="*/ 3659 w 10577"/>
                  <a:gd name="connsiteY1670" fmla="*/ 3402 h 10000"/>
                  <a:gd name="connsiteX1671" fmla="*/ 3659 w 10577"/>
                  <a:gd name="connsiteY1671" fmla="*/ 3419 h 10000"/>
                  <a:gd name="connsiteX1672" fmla="*/ 3631 w 10577"/>
                  <a:gd name="connsiteY1672" fmla="*/ 3402 h 10000"/>
                  <a:gd name="connsiteX1673" fmla="*/ 3604 w 10577"/>
                  <a:gd name="connsiteY1673" fmla="*/ 3393 h 10000"/>
                  <a:gd name="connsiteX1674" fmla="*/ 3599 w 10577"/>
                  <a:gd name="connsiteY1674" fmla="*/ 3368 h 10000"/>
                  <a:gd name="connsiteX1675" fmla="*/ 3590 w 10577"/>
                  <a:gd name="connsiteY1675" fmla="*/ 3239 h 10000"/>
                  <a:gd name="connsiteX1676" fmla="*/ 3599 w 10577"/>
                  <a:gd name="connsiteY1676" fmla="*/ 3179 h 10000"/>
                  <a:gd name="connsiteX1677" fmla="*/ 3599 w 10577"/>
                  <a:gd name="connsiteY1677" fmla="*/ 3171 h 10000"/>
                  <a:gd name="connsiteX1678" fmla="*/ 3599 w 10577"/>
                  <a:gd name="connsiteY1678" fmla="*/ 3009 h 10000"/>
                  <a:gd name="connsiteX1679" fmla="*/ 3604 w 10577"/>
                  <a:gd name="connsiteY1679" fmla="*/ 2983 h 10000"/>
                  <a:gd name="connsiteX1680" fmla="*/ 3645 w 10577"/>
                  <a:gd name="connsiteY1680" fmla="*/ 2932 h 10000"/>
                  <a:gd name="connsiteX1681" fmla="*/ 3650 w 10577"/>
                  <a:gd name="connsiteY1681" fmla="*/ 2872 h 10000"/>
                  <a:gd name="connsiteX1682" fmla="*/ 3659 w 10577"/>
                  <a:gd name="connsiteY1682" fmla="*/ 2855 h 10000"/>
                  <a:gd name="connsiteX1683" fmla="*/ 3659 w 10577"/>
                  <a:gd name="connsiteY1683" fmla="*/ 2821 h 10000"/>
                  <a:gd name="connsiteX1684" fmla="*/ 3631 w 10577"/>
                  <a:gd name="connsiteY1684" fmla="*/ 2795 h 10000"/>
                  <a:gd name="connsiteX1685" fmla="*/ 3567 w 10577"/>
                  <a:gd name="connsiteY1685" fmla="*/ 2821 h 10000"/>
                  <a:gd name="connsiteX1686" fmla="*/ 3544 w 10577"/>
                  <a:gd name="connsiteY1686" fmla="*/ 2795 h 10000"/>
                  <a:gd name="connsiteX1687" fmla="*/ 3530 w 10577"/>
                  <a:gd name="connsiteY1687" fmla="*/ 2769 h 10000"/>
                  <a:gd name="connsiteX1688" fmla="*/ 3530 w 10577"/>
                  <a:gd name="connsiteY1688" fmla="*/ 2786 h 10000"/>
                  <a:gd name="connsiteX1689" fmla="*/ 3498 w 10577"/>
                  <a:gd name="connsiteY1689" fmla="*/ 2692 h 10000"/>
                  <a:gd name="connsiteX1690" fmla="*/ 3498 w 10577"/>
                  <a:gd name="connsiteY1690" fmla="*/ 2667 h 10000"/>
                  <a:gd name="connsiteX1691" fmla="*/ 3442 w 10577"/>
                  <a:gd name="connsiteY1691" fmla="*/ 2607 h 10000"/>
                  <a:gd name="connsiteX1692" fmla="*/ 3433 w 10577"/>
                  <a:gd name="connsiteY1692" fmla="*/ 2581 h 10000"/>
                  <a:gd name="connsiteX1693" fmla="*/ 3396 w 10577"/>
                  <a:gd name="connsiteY1693" fmla="*/ 2556 h 10000"/>
                  <a:gd name="connsiteX1694" fmla="*/ 3318 w 10577"/>
                  <a:gd name="connsiteY1694" fmla="*/ 2556 h 10000"/>
                  <a:gd name="connsiteX1695" fmla="*/ 3304 w 10577"/>
                  <a:gd name="connsiteY1695" fmla="*/ 2607 h 10000"/>
                  <a:gd name="connsiteX1696" fmla="*/ 3276 w 10577"/>
                  <a:gd name="connsiteY1696" fmla="*/ 2632 h 10000"/>
                  <a:gd name="connsiteX1697" fmla="*/ 3272 w 10577"/>
                  <a:gd name="connsiteY1697" fmla="*/ 2667 h 10000"/>
                  <a:gd name="connsiteX1698" fmla="*/ 3304 w 10577"/>
                  <a:gd name="connsiteY1698" fmla="*/ 2667 h 10000"/>
                  <a:gd name="connsiteX1699" fmla="*/ 3323 w 10577"/>
                  <a:gd name="connsiteY1699" fmla="*/ 2692 h 10000"/>
                  <a:gd name="connsiteX1700" fmla="*/ 3318 w 10577"/>
                  <a:gd name="connsiteY1700" fmla="*/ 2735 h 10000"/>
                  <a:gd name="connsiteX1701" fmla="*/ 3304 w 10577"/>
                  <a:gd name="connsiteY1701" fmla="*/ 2761 h 10000"/>
                  <a:gd name="connsiteX1702" fmla="*/ 3276 w 10577"/>
                  <a:gd name="connsiteY1702" fmla="*/ 2769 h 10000"/>
                  <a:gd name="connsiteX1703" fmla="*/ 3263 w 10577"/>
                  <a:gd name="connsiteY1703" fmla="*/ 2795 h 10000"/>
                  <a:gd name="connsiteX1704" fmla="*/ 3235 w 10577"/>
                  <a:gd name="connsiteY1704" fmla="*/ 2803 h 10000"/>
                  <a:gd name="connsiteX1705" fmla="*/ 3235 w 10577"/>
                  <a:gd name="connsiteY1705" fmla="*/ 2786 h 10000"/>
                  <a:gd name="connsiteX1706" fmla="*/ 3212 w 10577"/>
                  <a:gd name="connsiteY1706" fmla="*/ 2709 h 10000"/>
                  <a:gd name="connsiteX1707" fmla="*/ 3198 w 10577"/>
                  <a:gd name="connsiteY1707" fmla="*/ 2709 h 10000"/>
                  <a:gd name="connsiteX1708" fmla="*/ 3184 w 10577"/>
                  <a:gd name="connsiteY1708" fmla="*/ 2735 h 10000"/>
                  <a:gd name="connsiteX1709" fmla="*/ 3189 w 10577"/>
                  <a:gd name="connsiteY1709" fmla="*/ 2761 h 10000"/>
                  <a:gd name="connsiteX1710" fmla="*/ 3203 w 10577"/>
                  <a:gd name="connsiteY1710" fmla="*/ 2855 h 10000"/>
                  <a:gd name="connsiteX1711" fmla="*/ 3212 w 10577"/>
                  <a:gd name="connsiteY1711" fmla="*/ 2872 h 10000"/>
                  <a:gd name="connsiteX1712" fmla="*/ 3235 w 10577"/>
                  <a:gd name="connsiteY1712" fmla="*/ 2906 h 10000"/>
                  <a:gd name="connsiteX1713" fmla="*/ 3258 w 10577"/>
                  <a:gd name="connsiteY1713" fmla="*/ 2915 h 10000"/>
                  <a:gd name="connsiteX1714" fmla="*/ 3272 w 10577"/>
                  <a:gd name="connsiteY1714" fmla="*/ 2957 h 10000"/>
                  <a:gd name="connsiteX1715" fmla="*/ 3276 w 10577"/>
                  <a:gd name="connsiteY1715" fmla="*/ 2957 h 10000"/>
                  <a:gd name="connsiteX1716" fmla="*/ 3286 w 10577"/>
                  <a:gd name="connsiteY1716" fmla="*/ 2966 h 10000"/>
                  <a:gd name="connsiteX1717" fmla="*/ 3300 w 10577"/>
                  <a:gd name="connsiteY1717" fmla="*/ 2957 h 10000"/>
                  <a:gd name="connsiteX1718" fmla="*/ 3309 w 10577"/>
                  <a:gd name="connsiteY1718" fmla="*/ 2932 h 10000"/>
                  <a:gd name="connsiteX1719" fmla="*/ 3304 w 10577"/>
                  <a:gd name="connsiteY1719" fmla="*/ 2966 h 10000"/>
                  <a:gd name="connsiteX1720" fmla="*/ 3309 w 10577"/>
                  <a:gd name="connsiteY1720" fmla="*/ 2983 h 10000"/>
                  <a:gd name="connsiteX1721" fmla="*/ 3323 w 10577"/>
                  <a:gd name="connsiteY1721" fmla="*/ 2966 h 10000"/>
                  <a:gd name="connsiteX1722" fmla="*/ 3323 w 10577"/>
                  <a:gd name="connsiteY1722" fmla="*/ 3043 h 10000"/>
                  <a:gd name="connsiteX1723" fmla="*/ 3346 w 10577"/>
                  <a:gd name="connsiteY1723" fmla="*/ 3068 h 10000"/>
                  <a:gd name="connsiteX1724" fmla="*/ 3346 w 10577"/>
                  <a:gd name="connsiteY1724" fmla="*/ 3094 h 10000"/>
                  <a:gd name="connsiteX1725" fmla="*/ 3323 w 10577"/>
                  <a:gd name="connsiteY1725" fmla="*/ 3094 h 10000"/>
                  <a:gd name="connsiteX1726" fmla="*/ 3309 w 10577"/>
                  <a:gd name="connsiteY1726" fmla="*/ 3077 h 10000"/>
                  <a:gd name="connsiteX1727" fmla="*/ 3304 w 10577"/>
                  <a:gd name="connsiteY1727" fmla="*/ 3051 h 10000"/>
                  <a:gd name="connsiteX1728" fmla="*/ 3300 w 10577"/>
                  <a:gd name="connsiteY1728" fmla="*/ 3043 h 10000"/>
                  <a:gd name="connsiteX1729" fmla="*/ 3286 w 10577"/>
                  <a:gd name="connsiteY1729" fmla="*/ 3017 h 10000"/>
                  <a:gd name="connsiteX1730" fmla="*/ 3152 w 10577"/>
                  <a:gd name="connsiteY1730" fmla="*/ 2966 h 10000"/>
                  <a:gd name="connsiteX1731" fmla="*/ 3129 w 10577"/>
                  <a:gd name="connsiteY1731" fmla="*/ 2915 h 10000"/>
                  <a:gd name="connsiteX1732" fmla="*/ 3129 w 10577"/>
                  <a:gd name="connsiteY1732" fmla="*/ 2906 h 10000"/>
                  <a:gd name="connsiteX1733" fmla="*/ 3152 w 10577"/>
                  <a:gd name="connsiteY1733" fmla="*/ 2906 h 10000"/>
                  <a:gd name="connsiteX1734" fmla="*/ 3152 w 10577"/>
                  <a:gd name="connsiteY1734" fmla="*/ 2846 h 10000"/>
                  <a:gd name="connsiteX1735" fmla="*/ 3138 w 10577"/>
                  <a:gd name="connsiteY1735" fmla="*/ 2795 h 10000"/>
                  <a:gd name="connsiteX1736" fmla="*/ 3138 w 10577"/>
                  <a:gd name="connsiteY1736" fmla="*/ 2769 h 10000"/>
                  <a:gd name="connsiteX1737" fmla="*/ 3143 w 10577"/>
                  <a:gd name="connsiteY1737" fmla="*/ 2718 h 10000"/>
                  <a:gd name="connsiteX1738" fmla="*/ 3129 w 10577"/>
                  <a:gd name="connsiteY1738" fmla="*/ 2692 h 10000"/>
                  <a:gd name="connsiteX1739" fmla="*/ 3143 w 10577"/>
                  <a:gd name="connsiteY1739" fmla="*/ 2667 h 10000"/>
                  <a:gd name="connsiteX1740" fmla="*/ 3157 w 10577"/>
                  <a:gd name="connsiteY1740" fmla="*/ 2581 h 10000"/>
                  <a:gd name="connsiteX1741" fmla="*/ 3143 w 10577"/>
                  <a:gd name="connsiteY1741" fmla="*/ 2496 h 10000"/>
                  <a:gd name="connsiteX1742" fmla="*/ 3157 w 10577"/>
                  <a:gd name="connsiteY1742" fmla="*/ 2487 h 10000"/>
                  <a:gd name="connsiteX1743" fmla="*/ 3143 w 10577"/>
                  <a:gd name="connsiteY1743" fmla="*/ 2444 h 10000"/>
                  <a:gd name="connsiteX1744" fmla="*/ 3143 w 10577"/>
                  <a:gd name="connsiteY1744" fmla="*/ 2419 h 10000"/>
                  <a:gd name="connsiteX1745" fmla="*/ 3143 w 10577"/>
                  <a:gd name="connsiteY1745" fmla="*/ 2410 h 10000"/>
                  <a:gd name="connsiteX1746" fmla="*/ 3124 w 10577"/>
                  <a:gd name="connsiteY1746" fmla="*/ 2376 h 10000"/>
                  <a:gd name="connsiteX1747" fmla="*/ 3115 w 10577"/>
                  <a:gd name="connsiteY1747" fmla="*/ 2350 h 10000"/>
                  <a:gd name="connsiteX1748" fmla="*/ 3101 w 10577"/>
                  <a:gd name="connsiteY1748" fmla="*/ 2359 h 10000"/>
                  <a:gd name="connsiteX1749" fmla="*/ 3115 w 10577"/>
                  <a:gd name="connsiteY1749" fmla="*/ 2581 h 10000"/>
                  <a:gd name="connsiteX1750" fmla="*/ 3111 w 10577"/>
                  <a:gd name="connsiteY1750" fmla="*/ 2624 h 10000"/>
                  <a:gd name="connsiteX1751" fmla="*/ 3009 w 10577"/>
                  <a:gd name="connsiteY1751" fmla="*/ 2761 h 10000"/>
                  <a:gd name="connsiteX1752" fmla="*/ 3009 w 10577"/>
                  <a:gd name="connsiteY1752" fmla="*/ 2803 h 10000"/>
                  <a:gd name="connsiteX1753" fmla="*/ 3005 w 10577"/>
                  <a:gd name="connsiteY1753" fmla="*/ 2829 h 10000"/>
                  <a:gd name="connsiteX1754" fmla="*/ 2982 w 10577"/>
                  <a:gd name="connsiteY1754" fmla="*/ 2872 h 10000"/>
                  <a:gd name="connsiteX1755" fmla="*/ 2982 w 10577"/>
                  <a:gd name="connsiteY1755" fmla="*/ 2880 h 10000"/>
                  <a:gd name="connsiteX1756" fmla="*/ 3037 w 10577"/>
                  <a:gd name="connsiteY1756" fmla="*/ 3034 h 10000"/>
                  <a:gd name="connsiteX1757" fmla="*/ 3041 w 10577"/>
                  <a:gd name="connsiteY1757" fmla="*/ 3103 h 10000"/>
                  <a:gd name="connsiteX1758" fmla="*/ 3069 w 10577"/>
                  <a:gd name="connsiteY1758" fmla="*/ 3188 h 10000"/>
                  <a:gd name="connsiteX1759" fmla="*/ 3055 w 10577"/>
                  <a:gd name="connsiteY1759" fmla="*/ 3325 h 10000"/>
                  <a:gd name="connsiteX1760" fmla="*/ 3037 w 10577"/>
                  <a:gd name="connsiteY1760" fmla="*/ 3368 h 10000"/>
                  <a:gd name="connsiteX1761" fmla="*/ 3037 w 10577"/>
                  <a:gd name="connsiteY1761" fmla="*/ 3444 h 10000"/>
                  <a:gd name="connsiteX1762" fmla="*/ 3028 w 10577"/>
                  <a:gd name="connsiteY1762" fmla="*/ 3453 h 10000"/>
                  <a:gd name="connsiteX1763" fmla="*/ 3023 w 10577"/>
                  <a:gd name="connsiteY1763" fmla="*/ 3530 h 10000"/>
                  <a:gd name="connsiteX1764" fmla="*/ 3051 w 10577"/>
                  <a:gd name="connsiteY1764" fmla="*/ 3624 h 10000"/>
                  <a:gd name="connsiteX1765" fmla="*/ 3037 w 10577"/>
                  <a:gd name="connsiteY1765" fmla="*/ 3718 h 10000"/>
                  <a:gd name="connsiteX1766" fmla="*/ 3041 w 10577"/>
                  <a:gd name="connsiteY1766" fmla="*/ 3752 h 10000"/>
                  <a:gd name="connsiteX1767" fmla="*/ 3055 w 10577"/>
                  <a:gd name="connsiteY1767" fmla="*/ 3761 h 10000"/>
                  <a:gd name="connsiteX1768" fmla="*/ 3078 w 10577"/>
                  <a:gd name="connsiteY1768" fmla="*/ 3752 h 10000"/>
                  <a:gd name="connsiteX1769" fmla="*/ 3092 w 10577"/>
                  <a:gd name="connsiteY1769" fmla="*/ 3752 h 10000"/>
                  <a:gd name="connsiteX1770" fmla="*/ 3129 w 10577"/>
                  <a:gd name="connsiteY1770" fmla="*/ 3761 h 10000"/>
                  <a:gd name="connsiteX1771" fmla="*/ 3129 w 10577"/>
                  <a:gd name="connsiteY1771" fmla="*/ 3735 h 10000"/>
                  <a:gd name="connsiteX1772" fmla="*/ 3157 w 10577"/>
                  <a:gd name="connsiteY1772" fmla="*/ 3718 h 10000"/>
                  <a:gd name="connsiteX1773" fmla="*/ 3184 w 10577"/>
                  <a:gd name="connsiteY1773" fmla="*/ 3718 h 10000"/>
                  <a:gd name="connsiteX1774" fmla="*/ 3290 w 10577"/>
                  <a:gd name="connsiteY1774" fmla="*/ 3838 h 10000"/>
                  <a:gd name="connsiteX1775" fmla="*/ 3300 w 10577"/>
                  <a:gd name="connsiteY1775" fmla="*/ 3846 h 10000"/>
                  <a:gd name="connsiteX1776" fmla="*/ 3300 w 10577"/>
                  <a:gd name="connsiteY1776" fmla="*/ 3915 h 10000"/>
                  <a:gd name="connsiteX1777" fmla="*/ 3318 w 10577"/>
                  <a:gd name="connsiteY1777" fmla="*/ 4000 h 10000"/>
                  <a:gd name="connsiteX1778" fmla="*/ 3323 w 10577"/>
                  <a:gd name="connsiteY1778" fmla="*/ 4000 h 10000"/>
                  <a:gd name="connsiteX1779" fmla="*/ 3323 w 10577"/>
                  <a:gd name="connsiteY1779" fmla="*/ 4034 h 10000"/>
                  <a:gd name="connsiteX1780" fmla="*/ 3318 w 10577"/>
                  <a:gd name="connsiteY1780" fmla="*/ 4051 h 10000"/>
                  <a:gd name="connsiteX1781" fmla="*/ 3300 w 10577"/>
                  <a:gd name="connsiteY1781" fmla="*/ 4051 h 10000"/>
                  <a:gd name="connsiteX1782" fmla="*/ 3290 w 10577"/>
                  <a:gd name="connsiteY1782" fmla="*/ 4077 h 10000"/>
                  <a:gd name="connsiteX1783" fmla="*/ 3286 w 10577"/>
                  <a:gd name="connsiteY1783" fmla="*/ 4103 h 10000"/>
                  <a:gd name="connsiteX1784" fmla="*/ 3286 w 10577"/>
                  <a:gd name="connsiteY1784" fmla="*/ 4197 h 10000"/>
                  <a:gd name="connsiteX1785" fmla="*/ 3290 w 10577"/>
                  <a:gd name="connsiteY1785" fmla="*/ 4214 h 10000"/>
                  <a:gd name="connsiteX1786" fmla="*/ 3304 w 10577"/>
                  <a:gd name="connsiteY1786" fmla="*/ 4214 h 10000"/>
                  <a:gd name="connsiteX1787" fmla="*/ 3323 w 10577"/>
                  <a:gd name="connsiteY1787" fmla="*/ 4239 h 10000"/>
                  <a:gd name="connsiteX1788" fmla="*/ 3350 w 10577"/>
                  <a:gd name="connsiteY1788" fmla="*/ 4222 h 10000"/>
                  <a:gd name="connsiteX1789" fmla="*/ 3369 w 10577"/>
                  <a:gd name="connsiteY1789" fmla="*/ 4256 h 10000"/>
                  <a:gd name="connsiteX1790" fmla="*/ 3369 w 10577"/>
                  <a:gd name="connsiteY1790" fmla="*/ 4256 h 10000"/>
                  <a:gd name="connsiteX1791" fmla="*/ 3336 w 10577"/>
                  <a:gd name="connsiteY1791" fmla="*/ 4274 h 10000"/>
                  <a:gd name="connsiteX1792" fmla="*/ 3323 w 10577"/>
                  <a:gd name="connsiteY1792" fmla="*/ 4274 h 10000"/>
                  <a:gd name="connsiteX1793" fmla="*/ 3290 w 10577"/>
                  <a:gd name="connsiteY1793" fmla="*/ 4274 h 10000"/>
                  <a:gd name="connsiteX1794" fmla="*/ 3286 w 10577"/>
                  <a:gd name="connsiteY1794" fmla="*/ 4239 h 10000"/>
                  <a:gd name="connsiteX1795" fmla="*/ 3263 w 10577"/>
                  <a:gd name="connsiteY1795" fmla="*/ 4214 h 10000"/>
                  <a:gd name="connsiteX1796" fmla="*/ 3258 w 10577"/>
                  <a:gd name="connsiteY1796" fmla="*/ 4188 h 10000"/>
                  <a:gd name="connsiteX1797" fmla="*/ 3263 w 10577"/>
                  <a:gd name="connsiteY1797" fmla="*/ 4171 h 10000"/>
                  <a:gd name="connsiteX1798" fmla="*/ 3263 w 10577"/>
                  <a:gd name="connsiteY1798" fmla="*/ 4103 h 10000"/>
                  <a:gd name="connsiteX1799" fmla="*/ 3276 w 10577"/>
                  <a:gd name="connsiteY1799" fmla="*/ 4060 h 10000"/>
                  <a:gd name="connsiteX1800" fmla="*/ 3272 w 10577"/>
                  <a:gd name="connsiteY1800" fmla="*/ 4051 h 10000"/>
                  <a:gd name="connsiteX1801" fmla="*/ 3263 w 10577"/>
                  <a:gd name="connsiteY1801" fmla="*/ 4051 h 10000"/>
                  <a:gd name="connsiteX1802" fmla="*/ 3263 w 10577"/>
                  <a:gd name="connsiteY1802" fmla="*/ 4034 h 10000"/>
                  <a:gd name="connsiteX1803" fmla="*/ 3263 w 10577"/>
                  <a:gd name="connsiteY1803" fmla="*/ 4000 h 10000"/>
                  <a:gd name="connsiteX1804" fmla="*/ 3272 w 10577"/>
                  <a:gd name="connsiteY1804" fmla="*/ 4000 h 10000"/>
                  <a:gd name="connsiteX1805" fmla="*/ 3272 w 10577"/>
                  <a:gd name="connsiteY1805" fmla="*/ 3974 h 10000"/>
                  <a:gd name="connsiteX1806" fmla="*/ 3272 w 10577"/>
                  <a:gd name="connsiteY1806" fmla="*/ 3966 h 10000"/>
                  <a:gd name="connsiteX1807" fmla="*/ 3272 w 10577"/>
                  <a:gd name="connsiteY1807" fmla="*/ 3949 h 10000"/>
                  <a:gd name="connsiteX1808" fmla="*/ 3258 w 10577"/>
                  <a:gd name="connsiteY1808" fmla="*/ 3923 h 10000"/>
                  <a:gd name="connsiteX1809" fmla="*/ 3249 w 10577"/>
                  <a:gd name="connsiteY1809" fmla="*/ 3915 h 10000"/>
                  <a:gd name="connsiteX1810" fmla="*/ 3244 w 10577"/>
                  <a:gd name="connsiteY1810" fmla="*/ 3897 h 10000"/>
                  <a:gd name="connsiteX1811" fmla="*/ 3230 w 10577"/>
                  <a:gd name="connsiteY1811" fmla="*/ 3889 h 10000"/>
                  <a:gd name="connsiteX1812" fmla="*/ 3230 w 10577"/>
                  <a:gd name="connsiteY1812" fmla="*/ 3863 h 10000"/>
                  <a:gd name="connsiteX1813" fmla="*/ 3230 w 10577"/>
                  <a:gd name="connsiteY1813" fmla="*/ 3838 h 10000"/>
                  <a:gd name="connsiteX1814" fmla="*/ 3226 w 10577"/>
                  <a:gd name="connsiteY1814" fmla="*/ 3803 h 10000"/>
                  <a:gd name="connsiteX1815" fmla="*/ 3138 w 10577"/>
                  <a:gd name="connsiteY1815" fmla="*/ 3838 h 10000"/>
                  <a:gd name="connsiteX1816" fmla="*/ 3078 w 10577"/>
                  <a:gd name="connsiteY1816" fmla="*/ 3889 h 10000"/>
                  <a:gd name="connsiteX1817" fmla="*/ 3078 w 10577"/>
                  <a:gd name="connsiteY1817" fmla="*/ 3940 h 10000"/>
                  <a:gd name="connsiteX1818" fmla="*/ 3069 w 10577"/>
                  <a:gd name="connsiteY1818" fmla="*/ 3983 h 10000"/>
                  <a:gd name="connsiteX1819" fmla="*/ 3069 w 10577"/>
                  <a:gd name="connsiteY1819" fmla="*/ 4009 h 10000"/>
                  <a:gd name="connsiteX1820" fmla="*/ 3078 w 10577"/>
                  <a:gd name="connsiteY1820" fmla="*/ 4026 h 10000"/>
                  <a:gd name="connsiteX1821" fmla="*/ 3083 w 10577"/>
                  <a:gd name="connsiteY1821" fmla="*/ 4034 h 10000"/>
                  <a:gd name="connsiteX1822" fmla="*/ 3092 w 10577"/>
                  <a:gd name="connsiteY1822" fmla="*/ 4060 h 10000"/>
                  <a:gd name="connsiteX1823" fmla="*/ 3092 w 10577"/>
                  <a:gd name="connsiteY1823" fmla="*/ 4077 h 10000"/>
                  <a:gd name="connsiteX1824" fmla="*/ 3097 w 10577"/>
                  <a:gd name="connsiteY1824" fmla="*/ 4103 h 10000"/>
                  <a:gd name="connsiteX1825" fmla="*/ 3101 w 10577"/>
                  <a:gd name="connsiteY1825" fmla="*/ 4162 h 10000"/>
                  <a:gd name="connsiteX1826" fmla="*/ 3097 w 10577"/>
                  <a:gd name="connsiteY1826" fmla="*/ 4222 h 10000"/>
                  <a:gd name="connsiteX1827" fmla="*/ 3041 w 10577"/>
                  <a:gd name="connsiteY1827" fmla="*/ 4325 h 10000"/>
                  <a:gd name="connsiteX1828" fmla="*/ 3037 w 10577"/>
                  <a:gd name="connsiteY1828" fmla="*/ 4419 h 10000"/>
                  <a:gd name="connsiteX1829" fmla="*/ 3018 w 10577"/>
                  <a:gd name="connsiteY1829" fmla="*/ 4470 h 10000"/>
                  <a:gd name="connsiteX1830" fmla="*/ 2991 w 10577"/>
                  <a:gd name="connsiteY1830" fmla="*/ 4513 h 10000"/>
                  <a:gd name="connsiteX1831" fmla="*/ 2977 w 10577"/>
                  <a:gd name="connsiteY1831" fmla="*/ 4530 h 10000"/>
                  <a:gd name="connsiteX1832" fmla="*/ 2945 w 10577"/>
                  <a:gd name="connsiteY1832" fmla="*/ 4556 h 10000"/>
                  <a:gd name="connsiteX1833" fmla="*/ 2935 w 10577"/>
                  <a:gd name="connsiteY1833" fmla="*/ 4581 h 10000"/>
                  <a:gd name="connsiteX1834" fmla="*/ 2949 w 10577"/>
                  <a:gd name="connsiteY1834" fmla="*/ 4624 h 10000"/>
                  <a:gd name="connsiteX1835" fmla="*/ 2945 w 10577"/>
                  <a:gd name="connsiteY1835" fmla="*/ 4658 h 10000"/>
                  <a:gd name="connsiteX1836" fmla="*/ 2922 w 10577"/>
                  <a:gd name="connsiteY1836" fmla="*/ 4667 h 10000"/>
                  <a:gd name="connsiteX1837" fmla="*/ 2876 w 10577"/>
                  <a:gd name="connsiteY1837" fmla="*/ 4632 h 10000"/>
                  <a:gd name="connsiteX1838" fmla="*/ 2857 w 10577"/>
                  <a:gd name="connsiteY1838" fmla="*/ 4632 h 10000"/>
                  <a:gd name="connsiteX1839" fmla="*/ 2820 w 10577"/>
                  <a:gd name="connsiteY1839" fmla="*/ 4641 h 10000"/>
                  <a:gd name="connsiteX1840" fmla="*/ 2797 w 10577"/>
                  <a:gd name="connsiteY1840" fmla="*/ 4632 h 10000"/>
                  <a:gd name="connsiteX1841" fmla="*/ 2788 w 10577"/>
                  <a:gd name="connsiteY1841" fmla="*/ 4624 h 10000"/>
                  <a:gd name="connsiteX1842" fmla="*/ 2788 w 10577"/>
                  <a:gd name="connsiteY1842" fmla="*/ 4598 h 10000"/>
                  <a:gd name="connsiteX1843" fmla="*/ 2797 w 10577"/>
                  <a:gd name="connsiteY1843" fmla="*/ 4581 h 10000"/>
                  <a:gd name="connsiteX1844" fmla="*/ 2788 w 10577"/>
                  <a:gd name="connsiteY1844" fmla="*/ 4530 h 10000"/>
                  <a:gd name="connsiteX1845" fmla="*/ 2774 w 10577"/>
                  <a:gd name="connsiteY1845" fmla="*/ 4530 h 10000"/>
                  <a:gd name="connsiteX1846" fmla="*/ 2770 w 10577"/>
                  <a:gd name="connsiteY1846" fmla="*/ 4513 h 10000"/>
                  <a:gd name="connsiteX1847" fmla="*/ 2774 w 10577"/>
                  <a:gd name="connsiteY1847" fmla="*/ 4513 h 10000"/>
                  <a:gd name="connsiteX1848" fmla="*/ 2788 w 10577"/>
                  <a:gd name="connsiteY1848" fmla="*/ 4496 h 10000"/>
                  <a:gd name="connsiteX1849" fmla="*/ 2802 w 10577"/>
                  <a:gd name="connsiteY1849" fmla="*/ 4513 h 10000"/>
                  <a:gd name="connsiteX1850" fmla="*/ 2811 w 10577"/>
                  <a:gd name="connsiteY1850" fmla="*/ 4530 h 10000"/>
                  <a:gd name="connsiteX1851" fmla="*/ 2820 w 10577"/>
                  <a:gd name="connsiteY1851" fmla="*/ 4521 h 10000"/>
                  <a:gd name="connsiteX1852" fmla="*/ 2829 w 10577"/>
                  <a:gd name="connsiteY1852" fmla="*/ 4513 h 10000"/>
                  <a:gd name="connsiteX1853" fmla="*/ 2843 w 10577"/>
                  <a:gd name="connsiteY1853" fmla="*/ 4513 h 10000"/>
                  <a:gd name="connsiteX1854" fmla="*/ 2848 w 10577"/>
                  <a:gd name="connsiteY1854" fmla="*/ 4470 h 10000"/>
                  <a:gd name="connsiteX1855" fmla="*/ 2862 w 10577"/>
                  <a:gd name="connsiteY1855" fmla="*/ 4487 h 10000"/>
                  <a:gd name="connsiteX1856" fmla="*/ 2876 w 10577"/>
                  <a:gd name="connsiteY1856" fmla="*/ 4470 h 10000"/>
                  <a:gd name="connsiteX1857" fmla="*/ 2880 w 10577"/>
                  <a:gd name="connsiteY1857" fmla="*/ 4462 h 10000"/>
                  <a:gd name="connsiteX1858" fmla="*/ 2889 w 10577"/>
                  <a:gd name="connsiteY1858" fmla="*/ 4444 h 10000"/>
                  <a:gd name="connsiteX1859" fmla="*/ 2894 w 10577"/>
                  <a:gd name="connsiteY1859" fmla="*/ 4462 h 10000"/>
                  <a:gd name="connsiteX1860" fmla="*/ 2917 w 10577"/>
                  <a:gd name="connsiteY1860" fmla="*/ 4444 h 10000"/>
                  <a:gd name="connsiteX1861" fmla="*/ 2922 w 10577"/>
                  <a:gd name="connsiteY1861" fmla="*/ 4436 h 10000"/>
                  <a:gd name="connsiteX1862" fmla="*/ 2917 w 10577"/>
                  <a:gd name="connsiteY1862" fmla="*/ 4410 h 10000"/>
                  <a:gd name="connsiteX1863" fmla="*/ 2894 w 10577"/>
                  <a:gd name="connsiteY1863" fmla="*/ 4410 h 10000"/>
                  <a:gd name="connsiteX1864" fmla="*/ 2889 w 10577"/>
                  <a:gd name="connsiteY1864" fmla="*/ 4419 h 10000"/>
                  <a:gd name="connsiteX1865" fmla="*/ 2876 w 10577"/>
                  <a:gd name="connsiteY1865" fmla="*/ 4410 h 10000"/>
                  <a:gd name="connsiteX1866" fmla="*/ 2880 w 10577"/>
                  <a:gd name="connsiteY1866" fmla="*/ 4376 h 10000"/>
                  <a:gd name="connsiteX1867" fmla="*/ 2903 w 10577"/>
                  <a:gd name="connsiteY1867" fmla="*/ 4393 h 10000"/>
                  <a:gd name="connsiteX1868" fmla="*/ 2931 w 10577"/>
                  <a:gd name="connsiteY1868" fmla="*/ 4393 h 10000"/>
                  <a:gd name="connsiteX1869" fmla="*/ 2931 w 10577"/>
                  <a:gd name="connsiteY1869" fmla="*/ 4385 h 10000"/>
                  <a:gd name="connsiteX1870" fmla="*/ 2931 w 10577"/>
                  <a:gd name="connsiteY1870" fmla="*/ 4350 h 10000"/>
                  <a:gd name="connsiteX1871" fmla="*/ 2945 w 10577"/>
                  <a:gd name="connsiteY1871" fmla="*/ 4350 h 10000"/>
                  <a:gd name="connsiteX1872" fmla="*/ 2949 w 10577"/>
                  <a:gd name="connsiteY1872" fmla="*/ 4325 h 10000"/>
                  <a:gd name="connsiteX1873" fmla="*/ 2963 w 10577"/>
                  <a:gd name="connsiteY1873" fmla="*/ 4256 h 10000"/>
                  <a:gd name="connsiteX1874" fmla="*/ 2982 w 10577"/>
                  <a:gd name="connsiteY1874" fmla="*/ 4239 h 10000"/>
                  <a:gd name="connsiteX1875" fmla="*/ 2991 w 10577"/>
                  <a:gd name="connsiteY1875" fmla="*/ 4214 h 10000"/>
                  <a:gd name="connsiteX1876" fmla="*/ 2991 w 10577"/>
                  <a:gd name="connsiteY1876" fmla="*/ 4197 h 10000"/>
                  <a:gd name="connsiteX1877" fmla="*/ 2995 w 10577"/>
                  <a:gd name="connsiteY1877" fmla="*/ 4171 h 10000"/>
                  <a:gd name="connsiteX1878" fmla="*/ 2991 w 10577"/>
                  <a:gd name="connsiteY1878" fmla="*/ 4077 h 10000"/>
                  <a:gd name="connsiteX1879" fmla="*/ 2995 w 10577"/>
                  <a:gd name="connsiteY1879" fmla="*/ 4034 h 10000"/>
                  <a:gd name="connsiteX1880" fmla="*/ 3018 w 10577"/>
                  <a:gd name="connsiteY1880" fmla="*/ 3983 h 10000"/>
                  <a:gd name="connsiteX1881" fmla="*/ 3018 w 10577"/>
                  <a:gd name="connsiteY1881" fmla="*/ 3915 h 10000"/>
                  <a:gd name="connsiteX1882" fmla="*/ 2949 w 10577"/>
                  <a:gd name="connsiteY1882" fmla="*/ 3778 h 10000"/>
                  <a:gd name="connsiteX1883" fmla="*/ 2954 w 10577"/>
                  <a:gd name="connsiteY1883" fmla="*/ 3675 h 10000"/>
                  <a:gd name="connsiteX1884" fmla="*/ 2954 w 10577"/>
                  <a:gd name="connsiteY1884" fmla="*/ 3650 h 10000"/>
                  <a:gd name="connsiteX1885" fmla="*/ 2963 w 10577"/>
                  <a:gd name="connsiteY1885" fmla="*/ 3624 h 10000"/>
                  <a:gd name="connsiteX1886" fmla="*/ 2954 w 10577"/>
                  <a:gd name="connsiteY1886" fmla="*/ 3564 h 10000"/>
                  <a:gd name="connsiteX1887" fmla="*/ 2963 w 10577"/>
                  <a:gd name="connsiteY1887" fmla="*/ 3538 h 10000"/>
                  <a:gd name="connsiteX1888" fmla="*/ 2963 w 10577"/>
                  <a:gd name="connsiteY1888" fmla="*/ 3487 h 10000"/>
                  <a:gd name="connsiteX1889" fmla="*/ 2963 w 10577"/>
                  <a:gd name="connsiteY1889" fmla="*/ 3479 h 10000"/>
                  <a:gd name="connsiteX1890" fmla="*/ 2963 w 10577"/>
                  <a:gd name="connsiteY1890" fmla="*/ 3462 h 10000"/>
                  <a:gd name="connsiteX1891" fmla="*/ 2954 w 10577"/>
                  <a:gd name="connsiteY1891" fmla="*/ 3453 h 10000"/>
                  <a:gd name="connsiteX1892" fmla="*/ 2954 w 10577"/>
                  <a:gd name="connsiteY1892" fmla="*/ 3444 h 10000"/>
                  <a:gd name="connsiteX1893" fmla="*/ 2954 w 10577"/>
                  <a:gd name="connsiteY1893" fmla="*/ 3402 h 10000"/>
                  <a:gd name="connsiteX1894" fmla="*/ 2954 w 10577"/>
                  <a:gd name="connsiteY1894" fmla="*/ 3393 h 10000"/>
                  <a:gd name="connsiteX1895" fmla="*/ 2949 w 10577"/>
                  <a:gd name="connsiteY1895" fmla="*/ 3376 h 10000"/>
                  <a:gd name="connsiteX1896" fmla="*/ 2949 w 10577"/>
                  <a:gd name="connsiteY1896" fmla="*/ 3342 h 10000"/>
                  <a:gd name="connsiteX1897" fmla="*/ 2949 w 10577"/>
                  <a:gd name="connsiteY1897" fmla="*/ 3316 h 10000"/>
                  <a:gd name="connsiteX1898" fmla="*/ 2968 w 10577"/>
                  <a:gd name="connsiteY1898" fmla="*/ 3291 h 10000"/>
                  <a:gd name="connsiteX1899" fmla="*/ 2963 w 10577"/>
                  <a:gd name="connsiteY1899" fmla="*/ 3205 h 10000"/>
                  <a:gd name="connsiteX1900" fmla="*/ 2968 w 10577"/>
                  <a:gd name="connsiteY1900" fmla="*/ 3171 h 10000"/>
                  <a:gd name="connsiteX1901" fmla="*/ 2968 w 10577"/>
                  <a:gd name="connsiteY1901" fmla="*/ 3128 h 10000"/>
                  <a:gd name="connsiteX1902" fmla="*/ 2954 w 10577"/>
                  <a:gd name="connsiteY1902" fmla="*/ 3051 h 10000"/>
                  <a:gd name="connsiteX1903" fmla="*/ 2954 w 10577"/>
                  <a:gd name="connsiteY1903" fmla="*/ 3009 h 10000"/>
                  <a:gd name="connsiteX1904" fmla="*/ 2922 w 10577"/>
                  <a:gd name="connsiteY1904" fmla="*/ 2940 h 10000"/>
                  <a:gd name="connsiteX1905" fmla="*/ 2903 w 10577"/>
                  <a:gd name="connsiteY1905" fmla="*/ 2880 h 10000"/>
                  <a:gd name="connsiteX1906" fmla="*/ 2903 w 10577"/>
                  <a:gd name="connsiteY1906" fmla="*/ 2855 h 10000"/>
                  <a:gd name="connsiteX1907" fmla="*/ 2908 w 10577"/>
                  <a:gd name="connsiteY1907" fmla="*/ 2846 h 10000"/>
                  <a:gd name="connsiteX1908" fmla="*/ 2931 w 10577"/>
                  <a:gd name="connsiteY1908" fmla="*/ 2821 h 10000"/>
                  <a:gd name="connsiteX1909" fmla="*/ 2931 w 10577"/>
                  <a:gd name="connsiteY1909" fmla="*/ 2803 h 10000"/>
                  <a:gd name="connsiteX1910" fmla="*/ 2935 w 10577"/>
                  <a:gd name="connsiteY1910" fmla="*/ 2786 h 10000"/>
                  <a:gd name="connsiteX1911" fmla="*/ 2935 w 10577"/>
                  <a:gd name="connsiteY1911" fmla="*/ 2744 h 10000"/>
                  <a:gd name="connsiteX1912" fmla="*/ 2963 w 10577"/>
                  <a:gd name="connsiteY1912" fmla="*/ 2607 h 10000"/>
                  <a:gd name="connsiteX1913" fmla="*/ 2963 w 10577"/>
                  <a:gd name="connsiteY1913" fmla="*/ 2419 h 10000"/>
                  <a:gd name="connsiteX1914" fmla="*/ 2954 w 10577"/>
                  <a:gd name="connsiteY1914" fmla="*/ 2410 h 10000"/>
                  <a:gd name="connsiteX1915" fmla="*/ 2963 w 10577"/>
                  <a:gd name="connsiteY1915" fmla="*/ 2393 h 10000"/>
                  <a:gd name="connsiteX1916" fmla="*/ 2908 w 10577"/>
                  <a:gd name="connsiteY1916" fmla="*/ 2359 h 10000"/>
                  <a:gd name="connsiteX1917" fmla="*/ 2889 w 10577"/>
                  <a:gd name="connsiteY1917" fmla="*/ 2325 h 10000"/>
                  <a:gd name="connsiteX1918" fmla="*/ 2788 w 10577"/>
                  <a:gd name="connsiteY1918" fmla="*/ 2333 h 10000"/>
                  <a:gd name="connsiteX1919" fmla="*/ 2774 w 10577"/>
                  <a:gd name="connsiteY1919" fmla="*/ 2325 h 10000"/>
                  <a:gd name="connsiteX1920" fmla="*/ 2783 w 10577"/>
                  <a:gd name="connsiteY1920" fmla="*/ 2308 h 10000"/>
                  <a:gd name="connsiteX1921" fmla="*/ 2747 w 10577"/>
                  <a:gd name="connsiteY1921" fmla="*/ 2308 h 10000"/>
                  <a:gd name="connsiteX1922" fmla="*/ 2742 w 10577"/>
                  <a:gd name="connsiteY1922" fmla="*/ 2333 h 10000"/>
                  <a:gd name="connsiteX1923" fmla="*/ 2682 w 10577"/>
                  <a:gd name="connsiteY1923" fmla="*/ 2769 h 10000"/>
                  <a:gd name="connsiteX1924" fmla="*/ 2613 w 10577"/>
                  <a:gd name="connsiteY1924" fmla="*/ 2940 h 10000"/>
                  <a:gd name="connsiteX1925" fmla="*/ 2581 w 10577"/>
                  <a:gd name="connsiteY1925" fmla="*/ 2966 h 10000"/>
                  <a:gd name="connsiteX1926" fmla="*/ 2576 w 10577"/>
                  <a:gd name="connsiteY1926" fmla="*/ 3051 h 10000"/>
                  <a:gd name="connsiteX1927" fmla="*/ 2581 w 10577"/>
                  <a:gd name="connsiteY1927" fmla="*/ 3051 h 10000"/>
                  <a:gd name="connsiteX1928" fmla="*/ 2594 w 10577"/>
                  <a:gd name="connsiteY1928" fmla="*/ 3017 h 10000"/>
                  <a:gd name="connsiteX1929" fmla="*/ 2594 w 10577"/>
                  <a:gd name="connsiteY1929" fmla="*/ 3034 h 10000"/>
                  <a:gd name="connsiteX1930" fmla="*/ 2594 w 10577"/>
                  <a:gd name="connsiteY1930" fmla="*/ 3051 h 10000"/>
                  <a:gd name="connsiteX1931" fmla="*/ 2590 w 10577"/>
                  <a:gd name="connsiteY1931" fmla="*/ 3077 h 10000"/>
                  <a:gd name="connsiteX1932" fmla="*/ 2567 w 10577"/>
                  <a:gd name="connsiteY1932" fmla="*/ 3103 h 10000"/>
                  <a:gd name="connsiteX1933" fmla="*/ 2562 w 10577"/>
                  <a:gd name="connsiteY1933" fmla="*/ 3145 h 10000"/>
                  <a:gd name="connsiteX1934" fmla="*/ 2567 w 10577"/>
                  <a:gd name="connsiteY1934" fmla="*/ 3179 h 10000"/>
                  <a:gd name="connsiteX1935" fmla="*/ 2590 w 10577"/>
                  <a:gd name="connsiteY1935" fmla="*/ 3171 h 10000"/>
                  <a:gd name="connsiteX1936" fmla="*/ 2594 w 10577"/>
                  <a:gd name="connsiteY1936" fmla="*/ 3145 h 10000"/>
                  <a:gd name="connsiteX1937" fmla="*/ 2613 w 10577"/>
                  <a:gd name="connsiteY1937" fmla="*/ 3154 h 10000"/>
                  <a:gd name="connsiteX1938" fmla="*/ 2622 w 10577"/>
                  <a:gd name="connsiteY1938" fmla="*/ 3179 h 10000"/>
                  <a:gd name="connsiteX1939" fmla="*/ 2613 w 10577"/>
                  <a:gd name="connsiteY1939" fmla="*/ 3214 h 10000"/>
                  <a:gd name="connsiteX1940" fmla="*/ 2613 w 10577"/>
                  <a:gd name="connsiteY1940" fmla="*/ 3308 h 10000"/>
                  <a:gd name="connsiteX1941" fmla="*/ 2608 w 10577"/>
                  <a:gd name="connsiteY1941" fmla="*/ 3325 h 10000"/>
                  <a:gd name="connsiteX1942" fmla="*/ 2608 w 10577"/>
                  <a:gd name="connsiteY1942" fmla="*/ 3376 h 10000"/>
                  <a:gd name="connsiteX1943" fmla="*/ 2613 w 10577"/>
                  <a:gd name="connsiteY1943" fmla="*/ 3419 h 10000"/>
                  <a:gd name="connsiteX1944" fmla="*/ 2608 w 10577"/>
                  <a:gd name="connsiteY1944" fmla="*/ 3444 h 10000"/>
                  <a:gd name="connsiteX1945" fmla="*/ 2594 w 10577"/>
                  <a:gd name="connsiteY1945" fmla="*/ 3444 h 10000"/>
                  <a:gd name="connsiteX1946" fmla="*/ 2590 w 10577"/>
                  <a:gd name="connsiteY1946" fmla="*/ 3427 h 10000"/>
                  <a:gd name="connsiteX1947" fmla="*/ 2581 w 10577"/>
                  <a:gd name="connsiteY1947" fmla="*/ 3564 h 10000"/>
                  <a:gd name="connsiteX1948" fmla="*/ 2594 w 10577"/>
                  <a:gd name="connsiteY1948" fmla="*/ 3598 h 10000"/>
                  <a:gd name="connsiteX1949" fmla="*/ 2594 w 10577"/>
                  <a:gd name="connsiteY1949" fmla="*/ 3581 h 10000"/>
                  <a:gd name="connsiteX1950" fmla="*/ 2608 w 10577"/>
                  <a:gd name="connsiteY1950" fmla="*/ 3556 h 10000"/>
                  <a:gd name="connsiteX1951" fmla="*/ 2650 w 10577"/>
                  <a:gd name="connsiteY1951" fmla="*/ 3615 h 10000"/>
                  <a:gd name="connsiteX1952" fmla="*/ 2664 w 10577"/>
                  <a:gd name="connsiteY1952" fmla="*/ 3615 h 10000"/>
                  <a:gd name="connsiteX1953" fmla="*/ 2668 w 10577"/>
                  <a:gd name="connsiteY1953" fmla="*/ 3615 h 10000"/>
                  <a:gd name="connsiteX1954" fmla="*/ 2664 w 10577"/>
                  <a:gd name="connsiteY1954" fmla="*/ 3667 h 10000"/>
                  <a:gd name="connsiteX1955" fmla="*/ 2687 w 10577"/>
                  <a:gd name="connsiteY1955" fmla="*/ 3786 h 10000"/>
                  <a:gd name="connsiteX1956" fmla="*/ 2710 w 10577"/>
                  <a:gd name="connsiteY1956" fmla="*/ 3812 h 10000"/>
                  <a:gd name="connsiteX1957" fmla="*/ 2724 w 10577"/>
                  <a:gd name="connsiteY1957" fmla="*/ 3812 h 10000"/>
                  <a:gd name="connsiteX1958" fmla="*/ 2724 w 10577"/>
                  <a:gd name="connsiteY1958" fmla="*/ 3829 h 10000"/>
                  <a:gd name="connsiteX1959" fmla="*/ 2737 w 10577"/>
                  <a:gd name="connsiteY1959" fmla="*/ 3838 h 10000"/>
                  <a:gd name="connsiteX1960" fmla="*/ 2714 w 10577"/>
                  <a:gd name="connsiteY1960" fmla="*/ 3872 h 10000"/>
                  <a:gd name="connsiteX1961" fmla="*/ 2696 w 10577"/>
                  <a:gd name="connsiteY1961" fmla="*/ 4026 h 10000"/>
                  <a:gd name="connsiteX1962" fmla="*/ 2673 w 10577"/>
                  <a:gd name="connsiteY1962" fmla="*/ 4051 h 10000"/>
                  <a:gd name="connsiteX1963" fmla="*/ 2668 w 10577"/>
                  <a:gd name="connsiteY1963" fmla="*/ 4034 h 10000"/>
                  <a:gd name="connsiteX1964" fmla="*/ 2673 w 10577"/>
                  <a:gd name="connsiteY1964" fmla="*/ 4000 h 10000"/>
                  <a:gd name="connsiteX1965" fmla="*/ 2664 w 10577"/>
                  <a:gd name="connsiteY1965" fmla="*/ 3974 h 10000"/>
                  <a:gd name="connsiteX1966" fmla="*/ 2636 w 10577"/>
                  <a:gd name="connsiteY1966" fmla="*/ 3949 h 10000"/>
                  <a:gd name="connsiteX1967" fmla="*/ 2581 w 10577"/>
                  <a:gd name="connsiteY1967" fmla="*/ 3838 h 10000"/>
                  <a:gd name="connsiteX1968" fmla="*/ 2562 w 10577"/>
                  <a:gd name="connsiteY1968" fmla="*/ 3829 h 10000"/>
                  <a:gd name="connsiteX1969" fmla="*/ 2535 w 10577"/>
                  <a:gd name="connsiteY1969" fmla="*/ 3778 h 10000"/>
                  <a:gd name="connsiteX1970" fmla="*/ 2502 w 10577"/>
                  <a:gd name="connsiteY1970" fmla="*/ 3761 h 10000"/>
                  <a:gd name="connsiteX1971" fmla="*/ 2502 w 10577"/>
                  <a:gd name="connsiteY1971" fmla="*/ 3735 h 10000"/>
                  <a:gd name="connsiteX1972" fmla="*/ 2516 w 10577"/>
                  <a:gd name="connsiteY1972" fmla="*/ 3735 h 10000"/>
                  <a:gd name="connsiteX1973" fmla="*/ 2507 w 10577"/>
                  <a:gd name="connsiteY1973" fmla="*/ 3726 h 10000"/>
                  <a:gd name="connsiteX1974" fmla="*/ 2488 w 10577"/>
                  <a:gd name="connsiteY1974" fmla="*/ 3726 h 10000"/>
                  <a:gd name="connsiteX1975" fmla="*/ 2461 w 10577"/>
                  <a:gd name="connsiteY1975" fmla="*/ 3692 h 10000"/>
                  <a:gd name="connsiteX1976" fmla="*/ 2442 w 10577"/>
                  <a:gd name="connsiteY1976" fmla="*/ 3675 h 10000"/>
                  <a:gd name="connsiteX1977" fmla="*/ 2406 w 10577"/>
                  <a:gd name="connsiteY1977" fmla="*/ 3598 h 10000"/>
                  <a:gd name="connsiteX1978" fmla="*/ 2346 w 10577"/>
                  <a:gd name="connsiteY1978" fmla="*/ 3564 h 10000"/>
                  <a:gd name="connsiteX1979" fmla="*/ 2341 w 10577"/>
                  <a:gd name="connsiteY1979" fmla="*/ 3564 h 10000"/>
                  <a:gd name="connsiteX1980" fmla="*/ 2313 w 10577"/>
                  <a:gd name="connsiteY1980" fmla="*/ 3530 h 10000"/>
                  <a:gd name="connsiteX1981" fmla="*/ 2235 w 10577"/>
                  <a:gd name="connsiteY1981" fmla="*/ 3530 h 10000"/>
                  <a:gd name="connsiteX1982" fmla="*/ 2226 w 10577"/>
                  <a:gd name="connsiteY1982" fmla="*/ 3513 h 10000"/>
                  <a:gd name="connsiteX1983" fmla="*/ 2207 w 10577"/>
                  <a:gd name="connsiteY1983" fmla="*/ 3504 h 10000"/>
                  <a:gd name="connsiteX1984" fmla="*/ 2194 w 10577"/>
                  <a:gd name="connsiteY1984" fmla="*/ 3504 h 10000"/>
                  <a:gd name="connsiteX1985" fmla="*/ 2189 w 10577"/>
                  <a:gd name="connsiteY1985" fmla="*/ 3504 h 10000"/>
                  <a:gd name="connsiteX1986" fmla="*/ 2189 w 10577"/>
                  <a:gd name="connsiteY1986" fmla="*/ 3530 h 10000"/>
                  <a:gd name="connsiteX1987" fmla="*/ 2180 w 10577"/>
                  <a:gd name="connsiteY1987" fmla="*/ 3538 h 10000"/>
                  <a:gd name="connsiteX1988" fmla="*/ 2152 w 10577"/>
                  <a:gd name="connsiteY1988" fmla="*/ 3581 h 10000"/>
                  <a:gd name="connsiteX1989" fmla="*/ 2161 w 10577"/>
                  <a:gd name="connsiteY1989" fmla="*/ 3598 h 10000"/>
                  <a:gd name="connsiteX1990" fmla="*/ 2194 w 10577"/>
                  <a:gd name="connsiteY1990" fmla="*/ 3752 h 10000"/>
                  <a:gd name="connsiteX1991" fmla="*/ 2194 w 10577"/>
                  <a:gd name="connsiteY1991" fmla="*/ 3735 h 10000"/>
                  <a:gd name="connsiteX1992" fmla="*/ 2198 w 10577"/>
                  <a:gd name="connsiteY1992" fmla="*/ 3735 h 10000"/>
                  <a:gd name="connsiteX1993" fmla="*/ 2189 w 10577"/>
                  <a:gd name="connsiteY1993" fmla="*/ 3838 h 10000"/>
                  <a:gd name="connsiteX1994" fmla="*/ 2166 w 10577"/>
                  <a:gd name="connsiteY1994" fmla="*/ 3889 h 10000"/>
                  <a:gd name="connsiteX1995" fmla="*/ 2124 w 10577"/>
                  <a:gd name="connsiteY1995" fmla="*/ 3889 h 10000"/>
                  <a:gd name="connsiteX1996" fmla="*/ 2124 w 10577"/>
                  <a:gd name="connsiteY1996" fmla="*/ 3923 h 10000"/>
                  <a:gd name="connsiteX1997" fmla="*/ 2134 w 10577"/>
                  <a:gd name="connsiteY1997" fmla="*/ 3940 h 10000"/>
                  <a:gd name="connsiteX1998" fmla="*/ 2134 w 10577"/>
                  <a:gd name="connsiteY1998" fmla="*/ 3966 h 10000"/>
                  <a:gd name="connsiteX1999" fmla="*/ 2120 w 10577"/>
                  <a:gd name="connsiteY1999" fmla="*/ 4000 h 10000"/>
                  <a:gd name="connsiteX2000" fmla="*/ 2106 w 10577"/>
                  <a:gd name="connsiteY2000" fmla="*/ 4009 h 10000"/>
                  <a:gd name="connsiteX2001" fmla="*/ 2088 w 10577"/>
                  <a:gd name="connsiteY2001" fmla="*/ 4000 h 10000"/>
                  <a:gd name="connsiteX2002" fmla="*/ 2074 w 10577"/>
                  <a:gd name="connsiteY2002" fmla="*/ 3974 h 10000"/>
                  <a:gd name="connsiteX2003" fmla="*/ 2074 w 10577"/>
                  <a:gd name="connsiteY2003" fmla="*/ 3940 h 10000"/>
                  <a:gd name="connsiteX2004" fmla="*/ 2078 w 10577"/>
                  <a:gd name="connsiteY2004" fmla="*/ 3915 h 10000"/>
                  <a:gd name="connsiteX2005" fmla="*/ 2088 w 10577"/>
                  <a:gd name="connsiteY2005" fmla="*/ 3889 h 10000"/>
                  <a:gd name="connsiteX2006" fmla="*/ 2101 w 10577"/>
                  <a:gd name="connsiteY2006" fmla="*/ 3872 h 10000"/>
                  <a:gd name="connsiteX2007" fmla="*/ 2074 w 10577"/>
                  <a:gd name="connsiteY2007" fmla="*/ 3812 h 10000"/>
                  <a:gd name="connsiteX2008" fmla="*/ 2074 w 10577"/>
                  <a:gd name="connsiteY2008" fmla="*/ 3786 h 10000"/>
                  <a:gd name="connsiteX2009" fmla="*/ 2060 w 10577"/>
                  <a:gd name="connsiteY2009" fmla="*/ 3786 h 10000"/>
                  <a:gd name="connsiteX2010" fmla="*/ 2014 w 10577"/>
                  <a:gd name="connsiteY2010" fmla="*/ 3829 h 10000"/>
                  <a:gd name="connsiteX2011" fmla="*/ 2000 w 10577"/>
                  <a:gd name="connsiteY2011" fmla="*/ 3863 h 10000"/>
                  <a:gd name="connsiteX2012" fmla="*/ 1986 w 10577"/>
                  <a:gd name="connsiteY2012" fmla="*/ 3872 h 10000"/>
                  <a:gd name="connsiteX2013" fmla="*/ 1959 w 10577"/>
                  <a:gd name="connsiteY2013" fmla="*/ 3940 h 10000"/>
                  <a:gd name="connsiteX2014" fmla="*/ 1945 w 10577"/>
                  <a:gd name="connsiteY2014" fmla="*/ 3949 h 10000"/>
                  <a:gd name="connsiteX2015" fmla="*/ 1940 w 10577"/>
                  <a:gd name="connsiteY2015" fmla="*/ 3923 h 10000"/>
                  <a:gd name="connsiteX2016" fmla="*/ 1917 w 10577"/>
                  <a:gd name="connsiteY2016" fmla="*/ 3915 h 10000"/>
                  <a:gd name="connsiteX2017" fmla="*/ 1899 w 10577"/>
                  <a:gd name="connsiteY2017" fmla="*/ 3923 h 10000"/>
                  <a:gd name="connsiteX2018" fmla="*/ 1880 w 10577"/>
                  <a:gd name="connsiteY2018" fmla="*/ 3915 h 10000"/>
                  <a:gd name="connsiteX2019" fmla="*/ 1853 w 10577"/>
                  <a:gd name="connsiteY2019" fmla="*/ 3940 h 10000"/>
                  <a:gd name="connsiteX2020" fmla="*/ 1839 w 10577"/>
                  <a:gd name="connsiteY2020" fmla="*/ 3940 h 10000"/>
                  <a:gd name="connsiteX2021" fmla="*/ 1806 w 10577"/>
                  <a:gd name="connsiteY2021" fmla="*/ 3983 h 10000"/>
                  <a:gd name="connsiteX2022" fmla="*/ 1806 w 10577"/>
                  <a:gd name="connsiteY2022" fmla="*/ 4000 h 10000"/>
                  <a:gd name="connsiteX2023" fmla="*/ 1797 w 10577"/>
                  <a:gd name="connsiteY2023" fmla="*/ 4077 h 10000"/>
                  <a:gd name="connsiteX2024" fmla="*/ 1783 w 10577"/>
                  <a:gd name="connsiteY2024" fmla="*/ 4077 h 10000"/>
                  <a:gd name="connsiteX2025" fmla="*/ 1779 w 10577"/>
                  <a:gd name="connsiteY2025" fmla="*/ 4051 h 10000"/>
                  <a:gd name="connsiteX2026" fmla="*/ 1765 w 10577"/>
                  <a:gd name="connsiteY2026" fmla="*/ 4026 h 10000"/>
                  <a:gd name="connsiteX2027" fmla="*/ 1751 w 10577"/>
                  <a:gd name="connsiteY2027" fmla="*/ 4051 h 10000"/>
                  <a:gd name="connsiteX2028" fmla="*/ 1737 w 10577"/>
                  <a:gd name="connsiteY2028" fmla="*/ 4009 h 10000"/>
                  <a:gd name="connsiteX2029" fmla="*/ 1737 w 10577"/>
                  <a:gd name="connsiteY2029" fmla="*/ 3966 h 10000"/>
                  <a:gd name="connsiteX2030" fmla="*/ 1733 w 10577"/>
                  <a:gd name="connsiteY2030" fmla="*/ 3940 h 10000"/>
                  <a:gd name="connsiteX2031" fmla="*/ 1733 w 10577"/>
                  <a:gd name="connsiteY2031" fmla="*/ 3923 h 10000"/>
                  <a:gd name="connsiteX2032" fmla="*/ 1747 w 10577"/>
                  <a:gd name="connsiteY2032" fmla="*/ 3889 h 10000"/>
                  <a:gd name="connsiteX2033" fmla="*/ 1747 w 10577"/>
                  <a:gd name="connsiteY2033" fmla="*/ 3863 h 10000"/>
                  <a:gd name="connsiteX2034" fmla="*/ 1737 w 10577"/>
                  <a:gd name="connsiteY2034" fmla="*/ 3838 h 10000"/>
                  <a:gd name="connsiteX2035" fmla="*/ 1733 w 10577"/>
                  <a:gd name="connsiteY2035" fmla="*/ 3829 h 10000"/>
                  <a:gd name="connsiteX2036" fmla="*/ 1733 w 10577"/>
                  <a:gd name="connsiteY2036" fmla="*/ 3846 h 10000"/>
                  <a:gd name="connsiteX2037" fmla="*/ 1724 w 10577"/>
                  <a:gd name="connsiteY2037" fmla="*/ 3846 h 10000"/>
                  <a:gd name="connsiteX2038" fmla="*/ 1724 w 10577"/>
                  <a:gd name="connsiteY2038" fmla="*/ 3829 h 10000"/>
                  <a:gd name="connsiteX2039" fmla="*/ 1737 w 10577"/>
                  <a:gd name="connsiteY2039" fmla="*/ 3812 h 10000"/>
                  <a:gd name="connsiteX2040" fmla="*/ 1765 w 10577"/>
                  <a:gd name="connsiteY2040" fmla="*/ 3812 h 10000"/>
                  <a:gd name="connsiteX2041" fmla="*/ 1779 w 10577"/>
                  <a:gd name="connsiteY2041" fmla="*/ 3786 h 10000"/>
                  <a:gd name="connsiteX2042" fmla="*/ 1779 w 10577"/>
                  <a:gd name="connsiteY2042" fmla="*/ 3786 h 10000"/>
                  <a:gd name="connsiteX2043" fmla="*/ 1751 w 10577"/>
                  <a:gd name="connsiteY2043" fmla="*/ 3803 h 10000"/>
                  <a:gd name="connsiteX2044" fmla="*/ 1747 w 10577"/>
                  <a:gd name="connsiteY2044" fmla="*/ 3803 h 10000"/>
                  <a:gd name="connsiteX2045" fmla="*/ 1724 w 10577"/>
                  <a:gd name="connsiteY2045" fmla="*/ 3803 h 10000"/>
                  <a:gd name="connsiteX2046" fmla="*/ 1700 w 10577"/>
                  <a:gd name="connsiteY2046" fmla="*/ 3829 h 10000"/>
                  <a:gd name="connsiteX2047" fmla="*/ 1705 w 10577"/>
                  <a:gd name="connsiteY2047" fmla="*/ 3846 h 10000"/>
                  <a:gd name="connsiteX2048" fmla="*/ 1691 w 10577"/>
                  <a:gd name="connsiteY2048" fmla="*/ 3846 h 10000"/>
                  <a:gd name="connsiteX2049" fmla="*/ 1691 w 10577"/>
                  <a:gd name="connsiteY2049" fmla="*/ 3863 h 10000"/>
                  <a:gd name="connsiteX2050" fmla="*/ 1691 w 10577"/>
                  <a:gd name="connsiteY2050" fmla="*/ 3915 h 10000"/>
                  <a:gd name="connsiteX2051" fmla="*/ 1677 w 10577"/>
                  <a:gd name="connsiteY2051" fmla="*/ 3923 h 10000"/>
                  <a:gd name="connsiteX2052" fmla="*/ 1673 w 10577"/>
                  <a:gd name="connsiteY2052" fmla="*/ 3915 h 10000"/>
                  <a:gd name="connsiteX2053" fmla="*/ 1664 w 10577"/>
                  <a:gd name="connsiteY2053" fmla="*/ 3889 h 10000"/>
                  <a:gd name="connsiteX2054" fmla="*/ 1673 w 10577"/>
                  <a:gd name="connsiteY2054" fmla="*/ 3872 h 10000"/>
                  <a:gd name="connsiteX2055" fmla="*/ 1664 w 10577"/>
                  <a:gd name="connsiteY2055" fmla="*/ 3872 h 10000"/>
                  <a:gd name="connsiteX2056" fmla="*/ 1636 w 10577"/>
                  <a:gd name="connsiteY2056" fmla="*/ 3923 h 10000"/>
                  <a:gd name="connsiteX2057" fmla="*/ 1645 w 10577"/>
                  <a:gd name="connsiteY2057" fmla="*/ 3923 h 10000"/>
                  <a:gd name="connsiteX2058" fmla="*/ 1650 w 10577"/>
                  <a:gd name="connsiteY2058" fmla="*/ 3949 h 10000"/>
                  <a:gd name="connsiteX2059" fmla="*/ 1650 w 10577"/>
                  <a:gd name="connsiteY2059" fmla="*/ 3983 h 10000"/>
                  <a:gd name="connsiteX2060" fmla="*/ 1636 w 10577"/>
                  <a:gd name="connsiteY2060" fmla="*/ 4000 h 10000"/>
                  <a:gd name="connsiteX2061" fmla="*/ 1631 w 10577"/>
                  <a:gd name="connsiteY2061" fmla="*/ 4009 h 10000"/>
                  <a:gd name="connsiteX2062" fmla="*/ 1618 w 10577"/>
                  <a:gd name="connsiteY2062" fmla="*/ 3949 h 10000"/>
                  <a:gd name="connsiteX2063" fmla="*/ 1585 w 10577"/>
                  <a:gd name="connsiteY2063" fmla="*/ 3966 h 10000"/>
                  <a:gd name="connsiteX2064" fmla="*/ 1590 w 10577"/>
                  <a:gd name="connsiteY2064" fmla="*/ 3974 h 10000"/>
                  <a:gd name="connsiteX2065" fmla="*/ 1544 w 10577"/>
                  <a:gd name="connsiteY2065" fmla="*/ 4009 h 10000"/>
                  <a:gd name="connsiteX2066" fmla="*/ 1539 w 10577"/>
                  <a:gd name="connsiteY2066" fmla="*/ 4009 h 10000"/>
                  <a:gd name="connsiteX2067" fmla="*/ 1410 w 10577"/>
                  <a:gd name="connsiteY2067" fmla="*/ 4188 h 10000"/>
                  <a:gd name="connsiteX2068" fmla="*/ 1406 w 10577"/>
                  <a:gd name="connsiteY2068" fmla="*/ 4171 h 10000"/>
                  <a:gd name="connsiteX2069" fmla="*/ 1396 w 10577"/>
                  <a:gd name="connsiteY2069" fmla="*/ 4214 h 10000"/>
                  <a:gd name="connsiteX2070" fmla="*/ 1406 w 10577"/>
                  <a:gd name="connsiteY2070" fmla="*/ 4222 h 10000"/>
                  <a:gd name="connsiteX2071" fmla="*/ 1392 w 10577"/>
                  <a:gd name="connsiteY2071" fmla="*/ 4239 h 10000"/>
                  <a:gd name="connsiteX2072" fmla="*/ 1369 w 10577"/>
                  <a:gd name="connsiteY2072" fmla="*/ 4248 h 10000"/>
                  <a:gd name="connsiteX2073" fmla="*/ 1355 w 10577"/>
                  <a:gd name="connsiteY2073" fmla="*/ 4256 h 10000"/>
                  <a:gd name="connsiteX2074" fmla="*/ 1350 w 10577"/>
                  <a:gd name="connsiteY2074" fmla="*/ 4248 h 10000"/>
                  <a:gd name="connsiteX2075" fmla="*/ 1332 w 10577"/>
                  <a:gd name="connsiteY2075" fmla="*/ 4376 h 10000"/>
                  <a:gd name="connsiteX2076" fmla="*/ 1332 w 10577"/>
                  <a:gd name="connsiteY2076" fmla="*/ 4436 h 10000"/>
                  <a:gd name="connsiteX2077" fmla="*/ 1323 w 10577"/>
                  <a:gd name="connsiteY2077" fmla="*/ 4462 h 10000"/>
                  <a:gd name="connsiteX2078" fmla="*/ 1304 w 10577"/>
                  <a:gd name="connsiteY2078" fmla="*/ 4487 h 10000"/>
                  <a:gd name="connsiteX2079" fmla="*/ 1290 w 10577"/>
                  <a:gd name="connsiteY2079" fmla="*/ 4470 h 10000"/>
                  <a:gd name="connsiteX2080" fmla="*/ 1263 w 10577"/>
                  <a:gd name="connsiteY2080" fmla="*/ 4496 h 10000"/>
                  <a:gd name="connsiteX2081" fmla="*/ 1258 w 10577"/>
                  <a:gd name="connsiteY2081" fmla="*/ 4547 h 10000"/>
                  <a:gd name="connsiteX2082" fmla="*/ 1249 w 10577"/>
                  <a:gd name="connsiteY2082" fmla="*/ 4487 h 10000"/>
                  <a:gd name="connsiteX2083" fmla="*/ 1235 w 10577"/>
                  <a:gd name="connsiteY2083" fmla="*/ 4496 h 10000"/>
                  <a:gd name="connsiteX2084" fmla="*/ 1221 w 10577"/>
                  <a:gd name="connsiteY2084" fmla="*/ 4496 h 10000"/>
                  <a:gd name="connsiteX2085" fmla="*/ 1217 w 10577"/>
                  <a:gd name="connsiteY2085" fmla="*/ 4487 h 10000"/>
                  <a:gd name="connsiteX2086" fmla="*/ 1198 w 10577"/>
                  <a:gd name="connsiteY2086" fmla="*/ 4410 h 10000"/>
                  <a:gd name="connsiteX2087" fmla="*/ 1157 w 10577"/>
                  <a:gd name="connsiteY2087" fmla="*/ 4333 h 10000"/>
                  <a:gd name="connsiteX2088" fmla="*/ 1147 w 10577"/>
                  <a:gd name="connsiteY2088" fmla="*/ 4299 h 10000"/>
                  <a:gd name="connsiteX2089" fmla="*/ 1147 w 10577"/>
                  <a:gd name="connsiteY2089" fmla="*/ 4274 h 10000"/>
                  <a:gd name="connsiteX2090" fmla="*/ 1161 w 10577"/>
                  <a:gd name="connsiteY2090" fmla="*/ 4256 h 10000"/>
                  <a:gd name="connsiteX2091" fmla="*/ 1171 w 10577"/>
                  <a:gd name="connsiteY2091" fmla="*/ 4248 h 10000"/>
                  <a:gd name="connsiteX2092" fmla="*/ 1175 w 10577"/>
                  <a:gd name="connsiteY2092" fmla="*/ 4214 h 10000"/>
                  <a:gd name="connsiteX2093" fmla="*/ 1263 w 10577"/>
                  <a:gd name="connsiteY2093" fmla="*/ 4171 h 10000"/>
                  <a:gd name="connsiteX2094" fmla="*/ 1249 w 10577"/>
                  <a:gd name="connsiteY2094" fmla="*/ 4137 h 10000"/>
                  <a:gd name="connsiteX2095" fmla="*/ 1244 w 10577"/>
                  <a:gd name="connsiteY2095" fmla="*/ 4060 h 10000"/>
                  <a:gd name="connsiteX2096" fmla="*/ 1230 w 10577"/>
                  <a:gd name="connsiteY2096" fmla="*/ 4077 h 10000"/>
                  <a:gd name="connsiteX2097" fmla="*/ 1221 w 10577"/>
                  <a:gd name="connsiteY2097" fmla="*/ 4026 h 10000"/>
                  <a:gd name="connsiteX2098" fmla="*/ 1217 w 10577"/>
                  <a:gd name="connsiteY2098" fmla="*/ 4026 h 10000"/>
                  <a:gd name="connsiteX2099" fmla="*/ 1212 w 10577"/>
                  <a:gd name="connsiteY2099" fmla="*/ 3983 h 10000"/>
                  <a:gd name="connsiteX2100" fmla="*/ 1203 w 10577"/>
                  <a:gd name="connsiteY2100" fmla="*/ 3966 h 10000"/>
                  <a:gd name="connsiteX2101" fmla="*/ 1171 w 10577"/>
                  <a:gd name="connsiteY2101" fmla="*/ 3949 h 10000"/>
                  <a:gd name="connsiteX2102" fmla="*/ 1111 w 10577"/>
                  <a:gd name="connsiteY2102" fmla="*/ 3940 h 10000"/>
                  <a:gd name="connsiteX2103" fmla="*/ 1097 w 10577"/>
                  <a:gd name="connsiteY2103" fmla="*/ 3949 h 10000"/>
                  <a:gd name="connsiteX2104" fmla="*/ 1037 w 10577"/>
                  <a:gd name="connsiteY2104" fmla="*/ 3897 h 10000"/>
                  <a:gd name="connsiteX2105" fmla="*/ 1041 w 10577"/>
                  <a:gd name="connsiteY2105" fmla="*/ 3923 h 10000"/>
                  <a:gd name="connsiteX2106" fmla="*/ 1097 w 10577"/>
                  <a:gd name="connsiteY2106" fmla="*/ 4009 h 10000"/>
                  <a:gd name="connsiteX2107" fmla="*/ 1097 w 10577"/>
                  <a:gd name="connsiteY2107" fmla="*/ 4120 h 10000"/>
                  <a:gd name="connsiteX2108" fmla="*/ 1097 w 10577"/>
                  <a:gd name="connsiteY2108" fmla="*/ 4162 h 10000"/>
                  <a:gd name="connsiteX2109" fmla="*/ 1097 w 10577"/>
                  <a:gd name="connsiteY2109" fmla="*/ 4197 h 10000"/>
                  <a:gd name="connsiteX2110" fmla="*/ 1074 w 10577"/>
                  <a:gd name="connsiteY2110" fmla="*/ 4333 h 10000"/>
                  <a:gd name="connsiteX2111" fmla="*/ 1074 w 10577"/>
                  <a:gd name="connsiteY2111" fmla="*/ 4376 h 10000"/>
                  <a:gd name="connsiteX2112" fmla="*/ 1083 w 10577"/>
                  <a:gd name="connsiteY2112" fmla="*/ 4385 h 10000"/>
                  <a:gd name="connsiteX2113" fmla="*/ 1097 w 10577"/>
                  <a:gd name="connsiteY2113" fmla="*/ 4385 h 10000"/>
                  <a:gd name="connsiteX2114" fmla="*/ 1111 w 10577"/>
                  <a:gd name="connsiteY2114" fmla="*/ 4410 h 10000"/>
                  <a:gd name="connsiteX2115" fmla="*/ 1124 w 10577"/>
                  <a:gd name="connsiteY2115" fmla="*/ 4444 h 10000"/>
                  <a:gd name="connsiteX2116" fmla="*/ 1124 w 10577"/>
                  <a:gd name="connsiteY2116" fmla="*/ 4470 h 10000"/>
                  <a:gd name="connsiteX2117" fmla="*/ 1115 w 10577"/>
                  <a:gd name="connsiteY2117" fmla="*/ 4513 h 10000"/>
                  <a:gd name="connsiteX2118" fmla="*/ 1115 w 10577"/>
                  <a:gd name="connsiteY2118" fmla="*/ 4530 h 10000"/>
                  <a:gd name="connsiteX2119" fmla="*/ 1115 w 10577"/>
                  <a:gd name="connsiteY2119" fmla="*/ 4573 h 10000"/>
                  <a:gd name="connsiteX2120" fmla="*/ 1101 w 10577"/>
                  <a:gd name="connsiteY2120" fmla="*/ 4607 h 10000"/>
                  <a:gd name="connsiteX2121" fmla="*/ 1097 w 10577"/>
                  <a:gd name="connsiteY2121" fmla="*/ 4658 h 10000"/>
                  <a:gd name="connsiteX2122" fmla="*/ 1101 w 10577"/>
                  <a:gd name="connsiteY2122" fmla="*/ 4692 h 10000"/>
                  <a:gd name="connsiteX2123" fmla="*/ 1097 w 10577"/>
                  <a:gd name="connsiteY2123" fmla="*/ 4778 h 10000"/>
                  <a:gd name="connsiteX2124" fmla="*/ 1083 w 10577"/>
                  <a:gd name="connsiteY2124" fmla="*/ 4744 h 10000"/>
                  <a:gd name="connsiteX2125" fmla="*/ 1083 w 10577"/>
                  <a:gd name="connsiteY2125" fmla="*/ 4718 h 10000"/>
                  <a:gd name="connsiteX2126" fmla="*/ 1074 w 10577"/>
                  <a:gd name="connsiteY2126" fmla="*/ 4692 h 10000"/>
                  <a:gd name="connsiteX2127" fmla="*/ 1065 w 10577"/>
                  <a:gd name="connsiteY2127" fmla="*/ 4692 h 10000"/>
                  <a:gd name="connsiteX2128" fmla="*/ 1051 w 10577"/>
                  <a:gd name="connsiteY2128" fmla="*/ 4718 h 10000"/>
                  <a:gd name="connsiteX2129" fmla="*/ 1055 w 10577"/>
                  <a:gd name="connsiteY2129" fmla="*/ 4692 h 10000"/>
                  <a:gd name="connsiteX2130" fmla="*/ 1055 w 10577"/>
                  <a:gd name="connsiteY2130" fmla="*/ 4667 h 10000"/>
                  <a:gd name="connsiteX2131" fmla="*/ 1028 w 10577"/>
                  <a:gd name="connsiteY2131" fmla="*/ 4624 h 10000"/>
                  <a:gd name="connsiteX2132" fmla="*/ 1005 w 10577"/>
                  <a:gd name="connsiteY2132" fmla="*/ 4624 h 10000"/>
                  <a:gd name="connsiteX2133" fmla="*/ 977 w 10577"/>
                  <a:gd name="connsiteY2133" fmla="*/ 4581 h 10000"/>
                  <a:gd name="connsiteX2134" fmla="*/ 963 w 10577"/>
                  <a:gd name="connsiteY2134" fmla="*/ 4607 h 10000"/>
                  <a:gd name="connsiteX2135" fmla="*/ 963 w 10577"/>
                  <a:gd name="connsiteY2135" fmla="*/ 4632 h 10000"/>
                  <a:gd name="connsiteX2136" fmla="*/ 917 w 10577"/>
                  <a:gd name="connsiteY2136" fmla="*/ 4718 h 10000"/>
                  <a:gd name="connsiteX2137" fmla="*/ 889 w 10577"/>
                  <a:gd name="connsiteY2137" fmla="*/ 4744 h 10000"/>
                  <a:gd name="connsiteX2138" fmla="*/ 880 w 10577"/>
                  <a:gd name="connsiteY2138" fmla="*/ 4744 h 10000"/>
                  <a:gd name="connsiteX2139" fmla="*/ 862 w 10577"/>
                  <a:gd name="connsiteY2139" fmla="*/ 4769 h 10000"/>
                  <a:gd name="connsiteX2140" fmla="*/ 857 w 10577"/>
                  <a:gd name="connsiteY2140" fmla="*/ 4795 h 10000"/>
                  <a:gd name="connsiteX2141" fmla="*/ 829 w 10577"/>
                  <a:gd name="connsiteY2141" fmla="*/ 4846 h 10000"/>
                  <a:gd name="connsiteX2142" fmla="*/ 816 w 10577"/>
                  <a:gd name="connsiteY2142" fmla="*/ 4855 h 10000"/>
                  <a:gd name="connsiteX2143" fmla="*/ 816 w 10577"/>
                  <a:gd name="connsiteY2143" fmla="*/ 4940 h 10000"/>
                  <a:gd name="connsiteX2144" fmla="*/ 880 w 10577"/>
                  <a:gd name="connsiteY2144" fmla="*/ 5179 h 10000"/>
                  <a:gd name="connsiteX2145" fmla="*/ 880 w 10577"/>
                  <a:gd name="connsiteY2145" fmla="*/ 5188 h 10000"/>
                  <a:gd name="connsiteX2146" fmla="*/ 862 w 10577"/>
                  <a:gd name="connsiteY2146" fmla="*/ 5171 h 10000"/>
                  <a:gd name="connsiteX2147" fmla="*/ 857 w 10577"/>
                  <a:gd name="connsiteY2147" fmla="*/ 5171 h 10000"/>
                  <a:gd name="connsiteX2148" fmla="*/ 820 w 10577"/>
                  <a:gd name="connsiteY2148" fmla="*/ 5145 h 10000"/>
                  <a:gd name="connsiteX2149" fmla="*/ 820 w 10577"/>
                  <a:gd name="connsiteY2149" fmla="*/ 5154 h 10000"/>
                  <a:gd name="connsiteX2150" fmla="*/ 816 w 10577"/>
                  <a:gd name="connsiteY2150" fmla="*/ 5171 h 10000"/>
                  <a:gd name="connsiteX2151" fmla="*/ 783 w 10577"/>
                  <a:gd name="connsiteY2151" fmla="*/ 5145 h 10000"/>
                  <a:gd name="connsiteX2152" fmla="*/ 756 w 10577"/>
                  <a:gd name="connsiteY2152" fmla="*/ 5103 h 10000"/>
                  <a:gd name="connsiteX2153" fmla="*/ 742 w 10577"/>
                  <a:gd name="connsiteY2153" fmla="*/ 5103 h 10000"/>
                  <a:gd name="connsiteX2154" fmla="*/ 728 w 10577"/>
                  <a:gd name="connsiteY2154" fmla="*/ 5094 h 10000"/>
                  <a:gd name="connsiteX2155" fmla="*/ 710 w 10577"/>
                  <a:gd name="connsiteY2155" fmla="*/ 5120 h 10000"/>
                  <a:gd name="connsiteX2156" fmla="*/ 700 w 10577"/>
                  <a:gd name="connsiteY2156" fmla="*/ 5145 h 10000"/>
                  <a:gd name="connsiteX2157" fmla="*/ 696 w 10577"/>
                  <a:gd name="connsiteY2157" fmla="*/ 5103 h 10000"/>
                  <a:gd name="connsiteX2158" fmla="*/ 714 w 10577"/>
                  <a:gd name="connsiteY2158" fmla="*/ 5077 h 10000"/>
                  <a:gd name="connsiteX2159" fmla="*/ 682 w 10577"/>
                  <a:gd name="connsiteY2159" fmla="*/ 5068 h 10000"/>
                  <a:gd name="connsiteX2160" fmla="*/ 673 w 10577"/>
                  <a:gd name="connsiteY2160" fmla="*/ 5034 h 10000"/>
                  <a:gd name="connsiteX2161" fmla="*/ 636 w 10577"/>
                  <a:gd name="connsiteY2161" fmla="*/ 4991 h 10000"/>
                  <a:gd name="connsiteX2162" fmla="*/ 622 w 10577"/>
                  <a:gd name="connsiteY2162" fmla="*/ 4983 h 10000"/>
                  <a:gd name="connsiteX2163" fmla="*/ 622 w 10577"/>
                  <a:gd name="connsiteY2163" fmla="*/ 5034 h 10000"/>
                  <a:gd name="connsiteX2164" fmla="*/ 608 w 10577"/>
                  <a:gd name="connsiteY2164" fmla="*/ 5051 h 10000"/>
                  <a:gd name="connsiteX2165" fmla="*/ 594 w 10577"/>
                  <a:gd name="connsiteY2165" fmla="*/ 5068 h 10000"/>
                  <a:gd name="connsiteX2166" fmla="*/ 608 w 10577"/>
                  <a:gd name="connsiteY2166" fmla="*/ 5120 h 10000"/>
                  <a:gd name="connsiteX2167" fmla="*/ 613 w 10577"/>
                  <a:gd name="connsiteY2167" fmla="*/ 5128 h 10000"/>
                  <a:gd name="connsiteX2168" fmla="*/ 627 w 10577"/>
                  <a:gd name="connsiteY2168" fmla="*/ 5179 h 10000"/>
                  <a:gd name="connsiteX2169" fmla="*/ 650 w 10577"/>
                  <a:gd name="connsiteY2169" fmla="*/ 5214 h 10000"/>
                  <a:gd name="connsiteX2170" fmla="*/ 687 w 10577"/>
                  <a:gd name="connsiteY2170" fmla="*/ 5188 h 10000"/>
                  <a:gd name="connsiteX2171" fmla="*/ 700 w 10577"/>
                  <a:gd name="connsiteY2171" fmla="*/ 5325 h 10000"/>
                  <a:gd name="connsiteX2172" fmla="*/ 710 w 10577"/>
                  <a:gd name="connsiteY2172" fmla="*/ 5350 h 10000"/>
                  <a:gd name="connsiteX2173" fmla="*/ 687 w 10577"/>
                  <a:gd name="connsiteY2173" fmla="*/ 5325 h 10000"/>
                  <a:gd name="connsiteX2174" fmla="*/ 668 w 10577"/>
                  <a:gd name="connsiteY2174" fmla="*/ 5350 h 10000"/>
                  <a:gd name="connsiteX2175" fmla="*/ 668 w 10577"/>
                  <a:gd name="connsiteY2175" fmla="*/ 5368 h 10000"/>
                  <a:gd name="connsiteX2176" fmla="*/ 668 w 10577"/>
                  <a:gd name="connsiteY2176" fmla="*/ 5376 h 10000"/>
                  <a:gd name="connsiteX2177" fmla="*/ 581 w 10577"/>
                  <a:gd name="connsiteY2177" fmla="*/ 5316 h 10000"/>
                  <a:gd name="connsiteX2178" fmla="*/ 567 w 10577"/>
                  <a:gd name="connsiteY2178" fmla="*/ 5265 h 10000"/>
                  <a:gd name="connsiteX2179" fmla="*/ 562 w 10577"/>
                  <a:gd name="connsiteY2179" fmla="*/ 5256 h 10000"/>
                  <a:gd name="connsiteX2180" fmla="*/ 548 w 10577"/>
                  <a:gd name="connsiteY2180" fmla="*/ 5231 h 10000"/>
                  <a:gd name="connsiteX2181" fmla="*/ 535 w 10577"/>
                  <a:gd name="connsiteY2181" fmla="*/ 5214 h 10000"/>
                  <a:gd name="connsiteX2182" fmla="*/ 525 w 10577"/>
                  <a:gd name="connsiteY2182" fmla="*/ 5231 h 10000"/>
                  <a:gd name="connsiteX2183" fmla="*/ 521 w 10577"/>
                  <a:gd name="connsiteY2183" fmla="*/ 5231 h 10000"/>
                  <a:gd name="connsiteX2184" fmla="*/ 493 w 10577"/>
                  <a:gd name="connsiteY2184" fmla="*/ 5205 h 10000"/>
                  <a:gd name="connsiteX2185" fmla="*/ 488 w 10577"/>
                  <a:gd name="connsiteY2185" fmla="*/ 5179 h 10000"/>
                  <a:gd name="connsiteX2186" fmla="*/ 475 w 10577"/>
                  <a:gd name="connsiteY2186" fmla="*/ 5188 h 10000"/>
                  <a:gd name="connsiteX2187" fmla="*/ 475 w 10577"/>
                  <a:gd name="connsiteY2187" fmla="*/ 5171 h 10000"/>
                  <a:gd name="connsiteX2188" fmla="*/ 488 w 10577"/>
                  <a:gd name="connsiteY2188" fmla="*/ 5154 h 10000"/>
                  <a:gd name="connsiteX2189" fmla="*/ 488 w 10577"/>
                  <a:gd name="connsiteY2189" fmla="*/ 5068 h 10000"/>
                  <a:gd name="connsiteX2190" fmla="*/ 475 w 10577"/>
                  <a:gd name="connsiteY2190" fmla="*/ 5051 h 10000"/>
                  <a:gd name="connsiteX2191" fmla="*/ 475 w 10577"/>
                  <a:gd name="connsiteY2191" fmla="*/ 5017 h 10000"/>
                  <a:gd name="connsiteX2192" fmla="*/ 452 w 10577"/>
                  <a:gd name="connsiteY2192" fmla="*/ 4932 h 10000"/>
                  <a:gd name="connsiteX2193" fmla="*/ 461 w 10577"/>
                  <a:gd name="connsiteY2193" fmla="*/ 4915 h 10000"/>
                  <a:gd name="connsiteX2194" fmla="*/ 475 w 10577"/>
                  <a:gd name="connsiteY2194" fmla="*/ 4906 h 10000"/>
                  <a:gd name="connsiteX2195" fmla="*/ 479 w 10577"/>
                  <a:gd name="connsiteY2195" fmla="*/ 4803 h 10000"/>
                  <a:gd name="connsiteX2196" fmla="*/ 479 w 10577"/>
                  <a:gd name="connsiteY2196" fmla="*/ 4778 h 10000"/>
                  <a:gd name="connsiteX2197" fmla="*/ 475 w 10577"/>
                  <a:gd name="connsiteY2197" fmla="*/ 4761 h 10000"/>
                  <a:gd name="connsiteX2198" fmla="*/ 465 w 10577"/>
                  <a:gd name="connsiteY2198" fmla="*/ 4718 h 10000"/>
                  <a:gd name="connsiteX2199" fmla="*/ 461 w 10577"/>
                  <a:gd name="connsiteY2199" fmla="*/ 4709 h 10000"/>
                  <a:gd name="connsiteX2200" fmla="*/ 442 w 10577"/>
                  <a:gd name="connsiteY2200" fmla="*/ 4692 h 10000"/>
                  <a:gd name="connsiteX2201" fmla="*/ 433 w 10577"/>
                  <a:gd name="connsiteY2201" fmla="*/ 4667 h 10000"/>
                  <a:gd name="connsiteX2202" fmla="*/ 419 w 10577"/>
                  <a:gd name="connsiteY2202" fmla="*/ 4667 h 10000"/>
                  <a:gd name="connsiteX2203" fmla="*/ 401 w 10577"/>
                  <a:gd name="connsiteY2203" fmla="*/ 4658 h 10000"/>
                  <a:gd name="connsiteX2204" fmla="*/ 401 w 10577"/>
                  <a:gd name="connsiteY2204" fmla="*/ 4624 h 10000"/>
                  <a:gd name="connsiteX2205" fmla="*/ 401 w 10577"/>
                  <a:gd name="connsiteY2205" fmla="*/ 4607 h 10000"/>
                  <a:gd name="connsiteX2206" fmla="*/ 378 w 10577"/>
                  <a:gd name="connsiteY2206" fmla="*/ 4607 h 10000"/>
                  <a:gd name="connsiteX2207" fmla="*/ 341 w 10577"/>
                  <a:gd name="connsiteY2207" fmla="*/ 4530 h 10000"/>
                  <a:gd name="connsiteX2208" fmla="*/ 346 w 10577"/>
                  <a:gd name="connsiteY2208" fmla="*/ 4521 h 10000"/>
                  <a:gd name="connsiteX2209" fmla="*/ 332 w 10577"/>
                  <a:gd name="connsiteY2209" fmla="*/ 4487 h 10000"/>
                  <a:gd name="connsiteX2210" fmla="*/ 327 w 10577"/>
                  <a:gd name="connsiteY2210" fmla="*/ 4462 h 10000"/>
                  <a:gd name="connsiteX2211" fmla="*/ 313 w 10577"/>
                  <a:gd name="connsiteY2211" fmla="*/ 4436 h 10000"/>
                  <a:gd name="connsiteX2212" fmla="*/ 300 w 10577"/>
                  <a:gd name="connsiteY2212" fmla="*/ 4419 h 10000"/>
                  <a:gd name="connsiteX2213" fmla="*/ 309 w 10577"/>
                  <a:gd name="connsiteY2213" fmla="*/ 4393 h 10000"/>
                  <a:gd name="connsiteX2214" fmla="*/ 332 w 10577"/>
                  <a:gd name="connsiteY2214" fmla="*/ 4385 h 10000"/>
                  <a:gd name="connsiteX2215" fmla="*/ 355 w 10577"/>
                  <a:gd name="connsiteY2215" fmla="*/ 4419 h 10000"/>
                  <a:gd name="connsiteX2216" fmla="*/ 355 w 10577"/>
                  <a:gd name="connsiteY2216" fmla="*/ 4444 h 10000"/>
                  <a:gd name="connsiteX2217" fmla="*/ 369 w 10577"/>
                  <a:gd name="connsiteY2217" fmla="*/ 4470 h 10000"/>
                  <a:gd name="connsiteX2218" fmla="*/ 401 w 10577"/>
                  <a:gd name="connsiteY2218" fmla="*/ 4521 h 10000"/>
                  <a:gd name="connsiteX2219" fmla="*/ 406 w 10577"/>
                  <a:gd name="connsiteY2219" fmla="*/ 4513 h 10000"/>
                  <a:gd name="connsiteX2220" fmla="*/ 406 w 10577"/>
                  <a:gd name="connsiteY2220" fmla="*/ 4496 h 10000"/>
                  <a:gd name="connsiteX2221" fmla="*/ 419 w 10577"/>
                  <a:gd name="connsiteY2221" fmla="*/ 4521 h 10000"/>
                  <a:gd name="connsiteX2222" fmla="*/ 429 w 10577"/>
                  <a:gd name="connsiteY2222" fmla="*/ 4530 h 10000"/>
                  <a:gd name="connsiteX2223" fmla="*/ 433 w 10577"/>
                  <a:gd name="connsiteY2223" fmla="*/ 4521 h 10000"/>
                  <a:gd name="connsiteX2224" fmla="*/ 442 w 10577"/>
                  <a:gd name="connsiteY2224" fmla="*/ 4530 h 10000"/>
                  <a:gd name="connsiteX2225" fmla="*/ 447 w 10577"/>
                  <a:gd name="connsiteY2225" fmla="*/ 4521 h 10000"/>
                  <a:gd name="connsiteX2226" fmla="*/ 452 w 10577"/>
                  <a:gd name="connsiteY2226" fmla="*/ 4521 h 10000"/>
                  <a:gd name="connsiteX2227" fmla="*/ 461 w 10577"/>
                  <a:gd name="connsiteY2227" fmla="*/ 4573 h 10000"/>
                  <a:gd name="connsiteX2228" fmla="*/ 479 w 10577"/>
                  <a:gd name="connsiteY2228" fmla="*/ 4556 h 10000"/>
                  <a:gd name="connsiteX2229" fmla="*/ 502 w 10577"/>
                  <a:gd name="connsiteY2229" fmla="*/ 4573 h 10000"/>
                  <a:gd name="connsiteX2230" fmla="*/ 507 w 10577"/>
                  <a:gd name="connsiteY2230" fmla="*/ 4598 h 10000"/>
                  <a:gd name="connsiteX2231" fmla="*/ 525 w 10577"/>
                  <a:gd name="connsiteY2231" fmla="*/ 4598 h 10000"/>
                  <a:gd name="connsiteX2232" fmla="*/ 535 w 10577"/>
                  <a:gd name="connsiteY2232" fmla="*/ 4624 h 10000"/>
                  <a:gd name="connsiteX2233" fmla="*/ 594 w 10577"/>
                  <a:gd name="connsiteY2233" fmla="*/ 4658 h 10000"/>
                  <a:gd name="connsiteX2234" fmla="*/ 627 w 10577"/>
                  <a:gd name="connsiteY2234" fmla="*/ 4658 h 10000"/>
                  <a:gd name="connsiteX2235" fmla="*/ 654 w 10577"/>
                  <a:gd name="connsiteY2235" fmla="*/ 4684 h 10000"/>
                  <a:gd name="connsiteX2236" fmla="*/ 668 w 10577"/>
                  <a:gd name="connsiteY2236" fmla="*/ 4709 h 10000"/>
                  <a:gd name="connsiteX2237" fmla="*/ 747 w 10577"/>
                  <a:gd name="connsiteY2237" fmla="*/ 4718 h 10000"/>
                  <a:gd name="connsiteX2238" fmla="*/ 760 w 10577"/>
                  <a:gd name="connsiteY2238" fmla="*/ 4709 h 10000"/>
                  <a:gd name="connsiteX2239" fmla="*/ 774 w 10577"/>
                  <a:gd name="connsiteY2239" fmla="*/ 4692 h 10000"/>
                  <a:gd name="connsiteX2240" fmla="*/ 829 w 10577"/>
                  <a:gd name="connsiteY2240" fmla="*/ 4658 h 10000"/>
                  <a:gd name="connsiteX2241" fmla="*/ 903 w 10577"/>
                  <a:gd name="connsiteY2241" fmla="*/ 4496 h 10000"/>
                  <a:gd name="connsiteX2242" fmla="*/ 917 w 10577"/>
                  <a:gd name="connsiteY2242" fmla="*/ 4385 h 10000"/>
                  <a:gd name="connsiteX2243" fmla="*/ 903 w 10577"/>
                  <a:gd name="connsiteY2243" fmla="*/ 4376 h 10000"/>
                  <a:gd name="connsiteX2244" fmla="*/ 903 w 10577"/>
                  <a:gd name="connsiteY2244" fmla="*/ 4376 h 10000"/>
                  <a:gd name="connsiteX2245" fmla="*/ 889 w 10577"/>
                  <a:gd name="connsiteY2245" fmla="*/ 4239 h 10000"/>
                  <a:gd name="connsiteX2246" fmla="*/ 880 w 10577"/>
                  <a:gd name="connsiteY2246" fmla="*/ 4214 h 10000"/>
                  <a:gd name="connsiteX2247" fmla="*/ 862 w 10577"/>
                  <a:gd name="connsiteY2247" fmla="*/ 4188 h 10000"/>
                  <a:gd name="connsiteX2248" fmla="*/ 857 w 10577"/>
                  <a:gd name="connsiteY2248" fmla="*/ 4197 h 10000"/>
                  <a:gd name="connsiteX2249" fmla="*/ 848 w 10577"/>
                  <a:gd name="connsiteY2249" fmla="*/ 4188 h 10000"/>
                  <a:gd name="connsiteX2250" fmla="*/ 848 w 10577"/>
                  <a:gd name="connsiteY2250" fmla="*/ 4162 h 10000"/>
                  <a:gd name="connsiteX2251" fmla="*/ 829 w 10577"/>
                  <a:gd name="connsiteY2251" fmla="*/ 4120 h 10000"/>
                  <a:gd name="connsiteX2252" fmla="*/ 820 w 10577"/>
                  <a:gd name="connsiteY2252" fmla="*/ 4103 h 10000"/>
                  <a:gd name="connsiteX2253" fmla="*/ 806 w 10577"/>
                  <a:gd name="connsiteY2253" fmla="*/ 4077 h 10000"/>
                  <a:gd name="connsiteX2254" fmla="*/ 816 w 10577"/>
                  <a:gd name="connsiteY2254" fmla="*/ 4111 h 10000"/>
                  <a:gd name="connsiteX2255" fmla="*/ 802 w 10577"/>
                  <a:gd name="connsiteY2255" fmla="*/ 4111 h 10000"/>
                  <a:gd name="connsiteX2256" fmla="*/ 770 w 10577"/>
                  <a:gd name="connsiteY2256" fmla="*/ 4060 h 10000"/>
                  <a:gd name="connsiteX2257" fmla="*/ 760 w 10577"/>
                  <a:gd name="connsiteY2257" fmla="*/ 4077 h 10000"/>
                  <a:gd name="connsiteX2258" fmla="*/ 760 w 10577"/>
                  <a:gd name="connsiteY2258" fmla="*/ 4060 h 10000"/>
                  <a:gd name="connsiteX2259" fmla="*/ 756 w 10577"/>
                  <a:gd name="connsiteY2259" fmla="*/ 4034 h 10000"/>
                  <a:gd name="connsiteX2260" fmla="*/ 742 w 10577"/>
                  <a:gd name="connsiteY2260" fmla="*/ 4000 h 10000"/>
                  <a:gd name="connsiteX2261" fmla="*/ 747 w 10577"/>
                  <a:gd name="connsiteY2261" fmla="*/ 4034 h 10000"/>
                  <a:gd name="connsiteX2262" fmla="*/ 724 w 10577"/>
                  <a:gd name="connsiteY2262" fmla="*/ 4026 h 10000"/>
                  <a:gd name="connsiteX2263" fmla="*/ 714 w 10577"/>
                  <a:gd name="connsiteY2263" fmla="*/ 4000 h 10000"/>
                  <a:gd name="connsiteX2264" fmla="*/ 714 w 10577"/>
                  <a:gd name="connsiteY2264" fmla="*/ 3983 h 10000"/>
                  <a:gd name="connsiteX2265" fmla="*/ 553 w 10577"/>
                  <a:gd name="connsiteY2265" fmla="*/ 3726 h 10000"/>
                  <a:gd name="connsiteX2266" fmla="*/ 507 w 10577"/>
                  <a:gd name="connsiteY2266" fmla="*/ 3718 h 10000"/>
                  <a:gd name="connsiteX2267" fmla="*/ 516 w 10577"/>
                  <a:gd name="connsiteY2267" fmla="*/ 3726 h 10000"/>
                  <a:gd name="connsiteX2268" fmla="*/ 507 w 10577"/>
                  <a:gd name="connsiteY2268" fmla="*/ 3735 h 10000"/>
                  <a:gd name="connsiteX2269" fmla="*/ 502 w 10577"/>
                  <a:gd name="connsiteY2269" fmla="*/ 3735 h 10000"/>
                  <a:gd name="connsiteX2270" fmla="*/ 419 w 10577"/>
                  <a:gd name="connsiteY2270" fmla="*/ 3675 h 10000"/>
                  <a:gd name="connsiteX2271" fmla="*/ 419 w 10577"/>
                  <a:gd name="connsiteY2271" fmla="*/ 3692 h 10000"/>
                  <a:gd name="connsiteX2272" fmla="*/ 401 w 10577"/>
                  <a:gd name="connsiteY2272" fmla="*/ 3701 h 10000"/>
                  <a:gd name="connsiteX2273" fmla="*/ 387 w 10577"/>
                  <a:gd name="connsiteY2273" fmla="*/ 3718 h 10000"/>
                  <a:gd name="connsiteX2274" fmla="*/ 387 w 10577"/>
                  <a:gd name="connsiteY2274" fmla="*/ 3692 h 10000"/>
                  <a:gd name="connsiteX2275" fmla="*/ 378 w 10577"/>
                  <a:gd name="connsiteY2275" fmla="*/ 3675 h 10000"/>
                  <a:gd name="connsiteX2276" fmla="*/ 378 w 10577"/>
                  <a:gd name="connsiteY2276" fmla="*/ 3650 h 10000"/>
                  <a:gd name="connsiteX2277" fmla="*/ 378 w 10577"/>
                  <a:gd name="connsiteY2277" fmla="*/ 3650 h 10000"/>
                  <a:gd name="connsiteX2278" fmla="*/ 355 w 10577"/>
                  <a:gd name="connsiteY2278" fmla="*/ 3675 h 10000"/>
                  <a:gd name="connsiteX2279" fmla="*/ 359 w 10577"/>
                  <a:gd name="connsiteY2279" fmla="*/ 3641 h 10000"/>
                  <a:gd name="connsiteX2280" fmla="*/ 346 w 10577"/>
                  <a:gd name="connsiteY2280" fmla="*/ 3650 h 10000"/>
                  <a:gd name="connsiteX2281" fmla="*/ 355 w 10577"/>
                  <a:gd name="connsiteY2281" fmla="*/ 3624 h 10000"/>
                  <a:gd name="connsiteX2282" fmla="*/ 346 w 10577"/>
                  <a:gd name="connsiteY2282" fmla="*/ 3624 h 10000"/>
                  <a:gd name="connsiteX2283" fmla="*/ 341 w 10577"/>
                  <a:gd name="connsiteY2283" fmla="*/ 3624 h 10000"/>
                  <a:gd name="connsiteX2284" fmla="*/ 318 w 10577"/>
                  <a:gd name="connsiteY2284" fmla="*/ 3641 h 10000"/>
                  <a:gd name="connsiteX2285" fmla="*/ 327 w 10577"/>
                  <a:gd name="connsiteY2285" fmla="*/ 3624 h 10000"/>
                  <a:gd name="connsiteX2286" fmla="*/ 318 w 10577"/>
                  <a:gd name="connsiteY2286" fmla="*/ 3615 h 10000"/>
                  <a:gd name="connsiteX2287" fmla="*/ 318 w 10577"/>
                  <a:gd name="connsiteY2287" fmla="*/ 3598 h 10000"/>
                  <a:gd name="connsiteX2288" fmla="*/ 300 w 10577"/>
                  <a:gd name="connsiteY2288" fmla="*/ 3598 h 10000"/>
                  <a:gd name="connsiteX2289" fmla="*/ 309 w 10577"/>
                  <a:gd name="connsiteY2289" fmla="*/ 3538 h 10000"/>
                  <a:gd name="connsiteX2290" fmla="*/ 313 w 10577"/>
                  <a:gd name="connsiteY2290" fmla="*/ 3564 h 10000"/>
                  <a:gd name="connsiteX2291" fmla="*/ 318 w 10577"/>
                  <a:gd name="connsiteY2291" fmla="*/ 3581 h 10000"/>
                  <a:gd name="connsiteX2292" fmla="*/ 327 w 10577"/>
                  <a:gd name="connsiteY2292" fmla="*/ 3564 h 10000"/>
                  <a:gd name="connsiteX2293" fmla="*/ 332 w 10577"/>
                  <a:gd name="connsiteY2293" fmla="*/ 3590 h 10000"/>
                  <a:gd name="connsiteX2294" fmla="*/ 346 w 10577"/>
                  <a:gd name="connsiteY2294" fmla="*/ 3590 h 10000"/>
                  <a:gd name="connsiteX2295" fmla="*/ 355 w 10577"/>
                  <a:gd name="connsiteY2295" fmla="*/ 3590 h 10000"/>
                  <a:gd name="connsiteX2296" fmla="*/ 369 w 10577"/>
                  <a:gd name="connsiteY2296" fmla="*/ 3556 h 10000"/>
                  <a:gd name="connsiteX2297" fmla="*/ 369 w 10577"/>
                  <a:gd name="connsiteY2297" fmla="*/ 3538 h 10000"/>
                  <a:gd name="connsiteX2298" fmla="*/ 346 w 10577"/>
                  <a:gd name="connsiteY2298" fmla="*/ 3513 h 10000"/>
                  <a:gd name="connsiteX2299" fmla="*/ 341 w 10577"/>
                  <a:gd name="connsiteY2299" fmla="*/ 3530 h 10000"/>
                  <a:gd name="connsiteX2300" fmla="*/ 327 w 10577"/>
                  <a:gd name="connsiteY2300" fmla="*/ 3513 h 10000"/>
                  <a:gd name="connsiteX2301" fmla="*/ 327 w 10577"/>
                  <a:gd name="connsiteY2301" fmla="*/ 3504 h 10000"/>
                  <a:gd name="connsiteX2302" fmla="*/ 295 w 10577"/>
                  <a:gd name="connsiteY2302" fmla="*/ 3462 h 10000"/>
                  <a:gd name="connsiteX2303" fmla="*/ 300 w 10577"/>
                  <a:gd name="connsiteY2303" fmla="*/ 3479 h 10000"/>
                  <a:gd name="connsiteX2304" fmla="*/ 295 w 10577"/>
                  <a:gd name="connsiteY2304" fmla="*/ 3513 h 10000"/>
                  <a:gd name="connsiteX2305" fmla="*/ 286 w 10577"/>
                  <a:gd name="connsiteY2305" fmla="*/ 3513 h 10000"/>
                  <a:gd name="connsiteX2306" fmla="*/ 281 w 10577"/>
                  <a:gd name="connsiteY2306" fmla="*/ 3513 h 10000"/>
                  <a:gd name="connsiteX2307" fmla="*/ 281 w 10577"/>
                  <a:gd name="connsiteY2307" fmla="*/ 3530 h 10000"/>
                  <a:gd name="connsiteX2308" fmla="*/ 281 w 10577"/>
                  <a:gd name="connsiteY2308" fmla="*/ 3556 h 10000"/>
                  <a:gd name="connsiteX2309" fmla="*/ 272 w 10577"/>
                  <a:gd name="connsiteY2309" fmla="*/ 3564 h 10000"/>
                  <a:gd name="connsiteX2310" fmla="*/ 267 w 10577"/>
                  <a:gd name="connsiteY2310" fmla="*/ 3564 h 10000"/>
                  <a:gd name="connsiteX2311" fmla="*/ 253 w 10577"/>
                  <a:gd name="connsiteY2311" fmla="*/ 3538 h 10000"/>
                  <a:gd name="connsiteX2312" fmla="*/ 226 w 10577"/>
                  <a:gd name="connsiteY2312" fmla="*/ 3513 h 10000"/>
                  <a:gd name="connsiteX2313" fmla="*/ 226 w 10577"/>
                  <a:gd name="connsiteY2313" fmla="*/ 3530 h 10000"/>
                  <a:gd name="connsiteX2314" fmla="*/ 226 w 10577"/>
                  <a:gd name="connsiteY2314" fmla="*/ 3530 h 10000"/>
                  <a:gd name="connsiteX2315" fmla="*/ 226 w 10577"/>
                  <a:gd name="connsiteY2315" fmla="*/ 3530 h 10000"/>
                  <a:gd name="connsiteX2316" fmla="*/ 226 w 10577"/>
                  <a:gd name="connsiteY2316" fmla="*/ 3556 h 10000"/>
                  <a:gd name="connsiteX2317" fmla="*/ 221 w 10577"/>
                  <a:gd name="connsiteY2317" fmla="*/ 3598 h 10000"/>
                  <a:gd name="connsiteX2318" fmla="*/ 207 w 10577"/>
                  <a:gd name="connsiteY2318" fmla="*/ 3598 h 10000"/>
                  <a:gd name="connsiteX2319" fmla="*/ 180 w 10577"/>
                  <a:gd name="connsiteY2319" fmla="*/ 3581 h 10000"/>
                  <a:gd name="connsiteX2320" fmla="*/ 171 w 10577"/>
                  <a:gd name="connsiteY2320" fmla="*/ 3641 h 10000"/>
                  <a:gd name="connsiteX2321" fmla="*/ 166 w 10577"/>
                  <a:gd name="connsiteY2321" fmla="*/ 3650 h 10000"/>
                  <a:gd name="connsiteX2322" fmla="*/ 124 w 10577"/>
                  <a:gd name="connsiteY2322" fmla="*/ 3701 h 10000"/>
                  <a:gd name="connsiteX2323" fmla="*/ 124 w 10577"/>
                  <a:gd name="connsiteY2323" fmla="*/ 3718 h 10000"/>
                  <a:gd name="connsiteX2324" fmla="*/ 120 w 10577"/>
                  <a:gd name="connsiteY2324" fmla="*/ 3735 h 10000"/>
                  <a:gd name="connsiteX2325" fmla="*/ 120 w 10577"/>
                  <a:gd name="connsiteY2325" fmla="*/ 3735 h 10000"/>
                  <a:gd name="connsiteX2326" fmla="*/ 111 w 10577"/>
                  <a:gd name="connsiteY2326" fmla="*/ 3761 h 10000"/>
                  <a:gd name="connsiteX2327" fmla="*/ 106 w 10577"/>
                  <a:gd name="connsiteY2327" fmla="*/ 3761 h 10000"/>
                  <a:gd name="connsiteX2328" fmla="*/ 106 w 10577"/>
                  <a:gd name="connsiteY2328" fmla="*/ 3761 h 10000"/>
                  <a:gd name="connsiteX2329" fmla="*/ 74 w 10577"/>
                  <a:gd name="connsiteY2329" fmla="*/ 3829 h 10000"/>
                  <a:gd name="connsiteX2330" fmla="*/ 78 w 10577"/>
                  <a:gd name="connsiteY2330" fmla="*/ 3838 h 10000"/>
                  <a:gd name="connsiteX2331" fmla="*/ 88 w 10577"/>
                  <a:gd name="connsiteY2331" fmla="*/ 3846 h 10000"/>
                  <a:gd name="connsiteX2332" fmla="*/ 65 w 10577"/>
                  <a:gd name="connsiteY2332" fmla="*/ 3923 h 10000"/>
                  <a:gd name="connsiteX2333" fmla="*/ 78 w 10577"/>
                  <a:gd name="connsiteY2333" fmla="*/ 4026 h 10000"/>
                  <a:gd name="connsiteX2334" fmla="*/ 88 w 10577"/>
                  <a:gd name="connsiteY2334" fmla="*/ 4051 h 10000"/>
                  <a:gd name="connsiteX2335" fmla="*/ 92 w 10577"/>
                  <a:gd name="connsiteY2335" fmla="*/ 4060 h 10000"/>
                  <a:gd name="connsiteX2336" fmla="*/ 111 w 10577"/>
                  <a:gd name="connsiteY2336" fmla="*/ 4060 h 10000"/>
                  <a:gd name="connsiteX2337" fmla="*/ 124 w 10577"/>
                  <a:gd name="connsiteY2337" fmla="*/ 4085 h 10000"/>
                  <a:gd name="connsiteX2338" fmla="*/ 166 w 10577"/>
                  <a:gd name="connsiteY2338" fmla="*/ 4197 h 10000"/>
                  <a:gd name="connsiteX2339" fmla="*/ 166 w 10577"/>
                  <a:gd name="connsiteY2339" fmla="*/ 4248 h 10000"/>
                  <a:gd name="connsiteX2340" fmla="*/ 120 w 10577"/>
                  <a:gd name="connsiteY2340" fmla="*/ 4462 h 10000"/>
                  <a:gd name="connsiteX2341" fmla="*/ 120 w 10577"/>
                  <a:gd name="connsiteY2341" fmla="*/ 4513 h 10000"/>
                  <a:gd name="connsiteX2342" fmla="*/ 180 w 10577"/>
                  <a:gd name="connsiteY2342" fmla="*/ 4829 h 10000"/>
                  <a:gd name="connsiteX2343" fmla="*/ 161 w 10577"/>
                  <a:gd name="connsiteY2343" fmla="*/ 4855 h 10000"/>
                  <a:gd name="connsiteX2344" fmla="*/ 152 w 10577"/>
                  <a:gd name="connsiteY2344" fmla="*/ 4940 h 10000"/>
                  <a:gd name="connsiteX2345" fmla="*/ 161 w 10577"/>
                  <a:gd name="connsiteY2345" fmla="*/ 4966 h 10000"/>
                  <a:gd name="connsiteX2346" fmla="*/ 161 w 10577"/>
                  <a:gd name="connsiteY2346" fmla="*/ 5009 h 10000"/>
                  <a:gd name="connsiteX2347" fmla="*/ 152 w 10577"/>
                  <a:gd name="connsiteY2347" fmla="*/ 5034 h 10000"/>
                  <a:gd name="connsiteX2348" fmla="*/ 152 w 10577"/>
                  <a:gd name="connsiteY2348" fmla="*/ 5077 h 10000"/>
                  <a:gd name="connsiteX2349" fmla="*/ 171 w 10577"/>
                  <a:gd name="connsiteY2349" fmla="*/ 5094 h 10000"/>
                  <a:gd name="connsiteX2350" fmla="*/ 180 w 10577"/>
                  <a:gd name="connsiteY2350" fmla="*/ 5128 h 10000"/>
                  <a:gd name="connsiteX2351" fmla="*/ 180 w 10577"/>
                  <a:gd name="connsiteY2351" fmla="*/ 5171 h 10000"/>
                  <a:gd name="connsiteX2352" fmla="*/ 184 w 10577"/>
                  <a:gd name="connsiteY2352" fmla="*/ 5205 h 10000"/>
                  <a:gd name="connsiteX2353" fmla="*/ 207 w 10577"/>
                  <a:gd name="connsiteY2353" fmla="*/ 5239 h 10000"/>
                  <a:gd name="connsiteX2354" fmla="*/ 207 w 10577"/>
                  <a:gd name="connsiteY2354" fmla="*/ 5282 h 10000"/>
                  <a:gd name="connsiteX2355" fmla="*/ 180 w 10577"/>
                  <a:gd name="connsiteY2355" fmla="*/ 5393 h 10000"/>
                  <a:gd name="connsiteX2356" fmla="*/ 194 w 10577"/>
                  <a:gd name="connsiteY2356" fmla="*/ 5427 h 10000"/>
                  <a:gd name="connsiteX2357" fmla="*/ 198 w 10577"/>
                  <a:gd name="connsiteY2357" fmla="*/ 5462 h 10000"/>
                  <a:gd name="connsiteX2358" fmla="*/ 235 w 10577"/>
                  <a:gd name="connsiteY2358" fmla="*/ 5513 h 10000"/>
                  <a:gd name="connsiteX2359" fmla="*/ 240 w 10577"/>
                  <a:gd name="connsiteY2359" fmla="*/ 5556 h 10000"/>
                  <a:gd name="connsiteX2360" fmla="*/ 253 w 10577"/>
                  <a:gd name="connsiteY2360" fmla="*/ 5590 h 10000"/>
                  <a:gd name="connsiteX2361" fmla="*/ 258 w 10577"/>
                  <a:gd name="connsiteY2361" fmla="*/ 5573 h 10000"/>
                  <a:gd name="connsiteX2362" fmla="*/ 258 w 10577"/>
                  <a:gd name="connsiteY2362" fmla="*/ 5667 h 10000"/>
                  <a:gd name="connsiteX2363" fmla="*/ 14 w 10577"/>
                  <a:gd name="connsiteY2363" fmla="*/ 6214 h 10000"/>
                  <a:gd name="connsiteX2364" fmla="*/ 14 w 10577"/>
                  <a:gd name="connsiteY2364" fmla="*/ 6214 h 10000"/>
                  <a:gd name="connsiteX2365" fmla="*/ 37 w 10577"/>
                  <a:gd name="connsiteY2365" fmla="*/ 6214 h 10000"/>
                  <a:gd name="connsiteX2366" fmla="*/ 51 w 10577"/>
                  <a:gd name="connsiteY2366" fmla="*/ 6188 h 10000"/>
                  <a:gd name="connsiteX2367" fmla="*/ 78 w 10577"/>
                  <a:gd name="connsiteY2367" fmla="*/ 6162 h 10000"/>
                  <a:gd name="connsiteX2368" fmla="*/ 78 w 10577"/>
                  <a:gd name="connsiteY2368" fmla="*/ 6188 h 10000"/>
                  <a:gd name="connsiteX2369" fmla="*/ 74 w 10577"/>
                  <a:gd name="connsiteY2369" fmla="*/ 6197 h 10000"/>
                  <a:gd name="connsiteX2370" fmla="*/ 74 w 10577"/>
                  <a:gd name="connsiteY2370" fmla="*/ 6231 h 10000"/>
                  <a:gd name="connsiteX2371" fmla="*/ 74 w 10577"/>
                  <a:gd name="connsiteY2371" fmla="*/ 6214 h 10000"/>
                  <a:gd name="connsiteX2372" fmla="*/ 65 w 10577"/>
                  <a:gd name="connsiteY2372" fmla="*/ 6214 h 10000"/>
                  <a:gd name="connsiteX2373" fmla="*/ 65 w 10577"/>
                  <a:gd name="connsiteY2373" fmla="*/ 6248 h 10000"/>
                  <a:gd name="connsiteX2374" fmla="*/ 74 w 10577"/>
                  <a:gd name="connsiteY2374" fmla="*/ 6256 h 10000"/>
                  <a:gd name="connsiteX2375" fmla="*/ 78 w 10577"/>
                  <a:gd name="connsiteY2375" fmla="*/ 6256 h 10000"/>
                  <a:gd name="connsiteX2376" fmla="*/ 106 w 10577"/>
                  <a:gd name="connsiteY2376" fmla="*/ 6308 h 10000"/>
                  <a:gd name="connsiteX2377" fmla="*/ 138 w 10577"/>
                  <a:gd name="connsiteY2377" fmla="*/ 6299 h 10000"/>
                  <a:gd name="connsiteX2378" fmla="*/ 152 w 10577"/>
                  <a:gd name="connsiteY2378" fmla="*/ 6299 h 10000"/>
                  <a:gd name="connsiteX2379" fmla="*/ 166 w 10577"/>
                  <a:gd name="connsiteY2379" fmla="*/ 6325 h 10000"/>
                  <a:gd name="connsiteX2380" fmla="*/ 166 w 10577"/>
                  <a:gd name="connsiteY2380" fmla="*/ 6333 h 10000"/>
                  <a:gd name="connsiteX2381" fmla="*/ 171 w 10577"/>
                  <a:gd name="connsiteY2381" fmla="*/ 6350 h 10000"/>
                  <a:gd name="connsiteX2382" fmla="*/ 180 w 10577"/>
                  <a:gd name="connsiteY2382" fmla="*/ 6350 h 10000"/>
                  <a:gd name="connsiteX2383" fmla="*/ 180 w 10577"/>
                  <a:gd name="connsiteY2383" fmla="*/ 6359 h 10000"/>
                  <a:gd name="connsiteX2384" fmla="*/ 171 w 10577"/>
                  <a:gd name="connsiteY2384" fmla="*/ 6368 h 10000"/>
                  <a:gd name="connsiteX2385" fmla="*/ 106 w 10577"/>
                  <a:gd name="connsiteY2385" fmla="*/ 6350 h 10000"/>
                  <a:gd name="connsiteX2386" fmla="*/ 101 w 10577"/>
                  <a:gd name="connsiteY2386" fmla="*/ 6359 h 10000"/>
                  <a:gd name="connsiteX2387" fmla="*/ 101 w 10577"/>
                  <a:gd name="connsiteY2387" fmla="*/ 6385 h 10000"/>
                  <a:gd name="connsiteX2388" fmla="*/ 78 w 10577"/>
                  <a:gd name="connsiteY2388" fmla="*/ 6393 h 10000"/>
                  <a:gd name="connsiteX2389" fmla="*/ 74 w 10577"/>
                  <a:gd name="connsiteY2389" fmla="*/ 6385 h 10000"/>
                  <a:gd name="connsiteX2390" fmla="*/ 65 w 10577"/>
                  <a:gd name="connsiteY2390" fmla="*/ 6393 h 10000"/>
                  <a:gd name="connsiteX2391" fmla="*/ 60 w 10577"/>
                  <a:gd name="connsiteY2391" fmla="*/ 6419 h 10000"/>
                  <a:gd name="connsiteX2392" fmla="*/ 51 w 10577"/>
                  <a:gd name="connsiteY2392" fmla="*/ 6419 h 10000"/>
                  <a:gd name="connsiteX2393" fmla="*/ 46 w 10577"/>
                  <a:gd name="connsiteY2393" fmla="*/ 6410 h 10000"/>
                  <a:gd name="connsiteX2394" fmla="*/ 37 w 10577"/>
                  <a:gd name="connsiteY2394" fmla="*/ 6393 h 10000"/>
                  <a:gd name="connsiteX2395" fmla="*/ 32 w 10577"/>
                  <a:gd name="connsiteY2395" fmla="*/ 6419 h 10000"/>
                  <a:gd name="connsiteX2396" fmla="*/ 37 w 10577"/>
                  <a:gd name="connsiteY2396" fmla="*/ 6462 h 10000"/>
                  <a:gd name="connsiteX2397" fmla="*/ 46 w 10577"/>
                  <a:gd name="connsiteY2397" fmla="*/ 6462 h 10000"/>
                  <a:gd name="connsiteX2398" fmla="*/ 51 w 10577"/>
                  <a:gd name="connsiteY2398" fmla="*/ 6470 h 10000"/>
                  <a:gd name="connsiteX2399" fmla="*/ 51 w 10577"/>
                  <a:gd name="connsiteY2399" fmla="*/ 6496 h 10000"/>
                  <a:gd name="connsiteX2400" fmla="*/ 51 w 10577"/>
                  <a:gd name="connsiteY2400" fmla="*/ 6504 h 10000"/>
                  <a:gd name="connsiteX2401" fmla="*/ 37 w 10577"/>
                  <a:gd name="connsiteY2401" fmla="*/ 6530 h 10000"/>
                  <a:gd name="connsiteX2402" fmla="*/ 18 w 10577"/>
                  <a:gd name="connsiteY2402" fmla="*/ 6598 h 10000"/>
                  <a:gd name="connsiteX2403" fmla="*/ 28 w 10577"/>
                  <a:gd name="connsiteY2403" fmla="*/ 6632 h 10000"/>
                  <a:gd name="connsiteX2404" fmla="*/ 18 w 10577"/>
                  <a:gd name="connsiteY2404" fmla="*/ 6667 h 10000"/>
                  <a:gd name="connsiteX2405" fmla="*/ 28 w 10577"/>
                  <a:gd name="connsiteY2405" fmla="*/ 6692 h 10000"/>
                  <a:gd name="connsiteX2406" fmla="*/ 28 w 10577"/>
                  <a:gd name="connsiteY2406" fmla="*/ 6709 h 10000"/>
                  <a:gd name="connsiteX2407" fmla="*/ 18 w 10577"/>
                  <a:gd name="connsiteY2407" fmla="*/ 6718 h 10000"/>
                  <a:gd name="connsiteX2408" fmla="*/ 5 w 10577"/>
                  <a:gd name="connsiteY2408" fmla="*/ 6744 h 10000"/>
                  <a:gd name="connsiteX2409" fmla="*/ 0 w 10577"/>
                  <a:gd name="connsiteY2409" fmla="*/ 6769 h 10000"/>
                  <a:gd name="connsiteX2410" fmla="*/ 5 w 10577"/>
                  <a:gd name="connsiteY2410" fmla="*/ 6778 h 10000"/>
                  <a:gd name="connsiteX2411" fmla="*/ 32 w 10577"/>
                  <a:gd name="connsiteY2411" fmla="*/ 6778 h 10000"/>
                  <a:gd name="connsiteX2412" fmla="*/ 46 w 10577"/>
                  <a:gd name="connsiteY2412" fmla="*/ 6821 h 10000"/>
                  <a:gd name="connsiteX2413" fmla="*/ 46 w 10577"/>
                  <a:gd name="connsiteY2413" fmla="*/ 6855 h 10000"/>
                  <a:gd name="connsiteX2414" fmla="*/ 32 w 10577"/>
                  <a:gd name="connsiteY2414" fmla="*/ 6855 h 10000"/>
                  <a:gd name="connsiteX2415" fmla="*/ 14 w 10577"/>
                  <a:gd name="connsiteY2415" fmla="*/ 6821 h 10000"/>
                  <a:gd name="connsiteX2416" fmla="*/ 14 w 10577"/>
                  <a:gd name="connsiteY2416" fmla="*/ 6846 h 10000"/>
                  <a:gd name="connsiteX2417" fmla="*/ 0 w 10577"/>
                  <a:gd name="connsiteY2417" fmla="*/ 6897 h 10000"/>
                  <a:gd name="connsiteX2418" fmla="*/ 0 w 10577"/>
                  <a:gd name="connsiteY2418" fmla="*/ 6915 h 10000"/>
                  <a:gd name="connsiteX2419" fmla="*/ 5 w 10577"/>
                  <a:gd name="connsiteY2419" fmla="*/ 6932 h 10000"/>
                  <a:gd name="connsiteX2420" fmla="*/ 14 w 10577"/>
                  <a:gd name="connsiteY2420" fmla="*/ 6940 h 10000"/>
                  <a:gd name="connsiteX2421" fmla="*/ 18 w 10577"/>
                  <a:gd name="connsiteY2421" fmla="*/ 6957 h 10000"/>
                  <a:gd name="connsiteX2422" fmla="*/ 28 w 10577"/>
                  <a:gd name="connsiteY2422" fmla="*/ 6966 h 10000"/>
                  <a:gd name="connsiteX2423" fmla="*/ 28 w 10577"/>
                  <a:gd name="connsiteY2423" fmla="*/ 6983 h 10000"/>
                  <a:gd name="connsiteX2424" fmla="*/ 18 w 10577"/>
                  <a:gd name="connsiteY2424" fmla="*/ 7051 h 10000"/>
                  <a:gd name="connsiteX2425" fmla="*/ 28 w 10577"/>
                  <a:gd name="connsiteY2425" fmla="*/ 7068 h 10000"/>
                  <a:gd name="connsiteX2426" fmla="*/ 32 w 10577"/>
                  <a:gd name="connsiteY2426" fmla="*/ 7068 h 10000"/>
                  <a:gd name="connsiteX2427" fmla="*/ 32 w 10577"/>
                  <a:gd name="connsiteY2427" fmla="*/ 7094 h 10000"/>
                  <a:gd name="connsiteX2428" fmla="*/ 60 w 10577"/>
                  <a:gd name="connsiteY2428" fmla="*/ 7162 h 10000"/>
                  <a:gd name="connsiteX2429" fmla="*/ 60 w 10577"/>
                  <a:gd name="connsiteY2429" fmla="*/ 7231 h 10000"/>
                  <a:gd name="connsiteX2430" fmla="*/ 60 w 10577"/>
                  <a:gd name="connsiteY2430" fmla="*/ 7239 h 10000"/>
                  <a:gd name="connsiteX2431" fmla="*/ 78 w 10577"/>
                  <a:gd name="connsiteY2431" fmla="*/ 7239 h 10000"/>
                  <a:gd name="connsiteX2432" fmla="*/ 88 w 10577"/>
                  <a:gd name="connsiteY2432" fmla="*/ 7239 h 10000"/>
                  <a:gd name="connsiteX2433" fmla="*/ 92 w 10577"/>
                  <a:gd name="connsiteY2433" fmla="*/ 7256 h 10000"/>
                  <a:gd name="connsiteX2434" fmla="*/ 111 w 10577"/>
                  <a:gd name="connsiteY2434" fmla="*/ 7256 h 10000"/>
                  <a:gd name="connsiteX2435" fmla="*/ 120 w 10577"/>
                  <a:gd name="connsiteY2435" fmla="*/ 7256 h 10000"/>
                  <a:gd name="connsiteX2436" fmla="*/ 134 w 10577"/>
                  <a:gd name="connsiteY2436" fmla="*/ 7282 h 10000"/>
                  <a:gd name="connsiteX2437" fmla="*/ 134 w 10577"/>
                  <a:gd name="connsiteY2437" fmla="*/ 7316 h 10000"/>
                  <a:gd name="connsiteX2438" fmla="*/ 152 w 10577"/>
                  <a:gd name="connsiteY2438" fmla="*/ 7299 h 10000"/>
                  <a:gd name="connsiteX2439" fmla="*/ 161 w 10577"/>
                  <a:gd name="connsiteY2439" fmla="*/ 7299 h 10000"/>
                  <a:gd name="connsiteX2440" fmla="*/ 166 w 10577"/>
                  <a:gd name="connsiteY2440" fmla="*/ 7291 h 10000"/>
                  <a:gd name="connsiteX2441" fmla="*/ 194 w 10577"/>
                  <a:gd name="connsiteY2441" fmla="*/ 7291 h 10000"/>
                  <a:gd name="connsiteX2442" fmla="*/ 207 w 10577"/>
                  <a:gd name="connsiteY2442" fmla="*/ 7299 h 10000"/>
                  <a:gd name="connsiteX2443" fmla="*/ 221 w 10577"/>
                  <a:gd name="connsiteY2443" fmla="*/ 7342 h 10000"/>
                  <a:gd name="connsiteX2444" fmla="*/ 235 w 10577"/>
                  <a:gd name="connsiteY2444" fmla="*/ 7342 h 10000"/>
                  <a:gd name="connsiteX2445" fmla="*/ 235 w 10577"/>
                  <a:gd name="connsiteY2445" fmla="*/ 7368 h 10000"/>
                  <a:gd name="connsiteX2446" fmla="*/ 226 w 10577"/>
                  <a:gd name="connsiteY2446" fmla="*/ 7393 h 10000"/>
                  <a:gd name="connsiteX2447" fmla="*/ 226 w 10577"/>
                  <a:gd name="connsiteY2447" fmla="*/ 7402 h 10000"/>
                  <a:gd name="connsiteX2448" fmla="*/ 235 w 10577"/>
                  <a:gd name="connsiteY2448" fmla="*/ 7419 h 10000"/>
                  <a:gd name="connsiteX2449" fmla="*/ 240 w 10577"/>
                  <a:gd name="connsiteY2449" fmla="*/ 7436 h 10000"/>
                  <a:gd name="connsiteX2450" fmla="*/ 235 w 10577"/>
                  <a:gd name="connsiteY2450" fmla="*/ 7462 h 10000"/>
                  <a:gd name="connsiteX2451" fmla="*/ 226 w 10577"/>
                  <a:gd name="connsiteY2451" fmla="*/ 7479 h 10000"/>
                  <a:gd name="connsiteX2452" fmla="*/ 226 w 10577"/>
                  <a:gd name="connsiteY2452" fmla="*/ 7504 h 10000"/>
                  <a:gd name="connsiteX2453" fmla="*/ 226 w 10577"/>
                  <a:gd name="connsiteY2453" fmla="*/ 7513 h 10000"/>
                  <a:gd name="connsiteX2454" fmla="*/ 240 w 10577"/>
                  <a:gd name="connsiteY2454" fmla="*/ 7538 h 10000"/>
                  <a:gd name="connsiteX2455" fmla="*/ 267 w 10577"/>
                  <a:gd name="connsiteY2455" fmla="*/ 7641 h 10000"/>
                  <a:gd name="connsiteX2456" fmla="*/ 281 w 10577"/>
                  <a:gd name="connsiteY2456" fmla="*/ 7667 h 10000"/>
                  <a:gd name="connsiteX2457" fmla="*/ 286 w 10577"/>
                  <a:gd name="connsiteY2457" fmla="*/ 7675 h 10000"/>
                  <a:gd name="connsiteX2458" fmla="*/ 286 w 10577"/>
                  <a:gd name="connsiteY2458" fmla="*/ 7692 h 10000"/>
                  <a:gd name="connsiteX2459" fmla="*/ 286 w 10577"/>
                  <a:gd name="connsiteY2459" fmla="*/ 7709 h 10000"/>
                  <a:gd name="connsiteX2460" fmla="*/ 295 w 10577"/>
                  <a:gd name="connsiteY2460" fmla="*/ 7726 h 10000"/>
                  <a:gd name="connsiteX2461" fmla="*/ 318 w 10577"/>
                  <a:gd name="connsiteY2461" fmla="*/ 7709 h 10000"/>
                  <a:gd name="connsiteX2462" fmla="*/ 327 w 10577"/>
                  <a:gd name="connsiteY2462" fmla="*/ 7726 h 10000"/>
                  <a:gd name="connsiteX2463" fmla="*/ 341 w 10577"/>
                  <a:gd name="connsiteY2463" fmla="*/ 7735 h 10000"/>
                  <a:gd name="connsiteX2464" fmla="*/ 332 w 10577"/>
                  <a:gd name="connsiteY2464" fmla="*/ 7752 h 10000"/>
                  <a:gd name="connsiteX2465" fmla="*/ 341 w 10577"/>
                  <a:gd name="connsiteY2465" fmla="*/ 7761 h 10000"/>
                  <a:gd name="connsiteX2466" fmla="*/ 355 w 10577"/>
                  <a:gd name="connsiteY2466" fmla="*/ 7761 h 10000"/>
                  <a:gd name="connsiteX2467" fmla="*/ 355 w 10577"/>
                  <a:gd name="connsiteY2467" fmla="*/ 7803 h 10000"/>
                  <a:gd name="connsiteX2468" fmla="*/ 313 w 10577"/>
                  <a:gd name="connsiteY2468" fmla="*/ 7846 h 10000"/>
                  <a:gd name="connsiteX2469" fmla="*/ 295 w 10577"/>
                  <a:gd name="connsiteY2469" fmla="*/ 7846 h 10000"/>
                  <a:gd name="connsiteX2470" fmla="*/ 281 w 10577"/>
                  <a:gd name="connsiteY2470" fmla="*/ 7821 h 10000"/>
                  <a:gd name="connsiteX2471" fmla="*/ 272 w 10577"/>
                  <a:gd name="connsiteY2471" fmla="*/ 7821 h 10000"/>
                  <a:gd name="connsiteX2472" fmla="*/ 267 w 10577"/>
                  <a:gd name="connsiteY2472" fmla="*/ 7838 h 10000"/>
                  <a:gd name="connsiteX2473" fmla="*/ 258 w 10577"/>
                  <a:gd name="connsiteY2473" fmla="*/ 7846 h 10000"/>
                  <a:gd name="connsiteX2474" fmla="*/ 253 w 10577"/>
                  <a:gd name="connsiteY2474" fmla="*/ 7863 h 10000"/>
                  <a:gd name="connsiteX2475" fmla="*/ 253 w 10577"/>
                  <a:gd name="connsiteY2475" fmla="*/ 7872 h 10000"/>
                  <a:gd name="connsiteX2476" fmla="*/ 267 w 10577"/>
                  <a:gd name="connsiteY2476" fmla="*/ 7897 h 10000"/>
                  <a:gd name="connsiteX2477" fmla="*/ 272 w 10577"/>
                  <a:gd name="connsiteY2477" fmla="*/ 7915 h 10000"/>
                  <a:gd name="connsiteX2478" fmla="*/ 267 w 10577"/>
                  <a:gd name="connsiteY2478" fmla="*/ 7940 h 10000"/>
                  <a:gd name="connsiteX2479" fmla="*/ 272 w 10577"/>
                  <a:gd name="connsiteY2479" fmla="*/ 7949 h 10000"/>
                  <a:gd name="connsiteX2480" fmla="*/ 272 w 10577"/>
                  <a:gd name="connsiteY2480" fmla="*/ 7957 h 10000"/>
                  <a:gd name="connsiteX2481" fmla="*/ 281 w 10577"/>
                  <a:gd name="connsiteY2481" fmla="*/ 7974 h 10000"/>
                  <a:gd name="connsiteX2482" fmla="*/ 286 w 10577"/>
                  <a:gd name="connsiteY2482" fmla="*/ 7983 h 10000"/>
                  <a:gd name="connsiteX2483" fmla="*/ 281 w 10577"/>
                  <a:gd name="connsiteY2483" fmla="*/ 8009 h 10000"/>
                  <a:gd name="connsiteX2484" fmla="*/ 286 w 10577"/>
                  <a:gd name="connsiteY2484" fmla="*/ 8060 h 10000"/>
                  <a:gd name="connsiteX2485" fmla="*/ 286 w 10577"/>
                  <a:gd name="connsiteY2485" fmla="*/ 8060 h 10000"/>
                  <a:gd name="connsiteX2486" fmla="*/ 295 w 10577"/>
                  <a:gd name="connsiteY2486" fmla="*/ 8077 h 10000"/>
                  <a:gd name="connsiteX2487" fmla="*/ 309 w 10577"/>
                  <a:gd name="connsiteY2487" fmla="*/ 8077 h 10000"/>
                  <a:gd name="connsiteX2488" fmla="*/ 313 w 10577"/>
                  <a:gd name="connsiteY2488" fmla="*/ 8060 h 10000"/>
                  <a:gd name="connsiteX2489" fmla="*/ 318 w 10577"/>
                  <a:gd name="connsiteY2489" fmla="*/ 8051 h 10000"/>
                  <a:gd name="connsiteX2490" fmla="*/ 318 w 10577"/>
                  <a:gd name="connsiteY2490" fmla="*/ 8034 h 10000"/>
                  <a:gd name="connsiteX2491" fmla="*/ 332 w 10577"/>
                  <a:gd name="connsiteY2491" fmla="*/ 8026 h 10000"/>
                  <a:gd name="connsiteX2492" fmla="*/ 359 w 10577"/>
                  <a:gd name="connsiteY2492" fmla="*/ 8034 h 10000"/>
                  <a:gd name="connsiteX2493" fmla="*/ 378 w 10577"/>
                  <a:gd name="connsiteY2493" fmla="*/ 8026 h 10000"/>
                  <a:gd name="connsiteX2494" fmla="*/ 401 w 10577"/>
                  <a:gd name="connsiteY2494" fmla="*/ 8026 h 10000"/>
                  <a:gd name="connsiteX2495" fmla="*/ 419 w 10577"/>
                  <a:gd name="connsiteY2495" fmla="*/ 8009 h 10000"/>
                  <a:gd name="connsiteX2496" fmla="*/ 433 w 10577"/>
                  <a:gd name="connsiteY2496" fmla="*/ 8034 h 10000"/>
                  <a:gd name="connsiteX2497" fmla="*/ 442 w 10577"/>
                  <a:gd name="connsiteY2497" fmla="*/ 8060 h 10000"/>
                  <a:gd name="connsiteX2498" fmla="*/ 442 w 10577"/>
                  <a:gd name="connsiteY2498" fmla="*/ 8077 h 10000"/>
                  <a:gd name="connsiteX2499" fmla="*/ 461 w 10577"/>
                  <a:gd name="connsiteY2499" fmla="*/ 8111 h 10000"/>
                  <a:gd name="connsiteX2500" fmla="*/ 461 w 10577"/>
                  <a:gd name="connsiteY2500" fmla="*/ 8137 h 10000"/>
                  <a:gd name="connsiteX2501" fmla="*/ 447 w 10577"/>
                  <a:gd name="connsiteY2501" fmla="*/ 8145 h 10000"/>
                  <a:gd name="connsiteX2502" fmla="*/ 442 w 10577"/>
                  <a:gd name="connsiteY2502" fmla="*/ 8145 h 10000"/>
                  <a:gd name="connsiteX2503" fmla="*/ 442 w 10577"/>
                  <a:gd name="connsiteY2503" fmla="*/ 8162 h 10000"/>
                  <a:gd name="connsiteX2504" fmla="*/ 442 w 10577"/>
                  <a:gd name="connsiteY2504" fmla="*/ 8171 h 10000"/>
                  <a:gd name="connsiteX2505" fmla="*/ 447 w 10577"/>
                  <a:gd name="connsiteY2505" fmla="*/ 8214 h 10000"/>
                  <a:gd name="connsiteX2506" fmla="*/ 465 w 10577"/>
                  <a:gd name="connsiteY2506" fmla="*/ 8231 h 10000"/>
                  <a:gd name="connsiteX2507" fmla="*/ 488 w 10577"/>
                  <a:gd name="connsiteY2507" fmla="*/ 8231 h 10000"/>
                  <a:gd name="connsiteX2508" fmla="*/ 493 w 10577"/>
                  <a:gd name="connsiteY2508" fmla="*/ 8231 h 10000"/>
                  <a:gd name="connsiteX2509" fmla="*/ 502 w 10577"/>
                  <a:gd name="connsiteY2509" fmla="*/ 8231 h 10000"/>
                  <a:gd name="connsiteX2510" fmla="*/ 507 w 10577"/>
                  <a:gd name="connsiteY2510" fmla="*/ 8248 h 10000"/>
                  <a:gd name="connsiteX2511" fmla="*/ 521 w 10577"/>
                  <a:gd name="connsiteY2511" fmla="*/ 8274 h 10000"/>
                  <a:gd name="connsiteX2512" fmla="*/ 525 w 10577"/>
                  <a:gd name="connsiteY2512" fmla="*/ 8333 h 10000"/>
                  <a:gd name="connsiteX2513" fmla="*/ 525 w 10577"/>
                  <a:gd name="connsiteY2513" fmla="*/ 8359 h 10000"/>
                  <a:gd name="connsiteX2514" fmla="*/ 525 w 10577"/>
                  <a:gd name="connsiteY2514" fmla="*/ 8368 h 10000"/>
                  <a:gd name="connsiteX2515" fmla="*/ 548 w 10577"/>
                  <a:gd name="connsiteY2515" fmla="*/ 8393 h 10000"/>
                  <a:gd name="connsiteX2516" fmla="*/ 553 w 10577"/>
                  <a:gd name="connsiteY2516" fmla="*/ 8385 h 10000"/>
                  <a:gd name="connsiteX2517" fmla="*/ 562 w 10577"/>
                  <a:gd name="connsiteY2517" fmla="*/ 8385 h 10000"/>
                  <a:gd name="connsiteX2518" fmla="*/ 576 w 10577"/>
                  <a:gd name="connsiteY2518" fmla="*/ 8385 h 10000"/>
                  <a:gd name="connsiteX2519" fmla="*/ 585 w 10577"/>
                  <a:gd name="connsiteY2519" fmla="*/ 8410 h 10000"/>
                  <a:gd name="connsiteX2520" fmla="*/ 594 w 10577"/>
                  <a:gd name="connsiteY2520" fmla="*/ 8410 h 10000"/>
                  <a:gd name="connsiteX2521" fmla="*/ 608 w 10577"/>
                  <a:gd name="connsiteY2521" fmla="*/ 8410 h 10000"/>
                  <a:gd name="connsiteX2522" fmla="*/ 654 w 10577"/>
                  <a:gd name="connsiteY2522" fmla="*/ 8385 h 10000"/>
                  <a:gd name="connsiteX2523" fmla="*/ 659 w 10577"/>
                  <a:gd name="connsiteY2523" fmla="*/ 8385 h 10000"/>
                  <a:gd name="connsiteX2524" fmla="*/ 696 w 10577"/>
                  <a:gd name="connsiteY2524" fmla="*/ 8470 h 10000"/>
                  <a:gd name="connsiteX2525" fmla="*/ 700 w 10577"/>
                  <a:gd name="connsiteY2525" fmla="*/ 8470 h 10000"/>
                  <a:gd name="connsiteX2526" fmla="*/ 710 w 10577"/>
                  <a:gd name="connsiteY2526" fmla="*/ 8462 h 10000"/>
                  <a:gd name="connsiteX2527" fmla="*/ 714 w 10577"/>
                  <a:gd name="connsiteY2527" fmla="*/ 8462 h 10000"/>
                  <a:gd name="connsiteX2528" fmla="*/ 724 w 10577"/>
                  <a:gd name="connsiteY2528" fmla="*/ 8470 h 10000"/>
                  <a:gd name="connsiteX2529" fmla="*/ 733 w 10577"/>
                  <a:gd name="connsiteY2529" fmla="*/ 8470 h 10000"/>
                  <a:gd name="connsiteX2530" fmla="*/ 742 w 10577"/>
                  <a:gd name="connsiteY2530" fmla="*/ 8487 h 10000"/>
                  <a:gd name="connsiteX2531" fmla="*/ 747 w 10577"/>
                  <a:gd name="connsiteY2531" fmla="*/ 8496 h 10000"/>
                  <a:gd name="connsiteX2532" fmla="*/ 770 w 10577"/>
                  <a:gd name="connsiteY2532" fmla="*/ 8496 h 10000"/>
                  <a:gd name="connsiteX2533" fmla="*/ 783 w 10577"/>
                  <a:gd name="connsiteY2533" fmla="*/ 8521 h 10000"/>
                  <a:gd name="connsiteX2534" fmla="*/ 797 w 10577"/>
                  <a:gd name="connsiteY2534" fmla="*/ 8521 h 10000"/>
                  <a:gd name="connsiteX2535" fmla="*/ 806 w 10577"/>
                  <a:gd name="connsiteY2535" fmla="*/ 8530 h 10000"/>
                  <a:gd name="connsiteX2536" fmla="*/ 829 w 10577"/>
                  <a:gd name="connsiteY2536" fmla="*/ 8547 h 10000"/>
                  <a:gd name="connsiteX2537" fmla="*/ 834 w 10577"/>
                  <a:gd name="connsiteY2537" fmla="*/ 8556 h 10000"/>
                  <a:gd name="connsiteX2538" fmla="*/ 829 w 10577"/>
                  <a:gd name="connsiteY2538" fmla="*/ 8556 h 10000"/>
                  <a:gd name="connsiteX2539" fmla="*/ 834 w 10577"/>
                  <a:gd name="connsiteY2539" fmla="*/ 8607 h 10000"/>
                  <a:gd name="connsiteX2540" fmla="*/ 829 w 10577"/>
                  <a:gd name="connsiteY2540" fmla="*/ 8641 h 10000"/>
                  <a:gd name="connsiteX2541" fmla="*/ 806 w 10577"/>
                  <a:gd name="connsiteY2541" fmla="*/ 8658 h 10000"/>
                  <a:gd name="connsiteX2542" fmla="*/ 816 w 10577"/>
                  <a:gd name="connsiteY2542" fmla="*/ 8667 h 10000"/>
                  <a:gd name="connsiteX2543" fmla="*/ 820 w 10577"/>
                  <a:gd name="connsiteY2543" fmla="*/ 8667 h 10000"/>
                  <a:gd name="connsiteX2544" fmla="*/ 829 w 10577"/>
                  <a:gd name="connsiteY2544" fmla="*/ 8684 h 10000"/>
                  <a:gd name="connsiteX2545" fmla="*/ 806 w 10577"/>
                  <a:gd name="connsiteY2545" fmla="*/ 8692 h 10000"/>
                  <a:gd name="connsiteX2546" fmla="*/ 802 w 10577"/>
                  <a:gd name="connsiteY2546" fmla="*/ 8709 h 10000"/>
                  <a:gd name="connsiteX2547" fmla="*/ 802 w 10577"/>
                  <a:gd name="connsiteY2547" fmla="*/ 8735 h 10000"/>
                  <a:gd name="connsiteX2548" fmla="*/ 806 w 10577"/>
                  <a:gd name="connsiteY2548" fmla="*/ 8744 h 10000"/>
                  <a:gd name="connsiteX2549" fmla="*/ 816 w 10577"/>
                  <a:gd name="connsiteY2549" fmla="*/ 8752 h 10000"/>
                  <a:gd name="connsiteX2550" fmla="*/ 806 w 10577"/>
                  <a:gd name="connsiteY2550" fmla="*/ 8778 h 10000"/>
                  <a:gd name="connsiteX2551" fmla="*/ 820 w 10577"/>
                  <a:gd name="connsiteY2551" fmla="*/ 8778 h 10000"/>
                  <a:gd name="connsiteX2552" fmla="*/ 806 w 10577"/>
                  <a:gd name="connsiteY2552" fmla="*/ 8880 h 10000"/>
                  <a:gd name="connsiteX2553" fmla="*/ 797 w 10577"/>
                  <a:gd name="connsiteY2553" fmla="*/ 8880 h 10000"/>
                  <a:gd name="connsiteX2554" fmla="*/ 783 w 10577"/>
                  <a:gd name="connsiteY2554" fmla="*/ 8872 h 10000"/>
                  <a:gd name="connsiteX2555" fmla="*/ 770 w 10577"/>
                  <a:gd name="connsiteY2555" fmla="*/ 8880 h 10000"/>
                  <a:gd name="connsiteX2556" fmla="*/ 756 w 10577"/>
                  <a:gd name="connsiteY2556" fmla="*/ 8855 h 10000"/>
                  <a:gd name="connsiteX2557" fmla="*/ 733 w 10577"/>
                  <a:gd name="connsiteY2557" fmla="*/ 8906 h 10000"/>
                  <a:gd name="connsiteX2558" fmla="*/ 714 w 10577"/>
                  <a:gd name="connsiteY2558" fmla="*/ 8915 h 10000"/>
                  <a:gd name="connsiteX2559" fmla="*/ 710 w 10577"/>
                  <a:gd name="connsiteY2559" fmla="*/ 8940 h 10000"/>
                  <a:gd name="connsiteX2560" fmla="*/ 710 w 10577"/>
                  <a:gd name="connsiteY2560" fmla="*/ 9009 h 10000"/>
                  <a:gd name="connsiteX2561" fmla="*/ 728 w 10577"/>
                  <a:gd name="connsiteY2561" fmla="*/ 8991 h 10000"/>
                  <a:gd name="connsiteX2562" fmla="*/ 733 w 10577"/>
                  <a:gd name="connsiteY2562" fmla="*/ 8991 h 10000"/>
                  <a:gd name="connsiteX2563" fmla="*/ 747 w 10577"/>
                  <a:gd name="connsiteY2563" fmla="*/ 8983 h 10000"/>
                  <a:gd name="connsiteX2564" fmla="*/ 760 w 10577"/>
                  <a:gd name="connsiteY2564" fmla="*/ 8983 h 10000"/>
                  <a:gd name="connsiteX2565" fmla="*/ 770 w 10577"/>
                  <a:gd name="connsiteY2565" fmla="*/ 8983 h 10000"/>
                  <a:gd name="connsiteX2566" fmla="*/ 770 w 10577"/>
                  <a:gd name="connsiteY2566" fmla="*/ 8991 h 10000"/>
                  <a:gd name="connsiteX2567" fmla="*/ 783 w 10577"/>
                  <a:gd name="connsiteY2567" fmla="*/ 8991 h 10000"/>
                  <a:gd name="connsiteX2568" fmla="*/ 783 w 10577"/>
                  <a:gd name="connsiteY2568" fmla="*/ 9009 h 10000"/>
                  <a:gd name="connsiteX2569" fmla="*/ 783 w 10577"/>
                  <a:gd name="connsiteY2569" fmla="*/ 9017 h 10000"/>
                  <a:gd name="connsiteX2570" fmla="*/ 770 w 10577"/>
                  <a:gd name="connsiteY2570" fmla="*/ 9017 h 10000"/>
                  <a:gd name="connsiteX2571" fmla="*/ 724 w 10577"/>
                  <a:gd name="connsiteY2571" fmla="*/ 9051 h 10000"/>
                  <a:gd name="connsiteX2572" fmla="*/ 724 w 10577"/>
                  <a:gd name="connsiteY2572" fmla="*/ 9068 h 10000"/>
                  <a:gd name="connsiteX2573" fmla="*/ 728 w 10577"/>
                  <a:gd name="connsiteY2573" fmla="*/ 9077 h 10000"/>
                  <a:gd name="connsiteX2574" fmla="*/ 724 w 10577"/>
                  <a:gd name="connsiteY2574" fmla="*/ 9077 h 10000"/>
                  <a:gd name="connsiteX2575" fmla="*/ 710 w 10577"/>
                  <a:gd name="connsiteY2575" fmla="*/ 9077 h 10000"/>
                  <a:gd name="connsiteX2576" fmla="*/ 682 w 10577"/>
                  <a:gd name="connsiteY2576" fmla="*/ 9077 h 10000"/>
                  <a:gd name="connsiteX2577" fmla="*/ 673 w 10577"/>
                  <a:gd name="connsiteY2577" fmla="*/ 9103 h 10000"/>
                  <a:gd name="connsiteX2578" fmla="*/ 687 w 10577"/>
                  <a:gd name="connsiteY2578" fmla="*/ 9128 h 10000"/>
                  <a:gd name="connsiteX2579" fmla="*/ 700 w 10577"/>
                  <a:gd name="connsiteY2579" fmla="*/ 9128 h 10000"/>
                  <a:gd name="connsiteX2580" fmla="*/ 728 w 10577"/>
                  <a:gd name="connsiteY2580" fmla="*/ 9179 h 10000"/>
                  <a:gd name="connsiteX2581" fmla="*/ 724 w 10577"/>
                  <a:gd name="connsiteY2581" fmla="*/ 9188 h 10000"/>
                  <a:gd name="connsiteX2582" fmla="*/ 710 w 10577"/>
                  <a:gd name="connsiteY2582" fmla="*/ 9179 h 10000"/>
                  <a:gd name="connsiteX2583" fmla="*/ 700 w 10577"/>
                  <a:gd name="connsiteY2583" fmla="*/ 9205 h 10000"/>
                  <a:gd name="connsiteX2584" fmla="*/ 696 w 10577"/>
                  <a:gd name="connsiteY2584" fmla="*/ 9205 h 10000"/>
                  <a:gd name="connsiteX2585" fmla="*/ 654 w 10577"/>
                  <a:gd name="connsiteY2585" fmla="*/ 9299 h 10000"/>
                  <a:gd name="connsiteX2586" fmla="*/ 622 w 10577"/>
                  <a:gd name="connsiteY2586" fmla="*/ 9299 h 10000"/>
                  <a:gd name="connsiteX2587" fmla="*/ 613 w 10577"/>
                  <a:gd name="connsiteY2587" fmla="*/ 9316 h 10000"/>
                  <a:gd name="connsiteX2588" fmla="*/ 613 w 10577"/>
                  <a:gd name="connsiteY2588" fmla="*/ 9325 h 10000"/>
                  <a:gd name="connsiteX2589" fmla="*/ 608 w 10577"/>
                  <a:gd name="connsiteY2589" fmla="*/ 9342 h 10000"/>
                  <a:gd name="connsiteX2590" fmla="*/ 636 w 10577"/>
                  <a:gd name="connsiteY2590" fmla="*/ 9376 h 10000"/>
                  <a:gd name="connsiteX2591" fmla="*/ 641 w 10577"/>
                  <a:gd name="connsiteY2591" fmla="*/ 9402 h 10000"/>
                  <a:gd name="connsiteX2592" fmla="*/ 654 w 10577"/>
                  <a:gd name="connsiteY2592" fmla="*/ 9427 h 10000"/>
                  <a:gd name="connsiteX2593" fmla="*/ 668 w 10577"/>
                  <a:gd name="connsiteY2593" fmla="*/ 9427 h 10000"/>
                  <a:gd name="connsiteX2594" fmla="*/ 668 w 10577"/>
                  <a:gd name="connsiteY2594" fmla="*/ 9427 h 10000"/>
                  <a:gd name="connsiteX2595" fmla="*/ 774 w 10577"/>
                  <a:gd name="connsiteY2595" fmla="*/ 9547 h 10000"/>
                  <a:gd name="connsiteX2596" fmla="*/ 797 w 10577"/>
                  <a:gd name="connsiteY2596" fmla="*/ 9598 h 10000"/>
                  <a:gd name="connsiteX2597" fmla="*/ 802 w 10577"/>
                  <a:gd name="connsiteY2597" fmla="*/ 9598 h 10000"/>
                  <a:gd name="connsiteX2598" fmla="*/ 816 w 10577"/>
                  <a:gd name="connsiteY2598" fmla="*/ 9624 h 10000"/>
                  <a:gd name="connsiteX2599" fmla="*/ 843 w 10577"/>
                  <a:gd name="connsiteY2599" fmla="*/ 9615 h 10000"/>
                  <a:gd name="connsiteX2600" fmla="*/ 857 w 10577"/>
                  <a:gd name="connsiteY2600" fmla="*/ 9624 h 10000"/>
                  <a:gd name="connsiteX2601" fmla="*/ 862 w 10577"/>
                  <a:gd name="connsiteY2601" fmla="*/ 9615 h 10000"/>
                  <a:gd name="connsiteX2602" fmla="*/ 880 w 10577"/>
                  <a:gd name="connsiteY2602" fmla="*/ 9624 h 10000"/>
                  <a:gd name="connsiteX2603" fmla="*/ 889 w 10577"/>
                  <a:gd name="connsiteY2603" fmla="*/ 9641 h 10000"/>
                  <a:gd name="connsiteX2604" fmla="*/ 935 w 10577"/>
                  <a:gd name="connsiteY2604" fmla="*/ 9675 h 10000"/>
                  <a:gd name="connsiteX2605" fmla="*/ 977 w 10577"/>
                  <a:gd name="connsiteY2605" fmla="*/ 9667 h 10000"/>
                  <a:gd name="connsiteX2606" fmla="*/ 995 w 10577"/>
                  <a:gd name="connsiteY2606" fmla="*/ 9675 h 10000"/>
                  <a:gd name="connsiteX2607" fmla="*/ 1014 w 10577"/>
                  <a:gd name="connsiteY2607" fmla="*/ 9675 h 10000"/>
                  <a:gd name="connsiteX2608" fmla="*/ 1069 w 10577"/>
                  <a:gd name="connsiteY2608" fmla="*/ 9752 h 10000"/>
                  <a:gd name="connsiteX2609" fmla="*/ 1074 w 10577"/>
                  <a:gd name="connsiteY2609" fmla="*/ 9761 h 10000"/>
                  <a:gd name="connsiteX2610" fmla="*/ 1083 w 10577"/>
                  <a:gd name="connsiteY2610" fmla="*/ 9778 h 10000"/>
                  <a:gd name="connsiteX2611" fmla="*/ 1115 w 10577"/>
                  <a:gd name="connsiteY2611" fmla="*/ 9752 h 10000"/>
                  <a:gd name="connsiteX2612" fmla="*/ 1129 w 10577"/>
                  <a:gd name="connsiteY2612" fmla="*/ 9752 h 10000"/>
                  <a:gd name="connsiteX2613" fmla="*/ 1138 w 10577"/>
                  <a:gd name="connsiteY2613" fmla="*/ 9761 h 10000"/>
                  <a:gd name="connsiteX2614" fmla="*/ 1143 w 10577"/>
                  <a:gd name="connsiteY2614" fmla="*/ 9752 h 10000"/>
                  <a:gd name="connsiteX2615" fmla="*/ 1161 w 10577"/>
                  <a:gd name="connsiteY2615" fmla="*/ 9761 h 10000"/>
                  <a:gd name="connsiteX2616" fmla="*/ 1171 w 10577"/>
                  <a:gd name="connsiteY2616" fmla="*/ 9778 h 10000"/>
                  <a:gd name="connsiteX2617" fmla="*/ 1175 w 10577"/>
                  <a:gd name="connsiteY2617" fmla="*/ 9778 h 10000"/>
                  <a:gd name="connsiteX2618" fmla="*/ 1189 w 10577"/>
                  <a:gd name="connsiteY2618" fmla="*/ 9778 h 10000"/>
                  <a:gd name="connsiteX2619" fmla="*/ 1198 w 10577"/>
                  <a:gd name="connsiteY2619" fmla="*/ 9786 h 10000"/>
                  <a:gd name="connsiteX2620" fmla="*/ 1203 w 10577"/>
                  <a:gd name="connsiteY2620" fmla="*/ 9803 h 10000"/>
                  <a:gd name="connsiteX2621" fmla="*/ 1198 w 10577"/>
                  <a:gd name="connsiteY2621" fmla="*/ 9838 h 10000"/>
                  <a:gd name="connsiteX2622" fmla="*/ 1212 w 10577"/>
                  <a:gd name="connsiteY2622" fmla="*/ 9863 h 10000"/>
                  <a:gd name="connsiteX2623" fmla="*/ 1230 w 10577"/>
                  <a:gd name="connsiteY2623" fmla="*/ 9872 h 10000"/>
                  <a:gd name="connsiteX2624" fmla="*/ 1249 w 10577"/>
                  <a:gd name="connsiteY2624" fmla="*/ 9897 h 10000"/>
                  <a:gd name="connsiteX2625" fmla="*/ 1263 w 10577"/>
                  <a:gd name="connsiteY2625" fmla="*/ 9897 h 10000"/>
                  <a:gd name="connsiteX2626" fmla="*/ 1276 w 10577"/>
                  <a:gd name="connsiteY2626" fmla="*/ 9923 h 10000"/>
                  <a:gd name="connsiteX2627" fmla="*/ 1281 w 10577"/>
                  <a:gd name="connsiteY2627" fmla="*/ 9949 h 10000"/>
                  <a:gd name="connsiteX2628" fmla="*/ 1290 w 10577"/>
                  <a:gd name="connsiteY2628" fmla="*/ 9949 h 10000"/>
                  <a:gd name="connsiteX2629" fmla="*/ 1295 w 10577"/>
                  <a:gd name="connsiteY2629" fmla="*/ 10000 h 10000"/>
                  <a:gd name="connsiteX2630" fmla="*/ 1332 w 10577"/>
                  <a:gd name="connsiteY2630" fmla="*/ 10000 h 10000"/>
                  <a:gd name="connsiteX2631" fmla="*/ 1336 w 10577"/>
                  <a:gd name="connsiteY2631" fmla="*/ 10000 h 10000"/>
                  <a:gd name="connsiteX2632" fmla="*/ 1346 w 10577"/>
                  <a:gd name="connsiteY2632" fmla="*/ 9983 h 10000"/>
                  <a:gd name="connsiteX2633" fmla="*/ 1350 w 10577"/>
                  <a:gd name="connsiteY2633" fmla="*/ 9949 h 10000"/>
                  <a:gd name="connsiteX2634" fmla="*/ 1369 w 10577"/>
                  <a:gd name="connsiteY2634" fmla="*/ 9940 h 10000"/>
                  <a:gd name="connsiteX2635" fmla="*/ 1378 w 10577"/>
                  <a:gd name="connsiteY2635" fmla="*/ 9897 h 10000"/>
                  <a:gd name="connsiteX2636" fmla="*/ 1369 w 10577"/>
                  <a:gd name="connsiteY2636" fmla="*/ 9889 h 10000"/>
                  <a:gd name="connsiteX2637" fmla="*/ 1318 w 10577"/>
                  <a:gd name="connsiteY2637" fmla="*/ 9701 h 10000"/>
                  <a:gd name="connsiteX2638" fmla="*/ 1318 w 10577"/>
                  <a:gd name="connsiteY2638" fmla="*/ 9650 h 10000"/>
                  <a:gd name="connsiteX2639" fmla="*/ 1323 w 10577"/>
                  <a:gd name="connsiteY2639" fmla="*/ 9590 h 10000"/>
                  <a:gd name="connsiteX2640" fmla="*/ 1323 w 10577"/>
                  <a:gd name="connsiteY2640" fmla="*/ 9564 h 10000"/>
                  <a:gd name="connsiteX2641" fmla="*/ 1309 w 10577"/>
                  <a:gd name="connsiteY2641" fmla="*/ 9598 h 10000"/>
                  <a:gd name="connsiteX2642" fmla="*/ 1309 w 10577"/>
                  <a:gd name="connsiteY2642" fmla="*/ 9590 h 10000"/>
                  <a:gd name="connsiteX2643" fmla="*/ 1304 w 10577"/>
                  <a:gd name="connsiteY2643" fmla="*/ 9547 h 10000"/>
                  <a:gd name="connsiteX2644" fmla="*/ 1276 w 10577"/>
                  <a:gd name="connsiteY2644" fmla="*/ 9479 h 10000"/>
                  <a:gd name="connsiteX2645" fmla="*/ 1263 w 10577"/>
                  <a:gd name="connsiteY2645" fmla="*/ 9479 h 10000"/>
                  <a:gd name="connsiteX2646" fmla="*/ 1263 w 10577"/>
                  <a:gd name="connsiteY2646" fmla="*/ 9453 h 10000"/>
                  <a:gd name="connsiteX2647" fmla="*/ 1272 w 10577"/>
                  <a:gd name="connsiteY2647" fmla="*/ 9410 h 10000"/>
                  <a:gd name="connsiteX2648" fmla="*/ 1272 w 10577"/>
                  <a:gd name="connsiteY2648" fmla="*/ 9393 h 10000"/>
                  <a:gd name="connsiteX2649" fmla="*/ 1281 w 10577"/>
                  <a:gd name="connsiteY2649" fmla="*/ 9368 h 10000"/>
                  <a:gd name="connsiteX2650" fmla="*/ 1281 w 10577"/>
                  <a:gd name="connsiteY2650" fmla="*/ 9368 h 10000"/>
                  <a:gd name="connsiteX2651" fmla="*/ 1290 w 10577"/>
                  <a:gd name="connsiteY2651" fmla="*/ 9368 h 10000"/>
                  <a:gd name="connsiteX2652" fmla="*/ 1290 w 10577"/>
                  <a:gd name="connsiteY2652" fmla="*/ 9342 h 10000"/>
                  <a:gd name="connsiteX2653" fmla="*/ 1304 w 10577"/>
                  <a:gd name="connsiteY2653" fmla="*/ 9325 h 10000"/>
                  <a:gd name="connsiteX2654" fmla="*/ 1309 w 10577"/>
                  <a:gd name="connsiteY2654" fmla="*/ 9239 h 10000"/>
                  <a:gd name="connsiteX2655" fmla="*/ 1318 w 10577"/>
                  <a:gd name="connsiteY2655" fmla="*/ 9256 h 10000"/>
                  <a:gd name="connsiteX2656" fmla="*/ 1323 w 10577"/>
                  <a:gd name="connsiteY2656" fmla="*/ 9179 h 10000"/>
                  <a:gd name="connsiteX2657" fmla="*/ 1309 w 10577"/>
                  <a:gd name="connsiteY2657" fmla="*/ 9145 h 10000"/>
                  <a:gd name="connsiteX2658" fmla="*/ 1336 w 10577"/>
                  <a:gd name="connsiteY2658" fmla="*/ 9154 h 10000"/>
                  <a:gd name="connsiteX2659" fmla="*/ 1336 w 10577"/>
                  <a:gd name="connsiteY2659" fmla="*/ 9162 h 10000"/>
                  <a:gd name="connsiteX2660" fmla="*/ 1350 w 10577"/>
                  <a:gd name="connsiteY2660" fmla="*/ 9231 h 10000"/>
                  <a:gd name="connsiteX2661" fmla="*/ 1355 w 10577"/>
                  <a:gd name="connsiteY2661" fmla="*/ 9231 h 10000"/>
                  <a:gd name="connsiteX2662" fmla="*/ 1364 w 10577"/>
                  <a:gd name="connsiteY2662" fmla="*/ 9214 h 10000"/>
                  <a:gd name="connsiteX2663" fmla="*/ 1369 w 10577"/>
                  <a:gd name="connsiteY2663" fmla="*/ 9214 h 10000"/>
                  <a:gd name="connsiteX2664" fmla="*/ 1382 w 10577"/>
                  <a:gd name="connsiteY2664" fmla="*/ 9154 h 10000"/>
                  <a:gd name="connsiteX2665" fmla="*/ 1396 w 10577"/>
                  <a:gd name="connsiteY2665" fmla="*/ 9154 h 10000"/>
                  <a:gd name="connsiteX2666" fmla="*/ 1382 w 10577"/>
                  <a:gd name="connsiteY2666" fmla="*/ 9145 h 10000"/>
                  <a:gd name="connsiteX2667" fmla="*/ 1382 w 10577"/>
                  <a:gd name="connsiteY2667" fmla="*/ 9128 h 10000"/>
                  <a:gd name="connsiteX2668" fmla="*/ 1369 w 10577"/>
                  <a:gd name="connsiteY2668" fmla="*/ 9128 h 10000"/>
                  <a:gd name="connsiteX2669" fmla="*/ 1364 w 10577"/>
                  <a:gd name="connsiteY2669" fmla="*/ 9128 h 10000"/>
                  <a:gd name="connsiteX2670" fmla="*/ 1355 w 10577"/>
                  <a:gd name="connsiteY2670" fmla="*/ 9120 h 10000"/>
                  <a:gd name="connsiteX2671" fmla="*/ 1350 w 10577"/>
                  <a:gd name="connsiteY2671" fmla="*/ 9103 h 10000"/>
                  <a:gd name="connsiteX2672" fmla="*/ 1355 w 10577"/>
                  <a:gd name="connsiteY2672" fmla="*/ 9094 h 10000"/>
                  <a:gd name="connsiteX2673" fmla="*/ 1355 w 10577"/>
                  <a:gd name="connsiteY2673" fmla="*/ 9068 h 10000"/>
                  <a:gd name="connsiteX2674" fmla="*/ 1369 w 10577"/>
                  <a:gd name="connsiteY2674" fmla="*/ 9068 h 10000"/>
                  <a:gd name="connsiteX2675" fmla="*/ 1378 w 10577"/>
                  <a:gd name="connsiteY2675" fmla="*/ 9077 h 10000"/>
                  <a:gd name="connsiteX2676" fmla="*/ 1396 w 10577"/>
                  <a:gd name="connsiteY2676" fmla="*/ 9068 h 10000"/>
                  <a:gd name="connsiteX2677" fmla="*/ 1382 w 10577"/>
                  <a:gd name="connsiteY2677" fmla="*/ 8940 h 10000"/>
                  <a:gd name="connsiteX2678" fmla="*/ 1378 w 10577"/>
                  <a:gd name="connsiteY2678" fmla="*/ 8940 h 10000"/>
                  <a:gd name="connsiteX2679" fmla="*/ 1364 w 10577"/>
                  <a:gd name="connsiteY2679" fmla="*/ 8889 h 10000"/>
                  <a:gd name="connsiteX2680" fmla="*/ 1355 w 10577"/>
                  <a:gd name="connsiteY2680" fmla="*/ 8880 h 10000"/>
                  <a:gd name="connsiteX2681" fmla="*/ 1323 w 10577"/>
                  <a:gd name="connsiteY2681" fmla="*/ 8880 h 10000"/>
                  <a:gd name="connsiteX2682" fmla="*/ 1309 w 10577"/>
                  <a:gd name="connsiteY2682" fmla="*/ 8880 h 10000"/>
                  <a:gd name="connsiteX2683" fmla="*/ 1309 w 10577"/>
                  <a:gd name="connsiteY2683" fmla="*/ 8889 h 10000"/>
                  <a:gd name="connsiteX2684" fmla="*/ 1295 w 10577"/>
                  <a:gd name="connsiteY2684" fmla="*/ 8872 h 10000"/>
                  <a:gd name="connsiteX2685" fmla="*/ 1290 w 10577"/>
                  <a:gd name="connsiteY2685" fmla="*/ 8855 h 10000"/>
                  <a:gd name="connsiteX2686" fmla="*/ 1290 w 10577"/>
                  <a:gd name="connsiteY2686" fmla="*/ 8829 h 10000"/>
                  <a:gd name="connsiteX2687" fmla="*/ 1290 w 10577"/>
                  <a:gd name="connsiteY2687" fmla="*/ 8821 h 10000"/>
                  <a:gd name="connsiteX2688" fmla="*/ 1290 w 10577"/>
                  <a:gd name="connsiteY2688" fmla="*/ 8803 h 10000"/>
                  <a:gd name="connsiteX2689" fmla="*/ 1281 w 10577"/>
                  <a:gd name="connsiteY2689" fmla="*/ 8795 h 10000"/>
                  <a:gd name="connsiteX2690" fmla="*/ 1249 w 10577"/>
                  <a:gd name="connsiteY2690" fmla="*/ 8769 h 10000"/>
                  <a:gd name="connsiteX2691" fmla="*/ 1263 w 10577"/>
                  <a:gd name="connsiteY2691" fmla="*/ 8667 h 10000"/>
                  <a:gd name="connsiteX2692" fmla="*/ 1281 w 10577"/>
                  <a:gd name="connsiteY2692" fmla="*/ 8658 h 10000"/>
                  <a:gd name="connsiteX2693" fmla="*/ 1290 w 10577"/>
                  <a:gd name="connsiteY2693" fmla="*/ 8632 h 10000"/>
                  <a:gd name="connsiteX2694" fmla="*/ 1281 w 10577"/>
                  <a:gd name="connsiteY2694" fmla="*/ 8615 h 10000"/>
                  <a:gd name="connsiteX2695" fmla="*/ 1272 w 10577"/>
                  <a:gd name="connsiteY2695" fmla="*/ 8598 h 10000"/>
                  <a:gd name="connsiteX2696" fmla="*/ 1281 w 10577"/>
                  <a:gd name="connsiteY2696" fmla="*/ 8496 h 10000"/>
                  <a:gd name="connsiteX2697" fmla="*/ 1295 w 10577"/>
                  <a:gd name="connsiteY2697" fmla="*/ 8470 h 10000"/>
                  <a:gd name="connsiteX2698" fmla="*/ 1304 w 10577"/>
                  <a:gd name="connsiteY2698" fmla="*/ 8462 h 10000"/>
                  <a:gd name="connsiteX2699" fmla="*/ 1304 w 10577"/>
                  <a:gd name="connsiteY2699" fmla="*/ 8444 h 10000"/>
                  <a:gd name="connsiteX2700" fmla="*/ 1304 w 10577"/>
                  <a:gd name="connsiteY2700" fmla="*/ 8419 h 10000"/>
                  <a:gd name="connsiteX2701" fmla="*/ 1304 w 10577"/>
                  <a:gd name="connsiteY2701" fmla="*/ 8410 h 10000"/>
                  <a:gd name="connsiteX2702" fmla="*/ 1309 w 10577"/>
                  <a:gd name="connsiteY2702" fmla="*/ 8393 h 10000"/>
                  <a:gd name="connsiteX2703" fmla="*/ 1318 w 10577"/>
                  <a:gd name="connsiteY2703" fmla="*/ 8385 h 10000"/>
                  <a:gd name="connsiteX2704" fmla="*/ 1323 w 10577"/>
                  <a:gd name="connsiteY2704" fmla="*/ 8385 h 10000"/>
                  <a:gd name="connsiteX2705" fmla="*/ 1332 w 10577"/>
                  <a:gd name="connsiteY2705" fmla="*/ 8410 h 10000"/>
                  <a:gd name="connsiteX2706" fmla="*/ 1346 w 10577"/>
                  <a:gd name="connsiteY2706" fmla="*/ 8419 h 10000"/>
                  <a:gd name="connsiteX2707" fmla="*/ 1364 w 10577"/>
                  <a:gd name="connsiteY2707" fmla="*/ 8504 h 10000"/>
                  <a:gd name="connsiteX2708" fmla="*/ 1369 w 10577"/>
                  <a:gd name="connsiteY2708" fmla="*/ 8521 h 10000"/>
                  <a:gd name="connsiteX2709" fmla="*/ 1406 w 10577"/>
                  <a:gd name="connsiteY2709" fmla="*/ 8470 h 10000"/>
                  <a:gd name="connsiteX2710" fmla="*/ 1382 w 10577"/>
                  <a:gd name="connsiteY2710" fmla="*/ 8359 h 10000"/>
                  <a:gd name="connsiteX2711" fmla="*/ 1392 w 10577"/>
                  <a:gd name="connsiteY2711" fmla="*/ 8359 h 10000"/>
                  <a:gd name="connsiteX2712" fmla="*/ 1438 w 10577"/>
                  <a:gd name="connsiteY2712" fmla="*/ 8308 h 10000"/>
                  <a:gd name="connsiteX2713" fmla="*/ 1442 w 10577"/>
                  <a:gd name="connsiteY2713" fmla="*/ 8299 h 10000"/>
                  <a:gd name="connsiteX2714" fmla="*/ 1442 w 10577"/>
                  <a:gd name="connsiteY2714" fmla="*/ 8256 h 10000"/>
                  <a:gd name="connsiteX2715" fmla="*/ 1452 w 10577"/>
                  <a:gd name="connsiteY2715" fmla="*/ 8256 h 10000"/>
                  <a:gd name="connsiteX2716" fmla="*/ 1456 w 10577"/>
                  <a:gd name="connsiteY2716" fmla="*/ 8256 h 10000"/>
                  <a:gd name="connsiteX2717" fmla="*/ 1470 w 10577"/>
                  <a:gd name="connsiteY2717" fmla="*/ 8248 h 10000"/>
                  <a:gd name="connsiteX2718" fmla="*/ 1479 w 10577"/>
                  <a:gd name="connsiteY2718" fmla="*/ 8231 h 10000"/>
                  <a:gd name="connsiteX2719" fmla="*/ 1493 w 10577"/>
                  <a:gd name="connsiteY2719" fmla="*/ 8222 h 10000"/>
                  <a:gd name="connsiteX2720" fmla="*/ 1498 w 10577"/>
                  <a:gd name="connsiteY2720" fmla="*/ 8214 h 10000"/>
                  <a:gd name="connsiteX2721" fmla="*/ 1502 w 10577"/>
                  <a:gd name="connsiteY2721" fmla="*/ 8197 h 10000"/>
                  <a:gd name="connsiteX2722" fmla="*/ 1512 w 10577"/>
                  <a:gd name="connsiteY2722" fmla="*/ 8188 h 10000"/>
                  <a:gd name="connsiteX2723" fmla="*/ 1516 w 10577"/>
                  <a:gd name="connsiteY2723" fmla="*/ 8171 h 10000"/>
                  <a:gd name="connsiteX2724" fmla="*/ 1525 w 10577"/>
                  <a:gd name="connsiteY2724" fmla="*/ 8162 h 10000"/>
                  <a:gd name="connsiteX2725" fmla="*/ 1539 w 10577"/>
                  <a:gd name="connsiteY2725" fmla="*/ 8145 h 10000"/>
                  <a:gd name="connsiteX2726" fmla="*/ 1558 w 10577"/>
                  <a:gd name="connsiteY2726" fmla="*/ 8145 h 10000"/>
                  <a:gd name="connsiteX2727" fmla="*/ 1562 w 10577"/>
                  <a:gd name="connsiteY2727" fmla="*/ 8188 h 10000"/>
                  <a:gd name="connsiteX2728" fmla="*/ 1585 w 10577"/>
                  <a:gd name="connsiteY2728" fmla="*/ 8171 h 10000"/>
                  <a:gd name="connsiteX2729" fmla="*/ 1590 w 10577"/>
                  <a:gd name="connsiteY2729" fmla="*/ 8188 h 10000"/>
                  <a:gd name="connsiteX2730" fmla="*/ 1599 w 10577"/>
                  <a:gd name="connsiteY2730" fmla="*/ 8171 h 10000"/>
                  <a:gd name="connsiteX2731" fmla="*/ 1599 w 10577"/>
                  <a:gd name="connsiteY2731" fmla="*/ 8162 h 10000"/>
                  <a:gd name="connsiteX2732" fmla="*/ 1604 w 10577"/>
                  <a:gd name="connsiteY2732" fmla="*/ 8137 h 10000"/>
                  <a:gd name="connsiteX2733" fmla="*/ 1618 w 10577"/>
                  <a:gd name="connsiteY2733" fmla="*/ 8145 h 10000"/>
                  <a:gd name="connsiteX2734" fmla="*/ 1627 w 10577"/>
                  <a:gd name="connsiteY2734" fmla="*/ 8137 h 10000"/>
                  <a:gd name="connsiteX2735" fmla="*/ 1631 w 10577"/>
                  <a:gd name="connsiteY2735" fmla="*/ 8137 h 10000"/>
                  <a:gd name="connsiteX2736" fmla="*/ 1636 w 10577"/>
                  <a:gd name="connsiteY2736" fmla="*/ 8171 h 10000"/>
                  <a:gd name="connsiteX2737" fmla="*/ 1645 w 10577"/>
                  <a:gd name="connsiteY2737" fmla="*/ 8188 h 10000"/>
                  <a:gd name="connsiteX2738" fmla="*/ 1664 w 10577"/>
                  <a:gd name="connsiteY2738" fmla="*/ 8171 h 10000"/>
                  <a:gd name="connsiteX2739" fmla="*/ 1673 w 10577"/>
                  <a:gd name="connsiteY2739" fmla="*/ 8188 h 10000"/>
                  <a:gd name="connsiteX2740" fmla="*/ 1691 w 10577"/>
                  <a:gd name="connsiteY2740" fmla="*/ 8171 h 10000"/>
                  <a:gd name="connsiteX2741" fmla="*/ 1705 w 10577"/>
                  <a:gd name="connsiteY2741" fmla="*/ 8171 h 10000"/>
                  <a:gd name="connsiteX2742" fmla="*/ 1719 w 10577"/>
                  <a:gd name="connsiteY2742" fmla="*/ 8197 h 10000"/>
                  <a:gd name="connsiteX2743" fmla="*/ 1724 w 10577"/>
                  <a:gd name="connsiteY2743" fmla="*/ 8231 h 10000"/>
                  <a:gd name="connsiteX2744" fmla="*/ 1751 w 10577"/>
                  <a:gd name="connsiteY2744" fmla="*/ 8256 h 10000"/>
                  <a:gd name="connsiteX2745" fmla="*/ 1751 w 10577"/>
                  <a:gd name="connsiteY2745" fmla="*/ 8274 h 10000"/>
                  <a:gd name="connsiteX2746" fmla="*/ 1760 w 10577"/>
                  <a:gd name="connsiteY2746" fmla="*/ 8282 h 10000"/>
                  <a:gd name="connsiteX2747" fmla="*/ 1770 w 10577"/>
                  <a:gd name="connsiteY2747" fmla="*/ 8325 h 10000"/>
                  <a:gd name="connsiteX2748" fmla="*/ 1770 w 10577"/>
                  <a:gd name="connsiteY2748" fmla="*/ 8350 h 10000"/>
                  <a:gd name="connsiteX2749" fmla="*/ 1779 w 10577"/>
                  <a:gd name="connsiteY2749" fmla="*/ 8368 h 10000"/>
                  <a:gd name="connsiteX2750" fmla="*/ 1783 w 10577"/>
                  <a:gd name="connsiteY2750" fmla="*/ 8359 h 10000"/>
                  <a:gd name="connsiteX2751" fmla="*/ 1783 w 10577"/>
                  <a:gd name="connsiteY2751" fmla="*/ 8308 h 10000"/>
                  <a:gd name="connsiteX2752" fmla="*/ 1779 w 10577"/>
                  <a:gd name="connsiteY2752" fmla="*/ 8299 h 10000"/>
                  <a:gd name="connsiteX2753" fmla="*/ 1783 w 10577"/>
                  <a:gd name="connsiteY2753" fmla="*/ 8282 h 10000"/>
                  <a:gd name="connsiteX2754" fmla="*/ 1797 w 10577"/>
                  <a:gd name="connsiteY2754" fmla="*/ 8274 h 10000"/>
                  <a:gd name="connsiteX2755" fmla="*/ 1797 w 10577"/>
                  <a:gd name="connsiteY2755" fmla="*/ 8299 h 10000"/>
                  <a:gd name="connsiteX2756" fmla="*/ 1806 w 10577"/>
                  <a:gd name="connsiteY2756" fmla="*/ 8308 h 10000"/>
                  <a:gd name="connsiteX2757" fmla="*/ 1811 w 10577"/>
                  <a:gd name="connsiteY2757" fmla="*/ 8325 h 10000"/>
                  <a:gd name="connsiteX2758" fmla="*/ 1820 w 10577"/>
                  <a:gd name="connsiteY2758" fmla="*/ 8333 h 10000"/>
                  <a:gd name="connsiteX2759" fmla="*/ 1853 w 10577"/>
                  <a:gd name="connsiteY2759" fmla="*/ 8359 h 10000"/>
                  <a:gd name="connsiteX2760" fmla="*/ 1866 w 10577"/>
                  <a:gd name="connsiteY2760" fmla="*/ 8359 h 10000"/>
                  <a:gd name="connsiteX2761" fmla="*/ 1885 w 10577"/>
                  <a:gd name="connsiteY2761" fmla="*/ 8325 h 10000"/>
                  <a:gd name="connsiteX2762" fmla="*/ 1885 w 10577"/>
                  <a:gd name="connsiteY2762" fmla="*/ 8308 h 10000"/>
                  <a:gd name="connsiteX2763" fmla="*/ 1894 w 10577"/>
                  <a:gd name="connsiteY2763" fmla="*/ 8299 h 10000"/>
                  <a:gd name="connsiteX2764" fmla="*/ 1899 w 10577"/>
                  <a:gd name="connsiteY2764" fmla="*/ 8282 h 10000"/>
                  <a:gd name="connsiteX2765" fmla="*/ 1912 w 10577"/>
                  <a:gd name="connsiteY2765" fmla="*/ 8282 h 10000"/>
                  <a:gd name="connsiteX2766" fmla="*/ 1917 w 10577"/>
                  <a:gd name="connsiteY2766" fmla="*/ 8299 h 10000"/>
                  <a:gd name="connsiteX2767" fmla="*/ 1917 w 10577"/>
                  <a:gd name="connsiteY2767" fmla="*/ 8274 h 10000"/>
                  <a:gd name="connsiteX2768" fmla="*/ 1940 w 10577"/>
                  <a:gd name="connsiteY2768" fmla="*/ 8282 h 10000"/>
                  <a:gd name="connsiteX2769" fmla="*/ 1945 w 10577"/>
                  <a:gd name="connsiteY2769" fmla="*/ 8274 h 10000"/>
                  <a:gd name="connsiteX2770" fmla="*/ 1972 w 10577"/>
                  <a:gd name="connsiteY2770" fmla="*/ 8308 h 10000"/>
                  <a:gd name="connsiteX2771" fmla="*/ 1986 w 10577"/>
                  <a:gd name="connsiteY2771" fmla="*/ 8282 h 10000"/>
                  <a:gd name="connsiteX2772" fmla="*/ 1991 w 10577"/>
                  <a:gd name="connsiteY2772" fmla="*/ 8274 h 10000"/>
                  <a:gd name="connsiteX2773" fmla="*/ 2014 w 10577"/>
                  <a:gd name="connsiteY2773" fmla="*/ 8274 h 10000"/>
                  <a:gd name="connsiteX2774" fmla="*/ 2018 w 10577"/>
                  <a:gd name="connsiteY2774" fmla="*/ 8256 h 10000"/>
                  <a:gd name="connsiteX2775" fmla="*/ 2041 w 10577"/>
                  <a:gd name="connsiteY2775" fmla="*/ 8274 h 10000"/>
                  <a:gd name="connsiteX2776" fmla="*/ 2046 w 10577"/>
                  <a:gd name="connsiteY2776" fmla="*/ 8282 h 10000"/>
                  <a:gd name="connsiteX2777" fmla="*/ 2046 w 10577"/>
                  <a:gd name="connsiteY2777" fmla="*/ 8325 h 10000"/>
                  <a:gd name="connsiteX2778" fmla="*/ 2060 w 10577"/>
                  <a:gd name="connsiteY2778" fmla="*/ 8350 h 10000"/>
                  <a:gd name="connsiteX2779" fmla="*/ 2078 w 10577"/>
                  <a:gd name="connsiteY2779" fmla="*/ 8350 h 10000"/>
                  <a:gd name="connsiteX2780" fmla="*/ 2092 w 10577"/>
                  <a:gd name="connsiteY2780" fmla="*/ 8350 h 10000"/>
                  <a:gd name="connsiteX2781" fmla="*/ 2092 w 10577"/>
                  <a:gd name="connsiteY2781" fmla="*/ 8350 h 10000"/>
                  <a:gd name="connsiteX2782" fmla="*/ 2101 w 10577"/>
                  <a:gd name="connsiteY2782" fmla="*/ 8368 h 10000"/>
                  <a:gd name="connsiteX2783" fmla="*/ 2120 w 10577"/>
                  <a:gd name="connsiteY2783" fmla="*/ 8368 h 10000"/>
                  <a:gd name="connsiteX2784" fmla="*/ 2124 w 10577"/>
                  <a:gd name="connsiteY2784" fmla="*/ 8359 h 10000"/>
                  <a:gd name="connsiteX2785" fmla="*/ 2138 w 10577"/>
                  <a:gd name="connsiteY2785" fmla="*/ 8325 h 10000"/>
                  <a:gd name="connsiteX2786" fmla="*/ 2147 w 10577"/>
                  <a:gd name="connsiteY2786" fmla="*/ 8325 h 10000"/>
                  <a:gd name="connsiteX2787" fmla="*/ 2161 w 10577"/>
                  <a:gd name="connsiteY2787" fmla="*/ 8350 h 10000"/>
                  <a:gd name="connsiteX2788" fmla="*/ 2198 w 10577"/>
                  <a:gd name="connsiteY2788" fmla="*/ 8350 h 10000"/>
                  <a:gd name="connsiteX2789" fmla="*/ 2207 w 10577"/>
                  <a:gd name="connsiteY2789" fmla="*/ 8333 h 10000"/>
                  <a:gd name="connsiteX2790" fmla="*/ 2226 w 10577"/>
                  <a:gd name="connsiteY2790" fmla="*/ 8325 h 10000"/>
                  <a:gd name="connsiteX2791" fmla="*/ 2249 w 10577"/>
                  <a:gd name="connsiteY2791" fmla="*/ 8222 h 10000"/>
                  <a:gd name="connsiteX2792" fmla="*/ 2235 w 10577"/>
                  <a:gd name="connsiteY2792" fmla="*/ 8197 h 10000"/>
                  <a:gd name="connsiteX2793" fmla="*/ 2198 w 10577"/>
                  <a:gd name="connsiteY2793" fmla="*/ 8197 h 10000"/>
                  <a:gd name="connsiteX2794" fmla="*/ 2189 w 10577"/>
                  <a:gd name="connsiteY2794" fmla="*/ 8171 h 10000"/>
                  <a:gd name="connsiteX2795" fmla="*/ 2161 w 10577"/>
                  <a:gd name="connsiteY2795" fmla="*/ 8145 h 10000"/>
                  <a:gd name="connsiteX2796" fmla="*/ 2161 w 10577"/>
                  <a:gd name="connsiteY2796" fmla="*/ 8137 h 10000"/>
                  <a:gd name="connsiteX2797" fmla="*/ 2152 w 10577"/>
                  <a:gd name="connsiteY2797" fmla="*/ 8120 h 10000"/>
                  <a:gd name="connsiteX2798" fmla="*/ 2138 w 10577"/>
                  <a:gd name="connsiteY2798" fmla="*/ 8111 h 10000"/>
                  <a:gd name="connsiteX2799" fmla="*/ 2138 w 10577"/>
                  <a:gd name="connsiteY2799" fmla="*/ 8094 h 10000"/>
                  <a:gd name="connsiteX2800" fmla="*/ 2147 w 10577"/>
                  <a:gd name="connsiteY2800" fmla="*/ 8085 h 10000"/>
                  <a:gd name="connsiteX2801" fmla="*/ 2161 w 10577"/>
                  <a:gd name="connsiteY2801" fmla="*/ 8060 h 10000"/>
                  <a:gd name="connsiteX2802" fmla="*/ 2198 w 10577"/>
                  <a:gd name="connsiteY2802" fmla="*/ 8034 h 10000"/>
                  <a:gd name="connsiteX2803" fmla="*/ 2198 w 10577"/>
                  <a:gd name="connsiteY2803" fmla="*/ 8026 h 10000"/>
                  <a:gd name="connsiteX2804" fmla="*/ 2198 w 10577"/>
                  <a:gd name="connsiteY2804" fmla="*/ 8000 h 10000"/>
                  <a:gd name="connsiteX2805" fmla="*/ 2180 w 10577"/>
                  <a:gd name="connsiteY2805" fmla="*/ 7940 h 10000"/>
                  <a:gd name="connsiteX2806" fmla="*/ 2189 w 10577"/>
                  <a:gd name="connsiteY2806" fmla="*/ 7940 h 10000"/>
                  <a:gd name="connsiteX2807" fmla="*/ 2198 w 10577"/>
                  <a:gd name="connsiteY2807" fmla="*/ 7923 h 10000"/>
                  <a:gd name="connsiteX2808" fmla="*/ 2198 w 10577"/>
                  <a:gd name="connsiteY2808" fmla="*/ 7897 h 10000"/>
                  <a:gd name="connsiteX2809" fmla="*/ 2207 w 10577"/>
                  <a:gd name="connsiteY2809" fmla="*/ 7889 h 10000"/>
                  <a:gd name="connsiteX2810" fmla="*/ 2221 w 10577"/>
                  <a:gd name="connsiteY2810" fmla="*/ 7889 h 10000"/>
                  <a:gd name="connsiteX2811" fmla="*/ 2226 w 10577"/>
                  <a:gd name="connsiteY2811" fmla="*/ 7897 h 10000"/>
                  <a:gd name="connsiteX2812" fmla="*/ 2235 w 10577"/>
                  <a:gd name="connsiteY2812" fmla="*/ 7889 h 10000"/>
                  <a:gd name="connsiteX2813" fmla="*/ 2249 w 10577"/>
                  <a:gd name="connsiteY2813" fmla="*/ 7897 h 10000"/>
                  <a:gd name="connsiteX2814" fmla="*/ 2267 w 10577"/>
                  <a:gd name="connsiteY2814" fmla="*/ 7897 h 10000"/>
                  <a:gd name="connsiteX2815" fmla="*/ 2272 w 10577"/>
                  <a:gd name="connsiteY2815" fmla="*/ 7889 h 10000"/>
                  <a:gd name="connsiteX2816" fmla="*/ 2281 w 10577"/>
                  <a:gd name="connsiteY2816" fmla="*/ 7872 h 10000"/>
                  <a:gd name="connsiteX2817" fmla="*/ 2272 w 10577"/>
                  <a:gd name="connsiteY2817" fmla="*/ 7846 h 10000"/>
                  <a:gd name="connsiteX2818" fmla="*/ 2253 w 10577"/>
                  <a:gd name="connsiteY2818" fmla="*/ 7838 h 10000"/>
                  <a:gd name="connsiteX2819" fmla="*/ 2221 w 10577"/>
                  <a:gd name="connsiteY2819" fmla="*/ 7821 h 10000"/>
                  <a:gd name="connsiteX2820" fmla="*/ 2212 w 10577"/>
                  <a:gd name="connsiteY2820" fmla="*/ 7812 h 10000"/>
                  <a:gd name="connsiteX2821" fmla="*/ 2212 w 10577"/>
                  <a:gd name="connsiteY2821" fmla="*/ 7803 h 10000"/>
                  <a:gd name="connsiteX2822" fmla="*/ 2221 w 10577"/>
                  <a:gd name="connsiteY2822" fmla="*/ 7803 h 10000"/>
                  <a:gd name="connsiteX2823" fmla="*/ 2235 w 10577"/>
                  <a:gd name="connsiteY2823" fmla="*/ 7786 h 10000"/>
                  <a:gd name="connsiteX2824" fmla="*/ 2240 w 10577"/>
                  <a:gd name="connsiteY2824" fmla="*/ 7778 h 10000"/>
                  <a:gd name="connsiteX2825" fmla="*/ 2226 w 10577"/>
                  <a:gd name="connsiteY2825" fmla="*/ 7761 h 10000"/>
                  <a:gd name="connsiteX2826" fmla="*/ 2221 w 10577"/>
                  <a:gd name="connsiteY2826" fmla="*/ 7778 h 10000"/>
                  <a:gd name="connsiteX2827" fmla="*/ 2198 w 10577"/>
                  <a:gd name="connsiteY2827" fmla="*/ 7778 h 10000"/>
                  <a:gd name="connsiteX2828" fmla="*/ 2198 w 10577"/>
                  <a:gd name="connsiteY2828" fmla="*/ 7752 h 10000"/>
                  <a:gd name="connsiteX2829" fmla="*/ 2207 w 10577"/>
                  <a:gd name="connsiteY2829" fmla="*/ 7735 h 10000"/>
                  <a:gd name="connsiteX2830" fmla="*/ 2212 w 10577"/>
                  <a:gd name="connsiteY2830" fmla="*/ 7726 h 10000"/>
                  <a:gd name="connsiteX2831" fmla="*/ 2198 w 10577"/>
                  <a:gd name="connsiteY2831" fmla="*/ 7692 h 10000"/>
                  <a:gd name="connsiteX2832" fmla="*/ 2221 w 10577"/>
                  <a:gd name="connsiteY2832" fmla="*/ 7692 h 10000"/>
                  <a:gd name="connsiteX2833" fmla="*/ 2221 w 10577"/>
                  <a:gd name="connsiteY2833" fmla="*/ 7675 h 10000"/>
                  <a:gd name="connsiteX2834" fmla="*/ 2235 w 10577"/>
                  <a:gd name="connsiteY2834" fmla="*/ 7675 h 10000"/>
                  <a:gd name="connsiteX2835" fmla="*/ 2240 w 10577"/>
                  <a:gd name="connsiteY2835" fmla="*/ 7692 h 10000"/>
                  <a:gd name="connsiteX2836" fmla="*/ 2249 w 10577"/>
                  <a:gd name="connsiteY2836" fmla="*/ 7692 h 10000"/>
                  <a:gd name="connsiteX2837" fmla="*/ 2258 w 10577"/>
                  <a:gd name="connsiteY2837" fmla="*/ 7692 h 10000"/>
                  <a:gd name="connsiteX2838" fmla="*/ 2267 w 10577"/>
                  <a:gd name="connsiteY2838" fmla="*/ 7692 h 10000"/>
                  <a:gd name="connsiteX2839" fmla="*/ 2295 w 10577"/>
                  <a:gd name="connsiteY2839" fmla="*/ 7692 h 10000"/>
                  <a:gd name="connsiteX2840" fmla="*/ 2300 w 10577"/>
                  <a:gd name="connsiteY2840" fmla="*/ 7701 h 10000"/>
                  <a:gd name="connsiteX2841" fmla="*/ 2313 w 10577"/>
                  <a:gd name="connsiteY2841" fmla="*/ 7675 h 10000"/>
                  <a:gd name="connsiteX2842" fmla="*/ 2323 w 10577"/>
                  <a:gd name="connsiteY2842" fmla="*/ 7675 h 10000"/>
                  <a:gd name="connsiteX2843" fmla="*/ 2341 w 10577"/>
                  <a:gd name="connsiteY2843" fmla="*/ 7675 h 10000"/>
                  <a:gd name="connsiteX2844" fmla="*/ 2346 w 10577"/>
                  <a:gd name="connsiteY2844" fmla="*/ 7667 h 10000"/>
                  <a:gd name="connsiteX2845" fmla="*/ 2359 w 10577"/>
                  <a:gd name="connsiteY2845" fmla="*/ 7650 h 10000"/>
                  <a:gd name="connsiteX2846" fmla="*/ 2373 w 10577"/>
                  <a:gd name="connsiteY2846" fmla="*/ 7624 h 10000"/>
                  <a:gd name="connsiteX2847" fmla="*/ 2382 w 10577"/>
                  <a:gd name="connsiteY2847" fmla="*/ 7641 h 10000"/>
                  <a:gd name="connsiteX2848" fmla="*/ 2396 w 10577"/>
                  <a:gd name="connsiteY2848" fmla="*/ 7650 h 10000"/>
                  <a:gd name="connsiteX2849" fmla="*/ 2401 w 10577"/>
                  <a:gd name="connsiteY2849" fmla="*/ 7650 h 10000"/>
                  <a:gd name="connsiteX2850" fmla="*/ 2401 w 10577"/>
                  <a:gd name="connsiteY2850" fmla="*/ 7624 h 10000"/>
                  <a:gd name="connsiteX2851" fmla="*/ 2419 w 10577"/>
                  <a:gd name="connsiteY2851" fmla="*/ 7624 h 10000"/>
                  <a:gd name="connsiteX2852" fmla="*/ 2433 w 10577"/>
                  <a:gd name="connsiteY2852" fmla="*/ 7615 h 10000"/>
                  <a:gd name="connsiteX2853" fmla="*/ 2442 w 10577"/>
                  <a:gd name="connsiteY2853" fmla="*/ 7615 h 10000"/>
                  <a:gd name="connsiteX2854" fmla="*/ 2447 w 10577"/>
                  <a:gd name="connsiteY2854" fmla="*/ 7598 h 10000"/>
                  <a:gd name="connsiteX2855" fmla="*/ 2461 w 10577"/>
                  <a:gd name="connsiteY2855" fmla="*/ 7598 h 10000"/>
                  <a:gd name="connsiteX2856" fmla="*/ 2465 w 10577"/>
                  <a:gd name="connsiteY2856" fmla="*/ 7615 h 10000"/>
                  <a:gd name="connsiteX2857" fmla="*/ 2479 w 10577"/>
                  <a:gd name="connsiteY2857" fmla="*/ 7564 h 10000"/>
                  <a:gd name="connsiteX2858" fmla="*/ 2488 w 10577"/>
                  <a:gd name="connsiteY2858" fmla="*/ 7556 h 10000"/>
                  <a:gd name="connsiteX2859" fmla="*/ 2493 w 10577"/>
                  <a:gd name="connsiteY2859" fmla="*/ 7556 h 10000"/>
                  <a:gd name="connsiteX2860" fmla="*/ 2507 w 10577"/>
                  <a:gd name="connsiteY2860" fmla="*/ 7556 h 10000"/>
                  <a:gd name="connsiteX2861" fmla="*/ 2530 w 10577"/>
                  <a:gd name="connsiteY2861" fmla="*/ 7538 h 10000"/>
                  <a:gd name="connsiteX2862" fmla="*/ 2530 w 10577"/>
                  <a:gd name="connsiteY2862" fmla="*/ 7556 h 10000"/>
                  <a:gd name="connsiteX2863" fmla="*/ 2641 w 10577"/>
                  <a:gd name="connsiteY2863" fmla="*/ 7504 h 10000"/>
                  <a:gd name="connsiteX2864" fmla="*/ 2654 w 10577"/>
                  <a:gd name="connsiteY2864" fmla="*/ 7487 h 10000"/>
                  <a:gd name="connsiteX2865" fmla="*/ 2664 w 10577"/>
                  <a:gd name="connsiteY2865" fmla="*/ 7487 h 10000"/>
                  <a:gd name="connsiteX2866" fmla="*/ 2668 w 10577"/>
                  <a:gd name="connsiteY2866" fmla="*/ 7479 h 10000"/>
                  <a:gd name="connsiteX2867" fmla="*/ 2673 w 10577"/>
                  <a:gd name="connsiteY2867" fmla="*/ 7462 h 10000"/>
                  <a:gd name="connsiteX2868" fmla="*/ 2673 w 10577"/>
                  <a:gd name="connsiteY2868" fmla="*/ 7427 h 10000"/>
                  <a:gd name="connsiteX2869" fmla="*/ 2687 w 10577"/>
                  <a:gd name="connsiteY2869" fmla="*/ 7436 h 10000"/>
                  <a:gd name="connsiteX2870" fmla="*/ 2696 w 10577"/>
                  <a:gd name="connsiteY2870" fmla="*/ 7427 h 10000"/>
                  <a:gd name="connsiteX2871" fmla="*/ 2700 w 10577"/>
                  <a:gd name="connsiteY2871" fmla="*/ 7419 h 10000"/>
                  <a:gd name="connsiteX2872" fmla="*/ 2710 w 10577"/>
                  <a:gd name="connsiteY2872" fmla="*/ 7402 h 10000"/>
                  <a:gd name="connsiteX2873" fmla="*/ 2724 w 10577"/>
                  <a:gd name="connsiteY2873" fmla="*/ 7402 h 10000"/>
                  <a:gd name="connsiteX2874" fmla="*/ 2724 w 10577"/>
                  <a:gd name="connsiteY2874" fmla="*/ 7393 h 10000"/>
                  <a:gd name="connsiteX2875" fmla="*/ 2737 w 10577"/>
                  <a:gd name="connsiteY2875" fmla="*/ 7393 h 10000"/>
                  <a:gd name="connsiteX2876" fmla="*/ 2742 w 10577"/>
                  <a:gd name="connsiteY2876" fmla="*/ 7402 h 10000"/>
                  <a:gd name="connsiteX2877" fmla="*/ 2747 w 10577"/>
                  <a:gd name="connsiteY2877" fmla="*/ 7402 h 10000"/>
                  <a:gd name="connsiteX2878" fmla="*/ 2760 w 10577"/>
                  <a:gd name="connsiteY2878" fmla="*/ 7402 h 10000"/>
                  <a:gd name="connsiteX2879" fmla="*/ 2770 w 10577"/>
                  <a:gd name="connsiteY2879" fmla="*/ 7402 h 10000"/>
                  <a:gd name="connsiteX2880" fmla="*/ 2774 w 10577"/>
                  <a:gd name="connsiteY2880" fmla="*/ 7402 h 10000"/>
                  <a:gd name="connsiteX2881" fmla="*/ 2783 w 10577"/>
                  <a:gd name="connsiteY2881" fmla="*/ 7419 h 10000"/>
                  <a:gd name="connsiteX2882" fmla="*/ 2802 w 10577"/>
                  <a:gd name="connsiteY2882" fmla="*/ 7436 h 10000"/>
                  <a:gd name="connsiteX2883" fmla="*/ 2816 w 10577"/>
                  <a:gd name="connsiteY2883" fmla="*/ 7419 h 10000"/>
                  <a:gd name="connsiteX2884" fmla="*/ 2834 w 10577"/>
                  <a:gd name="connsiteY2884" fmla="*/ 7419 h 10000"/>
                  <a:gd name="connsiteX2885" fmla="*/ 2843 w 10577"/>
                  <a:gd name="connsiteY2885" fmla="*/ 7419 h 10000"/>
                  <a:gd name="connsiteX2886" fmla="*/ 2848 w 10577"/>
                  <a:gd name="connsiteY2886" fmla="*/ 7436 h 10000"/>
                  <a:gd name="connsiteX2887" fmla="*/ 2857 w 10577"/>
                  <a:gd name="connsiteY2887" fmla="*/ 7453 h 10000"/>
                  <a:gd name="connsiteX2888" fmla="*/ 2857 w 10577"/>
                  <a:gd name="connsiteY2888" fmla="*/ 7504 h 10000"/>
                  <a:gd name="connsiteX2889" fmla="*/ 2862 w 10577"/>
                  <a:gd name="connsiteY2889" fmla="*/ 7530 h 10000"/>
                  <a:gd name="connsiteX2890" fmla="*/ 2876 w 10577"/>
                  <a:gd name="connsiteY2890" fmla="*/ 7538 h 10000"/>
                  <a:gd name="connsiteX2891" fmla="*/ 2871 w 10577"/>
                  <a:gd name="connsiteY2891" fmla="*/ 7564 h 10000"/>
                  <a:gd name="connsiteX2892" fmla="*/ 2871 w 10577"/>
                  <a:gd name="connsiteY2892" fmla="*/ 7598 h 10000"/>
                  <a:gd name="connsiteX2893" fmla="*/ 2857 w 10577"/>
                  <a:gd name="connsiteY2893" fmla="*/ 7624 h 10000"/>
                  <a:gd name="connsiteX2894" fmla="*/ 2862 w 10577"/>
                  <a:gd name="connsiteY2894" fmla="*/ 7641 h 10000"/>
                  <a:gd name="connsiteX2895" fmla="*/ 2871 w 10577"/>
                  <a:gd name="connsiteY2895" fmla="*/ 7667 h 10000"/>
                  <a:gd name="connsiteX2896" fmla="*/ 2880 w 10577"/>
                  <a:gd name="connsiteY2896" fmla="*/ 7650 h 10000"/>
                  <a:gd name="connsiteX2897" fmla="*/ 2894 w 10577"/>
                  <a:gd name="connsiteY2897" fmla="*/ 7667 h 10000"/>
                  <a:gd name="connsiteX2898" fmla="*/ 2903 w 10577"/>
                  <a:gd name="connsiteY2898" fmla="*/ 7667 h 10000"/>
                  <a:gd name="connsiteX2899" fmla="*/ 2908 w 10577"/>
                  <a:gd name="connsiteY2899" fmla="*/ 7641 h 10000"/>
                  <a:gd name="connsiteX2900" fmla="*/ 2917 w 10577"/>
                  <a:gd name="connsiteY2900" fmla="*/ 7641 h 10000"/>
                  <a:gd name="connsiteX2901" fmla="*/ 2922 w 10577"/>
                  <a:gd name="connsiteY2901" fmla="*/ 7641 h 10000"/>
                  <a:gd name="connsiteX2902" fmla="*/ 2931 w 10577"/>
                  <a:gd name="connsiteY2902" fmla="*/ 7615 h 10000"/>
                  <a:gd name="connsiteX2903" fmla="*/ 2935 w 10577"/>
                  <a:gd name="connsiteY2903" fmla="*/ 7615 h 10000"/>
                  <a:gd name="connsiteX2904" fmla="*/ 2945 w 10577"/>
                  <a:gd name="connsiteY2904" fmla="*/ 7650 h 10000"/>
                  <a:gd name="connsiteX2905" fmla="*/ 2949 w 10577"/>
                  <a:gd name="connsiteY2905" fmla="*/ 7667 h 10000"/>
                  <a:gd name="connsiteX2906" fmla="*/ 2949 w 10577"/>
                  <a:gd name="connsiteY2906" fmla="*/ 7675 h 10000"/>
                  <a:gd name="connsiteX2907" fmla="*/ 2945 w 10577"/>
                  <a:gd name="connsiteY2907" fmla="*/ 7692 h 10000"/>
                  <a:gd name="connsiteX2908" fmla="*/ 2963 w 10577"/>
                  <a:gd name="connsiteY2908" fmla="*/ 7701 h 10000"/>
                  <a:gd name="connsiteX2909" fmla="*/ 2963 w 10577"/>
                  <a:gd name="connsiteY2909" fmla="*/ 7675 h 10000"/>
                  <a:gd name="connsiteX2910" fmla="*/ 2954 w 10577"/>
                  <a:gd name="connsiteY2910" fmla="*/ 7667 h 10000"/>
                  <a:gd name="connsiteX2911" fmla="*/ 2963 w 10577"/>
                  <a:gd name="connsiteY2911" fmla="*/ 7667 h 10000"/>
                  <a:gd name="connsiteX2912" fmla="*/ 2982 w 10577"/>
                  <a:gd name="connsiteY2912" fmla="*/ 7667 h 10000"/>
                  <a:gd name="connsiteX2913" fmla="*/ 2991 w 10577"/>
                  <a:gd name="connsiteY2913" fmla="*/ 7675 h 10000"/>
                  <a:gd name="connsiteX2914" fmla="*/ 2995 w 10577"/>
                  <a:gd name="connsiteY2914" fmla="*/ 7692 h 10000"/>
                  <a:gd name="connsiteX2915" fmla="*/ 3009 w 10577"/>
                  <a:gd name="connsiteY2915" fmla="*/ 7701 h 10000"/>
                  <a:gd name="connsiteX2916" fmla="*/ 3018 w 10577"/>
                  <a:gd name="connsiteY2916" fmla="*/ 7701 h 10000"/>
                  <a:gd name="connsiteX2917" fmla="*/ 3023 w 10577"/>
                  <a:gd name="connsiteY2917" fmla="*/ 7692 h 10000"/>
                  <a:gd name="connsiteX2918" fmla="*/ 3028 w 10577"/>
                  <a:gd name="connsiteY2918" fmla="*/ 7675 h 10000"/>
                  <a:gd name="connsiteX2919" fmla="*/ 3037 w 10577"/>
                  <a:gd name="connsiteY2919" fmla="*/ 7692 h 10000"/>
                  <a:gd name="connsiteX2920" fmla="*/ 3028 w 10577"/>
                  <a:gd name="connsiteY2920" fmla="*/ 7709 h 10000"/>
                  <a:gd name="connsiteX2921" fmla="*/ 3023 w 10577"/>
                  <a:gd name="connsiteY2921" fmla="*/ 7709 h 10000"/>
                  <a:gd name="connsiteX2922" fmla="*/ 3018 w 10577"/>
                  <a:gd name="connsiteY2922" fmla="*/ 7726 h 10000"/>
                  <a:gd name="connsiteX2923" fmla="*/ 3009 w 10577"/>
                  <a:gd name="connsiteY2923" fmla="*/ 7735 h 10000"/>
                  <a:gd name="connsiteX2924" fmla="*/ 3009 w 10577"/>
                  <a:gd name="connsiteY2924" fmla="*/ 7761 h 10000"/>
                  <a:gd name="connsiteX2925" fmla="*/ 3009 w 10577"/>
                  <a:gd name="connsiteY2925" fmla="*/ 7778 h 10000"/>
                  <a:gd name="connsiteX2926" fmla="*/ 3018 w 10577"/>
                  <a:gd name="connsiteY2926" fmla="*/ 7786 h 10000"/>
                  <a:gd name="connsiteX2927" fmla="*/ 3023 w 10577"/>
                  <a:gd name="connsiteY2927" fmla="*/ 7786 h 10000"/>
                  <a:gd name="connsiteX2928" fmla="*/ 3028 w 10577"/>
                  <a:gd name="connsiteY2928" fmla="*/ 7778 h 10000"/>
                  <a:gd name="connsiteX2929" fmla="*/ 3051 w 10577"/>
                  <a:gd name="connsiteY2929" fmla="*/ 7761 h 10000"/>
                  <a:gd name="connsiteX2930" fmla="*/ 3055 w 10577"/>
                  <a:gd name="connsiteY2930" fmla="*/ 7778 h 10000"/>
                  <a:gd name="connsiteX2931" fmla="*/ 3065 w 10577"/>
                  <a:gd name="connsiteY2931" fmla="*/ 7761 h 10000"/>
                  <a:gd name="connsiteX2932" fmla="*/ 3069 w 10577"/>
                  <a:gd name="connsiteY2932" fmla="*/ 7786 h 10000"/>
                  <a:gd name="connsiteX2933" fmla="*/ 3083 w 10577"/>
                  <a:gd name="connsiteY2933" fmla="*/ 7786 h 10000"/>
                  <a:gd name="connsiteX2934" fmla="*/ 3078 w 10577"/>
                  <a:gd name="connsiteY2934" fmla="*/ 7761 h 10000"/>
                  <a:gd name="connsiteX2935" fmla="*/ 3083 w 10577"/>
                  <a:gd name="connsiteY2935" fmla="*/ 7752 h 10000"/>
                  <a:gd name="connsiteX2936" fmla="*/ 3097 w 10577"/>
                  <a:gd name="connsiteY2936" fmla="*/ 7752 h 10000"/>
                  <a:gd name="connsiteX2937" fmla="*/ 3111 w 10577"/>
                  <a:gd name="connsiteY2937" fmla="*/ 7726 h 10000"/>
                  <a:gd name="connsiteX2938" fmla="*/ 3124 w 10577"/>
                  <a:gd name="connsiteY2938" fmla="*/ 7709 h 10000"/>
                  <a:gd name="connsiteX2939" fmla="*/ 3143 w 10577"/>
                  <a:gd name="connsiteY2939" fmla="*/ 7692 h 10000"/>
                  <a:gd name="connsiteX2940" fmla="*/ 3152 w 10577"/>
                  <a:gd name="connsiteY2940" fmla="*/ 7667 h 10000"/>
                  <a:gd name="connsiteX2941" fmla="*/ 3157 w 10577"/>
                  <a:gd name="connsiteY2941" fmla="*/ 7650 h 10000"/>
                  <a:gd name="connsiteX2942" fmla="*/ 3161 w 10577"/>
                  <a:gd name="connsiteY2942" fmla="*/ 7650 h 10000"/>
                  <a:gd name="connsiteX2943" fmla="*/ 3189 w 10577"/>
                  <a:gd name="connsiteY2943" fmla="*/ 7641 h 10000"/>
                  <a:gd name="connsiteX2944" fmla="*/ 3198 w 10577"/>
                  <a:gd name="connsiteY2944" fmla="*/ 7624 h 10000"/>
                  <a:gd name="connsiteX2945" fmla="*/ 3217 w 10577"/>
                  <a:gd name="connsiteY2945" fmla="*/ 7615 h 10000"/>
                  <a:gd name="connsiteX2946" fmla="*/ 3235 w 10577"/>
                  <a:gd name="connsiteY2946" fmla="*/ 7598 h 10000"/>
                  <a:gd name="connsiteX2947" fmla="*/ 3235 w 10577"/>
                  <a:gd name="connsiteY2947" fmla="*/ 7615 h 10000"/>
                  <a:gd name="connsiteX2948" fmla="*/ 3235 w 10577"/>
                  <a:gd name="connsiteY2948" fmla="*/ 7641 h 10000"/>
                  <a:gd name="connsiteX2949" fmla="*/ 3235 w 10577"/>
                  <a:gd name="connsiteY2949" fmla="*/ 7650 h 10000"/>
                  <a:gd name="connsiteX2950" fmla="*/ 3226 w 10577"/>
                  <a:gd name="connsiteY2950" fmla="*/ 7650 h 10000"/>
                  <a:gd name="connsiteX2951" fmla="*/ 3217 w 10577"/>
                  <a:gd name="connsiteY2951" fmla="*/ 7650 h 10000"/>
                  <a:gd name="connsiteX2952" fmla="*/ 3212 w 10577"/>
                  <a:gd name="connsiteY2952" fmla="*/ 7675 h 10000"/>
                  <a:gd name="connsiteX2953" fmla="*/ 3212 w 10577"/>
                  <a:gd name="connsiteY2953" fmla="*/ 7675 h 10000"/>
                  <a:gd name="connsiteX0" fmla="*/ 3212 w 10746"/>
                  <a:gd name="connsiteY0" fmla="*/ 7675 h 10000"/>
                  <a:gd name="connsiteX1" fmla="*/ 3217 w 10746"/>
                  <a:gd name="connsiteY1" fmla="*/ 7692 h 10000"/>
                  <a:gd name="connsiteX2" fmla="*/ 3226 w 10746"/>
                  <a:gd name="connsiteY2" fmla="*/ 7692 h 10000"/>
                  <a:gd name="connsiteX3" fmla="*/ 3309 w 10746"/>
                  <a:gd name="connsiteY3" fmla="*/ 7838 h 10000"/>
                  <a:gd name="connsiteX4" fmla="*/ 3452 w 10746"/>
                  <a:gd name="connsiteY4" fmla="*/ 8325 h 10000"/>
                  <a:gd name="connsiteX5" fmla="*/ 3470 w 10746"/>
                  <a:gd name="connsiteY5" fmla="*/ 8299 h 10000"/>
                  <a:gd name="connsiteX6" fmla="*/ 3470 w 10746"/>
                  <a:gd name="connsiteY6" fmla="*/ 8282 h 10000"/>
                  <a:gd name="connsiteX7" fmla="*/ 3470 w 10746"/>
                  <a:gd name="connsiteY7" fmla="*/ 8274 h 10000"/>
                  <a:gd name="connsiteX8" fmla="*/ 3484 w 10746"/>
                  <a:gd name="connsiteY8" fmla="*/ 8231 h 10000"/>
                  <a:gd name="connsiteX9" fmla="*/ 3498 w 10746"/>
                  <a:gd name="connsiteY9" fmla="*/ 8231 h 10000"/>
                  <a:gd name="connsiteX10" fmla="*/ 3498 w 10746"/>
                  <a:gd name="connsiteY10" fmla="*/ 8248 h 10000"/>
                  <a:gd name="connsiteX11" fmla="*/ 3512 w 10746"/>
                  <a:gd name="connsiteY11" fmla="*/ 8256 h 10000"/>
                  <a:gd name="connsiteX12" fmla="*/ 3525 w 10746"/>
                  <a:gd name="connsiteY12" fmla="*/ 8274 h 10000"/>
                  <a:gd name="connsiteX13" fmla="*/ 3525 w 10746"/>
                  <a:gd name="connsiteY13" fmla="*/ 8282 h 10000"/>
                  <a:gd name="connsiteX14" fmla="*/ 3525 w 10746"/>
                  <a:gd name="connsiteY14" fmla="*/ 8308 h 10000"/>
                  <a:gd name="connsiteX15" fmla="*/ 3530 w 10746"/>
                  <a:gd name="connsiteY15" fmla="*/ 8308 h 10000"/>
                  <a:gd name="connsiteX16" fmla="*/ 3539 w 10746"/>
                  <a:gd name="connsiteY16" fmla="*/ 8333 h 10000"/>
                  <a:gd name="connsiteX17" fmla="*/ 3571 w 10746"/>
                  <a:gd name="connsiteY17" fmla="*/ 8333 h 10000"/>
                  <a:gd name="connsiteX18" fmla="*/ 3590 w 10746"/>
                  <a:gd name="connsiteY18" fmla="*/ 8350 h 10000"/>
                  <a:gd name="connsiteX19" fmla="*/ 3599 w 10746"/>
                  <a:gd name="connsiteY19" fmla="*/ 8333 h 10000"/>
                  <a:gd name="connsiteX20" fmla="*/ 3618 w 10746"/>
                  <a:gd name="connsiteY20" fmla="*/ 8333 h 10000"/>
                  <a:gd name="connsiteX21" fmla="*/ 3618 w 10746"/>
                  <a:gd name="connsiteY21" fmla="*/ 8325 h 10000"/>
                  <a:gd name="connsiteX22" fmla="*/ 3627 w 10746"/>
                  <a:gd name="connsiteY22" fmla="*/ 8308 h 10000"/>
                  <a:gd name="connsiteX23" fmla="*/ 3641 w 10746"/>
                  <a:gd name="connsiteY23" fmla="*/ 8308 h 10000"/>
                  <a:gd name="connsiteX24" fmla="*/ 3645 w 10746"/>
                  <a:gd name="connsiteY24" fmla="*/ 8308 h 10000"/>
                  <a:gd name="connsiteX25" fmla="*/ 3650 w 10746"/>
                  <a:gd name="connsiteY25" fmla="*/ 8299 h 10000"/>
                  <a:gd name="connsiteX26" fmla="*/ 3659 w 10746"/>
                  <a:gd name="connsiteY26" fmla="*/ 8282 h 10000"/>
                  <a:gd name="connsiteX27" fmla="*/ 3677 w 10746"/>
                  <a:gd name="connsiteY27" fmla="*/ 8299 h 10000"/>
                  <a:gd name="connsiteX28" fmla="*/ 3687 w 10746"/>
                  <a:gd name="connsiteY28" fmla="*/ 8299 h 10000"/>
                  <a:gd name="connsiteX29" fmla="*/ 3691 w 10746"/>
                  <a:gd name="connsiteY29" fmla="*/ 8325 h 10000"/>
                  <a:gd name="connsiteX30" fmla="*/ 3700 w 10746"/>
                  <a:gd name="connsiteY30" fmla="*/ 8325 h 10000"/>
                  <a:gd name="connsiteX31" fmla="*/ 3714 w 10746"/>
                  <a:gd name="connsiteY31" fmla="*/ 8359 h 10000"/>
                  <a:gd name="connsiteX32" fmla="*/ 3719 w 10746"/>
                  <a:gd name="connsiteY32" fmla="*/ 8359 h 10000"/>
                  <a:gd name="connsiteX33" fmla="*/ 3724 w 10746"/>
                  <a:gd name="connsiteY33" fmla="*/ 8368 h 10000"/>
                  <a:gd name="connsiteX34" fmla="*/ 3719 w 10746"/>
                  <a:gd name="connsiteY34" fmla="*/ 8393 h 10000"/>
                  <a:gd name="connsiteX35" fmla="*/ 3724 w 10746"/>
                  <a:gd name="connsiteY35" fmla="*/ 8410 h 10000"/>
                  <a:gd name="connsiteX36" fmla="*/ 3724 w 10746"/>
                  <a:gd name="connsiteY36" fmla="*/ 8436 h 10000"/>
                  <a:gd name="connsiteX37" fmla="*/ 3737 w 10746"/>
                  <a:gd name="connsiteY37" fmla="*/ 8436 h 10000"/>
                  <a:gd name="connsiteX38" fmla="*/ 3765 w 10746"/>
                  <a:gd name="connsiteY38" fmla="*/ 8462 h 10000"/>
                  <a:gd name="connsiteX39" fmla="*/ 3765 w 10746"/>
                  <a:gd name="connsiteY39" fmla="*/ 8470 h 10000"/>
                  <a:gd name="connsiteX40" fmla="*/ 3765 w 10746"/>
                  <a:gd name="connsiteY40" fmla="*/ 8496 h 10000"/>
                  <a:gd name="connsiteX41" fmla="*/ 3774 w 10746"/>
                  <a:gd name="connsiteY41" fmla="*/ 8496 h 10000"/>
                  <a:gd name="connsiteX42" fmla="*/ 3779 w 10746"/>
                  <a:gd name="connsiteY42" fmla="*/ 8504 h 10000"/>
                  <a:gd name="connsiteX43" fmla="*/ 3793 w 10746"/>
                  <a:gd name="connsiteY43" fmla="*/ 8547 h 10000"/>
                  <a:gd name="connsiteX44" fmla="*/ 3797 w 10746"/>
                  <a:gd name="connsiteY44" fmla="*/ 8547 h 10000"/>
                  <a:gd name="connsiteX45" fmla="*/ 3820 w 10746"/>
                  <a:gd name="connsiteY45" fmla="*/ 8556 h 10000"/>
                  <a:gd name="connsiteX46" fmla="*/ 3834 w 10746"/>
                  <a:gd name="connsiteY46" fmla="*/ 8573 h 10000"/>
                  <a:gd name="connsiteX47" fmla="*/ 3853 w 10746"/>
                  <a:gd name="connsiteY47" fmla="*/ 8573 h 10000"/>
                  <a:gd name="connsiteX48" fmla="*/ 3857 w 10746"/>
                  <a:gd name="connsiteY48" fmla="*/ 8556 h 10000"/>
                  <a:gd name="connsiteX49" fmla="*/ 3866 w 10746"/>
                  <a:gd name="connsiteY49" fmla="*/ 8547 h 10000"/>
                  <a:gd name="connsiteX50" fmla="*/ 3880 w 10746"/>
                  <a:gd name="connsiteY50" fmla="*/ 8530 h 10000"/>
                  <a:gd name="connsiteX51" fmla="*/ 3885 w 10746"/>
                  <a:gd name="connsiteY51" fmla="*/ 8547 h 10000"/>
                  <a:gd name="connsiteX52" fmla="*/ 3885 w 10746"/>
                  <a:gd name="connsiteY52" fmla="*/ 8573 h 10000"/>
                  <a:gd name="connsiteX53" fmla="*/ 3899 w 10746"/>
                  <a:gd name="connsiteY53" fmla="*/ 8573 h 10000"/>
                  <a:gd name="connsiteX54" fmla="*/ 3908 w 10746"/>
                  <a:gd name="connsiteY54" fmla="*/ 8607 h 10000"/>
                  <a:gd name="connsiteX55" fmla="*/ 3912 w 10746"/>
                  <a:gd name="connsiteY55" fmla="*/ 8615 h 10000"/>
                  <a:gd name="connsiteX56" fmla="*/ 3922 w 10746"/>
                  <a:gd name="connsiteY56" fmla="*/ 8632 h 10000"/>
                  <a:gd name="connsiteX57" fmla="*/ 3908 w 10746"/>
                  <a:gd name="connsiteY57" fmla="*/ 8692 h 10000"/>
                  <a:gd name="connsiteX58" fmla="*/ 3908 w 10746"/>
                  <a:gd name="connsiteY58" fmla="*/ 8692 h 10000"/>
                  <a:gd name="connsiteX59" fmla="*/ 3931 w 10746"/>
                  <a:gd name="connsiteY59" fmla="*/ 8709 h 10000"/>
                  <a:gd name="connsiteX60" fmla="*/ 3954 w 10746"/>
                  <a:gd name="connsiteY60" fmla="*/ 8667 h 10000"/>
                  <a:gd name="connsiteX61" fmla="*/ 3959 w 10746"/>
                  <a:gd name="connsiteY61" fmla="*/ 8667 h 10000"/>
                  <a:gd name="connsiteX62" fmla="*/ 3972 w 10746"/>
                  <a:gd name="connsiteY62" fmla="*/ 8615 h 10000"/>
                  <a:gd name="connsiteX63" fmla="*/ 3995 w 10746"/>
                  <a:gd name="connsiteY63" fmla="*/ 8581 h 10000"/>
                  <a:gd name="connsiteX64" fmla="*/ 4032 w 10746"/>
                  <a:gd name="connsiteY64" fmla="*/ 8556 h 10000"/>
                  <a:gd name="connsiteX65" fmla="*/ 4138 w 10746"/>
                  <a:gd name="connsiteY65" fmla="*/ 8419 h 10000"/>
                  <a:gd name="connsiteX66" fmla="*/ 4249 w 10746"/>
                  <a:gd name="connsiteY66" fmla="*/ 8359 h 10000"/>
                  <a:gd name="connsiteX67" fmla="*/ 4295 w 10746"/>
                  <a:gd name="connsiteY67" fmla="*/ 8385 h 10000"/>
                  <a:gd name="connsiteX68" fmla="*/ 4309 w 10746"/>
                  <a:gd name="connsiteY68" fmla="*/ 8410 h 10000"/>
                  <a:gd name="connsiteX69" fmla="*/ 4355 w 10746"/>
                  <a:gd name="connsiteY69" fmla="*/ 8393 h 10000"/>
                  <a:gd name="connsiteX70" fmla="*/ 4382 w 10746"/>
                  <a:gd name="connsiteY70" fmla="*/ 8393 h 10000"/>
                  <a:gd name="connsiteX71" fmla="*/ 4419 w 10746"/>
                  <a:gd name="connsiteY71" fmla="*/ 8487 h 10000"/>
                  <a:gd name="connsiteX72" fmla="*/ 4442 w 10746"/>
                  <a:gd name="connsiteY72" fmla="*/ 8487 h 10000"/>
                  <a:gd name="connsiteX73" fmla="*/ 4493 w 10746"/>
                  <a:gd name="connsiteY73" fmla="*/ 8470 h 10000"/>
                  <a:gd name="connsiteX74" fmla="*/ 4516 w 10746"/>
                  <a:gd name="connsiteY74" fmla="*/ 8487 h 10000"/>
                  <a:gd name="connsiteX75" fmla="*/ 4608 w 10746"/>
                  <a:gd name="connsiteY75" fmla="*/ 8470 h 10000"/>
                  <a:gd name="connsiteX76" fmla="*/ 4622 w 10746"/>
                  <a:gd name="connsiteY76" fmla="*/ 8470 h 10000"/>
                  <a:gd name="connsiteX77" fmla="*/ 4618 w 10746"/>
                  <a:gd name="connsiteY77" fmla="*/ 8419 h 10000"/>
                  <a:gd name="connsiteX78" fmla="*/ 4622 w 10746"/>
                  <a:gd name="connsiteY78" fmla="*/ 8385 h 10000"/>
                  <a:gd name="connsiteX79" fmla="*/ 4636 w 10746"/>
                  <a:gd name="connsiteY79" fmla="*/ 8350 h 10000"/>
                  <a:gd name="connsiteX80" fmla="*/ 4636 w 10746"/>
                  <a:gd name="connsiteY80" fmla="*/ 8325 h 10000"/>
                  <a:gd name="connsiteX81" fmla="*/ 4622 w 10746"/>
                  <a:gd name="connsiteY81" fmla="*/ 8282 h 10000"/>
                  <a:gd name="connsiteX82" fmla="*/ 4618 w 10746"/>
                  <a:gd name="connsiteY82" fmla="*/ 8248 h 10000"/>
                  <a:gd name="connsiteX83" fmla="*/ 4618 w 10746"/>
                  <a:gd name="connsiteY83" fmla="*/ 8214 h 10000"/>
                  <a:gd name="connsiteX84" fmla="*/ 4691 w 10746"/>
                  <a:gd name="connsiteY84" fmla="*/ 8077 h 10000"/>
                  <a:gd name="connsiteX85" fmla="*/ 4700 w 10746"/>
                  <a:gd name="connsiteY85" fmla="*/ 8060 h 10000"/>
                  <a:gd name="connsiteX86" fmla="*/ 4728 w 10746"/>
                  <a:gd name="connsiteY86" fmla="*/ 8077 h 10000"/>
                  <a:gd name="connsiteX87" fmla="*/ 4751 w 10746"/>
                  <a:gd name="connsiteY87" fmla="*/ 8094 h 10000"/>
                  <a:gd name="connsiteX88" fmla="*/ 4788 w 10746"/>
                  <a:gd name="connsiteY88" fmla="*/ 8120 h 10000"/>
                  <a:gd name="connsiteX89" fmla="*/ 4802 w 10746"/>
                  <a:gd name="connsiteY89" fmla="*/ 8162 h 10000"/>
                  <a:gd name="connsiteX90" fmla="*/ 4885 w 10746"/>
                  <a:gd name="connsiteY90" fmla="*/ 8197 h 10000"/>
                  <a:gd name="connsiteX91" fmla="*/ 4889 w 10746"/>
                  <a:gd name="connsiteY91" fmla="*/ 8231 h 10000"/>
                  <a:gd name="connsiteX92" fmla="*/ 4899 w 10746"/>
                  <a:gd name="connsiteY92" fmla="*/ 8333 h 10000"/>
                  <a:gd name="connsiteX93" fmla="*/ 4903 w 10746"/>
                  <a:gd name="connsiteY93" fmla="*/ 8333 h 10000"/>
                  <a:gd name="connsiteX94" fmla="*/ 4949 w 10746"/>
                  <a:gd name="connsiteY94" fmla="*/ 8410 h 10000"/>
                  <a:gd name="connsiteX95" fmla="*/ 4991 w 10746"/>
                  <a:gd name="connsiteY95" fmla="*/ 8436 h 10000"/>
                  <a:gd name="connsiteX96" fmla="*/ 5023 w 10746"/>
                  <a:gd name="connsiteY96" fmla="*/ 8419 h 10000"/>
                  <a:gd name="connsiteX97" fmla="*/ 5092 w 10746"/>
                  <a:gd name="connsiteY97" fmla="*/ 8359 h 10000"/>
                  <a:gd name="connsiteX98" fmla="*/ 5180 w 10746"/>
                  <a:gd name="connsiteY98" fmla="*/ 8410 h 10000"/>
                  <a:gd name="connsiteX99" fmla="*/ 5189 w 10746"/>
                  <a:gd name="connsiteY99" fmla="*/ 8436 h 10000"/>
                  <a:gd name="connsiteX100" fmla="*/ 5198 w 10746"/>
                  <a:gd name="connsiteY100" fmla="*/ 8436 h 10000"/>
                  <a:gd name="connsiteX101" fmla="*/ 5226 w 10746"/>
                  <a:gd name="connsiteY101" fmla="*/ 8487 h 10000"/>
                  <a:gd name="connsiteX102" fmla="*/ 5276 w 10746"/>
                  <a:gd name="connsiteY102" fmla="*/ 8504 h 10000"/>
                  <a:gd name="connsiteX103" fmla="*/ 5290 w 10746"/>
                  <a:gd name="connsiteY103" fmla="*/ 8556 h 10000"/>
                  <a:gd name="connsiteX104" fmla="*/ 5323 w 10746"/>
                  <a:gd name="connsiteY104" fmla="*/ 8598 h 10000"/>
                  <a:gd name="connsiteX105" fmla="*/ 5447 w 10746"/>
                  <a:gd name="connsiteY105" fmla="*/ 8615 h 10000"/>
                  <a:gd name="connsiteX106" fmla="*/ 5465 w 10746"/>
                  <a:gd name="connsiteY106" fmla="*/ 8632 h 10000"/>
                  <a:gd name="connsiteX107" fmla="*/ 5604 w 10746"/>
                  <a:gd name="connsiteY107" fmla="*/ 8556 h 10000"/>
                  <a:gd name="connsiteX108" fmla="*/ 5677 w 10746"/>
                  <a:gd name="connsiteY108" fmla="*/ 8462 h 10000"/>
                  <a:gd name="connsiteX109" fmla="*/ 5705 w 10746"/>
                  <a:gd name="connsiteY109" fmla="*/ 8444 h 10000"/>
                  <a:gd name="connsiteX110" fmla="*/ 5737 w 10746"/>
                  <a:gd name="connsiteY110" fmla="*/ 8470 h 10000"/>
                  <a:gd name="connsiteX111" fmla="*/ 5760 w 10746"/>
                  <a:gd name="connsiteY111" fmla="*/ 8496 h 10000"/>
                  <a:gd name="connsiteX112" fmla="*/ 5788 w 10746"/>
                  <a:gd name="connsiteY112" fmla="*/ 8504 h 10000"/>
                  <a:gd name="connsiteX113" fmla="*/ 5806 w 10746"/>
                  <a:gd name="connsiteY113" fmla="*/ 8496 h 10000"/>
                  <a:gd name="connsiteX114" fmla="*/ 5820 w 10746"/>
                  <a:gd name="connsiteY114" fmla="*/ 8487 h 10000"/>
                  <a:gd name="connsiteX115" fmla="*/ 5825 w 10746"/>
                  <a:gd name="connsiteY115" fmla="*/ 8487 h 10000"/>
                  <a:gd name="connsiteX116" fmla="*/ 5825 w 10746"/>
                  <a:gd name="connsiteY116" fmla="*/ 8487 h 10000"/>
                  <a:gd name="connsiteX117" fmla="*/ 5926 w 10746"/>
                  <a:gd name="connsiteY117" fmla="*/ 8556 h 10000"/>
                  <a:gd name="connsiteX118" fmla="*/ 5940 w 10746"/>
                  <a:gd name="connsiteY118" fmla="*/ 8556 h 10000"/>
                  <a:gd name="connsiteX119" fmla="*/ 6014 w 10746"/>
                  <a:gd name="connsiteY119" fmla="*/ 8470 h 10000"/>
                  <a:gd name="connsiteX120" fmla="*/ 6018 w 10746"/>
                  <a:gd name="connsiteY120" fmla="*/ 8444 h 10000"/>
                  <a:gd name="connsiteX121" fmla="*/ 6014 w 10746"/>
                  <a:gd name="connsiteY121" fmla="*/ 8419 h 10000"/>
                  <a:gd name="connsiteX122" fmla="*/ 6018 w 10746"/>
                  <a:gd name="connsiteY122" fmla="*/ 8393 h 10000"/>
                  <a:gd name="connsiteX123" fmla="*/ 6041 w 10746"/>
                  <a:gd name="connsiteY123" fmla="*/ 8333 h 10000"/>
                  <a:gd name="connsiteX124" fmla="*/ 6069 w 10746"/>
                  <a:gd name="connsiteY124" fmla="*/ 8188 h 10000"/>
                  <a:gd name="connsiteX125" fmla="*/ 6088 w 10746"/>
                  <a:gd name="connsiteY125" fmla="*/ 8162 h 10000"/>
                  <a:gd name="connsiteX126" fmla="*/ 6115 w 10746"/>
                  <a:gd name="connsiteY126" fmla="*/ 8094 h 10000"/>
                  <a:gd name="connsiteX127" fmla="*/ 6115 w 10746"/>
                  <a:gd name="connsiteY127" fmla="*/ 8094 h 10000"/>
                  <a:gd name="connsiteX128" fmla="*/ 6106 w 10746"/>
                  <a:gd name="connsiteY128" fmla="*/ 8077 h 10000"/>
                  <a:gd name="connsiteX129" fmla="*/ 6106 w 10746"/>
                  <a:gd name="connsiteY129" fmla="*/ 8009 h 10000"/>
                  <a:gd name="connsiteX130" fmla="*/ 6101 w 10746"/>
                  <a:gd name="connsiteY130" fmla="*/ 8000 h 10000"/>
                  <a:gd name="connsiteX131" fmla="*/ 6069 w 10746"/>
                  <a:gd name="connsiteY131" fmla="*/ 8009 h 10000"/>
                  <a:gd name="connsiteX132" fmla="*/ 6069 w 10746"/>
                  <a:gd name="connsiteY132" fmla="*/ 8000 h 10000"/>
                  <a:gd name="connsiteX133" fmla="*/ 6069 w 10746"/>
                  <a:gd name="connsiteY133" fmla="*/ 7974 h 10000"/>
                  <a:gd name="connsiteX134" fmla="*/ 6101 w 10746"/>
                  <a:gd name="connsiteY134" fmla="*/ 7923 h 10000"/>
                  <a:gd name="connsiteX135" fmla="*/ 6106 w 10746"/>
                  <a:gd name="connsiteY135" fmla="*/ 7889 h 10000"/>
                  <a:gd name="connsiteX136" fmla="*/ 6129 w 10746"/>
                  <a:gd name="connsiteY136" fmla="*/ 7863 h 10000"/>
                  <a:gd name="connsiteX137" fmla="*/ 6300 w 10746"/>
                  <a:gd name="connsiteY137" fmla="*/ 7812 h 10000"/>
                  <a:gd name="connsiteX138" fmla="*/ 6359 w 10746"/>
                  <a:gd name="connsiteY138" fmla="*/ 7872 h 10000"/>
                  <a:gd name="connsiteX139" fmla="*/ 6373 w 10746"/>
                  <a:gd name="connsiteY139" fmla="*/ 7889 h 10000"/>
                  <a:gd name="connsiteX140" fmla="*/ 6401 w 10746"/>
                  <a:gd name="connsiteY140" fmla="*/ 7889 h 10000"/>
                  <a:gd name="connsiteX141" fmla="*/ 6433 w 10746"/>
                  <a:gd name="connsiteY141" fmla="*/ 7915 h 10000"/>
                  <a:gd name="connsiteX142" fmla="*/ 6461 w 10746"/>
                  <a:gd name="connsiteY142" fmla="*/ 7974 h 10000"/>
                  <a:gd name="connsiteX143" fmla="*/ 6461 w 10746"/>
                  <a:gd name="connsiteY143" fmla="*/ 8000 h 10000"/>
                  <a:gd name="connsiteX144" fmla="*/ 6484 w 10746"/>
                  <a:gd name="connsiteY144" fmla="*/ 8034 h 10000"/>
                  <a:gd name="connsiteX145" fmla="*/ 6484 w 10746"/>
                  <a:gd name="connsiteY145" fmla="*/ 8051 h 10000"/>
                  <a:gd name="connsiteX146" fmla="*/ 6484 w 10746"/>
                  <a:gd name="connsiteY146" fmla="*/ 8034 h 10000"/>
                  <a:gd name="connsiteX147" fmla="*/ 6558 w 10746"/>
                  <a:gd name="connsiteY147" fmla="*/ 8444 h 10000"/>
                  <a:gd name="connsiteX148" fmla="*/ 6558 w 10746"/>
                  <a:gd name="connsiteY148" fmla="*/ 8462 h 10000"/>
                  <a:gd name="connsiteX149" fmla="*/ 6558 w 10746"/>
                  <a:gd name="connsiteY149" fmla="*/ 8462 h 10000"/>
                  <a:gd name="connsiteX150" fmla="*/ 6562 w 10746"/>
                  <a:gd name="connsiteY150" fmla="*/ 8547 h 10000"/>
                  <a:gd name="connsiteX151" fmla="*/ 6576 w 10746"/>
                  <a:gd name="connsiteY151" fmla="*/ 8573 h 10000"/>
                  <a:gd name="connsiteX152" fmla="*/ 6604 w 10746"/>
                  <a:gd name="connsiteY152" fmla="*/ 8581 h 10000"/>
                  <a:gd name="connsiteX153" fmla="*/ 6631 w 10746"/>
                  <a:gd name="connsiteY153" fmla="*/ 8556 h 10000"/>
                  <a:gd name="connsiteX154" fmla="*/ 6691 w 10746"/>
                  <a:gd name="connsiteY154" fmla="*/ 8607 h 10000"/>
                  <a:gd name="connsiteX155" fmla="*/ 6728 w 10746"/>
                  <a:gd name="connsiteY155" fmla="*/ 8667 h 10000"/>
                  <a:gd name="connsiteX156" fmla="*/ 6742 w 10746"/>
                  <a:gd name="connsiteY156" fmla="*/ 8684 h 10000"/>
                  <a:gd name="connsiteX157" fmla="*/ 6765 w 10746"/>
                  <a:gd name="connsiteY157" fmla="*/ 8684 h 10000"/>
                  <a:gd name="connsiteX158" fmla="*/ 6765 w 10746"/>
                  <a:gd name="connsiteY158" fmla="*/ 8709 h 10000"/>
                  <a:gd name="connsiteX159" fmla="*/ 6765 w 10746"/>
                  <a:gd name="connsiteY159" fmla="*/ 8709 h 10000"/>
                  <a:gd name="connsiteX160" fmla="*/ 6770 w 10746"/>
                  <a:gd name="connsiteY160" fmla="*/ 8709 h 10000"/>
                  <a:gd name="connsiteX161" fmla="*/ 6770 w 10746"/>
                  <a:gd name="connsiteY161" fmla="*/ 8744 h 10000"/>
                  <a:gd name="connsiteX162" fmla="*/ 6779 w 10746"/>
                  <a:gd name="connsiteY162" fmla="*/ 8769 h 10000"/>
                  <a:gd name="connsiteX163" fmla="*/ 6779 w 10746"/>
                  <a:gd name="connsiteY163" fmla="*/ 8846 h 10000"/>
                  <a:gd name="connsiteX164" fmla="*/ 6797 w 10746"/>
                  <a:gd name="connsiteY164" fmla="*/ 8906 h 10000"/>
                  <a:gd name="connsiteX165" fmla="*/ 6816 w 10746"/>
                  <a:gd name="connsiteY165" fmla="*/ 8906 h 10000"/>
                  <a:gd name="connsiteX166" fmla="*/ 6843 w 10746"/>
                  <a:gd name="connsiteY166" fmla="*/ 8915 h 10000"/>
                  <a:gd name="connsiteX167" fmla="*/ 6862 w 10746"/>
                  <a:gd name="connsiteY167" fmla="*/ 8906 h 10000"/>
                  <a:gd name="connsiteX168" fmla="*/ 6935 w 10746"/>
                  <a:gd name="connsiteY168" fmla="*/ 8829 h 10000"/>
                  <a:gd name="connsiteX169" fmla="*/ 6963 w 10746"/>
                  <a:gd name="connsiteY169" fmla="*/ 8829 h 10000"/>
                  <a:gd name="connsiteX170" fmla="*/ 7046 w 10746"/>
                  <a:gd name="connsiteY170" fmla="*/ 8769 h 10000"/>
                  <a:gd name="connsiteX171" fmla="*/ 7046 w 10746"/>
                  <a:gd name="connsiteY171" fmla="*/ 8769 h 10000"/>
                  <a:gd name="connsiteX172" fmla="*/ 7032 w 10746"/>
                  <a:gd name="connsiteY172" fmla="*/ 8803 h 10000"/>
                  <a:gd name="connsiteX173" fmla="*/ 7032 w 10746"/>
                  <a:gd name="connsiteY173" fmla="*/ 8846 h 10000"/>
                  <a:gd name="connsiteX174" fmla="*/ 7037 w 10746"/>
                  <a:gd name="connsiteY174" fmla="*/ 8880 h 10000"/>
                  <a:gd name="connsiteX175" fmla="*/ 7037 w 10746"/>
                  <a:gd name="connsiteY175" fmla="*/ 8932 h 10000"/>
                  <a:gd name="connsiteX176" fmla="*/ 7005 w 10746"/>
                  <a:gd name="connsiteY176" fmla="*/ 8983 h 10000"/>
                  <a:gd name="connsiteX177" fmla="*/ 6977 w 10746"/>
                  <a:gd name="connsiteY177" fmla="*/ 9188 h 10000"/>
                  <a:gd name="connsiteX178" fmla="*/ 6935 w 10746"/>
                  <a:gd name="connsiteY178" fmla="*/ 9316 h 10000"/>
                  <a:gd name="connsiteX179" fmla="*/ 6931 w 10746"/>
                  <a:gd name="connsiteY179" fmla="*/ 9368 h 10000"/>
                  <a:gd name="connsiteX180" fmla="*/ 6917 w 10746"/>
                  <a:gd name="connsiteY180" fmla="*/ 9376 h 10000"/>
                  <a:gd name="connsiteX181" fmla="*/ 6912 w 10746"/>
                  <a:gd name="connsiteY181" fmla="*/ 9376 h 10000"/>
                  <a:gd name="connsiteX182" fmla="*/ 6848 w 10746"/>
                  <a:gd name="connsiteY182" fmla="*/ 9342 h 10000"/>
                  <a:gd name="connsiteX183" fmla="*/ 6788 w 10746"/>
                  <a:gd name="connsiteY183" fmla="*/ 9436 h 10000"/>
                  <a:gd name="connsiteX184" fmla="*/ 6802 w 10746"/>
                  <a:gd name="connsiteY184" fmla="*/ 9462 h 10000"/>
                  <a:gd name="connsiteX185" fmla="*/ 6811 w 10746"/>
                  <a:gd name="connsiteY185" fmla="*/ 9667 h 10000"/>
                  <a:gd name="connsiteX186" fmla="*/ 6788 w 10746"/>
                  <a:gd name="connsiteY186" fmla="*/ 9709 h 10000"/>
                  <a:gd name="connsiteX187" fmla="*/ 6765 w 10746"/>
                  <a:gd name="connsiteY187" fmla="*/ 9752 h 10000"/>
                  <a:gd name="connsiteX188" fmla="*/ 6765 w 10746"/>
                  <a:gd name="connsiteY188" fmla="*/ 9803 h 10000"/>
                  <a:gd name="connsiteX189" fmla="*/ 6770 w 10746"/>
                  <a:gd name="connsiteY189" fmla="*/ 9821 h 10000"/>
                  <a:gd name="connsiteX190" fmla="*/ 6779 w 10746"/>
                  <a:gd name="connsiteY190" fmla="*/ 9812 h 10000"/>
                  <a:gd name="connsiteX191" fmla="*/ 6779 w 10746"/>
                  <a:gd name="connsiteY191" fmla="*/ 9803 h 10000"/>
                  <a:gd name="connsiteX192" fmla="*/ 6770 w 10746"/>
                  <a:gd name="connsiteY192" fmla="*/ 9786 h 10000"/>
                  <a:gd name="connsiteX193" fmla="*/ 6811 w 10746"/>
                  <a:gd name="connsiteY193" fmla="*/ 9786 h 10000"/>
                  <a:gd name="connsiteX194" fmla="*/ 6816 w 10746"/>
                  <a:gd name="connsiteY194" fmla="*/ 9761 h 10000"/>
                  <a:gd name="connsiteX195" fmla="*/ 6825 w 10746"/>
                  <a:gd name="connsiteY195" fmla="*/ 9752 h 10000"/>
                  <a:gd name="connsiteX196" fmla="*/ 6825 w 10746"/>
                  <a:gd name="connsiteY196" fmla="*/ 9726 h 10000"/>
                  <a:gd name="connsiteX197" fmla="*/ 6843 w 10746"/>
                  <a:gd name="connsiteY197" fmla="*/ 9701 h 10000"/>
                  <a:gd name="connsiteX198" fmla="*/ 6848 w 10746"/>
                  <a:gd name="connsiteY198" fmla="*/ 9650 h 10000"/>
                  <a:gd name="connsiteX199" fmla="*/ 6848 w 10746"/>
                  <a:gd name="connsiteY199" fmla="*/ 9675 h 10000"/>
                  <a:gd name="connsiteX200" fmla="*/ 6862 w 10746"/>
                  <a:gd name="connsiteY200" fmla="*/ 9675 h 10000"/>
                  <a:gd name="connsiteX201" fmla="*/ 6857 w 10746"/>
                  <a:gd name="connsiteY201" fmla="*/ 9701 h 10000"/>
                  <a:gd name="connsiteX202" fmla="*/ 6857 w 10746"/>
                  <a:gd name="connsiteY202" fmla="*/ 9701 h 10000"/>
                  <a:gd name="connsiteX203" fmla="*/ 6876 w 10746"/>
                  <a:gd name="connsiteY203" fmla="*/ 9684 h 10000"/>
                  <a:gd name="connsiteX204" fmla="*/ 6885 w 10746"/>
                  <a:gd name="connsiteY204" fmla="*/ 9675 h 10000"/>
                  <a:gd name="connsiteX205" fmla="*/ 6876 w 10746"/>
                  <a:gd name="connsiteY205" fmla="*/ 9735 h 10000"/>
                  <a:gd name="connsiteX206" fmla="*/ 6885 w 10746"/>
                  <a:gd name="connsiteY206" fmla="*/ 9752 h 10000"/>
                  <a:gd name="connsiteX207" fmla="*/ 6903 w 10746"/>
                  <a:gd name="connsiteY207" fmla="*/ 9752 h 10000"/>
                  <a:gd name="connsiteX208" fmla="*/ 6917 w 10746"/>
                  <a:gd name="connsiteY208" fmla="*/ 9761 h 10000"/>
                  <a:gd name="connsiteX209" fmla="*/ 6917 w 10746"/>
                  <a:gd name="connsiteY209" fmla="*/ 9761 h 10000"/>
                  <a:gd name="connsiteX210" fmla="*/ 6922 w 10746"/>
                  <a:gd name="connsiteY210" fmla="*/ 9778 h 10000"/>
                  <a:gd name="connsiteX211" fmla="*/ 6945 w 10746"/>
                  <a:gd name="connsiteY211" fmla="*/ 9778 h 10000"/>
                  <a:gd name="connsiteX212" fmla="*/ 6972 w 10746"/>
                  <a:gd name="connsiteY212" fmla="*/ 9752 h 10000"/>
                  <a:gd name="connsiteX213" fmla="*/ 6977 w 10746"/>
                  <a:gd name="connsiteY213" fmla="*/ 9752 h 10000"/>
                  <a:gd name="connsiteX214" fmla="*/ 7069 w 10746"/>
                  <a:gd name="connsiteY214" fmla="*/ 9624 h 10000"/>
                  <a:gd name="connsiteX215" fmla="*/ 7097 w 10746"/>
                  <a:gd name="connsiteY215" fmla="*/ 9547 h 10000"/>
                  <a:gd name="connsiteX216" fmla="*/ 7106 w 10746"/>
                  <a:gd name="connsiteY216" fmla="*/ 9530 h 10000"/>
                  <a:gd name="connsiteX217" fmla="*/ 7124 w 10746"/>
                  <a:gd name="connsiteY217" fmla="*/ 9479 h 10000"/>
                  <a:gd name="connsiteX218" fmla="*/ 7138 w 10746"/>
                  <a:gd name="connsiteY218" fmla="*/ 9462 h 10000"/>
                  <a:gd name="connsiteX219" fmla="*/ 7378 w 10746"/>
                  <a:gd name="connsiteY219" fmla="*/ 8795 h 10000"/>
                  <a:gd name="connsiteX220" fmla="*/ 7392 w 10746"/>
                  <a:gd name="connsiteY220" fmla="*/ 8795 h 10000"/>
                  <a:gd name="connsiteX221" fmla="*/ 7401 w 10746"/>
                  <a:gd name="connsiteY221" fmla="*/ 8769 h 10000"/>
                  <a:gd name="connsiteX222" fmla="*/ 7406 w 10746"/>
                  <a:gd name="connsiteY222" fmla="*/ 8692 h 10000"/>
                  <a:gd name="connsiteX223" fmla="*/ 7406 w 10746"/>
                  <a:gd name="connsiteY223" fmla="*/ 8667 h 10000"/>
                  <a:gd name="connsiteX224" fmla="*/ 7419 w 10746"/>
                  <a:gd name="connsiteY224" fmla="*/ 8598 h 10000"/>
                  <a:gd name="connsiteX225" fmla="*/ 7419 w 10746"/>
                  <a:gd name="connsiteY225" fmla="*/ 8496 h 10000"/>
                  <a:gd name="connsiteX226" fmla="*/ 7424 w 10746"/>
                  <a:gd name="connsiteY226" fmla="*/ 8470 h 10000"/>
                  <a:gd name="connsiteX227" fmla="*/ 7424 w 10746"/>
                  <a:gd name="connsiteY227" fmla="*/ 8462 h 10000"/>
                  <a:gd name="connsiteX228" fmla="*/ 7419 w 10746"/>
                  <a:gd name="connsiteY228" fmla="*/ 8462 h 10000"/>
                  <a:gd name="connsiteX229" fmla="*/ 7410 w 10746"/>
                  <a:gd name="connsiteY229" fmla="*/ 8350 h 10000"/>
                  <a:gd name="connsiteX230" fmla="*/ 7419 w 10746"/>
                  <a:gd name="connsiteY230" fmla="*/ 8325 h 10000"/>
                  <a:gd name="connsiteX231" fmla="*/ 7424 w 10746"/>
                  <a:gd name="connsiteY231" fmla="*/ 8248 h 10000"/>
                  <a:gd name="connsiteX232" fmla="*/ 7433 w 10746"/>
                  <a:gd name="connsiteY232" fmla="*/ 8248 h 10000"/>
                  <a:gd name="connsiteX233" fmla="*/ 7433 w 10746"/>
                  <a:gd name="connsiteY233" fmla="*/ 8231 h 10000"/>
                  <a:gd name="connsiteX234" fmla="*/ 7433 w 10746"/>
                  <a:gd name="connsiteY234" fmla="*/ 8222 h 10000"/>
                  <a:gd name="connsiteX235" fmla="*/ 7433 w 10746"/>
                  <a:gd name="connsiteY235" fmla="*/ 8214 h 10000"/>
                  <a:gd name="connsiteX236" fmla="*/ 7447 w 10746"/>
                  <a:gd name="connsiteY236" fmla="*/ 8162 h 10000"/>
                  <a:gd name="connsiteX237" fmla="*/ 7461 w 10746"/>
                  <a:gd name="connsiteY237" fmla="*/ 8162 h 10000"/>
                  <a:gd name="connsiteX238" fmla="*/ 7475 w 10746"/>
                  <a:gd name="connsiteY238" fmla="*/ 8111 h 10000"/>
                  <a:gd name="connsiteX239" fmla="*/ 7475 w 10746"/>
                  <a:gd name="connsiteY239" fmla="*/ 8085 h 10000"/>
                  <a:gd name="connsiteX240" fmla="*/ 7479 w 10746"/>
                  <a:gd name="connsiteY240" fmla="*/ 8060 h 10000"/>
                  <a:gd name="connsiteX241" fmla="*/ 7452 w 10746"/>
                  <a:gd name="connsiteY241" fmla="*/ 8009 h 10000"/>
                  <a:gd name="connsiteX242" fmla="*/ 7465 w 10746"/>
                  <a:gd name="connsiteY242" fmla="*/ 7974 h 10000"/>
                  <a:gd name="connsiteX243" fmla="*/ 7452 w 10746"/>
                  <a:gd name="connsiteY243" fmla="*/ 7923 h 10000"/>
                  <a:gd name="connsiteX244" fmla="*/ 7433 w 10746"/>
                  <a:gd name="connsiteY244" fmla="*/ 7889 h 10000"/>
                  <a:gd name="connsiteX245" fmla="*/ 7419 w 10746"/>
                  <a:gd name="connsiteY245" fmla="*/ 7889 h 10000"/>
                  <a:gd name="connsiteX246" fmla="*/ 7401 w 10746"/>
                  <a:gd name="connsiteY246" fmla="*/ 7863 h 10000"/>
                  <a:gd name="connsiteX247" fmla="*/ 7387 w 10746"/>
                  <a:gd name="connsiteY247" fmla="*/ 7863 h 10000"/>
                  <a:gd name="connsiteX248" fmla="*/ 7373 w 10746"/>
                  <a:gd name="connsiteY248" fmla="*/ 7863 h 10000"/>
                  <a:gd name="connsiteX249" fmla="*/ 7387 w 10746"/>
                  <a:gd name="connsiteY249" fmla="*/ 7846 h 10000"/>
                  <a:gd name="connsiteX250" fmla="*/ 7401 w 10746"/>
                  <a:gd name="connsiteY250" fmla="*/ 7846 h 10000"/>
                  <a:gd name="connsiteX251" fmla="*/ 7410 w 10746"/>
                  <a:gd name="connsiteY251" fmla="*/ 7863 h 10000"/>
                  <a:gd name="connsiteX252" fmla="*/ 7424 w 10746"/>
                  <a:gd name="connsiteY252" fmla="*/ 7872 h 10000"/>
                  <a:gd name="connsiteX253" fmla="*/ 7433 w 10746"/>
                  <a:gd name="connsiteY253" fmla="*/ 7863 h 10000"/>
                  <a:gd name="connsiteX254" fmla="*/ 7461 w 10746"/>
                  <a:gd name="connsiteY254" fmla="*/ 7897 h 10000"/>
                  <a:gd name="connsiteX255" fmla="*/ 7465 w 10746"/>
                  <a:gd name="connsiteY255" fmla="*/ 7889 h 10000"/>
                  <a:gd name="connsiteX256" fmla="*/ 7475 w 10746"/>
                  <a:gd name="connsiteY256" fmla="*/ 7863 h 10000"/>
                  <a:gd name="connsiteX257" fmla="*/ 7475 w 10746"/>
                  <a:gd name="connsiteY257" fmla="*/ 7838 h 10000"/>
                  <a:gd name="connsiteX258" fmla="*/ 7465 w 10746"/>
                  <a:gd name="connsiteY258" fmla="*/ 7838 h 10000"/>
                  <a:gd name="connsiteX259" fmla="*/ 7406 w 10746"/>
                  <a:gd name="connsiteY259" fmla="*/ 7752 h 10000"/>
                  <a:gd name="connsiteX260" fmla="*/ 7401 w 10746"/>
                  <a:gd name="connsiteY260" fmla="*/ 7735 h 10000"/>
                  <a:gd name="connsiteX261" fmla="*/ 7401 w 10746"/>
                  <a:gd name="connsiteY261" fmla="*/ 7701 h 10000"/>
                  <a:gd name="connsiteX262" fmla="*/ 7378 w 10746"/>
                  <a:gd name="connsiteY262" fmla="*/ 7675 h 10000"/>
                  <a:gd name="connsiteX263" fmla="*/ 7373 w 10746"/>
                  <a:gd name="connsiteY263" fmla="*/ 7667 h 10000"/>
                  <a:gd name="connsiteX264" fmla="*/ 7364 w 10746"/>
                  <a:gd name="connsiteY264" fmla="*/ 7650 h 10000"/>
                  <a:gd name="connsiteX265" fmla="*/ 7364 w 10746"/>
                  <a:gd name="connsiteY265" fmla="*/ 7641 h 10000"/>
                  <a:gd name="connsiteX266" fmla="*/ 7350 w 10746"/>
                  <a:gd name="connsiteY266" fmla="*/ 7641 h 10000"/>
                  <a:gd name="connsiteX267" fmla="*/ 7336 w 10746"/>
                  <a:gd name="connsiteY267" fmla="*/ 7650 h 10000"/>
                  <a:gd name="connsiteX268" fmla="*/ 7327 w 10746"/>
                  <a:gd name="connsiteY268" fmla="*/ 7650 h 10000"/>
                  <a:gd name="connsiteX269" fmla="*/ 7300 w 10746"/>
                  <a:gd name="connsiteY269" fmla="*/ 7641 h 10000"/>
                  <a:gd name="connsiteX270" fmla="*/ 7300 w 10746"/>
                  <a:gd name="connsiteY270" fmla="*/ 7675 h 10000"/>
                  <a:gd name="connsiteX271" fmla="*/ 7300 w 10746"/>
                  <a:gd name="connsiteY271" fmla="*/ 7692 h 10000"/>
                  <a:gd name="connsiteX272" fmla="*/ 7286 w 10746"/>
                  <a:gd name="connsiteY272" fmla="*/ 7786 h 10000"/>
                  <a:gd name="connsiteX273" fmla="*/ 7272 w 10746"/>
                  <a:gd name="connsiteY273" fmla="*/ 7803 h 10000"/>
                  <a:gd name="connsiteX274" fmla="*/ 7276 w 10746"/>
                  <a:gd name="connsiteY274" fmla="*/ 7761 h 10000"/>
                  <a:gd name="connsiteX275" fmla="*/ 7286 w 10746"/>
                  <a:gd name="connsiteY275" fmla="*/ 7735 h 10000"/>
                  <a:gd name="connsiteX276" fmla="*/ 7276 w 10746"/>
                  <a:gd name="connsiteY276" fmla="*/ 7709 h 10000"/>
                  <a:gd name="connsiteX277" fmla="*/ 7258 w 10746"/>
                  <a:gd name="connsiteY277" fmla="*/ 7761 h 10000"/>
                  <a:gd name="connsiteX278" fmla="*/ 7217 w 10746"/>
                  <a:gd name="connsiteY278" fmla="*/ 7786 h 10000"/>
                  <a:gd name="connsiteX279" fmla="*/ 7203 w 10746"/>
                  <a:gd name="connsiteY279" fmla="*/ 7786 h 10000"/>
                  <a:gd name="connsiteX280" fmla="*/ 7198 w 10746"/>
                  <a:gd name="connsiteY280" fmla="*/ 7778 h 10000"/>
                  <a:gd name="connsiteX281" fmla="*/ 7212 w 10746"/>
                  <a:gd name="connsiteY281" fmla="*/ 7761 h 10000"/>
                  <a:gd name="connsiteX282" fmla="*/ 7230 w 10746"/>
                  <a:gd name="connsiteY282" fmla="*/ 7726 h 10000"/>
                  <a:gd name="connsiteX283" fmla="*/ 7226 w 10746"/>
                  <a:gd name="connsiteY283" fmla="*/ 7709 h 10000"/>
                  <a:gd name="connsiteX284" fmla="*/ 7212 w 10746"/>
                  <a:gd name="connsiteY284" fmla="*/ 7701 h 10000"/>
                  <a:gd name="connsiteX285" fmla="*/ 7203 w 10746"/>
                  <a:gd name="connsiteY285" fmla="*/ 7675 h 10000"/>
                  <a:gd name="connsiteX286" fmla="*/ 7217 w 10746"/>
                  <a:gd name="connsiteY286" fmla="*/ 7675 h 10000"/>
                  <a:gd name="connsiteX287" fmla="*/ 7226 w 10746"/>
                  <a:gd name="connsiteY287" fmla="*/ 7650 h 10000"/>
                  <a:gd name="connsiteX288" fmla="*/ 7226 w 10746"/>
                  <a:gd name="connsiteY288" fmla="*/ 7641 h 10000"/>
                  <a:gd name="connsiteX289" fmla="*/ 7203 w 10746"/>
                  <a:gd name="connsiteY289" fmla="*/ 7641 h 10000"/>
                  <a:gd name="connsiteX290" fmla="*/ 7198 w 10746"/>
                  <a:gd name="connsiteY290" fmla="*/ 7650 h 10000"/>
                  <a:gd name="connsiteX291" fmla="*/ 7194 w 10746"/>
                  <a:gd name="connsiteY291" fmla="*/ 7675 h 10000"/>
                  <a:gd name="connsiteX292" fmla="*/ 7198 w 10746"/>
                  <a:gd name="connsiteY292" fmla="*/ 7692 h 10000"/>
                  <a:gd name="connsiteX293" fmla="*/ 7198 w 10746"/>
                  <a:gd name="connsiteY293" fmla="*/ 7709 h 10000"/>
                  <a:gd name="connsiteX294" fmla="*/ 7184 w 10746"/>
                  <a:gd name="connsiteY294" fmla="*/ 7726 h 10000"/>
                  <a:gd name="connsiteX295" fmla="*/ 7180 w 10746"/>
                  <a:gd name="connsiteY295" fmla="*/ 7726 h 10000"/>
                  <a:gd name="connsiteX296" fmla="*/ 7171 w 10746"/>
                  <a:gd name="connsiteY296" fmla="*/ 7752 h 10000"/>
                  <a:gd name="connsiteX297" fmla="*/ 7166 w 10746"/>
                  <a:gd name="connsiteY297" fmla="*/ 7735 h 10000"/>
                  <a:gd name="connsiteX298" fmla="*/ 7171 w 10746"/>
                  <a:gd name="connsiteY298" fmla="*/ 7624 h 10000"/>
                  <a:gd name="connsiteX299" fmla="*/ 7171 w 10746"/>
                  <a:gd name="connsiteY299" fmla="*/ 7615 h 10000"/>
                  <a:gd name="connsiteX300" fmla="*/ 7171 w 10746"/>
                  <a:gd name="connsiteY300" fmla="*/ 7590 h 10000"/>
                  <a:gd name="connsiteX301" fmla="*/ 7166 w 10746"/>
                  <a:gd name="connsiteY301" fmla="*/ 7564 h 10000"/>
                  <a:gd name="connsiteX302" fmla="*/ 7157 w 10746"/>
                  <a:gd name="connsiteY302" fmla="*/ 7564 h 10000"/>
                  <a:gd name="connsiteX303" fmla="*/ 7097 w 10746"/>
                  <a:gd name="connsiteY303" fmla="*/ 7573 h 10000"/>
                  <a:gd name="connsiteX304" fmla="*/ 7065 w 10746"/>
                  <a:gd name="connsiteY304" fmla="*/ 7538 h 10000"/>
                  <a:gd name="connsiteX305" fmla="*/ 7069 w 10746"/>
                  <a:gd name="connsiteY305" fmla="*/ 7504 h 10000"/>
                  <a:gd name="connsiteX306" fmla="*/ 7106 w 10746"/>
                  <a:gd name="connsiteY306" fmla="*/ 7453 h 10000"/>
                  <a:gd name="connsiteX307" fmla="*/ 7111 w 10746"/>
                  <a:gd name="connsiteY307" fmla="*/ 7436 h 10000"/>
                  <a:gd name="connsiteX308" fmla="*/ 7138 w 10746"/>
                  <a:gd name="connsiteY308" fmla="*/ 7402 h 10000"/>
                  <a:gd name="connsiteX309" fmla="*/ 7143 w 10746"/>
                  <a:gd name="connsiteY309" fmla="*/ 7376 h 10000"/>
                  <a:gd name="connsiteX310" fmla="*/ 7152 w 10746"/>
                  <a:gd name="connsiteY310" fmla="*/ 7368 h 10000"/>
                  <a:gd name="connsiteX311" fmla="*/ 7157 w 10746"/>
                  <a:gd name="connsiteY311" fmla="*/ 7350 h 10000"/>
                  <a:gd name="connsiteX312" fmla="*/ 7230 w 10746"/>
                  <a:gd name="connsiteY312" fmla="*/ 7239 h 10000"/>
                  <a:gd name="connsiteX313" fmla="*/ 7240 w 10746"/>
                  <a:gd name="connsiteY313" fmla="*/ 7205 h 10000"/>
                  <a:gd name="connsiteX314" fmla="*/ 7253 w 10746"/>
                  <a:gd name="connsiteY314" fmla="*/ 7188 h 10000"/>
                  <a:gd name="connsiteX315" fmla="*/ 7258 w 10746"/>
                  <a:gd name="connsiteY315" fmla="*/ 7162 h 10000"/>
                  <a:gd name="connsiteX316" fmla="*/ 7258 w 10746"/>
                  <a:gd name="connsiteY316" fmla="*/ 7154 h 10000"/>
                  <a:gd name="connsiteX317" fmla="*/ 7272 w 10746"/>
                  <a:gd name="connsiteY317" fmla="*/ 7120 h 10000"/>
                  <a:gd name="connsiteX318" fmla="*/ 7276 w 10746"/>
                  <a:gd name="connsiteY318" fmla="*/ 7094 h 10000"/>
                  <a:gd name="connsiteX319" fmla="*/ 7286 w 10746"/>
                  <a:gd name="connsiteY319" fmla="*/ 7094 h 10000"/>
                  <a:gd name="connsiteX320" fmla="*/ 7290 w 10746"/>
                  <a:gd name="connsiteY320" fmla="*/ 7068 h 10000"/>
                  <a:gd name="connsiteX321" fmla="*/ 7332 w 10746"/>
                  <a:gd name="connsiteY321" fmla="*/ 6991 h 10000"/>
                  <a:gd name="connsiteX322" fmla="*/ 7336 w 10746"/>
                  <a:gd name="connsiteY322" fmla="*/ 6991 h 10000"/>
                  <a:gd name="connsiteX323" fmla="*/ 7364 w 10746"/>
                  <a:gd name="connsiteY323" fmla="*/ 6940 h 10000"/>
                  <a:gd name="connsiteX324" fmla="*/ 7373 w 10746"/>
                  <a:gd name="connsiteY324" fmla="*/ 6906 h 10000"/>
                  <a:gd name="connsiteX325" fmla="*/ 7378 w 10746"/>
                  <a:gd name="connsiteY325" fmla="*/ 6915 h 10000"/>
                  <a:gd name="connsiteX326" fmla="*/ 7406 w 10746"/>
                  <a:gd name="connsiteY326" fmla="*/ 6880 h 10000"/>
                  <a:gd name="connsiteX327" fmla="*/ 7410 w 10746"/>
                  <a:gd name="connsiteY327" fmla="*/ 6846 h 10000"/>
                  <a:gd name="connsiteX328" fmla="*/ 7419 w 10746"/>
                  <a:gd name="connsiteY328" fmla="*/ 6803 h 10000"/>
                  <a:gd name="connsiteX329" fmla="*/ 7585 w 10746"/>
                  <a:gd name="connsiteY329" fmla="*/ 6504 h 10000"/>
                  <a:gd name="connsiteX330" fmla="*/ 7765 w 10746"/>
                  <a:gd name="connsiteY330" fmla="*/ 6504 h 10000"/>
                  <a:gd name="connsiteX331" fmla="*/ 7765 w 10746"/>
                  <a:gd name="connsiteY331" fmla="*/ 6530 h 10000"/>
                  <a:gd name="connsiteX332" fmla="*/ 7774 w 10746"/>
                  <a:gd name="connsiteY332" fmla="*/ 6556 h 10000"/>
                  <a:gd name="connsiteX333" fmla="*/ 7779 w 10746"/>
                  <a:gd name="connsiteY333" fmla="*/ 6556 h 10000"/>
                  <a:gd name="connsiteX334" fmla="*/ 7793 w 10746"/>
                  <a:gd name="connsiteY334" fmla="*/ 6547 h 10000"/>
                  <a:gd name="connsiteX335" fmla="*/ 7793 w 10746"/>
                  <a:gd name="connsiteY335" fmla="*/ 6530 h 10000"/>
                  <a:gd name="connsiteX336" fmla="*/ 7802 w 10746"/>
                  <a:gd name="connsiteY336" fmla="*/ 6496 h 10000"/>
                  <a:gd name="connsiteX337" fmla="*/ 7806 w 10746"/>
                  <a:gd name="connsiteY337" fmla="*/ 6487 h 10000"/>
                  <a:gd name="connsiteX338" fmla="*/ 7876 w 10746"/>
                  <a:gd name="connsiteY338" fmla="*/ 6530 h 10000"/>
                  <a:gd name="connsiteX339" fmla="*/ 7894 w 10746"/>
                  <a:gd name="connsiteY339" fmla="*/ 6530 h 10000"/>
                  <a:gd name="connsiteX340" fmla="*/ 7894 w 10746"/>
                  <a:gd name="connsiteY340" fmla="*/ 6504 h 10000"/>
                  <a:gd name="connsiteX341" fmla="*/ 7899 w 10746"/>
                  <a:gd name="connsiteY341" fmla="*/ 6504 h 10000"/>
                  <a:gd name="connsiteX342" fmla="*/ 7926 w 10746"/>
                  <a:gd name="connsiteY342" fmla="*/ 6504 h 10000"/>
                  <a:gd name="connsiteX343" fmla="*/ 7940 w 10746"/>
                  <a:gd name="connsiteY343" fmla="*/ 6547 h 10000"/>
                  <a:gd name="connsiteX344" fmla="*/ 7949 w 10746"/>
                  <a:gd name="connsiteY344" fmla="*/ 6547 h 10000"/>
                  <a:gd name="connsiteX345" fmla="*/ 7963 w 10746"/>
                  <a:gd name="connsiteY345" fmla="*/ 6530 h 10000"/>
                  <a:gd name="connsiteX346" fmla="*/ 7963 w 10746"/>
                  <a:gd name="connsiteY346" fmla="*/ 6504 h 10000"/>
                  <a:gd name="connsiteX347" fmla="*/ 7963 w 10746"/>
                  <a:gd name="connsiteY347" fmla="*/ 6504 h 10000"/>
                  <a:gd name="connsiteX348" fmla="*/ 7954 w 10746"/>
                  <a:gd name="connsiteY348" fmla="*/ 6496 h 10000"/>
                  <a:gd name="connsiteX349" fmla="*/ 7963 w 10746"/>
                  <a:gd name="connsiteY349" fmla="*/ 6487 h 10000"/>
                  <a:gd name="connsiteX350" fmla="*/ 7982 w 10746"/>
                  <a:gd name="connsiteY350" fmla="*/ 6487 h 10000"/>
                  <a:gd name="connsiteX351" fmla="*/ 7982 w 10746"/>
                  <a:gd name="connsiteY351" fmla="*/ 6470 h 10000"/>
                  <a:gd name="connsiteX352" fmla="*/ 7972 w 10746"/>
                  <a:gd name="connsiteY352" fmla="*/ 6462 h 10000"/>
                  <a:gd name="connsiteX353" fmla="*/ 7972 w 10746"/>
                  <a:gd name="connsiteY353" fmla="*/ 6436 h 10000"/>
                  <a:gd name="connsiteX354" fmla="*/ 7986 w 10746"/>
                  <a:gd name="connsiteY354" fmla="*/ 6419 h 10000"/>
                  <a:gd name="connsiteX355" fmla="*/ 8000 w 10746"/>
                  <a:gd name="connsiteY355" fmla="*/ 6419 h 10000"/>
                  <a:gd name="connsiteX356" fmla="*/ 8055 w 10746"/>
                  <a:gd name="connsiteY356" fmla="*/ 6462 h 10000"/>
                  <a:gd name="connsiteX357" fmla="*/ 8069 w 10746"/>
                  <a:gd name="connsiteY357" fmla="*/ 6444 h 10000"/>
                  <a:gd name="connsiteX358" fmla="*/ 8083 w 10746"/>
                  <a:gd name="connsiteY358" fmla="*/ 6470 h 10000"/>
                  <a:gd name="connsiteX359" fmla="*/ 8083 w 10746"/>
                  <a:gd name="connsiteY359" fmla="*/ 6487 h 10000"/>
                  <a:gd name="connsiteX360" fmla="*/ 8097 w 10746"/>
                  <a:gd name="connsiteY360" fmla="*/ 6487 h 10000"/>
                  <a:gd name="connsiteX361" fmla="*/ 8101 w 10746"/>
                  <a:gd name="connsiteY361" fmla="*/ 6462 h 10000"/>
                  <a:gd name="connsiteX362" fmla="*/ 8115 w 10746"/>
                  <a:gd name="connsiteY362" fmla="*/ 6462 h 10000"/>
                  <a:gd name="connsiteX363" fmla="*/ 8129 w 10746"/>
                  <a:gd name="connsiteY363" fmla="*/ 6462 h 10000"/>
                  <a:gd name="connsiteX364" fmla="*/ 8157 w 10746"/>
                  <a:gd name="connsiteY364" fmla="*/ 6496 h 10000"/>
                  <a:gd name="connsiteX365" fmla="*/ 8157 w 10746"/>
                  <a:gd name="connsiteY365" fmla="*/ 6521 h 10000"/>
                  <a:gd name="connsiteX366" fmla="*/ 8180 w 10746"/>
                  <a:gd name="connsiteY366" fmla="*/ 6530 h 10000"/>
                  <a:gd name="connsiteX367" fmla="*/ 8180 w 10746"/>
                  <a:gd name="connsiteY367" fmla="*/ 6547 h 10000"/>
                  <a:gd name="connsiteX368" fmla="*/ 8171 w 10746"/>
                  <a:gd name="connsiteY368" fmla="*/ 6556 h 10000"/>
                  <a:gd name="connsiteX369" fmla="*/ 8129 w 10746"/>
                  <a:gd name="connsiteY369" fmla="*/ 6556 h 10000"/>
                  <a:gd name="connsiteX370" fmla="*/ 8106 w 10746"/>
                  <a:gd name="connsiteY370" fmla="*/ 6573 h 10000"/>
                  <a:gd name="connsiteX371" fmla="*/ 8115 w 10746"/>
                  <a:gd name="connsiteY371" fmla="*/ 6581 h 10000"/>
                  <a:gd name="connsiteX372" fmla="*/ 8129 w 10746"/>
                  <a:gd name="connsiteY372" fmla="*/ 6632 h 10000"/>
                  <a:gd name="connsiteX373" fmla="*/ 8171 w 10746"/>
                  <a:gd name="connsiteY373" fmla="*/ 6632 h 10000"/>
                  <a:gd name="connsiteX374" fmla="*/ 8180 w 10746"/>
                  <a:gd name="connsiteY374" fmla="*/ 6624 h 10000"/>
                  <a:gd name="connsiteX375" fmla="*/ 8189 w 10746"/>
                  <a:gd name="connsiteY375" fmla="*/ 6598 h 10000"/>
                  <a:gd name="connsiteX376" fmla="*/ 8203 w 10746"/>
                  <a:gd name="connsiteY376" fmla="*/ 6581 h 10000"/>
                  <a:gd name="connsiteX377" fmla="*/ 8207 w 10746"/>
                  <a:gd name="connsiteY377" fmla="*/ 6607 h 10000"/>
                  <a:gd name="connsiteX378" fmla="*/ 8221 w 10746"/>
                  <a:gd name="connsiteY378" fmla="*/ 6624 h 10000"/>
                  <a:gd name="connsiteX379" fmla="*/ 8235 w 10746"/>
                  <a:gd name="connsiteY379" fmla="*/ 6607 h 10000"/>
                  <a:gd name="connsiteX380" fmla="*/ 8240 w 10746"/>
                  <a:gd name="connsiteY380" fmla="*/ 6581 h 10000"/>
                  <a:gd name="connsiteX381" fmla="*/ 8253 w 10746"/>
                  <a:gd name="connsiteY381" fmla="*/ 6573 h 10000"/>
                  <a:gd name="connsiteX382" fmla="*/ 8263 w 10746"/>
                  <a:gd name="connsiteY382" fmla="*/ 6556 h 10000"/>
                  <a:gd name="connsiteX383" fmla="*/ 8276 w 10746"/>
                  <a:gd name="connsiteY383" fmla="*/ 6547 h 10000"/>
                  <a:gd name="connsiteX384" fmla="*/ 8290 w 10746"/>
                  <a:gd name="connsiteY384" fmla="*/ 6556 h 10000"/>
                  <a:gd name="connsiteX385" fmla="*/ 8304 w 10746"/>
                  <a:gd name="connsiteY385" fmla="*/ 6581 h 10000"/>
                  <a:gd name="connsiteX386" fmla="*/ 8309 w 10746"/>
                  <a:gd name="connsiteY386" fmla="*/ 6581 h 10000"/>
                  <a:gd name="connsiteX387" fmla="*/ 8327 w 10746"/>
                  <a:gd name="connsiteY387" fmla="*/ 6573 h 10000"/>
                  <a:gd name="connsiteX388" fmla="*/ 8327 w 10746"/>
                  <a:gd name="connsiteY388" fmla="*/ 6556 h 10000"/>
                  <a:gd name="connsiteX389" fmla="*/ 8350 w 10746"/>
                  <a:gd name="connsiteY389" fmla="*/ 6556 h 10000"/>
                  <a:gd name="connsiteX390" fmla="*/ 8355 w 10746"/>
                  <a:gd name="connsiteY390" fmla="*/ 6573 h 10000"/>
                  <a:gd name="connsiteX391" fmla="*/ 8364 w 10746"/>
                  <a:gd name="connsiteY391" fmla="*/ 6556 h 10000"/>
                  <a:gd name="connsiteX392" fmla="*/ 8369 w 10746"/>
                  <a:gd name="connsiteY392" fmla="*/ 6556 h 10000"/>
                  <a:gd name="connsiteX393" fmla="*/ 8378 w 10746"/>
                  <a:gd name="connsiteY393" fmla="*/ 6530 h 10000"/>
                  <a:gd name="connsiteX394" fmla="*/ 8369 w 10746"/>
                  <a:gd name="connsiteY394" fmla="*/ 6504 h 10000"/>
                  <a:gd name="connsiteX395" fmla="*/ 8364 w 10746"/>
                  <a:gd name="connsiteY395" fmla="*/ 6496 h 10000"/>
                  <a:gd name="connsiteX396" fmla="*/ 8336 w 10746"/>
                  <a:gd name="connsiteY396" fmla="*/ 6470 h 10000"/>
                  <a:gd name="connsiteX397" fmla="*/ 8309 w 10746"/>
                  <a:gd name="connsiteY397" fmla="*/ 6487 h 10000"/>
                  <a:gd name="connsiteX398" fmla="*/ 8313 w 10746"/>
                  <a:gd name="connsiteY398" fmla="*/ 6462 h 10000"/>
                  <a:gd name="connsiteX399" fmla="*/ 8323 w 10746"/>
                  <a:gd name="connsiteY399" fmla="*/ 6444 h 10000"/>
                  <a:gd name="connsiteX400" fmla="*/ 8309 w 10746"/>
                  <a:gd name="connsiteY400" fmla="*/ 6393 h 10000"/>
                  <a:gd name="connsiteX401" fmla="*/ 8313 w 10746"/>
                  <a:gd name="connsiteY401" fmla="*/ 6385 h 10000"/>
                  <a:gd name="connsiteX402" fmla="*/ 8323 w 10746"/>
                  <a:gd name="connsiteY402" fmla="*/ 6393 h 10000"/>
                  <a:gd name="connsiteX403" fmla="*/ 8323 w 10746"/>
                  <a:gd name="connsiteY403" fmla="*/ 6393 h 10000"/>
                  <a:gd name="connsiteX404" fmla="*/ 8355 w 10746"/>
                  <a:gd name="connsiteY404" fmla="*/ 6282 h 10000"/>
                  <a:gd name="connsiteX405" fmla="*/ 8369 w 10746"/>
                  <a:gd name="connsiteY405" fmla="*/ 6256 h 10000"/>
                  <a:gd name="connsiteX406" fmla="*/ 8382 w 10746"/>
                  <a:gd name="connsiteY406" fmla="*/ 6248 h 10000"/>
                  <a:gd name="connsiteX407" fmla="*/ 8424 w 10746"/>
                  <a:gd name="connsiteY407" fmla="*/ 6162 h 10000"/>
                  <a:gd name="connsiteX408" fmla="*/ 8429 w 10746"/>
                  <a:gd name="connsiteY408" fmla="*/ 6145 h 10000"/>
                  <a:gd name="connsiteX409" fmla="*/ 8470 w 10746"/>
                  <a:gd name="connsiteY409" fmla="*/ 6051 h 10000"/>
                  <a:gd name="connsiteX410" fmla="*/ 8475 w 10746"/>
                  <a:gd name="connsiteY410" fmla="*/ 5983 h 10000"/>
                  <a:gd name="connsiteX411" fmla="*/ 8512 w 10746"/>
                  <a:gd name="connsiteY411" fmla="*/ 5940 h 10000"/>
                  <a:gd name="connsiteX412" fmla="*/ 8521 w 10746"/>
                  <a:gd name="connsiteY412" fmla="*/ 5923 h 10000"/>
                  <a:gd name="connsiteX413" fmla="*/ 8535 w 10746"/>
                  <a:gd name="connsiteY413" fmla="*/ 5915 h 10000"/>
                  <a:gd name="connsiteX414" fmla="*/ 8562 w 10746"/>
                  <a:gd name="connsiteY414" fmla="*/ 5915 h 10000"/>
                  <a:gd name="connsiteX415" fmla="*/ 8618 w 10746"/>
                  <a:gd name="connsiteY415" fmla="*/ 5889 h 10000"/>
                  <a:gd name="connsiteX416" fmla="*/ 8622 w 10746"/>
                  <a:gd name="connsiteY416" fmla="*/ 5889 h 10000"/>
                  <a:gd name="connsiteX417" fmla="*/ 8622 w 10746"/>
                  <a:gd name="connsiteY417" fmla="*/ 5872 h 10000"/>
                  <a:gd name="connsiteX418" fmla="*/ 8636 w 10746"/>
                  <a:gd name="connsiteY418" fmla="*/ 5872 h 10000"/>
                  <a:gd name="connsiteX419" fmla="*/ 8650 w 10746"/>
                  <a:gd name="connsiteY419" fmla="*/ 5889 h 10000"/>
                  <a:gd name="connsiteX420" fmla="*/ 8659 w 10746"/>
                  <a:gd name="connsiteY420" fmla="*/ 5915 h 10000"/>
                  <a:gd name="connsiteX421" fmla="*/ 8664 w 10746"/>
                  <a:gd name="connsiteY421" fmla="*/ 5940 h 10000"/>
                  <a:gd name="connsiteX422" fmla="*/ 8682 w 10746"/>
                  <a:gd name="connsiteY422" fmla="*/ 5923 h 10000"/>
                  <a:gd name="connsiteX423" fmla="*/ 8719 w 10746"/>
                  <a:gd name="connsiteY423" fmla="*/ 5863 h 10000"/>
                  <a:gd name="connsiteX424" fmla="*/ 8705 w 10746"/>
                  <a:gd name="connsiteY424" fmla="*/ 5966 h 10000"/>
                  <a:gd name="connsiteX425" fmla="*/ 8696 w 10746"/>
                  <a:gd name="connsiteY425" fmla="*/ 5983 h 10000"/>
                  <a:gd name="connsiteX426" fmla="*/ 8682 w 10746"/>
                  <a:gd name="connsiteY426" fmla="*/ 6026 h 10000"/>
                  <a:gd name="connsiteX427" fmla="*/ 8682 w 10746"/>
                  <a:gd name="connsiteY427" fmla="*/ 6051 h 10000"/>
                  <a:gd name="connsiteX428" fmla="*/ 8691 w 10746"/>
                  <a:gd name="connsiteY428" fmla="*/ 6077 h 10000"/>
                  <a:gd name="connsiteX429" fmla="*/ 8691 w 10746"/>
                  <a:gd name="connsiteY429" fmla="*/ 6085 h 10000"/>
                  <a:gd name="connsiteX430" fmla="*/ 8682 w 10746"/>
                  <a:gd name="connsiteY430" fmla="*/ 6103 h 10000"/>
                  <a:gd name="connsiteX431" fmla="*/ 8682 w 10746"/>
                  <a:gd name="connsiteY431" fmla="*/ 6111 h 10000"/>
                  <a:gd name="connsiteX432" fmla="*/ 8691 w 10746"/>
                  <a:gd name="connsiteY432" fmla="*/ 6120 h 10000"/>
                  <a:gd name="connsiteX433" fmla="*/ 8719 w 10746"/>
                  <a:gd name="connsiteY433" fmla="*/ 6103 h 10000"/>
                  <a:gd name="connsiteX434" fmla="*/ 8705 w 10746"/>
                  <a:gd name="connsiteY434" fmla="*/ 6188 h 10000"/>
                  <a:gd name="connsiteX435" fmla="*/ 8705 w 10746"/>
                  <a:gd name="connsiteY435" fmla="*/ 6214 h 10000"/>
                  <a:gd name="connsiteX436" fmla="*/ 8710 w 10746"/>
                  <a:gd name="connsiteY436" fmla="*/ 6197 h 10000"/>
                  <a:gd name="connsiteX437" fmla="*/ 8728 w 10746"/>
                  <a:gd name="connsiteY437" fmla="*/ 6171 h 10000"/>
                  <a:gd name="connsiteX438" fmla="*/ 8737 w 10746"/>
                  <a:gd name="connsiteY438" fmla="*/ 6171 h 10000"/>
                  <a:gd name="connsiteX439" fmla="*/ 8843 w 10746"/>
                  <a:gd name="connsiteY439" fmla="*/ 5949 h 10000"/>
                  <a:gd name="connsiteX440" fmla="*/ 8866 w 10746"/>
                  <a:gd name="connsiteY440" fmla="*/ 5949 h 10000"/>
                  <a:gd name="connsiteX441" fmla="*/ 8871 w 10746"/>
                  <a:gd name="connsiteY441" fmla="*/ 5940 h 10000"/>
                  <a:gd name="connsiteX442" fmla="*/ 8876 w 10746"/>
                  <a:gd name="connsiteY442" fmla="*/ 5923 h 10000"/>
                  <a:gd name="connsiteX443" fmla="*/ 8885 w 10746"/>
                  <a:gd name="connsiteY443" fmla="*/ 5940 h 10000"/>
                  <a:gd name="connsiteX444" fmla="*/ 8885 w 10746"/>
                  <a:gd name="connsiteY444" fmla="*/ 5949 h 10000"/>
                  <a:gd name="connsiteX445" fmla="*/ 8885 w 10746"/>
                  <a:gd name="connsiteY445" fmla="*/ 5974 h 10000"/>
                  <a:gd name="connsiteX446" fmla="*/ 8889 w 10746"/>
                  <a:gd name="connsiteY446" fmla="*/ 5974 h 10000"/>
                  <a:gd name="connsiteX447" fmla="*/ 8903 w 10746"/>
                  <a:gd name="connsiteY447" fmla="*/ 5923 h 10000"/>
                  <a:gd name="connsiteX448" fmla="*/ 8889 w 10746"/>
                  <a:gd name="connsiteY448" fmla="*/ 5923 h 10000"/>
                  <a:gd name="connsiteX449" fmla="*/ 8889 w 10746"/>
                  <a:gd name="connsiteY449" fmla="*/ 5897 h 10000"/>
                  <a:gd name="connsiteX450" fmla="*/ 8899 w 10746"/>
                  <a:gd name="connsiteY450" fmla="*/ 5838 h 10000"/>
                  <a:gd name="connsiteX451" fmla="*/ 8889 w 10746"/>
                  <a:gd name="connsiteY451" fmla="*/ 5812 h 10000"/>
                  <a:gd name="connsiteX452" fmla="*/ 8903 w 10746"/>
                  <a:gd name="connsiteY452" fmla="*/ 5778 h 10000"/>
                  <a:gd name="connsiteX453" fmla="*/ 8903 w 10746"/>
                  <a:gd name="connsiteY453" fmla="*/ 5761 h 10000"/>
                  <a:gd name="connsiteX454" fmla="*/ 8912 w 10746"/>
                  <a:gd name="connsiteY454" fmla="*/ 5735 h 10000"/>
                  <a:gd name="connsiteX455" fmla="*/ 8931 w 10746"/>
                  <a:gd name="connsiteY455" fmla="*/ 5701 h 10000"/>
                  <a:gd name="connsiteX456" fmla="*/ 8977 w 10746"/>
                  <a:gd name="connsiteY456" fmla="*/ 5675 h 10000"/>
                  <a:gd name="connsiteX457" fmla="*/ 9000 w 10746"/>
                  <a:gd name="connsiteY457" fmla="*/ 5675 h 10000"/>
                  <a:gd name="connsiteX458" fmla="*/ 9018 w 10746"/>
                  <a:gd name="connsiteY458" fmla="*/ 5709 h 10000"/>
                  <a:gd name="connsiteX459" fmla="*/ 9009 w 10746"/>
                  <a:gd name="connsiteY459" fmla="*/ 5735 h 10000"/>
                  <a:gd name="connsiteX460" fmla="*/ 9000 w 10746"/>
                  <a:gd name="connsiteY460" fmla="*/ 5735 h 10000"/>
                  <a:gd name="connsiteX461" fmla="*/ 8963 w 10746"/>
                  <a:gd name="connsiteY461" fmla="*/ 5786 h 10000"/>
                  <a:gd name="connsiteX462" fmla="*/ 8949 w 10746"/>
                  <a:gd name="connsiteY462" fmla="*/ 5940 h 10000"/>
                  <a:gd name="connsiteX463" fmla="*/ 8945 w 10746"/>
                  <a:gd name="connsiteY463" fmla="*/ 5966 h 10000"/>
                  <a:gd name="connsiteX464" fmla="*/ 8945 w 10746"/>
                  <a:gd name="connsiteY464" fmla="*/ 6000 h 10000"/>
                  <a:gd name="connsiteX465" fmla="*/ 8945 w 10746"/>
                  <a:gd name="connsiteY465" fmla="*/ 6009 h 10000"/>
                  <a:gd name="connsiteX466" fmla="*/ 8945 w 10746"/>
                  <a:gd name="connsiteY466" fmla="*/ 6034 h 10000"/>
                  <a:gd name="connsiteX467" fmla="*/ 8931 w 10746"/>
                  <a:gd name="connsiteY467" fmla="*/ 6060 h 10000"/>
                  <a:gd name="connsiteX468" fmla="*/ 8926 w 10746"/>
                  <a:gd name="connsiteY468" fmla="*/ 6077 h 10000"/>
                  <a:gd name="connsiteX469" fmla="*/ 8926 w 10746"/>
                  <a:gd name="connsiteY469" fmla="*/ 6111 h 10000"/>
                  <a:gd name="connsiteX470" fmla="*/ 8931 w 10746"/>
                  <a:gd name="connsiteY470" fmla="*/ 6120 h 10000"/>
                  <a:gd name="connsiteX471" fmla="*/ 8931 w 10746"/>
                  <a:gd name="connsiteY471" fmla="*/ 6137 h 10000"/>
                  <a:gd name="connsiteX472" fmla="*/ 8912 w 10746"/>
                  <a:gd name="connsiteY472" fmla="*/ 6171 h 10000"/>
                  <a:gd name="connsiteX473" fmla="*/ 8899 w 10746"/>
                  <a:gd name="connsiteY473" fmla="*/ 6162 h 10000"/>
                  <a:gd name="connsiteX474" fmla="*/ 8885 w 10746"/>
                  <a:gd name="connsiteY474" fmla="*/ 6171 h 10000"/>
                  <a:gd name="connsiteX475" fmla="*/ 8866 w 10746"/>
                  <a:gd name="connsiteY475" fmla="*/ 6214 h 10000"/>
                  <a:gd name="connsiteX476" fmla="*/ 8853 w 10746"/>
                  <a:gd name="connsiteY476" fmla="*/ 6214 h 10000"/>
                  <a:gd name="connsiteX477" fmla="*/ 8816 w 10746"/>
                  <a:gd name="connsiteY477" fmla="*/ 6248 h 10000"/>
                  <a:gd name="connsiteX478" fmla="*/ 8816 w 10746"/>
                  <a:gd name="connsiteY478" fmla="*/ 6248 h 10000"/>
                  <a:gd name="connsiteX479" fmla="*/ 8816 w 10746"/>
                  <a:gd name="connsiteY479" fmla="*/ 6282 h 10000"/>
                  <a:gd name="connsiteX480" fmla="*/ 8811 w 10746"/>
                  <a:gd name="connsiteY480" fmla="*/ 6308 h 10000"/>
                  <a:gd name="connsiteX481" fmla="*/ 8751 w 10746"/>
                  <a:gd name="connsiteY481" fmla="*/ 6436 h 10000"/>
                  <a:gd name="connsiteX482" fmla="*/ 8724 w 10746"/>
                  <a:gd name="connsiteY482" fmla="*/ 6470 h 10000"/>
                  <a:gd name="connsiteX483" fmla="*/ 8710 w 10746"/>
                  <a:gd name="connsiteY483" fmla="*/ 6504 h 10000"/>
                  <a:gd name="connsiteX484" fmla="*/ 8705 w 10746"/>
                  <a:gd name="connsiteY484" fmla="*/ 6521 h 10000"/>
                  <a:gd name="connsiteX485" fmla="*/ 8677 w 10746"/>
                  <a:gd name="connsiteY485" fmla="*/ 6573 h 10000"/>
                  <a:gd name="connsiteX486" fmla="*/ 8677 w 10746"/>
                  <a:gd name="connsiteY486" fmla="*/ 6624 h 10000"/>
                  <a:gd name="connsiteX487" fmla="*/ 8590 w 10746"/>
                  <a:gd name="connsiteY487" fmla="*/ 6803 h 10000"/>
                  <a:gd name="connsiteX488" fmla="*/ 8562 w 10746"/>
                  <a:gd name="connsiteY488" fmla="*/ 6829 h 10000"/>
                  <a:gd name="connsiteX489" fmla="*/ 8544 w 10746"/>
                  <a:gd name="connsiteY489" fmla="*/ 6829 h 10000"/>
                  <a:gd name="connsiteX490" fmla="*/ 8521 w 10746"/>
                  <a:gd name="connsiteY490" fmla="*/ 6880 h 10000"/>
                  <a:gd name="connsiteX491" fmla="*/ 8498 w 10746"/>
                  <a:gd name="connsiteY491" fmla="*/ 6872 h 10000"/>
                  <a:gd name="connsiteX492" fmla="*/ 8488 w 10746"/>
                  <a:gd name="connsiteY492" fmla="*/ 6872 h 10000"/>
                  <a:gd name="connsiteX493" fmla="*/ 8498 w 10746"/>
                  <a:gd name="connsiteY493" fmla="*/ 6940 h 10000"/>
                  <a:gd name="connsiteX494" fmla="*/ 8484 w 10746"/>
                  <a:gd name="connsiteY494" fmla="*/ 7026 h 10000"/>
                  <a:gd name="connsiteX495" fmla="*/ 8429 w 10746"/>
                  <a:gd name="connsiteY495" fmla="*/ 7094 h 10000"/>
                  <a:gd name="connsiteX496" fmla="*/ 8401 w 10746"/>
                  <a:gd name="connsiteY496" fmla="*/ 7291 h 10000"/>
                  <a:gd name="connsiteX497" fmla="*/ 8424 w 10746"/>
                  <a:gd name="connsiteY497" fmla="*/ 7692 h 10000"/>
                  <a:gd name="connsiteX498" fmla="*/ 8424 w 10746"/>
                  <a:gd name="connsiteY498" fmla="*/ 7701 h 10000"/>
                  <a:gd name="connsiteX499" fmla="*/ 8484 w 10746"/>
                  <a:gd name="connsiteY499" fmla="*/ 8308 h 10000"/>
                  <a:gd name="connsiteX500" fmla="*/ 8576 w 10746"/>
                  <a:gd name="connsiteY500" fmla="*/ 8120 h 10000"/>
                  <a:gd name="connsiteX501" fmla="*/ 8590 w 10746"/>
                  <a:gd name="connsiteY501" fmla="*/ 8026 h 10000"/>
                  <a:gd name="connsiteX502" fmla="*/ 8590 w 10746"/>
                  <a:gd name="connsiteY502" fmla="*/ 7983 h 10000"/>
                  <a:gd name="connsiteX503" fmla="*/ 8594 w 10746"/>
                  <a:gd name="connsiteY503" fmla="*/ 7974 h 10000"/>
                  <a:gd name="connsiteX504" fmla="*/ 8594 w 10746"/>
                  <a:gd name="connsiteY504" fmla="*/ 7940 h 10000"/>
                  <a:gd name="connsiteX505" fmla="*/ 8594 w 10746"/>
                  <a:gd name="connsiteY505" fmla="*/ 7923 h 10000"/>
                  <a:gd name="connsiteX506" fmla="*/ 8594 w 10746"/>
                  <a:gd name="connsiteY506" fmla="*/ 7915 h 10000"/>
                  <a:gd name="connsiteX507" fmla="*/ 8604 w 10746"/>
                  <a:gd name="connsiteY507" fmla="*/ 7915 h 10000"/>
                  <a:gd name="connsiteX508" fmla="*/ 8608 w 10746"/>
                  <a:gd name="connsiteY508" fmla="*/ 7923 h 10000"/>
                  <a:gd name="connsiteX509" fmla="*/ 8645 w 10746"/>
                  <a:gd name="connsiteY509" fmla="*/ 7872 h 10000"/>
                  <a:gd name="connsiteX510" fmla="*/ 8668 w 10746"/>
                  <a:gd name="connsiteY510" fmla="*/ 7846 h 10000"/>
                  <a:gd name="connsiteX511" fmla="*/ 8691 w 10746"/>
                  <a:gd name="connsiteY511" fmla="*/ 7863 h 10000"/>
                  <a:gd name="connsiteX512" fmla="*/ 8691 w 10746"/>
                  <a:gd name="connsiteY512" fmla="*/ 7846 h 10000"/>
                  <a:gd name="connsiteX513" fmla="*/ 8682 w 10746"/>
                  <a:gd name="connsiteY513" fmla="*/ 7838 h 10000"/>
                  <a:gd name="connsiteX514" fmla="*/ 8682 w 10746"/>
                  <a:gd name="connsiteY514" fmla="*/ 7692 h 10000"/>
                  <a:gd name="connsiteX515" fmla="*/ 8728 w 10746"/>
                  <a:gd name="connsiteY515" fmla="*/ 7598 h 10000"/>
                  <a:gd name="connsiteX516" fmla="*/ 8751 w 10746"/>
                  <a:gd name="connsiteY516" fmla="*/ 7573 h 10000"/>
                  <a:gd name="connsiteX517" fmla="*/ 8770 w 10746"/>
                  <a:gd name="connsiteY517" fmla="*/ 7573 h 10000"/>
                  <a:gd name="connsiteX518" fmla="*/ 8779 w 10746"/>
                  <a:gd name="connsiteY518" fmla="*/ 7590 h 10000"/>
                  <a:gd name="connsiteX519" fmla="*/ 8793 w 10746"/>
                  <a:gd name="connsiteY519" fmla="*/ 7590 h 10000"/>
                  <a:gd name="connsiteX520" fmla="*/ 8811 w 10746"/>
                  <a:gd name="connsiteY520" fmla="*/ 7590 h 10000"/>
                  <a:gd name="connsiteX521" fmla="*/ 8825 w 10746"/>
                  <a:gd name="connsiteY521" fmla="*/ 7556 h 10000"/>
                  <a:gd name="connsiteX522" fmla="*/ 8829 w 10746"/>
                  <a:gd name="connsiteY522" fmla="*/ 7530 h 10000"/>
                  <a:gd name="connsiteX523" fmla="*/ 8802 w 10746"/>
                  <a:gd name="connsiteY523" fmla="*/ 7462 h 10000"/>
                  <a:gd name="connsiteX524" fmla="*/ 8797 w 10746"/>
                  <a:gd name="connsiteY524" fmla="*/ 7402 h 10000"/>
                  <a:gd name="connsiteX525" fmla="*/ 8816 w 10746"/>
                  <a:gd name="connsiteY525" fmla="*/ 7291 h 10000"/>
                  <a:gd name="connsiteX526" fmla="*/ 8825 w 10746"/>
                  <a:gd name="connsiteY526" fmla="*/ 7256 h 10000"/>
                  <a:gd name="connsiteX527" fmla="*/ 8843 w 10746"/>
                  <a:gd name="connsiteY527" fmla="*/ 7231 h 10000"/>
                  <a:gd name="connsiteX528" fmla="*/ 8839 w 10746"/>
                  <a:gd name="connsiteY528" fmla="*/ 7205 h 10000"/>
                  <a:gd name="connsiteX529" fmla="*/ 8839 w 10746"/>
                  <a:gd name="connsiteY529" fmla="*/ 7188 h 10000"/>
                  <a:gd name="connsiteX530" fmla="*/ 8876 w 10746"/>
                  <a:gd name="connsiteY530" fmla="*/ 7162 h 10000"/>
                  <a:gd name="connsiteX531" fmla="*/ 8885 w 10746"/>
                  <a:gd name="connsiteY531" fmla="*/ 7154 h 10000"/>
                  <a:gd name="connsiteX532" fmla="*/ 8885 w 10746"/>
                  <a:gd name="connsiteY532" fmla="*/ 7162 h 10000"/>
                  <a:gd name="connsiteX533" fmla="*/ 8876 w 10746"/>
                  <a:gd name="connsiteY533" fmla="*/ 7188 h 10000"/>
                  <a:gd name="connsiteX534" fmla="*/ 8871 w 10746"/>
                  <a:gd name="connsiteY534" fmla="*/ 7205 h 10000"/>
                  <a:gd name="connsiteX535" fmla="*/ 8866 w 10746"/>
                  <a:gd name="connsiteY535" fmla="*/ 7214 h 10000"/>
                  <a:gd name="connsiteX536" fmla="*/ 8876 w 10746"/>
                  <a:gd name="connsiteY536" fmla="*/ 7265 h 10000"/>
                  <a:gd name="connsiteX537" fmla="*/ 8885 w 10746"/>
                  <a:gd name="connsiteY537" fmla="*/ 7282 h 10000"/>
                  <a:gd name="connsiteX538" fmla="*/ 8889 w 10746"/>
                  <a:gd name="connsiteY538" fmla="*/ 7282 h 10000"/>
                  <a:gd name="connsiteX539" fmla="*/ 8903 w 10746"/>
                  <a:gd name="connsiteY539" fmla="*/ 7239 h 10000"/>
                  <a:gd name="connsiteX540" fmla="*/ 8903 w 10746"/>
                  <a:gd name="connsiteY540" fmla="*/ 7214 h 10000"/>
                  <a:gd name="connsiteX541" fmla="*/ 8899 w 10746"/>
                  <a:gd name="connsiteY541" fmla="*/ 7128 h 10000"/>
                  <a:gd name="connsiteX542" fmla="*/ 8889 w 10746"/>
                  <a:gd name="connsiteY542" fmla="*/ 7120 h 10000"/>
                  <a:gd name="connsiteX543" fmla="*/ 8871 w 10746"/>
                  <a:gd name="connsiteY543" fmla="*/ 7120 h 10000"/>
                  <a:gd name="connsiteX544" fmla="*/ 8871 w 10746"/>
                  <a:gd name="connsiteY544" fmla="*/ 7120 h 10000"/>
                  <a:gd name="connsiteX545" fmla="*/ 8871 w 10746"/>
                  <a:gd name="connsiteY545" fmla="*/ 6991 h 10000"/>
                  <a:gd name="connsiteX546" fmla="*/ 8871 w 10746"/>
                  <a:gd name="connsiteY546" fmla="*/ 6966 h 10000"/>
                  <a:gd name="connsiteX547" fmla="*/ 8889 w 10746"/>
                  <a:gd name="connsiteY547" fmla="*/ 6940 h 10000"/>
                  <a:gd name="connsiteX548" fmla="*/ 8903 w 10746"/>
                  <a:gd name="connsiteY548" fmla="*/ 6906 h 10000"/>
                  <a:gd name="connsiteX549" fmla="*/ 8899 w 10746"/>
                  <a:gd name="connsiteY549" fmla="*/ 6880 h 10000"/>
                  <a:gd name="connsiteX550" fmla="*/ 8866 w 10746"/>
                  <a:gd name="connsiteY550" fmla="*/ 6846 h 10000"/>
                  <a:gd name="connsiteX551" fmla="*/ 8853 w 10746"/>
                  <a:gd name="connsiteY551" fmla="*/ 6846 h 10000"/>
                  <a:gd name="connsiteX552" fmla="*/ 8843 w 10746"/>
                  <a:gd name="connsiteY552" fmla="*/ 6880 h 10000"/>
                  <a:gd name="connsiteX553" fmla="*/ 8843 w 10746"/>
                  <a:gd name="connsiteY553" fmla="*/ 6897 h 10000"/>
                  <a:gd name="connsiteX554" fmla="*/ 8829 w 10746"/>
                  <a:gd name="connsiteY554" fmla="*/ 6880 h 10000"/>
                  <a:gd name="connsiteX555" fmla="*/ 8825 w 10746"/>
                  <a:gd name="connsiteY555" fmla="*/ 6872 h 10000"/>
                  <a:gd name="connsiteX556" fmla="*/ 8816 w 10746"/>
                  <a:gd name="connsiteY556" fmla="*/ 6846 h 10000"/>
                  <a:gd name="connsiteX557" fmla="*/ 8816 w 10746"/>
                  <a:gd name="connsiteY557" fmla="*/ 6803 h 10000"/>
                  <a:gd name="connsiteX558" fmla="*/ 8876 w 10746"/>
                  <a:gd name="connsiteY558" fmla="*/ 6598 h 10000"/>
                  <a:gd name="connsiteX559" fmla="*/ 8876 w 10746"/>
                  <a:gd name="connsiteY559" fmla="*/ 6573 h 10000"/>
                  <a:gd name="connsiteX560" fmla="*/ 8885 w 10746"/>
                  <a:gd name="connsiteY560" fmla="*/ 6556 h 10000"/>
                  <a:gd name="connsiteX561" fmla="*/ 8899 w 10746"/>
                  <a:gd name="connsiteY561" fmla="*/ 6573 h 10000"/>
                  <a:gd name="connsiteX562" fmla="*/ 8889 w 10746"/>
                  <a:gd name="connsiteY562" fmla="*/ 6556 h 10000"/>
                  <a:gd name="connsiteX563" fmla="*/ 8889 w 10746"/>
                  <a:gd name="connsiteY563" fmla="*/ 6530 h 10000"/>
                  <a:gd name="connsiteX564" fmla="*/ 8903 w 10746"/>
                  <a:gd name="connsiteY564" fmla="*/ 6521 h 10000"/>
                  <a:gd name="connsiteX565" fmla="*/ 8903 w 10746"/>
                  <a:gd name="connsiteY565" fmla="*/ 6504 h 10000"/>
                  <a:gd name="connsiteX566" fmla="*/ 8903 w 10746"/>
                  <a:gd name="connsiteY566" fmla="*/ 6487 h 10000"/>
                  <a:gd name="connsiteX567" fmla="*/ 8903 w 10746"/>
                  <a:gd name="connsiteY567" fmla="*/ 6462 h 10000"/>
                  <a:gd name="connsiteX568" fmla="*/ 8912 w 10746"/>
                  <a:gd name="connsiteY568" fmla="*/ 6419 h 10000"/>
                  <a:gd name="connsiteX569" fmla="*/ 8917 w 10746"/>
                  <a:gd name="connsiteY569" fmla="*/ 6393 h 10000"/>
                  <a:gd name="connsiteX570" fmla="*/ 8926 w 10746"/>
                  <a:gd name="connsiteY570" fmla="*/ 6385 h 10000"/>
                  <a:gd name="connsiteX571" fmla="*/ 8931 w 10746"/>
                  <a:gd name="connsiteY571" fmla="*/ 6385 h 10000"/>
                  <a:gd name="connsiteX572" fmla="*/ 8949 w 10746"/>
                  <a:gd name="connsiteY572" fmla="*/ 6359 h 10000"/>
                  <a:gd name="connsiteX573" fmla="*/ 8959 w 10746"/>
                  <a:gd name="connsiteY573" fmla="*/ 6368 h 10000"/>
                  <a:gd name="connsiteX574" fmla="*/ 8963 w 10746"/>
                  <a:gd name="connsiteY574" fmla="*/ 6385 h 10000"/>
                  <a:gd name="connsiteX575" fmla="*/ 8972 w 10746"/>
                  <a:gd name="connsiteY575" fmla="*/ 6359 h 10000"/>
                  <a:gd name="connsiteX576" fmla="*/ 8991 w 10746"/>
                  <a:gd name="connsiteY576" fmla="*/ 6350 h 10000"/>
                  <a:gd name="connsiteX577" fmla="*/ 9000 w 10746"/>
                  <a:gd name="connsiteY577" fmla="*/ 6368 h 10000"/>
                  <a:gd name="connsiteX578" fmla="*/ 9005 w 10746"/>
                  <a:gd name="connsiteY578" fmla="*/ 6393 h 10000"/>
                  <a:gd name="connsiteX579" fmla="*/ 9018 w 10746"/>
                  <a:gd name="connsiteY579" fmla="*/ 6393 h 10000"/>
                  <a:gd name="connsiteX580" fmla="*/ 9023 w 10746"/>
                  <a:gd name="connsiteY580" fmla="*/ 6359 h 10000"/>
                  <a:gd name="connsiteX581" fmla="*/ 9023 w 10746"/>
                  <a:gd name="connsiteY581" fmla="*/ 6333 h 10000"/>
                  <a:gd name="connsiteX582" fmla="*/ 9037 w 10746"/>
                  <a:gd name="connsiteY582" fmla="*/ 6308 h 10000"/>
                  <a:gd name="connsiteX583" fmla="*/ 9074 w 10746"/>
                  <a:gd name="connsiteY583" fmla="*/ 6274 h 10000"/>
                  <a:gd name="connsiteX584" fmla="*/ 9092 w 10746"/>
                  <a:gd name="connsiteY584" fmla="*/ 6222 h 10000"/>
                  <a:gd name="connsiteX585" fmla="*/ 9097 w 10746"/>
                  <a:gd name="connsiteY585" fmla="*/ 6231 h 10000"/>
                  <a:gd name="connsiteX586" fmla="*/ 9097 w 10746"/>
                  <a:gd name="connsiteY586" fmla="*/ 6248 h 10000"/>
                  <a:gd name="connsiteX587" fmla="*/ 9097 w 10746"/>
                  <a:gd name="connsiteY587" fmla="*/ 6274 h 10000"/>
                  <a:gd name="connsiteX588" fmla="*/ 9097 w 10746"/>
                  <a:gd name="connsiteY588" fmla="*/ 6308 h 10000"/>
                  <a:gd name="connsiteX589" fmla="*/ 9092 w 10746"/>
                  <a:gd name="connsiteY589" fmla="*/ 6368 h 10000"/>
                  <a:gd name="connsiteX590" fmla="*/ 9092 w 10746"/>
                  <a:gd name="connsiteY590" fmla="*/ 6385 h 10000"/>
                  <a:gd name="connsiteX591" fmla="*/ 9092 w 10746"/>
                  <a:gd name="connsiteY591" fmla="*/ 6393 h 10000"/>
                  <a:gd name="connsiteX592" fmla="*/ 9092 w 10746"/>
                  <a:gd name="connsiteY592" fmla="*/ 6393 h 10000"/>
                  <a:gd name="connsiteX593" fmla="*/ 9143 w 10746"/>
                  <a:gd name="connsiteY593" fmla="*/ 6299 h 10000"/>
                  <a:gd name="connsiteX594" fmla="*/ 9143 w 10746"/>
                  <a:gd name="connsiteY594" fmla="*/ 6282 h 10000"/>
                  <a:gd name="connsiteX595" fmla="*/ 9143 w 10746"/>
                  <a:gd name="connsiteY595" fmla="*/ 6256 h 10000"/>
                  <a:gd name="connsiteX596" fmla="*/ 9143 w 10746"/>
                  <a:gd name="connsiteY596" fmla="*/ 6256 h 10000"/>
                  <a:gd name="connsiteX597" fmla="*/ 9157 w 10746"/>
                  <a:gd name="connsiteY597" fmla="*/ 6274 h 10000"/>
                  <a:gd name="connsiteX598" fmla="*/ 9166 w 10746"/>
                  <a:gd name="connsiteY598" fmla="*/ 6248 h 10000"/>
                  <a:gd name="connsiteX599" fmla="*/ 9180 w 10746"/>
                  <a:gd name="connsiteY599" fmla="*/ 6248 h 10000"/>
                  <a:gd name="connsiteX600" fmla="*/ 9198 w 10746"/>
                  <a:gd name="connsiteY600" fmla="*/ 6222 h 10000"/>
                  <a:gd name="connsiteX601" fmla="*/ 9212 w 10746"/>
                  <a:gd name="connsiteY601" fmla="*/ 6222 h 10000"/>
                  <a:gd name="connsiteX602" fmla="*/ 9226 w 10746"/>
                  <a:gd name="connsiteY602" fmla="*/ 6197 h 10000"/>
                  <a:gd name="connsiteX603" fmla="*/ 9230 w 10746"/>
                  <a:gd name="connsiteY603" fmla="*/ 6214 h 10000"/>
                  <a:gd name="connsiteX604" fmla="*/ 9272 w 10746"/>
                  <a:gd name="connsiteY604" fmla="*/ 6214 h 10000"/>
                  <a:gd name="connsiteX605" fmla="*/ 9304 w 10746"/>
                  <a:gd name="connsiteY605" fmla="*/ 6231 h 10000"/>
                  <a:gd name="connsiteX606" fmla="*/ 9318 w 10746"/>
                  <a:gd name="connsiteY606" fmla="*/ 6248 h 10000"/>
                  <a:gd name="connsiteX607" fmla="*/ 9327 w 10746"/>
                  <a:gd name="connsiteY607" fmla="*/ 6282 h 10000"/>
                  <a:gd name="connsiteX608" fmla="*/ 9355 w 10746"/>
                  <a:gd name="connsiteY608" fmla="*/ 6350 h 10000"/>
                  <a:gd name="connsiteX609" fmla="*/ 9355 w 10746"/>
                  <a:gd name="connsiteY609" fmla="*/ 6359 h 10000"/>
                  <a:gd name="connsiteX610" fmla="*/ 9364 w 10746"/>
                  <a:gd name="connsiteY610" fmla="*/ 6368 h 10000"/>
                  <a:gd name="connsiteX611" fmla="*/ 9373 w 10746"/>
                  <a:gd name="connsiteY611" fmla="*/ 6359 h 10000"/>
                  <a:gd name="connsiteX612" fmla="*/ 9373 w 10746"/>
                  <a:gd name="connsiteY612" fmla="*/ 6325 h 10000"/>
                  <a:gd name="connsiteX613" fmla="*/ 9387 w 10746"/>
                  <a:gd name="connsiteY613" fmla="*/ 6256 h 10000"/>
                  <a:gd name="connsiteX614" fmla="*/ 9387 w 10746"/>
                  <a:gd name="connsiteY614" fmla="*/ 6248 h 10000"/>
                  <a:gd name="connsiteX615" fmla="*/ 9378 w 10746"/>
                  <a:gd name="connsiteY615" fmla="*/ 6248 h 10000"/>
                  <a:gd name="connsiteX616" fmla="*/ 9406 w 10746"/>
                  <a:gd name="connsiteY616" fmla="*/ 6222 h 10000"/>
                  <a:gd name="connsiteX617" fmla="*/ 9415 w 10746"/>
                  <a:gd name="connsiteY617" fmla="*/ 6222 h 10000"/>
                  <a:gd name="connsiteX618" fmla="*/ 9415 w 10746"/>
                  <a:gd name="connsiteY618" fmla="*/ 6197 h 10000"/>
                  <a:gd name="connsiteX619" fmla="*/ 9419 w 10746"/>
                  <a:gd name="connsiteY619" fmla="*/ 6214 h 10000"/>
                  <a:gd name="connsiteX620" fmla="*/ 9424 w 10746"/>
                  <a:gd name="connsiteY620" fmla="*/ 6214 h 10000"/>
                  <a:gd name="connsiteX621" fmla="*/ 9447 w 10746"/>
                  <a:gd name="connsiteY621" fmla="*/ 6171 h 10000"/>
                  <a:gd name="connsiteX622" fmla="*/ 9452 w 10746"/>
                  <a:gd name="connsiteY622" fmla="*/ 6171 h 10000"/>
                  <a:gd name="connsiteX623" fmla="*/ 9452 w 10746"/>
                  <a:gd name="connsiteY623" fmla="*/ 6162 h 10000"/>
                  <a:gd name="connsiteX624" fmla="*/ 9461 w 10746"/>
                  <a:gd name="connsiteY624" fmla="*/ 6137 h 10000"/>
                  <a:gd name="connsiteX625" fmla="*/ 9475 w 10746"/>
                  <a:gd name="connsiteY625" fmla="*/ 6137 h 10000"/>
                  <a:gd name="connsiteX626" fmla="*/ 9475 w 10746"/>
                  <a:gd name="connsiteY626" fmla="*/ 6137 h 10000"/>
                  <a:gd name="connsiteX627" fmla="*/ 9479 w 10746"/>
                  <a:gd name="connsiteY627" fmla="*/ 6120 h 10000"/>
                  <a:gd name="connsiteX628" fmla="*/ 9488 w 10746"/>
                  <a:gd name="connsiteY628" fmla="*/ 6120 h 10000"/>
                  <a:gd name="connsiteX629" fmla="*/ 9488 w 10746"/>
                  <a:gd name="connsiteY629" fmla="*/ 6111 h 10000"/>
                  <a:gd name="connsiteX630" fmla="*/ 9479 w 10746"/>
                  <a:gd name="connsiteY630" fmla="*/ 6103 h 10000"/>
                  <a:gd name="connsiteX631" fmla="*/ 9479 w 10746"/>
                  <a:gd name="connsiteY631" fmla="*/ 6085 h 10000"/>
                  <a:gd name="connsiteX632" fmla="*/ 9488 w 10746"/>
                  <a:gd name="connsiteY632" fmla="*/ 6103 h 10000"/>
                  <a:gd name="connsiteX633" fmla="*/ 9493 w 10746"/>
                  <a:gd name="connsiteY633" fmla="*/ 6111 h 10000"/>
                  <a:gd name="connsiteX634" fmla="*/ 9498 w 10746"/>
                  <a:gd name="connsiteY634" fmla="*/ 6103 h 10000"/>
                  <a:gd name="connsiteX635" fmla="*/ 9507 w 10746"/>
                  <a:gd name="connsiteY635" fmla="*/ 6077 h 10000"/>
                  <a:gd name="connsiteX636" fmla="*/ 9498 w 10746"/>
                  <a:gd name="connsiteY636" fmla="*/ 6060 h 10000"/>
                  <a:gd name="connsiteX637" fmla="*/ 9512 w 10746"/>
                  <a:gd name="connsiteY637" fmla="*/ 6060 h 10000"/>
                  <a:gd name="connsiteX638" fmla="*/ 9525 w 10746"/>
                  <a:gd name="connsiteY638" fmla="*/ 6034 h 10000"/>
                  <a:gd name="connsiteX639" fmla="*/ 9535 w 10746"/>
                  <a:gd name="connsiteY639" fmla="*/ 6034 h 10000"/>
                  <a:gd name="connsiteX640" fmla="*/ 9535 w 10746"/>
                  <a:gd name="connsiteY640" fmla="*/ 6026 h 10000"/>
                  <a:gd name="connsiteX641" fmla="*/ 9525 w 10746"/>
                  <a:gd name="connsiteY641" fmla="*/ 6009 h 10000"/>
                  <a:gd name="connsiteX642" fmla="*/ 9535 w 10746"/>
                  <a:gd name="connsiteY642" fmla="*/ 6000 h 10000"/>
                  <a:gd name="connsiteX643" fmla="*/ 9539 w 10746"/>
                  <a:gd name="connsiteY643" fmla="*/ 6009 h 10000"/>
                  <a:gd name="connsiteX644" fmla="*/ 9548 w 10746"/>
                  <a:gd name="connsiteY644" fmla="*/ 6009 h 10000"/>
                  <a:gd name="connsiteX645" fmla="*/ 9553 w 10746"/>
                  <a:gd name="connsiteY645" fmla="*/ 6000 h 10000"/>
                  <a:gd name="connsiteX646" fmla="*/ 9562 w 10746"/>
                  <a:gd name="connsiteY646" fmla="*/ 5983 h 10000"/>
                  <a:gd name="connsiteX647" fmla="*/ 9562 w 10746"/>
                  <a:gd name="connsiteY647" fmla="*/ 5974 h 10000"/>
                  <a:gd name="connsiteX648" fmla="*/ 9567 w 10746"/>
                  <a:gd name="connsiteY648" fmla="*/ 5974 h 10000"/>
                  <a:gd name="connsiteX649" fmla="*/ 9567 w 10746"/>
                  <a:gd name="connsiteY649" fmla="*/ 5966 h 10000"/>
                  <a:gd name="connsiteX650" fmla="*/ 9567 w 10746"/>
                  <a:gd name="connsiteY650" fmla="*/ 5940 h 10000"/>
                  <a:gd name="connsiteX651" fmla="*/ 9571 w 10746"/>
                  <a:gd name="connsiteY651" fmla="*/ 5915 h 10000"/>
                  <a:gd name="connsiteX652" fmla="*/ 9581 w 10746"/>
                  <a:gd name="connsiteY652" fmla="*/ 5923 h 10000"/>
                  <a:gd name="connsiteX653" fmla="*/ 9585 w 10746"/>
                  <a:gd name="connsiteY653" fmla="*/ 5940 h 10000"/>
                  <a:gd name="connsiteX654" fmla="*/ 9594 w 10746"/>
                  <a:gd name="connsiteY654" fmla="*/ 5949 h 10000"/>
                  <a:gd name="connsiteX655" fmla="*/ 9599 w 10746"/>
                  <a:gd name="connsiteY655" fmla="*/ 5940 h 10000"/>
                  <a:gd name="connsiteX656" fmla="*/ 9613 w 10746"/>
                  <a:gd name="connsiteY656" fmla="*/ 5915 h 10000"/>
                  <a:gd name="connsiteX657" fmla="*/ 9645 w 10746"/>
                  <a:gd name="connsiteY657" fmla="*/ 5889 h 10000"/>
                  <a:gd name="connsiteX658" fmla="*/ 9654 w 10746"/>
                  <a:gd name="connsiteY658" fmla="*/ 5872 h 10000"/>
                  <a:gd name="connsiteX659" fmla="*/ 9673 w 10746"/>
                  <a:gd name="connsiteY659" fmla="*/ 5863 h 10000"/>
                  <a:gd name="connsiteX660" fmla="*/ 9682 w 10746"/>
                  <a:gd name="connsiteY660" fmla="*/ 5838 h 10000"/>
                  <a:gd name="connsiteX661" fmla="*/ 9682 w 10746"/>
                  <a:gd name="connsiteY661" fmla="*/ 5829 h 10000"/>
                  <a:gd name="connsiteX662" fmla="*/ 9682 w 10746"/>
                  <a:gd name="connsiteY662" fmla="*/ 5812 h 10000"/>
                  <a:gd name="connsiteX663" fmla="*/ 9687 w 10746"/>
                  <a:gd name="connsiteY663" fmla="*/ 5812 h 10000"/>
                  <a:gd name="connsiteX664" fmla="*/ 9687 w 10746"/>
                  <a:gd name="connsiteY664" fmla="*/ 5829 h 10000"/>
                  <a:gd name="connsiteX665" fmla="*/ 9687 w 10746"/>
                  <a:gd name="connsiteY665" fmla="*/ 5829 h 10000"/>
                  <a:gd name="connsiteX666" fmla="*/ 9719 w 10746"/>
                  <a:gd name="connsiteY666" fmla="*/ 5803 h 10000"/>
                  <a:gd name="connsiteX667" fmla="*/ 9728 w 10746"/>
                  <a:gd name="connsiteY667" fmla="*/ 5803 h 10000"/>
                  <a:gd name="connsiteX668" fmla="*/ 9779 w 10746"/>
                  <a:gd name="connsiteY668" fmla="*/ 5726 h 10000"/>
                  <a:gd name="connsiteX669" fmla="*/ 9816 w 10746"/>
                  <a:gd name="connsiteY669" fmla="*/ 5709 h 10000"/>
                  <a:gd name="connsiteX670" fmla="*/ 9820 w 10746"/>
                  <a:gd name="connsiteY670" fmla="*/ 5701 h 10000"/>
                  <a:gd name="connsiteX671" fmla="*/ 9816 w 10746"/>
                  <a:gd name="connsiteY671" fmla="*/ 5692 h 10000"/>
                  <a:gd name="connsiteX672" fmla="*/ 9816 w 10746"/>
                  <a:gd name="connsiteY672" fmla="*/ 5692 h 10000"/>
                  <a:gd name="connsiteX673" fmla="*/ 9802 w 10746"/>
                  <a:gd name="connsiteY673" fmla="*/ 5624 h 10000"/>
                  <a:gd name="connsiteX674" fmla="*/ 9806 w 10746"/>
                  <a:gd name="connsiteY674" fmla="*/ 5624 h 10000"/>
                  <a:gd name="connsiteX675" fmla="*/ 9820 w 10746"/>
                  <a:gd name="connsiteY675" fmla="*/ 5675 h 10000"/>
                  <a:gd name="connsiteX676" fmla="*/ 9829 w 10746"/>
                  <a:gd name="connsiteY676" fmla="*/ 5675 h 10000"/>
                  <a:gd name="connsiteX677" fmla="*/ 9829 w 10746"/>
                  <a:gd name="connsiteY677" fmla="*/ 5692 h 10000"/>
                  <a:gd name="connsiteX678" fmla="*/ 9829 w 10746"/>
                  <a:gd name="connsiteY678" fmla="*/ 5701 h 10000"/>
                  <a:gd name="connsiteX679" fmla="*/ 9839 w 10746"/>
                  <a:gd name="connsiteY679" fmla="*/ 5701 h 10000"/>
                  <a:gd name="connsiteX680" fmla="*/ 9839 w 10746"/>
                  <a:gd name="connsiteY680" fmla="*/ 5692 h 10000"/>
                  <a:gd name="connsiteX681" fmla="*/ 9839 w 10746"/>
                  <a:gd name="connsiteY681" fmla="*/ 5675 h 10000"/>
                  <a:gd name="connsiteX682" fmla="*/ 9848 w 10746"/>
                  <a:gd name="connsiteY682" fmla="*/ 5675 h 10000"/>
                  <a:gd name="connsiteX683" fmla="*/ 9848 w 10746"/>
                  <a:gd name="connsiteY683" fmla="*/ 5692 h 10000"/>
                  <a:gd name="connsiteX684" fmla="*/ 9853 w 10746"/>
                  <a:gd name="connsiteY684" fmla="*/ 5701 h 10000"/>
                  <a:gd name="connsiteX685" fmla="*/ 9880 w 10746"/>
                  <a:gd name="connsiteY685" fmla="*/ 5709 h 10000"/>
                  <a:gd name="connsiteX686" fmla="*/ 9912 w 10746"/>
                  <a:gd name="connsiteY686" fmla="*/ 5752 h 10000"/>
                  <a:gd name="connsiteX687" fmla="*/ 9926 w 10746"/>
                  <a:gd name="connsiteY687" fmla="*/ 5761 h 10000"/>
                  <a:gd name="connsiteX688" fmla="*/ 9935 w 10746"/>
                  <a:gd name="connsiteY688" fmla="*/ 5761 h 10000"/>
                  <a:gd name="connsiteX689" fmla="*/ 9940 w 10746"/>
                  <a:gd name="connsiteY689" fmla="*/ 5735 h 10000"/>
                  <a:gd name="connsiteX690" fmla="*/ 9949 w 10746"/>
                  <a:gd name="connsiteY690" fmla="*/ 5735 h 10000"/>
                  <a:gd name="connsiteX691" fmla="*/ 9968 w 10746"/>
                  <a:gd name="connsiteY691" fmla="*/ 5692 h 10000"/>
                  <a:gd name="connsiteX692" fmla="*/ 9968 w 10746"/>
                  <a:gd name="connsiteY692" fmla="*/ 5650 h 10000"/>
                  <a:gd name="connsiteX693" fmla="*/ 9968 w 10746"/>
                  <a:gd name="connsiteY693" fmla="*/ 5624 h 10000"/>
                  <a:gd name="connsiteX694" fmla="*/ 9935 w 10746"/>
                  <a:gd name="connsiteY694" fmla="*/ 5598 h 10000"/>
                  <a:gd name="connsiteX695" fmla="*/ 9935 w 10746"/>
                  <a:gd name="connsiteY695" fmla="*/ 5590 h 10000"/>
                  <a:gd name="connsiteX696" fmla="*/ 9935 w 10746"/>
                  <a:gd name="connsiteY696" fmla="*/ 5573 h 10000"/>
                  <a:gd name="connsiteX697" fmla="*/ 9935 w 10746"/>
                  <a:gd name="connsiteY697" fmla="*/ 5573 h 10000"/>
                  <a:gd name="connsiteX698" fmla="*/ 9940 w 10746"/>
                  <a:gd name="connsiteY698" fmla="*/ 5573 h 10000"/>
                  <a:gd name="connsiteX699" fmla="*/ 9954 w 10746"/>
                  <a:gd name="connsiteY699" fmla="*/ 5573 h 10000"/>
                  <a:gd name="connsiteX700" fmla="*/ 9963 w 10746"/>
                  <a:gd name="connsiteY700" fmla="*/ 5564 h 10000"/>
                  <a:gd name="connsiteX701" fmla="*/ 9954 w 10746"/>
                  <a:gd name="connsiteY701" fmla="*/ 5530 h 10000"/>
                  <a:gd name="connsiteX702" fmla="*/ 9949 w 10746"/>
                  <a:gd name="connsiteY702" fmla="*/ 5530 h 10000"/>
                  <a:gd name="connsiteX703" fmla="*/ 9926 w 10746"/>
                  <a:gd name="connsiteY703" fmla="*/ 5479 h 10000"/>
                  <a:gd name="connsiteX704" fmla="*/ 9912 w 10746"/>
                  <a:gd name="connsiteY704" fmla="*/ 5325 h 10000"/>
                  <a:gd name="connsiteX705" fmla="*/ 9903 w 10746"/>
                  <a:gd name="connsiteY705" fmla="*/ 5342 h 10000"/>
                  <a:gd name="connsiteX706" fmla="*/ 9889 w 10746"/>
                  <a:gd name="connsiteY706" fmla="*/ 5316 h 10000"/>
                  <a:gd name="connsiteX707" fmla="*/ 9889 w 10746"/>
                  <a:gd name="connsiteY707" fmla="*/ 5291 h 10000"/>
                  <a:gd name="connsiteX708" fmla="*/ 9903 w 10746"/>
                  <a:gd name="connsiteY708" fmla="*/ 5291 h 10000"/>
                  <a:gd name="connsiteX709" fmla="*/ 9903 w 10746"/>
                  <a:gd name="connsiteY709" fmla="*/ 5291 h 10000"/>
                  <a:gd name="connsiteX710" fmla="*/ 9894 w 10746"/>
                  <a:gd name="connsiteY710" fmla="*/ 5214 h 10000"/>
                  <a:gd name="connsiteX711" fmla="*/ 9880 w 10746"/>
                  <a:gd name="connsiteY711" fmla="*/ 5239 h 10000"/>
                  <a:gd name="connsiteX712" fmla="*/ 9876 w 10746"/>
                  <a:gd name="connsiteY712" fmla="*/ 5256 h 10000"/>
                  <a:gd name="connsiteX713" fmla="*/ 9862 w 10746"/>
                  <a:gd name="connsiteY713" fmla="*/ 5239 h 10000"/>
                  <a:gd name="connsiteX714" fmla="*/ 9853 w 10746"/>
                  <a:gd name="connsiteY714" fmla="*/ 5214 h 10000"/>
                  <a:gd name="connsiteX715" fmla="*/ 9839 w 10746"/>
                  <a:gd name="connsiteY715" fmla="*/ 5214 h 10000"/>
                  <a:gd name="connsiteX716" fmla="*/ 9834 w 10746"/>
                  <a:gd name="connsiteY716" fmla="*/ 5188 h 10000"/>
                  <a:gd name="connsiteX717" fmla="*/ 9834 w 10746"/>
                  <a:gd name="connsiteY717" fmla="*/ 5103 h 10000"/>
                  <a:gd name="connsiteX718" fmla="*/ 9839 w 10746"/>
                  <a:gd name="connsiteY718" fmla="*/ 5094 h 10000"/>
                  <a:gd name="connsiteX719" fmla="*/ 9853 w 10746"/>
                  <a:gd name="connsiteY719" fmla="*/ 5103 h 10000"/>
                  <a:gd name="connsiteX720" fmla="*/ 9876 w 10746"/>
                  <a:gd name="connsiteY720" fmla="*/ 5128 h 10000"/>
                  <a:gd name="connsiteX721" fmla="*/ 9889 w 10746"/>
                  <a:gd name="connsiteY721" fmla="*/ 5103 h 10000"/>
                  <a:gd name="connsiteX722" fmla="*/ 9880 w 10746"/>
                  <a:gd name="connsiteY722" fmla="*/ 5120 h 10000"/>
                  <a:gd name="connsiteX723" fmla="*/ 9889 w 10746"/>
                  <a:gd name="connsiteY723" fmla="*/ 5128 h 10000"/>
                  <a:gd name="connsiteX724" fmla="*/ 9912 w 10746"/>
                  <a:gd name="connsiteY724" fmla="*/ 5128 h 10000"/>
                  <a:gd name="connsiteX725" fmla="*/ 9908 w 10746"/>
                  <a:gd name="connsiteY725" fmla="*/ 5145 h 10000"/>
                  <a:gd name="connsiteX726" fmla="*/ 9908 w 10746"/>
                  <a:gd name="connsiteY726" fmla="*/ 5154 h 10000"/>
                  <a:gd name="connsiteX727" fmla="*/ 9922 w 10746"/>
                  <a:gd name="connsiteY727" fmla="*/ 5128 h 10000"/>
                  <a:gd name="connsiteX728" fmla="*/ 9935 w 10746"/>
                  <a:gd name="connsiteY728" fmla="*/ 5103 h 10000"/>
                  <a:gd name="connsiteX729" fmla="*/ 9968 w 10746"/>
                  <a:gd name="connsiteY729" fmla="*/ 5077 h 10000"/>
                  <a:gd name="connsiteX730" fmla="*/ 10000 w 10746"/>
                  <a:gd name="connsiteY730" fmla="*/ 5017 h 10000"/>
                  <a:gd name="connsiteX731" fmla="*/ 10711 w 10746"/>
                  <a:gd name="connsiteY731" fmla="*/ 4746 h 10000"/>
                  <a:gd name="connsiteX732" fmla="*/ 10561 w 10746"/>
                  <a:gd name="connsiteY732" fmla="*/ 4442 h 10000"/>
                  <a:gd name="connsiteX733" fmla="*/ 10354 w 10746"/>
                  <a:gd name="connsiteY733" fmla="*/ 4302 h 10000"/>
                  <a:gd name="connsiteX734" fmla="*/ 9912 w 10746"/>
                  <a:gd name="connsiteY734" fmla="*/ 3675 h 10000"/>
                  <a:gd name="connsiteX735" fmla="*/ 9903 w 10746"/>
                  <a:gd name="connsiteY735" fmla="*/ 3667 h 10000"/>
                  <a:gd name="connsiteX736" fmla="*/ 9894 w 10746"/>
                  <a:gd name="connsiteY736" fmla="*/ 3641 h 10000"/>
                  <a:gd name="connsiteX737" fmla="*/ 9889 w 10746"/>
                  <a:gd name="connsiteY737" fmla="*/ 3650 h 10000"/>
                  <a:gd name="connsiteX738" fmla="*/ 9848 w 10746"/>
                  <a:gd name="connsiteY738" fmla="*/ 3598 h 10000"/>
                  <a:gd name="connsiteX739" fmla="*/ 9829 w 10746"/>
                  <a:gd name="connsiteY739" fmla="*/ 3581 h 10000"/>
                  <a:gd name="connsiteX740" fmla="*/ 9820 w 10746"/>
                  <a:gd name="connsiteY740" fmla="*/ 3581 h 10000"/>
                  <a:gd name="connsiteX741" fmla="*/ 9793 w 10746"/>
                  <a:gd name="connsiteY741" fmla="*/ 3556 h 10000"/>
                  <a:gd name="connsiteX742" fmla="*/ 9779 w 10746"/>
                  <a:gd name="connsiteY742" fmla="*/ 3556 h 10000"/>
                  <a:gd name="connsiteX743" fmla="*/ 9747 w 10746"/>
                  <a:gd name="connsiteY743" fmla="*/ 3487 h 10000"/>
                  <a:gd name="connsiteX744" fmla="*/ 9668 w 10746"/>
                  <a:gd name="connsiteY744" fmla="*/ 3479 h 10000"/>
                  <a:gd name="connsiteX745" fmla="*/ 9659 w 10746"/>
                  <a:gd name="connsiteY745" fmla="*/ 3487 h 10000"/>
                  <a:gd name="connsiteX746" fmla="*/ 9645 w 10746"/>
                  <a:gd name="connsiteY746" fmla="*/ 3504 h 10000"/>
                  <a:gd name="connsiteX747" fmla="*/ 9631 w 10746"/>
                  <a:gd name="connsiteY747" fmla="*/ 3487 h 10000"/>
                  <a:gd name="connsiteX748" fmla="*/ 9613 w 10746"/>
                  <a:gd name="connsiteY748" fmla="*/ 3479 h 10000"/>
                  <a:gd name="connsiteX749" fmla="*/ 9599 w 10746"/>
                  <a:gd name="connsiteY749" fmla="*/ 3479 h 10000"/>
                  <a:gd name="connsiteX750" fmla="*/ 9571 w 10746"/>
                  <a:gd name="connsiteY750" fmla="*/ 3479 h 10000"/>
                  <a:gd name="connsiteX751" fmla="*/ 9562 w 10746"/>
                  <a:gd name="connsiteY751" fmla="*/ 3487 h 10000"/>
                  <a:gd name="connsiteX752" fmla="*/ 9539 w 10746"/>
                  <a:gd name="connsiteY752" fmla="*/ 3487 h 10000"/>
                  <a:gd name="connsiteX753" fmla="*/ 9507 w 10746"/>
                  <a:gd name="connsiteY753" fmla="*/ 3453 h 10000"/>
                  <a:gd name="connsiteX754" fmla="*/ 9498 w 10746"/>
                  <a:gd name="connsiteY754" fmla="*/ 3453 h 10000"/>
                  <a:gd name="connsiteX755" fmla="*/ 9387 w 10746"/>
                  <a:gd name="connsiteY755" fmla="*/ 3419 h 10000"/>
                  <a:gd name="connsiteX756" fmla="*/ 9373 w 10746"/>
                  <a:gd name="connsiteY756" fmla="*/ 3427 h 10000"/>
                  <a:gd name="connsiteX757" fmla="*/ 9373 w 10746"/>
                  <a:gd name="connsiteY757" fmla="*/ 3462 h 10000"/>
                  <a:gd name="connsiteX758" fmla="*/ 9378 w 10746"/>
                  <a:gd name="connsiteY758" fmla="*/ 3479 h 10000"/>
                  <a:gd name="connsiteX759" fmla="*/ 9378 w 10746"/>
                  <a:gd name="connsiteY759" fmla="*/ 3530 h 10000"/>
                  <a:gd name="connsiteX760" fmla="*/ 9355 w 10746"/>
                  <a:gd name="connsiteY760" fmla="*/ 3538 h 10000"/>
                  <a:gd name="connsiteX761" fmla="*/ 9355 w 10746"/>
                  <a:gd name="connsiteY761" fmla="*/ 3581 h 10000"/>
                  <a:gd name="connsiteX762" fmla="*/ 9387 w 10746"/>
                  <a:gd name="connsiteY762" fmla="*/ 3590 h 10000"/>
                  <a:gd name="connsiteX763" fmla="*/ 9401 w 10746"/>
                  <a:gd name="connsiteY763" fmla="*/ 3667 h 10000"/>
                  <a:gd name="connsiteX764" fmla="*/ 9406 w 10746"/>
                  <a:gd name="connsiteY764" fmla="*/ 3675 h 10000"/>
                  <a:gd name="connsiteX765" fmla="*/ 9406 w 10746"/>
                  <a:gd name="connsiteY765" fmla="*/ 3701 h 10000"/>
                  <a:gd name="connsiteX766" fmla="*/ 9415 w 10746"/>
                  <a:gd name="connsiteY766" fmla="*/ 3752 h 10000"/>
                  <a:gd name="connsiteX767" fmla="*/ 9373 w 10746"/>
                  <a:gd name="connsiteY767" fmla="*/ 3838 h 10000"/>
                  <a:gd name="connsiteX768" fmla="*/ 9355 w 10746"/>
                  <a:gd name="connsiteY768" fmla="*/ 3863 h 10000"/>
                  <a:gd name="connsiteX769" fmla="*/ 9327 w 10746"/>
                  <a:gd name="connsiteY769" fmla="*/ 3863 h 10000"/>
                  <a:gd name="connsiteX770" fmla="*/ 9313 w 10746"/>
                  <a:gd name="connsiteY770" fmla="*/ 3846 h 10000"/>
                  <a:gd name="connsiteX771" fmla="*/ 9300 w 10746"/>
                  <a:gd name="connsiteY771" fmla="*/ 3778 h 10000"/>
                  <a:gd name="connsiteX772" fmla="*/ 9281 w 10746"/>
                  <a:gd name="connsiteY772" fmla="*/ 3752 h 10000"/>
                  <a:gd name="connsiteX773" fmla="*/ 9281 w 10746"/>
                  <a:gd name="connsiteY773" fmla="*/ 3735 h 10000"/>
                  <a:gd name="connsiteX774" fmla="*/ 9267 w 10746"/>
                  <a:gd name="connsiteY774" fmla="*/ 3726 h 10000"/>
                  <a:gd name="connsiteX775" fmla="*/ 9240 w 10746"/>
                  <a:gd name="connsiteY775" fmla="*/ 3726 h 10000"/>
                  <a:gd name="connsiteX776" fmla="*/ 9230 w 10746"/>
                  <a:gd name="connsiteY776" fmla="*/ 3718 h 10000"/>
                  <a:gd name="connsiteX777" fmla="*/ 9226 w 10746"/>
                  <a:gd name="connsiteY777" fmla="*/ 3590 h 10000"/>
                  <a:gd name="connsiteX778" fmla="*/ 9207 w 10746"/>
                  <a:gd name="connsiteY778" fmla="*/ 3581 h 10000"/>
                  <a:gd name="connsiteX779" fmla="*/ 9207 w 10746"/>
                  <a:gd name="connsiteY779" fmla="*/ 3556 h 10000"/>
                  <a:gd name="connsiteX780" fmla="*/ 9217 w 10746"/>
                  <a:gd name="connsiteY780" fmla="*/ 3538 h 10000"/>
                  <a:gd name="connsiteX781" fmla="*/ 9212 w 10746"/>
                  <a:gd name="connsiteY781" fmla="*/ 3538 h 10000"/>
                  <a:gd name="connsiteX782" fmla="*/ 9198 w 10746"/>
                  <a:gd name="connsiteY782" fmla="*/ 3513 h 10000"/>
                  <a:gd name="connsiteX783" fmla="*/ 9194 w 10746"/>
                  <a:gd name="connsiteY783" fmla="*/ 3530 h 10000"/>
                  <a:gd name="connsiteX784" fmla="*/ 9143 w 10746"/>
                  <a:gd name="connsiteY784" fmla="*/ 3615 h 10000"/>
                  <a:gd name="connsiteX785" fmla="*/ 9138 w 10746"/>
                  <a:gd name="connsiteY785" fmla="*/ 3615 h 10000"/>
                  <a:gd name="connsiteX786" fmla="*/ 9134 w 10746"/>
                  <a:gd name="connsiteY786" fmla="*/ 3615 h 10000"/>
                  <a:gd name="connsiteX787" fmla="*/ 9106 w 10746"/>
                  <a:gd name="connsiteY787" fmla="*/ 3615 h 10000"/>
                  <a:gd name="connsiteX788" fmla="*/ 9078 w 10746"/>
                  <a:gd name="connsiteY788" fmla="*/ 3590 h 10000"/>
                  <a:gd name="connsiteX789" fmla="*/ 9037 w 10746"/>
                  <a:gd name="connsiteY789" fmla="*/ 3581 h 10000"/>
                  <a:gd name="connsiteX790" fmla="*/ 9023 w 10746"/>
                  <a:gd name="connsiteY790" fmla="*/ 3590 h 10000"/>
                  <a:gd name="connsiteX791" fmla="*/ 9018 w 10746"/>
                  <a:gd name="connsiteY791" fmla="*/ 3590 h 10000"/>
                  <a:gd name="connsiteX792" fmla="*/ 9018 w 10746"/>
                  <a:gd name="connsiteY792" fmla="*/ 3590 h 10000"/>
                  <a:gd name="connsiteX793" fmla="*/ 8991 w 10746"/>
                  <a:gd name="connsiteY793" fmla="*/ 3590 h 10000"/>
                  <a:gd name="connsiteX794" fmla="*/ 8972 w 10746"/>
                  <a:gd name="connsiteY794" fmla="*/ 3581 h 10000"/>
                  <a:gd name="connsiteX795" fmla="*/ 8959 w 10746"/>
                  <a:gd name="connsiteY795" fmla="*/ 3513 h 10000"/>
                  <a:gd name="connsiteX796" fmla="*/ 8931 w 10746"/>
                  <a:gd name="connsiteY796" fmla="*/ 3538 h 10000"/>
                  <a:gd name="connsiteX797" fmla="*/ 8889 w 10746"/>
                  <a:gd name="connsiteY797" fmla="*/ 3538 h 10000"/>
                  <a:gd name="connsiteX798" fmla="*/ 8871 w 10746"/>
                  <a:gd name="connsiteY798" fmla="*/ 3556 h 10000"/>
                  <a:gd name="connsiteX799" fmla="*/ 8857 w 10746"/>
                  <a:gd name="connsiteY799" fmla="*/ 3538 h 10000"/>
                  <a:gd name="connsiteX800" fmla="*/ 8843 w 10746"/>
                  <a:gd name="connsiteY800" fmla="*/ 3538 h 10000"/>
                  <a:gd name="connsiteX801" fmla="*/ 8839 w 10746"/>
                  <a:gd name="connsiteY801" fmla="*/ 3556 h 10000"/>
                  <a:gd name="connsiteX802" fmla="*/ 8839 w 10746"/>
                  <a:gd name="connsiteY802" fmla="*/ 3581 h 10000"/>
                  <a:gd name="connsiteX803" fmla="*/ 8825 w 10746"/>
                  <a:gd name="connsiteY803" fmla="*/ 3564 h 10000"/>
                  <a:gd name="connsiteX804" fmla="*/ 8825 w 10746"/>
                  <a:gd name="connsiteY804" fmla="*/ 3615 h 10000"/>
                  <a:gd name="connsiteX805" fmla="*/ 8802 w 10746"/>
                  <a:gd name="connsiteY805" fmla="*/ 3598 h 10000"/>
                  <a:gd name="connsiteX806" fmla="*/ 8797 w 10746"/>
                  <a:gd name="connsiteY806" fmla="*/ 3641 h 10000"/>
                  <a:gd name="connsiteX807" fmla="*/ 8783 w 10746"/>
                  <a:gd name="connsiteY807" fmla="*/ 3667 h 10000"/>
                  <a:gd name="connsiteX808" fmla="*/ 8779 w 10746"/>
                  <a:gd name="connsiteY808" fmla="*/ 3650 h 10000"/>
                  <a:gd name="connsiteX809" fmla="*/ 8779 w 10746"/>
                  <a:gd name="connsiteY809" fmla="*/ 3615 h 10000"/>
                  <a:gd name="connsiteX810" fmla="*/ 8770 w 10746"/>
                  <a:gd name="connsiteY810" fmla="*/ 3590 h 10000"/>
                  <a:gd name="connsiteX811" fmla="*/ 8765 w 10746"/>
                  <a:gd name="connsiteY811" fmla="*/ 3598 h 10000"/>
                  <a:gd name="connsiteX812" fmla="*/ 8756 w 10746"/>
                  <a:gd name="connsiteY812" fmla="*/ 3590 h 10000"/>
                  <a:gd name="connsiteX813" fmla="*/ 8737 w 10746"/>
                  <a:gd name="connsiteY813" fmla="*/ 3556 h 10000"/>
                  <a:gd name="connsiteX814" fmla="*/ 8724 w 10746"/>
                  <a:gd name="connsiteY814" fmla="*/ 3538 h 10000"/>
                  <a:gd name="connsiteX815" fmla="*/ 8696 w 10746"/>
                  <a:gd name="connsiteY815" fmla="*/ 3538 h 10000"/>
                  <a:gd name="connsiteX816" fmla="*/ 8691 w 10746"/>
                  <a:gd name="connsiteY816" fmla="*/ 3513 h 10000"/>
                  <a:gd name="connsiteX817" fmla="*/ 8668 w 10746"/>
                  <a:gd name="connsiteY817" fmla="*/ 3504 h 10000"/>
                  <a:gd name="connsiteX818" fmla="*/ 8668 w 10746"/>
                  <a:gd name="connsiteY818" fmla="*/ 3487 h 10000"/>
                  <a:gd name="connsiteX819" fmla="*/ 8691 w 10746"/>
                  <a:gd name="connsiteY819" fmla="*/ 3350 h 10000"/>
                  <a:gd name="connsiteX820" fmla="*/ 8691 w 10746"/>
                  <a:gd name="connsiteY820" fmla="*/ 3291 h 10000"/>
                  <a:gd name="connsiteX821" fmla="*/ 8677 w 10746"/>
                  <a:gd name="connsiteY821" fmla="*/ 3239 h 10000"/>
                  <a:gd name="connsiteX822" fmla="*/ 8677 w 10746"/>
                  <a:gd name="connsiteY822" fmla="*/ 3231 h 10000"/>
                  <a:gd name="connsiteX823" fmla="*/ 8636 w 10746"/>
                  <a:gd name="connsiteY823" fmla="*/ 3128 h 10000"/>
                  <a:gd name="connsiteX824" fmla="*/ 8622 w 10746"/>
                  <a:gd name="connsiteY824" fmla="*/ 3120 h 10000"/>
                  <a:gd name="connsiteX825" fmla="*/ 8618 w 10746"/>
                  <a:gd name="connsiteY825" fmla="*/ 3094 h 10000"/>
                  <a:gd name="connsiteX826" fmla="*/ 8594 w 10746"/>
                  <a:gd name="connsiteY826" fmla="*/ 3077 h 10000"/>
                  <a:gd name="connsiteX827" fmla="*/ 8548 w 10746"/>
                  <a:gd name="connsiteY827" fmla="*/ 3077 h 10000"/>
                  <a:gd name="connsiteX828" fmla="*/ 8535 w 10746"/>
                  <a:gd name="connsiteY828" fmla="*/ 3068 h 10000"/>
                  <a:gd name="connsiteX829" fmla="*/ 8429 w 10746"/>
                  <a:gd name="connsiteY829" fmla="*/ 3077 h 10000"/>
                  <a:gd name="connsiteX830" fmla="*/ 8424 w 10746"/>
                  <a:gd name="connsiteY830" fmla="*/ 3077 h 10000"/>
                  <a:gd name="connsiteX831" fmla="*/ 8396 w 10746"/>
                  <a:gd name="connsiteY831" fmla="*/ 3077 h 10000"/>
                  <a:gd name="connsiteX832" fmla="*/ 8387 w 10746"/>
                  <a:gd name="connsiteY832" fmla="*/ 3094 h 10000"/>
                  <a:gd name="connsiteX833" fmla="*/ 8378 w 10746"/>
                  <a:gd name="connsiteY833" fmla="*/ 3094 h 10000"/>
                  <a:gd name="connsiteX834" fmla="*/ 8341 w 10746"/>
                  <a:gd name="connsiteY834" fmla="*/ 3077 h 10000"/>
                  <a:gd name="connsiteX835" fmla="*/ 8336 w 10746"/>
                  <a:gd name="connsiteY835" fmla="*/ 3077 h 10000"/>
                  <a:gd name="connsiteX836" fmla="*/ 8327 w 10746"/>
                  <a:gd name="connsiteY836" fmla="*/ 3103 h 10000"/>
                  <a:gd name="connsiteX837" fmla="*/ 8309 w 10746"/>
                  <a:gd name="connsiteY837" fmla="*/ 3120 h 10000"/>
                  <a:gd name="connsiteX838" fmla="*/ 8304 w 10746"/>
                  <a:gd name="connsiteY838" fmla="*/ 3103 h 10000"/>
                  <a:gd name="connsiteX839" fmla="*/ 8276 w 10746"/>
                  <a:gd name="connsiteY839" fmla="*/ 3103 h 10000"/>
                  <a:gd name="connsiteX840" fmla="*/ 8267 w 10746"/>
                  <a:gd name="connsiteY840" fmla="*/ 3120 h 10000"/>
                  <a:gd name="connsiteX841" fmla="*/ 8253 w 10746"/>
                  <a:gd name="connsiteY841" fmla="*/ 3103 h 10000"/>
                  <a:gd name="connsiteX842" fmla="*/ 8230 w 10746"/>
                  <a:gd name="connsiteY842" fmla="*/ 3128 h 10000"/>
                  <a:gd name="connsiteX843" fmla="*/ 8217 w 10746"/>
                  <a:gd name="connsiteY843" fmla="*/ 3128 h 10000"/>
                  <a:gd name="connsiteX844" fmla="*/ 8203 w 10746"/>
                  <a:gd name="connsiteY844" fmla="*/ 3154 h 10000"/>
                  <a:gd name="connsiteX845" fmla="*/ 8175 w 10746"/>
                  <a:gd name="connsiteY845" fmla="*/ 3094 h 10000"/>
                  <a:gd name="connsiteX846" fmla="*/ 8161 w 10746"/>
                  <a:gd name="connsiteY846" fmla="*/ 3094 h 10000"/>
                  <a:gd name="connsiteX847" fmla="*/ 8157 w 10746"/>
                  <a:gd name="connsiteY847" fmla="*/ 3077 h 10000"/>
                  <a:gd name="connsiteX848" fmla="*/ 8180 w 10746"/>
                  <a:gd name="connsiteY848" fmla="*/ 3068 h 10000"/>
                  <a:gd name="connsiteX849" fmla="*/ 8189 w 10746"/>
                  <a:gd name="connsiteY849" fmla="*/ 3043 h 10000"/>
                  <a:gd name="connsiteX850" fmla="*/ 8189 w 10746"/>
                  <a:gd name="connsiteY850" fmla="*/ 3017 h 10000"/>
                  <a:gd name="connsiteX851" fmla="*/ 8147 w 10746"/>
                  <a:gd name="connsiteY851" fmla="*/ 2940 h 10000"/>
                  <a:gd name="connsiteX852" fmla="*/ 8143 w 10746"/>
                  <a:gd name="connsiteY852" fmla="*/ 2915 h 10000"/>
                  <a:gd name="connsiteX853" fmla="*/ 8143 w 10746"/>
                  <a:gd name="connsiteY853" fmla="*/ 2906 h 10000"/>
                  <a:gd name="connsiteX854" fmla="*/ 8097 w 10746"/>
                  <a:gd name="connsiteY854" fmla="*/ 2932 h 10000"/>
                  <a:gd name="connsiteX855" fmla="*/ 8083 w 10746"/>
                  <a:gd name="connsiteY855" fmla="*/ 2932 h 10000"/>
                  <a:gd name="connsiteX856" fmla="*/ 8074 w 10746"/>
                  <a:gd name="connsiteY856" fmla="*/ 2906 h 10000"/>
                  <a:gd name="connsiteX857" fmla="*/ 8074 w 10746"/>
                  <a:gd name="connsiteY857" fmla="*/ 2897 h 10000"/>
                  <a:gd name="connsiteX858" fmla="*/ 8055 w 10746"/>
                  <a:gd name="connsiteY858" fmla="*/ 2872 h 10000"/>
                  <a:gd name="connsiteX859" fmla="*/ 8046 w 10746"/>
                  <a:gd name="connsiteY859" fmla="*/ 2829 h 10000"/>
                  <a:gd name="connsiteX860" fmla="*/ 8041 w 10746"/>
                  <a:gd name="connsiteY860" fmla="*/ 2829 h 10000"/>
                  <a:gd name="connsiteX861" fmla="*/ 8023 w 10746"/>
                  <a:gd name="connsiteY861" fmla="*/ 2803 h 10000"/>
                  <a:gd name="connsiteX862" fmla="*/ 8014 w 10746"/>
                  <a:gd name="connsiteY862" fmla="*/ 2829 h 10000"/>
                  <a:gd name="connsiteX863" fmla="*/ 8000 w 10746"/>
                  <a:gd name="connsiteY863" fmla="*/ 2829 h 10000"/>
                  <a:gd name="connsiteX864" fmla="*/ 7995 w 10746"/>
                  <a:gd name="connsiteY864" fmla="*/ 2821 h 10000"/>
                  <a:gd name="connsiteX865" fmla="*/ 7972 w 10746"/>
                  <a:gd name="connsiteY865" fmla="*/ 2803 h 10000"/>
                  <a:gd name="connsiteX866" fmla="*/ 7968 w 10746"/>
                  <a:gd name="connsiteY866" fmla="*/ 2821 h 10000"/>
                  <a:gd name="connsiteX867" fmla="*/ 7968 w 10746"/>
                  <a:gd name="connsiteY867" fmla="*/ 2803 h 10000"/>
                  <a:gd name="connsiteX868" fmla="*/ 7995 w 10746"/>
                  <a:gd name="connsiteY868" fmla="*/ 2735 h 10000"/>
                  <a:gd name="connsiteX869" fmla="*/ 8000 w 10746"/>
                  <a:gd name="connsiteY869" fmla="*/ 2735 h 10000"/>
                  <a:gd name="connsiteX870" fmla="*/ 8014 w 10746"/>
                  <a:gd name="connsiteY870" fmla="*/ 2744 h 10000"/>
                  <a:gd name="connsiteX871" fmla="*/ 8023 w 10746"/>
                  <a:gd name="connsiteY871" fmla="*/ 2769 h 10000"/>
                  <a:gd name="connsiteX872" fmla="*/ 8032 w 10746"/>
                  <a:gd name="connsiteY872" fmla="*/ 2744 h 10000"/>
                  <a:gd name="connsiteX873" fmla="*/ 8032 w 10746"/>
                  <a:gd name="connsiteY873" fmla="*/ 2709 h 10000"/>
                  <a:gd name="connsiteX874" fmla="*/ 8023 w 10746"/>
                  <a:gd name="connsiteY874" fmla="*/ 2632 h 10000"/>
                  <a:gd name="connsiteX875" fmla="*/ 7986 w 10746"/>
                  <a:gd name="connsiteY875" fmla="*/ 2581 h 10000"/>
                  <a:gd name="connsiteX876" fmla="*/ 7968 w 10746"/>
                  <a:gd name="connsiteY876" fmla="*/ 2581 h 10000"/>
                  <a:gd name="connsiteX877" fmla="*/ 7963 w 10746"/>
                  <a:gd name="connsiteY877" fmla="*/ 2556 h 10000"/>
                  <a:gd name="connsiteX878" fmla="*/ 7935 w 10746"/>
                  <a:gd name="connsiteY878" fmla="*/ 2547 h 10000"/>
                  <a:gd name="connsiteX879" fmla="*/ 7912 w 10746"/>
                  <a:gd name="connsiteY879" fmla="*/ 2547 h 10000"/>
                  <a:gd name="connsiteX880" fmla="*/ 7912 w 10746"/>
                  <a:gd name="connsiteY880" fmla="*/ 2556 h 10000"/>
                  <a:gd name="connsiteX881" fmla="*/ 7908 w 10746"/>
                  <a:gd name="connsiteY881" fmla="*/ 2547 h 10000"/>
                  <a:gd name="connsiteX882" fmla="*/ 7862 w 10746"/>
                  <a:gd name="connsiteY882" fmla="*/ 2547 h 10000"/>
                  <a:gd name="connsiteX883" fmla="*/ 7848 w 10746"/>
                  <a:gd name="connsiteY883" fmla="*/ 2556 h 10000"/>
                  <a:gd name="connsiteX884" fmla="*/ 7820 w 10746"/>
                  <a:gd name="connsiteY884" fmla="*/ 2547 h 10000"/>
                  <a:gd name="connsiteX885" fmla="*/ 7806 w 10746"/>
                  <a:gd name="connsiteY885" fmla="*/ 2513 h 10000"/>
                  <a:gd name="connsiteX886" fmla="*/ 7788 w 10746"/>
                  <a:gd name="connsiteY886" fmla="*/ 2513 h 10000"/>
                  <a:gd name="connsiteX887" fmla="*/ 7760 w 10746"/>
                  <a:gd name="connsiteY887" fmla="*/ 2470 h 10000"/>
                  <a:gd name="connsiteX888" fmla="*/ 7751 w 10746"/>
                  <a:gd name="connsiteY888" fmla="*/ 2470 h 10000"/>
                  <a:gd name="connsiteX889" fmla="*/ 7705 w 10746"/>
                  <a:gd name="connsiteY889" fmla="*/ 2462 h 10000"/>
                  <a:gd name="connsiteX890" fmla="*/ 7673 w 10746"/>
                  <a:gd name="connsiteY890" fmla="*/ 2419 h 10000"/>
                  <a:gd name="connsiteX891" fmla="*/ 7627 w 10746"/>
                  <a:gd name="connsiteY891" fmla="*/ 2419 h 10000"/>
                  <a:gd name="connsiteX892" fmla="*/ 7613 w 10746"/>
                  <a:gd name="connsiteY892" fmla="*/ 2410 h 10000"/>
                  <a:gd name="connsiteX893" fmla="*/ 7493 w 10746"/>
                  <a:gd name="connsiteY893" fmla="*/ 2393 h 10000"/>
                  <a:gd name="connsiteX894" fmla="*/ 7479 w 10746"/>
                  <a:gd name="connsiteY894" fmla="*/ 2385 h 10000"/>
                  <a:gd name="connsiteX895" fmla="*/ 7479 w 10746"/>
                  <a:gd name="connsiteY895" fmla="*/ 2376 h 10000"/>
                  <a:gd name="connsiteX896" fmla="*/ 7465 w 10746"/>
                  <a:gd name="connsiteY896" fmla="*/ 2359 h 10000"/>
                  <a:gd name="connsiteX897" fmla="*/ 7447 w 10746"/>
                  <a:gd name="connsiteY897" fmla="*/ 2350 h 10000"/>
                  <a:gd name="connsiteX898" fmla="*/ 7433 w 10746"/>
                  <a:gd name="connsiteY898" fmla="*/ 2376 h 10000"/>
                  <a:gd name="connsiteX899" fmla="*/ 7433 w 10746"/>
                  <a:gd name="connsiteY899" fmla="*/ 2385 h 10000"/>
                  <a:gd name="connsiteX900" fmla="*/ 7447 w 10746"/>
                  <a:gd name="connsiteY900" fmla="*/ 2410 h 10000"/>
                  <a:gd name="connsiteX901" fmla="*/ 7447 w 10746"/>
                  <a:gd name="connsiteY901" fmla="*/ 2436 h 10000"/>
                  <a:gd name="connsiteX902" fmla="*/ 7452 w 10746"/>
                  <a:gd name="connsiteY902" fmla="*/ 2462 h 10000"/>
                  <a:gd name="connsiteX903" fmla="*/ 7447 w 10746"/>
                  <a:gd name="connsiteY903" fmla="*/ 2470 h 10000"/>
                  <a:gd name="connsiteX904" fmla="*/ 7424 w 10746"/>
                  <a:gd name="connsiteY904" fmla="*/ 2513 h 10000"/>
                  <a:gd name="connsiteX905" fmla="*/ 7419 w 10746"/>
                  <a:gd name="connsiteY905" fmla="*/ 2556 h 10000"/>
                  <a:gd name="connsiteX906" fmla="*/ 7406 w 10746"/>
                  <a:gd name="connsiteY906" fmla="*/ 2624 h 10000"/>
                  <a:gd name="connsiteX907" fmla="*/ 7392 w 10746"/>
                  <a:gd name="connsiteY907" fmla="*/ 2624 h 10000"/>
                  <a:gd name="connsiteX908" fmla="*/ 7373 w 10746"/>
                  <a:gd name="connsiteY908" fmla="*/ 2650 h 10000"/>
                  <a:gd name="connsiteX909" fmla="*/ 7364 w 10746"/>
                  <a:gd name="connsiteY909" fmla="*/ 2684 h 10000"/>
                  <a:gd name="connsiteX910" fmla="*/ 7364 w 10746"/>
                  <a:gd name="connsiteY910" fmla="*/ 2692 h 10000"/>
                  <a:gd name="connsiteX911" fmla="*/ 7373 w 10746"/>
                  <a:gd name="connsiteY911" fmla="*/ 2718 h 10000"/>
                  <a:gd name="connsiteX912" fmla="*/ 7373 w 10746"/>
                  <a:gd name="connsiteY912" fmla="*/ 2744 h 10000"/>
                  <a:gd name="connsiteX913" fmla="*/ 7359 w 10746"/>
                  <a:gd name="connsiteY913" fmla="*/ 2744 h 10000"/>
                  <a:gd name="connsiteX914" fmla="*/ 7359 w 10746"/>
                  <a:gd name="connsiteY914" fmla="*/ 2795 h 10000"/>
                  <a:gd name="connsiteX915" fmla="*/ 7364 w 10746"/>
                  <a:gd name="connsiteY915" fmla="*/ 2821 h 10000"/>
                  <a:gd name="connsiteX916" fmla="*/ 7378 w 10746"/>
                  <a:gd name="connsiteY916" fmla="*/ 2846 h 10000"/>
                  <a:gd name="connsiteX917" fmla="*/ 7378 w 10746"/>
                  <a:gd name="connsiteY917" fmla="*/ 2855 h 10000"/>
                  <a:gd name="connsiteX918" fmla="*/ 7378 w 10746"/>
                  <a:gd name="connsiteY918" fmla="*/ 2880 h 10000"/>
                  <a:gd name="connsiteX919" fmla="*/ 7378 w 10746"/>
                  <a:gd name="connsiteY919" fmla="*/ 2906 h 10000"/>
                  <a:gd name="connsiteX920" fmla="*/ 7364 w 10746"/>
                  <a:gd name="connsiteY920" fmla="*/ 2906 h 10000"/>
                  <a:gd name="connsiteX921" fmla="*/ 7346 w 10746"/>
                  <a:gd name="connsiteY921" fmla="*/ 2880 h 10000"/>
                  <a:gd name="connsiteX922" fmla="*/ 7332 w 10746"/>
                  <a:gd name="connsiteY922" fmla="*/ 2915 h 10000"/>
                  <a:gd name="connsiteX923" fmla="*/ 7318 w 10746"/>
                  <a:gd name="connsiteY923" fmla="*/ 2906 h 10000"/>
                  <a:gd name="connsiteX924" fmla="*/ 7313 w 10746"/>
                  <a:gd name="connsiteY924" fmla="*/ 2915 h 10000"/>
                  <a:gd name="connsiteX925" fmla="*/ 7313 w 10746"/>
                  <a:gd name="connsiteY925" fmla="*/ 2906 h 10000"/>
                  <a:gd name="connsiteX926" fmla="*/ 7286 w 10746"/>
                  <a:gd name="connsiteY926" fmla="*/ 2940 h 10000"/>
                  <a:gd name="connsiteX927" fmla="*/ 7276 w 10746"/>
                  <a:gd name="connsiteY927" fmla="*/ 2966 h 10000"/>
                  <a:gd name="connsiteX928" fmla="*/ 7272 w 10746"/>
                  <a:gd name="connsiteY928" fmla="*/ 2983 h 10000"/>
                  <a:gd name="connsiteX929" fmla="*/ 7267 w 10746"/>
                  <a:gd name="connsiteY929" fmla="*/ 3009 h 10000"/>
                  <a:gd name="connsiteX930" fmla="*/ 7253 w 10746"/>
                  <a:gd name="connsiteY930" fmla="*/ 3009 h 10000"/>
                  <a:gd name="connsiteX931" fmla="*/ 7244 w 10746"/>
                  <a:gd name="connsiteY931" fmla="*/ 3017 h 10000"/>
                  <a:gd name="connsiteX932" fmla="*/ 7240 w 10746"/>
                  <a:gd name="connsiteY932" fmla="*/ 3009 h 10000"/>
                  <a:gd name="connsiteX933" fmla="*/ 7230 w 10746"/>
                  <a:gd name="connsiteY933" fmla="*/ 2991 h 10000"/>
                  <a:gd name="connsiteX934" fmla="*/ 7226 w 10746"/>
                  <a:gd name="connsiteY934" fmla="*/ 2983 h 10000"/>
                  <a:gd name="connsiteX935" fmla="*/ 7226 w 10746"/>
                  <a:gd name="connsiteY935" fmla="*/ 2966 h 10000"/>
                  <a:gd name="connsiteX936" fmla="*/ 7212 w 10746"/>
                  <a:gd name="connsiteY936" fmla="*/ 2957 h 10000"/>
                  <a:gd name="connsiteX937" fmla="*/ 7212 w 10746"/>
                  <a:gd name="connsiteY937" fmla="*/ 2932 h 10000"/>
                  <a:gd name="connsiteX938" fmla="*/ 7198 w 10746"/>
                  <a:gd name="connsiteY938" fmla="*/ 2915 h 10000"/>
                  <a:gd name="connsiteX939" fmla="*/ 7194 w 10746"/>
                  <a:gd name="connsiteY939" fmla="*/ 2915 h 10000"/>
                  <a:gd name="connsiteX940" fmla="*/ 7157 w 10746"/>
                  <a:gd name="connsiteY940" fmla="*/ 2880 h 10000"/>
                  <a:gd name="connsiteX941" fmla="*/ 7138 w 10746"/>
                  <a:gd name="connsiteY941" fmla="*/ 2880 h 10000"/>
                  <a:gd name="connsiteX942" fmla="*/ 7120 w 10746"/>
                  <a:gd name="connsiteY942" fmla="*/ 2872 h 10000"/>
                  <a:gd name="connsiteX943" fmla="*/ 7111 w 10746"/>
                  <a:gd name="connsiteY943" fmla="*/ 2846 h 10000"/>
                  <a:gd name="connsiteX944" fmla="*/ 7106 w 10746"/>
                  <a:gd name="connsiteY944" fmla="*/ 2846 h 10000"/>
                  <a:gd name="connsiteX945" fmla="*/ 7092 w 10746"/>
                  <a:gd name="connsiteY945" fmla="*/ 2829 h 10000"/>
                  <a:gd name="connsiteX946" fmla="*/ 7051 w 10746"/>
                  <a:gd name="connsiteY946" fmla="*/ 2829 h 10000"/>
                  <a:gd name="connsiteX947" fmla="*/ 7037 w 10746"/>
                  <a:gd name="connsiteY947" fmla="*/ 2880 h 10000"/>
                  <a:gd name="connsiteX948" fmla="*/ 7037 w 10746"/>
                  <a:gd name="connsiteY948" fmla="*/ 2906 h 10000"/>
                  <a:gd name="connsiteX949" fmla="*/ 7037 w 10746"/>
                  <a:gd name="connsiteY949" fmla="*/ 2932 h 10000"/>
                  <a:gd name="connsiteX950" fmla="*/ 7037 w 10746"/>
                  <a:gd name="connsiteY950" fmla="*/ 2940 h 10000"/>
                  <a:gd name="connsiteX951" fmla="*/ 7023 w 10746"/>
                  <a:gd name="connsiteY951" fmla="*/ 2906 h 10000"/>
                  <a:gd name="connsiteX952" fmla="*/ 7023 w 10746"/>
                  <a:gd name="connsiteY952" fmla="*/ 2915 h 10000"/>
                  <a:gd name="connsiteX953" fmla="*/ 6991 w 10746"/>
                  <a:gd name="connsiteY953" fmla="*/ 2906 h 10000"/>
                  <a:gd name="connsiteX954" fmla="*/ 6977 w 10746"/>
                  <a:gd name="connsiteY954" fmla="*/ 2915 h 10000"/>
                  <a:gd name="connsiteX955" fmla="*/ 6963 w 10746"/>
                  <a:gd name="connsiteY955" fmla="*/ 2915 h 10000"/>
                  <a:gd name="connsiteX956" fmla="*/ 6949 w 10746"/>
                  <a:gd name="connsiteY956" fmla="*/ 2872 h 10000"/>
                  <a:gd name="connsiteX957" fmla="*/ 6935 w 10746"/>
                  <a:gd name="connsiteY957" fmla="*/ 2855 h 10000"/>
                  <a:gd name="connsiteX958" fmla="*/ 6922 w 10746"/>
                  <a:gd name="connsiteY958" fmla="*/ 2803 h 10000"/>
                  <a:gd name="connsiteX959" fmla="*/ 6917 w 10746"/>
                  <a:gd name="connsiteY959" fmla="*/ 2786 h 10000"/>
                  <a:gd name="connsiteX960" fmla="*/ 6903 w 10746"/>
                  <a:gd name="connsiteY960" fmla="*/ 2709 h 10000"/>
                  <a:gd name="connsiteX961" fmla="*/ 6903 w 10746"/>
                  <a:gd name="connsiteY961" fmla="*/ 2692 h 10000"/>
                  <a:gd name="connsiteX962" fmla="*/ 6899 w 10746"/>
                  <a:gd name="connsiteY962" fmla="*/ 2709 h 10000"/>
                  <a:gd name="connsiteX963" fmla="*/ 6857 w 10746"/>
                  <a:gd name="connsiteY963" fmla="*/ 2872 h 10000"/>
                  <a:gd name="connsiteX964" fmla="*/ 6857 w 10746"/>
                  <a:gd name="connsiteY964" fmla="*/ 3009 h 10000"/>
                  <a:gd name="connsiteX965" fmla="*/ 6848 w 10746"/>
                  <a:gd name="connsiteY965" fmla="*/ 3017 h 10000"/>
                  <a:gd name="connsiteX966" fmla="*/ 6839 w 10746"/>
                  <a:gd name="connsiteY966" fmla="*/ 3068 h 10000"/>
                  <a:gd name="connsiteX967" fmla="*/ 6829 w 10746"/>
                  <a:gd name="connsiteY967" fmla="*/ 3077 h 10000"/>
                  <a:gd name="connsiteX968" fmla="*/ 6829 w 10746"/>
                  <a:gd name="connsiteY968" fmla="*/ 3128 h 10000"/>
                  <a:gd name="connsiteX969" fmla="*/ 6816 w 10746"/>
                  <a:gd name="connsiteY969" fmla="*/ 3154 h 10000"/>
                  <a:gd name="connsiteX970" fmla="*/ 6811 w 10746"/>
                  <a:gd name="connsiteY970" fmla="*/ 3179 h 10000"/>
                  <a:gd name="connsiteX971" fmla="*/ 6797 w 10746"/>
                  <a:gd name="connsiteY971" fmla="*/ 3171 h 10000"/>
                  <a:gd name="connsiteX972" fmla="*/ 6783 w 10746"/>
                  <a:gd name="connsiteY972" fmla="*/ 3103 h 10000"/>
                  <a:gd name="connsiteX973" fmla="*/ 6779 w 10746"/>
                  <a:gd name="connsiteY973" fmla="*/ 3094 h 10000"/>
                  <a:gd name="connsiteX974" fmla="*/ 6779 w 10746"/>
                  <a:gd name="connsiteY974" fmla="*/ 3120 h 10000"/>
                  <a:gd name="connsiteX975" fmla="*/ 6770 w 10746"/>
                  <a:gd name="connsiteY975" fmla="*/ 3128 h 10000"/>
                  <a:gd name="connsiteX976" fmla="*/ 6765 w 10746"/>
                  <a:gd name="connsiteY976" fmla="*/ 3103 h 10000"/>
                  <a:gd name="connsiteX977" fmla="*/ 6756 w 10746"/>
                  <a:gd name="connsiteY977" fmla="*/ 3103 h 10000"/>
                  <a:gd name="connsiteX978" fmla="*/ 6742 w 10746"/>
                  <a:gd name="connsiteY978" fmla="*/ 3103 h 10000"/>
                  <a:gd name="connsiteX979" fmla="*/ 6737 w 10746"/>
                  <a:gd name="connsiteY979" fmla="*/ 3077 h 10000"/>
                  <a:gd name="connsiteX980" fmla="*/ 6737 w 10746"/>
                  <a:gd name="connsiteY980" fmla="*/ 3068 h 10000"/>
                  <a:gd name="connsiteX981" fmla="*/ 6728 w 10746"/>
                  <a:gd name="connsiteY981" fmla="*/ 3043 h 10000"/>
                  <a:gd name="connsiteX982" fmla="*/ 6724 w 10746"/>
                  <a:gd name="connsiteY982" fmla="*/ 3051 h 10000"/>
                  <a:gd name="connsiteX983" fmla="*/ 6714 w 10746"/>
                  <a:gd name="connsiteY983" fmla="*/ 3043 h 10000"/>
                  <a:gd name="connsiteX984" fmla="*/ 6710 w 10746"/>
                  <a:gd name="connsiteY984" fmla="*/ 3034 h 10000"/>
                  <a:gd name="connsiteX985" fmla="*/ 6705 w 10746"/>
                  <a:gd name="connsiteY985" fmla="*/ 2983 h 10000"/>
                  <a:gd name="connsiteX986" fmla="*/ 6696 w 10746"/>
                  <a:gd name="connsiteY986" fmla="*/ 2966 h 10000"/>
                  <a:gd name="connsiteX987" fmla="*/ 6691 w 10746"/>
                  <a:gd name="connsiteY987" fmla="*/ 2983 h 10000"/>
                  <a:gd name="connsiteX988" fmla="*/ 6677 w 10746"/>
                  <a:gd name="connsiteY988" fmla="*/ 2897 h 10000"/>
                  <a:gd name="connsiteX989" fmla="*/ 6677 w 10746"/>
                  <a:gd name="connsiteY989" fmla="*/ 2897 h 10000"/>
                  <a:gd name="connsiteX990" fmla="*/ 6677 w 10746"/>
                  <a:gd name="connsiteY990" fmla="*/ 2872 h 10000"/>
                  <a:gd name="connsiteX991" fmla="*/ 6668 w 10746"/>
                  <a:gd name="connsiteY991" fmla="*/ 2821 h 10000"/>
                  <a:gd name="connsiteX992" fmla="*/ 6664 w 10746"/>
                  <a:gd name="connsiteY992" fmla="*/ 2829 h 10000"/>
                  <a:gd name="connsiteX993" fmla="*/ 6654 w 10746"/>
                  <a:gd name="connsiteY993" fmla="*/ 2846 h 10000"/>
                  <a:gd name="connsiteX994" fmla="*/ 6650 w 10746"/>
                  <a:gd name="connsiteY994" fmla="*/ 2829 h 10000"/>
                  <a:gd name="connsiteX995" fmla="*/ 6650 w 10746"/>
                  <a:gd name="connsiteY995" fmla="*/ 2803 h 10000"/>
                  <a:gd name="connsiteX996" fmla="*/ 6650 w 10746"/>
                  <a:gd name="connsiteY996" fmla="*/ 2795 h 10000"/>
                  <a:gd name="connsiteX997" fmla="*/ 6641 w 10746"/>
                  <a:gd name="connsiteY997" fmla="*/ 2786 h 10000"/>
                  <a:gd name="connsiteX998" fmla="*/ 6636 w 10746"/>
                  <a:gd name="connsiteY998" fmla="*/ 2735 h 10000"/>
                  <a:gd name="connsiteX999" fmla="*/ 6664 w 10746"/>
                  <a:gd name="connsiteY999" fmla="*/ 2667 h 10000"/>
                  <a:gd name="connsiteX1000" fmla="*/ 6668 w 10746"/>
                  <a:gd name="connsiteY1000" fmla="*/ 2684 h 10000"/>
                  <a:gd name="connsiteX1001" fmla="*/ 6677 w 10746"/>
                  <a:gd name="connsiteY1001" fmla="*/ 2667 h 10000"/>
                  <a:gd name="connsiteX1002" fmla="*/ 6668 w 10746"/>
                  <a:gd name="connsiteY1002" fmla="*/ 2667 h 10000"/>
                  <a:gd name="connsiteX1003" fmla="*/ 6668 w 10746"/>
                  <a:gd name="connsiteY1003" fmla="*/ 2650 h 10000"/>
                  <a:gd name="connsiteX1004" fmla="*/ 6682 w 10746"/>
                  <a:gd name="connsiteY1004" fmla="*/ 2650 h 10000"/>
                  <a:gd name="connsiteX1005" fmla="*/ 6691 w 10746"/>
                  <a:gd name="connsiteY1005" fmla="*/ 2624 h 10000"/>
                  <a:gd name="connsiteX1006" fmla="*/ 6682 w 10746"/>
                  <a:gd name="connsiteY1006" fmla="*/ 2632 h 10000"/>
                  <a:gd name="connsiteX1007" fmla="*/ 6682 w 10746"/>
                  <a:gd name="connsiteY1007" fmla="*/ 2624 h 10000"/>
                  <a:gd name="connsiteX1008" fmla="*/ 6691 w 10746"/>
                  <a:gd name="connsiteY1008" fmla="*/ 2607 h 10000"/>
                  <a:gd name="connsiteX1009" fmla="*/ 6691 w 10746"/>
                  <a:gd name="connsiteY1009" fmla="*/ 2598 h 10000"/>
                  <a:gd name="connsiteX1010" fmla="*/ 6691 w 10746"/>
                  <a:gd name="connsiteY1010" fmla="*/ 2581 h 10000"/>
                  <a:gd name="connsiteX1011" fmla="*/ 6696 w 10746"/>
                  <a:gd name="connsiteY1011" fmla="*/ 2530 h 10000"/>
                  <a:gd name="connsiteX1012" fmla="*/ 6677 w 10746"/>
                  <a:gd name="connsiteY1012" fmla="*/ 2513 h 10000"/>
                  <a:gd name="connsiteX1013" fmla="*/ 6677 w 10746"/>
                  <a:gd name="connsiteY1013" fmla="*/ 2496 h 10000"/>
                  <a:gd name="connsiteX1014" fmla="*/ 6682 w 10746"/>
                  <a:gd name="connsiteY1014" fmla="*/ 2470 h 10000"/>
                  <a:gd name="connsiteX1015" fmla="*/ 6668 w 10746"/>
                  <a:gd name="connsiteY1015" fmla="*/ 2462 h 10000"/>
                  <a:gd name="connsiteX1016" fmla="*/ 6677 w 10746"/>
                  <a:gd name="connsiteY1016" fmla="*/ 2436 h 10000"/>
                  <a:gd name="connsiteX1017" fmla="*/ 6682 w 10746"/>
                  <a:gd name="connsiteY1017" fmla="*/ 2419 h 10000"/>
                  <a:gd name="connsiteX1018" fmla="*/ 6682 w 10746"/>
                  <a:gd name="connsiteY1018" fmla="*/ 2393 h 10000"/>
                  <a:gd name="connsiteX1019" fmla="*/ 6682 w 10746"/>
                  <a:gd name="connsiteY1019" fmla="*/ 2385 h 10000"/>
                  <a:gd name="connsiteX1020" fmla="*/ 6682 w 10746"/>
                  <a:gd name="connsiteY1020" fmla="*/ 2385 h 10000"/>
                  <a:gd name="connsiteX1021" fmla="*/ 6677 w 10746"/>
                  <a:gd name="connsiteY1021" fmla="*/ 2376 h 10000"/>
                  <a:gd name="connsiteX1022" fmla="*/ 6682 w 10746"/>
                  <a:gd name="connsiteY1022" fmla="*/ 2359 h 10000"/>
                  <a:gd name="connsiteX1023" fmla="*/ 6677 w 10746"/>
                  <a:gd name="connsiteY1023" fmla="*/ 2333 h 10000"/>
                  <a:gd name="connsiteX1024" fmla="*/ 6691 w 10746"/>
                  <a:gd name="connsiteY1024" fmla="*/ 2333 h 10000"/>
                  <a:gd name="connsiteX1025" fmla="*/ 6691 w 10746"/>
                  <a:gd name="connsiteY1025" fmla="*/ 2325 h 10000"/>
                  <a:gd name="connsiteX1026" fmla="*/ 6691 w 10746"/>
                  <a:gd name="connsiteY1026" fmla="*/ 2308 h 10000"/>
                  <a:gd name="connsiteX1027" fmla="*/ 6691 w 10746"/>
                  <a:gd name="connsiteY1027" fmla="*/ 2299 h 10000"/>
                  <a:gd name="connsiteX1028" fmla="*/ 6691 w 10746"/>
                  <a:gd name="connsiteY1028" fmla="*/ 2282 h 10000"/>
                  <a:gd name="connsiteX1029" fmla="*/ 6691 w 10746"/>
                  <a:gd name="connsiteY1029" fmla="*/ 2274 h 10000"/>
                  <a:gd name="connsiteX1030" fmla="*/ 6668 w 10746"/>
                  <a:gd name="connsiteY1030" fmla="*/ 2248 h 10000"/>
                  <a:gd name="connsiteX1031" fmla="*/ 6664 w 10746"/>
                  <a:gd name="connsiteY1031" fmla="*/ 2222 h 10000"/>
                  <a:gd name="connsiteX1032" fmla="*/ 6654 w 10746"/>
                  <a:gd name="connsiteY1032" fmla="*/ 2214 h 10000"/>
                  <a:gd name="connsiteX1033" fmla="*/ 6654 w 10746"/>
                  <a:gd name="connsiteY1033" fmla="*/ 2188 h 10000"/>
                  <a:gd name="connsiteX1034" fmla="*/ 6622 w 10746"/>
                  <a:gd name="connsiteY1034" fmla="*/ 2162 h 10000"/>
                  <a:gd name="connsiteX1035" fmla="*/ 6631 w 10746"/>
                  <a:gd name="connsiteY1035" fmla="*/ 2145 h 10000"/>
                  <a:gd name="connsiteX1036" fmla="*/ 6622 w 10746"/>
                  <a:gd name="connsiteY1036" fmla="*/ 2120 h 10000"/>
                  <a:gd name="connsiteX1037" fmla="*/ 6608 w 10746"/>
                  <a:gd name="connsiteY1037" fmla="*/ 2120 h 10000"/>
                  <a:gd name="connsiteX1038" fmla="*/ 6604 w 10746"/>
                  <a:gd name="connsiteY1038" fmla="*/ 2111 h 10000"/>
                  <a:gd name="connsiteX1039" fmla="*/ 6608 w 10746"/>
                  <a:gd name="connsiteY1039" fmla="*/ 2111 h 10000"/>
                  <a:gd name="connsiteX1040" fmla="*/ 6604 w 10746"/>
                  <a:gd name="connsiteY1040" fmla="*/ 2085 h 10000"/>
                  <a:gd name="connsiteX1041" fmla="*/ 6581 w 10746"/>
                  <a:gd name="connsiteY1041" fmla="*/ 2077 h 10000"/>
                  <a:gd name="connsiteX1042" fmla="*/ 6571 w 10746"/>
                  <a:gd name="connsiteY1042" fmla="*/ 2085 h 10000"/>
                  <a:gd name="connsiteX1043" fmla="*/ 6548 w 10746"/>
                  <a:gd name="connsiteY1043" fmla="*/ 2077 h 10000"/>
                  <a:gd name="connsiteX1044" fmla="*/ 6530 w 10746"/>
                  <a:gd name="connsiteY1044" fmla="*/ 2060 h 10000"/>
                  <a:gd name="connsiteX1045" fmla="*/ 6521 w 10746"/>
                  <a:gd name="connsiteY1045" fmla="*/ 2060 h 10000"/>
                  <a:gd name="connsiteX1046" fmla="*/ 6521 w 10746"/>
                  <a:gd name="connsiteY1046" fmla="*/ 2085 h 10000"/>
                  <a:gd name="connsiteX1047" fmla="*/ 6516 w 10746"/>
                  <a:gd name="connsiteY1047" fmla="*/ 2085 h 10000"/>
                  <a:gd name="connsiteX1048" fmla="*/ 6502 w 10746"/>
                  <a:gd name="connsiteY1048" fmla="*/ 2111 h 10000"/>
                  <a:gd name="connsiteX1049" fmla="*/ 6498 w 10746"/>
                  <a:gd name="connsiteY1049" fmla="*/ 2111 h 10000"/>
                  <a:gd name="connsiteX1050" fmla="*/ 6498 w 10746"/>
                  <a:gd name="connsiteY1050" fmla="*/ 2103 h 10000"/>
                  <a:gd name="connsiteX1051" fmla="*/ 6475 w 10746"/>
                  <a:gd name="connsiteY1051" fmla="*/ 2051 h 10000"/>
                  <a:gd name="connsiteX1052" fmla="*/ 6470 w 10746"/>
                  <a:gd name="connsiteY1052" fmla="*/ 2060 h 10000"/>
                  <a:gd name="connsiteX1053" fmla="*/ 6456 w 10746"/>
                  <a:gd name="connsiteY1053" fmla="*/ 2051 h 10000"/>
                  <a:gd name="connsiteX1054" fmla="*/ 6447 w 10746"/>
                  <a:gd name="connsiteY1054" fmla="*/ 2051 h 10000"/>
                  <a:gd name="connsiteX1055" fmla="*/ 6433 w 10746"/>
                  <a:gd name="connsiteY1055" fmla="*/ 2026 h 10000"/>
                  <a:gd name="connsiteX1056" fmla="*/ 6433 w 10746"/>
                  <a:gd name="connsiteY1056" fmla="*/ 2034 h 10000"/>
                  <a:gd name="connsiteX1057" fmla="*/ 6429 w 10746"/>
                  <a:gd name="connsiteY1057" fmla="*/ 2026 h 10000"/>
                  <a:gd name="connsiteX1058" fmla="*/ 6424 w 10746"/>
                  <a:gd name="connsiteY1058" fmla="*/ 2034 h 10000"/>
                  <a:gd name="connsiteX1059" fmla="*/ 6410 w 10746"/>
                  <a:gd name="connsiteY1059" fmla="*/ 2026 h 10000"/>
                  <a:gd name="connsiteX1060" fmla="*/ 6410 w 10746"/>
                  <a:gd name="connsiteY1060" fmla="*/ 1991 h 10000"/>
                  <a:gd name="connsiteX1061" fmla="*/ 6401 w 10746"/>
                  <a:gd name="connsiteY1061" fmla="*/ 1991 h 10000"/>
                  <a:gd name="connsiteX1062" fmla="*/ 6396 w 10746"/>
                  <a:gd name="connsiteY1062" fmla="*/ 2000 h 10000"/>
                  <a:gd name="connsiteX1063" fmla="*/ 6382 w 10746"/>
                  <a:gd name="connsiteY1063" fmla="*/ 1966 h 10000"/>
                  <a:gd name="connsiteX1064" fmla="*/ 6373 w 10746"/>
                  <a:gd name="connsiteY1064" fmla="*/ 1974 h 10000"/>
                  <a:gd name="connsiteX1065" fmla="*/ 6369 w 10746"/>
                  <a:gd name="connsiteY1065" fmla="*/ 1966 h 10000"/>
                  <a:gd name="connsiteX1066" fmla="*/ 6341 w 10746"/>
                  <a:gd name="connsiteY1066" fmla="*/ 1949 h 10000"/>
                  <a:gd name="connsiteX1067" fmla="*/ 6327 w 10746"/>
                  <a:gd name="connsiteY1067" fmla="*/ 1923 h 10000"/>
                  <a:gd name="connsiteX1068" fmla="*/ 6323 w 10746"/>
                  <a:gd name="connsiteY1068" fmla="*/ 1923 h 10000"/>
                  <a:gd name="connsiteX1069" fmla="*/ 6323 w 10746"/>
                  <a:gd name="connsiteY1069" fmla="*/ 1966 h 10000"/>
                  <a:gd name="connsiteX1070" fmla="*/ 6323 w 10746"/>
                  <a:gd name="connsiteY1070" fmla="*/ 1991 h 10000"/>
                  <a:gd name="connsiteX1071" fmla="*/ 6313 w 10746"/>
                  <a:gd name="connsiteY1071" fmla="*/ 1991 h 10000"/>
                  <a:gd name="connsiteX1072" fmla="*/ 6300 w 10746"/>
                  <a:gd name="connsiteY1072" fmla="*/ 1991 h 10000"/>
                  <a:gd name="connsiteX1073" fmla="*/ 6290 w 10746"/>
                  <a:gd name="connsiteY1073" fmla="*/ 1949 h 10000"/>
                  <a:gd name="connsiteX1074" fmla="*/ 6276 w 10746"/>
                  <a:gd name="connsiteY1074" fmla="*/ 2103 h 10000"/>
                  <a:gd name="connsiteX1075" fmla="*/ 6281 w 10746"/>
                  <a:gd name="connsiteY1075" fmla="*/ 2103 h 10000"/>
                  <a:gd name="connsiteX1076" fmla="*/ 6276 w 10746"/>
                  <a:gd name="connsiteY1076" fmla="*/ 2111 h 10000"/>
                  <a:gd name="connsiteX1077" fmla="*/ 6276 w 10746"/>
                  <a:gd name="connsiteY1077" fmla="*/ 2120 h 10000"/>
                  <a:gd name="connsiteX1078" fmla="*/ 6295 w 10746"/>
                  <a:gd name="connsiteY1078" fmla="*/ 2239 h 10000"/>
                  <a:gd name="connsiteX1079" fmla="*/ 6290 w 10746"/>
                  <a:gd name="connsiteY1079" fmla="*/ 2248 h 10000"/>
                  <a:gd name="connsiteX1080" fmla="*/ 6281 w 10746"/>
                  <a:gd name="connsiteY1080" fmla="*/ 2274 h 10000"/>
                  <a:gd name="connsiteX1081" fmla="*/ 6249 w 10746"/>
                  <a:gd name="connsiteY1081" fmla="*/ 2274 h 10000"/>
                  <a:gd name="connsiteX1082" fmla="*/ 6226 w 10746"/>
                  <a:gd name="connsiteY1082" fmla="*/ 2308 h 10000"/>
                  <a:gd name="connsiteX1083" fmla="*/ 6221 w 10746"/>
                  <a:gd name="connsiteY1083" fmla="*/ 2299 h 10000"/>
                  <a:gd name="connsiteX1084" fmla="*/ 6221 w 10746"/>
                  <a:gd name="connsiteY1084" fmla="*/ 2308 h 10000"/>
                  <a:gd name="connsiteX1085" fmla="*/ 6217 w 10746"/>
                  <a:gd name="connsiteY1085" fmla="*/ 2299 h 10000"/>
                  <a:gd name="connsiteX1086" fmla="*/ 6194 w 10746"/>
                  <a:gd name="connsiteY1086" fmla="*/ 2308 h 10000"/>
                  <a:gd name="connsiteX1087" fmla="*/ 6180 w 10746"/>
                  <a:gd name="connsiteY1087" fmla="*/ 2299 h 10000"/>
                  <a:gd name="connsiteX1088" fmla="*/ 6143 w 10746"/>
                  <a:gd name="connsiteY1088" fmla="*/ 2308 h 10000"/>
                  <a:gd name="connsiteX1089" fmla="*/ 6134 w 10746"/>
                  <a:gd name="connsiteY1089" fmla="*/ 2325 h 10000"/>
                  <a:gd name="connsiteX1090" fmla="*/ 6115 w 10746"/>
                  <a:gd name="connsiteY1090" fmla="*/ 2282 h 10000"/>
                  <a:gd name="connsiteX1091" fmla="*/ 6069 w 10746"/>
                  <a:gd name="connsiteY1091" fmla="*/ 2274 h 10000"/>
                  <a:gd name="connsiteX1092" fmla="*/ 6069 w 10746"/>
                  <a:gd name="connsiteY1092" fmla="*/ 2282 h 10000"/>
                  <a:gd name="connsiteX1093" fmla="*/ 6060 w 10746"/>
                  <a:gd name="connsiteY1093" fmla="*/ 2299 h 10000"/>
                  <a:gd name="connsiteX1094" fmla="*/ 5972 w 10746"/>
                  <a:gd name="connsiteY1094" fmla="*/ 2214 h 10000"/>
                  <a:gd name="connsiteX1095" fmla="*/ 5968 w 10746"/>
                  <a:gd name="connsiteY1095" fmla="*/ 2197 h 10000"/>
                  <a:gd name="connsiteX1096" fmla="*/ 5968 w 10746"/>
                  <a:gd name="connsiteY1096" fmla="*/ 2171 h 10000"/>
                  <a:gd name="connsiteX1097" fmla="*/ 5968 w 10746"/>
                  <a:gd name="connsiteY1097" fmla="*/ 2162 h 10000"/>
                  <a:gd name="connsiteX1098" fmla="*/ 5968 w 10746"/>
                  <a:gd name="connsiteY1098" fmla="*/ 2120 h 10000"/>
                  <a:gd name="connsiteX1099" fmla="*/ 5968 w 10746"/>
                  <a:gd name="connsiteY1099" fmla="*/ 2111 h 10000"/>
                  <a:gd name="connsiteX1100" fmla="*/ 5972 w 10746"/>
                  <a:gd name="connsiteY1100" fmla="*/ 2103 h 10000"/>
                  <a:gd name="connsiteX1101" fmla="*/ 5986 w 10746"/>
                  <a:gd name="connsiteY1101" fmla="*/ 2103 h 10000"/>
                  <a:gd name="connsiteX1102" fmla="*/ 5986 w 10746"/>
                  <a:gd name="connsiteY1102" fmla="*/ 2085 h 10000"/>
                  <a:gd name="connsiteX1103" fmla="*/ 5995 w 10746"/>
                  <a:gd name="connsiteY1103" fmla="*/ 2085 h 10000"/>
                  <a:gd name="connsiteX1104" fmla="*/ 5995 w 10746"/>
                  <a:gd name="connsiteY1104" fmla="*/ 2077 h 10000"/>
                  <a:gd name="connsiteX1105" fmla="*/ 5986 w 10746"/>
                  <a:gd name="connsiteY1105" fmla="*/ 2060 h 10000"/>
                  <a:gd name="connsiteX1106" fmla="*/ 5954 w 10746"/>
                  <a:gd name="connsiteY1106" fmla="*/ 2060 h 10000"/>
                  <a:gd name="connsiteX1107" fmla="*/ 5940 w 10746"/>
                  <a:gd name="connsiteY1107" fmla="*/ 2051 h 10000"/>
                  <a:gd name="connsiteX1108" fmla="*/ 5922 w 10746"/>
                  <a:gd name="connsiteY1108" fmla="*/ 2060 h 10000"/>
                  <a:gd name="connsiteX1109" fmla="*/ 5885 w 10746"/>
                  <a:gd name="connsiteY1109" fmla="*/ 2051 h 10000"/>
                  <a:gd name="connsiteX1110" fmla="*/ 5876 w 10746"/>
                  <a:gd name="connsiteY1110" fmla="*/ 2026 h 10000"/>
                  <a:gd name="connsiteX1111" fmla="*/ 5862 w 10746"/>
                  <a:gd name="connsiteY1111" fmla="*/ 2026 h 10000"/>
                  <a:gd name="connsiteX1112" fmla="*/ 5848 w 10746"/>
                  <a:gd name="connsiteY1112" fmla="*/ 2026 h 10000"/>
                  <a:gd name="connsiteX1113" fmla="*/ 5825 w 10746"/>
                  <a:gd name="connsiteY1113" fmla="*/ 2026 h 10000"/>
                  <a:gd name="connsiteX1114" fmla="*/ 5788 w 10746"/>
                  <a:gd name="connsiteY1114" fmla="*/ 1991 h 10000"/>
                  <a:gd name="connsiteX1115" fmla="*/ 5760 w 10746"/>
                  <a:gd name="connsiteY1115" fmla="*/ 2000 h 10000"/>
                  <a:gd name="connsiteX1116" fmla="*/ 5760 w 10746"/>
                  <a:gd name="connsiteY1116" fmla="*/ 2026 h 10000"/>
                  <a:gd name="connsiteX1117" fmla="*/ 5714 w 10746"/>
                  <a:gd name="connsiteY1117" fmla="*/ 2051 h 10000"/>
                  <a:gd name="connsiteX1118" fmla="*/ 5687 w 10746"/>
                  <a:gd name="connsiteY1118" fmla="*/ 2034 h 10000"/>
                  <a:gd name="connsiteX1119" fmla="*/ 5645 w 10746"/>
                  <a:gd name="connsiteY1119" fmla="*/ 2077 h 10000"/>
                  <a:gd name="connsiteX1120" fmla="*/ 5664 w 10746"/>
                  <a:gd name="connsiteY1120" fmla="*/ 2120 h 10000"/>
                  <a:gd name="connsiteX1121" fmla="*/ 5664 w 10746"/>
                  <a:gd name="connsiteY1121" fmla="*/ 2162 h 10000"/>
                  <a:gd name="connsiteX1122" fmla="*/ 5631 w 10746"/>
                  <a:gd name="connsiteY1122" fmla="*/ 2197 h 10000"/>
                  <a:gd name="connsiteX1123" fmla="*/ 5618 w 10746"/>
                  <a:gd name="connsiteY1123" fmla="*/ 2188 h 10000"/>
                  <a:gd name="connsiteX1124" fmla="*/ 5618 w 10746"/>
                  <a:gd name="connsiteY1124" fmla="*/ 2171 h 10000"/>
                  <a:gd name="connsiteX1125" fmla="*/ 5641 w 10746"/>
                  <a:gd name="connsiteY1125" fmla="*/ 2171 h 10000"/>
                  <a:gd name="connsiteX1126" fmla="*/ 5641 w 10746"/>
                  <a:gd name="connsiteY1126" fmla="*/ 2162 h 10000"/>
                  <a:gd name="connsiteX1127" fmla="*/ 5627 w 10746"/>
                  <a:gd name="connsiteY1127" fmla="*/ 2145 h 10000"/>
                  <a:gd name="connsiteX1128" fmla="*/ 5627 w 10746"/>
                  <a:gd name="connsiteY1128" fmla="*/ 2120 h 10000"/>
                  <a:gd name="connsiteX1129" fmla="*/ 5618 w 10746"/>
                  <a:gd name="connsiteY1129" fmla="*/ 2111 h 10000"/>
                  <a:gd name="connsiteX1130" fmla="*/ 5631 w 10746"/>
                  <a:gd name="connsiteY1130" fmla="*/ 2051 h 10000"/>
                  <a:gd name="connsiteX1131" fmla="*/ 5631 w 10746"/>
                  <a:gd name="connsiteY1131" fmla="*/ 2026 h 10000"/>
                  <a:gd name="connsiteX1132" fmla="*/ 5627 w 10746"/>
                  <a:gd name="connsiteY1132" fmla="*/ 1991 h 10000"/>
                  <a:gd name="connsiteX1133" fmla="*/ 5618 w 10746"/>
                  <a:gd name="connsiteY1133" fmla="*/ 1974 h 10000"/>
                  <a:gd name="connsiteX1134" fmla="*/ 5618 w 10746"/>
                  <a:gd name="connsiteY1134" fmla="*/ 1940 h 10000"/>
                  <a:gd name="connsiteX1135" fmla="*/ 5594 w 10746"/>
                  <a:gd name="connsiteY1135" fmla="*/ 1855 h 10000"/>
                  <a:gd name="connsiteX1136" fmla="*/ 5599 w 10746"/>
                  <a:gd name="connsiteY1136" fmla="*/ 1915 h 10000"/>
                  <a:gd name="connsiteX1137" fmla="*/ 5599 w 10746"/>
                  <a:gd name="connsiteY1137" fmla="*/ 1949 h 10000"/>
                  <a:gd name="connsiteX1138" fmla="*/ 5594 w 10746"/>
                  <a:gd name="connsiteY1138" fmla="*/ 1991 h 10000"/>
                  <a:gd name="connsiteX1139" fmla="*/ 5571 w 10746"/>
                  <a:gd name="connsiteY1139" fmla="*/ 2000 h 10000"/>
                  <a:gd name="connsiteX1140" fmla="*/ 5530 w 10746"/>
                  <a:gd name="connsiteY1140" fmla="*/ 1991 h 10000"/>
                  <a:gd name="connsiteX1141" fmla="*/ 5525 w 10746"/>
                  <a:gd name="connsiteY1141" fmla="*/ 2000 h 10000"/>
                  <a:gd name="connsiteX1142" fmla="*/ 5521 w 10746"/>
                  <a:gd name="connsiteY1142" fmla="*/ 1991 h 10000"/>
                  <a:gd name="connsiteX1143" fmla="*/ 5498 w 10746"/>
                  <a:gd name="connsiteY1143" fmla="*/ 1949 h 10000"/>
                  <a:gd name="connsiteX1144" fmla="*/ 5493 w 10746"/>
                  <a:gd name="connsiteY1144" fmla="*/ 1889 h 10000"/>
                  <a:gd name="connsiteX1145" fmla="*/ 5493 w 10746"/>
                  <a:gd name="connsiteY1145" fmla="*/ 1863 h 10000"/>
                  <a:gd name="connsiteX1146" fmla="*/ 5498 w 10746"/>
                  <a:gd name="connsiteY1146" fmla="*/ 1889 h 10000"/>
                  <a:gd name="connsiteX1147" fmla="*/ 5512 w 10746"/>
                  <a:gd name="connsiteY1147" fmla="*/ 1855 h 10000"/>
                  <a:gd name="connsiteX1148" fmla="*/ 5512 w 10746"/>
                  <a:gd name="connsiteY1148" fmla="*/ 1838 h 10000"/>
                  <a:gd name="connsiteX1149" fmla="*/ 5479 w 10746"/>
                  <a:gd name="connsiteY1149" fmla="*/ 1855 h 10000"/>
                  <a:gd name="connsiteX1150" fmla="*/ 5470 w 10746"/>
                  <a:gd name="connsiteY1150" fmla="*/ 1872 h 10000"/>
                  <a:gd name="connsiteX1151" fmla="*/ 5470 w 10746"/>
                  <a:gd name="connsiteY1151" fmla="*/ 1889 h 10000"/>
                  <a:gd name="connsiteX1152" fmla="*/ 5465 w 10746"/>
                  <a:gd name="connsiteY1152" fmla="*/ 1897 h 10000"/>
                  <a:gd name="connsiteX1153" fmla="*/ 5456 w 10746"/>
                  <a:gd name="connsiteY1153" fmla="*/ 1872 h 10000"/>
                  <a:gd name="connsiteX1154" fmla="*/ 5447 w 10746"/>
                  <a:gd name="connsiteY1154" fmla="*/ 1872 h 10000"/>
                  <a:gd name="connsiteX1155" fmla="*/ 5433 w 10746"/>
                  <a:gd name="connsiteY1155" fmla="*/ 1855 h 10000"/>
                  <a:gd name="connsiteX1156" fmla="*/ 5396 w 10746"/>
                  <a:gd name="connsiteY1156" fmla="*/ 1863 h 10000"/>
                  <a:gd name="connsiteX1157" fmla="*/ 5396 w 10746"/>
                  <a:gd name="connsiteY1157" fmla="*/ 1897 h 10000"/>
                  <a:gd name="connsiteX1158" fmla="*/ 5378 w 10746"/>
                  <a:gd name="connsiteY1158" fmla="*/ 1949 h 10000"/>
                  <a:gd name="connsiteX1159" fmla="*/ 5378 w 10746"/>
                  <a:gd name="connsiteY1159" fmla="*/ 1966 h 10000"/>
                  <a:gd name="connsiteX1160" fmla="*/ 5392 w 10746"/>
                  <a:gd name="connsiteY1160" fmla="*/ 2026 h 10000"/>
                  <a:gd name="connsiteX1161" fmla="*/ 5396 w 10746"/>
                  <a:gd name="connsiteY1161" fmla="*/ 2026 h 10000"/>
                  <a:gd name="connsiteX1162" fmla="*/ 5392 w 10746"/>
                  <a:gd name="connsiteY1162" fmla="*/ 2009 h 10000"/>
                  <a:gd name="connsiteX1163" fmla="*/ 5392 w 10746"/>
                  <a:gd name="connsiteY1163" fmla="*/ 2000 h 10000"/>
                  <a:gd name="connsiteX1164" fmla="*/ 5396 w 10746"/>
                  <a:gd name="connsiteY1164" fmla="*/ 2009 h 10000"/>
                  <a:gd name="connsiteX1165" fmla="*/ 5424 w 10746"/>
                  <a:gd name="connsiteY1165" fmla="*/ 2009 h 10000"/>
                  <a:gd name="connsiteX1166" fmla="*/ 5433 w 10746"/>
                  <a:gd name="connsiteY1166" fmla="*/ 1991 h 10000"/>
                  <a:gd name="connsiteX1167" fmla="*/ 5447 w 10746"/>
                  <a:gd name="connsiteY1167" fmla="*/ 1974 h 10000"/>
                  <a:gd name="connsiteX1168" fmla="*/ 5452 w 10746"/>
                  <a:gd name="connsiteY1168" fmla="*/ 1966 h 10000"/>
                  <a:gd name="connsiteX1169" fmla="*/ 5456 w 10746"/>
                  <a:gd name="connsiteY1169" fmla="*/ 1966 h 10000"/>
                  <a:gd name="connsiteX1170" fmla="*/ 5465 w 10746"/>
                  <a:gd name="connsiteY1170" fmla="*/ 2009 h 10000"/>
                  <a:gd name="connsiteX1171" fmla="*/ 5433 w 10746"/>
                  <a:gd name="connsiteY1171" fmla="*/ 2034 h 10000"/>
                  <a:gd name="connsiteX1172" fmla="*/ 5424 w 10746"/>
                  <a:gd name="connsiteY1172" fmla="*/ 2060 h 10000"/>
                  <a:gd name="connsiteX1173" fmla="*/ 5419 w 10746"/>
                  <a:gd name="connsiteY1173" fmla="*/ 2060 h 10000"/>
                  <a:gd name="connsiteX1174" fmla="*/ 5392 w 10746"/>
                  <a:gd name="connsiteY1174" fmla="*/ 2111 h 10000"/>
                  <a:gd name="connsiteX1175" fmla="*/ 5378 w 10746"/>
                  <a:gd name="connsiteY1175" fmla="*/ 2111 h 10000"/>
                  <a:gd name="connsiteX1176" fmla="*/ 5350 w 10746"/>
                  <a:gd name="connsiteY1176" fmla="*/ 2060 h 10000"/>
                  <a:gd name="connsiteX1177" fmla="*/ 5373 w 10746"/>
                  <a:gd name="connsiteY1177" fmla="*/ 2111 h 10000"/>
                  <a:gd name="connsiteX1178" fmla="*/ 5364 w 10746"/>
                  <a:gd name="connsiteY1178" fmla="*/ 2111 h 10000"/>
                  <a:gd name="connsiteX1179" fmla="*/ 5359 w 10746"/>
                  <a:gd name="connsiteY1179" fmla="*/ 2103 h 10000"/>
                  <a:gd name="connsiteX1180" fmla="*/ 5359 w 10746"/>
                  <a:gd name="connsiteY1180" fmla="*/ 2120 h 10000"/>
                  <a:gd name="connsiteX1181" fmla="*/ 5359 w 10746"/>
                  <a:gd name="connsiteY1181" fmla="*/ 2137 h 10000"/>
                  <a:gd name="connsiteX1182" fmla="*/ 5313 w 10746"/>
                  <a:gd name="connsiteY1182" fmla="*/ 2162 h 10000"/>
                  <a:gd name="connsiteX1183" fmla="*/ 5300 w 10746"/>
                  <a:gd name="connsiteY1183" fmla="*/ 2162 h 10000"/>
                  <a:gd name="connsiteX1184" fmla="*/ 5300 w 10746"/>
                  <a:gd name="connsiteY1184" fmla="*/ 2171 h 10000"/>
                  <a:gd name="connsiteX1185" fmla="*/ 5300 w 10746"/>
                  <a:gd name="connsiteY1185" fmla="*/ 2197 h 10000"/>
                  <a:gd name="connsiteX1186" fmla="*/ 5276 w 10746"/>
                  <a:gd name="connsiteY1186" fmla="*/ 2188 h 10000"/>
                  <a:gd name="connsiteX1187" fmla="*/ 5249 w 10746"/>
                  <a:gd name="connsiteY1187" fmla="*/ 2222 h 10000"/>
                  <a:gd name="connsiteX1188" fmla="*/ 5249 w 10746"/>
                  <a:gd name="connsiteY1188" fmla="*/ 2222 h 10000"/>
                  <a:gd name="connsiteX1189" fmla="*/ 5217 w 10746"/>
                  <a:gd name="connsiteY1189" fmla="*/ 2214 h 10000"/>
                  <a:gd name="connsiteX1190" fmla="*/ 5203 w 10746"/>
                  <a:gd name="connsiteY1190" fmla="*/ 2239 h 10000"/>
                  <a:gd name="connsiteX1191" fmla="*/ 5171 w 10746"/>
                  <a:gd name="connsiteY1191" fmla="*/ 2214 h 10000"/>
                  <a:gd name="connsiteX1192" fmla="*/ 5157 w 10746"/>
                  <a:gd name="connsiteY1192" fmla="*/ 2239 h 10000"/>
                  <a:gd name="connsiteX1193" fmla="*/ 5166 w 10746"/>
                  <a:gd name="connsiteY1193" fmla="*/ 2256 h 10000"/>
                  <a:gd name="connsiteX1194" fmla="*/ 5171 w 10746"/>
                  <a:gd name="connsiteY1194" fmla="*/ 2308 h 10000"/>
                  <a:gd name="connsiteX1195" fmla="*/ 5212 w 10746"/>
                  <a:gd name="connsiteY1195" fmla="*/ 2350 h 10000"/>
                  <a:gd name="connsiteX1196" fmla="*/ 5203 w 10746"/>
                  <a:gd name="connsiteY1196" fmla="*/ 2350 h 10000"/>
                  <a:gd name="connsiteX1197" fmla="*/ 5166 w 10746"/>
                  <a:gd name="connsiteY1197" fmla="*/ 2325 h 10000"/>
                  <a:gd name="connsiteX1198" fmla="*/ 5152 w 10746"/>
                  <a:gd name="connsiteY1198" fmla="*/ 2308 h 10000"/>
                  <a:gd name="connsiteX1199" fmla="*/ 5143 w 10746"/>
                  <a:gd name="connsiteY1199" fmla="*/ 2333 h 10000"/>
                  <a:gd name="connsiteX1200" fmla="*/ 5138 w 10746"/>
                  <a:gd name="connsiteY1200" fmla="*/ 2333 h 10000"/>
                  <a:gd name="connsiteX1201" fmla="*/ 5124 w 10746"/>
                  <a:gd name="connsiteY1201" fmla="*/ 2376 h 10000"/>
                  <a:gd name="connsiteX1202" fmla="*/ 5115 w 10746"/>
                  <a:gd name="connsiteY1202" fmla="*/ 2385 h 10000"/>
                  <a:gd name="connsiteX1203" fmla="*/ 5106 w 10746"/>
                  <a:gd name="connsiteY1203" fmla="*/ 2385 h 10000"/>
                  <a:gd name="connsiteX1204" fmla="*/ 5055 w 10746"/>
                  <a:gd name="connsiteY1204" fmla="*/ 2470 h 10000"/>
                  <a:gd name="connsiteX1205" fmla="*/ 5065 w 10746"/>
                  <a:gd name="connsiteY1205" fmla="*/ 2462 h 10000"/>
                  <a:gd name="connsiteX1206" fmla="*/ 5055 w 10746"/>
                  <a:gd name="connsiteY1206" fmla="*/ 2444 h 10000"/>
                  <a:gd name="connsiteX1207" fmla="*/ 5041 w 10746"/>
                  <a:gd name="connsiteY1207" fmla="*/ 2462 h 10000"/>
                  <a:gd name="connsiteX1208" fmla="*/ 5037 w 10746"/>
                  <a:gd name="connsiteY1208" fmla="*/ 2470 h 10000"/>
                  <a:gd name="connsiteX1209" fmla="*/ 5032 w 10746"/>
                  <a:gd name="connsiteY1209" fmla="*/ 2470 h 10000"/>
                  <a:gd name="connsiteX1210" fmla="*/ 5032 w 10746"/>
                  <a:gd name="connsiteY1210" fmla="*/ 2444 h 10000"/>
                  <a:gd name="connsiteX1211" fmla="*/ 5055 w 10746"/>
                  <a:gd name="connsiteY1211" fmla="*/ 2410 h 10000"/>
                  <a:gd name="connsiteX1212" fmla="*/ 5065 w 10746"/>
                  <a:gd name="connsiteY1212" fmla="*/ 2393 h 10000"/>
                  <a:gd name="connsiteX1213" fmla="*/ 5069 w 10746"/>
                  <a:gd name="connsiteY1213" fmla="*/ 2385 h 10000"/>
                  <a:gd name="connsiteX1214" fmla="*/ 5083 w 10746"/>
                  <a:gd name="connsiteY1214" fmla="*/ 2376 h 10000"/>
                  <a:gd name="connsiteX1215" fmla="*/ 5097 w 10746"/>
                  <a:gd name="connsiteY1215" fmla="*/ 2376 h 10000"/>
                  <a:gd name="connsiteX1216" fmla="*/ 5124 w 10746"/>
                  <a:gd name="connsiteY1216" fmla="*/ 2325 h 10000"/>
                  <a:gd name="connsiteX1217" fmla="*/ 5143 w 10746"/>
                  <a:gd name="connsiteY1217" fmla="*/ 2248 h 10000"/>
                  <a:gd name="connsiteX1218" fmla="*/ 5152 w 10746"/>
                  <a:gd name="connsiteY1218" fmla="*/ 2239 h 10000"/>
                  <a:gd name="connsiteX1219" fmla="*/ 5166 w 10746"/>
                  <a:gd name="connsiteY1219" fmla="*/ 2162 h 10000"/>
                  <a:gd name="connsiteX1220" fmla="*/ 5171 w 10746"/>
                  <a:gd name="connsiteY1220" fmla="*/ 2171 h 10000"/>
                  <a:gd name="connsiteX1221" fmla="*/ 5198 w 10746"/>
                  <a:gd name="connsiteY1221" fmla="*/ 2145 h 10000"/>
                  <a:gd name="connsiteX1222" fmla="*/ 5203 w 10746"/>
                  <a:gd name="connsiteY1222" fmla="*/ 2111 h 10000"/>
                  <a:gd name="connsiteX1223" fmla="*/ 5217 w 10746"/>
                  <a:gd name="connsiteY1223" fmla="*/ 2060 h 10000"/>
                  <a:gd name="connsiteX1224" fmla="*/ 5226 w 10746"/>
                  <a:gd name="connsiteY1224" fmla="*/ 2026 h 10000"/>
                  <a:gd name="connsiteX1225" fmla="*/ 5286 w 10746"/>
                  <a:gd name="connsiteY1225" fmla="*/ 2026 h 10000"/>
                  <a:gd name="connsiteX1226" fmla="*/ 5290 w 10746"/>
                  <a:gd name="connsiteY1226" fmla="*/ 2034 h 10000"/>
                  <a:gd name="connsiteX1227" fmla="*/ 5323 w 10746"/>
                  <a:gd name="connsiteY1227" fmla="*/ 1923 h 10000"/>
                  <a:gd name="connsiteX1228" fmla="*/ 5323 w 10746"/>
                  <a:gd name="connsiteY1228" fmla="*/ 1889 h 10000"/>
                  <a:gd name="connsiteX1229" fmla="*/ 5359 w 10746"/>
                  <a:gd name="connsiteY1229" fmla="*/ 1829 h 10000"/>
                  <a:gd name="connsiteX1230" fmla="*/ 5378 w 10746"/>
                  <a:gd name="connsiteY1230" fmla="*/ 1812 h 10000"/>
                  <a:gd name="connsiteX1231" fmla="*/ 5406 w 10746"/>
                  <a:gd name="connsiteY1231" fmla="*/ 1752 h 10000"/>
                  <a:gd name="connsiteX1232" fmla="*/ 5410 w 10746"/>
                  <a:gd name="connsiteY1232" fmla="*/ 1718 h 10000"/>
                  <a:gd name="connsiteX1233" fmla="*/ 5438 w 10746"/>
                  <a:gd name="connsiteY1233" fmla="*/ 1667 h 10000"/>
                  <a:gd name="connsiteX1234" fmla="*/ 5438 w 10746"/>
                  <a:gd name="connsiteY1234" fmla="*/ 1650 h 10000"/>
                  <a:gd name="connsiteX1235" fmla="*/ 5438 w 10746"/>
                  <a:gd name="connsiteY1235" fmla="*/ 1641 h 10000"/>
                  <a:gd name="connsiteX1236" fmla="*/ 5452 w 10746"/>
                  <a:gd name="connsiteY1236" fmla="*/ 1641 h 10000"/>
                  <a:gd name="connsiteX1237" fmla="*/ 5456 w 10746"/>
                  <a:gd name="connsiteY1237" fmla="*/ 1615 h 10000"/>
                  <a:gd name="connsiteX1238" fmla="*/ 5456 w 10746"/>
                  <a:gd name="connsiteY1238" fmla="*/ 1615 h 10000"/>
                  <a:gd name="connsiteX1239" fmla="*/ 5465 w 10746"/>
                  <a:gd name="connsiteY1239" fmla="*/ 1598 h 10000"/>
                  <a:gd name="connsiteX1240" fmla="*/ 5465 w 10746"/>
                  <a:gd name="connsiteY1240" fmla="*/ 1615 h 10000"/>
                  <a:gd name="connsiteX1241" fmla="*/ 5479 w 10746"/>
                  <a:gd name="connsiteY1241" fmla="*/ 1598 h 10000"/>
                  <a:gd name="connsiteX1242" fmla="*/ 5484 w 10746"/>
                  <a:gd name="connsiteY1242" fmla="*/ 1581 h 10000"/>
                  <a:gd name="connsiteX1243" fmla="*/ 5493 w 10746"/>
                  <a:gd name="connsiteY1243" fmla="*/ 1581 h 10000"/>
                  <a:gd name="connsiteX1244" fmla="*/ 5512 w 10746"/>
                  <a:gd name="connsiteY1244" fmla="*/ 1538 h 10000"/>
                  <a:gd name="connsiteX1245" fmla="*/ 5530 w 10746"/>
                  <a:gd name="connsiteY1245" fmla="*/ 1564 h 10000"/>
                  <a:gd name="connsiteX1246" fmla="*/ 5530 w 10746"/>
                  <a:gd name="connsiteY1246" fmla="*/ 1538 h 10000"/>
                  <a:gd name="connsiteX1247" fmla="*/ 5539 w 10746"/>
                  <a:gd name="connsiteY1247" fmla="*/ 1530 h 10000"/>
                  <a:gd name="connsiteX1248" fmla="*/ 5530 w 10746"/>
                  <a:gd name="connsiteY1248" fmla="*/ 1504 h 10000"/>
                  <a:gd name="connsiteX1249" fmla="*/ 5567 w 10746"/>
                  <a:gd name="connsiteY1249" fmla="*/ 1479 h 10000"/>
                  <a:gd name="connsiteX1250" fmla="*/ 5553 w 10746"/>
                  <a:gd name="connsiteY1250" fmla="*/ 1479 h 10000"/>
                  <a:gd name="connsiteX1251" fmla="*/ 5553 w 10746"/>
                  <a:gd name="connsiteY1251" fmla="*/ 1453 h 10000"/>
                  <a:gd name="connsiteX1252" fmla="*/ 5581 w 10746"/>
                  <a:gd name="connsiteY1252" fmla="*/ 1444 h 10000"/>
                  <a:gd name="connsiteX1253" fmla="*/ 5581 w 10746"/>
                  <a:gd name="connsiteY1253" fmla="*/ 1453 h 10000"/>
                  <a:gd name="connsiteX1254" fmla="*/ 5585 w 10746"/>
                  <a:gd name="connsiteY1254" fmla="*/ 1444 h 10000"/>
                  <a:gd name="connsiteX1255" fmla="*/ 5594 w 10746"/>
                  <a:gd name="connsiteY1255" fmla="*/ 1427 h 10000"/>
                  <a:gd name="connsiteX1256" fmla="*/ 5599 w 10746"/>
                  <a:gd name="connsiteY1256" fmla="*/ 1419 h 10000"/>
                  <a:gd name="connsiteX1257" fmla="*/ 5594 w 10746"/>
                  <a:gd name="connsiteY1257" fmla="*/ 1402 h 10000"/>
                  <a:gd name="connsiteX1258" fmla="*/ 5604 w 10746"/>
                  <a:gd name="connsiteY1258" fmla="*/ 1393 h 10000"/>
                  <a:gd name="connsiteX1259" fmla="*/ 5618 w 10746"/>
                  <a:gd name="connsiteY1259" fmla="*/ 1393 h 10000"/>
                  <a:gd name="connsiteX1260" fmla="*/ 5627 w 10746"/>
                  <a:gd name="connsiteY1260" fmla="*/ 1368 h 10000"/>
                  <a:gd name="connsiteX1261" fmla="*/ 5627 w 10746"/>
                  <a:gd name="connsiteY1261" fmla="*/ 1325 h 10000"/>
                  <a:gd name="connsiteX1262" fmla="*/ 5645 w 10746"/>
                  <a:gd name="connsiteY1262" fmla="*/ 1291 h 10000"/>
                  <a:gd name="connsiteX1263" fmla="*/ 5645 w 10746"/>
                  <a:gd name="connsiteY1263" fmla="*/ 1282 h 10000"/>
                  <a:gd name="connsiteX1264" fmla="*/ 5654 w 10746"/>
                  <a:gd name="connsiteY1264" fmla="*/ 1265 h 10000"/>
                  <a:gd name="connsiteX1265" fmla="*/ 5654 w 10746"/>
                  <a:gd name="connsiteY1265" fmla="*/ 1214 h 10000"/>
                  <a:gd name="connsiteX1266" fmla="*/ 5654 w 10746"/>
                  <a:gd name="connsiteY1266" fmla="*/ 1214 h 10000"/>
                  <a:gd name="connsiteX1267" fmla="*/ 5645 w 10746"/>
                  <a:gd name="connsiteY1267" fmla="*/ 1197 h 10000"/>
                  <a:gd name="connsiteX1268" fmla="*/ 5659 w 10746"/>
                  <a:gd name="connsiteY1268" fmla="*/ 1197 h 10000"/>
                  <a:gd name="connsiteX1269" fmla="*/ 5654 w 10746"/>
                  <a:gd name="connsiteY1269" fmla="*/ 1154 h 10000"/>
                  <a:gd name="connsiteX1270" fmla="*/ 5641 w 10746"/>
                  <a:gd name="connsiteY1270" fmla="*/ 1154 h 10000"/>
                  <a:gd name="connsiteX1271" fmla="*/ 5627 w 10746"/>
                  <a:gd name="connsiteY1271" fmla="*/ 1128 h 10000"/>
                  <a:gd name="connsiteX1272" fmla="*/ 5618 w 10746"/>
                  <a:gd name="connsiteY1272" fmla="*/ 1094 h 10000"/>
                  <a:gd name="connsiteX1273" fmla="*/ 5613 w 10746"/>
                  <a:gd name="connsiteY1273" fmla="*/ 1094 h 10000"/>
                  <a:gd name="connsiteX1274" fmla="*/ 5604 w 10746"/>
                  <a:gd name="connsiteY1274" fmla="*/ 1120 h 10000"/>
                  <a:gd name="connsiteX1275" fmla="*/ 5604 w 10746"/>
                  <a:gd name="connsiteY1275" fmla="*/ 1128 h 10000"/>
                  <a:gd name="connsiteX1276" fmla="*/ 5599 w 10746"/>
                  <a:gd name="connsiteY1276" fmla="*/ 1103 h 10000"/>
                  <a:gd name="connsiteX1277" fmla="*/ 5599 w 10746"/>
                  <a:gd name="connsiteY1277" fmla="*/ 1103 h 10000"/>
                  <a:gd name="connsiteX1278" fmla="*/ 5594 w 10746"/>
                  <a:gd name="connsiteY1278" fmla="*/ 1068 h 10000"/>
                  <a:gd name="connsiteX1279" fmla="*/ 5594 w 10746"/>
                  <a:gd name="connsiteY1279" fmla="*/ 1060 h 10000"/>
                  <a:gd name="connsiteX1280" fmla="*/ 5581 w 10746"/>
                  <a:gd name="connsiteY1280" fmla="*/ 1034 h 10000"/>
                  <a:gd name="connsiteX1281" fmla="*/ 5571 w 10746"/>
                  <a:gd name="connsiteY1281" fmla="*/ 1009 h 10000"/>
                  <a:gd name="connsiteX1282" fmla="*/ 5571 w 10746"/>
                  <a:gd name="connsiteY1282" fmla="*/ 991 h 10000"/>
                  <a:gd name="connsiteX1283" fmla="*/ 5585 w 10746"/>
                  <a:gd name="connsiteY1283" fmla="*/ 1009 h 10000"/>
                  <a:gd name="connsiteX1284" fmla="*/ 5604 w 10746"/>
                  <a:gd name="connsiteY1284" fmla="*/ 1043 h 10000"/>
                  <a:gd name="connsiteX1285" fmla="*/ 5641 w 10746"/>
                  <a:gd name="connsiteY1285" fmla="*/ 1094 h 10000"/>
                  <a:gd name="connsiteX1286" fmla="*/ 5631 w 10746"/>
                  <a:gd name="connsiteY1286" fmla="*/ 1128 h 10000"/>
                  <a:gd name="connsiteX1287" fmla="*/ 5641 w 10746"/>
                  <a:gd name="connsiteY1287" fmla="*/ 1128 h 10000"/>
                  <a:gd name="connsiteX1288" fmla="*/ 5659 w 10746"/>
                  <a:gd name="connsiteY1288" fmla="*/ 1017 h 10000"/>
                  <a:gd name="connsiteX1289" fmla="*/ 5659 w 10746"/>
                  <a:gd name="connsiteY1289" fmla="*/ 983 h 10000"/>
                  <a:gd name="connsiteX1290" fmla="*/ 5659 w 10746"/>
                  <a:gd name="connsiteY1290" fmla="*/ 957 h 10000"/>
                  <a:gd name="connsiteX1291" fmla="*/ 5654 w 10746"/>
                  <a:gd name="connsiteY1291" fmla="*/ 966 h 10000"/>
                  <a:gd name="connsiteX1292" fmla="*/ 5641 w 10746"/>
                  <a:gd name="connsiteY1292" fmla="*/ 957 h 10000"/>
                  <a:gd name="connsiteX1293" fmla="*/ 5631 w 10746"/>
                  <a:gd name="connsiteY1293" fmla="*/ 897 h 10000"/>
                  <a:gd name="connsiteX1294" fmla="*/ 5641 w 10746"/>
                  <a:gd name="connsiteY1294" fmla="*/ 872 h 10000"/>
                  <a:gd name="connsiteX1295" fmla="*/ 5618 w 10746"/>
                  <a:gd name="connsiteY1295" fmla="*/ 803 h 10000"/>
                  <a:gd name="connsiteX1296" fmla="*/ 5604 w 10746"/>
                  <a:gd name="connsiteY1296" fmla="*/ 821 h 10000"/>
                  <a:gd name="connsiteX1297" fmla="*/ 5613 w 10746"/>
                  <a:gd name="connsiteY1297" fmla="*/ 846 h 10000"/>
                  <a:gd name="connsiteX1298" fmla="*/ 5604 w 10746"/>
                  <a:gd name="connsiteY1298" fmla="*/ 855 h 10000"/>
                  <a:gd name="connsiteX1299" fmla="*/ 5599 w 10746"/>
                  <a:gd name="connsiteY1299" fmla="*/ 880 h 10000"/>
                  <a:gd name="connsiteX1300" fmla="*/ 5594 w 10746"/>
                  <a:gd name="connsiteY1300" fmla="*/ 880 h 10000"/>
                  <a:gd name="connsiteX1301" fmla="*/ 5585 w 10746"/>
                  <a:gd name="connsiteY1301" fmla="*/ 829 h 10000"/>
                  <a:gd name="connsiteX1302" fmla="*/ 5571 w 10746"/>
                  <a:gd name="connsiteY1302" fmla="*/ 803 h 10000"/>
                  <a:gd name="connsiteX1303" fmla="*/ 5585 w 10746"/>
                  <a:gd name="connsiteY1303" fmla="*/ 795 h 10000"/>
                  <a:gd name="connsiteX1304" fmla="*/ 5585 w 10746"/>
                  <a:gd name="connsiteY1304" fmla="*/ 761 h 10000"/>
                  <a:gd name="connsiteX1305" fmla="*/ 5558 w 10746"/>
                  <a:gd name="connsiteY1305" fmla="*/ 709 h 10000"/>
                  <a:gd name="connsiteX1306" fmla="*/ 5544 w 10746"/>
                  <a:gd name="connsiteY1306" fmla="*/ 709 h 10000"/>
                  <a:gd name="connsiteX1307" fmla="*/ 5544 w 10746"/>
                  <a:gd name="connsiteY1307" fmla="*/ 684 h 10000"/>
                  <a:gd name="connsiteX1308" fmla="*/ 5525 w 10746"/>
                  <a:gd name="connsiteY1308" fmla="*/ 632 h 10000"/>
                  <a:gd name="connsiteX1309" fmla="*/ 5507 w 10746"/>
                  <a:gd name="connsiteY1309" fmla="*/ 607 h 10000"/>
                  <a:gd name="connsiteX1310" fmla="*/ 5512 w 10746"/>
                  <a:gd name="connsiteY1310" fmla="*/ 598 h 10000"/>
                  <a:gd name="connsiteX1311" fmla="*/ 5507 w 10746"/>
                  <a:gd name="connsiteY1311" fmla="*/ 581 h 10000"/>
                  <a:gd name="connsiteX1312" fmla="*/ 5493 w 10746"/>
                  <a:gd name="connsiteY1312" fmla="*/ 573 h 10000"/>
                  <a:gd name="connsiteX1313" fmla="*/ 5484 w 10746"/>
                  <a:gd name="connsiteY1313" fmla="*/ 581 h 10000"/>
                  <a:gd name="connsiteX1314" fmla="*/ 5484 w 10746"/>
                  <a:gd name="connsiteY1314" fmla="*/ 573 h 10000"/>
                  <a:gd name="connsiteX1315" fmla="*/ 5484 w 10746"/>
                  <a:gd name="connsiteY1315" fmla="*/ 547 h 10000"/>
                  <a:gd name="connsiteX1316" fmla="*/ 5465 w 10746"/>
                  <a:gd name="connsiteY1316" fmla="*/ 556 h 10000"/>
                  <a:gd name="connsiteX1317" fmla="*/ 5433 w 10746"/>
                  <a:gd name="connsiteY1317" fmla="*/ 547 h 10000"/>
                  <a:gd name="connsiteX1318" fmla="*/ 5410 w 10746"/>
                  <a:gd name="connsiteY1318" fmla="*/ 573 h 10000"/>
                  <a:gd name="connsiteX1319" fmla="*/ 5406 w 10746"/>
                  <a:gd name="connsiteY1319" fmla="*/ 573 h 10000"/>
                  <a:gd name="connsiteX1320" fmla="*/ 5392 w 10746"/>
                  <a:gd name="connsiteY1320" fmla="*/ 573 h 10000"/>
                  <a:gd name="connsiteX1321" fmla="*/ 5364 w 10746"/>
                  <a:gd name="connsiteY1321" fmla="*/ 530 h 10000"/>
                  <a:gd name="connsiteX1322" fmla="*/ 5350 w 10746"/>
                  <a:gd name="connsiteY1322" fmla="*/ 556 h 10000"/>
                  <a:gd name="connsiteX1323" fmla="*/ 5346 w 10746"/>
                  <a:gd name="connsiteY1323" fmla="*/ 556 h 10000"/>
                  <a:gd name="connsiteX1324" fmla="*/ 5313 w 10746"/>
                  <a:gd name="connsiteY1324" fmla="*/ 573 h 10000"/>
                  <a:gd name="connsiteX1325" fmla="*/ 5304 w 10746"/>
                  <a:gd name="connsiteY1325" fmla="*/ 556 h 10000"/>
                  <a:gd name="connsiteX1326" fmla="*/ 5290 w 10746"/>
                  <a:gd name="connsiteY1326" fmla="*/ 573 h 10000"/>
                  <a:gd name="connsiteX1327" fmla="*/ 5290 w 10746"/>
                  <a:gd name="connsiteY1327" fmla="*/ 556 h 10000"/>
                  <a:gd name="connsiteX1328" fmla="*/ 5300 w 10746"/>
                  <a:gd name="connsiteY1328" fmla="*/ 547 h 10000"/>
                  <a:gd name="connsiteX1329" fmla="*/ 5300 w 10746"/>
                  <a:gd name="connsiteY1329" fmla="*/ 530 h 10000"/>
                  <a:gd name="connsiteX1330" fmla="*/ 5290 w 10746"/>
                  <a:gd name="connsiteY1330" fmla="*/ 530 h 10000"/>
                  <a:gd name="connsiteX1331" fmla="*/ 5286 w 10746"/>
                  <a:gd name="connsiteY1331" fmla="*/ 547 h 10000"/>
                  <a:gd name="connsiteX1332" fmla="*/ 5272 w 10746"/>
                  <a:gd name="connsiteY1332" fmla="*/ 556 h 10000"/>
                  <a:gd name="connsiteX1333" fmla="*/ 5272 w 10746"/>
                  <a:gd name="connsiteY1333" fmla="*/ 598 h 10000"/>
                  <a:gd name="connsiteX1334" fmla="*/ 5276 w 10746"/>
                  <a:gd name="connsiteY1334" fmla="*/ 581 h 10000"/>
                  <a:gd name="connsiteX1335" fmla="*/ 5272 w 10746"/>
                  <a:gd name="connsiteY1335" fmla="*/ 607 h 10000"/>
                  <a:gd name="connsiteX1336" fmla="*/ 5263 w 10746"/>
                  <a:gd name="connsiteY1336" fmla="*/ 607 h 10000"/>
                  <a:gd name="connsiteX1337" fmla="*/ 5263 w 10746"/>
                  <a:gd name="connsiteY1337" fmla="*/ 632 h 10000"/>
                  <a:gd name="connsiteX1338" fmla="*/ 5258 w 10746"/>
                  <a:gd name="connsiteY1338" fmla="*/ 658 h 10000"/>
                  <a:gd name="connsiteX1339" fmla="*/ 5244 w 10746"/>
                  <a:gd name="connsiteY1339" fmla="*/ 667 h 10000"/>
                  <a:gd name="connsiteX1340" fmla="*/ 5240 w 10746"/>
                  <a:gd name="connsiteY1340" fmla="*/ 658 h 10000"/>
                  <a:gd name="connsiteX1341" fmla="*/ 5240 w 10746"/>
                  <a:gd name="connsiteY1341" fmla="*/ 684 h 10000"/>
                  <a:gd name="connsiteX1342" fmla="*/ 5212 w 10746"/>
                  <a:gd name="connsiteY1342" fmla="*/ 684 h 10000"/>
                  <a:gd name="connsiteX1343" fmla="*/ 5198 w 10746"/>
                  <a:gd name="connsiteY1343" fmla="*/ 692 h 10000"/>
                  <a:gd name="connsiteX1344" fmla="*/ 5184 w 10746"/>
                  <a:gd name="connsiteY1344" fmla="*/ 684 h 10000"/>
                  <a:gd name="connsiteX1345" fmla="*/ 5157 w 10746"/>
                  <a:gd name="connsiteY1345" fmla="*/ 684 h 10000"/>
                  <a:gd name="connsiteX1346" fmla="*/ 5157 w 10746"/>
                  <a:gd name="connsiteY1346" fmla="*/ 667 h 10000"/>
                  <a:gd name="connsiteX1347" fmla="*/ 5157 w 10746"/>
                  <a:gd name="connsiteY1347" fmla="*/ 667 h 10000"/>
                  <a:gd name="connsiteX1348" fmla="*/ 5180 w 10746"/>
                  <a:gd name="connsiteY1348" fmla="*/ 650 h 10000"/>
                  <a:gd name="connsiteX1349" fmla="*/ 5184 w 10746"/>
                  <a:gd name="connsiteY1349" fmla="*/ 658 h 10000"/>
                  <a:gd name="connsiteX1350" fmla="*/ 5203 w 10746"/>
                  <a:gd name="connsiteY1350" fmla="*/ 547 h 10000"/>
                  <a:gd name="connsiteX1351" fmla="*/ 5226 w 10746"/>
                  <a:gd name="connsiteY1351" fmla="*/ 530 h 10000"/>
                  <a:gd name="connsiteX1352" fmla="*/ 5230 w 10746"/>
                  <a:gd name="connsiteY1352" fmla="*/ 487 h 10000"/>
                  <a:gd name="connsiteX1353" fmla="*/ 5230 w 10746"/>
                  <a:gd name="connsiteY1353" fmla="*/ 487 h 10000"/>
                  <a:gd name="connsiteX1354" fmla="*/ 5226 w 10746"/>
                  <a:gd name="connsiteY1354" fmla="*/ 462 h 10000"/>
                  <a:gd name="connsiteX1355" fmla="*/ 5226 w 10746"/>
                  <a:gd name="connsiteY1355" fmla="*/ 462 h 10000"/>
                  <a:gd name="connsiteX1356" fmla="*/ 5240 w 10746"/>
                  <a:gd name="connsiteY1356" fmla="*/ 462 h 10000"/>
                  <a:gd name="connsiteX1357" fmla="*/ 5240 w 10746"/>
                  <a:gd name="connsiteY1357" fmla="*/ 444 h 10000"/>
                  <a:gd name="connsiteX1358" fmla="*/ 5230 w 10746"/>
                  <a:gd name="connsiteY1358" fmla="*/ 436 h 10000"/>
                  <a:gd name="connsiteX1359" fmla="*/ 5230 w 10746"/>
                  <a:gd name="connsiteY1359" fmla="*/ 419 h 10000"/>
                  <a:gd name="connsiteX1360" fmla="*/ 5230 w 10746"/>
                  <a:gd name="connsiteY1360" fmla="*/ 410 h 10000"/>
                  <a:gd name="connsiteX1361" fmla="*/ 5198 w 10746"/>
                  <a:gd name="connsiteY1361" fmla="*/ 402 h 10000"/>
                  <a:gd name="connsiteX1362" fmla="*/ 5189 w 10746"/>
                  <a:gd name="connsiteY1362" fmla="*/ 402 h 10000"/>
                  <a:gd name="connsiteX1363" fmla="*/ 5184 w 10746"/>
                  <a:gd name="connsiteY1363" fmla="*/ 376 h 10000"/>
                  <a:gd name="connsiteX1364" fmla="*/ 5180 w 10746"/>
                  <a:gd name="connsiteY1364" fmla="*/ 376 h 10000"/>
                  <a:gd name="connsiteX1365" fmla="*/ 5166 w 10746"/>
                  <a:gd name="connsiteY1365" fmla="*/ 376 h 10000"/>
                  <a:gd name="connsiteX1366" fmla="*/ 5157 w 10746"/>
                  <a:gd name="connsiteY1366" fmla="*/ 385 h 10000"/>
                  <a:gd name="connsiteX1367" fmla="*/ 5152 w 10746"/>
                  <a:gd name="connsiteY1367" fmla="*/ 376 h 10000"/>
                  <a:gd name="connsiteX1368" fmla="*/ 5129 w 10746"/>
                  <a:gd name="connsiteY1368" fmla="*/ 385 h 10000"/>
                  <a:gd name="connsiteX1369" fmla="*/ 5129 w 10746"/>
                  <a:gd name="connsiteY1369" fmla="*/ 350 h 10000"/>
                  <a:gd name="connsiteX1370" fmla="*/ 5129 w 10746"/>
                  <a:gd name="connsiteY1370" fmla="*/ 325 h 10000"/>
                  <a:gd name="connsiteX1371" fmla="*/ 5124 w 10746"/>
                  <a:gd name="connsiteY1371" fmla="*/ 359 h 10000"/>
                  <a:gd name="connsiteX1372" fmla="*/ 5106 w 10746"/>
                  <a:gd name="connsiteY1372" fmla="*/ 359 h 10000"/>
                  <a:gd name="connsiteX1373" fmla="*/ 5037 w 10746"/>
                  <a:gd name="connsiteY1373" fmla="*/ 419 h 10000"/>
                  <a:gd name="connsiteX1374" fmla="*/ 5051 w 10746"/>
                  <a:gd name="connsiteY1374" fmla="*/ 385 h 10000"/>
                  <a:gd name="connsiteX1375" fmla="*/ 5055 w 10746"/>
                  <a:gd name="connsiteY1375" fmla="*/ 376 h 10000"/>
                  <a:gd name="connsiteX1376" fmla="*/ 5092 w 10746"/>
                  <a:gd name="connsiteY1376" fmla="*/ 282 h 10000"/>
                  <a:gd name="connsiteX1377" fmla="*/ 5106 w 10746"/>
                  <a:gd name="connsiteY1377" fmla="*/ 265 h 10000"/>
                  <a:gd name="connsiteX1378" fmla="*/ 5115 w 10746"/>
                  <a:gd name="connsiteY1378" fmla="*/ 265 h 10000"/>
                  <a:gd name="connsiteX1379" fmla="*/ 5124 w 10746"/>
                  <a:gd name="connsiteY1379" fmla="*/ 222 h 10000"/>
                  <a:gd name="connsiteX1380" fmla="*/ 5124 w 10746"/>
                  <a:gd name="connsiteY1380" fmla="*/ 214 h 10000"/>
                  <a:gd name="connsiteX1381" fmla="*/ 5143 w 10746"/>
                  <a:gd name="connsiteY1381" fmla="*/ 197 h 10000"/>
                  <a:gd name="connsiteX1382" fmla="*/ 5152 w 10746"/>
                  <a:gd name="connsiteY1382" fmla="*/ 214 h 10000"/>
                  <a:gd name="connsiteX1383" fmla="*/ 5143 w 10746"/>
                  <a:gd name="connsiteY1383" fmla="*/ 188 h 10000"/>
                  <a:gd name="connsiteX1384" fmla="*/ 5129 w 10746"/>
                  <a:gd name="connsiteY1384" fmla="*/ 103 h 10000"/>
                  <a:gd name="connsiteX1385" fmla="*/ 5115 w 10746"/>
                  <a:gd name="connsiteY1385" fmla="*/ 85 h 10000"/>
                  <a:gd name="connsiteX1386" fmla="*/ 5111 w 10746"/>
                  <a:gd name="connsiteY1386" fmla="*/ 111 h 10000"/>
                  <a:gd name="connsiteX1387" fmla="*/ 5092 w 10746"/>
                  <a:gd name="connsiteY1387" fmla="*/ 103 h 10000"/>
                  <a:gd name="connsiteX1388" fmla="*/ 5069 w 10746"/>
                  <a:gd name="connsiteY1388" fmla="*/ 77 h 10000"/>
                  <a:gd name="connsiteX1389" fmla="*/ 5051 w 10746"/>
                  <a:gd name="connsiteY1389" fmla="*/ 26 h 10000"/>
                  <a:gd name="connsiteX1390" fmla="*/ 5041 w 10746"/>
                  <a:gd name="connsiteY1390" fmla="*/ 34 h 10000"/>
                  <a:gd name="connsiteX1391" fmla="*/ 5037 w 10746"/>
                  <a:gd name="connsiteY1391" fmla="*/ 34 h 10000"/>
                  <a:gd name="connsiteX1392" fmla="*/ 5037 w 10746"/>
                  <a:gd name="connsiteY1392" fmla="*/ 26 h 10000"/>
                  <a:gd name="connsiteX1393" fmla="*/ 5037 w 10746"/>
                  <a:gd name="connsiteY1393" fmla="*/ 9 h 10000"/>
                  <a:gd name="connsiteX1394" fmla="*/ 5023 w 10746"/>
                  <a:gd name="connsiteY1394" fmla="*/ 0 h 10000"/>
                  <a:gd name="connsiteX1395" fmla="*/ 5009 w 10746"/>
                  <a:gd name="connsiteY1395" fmla="*/ 9 h 10000"/>
                  <a:gd name="connsiteX1396" fmla="*/ 4995 w 10746"/>
                  <a:gd name="connsiteY1396" fmla="*/ 34 h 10000"/>
                  <a:gd name="connsiteX1397" fmla="*/ 4991 w 10746"/>
                  <a:gd name="connsiteY1397" fmla="*/ 60 h 10000"/>
                  <a:gd name="connsiteX1398" fmla="*/ 4982 w 10746"/>
                  <a:gd name="connsiteY1398" fmla="*/ 60 h 10000"/>
                  <a:gd name="connsiteX1399" fmla="*/ 4949 w 10746"/>
                  <a:gd name="connsiteY1399" fmla="*/ 51 h 10000"/>
                  <a:gd name="connsiteX1400" fmla="*/ 4949 w 10746"/>
                  <a:gd name="connsiteY1400" fmla="*/ 85 h 10000"/>
                  <a:gd name="connsiteX1401" fmla="*/ 4903 w 10746"/>
                  <a:gd name="connsiteY1401" fmla="*/ 197 h 10000"/>
                  <a:gd name="connsiteX1402" fmla="*/ 4899 w 10746"/>
                  <a:gd name="connsiteY1402" fmla="*/ 239 h 10000"/>
                  <a:gd name="connsiteX1403" fmla="*/ 4871 w 10746"/>
                  <a:gd name="connsiteY1403" fmla="*/ 274 h 10000"/>
                  <a:gd name="connsiteX1404" fmla="*/ 4871 w 10746"/>
                  <a:gd name="connsiteY1404" fmla="*/ 282 h 10000"/>
                  <a:gd name="connsiteX1405" fmla="*/ 4834 w 10746"/>
                  <a:gd name="connsiteY1405" fmla="*/ 376 h 10000"/>
                  <a:gd name="connsiteX1406" fmla="*/ 4829 w 10746"/>
                  <a:gd name="connsiteY1406" fmla="*/ 402 h 10000"/>
                  <a:gd name="connsiteX1407" fmla="*/ 4834 w 10746"/>
                  <a:gd name="connsiteY1407" fmla="*/ 410 h 10000"/>
                  <a:gd name="connsiteX1408" fmla="*/ 4829 w 10746"/>
                  <a:gd name="connsiteY1408" fmla="*/ 436 h 10000"/>
                  <a:gd name="connsiteX1409" fmla="*/ 4825 w 10746"/>
                  <a:gd name="connsiteY1409" fmla="*/ 436 h 10000"/>
                  <a:gd name="connsiteX1410" fmla="*/ 4825 w 10746"/>
                  <a:gd name="connsiteY1410" fmla="*/ 444 h 10000"/>
                  <a:gd name="connsiteX1411" fmla="*/ 4811 w 10746"/>
                  <a:gd name="connsiteY1411" fmla="*/ 496 h 10000"/>
                  <a:gd name="connsiteX1412" fmla="*/ 4811 w 10746"/>
                  <a:gd name="connsiteY1412" fmla="*/ 496 h 10000"/>
                  <a:gd name="connsiteX1413" fmla="*/ 4811 w 10746"/>
                  <a:gd name="connsiteY1413" fmla="*/ 521 h 10000"/>
                  <a:gd name="connsiteX1414" fmla="*/ 4816 w 10746"/>
                  <a:gd name="connsiteY1414" fmla="*/ 530 h 10000"/>
                  <a:gd name="connsiteX1415" fmla="*/ 4834 w 10746"/>
                  <a:gd name="connsiteY1415" fmla="*/ 547 h 10000"/>
                  <a:gd name="connsiteX1416" fmla="*/ 4834 w 10746"/>
                  <a:gd name="connsiteY1416" fmla="*/ 581 h 10000"/>
                  <a:gd name="connsiteX1417" fmla="*/ 4843 w 10746"/>
                  <a:gd name="connsiteY1417" fmla="*/ 581 h 10000"/>
                  <a:gd name="connsiteX1418" fmla="*/ 4843 w 10746"/>
                  <a:gd name="connsiteY1418" fmla="*/ 598 h 10000"/>
                  <a:gd name="connsiteX1419" fmla="*/ 4829 w 10746"/>
                  <a:gd name="connsiteY1419" fmla="*/ 598 h 10000"/>
                  <a:gd name="connsiteX1420" fmla="*/ 4829 w 10746"/>
                  <a:gd name="connsiteY1420" fmla="*/ 573 h 10000"/>
                  <a:gd name="connsiteX1421" fmla="*/ 4829 w 10746"/>
                  <a:gd name="connsiteY1421" fmla="*/ 632 h 10000"/>
                  <a:gd name="connsiteX1422" fmla="*/ 4829 w 10746"/>
                  <a:gd name="connsiteY1422" fmla="*/ 632 h 10000"/>
                  <a:gd name="connsiteX1423" fmla="*/ 4829 w 10746"/>
                  <a:gd name="connsiteY1423" fmla="*/ 650 h 10000"/>
                  <a:gd name="connsiteX1424" fmla="*/ 4774 w 10746"/>
                  <a:gd name="connsiteY1424" fmla="*/ 684 h 10000"/>
                  <a:gd name="connsiteX1425" fmla="*/ 4756 w 10746"/>
                  <a:gd name="connsiteY1425" fmla="*/ 684 h 10000"/>
                  <a:gd name="connsiteX1426" fmla="*/ 4737 w 10746"/>
                  <a:gd name="connsiteY1426" fmla="*/ 692 h 10000"/>
                  <a:gd name="connsiteX1427" fmla="*/ 4677 w 10746"/>
                  <a:gd name="connsiteY1427" fmla="*/ 667 h 10000"/>
                  <a:gd name="connsiteX1428" fmla="*/ 4682 w 10746"/>
                  <a:gd name="connsiteY1428" fmla="*/ 692 h 10000"/>
                  <a:gd name="connsiteX1429" fmla="*/ 4682 w 10746"/>
                  <a:gd name="connsiteY1429" fmla="*/ 709 h 10000"/>
                  <a:gd name="connsiteX1430" fmla="*/ 4691 w 10746"/>
                  <a:gd name="connsiteY1430" fmla="*/ 718 h 10000"/>
                  <a:gd name="connsiteX1431" fmla="*/ 4691 w 10746"/>
                  <a:gd name="connsiteY1431" fmla="*/ 744 h 10000"/>
                  <a:gd name="connsiteX1432" fmla="*/ 4700 w 10746"/>
                  <a:gd name="connsiteY1432" fmla="*/ 744 h 10000"/>
                  <a:gd name="connsiteX1433" fmla="*/ 4714 w 10746"/>
                  <a:gd name="connsiteY1433" fmla="*/ 769 h 10000"/>
                  <a:gd name="connsiteX1434" fmla="*/ 4710 w 10746"/>
                  <a:gd name="connsiteY1434" fmla="*/ 786 h 10000"/>
                  <a:gd name="connsiteX1435" fmla="*/ 4737 w 10746"/>
                  <a:gd name="connsiteY1435" fmla="*/ 786 h 10000"/>
                  <a:gd name="connsiteX1436" fmla="*/ 4742 w 10746"/>
                  <a:gd name="connsiteY1436" fmla="*/ 795 h 10000"/>
                  <a:gd name="connsiteX1437" fmla="*/ 4742 w 10746"/>
                  <a:gd name="connsiteY1437" fmla="*/ 803 h 10000"/>
                  <a:gd name="connsiteX1438" fmla="*/ 4737 w 10746"/>
                  <a:gd name="connsiteY1438" fmla="*/ 846 h 10000"/>
                  <a:gd name="connsiteX1439" fmla="*/ 4737 w 10746"/>
                  <a:gd name="connsiteY1439" fmla="*/ 880 h 10000"/>
                  <a:gd name="connsiteX1440" fmla="*/ 4737 w 10746"/>
                  <a:gd name="connsiteY1440" fmla="*/ 906 h 10000"/>
                  <a:gd name="connsiteX1441" fmla="*/ 4724 w 10746"/>
                  <a:gd name="connsiteY1441" fmla="*/ 897 h 10000"/>
                  <a:gd name="connsiteX1442" fmla="*/ 4724 w 10746"/>
                  <a:gd name="connsiteY1442" fmla="*/ 872 h 10000"/>
                  <a:gd name="connsiteX1443" fmla="*/ 4714 w 10746"/>
                  <a:gd name="connsiteY1443" fmla="*/ 855 h 10000"/>
                  <a:gd name="connsiteX1444" fmla="*/ 4691 w 10746"/>
                  <a:gd name="connsiteY1444" fmla="*/ 846 h 10000"/>
                  <a:gd name="connsiteX1445" fmla="*/ 4691 w 10746"/>
                  <a:gd name="connsiteY1445" fmla="*/ 846 h 10000"/>
                  <a:gd name="connsiteX1446" fmla="*/ 4696 w 10746"/>
                  <a:gd name="connsiteY1446" fmla="*/ 821 h 10000"/>
                  <a:gd name="connsiteX1447" fmla="*/ 4691 w 10746"/>
                  <a:gd name="connsiteY1447" fmla="*/ 803 h 10000"/>
                  <a:gd name="connsiteX1448" fmla="*/ 4668 w 10746"/>
                  <a:gd name="connsiteY1448" fmla="*/ 821 h 10000"/>
                  <a:gd name="connsiteX1449" fmla="*/ 4668 w 10746"/>
                  <a:gd name="connsiteY1449" fmla="*/ 786 h 10000"/>
                  <a:gd name="connsiteX1450" fmla="*/ 4664 w 10746"/>
                  <a:gd name="connsiteY1450" fmla="*/ 786 h 10000"/>
                  <a:gd name="connsiteX1451" fmla="*/ 4622 w 10746"/>
                  <a:gd name="connsiteY1451" fmla="*/ 846 h 10000"/>
                  <a:gd name="connsiteX1452" fmla="*/ 4627 w 10746"/>
                  <a:gd name="connsiteY1452" fmla="*/ 872 h 10000"/>
                  <a:gd name="connsiteX1453" fmla="*/ 4622 w 10746"/>
                  <a:gd name="connsiteY1453" fmla="*/ 880 h 10000"/>
                  <a:gd name="connsiteX1454" fmla="*/ 4622 w 10746"/>
                  <a:gd name="connsiteY1454" fmla="*/ 880 h 10000"/>
                  <a:gd name="connsiteX1455" fmla="*/ 4618 w 10746"/>
                  <a:gd name="connsiteY1455" fmla="*/ 872 h 10000"/>
                  <a:gd name="connsiteX1456" fmla="*/ 4604 w 10746"/>
                  <a:gd name="connsiteY1456" fmla="*/ 880 h 10000"/>
                  <a:gd name="connsiteX1457" fmla="*/ 4594 w 10746"/>
                  <a:gd name="connsiteY1457" fmla="*/ 906 h 10000"/>
                  <a:gd name="connsiteX1458" fmla="*/ 4604 w 10746"/>
                  <a:gd name="connsiteY1458" fmla="*/ 906 h 10000"/>
                  <a:gd name="connsiteX1459" fmla="*/ 4608 w 10746"/>
                  <a:gd name="connsiteY1459" fmla="*/ 906 h 10000"/>
                  <a:gd name="connsiteX1460" fmla="*/ 4608 w 10746"/>
                  <a:gd name="connsiteY1460" fmla="*/ 932 h 10000"/>
                  <a:gd name="connsiteX1461" fmla="*/ 4604 w 10746"/>
                  <a:gd name="connsiteY1461" fmla="*/ 932 h 10000"/>
                  <a:gd name="connsiteX1462" fmla="*/ 4590 w 10746"/>
                  <a:gd name="connsiteY1462" fmla="*/ 932 h 10000"/>
                  <a:gd name="connsiteX1463" fmla="*/ 4567 w 10746"/>
                  <a:gd name="connsiteY1463" fmla="*/ 957 h 10000"/>
                  <a:gd name="connsiteX1464" fmla="*/ 4567 w 10746"/>
                  <a:gd name="connsiteY1464" fmla="*/ 932 h 10000"/>
                  <a:gd name="connsiteX1465" fmla="*/ 4567 w 10746"/>
                  <a:gd name="connsiteY1465" fmla="*/ 923 h 10000"/>
                  <a:gd name="connsiteX1466" fmla="*/ 4562 w 10746"/>
                  <a:gd name="connsiteY1466" fmla="*/ 932 h 10000"/>
                  <a:gd name="connsiteX1467" fmla="*/ 4548 w 10746"/>
                  <a:gd name="connsiteY1467" fmla="*/ 957 h 10000"/>
                  <a:gd name="connsiteX1468" fmla="*/ 4544 w 10746"/>
                  <a:gd name="connsiteY1468" fmla="*/ 957 h 10000"/>
                  <a:gd name="connsiteX1469" fmla="*/ 4521 w 10746"/>
                  <a:gd name="connsiteY1469" fmla="*/ 983 h 10000"/>
                  <a:gd name="connsiteX1470" fmla="*/ 4521 w 10746"/>
                  <a:gd name="connsiteY1470" fmla="*/ 983 h 10000"/>
                  <a:gd name="connsiteX1471" fmla="*/ 4530 w 10746"/>
                  <a:gd name="connsiteY1471" fmla="*/ 957 h 10000"/>
                  <a:gd name="connsiteX1472" fmla="*/ 4535 w 10746"/>
                  <a:gd name="connsiteY1472" fmla="*/ 932 h 10000"/>
                  <a:gd name="connsiteX1473" fmla="*/ 4521 w 10746"/>
                  <a:gd name="connsiteY1473" fmla="*/ 932 h 10000"/>
                  <a:gd name="connsiteX1474" fmla="*/ 4516 w 10746"/>
                  <a:gd name="connsiteY1474" fmla="*/ 923 h 10000"/>
                  <a:gd name="connsiteX1475" fmla="*/ 4516 w 10746"/>
                  <a:gd name="connsiteY1475" fmla="*/ 932 h 10000"/>
                  <a:gd name="connsiteX1476" fmla="*/ 4488 w 10746"/>
                  <a:gd name="connsiteY1476" fmla="*/ 940 h 10000"/>
                  <a:gd name="connsiteX1477" fmla="*/ 4484 w 10746"/>
                  <a:gd name="connsiteY1477" fmla="*/ 983 h 10000"/>
                  <a:gd name="connsiteX1478" fmla="*/ 4470 w 10746"/>
                  <a:gd name="connsiteY1478" fmla="*/ 983 h 10000"/>
                  <a:gd name="connsiteX1479" fmla="*/ 4470 w 10746"/>
                  <a:gd name="connsiteY1479" fmla="*/ 966 h 10000"/>
                  <a:gd name="connsiteX1480" fmla="*/ 4488 w 10746"/>
                  <a:gd name="connsiteY1480" fmla="*/ 923 h 10000"/>
                  <a:gd name="connsiteX1481" fmla="*/ 4493 w 10746"/>
                  <a:gd name="connsiteY1481" fmla="*/ 880 h 10000"/>
                  <a:gd name="connsiteX1482" fmla="*/ 4475 w 10746"/>
                  <a:gd name="connsiteY1482" fmla="*/ 846 h 10000"/>
                  <a:gd name="connsiteX1483" fmla="*/ 4442 w 10746"/>
                  <a:gd name="connsiteY1483" fmla="*/ 855 h 10000"/>
                  <a:gd name="connsiteX1484" fmla="*/ 4433 w 10746"/>
                  <a:gd name="connsiteY1484" fmla="*/ 855 h 10000"/>
                  <a:gd name="connsiteX1485" fmla="*/ 4433 w 10746"/>
                  <a:gd name="connsiteY1485" fmla="*/ 880 h 10000"/>
                  <a:gd name="connsiteX1486" fmla="*/ 4401 w 10746"/>
                  <a:gd name="connsiteY1486" fmla="*/ 855 h 10000"/>
                  <a:gd name="connsiteX1487" fmla="*/ 4396 w 10746"/>
                  <a:gd name="connsiteY1487" fmla="*/ 872 h 10000"/>
                  <a:gd name="connsiteX1488" fmla="*/ 4382 w 10746"/>
                  <a:gd name="connsiteY1488" fmla="*/ 897 h 10000"/>
                  <a:gd name="connsiteX1489" fmla="*/ 4373 w 10746"/>
                  <a:gd name="connsiteY1489" fmla="*/ 872 h 10000"/>
                  <a:gd name="connsiteX1490" fmla="*/ 4341 w 10746"/>
                  <a:gd name="connsiteY1490" fmla="*/ 872 h 10000"/>
                  <a:gd name="connsiteX1491" fmla="*/ 4336 w 10746"/>
                  <a:gd name="connsiteY1491" fmla="*/ 880 h 10000"/>
                  <a:gd name="connsiteX1492" fmla="*/ 4346 w 10746"/>
                  <a:gd name="connsiteY1492" fmla="*/ 897 h 10000"/>
                  <a:gd name="connsiteX1493" fmla="*/ 4346 w 10746"/>
                  <a:gd name="connsiteY1493" fmla="*/ 897 h 10000"/>
                  <a:gd name="connsiteX1494" fmla="*/ 4313 w 10746"/>
                  <a:gd name="connsiteY1494" fmla="*/ 906 h 10000"/>
                  <a:gd name="connsiteX1495" fmla="*/ 4313 w 10746"/>
                  <a:gd name="connsiteY1495" fmla="*/ 906 h 10000"/>
                  <a:gd name="connsiteX1496" fmla="*/ 4313 w 10746"/>
                  <a:gd name="connsiteY1496" fmla="*/ 880 h 10000"/>
                  <a:gd name="connsiteX1497" fmla="*/ 4309 w 10746"/>
                  <a:gd name="connsiteY1497" fmla="*/ 897 h 10000"/>
                  <a:gd name="connsiteX1498" fmla="*/ 4295 w 10746"/>
                  <a:gd name="connsiteY1498" fmla="*/ 923 h 10000"/>
                  <a:gd name="connsiteX1499" fmla="*/ 4286 w 10746"/>
                  <a:gd name="connsiteY1499" fmla="*/ 897 h 10000"/>
                  <a:gd name="connsiteX1500" fmla="*/ 4281 w 10746"/>
                  <a:gd name="connsiteY1500" fmla="*/ 906 h 10000"/>
                  <a:gd name="connsiteX1501" fmla="*/ 4281 w 10746"/>
                  <a:gd name="connsiteY1501" fmla="*/ 940 h 10000"/>
                  <a:gd name="connsiteX1502" fmla="*/ 4286 w 10746"/>
                  <a:gd name="connsiteY1502" fmla="*/ 957 h 10000"/>
                  <a:gd name="connsiteX1503" fmla="*/ 4309 w 10746"/>
                  <a:gd name="connsiteY1503" fmla="*/ 932 h 10000"/>
                  <a:gd name="connsiteX1504" fmla="*/ 4313 w 10746"/>
                  <a:gd name="connsiteY1504" fmla="*/ 957 h 10000"/>
                  <a:gd name="connsiteX1505" fmla="*/ 4313 w 10746"/>
                  <a:gd name="connsiteY1505" fmla="*/ 966 h 10000"/>
                  <a:gd name="connsiteX1506" fmla="*/ 4323 w 10746"/>
                  <a:gd name="connsiteY1506" fmla="*/ 966 h 10000"/>
                  <a:gd name="connsiteX1507" fmla="*/ 4323 w 10746"/>
                  <a:gd name="connsiteY1507" fmla="*/ 940 h 10000"/>
                  <a:gd name="connsiteX1508" fmla="*/ 4327 w 10746"/>
                  <a:gd name="connsiteY1508" fmla="*/ 940 h 10000"/>
                  <a:gd name="connsiteX1509" fmla="*/ 4327 w 10746"/>
                  <a:gd name="connsiteY1509" fmla="*/ 957 h 10000"/>
                  <a:gd name="connsiteX1510" fmla="*/ 4327 w 10746"/>
                  <a:gd name="connsiteY1510" fmla="*/ 966 h 10000"/>
                  <a:gd name="connsiteX1511" fmla="*/ 4323 w 10746"/>
                  <a:gd name="connsiteY1511" fmla="*/ 991 h 10000"/>
                  <a:gd name="connsiteX1512" fmla="*/ 4207 w 10746"/>
                  <a:gd name="connsiteY1512" fmla="*/ 1060 h 10000"/>
                  <a:gd name="connsiteX1513" fmla="*/ 4207 w 10746"/>
                  <a:gd name="connsiteY1513" fmla="*/ 1060 h 10000"/>
                  <a:gd name="connsiteX1514" fmla="*/ 4203 w 10746"/>
                  <a:gd name="connsiteY1514" fmla="*/ 1068 h 10000"/>
                  <a:gd name="connsiteX1515" fmla="*/ 4203 w 10746"/>
                  <a:gd name="connsiteY1515" fmla="*/ 1094 h 10000"/>
                  <a:gd name="connsiteX1516" fmla="*/ 4203 w 10746"/>
                  <a:gd name="connsiteY1516" fmla="*/ 1094 h 10000"/>
                  <a:gd name="connsiteX1517" fmla="*/ 4189 w 10746"/>
                  <a:gd name="connsiteY1517" fmla="*/ 1094 h 10000"/>
                  <a:gd name="connsiteX1518" fmla="*/ 4166 w 10746"/>
                  <a:gd name="connsiteY1518" fmla="*/ 1103 h 10000"/>
                  <a:gd name="connsiteX1519" fmla="*/ 4152 w 10746"/>
                  <a:gd name="connsiteY1519" fmla="*/ 1094 h 10000"/>
                  <a:gd name="connsiteX1520" fmla="*/ 4134 w 10746"/>
                  <a:gd name="connsiteY1520" fmla="*/ 1120 h 10000"/>
                  <a:gd name="connsiteX1521" fmla="*/ 4106 w 10746"/>
                  <a:gd name="connsiteY1521" fmla="*/ 1120 h 10000"/>
                  <a:gd name="connsiteX1522" fmla="*/ 4092 w 10746"/>
                  <a:gd name="connsiteY1522" fmla="*/ 1154 h 10000"/>
                  <a:gd name="connsiteX1523" fmla="*/ 4106 w 10746"/>
                  <a:gd name="connsiteY1523" fmla="*/ 1171 h 10000"/>
                  <a:gd name="connsiteX1524" fmla="*/ 4078 w 10746"/>
                  <a:gd name="connsiteY1524" fmla="*/ 1179 h 10000"/>
                  <a:gd name="connsiteX1525" fmla="*/ 4065 w 10746"/>
                  <a:gd name="connsiteY1525" fmla="*/ 1205 h 10000"/>
                  <a:gd name="connsiteX1526" fmla="*/ 4046 w 10746"/>
                  <a:gd name="connsiteY1526" fmla="*/ 1179 h 10000"/>
                  <a:gd name="connsiteX1527" fmla="*/ 4041 w 10746"/>
                  <a:gd name="connsiteY1527" fmla="*/ 1197 h 10000"/>
                  <a:gd name="connsiteX1528" fmla="*/ 4028 w 10746"/>
                  <a:gd name="connsiteY1528" fmla="*/ 1205 h 10000"/>
                  <a:gd name="connsiteX1529" fmla="*/ 4028 w 10746"/>
                  <a:gd name="connsiteY1529" fmla="*/ 1205 h 10000"/>
                  <a:gd name="connsiteX1530" fmla="*/ 4032 w 10746"/>
                  <a:gd name="connsiteY1530" fmla="*/ 1205 h 10000"/>
                  <a:gd name="connsiteX1531" fmla="*/ 4032 w 10746"/>
                  <a:gd name="connsiteY1531" fmla="*/ 1231 h 10000"/>
                  <a:gd name="connsiteX1532" fmla="*/ 4014 w 10746"/>
                  <a:gd name="connsiteY1532" fmla="*/ 1239 h 10000"/>
                  <a:gd name="connsiteX1533" fmla="*/ 4014 w 10746"/>
                  <a:gd name="connsiteY1533" fmla="*/ 1256 h 10000"/>
                  <a:gd name="connsiteX1534" fmla="*/ 4000 w 10746"/>
                  <a:gd name="connsiteY1534" fmla="*/ 1265 h 10000"/>
                  <a:gd name="connsiteX1535" fmla="*/ 3986 w 10746"/>
                  <a:gd name="connsiteY1535" fmla="*/ 1308 h 10000"/>
                  <a:gd name="connsiteX1536" fmla="*/ 3972 w 10746"/>
                  <a:gd name="connsiteY1536" fmla="*/ 1316 h 10000"/>
                  <a:gd name="connsiteX1537" fmla="*/ 3972 w 10746"/>
                  <a:gd name="connsiteY1537" fmla="*/ 1325 h 10000"/>
                  <a:gd name="connsiteX1538" fmla="*/ 3972 w 10746"/>
                  <a:gd name="connsiteY1538" fmla="*/ 1342 h 10000"/>
                  <a:gd name="connsiteX1539" fmla="*/ 3968 w 10746"/>
                  <a:gd name="connsiteY1539" fmla="*/ 1350 h 10000"/>
                  <a:gd name="connsiteX1540" fmla="*/ 3954 w 10746"/>
                  <a:gd name="connsiteY1540" fmla="*/ 1368 h 10000"/>
                  <a:gd name="connsiteX1541" fmla="*/ 3945 w 10746"/>
                  <a:gd name="connsiteY1541" fmla="*/ 1350 h 10000"/>
                  <a:gd name="connsiteX1542" fmla="*/ 3908 w 10746"/>
                  <a:gd name="connsiteY1542" fmla="*/ 1342 h 10000"/>
                  <a:gd name="connsiteX1543" fmla="*/ 3894 w 10746"/>
                  <a:gd name="connsiteY1543" fmla="*/ 1368 h 10000"/>
                  <a:gd name="connsiteX1544" fmla="*/ 3922 w 10746"/>
                  <a:gd name="connsiteY1544" fmla="*/ 1393 h 10000"/>
                  <a:gd name="connsiteX1545" fmla="*/ 3945 w 10746"/>
                  <a:gd name="connsiteY1545" fmla="*/ 1393 h 10000"/>
                  <a:gd name="connsiteX1546" fmla="*/ 3940 w 10746"/>
                  <a:gd name="connsiteY1546" fmla="*/ 1419 h 10000"/>
                  <a:gd name="connsiteX1547" fmla="*/ 3931 w 10746"/>
                  <a:gd name="connsiteY1547" fmla="*/ 1427 h 10000"/>
                  <a:gd name="connsiteX1548" fmla="*/ 3926 w 10746"/>
                  <a:gd name="connsiteY1548" fmla="*/ 1427 h 10000"/>
                  <a:gd name="connsiteX1549" fmla="*/ 3922 w 10746"/>
                  <a:gd name="connsiteY1549" fmla="*/ 1419 h 10000"/>
                  <a:gd name="connsiteX1550" fmla="*/ 3912 w 10746"/>
                  <a:gd name="connsiteY1550" fmla="*/ 1427 h 10000"/>
                  <a:gd name="connsiteX1551" fmla="*/ 3912 w 10746"/>
                  <a:gd name="connsiteY1551" fmla="*/ 1444 h 10000"/>
                  <a:gd name="connsiteX1552" fmla="*/ 3894 w 10746"/>
                  <a:gd name="connsiteY1552" fmla="*/ 1513 h 10000"/>
                  <a:gd name="connsiteX1553" fmla="*/ 3885 w 10746"/>
                  <a:gd name="connsiteY1553" fmla="*/ 1513 h 10000"/>
                  <a:gd name="connsiteX1554" fmla="*/ 3880 w 10746"/>
                  <a:gd name="connsiteY1554" fmla="*/ 1538 h 10000"/>
                  <a:gd name="connsiteX1555" fmla="*/ 3885 w 10746"/>
                  <a:gd name="connsiteY1555" fmla="*/ 1564 h 10000"/>
                  <a:gd name="connsiteX1556" fmla="*/ 3880 w 10746"/>
                  <a:gd name="connsiteY1556" fmla="*/ 1581 h 10000"/>
                  <a:gd name="connsiteX1557" fmla="*/ 3871 w 10746"/>
                  <a:gd name="connsiteY1557" fmla="*/ 1538 h 10000"/>
                  <a:gd name="connsiteX1558" fmla="*/ 3853 w 10746"/>
                  <a:gd name="connsiteY1558" fmla="*/ 1530 h 10000"/>
                  <a:gd name="connsiteX1559" fmla="*/ 3853 w 10746"/>
                  <a:gd name="connsiteY1559" fmla="*/ 1504 h 10000"/>
                  <a:gd name="connsiteX1560" fmla="*/ 3834 w 10746"/>
                  <a:gd name="connsiteY1560" fmla="*/ 1487 h 10000"/>
                  <a:gd name="connsiteX1561" fmla="*/ 3834 w 10746"/>
                  <a:gd name="connsiteY1561" fmla="*/ 1487 h 10000"/>
                  <a:gd name="connsiteX1562" fmla="*/ 3839 w 10746"/>
                  <a:gd name="connsiteY1562" fmla="*/ 1513 h 10000"/>
                  <a:gd name="connsiteX1563" fmla="*/ 3820 w 10746"/>
                  <a:gd name="connsiteY1563" fmla="*/ 1538 h 10000"/>
                  <a:gd name="connsiteX1564" fmla="*/ 3820 w 10746"/>
                  <a:gd name="connsiteY1564" fmla="*/ 1556 h 10000"/>
                  <a:gd name="connsiteX1565" fmla="*/ 3820 w 10746"/>
                  <a:gd name="connsiteY1565" fmla="*/ 1564 h 10000"/>
                  <a:gd name="connsiteX1566" fmla="*/ 3820 w 10746"/>
                  <a:gd name="connsiteY1566" fmla="*/ 1581 h 10000"/>
                  <a:gd name="connsiteX1567" fmla="*/ 3853 w 10746"/>
                  <a:gd name="connsiteY1567" fmla="*/ 1581 h 10000"/>
                  <a:gd name="connsiteX1568" fmla="*/ 3857 w 10746"/>
                  <a:gd name="connsiteY1568" fmla="*/ 1598 h 10000"/>
                  <a:gd name="connsiteX1569" fmla="*/ 3880 w 10746"/>
                  <a:gd name="connsiteY1569" fmla="*/ 1615 h 10000"/>
                  <a:gd name="connsiteX1570" fmla="*/ 3871 w 10746"/>
                  <a:gd name="connsiteY1570" fmla="*/ 1615 h 10000"/>
                  <a:gd name="connsiteX1571" fmla="*/ 3871 w 10746"/>
                  <a:gd name="connsiteY1571" fmla="*/ 1641 h 10000"/>
                  <a:gd name="connsiteX1572" fmla="*/ 3880 w 10746"/>
                  <a:gd name="connsiteY1572" fmla="*/ 1641 h 10000"/>
                  <a:gd name="connsiteX1573" fmla="*/ 3871 w 10746"/>
                  <a:gd name="connsiteY1573" fmla="*/ 1650 h 10000"/>
                  <a:gd name="connsiteX1574" fmla="*/ 3857 w 10746"/>
                  <a:gd name="connsiteY1574" fmla="*/ 1650 h 10000"/>
                  <a:gd name="connsiteX1575" fmla="*/ 3853 w 10746"/>
                  <a:gd name="connsiteY1575" fmla="*/ 1650 h 10000"/>
                  <a:gd name="connsiteX1576" fmla="*/ 3839 w 10746"/>
                  <a:gd name="connsiteY1576" fmla="*/ 1667 h 10000"/>
                  <a:gd name="connsiteX1577" fmla="*/ 3848 w 10746"/>
                  <a:gd name="connsiteY1577" fmla="*/ 1692 h 10000"/>
                  <a:gd name="connsiteX1578" fmla="*/ 3834 w 10746"/>
                  <a:gd name="connsiteY1578" fmla="*/ 1692 h 10000"/>
                  <a:gd name="connsiteX1579" fmla="*/ 3825 w 10746"/>
                  <a:gd name="connsiteY1579" fmla="*/ 1692 h 10000"/>
                  <a:gd name="connsiteX1580" fmla="*/ 3825 w 10746"/>
                  <a:gd name="connsiteY1580" fmla="*/ 1718 h 10000"/>
                  <a:gd name="connsiteX1581" fmla="*/ 3839 w 10746"/>
                  <a:gd name="connsiteY1581" fmla="*/ 1726 h 10000"/>
                  <a:gd name="connsiteX1582" fmla="*/ 3880 w 10746"/>
                  <a:gd name="connsiteY1582" fmla="*/ 1752 h 10000"/>
                  <a:gd name="connsiteX1583" fmla="*/ 3894 w 10746"/>
                  <a:gd name="connsiteY1583" fmla="*/ 1829 h 10000"/>
                  <a:gd name="connsiteX1584" fmla="*/ 3899 w 10746"/>
                  <a:gd name="connsiteY1584" fmla="*/ 1838 h 10000"/>
                  <a:gd name="connsiteX1585" fmla="*/ 3894 w 10746"/>
                  <a:gd name="connsiteY1585" fmla="*/ 1855 h 10000"/>
                  <a:gd name="connsiteX1586" fmla="*/ 3880 w 10746"/>
                  <a:gd name="connsiteY1586" fmla="*/ 1838 h 10000"/>
                  <a:gd name="connsiteX1587" fmla="*/ 3880 w 10746"/>
                  <a:gd name="connsiteY1587" fmla="*/ 1855 h 10000"/>
                  <a:gd name="connsiteX1588" fmla="*/ 3880 w 10746"/>
                  <a:gd name="connsiteY1588" fmla="*/ 1863 h 10000"/>
                  <a:gd name="connsiteX1589" fmla="*/ 3871 w 10746"/>
                  <a:gd name="connsiteY1589" fmla="*/ 1872 h 10000"/>
                  <a:gd name="connsiteX1590" fmla="*/ 3880 w 10746"/>
                  <a:gd name="connsiteY1590" fmla="*/ 1889 h 10000"/>
                  <a:gd name="connsiteX1591" fmla="*/ 3885 w 10746"/>
                  <a:gd name="connsiteY1591" fmla="*/ 1889 h 10000"/>
                  <a:gd name="connsiteX1592" fmla="*/ 3880 w 10746"/>
                  <a:gd name="connsiteY1592" fmla="*/ 1897 h 10000"/>
                  <a:gd name="connsiteX1593" fmla="*/ 3871 w 10746"/>
                  <a:gd name="connsiteY1593" fmla="*/ 1915 h 10000"/>
                  <a:gd name="connsiteX1594" fmla="*/ 3848 w 10746"/>
                  <a:gd name="connsiteY1594" fmla="*/ 1923 h 10000"/>
                  <a:gd name="connsiteX1595" fmla="*/ 3825 w 10746"/>
                  <a:gd name="connsiteY1595" fmla="*/ 1940 h 10000"/>
                  <a:gd name="connsiteX1596" fmla="*/ 3811 w 10746"/>
                  <a:gd name="connsiteY1596" fmla="*/ 1940 h 10000"/>
                  <a:gd name="connsiteX1597" fmla="*/ 3806 w 10746"/>
                  <a:gd name="connsiteY1597" fmla="*/ 1949 h 10000"/>
                  <a:gd name="connsiteX1598" fmla="*/ 3797 w 10746"/>
                  <a:gd name="connsiteY1598" fmla="*/ 1966 h 10000"/>
                  <a:gd name="connsiteX1599" fmla="*/ 3788 w 10746"/>
                  <a:gd name="connsiteY1599" fmla="*/ 1991 h 10000"/>
                  <a:gd name="connsiteX1600" fmla="*/ 3765 w 10746"/>
                  <a:gd name="connsiteY1600" fmla="*/ 1974 h 10000"/>
                  <a:gd name="connsiteX1601" fmla="*/ 3760 w 10746"/>
                  <a:gd name="connsiteY1601" fmla="*/ 1966 h 10000"/>
                  <a:gd name="connsiteX1602" fmla="*/ 3760 w 10746"/>
                  <a:gd name="connsiteY1602" fmla="*/ 1966 h 10000"/>
                  <a:gd name="connsiteX1603" fmla="*/ 3631 w 10746"/>
                  <a:gd name="connsiteY1603" fmla="*/ 2009 h 10000"/>
                  <a:gd name="connsiteX1604" fmla="*/ 3618 w 10746"/>
                  <a:gd name="connsiteY1604" fmla="*/ 2000 h 10000"/>
                  <a:gd name="connsiteX1605" fmla="*/ 3599 w 10746"/>
                  <a:gd name="connsiteY1605" fmla="*/ 2009 h 10000"/>
                  <a:gd name="connsiteX1606" fmla="*/ 3571 w 10746"/>
                  <a:gd name="connsiteY1606" fmla="*/ 2000 h 10000"/>
                  <a:gd name="connsiteX1607" fmla="*/ 3530 w 10746"/>
                  <a:gd name="connsiteY1607" fmla="*/ 2026 h 10000"/>
                  <a:gd name="connsiteX1608" fmla="*/ 3530 w 10746"/>
                  <a:gd name="connsiteY1608" fmla="*/ 2034 h 10000"/>
                  <a:gd name="connsiteX1609" fmla="*/ 3525 w 10746"/>
                  <a:gd name="connsiteY1609" fmla="*/ 2051 h 10000"/>
                  <a:gd name="connsiteX1610" fmla="*/ 3512 w 10746"/>
                  <a:gd name="connsiteY1610" fmla="*/ 2034 h 10000"/>
                  <a:gd name="connsiteX1611" fmla="*/ 3507 w 10746"/>
                  <a:gd name="connsiteY1611" fmla="*/ 2034 h 10000"/>
                  <a:gd name="connsiteX1612" fmla="*/ 3498 w 10746"/>
                  <a:gd name="connsiteY1612" fmla="*/ 2051 h 10000"/>
                  <a:gd name="connsiteX1613" fmla="*/ 3484 w 10746"/>
                  <a:gd name="connsiteY1613" fmla="*/ 2060 h 10000"/>
                  <a:gd name="connsiteX1614" fmla="*/ 3484 w 10746"/>
                  <a:gd name="connsiteY1614" fmla="*/ 2085 h 10000"/>
                  <a:gd name="connsiteX1615" fmla="*/ 3484 w 10746"/>
                  <a:gd name="connsiteY1615" fmla="*/ 2103 h 10000"/>
                  <a:gd name="connsiteX1616" fmla="*/ 3493 w 10746"/>
                  <a:gd name="connsiteY1616" fmla="*/ 2103 h 10000"/>
                  <a:gd name="connsiteX1617" fmla="*/ 3493 w 10746"/>
                  <a:gd name="connsiteY1617" fmla="*/ 2085 h 10000"/>
                  <a:gd name="connsiteX1618" fmla="*/ 3498 w 10746"/>
                  <a:gd name="connsiteY1618" fmla="*/ 2085 h 10000"/>
                  <a:gd name="connsiteX1619" fmla="*/ 3498 w 10746"/>
                  <a:gd name="connsiteY1619" fmla="*/ 2111 h 10000"/>
                  <a:gd name="connsiteX1620" fmla="*/ 3484 w 10746"/>
                  <a:gd name="connsiteY1620" fmla="*/ 2120 h 10000"/>
                  <a:gd name="connsiteX1621" fmla="*/ 3484 w 10746"/>
                  <a:gd name="connsiteY1621" fmla="*/ 2145 h 10000"/>
                  <a:gd name="connsiteX1622" fmla="*/ 3470 w 10746"/>
                  <a:gd name="connsiteY1622" fmla="*/ 2137 h 10000"/>
                  <a:gd name="connsiteX1623" fmla="*/ 3465 w 10746"/>
                  <a:gd name="connsiteY1623" fmla="*/ 2145 h 10000"/>
                  <a:gd name="connsiteX1624" fmla="*/ 3470 w 10746"/>
                  <a:gd name="connsiteY1624" fmla="*/ 2171 h 10000"/>
                  <a:gd name="connsiteX1625" fmla="*/ 3484 w 10746"/>
                  <a:gd name="connsiteY1625" fmla="*/ 2171 h 10000"/>
                  <a:gd name="connsiteX1626" fmla="*/ 3484 w 10746"/>
                  <a:gd name="connsiteY1626" fmla="*/ 2197 h 10000"/>
                  <a:gd name="connsiteX1627" fmla="*/ 3465 w 10746"/>
                  <a:gd name="connsiteY1627" fmla="*/ 2214 h 10000"/>
                  <a:gd name="connsiteX1628" fmla="*/ 3493 w 10746"/>
                  <a:gd name="connsiteY1628" fmla="*/ 2248 h 10000"/>
                  <a:gd name="connsiteX1629" fmla="*/ 3484 w 10746"/>
                  <a:gd name="connsiteY1629" fmla="*/ 2256 h 10000"/>
                  <a:gd name="connsiteX1630" fmla="*/ 3498 w 10746"/>
                  <a:gd name="connsiteY1630" fmla="*/ 2274 h 10000"/>
                  <a:gd name="connsiteX1631" fmla="*/ 3498 w 10746"/>
                  <a:gd name="connsiteY1631" fmla="*/ 2256 h 10000"/>
                  <a:gd name="connsiteX1632" fmla="*/ 3507 w 10746"/>
                  <a:gd name="connsiteY1632" fmla="*/ 2308 h 10000"/>
                  <a:gd name="connsiteX1633" fmla="*/ 3512 w 10746"/>
                  <a:gd name="connsiteY1633" fmla="*/ 2325 h 10000"/>
                  <a:gd name="connsiteX1634" fmla="*/ 3507 w 10746"/>
                  <a:gd name="connsiteY1634" fmla="*/ 2333 h 10000"/>
                  <a:gd name="connsiteX1635" fmla="*/ 3507 w 10746"/>
                  <a:gd name="connsiteY1635" fmla="*/ 2359 h 10000"/>
                  <a:gd name="connsiteX1636" fmla="*/ 3507 w 10746"/>
                  <a:gd name="connsiteY1636" fmla="*/ 2376 h 10000"/>
                  <a:gd name="connsiteX1637" fmla="*/ 3498 w 10746"/>
                  <a:gd name="connsiteY1637" fmla="*/ 2410 h 10000"/>
                  <a:gd name="connsiteX1638" fmla="*/ 3498 w 10746"/>
                  <a:gd name="connsiteY1638" fmla="*/ 2436 h 10000"/>
                  <a:gd name="connsiteX1639" fmla="*/ 3507 w 10746"/>
                  <a:gd name="connsiteY1639" fmla="*/ 2462 h 10000"/>
                  <a:gd name="connsiteX1640" fmla="*/ 3507 w 10746"/>
                  <a:gd name="connsiteY1640" fmla="*/ 2496 h 10000"/>
                  <a:gd name="connsiteX1641" fmla="*/ 3512 w 10746"/>
                  <a:gd name="connsiteY1641" fmla="*/ 2521 h 10000"/>
                  <a:gd name="connsiteX1642" fmla="*/ 3525 w 10746"/>
                  <a:gd name="connsiteY1642" fmla="*/ 2556 h 10000"/>
                  <a:gd name="connsiteX1643" fmla="*/ 3571 w 10746"/>
                  <a:gd name="connsiteY1643" fmla="*/ 2573 h 10000"/>
                  <a:gd name="connsiteX1644" fmla="*/ 3590 w 10746"/>
                  <a:gd name="connsiteY1644" fmla="*/ 2598 h 10000"/>
                  <a:gd name="connsiteX1645" fmla="*/ 3599 w 10746"/>
                  <a:gd name="connsiteY1645" fmla="*/ 2598 h 10000"/>
                  <a:gd name="connsiteX1646" fmla="*/ 3604 w 10746"/>
                  <a:gd name="connsiteY1646" fmla="*/ 2632 h 10000"/>
                  <a:gd name="connsiteX1647" fmla="*/ 3599 w 10746"/>
                  <a:gd name="connsiteY1647" fmla="*/ 2658 h 10000"/>
                  <a:gd name="connsiteX1648" fmla="*/ 3590 w 10746"/>
                  <a:gd name="connsiteY1648" fmla="*/ 2667 h 10000"/>
                  <a:gd name="connsiteX1649" fmla="*/ 3604 w 10746"/>
                  <a:gd name="connsiteY1649" fmla="*/ 2667 h 10000"/>
                  <a:gd name="connsiteX1650" fmla="*/ 3613 w 10746"/>
                  <a:gd name="connsiteY1650" fmla="*/ 2692 h 10000"/>
                  <a:gd name="connsiteX1651" fmla="*/ 3627 w 10746"/>
                  <a:gd name="connsiteY1651" fmla="*/ 2735 h 10000"/>
                  <a:gd name="connsiteX1652" fmla="*/ 3631 w 10746"/>
                  <a:gd name="connsiteY1652" fmla="*/ 2744 h 10000"/>
                  <a:gd name="connsiteX1653" fmla="*/ 3659 w 10746"/>
                  <a:gd name="connsiteY1653" fmla="*/ 2761 h 10000"/>
                  <a:gd name="connsiteX1654" fmla="*/ 3673 w 10746"/>
                  <a:gd name="connsiteY1654" fmla="*/ 2769 h 10000"/>
                  <a:gd name="connsiteX1655" fmla="*/ 3673 w 10746"/>
                  <a:gd name="connsiteY1655" fmla="*/ 2761 h 10000"/>
                  <a:gd name="connsiteX1656" fmla="*/ 3687 w 10746"/>
                  <a:gd name="connsiteY1656" fmla="*/ 2829 h 10000"/>
                  <a:gd name="connsiteX1657" fmla="*/ 3677 w 10746"/>
                  <a:gd name="connsiteY1657" fmla="*/ 2897 h 10000"/>
                  <a:gd name="connsiteX1658" fmla="*/ 3673 w 10746"/>
                  <a:gd name="connsiteY1658" fmla="*/ 2915 h 10000"/>
                  <a:gd name="connsiteX1659" fmla="*/ 3664 w 10746"/>
                  <a:gd name="connsiteY1659" fmla="*/ 2957 h 10000"/>
                  <a:gd name="connsiteX1660" fmla="*/ 3659 w 10746"/>
                  <a:gd name="connsiteY1660" fmla="*/ 2983 h 10000"/>
                  <a:gd name="connsiteX1661" fmla="*/ 3664 w 10746"/>
                  <a:gd name="connsiteY1661" fmla="*/ 3017 h 10000"/>
                  <a:gd name="connsiteX1662" fmla="*/ 3659 w 10746"/>
                  <a:gd name="connsiteY1662" fmla="*/ 3043 h 10000"/>
                  <a:gd name="connsiteX1663" fmla="*/ 3677 w 10746"/>
                  <a:gd name="connsiteY1663" fmla="*/ 3094 h 10000"/>
                  <a:gd name="connsiteX1664" fmla="*/ 3691 w 10746"/>
                  <a:gd name="connsiteY1664" fmla="*/ 3282 h 10000"/>
                  <a:gd name="connsiteX1665" fmla="*/ 3691 w 10746"/>
                  <a:gd name="connsiteY1665" fmla="*/ 3308 h 10000"/>
                  <a:gd name="connsiteX1666" fmla="*/ 3677 w 10746"/>
                  <a:gd name="connsiteY1666" fmla="*/ 3342 h 10000"/>
                  <a:gd name="connsiteX1667" fmla="*/ 3664 w 10746"/>
                  <a:gd name="connsiteY1667" fmla="*/ 3342 h 10000"/>
                  <a:gd name="connsiteX1668" fmla="*/ 3650 w 10746"/>
                  <a:gd name="connsiteY1668" fmla="*/ 3342 h 10000"/>
                  <a:gd name="connsiteX1669" fmla="*/ 3650 w 10746"/>
                  <a:gd name="connsiteY1669" fmla="*/ 3350 h 10000"/>
                  <a:gd name="connsiteX1670" fmla="*/ 3659 w 10746"/>
                  <a:gd name="connsiteY1670" fmla="*/ 3402 h 10000"/>
                  <a:gd name="connsiteX1671" fmla="*/ 3659 w 10746"/>
                  <a:gd name="connsiteY1671" fmla="*/ 3419 h 10000"/>
                  <a:gd name="connsiteX1672" fmla="*/ 3631 w 10746"/>
                  <a:gd name="connsiteY1672" fmla="*/ 3402 h 10000"/>
                  <a:gd name="connsiteX1673" fmla="*/ 3604 w 10746"/>
                  <a:gd name="connsiteY1673" fmla="*/ 3393 h 10000"/>
                  <a:gd name="connsiteX1674" fmla="*/ 3599 w 10746"/>
                  <a:gd name="connsiteY1674" fmla="*/ 3368 h 10000"/>
                  <a:gd name="connsiteX1675" fmla="*/ 3590 w 10746"/>
                  <a:gd name="connsiteY1675" fmla="*/ 3239 h 10000"/>
                  <a:gd name="connsiteX1676" fmla="*/ 3599 w 10746"/>
                  <a:gd name="connsiteY1676" fmla="*/ 3179 h 10000"/>
                  <a:gd name="connsiteX1677" fmla="*/ 3599 w 10746"/>
                  <a:gd name="connsiteY1677" fmla="*/ 3171 h 10000"/>
                  <a:gd name="connsiteX1678" fmla="*/ 3599 w 10746"/>
                  <a:gd name="connsiteY1678" fmla="*/ 3009 h 10000"/>
                  <a:gd name="connsiteX1679" fmla="*/ 3604 w 10746"/>
                  <a:gd name="connsiteY1679" fmla="*/ 2983 h 10000"/>
                  <a:gd name="connsiteX1680" fmla="*/ 3645 w 10746"/>
                  <a:gd name="connsiteY1680" fmla="*/ 2932 h 10000"/>
                  <a:gd name="connsiteX1681" fmla="*/ 3650 w 10746"/>
                  <a:gd name="connsiteY1681" fmla="*/ 2872 h 10000"/>
                  <a:gd name="connsiteX1682" fmla="*/ 3659 w 10746"/>
                  <a:gd name="connsiteY1682" fmla="*/ 2855 h 10000"/>
                  <a:gd name="connsiteX1683" fmla="*/ 3659 w 10746"/>
                  <a:gd name="connsiteY1683" fmla="*/ 2821 h 10000"/>
                  <a:gd name="connsiteX1684" fmla="*/ 3631 w 10746"/>
                  <a:gd name="connsiteY1684" fmla="*/ 2795 h 10000"/>
                  <a:gd name="connsiteX1685" fmla="*/ 3567 w 10746"/>
                  <a:gd name="connsiteY1685" fmla="*/ 2821 h 10000"/>
                  <a:gd name="connsiteX1686" fmla="*/ 3544 w 10746"/>
                  <a:gd name="connsiteY1686" fmla="*/ 2795 h 10000"/>
                  <a:gd name="connsiteX1687" fmla="*/ 3530 w 10746"/>
                  <a:gd name="connsiteY1687" fmla="*/ 2769 h 10000"/>
                  <a:gd name="connsiteX1688" fmla="*/ 3530 w 10746"/>
                  <a:gd name="connsiteY1688" fmla="*/ 2786 h 10000"/>
                  <a:gd name="connsiteX1689" fmla="*/ 3498 w 10746"/>
                  <a:gd name="connsiteY1689" fmla="*/ 2692 h 10000"/>
                  <a:gd name="connsiteX1690" fmla="*/ 3498 w 10746"/>
                  <a:gd name="connsiteY1690" fmla="*/ 2667 h 10000"/>
                  <a:gd name="connsiteX1691" fmla="*/ 3442 w 10746"/>
                  <a:gd name="connsiteY1691" fmla="*/ 2607 h 10000"/>
                  <a:gd name="connsiteX1692" fmla="*/ 3433 w 10746"/>
                  <a:gd name="connsiteY1692" fmla="*/ 2581 h 10000"/>
                  <a:gd name="connsiteX1693" fmla="*/ 3396 w 10746"/>
                  <a:gd name="connsiteY1693" fmla="*/ 2556 h 10000"/>
                  <a:gd name="connsiteX1694" fmla="*/ 3318 w 10746"/>
                  <a:gd name="connsiteY1694" fmla="*/ 2556 h 10000"/>
                  <a:gd name="connsiteX1695" fmla="*/ 3304 w 10746"/>
                  <a:gd name="connsiteY1695" fmla="*/ 2607 h 10000"/>
                  <a:gd name="connsiteX1696" fmla="*/ 3276 w 10746"/>
                  <a:gd name="connsiteY1696" fmla="*/ 2632 h 10000"/>
                  <a:gd name="connsiteX1697" fmla="*/ 3272 w 10746"/>
                  <a:gd name="connsiteY1697" fmla="*/ 2667 h 10000"/>
                  <a:gd name="connsiteX1698" fmla="*/ 3304 w 10746"/>
                  <a:gd name="connsiteY1698" fmla="*/ 2667 h 10000"/>
                  <a:gd name="connsiteX1699" fmla="*/ 3323 w 10746"/>
                  <a:gd name="connsiteY1699" fmla="*/ 2692 h 10000"/>
                  <a:gd name="connsiteX1700" fmla="*/ 3318 w 10746"/>
                  <a:gd name="connsiteY1700" fmla="*/ 2735 h 10000"/>
                  <a:gd name="connsiteX1701" fmla="*/ 3304 w 10746"/>
                  <a:gd name="connsiteY1701" fmla="*/ 2761 h 10000"/>
                  <a:gd name="connsiteX1702" fmla="*/ 3276 w 10746"/>
                  <a:gd name="connsiteY1702" fmla="*/ 2769 h 10000"/>
                  <a:gd name="connsiteX1703" fmla="*/ 3263 w 10746"/>
                  <a:gd name="connsiteY1703" fmla="*/ 2795 h 10000"/>
                  <a:gd name="connsiteX1704" fmla="*/ 3235 w 10746"/>
                  <a:gd name="connsiteY1704" fmla="*/ 2803 h 10000"/>
                  <a:gd name="connsiteX1705" fmla="*/ 3235 w 10746"/>
                  <a:gd name="connsiteY1705" fmla="*/ 2786 h 10000"/>
                  <a:gd name="connsiteX1706" fmla="*/ 3212 w 10746"/>
                  <a:gd name="connsiteY1706" fmla="*/ 2709 h 10000"/>
                  <a:gd name="connsiteX1707" fmla="*/ 3198 w 10746"/>
                  <a:gd name="connsiteY1707" fmla="*/ 2709 h 10000"/>
                  <a:gd name="connsiteX1708" fmla="*/ 3184 w 10746"/>
                  <a:gd name="connsiteY1708" fmla="*/ 2735 h 10000"/>
                  <a:gd name="connsiteX1709" fmla="*/ 3189 w 10746"/>
                  <a:gd name="connsiteY1709" fmla="*/ 2761 h 10000"/>
                  <a:gd name="connsiteX1710" fmla="*/ 3203 w 10746"/>
                  <a:gd name="connsiteY1710" fmla="*/ 2855 h 10000"/>
                  <a:gd name="connsiteX1711" fmla="*/ 3212 w 10746"/>
                  <a:gd name="connsiteY1711" fmla="*/ 2872 h 10000"/>
                  <a:gd name="connsiteX1712" fmla="*/ 3235 w 10746"/>
                  <a:gd name="connsiteY1712" fmla="*/ 2906 h 10000"/>
                  <a:gd name="connsiteX1713" fmla="*/ 3258 w 10746"/>
                  <a:gd name="connsiteY1713" fmla="*/ 2915 h 10000"/>
                  <a:gd name="connsiteX1714" fmla="*/ 3272 w 10746"/>
                  <a:gd name="connsiteY1714" fmla="*/ 2957 h 10000"/>
                  <a:gd name="connsiteX1715" fmla="*/ 3276 w 10746"/>
                  <a:gd name="connsiteY1715" fmla="*/ 2957 h 10000"/>
                  <a:gd name="connsiteX1716" fmla="*/ 3286 w 10746"/>
                  <a:gd name="connsiteY1716" fmla="*/ 2966 h 10000"/>
                  <a:gd name="connsiteX1717" fmla="*/ 3300 w 10746"/>
                  <a:gd name="connsiteY1717" fmla="*/ 2957 h 10000"/>
                  <a:gd name="connsiteX1718" fmla="*/ 3309 w 10746"/>
                  <a:gd name="connsiteY1718" fmla="*/ 2932 h 10000"/>
                  <a:gd name="connsiteX1719" fmla="*/ 3304 w 10746"/>
                  <a:gd name="connsiteY1719" fmla="*/ 2966 h 10000"/>
                  <a:gd name="connsiteX1720" fmla="*/ 3309 w 10746"/>
                  <a:gd name="connsiteY1720" fmla="*/ 2983 h 10000"/>
                  <a:gd name="connsiteX1721" fmla="*/ 3323 w 10746"/>
                  <a:gd name="connsiteY1721" fmla="*/ 2966 h 10000"/>
                  <a:gd name="connsiteX1722" fmla="*/ 3323 w 10746"/>
                  <a:gd name="connsiteY1722" fmla="*/ 3043 h 10000"/>
                  <a:gd name="connsiteX1723" fmla="*/ 3346 w 10746"/>
                  <a:gd name="connsiteY1723" fmla="*/ 3068 h 10000"/>
                  <a:gd name="connsiteX1724" fmla="*/ 3346 w 10746"/>
                  <a:gd name="connsiteY1724" fmla="*/ 3094 h 10000"/>
                  <a:gd name="connsiteX1725" fmla="*/ 3323 w 10746"/>
                  <a:gd name="connsiteY1725" fmla="*/ 3094 h 10000"/>
                  <a:gd name="connsiteX1726" fmla="*/ 3309 w 10746"/>
                  <a:gd name="connsiteY1726" fmla="*/ 3077 h 10000"/>
                  <a:gd name="connsiteX1727" fmla="*/ 3304 w 10746"/>
                  <a:gd name="connsiteY1727" fmla="*/ 3051 h 10000"/>
                  <a:gd name="connsiteX1728" fmla="*/ 3300 w 10746"/>
                  <a:gd name="connsiteY1728" fmla="*/ 3043 h 10000"/>
                  <a:gd name="connsiteX1729" fmla="*/ 3286 w 10746"/>
                  <a:gd name="connsiteY1729" fmla="*/ 3017 h 10000"/>
                  <a:gd name="connsiteX1730" fmla="*/ 3152 w 10746"/>
                  <a:gd name="connsiteY1730" fmla="*/ 2966 h 10000"/>
                  <a:gd name="connsiteX1731" fmla="*/ 3129 w 10746"/>
                  <a:gd name="connsiteY1731" fmla="*/ 2915 h 10000"/>
                  <a:gd name="connsiteX1732" fmla="*/ 3129 w 10746"/>
                  <a:gd name="connsiteY1732" fmla="*/ 2906 h 10000"/>
                  <a:gd name="connsiteX1733" fmla="*/ 3152 w 10746"/>
                  <a:gd name="connsiteY1733" fmla="*/ 2906 h 10000"/>
                  <a:gd name="connsiteX1734" fmla="*/ 3152 w 10746"/>
                  <a:gd name="connsiteY1734" fmla="*/ 2846 h 10000"/>
                  <a:gd name="connsiteX1735" fmla="*/ 3138 w 10746"/>
                  <a:gd name="connsiteY1735" fmla="*/ 2795 h 10000"/>
                  <a:gd name="connsiteX1736" fmla="*/ 3138 w 10746"/>
                  <a:gd name="connsiteY1736" fmla="*/ 2769 h 10000"/>
                  <a:gd name="connsiteX1737" fmla="*/ 3143 w 10746"/>
                  <a:gd name="connsiteY1737" fmla="*/ 2718 h 10000"/>
                  <a:gd name="connsiteX1738" fmla="*/ 3129 w 10746"/>
                  <a:gd name="connsiteY1738" fmla="*/ 2692 h 10000"/>
                  <a:gd name="connsiteX1739" fmla="*/ 3143 w 10746"/>
                  <a:gd name="connsiteY1739" fmla="*/ 2667 h 10000"/>
                  <a:gd name="connsiteX1740" fmla="*/ 3157 w 10746"/>
                  <a:gd name="connsiteY1740" fmla="*/ 2581 h 10000"/>
                  <a:gd name="connsiteX1741" fmla="*/ 3143 w 10746"/>
                  <a:gd name="connsiteY1741" fmla="*/ 2496 h 10000"/>
                  <a:gd name="connsiteX1742" fmla="*/ 3157 w 10746"/>
                  <a:gd name="connsiteY1742" fmla="*/ 2487 h 10000"/>
                  <a:gd name="connsiteX1743" fmla="*/ 3143 w 10746"/>
                  <a:gd name="connsiteY1743" fmla="*/ 2444 h 10000"/>
                  <a:gd name="connsiteX1744" fmla="*/ 3143 w 10746"/>
                  <a:gd name="connsiteY1744" fmla="*/ 2419 h 10000"/>
                  <a:gd name="connsiteX1745" fmla="*/ 3143 w 10746"/>
                  <a:gd name="connsiteY1745" fmla="*/ 2410 h 10000"/>
                  <a:gd name="connsiteX1746" fmla="*/ 3124 w 10746"/>
                  <a:gd name="connsiteY1746" fmla="*/ 2376 h 10000"/>
                  <a:gd name="connsiteX1747" fmla="*/ 3115 w 10746"/>
                  <a:gd name="connsiteY1747" fmla="*/ 2350 h 10000"/>
                  <a:gd name="connsiteX1748" fmla="*/ 3101 w 10746"/>
                  <a:gd name="connsiteY1748" fmla="*/ 2359 h 10000"/>
                  <a:gd name="connsiteX1749" fmla="*/ 3115 w 10746"/>
                  <a:gd name="connsiteY1749" fmla="*/ 2581 h 10000"/>
                  <a:gd name="connsiteX1750" fmla="*/ 3111 w 10746"/>
                  <a:gd name="connsiteY1750" fmla="*/ 2624 h 10000"/>
                  <a:gd name="connsiteX1751" fmla="*/ 3009 w 10746"/>
                  <a:gd name="connsiteY1751" fmla="*/ 2761 h 10000"/>
                  <a:gd name="connsiteX1752" fmla="*/ 3009 w 10746"/>
                  <a:gd name="connsiteY1752" fmla="*/ 2803 h 10000"/>
                  <a:gd name="connsiteX1753" fmla="*/ 3005 w 10746"/>
                  <a:gd name="connsiteY1753" fmla="*/ 2829 h 10000"/>
                  <a:gd name="connsiteX1754" fmla="*/ 2982 w 10746"/>
                  <a:gd name="connsiteY1754" fmla="*/ 2872 h 10000"/>
                  <a:gd name="connsiteX1755" fmla="*/ 2982 w 10746"/>
                  <a:gd name="connsiteY1755" fmla="*/ 2880 h 10000"/>
                  <a:gd name="connsiteX1756" fmla="*/ 3037 w 10746"/>
                  <a:gd name="connsiteY1756" fmla="*/ 3034 h 10000"/>
                  <a:gd name="connsiteX1757" fmla="*/ 3041 w 10746"/>
                  <a:gd name="connsiteY1757" fmla="*/ 3103 h 10000"/>
                  <a:gd name="connsiteX1758" fmla="*/ 3069 w 10746"/>
                  <a:gd name="connsiteY1758" fmla="*/ 3188 h 10000"/>
                  <a:gd name="connsiteX1759" fmla="*/ 3055 w 10746"/>
                  <a:gd name="connsiteY1759" fmla="*/ 3325 h 10000"/>
                  <a:gd name="connsiteX1760" fmla="*/ 3037 w 10746"/>
                  <a:gd name="connsiteY1760" fmla="*/ 3368 h 10000"/>
                  <a:gd name="connsiteX1761" fmla="*/ 3037 w 10746"/>
                  <a:gd name="connsiteY1761" fmla="*/ 3444 h 10000"/>
                  <a:gd name="connsiteX1762" fmla="*/ 3028 w 10746"/>
                  <a:gd name="connsiteY1762" fmla="*/ 3453 h 10000"/>
                  <a:gd name="connsiteX1763" fmla="*/ 3023 w 10746"/>
                  <a:gd name="connsiteY1763" fmla="*/ 3530 h 10000"/>
                  <a:gd name="connsiteX1764" fmla="*/ 3051 w 10746"/>
                  <a:gd name="connsiteY1764" fmla="*/ 3624 h 10000"/>
                  <a:gd name="connsiteX1765" fmla="*/ 3037 w 10746"/>
                  <a:gd name="connsiteY1765" fmla="*/ 3718 h 10000"/>
                  <a:gd name="connsiteX1766" fmla="*/ 3041 w 10746"/>
                  <a:gd name="connsiteY1766" fmla="*/ 3752 h 10000"/>
                  <a:gd name="connsiteX1767" fmla="*/ 3055 w 10746"/>
                  <a:gd name="connsiteY1767" fmla="*/ 3761 h 10000"/>
                  <a:gd name="connsiteX1768" fmla="*/ 3078 w 10746"/>
                  <a:gd name="connsiteY1768" fmla="*/ 3752 h 10000"/>
                  <a:gd name="connsiteX1769" fmla="*/ 3092 w 10746"/>
                  <a:gd name="connsiteY1769" fmla="*/ 3752 h 10000"/>
                  <a:gd name="connsiteX1770" fmla="*/ 3129 w 10746"/>
                  <a:gd name="connsiteY1770" fmla="*/ 3761 h 10000"/>
                  <a:gd name="connsiteX1771" fmla="*/ 3129 w 10746"/>
                  <a:gd name="connsiteY1771" fmla="*/ 3735 h 10000"/>
                  <a:gd name="connsiteX1772" fmla="*/ 3157 w 10746"/>
                  <a:gd name="connsiteY1772" fmla="*/ 3718 h 10000"/>
                  <a:gd name="connsiteX1773" fmla="*/ 3184 w 10746"/>
                  <a:gd name="connsiteY1773" fmla="*/ 3718 h 10000"/>
                  <a:gd name="connsiteX1774" fmla="*/ 3290 w 10746"/>
                  <a:gd name="connsiteY1774" fmla="*/ 3838 h 10000"/>
                  <a:gd name="connsiteX1775" fmla="*/ 3300 w 10746"/>
                  <a:gd name="connsiteY1775" fmla="*/ 3846 h 10000"/>
                  <a:gd name="connsiteX1776" fmla="*/ 3300 w 10746"/>
                  <a:gd name="connsiteY1776" fmla="*/ 3915 h 10000"/>
                  <a:gd name="connsiteX1777" fmla="*/ 3318 w 10746"/>
                  <a:gd name="connsiteY1777" fmla="*/ 4000 h 10000"/>
                  <a:gd name="connsiteX1778" fmla="*/ 3323 w 10746"/>
                  <a:gd name="connsiteY1778" fmla="*/ 4000 h 10000"/>
                  <a:gd name="connsiteX1779" fmla="*/ 3323 w 10746"/>
                  <a:gd name="connsiteY1779" fmla="*/ 4034 h 10000"/>
                  <a:gd name="connsiteX1780" fmla="*/ 3318 w 10746"/>
                  <a:gd name="connsiteY1780" fmla="*/ 4051 h 10000"/>
                  <a:gd name="connsiteX1781" fmla="*/ 3300 w 10746"/>
                  <a:gd name="connsiteY1781" fmla="*/ 4051 h 10000"/>
                  <a:gd name="connsiteX1782" fmla="*/ 3290 w 10746"/>
                  <a:gd name="connsiteY1782" fmla="*/ 4077 h 10000"/>
                  <a:gd name="connsiteX1783" fmla="*/ 3286 w 10746"/>
                  <a:gd name="connsiteY1783" fmla="*/ 4103 h 10000"/>
                  <a:gd name="connsiteX1784" fmla="*/ 3286 w 10746"/>
                  <a:gd name="connsiteY1784" fmla="*/ 4197 h 10000"/>
                  <a:gd name="connsiteX1785" fmla="*/ 3290 w 10746"/>
                  <a:gd name="connsiteY1785" fmla="*/ 4214 h 10000"/>
                  <a:gd name="connsiteX1786" fmla="*/ 3304 w 10746"/>
                  <a:gd name="connsiteY1786" fmla="*/ 4214 h 10000"/>
                  <a:gd name="connsiteX1787" fmla="*/ 3323 w 10746"/>
                  <a:gd name="connsiteY1787" fmla="*/ 4239 h 10000"/>
                  <a:gd name="connsiteX1788" fmla="*/ 3350 w 10746"/>
                  <a:gd name="connsiteY1788" fmla="*/ 4222 h 10000"/>
                  <a:gd name="connsiteX1789" fmla="*/ 3369 w 10746"/>
                  <a:gd name="connsiteY1789" fmla="*/ 4256 h 10000"/>
                  <a:gd name="connsiteX1790" fmla="*/ 3369 w 10746"/>
                  <a:gd name="connsiteY1790" fmla="*/ 4256 h 10000"/>
                  <a:gd name="connsiteX1791" fmla="*/ 3336 w 10746"/>
                  <a:gd name="connsiteY1791" fmla="*/ 4274 h 10000"/>
                  <a:gd name="connsiteX1792" fmla="*/ 3323 w 10746"/>
                  <a:gd name="connsiteY1792" fmla="*/ 4274 h 10000"/>
                  <a:gd name="connsiteX1793" fmla="*/ 3290 w 10746"/>
                  <a:gd name="connsiteY1793" fmla="*/ 4274 h 10000"/>
                  <a:gd name="connsiteX1794" fmla="*/ 3286 w 10746"/>
                  <a:gd name="connsiteY1794" fmla="*/ 4239 h 10000"/>
                  <a:gd name="connsiteX1795" fmla="*/ 3263 w 10746"/>
                  <a:gd name="connsiteY1795" fmla="*/ 4214 h 10000"/>
                  <a:gd name="connsiteX1796" fmla="*/ 3258 w 10746"/>
                  <a:gd name="connsiteY1796" fmla="*/ 4188 h 10000"/>
                  <a:gd name="connsiteX1797" fmla="*/ 3263 w 10746"/>
                  <a:gd name="connsiteY1797" fmla="*/ 4171 h 10000"/>
                  <a:gd name="connsiteX1798" fmla="*/ 3263 w 10746"/>
                  <a:gd name="connsiteY1798" fmla="*/ 4103 h 10000"/>
                  <a:gd name="connsiteX1799" fmla="*/ 3276 w 10746"/>
                  <a:gd name="connsiteY1799" fmla="*/ 4060 h 10000"/>
                  <a:gd name="connsiteX1800" fmla="*/ 3272 w 10746"/>
                  <a:gd name="connsiteY1800" fmla="*/ 4051 h 10000"/>
                  <a:gd name="connsiteX1801" fmla="*/ 3263 w 10746"/>
                  <a:gd name="connsiteY1801" fmla="*/ 4051 h 10000"/>
                  <a:gd name="connsiteX1802" fmla="*/ 3263 w 10746"/>
                  <a:gd name="connsiteY1802" fmla="*/ 4034 h 10000"/>
                  <a:gd name="connsiteX1803" fmla="*/ 3263 w 10746"/>
                  <a:gd name="connsiteY1803" fmla="*/ 4000 h 10000"/>
                  <a:gd name="connsiteX1804" fmla="*/ 3272 w 10746"/>
                  <a:gd name="connsiteY1804" fmla="*/ 4000 h 10000"/>
                  <a:gd name="connsiteX1805" fmla="*/ 3272 w 10746"/>
                  <a:gd name="connsiteY1805" fmla="*/ 3974 h 10000"/>
                  <a:gd name="connsiteX1806" fmla="*/ 3272 w 10746"/>
                  <a:gd name="connsiteY1806" fmla="*/ 3966 h 10000"/>
                  <a:gd name="connsiteX1807" fmla="*/ 3272 w 10746"/>
                  <a:gd name="connsiteY1807" fmla="*/ 3949 h 10000"/>
                  <a:gd name="connsiteX1808" fmla="*/ 3258 w 10746"/>
                  <a:gd name="connsiteY1808" fmla="*/ 3923 h 10000"/>
                  <a:gd name="connsiteX1809" fmla="*/ 3249 w 10746"/>
                  <a:gd name="connsiteY1809" fmla="*/ 3915 h 10000"/>
                  <a:gd name="connsiteX1810" fmla="*/ 3244 w 10746"/>
                  <a:gd name="connsiteY1810" fmla="*/ 3897 h 10000"/>
                  <a:gd name="connsiteX1811" fmla="*/ 3230 w 10746"/>
                  <a:gd name="connsiteY1811" fmla="*/ 3889 h 10000"/>
                  <a:gd name="connsiteX1812" fmla="*/ 3230 w 10746"/>
                  <a:gd name="connsiteY1812" fmla="*/ 3863 h 10000"/>
                  <a:gd name="connsiteX1813" fmla="*/ 3230 w 10746"/>
                  <a:gd name="connsiteY1813" fmla="*/ 3838 h 10000"/>
                  <a:gd name="connsiteX1814" fmla="*/ 3226 w 10746"/>
                  <a:gd name="connsiteY1814" fmla="*/ 3803 h 10000"/>
                  <a:gd name="connsiteX1815" fmla="*/ 3138 w 10746"/>
                  <a:gd name="connsiteY1815" fmla="*/ 3838 h 10000"/>
                  <a:gd name="connsiteX1816" fmla="*/ 3078 w 10746"/>
                  <a:gd name="connsiteY1816" fmla="*/ 3889 h 10000"/>
                  <a:gd name="connsiteX1817" fmla="*/ 3078 w 10746"/>
                  <a:gd name="connsiteY1817" fmla="*/ 3940 h 10000"/>
                  <a:gd name="connsiteX1818" fmla="*/ 3069 w 10746"/>
                  <a:gd name="connsiteY1818" fmla="*/ 3983 h 10000"/>
                  <a:gd name="connsiteX1819" fmla="*/ 3069 w 10746"/>
                  <a:gd name="connsiteY1819" fmla="*/ 4009 h 10000"/>
                  <a:gd name="connsiteX1820" fmla="*/ 3078 w 10746"/>
                  <a:gd name="connsiteY1820" fmla="*/ 4026 h 10000"/>
                  <a:gd name="connsiteX1821" fmla="*/ 3083 w 10746"/>
                  <a:gd name="connsiteY1821" fmla="*/ 4034 h 10000"/>
                  <a:gd name="connsiteX1822" fmla="*/ 3092 w 10746"/>
                  <a:gd name="connsiteY1822" fmla="*/ 4060 h 10000"/>
                  <a:gd name="connsiteX1823" fmla="*/ 3092 w 10746"/>
                  <a:gd name="connsiteY1823" fmla="*/ 4077 h 10000"/>
                  <a:gd name="connsiteX1824" fmla="*/ 3097 w 10746"/>
                  <a:gd name="connsiteY1824" fmla="*/ 4103 h 10000"/>
                  <a:gd name="connsiteX1825" fmla="*/ 3101 w 10746"/>
                  <a:gd name="connsiteY1825" fmla="*/ 4162 h 10000"/>
                  <a:gd name="connsiteX1826" fmla="*/ 3097 w 10746"/>
                  <a:gd name="connsiteY1826" fmla="*/ 4222 h 10000"/>
                  <a:gd name="connsiteX1827" fmla="*/ 3041 w 10746"/>
                  <a:gd name="connsiteY1827" fmla="*/ 4325 h 10000"/>
                  <a:gd name="connsiteX1828" fmla="*/ 3037 w 10746"/>
                  <a:gd name="connsiteY1828" fmla="*/ 4419 h 10000"/>
                  <a:gd name="connsiteX1829" fmla="*/ 3018 w 10746"/>
                  <a:gd name="connsiteY1829" fmla="*/ 4470 h 10000"/>
                  <a:gd name="connsiteX1830" fmla="*/ 2991 w 10746"/>
                  <a:gd name="connsiteY1830" fmla="*/ 4513 h 10000"/>
                  <a:gd name="connsiteX1831" fmla="*/ 2977 w 10746"/>
                  <a:gd name="connsiteY1831" fmla="*/ 4530 h 10000"/>
                  <a:gd name="connsiteX1832" fmla="*/ 2945 w 10746"/>
                  <a:gd name="connsiteY1832" fmla="*/ 4556 h 10000"/>
                  <a:gd name="connsiteX1833" fmla="*/ 2935 w 10746"/>
                  <a:gd name="connsiteY1833" fmla="*/ 4581 h 10000"/>
                  <a:gd name="connsiteX1834" fmla="*/ 2949 w 10746"/>
                  <a:gd name="connsiteY1834" fmla="*/ 4624 h 10000"/>
                  <a:gd name="connsiteX1835" fmla="*/ 2945 w 10746"/>
                  <a:gd name="connsiteY1835" fmla="*/ 4658 h 10000"/>
                  <a:gd name="connsiteX1836" fmla="*/ 2922 w 10746"/>
                  <a:gd name="connsiteY1836" fmla="*/ 4667 h 10000"/>
                  <a:gd name="connsiteX1837" fmla="*/ 2876 w 10746"/>
                  <a:gd name="connsiteY1837" fmla="*/ 4632 h 10000"/>
                  <a:gd name="connsiteX1838" fmla="*/ 2857 w 10746"/>
                  <a:gd name="connsiteY1838" fmla="*/ 4632 h 10000"/>
                  <a:gd name="connsiteX1839" fmla="*/ 2820 w 10746"/>
                  <a:gd name="connsiteY1839" fmla="*/ 4641 h 10000"/>
                  <a:gd name="connsiteX1840" fmla="*/ 2797 w 10746"/>
                  <a:gd name="connsiteY1840" fmla="*/ 4632 h 10000"/>
                  <a:gd name="connsiteX1841" fmla="*/ 2788 w 10746"/>
                  <a:gd name="connsiteY1841" fmla="*/ 4624 h 10000"/>
                  <a:gd name="connsiteX1842" fmla="*/ 2788 w 10746"/>
                  <a:gd name="connsiteY1842" fmla="*/ 4598 h 10000"/>
                  <a:gd name="connsiteX1843" fmla="*/ 2797 w 10746"/>
                  <a:gd name="connsiteY1843" fmla="*/ 4581 h 10000"/>
                  <a:gd name="connsiteX1844" fmla="*/ 2788 w 10746"/>
                  <a:gd name="connsiteY1844" fmla="*/ 4530 h 10000"/>
                  <a:gd name="connsiteX1845" fmla="*/ 2774 w 10746"/>
                  <a:gd name="connsiteY1845" fmla="*/ 4530 h 10000"/>
                  <a:gd name="connsiteX1846" fmla="*/ 2770 w 10746"/>
                  <a:gd name="connsiteY1846" fmla="*/ 4513 h 10000"/>
                  <a:gd name="connsiteX1847" fmla="*/ 2774 w 10746"/>
                  <a:gd name="connsiteY1847" fmla="*/ 4513 h 10000"/>
                  <a:gd name="connsiteX1848" fmla="*/ 2788 w 10746"/>
                  <a:gd name="connsiteY1848" fmla="*/ 4496 h 10000"/>
                  <a:gd name="connsiteX1849" fmla="*/ 2802 w 10746"/>
                  <a:gd name="connsiteY1849" fmla="*/ 4513 h 10000"/>
                  <a:gd name="connsiteX1850" fmla="*/ 2811 w 10746"/>
                  <a:gd name="connsiteY1850" fmla="*/ 4530 h 10000"/>
                  <a:gd name="connsiteX1851" fmla="*/ 2820 w 10746"/>
                  <a:gd name="connsiteY1851" fmla="*/ 4521 h 10000"/>
                  <a:gd name="connsiteX1852" fmla="*/ 2829 w 10746"/>
                  <a:gd name="connsiteY1852" fmla="*/ 4513 h 10000"/>
                  <a:gd name="connsiteX1853" fmla="*/ 2843 w 10746"/>
                  <a:gd name="connsiteY1853" fmla="*/ 4513 h 10000"/>
                  <a:gd name="connsiteX1854" fmla="*/ 2848 w 10746"/>
                  <a:gd name="connsiteY1854" fmla="*/ 4470 h 10000"/>
                  <a:gd name="connsiteX1855" fmla="*/ 2862 w 10746"/>
                  <a:gd name="connsiteY1855" fmla="*/ 4487 h 10000"/>
                  <a:gd name="connsiteX1856" fmla="*/ 2876 w 10746"/>
                  <a:gd name="connsiteY1856" fmla="*/ 4470 h 10000"/>
                  <a:gd name="connsiteX1857" fmla="*/ 2880 w 10746"/>
                  <a:gd name="connsiteY1857" fmla="*/ 4462 h 10000"/>
                  <a:gd name="connsiteX1858" fmla="*/ 2889 w 10746"/>
                  <a:gd name="connsiteY1858" fmla="*/ 4444 h 10000"/>
                  <a:gd name="connsiteX1859" fmla="*/ 2894 w 10746"/>
                  <a:gd name="connsiteY1859" fmla="*/ 4462 h 10000"/>
                  <a:gd name="connsiteX1860" fmla="*/ 2917 w 10746"/>
                  <a:gd name="connsiteY1860" fmla="*/ 4444 h 10000"/>
                  <a:gd name="connsiteX1861" fmla="*/ 2922 w 10746"/>
                  <a:gd name="connsiteY1861" fmla="*/ 4436 h 10000"/>
                  <a:gd name="connsiteX1862" fmla="*/ 2917 w 10746"/>
                  <a:gd name="connsiteY1862" fmla="*/ 4410 h 10000"/>
                  <a:gd name="connsiteX1863" fmla="*/ 2894 w 10746"/>
                  <a:gd name="connsiteY1863" fmla="*/ 4410 h 10000"/>
                  <a:gd name="connsiteX1864" fmla="*/ 2889 w 10746"/>
                  <a:gd name="connsiteY1864" fmla="*/ 4419 h 10000"/>
                  <a:gd name="connsiteX1865" fmla="*/ 2876 w 10746"/>
                  <a:gd name="connsiteY1865" fmla="*/ 4410 h 10000"/>
                  <a:gd name="connsiteX1866" fmla="*/ 2880 w 10746"/>
                  <a:gd name="connsiteY1866" fmla="*/ 4376 h 10000"/>
                  <a:gd name="connsiteX1867" fmla="*/ 2903 w 10746"/>
                  <a:gd name="connsiteY1867" fmla="*/ 4393 h 10000"/>
                  <a:gd name="connsiteX1868" fmla="*/ 2931 w 10746"/>
                  <a:gd name="connsiteY1868" fmla="*/ 4393 h 10000"/>
                  <a:gd name="connsiteX1869" fmla="*/ 2931 w 10746"/>
                  <a:gd name="connsiteY1869" fmla="*/ 4385 h 10000"/>
                  <a:gd name="connsiteX1870" fmla="*/ 2931 w 10746"/>
                  <a:gd name="connsiteY1870" fmla="*/ 4350 h 10000"/>
                  <a:gd name="connsiteX1871" fmla="*/ 2945 w 10746"/>
                  <a:gd name="connsiteY1871" fmla="*/ 4350 h 10000"/>
                  <a:gd name="connsiteX1872" fmla="*/ 2949 w 10746"/>
                  <a:gd name="connsiteY1872" fmla="*/ 4325 h 10000"/>
                  <a:gd name="connsiteX1873" fmla="*/ 2963 w 10746"/>
                  <a:gd name="connsiteY1873" fmla="*/ 4256 h 10000"/>
                  <a:gd name="connsiteX1874" fmla="*/ 2982 w 10746"/>
                  <a:gd name="connsiteY1874" fmla="*/ 4239 h 10000"/>
                  <a:gd name="connsiteX1875" fmla="*/ 2991 w 10746"/>
                  <a:gd name="connsiteY1875" fmla="*/ 4214 h 10000"/>
                  <a:gd name="connsiteX1876" fmla="*/ 2991 w 10746"/>
                  <a:gd name="connsiteY1876" fmla="*/ 4197 h 10000"/>
                  <a:gd name="connsiteX1877" fmla="*/ 2995 w 10746"/>
                  <a:gd name="connsiteY1877" fmla="*/ 4171 h 10000"/>
                  <a:gd name="connsiteX1878" fmla="*/ 2991 w 10746"/>
                  <a:gd name="connsiteY1878" fmla="*/ 4077 h 10000"/>
                  <a:gd name="connsiteX1879" fmla="*/ 2995 w 10746"/>
                  <a:gd name="connsiteY1879" fmla="*/ 4034 h 10000"/>
                  <a:gd name="connsiteX1880" fmla="*/ 3018 w 10746"/>
                  <a:gd name="connsiteY1880" fmla="*/ 3983 h 10000"/>
                  <a:gd name="connsiteX1881" fmla="*/ 3018 w 10746"/>
                  <a:gd name="connsiteY1881" fmla="*/ 3915 h 10000"/>
                  <a:gd name="connsiteX1882" fmla="*/ 2949 w 10746"/>
                  <a:gd name="connsiteY1882" fmla="*/ 3778 h 10000"/>
                  <a:gd name="connsiteX1883" fmla="*/ 2954 w 10746"/>
                  <a:gd name="connsiteY1883" fmla="*/ 3675 h 10000"/>
                  <a:gd name="connsiteX1884" fmla="*/ 2954 w 10746"/>
                  <a:gd name="connsiteY1884" fmla="*/ 3650 h 10000"/>
                  <a:gd name="connsiteX1885" fmla="*/ 2963 w 10746"/>
                  <a:gd name="connsiteY1885" fmla="*/ 3624 h 10000"/>
                  <a:gd name="connsiteX1886" fmla="*/ 2954 w 10746"/>
                  <a:gd name="connsiteY1886" fmla="*/ 3564 h 10000"/>
                  <a:gd name="connsiteX1887" fmla="*/ 2963 w 10746"/>
                  <a:gd name="connsiteY1887" fmla="*/ 3538 h 10000"/>
                  <a:gd name="connsiteX1888" fmla="*/ 2963 w 10746"/>
                  <a:gd name="connsiteY1888" fmla="*/ 3487 h 10000"/>
                  <a:gd name="connsiteX1889" fmla="*/ 2963 w 10746"/>
                  <a:gd name="connsiteY1889" fmla="*/ 3479 h 10000"/>
                  <a:gd name="connsiteX1890" fmla="*/ 2963 w 10746"/>
                  <a:gd name="connsiteY1890" fmla="*/ 3462 h 10000"/>
                  <a:gd name="connsiteX1891" fmla="*/ 2954 w 10746"/>
                  <a:gd name="connsiteY1891" fmla="*/ 3453 h 10000"/>
                  <a:gd name="connsiteX1892" fmla="*/ 2954 w 10746"/>
                  <a:gd name="connsiteY1892" fmla="*/ 3444 h 10000"/>
                  <a:gd name="connsiteX1893" fmla="*/ 2954 w 10746"/>
                  <a:gd name="connsiteY1893" fmla="*/ 3402 h 10000"/>
                  <a:gd name="connsiteX1894" fmla="*/ 2954 w 10746"/>
                  <a:gd name="connsiteY1894" fmla="*/ 3393 h 10000"/>
                  <a:gd name="connsiteX1895" fmla="*/ 2949 w 10746"/>
                  <a:gd name="connsiteY1895" fmla="*/ 3376 h 10000"/>
                  <a:gd name="connsiteX1896" fmla="*/ 2949 w 10746"/>
                  <a:gd name="connsiteY1896" fmla="*/ 3342 h 10000"/>
                  <a:gd name="connsiteX1897" fmla="*/ 2949 w 10746"/>
                  <a:gd name="connsiteY1897" fmla="*/ 3316 h 10000"/>
                  <a:gd name="connsiteX1898" fmla="*/ 2968 w 10746"/>
                  <a:gd name="connsiteY1898" fmla="*/ 3291 h 10000"/>
                  <a:gd name="connsiteX1899" fmla="*/ 2963 w 10746"/>
                  <a:gd name="connsiteY1899" fmla="*/ 3205 h 10000"/>
                  <a:gd name="connsiteX1900" fmla="*/ 2968 w 10746"/>
                  <a:gd name="connsiteY1900" fmla="*/ 3171 h 10000"/>
                  <a:gd name="connsiteX1901" fmla="*/ 2968 w 10746"/>
                  <a:gd name="connsiteY1901" fmla="*/ 3128 h 10000"/>
                  <a:gd name="connsiteX1902" fmla="*/ 2954 w 10746"/>
                  <a:gd name="connsiteY1902" fmla="*/ 3051 h 10000"/>
                  <a:gd name="connsiteX1903" fmla="*/ 2954 w 10746"/>
                  <a:gd name="connsiteY1903" fmla="*/ 3009 h 10000"/>
                  <a:gd name="connsiteX1904" fmla="*/ 2922 w 10746"/>
                  <a:gd name="connsiteY1904" fmla="*/ 2940 h 10000"/>
                  <a:gd name="connsiteX1905" fmla="*/ 2903 w 10746"/>
                  <a:gd name="connsiteY1905" fmla="*/ 2880 h 10000"/>
                  <a:gd name="connsiteX1906" fmla="*/ 2903 w 10746"/>
                  <a:gd name="connsiteY1906" fmla="*/ 2855 h 10000"/>
                  <a:gd name="connsiteX1907" fmla="*/ 2908 w 10746"/>
                  <a:gd name="connsiteY1907" fmla="*/ 2846 h 10000"/>
                  <a:gd name="connsiteX1908" fmla="*/ 2931 w 10746"/>
                  <a:gd name="connsiteY1908" fmla="*/ 2821 h 10000"/>
                  <a:gd name="connsiteX1909" fmla="*/ 2931 w 10746"/>
                  <a:gd name="connsiteY1909" fmla="*/ 2803 h 10000"/>
                  <a:gd name="connsiteX1910" fmla="*/ 2935 w 10746"/>
                  <a:gd name="connsiteY1910" fmla="*/ 2786 h 10000"/>
                  <a:gd name="connsiteX1911" fmla="*/ 2935 w 10746"/>
                  <a:gd name="connsiteY1911" fmla="*/ 2744 h 10000"/>
                  <a:gd name="connsiteX1912" fmla="*/ 2963 w 10746"/>
                  <a:gd name="connsiteY1912" fmla="*/ 2607 h 10000"/>
                  <a:gd name="connsiteX1913" fmla="*/ 2963 w 10746"/>
                  <a:gd name="connsiteY1913" fmla="*/ 2419 h 10000"/>
                  <a:gd name="connsiteX1914" fmla="*/ 2954 w 10746"/>
                  <a:gd name="connsiteY1914" fmla="*/ 2410 h 10000"/>
                  <a:gd name="connsiteX1915" fmla="*/ 2963 w 10746"/>
                  <a:gd name="connsiteY1915" fmla="*/ 2393 h 10000"/>
                  <a:gd name="connsiteX1916" fmla="*/ 2908 w 10746"/>
                  <a:gd name="connsiteY1916" fmla="*/ 2359 h 10000"/>
                  <a:gd name="connsiteX1917" fmla="*/ 2889 w 10746"/>
                  <a:gd name="connsiteY1917" fmla="*/ 2325 h 10000"/>
                  <a:gd name="connsiteX1918" fmla="*/ 2788 w 10746"/>
                  <a:gd name="connsiteY1918" fmla="*/ 2333 h 10000"/>
                  <a:gd name="connsiteX1919" fmla="*/ 2774 w 10746"/>
                  <a:gd name="connsiteY1919" fmla="*/ 2325 h 10000"/>
                  <a:gd name="connsiteX1920" fmla="*/ 2783 w 10746"/>
                  <a:gd name="connsiteY1920" fmla="*/ 2308 h 10000"/>
                  <a:gd name="connsiteX1921" fmla="*/ 2747 w 10746"/>
                  <a:gd name="connsiteY1921" fmla="*/ 2308 h 10000"/>
                  <a:gd name="connsiteX1922" fmla="*/ 2742 w 10746"/>
                  <a:gd name="connsiteY1922" fmla="*/ 2333 h 10000"/>
                  <a:gd name="connsiteX1923" fmla="*/ 2682 w 10746"/>
                  <a:gd name="connsiteY1923" fmla="*/ 2769 h 10000"/>
                  <a:gd name="connsiteX1924" fmla="*/ 2613 w 10746"/>
                  <a:gd name="connsiteY1924" fmla="*/ 2940 h 10000"/>
                  <a:gd name="connsiteX1925" fmla="*/ 2581 w 10746"/>
                  <a:gd name="connsiteY1925" fmla="*/ 2966 h 10000"/>
                  <a:gd name="connsiteX1926" fmla="*/ 2576 w 10746"/>
                  <a:gd name="connsiteY1926" fmla="*/ 3051 h 10000"/>
                  <a:gd name="connsiteX1927" fmla="*/ 2581 w 10746"/>
                  <a:gd name="connsiteY1927" fmla="*/ 3051 h 10000"/>
                  <a:gd name="connsiteX1928" fmla="*/ 2594 w 10746"/>
                  <a:gd name="connsiteY1928" fmla="*/ 3017 h 10000"/>
                  <a:gd name="connsiteX1929" fmla="*/ 2594 w 10746"/>
                  <a:gd name="connsiteY1929" fmla="*/ 3034 h 10000"/>
                  <a:gd name="connsiteX1930" fmla="*/ 2594 w 10746"/>
                  <a:gd name="connsiteY1930" fmla="*/ 3051 h 10000"/>
                  <a:gd name="connsiteX1931" fmla="*/ 2590 w 10746"/>
                  <a:gd name="connsiteY1931" fmla="*/ 3077 h 10000"/>
                  <a:gd name="connsiteX1932" fmla="*/ 2567 w 10746"/>
                  <a:gd name="connsiteY1932" fmla="*/ 3103 h 10000"/>
                  <a:gd name="connsiteX1933" fmla="*/ 2562 w 10746"/>
                  <a:gd name="connsiteY1933" fmla="*/ 3145 h 10000"/>
                  <a:gd name="connsiteX1934" fmla="*/ 2567 w 10746"/>
                  <a:gd name="connsiteY1934" fmla="*/ 3179 h 10000"/>
                  <a:gd name="connsiteX1935" fmla="*/ 2590 w 10746"/>
                  <a:gd name="connsiteY1935" fmla="*/ 3171 h 10000"/>
                  <a:gd name="connsiteX1936" fmla="*/ 2594 w 10746"/>
                  <a:gd name="connsiteY1936" fmla="*/ 3145 h 10000"/>
                  <a:gd name="connsiteX1937" fmla="*/ 2613 w 10746"/>
                  <a:gd name="connsiteY1937" fmla="*/ 3154 h 10000"/>
                  <a:gd name="connsiteX1938" fmla="*/ 2622 w 10746"/>
                  <a:gd name="connsiteY1938" fmla="*/ 3179 h 10000"/>
                  <a:gd name="connsiteX1939" fmla="*/ 2613 w 10746"/>
                  <a:gd name="connsiteY1939" fmla="*/ 3214 h 10000"/>
                  <a:gd name="connsiteX1940" fmla="*/ 2613 w 10746"/>
                  <a:gd name="connsiteY1940" fmla="*/ 3308 h 10000"/>
                  <a:gd name="connsiteX1941" fmla="*/ 2608 w 10746"/>
                  <a:gd name="connsiteY1941" fmla="*/ 3325 h 10000"/>
                  <a:gd name="connsiteX1942" fmla="*/ 2608 w 10746"/>
                  <a:gd name="connsiteY1942" fmla="*/ 3376 h 10000"/>
                  <a:gd name="connsiteX1943" fmla="*/ 2613 w 10746"/>
                  <a:gd name="connsiteY1943" fmla="*/ 3419 h 10000"/>
                  <a:gd name="connsiteX1944" fmla="*/ 2608 w 10746"/>
                  <a:gd name="connsiteY1944" fmla="*/ 3444 h 10000"/>
                  <a:gd name="connsiteX1945" fmla="*/ 2594 w 10746"/>
                  <a:gd name="connsiteY1945" fmla="*/ 3444 h 10000"/>
                  <a:gd name="connsiteX1946" fmla="*/ 2590 w 10746"/>
                  <a:gd name="connsiteY1946" fmla="*/ 3427 h 10000"/>
                  <a:gd name="connsiteX1947" fmla="*/ 2581 w 10746"/>
                  <a:gd name="connsiteY1947" fmla="*/ 3564 h 10000"/>
                  <a:gd name="connsiteX1948" fmla="*/ 2594 w 10746"/>
                  <a:gd name="connsiteY1948" fmla="*/ 3598 h 10000"/>
                  <a:gd name="connsiteX1949" fmla="*/ 2594 w 10746"/>
                  <a:gd name="connsiteY1949" fmla="*/ 3581 h 10000"/>
                  <a:gd name="connsiteX1950" fmla="*/ 2608 w 10746"/>
                  <a:gd name="connsiteY1950" fmla="*/ 3556 h 10000"/>
                  <a:gd name="connsiteX1951" fmla="*/ 2650 w 10746"/>
                  <a:gd name="connsiteY1951" fmla="*/ 3615 h 10000"/>
                  <a:gd name="connsiteX1952" fmla="*/ 2664 w 10746"/>
                  <a:gd name="connsiteY1952" fmla="*/ 3615 h 10000"/>
                  <a:gd name="connsiteX1953" fmla="*/ 2668 w 10746"/>
                  <a:gd name="connsiteY1953" fmla="*/ 3615 h 10000"/>
                  <a:gd name="connsiteX1954" fmla="*/ 2664 w 10746"/>
                  <a:gd name="connsiteY1954" fmla="*/ 3667 h 10000"/>
                  <a:gd name="connsiteX1955" fmla="*/ 2687 w 10746"/>
                  <a:gd name="connsiteY1955" fmla="*/ 3786 h 10000"/>
                  <a:gd name="connsiteX1956" fmla="*/ 2710 w 10746"/>
                  <a:gd name="connsiteY1956" fmla="*/ 3812 h 10000"/>
                  <a:gd name="connsiteX1957" fmla="*/ 2724 w 10746"/>
                  <a:gd name="connsiteY1957" fmla="*/ 3812 h 10000"/>
                  <a:gd name="connsiteX1958" fmla="*/ 2724 w 10746"/>
                  <a:gd name="connsiteY1958" fmla="*/ 3829 h 10000"/>
                  <a:gd name="connsiteX1959" fmla="*/ 2737 w 10746"/>
                  <a:gd name="connsiteY1959" fmla="*/ 3838 h 10000"/>
                  <a:gd name="connsiteX1960" fmla="*/ 2714 w 10746"/>
                  <a:gd name="connsiteY1960" fmla="*/ 3872 h 10000"/>
                  <a:gd name="connsiteX1961" fmla="*/ 2696 w 10746"/>
                  <a:gd name="connsiteY1961" fmla="*/ 4026 h 10000"/>
                  <a:gd name="connsiteX1962" fmla="*/ 2673 w 10746"/>
                  <a:gd name="connsiteY1962" fmla="*/ 4051 h 10000"/>
                  <a:gd name="connsiteX1963" fmla="*/ 2668 w 10746"/>
                  <a:gd name="connsiteY1963" fmla="*/ 4034 h 10000"/>
                  <a:gd name="connsiteX1964" fmla="*/ 2673 w 10746"/>
                  <a:gd name="connsiteY1964" fmla="*/ 4000 h 10000"/>
                  <a:gd name="connsiteX1965" fmla="*/ 2664 w 10746"/>
                  <a:gd name="connsiteY1965" fmla="*/ 3974 h 10000"/>
                  <a:gd name="connsiteX1966" fmla="*/ 2636 w 10746"/>
                  <a:gd name="connsiteY1966" fmla="*/ 3949 h 10000"/>
                  <a:gd name="connsiteX1967" fmla="*/ 2581 w 10746"/>
                  <a:gd name="connsiteY1967" fmla="*/ 3838 h 10000"/>
                  <a:gd name="connsiteX1968" fmla="*/ 2562 w 10746"/>
                  <a:gd name="connsiteY1968" fmla="*/ 3829 h 10000"/>
                  <a:gd name="connsiteX1969" fmla="*/ 2535 w 10746"/>
                  <a:gd name="connsiteY1969" fmla="*/ 3778 h 10000"/>
                  <a:gd name="connsiteX1970" fmla="*/ 2502 w 10746"/>
                  <a:gd name="connsiteY1970" fmla="*/ 3761 h 10000"/>
                  <a:gd name="connsiteX1971" fmla="*/ 2502 w 10746"/>
                  <a:gd name="connsiteY1971" fmla="*/ 3735 h 10000"/>
                  <a:gd name="connsiteX1972" fmla="*/ 2516 w 10746"/>
                  <a:gd name="connsiteY1972" fmla="*/ 3735 h 10000"/>
                  <a:gd name="connsiteX1973" fmla="*/ 2507 w 10746"/>
                  <a:gd name="connsiteY1973" fmla="*/ 3726 h 10000"/>
                  <a:gd name="connsiteX1974" fmla="*/ 2488 w 10746"/>
                  <a:gd name="connsiteY1974" fmla="*/ 3726 h 10000"/>
                  <a:gd name="connsiteX1975" fmla="*/ 2461 w 10746"/>
                  <a:gd name="connsiteY1975" fmla="*/ 3692 h 10000"/>
                  <a:gd name="connsiteX1976" fmla="*/ 2442 w 10746"/>
                  <a:gd name="connsiteY1976" fmla="*/ 3675 h 10000"/>
                  <a:gd name="connsiteX1977" fmla="*/ 2406 w 10746"/>
                  <a:gd name="connsiteY1977" fmla="*/ 3598 h 10000"/>
                  <a:gd name="connsiteX1978" fmla="*/ 2346 w 10746"/>
                  <a:gd name="connsiteY1978" fmla="*/ 3564 h 10000"/>
                  <a:gd name="connsiteX1979" fmla="*/ 2341 w 10746"/>
                  <a:gd name="connsiteY1979" fmla="*/ 3564 h 10000"/>
                  <a:gd name="connsiteX1980" fmla="*/ 2313 w 10746"/>
                  <a:gd name="connsiteY1980" fmla="*/ 3530 h 10000"/>
                  <a:gd name="connsiteX1981" fmla="*/ 2235 w 10746"/>
                  <a:gd name="connsiteY1981" fmla="*/ 3530 h 10000"/>
                  <a:gd name="connsiteX1982" fmla="*/ 2226 w 10746"/>
                  <a:gd name="connsiteY1982" fmla="*/ 3513 h 10000"/>
                  <a:gd name="connsiteX1983" fmla="*/ 2207 w 10746"/>
                  <a:gd name="connsiteY1983" fmla="*/ 3504 h 10000"/>
                  <a:gd name="connsiteX1984" fmla="*/ 2194 w 10746"/>
                  <a:gd name="connsiteY1984" fmla="*/ 3504 h 10000"/>
                  <a:gd name="connsiteX1985" fmla="*/ 2189 w 10746"/>
                  <a:gd name="connsiteY1985" fmla="*/ 3504 h 10000"/>
                  <a:gd name="connsiteX1986" fmla="*/ 2189 w 10746"/>
                  <a:gd name="connsiteY1986" fmla="*/ 3530 h 10000"/>
                  <a:gd name="connsiteX1987" fmla="*/ 2180 w 10746"/>
                  <a:gd name="connsiteY1987" fmla="*/ 3538 h 10000"/>
                  <a:gd name="connsiteX1988" fmla="*/ 2152 w 10746"/>
                  <a:gd name="connsiteY1988" fmla="*/ 3581 h 10000"/>
                  <a:gd name="connsiteX1989" fmla="*/ 2161 w 10746"/>
                  <a:gd name="connsiteY1989" fmla="*/ 3598 h 10000"/>
                  <a:gd name="connsiteX1990" fmla="*/ 2194 w 10746"/>
                  <a:gd name="connsiteY1990" fmla="*/ 3752 h 10000"/>
                  <a:gd name="connsiteX1991" fmla="*/ 2194 w 10746"/>
                  <a:gd name="connsiteY1991" fmla="*/ 3735 h 10000"/>
                  <a:gd name="connsiteX1992" fmla="*/ 2198 w 10746"/>
                  <a:gd name="connsiteY1992" fmla="*/ 3735 h 10000"/>
                  <a:gd name="connsiteX1993" fmla="*/ 2189 w 10746"/>
                  <a:gd name="connsiteY1993" fmla="*/ 3838 h 10000"/>
                  <a:gd name="connsiteX1994" fmla="*/ 2166 w 10746"/>
                  <a:gd name="connsiteY1994" fmla="*/ 3889 h 10000"/>
                  <a:gd name="connsiteX1995" fmla="*/ 2124 w 10746"/>
                  <a:gd name="connsiteY1995" fmla="*/ 3889 h 10000"/>
                  <a:gd name="connsiteX1996" fmla="*/ 2124 w 10746"/>
                  <a:gd name="connsiteY1996" fmla="*/ 3923 h 10000"/>
                  <a:gd name="connsiteX1997" fmla="*/ 2134 w 10746"/>
                  <a:gd name="connsiteY1997" fmla="*/ 3940 h 10000"/>
                  <a:gd name="connsiteX1998" fmla="*/ 2134 w 10746"/>
                  <a:gd name="connsiteY1998" fmla="*/ 3966 h 10000"/>
                  <a:gd name="connsiteX1999" fmla="*/ 2120 w 10746"/>
                  <a:gd name="connsiteY1999" fmla="*/ 4000 h 10000"/>
                  <a:gd name="connsiteX2000" fmla="*/ 2106 w 10746"/>
                  <a:gd name="connsiteY2000" fmla="*/ 4009 h 10000"/>
                  <a:gd name="connsiteX2001" fmla="*/ 2088 w 10746"/>
                  <a:gd name="connsiteY2001" fmla="*/ 4000 h 10000"/>
                  <a:gd name="connsiteX2002" fmla="*/ 2074 w 10746"/>
                  <a:gd name="connsiteY2002" fmla="*/ 3974 h 10000"/>
                  <a:gd name="connsiteX2003" fmla="*/ 2074 w 10746"/>
                  <a:gd name="connsiteY2003" fmla="*/ 3940 h 10000"/>
                  <a:gd name="connsiteX2004" fmla="*/ 2078 w 10746"/>
                  <a:gd name="connsiteY2004" fmla="*/ 3915 h 10000"/>
                  <a:gd name="connsiteX2005" fmla="*/ 2088 w 10746"/>
                  <a:gd name="connsiteY2005" fmla="*/ 3889 h 10000"/>
                  <a:gd name="connsiteX2006" fmla="*/ 2101 w 10746"/>
                  <a:gd name="connsiteY2006" fmla="*/ 3872 h 10000"/>
                  <a:gd name="connsiteX2007" fmla="*/ 2074 w 10746"/>
                  <a:gd name="connsiteY2007" fmla="*/ 3812 h 10000"/>
                  <a:gd name="connsiteX2008" fmla="*/ 2074 w 10746"/>
                  <a:gd name="connsiteY2008" fmla="*/ 3786 h 10000"/>
                  <a:gd name="connsiteX2009" fmla="*/ 2060 w 10746"/>
                  <a:gd name="connsiteY2009" fmla="*/ 3786 h 10000"/>
                  <a:gd name="connsiteX2010" fmla="*/ 2014 w 10746"/>
                  <a:gd name="connsiteY2010" fmla="*/ 3829 h 10000"/>
                  <a:gd name="connsiteX2011" fmla="*/ 2000 w 10746"/>
                  <a:gd name="connsiteY2011" fmla="*/ 3863 h 10000"/>
                  <a:gd name="connsiteX2012" fmla="*/ 1986 w 10746"/>
                  <a:gd name="connsiteY2012" fmla="*/ 3872 h 10000"/>
                  <a:gd name="connsiteX2013" fmla="*/ 1959 w 10746"/>
                  <a:gd name="connsiteY2013" fmla="*/ 3940 h 10000"/>
                  <a:gd name="connsiteX2014" fmla="*/ 1945 w 10746"/>
                  <a:gd name="connsiteY2014" fmla="*/ 3949 h 10000"/>
                  <a:gd name="connsiteX2015" fmla="*/ 1940 w 10746"/>
                  <a:gd name="connsiteY2015" fmla="*/ 3923 h 10000"/>
                  <a:gd name="connsiteX2016" fmla="*/ 1917 w 10746"/>
                  <a:gd name="connsiteY2016" fmla="*/ 3915 h 10000"/>
                  <a:gd name="connsiteX2017" fmla="*/ 1899 w 10746"/>
                  <a:gd name="connsiteY2017" fmla="*/ 3923 h 10000"/>
                  <a:gd name="connsiteX2018" fmla="*/ 1880 w 10746"/>
                  <a:gd name="connsiteY2018" fmla="*/ 3915 h 10000"/>
                  <a:gd name="connsiteX2019" fmla="*/ 1853 w 10746"/>
                  <a:gd name="connsiteY2019" fmla="*/ 3940 h 10000"/>
                  <a:gd name="connsiteX2020" fmla="*/ 1839 w 10746"/>
                  <a:gd name="connsiteY2020" fmla="*/ 3940 h 10000"/>
                  <a:gd name="connsiteX2021" fmla="*/ 1806 w 10746"/>
                  <a:gd name="connsiteY2021" fmla="*/ 3983 h 10000"/>
                  <a:gd name="connsiteX2022" fmla="*/ 1806 w 10746"/>
                  <a:gd name="connsiteY2022" fmla="*/ 4000 h 10000"/>
                  <a:gd name="connsiteX2023" fmla="*/ 1797 w 10746"/>
                  <a:gd name="connsiteY2023" fmla="*/ 4077 h 10000"/>
                  <a:gd name="connsiteX2024" fmla="*/ 1783 w 10746"/>
                  <a:gd name="connsiteY2024" fmla="*/ 4077 h 10000"/>
                  <a:gd name="connsiteX2025" fmla="*/ 1779 w 10746"/>
                  <a:gd name="connsiteY2025" fmla="*/ 4051 h 10000"/>
                  <a:gd name="connsiteX2026" fmla="*/ 1765 w 10746"/>
                  <a:gd name="connsiteY2026" fmla="*/ 4026 h 10000"/>
                  <a:gd name="connsiteX2027" fmla="*/ 1751 w 10746"/>
                  <a:gd name="connsiteY2027" fmla="*/ 4051 h 10000"/>
                  <a:gd name="connsiteX2028" fmla="*/ 1737 w 10746"/>
                  <a:gd name="connsiteY2028" fmla="*/ 4009 h 10000"/>
                  <a:gd name="connsiteX2029" fmla="*/ 1737 w 10746"/>
                  <a:gd name="connsiteY2029" fmla="*/ 3966 h 10000"/>
                  <a:gd name="connsiteX2030" fmla="*/ 1733 w 10746"/>
                  <a:gd name="connsiteY2030" fmla="*/ 3940 h 10000"/>
                  <a:gd name="connsiteX2031" fmla="*/ 1733 w 10746"/>
                  <a:gd name="connsiteY2031" fmla="*/ 3923 h 10000"/>
                  <a:gd name="connsiteX2032" fmla="*/ 1747 w 10746"/>
                  <a:gd name="connsiteY2032" fmla="*/ 3889 h 10000"/>
                  <a:gd name="connsiteX2033" fmla="*/ 1747 w 10746"/>
                  <a:gd name="connsiteY2033" fmla="*/ 3863 h 10000"/>
                  <a:gd name="connsiteX2034" fmla="*/ 1737 w 10746"/>
                  <a:gd name="connsiteY2034" fmla="*/ 3838 h 10000"/>
                  <a:gd name="connsiteX2035" fmla="*/ 1733 w 10746"/>
                  <a:gd name="connsiteY2035" fmla="*/ 3829 h 10000"/>
                  <a:gd name="connsiteX2036" fmla="*/ 1733 w 10746"/>
                  <a:gd name="connsiteY2036" fmla="*/ 3846 h 10000"/>
                  <a:gd name="connsiteX2037" fmla="*/ 1724 w 10746"/>
                  <a:gd name="connsiteY2037" fmla="*/ 3846 h 10000"/>
                  <a:gd name="connsiteX2038" fmla="*/ 1724 w 10746"/>
                  <a:gd name="connsiteY2038" fmla="*/ 3829 h 10000"/>
                  <a:gd name="connsiteX2039" fmla="*/ 1737 w 10746"/>
                  <a:gd name="connsiteY2039" fmla="*/ 3812 h 10000"/>
                  <a:gd name="connsiteX2040" fmla="*/ 1765 w 10746"/>
                  <a:gd name="connsiteY2040" fmla="*/ 3812 h 10000"/>
                  <a:gd name="connsiteX2041" fmla="*/ 1779 w 10746"/>
                  <a:gd name="connsiteY2041" fmla="*/ 3786 h 10000"/>
                  <a:gd name="connsiteX2042" fmla="*/ 1779 w 10746"/>
                  <a:gd name="connsiteY2042" fmla="*/ 3786 h 10000"/>
                  <a:gd name="connsiteX2043" fmla="*/ 1751 w 10746"/>
                  <a:gd name="connsiteY2043" fmla="*/ 3803 h 10000"/>
                  <a:gd name="connsiteX2044" fmla="*/ 1747 w 10746"/>
                  <a:gd name="connsiteY2044" fmla="*/ 3803 h 10000"/>
                  <a:gd name="connsiteX2045" fmla="*/ 1724 w 10746"/>
                  <a:gd name="connsiteY2045" fmla="*/ 3803 h 10000"/>
                  <a:gd name="connsiteX2046" fmla="*/ 1700 w 10746"/>
                  <a:gd name="connsiteY2046" fmla="*/ 3829 h 10000"/>
                  <a:gd name="connsiteX2047" fmla="*/ 1705 w 10746"/>
                  <a:gd name="connsiteY2047" fmla="*/ 3846 h 10000"/>
                  <a:gd name="connsiteX2048" fmla="*/ 1691 w 10746"/>
                  <a:gd name="connsiteY2048" fmla="*/ 3846 h 10000"/>
                  <a:gd name="connsiteX2049" fmla="*/ 1691 w 10746"/>
                  <a:gd name="connsiteY2049" fmla="*/ 3863 h 10000"/>
                  <a:gd name="connsiteX2050" fmla="*/ 1691 w 10746"/>
                  <a:gd name="connsiteY2050" fmla="*/ 3915 h 10000"/>
                  <a:gd name="connsiteX2051" fmla="*/ 1677 w 10746"/>
                  <a:gd name="connsiteY2051" fmla="*/ 3923 h 10000"/>
                  <a:gd name="connsiteX2052" fmla="*/ 1673 w 10746"/>
                  <a:gd name="connsiteY2052" fmla="*/ 3915 h 10000"/>
                  <a:gd name="connsiteX2053" fmla="*/ 1664 w 10746"/>
                  <a:gd name="connsiteY2053" fmla="*/ 3889 h 10000"/>
                  <a:gd name="connsiteX2054" fmla="*/ 1673 w 10746"/>
                  <a:gd name="connsiteY2054" fmla="*/ 3872 h 10000"/>
                  <a:gd name="connsiteX2055" fmla="*/ 1664 w 10746"/>
                  <a:gd name="connsiteY2055" fmla="*/ 3872 h 10000"/>
                  <a:gd name="connsiteX2056" fmla="*/ 1636 w 10746"/>
                  <a:gd name="connsiteY2056" fmla="*/ 3923 h 10000"/>
                  <a:gd name="connsiteX2057" fmla="*/ 1645 w 10746"/>
                  <a:gd name="connsiteY2057" fmla="*/ 3923 h 10000"/>
                  <a:gd name="connsiteX2058" fmla="*/ 1650 w 10746"/>
                  <a:gd name="connsiteY2058" fmla="*/ 3949 h 10000"/>
                  <a:gd name="connsiteX2059" fmla="*/ 1650 w 10746"/>
                  <a:gd name="connsiteY2059" fmla="*/ 3983 h 10000"/>
                  <a:gd name="connsiteX2060" fmla="*/ 1636 w 10746"/>
                  <a:gd name="connsiteY2060" fmla="*/ 4000 h 10000"/>
                  <a:gd name="connsiteX2061" fmla="*/ 1631 w 10746"/>
                  <a:gd name="connsiteY2061" fmla="*/ 4009 h 10000"/>
                  <a:gd name="connsiteX2062" fmla="*/ 1618 w 10746"/>
                  <a:gd name="connsiteY2062" fmla="*/ 3949 h 10000"/>
                  <a:gd name="connsiteX2063" fmla="*/ 1585 w 10746"/>
                  <a:gd name="connsiteY2063" fmla="*/ 3966 h 10000"/>
                  <a:gd name="connsiteX2064" fmla="*/ 1590 w 10746"/>
                  <a:gd name="connsiteY2064" fmla="*/ 3974 h 10000"/>
                  <a:gd name="connsiteX2065" fmla="*/ 1544 w 10746"/>
                  <a:gd name="connsiteY2065" fmla="*/ 4009 h 10000"/>
                  <a:gd name="connsiteX2066" fmla="*/ 1539 w 10746"/>
                  <a:gd name="connsiteY2066" fmla="*/ 4009 h 10000"/>
                  <a:gd name="connsiteX2067" fmla="*/ 1410 w 10746"/>
                  <a:gd name="connsiteY2067" fmla="*/ 4188 h 10000"/>
                  <a:gd name="connsiteX2068" fmla="*/ 1406 w 10746"/>
                  <a:gd name="connsiteY2068" fmla="*/ 4171 h 10000"/>
                  <a:gd name="connsiteX2069" fmla="*/ 1396 w 10746"/>
                  <a:gd name="connsiteY2069" fmla="*/ 4214 h 10000"/>
                  <a:gd name="connsiteX2070" fmla="*/ 1406 w 10746"/>
                  <a:gd name="connsiteY2070" fmla="*/ 4222 h 10000"/>
                  <a:gd name="connsiteX2071" fmla="*/ 1392 w 10746"/>
                  <a:gd name="connsiteY2071" fmla="*/ 4239 h 10000"/>
                  <a:gd name="connsiteX2072" fmla="*/ 1369 w 10746"/>
                  <a:gd name="connsiteY2072" fmla="*/ 4248 h 10000"/>
                  <a:gd name="connsiteX2073" fmla="*/ 1355 w 10746"/>
                  <a:gd name="connsiteY2073" fmla="*/ 4256 h 10000"/>
                  <a:gd name="connsiteX2074" fmla="*/ 1350 w 10746"/>
                  <a:gd name="connsiteY2074" fmla="*/ 4248 h 10000"/>
                  <a:gd name="connsiteX2075" fmla="*/ 1332 w 10746"/>
                  <a:gd name="connsiteY2075" fmla="*/ 4376 h 10000"/>
                  <a:gd name="connsiteX2076" fmla="*/ 1332 w 10746"/>
                  <a:gd name="connsiteY2076" fmla="*/ 4436 h 10000"/>
                  <a:gd name="connsiteX2077" fmla="*/ 1323 w 10746"/>
                  <a:gd name="connsiteY2077" fmla="*/ 4462 h 10000"/>
                  <a:gd name="connsiteX2078" fmla="*/ 1304 w 10746"/>
                  <a:gd name="connsiteY2078" fmla="*/ 4487 h 10000"/>
                  <a:gd name="connsiteX2079" fmla="*/ 1290 w 10746"/>
                  <a:gd name="connsiteY2079" fmla="*/ 4470 h 10000"/>
                  <a:gd name="connsiteX2080" fmla="*/ 1263 w 10746"/>
                  <a:gd name="connsiteY2080" fmla="*/ 4496 h 10000"/>
                  <a:gd name="connsiteX2081" fmla="*/ 1258 w 10746"/>
                  <a:gd name="connsiteY2081" fmla="*/ 4547 h 10000"/>
                  <a:gd name="connsiteX2082" fmla="*/ 1249 w 10746"/>
                  <a:gd name="connsiteY2082" fmla="*/ 4487 h 10000"/>
                  <a:gd name="connsiteX2083" fmla="*/ 1235 w 10746"/>
                  <a:gd name="connsiteY2083" fmla="*/ 4496 h 10000"/>
                  <a:gd name="connsiteX2084" fmla="*/ 1221 w 10746"/>
                  <a:gd name="connsiteY2084" fmla="*/ 4496 h 10000"/>
                  <a:gd name="connsiteX2085" fmla="*/ 1217 w 10746"/>
                  <a:gd name="connsiteY2085" fmla="*/ 4487 h 10000"/>
                  <a:gd name="connsiteX2086" fmla="*/ 1198 w 10746"/>
                  <a:gd name="connsiteY2086" fmla="*/ 4410 h 10000"/>
                  <a:gd name="connsiteX2087" fmla="*/ 1157 w 10746"/>
                  <a:gd name="connsiteY2087" fmla="*/ 4333 h 10000"/>
                  <a:gd name="connsiteX2088" fmla="*/ 1147 w 10746"/>
                  <a:gd name="connsiteY2088" fmla="*/ 4299 h 10000"/>
                  <a:gd name="connsiteX2089" fmla="*/ 1147 w 10746"/>
                  <a:gd name="connsiteY2089" fmla="*/ 4274 h 10000"/>
                  <a:gd name="connsiteX2090" fmla="*/ 1161 w 10746"/>
                  <a:gd name="connsiteY2090" fmla="*/ 4256 h 10000"/>
                  <a:gd name="connsiteX2091" fmla="*/ 1171 w 10746"/>
                  <a:gd name="connsiteY2091" fmla="*/ 4248 h 10000"/>
                  <a:gd name="connsiteX2092" fmla="*/ 1175 w 10746"/>
                  <a:gd name="connsiteY2092" fmla="*/ 4214 h 10000"/>
                  <a:gd name="connsiteX2093" fmla="*/ 1263 w 10746"/>
                  <a:gd name="connsiteY2093" fmla="*/ 4171 h 10000"/>
                  <a:gd name="connsiteX2094" fmla="*/ 1249 w 10746"/>
                  <a:gd name="connsiteY2094" fmla="*/ 4137 h 10000"/>
                  <a:gd name="connsiteX2095" fmla="*/ 1244 w 10746"/>
                  <a:gd name="connsiteY2095" fmla="*/ 4060 h 10000"/>
                  <a:gd name="connsiteX2096" fmla="*/ 1230 w 10746"/>
                  <a:gd name="connsiteY2096" fmla="*/ 4077 h 10000"/>
                  <a:gd name="connsiteX2097" fmla="*/ 1221 w 10746"/>
                  <a:gd name="connsiteY2097" fmla="*/ 4026 h 10000"/>
                  <a:gd name="connsiteX2098" fmla="*/ 1217 w 10746"/>
                  <a:gd name="connsiteY2098" fmla="*/ 4026 h 10000"/>
                  <a:gd name="connsiteX2099" fmla="*/ 1212 w 10746"/>
                  <a:gd name="connsiteY2099" fmla="*/ 3983 h 10000"/>
                  <a:gd name="connsiteX2100" fmla="*/ 1203 w 10746"/>
                  <a:gd name="connsiteY2100" fmla="*/ 3966 h 10000"/>
                  <a:gd name="connsiteX2101" fmla="*/ 1171 w 10746"/>
                  <a:gd name="connsiteY2101" fmla="*/ 3949 h 10000"/>
                  <a:gd name="connsiteX2102" fmla="*/ 1111 w 10746"/>
                  <a:gd name="connsiteY2102" fmla="*/ 3940 h 10000"/>
                  <a:gd name="connsiteX2103" fmla="*/ 1097 w 10746"/>
                  <a:gd name="connsiteY2103" fmla="*/ 3949 h 10000"/>
                  <a:gd name="connsiteX2104" fmla="*/ 1037 w 10746"/>
                  <a:gd name="connsiteY2104" fmla="*/ 3897 h 10000"/>
                  <a:gd name="connsiteX2105" fmla="*/ 1041 w 10746"/>
                  <a:gd name="connsiteY2105" fmla="*/ 3923 h 10000"/>
                  <a:gd name="connsiteX2106" fmla="*/ 1097 w 10746"/>
                  <a:gd name="connsiteY2106" fmla="*/ 4009 h 10000"/>
                  <a:gd name="connsiteX2107" fmla="*/ 1097 w 10746"/>
                  <a:gd name="connsiteY2107" fmla="*/ 4120 h 10000"/>
                  <a:gd name="connsiteX2108" fmla="*/ 1097 w 10746"/>
                  <a:gd name="connsiteY2108" fmla="*/ 4162 h 10000"/>
                  <a:gd name="connsiteX2109" fmla="*/ 1097 w 10746"/>
                  <a:gd name="connsiteY2109" fmla="*/ 4197 h 10000"/>
                  <a:gd name="connsiteX2110" fmla="*/ 1074 w 10746"/>
                  <a:gd name="connsiteY2110" fmla="*/ 4333 h 10000"/>
                  <a:gd name="connsiteX2111" fmla="*/ 1074 w 10746"/>
                  <a:gd name="connsiteY2111" fmla="*/ 4376 h 10000"/>
                  <a:gd name="connsiteX2112" fmla="*/ 1083 w 10746"/>
                  <a:gd name="connsiteY2112" fmla="*/ 4385 h 10000"/>
                  <a:gd name="connsiteX2113" fmla="*/ 1097 w 10746"/>
                  <a:gd name="connsiteY2113" fmla="*/ 4385 h 10000"/>
                  <a:gd name="connsiteX2114" fmla="*/ 1111 w 10746"/>
                  <a:gd name="connsiteY2114" fmla="*/ 4410 h 10000"/>
                  <a:gd name="connsiteX2115" fmla="*/ 1124 w 10746"/>
                  <a:gd name="connsiteY2115" fmla="*/ 4444 h 10000"/>
                  <a:gd name="connsiteX2116" fmla="*/ 1124 w 10746"/>
                  <a:gd name="connsiteY2116" fmla="*/ 4470 h 10000"/>
                  <a:gd name="connsiteX2117" fmla="*/ 1115 w 10746"/>
                  <a:gd name="connsiteY2117" fmla="*/ 4513 h 10000"/>
                  <a:gd name="connsiteX2118" fmla="*/ 1115 w 10746"/>
                  <a:gd name="connsiteY2118" fmla="*/ 4530 h 10000"/>
                  <a:gd name="connsiteX2119" fmla="*/ 1115 w 10746"/>
                  <a:gd name="connsiteY2119" fmla="*/ 4573 h 10000"/>
                  <a:gd name="connsiteX2120" fmla="*/ 1101 w 10746"/>
                  <a:gd name="connsiteY2120" fmla="*/ 4607 h 10000"/>
                  <a:gd name="connsiteX2121" fmla="*/ 1097 w 10746"/>
                  <a:gd name="connsiteY2121" fmla="*/ 4658 h 10000"/>
                  <a:gd name="connsiteX2122" fmla="*/ 1101 w 10746"/>
                  <a:gd name="connsiteY2122" fmla="*/ 4692 h 10000"/>
                  <a:gd name="connsiteX2123" fmla="*/ 1097 w 10746"/>
                  <a:gd name="connsiteY2123" fmla="*/ 4778 h 10000"/>
                  <a:gd name="connsiteX2124" fmla="*/ 1083 w 10746"/>
                  <a:gd name="connsiteY2124" fmla="*/ 4744 h 10000"/>
                  <a:gd name="connsiteX2125" fmla="*/ 1083 w 10746"/>
                  <a:gd name="connsiteY2125" fmla="*/ 4718 h 10000"/>
                  <a:gd name="connsiteX2126" fmla="*/ 1074 w 10746"/>
                  <a:gd name="connsiteY2126" fmla="*/ 4692 h 10000"/>
                  <a:gd name="connsiteX2127" fmla="*/ 1065 w 10746"/>
                  <a:gd name="connsiteY2127" fmla="*/ 4692 h 10000"/>
                  <a:gd name="connsiteX2128" fmla="*/ 1051 w 10746"/>
                  <a:gd name="connsiteY2128" fmla="*/ 4718 h 10000"/>
                  <a:gd name="connsiteX2129" fmla="*/ 1055 w 10746"/>
                  <a:gd name="connsiteY2129" fmla="*/ 4692 h 10000"/>
                  <a:gd name="connsiteX2130" fmla="*/ 1055 w 10746"/>
                  <a:gd name="connsiteY2130" fmla="*/ 4667 h 10000"/>
                  <a:gd name="connsiteX2131" fmla="*/ 1028 w 10746"/>
                  <a:gd name="connsiteY2131" fmla="*/ 4624 h 10000"/>
                  <a:gd name="connsiteX2132" fmla="*/ 1005 w 10746"/>
                  <a:gd name="connsiteY2132" fmla="*/ 4624 h 10000"/>
                  <a:gd name="connsiteX2133" fmla="*/ 977 w 10746"/>
                  <a:gd name="connsiteY2133" fmla="*/ 4581 h 10000"/>
                  <a:gd name="connsiteX2134" fmla="*/ 963 w 10746"/>
                  <a:gd name="connsiteY2134" fmla="*/ 4607 h 10000"/>
                  <a:gd name="connsiteX2135" fmla="*/ 963 w 10746"/>
                  <a:gd name="connsiteY2135" fmla="*/ 4632 h 10000"/>
                  <a:gd name="connsiteX2136" fmla="*/ 917 w 10746"/>
                  <a:gd name="connsiteY2136" fmla="*/ 4718 h 10000"/>
                  <a:gd name="connsiteX2137" fmla="*/ 889 w 10746"/>
                  <a:gd name="connsiteY2137" fmla="*/ 4744 h 10000"/>
                  <a:gd name="connsiteX2138" fmla="*/ 880 w 10746"/>
                  <a:gd name="connsiteY2138" fmla="*/ 4744 h 10000"/>
                  <a:gd name="connsiteX2139" fmla="*/ 862 w 10746"/>
                  <a:gd name="connsiteY2139" fmla="*/ 4769 h 10000"/>
                  <a:gd name="connsiteX2140" fmla="*/ 857 w 10746"/>
                  <a:gd name="connsiteY2140" fmla="*/ 4795 h 10000"/>
                  <a:gd name="connsiteX2141" fmla="*/ 829 w 10746"/>
                  <a:gd name="connsiteY2141" fmla="*/ 4846 h 10000"/>
                  <a:gd name="connsiteX2142" fmla="*/ 816 w 10746"/>
                  <a:gd name="connsiteY2142" fmla="*/ 4855 h 10000"/>
                  <a:gd name="connsiteX2143" fmla="*/ 816 w 10746"/>
                  <a:gd name="connsiteY2143" fmla="*/ 4940 h 10000"/>
                  <a:gd name="connsiteX2144" fmla="*/ 880 w 10746"/>
                  <a:gd name="connsiteY2144" fmla="*/ 5179 h 10000"/>
                  <a:gd name="connsiteX2145" fmla="*/ 880 w 10746"/>
                  <a:gd name="connsiteY2145" fmla="*/ 5188 h 10000"/>
                  <a:gd name="connsiteX2146" fmla="*/ 862 w 10746"/>
                  <a:gd name="connsiteY2146" fmla="*/ 5171 h 10000"/>
                  <a:gd name="connsiteX2147" fmla="*/ 857 w 10746"/>
                  <a:gd name="connsiteY2147" fmla="*/ 5171 h 10000"/>
                  <a:gd name="connsiteX2148" fmla="*/ 820 w 10746"/>
                  <a:gd name="connsiteY2148" fmla="*/ 5145 h 10000"/>
                  <a:gd name="connsiteX2149" fmla="*/ 820 w 10746"/>
                  <a:gd name="connsiteY2149" fmla="*/ 5154 h 10000"/>
                  <a:gd name="connsiteX2150" fmla="*/ 816 w 10746"/>
                  <a:gd name="connsiteY2150" fmla="*/ 5171 h 10000"/>
                  <a:gd name="connsiteX2151" fmla="*/ 783 w 10746"/>
                  <a:gd name="connsiteY2151" fmla="*/ 5145 h 10000"/>
                  <a:gd name="connsiteX2152" fmla="*/ 756 w 10746"/>
                  <a:gd name="connsiteY2152" fmla="*/ 5103 h 10000"/>
                  <a:gd name="connsiteX2153" fmla="*/ 742 w 10746"/>
                  <a:gd name="connsiteY2153" fmla="*/ 5103 h 10000"/>
                  <a:gd name="connsiteX2154" fmla="*/ 728 w 10746"/>
                  <a:gd name="connsiteY2154" fmla="*/ 5094 h 10000"/>
                  <a:gd name="connsiteX2155" fmla="*/ 710 w 10746"/>
                  <a:gd name="connsiteY2155" fmla="*/ 5120 h 10000"/>
                  <a:gd name="connsiteX2156" fmla="*/ 700 w 10746"/>
                  <a:gd name="connsiteY2156" fmla="*/ 5145 h 10000"/>
                  <a:gd name="connsiteX2157" fmla="*/ 696 w 10746"/>
                  <a:gd name="connsiteY2157" fmla="*/ 5103 h 10000"/>
                  <a:gd name="connsiteX2158" fmla="*/ 714 w 10746"/>
                  <a:gd name="connsiteY2158" fmla="*/ 5077 h 10000"/>
                  <a:gd name="connsiteX2159" fmla="*/ 682 w 10746"/>
                  <a:gd name="connsiteY2159" fmla="*/ 5068 h 10000"/>
                  <a:gd name="connsiteX2160" fmla="*/ 673 w 10746"/>
                  <a:gd name="connsiteY2160" fmla="*/ 5034 h 10000"/>
                  <a:gd name="connsiteX2161" fmla="*/ 636 w 10746"/>
                  <a:gd name="connsiteY2161" fmla="*/ 4991 h 10000"/>
                  <a:gd name="connsiteX2162" fmla="*/ 622 w 10746"/>
                  <a:gd name="connsiteY2162" fmla="*/ 4983 h 10000"/>
                  <a:gd name="connsiteX2163" fmla="*/ 622 w 10746"/>
                  <a:gd name="connsiteY2163" fmla="*/ 5034 h 10000"/>
                  <a:gd name="connsiteX2164" fmla="*/ 608 w 10746"/>
                  <a:gd name="connsiteY2164" fmla="*/ 5051 h 10000"/>
                  <a:gd name="connsiteX2165" fmla="*/ 594 w 10746"/>
                  <a:gd name="connsiteY2165" fmla="*/ 5068 h 10000"/>
                  <a:gd name="connsiteX2166" fmla="*/ 608 w 10746"/>
                  <a:gd name="connsiteY2166" fmla="*/ 5120 h 10000"/>
                  <a:gd name="connsiteX2167" fmla="*/ 613 w 10746"/>
                  <a:gd name="connsiteY2167" fmla="*/ 5128 h 10000"/>
                  <a:gd name="connsiteX2168" fmla="*/ 627 w 10746"/>
                  <a:gd name="connsiteY2168" fmla="*/ 5179 h 10000"/>
                  <a:gd name="connsiteX2169" fmla="*/ 650 w 10746"/>
                  <a:gd name="connsiteY2169" fmla="*/ 5214 h 10000"/>
                  <a:gd name="connsiteX2170" fmla="*/ 687 w 10746"/>
                  <a:gd name="connsiteY2170" fmla="*/ 5188 h 10000"/>
                  <a:gd name="connsiteX2171" fmla="*/ 700 w 10746"/>
                  <a:gd name="connsiteY2171" fmla="*/ 5325 h 10000"/>
                  <a:gd name="connsiteX2172" fmla="*/ 710 w 10746"/>
                  <a:gd name="connsiteY2172" fmla="*/ 5350 h 10000"/>
                  <a:gd name="connsiteX2173" fmla="*/ 687 w 10746"/>
                  <a:gd name="connsiteY2173" fmla="*/ 5325 h 10000"/>
                  <a:gd name="connsiteX2174" fmla="*/ 668 w 10746"/>
                  <a:gd name="connsiteY2174" fmla="*/ 5350 h 10000"/>
                  <a:gd name="connsiteX2175" fmla="*/ 668 w 10746"/>
                  <a:gd name="connsiteY2175" fmla="*/ 5368 h 10000"/>
                  <a:gd name="connsiteX2176" fmla="*/ 668 w 10746"/>
                  <a:gd name="connsiteY2176" fmla="*/ 5376 h 10000"/>
                  <a:gd name="connsiteX2177" fmla="*/ 581 w 10746"/>
                  <a:gd name="connsiteY2177" fmla="*/ 5316 h 10000"/>
                  <a:gd name="connsiteX2178" fmla="*/ 567 w 10746"/>
                  <a:gd name="connsiteY2178" fmla="*/ 5265 h 10000"/>
                  <a:gd name="connsiteX2179" fmla="*/ 562 w 10746"/>
                  <a:gd name="connsiteY2179" fmla="*/ 5256 h 10000"/>
                  <a:gd name="connsiteX2180" fmla="*/ 548 w 10746"/>
                  <a:gd name="connsiteY2180" fmla="*/ 5231 h 10000"/>
                  <a:gd name="connsiteX2181" fmla="*/ 535 w 10746"/>
                  <a:gd name="connsiteY2181" fmla="*/ 5214 h 10000"/>
                  <a:gd name="connsiteX2182" fmla="*/ 525 w 10746"/>
                  <a:gd name="connsiteY2182" fmla="*/ 5231 h 10000"/>
                  <a:gd name="connsiteX2183" fmla="*/ 521 w 10746"/>
                  <a:gd name="connsiteY2183" fmla="*/ 5231 h 10000"/>
                  <a:gd name="connsiteX2184" fmla="*/ 493 w 10746"/>
                  <a:gd name="connsiteY2184" fmla="*/ 5205 h 10000"/>
                  <a:gd name="connsiteX2185" fmla="*/ 488 w 10746"/>
                  <a:gd name="connsiteY2185" fmla="*/ 5179 h 10000"/>
                  <a:gd name="connsiteX2186" fmla="*/ 475 w 10746"/>
                  <a:gd name="connsiteY2186" fmla="*/ 5188 h 10000"/>
                  <a:gd name="connsiteX2187" fmla="*/ 475 w 10746"/>
                  <a:gd name="connsiteY2187" fmla="*/ 5171 h 10000"/>
                  <a:gd name="connsiteX2188" fmla="*/ 488 w 10746"/>
                  <a:gd name="connsiteY2188" fmla="*/ 5154 h 10000"/>
                  <a:gd name="connsiteX2189" fmla="*/ 488 w 10746"/>
                  <a:gd name="connsiteY2189" fmla="*/ 5068 h 10000"/>
                  <a:gd name="connsiteX2190" fmla="*/ 475 w 10746"/>
                  <a:gd name="connsiteY2190" fmla="*/ 5051 h 10000"/>
                  <a:gd name="connsiteX2191" fmla="*/ 475 w 10746"/>
                  <a:gd name="connsiteY2191" fmla="*/ 5017 h 10000"/>
                  <a:gd name="connsiteX2192" fmla="*/ 452 w 10746"/>
                  <a:gd name="connsiteY2192" fmla="*/ 4932 h 10000"/>
                  <a:gd name="connsiteX2193" fmla="*/ 461 w 10746"/>
                  <a:gd name="connsiteY2193" fmla="*/ 4915 h 10000"/>
                  <a:gd name="connsiteX2194" fmla="*/ 475 w 10746"/>
                  <a:gd name="connsiteY2194" fmla="*/ 4906 h 10000"/>
                  <a:gd name="connsiteX2195" fmla="*/ 479 w 10746"/>
                  <a:gd name="connsiteY2195" fmla="*/ 4803 h 10000"/>
                  <a:gd name="connsiteX2196" fmla="*/ 479 w 10746"/>
                  <a:gd name="connsiteY2196" fmla="*/ 4778 h 10000"/>
                  <a:gd name="connsiteX2197" fmla="*/ 475 w 10746"/>
                  <a:gd name="connsiteY2197" fmla="*/ 4761 h 10000"/>
                  <a:gd name="connsiteX2198" fmla="*/ 465 w 10746"/>
                  <a:gd name="connsiteY2198" fmla="*/ 4718 h 10000"/>
                  <a:gd name="connsiteX2199" fmla="*/ 461 w 10746"/>
                  <a:gd name="connsiteY2199" fmla="*/ 4709 h 10000"/>
                  <a:gd name="connsiteX2200" fmla="*/ 442 w 10746"/>
                  <a:gd name="connsiteY2200" fmla="*/ 4692 h 10000"/>
                  <a:gd name="connsiteX2201" fmla="*/ 433 w 10746"/>
                  <a:gd name="connsiteY2201" fmla="*/ 4667 h 10000"/>
                  <a:gd name="connsiteX2202" fmla="*/ 419 w 10746"/>
                  <a:gd name="connsiteY2202" fmla="*/ 4667 h 10000"/>
                  <a:gd name="connsiteX2203" fmla="*/ 401 w 10746"/>
                  <a:gd name="connsiteY2203" fmla="*/ 4658 h 10000"/>
                  <a:gd name="connsiteX2204" fmla="*/ 401 w 10746"/>
                  <a:gd name="connsiteY2204" fmla="*/ 4624 h 10000"/>
                  <a:gd name="connsiteX2205" fmla="*/ 401 w 10746"/>
                  <a:gd name="connsiteY2205" fmla="*/ 4607 h 10000"/>
                  <a:gd name="connsiteX2206" fmla="*/ 378 w 10746"/>
                  <a:gd name="connsiteY2206" fmla="*/ 4607 h 10000"/>
                  <a:gd name="connsiteX2207" fmla="*/ 341 w 10746"/>
                  <a:gd name="connsiteY2207" fmla="*/ 4530 h 10000"/>
                  <a:gd name="connsiteX2208" fmla="*/ 346 w 10746"/>
                  <a:gd name="connsiteY2208" fmla="*/ 4521 h 10000"/>
                  <a:gd name="connsiteX2209" fmla="*/ 332 w 10746"/>
                  <a:gd name="connsiteY2209" fmla="*/ 4487 h 10000"/>
                  <a:gd name="connsiteX2210" fmla="*/ 327 w 10746"/>
                  <a:gd name="connsiteY2210" fmla="*/ 4462 h 10000"/>
                  <a:gd name="connsiteX2211" fmla="*/ 313 w 10746"/>
                  <a:gd name="connsiteY2211" fmla="*/ 4436 h 10000"/>
                  <a:gd name="connsiteX2212" fmla="*/ 300 w 10746"/>
                  <a:gd name="connsiteY2212" fmla="*/ 4419 h 10000"/>
                  <a:gd name="connsiteX2213" fmla="*/ 309 w 10746"/>
                  <a:gd name="connsiteY2213" fmla="*/ 4393 h 10000"/>
                  <a:gd name="connsiteX2214" fmla="*/ 332 w 10746"/>
                  <a:gd name="connsiteY2214" fmla="*/ 4385 h 10000"/>
                  <a:gd name="connsiteX2215" fmla="*/ 355 w 10746"/>
                  <a:gd name="connsiteY2215" fmla="*/ 4419 h 10000"/>
                  <a:gd name="connsiteX2216" fmla="*/ 355 w 10746"/>
                  <a:gd name="connsiteY2216" fmla="*/ 4444 h 10000"/>
                  <a:gd name="connsiteX2217" fmla="*/ 369 w 10746"/>
                  <a:gd name="connsiteY2217" fmla="*/ 4470 h 10000"/>
                  <a:gd name="connsiteX2218" fmla="*/ 401 w 10746"/>
                  <a:gd name="connsiteY2218" fmla="*/ 4521 h 10000"/>
                  <a:gd name="connsiteX2219" fmla="*/ 406 w 10746"/>
                  <a:gd name="connsiteY2219" fmla="*/ 4513 h 10000"/>
                  <a:gd name="connsiteX2220" fmla="*/ 406 w 10746"/>
                  <a:gd name="connsiteY2220" fmla="*/ 4496 h 10000"/>
                  <a:gd name="connsiteX2221" fmla="*/ 419 w 10746"/>
                  <a:gd name="connsiteY2221" fmla="*/ 4521 h 10000"/>
                  <a:gd name="connsiteX2222" fmla="*/ 429 w 10746"/>
                  <a:gd name="connsiteY2222" fmla="*/ 4530 h 10000"/>
                  <a:gd name="connsiteX2223" fmla="*/ 433 w 10746"/>
                  <a:gd name="connsiteY2223" fmla="*/ 4521 h 10000"/>
                  <a:gd name="connsiteX2224" fmla="*/ 442 w 10746"/>
                  <a:gd name="connsiteY2224" fmla="*/ 4530 h 10000"/>
                  <a:gd name="connsiteX2225" fmla="*/ 447 w 10746"/>
                  <a:gd name="connsiteY2225" fmla="*/ 4521 h 10000"/>
                  <a:gd name="connsiteX2226" fmla="*/ 452 w 10746"/>
                  <a:gd name="connsiteY2226" fmla="*/ 4521 h 10000"/>
                  <a:gd name="connsiteX2227" fmla="*/ 461 w 10746"/>
                  <a:gd name="connsiteY2227" fmla="*/ 4573 h 10000"/>
                  <a:gd name="connsiteX2228" fmla="*/ 479 w 10746"/>
                  <a:gd name="connsiteY2228" fmla="*/ 4556 h 10000"/>
                  <a:gd name="connsiteX2229" fmla="*/ 502 w 10746"/>
                  <a:gd name="connsiteY2229" fmla="*/ 4573 h 10000"/>
                  <a:gd name="connsiteX2230" fmla="*/ 507 w 10746"/>
                  <a:gd name="connsiteY2230" fmla="*/ 4598 h 10000"/>
                  <a:gd name="connsiteX2231" fmla="*/ 525 w 10746"/>
                  <a:gd name="connsiteY2231" fmla="*/ 4598 h 10000"/>
                  <a:gd name="connsiteX2232" fmla="*/ 535 w 10746"/>
                  <a:gd name="connsiteY2232" fmla="*/ 4624 h 10000"/>
                  <a:gd name="connsiteX2233" fmla="*/ 594 w 10746"/>
                  <a:gd name="connsiteY2233" fmla="*/ 4658 h 10000"/>
                  <a:gd name="connsiteX2234" fmla="*/ 627 w 10746"/>
                  <a:gd name="connsiteY2234" fmla="*/ 4658 h 10000"/>
                  <a:gd name="connsiteX2235" fmla="*/ 654 w 10746"/>
                  <a:gd name="connsiteY2235" fmla="*/ 4684 h 10000"/>
                  <a:gd name="connsiteX2236" fmla="*/ 668 w 10746"/>
                  <a:gd name="connsiteY2236" fmla="*/ 4709 h 10000"/>
                  <a:gd name="connsiteX2237" fmla="*/ 747 w 10746"/>
                  <a:gd name="connsiteY2237" fmla="*/ 4718 h 10000"/>
                  <a:gd name="connsiteX2238" fmla="*/ 760 w 10746"/>
                  <a:gd name="connsiteY2238" fmla="*/ 4709 h 10000"/>
                  <a:gd name="connsiteX2239" fmla="*/ 774 w 10746"/>
                  <a:gd name="connsiteY2239" fmla="*/ 4692 h 10000"/>
                  <a:gd name="connsiteX2240" fmla="*/ 829 w 10746"/>
                  <a:gd name="connsiteY2240" fmla="*/ 4658 h 10000"/>
                  <a:gd name="connsiteX2241" fmla="*/ 903 w 10746"/>
                  <a:gd name="connsiteY2241" fmla="*/ 4496 h 10000"/>
                  <a:gd name="connsiteX2242" fmla="*/ 917 w 10746"/>
                  <a:gd name="connsiteY2242" fmla="*/ 4385 h 10000"/>
                  <a:gd name="connsiteX2243" fmla="*/ 903 w 10746"/>
                  <a:gd name="connsiteY2243" fmla="*/ 4376 h 10000"/>
                  <a:gd name="connsiteX2244" fmla="*/ 903 w 10746"/>
                  <a:gd name="connsiteY2244" fmla="*/ 4376 h 10000"/>
                  <a:gd name="connsiteX2245" fmla="*/ 889 w 10746"/>
                  <a:gd name="connsiteY2245" fmla="*/ 4239 h 10000"/>
                  <a:gd name="connsiteX2246" fmla="*/ 880 w 10746"/>
                  <a:gd name="connsiteY2246" fmla="*/ 4214 h 10000"/>
                  <a:gd name="connsiteX2247" fmla="*/ 862 w 10746"/>
                  <a:gd name="connsiteY2247" fmla="*/ 4188 h 10000"/>
                  <a:gd name="connsiteX2248" fmla="*/ 857 w 10746"/>
                  <a:gd name="connsiteY2248" fmla="*/ 4197 h 10000"/>
                  <a:gd name="connsiteX2249" fmla="*/ 848 w 10746"/>
                  <a:gd name="connsiteY2249" fmla="*/ 4188 h 10000"/>
                  <a:gd name="connsiteX2250" fmla="*/ 848 w 10746"/>
                  <a:gd name="connsiteY2250" fmla="*/ 4162 h 10000"/>
                  <a:gd name="connsiteX2251" fmla="*/ 829 w 10746"/>
                  <a:gd name="connsiteY2251" fmla="*/ 4120 h 10000"/>
                  <a:gd name="connsiteX2252" fmla="*/ 820 w 10746"/>
                  <a:gd name="connsiteY2252" fmla="*/ 4103 h 10000"/>
                  <a:gd name="connsiteX2253" fmla="*/ 806 w 10746"/>
                  <a:gd name="connsiteY2253" fmla="*/ 4077 h 10000"/>
                  <a:gd name="connsiteX2254" fmla="*/ 816 w 10746"/>
                  <a:gd name="connsiteY2254" fmla="*/ 4111 h 10000"/>
                  <a:gd name="connsiteX2255" fmla="*/ 802 w 10746"/>
                  <a:gd name="connsiteY2255" fmla="*/ 4111 h 10000"/>
                  <a:gd name="connsiteX2256" fmla="*/ 770 w 10746"/>
                  <a:gd name="connsiteY2256" fmla="*/ 4060 h 10000"/>
                  <a:gd name="connsiteX2257" fmla="*/ 760 w 10746"/>
                  <a:gd name="connsiteY2257" fmla="*/ 4077 h 10000"/>
                  <a:gd name="connsiteX2258" fmla="*/ 760 w 10746"/>
                  <a:gd name="connsiteY2258" fmla="*/ 4060 h 10000"/>
                  <a:gd name="connsiteX2259" fmla="*/ 756 w 10746"/>
                  <a:gd name="connsiteY2259" fmla="*/ 4034 h 10000"/>
                  <a:gd name="connsiteX2260" fmla="*/ 742 w 10746"/>
                  <a:gd name="connsiteY2260" fmla="*/ 4000 h 10000"/>
                  <a:gd name="connsiteX2261" fmla="*/ 747 w 10746"/>
                  <a:gd name="connsiteY2261" fmla="*/ 4034 h 10000"/>
                  <a:gd name="connsiteX2262" fmla="*/ 724 w 10746"/>
                  <a:gd name="connsiteY2262" fmla="*/ 4026 h 10000"/>
                  <a:gd name="connsiteX2263" fmla="*/ 714 w 10746"/>
                  <a:gd name="connsiteY2263" fmla="*/ 4000 h 10000"/>
                  <a:gd name="connsiteX2264" fmla="*/ 714 w 10746"/>
                  <a:gd name="connsiteY2264" fmla="*/ 3983 h 10000"/>
                  <a:gd name="connsiteX2265" fmla="*/ 553 w 10746"/>
                  <a:gd name="connsiteY2265" fmla="*/ 3726 h 10000"/>
                  <a:gd name="connsiteX2266" fmla="*/ 507 w 10746"/>
                  <a:gd name="connsiteY2266" fmla="*/ 3718 h 10000"/>
                  <a:gd name="connsiteX2267" fmla="*/ 516 w 10746"/>
                  <a:gd name="connsiteY2267" fmla="*/ 3726 h 10000"/>
                  <a:gd name="connsiteX2268" fmla="*/ 507 w 10746"/>
                  <a:gd name="connsiteY2268" fmla="*/ 3735 h 10000"/>
                  <a:gd name="connsiteX2269" fmla="*/ 502 w 10746"/>
                  <a:gd name="connsiteY2269" fmla="*/ 3735 h 10000"/>
                  <a:gd name="connsiteX2270" fmla="*/ 419 w 10746"/>
                  <a:gd name="connsiteY2270" fmla="*/ 3675 h 10000"/>
                  <a:gd name="connsiteX2271" fmla="*/ 419 w 10746"/>
                  <a:gd name="connsiteY2271" fmla="*/ 3692 h 10000"/>
                  <a:gd name="connsiteX2272" fmla="*/ 401 w 10746"/>
                  <a:gd name="connsiteY2272" fmla="*/ 3701 h 10000"/>
                  <a:gd name="connsiteX2273" fmla="*/ 387 w 10746"/>
                  <a:gd name="connsiteY2273" fmla="*/ 3718 h 10000"/>
                  <a:gd name="connsiteX2274" fmla="*/ 387 w 10746"/>
                  <a:gd name="connsiteY2274" fmla="*/ 3692 h 10000"/>
                  <a:gd name="connsiteX2275" fmla="*/ 378 w 10746"/>
                  <a:gd name="connsiteY2275" fmla="*/ 3675 h 10000"/>
                  <a:gd name="connsiteX2276" fmla="*/ 378 w 10746"/>
                  <a:gd name="connsiteY2276" fmla="*/ 3650 h 10000"/>
                  <a:gd name="connsiteX2277" fmla="*/ 378 w 10746"/>
                  <a:gd name="connsiteY2277" fmla="*/ 3650 h 10000"/>
                  <a:gd name="connsiteX2278" fmla="*/ 355 w 10746"/>
                  <a:gd name="connsiteY2278" fmla="*/ 3675 h 10000"/>
                  <a:gd name="connsiteX2279" fmla="*/ 359 w 10746"/>
                  <a:gd name="connsiteY2279" fmla="*/ 3641 h 10000"/>
                  <a:gd name="connsiteX2280" fmla="*/ 346 w 10746"/>
                  <a:gd name="connsiteY2280" fmla="*/ 3650 h 10000"/>
                  <a:gd name="connsiteX2281" fmla="*/ 355 w 10746"/>
                  <a:gd name="connsiteY2281" fmla="*/ 3624 h 10000"/>
                  <a:gd name="connsiteX2282" fmla="*/ 346 w 10746"/>
                  <a:gd name="connsiteY2282" fmla="*/ 3624 h 10000"/>
                  <a:gd name="connsiteX2283" fmla="*/ 341 w 10746"/>
                  <a:gd name="connsiteY2283" fmla="*/ 3624 h 10000"/>
                  <a:gd name="connsiteX2284" fmla="*/ 318 w 10746"/>
                  <a:gd name="connsiteY2284" fmla="*/ 3641 h 10000"/>
                  <a:gd name="connsiteX2285" fmla="*/ 327 w 10746"/>
                  <a:gd name="connsiteY2285" fmla="*/ 3624 h 10000"/>
                  <a:gd name="connsiteX2286" fmla="*/ 318 w 10746"/>
                  <a:gd name="connsiteY2286" fmla="*/ 3615 h 10000"/>
                  <a:gd name="connsiteX2287" fmla="*/ 318 w 10746"/>
                  <a:gd name="connsiteY2287" fmla="*/ 3598 h 10000"/>
                  <a:gd name="connsiteX2288" fmla="*/ 300 w 10746"/>
                  <a:gd name="connsiteY2288" fmla="*/ 3598 h 10000"/>
                  <a:gd name="connsiteX2289" fmla="*/ 309 w 10746"/>
                  <a:gd name="connsiteY2289" fmla="*/ 3538 h 10000"/>
                  <a:gd name="connsiteX2290" fmla="*/ 313 w 10746"/>
                  <a:gd name="connsiteY2290" fmla="*/ 3564 h 10000"/>
                  <a:gd name="connsiteX2291" fmla="*/ 318 w 10746"/>
                  <a:gd name="connsiteY2291" fmla="*/ 3581 h 10000"/>
                  <a:gd name="connsiteX2292" fmla="*/ 327 w 10746"/>
                  <a:gd name="connsiteY2292" fmla="*/ 3564 h 10000"/>
                  <a:gd name="connsiteX2293" fmla="*/ 332 w 10746"/>
                  <a:gd name="connsiteY2293" fmla="*/ 3590 h 10000"/>
                  <a:gd name="connsiteX2294" fmla="*/ 346 w 10746"/>
                  <a:gd name="connsiteY2294" fmla="*/ 3590 h 10000"/>
                  <a:gd name="connsiteX2295" fmla="*/ 355 w 10746"/>
                  <a:gd name="connsiteY2295" fmla="*/ 3590 h 10000"/>
                  <a:gd name="connsiteX2296" fmla="*/ 369 w 10746"/>
                  <a:gd name="connsiteY2296" fmla="*/ 3556 h 10000"/>
                  <a:gd name="connsiteX2297" fmla="*/ 369 w 10746"/>
                  <a:gd name="connsiteY2297" fmla="*/ 3538 h 10000"/>
                  <a:gd name="connsiteX2298" fmla="*/ 346 w 10746"/>
                  <a:gd name="connsiteY2298" fmla="*/ 3513 h 10000"/>
                  <a:gd name="connsiteX2299" fmla="*/ 341 w 10746"/>
                  <a:gd name="connsiteY2299" fmla="*/ 3530 h 10000"/>
                  <a:gd name="connsiteX2300" fmla="*/ 327 w 10746"/>
                  <a:gd name="connsiteY2300" fmla="*/ 3513 h 10000"/>
                  <a:gd name="connsiteX2301" fmla="*/ 327 w 10746"/>
                  <a:gd name="connsiteY2301" fmla="*/ 3504 h 10000"/>
                  <a:gd name="connsiteX2302" fmla="*/ 295 w 10746"/>
                  <a:gd name="connsiteY2302" fmla="*/ 3462 h 10000"/>
                  <a:gd name="connsiteX2303" fmla="*/ 300 w 10746"/>
                  <a:gd name="connsiteY2303" fmla="*/ 3479 h 10000"/>
                  <a:gd name="connsiteX2304" fmla="*/ 295 w 10746"/>
                  <a:gd name="connsiteY2304" fmla="*/ 3513 h 10000"/>
                  <a:gd name="connsiteX2305" fmla="*/ 286 w 10746"/>
                  <a:gd name="connsiteY2305" fmla="*/ 3513 h 10000"/>
                  <a:gd name="connsiteX2306" fmla="*/ 281 w 10746"/>
                  <a:gd name="connsiteY2306" fmla="*/ 3513 h 10000"/>
                  <a:gd name="connsiteX2307" fmla="*/ 281 w 10746"/>
                  <a:gd name="connsiteY2307" fmla="*/ 3530 h 10000"/>
                  <a:gd name="connsiteX2308" fmla="*/ 281 w 10746"/>
                  <a:gd name="connsiteY2308" fmla="*/ 3556 h 10000"/>
                  <a:gd name="connsiteX2309" fmla="*/ 272 w 10746"/>
                  <a:gd name="connsiteY2309" fmla="*/ 3564 h 10000"/>
                  <a:gd name="connsiteX2310" fmla="*/ 267 w 10746"/>
                  <a:gd name="connsiteY2310" fmla="*/ 3564 h 10000"/>
                  <a:gd name="connsiteX2311" fmla="*/ 253 w 10746"/>
                  <a:gd name="connsiteY2311" fmla="*/ 3538 h 10000"/>
                  <a:gd name="connsiteX2312" fmla="*/ 226 w 10746"/>
                  <a:gd name="connsiteY2312" fmla="*/ 3513 h 10000"/>
                  <a:gd name="connsiteX2313" fmla="*/ 226 w 10746"/>
                  <a:gd name="connsiteY2313" fmla="*/ 3530 h 10000"/>
                  <a:gd name="connsiteX2314" fmla="*/ 226 w 10746"/>
                  <a:gd name="connsiteY2314" fmla="*/ 3530 h 10000"/>
                  <a:gd name="connsiteX2315" fmla="*/ 226 w 10746"/>
                  <a:gd name="connsiteY2315" fmla="*/ 3530 h 10000"/>
                  <a:gd name="connsiteX2316" fmla="*/ 226 w 10746"/>
                  <a:gd name="connsiteY2316" fmla="*/ 3556 h 10000"/>
                  <a:gd name="connsiteX2317" fmla="*/ 221 w 10746"/>
                  <a:gd name="connsiteY2317" fmla="*/ 3598 h 10000"/>
                  <a:gd name="connsiteX2318" fmla="*/ 207 w 10746"/>
                  <a:gd name="connsiteY2318" fmla="*/ 3598 h 10000"/>
                  <a:gd name="connsiteX2319" fmla="*/ 180 w 10746"/>
                  <a:gd name="connsiteY2319" fmla="*/ 3581 h 10000"/>
                  <a:gd name="connsiteX2320" fmla="*/ 171 w 10746"/>
                  <a:gd name="connsiteY2320" fmla="*/ 3641 h 10000"/>
                  <a:gd name="connsiteX2321" fmla="*/ 166 w 10746"/>
                  <a:gd name="connsiteY2321" fmla="*/ 3650 h 10000"/>
                  <a:gd name="connsiteX2322" fmla="*/ 124 w 10746"/>
                  <a:gd name="connsiteY2322" fmla="*/ 3701 h 10000"/>
                  <a:gd name="connsiteX2323" fmla="*/ 124 w 10746"/>
                  <a:gd name="connsiteY2323" fmla="*/ 3718 h 10000"/>
                  <a:gd name="connsiteX2324" fmla="*/ 120 w 10746"/>
                  <a:gd name="connsiteY2324" fmla="*/ 3735 h 10000"/>
                  <a:gd name="connsiteX2325" fmla="*/ 120 w 10746"/>
                  <a:gd name="connsiteY2325" fmla="*/ 3735 h 10000"/>
                  <a:gd name="connsiteX2326" fmla="*/ 111 w 10746"/>
                  <a:gd name="connsiteY2326" fmla="*/ 3761 h 10000"/>
                  <a:gd name="connsiteX2327" fmla="*/ 106 w 10746"/>
                  <a:gd name="connsiteY2327" fmla="*/ 3761 h 10000"/>
                  <a:gd name="connsiteX2328" fmla="*/ 106 w 10746"/>
                  <a:gd name="connsiteY2328" fmla="*/ 3761 h 10000"/>
                  <a:gd name="connsiteX2329" fmla="*/ 74 w 10746"/>
                  <a:gd name="connsiteY2329" fmla="*/ 3829 h 10000"/>
                  <a:gd name="connsiteX2330" fmla="*/ 78 w 10746"/>
                  <a:gd name="connsiteY2330" fmla="*/ 3838 h 10000"/>
                  <a:gd name="connsiteX2331" fmla="*/ 88 w 10746"/>
                  <a:gd name="connsiteY2331" fmla="*/ 3846 h 10000"/>
                  <a:gd name="connsiteX2332" fmla="*/ 65 w 10746"/>
                  <a:gd name="connsiteY2332" fmla="*/ 3923 h 10000"/>
                  <a:gd name="connsiteX2333" fmla="*/ 78 w 10746"/>
                  <a:gd name="connsiteY2333" fmla="*/ 4026 h 10000"/>
                  <a:gd name="connsiteX2334" fmla="*/ 88 w 10746"/>
                  <a:gd name="connsiteY2334" fmla="*/ 4051 h 10000"/>
                  <a:gd name="connsiteX2335" fmla="*/ 92 w 10746"/>
                  <a:gd name="connsiteY2335" fmla="*/ 4060 h 10000"/>
                  <a:gd name="connsiteX2336" fmla="*/ 111 w 10746"/>
                  <a:gd name="connsiteY2336" fmla="*/ 4060 h 10000"/>
                  <a:gd name="connsiteX2337" fmla="*/ 124 w 10746"/>
                  <a:gd name="connsiteY2337" fmla="*/ 4085 h 10000"/>
                  <a:gd name="connsiteX2338" fmla="*/ 166 w 10746"/>
                  <a:gd name="connsiteY2338" fmla="*/ 4197 h 10000"/>
                  <a:gd name="connsiteX2339" fmla="*/ 166 w 10746"/>
                  <a:gd name="connsiteY2339" fmla="*/ 4248 h 10000"/>
                  <a:gd name="connsiteX2340" fmla="*/ 120 w 10746"/>
                  <a:gd name="connsiteY2340" fmla="*/ 4462 h 10000"/>
                  <a:gd name="connsiteX2341" fmla="*/ 120 w 10746"/>
                  <a:gd name="connsiteY2341" fmla="*/ 4513 h 10000"/>
                  <a:gd name="connsiteX2342" fmla="*/ 180 w 10746"/>
                  <a:gd name="connsiteY2342" fmla="*/ 4829 h 10000"/>
                  <a:gd name="connsiteX2343" fmla="*/ 161 w 10746"/>
                  <a:gd name="connsiteY2343" fmla="*/ 4855 h 10000"/>
                  <a:gd name="connsiteX2344" fmla="*/ 152 w 10746"/>
                  <a:gd name="connsiteY2344" fmla="*/ 4940 h 10000"/>
                  <a:gd name="connsiteX2345" fmla="*/ 161 w 10746"/>
                  <a:gd name="connsiteY2345" fmla="*/ 4966 h 10000"/>
                  <a:gd name="connsiteX2346" fmla="*/ 161 w 10746"/>
                  <a:gd name="connsiteY2346" fmla="*/ 5009 h 10000"/>
                  <a:gd name="connsiteX2347" fmla="*/ 152 w 10746"/>
                  <a:gd name="connsiteY2347" fmla="*/ 5034 h 10000"/>
                  <a:gd name="connsiteX2348" fmla="*/ 152 w 10746"/>
                  <a:gd name="connsiteY2348" fmla="*/ 5077 h 10000"/>
                  <a:gd name="connsiteX2349" fmla="*/ 171 w 10746"/>
                  <a:gd name="connsiteY2349" fmla="*/ 5094 h 10000"/>
                  <a:gd name="connsiteX2350" fmla="*/ 180 w 10746"/>
                  <a:gd name="connsiteY2350" fmla="*/ 5128 h 10000"/>
                  <a:gd name="connsiteX2351" fmla="*/ 180 w 10746"/>
                  <a:gd name="connsiteY2351" fmla="*/ 5171 h 10000"/>
                  <a:gd name="connsiteX2352" fmla="*/ 184 w 10746"/>
                  <a:gd name="connsiteY2352" fmla="*/ 5205 h 10000"/>
                  <a:gd name="connsiteX2353" fmla="*/ 207 w 10746"/>
                  <a:gd name="connsiteY2353" fmla="*/ 5239 h 10000"/>
                  <a:gd name="connsiteX2354" fmla="*/ 207 w 10746"/>
                  <a:gd name="connsiteY2354" fmla="*/ 5282 h 10000"/>
                  <a:gd name="connsiteX2355" fmla="*/ 180 w 10746"/>
                  <a:gd name="connsiteY2355" fmla="*/ 5393 h 10000"/>
                  <a:gd name="connsiteX2356" fmla="*/ 194 w 10746"/>
                  <a:gd name="connsiteY2356" fmla="*/ 5427 h 10000"/>
                  <a:gd name="connsiteX2357" fmla="*/ 198 w 10746"/>
                  <a:gd name="connsiteY2357" fmla="*/ 5462 h 10000"/>
                  <a:gd name="connsiteX2358" fmla="*/ 235 w 10746"/>
                  <a:gd name="connsiteY2358" fmla="*/ 5513 h 10000"/>
                  <a:gd name="connsiteX2359" fmla="*/ 240 w 10746"/>
                  <a:gd name="connsiteY2359" fmla="*/ 5556 h 10000"/>
                  <a:gd name="connsiteX2360" fmla="*/ 253 w 10746"/>
                  <a:gd name="connsiteY2360" fmla="*/ 5590 h 10000"/>
                  <a:gd name="connsiteX2361" fmla="*/ 258 w 10746"/>
                  <a:gd name="connsiteY2361" fmla="*/ 5573 h 10000"/>
                  <a:gd name="connsiteX2362" fmla="*/ 258 w 10746"/>
                  <a:gd name="connsiteY2362" fmla="*/ 5667 h 10000"/>
                  <a:gd name="connsiteX2363" fmla="*/ 14 w 10746"/>
                  <a:gd name="connsiteY2363" fmla="*/ 6214 h 10000"/>
                  <a:gd name="connsiteX2364" fmla="*/ 14 w 10746"/>
                  <a:gd name="connsiteY2364" fmla="*/ 6214 h 10000"/>
                  <a:gd name="connsiteX2365" fmla="*/ 37 w 10746"/>
                  <a:gd name="connsiteY2365" fmla="*/ 6214 h 10000"/>
                  <a:gd name="connsiteX2366" fmla="*/ 51 w 10746"/>
                  <a:gd name="connsiteY2366" fmla="*/ 6188 h 10000"/>
                  <a:gd name="connsiteX2367" fmla="*/ 78 w 10746"/>
                  <a:gd name="connsiteY2367" fmla="*/ 6162 h 10000"/>
                  <a:gd name="connsiteX2368" fmla="*/ 78 w 10746"/>
                  <a:gd name="connsiteY2368" fmla="*/ 6188 h 10000"/>
                  <a:gd name="connsiteX2369" fmla="*/ 74 w 10746"/>
                  <a:gd name="connsiteY2369" fmla="*/ 6197 h 10000"/>
                  <a:gd name="connsiteX2370" fmla="*/ 74 w 10746"/>
                  <a:gd name="connsiteY2370" fmla="*/ 6231 h 10000"/>
                  <a:gd name="connsiteX2371" fmla="*/ 74 w 10746"/>
                  <a:gd name="connsiteY2371" fmla="*/ 6214 h 10000"/>
                  <a:gd name="connsiteX2372" fmla="*/ 65 w 10746"/>
                  <a:gd name="connsiteY2372" fmla="*/ 6214 h 10000"/>
                  <a:gd name="connsiteX2373" fmla="*/ 65 w 10746"/>
                  <a:gd name="connsiteY2373" fmla="*/ 6248 h 10000"/>
                  <a:gd name="connsiteX2374" fmla="*/ 74 w 10746"/>
                  <a:gd name="connsiteY2374" fmla="*/ 6256 h 10000"/>
                  <a:gd name="connsiteX2375" fmla="*/ 78 w 10746"/>
                  <a:gd name="connsiteY2375" fmla="*/ 6256 h 10000"/>
                  <a:gd name="connsiteX2376" fmla="*/ 106 w 10746"/>
                  <a:gd name="connsiteY2376" fmla="*/ 6308 h 10000"/>
                  <a:gd name="connsiteX2377" fmla="*/ 138 w 10746"/>
                  <a:gd name="connsiteY2377" fmla="*/ 6299 h 10000"/>
                  <a:gd name="connsiteX2378" fmla="*/ 152 w 10746"/>
                  <a:gd name="connsiteY2378" fmla="*/ 6299 h 10000"/>
                  <a:gd name="connsiteX2379" fmla="*/ 166 w 10746"/>
                  <a:gd name="connsiteY2379" fmla="*/ 6325 h 10000"/>
                  <a:gd name="connsiteX2380" fmla="*/ 166 w 10746"/>
                  <a:gd name="connsiteY2380" fmla="*/ 6333 h 10000"/>
                  <a:gd name="connsiteX2381" fmla="*/ 171 w 10746"/>
                  <a:gd name="connsiteY2381" fmla="*/ 6350 h 10000"/>
                  <a:gd name="connsiteX2382" fmla="*/ 180 w 10746"/>
                  <a:gd name="connsiteY2382" fmla="*/ 6350 h 10000"/>
                  <a:gd name="connsiteX2383" fmla="*/ 180 w 10746"/>
                  <a:gd name="connsiteY2383" fmla="*/ 6359 h 10000"/>
                  <a:gd name="connsiteX2384" fmla="*/ 171 w 10746"/>
                  <a:gd name="connsiteY2384" fmla="*/ 6368 h 10000"/>
                  <a:gd name="connsiteX2385" fmla="*/ 106 w 10746"/>
                  <a:gd name="connsiteY2385" fmla="*/ 6350 h 10000"/>
                  <a:gd name="connsiteX2386" fmla="*/ 101 w 10746"/>
                  <a:gd name="connsiteY2386" fmla="*/ 6359 h 10000"/>
                  <a:gd name="connsiteX2387" fmla="*/ 101 w 10746"/>
                  <a:gd name="connsiteY2387" fmla="*/ 6385 h 10000"/>
                  <a:gd name="connsiteX2388" fmla="*/ 78 w 10746"/>
                  <a:gd name="connsiteY2388" fmla="*/ 6393 h 10000"/>
                  <a:gd name="connsiteX2389" fmla="*/ 74 w 10746"/>
                  <a:gd name="connsiteY2389" fmla="*/ 6385 h 10000"/>
                  <a:gd name="connsiteX2390" fmla="*/ 65 w 10746"/>
                  <a:gd name="connsiteY2390" fmla="*/ 6393 h 10000"/>
                  <a:gd name="connsiteX2391" fmla="*/ 60 w 10746"/>
                  <a:gd name="connsiteY2391" fmla="*/ 6419 h 10000"/>
                  <a:gd name="connsiteX2392" fmla="*/ 51 w 10746"/>
                  <a:gd name="connsiteY2392" fmla="*/ 6419 h 10000"/>
                  <a:gd name="connsiteX2393" fmla="*/ 46 w 10746"/>
                  <a:gd name="connsiteY2393" fmla="*/ 6410 h 10000"/>
                  <a:gd name="connsiteX2394" fmla="*/ 37 w 10746"/>
                  <a:gd name="connsiteY2394" fmla="*/ 6393 h 10000"/>
                  <a:gd name="connsiteX2395" fmla="*/ 32 w 10746"/>
                  <a:gd name="connsiteY2395" fmla="*/ 6419 h 10000"/>
                  <a:gd name="connsiteX2396" fmla="*/ 37 w 10746"/>
                  <a:gd name="connsiteY2396" fmla="*/ 6462 h 10000"/>
                  <a:gd name="connsiteX2397" fmla="*/ 46 w 10746"/>
                  <a:gd name="connsiteY2397" fmla="*/ 6462 h 10000"/>
                  <a:gd name="connsiteX2398" fmla="*/ 51 w 10746"/>
                  <a:gd name="connsiteY2398" fmla="*/ 6470 h 10000"/>
                  <a:gd name="connsiteX2399" fmla="*/ 51 w 10746"/>
                  <a:gd name="connsiteY2399" fmla="*/ 6496 h 10000"/>
                  <a:gd name="connsiteX2400" fmla="*/ 51 w 10746"/>
                  <a:gd name="connsiteY2400" fmla="*/ 6504 h 10000"/>
                  <a:gd name="connsiteX2401" fmla="*/ 37 w 10746"/>
                  <a:gd name="connsiteY2401" fmla="*/ 6530 h 10000"/>
                  <a:gd name="connsiteX2402" fmla="*/ 18 w 10746"/>
                  <a:gd name="connsiteY2402" fmla="*/ 6598 h 10000"/>
                  <a:gd name="connsiteX2403" fmla="*/ 28 w 10746"/>
                  <a:gd name="connsiteY2403" fmla="*/ 6632 h 10000"/>
                  <a:gd name="connsiteX2404" fmla="*/ 18 w 10746"/>
                  <a:gd name="connsiteY2404" fmla="*/ 6667 h 10000"/>
                  <a:gd name="connsiteX2405" fmla="*/ 28 w 10746"/>
                  <a:gd name="connsiteY2405" fmla="*/ 6692 h 10000"/>
                  <a:gd name="connsiteX2406" fmla="*/ 28 w 10746"/>
                  <a:gd name="connsiteY2406" fmla="*/ 6709 h 10000"/>
                  <a:gd name="connsiteX2407" fmla="*/ 18 w 10746"/>
                  <a:gd name="connsiteY2407" fmla="*/ 6718 h 10000"/>
                  <a:gd name="connsiteX2408" fmla="*/ 5 w 10746"/>
                  <a:gd name="connsiteY2408" fmla="*/ 6744 h 10000"/>
                  <a:gd name="connsiteX2409" fmla="*/ 0 w 10746"/>
                  <a:gd name="connsiteY2409" fmla="*/ 6769 h 10000"/>
                  <a:gd name="connsiteX2410" fmla="*/ 5 w 10746"/>
                  <a:gd name="connsiteY2410" fmla="*/ 6778 h 10000"/>
                  <a:gd name="connsiteX2411" fmla="*/ 32 w 10746"/>
                  <a:gd name="connsiteY2411" fmla="*/ 6778 h 10000"/>
                  <a:gd name="connsiteX2412" fmla="*/ 46 w 10746"/>
                  <a:gd name="connsiteY2412" fmla="*/ 6821 h 10000"/>
                  <a:gd name="connsiteX2413" fmla="*/ 46 w 10746"/>
                  <a:gd name="connsiteY2413" fmla="*/ 6855 h 10000"/>
                  <a:gd name="connsiteX2414" fmla="*/ 32 w 10746"/>
                  <a:gd name="connsiteY2414" fmla="*/ 6855 h 10000"/>
                  <a:gd name="connsiteX2415" fmla="*/ 14 w 10746"/>
                  <a:gd name="connsiteY2415" fmla="*/ 6821 h 10000"/>
                  <a:gd name="connsiteX2416" fmla="*/ 14 w 10746"/>
                  <a:gd name="connsiteY2416" fmla="*/ 6846 h 10000"/>
                  <a:gd name="connsiteX2417" fmla="*/ 0 w 10746"/>
                  <a:gd name="connsiteY2417" fmla="*/ 6897 h 10000"/>
                  <a:gd name="connsiteX2418" fmla="*/ 0 w 10746"/>
                  <a:gd name="connsiteY2418" fmla="*/ 6915 h 10000"/>
                  <a:gd name="connsiteX2419" fmla="*/ 5 w 10746"/>
                  <a:gd name="connsiteY2419" fmla="*/ 6932 h 10000"/>
                  <a:gd name="connsiteX2420" fmla="*/ 14 w 10746"/>
                  <a:gd name="connsiteY2420" fmla="*/ 6940 h 10000"/>
                  <a:gd name="connsiteX2421" fmla="*/ 18 w 10746"/>
                  <a:gd name="connsiteY2421" fmla="*/ 6957 h 10000"/>
                  <a:gd name="connsiteX2422" fmla="*/ 28 w 10746"/>
                  <a:gd name="connsiteY2422" fmla="*/ 6966 h 10000"/>
                  <a:gd name="connsiteX2423" fmla="*/ 28 w 10746"/>
                  <a:gd name="connsiteY2423" fmla="*/ 6983 h 10000"/>
                  <a:gd name="connsiteX2424" fmla="*/ 18 w 10746"/>
                  <a:gd name="connsiteY2424" fmla="*/ 7051 h 10000"/>
                  <a:gd name="connsiteX2425" fmla="*/ 28 w 10746"/>
                  <a:gd name="connsiteY2425" fmla="*/ 7068 h 10000"/>
                  <a:gd name="connsiteX2426" fmla="*/ 32 w 10746"/>
                  <a:gd name="connsiteY2426" fmla="*/ 7068 h 10000"/>
                  <a:gd name="connsiteX2427" fmla="*/ 32 w 10746"/>
                  <a:gd name="connsiteY2427" fmla="*/ 7094 h 10000"/>
                  <a:gd name="connsiteX2428" fmla="*/ 60 w 10746"/>
                  <a:gd name="connsiteY2428" fmla="*/ 7162 h 10000"/>
                  <a:gd name="connsiteX2429" fmla="*/ 60 w 10746"/>
                  <a:gd name="connsiteY2429" fmla="*/ 7231 h 10000"/>
                  <a:gd name="connsiteX2430" fmla="*/ 60 w 10746"/>
                  <a:gd name="connsiteY2430" fmla="*/ 7239 h 10000"/>
                  <a:gd name="connsiteX2431" fmla="*/ 78 w 10746"/>
                  <a:gd name="connsiteY2431" fmla="*/ 7239 h 10000"/>
                  <a:gd name="connsiteX2432" fmla="*/ 88 w 10746"/>
                  <a:gd name="connsiteY2432" fmla="*/ 7239 h 10000"/>
                  <a:gd name="connsiteX2433" fmla="*/ 92 w 10746"/>
                  <a:gd name="connsiteY2433" fmla="*/ 7256 h 10000"/>
                  <a:gd name="connsiteX2434" fmla="*/ 111 w 10746"/>
                  <a:gd name="connsiteY2434" fmla="*/ 7256 h 10000"/>
                  <a:gd name="connsiteX2435" fmla="*/ 120 w 10746"/>
                  <a:gd name="connsiteY2435" fmla="*/ 7256 h 10000"/>
                  <a:gd name="connsiteX2436" fmla="*/ 134 w 10746"/>
                  <a:gd name="connsiteY2436" fmla="*/ 7282 h 10000"/>
                  <a:gd name="connsiteX2437" fmla="*/ 134 w 10746"/>
                  <a:gd name="connsiteY2437" fmla="*/ 7316 h 10000"/>
                  <a:gd name="connsiteX2438" fmla="*/ 152 w 10746"/>
                  <a:gd name="connsiteY2438" fmla="*/ 7299 h 10000"/>
                  <a:gd name="connsiteX2439" fmla="*/ 161 w 10746"/>
                  <a:gd name="connsiteY2439" fmla="*/ 7299 h 10000"/>
                  <a:gd name="connsiteX2440" fmla="*/ 166 w 10746"/>
                  <a:gd name="connsiteY2440" fmla="*/ 7291 h 10000"/>
                  <a:gd name="connsiteX2441" fmla="*/ 194 w 10746"/>
                  <a:gd name="connsiteY2441" fmla="*/ 7291 h 10000"/>
                  <a:gd name="connsiteX2442" fmla="*/ 207 w 10746"/>
                  <a:gd name="connsiteY2442" fmla="*/ 7299 h 10000"/>
                  <a:gd name="connsiteX2443" fmla="*/ 221 w 10746"/>
                  <a:gd name="connsiteY2443" fmla="*/ 7342 h 10000"/>
                  <a:gd name="connsiteX2444" fmla="*/ 235 w 10746"/>
                  <a:gd name="connsiteY2444" fmla="*/ 7342 h 10000"/>
                  <a:gd name="connsiteX2445" fmla="*/ 235 w 10746"/>
                  <a:gd name="connsiteY2445" fmla="*/ 7368 h 10000"/>
                  <a:gd name="connsiteX2446" fmla="*/ 226 w 10746"/>
                  <a:gd name="connsiteY2446" fmla="*/ 7393 h 10000"/>
                  <a:gd name="connsiteX2447" fmla="*/ 226 w 10746"/>
                  <a:gd name="connsiteY2447" fmla="*/ 7402 h 10000"/>
                  <a:gd name="connsiteX2448" fmla="*/ 235 w 10746"/>
                  <a:gd name="connsiteY2448" fmla="*/ 7419 h 10000"/>
                  <a:gd name="connsiteX2449" fmla="*/ 240 w 10746"/>
                  <a:gd name="connsiteY2449" fmla="*/ 7436 h 10000"/>
                  <a:gd name="connsiteX2450" fmla="*/ 235 w 10746"/>
                  <a:gd name="connsiteY2450" fmla="*/ 7462 h 10000"/>
                  <a:gd name="connsiteX2451" fmla="*/ 226 w 10746"/>
                  <a:gd name="connsiteY2451" fmla="*/ 7479 h 10000"/>
                  <a:gd name="connsiteX2452" fmla="*/ 226 w 10746"/>
                  <a:gd name="connsiteY2452" fmla="*/ 7504 h 10000"/>
                  <a:gd name="connsiteX2453" fmla="*/ 226 w 10746"/>
                  <a:gd name="connsiteY2453" fmla="*/ 7513 h 10000"/>
                  <a:gd name="connsiteX2454" fmla="*/ 240 w 10746"/>
                  <a:gd name="connsiteY2454" fmla="*/ 7538 h 10000"/>
                  <a:gd name="connsiteX2455" fmla="*/ 267 w 10746"/>
                  <a:gd name="connsiteY2455" fmla="*/ 7641 h 10000"/>
                  <a:gd name="connsiteX2456" fmla="*/ 281 w 10746"/>
                  <a:gd name="connsiteY2456" fmla="*/ 7667 h 10000"/>
                  <a:gd name="connsiteX2457" fmla="*/ 286 w 10746"/>
                  <a:gd name="connsiteY2457" fmla="*/ 7675 h 10000"/>
                  <a:gd name="connsiteX2458" fmla="*/ 286 w 10746"/>
                  <a:gd name="connsiteY2458" fmla="*/ 7692 h 10000"/>
                  <a:gd name="connsiteX2459" fmla="*/ 286 w 10746"/>
                  <a:gd name="connsiteY2459" fmla="*/ 7709 h 10000"/>
                  <a:gd name="connsiteX2460" fmla="*/ 295 w 10746"/>
                  <a:gd name="connsiteY2460" fmla="*/ 7726 h 10000"/>
                  <a:gd name="connsiteX2461" fmla="*/ 318 w 10746"/>
                  <a:gd name="connsiteY2461" fmla="*/ 7709 h 10000"/>
                  <a:gd name="connsiteX2462" fmla="*/ 327 w 10746"/>
                  <a:gd name="connsiteY2462" fmla="*/ 7726 h 10000"/>
                  <a:gd name="connsiteX2463" fmla="*/ 341 w 10746"/>
                  <a:gd name="connsiteY2463" fmla="*/ 7735 h 10000"/>
                  <a:gd name="connsiteX2464" fmla="*/ 332 w 10746"/>
                  <a:gd name="connsiteY2464" fmla="*/ 7752 h 10000"/>
                  <a:gd name="connsiteX2465" fmla="*/ 341 w 10746"/>
                  <a:gd name="connsiteY2465" fmla="*/ 7761 h 10000"/>
                  <a:gd name="connsiteX2466" fmla="*/ 355 w 10746"/>
                  <a:gd name="connsiteY2466" fmla="*/ 7761 h 10000"/>
                  <a:gd name="connsiteX2467" fmla="*/ 355 w 10746"/>
                  <a:gd name="connsiteY2467" fmla="*/ 7803 h 10000"/>
                  <a:gd name="connsiteX2468" fmla="*/ 313 w 10746"/>
                  <a:gd name="connsiteY2468" fmla="*/ 7846 h 10000"/>
                  <a:gd name="connsiteX2469" fmla="*/ 295 w 10746"/>
                  <a:gd name="connsiteY2469" fmla="*/ 7846 h 10000"/>
                  <a:gd name="connsiteX2470" fmla="*/ 281 w 10746"/>
                  <a:gd name="connsiteY2470" fmla="*/ 7821 h 10000"/>
                  <a:gd name="connsiteX2471" fmla="*/ 272 w 10746"/>
                  <a:gd name="connsiteY2471" fmla="*/ 7821 h 10000"/>
                  <a:gd name="connsiteX2472" fmla="*/ 267 w 10746"/>
                  <a:gd name="connsiteY2472" fmla="*/ 7838 h 10000"/>
                  <a:gd name="connsiteX2473" fmla="*/ 258 w 10746"/>
                  <a:gd name="connsiteY2473" fmla="*/ 7846 h 10000"/>
                  <a:gd name="connsiteX2474" fmla="*/ 253 w 10746"/>
                  <a:gd name="connsiteY2474" fmla="*/ 7863 h 10000"/>
                  <a:gd name="connsiteX2475" fmla="*/ 253 w 10746"/>
                  <a:gd name="connsiteY2475" fmla="*/ 7872 h 10000"/>
                  <a:gd name="connsiteX2476" fmla="*/ 267 w 10746"/>
                  <a:gd name="connsiteY2476" fmla="*/ 7897 h 10000"/>
                  <a:gd name="connsiteX2477" fmla="*/ 272 w 10746"/>
                  <a:gd name="connsiteY2477" fmla="*/ 7915 h 10000"/>
                  <a:gd name="connsiteX2478" fmla="*/ 267 w 10746"/>
                  <a:gd name="connsiteY2478" fmla="*/ 7940 h 10000"/>
                  <a:gd name="connsiteX2479" fmla="*/ 272 w 10746"/>
                  <a:gd name="connsiteY2479" fmla="*/ 7949 h 10000"/>
                  <a:gd name="connsiteX2480" fmla="*/ 272 w 10746"/>
                  <a:gd name="connsiteY2480" fmla="*/ 7957 h 10000"/>
                  <a:gd name="connsiteX2481" fmla="*/ 281 w 10746"/>
                  <a:gd name="connsiteY2481" fmla="*/ 7974 h 10000"/>
                  <a:gd name="connsiteX2482" fmla="*/ 286 w 10746"/>
                  <a:gd name="connsiteY2482" fmla="*/ 7983 h 10000"/>
                  <a:gd name="connsiteX2483" fmla="*/ 281 w 10746"/>
                  <a:gd name="connsiteY2483" fmla="*/ 8009 h 10000"/>
                  <a:gd name="connsiteX2484" fmla="*/ 286 w 10746"/>
                  <a:gd name="connsiteY2484" fmla="*/ 8060 h 10000"/>
                  <a:gd name="connsiteX2485" fmla="*/ 286 w 10746"/>
                  <a:gd name="connsiteY2485" fmla="*/ 8060 h 10000"/>
                  <a:gd name="connsiteX2486" fmla="*/ 295 w 10746"/>
                  <a:gd name="connsiteY2486" fmla="*/ 8077 h 10000"/>
                  <a:gd name="connsiteX2487" fmla="*/ 309 w 10746"/>
                  <a:gd name="connsiteY2487" fmla="*/ 8077 h 10000"/>
                  <a:gd name="connsiteX2488" fmla="*/ 313 w 10746"/>
                  <a:gd name="connsiteY2488" fmla="*/ 8060 h 10000"/>
                  <a:gd name="connsiteX2489" fmla="*/ 318 w 10746"/>
                  <a:gd name="connsiteY2489" fmla="*/ 8051 h 10000"/>
                  <a:gd name="connsiteX2490" fmla="*/ 318 w 10746"/>
                  <a:gd name="connsiteY2490" fmla="*/ 8034 h 10000"/>
                  <a:gd name="connsiteX2491" fmla="*/ 332 w 10746"/>
                  <a:gd name="connsiteY2491" fmla="*/ 8026 h 10000"/>
                  <a:gd name="connsiteX2492" fmla="*/ 359 w 10746"/>
                  <a:gd name="connsiteY2492" fmla="*/ 8034 h 10000"/>
                  <a:gd name="connsiteX2493" fmla="*/ 378 w 10746"/>
                  <a:gd name="connsiteY2493" fmla="*/ 8026 h 10000"/>
                  <a:gd name="connsiteX2494" fmla="*/ 401 w 10746"/>
                  <a:gd name="connsiteY2494" fmla="*/ 8026 h 10000"/>
                  <a:gd name="connsiteX2495" fmla="*/ 419 w 10746"/>
                  <a:gd name="connsiteY2495" fmla="*/ 8009 h 10000"/>
                  <a:gd name="connsiteX2496" fmla="*/ 433 w 10746"/>
                  <a:gd name="connsiteY2496" fmla="*/ 8034 h 10000"/>
                  <a:gd name="connsiteX2497" fmla="*/ 442 w 10746"/>
                  <a:gd name="connsiteY2497" fmla="*/ 8060 h 10000"/>
                  <a:gd name="connsiteX2498" fmla="*/ 442 w 10746"/>
                  <a:gd name="connsiteY2498" fmla="*/ 8077 h 10000"/>
                  <a:gd name="connsiteX2499" fmla="*/ 461 w 10746"/>
                  <a:gd name="connsiteY2499" fmla="*/ 8111 h 10000"/>
                  <a:gd name="connsiteX2500" fmla="*/ 461 w 10746"/>
                  <a:gd name="connsiteY2500" fmla="*/ 8137 h 10000"/>
                  <a:gd name="connsiteX2501" fmla="*/ 447 w 10746"/>
                  <a:gd name="connsiteY2501" fmla="*/ 8145 h 10000"/>
                  <a:gd name="connsiteX2502" fmla="*/ 442 w 10746"/>
                  <a:gd name="connsiteY2502" fmla="*/ 8145 h 10000"/>
                  <a:gd name="connsiteX2503" fmla="*/ 442 w 10746"/>
                  <a:gd name="connsiteY2503" fmla="*/ 8162 h 10000"/>
                  <a:gd name="connsiteX2504" fmla="*/ 442 w 10746"/>
                  <a:gd name="connsiteY2504" fmla="*/ 8171 h 10000"/>
                  <a:gd name="connsiteX2505" fmla="*/ 447 w 10746"/>
                  <a:gd name="connsiteY2505" fmla="*/ 8214 h 10000"/>
                  <a:gd name="connsiteX2506" fmla="*/ 465 w 10746"/>
                  <a:gd name="connsiteY2506" fmla="*/ 8231 h 10000"/>
                  <a:gd name="connsiteX2507" fmla="*/ 488 w 10746"/>
                  <a:gd name="connsiteY2507" fmla="*/ 8231 h 10000"/>
                  <a:gd name="connsiteX2508" fmla="*/ 493 w 10746"/>
                  <a:gd name="connsiteY2508" fmla="*/ 8231 h 10000"/>
                  <a:gd name="connsiteX2509" fmla="*/ 502 w 10746"/>
                  <a:gd name="connsiteY2509" fmla="*/ 8231 h 10000"/>
                  <a:gd name="connsiteX2510" fmla="*/ 507 w 10746"/>
                  <a:gd name="connsiteY2510" fmla="*/ 8248 h 10000"/>
                  <a:gd name="connsiteX2511" fmla="*/ 521 w 10746"/>
                  <a:gd name="connsiteY2511" fmla="*/ 8274 h 10000"/>
                  <a:gd name="connsiteX2512" fmla="*/ 525 w 10746"/>
                  <a:gd name="connsiteY2512" fmla="*/ 8333 h 10000"/>
                  <a:gd name="connsiteX2513" fmla="*/ 525 w 10746"/>
                  <a:gd name="connsiteY2513" fmla="*/ 8359 h 10000"/>
                  <a:gd name="connsiteX2514" fmla="*/ 525 w 10746"/>
                  <a:gd name="connsiteY2514" fmla="*/ 8368 h 10000"/>
                  <a:gd name="connsiteX2515" fmla="*/ 548 w 10746"/>
                  <a:gd name="connsiteY2515" fmla="*/ 8393 h 10000"/>
                  <a:gd name="connsiteX2516" fmla="*/ 553 w 10746"/>
                  <a:gd name="connsiteY2516" fmla="*/ 8385 h 10000"/>
                  <a:gd name="connsiteX2517" fmla="*/ 562 w 10746"/>
                  <a:gd name="connsiteY2517" fmla="*/ 8385 h 10000"/>
                  <a:gd name="connsiteX2518" fmla="*/ 576 w 10746"/>
                  <a:gd name="connsiteY2518" fmla="*/ 8385 h 10000"/>
                  <a:gd name="connsiteX2519" fmla="*/ 585 w 10746"/>
                  <a:gd name="connsiteY2519" fmla="*/ 8410 h 10000"/>
                  <a:gd name="connsiteX2520" fmla="*/ 594 w 10746"/>
                  <a:gd name="connsiteY2520" fmla="*/ 8410 h 10000"/>
                  <a:gd name="connsiteX2521" fmla="*/ 608 w 10746"/>
                  <a:gd name="connsiteY2521" fmla="*/ 8410 h 10000"/>
                  <a:gd name="connsiteX2522" fmla="*/ 654 w 10746"/>
                  <a:gd name="connsiteY2522" fmla="*/ 8385 h 10000"/>
                  <a:gd name="connsiteX2523" fmla="*/ 659 w 10746"/>
                  <a:gd name="connsiteY2523" fmla="*/ 8385 h 10000"/>
                  <a:gd name="connsiteX2524" fmla="*/ 696 w 10746"/>
                  <a:gd name="connsiteY2524" fmla="*/ 8470 h 10000"/>
                  <a:gd name="connsiteX2525" fmla="*/ 700 w 10746"/>
                  <a:gd name="connsiteY2525" fmla="*/ 8470 h 10000"/>
                  <a:gd name="connsiteX2526" fmla="*/ 710 w 10746"/>
                  <a:gd name="connsiteY2526" fmla="*/ 8462 h 10000"/>
                  <a:gd name="connsiteX2527" fmla="*/ 714 w 10746"/>
                  <a:gd name="connsiteY2527" fmla="*/ 8462 h 10000"/>
                  <a:gd name="connsiteX2528" fmla="*/ 724 w 10746"/>
                  <a:gd name="connsiteY2528" fmla="*/ 8470 h 10000"/>
                  <a:gd name="connsiteX2529" fmla="*/ 733 w 10746"/>
                  <a:gd name="connsiteY2529" fmla="*/ 8470 h 10000"/>
                  <a:gd name="connsiteX2530" fmla="*/ 742 w 10746"/>
                  <a:gd name="connsiteY2530" fmla="*/ 8487 h 10000"/>
                  <a:gd name="connsiteX2531" fmla="*/ 747 w 10746"/>
                  <a:gd name="connsiteY2531" fmla="*/ 8496 h 10000"/>
                  <a:gd name="connsiteX2532" fmla="*/ 770 w 10746"/>
                  <a:gd name="connsiteY2532" fmla="*/ 8496 h 10000"/>
                  <a:gd name="connsiteX2533" fmla="*/ 783 w 10746"/>
                  <a:gd name="connsiteY2533" fmla="*/ 8521 h 10000"/>
                  <a:gd name="connsiteX2534" fmla="*/ 797 w 10746"/>
                  <a:gd name="connsiteY2534" fmla="*/ 8521 h 10000"/>
                  <a:gd name="connsiteX2535" fmla="*/ 806 w 10746"/>
                  <a:gd name="connsiteY2535" fmla="*/ 8530 h 10000"/>
                  <a:gd name="connsiteX2536" fmla="*/ 829 w 10746"/>
                  <a:gd name="connsiteY2536" fmla="*/ 8547 h 10000"/>
                  <a:gd name="connsiteX2537" fmla="*/ 834 w 10746"/>
                  <a:gd name="connsiteY2537" fmla="*/ 8556 h 10000"/>
                  <a:gd name="connsiteX2538" fmla="*/ 829 w 10746"/>
                  <a:gd name="connsiteY2538" fmla="*/ 8556 h 10000"/>
                  <a:gd name="connsiteX2539" fmla="*/ 834 w 10746"/>
                  <a:gd name="connsiteY2539" fmla="*/ 8607 h 10000"/>
                  <a:gd name="connsiteX2540" fmla="*/ 829 w 10746"/>
                  <a:gd name="connsiteY2540" fmla="*/ 8641 h 10000"/>
                  <a:gd name="connsiteX2541" fmla="*/ 806 w 10746"/>
                  <a:gd name="connsiteY2541" fmla="*/ 8658 h 10000"/>
                  <a:gd name="connsiteX2542" fmla="*/ 816 w 10746"/>
                  <a:gd name="connsiteY2542" fmla="*/ 8667 h 10000"/>
                  <a:gd name="connsiteX2543" fmla="*/ 820 w 10746"/>
                  <a:gd name="connsiteY2543" fmla="*/ 8667 h 10000"/>
                  <a:gd name="connsiteX2544" fmla="*/ 829 w 10746"/>
                  <a:gd name="connsiteY2544" fmla="*/ 8684 h 10000"/>
                  <a:gd name="connsiteX2545" fmla="*/ 806 w 10746"/>
                  <a:gd name="connsiteY2545" fmla="*/ 8692 h 10000"/>
                  <a:gd name="connsiteX2546" fmla="*/ 802 w 10746"/>
                  <a:gd name="connsiteY2546" fmla="*/ 8709 h 10000"/>
                  <a:gd name="connsiteX2547" fmla="*/ 802 w 10746"/>
                  <a:gd name="connsiteY2547" fmla="*/ 8735 h 10000"/>
                  <a:gd name="connsiteX2548" fmla="*/ 806 w 10746"/>
                  <a:gd name="connsiteY2548" fmla="*/ 8744 h 10000"/>
                  <a:gd name="connsiteX2549" fmla="*/ 816 w 10746"/>
                  <a:gd name="connsiteY2549" fmla="*/ 8752 h 10000"/>
                  <a:gd name="connsiteX2550" fmla="*/ 806 w 10746"/>
                  <a:gd name="connsiteY2550" fmla="*/ 8778 h 10000"/>
                  <a:gd name="connsiteX2551" fmla="*/ 820 w 10746"/>
                  <a:gd name="connsiteY2551" fmla="*/ 8778 h 10000"/>
                  <a:gd name="connsiteX2552" fmla="*/ 806 w 10746"/>
                  <a:gd name="connsiteY2552" fmla="*/ 8880 h 10000"/>
                  <a:gd name="connsiteX2553" fmla="*/ 797 w 10746"/>
                  <a:gd name="connsiteY2553" fmla="*/ 8880 h 10000"/>
                  <a:gd name="connsiteX2554" fmla="*/ 783 w 10746"/>
                  <a:gd name="connsiteY2554" fmla="*/ 8872 h 10000"/>
                  <a:gd name="connsiteX2555" fmla="*/ 770 w 10746"/>
                  <a:gd name="connsiteY2555" fmla="*/ 8880 h 10000"/>
                  <a:gd name="connsiteX2556" fmla="*/ 756 w 10746"/>
                  <a:gd name="connsiteY2556" fmla="*/ 8855 h 10000"/>
                  <a:gd name="connsiteX2557" fmla="*/ 733 w 10746"/>
                  <a:gd name="connsiteY2557" fmla="*/ 8906 h 10000"/>
                  <a:gd name="connsiteX2558" fmla="*/ 714 w 10746"/>
                  <a:gd name="connsiteY2558" fmla="*/ 8915 h 10000"/>
                  <a:gd name="connsiteX2559" fmla="*/ 710 w 10746"/>
                  <a:gd name="connsiteY2559" fmla="*/ 8940 h 10000"/>
                  <a:gd name="connsiteX2560" fmla="*/ 710 w 10746"/>
                  <a:gd name="connsiteY2560" fmla="*/ 9009 h 10000"/>
                  <a:gd name="connsiteX2561" fmla="*/ 728 w 10746"/>
                  <a:gd name="connsiteY2561" fmla="*/ 8991 h 10000"/>
                  <a:gd name="connsiteX2562" fmla="*/ 733 w 10746"/>
                  <a:gd name="connsiteY2562" fmla="*/ 8991 h 10000"/>
                  <a:gd name="connsiteX2563" fmla="*/ 747 w 10746"/>
                  <a:gd name="connsiteY2563" fmla="*/ 8983 h 10000"/>
                  <a:gd name="connsiteX2564" fmla="*/ 760 w 10746"/>
                  <a:gd name="connsiteY2564" fmla="*/ 8983 h 10000"/>
                  <a:gd name="connsiteX2565" fmla="*/ 770 w 10746"/>
                  <a:gd name="connsiteY2565" fmla="*/ 8983 h 10000"/>
                  <a:gd name="connsiteX2566" fmla="*/ 770 w 10746"/>
                  <a:gd name="connsiteY2566" fmla="*/ 8991 h 10000"/>
                  <a:gd name="connsiteX2567" fmla="*/ 783 w 10746"/>
                  <a:gd name="connsiteY2567" fmla="*/ 8991 h 10000"/>
                  <a:gd name="connsiteX2568" fmla="*/ 783 w 10746"/>
                  <a:gd name="connsiteY2568" fmla="*/ 9009 h 10000"/>
                  <a:gd name="connsiteX2569" fmla="*/ 783 w 10746"/>
                  <a:gd name="connsiteY2569" fmla="*/ 9017 h 10000"/>
                  <a:gd name="connsiteX2570" fmla="*/ 770 w 10746"/>
                  <a:gd name="connsiteY2570" fmla="*/ 9017 h 10000"/>
                  <a:gd name="connsiteX2571" fmla="*/ 724 w 10746"/>
                  <a:gd name="connsiteY2571" fmla="*/ 9051 h 10000"/>
                  <a:gd name="connsiteX2572" fmla="*/ 724 w 10746"/>
                  <a:gd name="connsiteY2572" fmla="*/ 9068 h 10000"/>
                  <a:gd name="connsiteX2573" fmla="*/ 728 w 10746"/>
                  <a:gd name="connsiteY2573" fmla="*/ 9077 h 10000"/>
                  <a:gd name="connsiteX2574" fmla="*/ 724 w 10746"/>
                  <a:gd name="connsiteY2574" fmla="*/ 9077 h 10000"/>
                  <a:gd name="connsiteX2575" fmla="*/ 710 w 10746"/>
                  <a:gd name="connsiteY2575" fmla="*/ 9077 h 10000"/>
                  <a:gd name="connsiteX2576" fmla="*/ 682 w 10746"/>
                  <a:gd name="connsiteY2576" fmla="*/ 9077 h 10000"/>
                  <a:gd name="connsiteX2577" fmla="*/ 673 w 10746"/>
                  <a:gd name="connsiteY2577" fmla="*/ 9103 h 10000"/>
                  <a:gd name="connsiteX2578" fmla="*/ 687 w 10746"/>
                  <a:gd name="connsiteY2578" fmla="*/ 9128 h 10000"/>
                  <a:gd name="connsiteX2579" fmla="*/ 700 w 10746"/>
                  <a:gd name="connsiteY2579" fmla="*/ 9128 h 10000"/>
                  <a:gd name="connsiteX2580" fmla="*/ 728 w 10746"/>
                  <a:gd name="connsiteY2580" fmla="*/ 9179 h 10000"/>
                  <a:gd name="connsiteX2581" fmla="*/ 724 w 10746"/>
                  <a:gd name="connsiteY2581" fmla="*/ 9188 h 10000"/>
                  <a:gd name="connsiteX2582" fmla="*/ 710 w 10746"/>
                  <a:gd name="connsiteY2582" fmla="*/ 9179 h 10000"/>
                  <a:gd name="connsiteX2583" fmla="*/ 700 w 10746"/>
                  <a:gd name="connsiteY2583" fmla="*/ 9205 h 10000"/>
                  <a:gd name="connsiteX2584" fmla="*/ 696 w 10746"/>
                  <a:gd name="connsiteY2584" fmla="*/ 9205 h 10000"/>
                  <a:gd name="connsiteX2585" fmla="*/ 654 w 10746"/>
                  <a:gd name="connsiteY2585" fmla="*/ 9299 h 10000"/>
                  <a:gd name="connsiteX2586" fmla="*/ 622 w 10746"/>
                  <a:gd name="connsiteY2586" fmla="*/ 9299 h 10000"/>
                  <a:gd name="connsiteX2587" fmla="*/ 613 w 10746"/>
                  <a:gd name="connsiteY2587" fmla="*/ 9316 h 10000"/>
                  <a:gd name="connsiteX2588" fmla="*/ 613 w 10746"/>
                  <a:gd name="connsiteY2588" fmla="*/ 9325 h 10000"/>
                  <a:gd name="connsiteX2589" fmla="*/ 608 w 10746"/>
                  <a:gd name="connsiteY2589" fmla="*/ 9342 h 10000"/>
                  <a:gd name="connsiteX2590" fmla="*/ 636 w 10746"/>
                  <a:gd name="connsiteY2590" fmla="*/ 9376 h 10000"/>
                  <a:gd name="connsiteX2591" fmla="*/ 641 w 10746"/>
                  <a:gd name="connsiteY2591" fmla="*/ 9402 h 10000"/>
                  <a:gd name="connsiteX2592" fmla="*/ 654 w 10746"/>
                  <a:gd name="connsiteY2592" fmla="*/ 9427 h 10000"/>
                  <a:gd name="connsiteX2593" fmla="*/ 668 w 10746"/>
                  <a:gd name="connsiteY2593" fmla="*/ 9427 h 10000"/>
                  <a:gd name="connsiteX2594" fmla="*/ 668 w 10746"/>
                  <a:gd name="connsiteY2594" fmla="*/ 9427 h 10000"/>
                  <a:gd name="connsiteX2595" fmla="*/ 774 w 10746"/>
                  <a:gd name="connsiteY2595" fmla="*/ 9547 h 10000"/>
                  <a:gd name="connsiteX2596" fmla="*/ 797 w 10746"/>
                  <a:gd name="connsiteY2596" fmla="*/ 9598 h 10000"/>
                  <a:gd name="connsiteX2597" fmla="*/ 802 w 10746"/>
                  <a:gd name="connsiteY2597" fmla="*/ 9598 h 10000"/>
                  <a:gd name="connsiteX2598" fmla="*/ 816 w 10746"/>
                  <a:gd name="connsiteY2598" fmla="*/ 9624 h 10000"/>
                  <a:gd name="connsiteX2599" fmla="*/ 843 w 10746"/>
                  <a:gd name="connsiteY2599" fmla="*/ 9615 h 10000"/>
                  <a:gd name="connsiteX2600" fmla="*/ 857 w 10746"/>
                  <a:gd name="connsiteY2600" fmla="*/ 9624 h 10000"/>
                  <a:gd name="connsiteX2601" fmla="*/ 862 w 10746"/>
                  <a:gd name="connsiteY2601" fmla="*/ 9615 h 10000"/>
                  <a:gd name="connsiteX2602" fmla="*/ 880 w 10746"/>
                  <a:gd name="connsiteY2602" fmla="*/ 9624 h 10000"/>
                  <a:gd name="connsiteX2603" fmla="*/ 889 w 10746"/>
                  <a:gd name="connsiteY2603" fmla="*/ 9641 h 10000"/>
                  <a:gd name="connsiteX2604" fmla="*/ 935 w 10746"/>
                  <a:gd name="connsiteY2604" fmla="*/ 9675 h 10000"/>
                  <a:gd name="connsiteX2605" fmla="*/ 977 w 10746"/>
                  <a:gd name="connsiteY2605" fmla="*/ 9667 h 10000"/>
                  <a:gd name="connsiteX2606" fmla="*/ 995 w 10746"/>
                  <a:gd name="connsiteY2606" fmla="*/ 9675 h 10000"/>
                  <a:gd name="connsiteX2607" fmla="*/ 1014 w 10746"/>
                  <a:gd name="connsiteY2607" fmla="*/ 9675 h 10000"/>
                  <a:gd name="connsiteX2608" fmla="*/ 1069 w 10746"/>
                  <a:gd name="connsiteY2608" fmla="*/ 9752 h 10000"/>
                  <a:gd name="connsiteX2609" fmla="*/ 1074 w 10746"/>
                  <a:gd name="connsiteY2609" fmla="*/ 9761 h 10000"/>
                  <a:gd name="connsiteX2610" fmla="*/ 1083 w 10746"/>
                  <a:gd name="connsiteY2610" fmla="*/ 9778 h 10000"/>
                  <a:gd name="connsiteX2611" fmla="*/ 1115 w 10746"/>
                  <a:gd name="connsiteY2611" fmla="*/ 9752 h 10000"/>
                  <a:gd name="connsiteX2612" fmla="*/ 1129 w 10746"/>
                  <a:gd name="connsiteY2612" fmla="*/ 9752 h 10000"/>
                  <a:gd name="connsiteX2613" fmla="*/ 1138 w 10746"/>
                  <a:gd name="connsiteY2613" fmla="*/ 9761 h 10000"/>
                  <a:gd name="connsiteX2614" fmla="*/ 1143 w 10746"/>
                  <a:gd name="connsiteY2614" fmla="*/ 9752 h 10000"/>
                  <a:gd name="connsiteX2615" fmla="*/ 1161 w 10746"/>
                  <a:gd name="connsiteY2615" fmla="*/ 9761 h 10000"/>
                  <a:gd name="connsiteX2616" fmla="*/ 1171 w 10746"/>
                  <a:gd name="connsiteY2616" fmla="*/ 9778 h 10000"/>
                  <a:gd name="connsiteX2617" fmla="*/ 1175 w 10746"/>
                  <a:gd name="connsiteY2617" fmla="*/ 9778 h 10000"/>
                  <a:gd name="connsiteX2618" fmla="*/ 1189 w 10746"/>
                  <a:gd name="connsiteY2618" fmla="*/ 9778 h 10000"/>
                  <a:gd name="connsiteX2619" fmla="*/ 1198 w 10746"/>
                  <a:gd name="connsiteY2619" fmla="*/ 9786 h 10000"/>
                  <a:gd name="connsiteX2620" fmla="*/ 1203 w 10746"/>
                  <a:gd name="connsiteY2620" fmla="*/ 9803 h 10000"/>
                  <a:gd name="connsiteX2621" fmla="*/ 1198 w 10746"/>
                  <a:gd name="connsiteY2621" fmla="*/ 9838 h 10000"/>
                  <a:gd name="connsiteX2622" fmla="*/ 1212 w 10746"/>
                  <a:gd name="connsiteY2622" fmla="*/ 9863 h 10000"/>
                  <a:gd name="connsiteX2623" fmla="*/ 1230 w 10746"/>
                  <a:gd name="connsiteY2623" fmla="*/ 9872 h 10000"/>
                  <a:gd name="connsiteX2624" fmla="*/ 1249 w 10746"/>
                  <a:gd name="connsiteY2624" fmla="*/ 9897 h 10000"/>
                  <a:gd name="connsiteX2625" fmla="*/ 1263 w 10746"/>
                  <a:gd name="connsiteY2625" fmla="*/ 9897 h 10000"/>
                  <a:gd name="connsiteX2626" fmla="*/ 1276 w 10746"/>
                  <a:gd name="connsiteY2626" fmla="*/ 9923 h 10000"/>
                  <a:gd name="connsiteX2627" fmla="*/ 1281 w 10746"/>
                  <a:gd name="connsiteY2627" fmla="*/ 9949 h 10000"/>
                  <a:gd name="connsiteX2628" fmla="*/ 1290 w 10746"/>
                  <a:gd name="connsiteY2628" fmla="*/ 9949 h 10000"/>
                  <a:gd name="connsiteX2629" fmla="*/ 1295 w 10746"/>
                  <a:gd name="connsiteY2629" fmla="*/ 10000 h 10000"/>
                  <a:gd name="connsiteX2630" fmla="*/ 1332 w 10746"/>
                  <a:gd name="connsiteY2630" fmla="*/ 10000 h 10000"/>
                  <a:gd name="connsiteX2631" fmla="*/ 1336 w 10746"/>
                  <a:gd name="connsiteY2631" fmla="*/ 10000 h 10000"/>
                  <a:gd name="connsiteX2632" fmla="*/ 1346 w 10746"/>
                  <a:gd name="connsiteY2632" fmla="*/ 9983 h 10000"/>
                  <a:gd name="connsiteX2633" fmla="*/ 1350 w 10746"/>
                  <a:gd name="connsiteY2633" fmla="*/ 9949 h 10000"/>
                  <a:gd name="connsiteX2634" fmla="*/ 1369 w 10746"/>
                  <a:gd name="connsiteY2634" fmla="*/ 9940 h 10000"/>
                  <a:gd name="connsiteX2635" fmla="*/ 1378 w 10746"/>
                  <a:gd name="connsiteY2635" fmla="*/ 9897 h 10000"/>
                  <a:gd name="connsiteX2636" fmla="*/ 1369 w 10746"/>
                  <a:gd name="connsiteY2636" fmla="*/ 9889 h 10000"/>
                  <a:gd name="connsiteX2637" fmla="*/ 1318 w 10746"/>
                  <a:gd name="connsiteY2637" fmla="*/ 9701 h 10000"/>
                  <a:gd name="connsiteX2638" fmla="*/ 1318 w 10746"/>
                  <a:gd name="connsiteY2638" fmla="*/ 9650 h 10000"/>
                  <a:gd name="connsiteX2639" fmla="*/ 1323 w 10746"/>
                  <a:gd name="connsiteY2639" fmla="*/ 9590 h 10000"/>
                  <a:gd name="connsiteX2640" fmla="*/ 1323 w 10746"/>
                  <a:gd name="connsiteY2640" fmla="*/ 9564 h 10000"/>
                  <a:gd name="connsiteX2641" fmla="*/ 1309 w 10746"/>
                  <a:gd name="connsiteY2641" fmla="*/ 9598 h 10000"/>
                  <a:gd name="connsiteX2642" fmla="*/ 1309 w 10746"/>
                  <a:gd name="connsiteY2642" fmla="*/ 9590 h 10000"/>
                  <a:gd name="connsiteX2643" fmla="*/ 1304 w 10746"/>
                  <a:gd name="connsiteY2643" fmla="*/ 9547 h 10000"/>
                  <a:gd name="connsiteX2644" fmla="*/ 1276 w 10746"/>
                  <a:gd name="connsiteY2644" fmla="*/ 9479 h 10000"/>
                  <a:gd name="connsiteX2645" fmla="*/ 1263 w 10746"/>
                  <a:gd name="connsiteY2645" fmla="*/ 9479 h 10000"/>
                  <a:gd name="connsiteX2646" fmla="*/ 1263 w 10746"/>
                  <a:gd name="connsiteY2646" fmla="*/ 9453 h 10000"/>
                  <a:gd name="connsiteX2647" fmla="*/ 1272 w 10746"/>
                  <a:gd name="connsiteY2647" fmla="*/ 9410 h 10000"/>
                  <a:gd name="connsiteX2648" fmla="*/ 1272 w 10746"/>
                  <a:gd name="connsiteY2648" fmla="*/ 9393 h 10000"/>
                  <a:gd name="connsiteX2649" fmla="*/ 1281 w 10746"/>
                  <a:gd name="connsiteY2649" fmla="*/ 9368 h 10000"/>
                  <a:gd name="connsiteX2650" fmla="*/ 1281 w 10746"/>
                  <a:gd name="connsiteY2650" fmla="*/ 9368 h 10000"/>
                  <a:gd name="connsiteX2651" fmla="*/ 1290 w 10746"/>
                  <a:gd name="connsiteY2651" fmla="*/ 9368 h 10000"/>
                  <a:gd name="connsiteX2652" fmla="*/ 1290 w 10746"/>
                  <a:gd name="connsiteY2652" fmla="*/ 9342 h 10000"/>
                  <a:gd name="connsiteX2653" fmla="*/ 1304 w 10746"/>
                  <a:gd name="connsiteY2653" fmla="*/ 9325 h 10000"/>
                  <a:gd name="connsiteX2654" fmla="*/ 1309 w 10746"/>
                  <a:gd name="connsiteY2654" fmla="*/ 9239 h 10000"/>
                  <a:gd name="connsiteX2655" fmla="*/ 1318 w 10746"/>
                  <a:gd name="connsiteY2655" fmla="*/ 9256 h 10000"/>
                  <a:gd name="connsiteX2656" fmla="*/ 1323 w 10746"/>
                  <a:gd name="connsiteY2656" fmla="*/ 9179 h 10000"/>
                  <a:gd name="connsiteX2657" fmla="*/ 1309 w 10746"/>
                  <a:gd name="connsiteY2657" fmla="*/ 9145 h 10000"/>
                  <a:gd name="connsiteX2658" fmla="*/ 1336 w 10746"/>
                  <a:gd name="connsiteY2658" fmla="*/ 9154 h 10000"/>
                  <a:gd name="connsiteX2659" fmla="*/ 1336 w 10746"/>
                  <a:gd name="connsiteY2659" fmla="*/ 9162 h 10000"/>
                  <a:gd name="connsiteX2660" fmla="*/ 1350 w 10746"/>
                  <a:gd name="connsiteY2660" fmla="*/ 9231 h 10000"/>
                  <a:gd name="connsiteX2661" fmla="*/ 1355 w 10746"/>
                  <a:gd name="connsiteY2661" fmla="*/ 9231 h 10000"/>
                  <a:gd name="connsiteX2662" fmla="*/ 1364 w 10746"/>
                  <a:gd name="connsiteY2662" fmla="*/ 9214 h 10000"/>
                  <a:gd name="connsiteX2663" fmla="*/ 1369 w 10746"/>
                  <a:gd name="connsiteY2663" fmla="*/ 9214 h 10000"/>
                  <a:gd name="connsiteX2664" fmla="*/ 1382 w 10746"/>
                  <a:gd name="connsiteY2664" fmla="*/ 9154 h 10000"/>
                  <a:gd name="connsiteX2665" fmla="*/ 1396 w 10746"/>
                  <a:gd name="connsiteY2665" fmla="*/ 9154 h 10000"/>
                  <a:gd name="connsiteX2666" fmla="*/ 1382 w 10746"/>
                  <a:gd name="connsiteY2666" fmla="*/ 9145 h 10000"/>
                  <a:gd name="connsiteX2667" fmla="*/ 1382 w 10746"/>
                  <a:gd name="connsiteY2667" fmla="*/ 9128 h 10000"/>
                  <a:gd name="connsiteX2668" fmla="*/ 1369 w 10746"/>
                  <a:gd name="connsiteY2668" fmla="*/ 9128 h 10000"/>
                  <a:gd name="connsiteX2669" fmla="*/ 1364 w 10746"/>
                  <a:gd name="connsiteY2669" fmla="*/ 9128 h 10000"/>
                  <a:gd name="connsiteX2670" fmla="*/ 1355 w 10746"/>
                  <a:gd name="connsiteY2670" fmla="*/ 9120 h 10000"/>
                  <a:gd name="connsiteX2671" fmla="*/ 1350 w 10746"/>
                  <a:gd name="connsiteY2671" fmla="*/ 9103 h 10000"/>
                  <a:gd name="connsiteX2672" fmla="*/ 1355 w 10746"/>
                  <a:gd name="connsiteY2672" fmla="*/ 9094 h 10000"/>
                  <a:gd name="connsiteX2673" fmla="*/ 1355 w 10746"/>
                  <a:gd name="connsiteY2673" fmla="*/ 9068 h 10000"/>
                  <a:gd name="connsiteX2674" fmla="*/ 1369 w 10746"/>
                  <a:gd name="connsiteY2674" fmla="*/ 9068 h 10000"/>
                  <a:gd name="connsiteX2675" fmla="*/ 1378 w 10746"/>
                  <a:gd name="connsiteY2675" fmla="*/ 9077 h 10000"/>
                  <a:gd name="connsiteX2676" fmla="*/ 1396 w 10746"/>
                  <a:gd name="connsiteY2676" fmla="*/ 9068 h 10000"/>
                  <a:gd name="connsiteX2677" fmla="*/ 1382 w 10746"/>
                  <a:gd name="connsiteY2677" fmla="*/ 8940 h 10000"/>
                  <a:gd name="connsiteX2678" fmla="*/ 1378 w 10746"/>
                  <a:gd name="connsiteY2678" fmla="*/ 8940 h 10000"/>
                  <a:gd name="connsiteX2679" fmla="*/ 1364 w 10746"/>
                  <a:gd name="connsiteY2679" fmla="*/ 8889 h 10000"/>
                  <a:gd name="connsiteX2680" fmla="*/ 1355 w 10746"/>
                  <a:gd name="connsiteY2680" fmla="*/ 8880 h 10000"/>
                  <a:gd name="connsiteX2681" fmla="*/ 1323 w 10746"/>
                  <a:gd name="connsiteY2681" fmla="*/ 8880 h 10000"/>
                  <a:gd name="connsiteX2682" fmla="*/ 1309 w 10746"/>
                  <a:gd name="connsiteY2682" fmla="*/ 8880 h 10000"/>
                  <a:gd name="connsiteX2683" fmla="*/ 1309 w 10746"/>
                  <a:gd name="connsiteY2683" fmla="*/ 8889 h 10000"/>
                  <a:gd name="connsiteX2684" fmla="*/ 1295 w 10746"/>
                  <a:gd name="connsiteY2684" fmla="*/ 8872 h 10000"/>
                  <a:gd name="connsiteX2685" fmla="*/ 1290 w 10746"/>
                  <a:gd name="connsiteY2685" fmla="*/ 8855 h 10000"/>
                  <a:gd name="connsiteX2686" fmla="*/ 1290 w 10746"/>
                  <a:gd name="connsiteY2686" fmla="*/ 8829 h 10000"/>
                  <a:gd name="connsiteX2687" fmla="*/ 1290 w 10746"/>
                  <a:gd name="connsiteY2687" fmla="*/ 8821 h 10000"/>
                  <a:gd name="connsiteX2688" fmla="*/ 1290 w 10746"/>
                  <a:gd name="connsiteY2688" fmla="*/ 8803 h 10000"/>
                  <a:gd name="connsiteX2689" fmla="*/ 1281 w 10746"/>
                  <a:gd name="connsiteY2689" fmla="*/ 8795 h 10000"/>
                  <a:gd name="connsiteX2690" fmla="*/ 1249 w 10746"/>
                  <a:gd name="connsiteY2690" fmla="*/ 8769 h 10000"/>
                  <a:gd name="connsiteX2691" fmla="*/ 1263 w 10746"/>
                  <a:gd name="connsiteY2691" fmla="*/ 8667 h 10000"/>
                  <a:gd name="connsiteX2692" fmla="*/ 1281 w 10746"/>
                  <a:gd name="connsiteY2692" fmla="*/ 8658 h 10000"/>
                  <a:gd name="connsiteX2693" fmla="*/ 1290 w 10746"/>
                  <a:gd name="connsiteY2693" fmla="*/ 8632 h 10000"/>
                  <a:gd name="connsiteX2694" fmla="*/ 1281 w 10746"/>
                  <a:gd name="connsiteY2694" fmla="*/ 8615 h 10000"/>
                  <a:gd name="connsiteX2695" fmla="*/ 1272 w 10746"/>
                  <a:gd name="connsiteY2695" fmla="*/ 8598 h 10000"/>
                  <a:gd name="connsiteX2696" fmla="*/ 1281 w 10746"/>
                  <a:gd name="connsiteY2696" fmla="*/ 8496 h 10000"/>
                  <a:gd name="connsiteX2697" fmla="*/ 1295 w 10746"/>
                  <a:gd name="connsiteY2697" fmla="*/ 8470 h 10000"/>
                  <a:gd name="connsiteX2698" fmla="*/ 1304 w 10746"/>
                  <a:gd name="connsiteY2698" fmla="*/ 8462 h 10000"/>
                  <a:gd name="connsiteX2699" fmla="*/ 1304 w 10746"/>
                  <a:gd name="connsiteY2699" fmla="*/ 8444 h 10000"/>
                  <a:gd name="connsiteX2700" fmla="*/ 1304 w 10746"/>
                  <a:gd name="connsiteY2700" fmla="*/ 8419 h 10000"/>
                  <a:gd name="connsiteX2701" fmla="*/ 1304 w 10746"/>
                  <a:gd name="connsiteY2701" fmla="*/ 8410 h 10000"/>
                  <a:gd name="connsiteX2702" fmla="*/ 1309 w 10746"/>
                  <a:gd name="connsiteY2702" fmla="*/ 8393 h 10000"/>
                  <a:gd name="connsiteX2703" fmla="*/ 1318 w 10746"/>
                  <a:gd name="connsiteY2703" fmla="*/ 8385 h 10000"/>
                  <a:gd name="connsiteX2704" fmla="*/ 1323 w 10746"/>
                  <a:gd name="connsiteY2704" fmla="*/ 8385 h 10000"/>
                  <a:gd name="connsiteX2705" fmla="*/ 1332 w 10746"/>
                  <a:gd name="connsiteY2705" fmla="*/ 8410 h 10000"/>
                  <a:gd name="connsiteX2706" fmla="*/ 1346 w 10746"/>
                  <a:gd name="connsiteY2706" fmla="*/ 8419 h 10000"/>
                  <a:gd name="connsiteX2707" fmla="*/ 1364 w 10746"/>
                  <a:gd name="connsiteY2707" fmla="*/ 8504 h 10000"/>
                  <a:gd name="connsiteX2708" fmla="*/ 1369 w 10746"/>
                  <a:gd name="connsiteY2708" fmla="*/ 8521 h 10000"/>
                  <a:gd name="connsiteX2709" fmla="*/ 1406 w 10746"/>
                  <a:gd name="connsiteY2709" fmla="*/ 8470 h 10000"/>
                  <a:gd name="connsiteX2710" fmla="*/ 1382 w 10746"/>
                  <a:gd name="connsiteY2710" fmla="*/ 8359 h 10000"/>
                  <a:gd name="connsiteX2711" fmla="*/ 1392 w 10746"/>
                  <a:gd name="connsiteY2711" fmla="*/ 8359 h 10000"/>
                  <a:gd name="connsiteX2712" fmla="*/ 1438 w 10746"/>
                  <a:gd name="connsiteY2712" fmla="*/ 8308 h 10000"/>
                  <a:gd name="connsiteX2713" fmla="*/ 1442 w 10746"/>
                  <a:gd name="connsiteY2713" fmla="*/ 8299 h 10000"/>
                  <a:gd name="connsiteX2714" fmla="*/ 1442 w 10746"/>
                  <a:gd name="connsiteY2714" fmla="*/ 8256 h 10000"/>
                  <a:gd name="connsiteX2715" fmla="*/ 1452 w 10746"/>
                  <a:gd name="connsiteY2715" fmla="*/ 8256 h 10000"/>
                  <a:gd name="connsiteX2716" fmla="*/ 1456 w 10746"/>
                  <a:gd name="connsiteY2716" fmla="*/ 8256 h 10000"/>
                  <a:gd name="connsiteX2717" fmla="*/ 1470 w 10746"/>
                  <a:gd name="connsiteY2717" fmla="*/ 8248 h 10000"/>
                  <a:gd name="connsiteX2718" fmla="*/ 1479 w 10746"/>
                  <a:gd name="connsiteY2718" fmla="*/ 8231 h 10000"/>
                  <a:gd name="connsiteX2719" fmla="*/ 1493 w 10746"/>
                  <a:gd name="connsiteY2719" fmla="*/ 8222 h 10000"/>
                  <a:gd name="connsiteX2720" fmla="*/ 1498 w 10746"/>
                  <a:gd name="connsiteY2720" fmla="*/ 8214 h 10000"/>
                  <a:gd name="connsiteX2721" fmla="*/ 1502 w 10746"/>
                  <a:gd name="connsiteY2721" fmla="*/ 8197 h 10000"/>
                  <a:gd name="connsiteX2722" fmla="*/ 1512 w 10746"/>
                  <a:gd name="connsiteY2722" fmla="*/ 8188 h 10000"/>
                  <a:gd name="connsiteX2723" fmla="*/ 1516 w 10746"/>
                  <a:gd name="connsiteY2723" fmla="*/ 8171 h 10000"/>
                  <a:gd name="connsiteX2724" fmla="*/ 1525 w 10746"/>
                  <a:gd name="connsiteY2724" fmla="*/ 8162 h 10000"/>
                  <a:gd name="connsiteX2725" fmla="*/ 1539 w 10746"/>
                  <a:gd name="connsiteY2725" fmla="*/ 8145 h 10000"/>
                  <a:gd name="connsiteX2726" fmla="*/ 1558 w 10746"/>
                  <a:gd name="connsiteY2726" fmla="*/ 8145 h 10000"/>
                  <a:gd name="connsiteX2727" fmla="*/ 1562 w 10746"/>
                  <a:gd name="connsiteY2727" fmla="*/ 8188 h 10000"/>
                  <a:gd name="connsiteX2728" fmla="*/ 1585 w 10746"/>
                  <a:gd name="connsiteY2728" fmla="*/ 8171 h 10000"/>
                  <a:gd name="connsiteX2729" fmla="*/ 1590 w 10746"/>
                  <a:gd name="connsiteY2729" fmla="*/ 8188 h 10000"/>
                  <a:gd name="connsiteX2730" fmla="*/ 1599 w 10746"/>
                  <a:gd name="connsiteY2730" fmla="*/ 8171 h 10000"/>
                  <a:gd name="connsiteX2731" fmla="*/ 1599 w 10746"/>
                  <a:gd name="connsiteY2731" fmla="*/ 8162 h 10000"/>
                  <a:gd name="connsiteX2732" fmla="*/ 1604 w 10746"/>
                  <a:gd name="connsiteY2732" fmla="*/ 8137 h 10000"/>
                  <a:gd name="connsiteX2733" fmla="*/ 1618 w 10746"/>
                  <a:gd name="connsiteY2733" fmla="*/ 8145 h 10000"/>
                  <a:gd name="connsiteX2734" fmla="*/ 1627 w 10746"/>
                  <a:gd name="connsiteY2734" fmla="*/ 8137 h 10000"/>
                  <a:gd name="connsiteX2735" fmla="*/ 1631 w 10746"/>
                  <a:gd name="connsiteY2735" fmla="*/ 8137 h 10000"/>
                  <a:gd name="connsiteX2736" fmla="*/ 1636 w 10746"/>
                  <a:gd name="connsiteY2736" fmla="*/ 8171 h 10000"/>
                  <a:gd name="connsiteX2737" fmla="*/ 1645 w 10746"/>
                  <a:gd name="connsiteY2737" fmla="*/ 8188 h 10000"/>
                  <a:gd name="connsiteX2738" fmla="*/ 1664 w 10746"/>
                  <a:gd name="connsiteY2738" fmla="*/ 8171 h 10000"/>
                  <a:gd name="connsiteX2739" fmla="*/ 1673 w 10746"/>
                  <a:gd name="connsiteY2739" fmla="*/ 8188 h 10000"/>
                  <a:gd name="connsiteX2740" fmla="*/ 1691 w 10746"/>
                  <a:gd name="connsiteY2740" fmla="*/ 8171 h 10000"/>
                  <a:gd name="connsiteX2741" fmla="*/ 1705 w 10746"/>
                  <a:gd name="connsiteY2741" fmla="*/ 8171 h 10000"/>
                  <a:gd name="connsiteX2742" fmla="*/ 1719 w 10746"/>
                  <a:gd name="connsiteY2742" fmla="*/ 8197 h 10000"/>
                  <a:gd name="connsiteX2743" fmla="*/ 1724 w 10746"/>
                  <a:gd name="connsiteY2743" fmla="*/ 8231 h 10000"/>
                  <a:gd name="connsiteX2744" fmla="*/ 1751 w 10746"/>
                  <a:gd name="connsiteY2744" fmla="*/ 8256 h 10000"/>
                  <a:gd name="connsiteX2745" fmla="*/ 1751 w 10746"/>
                  <a:gd name="connsiteY2745" fmla="*/ 8274 h 10000"/>
                  <a:gd name="connsiteX2746" fmla="*/ 1760 w 10746"/>
                  <a:gd name="connsiteY2746" fmla="*/ 8282 h 10000"/>
                  <a:gd name="connsiteX2747" fmla="*/ 1770 w 10746"/>
                  <a:gd name="connsiteY2747" fmla="*/ 8325 h 10000"/>
                  <a:gd name="connsiteX2748" fmla="*/ 1770 w 10746"/>
                  <a:gd name="connsiteY2748" fmla="*/ 8350 h 10000"/>
                  <a:gd name="connsiteX2749" fmla="*/ 1779 w 10746"/>
                  <a:gd name="connsiteY2749" fmla="*/ 8368 h 10000"/>
                  <a:gd name="connsiteX2750" fmla="*/ 1783 w 10746"/>
                  <a:gd name="connsiteY2750" fmla="*/ 8359 h 10000"/>
                  <a:gd name="connsiteX2751" fmla="*/ 1783 w 10746"/>
                  <a:gd name="connsiteY2751" fmla="*/ 8308 h 10000"/>
                  <a:gd name="connsiteX2752" fmla="*/ 1779 w 10746"/>
                  <a:gd name="connsiteY2752" fmla="*/ 8299 h 10000"/>
                  <a:gd name="connsiteX2753" fmla="*/ 1783 w 10746"/>
                  <a:gd name="connsiteY2753" fmla="*/ 8282 h 10000"/>
                  <a:gd name="connsiteX2754" fmla="*/ 1797 w 10746"/>
                  <a:gd name="connsiteY2754" fmla="*/ 8274 h 10000"/>
                  <a:gd name="connsiteX2755" fmla="*/ 1797 w 10746"/>
                  <a:gd name="connsiteY2755" fmla="*/ 8299 h 10000"/>
                  <a:gd name="connsiteX2756" fmla="*/ 1806 w 10746"/>
                  <a:gd name="connsiteY2756" fmla="*/ 8308 h 10000"/>
                  <a:gd name="connsiteX2757" fmla="*/ 1811 w 10746"/>
                  <a:gd name="connsiteY2757" fmla="*/ 8325 h 10000"/>
                  <a:gd name="connsiteX2758" fmla="*/ 1820 w 10746"/>
                  <a:gd name="connsiteY2758" fmla="*/ 8333 h 10000"/>
                  <a:gd name="connsiteX2759" fmla="*/ 1853 w 10746"/>
                  <a:gd name="connsiteY2759" fmla="*/ 8359 h 10000"/>
                  <a:gd name="connsiteX2760" fmla="*/ 1866 w 10746"/>
                  <a:gd name="connsiteY2760" fmla="*/ 8359 h 10000"/>
                  <a:gd name="connsiteX2761" fmla="*/ 1885 w 10746"/>
                  <a:gd name="connsiteY2761" fmla="*/ 8325 h 10000"/>
                  <a:gd name="connsiteX2762" fmla="*/ 1885 w 10746"/>
                  <a:gd name="connsiteY2762" fmla="*/ 8308 h 10000"/>
                  <a:gd name="connsiteX2763" fmla="*/ 1894 w 10746"/>
                  <a:gd name="connsiteY2763" fmla="*/ 8299 h 10000"/>
                  <a:gd name="connsiteX2764" fmla="*/ 1899 w 10746"/>
                  <a:gd name="connsiteY2764" fmla="*/ 8282 h 10000"/>
                  <a:gd name="connsiteX2765" fmla="*/ 1912 w 10746"/>
                  <a:gd name="connsiteY2765" fmla="*/ 8282 h 10000"/>
                  <a:gd name="connsiteX2766" fmla="*/ 1917 w 10746"/>
                  <a:gd name="connsiteY2766" fmla="*/ 8299 h 10000"/>
                  <a:gd name="connsiteX2767" fmla="*/ 1917 w 10746"/>
                  <a:gd name="connsiteY2767" fmla="*/ 8274 h 10000"/>
                  <a:gd name="connsiteX2768" fmla="*/ 1940 w 10746"/>
                  <a:gd name="connsiteY2768" fmla="*/ 8282 h 10000"/>
                  <a:gd name="connsiteX2769" fmla="*/ 1945 w 10746"/>
                  <a:gd name="connsiteY2769" fmla="*/ 8274 h 10000"/>
                  <a:gd name="connsiteX2770" fmla="*/ 1972 w 10746"/>
                  <a:gd name="connsiteY2770" fmla="*/ 8308 h 10000"/>
                  <a:gd name="connsiteX2771" fmla="*/ 1986 w 10746"/>
                  <a:gd name="connsiteY2771" fmla="*/ 8282 h 10000"/>
                  <a:gd name="connsiteX2772" fmla="*/ 1991 w 10746"/>
                  <a:gd name="connsiteY2772" fmla="*/ 8274 h 10000"/>
                  <a:gd name="connsiteX2773" fmla="*/ 2014 w 10746"/>
                  <a:gd name="connsiteY2773" fmla="*/ 8274 h 10000"/>
                  <a:gd name="connsiteX2774" fmla="*/ 2018 w 10746"/>
                  <a:gd name="connsiteY2774" fmla="*/ 8256 h 10000"/>
                  <a:gd name="connsiteX2775" fmla="*/ 2041 w 10746"/>
                  <a:gd name="connsiteY2775" fmla="*/ 8274 h 10000"/>
                  <a:gd name="connsiteX2776" fmla="*/ 2046 w 10746"/>
                  <a:gd name="connsiteY2776" fmla="*/ 8282 h 10000"/>
                  <a:gd name="connsiteX2777" fmla="*/ 2046 w 10746"/>
                  <a:gd name="connsiteY2777" fmla="*/ 8325 h 10000"/>
                  <a:gd name="connsiteX2778" fmla="*/ 2060 w 10746"/>
                  <a:gd name="connsiteY2778" fmla="*/ 8350 h 10000"/>
                  <a:gd name="connsiteX2779" fmla="*/ 2078 w 10746"/>
                  <a:gd name="connsiteY2779" fmla="*/ 8350 h 10000"/>
                  <a:gd name="connsiteX2780" fmla="*/ 2092 w 10746"/>
                  <a:gd name="connsiteY2780" fmla="*/ 8350 h 10000"/>
                  <a:gd name="connsiteX2781" fmla="*/ 2092 w 10746"/>
                  <a:gd name="connsiteY2781" fmla="*/ 8350 h 10000"/>
                  <a:gd name="connsiteX2782" fmla="*/ 2101 w 10746"/>
                  <a:gd name="connsiteY2782" fmla="*/ 8368 h 10000"/>
                  <a:gd name="connsiteX2783" fmla="*/ 2120 w 10746"/>
                  <a:gd name="connsiteY2783" fmla="*/ 8368 h 10000"/>
                  <a:gd name="connsiteX2784" fmla="*/ 2124 w 10746"/>
                  <a:gd name="connsiteY2784" fmla="*/ 8359 h 10000"/>
                  <a:gd name="connsiteX2785" fmla="*/ 2138 w 10746"/>
                  <a:gd name="connsiteY2785" fmla="*/ 8325 h 10000"/>
                  <a:gd name="connsiteX2786" fmla="*/ 2147 w 10746"/>
                  <a:gd name="connsiteY2786" fmla="*/ 8325 h 10000"/>
                  <a:gd name="connsiteX2787" fmla="*/ 2161 w 10746"/>
                  <a:gd name="connsiteY2787" fmla="*/ 8350 h 10000"/>
                  <a:gd name="connsiteX2788" fmla="*/ 2198 w 10746"/>
                  <a:gd name="connsiteY2788" fmla="*/ 8350 h 10000"/>
                  <a:gd name="connsiteX2789" fmla="*/ 2207 w 10746"/>
                  <a:gd name="connsiteY2789" fmla="*/ 8333 h 10000"/>
                  <a:gd name="connsiteX2790" fmla="*/ 2226 w 10746"/>
                  <a:gd name="connsiteY2790" fmla="*/ 8325 h 10000"/>
                  <a:gd name="connsiteX2791" fmla="*/ 2249 w 10746"/>
                  <a:gd name="connsiteY2791" fmla="*/ 8222 h 10000"/>
                  <a:gd name="connsiteX2792" fmla="*/ 2235 w 10746"/>
                  <a:gd name="connsiteY2792" fmla="*/ 8197 h 10000"/>
                  <a:gd name="connsiteX2793" fmla="*/ 2198 w 10746"/>
                  <a:gd name="connsiteY2793" fmla="*/ 8197 h 10000"/>
                  <a:gd name="connsiteX2794" fmla="*/ 2189 w 10746"/>
                  <a:gd name="connsiteY2794" fmla="*/ 8171 h 10000"/>
                  <a:gd name="connsiteX2795" fmla="*/ 2161 w 10746"/>
                  <a:gd name="connsiteY2795" fmla="*/ 8145 h 10000"/>
                  <a:gd name="connsiteX2796" fmla="*/ 2161 w 10746"/>
                  <a:gd name="connsiteY2796" fmla="*/ 8137 h 10000"/>
                  <a:gd name="connsiteX2797" fmla="*/ 2152 w 10746"/>
                  <a:gd name="connsiteY2797" fmla="*/ 8120 h 10000"/>
                  <a:gd name="connsiteX2798" fmla="*/ 2138 w 10746"/>
                  <a:gd name="connsiteY2798" fmla="*/ 8111 h 10000"/>
                  <a:gd name="connsiteX2799" fmla="*/ 2138 w 10746"/>
                  <a:gd name="connsiteY2799" fmla="*/ 8094 h 10000"/>
                  <a:gd name="connsiteX2800" fmla="*/ 2147 w 10746"/>
                  <a:gd name="connsiteY2800" fmla="*/ 8085 h 10000"/>
                  <a:gd name="connsiteX2801" fmla="*/ 2161 w 10746"/>
                  <a:gd name="connsiteY2801" fmla="*/ 8060 h 10000"/>
                  <a:gd name="connsiteX2802" fmla="*/ 2198 w 10746"/>
                  <a:gd name="connsiteY2802" fmla="*/ 8034 h 10000"/>
                  <a:gd name="connsiteX2803" fmla="*/ 2198 w 10746"/>
                  <a:gd name="connsiteY2803" fmla="*/ 8026 h 10000"/>
                  <a:gd name="connsiteX2804" fmla="*/ 2198 w 10746"/>
                  <a:gd name="connsiteY2804" fmla="*/ 8000 h 10000"/>
                  <a:gd name="connsiteX2805" fmla="*/ 2180 w 10746"/>
                  <a:gd name="connsiteY2805" fmla="*/ 7940 h 10000"/>
                  <a:gd name="connsiteX2806" fmla="*/ 2189 w 10746"/>
                  <a:gd name="connsiteY2806" fmla="*/ 7940 h 10000"/>
                  <a:gd name="connsiteX2807" fmla="*/ 2198 w 10746"/>
                  <a:gd name="connsiteY2807" fmla="*/ 7923 h 10000"/>
                  <a:gd name="connsiteX2808" fmla="*/ 2198 w 10746"/>
                  <a:gd name="connsiteY2808" fmla="*/ 7897 h 10000"/>
                  <a:gd name="connsiteX2809" fmla="*/ 2207 w 10746"/>
                  <a:gd name="connsiteY2809" fmla="*/ 7889 h 10000"/>
                  <a:gd name="connsiteX2810" fmla="*/ 2221 w 10746"/>
                  <a:gd name="connsiteY2810" fmla="*/ 7889 h 10000"/>
                  <a:gd name="connsiteX2811" fmla="*/ 2226 w 10746"/>
                  <a:gd name="connsiteY2811" fmla="*/ 7897 h 10000"/>
                  <a:gd name="connsiteX2812" fmla="*/ 2235 w 10746"/>
                  <a:gd name="connsiteY2812" fmla="*/ 7889 h 10000"/>
                  <a:gd name="connsiteX2813" fmla="*/ 2249 w 10746"/>
                  <a:gd name="connsiteY2813" fmla="*/ 7897 h 10000"/>
                  <a:gd name="connsiteX2814" fmla="*/ 2267 w 10746"/>
                  <a:gd name="connsiteY2814" fmla="*/ 7897 h 10000"/>
                  <a:gd name="connsiteX2815" fmla="*/ 2272 w 10746"/>
                  <a:gd name="connsiteY2815" fmla="*/ 7889 h 10000"/>
                  <a:gd name="connsiteX2816" fmla="*/ 2281 w 10746"/>
                  <a:gd name="connsiteY2816" fmla="*/ 7872 h 10000"/>
                  <a:gd name="connsiteX2817" fmla="*/ 2272 w 10746"/>
                  <a:gd name="connsiteY2817" fmla="*/ 7846 h 10000"/>
                  <a:gd name="connsiteX2818" fmla="*/ 2253 w 10746"/>
                  <a:gd name="connsiteY2818" fmla="*/ 7838 h 10000"/>
                  <a:gd name="connsiteX2819" fmla="*/ 2221 w 10746"/>
                  <a:gd name="connsiteY2819" fmla="*/ 7821 h 10000"/>
                  <a:gd name="connsiteX2820" fmla="*/ 2212 w 10746"/>
                  <a:gd name="connsiteY2820" fmla="*/ 7812 h 10000"/>
                  <a:gd name="connsiteX2821" fmla="*/ 2212 w 10746"/>
                  <a:gd name="connsiteY2821" fmla="*/ 7803 h 10000"/>
                  <a:gd name="connsiteX2822" fmla="*/ 2221 w 10746"/>
                  <a:gd name="connsiteY2822" fmla="*/ 7803 h 10000"/>
                  <a:gd name="connsiteX2823" fmla="*/ 2235 w 10746"/>
                  <a:gd name="connsiteY2823" fmla="*/ 7786 h 10000"/>
                  <a:gd name="connsiteX2824" fmla="*/ 2240 w 10746"/>
                  <a:gd name="connsiteY2824" fmla="*/ 7778 h 10000"/>
                  <a:gd name="connsiteX2825" fmla="*/ 2226 w 10746"/>
                  <a:gd name="connsiteY2825" fmla="*/ 7761 h 10000"/>
                  <a:gd name="connsiteX2826" fmla="*/ 2221 w 10746"/>
                  <a:gd name="connsiteY2826" fmla="*/ 7778 h 10000"/>
                  <a:gd name="connsiteX2827" fmla="*/ 2198 w 10746"/>
                  <a:gd name="connsiteY2827" fmla="*/ 7778 h 10000"/>
                  <a:gd name="connsiteX2828" fmla="*/ 2198 w 10746"/>
                  <a:gd name="connsiteY2828" fmla="*/ 7752 h 10000"/>
                  <a:gd name="connsiteX2829" fmla="*/ 2207 w 10746"/>
                  <a:gd name="connsiteY2829" fmla="*/ 7735 h 10000"/>
                  <a:gd name="connsiteX2830" fmla="*/ 2212 w 10746"/>
                  <a:gd name="connsiteY2830" fmla="*/ 7726 h 10000"/>
                  <a:gd name="connsiteX2831" fmla="*/ 2198 w 10746"/>
                  <a:gd name="connsiteY2831" fmla="*/ 7692 h 10000"/>
                  <a:gd name="connsiteX2832" fmla="*/ 2221 w 10746"/>
                  <a:gd name="connsiteY2832" fmla="*/ 7692 h 10000"/>
                  <a:gd name="connsiteX2833" fmla="*/ 2221 w 10746"/>
                  <a:gd name="connsiteY2833" fmla="*/ 7675 h 10000"/>
                  <a:gd name="connsiteX2834" fmla="*/ 2235 w 10746"/>
                  <a:gd name="connsiteY2834" fmla="*/ 7675 h 10000"/>
                  <a:gd name="connsiteX2835" fmla="*/ 2240 w 10746"/>
                  <a:gd name="connsiteY2835" fmla="*/ 7692 h 10000"/>
                  <a:gd name="connsiteX2836" fmla="*/ 2249 w 10746"/>
                  <a:gd name="connsiteY2836" fmla="*/ 7692 h 10000"/>
                  <a:gd name="connsiteX2837" fmla="*/ 2258 w 10746"/>
                  <a:gd name="connsiteY2837" fmla="*/ 7692 h 10000"/>
                  <a:gd name="connsiteX2838" fmla="*/ 2267 w 10746"/>
                  <a:gd name="connsiteY2838" fmla="*/ 7692 h 10000"/>
                  <a:gd name="connsiteX2839" fmla="*/ 2295 w 10746"/>
                  <a:gd name="connsiteY2839" fmla="*/ 7692 h 10000"/>
                  <a:gd name="connsiteX2840" fmla="*/ 2300 w 10746"/>
                  <a:gd name="connsiteY2840" fmla="*/ 7701 h 10000"/>
                  <a:gd name="connsiteX2841" fmla="*/ 2313 w 10746"/>
                  <a:gd name="connsiteY2841" fmla="*/ 7675 h 10000"/>
                  <a:gd name="connsiteX2842" fmla="*/ 2323 w 10746"/>
                  <a:gd name="connsiteY2842" fmla="*/ 7675 h 10000"/>
                  <a:gd name="connsiteX2843" fmla="*/ 2341 w 10746"/>
                  <a:gd name="connsiteY2843" fmla="*/ 7675 h 10000"/>
                  <a:gd name="connsiteX2844" fmla="*/ 2346 w 10746"/>
                  <a:gd name="connsiteY2844" fmla="*/ 7667 h 10000"/>
                  <a:gd name="connsiteX2845" fmla="*/ 2359 w 10746"/>
                  <a:gd name="connsiteY2845" fmla="*/ 7650 h 10000"/>
                  <a:gd name="connsiteX2846" fmla="*/ 2373 w 10746"/>
                  <a:gd name="connsiteY2846" fmla="*/ 7624 h 10000"/>
                  <a:gd name="connsiteX2847" fmla="*/ 2382 w 10746"/>
                  <a:gd name="connsiteY2847" fmla="*/ 7641 h 10000"/>
                  <a:gd name="connsiteX2848" fmla="*/ 2396 w 10746"/>
                  <a:gd name="connsiteY2848" fmla="*/ 7650 h 10000"/>
                  <a:gd name="connsiteX2849" fmla="*/ 2401 w 10746"/>
                  <a:gd name="connsiteY2849" fmla="*/ 7650 h 10000"/>
                  <a:gd name="connsiteX2850" fmla="*/ 2401 w 10746"/>
                  <a:gd name="connsiteY2850" fmla="*/ 7624 h 10000"/>
                  <a:gd name="connsiteX2851" fmla="*/ 2419 w 10746"/>
                  <a:gd name="connsiteY2851" fmla="*/ 7624 h 10000"/>
                  <a:gd name="connsiteX2852" fmla="*/ 2433 w 10746"/>
                  <a:gd name="connsiteY2852" fmla="*/ 7615 h 10000"/>
                  <a:gd name="connsiteX2853" fmla="*/ 2442 w 10746"/>
                  <a:gd name="connsiteY2853" fmla="*/ 7615 h 10000"/>
                  <a:gd name="connsiteX2854" fmla="*/ 2447 w 10746"/>
                  <a:gd name="connsiteY2854" fmla="*/ 7598 h 10000"/>
                  <a:gd name="connsiteX2855" fmla="*/ 2461 w 10746"/>
                  <a:gd name="connsiteY2855" fmla="*/ 7598 h 10000"/>
                  <a:gd name="connsiteX2856" fmla="*/ 2465 w 10746"/>
                  <a:gd name="connsiteY2856" fmla="*/ 7615 h 10000"/>
                  <a:gd name="connsiteX2857" fmla="*/ 2479 w 10746"/>
                  <a:gd name="connsiteY2857" fmla="*/ 7564 h 10000"/>
                  <a:gd name="connsiteX2858" fmla="*/ 2488 w 10746"/>
                  <a:gd name="connsiteY2858" fmla="*/ 7556 h 10000"/>
                  <a:gd name="connsiteX2859" fmla="*/ 2493 w 10746"/>
                  <a:gd name="connsiteY2859" fmla="*/ 7556 h 10000"/>
                  <a:gd name="connsiteX2860" fmla="*/ 2507 w 10746"/>
                  <a:gd name="connsiteY2860" fmla="*/ 7556 h 10000"/>
                  <a:gd name="connsiteX2861" fmla="*/ 2530 w 10746"/>
                  <a:gd name="connsiteY2861" fmla="*/ 7538 h 10000"/>
                  <a:gd name="connsiteX2862" fmla="*/ 2530 w 10746"/>
                  <a:gd name="connsiteY2862" fmla="*/ 7556 h 10000"/>
                  <a:gd name="connsiteX2863" fmla="*/ 2641 w 10746"/>
                  <a:gd name="connsiteY2863" fmla="*/ 7504 h 10000"/>
                  <a:gd name="connsiteX2864" fmla="*/ 2654 w 10746"/>
                  <a:gd name="connsiteY2864" fmla="*/ 7487 h 10000"/>
                  <a:gd name="connsiteX2865" fmla="*/ 2664 w 10746"/>
                  <a:gd name="connsiteY2865" fmla="*/ 7487 h 10000"/>
                  <a:gd name="connsiteX2866" fmla="*/ 2668 w 10746"/>
                  <a:gd name="connsiteY2866" fmla="*/ 7479 h 10000"/>
                  <a:gd name="connsiteX2867" fmla="*/ 2673 w 10746"/>
                  <a:gd name="connsiteY2867" fmla="*/ 7462 h 10000"/>
                  <a:gd name="connsiteX2868" fmla="*/ 2673 w 10746"/>
                  <a:gd name="connsiteY2868" fmla="*/ 7427 h 10000"/>
                  <a:gd name="connsiteX2869" fmla="*/ 2687 w 10746"/>
                  <a:gd name="connsiteY2869" fmla="*/ 7436 h 10000"/>
                  <a:gd name="connsiteX2870" fmla="*/ 2696 w 10746"/>
                  <a:gd name="connsiteY2870" fmla="*/ 7427 h 10000"/>
                  <a:gd name="connsiteX2871" fmla="*/ 2700 w 10746"/>
                  <a:gd name="connsiteY2871" fmla="*/ 7419 h 10000"/>
                  <a:gd name="connsiteX2872" fmla="*/ 2710 w 10746"/>
                  <a:gd name="connsiteY2872" fmla="*/ 7402 h 10000"/>
                  <a:gd name="connsiteX2873" fmla="*/ 2724 w 10746"/>
                  <a:gd name="connsiteY2873" fmla="*/ 7402 h 10000"/>
                  <a:gd name="connsiteX2874" fmla="*/ 2724 w 10746"/>
                  <a:gd name="connsiteY2874" fmla="*/ 7393 h 10000"/>
                  <a:gd name="connsiteX2875" fmla="*/ 2737 w 10746"/>
                  <a:gd name="connsiteY2875" fmla="*/ 7393 h 10000"/>
                  <a:gd name="connsiteX2876" fmla="*/ 2742 w 10746"/>
                  <a:gd name="connsiteY2876" fmla="*/ 7402 h 10000"/>
                  <a:gd name="connsiteX2877" fmla="*/ 2747 w 10746"/>
                  <a:gd name="connsiteY2877" fmla="*/ 7402 h 10000"/>
                  <a:gd name="connsiteX2878" fmla="*/ 2760 w 10746"/>
                  <a:gd name="connsiteY2878" fmla="*/ 7402 h 10000"/>
                  <a:gd name="connsiteX2879" fmla="*/ 2770 w 10746"/>
                  <a:gd name="connsiteY2879" fmla="*/ 7402 h 10000"/>
                  <a:gd name="connsiteX2880" fmla="*/ 2774 w 10746"/>
                  <a:gd name="connsiteY2880" fmla="*/ 7402 h 10000"/>
                  <a:gd name="connsiteX2881" fmla="*/ 2783 w 10746"/>
                  <a:gd name="connsiteY2881" fmla="*/ 7419 h 10000"/>
                  <a:gd name="connsiteX2882" fmla="*/ 2802 w 10746"/>
                  <a:gd name="connsiteY2882" fmla="*/ 7436 h 10000"/>
                  <a:gd name="connsiteX2883" fmla="*/ 2816 w 10746"/>
                  <a:gd name="connsiteY2883" fmla="*/ 7419 h 10000"/>
                  <a:gd name="connsiteX2884" fmla="*/ 2834 w 10746"/>
                  <a:gd name="connsiteY2884" fmla="*/ 7419 h 10000"/>
                  <a:gd name="connsiteX2885" fmla="*/ 2843 w 10746"/>
                  <a:gd name="connsiteY2885" fmla="*/ 7419 h 10000"/>
                  <a:gd name="connsiteX2886" fmla="*/ 2848 w 10746"/>
                  <a:gd name="connsiteY2886" fmla="*/ 7436 h 10000"/>
                  <a:gd name="connsiteX2887" fmla="*/ 2857 w 10746"/>
                  <a:gd name="connsiteY2887" fmla="*/ 7453 h 10000"/>
                  <a:gd name="connsiteX2888" fmla="*/ 2857 w 10746"/>
                  <a:gd name="connsiteY2888" fmla="*/ 7504 h 10000"/>
                  <a:gd name="connsiteX2889" fmla="*/ 2862 w 10746"/>
                  <a:gd name="connsiteY2889" fmla="*/ 7530 h 10000"/>
                  <a:gd name="connsiteX2890" fmla="*/ 2876 w 10746"/>
                  <a:gd name="connsiteY2890" fmla="*/ 7538 h 10000"/>
                  <a:gd name="connsiteX2891" fmla="*/ 2871 w 10746"/>
                  <a:gd name="connsiteY2891" fmla="*/ 7564 h 10000"/>
                  <a:gd name="connsiteX2892" fmla="*/ 2871 w 10746"/>
                  <a:gd name="connsiteY2892" fmla="*/ 7598 h 10000"/>
                  <a:gd name="connsiteX2893" fmla="*/ 2857 w 10746"/>
                  <a:gd name="connsiteY2893" fmla="*/ 7624 h 10000"/>
                  <a:gd name="connsiteX2894" fmla="*/ 2862 w 10746"/>
                  <a:gd name="connsiteY2894" fmla="*/ 7641 h 10000"/>
                  <a:gd name="connsiteX2895" fmla="*/ 2871 w 10746"/>
                  <a:gd name="connsiteY2895" fmla="*/ 7667 h 10000"/>
                  <a:gd name="connsiteX2896" fmla="*/ 2880 w 10746"/>
                  <a:gd name="connsiteY2896" fmla="*/ 7650 h 10000"/>
                  <a:gd name="connsiteX2897" fmla="*/ 2894 w 10746"/>
                  <a:gd name="connsiteY2897" fmla="*/ 7667 h 10000"/>
                  <a:gd name="connsiteX2898" fmla="*/ 2903 w 10746"/>
                  <a:gd name="connsiteY2898" fmla="*/ 7667 h 10000"/>
                  <a:gd name="connsiteX2899" fmla="*/ 2908 w 10746"/>
                  <a:gd name="connsiteY2899" fmla="*/ 7641 h 10000"/>
                  <a:gd name="connsiteX2900" fmla="*/ 2917 w 10746"/>
                  <a:gd name="connsiteY2900" fmla="*/ 7641 h 10000"/>
                  <a:gd name="connsiteX2901" fmla="*/ 2922 w 10746"/>
                  <a:gd name="connsiteY2901" fmla="*/ 7641 h 10000"/>
                  <a:gd name="connsiteX2902" fmla="*/ 2931 w 10746"/>
                  <a:gd name="connsiteY2902" fmla="*/ 7615 h 10000"/>
                  <a:gd name="connsiteX2903" fmla="*/ 2935 w 10746"/>
                  <a:gd name="connsiteY2903" fmla="*/ 7615 h 10000"/>
                  <a:gd name="connsiteX2904" fmla="*/ 2945 w 10746"/>
                  <a:gd name="connsiteY2904" fmla="*/ 7650 h 10000"/>
                  <a:gd name="connsiteX2905" fmla="*/ 2949 w 10746"/>
                  <a:gd name="connsiteY2905" fmla="*/ 7667 h 10000"/>
                  <a:gd name="connsiteX2906" fmla="*/ 2949 w 10746"/>
                  <a:gd name="connsiteY2906" fmla="*/ 7675 h 10000"/>
                  <a:gd name="connsiteX2907" fmla="*/ 2945 w 10746"/>
                  <a:gd name="connsiteY2907" fmla="*/ 7692 h 10000"/>
                  <a:gd name="connsiteX2908" fmla="*/ 2963 w 10746"/>
                  <a:gd name="connsiteY2908" fmla="*/ 7701 h 10000"/>
                  <a:gd name="connsiteX2909" fmla="*/ 2963 w 10746"/>
                  <a:gd name="connsiteY2909" fmla="*/ 7675 h 10000"/>
                  <a:gd name="connsiteX2910" fmla="*/ 2954 w 10746"/>
                  <a:gd name="connsiteY2910" fmla="*/ 7667 h 10000"/>
                  <a:gd name="connsiteX2911" fmla="*/ 2963 w 10746"/>
                  <a:gd name="connsiteY2911" fmla="*/ 7667 h 10000"/>
                  <a:gd name="connsiteX2912" fmla="*/ 2982 w 10746"/>
                  <a:gd name="connsiteY2912" fmla="*/ 7667 h 10000"/>
                  <a:gd name="connsiteX2913" fmla="*/ 2991 w 10746"/>
                  <a:gd name="connsiteY2913" fmla="*/ 7675 h 10000"/>
                  <a:gd name="connsiteX2914" fmla="*/ 2995 w 10746"/>
                  <a:gd name="connsiteY2914" fmla="*/ 7692 h 10000"/>
                  <a:gd name="connsiteX2915" fmla="*/ 3009 w 10746"/>
                  <a:gd name="connsiteY2915" fmla="*/ 7701 h 10000"/>
                  <a:gd name="connsiteX2916" fmla="*/ 3018 w 10746"/>
                  <a:gd name="connsiteY2916" fmla="*/ 7701 h 10000"/>
                  <a:gd name="connsiteX2917" fmla="*/ 3023 w 10746"/>
                  <a:gd name="connsiteY2917" fmla="*/ 7692 h 10000"/>
                  <a:gd name="connsiteX2918" fmla="*/ 3028 w 10746"/>
                  <a:gd name="connsiteY2918" fmla="*/ 7675 h 10000"/>
                  <a:gd name="connsiteX2919" fmla="*/ 3037 w 10746"/>
                  <a:gd name="connsiteY2919" fmla="*/ 7692 h 10000"/>
                  <a:gd name="connsiteX2920" fmla="*/ 3028 w 10746"/>
                  <a:gd name="connsiteY2920" fmla="*/ 7709 h 10000"/>
                  <a:gd name="connsiteX2921" fmla="*/ 3023 w 10746"/>
                  <a:gd name="connsiteY2921" fmla="*/ 7709 h 10000"/>
                  <a:gd name="connsiteX2922" fmla="*/ 3018 w 10746"/>
                  <a:gd name="connsiteY2922" fmla="*/ 7726 h 10000"/>
                  <a:gd name="connsiteX2923" fmla="*/ 3009 w 10746"/>
                  <a:gd name="connsiteY2923" fmla="*/ 7735 h 10000"/>
                  <a:gd name="connsiteX2924" fmla="*/ 3009 w 10746"/>
                  <a:gd name="connsiteY2924" fmla="*/ 7761 h 10000"/>
                  <a:gd name="connsiteX2925" fmla="*/ 3009 w 10746"/>
                  <a:gd name="connsiteY2925" fmla="*/ 7778 h 10000"/>
                  <a:gd name="connsiteX2926" fmla="*/ 3018 w 10746"/>
                  <a:gd name="connsiteY2926" fmla="*/ 7786 h 10000"/>
                  <a:gd name="connsiteX2927" fmla="*/ 3023 w 10746"/>
                  <a:gd name="connsiteY2927" fmla="*/ 7786 h 10000"/>
                  <a:gd name="connsiteX2928" fmla="*/ 3028 w 10746"/>
                  <a:gd name="connsiteY2928" fmla="*/ 7778 h 10000"/>
                  <a:gd name="connsiteX2929" fmla="*/ 3051 w 10746"/>
                  <a:gd name="connsiteY2929" fmla="*/ 7761 h 10000"/>
                  <a:gd name="connsiteX2930" fmla="*/ 3055 w 10746"/>
                  <a:gd name="connsiteY2930" fmla="*/ 7778 h 10000"/>
                  <a:gd name="connsiteX2931" fmla="*/ 3065 w 10746"/>
                  <a:gd name="connsiteY2931" fmla="*/ 7761 h 10000"/>
                  <a:gd name="connsiteX2932" fmla="*/ 3069 w 10746"/>
                  <a:gd name="connsiteY2932" fmla="*/ 7786 h 10000"/>
                  <a:gd name="connsiteX2933" fmla="*/ 3083 w 10746"/>
                  <a:gd name="connsiteY2933" fmla="*/ 7786 h 10000"/>
                  <a:gd name="connsiteX2934" fmla="*/ 3078 w 10746"/>
                  <a:gd name="connsiteY2934" fmla="*/ 7761 h 10000"/>
                  <a:gd name="connsiteX2935" fmla="*/ 3083 w 10746"/>
                  <a:gd name="connsiteY2935" fmla="*/ 7752 h 10000"/>
                  <a:gd name="connsiteX2936" fmla="*/ 3097 w 10746"/>
                  <a:gd name="connsiteY2936" fmla="*/ 7752 h 10000"/>
                  <a:gd name="connsiteX2937" fmla="*/ 3111 w 10746"/>
                  <a:gd name="connsiteY2937" fmla="*/ 7726 h 10000"/>
                  <a:gd name="connsiteX2938" fmla="*/ 3124 w 10746"/>
                  <a:gd name="connsiteY2938" fmla="*/ 7709 h 10000"/>
                  <a:gd name="connsiteX2939" fmla="*/ 3143 w 10746"/>
                  <a:gd name="connsiteY2939" fmla="*/ 7692 h 10000"/>
                  <a:gd name="connsiteX2940" fmla="*/ 3152 w 10746"/>
                  <a:gd name="connsiteY2940" fmla="*/ 7667 h 10000"/>
                  <a:gd name="connsiteX2941" fmla="*/ 3157 w 10746"/>
                  <a:gd name="connsiteY2941" fmla="*/ 7650 h 10000"/>
                  <a:gd name="connsiteX2942" fmla="*/ 3161 w 10746"/>
                  <a:gd name="connsiteY2942" fmla="*/ 7650 h 10000"/>
                  <a:gd name="connsiteX2943" fmla="*/ 3189 w 10746"/>
                  <a:gd name="connsiteY2943" fmla="*/ 7641 h 10000"/>
                  <a:gd name="connsiteX2944" fmla="*/ 3198 w 10746"/>
                  <a:gd name="connsiteY2944" fmla="*/ 7624 h 10000"/>
                  <a:gd name="connsiteX2945" fmla="*/ 3217 w 10746"/>
                  <a:gd name="connsiteY2945" fmla="*/ 7615 h 10000"/>
                  <a:gd name="connsiteX2946" fmla="*/ 3235 w 10746"/>
                  <a:gd name="connsiteY2946" fmla="*/ 7598 h 10000"/>
                  <a:gd name="connsiteX2947" fmla="*/ 3235 w 10746"/>
                  <a:gd name="connsiteY2947" fmla="*/ 7615 h 10000"/>
                  <a:gd name="connsiteX2948" fmla="*/ 3235 w 10746"/>
                  <a:gd name="connsiteY2948" fmla="*/ 7641 h 10000"/>
                  <a:gd name="connsiteX2949" fmla="*/ 3235 w 10746"/>
                  <a:gd name="connsiteY2949" fmla="*/ 7650 h 10000"/>
                  <a:gd name="connsiteX2950" fmla="*/ 3226 w 10746"/>
                  <a:gd name="connsiteY2950" fmla="*/ 7650 h 10000"/>
                  <a:gd name="connsiteX2951" fmla="*/ 3217 w 10746"/>
                  <a:gd name="connsiteY2951" fmla="*/ 7650 h 10000"/>
                  <a:gd name="connsiteX2952" fmla="*/ 3212 w 10746"/>
                  <a:gd name="connsiteY2952" fmla="*/ 7675 h 10000"/>
                  <a:gd name="connsiteX2953" fmla="*/ 3212 w 10746"/>
                  <a:gd name="connsiteY2953" fmla="*/ 7675 h 10000"/>
                  <a:gd name="connsiteX0" fmla="*/ 3212 w 10746"/>
                  <a:gd name="connsiteY0" fmla="*/ 7675 h 10000"/>
                  <a:gd name="connsiteX1" fmla="*/ 3217 w 10746"/>
                  <a:gd name="connsiteY1" fmla="*/ 7692 h 10000"/>
                  <a:gd name="connsiteX2" fmla="*/ 3226 w 10746"/>
                  <a:gd name="connsiteY2" fmla="*/ 7692 h 10000"/>
                  <a:gd name="connsiteX3" fmla="*/ 3309 w 10746"/>
                  <a:gd name="connsiteY3" fmla="*/ 7838 h 10000"/>
                  <a:gd name="connsiteX4" fmla="*/ 3452 w 10746"/>
                  <a:gd name="connsiteY4" fmla="*/ 8325 h 10000"/>
                  <a:gd name="connsiteX5" fmla="*/ 3470 w 10746"/>
                  <a:gd name="connsiteY5" fmla="*/ 8299 h 10000"/>
                  <a:gd name="connsiteX6" fmla="*/ 3470 w 10746"/>
                  <a:gd name="connsiteY6" fmla="*/ 8282 h 10000"/>
                  <a:gd name="connsiteX7" fmla="*/ 3470 w 10746"/>
                  <a:gd name="connsiteY7" fmla="*/ 8274 h 10000"/>
                  <a:gd name="connsiteX8" fmla="*/ 3484 w 10746"/>
                  <a:gd name="connsiteY8" fmla="*/ 8231 h 10000"/>
                  <a:gd name="connsiteX9" fmla="*/ 3498 w 10746"/>
                  <a:gd name="connsiteY9" fmla="*/ 8231 h 10000"/>
                  <a:gd name="connsiteX10" fmla="*/ 3498 w 10746"/>
                  <a:gd name="connsiteY10" fmla="*/ 8248 h 10000"/>
                  <a:gd name="connsiteX11" fmla="*/ 3512 w 10746"/>
                  <a:gd name="connsiteY11" fmla="*/ 8256 h 10000"/>
                  <a:gd name="connsiteX12" fmla="*/ 3525 w 10746"/>
                  <a:gd name="connsiteY12" fmla="*/ 8274 h 10000"/>
                  <a:gd name="connsiteX13" fmla="*/ 3525 w 10746"/>
                  <a:gd name="connsiteY13" fmla="*/ 8282 h 10000"/>
                  <a:gd name="connsiteX14" fmla="*/ 3525 w 10746"/>
                  <a:gd name="connsiteY14" fmla="*/ 8308 h 10000"/>
                  <a:gd name="connsiteX15" fmla="*/ 3530 w 10746"/>
                  <a:gd name="connsiteY15" fmla="*/ 8308 h 10000"/>
                  <a:gd name="connsiteX16" fmla="*/ 3539 w 10746"/>
                  <a:gd name="connsiteY16" fmla="*/ 8333 h 10000"/>
                  <a:gd name="connsiteX17" fmla="*/ 3571 w 10746"/>
                  <a:gd name="connsiteY17" fmla="*/ 8333 h 10000"/>
                  <a:gd name="connsiteX18" fmla="*/ 3590 w 10746"/>
                  <a:gd name="connsiteY18" fmla="*/ 8350 h 10000"/>
                  <a:gd name="connsiteX19" fmla="*/ 3599 w 10746"/>
                  <a:gd name="connsiteY19" fmla="*/ 8333 h 10000"/>
                  <a:gd name="connsiteX20" fmla="*/ 3618 w 10746"/>
                  <a:gd name="connsiteY20" fmla="*/ 8333 h 10000"/>
                  <a:gd name="connsiteX21" fmla="*/ 3618 w 10746"/>
                  <a:gd name="connsiteY21" fmla="*/ 8325 h 10000"/>
                  <a:gd name="connsiteX22" fmla="*/ 3627 w 10746"/>
                  <a:gd name="connsiteY22" fmla="*/ 8308 h 10000"/>
                  <a:gd name="connsiteX23" fmla="*/ 3641 w 10746"/>
                  <a:gd name="connsiteY23" fmla="*/ 8308 h 10000"/>
                  <a:gd name="connsiteX24" fmla="*/ 3645 w 10746"/>
                  <a:gd name="connsiteY24" fmla="*/ 8308 h 10000"/>
                  <a:gd name="connsiteX25" fmla="*/ 3650 w 10746"/>
                  <a:gd name="connsiteY25" fmla="*/ 8299 h 10000"/>
                  <a:gd name="connsiteX26" fmla="*/ 3659 w 10746"/>
                  <a:gd name="connsiteY26" fmla="*/ 8282 h 10000"/>
                  <a:gd name="connsiteX27" fmla="*/ 3677 w 10746"/>
                  <a:gd name="connsiteY27" fmla="*/ 8299 h 10000"/>
                  <a:gd name="connsiteX28" fmla="*/ 3687 w 10746"/>
                  <a:gd name="connsiteY28" fmla="*/ 8299 h 10000"/>
                  <a:gd name="connsiteX29" fmla="*/ 3691 w 10746"/>
                  <a:gd name="connsiteY29" fmla="*/ 8325 h 10000"/>
                  <a:gd name="connsiteX30" fmla="*/ 3700 w 10746"/>
                  <a:gd name="connsiteY30" fmla="*/ 8325 h 10000"/>
                  <a:gd name="connsiteX31" fmla="*/ 3714 w 10746"/>
                  <a:gd name="connsiteY31" fmla="*/ 8359 h 10000"/>
                  <a:gd name="connsiteX32" fmla="*/ 3719 w 10746"/>
                  <a:gd name="connsiteY32" fmla="*/ 8359 h 10000"/>
                  <a:gd name="connsiteX33" fmla="*/ 3724 w 10746"/>
                  <a:gd name="connsiteY33" fmla="*/ 8368 h 10000"/>
                  <a:gd name="connsiteX34" fmla="*/ 3719 w 10746"/>
                  <a:gd name="connsiteY34" fmla="*/ 8393 h 10000"/>
                  <a:gd name="connsiteX35" fmla="*/ 3724 w 10746"/>
                  <a:gd name="connsiteY35" fmla="*/ 8410 h 10000"/>
                  <a:gd name="connsiteX36" fmla="*/ 3724 w 10746"/>
                  <a:gd name="connsiteY36" fmla="*/ 8436 h 10000"/>
                  <a:gd name="connsiteX37" fmla="*/ 3737 w 10746"/>
                  <a:gd name="connsiteY37" fmla="*/ 8436 h 10000"/>
                  <a:gd name="connsiteX38" fmla="*/ 3765 w 10746"/>
                  <a:gd name="connsiteY38" fmla="*/ 8462 h 10000"/>
                  <a:gd name="connsiteX39" fmla="*/ 3765 w 10746"/>
                  <a:gd name="connsiteY39" fmla="*/ 8470 h 10000"/>
                  <a:gd name="connsiteX40" fmla="*/ 3765 w 10746"/>
                  <a:gd name="connsiteY40" fmla="*/ 8496 h 10000"/>
                  <a:gd name="connsiteX41" fmla="*/ 3774 w 10746"/>
                  <a:gd name="connsiteY41" fmla="*/ 8496 h 10000"/>
                  <a:gd name="connsiteX42" fmla="*/ 3779 w 10746"/>
                  <a:gd name="connsiteY42" fmla="*/ 8504 h 10000"/>
                  <a:gd name="connsiteX43" fmla="*/ 3793 w 10746"/>
                  <a:gd name="connsiteY43" fmla="*/ 8547 h 10000"/>
                  <a:gd name="connsiteX44" fmla="*/ 3797 w 10746"/>
                  <a:gd name="connsiteY44" fmla="*/ 8547 h 10000"/>
                  <a:gd name="connsiteX45" fmla="*/ 3820 w 10746"/>
                  <a:gd name="connsiteY45" fmla="*/ 8556 h 10000"/>
                  <a:gd name="connsiteX46" fmla="*/ 3834 w 10746"/>
                  <a:gd name="connsiteY46" fmla="*/ 8573 h 10000"/>
                  <a:gd name="connsiteX47" fmla="*/ 3853 w 10746"/>
                  <a:gd name="connsiteY47" fmla="*/ 8573 h 10000"/>
                  <a:gd name="connsiteX48" fmla="*/ 3857 w 10746"/>
                  <a:gd name="connsiteY48" fmla="*/ 8556 h 10000"/>
                  <a:gd name="connsiteX49" fmla="*/ 3866 w 10746"/>
                  <a:gd name="connsiteY49" fmla="*/ 8547 h 10000"/>
                  <a:gd name="connsiteX50" fmla="*/ 3880 w 10746"/>
                  <a:gd name="connsiteY50" fmla="*/ 8530 h 10000"/>
                  <a:gd name="connsiteX51" fmla="*/ 3885 w 10746"/>
                  <a:gd name="connsiteY51" fmla="*/ 8547 h 10000"/>
                  <a:gd name="connsiteX52" fmla="*/ 3885 w 10746"/>
                  <a:gd name="connsiteY52" fmla="*/ 8573 h 10000"/>
                  <a:gd name="connsiteX53" fmla="*/ 3899 w 10746"/>
                  <a:gd name="connsiteY53" fmla="*/ 8573 h 10000"/>
                  <a:gd name="connsiteX54" fmla="*/ 3908 w 10746"/>
                  <a:gd name="connsiteY54" fmla="*/ 8607 h 10000"/>
                  <a:gd name="connsiteX55" fmla="*/ 3912 w 10746"/>
                  <a:gd name="connsiteY55" fmla="*/ 8615 h 10000"/>
                  <a:gd name="connsiteX56" fmla="*/ 3922 w 10746"/>
                  <a:gd name="connsiteY56" fmla="*/ 8632 h 10000"/>
                  <a:gd name="connsiteX57" fmla="*/ 3908 w 10746"/>
                  <a:gd name="connsiteY57" fmla="*/ 8692 h 10000"/>
                  <a:gd name="connsiteX58" fmla="*/ 3908 w 10746"/>
                  <a:gd name="connsiteY58" fmla="*/ 8692 h 10000"/>
                  <a:gd name="connsiteX59" fmla="*/ 3931 w 10746"/>
                  <a:gd name="connsiteY59" fmla="*/ 8709 h 10000"/>
                  <a:gd name="connsiteX60" fmla="*/ 3954 w 10746"/>
                  <a:gd name="connsiteY60" fmla="*/ 8667 h 10000"/>
                  <a:gd name="connsiteX61" fmla="*/ 3959 w 10746"/>
                  <a:gd name="connsiteY61" fmla="*/ 8667 h 10000"/>
                  <a:gd name="connsiteX62" fmla="*/ 3972 w 10746"/>
                  <a:gd name="connsiteY62" fmla="*/ 8615 h 10000"/>
                  <a:gd name="connsiteX63" fmla="*/ 3995 w 10746"/>
                  <a:gd name="connsiteY63" fmla="*/ 8581 h 10000"/>
                  <a:gd name="connsiteX64" fmla="*/ 4032 w 10746"/>
                  <a:gd name="connsiteY64" fmla="*/ 8556 h 10000"/>
                  <a:gd name="connsiteX65" fmla="*/ 4138 w 10746"/>
                  <a:gd name="connsiteY65" fmla="*/ 8419 h 10000"/>
                  <a:gd name="connsiteX66" fmla="*/ 4249 w 10746"/>
                  <a:gd name="connsiteY66" fmla="*/ 8359 h 10000"/>
                  <a:gd name="connsiteX67" fmla="*/ 4295 w 10746"/>
                  <a:gd name="connsiteY67" fmla="*/ 8385 h 10000"/>
                  <a:gd name="connsiteX68" fmla="*/ 4309 w 10746"/>
                  <a:gd name="connsiteY68" fmla="*/ 8410 h 10000"/>
                  <a:gd name="connsiteX69" fmla="*/ 4355 w 10746"/>
                  <a:gd name="connsiteY69" fmla="*/ 8393 h 10000"/>
                  <a:gd name="connsiteX70" fmla="*/ 4382 w 10746"/>
                  <a:gd name="connsiteY70" fmla="*/ 8393 h 10000"/>
                  <a:gd name="connsiteX71" fmla="*/ 4419 w 10746"/>
                  <a:gd name="connsiteY71" fmla="*/ 8487 h 10000"/>
                  <a:gd name="connsiteX72" fmla="*/ 4442 w 10746"/>
                  <a:gd name="connsiteY72" fmla="*/ 8487 h 10000"/>
                  <a:gd name="connsiteX73" fmla="*/ 4493 w 10746"/>
                  <a:gd name="connsiteY73" fmla="*/ 8470 h 10000"/>
                  <a:gd name="connsiteX74" fmla="*/ 4516 w 10746"/>
                  <a:gd name="connsiteY74" fmla="*/ 8487 h 10000"/>
                  <a:gd name="connsiteX75" fmla="*/ 4608 w 10746"/>
                  <a:gd name="connsiteY75" fmla="*/ 8470 h 10000"/>
                  <a:gd name="connsiteX76" fmla="*/ 4622 w 10746"/>
                  <a:gd name="connsiteY76" fmla="*/ 8470 h 10000"/>
                  <a:gd name="connsiteX77" fmla="*/ 4618 w 10746"/>
                  <a:gd name="connsiteY77" fmla="*/ 8419 h 10000"/>
                  <a:gd name="connsiteX78" fmla="*/ 4622 w 10746"/>
                  <a:gd name="connsiteY78" fmla="*/ 8385 h 10000"/>
                  <a:gd name="connsiteX79" fmla="*/ 4636 w 10746"/>
                  <a:gd name="connsiteY79" fmla="*/ 8350 h 10000"/>
                  <a:gd name="connsiteX80" fmla="*/ 4636 w 10746"/>
                  <a:gd name="connsiteY80" fmla="*/ 8325 h 10000"/>
                  <a:gd name="connsiteX81" fmla="*/ 4622 w 10746"/>
                  <a:gd name="connsiteY81" fmla="*/ 8282 h 10000"/>
                  <a:gd name="connsiteX82" fmla="*/ 4618 w 10746"/>
                  <a:gd name="connsiteY82" fmla="*/ 8248 h 10000"/>
                  <a:gd name="connsiteX83" fmla="*/ 4618 w 10746"/>
                  <a:gd name="connsiteY83" fmla="*/ 8214 h 10000"/>
                  <a:gd name="connsiteX84" fmla="*/ 4691 w 10746"/>
                  <a:gd name="connsiteY84" fmla="*/ 8077 h 10000"/>
                  <a:gd name="connsiteX85" fmla="*/ 4700 w 10746"/>
                  <a:gd name="connsiteY85" fmla="*/ 8060 h 10000"/>
                  <a:gd name="connsiteX86" fmla="*/ 4728 w 10746"/>
                  <a:gd name="connsiteY86" fmla="*/ 8077 h 10000"/>
                  <a:gd name="connsiteX87" fmla="*/ 4751 w 10746"/>
                  <a:gd name="connsiteY87" fmla="*/ 8094 h 10000"/>
                  <a:gd name="connsiteX88" fmla="*/ 4788 w 10746"/>
                  <a:gd name="connsiteY88" fmla="*/ 8120 h 10000"/>
                  <a:gd name="connsiteX89" fmla="*/ 4802 w 10746"/>
                  <a:gd name="connsiteY89" fmla="*/ 8162 h 10000"/>
                  <a:gd name="connsiteX90" fmla="*/ 4885 w 10746"/>
                  <a:gd name="connsiteY90" fmla="*/ 8197 h 10000"/>
                  <a:gd name="connsiteX91" fmla="*/ 4889 w 10746"/>
                  <a:gd name="connsiteY91" fmla="*/ 8231 h 10000"/>
                  <a:gd name="connsiteX92" fmla="*/ 4899 w 10746"/>
                  <a:gd name="connsiteY92" fmla="*/ 8333 h 10000"/>
                  <a:gd name="connsiteX93" fmla="*/ 4903 w 10746"/>
                  <a:gd name="connsiteY93" fmla="*/ 8333 h 10000"/>
                  <a:gd name="connsiteX94" fmla="*/ 4949 w 10746"/>
                  <a:gd name="connsiteY94" fmla="*/ 8410 h 10000"/>
                  <a:gd name="connsiteX95" fmla="*/ 4991 w 10746"/>
                  <a:gd name="connsiteY95" fmla="*/ 8436 h 10000"/>
                  <a:gd name="connsiteX96" fmla="*/ 5023 w 10746"/>
                  <a:gd name="connsiteY96" fmla="*/ 8419 h 10000"/>
                  <a:gd name="connsiteX97" fmla="*/ 5092 w 10746"/>
                  <a:gd name="connsiteY97" fmla="*/ 8359 h 10000"/>
                  <a:gd name="connsiteX98" fmla="*/ 5180 w 10746"/>
                  <a:gd name="connsiteY98" fmla="*/ 8410 h 10000"/>
                  <a:gd name="connsiteX99" fmla="*/ 5189 w 10746"/>
                  <a:gd name="connsiteY99" fmla="*/ 8436 h 10000"/>
                  <a:gd name="connsiteX100" fmla="*/ 5198 w 10746"/>
                  <a:gd name="connsiteY100" fmla="*/ 8436 h 10000"/>
                  <a:gd name="connsiteX101" fmla="*/ 5226 w 10746"/>
                  <a:gd name="connsiteY101" fmla="*/ 8487 h 10000"/>
                  <a:gd name="connsiteX102" fmla="*/ 5276 w 10746"/>
                  <a:gd name="connsiteY102" fmla="*/ 8504 h 10000"/>
                  <a:gd name="connsiteX103" fmla="*/ 5290 w 10746"/>
                  <a:gd name="connsiteY103" fmla="*/ 8556 h 10000"/>
                  <a:gd name="connsiteX104" fmla="*/ 5323 w 10746"/>
                  <a:gd name="connsiteY104" fmla="*/ 8598 h 10000"/>
                  <a:gd name="connsiteX105" fmla="*/ 5447 w 10746"/>
                  <a:gd name="connsiteY105" fmla="*/ 8615 h 10000"/>
                  <a:gd name="connsiteX106" fmla="*/ 5465 w 10746"/>
                  <a:gd name="connsiteY106" fmla="*/ 8632 h 10000"/>
                  <a:gd name="connsiteX107" fmla="*/ 5604 w 10746"/>
                  <a:gd name="connsiteY107" fmla="*/ 8556 h 10000"/>
                  <a:gd name="connsiteX108" fmla="*/ 5677 w 10746"/>
                  <a:gd name="connsiteY108" fmla="*/ 8462 h 10000"/>
                  <a:gd name="connsiteX109" fmla="*/ 5705 w 10746"/>
                  <a:gd name="connsiteY109" fmla="*/ 8444 h 10000"/>
                  <a:gd name="connsiteX110" fmla="*/ 5737 w 10746"/>
                  <a:gd name="connsiteY110" fmla="*/ 8470 h 10000"/>
                  <a:gd name="connsiteX111" fmla="*/ 5760 w 10746"/>
                  <a:gd name="connsiteY111" fmla="*/ 8496 h 10000"/>
                  <a:gd name="connsiteX112" fmla="*/ 5788 w 10746"/>
                  <a:gd name="connsiteY112" fmla="*/ 8504 h 10000"/>
                  <a:gd name="connsiteX113" fmla="*/ 5806 w 10746"/>
                  <a:gd name="connsiteY113" fmla="*/ 8496 h 10000"/>
                  <a:gd name="connsiteX114" fmla="*/ 5820 w 10746"/>
                  <a:gd name="connsiteY114" fmla="*/ 8487 h 10000"/>
                  <a:gd name="connsiteX115" fmla="*/ 5825 w 10746"/>
                  <a:gd name="connsiteY115" fmla="*/ 8487 h 10000"/>
                  <a:gd name="connsiteX116" fmla="*/ 5825 w 10746"/>
                  <a:gd name="connsiteY116" fmla="*/ 8487 h 10000"/>
                  <a:gd name="connsiteX117" fmla="*/ 5926 w 10746"/>
                  <a:gd name="connsiteY117" fmla="*/ 8556 h 10000"/>
                  <a:gd name="connsiteX118" fmla="*/ 5940 w 10746"/>
                  <a:gd name="connsiteY118" fmla="*/ 8556 h 10000"/>
                  <a:gd name="connsiteX119" fmla="*/ 6014 w 10746"/>
                  <a:gd name="connsiteY119" fmla="*/ 8470 h 10000"/>
                  <a:gd name="connsiteX120" fmla="*/ 6018 w 10746"/>
                  <a:gd name="connsiteY120" fmla="*/ 8444 h 10000"/>
                  <a:gd name="connsiteX121" fmla="*/ 6014 w 10746"/>
                  <a:gd name="connsiteY121" fmla="*/ 8419 h 10000"/>
                  <a:gd name="connsiteX122" fmla="*/ 6018 w 10746"/>
                  <a:gd name="connsiteY122" fmla="*/ 8393 h 10000"/>
                  <a:gd name="connsiteX123" fmla="*/ 6041 w 10746"/>
                  <a:gd name="connsiteY123" fmla="*/ 8333 h 10000"/>
                  <a:gd name="connsiteX124" fmla="*/ 6069 w 10746"/>
                  <a:gd name="connsiteY124" fmla="*/ 8188 h 10000"/>
                  <a:gd name="connsiteX125" fmla="*/ 6088 w 10746"/>
                  <a:gd name="connsiteY125" fmla="*/ 8162 h 10000"/>
                  <a:gd name="connsiteX126" fmla="*/ 6115 w 10746"/>
                  <a:gd name="connsiteY126" fmla="*/ 8094 h 10000"/>
                  <a:gd name="connsiteX127" fmla="*/ 6115 w 10746"/>
                  <a:gd name="connsiteY127" fmla="*/ 8094 h 10000"/>
                  <a:gd name="connsiteX128" fmla="*/ 6106 w 10746"/>
                  <a:gd name="connsiteY128" fmla="*/ 8077 h 10000"/>
                  <a:gd name="connsiteX129" fmla="*/ 6106 w 10746"/>
                  <a:gd name="connsiteY129" fmla="*/ 8009 h 10000"/>
                  <a:gd name="connsiteX130" fmla="*/ 6101 w 10746"/>
                  <a:gd name="connsiteY130" fmla="*/ 8000 h 10000"/>
                  <a:gd name="connsiteX131" fmla="*/ 6069 w 10746"/>
                  <a:gd name="connsiteY131" fmla="*/ 8009 h 10000"/>
                  <a:gd name="connsiteX132" fmla="*/ 6069 w 10746"/>
                  <a:gd name="connsiteY132" fmla="*/ 8000 h 10000"/>
                  <a:gd name="connsiteX133" fmla="*/ 6069 w 10746"/>
                  <a:gd name="connsiteY133" fmla="*/ 7974 h 10000"/>
                  <a:gd name="connsiteX134" fmla="*/ 6101 w 10746"/>
                  <a:gd name="connsiteY134" fmla="*/ 7923 h 10000"/>
                  <a:gd name="connsiteX135" fmla="*/ 6106 w 10746"/>
                  <a:gd name="connsiteY135" fmla="*/ 7889 h 10000"/>
                  <a:gd name="connsiteX136" fmla="*/ 6129 w 10746"/>
                  <a:gd name="connsiteY136" fmla="*/ 7863 h 10000"/>
                  <a:gd name="connsiteX137" fmla="*/ 6300 w 10746"/>
                  <a:gd name="connsiteY137" fmla="*/ 7812 h 10000"/>
                  <a:gd name="connsiteX138" fmla="*/ 6359 w 10746"/>
                  <a:gd name="connsiteY138" fmla="*/ 7872 h 10000"/>
                  <a:gd name="connsiteX139" fmla="*/ 6373 w 10746"/>
                  <a:gd name="connsiteY139" fmla="*/ 7889 h 10000"/>
                  <a:gd name="connsiteX140" fmla="*/ 6401 w 10746"/>
                  <a:gd name="connsiteY140" fmla="*/ 7889 h 10000"/>
                  <a:gd name="connsiteX141" fmla="*/ 6433 w 10746"/>
                  <a:gd name="connsiteY141" fmla="*/ 7915 h 10000"/>
                  <a:gd name="connsiteX142" fmla="*/ 6461 w 10746"/>
                  <a:gd name="connsiteY142" fmla="*/ 7974 h 10000"/>
                  <a:gd name="connsiteX143" fmla="*/ 6461 w 10746"/>
                  <a:gd name="connsiteY143" fmla="*/ 8000 h 10000"/>
                  <a:gd name="connsiteX144" fmla="*/ 6484 w 10746"/>
                  <a:gd name="connsiteY144" fmla="*/ 8034 h 10000"/>
                  <a:gd name="connsiteX145" fmla="*/ 6484 w 10746"/>
                  <a:gd name="connsiteY145" fmla="*/ 8051 h 10000"/>
                  <a:gd name="connsiteX146" fmla="*/ 6484 w 10746"/>
                  <a:gd name="connsiteY146" fmla="*/ 8034 h 10000"/>
                  <a:gd name="connsiteX147" fmla="*/ 6558 w 10746"/>
                  <a:gd name="connsiteY147" fmla="*/ 8444 h 10000"/>
                  <a:gd name="connsiteX148" fmla="*/ 6558 w 10746"/>
                  <a:gd name="connsiteY148" fmla="*/ 8462 h 10000"/>
                  <a:gd name="connsiteX149" fmla="*/ 6558 w 10746"/>
                  <a:gd name="connsiteY149" fmla="*/ 8462 h 10000"/>
                  <a:gd name="connsiteX150" fmla="*/ 6562 w 10746"/>
                  <a:gd name="connsiteY150" fmla="*/ 8547 h 10000"/>
                  <a:gd name="connsiteX151" fmla="*/ 6576 w 10746"/>
                  <a:gd name="connsiteY151" fmla="*/ 8573 h 10000"/>
                  <a:gd name="connsiteX152" fmla="*/ 6604 w 10746"/>
                  <a:gd name="connsiteY152" fmla="*/ 8581 h 10000"/>
                  <a:gd name="connsiteX153" fmla="*/ 6631 w 10746"/>
                  <a:gd name="connsiteY153" fmla="*/ 8556 h 10000"/>
                  <a:gd name="connsiteX154" fmla="*/ 6691 w 10746"/>
                  <a:gd name="connsiteY154" fmla="*/ 8607 h 10000"/>
                  <a:gd name="connsiteX155" fmla="*/ 6728 w 10746"/>
                  <a:gd name="connsiteY155" fmla="*/ 8667 h 10000"/>
                  <a:gd name="connsiteX156" fmla="*/ 6742 w 10746"/>
                  <a:gd name="connsiteY156" fmla="*/ 8684 h 10000"/>
                  <a:gd name="connsiteX157" fmla="*/ 6765 w 10746"/>
                  <a:gd name="connsiteY157" fmla="*/ 8684 h 10000"/>
                  <a:gd name="connsiteX158" fmla="*/ 6765 w 10746"/>
                  <a:gd name="connsiteY158" fmla="*/ 8709 h 10000"/>
                  <a:gd name="connsiteX159" fmla="*/ 6765 w 10746"/>
                  <a:gd name="connsiteY159" fmla="*/ 8709 h 10000"/>
                  <a:gd name="connsiteX160" fmla="*/ 6770 w 10746"/>
                  <a:gd name="connsiteY160" fmla="*/ 8709 h 10000"/>
                  <a:gd name="connsiteX161" fmla="*/ 6770 w 10746"/>
                  <a:gd name="connsiteY161" fmla="*/ 8744 h 10000"/>
                  <a:gd name="connsiteX162" fmla="*/ 6779 w 10746"/>
                  <a:gd name="connsiteY162" fmla="*/ 8769 h 10000"/>
                  <a:gd name="connsiteX163" fmla="*/ 6779 w 10746"/>
                  <a:gd name="connsiteY163" fmla="*/ 8846 h 10000"/>
                  <a:gd name="connsiteX164" fmla="*/ 6797 w 10746"/>
                  <a:gd name="connsiteY164" fmla="*/ 8906 h 10000"/>
                  <a:gd name="connsiteX165" fmla="*/ 6816 w 10746"/>
                  <a:gd name="connsiteY165" fmla="*/ 8906 h 10000"/>
                  <a:gd name="connsiteX166" fmla="*/ 6843 w 10746"/>
                  <a:gd name="connsiteY166" fmla="*/ 8915 h 10000"/>
                  <a:gd name="connsiteX167" fmla="*/ 6862 w 10746"/>
                  <a:gd name="connsiteY167" fmla="*/ 8906 h 10000"/>
                  <a:gd name="connsiteX168" fmla="*/ 6935 w 10746"/>
                  <a:gd name="connsiteY168" fmla="*/ 8829 h 10000"/>
                  <a:gd name="connsiteX169" fmla="*/ 6963 w 10746"/>
                  <a:gd name="connsiteY169" fmla="*/ 8829 h 10000"/>
                  <a:gd name="connsiteX170" fmla="*/ 7046 w 10746"/>
                  <a:gd name="connsiteY170" fmla="*/ 8769 h 10000"/>
                  <a:gd name="connsiteX171" fmla="*/ 7046 w 10746"/>
                  <a:gd name="connsiteY171" fmla="*/ 8769 h 10000"/>
                  <a:gd name="connsiteX172" fmla="*/ 7032 w 10746"/>
                  <a:gd name="connsiteY172" fmla="*/ 8803 h 10000"/>
                  <a:gd name="connsiteX173" fmla="*/ 7032 w 10746"/>
                  <a:gd name="connsiteY173" fmla="*/ 8846 h 10000"/>
                  <a:gd name="connsiteX174" fmla="*/ 7037 w 10746"/>
                  <a:gd name="connsiteY174" fmla="*/ 8880 h 10000"/>
                  <a:gd name="connsiteX175" fmla="*/ 7037 w 10746"/>
                  <a:gd name="connsiteY175" fmla="*/ 8932 h 10000"/>
                  <a:gd name="connsiteX176" fmla="*/ 7005 w 10746"/>
                  <a:gd name="connsiteY176" fmla="*/ 8983 h 10000"/>
                  <a:gd name="connsiteX177" fmla="*/ 6977 w 10746"/>
                  <a:gd name="connsiteY177" fmla="*/ 9188 h 10000"/>
                  <a:gd name="connsiteX178" fmla="*/ 6935 w 10746"/>
                  <a:gd name="connsiteY178" fmla="*/ 9316 h 10000"/>
                  <a:gd name="connsiteX179" fmla="*/ 6931 w 10746"/>
                  <a:gd name="connsiteY179" fmla="*/ 9368 h 10000"/>
                  <a:gd name="connsiteX180" fmla="*/ 6917 w 10746"/>
                  <a:gd name="connsiteY180" fmla="*/ 9376 h 10000"/>
                  <a:gd name="connsiteX181" fmla="*/ 6912 w 10746"/>
                  <a:gd name="connsiteY181" fmla="*/ 9376 h 10000"/>
                  <a:gd name="connsiteX182" fmla="*/ 6848 w 10746"/>
                  <a:gd name="connsiteY182" fmla="*/ 9342 h 10000"/>
                  <a:gd name="connsiteX183" fmla="*/ 6788 w 10746"/>
                  <a:gd name="connsiteY183" fmla="*/ 9436 h 10000"/>
                  <a:gd name="connsiteX184" fmla="*/ 6802 w 10746"/>
                  <a:gd name="connsiteY184" fmla="*/ 9462 h 10000"/>
                  <a:gd name="connsiteX185" fmla="*/ 6811 w 10746"/>
                  <a:gd name="connsiteY185" fmla="*/ 9667 h 10000"/>
                  <a:gd name="connsiteX186" fmla="*/ 6788 w 10746"/>
                  <a:gd name="connsiteY186" fmla="*/ 9709 h 10000"/>
                  <a:gd name="connsiteX187" fmla="*/ 6765 w 10746"/>
                  <a:gd name="connsiteY187" fmla="*/ 9752 h 10000"/>
                  <a:gd name="connsiteX188" fmla="*/ 6765 w 10746"/>
                  <a:gd name="connsiteY188" fmla="*/ 9803 h 10000"/>
                  <a:gd name="connsiteX189" fmla="*/ 6770 w 10746"/>
                  <a:gd name="connsiteY189" fmla="*/ 9821 h 10000"/>
                  <a:gd name="connsiteX190" fmla="*/ 6779 w 10746"/>
                  <a:gd name="connsiteY190" fmla="*/ 9812 h 10000"/>
                  <a:gd name="connsiteX191" fmla="*/ 6779 w 10746"/>
                  <a:gd name="connsiteY191" fmla="*/ 9803 h 10000"/>
                  <a:gd name="connsiteX192" fmla="*/ 6770 w 10746"/>
                  <a:gd name="connsiteY192" fmla="*/ 9786 h 10000"/>
                  <a:gd name="connsiteX193" fmla="*/ 6811 w 10746"/>
                  <a:gd name="connsiteY193" fmla="*/ 9786 h 10000"/>
                  <a:gd name="connsiteX194" fmla="*/ 6816 w 10746"/>
                  <a:gd name="connsiteY194" fmla="*/ 9761 h 10000"/>
                  <a:gd name="connsiteX195" fmla="*/ 6825 w 10746"/>
                  <a:gd name="connsiteY195" fmla="*/ 9752 h 10000"/>
                  <a:gd name="connsiteX196" fmla="*/ 6825 w 10746"/>
                  <a:gd name="connsiteY196" fmla="*/ 9726 h 10000"/>
                  <a:gd name="connsiteX197" fmla="*/ 6843 w 10746"/>
                  <a:gd name="connsiteY197" fmla="*/ 9701 h 10000"/>
                  <a:gd name="connsiteX198" fmla="*/ 6848 w 10746"/>
                  <a:gd name="connsiteY198" fmla="*/ 9650 h 10000"/>
                  <a:gd name="connsiteX199" fmla="*/ 6848 w 10746"/>
                  <a:gd name="connsiteY199" fmla="*/ 9675 h 10000"/>
                  <a:gd name="connsiteX200" fmla="*/ 6862 w 10746"/>
                  <a:gd name="connsiteY200" fmla="*/ 9675 h 10000"/>
                  <a:gd name="connsiteX201" fmla="*/ 6857 w 10746"/>
                  <a:gd name="connsiteY201" fmla="*/ 9701 h 10000"/>
                  <a:gd name="connsiteX202" fmla="*/ 6857 w 10746"/>
                  <a:gd name="connsiteY202" fmla="*/ 9701 h 10000"/>
                  <a:gd name="connsiteX203" fmla="*/ 6876 w 10746"/>
                  <a:gd name="connsiteY203" fmla="*/ 9684 h 10000"/>
                  <a:gd name="connsiteX204" fmla="*/ 6885 w 10746"/>
                  <a:gd name="connsiteY204" fmla="*/ 9675 h 10000"/>
                  <a:gd name="connsiteX205" fmla="*/ 6876 w 10746"/>
                  <a:gd name="connsiteY205" fmla="*/ 9735 h 10000"/>
                  <a:gd name="connsiteX206" fmla="*/ 6885 w 10746"/>
                  <a:gd name="connsiteY206" fmla="*/ 9752 h 10000"/>
                  <a:gd name="connsiteX207" fmla="*/ 6903 w 10746"/>
                  <a:gd name="connsiteY207" fmla="*/ 9752 h 10000"/>
                  <a:gd name="connsiteX208" fmla="*/ 6917 w 10746"/>
                  <a:gd name="connsiteY208" fmla="*/ 9761 h 10000"/>
                  <a:gd name="connsiteX209" fmla="*/ 6917 w 10746"/>
                  <a:gd name="connsiteY209" fmla="*/ 9761 h 10000"/>
                  <a:gd name="connsiteX210" fmla="*/ 6922 w 10746"/>
                  <a:gd name="connsiteY210" fmla="*/ 9778 h 10000"/>
                  <a:gd name="connsiteX211" fmla="*/ 6945 w 10746"/>
                  <a:gd name="connsiteY211" fmla="*/ 9778 h 10000"/>
                  <a:gd name="connsiteX212" fmla="*/ 6972 w 10746"/>
                  <a:gd name="connsiteY212" fmla="*/ 9752 h 10000"/>
                  <a:gd name="connsiteX213" fmla="*/ 6977 w 10746"/>
                  <a:gd name="connsiteY213" fmla="*/ 9752 h 10000"/>
                  <a:gd name="connsiteX214" fmla="*/ 7069 w 10746"/>
                  <a:gd name="connsiteY214" fmla="*/ 9624 h 10000"/>
                  <a:gd name="connsiteX215" fmla="*/ 7097 w 10746"/>
                  <a:gd name="connsiteY215" fmla="*/ 9547 h 10000"/>
                  <a:gd name="connsiteX216" fmla="*/ 7106 w 10746"/>
                  <a:gd name="connsiteY216" fmla="*/ 9530 h 10000"/>
                  <a:gd name="connsiteX217" fmla="*/ 7124 w 10746"/>
                  <a:gd name="connsiteY217" fmla="*/ 9479 h 10000"/>
                  <a:gd name="connsiteX218" fmla="*/ 7138 w 10746"/>
                  <a:gd name="connsiteY218" fmla="*/ 9462 h 10000"/>
                  <a:gd name="connsiteX219" fmla="*/ 7378 w 10746"/>
                  <a:gd name="connsiteY219" fmla="*/ 8795 h 10000"/>
                  <a:gd name="connsiteX220" fmla="*/ 7392 w 10746"/>
                  <a:gd name="connsiteY220" fmla="*/ 8795 h 10000"/>
                  <a:gd name="connsiteX221" fmla="*/ 7401 w 10746"/>
                  <a:gd name="connsiteY221" fmla="*/ 8769 h 10000"/>
                  <a:gd name="connsiteX222" fmla="*/ 7406 w 10746"/>
                  <a:gd name="connsiteY222" fmla="*/ 8692 h 10000"/>
                  <a:gd name="connsiteX223" fmla="*/ 7406 w 10746"/>
                  <a:gd name="connsiteY223" fmla="*/ 8667 h 10000"/>
                  <a:gd name="connsiteX224" fmla="*/ 7419 w 10746"/>
                  <a:gd name="connsiteY224" fmla="*/ 8598 h 10000"/>
                  <a:gd name="connsiteX225" fmla="*/ 7419 w 10746"/>
                  <a:gd name="connsiteY225" fmla="*/ 8496 h 10000"/>
                  <a:gd name="connsiteX226" fmla="*/ 7424 w 10746"/>
                  <a:gd name="connsiteY226" fmla="*/ 8470 h 10000"/>
                  <a:gd name="connsiteX227" fmla="*/ 7424 w 10746"/>
                  <a:gd name="connsiteY227" fmla="*/ 8462 h 10000"/>
                  <a:gd name="connsiteX228" fmla="*/ 7419 w 10746"/>
                  <a:gd name="connsiteY228" fmla="*/ 8462 h 10000"/>
                  <a:gd name="connsiteX229" fmla="*/ 7410 w 10746"/>
                  <a:gd name="connsiteY229" fmla="*/ 8350 h 10000"/>
                  <a:gd name="connsiteX230" fmla="*/ 7419 w 10746"/>
                  <a:gd name="connsiteY230" fmla="*/ 8325 h 10000"/>
                  <a:gd name="connsiteX231" fmla="*/ 7424 w 10746"/>
                  <a:gd name="connsiteY231" fmla="*/ 8248 h 10000"/>
                  <a:gd name="connsiteX232" fmla="*/ 7433 w 10746"/>
                  <a:gd name="connsiteY232" fmla="*/ 8248 h 10000"/>
                  <a:gd name="connsiteX233" fmla="*/ 7433 w 10746"/>
                  <a:gd name="connsiteY233" fmla="*/ 8231 h 10000"/>
                  <a:gd name="connsiteX234" fmla="*/ 7433 w 10746"/>
                  <a:gd name="connsiteY234" fmla="*/ 8222 h 10000"/>
                  <a:gd name="connsiteX235" fmla="*/ 7433 w 10746"/>
                  <a:gd name="connsiteY235" fmla="*/ 8214 h 10000"/>
                  <a:gd name="connsiteX236" fmla="*/ 7447 w 10746"/>
                  <a:gd name="connsiteY236" fmla="*/ 8162 h 10000"/>
                  <a:gd name="connsiteX237" fmla="*/ 7461 w 10746"/>
                  <a:gd name="connsiteY237" fmla="*/ 8162 h 10000"/>
                  <a:gd name="connsiteX238" fmla="*/ 7475 w 10746"/>
                  <a:gd name="connsiteY238" fmla="*/ 8111 h 10000"/>
                  <a:gd name="connsiteX239" fmla="*/ 7475 w 10746"/>
                  <a:gd name="connsiteY239" fmla="*/ 8085 h 10000"/>
                  <a:gd name="connsiteX240" fmla="*/ 7479 w 10746"/>
                  <a:gd name="connsiteY240" fmla="*/ 8060 h 10000"/>
                  <a:gd name="connsiteX241" fmla="*/ 7452 w 10746"/>
                  <a:gd name="connsiteY241" fmla="*/ 8009 h 10000"/>
                  <a:gd name="connsiteX242" fmla="*/ 7465 w 10746"/>
                  <a:gd name="connsiteY242" fmla="*/ 7974 h 10000"/>
                  <a:gd name="connsiteX243" fmla="*/ 7452 w 10746"/>
                  <a:gd name="connsiteY243" fmla="*/ 7923 h 10000"/>
                  <a:gd name="connsiteX244" fmla="*/ 7433 w 10746"/>
                  <a:gd name="connsiteY244" fmla="*/ 7889 h 10000"/>
                  <a:gd name="connsiteX245" fmla="*/ 7419 w 10746"/>
                  <a:gd name="connsiteY245" fmla="*/ 7889 h 10000"/>
                  <a:gd name="connsiteX246" fmla="*/ 7401 w 10746"/>
                  <a:gd name="connsiteY246" fmla="*/ 7863 h 10000"/>
                  <a:gd name="connsiteX247" fmla="*/ 7387 w 10746"/>
                  <a:gd name="connsiteY247" fmla="*/ 7863 h 10000"/>
                  <a:gd name="connsiteX248" fmla="*/ 7373 w 10746"/>
                  <a:gd name="connsiteY248" fmla="*/ 7863 h 10000"/>
                  <a:gd name="connsiteX249" fmla="*/ 7387 w 10746"/>
                  <a:gd name="connsiteY249" fmla="*/ 7846 h 10000"/>
                  <a:gd name="connsiteX250" fmla="*/ 7401 w 10746"/>
                  <a:gd name="connsiteY250" fmla="*/ 7846 h 10000"/>
                  <a:gd name="connsiteX251" fmla="*/ 7410 w 10746"/>
                  <a:gd name="connsiteY251" fmla="*/ 7863 h 10000"/>
                  <a:gd name="connsiteX252" fmla="*/ 7424 w 10746"/>
                  <a:gd name="connsiteY252" fmla="*/ 7872 h 10000"/>
                  <a:gd name="connsiteX253" fmla="*/ 7433 w 10746"/>
                  <a:gd name="connsiteY253" fmla="*/ 7863 h 10000"/>
                  <a:gd name="connsiteX254" fmla="*/ 7461 w 10746"/>
                  <a:gd name="connsiteY254" fmla="*/ 7897 h 10000"/>
                  <a:gd name="connsiteX255" fmla="*/ 7465 w 10746"/>
                  <a:gd name="connsiteY255" fmla="*/ 7889 h 10000"/>
                  <a:gd name="connsiteX256" fmla="*/ 7475 w 10746"/>
                  <a:gd name="connsiteY256" fmla="*/ 7863 h 10000"/>
                  <a:gd name="connsiteX257" fmla="*/ 7475 w 10746"/>
                  <a:gd name="connsiteY257" fmla="*/ 7838 h 10000"/>
                  <a:gd name="connsiteX258" fmla="*/ 7465 w 10746"/>
                  <a:gd name="connsiteY258" fmla="*/ 7838 h 10000"/>
                  <a:gd name="connsiteX259" fmla="*/ 7406 w 10746"/>
                  <a:gd name="connsiteY259" fmla="*/ 7752 h 10000"/>
                  <a:gd name="connsiteX260" fmla="*/ 7401 w 10746"/>
                  <a:gd name="connsiteY260" fmla="*/ 7735 h 10000"/>
                  <a:gd name="connsiteX261" fmla="*/ 7401 w 10746"/>
                  <a:gd name="connsiteY261" fmla="*/ 7701 h 10000"/>
                  <a:gd name="connsiteX262" fmla="*/ 7378 w 10746"/>
                  <a:gd name="connsiteY262" fmla="*/ 7675 h 10000"/>
                  <a:gd name="connsiteX263" fmla="*/ 7373 w 10746"/>
                  <a:gd name="connsiteY263" fmla="*/ 7667 h 10000"/>
                  <a:gd name="connsiteX264" fmla="*/ 7364 w 10746"/>
                  <a:gd name="connsiteY264" fmla="*/ 7650 h 10000"/>
                  <a:gd name="connsiteX265" fmla="*/ 7364 w 10746"/>
                  <a:gd name="connsiteY265" fmla="*/ 7641 h 10000"/>
                  <a:gd name="connsiteX266" fmla="*/ 7350 w 10746"/>
                  <a:gd name="connsiteY266" fmla="*/ 7641 h 10000"/>
                  <a:gd name="connsiteX267" fmla="*/ 7336 w 10746"/>
                  <a:gd name="connsiteY267" fmla="*/ 7650 h 10000"/>
                  <a:gd name="connsiteX268" fmla="*/ 7327 w 10746"/>
                  <a:gd name="connsiteY268" fmla="*/ 7650 h 10000"/>
                  <a:gd name="connsiteX269" fmla="*/ 7300 w 10746"/>
                  <a:gd name="connsiteY269" fmla="*/ 7641 h 10000"/>
                  <a:gd name="connsiteX270" fmla="*/ 7300 w 10746"/>
                  <a:gd name="connsiteY270" fmla="*/ 7675 h 10000"/>
                  <a:gd name="connsiteX271" fmla="*/ 7300 w 10746"/>
                  <a:gd name="connsiteY271" fmla="*/ 7692 h 10000"/>
                  <a:gd name="connsiteX272" fmla="*/ 7286 w 10746"/>
                  <a:gd name="connsiteY272" fmla="*/ 7786 h 10000"/>
                  <a:gd name="connsiteX273" fmla="*/ 7272 w 10746"/>
                  <a:gd name="connsiteY273" fmla="*/ 7803 h 10000"/>
                  <a:gd name="connsiteX274" fmla="*/ 7276 w 10746"/>
                  <a:gd name="connsiteY274" fmla="*/ 7761 h 10000"/>
                  <a:gd name="connsiteX275" fmla="*/ 7286 w 10746"/>
                  <a:gd name="connsiteY275" fmla="*/ 7735 h 10000"/>
                  <a:gd name="connsiteX276" fmla="*/ 7276 w 10746"/>
                  <a:gd name="connsiteY276" fmla="*/ 7709 h 10000"/>
                  <a:gd name="connsiteX277" fmla="*/ 7258 w 10746"/>
                  <a:gd name="connsiteY277" fmla="*/ 7761 h 10000"/>
                  <a:gd name="connsiteX278" fmla="*/ 7217 w 10746"/>
                  <a:gd name="connsiteY278" fmla="*/ 7786 h 10000"/>
                  <a:gd name="connsiteX279" fmla="*/ 7203 w 10746"/>
                  <a:gd name="connsiteY279" fmla="*/ 7786 h 10000"/>
                  <a:gd name="connsiteX280" fmla="*/ 7198 w 10746"/>
                  <a:gd name="connsiteY280" fmla="*/ 7778 h 10000"/>
                  <a:gd name="connsiteX281" fmla="*/ 7212 w 10746"/>
                  <a:gd name="connsiteY281" fmla="*/ 7761 h 10000"/>
                  <a:gd name="connsiteX282" fmla="*/ 7230 w 10746"/>
                  <a:gd name="connsiteY282" fmla="*/ 7726 h 10000"/>
                  <a:gd name="connsiteX283" fmla="*/ 7226 w 10746"/>
                  <a:gd name="connsiteY283" fmla="*/ 7709 h 10000"/>
                  <a:gd name="connsiteX284" fmla="*/ 7212 w 10746"/>
                  <a:gd name="connsiteY284" fmla="*/ 7701 h 10000"/>
                  <a:gd name="connsiteX285" fmla="*/ 7203 w 10746"/>
                  <a:gd name="connsiteY285" fmla="*/ 7675 h 10000"/>
                  <a:gd name="connsiteX286" fmla="*/ 7217 w 10746"/>
                  <a:gd name="connsiteY286" fmla="*/ 7675 h 10000"/>
                  <a:gd name="connsiteX287" fmla="*/ 7226 w 10746"/>
                  <a:gd name="connsiteY287" fmla="*/ 7650 h 10000"/>
                  <a:gd name="connsiteX288" fmla="*/ 7226 w 10746"/>
                  <a:gd name="connsiteY288" fmla="*/ 7641 h 10000"/>
                  <a:gd name="connsiteX289" fmla="*/ 7203 w 10746"/>
                  <a:gd name="connsiteY289" fmla="*/ 7641 h 10000"/>
                  <a:gd name="connsiteX290" fmla="*/ 7198 w 10746"/>
                  <a:gd name="connsiteY290" fmla="*/ 7650 h 10000"/>
                  <a:gd name="connsiteX291" fmla="*/ 7194 w 10746"/>
                  <a:gd name="connsiteY291" fmla="*/ 7675 h 10000"/>
                  <a:gd name="connsiteX292" fmla="*/ 7198 w 10746"/>
                  <a:gd name="connsiteY292" fmla="*/ 7692 h 10000"/>
                  <a:gd name="connsiteX293" fmla="*/ 7198 w 10746"/>
                  <a:gd name="connsiteY293" fmla="*/ 7709 h 10000"/>
                  <a:gd name="connsiteX294" fmla="*/ 7184 w 10746"/>
                  <a:gd name="connsiteY294" fmla="*/ 7726 h 10000"/>
                  <a:gd name="connsiteX295" fmla="*/ 7180 w 10746"/>
                  <a:gd name="connsiteY295" fmla="*/ 7726 h 10000"/>
                  <a:gd name="connsiteX296" fmla="*/ 7171 w 10746"/>
                  <a:gd name="connsiteY296" fmla="*/ 7752 h 10000"/>
                  <a:gd name="connsiteX297" fmla="*/ 7166 w 10746"/>
                  <a:gd name="connsiteY297" fmla="*/ 7735 h 10000"/>
                  <a:gd name="connsiteX298" fmla="*/ 7171 w 10746"/>
                  <a:gd name="connsiteY298" fmla="*/ 7624 h 10000"/>
                  <a:gd name="connsiteX299" fmla="*/ 7171 w 10746"/>
                  <a:gd name="connsiteY299" fmla="*/ 7615 h 10000"/>
                  <a:gd name="connsiteX300" fmla="*/ 7171 w 10746"/>
                  <a:gd name="connsiteY300" fmla="*/ 7590 h 10000"/>
                  <a:gd name="connsiteX301" fmla="*/ 7166 w 10746"/>
                  <a:gd name="connsiteY301" fmla="*/ 7564 h 10000"/>
                  <a:gd name="connsiteX302" fmla="*/ 7157 w 10746"/>
                  <a:gd name="connsiteY302" fmla="*/ 7564 h 10000"/>
                  <a:gd name="connsiteX303" fmla="*/ 7097 w 10746"/>
                  <a:gd name="connsiteY303" fmla="*/ 7573 h 10000"/>
                  <a:gd name="connsiteX304" fmla="*/ 7065 w 10746"/>
                  <a:gd name="connsiteY304" fmla="*/ 7538 h 10000"/>
                  <a:gd name="connsiteX305" fmla="*/ 7069 w 10746"/>
                  <a:gd name="connsiteY305" fmla="*/ 7504 h 10000"/>
                  <a:gd name="connsiteX306" fmla="*/ 7106 w 10746"/>
                  <a:gd name="connsiteY306" fmla="*/ 7453 h 10000"/>
                  <a:gd name="connsiteX307" fmla="*/ 7111 w 10746"/>
                  <a:gd name="connsiteY307" fmla="*/ 7436 h 10000"/>
                  <a:gd name="connsiteX308" fmla="*/ 7138 w 10746"/>
                  <a:gd name="connsiteY308" fmla="*/ 7402 h 10000"/>
                  <a:gd name="connsiteX309" fmla="*/ 7143 w 10746"/>
                  <a:gd name="connsiteY309" fmla="*/ 7376 h 10000"/>
                  <a:gd name="connsiteX310" fmla="*/ 7152 w 10746"/>
                  <a:gd name="connsiteY310" fmla="*/ 7368 h 10000"/>
                  <a:gd name="connsiteX311" fmla="*/ 7157 w 10746"/>
                  <a:gd name="connsiteY311" fmla="*/ 7350 h 10000"/>
                  <a:gd name="connsiteX312" fmla="*/ 7230 w 10746"/>
                  <a:gd name="connsiteY312" fmla="*/ 7239 h 10000"/>
                  <a:gd name="connsiteX313" fmla="*/ 7240 w 10746"/>
                  <a:gd name="connsiteY313" fmla="*/ 7205 h 10000"/>
                  <a:gd name="connsiteX314" fmla="*/ 7253 w 10746"/>
                  <a:gd name="connsiteY314" fmla="*/ 7188 h 10000"/>
                  <a:gd name="connsiteX315" fmla="*/ 7258 w 10746"/>
                  <a:gd name="connsiteY315" fmla="*/ 7162 h 10000"/>
                  <a:gd name="connsiteX316" fmla="*/ 7258 w 10746"/>
                  <a:gd name="connsiteY316" fmla="*/ 7154 h 10000"/>
                  <a:gd name="connsiteX317" fmla="*/ 7272 w 10746"/>
                  <a:gd name="connsiteY317" fmla="*/ 7120 h 10000"/>
                  <a:gd name="connsiteX318" fmla="*/ 7276 w 10746"/>
                  <a:gd name="connsiteY318" fmla="*/ 7094 h 10000"/>
                  <a:gd name="connsiteX319" fmla="*/ 7286 w 10746"/>
                  <a:gd name="connsiteY319" fmla="*/ 7094 h 10000"/>
                  <a:gd name="connsiteX320" fmla="*/ 7290 w 10746"/>
                  <a:gd name="connsiteY320" fmla="*/ 7068 h 10000"/>
                  <a:gd name="connsiteX321" fmla="*/ 7332 w 10746"/>
                  <a:gd name="connsiteY321" fmla="*/ 6991 h 10000"/>
                  <a:gd name="connsiteX322" fmla="*/ 7336 w 10746"/>
                  <a:gd name="connsiteY322" fmla="*/ 6991 h 10000"/>
                  <a:gd name="connsiteX323" fmla="*/ 7364 w 10746"/>
                  <a:gd name="connsiteY323" fmla="*/ 6940 h 10000"/>
                  <a:gd name="connsiteX324" fmla="*/ 7373 w 10746"/>
                  <a:gd name="connsiteY324" fmla="*/ 6906 h 10000"/>
                  <a:gd name="connsiteX325" fmla="*/ 7378 w 10746"/>
                  <a:gd name="connsiteY325" fmla="*/ 6915 h 10000"/>
                  <a:gd name="connsiteX326" fmla="*/ 7406 w 10746"/>
                  <a:gd name="connsiteY326" fmla="*/ 6880 h 10000"/>
                  <a:gd name="connsiteX327" fmla="*/ 7410 w 10746"/>
                  <a:gd name="connsiteY327" fmla="*/ 6846 h 10000"/>
                  <a:gd name="connsiteX328" fmla="*/ 7419 w 10746"/>
                  <a:gd name="connsiteY328" fmla="*/ 6803 h 10000"/>
                  <a:gd name="connsiteX329" fmla="*/ 7585 w 10746"/>
                  <a:gd name="connsiteY329" fmla="*/ 6504 h 10000"/>
                  <a:gd name="connsiteX330" fmla="*/ 7765 w 10746"/>
                  <a:gd name="connsiteY330" fmla="*/ 6504 h 10000"/>
                  <a:gd name="connsiteX331" fmla="*/ 7765 w 10746"/>
                  <a:gd name="connsiteY331" fmla="*/ 6530 h 10000"/>
                  <a:gd name="connsiteX332" fmla="*/ 7774 w 10746"/>
                  <a:gd name="connsiteY332" fmla="*/ 6556 h 10000"/>
                  <a:gd name="connsiteX333" fmla="*/ 7779 w 10746"/>
                  <a:gd name="connsiteY333" fmla="*/ 6556 h 10000"/>
                  <a:gd name="connsiteX334" fmla="*/ 7793 w 10746"/>
                  <a:gd name="connsiteY334" fmla="*/ 6547 h 10000"/>
                  <a:gd name="connsiteX335" fmla="*/ 7793 w 10746"/>
                  <a:gd name="connsiteY335" fmla="*/ 6530 h 10000"/>
                  <a:gd name="connsiteX336" fmla="*/ 7802 w 10746"/>
                  <a:gd name="connsiteY336" fmla="*/ 6496 h 10000"/>
                  <a:gd name="connsiteX337" fmla="*/ 7806 w 10746"/>
                  <a:gd name="connsiteY337" fmla="*/ 6487 h 10000"/>
                  <a:gd name="connsiteX338" fmla="*/ 7876 w 10746"/>
                  <a:gd name="connsiteY338" fmla="*/ 6530 h 10000"/>
                  <a:gd name="connsiteX339" fmla="*/ 7894 w 10746"/>
                  <a:gd name="connsiteY339" fmla="*/ 6530 h 10000"/>
                  <a:gd name="connsiteX340" fmla="*/ 7894 w 10746"/>
                  <a:gd name="connsiteY340" fmla="*/ 6504 h 10000"/>
                  <a:gd name="connsiteX341" fmla="*/ 7899 w 10746"/>
                  <a:gd name="connsiteY341" fmla="*/ 6504 h 10000"/>
                  <a:gd name="connsiteX342" fmla="*/ 7926 w 10746"/>
                  <a:gd name="connsiteY342" fmla="*/ 6504 h 10000"/>
                  <a:gd name="connsiteX343" fmla="*/ 7940 w 10746"/>
                  <a:gd name="connsiteY343" fmla="*/ 6547 h 10000"/>
                  <a:gd name="connsiteX344" fmla="*/ 7949 w 10746"/>
                  <a:gd name="connsiteY344" fmla="*/ 6547 h 10000"/>
                  <a:gd name="connsiteX345" fmla="*/ 7963 w 10746"/>
                  <a:gd name="connsiteY345" fmla="*/ 6530 h 10000"/>
                  <a:gd name="connsiteX346" fmla="*/ 7963 w 10746"/>
                  <a:gd name="connsiteY346" fmla="*/ 6504 h 10000"/>
                  <a:gd name="connsiteX347" fmla="*/ 7963 w 10746"/>
                  <a:gd name="connsiteY347" fmla="*/ 6504 h 10000"/>
                  <a:gd name="connsiteX348" fmla="*/ 7954 w 10746"/>
                  <a:gd name="connsiteY348" fmla="*/ 6496 h 10000"/>
                  <a:gd name="connsiteX349" fmla="*/ 7963 w 10746"/>
                  <a:gd name="connsiteY349" fmla="*/ 6487 h 10000"/>
                  <a:gd name="connsiteX350" fmla="*/ 7982 w 10746"/>
                  <a:gd name="connsiteY350" fmla="*/ 6487 h 10000"/>
                  <a:gd name="connsiteX351" fmla="*/ 7982 w 10746"/>
                  <a:gd name="connsiteY351" fmla="*/ 6470 h 10000"/>
                  <a:gd name="connsiteX352" fmla="*/ 7972 w 10746"/>
                  <a:gd name="connsiteY352" fmla="*/ 6462 h 10000"/>
                  <a:gd name="connsiteX353" fmla="*/ 7972 w 10746"/>
                  <a:gd name="connsiteY353" fmla="*/ 6436 h 10000"/>
                  <a:gd name="connsiteX354" fmla="*/ 7986 w 10746"/>
                  <a:gd name="connsiteY354" fmla="*/ 6419 h 10000"/>
                  <a:gd name="connsiteX355" fmla="*/ 8000 w 10746"/>
                  <a:gd name="connsiteY355" fmla="*/ 6419 h 10000"/>
                  <a:gd name="connsiteX356" fmla="*/ 8055 w 10746"/>
                  <a:gd name="connsiteY356" fmla="*/ 6462 h 10000"/>
                  <a:gd name="connsiteX357" fmla="*/ 8069 w 10746"/>
                  <a:gd name="connsiteY357" fmla="*/ 6444 h 10000"/>
                  <a:gd name="connsiteX358" fmla="*/ 8083 w 10746"/>
                  <a:gd name="connsiteY358" fmla="*/ 6470 h 10000"/>
                  <a:gd name="connsiteX359" fmla="*/ 8083 w 10746"/>
                  <a:gd name="connsiteY359" fmla="*/ 6487 h 10000"/>
                  <a:gd name="connsiteX360" fmla="*/ 8097 w 10746"/>
                  <a:gd name="connsiteY360" fmla="*/ 6487 h 10000"/>
                  <a:gd name="connsiteX361" fmla="*/ 8101 w 10746"/>
                  <a:gd name="connsiteY361" fmla="*/ 6462 h 10000"/>
                  <a:gd name="connsiteX362" fmla="*/ 8115 w 10746"/>
                  <a:gd name="connsiteY362" fmla="*/ 6462 h 10000"/>
                  <a:gd name="connsiteX363" fmla="*/ 8129 w 10746"/>
                  <a:gd name="connsiteY363" fmla="*/ 6462 h 10000"/>
                  <a:gd name="connsiteX364" fmla="*/ 8157 w 10746"/>
                  <a:gd name="connsiteY364" fmla="*/ 6496 h 10000"/>
                  <a:gd name="connsiteX365" fmla="*/ 8157 w 10746"/>
                  <a:gd name="connsiteY365" fmla="*/ 6521 h 10000"/>
                  <a:gd name="connsiteX366" fmla="*/ 8180 w 10746"/>
                  <a:gd name="connsiteY366" fmla="*/ 6530 h 10000"/>
                  <a:gd name="connsiteX367" fmla="*/ 8180 w 10746"/>
                  <a:gd name="connsiteY367" fmla="*/ 6547 h 10000"/>
                  <a:gd name="connsiteX368" fmla="*/ 8171 w 10746"/>
                  <a:gd name="connsiteY368" fmla="*/ 6556 h 10000"/>
                  <a:gd name="connsiteX369" fmla="*/ 8129 w 10746"/>
                  <a:gd name="connsiteY369" fmla="*/ 6556 h 10000"/>
                  <a:gd name="connsiteX370" fmla="*/ 8106 w 10746"/>
                  <a:gd name="connsiteY370" fmla="*/ 6573 h 10000"/>
                  <a:gd name="connsiteX371" fmla="*/ 8115 w 10746"/>
                  <a:gd name="connsiteY371" fmla="*/ 6581 h 10000"/>
                  <a:gd name="connsiteX372" fmla="*/ 8129 w 10746"/>
                  <a:gd name="connsiteY372" fmla="*/ 6632 h 10000"/>
                  <a:gd name="connsiteX373" fmla="*/ 8171 w 10746"/>
                  <a:gd name="connsiteY373" fmla="*/ 6632 h 10000"/>
                  <a:gd name="connsiteX374" fmla="*/ 8180 w 10746"/>
                  <a:gd name="connsiteY374" fmla="*/ 6624 h 10000"/>
                  <a:gd name="connsiteX375" fmla="*/ 8189 w 10746"/>
                  <a:gd name="connsiteY375" fmla="*/ 6598 h 10000"/>
                  <a:gd name="connsiteX376" fmla="*/ 8203 w 10746"/>
                  <a:gd name="connsiteY376" fmla="*/ 6581 h 10000"/>
                  <a:gd name="connsiteX377" fmla="*/ 8207 w 10746"/>
                  <a:gd name="connsiteY377" fmla="*/ 6607 h 10000"/>
                  <a:gd name="connsiteX378" fmla="*/ 8221 w 10746"/>
                  <a:gd name="connsiteY378" fmla="*/ 6624 h 10000"/>
                  <a:gd name="connsiteX379" fmla="*/ 8235 w 10746"/>
                  <a:gd name="connsiteY379" fmla="*/ 6607 h 10000"/>
                  <a:gd name="connsiteX380" fmla="*/ 8240 w 10746"/>
                  <a:gd name="connsiteY380" fmla="*/ 6581 h 10000"/>
                  <a:gd name="connsiteX381" fmla="*/ 8253 w 10746"/>
                  <a:gd name="connsiteY381" fmla="*/ 6573 h 10000"/>
                  <a:gd name="connsiteX382" fmla="*/ 8263 w 10746"/>
                  <a:gd name="connsiteY382" fmla="*/ 6556 h 10000"/>
                  <a:gd name="connsiteX383" fmla="*/ 8276 w 10746"/>
                  <a:gd name="connsiteY383" fmla="*/ 6547 h 10000"/>
                  <a:gd name="connsiteX384" fmla="*/ 8290 w 10746"/>
                  <a:gd name="connsiteY384" fmla="*/ 6556 h 10000"/>
                  <a:gd name="connsiteX385" fmla="*/ 8304 w 10746"/>
                  <a:gd name="connsiteY385" fmla="*/ 6581 h 10000"/>
                  <a:gd name="connsiteX386" fmla="*/ 8309 w 10746"/>
                  <a:gd name="connsiteY386" fmla="*/ 6581 h 10000"/>
                  <a:gd name="connsiteX387" fmla="*/ 8327 w 10746"/>
                  <a:gd name="connsiteY387" fmla="*/ 6573 h 10000"/>
                  <a:gd name="connsiteX388" fmla="*/ 8327 w 10746"/>
                  <a:gd name="connsiteY388" fmla="*/ 6556 h 10000"/>
                  <a:gd name="connsiteX389" fmla="*/ 8350 w 10746"/>
                  <a:gd name="connsiteY389" fmla="*/ 6556 h 10000"/>
                  <a:gd name="connsiteX390" fmla="*/ 8355 w 10746"/>
                  <a:gd name="connsiteY390" fmla="*/ 6573 h 10000"/>
                  <a:gd name="connsiteX391" fmla="*/ 8364 w 10746"/>
                  <a:gd name="connsiteY391" fmla="*/ 6556 h 10000"/>
                  <a:gd name="connsiteX392" fmla="*/ 8369 w 10746"/>
                  <a:gd name="connsiteY392" fmla="*/ 6556 h 10000"/>
                  <a:gd name="connsiteX393" fmla="*/ 8378 w 10746"/>
                  <a:gd name="connsiteY393" fmla="*/ 6530 h 10000"/>
                  <a:gd name="connsiteX394" fmla="*/ 8369 w 10746"/>
                  <a:gd name="connsiteY394" fmla="*/ 6504 h 10000"/>
                  <a:gd name="connsiteX395" fmla="*/ 8364 w 10746"/>
                  <a:gd name="connsiteY395" fmla="*/ 6496 h 10000"/>
                  <a:gd name="connsiteX396" fmla="*/ 8336 w 10746"/>
                  <a:gd name="connsiteY396" fmla="*/ 6470 h 10000"/>
                  <a:gd name="connsiteX397" fmla="*/ 8309 w 10746"/>
                  <a:gd name="connsiteY397" fmla="*/ 6487 h 10000"/>
                  <a:gd name="connsiteX398" fmla="*/ 8313 w 10746"/>
                  <a:gd name="connsiteY398" fmla="*/ 6462 h 10000"/>
                  <a:gd name="connsiteX399" fmla="*/ 8323 w 10746"/>
                  <a:gd name="connsiteY399" fmla="*/ 6444 h 10000"/>
                  <a:gd name="connsiteX400" fmla="*/ 8309 w 10746"/>
                  <a:gd name="connsiteY400" fmla="*/ 6393 h 10000"/>
                  <a:gd name="connsiteX401" fmla="*/ 8313 w 10746"/>
                  <a:gd name="connsiteY401" fmla="*/ 6385 h 10000"/>
                  <a:gd name="connsiteX402" fmla="*/ 8323 w 10746"/>
                  <a:gd name="connsiteY402" fmla="*/ 6393 h 10000"/>
                  <a:gd name="connsiteX403" fmla="*/ 8323 w 10746"/>
                  <a:gd name="connsiteY403" fmla="*/ 6393 h 10000"/>
                  <a:gd name="connsiteX404" fmla="*/ 8355 w 10746"/>
                  <a:gd name="connsiteY404" fmla="*/ 6282 h 10000"/>
                  <a:gd name="connsiteX405" fmla="*/ 8369 w 10746"/>
                  <a:gd name="connsiteY405" fmla="*/ 6256 h 10000"/>
                  <a:gd name="connsiteX406" fmla="*/ 8382 w 10746"/>
                  <a:gd name="connsiteY406" fmla="*/ 6248 h 10000"/>
                  <a:gd name="connsiteX407" fmla="*/ 8424 w 10746"/>
                  <a:gd name="connsiteY407" fmla="*/ 6162 h 10000"/>
                  <a:gd name="connsiteX408" fmla="*/ 8429 w 10746"/>
                  <a:gd name="connsiteY408" fmla="*/ 6145 h 10000"/>
                  <a:gd name="connsiteX409" fmla="*/ 8470 w 10746"/>
                  <a:gd name="connsiteY409" fmla="*/ 6051 h 10000"/>
                  <a:gd name="connsiteX410" fmla="*/ 8475 w 10746"/>
                  <a:gd name="connsiteY410" fmla="*/ 5983 h 10000"/>
                  <a:gd name="connsiteX411" fmla="*/ 8512 w 10746"/>
                  <a:gd name="connsiteY411" fmla="*/ 5940 h 10000"/>
                  <a:gd name="connsiteX412" fmla="*/ 8521 w 10746"/>
                  <a:gd name="connsiteY412" fmla="*/ 5923 h 10000"/>
                  <a:gd name="connsiteX413" fmla="*/ 8535 w 10746"/>
                  <a:gd name="connsiteY413" fmla="*/ 5915 h 10000"/>
                  <a:gd name="connsiteX414" fmla="*/ 8562 w 10746"/>
                  <a:gd name="connsiteY414" fmla="*/ 5915 h 10000"/>
                  <a:gd name="connsiteX415" fmla="*/ 8618 w 10746"/>
                  <a:gd name="connsiteY415" fmla="*/ 5889 h 10000"/>
                  <a:gd name="connsiteX416" fmla="*/ 8622 w 10746"/>
                  <a:gd name="connsiteY416" fmla="*/ 5889 h 10000"/>
                  <a:gd name="connsiteX417" fmla="*/ 8622 w 10746"/>
                  <a:gd name="connsiteY417" fmla="*/ 5872 h 10000"/>
                  <a:gd name="connsiteX418" fmla="*/ 8636 w 10746"/>
                  <a:gd name="connsiteY418" fmla="*/ 5872 h 10000"/>
                  <a:gd name="connsiteX419" fmla="*/ 8650 w 10746"/>
                  <a:gd name="connsiteY419" fmla="*/ 5889 h 10000"/>
                  <a:gd name="connsiteX420" fmla="*/ 8659 w 10746"/>
                  <a:gd name="connsiteY420" fmla="*/ 5915 h 10000"/>
                  <a:gd name="connsiteX421" fmla="*/ 8664 w 10746"/>
                  <a:gd name="connsiteY421" fmla="*/ 5940 h 10000"/>
                  <a:gd name="connsiteX422" fmla="*/ 8682 w 10746"/>
                  <a:gd name="connsiteY422" fmla="*/ 5923 h 10000"/>
                  <a:gd name="connsiteX423" fmla="*/ 8719 w 10746"/>
                  <a:gd name="connsiteY423" fmla="*/ 5863 h 10000"/>
                  <a:gd name="connsiteX424" fmla="*/ 8705 w 10746"/>
                  <a:gd name="connsiteY424" fmla="*/ 5966 h 10000"/>
                  <a:gd name="connsiteX425" fmla="*/ 8696 w 10746"/>
                  <a:gd name="connsiteY425" fmla="*/ 5983 h 10000"/>
                  <a:gd name="connsiteX426" fmla="*/ 8682 w 10746"/>
                  <a:gd name="connsiteY426" fmla="*/ 6026 h 10000"/>
                  <a:gd name="connsiteX427" fmla="*/ 8682 w 10746"/>
                  <a:gd name="connsiteY427" fmla="*/ 6051 h 10000"/>
                  <a:gd name="connsiteX428" fmla="*/ 8691 w 10746"/>
                  <a:gd name="connsiteY428" fmla="*/ 6077 h 10000"/>
                  <a:gd name="connsiteX429" fmla="*/ 8691 w 10746"/>
                  <a:gd name="connsiteY429" fmla="*/ 6085 h 10000"/>
                  <a:gd name="connsiteX430" fmla="*/ 8682 w 10746"/>
                  <a:gd name="connsiteY430" fmla="*/ 6103 h 10000"/>
                  <a:gd name="connsiteX431" fmla="*/ 8682 w 10746"/>
                  <a:gd name="connsiteY431" fmla="*/ 6111 h 10000"/>
                  <a:gd name="connsiteX432" fmla="*/ 8691 w 10746"/>
                  <a:gd name="connsiteY432" fmla="*/ 6120 h 10000"/>
                  <a:gd name="connsiteX433" fmla="*/ 8719 w 10746"/>
                  <a:gd name="connsiteY433" fmla="*/ 6103 h 10000"/>
                  <a:gd name="connsiteX434" fmla="*/ 8705 w 10746"/>
                  <a:gd name="connsiteY434" fmla="*/ 6188 h 10000"/>
                  <a:gd name="connsiteX435" fmla="*/ 8705 w 10746"/>
                  <a:gd name="connsiteY435" fmla="*/ 6214 h 10000"/>
                  <a:gd name="connsiteX436" fmla="*/ 8710 w 10746"/>
                  <a:gd name="connsiteY436" fmla="*/ 6197 h 10000"/>
                  <a:gd name="connsiteX437" fmla="*/ 8728 w 10746"/>
                  <a:gd name="connsiteY437" fmla="*/ 6171 h 10000"/>
                  <a:gd name="connsiteX438" fmla="*/ 8737 w 10746"/>
                  <a:gd name="connsiteY438" fmla="*/ 6171 h 10000"/>
                  <a:gd name="connsiteX439" fmla="*/ 8843 w 10746"/>
                  <a:gd name="connsiteY439" fmla="*/ 5949 h 10000"/>
                  <a:gd name="connsiteX440" fmla="*/ 8866 w 10746"/>
                  <a:gd name="connsiteY440" fmla="*/ 5949 h 10000"/>
                  <a:gd name="connsiteX441" fmla="*/ 8871 w 10746"/>
                  <a:gd name="connsiteY441" fmla="*/ 5940 h 10000"/>
                  <a:gd name="connsiteX442" fmla="*/ 8876 w 10746"/>
                  <a:gd name="connsiteY442" fmla="*/ 5923 h 10000"/>
                  <a:gd name="connsiteX443" fmla="*/ 8885 w 10746"/>
                  <a:gd name="connsiteY443" fmla="*/ 5940 h 10000"/>
                  <a:gd name="connsiteX444" fmla="*/ 8885 w 10746"/>
                  <a:gd name="connsiteY444" fmla="*/ 5949 h 10000"/>
                  <a:gd name="connsiteX445" fmla="*/ 8885 w 10746"/>
                  <a:gd name="connsiteY445" fmla="*/ 5974 h 10000"/>
                  <a:gd name="connsiteX446" fmla="*/ 8889 w 10746"/>
                  <a:gd name="connsiteY446" fmla="*/ 5974 h 10000"/>
                  <a:gd name="connsiteX447" fmla="*/ 8903 w 10746"/>
                  <a:gd name="connsiteY447" fmla="*/ 5923 h 10000"/>
                  <a:gd name="connsiteX448" fmla="*/ 8889 w 10746"/>
                  <a:gd name="connsiteY448" fmla="*/ 5923 h 10000"/>
                  <a:gd name="connsiteX449" fmla="*/ 8889 w 10746"/>
                  <a:gd name="connsiteY449" fmla="*/ 5897 h 10000"/>
                  <a:gd name="connsiteX450" fmla="*/ 8899 w 10746"/>
                  <a:gd name="connsiteY450" fmla="*/ 5838 h 10000"/>
                  <a:gd name="connsiteX451" fmla="*/ 8889 w 10746"/>
                  <a:gd name="connsiteY451" fmla="*/ 5812 h 10000"/>
                  <a:gd name="connsiteX452" fmla="*/ 8903 w 10746"/>
                  <a:gd name="connsiteY452" fmla="*/ 5778 h 10000"/>
                  <a:gd name="connsiteX453" fmla="*/ 8903 w 10746"/>
                  <a:gd name="connsiteY453" fmla="*/ 5761 h 10000"/>
                  <a:gd name="connsiteX454" fmla="*/ 8912 w 10746"/>
                  <a:gd name="connsiteY454" fmla="*/ 5735 h 10000"/>
                  <a:gd name="connsiteX455" fmla="*/ 8931 w 10746"/>
                  <a:gd name="connsiteY455" fmla="*/ 5701 h 10000"/>
                  <a:gd name="connsiteX456" fmla="*/ 8977 w 10746"/>
                  <a:gd name="connsiteY456" fmla="*/ 5675 h 10000"/>
                  <a:gd name="connsiteX457" fmla="*/ 9000 w 10746"/>
                  <a:gd name="connsiteY457" fmla="*/ 5675 h 10000"/>
                  <a:gd name="connsiteX458" fmla="*/ 9018 w 10746"/>
                  <a:gd name="connsiteY458" fmla="*/ 5709 h 10000"/>
                  <a:gd name="connsiteX459" fmla="*/ 9009 w 10746"/>
                  <a:gd name="connsiteY459" fmla="*/ 5735 h 10000"/>
                  <a:gd name="connsiteX460" fmla="*/ 9000 w 10746"/>
                  <a:gd name="connsiteY460" fmla="*/ 5735 h 10000"/>
                  <a:gd name="connsiteX461" fmla="*/ 8963 w 10746"/>
                  <a:gd name="connsiteY461" fmla="*/ 5786 h 10000"/>
                  <a:gd name="connsiteX462" fmla="*/ 8949 w 10746"/>
                  <a:gd name="connsiteY462" fmla="*/ 5940 h 10000"/>
                  <a:gd name="connsiteX463" fmla="*/ 8945 w 10746"/>
                  <a:gd name="connsiteY463" fmla="*/ 5966 h 10000"/>
                  <a:gd name="connsiteX464" fmla="*/ 8945 w 10746"/>
                  <a:gd name="connsiteY464" fmla="*/ 6000 h 10000"/>
                  <a:gd name="connsiteX465" fmla="*/ 8945 w 10746"/>
                  <a:gd name="connsiteY465" fmla="*/ 6009 h 10000"/>
                  <a:gd name="connsiteX466" fmla="*/ 8945 w 10746"/>
                  <a:gd name="connsiteY466" fmla="*/ 6034 h 10000"/>
                  <a:gd name="connsiteX467" fmla="*/ 8931 w 10746"/>
                  <a:gd name="connsiteY467" fmla="*/ 6060 h 10000"/>
                  <a:gd name="connsiteX468" fmla="*/ 8926 w 10746"/>
                  <a:gd name="connsiteY468" fmla="*/ 6077 h 10000"/>
                  <a:gd name="connsiteX469" fmla="*/ 8926 w 10746"/>
                  <a:gd name="connsiteY469" fmla="*/ 6111 h 10000"/>
                  <a:gd name="connsiteX470" fmla="*/ 8931 w 10746"/>
                  <a:gd name="connsiteY470" fmla="*/ 6120 h 10000"/>
                  <a:gd name="connsiteX471" fmla="*/ 8931 w 10746"/>
                  <a:gd name="connsiteY471" fmla="*/ 6137 h 10000"/>
                  <a:gd name="connsiteX472" fmla="*/ 8912 w 10746"/>
                  <a:gd name="connsiteY472" fmla="*/ 6171 h 10000"/>
                  <a:gd name="connsiteX473" fmla="*/ 8899 w 10746"/>
                  <a:gd name="connsiteY473" fmla="*/ 6162 h 10000"/>
                  <a:gd name="connsiteX474" fmla="*/ 8885 w 10746"/>
                  <a:gd name="connsiteY474" fmla="*/ 6171 h 10000"/>
                  <a:gd name="connsiteX475" fmla="*/ 8866 w 10746"/>
                  <a:gd name="connsiteY475" fmla="*/ 6214 h 10000"/>
                  <a:gd name="connsiteX476" fmla="*/ 8853 w 10746"/>
                  <a:gd name="connsiteY476" fmla="*/ 6214 h 10000"/>
                  <a:gd name="connsiteX477" fmla="*/ 8816 w 10746"/>
                  <a:gd name="connsiteY477" fmla="*/ 6248 h 10000"/>
                  <a:gd name="connsiteX478" fmla="*/ 8816 w 10746"/>
                  <a:gd name="connsiteY478" fmla="*/ 6248 h 10000"/>
                  <a:gd name="connsiteX479" fmla="*/ 8816 w 10746"/>
                  <a:gd name="connsiteY479" fmla="*/ 6282 h 10000"/>
                  <a:gd name="connsiteX480" fmla="*/ 8811 w 10746"/>
                  <a:gd name="connsiteY480" fmla="*/ 6308 h 10000"/>
                  <a:gd name="connsiteX481" fmla="*/ 8751 w 10746"/>
                  <a:gd name="connsiteY481" fmla="*/ 6436 h 10000"/>
                  <a:gd name="connsiteX482" fmla="*/ 8724 w 10746"/>
                  <a:gd name="connsiteY482" fmla="*/ 6470 h 10000"/>
                  <a:gd name="connsiteX483" fmla="*/ 8710 w 10746"/>
                  <a:gd name="connsiteY483" fmla="*/ 6504 h 10000"/>
                  <a:gd name="connsiteX484" fmla="*/ 8705 w 10746"/>
                  <a:gd name="connsiteY484" fmla="*/ 6521 h 10000"/>
                  <a:gd name="connsiteX485" fmla="*/ 8677 w 10746"/>
                  <a:gd name="connsiteY485" fmla="*/ 6573 h 10000"/>
                  <a:gd name="connsiteX486" fmla="*/ 8677 w 10746"/>
                  <a:gd name="connsiteY486" fmla="*/ 6624 h 10000"/>
                  <a:gd name="connsiteX487" fmla="*/ 8590 w 10746"/>
                  <a:gd name="connsiteY487" fmla="*/ 6803 h 10000"/>
                  <a:gd name="connsiteX488" fmla="*/ 8562 w 10746"/>
                  <a:gd name="connsiteY488" fmla="*/ 6829 h 10000"/>
                  <a:gd name="connsiteX489" fmla="*/ 8544 w 10746"/>
                  <a:gd name="connsiteY489" fmla="*/ 6829 h 10000"/>
                  <a:gd name="connsiteX490" fmla="*/ 8521 w 10746"/>
                  <a:gd name="connsiteY490" fmla="*/ 6880 h 10000"/>
                  <a:gd name="connsiteX491" fmla="*/ 8498 w 10746"/>
                  <a:gd name="connsiteY491" fmla="*/ 6872 h 10000"/>
                  <a:gd name="connsiteX492" fmla="*/ 8488 w 10746"/>
                  <a:gd name="connsiteY492" fmla="*/ 6872 h 10000"/>
                  <a:gd name="connsiteX493" fmla="*/ 8498 w 10746"/>
                  <a:gd name="connsiteY493" fmla="*/ 6940 h 10000"/>
                  <a:gd name="connsiteX494" fmla="*/ 8484 w 10746"/>
                  <a:gd name="connsiteY494" fmla="*/ 7026 h 10000"/>
                  <a:gd name="connsiteX495" fmla="*/ 8429 w 10746"/>
                  <a:gd name="connsiteY495" fmla="*/ 7094 h 10000"/>
                  <a:gd name="connsiteX496" fmla="*/ 8401 w 10746"/>
                  <a:gd name="connsiteY496" fmla="*/ 7291 h 10000"/>
                  <a:gd name="connsiteX497" fmla="*/ 8424 w 10746"/>
                  <a:gd name="connsiteY497" fmla="*/ 7692 h 10000"/>
                  <a:gd name="connsiteX498" fmla="*/ 8424 w 10746"/>
                  <a:gd name="connsiteY498" fmla="*/ 7701 h 10000"/>
                  <a:gd name="connsiteX499" fmla="*/ 8484 w 10746"/>
                  <a:gd name="connsiteY499" fmla="*/ 8308 h 10000"/>
                  <a:gd name="connsiteX500" fmla="*/ 8576 w 10746"/>
                  <a:gd name="connsiteY500" fmla="*/ 8120 h 10000"/>
                  <a:gd name="connsiteX501" fmla="*/ 8590 w 10746"/>
                  <a:gd name="connsiteY501" fmla="*/ 8026 h 10000"/>
                  <a:gd name="connsiteX502" fmla="*/ 8590 w 10746"/>
                  <a:gd name="connsiteY502" fmla="*/ 7983 h 10000"/>
                  <a:gd name="connsiteX503" fmla="*/ 8594 w 10746"/>
                  <a:gd name="connsiteY503" fmla="*/ 7974 h 10000"/>
                  <a:gd name="connsiteX504" fmla="*/ 8594 w 10746"/>
                  <a:gd name="connsiteY504" fmla="*/ 7940 h 10000"/>
                  <a:gd name="connsiteX505" fmla="*/ 8594 w 10746"/>
                  <a:gd name="connsiteY505" fmla="*/ 7923 h 10000"/>
                  <a:gd name="connsiteX506" fmla="*/ 8594 w 10746"/>
                  <a:gd name="connsiteY506" fmla="*/ 7915 h 10000"/>
                  <a:gd name="connsiteX507" fmla="*/ 8604 w 10746"/>
                  <a:gd name="connsiteY507" fmla="*/ 7915 h 10000"/>
                  <a:gd name="connsiteX508" fmla="*/ 8608 w 10746"/>
                  <a:gd name="connsiteY508" fmla="*/ 7923 h 10000"/>
                  <a:gd name="connsiteX509" fmla="*/ 8645 w 10746"/>
                  <a:gd name="connsiteY509" fmla="*/ 7872 h 10000"/>
                  <a:gd name="connsiteX510" fmla="*/ 8668 w 10746"/>
                  <a:gd name="connsiteY510" fmla="*/ 7846 h 10000"/>
                  <a:gd name="connsiteX511" fmla="*/ 8691 w 10746"/>
                  <a:gd name="connsiteY511" fmla="*/ 7863 h 10000"/>
                  <a:gd name="connsiteX512" fmla="*/ 8691 w 10746"/>
                  <a:gd name="connsiteY512" fmla="*/ 7846 h 10000"/>
                  <a:gd name="connsiteX513" fmla="*/ 8682 w 10746"/>
                  <a:gd name="connsiteY513" fmla="*/ 7838 h 10000"/>
                  <a:gd name="connsiteX514" fmla="*/ 8682 w 10746"/>
                  <a:gd name="connsiteY514" fmla="*/ 7692 h 10000"/>
                  <a:gd name="connsiteX515" fmla="*/ 8728 w 10746"/>
                  <a:gd name="connsiteY515" fmla="*/ 7598 h 10000"/>
                  <a:gd name="connsiteX516" fmla="*/ 8751 w 10746"/>
                  <a:gd name="connsiteY516" fmla="*/ 7573 h 10000"/>
                  <a:gd name="connsiteX517" fmla="*/ 8770 w 10746"/>
                  <a:gd name="connsiteY517" fmla="*/ 7573 h 10000"/>
                  <a:gd name="connsiteX518" fmla="*/ 8779 w 10746"/>
                  <a:gd name="connsiteY518" fmla="*/ 7590 h 10000"/>
                  <a:gd name="connsiteX519" fmla="*/ 8793 w 10746"/>
                  <a:gd name="connsiteY519" fmla="*/ 7590 h 10000"/>
                  <a:gd name="connsiteX520" fmla="*/ 8811 w 10746"/>
                  <a:gd name="connsiteY520" fmla="*/ 7590 h 10000"/>
                  <a:gd name="connsiteX521" fmla="*/ 8825 w 10746"/>
                  <a:gd name="connsiteY521" fmla="*/ 7556 h 10000"/>
                  <a:gd name="connsiteX522" fmla="*/ 8829 w 10746"/>
                  <a:gd name="connsiteY522" fmla="*/ 7530 h 10000"/>
                  <a:gd name="connsiteX523" fmla="*/ 8802 w 10746"/>
                  <a:gd name="connsiteY523" fmla="*/ 7462 h 10000"/>
                  <a:gd name="connsiteX524" fmla="*/ 8797 w 10746"/>
                  <a:gd name="connsiteY524" fmla="*/ 7402 h 10000"/>
                  <a:gd name="connsiteX525" fmla="*/ 8816 w 10746"/>
                  <a:gd name="connsiteY525" fmla="*/ 7291 h 10000"/>
                  <a:gd name="connsiteX526" fmla="*/ 8825 w 10746"/>
                  <a:gd name="connsiteY526" fmla="*/ 7256 h 10000"/>
                  <a:gd name="connsiteX527" fmla="*/ 8843 w 10746"/>
                  <a:gd name="connsiteY527" fmla="*/ 7231 h 10000"/>
                  <a:gd name="connsiteX528" fmla="*/ 8839 w 10746"/>
                  <a:gd name="connsiteY528" fmla="*/ 7205 h 10000"/>
                  <a:gd name="connsiteX529" fmla="*/ 8839 w 10746"/>
                  <a:gd name="connsiteY529" fmla="*/ 7188 h 10000"/>
                  <a:gd name="connsiteX530" fmla="*/ 8876 w 10746"/>
                  <a:gd name="connsiteY530" fmla="*/ 7162 h 10000"/>
                  <a:gd name="connsiteX531" fmla="*/ 8885 w 10746"/>
                  <a:gd name="connsiteY531" fmla="*/ 7154 h 10000"/>
                  <a:gd name="connsiteX532" fmla="*/ 8885 w 10746"/>
                  <a:gd name="connsiteY532" fmla="*/ 7162 h 10000"/>
                  <a:gd name="connsiteX533" fmla="*/ 8876 w 10746"/>
                  <a:gd name="connsiteY533" fmla="*/ 7188 h 10000"/>
                  <a:gd name="connsiteX534" fmla="*/ 8871 w 10746"/>
                  <a:gd name="connsiteY534" fmla="*/ 7205 h 10000"/>
                  <a:gd name="connsiteX535" fmla="*/ 8866 w 10746"/>
                  <a:gd name="connsiteY535" fmla="*/ 7214 h 10000"/>
                  <a:gd name="connsiteX536" fmla="*/ 8876 w 10746"/>
                  <a:gd name="connsiteY536" fmla="*/ 7265 h 10000"/>
                  <a:gd name="connsiteX537" fmla="*/ 8885 w 10746"/>
                  <a:gd name="connsiteY537" fmla="*/ 7282 h 10000"/>
                  <a:gd name="connsiteX538" fmla="*/ 8889 w 10746"/>
                  <a:gd name="connsiteY538" fmla="*/ 7282 h 10000"/>
                  <a:gd name="connsiteX539" fmla="*/ 8903 w 10746"/>
                  <a:gd name="connsiteY539" fmla="*/ 7239 h 10000"/>
                  <a:gd name="connsiteX540" fmla="*/ 8903 w 10746"/>
                  <a:gd name="connsiteY540" fmla="*/ 7214 h 10000"/>
                  <a:gd name="connsiteX541" fmla="*/ 8899 w 10746"/>
                  <a:gd name="connsiteY541" fmla="*/ 7128 h 10000"/>
                  <a:gd name="connsiteX542" fmla="*/ 8889 w 10746"/>
                  <a:gd name="connsiteY542" fmla="*/ 7120 h 10000"/>
                  <a:gd name="connsiteX543" fmla="*/ 8871 w 10746"/>
                  <a:gd name="connsiteY543" fmla="*/ 7120 h 10000"/>
                  <a:gd name="connsiteX544" fmla="*/ 8871 w 10746"/>
                  <a:gd name="connsiteY544" fmla="*/ 7120 h 10000"/>
                  <a:gd name="connsiteX545" fmla="*/ 8871 w 10746"/>
                  <a:gd name="connsiteY545" fmla="*/ 6991 h 10000"/>
                  <a:gd name="connsiteX546" fmla="*/ 8871 w 10746"/>
                  <a:gd name="connsiteY546" fmla="*/ 6966 h 10000"/>
                  <a:gd name="connsiteX547" fmla="*/ 8889 w 10746"/>
                  <a:gd name="connsiteY547" fmla="*/ 6940 h 10000"/>
                  <a:gd name="connsiteX548" fmla="*/ 8903 w 10746"/>
                  <a:gd name="connsiteY548" fmla="*/ 6906 h 10000"/>
                  <a:gd name="connsiteX549" fmla="*/ 8899 w 10746"/>
                  <a:gd name="connsiteY549" fmla="*/ 6880 h 10000"/>
                  <a:gd name="connsiteX550" fmla="*/ 8866 w 10746"/>
                  <a:gd name="connsiteY550" fmla="*/ 6846 h 10000"/>
                  <a:gd name="connsiteX551" fmla="*/ 8853 w 10746"/>
                  <a:gd name="connsiteY551" fmla="*/ 6846 h 10000"/>
                  <a:gd name="connsiteX552" fmla="*/ 8843 w 10746"/>
                  <a:gd name="connsiteY552" fmla="*/ 6880 h 10000"/>
                  <a:gd name="connsiteX553" fmla="*/ 8843 w 10746"/>
                  <a:gd name="connsiteY553" fmla="*/ 6897 h 10000"/>
                  <a:gd name="connsiteX554" fmla="*/ 8829 w 10746"/>
                  <a:gd name="connsiteY554" fmla="*/ 6880 h 10000"/>
                  <a:gd name="connsiteX555" fmla="*/ 8825 w 10746"/>
                  <a:gd name="connsiteY555" fmla="*/ 6872 h 10000"/>
                  <a:gd name="connsiteX556" fmla="*/ 8816 w 10746"/>
                  <a:gd name="connsiteY556" fmla="*/ 6846 h 10000"/>
                  <a:gd name="connsiteX557" fmla="*/ 8816 w 10746"/>
                  <a:gd name="connsiteY557" fmla="*/ 6803 h 10000"/>
                  <a:gd name="connsiteX558" fmla="*/ 8876 w 10746"/>
                  <a:gd name="connsiteY558" fmla="*/ 6598 h 10000"/>
                  <a:gd name="connsiteX559" fmla="*/ 8876 w 10746"/>
                  <a:gd name="connsiteY559" fmla="*/ 6573 h 10000"/>
                  <a:gd name="connsiteX560" fmla="*/ 8885 w 10746"/>
                  <a:gd name="connsiteY560" fmla="*/ 6556 h 10000"/>
                  <a:gd name="connsiteX561" fmla="*/ 8899 w 10746"/>
                  <a:gd name="connsiteY561" fmla="*/ 6573 h 10000"/>
                  <a:gd name="connsiteX562" fmla="*/ 8889 w 10746"/>
                  <a:gd name="connsiteY562" fmla="*/ 6556 h 10000"/>
                  <a:gd name="connsiteX563" fmla="*/ 8889 w 10746"/>
                  <a:gd name="connsiteY563" fmla="*/ 6530 h 10000"/>
                  <a:gd name="connsiteX564" fmla="*/ 8903 w 10746"/>
                  <a:gd name="connsiteY564" fmla="*/ 6521 h 10000"/>
                  <a:gd name="connsiteX565" fmla="*/ 8903 w 10746"/>
                  <a:gd name="connsiteY565" fmla="*/ 6504 h 10000"/>
                  <a:gd name="connsiteX566" fmla="*/ 8903 w 10746"/>
                  <a:gd name="connsiteY566" fmla="*/ 6487 h 10000"/>
                  <a:gd name="connsiteX567" fmla="*/ 8903 w 10746"/>
                  <a:gd name="connsiteY567" fmla="*/ 6462 h 10000"/>
                  <a:gd name="connsiteX568" fmla="*/ 8912 w 10746"/>
                  <a:gd name="connsiteY568" fmla="*/ 6419 h 10000"/>
                  <a:gd name="connsiteX569" fmla="*/ 8917 w 10746"/>
                  <a:gd name="connsiteY569" fmla="*/ 6393 h 10000"/>
                  <a:gd name="connsiteX570" fmla="*/ 8926 w 10746"/>
                  <a:gd name="connsiteY570" fmla="*/ 6385 h 10000"/>
                  <a:gd name="connsiteX571" fmla="*/ 8931 w 10746"/>
                  <a:gd name="connsiteY571" fmla="*/ 6385 h 10000"/>
                  <a:gd name="connsiteX572" fmla="*/ 8949 w 10746"/>
                  <a:gd name="connsiteY572" fmla="*/ 6359 h 10000"/>
                  <a:gd name="connsiteX573" fmla="*/ 8959 w 10746"/>
                  <a:gd name="connsiteY573" fmla="*/ 6368 h 10000"/>
                  <a:gd name="connsiteX574" fmla="*/ 8963 w 10746"/>
                  <a:gd name="connsiteY574" fmla="*/ 6385 h 10000"/>
                  <a:gd name="connsiteX575" fmla="*/ 8972 w 10746"/>
                  <a:gd name="connsiteY575" fmla="*/ 6359 h 10000"/>
                  <a:gd name="connsiteX576" fmla="*/ 8991 w 10746"/>
                  <a:gd name="connsiteY576" fmla="*/ 6350 h 10000"/>
                  <a:gd name="connsiteX577" fmla="*/ 9000 w 10746"/>
                  <a:gd name="connsiteY577" fmla="*/ 6368 h 10000"/>
                  <a:gd name="connsiteX578" fmla="*/ 9005 w 10746"/>
                  <a:gd name="connsiteY578" fmla="*/ 6393 h 10000"/>
                  <a:gd name="connsiteX579" fmla="*/ 9018 w 10746"/>
                  <a:gd name="connsiteY579" fmla="*/ 6393 h 10000"/>
                  <a:gd name="connsiteX580" fmla="*/ 9023 w 10746"/>
                  <a:gd name="connsiteY580" fmla="*/ 6359 h 10000"/>
                  <a:gd name="connsiteX581" fmla="*/ 9023 w 10746"/>
                  <a:gd name="connsiteY581" fmla="*/ 6333 h 10000"/>
                  <a:gd name="connsiteX582" fmla="*/ 9037 w 10746"/>
                  <a:gd name="connsiteY582" fmla="*/ 6308 h 10000"/>
                  <a:gd name="connsiteX583" fmla="*/ 9074 w 10746"/>
                  <a:gd name="connsiteY583" fmla="*/ 6274 h 10000"/>
                  <a:gd name="connsiteX584" fmla="*/ 9092 w 10746"/>
                  <a:gd name="connsiteY584" fmla="*/ 6222 h 10000"/>
                  <a:gd name="connsiteX585" fmla="*/ 9097 w 10746"/>
                  <a:gd name="connsiteY585" fmla="*/ 6231 h 10000"/>
                  <a:gd name="connsiteX586" fmla="*/ 9097 w 10746"/>
                  <a:gd name="connsiteY586" fmla="*/ 6248 h 10000"/>
                  <a:gd name="connsiteX587" fmla="*/ 9097 w 10746"/>
                  <a:gd name="connsiteY587" fmla="*/ 6274 h 10000"/>
                  <a:gd name="connsiteX588" fmla="*/ 9097 w 10746"/>
                  <a:gd name="connsiteY588" fmla="*/ 6308 h 10000"/>
                  <a:gd name="connsiteX589" fmla="*/ 9092 w 10746"/>
                  <a:gd name="connsiteY589" fmla="*/ 6368 h 10000"/>
                  <a:gd name="connsiteX590" fmla="*/ 9092 w 10746"/>
                  <a:gd name="connsiteY590" fmla="*/ 6385 h 10000"/>
                  <a:gd name="connsiteX591" fmla="*/ 9092 w 10746"/>
                  <a:gd name="connsiteY591" fmla="*/ 6393 h 10000"/>
                  <a:gd name="connsiteX592" fmla="*/ 9092 w 10746"/>
                  <a:gd name="connsiteY592" fmla="*/ 6393 h 10000"/>
                  <a:gd name="connsiteX593" fmla="*/ 9143 w 10746"/>
                  <a:gd name="connsiteY593" fmla="*/ 6299 h 10000"/>
                  <a:gd name="connsiteX594" fmla="*/ 9143 w 10746"/>
                  <a:gd name="connsiteY594" fmla="*/ 6282 h 10000"/>
                  <a:gd name="connsiteX595" fmla="*/ 9143 w 10746"/>
                  <a:gd name="connsiteY595" fmla="*/ 6256 h 10000"/>
                  <a:gd name="connsiteX596" fmla="*/ 9143 w 10746"/>
                  <a:gd name="connsiteY596" fmla="*/ 6256 h 10000"/>
                  <a:gd name="connsiteX597" fmla="*/ 9157 w 10746"/>
                  <a:gd name="connsiteY597" fmla="*/ 6274 h 10000"/>
                  <a:gd name="connsiteX598" fmla="*/ 9166 w 10746"/>
                  <a:gd name="connsiteY598" fmla="*/ 6248 h 10000"/>
                  <a:gd name="connsiteX599" fmla="*/ 9180 w 10746"/>
                  <a:gd name="connsiteY599" fmla="*/ 6248 h 10000"/>
                  <a:gd name="connsiteX600" fmla="*/ 9198 w 10746"/>
                  <a:gd name="connsiteY600" fmla="*/ 6222 h 10000"/>
                  <a:gd name="connsiteX601" fmla="*/ 9212 w 10746"/>
                  <a:gd name="connsiteY601" fmla="*/ 6222 h 10000"/>
                  <a:gd name="connsiteX602" fmla="*/ 9226 w 10746"/>
                  <a:gd name="connsiteY602" fmla="*/ 6197 h 10000"/>
                  <a:gd name="connsiteX603" fmla="*/ 9230 w 10746"/>
                  <a:gd name="connsiteY603" fmla="*/ 6214 h 10000"/>
                  <a:gd name="connsiteX604" fmla="*/ 9272 w 10746"/>
                  <a:gd name="connsiteY604" fmla="*/ 6214 h 10000"/>
                  <a:gd name="connsiteX605" fmla="*/ 9304 w 10746"/>
                  <a:gd name="connsiteY605" fmla="*/ 6231 h 10000"/>
                  <a:gd name="connsiteX606" fmla="*/ 9318 w 10746"/>
                  <a:gd name="connsiteY606" fmla="*/ 6248 h 10000"/>
                  <a:gd name="connsiteX607" fmla="*/ 9327 w 10746"/>
                  <a:gd name="connsiteY607" fmla="*/ 6282 h 10000"/>
                  <a:gd name="connsiteX608" fmla="*/ 9355 w 10746"/>
                  <a:gd name="connsiteY608" fmla="*/ 6350 h 10000"/>
                  <a:gd name="connsiteX609" fmla="*/ 9355 w 10746"/>
                  <a:gd name="connsiteY609" fmla="*/ 6359 h 10000"/>
                  <a:gd name="connsiteX610" fmla="*/ 9364 w 10746"/>
                  <a:gd name="connsiteY610" fmla="*/ 6368 h 10000"/>
                  <a:gd name="connsiteX611" fmla="*/ 9373 w 10746"/>
                  <a:gd name="connsiteY611" fmla="*/ 6359 h 10000"/>
                  <a:gd name="connsiteX612" fmla="*/ 9373 w 10746"/>
                  <a:gd name="connsiteY612" fmla="*/ 6325 h 10000"/>
                  <a:gd name="connsiteX613" fmla="*/ 9387 w 10746"/>
                  <a:gd name="connsiteY613" fmla="*/ 6256 h 10000"/>
                  <a:gd name="connsiteX614" fmla="*/ 9387 w 10746"/>
                  <a:gd name="connsiteY614" fmla="*/ 6248 h 10000"/>
                  <a:gd name="connsiteX615" fmla="*/ 9378 w 10746"/>
                  <a:gd name="connsiteY615" fmla="*/ 6248 h 10000"/>
                  <a:gd name="connsiteX616" fmla="*/ 9406 w 10746"/>
                  <a:gd name="connsiteY616" fmla="*/ 6222 h 10000"/>
                  <a:gd name="connsiteX617" fmla="*/ 9415 w 10746"/>
                  <a:gd name="connsiteY617" fmla="*/ 6222 h 10000"/>
                  <a:gd name="connsiteX618" fmla="*/ 9415 w 10746"/>
                  <a:gd name="connsiteY618" fmla="*/ 6197 h 10000"/>
                  <a:gd name="connsiteX619" fmla="*/ 9419 w 10746"/>
                  <a:gd name="connsiteY619" fmla="*/ 6214 h 10000"/>
                  <a:gd name="connsiteX620" fmla="*/ 9424 w 10746"/>
                  <a:gd name="connsiteY620" fmla="*/ 6214 h 10000"/>
                  <a:gd name="connsiteX621" fmla="*/ 9447 w 10746"/>
                  <a:gd name="connsiteY621" fmla="*/ 6171 h 10000"/>
                  <a:gd name="connsiteX622" fmla="*/ 9452 w 10746"/>
                  <a:gd name="connsiteY622" fmla="*/ 6171 h 10000"/>
                  <a:gd name="connsiteX623" fmla="*/ 9452 w 10746"/>
                  <a:gd name="connsiteY623" fmla="*/ 6162 h 10000"/>
                  <a:gd name="connsiteX624" fmla="*/ 9461 w 10746"/>
                  <a:gd name="connsiteY624" fmla="*/ 6137 h 10000"/>
                  <a:gd name="connsiteX625" fmla="*/ 9475 w 10746"/>
                  <a:gd name="connsiteY625" fmla="*/ 6137 h 10000"/>
                  <a:gd name="connsiteX626" fmla="*/ 9475 w 10746"/>
                  <a:gd name="connsiteY626" fmla="*/ 6137 h 10000"/>
                  <a:gd name="connsiteX627" fmla="*/ 9479 w 10746"/>
                  <a:gd name="connsiteY627" fmla="*/ 6120 h 10000"/>
                  <a:gd name="connsiteX628" fmla="*/ 9488 w 10746"/>
                  <a:gd name="connsiteY628" fmla="*/ 6120 h 10000"/>
                  <a:gd name="connsiteX629" fmla="*/ 9488 w 10746"/>
                  <a:gd name="connsiteY629" fmla="*/ 6111 h 10000"/>
                  <a:gd name="connsiteX630" fmla="*/ 9479 w 10746"/>
                  <a:gd name="connsiteY630" fmla="*/ 6103 h 10000"/>
                  <a:gd name="connsiteX631" fmla="*/ 9479 w 10746"/>
                  <a:gd name="connsiteY631" fmla="*/ 6085 h 10000"/>
                  <a:gd name="connsiteX632" fmla="*/ 9488 w 10746"/>
                  <a:gd name="connsiteY632" fmla="*/ 6103 h 10000"/>
                  <a:gd name="connsiteX633" fmla="*/ 9493 w 10746"/>
                  <a:gd name="connsiteY633" fmla="*/ 6111 h 10000"/>
                  <a:gd name="connsiteX634" fmla="*/ 9498 w 10746"/>
                  <a:gd name="connsiteY634" fmla="*/ 6103 h 10000"/>
                  <a:gd name="connsiteX635" fmla="*/ 9507 w 10746"/>
                  <a:gd name="connsiteY635" fmla="*/ 6077 h 10000"/>
                  <a:gd name="connsiteX636" fmla="*/ 9498 w 10746"/>
                  <a:gd name="connsiteY636" fmla="*/ 6060 h 10000"/>
                  <a:gd name="connsiteX637" fmla="*/ 9512 w 10746"/>
                  <a:gd name="connsiteY637" fmla="*/ 6060 h 10000"/>
                  <a:gd name="connsiteX638" fmla="*/ 9525 w 10746"/>
                  <a:gd name="connsiteY638" fmla="*/ 6034 h 10000"/>
                  <a:gd name="connsiteX639" fmla="*/ 9535 w 10746"/>
                  <a:gd name="connsiteY639" fmla="*/ 6034 h 10000"/>
                  <a:gd name="connsiteX640" fmla="*/ 9535 w 10746"/>
                  <a:gd name="connsiteY640" fmla="*/ 6026 h 10000"/>
                  <a:gd name="connsiteX641" fmla="*/ 9525 w 10746"/>
                  <a:gd name="connsiteY641" fmla="*/ 6009 h 10000"/>
                  <a:gd name="connsiteX642" fmla="*/ 9535 w 10746"/>
                  <a:gd name="connsiteY642" fmla="*/ 6000 h 10000"/>
                  <a:gd name="connsiteX643" fmla="*/ 9539 w 10746"/>
                  <a:gd name="connsiteY643" fmla="*/ 6009 h 10000"/>
                  <a:gd name="connsiteX644" fmla="*/ 9548 w 10746"/>
                  <a:gd name="connsiteY644" fmla="*/ 6009 h 10000"/>
                  <a:gd name="connsiteX645" fmla="*/ 9553 w 10746"/>
                  <a:gd name="connsiteY645" fmla="*/ 6000 h 10000"/>
                  <a:gd name="connsiteX646" fmla="*/ 9562 w 10746"/>
                  <a:gd name="connsiteY646" fmla="*/ 5983 h 10000"/>
                  <a:gd name="connsiteX647" fmla="*/ 9562 w 10746"/>
                  <a:gd name="connsiteY647" fmla="*/ 5974 h 10000"/>
                  <a:gd name="connsiteX648" fmla="*/ 9567 w 10746"/>
                  <a:gd name="connsiteY648" fmla="*/ 5974 h 10000"/>
                  <a:gd name="connsiteX649" fmla="*/ 9567 w 10746"/>
                  <a:gd name="connsiteY649" fmla="*/ 5966 h 10000"/>
                  <a:gd name="connsiteX650" fmla="*/ 9567 w 10746"/>
                  <a:gd name="connsiteY650" fmla="*/ 5940 h 10000"/>
                  <a:gd name="connsiteX651" fmla="*/ 9571 w 10746"/>
                  <a:gd name="connsiteY651" fmla="*/ 5915 h 10000"/>
                  <a:gd name="connsiteX652" fmla="*/ 9581 w 10746"/>
                  <a:gd name="connsiteY652" fmla="*/ 5923 h 10000"/>
                  <a:gd name="connsiteX653" fmla="*/ 9585 w 10746"/>
                  <a:gd name="connsiteY653" fmla="*/ 5940 h 10000"/>
                  <a:gd name="connsiteX654" fmla="*/ 9594 w 10746"/>
                  <a:gd name="connsiteY654" fmla="*/ 5949 h 10000"/>
                  <a:gd name="connsiteX655" fmla="*/ 9599 w 10746"/>
                  <a:gd name="connsiteY655" fmla="*/ 5940 h 10000"/>
                  <a:gd name="connsiteX656" fmla="*/ 9613 w 10746"/>
                  <a:gd name="connsiteY656" fmla="*/ 5915 h 10000"/>
                  <a:gd name="connsiteX657" fmla="*/ 9645 w 10746"/>
                  <a:gd name="connsiteY657" fmla="*/ 5889 h 10000"/>
                  <a:gd name="connsiteX658" fmla="*/ 9654 w 10746"/>
                  <a:gd name="connsiteY658" fmla="*/ 5872 h 10000"/>
                  <a:gd name="connsiteX659" fmla="*/ 9673 w 10746"/>
                  <a:gd name="connsiteY659" fmla="*/ 5863 h 10000"/>
                  <a:gd name="connsiteX660" fmla="*/ 9682 w 10746"/>
                  <a:gd name="connsiteY660" fmla="*/ 5838 h 10000"/>
                  <a:gd name="connsiteX661" fmla="*/ 9682 w 10746"/>
                  <a:gd name="connsiteY661" fmla="*/ 5829 h 10000"/>
                  <a:gd name="connsiteX662" fmla="*/ 9682 w 10746"/>
                  <a:gd name="connsiteY662" fmla="*/ 5812 h 10000"/>
                  <a:gd name="connsiteX663" fmla="*/ 9687 w 10746"/>
                  <a:gd name="connsiteY663" fmla="*/ 5812 h 10000"/>
                  <a:gd name="connsiteX664" fmla="*/ 9687 w 10746"/>
                  <a:gd name="connsiteY664" fmla="*/ 5829 h 10000"/>
                  <a:gd name="connsiteX665" fmla="*/ 9687 w 10746"/>
                  <a:gd name="connsiteY665" fmla="*/ 5829 h 10000"/>
                  <a:gd name="connsiteX666" fmla="*/ 9719 w 10746"/>
                  <a:gd name="connsiteY666" fmla="*/ 5803 h 10000"/>
                  <a:gd name="connsiteX667" fmla="*/ 9728 w 10746"/>
                  <a:gd name="connsiteY667" fmla="*/ 5803 h 10000"/>
                  <a:gd name="connsiteX668" fmla="*/ 9779 w 10746"/>
                  <a:gd name="connsiteY668" fmla="*/ 5726 h 10000"/>
                  <a:gd name="connsiteX669" fmla="*/ 9816 w 10746"/>
                  <a:gd name="connsiteY669" fmla="*/ 5709 h 10000"/>
                  <a:gd name="connsiteX670" fmla="*/ 9820 w 10746"/>
                  <a:gd name="connsiteY670" fmla="*/ 5701 h 10000"/>
                  <a:gd name="connsiteX671" fmla="*/ 9816 w 10746"/>
                  <a:gd name="connsiteY671" fmla="*/ 5692 h 10000"/>
                  <a:gd name="connsiteX672" fmla="*/ 9816 w 10746"/>
                  <a:gd name="connsiteY672" fmla="*/ 5692 h 10000"/>
                  <a:gd name="connsiteX673" fmla="*/ 9802 w 10746"/>
                  <a:gd name="connsiteY673" fmla="*/ 5624 h 10000"/>
                  <a:gd name="connsiteX674" fmla="*/ 9806 w 10746"/>
                  <a:gd name="connsiteY674" fmla="*/ 5624 h 10000"/>
                  <a:gd name="connsiteX675" fmla="*/ 9820 w 10746"/>
                  <a:gd name="connsiteY675" fmla="*/ 5675 h 10000"/>
                  <a:gd name="connsiteX676" fmla="*/ 9829 w 10746"/>
                  <a:gd name="connsiteY676" fmla="*/ 5675 h 10000"/>
                  <a:gd name="connsiteX677" fmla="*/ 9829 w 10746"/>
                  <a:gd name="connsiteY677" fmla="*/ 5692 h 10000"/>
                  <a:gd name="connsiteX678" fmla="*/ 9829 w 10746"/>
                  <a:gd name="connsiteY678" fmla="*/ 5701 h 10000"/>
                  <a:gd name="connsiteX679" fmla="*/ 9839 w 10746"/>
                  <a:gd name="connsiteY679" fmla="*/ 5701 h 10000"/>
                  <a:gd name="connsiteX680" fmla="*/ 9839 w 10746"/>
                  <a:gd name="connsiteY680" fmla="*/ 5692 h 10000"/>
                  <a:gd name="connsiteX681" fmla="*/ 9839 w 10746"/>
                  <a:gd name="connsiteY681" fmla="*/ 5675 h 10000"/>
                  <a:gd name="connsiteX682" fmla="*/ 9848 w 10746"/>
                  <a:gd name="connsiteY682" fmla="*/ 5675 h 10000"/>
                  <a:gd name="connsiteX683" fmla="*/ 9848 w 10746"/>
                  <a:gd name="connsiteY683" fmla="*/ 5692 h 10000"/>
                  <a:gd name="connsiteX684" fmla="*/ 9853 w 10746"/>
                  <a:gd name="connsiteY684" fmla="*/ 5701 h 10000"/>
                  <a:gd name="connsiteX685" fmla="*/ 9880 w 10746"/>
                  <a:gd name="connsiteY685" fmla="*/ 5709 h 10000"/>
                  <a:gd name="connsiteX686" fmla="*/ 9912 w 10746"/>
                  <a:gd name="connsiteY686" fmla="*/ 5752 h 10000"/>
                  <a:gd name="connsiteX687" fmla="*/ 9926 w 10746"/>
                  <a:gd name="connsiteY687" fmla="*/ 5761 h 10000"/>
                  <a:gd name="connsiteX688" fmla="*/ 9935 w 10746"/>
                  <a:gd name="connsiteY688" fmla="*/ 5761 h 10000"/>
                  <a:gd name="connsiteX689" fmla="*/ 9940 w 10746"/>
                  <a:gd name="connsiteY689" fmla="*/ 5735 h 10000"/>
                  <a:gd name="connsiteX690" fmla="*/ 9949 w 10746"/>
                  <a:gd name="connsiteY690" fmla="*/ 5735 h 10000"/>
                  <a:gd name="connsiteX691" fmla="*/ 9968 w 10746"/>
                  <a:gd name="connsiteY691" fmla="*/ 5692 h 10000"/>
                  <a:gd name="connsiteX692" fmla="*/ 9968 w 10746"/>
                  <a:gd name="connsiteY692" fmla="*/ 5650 h 10000"/>
                  <a:gd name="connsiteX693" fmla="*/ 9968 w 10746"/>
                  <a:gd name="connsiteY693" fmla="*/ 5624 h 10000"/>
                  <a:gd name="connsiteX694" fmla="*/ 9935 w 10746"/>
                  <a:gd name="connsiteY694" fmla="*/ 5598 h 10000"/>
                  <a:gd name="connsiteX695" fmla="*/ 9935 w 10746"/>
                  <a:gd name="connsiteY695" fmla="*/ 5590 h 10000"/>
                  <a:gd name="connsiteX696" fmla="*/ 9935 w 10746"/>
                  <a:gd name="connsiteY696" fmla="*/ 5573 h 10000"/>
                  <a:gd name="connsiteX697" fmla="*/ 9935 w 10746"/>
                  <a:gd name="connsiteY697" fmla="*/ 5573 h 10000"/>
                  <a:gd name="connsiteX698" fmla="*/ 9940 w 10746"/>
                  <a:gd name="connsiteY698" fmla="*/ 5573 h 10000"/>
                  <a:gd name="connsiteX699" fmla="*/ 9954 w 10746"/>
                  <a:gd name="connsiteY699" fmla="*/ 5573 h 10000"/>
                  <a:gd name="connsiteX700" fmla="*/ 9963 w 10746"/>
                  <a:gd name="connsiteY700" fmla="*/ 5564 h 10000"/>
                  <a:gd name="connsiteX701" fmla="*/ 9954 w 10746"/>
                  <a:gd name="connsiteY701" fmla="*/ 5530 h 10000"/>
                  <a:gd name="connsiteX702" fmla="*/ 9949 w 10746"/>
                  <a:gd name="connsiteY702" fmla="*/ 5530 h 10000"/>
                  <a:gd name="connsiteX703" fmla="*/ 9926 w 10746"/>
                  <a:gd name="connsiteY703" fmla="*/ 5479 h 10000"/>
                  <a:gd name="connsiteX704" fmla="*/ 9912 w 10746"/>
                  <a:gd name="connsiteY704" fmla="*/ 5325 h 10000"/>
                  <a:gd name="connsiteX705" fmla="*/ 9903 w 10746"/>
                  <a:gd name="connsiteY705" fmla="*/ 5342 h 10000"/>
                  <a:gd name="connsiteX706" fmla="*/ 9889 w 10746"/>
                  <a:gd name="connsiteY706" fmla="*/ 5316 h 10000"/>
                  <a:gd name="connsiteX707" fmla="*/ 9889 w 10746"/>
                  <a:gd name="connsiteY707" fmla="*/ 5291 h 10000"/>
                  <a:gd name="connsiteX708" fmla="*/ 9903 w 10746"/>
                  <a:gd name="connsiteY708" fmla="*/ 5291 h 10000"/>
                  <a:gd name="connsiteX709" fmla="*/ 9903 w 10746"/>
                  <a:gd name="connsiteY709" fmla="*/ 5291 h 10000"/>
                  <a:gd name="connsiteX710" fmla="*/ 9894 w 10746"/>
                  <a:gd name="connsiteY710" fmla="*/ 5214 h 10000"/>
                  <a:gd name="connsiteX711" fmla="*/ 9880 w 10746"/>
                  <a:gd name="connsiteY711" fmla="*/ 5239 h 10000"/>
                  <a:gd name="connsiteX712" fmla="*/ 9876 w 10746"/>
                  <a:gd name="connsiteY712" fmla="*/ 5256 h 10000"/>
                  <a:gd name="connsiteX713" fmla="*/ 9862 w 10746"/>
                  <a:gd name="connsiteY713" fmla="*/ 5239 h 10000"/>
                  <a:gd name="connsiteX714" fmla="*/ 9853 w 10746"/>
                  <a:gd name="connsiteY714" fmla="*/ 5214 h 10000"/>
                  <a:gd name="connsiteX715" fmla="*/ 9839 w 10746"/>
                  <a:gd name="connsiteY715" fmla="*/ 5214 h 10000"/>
                  <a:gd name="connsiteX716" fmla="*/ 9834 w 10746"/>
                  <a:gd name="connsiteY716" fmla="*/ 5188 h 10000"/>
                  <a:gd name="connsiteX717" fmla="*/ 9834 w 10746"/>
                  <a:gd name="connsiteY717" fmla="*/ 5103 h 10000"/>
                  <a:gd name="connsiteX718" fmla="*/ 9839 w 10746"/>
                  <a:gd name="connsiteY718" fmla="*/ 5094 h 10000"/>
                  <a:gd name="connsiteX719" fmla="*/ 9853 w 10746"/>
                  <a:gd name="connsiteY719" fmla="*/ 5103 h 10000"/>
                  <a:gd name="connsiteX720" fmla="*/ 9876 w 10746"/>
                  <a:gd name="connsiteY720" fmla="*/ 5128 h 10000"/>
                  <a:gd name="connsiteX721" fmla="*/ 9889 w 10746"/>
                  <a:gd name="connsiteY721" fmla="*/ 5103 h 10000"/>
                  <a:gd name="connsiteX722" fmla="*/ 9880 w 10746"/>
                  <a:gd name="connsiteY722" fmla="*/ 5120 h 10000"/>
                  <a:gd name="connsiteX723" fmla="*/ 9889 w 10746"/>
                  <a:gd name="connsiteY723" fmla="*/ 5128 h 10000"/>
                  <a:gd name="connsiteX724" fmla="*/ 9912 w 10746"/>
                  <a:gd name="connsiteY724" fmla="*/ 5128 h 10000"/>
                  <a:gd name="connsiteX725" fmla="*/ 9908 w 10746"/>
                  <a:gd name="connsiteY725" fmla="*/ 5145 h 10000"/>
                  <a:gd name="connsiteX726" fmla="*/ 9908 w 10746"/>
                  <a:gd name="connsiteY726" fmla="*/ 5154 h 10000"/>
                  <a:gd name="connsiteX727" fmla="*/ 9922 w 10746"/>
                  <a:gd name="connsiteY727" fmla="*/ 5128 h 10000"/>
                  <a:gd name="connsiteX728" fmla="*/ 9935 w 10746"/>
                  <a:gd name="connsiteY728" fmla="*/ 5103 h 10000"/>
                  <a:gd name="connsiteX729" fmla="*/ 9968 w 10746"/>
                  <a:gd name="connsiteY729" fmla="*/ 5077 h 10000"/>
                  <a:gd name="connsiteX730" fmla="*/ 10000 w 10746"/>
                  <a:gd name="connsiteY730" fmla="*/ 5017 h 10000"/>
                  <a:gd name="connsiteX731" fmla="*/ 10307 w 10746"/>
                  <a:gd name="connsiteY731" fmla="*/ 4899 h 10000"/>
                  <a:gd name="connsiteX732" fmla="*/ 10711 w 10746"/>
                  <a:gd name="connsiteY732" fmla="*/ 4746 h 10000"/>
                  <a:gd name="connsiteX733" fmla="*/ 10561 w 10746"/>
                  <a:gd name="connsiteY733" fmla="*/ 4442 h 10000"/>
                  <a:gd name="connsiteX734" fmla="*/ 10354 w 10746"/>
                  <a:gd name="connsiteY734" fmla="*/ 4302 h 10000"/>
                  <a:gd name="connsiteX735" fmla="*/ 9912 w 10746"/>
                  <a:gd name="connsiteY735" fmla="*/ 3675 h 10000"/>
                  <a:gd name="connsiteX736" fmla="*/ 9903 w 10746"/>
                  <a:gd name="connsiteY736" fmla="*/ 3667 h 10000"/>
                  <a:gd name="connsiteX737" fmla="*/ 9894 w 10746"/>
                  <a:gd name="connsiteY737" fmla="*/ 3641 h 10000"/>
                  <a:gd name="connsiteX738" fmla="*/ 9889 w 10746"/>
                  <a:gd name="connsiteY738" fmla="*/ 3650 h 10000"/>
                  <a:gd name="connsiteX739" fmla="*/ 9848 w 10746"/>
                  <a:gd name="connsiteY739" fmla="*/ 3598 h 10000"/>
                  <a:gd name="connsiteX740" fmla="*/ 9829 w 10746"/>
                  <a:gd name="connsiteY740" fmla="*/ 3581 h 10000"/>
                  <a:gd name="connsiteX741" fmla="*/ 9820 w 10746"/>
                  <a:gd name="connsiteY741" fmla="*/ 3581 h 10000"/>
                  <a:gd name="connsiteX742" fmla="*/ 9793 w 10746"/>
                  <a:gd name="connsiteY742" fmla="*/ 3556 h 10000"/>
                  <a:gd name="connsiteX743" fmla="*/ 9779 w 10746"/>
                  <a:gd name="connsiteY743" fmla="*/ 3556 h 10000"/>
                  <a:gd name="connsiteX744" fmla="*/ 9747 w 10746"/>
                  <a:gd name="connsiteY744" fmla="*/ 3487 h 10000"/>
                  <a:gd name="connsiteX745" fmla="*/ 9668 w 10746"/>
                  <a:gd name="connsiteY745" fmla="*/ 3479 h 10000"/>
                  <a:gd name="connsiteX746" fmla="*/ 9659 w 10746"/>
                  <a:gd name="connsiteY746" fmla="*/ 3487 h 10000"/>
                  <a:gd name="connsiteX747" fmla="*/ 9645 w 10746"/>
                  <a:gd name="connsiteY747" fmla="*/ 3504 h 10000"/>
                  <a:gd name="connsiteX748" fmla="*/ 9631 w 10746"/>
                  <a:gd name="connsiteY748" fmla="*/ 3487 h 10000"/>
                  <a:gd name="connsiteX749" fmla="*/ 9613 w 10746"/>
                  <a:gd name="connsiteY749" fmla="*/ 3479 h 10000"/>
                  <a:gd name="connsiteX750" fmla="*/ 9599 w 10746"/>
                  <a:gd name="connsiteY750" fmla="*/ 3479 h 10000"/>
                  <a:gd name="connsiteX751" fmla="*/ 9571 w 10746"/>
                  <a:gd name="connsiteY751" fmla="*/ 3479 h 10000"/>
                  <a:gd name="connsiteX752" fmla="*/ 9562 w 10746"/>
                  <a:gd name="connsiteY752" fmla="*/ 3487 h 10000"/>
                  <a:gd name="connsiteX753" fmla="*/ 9539 w 10746"/>
                  <a:gd name="connsiteY753" fmla="*/ 3487 h 10000"/>
                  <a:gd name="connsiteX754" fmla="*/ 9507 w 10746"/>
                  <a:gd name="connsiteY754" fmla="*/ 3453 h 10000"/>
                  <a:gd name="connsiteX755" fmla="*/ 9498 w 10746"/>
                  <a:gd name="connsiteY755" fmla="*/ 3453 h 10000"/>
                  <a:gd name="connsiteX756" fmla="*/ 9387 w 10746"/>
                  <a:gd name="connsiteY756" fmla="*/ 3419 h 10000"/>
                  <a:gd name="connsiteX757" fmla="*/ 9373 w 10746"/>
                  <a:gd name="connsiteY757" fmla="*/ 3427 h 10000"/>
                  <a:gd name="connsiteX758" fmla="*/ 9373 w 10746"/>
                  <a:gd name="connsiteY758" fmla="*/ 3462 h 10000"/>
                  <a:gd name="connsiteX759" fmla="*/ 9378 w 10746"/>
                  <a:gd name="connsiteY759" fmla="*/ 3479 h 10000"/>
                  <a:gd name="connsiteX760" fmla="*/ 9378 w 10746"/>
                  <a:gd name="connsiteY760" fmla="*/ 3530 h 10000"/>
                  <a:gd name="connsiteX761" fmla="*/ 9355 w 10746"/>
                  <a:gd name="connsiteY761" fmla="*/ 3538 h 10000"/>
                  <a:gd name="connsiteX762" fmla="*/ 9355 w 10746"/>
                  <a:gd name="connsiteY762" fmla="*/ 3581 h 10000"/>
                  <a:gd name="connsiteX763" fmla="*/ 9387 w 10746"/>
                  <a:gd name="connsiteY763" fmla="*/ 3590 h 10000"/>
                  <a:gd name="connsiteX764" fmla="*/ 9401 w 10746"/>
                  <a:gd name="connsiteY764" fmla="*/ 3667 h 10000"/>
                  <a:gd name="connsiteX765" fmla="*/ 9406 w 10746"/>
                  <a:gd name="connsiteY765" fmla="*/ 3675 h 10000"/>
                  <a:gd name="connsiteX766" fmla="*/ 9406 w 10746"/>
                  <a:gd name="connsiteY766" fmla="*/ 3701 h 10000"/>
                  <a:gd name="connsiteX767" fmla="*/ 9415 w 10746"/>
                  <a:gd name="connsiteY767" fmla="*/ 3752 h 10000"/>
                  <a:gd name="connsiteX768" fmla="*/ 9373 w 10746"/>
                  <a:gd name="connsiteY768" fmla="*/ 3838 h 10000"/>
                  <a:gd name="connsiteX769" fmla="*/ 9355 w 10746"/>
                  <a:gd name="connsiteY769" fmla="*/ 3863 h 10000"/>
                  <a:gd name="connsiteX770" fmla="*/ 9327 w 10746"/>
                  <a:gd name="connsiteY770" fmla="*/ 3863 h 10000"/>
                  <a:gd name="connsiteX771" fmla="*/ 9313 w 10746"/>
                  <a:gd name="connsiteY771" fmla="*/ 3846 h 10000"/>
                  <a:gd name="connsiteX772" fmla="*/ 9300 w 10746"/>
                  <a:gd name="connsiteY772" fmla="*/ 3778 h 10000"/>
                  <a:gd name="connsiteX773" fmla="*/ 9281 w 10746"/>
                  <a:gd name="connsiteY773" fmla="*/ 3752 h 10000"/>
                  <a:gd name="connsiteX774" fmla="*/ 9281 w 10746"/>
                  <a:gd name="connsiteY774" fmla="*/ 3735 h 10000"/>
                  <a:gd name="connsiteX775" fmla="*/ 9267 w 10746"/>
                  <a:gd name="connsiteY775" fmla="*/ 3726 h 10000"/>
                  <a:gd name="connsiteX776" fmla="*/ 9240 w 10746"/>
                  <a:gd name="connsiteY776" fmla="*/ 3726 h 10000"/>
                  <a:gd name="connsiteX777" fmla="*/ 9230 w 10746"/>
                  <a:gd name="connsiteY777" fmla="*/ 3718 h 10000"/>
                  <a:gd name="connsiteX778" fmla="*/ 9226 w 10746"/>
                  <a:gd name="connsiteY778" fmla="*/ 3590 h 10000"/>
                  <a:gd name="connsiteX779" fmla="*/ 9207 w 10746"/>
                  <a:gd name="connsiteY779" fmla="*/ 3581 h 10000"/>
                  <a:gd name="connsiteX780" fmla="*/ 9207 w 10746"/>
                  <a:gd name="connsiteY780" fmla="*/ 3556 h 10000"/>
                  <a:gd name="connsiteX781" fmla="*/ 9217 w 10746"/>
                  <a:gd name="connsiteY781" fmla="*/ 3538 h 10000"/>
                  <a:gd name="connsiteX782" fmla="*/ 9212 w 10746"/>
                  <a:gd name="connsiteY782" fmla="*/ 3538 h 10000"/>
                  <a:gd name="connsiteX783" fmla="*/ 9198 w 10746"/>
                  <a:gd name="connsiteY783" fmla="*/ 3513 h 10000"/>
                  <a:gd name="connsiteX784" fmla="*/ 9194 w 10746"/>
                  <a:gd name="connsiteY784" fmla="*/ 3530 h 10000"/>
                  <a:gd name="connsiteX785" fmla="*/ 9143 w 10746"/>
                  <a:gd name="connsiteY785" fmla="*/ 3615 h 10000"/>
                  <a:gd name="connsiteX786" fmla="*/ 9138 w 10746"/>
                  <a:gd name="connsiteY786" fmla="*/ 3615 h 10000"/>
                  <a:gd name="connsiteX787" fmla="*/ 9134 w 10746"/>
                  <a:gd name="connsiteY787" fmla="*/ 3615 h 10000"/>
                  <a:gd name="connsiteX788" fmla="*/ 9106 w 10746"/>
                  <a:gd name="connsiteY788" fmla="*/ 3615 h 10000"/>
                  <a:gd name="connsiteX789" fmla="*/ 9078 w 10746"/>
                  <a:gd name="connsiteY789" fmla="*/ 3590 h 10000"/>
                  <a:gd name="connsiteX790" fmla="*/ 9037 w 10746"/>
                  <a:gd name="connsiteY790" fmla="*/ 3581 h 10000"/>
                  <a:gd name="connsiteX791" fmla="*/ 9023 w 10746"/>
                  <a:gd name="connsiteY791" fmla="*/ 3590 h 10000"/>
                  <a:gd name="connsiteX792" fmla="*/ 9018 w 10746"/>
                  <a:gd name="connsiteY792" fmla="*/ 3590 h 10000"/>
                  <a:gd name="connsiteX793" fmla="*/ 9018 w 10746"/>
                  <a:gd name="connsiteY793" fmla="*/ 3590 h 10000"/>
                  <a:gd name="connsiteX794" fmla="*/ 8991 w 10746"/>
                  <a:gd name="connsiteY794" fmla="*/ 3590 h 10000"/>
                  <a:gd name="connsiteX795" fmla="*/ 8972 w 10746"/>
                  <a:gd name="connsiteY795" fmla="*/ 3581 h 10000"/>
                  <a:gd name="connsiteX796" fmla="*/ 8959 w 10746"/>
                  <a:gd name="connsiteY796" fmla="*/ 3513 h 10000"/>
                  <a:gd name="connsiteX797" fmla="*/ 8931 w 10746"/>
                  <a:gd name="connsiteY797" fmla="*/ 3538 h 10000"/>
                  <a:gd name="connsiteX798" fmla="*/ 8889 w 10746"/>
                  <a:gd name="connsiteY798" fmla="*/ 3538 h 10000"/>
                  <a:gd name="connsiteX799" fmla="*/ 8871 w 10746"/>
                  <a:gd name="connsiteY799" fmla="*/ 3556 h 10000"/>
                  <a:gd name="connsiteX800" fmla="*/ 8857 w 10746"/>
                  <a:gd name="connsiteY800" fmla="*/ 3538 h 10000"/>
                  <a:gd name="connsiteX801" fmla="*/ 8843 w 10746"/>
                  <a:gd name="connsiteY801" fmla="*/ 3538 h 10000"/>
                  <a:gd name="connsiteX802" fmla="*/ 8839 w 10746"/>
                  <a:gd name="connsiteY802" fmla="*/ 3556 h 10000"/>
                  <a:gd name="connsiteX803" fmla="*/ 8839 w 10746"/>
                  <a:gd name="connsiteY803" fmla="*/ 3581 h 10000"/>
                  <a:gd name="connsiteX804" fmla="*/ 8825 w 10746"/>
                  <a:gd name="connsiteY804" fmla="*/ 3564 h 10000"/>
                  <a:gd name="connsiteX805" fmla="*/ 8825 w 10746"/>
                  <a:gd name="connsiteY805" fmla="*/ 3615 h 10000"/>
                  <a:gd name="connsiteX806" fmla="*/ 8802 w 10746"/>
                  <a:gd name="connsiteY806" fmla="*/ 3598 h 10000"/>
                  <a:gd name="connsiteX807" fmla="*/ 8797 w 10746"/>
                  <a:gd name="connsiteY807" fmla="*/ 3641 h 10000"/>
                  <a:gd name="connsiteX808" fmla="*/ 8783 w 10746"/>
                  <a:gd name="connsiteY808" fmla="*/ 3667 h 10000"/>
                  <a:gd name="connsiteX809" fmla="*/ 8779 w 10746"/>
                  <a:gd name="connsiteY809" fmla="*/ 3650 h 10000"/>
                  <a:gd name="connsiteX810" fmla="*/ 8779 w 10746"/>
                  <a:gd name="connsiteY810" fmla="*/ 3615 h 10000"/>
                  <a:gd name="connsiteX811" fmla="*/ 8770 w 10746"/>
                  <a:gd name="connsiteY811" fmla="*/ 3590 h 10000"/>
                  <a:gd name="connsiteX812" fmla="*/ 8765 w 10746"/>
                  <a:gd name="connsiteY812" fmla="*/ 3598 h 10000"/>
                  <a:gd name="connsiteX813" fmla="*/ 8756 w 10746"/>
                  <a:gd name="connsiteY813" fmla="*/ 3590 h 10000"/>
                  <a:gd name="connsiteX814" fmla="*/ 8737 w 10746"/>
                  <a:gd name="connsiteY814" fmla="*/ 3556 h 10000"/>
                  <a:gd name="connsiteX815" fmla="*/ 8724 w 10746"/>
                  <a:gd name="connsiteY815" fmla="*/ 3538 h 10000"/>
                  <a:gd name="connsiteX816" fmla="*/ 8696 w 10746"/>
                  <a:gd name="connsiteY816" fmla="*/ 3538 h 10000"/>
                  <a:gd name="connsiteX817" fmla="*/ 8691 w 10746"/>
                  <a:gd name="connsiteY817" fmla="*/ 3513 h 10000"/>
                  <a:gd name="connsiteX818" fmla="*/ 8668 w 10746"/>
                  <a:gd name="connsiteY818" fmla="*/ 3504 h 10000"/>
                  <a:gd name="connsiteX819" fmla="*/ 8668 w 10746"/>
                  <a:gd name="connsiteY819" fmla="*/ 3487 h 10000"/>
                  <a:gd name="connsiteX820" fmla="*/ 8691 w 10746"/>
                  <a:gd name="connsiteY820" fmla="*/ 3350 h 10000"/>
                  <a:gd name="connsiteX821" fmla="*/ 8691 w 10746"/>
                  <a:gd name="connsiteY821" fmla="*/ 3291 h 10000"/>
                  <a:gd name="connsiteX822" fmla="*/ 8677 w 10746"/>
                  <a:gd name="connsiteY822" fmla="*/ 3239 h 10000"/>
                  <a:gd name="connsiteX823" fmla="*/ 8677 w 10746"/>
                  <a:gd name="connsiteY823" fmla="*/ 3231 h 10000"/>
                  <a:gd name="connsiteX824" fmla="*/ 8636 w 10746"/>
                  <a:gd name="connsiteY824" fmla="*/ 3128 h 10000"/>
                  <a:gd name="connsiteX825" fmla="*/ 8622 w 10746"/>
                  <a:gd name="connsiteY825" fmla="*/ 3120 h 10000"/>
                  <a:gd name="connsiteX826" fmla="*/ 8618 w 10746"/>
                  <a:gd name="connsiteY826" fmla="*/ 3094 h 10000"/>
                  <a:gd name="connsiteX827" fmla="*/ 8594 w 10746"/>
                  <a:gd name="connsiteY827" fmla="*/ 3077 h 10000"/>
                  <a:gd name="connsiteX828" fmla="*/ 8548 w 10746"/>
                  <a:gd name="connsiteY828" fmla="*/ 3077 h 10000"/>
                  <a:gd name="connsiteX829" fmla="*/ 8535 w 10746"/>
                  <a:gd name="connsiteY829" fmla="*/ 3068 h 10000"/>
                  <a:gd name="connsiteX830" fmla="*/ 8429 w 10746"/>
                  <a:gd name="connsiteY830" fmla="*/ 3077 h 10000"/>
                  <a:gd name="connsiteX831" fmla="*/ 8424 w 10746"/>
                  <a:gd name="connsiteY831" fmla="*/ 3077 h 10000"/>
                  <a:gd name="connsiteX832" fmla="*/ 8396 w 10746"/>
                  <a:gd name="connsiteY832" fmla="*/ 3077 h 10000"/>
                  <a:gd name="connsiteX833" fmla="*/ 8387 w 10746"/>
                  <a:gd name="connsiteY833" fmla="*/ 3094 h 10000"/>
                  <a:gd name="connsiteX834" fmla="*/ 8378 w 10746"/>
                  <a:gd name="connsiteY834" fmla="*/ 3094 h 10000"/>
                  <a:gd name="connsiteX835" fmla="*/ 8341 w 10746"/>
                  <a:gd name="connsiteY835" fmla="*/ 3077 h 10000"/>
                  <a:gd name="connsiteX836" fmla="*/ 8336 w 10746"/>
                  <a:gd name="connsiteY836" fmla="*/ 3077 h 10000"/>
                  <a:gd name="connsiteX837" fmla="*/ 8327 w 10746"/>
                  <a:gd name="connsiteY837" fmla="*/ 3103 h 10000"/>
                  <a:gd name="connsiteX838" fmla="*/ 8309 w 10746"/>
                  <a:gd name="connsiteY838" fmla="*/ 3120 h 10000"/>
                  <a:gd name="connsiteX839" fmla="*/ 8304 w 10746"/>
                  <a:gd name="connsiteY839" fmla="*/ 3103 h 10000"/>
                  <a:gd name="connsiteX840" fmla="*/ 8276 w 10746"/>
                  <a:gd name="connsiteY840" fmla="*/ 3103 h 10000"/>
                  <a:gd name="connsiteX841" fmla="*/ 8267 w 10746"/>
                  <a:gd name="connsiteY841" fmla="*/ 3120 h 10000"/>
                  <a:gd name="connsiteX842" fmla="*/ 8253 w 10746"/>
                  <a:gd name="connsiteY842" fmla="*/ 3103 h 10000"/>
                  <a:gd name="connsiteX843" fmla="*/ 8230 w 10746"/>
                  <a:gd name="connsiteY843" fmla="*/ 3128 h 10000"/>
                  <a:gd name="connsiteX844" fmla="*/ 8217 w 10746"/>
                  <a:gd name="connsiteY844" fmla="*/ 3128 h 10000"/>
                  <a:gd name="connsiteX845" fmla="*/ 8203 w 10746"/>
                  <a:gd name="connsiteY845" fmla="*/ 3154 h 10000"/>
                  <a:gd name="connsiteX846" fmla="*/ 8175 w 10746"/>
                  <a:gd name="connsiteY846" fmla="*/ 3094 h 10000"/>
                  <a:gd name="connsiteX847" fmla="*/ 8161 w 10746"/>
                  <a:gd name="connsiteY847" fmla="*/ 3094 h 10000"/>
                  <a:gd name="connsiteX848" fmla="*/ 8157 w 10746"/>
                  <a:gd name="connsiteY848" fmla="*/ 3077 h 10000"/>
                  <a:gd name="connsiteX849" fmla="*/ 8180 w 10746"/>
                  <a:gd name="connsiteY849" fmla="*/ 3068 h 10000"/>
                  <a:gd name="connsiteX850" fmla="*/ 8189 w 10746"/>
                  <a:gd name="connsiteY850" fmla="*/ 3043 h 10000"/>
                  <a:gd name="connsiteX851" fmla="*/ 8189 w 10746"/>
                  <a:gd name="connsiteY851" fmla="*/ 3017 h 10000"/>
                  <a:gd name="connsiteX852" fmla="*/ 8147 w 10746"/>
                  <a:gd name="connsiteY852" fmla="*/ 2940 h 10000"/>
                  <a:gd name="connsiteX853" fmla="*/ 8143 w 10746"/>
                  <a:gd name="connsiteY853" fmla="*/ 2915 h 10000"/>
                  <a:gd name="connsiteX854" fmla="*/ 8143 w 10746"/>
                  <a:gd name="connsiteY854" fmla="*/ 2906 h 10000"/>
                  <a:gd name="connsiteX855" fmla="*/ 8097 w 10746"/>
                  <a:gd name="connsiteY855" fmla="*/ 2932 h 10000"/>
                  <a:gd name="connsiteX856" fmla="*/ 8083 w 10746"/>
                  <a:gd name="connsiteY856" fmla="*/ 2932 h 10000"/>
                  <a:gd name="connsiteX857" fmla="*/ 8074 w 10746"/>
                  <a:gd name="connsiteY857" fmla="*/ 2906 h 10000"/>
                  <a:gd name="connsiteX858" fmla="*/ 8074 w 10746"/>
                  <a:gd name="connsiteY858" fmla="*/ 2897 h 10000"/>
                  <a:gd name="connsiteX859" fmla="*/ 8055 w 10746"/>
                  <a:gd name="connsiteY859" fmla="*/ 2872 h 10000"/>
                  <a:gd name="connsiteX860" fmla="*/ 8046 w 10746"/>
                  <a:gd name="connsiteY860" fmla="*/ 2829 h 10000"/>
                  <a:gd name="connsiteX861" fmla="*/ 8041 w 10746"/>
                  <a:gd name="connsiteY861" fmla="*/ 2829 h 10000"/>
                  <a:gd name="connsiteX862" fmla="*/ 8023 w 10746"/>
                  <a:gd name="connsiteY862" fmla="*/ 2803 h 10000"/>
                  <a:gd name="connsiteX863" fmla="*/ 8014 w 10746"/>
                  <a:gd name="connsiteY863" fmla="*/ 2829 h 10000"/>
                  <a:gd name="connsiteX864" fmla="*/ 8000 w 10746"/>
                  <a:gd name="connsiteY864" fmla="*/ 2829 h 10000"/>
                  <a:gd name="connsiteX865" fmla="*/ 7995 w 10746"/>
                  <a:gd name="connsiteY865" fmla="*/ 2821 h 10000"/>
                  <a:gd name="connsiteX866" fmla="*/ 7972 w 10746"/>
                  <a:gd name="connsiteY866" fmla="*/ 2803 h 10000"/>
                  <a:gd name="connsiteX867" fmla="*/ 7968 w 10746"/>
                  <a:gd name="connsiteY867" fmla="*/ 2821 h 10000"/>
                  <a:gd name="connsiteX868" fmla="*/ 7968 w 10746"/>
                  <a:gd name="connsiteY868" fmla="*/ 2803 h 10000"/>
                  <a:gd name="connsiteX869" fmla="*/ 7995 w 10746"/>
                  <a:gd name="connsiteY869" fmla="*/ 2735 h 10000"/>
                  <a:gd name="connsiteX870" fmla="*/ 8000 w 10746"/>
                  <a:gd name="connsiteY870" fmla="*/ 2735 h 10000"/>
                  <a:gd name="connsiteX871" fmla="*/ 8014 w 10746"/>
                  <a:gd name="connsiteY871" fmla="*/ 2744 h 10000"/>
                  <a:gd name="connsiteX872" fmla="*/ 8023 w 10746"/>
                  <a:gd name="connsiteY872" fmla="*/ 2769 h 10000"/>
                  <a:gd name="connsiteX873" fmla="*/ 8032 w 10746"/>
                  <a:gd name="connsiteY873" fmla="*/ 2744 h 10000"/>
                  <a:gd name="connsiteX874" fmla="*/ 8032 w 10746"/>
                  <a:gd name="connsiteY874" fmla="*/ 2709 h 10000"/>
                  <a:gd name="connsiteX875" fmla="*/ 8023 w 10746"/>
                  <a:gd name="connsiteY875" fmla="*/ 2632 h 10000"/>
                  <a:gd name="connsiteX876" fmla="*/ 7986 w 10746"/>
                  <a:gd name="connsiteY876" fmla="*/ 2581 h 10000"/>
                  <a:gd name="connsiteX877" fmla="*/ 7968 w 10746"/>
                  <a:gd name="connsiteY877" fmla="*/ 2581 h 10000"/>
                  <a:gd name="connsiteX878" fmla="*/ 7963 w 10746"/>
                  <a:gd name="connsiteY878" fmla="*/ 2556 h 10000"/>
                  <a:gd name="connsiteX879" fmla="*/ 7935 w 10746"/>
                  <a:gd name="connsiteY879" fmla="*/ 2547 h 10000"/>
                  <a:gd name="connsiteX880" fmla="*/ 7912 w 10746"/>
                  <a:gd name="connsiteY880" fmla="*/ 2547 h 10000"/>
                  <a:gd name="connsiteX881" fmla="*/ 7912 w 10746"/>
                  <a:gd name="connsiteY881" fmla="*/ 2556 h 10000"/>
                  <a:gd name="connsiteX882" fmla="*/ 7908 w 10746"/>
                  <a:gd name="connsiteY882" fmla="*/ 2547 h 10000"/>
                  <a:gd name="connsiteX883" fmla="*/ 7862 w 10746"/>
                  <a:gd name="connsiteY883" fmla="*/ 2547 h 10000"/>
                  <a:gd name="connsiteX884" fmla="*/ 7848 w 10746"/>
                  <a:gd name="connsiteY884" fmla="*/ 2556 h 10000"/>
                  <a:gd name="connsiteX885" fmla="*/ 7820 w 10746"/>
                  <a:gd name="connsiteY885" fmla="*/ 2547 h 10000"/>
                  <a:gd name="connsiteX886" fmla="*/ 7806 w 10746"/>
                  <a:gd name="connsiteY886" fmla="*/ 2513 h 10000"/>
                  <a:gd name="connsiteX887" fmla="*/ 7788 w 10746"/>
                  <a:gd name="connsiteY887" fmla="*/ 2513 h 10000"/>
                  <a:gd name="connsiteX888" fmla="*/ 7760 w 10746"/>
                  <a:gd name="connsiteY888" fmla="*/ 2470 h 10000"/>
                  <a:gd name="connsiteX889" fmla="*/ 7751 w 10746"/>
                  <a:gd name="connsiteY889" fmla="*/ 2470 h 10000"/>
                  <a:gd name="connsiteX890" fmla="*/ 7705 w 10746"/>
                  <a:gd name="connsiteY890" fmla="*/ 2462 h 10000"/>
                  <a:gd name="connsiteX891" fmla="*/ 7673 w 10746"/>
                  <a:gd name="connsiteY891" fmla="*/ 2419 h 10000"/>
                  <a:gd name="connsiteX892" fmla="*/ 7627 w 10746"/>
                  <a:gd name="connsiteY892" fmla="*/ 2419 h 10000"/>
                  <a:gd name="connsiteX893" fmla="*/ 7613 w 10746"/>
                  <a:gd name="connsiteY893" fmla="*/ 2410 h 10000"/>
                  <a:gd name="connsiteX894" fmla="*/ 7493 w 10746"/>
                  <a:gd name="connsiteY894" fmla="*/ 2393 h 10000"/>
                  <a:gd name="connsiteX895" fmla="*/ 7479 w 10746"/>
                  <a:gd name="connsiteY895" fmla="*/ 2385 h 10000"/>
                  <a:gd name="connsiteX896" fmla="*/ 7479 w 10746"/>
                  <a:gd name="connsiteY896" fmla="*/ 2376 h 10000"/>
                  <a:gd name="connsiteX897" fmla="*/ 7465 w 10746"/>
                  <a:gd name="connsiteY897" fmla="*/ 2359 h 10000"/>
                  <a:gd name="connsiteX898" fmla="*/ 7447 w 10746"/>
                  <a:gd name="connsiteY898" fmla="*/ 2350 h 10000"/>
                  <a:gd name="connsiteX899" fmla="*/ 7433 w 10746"/>
                  <a:gd name="connsiteY899" fmla="*/ 2376 h 10000"/>
                  <a:gd name="connsiteX900" fmla="*/ 7433 w 10746"/>
                  <a:gd name="connsiteY900" fmla="*/ 2385 h 10000"/>
                  <a:gd name="connsiteX901" fmla="*/ 7447 w 10746"/>
                  <a:gd name="connsiteY901" fmla="*/ 2410 h 10000"/>
                  <a:gd name="connsiteX902" fmla="*/ 7447 w 10746"/>
                  <a:gd name="connsiteY902" fmla="*/ 2436 h 10000"/>
                  <a:gd name="connsiteX903" fmla="*/ 7452 w 10746"/>
                  <a:gd name="connsiteY903" fmla="*/ 2462 h 10000"/>
                  <a:gd name="connsiteX904" fmla="*/ 7447 w 10746"/>
                  <a:gd name="connsiteY904" fmla="*/ 2470 h 10000"/>
                  <a:gd name="connsiteX905" fmla="*/ 7424 w 10746"/>
                  <a:gd name="connsiteY905" fmla="*/ 2513 h 10000"/>
                  <a:gd name="connsiteX906" fmla="*/ 7419 w 10746"/>
                  <a:gd name="connsiteY906" fmla="*/ 2556 h 10000"/>
                  <a:gd name="connsiteX907" fmla="*/ 7406 w 10746"/>
                  <a:gd name="connsiteY907" fmla="*/ 2624 h 10000"/>
                  <a:gd name="connsiteX908" fmla="*/ 7392 w 10746"/>
                  <a:gd name="connsiteY908" fmla="*/ 2624 h 10000"/>
                  <a:gd name="connsiteX909" fmla="*/ 7373 w 10746"/>
                  <a:gd name="connsiteY909" fmla="*/ 2650 h 10000"/>
                  <a:gd name="connsiteX910" fmla="*/ 7364 w 10746"/>
                  <a:gd name="connsiteY910" fmla="*/ 2684 h 10000"/>
                  <a:gd name="connsiteX911" fmla="*/ 7364 w 10746"/>
                  <a:gd name="connsiteY911" fmla="*/ 2692 h 10000"/>
                  <a:gd name="connsiteX912" fmla="*/ 7373 w 10746"/>
                  <a:gd name="connsiteY912" fmla="*/ 2718 h 10000"/>
                  <a:gd name="connsiteX913" fmla="*/ 7373 w 10746"/>
                  <a:gd name="connsiteY913" fmla="*/ 2744 h 10000"/>
                  <a:gd name="connsiteX914" fmla="*/ 7359 w 10746"/>
                  <a:gd name="connsiteY914" fmla="*/ 2744 h 10000"/>
                  <a:gd name="connsiteX915" fmla="*/ 7359 w 10746"/>
                  <a:gd name="connsiteY915" fmla="*/ 2795 h 10000"/>
                  <a:gd name="connsiteX916" fmla="*/ 7364 w 10746"/>
                  <a:gd name="connsiteY916" fmla="*/ 2821 h 10000"/>
                  <a:gd name="connsiteX917" fmla="*/ 7378 w 10746"/>
                  <a:gd name="connsiteY917" fmla="*/ 2846 h 10000"/>
                  <a:gd name="connsiteX918" fmla="*/ 7378 w 10746"/>
                  <a:gd name="connsiteY918" fmla="*/ 2855 h 10000"/>
                  <a:gd name="connsiteX919" fmla="*/ 7378 w 10746"/>
                  <a:gd name="connsiteY919" fmla="*/ 2880 h 10000"/>
                  <a:gd name="connsiteX920" fmla="*/ 7378 w 10746"/>
                  <a:gd name="connsiteY920" fmla="*/ 2906 h 10000"/>
                  <a:gd name="connsiteX921" fmla="*/ 7364 w 10746"/>
                  <a:gd name="connsiteY921" fmla="*/ 2906 h 10000"/>
                  <a:gd name="connsiteX922" fmla="*/ 7346 w 10746"/>
                  <a:gd name="connsiteY922" fmla="*/ 2880 h 10000"/>
                  <a:gd name="connsiteX923" fmla="*/ 7332 w 10746"/>
                  <a:gd name="connsiteY923" fmla="*/ 2915 h 10000"/>
                  <a:gd name="connsiteX924" fmla="*/ 7318 w 10746"/>
                  <a:gd name="connsiteY924" fmla="*/ 2906 h 10000"/>
                  <a:gd name="connsiteX925" fmla="*/ 7313 w 10746"/>
                  <a:gd name="connsiteY925" fmla="*/ 2915 h 10000"/>
                  <a:gd name="connsiteX926" fmla="*/ 7313 w 10746"/>
                  <a:gd name="connsiteY926" fmla="*/ 2906 h 10000"/>
                  <a:gd name="connsiteX927" fmla="*/ 7286 w 10746"/>
                  <a:gd name="connsiteY927" fmla="*/ 2940 h 10000"/>
                  <a:gd name="connsiteX928" fmla="*/ 7276 w 10746"/>
                  <a:gd name="connsiteY928" fmla="*/ 2966 h 10000"/>
                  <a:gd name="connsiteX929" fmla="*/ 7272 w 10746"/>
                  <a:gd name="connsiteY929" fmla="*/ 2983 h 10000"/>
                  <a:gd name="connsiteX930" fmla="*/ 7267 w 10746"/>
                  <a:gd name="connsiteY930" fmla="*/ 3009 h 10000"/>
                  <a:gd name="connsiteX931" fmla="*/ 7253 w 10746"/>
                  <a:gd name="connsiteY931" fmla="*/ 3009 h 10000"/>
                  <a:gd name="connsiteX932" fmla="*/ 7244 w 10746"/>
                  <a:gd name="connsiteY932" fmla="*/ 3017 h 10000"/>
                  <a:gd name="connsiteX933" fmla="*/ 7240 w 10746"/>
                  <a:gd name="connsiteY933" fmla="*/ 3009 h 10000"/>
                  <a:gd name="connsiteX934" fmla="*/ 7230 w 10746"/>
                  <a:gd name="connsiteY934" fmla="*/ 2991 h 10000"/>
                  <a:gd name="connsiteX935" fmla="*/ 7226 w 10746"/>
                  <a:gd name="connsiteY935" fmla="*/ 2983 h 10000"/>
                  <a:gd name="connsiteX936" fmla="*/ 7226 w 10746"/>
                  <a:gd name="connsiteY936" fmla="*/ 2966 h 10000"/>
                  <a:gd name="connsiteX937" fmla="*/ 7212 w 10746"/>
                  <a:gd name="connsiteY937" fmla="*/ 2957 h 10000"/>
                  <a:gd name="connsiteX938" fmla="*/ 7212 w 10746"/>
                  <a:gd name="connsiteY938" fmla="*/ 2932 h 10000"/>
                  <a:gd name="connsiteX939" fmla="*/ 7198 w 10746"/>
                  <a:gd name="connsiteY939" fmla="*/ 2915 h 10000"/>
                  <a:gd name="connsiteX940" fmla="*/ 7194 w 10746"/>
                  <a:gd name="connsiteY940" fmla="*/ 2915 h 10000"/>
                  <a:gd name="connsiteX941" fmla="*/ 7157 w 10746"/>
                  <a:gd name="connsiteY941" fmla="*/ 2880 h 10000"/>
                  <a:gd name="connsiteX942" fmla="*/ 7138 w 10746"/>
                  <a:gd name="connsiteY942" fmla="*/ 2880 h 10000"/>
                  <a:gd name="connsiteX943" fmla="*/ 7120 w 10746"/>
                  <a:gd name="connsiteY943" fmla="*/ 2872 h 10000"/>
                  <a:gd name="connsiteX944" fmla="*/ 7111 w 10746"/>
                  <a:gd name="connsiteY944" fmla="*/ 2846 h 10000"/>
                  <a:gd name="connsiteX945" fmla="*/ 7106 w 10746"/>
                  <a:gd name="connsiteY945" fmla="*/ 2846 h 10000"/>
                  <a:gd name="connsiteX946" fmla="*/ 7092 w 10746"/>
                  <a:gd name="connsiteY946" fmla="*/ 2829 h 10000"/>
                  <a:gd name="connsiteX947" fmla="*/ 7051 w 10746"/>
                  <a:gd name="connsiteY947" fmla="*/ 2829 h 10000"/>
                  <a:gd name="connsiteX948" fmla="*/ 7037 w 10746"/>
                  <a:gd name="connsiteY948" fmla="*/ 2880 h 10000"/>
                  <a:gd name="connsiteX949" fmla="*/ 7037 w 10746"/>
                  <a:gd name="connsiteY949" fmla="*/ 2906 h 10000"/>
                  <a:gd name="connsiteX950" fmla="*/ 7037 w 10746"/>
                  <a:gd name="connsiteY950" fmla="*/ 2932 h 10000"/>
                  <a:gd name="connsiteX951" fmla="*/ 7037 w 10746"/>
                  <a:gd name="connsiteY951" fmla="*/ 2940 h 10000"/>
                  <a:gd name="connsiteX952" fmla="*/ 7023 w 10746"/>
                  <a:gd name="connsiteY952" fmla="*/ 2906 h 10000"/>
                  <a:gd name="connsiteX953" fmla="*/ 7023 w 10746"/>
                  <a:gd name="connsiteY953" fmla="*/ 2915 h 10000"/>
                  <a:gd name="connsiteX954" fmla="*/ 6991 w 10746"/>
                  <a:gd name="connsiteY954" fmla="*/ 2906 h 10000"/>
                  <a:gd name="connsiteX955" fmla="*/ 6977 w 10746"/>
                  <a:gd name="connsiteY955" fmla="*/ 2915 h 10000"/>
                  <a:gd name="connsiteX956" fmla="*/ 6963 w 10746"/>
                  <a:gd name="connsiteY956" fmla="*/ 2915 h 10000"/>
                  <a:gd name="connsiteX957" fmla="*/ 6949 w 10746"/>
                  <a:gd name="connsiteY957" fmla="*/ 2872 h 10000"/>
                  <a:gd name="connsiteX958" fmla="*/ 6935 w 10746"/>
                  <a:gd name="connsiteY958" fmla="*/ 2855 h 10000"/>
                  <a:gd name="connsiteX959" fmla="*/ 6922 w 10746"/>
                  <a:gd name="connsiteY959" fmla="*/ 2803 h 10000"/>
                  <a:gd name="connsiteX960" fmla="*/ 6917 w 10746"/>
                  <a:gd name="connsiteY960" fmla="*/ 2786 h 10000"/>
                  <a:gd name="connsiteX961" fmla="*/ 6903 w 10746"/>
                  <a:gd name="connsiteY961" fmla="*/ 2709 h 10000"/>
                  <a:gd name="connsiteX962" fmla="*/ 6903 w 10746"/>
                  <a:gd name="connsiteY962" fmla="*/ 2692 h 10000"/>
                  <a:gd name="connsiteX963" fmla="*/ 6899 w 10746"/>
                  <a:gd name="connsiteY963" fmla="*/ 2709 h 10000"/>
                  <a:gd name="connsiteX964" fmla="*/ 6857 w 10746"/>
                  <a:gd name="connsiteY964" fmla="*/ 2872 h 10000"/>
                  <a:gd name="connsiteX965" fmla="*/ 6857 w 10746"/>
                  <a:gd name="connsiteY965" fmla="*/ 3009 h 10000"/>
                  <a:gd name="connsiteX966" fmla="*/ 6848 w 10746"/>
                  <a:gd name="connsiteY966" fmla="*/ 3017 h 10000"/>
                  <a:gd name="connsiteX967" fmla="*/ 6839 w 10746"/>
                  <a:gd name="connsiteY967" fmla="*/ 3068 h 10000"/>
                  <a:gd name="connsiteX968" fmla="*/ 6829 w 10746"/>
                  <a:gd name="connsiteY968" fmla="*/ 3077 h 10000"/>
                  <a:gd name="connsiteX969" fmla="*/ 6829 w 10746"/>
                  <a:gd name="connsiteY969" fmla="*/ 3128 h 10000"/>
                  <a:gd name="connsiteX970" fmla="*/ 6816 w 10746"/>
                  <a:gd name="connsiteY970" fmla="*/ 3154 h 10000"/>
                  <a:gd name="connsiteX971" fmla="*/ 6811 w 10746"/>
                  <a:gd name="connsiteY971" fmla="*/ 3179 h 10000"/>
                  <a:gd name="connsiteX972" fmla="*/ 6797 w 10746"/>
                  <a:gd name="connsiteY972" fmla="*/ 3171 h 10000"/>
                  <a:gd name="connsiteX973" fmla="*/ 6783 w 10746"/>
                  <a:gd name="connsiteY973" fmla="*/ 3103 h 10000"/>
                  <a:gd name="connsiteX974" fmla="*/ 6779 w 10746"/>
                  <a:gd name="connsiteY974" fmla="*/ 3094 h 10000"/>
                  <a:gd name="connsiteX975" fmla="*/ 6779 w 10746"/>
                  <a:gd name="connsiteY975" fmla="*/ 3120 h 10000"/>
                  <a:gd name="connsiteX976" fmla="*/ 6770 w 10746"/>
                  <a:gd name="connsiteY976" fmla="*/ 3128 h 10000"/>
                  <a:gd name="connsiteX977" fmla="*/ 6765 w 10746"/>
                  <a:gd name="connsiteY977" fmla="*/ 3103 h 10000"/>
                  <a:gd name="connsiteX978" fmla="*/ 6756 w 10746"/>
                  <a:gd name="connsiteY978" fmla="*/ 3103 h 10000"/>
                  <a:gd name="connsiteX979" fmla="*/ 6742 w 10746"/>
                  <a:gd name="connsiteY979" fmla="*/ 3103 h 10000"/>
                  <a:gd name="connsiteX980" fmla="*/ 6737 w 10746"/>
                  <a:gd name="connsiteY980" fmla="*/ 3077 h 10000"/>
                  <a:gd name="connsiteX981" fmla="*/ 6737 w 10746"/>
                  <a:gd name="connsiteY981" fmla="*/ 3068 h 10000"/>
                  <a:gd name="connsiteX982" fmla="*/ 6728 w 10746"/>
                  <a:gd name="connsiteY982" fmla="*/ 3043 h 10000"/>
                  <a:gd name="connsiteX983" fmla="*/ 6724 w 10746"/>
                  <a:gd name="connsiteY983" fmla="*/ 3051 h 10000"/>
                  <a:gd name="connsiteX984" fmla="*/ 6714 w 10746"/>
                  <a:gd name="connsiteY984" fmla="*/ 3043 h 10000"/>
                  <a:gd name="connsiteX985" fmla="*/ 6710 w 10746"/>
                  <a:gd name="connsiteY985" fmla="*/ 3034 h 10000"/>
                  <a:gd name="connsiteX986" fmla="*/ 6705 w 10746"/>
                  <a:gd name="connsiteY986" fmla="*/ 2983 h 10000"/>
                  <a:gd name="connsiteX987" fmla="*/ 6696 w 10746"/>
                  <a:gd name="connsiteY987" fmla="*/ 2966 h 10000"/>
                  <a:gd name="connsiteX988" fmla="*/ 6691 w 10746"/>
                  <a:gd name="connsiteY988" fmla="*/ 2983 h 10000"/>
                  <a:gd name="connsiteX989" fmla="*/ 6677 w 10746"/>
                  <a:gd name="connsiteY989" fmla="*/ 2897 h 10000"/>
                  <a:gd name="connsiteX990" fmla="*/ 6677 w 10746"/>
                  <a:gd name="connsiteY990" fmla="*/ 2897 h 10000"/>
                  <a:gd name="connsiteX991" fmla="*/ 6677 w 10746"/>
                  <a:gd name="connsiteY991" fmla="*/ 2872 h 10000"/>
                  <a:gd name="connsiteX992" fmla="*/ 6668 w 10746"/>
                  <a:gd name="connsiteY992" fmla="*/ 2821 h 10000"/>
                  <a:gd name="connsiteX993" fmla="*/ 6664 w 10746"/>
                  <a:gd name="connsiteY993" fmla="*/ 2829 h 10000"/>
                  <a:gd name="connsiteX994" fmla="*/ 6654 w 10746"/>
                  <a:gd name="connsiteY994" fmla="*/ 2846 h 10000"/>
                  <a:gd name="connsiteX995" fmla="*/ 6650 w 10746"/>
                  <a:gd name="connsiteY995" fmla="*/ 2829 h 10000"/>
                  <a:gd name="connsiteX996" fmla="*/ 6650 w 10746"/>
                  <a:gd name="connsiteY996" fmla="*/ 2803 h 10000"/>
                  <a:gd name="connsiteX997" fmla="*/ 6650 w 10746"/>
                  <a:gd name="connsiteY997" fmla="*/ 2795 h 10000"/>
                  <a:gd name="connsiteX998" fmla="*/ 6641 w 10746"/>
                  <a:gd name="connsiteY998" fmla="*/ 2786 h 10000"/>
                  <a:gd name="connsiteX999" fmla="*/ 6636 w 10746"/>
                  <a:gd name="connsiteY999" fmla="*/ 2735 h 10000"/>
                  <a:gd name="connsiteX1000" fmla="*/ 6664 w 10746"/>
                  <a:gd name="connsiteY1000" fmla="*/ 2667 h 10000"/>
                  <a:gd name="connsiteX1001" fmla="*/ 6668 w 10746"/>
                  <a:gd name="connsiteY1001" fmla="*/ 2684 h 10000"/>
                  <a:gd name="connsiteX1002" fmla="*/ 6677 w 10746"/>
                  <a:gd name="connsiteY1002" fmla="*/ 2667 h 10000"/>
                  <a:gd name="connsiteX1003" fmla="*/ 6668 w 10746"/>
                  <a:gd name="connsiteY1003" fmla="*/ 2667 h 10000"/>
                  <a:gd name="connsiteX1004" fmla="*/ 6668 w 10746"/>
                  <a:gd name="connsiteY1004" fmla="*/ 2650 h 10000"/>
                  <a:gd name="connsiteX1005" fmla="*/ 6682 w 10746"/>
                  <a:gd name="connsiteY1005" fmla="*/ 2650 h 10000"/>
                  <a:gd name="connsiteX1006" fmla="*/ 6691 w 10746"/>
                  <a:gd name="connsiteY1006" fmla="*/ 2624 h 10000"/>
                  <a:gd name="connsiteX1007" fmla="*/ 6682 w 10746"/>
                  <a:gd name="connsiteY1007" fmla="*/ 2632 h 10000"/>
                  <a:gd name="connsiteX1008" fmla="*/ 6682 w 10746"/>
                  <a:gd name="connsiteY1008" fmla="*/ 2624 h 10000"/>
                  <a:gd name="connsiteX1009" fmla="*/ 6691 w 10746"/>
                  <a:gd name="connsiteY1009" fmla="*/ 2607 h 10000"/>
                  <a:gd name="connsiteX1010" fmla="*/ 6691 w 10746"/>
                  <a:gd name="connsiteY1010" fmla="*/ 2598 h 10000"/>
                  <a:gd name="connsiteX1011" fmla="*/ 6691 w 10746"/>
                  <a:gd name="connsiteY1011" fmla="*/ 2581 h 10000"/>
                  <a:gd name="connsiteX1012" fmla="*/ 6696 w 10746"/>
                  <a:gd name="connsiteY1012" fmla="*/ 2530 h 10000"/>
                  <a:gd name="connsiteX1013" fmla="*/ 6677 w 10746"/>
                  <a:gd name="connsiteY1013" fmla="*/ 2513 h 10000"/>
                  <a:gd name="connsiteX1014" fmla="*/ 6677 w 10746"/>
                  <a:gd name="connsiteY1014" fmla="*/ 2496 h 10000"/>
                  <a:gd name="connsiteX1015" fmla="*/ 6682 w 10746"/>
                  <a:gd name="connsiteY1015" fmla="*/ 2470 h 10000"/>
                  <a:gd name="connsiteX1016" fmla="*/ 6668 w 10746"/>
                  <a:gd name="connsiteY1016" fmla="*/ 2462 h 10000"/>
                  <a:gd name="connsiteX1017" fmla="*/ 6677 w 10746"/>
                  <a:gd name="connsiteY1017" fmla="*/ 2436 h 10000"/>
                  <a:gd name="connsiteX1018" fmla="*/ 6682 w 10746"/>
                  <a:gd name="connsiteY1018" fmla="*/ 2419 h 10000"/>
                  <a:gd name="connsiteX1019" fmla="*/ 6682 w 10746"/>
                  <a:gd name="connsiteY1019" fmla="*/ 2393 h 10000"/>
                  <a:gd name="connsiteX1020" fmla="*/ 6682 w 10746"/>
                  <a:gd name="connsiteY1020" fmla="*/ 2385 h 10000"/>
                  <a:gd name="connsiteX1021" fmla="*/ 6682 w 10746"/>
                  <a:gd name="connsiteY1021" fmla="*/ 2385 h 10000"/>
                  <a:gd name="connsiteX1022" fmla="*/ 6677 w 10746"/>
                  <a:gd name="connsiteY1022" fmla="*/ 2376 h 10000"/>
                  <a:gd name="connsiteX1023" fmla="*/ 6682 w 10746"/>
                  <a:gd name="connsiteY1023" fmla="*/ 2359 h 10000"/>
                  <a:gd name="connsiteX1024" fmla="*/ 6677 w 10746"/>
                  <a:gd name="connsiteY1024" fmla="*/ 2333 h 10000"/>
                  <a:gd name="connsiteX1025" fmla="*/ 6691 w 10746"/>
                  <a:gd name="connsiteY1025" fmla="*/ 2333 h 10000"/>
                  <a:gd name="connsiteX1026" fmla="*/ 6691 w 10746"/>
                  <a:gd name="connsiteY1026" fmla="*/ 2325 h 10000"/>
                  <a:gd name="connsiteX1027" fmla="*/ 6691 w 10746"/>
                  <a:gd name="connsiteY1027" fmla="*/ 2308 h 10000"/>
                  <a:gd name="connsiteX1028" fmla="*/ 6691 w 10746"/>
                  <a:gd name="connsiteY1028" fmla="*/ 2299 h 10000"/>
                  <a:gd name="connsiteX1029" fmla="*/ 6691 w 10746"/>
                  <a:gd name="connsiteY1029" fmla="*/ 2282 h 10000"/>
                  <a:gd name="connsiteX1030" fmla="*/ 6691 w 10746"/>
                  <a:gd name="connsiteY1030" fmla="*/ 2274 h 10000"/>
                  <a:gd name="connsiteX1031" fmla="*/ 6668 w 10746"/>
                  <a:gd name="connsiteY1031" fmla="*/ 2248 h 10000"/>
                  <a:gd name="connsiteX1032" fmla="*/ 6664 w 10746"/>
                  <a:gd name="connsiteY1032" fmla="*/ 2222 h 10000"/>
                  <a:gd name="connsiteX1033" fmla="*/ 6654 w 10746"/>
                  <a:gd name="connsiteY1033" fmla="*/ 2214 h 10000"/>
                  <a:gd name="connsiteX1034" fmla="*/ 6654 w 10746"/>
                  <a:gd name="connsiteY1034" fmla="*/ 2188 h 10000"/>
                  <a:gd name="connsiteX1035" fmla="*/ 6622 w 10746"/>
                  <a:gd name="connsiteY1035" fmla="*/ 2162 h 10000"/>
                  <a:gd name="connsiteX1036" fmla="*/ 6631 w 10746"/>
                  <a:gd name="connsiteY1036" fmla="*/ 2145 h 10000"/>
                  <a:gd name="connsiteX1037" fmla="*/ 6622 w 10746"/>
                  <a:gd name="connsiteY1037" fmla="*/ 2120 h 10000"/>
                  <a:gd name="connsiteX1038" fmla="*/ 6608 w 10746"/>
                  <a:gd name="connsiteY1038" fmla="*/ 2120 h 10000"/>
                  <a:gd name="connsiteX1039" fmla="*/ 6604 w 10746"/>
                  <a:gd name="connsiteY1039" fmla="*/ 2111 h 10000"/>
                  <a:gd name="connsiteX1040" fmla="*/ 6608 w 10746"/>
                  <a:gd name="connsiteY1040" fmla="*/ 2111 h 10000"/>
                  <a:gd name="connsiteX1041" fmla="*/ 6604 w 10746"/>
                  <a:gd name="connsiteY1041" fmla="*/ 2085 h 10000"/>
                  <a:gd name="connsiteX1042" fmla="*/ 6581 w 10746"/>
                  <a:gd name="connsiteY1042" fmla="*/ 2077 h 10000"/>
                  <a:gd name="connsiteX1043" fmla="*/ 6571 w 10746"/>
                  <a:gd name="connsiteY1043" fmla="*/ 2085 h 10000"/>
                  <a:gd name="connsiteX1044" fmla="*/ 6548 w 10746"/>
                  <a:gd name="connsiteY1044" fmla="*/ 2077 h 10000"/>
                  <a:gd name="connsiteX1045" fmla="*/ 6530 w 10746"/>
                  <a:gd name="connsiteY1045" fmla="*/ 2060 h 10000"/>
                  <a:gd name="connsiteX1046" fmla="*/ 6521 w 10746"/>
                  <a:gd name="connsiteY1046" fmla="*/ 2060 h 10000"/>
                  <a:gd name="connsiteX1047" fmla="*/ 6521 w 10746"/>
                  <a:gd name="connsiteY1047" fmla="*/ 2085 h 10000"/>
                  <a:gd name="connsiteX1048" fmla="*/ 6516 w 10746"/>
                  <a:gd name="connsiteY1048" fmla="*/ 2085 h 10000"/>
                  <a:gd name="connsiteX1049" fmla="*/ 6502 w 10746"/>
                  <a:gd name="connsiteY1049" fmla="*/ 2111 h 10000"/>
                  <a:gd name="connsiteX1050" fmla="*/ 6498 w 10746"/>
                  <a:gd name="connsiteY1050" fmla="*/ 2111 h 10000"/>
                  <a:gd name="connsiteX1051" fmla="*/ 6498 w 10746"/>
                  <a:gd name="connsiteY1051" fmla="*/ 2103 h 10000"/>
                  <a:gd name="connsiteX1052" fmla="*/ 6475 w 10746"/>
                  <a:gd name="connsiteY1052" fmla="*/ 2051 h 10000"/>
                  <a:gd name="connsiteX1053" fmla="*/ 6470 w 10746"/>
                  <a:gd name="connsiteY1053" fmla="*/ 2060 h 10000"/>
                  <a:gd name="connsiteX1054" fmla="*/ 6456 w 10746"/>
                  <a:gd name="connsiteY1054" fmla="*/ 2051 h 10000"/>
                  <a:gd name="connsiteX1055" fmla="*/ 6447 w 10746"/>
                  <a:gd name="connsiteY1055" fmla="*/ 2051 h 10000"/>
                  <a:gd name="connsiteX1056" fmla="*/ 6433 w 10746"/>
                  <a:gd name="connsiteY1056" fmla="*/ 2026 h 10000"/>
                  <a:gd name="connsiteX1057" fmla="*/ 6433 w 10746"/>
                  <a:gd name="connsiteY1057" fmla="*/ 2034 h 10000"/>
                  <a:gd name="connsiteX1058" fmla="*/ 6429 w 10746"/>
                  <a:gd name="connsiteY1058" fmla="*/ 2026 h 10000"/>
                  <a:gd name="connsiteX1059" fmla="*/ 6424 w 10746"/>
                  <a:gd name="connsiteY1059" fmla="*/ 2034 h 10000"/>
                  <a:gd name="connsiteX1060" fmla="*/ 6410 w 10746"/>
                  <a:gd name="connsiteY1060" fmla="*/ 2026 h 10000"/>
                  <a:gd name="connsiteX1061" fmla="*/ 6410 w 10746"/>
                  <a:gd name="connsiteY1061" fmla="*/ 1991 h 10000"/>
                  <a:gd name="connsiteX1062" fmla="*/ 6401 w 10746"/>
                  <a:gd name="connsiteY1062" fmla="*/ 1991 h 10000"/>
                  <a:gd name="connsiteX1063" fmla="*/ 6396 w 10746"/>
                  <a:gd name="connsiteY1063" fmla="*/ 2000 h 10000"/>
                  <a:gd name="connsiteX1064" fmla="*/ 6382 w 10746"/>
                  <a:gd name="connsiteY1064" fmla="*/ 1966 h 10000"/>
                  <a:gd name="connsiteX1065" fmla="*/ 6373 w 10746"/>
                  <a:gd name="connsiteY1065" fmla="*/ 1974 h 10000"/>
                  <a:gd name="connsiteX1066" fmla="*/ 6369 w 10746"/>
                  <a:gd name="connsiteY1066" fmla="*/ 1966 h 10000"/>
                  <a:gd name="connsiteX1067" fmla="*/ 6341 w 10746"/>
                  <a:gd name="connsiteY1067" fmla="*/ 1949 h 10000"/>
                  <a:gd name="connsiteX1068" fmla="*/ 6327 w 10746"/>
                  <a:gd name="connsiteY1068" fmla="*/ 1923 h 10000"/>
                  <a:gd name="connsiteX1069" fmla="*/ 6323 w 10746"/>
                  <a:gd name="connsiteY1069" fmla="*/ 1923 h 10000"/>
                  <a:gd name="connsiteX1070" fmla="*/ 6323 w 10746"/>
                  <a:gd name="connsiteY1070" fmla="*/ 1966 h 10000"/>
                  <a:gd name="connsiteX1071" fmla="*/ 6323 w 10746"/>
                  <a:gd name="connsiteY1071" fmla="*/ 1991 h 10000"/>
                  <a:gd name="connsiteX1072" fmla="*/ 6313 w 10746"/>
                  <a:gd name="connsiteY1072" fmla="*/ 1991 h 10000"/>
                  <a:gd name="connsiteX1073" fmla="*/ 6300 w 10746"/>
                  <a:gd name="connsiteY1073" fmla="*/ 1991 h 10000"/>
                  <a:gd name="connsiteX1074" fmla="*/ 6290 w 10746"/>
                  <a:gd name="connsiteY1074" fmla="*/ 1949 h 10000"/>
                  <a:gd name="connsiteX1075" fmla="*/ 6276 w 10746"/>
                  <a:gd name="connsiteY1075" fmla="*/ 2103 h 10000"/>
                  <a:gd name="connsiteX1076" fmla="*/ 6281 w 10746"/>
                  <a:gd name="connsiteY1076" fmla="*/ 2103 h 10000"/>
                  <a:gd name="connsiteX1077" fmla="*/ 6276 w 10746"/>
                  <a:gd name="connsiteY1077" fmla="*/ 2111 h 10000"/>
                  <a:gd name="connsiteX1078" fmla="*/ 6276 w 10746"/>
                  <a:gd name="connsiteY1078" fmla="*/ 2120 h 10000"/>
                  <a:gd name="connsiteX1079" fmla="*/ 6295 w 10746"/>
                  <a:gd name="connsiteY1079" fmla="*/ 2239 h 10000"/>
                  <a:gd name="connsiteX1080" fmla="*/ 6290 w 10746"/>
                  <a:gd name="connsiteY1080" fmla="*/ 2248 h 10000"/>
                  <a:gd name="connsiteX1081" fmla="*/ 6281 w 10746"/>
                  <a:gd name="connsiteY1081" fmla="*/ 2274 h 10000"/>
                  <a:gd name="connsiteX1082" fmla="*/ 6249 w 10746"/>
                  <a:gd name="connsiteY1082" fmla="*/ 2274 h 10000"/>
                  <a:gd name="connsiteX1083" fmla="*/ 6226 w 10746"/>
                  <a:gd name="connsiteY1083" fmla="*/ 2308 h 10000"/>
                  <a:gd name="connsiteX1084" fmla="*/ 6221 w 10746"/>
                  <a:gd name="connsiteY1084" fmla="*/ 2299 h 10000"/>
                  <a:gd name="connsiteX1085" fmla="*/ 6221 w 10746"/>
                  <a:gd name="connsiteY1085" fmla="*/ 2308 h 10000"/>
                  <a:gd name="connsiteX1086" fmla="*/ 6217 w 10746"/>
                  <a:gd name="connsiteY1086" fmla="*/ 2299 h 10000"/>
                  <a:gd name="connsiteX1087" fmla="*/ 6194 w 10746"/>
                  <a:gd name="connsiteY1087" fmla="*/ 2308 h 10000"/>
                  <a:gd name="connsiteX1088" fmla="*/ 6180 w 10746"/>
                  <a:gd name="connsiteY1088" fmla="*/ 2299 h 10000"/>
                  <a:gd name="connsiteX1089" fmla="*/ 6143 w 10746"/>
                  <a:gd name="connsiteY1089" fmla="*/ 2308 h 10000"/>
                  <a:gd name="connsiteX1090" fmla="*/ 6134 w 10746"/>
                  <a:gd name="connsiteY1090" fmla="*/ 2325 h 10000"/>
                  <a:gd name="connsiteX1091" fmla="*/ 6115 w 10746"/>
                  <a:gd name="connsiteY1091" fmla="*/ 2282 h 10000"/>
                  <a:gd name="connsiteX1092" fmla="*/ 6069 w 10746"/>
                  <a:gd name="connsiteY1092" fmla="*/ 2274 h 10000"/>
                  <a:gd name="connsiteX1093" fmla="*/ 6069 w 10746"/>
                  <a:gd name="connsiteY1093" fmla="*/ 2282 h 10000"/>
                  <a:gd name="connsiteX1094" fmla="*/ 6060 w 10746"/>
                  <a:gd name="connsiteY1094" fmla="*/ 2299 h 10000"/>
                  <a:gd name="connsiteX1095" fmla="*/ 5972 w 10746"/>
                  <a:gd name="connsiteY1095" fmla="*/ 2214 h 10000"/>
                  <a:gd name="connsiteX1096" fmla="*/ 5968 w 10746"/>
                  <a:gd name="connsiteY1096" fmla="*/ 2197 h 10000"/>
                  <a:gd name="connsiteX1097" fmla="*/ 5968 w 10746"/>
                  <a:gd name="connsiteY1097" fmla="*/ 2171 h 10000"/>
                  <a:gd name="connsiteX1098" fmla="*/ 5968 w 10746"/>
                  <a:gd name="connsiteY1098" fmla="*/ 2162 h 10000"/>
                  <a:gd name="connsiteX1099" fmla="*/ 5968 w 10746"/>
                  <a:gd name="connsiteY1099" fmla="*/ 2120 h 10000"/>
                  <a:gd name="connsiteX1100" fmla="*/ 5968 w 10746"/>
                  <a:gd name="connsiteY1100" fmla="*/ 2111 h 10000"/>
                  <a:gd name="connsiteX1101" fmla="*/ 5972 w 10746"/>
                  <a:gd name="connsiteY1101" fmla="*/ 2103 h 10000"/>
                  <a:gd name="connsiteX1102" fmla="*/ 5986 w 10746"/>
                  <a:gd name="connsiteY1102" fmla="*/ 2103 h 10000"/>
                  <a:gd name="connsiteX1103" fmla="*/ 5986 w 10746"/>
                  <a:gd name="connsiteY1103" fmla="*/ 2085 h 10000"/>
                  <a:gd name="connsiteX1104" fmla="*/ 5995 w 10746"/>
                  <a:gd name="connsiteY1104" fmla="*/ 2085 h 10000"/>
                  <a:gd name="connsiteX1105" fmla="*/ 5995 w 10746"/>
                  <a:gd name="connsiteY1105" fmla="*/ 2077 h 10000"/>
                  <a:gd name="connsiteX1106" fmla="*/ 5986 w 10746"/>
                  <a:gd name="connsiteY1106" fmla="*/ 2060 h 10000"/>
                  <a:gd name="connsiteX1107" fmla="*/ 5954 w 10746"/>
                  <a:gd name="connsiteY1107" fmla="*/ 2060 h 10000"/>
                  <a:gd name="connsiteX1108" fmla="*/ 5940 w 10746"/>
                  <a:gd name="connsiteY1108" fmla="*/ 2051 h 10000"/>
                  <a:gd name="connsiteX1109" fmla="*/ 5922 w 10746"/>
                  <a:gd name="connsiteY1109" fmla="*/ 2060 h 10000"/>
                  <a:gd name="connsiteX1110" fmla="*/ 5885 w 10746"/>
                  <a:gd name="connsiteY1110" fmla="*/ 2051 h 10000"/>
                  <a:gd name="connsiteX1111" fmla="*/ 5876 w 10746"/>
                  <a:gd name="connsiteY1111" fmla="*/ 2026 h 10000"/>
                  <a:gd name="connsiteX1112" fmla="*/ 5862 w 10746"/>
                  <a:gd name="connsiteY1112" fmla="*/ 2026 h 10000"/>
                  <a:gd name="connsiteX1113" fmla="*/ 5848 w 10746"/>
                  <a:gd name="connsiteY1113" fmla="*/ 2026 h 10000"/>
                  <a:gd name="connsiteX1114" fmla="*/ 5825 w 10746"/>
                  <a:gd name="connsiteY1114" fmla="*/ 2026 h 10000"/>
                  <a:gd name="connsiteX1115" fmla="*/ 5788 w 10746"/>
                  <a:gd name="connsiteY1115" fmla="*/ 1991 h 10000"/>
                  <a:gd name="connsiteX1116" fmla="*/ 5760 w 10746"/>
                  <a:gd name="connsiteY1116" fmla="*/ 2000 h 10000"/>
                  <a:gd name="connsiteX1117" fmla="*/ 5760 w 10746"/>
                  <a:gd name="connsiteY1117" fmla="*/ 2026 h 10000"/>
                  <a:gd name="connsiteX1118" fmla="*/ 5714 w 10746"/>
                  <a:gd name="connsiteY1118" fmla="*/ 2051 h 10000"/>
                  <a:gd name="connsiteX1119" fmla="*/ 5687 w 10746"/>
                  <a:gd name="connsiteY1119" fmla="*/ 2034 h 10000"/>
                  <a:gd name="connsiteX1120" fmla="*/ 5645 w 10746"/>
                  <a:gd name="connsiteY1120" fmla="*/ 2077 h 10000"/>
                  <a:gd name="connsiteX1121" fmla="*/ 5664 w 10746"/>
                  <a:gd name="connsiteY1121" fmla="*/ 2120 h 10000"/>
                  <a:gd name="connsiteX1122" fmla="*/ 5664 w 10746"/>
                  <a:gd name="connsiteY1122" fmla="*/ 2162 h 10000"/>
                  <a:gd name="connsiteX1123" fmla="*/ 5631 w 10746"/>
                  <a:gd name="connsiteY1123" fmla="*/ 2197 h 10000"/>
                  <a:gd name="connsiteX1124" fmla="*/ 5618 w 10746"/>
                  <a:gd name="connsiteY1124" fmla="*/ 2188 h 10000"/>
                  <a:gd name="connsiteX1125" fmla="*/ 5618 w 10746"/>
                  <a:gd name="connsiteY1125" fmla="*/ 2171 h 10000"/>
                  <a:gd name="connsiteX1126" fmla="*/ 5641 w 10746"/>
                  <a:gd name="connsiteY1126" fmla="*/ 2171 h 10000"/>
                  <a:gd name="connsiteX1127" fmla="*/ 5641 w 10746"/>
                  <a:gd name="connsiteY1127" fmla="*/ 2162 h 10000"/>
                  <a:gd name="connsiteX1128" fmla="*/ 5627 w 10746"/>
                  <a:gd name="connsiteY1128" fmla="*/ 2145 h 10000"/>
                  <a:gd name="connsiteX1129" fmla="*/ 5627 w 10746"/>
                  <a:gd name="connsiteY1129" fmla="*/ 2120 h 10000"/>
                  <a:gd name="connsiteX1130" fmla="*/ 5618 w 10746"/>
                  <a:gd name="connsiteY1130" fmla="*/ 2111 h 10000"/>
                  <a:gd name="connsiteX1131" fmla="*/ 5631 w 10746"/>
                  <a:gd name="connsiteY1131" fmla="*/ 2051 h 10000"/>
                  <a:gd name="connsiteX1132" fmla="*/ 5631 w 10746"/>
                  <a:gd name="connsiteY1132" fmla="*/ 2026 h 10000"/>
                  <a:gd name="connsiteX1133" fmla="*/ 5627 w 10746"/>
                  <a:gd name="connsiteY1133" fmla="*/ 1991 h 10000"/>
                  <a:gd name="connsiteX1134" fmla="*/ 5618 w 10746"/>
                  <a:gd name="connsiteY1134" fmla="*/ 1974 h 10000"/>
                  <a:gd name="connsiteX1135" fmla="*/ 5618 w 10746"/>
                  <a:gd name="connsiteY1135" fmla="*/ 1940 h 10000"/>
                  <a:gd name="connsiteX1136" fmla="*/ 5594 w 10746"/>
                  <a:gd name="connsiteY1136" fmla="*/ 1855 h 10000"/>
                  <a:gd name="connsiteX1137" fmla="*/ 5599 w 10746"/>
                  <a:gd name="connsiteY1137" fmla="*/ 1915 h 10000"/>
                  <a:gd name="connsiteX1138" fmla="*/ 5599 w 10746"/>
                  <a:gd name="connsiteY1138" fmla="*/ 1949 h 10000"/>
                  <a:gd name="connsiteX1139" fmla="*/ 5594 w 10746"/>
                  <a:gd name="connsiteY1139" fmla="*/ 1991 h 10000"/>
                  <a:gd name="connsiteX1140" fmla="*/ 5571 w 10746"/>
                  <a:gd name="connsiteY1140" fmla="*/ 2000 h 10000"/>
                  <a:gd name="connsiteX1141" fmla="*/ 5530 w 10746"/>
                  <a:gd name="connsiteY1141" fmla="*/ 1991 h 10000"/>
                  <a:gd name="connsiteX1142" fmla="*/ 5525 w 10746"/>
                  <a:gd name="connsiteY1142" fmla="*/ 2000 h 10000"/>
                  <a:gd name="connsiteX1143" fmla="*/ 5521 w 10746"/>
                  <a:gd name="connsiteY1143" fmla="*/ 1991 h 10000"/>
                  <a:gd name="connsiteX1144" fmla="*/ 5498 w 10746"/>
                  <a:gd name="connsiteY1144" fmla="*/ 1949 h 10000"/>
                  <a:gd name="connsiteX1145" fmla="*/ 5493 w 10746"/>
                  <a:gd name="connsiteY1145" fmla="*/ 1889 h 10000"/>
                  <a:gd name="connsiteX1146" fmla="*/ 5493 w 10746"/>
                  <a:gd name="connsiteY1146" fmla="*/ 1863 h 10000"/>
                  <a:gd name="connsiteX1147" fmla="*/ 5498 w 10746"/>
                  <a:gd name="connsiteY1147" fmla="*/ 1889 h 10000"/>
                  <a:gd name="connsiteX1148" fmla="*/ 5512 w 10746"/>
                  <a:gd name="connsiteY1148" fmla="*/ 1855 h 10000"/>
                  <a:gd name="connsiteX1149" fmla="*/ 5512 w 10746"/>
                  <a:gd name="connsiteY1149" fmla="*/ 1838 h 10000"/>
                  <a:gd name="connsiteX1150" fmla="*/ 5479 w 10746"/>
                  <a:gd name="connsiteY1150" fmla="*/ 1855 h 10000"/>
                  <a:gd name="connsiteX1151" fmla="*/ 5470 w 10746"/>
                  <a:gd name="connsiteY1151" fmla="*/ 1872 h 10000"/>
                  <a:gd name="connsiteX1152" fmla="*/ 5470 w 10746"/>
                  <a:gd name="connsiteY1152" fmla="*/ 1889 h 10000"/>
                  <a:gd name="connsiteX1153" fmla="*/ 5465 w 10746"/>
                  <a:gd name="connsiteY1153" fmla="*/ 1897 h 10000"/>
                  <a:gd name="connsiteX1154" fmla="*/ 5456 w 10746"/>
                  <a:gd name="connsiteY1154" fmla="*/ 1872 h 10000"/>
                  <a:gd name="connsiteX1155" fmla="*/ 5447 w 10746"/>
                  <a:gd name="connsiteY1155" fmla="*/ 1872 h 10000"/>
                  <a:gd name="connsiteX1156" fmla="*/ 5433 w 10746"/>
                  <a:gd name="connsiteY1156" fmla="*/ 1855 h 10000"/>
                  <a:gd name="connsiteX1157" fmla="*/ 5396 w 10746"/>
                  <a:gd name="connsiteY1157" fmla="*/ 1863 h 10000"/>
                  <a:gd name="connsiteX1158" fmla="*/ 5396 w 10746"/>
                  <a:gd name="connsiteY1158" fmla="*/ 1897 h 10000"/>
                  <a:gd name="connsiteX1159" fmla="*/ 5378 w 10746"/>
                  <a:gd name="connsiteY1159" fmla="*/ 1949 h 10000"/>
                  <a:gd name="connsiteX1160" fmla="*/ 5378 w 10746"/>
                  <a:gd name="connsiteY1160" fmla="*/ 1966 h 10000"/>
                  <a:gd name="connsiteX1161" fmla="*/ 5392 w 10746"/>
                  <a:gd name="connsiteY1161" fmla="*/ 2026 h 10000"/>
                  <a:gd name="connsiteX1162" fmla="*/ 5396 w 10746"/>
                  <a:gd name="connsiteY1162" fmla="*/ 2026 h 10000"/>
                  <a:gd name="connsiteX1163" fmla="*/ 5392 w 10746"/>
                  <a:gd name="connsiteY1163" fmla="*/ 2009 h 10000"/>
                  <a:gd name="connsiteX1164" fmla="*/ 5392 w 10746"/>
                  <a:gd name="connsiteY1164" fmla="*/ 2000 h 10000"/>
                  <a:gd name="connsiteX1165" fmla="*/ 5396 w 10746"/>
                  <a:gd name="connsiteY1165" fmla="*/ 2009 h 10000"/>
                  <a:gd name="connsiteX1166" fmla="*/ 5424 w 10746"/>
                  <a:gd name="connsiteY1166" fmla="*/ 2009 h 10000"/>
                  <a:gd name="connsiteX1167" fmla="*/ 5433 w 10746"/>
                  <a:gd name="connsiteY1167" fmla="*/ 1991 h 10000"/>
                  <a:gd name="connsiteX1168" fmla="*/ 5447 w 10746"/>
                  <a:gd name="connsiteY1168" fmla="*/ 1974 h 10000"/>
                  <a:gd name="connsiteX1169" fmla="*/ 5452 w 10746"/>
                  <a:gd name="connsiteY1169" fmla="*/ 1966 h 10000"/>
                  <a:gd name="connsiteX1170" fmla="*/ 5456 w 10746"/>
                  <a:gd name="connsiteY1170" fmla="*/ 1966 h 10000"/>
                  <a:gd name="connsiteX1171" fmla="*/ 5465 w 10746"/>
                  <a:gd name="connsiteY1171" fmla="*/ 2009 h 10000"/>
                  <a:gd name="connsiteX1172" fmla="*/ 5433 w 10746"/>
                  <a:gd name="connsiteY1172" fmla="*/ 2034 h 10000"/>
                  <a:gd name="connsiteX1173" fmla="*/ 5424 w 10746"/>
                  <a:gd name="connsiteY1173" fmla="*/ 2060 h 10000"/>
                  <a:gd name="connsiteX1174" fmla="*/ 5419 w 10746"/>
                  <a:gd name="connsiteY1174" fmla="*/ 2060 h 10000"/>
                  <a:gd name="connsiteX1175" fmla="*/ 5392 w 10746"/>
                  <a:gd name="connsiteY1175" fmla="*/ 2111 h 10000"/>
                  <a:gd name="connsiteX1176" fmla="*/ 5378 w 10746"/>
                  <a:gd name="connsiteY1176" fmla="*/ 2111 h 10000"/>
                  <a:gd name="connsiteX1177" fmla="*/ 5350 w 10746"/>
                  <a:gd name="connsiteY1177" fmla="*/ 2060 h 10000"/>
                  <a:gd name="connsiteX1178" fmla="*/ 5373 w 10746"/>
                  <a:gd name="connsiteY1178" fmla="*/ 2111 h 10000"/>
                  <a:gd name="connsiteX1179" fmla="*/ 5364 w 10746"/>
                  <a:gd name="connsiteY1179" fmla="*/ 2111 h 10000"/>
                  <a:gd name="connsiteX1180" fmla="*/ 5359 w 10746"/>
                  <a:gd name="connsiteY1180" fmla="*/ 2103 h 10000"/>
                  <a:gd name="connsiteX1181" fmla="*/ 5359 w 10746"/>
                  <a:gd name="connsiteY1181" fmla="*/ 2120 h 10000"/>
                  <a:gd name="connsiteX1182" fmla="*/ 5359 w 10746"/>
                  <a:gd name="connsiteY1182" fmla="*/ 2137 h 10000"/>
                  <a:gd name="connsiteX1183" fmla="*/ 5313 w 10746"/>
                  <a:gd name="connsiteY1183" fmla="*/ 2162 h 10000"/>
                  <a:gd name="connsiteX1184" fmla="*/ 5300 w 10746"/>
                  <a:gd name="connsiteY1184" fmla="*/ 2162 h 10000"/>
                  <a:gd name="connsiteX1185" fmla="*/ 5300 w 10746"/>
                  <a:gd name="connsiteY1185" fmla="*/ 2171 h 10000"/>
                  <a:gd name="connsiteX1186" fmla="*/ 5300 w 10746"/>
                  <a:gd name="connsiteY1186" fmla="*/ 2197 h 10000"/>
                  <a:gd name="connsiteX1187" fmla="*/ 5276 w 10746"/>
                  <a:gd name="connsiteY1187" fmla="*/ 2188 h 10000"/>
                  <a:gd name="connsiteX1188" fmla="*/ 5249 w 10746"/>
                  <a:gd name="connsiteY1188" fmla="*/ 2222 h 10000"/>
                  <a:gd name="connsiteX1189" fmla="*/ 5249 w 10746"/>
                  <a:gd name="connsiteY1189" fmla="*/ 2222 h 10000"/>
                  <a:gd name="connsiteX1190" fmla="*/ 5217 w 10746"/>
                  <a:gd name="connsiteY1190" fmla="*/ 2214 h 10000"/>
                  <a:gd name="connsiteX1191" fmla="*/ 5203 w 10746"/>
                  <a:gd name="connsiteY1191" fmla="*/ 2239 h 10000"/>
                  <a:gd name="connsiteX1192" fmla="*/ 5171 w 10746"/>
                  <a:gd name="connsiteY1192" fmla="*/ 2214 h 10000"/>
                  <a:gd name="connsiteX1193" fmla="*/ 5157 w 10746"/>
                  <a:gd name="connsiteY1193" fmla="*/ 2239 h 10000"/>
                  <a:gd name="connsiteX1194" fmla="*/ 5166 w 10746"/>
                  <a:gd name="connsiteY1194" fmla="*/ 2256 h 10000"/>
                  <a:gd name="connsiteX1195" fmla="*/ 5171 w 10746"/>
                  <a:gd name="connsiteY1195" fmla="*/ 2308 h 10000"/>
                  <a:gd name="connsiteX1196" fmla="*/ 5212 w 10746"/>
                  <a:gd name="connsiteY1196" fmla="*/ 2350 h 10000"/>
                  <a:gd name="connsiteX1197" fmla="*/ 5203 w 10746"/>
                  <a:gd name="connsiteY1197" fmla="*/ 2350 h 10000"/>
                  <a:gd name="connsiteX1198" fmla="*/ 5166 w 10746"/>
                  <a:gd name="connsiteY1198" fmla="*/ 2325 h 10000"/>
                  <a:gd name="connsiteX1199" fmla="*/ 5152 w 10746"/>
                  <a:gd name="connsiteY1199" fmla="*/ 2308 h 10000"/>
                  <a:gd name="connsiteX1200" fmla="*/ 5143 w 10746"/>
                  <a:gd name="connsiteY1200" fmla="*/ 2333 h 10000"/>
                  <a:gd name="connsiteX1201" fmla="*/ 5138 w 10746"/>
                  <a:gd name="connsiteY1201" fmla="*/ 2333 h 10000"/>
                  <a:gd name="connsiteX1202" fmla="*/ 5124 w 10746"/>
                  <a:gd name="connsiteY1202" fmla="*/ 2376 h 10000"/>
                  <a:gd name="connsiteX1203" fmla="*/ 5115 w 10746"/>
                  <a:gd name="connsiteY1203" fmla="*/ 2385 h 10000"/>
                  <a:gd name="connsiteX1204" fmla="*/ 5106 w 10746"/>
                  <a:gd name="connsiteY1204" fmla="*/ 2385 h 10000"/>
                  <a:gd name="connsiteX1205" fmla="*/ 5055 w 10746"/>
                  <a:gd name="connsiteY1205" fmla="*/ 2470 h 10000"/>
                  <a:gd name="connsiteX1206" fmla="*/ 5065 w 10746"/>
                  <a:gd name="connsiteY1206" fmla="*/ 2462 h 10000"/>
                  <a:gd name="connsiteX1207" fmla="*/ 5055 w 10746"/>
                  <a:gd name="connsiteY1207" fmla="*/ 2444 h 10000"/>
                  <a:gd name="connsiteX1208" fmla="*/ 5041 w 10746"/>
                  <a:gd name="connsiteY1208" fmla="*/ 2462 h 10000"/>
                  <a:gd name="connsiteX1209" fmla="*/ 5037 w 10746"/>
                  <a:gd name="connsiteY1209" fmla="*/ 2470 h 10000"/>
                  <a:gd name="connsiteX1210" fmla="*/ 5032 w 10746"/>
                  <a:gd name="connsiteY1210" fmla="*/ 2470 h 10000"/>
                  <a:gd name="connsiteX1211" fmla="*/ 5032 w 10746"/>
                  <a:gd name="connsiteY1211" fmla="*/ 2444 h 10000"/>
                  <a:gd name="connsiteX1212" fmla="*/ 5055 w 10746"/>
                  <a:gd name="connsiteY1212" fmla="*/ 2410 h 10000"/>
                  <a:gd name="connsiteX1213" fmla="*/ 5065 w 10746"/>
                  <a:gd name="connsiteY1213" fmla="*/ 2393 h 10000"/>
                  <a:gd name="connsiteX1214" fmla="*/ 5069 w 10746"/>
                  <a:gd name="connsiteY1214" fmla="*/ 2385 h 10000"/>
                  <a:gd name="connsiteX1215" fmla="*/ 5083 w 10746"/>
                  <a:gd name="connsiteY1215" fmla="*/ 2376 h 10000"/>
                  <a:gd name="connsiteX1216" fmla="*/ 5097 w 10746"/>
                  <a:gd name="connsiteY1216" fmla="*/ 2376 h 10000"/>
                  <a:gd name="connsiteX1217" fmla="*/ 5124 w 10746"/>
                  <a:gd name="connsiteY1217" fmla="*/ 2325 h 10000"/>
                  <a:gd name="connsiteX1218" fmla="*/ 5143 w 10746"/>
                  <a:gd name="connsiteY1218" fmla="*/ 2248 h 10000"/>
                  <a:gd name="connsiteX1219" fmla="*/ 5152 w 10746"/>
                  <a:gd name="connsiteY1219" fmla="*/ 2239 h 10000"/>
                  <a:gd name="connsiteX1220" fmla="*/ 5166 w 10746"/>
                  <a:gd name="connsiteY1220" fmla="*/ 2162 h 10000"/>
                  <a:gd name="connsiteX1221" fmla="*/ 5171 w 10746"/>
                  <a:gd name="connsiteY1221" fmla="*/ 2171 h 10000"/>
                  <a:gd name="connsiteX1222" fmla="*/ 5198 w 10746"/>
                  <a:gd name="connsiteY1222" fmla="*/ 2145 h 10000"/>
                  <a:gd name="connsiteX1223" fmla="*/ 5203 w 10746"/>
                  <a:gd name="connsiteY1223" fmla="*/ 2111 h 10000"/>
                  <a:gd name="connsiteX1224" fmla="*/ 5217 w 10746"/>
                  <a:gd name="connsiteY1224" fmla="*/ 2060 h 10000"/>
                  <a:gd name="connsiteX1225" fmla="*/ 5226 w 10746"/>
                  <a:gd name="connsiteY1225" fmla="*/ 2026 h 10000"/>
                  <a:gd name="connsiteX1226" fmla="*/ 5286 w 10746"/>
                  <a:gd name="connsiteY1226" fmla="*/ 2026 h 10000"/>
                  <a:gd name="connsiteX1227" fmla="*/ 5290 w 10746"/>
                  <a:gd name="connsiteY1227" fmla="*/ 2034 h 10000"/>
                  <a:gd name="connsiteX1228" fmla="*/ 5323 w 10746"/>
                  <a:gd name="connsiteY1228" fmla="*/ 1923 h 10000"/>
                  <a:gd name="connsiteX1229" fmla="*/ 5323 w 10746"/>
                  <a:gd name="connsiteY1229" fmla="*/ 1889 h 10000"/>
                  <a:gd name="connsiteX1230" fmla="*/ 5359 w 10746"/>
                  <a:gd name="connsiteY1230" fmla="*/ 1829 h 10000"/>
                  <a:gd name="connsiteX1231" fmla="*/ 5378 w 10746"/>
                  <a:gd name="connsiteY1231" fmla="*/ 1812 h 10000"/>
                  <a:gd name="connsiteX1232" fmla="*/ 5406 w 10746"/>
                  <a:gd name="connsiteY1232" fmla="*/ 1752 h 10000"/>
                  <a:gd name="connsiteX1233" fmla="*/ 5410 w 10746"/>
                  <a:gd name="connsiteY1233" fmla="*/ 1718 h 10000"/>
                  <a:gd name="connsiteX1234" fmla="*/ 5438 w 10746"/>
                  <a:gd name="connsiteY1234" fmla="*/ 1667 h 10000"/>
                  <a:gd name="connsiteX1235" fmla="*/ 5438 w 10746"/>
                  <a:gd name="connsiteY1235" fmla="*/ 1650 h 10000"/>
                  <a:gd name="connsiteX1236" fmla="*/ 5438 w 10746"/>
                  <a:gd name="connsiteY1236" fmla="*/ 1641 h 10000"/>
                  <a:gd name="connsiteX1237" fmla="*/ 5452 w 10746"/>
                  <a:gd name="connsiteY1237" fmla="*/ 1641 h 10000"/>
                  <a:gd name="connsiteX1238" fmla="*/ 5456 w 10746"/>
                  <a:gd name="connsiteY1238" fmla="*/ 1615 h 10000"/>
                  <a:gd name="connsiteX1239" fmla="*/ 5456 w 10746"/>
                  <a:gd name="connsiteY1239" fmla="*/ 1615 h 10000"/>
                  <a:gd name="connsiteX1240" fmla="*/ 5465 w 10746"/>
                  <a:gd name="connsiteY1240" fmla="*/ 1598 h 10000"/>
                  <a:gd name="connsiteX1241" fmla="*/ 5465 w 10746"/>
                  <a:gd name="connsiteY1241" fmla="*/ 1615 h 10000"/>
                  <a:gd name="connsiteX1242" fmla="*/ 5479 w 10746"/>
                  <a:gd name="connsiteY1242" fmla="*/ 1598 h 10000"/>
                  <a:gd name="connsiteX1243" fmla="*/ 5484 w 10746"/>
                  <a:gd name="connsiteY1243" fmla="*/ 1581 h 10000"/>
                  <a:gd name="connsiteX1244" fmla="*/ 5493 w 10746"/>
                  <a:gd name="connsiteY1244" fmla="*/ 1581 h 10000"/>
                  <a:gd name="connsiteX1245" fmla="*/ 5512 w 10746"/>
                  <a:gd name="connsiteY1245" fmla="*/ 1538 h 10000"/>
                  <a:gd name="connsiteX1246" fmla="*/ 5530 w 10746"/>
                  <a:gd name="connsiteY1246" fmla="*/ 1564 h 10000"/>
                  <a:gd name="connsiteX1247" fmla="*/ 5530 w 10746"/>
                  <a:gd name="connsiteY1247" fmla="*/ 1538 h 10000"/>
                  <a:gd name="connsiteX1248" fmla="*/ 5539 w 10746"/>
                  <a:gd name="connsiteY1248" fmla="*/ 1530 h 10000"/>
                  <a:gd name="connsiteX1249" fmla="*/ 5530 w 10746"/>
                  <a:gd name="connsiteY1249" fmla="*/ 1504 h 10000"/>
                  <a:gd name="connsiteX1250" fmla="*/ 5567 w 10746"/>
                  <a:gd name="connsiteY1250" fmla="*/ 1479 h 10000"/>
                  <a:gd name="connsiteX1251" fmla="*/ 5553 w 10746"/>
                  <a:gd name="connsiteY1251" fmla="*/ 1479 h 10000"/>
                  <a:gd name="connsiteX1252" fmla="*/ 5553 w 10746"/>
                  <a:gd name="connsiteY1252" fmla="*/ 1453 h 10000"/>
                  <a:gd name="connsiteX1253" fmla="*/ 5581 w 10746"/>
                  <a:gd name="connsiteY1253" fmla="*/ 1444 h 10000"/>
                  <a:gd name="connsiteX1254" fmla="*/ 5581 w 10746"/>
                  <a:gd name="connsiteY1254" fmla="*/ 1453 h 10000"/>
                  <a:gd name="connsiteX1255" fmla="*/ 5585 w 10746"/>
                  <a:gd name="connsiteY1255" fmla="*/ 1444 h 10000"/>
                  <a:gd name="connsiteX1256" fmla="*/ 5594 w 10746"/>
                  <a:gd name="connsiteY1256" fmla="*/ 1427 h 10000"/>
                  <a:gd name="connsiteX1257" fmla="*/ 5599 w 10746"/>
                  <a:gd name="connsiteY1257" fmla="*/ 1419 h 10000"/>
                  <a:gd name="connsiteX1258" fmla="*/ 5594 w 10746"/>
                  <a:gd name="connsiteY1258" fmla="*/ 1402 h 10000"/>
                  <a:gd name="connsiteX1259" fmla="*/ 5604 w 10746"/>
                  <a:gd name="connsiteY1259" fmla="*/ 1393 h 10000"/>
                  <a:gd name="connsiteX1260" fmla="*/ 5618 w 10746"/>
                  <a:gd name="connsiteY1260" fmla="*/ 1393 h 10000"/>
                  <a:gd name="connsiteX1261" fmla="*/ 5627 w 10746"/>
                  <a:gd name="connsiteY1261" fmla="*/ 1368 h 10000"/>
                  <a:gd name="connsiteX1262" fmla="*/ 5627 w 10746"/>
                  <a:gd name="connsiteY1262" fmla="*/ 1325 h 10000"/>
                  <a:gd name="connsiteX1263" fmla="*/ 5645 w 10746"/>
                  <a:gd name="connsiteY1263" fmla="*/ 1291 h 10000"/>
                  <a:gd name="connsiteX1264" fmla="*/ 5645 w 10746"/>
                  <a:gd name="connsiteY1264" fmla="*/ 1282 h 10000"/>
                  <a:gd name="connsiteX1265" fmla="*/ 5654 w 10746"/>
                  <a:gd name="connsiteY1265" fmla="*/ 1265 h 10000"/>
                  <a:gd name="connsiteX1266" fmla="*/ 5654 w 10746"/>
                  <a:gd name="connsiteY1266" fmla="*/ 1214 h 10000"/>
                  <a:gd name="connsiteX1267" fmla="*/ 5654 w 10746"/>
                  <a:gd name="connsiteY1267" fmla="*/ 1214 h 10000"/>
                  <a:gd name="connsiteX1268" fmla="*/ 5645 w 10746"/>
                  <a:gd name="connsiteY1268" fmla="*/ 1197 h 10000"/>
                  <a:gd name="connsiteX1269" fmla="*/ 5659 w 10746"/>
                  <a:gd name="connsiteY1269" fmla="*/ 1197 h 10000"/>
                  <a:gd name="connsiteX1270" fmla="*/ 5654 w 10746"/>
                  <a:gd name="connsiteY1270" fmla="*/ 1154 h 10000"/>
                  <a:gd name="connsiteX1271" fmla="*/ 5641 w 10746"/>
                  <a:gd name="connsiteY1271" fmla="*/ 1154 h 10000"/>
                  <a:gd name="connsiteX1272" fmla="*/ 5627 w 10746"/>
                  <a:gd name="connsiteY1272" fmla="*/ 1128 h 10000"/>
                  <a:gd name="connsiteX1273" fmla="*/ 5618 w 10746"/>
                  <a:gd name="connsiteY1273" fmla="*/ 1094 h 10000"/>
                  <a:gd name="connsiteX1274" fmla="*/ 5613 w 10746"/>
                  <a:gd name="connsiteY1274" fmla="*/ 1094 h 10000"/>
                  <a:gd name="connsiteX1275" fmla="*/ 5604 w 10746"/>
                  <a:gd name="connsiteY1275" fmla="*/ 1120 h 10000"/>
                  <a:gd name="connsiteX1276" fmla="*/ 5604 w 10746"/>
                  <a:gd name="connsiteY1276" fmla="*/ 1128 h 10000"/>
                  <a:gd name="connsiteX1277" fmla="*/ 5599 w 10746"/>
                  <a:gd name="connsiteY1277" fmla="*/ 1103 h 10000"/>
                  <a:gd name="connsiteX1278" fmla="*/ 5599 w 10746"/>
                  <a:gd name="connsiteY1278" fmla="*/ 1103 h 10000"/>
                  <a:gd name="connsiteX1279" fmla="*/ 5594 w 10746"/>
                  <a:gd name="connsiteY1279" fmla="*/ 1068 h 10000"/>
                  <a:gd name="connsiteX1280" fmla="*/ 5594 w 10746"/>
                  <a:gd name="connsiteY1280" fmla="*/ 1060 h 10000"/>
                  <a:gd name="connsiteX1281" fmla="*/ 5581 w 10746"/>
                  <a:gd name="connsiteY1281" fmla="*/ 1034 h 10000"/>
                  <a:gd name="connsiteX1282" fmla="*/ 5571 w 10746"/>
                  <a:gd name="connsiteY1282" fmla="*/ 1009 h 10000"/>
                  <a:gd name="connsiteX1283" fmla="*/ 5571 w 10746"/>
                  <a:gd name="connsiteY1283" fmla="*/ 991 h 10000"/>
                  <a:gd name="connsiteX1284" fmla="*/ 5585 w 10746"/>
                  <a:gd name="connsiteY1284" fmla="*/ 1009 h 10000"/>
                  <a:gd name="connsiteX1285" fmla="*/ 5604 w 10746"/>
                  <a:gd name="connsiteY1285" fmla="*/ 1043 h 10000"/>
                  <a:gd name="connsiteX1286" fmla="*/ 5641 w 10746"/>
                  <a:gd name="connsiteY1286" fmla="*/ 1094 h 10000"/>
                  <a:gd name="connsiteX1287" fmla="*/ 5631 w 10746"/>
                  <a:gd name="connsiteY1287" fmla="*/ 1128 h 10000"/>
                  <a:gd name="connsiteX1288" fmla="*/ 5641 w 10746"/>
                  <a:gd name="connsiteY1288" fmla="*/ 1128 h 10000"/>
                  <a:gd name="connsiteX1289" fmla="*/ 5659 w 10746"/>
                  <a:gd name="connsiteY1289" fmla="*/ 1017 h 10000"/>
                  <a:gd name="connsiteX1290" fmla="*/ 5659 w 10746"/>
                  <a:gd name="connsiteY1290" fmla="*/ 983 h 10000"/>
                  <a:gd name="connsiteX1291" fmla="*/ 5659 w 10746"/>
                  <a:gd name="connsiteY1291" fmla="*/ 957 h 10000"/>
                  <a:gd name="connsiteX1292" fmla="*/ 5654 w 10746"/>
                  <a:gd name="connsiteY1292" fmla="*/ 966 h 10000"/>
                  <a:gd name="connsiteX1293" fmla="*/ 5641 w 10746"/>
                  <a:gd name="connsiteY1293" fmla="*/ 957 h 10000"/>
                  <a:gd name="connsiteX1294" fmla="*/ 5631 w 10746"/>
                  <a:gd name="connsiteY1294" fmla="*/ 897 h 10000"/>
                  <a:gd name="connsiteX1295" fmla="*/ 5641 w 10746"/>
                  <a:gd name="connsiteY1295" fmla="*/ 872 h 10000"/>
                  <a:gd name="connsiteX1296" fmla="*/ 5618 w 10746"/>
                  <a:gd name="connsiteY1296" fmla="*/ 803 h 10000"/>
                  <a:gd name="connsiteX1297" fmla="*/ 5604 w 10746"/>
                  <a:gd name="connsiteY1297" fmla="*/ 821 h 10000"/>
                  <a:gd name="connsiteX1298" fmla="*/ 5613 w 10746"/>
                  <a:gd name="connsiteY1298" fmla="*/ 846 h 10000"/>
                  <a:gd name="connsiteX1299" fmla="*/ 5604 w 10746"/>
                  <a:gd name="connsiteY1299" fmla="*/ 855 h 10000"/>
                  <a:gd name="connsiteX1300" fmla="*/ 5599 w 10746"/>
                  <a:gd name="connsiteY1300" fmla="*/ 880 h 10000"/>
                  <a:gd name="connsiteX1301" fmla="*/ 5594 w 10746"/>
                  <a:gd name="connsiteY1301" fmla="*/ 880 h 10000"/>
                  <a:gd name="connsiteX1302" fmla="*/ 5585 w 10746"/>
                  <a:gd name="connsiteY1302" fmla="*/ 829 h 10000"/>
                  <a:gd name="connsiteX1303" fmla="*/ 5571 w 10746"/>
                  <a:gd name="connsiteY1303" fmla="*/ 803 h 10000"/>
                  <a:gd name="connsiteX1304" fmla="*/ 5585 w 10746"/>
                  <a:gd name="connsiteY1304" fmla="*/ 795 h 10000"/>
                  <a:gd name="connsiteX1305" fmla="*/ 5585 w 10746"/>
                  <a:gd name="connsiteY1305" fmla="*/ 761 h 10000"/>
                  <a:gd name="connsiteX1306" fmla="*/ 5558 w 10746"/>
                  <a:gd name="connsiteY1306" fmla="*/ 709 h 10000"/>
                  <a:gd name="connsiteX1307" fmla="*/ 5544 w 10746"/>
                  <a:gd name="connsiteY1307" fmla="*/ 709 h 10000"/>
                  <a:gd name="connsiteX1308" fmla="*/ 5544 w 10746"/>
                  <a:gd name="connsiteY1308" fmla="*/ 684 h 10000"/>
                  <a:gd name="connsiteX1309" fmla="*/ 5525 w 10746"/>
                  <a:gd name="connsiteY1309" fmla="*/ 632 h 10000"/>
                  <a:gd name="connsiteX1310" fmla="*/ 5507 w 10746"/>
                  <a:gd name="connsiteY1310" fmla="*/ 607 h 10000"/>
                  <a:gd name="connsiteX1311" fmla="*/ 5512 w 10746"/>
                  <a:gd name="connsiteY1311" fmla="*/ 598 h 10000"/>
                  <a:gd name="connsiteX1312" fmla="*/ 5507 w 10746"/>
                  <a:gd name="connsiteY1312" fmla="*/ 581 h 10000"/>
                  <a:gd name="connsiteX1313" fmla="*/ 5493 w 10746"/>
                  <a:gd name="connsiteY1313" fmla="*/ 573 h 10000"/>
                  <a:gd name="connsiteX1314" fmla="*/ 5484 w 10746"/>
                  <a:gd name="connsiteY1314" fmla="*/ 581 h 10000"/>
                  <a:gd name="connsiteX1315" fmla="*/ 5484 w 10746"/>
                  <a:gd name="connsiteY1315" fmla="*/ 573 h 10000"/>
                  <a:gd name="connsiteX1316" fmla="*/ 5484 w 10746"/>
                  <a:gd name="connsiteY1316" fmla="*/ 547 h 10000"/>
                  <a:gd name="connsiteX1317" fmla="*/ 5465 w 10746"/>
                  <a:gd name="connsiteY1317" fmla="*/ 556 h 10000"/>
                  <a:gd name="connsiteX1318" fmla="*/ 5433 w 10746"/>
                  <a:gd name="connsiteY1318" fmla="*/ 547 h 10000"/>
                  <a:gd name="connsiteX1319" fmla="*/ 5410 w 10746"/>
                  <a:gd name="connsiteY1319" fmla="*/ 573 h 10000"/>
                  <a:gd name="connsiteX1320" fmla="*/ 5406 w 10746"/>
                  <a:gd name="connsiteY1320" fmla="*/ 573 h 10000"/>
                  <a:gd name="connsiteX1321" fmla="*/ 5392 w 10746"/>
                  <a:gd name="connsiteY1321" fmla="*/ 573 h 10000"/>
                  <a:gd name="connsiteX1322" fmla="*/ 5364 w 10746"/>
                  <a:gd name="connsiteY1322" fmla="*/ 530 h 10000"/>
                  <a:gd name="connsiteX1323" fmla="*/ 5350 w 10746"/>
                  <a:gd name="connsiteY1323" fmla="*/ 556 h 10000"/>
                  <a:gd name="connsiteX1324" fmla="*/ 5346 w 10746"/>
                  <a:gd name="connsiteY1324" fmla="*/ 556 h 10000"/>
                  <a:gd name="connsiteX1325" fmla="*/ 5313 w 10746"/>
                  <a:gd name="connsiteY1325" fmla="*/ 573 h 10000"/>
                  <a:gd name="connsiteX1326" fmla="*/ 5304 w 10746"/>
                  <a:gd name="connsiteY1326" fmla="*/ 556 h 10000"/>
                  <a:gd name="connsiteX1327" fmla="*/ 5290 w 10746"/>
                  <a:gd name="connsiteY1327" fmla="*/ 573 h 10000"/>
                  <a:gd name="connsiteX1328" fmla="*/ 5290 w 10746"/>
                  <a:gd name="connsiteY1328" fmla="*/ 556 h 10000"/>
                  <a:gd name="connsiteX1329" fmla="*/ 5300 w 10746"/>
                  <a:gd name="connsiteY1329" fmla="*/ 547 h 10000"/>
                  <a:gd name="connsiteX1330" fmla="*/ 5300 w 10746"/>
                  <a:gd name="connsiteY1330" fmla="*/ 530 h 10000"/>
                  <a:gd name="connsiteX1331" fmla="*/ 5290 w 10746"/>
                  <a:gd name="connsiteY1331" fmla="*/ 530 h 10000"/>
                  <a:gd name="connsiteX1332" fmla="*/ 5286 w 10746"/>
                  <a:gd name="connsiteY1332" fmla="*/ 547 h 10000"/>
                  <a:gd name="connsiteX1333" fmla="*/ 5272 w 10746"/>
                  <a:gd name="connsiteY1333" fmla="*/ 556 h 10000"/>
                  <a:gd name="connsiteX1334" fmla="*/ 5272 w 10746"/>
                  <a:gd name="connsiteY1334" fmla="*/ 598 h 10000"/>
                  <a:gd name="connsiteX1335" fmla="*/ 5276 w 10746"/>
                  <a:gd name="connsiteY1335" fmla="*/ 581 h 10000"/>
                  <a:gd name="connsiteX1336" fmla="*/ 5272 w 10746"/>
                  <a:gd name="connsiteY1336" fmla="*/ 607 h 10000"/>
                  <a:gd name="connsiteX1337" fmla="*/ 5263 w 10746"/>
                  <a:gd name="connsiteY1337" fmla="*/ 607 h 10000"/>
                  <a:gd name="connsiteX1338" fmla="*/ 5263 w 10746"/>
                  <a:gd name="connsiteY1338" fmla="*/ 632 h 10000"/>
                  <a:gd name="connsiteX1339" fmla="*/ 5258 w 10746"/>
                  <a:gd name="connsiteY1339" fmla="*/ 658 h 10000"/>
                  <a:gd name="connsiteX1340" fmla="*/ 5244 w 10746"/>
                  <a:gd name="connsiteY1340" fmla="*/ 667 h 10000"/>
                  <a:gd name="connsiteX1341" fmla="*/ 5240 w 10746"/>
                  <a:gd name="connsiteY1341" fmla="*/ 658 h 10000"/>
                  <a:gd name="connsiteX1342" fmla="*/ 5240 w 10746"/>
                  <a:gd name="connsiteY1342" fmla="*/ 684 h 10000"/>
                  <a:gd name="connsiteX1343" fmla="*/ 5212 w 10746"/>
                  <a:gd name="connsiteY1343" fmla="*/ 684 h 10000"/>
                  <a:gd name="connsiteX1344" fmla="*/ 5198 w 10746"/>
                  <a:gd name="connsiteY1344" fmla="*/ 692 h 10000"/>
                  <a:gd name="connsiteX1345" fmla="*/ 5184 w 10746"/>
                  <a:gd name="connsiteY1345" fmla="*/ 684 h 10000"/>
                  <a:gd name="connsiteX1346" fmla="*/ 5157 w 10746"/>
                  <a:gd name="connsiteY1346" fmla="*/ 684 h 10000"/>
                  <a:gd name="connsiteX1347" fmla="*/ 5157 w 10746"/>
                  <a:gd name="connsiteY1347" fmla="*/ 667 h 10000"/>
                  <a:gd name="connsiteX1348" fmla="*/ 5157 w 10746"/>
                  <a:gd name="connsiteY1348" fmla="*/ 667 h 10000"/>
                  <a:gd name="connsiteX1349" fmla="*/ 5180 w 10746"/>
                  <a:gd name="connsiteY1349" fmla="*/ 650 h 10000"/>
                  <a:gd name="connsiteX1350" fmla="*/ 5184 w 10746"/>
                  <a:gd name="connsiteY1350" fmla="*/ 658 h 10000"/>
                  <a:gd name="connsiteX1351" fmla="*/ 5203 w 10746"/>
                  <a:gd name="connsiteY1351" fmla="*/ 547 h 10000"/>
                  <a:gd name="connsiteX1352" fmla="*/ 5226 w 10746"/>
                  <a:gd name="connsiteY1352" fmla="*/ 530 h 10000"/>
                  <a:gd name="connsiteX1353" fmla="*/ 5230 w 10746"/>
                  <a:gd name="connsiteY1353" fmla="*/ 487 h 10000"/>
                  <a:gd name="connsiteX1354" fmla="*/ 5230 w 10746"/>
                  <a:gd name="connsiteY1354" fmla="*/ 487 h 10000"/>
                  <a:gd name="connsiteX1355" fmla="*/ 5226 w 10746"/>
                  <a:gd name="connsiteY1355" fmla="*/ 462 h 10000"/>
                  <a:gd name="connsiteX1356" fmla="*/ 5226 w 10746"/>
                  <a:gd name="connsiteY1356" fmla="*/ 462 h 10000"/>
                  <a:gd name="connsiteX1357" fmla="*/ 5240 w 10746"/>
                  <a:gd name="connsiteY1357" fmla="*/ 462 h 10000"/>
                  <a:gd name="connsiteX1358" fmla="*/ 5240 w 10746"/>
                  <a:gd name="connsiteY1358" fmla="*/ 444 h 10000"/>
                  <a:gd name="connsiteX1359" fmla="*/ 5230 w 10746"/>
                  <a:gd name="connsiteY1359" fmla="*/ 436 h 10000"/>
                  <a:gd name="connsiteX1360" fmla="*/ 5230 w 10746"/>
                  <a:gd name="connsiteY1360" fmla="*/ 419 h 10000"/>
                  <a:gd name="connsiteX1361" fmla="*/ 5230 w 10746"/>
                  <a:gd name="connsiteY1361" fmla="*/ 410 h 10000"/>
                  <a:gd name="connsiteX1362" fmla="*/ 5198 w 10746"/>
                  <a:gd name="connsiteY1362" fmla="*/ 402 h 10000"/>
                  <a:gd name="connsiteX1363" fmla="*/ 5189 w 10746"/>
                  <a:gd name="connsiteY1363" fmla="*/ 402 h 10000"/>
                  <a:gd name="connsiteX1364" fmla="*/ 5184 w 10746"/>
                  <a:gd name="connsiteY1364" fmla="*/ 376 h 10000"/>
                  <a:gd name="connsiteX1365" fmla="*/ 5180 w 10746"/>
                  <a:gd name="connsiteY1365" fmla="*/ 376 h 10000"/>
                  <a:gd name="connsiteX1366" fmla="*/ 5166 w 10746"/>
                  <a:gd name="connsiteY1366" fmla="*/ 376 h 10000"/>
                  <a:gd name="connsiteX1367" fmla="*/ 5157 w 10746"/>
                  <a:gd name="connsiteY1367" fmla="*/ 385 h 10000"/>
                  <a:gd name="connsiteX1368" fmla="*/ 5152 w 10746"/>
                  <a:gd name="connsiteY1368" fmla="*/ 376 h 10000"/>
                  <a:gd name="connsiteX1369" fmla="*/ 5129 w 10746"/>
                  <a:gd name="connsiteY1369" fmla="*/ 385 h 10000"/>
                  <a:gd name="connsiteX1370" fmla="*/ 5129 w 10746"/>
                  <a:gd name="connsiteY1370" fmla="*/ 350 h 10000"/>
                  <a:gd name="connsiteX1371" fmla="*/ 5129 w 10746"/>
                  <a:gd name="connsiteY1371" fmla="*/ 325 h 10000"/>
                  <a:gd name="connsiteX1372" fmla="*/ 5124 w 10746"/>
                  <a:gd name="connsiteY1372" fmla="*/ 359 h 10000"/>
                  <a:gd name="connsiteX1373" fmla="*/ 5106 w 10746"/>
                  <a:gd name="connsiteY1373" fmla="*/ 359 h 10000"/>
                  <a:gd name="connsiteX1374" fmla="*/ 5037 w 10746"/>
                  <a:gd name="connsiteY1374" fmla="*/ 419 h 10000"/>
                  <a:gd name="connsiteX1375" fmla="*/ 5051 w 10746"/>
                  <a:gd name="connsiteY1375" fmla="*/ 385 h 10000"/>
                  <a:gd name="connsiteX1376" fmla="*/ 5055 w 10746"/>
                  <a:gd name="connsiteY1376" fmla="*/ 376 h 10000"/>
                  <a:gd name="connsiteX1377" fmla="*/ 5092 w 10746"/>
                  <a:gd name="connsiteY1377" fmla="*/ 282 h 10000"/>
                  <a:gd name="connsiteX1378" fmla="*/ 5106 w 10746"/>
                  <a:gd name="connsiteY1378" fmla="*/ 265 h 10000"/>
                  <a:gd name="connsiteX1379" fmla="*/ 5115 w 10746"/>
                  <a:gd name="connsiteY1379" fmla="*/ 265 h 10000"/>
                  <a:gd name="connsiteX1380" fmla="*/ 5124 w 10746"/>
                  <a:gd name="connsiteY1380" fmla="*/ 222 h 10000"/>
                  <a:gd name="connsiteX1381" fmla="*/ 5124 w 10746"/>
                  <a:gd name="connsiteY1381" fmla="*/ 214 h 10000"/>
                  <a:gd name="connsiteX1382" fmla="*/ 5143 w 10746"/>
                  <a:gd name="connsiteY1382" fmla="*/ 197 h 10000"/>
                  <a:gd name="connsiteX1383" fmla="*/ 5152 w 10746"/>
                  <a:gd name="connsiteY1383" fmla="*/ 214 h 10000"/>
                  <a:gd name="connsiteX1384" fmla="*/ 5143 w 10746"/>
                  <a:gd name="connsiteY1384" fmla="*/ 188 h 10000"/>
                  <a:gd name="connsiteX1385" fmla="*/ 5129 w 10746"/>
                  <a:gd name="connsiteY1385" fmla="*/ 103 h 10000"/>
                  <a:gd name="connsiteX1386" fmla="*/ 5115 w 10746"/>
                  <a:gd name="connsiteY1386" fmla="*/ 85 h 10000"/>
                  <a:gd name="connsiteX1387" fmla="*/ 5111 w 10746"/>
                  <a:gd name="connsiteY1387" fmla="*/ 111 h 10000"/>
                  <a:gd name="connsiteX1388" fmla="*/ 5092 w 10746"/>
                  <a:gd name="connsiteY1388" fmla="*/ 103 h 10000"/>
                  <a:gd name="connsiteX1389" fmla="*/ 5069 w 10746"/>
                  <a:gd name="connsiteY1389" fmla="*/ 77 h 10000"/>
                  <a:gd name="connsiteX1390" fmla="*/ 5051 w 10746"/>
                  <a:gd name="connsiteY1390" fmla="*/ 26 h 10000"/>
                  <a:gd name="connsiteX1391" fmla="*/ 5041 w 10746"/>
                  <a:gd name="connsiteY1391" fmla="*/ 34 h 10000"/>
                  <a:gd name="connsiteX1392" fmla="*/ 5037 w 10746"/>
                  <a:gd name="connsiteY1392" fmla="*/ 34 h 10000"/>
                  <a:gd name="connsiteX1393" fmla="*/ 5037 w 10746"/>
                  <a:gd name="connsiteY1393" fmla="*/ 26 h 10000"/>
                  <a:gd name="connsiteX1394" fmla="*/ 5037 w 10746"/>
                  <a:gd name="connsiteY1394" fmla="*/ 9 h 10000"/>
                  <a:gd name="connsiteX1395" fmla="*/ 5023 w 10746"/>
                  <a:gd name="connsiteY1395" fmla="*/ 0 h 10000"/>
                  <a:gd name="connsiteX1396" fmla="*/ 5009 w 10746"/>
                  <a:gd name="connsiteY1396" fmla="*/ 9 h 10000"/>
                  <a:gd name="connsiteX1397" fmla="*/ 4995 w 10746"/>
                  <a:gd name="connsiteY1397" fmla="*/ 34 h 10000"/>
                  <a:gd name="connsiteX1398" fmla="*/ 4991 w 10746"/>
                  <a:gd name="connsiteY1398" fmla="*/ 60 h 10000"/>
                  <a:gd name="connsiteX1399" fmla="*/ 4982 w 10746"/>
                  <a:gd name="connsiteY1399" fmla="*/ 60 h 10000"/>
                  <a:gd name="connsiteX1400" fmla="*/ 4949 w 10746"/>
                  <a:gd name="connsiteY1400" fmla="*/ 51 h 10000"/>
                  <a:gd name="connsiteX1401" fmla="*/ 4949 w 10746"/>
                  <a:gd name="connsiteY1401" fmla="*/ 85 h 10000"/>
                  <a:gd name="connsiteX1402" fmla="*/ 4903 w 10746"/>
                  <a:gd name="connsiteY1402" fmla="*/ 197 h 10000"/>
                  <a:gd name="connsiteX1403" fmla="*/ 4899 w 10746"/>
                  <a:gd name="connsiteY1403" fmla="*/ 239 h 10000"/>
                  <a:gd name="connsiteX1404" fmla="*/ 4871 w 10746"/>
                  <a:gd name="connsiteY1404" fmla="*/ 274 h 10000"/>
                  <a:gd name="connsiteX1405" fmla="*/ 4871 w 10746"/>
                  <a:gd name="connsiteY1405" fmla="*/ 282 h 10000"/>
                  <a:gd name="connsiteX1406" fmla="*/ 4834 w 10746"/>
                  <a:gd name="connsiteY1406" fmla="*/ 376 h 10000"/>
                  <a:gd name="connsiteX1407" fmla="*/ 4829 w 10746"/>
                  <a:gd name="connsiteY1407" fmla="*/ 402 h 10000"/>
                  <a:gd name="connsiteX1408" fmla="*/ 4834 w 10746"/>
                  <a:gd name="connsiteY1408" fmla="*/ 410 h 10000"/>
                  <a:gd name="connsiteX1409" fmla="*/ 4829 w 10746"/>
                  <a:gd name="connsiteY1409" fmla="*/ 436 h 10000"/>
                  <a:gd name="connsiteX1410" fmla="*/ 4825 w 10746"/>
                  <a:gd name="connsiteY1410" fmla="*/ 436 h 10000"/>
                  <a:gd name="connsiteX1411" fmla="*/ 4825 w 10746"/>
                  <a:gd name="connsiteY1411" fmla="*/ 444 h 10000"/>
                  <a:gd name="connsiteX1412" fmla="*/ 4811 w 10746"/>
                  <a:gd name="connsiteY1412" fmla="*/ 496 h 10000"/>
                  <a:gd name="connsiteX1413" fmla="*/ 4811 w 10746"/>
                  <a:gd name="connsiteY1413" fmla="*/ 496 h 10000"/>
                  <a:gd name="connsiteX1414" fmla="*/ 4811 w 10746"/>
                  <a:gd name="connsiteY1414" fmla="*/ 521 h 10000"/>
                  <a:gd name="connsiteX1415" fmla="*/ 4816 w 10746"/>
                  <a:gd name="connsiteY1415" fmla="*/ 530 h 10000"/>
                  <a:gd name="connsiteX1416" fmla="*/ 4834 w 10746"/>
                  <a:gd name="connsiteY1416" fmla="*/ 547 h 10000"/>
                  <a:gd name="connsiteX1417" fmla="*/ 4834 w 10746"/>
                  <a:gd name="connsiteY1417" fmla="*/ 581 h 10000"/>
                  <a:gd name="connsiteX1418" fmla="*/ 4843 w 10746"/>
                  <a:gd name="connsiteY1418" fmla="*/ 581 h 10000"/>
                  <a:gd name="connsiteX1419" fmla="*/ 4843 w 10746"/>
                  <a:gd name="connsiteY1419" fmla="*/ 598 h 10000"/>
                  <a:gd name="connsiteX1420" fmla="*/ 4829 w 10746"/>
                  <a:gd name="connsiteY1420" fmla="*/ 598 h 10000"/>
                  <a:gd name="connsiteX1421" fmla="*/ 4829 w 10746"/>
                  <a:gd name="connsiteY1421" fmla="*/ 573 h 10000"/>
                  <a:gd name="connsiteX1422" fmla="*/ 4829 w 10746"/>
                  <a:gd name="connsiteY1422" fmla="*/ 632 h 10000"/>
                  <a:gd name="connsiteX1423" fmla="*/ 4829 w 10746"/>
                  <a:gd name="connsiteY1423" fmla="*/ 632 h 10000"/>
                  <a:gd name="connsiteX1424" fmla="*/ 4829 w 10746"/>
                  <a:gd name="connsiteY1424" fmla="*/ 650 h 10000"/>
                  <a:gd name="connsiteX1425" fmla="*/ 4774 w 10746"/>
                  <a:gd name="connsiteY1425" fmla="*/ 684 h 10000"/>
                  <a:gd name="connsiteX1426" fmla="*/ 4756 w 10746"/>
                  <a:gd name="connsiteY1426" fmla="*/ 684 h 10000"/>
                  <a:gd name="connsiteX1427" fmla="*/ 4737 w 10746"/>
                  <a:gd name="connsiteY1427" fmla="*/ 692 h 10000"/>
                  <a:gd name="connsiteX1428" fmla="*/ 4677 w 10746"/>
                  <a:gd name="connsiteY1428" fmla="*/ 667 h 10000"/>
                  <a:gd name="connsiteX1429" fmla="*/ 4682 w 10746"/>
                  <a:gd name="connsiteY1429" fmla="*/ 692 h 10000"/>
                  <a:gd name="connsiteX1430" fmla="*/ 4682 w 10746"/>
                  <a:gd name="connsiteY1430" fmla="*/ 709 h 10000"/>
                  <a:gd name="connsiteX1431" fmla="*/ 4691 w 10746"/>
                  <a:gd name="connsiteY1431" fmla="*/ 718 h 10000"/>
                  <a:gd name="connsiteX1432" fmla="*/ 4691 w 10746"/>
                  <a:gd name="connsiteY1432" fmla="*/ 744 h 10000"/>
                  <a:gd name="connsiteX1433" fmla="*/ 4700 w 10746"/>
                  <a:gd name="connsiteY1433" fmla="*/ 744 h 10000"/>
                  <a:gd name="connsiteX1434" fmla="*/ 4714 w 10746"/>
                  <a:gd name="connsiteY1434" fmla="*/ 769 h 10000"/>
                  <a:gd name="connsiteX1435" fmla="*/ 4710 w 10746"/>
                  <a:gd name="connsiteY1435" fmla="*/ 786 h 10000"/>
                  <a:gd name="connsiteX1436" fmla="*/ 4737 w 10746"/>
                  <a:gd name="connsiteY1436" fmla="*/ 786 h 10000"/>
                  <a:gd name="connsiteX1437" fmla="*/ 4742 w 10746"/>
                  <a:gd name="connsiteY1437" fmla="*/ 795 h 10000"/>
                  <a:gd name="connsiteX1438" fmla="*/ 4742 w 10746"/>
                  <a:gd name="connsiteY1438" fmla="*/ 803 h 10000"/>
                  <a:gd name="connsiteX1439" fmla="*/ 4737 w 10746"/>
                  <a:gd name="connsiteY1439" fmla="*/ 846 h 10000"/>
                  <a:gd name="connsiteX1440" fmla="*/ 4737 w 10746"/>
                  <a:gd name="connsiteY1440" fmla="*/ 880 h 10000"/>
                  <a:gd name="connsiteX1441" fmla="*/ 4737 w 10746"/>
                  <a:gd name="connsiteY1441" fmla="*/ 906 h 10000"/>
                  <a:gd name="connsiteX1442" fmla="*/ 4724 w 10746"/>
                  <a:gd name="connsiteY1442" fmla="*/ 897 h 10000"/>
                  <a:gd name="connsiteX1443" fmla="*/ 4724 w 10746"/>
                  <a:gd name="connsiteY1443" fmla="*/ 872 h 10000"/>
                  <a:gd name="connsiteX1444" fmla="*/ 4714 w 10746"/>
                  <a:gd name="connsiteY1444" fmla="*/ 855 h 10000"/>
                  <a:gd name="connsiteX1445" fmla="*/ 4691 w 10746"/>
                  <a:gd name="connsiteY1445" fmla="*/ 846 h 10000"/>
                  <a:gd name="connsiteX1446" fmla="*/ 4691 w 10746"/>
                  <a:gd name="connsiteY1446" fmla="*/ 846 h 10000"/>
                  <a:gd name="connsiteX1447" fmla="*/ 4696 w 10746"/>
                  <a:gd name="connsiteY1447" fmla="*/ 821 h 10000"/>
                  <a:gd name="connsiteX1448" fmla="*/ 4691 w 10746"/>
                  <a:gd name="connsiteY1448" fmla="*/ 803 h 10000"/>
                  <a:gd name="connsiteX1449" fmla="*/ 4668 w 10746"/>
                  <a:gd name="connsiteY1449" fmla="*/ 821 h 10000"/>
                  <a:gd name="connsiteX1450" fmla="*/ 4668 w 10746"/>
                  <a:gd name="connsiteY1450" fmla="*/ 786 h 10000"/>
                  <a:gd name="connsiteX1451" fmla="*/ 4664 w 10746"/>
                  <a:gd name="connsiteY1451" fmla="*/ 786 h 10000"/>
                  <a:gd name="connsiteX1452" fmla="*/ 4622 w 10746"/>
                  <a:gd name="connsiteY1452" fmla="*/ 846 h 10000"/>
                  <a:gd name="connsiteX1453" fmla="*/ 4627 w 10746"/>
                  <a:gd name="connsiteY1453" fmla="*/ 872 h 10000"/>
                  <a:gd name="connsiteX1454" fmla="*/ 4622 w 10746"/>
                  <a:gd name="connsiteY1454" fmla="*/ 880 h 10000"/>
                  <a:gd name="connsiteX1455" fmla="*/ 4622 w 10746"/>
                  <a:gd name="connsiteY1455" fmla="*/ 880 h 10000"/>
                  <a:gd name="connsiteX1456" fmla="*/ 4618 w 10746"/>
                  <a:gd name="connsiteY1456" fmla="*/ 872 h 10000"/>
                  <a:gd name="connsiteX1457" fmla="*/ 4604 w 10746"/>
                  <a:gd name="connsiteY1457" fmla="*/ 880 h 10000"/>
                  <a:gd name="connsiteX1458" fmla="*/ 4594 w 10746"/>
                  <a:gd name="connsiteY1458" fmla="*/ 906 h 10000"/>
                  <a:gd name="connsiteX1459" fmla="*/ 4604 w 10746"/>
                  <a:gd name="connsiteY1459" fmla="*/ 906 h 10000"/>
                  <a:gd name="connsiteX1460" fmla="*/ 4608 w 10746"/>
                  <a:gd name="connsiteY1460" fmla="*/ 906 h 10000"/>
                  <a:gd name="connsiteX1461" fmla="*/ 4608 w 10746"/>
                  <a:gd name="connsiteY1461" fmla="*/ 932 h 10000"/>
                  <a:gd name="connsiteX1462" fmla="*/ 4604 w 10746"/>
                  <a:gd name="connsiteY1462" fmla="*/ 932 h 10000"/>
                  <a:gd name="connsiteX1463" fmla="*/ 4590 w 10746"/>
                  <a:gd name="connsiteY1463" fmla="*/ 932 h 10000"/>
                  <a:gd name="connsiteX1464" fmla="*/ 4567 w 10746"/>
                  <a:gd name="connsiteY1464" fmla="*/ 957 h 10000"/>
                  <a:gd name="connsiteX1465" fmla="*/ 4567 w 10746"/>
                  <a:gd name="connsiteY1465" fmla="*/ 932 h 10000"/>
                  <a:gd name="connsiteX1466" fmla="*/ 4567 w 10746"/>
                  <a:gd name="connsiteY1466" fmla="*/ 923 h 10000"/>
                  <a:gd name="connsiteX1467" fmla="*/ 4562 w 10746"/>
                  <a:gd name="connsiteY1467" fmla="*/ 932 h 10000"/>
                  <a:gd name="connsiteX1468" fmla="*/ 4548 w 10746"/>
                  <a:gd name="connsiteY1468" fmla="*/ 957 h 10000"/>
                  <a:gd name="connsiteX1469" fmla="*/ 4544 w 10746"/>
                  <a:gd name="connsiteY1469" fmla="*/ 957 h 10000"/>
                  <a:gd name="connsiteX1470" fmla="*/ 4521 w 10746"/>
                  <a:gd name="connsiteY1470" fmla="*/ 983 h 10000"/>
                  <a:gd name="connsiteX1471" fmla="*/ 4521 w 10746"/>
                  <a:gd name="connsiteY1471" fmla="*/ 983 h 10000"/>
                  <a:gd name="connsiteX1472" fmla="*/ 4530 w 10746"/>
                  <a:gd name="connsiteY1472" fmla="*/ 957 h 10000"/>
                  <a:gd name="connsiteX1473" fmla="*/ 4535 w 10746"/>
                  <a:gd name="connsiteY1473" fmla="*/ 932 h 10000"/>
                  <a:gd name="connsiteX1474" fmla="*/ 4521 w 10746"/>
                  <a:gd name="connsiteY1474" fmla="*/ 932 h 10000"/>
                  <a:gd name="connsiteX1475" fmla="*/ 4516 w 10746"/>
                  <a:gd name="connsiteY1475" fmla="*/ 923 h 10000"/>
                  <a:gd name="connsiteX1476" fmla="*/ 4516 w 10746"/>
                  <a:gd name="connsiteY1476" fmla="*/ 932 h 10000"/>
                  <a:gd name="connsiteX1477" fmla="*/ 4488 w 10746"/>
                  <a:gd name="connsiteY1477" fmla="*/ 940 h 10000"/>
                  <a:gd name="connsiteX1478" fmla="*/ 4484 w 10746"/>
                  <a:gd name="connsiteY1478" fmla="*/ 983 h 10000"/>
                  <a:gd name="connsiteX1479" fmla="*/ 4470 w 10746"/>
                  <a:gd name="connsiteY1479" fmla="*/ 983 h 10000"/>
                  <a:gd name="connsiteX1480" fmla="*/ 4470 w 10746"/>
                  <a:gd name="connsiteY1480" fmla="*/ 966 h 10000"/>
                  <a:gd name="connsiteX1481" fmla="*/ 4488 w 10746"/>
                  <a:gd name="connsiteY1481" fmla="*/ 923 h 10000"/>
                  <a:gd name="connsiteX1482" fmla="*/ 4493 w 10746"/>
                  <a:gd name="connsiteY1482" fmla="*/ 880 h 10000"/>
                  <a:gd name="connsiteX1483" fmla="*/ 4475 w 10746"/>
                  <a:gd name="connsiteY1483" fmla="*/ 846 h 10000"/>
                  <a:gd name="connsiteX1484" fmla="*/ 4442 w 10746"/>
                  <a:gd name="connsiteY1484" fmla="*/ 855 h 10000"/>
                  <a:gd name="connsiteX1485" fmla="*/ 4433 w 10746"/>
                  <a:gd name="connsiteY1485" fmla="*/ 855 h 10000"/>
                  <a:gd name="connsiteX1486" fmla="*/ 4433 w 10746"/>
                  <a:gd name="connsiteY1486" fmla="*/ 880 h 10000"/>
                  <a:gd name="connsiteX1487" fmla="*/ 4401 w 10746"/>
                  <a:gd name="connsiteY1487" fmla="*/ 855 h 10000"/>
                  <a:gd name="connsiteX1488" fmla="*/ 4396 w 10746"/>
                  <a:gd name="connsiteY1488" fmla="*/ 872 h 10000"/>
                  <a:gd name="connsiteX1489" fmla="*/ 4382 w 10746"/>
                  <a:gd name="connsiteY1489" fmla="*/ 897 h 10000"/>
                  <a:gd name="connsiteX1490" fmla="*/ 4373 w 10746"/>
                  <a:gd name="connsiteY1490" fmla="*/ 872 h 10000"/>
                  <a:gd name="connsiteX1491" fmla="*/ 4341 w 10746"/>
                  <a:gd name="connsiteY1491" fmla="*/ 872 h 10000"/>
                  <a:gd name="connsiteX1492" fmla="*/ 4336 w 10746"/>
                  <a:gd name="connsiteY1492" fmla="*/ 880 h 10000"/>
                  <a:gd name="connsiteX1493" fmla="*/ 4346 w 10746"/>
                  <a:gd name="connsiteY1493" fmla="*/ 897 h 10000"/>
                  <a:gd name="connsiteX1494" fmla="*/ 4346 w 10746"/>
                  <a:gd name="connsiteY1494" fmla="*/ 897 h 10000"/>
                  <a:gd name="connsiteX1495" fmla="*/ 4313 w 10746"/>
                  <a:gd name="connsiteY1495" fmla="*/ 906 h 10000"/>
                  <a:gd name="connsiteX1496" fmla="*/ 4313 w 10746"/>
                  <a:gd name="connsiteY1496" fmla="*/ 906 h 10000"/>
                  <a:gd name="connsiteX1497" fmla="*/ 4313 w 10746"/>
                  <a:gd name="connsiteY1497" fmla="*/ 880 h 10000"/>
                  <a:gd name="connsiteX1498" fmla="*/ 4309 w 10746"/>
                  <a:gd name="connsiteY1498" fmla="*/ 897 h 10000"/>
                  <a:gd name="connsiteX1499" fmla="*/ 4295 w 10746"/>
                  <a:gd name="connsiteY1499" fmla="*/ 923 h 10000"/>
                  <a:gd name="connsiteX1500" fmla="*/ 4286 w 10746"/>
                  <a:gd name="connsiteY1500" fmla="*/ 897 h 10000"/>
                  <a:gd name="connsiteX1501" fmla="*/ 4281 w 10746"/>
                  <a:gd name="connsiteY1501" fmla="*/ 906 h 10000"/>
                  <a:gd name="connsiteX1502" fmla="*/ 4281 w 10746"/>
                  <a:gd name="connsiteY1502" fmla="*/ 940 h 10000"/>
                  <a:gd name="connsiteX1503" fmla="*/ 4286 w 10746"/>
                  <a:gd name="connsiteY1503" fmla="*/ 957 h 10000"/>
                  <a:gd name="connsiteX1504" fmla="*/ 4309 w 10746"/>
                  <a:gd name="connsiteY1504" fmla="*/ 932 h 10000"/>
                  <a:gd name="connsiteX1505" fmla="*/ 4313 w 10746"/>
                  <a:gd name="connsiteY1505" fmla="*/ 957 h 10000"/>
                  <a:gd name="connsiteX1506" fmla="*/ 4313 w 10746"/>
                  <a:gd name="connsiteY1506" fmla="*/ 966 h 10000"/>
                  <a:gd name="connsiteX1507" fmla="*/ 4323 w 10746"/>
                  <a:gd name="connsiteY1507" fmla="*/ 966 h 10000"/>
                  <a:gd name="connsiteX1508" fmla="*/ 4323 w 10746"/>
                  <a:gd name="connsiteY1508" fmla="*/ 940 h 10000"/>
                  <a:gd name="connsiteX1509" fmla="*/ 4327 w 10746"/>
                  <a:gd name="connsiteY1509" fmla="*/ 940 h 10000"/>
                  <a:gd name="connsiteX1510" fmla="*/ 4327 w 10746"/>
                  <a:gd name="connsiteY1510" fmla="*/ 957 h 10000"/>
                  <a:gd name="connsiteX1511" fmla="*/ 4327 w 10746"/>
                  <a:gd name="connsiteY1511" fmla="*/ 966 h 10000"/>
                  <a:gd name="connsiteX1512" fmla="*/ 4323 w 10746"/>
                  <a:gd name="connsiteY1512" fmla="*/ 991 h 10000"/>
                  <a:gd name="connsiteX1513" fmla="*/ 4207 w 10746"/>
                  <a:gd name="connsiteY1513" fmla="*/ 1060 h 10000"/>
                  <a:gd name="connsiteX1514" fmla="*/ 4207 w 10746"/>
                  <a:gd name="connsiteY1514" fmla="*/ 1060 h 10000"/>
                  <a:gd name="connsiteX1515" fmla="*/ 4203 w 10746"/>
                  <a:gd name="connsiteY1515" fmla="*/ 1068 h 10000"/>
                  <a:gd name="connsiteX1516" fmla="*/ 4203 w 10746"/>
                  <a:gd name="connsiteY1516" fmla="*/ 1094 h 10000"/>
                  <a:gd name="connsiteX1517" fmla="*/ 4203 w 10746"/>
                  <a:gd name="connsiteY1517" fmla="*/ 1094 h 10000"/>
                  <a:gd name="connsiteX1518" fmla="*/ 4189 w 10746"/>
                  <a:gd name="connsiteY1518" fmla="*/ 1094 h 10000"/>
                  <a:gd name="connsiteX1519" fmla="*/ 4166 w 10746"/>
                  <a:gd name="connsiteY1519" fmla="*/ 1103 h 10000"/>
                  <a:gd name="connsiteX1520" fmla="*/ 4152 w 10746"/>
                  <a:gd name="connsiteY1520" fmla="*/ 1094 h 10000"/>
                  <a:gd name="connsiteX1521" fmla="*/ 4134 w 10746"/>
                  <a:gd name="connsiteY1521" fmla="*/ 1120 h 10000"/>
                  <a:gd name="connsiteX1522" fmla="*/ 4106 w 10746"/>
                  <a:gd name="connsiteY1522" fmla="*/ 1120 h 10000"/>
                  <a:gd name="connsiteX1523" fmla="*/ 4092 w 10746"/>
                  <a:gd name="connsiteY1523" fmla="*/ 1154 h 10000"/>
                  <a:gd name="connsiteX1524" fmla="*/ 4106 w 10746"/>
                  <a:gd name="connsiteY1524" fmla="*/ 1171 h 10000"/>
                  <a:gd name="connsiteX1525" fmla="*/ 4078 w 10746"/>
                  <a:gd name="connsiteY1525" fmla="*/ 1179 h 10000"/>
                  <a:gd name="connsiteX1526" fmla="*/ 4065 w 10746"/>
                  <a:gd name="connsiteY1526" fmla="*/ 1205 h 10000"/>
                  <a:gd name="connsiteX1527" fmla="*/ 4046 w 10746"/>
                  <a:gd name="connsiteY1527" fmla="*/ 1179 h 10000"/>
                  <a:gd name="connsiteX1528" fmla="*/ 4041 w 10746"/>
                  <a:gd name="connsiteY1528" fmla="*/ 1197 h 10000"/>
                  <a:gd name="connsiteX1529" fmla="*/ 4028 w 10746"/>
                  <a:gd name="connsiteY1529" fmla="*/ 1205 h 10000"/>
                  <a:gd name="connsiteX1530" fmla="*/ 4028 w 10746"/>
                  <a:gd name="connsiteY1530" fmla="*/ 1205 h 10000"/>
                  <a:gd name="connsiteX1531" fmla="*/ 4032 w 10746"/>
                  <a:gd name="connsiteY1531" fmla="*/ 1205 h 10000"/>
                  <a:gd name="connsiteX1532" fmla="*/ 4032 w 10746"/>
                  <a:gd name="connsiteY1532" fmla="*/ 1231 h 10000"/>
                  <a:gd name="connsiteX1533" fmla="*/ 4014 w 10746"/>
                  <a:gd name="connsiteY1533" fmla="*/ 1239 h 10000"/>
                  <a:gd name="connsiteX1534" fmla="*/ 4014 w 10746"/>
                  <a:gd name="connsiteY1534" fmla="*/ 1256 h 10000"/>
                  <a:gd name="connsiteX1535" fmla="*/ 4000 w 10746"/>
                  <a:gd name="connsiteY1535" fmla="*/ 1265 h 10000"/>
                  <a:gd name="connsiteX1536" fmla="*/ 3986 w 10746"/>
                  <a:gd name="connsiteY1536" fmla="*/ 1308 h 10000"/>
                  <a:gd name="connsiteX1537" fmla="*/ 3972 w 10746"/>
                  <a:gd name="connsiteY1537" fmla="*/ 1316 h 10000"/>
                  <a:gd name="connsiteX1538" fmla="*/ 3972 w 10746"/>
                  <a:gd name="connsiteY1538" fmla="*/ 1325 h 10000"/>
                  <a:gd name="connsiteX1539" fmla="*/ 3972 w 10746"/>
                  <a:gd name="connsiteY1539" fmla="*/ 1342 h 10000"/>
                  <a:gd name="connsiteX1540" fmla="*/ 3968 w 10746"/>
                  <a:gd name="connsiteY1540" fmla="*/ 1350 h 10000"/>
                  <a:gd name="connsiteX1541" fmla="*/ 3954 w 10746"/>
                  <a:gd name="connsiteY1541" fmla="*/ 1368 h 10000"/>
                  <a:gd name="connsiteX1542" fmla="*/ 3945 w 10746"/>
                  <a:gd name="connsiteY1542" fmla="*/ 1350 h 10000"/>
                  <a:gd name="connsiteX1543" fmla="*/ 3908 w 10746"/>
                  <a:gd name="connsiteY1543" fmla="*/ 1342 h 10000"/>
                  <a:gd name="connsiteX1544" fmla="*/ 3894 w 10746"/>
                  <a:gd name="connsiteY1544" fmla="*/ 1368 h 10000"/>
                  <a:gd name="connsiteX1545" fmla="*/ 3922 w 10746"/>
                  <a:gd name="connsiteY1545" fmla="*/ 1393 h 10000"/>
                  <a:gd name="connsiteX1546" fmla="*/ 3945 w 10746"/>
                  <a:gd name="connsiteY1546" fmla="*/ 1393 h 10000"/>
                  <a:gd name="connsiteX1547" fmla="*/ 3940 w 10746"/>
                  <a:gd name="connsiteY1547" fmla="*/ 1419 h 10000"/>
                  <a:gd name="connsiteX1548" fmla="*/ 3931 w 10746"/>
                  <a:gd name="connsiteY1548" fmla="*/ 1427 h 10000"/>
                  <a:gd name="connsiteX1549" fmla="*/ 3926 w 10746"/>
                  <a:gd name="connsiteY1549" fmla="*/ 1427 h 10000"/>
                  <a:gd name="connsiteX1550" fmla="*/ 3922 w 10746"/>
                  <a:gd name="connsiteY1550" fmla="*/ 1419 h 10000"/>
                  <a:gd name="connsiteX1551" fmla="*/ 3912 w 10746"/>
                  <a:gd name="connsiteY1551" fmla="*/ 1427 h 10000"/>
                  <a:gd name="connsiteX1552" fmla="*/ 3912 w 10746"/>
                  <a:gd name="connsiteY1552" fmla="*/ 1444 h 10000"/>
                  <a:gd name="connsiteX1553" fmla="*/ 3894 w 10746"/>
                  <a:gd name="connsiteY1553" fmla="*/ 1513 h 10000"/>
                  <a:gd name="connsiteX1554" fmla="*/ 3885 w 10746"/>
                  <a:gd name="connsiteY1554" fmla="*/ 1513 h 10000"/>
                  <a:gd name="connsiteX1555" fmla="*/ 3880 w 10746"/>
                  <a:gd name="connsiteY1555" fmla="*/ 1538 h 10000"/>
                  <a:gd name="connsiteX1556" fmla="*/ 3885 w 10746"/>
                  <a:gd name="connsiteY1556" fmla="*/ 1564 h 10000"/>
                  <a:gd name="connsiteX1557" fmla="*/ 3880 w 10746"/>
                  <a:gd name="connsiteY1557" fmla="*/ 1581 h 10000"/>
                  <a:gd name="connsiteX1558" fmla="*/ 3871 w 10746"/>
                  <a:gd name="connsiteY1558" fmla="*/ 1538 h 10000"/>
                  <a:gd name="connsiteX1559" fmla="*/ 3853 w 10746"/>
                  <a:gd name="connsiteY1559" fmla="*/ 1530 h 10000"/>
                  <a:gd name="connsiteX1560" fmla="*/ 3853 w 10746"/>
                  <a:gd name="connsiteY1560" fmla="*/ 1504 h 10000"/>
                  <a:gd name="connsiteX1561" fmla="*/ 3834 w 10746"/>
                  <a:gd name="connsiteY1561" fmla="*/ 1487 h 10000"/>
                  <a:gd name="connsiteX1562" fmla="*/ 3834 w 10746"/>
                  <a:gd name="connsiteY1562" fmla="*/ 1487 h 10000"/>
                  <a:gd name="connsiteX1563" fmla="*/ 3839 w 10746"/>
                  <a:gd name="connsiteY1563" fmla="*/ 1513 h 10000"/>
                  <a:gd name="connsiteX1564" fmla="*/ 3820 w 10746"/>
                  <a:gd name="connsiteY1564" fmla="*/ 1538 h 10000"/>
                  <a:gd name="connsiteX1565" fmla="*/ 3820 w 10746"/>
                  <a:gd name="connsiteY1565" fmla="*/ 1556 h 10000"/>
                  <a:gd name="connsiteX1566" fmla="*/ 3820 w 10746"/>
                  <a:gd name="connsiteY1566" fmla="*/ 1564 h 10000"/>
                  <a:gd name="connsiteX1567" fmla="*/ 3820 w 10746"/>
                  <a:gd name="connsiteY1567" fmla="*/ 1581 h 10000"/>
                  <a:gd name="connsiteX1568" fmla="*/ 3853 w 10746"/>
                  <a:gd name="connsiteY1568" fmla="*/ 1581 h 10000"/>
                  <a:gd name="connsiteX1569" fmla="*/ 3857 w 10746"/>
                  <a:gd name="connsiteY1569" fmla="*/ 1598 h 10000"/>
                  <a:gd name="connsiteX1570" fmla="*/ 3880 w 10746"/>
                  <a:gd name="connsiteY1570" fmla="*/ 1615 h 10000"/>
                  <a:gd name="connsiteX1571" fmla="*/ 3871 w 10746"/>
                  <a:gd name="connsiteY1571" fmla="*/ 1615 h 10000"/>
                  <a:gd name="connsiteX1572" fmla="*/ 3871 w 10746"/>
                  <a:gd name="connsiteY1572" fmla="*/ 1641 h 10000"/>
                  <a:gd name="connsiteX1573" fmla="*/ 3880 w 10746"/>
                  <a:gd name="connsiteY1573" fmla="*/ 1641 h 10000"/>
                  <a:gd name="connsiteX1574" fmla="*/ 3871 w 10746"/>
                  <a:gd name="connsiteY1574" fmla="*/ 1650 h 10000"/>
                  <a:gd name="connsiteX1575" fmla="*/ 3857 w 10746"/>
                  <a:gd name="connsiteY1575" fmla="*/ 1650 h 10000"/>
                  <a:gd name="connsiteX1576" fmla="*/ 3853 w 10746"/>
                  <a:gd name="connsiteY1576" fmla="*/ 1650 h 10000"/>
                  <a:gd name="connsiteX1577" fmla="*/ 3839 w 10746"/>
                  <a:gd name="connsiteY1577" fmla="*/ 1667 h 10000"/>
                  <a:gd name="connsiteX1578" fmla="*/ 3848 w 10746"/>
                  <a:gd name="connsiteY1578" fmla="*/ 1692 h 10000"/>
                  <a:gd name="connsiteX1579" fmla="*/ 3834 w 10746"/>
                  <a:gd name="connsiteY1579" fmla="*/ 1692 h 10000"/>
                  <a:gd name="connsiteX1580" fmla="*/ 3825 w 10746"/>
                  <a:gd name="connsiteY1580" fmla="*/ 1692 h 10000"/>
                  <a:gd name="connsiteX1581" fmla="*/ 3825 w 10746"/>
                  <a:gd name="connsiteY1581" fmla="*/ 1718 h 10000"/>
                  <a:gd name="connsiteX1582" fmla="*/ 3839 w 10746"/>
                  <a:gd name="connsiteY1582" fmla="*/ 1726 h 10000"/>
                  <a:gd name="connsiteX1583" fmla="*/ 3880 w 10746"/>
                  <a:gd name="connsiteY1583" fmla="*/ 1752 h 10000"/>
                  <a:gd name="connsiteX1584" fmla="*/ 3894 w 10746"/>
                  <a:gd name="connsiteY1584" fmla="*/ 1829 h 10000"/>
                  <a:gd name="connsiteX1585" fmla="*/ 3899 w 10746"/>
                  <a:gd name="connsiteY1585" fmla="*/ 1838 h 10000"/>
                  <a:gd name="connsiteX1586" fmla="*/ 3894 w 10746"/>
                  <a:gd name="connsiteY1586" fmla="*/ 1855 h 10000"/>
                  <a:gd name="connsiteX1587" fmla="*/ 3880 w 10746"/>
                  <a:gd name="connsiteY1587" fmla="*/ 1838 h 10000"/>
                  <a:gd name="connsiteX1588" fmla="*/ 3880 w 10746"/>
                  <a:gd name="connsiteY1588" fmla="*/ 1855 h 10000"/>
                  <a:gd name="connsiteX1589" fmla="*/ 3880 w 10746"/>
                  <a:gd name="connsiteY1589" fmla="*/ 1863 h 10000"/>
                  <a:gd name="connsiteX1590" fmla="*/ 3871 w 10746"/>
                  <a:gd name="connsiteY1590" fmla="*/ 1872 h 10000"/>
                  <a:gd name="connsiteX1591" fmla="*/ 3880 w 10746"/>
                  <a:gd name="connsiteY1591" fmla="*/ 1889 h 10000"/>
                  <a:gd name="connsiteX1592" fmla="*/ 3885 w 10746"/>
                  <a:gd name="connsiteY1592" fmla="*/ 1889 h 10000"/>
                  <a:gd name="connsiteX1593" fmla="*/ 3880 w 10746"/>
                  <a:gd name="connsiteY1593" fmla="*/ 1897 h 10000"/>
                  <a:gd name="connsiteX1594" fmla="*/ 3871 w 10746"/>
                  <a:gd name="connsiteY1594" fmla="*/ 1915 h 10000"/>
                  <a:gd name="connsiteX1595" fmla="*/ 3848 w 10746"/>
                  <a:gd name="connsiteY1595" fmla="*/ 1923 h 10000"/>
                  <a:gd name="connsiteX1596" fmla="*/ 3825 w 10746"/>
                  <a:gd name="connsiteY1596" fmla="*/ 1940 h 10000"/>
                  <a:gd name="connsiteX1597" fmla="*/ 3811 w 10746"/>
                  <a:gd name="connsiteY1597" fmla="*/ 1940 h 10000"/>
                  <a:gd name="connsiteX1598" fmla="*/ 3806 w 10746"/>
                  <a:gd name="connsiteY1598" fmla="*/ 1949 h 10000"/>
                  <a:gd name="connsiteX1599" fmla="*/ 3797 w 10746"/>
                  <a:gd name="connsiteY1599" fmla="*/ 1966 h 10000"/>
                  <a:gd name="connsiteX1600" fmla="*/ 3788 w 10746"/>
                  <a:gd name="connsiteY1600" fmla="*/ 1991 h 10000"/>
                  <a:gd name="connsiteX1601" fmla="*/ 3765 w 10746"/>
                  <a:gd name="connsiteY1601" fmla="*/ 1974 h 10000"/>
                  <a:gd name="connsiteX1602" fmla="*/ 3760 w 10746"/>
                  <a:gd name="connsiteY1602" fmla="*/ 1966 h 10000"/>
                  <a:gd name="connsiteX1603" fmla="*/ 3760 w 10746"/>
                  <a:gd name="connsiteY1603" fmla="*/ 1966 h 10000"/>
                  <a:gd name="connsiteX1604" fmla="*/ 3631 w 10746"/>
                  <a:gd name="connsiteY1604" fmla="*/ 2009 h 10000"/>
                  <a:gd name="connsiteX1605" fmla="*/ 3618 w 10746"/>
                  <a:gd name="connsiteY1605" fmla="*/ 2000 h 10000"/>
                  <a:gd name="connsiteX1606" fmla="*/ 3599 w 10746"/>
                  <a:gd name="connsiteY1606" fmla="*/ 2009 h 10000"/>
                  <a:gd name="connsiteX1607" fmla="*/ 3571 w 10746"/>
                  <a:gd name="connsiteY1607" fmla="*/ 2000 h 10000"/>
                  <a:gd name="connsiteX1608" fmla="*/ 3530 w 10746"/>
                  <a:gd name="connsiteY1608" fmla="*/ 2026 h 10000"/>
                  <a:gd name="connsiteX1609" fmla="*/ 3530 w 10746"/>
                  <a:gd name="connsiteY1609" fmla="*/ 2034 h 10000"/>
                  <a:gd name="connsiteX1610" fmla="*/ 3525 w 10746"/>
                  <a:gd name="connsiteY1610" fmla="*/ 2051 h 10000"/>
                  <a:gd name="connsiteX1611" fmla="*/ 3512 w 10746"/>
                  <a:gd name="connsiteY1611" fmla="*/ 2034 h 10000"/>
                  <a:gd name="connsiteX1612" fmla="*/ 3507 w 10746"/>
                  <a:gd name="connsiteY1612" fmla="*/ 2034 h 10000"/>
                  <a:gd name="connsiteX1613" fmla="*/ 3498 w 10746"/>
                  <a:gd name="connsiteY1613" fmla="*/ 2051 h 10000"/>
                  <a:gd name="connsiteX1614" fmla="*/ 3484 w 10746"/>
                  <a:gd name="connsiteY1614" fmla="*/ 2060 h 10000"/>
                  <a:gd name="connsiteX1615" fmla="*/ 3484 w 10746"/>
                  <a:gd name="connsiteY1615" fmla="*/ 2085 h 10000"/>
                  <a:gd name="connsiteX1616" fmla="*/ 3484 w 10746"/>
                  <a:gd name="connsiteY1616" fmla="*/ 2103 h 10000"/>
                  <a:gd name="connsiteX1617" fmla="*/ 3493 w 10746"/>
                  <a:gd name="connsiteY1617" fmla="*/ 2103 h 10000"/>
                  <a:gd name="connsiteX1618" fmla="*/ 3493 w 10746"/>
                  <a:gd name="connsiteY1618" fmla="*/ 2085 h 10000"/>
                  <a:gd name="connsiteX1619" fmla="*/ 3498 w 10746"/>
                  <a:gd name="connsiteY1619" fmla="*/ 2085 h 10000"/>
                  <a:gd name="connsiteX1620" fmla="*/ 3498 w 10746"/>
                  <a:gd name="connsiteY1620" fmla="*/ 2111 h 10000"/>
                  <a:gd name="connsiteX1621" fmla="*/ 3484 w 10746"/>
                  <a:gd name="connsiteY1621" fmla="*/ 2120 h 10000"/>
                  <a:gd name="connsiteX1622" fmla="*/ 3484 w 10746"/>
                  <a:gd name="connsiteY1622" fmla="*/ 2145 h 10000"/>
                  <a:gd name="connsiteX1623" fmla="*/ 3470 w 10746"/>
                  <a:gd name="connsiteY1623" fmla="*/ 2137 h 10000"/>
                  <a:gd name="connsiteX1624" fmla="*/ 3465 w 10746"/>
                  <a:gd name="connsiteY1624" fmla="*/ 2145 h 10000"/>
                  <a:gd name="connsiteX1625" fmla="*/ 3470 w 10746"/>
                  <a:gd name="connsiteY1625" fmla="*/ 2171 h 10000"/>
                  <a:gd name="connsiteX1626" fmla="*/ 3484 w 10746"/>
                  <a:gd name="connsiteY1626" fmla="*/ 2171 h 10000"/>
                  <a:gd name="connsiteX1627" fmla="*/ 3484 w 10746"/>
                  <a:gd name="connsiteY1627" fmla="*/ 2197 h 10000"/>
                  <a:gd name="connsiteX1628" fmla="*/ 3465 w 10746"/>
                  <a:gd name="connsiteY1628" fmla="*/ 2214 h 10000"/>
                  <a:gd name="connsiteX1629" fmla="*/ 3493 w 10746"/>
                  <a:gd name="connsiteY1629" fmla="*/ 2248 h 10000"/>
                  <a:gd name="connsiteX1630" fmla="*/ 3484 w 10746"/>
                  <a:gd name="connsiteY1630" fmla="*/ 2256 h 10000"/>
                  <a:gd name="connsiteX1631" fmla="*/ 3498 w 10746"/>
                  <a:gd name="connsiteY1631" fmla="*/ 2274 h 10000"/>
                  <a:gd name="connsiteX1632" fmla="*/ 3498 w 10746"/>
                  <a:gd name="connsiteY1632" fmla="*/ 2256 h 10000"/>
                  <a:gd name="connsiteX1633" fmla="*/ 3507 w 10746"/>
                  <a:gd name="connsiteY1633" fmla="*/ 2308 h 10000"/>
                  <a:gd name="connsiteX1634" fmla="*/ 3512 w 10746"/>
                  <a:gd name="connsiteY1634" fmla="*/ 2325 h 10000"/>
                  <a:gd name="connsiteX1635" fmla="*/ 3507 w 10746"/>
                  <a:gd name="connsiteY1635" fmla="*/ 2333 h 10000"/>
                  <a:gd name="connsiteX1636" fmla="*/ 3507 w 10746"/>
                  <a:gd name="connsiteY1636" fmla="*/ 2359 h 10000"/>
                  <a:gd name="connsiteX1637" fmla="*/ 3507 w 10746"/>
                  <a:gd name="connsiteY1637" fmla="*/ 2376 h 10000"/>
                  <a:gd name="connsiteX1638" fmla="*/ 3498 w 10746"/>
                  <a:gd name="connsiteY1638" fmla="*/ 2410 h 10000"/>
                  <a:gd name="connsiteX1639" fmla="*/ 3498 w 10746"/>
                  <a:gd name="connsiteY1639" fmla="*/ 2436 h 10000"/>
                  <a:gd name="connsiteX1640" fmla="*/ 3507 w 10746"/>
                  <a:gd name="connsiteY1640" fmla="*/ 2462 h 10000"/>
                  <a:gd name="connsiteX1641" fmla="*/ 3507 w 10746"/>
                  <a:gd name="connsiteY1641" fmla="*/ 2496 h 10000"/>
                  <a:gd name="connsiteX1642" fmla="*/ 3512 w 10746"/>
                  <a:gd name="connsiteY1642" fmla="*/ 2521 h 10000"/>
                  <a:gd name="connsiteX1643" fmla="*/ 3525 w 10746"/>
                  <a:gd name="connsiteY1643" fmla="*/ 2556 h 10000"/>
                  <a:gd name="connsiteX1644" fmla="*/ 3571 w 10746"/>
                  <a:gd name="connsiteY1644" fmla="*/ 2573 h 10000"/>
                  <a:gd name="connsiteX1645" fmla="*/ 3590 w 10746"/>
                  <a:gd name="connsiteY1645" fmla="*/ 2598 h 10000"/>
                  <a:gd name="connsiteX1646" fmla="*/ 3599 w 10746"/>
                  <a:gd name="connsiteY1646" fmla="*/ 2598 h 10000"/>
                  <a:gd name="connsiteX1647" fmla="*/ 3604 w 10746"/>
                  <a:gd name="connsiteY1647" fmla="*/ 2632 h 10000"/>
                  <a:gd name="connsiteX1648" fmla="*/ 3599 w 10746"/>
                  <a:gd name="connsiteY1648" fmla="*/ 2658 h 10000"/>
                  <a:gd name="connsiteX1649" fmla="*/ 3590 w 10746"/>
                  <a:gd name="connsiteY1649" fmla="*/ 2667 h 10000"/>
                  <a:gd name="connsiteX1650" fmla="*/ 3604 w 10746"/>
                  <a:gd name="connsiteY1650" fmla="*/ 2667 h 10000"/>
                  <a:gd name="connsiteX1651" fmla="*/ 3613 w 10746"/>
                  <a:gd name="connsiteY1651" fmla="*/ 2692 h 10000"/>
                  <a:gd name="connsiteX1652" fmla="*/ 3627 w 10746"/>
                  <a:gd name="connsiteY1652" fmla="*/ 2735 h 10000"/>
                  <a:gd name="connsiteX1653" fmla="*/ 3631 w 10746"/>
                  <a:gd name="connsiteY1653" fmla="*/ 2744 h 10000"/>
                  <a:gd name="connsiteX1654" fmla="*/ 3659 w 10746"/>
                  <a:gd name="connsiteY1654" fmla="*/ 2761 h 10000"/>
                  <a:gd name="connsiteX1655" fmla="*/ 3673 w 10746"/>
                  <a:gd name="connsiteY1655" fmla="*/ 2769 h 10000"/>
                  <a:gd name="connsiteX1656" fmla="*/ 3673 w 10746"/>
                  <a:gd name="connsiteY1656" fmla="*/ 2761 h 10000"/>
                  <a:gd name="connsiteX1657" fmla="*/ 3687 w 10746"/>
                  <a:gd name="connsiteY1657" fmla="*/ 2829 h 10000"/>
                  <a:gd name="connsiteX1658" fmla="*/ 3677 w 10746"/>
                  <a:gd name="connsiteY1658" fmla="*/ 2897 h 10000"/>
                  <a:gd name="connsiteX1659" fmla="*/ 3673 w 10746"/>
                  <a:gd name="connsiteY1659" fmla="*/ 2915 h 10000"/>
                  <a:gd name="connsiteX1660" fmla="*/ 3664 w 10746"/>
                  <a:gd name="connsiteY1660" fmla="*/ 2957 h 10000"/>
                  <a:gd name="connsiteX1661" fmla="*/ 3659 w 10746"/>
                  <a:gd name="connsiteY1661" fmla="*/ 2983 h 10000"/>
                  <a:gd name="connsiteX1662" fmla="*/ 3664 w 10746"/>
                  <a:gd name="connsiteY1662" fmla="*/ 3017 h 10000"/>
                  <a:gd name="connsiteX1663" fmla="*/ 3659 w 10746"/>
                  <a:gd name="connsiteY1663" fmla="*/ 3043 h 10000"/>
                  <a:gd name="connsiteX1664" fmla="*/ 3677 w 10746"/>
                  <a:gd name="connsiteY1664" fmla="*/ 3094 h 10000"/>
                  <a:gd name="connsiteX1665" fmla="*/ 3691 w 10746"/>
                  <a:gd name="connsiteY1665" fmla="*/ 3282 h 10000"/>
                  <a:gd name="connsiteX1666" fmla="*/ 3691 w 10746"/>
                  <a:gd name="connsiteY1666" fmla="*/ 3308 h 10000"/>
                  <a:gd name="connsiteX1667" fmla="*/ 3677 w 10746"/>
                  <a:gd name="connsiteY1667" fmla="*/ 3342 h 10000"/>
                  <a:gd name="connsiteX1668" fmla="*/ 3664 w 10746"/>
                  <a:gd name="connsiteY1668" fmla="*/ 3342 h 10000"/>
                  <a:gd name="connsiteX1669" fmla="*/ 3650 w 10746"/>
                  <a:gd name="connsiteY1669" fmla="*/ 3342 h 10000"/>
                  <a:gd name="connsiteX1670" fmla="*/ 3650 w 10746"/>
                  <a:gd name="connsiteY1670" fmla="*/ 3350 h 10000"/>
                  <a:gd name="connsiteX1671" fmla="*/ 3659 w 10746"/>
                  <a:gd name="connsiteY1671" fmla="*/ 3402 h 10000"/>
                  <a:gd name="connsiteX1672" fmla="*/ 3659 w 10746"/>
                  <a:gd name="connsiteY1672" fmla="*/ 3419 h 10000"/>
                  <a:gd name="connsiteX1673" fmla="*/ 3631 w 10746"/>
                  <a:gd name="connsiteY1673" fmla="*/ 3402 h 10000"/>
                  <a:gd name="connsiteX1674" fmla="*/ 3604 w 10746"/>
                  <a:gd name="connsiteY1674" fmla="*/ 3393 h 10000"/>
                  <a:gd name="connsiteX1675" fmla="*/ 3599 w 10746"/>
                  <a:gd name="connsiteY1675" fmla="*/ 3368 h 10000"/>
                  <a:gd name="connsiteX1676" fmla="*/ 3590 w 10746"/>
                  <a:gd name="connsiteY1676" fmla="*/ 3239 h 10000"/>
                  <a:gd name="connsiteX1677" fmla="*/ 3599 w 10746"/>
                  <a:gd name="connsiteY1677" fmla="*/ 3179 h 10000"/>
                  <a:gd name="connsiteX1678" fmla="*/ 3599 w 10746"/>
                  <a:gd name="connsiteY1678" fmla="*/ 3171 h 10000"/>
                  <a:gd name="connsiteX1679" fmla="*/ 3599 w 10746"/>
                  <a:gd name="connsiteY1679" fmla="*/ 3009 h 10000"/>
                  <a:gd name="connsiteX1680" fmla="*/ 3604 w 10746"/>
                  <a:gd name="connsiteY1680" fmla="*/ 2983 h 10000"/>
                  <a:gd name="connsiteX1681" fmla="*/ 3645 w 10746"/>
                  <a:gd name="connsiteY1681" fmla="*/ 2932 h 10000"/>
                  <a:gd name="connsiteX1682" fmla="*/ 3650 w 10746"/>
                  <a:gd name="connsiteY1682" fmla="*/ 2872 h 10000"/>
                  <a:gd name="connsiteX1683" fmla="*/ 3659 w 10746"/>
                  <a:gd name="connsiteY1683" fmla="*/ 2855 h 10000"/>
                  <a:gd name="connsiteX1684" fmla="*/ 3659 w 10746"/>
                  <a:gd name="connsiteY1684" fmla="*/ 2821 h 10000"/>
                  <a:gd name="connsiteX1685" fmla="*/ 3631 w 10746"/>
                  <a:gd name="connsiteY1685" fmla="*/ 2795 h 10000"/>
                  <a:gd name="connsiteX1686" fmla="*/ 3567 w 10746"/>
                  <a:gd name="connsiteY1686" fmla="*/ 2821 h 10000"/>
                  <a:gd name="connsiteX1687" fmla="*/ 3544 w 10746"/>
                  <a:gd name="connsiteY1687" fmla="*/ 2795 h 10000"/>
                  <a:gd name="connsiteX1688" fmla="*/ 3530 w 10746"/>
                  <a:gd name="connsiteY1688" fmla="*/ 2769 h 10000"/>
                  <a:gd name="connsiteX1689" fmla="*/ 3530 w 10746"/>
                  <a:gd name="connsiteY1689" fmla="*/ 2786 h 10000"/>
                  <a:gd name="connsiteX1690" fmla="*/ 3498 w 10746"/>
                  <a:gd name="connsiteY1690" fmla="*/ 2692 h 10000"/>
                  <a:gd name="connsiteX1691" fmla="*/ 3498 w 10746"/>
                  <a:gd name="connsiteY1691" fmla="*/ 2667 h 10000"/>
                  <a:gd name="connsiteX1692" fmla="*/ 3442 w 10746"/>
                  <a:gd name="connsiteY1692" fmla="*/ 2607 h 10000"/>
                  <a:gd name="connsiteX1693" fmla="*/ 3433 w 10746"/>
                  <a:gd name="connsiteY1693" fmla="*/ 2581 h 10000"/>
                  <a:gd name="connsiteX1694" fmla="*/ 3396 w 10746"/>
                  <a:gd name="connsiteY1694" fmla="*/ 2556 h 10000"/>
                  <a:gd name="connsiteX1695" fmla="*/ 3318 w 10746"/>
                  <a:gd name="connsiteY1695" fmla="*/ 2556 h 10000"/>
                  <a:gd name="connsiteX1696" fmla="*/ 3304 w 10746"/>
                  <a:gd name="connsiteY1696" fmla="*/ 2607 h 10000"/>
                  <a:gd name="connsiteX1697" fmla="*/ 3276 w 10746"/>
                  <a:gd name="connsiteY1697" fmla="*/ 2632 h 10000"/>
                  <a:gd name="connsiteX1698" fmla="*/ 3272 w 10746"/>
                  <a:gd name="connsiteY1698" fmla="*/ 2667 h 10000"/>
                  <a:gd name="connsiteX1699" fmla="*/ 3304 w 10746"/>
                  <a:gd name="connsiteY1699" fmla="*/ 2667 h 10000"/>
                  <a:gd name="connsiteX1700" fmla="*/ 3323 w 10746"/>
                  <a:gd name="connsiteY1700" fmla="*/ 2692 h 10000"/>
                  <a:gd name="connsiteX1701" fmla="*/ 3318 w 10746"/>
                  <a:gd name="connsiteY1701" fmla="*/ 2735 h 10000"/>
                  <a:gd name="connsiteX1702" fmla="*/ 3304 w 10746"/>
                  <a:gd name="connsiteY1702" fmla="*/ 2761 h 10000"/>
                  <a:gd name="connsiteX1703" fmla="*/ 3276 w 10746"/>
                  <a:gd name="connsiteY1703" fmla="*/ 2769 h 10000"/>
                  <a:gd name="connsiteX1704" fmla="*/ 3263 w 10746"/>
                  <a:gd name="connsiteY1704" fmla="*/ 2795 h 10000"/>
                  <a:gd name="connsiteX1705" fmla="*/ 3235 w 10746"/>
                  <a:gd name="connsiteY1705" fmla="*/ 2803 h 10000"/>
                  <a:gd name="connsiteX1706" fmla="*/ 3235 w 10746"/>
                  <a:gd name="connsiteY1706" fmla="*/ 2786 h 10000"/>
                  <a:gd name="connsiteX1707" fmla="*/ 3212 w 10746"/>
                  <a:gd name="connsiteY1707" fmla="*/ 2709 h 10000"/>
                  <a:gd name="connsiteX1708" fmla="*/ 3198 w 10746"/>
                  <a:gd name="connsiteY1708" fmla="*/ 2709 h 10000"/>
                  <a:gd name="connsiteX1709" fmla="*/ 3184 w 10746"/>
                  <a:gd name="connsiteY1709" fmla="*/ 2735 h 10000"/>
                  <a:gd name="connsiteX1710" fmla="*/ 3189 w 10746"/>
                  <a:gd name="connsiteY1710" fmla="*/ 2761 h 10000"/>
                  <a:gd name="connsiteX1711" fmla="*/ 3203 w 10746"/>
                  <a:gd name="connsiteY1711" fmla="*/ 2855 h 10000"/>
                  <a:gd name="connsiteX1712" fmla="*/ 3212 w 10746"/>
                  <a:gd name="connsiteY1712" fmla="*/ 2872 h 10000"/>
                  <a:gd name="connsiteX1713" fmla="*/ 3235 w 10746"/>
                  <a:gd name="connsiteY1713" fmla="*/ 2906 h 10000"/>
                  <a:gd name="connsiteX1714" fmla="*/ 3258 w 10746"/>
                  <a:gd name="connsiteY1714" fmla="*/ 2915 h 10000"/>
                  <a:gd name="connsiteX1715" fmla="*/ 3272 w 10746"/>
                  <a:gd name="connsiteY1715" fmla="*/ 2957 h 10000"/>
                  <a:gd name="connsiteX1716" fmla="*/ 3276 w 10746"/>
                  <a:gd name="connsiteY1716" fmla="*/ 2957 h 10000"/>
                  <a:gd name="connsiteX1717" fmla="*/ 3286 w 10746"/>
                  <a:gd name="connsiteY1717" fmla="*/ 2966 h 10000"/>
                  <a:gd name="connsiteX1718" fmla="*/ 3300 w 10746"/>
                  <a:gd name="connsiteY1718" fmla="*/ 2957 h 10000"/>
                  <a:gd name="connsiteX1719" fmla="*/ 3309 w 10746"/>
                  <a:gd name="connsiteY1719" fmla="*/ 2932 h 10000"/>
                  <a:gd name="connsiteX1720" fmla="*/ 3304 w 10746"/>
                  <a:gd name="connsiteY1720" fmla="*/ 2966 h 10000"/>
                  <a:gd name="connsiteX1721" fmla="*/ 3309 w 10746"/>
                  <a:gd name="connsiteY1721" fmla="*/ 2983 h 10000"/>
                  <a:gd name="connsiteX1722" fmla="*/ 3323 w 10746"/>
                  <a:gd name="connsiteY1722" fmla="*/ 2966 h 10000"/>
                  <a:gd name="connsiteX1723" fmla="*/ 3323 w 10746"/>
                  <a:gd name="connsiteY1723" fmla="*/ 3043 h 10000"/>
                  <a:gd name="connsiteX1724" fmla="*/ 3346 w 10746"/>
                  <a:gd name="connsiteY1724" fmla="*/ 3068 h 10000"/>
                  <a:gd name="connsiteX1725" fmla="*/ 3346 w 10746"/>
                  <a:gd name="connsiteY1725" fmla="*/ 3094 h 10000"/>
                  <a:gd name="connsiteX1726" fmla="*/ 3323 w 10746"/>
                  <a:gd name="connsiteY1726" fmla="*/ 3094 h 10000"/>
                  <a:gd name="connsiteX1727" fmla="*/ 3309 w 10746"/>
                  <a:gd name="connsiteY1727" fmla="*/ 3077 h 10000"/>
                  <a:gd name="connsiteX1728" fmla="*/ 3304 w 10746"/>
                  <a:gd name="connsiteY1728" fmla="*/ 3051 h 10000"/>
                  <a:gd name="connsiteX1729" fmla="*/ 3300 w 10746"/>
                  <a:gd name="connsiteY1729" fmla="*/ 3043 h 10000"/>
                  <a:gd name="connsiteX1730" fmla="*/ 3286 w 10746"/>
                  <a:gd name="connsiteY1730" fmla="*/ 3017 h 10000"/>
                  <a:gd name="connsiteX1731" fmla="*/ 3152 w 10746"/>
                  <a:gd name="connsiteY1731" fmla="*/ 2966 h 10000"/>
                  <a:gd name="connsiteX1732" fmla="*/ 3129 w 10746"/>
                  <a:gd name="connsiteY1732" fmla="*/ 2915 h 10000"/>
                  <a:gd name="connsiteX1733" fmla="*/ 3129 w 10746"/>
                  <a:gd name="connsiteY1733" fmla="*/ 2906 h 10000"/>
                  <a:gd name="connsiteX1734" fmla="*/ 3152 w 10746"/>
                  <a:gd name="connsiteY1734" fmla="*/ 2906 h 10000"/>
                  <a:gd name="connsiteX1735" fmla="*/ 3152 w 10746"/>
                  <a:gd name="connsiteY1735" fmla="*/ 2846 h 10000"/>
                  <a:gd name="connsiteX1736" fmla="*/ 3138 w 10746"/>
                  <a:gd name="connsiteY1736" fmla="*/ 2795 h 10000"/>
                  <a:gd name="connsiteX1737" fmla="*/ 3138 w 10746"/>
                  <a:gd name="connsiteY1737" fmla="*/ 2769 h 10000"/>
                  <a:gd name="connsiteX1738" fmla="*/ 3143 w 10746"/>
                  <a:gd name="connsiteY1738" fmla="*/ 2718 h 10000"/>
                  <a:gd name="connsiteX1739" fmla="*/ 3129 w 10746"/>
                  <a:gd name="connsiteY1739" fmla="*/ 2692 h 10000"/>
                  <a:gd name="connsiteX1740" fmla="*/ 3143 w 10746"/>
                  <a:gd name="connsiteY1740" fmla="*/ 2667 h 10000"/>
                  <a:gd name="connsiteX1741" fmla="*/ 3157 w 10746"/>
                  <a:gd name="connsiteY1741" fmla="*/ 2581 h 10000"/>
                  <a:gd name="connsiteX1742" fmla="*/ 3143 w 10746"/>
                  <a:gd name="connsiteY1742" fmla="*/ 2496 h 10000"/>
                  <a:gd name="connsiteX1743" fmla="*/ 3157 w 10746"/>
                  <a:gd name="connsiteY1743" fmla="*/ 2487 h 10000"/>
                  <a:gd name="connsiteX1744" fmla="*/ 3143 w 10746"/>
                  <a:gd name="connsiteY1744" fmla="*/ 2444 h 10000"/>
                  <a:gd name="connsiteX1745" fmla="*/ 3143 w 10746"/>
                  <a:gd name="connsiteY1745" fmla="*/ 2419 h 10000"/>
                  <a:gd name="connsiteX1746" fmla="*/ 3143 w 10746"/>
                  <a:gd name="connsiteY1746" fmla="*/ 2410 h 10000"/>
                  <a:gd name="connsiteX1747" fmla="*/ 3124 w 10746"/>
                  <a:gd name="connsiteY1747" fmla="*/ 2376 h 10000"/>
                  <a:gd name="connsiteX1748" fmla="*/ 3115 w 10746"/>
                  <a:gd name="connsiteY1748" fmla="*/ 2350 h 10000"/>
                  <a:gd name="connsiteX1749" fmla="*/ 3101 w 10746"/>
                  <a:gd name="connsiteY1749" fmla="*/ 2359 h 10000"/>
                  <a:gd name="connsiteX1750" fmla="*/ 3115 w 10746"/>
                  <a:gd name="connsiteY1750" fmla="*/ 2581 h 10000"/>
                  <a:gd name="connsiteX1751" fmla="*/ 3111 w 10746"/>
                  <a:gd name="connsiteY1751" fmla="*/ 2624 h 10000"/>
                  <a:gd name="connsiteX1752" fmla="*/ 3009 w 10746"/>
                  <a:gd name="connsiteY1752" fmla="*/ 2761 h 10000"/>
                  <a:gd name="connsiteX1753" fmla="*/ 3009 w 10746"/>
                  <a:gd name="connsiteY1753" fmla="*/ 2803 h 10000"/>
                  <a:gd name="connsiteX1754" fmla="*/ 3005 w 10746"/>
                  <a:gd name="connsiteY1754" fmla="*/ 2829 h 10000"/>
                  <a:gd name="connsiteX1755" fmla="*/ 2982 w 10746"/>
                  <a:gd name="connsiteY1755" fmla="*/ 2872 h 10000"/>
                  <a:gd name="connsiteX1756" fmla="*/ 2982 w 10746"/>
                  <a:gd name="connsiteY1756" fmla="*/ 2880 h 10000"/>
                  <a:gd name="connsiteX1757" fmla="*/ 3037 w 10746"/>
                  <a:gd name="connsiteY1757" fmla="*/ 3034 h 10000"/>
                  <a:gd name="connsiteX1758" fmla="*/ 3041 w 10746"/>
                  <a:gd name="connsiteY1758" fmla="*/ 3103 h 10000"/>
                  <a:gd name="connsiteX1759" fmla="*/ 3069 w 10746"/>
                  <a:gd name="connsiteY1759" fmla="*/ 3188 h 10000"/>
                  <a:gd name="connsiteX1760" fmla="*/ 3055 w 10746"/>
                  <a:gd name="connsiteY1760" fmla="*/ 3325 h 10000"/>
                  <a:gd name="connsiteX1761" fmla="*/ 3037 w 10746"/>
                  <a:gd name="connsiteY1761" fmla="*/ 3368 h 10000"/>
                  <a:gd name="connsiteX1762" fmla="*/ 3037 w 10746"/>
                  <a:gd name="connsiteY1762" fmla="*/ 3444 h 10000"/>
                  <a:gd name="connsiteX1763" fmla="*/ 3028 w 10746"/>
                  <a:gd name="connsiteY1763" fmla="*/ 3453 h 10000"/>
                  <a:gd name="connsiteX1764" fmla="*/ 3023 w 10746"/>
                  <a:gd name="connsiteY1764" fmla="*/ 3530 h 10000"/>
                  <a:gd name="connsiteX1765" fmla="*/ 3051 w 10746"/>
                  <a:gd name="connsiteY1765" fmla="*/ 3624 h 10000"/>
                  <a:gd name="connsiteX1766" fmla="*/ 3037 w 10746"/>
                  <a:gd name="connsiteY1766" fmla="*/ 3718 h 10000"/>
                  <a:gd name="connsiteX1767" fmla="*/ 3041 w 10746"/>
                  <a:gd name="connsiteY1767" fmla="*/ 3752 h 10000"/>
                  <a:gd name="connsiteX1768" fmla="*/ 3055 w 10746"/>
                  <a:gd name="connsiteY1768" fmla="*/ 3761 h 10000"/>
                  <a:gd name="connsiteX1769" fmla="*/ 3078 w 10746"/>
                  <a:gd name="connsiteY1769" fmla="*/ 3752 h 10000"/>
                  <a:gd name="connsiteX1770" fmla="*/ 3092 w 10746"/>
                  <a:gd name="connsiteY1770" fmla="*/ 3752 h 10000"/>
                  <a:gd name="connsiteX1771" fmla="*/ 3129 w 10746"/>
                  <a:gd name="connsiteY1771" fmla="*/ 3761 h 10000"/>
                  <a:gd name="connsiteX1772" fmla="*/ 3129 w 10746"/>
                  <a:gd name="connsiteY1772" fmla="*/ 3735 h 10000"/>
                  <a:gd name="connsiteX1773" fmla="*/ 3157 w 10746"/>
                  <a:gd name="connsiteY1773" fmla="*/ 3718 h 10000"/>
                  <a:gd name="connsiteX1774" fmla="*/ 3184 w 10746"/>
                  <a:gd name="connsiteY1774" fmla="*/ 3718 h 10000"/>
                  <a:gd name="connsiteX1775" fmla="*/ 3290 w 10746"/>
                  <a:gd name="connsiteY1775" fmla="*/ 3838 h 10000"/>
                  <a:gd name="connsiteX1776" fmla="*/ 3300 w 10746"/>
                  <a:gd name="connsiteY1776" fmla="*/ 3846 h 10000"/>
                  <a:gd name="connsiteX1777" fmla="*/ 3300 w 10746"/>
                  <a:gd name="connsiteY1777" fmla="*/ 3915 h 10000"/>
                  <a:gd name="connsiteX1778" fmla="*/ 3318 w 10746"/>
                  <a:gd name="connsiteY1778" fmla="*/ 4000 h 10000"/>
                  <a:gd name="connsiteX1779" fmla="*/ 3323 w 10746"/>
                  <a:gd name="connsiteY1779" fmla="*/ 4000 h 10000"/>
                  <a:gd name="connsiteX1780" fmla="*/ 3323 w 10746"/>
                  <a:gd name="connsiteY1780" fmla="*/ 4034 h 10000"/>
                  <a:gd name="connsiteX1781" fmla="*/ 3318 w 10746"/>
                  <a:gd name="connsiteY1781" fmla="*/ 4051 h 10000"/>
                  <a:gd name="connsiteX1782" fmla="*/ 3300 w 10746"/>
                  <a:gd name="connsiteY1782" fmla="*/ 4051 h 10000"/>
                  <a:gd name="connsiteX1783" fmla="*/ 3290 w 10746"/>
                  <a:gd name="connsiteY1783" fmla="*/ 4077 h 10000"/>
                  <a:gd name="connsiteX1784" fmla="*/ 3286 w 10746"/>
                  <a:gd name="connsiteY1784" fmla="*/ 4103 h 10000"/>
                  <a:gd name="connsiteX1785" fmla="*/ 3286 w 10746"/>
                  <a:gd name="connsiteY1785" fmla="*/ 4197 h 10000"/>
                  <a:gd name="connsiteX1786" fmla="*/ 3290 w 10746"/>
                  <a:gd name="connsiteY1786" fmla="*/ 4214 h 10000"/>
                  <a:gd name="connsiteX1787" fmla="*/ 3304 w 10746"/>
                  <a:gd name="connsiteY1787" fmla="*/ 4214 h 10000"/>
                  <a:gd name="connsiteX1788" fmla="*/ 3323 w 10746"/>
                  <a:gd name="connsiteY1788" fmla="*/ 4239 h 10000"/>
                  <a:gd name="connsiteX1789" fmla="*/ 3350 w 10746"/>
                  <a:gd name="connsiteY1789" fmla="*/ 4222 h 10000"/>
                  <a:gd name="connsiteX1790" fmla="*/ 3369 w 10746"/>
                  <a:gd name="connsiteY1790" fmla="*/ 4256 h 10000"/>
                  <a:gd name="connsiteX1791" fmla="*/ 3369 w 10746"/>
                  <a:gd name="connsiteY1791" fmla="*/ 4256 h 10000"/>
                  <a:gd name="connsiteX1792" fmla="*/ 3336 w 10746"/>
                  <a:gd name="connsiteY1792" fmla="*/ 4274 h 10000"/>
                  <a:gd name="connsiteX1793" fmla="*/ 3323 w 10746"/>
                  <a:gd name="connsiteY1793" fmla="*/ 4274 h 10000"/>
                  <a:gd name="connsiteX1794" fmla="*/ 3290 w 10746"/>
                  <a:gd name="connsiteY1794" fmla="*/ 4274 h 10000"/>
                  <a:gd name="connsiteX1795" fmla="*/ 3286 w 10746"/>
                  <a:gd name="connsiteY1795" fmla="*/ 4239 h 10000"/>
                  <a:gd name="connsiteX1796" fmla="*/ 3263 w 10746"/>
                  <a:gd name="connsiteY1796" fmla="*/ 4214 h 10000"/>
                  <a:gd name="connsiteX1797" fmla="*/ 3258 w 10746"/>
                  <a:gd name="connsiteY1797" fmla="*/ 4188 h 10000"/>
                  <a:gd name="connsiteX1798" fmla="*/ 3263 w 10746"/>
                  <a:gd name="connsiteY1798" fmla="*/ 4171 h 10000"/>
                  <a:gd name="connsiteX1799" fmla="*/ 3263 w 10746"/>
                  <a:gd name="connsiteY1799" fmla="*/ 4103 h 10000"/>
                  <a:gd name="connsiteX1800" fmla="*/ 3276 w 10746"/>
                  <a:gd name="connsiteY1800" fmla="*/ 4060 h 10000"/>
                  <a:gd name="connsiteX1801" fmla="*/ 3272 w 10746"/>
                  <a:gd name="connsiteY1801" fmla="*/ 4051 h 10000"/>
                  <a:gd name="connsiteX1802" fmla="*/ 3263 w 10746"/>
                  <a:gd name="connsiteY1802" fmla="*/ 4051 h 10000"/>
                  <a:gd name="connsiteX1803" fmla="*/ 3263 w 10746"/>
                  <a:gd name="connsiteY1803" fmla="*/ 4034 h 10000"/>
                  <a:gd name="connsiteX1804" fmla="*/ 3263 w 10746"/>
                  <a:gd name="connsiteY1804" fmla="*/ 4000 h 10000"/>
                  <a:gd name="connsiteX1805" fmla="*/ 3272 w 10746"/>
                  <a:gd name="connsiteY1805" fmla="*/ 4000 h 10000"/>
                  <a:gd name="connsiteX1806" fmla="*/ 3272 w 10746"/>
                  <a:gd name="connsiteY1806" fmla="*/ 3974 h 10000"/>
                  <a:gd name="connsiteX1807" fmla="*/ 3272 w 10746"/>
                  <a:gd name="connsiteY1807" fmla="*/ 3966 h 10000"/>
                  <a:gd name="connsiteX1808" fmla="*/ 3272 w 10746"/>
                  <a:gd name="connsiteY1808" fmla="*/ 3949 h 10000"/>
                  <a:gd name="connsiteX1809" fmla="*/ 3258 w 10746"/>
                  <a:gd name="connsiteY1809" fmla="*/ 3923 h 10000"/>
                  <a:gd name="connsiteX1810" fmla="*/ 3249 w 10746"/>
                  <a:gd name="connsiteY1810" fmla="*/ 3915 h 10000"/>
                  <a:gd name="connsiteX1811" fmla="*/ 3244 w 10746"/>
                  <a:gd name="connsiteY1811" fmla="*/ 3897 h 10000"/>
                  <a:gd name="connsiteX1812" fmla="*/ 3230 w 10746"/>
                  <a:gd name="connsiteY1812" fmla="*/ 3889 h 10000"/>
                  <a:gd name="connsiteX1813" fmla="*/ 3230 w 10746"/>
                  <a:gd name="connsiteY1813" fmla="*/ 3863 h 10000"/>
                  <a:gd name="connsiteX1814" fmla="*/ 3230 w 10746"/>
                  <a:gd name="connsiteY1814" fmla="*/ 3838 h 10000"/>
                  <a:gd name="connsiteX1815" fmla="*/ 3226 w 10746"/>
                  <a:gd name="connsiteY1815" fmla="*/ 3803 h 10000"/>
                  <a:gd name="connsiteX1816" fmla="*/ 3138 w 10746"/>
                  <a:gd name="connsiteY1816" fmla="*/ 3838 h 10000"/>
                  <a:gd name="connsiteX1817" fmla="*/ 3078 w 10746"/>
                  <a:gd name="connsiteY1817" fmla="*/ 3889 h 10000"/>
                  <a:gd name="connsiteX1818" fmla="*/ 3078 w 10746"/>
                  <a:gd name="connsiteY1818" fmla="*/ 3940 h 10000"/>
                  <a:gd name="connsiteX1819" fmla="*/ 3069 w 10746"/>
                  <a:gd name="connsiteY1819" fmla="*/ 3983 h 10000"/>
                  <a:gd name="connsiteX1820" fmla="*/ 3069 w 10746"/>
                  <a:gd name="connsiteY1820" fmla="*/ 4009 h 10000"/>
                  <a:gd name="connsiteX1821" fmla="*/ 3078 w 10746"/>
                  <a:gd name="connsiteY1821" fmla="*/ 4026 h 10000"/>
                  <a:gd name="connsiteX1822" fmla="*/ 3083 w 10746"/>
                  <a:gd name="connsiteY1822" fmla="*/ 4034 h 10000"/>
                  <a:gd name="connsiteX1823" fmla="*/ 3092 w 10746"/>
                  <a:gd name="connsiteY1823" fmla="*/ 4060 h 10000"/>
                  <a:gd name="connsiteX1824" fmla="*/ 3092 w 10746"/>
                  <a:gd name="connsiteY1824" fmla="*/ 4077 h 10000"/>
                  <a:gd name="connsiteX1825" fmla="*/ 3097 w 10746"/>
                  <a:gd name="connsiteY1825" fmla="*/ 4103 h 10000"/>
                  <a:gd name="connsiteX1826" fmla="*/ 3101 w 10746"/>
                  <a:gd name="connsiteY1826" fmla="*/ 4162 h 10000"/>
                  <a:gd name="connsiteX1827" fmla="*/ 3097 w 10746"/>
                  <a:gd name="connsiteY1827" fmla="*/ 4222 h 10000"/>
                  <a:gd name="connsiteX1828" fmla="*/ 3041 w 10746"/>
                  <a:gd name="connsiteY1828" fmla="*/ 4325 h 10000"/>
                  <a:gd name="connsiteX1829" fmla="*/ 3037 w 10746"/>
                  <a:gd name="connsiteY1829" fmla="*/ 4419 h 10000"/>
                  <a:gd name="connsiteX1830" fmla="*/ 3018 w 10746"/>
                  <a:gd name="connsiteY1830" fmla="*/ 4470 h 10000"/>
                  <a:gd name="connsiteX1831" fmla="*/ 2991 w 10746"/>
                  <a:gd name="connsiteY1831" fmla="*/ 4513 h 10000"/>
                  <a:gd name="connsiteX1832" fmla="*/ 2977 w 10746"/>
                  <a:gd name="connsiteY1832" fmla="*/ 4530 h 10000"/>
                  <a:gd name="connsiteX1833" fmla="*/ 2945 w 10746"/>
                  <a:gd name="connsiteY1833" fmla="*/ 4556 h 10000"/>
                  <a:gd name="connsiteX1834" fmla="*/ 2935 w 10746"/>
                  <a:gd name="connsiteY1834" fmla="*/ 4581 h 10000"/>
                  <a:gd name="connsiteX1835" fmla="*/ 2949 w 10746"/>
                  <a:gd name="connsiteY1835" fmla="*/ 4624 h 10000"/>
                  <a:gd name="connsiteX1836" fmla="*/ 2945 w 10746"/>
                  <a:gd name="connsiteY1836" fmla="*/ 4658 h 10000"/>
                  <a:gd name="connsiteX1837" fmla="*/ 2922 w 10746"/>
                  <a:gd name="connsiteY1837" fmla="*/ 4667 h 10000"/>
                  <a:gd name="connsiteX1838" fmla="*/ 2876 w 10746"/>
                  <a:gd name="connsiteY1838" fmla="*/ 4632 h 10000"/>
                  <a:gd name="connsiteX1839" fmla="*/ 2857 w 10746"/>
                  <a:gd name="connsiteY1839" fmla="*/ 4632 h 10000"/>
                  <a:gd name="connsiteX1840" fmla="*/ 2820 w 10746"/>
                  <a:gd name="connsiteY1840" fmla="*/ 4641 h 10000"/>
                  <a:gd name="connsiteX1841" fmla="*/ 2797 w 10746"/>
                  <a:gd name="connsiteY1841" fmla="*/ 4632 h 10000"/>
                  <a:gd name="connsiteX1842" fmla="*/ 2788 w 10746"/>
                  <a:gd name="connsiteY1842" fmla="*/ 4624 h 10000"/>
                  <a:gd name="connsiteX1843" fmla="*/ 2788 w 10746"/>
                  <a:gd name="connsiteY1843" fmla="*/ 4598 h 10000"/>
                  <a:gd name="connsiteX1844" fmla="*/ 2797 w 10746"/>
                  <a:gd name="connsiteY1844" fmla="*/ 4581 h 10000"/>
                  <a:gd name="connsiteX1845" fmla="*/ 2788 w 10746"/>
                  <a:gd name="connsiteY1845" fmla="*/ 4530 h 10000"/>
                  <a:gd name="connsiteX1846" fmla="*/ 2774 w 10746"/>
                  <a:gd name="connsiteY1846" fmla="*/ 4530 h 10000"/>
                  <a:gd name="connsiteX1847" fmla="*/ 2770 w 10746"/>
                  <a:gd name="connsiteY1847" fmla="*/ 4513 h 10000"/>
                  <a:gd name="connsiteX1848" fmla="*/ 2774 w 10746"/>
                  <a:gd name="connsiteY1848" fmla="*/ 4513 h 10000"/>
                  <a:gd name="connsiteX1849" fmla="*/ 2788 w 10746"/>
                  <a:gd name="connsiteY1849" fmla="*/ 4496 h 10000"/>
                  <a:gd name="connsiteX1850" fmla="*/ 2802 w 10746"/>
                  <a:gd name="connsiteY1850" fmla="*/ 4513 h 10000"/>
                  <a:gd name="connsiteX1851" fmla="*/ 2811 w 10746"/>
                  <a:gd name="connsiteY1851" fmla="*/ 4530 h 10000"/>
                  <a:gd name="connsiteX1852" fmla="*/ 2820 w 10746"/>
                  <a:gd name="connsiteY1852" fmla="*/ 4521 h 10000"/>
                  <a:gd name="connsiteX1853" fmla="*/ 2829 w 10746"/>
                  <a:gd name="connsiteY1853" fmla="*/ 4513 h 10000"/>
                  <a:gd name="connsiteX1854" fmla="*/ 2843 w 10746"/>
                  <a:gd name="connsiteY1854" fmla="*/ 4513 h 10000"/>
                  <a:gd name="connsiteX1855" fmla="*/ 2848 w 10746"/>
                  <a:gd name="connsiteY1855" fmla="*/ 4470 h 10000"/>
                  <a:gd name="connsiteX1856" fmla="*/ 2862 w 10746"/>
                  <a:gd name="connsiteY1856" fmla="*/ 4487 h 10000"/>
                  <a:gd name="connsiteX1857" fmla="*/ 2876 w 10746"/>
                  <a:gd name="connsiteY1857" fmla="*/ 4470 h 10000"/>
                  <a:gd name="connsiteX1858" fmla="*/ 2880 w 10746"/>
                  <a:gd name="connsiteY1858" fmla="*/ 4462 h 10000"/>
                  <a:gd name="connsiteX1859" fmla="*/ 2889 w 10746"/>
                  <a:gd name="connsiteY1859" fmla="*/ 4444 h 10000"/>
                  <a:gd name="connsiteX1860" fmla="*/ 2894 w 10746"/>
                  <a:gd name="connsiteY1860" fmla="*/ 4462 h 10000"/>
                  <a:gd name="connsiteX1861" fmla="*/ 2917 w 10746"/>
                  <a:gd name="connsiteY1861" fmla="*/ 4444 h 10000"/>
                  <a:gd name="connsiteX1862" fmla="*/ 2922 w 10746"/>
                  <a:gd name="connsiteY1862" fmla="*/ 4436 h 10000"/>
                  <a:gd name="connsiteX1863" fmla="*/ 2917 w 10746"/>
                  <a:gd name="connsiteY1863" fmla="*/ 4410 h 10000"/>
                  <a:gd name="connsiteX1864" fmla="*/ 2894 w 10746"/>
                  <a:gd name="connsiteY1864" fmla="*/ 4410 h 10000"/>
                  <a:gd name="connsiteX1865" fmla="*/ 2889 w 10746"/>
                  <a:gd name="connsiteY1865" fmla="*/ 4419 h 10000"/>
                  <a:gd name="connsiteX1866" fmla="*/ 2876 w 10746"/>
                  <a:gd name="connsiteY1866" fmla="*/ 4410 h 10000"/>
                  <a:gd name="connsiteX1867" fmla="*/ 2880 w 10746"/>
                  <a:gd name="connsiteY1867" fmla="*/ 4376 h 10000"/>
                  <a:gd name="connsiteX1868" fmla="*/ 2903 w 10746"/>
                  <a:gd name="connsiteY1868" fmla="*/ 4393 h 10000"/>
                  <a:gd name="connsiteX1869" fmla="*/ 2931 w 10746"/>
                  <a:gd name="connsiteY1869" fmla="*/ 4393 h 10000"/>
                  <a:gd name="connsiteX1870" fmla="*/ 2931 w 10746"/>
                  <a:gd name="connsiteY1870" fmla="*/ 4385 h 10000"/>
                  <a:gd name="connsiteX1871" fmla="*/ 2931 w 10746"/>
                  <a:gd name="connsiteY1871" fmla="*/ 4350 h 10000"/>
                  <a:gd name="connsiteX1872" fmla="*/ 2945 w 10746"/>
                  <a:gd name="connsiteY1872" fmla="*/ 4350 h 10000"/>
                  <a:gd name="connsiteX1873" fmla="*/ 2949 w 10746"/>
                  <a:gd name="connsiteY1873" fmla="*/ 4325 h 10000"/>
                  <a:gd name="connsiteX1874" fmla="*/ 2963 w 10746"/>
                  <a:gd name="connsiteY1874" fmla="*/ 4256 h 10000"/>
                  <a:gd name="connsiteX1875" fmla="*/ 2982 w 10746"/>
                  <a:gd name="connsiteY1875" fmla="*/ 4239 h 10000"/>
                  <a:gd name="connsiteX1876" fmla="*/ 2991 w 10746"/>
                  <a:gd name="connsiteY1876" fmla="*/ 4214 h 10000"/>
                  <a:gd name="connsiteX1877" fmla="*/ 2991 w 10746"/>
                  <a:gd name="connsiteY1877" fmla="*/ 4197 h 10000"/>
                  <a:gd name="connsiteX1878" fmla="*/ 2995 w 10746"/>
                  <a:gd name="connsiteY1878" fmla="*/ 4171 h 10000"/>
                  <a:gd name="connsiteX1879" fmla="*/ 2991 w 10746"/>
                  <a:gd name="connsiteY1879" fmla="*/ 4077 h 10000"/>
                  <a:gd name="connsiteX1880" fmla="*/ 2995 w 10746"/>
                  <a:gd name="connsiteY1880" fmla="*/ 4034 h 10000"/>
                  <a:gd name="connsiteX1881" fmla="*/ 3018 w 10746"/>
                  <a:gd name="connsiteY1881" fmla="*/ 3983 h 10000"/>
                  <a:gd name="connsiteX1882" fmla="*/ 3018 w 10746"/>
                  <a:gd name="connsiteY1882" fmla="*/ 3915 h 10000"/>
                  <a:gd name="connsiteX1883" fmla="*/ 2949 w 10746"/>
                  <a:gd name="connsiteY1883" fmla="*/ 3778 h 10000"/>
                  <a:gd name="connsiteX1884" fmla="*/ 2954 w 10746"/>
                  <a:gd name="connsiteY1884" fmla="*/ 3675 h 10000"/>
                  <a:gd name="connsiteX1885" fmla="*/ 2954 w 10746"/>
                  <a:gd name="connsiteY1885" fmla="*/ 3650 h 10000"/>
                  <a:gd name="connsiteX1886" fmla="*/ 2963 w 10746"/>
                  <a:gd name="connsiteY1886" fmla="*/ 3624 h 10000"/>
                  <a:gd name="connsiteX1887" fmla="*/ 2954 w 10746"/>
                  <a:gd name="connsiteY1887" fmla="*/ 3564 h 10000"/>
                  <a:gd name="connsiteX1888" fmla="*/ 2963 w 10746"/>
                  <a:gd name="connsiteY1888" fmla="*/ 3538 h 10000"/>
                  <a:gd name="connsiteX1889" fmla="*/ 2963 w 10746"/>
                  <a:gd name="connsiteY1889" fmla="*/ 3487 h 10000"/>
                  <a:gd name="connsiteX1890" fmla="*/ 2963 w 10746"/>
                  <a:gd name="connsiteY1890" fmla="*/ 3479 h 10000"/>
                  <a:gd name="connsiteX1891" fmla="*/ 2963 w 10746"/>
                  <a:gd name="connsiteY1891" fmla="*/ 3462 h 10000"/>
                  <a:gd name="connsiteX1892" fmla="*/ 2954 w 10746"/>
                  <a:gd name="connsiteY1892" fmla="*/ 3453 h 10000"/>
                  <a:gd name="connsiteX1893" fmla="*/ 2954 w 10746"/>
                  <a:gd name="connsiteY1893" fmla="*/ 3444 h 10000"/>
                  <a:gd name="connsiteX1894" fmla="*/ 2954 w 10746"/>
                  <a:gd name="connsiteY1894" fmla="*/ 3402 h 10000"/>
                  <a:gd name="connsiteX1895" fmla="*/ 2954 w 10746"/>
                  <a:gd name="connsiteY1895" fmla="*/ 3393 h 10000"/>
                  <a:gd name="connsiteX1896" fmla="*/ 2949 w 10746"/>
                  <a:gd name="connsiteY1896" fmla="*/ 3376 h 10000"/>
                  <a:gd name="connsiteX1897" fmla="*/ 2949 w 10746"/>
                  <a:gd name="connsiteY1897" fmla="*/ 3342 h 10000"/>
                  <a:gd name="connsiteX1898" fmla="*/ 2949 w 10746"/>
                  <a:gd name="connsiteY1898" fmla="*/ 3316 h 10000"/>
                  <a:gd name="connsiteX1899" fmla="*/ 2968 w 10746"/>
                  <a:gd name="connsiteY1899" fmla="*/ 3291 h 10000"/>
                  <a:gd name="connsiteX1900" fmla="*/ 2963 w 10746"/>
                  <a:gd name="connsiteY1900" fmla="*/ 3205 h 10000"/>
                  <a:gd name="connsiteX1901" fmla="*/ 2968 w 10746"/>
                  <a:gd name="connsiteY1901" fmla="*/ 3171 h 10000"/>
                  <a:gd name="connsiteX1902" fmla="*/ 2968 w 10746"/>
                  <a:gd name="connsiteY1902" fmla="*/ 3128 h 10000"/>
                  <a:gd name="connsiteX1903" fmla="*/ 2954 w 10746"/>
                  <a:gd name="connsiteY1903" fmla="*/ 3051 h 10000"/>
                  <a:gd name="connsiteX1904" fmla="*/ 2954 w 10746"/>
                  <a:gd name="connsiteY1904" fmla="*/ 3009 h 10000"/>
                  <a:gd name="connsiteX1905" fmla="*/ 2922 w 10746"/>
                  <a:gd name="connsiteY1905" fmla="*/ 2940 h 10000"/>
                  <a:gd name="connsiteX1906" fmla="*/ 2903 w 10746"/>
                  <a:gd name="connsiteY1906" fmla="*/ 2880 h 10000"/>
                  <a:gd name="connsiteX1907" fmla="*/ 2903 w 10746"/>
                  <a:gd name="connsiteY1907" fmla="*/ 2855 h 10000"/>
                  <a:gd name="connsiteX1908" fmla="*/ 2908 w 10746"/>
                  <a:gd name="connsiteY1908" fmla="*/ 2846 h 10000"/>
                  <a:gd name="connsiteX1909" fmla="*/ 2931 w 10746"/>
                  <a:gd name="connsiteY1909" fmla="*/ 2821 h 10000"/>
                  <a:gd name="connsiteX1910" fmla="*/ 2931 w 10746"/>
                  <a:gd name="connsiteY1910" fmla="*/ 2803 h 10000"/>
                  <a:gd name="connsiteX1911" fmla="*/ 2935 w 10746"/>
                  <a:gd name="connsiteY1911" fmla="*/ 2786 h 10000"/>
                  <a:gd name="connsiteX1912" fmla="*/ 2935 w 10746"/>
                  <a:gd name="connsiteY1912" fmla="*/ 2744 h 10000"/>
                  <a:gd name="connsiteX1913" fmla="*/ 2963 w 10746"/>
                  <a:gd name="connsiteY1913" fmla="*/ 2607 h 10000"/>
                  <a:gd name="connsiteX1914" fmla="*/ 2963 w 10746"/>
                  <a:gd name="connsiteY1914" fmla="*/ 2419 h 10000"/>
                  <a:gd name="connsiteX1915" fmla="*/ 2954 w 10746"/>
                  <a:gd name="connsiteY1915" fmla="*/ 2410 h 10000"/>
                  <a:gd name="connsiteX1916" fmla="*/ 2963 w 10746"/>
                  <a:gd name="connsiteY1916" fmla="*/ 2393 h 10000"/>
                  <a:gd name="connsiteX1917" fmla="*/ 2908 w 10746"/>
                  <a:gd name="connsiteY1917" fmla="*/ 2359 h 10000"/>
                  <a:gd name="connsiteX1918" fmla="*/ 2889 w 10746"/>
                  <a:gd name="connsiteY1918" fmla="*/ 2325 h 10000"/>
                  <a:gd name="connsiteX1919" fmla="*/ 2788 w 10746"/>
                  <a:gd name="connsiteY1919" fmla="*/ 2333 h 10000"/>
                  <a:gd name="connsiteX1920" fmla="*/ 2774 w 10746"/>
                  <a:gd name="connsiteY1920" fmla="*/ 2325 h 10000"/>
                  <a:gd name="connsiteX1921" fmla="*/ 2783 w 10746"/>
                  <a:gd name="connsiteY1921" fmla="*/ 2308 h 10000"/>
                  <a:gd name="connsiteX1922" fmla="*/ 2747 w 10746"/>
                  <a:gd name="connsiteY1922" fmla="*/ 2308 h 10000"/>
                  <a:gd name="connsiteX1923" fmla="*/ 2742 w 10746"/>
                  <a:gd name="connsiteY1923" fmla="*/ 2333 h 10000"/>
                  <a:gd name="connsiteX1924" fmla="*/ 2682 w 10746"/>
                  <a:gd name="connsiteY1924" fmla="*/ 2769 h 10000"/>
                  <a:gd name="connsiteX1925" fmla="*/ 2613 w 10746"/>
                  <a:gd name="connsiteY1925" fmla="*/ 2940 h 10000"/>
                  <a:gd name="connsiteX1926" fmla="*/ 2581 w 10746"/>
                  <a:gd name="connsiteY1926" fmla="*/ 2966 h 10000"/>
                  <a:gd name="connsiteX1927" fmla="*/ 2576 w 10746"/>
                  <a:gd name="connsiteY1927" fmla="*/ 3051 h 10000"/>
                  <a:gd name="connsiteX1928" fmla="*/ 2581 w 10746"/>
                  <a:gd name="connsiteY1928" fmla="*/ 3051 h 10000"/>
                  <a:gd name="connsiteX1929" fmla="*/ 2594 w 10746"/>
                  <a:gd name="connsiteY1929" fmla="*/ 3017 h 10000"/>
                  <a:gd name="connsiteX1930" fmla="*/ 2594 w 10746"/>
                  <a:gd name="connsiteY1930" fmla="*/ 3034 h 10000"/>
                  <a:gd name="connsiteX1931" fmla="*/ 2594 w 10746"/>
                  <a:gd name="connsiteY1931" fmla="*/ 3051 h 10000"/>
                  <a:gd name="connsiteX1932" fmla="*/ 2590 w 10746"/>
                  <a:gd name="connsiteY1932" fmla="*/ 3077 h 10000"/>
                  <a:gd name="connsiteX1933" fmla="*/ 2567 w 10746"/>
                  <a:gd name="connsiteY1933" fmla="*/ 3103 h 10000"/>
                  <a:gd name="connsiteX1934" fmla="*/ 2562 w 10746"/>
                  <a:gd name="connsiteY1934" fmla="*/ 3145 h 10000"/>
                  <a:gd name="connsiteX1935" fmla="*/ 2567 w 10746"/>
                  <a:gd name="connsiteY1935" fmla="*/ 3179 h 10000"/>
                  <a:gd name="connsiteX1936" fmla="*/ 2590 w 10746"/>
                  <a:gd name="connsiteY1936" fmla="*/ 3171 h 10000"/>
                  <a:gd name="connsiteX1937" fmla="*/ 2594 w 10746"/>
                  <a:gd name="connsiteY1937" fmla="*/ 3145 h 10000"/>
                  <a:gd name="connsiteX1938" fmla="*/ 2613 w 10746"/>
                  <a:gd name="connsiteY1938" fmla="*/ 3154 h 10000"/>
                  <a:gd name="connsiteX1939" fmla="*/ 2622 w 10746"/>
                  <a:gd name="connsiteY1939" fmla="*/ 3179 h 10000"/>
                  <a:gd name="connsiteX1940" fmla="*/ 2613 w 10746"/>
                  <a:gd name="connsiteY1940" fmla="*/ 3214 h 10000"/>
                  <a:gd name="connsiteX1941" fmla="*/ 2613 w 10746"/>
                  <a:gd name="connsiteY1941" fmla="*/ 3308 h 10000"/>
                  <a:gd name="connsiteX1942" fmla="*/ 2608 w 10746"/>
                  <a:gd name="connsiteY1942" fmla="*/ 3325 h 10000"/>
                  <a:gd name="connsiteX1943" fmla="*/ 2608 w 10746"/>
                  <a:gd name="connsiteY1943" fmla="*/ 3376 h 10000"/>
                  <a:gd name="connsiteX1944" fmla="*/ 2613 w 10746"/>
                  <a:gd name="connsiteY1944" fmla="*/ 3419 h 10000"/>
                  <a:gd name="connsiteX1945" fmla="*/ 2608 w 10746"/>
                  <a:gd name="connsiteY1945" fmla="*/ 3444 h 10000"/>
                  <a:gd name="connsiteX1946" fmla="*/ 2594 w 10746"/>
                  <a:gd name="connsiteY1946" fmla="*/ 3444 h 10000"/>
                  <a:gd name="connsiteX1947" fmla="*/ 2590 w 10746"/>
                  <a:gd name="connsiteY1947" fmla="*/ 3427 h 10000"/>
                  <a:gd name="connsiteX1948" fmla="*/ 2581 w 10746"/>
                  <a:gd name="connsiteY1948" fmla="*/ 3564 h 10000"/>
                  <a:gd name="connsiteX1949" fmla="*/ 2594 w 10746"/>
                  <a:gd name="connsiteY1949" fmla="*/ 3598 h 10000"/>
                  <a:gd name="connsiteX1950" fmla="*/ 2594 w 10746"/>
                  <a:gd name="connsiteY1950" fmla="*/ 3581 h 10000"/>
                  <a:gd name="connsiteX1951" fmla="*/ 2608 w 10746"/>
                  <a:gd name="connsiteY1951" fmla="*/ 3556 h 10000"/>
                  <a:gd name="connsiteX1952" fmla="*/ 2650 w 10746"/>
                  <a:gd name="connsiteY1952" fmla="*/ 3615 h 10000"/>
                  <a:gd name="connsiteX1953" fmla="*/ 2664 w 10746"/>
                  <a:gd name="connsiteY1953" fmla="*/ 3615 h 10000"/>
                  <a:gd name="connsiteX1954" fmla="*/ 2668 w 10746"/>
                  <a:gd name="connsiteY1954" fmla="*/ 3615 h 10000"/>
                  <a:gd name="connsiteX1955" fmla="*/ 2664 w 10746"/>
                  <a:gd name="connsiteY1955" fmla="*/ 3667 h 10000"/>
                  <a:gd name="connsiteX1956" fmla="*/ 2687 w 10746"/>
                  <a:gd name="connsiteY1956" fmla="*/ 3786 h 10000"/>
                  <a:gd name="connsiteX1957" fmla="*/ 2710 w 10746"/>
                  <a:gd name="connsiteY1957" fmla="*/ 3812 h 10000"/>
                  <a:gd name="connsiteX1958" fmla="*/ 2724 w 10746"/>
                  <a:gd name="connsiteY1958" fmla="*/ 3812 h 10000"/>
                  <a:gd name="connsiteX1959" fmla="*/ 2724 w 10746"/>
                  <a:gd name="connsiteY1959" fmla="*/ 3829 h 10000"/>
                  <a:gd name="connsiteX1960" fmla="*/ 2737 w 10746"/>
                  <a:gd name="connsiteY1960" fmla="*/ 3838 h 10000"/>
                  <a:gd name="connsiteX1961" fmla="*/ 2714 w 10746"/>
                  <a:gd name="connsiteY1961" fmla="*/ 3872 h 10000"/>
                  <a:gd name="connsiteX1962" fmla="*/ 2696 w 10746"/>
                  <a:gd name="connsiteY1962" fmla="*/ 4026 h 10000"/>
                  <a:gd name="connsiteX1963" fmla="*/ 2673 w 10746"/>
                  <a:gd name="connsiteY1963" fmla="*/ 4051 h 10000"/>
                  <a:gd name="connsiteX1964" fmla="*/ 2668 w 10746"/>
                  <a:gd name="connsiteY1964" fmla="*/ 4034 h 10000"/>
                  <a:gd name="connsiteX1965" fmla="*/ 2673 w 10746"/>
                  <a:gd name="connsiteY1965" fmla="*/ 4000 h 10000"/>
                  <a:gd name="connsiteX1966" fmla="*/ 2664 w 10746"/>
                  <a:gd name="connsiteY1966" fmla="*/ 3974 h 10000"/>
                  <a:gd name="connsiteX1967" fmla="*/ 2636 w 10746"/>
                  <a:gd name="connsiteY1967" fmla="*/ 3949 h 10000"/>
                  <a:gd name="connsiteX1968" fmla="*/ 2581 w 10746"/>
                  <a:gd name="connsiteY1968" fmla="*/ 3838 h 10000"/>
                  <a:gd name="connsiteX1969" fmla="*/ 2562 w 10746"/>
                  <a:gd name="connsiteY1969" fmla="*/ 3829 h 10000"/>
                  <a:gd name="connsiteX1970" fmla="*/ 2535 w 10746"/>
                  <a:gd name="connsiteY1970" fmla="*/ 3778 h 10000"/>
                  <a:gd name="connsiteX1971" fmla="*/ 2502 w 10746"/>
                  <a:gd name="connsiteY1971" fmla="*/ 3761 h 10000"/>
                  <a:gd name="connsiteX1972" fmla="*/ 2502 w 10746"/>
                  <a:gd name="connsiteY1972" fmla="*/ 3735 h 10000"/>
                  <a:gd name="connsiteX1973" fmla="*/ 2516 w 10746"/>
                  <a:gd name="connsiteY1973" fmla="*/ 3735 h 10000"/>
                  <a:gd name="connsiteX1974" fmla="*/ 2507 w 10746"/>
                  <a:gd name="connsiteY1974" fmla="*/ 3726 h 10000"/>
                  <a:gd name="connsiteX1975" fmla="*/ 2488 w 10746"/>
                  <a:gd name="connsiteY1975" fmla="*/ 3726 h 10000"/>
                  <a:gd name="connsiteX1976" fmla="*/ 2461 w 10746"/>
                  <a:gd name="connsiteY1976" fmla="*/ 3692 h 10000"/>
                  <a:gd name="connsiteX1977" fmla="*/ 2442 w 10746"/>
                  <a:gd name="connsiteY1977" fmla="*/ 3675 h 10000"/>
                  <a:gd name="connsiteX1978" fmla="*/ 2406 w 10746"/>
                  <a:gd name="connsiteY1978" fmla="*/ 3598 h 10000"/>
                  <a:gd name="connsiteX1979" fmla="*/ 2346 w 10746"/>
                  <a:gd name="connsiteY1979" fmla="*/ 3564 h 10000"/>
                  <a:gd name="connsiteX1980" fmla="*/ 2341 w 10746"/>
                  <a:gd name="connsiteY1980" fmla="*/ 3564 h 10000"/>
                  <a:gd name="connsiteX1981" fmla="*/ 2313 w 10746"/>
                  <a:gd name="connsiteY1981" fmla="*/ 3530 h 10000"/>
                  <a:gd name="connsiteX1982" fmla="*/ 2235 w 10746"/>
                  <a:gd name="connsiteY1982" fmla="*/ 3530 h 10000"/>
                  <a:gd name="connsiteX1983" fmla="*/ 2226 w 10746"/>
                  <a:gd name="connsiteY1983" fmla="*/ 3513 h 10000"/>
                  <a:gd name="connsiteX1984" fmla="*/ 2207 w 10746"/>
                  <a:gd name="connsiteY1984" fmla="*/ 3504 h 10000"/>
                  <a:gd name="connsiteX1985" fmla="*/ 2194 w 10746"/>
                  <a:gd name="connsiteY1985" fmla="*/ 3504 h 10000"/>
                  <a:gd name="connsiteX1986" fmla="*/ 2189 w 10746"/>
                  <a:gd name="connsiteY1986" fmla="*/ 3504 h 10000"/>
                  <a:gd name="connsiteX1987" fmla="*/ 2189 w 10746"/>
                  <a:gd name="connsiteY1987" fmla="*/ 3530 h 10000"/>
                  <a:gd name="connsiteX1988" fmla="*/ 2180 w 10746"/>
                  <a:gd name="connsiteY1988" fmla="*/ 3538 h 10000"/>
                  <a:gd name="connsiteX1989" fmla="*/ 2152 w 10746"/>
                  <a:gd name="connsiteY1989" fmla="*/ 3581 h 10000"/>
                  <a:gd name="connsiteX1990" fmla="*/ 2161 w 10746"/>
                  <a:gd name="connsiteY1990" fmla="*/ 3598 h 10000"/>
                  <a:gd name="connsiteX1991" fmla="*/ 2194 w 10746"/>
                  <a:gd name="connsiteY1991" fmla="*/ 3752 h 10000"/>
                  <a:gd name="connsiteX1992" fmla="*/ 2194 w 10746"/>
                  <a:gd name="connsiteY1992" fmla="*/ 3735 h 10000"/>
                  <a:gd name="connsiteX1993" fmla="*/ 2198 w 10746"/>
                  <a:gd name="connsiteY1993" fmla="*/ 3735 h 10000"/>
                  <a:gd name="connsiteX1994" fmla="*/ 2189 w 10746"/>
                  <a:gd name="connsiteY1994" fmla="*/ 3838 h 10000"/>
                  <a:gd name="connsiteX1995" fmla="*/ 2166 w 10746"/>
                  <a:gd name="connsiteY1995" fmla="*/ 3889 h 10000"/>
                  <a:gd name="connsiteX1996" fmla="*/ 2124 w 10746"/>
                  <a:gd name="connsiteY1996" fmla="*/ 3889 h 10000"/>
                  <a:gd name="connsiteX1997" fmla="*/ 2124 w 10746"/>
                  <a:gd name="connsiteY1997" fmla="*/ 3923 h 10000"/>
                  <a:gd name="connsiteX1998" fmla="*/ 2134 w 10746"/>
                  <a:gd name="connsiteY1998" fmla="*/ 3940 h 10000"/>
                  <a:gd name="connsiteX1999" fmla="*/ 2134 w 10746"/>
                  <a:gd name="connsiteY1999" fmla="*/ 3966 h 10000"/>
                  <a:gd name="connsiteX2000" fmla="*/ 2120 w 10746"/>
                  <a:gd name="connsiteY2000" fmla="*/ 4000 h 10000"/>
                  <a:gd name="connsiteX2001" fmla="*/ 2106 w 10746"/>
                  <a:gd name="connsiteY2001" fmla="*/ 4009 h 10000"/>
                  <a:gd name="connsiteX2002" fmla="*/ 2088 w 10746"/>
                  <a:gd name="connsiteY2002" fmla="*/ 4000 h 10000"/>
                  <a:gd name="connsiteX2003" fmla="*/ 2074 w 10746"/>
                  <a:gd name="connsiteY2003" fmla="*/ 3974 h 10000"/>
                  <a:gd name="connsiteX2004" fmla="*/ 2074 w 10746"/>
                  <a:gd name="connsiteY2004" fmla="*/ 3940 h 10000"/>
                  <a:gd name="connsiteX2005" fmla="*/ 2078 w 10746"/>
                  <a:gd name="connsiteY2005" fmla="*/ 3915 h 10000"/>
                  <a:gd name="connsiteX2006" fmla="*/ 2088 w 10746"/>
                  <a:gd name="connsiteY2006" fmla="*/ 3889 h 10000"/>
                  <a:gd name="connsiteX2007" fmla="*/ 2101 w 10746"/>
                  <a:gd name="connsiteY2007" fmla="*/ 3872 h 10000"/>
                  <a:gd name="connsiteX2008" fmla="*/ 2074 w 10746"/>
                  <a:gd name="connsiteY2008" fmla="*/ 3812 h 10000"/>
                  <a:gd name="connsiteX2009" fmla="*/ 2074 w 10746"/>
                  <a:gd name="connsiteY2009" fmla="*/ 3786 h 10000"/>
                  <a:gd name="connsiteX2010" fmla="*/ 2060 w 10746"/>
                  <a:gd name="connsiteY2010" fmla="*/ 3786 h 10000"/>
                  <a:gd name="connsiteX2011" fmla="*/ 2014 w 10746"/>
                  <a:gd name="connsiteY2011" fmla="*/ 3829 h 10000"/>
                  <a:gd name="connsiteX2012" fmla="*/ 2000 w 10746"/>
                  <a:gd name="connsiteY2012" fmla="*/ 3863 h 10000"/>
                  <a:gd name="connsiteX2013" fmla="*/ 1986 w 10746"/>
                  <a:gd name="connsiteY2013" fmla="*/ 3872 h 10000"/>
                  <a:gd name="connsiteX2014" fmla="*/ 1959 w 10746"/>
                  <a:gd name="connsiteY2014" fmla="*/ 3940 h 10000"/>
                  <a:gd name="connsiteX2015" fmla="*/ 1945 w 10746"/>
                  <a:gd name="connsiteY2015" fmla="*/ 3949 h 10000"/>
                  <a:gd name="connsiteX2016" fmla="*/ 1940 w 10746"/>
                  <a:gd name="connsiteY2016" fmla="*/ 3923 h 10000"/>
                  <a:gd name="connsiteX2017" fmla="*/ 1917 w 10746"/>
                  <a:gd name="connsiteY2017" fmla="*/ 3915 h 10000"/>
                  <a:gd name="connsiteX2018" fmla="*/ 1899 w 10746"/>
                  <a:gd name="connsiteY2018" fmla="*/ 3923 h 10000"/>
                  <a:gd name="connsiteX2019" fmla="*/ 1880 w 10746"/>
                  <a:gd name="connsiteY2019" fmla="*/ 3915 h 10000"/>
                  <a:gd name="connsiteX2020" fmla="*/ 1853 w 10746"/>
                  <a:gd name="connsiteY2020" fmla="*/ 3940 h 10000"/>
                  <a:gd name="connsiteX2021" fmla="*/ 1839 w 10746"/>
                  <a:gd name="connsiteY2021" fmla="*/ 3940 h 10000"/>
                  <a:gd name="connsiteX2022" fmla="*/ 1806 w 10746"/>
                  <a:gd name="connsiteY2022" fmla="*/ 3983 h 10000"/>
                  <a:gd name="connsiteX2023" fmla="*/ 1806 w 10746"/>
                  <a:gd name="connsiteY2023" fmla="*/ 4000 h 10000"/>
                  <a:gd name="connsiteX2024" fmla="*/ 1797 w 10746"/>
                  <a:gd name="connsiteY2024" fmla="*/ 4077 h 10000"/>
                  <a:gd name="connsiteX2025" fmla="*/ 1783 w 10746"/>
                  <a:gd name="connsiteY2025" fmla="*/ 4077 h 10000"/>
                  <a:gd name="connsiteX2026" fmla="*/ 1779 w 10746"/>
                  <a:gd name="connsiteY2026" fmla="*/ 4051 h 10000"/>
                  <a:gd name="connsiteX2027" fmla="*/ 1765 w 10746"/>
                  <a:gd name="connsiteY2027" fmla="*/ 4026 h 10000"/>
                  <a:gd name="connsiteX2028" fmla="*/ 1751 w 10746"/>
                  <a:gd name="connsiteY2028" fmla="*/ 4051 h 10000"/>
                  <a:gd name="connsiteX2029" fmla="*/ 1737 w 10746"/>
                  <a:gd name="connsiteY2029" fmla="*/ 4009 h 10000"/>
                  <a:gd name="connsiteX2030" fmla="*/ 1737 w 10746"/>
                  <a:gd name="connsiteY2030" fmla="*/ 3966 h 10000"/>
                  <a:gd name="connsiteX2031" fmla="*/ 1733 w 10746"/>
                  <a:gd name="connsiteY2031" fmla="*/ 3940 h 10000"/>
                  <a:gd name="connsiteX2032" fmla="*/ 1733 w 10746"/>
                  <a:gd name="connsiteY2032" fmla="*/ 3923 h 10000"/>
                  <a:gd name="connsiteX2033" fmla="*/ 1747 w 10746"/>
                  <a:gd name="connsiteY2033" fmla="*/ 3889 h 10000"/>
                  <a:gd name="connsiteX2034" fmla="*/ 1747 w 10746"/>
                  <a:gd name="connsiteY2034" fmla="*/ 3863 h 10000"/>
                  <a:gd name="connsiteX2035" fmla="*/ 1737 w 10746"/>
                  <a:gd name="connsiteY2035" fmla="*/ 3838 h 10000"/>
                  <a:gd name="connsiteX2036" fmla="*/ 1733 w 10746"/>
                  <a:gd name="connsiteY2036" fmla="*/ 3829 h 10000"/>
                  <a:gd name="connsiteX2037" fmla="*/ 1733 w 10746"/>
                  <a:gd name="connsiteY2037" fmla="*/ 3846 h 10000"/>
                  <a:gd name="connsiteX2038" fmla="*/ 1724 w 10746"/>
                  <a:gd name="connsiteY2038" fmla="*/ 3846 h 10000"/>
                  <a:gd name="connsiteX2039" fmla="*/ 1724 w 10746"/>
                  <a:gd name="connsiteY2039" fmla="*/ 3829 h 10000"/>
                  <a:gd name="connsiteX2040" fmla="*/ 1737 w 10746"/>
                  <a:gd name="connsiteY2040" fmla="*/ 3812 h 10000"/>
                  <a:gd name="connsiteX2041" fmla="*/ 1765 w 10746"/>
                  <a:gd name="connsiteY2041" fmla="*/ 3812 h 10000"/>
                  <a:gd name="connsiteX2042" fmla="*/ 1779 w 10746"/>
                  <a:gd name="connsiteY2042" fmla="*/ 3786 h 10000"/>
                  <a:gd name="connsiteX2043" fmla="*/ 1779 w 10746"/>
                  <a:gd name="connsiteY2043" fmla="*/ 3786 h 10000"/>
                  <a:gd name="connsiteX2044" fmla="*/ 1751 w 10746"/>
                  <a:gd name="connsiteY2044" fmla="*/ 3803 h 10000"/>
                  <a:gd name="connsiteX2045" fmla="*/ 1747 w 10746"/>
                  <a:gd name="connsiteY2045" fmla="*/ 3803 h 10000"/>
                  <a:gd name="connsiteX2046" fmla="*/ 1724 w 10746"/>
                  <a:gd name="connsiteY2046" fmla="*/ 3803 h 10000"/>
                  <a:gd name="connsiteX2047" fmla="*/ 1700 w 10746"/>
                  <a:gd name="connsiteY2047" fmla="*/ 3829 h 10000"/>
                  <a:gd name="connsiteX2048" fmla="*/ 1705 w 10746"/>
                  <a:gd name="connsiteY2048" fmla="*/ 3846 h 10000"/>
                  <a:gd name="connsiteX2049" fmla="*/ 1691 w 10746"/>
                  <a:gd name="connsiteY2049" fmla="*/ 3846 h 10000"/>
                  <a:gd name="connsiteX2050" fmla="*/ 1691 w 10746"/>
                  <a:gd name="connsiteY2050" fmla="*/ 3863 h 10000"/>
                  <a:gd name="connsiteX2051" fmla="*/ 1691 w 10746"/>
                  <a:gd name="connsiteY2051" fmla="*/ 3915 h 10000"/>
                  <a:gd name="connsiteX2052" fmla="*/ 1677 w 10746"/>
                  <a:gd name="connsiteY2052" fmla="*/ 3923 h 10000"/>
                  <a:gd name="connsiteX2053" fmla="*/ 1673 w 10746"/>
                  <a:gd name="connsiteY2053" fmla="*/ 3915 h 10000"/>
                  <a:gd name="connsiteX2054" fmla="*/ 1664 w 10746"/>
                  <a:gd name="connsiteY2054" fmla="*/ 3889 h 10000"/>
                  <a:gd name="connsiteX2055" fmla="*/ 1673 w 10746"/>
                  <a:gd name="connsiteY2055" fmla="*/ 3872 h 10000"/>
                  <a:gd name="connsiteX2056" fmla="*/ 1664 w 10746"/>
                  <a:gd name="connsiteY2056" fmla="*/ 3872 h 10000"/>
                  <a:gd name="connsiteX2057" fmla="*/ 1636 w 10746"/>
                  <a:gd name="connsiteY2057" fmla="*/ 3923 h 10000"/>
                  <a:gd name="connsiteX2058" fmla="*/ 1645 w 10746"/>
                  <a:gd name="connsiteY2058" fmla="*/ 3923 h 10000"/>
                  <a:gd name="connsiteX2059" fmla="*/ 1650 w 10746"/>
                  <a:gd name="connsiteY2059" fmla="*/ 3949 h 10000"/>
                  <a:gd name="connsiteX2060" fmla="*/ 1650 w 10746"/>
                  <a:gd name="connsiteY2060" fmla="*/ 3983 h 10000"/>
                  <a:gd name="connsiteX2061" fmla="*/ 1636 w 10746"/>
                  <a:gd name="connsiteY2061" fmla="*/ 4000 h 10000"/>
                  <a:gd name="connsiteX2062" fmla="*/ 1631 w 10746"/>
                  <a:gd name="connsiteY2062" fmla="*/ 4009 h 10000"/>
                  <a:gd name="connsiteX2063" fmla="*/ 1618 w 10746"/>
                  <a:gd name="connsiteY2063" fmla="*/ 3949 h 10000"/>
                  <a:gd name="connsiteX2064" fmla="*/ 1585 w 10746"/>
                  <a:gd name="connsiteY2064" fmla="*/ 3966 h 10000"/>
                  <a:gd name="connsiteX2065" fmla="*/ 1590 w 10746"/>
                  <a:gd name="connsiteY2065" fmla="*/ 3974 h 10000"/>
                  <a:gd name="connsiteX2066" fmla="*/ 1544 w 10746"/>
                  <a:gd name="connsiteY2066" fmla="*/ 4009 h 10000"/>
                  <a:gd name="connsiteX2067" fmla="*/ 1539 w 10746"/>
                  <a:gd name="connsiteY2067" fmla="*/ 4009 h 10000"/>
                  <a:gd name="connsiteX2068" fmla="*/ 1410 w 10746"/>
                  <a:gd name="connsiteY2068" fmla="*/ 4188 h 10000"/>
                  <a:gd name="connsiteX2069" fmla="*/ 1406 w 10746"/>
                  <a:gd name="connsiteY2069" fmla="*/ 4171 h 10000"/>
                  <a:gd name="connsiteX2070" fmla="*/ 1396 w 10746"/>
                  <a:gd name="connsiteY2070" fmla="*/ 4214 h 10000"/>
                  <a:gd name="connsiteX2071" fmla="*/ 1406 w 10746"/>
                  <a:gd name="connsiteY2071" fmla="*/ 4222 h 10000"/>
                  <a:gd name="connsiteX2072" fmla="*/ 1392 w 10746"/>
                  <a:gd name="connsiteY2072" fmla="*/ 4239 h 10000"/>
                  <a:gd name="connsiteX2073" fmla="*/ 1369 w 10746"/>
                  <a:gd name="connsiteY2073" fmla="*/ 4248 h 10000"/>
                  <a:gd name="connsiteX2074" fmla="*/ 1355 w 10746"/>
                  <a:gd name="connsiteY2074" fmla="*/ 4256 h 10000"/>
                  <a:gd name="connsiteX2075" fmla="*/ 1350 w 10746"/>
                  <a:gd name="connsiteY2075" fmla="*/ 4248 h 10000"/>
                  <a:gd name="connsiteX2076" fmla="*/ 1332 w 10746"/>
                  <a:gd name="connsiteY2076" fmla="*/ 4376 h 10000"/>
                  <a:gd name="connsiteX2077" fmla="*/ 1332 w 10746"/>
                  <a:gd name="connsiteY2077" fmla="*/ 4436 h 10000"/>
                  <a:gd name="connsiteX2078" fmla="*/ 1323 w 10746"/>
                  <a:gd name="connsiteY2078" fmla="*/ 4462 h 10000"/>
                  <a:gd name="connsiteX2079" fmla="*/ 1304 w 10746"/>
                  <a:gd name="connsiteY2079" fmla="*/ 4487 h 10000"/>
                  <a:gd name="connsiteX2080" fmla="*/ 1290 w 10746"/>
                  <a:gd name="connsiteY2080" fmla="*/ 4470 h 10000"/>
                  <a:gd name="connsiteX2081" fmla="*/ 1263 w 10746"/>
                  <a:gd name="connsiteY2081" fmla="*/ 4496 h 10000"/>
                  <a:gd name="connsiteX2082" fmla="*/ 1258 w 10746"/>
                  <a:gd name="connsiteY2082" fmla="*/ 4547 h 10000"/>
                  <a:gd name="connsiteX2083" fmla="*/ 1249 w 10746"/>
                  <a:gd name="connsiteY2083" fmla="*/ 4487 h 10000"/>
                  <a:gd name="connsiteX2084" fmla="*/ 1235 w 10746"/>
                  <a:gd name="connsiteY2084" fmla="*/ 4496 h 10000"/>
                  <a:gd name="connsiteX2085" fmla="*/ 1221 w 10746"/>
                  <a:gd name="connsiteY2085" fmla="*/ 4496 h 10000"/>
                  <a:gd name="connsiteX2086" fmla="*/ 1217 w 10746"/>
                  <a:gd name="connsiteY2086" fmla="*/ 4487 h 10000"/>
                  <a:gd name="connsiteX2087" fmla="*/ 1198 w 10746"/>
                  <a:gd name="connsiteY2087" fmla="*/ 4410 h 10000"/>
                  <a:gd name="connsiteX2088" fmla="*/ 1157 w 10746"/>
                  <a:gd name="connsiteY2088" fmla="*/ 4333 h 10000"/>
                  <a:gd name="connsiteX2089" fmla="*/ 1147 w 10746"/>
                  <a:gd name="connsiteY2089" fmla="*/ 4299 h 10000"/>
                  <a:gd name="connsiteX2090" fmla="*/ 1147 w 10746"/>
                  <a:gd name="connsiteY2090" fmla="*/ 4274 h 10000"/>
                  <a:gd name="connsiteX2091" fmla="*/ 1161 w 10746"/>
                  <a:gd name="connsiteY2091" fmla="*/ 4256 h 10000"/>
                  <a:gd name="connsiteX2092" fmla="*/ 1171 w 10746"/>
                  <a:gd name="connsiteY2092" fmla="*/ 4248 h 10000"/>
                  <a:gd name="connsiteX2093" fmla="*/ 1175 w 10746"/>
                  <a:gd name="connsiteY2093" fmla="*/ 4214 h 10000"/>
                  <a:gd name="connsiteX2094" fmla="*/ 1263 w 10746"/>
                  <a:gd name="connsiteY2094" fmla="*/ 4171 h 10000"/>
                  <a:gd name="connsiteX2095" fmla="*/ 1249 w 10746"/>
                  <a:gd name="connsiteY2095" fmla="*/ 4137 h 10000"/>
                  <a:gd name="connsiteX2096" fmla="*/ 1244 w 10746"/>
                  <a:gd name="connsiteY2096" fmla="*/ 4060 h 10000"/>
                  <a:gd name="connsiteX2097" fmla="*/ 1230 w 10746"/>
                  <a:gd name="connsiteY2097" fmla="*/ 4077 h 10000"/>
                  <a:gd name="connsiteX2098" fmla="*/ 1221 w 10746"/>
                  <a:gd name="connsiteY2098" fmla="*/ 4026 h 10000"/>
                  <a:gd name="connsiteX2099" fmla="*/ 1217 w 10746"/>
                  <a:gd name="connsiteY2099" fmla="*/ 4026 h 10000"/>
                  <a:gd name="connsiteX2100" fmla="*/ 1212 w 10746"/>
                  <a:gd name="connsiteY2100" fmla="*/ 3983 h 10000"/>
                  <a:gd name="connsiteX2101" fmla="*/ 1203 w 10746"/>
                  <a:gd name="connsiteY2101" fmla="*/ 3966 h 10000"/>
                  <a:gd name="connsiteX2102" fmla="*/ 1171 w 10746"/>
                  <a:gd name="connsiteY2102" fmla="*/ 3949 h 10000"/>
                  <a:gd name="connsiteX2103" fmla="*/ 1111 w 10746"/>
                  <a:gd name="connsiteY2103" fmla="*/ 3940 h 10000"/>
                  <a:gd name="connsiteX2104" fmla="*/ 1097 w 10746"/>
                  <a:gd name="connsiteY2104" fmla="*/ 3949 h 10000"/>
                  <a:gd name="connsiteX2105" fmla="*/ 1037 w 10746"/>
                  <a:gd name="connsiteY2105" fmla="*/ 3897 h 10000"/>
                  <a:gd name="connsiteX2106" fmla="*/ 1041 w 10746"/>
                  <a:gd name="connsiteY2106" fmla="*/ 3923 h 10000"/>
                  <a:gd name="connsiteX2107" fmla="*/ 1097 w 10746"/>
                  <a:gd name="connsiteY2107" fmla="*/ 4009 h 10000"/>
                  <a:gd name="connsiteX2108" fmla="*/ 1097 w 10746"/>
                  <a:gd name="connsiteY2108" fmla="*/ 4120 h 10000"/>
                  <a:gd name="connsiteX2109" fmla="*/ 1097 w 10746"/>
                  <a:gd name="connsiteY2109" fmla="*/ 4162 h 10000"/>
                  <a:gd name="connsiteX2110" fmla="*/ 1097 w 10746"/>
                  <a:gd name="connsiteY2110" fmla="*/ 4197 h 10000"/>
                  <a:gd name="connsiteX2111" fmla="*/ 1074 w 10746"/>
                  <a:gd name="connsiteY2111" fmla="*/ 4333 h 10000"/>
                  <a:gd name="connsiteX2112" fmla="*/ 1074 w 10746"/>
                  <a:gd name="connsiteY2112" fmla="*/ 4376 h 10000"/>
                  <a:gd name="connsiteX2113" fmla="*/ 1083 w 10746"/>
                  <a:gd name="connsiteY2113" fmla="*/ 4385 h 10000"/>
                  <a:gd name="connsiteX2114" fmla="*/ 1097 w 10746"/>
                  <a:gd name="connsiteY2114" fmla="*/ 4385 h 10000"/>
                  <a:gd name="connsiteX2115" fmla="*/ 1111 w 10746"/>
                  <a:gd name="connsiteY2115" fmla="*/ 4410 h 10000"/>
                  <a:gd name="connsiteX2116" fmla="*/ 1124 w 10746"/>
                  <a:gd name="connsiteY2116" fmla="*/ 4444 h 10000"/>
                  <a:gd name="connsiteX2117" fmla="*/ 1124 w 10746"/>
                  <a:gd name="connsiteY2117" fmla="*/ 4470 h 10000"/>
                  <a:gd name="connsiteX2118" fmla="*/ 1115 w 10746"/>
                  <a:gd name="connsiteY2118" fmla="*/ 4513 h 10000"/>
                  <a:gd name="connsiteX2119" fmla="*/ 1115 w 10746"/>
                  <a:gd name="connsiteY2119" fmla="*/ 4530 h 10000"/>
                  <a:gd name="connsiteX2120" fmla="*/ 1115 w 10746"/>
                  <a:gd name="connsiteY2120" fmla="*/ 4573 h 10000"/>
                  <a:gd name="connsiteX2121" fmla="*/ 1101 w 10746"/>
                  <a:gd name="connsiteY2121" fmla="*/ 4607 h 10000"/>
                  <a:gd name="connsiteX2122" fmla="*/ 1097 w 10746"/>
                  <a:gd name="connsiteY2122" fmla="*/ 4658 h 10000"/>
                  <a:gd name="connsiteX2123" fmla="*/ 1101 w 10746"/>
                  <a:gd name="connsiteY2123" fmla="*/ 4692 h 10000"/>
                  <a:gd name="connsiteX2124" fmla="*/ 1097 w 10746"/>
                  <a:gd name="connsiteY2124" fmla="*/ 4778 h 10000"/>
                  <a:gd name="connsiteX2125" fmla="*/ 1083 w 10746"/>
                  <a:gd name="connsiteY2125" fmla="*/ 4744 h 10000"/>
                  <a:gd name="connsiteX2126" fmla="*/ 1083 w 10746"/>
                  <a:gd name="connsiteY2126" fmla="*/ 4718 h 10000"/>
                  <a:gd name="connsiteX2127" fmla="*/ 1074 w 10746"/>
                  <a:gd name="connsiteY2127" fmla="*/ 4692 h 10000"/>
                  <a:gd name="connsiteX2128" fmla="*/ 1065 w 10746"/>
                  <a:gd name="connsiteY2128" fmla="*/ 4692 h 10000"/>
                  <a:gd name="connsiteX2129" fmla="*/ 1051 w 10746"/>
                  <a:gd name="connsiteY2129" fmla="*/ 4718 h 10000"/>
                  <a:gd name="connsiteX2130" fmla="*/ 1055 w 10746"/>
                  <a:gd name="connsiteY2130" fmla="*/ 4692 h 10000"/>
                  <a:gd name="connsiteX2131" fmla="*/ 1055 w 10746"/>
                  <a:gd name="connsiteY2131" fmla="*/ 4667 h 10000"/>
                  <a:gd name="connsiteX2132" fmla="*/ 1028 w 10746"/>
                  <a:gd name="connsiteY2132" fmla="*/ 4624 h 10000"/>
                  <a:gd name="connsiteX2133" fmla="*/ 1005 w 10746"/>
                  <a:gd name="connsiteY2133" fmla="*/ 4624 h 10000"/>
                  <a:gd name="connsiteX2134" fmla="*/ 977 w 10746"/>
                  <a:gd name="connsiteY2134" fmla="*/ 4581 h 10000"/>
                  <a:gd name="connsiteX2135" fmla="*/ 963 w 10746"/>
                  <a:gd name="connsiteY2135" fmla="*/ 4607 h 10000"/>
                  <a:gd name="connsiteX2136" fmla="*/ 963 w 10746"/>
                  <a:gd name="connsiteY2136" fmla="*/ 4632 h 10000"/>
                  <a:gd name="connsiteX2137" fmla="*/ 917 w 10746"/>
                  <a:gd name="connsiteY2137" fmla="*/ 4718 h 10000"/>
                  <a:gd name="connsiteX2138" fmla="*/ 889 w 10746"/>
                  <a:gd name="connsiteY2138" fmla="*/ 4744 h 10000"/>
                  <a:gd name="connsiteX2139" fmla="*/ 880 w 10746"/>
                  <a:gd name="connsiteY2139" fmla="*/ 4744 h 10000"/>
                  <a:gd name="connsiteX2140" fmla="*/ 862 w 10746"/>
                  <a:gd name="connsiteY2140" fmla="*/ 4769 h 10000"/>
                  <a:gd name="connsiteX2141" fmla="*/ 857 w 10746"/>
                  <a:gd name="connsiteY2141" fmla="*/ 4795 h 10000"/>
                  <a:gd name="connsiteX2142" fmla="*/ 829 w 10746"/>
                  <a:gd name="connsiteY2142" fmla="*/ 4846 h 10000"/>
                  <a:gd name="connsiteX2143" fmla="*/ 816 w 10746"/>
                  <a:gd name="connsiteY2143" fmla="*/ 4855 h 10000"/>
                  <a:gd name="connsiteX2144" fmla="*/ 816 w 10746"/>
                  <a:gd name="connsiteY2144" fmla="*/ 4940 h 10000"/>
                  <a:gd name="connsiteX2145" fmla="*/ 880 w 10746"/>
                  <a:gd name="connsiteY2145" fmla="*/ 5179 h 10000"/>
                  <a:gd name="connsiteX2146" fmla="*/ 880 w 10746"/>
                  <a:gd name="connsiteY2146" fmla="*/ 5188 h 10000"/>
                  <a:gd name="connsiteX2147" fmla="*/ 862 w 10746"/>
                  <a:gd name="connsiteY2147" fmla="*/ 5171 h 10000"/>
                  <a:gd name="connsiteX2148" fmla="*/ 857 w 10746"/>
                  <a:gd name="connsiteY2148" fmla="*/ 5171 h 10000"/>
                  <a:gd name="connsiteX2149" fmla="*/ 820 w 10746"/>
                  <a:gd name="connsiteY2149" fmla="*/ 5145 h 10000"/>
                  <a:gd name="connsiteX2150" fmla="*/ 820 w 10746"/>
                  <a:gd name="connsiteY2150" fmla="*/ 5154 h 10000"/>
                  <a:gd name="connsiteX2151" fmla="*/ 816 w 10746"/>
                  <a:gd name="connsiteY2151" fmla="*/ 5171 h 10000"/>
                  <a:gd name="connsiteX2152" fmla="*/ 783 w 10746"/>
                  <a:gd name="connsiteY2152" fmla="*/ 5145 h 10000"/>
                  <a:gd name="connsiteX2153" fmla="*/ 756 w 10746"/>
                  <a:gd name="connsiteY2153" fmla="*/ 5103 h 10000"/>
                  <a:gd name="connsiteX2154" fmla="*/ 742 w 10746"/>
                  <a:gd name="connsiteY2154" fmla="*/ 5103 h 10000"/>
                  <a:gd name="connsiteX2155" fmla="*/ 728 w 10746"/>
                  <a:gd name="connsiteY2155" fmla="*/ 5094 h 10000"/>
                  <a:gd name="connsiteX2156" fmla="*/ 710 w 10746"/>
                  <a:gd name="connsiteY2156" fmla="*/ 5120 h 10000"/>
                  <a:gd name="connsiteX2157" fmla="*/ 700 w 10746"/>
                  <a:gd name="connsiteY2157" fmla="*/ 5145 h 10000"/>
                  <a:gd name="connsiteX2158" fmla="*/ 696 w 10746"/>
                  <a:gd name="connsiteY2158" fmla="*/ 5103 h 10000"/>
                  <a:gd name="connsiteX2159" fmla="*/ 714 w 10746"/>
                  <a:gd name="connsiteY2159" fmla="*/ 5077 h 10000"/>
                  <a:gd name="connsiteX2160" fmla="*/ 682 w 10746"/>
                  <a:gd name="connsiteY2160" fmla="*/ 5068 h 10000"/>
                  <a:gd name="connsiteX2161" fmla="*/ 673 w 10746"/>
                  <a:gd name="connsiteY2161" fmla="*/ 5034 h 10000"/>
                  <a:gd name="connsiteX2162" fmla="*/ 636 w 10746"/>
                  <a:gd name="connsiteY2162" fmla="*/ 4991 h 10000"/>
                  <a:gd name="connsiteX2163" fmla="*/ 622 w 10746"/>
                  <a:gd name="connsiteY2163" fmla="*/ 4983 h 10000"/>
                  <a:gd name="connsiteX2164" fmla="*/ 622 w 10746"/>
                  <a:gd name="connsiteY2164" fmla="*/ 5034 h 10000"/>
                  <a:gd name="connsiteX2165" fmla="*/ 608 w 10746"/>
                  <a:gd name="connsiteY2165" fmla="*/ 5051 h 10000"/>
                  <a:gd name="connsiteX2166" fmla="*/ 594 w 10746"/>
                  <a:gd name="connsiteY2166" fmla="*/ 5068 h 10000"/>
                  <a:gd name="connsiteX2167" fmla="*/ 608 w 10746"/>
                  <a:gd name="connsiteY2167" fmla="*/ 5120 h 10000"/>
                  <a:gd name="connsiteX2168" fmla="*/ 613 w 10746"/>
                  <a:gd name="connsiteY2168" fmla="*/ 5128 h 10000"/>
                  <a:gd name="connsiteX2169" fmla="*/ 627 w 10746"/>
                  <a:gd name="connsiteY2169" fmla="*/ 5179 h 10000"/>
                  <a:gd name="connsiteX2170" fmla="*/ 650 w 10746"/>
                  <a:gd name="connsiteY2170" fmla="*/ 5214 h 10000"/>
                  <a:gd name="connsiteX2171" fmla="*/ 687 w 10746"/>
                  <a:gd name="connsiteY2171" fmla="*/ 5188 h 10000"/>
                  <a:gd name="connsiteX2172" fmla="*/ 700 w 10746"/>
                  <a:gd name="connsiteY2172" fmla="*/ 5325 h 10000"/>
                  <a:gd name="connsiteX2173" fmla="*/ 710 w 10746"/>
                  <a:gd name="connsiteY2173" fmla="*/ 5350 h 10000"/>
                  <a:gd name="connsiteX2174" fmla="*/ 687 w 10746"/>
                  <a:gd name="connsiteY2174" fmla="*/ 5325 h 10000"/>
                  <a:gd name="connsiteX2175" fmla="*/ 668 w 10746"/>
                  <a:gd name="connsiteY2175" fmla="*/ 5350 h 10000"/>
                  <a:gd name="connsiteX2176" fmla="*/ 668 w 10746"/>
                  <a:gd name="connsiteY2176" fmla="*/ 5368 h 10000"/>
                  <a:gd name="connsiteX2177" fmla="*/ 668 w 10746"/>
                  <a:gd name="connsiteY2177" fmla="*/ 5376 h 10000"/>
                  <a:gd name="connsiteX2178" fmla="*/ 581 w 10746"/>
                  <a:gd name="connsiteY2178" fmla="*/ 5316 h 10000"/>
                  <a:gd name="connsiteX2179" fmla="*/ 567 w 10746"/>
                  <a:gd name="connsiteY2179" fmla="*/ 5265 h 10000"/>
                  <a:gd name="connsiteX2180" fmla="*/ 562 w 10746"/>
                  <a:gd name="connsiteY2180" fmla="*/ 5256 h 10000"/>
                  <a:gd name="connsiteX2181" fmla="*/ 548 w 10746"/>
                  <a:gd name="connsiteY2181" fmla="*/ 5231 h 10000"/>
                  <a:gd name="connsiteX2182" fmla="*/ 535 w 10746"/>
                  <a:gd name="connsiteY2182" fmla="*/ 5214 h 10000"/>
                  <a:gd name="connsiteX2183" fmla="*/ 525 w 10746"/>
                  <a:gd name="connsiteY2183" fmla="*/ 5231 h 10000"/>
                  <a:gd name="connsiteX2184" fmla="*/ 521 w 10746"/>
                  <a:gd name="connsiteY2184" fmla="*/ 5231 h 10000"/>
                  <a:gd name="connsiteX2185" fmla="*/ 493 w 10746"/>
                  <a:gd name="connsiteY2185" fmla="*/ 5205 h 10000"/>
                  <a:gd name="connsiteX2186" fmla="*/ 488 w 10746"/>
                  <a:gd name="connsiteY2186" fmla="*/ 5179 h 10000"/>
                  <a:gd name="connsiteX2187" fmla="*/ 475 w 10746"/>
                  <a:gd name="connsiteY2187" fmla="*/ 5188 h 10000"/>
                  <a:gd name="connsiteX2188" fmla="*/ 475 w 10746"/>
                  <a:gd name="connsiteY2188" fmla="*/ 5171 h 10000"/>
                  <a:gd name="connsiteX2189" fmla="*/ 488 w 10746"/>
                  <a:gd name="connsiteY2189" fmla="*/ 5154 h 10000"/>
                  <a:gd name="connsiteX2190" fmla="*/ 488 w 10746"/>
                  <a:gd name="connsiteY2190" fmla="*/ 5068 h 10000"/>
                  <a:gd name="connsiteX2191" fmla="*/ 475 w 10746"/>
                  <a:gd name="connsiteY2191" fmla="*/ 5051 h 10000"/>
                  <a:gd name="connsiteX2192" fmla="*/ 475 w 10746"/>
                  <a:gd name="connsiteY2192" fmla="*/ 5017 h 10000"/>
                  <a:gd name="connsiteX2193" fmla="*/ 452 w 10746"/>
                  <a:gd name="connsiteY2193" fmla="*/ 4932 h 10000"/>
                  <a:gd name="connsiteX2194" fmla="*/ 461 w 10746"/>
                  <a:gd name="connsiteY2194" fmla="*/ 4915 h 10000"/>
                  <a:gd name="connsiteX2195" fmla="*/ 475 w 10746"/>
                  <a:gd name="connsiteY2195" fmla="*/ 4906 h 10000"/>
                  <a:gd name="connsiteX2196" fmla="*/ 479 w 10746"/>
                  <a:gd name="connsiteY2196" fmla="*/ 4803 h 10000"/>
                  <a:gd name="connsiteX2197" fmla="*/ 479 w 10746"/>
                  <a:gd name="connsiteY2197" fmla="*/ 4778 h 10000"/>
                  <a:gd name="connsiteX2198" fmla="*/ 475 w 10746"/>
                  <a:gd name="connsiteY2198" fmla="*/ 4761 h 10000"/>
                  <a:gd name="connsiteX2199" fmla="*/ 465 w 10746"/>
                  <a:gd name="connsiteY2199" fmla="*/ 4718 h 10000"/>
                  <a:gd name="connsiteX2200" fmla="*/ 461 w 10746"/>
                  <a:gd name="connsiteY2200" fmla="*/ 4709 h 10000"/>
                  <a:gd name="connsiteX2201" fmla="*/ 442 w 10746"/>
                  <a:gd name="connsiteY2201" fmla="*/ 4692 h 10000"/>
                  <a:gd name="connsiteX2202" fmla="*/ 433 w 10746"/>
                  <a:gd name="connsiteY2202" fmla="*/ 4667 h 10000"/>
                  <a:gd name="connsiteX2203" fmla="*/ 419 w 10746"/>
                  <a:gd name="connsiteY2203" fmla="*/ 4667 h 10000"/>
                  <a:gd name="connsiteX2204" fmla="*/ 401 w 10746"/>
                  <a:gd name="connsiteY2204" fmla="*/ 4658 h 10000"/>
                  <a:gd name="connsiteX2205" fmla="*/ 401 w 10746"/>
                  <a:gd name="connsiteY2205" fmla="*/ 4624 h 10000"/>
                  <a:gd name="connsiteX2206" fmla="*/ 401 w 10746"/>
                  <a:gd name="connsiteY2206" fmla="*/ 4607 h 10000"/>
                  <a:gd name="connsiteX2207" fmla="*/ 378 w 10746"/>
                  <a:gd name="connsiteY2207" fmla="*/ 4607 h 10000"/>
                  <a:gd name="connsiteX2208" fmla="*/ 341 w 10746"/>
                  <a:gd name="connsiteY2208" fmla="*/ 4530 h 10000"/>
                  <a:gd name="connsiteX2209" fmla="*/ 346 w 10746"/>
                  <a:gd name="connsiteY2209" fmla="*/ 4521 h 10000"/>
                  <a:gd name="connsiteX2210" fmla="*/ 332 w 10746"/>
                  <a:gd name="connsiteY2210" fmla="*/ 4487 h 10000"/>
                  <a:gd name="connsiteX2211" fmla="*/ 327 w 10746"/>
                  <a:gd name="connsiteY2211" fmla="*/ 4462 h 10000"/>
                  <a:gd name="connsiteX2212" fmla="*/ 313 w 10746"/>
                  <a:gd name="connsiteY2212" fmla="*/ 4436 h 10000"/>
                  <a:gd name="connsiteX2213" fmla="*/ 300 w 10746"/>
                  <a:gd name="connsiteY2213" fmla="*/ 4419 h 10000"/>
                  <a:gd name="connsiteX2214" fmla="*/ 309 w 10746"/>
                  <a:gd name="connsiteY2214" fmla="*/ 4393 h 10000"/>
                  <a:gd name="connsiteX2215" fmla="*/ 332 w 10746"/>
                  <a:gd name="connsiteY2215" fmla="*/ 4385 h 10000"/>
                  <a:gd name="connsiteX2216" fmla="*/ 355 w 10746"/>
                  <a:gd name="connsiteY2216" fmla="*/ 4419 h 10000"/>
                  <a:gd name="connsiteX2217" fmla="*/ 355 w 10746"/>
                  <a:gd name="connsiteY2217" fmla="*/ 4444 h 10000"/>
                  <a:gd name="connsiteX2218" fmla="*/ 369 w 10746"/>
                  <a:gd name="connsiteY2218" fmla="*/ 4470 h 10000"/>
                  <a:gd name="connsiteX2219" fmla="*/ 401 w 10746"/>
                  <a:gd name="connsiteY2219" fmla="*/ 4521 h 10000"/>
                  <a:gd name="connsiteX2220" fmla="*/ 406 w 10746"/>
                  <a:gd name="connsiteY2220" fmla="*/ 4513 h 10000"/>
                  <a:gd name="connsiteX2221" fmla="*/ 406 w 10746"/>
                  <a:gd name="connsiteY2221" fmla="*/ 4496 h 10000"/>
                  <a:gd name="connsiteX2222" fmla="*/ 419 w 10746"/>
                  <a:gd name="connsiteY2222" fmla="*/ 4521 h 10000"/>
                  <a:gd name="connsiteX2223" fmla="*/ 429 w 10746"/>
                  <a:gd name="connsiteY2223" fmla="*/ 4530 h 10000"/>
                  <a:gd name="connsiteX2224" fmla="*/ 433 w 10746"/>
                  <a:gd name="connsiteY2224" fmla="*/ 4521 h 10000"/>
                  <a:gd name="connsiteX2225" fmla="*/ 442 w 10746"/>
                  <a:gd name="connsiteY2225" fmla="*/ 4530 h 10000"/>
                  <a:gd name="connsiteX2226" fmla="*/ 447 w 10746"/>
                  <a:gd name="connsiteY2226" fmla="*/ 4521 h 10000"/>
                  <a:gd name="connsiteX2227" fmla="*/ 452 w 10746"/>
                  <a:gd name="connsiteY2227" fmla="*/ 4521 h 10000"/>
                  <a:gd name="connsiteX2228" fmla="*/ 461 w 10746"/>
                  <a:gd name="connsiteY2228" fmla="*/ 4573 h 10000"/>
                  <a:gd name="connsiteX2229" fmla="*/ 479 w 10746"/>
                  <a:gd name="connsiteY2229" fmla="*/ 4556 h 10000"/>
                  <a:gd name="connsiteX2230" fmla="*/ 502 w 10746"/>
                  <a:gd name="connsiteY2230" fmla="*/ 4573 h 10000"/>
                  <a:gd name="connsiteX2231" fmla="*/ 507 w 10746"/>
                  <a:gd name="connsiteY2231" fmla="*/ 4598 h 10000"/>
                  <a:gd name="connsiteX2232" fmla="*/ 525 w 10746"/>
                  <a:gd name="connsiteY2232" fmla="*/ 4598 h 10000"/>
                  <a:gd name="connsiteX2233" fmla="*/ 535 w 10746"/>
                  <a:gd name="connsiteY2233" fmla="*/ 4624 h 10000"/>
                  <a:gd name="connsiteX2234" fmla="*/ 594 w 10746"/>
                  <a:gd name="connsiteY2234" fmla="*/ 4658 h 10000"/>
                  <a:gd name="connsiteX2235" fmla="*/ 627 w 10746"/>
                  <a:gd name="connsiteY2235" fmla="*/ 4658 h 10000"/>
                  <a:gd name="connsiteX2236" fmla="*/ 654 w 10746"/>
                  <a:gd name="connsiteY2236" fmla="*/ 4684 h 10000"/>
                  <a:gd name="connsiteX2237" fmla="*/ 668 w 10746"/>
                  <a:gd name="connsiteY2237" fmla="*/ 4709 h 10000"/>
                  <a:gd name="connsiteX2238" fmla="*/ 747 w 10746"/>
                  <a:gd name="connsiteY2238" fmla="*/ 4718 h 10000"/>
                  <a:gd name="connsiteX2239" fmla="*/ 760 w 10746"/>
                  <a:gd name="connsiteY2239" fmla="*/ 4709 h 10000"/>
                  <a:gd name="connsiteX2240" fmla="*/ 774 w 10746"/>
                  <a:gd name="connsiteY2240" fmla="*/ 4692 h 10000"/>
                  <a:gd name="connsiteX2241" fmla="*/ 829 w 10746"/>
                  <a:gd name="connsiteY2241" fmla="*/ 4658 h 10000"/>
                  <a:gd name="connsiteX2242" fmla="*/ 903 w 10746"/>
                  <a:gd name="connsiteY2242" fmla="*/ 4496 h 10000"/>
                  <a:gd name="connsiteX2243" fmla="*/ 917 w 10746"/>
                  <a:gd name="connsiteY2243" fmla="*/ 4385 h 10000"/>
                  <a:gd name="connsiteX2244" fmla="*/ 903 w 10746"/>
                  <a:gd name="connsiteY2244" fmla="*/ 4376 h 10000"/>
                  <a:gd name="connsiteX2245" fmla="*/ 903 w 10746"/>
                  <a:gd name="connsiteY2245" fmla="*/ 4376 h 10000"/>
                  <a:gd name="connsiteX2246" fmla="*/ 889 w 10746"/>
                  <a:gd name="connsiteY2246" fmla="*/ 4239 h 10000"/>
                  <a:gd name="connsiteX2247" fmla="*/ 880 w 10746"/>
                  <a:gd name="connsiteY2247" fmla="*/ 4214 h 10000"/>
                  <a:gd name="connsiteX2248" fmla="*/ 862 w 10746"/>
                  <a:gd name="connsiteY2248" fmla="*/ 4188 h 10000"/>
                  <a:gd name="connsiteX2249" fmla="*/ 857 w 10746"/>
                  <a:gd name="connsiteY2249" fmla="*/ 4197 h 10000"/>
                  <a:gd name="connsiteX2250" fmla="*/ 848 w 10746"/>
                  <a:gd name="connsiteY2250" fmla="*/ 4188 h 10000"/>
                  <a:gd name="connsiteX2251" fmla="*/ 848 w 10746"/>
                  <a:gd name="connsiteY2251" fmla="*/ 4162 h 10000"/>
                  <a:gd name="connsiteX2252" fmla="*/ 829 w 10746"/>
                  <a:gd name="connsiteY2252" fmla="*/ 4120 h 10000"/>
                  <a:gd name="connsiteX2253" fmla="*/ 820 w 10746"/>
                  <a:gd name="connsiteY2253" fmla="*/ 4103 h 10000"/>
                  <a:gd name="connsiteX2254" fmla="*/ 806 w 10746"/>
                  <a:gd name="connsiteY2254" fmla="*/ 4077 h 10000"/>
                  <a:gd name="connsiteX2255" fmla="*/ 816 w 10746"/>
                  <a:gd name="connsiteY2255" fmla="*/ 4111 h 10000"/>
                  <a:gd name="connsiteX2256" fmla="*/ 802 w 10746"/>
                  <a:gd name="connsiteY2256" fmla="*/ 4111 h 10000"/>
                  <a:gd name="connsiteX2257" fmla="*/ 770 w 10746"/>
                  <a:gd name="connsiteY2257" fmla="*/ 4060 h 10000"/>
                  <a:gd name="connsiteX2258" fmla="*/ 760 w 10746"/>
                  <a:gd name="connsiteY2258" fmla="*/ 4077 h 10000"/>
                  <a:gd name="connsiteX2259" fmla="*/ 760 w 10746"/>
                  <a:gd name="connsiteY2259" fmla="*/ 4060 h 10000"/>
                  <a:gd name="connsiteX2260" fmla="*/ 756 w 10746"/>
                  <a:gd name="connsiteY2260" fmla="*/ 4034 h 10000"/>
                  <a:gd name="connsiteX2261" fmla="*/ 742 w 10746"/>
                  <a:gd name="connsiteY2261" fmla="*/ 4000 h 10000"/>
                  <a:gd name="connsiteX2262" fmla="*/ 747 w 10746"/>
                  <a:gd name="connsiteY2262" fmla="*/ 4034 h 10000"/>
                  <a:gd name="connsiteX2263" fmla="*/ 724 w 10746"/>
                  <a:gd name="connsiteY2263" fmla="*/ 4026 h 10000"/>
                  <a:gd name="connsiteX2264" fmla="*/ 714 w 10746"/>
                  <a:gd name="connsiteY2264" fmla="*/ 4000 h 10000"/>
                  <a:gd name="connsiteX2265" fmla="*/ 714 w 10746"/>
                  <a:gd name="connsiteY2265" fmla="*/ 3983 h 10000"/>
                  <a:gd name="connsiteX2266" fmla="*/ 553 w 10746"/>
                  <a:gd name="connsiteY2266" fmla="*/ 3726 h 10000"/>
                  <a:gd name="connsiteX2267" fmla="*/ 507 w 10746"/>
                  <a:gd name="connsiteY2267" fmla="*/ 3718 h 10000"/>
                  <a:gd name="connsiteX2268" fmla="*/ 516 w 10746"/>
                  <a:gd name="connsiteY2268" fmla="*/ 3726 h 10000"/>
                  <a:gd name="connsiteX2269" fmla="*/ 507 w 10746"/>
                  <a:gd name="connsiteY2269" fmla="*/ 3735 h 10000"/>
                  <a:gd name="connsiteX2270" fmla="*/ 502 w 10746"/>
                  <a:gd name="connsiteY2270" fmla="*/ 3735 h 10000"/>
                  <a:gd name="connsiteX2271" fmla="*/ 419 w 10746"/>
                  <a:gd name="connsiteY2271" fmla="*/ 3675 h 10000"/>
                  <a:gd name="connsiteX2272" fmla="*/ 419 w 10746"/>
                  <a:gd name="connsiteY2272" fmla="*/ 3692 h 10000"/>
                  <a:gd name="connsiteX2273" fmla="*/ 401 w 10746"/>
                  <a:gd name="connsiteY2273" fmla="*/ 3701 h 10000"/>
                  <a:gd name="connsiteX2274" fmla="*/ 387 w 10746"/>
                  <a:gd name="connsiteY2274" fmla="*/ 3718 h 10000"/>
                  <a:gd name="connsiteX2275" fmla="*/ 387 w 10746"/>
                  <a:gd name="connsiteY2275" fmla="*/ 3692 h 10000"/>
                  <a:gd name="connsiteX2276" fmla="*/ 378 w 10746"/>
                  <a:gd name="connsiteY2276" fmla="*/ 3675 h 10000"/>
                  <a:gd name="connsiteX2277" fmla="*/ 378 w 10746"/>
                  <a:gd name="connsiteY2277" fmla="*/ 3650 h 10000"/>
                  <a:gd name="connsiteX2278" fmla="*/ 378 w 10746"/>
                  <a:gd name="connsiteY2278" fmla="*/ 3650 h 10000"/>
                  <a:gd name="connsiteX2279" fmla="*/ 355 w 10746"/>
                  <a:gd name="connsiteY2279" fmla="*/ 3675 h 10000"/>
                  <a:gd name="connsiteX2280" fmla="*/ 359 w 10746"/>
                  <a:gd name="connsiteY2280" fmla="*/ 3641 h 10000"/>
                  <a:gd name="connsiteX2281" fmla="*/ 346 w 10746"/>
                  <a:gd name="connsiteY2281" fmla="*/ 3650 h 10000"/>
                  <a:gd name="connsiteX2282" fmla="*/ 355 w 10746"/>
                  <a:gd name="connsiteY2282" fmla="*/ 3624 h 10000"/>
                  <a:gd name="connsiteX2283" fmla="*/ 346 w 10746"/>
                  <a:gd name="connsiteY2283" fmla="*/ 3624 h 10000"/>
                  <a:gd name="connsiteX2284" fmla="*/ 341 w 10746"/>
                  <a:gd name="connsiteY2284" fmla="*/ 3624 h 10000"/>
                  <a:gd name="connsiteX2285" fmla="*/ 318 w 10746"/>
                  <a:gd name="connsiteY2285" fmla="*/ 3641 h 10000"/>
                  <a:gd name="connsiteX2286" fmla="*/ 327 w 10746"/>
                  <a:gd name="connsiteY2286" fmla="*/ 3624 h 10000"/>
                  <a:gd name="connsiteX2287" fmla="*/ 318 w 10746"/>
                  <a:gd name="connsiteY2287" fmla="*/ 3615 h 10000"/>
                  <a:gd name="connsiteX2288" fmla="*/ 318 w 10746"/>
                  <a:gd name="connsiteY2288" fmla="*/ 3598 h 10000"/>
                  <a:gd name="connsiteX2289" fmla="*/ 300 w 10746"/>
                  <a:gd name="connsiteY2289" fmla="*/ 3598 h 10000"/>
                  <a:gd name="connsiteX2290" fmla="*/ 309 w 10746"/>
                  <a:gd name="connsiteY2290" fmla="*/ 3538 h 10000"/>
                  <a:gd name="connsiteX2291" fmla="*/ 313 w 10746"/>
                  <a:gd name="connsiteY2291" fmla="*/ 3564 h 10000"/>
                  <a:gd name="connsiteX2292" fmla="*/ 318 w 10746"/>
                  <a:gd name="connsiteY2292" fmla="*/ 3581 h 10000"/>
                  <a:gd name="connsiteX2293" fmla="*/ 327 w 10746"/>
                  <a:gd name="connsiteY2293" fmla="*/ 3564 h 10000"/>
                  <a:gd name="connsiteX2294" fmla="*/ 332 w 10746"/>
                  <a:gd name="connsiteY2294" fmla="*/ 3590 h 10000"/>
                  <a:gd name="connsiteX2295" fmla="*/ 346 w 10746"/>
                  <a:gd name="connsiteY2295" fmla="*/ 3590 h 10000"/>
                  <a:gd name="connsiteX2296" fmla="*/ 355 w 10746"/>
                  <a:gd name="connsiteY2296" fmla="*/ 3590 h 10000"/>
                  <a:gd name="connsiteX2297" fmla="*/ 369 w 10746"/>
                  <a:gd name="connsiteY2297" fmla="*/ 3556 h 10000"/>
                  <a:gd name="connsiteX2298" fmla="*/ 369 w 10746"/>
                  <a:gd name="connsiteY2298" fmla="*/ 3538 h 10000"/>
                  <a:gd name="connsiteX2299" fmla="*/ 346 w 10746"/>
                  <a:gd name="connsiteY2299" fmla="*/ 3513 h 10000"/>
                  <a:gd name="connsiteX2300" fmla="*/ 341 w 10746"/>
                  <a:gd name="connsiteY2300" fmla="*/ 3530 h 10000"/>
                  <a:gd name="connsiteX2301" fmla="*/ 327 w 10746"/>
                  <a:gd name="connsiteY2301" fmla="*/ 3513 h 10000"/>
                  <a:gd name="connsiteX2302" fmla="*/ 327 w 10746"/>
                  <a:gd name="connsiteY2302" fmla="*/ 3504 h 10000"/>
                  <a:gd name="connsiteX2303" fmla="*/ 295 w 10746"/>
                  <a:gd name="connsiteY2303" fmla="*/ 3462 h 10000"/>
                  <a:gd name="connsiteX2304" fmla="*/ 300 w 10746"/>
                  <a:gd name="connsiteY2304" fmla="*/ 3479 h 10000"/>
                  <a:gd name="connsiteX2305" fmla="*/ 295 w 10746"/>
                  <a:gd name="connsiteY2305" fmla="*/ 3513 h 10000"/>
                  <a:gd name="connsiteX2306" fmla="*/ 286 w 10746"/>
                  <a:gd name="connsiteY2306" fmla="*/ 3513 h 10000"/>
                  <a:gd name="connsiteX2307" fmla="*/ 281 w 10746"/>
                  <a:gd name="connsiteY2307" fmla="*/ 3513 h 10000"/>
                  <a:gd name="connsiteX2308" fmla="*/ 281 w 10746"/>
                  <a:gd name="connsiteY2308" fmla="*/ 3530 h 10000"/>
                  <a:gd name="connsiteX2309" fmla="*/ 281 w 10746"/>
                  <a:gd name="connsiteY2309" fmla="*/ 3556 h 10000"/>
                  <a:gd name="connsiteX2310" fmla="*/ 272 w 10746"/>
                  <a:gd name="connsiteY2310" fmla="*/ 3564 h 10000"/>
                  <a:gd name="connsiteX2311" fmla="*/ 267 w 10746"/>
                  <a:gd name="connsiteY2311" fmla="*/ 3564 h 10000"/>
                  <a:gd name="connsiteX2312" fmla="*/ 253 w 10746"/>
                  <a:gd name="connsiteY2312" fmla="*/ 3538 h 10000"/>
                  <a:gd name="connsiteX2313" fmla="*/ 226 w 10746"/>
                  <a:gd name="connsiteY2313" fmla="*/ 3513 h 10000"/>
                  <a:gd name="connsiteX2314" fmla="*/ 226 w 10746"/>
                  <a:gd name="connsiteY2314" fmla="*/ 3530 h 10000"/>
                  <a:gd name="connsiteX2315" fmla="*/ 226 w 10746"/>
                  <a:gd name="connsiteY2315" fmla="*/ 3530 h 10000"/>
                  <a:gd name="connsiteX2316" fmla="*/ 226 w 10746"/>
                  <a:gd name="connsiteY2316" fmla="*/ 3530 h 10000"/>
                  <a:gd name="connsiteX2317" fmla="*/ 226 w 10746"/>
                  <a:gd name="connsiteY2317" fmla="*/ 3556 h 10000"/>
                  <a:gd name="connsiteX2318" fmla="*/ 221 w 10746"/>
                  <a:gd name="connsiteY2318" fmla="*/ 3598 h 10000"/>
                  <a:gd name="connsiteX2319" fmla="*/ 207 w 10746"/>
                  <a:gd name="connsiteY2319" fmla="*/ 3598 h 10000"/>
                  <a:gd name="connsiteX2320" fmla="*/ 180 w 10746"/>
                  <a:gd name="connsiteY2320" fmla="*/ 3581 h 10000"/>
                  <a:gd name="connsiteX2321" fmla="*/ 171 w 10746"/>
                  <a:gd name="connsiteY2321" fmla="*/ 3641 h 10000"/>
                  <a:gd name="connsiteX2322" fmla="*/ 166 w 10746"/>
                  <a:gd name="connsiteY2322" fmla="*/ 3650 h 10000"/>
                  <a:gd name="connsiteX2323" fmla="*/ 124 w 10746"/>
                  <a:gd name="connsiteY2323" fmla="*/ 3701 h 10000"/>
                  <a:gd name="connsiteX2324" fmla="*/ 124 w 10746"/>
                  <a:gd name="connsiteY2324" fmla="*/ 3718 h 10000"/>
                  <a:gd name="connsiteX2325" fmla="*/ 120 w 10746"/>
                  <a:gd name="connsiteY2325" fmla="*/ 3735 h 10000"/>
                  <a:gd name="connsiteX2326" fmla="*/ 120 w 10746"/>
                  <a:gd name="connsiteY2326" fmla="*/ 3735 h 10000"/>
                  <a:gd name="connsiteX2327" fmla="*/ 111 w 10746"/>
                  <a:gd name="connsiteY2327" fmla="*/ 3761 h 10000"/>
                  <a:gd name="connsiteX2328" fmla="*/ 106 w 10746"/>
                  <a:gd name="connsiteY2328" fmla="*/ 3761 h 10000"/>
                  <a:gd name="connsiteX2329" fmla="*/ 106 w 10746"/>
                  <a:gd name="connsiteY2329" fmla="*/ 3761 h 10000"/>
                  <a:gd name="connsiteX2330" fmla="*/ 74 w 10746"/>
                  <a:gd name="connsiteY2330" fmla="*/ 3829 h 10000"/>
                  <a:gd name="connsiteX2331" fmla="*/ 78 w 10746"/>
                  <a:gd name="connsiteY2331" fmla="*/ 3838 h 10000"/>
                  <a:gd name="connsiteX2332" fmla="*/ 88 w 10746"/>
                  <a:gd name="connsiteY2332" fmla="*/ 3846 h 10000"/>
                  <a:gd name="connsiteX2333" fmla="*/ 65 w 10746"/>
                  <a:gd name="connsiteY2333" fmla="*/ 3923 h 10000"/>
                  <a:gd name="connsiteX2334" fmla="*/ 78 w 10746"/>
                  <a:gd name="connsiteY2334" fmla="*/ 4026 h 10000"/>
                  <a:gd name="connsiteX2335" fmla="*/ 88 w 10746"/>
                  <a:gd name="connsiteY2335" fmla="*/ 4051 h 10000"/>
                  <a:gd name="connsiteX2336" fmla="*/ 92 w 10746"/>
                  <a:gd name="connsiteY2336" fmla="*/ 4060 h 10000"/>
                  <a:gd name="connsiteX2337" fmla="*/ 111 w 10746"/>
                  <a:gd name="connsiteY2337" fmla="*/ 4060 h 10000"/>
                  <a:gd name="connsiteX2338" fmla="*/ 124 w 10746"/>
                  <a:gd name="connsiteY2338" fmla="*/ 4085 h 10000"/>
                  <a:gd name="connsiteX2339" fmla="*/ 166 w 10746"/>
                  <a:gd name="connsiteY2339" fmla="*/ 4197 h 10000"/>
                  <a:gd name="connsiteX2340" fmla="*/ 166 w 10746"/>
                  <a:gd name="connsiteY2340" fmla="*/ 4248 h 10000"/>
                  <a:gd name="connsiteX2341" fmla="*/ 120 w 10746"/>
                  <a:gd name="connsiteY2341" fmla="*/ 4462 h 10000"/>
                  <a:gd name="connsiteX2342" fmla="*/ 120 w 10746"/>
                  <a:gd name="connsiteY2342" fmla="*/ 4513 h 10000"/>
                  <a:gd name="connsiteX2343" fmla="*/ 180 w 10746"/>
                  <a:gd name="connsiteY2343" fmla="*/ 4829 h 10000"/>
                  <a:gd name="connsiteX2344" fmla="*/ 161 w 10746"/>
                  <a:gd name="connsiteY2344" fmla="*/ 4855 h 10000"/>
                  <a:gd name="connsiteX2345" fmla="*/ 152 w 10746"/>
                  <a:gd name="connsiteY2345" fmla="*/ 4940 h 10000"/>
                  <a:gd name="connsiteX2346" fmla="*/ 161 w 10746"/>
                  <a:gd name="connsiteY2346" fmla="*/ 4966 h 10000"/>
                  <a:gd name="connsiteX2347" fmla="*/ 161 w 10746"/>
                  <a:gd name="connsiteY2347" fmla="*/ 5009 h 10000"/>
                  <a:gd name="connsiteX2348" fmla="*/ 152 w 10746"/>
                  <a:gd name="connsiteY2348" fmla="*/ 5034 h 10000"/>
                  <a:gd name="connsiteX2349" fmla="*/ 152 w 10746"/>
                  <a:gd name="connsiteY2349" fmla="*/ 5077 h 10000"/>
                  <a:gd name="connsiteX2350" fmla="*/ 171 w 10746"/>
                  <a:gd name="connsiteY2350" fmla="*/ 5094 h 10000"/>
                  <a:gd name="connsiteX2351" fmla="*/ 180 w 10746"/>
                  <a:gd name="connsiteY2351" fmla="*/ 5128 h 10000"/>
                  <a:gd name="connsiteX2352" fmla="*/ 180 w 10746"/>
                  <a:gd name="connsiteY2352" fmla="*/ 5171 h 10000"/>
                  <a:gd name="connsiteX2353" fmla="*/ 184 w 10746"/>
                  <a:gd name="connsiteY2353" fmla="*/ 5205 h 10000"/>
                  <a:gd name="connsiteX2354" fmla="*/ 207 w 10746"/>
                  <a:gd name="connsiteY2354" fmla="*/ 5239 h 10000"/>
                  <a:gd name="connsiteX2355" fmla="*/ 207 w 10746"/>
                  <a:gd name="connsiteY2355" fmla="*/ 5282 h 10000"/>
                  <a:gd name="connsiteX2356" fmla="*/ 180 w 10746"/>
                  <a:gd name="connsiteY2356" fmla="*/ 5393 h 10000"/>
                  <a:gd name="connsiteX2357" fmla="*/ 194 w 10746"/>
                  <a:gd name="connsiteY2357" fmla="*/ 5427 h 10000"/>
                  <a:gd name="connsiteX2358" fmla="*/ 198 w 10746"/>
                  <a:gd name="connsiteY2358" fmla="*/ 5462 h 10000"/>
                  <a:gd name="connsiteX2359" fmla="*/ 235 w 10746"/>
                  <a:gd name="connsiteY2359" fmla="*/ 5513 h 10000"/>
                  <a:gd name="connsiteX2360" fmla="*/ 240 w 10746"/>
                  <a:gd name="connsiteY2360" fmla="*/ 5556 h 10000"/>
                  <a:gd name="connsiteX2361" fmla="*/ 253 w 10746"/>
                  <a:gd name="connsiteY2361" fmla="*/ 5590 h 10000"/>
                  <a:gd name="connsiteX2362" fmla="*/ 258 w 10746"/>
                  <a:gd name="connsiteY2362" fmla="*/ 5573 h 10000"/>
                  <a:gd name="connsiteX2363" fmla="*/ 258 w 10746"/>
                  <a:gd name="connsiteY2363" fmla="*/ 5667 h 10000"/>
                  <a:gd name="connsiteX2364" fmla="*/ 14 w 10746"/>
                  <a:gd name="connsiteY2364" fmla="*/ 6214 h 10000"/>
                  <a:gd name="connsiteX2365" fmla="*/ 14 w 10746"/>
                  <a:gd name="connsiteY2365" fmla="*/ 6214 h 10000"/>
                  <a:gd name="connsiteX2366" fmla="*/ 37 w 10746"/>
                  <a:gd name="connsiteY2366" fmla="*/ 6214 h 10000"/>
                  <a:gd name="connsiteX2367" fmla="*/ 51 w 10746"/>
                  <a:gd name="connsiteY2367" fmla="*/ 6188 h 10000"/>
                  <a:gd name="connsiteX2368" fmla="*/ 78 w 10746"/>
                  <a:gd name="connsiteY2368" fmla="*/ 6162 h 10000"/>
                  <a:gd name="connsiteX2369" fmla="*/ 78 w 10746"/>
                  <a:gd name="connsiteY2369" fmla="*/ 6188 h 10000"/>
                  <a:gd name="connsiteX2370" fmla="*/ 74 w 10746"/>
                  <a:gd name="connsiteY2370" fmla="*/ 6197 h 10000"/>
                  <a:gd name="connsiteX2371" fmla="*/ 74 w 10746"/>
                  <a:gd name="connsiteY2371" fmla="*/ 6231 h 10000"/>
                  <a:gd name="connsiteX2372" fmla="*/ 74 w 10746"/>
                  <a:gd name="connsiteY2372" fmla="*/ 6214 h 10000"/>
                  <a:gd name="connsiteX2373" fmla="*/ 65 w 10746"/>
                  <a:gd name="connsiteY2373" fmla="*/ 6214 h 10000"/>
                  <a:gd name="connsiteX2374" fmla="*/ 65 w 10746"/>
                  <a:gd name="connsiteY2374" fmla="*/ 6248 h 10000"/>
                  <a:gd name="connsiteX2375" fmla="*/ 74 w 10746"/>
                  <a:gd name="connsiteY2375" fmla="*/ 6256 h 10000"/>
                  <a:gd name="connsiteX2376" fmla="*/ 78 w 10746"/>
                  <a:gd name="connsiteY2376" fmla="*/ 6256 h 10000"/>
                  <a:gd name="connsiteX2377" fmla="*/ 106 w 10746"/>
                  <a:gd name="connsiteY2377" fmla="*/ 6308 h 10000"/>
                  <a:gd name="connsiteX2378" fmla="*/ 138 w 10746"/>
                  <a:gd name="connsiteY2378" fmla="*/ 6299 h 10000"/>
                  <a:gd name="connsiteX2379" fmla="*/ 152 w 10746"/>
                  <a:gd name="connsiteY2379" fmla="*/ 6299 h 10000"/>
                  <a:gd name="connsiteX2380" fmla="*/ 166 w 10746"/>
                  <a:gd name="connsiteY2380" fmla="*/ 6325 h 10000"/>
                  <a:gd name="connsiteX2381" fmla="*/ 166 w 10746"/>
                  <a:gd name="connsiteY2381" fmla="*/ 6333 h 10000"/>
                  <a:gd name="connsiteX2382" fmla="*/ 171 w 10746"/>
                  <a:gd name="connsiteY2382" fmla="*/ 6350 h 10000"/>
                  <a:gd name="connsiteX2383" fmla="*/ 180 w 10746"/>
                  <a:gd name="connsiteY2383" fmla="*/ 6350 h 10000"/>
                  <a:gd name="connsiteX2384" fmla="*/ 180 w 10746"/>
                  <a:gd name="connsiteY2384" fmla="*/ 6359 h 10000"/>
                  <a:gd name="connsiteX2385" fmla="*/ 171 w 10746"/>
                  <a:gd name="connsiteY2385" fmla="*/ 6368 h 10000"/>
                  <a:gd name="connsiteX2386" fmla="*/ 106 w 10746"/>
                  <a:gd name="connsiteY2386" fmla="*/ 6350 h 10000"/>
                  <a:gd name="connsiteX2387" fmla="*/ 101 w 10746"/>
                  <a:gd name="connsiteY2387" fmla="*/ 6359 h 10000"/>
                  <a:gd name="connsiteX2388" fmla="*/ 101 w 10746"/>
                  <a:gd name="connsiteY2388" fmla="*/ 6385 h 10000"/>
                  <a:gd name="connsiteX2389" fmla="*/ 78 w 10746"/>
                  <a:gd name="connsiteY2389" fmla="*/ 6393 h 10000"/>
                  <a:gd name="connsiteX2390" fmla="*/ 74 w 10746"/>
                  <a:gd name="connsiteY2390" fmla="*/ 6385 h 10000"/>
                  <a:gd name="connsiteX2391" fmla="*/ 65 w 10746"/>
                  <a:gd name="connsiteY2391" fmla="*/ 6393 h 10000"/>
                  <a:gd name="connsiteX2392" fmla="*/ 60 w 10746"/>
                  <a:gd name="connsiteY2392" fmla="*/ 6419 h 10000"/>
                  <a:gd name="connsiteX2393" fmla="*/ 51 w 10746"/>
                  <a:gd name="connsiteY2393" fmla="*/ 6419 h 10000"/>
                  <a:gd name="connsiteX2394" fmla="*/ 46 w 10746"/>
                  <a:gd name="connsiteY2394" fmla="*/ 6410 h 10000"/>
                  <a:gd name="connsiteX2395" fmla="*/ 37 w 10746"/>
                  <a:gd name="connsiteY2395" fmla="*/ 6393 h 10000"/>
                  <a:gd name="connsiteX2396" fmla="*/ 32 w 10746"/>
                  <a:gd name="connsiteY2396" fmla="*/ 6419 h 10000"/>
                  <a:gd name="connsiteX2397" fmla="*/ 37 w 10746"/>
                  <a:gd name="connsiteY2397" fmla="*/ 6462 h 10000"/>
                  <a:gd name="connsiteX2398" fmla="*/ 46 w 10746"/>
                  <a:gd name="connsiteY2398" fmla="*/ 6462 h 10000"/>
                  <a:gd name="connsiteX2399" fmla="*/ 51 w 10746"/>
                  <a:gd name="connsiteY2399" fmla="*/ 6470 h 10000"/>
                  <a:gd name="connsiteX2400" fmla="*/ 51 w 10746"/>
                  <a:gd name="connsiteY2400" fmla="*/ 6496 h 10000"/>
                  <a:gd name="connsiteX2401" fmla="*/ 51 w 10746"/>
                  <a:gd name="connsiteY2401" fmla="*/ 6504 h 10000"/>
                  <a:gd name="connsiteX2402" fmla="*/ 37 w 10746"/>
                  <a:gd name="connsiteY2402" fmla="*/ 6530 h 10000"/>
                  <a:gd name="connsiteX2403" fmla="*/ 18 w 10746"/>
                  <a:gd name="connsiteY2403" fmla="*/ 6598 h 10000"/>
                  <a:gd name="connsiteX2404" fmla="*/ 28 w 10746"/>
                  <a:gd name="connsiteY2404" fmla="*/ 6632 h 10000"/>
                  <a:gd name="connsiteX2405" fmla="*/ 18 w 10746"/>
                  <a:gd name="connsiteY2405" fmla="*/ 6667 h 10000"/>
                  <a:gd name="connsiteX2406" fmla="*/ 28 w 10746"/>
                  <a:gd name="connsiteY2406" fmla="*/ 6692 h 10000"/>
                  <a:gd name="connsiteX2407" fmla="*/ 28 w 10746"/>
                  <a:gd name="connsiteY2407" fmla="*/ 6709 h 10000"/>
                  <a:gd name="connsiteX2408" fmla="*/ 18 w 10746"/>
                  <a:gd name="connsiteY2408" fmla="*/ 6718 h 10000"/>
                  <a:gd name="connsiteX2409" fmla="*/ 5 w 10746"/>
                  <a:gd name="connsiteY2409" fmla="*/ 6744 h 10000"/>
                  <a:gd name="connsiteX2410" fmla="*/ 0 w 10746"/>
                  <a:gd name="connsiteY2410" fmla="*/ 6769 h 10000"/>
                  <a:gd name="connsiteX2411" fmla="*/ 5 w 10746"/>
                  <a:gd name="connsiteY2411" fmla="*/ 6778 h 10000"/>
                  <a:gd name="connsiteX2412" fmla="*/ 32 w 10746"/>
                  <a:gd name="connsiteY2412" fmla="*/ 6778 h 10000"/>
                  <a:gd name="connsiteX2413" fmla="*/ 46 w 10746"/>
                  <a:gd name="connsiteY2413" fmla="*/ 6821 h 10000"/>
                  <a:gd name="connsiteX2414" fmla="*/ 46 w 10746"/>
                  <a:gd name="connsiteY2414" fmla="*/ 6855 h 10000"/>
                  <a:gd name="connsiteX2415" fmla="*/ 32 w 10746"/>
                  <a:gd name="connsiteY2415" fmla="*/ 6855 h 10000"/>
                  <a:gd name="connsiteX2416" fmla="*/ 14 w 10746"/>
                  <a:gd name="connsiteY2416" fmla="*/ 6821 h 10000"/>
                  <a:gd name="connsiteX2417" fmla="*/ 14 w 10746"/>
                  <a:gd name="connsiteY2417" fmla="*/ 6846 h 10000"/>
                  <a:gd name="connsiteX2418" fmla="*/ 0 w 10746"/>
                  <a:gd name="connsiteY2418" fmla="*/ 6897 h 10000"/>
                  <a:gd name="connsiteX2419" fmla="*/ 0 w 10746"/>
                  <a:gd name="connsiteY2419" fmla="*/ 6915 h 10000"/>
                  <a:gd name="connsiteX2420" fmla="*/ 5 w 10746"/>
                  <a:gd name="connsiteY2420" fmla="*/ 6932 h 10000"/>
                  <a:gd name="connsiteX2421" fmla="*/ 14 w 10746"/>
                  <a:gd name="connsiteY2421" fmla="*/ 6940 h 10000"/>
                  <a:gd name="connsiteX2422" fmla="*/ 18 w 10746"/>
                  <a:gd name="connsiteY2422" fmla="*/ 6957 h 10000"/>
                  <a:gd name="connsiteX2423" fmla="*/ 28 w 10746"/>
                  <a:gd name="connsiteY2423" fmla="*/ 6966 h 10000"/>
                  <a:gd name="connsiteX2424" fmla="*/ 28 w 10746"/>
                  <a:gd name="connsiteY2424" fmla="*/ 6983 h 10000"/>
                  <a:gd name="connsiteX2425" fmla="*/ 18 w 10746"/>
                  <a:gd name="connsiteY2425" fmla="*/ 7051 h 10000"/>
                  <a:gd name="connsiteX2426" fmla="*/ 28 w 10746"/>
                  <a:gd name="connsiteY2426" fmla="*/ 7068 h 10000"/>
                  <a:gd name="connsiteX2427" fmla="*/ 32 w 10746"/>
                  <a:gd name="connsiteY2427" fmla="*/ 7068 h 10000"/>
                  <a:gd name="connsiteX2428" fmla="*/ 32 w 10746"/>
                  <a:gd name="connsiteY2428" fmla="*/ 7094 h 10000"/>
                  <a:gd name="connsiteX2429" fmla="*/ 60 w 10746"/>
                  <a:gd name="connsiteY2429" fmla="*/ 7162 h 10000"/>
                  <a:gd name="connsiteX2430" fmla="*/ 60 w 10746"/>
                  <a:gd name="connsiteY2430" fmla="*/ 7231 h 10000"/>
                  <a:gd name="connsiteX2431" fmla="*/ 60 w 10746"/>
                  <a:gd name="connsiteY2431" fmla="*/ 7239 h 10000"/>
                  <a:gd name="connsiteX2432" fmla="*/ 78 w 10746"/>
                  <a:gd name="connsiteY2432" fmla="*/ 7239 h 10000"/>
                  <a:gd name="connsiteX2433" fmla="*/ 88 w 10746"/>
                  <a:gd name="connsiteY2433" fmla="*/ 7239 h 10000"/>
                  <a:gd name="connsiteX2434" fmla="*/ 92 w 10746"/>
                  <a:gd name="connsiteY2434" fmla="*/ 7256 h 10000"/>
                  <a:gd name="connsiteX2435" fmla="*/ 111 w 10746"/>
                  <a:gd name="connsiteY2435" fmla="*/ 7256 h 10000"/>
                  <a:gd name="connsiteX2436" fmla="*/ 120 w 10746"/>
                  <a:gd name="connsiteY2436" fmla="*/ 7256 h 10000"/>
                  <a:gd name="connsiteX2437" fmla="*/ 134 w 10746"/>
                  <a:gd name="connsiteY2437" fmla="*/ 7282 h 10000"/>
                  <a:gd name="connsiteX2438" fmla="*/ 134 w 10746"/>
                  <a:gd name="connsiteY2438" fmla="*/ 7316 h 10000"/>
                  <a:gd name="connsiteX2439" fmla="*/ 152 w 10746"/>
                  <a:gd name="connsiteY2439" fmla="*/ 7299 h 10000"/>
                  <a:gd name="connsiteX2440" fmla="*/ 161 w 10746"/>
                  <a:gd name="connsiteY2440" fmla="*/ 7299 h 10000"/>
                  <a:gd name="connsiteX2441" fmla="*/ 166 w 10746"/>
                  <a:gd name="connsiteY2441" fmla="*/ 7291 h 10000"/>
                  <a:gd name="connsiteX2442" fmla="*/ 194 w 10746"/>
                  <a:gd name="connsiteY2442" fmla="*/ 7291 h 10000"/>
                  <a:gd name="connsiteX2443" fmla="*/ 207 w 10746"/>
                  <a:gd name="connsiteY2443" fmla="*/ 7299 h 10000"/>
                  <a:gd name="connsiteX2444" fmla="*/ 221 w 10746"/>
                  <a:gd name="connsiteY2444" fmla="*/ 7342 h 10000"/>
                  <a:gd name="connsiteX2445" fmla="*/ 235 w 10746"/>
                  <a:gd name="connsiteY2445" fmla="*/ 7342 h 10000"/>
                  <a:gd name="connsiteX2446" fmla="*/ 235 w 10746"/>
                  <a:gd name="connsiteY2446" fmla="*/ 7368 h 10000"/>
                  <a:gd name="connsiteX2447" fmla="*/ 226 w 10746"/>
                  <a:gd name="connsiteY2447" fmla="*/ 7393 h 10000"/>
                  <a:gd name="connsiteX2448" fmla="*/ 226 w 10746"/>
                  <a:gd name="connsiteY2448" fmla="*/ 7402 h 10000"/>
                  <a:gd name="connsiteX2449" fmla="*/ 235 w 10746"/>
                  <a:gd name="connsiteY2449" fmla="*/ 7419 h 10000"/>
                  <a:gd name="connsiteX2450" fmla="*/ 240 w 10746"/>
                  <a:gd name="connsiteY2450" fmla="*/ 7436 h 10000"/>
                  <a:gd name="connsiteX2451" fmla="*/ 235 w 10746"/>
                  <a:gd name="connsiteY2451" fmla="*/ 7462 h 10000"/>
                  <a:gd name="connsiteX2452" fmla="*/ 226 w 10746"/>
                  <a:gd name="connsiteY2452" fmla="*/ 7479 h 10000"/>
                  <a:gd name="connsiteX2453" fmla="*/ 226 w 10746"/>
                  <a:gd name="connsiteY2453" fmla="*/ 7504 h 10000"/>
                  <a:gd name="connsiteX2454" fmla="*/ 226 w 10746"/>
                  <a:gd name="connsiteY2454" fmla="*/ 7513 h 10000"/>
                  <a:gd name="connsiteX2455" fmla="*/ 240 w 10746"/>
                  <a:gd name="connsiteY2455" fmla="*/ 7538 h 10000"/>
                  <a:gd name="connsiteX2456" fmla="*/ 267 w 10746"/>
                  <a:gd name="connsiteY2456" fmla="*/ 7641 h 10000"/>
                  <a:gd name="connsiteX2457" fmla="*/ 281 w 10746"/>
                  <a:gd name="connsiteY2457" fmla="*/ 7667 h 10000"/>
                  <a:gd name="connsiteX2458" fmla="*/ 286 w 10746"/>
                  <a:gd name="connsiteY2458" fmla="*/ 7675 h 10000"/>
                  <a:gd name="connsiteX2459" fmla="*/ 286 w 10746"/>
                  <a:gd name="connsiteY2459" fmla="*/ 7692 h 10000"/>
                  <a:gd name="connsiteX2460" fmla="*/ 286 w 10746"/>
                  <a:gd name="connsiteY2460" fmla="*/ 7709 h 10000"/>
                  <a:gd name="connsiteX2461" fmla="*/ 295 w 10746"/>
                  <a:gd name="connsiteY2461" fmla="*/ 7726 h 10000"/>
                  <a:gd name="connsiteX2462" fmla="*/ 318 w 10746"/>
                  <a:gd name="connsiteY2462" fmla="*/ 7709 h 10000"/>
                  <a:gd name="connsiteX2463" fmla="*/ 327 w 10746"/>
                  <a:gd name="connsiteY2463" fmla="*/ 7726 h 10000"/>
                  <a:gd name="connsiteX2464" fmla="*/ 341 w 10746"/>
                  <a:gd name="connsiteY2464" fmla="*/ 7735 h 10000"/>
                  <a:gd name="connsiteX2465" fmla="*/ 332 w 10746"/>
                  <a:gd name="connsiteY2465" fmla="*/ 7752 h 10000"/>
                  <a:gd name="connsiteX2466" fmla="*/ 341 w 10746"/>
                  <a:gd name="connsiteY2466" fmla="*/ 7761 h 10000"/>
                  <a:gd name="connsiteX2467" fmla="*/ 355 w 10746"/>
                  <a:gd name="connsiteY2467" fmla="*/ 7761 h 10000"/>
                  <a:gd name="connsiteX2468" fmla="*/ 355 w 10746"/>
                  <a:gd name="connsiteY2468" fmla="*/ 7803 h 10000"/>
                  <a:gd name="connsiteX2469" fmla="*/ 313 w 10746"/>
                  <a:gd name="connsiteY2469" fmla="*/ 7846 h 10000"/>
                  <a:gd name="connsiteX2470" fmla="*/ 295 w 10746"/>
                  <a:gd name="connsiteY2470" fmla="*/ 7846 h 10000"/>
                  <a:gd name="connsiteX2471" fmla="*/ 281 w 10746"/>
                  <a:gd name="connsiteY2471" fmla="*/ 7821 h 10000"/>
                  <a:gd name="connsiteX2472" fmla="*/ 272 w 10746"/>
                  <a:gd name="connsiteY2472" fmla="*/ 7821 h 10000"/>
                  <a:gd name="connsiteX2473" fmla="*/ 267 w 10746"/>
                  <a:gd name="connsiteY2473" fmla="*/ 7838 h 10000"/>
                  <a:gd name="connsiteX2474" fmla="*/ 258 w 10746"/>
                  <a:gd name="connsiteY2474" fmla="*/ 7846 h 10000"/>
                  <a:gd name="connsiteX2475" fmla="*/ 253 w 10746"/>
                  <a:gd name="connsiteY2475" fmla="*/ 7863 h 10000"/>
                  <a:gd name="connsiteX2476" fmla="*/ 253 w 10746"/>
                  <a:gd name="connsiteY2476" fmla="*/ 7872 h 10000"/>
                  <a:gd name="connsiteX2477" fmla="*/ 267 w 10746"/>
                  <a:gd name="connsiteY2477" fmla="*/ 7897 h 10000"/>
                  <a:gd name="connsiteX2478" fmla="*/ 272 w 10746"/>
                  <a:gd name="connsiteY2478" fmla="*/ 7915 h 10000"/>
                  <a:gd name="connsiteX2479" fmla="*/ 267 w 10746"/>
                  <a:gd name="connsiteY2479" fmla="*/ 7940 h 10000"/>
                  <a:gd name="connsiteX2480" fmla="*/ 272 w 10746"/>
                  <a:gd name="connsiteY2480" fmla="*/ 7949 h 10000"/>
                  <a:gd name="connsiteX2481" fmla="*/ 272 w 10746"/>
                  <a:gd name="connsiteY2481" fmla="*/ 7957 h 10000"/>
                  <a:gd name="connsiteX2482" fmla="*/ 281 w 10746"/>
                  <a:gd name="connsiteY2482" fmla="*/ 7974 h 10000"/>
                  <a:gd name="connsiteX2483" fmla="*/ 286 w 10746"/>
                  <a:gd name="connsiteY2483" fmla="*/ 7983 h 10000"/>
                  <a:gd name="connsiteX2484" fmla="*/ 281 w 10746"/>
                  <a:gd name="connsiteY2484" fmla="*/ 8009 h 10000"/>
                  <a:gd name="connsiteX2485" fmla="*/ 286 w 10746"/>
                  <a:gd name="connsiteY2485" fmla="*/ 8060 h 10000"/>
                  <a:gd name="connsiteX2486" fmla="*/ 286 w 10746"/>
                  <a:gd name="connsiteY2486" fmla="*/ 8060 h 10000"/>
                  <a:gd name="connsiteX2487" fmla="*/ 295 w 10746"/>
                  <a:gd name="connsiteY2487" fmla="*/ 8077 h 10000"/>
                  <a:gd name="connsiteX2488" fmla="*/ 309 w 10746"/>
                  <a:gd name="connsiteY2488" fmla="*/ 8077 h 10000"/>
                  <a:gd name="connsiteX2489" fmla="*/ 313 w 10746"/>
                  <a:gd name="connsiteY2489" fmla="*/ 8060 h 10000"/>
                  <a:gd name="connsiteX2490" fmla="*/ 318 w 10746"/>
                  <a:gd name="connsiteY2490" fmla="*/ 8051 h 10000"/>
                  <a:gd name="connsiteX2491" fmla="*/ 318 w 10746"/>
                  <a:gd name="connsiteY2491" fmla="*/ 8034 h 10000"/>
                  <a:gd name="connsiteX2492" fmla="*/ 332 w 10746"/>
                  <a:gd name="connsiteY2492" fmla="*/ 8026 h 10000"/>
                  <a:gd name="connsiteX2493" fmla="*/ 359 w 10746"/>
                  <a:gd name="connsiteY2493" fmla="*/ 8034 h 10000"/>
                  <a:gd name="connsiteX2494" fmla="*/ 378 w 10746"/>
                  <a:gd name="connsiteY2494" fmla="*/ 8026 h 10000"/>
                  <a:gd name="connsiteX2495" fmla="*/ 401 w 10746"/>
                  <a:gd name="connsiteY2495" fmla="*/ 8026 h 10000"/>
                  <a:gd name="connsiteX2496" fmla="*/ 419 w 10746"/>
                  <a:gd name="connsiteY2496" fmla="*/ 8009 h 10000"/>
                  <a:gd name="connsiteX2497" fmla="*/ 433 w 10746"/>
                  <a:gd name="connsiteY2497" fmla="*/ 8034 h 10000"/>
                  <a:gd name="connsiteX2498" fmla="*/ 442 w 10746"/>
                  <a:gd name="connsiteY2498" fmla="*/ 8060 h 10000"/>
                  <a:gd name="connsiteX2499" fmla="*/ 442 w 10746"/>
                  <a:gd name="connsiteY2499" fmla="*/ 8077 h 10000"/>
                  <a:gd name="connsiteX2500" fmla="*/ 461 w 10746"/>
                  <a:gd name="connsiteY2500" fmla="*/ 8111 h 10000"/>
                  <a:gd name="connsiteX2501" fmla="*/ 461 w 10746"/>
                  <a:gd name="connsiteY2501" fmla="*/ 8137 h 10000"/>
                  <a:gd name="connsiteX2502" fmla="*/ 447 w 10746"/>
                  <a:gd name="connsiteY2502" fmla="*/ 8145 h 10000"/>
                  <a:gd name="connsiteX2503" fmla="*/ 442 w 10746"/>
                  <a:gd name="connsiteY2503" fmla="*/ 8145 h 10000"/>
                  <a:gd name="connsiteX2504" fmla="*/ 442 w 10746"/>
                  <a:gd name="connsiteY2504" fmla="*/ 8162 h 10000"/>
                  <a:gd name="connsiteX2505" fmla="*/ 442 w 10746"/>
                  <a:gd name="connsiteY2505" fmla="*/ 8171 h 10000"/>
                  <a:gd name="connsiteX2506" fmla="*/ 447 w 10746"/>
                  <a:gd name="connsiteY2506" fmla="*/ 8214 h 10000"/>
                  <a:gd name="connsiteX2507" fmla="*/ 465 w 10746"/>
                  <a:gd name="connsiteY2507" fmla="*/ 8231 h 10000"/>
                  <a:gd name="connsiteX2508" fmla="*/ 488 w 10746"/>
                  <a:gd name="connsiteY2508" fmla="*/ 8231 h 10000"/>
                  <a:gd name="connsiteX2509" fmla="*/ 493 w 10746"/>
                  <a:gd name="connsiteY2509" fmla="*/ 8231 h 10000"/>
                  <a:gd name="connsiteX2510" fmla="*/ 502 w 10746"/>
                  <a:gd name="connsiteY2510" fmla="*/ 8231 h 10000"/>
                  <a:gd name="connsiteX2511" fmla="*/ 507 w 10746"/>
                  <a:gd name="connsiteY2511" fmla="*/ 8248 h 10000"/>
                  <a:gd name="connsiteX2512" fmla="*/ 521 w 10746"/>
                  <a:gd name="connsiteY2512" fmla="*/ 8274 h 10000"/>
                  <a:gd name="connsiteX2513" fmla="*/ 525 w 10746"/>
                  <a:gd name="connsiteY2513" fmla="*/ 8333 h 10000"/>
                  <a:gd name="connsiteX2514" fmla="*/ 525 w 10746"/>
                  <a:gd name="connsiteY2514" fmla="*/ 8359 h 10000"/>
                  <a:gd name="connsiteX2515" fmla="*/ 525 w 10746"/>
                  <a:gd name="connsiteY2515" fmla="*/ 8368 h 10000"/>
                  <a:gd name="connsiteX2516" fmla="*/ 548 w 10746"/>
                  <a:gd name="connsiteY2516" fmla="*/ 8393 h 10000"/>
                  <a:gd name="connsiteX2517" fmla="*/ 553 w 10746"/>
                  <a:gd name="connsiteY2517" fmla="*/ 8385 h 10000"/>
                  <a:gd name="connsiteX2518" fmla="*/ 562 w 10746"/>
                  <a:gd name="connsiteY2518" fmla="*/ 8385 h 10000"/>
                  <a:gd name="connsiteX2519" fmla="*/ 576 w 10746"/>
                  <a:gd name="connsiteY2519" fmla="*/ 8385 h 10000"/>
                  <a:gd name="connsiteX2520" fmla="*/ 585 w 10746"/>
                  <a:gd name="connsiteY2520" fmla="*/ 8410 h 10000"/>
                  <a:gd name="connsiteX2521" fmla="*/ 594 w 10746"/>
                  <a:gd name="connsiteY2521" fmla="*/ 8410 h 10000"/>
                  <a:gd name="connsiteX2522" fmla="*/ 608 w 10746"/>
                  <a:gd name="connsiteY2522" fmla="*/ 8410 h 10000"/>
                  <a:gd name="connsiteX2523" fmla="*/ 654 w 10746"/>
                  <a:gd name="connsiteY2523" fmla="*/ 8385 h 10000"/>
                  <a:gd name="connsiteX2524" fmla="*/ 659 w 10746"/>
                  <a:gd name="connsiteY2524" fmla="*/ 8385 h 10000"/>
                  <a:gd name="connsiteX2525" fmla="*/ 696 w 10746"/>
                  <a:gd name="connsiteY2525" fmla="*/ 8470 h 10000"/>
                  <a:gd name="connsiteX2526" fmla="*/ 700 w 10746"/>
                  <a:gd name="connsiteY2526" fmla="*/ 8470 h 10000"/>
                  <a:gd name="connsiteX2527" fmla="*/ 710 w 10746"/>
                  <a:gd name="connsiteY2527" fmla="*/ 8462 h 10000"/>
                  <a:gd name="connsiteX2528" fmla="*/ 714 w 10746"/>
                  <a:gd name="connsiteY2528" fmla="*/ 8462 h 10000"/>
                  <a:gd name="connsiteX2529" fmla="*/ 724 w 10746"/>
                  <a:gd name="connsiteY2529" fmla="*/ 8470 h 10000"/>
                  <a:gd name="connsiteX2530" fmla="*/ 733 w 10746"/>
                  <a:gd name="connsiteY2530" fmla="*/ 8470 h 10000"/>
                  <a:gd name="connsiteX2531" fmla="*/ 742 w 10746"/>
                  <a:gd name="connsiteY2531" fmla="*/ 8487 h 10000"/>
                  <a:gd name="connsiteX2532" fmla="*/ 747 w 10746"/>
                  <a:gd name="connsiteY2532" fmla="*/ 8496 h 10000"/>
                  <a:gd name="connsiteX2533" fmla="*/ 770 w 10746"/>
                  <a:gd name="connsiteY2533" fmla="*/ 8496 h 10000"/>
                  <a:gd name="connsiteX2534" fmla="*/ 783 w 10746"/>
                  <a:gd name="connsiteY2534" fmla="*/ 8521 h 10000"/>
                  <a:gd name="connsiteX2535" fmla="*/ 797 w 10746"/>
                  <a:gd name="connsiteY2535" fmla="*/ 8521 h 10000"/>
                  <a:gd name="connsiteX2536" fmla="*/ 806 w 10746"/>
                  <a:gd name="connsiteY2536" fmla="*/ 8530 h 10000"/>
                  <a:gd name="connsiteX2537" fmla="*/ 829 w 10746"/>
                  <a:gd name="connsiteY2537" fmla="*/ 8547 h 10000"/>
                  <a:gd name="connsiteX2538" fmla="*/ 834 w 10746"/>
                  <a:gd name="connsiteY2538" fmla="*/ 8556 h 10000"/>
                  <a:gd name="connsiteX2539" fmla="*/ 829 w 10746"/>
                  <a:gd name="connsiteY2539" fmla="*/ 8556 h 10000"/>
                  <a:gd name="connsiteX2540" fmla="*/ 834 w 10746"/>
                  <a:gd name="connsiteY2540" fmla="*/ 8607 h 10000"/>
                  <a:gd name="connsiteX2541" fmla="*/ 829 w 10746"/>
                  <a:gd name="connsiteY2541" fmla="*/ 8641 h 10000"/>
                  <a:gd name="connsiteX2542" fmla="*/ 806 w 10746"/>
                  <a:gd name="connsiteY2542" fmla="*/ 8658 h 10000"/>
                  <a:gd name="connsiteX2543" fmla="*/ 816 w 10746"/>
                  <a:gd name="connsiteY2543" fmla="*/ 8667 h 10000"/>
                  <a:gd name="connsiteX2544" fmla="*/ 820 w 10746"/>
                  <a:gd name="connsiteY2544" fmla="*/ 8667 h 10000"/>
                  <a:gd name="connsiteX2545" fmla="*/ 829 w 10746"/>
                  <a:gd name="connsiteY2545" fmla="*/ 8684 h 10000"/>
                  <a:gd name="connsiteX2546" fmla="*/ 806 w 10746"/>
                  <a:gd name="connsiteY2546" fmla="*/ 8692 h 10000"/>
                  <a:gd name="connsiteX2547" fmla="*/ 802 w 10746"/>
                  <a:gd name="connsiteY2547" fmla="*/ 8709 h 10000"/>
                  <a:gd name="connsiteX2548" fmla="*/ 802 w 10746"/>
                  <a:gd name="connsiteY2548" fmla="*/ 8735 h 10000"/>
                  <a:gd name="connsiteX2549" fmla="*/ 806 w 10746"/>
                  <a:gd name="connsiteY2549" fmla="*/ 8744 h 10000"/>
                  <a:gd name="connsiteX2550" fmla="*/ 816 w 10746"/>
                  <a:gd name="connsiteY2550" fmla="*/ 8752 h 10000"/>
                  <a:gd name="connsiteX2551" fmla="*/ 806 w 10746"/>
                  <a:gd name="connsiteY2551" fmla="*/ 8778 h 10000"/>
                  <a:gd name="connsiteX2552" fmla="*/ 820 w 10746"/>
                  <a:gd name="connsiteY2552" fmla="*/ 8778 h 10000"/>
                  <a:gd name="connsiteX2553" fmla="*/ 806 w 10746"/>
                  <a:gd name="connsiteY2553" fmla="*/ 8880 h 10000"/>
                  <a:gd name="connsiteX2554" fmla="*/ 797 w 10746"/>
                  <a:gd name="connsiteY2554" fmla="*/ 8880 h 10000"/>
                  <a:gd name="connsiteX2555" fmla="*/ 783 w 10746"/>
                  <a:gd name="connsiteY2555" fmla="*/ 8872 h 10000"/>
                  <a:gd name="connsiteX2556" fmla="*/ 770 w 10746"/>
                  <a:gd name="connsiteY2556" fmla="*/ 8880 h 10000"/>
                  <a:gd name="connsiteX2557" fmla="*/ 756 w 10746"/>
                  <a:gd name="connsiteY2557" fmla="*/ 8855 h 10000"/>
                  <a:gd name="connsiteX2558" fmla="*/ 733 w 10746"/>
                  <a:gd name="connsiteY2558" fmla="*/ 8906 h 10000"/>
                  <a:gd name="connsiteX2559" fmla="*/ 714 w 10746"/>
                  <a:gd name="connsiteY2559" fmla="*/ 8915 h 10000"/>
                  <a:gd name="connsiteX2560" fmla="*/ 710 w 10746"/>
                  <a:gd name="connsiteY2560" fmla="*/ 8940 h 10000"/>
                  <a:gd name="connsiteX2561" fmla="*/ 710 w 10746"/>
                  <a:gd name="connsiteY2561" fmla="*/ 9009 h 10000"/>
                  <a:gd name="connsiteX2562" fmla="*/ 728 w 10746"/>
                  <a:gd name="connsiteY2562" fmla="*/ 8991 h 10000"/>
                  <a:gd name="connsiteX2563" fmla="*/ 733 w 10746"/>
                  <a:gd name="connsiteY2563" fmla="*/ 8991 h 10000"/>
                  <a:gd name="connsiteX2564" fmla="*/ 747 w 10746"/>
                  <a:gd name="connsiteY2564" fmla="*/ 8983 h 10000"/>
                  <a:gd name="connsiteX2565" fmla="*/ 760 w 10746"/>
                  <a:gd name="connsiteY2565" fmla="*/ 8983 h 10000"/>
                  <a:gd name="connsiteX2566" fmla="*/ 770 w 10746"/>
                  <a:gd name="connsiteY2566" fmla="*/ 8983 h 10000"/>
                  <a:gd name="connsiteX2567" fmla="*/ 770 w 10746"/>
                  <a:gd name="connsiteY2567" fmla="*/ 8991 h 10000"/>
                  <a:gd name="connsiteX2568" fmla="*/ 783 w 10746"/>
                  <a:gd name="connsiteY2568" fmla="*/ 8991 h 10000"/>
                  <a:gd name="connsiteX2569" fmla="*/ 783 w 10746"/>
                  <a:gd name="connsiteY2569" fmla="*/ 9009 h 10000"/>
                  <a:gd name="connsiteX2570" fmla="*/ 783 w 10746"/>
                  <a:gd name="connsiteY2570" fmla="*/ 9017 h 10000"/>
                  <a:gd name="connsiteX2571" fmla="*/ 770 w 10746"/>
                  <a:gd name="connsiteY2571" fmla="*/ 9017 h 10000"/>
                  <a:gd name="connsiteX2572" fmla="*/ 724 w 10746"/>
                  <a:gd name="connsiteY2572" fmla="*/ 9051 h 10000"/>
                  <a:gd name="connsiteX2573" fmla="*/ 724 w 10746"/>
                  <a:gd name="connsiteY2573" fmla="*/ 9068 h 10000"/>
                  <a:gd name="connsiteX2574" fmla="*/ 728 w 10746"/>
                  <a:gd name="connsiteY2574" fmla="*/ 9077 h 10000"/>
                  <a:gd name="connsiteX2575" fmla="*/ 724 w 10746"/>
                  <a:gd name="connsiteY2575" fmla="*/ 9077 h 10000"/>
                  <a:gd name="connsiteX2576" fmla="*/ 710 w 10746"/>
                  <a:gd name="connsiteY2576" fmla="*/ 9077 h 10000"/>
                  <a:gd name="connsiteX2577" fmla="*/ 682 w 10746"/>
                  <a:gd name="connsiteY2577" fmla="*/ 9077 h 10000"/>
                  <a:gd name="connsiteX2578" fmla="*/ 673 w 10746"/>
                  <a:gd name="connsiteY2578" fmla="*/ 9103 h 10000"/>
                  <a:gd name="connsiteX2579" fmla="*/ 687 w 10746"/>
                  <a:gd name="connsiteY2579" fmla="*/ 9128 h 10000"/>
                  <a:gd name="connsiteX2580" fmla="*/ 700 w 10746"/>
                  <a:gd name="connsiteY2580" fmla="*/ 9128 h 10000"/>
                  <a:gd name="connsiteX2581" fmla="*/ 728 w 10746"/>
                  <a:gd name="connsiteY2581" fmla="*/ 9179 h 10000"/>
                  <a:gd name="connsiteX2582" fmla="*/ 724 w 10746"/>
                  <a:gd name="connsiteY2582" fmla="*/ 9188 h 10000"/>
                  <a:gd name="connsiteX2583" fmla="*/ 710 w 10746"/>
                  <a:gd name="connsiteY2583" fmla="*/ 9179 h 10000"/>
                  <a:gd name="connsiteX2584" fmla="*/ 700 w 10746"/>
                  <a:gd name="connsiteY2584" fmla="*/ 9205 h 10000"/>
                  <a:gd name="connsiteX2585" fmla="*/ 696 w 10746"/>
                  <a:gd name="connsiteY2585" fmla="*/ 9205 h 10000"/>
                  <a:gd name="connsiteX2586" fmla="*/ 654 w 10746"/>
                  <a:gd name="connsiteY2586" fmla="*/ 9299 h 10000"/>
                  <a:gd name="connsiteX2587" fmla="*/ 622 w 10746"/>
                  <a:gd name="connsiteY2587" fmla="*/ 9299 h 10000"/>
                  <a:gd name="connsiteX2588" fmla="*/ 613 w 10746"/>
                  <a:gd name="connsiteY2588" fmla="*/ 9316 h 10000"/>
                  <a:gd name="connsiteX2589" fmla="*/ 613 w 10746"/>
                  <a:gd name="connsiteY2589" fmla="*/ 9325 h 10000"/>
                  <a:gd name="connsiteX2590" fmla="*/ 608 w 10746"/>
                  <a:gd name="connsiteY2590" fmla="*/ 9342 h 10000"/>
                  <a:gd name="connsiteX2591" fmla="*/ 636 w 10746"/>
                  <a:gd name="connsiteY2591" fmla="*/ 9376 h 10000"/>
                  <a:gd name="connsiteX2592" fmla="*/ 641 w 10746"/>
                  <a:gd name="connsiteY2592" fmla="*/ 9402 h 10000"/>
                  <a:gd name="connsiteX2593" fmla="*/ 654 w 10746"/>
                  <a:gd name="connsiteY2593" fmla="*/ 9427 h 10000"/>
                  <a:gd name="connsiteX2594" fmla="*/ 668 w 10746"/>
                  <a:gd name="connsiteY2594" fmla="*/ 9427 h 10000"/>
                  <a:gd name="connsiteX2595" fmla="*/ 668 w 10746"/>
                  <a:gd name="connsiteY2595" fmla="*/ 9427 h 10000"/>
                  <a:gd name="connsiteX2596" fmla="*/ 774 w 10746"/>
                  <a:gd name="connsiteY2596" fmla="*/ 9547 h 10000"/>
                  <a:gd name="connsiteX2597" fmla="*/ 797 w 10746"/>
                  <a:gd name="connsiteY2597" fmla="*/ 9598 h 10000"/>
                  <a:gd name="connsiteX2598" fmla="*/ 802 w 10746"/>
                  <a:gd name="connsiteY2598" fmla="*/ 9598 h 10000"/>
                  <a:gd name="connsiteX2599" fmla="*/ 816 w 10746"/>
                  <a:gd name="connsiteY2599" fmla="*/ 9624 h 10000"/>
                  <a:gd name="connsiteX2600" fmla="*/ 843 w 10746"/>
                  <a:gd name="connsiteY2600" fmla="*/ 9615 h 10000"/>
                  <a:gd name="connsiteX2601" fmla="*/ 857 w 10746"/>
                  <a:gd name="connsiteY2601" fmla="*/ 9624 h 10000"/>
                  <a:gd name="connsiteX2602" fmla="*/ 862 w 10746"/>
                  <a:gd name="connsiteY2602" fmla="*/ 9615 h 10000"/>
                  <a:gd name="connsiteX2603" fmla="*/ 880 w 10746"/>
                  <a:gd name="connsiteY2603" fmla="*/ 9624 h 10000"/>
                  <a:gd name="connsiteX2604" fmla="*/ 889 w 10746"/>
                  <a:gd name="connsiteY2604" fmla="*/ 9641 h 10000"/>
                  <a:gd name="connsiteX2605" fmla="*/ 935 w 10746"/>
                  <a:gd name="connsiteY2605" fmla="*/ 9675 h 10000"/>
                  <a:gd name="connsiteX2606" fmla="*/ 977 w 10746"/>
                  <a:gd name="connsiteY2606" fmla="*/ 9667 h 10000"/>
                  <a:gd name="connsiteX2607" fmla="*/ 995 w 10746"/>
                  <a:gd name="connsiteY2607" fmla="*/ 9675 h 10000"/>
                  <a:gd name="connsiteX2608" fmla="*/ 1014 w 10746"/>
                  <a:gd name="connsiteY2608" fmla="*/ 9675 h 10000"/>
                  <a:gd name="connsiteX2609" fmla="*/ 1069 w 10746"/>
                  <a:gd name="connsiteY2609" fmla="*/ 9752 h 10000"/>
                  <a:gd name="connsiteX2610" fmla="*/ 1074 w 10746"/>
                  <a:gd name="connsiteY2610" fmla="*/ 9761 h 10000"/>
                  <a:gd name="connsiteX2611" fmla="*/ 1083 w 10746"/>
                  <a:gd name="connsiteY2611" fmla="*/ 9778 h 10000"/>
                  <a:gd name="connsiteX2612" fmla="*/ 1115 w 10746"/>
                  <a:gd name="connsiteY2612" fmla="*/ 9752 h 10000"/>
                  <a:gd name="connsiteX2613" fmla="*/ 1129 w 10746"/>
                  <a:gd name="connsiteY2613" fmla="*/ 9752 h 10000"/>
                  <a:gd name="connsiteX2614" fmla="*/ 1138 w 10746"/>
                  <a:gd name="connsiteY2614" fmla="*/ 9761 h 10000"/>
                  <a:gd name="connsiteX2615" fmla="*/ 1143 w 10746"/>
                  <a:gd name="connsiteY2615" fmla="*/ 9752 h 10000"/>
                  <a:gd name="connsiteX2616" fmla="*/ 1161 w 10746"/>
                  <a:gd name="connsiteY2616" fmla="*/ 9761 h 10000"/>
                  <a:gd name="connsiteX2617" fmla="*/ 1171 w 10746"/>
                  <a:gd name="connsiteY2617" fmla="*/ 9778 h 10000"/>
                  <a:gd name="connsiteX2618" fmla="*/ 1175 w 10746"/>
                  <a:gd name="connsiteY2618" fmla="*/ 9778 h 10000"/>
                  <a:gd name="connsiteX2619" fmla="*/ 1189 w 10746"/>
                  <a:gd name="connsiteY2619" fmla="*/ 9778 h 10000"/>
                  <a:gd name="connsiteX2620" fmla="*/ 1198 w 10746"/>
                  <a:gd name="connsiteY2620" fmla="*/ 9786 h 10000"/>
                  <a:gd name="connsiteX2621" fmla="*/ 1203 w 10746"/>
                  <a:gd name="connsiteY2621" fmla="*/ 9803 h 10000"/>
                  <a:gd name="connsiteX2622" fmla="*/ 1198 w 10746"/>
                  <a:gd name="connsiteY2622" fmla="*/ 9838 h 10000"/>
                  <a:gd name="connsiteX2623" fmla="*/ 1212 w 10746"/>
                  <a:gd name="connsiteY2623" fmla="*/ 9863 h 10000"/>
                  <a:gd name="connsiteX2624" fmla="*/ 1230 w 10746"/>
                  <a:gd name="connsiteY2624" fmla="*/ 9872 h 10000"/>
                  <a:gd name="connsiteX2625" fmla="*/ 1249 w 10746"/>
                  <a:gd name="connsiteY2625" fmla="*/ 9897 h 10000"/>
                  <a:gd name="connsiteX2626" fmla="*/ 1263 w 10746"/>
                  <a:gd name="connsiteY2626" fmla="*/ 9897 h 10000"/>
                  <a:gd name="connsiteX2627" fmla="*/ 1276 w 10746"/>
                  <a:gd name="connsiteY2627" fmla="*/ 9923 h 10000"/>
                  <a:gd name="connsiteX2628" fmla="*/ 1281 w 10746"/>
                  <a:gd name="connsiteY2628" fmla="*/ 9949 h 10000"/>
                  <a:gd name="connsiteX2629" fmla="*/ 1290 w 10746"/>
                  <a:gd name="connsiteY2629" fmla="*/ 9949 h 10000"/>
                  <a:gd name="connsiteX2630" fmla="*/ 1295 w 10746"/>
                  <a:gd name="connsiteY2630" fmla="*/ 10000 h 10000"/>
                  <a:gd name="connsiteX2631" fmla="*/ 1332 w 10746"/>
                  <a:gd name="connsiteY2631" fmla="*/ 10000 h 10000"/>
                  <a:gd name="connsiteX2632" fmla="*/ 1336 w 10746"/>
                  <a:gd name="connsiteY2632" fmla="*/ 10000 h 10000"/>
                  <a:gd name="connsiteX2633" fmla="*/ 1346 w 10746"/>
                  <a:gd name="connsiteY2633" fmla="*/ 9983 h 10000"/>
                  <a:gd name="connsiteX2634" fmla="*/ 1350 w 10746"/>
                  <a:gd name="connsiteY2634" fmla="*/ 9949 h 10000"/>
                  <a:gd name="connsiteX2635" fmla="*/ 1369 w 10746"/>
                  <a:gd name="connsiteY2635" fmla="*/ 9940 h 10000"/>
                  <a:gd name="connsiteX2636" fmla="*/ 1378 w 10746"/>
                  <a:gd name="connsiteY2636" fmla="*/ 9897 h 10000"/>
                  <a:gd name="connsiteX2637" fmla="*/ 1369 w 10746"/>
                  <a:gd name="connsiteY2637" fmla="*/ 9889 h 10000"/>
                  <a:gd name="connsiteX2638" fmla="*/ 1318 w 10746"/>
                  <a:gd name="connsiteY2638" fmla="*/ 9701 h 10000"/>
                  <a:gd name="connsiteX2639" fmla="*/ 1318 w 10746"/>
                  <a:gd name="connsiteY2639" fmla="*/ 9650 h 10000"/>
                  <a:gd name="connsiteX2640" fmla="*/ 1323 w 10746"/>
                  <a:gd name="connsiteY2640" fmla="*/ 9590 h 10000"/>
                  <a:gd name="connsiteX2641" fmla="*/ 1323 w 10746"/>
                  <a:gd name="connsiteY2641" fmla="*/ 9564 h 10000"/>
                  <a:gd name="connsiteX2642" fmla="*/ 1309 w 10746"/>
                  <a:gd name="connsiteY2642" fmla="*/ 9598 h 10000"/>
                  <a:gd name="connsiteX2643" fmla="*/ 1309 w 10746"/>
                  <a:gd name="connsiteY2643" fmla="*/ 9590 h 10000"/>
                  <a:gd name="connsiteX2644" fmla="*/ 1304 w 10746"/>
                  <a:gd name="connsiteY2644" fmla="*/ 9547 h 10000"/>
                  <a:gd name="connsiteX2645" fmla="*/ 1276 w 10746"/>
                  <a:gd name="connsiteY2645" fmla="*/ 9479 h 10000"/>
                  <a:gd name="connsiteX2646" fmla="*/ 1263 w 10746"/>
                  <a:gd name="connsiteY2646" fmla="*/ 9479 h 10000"/>
                  <a:gd name="connsiteX2647" fmla="*/ 1263 w 10746"/>
                  <a:gd name="connsiteY2647" fmla="*/ 9453 h 10000"/>
                  <a:gd name="connsiteX2648" fmla="*/ 1272 w 10746"/>
                  <a:gd name="connsiteY2648" fmla="*/ 9410 h 10000"/>
                  <a:gd name="connsiteX2649" fmla="*/ 1272 w 10746"/>
                  <a:gd name="connsiteY2649" fmla="*/ 9393 h 10000"/>
                  <a:gd name="connsiteX2650" fmla="*/ 1281 w 10746"/>
                  <a:gd name="connsiteY2650" fmla="*/ 9368 h 10000"/>
                  <a:gd name="connsiteX2651" fmla="*/ 1281 w 10746"/>
                  <a:gd name="connsiteY2651" fmla="*/ 9368 h 10000"/>
                  <a:gd name="connsiteX2652" fmla="*/ 1290 w 10746"/>
                  <a:gd name="connsiteY2652" fmla="*/ 9368 h 10000"/>
                  <a:gd name="connsiteX2653" fmla="*/ 1290 w 10746"/>
                  <a:gd name="connsiteY2653" fmla="*/ 9342 h 10000"/>
                  <a:gd name="connsiteX2654" fmla="*/ 1304 w 10746"/>
                  <a:gd name="connsiteY2654" fmla="*/ 9325 h 10000"/>
                  <a:gd name="connsiteX2655" fmla="*/ 1309 w 10746"/>
                  <a:gd name="connsiteY2655" fmla="*/ 9239 h 10000"/>
                  <a:gd name="connsiteX2656" fmla="*/ 1318 w 10746"/>
                  <a:gd name="connsiteY2656" fmla="*/ 9256 h 10000"/>
                  <a:gd name="connsiteX2657" fmla="*/ 1323 w 10746"/>
                  <a:gd name="connsiteY2657" fmla="*/ 9179 h 10000"/>
                  <a:gd name="connsiteX2658" fmla="*/ 1309 w 10746"/>
                  <a:gd name="connsiteY2658" fmla="*/ 9145 h 10000"/>
                  <a:gd name="connsiteX2659" fmla="*/ 1336 w 10746"/>
                  <a:gd name="connsiteY2659" fmla="*/ 9154 h 10000"/>
                  <a:gd name="connsiteX2660" fmla="*/ 1336 w 10746"/>
                  <a:gd name="connsiteY2660" fmla="*/ 9162 h 10000"/>
                  <a:gd name="connsiteX2661" fmla="*/ 1350 w 10746"/>
                  <a:gd name="connsiteY2661" fmla="*/ 9231 h 10000"/>
                  <a:gd name="connsiteX2662" fmla="*/ 1355 w 10746"/>
                  <a:gd name="connsiteY2662" fmla="*/ 9231 h 10000"/>
                  <a:gd name="connsiteX2663" fmla="*/ 1364 w 10746"/>
                  <a:gd name="connsiteY2663" fmla="*/ 9214 h 10000"/>
                  <a:gd name="connsiteX2664" fmla="*/ 1369 w 10746"/>
                  <a:gd name="connsiteY2664" fmla="*/ 9214 h 10000"/>
                  <a:gd name="connsiteX2665" fmla="*/ 1382 w 10746"/>
                  <a:gd name="connsiteY2665" fmla="*/ 9154 h 10000"/>
                  <a:gd name="connsiteX2666" fmla="*/ 1396 w 10746"/>
                  <a:gd name="connsiteY2666" fmla="*/ 9154 h 10000"/>
                  <a:gd name="connsiteX2667" fmla="*/ 1382 w 10746"/>
                  <a:gd name="connsiteY2667" fmla="*/ 9145 h 10000"/>
                  <a:gd name="connsiteX2668" fmla="*/ 1382 w 10746"/>
                  <a:gd name="connsiteY2668" fmla="*/ 9128 h 10000"/>
                  <a:gd name="connsiteX2669" fmla="*/ 1369 w 10746"/>
                  <a:gd name="connsiteY2669" fmla="*/ 9128 h 10000"/>
                  <a:gd name="connsiteX2670" fmla="*/ 1364 w 10746"/>
                  <a:gd name="connsiteY2670" fmla="*/ 9128 h 10000"/>
                  <a:gd name="connsiteX2671" fmla="*/ 1355 w 10746"/>
                  <a:gd name="connsiteY2671" fmla="*/ 9120 h 10000"/>
                  <a:gd name="connsiteX2672" fmla="*/ 1350 w 10746"/>
                  <a:gd name="connsiteY2672" fmla="*/ 9103 h 10000"/>
                  <a:gd name="connsiteX2673" fmla="*/ 1355 w 10746"/>
                  <a:gd name="connsiteY2673" fmla="*/ 9094 h 10000"/>
                  <a:gd name="connsiteX2674" fmla="*/ 1355 w 10746"/>
                  <a:gd name="connsiteY2674" fmla="*/ 9068 h 10000"/>
                  <a:gd name="connsiteX2675" fmla="*/ 1369 w 10746"/>
                  <a:gd name="connsiteY2675" fmla="*/ 9068 h 10000"/>
                  <a:gd name="connsiteX2676" fmla="*/ 1378 w 10746"/>
                  <a:gd name="connsiteY2676" fmla="*/ 9077 h 10000"/>
                  <a:gd name="connsiteX2677" fmla="*/ 1396 w 10746"/>
                  <a:gd name="connsiteY2677" fmla="*/ 9068 h 10000"/>
                  <a:gd name="connsiteX2678" fmla="*/ 1382 w 10746"/>
                  <a:gd name="connsiteY2678" fmla="*/ 8940 h 10000"/>
                  <a:gd name="connsiteX2679" fmla="*/ 1378 w 10746"/>
                  <a:gd name="connsiteY2679" fmla="*/ 8940 h 10000"/>
                  <a:gd name="connsiteX2680" fmla="*/ 1364 w 10746"/>
                  <a:gd name="connsiteY2680" fmla="*/ 8889 h 10000"/>
                  <a:gd name="connsiteX2681" fmla="*/ 1355 w 10746"/>
                  <a:gd name="connsiteY2681" fmla="*/ 8880 h 10000"/>
                  <a:gd name="connsiteX2682" fmla="*/ 1323 w 10746"/>
                  <a:gd name="connsiteY2682" fmla="*/ 8880 h 10000"/>
                  <a:gd name="connsiteX2683" fmla="*/ 1309 w 10746"/>
                  <a:gd name="connsiteY2683" fmla="*/ 8880 h 10000"/>
                  <a:gd name="connsiteX2684" fmla="*/ 1309 w 10746"/>
                  <a:gd name="connsiteY2684" fmla="*/ 8889 h 10000"/>
                  <a:gd name="connsiteX2685" fmla="*/ 1295 w 10746"/>
                  <a:gd name="connsiteY2685" fmla="*/ 8872 h 10000"/>
                  <a:gd name="connsiteX2686" fmla="*/ 1290 w 10746"/>
                  <a:gd name="connsiteY2686" fmla="*/ 8855 h 10000"/>
                  <a:gd name="connsiteX2687" fmla="*/ 1290 w 10746"/>
                  <a:gd name="connsiteY2687" fmla="*/ 8829 h 10000"/>
                  <a:gd name="connsiteX2688" fmla="*/ 1290 w 10746"/>
                  <a:gd name="connsiteY2688" fmla="*/ 8821 h 10000"/>
                  <a:gd name="connsiteX2689" fmla="*/ 1290 w 10746"/>
                  <a:gd name="connsiteY2689" fmla="*/ 8803 h 10000"/>
                  <a:gd name="connsiteX2690" fmla="*/ 1281 w 10746"/>
                  <a:gd name="connsiteY2690" fmla="*/ 8795 h 10000"/>
                  <a:gd name="connsiteX2691" fmla="*/ 1249 w 10746"/>
                  <a:gd name="connsiteY2691" fmla="*/ 8769 h 10000"/>
                  <a:gd name="connsiteX2692" fmla="*/ 1263 w 10746"/>
                  <a:gd name="connsiteY2692" fmla="*/ 8667 h 10000"/>
                  <a:gd name="connsiteX2693" fmla="*/ 1281 w 10746"/>
                  <a:gd name="connsiteY2693" fmla="*/ 8658 h 10000"/>
                  <a:gd name="connsiteX2694" fmla="*/ 1290 w 10746"/>
                  <a:gd name="connsiteY2694" fmla="*/ 8632 h 10000"/>
                  <a:gd name="connsiteX2695" fmla="*/ 1281 w 10746"/>
                  <a:gd name="connsiteY2695" fmla="*/ 8615 h 10000"/>
                  <a:gd name="connsiteX2696" fmla="*/ 1272 w 10746"/>
                  <a:gd name="connsiteY2696" fmla="*/ 8598 h 10000"/>
                  <a:gd name="connsiteX2697" fmla="*/ 1281 w 10746"/>
                  <a:gd name="connsiteY2697" fmla="*/ 8496 h 10000"/>
                  <a:gd name="connsiteX2698" fmla="*/ 1295 w 10746"/>
                  <a:gd name="connsiteY2698" fmla="*/ 8470 h 10000"/>
                  <a:gd name="connsiteX2699" fmla="*/ 1304 w 10746"/>
                  <a:gd name="connsiteY2699" fmla="*/ 8462 h 10000"/>
                  <a:gd name="connsiteX2700" fmla="*/ 1304 w 10746"/>
                  <a:gd name="connsiteY2700" fmla="*/ 8444 h 10000"/>
                  <a:gd name="connsiteX2701" fmla="*/ 1304 w 10746"/>
                  <a:gd name="connsiteY2701" fmla="*/ 8419 h 10000"/>
                  <a:gd name="connsiteX2702" fmla="*/ 1304 w 10746"/>
                  <a:gd name="connsiteY2702" fmla="*/ 8410 h 10000"/>
                  <a:gd name="connsiteX2703" fmla="*/ 1309 w 10746"/>
                  <a:gd name="connsiteY2703" fmla="*/ 8393 h 10000"/>
                  <a:gd name="connsiteX2704" fmla="*/ 1318 w 10746"/>
                  <a:gd name="connsiteY2704" fmla="*/ 8385 h 10000"/>
                  <a:gd name="connsiteX2705" fmla="*/ 1323 w 10746"/>
                  <a:gd name="connsiteY2705" fmla="*/ 8385 h 10000"/>
                  <a:gd name="connsiteX2706" fmla="*/ 1332 w 10746"/>
                  <a:gd name="connsiteY2706" fmla="*/ 8410 h 10000"/>
                  <a:gd name="connsiteX2707" fmla="*/ 1346 w 10746"/>
                  <a:gd name="connsiteY2707" fmla="*/ 8419 h 10000"/>
                  <a:gd name="connsiteX2708" fmla="*/ 1364 w 10746"/>
                  <a:gd name="connsiteY2708" fmla="*/ 8504 h 10000"/>
                  <a:gd name="connsiteX2709" fmla="*/ 1369 w 10746"/>
                  <a:gd name="connsiteY2709" fmla="*/ 8521 h 10000"/>
                  <a:gd name="connsiteX2710" fmla="*/ 1406 w 10746"/>
                  <a:gd name="connsiteY2710" fmla="*/ 8470 h 10000"/>
                  <a:gd name="connsiteX2711" fmla="*/ 1382 w 10746"/>
                  <a:gd name="connsiteY2711" fmla="*/ 8359 h 10000"/>
                  <a:gd name="connsiteX2712" fmla="*/ 1392 w 10746"/>
                  <a:gd name="connsiteY2712" fmla="*/ 8359 h 10000"/>
                  <a:gd name="connsiteX2713" fmla="*/ 1438 w 10746"/>
                  <a:gd name="connsiteY2713" fmla="*/ 8308 h 10000"/>
                  <a:gd name="connsiteX2714" fmla="*/ 1442 w 10746"/>
                  <a:gd name="connsiteY2714" fmla="*/ 8299 h 10000"/>
                  <a:gd name="connsiteX2715" fmla="*/ 1442 w 10746"/>
                  <a:gd name="connsiteY2715" fmla="*/ 8256 h 10000"/>
                  <a:gd name="connsiteX2716" fmla="*/ 1452 w 10746"/>
                  <a:gd name="connsiteY2716" fmla="*/ 8256 h 10000"/>
                  <a:gd name="connsiteX2717" fmla="*/ 1456 w 10746"/>
                  <a:gd name="connsiteY2717" fmla="*/ 8256 h 10000"/>
                  <a:gd name="connsiteX2718" fmla="*/ 1470 w 10746"/>
                  <a:gd name="connsiteY2718" fmla="*/ 8248 h 10000"/>
                  <a:gd name="connsiteX2719" fmla="*/ 1479 w 10746"/>
                  <a:gd name="connsiteY2719" fmla="*/ 8231 h 10000"/>
                  <a:gd name="connsiteX2720" fmla="*/ 1493 w 10746"/>
                  <a:gd name="connsiteY2720" fmla="*/ 8222 h 10000"/>
                  <a:gd name="connsiteX2721" fmla="*/ 1498 w 10746"/>
                  <a:gd name="connsiteY2721" fmla="*/ 8214 h 10000"/>
                  <a:gd name="connsiteX2722" fmla="*/ 1502 w 10746"/>
                  <a:gd name="connsiteY2722" fmla="*/ 8197 h 10000"/>
                  <a:gd name="connsiteX2723" fmla="*/ 1512 w 10746"/>
                  <a:gd name="connsiteY2723" fmla="*/ 8188 h 10000"/>
                  <a:gd name="connsiteX2724" fmla="*/ 1516 w 10746"/>
                  <a:gd name="connsiteY2724" fmla="*/ 8171 h 10000"/>
                  <a:gd name="connsiteX2725" fmla="*/ 1525 w 10746"/>
                  <a:gd name="connsiteY2725" fmla="*/ 8162 h 10000"/>
                  <a:gd name="connsiteX2726" fmla="*/ 1539 w 10746"/>
                  <a:gd name="connsiteY2726" fmla="*/ 8145 h 10000"/>
                  <a:gd name="connsiteX2727" fmla="*/ 1558 w 10746"/>
                  <a:gd name="connsiteY2727" fmla="*/ 8145 h 10000"/>
                  <a:gd name="connsiteX2728" fmla="*/ 1562 w 10746"/>
                  <a:gd name="connsiteY2728" fmla="*/ 8188 h 10000"/>
                  <a:gd name="connsiteX2729" fmla="*/ 1585 w 10746"/>
                  <a:gd name="connsiteY2729" fmla="*/ 8171 h 10000"/>
                  <a:gd name="connsiteX2730" fmla="*/ 1590 w 10746"/>
                  <a:gd name="connsiteY2730" fmla="*/ 8188 h 10000"/>
                  <a:gd name="connsiteX2731" fmla="*/ 1599 w 10746"/>
                  <a:gd name="connsiteY2731" fmla="*/ 8171 h 10000"/>
                  <a:gd name="connsiteX2732" fmla="*/ 1599 w 10746"/>
                  <a:gd name="connsiteY2732" fmla="*/ 8162 h 10000"/>
                  <a:gd name="connsiteX2733" fmla="*/ 1604 w 10746"/>
                  <a:gd name="connsiteY2733" fmla="*/ 8137 h 10000"/>
                  <a:gd name="connsiteX2734" fmla="*/ 1618 w 10746"/>
                  <a:gd name="connsiteY2734" fmla="*/ 8145 h 10000"/>
                  <a:gd name="connsiteX2735" fmla="*/ 1627 w 10746"/>
                  <a:gd name="connsiteY2735" fmla="*/ 8137 h 10000"/>
                  <a:gd name="connsiteX2736" fmla="*/ 1631 w 10746"/>
                  <a:gd name="connsiteY2736" fmla="*/ 8137 h 10000"/>
                  <a:gd name="connsiteX2737" fmla="*/ 1636 w 10746"/>
                  <a:gd name="connsiteY2737" fmla="*/ 8171 h 10000"/>
                  <a:gd name="connsiteX2738" fmla="*/ 1645 w 10746"/>
                  <a:gd name="connsiteY2738" fmla="*/ 8188 h 10000"/>
                  <a:gd name="connsiteX2739" fmla="*/ 1664 w 10746"/>
                  <a:gd name="connsiteY2739" fmla="*/ 8171 h 10000"/>
                  <a:gd name="connsiteX2740" fmla="*/ 1673 w 10746"/>
                  <a:gd name="connsiteY2740" fmla="*/ 8188 h 10000"/>
                  <a:gd name="connsiteX2741" fmla="*/ 1691 w 10746"/>
                  <a:gd name="connsiteY2741" fmla="*/ 8171 h 10000"/>
                  <a:gd name="connsiteX2742" fmla="*/ 1705 w 10746"/>
                  <a:gd name="connsiteY2742" fmla="*/ 8171 h 10000"/>
                  <a:gd name="connsiteX2743" fmla="*/ 1719 w 10746"/>
                  <a:gd name="connsiteY2743" fmla="*/ 8197 h 10000"/>
                  <a:gd name="connsiteX2744" fmla="*/ 1724 w 10746"/>
                  <a:gd name="connsiteY2744" fmla="*/ 8231 h 10000"/>
                  <a:gd name="connsiteX2745" fmla="*/ 1751 w 10746"/>
                  <a:gd name="connsiteY2745" fmla="*/ 8256 h 10000"/>
                  <a:gd name="connsiteX2746" fmla="*/ 1751 w 10746"/>
                  <a:gd name="connsiteY2746" fmla="*/ 8274 h 10000"/>
                  <a:gd name="connsiteX2747" fmla="*/ 1760 w 10746"/>
                  <a:gd name="connsiteY2747" fmla="*/ 8282 h 10000"/>
                  <a:gd name="connsiteX2748" fmla="*/ 1770 w 10746"/>
                  <a:gd name="connsiteY2748" fmla="*/ 8325 h 10000"/>
                  <a:gd name="connsiteX2749" fmla="*/ 1770 w 10746"/>
                  <a:gd name="connsiteY2749" fmla="*/ 8350 h 10000"/>
                  <a:gd name="connsiteX2750" fmla="*/ 1779 w 10746"/>
                  <a:gd name="connsiteY2750" fmla="*/ 8368 h 10000"/>
                  <a:gd name="connsiteX2751" fmla="*/ 1783 w 10746"/>
                  <a:gd name="connsiteY2751" fmla="*/ 8359 h 10000"/>
                  <a:gd name="connsiteX2752" fmla="*/ 1783 w 10746"/>
                  <a:gd name="connsiteY2752" fmla="*/ 8308 h 10000"/>
                  <a:gd name="connsiteX2753" fmla="*/ 1779 w 10746"/>
                  <a:gd name="connsiteY2753" fmla="*/ 8299 h 10000"/>
                  <a:gd name="connsiteX2754" fmla="*/ 1783 w 10746"/>
                  <a:gd name="connsiteY2754" fmla="*/ 8282 h 10000"/>
                  <a:gd name="connsiteX2755" fmla="*/ 1797 w 10746"/>
                  <a:gd name="connsiteY2755" fmla="*/ 8274 h 10000"/>
                  <a:gd name="connsiteX2756" fmla="*/ 1797 w 10746"/>
                  <a:gd name="connsiteY2756" fmla="*/ 8299 h 10000"/>
                  <a:gd name="connsiteX2757" fmla="*/ 1806 w 10746"/>
                  <a:gd name="connsiteY2757" fmla="*/ 8308 h 10000"/>
                  <a:gd name="connsiteX2758" fmla="*/ 1811 w 10746"/>
                  <a:gd name="connsiteY2758" fmla="*/ 8325 h 10000"/>
                  <a:gd name="connsiteX2759" fmla="*/ 1820 w 10746"/>
                  <a:gd name="connsiteY2759" fmla="*/ 8333 h 10000"/>
                  <a:gd name="connsiteX2760" fmla="*/ 1853 w 10746"/>
                  <a:gd name="connsiteY2760" fmla="*/ 8359 h 10000"/>
                  <a:gd name="connsiteX2761" fmla="*/ 1866 w 10746"/>
                  <a:gd name="connsiteY2761" fmla="*/ 8359 h 10000"/>
                  <a:gd name="connsiteX2762" fmla="*/ 1885 w 10746"/>
                  <a:gd name="connsiteY2762" fmla="*/ 8325 h 10000"/>
                  <a:gd name="connsiteX2763" fmla="*/ 1885 w 10746"/>
                  <a:gd name="connsiteY2763" fmla="*/ 8308 h 10000"/>
                  <a:gd name="connsiteX2764" fmla="*/ 1894 w 10746"/>
                  <a:gd name="connsiteY2764" fmla="*/ 8299 h 10000"/>
                  <a:gd name="connsiteX2765" fmla="*/ 1899 w 10746"/>
                  <a:gd name="connsiteY2765" fmla="*/ 8282 h 10000"/>
                  <a:gd name="connsiteX2766" fmla="*/ 1912 w 10746"/>
                  <a:gd name="connsiteY2766" fmla="*/ 8282 h 10000"/>
                  <a:gd name="connsiteX2767" fmla="*/ 1917 w 10746"/>
                  <a:gd name="connsiteY2767" fmla="*/ 8299 h 10000"/>
                  <a:gd name="connsiteX2768" fmla="*/ 1917 w 10746"/>
                  <a:gd name="connsiteY2768" fmla="*/ 8274 h 10000"/>
                  <a:gd name="connsiteX2769" fmla="*/ 1940 w 10746"/>
                  <a:gd name="connsiteY2769" fmla="*/ 8282 h 10000"/>
                  <a:gd name="connsiteX2770" fmla="*/ 1945 w 10746"/>
                  <a:gd name="connsiteY2770" fmla="*/ 8274 h 10000"/>
                  <a:gd name="connsiteX2771" fmla="*/ 1972 w 10746"/>
                  <a:gd name="connsiteY2771" fmla="*/ 8308 h 10000"/>
                  <a:gd name="connsiteX2772" fmla="*/ 1986 w 10746"/>
                  <a:gd name="connsiteY2772" fmla="*/ 8282 h 10000"/>
                  <a:gd name="connsiteX2773" fmla="*/ 1991 w 10746"/>
                  <a:gd name="connsiteY2773" fmla="*/ 8274 h 10000"/>
                  <a:gd name="connsiteX2774" fmla="*/ 2014 w 10746"/>
                  <a:gd name="connsiteY2774" fmla="*/ 8274 h 10000"/>
                  <a:gd name="connsiteX2775" fmla="*/ 2018 w 10746"/>
                  <a:gd name="connsiteY2775" fmla="*/ 8256 h 10000"/>
                  <a:gd name="connsiteX2776" fmla="*/ 2041 w 10746"/>
                  <a:gd name="connsiteY2776" fmla="*/ 8274 h 10000"/>
                  <a:gd name="connsiteX2777" fmla="*/ 2046 w 10746"/>
                  <a:gd name="connsiteY2777" fmla="*/ 8282 h 10000"/>
                  <a:gd name="connsiteX2778" fmla="*/ 2046 w 10746"/>
                  <a:gd name="connsiteY2778" fmla="*/ 8325 h 10000"/>
                  <a:gd name="connsiteX2779" fmla="*/ 2060 w 10746"/>
                  <a:gd name="connsiteY2779" fmla="*/ 8350 h 10000"/>
                  <a:gd name="connsiteX2780" fmla="*/ 2078 w 10746"/>
                  <a:gd name="connsiteY2780" fmla="*/ 8350 h 10000"/>
                  <a:gd name="connsiteX2781" fmla="*/ 2092 w 10746"/>
                  <a:gd name="connsiteY2781" fmla="*/ 8350 h 10000"/>
                  <a:gd name="connsiteX2782" fmla="*/ 2092 w 10746"/>
                  <a:gd name="connsiteY2782" fmla="*/ 8350 h 10000"/>
                  <a:gd name="connsiteX2783" fmla="*/ 2101 w 10746"/>
                  <a:gd name="connsiteY2783" fmla="*/ 8368 h 10000"/>
                  <a:gd name="connsiteX2784" fmla="*/ 2120 w 10746"/>
                  <a:gd name="connsiteY2784" fmla="*/ 8368 h 10000"/>
                  <a:gd name="connsiteX2785" fmla="*/ 2124 w 10746"/>
                  <a:gd name="connsiteY2785" fmla="*/ 8359 h 10000"/>
                  <a:gd name="connsiteX2786" fmla="*/ 2138 w 10746"/>
                  <a:gd name="connsiteY2786" fmla="*/ 8325 h 10000"/>
                  <a:gd name="connsiteX2787" fmla="*/ 2147 w 10746"/>
                  <a:gd name="connsiteY2787" fmla="*/ 8325 h 10000"/>
                  <a:gd name="connsiteX2788" fmla="*/ 2161 w 10746"/>
                  <a:gd name="connsiteY2788" fmla="*/ 8350 h 10000"/>
                  <a:gd name="connsiteX2789" fmla="*/ 2198 w 10746"/>
                  <a:gd name="connsiteY2789" fmla="*/ 8350 h 10000"/>
                  <a:gd name="connsiteX2790" fmla="*/ 2207 w 10746"/>
                  <a:gd name="connsiteY2790" fmla="*/ 8333 h 10000"/>
                  <a:gd name="connsiteX2791" fmla="*/ 2226 w 10746"/>
                  <a:gd name="connsiteY2791" fmla="*/ 8325 h 10000"/>
                  <a:gd name="connsiteX2792" fmla="*/ 2249 w 10746"/>
                  <a:gd name="connsiteY2792" fmla="*/ 8222 h 10000"/>
                  <a:gd name="connsiteX2793" fmla="*/ 2235 w 10746"/>
                  <a:gd name="connsiteY2793" fmla="*/ 8197 h 10000"/>
                  <a:gd name="connsiteX2794" fmla="*/ 2198 w 10746"/>
                  <a:gd name="connsiteY2794" fmla="*/ 8197 h 10000"/>
                  <a:gd name="connsiteX2795" fmla="*/ 2189 w 10746"/>
                  <a:gd name="connsiteY2795" fmla="*/ 8171 h 10000"/>
                  <a:gd name="connsiteX2796" fmla="*/ 2161 w 10746"/>
                  <a:gd name="connsiteY2796" fmla="*/ 8145 h 10000"/>
                  <a:gd name="connsiteX2797" fmla="*/ 2161 w 10746"/>
                  <a:gd name="connsiteY2797" fmla="*/ 8137 h 10000"/>
                  <a:gd name="connsiteX2798" fmla="*/ 2152 w 10746"/>
                  <a:gd name="connsiteY2798" fmla="*/ 8120 h 10000"/>
                  <a:gd name="connsiteX2799" fmla="*/ 2138 w 10746"/>
                  <a:gd name="connsiteY2799" fmla="*/ 8111 h 10000"/>
                  <a:gd name="connsiteX2800" fmla="*/ 2138 w 10746"/>
                  <a:gd name="connsiteY2800" fmla="*/ 8094 h 10000"/>
                  <a:gd name="connsiteX2801" fmla="*/ 2147 w 10746"/>
                  <a:gd name="connsiteY2801" fmla="*/ 8085 h 10000"/>
                  <a:gd name="connsiteX2802" fmla="*/ 2161 w 10746"/>
                  <a:gd name="connsiteY2802" fmla="*/ 8060 h 10000"/>
                  <a:gd name="connsiteX2803" fmla="*/ 2198 w 10746"/>
                  <a:gd name="connsiteY2803" fmla="*/ 8034 h 10000"/>
                  <a:gd name="connsiteX2804" fmla="*/ 2198 w 10746"/>
                  <a:gd name="connsiteY2804" fmla="*/ 8026 h 10000"/>
                  <a:gd name="connsiteX2805" fmla="*/ 2198 w 10746"/>
                  <a:gd name="connsiteY2805" fmla="*/ 8000 h 10000"/>
                  <a:gd name="connsiteX2806" fmla="*/ 2180 w 10746"/>
                  <a:gd name="connsiteY2806" fmla="*/ 7940 h 10000"/>
                  <a:gd name="connsiteX2807" fmla="*/ 2189 w 10746"/>
                  <a:gd name="connsiteY2807" fmla="*/ 7940 h 10000"/>
                  <a:gd name="connsiteX2808" fmla="*/ 2198 w 10746"/>
                  <a:gd name="connsiteY2808" fmla="*/ 7923 h 10000"/>
                  <a:gd name="connsiteX2809" fmla="*/ 2198 w 10746"/>
                  <a:gd name="connsiteY2809" fmla="*/ 7897 h 10000"/>
                  <a:gd name="connsiteX2810" fmla="*/ 2207 w 10746"/>
                  <a:gd name="connsiteY2810" fmla="*/ 7889 h 10000"/>
                  <a:gd name="connsiteX2811" fmla="*/ 2221 w 10746"/>
                  <a:gd name="connsiteY2811" fmla="*/ 7889 h 10000"/>
                  <a:gd name="connsiteX2812" fmla="*/ 2226 w 10746"/>
                  <a:gd name="connsiteY2812" fmla="*/ 7897 h 10000"/>
                  <a:gd name="connsiteX2813" fmla="*/ 2235 w 10746"/>
                  <a:gd name="connsiteY2813" fmla="*/ 7889 h 10000"/>
                  <a:gd name="connsiteX2814" fmla="*/ 2249 w 10746"/>
                  <a:gd name="connsiteY2814" fmla="*/ 7897 h 10000"/>
                  <a:gd name="connsiteX2815" fmla="*/ 2267 w 10746"/>
                  <a:gd name="connsiteY2815" fmla="*/ 7897 h 10000"/>
                  <a:gd name="connsiteX2816" fmla="*/ 2272 w 10746"/>
                  <a:gd name="connsiteY2816" fmla="*/ 7889 h 10000"/>
                  <a:gd name="connsiteX2817" fmla="*/ 2281 w 10746"/>
                  <a:gd name="connsiteY2817" fmla="*/ 7872 h 10000"/>
                  <a:gd name="connsiteX2818" fmla="*/ 2272 w 10746"/>
                  <a:gd name="connsiteY2818" fmla="*/ 7846 h 10000"/>
                  <a:gd name="connsiteX2819" fmla="*/ 2253 w 10746"/>
                  <a:gd name="connsiteY2819" fmla="*/ 7838 h 10000"/>
                  <a:gd name="connsiteX2820" fmla="*/ 2221 w 10746"/>
                  <a:gd name="connsiteY2820" fmla="*/ 7821 h 10000"/>
                  <a:gd name="connsiteX2821" fmla="*/ 2212 w 10746"/>
                  <a:gd name="connsiteY2821" fmla="*/ 7812 h 10000"/>
                  <a:gd name="connsiteX2822" fmla="*/ 2212 w 10746"/>
                  <a:gd name="connsiteY2822" fmla="*/ 7803 h 10000"/>
                  <a:gd name="connsiteX2823" fmla="*/ 2221 w 10746"/>
                  <a:gd name="connsiteY2823" fmla="*/ 7803 h 10000"/>
                  <a:gd name="connsiteX2824" fmla="*/ 2235 w 10746"/>
                  <a:gd name="connsiteY2824" fmla="*/ 7786 h 10000"/>
                  <a:gd name="connsiteX2825" fmla="*/ 2240 w 10746"/>
                  <a:gd name="connsiteY2825" fmla="*/ 7778 h 10000"/>
                  <a:gd name="connsiteX2826" fmla="*/ 2226 w 10746"/>
                  <a:gd name="connsiteY2826" fmla="*/ 7761 h 10000"/>
                  <a:gd name="connsiteX2827" fmla="*/ 2221 w 10746"/>
                  <a:gd name="connsiteY2827" fmla="*/ 7778 h 10000"/>
                  <a:gd name="connsiteX2828" fmla="*/ 2198 w 10746"/>
                  <a:gd name="connsiteY2828" fmla="*/ 7778 h 10000"/>
                  <a:gd name="connsiteX2829" fmla="*/ 2198 w 10746"/>
                  <a:gd name="connsiteY2829" fmla="*/ 7752 h 10000"/>
                  <a:gd name="connsiteX2830" fmla="*/ 2207 w 10746"/>
                  <a:gd name="connsiteY2830" fmla="*/ 7735 h 10000"/>
                  <a:gd name="connsiteX2831" fmla="*/ 2212 w 10746"/>
                  <a:gd name="connsiteY2831" fmla="*/ 7726 h 10000"/>
                  <a:gd name="connsiteX2832" fmla="*/ 2198 w 10746"/>
                  <a:gd name="connsiteY2832" fmla="*/ 7692 h 10000"/>
                  <a:gd name="connsiteX2833" fmla="*/ 2221 w 10746"/>
                  <a:gd name="connsiteY2833" fmla="*/ 7692 h 10000"/>
                  <a:gd name="connsiteX2834" fmla="*/ 2221 w 10746"/>
                  <a:gd name="connsiteY2834" fmla="*/ 7675 h 10000"/>
                  <a:gd name="connsiteX2835" fmla="*/ 2235 w 10746"/>
                  <a:gd name="connsiteY2835" fmla="*/ 7675 h 10000"/>
                  <a:gd name="connsiteX2836" fmla="*/ 2240 w 10746"/>
                  <a:gd name="connsiteY2836" fmla="*/ 7692 h 10000"/>
                  <a:gd name="connsiteX2837" fmla="*/ 2249 w 10746"/>
                  <a:gd name="connsiteY2837" fmla="*/ 7692 h 10000"/>
                  <a:gd name="connsiteX2838" fmla="*/ 2258 w 10746"/>
                  <a:gd name="connsiteY2838" fmla="*/ 7692 h 10000"/>
                  <a:gd name="connsiteX2839" fmla="*/ 2267 w 10746"/>
                  <a:gd name="connsiteY2839" fmla="*/ 7692 h 10000"/>
                  <a:gd name="connsiteX2840" fmla="*/ 2295 w 10746"/>
                  <a:gd name="connsiteY2840" fmla="*/ 7692 h 10000"/>
                  <a:gd name="connsiteX2841" fmla="*/ 2300 w 10746"/>
                  <a:gd name="connsiteY2841" fmla="*/ 7701 h 10000"/>
                  <a:gd name="connsiteX2842" fmla="*/ 2313 w 10746"/>
                  <a:gd name="connsiteY2842" fmla="*/ 7675 h 10000"/>
                  <a:gd name="connsiteX2843" fmla="*/ 2323 w 10746"/>
                  <a:gd name="connsiteY2843" fmla="*/ 7675 h 10000"/>
                  <a:gd name="connsiteX2844" fmla="*/ 2341 w 10746"/>
                  <a:gd name="connsiteY2844" fmla="*/ 7675 h 10000"/>
                  <a:gd name="connsiteX2845" fmla="*/ 2346 w 10746"/>
                  <a:gd name="connsiteY2845" fmla="*/ 7667 h 10000"/>
                  <a:gd name="connsiteX2846" fmla="*/ 2359 w 10746"/>
                  <a:gd name="connsiteY2846" fmla="*/ 7650 h 10000"/>
                  <a:gd name="connsiteX2847" fmla="*/ 2373 w 10746"/>
                  <a:gd name="connsiteY2847" fmla="*/ 7624 h 10000"/>
                  <a:gd name="connsiteX2848" fmla="*/ 2382 w 10746"/>
                  <a:gd name="connsiteY2848" fmla="*/ 7641 h 10000"/>
                  <a:gd name="connsiteX2849" fmla="*/ 2396 w 10746"/>
                  <a:gd name="connsiteY2849" fmla="*/ 7650 h 10000"/>
                  <a:gd name="connsiteX2850" fmla="*/ 2401 w 10746"/>
                  <a:gd name="connsiteY2850" fmla="*/ 7650 h 10000"/>
                  <a:gd name="connsiteX2851" fmla="*/ 2401 w 10746"/>
                  <a:gd name="connsiteY2851" fmla="*/ 7624 h 10000"/>
                  <a:gd name="connsiteX2852" fmla="*/ 2419 w 10746"/>
                  <a:gd name="connsiteY2852" fmla="*/ 7624 h 10000"/>
                  <a:gd name="connsiteX2853" fmla="*/ 2433 w 10746"/>
                  <a:gd name="connsiteY2853" fmla="*/ 7615 h 10000"/>
                  <a:gd name="connsiteX2854" fmla="*/ 2442 w 10746"/>
                  <a:gd name="connsiteY2854" fmla="*/ 7615 h 10000"/>
                  <a:gd name="connsiteX2855" fmla="*/ 2447 w 10746"/>
                  <a:gd name="connsiteY2855" fmla="*/ 7598 h 10000"/>
                  <a:gd name="connsiteX2856" fmla="*/ 2461 w 10746"/>
                  <a:gd name="connsiteY2856" fmla="*/ 7598 h 10000"/>
                  <a:gd name="connsiteX2857" fmla="*/ 2465 w 10746"/>
                  <a:gd name="connsiteY2857" fmla="*/ 7615 h 10000"/>
                  <a:gd name="connsiteX2858" fmla="*/ 2479 w 10746"/>
                  <a:gd name="connsiteY2858" fmla="*/ 7564 h 10000"/>
                  <a:gd name="connsiteX2859" fmla="*/ 2488 w 10746"/>
                  <a:gd name="connsiteY2859" fmla="*/ 7556 h 10000"/>
                  <a:gd name="connsiteX2860" fmla="*/ 2493 w 10746"/>
                  <a:gd name="connsiteY2860" fmla="*/ 7556 h 10000"/>
                  <a:gd name="connsiteX2861" fmla="*/ 2507 w 10746"/>
                  <a:gd name="connsiteY2861" fmla="*/ 7556 h 10000"/>
                  <a:gd name="connsiteX2862" fmla="*/ 2530 w 10746"/>
                  <a:gd name="connsiteY2862" fmla="*/ 7538 h 10000"/>
                  <a:gd name="connsiteX2863" fmla="*/ 2530 w 10746"/>
                  <a:gd name="connsiteY2863" fmla="*/ 7556 h 10000"/>
                  <a:gd name="connsiteX2864" fmla="*/ 2641 w 10746"/>
                  <a:gd name="connsiteY2864" fmla="*/ 7504 h 10000"/>
                  <a:gd name="connsiteX2865" fmla="*/ 2654 w 10746"/>
                  <a:gd name="connsiteY2865" fmla="*/ 7487 h 10000"/>
                  <a:gd name="connsiteX2866" fmla="*/ 2664 w 10746"/>
                  <a:gd name="connsiteY2866" fmla="*/ 7487 h 10000"/>
                  <a:gd name="connsiteX2867" fmla="*/ 2668 w 10746"/>
                  <a:gd name="connsiteY2867" fmla="*/ 7479 h 10000"/>
                  <a:gd name="connsiteX2868" fmla="*/ 2673 w 10746"/>
                  <a:gd name="connsiteY2868" fmla="*/ 7462 h 10000"/>
                  <a:gd name="connsiteX2869" fmla="*/ 2673 w 10746"/>
                  <a:gd name="connsiteY2869" fmla="*/ 7427 h 10000"/>
                  <a:gd name="connsiteX2870" fmla="*/ 2687 w 10746"/>
                  <a:gd name="connsiteY2870" fmla="*/ 7436 h 10000"/>
                  <a:gd name="connsiteX2871" fmla="*/ 2696 w 10746"/>
                  <a:gd name="connsiteY2871" fmla="*/ 7427 h 10000"/>
                  <a:gd name="connsiteX2872" fmla="*/ 2700 w 10746"/>
                  <a:gd name="connsiteY2872" fmla="*/ 7419 h 10000"/>
                  <a:gd name="connsiteX2873" fmla="*/ 2710 w 10746"/>
                  <a:gd name="connsiteY2873" fmla="*/ 7402 h 10000"/>
                  <a:gd name="connsiteX2874" fmla="*/ 2724 w 10746"/>
                  <a:gd name="connsiteY2874" fmla="*/ 7402 h 10000"/>
                  <a:gd name="connsiteX2875" fmla="*/ 2724 w 10746"/>
                  <a:gd name="connsiteY2875" fmla="*/ 7393 h 10000"/>
                  <a:gd name="connsiteX2876" fmla="*/ 2737 w 10746"/>
                  <a:gd name="connsiteY2876" fmla="*/ 7393 h 10000"/>
                  <a:gd name="connsiteX2877" fmla="*/ 2742 w 10746"/>
                  <a:gd name="connsiteY2877" fmla="*/ 7402 h 10000"/>
                  <a:gd name="connsiteX2878" fmla="*/ 2747 w 10746"/>
                  <a:gd name="connsiteY2878" fmla="*/ 7402 h 10000"/>
                  <a:gd name="connsiteX2879" fmla="*/ 2760 w 10746"/>
                  <a:gd name="connsiteY2879" fmla="*/ 7402 h 10000"/>
                  <a:gd name="connsiteX2880" fmla="*/ 2770 w 10746"/>
                  <a:gd name="connsiteY2880" fmla="*/ 7402 h 10000"/>
                  <a:gd name="connsiteX2881" fmla="*/ 2774 w 10746"/>
                  <a:gd name="connsiteY2881" fmla="*/ 7402 h 10000"/>
                  <a:gd name="connsiteX2882" fmla="*/ 2783 w 10746"/>
                  <a:gd name="connsiteY2882" fmla="*/ 7419 h 10000"/>
                  <a:gd name="connsiteX2883" fmla="*/ 2802 w 10746"/>
                  <a:gd name="connsiteY2883" fmla="*/ 7436 h 10000"/>
                  <a:gd name="connsiteX2884" fmla="*/ 2816 w 10746"/>
                  <a:gd name="connsiteY2884" fmla="*/ 7419 h 10000"/>
                  <a:gd name="connsiteX2885" fmla="*/ 2834 w 10746"/>
                  <a:gd name="connsiteY2885" fmla="*/ 7419 h 10000"/>
                  <a:gd name="connsiteX2886" fmla="*/ 2843 w 10746"/>
                  <a:gd name="connsiteY2886" fmla="*/ 7419 h 10000"/>
                  <a:gd name="connsiteX2887" fmla="*/ 2848 w 10746"/>
                  <a:gd name="connsiteY2887" fmla="*/ 7436 h 10000"/>
                  <a:gd name="connsiteX2888" fmla="*/ 2857 w 10746"/>
                  <a:gd name="connsiteY2888" fmla="*/ 7453 h 10000"/>
                  <a:gd name="connsiteX2889" fmla="*/ 2857 w 10746"/>
                  <a:gd name="connsiteY2889" fmla="*/ 7504 h 10000"/>
                  <a:gd name="connsiteX2890" fmla="*/ 2862 w 10746"/>
                  <a:gd name="connsiteY2890" fmla="*/ 7530 h 10000"/>
                  <a:gd name="connsiteX2891" fmla="*/ 2876 w 10746"/>
                  <a:gd name="connsiteY2891" fmla="*/ 7538 h 10000"/>
                  <a:gd name="connsiteX2892" fmla="*/ 2871 w 10746"/>
                  <a:gd name="connsiteY2892" fmla="*/ 7564 h 10000"/>
                  <a:gd name="connsiteX2893" fmla="*/ 2871 w 10746"/>
                  <a:gd name="connsiteY2893" fmla="*/ 7598 h 10000"/>
                  <a:gd name="connsiteX2894" fmla="*/ 2857 w 10746"/>
                  <a:gd name="connsiteY2894" fmla="*/ 7624 h 10000"/>
                  <a:gd name="connsiteX2895" fmla="*/ 2862 w 10746"/>
                  <a:gd name="connsiteY2895" fmla="*/ 7641 h 10000"/>
                  <a:gd name="connsiteX2896" fmla="*/ 2871 w 10746"/>
                  <a:gd name="connsiteY2896" fmla="*/ 7667 h 10000"/>
                  <a:gd name="connsiteX2897" fmla="*/ 2880 w 10746"/>
                  <a:gd name="connsiteY2897" fmla="*/ 7650 h 10000"/>
                  <a:gd name="connsiteX2898" fmla="*/ 2894 w 10746"/>
                  <a:gd name="connsiteY2898" fmla="*/ 7667 h 10000"/>
                  <a:gd name="connsiteX2899" fmla="*/ 2903 w 10746"/>
                  <a:gd name="connsiteY2899" fmla="*/ 7667 h 10000"/>
                  <a:gd name="connsiteX2900" fmla="*/ 2908 w 10746"/>
                  <a:gd name="connsiteY2900" fmla="*/ 7641 h 10000"/>
                  <a:gd name="connsiteX2901" fmla="*/ 2917 w 10746"/>
                  <a:gd name="connsiteY2901" fmla="*/ 7641 h 10000"/>
                  <a:gd name="connsiteX2902" fmla="*/ 2922 w 10746"/>
                  <a:gd name="connsiteY2902" fmla="*/ 7641 h 10000"/>
                  <a:gd name="connsiteX2903" fmla="*/ 2931 w 10746"/>
                  <a:gd name="connsiteY2903" fmla="*/ 7615 h 10000"/>
                  <a:gd name="connsiteX2904" fmla="*/ 2935 w 10746"/>
                  <a:gd name="connsiteY2904" fmla="*/ 7615 h 10000"/>
                  <a:gd name="connsiteX2905" fmla="*/ 2945 w 10746"/>
                  <a:gd name="connsiteY2905" fmla="*/ 7650 h 10000"/>
                  <a:gd name="connsiteX2906" fmla="*/ 2949 w 10746"/>
                  <a:gd name="connsiteY2906" fmla="*/ 7667 h 10000"/>
                  <a:gd name="connsiteX2907" fmla="*/ 2949 w 10746"/>
                  <a:gd name="connsiteY2907" fmla="*/ 7675 h 10000"/>
                  <a:gd name="connsiteX2908" fmla="*/ 2945 w 10746"/>
                  <a:gd name="connsiteY2908" fmla="*/ 7692 h 10000"/>
                  <a:gd name="connsiteX2909" fmla="*/ 2963 w 10746"/>
                  <a:gd name="connsiteY2909" fmla="*/ 7701 h 10000"/>
                  <a:gd name="connsiteX2910" fmla="*/ 2963 w 10746"/>
                  <a:gd name="connsiteY2910" fmla="*/ 7675 h 10000"/>
                  <a:gd name="connsiteX2911" fmla="*/ 2954 w 10746"/>
                  <a:gd name="connsiteY2911" fmla="*/ 7667 h 10000"/>
                  <a:gd name="connsiteX2912" fmla="*/ 2963 w 10746"/>
                  <a:gd name="connsiteY2912" fmla="*/ 7667 h 10000"/>
                  <a:gd name="connsiteX2913" fmla="*/ 2982 w 10746"/>
                  <a:gd name="connsiteY2913" fmla="*/ 7667 h 10000"/>
                  <a:gd name="connsiteX2914" fmla="*/ 2991 w 10746"/>
                  <a:gd name="connsiteY2914" fmla="*/ 7675 h 10000"/>
                  <a:gd name="connsiteX2915" fmla="*/ 2995 w 10746"/>
                  <a:gd name="connsiteY2915" fmla="*/ 7692 h 10000"/>
                  <a:gd name="connsiteX2916" fmla="*/ 3009 w 10746"/>
                  <a:gd name="connsiteY2916" fmla="*/ 7701 h 10000"/>
                  <a:gd name="connsiteX2917" fmla="*/ 3018 w 10746"/>
                  <a:gd name="connsiteY2917" fmla="*/ 7701 h 10000"/>
                  <a:gd name="connsiteX2918" fmla="*/ 3023 w 10746"/>
                  <a:gd name="connsiteY2918" fmla="*/ 7692 h 10000"/>
                  <a:gd name="connsiteX2919" fmla="*/ 3028 w 10746"/>
                  <a:gd name="connsiteY2919" fmla="*/ 7675 h 10000"/>
                  <a:gd name="connsiteX2920" fmla="*/ 3037 w 10746"/>
                  <a:gd name="connsiteY2920" fmla="*/ 7692 h 10000"/>
                  <a:gd name="connsiteX2921" fmla="*/ 3028 w 10746"/>
                  <a:gd name="connsiteY2921" fmla="*/ 7709 h 10000"/>
                  <a:gd name="connsiteX2922" fmla="*/ 3023 w 10746"/>
                  <a:gd name="connsiteY2922" fmla="*/ 7709 h 10000"/>
                  <a:gd name="connsiteX2923" fmla="*/ 3018 w 10746"/>
                  <a:gd name="connsiteY2923" fmla="*/ 7726 h 10000"/>
                  <a:gd name="connsiteX2924" fmla="*/ 3009 w 10746"/>
                  <a:gd name="connsiteY2924" fmla="*/ 7735 h 10000"/>
                  <a:gd name="connsiteX2925" fmla="*/ 3009 w 10746"/>
                  <a:gd name="connsiteY2925" fmla="*/ 7761 h 10000"/>
                  <a:gd name="connsiteX2926" fmla="*/ 3009 w 10746"/>
                  <a:gd name="connsiteY2926" fmla="*/ 7778 h 10000"/>
                  <a:gd name="connsiteX2927" fmla="*/ 3018 w 10746"/>
                  <a:gd name="connsiteY2927" fmla="*/ 7786 h 10000"/>
                  <a:gd name="connsiteX2928" fmla="*/ 3023 w 10746"/>
                  <a:gd name="connsiteY2928" fmla="*/ 7786 h 10000"/>
                  <a:gd name="connsiteX2929" fmla="*/ 3028 w 10746"/>
                  <a:gd name="connsiteY2929" fmla="*/ 7778 h 10000"/>
                  <a:gd name="connsiteX2930" fmla="*/ 3051 w 10746"/>
                  <a:gd name="connsiteY2930" fmla="*/ 7761 h 10000"/>
                  <a:gd name="connsiteX2931" fmla="*/ 3055 w 10746"/>
                  <a:gd name="connsiteY2931" fmla="*/ 7778 h 10000"/>
                  <a:gd name="connsiteX2932" fmla="*/ 3065 w 10746"/>
                  <a:gd name="connsiteY2932" fmla="*/ 7761 h 10000"/>
                  <a:gd name="connsiteX2933" fmla="*/ 3069 w 10746"/>
                  <a:gd name="connsiteY2933" fmla="*/ 7786 h 10000"/>
                  <a:gd name="connsiteX2934" fmla="*/ 3083 w 10746"/>
                  <a:gd name="connsiteY2934" fmla="*/ 7786 h 10000"/>
                  <a:gd name="connsiteX2935" fmla="*/ 3078 w 10746"/>
                  <a:gd name="connsiteY2935" fmla="*/ 7761 h 10000"/>
                  <a:gd name="connsiteX2936" fmla="*/ 3083 w 10746"/>
                  <a:gd name="connsiteY2936" fmla="*/ 7752 h 10000"/>
                  <a:gd name="connsiteX2937" fmla="*/ 3097 w 10746"/>
                  <a:gd name="connsiteY2937" fmla="*/ 7752 h 10000"/>
                  <a:gd name="connsiteX2938" fmla="*/ 3111 w 10746"/>
                  <a:gd name="connsiteY2938" fmla="*/ 7726 h 10000"/>
                  <a:gd name="connsiteX2939" fmla="*/ 3124 w 10746"/>
                  <a:gd name="connsiteY2939" fmla="*/ 7709 h 10000"/>
                  <a:gd name="connsiteX2940" fmla="*/ 3143 w 10746"/>
                  <a:gd name="connsiteY2940" fmla="*/ 7692 h 10000"/>
                  <a:gd name="connsiteX2941" fmla="*/ 3152 w 10746"/>
                  <a:gd name="connsiteY2941" fmla="*/ 7667 h 10000"/>
                  <a:gd name="connsiteX2942" fmla="*/ 3157 w 10746"/>
                  <a:gd name="connsiteY2942" fmla="*/ 7650 h 10000"/>
                  <a:gd name="connsiteX2943" fmla="*/ 3161 w 10746"/>
                  <a:gd name="connsiteY2943" fmla="*/ 7650 h 10000"/>
                  <a:gd name="connsiteX2944" fmla="*/ 3189 w 10746"/>
                  <a:gd name="connsiteY2944" fmla="*/ 7641 h 10000"/>
                  <a:gd name="connsiteX2945" fmla="*/ 3198 w 10746"/>
                  <a:gd name="connsiteY2945" fmla="*/ 7624 h 10000"/>
                  <a:gd name="connsiteX2946" fmla="*/ 3217 w 10746"/>
                  <a:gd name="connsiteY2946" fmla="*/ 7615 h 10000"/>
                  <a:gd name="connsiteX2947" fmla="*/ 3235 w 10746"/>
                  <a:gd name="connsiteY2947" fmla="*/ 7598 h 10000"/>
                  <a:gd name="connsiteX2948" fmla="*/ 3235 w 10746"/>
                  <a:gd name="connsiteY2948" fmla="*/ 7615 h 10000"/>
                  <a:gd name="connsiteX2949" fmla="*/ 3235 w 10746"/>
                  <a:gd name="connsiteY2949" fmla="*/ 7641 h 10000"/>
                  <a:gd name="connsiteX2950" fmla="*/ 3235 w 10746"/>
                  <a:gd name="connsiteY2950" fmla="*/ 7650 h 10000"/>
                  <a:gd name="connsiteX2951" fmla="*/ 3226 w 10746"/>
                  <a:gd name="connsiteY2951" fmla="*/ 7650 h 10000"/>
                  <a:gd name="connsiteX2952" fmla="*/ 3217 w 10746"/>
                  <a:gd name="connsiteY2952" fmla="*/ 7650 h 10000"/>
                  <a:gd name="connsiteX2953" fmla="*/ 3212 w 10746"/>
                  <a:gd name="connsiteY2953" fmla="*/ 7675 h 10000"/>
                  <a:gd name="connsiteX2954" fmla="*/ 3212 w 10746"/>
                  <a:gd name="connsiteY2954" fmla="*/ 7675 h 10000"/>
                  <a:gd name="connsiteX0" fmla="*/ 3212 w 10746"/>
                  <a:gd name="connsiteY0" fmla="*/ 7675 h 10000"/>
                  <a:gd name="connsiteX1" fmla="*/ 3217 w 10746"/>
                  <a:gd name="connsiteY1" fmla="*/ 7692 h 10000"/>
                  <a:gd name="connsiteX2" fmla="*/ 3226 w 10746"/>
                  <a:gd name="connsiteY2" fmla="*/ 7692 h 10000"/>
                  <a:gd name="connsiteX3" fmla="*/ 3309 w 10746"/>
                  <a:gd name="connsiteY3" fmla="*/ 7838 h 10000"/>
                  <a:gd name="connsiteX4" fmla="*/ 3452 w 10746"/>
                  <a:gd name="connsiteY4" fmla="*/ 8325 h 10000"/>
                  <a:gd name="connsiteX5" fmla="*/ 3470 w 10746"/>
                  <a:gd name="connsiteY5" fmla="*/ 8299 h 10000"/>
                  <a:gd name="connsiteX6" fmla="*/ 3470 w 10746"/>
                  <a:gd name="connsiteY6" fmla="*/ 8282 h 10000"/>
                  <a:gd name="connsiteX7" fmla="*/ 3470 w 10746"/>
                  <a:gd name="connsiteY7" fmla="*/ 8274 h 10000"/>
                  <a:gd name="connsiteX8" fmla="*/ 3484 w 10746"/>
                  <a:gd name="connsiteY8" fmla="*/ 8231 h 10000"/>
                  <a:gd name="connsiteX9" fmla="*/ 3498 w 10746"/>
                  <a:gd name="connsiteY9" fmla="*/ 8231 h 10000"/>
                  <a:gd name="connsiteX10" fmla="*/ 3498 w 10746"/>
                  <a:gd name="connsiteY10" fmla="*/ 8248 h 10000"/>
                  <a:gd name="connsiteX11" fmla="*/ 3512 w 10746"/>
                  <a:gd name="connsiteY11" fmla="*/ 8256 h 10000"/>
                  <a:gd name="connsiteX12" fmla="*/ 3525 w 10746"/>
                  <a:gd name="connsiteY12" fmla="*/ 8274 h 10000"/>
                  <a:gd name="connsiteX13" fmla="*/ 3525 w 10746"/>
                  <a:gd name="connsiteY13" fmla="*/ 8282 h 10000"/>
                  <a:gd name="connsiteX14" fmla="*/ 3525 w 10746"/>
                  <a:gd name="connsiteY14" fmla="*/ 8308 h 10000"/>
                  <a:gd name="connsiteX15" fmla="*/ 3530 w 10746"/>
                  <a:gd name="connsiteY15" fmla="*/ 8308 h 10000"/>
                  <a:gd name="connsiteX16" fmla="*/ 3539 w 10746"/>
                  <a:gd name="connsiteY16" fmla="*/ 8333 h 10000"/>
                  <a:gd name="connsiteX17" fmla="*/ 3571 w 10746"/>
                  <a:gd name="connsiteY17" fmla="*/ 8333 h 10000"/>
                  <a:gd name="connsiteX18" fmla="*/ 3590 w 10746"/>
                  <a:gd name="connsiteY18" fmla="*/ 8350 h 10000"/>
                  <a:gd name="connsiteX19" fmla="*/ 3599 w 10746"/>
                  <a:gd name="connsiteY19" fmla="*/ 8333 h 10000"/>
                  <a:gd name="connsiteX20" fmla="*/ 3618 w 10746"/>
                  <a:gd name="connsiteY20" fmla="*/ 8333 h 10000"/>
                  <a:gd name="connsiteX21" fmla="*/ 3618 w 10746"/>
                  <a:gd name="connsiteY21" fmla="*/ 8325 h 10000"/>
                  <a:gd name="connsiteX22" fmla="*/ 3627 w 10746"/>
                  <a:gd name="connsiteY22" fmla="*/ 8308 h 10000"/>
                  <a:gd name="connsiteX23" fmla="*/ 3641 w 10746"/>
                  <a:gd name="connsiteY23" fmla="*/ 8308 h 10000"/>
                  <a:gd name="connsiteX24" fmla="*/ 3645 w 10746"/>
                  <a:gd name="connsiteY24" fmla="*/ 8308 h 10000"/>
                  <a:gd name="connsiteX25" fmla="*/ 3650 w 10746"/>
                  <a:gd name="connsiteY25" fmla="*/ 8299 h 10000"/>
                  <a:gd name="connsiteX26" fmla="*/ 3659 w 10746"/>
                  <a:gd name="connsiteY26" fmla="*/ 8282 h 10000"/>
                  <a:gd name="connsiteX27" fmla="*/ 3677 w 10746"/>
                  <a:gd name="connsiteY27" fmla="*/ 8299 h 10000"/>
                  <a:gd name="connsiteX28" fmla="*/ 3687 w 10746"/>
                  <a:gd name="connsiteY28" fmla="*/ 8299 h 10000"/>
                  <a:gd name="connsiteX29" fmla="*/ 3691 w 10746"/>
                  <a:gd name="connsiteY29" fmla="*/ 8325 h 10000"/>
                  <a:gd name="connsiteX30" fmla="*/ 3700 w 10746"/>
                  <a:gd name="connsiteY30" fmla="*/ 8325 h 10000"/>
                  <a:gd name="connsiteX31" fmla="*/ 3714 w 10746"/>
                  <a:gd name="connsiteY31" fmla="*/ 8359 h 10000"/>
                  <a:gd name="connsiteX32" fmla="*/ 3719 w 10746"/>
                  <a:gd name="connsiteY32" fmla="*/ 8359 h 10000"/>
                  <a:gd name="connsiteX33" fmla="*/ 3724 w 10746"/>
                  <a:gd name="connsiteY33" fmla="*/ 8368 h 10000"/>
                  <a:gd name="connsiteX34" fmla="*/ 3719 w 10746"/>
                  <a:gd name="connsiteY34" fmla="*/ 8393 h 10000"/>
                  <a:gd name="connsiteX35" fmla="*/ 3724 w 10746"/>
                  <a:gd name="connsiteY35" fmla="*/ 8410 h 10000"/>
                  <a:gd name="connsiteX36" fmla="*/ 3724 w 10746"/>
                  <a:gd name="connsiteY36" fmla="*/ 8436 h 10000"/>
                  <a:gd name="connsiteX37" fmla="*/ 3737 w 10746"/>
                  <a:gd name="connsiteY37" fmla="*/ 8436 h 10000"/>
                  <a:gd name="connsiteX38" fmla="*/ 3765 w 10746"/>
                  <a:gd name="connsiteY38" fmla="*/ 8462 h 10000"/>
                  <a:gd name="connsiteX39" fmla="*/ 3765 w 10746"/>
                  <a:gd name="connsiteY39" fmla="*/ 8470 h 10000"/>
                  <a:gd name="connsiteX40" fmla="*/ 3765 w 10746"/>
                  <a:gd name="connsiteY40" fmla="*/ 8496 h 10000"/>
                  <a:gd name="connsiteX41" fmla="*/ 3774 w 10746"/>
                  <a:gd name="connsiteY41" fmla="*/ 8496 h 10000"/>
                  <a:gd name="connsiteX42" fmla="*/ 3779 w 10746"/>
                  <a:gd name="connsiteY42" fmla="*/ 8504 h 10000"/>
                  <a:gd name="connsiteX43" fmla="*/ 3793 w 10746"/>
                  <a:gd name="connsiteY43" fmla="*/ 8547 h 10000"/>
                  <a:gd name="connsiteX44" fmla="*/ 3797 w 10746"/>
                  <a:gd name="connsiteY44" fmla="*/ 8547 h 10000"/>
                  <a:gd name="connsiteX45" fmla="*/ 3820 w 10746"/>
                  <a:gd name="connsiteY45" fmla="*/ 8556 h 10000"/>
                  <a:gd name="connsiteX46" fmla="*/ 3834 w 10746"/>
                  <a:gd name="connsiteY46" fmla="*/ 8573 h 10000"/>
                  <a:gd name="connsiteX47" fmla="*/ 3853 w 10746"/>
                  <a:gd name="connsiteY47" fmla="*/ 8573 h 10000"/>
                  <a:gd name="connsiteX48" fmla="*/ 3857 w 10746"/>
                  <a:gd name="connsiteY48" fmla="*/ 8556 h 10000"/>
                  <a:gd name="connsiteX49" fmla="*/ 3866 w 10746"/>
                  <a:gd name="connsiteY49" fmla="*/ 8547 h 10000"/>
                  <a:gd name="connsiteX50" fmla="*/ 3880 w 10746"/>
                  <a:gd name="connsiteY50" fmla="*/ 8530 h 10000"/>
                  <a:gd name="connsiteX51" fmla="*/ 3885 w 10746"/>
                  <a:gd name="connsiteY51" fmla="*/ 8547 h 10000"/>
                  <a:gd name="connsiteX52" fmla="*/ 3885 w 10746"/>
                  <a:gd name="connsiteY52" fmla="*/ 8573 h 10000"/>
                  <a:gd name="connsiteX53" fmla="*/ 3899 w 10746"/>
                  <a:gd name="connsiteY53" fmla="*/ 8573 h 10000"/>
                  <a:gd name="connsiteX54" fmla="*/ 3908 w 10746"/>
                  <a:gd name="connsiteY54" fmla="*/ 8607 h 10000"/>
                  <a:gd name="connsiteX55" fmla="*/ 3912 w 10746"/>
                  <a:gd name="connsiteY55" fmla="*/ 8615 h 10000"/>
                  <a:gd name="connsiteX56" fmla="*/ 3922 w 10746"/>
                  <a:gd name="connsiteY56" fmla="*/ 8632 h 10000"/>
                  <a:gd name="connsiteX57" fmla="*/ 3908 w 10746"/>
                  <a:gd name="connsiteY57" fmla="*/ 8692 h 10000"/>
                  <a:gd name="connsiteX58" fmla="*/ 3908 w 10746"/>
                  <a:gd name="connsiteY58" fmla="*/ 8692 h 10000"/>
                  <a:gd name="connsiteX59" fmla="*/ 3931 w 10746"/>
                  <a:gd name="connsiteY59" fmla="*/ 8709 h 10000"/>
                  <a:gd name="connsiteX60" fmla="*/ 3954 w 10746"/>
                  <a:gd name="connsiteY60" fmla="*/ 8667 h 10000"/>
                  <a:gd name="connsiteX61" fmla="*/ 3959 w 10746"/>
                  <a:gd name="connsiteY61" fmla="*/ 8667 h 10000"/>
                  <a:gd name="connsiteX62" fmla="*/ 3972 w 10746"/>
                  <a:gd name="connsiteY62" fmla="*/ 8615 h 10000"/>
                  <a:gd name="connsiteX63" fmla="*/ 3995 w 10746"/>
                  <a:gd name="connsiteY63" fmla="*/ 8581 h 10000"/>
                  <a:gd name="connsiteX64" fmla="*/ 4032 w 10746"/>
                  <a:gd name="connsiteY64" fmla="*/ 8556 h 10000"/>
                  <a:gd name="connsiteX65" fmla="*/ 4138 w 10746"/>
                  <a:gd name="connsiteY65" fmla="*/ 8419 h 10000"/>
                  <a:gd name="connsiteX66" fmla="*/ 4249 w 10746"/>
                  <a:gd name="connsiteY66" fmla="*/ 8359 h 10000"/>
                  <a:gd name="connsiteX67" fmla="*/ 4295 w 10746"/>
                  <a:gd name="connsiteY67" fmla="*/ 8385 h 10000"/>
                  <a:gd name="connsiteX68" fmla="*/ 4309 w 10746"/>
                  <a:gd name="connsiteY68" fmla="*/ 8410 h 10000"/>
                  <a:gd name="connsiteX69" fmla="*/ 4355 w 10746"/>
                  <a:gd name="connsiteY69" fmla="*/ 8393 h 10000"/>
                  <a:gd name="connsiteX70" fmla="*/ 4382 w 10746"/>
                  <a:gd name="connsiteY70" fmla="*/ 8393 h 10000"/>
                  <a:gd name="connsiteX71" fmla="*/ 4419 w 10746"/>
                  <a:gd name="connsiteY71" fmla="*/ 8487 h 10000"/>
                  <a:gd name="connsiteX72" fmla="*/ 4442 w 10746"/>
                  <a:gd name="connsiteY72" fmla="*/ 8487 h 10000"/>
                  <a:gd name="connsiteX73" fmla="*/ 4493 w 10746"/>
                  <a:gd name="connsiteY73" fmla="*/ 8470 h 10000"/>
                  <a:gd name="connsiteX74" fmla="*/ 4516 w 10746"/>
                  <a:gd name="connsiteY74" fmla="*/ 8487 h 10000"/>
                  <a:gd name="connsiteX75" fmla="*/ 4608 w 10746"/>
                  <a:gd name="connsiteY75" fmla="*/ 8470 h 10000"/>
                  <a:gd name="connsiteX76" fmla="*/ 4622 w 10746"/>
                  <a:gd name="connsiteY76" fmla="*/ 8470 h 10000"/>
                  <a:gd name="connsiteX77" fmla="*/ 4618 w 10746"/>
                  <a:gd name="connsiteY77" fmla="*/ 8419 h 10000"/>
                  <a:gd name="connsiteX78" fmla="*/ 4622 w 10746"/>
                  <a:gd name="connsiteY78" fmla="*/ 8385 h 10000"/>
                  <a:gd name="connsiteX79" fmla="*/ 4636 w 10746"/>
                  <a:gd name="connsiteY79" fmla="*/ 8350 h 10000"/>
                  <a:gd name="connsiteX80" fmla="*/ 4636 w 10746"/>
                  <a:gd name="connsiteY80" fmla="*/ 8325 h 10000"/>
                  <a:gd name="connsiteX81" fmla="*/ 4622 w 10746"/>
                  <a:gd name="connsiteY81" fmla="*/ 8282 h 10000"/>
                  <a:gd name="connsiteX82" fmla="*/ 4618 w 10746"/>
                  <a:gd name="connsiteY82" fmla="*/ 8248 h 10000"/>
                  <a:gd name="connsiteX83" fmla="*/ 4618 w 10746"/>
                  <a:gd name="connsiteY83" fmla="*/ 8214 h 10000"/>
                  <a:gd name="connsiteX84" fmla="*/ 4691 w 10746"/>
                  <a:gd name="connsiteY84" fmla="*/ 8077 h 10000"/>
                  <a:gd name="connsiteX85" fmla="*/ 4700 w 10746"/>
                  <a:gd name="connsiteY85" fmla="*/ 8060 h 10000"/>
                  <a:gd name="connsiteX86" fmla="*/ 4728 w 10746"/>
                  <a:gd name="connsiteY86" fmla="*/ 8077 h 10000"/>
                  <a:gd name="connsiteX87" fmla="*/ 4751 w 10746"/>
                  <a:gd name="connsiteY87" fmla="*/ 8094 h 10000"/>
                  <a:gd name="connsiteX88" fmla="*/ 4788 w 10746"/>
                  <a:gd name="connsiteY88" fmla="*/ 8120 h 10000"/>
                  <a:gd name="connsiteX89" fmla="*/ 4802 w 10746"/>
                  <a:gd name="connsiteY89" fmla="*/ 8162 h 10000"/>
                  <a:gd name="connsiteX90" fmla="*/ 4885 w 10746"/>
                  <a:gd name="connsiteY90" fmla="*/ 8197 h 10000"/>
                  <a:gd name="connsiteX91" fmla="*/ 4889 w 10746"/>
                  <a:gd name="connsiteY91" fmla="*/ 8231 h 10000"/>
                  <a:gd name="connsiteX92" fmla="*/ 4899 w 10746"/>
                  <a:gd name="connsiteY92" fmla="*/ 8333 h 10000"/>
                  <a:gd name="connsiteX93" fmla="*/ 4903 w 10746"/>
                  <a:gd name="connsiteY93" fmla="*/ 8333 h 10000"/>
                  <a:gd name="connsiteX94" fmla="*/ 4949 w 10746"/>
                  <a:gd name="connsiteY94" fmla="*/ 8410 h 10000"/>
                  <a:gd name="connsiteX95" fmla="*/ 4991 w 10746"/>
                  <a:gd name="connsiteY95" fmla="*/ 8436 h 10000"/>
                  <a:gd name="connsiteX96" fmla="*/ 5023 w 10746"/>
                  <a:gd name="connsiteY96" fmla="*/ 8419 h 10000"/>
                  <a:gd name="connsiteX97" fmla="*/ 5092 w 10746"/>
                  <a:gd name="connsiteY97" fmla="*/ 8359 h 10000"/>
                  <a:gd name="connsiteX98" fmla="*/ 5180 w 10746"/>
                  <a:gd name="connsiteY98" fmla="*/ 8410 h 10000"/>
                  <a:gd name="connsiteX99" fmla="*/ 5189 w 10746"/>
                  <a:gd name="connsiteY99" fmla="*/ 8436 h 10000"/>
                  <a:gd name="connsiteX100" fmla="*/ 5198 w 10746"/>
                  <a:gd name="connsiteY100" fmla="*/ 8436 h 10000"/>
                  <a:gd name="connsiteX101" fmla="*/ 5226 w 10746"/>
                  <a:gd name="connsiteY101" fmla="*/ 8487 h 10000"/>
                  <a:gd name="connsiteX102" fmla="*/ 5276 w 10746"/>
                  <a:gd name="connsiteY102" fmla="*/ 8504 h 10000"/>
                  <a:gd name="connsiteX103" fmla="*/ 5290 w 10746"/>
                  <a:gd name="connsiteY103" fmla="*/ 8556 h 10000"/>
                  <a:gd name="connsiteX104" fmla="*/ 5323 w 10746"/>
                  <a:gd name="connsiteY104" fmla="*/ 8598 h 10000"/>
                  <a:gd name="connsiteX105" fmla="*/ 5447 w 10746"/>
                  <a:gd name="connsiteY105" fmla="*/ 8615 h 10000"/>
                  <a:gd name="connsiteX106" fmla="*/ 5465 w 10746"/>
                  <a:gd name="connsiteY106" fmla="*/ 8632 h 10000"/>
                  <a:gd name="connsiteX107" fmla="*/ 5604 w 10746"/>
                  <a:gd name="connsiteY107" fmla="*/ 8556 h 10000"/>
                  <a:gd name="connsiteX108" fmla="*/ 5677 w 10746"/>
                  <a:gd name="connsiteY108" fmla="*/ 8462 h 10000"/>
                  <a:gd name="connsiteX109" fmla="*/ 5705 w 10746"/>
                  <a:gd name="connsiteY109" fmla="*/ 8444 h 10000"/>
                  <a:gd name="connsiteX110" fmla="*/ 5737 w 10746"/>
                  <a:gd name="connsiteY110" fmla="*/ 8470 h 10000"/>
                  <a:gd name="connsiteX111" fmla="*/ 5760 w 10746"/>
                  <a:gd name="connsiteY111" fmla="*/ 8496 h 10000"/>
                  <a:gd name="connsiteX112" fmla="*/ 5788 w 10746"/>
                  <a:gd name="connsiteY112" fmla="*/ 8504 h 10000"/>
                  <a:gd name="connsiteX113" fmla="*/ 5806 w 10746"/>
                  <a:gd name="connsiteY113" fmla="*/ 8496 h 10000"/>
                  <a:gd name="connsiteX114" fmla="*/ 5820 w 10746"/>
                  <a:gd name="connsiteY114" fmla="*/ 8487 h 10000"/>
                  <a:gd name="connsiteX115" fmla="*/ 5825 w 10746"/>
                  <a:gd name="connsiteY115" fmla="*/ 8487 h 10000"/>
                  <a:gd name="connsiteX116" fmla="*/ 5825 w 10746"/>
                  <a:gd name="connsiteY116" fmla="*/ 8487 h 10000"/>
                  <a:gd name="connsiteX117" fmla="*/ 5926 w 10746"/>
                  <a:gd name="connsiteY117" fmla="*/ 8556 h 10000"/>
                  <a:gd name="connsiteX118" fmla="*/ 5940 w 10746"/>
                  <a:gd name="connsiteY118" fmla="*/ 8556 h 10000"/>
                  <a:gd name="connsiteX119" fmla="*/ 6014 w 10746"/>
                  <a:gd name="connsiteY119" fmla="*/ 8470 h 10000"/>
                  <a:gd name="connsiteX120" fmla="*/ 6018 w 10746"/>
                  <a:gd name="connsiteY120" fmla="*/ 8444 h 10000"/>
                  <a:gd name="connsiteX121" fmla="*/ 6014 w 10746"/>
                  <a:gd name="connsiteY121" fmla="*/ 8419 h 10000"/>
                  <a:gd name="connsiteX122" fmla="*/ 6018 w 10746"/>
                  <a:gd name="connsiteY122" fmla="*/ 8393 h 10000"/>
                  <a:gd name="connsiteX123" fmla="*/ 6041 w 10746"/>
                  <a:gd name="connsiteY123" fmla="*/ 8333 h 10000"/>
                  <a:gd name="connsiteX124" fmla="*/ 6069 w 10746"/>
                  <a:gd name="connsiteY124" fmla="*/ 8188 h 10000"/>
                  <a:gd name="connsiteX125" fmla="*/ 6088 w 10746"/>
                  <a:gd name="connsiteY125" fmla="*/ 8162 h 10000"/>
                  <a:gd name="connsiteX126" fmla="*/ 6115 w 10746"/>
                  <a:gd name="connsiteY126" fmla="*/ 8094 h 10000"/>
                  <a:gd name="connsiteX127" fmla="*/ 6115 w 10746"/>
                  <a:gd name="connsiteY127" fmla="*/ 8094 h 10000"/>
                  <a:gd name="connsiteX128" fmla="*/ 6106 w 10746"/>
                  <a:gd name="connsiteY128" fmla="*/ 8077 h 10000"/>
                  <a:gd name="connsiteX129" fmla="*/ 6106 w 10746"/>
                  <a:gd name="connsiteY129" fmla="*/ 8009 h 10000"/>
                  <a:gd name="connsiteX130" fmla="*/ 6101 w 10746"/>
                  <a:gd name="connsiteY130" fmla="*/ 8000 h 10000"/>
                  <a:gd name="connsiteX131" fmla="*/ 6069 w 10746"/>
                  <a:gd name="connsiteY131" fmla="*/ 8009 h 10000"/>
                  <a:gd name="connsiteX132" fmla="*/ 6069 w 10746"/>
                  <a:gd name="connsiteY132" fmla="*/ 8000 h 10000"/>
                  <a:gd name="connsiteX133" fmla="*/ 6069 w 10746"/>
                  <a:gd name="connsiteY133" fmla="*/ 7974 h 10000"/>
                  <a:gd name="connsiteX134" fmla="*/ 6101 w 10746"/>
                  <a:gd name="connsiteY134" fmla="*/ 7923 h 10000"/>
                  <a:gd name="connsiteX135" fmla="*/ 6106 w 10746"/>
                  <a:gd name="connsiteY135" fmla="*/ 7889 h 10000"/>
                  <a:gd name="connsiteX136" fmla="*/ 6129 w 10746"/>
                  <a:gd name="connsiteY136" fmla="*/ 7863 h 10000"/>
                  <a:gd name="connsiteX137" fmla="*/ 6300 w 10746"/>
                  <a:gd name="connsiteY137" fmla="*/ 7812 h 10000"/>
                  <a:gd name="connsiteX138" fmla="*/ 6359 w 10746"/>
                  <a:gd name="connsiteY138" fmla="*/ 7872 h 10000"/>
                  <a:gd name="connsiteX139" fmla="*/ 6373 w 10746"/>
                  <a:gd name="connsiteY139" fmla="*/ 7889 h 10000"/>
                  <a:gd name="connsiteX140" fmla="*/ 6401 w 10746"/>
                  <a:gd name="connsiteY140" fmla="*/ 7889 h 10000"/>
                  <a:gd name="connsiteX141" fmla="*/ 6433 w 10746"/>
                  <a:gd name="connsiteY141" fmla="*/ 7915 h 10000"/>
                  <a:gd name="connsiteX142" fmla="*/ 6461 w 10746"/>
                  <a:gd name="connsiteY142" fmla="*/ 7974 h 10000"/>
                  <a:gd name="connsiteX143" fmla="*/ 6461 w 10746"/>
                  <a:gd name="connsiteY143" fmla="*/ 8000 h 10000"/>
                  <a:gd name="connsiteX144" fmla="*/ 6484 w 10746"/>
                  <a:gd name="connsiteY144" fmla="*/ 8034 h 10000"/>
                  <a:gd name="connsiteX145" fmla="*/ 6484 w 10746"/>
                  <a:gd name="connsiteY145" fmla="*/ 8051 h 10000"/>
                  <a:gd name="connsiteX146" fmla="*/ 6484 w 10746"/>
                  <a:gd name="connsiteY146" fmla="*/ 8034 h 10000"/>
                  <a:gd name="connsiteX147" fmla="*/ 6558 w 10746"/>
                  <a:gd name="connsiteY147" fmla="*/ 8444 h 10000"/>
                  <a:gd name="connsiteX148" fmla="*/ 6558 w 10746"/>
                  <a:gd name="connsiteY148" fmla="*/ 8462 h 10000"/>
                  <a:gd name="connsiteX149" fmla="*/ 6558 w 10746"/>
                  <a:gd name="connsiteY149" fmla="*/ 8462 h 10000"/>
                  <a:gd name="connsiteX150" fmla="*/ 6562 w 10746"/>
                  <a:gd name="connsiteY150" fmla="*/ 8547 h 10000"/>
                  <a:gd name="connsiteX151" fmla="*/ 6576 w 10746"/>
                  <a:gd name="connsiteY151" fmla="*/ 8573 h 10000"/>
                  <a:gd name="connsiteX152" fmla="*/ 6604 w 10746"/>
                  <a:gd name="connsiteY152" fmla="*/ 8581 h 10000"/>
                  <a:gd name="connsiteX153" fmla="*/ 6631 w 10746"/>
                  <a:gd name="connsiteY153" fmla="*/ 8556 h 10000"/>
                  <a:gd name="connsiteX154" fmla="*/ 6691 w 10746"/>
                  <a:gd name="connsiteY154" fmla="*/ 8607 h 10000"/>
                  <a:gd name="connsiteX155" fmla="*/ 6728 w 10746"/>
                  <a:gd name="connsiteY155" fmla="*/ 8667 h 10000"/>
                  <a:gd name="connsiteX156" fmla="*/ 6742 w 10746"/>
                  <a:gd name="connsiteY156" fmla="*/ 8684 h 10000"/>
                  <a:gd name="connsiteX157" fmla="*/ 6765 w 10746"/>
                  <a:gd name="connsiteY157" fmla="*/ 8684 h 10000"/>
                  <a:gd name="connsiteX158" fmla="*/ 6765 w 10746"/>
                  <a:gd name="connsiteY158" fmla="*/ 8709 h 10000"/>
                  <a:gd name="connsiteX159" fmla="*/ 6765 w 10746"/>
                  <a:gd name="connsiteY159" fmla="*/ 8709 h 10000"/>
                  <a:gd name="connsiteX160" fmla="*/ 6770 w 10746"/>
                  <a:gd name="connsiteY160" fmla="*/ 8709 h 10000"/>
                  <a:gd name="connsiteX161" fmla="*/ 6770 w 10746"/>
                  <a:gd name="connsiteY161" fmla="*/ 8744 h 10000"/>
                  <a:gd name="connsiteX162" fmla="*/ 6779 w 10746"/>
                  <a:gd name="connsiteY162" fmla="*/ 8769 h 10000"/>
                  <a:gd name="connsiteX163" fmla="*/ 6779 w 10746"/>
                  <a:gd name="connsiteY163" fmla="*/ 8846 h 10000"/>
                  <a:gd name="connsiteX164" fmla="*/ 6797 w 10746"/>
                  <a:gd name="connsiteY164" fmla="*/ 8906 h 10000"/>
                  <a:gd name="connsiteX165" fmla="*/ 6816 w 10746"/>
                  <a:gd name="connsiteY165" fmla="*/ 8906 h 10000"/>
                  <a:gd name="connsiteX166" fmla="*/ 6843 w 10746"/>
                  <a:gd name="connsiteY166" fmla="*/ 8915 h 10000"/>
                  <a:gd name="connsiteX167" fmla="*/ 6862 w 10746"/>
                  <a:gd name="connsiteY167" fmla="*/ 8906 h 10000"/>
                  <a:gd name="connsiteX168" fmla="*/ 6935 w 10746"/>
                  <a:gd name="connsiteY168" fmla="*/ 8829 h 10000"/>
                  <a:gd name="connsiteX169" fmla="*/ 6963 w 10746"/>
                  <a:gd name="connsiteY169" fmla="*/ 8829 h 10000"/>
                  <a:gd name="connsiteX170" fmla="*/ 7046 w 10746"/>
                  <a:gd name="connsiteY170" fmla="*/ 8769 h 10000"/>
                  <a:gd name="connsiteX171" fmla="*/ 7046 w 10746"/>
                  <a:gd name="connsiteY171" fmla="*/ 8769 h 10000"/>
                  <a:gd name="connsiteX172" fmla="*/ 7032 w 10746"/>
                  <a:gd name="connsiteY172" fmla="*/ 8803 h 10000"/>
                  <a:gd name="connsiteX173" fmla="*/ 7032 w 10746"/>
                  <a:gd name="connsiteY173" fmla="*/ 8846 h 10000"/>
                  <a:gd name="connsiteX174" fmla="*/ 7037 w 10746"/>
                  <a:gd name="connsiteY174" fmla="*/ 8880 h 10000"/>
                  <a:gd name="connsiteX175" fmla="*/ 7037 w 10746"/>
                  <a:gd name="connsiteY175" fmla="*/ 8932 h 10000"/>
                  <a:gd name="connsiteX176" fmla="*/ 7005 w 10746"/>
                  <a:gd name="connsiteY176" fmla="*/ 8983 h 10000"/>
                  <a:gd name="connsiteX177" fmla="*/ 6977 w 10746"/>
                  <a:gd name="connsiteY177" fmla="*/ 9188 h 10000"/>
                  <a:gd name="connsiteX178" fmla="*/ 6935 w 10746"/>
                  <a:gd name="connsiteY178" fmla="*/ 9316 h 10000"/>
                  <a:gd name="connsiteX179" fmla="*/ 6931 w 10746"/>
                  <a:gd name="connsiteY179" fmla="*/ 9368 h 10000"/>
                  <a:gd name="connsiteX180" fmla="*/ 6917 w 10746"/>
                  <a:gd name="connsiteY180" fmla="*/ 9376 h 10000"/>
                  <a:gd name="connsiteX181" fmla="*/ 6912 w 10746"/>
                  <a:gd name="connsiteY181" fmla="*/ 9376 h 10000"/>
                  <a:gd name="connsiteX182" fmla="*/ 6848 w 10746"/>
                  <a:gd name="connsiteY182" fmla="*/ 9342 h 10000"/>
                  <a:gd name="connsiteX183" fmla="*/ 6788 w 10746"/>
                  <a:gd name="connsiteY183" fmla="*/ 9436 h 10000"/>
                  <a:gd name="connsiteX184" fmla="*/ 6802 w 10746"/>
                  <a:gd name="connsiteY184" fmla="*/ 9462 h 10000"/>
                  <a:gd name="connsiteX185" fmla="*/ 6811 w 10746"/>
                  <a:gd name="connsiteY185" fmla="*/ 9667 h 10000"/>
                  <a:gd name="connsiteX186" fmla="*/ 6788 w 10746"/>
                  <a:gd name="connsiteY186" fmla="*/ 9709 h 10000"/>
                  <a:gd name="connsiteX187" fmla="*/ 6765 w 10746"/>
                  <a:gd name="connsiteY187" fmla="*/ 9752 h 10000"/>
                  <a:gd name="connsiteX188" fmla="*/ 6765 w 10746"/>
                  <a:gd name="connsiteY188" fmla="*/ 9803 h 10000"/>
                  <a:gd name="connsiteX189" fmla="*/ 6770 w 10746"/>
                  <a:gd name="connsiteY189" fmla="*/ 9821 h 10000"/>
                  <a:gd name="connsiteX190" fmla="*/ 6779 w 10746"/>
                  <a:gd name="connsiteY190" fmla="*/ 9812 h 10000"/>
                  <a:gd name="connsiteX191" fmla="*/ 6779 w 10746"/>
                  <a:gd name="connsiteY191" fmla="*/ 9803 h 10000"/>
                  <a:gd name="connsiteX192" fmla="*/ 6770 w 10746"/>
                  <a:gd name="connsiteY192" fmla="*/ 9786 h 10000"/>
                  <a:gd name="connsiteX193" fmla="*/ 6811 w 10746"/>
                  <a:gd name="connsiteY193" fmla="*/ 9786 h 10000"/>
                  <a:gd name="connsiteX194" fmla="*/ 6816 w 10746"/>
                  <a:gd name="connsiteY194" fmla="*/ 9761 h 10000"/>
                  <a:gd name="connsiteX195" fmla="*/ 6825 w 10746"/>
                  <a:gd name="connsiteY195" fmla="*/ 9752 h 10000"/>
                  <a:gd name="connsiteX196" fmla="*/ 6825 w 10746"/>
                  <a:gd name="connsiteY196" fmla="*/ 9726 h 10000"/>
                  <a:gd name="connsiteX197" fmla="*/ 6843 w 10746"/>
                  <a:gd name="connsiteY197" fmla="*/ 9701 h 10000"/>
                  <a:gd name="connsiteX198" fmla="*/ 6848 w 10746"/>
                  <a:gd name="connsiteY198" fmla="*/ 9650 h 10000"/>
                  <a:gd name="connsiteX199" fmla="*/ 6848 w 10746"/>
                  <a:gd name="connsiteY199" fmla="*/ 9675 h 10000"/>
                  <a:gd name="connsiteX200" fmla="*/ 6862 w 10746"/>
                  <a:gd name="connsiteY200" fmla="*/ 9675 h 10000"/>
                  <a:gd name="connsiteX201" fmla="*/ 6857 w 10746"/>
                  <a:gd name="connsiteY201" fmla="*/ 9701 h 10000"/>
                  <a:gd name="connsiteX202" fmla="*/ 6857 w 10746"/>
                  <a:gd name="connsiteY202" fmla="*/ 9701 h 10000"/>
                  <a:gd name="connsiteX203" fmla="*/ 6876 w 10746"/>
                  <a:gd name="connsiteY203" fmla="*/ 9684 h 10000"/>
                  <a:gd name="connsiteX204" fmla="*/ 6885 w 10746"/>
                  <a:gd name="connsiteY204" fmla="*/ 9675 h 10000"/>
                  <a:gd name="connsiteX205" fmla="*/ 6876 w 10746"/>
                  <a:gd name="connsiteY205" fmla="*/ 9735 h 10000"/>
                  <a:gd name="connsiteX206" fmla="*/ 6885 w 10746"/>
                  <a:gd name="connsiteY206" fmla="*/ 9752 h 10000"/>
                  <a:gd name="connsiteX207" fmla="*/ 6903 w 10746"/>
                  <a:gd name="connsiteY207" fmla="*/ 9752 h 10000"/>
                  <a:gd name="connsiteX208" fmla="*/ 6917 w 10746"/>
                  <a:gd name="connsiteY208" fmla="*/ 9761 h 10000"/>
                  <a:gd name="connsiteX209" fmla="*/ 6917 w 10746"/>
                  <a:gd name="connsiteY209" fmla="*/ 9761 h 10000"/>
                  <a:gd name="connsiteX210" fmla="*/ 6922 w 10746"/>
                  <a:gd name="connsiteY210" fmla="*/ 9778 h 10000"/>
                  <a:gd name="connsiteX211" fmla="*/ 6945 w 10746"/>
                  <a:gd name="connsiteY211" fmla="*/ 9778 h 10000"/>
                  <a:gd name="connsiteX212" fmla="*/ 6972 w 10746"/>
                  <a:gd name="connsiteY212" fmla="*/ 9752 h 10000"/>
                  <a:gd name="connsiteX213" fmla="*/ 6977 w 10746"/>
                  <a:gd name="connsiteY213" fmla="*/ 9752 h 10000"/>
                  <a:gd name="connsiteX214" fmla="*/ 7069 w 10746"/>
                  <a:gd name="connsiteY214" fmla="*/ 9624 h 10000"/>
                  <a:gd name="connsiteX215" fmla="*/ 7097 w 10746"/>
                  <a:gd name="connsiteY215" fmla="*/ 9547 h 10000"/>
                  <a:gd name="connsiteX216" fmla="*/ 7106 w 10746"/>
                  <a:gd name="connsiteY216" fmla="*/ 9530 h 10000"/>
                  <a:gd name="connsiteX217" fmla="*/ 7124 w 10746"/>
                  <a:gd name="connsiteY217" fmla="*/ 9479 h 10000"/>
                  <a:gd name="connsiteX218" fmla="*/ 7138 w 10746"/>
                  <a:gd name="connsiteY218" fmla="*/ 9462 h 10000"/>
                  <a:gd name="connsiteX219" fmla="*/ 7378 w 10746"/>
                  <a:gd name="connsiteY219" fmla="*/ 8795 h 10000"/>
                  <a:gd name="connsiteX220" fmla="*/ 7392 w 10746"/>
                  <a:gd name="connsiteY220" fmla="*/ 8795 h 10000"/>
                  <a:gd name="connsiteX221" fmla="*/ 7401 w 10746"/>
                  <a:gd name="connsiteY221" fmla="*/ 8769 h 10000"/>
                  <a:gd name="connsiteX222" fmla="*/ 7406 w 10746"/>
                  <a:gd name="connsiteY222" fmla="*/ 8692 h 10000"/>
                  <a:gd name="connsiteX223" fmla="*/ 7406 w 10746"/>
                  <a:gd name="connsiteY223" fmla="*/ 8667 h 10000"/>
                  <a:gd name="connsiteX224" fmla="*/ 7419 w 10746"/>
                  <a:gd name="connsiteY224" fmla="*/ 8598 h 10000"/>
                  <a:gd name="connsiteX225" fmla="*/ 7419 w 10746"/>
                  <a:gd name="connsiteY225" fmla="*/ 8496 h 10000"/>
                  <a:gd name="connsiteX226" fmla="*/ 7424 w 10746"/>
                  <a:gd name="connsiteY226" fmla="*/ 8470 h 10000"/>
                  <a:gd name="connsiteX227" fmla="*/ 7424 w 10746"/>
                  <a:gd name="connsiteY227" fmla="*/ 8462 h 10000"/>
                  <a:gd name="connsiteX228" fmla="*/ 7419 w 10746"/>
                  <a:gd name="connsiteY228" fmla="*/ 8462 h 10000"/>
                  <a:gd name="connsiteX229" fmla="*/ 7410 w 10746"/>
                  <a:gd name="connsiteY229" fmla="*/ 8350 h 10000"/>
                  <a:gd name="connsiteX230" fmla="*/ 7419 w 10746"/>
                  <a:gd name="connsiteY230" fmla="*/ 8325 h 10000"/>
                  <a:gd name="connsiteX231" fmla="*/ 7424 w 10746"/>
                  <a:gd name="connsiteY231" fmla="*/ 8248 h 10000"/>
                  <a:gd name="connsiteX232" fmla="*/ 7433 w 10746"/>
                  <a:gd name="connsiteY232" fmla="*/ 8248 h 10000"/>
                  <a:gd name="connsiteX233" fmla="*/ 7433 w 10746"/>
                  <a:gd name="connsiteY233" fmla="*/ 8231 h 10000"/>
                  <a:gd name="connsiteX234" fmla="*/ 7433 w 10746"/>
                  <a:gd name="connsiteY234" fmla="*/ 8222 h 10000"/>
                  <a:gd name="connsiteX235" fmla="*/ 7433 w 10746"/>
                  <a:gd name="connsiteY235" fmla="*/ 8214 h 10000"/>
                  <a:gd name="connsiteX236" fmla="*/ 7447 w 10746"/>
                  <a:gd name="connsiteY236" fmla="*/ 8162 h 10000"/>
                  <a:gd name="connsiteX237" fmla="*/ 7461 w 10746"/>
                  <a:gd name="connsiteY237" fmla="*/ 8162 h 10000"/>
                  <a:gd name="connsiteX238" fmla="*/ 7475 w 10746"/>
                  <a:gd name="connsiteY238" fmla="*/ 8111 h 10000"/>
                  <a:gd name="connsiteX239" fmla="*/ 7475 w 10746"/>
                  <a:gd name="connsiteY239" fmla="*/ 8085 h 10000"/>
                  <a:gd name="connsiteX240" fmla="*/ 7479 w 10746"/>
                  <a:gd name="connsiteY240" fmla="*/ 8060 h 10000"/>
                  <a:gd name="connsiteX241" fmla="*/ 7452 w 10746"/>
                  <a:gd name="connsiteY241" fmla="*/ 8009 h 10000"/>
                  <a:gd name="connsiteX242" fmla="*/ 7465 w 10746"/>
                  <a:gd name="connsiteY242" fmla="*/ 7974 h 10000"/>
                  <a:gd name="connsiteX243" fmla="*/ 7452 w 10746"/>
                  <a:gd name="connsiteY243" fmla="*/ 7923 h 10000"/>
                  <a:gd name="connsiteX244" fmla="*/ 7433 w 10746"/>
                  <a:gd name="connsiteY244" fmla="*/ 7889 h 10000"/>
                  <a:gd name="connsiteX245" fmla="*/ 7419 w 10746"/>
                  <a:gd name="connsiteY245" fmla="*/ 7889 h 10000"/>
                  <a:gd name="connsiteX246" fmla="*/ 7401 w 10746"/>
                  <a:gd name="connsiteY246" fmla="*/ 7863 h 10000"/>
                  <a:gd name="connsiteX247" fmla="*/ 7387 w 10746"/>
                  <a:gd name="connsiteY247" fmla="*/ 7863 h 10000"/>
                  <a:gd name="connsiteX248" fmla="*/ 7373 w 10746"/>
                  <a:gd name="connsiteY248" fmla="*/ 7863 h 10000"/>
                  <a:gd name="connsiteX249" fmla="*/ 7387 w 10746"/>
                  <a:gd name="connsiteY249" fmla="*/ 7846 h 10000"/>
                  <a:gd name="connsiteX250" fmla="*/ 7401 w 10746"/>
                  <a:gd name="connsiteY250" fmla="*/ 7846 h 10000"/>
                  <a:gd name="connsiteX251" fmla="*/ 7410 w 10746"/>
                  <a:gd name="connsiteY251" fmla="*/ 7863 h 10000"/>
                  <a:gd name="connsiteX252" fmla="*/ 7424 w 10746"/>
                  <a:gd name="connsiteY252" fmla="*/ 7872 h 10000"/>
                  <a:gd name="connsiteX253" fmla="*/ 7433 w 10746"/>
                  <a:gd name="connsiteY253" fmla="*/ 7863 h 10000"/>
                  <a:gd name="connsiteX254" fmla="*/ 7461 w 10746"/>
                  <a:gd name="connsiteY254" fmla="*/ 7897 h 10000"/>
                  <a:gd name="connsiteX255" fmla="*/ 7465 w 10746"/>
                  <a:gd name="connsiteY255" fmla="*/ 7889 h 10000"/>
                  <a:gd name="connsiteX256" fmla="*/ 7475 w 10746"/>
                  <a:gd name="connsiteY256" fmla="*/ 7863 h 10000"/>
                  <a:gd name="connsiteX257" fmla="*/ 7475 w 10746"/>
                  <a:gd name="connsiteY257" fmla="*/ 7838 h 10000"/>
                  <a:gd name="connsiteX258" fmla="*/ 7465 w 10746"/>
                  <a:gd name="connsiteY258" fmla="*/ 7838 h 10000"/>
                  <a:gd name="connsiteX259" fmla="*/ 7406 w 10746"/>
                  <a:gd name="connsiteY259" fmla="*/ 7752 h 10000"/>
                  <a:gd name="connsiteX260" fmla="*/ 7401 w 10746"/>
                  <a:gd name="connsiteY260" fmla="*/ 7735 h 10000"/>
                  <a:gd name="connsiteX261" fmla="*/ 7401 w 10746"/>
                  <a:gd name="connsiteY261" fmla="*/ 7701 h 10000"/>
                  <a:gd name="connsiteX262" fmla="*/ 7378 w 10746"/>
                  <a:gd name="connsiteY262" fmla="*/ 7675 h 10000"/>
                  <a:gd name="connsiteX263" fmla="*/ 7373 w 10746"/>
                  <a:gd name="connsiteY263" fmla="*/ 7667 h 10000"/>
                  <a:gd name="connsiteX264" fmla="*/ 7364 w 10746"/>
                  <a:gd name="connsiteY264" fmla="*/ 7650 h 10000"/>
                  <a:gd name="connsiteX265" fmla="*/ 7364 w 10746"/>
                  <a:gd name="connsiteY265" fmla="*/ 7641 h 10000"/>
                  <a:gd name="connsiteX266" fmla="*/ 7350 w 10746"/>
                  <a:gd name="connsiteY266" fmla="*/ 7641 h 10000"/>
                  <a:gd name="connsiteX267" fmla="*/ 7336 w 10746"/>
                  <a:gd name="connsiteY267" fmla="*/ 7650 h 10000"/>
                  <a:gd name="connsiteX268" fmla="*/ 7327 w 10746"/>
                  <a:gd name="connsiteY268" fmla="*/ 7650 h 10000"/>
                  <a:gd name="connsiteX269" fmla="*/ 7300 w 10746"/>
                  <a:gd name="connsiteY269" fmla="*/ 7641 h 10000"/>
                  <a:gd name="connsiteX270" fmla="*/ 7300 w 10746"/>
                  <a:gd name="connsiteY270" fmla="*/ 7675 h 10000"/>
                  <a:gd name="connsiteX271" fmla="*/ 7300 w 10746"/>
                  <a:gd name="connsiteY271" fmla="*/ 7692 h 10000"/>
                  <a:gd name="connsiteX272" fmla="*/ 7286 w 10746"/>
                  <a:gd name="connsiteY272" fmla="*/ 7786 h 10000"/>
                  <a:gd name="connsiteX273" fmla="*/ 7272 w 10746"/>
                  <a:gd name="connsiteY273" fmla="*/ 7803 h 10000"/>
                  <a:gd name="connsiteX274" fmla="*/ 7276 w 10746"/>
                  <a:gd name="connsiteY274" fmla="*/ 7761 h 10000"/>
                  <a:gd name="connsiteX275" fmla="*/ 7286 w 10746"/>
                  <a:gd name="connsiteY275" fmla="*/ 7735 h 10000"/>
                  <a:gd name="connsiteX276" fmla="*/ 7276 w 10746"/>
                  <a:gd name="connsiteY276" fmla="*/ 7709 h 10000"/>
                  <a:gd name="connsiteX277" fmla="*/ 7258 w 10746"/>
                  <a:gd name="connsiteY277" fmla="*/ 7761 h 10000"/>
                  <a:gd name="connsiteX278" fmla="*/ 7217 w 10746"/>
                  <a:gd name="connsiteY278" fmla="*/ 7786 h 10000"/>
                  <a:gd name="connsiteX279" fmla="*/ 7203 w 10746"/>
                  <a:gd name="connsiteY279" fmla="*/ 7786 h 10000"/>
                  <a:gd name="connsiteX280" fmla="*/ 7198 w 10746"/>
                  <a:gd name="connsiteY280" fmla="*/ 7778 h 10000"/>
                  <a:gd name="connsiteX281" fmla="*/ 7212 w 10746"/>
                  <a:gd name="connsiteY281" fmla="*/ 7761 h 10000"/>
                  <a:gd name="connsiteX282" fmla="*/ 7230 w 10746"/>
                  <a:gd name="connsiteY282" fmla="*/ 7726 h 10000"/>
                  <a:gd name="connsiteX283" fmla="*/ 7226 w 10746"/>
                  <a:gd name="connsiteY283" fmla="*/ 7709 h 10000"/>
                  <a:gd name="connsiteX284" fmla="*/ 7212 w 10746"/>
                  <a:gd name="connsiteY284" fmla="*/ 7701 h 10000"/>
                  <a:gd name="connsiteX285" fmla="*/ 7203 w 10746"/>
                  <a:gd name="connsiteY285" fmla="*/ 7675 h 10000"/>
                  <a:gd name="connsiteX286" fmla="*/ 7217 w 10746"/>
                  <a:gd name="connsiteY286" fmla="*/ 7675 h 10000"/>
                  <a:gd name="connsiteX287" fmla="*/ 7226 w 10746"/>
                  <a:gd name="connsiteY287" fmla="*/ 7650 h 10000"/>
                  <a:gd name="connsiteX288" fmla="*/ 7226 w 10746"/>
                  <a:gd name="connsiteY288" fmla="*/ 7641 h 10000"/>
                  <a:gd name="connsiteX289" fmla="*/ 7203 w 10746"/>
                  <a:gd name="connsiteY289" fmla="*/ 7641 h 10000"/>
                  <a:gd name="connsiteX290" fmla="*/ 7198 w 10746"/>
                  <a:gd name="connsiteY290" fmla="*/ 7650 h 10000"/>
                  <a:gd name="connsiteX291" fmla="*/ 7194 w 10746"/>
                  <a:gd name="connsiteY291" fmla="*/ 7675 h 10000"/>
                  <a:gd name="connsiteX292" fmla="*/ 7198 w 10746"/>
                  <a:gd name="connsiteY292" fmla="*/ 7692 h 10000"/>
                  <a:gd name="connsiteX293" fmla="*/ 7198 w 10746"/>
                  <a:gd name="connsiteY293" fmla="*/ 7709 h 10000"/>
                  <a:gd name="connsiteX294" fmla="*/ 7184 w 10746"/>
                  <a:gd name="connsiteY294" fmla="*/ 7726 h 10000"/>
                  <a:gd name="connsiteX295" fmla="*/ 7180 w 10746"/>
                  <a:gd name="connsiteY295" fmla="*/ 7726 h 10000"/>
                  <a:gd name="connsiteX296" fmla="*/ 7171 w 10746"/>
                  <a:gd name="connsiteY296" fmla="*/ 7752 h 10000"/>
                  <a:gd name="connsiteX297" fmla="*/ 7166 w 10746"/>
                  <a:gd name="connsiteY297" fmla="*/ 7735 h 10000"/>
                  <a:gd name="connsiteX298" fmla="*/ 7171 w 10746"/>
                  <a:gd name="connsiteY298" fmla="*/ 7624 h 10000"/>
                  <a:gd name="connsiteX299" fmla="*/ 7171 w 10746"/>
                  <a:gd name="connsiteY299" fmla="*/ 7615 h 10000"/>
                  <a:gd name="connsiteX300" fmla="*/ 7171 w 10746"/>
                  <a:gd name="connsiteY300" fmla="*/ 7590 h 10000"/>
                  <a:gd name="connsiteX301" fmla="*/ 7166 w 10746"/>
                  <a:gd name="connsiteY301" fmla="*/ 7564 h 10000"/>
                  <a:gd name="connsiteX302" fmla="*/ 7157 w 10746"/>
                  <a:gd name="connsiteY302" fmla="*/ 7564 h 10000"/>
                  <a:gd name="connsiteX303" fmla="*/ 7097 w 10746"/>
                  <a:gd name="connsiteY303" fmla="*/ 7573 h 10000"/>
                  <a:gd name="connsiteX304" fmla="*/ 7065 w 10746"/>
                  <a:gd name="connsiteY304" fmla="*/ 7538 h 10000"/>
                  <a:gd name="connsiteX305" fmla="*/ 7069 w 10746"/>
                  <a:gd name="connsiteY305" fmla="*/ 7504 h 10000"/>
                  <a:gd name="connsiteX306" fmla="*/ 7106 w 10746"/>
                  <a:gd name="connsiteY306" fmla="*/ 7453 h 10000"/>
                  <a:gd name="connsiteX307" fmla="*/ 7111 w 10746"/>
                  <a:gd name="connsiteY307" fmla="*/ 7436 h 10000"/>
                  <a:gd name="connsiteX308" fmla="*/ 7138 w 10746"/>
                  <a:gd name="connsiteY308" fmla="*/ 7402 h 10000"/>
                  <a:gd name="connsiteX309" fmla="*/ 7143 w 10746"/>
                  <a:gd name="connsiteY309" fmla="*/ 7376 h 10000"/>
                  <a:gd name="connsiteX310" fmla="*/ 7152 w 10746"/>
                  <a:gd name="connsiteY310" fmla="*/ 7368 h 10000"/>
                  <a:gd name="connsiteX311" fmla="*/ 7157 w 10746"/>
                  <a:gd name="connsiteY311" fmla="*/ 7350 h 10000"/>
                  <a:gd name="connsiteX312" fmla="*/ 7230 w 10746"/>
                  <a:gd name="connsiteY312" fmla="*/ 7239 h 10000"/>
                  <a:gd name="connsiteX313" fmla="*/ 7240 w 10746"/>
                  <a:gd name="connsiteY313" fmla="*/ 7205 h 10000"/>
                  <a:gd name="connsiteX314" fmla="*/ 7253 w 10746"/>
                  <a:gd name="connsiteY314" fmla="*/ 7188 h 10000"/>
                  <a:gd name="connsiteX315" fmla="*/ 7258 w 10746"/>
                  <a:gd name="connsiteY315" fmla="*/ 7162 h 10000"/>
                  <a:gd name="connsiteX316" fmla="*/ 7258 w 10746"/>
                  <a:gd name="connsiteY316" fmla="*/ 7154 h 10000"/>
                  <a:gd name="connsiteX317" fmla="*/ 7272 w 10746"/>
                  <a:gd name="connsiteY317" fmla="*/ 7120 h 10000"/>
                  <a:gd name="connsiteX318" fmla="*/ 7276 w 10746"/>
                  <a:gd name="connsiteY318" fmla="*/ 7094 h 10000"/>
                  <a:gd name="connsiteX319" fmla="*/ 7286 w 10746"/>
                  <a:gd name="connsiteY319" fmla="*/ 7094 h 10000"/>
                  <a:gd name="connsiteX320" fmla="*/ 7290 w 10746"/>
                  <a:gd name="connsiteY320" fmla="*/ 7068 h 10000"/>
                  <a:gd name="connsiteX321" fmla="*/ 7332 w 10746"/>
                  <a:gd name="connsiteY321" fmla="*/ 6991 h 10000"/>
                  <a:gd name="connsiteX322" fmla="*/ 7336 w 10746"/>
                  <a:gd name="connsiteY322" fmla="*/ 6991 h 10000"/>
                  <a:gd name="connsiteX323" fmla="*/ 7364 w 10746"/>
                  <a:gd name="connsiteY323" fmla="*/ 6940 h 10000"/>
                  <a:gd name="connsiteX324" fmla="*/ 7373 w 10746"/>
                  <a:gd name="connsiteY324" fmla="*/ 6906 h 10000"/>
                  <a:gd name="connsiteX325" fmla="*/ 7378 w 10746"/>
                  <a:gd name="connsiteY325" fmla="*/ 6915 h 10000"/>
                  <a:gd name="connsiteX326" fmla="*/ 7406 w 10746"/>
                  <a:gd name="connsiteY326" fmla="*/ 6880 h 10000"/>
                  <a:gd name="connsiteX327" fmla="*/ 7410 w 10746"/>
                  <a:gd name="connsiteY327" fmla="*/ 6846 h 10000"/>
                  <a:gd name="connsiteX328" fmla="*/ 7419 w 10746"/>
                  <a:gd name="connsiteY328" fmla="*/ 6803 h 10000"/>
                  <a:gd name="connsiteX329" fmla="*/ 7585 w 10746"/>
                  <a:gd name="connsiteY329" fmla="*/ 6504 h 10000"/>
                  <a:gd name="connsiteX330" fmla="*/ 7765 w 10746"/>
                  <a:gd name="connsiteY330" fmla="*/ 6504 h 10000"/>
                  <a:gd name="connsiteX331" fmla="*/ 7765 w 10746"/>
                  <a:gd name="connsiteY331" fmla="*/ 6530 h 10000"/>
                  <a:gd name="connsiteX332" fmla="*/ 7774 w 10746"/>
                  <a:gd name="connsiteY332" fmla="*/ 6556 h 10000"/>
                  <a:gd name="connsiteX333" fmla="*/ 7779 w 10746"/>
                  <a:gd name="connsiteY333" fmla="*/ 6556 h 10000"/>
                  <a:gd name="connsiteX334" fmla="*/ 7793 w 10746"/>
                  <a:gd name="connsiteY334" fmla="*/ 6547 h 10000"/>
                  <a:gd name="connsiteX335" fmla="*/ 7793 w 10746"/>
                  <a:gd name="connsiteY335" fmla="*/ 6530 h 10000"/>
                  <a:gd name="connsiteX336" fmla="*/ 7802 w 10746"/>
                  <a:gd name="connsiteY336" fmla="*/ 6496 h 10000"/>
                  <a:gd name="connsiteX337" fmla="*/ 7806 w 10746"/>
                  <a:gd name="connsiteY337" fmla="*/ 6487 h 10000"/>
                  <a:gd name="connsiteX338" fmla="*/ 7876 w 10746"/>
                  <a:gd name="connsiteY338" fmla="*/ 6530 h 10000"/>
                  <a:gd name="connsiteX339" fmla="*/ 7894 w 10746"/>
                  <a:gd name="connsiteY339" fmla="*/ 6530 h 10000"/>
                  <a:gd name="connsiteX340" fmla="*/ 7894 w 10746"/>
                  <a:gd name="connsiteY340" fmla="*/ 6504 h 10000"/>
                  <a:gd name="connsiteX341" fmla="*/ 7899 w 10746"/>
                  <a:gd name="connsiteY341" fmla="*/ 6504 h 10000"/>
                  <a:gd name="connsiteX342" fmla="*/ 7926 w 10746"/>
                  <a:gd name="connsiteY342" fmla="*/ 6504 h 10000"/>
                  <a:gd name="connsiteX343" fmla="*/ 7940 w 10746"/>
                  <a:gd name="connsiteY343" fmla="*/ 6547 h 10000"/>
                  <a:gd name="connsiteX344" fmla="*/ 7949 w 10746"/>
                  <a:gd name="connsiteY344" fmla="*/ 6547 h 10000"/>
                  <a:gd name="connsiteX345" fmla="*/ 7963 w 10746"/>
                  <a:gd name="connsiteY345" fmla="*/ 6530 h 10000"/>
                  <a:gd name="connsiteX346" fmla="*/ 7963 w 10746"/>
                  <a:gd name="connsiteY346" fmla="*/ 6504 h 10000"/>
                  <a:gd name="connsiteX347" fmla="*/ 7963 w 10746"/>
                  <a:gd name="connsiteY347" fmla="*/ 6504 h 10000"/>
                  <a:gd name="connsiteX348" fmla="*/ 7954 w 10746"/>
                  <a:gd name="connsiteY348" fmla="*/ 6496 h 10000"/>
                  <a:gd name="connsiteX349" fmla="*/ 7963 w 10746"/>
                  <a:gd name="connsiteY349" fmla="*/ 6487 h 10000"/>
                  <a:gd name="connsiteX350" fmla="*/ 7982 w 10746"/>
                  <a:gd name="connsiteY350" fmla="*/ 6487 h 10000"/>
                  <a:gd name="connsiteX351" fmla="*/ 7982 w 10746"/>
                  <a:gd name="connsiteY351" fmla="*/ 6470 h 10000"/>
                  <a:gd name="connsiteX352" fmla="*/ 7972 w 10746"/>
                  <a:gd name="connsiteY352" fmla="*/ 6462 h 10000"/>
                  <a:gd name="connsiteX353" fmla="*/ 7972 w 10746"/>
                  <a:gd name="connsiteY353" fmla="*/ 6436 h 10000"/>
                  <a:gd name="connsiteX354" fmla="*/ 7986 w 10746"/>
                  <a:gd name="connsiteY354" fmla="*/ 6419 h 10000"/>
                  <a:gd name="connsiteX355" fmla="*/ 8000 w 10746"/>
                  <a:gd name="connsiteY355" fmla="*/ 6419 h 10000"/>
                  <a:gd name="connsiteX356" fmla="*/ 8055 w 10746"/>
                  <a:gd name="connsiteY356" fmla="*/ 6462 h 10000"/>
                  <a:gd name="connsiteX357" fmla="*/ 8069 w 10746"/>
                  <a:gd name="connsiteY357" fmla="*/ 6444 h 10000"/>
                  <a:gd name="connsiteX358" fmla="*/ 8083 w 10746"/>
                  <a:gd name="connsiteY358" fmla="*/ 6470 h 10000"/>
                  <a:gd name="connsiteX359" fmla="*/ 8083 w 10746"/>
                  <a:gd name="connsiteY359" fmla="*/ 6487 h 10000"/>
                  <a:gd name="connsiteX360" fmla="*/ 8097 w 10746"/>
                  <a:gd name="connsiteY360" fmla="*/ 6487 h 10000"/>
                  <a:gd name="connsiteX361" fmla="*/ 8101 w 10746"/>
                  <a:gd name="connsiteY361" fmla="*/ 6462 h 10000"/>
                  <a:gd name="connsiteX362" fmla="*/ 8115 w 10746"/>
                  <a:gd name="connsiteY362" fmla="*/ 6462 h 10000"/>
                  <a:gd name="connsiteX363" fmla="*/ 8129 w 10746"/>
                  <a:gd name="connsiteY363" fmla="*/ 6462 h 10000"/>
                  <a:gd name="connsiteX364" fmla="*/ 8157 w 10746"/>
                  <a:gd name="connsiteY364" fmla="*/ 6496 h 10000"/>
                  <a:gd name="connsiteX365" fmla="*/ 8157 w 10746"/>
                  <a:gd name="connsiteY365" fmla="*/ 6521 h 10000"/>
                  <a:gd name="connsiteX366" fmla="*/ 8180 w 10746"/>
                  <a:gd name="connsiteY366" fmla="*/ 6530 h 10000"/>
                  <a:gd name="connsiteX367" fmla="*/ 8180 w 10746"/>
                  <a:gd name="connsiteY367" fmla="*/ 6547 h 10000"/>
                  <a:gd name="connsiteX368" fmla="*/ 8171 w 10746"/>
                  <a:gd name="connsiteY368" fmla="*/ 6556 h 10000"/>
                  <a:gd name="connsiteX369" fmla="*/ 8129 w 10746"/>
                  <a:gd name="connsiteY369" fmla="*/ 6556 h 10000"/>
                  <a:gd name="connsiteX370" fmla="*/ 8106 w 10746"/>
                  <a:gd name="connsiteY370" fmla="*/ 6573 h 10000"/>
                  <a:gd name="connsiteX371" fmla="*/ 8115 w 10746"/>
                  <a:gd name="connsiteY371" fmla="*/ 6581 h 10000"/>
                  <a:gd name="connsiteX372" fmla="*/ 8129 w 10746"/>
                  <a:gd name="connsiteY372" fmla="*/ 6632 h 10000"/>
                  <a:gd name="connsiteX373" fmla="*/ 8171 w 10746"/>
                  <a:gd name="connsiteY373" fmla="*/ 6632 h 10000"/>
                  <a:gd name="connsiteX374" fmla="*/ 8180 w 10746"/>
                  <a:gd name="connsiteY374" fmla="*/ 6624 h 10000"/>
                  <a:gd name="connsiteX375" fmla="*/ 8189 w 10746"/>
                  <a:gd name="connsiteY375" fmla="*/ 6598 h 10000"/>
                  <a:gd name="connsiteX376" fmla="*/ 8203 w 10746"/>
                  <a:gd name="connsiteY376" fmla="*/ 6581 h 10000"/>
                  <a:gd name="connsiteX377" fmla="*/ 8207 w 10746"/>
                  <a:gd name="connsiteY377" fmla="*/ 6607 h 10000"/>
                  <a:gd name="connsiteX378" fmla="*/ 8221 w 10746"/>
                  <a:gd name="connsiteY378" fmla="*/ 6624 h 10000"/>
                  <a:gd name="connsiteX379" fmla="*/ 8235 w 10746"/>
                  <a:gd name="connsiteY379" fmla="*/ 6607 h 10000"/>
                  <a:gd name="connsiteX380" fmla="*/ 8240 w 10746"/>
                  <a:gd name="connsiteY380" fmla="*/ 6581 h 10000"/>
                  <a:gd name="connsiteX381" fmla="*/ 8253 w 10746"/>
                  <a:gd name="connsiteY381" fmla="*/ 6573 h 10000"/>
                  <a:gd name="connsiteX382" fmla="*/ 8263 w 10746"/>
                  <a:gd name="connsiteY382" fmla="*/ 6556 h 10000"/>
                  <a:gd name="connsiteX383" fmla="*/ 8276 w 10746"/>
                  <a:gd name="connsiteY383" fmla="*/ 6547 h 10000"/>
                  <a:gd name="connsiteX384" fmla="*/ 8290 w 10746"/>
                  <a:gd name="connsiteY384" fmla="*/ 6556 h 10000"/>
                  <a:gd name="connsiteX385" fmla="*/ 8304 w 10746"/>
                  <a:gd name="connsiteY385" fmla="*/ 6581 h 10000"/>
                  <a:gd name="connsiteX386" fmla="*/ 8309 w 10746"/>
                  <a:gd name="connsiteY386" fmla="*/ 6581 h 10000"/>
                  <a:gd name="connsiteX387" fmla="*/ 8327 w 10746"/>
                  <a:gd name="connsiteY387" fmla="*/ 6573 h 10000"/>
                  <a:gd name="connsiteX388" fmla="*/ 8327 w 10746"/>
                  <a:gd name="connsiteY388" fmla="*/ 6556 h 10000"/>
                  <a:gd name="connsiteX389" fmla="*/ 8350 w 10746"/>
                  <a:gd name="connsiteY389" fmla="*/ 6556 h 10000"/>
                  <a:gd name="connsiteX390" fmla="*/ 8355 w 10746"/>
                  <a:gd name="connsiteY390" fmla="*/ 6573 h 10000"/>
                  <a:gd name="connsiteX391" fmla="*/ 8364 w 10746"/>
                  <a:gd name="connsiteY391" fmla="*/ 6556 h 10000"/>
                  <a:gd name="connsiteX392" fmla="*/ 8369 w 10746"/>
                  <a:gd name="connsiteY392" fmla="*/ 6556 h 10000"/>
                  <a:gd name="connsiteX393" fmla="*/ 8378 w 10746"/>
                  <a:gd name="connsiteY393" fmla="*/ 6530 h 10000"/>
                  <a:gd name="connsiteX394" fmla="*/ 8369 w 10746"/>
                  <a:gd name="connsiteY394" fmla="*/ 6504 h 10000"/>
                  <a:gd name="connsiteX395" fmla="*/ 8364 w 10746"/>
                  <a:gd name="connsiteY395" fmla="*/ 6496 h 10000"/>
                  <a:gd name="connsiteX396" fmla="*/ 8336 w 10746"/>
                  <a:gd name="connsiteY396" fmla="*/ 6470 h 10000"/>
                  <a:gd name="connsiteX397" fmla="*/ 8309 w 10746"/>
                  <a:gd name="connsiteY397" fmla="*/ 6487 h 10000"/>
                  <a:gd name="connsiteX398" fmla="*/ 8313 w 10746"/>
                  <a:gd name="connsiteY398" fmla="*/ 6462 h 10000"/>
                  <a:gd name="connsiteX399" fmla="*/ 8323 w 10746"/>
                  <a:gd name="connsiteY399" fmla="*/ 6444 h 10000"/>
                  <a:gd name="connsiteX400" fmla="*/ 8309 w 10746"/>
                  <a:gd name="connsiteY400" fmla="*/ 6393 h 10000"/>
                  <a:gd name="connsiteX401" fmla="*/ 8313 w 10746"/>
                  <a:gd name="connsiteY401" fmla="*/ 6385 h 10000"/>
                  <a:gd name="connsiteX402" fmla="*/ 8323 w 10746"/>
                  <a:gd name="connsiteY402" fmla="*/ 6393 h 10000"/>
                  <a:gd name="connsiteX403" fmla="*/ 8323 w 10746"/>
                  <a:gd name="connsiteY403" fmla="*/ 6393 h 10000"/>
                  <a:gd name="connsiteX404" fmla="*/ 8355 w 10746"/>
                  <a:gd name="connsiteY404" fmla="*/ 6282 h 10000"/>
                  <a:gd name="connsiteX405" fmla="*/ 8369 w 10746"/>
                  <a:gd name="connsiteY405" fmla="*/ 6256 h 10000"/>
                  <a:gd name="connsiteX406" fmla="*/ 8382 w 10746"/>
                  <a:gd name="connsiteY406" fmla="*/ 6248 h 10000"/>
                  <a:gd name="connsiteX407" fmla="*/ 8424 w 10746"/>
                  <a:gd name="connsiteY407" fmla="*/ 6162 h 10000"/>
                  <a:gd name="connsiteX408" fmla="*/ 8429 w 10746"/>
                  <a:gd name="connsiteY408" fmla="*/ 6145 h 10000"/>
                  <a:gd name="connsiteX409" fmla="*/ 8470 w 10746"/>
                  <a:gd name="connsiteY409" fmla="*/ 6051 h 10000"/>
                  <a:gd name="connsiteX410" fmla="*/ 8475 w 10746"/>
                  <a:gd name="connsiteY410" fmla="*/ 5983 h 10000"/>
                  <a:gd name="connsiteX411" fmla="*/ 8512 w 10746"/>
                  <a:gd name="connsiteY411" fmla="*/ 5940 h 10000"/>
                  <a:gd name="connsiteX412" fmla="*/ 8521 w 10746"/>
                  <a:gd name="connsiteY412" fmla="*/ 5923 h 10000"/>
                  <a:gd name="connsiteX413" fmla="*/ 8535 w 10746"/>
                  <a:gd name="connsiteY413" fmla="*/ 5915 h 10000"/>
                  <a:gd name="connsiteX414" fmla="*/ 8562 w 10746"/>
                  <a:gd name="connsiteY414" fmla="*/ 5915 h 10000"/>
                  <a:gd name="connsiteX415" fmla="*/ 8618 w 10746"/>
                  <a:gd name="connsiteY415" fmla="*/ 5889 h 10000"/>
                  <a:gd name="connsiteX416" fmla="*/ 8622 w 10746"/>
                  <a:gd name="connsiteY416" fmla="*/ 5889 h 10000"/>
                  <a:gd name="connsiteX417" fmla="*/ 8622 w 10746"/>
                  <a:gd name="connsiteY417" fmla="*/ 5872 h 10000"/>
                  <a:gd name="connsiteX418" fmla="*/ 8636 w 10746"/>
                  <a:gd name="connsiteY418" fmla="*/ 5872 h 10000"/>
                  <a:gd name="connsiteX419" fmla="*/ 8650 w 10746"/>
                  <a:gd name="connsiteY419" fmla="*/ 5889 h 10000"/>
                  <a:gd name="connsiteX420" fmla="*/ 8659 w 10746"/>
                  <a:gd name="connsiteY420" fmla="*/ 5915 h 10000"/>
                  <a:gd name="connsiteX421" fmla="*/ 8664 w 10746"/>
                  <a:gd name="connsiteY421" fmla="*/ 5940 h 10000"/>
                  <a:gd name="connsiteX422" fmla="*/ 8682 w 10746"/>
                  <a:gd name="connsiteY422" fmla="*/ 5923 h 10000"/>
                  <a:gd name="connsiteX423" fmla="*/ 8719 w 10746"/>
                  <a:gd name="connsiteY423" fmla="*/ 5863 h 10000"/>
                  <a:gd name="connsiteX424" fmla="*/ 8705 w 10746"/>
                  <a:gd name="connsiteY424" fmla="*/ 5966 h 10000"/>
                  <a:gd name="connsiteX425" fmla="*/ 8696 w 10746"/>
                  <a:gd name="connsiteY425" fmla="*/ 5983 h 10000"/>
                  <a:gd name="connsiteX426" fmla="*/ 8682 w 10746"/>
                  <a:gd name="connsiteY426" fmla="*/ 6026 h 10000"/>
                  <a:gd name="connsiteX427" fmla="*/ 8682 w 10746"/>
                  <a:gd name="connsiteY427" fmla="*/ 6051 h 10000"/>
                  <a:gd name="connsiteX428" fmla="*/ 8691 w 10746"/>
                  <a:gd name="connsiteY428" fmla="*/ 6077 h 10000"/>
                  <a:gd name="connsiteX429" fmla="*/ 8691 w 10746"/>
                  <a:gd name="connsiteY429" fmla="*/ 6085 h 10000"/>
                  <a:gd name="connsiteX430" fmla="*/ 8682 w 10746"/>
                  <a:gd name="connsiteY430" fmla="*/ 6103 h 10000"/>
                  <a:gd name="connsiteX431" fmla="*/ 8682 w 10746"/>
                  <a:gd name="connsiteY431" fmla="*/ 6111 h 10000"/>
                  <a:gd name="connsiteX432" fmla="*/ 8691 w 10746"/>
                  <a:gd name="connsiteY432" fmla="*/ 6120 h 10000"/>
                  <a:gd name="connsiteX433" fmla="*/ 8719 w 10746"/>
                  <a:gd name="connsiteY433" fmla="*/ 6103 h 10000"/>
                  <a:gd name="connsiteX434" fmla="*/ 8705 w 10746"/>
                  <a:gd name="connsiteY434" fmla="*/ 6188 h 10000"/>
                  <a:gd name="connsiteX435" fmla="*/ 8705 w 10746"/>
                  <a:gd name="connsiteY435" fmla="*/ 6214 h 10000"/>
                  <a:gd name="connsiteX436" fmla="*/ 8710 w 10746"/>
                  <a:gd name="connsiteY436" fmla="*/ 6197 h 10000"/>
                  <a:gd name="connsiteX437" fmla="*/ 8728 w 10746"/>
                  <a:gd name="connsiteY437" fmla="*/ 6171 h 10000"/>
                  <a:gd name="connsiteX438" fmla="*/ 8737 w 10746"/>
                  <a:gd name="connsiteY438" fmla="*/ 6171 h 10000"/>
                  <a:gd name="connsiteX439" fmla="*/ 8843 w 10746"/>
                  <a:gd name="connsiteY439" fmla="*/ 5949 h 10000"/>
                  <a:gd name="connsiteX440" fmla="*/ 8866 w 10746"/>
                  <a:gd name="connsiteY440" fmla="*/ 5949 h 10000"/>
                  <a:gd name="connsiteX441" fmla="*/ 8871 w 10746"/>
                  <a:gd name="connsiteY441" fmla="*/ 5940 h 10000"/>
                  <a:gd name="connsiteX442" fmla="*/ 8876 w 10746"/>
                  <a:gd name="connsiteY442" fmla="*/ 5923 h 10000"/>
                  <a:gd name="connsiteX443" fmla="*/ 8885 w 10746"/>
                  <a:gd name="connsiteY443" fmla="*/ 5940 h 10000"/>
                  <a:gd name="connsiteX444" fmla="*/ 8885 w 10746"/>
                  <a:gd name="connsiteY444" fmla="*/ 5949 h 10000"/>
                  <a:gd name="connsiteX445" fmla="*/ 8885 w 10746"/>
                  <a:gd name="connsiteY445" fmla="*/ 5974 h 10000"/>
                  <a:gd name="connsiteX446" fmla="*/ 8889 w 10746"/>
                  <a:gd name="connsiteY446" fmla="*/ 5974 h 10000"/>
                  <a:gd name="connsiteX447" fmla="*/ 8903 w 10746"/>
                  <a:gd name="connsiteY447" fmla="*/ 5923 h 10000"/>
                  <a:gd name="connsiteX448" fmla="*/ 8889 w 10746"/>
                  <a:gd name="connsiteY448" fmla="*/ 5923 h 10000"/>
                  <a:gd name="connsiteX449" fmla="*/ 8889 w 10746"/>
                  <a:gd name="connsiteY449" fmla="*/ 5897 h 10000"/>
                  <a:gd name="connsiteX450" fmla="*/ 8899 w 10746"/>
                  <a:gd name="connsiteY450" fmla="*/ 5838 h 10000"/>
                  <a:gd name="connsiteX451" fmla="*/ 8889 w 10746"/>
                  <a:gd name="connsiteY451" fmla="*/ 5812 h 10000"/>
                  <a:gd name="connsiteX452" fmla="*/ 8903 w 10746"/>
                  <a:gd name="connsiteY452" fmla="*/ 5778 h 10000"/>
                  <a:gd name="connsiteX453" fmla="*/ 8903 w 10746"/>
                  <a:gd name="connsiteY453" fmla="*/ 5761 h 10000"/>
                  <a:gd name="connsiteX454" fmla="*/ 8912 w 10746"/>
                  <a:gd name="connsiteY454" fmla="*/ 5735 h 10000"/>
                  <a:gd name="connsiteX455" fmla="*/ 8931 w 10746"/>
                  <a:gd name="connsiteY455" fmla="*/ 5701 h 10000"/>
                  <a:gd name="connsiteX456" fmla="*/ 8977 w 10746"/>
                  <a:gd name="connsiteY456" fmla="*/ 5675 h 10000"/>
                  <a:gd name="connsiteX457" fmla="*/ 9000 w 10746"/>
                  <a:gd name="connsiteY457" fmla="*/ 5675 h 10000"/>
                  <a:gd name="connsiteX458" fmla="*/ 9018 w 10746"/>
                  <a:gd name="connsiteY458" fmla="*/ 5709 h 10000"/>
                  <a:gd name="connsiteX459" fmla="*/ 9009 w 10746"/>
                  <a:gd name="connsiteY459" fmla="*/ 5735 h 10000"/>
                  <a:gd name="connsiteX460" fmla="*/ 9000 w 10746"/>
                  <a:gd name="connsiteY460" fmla="*/ 5735 h 10000"/>
                  <a:gd name="connsiteX461" fmla="*/ 8963 w 10746"/>
                  <a:gd name="connsiteY461" fmla="*/ 5786 h 10000"/>
                  <a:gd name="connsiteX462" fmla="*/ 8949 w 10746"/>
                  <a:gd name="connsiteY462" fmla="*/ 5940 h 10000"/>
                  <a:gd name="connsiteX463" fmla="*/ 8945 w 10746"/>
                  <a:gd name="connsiteY463" fmla="*/ 5966 h 10000"/>
                  <a:gd name="connsiteX464" fmla="*/ 8945 w 10746"/>
                  <a:gd name="connsiteY464" fmla="*/ 6000 h 10000"/>
                  <a:gd name="connsiteX465" fmla="*/ 8945 w 10746"/>
                  <a:gd name="connsiteY465" fmla="*/ 6009 h 10000"/>
                  <a:gd name="connsiteX466" fmla="*/ 8945 w 10746"/>
                  <a:gd name="connsiteY466" fmla="*/ 6034 h 10000"/>
                  <a:gd name="connsiteX467" fmla="*/ 8931 w 10746"/>
                  <a:gd name="connsiteY467" fmla="*/ 6060 h 10000"/>
                  <a:gd name="connsiteX468" fmla="*/ 8926 w 10746"/>
                  <a:gd name="connsiteY468" fmla="*/ 6077 h 10000"/>
                  <a:gd name="connsiteX469" fmla="*/ 8926 w 10746"/>
                  <a:gd name="connsiteY469" fmla="*/ 6111 h 10000"/>
                  <a:gd name="connsiteX470" fmla="*/ 8931 w 10746"/>
                  <a:gd name="connsiteY470" fmla="*/ 6120 h 10000"/>
                  <a:gd name="connsiteX471" fmla="*/ 8931 w 10746"/>
                  <a:gd name="connsiteY471" fmla="*/ 6137 h 10000"/>
                  <a:gd name="connsiteX472" fmla="*/ 8912 w 10746"/>
                  <a:gd name="connsiteY472" fmla="*/ 6171 h 10000"/>
                  <a:gd name="connsiteX473" fmla="*/ 8899 w 10746"/>
                  <a:gd name="connsiteY473" fmla="*/ 6162 h 10000"/>
                  <a:gd name="connsiteX474" fmla="*/ 8885 w 10746"/>
                  <a:gd name="connsiteY474" fmla="*/ 6171 h 10000"/>
                  <a:gd name="connsiteX475" fmla="*/ 8866 w 10746"/>
                  <a:gd name="connsiteY475" fmla="*/ 6214 h 10000"/>
                  <a:gd name="connsiteX476" fmla="*/ 8853 w 10746"/>
                  <a:gd name="connsiteY476" fmla="*/ 6214 h 10000"/>
                  <a:gd name="connsiteX477" fmla="*/ 8816 w 10746"/>
                  <a:gd name="connsiteY477" fmla="*/ 6248 h 10000"/>
                  <a:gd name="connsiteX478" fmla="*/ 8816 w 10746"/>
                  <a:gd name="connsiteY478" fmla="*/ 6248 h 10000"/>
                  <a:gd name="connsiteX479" fmla="*/ 8816 w 10746"/>
                  <a:gd name="connsiteY479" fmla="*/ 6282 h 10000"/>
                  <a:gd name="connsiteX480" fmla="*/ 8811 w 10746"/>
                  <a:gd name="connsiteY480" fmla="*/ 6308 h 10000"/>
                  <a:gd name="connsiteX481" fmla="*/ 8751 w 10746"/>
                  <a:gd name="connsiteY481" fmla="*/ 6436 h 10000"/>
                  <a:gd name="connsiteX482" fmla="*/ 8724 w 10746"/>
                  <a:gd name="connsiteY482" fmla="*/ 6470 h 10000"/>
                  <a:gd name="connsiteX483" fmla="*/ 8710 w 10746"/>
                  <a:gd name="connsiteY483" fmla="*/ 6504 h 10000"/>
                  <a:gd name="connsiteX484" fmla="*/ 8705 w 10746"/>
                  <a:gd name="connsiteY484" fmla="*/ 6521 h 10000"/>
                  <a:gd name="connsiteX485" fmla="*/ 8677 w 10746"/>
                  <a:gd name="connsiteY485" fmla="*/ 6573 h 10000"/>
                  <a:gd name="connsiteX486" fmla="*/ 8677 w 10746"/>
                  <a:gd name="connsiteY486" fmla="*/ 6624 h 10000"/>
                  <a:gd name="connsiteX487" fmla="*/ 8590 w 10746"/>
                  <a:gd name="connsiteY487" fmla="*/ 6803 h 10000"/>
                  <a:gd name="connsiteX488" fmla="*/ 8562 w 10746"/>
                  <a:gd name="connsiteY488" fmla="*/ 6829 h 10000"/>
                  <a:gd name="connsiteX489" fmla="*/ 8544 w 10746"/>
                  <a:gd name="connsiteY489" fmla="*/ 6829 h 10000"/>
                  <a:gd name="connsiteX490" fmla="*/ 8521 w 10746"/>
                  <a:gd name="connsiteY490" fmla="*/ 6880 h 10000"/>
                  <a:gd name="connsiteX491" fmla="*/ 8498 w 10746"/>
                  <a:gd name="connsiteY491" fmla="*/ 6872 h 10000"/>
                  <a:gd name="connsiteX492" fmla="*/ 8488 w 10746"/>
                  <a:gd name="connsiteY492" fmla="*/ 6872 h 10000"/>
                  <a:gd name="connsiteX493" fmla="*/ 8498 w 10746"/>
                  <a:gd name="connsiteY493" fmla="*/ 6940 h 10000"/>
                  <a:gd name="connsiteX494" fmla="*/ 8484 w 10746"/>
                  <a:gd name="connsiteY494" fmla="*/ 7026 h 10000"/>
                  <a:gd name="connsiteX495" fmla="*/ 8429 w 10746"/>
                  <a:gd name="connsiteY495" fmla="*/ 7094 h 10000"/>
                  <a:gd name="connsiteX496" fmla="*/ 8401 w 10746"/>
                  <a:gd name="connsiteY496" fmla="*/ 7291 h 10000"/>
                  <a:gd name="connsiteX497" fmla="*/ 8424 w 10746"/>
                  <a:gd name="connsiteY497" fmla="*/ 7692 h 10000"/>
                  <a:gd name="connsiteX498" fmla="*/ 8424 w 10746"/>
                  <a:gd name="connsiteY498" fmla="*/ 7701 h 10000"/>
                  <a:gd name="connsiteX499" fmla="*/ 8484 w 10746"/>
                  <a:gd name="connsiteY499" fmla="*/ 8308 h 10000"/>
                  <a:gd name="connsiteX500" fmla="*/ 8576 w 10746"/>
                  <a:gd name="connsiteY500" fmla="*/ 8120 h 10000"/>
                  <a:gd name="connsiteX501" fmla="*/ 8590 w 10746"/>
                  <a:gd name="connsiteY501" fmla="*/ 8026 h 10000"/>
                  <a:gd name="connsiteX502" fmla="*/ 8590 w 10746"/>
                  <a:gd name="connsiteY502" fmla="*/ 7983 h 10000"/>
                  <a:gd name="connsiteX503" fmla="*/ 8594 w 10746"/>
                  <a:gd name="connsiteY503" fmla="*/ 7974 h 10000"/>
                  <a:gd name="connsiteX504" fmla="*/ 8594 w 10746"/>
                  <a:gd name="connsiteY504" fmla="*/ 7940 h 10000"/>
                  <a:gd name="connsiteX505" fmla="*/ 8594 w 10746"/>
                  <a:gd name="connsiteY505" fmla="*/ 7923 h 10000"/>
                  <a:gd name="connsiteX506" fmla="*/ 8594 w 10746"/>
                  <a:gd name="connsiteY506" fmla="*/ 7915 h 10000"/>
                  <a:gd name="connsiteX507" fmla="*/ 8604 w 10746"/>
                  <a:gd name="connsiteY507" fmla="*/ 7915 h 10000"/>
                  <a:gd name="connsiteX508" fmla="*/ 8608 w 10746"/>
                  <a:gd name="connsiteY508" fmla="*/ 7923 h 10000"/>
                  <a:gd name="connsiteX509" fmla="*/ 8645 w 10746"/>
                  <a:gd name="connsiteY509" fmla="*/ 7872 h 10000"/>
                  <a:gd name="connsiteX510" fmla="*/ 8668 w 10746"/>
                  <a:gd name="connsiteY510" fmla="*/ 7846 h 10000"/>
                  <a:gd name="connsiteX511" fmla="*/ 8691 w 10746"/>
                  <a:gd name="connsiteY511" fmla="*/ 7863 h 10000"/>
                  <a:gd name="connsiteX512" fmla="*/ 8691 w 10746"/>
                  <a:gd name="connsiteY512" fmla="*/ 7846 h 10000"/>
                  <a:gd name="connsiteX513" fmla="*/ 8682 w 10746"/>
                  <a:gd name="connsiteY513" fmla="*/ 7838 h 10000"/>
                  <a:gd name="connsiteX514" fmla="*/ 8682 w 10746"/>
                  <a:gd name="connsiteY514" fmla="*/ 7692 h 10000"/>
                  <a:gd name="connsiteX515" fmla="*/ 8728 w 10746"/>
                  <a:gd name="connsiteY515" fmla="*/ 7598 h 10000"/>
                  <a:gd name="connsiteX516" fmla="*/ 8751 w 10746"/>
                  <a:gd name="connsiteY516" fmla="*/ 7573 h 10000"/>
                  <a:gd name="connsiteX517" fmla="*/ 8770 w 10746"/>
                  <a:gd name="connsiteY517" fmla="*/ 7573 h 10000"/>
                  <a:gd name="connsiteX518" fmla="*/ 8779 w 10746"/>
                  <a:gd name="connsiteY518" fmla="*/ 7590 h 10000"/>
                  <a:gd name="connsiteX519" fmla="*/ 8793 w 10746"/>
                  <a:gd name="connsiteY519" fmla="*/ 7590 h 10000"/>
                  <a:gd name="connsiteX520" fmla="*/ 8811 w 10746"/>
                  <a:gd name="connsiteY520" fmla="*/ 7590 h 10000"/>
                  <a:gd name="connsiteX521" fmla="*/ 8825 w 10746"/>
                  <a:gd name="connsiteY521" fmla="*/ 7556 h 10000"/>
                  <a:gd name="connsiteX522" fmla="*/ 8829 w 10746"/>
                  <a:gd name="connsiteY522" fmla="*/ 7530 h 10000"/>
                  <a:gd name="connsiteX523" fmla="*/ 8802 w 10746"/>
                  <a:gd name="connsiteY523" fmla="*/ 7462 h 10000"/>
                  <a:gd name="connsiteX524" fmla="*/ 8797 w 10746"/>
                  <a:gd name="connsiteY524" fmla="*/ 7402 h 10000"/>
                  <a:gd name="connsiteX525" fmla="*/ 8816 w 10746"/>
                  <a:gd name="connsiteY525" fmla="*/ 7291 h 10000"/>
                  <a:gd name="connsiteX526" fmla="*/ 8825 w 10746"/>
                  <a:gd name="connsiteY526" fmla="*/ 7256 h 10000"/>
                  <a:gd name="connsiteX527" fmla="*/ 8843 w 10746"/>
                  <a:gd name="connsiteY527" fmla="*/ 7231 h 10000"/>
                  <a:gd name="connsiteX528" fmla="*/ 8839 w 10746"/>
                  <a:gd name="connsiteY528" fmla="*/ 7205 h 10000"/>
                  <a:gd name="connsiteX529" fmla="*/ 8839 w 10746"/>
                  <a:gd name="connsiteY529" fmla="*/ 7188 h 10000"/>
                  <a:gd name="connsiteX530" fmla="*/ 8876 w 10746"/>
                  <a:gd name="connsiteY530" fmla="*/ 7162 h 10000"/>
                  <a:gd name="connsiteX531" fmla="*/ 8885 w 10746"/>
                  <a:gd name="connsiteY531" fmla="*/ 7154 h 10000"/>
                  <a:gd name="connsiteX532" fmla="*/ 8885 w 10746"/>
                  <a:gd name="connsiteY532" fmla="*/ 7162 h 10000"/>
                  <a:gd name="connsiteX533" fmla="*/ 8876 w 10746"/>
                  <a:gd name="connsiteY533" fmla="*/ 7188 h 10000"/>
                  <a:gd name="connsiteX534" fmla="*/ 8871 w 10746"/>
                  <a:gd name="connsiteY534" fmla="*/ 7205 h 10000"/>
                  <a:gd name="connsiteX535" fmla="*/ 8866 w 10746"/>
                  <a:gd name="connsiteY535" fmla="*/ 7214 h 10000"/>
                  <a:gd name="connsiteX536" fmla="*/ 8876 w 10746"/>
                  <a:gd name="connsiteY536" fmla="*/ 7265 h 10000"/>
                  <a:gd name="connsiteX537" fmla="*/ 8885 w 10746"/>
                  <a:gd name="connsiteY537" fmla="*/ 7282 h 10000"/>
                  <a:gd name="connsiteX538" fmla="*/ 8889 w 10746"/>
                  <a:gd name="connsiteY538" fmla="*/ 7282 h 10000"/>
                  <a:gd name="connsiteX539" fmla="*/ 8903 w 10746"/>
                  <a:gd name="connsiteY539" fmla="*/ 7239 h 10000"/>
                  <a:gd name="connsiteX540" fmla="*/ 8903 w 10746"/>
                  <a:gd name="connsiteY540" fmla="*/ 7214 h 10000"/>
                  <a:gd name="connsiteX541" fmla="*/ 8899 w 10746"/>
                  <a:gd name="connsiteY541" fmla="*/ 7128 h 10000"/>
                  <a:gd name="connsiteX542" fmla="*/ 8889 w 10746"/>
                  <a:gd name="connsiteY542" fmla="*/ 7120 h 10000"/>
                  <a:gd name="connsiteX543" fmla="*/ 8871 w 10746"/>
                  <a:gd name="connsiteY543" fmla="*/ 7120 h 10000"/>
                  <a:gd name="connsiteX544" fmla="*/ 8871 w 10746"/>
                  <a:gd name="connsiteY544" fmla="*/ 7120 h 10000"/>
                  <a:gd name="connsiteX545" fmla="*/ 8871 w 10746"/>
                  <a:gd name="connsiteY545" fmla="*/ 6991 h 10000"/>
                  <a:gd name="connsiteX546" fmla="*/ 8871 w 10746"/>
                  <a:gd name="connsiteY546" fmla="*/ 6966 h 10000"/>
                  <a:gd name="connsiteX547" fmla="*/ 8889 w 10746"/>
                  <a:gd name="connsiteY547" fmla="*/ 6940 h 10000"/>
                  <a:gd name="connsiteX548" fmla="*/ 8903 w 10746"/>
                  <a:gd name="connsiteY548" fmla="*/ 6906 h 10000"/>
                  <a:gd name="connsiteX549" fmla="*/ 8899 w 10746"/>
                  <a:gd name="connsiteY549" fmla="*/ 6880 h 10000"/>
                  <a:gd name="connsiteX550" fmla="*/ 8866 w 10746"/>
                  <a:gd name="connsiteY550" fmla="*/ 6846 h 10000"/>
                  <a:gd name="connsiteX551" fmla="*/ 8853 w 10746"/>
                  <a:gd name="connsiteY551" fmla="*/ 6846 h 10000"/>
                  <a:gd name="connsiteX552" fmla="*/ 8843 w 10746"/>
                  <a:gd name="connsiteY552" fmla="*/ 6880 h 10000"/>
                  <a:gd name="connsiteX553" fmla="*/ 8843 w 10746"/>
                  <a:gd name="connsiteY553" fmla="*/ 6897 h 10000"/>
                  <a:gd name="connsiteX554" fmla="*/ 8829 w 10746"/>
                  <a:gd name="connsiteY554" fmla="*/ 6880 h 10000"/>
                  <a:gd name="connsiteX555" fmla="*/ 8825 w 10746"/>
                  <a:gd name="connsiteY555" fmla="*/ 6872 h 10000"/>
                  <a:gd name="connsiteX556" fmla="*/ 8816 w 10746"/>
                  <a:gd name="connsiteY556" fmla="*/ 6846 h 10000"/>
                  <a:gd name="connsiteX557" fmla="*/ 8816 w 10746"/>
                  <a:gd name="connsiteY557" fmla="*/ 6803 h 10000"/>
                  <a:gd name="connsiteX558" fmla="*/ 8876 w 10746"/>
                  <a:gd name="connsiteY558" fmla="*/ 6598 h 10000"/>
                  <a:gd name="connsiteX559" fmla="*/ 8876 w 10746"/>
                  <a:gd name="connsiteY559" fmla="*/ 6573 h 10000"/>
                  <a:gd name="connsiteX560" fmla="*/ 8885 w 10746"/>
                  <a:gd name="connsiteY560" fmla="*/ 6556 h 10000"/>
                  <a:gd name="connsiteX561" fmla="*/ 8899 w 10746"/>
                  <a:gd name="connsiteY561" fmla="*/ 6573 h 10000"/>
                  <a:gd name="connsiteX562" fmla="*/ 8889 w 10746"/>
                  <a:gd name="connsiteY562" fmla="*/ 6556 h 10000"/>
                  <a:gd name="connsiteX563" fmla="*/ 8889 w 10746"/>
                  <a:gd name="connsiteY563" fmla="*/ 6530 h 10000"/>
                  <a:gd name="connsiteX564" fmla="*/ 8903 w 10746"/>
                  <a:gd name="connsiteY564" fmla="*/ 6521 h 10000"/>
                  <a:gd name="connsiteX565" fmla="*/ 8903 w 10746"/>
                  <a:gd name="connsiteY565" fmla="*/ 6504 h 10000"/>
                  <a:gd name="connsiteX566" fmla="*/ 8903 w 10746"/>
                  <a:gd name="connsiteY566" fmla="*/ 6487 h 10000"/>
                  <a:gd name="connsiteX567" fmla="*/ 8903 w 10746"/>
                  <a:gd name="connsiteY567" fmla="*/ 6462 h 10000"/>
                  <a:gd name="connsiteX568" fmla="*/ 8912 w 10746"/>
                  <a:gd name="connsiteY568" fmla="*/ 6419 h 10000"/>
                  <a:gd name="connsiteX569" fmla="*/ 8917 w 10746"/>
                  <a:gd name="connsiteY569" fmla="*/ 6393 h 10000"/>
                  <a:gd name="connsiteX570" fmla="*/ 8926 w 10746"/>
                  <a:gd name="connsiteY570" fmla="*/ 6385 h 10000"/>
                  <a:gd name="connsiteX571" fmla="*/ 8931 w 10746"/>
                  <a:gd name="connsiteY571" fmla="*/ 6385 h 10000"/>
                  <a:gd name="connsiteX572" fmla="*/ 8949 w 10746"/>
                  <a:gd name="connsiteY572" fmla="*/ 6359 h 10000"/>
                  <a:gd name="connsiteX573" fmla="*/ 8959 w 10746"/>
                  <a:gd name="connsiteY573" fmla="*/ 6368 h 10000"/>
                  <a:gd name="connsiteX574" fmla="*/ 8963 w 10746"/>
                  <a:gd name="connsiteY574" fmla="*/ 6385 h 10000"/>
                  <a:gd name="connsiteX575" fmla="*/ 8972 w 10746"/>
                  <a:gd name="connsiteY575" fmla="*/ 6359 h 10000"/>
                  <a:gd name="connsiteX576" fmla="*/ 8991 w 10746"/>
                  <a:gd name="connsiteY576" fmla="*/ 6350 h 10000"/>
                  <a:gd name="connsiteX577" fmla="*/ 9000 w 10746"/>
                  <a:gd name="connsiteY577" fmla="*/ 6368 h 10000"/>
                  <a:gd name="connsiteX578" fmla="*/ 9005 w 10746"/>
                  <a:gd name="connsiteY578" fmla="*/ 6393 h 10000"/>
                  <a:gd name="connsiteX579" fmla="*/ 9018 w 10746"/>
                  <a:gd name="connsiteY579" fmla="*/ 6393 h 10000"/>
                  <a:gd name="connsiteX580" fmla="*/ 9023 w 10746"/>
                  <a:gd name="connsiteY580" fmla="*/ 6359 h 10000"/>
                  <a:gd name="connsiteX581" fmla="*/ 9023 w 10746"/>
                  <a:gd name="connsiteY581" fmla="*/ 6333 h 10000"/>
                  <a:gd name="connsiteX582" fmla="*/ 9037 w 10746"/>
                  <a:gd name="connsiteY582" fmla="*/ 6308 h 10000"/>
                  <a:gd name="connsiteX583" fmla="*/ 9074 w 10746"/>
                  <a:gd name="connsiteY583" fmla="*/ 6274 h 10000"/>
                  <a:gd name="connsiteX584" fmla="*/ 9092 w 10746"/>
                  <a:gd name="connsiteY584" fmla="*/ 6222 h 10000"/>
                  <a:gd name="connsiteX585" fmla="*/ 9097 w 10746"/>
                  <a:gd name="connsiteY585" fmla="*/ 6231 h 10000"/>
                  <a:gd name="connsiteX586" fmla="*/ 9097 w 10746"/>
                  <a:gd name="connsiteY586" fmla="*/ 6248 h 10000"/>
                  <a:gd name="connsiteX587" fmla="*/ 9097 w 10746"/>
                  <a:gd name="connsiteY587" fmla="*/ 6274 h 10000"/>
                  <a:gd name="connsiteX588" fmla="*/ 9097 w 10746"/>
                  <a:gd name="connsiteY588" fmla="*/ 6308 h 10000"/>
                  <a:gd name="connsiteX589" fmla="*/ 9092 w 10746"/>
                  <a:gd name="connsiteY589" fmla="*/ 6368 h 10000"/>
                  <a:gd name="connsiteX590" fmla="*/ 9092 w 10746"/>
                  <a:gd name="connsiteY590" fmla="*/ 6385 h 10000"/>
                  <a:gd name="connsiteX591" fmla="*/ 9092 w 10746"/>
                  <a:gd name="connsiteY591" fmla="*/ 6393 h 10000"/>
                  <a:gd name="connsiteX592" fmla="*/ 9092 w 10746"/>
                  <a:gd name="connsiteY592" fmla="*/ 6393 h 10000"/>
                  <a:gd name="connsiteX593" fmla="*/ 9143 w 10746"/>
                  <a:gd name="connsiteY593" fmla="*/ 6299 h 10000"/>
                  <a:gd name="connsiteX594" fmla="*/ 9143 w 10746"/>
                  <a:gd name="connsiteY594" fmla="*/ 6282 h 10000"/>
                  <a:gd name="connsiteX595" fmla="*/ 9143 w 10746"/>
                  <a:gd name="connsiteY595" fmla="*/ 6256 h 10000"/>
                  <a:gd name="connsiteX596" fmla="*/ 9143 w 10746"/>
                  <a:gd name="connsiteY596" fmla="*/ 6256 h 10000"/>
                  <a:gd name="connsiteX597" fmla="*/ 9157 w 10746"/>
                  <a:gd name="connsiteY597" fmla="*/ 6274 h 10000"/>
                  <a:gd name="connsiteX598" fmla="*/ 9166 w 10746"/>
                  <a:gd name="connsiteY598" fmla="*/ 6248 h 10000"/>
                  <a:gd name="connsiteX599" fmla="*/ 9180 w 10746"/>
                  <a:gd name="connsiteY599" fmla="*/ 6248 h 10000"/>
                  <a:gd name="connsiteX600" fmla="*/ 9198 w 10746"/>
                  <a:gd name="connsiteY600" fmla="*/ 6222 h 10000"/>
                  <a:gd name="connsiteX601" fmla="*/ 9212 w 10746"/>
                  <a:gd name="connsiteY601" fmla="*/ 6222 h 10000"/>
                  <a:gd name="connsiteX602" fmla="*/ 9226 w 10746"/>
                  <a:gd name="connsiteY602" fmla="*/ 6197 h 10000"/>
                  <a:gd name="connsiteX603" fmla="*/ 9230 w 10746"/>
                  <a:gd name="connsiteY603" fmla="*/ 6214 h 10000"/>
                  <a:gd name="connsiteX604" fmla="*/ 9272 w 10746"/>
                  <a:gd name="connsiteY604" fmla="*/ 6214 h 10000"/>
                  <a:gd name="connsiteX605" fmla="*/ 9304 w 10746"/>
                  <a:gd name="connsiteY605" fmla="*/ 6231 h 10000"/>
                  <a:gd name="connsiteX606" fmla="*/ 9318 w 10746"/>
                  <a:gd name="connsiteY606" fmla="*/ 6248 h 10000"/>
                  <a:gd name="connsiteX607" fmla="*/ 9327 w 10746"/>
                  <a:gd name="connsiteY607" fmla="*/ 6282 h 10000"/>
                  <a:gd name="connsiteX608" fmla="*/ 9355 w 10746"/>
                  <a:gd name="connsiteY608" fmla="*/ 6350 h 10000"/>
                  <a:gd name="connsiteX609" fmla="*/ 9355 w 10746"/>
                  <a:gd name="connsiteY609" fmla="*/ 6359 h 10000"/>
                  <a:gd name="connsiteX610" fmla="*/ 9364 w 10746"/>
                  <a:gd name="connsiteY610" fmla="*/ 6368 h 10000"/>
                  <a:gd name="connsiteX611" fmla="*/ 9373 w 10746"/>
                  <a:gd name="connsiteY611" fmla="*/ 6359 h 10000"/>
                  <a:gd name="connsiteX612" fmla="*/ 9373 w 10746"/>
                  <a:gd name="connsiteY612" fmla="*/ 6325 h 10000"/>
                  <a:gd name="connsiteX613" fmla="*/ 9387 w 10746"/>
                  <a:gd name="connsiteY613" fmla="*/ 6256 h 10000"/>
                  <a:gd name="connsiteX614" fmla="*/ 9387 w 10746"/>
                  <a:gd name="connsiteY614" fmla="*/ 6248 h 10000"/>
                  <a:gd name="connsiteX615" fmla="*/ 9378 w 10746"/>
                  <a:gd name="connsiteY615" fmla="*/ 6248 h 10000"/>
                  <a:gd name="connsiteX616" fmla="*/ 9406 w 10746"/>
                  <a:gd name="connsiteY616" fmla="*/ 6222 h 10000"/>
                  <a:gd name="connsiteX617" fmla="*/ 9415 w 10746"/>
                  <a:gd name="connsiteY617" fmla="*/ 6222 h 10000"/>
                  <a:gd name="connsiteX618" fmla="*/ 9415 w 10746"/>
                  <a:gd name="connsiteY618" fmla="*/ 6197 h 10000"/>
                  <a:gd name="connsiteX619" fmla="*/ 9419 w 10746"/>
                  <a:gd name="connsiteY619" fmla="*/ 6214 h 10000"/>
                  <a:gd name="connsiteX620" fmla="*/ 9424 w 10746"/>
                  <a:gd name="connsiteY620" fmla="*/ 6214 h 10000"/>
                  <a:gd name="connsiteX621" fmla="*/ 9447 w 10746"/>
                  <a:gd name="connsiteY621" fmla="*/ 6171 h 10000"/>
                  <a:gd name="connsiteX622" fmla="*/ 9452 w 10746"/>
                  <a:gd name="connsiteY622" fmla="*/ 6171 h 10000"/>
                  <a:gd name="connsiteX623" fmla="*/ 9452 w 10746"/>
                  <a:gd name="connsiteY623" fmla="*/ 6162 h 10000"/>
                  <a:gd name="connsiteX624" fmla="*/ 9461 w 10746"/>
                  <a:gd name="connsiteY624" fmla="*/ 6137 h 10000"/>
                  <a:gd name="connsiteX625" fmla="*/ 9475 w 10746"/>
                  <a:gd name="connsiteY625" fmla="*/ 6137 h 10000"/>
                  <a:gd name="connsiteX626" fmla="*/ 9475 w 10746"/>
                  <a:gd name="connsiteY626" fmla="*/ 6137 h 10000"/>
                  <a:gd name="connsiteX627" fmla="*/ 9479 w 10746"/>
                  <a:gd name="connsiteY627" fmla="*/ 6120 h 10000"/>
                  <a:gd name="connsiteX628" fmla="*/ 9488 w 10746"/>
                  <a:gd name="connsiteY628" fmla="*/ 6120 h 10000"/>
                  <a:gd name="connsiteX629" fmla="*/ 9488 w 10746"/>
                  <a:gd name="connsiteY629" fmla="*/ 6111 h 10000"/>
                  <a:gd name="connsiteX630" fmla="*/ 9479 w 10746"/>
                  <a:gd name="connsiteY630" fmla="*/ 6103 h 10000"/>
                  <a:gd name="connsiteX631" fmla="*/ 9479 w 10746"/>
                  <a:gd name="connsiteY631" fmla="*/ 6085 h 10000"/>
                  <a:gd name="connsiteX632" fmla="*/ 9488 w 10746"/>
                  <a:gd name="connsiteY632" fmla="*/ 6103 h 10000"/>
                  <a:gd name="connsiteX633" fmla="*/ 9493 w 10746"/>
                  <a:gd name="connsiteY633" fmla="*/ 6111 h 10000"/>
                  <a:gd name="connsiteX634" fmla="*/ 9498 w 10746"/>
                  <a:gd name="connsiteY634" fmla="*/ 6103 h 10000"/>
                  <a:gd name="connsiteX635" fmla="*/ 9507 w 10746"/>
                  <a:gd name="connsiteY635" fmla="*/ 6077 h 10000"/>
                  <a:gd name="connsiteX636" fmla="*/ 9498 w 10746"/>
                  <a:gd name="connsiteY636" fmla="*/ 6060 h 10000"/>
                  <a:gd name="connsiteX637" fmla="*/ 9512 w 10746"/>
                  <a:gd name="connsiteY637" fmla="*/ 6060 h 10000"/>
                  <a:gd name="connsiteX638" fmla="*/ 9525 w 10746"/>
                  <a:gd name="connsiteY638" fmla="*/ 6034 h 10000"/>
                  <a:gd name="connsiteX639" fmla="*/ 9535 w 10746"/>
                  <a:gd name="connsiteY639" fmla="*/ 6034 h 10000"/>
                  <a:gd name="connsiteX640" fmla="*/ 9535 w 10746"/>
                  <a:gd name="connsiteY640" fmla="*/ 6026 h 10000"/>
                  <a:gd name="connsiteX641" fmla="*/ 9525 w 10746"/>
                  <a:gd name="connsiteY641" fmla="*/ 6009 h 10000"/>
                  <a:gd name="connsiteX642" fmla="*/ 9535 w 10746"/>
                  <a:gd name="connsiteY642" fmla="*/ 6000 h 10000"/>
                  <a:gd name="connsiteX643" fmla="*/ 9539 w 10746"/>
                  <a:gd name="connsiteY643" fmla="*/ 6009 h 10000"/>
                  <a:gd name="connsiteX644" fmla="*/ 9548 w 10746"/>
                  <a:gd name="connsiteY644" fmla="*/ 6009 h 10000"/>
                  <a:gd name="connsiteX645" fmla="*/ 9553 w 10746"/>
                  <a:gd name="connsiteY645" fmla="*/ 6000 h 10000"/>
                  <a:gd name="connsiteX646" fmla="*/ 9562 w 10746"/>
                  <a:gd name="connsiteY646" fmla="*/ 5983 h 10000"/>
                  <a:gd name="connsiteX647" fmla="*/ 9562 w 10746"/>
                  <a:gd name="connsiteY647" fmla="*/ 5974 h 10000"/>
                  <a:gd name="connsiteX648" fmla="*/ 9567 w 10746"/>
                  <a:gd name="connsiteY648" fmla="*/ 5974 h 10000"/>
                  <a:gd name="connsiteX649" fmla="*/ 9567 w 10746"/>
                  <a:gd name="connsiteY649" fmla="*/ 5966 h 10000"/>
                  <a:gd name="connsiteX650" fmla="*/ 9567 w 10746"/>
                  <a:gd name="connsiteY650" fmla="*/ 5940 h 10000"/>
                  <a:gd name="connsiteX651" fmla="*/ 9571 w 10746"/>
                  <a:gd name="connsiteY651" fmla="*/ 5915 h 10000"/>
                  <a:gd name="connsiteX652" fmla="*/ 9581 w 10746"/>
                  <a:gd name="connsiteY652" fmla="*/ 5923 h 10000"/>
                  <a:gd name="connsiteX653" fmla="*/ 9585 w 10746"/>
                  <a:gd name="connsiteY653" fmla="*/ 5940 h 10000"/>
                  <a:gd name="connsiteX654" fmla="*/ 9594 w 10746"/>
                  <a:gd name="connsiteY654" fmla="*/ 5949 h 10000"/>
                  <a:gd name="connsiteX655" fmla="*/ 9599 w 10746"/>
                  <a:gd name="connsiteY655" fmla="*/ 5940 h 10000"/>
                  <a:gd name="connsiteX656" fmla="*/ 9613 w 10746"/>
                  <a:gd name="connsiteY656" fmla="*/ 5915 h 10000"/>
                  <a:gd name="connsiteX657" fmla="*/ 9645 w 10746"/>
                  <a:gd name="connsiteY657" fmla="*/ 5889 h 10000"/>
                  <a:gd name="connsiteX658" fmla="*/ 9654 w 10746"/>
                  <a:gd name="connsiteY658" fmla="*/ 5872 h 10000"/>
                  <a:gd name="connsiteX659" fmla="*/ 9673 w 10746"/>
                  <a:gd name="connsiteY659" fmla="*/ 5863 h 10000"/>
                  <a:gd name="connsiteX660" fmla="*/ 9682 w 10746"/>
                  <a:gd name="connsiteY660" fmla="*/ 5838 h 10000"/>
                  <a:gd name="connsiteX661" fmla="*/ 9682 w 10746"/>
                  <a:gd name="connsiteY661" fmla="*/ 5829 h 10000"/>
                  <a:gd name="connsiteX662" fmla="*/ 9682 w 10746"/>
                  <a:gd name="connsiteY662" fmla="*/ 5812 h 10000"/>
                  <a:gd name="connsiteX663" fmla="*/ 9687 w 10746"/>
                  <a:gd name="connsiteY663" fmla="*/ 5812 h 10000"/>
                  <a:gd name="connsiteX664" fmla="*/ 9687 w 10746"/>
                  <a:gd name="connsiteY664" fmla="*/ 5829 h 10000"/>
                  <a:gd name="connsiteX665" fmla="*/ 9687 w 10746"/>
                  <a:gd name="connsiteY665" fmla="*/ 5829 h 10000"/>
                  <a:gd name="connsiteX666" fmla="*/ 9719 w 10746"/>
                  <a:gd name="connsiteY666" fmla="*/ 5803 h 10000"/>
                  <a:gd name="connsiteX667" fmla="*/ 9728 w 10746"/>
                  <a:gd name="connsiteY667" fmla="*/ 5803 h 10000"/>
                  <a:gd name="connsiteX668" fmla="*/ 9779 w 10746"/>
                  <a:gd name="connsiteY668" fmla="*/ 5726 h 10000"/>
                  <a:gd name="connsiteX669" fmla="*/ 9816 w 10746"/>
                  <a:gd name="connsiteY669" fmla="*/ 5709 h 10000"/>
                  <a:gd name="connsiteX670" fmla="*/ 9820 w 10746"/>
                  <a:gd name="connsiteY670" fmla="*/ 5701 h 10000"/>
                  <a:gd name="connsiteX671" fmla="*/ 9816 w 10746"/>
                  <a:gd name="connsiteY671" fmla="*/ 5692 h 10000"/>
                  <a:gd name="connsiteX672" fmla="*/ 9816 w 10746"/>
                  <a:gd name="connsiteY672" fmla="*/ 5692 h 10000"/>
                  <a:gd name="connsiteX673" fmla="*/ 9802 w 10746"/>
                  <a:gd name="connsiteY673" fmla="*/ 5624 h 10000"/>
                  <a:gd name="connsiteX674" fmla="*/ 9806 w 10746"/>
                  <a:gd name="connsiteY674" fmla="*/ 5624 h 10000"/>
                  <a:gd name="connsiteX675" fmla="*/ 9820 w 10746"/>
                  <a:gd name="connsiteY675" fmla="*/ 5675 h 10000"/>
                  <a:gd name="connsiteX676" fmla="*/ 9829 w 10746"/>
                  <a:gd name="connsiteY676" fmla="*/ 5675 h 10000"/>
                  <a:gd name="connsiteX677" fmla="*/ 9829 w 10746"/>
                  <a:gd name="connsiteY677" fmla="*/ 5692 h 10000"/>
                  <a:gd name="connsiteX678" fmla="*/ 9829 w 10746"/>
                  <a:gd name="connsiteY678" fmla="*/ 5701 h 10000"/>
                  <a:gd name="connsiteX679" fmla="*/ 9839 w 10746"/>
                  <a:gd name="connsiteY679" fmla="*/ 5701 h 10000"/>
                  <a:gd name="connsiteX680" fmla="*/ 9839 w 10746"/>
                  <a:gd name="connsiteY680" fmla="*/ 5692 h 10000"/>
                  <a:gd name="connsiteX681" fmla="*/ 9839 w 10746"/>
                  <a:gd name="connsiteY681" fmla="*/ 5675 h 10000"/>
                  <a:gd name="connsiteX682" fmla="*/ 9848 w 10746"/>
                  <a:gd name="connsiteY682" fmla="*/ 5675 h 10000"/>
                  <a:gd name="connsiteX683" fmla="*/ 9848 w 10746"/>
                  <a:gd name="connsiteY683" fmla="*/ 5692 h 10000"/>
                  <a:gd name="connsiteX684" fmla="*/ 9853 w 10746"/>
                  <a:gd name="connsiteY684" fmla="*/ 5701 h 10000"/>
                  <a:gd name="connsiteX685" fmla="*/ 9880 w 10746"/>
                  <a:gd name="connsiteY685" fmla="*/ 5709 h 10000"/>
                  <a:gd name="connsiteX686" fmla="*/ 9912 w 10746"/>
                  <a:gd name="connsiteY686" fmla="*/ 5752 h 10000"/>
                  <a:gd name="connsiteX687" fmla="*/ 9926 w 10746"/>
                  <a:gd name="connsiteY687" fmla="*/ 5761 h 10000"/>
                  <a:gd name="connsiteX688" fmla="*/ 9935 w 10746"/>
                  <a:gd name="connsiteY688" fmla="*/ 5761 h 10000"/>
                  <a:gd name="connsiteX689" fmla="*/ 9940 w 10746"/>
                  <a:gd name="connsiteY689" fmla="*/ 5735 h 10000"/>
                  <a:gd name="connsiteX690" fmla="*/ 9949 w 10746"/>
                  <a:gd name="connsiteY690" fmla="*/ 5735 h 10000"/>
                  <a:gd name="connsiteX691" fmla="*/ 9968 w 10746"/>
                  <a:gd name="connsiteY691" fmla="*/ 5692 h 10000"/>
                  <a:gd name="connsiteX692" fmla="*/ 9968 w 10746"/>
                  <a:gd name="connsiteY692" fmla="*/ 5650 h 10000"/>
                  <a:gd name="connsiteX693" fmla="*/ 9968 w 10746"/>
                  <a:gd name="connsiteY693" fmla="*/ 5624 h 10000"/>
                  <a:gd name="connsiteX694" fmla="*/ 9935 w 10746"/>
                  <a:gd name="connsiteY694" fmla="*/ 5598 h 10000"/>
                  <a:gd name="connsiteX695" fmla="*/ 9935 w 10746"/>
                  <a:gd name="connsiteY695" fmla="*/ 5590 h 10000"/>
                  <a:gd name="connsiteX696" fmla="*/ 9935 w 10746"/>
                  <a:gd name="connsiteY696" fmla="*/ 5573 h 10000"/>
                  <a:gd name="connsiteX697" fmla="*/ 9935 w 10746"/>
                  <a:gd name="connsiteY697" fmla="*/ 5573 h 10000"/>
                  <a:gd name="connsiteX698" fmla="*/ 9940 w 10746"/>
                  <a:gd name="connsiteY698" fmla="*/ 5573 h 10000"/>
                  <a:gd name="connsiteX699" fmla="*/ 9954 w 10746"/>
                  <a:gd name="connsiteY699" fmla="*/ 5573 h 10000"/>
                  <a:gd name="connsiteX700" fmla="*/ 9963 w 10746"/>
                  <a:gd name="connsiteY700" fmla="*/ 5564 h 10000"/>
                  <a:gd name="connsiteX701" fmla="*/ 9954 w 10746"/>
                  <a:gd name="connsiteY701" fmla="*/ 5530 h 10000"/>
                  <a:gd name="connsiteX702" fmla="*/ 9949 w 10746"/>
                  <a:gd name="connsiteY702" fmla="*/ 5530 h 10000"/>
                  <a:gd name="connsiteX703" fmla="*/ 9926 w 10746"/>
                  <a:gd name="connsiteY703" fmla="*/ 5479 h 10000"/>
                  <a:gd name="connsiteX704" fmla="*/ 9912 w 10746"/>
                  <a:gd name="connsiteY704" fmla="*/ 5325 h 10000"/>
                  <a:gd name="connsiteX705" fmla="*/ 9903 w 10746"/>
                  <a:gd name="connsiteY705" fmla="*/ 5342 h 10000"/>
                  <a:gd name="connsiteX706" fmla="*/ 9889 w 10746"/>
                  <a:gd name="connsiteY706" fmla="*/ 5316 h 10000"/>
                  <a:gd name="connsiteX707" fmla="*/ 9889 w 10746"/>
                  <a:gd name="connsiteY707" fmla="*/ 5291 h 10000"/>
                  <a:gd name="connsiteX708" fmla="*/ 9903 w 10746"/>
                  <a:gd name="connsiteY708" fmla="*/ 5291 h 10000"/>
                  <a:gd name="connsiteX709" fmla="*/ 9903 w 10746"/>
                  <a:gd name="connsiteY709" fmla="*/ 5291 h 10000"/>
                  <a:gd name="connsiteX710" fmla="*/ 9894 w 10746"/>
                  <a:gd name="connsiteY710" fmla="*/ 5214 h 10000"/>
                  <a:gd name="connsiteX711" fmla="*/ 9880 w 10746"/>
                  <a:gd name="connsiteY711" fmla="*/ 5239 h 10000"/>
                  <a:gd name="connsiteX712" fmla="*/ 9876 w 10746"/>
                  <a:gd name="connsiteY712" fmla="*/ 5256 h 10000"/>
                  <a:gd name="connsiteX713" fmla="*/ 9862 w 10746"/>
                  <a:gd name="connsiteY713" fmla="*/ 5239 h 10000"/>
                  <a:gd name="connsiteX714" fmla="*/ 9853 w 10746"/>
                  <a:gd name="connsiteY714" fmla="*/ 5214 h 10000"/>
                  <a:gd name="connsiteX715" fmla="*/ 9839 w 10746"/>
                  <a:gd name="connsiteY715" fmla="*/ 5214 h 10000"/>
                  <a:gd name="connsiteX716" fmla="*/ 9834 w 10746"/>
                  <a:gd name="connsiteY716" fmla="*/ 5188 h 10000"/>
                  <a:gd name="connsiteX717" fmla="*/ 9834 w 10746"/>
                  <a:gd name="connsiteY717" fmla="*/ 5103 h 10000"/>
                  <a:gd name="connsiteX718" fmla="*/ 9839 w 10746"/>
                  <a:gd name="connsiteY718" fmla="*/ 5094 h 10000"/>
                  <a:gd name="connsiteX719" fmla="*/ 9853 w 10746"/>
                  <a:gd name="connsiteY719" fmla="*/ 5103 h 10000"/>
                  <a:gd name="connsiteX720" fmla="*/ 9876 w 10746"/>
                  <a:gd name="connsiteY720" fmla="*/ 5128 h 10000"/>
                  <a:gd name="connsiteX721" fmla="*/ 9889 w 10746"/>
                  <a:gd name="connsiteY721" fmla="*/ 5103 h 10000"/>
                  <a:gd name="connsiteX722" fmla="*/ 9880 w 10746"/>
                  <a:gd name="connsiteY722" fmla="*/ 5120 h 10000"/>
                  <a:gd name="connsiteX723" fmla="*/ 9889 w 10746"/>
                  <a:gd name="connsiteY723" fmla="*/ 5128 h 10000"/>
                  <a:gd name="connsiteX724" fmla="*/ 9912 w 10746"/>
                  <a:gd name="connsiteY724" fmla="*/ 5128 h 10000"/>
                  <a:gd name="connsiteX725" fmla="*/ 9908 w 10746"/>
                  <a:gd name="connsiteY725" fmla="*/ 5145 h 10000"/>
                  <a:gd name="connsiteX726" fmla="*/ 9908 w 10746"/>
                  <a:gd name="connsiteY726" fmla="*/ 5154 h 10000"/>
                  <a:gd name="connsiteX727" fmla="*/ 9922 w 10746"/>
                  <a:gd name="connsiteY727" fmla="*/ 5128 h 10000"/>
                  <a:gd name="connsiteX728" fmla="*/ 9935 w 10746"/>
                  <a:gd name="connsiteY728" fmla="*/ 5103 h 10000"/>
                  <a:gd name="connsiteX729" fmla="*/ 9968 w 10746"/>
                  <a:gd name="connsiteY729" fmla="*/ 5077 h 10000"/>
                  <a:gd name="connsiteX730" fmla="*/ 10000 w 10746"/>
                  <a:gd name="connsiteY730" fmla="*/ 5017 h 10000"/>
                  <a:gd name="connsiteX731" fmla="*/ 10307 w 10746"/>
                  <a:gd name="connsiteY731" fmla="*/ 4899 h 10000"/>
                  <a:gd name="connsiteX732" fmla="*/ 10711 w 10746"/>
                  <a:gd name="connsiteY732" fmla="*/ 4746 h 10000"/>
                  <a:gd name="connsiteX733" fmla="*/ 10689 w 10746"/>
                  <a:gd name="connsiteY733" fmla="*/ 4467 h 10000"/>
                  <a:gd name="connsiteX734" fmla="*/ 10354 w 10746"/>
                  <a:gd name="connsiteY734" fmla="*/ 4302 h 10000"/>
                  <a:gd name="connsiteX735" fmla="*/ 9912 w 10746"/>
                  <a:gd name="connsiteY735" fmla="*/ 3675 h 10000"/>
                  <a:gd name="connsiteX736" fmla="*/ 9903 w 10746"/>
                  <a:gd name="connsiteY736" fmla="*/ 3667 h 10000"/>
                  <a:gd name="connsiteX737" fmla="*/ 9894 w 10746"/>
                  <a:gd name="connsiteY737" fmla="*/ 3641 h 10000"/>
                  <a:gd name="connsiteX738" fmla="*/ 9889 w 10746"/>
                  <a:gd name="connsiteY738" fmla="*/ 3650 h 10000"/>
                  <a:gd name="connsiteX739" fmla="*/ 9848 w 10746"/>
                  <a:gd name="connsiteY739" fmla="*/ 3598 h 10000"/>
                  <a:gd name="connsiteX740" fmla="*/ 9829 w 10746"/>
                  <a:gd name="connsiteY740" fmla="*/ 3581 h 10000"/>
                  <a:gd name="connsiteX741" fmla="*/ 9820 w 10746"/>
                  <a:gd name="connsiteY741" fmla="*/ 3581 h 10000"/>
                  <a:gd name="connsiteX742" fmla="*/ 9793 w 10746"/>
                  <a:gd name="connsiteY742" fmla="*/ 3556 h 10000"/>
                  <a:gd name="connsiteX743" fmla="*/ 9779 w 10746"/>
                  <a:gd name="connsiteY743" fmla="*/ 3556 h 10000"/>
                  <a:gd name="connsiteX744" fmla="*/ 9747 w 10746"/>
                  <a:gd name="connsiteY744" fmla="*/ 3487 h 10000"/>
                  <a:gd name="connsiteX745" fmla="*/ 9668 w 10746"/>
                  <a:gd name="connsiteY745" fmla="*/ 3479 h 10000"/>
                  <a:gd name="connsiteX746" fmla="*/ 9659 w 10746"/>
                  <a:gd name="connsiteY746" fmla="*/ 3487 h 10000"/>
                  <a:gd name="connsiteX747" fmla="*/ 9645 w 10746"/>
                  <a:gd name="connsiteY747" fmla="*/ 3504 h 10000"/>
                  <a:gd name="connsiteX748" fmla="*/ 9631 w 10746"/>
                  <a:gd name="connsiteY748" fmla="*/ 3487 h 10000"/>
                  <a:gd name="connsiteX749" fmla="*/ 9613 w 10746"/>
                  <a:gd name="connsiteY749" fmla="*/ 3479 h 10000"/>
                  <a:gd name="connsiteX750" fmla="*/ 9599 w 10746"/>
                  <a:gd name="connsiteY750" fmla="*/ 3479 h 10000"/>
                  <a:gd name="connsiteX751" fmla="*/ 9571 w 10746"/>
                  <a:gd name="connsiteY751" fmla="*/ 3479 h 10000"/>
                  <a:gd name="connsiteX752" fmla="*/ 9562 w 10746"/>
                  <a:gd name="connsiteY752" fmla="*/ 3487 h 10000"/>
                  <a:gd name="connsiteX753" fmla="*/ 9539 w 10746"/>
                  <a:gd name="connsiteY753" fmla="*/ 3487 h 10000"/>
                  <a:gd name="connsiteX754" fmla="*/ 9507 w 10746"/>
                  <a:gd name="connsiteY754" fmla="*/ 3453 h 10000"/>
                  <a:gd name="connsiteX755" fmla="*/ 9498 w 10746"/>
                  <a:gd name="connsiteY755" fmla="*/ 3453 h 10000"/>
                  <a:gd name="connsiteX756" fmla="*/ 9387 w 10746"/>
                  <a:gd name="connsiteY756" fmla="*/ 3419 h 10000"/>
                  <a:gd name="connsiteX757" fmla="*/ 9373 w 10746"/>
                  <a:gd name="connsiteY757" fmla="*/ 3427 h 10000"/>
                  <a:gd name="connsiteX758" fmla="*/ 9373 w 10746"/>
                  <a:gd name="connsiteY758" fmla="*/ 3462 h 10000"/>
                  <a:gd name="connsiteX759" fmla="*/ 9378 w 10746"/>
                  <a:gd name="connsiteY759" fmla="*/ 3479 h 10000"/>
                  <a:gd name="connsiteX760" fmla="*/ 9378 w 10746"/>
                  <a:gd name="connsiteY760" fmla="*/ 3530 h 10000"/>
                  <a:gd name="connsiteX761" fmla="*/ 9355 w 10746"/>
                  <a:gd name="connsiteY761" fmla="*/ 3538 h 10000"/>
                  <a:gd name="connsiteX762" fmla="*/ 9355 w 10746"/>
                  <a:gd name="connsiteY762" fmla="*/ 3581 h 10000"/>
                  <a:gd name="connsiteX763" fmla="*/ 9387 w 10746"/>
                  <a:gd name="connsiteY763" fmla="*/ 3590 h 10000"/>
                  <a:gd name="connsiteX764" fmla="*/ 9401 w 10746"/>
                  <a:gd name="connsiteY764" fmla="*/ 3667 h 10000"/>
                  <a:gd name="connsiteX765" fmla="*/ 9406 w 10746"/>
                  <a:gd name="connsiteY765" fmla="*/ 3675 h 10000"/>
                  <a:gd name="connsiteX766" fmla="*/ 9406 w 10746"/>
                  <a:gd name="connsiteY766" fmla="*/ 3701 h 10000"/>
                  <a:gd name="connsiteX767" fmla="*/ 9415 w 10746"/>
                  <a:gd name="connsiteY767" fmla="*/ 3752 h 10000"/>
                  <a:gd name="connsiteX768" fmla="*/ 9373 w 10746"/>
                  <a:gd name="connsiteY768" fmla="*/ 3838 h 10000"/>
                  <a:gd name="connsiteX769" fmla="*/ 9355 w 10746"/>
                  <a:gd name="connsiteY769" fmla="*/ 3863 h 10000"/>
                  <a:gd name="connsiteX770" fmla="*/ 9327 w 10746"/>
                  <a:gd name="connsiteY770" fmla="*/ 3863 h 10000"/>
                  <a:gd name="connsiteX771" fmla="*/ 9313 w 10746"/>
                  <a:gd name="connsiteY771" fmla="*/ 3846 h 10000"/>
                  <a:gd name="connsiteX772" fmla="*/ 9300 w 10746"/>
                  <a:gd name="connsiteY772" fmla="*/ 3778 h 10000"/>
                  <a:gd name="connsiteX773" fmla="*/ 9281 w 10746"/>
                  <a:gd name="connsiteY773" fmla="*/ 3752 h 10000"/>
                  <a:gd name="connsiteX774" fmla="*/ 9281 w 10746"/>
                  <a:gd name="connsiteY774" fmla="*/ 3735 h 10000"/>
                  <a:gd name="connsiteX775" fmla="*/ 9267 w 10746"/>
                  <a:gd name="connsiteY775" fmla="*/ 3726 h 10000"/>
                  <a:gd name="connsiteX776" fmla="*/ 9240 w 10746"/>
                  <a:gd name="connsiteY776" fmla="*/ 3726 h 10000"/>
                  <a:gd name="connsiteX777" fmla="*/ 9230 w 10746"/>
                  <a:gd name="connsiteY777" fmla="*/ 3718 h 10000"/>
                  <a:gd name="connsiteX778" fmla="*/ 9226 w 10746"/>
                  <a:gd name="connsiteY778" fmla="*/ 3590 h 10000"/>
                  <a:gd name="connsiteX779" fmla="*/ 9207 w 10746"/>
                  <a:gd name="connsiteY779" fmla="*/ 3581 h 10000"/>
                  <a:gd name="connsiteX780" fmla="*/ 9207 w 10746"/>
                  <a:gd name="connsiteY780" fmla="*/ 3556 h 10000"/>
                  <a:gd name="connsiteX781" fmla="*/ 9217 w 10746"/>
                  <a:gd name="connsiteY781" fmla="*/ 3538 h 10000"/>
                  <a:gd name="connsiteX782" fmla="*/ 9212 w 10746"/>
                  <a:gd name="connsiteY782" fmla="*/ 3538 h 10000"/>
                  <a:gd name="connsiteX783" fmla="*/ 9198 w 10746"/>
                  <a:gd name="connsiteY783" fmla="*/ 3513 h 10000"/>
                  <a:gd name="connsiteX784" fmla="*/ 9194 w 10746"/>
                  <a:gd name="connsiteY784" fmla="*/ 3530 h 10000"/>
                  <a:gd name="connsiteX785" fmla="*/ 9143 w 10746"/>
                  <a:gd name="connsiteY785" fmla="*/ 3615 h 10000"/>
                  <a:gd name="connsiteX786" fmla="*/ 9138 w 10746"/>
                  <a:gd name="connsiteY786" fmla="*/ 3615 h 10000"/>
                  <a:gd name="connsiteX787" fmla="*/ 9134 w 10746"/>
                  <a:gd name="connsiteY787" fmla="*/ 3615 h 10000"/>
                  <a:gd name="connsiteX788" fmla="*/ 9106 w 10746"/>
                  <a:gd name="connsiteY788" fmla="*/ 3615 h 10000"/>
                  <a:gd name="connsiteX789" fmla="*/ 9078 w 10746"/>
                  <a:gd name="connsiteY789" fmla="*/ 3590 h 10000"/>
                  <a:gd name="connsiteX790" fmla="*/ 9037 w 10746"/>
                  <a:gd name="connsiteY790" fmla="*/ 3581 h 10000"/>
                  <a:gd name="connsiteX791" fmla="*/ 9023 w 10746"/>
                  <a:gd name="connsiteY791" fmla="*/ 3590 h 10000"/>
                  <a:gd name="connsiteX792" fmla="*/ 9018 w 10746"/>
                  <a:gd name="connsiteY792" fmla="*/ 3590 h 10000"/>
                  <a:gd name="connsiteX793" fmla="*/ 9018 w 10746"/>
                  <a:gd name="connsiteY793" fmla="*/ 3590 h 10000"/>
                  <a:gd name="connsiteX794" fmla="*/ 8991 w 10746"/>
                  <a:gd name="connsiteY794" fmla="*/ 3590 h 10000"/>
                  <a:gd name="connsiteX795" fmla="*/ 8972 w 10746"/>
                  <a:gd name="connsiteY795" fmla="*/ 3581 h 10000"/>
                  <a:gd name="connsiteX796" fmla="*/ 8959 w 10746"/>
                  <a:gd name="connsiteY796" fmla="*/ 3513 h 10000"/>
                  <a:gd name="connsiteX797" fmla="*/ 8931 w 10746"/>
                  <a:gd name="connsiteY797" fmla="*/ 3538 h 10000"/>
                  <a:gd name="connsiteX798" fmla="*/ 8889 w 10746"/>
                  <a:gd name="connsiteY798" fmla="*/ 3538 h 10000"/>
                  <a:gd name="connsiteX799" fmla="*/ 8871 w 10746"/>
                  <a:gd name="connsiteY799" fmla="*/ 3556 h 10000"/>
                  <a:gd name="connsiteX800" fmla="*/ 8857 w 10746"/>
                  <a:gd name="connsiteY800" fmla="*/ 3538 h 10000"/>
                  <a:gd name="connsiteX801" fmla="*/ 8843 w 10746"/>
                  <a:gd name="connsiteY801" fmla="*/ 3538 h 10000"/>
                  <a:gd name="connsiteX802" fmla="*/ 8839 w 10746"/>
                  <a:gd name="connsiteY802" fmla="*/ 3556 h 10000"/>
                  <a:gd name="connsiteX803" fmla="*/ 8839 w 10746"/>
                  <a:gd name="connsiteY803" fmla="*/ 3581 h 10000"/>
                  <a:gd name="connsiteX804" fmla="*/ 8825 w 10746"/>
                  <a:gd name="connsiteY804" fmla="*/ 3564 h 10000"/>
                  <a:gd name="connsiteX805" fmla="*/ 8825 w 10746"/>
                  <a:gd name="connsiteY805" fmla="*/ 3615 h 10000"/>
                  <a:gd name="connsiteX806" fmla="*/ 8802 w 10746"/>
                  <a:gd name="connsiteY806" fmla="*/ 3598 h 10000"/>
                  <a:gd name="connsiteX807" fmla="*/ 8797 w 10746"/>
                  <a:gd name="connsiteY807" fmla="*/ 3641 h 10000"/>
                  <a:gd name="connsiteX808" fmla="*/ 8783 w 10746"/>
                  <a:gd name="connsiteY808" fmla="*/ 3667 h 10000"/>
                  <a:gd name="connsiteX809" fmla="*/ 8779 w 10746"/>
                  <a:gd name="connsiteY809" fmla="*/ 3650 h 10000"/>
                  <a:gd name="connsiteX810" fmla="*/ 8779 w 10746"/>
                  <a:gd name="connsiteY810" fmla="*/ 3615 h 10000"/>
                  <a:gd name="connsiteX811" fmla="*/ 8770 w 10746"/>
                  <a:gd name="connsiteY811" fmla="*/ 3590 h 10000"/>
                  <a:gd name="connsiteX812" fmla="*/ 8765 w 10746"/>
                  <a:gd name="connsiteY812" fmla="*/ 3598 h 10000"/>
                  <a:gd name="connsiteX813" fmla="*/ 8756 w 10746"/>
                  <a:gd name="connsiteY813" fmla="*/ 3590 h 10000"/>
                  <a:gd name="connsiteX814" fmla="*/ 8737 w 10746"/>
                  <a:gd name="connsiteY814" fmla="*/ 3556 h 10000"/>
                  <a:gd name="connsiteX815" fmla="*/ 8724 w 10746"/>
                  <a:gd name="connsiteY815" fmla="*/ 3538 h 10000"/>
                  <a:gd name="connsiteX816" fmla="*/ 8696 w 10746"/>
                  <a:gd name="connsiteY816" fmla="*/ 3538 h 10000"/>
                  <a:gd name="connsiteX817" fmla="*/ 8691 w 10746"/>
                  <a:gd name="connsiteY817" fmla="*/ 3513 h 10000"/>
                  <a:gd name="connsiteX818" fmla="*/ 8668 w 10746"/>
                  <a:gd name="connsiteY818" fmla="*/ 3504 h 10000"/>
                  <a:gd name="connsiteX819" fmla="*/ 8668 w 10746"/>
                  <a:gd name="connsiteY819" fmla="*/ 3487 h 10000"/>
                  <a:gd name="connsiteX820" fmla="*/ 8691 w 10746"/>
                  <a:gd name="connsiteY820" fmla="*/ 3350 h 10000"/>
                  <a:gd name="connsiteX821" fmla="*/ 8691 w 10746"/>
                  <a:gd name="connsiteY821" fmla="*/ 3291 h 10000"/>
                  <a:gd name="connsiteX822" fmla="*/ 8677 w 10746"/>
                  <a:gd name="connsiteY822" fmla="*/ 3239 h 10000"/>
                  <a:gd name="connsiteX823" fmla="*/ 8677 w 10746"/>
                  <a:gd name="connsiteY823" fmla="*/ 3231 h 10000"/>
                  <a:gd name="connsiteX824" fmla="*/ 8636 w 10746"/>
                  <a:gd name="connsiteY824" fmla="*/ 3128 h 10000"/>
                  <a:gd name="connsiteX825" fmla="*/ 8622 w 10746"/>
                  <a:gd name="connsiteY825" fmla="*/ 3120 h 10000"/>
                  <a:gd name="connsiteX826" fmla="*/ 8618 w 10746"/>
                  <a:gd name="connsiteY826" fmla="*/ 3094 h 10000"/>
                  <a:gd name="connsiteX827" fmla="*/ 8594 w 10746"/>
                  <a:gd name="connsiteY827" fmla="*/ 3077 h 10000"/>
                  <a:gd name="connsiteX828" fmla="*/ 8548 w 10746"/>
                  <a:gd name="connsiteY828" fmla="*/ 3077 h 10000"/>
                  <a:gd name="connsiteX829" fmla="*/ 8535 w 10746"/>
                  <a:gd name="connsiteY829" fmla="*/ 3068 h 10000"/>
                  <a:gd name="connsiteX830" fmla="*/ 8429 w 10746"/>
                  <a:gd name="connsiteY830" fmla="*/ 3077 h 10000"/>
                  <a:gd name="connsiteX831" fmla="*/ 8424 w 10746"/>
                  <a:gd name="connsiteY831" fmla="*/ 3077 h 10000"/>
                  <a:gd name="connsiteX832" fmla="*/ 8396 w 10746"/>
                  <a:gd name="connsiteY832" fmla="*/ 3077 h 10000"/>
                  <a:gd name="connsiteX833" fmla="*/ 8387 w 10746"/>
                  <a:gd name="connsiteY833" fmla="*/ 3094 h 10000"/>
                  <a:gd name="connsiteX834" fmla="*/ 8378 w 10746"/>
                  <a:gd name="connsiteY834" fmla="*/ 3094 h 10000"/>
                  <a:gd name="connsiteX835" fmla="*/ 8341 w 10746"/>
                  <a:gd name="connsiteY835" fmla="*/ 3077 h 10000"/>
                  <a:gd name="connsiteX836" fmla="*/ 8336 w 10746"/>
                  <a:gd name="connsiteY836" fmla="*/ 3077 h 10000"/>
                  <a:gd name="connsiteX837" fmla="*/ 8327 w 10746"/>
                  <a:gd name="connsiteY837" fmla="*/ 3103 h 10000"/>
                  <a:gd name="connsiteX838" fmla="*/ 8309 w 10746"/>
                  <a:gd name="connsiteY838" fmla="*/ 3120 h 10000"/>
                  <a:gd name="connsiteX839" fmla="*/ 8304 w 10746"/>
                  <a:gd name="connsiteY839" fmla="*/ 3103 h 10000"/>
                  <a:gd name="connsiteX840" fmla="*/ 8276 w 10746"/>
                  <a:gd name="connsiteY840" fmla="*/ 3103 h 10000"/>
                  <a:gd name="connsiteX841" fmla="*/ 8267 w 10746"/>
                  <a:gd name="connsiteY841" fmla="*/ 3120 h 10000"/>
                  <a:gd name="connsiteX842" fmla="*/ 8253 w 10746"/>
                  <a:gd name="connsiteY842" fmla="*/ 3103 h 10000"/>
                  <a:gd name="connsiteX843" fmla="*/ 8230 w 10746"/>
                  <a:gd name="connsiteY843" fmla="*/ 3128 h 10000"/>
                  <a:gd name="connsiteX844" fmla="*/ 8217 w 10746"/>
                  <a:gd name="connsiteY844" fmla="*/ 3128 h 10000"/>
                  <a:gd name="connsiteX845" fmla="*/ 8203 w 10746"/>
                  <a:gd name="connsiteY845" fmla="*/ 3154 h 10000"/>
                  <a:gd name="connsiteX846" fmla="*/ 8175 w 10746"/>
                  <a:gd name="connsiteY846" fmla="*/ 3094 h 10000"/>
                  <a:gd name="connsiteX847" fmla="*/ 8161 w 10746"/>
                  <a:gd name="connsiteY847" fmla="*/ 3094 h 10000"/>
                  <a:gd name="connsiteX848" fmla="*/ 8157 w 10746"/>
                  <a:gd name="connsiteY848" fmla="*/ 3077 h 10000"/>
                  <a:gd name="connsiteX849" fmla="*/ 8180 w 10746"/>
                  <a:gd name="connsiteY849" fmla="*/ 3068 h 10000"/>
                  <a:gd name="connsiteX850" fmla="*/ 8189 w 10746"/>
                  <a:gd name="connsiteY850" fmla="*/ 3043 h 10000"/>
                  <a:gd name="connsiteX851" fmla="*/ 8189 w 10746"/>
                  <a:gd name="connsiteY851" fmla="*/ 3017 h 10000"/>
                  <a:gd name="connsiteX852" fmla="*/ 8147 w 10746"/>
                  <a:gd name="connsiteY852" fmla="*/ 2940 h 10000"/>
                  <a:gd name="connsiteX853" fmla="*/ 8143 w 10746"/>
                  <a:gd name="connsiteY853" fmla="*/ 2915 h 10000"/>
                  <a:gd name="connsiteX854" fmla="*/ 8143 w 10746"/>
                  <a:gd name="connsiteY854" fmla="*/ 2906 h 10000"/>
                  <a:gd name="connsiteX855" fmla="*/ 8097 w 10746"/>
                  <a:gd name="connsiteY855" fmla="*/ 2932 h 10000"/>
                  <a:gd name="connsiteX856" fmla="*/ 8083 w 10746"/>
                  <a:gd name="connsiteY856" fmla="*/ 2932 h 10000"/>
                  <a:gd name="connsiteX857" fmla="*/ 8074 w 10746"/>
                  <a:gd name="connsiteY857" fmla="*/ 2906 h 10000"/>
                  <a:gd name="connsiteX858" fmla="*/ 8074 w 10746"/>
                  <a:gd name="connsiteY858" fmla="*/ 2897 h 10000"/>
                  <a:gd name="connsiteX859" fmla="*/ 8055 w 10746"/>
                  <a:gd name="connsiteY859" fmla="*/ 2872 h 10000"/>
                  <a:gd name="connsiteX860" fmla="*/ 8046 w 10746"/>
                  <a:gd name="connsiteY860" fmla="*/ 2829 h 10000"/>
                  <a:gd name="connsiteX861" fmla="*/ 8041 w 10746"/>
                  <a:gd name="connsiteY861" fmla="*/ 2829 h 10000"/>
                  <a:gd name="connsiteX862" fmla="*/ 8023 w 10746"/>
                  <a:gd name="connsiteY862" fmla="*/ 2803 h 10000"/>
                  <a:gd name="connsiteX863" fmla="*/ 8014 w 10746"/>
                  <a:gd name="connsiteY863" fmla="*/ 2829 h 10000"/>
                  <a:gd name="connsiteX864" fmla="*/ 8000 w 10746"/>
                  <a:gd name="connsiteY864" fmla="*/ 2829 h 10000"/>
                  <a:gd name="connsiteX865" fmla="*/ 7995 w 10746"/>
                  <a:gd name="connsiteY865" fmla="*/ 2821 h 10000"/>
                  <a:gd name="connsiteX866" fmla="*/ 7972 w 10746"/>
                  <a:gd name="connsiteY866" fmla="*/ 2803 h 10000"/>
                  <a:gd name="connsiteX867" fmla="*/ 7968 w 10746"/>
                  <a:gd name="connsiteY867" fmla="*/ 2821 h 10000"/>
                  <a:gd name="connsiteX868" fmla="*/ 7968 w 10746"/>
                  <a:gd name="connsiteY868" fmla="*/ 2803 h 10000"/>
                  <a:gd name="connsiteX869" fmla="*/ 7995 w 10746"/>
                  <a:gd name="connsiteY869" fmla="*/ 2735 h 10000"/>
                  <a:gd name="connsiteX870" fmla="*/ 8000 w 10746"/>
                  <a:gd name="connsiteY870" fmla="*/ 2735 h 10000"/>
                  <a:gd name="connsiteX871" fmla="*/ 8014 w 10746"/>
                  <a:gd name="connsiteY871" fmla="*/ 2744 h 10000"/>
                  <a:gd name="connsiteX872" fmla="*/ 8023 w 10746"/>
                  <a:gd name="connsiteY872" fmla="*/ 2769 h 10000"/>
                  <a:gd name="connsiteX873" fmla="*/ 8032 w 10746"/>
                  <a:gd name="connsiteY873" fmla="*/ 2744 h 10000"/>
                  <a:gd name="connsiteX874" fmla="*/ 8032 w 10746"/>
                  <a:gd name="connsiteY874" fmla="*/ 2709 h 10000"/>
                  <a:gd name="connsiteX875" fmla="*/ 8023 w 10746"/>
                  <a:gd name="connsiteY875" fmla="*/ 2632 h 10000"/>
                  <a:gd name="connsiteX876" fmla="*/ 7986 w 10746"/>
                  <a:gd name="connsiteY876" fmla="*/ 2581 h 10000"/>
                  <a:gd name="connsiteX877" fmla="*/ 7968 w 10746"/>
                  <a:gd name="connsiteY877" fmla="*/ 2581 h 10000"/>
                  <a:gd name="connsiteX878" fmla="*/ 7963 w 10746"/>
                  <a:gd name="connsiteY878" fmla="*/ 2556 h 10000"/>
                  <a:gd name="connsiteX879" fmla="*/ 7935 w 10746"/>
                  <a:gd name="connsiteY879" fmla="*/ 2547 h 10000"/>
                  <a:gd name="connsiteX880" fmla="*/ 7912 w 10746"/>
                  <a:gd name="connsiteY880" fmla="*/ 2547 h 10000"/>
                  <a:gd name="connsiteX881" fmla="*/ 7912 w 10746"/>
                  <a:gd name="connsiteY881" fmla="*/ 2556 h 10000"/>
                  <a:gd name="connsiteX882" fmla="*/ 7908 w 10746"/>
                  <a:gd name="connsiteY882" fmla="*/ 2547 h 10000"/>
                  <a:gd name="connsiteX883" fmla="*/ 7862 w 10746"/>
                  <a:gd name="connsiteY883" fmla="*/ 2547 h 10000"/>
                  <a:gd name="connsiteX884" fmla="*/ 7848 w 10746"/>
                  <a:gd name="connsiteY884" fmla="*/ 2556 h 10000"/>
                  <a:gd name="connsiteX885" fmla="*/ 7820 w 10746"/>
                  <a:gd name="connsiteY885" fmla="*/ 2547 h 10000"/>
                  <a:gd name="connsiteX886" fmla="*/ 7806 w 10746"/>
                  <a:gd name="connsiteY886" fmla="*/ 2513 h 10000"/>
                  <a:gd name="connsiteX887" fmla="*/ 7788 w 10746"/>
                  <a:gd name="connsiteY887" fmla="*/ 2513 h 10000"/>
                  <a:gd name="connsiteX888" fmla="*/ 7760 w 10746"/>
                  <a:gd name="connsiteY888" fmla="*/ 2470 h 10000"/>
                  <a:gd name="connsiteX889" fmla="*/ 7751 w 10746"/>
                  <a:gd name="connsiteY889" fmla="*/ 2470 h 10000"/>
                  <a:gd name="connsiteX890" fmla="*/ 7705 w 10746"/>
                  <a:gd name="connsiteY890" fmla="*/ 2462 h 10000"/>
                  <a:gd name="connsiteX891" fmla="*/ 7673 w 10746"/>
                  <a:gd name="connsiteY891" fmla="*/ 2419 h 10000"/>
                  <a:gd name="connsiteX892" fmla="*/ 7627 w 10746"/>
                  <a:gd name="connsiteY892" fmla="*/ 2419 h 10000"/>
                  <a:gd name="connsiteX893" fmla="*/ 7613 w 10746"/>
                  <a:gd name="connsiteY893" fmla="*/ 2410 h 10000"/>
                  <a:gd name="connsiteX894" fmla="*/ 7493 w 10746"/>
                  <a:gd name="connsiteY894" fmla="*/ 2393 h 10000"/>
                  <a:gd name="connsiteX895" fmla="*/ 7479 w 10746"/>
                  <a:gd name="connsiteY895" fmla="*/ 2385 h 10000"/>
                  <a:gd name="connsiteX896" fmla="*/ 7479 w 10746"/>
                  <a:gd name="connsiteY896" fmla="*/ 2376 h 10000"/>
                  <a:gd name="connsiteX897" fmla="*/ 7465 w 10746"/>
                  <a:gd name="connsiteY897" fmla="*/ 2359 h 10000"/>
                  <a:gd name="connsiteX898" fmla="*/ 7447 w 10746"/>
                  <a:gd name="connsiteY898" fmla="*/ 2350 h 10000"/>
                  <a:gd name="connsiteX899" fmla="*/ 7433 w 10746"/>
                  <a:gd name="connsiteY899" fmla="*/ 2376 h 10000"/>
                  <a:gd name="connsiteX900" fmla="*/ 7433 w 10746"/>
                  <a:gd name="connsiteY900" fmla="*/ 2385 h 10000"/>
                  <a:gd name="connsiteX901" fmla="*/ 7447 w 10746"/>
                  <a:gd name="connsiteY901" fmla="*/ 2410 h 10000"/>
                  <a:gd name="connsiteX902" fmla="*/ 7447 w 10746"/>
                  <a:gd name="connsiteY902" fmla="*/ 2436 h 10000"/>
                  <a:gd name="connsiteX903" fmla="*/ 7452 w 10746"/>
                  <a:gd name="connsiteY903" fmla="*/ 2462 h 10000"/>
                  <a:gd name="connsiteX904" fmla="*/ 7447 w 10746"/>
                  <a:gd name="connsiteY904" fmla="*/ 2470 h 10000"/>
                  <a:gd name="connsiteX905" fmla="*/ 7424 w 10746"/>
                  <a:gd name="connsiteY905" fmla="*/ 2513 h 10000"/>
                  <a:gd name="connsiteX906" fmla="*/ 7419 w 10746"/>
                  <a:gd name="connsiteY906" fmla="*/ 2556 h 10000"/>
                  <a:gd name="connsiteX907" fmla="*/ 7406 w 10746"/>
                  <a:gd name="connsiteY907" fmla="*/ 2624 h 10000"/>
                  <a:gd name="connsiteX908" fmla="*/ 7392 w 10746"/>
                  <a:gd name="connsiteY908" fmla="*/ 2624 h 10000"/>
                  <a:gd name="connsiteX909" fmla="*/ 7373 w 10746"/>
                  <a:gd name="connsiteY909" fmla="*/ 2650 h 10000"/>
                  <a:gd name="connsiteX910" fmla="*/ 7364 w 10746"/>
                  <a:gd name="connsiteY910" fmla="*/ 2684 h 10000"/>
                  <a:gd name="connsiteX911" fmla="*/ 7364 w 10746"/>
                  <a:gd name="connsiteY911" fmla="*/ 2692 h 10000"/>
                  <a:gd name="connsiteX912" fmla="*/ 7373 w 10746"/>
                  <a:gd name="connsiteY912" fmla="*/ 2718 h 10000"/>
                  <a:gd name="connsiteX913" fmla="*/ 7373 w 10746"/>
                  <a:gd name="connsiteY913" fmla="*/ 2744 h 10000"/>
                  <a:gd name="connsiteX914" fmla="*/ 7359 w 10746"/>
                  <a:gd name="connsiteY914" fmla="*/ 2744 h 10000"/>
                  <a:gd name="connsiteX915" fmla="*/ 7359 w 10746"/>
                  <a:gd name="connsiteY915" fmla="*/ 2795 h 10000"/>
                  <a:gd name="connsiteX916" fmla="*/ 7364 w 10746"/>
                  <a:gd name="connsiteY916" fmla="*/ 2821 h 10000"/>
                  <a:gd name="connsiteX917" fmla="*/ 7378 w 10746"/>
                  <a:gd name="connsiteY917" fmla="*/ 2846 h 10000"/>
                  <a:gd name="connsiteX918" fmla="*/ 7378 w 10746"/>
                  <a:gd name="connsiteY918" fmla="*/ 2855 h 10000"/>
                  <a:gd name="connsiteX919" fmla="*/ 7378 w 10746"/>
                  <a:gd name="connsiteY919" fmla="*/ 2880 h 10000"/>
                  <a:gd name="connsiteX920" fmla="*/ 7378 w 10746"/>
                  <a:gd name="connsiteY920" fmla="*/ 2906 h 10000"/>
                  <a:gd name="connsiteX921" fmla="*/ 7364 w 10746"/>
                  <a:gd name="connsiteY921" fmla="*/ 2906 h 10000"/>
                  <a:gd name="connsiteX922" fmla="*/ 7346 w 10746"/>
                  <a:gd name="connsiteY922" fmla="*/ 2880 h 10000"/>
                  <a:gd name="connsiteX923" fmla="*/ 7332 w 10746"/>
                  <a:gd name="connsiteY923" fmla="*/ 2915 h 10000"/>
                  <a:gd name="connsiteX924" fmla="*/ 7318 w 10746"/>
                  <a:gd name="connsiteY924" fmla="*/ 2906 h 10000"/>
                  <a:gd name="connsiteX925" fmla="*/ 7313 w 10746"/>
                  <a:gd name="connsiteY925" fmla="*/ 2915 h 10000"/>
                  <a:gd name="connsiteX926" fmla="*/ 7313 w 10746"/>
                  <a:gd name="connsiteY926" fmla="*/ 2906 h 10000"/>
                  <a:gd name="connsiteX927" fmla="*/ 7286 w 10746"/>
                  <a:gd name="connsiteY927" fmla="*/ 2940 h 10000"/>
                  <a:gd name="connsiteX928" fmla="*/ 7276 w 10746"/>
                  <a:gd name="connsiteY928" fmla="*/ 2966 h 10000"/>
                  <a:gd name="connsiteX929" fmla="*/ 7272 w 10746"/>
                  <a:gd name="connsiteY929" fmla="*/ 2983 h 10000"/>
                  <a:gd name="connsiteX930" fmla="*/ 7267 w 10746"/>
                  <a:gd name="connsiteY930" fmla="*/ 3009 h 10000"/>
                  <a:gd name="connsiteX931" fmla="*/ 7253 w 10746"/>
                  <a:gd name="connsiteY931" fmla="*/ 3009 h 10000"/>
                  <a:gd name="connsiteX932" fmla="*/ 7244 w 10746"/>
                  <a:gd name="connsiteY932" fmla="*/ 3017 h 10000"/>
                  <a:gd name="connsiteX933" fmla="*/ 7240 w 10746"/>
                  <a:gd name="connsiteY933" fmla="*/ 3009 h 10000"/>
                  <a:gd name="connsiteX934" fmla="*/ 7230 w 10746"/>
                  <a:gd name="connsiteY934" fmla="*/ 2991 h 10000"/>
                  <a:gd name="connsiteX935" fmla="*/ 7226 w 10746"/>
                  <a:gd name="connsiteY935" fmla="*/ 2983 h 10000"/>
                  <a:gd name="connsiteX936" fmla="*/ 7226 w 10746"/>
                  <a:gd name="connsiteY936" fmla="*/ 2966 h 10000"/>
                  <a:gd name="connsiteX937" fmla="*/ 7212 w 10746"/>
                  <a:gd name="connsiteY937" fmla="*/ 2957 h 10000"/>
                  <a:gd name="connsiteX938" fmla="*/ 7212 w 10746"/>
                  <a:gd name="connsiteY938" fmla="*/ 2932 h 10000"/>
                  <a:gd name="connsiteX939" fmla="*/ 7198 w 10746"/>
                  <a:gd name="connsiteY939" fmla="*/ 2915 h 10000"/>
                  <a:gd name="connsiteX940" fmla="*/ 7194 w 10746"/>
                  <a:gd name="connsiteY940" fmla="*/ 2915 h 10000"/>
                  <a:gd name="connsiteX941" fmla="*/ 7157 w 10746"/>
                  <a:gd name="connsiteY941" fmla="*/ 2880 h 10000"/>
                  <a:gd name="connsiteX942" fmla="*/ 7138 w 10746"/>
                  <a:gd name="connsiteY942" fmla="*/ 2880 h 10000"/>
                  <a:gd name="connsiteX943" fmla="*/ 7120 w 10746"/>
                  <a:gd name="connsiteY943" fmla="*/ 2872 h 10000"/>
                  <a:gd name="connsiteX944" fmla="*/ 7111 w 10746"/>
                  <a:gd name="connsiteY944" fmla="*/ 2846 h 10000"/>
                  <a:gd name="connsiteX945" fmla="*/ 7106 w 10746"/>
                  <a:gd name="connsiteY945" fmla="*/ 2846 h 10000"/>
                  <a:gd name="connsiteX946" fmla="*/ 7092 w 10746"/>
                  <a:gd name="connsiteY946" fmla="*/ 2829 h 10000"/>
                  <a:gd name="connsiteX947" fmla="*/ 7051 w 10746"/>
                  <a:gd name="connsiteY947" fmla="*/ 2829 h 10000"/>
                  <a:gd name="connsiteX948" fmla="*/ 7037 w 10746"/>
                  <a:gd name="connsiteY948" fmla="*/ 2880 h 10000"/>
                  <a:gd name="connsiteX949" fmla="*/ 7037 w 10746"/>
                  <a:gd name="connsiteY949" fmla="*/ 2906 h 10000"/>
                  <a:gd name="connsiteX950" fmla="*/ 7037 w 10746"/>
                  <a:gd name="connsiteY950" fmla="*/ 2932 h 10000"/>
                  <a:gd name="connsiteX951" fmla="*/ 7037 w 10746"/>
                  <a:gd name="connsiteY951" fmla="*/ 2940 h 10000"/>
                  <a:gd name="connsiteX952" fmla="*/ 7023 w 10746"/>
                  <a:gd name="connsiteY952" fmla="*/ 2906 h 10000"/>
                  <a:gd name="connsiteX953" fmla="*/ 7023 w 10746"/>
                  <a:gd name="connsiteY953" fmla="*/ 2915 h 10000"/>
                  <a:gd name="connsiteX954" fmla="*/ 6991 w 10746"/>
                  <a:gd name="connsiteY954" fmla="*/ 2906 h 10000"/>
                  <a:gd name="connsiteX955" fmla="*/ 6977 w 10746"/>
                  <a:gd name="connsiteY955" fmla="*/ 2915 h 10000"/>
                  <a:gd name="connsiteX956" fmla="*/ 6963 w 10746"/>
                  <a:gd name="connsiteY956" fmla="*/ 2915 h 10000"/>
                  <a:gd name="connsiteX957" fmla="*/ 6949 w 10746"/>
                  <a:gd name="connsiteY957" fmla="*/ 2872 h 10000"/>
                  <a:gd name="connsiteX958" fmla="*/ 6935 w 10746"/>
                  <a:gd name="connsiteY958" fmla="*/ 2855 h 10000"/>
                  <a:gd name="connsiteX959" fmla="*/ 6922 w 10746"/>
                  <a:gd name="connsiteY959" fmla="*/ 2803 h 10000"/>
                  <a:gd name="connsiteX960" fmla="*/ 6917 w 10746"/>
                  <a:gd name="connsiteY960" fmla="*/ 2786 h 10000"/>
                  <a:gd name="connsiteX961" fmla="*/ 6903 w 10746"/>
                  <a:gd name="connsiteY961" fmla="*/ 2709 h 10000"/>
                  <a:gd name="connsiteX962" fmla="*/ 6903 w 10746"/>
                  <a:gd name="connsiteY962" fmla="*/ 2692 h 10000"/>
                  <a:gd name="connsiteX963" fmla="*/ 6899 w 10746"/>
                  <a:gd name="connsiteY963" fmla="*/ 2709 h 10000"/>
                  <a:gd name="connsiteX964" fmla="*/ 6857 w 10746"/>
                  <a:gd name="connsiteY964" fmla="*/ 2872 h 10000"/>
                  <a:gd name="connsiteX965" fmla="*/ 6857 w 10746"/>
                  <a:gd name="connsiteY965" fmla="*/ 3009 h 10000"/>
                  <a:gd name="connsiteX966" fmla="*/ 6848 w 10746"/>
                  <a:gd name="connsiteY966" fmla="*/ 3017 h 10000"/>
                  <a:gd name="connsiteX967" fmla="*/ 6839 w 10746"/>
                  <a:gd name="connsiteY967" fmla="*/ 3068 h 10000"/>
                  <a:gd name="connsiteX968" fmla="*/ 6829 w 10746"/>
                  <a:gd name="connsiteY968" fmla="*/ 3077 h 10000"/>
                  <a:gd name="connsiteX969" fmla="*/ 6829 w 10746"/>
                  <a:gd name="connsiteY969" fmla="*/ 3128 h 10000"/>
                  <a:gd name="connsiteX970" fmla="*/ 6816 w 10746"/>
                  <a:gd name="connsiteY970" fmla="*/ 3154 h 10000"/>
                  <a:gd name="connsiteX971" fmla="*/ 6811 w 10746"/>
                  <a:gd name="connsiteY971" fmla="*/ 3179 h 10000"/>
                  <a:gd name="connsiteX972" fmla="*/ 6797 w 10746"/>
                  <a:gd name="connsiteY972" fmla="*/ 3171 h 10000"/>
                  <a:gd name="connsiteX973" fmla="*/ 6783 w 10746"/>
                  <a:gd name="connsiteY973" fmla="*/ 3103 h 10000"/>
                  <a:gd name="connsiteX974" fmla="*/ 6779 w 10746"/>
                  <a:gd name="connsiteY974" fmla="*/ 3094 h 10000"/>
                  <a:gd name="connsiteX975" fmla="*/ 6779 w 10746"/>
                  <a:gd name="connsiteY975" fmla="*/ 3120 h 10000"/>
                  <a:gd name="connsiteX976" fmla="*/ 6770 w 10746"/>
                  <a:gd name="connsiteY976" fmla="*/ 3128 h 10000"/>
                  <a:gd name="connsiteX977" fmla="*/ 6765 w 10746"/>
                  <a:gd name="connsiteY977" fmla="*/ 3103 h 10000"/>
                  <a:gd name="connsiteX978" fmla="*/ 6756 w 10746"/>
                  <a:gd name="connsiteY978" fmla="*/ 3103 h 10000"/>
                  <a:gd name="connsiteX979" fmla="*/ 6742 w 10746"/>
                  <a:gd name="connsiteY979" fmla="*/ 3103 h 10000"/>
                  <a:gd name="connsiteX980" fmla="*/ 6737 w 10746"/>
                  <a:gd name="connsiteY980" fmla="*/ 3077 h 10000"/>
                  <a:gd name="connsiteX981" fmla="*/ 6737 w 10746"/>
                  <a:gd name="connsiteY981" fmla="*/ 3068 h 10000"/>
                  <a:gd name="connsiteX982" fmla="*/ 6728 w 10746"/>
                  <a:gd name="connsiteY982" fmla="*/ 3043 h 10000"/>
                  <a:gd name="connsiteX983" fmla="*/ 6724 w 10746"/>
                  <a:gd name="connsiteY983" fmla="*/ 3051 h 10000"/>
                  <a:gd name="connsiteX984" fmla="*/ 6714 w 10746"/>
                  <a:gd name="connsiteY984" fmla="*/ 3043 h 10000"/>
                  <a:gd name="connsiteX985" fmla="*/ 6710 w 10746"/>
                  <a:gd name="connsiteY985" fmla="*/ 3034 h 10000"/>
                  <a:gd name="connsiteX986" fmla="*/ 6705 w 10746"/>
                  <a:gd name="connsiteY986" fmla="*/ 2983 h 10000"/>
                  <a:gd name="connsiteX987" fmla="*/ 6696 w 10746"/>
                  <a:gd name="connsiteY987" fmla="*/ 2966 h 10000"/>
                  <a:gd name="connsiteX988" fmla="*/ 6691 w 10746"/>
                  <a:gd name="connsiteY988" fmla="*/ 2983 h 10000"/>
                  <a:gd name="connsiteX989" fmla="*/ 6677 w 10746"/>
                  <a:gd name="connsiteY989" fmla="*/ 2897 h 10000"/>
                  <a:gd name="connsiteX990" fmla="*/ 6677 w 10746"/>
                  <a:gd name="connsiteY990" fmla="*/ 2897 h 10000"/>
                  <a:gd name="connsiteX991" fmla="*/ 6677 w 10746"/>
                  <a:gd name="connsiteY991" fmla="*/ 2872 h 10000"/>
                  <a:gd name="connsiteX992" fmla="*/ 6668 w 10746"/>
                  <a:gd name="connsiteY992" fmla="*/ 2821 h 10000"/>
                  <a:gd name="connsiteX993" fmla="*/ 6664 w 10746"/>
                  <a:gd name="connsiteY993" fmla="*/ 2829 h 10000"/>
                  <a:gd name="connsiteX994" fmla="*/ 6654 w 10746"/>
                  <a:gd name="connsiteY994" fmla="*/ 2846 h 10000"/>
                  <a:gd name="connsiteX995" fmla="*/ 6650 w 10746"/>
                  <a:gd name="connsiteY995" fmla="*/ 2829 h 10000"/>
                  <a:gd name="connsiteX996" fmla="*/ 6650 w 10746"/>
                  <a:gd name="connsiteY996" fmla="*/ 2803 h 10000"/>
                  <a:gd name="connsiteX997" fmla="*/ 6650 w 10746"/>
                  <a:gd name="connsiteY997" fmla="*/ 2795 h 10000"/>
                  <a:gd name="connsiteX998" fmla="*/ 6641 w 10746"/>
                  <a:gd name="connsiteY998" fmla="*/ 2786 h 10000"/>
                  <a:gd name="connsiteX999" fmla="*/ 6636 w 10746"/>
                  <a:gd name="connsiteY999" fmla="*/ 2735 h 10000"/>
                  <a:gd name="connsiteX1000" fmla="*/ 6664 w 10746"/>
                  <a:gd name="connsiteY1000" fmla="*/ 2667 h 10000"/>
                  <a:gd name="connsiteX1001" fmla="*/ 6668 w 10746"/>
                  <a:gd name="connsiteY1001" fmla="*/ 2684 h 10000"/>
                  <a:gd name="connsiteX1002" fmla="*/ 6677 w 10746"/>
                  <a:gd name="connsiteY1002" fmla="*/ 2667 h 10000"/>
                  <a:gd name="connsiteX1003" fmla="*/ 6668 w 10746"/>
                  <a:gd name="connsiteY1003" fmla="*/ 2667 h 10000"/>
                  <a:gd name="connsiteX1004" fmla="*/ 6668 w 10746"/>
                  <a:gd name="connsiteY1004" fmla="*/ 2650 h 10000"/>
                  <a:gd name="connsiteX1005" fmla="*/ 6682 w 10746"/>
                  <a:gd name="connsiteY1005" fmla="*/ 2650 h 10000"/>
                  <a:gd name="connsiteX1006" fmla="*/ 6691 w 10746"/>
                  <a:gd name="connsiteY1006" fmla="*/ 2624 h 10000"/>
                  <a:gd name="connsiteX1007" fmla="*/ 6682 w 10746"/>
                  <a:gd name="connsiteY1007" fmla="*/ 2632 h 10000"/>
                  <a:gd name="connsiteX1008" fmla="*/ 6682 w 10746"/>
                  <a:gd name="connsiteY1008" fmla="*/ 2624 h 10000"/>
                  <a:gd name="connsiteX1009" fmla="*/ 6691 w 10746"/>
                  <a:gd name="connsiteY1009" fmla="*/ 2607 h 10000"/>
                  <a:gd name="connsiteX1010" fmla="*/ 6691 w 10746"/>
                  <a:gd name="connsiteY1010" fmla="*/ 2598 h 10000"/>
                  <a:gd name="connsiteX1011" fmla="*/ 6691 w 10746"/>
                  <a:gd name="connsiteY1011" fmla="*/ 2581 h 10000"/>
                  <a:gd name="connsiteX1012" fmla="*/ 6696 w 10746"/>
                  <a:gd name="connsiteY1012" fmla="*/ 2530 h 10000"/>
                  <a:gd name="connsiteX1013" fmla="*/ 6677 w 10746"/>
                  <a:gd name="connsiteY1013" fmla="*/ 2513 h 10000"/>
                  <a:gd name="connsiteX1014" fmla="*/ 6677 w 10746"/>
                  <a:gd name="connsiteY1014" fmla="*/ 2496 h 10000"/>
                  <a:gd name="connsiteX1015" fmla="*/ 6682 w 10746"/>
                  <a:gd name="connsiteY1015" fmla="*/ 2470 h 10000"/>
                  <a:gd name="connsiteX1016" fmla="*/ 6668 w 10746"/>
                  <a:gd name="connsiteY1016" fmla="*/ 2462 h 10000"/>
                  <a:gd name="connsiteX1017" fmla="*/ 6677 w 10746"/>
                  <a:gd name="connsiteY1017" fmla="*/ 2436 h 10000"/>
                  <a:gd name="connsiteX1018" fmla="*/ 6682 w 10746"/>
                  <a:gd name="connsiteY1018" fmla="*/ 2419 h 10000"/>
                  <a:gd name="connsiteX1019" fmla="*/ 6682 w 10746"/>
                  <a:gd name="connsiteY1019" fmla="*/ 2393 h 10000"/>
                  <a:gd name="connsiteX1020" fmla="*/ 6682 w 10746"/>
                  <a:gd name="connsiteY1020" fmla="*/ 2385 h 10000"/>
                  <a:gd name="connsiteX1021" fmla="*/ 6682 w 10746"/>
                  <a:gd name="connsiteY1021" fmla="*/ 2385 h 10000"/>
                  <a:gd name="connsiteX1022" fmla="*/ 6677 w 10746"/>
                  <a:gd name="connsiteY1022" fmla="*/ 2376 h 10000"/>
                  <a:gd name="connsiteX1023" fmla="*/ 6682 w 10746"/>
                  <a:gd name="connsiteY1023" fmla="*/ 2359 h 10000"/>
                  <a:gd name="connsiteX1024" fmla="*/ 6677 w 10746"/>
                  <a:gd name="connsiteY1024" fmla="*/ 2333 h 10000"/>
                  <a:gd name="connsiteX1025" fmla="*/ 6691 w 10746"/>
                  <a:gd name="connsiteY1025" fmla="*/ 2333 h 10000"/>
                  <a:gd name="connsiteX1026" fmla="*/ 6691 w 10746"/>
                  <a:gd name="connsiteY1026" fmla="*/ 2325 h 10000"/>
                  <a:gd name="connsiteX1027" fmla="*/ 6691 w 10746"/>
                  <a:gd name="connsiteY1027" fmla="*/ 2308 h 10000"/>
                  <a:gd name="connsiteX1028" fmla="*/ 6691 w 10746"/>
                  <a:gd name="connsiteY1028" fmla="*/ 2299 h 10000"/>
                  <a:gd name="connsiteX1029" fmla="*/ 6691 w 10746"/>
                  <a:gd name="connsiteY1029" fmla="*/ 2282 h 10000"/>
                  <a:gd name="connsiteX1030" fmla="*/ 6691 w 10746"/>
                  <a:gd name="connsiteY1030" fmla="*/ 2274 h 10000"/>
                  <a:gd name="connsiteX1031" fmla="*/ 6668 w 10746"/>
                  <a:gd name="connsiteY1031" fmla="*/ 2248 h 10000"/>
                  <a:gd name="connsiteX1032" fmla="*/ 6664 w 10746"/>
                  <a:gd name="connsiteY1032" fmla="*/ 2222 h 10000"/>
                  <a:gd name="connsiteX1033" fmla="*/ 6654 w 10746"/>
                  <a:gd name="connsiteY1033" fmla="*/ 2214 h 10000"/>
                  <a:gd name="connsiteX1034" fmla="*/ 6654 w 10746"/>
                  <a:gd name="connsiteY1034" fmla="*/ 2188 h 10000"/>
                  <a:gd name="connsiteX1035" fmla="*/ 6622 w 10746"/>
                  <a:gd name="connsiteY1035" fmla="*/ 2162 h 10000"/>
                  <a:gd name="connsiteX1036" fmla="*/ 6631 w 10746"/>
                  <a:gd name="connsiteY1036" fmla="*/ 2145 h 10000"/>
                  <a:gd name="connsiteX1037" fmla="*/ 6622 w 10746"/>
                  <a:gd name="connsiteY1037" fmla="*/ 2120 h 10000"/>
                  <a:gd name="connsiteX1038" fmla="*/ 6608 w 10746"/>
                  <a:gd name="connsiteY1038" fmla="*/ 2120 h 10000"/>
                  <a:gd name="connsiteX1039" fmla="*/ 6604 w 10746"/>
                  <a:gd name="connsiteY1039" fmla="*/ 2111 h 10000"/>
                  <a:gd name="connsiteX1040" fmla="*/ 6608 w 10746"/>
                  <a:gd name="connsiteY1040" fmla="*/ 2111 h 10000"/>
                  <a:gd name="connsiteX1041" fmla="*/ 6604 w 10746"/>
                  <a:gd name="connsiteY1041" fmla="*/ 2085 h 10000"/>
                  <a:gd name="connsiteX1042" fmla="*/ 6581 w 10746"/>
                  <a:gd name="connsiteY1042" fmla="*/ 2077 h 10000"/>
                  <a:gd name="connsiteX1043" fmla="*/ 6571 w 10746"/>
                  <a:gd name="connsiteY1043" fmla="*/ 2085 h 10000"/>
                  <a:gd name="connsiteX1044" fmla="*/ 6548 w 10746"/>
                  <a:gd name="connsiteY1044" fmla="*/ 2077 h 10000"/>
                  <a:gd name="connsiteX1045" fmla="*/ 6530 w 10746"/>
                  <a:gd name="connsiteY1045" fmla="*/ 2060 h 10000"/>
                  <a:gd name="connsiteX1046" fmla="*/ 6521 w 10746"/>
                  <a:gd name="connsiteY1046" fmla="*/ 2060 h 10000"/>
                  <a:gd name="connsiteX1047" fmla="*/ 6521 w 10746"/>
                  <a:gd name="connsiteY1047" fmla="*/ 2085 h 10000"/>
                  <a:gd name="connsiteX1048" fmla="*/ 6516 w 10746"/>
                  <a:gd name="connsiteY1048" fmla="*/ 2085 h 10000"/>
                  <a:gd name="connsiteX1049" fmla="*/ 6502 w 10746"/>
                  <a:gd name="connsiteY1049" fmla="*/ 2111 h 10000"/>
                  <a:gd name="connsiteX1050" fmla="*/ 6498 w 10746"/>
                  <a:gd name="connsiteY1050" fmla="*/ 2111 h 10000"/>
                  <a:gd name="connsiteX1051" fmla="*/ 6498 w 10746"/>
                  <a:gd name="connsiteY1051" fmla="*/ 2103 h 10000"/>
                  <a:gd name="connsiteX1052" fmla="*/ 6475 w 10746"/>
                  <a:gd name="connsiteY1052" fmla="*/ 2051 h 10000"/>
                  <a:gd name="connsiteX1053" fmla="*/ 6470 w 10746"/>
                  <a:gd name="connsiteY1053" fmla="*/ 2060 h 10000"/>
                  <a:gd name="connsiteX1054" fmla="*/ 6456 w 10746"/>
                  <a:gd name="connsiteY1054" fmla="*/ 2051 h 10000"/>
                  <a:gd name="connsiteX1055" fmla="*/ 6447 w 10746"/>
                  <a:gd name="connsiteY1055" fmla="*/ 2051 h 10000"/>
                  <a:gd name="connsiteX1056" fmla="*/ 6433 w 10746"/>
                  <a:gd name="connsiteY1056" fmla="*/ 2026 h 10000"/>
                  <a:gd name="connsiteX1057" fmla="*/ 6433 w 10746"/>
                  <a:gd name="connsiteY1057" fmla="*/ 2034 h 10000"/>
                  <a:gd name="connsiteX1058" fmla="*/ 6429 w 10746"/>
                  <a:gd name="connsiteY1058" fmla="*/ 2026 h 10000"/>
                  <a:gd name="connsiteX1059" fmla="*/ 6424 w 10746"/>
                  <a:gd name="connsiteY1059" fmla="*/ 2034 h 10000"/>
                  <a:gd name="connsiteX1060" fmla="*/ 6410 w 10746"/>
                  <a:gd name="connsiteY1060" fmla="*/ 2026 h 10000"/>
                  <a:gd name="connsiteX1061" fmla="*/ 6410 w 10746"/>
                  <a:gd name="connsiteY1061" fmla="*/ 1991 h 10000"/>
                  <a:gd name="connsiteX1062" fmla="*/ 6401 w 10746"/>
                  <a:gd name="connsiteY1062" fmla="*/ 1991 h 10000"/>
                  <a:gd name="connsiteX1063" fmla="*/ 6396 w 10746"/>
                  <a:gd name="connsiteY1063" fmla="*/ 2000 h 10000"/>
                  <a:gd name="connsiteX1064" fmla="*/ 6382 w 10746"/>
                  <a:gd name="connsiteY1064" fmla="*/ 1966 h 10000"/>
                  <a:gd name="connsiteX1065" fmla="*/ 6373 w 10746"/>
                  <a:gd name="connsiteY1065" fmla="*/ 1974 h 10000"/>
                  <a:gd name="connsiteX1066" fmla="*/ 6369 w 10746"/>
                  <a:gd name="connsiteY1066" fmla="*/ 1966 h 10000"/>
                  <a:gd name="connsiteX1067" fmla="*/ 6341 w 10746"/>
                  <a:gd name="connsiteY1067" fmla="*/ 1949 h 10000"/>
                  <a:gd name="connsiteX1068" fmla="*/ 6327 w 10746"/>
                  <a:gd name="connsiteY1068" fmla="*/ 1923 h 10000"/>
                  <a:gd name="connsiteX1069" fmla="*/ 6323 w 10746"/>
                  <a:gd name="connsiteY1069" fmla="*/ 1923 h 10000"/>
                  <a:gd name="connsiteX1070" fmla="*/ 6323 w 10746"/>
                  <a:gd name="connsiteY1070" fmla="*/ 1966 h 10000"/>
                  <a:gd name="connsiteX1071" fmla="*/ 6323 w 10746"/>
                  <a:gd name="connsiteY1071" fmla="*/ 1991 h 10000"/>
                  <a:gd name="connsiteX1072" fmla="*/ 6313 w 10746"/>
                  <a:gd name="connsiteY1072" fmla="*/ 1991 h 10000"/>
                  <a:gd name="connsiteX1073" fmla="*/ 6300 w 10746"/>
                  <a:gd name="connsiteY1073" fmla="*/ 1991 h 10000"/>
                  <a:gd name="connsiteX1074" fmla="*/ 6290 w 10746"/>
                  <a:gd name="connsiteY1074" fmla="*/ 1949 h 10000"/>
                  <a:gd name="connsiteX1075" fmla="*/ 6276 w 10746"/>
                  <a:gd name="connsiteY1075" fmla="*/ 2103 h 10000"/>
                  <a:gd name="connsiteX1076" fmla="*/ 6281 w 10746"/>
                  <a:gd name="connsiteY1076" fmla="*/ 2103 h 10000"/>
                  <a:gd name="connsiteX1077" fmla="*/ 6276 w 10746"/>
                  <a:gd name="connsiteY1077" fmla="*/ 2111 h 10000"/>
                  <a:gd name="connsiteX1078" fmla="*/ 6276 w 10746"/>
                  <a:gd name="connsiteY1078" fmla="*/ 2120 h 10000"/>
                  <a:gd name="connsiteX1079" fmla="*/ 6295 w 10746"/>
                  <a:gd name="connsiteY1079" fmla="*/ 2239 h 10000"/>
                  <a:gd name="connsiteX1080" fmla="*/ 6290 w 10746"/>
                  <a:gd name="connsiteY1080" fmla="*/ 2248 h 10000"/>
                  <a:gd name="connsiteX1081" fmla="*/ 6281 w 10746"/>
                  <a:gd name="connsiteY1081" fmla="*/ 2274 h 10000"/>
                  <a:gd name="connsiteX1082" fmla="*/ 6249 w 10746"/>
                  <a:gd name="connsiteY1082" fmla="*/ 2274 h 10000"/>
                  <a:gd name="connsiteX1083" fmla="*/ 6226 w 10746"/>
                  <a:gd name="connsiteY1083" fmla="*/ 2308 h 10000"/>
                  <a:gd name="connsiteX1084" fmla="*/ 6221 w 10746"/>
                  <a:gd name="connsiteY1084" fmla="*/ 2299 h 10000"/>
                  <a:gd name="connsiteX1085" fmla="*/ 6221 w 10746"/>
                  <a:gd name="connsiteY1085" fmla="*/ 2308 h 10000"/>
                  <a:gd name="connsiteX1086" fmla="*/ 6217 w 10746"/>
                  <a:gd name="connsiteY1086" fmla="*/ 2299 h 10000"/>
                  <a:gd name="connsiteX1087" fmla="*/ 6194 w 10746"/>
                  <a:gd name="connsiteY1087" fmla="*/ 2308 h 10000"/>
                  <a:gd name="connsiteX1088" fmla="*/ 6180 w 10746"/>
                  <a:gd name="connsiteY1088" fmla="*/ 2299 h 10000"/>
                  <a:gd name="connsiteX1089" fmla="*/ 6143 w 10746"/>
                  <a:gd name="connsiteY1089" fmla="*/ 2308 h 10000"/>
                  <a:gd name="connsiteX1090" fmla="*/ 6134 w 10746"/>
                  <a:gd name="connsiteY1090" fmla="*/ 2325 h 10000"/>
                  <a:gd name="connsiteX1091" fmla="*/ 6115 w 10746"/>
                  <a:gd name="connsiteY1091" fmla="*/ 2282 h 10000"/>
                  <a:gd name="connsiteX1092" fmla="*/ 6069 w 10746"/>
                  <a:gd name="connsiteY1092" fmla="*/ 2274 h 10000"/>
                  <a:gd name="connsiteX1093" fmla="*/ 6069 w 10746"/>
                  <a:gd name="connsiteY1093" fmla="*/ 2282 h 10000"/>
                  <a:gd name="connsiteX1094" fmla="*/ 6060 w 10746"/>
                  <a:gd name="connsiteY1094" fmla="*/ 2299 h 10000"/>
                  <a:gd name="connsiteX1095" fmla="*/ 5972 w 10746"/>
                  <a:gd name="connsiteY1095" fmla="*/ 2214 h 10000"/>
                  <a:gd name="connsiteX1096" fmla="*/ 5968 w 10746"/>
                  <a:gd name="connsiteY1096" fmla="*/ 2197 h 10000"/>
                  <a:gd name="connsiteX1097" fmla="*/ 5968 w 10746"/>
                  <a:gd name="connsiteY1097" fmla="*/ 2171 h 10000"/>
                  <a:gd name="connsiteX1098" fmla="*/ 5968 w 10746"/>
                  <a:gd name="connsiteY1098" fmla="*/ 2162 h 10000"/>
                  <a:gd name="connsiteX1099" fmla="*/ 5968 w 10746"/>
                  <a:gd name="connsiteY1099" fmla="*/ 2120 h 10000"/>
                  <a:gd name="connsiteX1100" fmla="*/ 5968 w 10746"/>
                  <a:gd name="connsiteY1100" fmla="*/ 2111 h 10000"/>
                  <a:gd name="connsiteX1101" fmla="*/ 5972 w 10746"/>
                  <a:gd name="connsiteY1101" fmla="*/ 2103 h 10000"/>
                  <a:gd name="connsiteX1102" fmla="*/ 5986 w 10746"/>
                  <a:gd name="connsiteY1102" fmla="*/ 2103 h 10000"/>
                  <a:gd name="connsiteX1103" fmla="*/ 5986 w 10746"/>
                  <a:gd name="connsiteY1103" fmla="*/ 2085 h 10000"/>
                  <a:gd name="connsiteX1104" fmla="*/ 5995 w 10746"/>
                  <a:gd name="connsiteY1104" fmla="*/ 2085 h 10000"/>
                  <a:gd name="connsiteX1105" fmla="*/ 5995 w 10746"/>
                  <a:gd name="connsiteY1105" fmla="*/ 2077 h 10000"/>
                  <a:gd name="connsiteX1106" fmla="*/ 5986 w 10746"/>
                  <a:gd name="connsiteY1106" fmla="*/ 2060 h 10000"/>
                  <a:gd name="connsiteX1107" fmla="*/ 5954 w 10746"/>
                  <a:gd name="connsiteY1107" fmla="*/ 2060 h 10000"/>
                  <a:gd name="connsiteX1108" fmla="*/ 5940 w 10746"/>
                  <a:gd name="connsiteY1108" fmla="*/ 2051 h 10000"/>
                  <a:gd name="connsiteX1109" fmla="*/ 5922 w 10746"/>
                  <a:gd name="connsiteY1109" fmla="*/ 2060 h 10000"/>
                  <a:gd name="connsiteX1110" fmla="*/ 5885 w 10746"/>
                  <a:gd name="connsiteY1110" fmla="*/ 2051 h 10000"/>
                  <a:gd name="connsiteX1111" fmla="*/ 5876 w 10746"/>
                  <a:gd name="connsiteY1111" fmla="*/ 2026 h 10000"/>
                  <a:gd name="connsiteX1112" fmla="*/ 5862 w 10746"/>
                  <a:gd name="connsiteY1112" fmla="*/ 2026 h 10000"/>
                  <a:gd name="connsiteX1113" fmla="*/ 5848 w 10746"/>
                  <a:gd name="connsiteY1113" fmla="*/ 2026 h 10000"/>
                  <a:gd name="connsiteX1114" fmla="*/ 5825 w 10746"/>
                  <a:gd name="connsiteY1114" fmla="*/ 2026 h 10000"/>
                  <a:gd name="connsiteX1115" fmla="*/ 5788 w 10746"/>
                  <a:gd name="connsiteY1115" fmla="*/ 1991 h 10000"/>
                  <a:gd name="connsiteX1116" fmla="*/ 5760 w 10746"/>
                  <a:gd name="connsiteY1116" fmla="*/ 2000 h 10000"/>
                  <a:gd name="connsiteX1117" fmla="*/ 5760 w 10746"/>
                  <a:gd name="connsiteY1117" fmla="*/ 2026 h 10000"/>
                  <a:gd name="connsiteX1118" fmla="*/ 5714 w 10746"/>
                  <a:gd name="connsiteY1118" fmla="*/ 2051 h 10000"/>
                  <a:gd name="connsiteX1119" fmla="*/ 5687 w 10746"/>
                  <a:gd name="connsiteY1119" fmla="*/ 2034 h 10000"/>
                  <a:gd name="connsiteX1120" fmla="*/ 5645 w 10746"/>
                  <a:gd name="connsiteY1120" fmla="*/ 2077 h 10000"/>
                  <a:gd name="connsiteX1121" fmla="*/ 5664 w 10746"/>
                  <a:gd name="connsiteY1121" fmla="*/ 2120 h 10000"/>
                  <a:gd name="connsiteX1122" fmla="*/ 5664 w 10746"/>
                  <a:gd name="connsiteY1122" fmla="*/ 2162 h 10000"/>
                  <a:gd name="connsiteX1123" fmla="*/ 5631 w 10746"/>
                  <a:gd name="connsiteY1123" fmla="*/ 2197 h 10000"/>
                  <a:gd name="connsiteX1124" fmla="*/ 5618 w 10746"/>
                  <a:gd name="connsiteY1124" fmla="*/ 2188 h 10000"/>
                  <a:gd name="connsiteX1125" fmla="*/ 5618 w 10746"/>
                  <a:gd name="connsiteY1125" fmla="*/ 2171 h 10000"/>
                  <a:gd name="connsiteX1126" fmla="*/ 5641 w 10746"/>
                  <a:gd name="connsiteY1126" fmla="*/ 2171 h 10000"/>
                  <a:gd name="connsiteX1127" fmla="*/ 5641 w 10746"/>
                  <a:gd name="connsiteY1127" fmla="*/ 2162 h 10000"/>
                  <a:gd name="connsiteX1128" fmla="*/ 5627 w 10746"/>
                  <a:gd name="connsiteY1128" fmla="*/ 2145 h 10000"/>
                  <a:gd name="connsiteX1129" fmla="*/ 5627 w 10746"/>
                  <a:gd name="connsiteY1129" fmla="*/ 2120 h 10000"/>
                  <a:gd name="connsiteX1130" fmla="*/ 5618 w 10746"/>
                  <a:gd name="connsiteY1130" fmla="*/ 2111 h 10000"/>
                  <a:gd name="connsiteX1131" fmla="*/ 5631 w 10746"/>
                  <a:gd name="connsiteY1131" fmla="*/ 2051 h 10000"/>
                  <a:gd name="connsiteX1132" fmla="*/ 5631 w 10746"/>
                  <a:gd name="connsiteY1132" fmla="*/ 2026 h 10000"/>
                  <a:gd name="connsiteX1133" fmla="*/ 5627 w 10746"/>
                  <a:gd name="connsiteY1133" fmla="*/ 1991 h 10000"/>
                  <a:gd name="connsiteX1134" fmla="*/ 5618 w 10746"/>
                  <a:gd name="connsiteY1134" fmla="*/ 1974 h 10000"/>
                  <a:gd name="connsiteX1135" fmla="*/ 5618 w 10746"/>
                  <a:gd name="connsiteY1135" fmla="*/ 1940 h 10000"/>
                  <a:gd name="connsiteX1136" fmla="*/ 5594 w 10746"/>
                  <a:gd name="connsiteY1136" fmla="*/ 1855 h 10000"/>
                  <a:gd name="connsiteX1137" fmla="*/ 5599 w 10746"/>
                  <a:gd name="connsiteY1137" fmla="*/ 1915 h 10000"/>
                  <a:gd name="connsiteX1138" fmla="*/ 5599 w 10746"/>
                  <a:gd name="connsiteY1138" fmla="*/ 1949 h 10000"/>
                  <a:gd name="connsiteX1139" fmla="*/ 5594 w 10746"/>
                  <a:gd name="connsiteY1139" fmla="*/ 1991 h 10000"/>
                  <a:gd name="connsiteX1140" fmla="*/ 5571 w 10746"/>
                  <a:gd name="connsiteY1140" fmla="*/ 2000 h 10000"/>
                  <a:gd name="connsiteX1141" fmla="*/ 5530 w 10746"/>
                  <a:gd name="connsiteY1141" fmla="*/ 1991 h 10000"/>
                  <a:gd name="connsiteX1142" fmla="*/ 5525 w 10746"/>
                  <a:gd name="connsiteY1142" fmla="*/ 2000 h 10000"/>
                  <a:gd name="connsiteX1143" fmla="*/ 5521 w 10746"/>
                  <a:gd name="connsiteY1143" fmla="*/ 1991 h 10000"/>
                  <a:gd name="connsiteX1144" fmla="*/ 5498 w 10746"/>
                  <a:gd name="connsiteY1144" fmla="*/ 1949 h 10000"/>
                  <a:gd name="connsiteX1145" fmla="*/ 5493 w 10746"/>
                  <a:gd name="connsiteY1145" fmla="*/ 1889 h 10000"/>
                  <a:gd name="connsiteX1146" fmla="*/ 5493 w 10746"/>
                  <a:gd name="connsiteY1146" fmla="*/ 1863 h 10000"/>
                  <a:gd name="connsiteX1147" fmla="*/ 5498 w 10746"/>
                  <a:gd name="connsiteY1147" fmla="*/ 1889 h 10000"/>
                  <a:gd name="connsiteX1148" fmla="*/ 5512 w 10746"/>
                  <a:gd name="connsiteY1148" fmla="*/ 1855 h 10000"/>
                  <a:gd name="connsiteX1149" fmla="*/ 5512 w 10746"/>
                  <a:gd name="connsiteY1149" fmla="*/ 1838 h 10000"/>
                  <a:gd name="connsiteX1150" fmla="*/ 5479 w 10746"/>
                  <a:gd name="connsiteY1150" fmla="*/ 1855 h 10000"/>
                  <a:gd name="connsiteX1151" fmla="*/ 5470 w 10746"/>
                  <a:gd name="connsiteY1151" fmla="*/ 1872 h 10000"/>
                  <a:gd name="connsiteX1152" fmla="*/ 5470 w 10746"/>
                  <a:gd name="connsiteY1152" fmla="*/ 1889 h 10000"/>
                  <a:gd name="connsiteX1153" fmla="*/ 5465 w 10746"/>
                  <a:gd name="connsiteY1153" fmla="*/ 1897 h 10000"/>
                  <a:gd name="connsiteX1154" fmla="*/ 5456 w 10746"/>
                  <a:gd name="connsiteY1154" fmla="*/ 1872 h 10000"/>
                  <a:gd name="connsiteX1155" fmla="*/ 5447 w 10746"/>
                  <a:gd name="connsiteY1155" fmla="*/ 1872 h 10000"/>
                  <a:gd name="connsiteX1156" fmla="*/ 5433 w 10746"/>
                  <a:gd name="connsiteY1156" fmla="*/ 1855 h 10000"/>
                  <a:gd name="connsiteX1157" fmla="*/ 5396 w 10746"/>
                  <a:gd name="connsiteY1157" fmla="*/ 1863 h 10000"/>
                  <a:gd name="connsiteX1158" fmla="*/ 5396 w 10746"/>
                  <a:gd name="connsiteY1158" fmla="*/ 1897 h 10000"/>
                  <a:gd name="connsiteX1159" fmla="*/ 5378 w 10746"/>
                  <a:gd name="connsiteY1159" fmla="*/ 1949 h 10000"/>
                  <a:gd name="connsiteX1160" fmla="*/ 5378 w 10746"/>
                  <a:gd name="connsiteY1160" fmla="*/ 1966 h 10000"/>
                  <a:gd name="connsiteX1161" fmla="*/ 5392 w 10746"/>
                  <a:gd name="connsiteY1161" fmla="*/ 2026 h 10000"/>
                  <a:gd name="connsiteX1162" fmla="*/ 5396 w 10746"/>
                  <a:gd name="connsiteY1162" fmla="*/ 2026 h 10000"/>
                  <a:gd name="connsiteX1163" fmla="*/ 5392 w 10746"/>
                  <a:gd name="connsiteY1163" fmla="*/ 2009 h 10000"/>
                  <a:gd name="connsiteX1164" fmla="*/ 5392 w 10746"/>
                  <a:gd name="connsiteY1164" fmla="*/ 2000 h 10000"/>
                  <a:gd name="connsiteX1165" fmla="*/ 5396 w 10746"/>
                  <a:gd name="connsiteY1165" fmla="*/ 2009 h 10000"/>
                  <a:gd name="connsiteX1166" fmla="*/ 5424 w 10746"/>
                  <a:gd name="connsiteY1166" fmla="*/ 2009 h 10000"/>
                  <a:gd name="connsiteX1167" fmla="*/ 5433 w 10746"/>
                  <a:gd name="connsiteY1167" fmla="*/ 1991 h 10000"/>
                  <a:gd name="connsiteX1168" fmla="*/ 5447 w 10746"/>
                  <a:gd name="connsiteY1168" fmla="*/ 1974 h 10000"/>
                  <a:gd name="connsiteX1169" fmla="*/ 5452 w 10746"/>
                  <a:gd name="connsiteY1169" fmla="*/ 1966 h 10000"/>
                  <a:gd name="connsiteX1170" fmla="*/ 5456 w 10746"/>
                  <a:gd name="connsiteY1170" fmla="*/ 1966 h 10000"/>
                  <a:gd name="connsiteX1171" fmla="*/ 5465 w 10746"/>
                  <a:gd name="connsiteY1171" fmla="*/ 2009 h 10000"/>
                  <a:gd name="connsiteX1172" fmla="*/ 5433 w 10746"/>
                  <a:gd name="connsiteY1172" fmla="*/ 2034 h 10000"/>
                  <a:gd name="connsiteX1173" fmla="*/ 5424 w 10746"/>
                  <a:gd name="connsiteY1173" fmla="*/ 2060 h 10000"/>
                  <a:gd name="connsiteX1174" fmla="*/ 5419 w 10746"/>
                  <a:gd name="connsiteY1174" fmla="*/ 2060 h 10000"/>
                  <a:gd name="connsiteX1175" fmla="*/ 5392 w 10746"/>
                  <a:gd name="connsiteY1175" fmla="*/ 2111 h 10000"/>
                  <a:gd name="connsiteX1176" fmla="*/ 5378 w 10746"/>
                  <a:gd name="connsiteY1176" fmla="*/ 2111 h 10000"/>
                  <a:gd name="connsiteX1177" fmla="*/ 5350 w 10746"/>
                  <a:gd name="connsiteY1177" fmla="*/ 2060 h 10000"/>
                  <a:gd name="connsiteX1178" fmla="*/ 5373 w 10746"/>
                  <a:gd name="connsiteY1178" fmla="*/ 2111 h 10000"/>
                  <a:gd name="connsiteX1179" fmla="*/ 5364 w 10746"/>
                  <a:gd name="connsiteY1179" fmla="*/ 2111 h 10000"/>
                  <a:gd name="connsiteX1180" fmla="*/ 5359 w 10746"/>
                  <a:gd name="connsiteY1180" fmla="*/ 2103 h 10000"/>
                  <a:gd name="connsiteX1181" fmla="*/ 5359 w 10746"/>
                  <a:gd name="connsiteY1181" fmla="*/ 2120 h 10000"/>
                  <a:gd name="connsiteX1182" fmla="*/ 5359 w 10746"/>
                  <a:gd name="connsiteY1182" fmla="*/ 2137 h 10000"/>
                  <a:gd name="connsiteX1183" fmla="*/ 5313 w 10746"/>
                  <a:gd name="connsiteY1183" fmla="*/ 2162 h 10000"/>
                  <a:gd name="connsiteX1184" fmla="*/ 5300 w 10746"/>
                  <a:gd name="connsiteY1184" fmla="*/ 2162 h 10000"/>
                  <a:gd name="connsiteX1185" fmla="*/ 5300 w 10746"/>
                  <a:gd name="connsiteY1185" fmla="*/ 2171 h 10000"/>
                  <a:gd name="connsiteX1186" fmla="*/ 5300 w 10746"/>
                  <a:gd name="connsiteY1186" fmla="*/ 2197 h 10000"/>
                  <a:gd name="connsiteX1187" fmla="*/ 5276 w 10746"/>
                  <a:gd name="connsiteY1187" fmla="*/ 2188 h 10000"/>
                  <a:gd name="connsiteX1188" fmla="*/ 5249 w 10746"/>
                  <a:gd name="connsiteY1188" fmla="*/ 2222 h 10000"/>
                  <a:gd name="connsiteX1189" fmla="*/ 5249 w 10746"/>
                  <a:gd name="connsiteY1189" fmla="*/ 2222 h 10000"/>
                  <a:gd name="connsiteX1190" fmla="*/ 5217 w 10746"/>
                  <a:gd name="connsiteY1190" fmla="*/ 2214 h 10000"/>
                  <a:gd name="connsiteX1191" fmla="*/ 5203 w 10746"/>
                  <a:gd name="connsiteY1191" fmla="*/ 2239 h 10000"/>
                  <a:gd name="connsiteX1192" fmla="*/ 5171 w 10746"/>
                  <a:gd name="connsiteY1192" fmla="*/ 2214 h 10000"/>
                  <a:gd name="connsiteX1193" fmla="*/ 5157 w 10746"/>
                  <a:gd name="connsiteY1193" fmla="*/ 2239 h 10000"/>
                  <a:gd name="connsiteX1194" fmla="*/ 5166 w 10746"/>
                  <a:gd name="connsiteY1194" fmla="*/ 2256 h 10000"/>
                  <a:gd name="connsiteX1195" fmla="*/ 5171 w 10746"/>
                  <a:gd name="connsiteY1195" fmla="*/ 2308 h 10000"/>
                  <a:gd name="connsiteX1196" fmla="*/ 5212 w 10746"/>
                  <a:gd name="connsiteY1196" fmla="*/ 2350 h 10000"/>
                  <a:gd name="connsiteX1197" fmla="*/ 5203 w 10746"/>
                  <a:gd name="connsiteY1197" fmla="*/ 2350 h 10000"/>
                  <a:gd name="connsiteX1198" fmla="*/ 5166 w 10746"/>
                  <a:gd name="connsiteY1198" fmla="*/ 2325 h 10000"/>
                  <a:gd name="connsiteX1199" fmla="*/ 5152 w 10746"/>
                  <a:gd name="connsiteY1199" fmla="*/ 2308 h 10000"/>
                  <a:gd name="connsiteX1200" fmla="*/ 5143 w 10746"/>
                  <a:gd name="connsiteY1200" fmla="*/ 2333 h 10000"/>
                  <a:gd name="connsiteX1201" fmla="*/ 5138 w 10746"/>
                  <a:gd name="connsiteY1201" fmla="*/ 2333 h 10000"/>
                  <a:gd name="connsiteX1202" fmla="*/ 5124 w 10746"/>
                  <a:gd name="connsiteY1202" fmla="*/ 2376 h 10000"/>
                  <a:gd name="connsiteX1203" fmla="*/ 5115 w 10746"/>
                  <a:gd name="connsiteY1203" fmla="*/ 2385 h 10000"/>
                  <a:gd name="connsiteX1204" fmla="*/ 5106 w 10746"/>
                  <a:gd name="connsiteY1204" fmla="*/ 2385 h 10000"/>
                  <a:gd name="connsiteX1205" fmla="*/ 5055 w 10746"/>
                  <a:gd name="connsiteY1205" fmla="*/ 2470 h 10000"/>
                  <a:gd name="connsiteX1206" fmla="*/ 5065 w 10746"/>
                  <a:gd name="connsiteY1206" fmla="*/ 2462 h 10000"/>
                  <a:gd name="connsiteX1207" fmla="*/ 5055 w 10746"/>
                  <a:gd name="connsiteY1207" fmla="*/ 2444 h 10000"/>
                  <a:gd name="connsiteX1208" fmla="*/ 5041 w 10746"/>
                  <a:gd name="connsiteY1208" fmla="*/ 2462 h 10000"/>
                  <a:gd name="connsiteX1209" fmla="*/ 5037 w 10746"/>
                  <a:gd name="connsiteY1209" fmla="*/ 2470 h 10000"/>
                  <a:gd name="connsiteX1210" fmla="*/ 5032 w 10746"/>
                  <a:gd name="connsiteY1210" fmla="*/ 2470 h 10000"/>
                  <a:gd name="connsiteX1211" fmla="*/ 5032 w 10746"/>
                  <a:gd name="connsiteY1211" fmla="*/ 2444 h 10000"/>
                  <a:gd name="connsiteX1212" fmla="*/ 5055 w 10746"/>
                  <a:gd name="connsiteY1212" fmla="*/ 2410 h 10000"/>
                  <a:gd name="connsiteX1213" fmla="*/ 5065 w 10746"/>
                  <a:gd name="connsiteY1213" fmla="*/ 2393 h 10000"/>
                  <a:gd name="connsiteX1214" fmla="*/ 5069 w 10746"/>
                  <a:gd name="connsiteY1214" fmla="*/ 2385 h 10000"/>
                  <a:gd name="connsiteX1215" fmla="*/ 5083 w 10746"/>
                  <a:gd name="connsiteY1215" fmla="*/ 2376 h 10000"/>
                  <a:gd name="connsiteX1216" fmla="*/ 5097 w 10746"/>
                  <a:gd name="connsiteY1216" fmla="*/ 2376 h 10000"/>
                  <a:gd name="connsiteX1217" fmla="*/ 5124 w 10746"/>
                  <a:gd name="connsiteY1217" fmla="*/ 2325 h 10000"/>
                  <a:gd name="connsiteX1218" fmla="*/ 5143 w 10746"/>
                  <a:gd name="connsiteY1218" fmla="*/ 2248 h 10000"/>
                  <a:gd name="connsiteX1219" fmla="*/ 5152 w 10746"/>
                  <a:gd name="connsiteY1219" fmla="*/ 2239 h 10000"/>
                  <a:gd name="connsiteX1220" fmla="*/ 5166 w 10746"/>
                  <a:gd name="connsiteY1220" fmla="*/ 2162 h 10000"/>
                  <a:gd name="connsiteX1221" fmla="*/ 5171 w 10746"/>
                  <a:gd name="connsiteY1221" fmla="*/ 2171 h 10000"/>
                  <a:gd name="connsiteX1222" fmla="*/ 5198 w 10746"/>
                  <a:gd name="connsiteY1222" fmla="*/ 2145 h 10000"/>
                  <a:gd name="connsiteX1223" fmla="*/ 5203 w 10746"/>
                  <a:gd name="connsiteY1223" fmla="*/ 2111 h 10000"/>
                  <a:gd name="connsiteX1224" fmla="*/ 5217 w 10746"/>
                  <a:gd name="connsiteY1224" fmla="*/ 2060 h 10000"/>
                  <a:gd name="connsiteX1225" fmla="*/ 5226 w 10746"/>
                  <a:gd name="connsiteY1225" fmla="*/ 2026 h 10000"/>
                  <a:gd name="connsiteX1226" fmla="*/ 5286 w 10746"/>
                  <a:gd name="connsiteY1226" fmla="*/ 2026 h 10000"/>
                  <a:gd name="connsiteX1227" fmla="*/ 5290 w 10746"/>
                  <a:gd name="connsiteY1227" fmla="*/ 2034 h 10000"/>
                  <a:gd name="connsiteX1228" fmla="*/ 5323 w 10746"/>
                  <a:gd name="connsiteY1228" fmla="*/ 1923 h 10000"/>
                  <a:gd name="connsiteX1229" fmla="*/ 5323 w 10746"/>
                  <a:gd name="connsiteY1229" fmla="*/ 1889 h 10000"/>
                  <a:gd name="connsiteX1230" fmla="*/ 5359 w 10746"/>
                  <a:gd name="connsiteY1230" fmla="*/ 1829 h 10000"/>
                  <a:gd name="connsiteX1231" fmla="*/ 5378 w 10746"/>
                  <a:gd name="connsiteY1231" fmla="*/ 1812 h 10000"/>
                  <a:gd name="connsiteX1232" fmla="*/ 5406 w 10746"/>
                  <a:gd name="connsiteY1232" fmla="*/ 1752 h 10000"/>
                  <a:gd name="connsiteX1233" fmla="*/ 5410 w 10746"/>
                  <a:gd name="connsiteY1233" fmla="*/ 1718 h 10000"/>
                  <a:gd name="connsiteX1234" fmla="*/ 5438 w 10746"/>
                  <a:gd name="connsiteY1234" fmla="*/ 1667 h 10000"/>
                  <a:gd name="connsiteX1235" fmla="*/ 5438 w 10746"/>
                  <a:gd name="connsiteY1235" fmla="*/ 1650 h 10000"/>
                  <a:gd name="connsiteX1236" fmla="*/ 5438 w 10746"/>
                  <a:gd name="connsiteY1236" fmla="*/ 1641 h 10000"/>
                  <a:gd name="connsiteX1237" fmla="*/ 5452 w 10746"/>
                  <a:gd name="connsiteY1237" fmla="*/ 1641 h 10000"/>
                  <a:gd name="connsiteX1238" fmla="*/ 5456 w 10746"/>
                  <a:gd name="connsiteY1238" fmla="*/ 1615 h 10000"/>
                  <a:gd name="connsiteX1239" fmla="*/ 5456 w 10746"/>
                  <a:gd name="connsiteY1239" fmla="*/ 1615 h 10000"/>
                  <a:gd name="connsiteX1240" fmla="*/ 5465 w 10746"/>
                  <a:gd name="connsiteY1240" fmla="*/ 1598 h 10000"/>
                  <a:gd name="connsiteX1241" fmla="*/ 5465 w 10746"/>
                  <a:gd name="connsiteY1241" fmla="*/ 1615 h 10000"/>
                  <a:gd name="connsiteX1242" fmla="*/ 5479 w 10746"/>
                  <a:gd name="connsiteY1242" fmla="*/ 1598 h 10000"/>
                  <a:gd name="connsiteX1243" fmla="*/ 5484 w 10746"/>
                  <a:gd name="connsiteY1243" fmla="*/ 1581 h 10000"/>
                  <a:gd name="connsiteX1244" fmla="*/ 5493 w 10746"/>
                  <a:gd name="connsiteY1244" fmla="*/ 1581 h 10000"/>
                  <a:gd name="connsiteX1245" fmla="*/ 5512 w 10746"/>
                  <a:gd name="connsiteY1245" fmla="*/ 1538 h 10000"/>
                  <a:gd name="connsiteX1246" fmla="*/ 5530 w 10746"/>
                  <a:gd name="connsiteY1246" fmla="*/ 1564 h 10000"/>
                  <a:gd name="connsiteX1247" fmla="*/ 5530 w 10746"/>
                  <a:gd name="connsiteY1247" fmla="*/ 1538 h 10000"/>
                  <a:gd name="connsiteX1248" fmla="*/ 5539 w 10746"/>
                  <a:gd name="connsiteY1248" fmla="*/ 1530 h 10000"/>
                  <a:gd name="connsiteX1249" fmla="*/ 5530 w 10746"/>
                  <a:gd name="connsiteY1249" fmla="*/ 1504 h 10000"/>
                  <a:gd name="connsiteX1250" fmla="*/ 5567 w 10746"/>
                  <a:gd name="connsiteY1250" fmla="*/ 1479 h 10000"/>
                  <a:gd name="connsiteX1251" fmla="*/ 5553 w 10746"/>
                  <a:gd name="connsiteY1251" fmla="*/ 1479 h 10000"/>
                  <a:gd name="connsiteX1252" fmla="*/ 5553 w 10746"/>
                  <a:gd name="connsiteY1252" fmla="*/ 1453 h 10000"/>
                  <a:gd name="connsiteX1253" fmla="*/ 5581 w 10746"/>
                  <a:gd name="connsiteY1253" fmla="*/ 1444 h 10000"/>
                  <a:gd name="connsiteX1254" fmla="*/ 5581 w 10746"/>
                  <a:gd name="connsiteY1254" fmla="*/ 1453 h 10000"/>
                  <a:gd name="connsiteX1255" fmla="*/ 5585 w 10746"/>
                  <a:gd name="connsiteY1255" fmla="*/ 1444 h 10000"/>
                  <a:gd name="connsiteX1256" fmla="*/ 5594 w 10746"/>
                  <a:gd name="connsiteY1256" fmla="*/ 1427 h 10000"/>
                  <a:gd name="connsiteX1257" fmla="*/ 5599 w 10746"/>
                  <a:gd name="connsiteY1257" fmla="*/ 1419 h 10000"/>
                  <a:gd name="connsiteX1258" fmla="*/ 5594 w 10746"/>
                  <a:gd name="connsiteY1258" fmla="*/ 1402 h 10000"/>
                  <a:gd name="connsiteX1259" fmla="*/ 5604 w 10746"/>
                  <a:gd name="connsiteY1259" fmla="*/ 1393 h 10000"/>
                  <a:gd name="connsiteX1260" fmla="*/ 5618 w 10746"/>
                  <a:gd name="connsiteY1260" fmla="*/ 1393 h 10000"/>
                  <a:gd name="connsiteX1261" fmla="*/ 5627 w 10746"/>
                  <a:gd name="connsiteY1261" fmla="*/ 1368 h 10000"/>
                  <a:gd name="connsiteX1262" fmla="*/ 5627 w 10746"/>
                  <a:gd name="connsiteY1262" fmla="*/ 1325 h 10000"/>
                  <a:gd name="connsiteX1263" fmla="*/ 5645 w 10746"/>
                  <a:gd name="connsiteY1263" fmla="*/ 1291 h 10000"/>
                  <a:gd name="connsiteX1264" fmla="*/ 5645 w 10746"/>
                  <a:gd name="connsiteY1264" fmla="*/ 1282 h 10000"/>
                  <a:gd name="connsiteX1265" fmla="*/ 5654 w 10746"/>
                  <a:gd name="connsiteY1265" fmla="*/ 1265 h 10000"/>
                  <a:gd name="connsiteX1266" fmla="*/ 5654 w 10746"/>
                  <a:gd name="connsiteY1266" fmla="*/ 1214 h 10000"/>
                  <a:gd name="connsiteX1267" fmla="*/ 5654 w 10746"/>
                  <a:gd name="connsiteY1267" fmla="*/ 1214 h 10000"/>
                  <a:gd name="connsiteX1268" fmla="*/ 5645 w 10746"/>
                  <a:gd name="connsiteY1268" fmla="*/ 1197 h 10000"/>
                  <a:gd name="connsiteX1269" fmla="*/ 5659 w 10746"/>
                  <a:gd name="connsiteY1269" fmla="*/ 1197 h 10000"/>
                  <a:gd name="connsiteX1270" fmla="*/ 5654 w 10746"/>
                  <a:gd name="connsiteY1270" fmla="*/ 1154 h 10000"/>
                  <a:gd name="connsiteX1271" fmla="*/ 5641 w 10746"/>
                  <a:gd name="connsiteY1271" fmla="*/ 1154 h 10000"/>
                  <a:gd name="connsiteX1272" fmla="*/ 5627 w 10746"/>
                  <a:gd name="connsiteY1272" fmla="*/ 1128 h 10000"/>
                  <a:gd name="connsiteX1273" fmla="*/ 5618 w 10746"/>
                  <a:gd name="connsiteY1273" fmla="*/ 1094 h 10000"/>
                  <a:gd name="connsiteX1274" fmla="*/ 5613 w 10746"/>
                  <a:gd name="connsiteY1274" fmla="*/ 1094 h 10000"/>
                  <a:gd name="connsiteX1275" fmla="*/ 5604 w 10746"/>
                  <a:gd name="connsiteY1275" fmla="*/ 1120 h 10000"/>
                  <a:gd name="connsiteX1276" fmla="*/ 5604 w 10746"/>
                  <a:gd name="connsiteY1276" fmla="*/ 1128 h 10000"/>
                  <a:gd name="connsiteX1277" fmla="*/ 5599 w 10746"/>
                  <a:gd name="connsiteY1277" fmla="*/ 1103 h 10000"/>
                  <a:gd name="connsiteX1278" fmla="*/ 5599 w 10746"/>
                  <a:gd name="connsiteY1278" fmla="*/ 1103 h 10000"/>
                  <a:gd name="connsiteX1279" fmla="*/ 5594 w 10746"/>
                  <a:gd name="connsiteY1279" fmla="*/ 1068 h 10000"/>
                  <a:gd name="connsiteX1280" fmla="*/ 5594 w 10746"/>
                  <a:gd name="connsiteY1280" fmla="*/ 1060 h 10000"/>
                  <a:gd name="connsiteX1281" fmla="*/ 5581 w 10746"/>
                  <a:gd name="connsiteY1281" fmla="*/ 1034 h 10000"/>
                  <a:gd name="connsiteX1282" fmla="*/ 5571 w 10746"/>
                  <a:gd name="connsiteY1282" fmla="*/ 1009 h 10000"/>
                  <a:gd name="connsiteX1283" fmla="*/ 5571 w 10746"/>
                  <a:gd name="connsiteY1283" fmla="*/ 991 h 10000"/>
                  <a:gd name="connsiteX1284" fmla="*/ 5585 w 10746"/>
                  <a:gd name="connsiteY1284" fmla="*/ 1009 h 10000"/>
                  <a:gd name="connsiteX1285" fmla="*/ 5604 w 10746"/>
                  <a:gd name="connsiteY1285" fmla="*/ 1043 h 10000"/>
                  <a:gd name="connsiteX1286" fmla="*/ 5641 w 10746"/>
                  <a:gd name="connsiteY1286" fmla="*/ 1094 h 10000"/>
                  <a:gd name="connsiteX1287" fmla="*/ 5631 w 10746"/>
                  <a:gd name="connsiteY1287" fmla="*/ 1128 h 10000"/>
                  <a:gd name="connsiteX1288" fmla="*/ 5641 w 10746"/>
                  <a:gd name="connsiteY1288" fmla="*/ 1128 h 10000"/>
                  <a:gd name="connsiteX1289" fmla="*/ 5659 w 10746"/>
                  <a:gd name="connsiteY1289" fmla="*/ 1017 h 10000"/>
                  <a:gd name="connsiteX1290" fmla="*/ 5659 w 10746"/>
                  <a:gd name="connsiteY1290" fmla="*/ 983 h 10000"/>
                  <a:gd name="connsiteX1291" fmla="*/ 5659 w 10746"/>
                  <a:gd name="connsiteY1291" fmla="*/ 957 h 10000"/>
                  <a:gd name="connsiteX1292" fmla="*/ 5654 w 10746"/>
                  <a:gd name="connsiteY1292" fmla="*/ 966 h 10000"/>
                  <a:gd name="connsiteX1293" fmla="*/ 5641 w 10746"/>
                  <a:gd name="connsiteY1293" fmla="*/ 957 h 10000"/>
                  <a:gd name="connsiteX1294" fmla="*/ 5631 w 10746"/>
                  <a:gd name="connsiteY1294" fmla="*/ 897 h 10000"/>
                  <a:gd name="connsiteX1295" fmla="*/ 5641 w 10746"/>
                  <a:gd name="connsiteY1295" fmla="*/ 872 h 10000"/>
                  <a:gd name="connsiteX1296" fmla="*/ 5618 w 10746"/>
                  <a:gd name="connsiteY1296" fmla="*/ 803 h 10000"/>
                  <a:gd name="connsiteX1297" fmla="*/ 5604 w 10746"/>
                  <a:gd name="connsiteY1297" fmla="*/ 821 h 10000"/>
                  <a:gd name="connsiteX1298" fmla="*/ 5613 w 10746"/>
                  <a:gd name="connsiteY1298" fmla="*/ 846 h 10000"/>
                  <a:gd name="connsiteX1299" fmla="*/ 5604 w 10746"/>
                  <a:gd name="connsiteY1299" fmla="*/ 855 h 10000"/>
                  <a:gd name="connsiteX1300" fmla="*/ 5599 w 10746"/>
                  <a:gd name="connsiteY1300" fmla="*/ 880 h 10000"/>
                  <a:gd name="connsiteX1301" fmla="*/ 5594 w 10746"/>
                  <a:gd name="connsiteY1301" fmla="*/ 880 h 10000"/>
                  <a:gd name="connsiteX1302" fmla="*/ 5585 w 10746"/>
                  <a:gd name="connsiteY1302" fmla="*/ 829 h 10000"/>
                  <a:gd name="connsiteX1303" fmla="*/ 5571 w 10746"/>
                  <a:gd name="connsiteY1303" fmla="*/ 803 h 10000"/>
                  <a:gd name="connsiteX1304" fmla="*/ 5585 w 10746"/>
                  <a:gd name="connsiteY1304" fmla="*/ 795 h 10000"/>
                  <a:gd name="connsiteX1305" fmla="*/ 5585 w 10746"/>
                  <a:gd name="connsiteY1305" fmla="*/ 761 h 10000"/>
                  <a:gd name="connsiteX1306" fmla="*/ 5558 w 10746"/>
                  <a:gd name="connsiteY1306" fmla="*/ 709 h 10000"/>
                  <a:gd name="connsiteX1307" fmla="*/ 5544 w 10746"/>
                  <a:gd name="connsiteY1307" fmla="*/ 709 h 10000"/>
                  <a:gd name="connsiteX1308" fmla="*/ 5544 w 10746"/>
                  <a:gd name="connsiteY1308" fmla="*/ 684 h 10000"/>
                  <a:gd name="connsiteX1309" fmla="*/ 5525 w 10746"/>
                  <a:gd name="connsiteY1309" fmla="*/ 632 h 10000"/>
                  <a:gd name="connsiteX1310" fmla="*/ 5507 w 10746"/>
                  <a:gd name="connsiteY1310" fmla="*/ 607 h 10000"/>
                  <a:gd name="connsiteX1311" fmla="*/ 5512 w 10746"/>
                  <a:gd name="connsiteY1311" fmla="*/ 598 h 10000"/>
                  <a:gd name="connsiteX1312" fmla="*/ 5507 w 10746"/>
                  <a:gd name="connsiteY1312" fmla="*/ 581 h 10000"/>
                  <a:gd name="connsiteX1313" fmla="*/ 5493 w 10746"/>
                  <a:gd name="connsiteY1313" fmla="*/ 573 h 10000"/>
                  <a:gd name="connsiteX1314" fmla="*/ 5484 w 10746"/>
                  <a:gd name="connsiteY1314" fmla="*/ 581 h 10000"/>
                  <a:gd name="connsiteX1315" fmla="*/ 5484 w 10746"/>
                  <a:gd name="connsiteY1315" fmla="*/ 573 h 10000"/>
                  <a:gd name="connsiteX1316" fmla="*/ 5484 w 10746"/>
                  <a:gd name="connsiteY1316" fmla="*/ 547 h 10000"/>
                  <a:gd name="connsiteX1317" fmla="*/ 5465 w 10746"/>
                  <a:gd name="connsiteY1317" fmla="*/ 556 h 10000"/>
                  <a:gd name="connsiteX1318" fmla="*/ 5433 w 10746"/>
                  <a:gd name="connsiteY1318" fmla="*/ 547 h 10000"/>
                  <a:gd name="connsiteX1319" fmla="*/ 5410 w 10746"/>
                  <a:gd name="connsiteY1319" fmla="*/ 573 h 10000"/>
                  <a:gd name="connsiteX1320" fmla="*/ 5406 w 10746"/>
                  <a:gd name="connsiteY1320" fmla="*/ 573 h 10000"/>
                  <a:gd name="connsiteX1321" fmla="*/ 5392 w 10746"/>
                  <a:gd name="connsiteY1321" fmla="*/ 573 h 10000"/>
                  <a:gd name="connsiteX1322" fmla="*/ 5364 w 10746"/>
                  <a:gd name="connsiteY1322" fmla="*/ 530 h 10000"/>
                  <a:gd name="connsiteX1323" fmla="*/ 5350 w 10746"/>
                  <a:gd name="connsiteY1323" fmla="*/ 556 h 10000"/>
                  <a:gd name="connsiteX1324" fmla="*/ 5346 w 10746"/>
                  <a:gd name="connsiteY1324" fmla="*/ 556 h 10000"/>
                  <a:gd name="connsiteX1325" fmla="*/ 5313 w 10746"/>
                  <a:gd name="connsiteY1325" fmla="*/ 573 h 10000"/>
                  <a:gd name="connsiteX1326" fmla="*/ 5304 w 10746"/>
                  <a:gd name="connsiteY1326" fmla="*/ 556 h 10000"/>
                  <a:gd name="connsiteX1327" fmla="*/ 5290 w 10746"/>
                  <a:gd name="connsiteY1327" fmla="*/ 573 h 10000"/>
                  <a:gd name="connsiteX1328" fmla="*/ 5290 w 10746"/>
                  <a:gd name="connsiteY1328" fmla="*/ 556 h 10000"/>
                  <a:gd name="connsiteX1329" fmla="*/ 5300 w 10746"/>
                  <a:gd name="connsiteY1329" fmla="*/ 547 h 10000"/>
                  <a:gd name="connsiteX1330" fmla="*/ 5300 w 10746"/>
                  <a:gd name="connsiteY1330" fmla="*/ 530 h 10000"/>
                  <a:gd name="connsiteX1331" fmla="*/ 5290 w 10746"/>
                  <a:gd name="connsiteY1331" fmla="*/ 530 h 10000"/>
                  <a:gd name="connsiteX1332" fmla="*/ 5286 w 10746"/>
                  <a:gd name="connsiteY1332" fmla="*/ 547 h 10000"/>
                  <a:gd name="connsiteX1333" fmla="*/ 5272 w 10746"/>
                  <a:gd name="connsiteY1333" fmla="*/ 556 h 10000"/>
                  <a:gd name="connsiteX1334" fmla="*/ 5272 w 10746"/>
                  <a:gd name="connsiteY1334" fmla="*/ 598 h 10000"/>
                  <a:gd name="connsiteX1335" fmla="*/ 5276 w 10746"/>
                  <a:gd name="connsiteY1335" fmla="*/ 581 h 10000"/>
                  <a:gd name="connsiteX1336" fmla="*/ 5272 w 10746"/>
                  <a:gd name="connsiteY1336" fmla="*/ 607 h 10000"/>
                  <a:gd name="connsiteX1337" fmla="*/ 5263 w 10746"/>
                  <a:gd name="connsiteY1337" fmla="*/ 607 h 10000"/>
                  <a:gd name="connsiteX1338" fmla="*/ 5263 w 10746"/>
                  <a:gd name="connsiteY1338" fmla="*/ 632 h 10000"/>
                  <a:gd name="connsiteX1339" fmla="*/ 5258 w 10746"/>
                  <a:gd name="connsiteY1339" fmla="*/ 658 h 10000"/>
                  <a:gd name="connsiteX1340" fmla="*/ 5244 w 10746"/>
                  <a:gd name="connsiteY1340" fmla="*/ 667 h 10000"/>
                  <a:gd name="connsiteX1341" fmla="*/ 5240 w 10746"/>
                  <a:gd name="connsiteY1341" fmla="*/ 658 h 10000"/>
                  <a:gd name="connsiteX1342" fmla="*/ 5240 w 10746"/>
                  <a:gd name="connsiteY1342" fmla="*/ 684 h 10000"/>
                  <a:gd name="connsiteX1343" fmla="*/ 5212 w 10746"/>
                  <a:gd name="connsiteY1343" fmla="*/ 684 h 10000"/>
                  <a:gd name="connsiteX1344" fmla="*/ 5198 w 10746"/>
                  <a:gd name="connsiteY1344" fmla="*/ 692 h 10000"/>
                  <a:gd name="connsiteX1345" fmla="*/ 5184 w 10746"/>
                  <a:gd name="connsiteY1345" fmla="*/ 684 h 10000"/>
                  <a:gd name="connsiteX1346" fmla="*/ 5157 w 10746"/>
                  <a:gd name="connsiteY1346" fmla="*/ 684 h 10000"/>
                  <a:gd name="connsiteX1347" fmla="*/ 5157 w 10746"/>
                  <a:gd name="connsiteY1347" fmla="*/ 667 h 10000"/>
                  <a:gd name="connsiteX1348" fmla="*/ 5157 w 10746"/>
                  <a:gd name="connsiteY1348" fmla="*/ 667 h 10000"/>
                  <a:gd name="connsiteX1349" fmla="*/ 5180 w 10746"/>
                  <a:gd name="connsiteY1349" fmla="*/ 650 h 10000"/>
                  <a:gd name="connsiteX1350" fmla="*/ 5184 w 10746"/>
                  <a:gd name="connsiteY1350" fmla="*/ 658 h 10000"/>
                  <a:gd name="connsiteX1351" fmla="*/ 5203 w 10746"/>
                  <a:gd name="connsiteY1351" fmla="*/ 547 h 10000"/>
                  <a:gd name="connsiteX1352" fmla="*/ 5226 w 10746"/>
                  <a:gd name="connsiteY1352" fmla="*/ 530 h 10000"/>
                  <a:gd name="connsiteX1353" fmla="*/ 5230 w 10746"/>
                  <a:gd name="connsiteY1353" fmla="*/ 487 h 10000"/>
                  <a:gd name="connsiteX1354" fmla="*/ 5230 w 10746"/>
                  <a:gd name="connsiteY1354" fmla="*/ 487 h 10000"/>
                  <a:gd name="connsiteX1355" fmla="*/ 5226 w 10746"/>
                  <a:gd name="connsiteY1355" fmla="*/ 462 h 10000"/>
                  <a:gd name="connsiteX1356" fmla="*/ 5226 w 10746"/>
                  <a:gd name="connsiteY1356" fmla="*/ 462 h 10000"/>
                  <a:gd name="connsiteX1357" fmla="*/ 5240 w 10746"/>
                  <a:gd name="connsiteY1357" fmla="*/ 462 h 10000"/>
                  <a:gd name="connsiteX1358" fmla="*/ 5240 w 10746"/>
                  <a:gd name="connsiteY1358" fmla="*/ 444 h 10000"/>
                  <a:gd name="connsiteX1359" fmla="*/ 5230 w 10746"/>
                  <a:gd name="connsiteY1359" fmla="*/ 436 h 10000"/>
                  <a:gd name="connsiteX1360" fmla="*/ 5230 w 10746"/>
                  <a:gd name="connsiteY1360" fmla="*/ 419 h 10000"/>
                  <a:gd name="connsiteX1361" fmla="*/ 5230 w 10746"/>
                  <a:gd name="connsiteY1361" fmla="*/ 410 h 10000"/>
                  <a:gd name="connsiteX1362" fmla="*/ 5198 w 10746"/>
                  <a:gd name="connsiteY1362" fmla="*/ 402 h 10000"/>
                  <a:gd name="connsiteX1363" fmla="*/ 5189 w 10746"/>
                  <a:gd name="connsiteY1363" fmla="*/ 402 h 10000"/>
                  <a:gd name="connsiteX1364" fmla="*/ 5184 w 10746"/>
                  <a:gd name="connsiteY1364" fmla="*/ 376 h 10000"/>
                  <a:gd name="connsiteX1365" fmla="*/ 5180 w 10746"/>
                  <a:gd name="connsiteY1365" fmla="*/ 376 h 10000"/>
                  <a:gd name="connsiteX1366" fmla="*/ 5166 w 10746"/>
                  <a:gd name="connsiteY1366" fmla="*/ 376 h 10000"/>
                  <a:gd name="connsiteX1367" fmla="*/ 5157 w 10746"/>
                  <a:gd name="connsiteY1367" fmla="*/ 385 h 10000"/>
                  <a:gd name="connsiteX1368" fmla="*/ 5152 w 10746"/>
                  <a:gd name="connsiteY1368" fmla="*/ 376 h 10000"/>
                  <a:gd name="connsiteX1369" fmla="*/ 5129 w 10746"/>
                  <a:gd name="connsiteY1369" fmla="*/ 385 h 10000"/>
                  <a:gd name="connsiteX1370" fmla="*/ 5129 w 10746"/>
                  <a:gd name="connsiteY1370" fmla="*/ 350 h 10000"/>
                  <a:gd name="connsiteX1371" fmla="*/ 5129 w 10746"/>
                  <a:gd name="connsiteY1371" fmla="*/ 325 h 10000"/>
                  <a:gd name="connsiteX1372" fmla="*/ 5124 w 10746"/>
                  <a:gd name="connsiteY1372" fmla="*/ 359 h 10000"/>
                  <a:gd name="connsiteX1373" fmla="*/ 5106 w 10746"/>
                  <a:gd name="connsiteY1373" fmla="*/ 359 h 10000"/>
                  <a:gd name="connsiteX1374" fmla="*/ 5037 w 10746"/>
                  <a:gd name="connsiteY1374" fmla="*/ 419 h 10000"/>
                  <a:gd name="connsiteX1375" fmla="*/ 5051 w 10746"/>
                  <a:gd name="connsiteY1375" fmla="*/ 385 h 10000"/>
                  <a:gd name="connsiteX1376" fmla="*/ 5055 w 10746"/>
                  <a:gd name="connsiteY1376" fmla="*/ 376 h 10000"/>
                  <a:gd name="connsiteX1377" fmla="*/ 5092 w 10746"/>
                  <a:gd name="connsiteY1377" fmla="*/ 282 h 10000"/>
                  <a:gd name="connsiteX1378" fmla="*/ 5106 w 10746"/>
                  <a:gd name="connsiteY1378" fmla="*/ 265 h 10000"/>
                  <a:gd name="connsiteX1379" fmla="*/ 5115 w 10746"/>
                  <a:gd name="connsiteY1379" fmla="*/ 265 h 10000"/>
                  <a:gd name="connsiteX1380" fmla="*/ 5124 w 10746"/>
                  <a:gd name="connsiteY1380" fmla="*/ 222 h 10000"/>
                  <a:gd name="connsiteX1381" fmla="*/ 5124 w 10746"/>
                  <a:gd name="connsiteY1381" fmla="*/ 214 h 10000"/>
                  <a:gd name="connsiteX1382" fmla="*/ 5143 w 10746"/>
                  <a:gd name="connsiteY1382" fmla="*/ 197 h 10000"/>
                  <a:gd name="connsiteX1383" fmla="*/ 5152 w 10746"/>
                  <a:gd name="connsiteY1383" fmla="*/ 214 h 10000"/>
                  <a:gd name="connsiteX1384" fmla="*/ 5143 w 10746"/>
                  <a:gd name="connsiteY1384" fmla="*/ 188 h 10000"/>
                  <a:gd name="connsiteX1385" fmla="*/ 5129 w 10746"/>
                  <a:gd name="connsiteY1385" fmla="*/ 103 h 10000"/>
                  <a:gd name="connsiteX1386" fmla="*/ 5115 w 10746"/>
                  <a:gd name="connsiteY1386" fmla="*/ 85 h 10000"/>
                  <a:gd name="connsiteX1387" fmla="*/ 5111 w 10746"/>
                  <a:gd name="connsiteY1387" fmla="*/ 111 h 10000"/>
                  <a:gd name="connsiteX1388" fmla="*/ 5092 w 10746"/>
                  <a:gd name="connsiteY1388" fmla="*/ 103 h 10000"/>
                  <a:gd name="connsiteX1389" fmla="*/ 5069 w 10746"/>
                  <a:gd name="connsiteY1389" fmla="*/ 77 h 10000"/>
                  <a:gd name="connsiteX1390" fmla="*/ 5051 w 10746"/>
                  <a:gd name="connsiteY1390" fmla="*/ 26 h 10000"/>
                  <a:gd name="connsiteX1391" fmla="*/ 5041 w 10746"/>
                  <a:gd name="connsiteY1391" fmla="*/ 34 h 10000"/>
                  <a:gd name="connsiteX1392" fmla="*/ 5037 w 10746"/>
                  <a:gd name="connsiteY1392" fmla="*/ 34 h 10000"/>
                  <a:gd name="connsiteX1393" fmla="*/ 5037 w 10746"/>
                  <a:gd name="connsiteY1393" fmla="*/ 26 h 10000"/>
                  <a:gd name="connsiteX1394" fmla="*/ 5037 w 10746"/>
                  <a:gd name="connsiteY1394" fmla="*/ 9 h 10000"/>
                  <a:gd name="connsiteX1395" fmla="*/ 5023 w 10746"/>
                  <a:gd name="connsiteY1395" fmla="*/ 0 h 10000"/>
                  <a:gd name="connsiteX1396" fmla="*/ 5009 w 10746"/>
                  <a:gd name="connsiteY1396" fmla="*/ 9 h 10000"/>
                  <a:gd name="connsiteX1397" fmla="*/ 4995 w 10746"/>
                  <a:gd name="connsiteY1397" fmla="*/ 34 h 10000"/>
                  <a:gd name="connsiteX1398" fmla="*/ 4991 w 10746"/>
                  <a:gd name="connsiteY1398" fmla="*/ 60 h 10000"/>
                  <a:gd name="connsiteX1399" fmla="*/ 4982 w 10746"/>
                  <a:gd name="connsiteY1399" fmla="*/ 60 h 10000"/>
                  <a:gd name="connsiteX1400" fmla="*/ 4949 w 10746"/>
                  <a:gd name="connsiteY1400" fmla="*/ 51 h 10000"/>
                  <a:gd name="connsiteX1401" fmla="*/ 4949 w 10746"/>
                  <a:gd name="connsiteY1401" fmla="*/ 85 h 10000"/>
                  <a:gd name="connsiteX1402" fmla="*/ 4903 w 10746"/>
                  <a:gd name="connsiteY1402" fmla="*/ 197 h 10000"/>
                  <a:gd name="connsiteX1403" fmla="*/ 4899 w 10746"/>
                  <a:gd name="connsiteY1403" fmla="*/ 239 h 10000"/>
                  <a:gd name="connsiteX1404" fmla="*/ 4871 w 10746"/>
                  <a:gd name="connsiteY1404" fmla="*/ 274 h 10000"/>
                  <a:gd name="connsiteX1405" fmla="*/ 4871 w 10746"/>
                  <a:gd name="connsiteY1405" fmla="*/ 282 h 10000"/>
                  <a:gd name="connsiteX1406" fmla="*/ 4834 w 10746"/>
                  <a:gd name="connsiteY1406" fmla="*/ 376 h 10000"/>
                  <a:gd name="connsiteX1407" fmla="*/ 4829 w 10746"/>
                  <a:gd name="connsiteY1407" fmla="*/ 402 h 10000"/>
                  <a:gd name="connsiteX1408" fmla="*/ 4834 w 10746"/>
                  <a:gd name="connsiteY1408" fmla="*/ 410 h 10000"/>
                  <a:gd name="connsiteX1409" fmla="*/ 4829 w 10746"/>
                  <a:gd name="connsiteY1409" fmla="*/ 436 h 10000"/>
                  <a:gd name="connsiteX1410" fmla="*/ 4825 w 10746"/>
                  <a:gd name="connsiteY1410" fmla="*/ 436 h 10000"/>
                  <a:gd name="connsiteX1411" fmla="*/ 4825 w 10746"/>
                  <a:gd name="connsiteY1411" fmla="*/ 444 h 10000"/>
                  <a:gd name="connsiteX1412" fmla="*/ 4811 w 10746"/>
                  <a:gd name="connsiteY1412" fmla="*/ 496 h 10000"/>
                  <a:gd name="connsiteX1413" fmla="*/ 4811 w 10746"/>
                  <a:gd name="connsiteY1413" fmla="*/ 496 h 10000"/>
                  <a:gd name="connsiteX1414" fmla="*/ 4811 w 10746"/>
                  <a:gd name="connsiteY1414" fmla="*/ 521 h 10000"/>
                  <a:gd name="connsiteX1415" fmla="*/ 4816 w 10746"/>
                  <a:gd name="connsiteY1415" fmla="*/ 530 h 10000"/>
                  <a:gd name="connsiteX1416" fmla="*/ 4834 w 10746"/>
                  <a:gd name="connsiteY1416" fmla="*/ 547 h 10000"/>
                  <a:gd name="connsiteX1417" fmla="*/ 4834 w 10746"/>
                  <a:gd name="connsiteY1417" fmla="*/ 581 h 10000"/>
                  <a:gd name="connsiteX1418" fmla="*/ 4843 w 10746"/>
                  <a:gd name="connsiteY1418" fmla="*/ 581 h 10000"/>
                  <a:gd name="connsiteX1419" fmla="*/ 4843 w 10746"/>
                  <a:gd name="connsiteY1419" fmla="*/ 598 h 10000"/>
                  <a:gd name="connsiteX1420" fmla="*/ 4829 w 10746"/>
                  <a:gd name="connsiteY1420" fmla="*/ 598 h 10000"/>
                  <a:gd name="connsiteX1421" fmla="*/ 4829 w 10746"/>
                  <a:gd name="connsiteY1421" fmla="*/ 573 h 10000"/>
                  <a:gd name="connsiteX1422" fmla="*/ 4829 w 10746"/>
                  <a:gd name="connsiteY1422" fmla="*/ 632 h 10000"/>
                  <a:gd name="connsiteX1423" fmla="*/ 4829 w 10746"/>
                  <a:gd name="connsiteY1423" fmla="*/ 632 h 10000"/>
                  <a:gd name="connsiteX1424" fmla="*/ 4829 w 10746"/>
                  <a:gd name="connsiteY1424" fmla="*/ 650 h 10000"/>
                  <a:gd name="connsiteX1425" fmla="*/ 4774 w 10746"/>
                  <a:gd name="connsiteY1425" fmla="*/ 684 h 10000"/>
                  <a:gd name="connsiteX1426" fmla="*/ 4756 w 10746"/>
                  <a:gd name="connsiteY1426" fmla="*/ 684 h 10000"/>
                  <a:gd name="connsiteX1427" fmla="*/ 4737 w 10746"/>
                  <a:gd name="connsiteY1427" fmla="*/ 692 h 10000"/>
                  <a:gd name="connsiteX1428" fmla="*/ 4677 w 10746"/>
                  <a:gd name="connsiteY1428" fmla="*/ 667 h 10000"/>
                  <a:gd name="connsiteX1429" fmla="*/ 4682 w 10746"/>
                  <a:gd name="connsiteY1429" fmla="*/ 692 h 10000"/>
                  <a:gd name="connsiteX1430" fmla="*/ 4682 w 10746"/>
                  <a:gd name="connsiteY1430" fmla="*/ 709 h 10000"/>
                  <a:gd name="connsiteX1431" fmla="*/ 4691 w 10746"/>
                  <a:gd name="connsiteY1431" fmla="*/ 718 h 10000"/>
                  <a:gd name="connsiteX1432" fmla="*/ 4691 w 10746"/>
                  <a:gd name="connsiteY1432" fmla="*/ 744 h 10000"/>
                  <a:gd name="connsiteX1433" fmla="*/ 4700 w 10746"/>
                  <a:gd name="connsiteY1433" fmla="*/ 744 h 10000"/>
                  <a:gd name="connsiteX1434" fmla="*/ 4714 w 10746"/>
                  <a:gd name="connsiteY1434" fmla="*/ 769 h 10000"/>
                  <a:gd name="connsiteX1435" fmla="*/ 4710 w 10746"/>
                  <a:gd name="connsiteY1435" fmla="*/ 786 h 10000"/>
                  <a:gd name="connsiteX1436" fmla="*/ 4737 w 10746"/>
                  <a:gd name="connsiteY1436" fmla="*/ 786 h 10000"/>
                  <a:gd name="connsiteX1437" fmla="*/ 4742 w 10746"/>
                  <a:gd name="connsiteY1437" fmla="*/ 795 h 10000"/>
                  <a:gd name="connsiteX1438" fmla="*/ 4742 w 10746"/>
                  <a:gd name="connsiteY1438" fmla="*/ 803 h 10000"/>
                  <a:gd name="connsiteX1439" fmla="*/ 4737 w 10746"/>
                  <a:gd name="connsiteY1439" fmla="*/ 846 h 10000"/>
                  <a:gd name="connsiteX1440" fmla="*/ 4737 w 10746"/>
                  <a:gd name="connsiteY1440" fmla="*/ 880 h 10000"/>
                  <a:gd name="connsiteX1441" fmla="*/ 4737 w 10746"/>
                  <a:gd name="connsiteY1441" fmla="*/ 906 h 10000"/>
                  <a:gd name="connsiteX1442" fmla="*/ 4724 w 10746"/>
                  <a:gd name="connsiteY1442" fmla="*/ 897 h 10000"/>
                  <a:gd name="connsiteX1443" fmla="*/ 4724 w 10746"/>
                  <a:gd name="connsiteY1443" fmla="*/ 872 h 10000"/>
                  <a:gd name="connsiteX1444" fmla="*/ 4714 w 10746"/>
                  <a:gd name="connsiteY1444" fmla="*/ 855 h 10000"/>
                  <a:gd name="connsiteX1445" fmla="*/ 4691 w 10746"/>
                  <a:gd name="connsiteY1445" fmla="*/ 846 h 10000"/>
                  <a:gd name="connsiteX1446" fmla="*/ 4691 w 10746"/>
                  <a:gd name="connsiteY1446" fmla="*/ 846 h 10000"/>
                  <a:gd name="connsiteX1447" fmla="*/ 4696 w 10746"/>
                  <a:gd name="connsiteY1447" fmla="*/ 821 h 10000"/>
                  <a:gd name="connsiteX1448" fmla="*/ 4691 w 10746"/>
                  <a:gd name="connsiteY1448" fmla="*/ 803 h 10000"/>
                  <a:gd name="connsiteX1449" fmla="*/ 4668 w 10746"/>
                  <a:gd name="connsiteY1449" fmla="*/ 821 h 10000"/>
                  <a:gd name="connsiteX1450" fmla="*/ 4668 w 10746"/>
                  <a:gd name="connsiteY1450" fmla="*/ 786 h 10000"/>
                  <a:gd name="connsiteX1451" fmla="*/ 4664 w 10746"/>
                  <a:gd name="connsiteY1451" fmla="*/ 786 h 10000"/>
                  <a:gd name="connsiteX1452" fmla="*/ 4622 w 10746"/>
                  <a:gd name="connsiteY1452" fmla="*/ 846 h 10000"/>
                  <a:gd name="connsiteX1453" fmla="*/ 4627 w 10746"/>
                  <a:gd name="connsiteY1453" fmla="*/ 872 h 10000"/>
                  <a:gd name="connsiteX1454" fmla="*/ 4622 w 10746"/>
                  <a:gd name="connsiteY1454" fmla="*/ 880 h 10000"/>
                  <a:gd name="connsiteX1455" fmla="*/ 4622 w 10746"/>
                  <a:gd name="connsiteY1455" fmla="*/ 880 h 10000"/>
                  <a:gd name="connsiteX1456" fmla="*/ 4618 w 10746"/>
                  <a:gd name="connsiteY1456" fmla="*/ 872 h 10000"/>
                  <a:gd name="connsiteX1457" fmla="*/ 4604 w 10746"/>
                  <a:gd name="connsiteY1457" fmla="*/ 880 h 10000"/>
                  <a:gd name="connsiteX1458" fmla="*/ 4594 w 10746"/>
                  <a:gd name="connsiteY1458" fmla="*/ 906 h 10000"/>
                  <a:gd name="connsiteX1459" fmla="*/ 4604 w 10746"/>
                  <a:gd name="connsiteY1459" fmla="*/ 906 h 10000"/>
                  <a:gd name="connsiteX1460" fmla="*/ 4608 w 10746"/>
                  <a:gd name="connsiteY1460" fmla="*/ 906 h 10000"/>
                  <a:gd name="connsiteX1461" fmla="*/ 4608 w 10746"/>
                  <a:gd name="connsiteY1461" fmla="*/ 932 h 10000"/>
                  <a:gd name="connsiteX1462" fmla="*/ 4604 w 10746"/>
                  <a:gd name="connsiteY1462" fmla="*/ 932 h 10000"/>
                  <a:gd name="connsiteX1463" fmla="*/ 4590 w 10746"/>
                  <a:gd name="connsiteY1463" fmla="*/ 932 h 10000"/>
                  <a:gd name="connsiteX1464" fmla="*/ 4567 w 10746"/>
                  <a:gd name="connsiteY1464" fmla="*/ 957 h 10000"/>
                  <a:gd name="connsiteX1465" fmla="*/ 4567 w 10746"/>
                  <a:gd name="connsiteY1465" fmla="*/ 932 h 10000"/>
                  <a:gd name="connsiteX1466" fmla="*/ 4567 w 10746"/>
                  <a:gd name="connsiteY1466" fmla="*/ 923 h 10000"/>
                  <a:gd name="connsiteX1467" fmla="*/ 4562 w 10746"/>
                  <a:gd name="connsiteY1467" fmla="*/ 932 h 10000"/>
                  <a:gd name="connsiteX1468" fmla="*/ 4548 w 10746"/>
                  <a:gd name="connsiteY1468" fmla="*/ 957 h 10000"/>
                  <a:gd name="connsiteX1469" fmla="*/ 4544 w 10746"/>
                  <a:gd name="connsiteY1469" fmla="*/ 957 h 10000"/>
                  <a:gd name="connsiteX1470" fmla="*/ 4521 w 10746"/>
                  <a:gd name="connsiteY1470" fmla="*/ 983 h 10000"/>
                  <a:gd name="connsiteX1471" fmla="*/ 4521 w 10746"/>
                  <a:gd name="connsiteY1471" fmla="*/ 983 h 10000"/>
                  <a:gd name="connsiteX1472" fmla="*/ 4530 w 10746"/>
                  <a:gd name="connsiteY1472" fmla="*/ 957 h 10000"/>
                  <a:gd name="connsiteX1473" fmla="*/ 4535 w 10746"/>
                  <a:gd name="connsiteY1473" fmla="*/ 932 h 10000"/>
                  <a:gd name="connsiteX1474" fmla="*/ 4521 w 10746"/>
                  <a:gd name="connsiteY1474" fmla="*/ 932 h 10000"/>
                  <a:gd name="connsiteX1475" fmla="*/ 4516 w 10746"/>
                  <a:gd name="connsiteY1475" fmla="*/ 923 h 10000"/>
                  <a:gd name="connsiteX1476" fmla="*/ 4516 w 10746"/>
                  <a:gd name="connsiteY1476" fmla="*/ 932 h 10000"/>
                  <a:gd name="connsiteX1477" fmla="*/ 4488 w 10746"/>
                  <a:gd name="connsiteY1477" fmla="*/ 940 h 10000"/>
                  <a:gd name="connsiteX1478" fmla="*/ 4484 w 10746"/>
                  <a:gd name="connsiteY1478" fmla="*/ 983 h 10000"/>
                  <a:gd name="connsiteX1479" fmla="*/ 4470 w 10746"/>
                  <a:gd name="connsiteY1479" fmla="*/ 983 h 10000"/>
                  <a:gd name="connsiteX1480" fmla="*/ 4470 w 10746"/>
                  <a:gd name="connsiteY1480" fmla="*/ 966 h 10000"/>
                  <a:gd name="connsiteX1481" fmla="*/ 4488 w 10746"/>
                  <a:gd name="connsiteY1481" fmla="*/ 923 h 10000"/>
                  <a:gd name="connsiteX1482" fmla="*/ 4493 w 10746"/>
                  <a:gd name="connsiteY1482" fmla="*/ 880 h 10000"/>
                  <a:gd name="connsiteX1483" fmla="*/ 4475 w 10746"/>
                  <a:gd name="connsiteY1483" fmla="*/ 846 h 10000"/>
                  <a:gd name="connsiteX1484" fmla="*/ 4442 w 10746"/>
                  <a:gd name="connsiteY1484" fmla="*/ 855 h 10000"/>
                  <a:gd name="connsiteX1485" fmla="*/ 4433 w 10746"/>
                  <a:gd name="connsiteY1485" fmla="*/ 855 h 10000"/>
                  <a:gd name="connsiteX1486" fmla="*/ 4433 w 10746"/>
                  <a:gd name="connsiteY1486" fmla="*/ 880 h 10000"/>
                  <a:gd name="connsiteX1487" fmla="*/ 4401 w 10746"/>
                  <a:gd name="connsiteY1487" fmla="*/ 855 h 10000"/>
                  <a:gd name="connsiteX1488" fmla="*/ 4396 w 10746"/>
                  <a:gd name="connsiteY1488" fmla="*/ 872 h 10000"/>
                  <a:gd name="connsiteX1489" fmla="*/ 4382 w 10746"/>
                  <a:gd name="connsiteY1489" fmla="*/ 897 h 10000"/>
                  <a:gd name="connsiteX1490" fmla="*/ 4373 w 10746"/>
                  <a:gd name="connsiteY1490" fmla="*/ 872 h 10000"/>
                  <a:gd name="connsiteX1491" fmla="*/ 4341 w 10746"/>
                  <a:gd name="connsiteY1491" fmla="*/ 872 h 10000"/>
                  <a:gd name="connsiteX1492" fmla="*/ 4336 w 10746"/>
                  <a:gd name="connsiteY1492" fmla="*/ 880 h 10000"/>
                  <a:gd name="connsiteX1493" fmla="*/ 4346 w 10746"/>
                  <a:gd name="connsiteY1493" fmla="*/ 897 h 10000"/>
                  <a:gd name="connsiteX1494" fmla="*/ 4346 w 10746"/>
                  <a:gd name="connsiteY1494" fmla="*/ 897 h 10000"/>
                  <a:gd name="connsiteX1495" fmla="*/ 4313 w 10746"/>
                  <a:gd name="connsiteY1495" fmla="*/ 906 h 10000"/>
                  <a:gd name="connsiteX1496" fmla="*/ 4313 w 10746"/>
                  <a:gd name="connsiteY1496" fmla="*/ 906 h 10000"/>
                  <a:gd name="connsiteX1497" fmla="*/ 4313 w 10746"/>
                  <a:gd name="connsiteY1497" fmla="*/ 880 h 10000"/>
                  <a:gd name="connsiteX1498" fmla="*/ 4309 w 10746"/>
                  <a:gd name="connsiteY1498" fmla="*/ 897 h 10000"/>
                  <a:gd name="connsiteX1499" fmla="*/ 4295 w 10746"/>
                  <a:gd name="connsiteY1499" fmla="*/ 923 h 10000"/>
                  <a:gd name="connsiteX1500" fmla="*/ 4286 w 10746"/>
                  <a:gd name="connsiteY1500" fmla="*/ 897 h 10000"/>
                  <a:gd name="connsiteX1501" fmla="*/ 4281 w 10746"/>
                  <a:gd name="connsiteY1501" fmla="*/ 906 h 10000"/>
                  <a:gd name="connsiteX1502" fmla="*/ 4281 w 10746"/>
                  <a:gd name="connsiteY1502" fmla="*/ 940 h 10000"/>
                  <a:gd name="connsiteX1503" fmla="*/ 4286 w 10746"/>
                  <a:gd name="connsiteY1503" fmla="*/ 957 h 10000"/>
                  <a:gd name="connsiteX1504" fmla="*/ 4309 w 10746"/>
                  <a:gd name="connsiteY1504" fmla="*/ 932 h 10000"/>
                  <a:gd name="connsiteX1505" fmla="*/ 4313 w 10746"/>
                  <a:gd name="connsiteY1505" fmla="*/ 957 h 10000"/>
                  <a:gd name="connsiteX1506" fmla="*/ 4313 w 10746"/>
                  <a:gd name="connsiteY1506" fmla="*/ 966 h 10000"/>
                  <a:gd name="connsiteX1507" fmla="*/ 4323 w 10746"/>
                  <a:gd name="connsiteY1507" fmla="*/ 966 h 10000"/>
                  <a:gd name="connsiteX1508" fmla="*/ 4323 w 10746"/>
                  <a:gd name="connsiteY1508" fmla="*/ 940 h 10000"/>
                  <a:gd name="connsiteX1509" fmla="*/ 4327 w 10746"/>
                  <a:gd name="connsiteY1509" fmla="*/ 940 h 10000"/>
                  <a:gd name="connsiteX1510" fmla="*/ 4327 w 10746"/>
                  <a:gd name="connsiteY1510" fmla="*/ 957 h 10000"/>
                  <a:gd name="connsiteX1511" fmla="*/ 4327 w 10746"/>
                  <a:gd name="connsiteY1511" fmla="*/ 966 h 10000"/>
                  <a:gd name="connsiteX1512" fmla="*/ 4323 w 10746"/>
                  <a:gd name="connsiteY1512" fmla="*/ 991 h 10000"/>
                  <a:gd name="connsiteX1513" fmla="*/ 4207 w 10746"/>
                  <a:gd name="connsiteY1513" fmla="*/ 1060 h 10000"/>
                  <a:gd name="connsiteX1514" fmla="*/ 4207 w 10746"/>
                  <a:gd name="connsiteY1514" fmla="*/ 1060 h 10000"/>
                  <a:gd name="connsiteX1515" fmla="*/ 4203 w 10746"/>
                  <a:gd name="connsiteY1515" fmla="*/ 1068 h 10000"/>
                  <a:gd name="connsiteX1516" fmla="*/ 4203 w 10746"/>
                  <a:gd name="connsiteY1516" fmla="*/ 1094 h 10000"/>
                  <a:gd name="connsiteX1517" fmla="*/ 4203 w 10746"/>
                  <a:gd name="connsiteY1517" fmla="*/ 1094 h 10000"/>
                  <a:gd name="connsiteX1518" fmla="*/ 4189 w 10746"/>
                  <a:gd name="connsiteY1518" fmla="*/ 1094 h 10000"/>
                  <a:gd name="connsiteX1519" fmla="*/ 4166 w 10746"/>
                  <a:gd name="connsiteY1519" fmla="*/ 1103 h 10000"/>
                  <a:gd name="connsiteX1520" fmla="*/ 4152 w 10746"/>
                  <a:gd name="connsiteY1520" fmla="*/ 1094 h 10000"/>
                  <a:gd name="connsiteX1521" fmla="*/ 4134 w 10746"/>
                  <a:gd name="connsiteY1521" fmla="*/ 1120 h 10000"/>
                  <a:gd name="connsiteX1522" fmla="*/ 4106 w 10746"/>
                  <a:gd name="connsiteY1522" fmla="*/ 1120 h 10000"/>
                  <a:gd name="connsiteX1523" fmla="*/ 4092 w 10746"/>
                  <a:gd name="connsiteY1523" fmla="*/ 1154 h 10000"/>
                  <a:gd name="connsiteX1524" fmla="*/ 4106 w 10746"/>
                  <a:gd name="connsiteY1524" fmla="*/ 1171 h 10000"/>
                  <a:gd name="connsiteX1525" fmla="*/ 4078 w 10746"/>
                  <a:gd name="connsiteY1525" fmla="*/ 1179 h 10000"/>
                  <a:gd name="connsiteX1526" fmla="*/ 4065 w 10746"/>
                  <a:gd name="connsiteY1526" fmla="*/ 1205 h 10000"/>
                  <a:gd name="connsiteX1527" fmla="*/ 4046 w 10746"/>
                  <a:gd name="connsiteY1527" fmla="*/ 1179 h 10000"/>
                  <a:gd name="connsiteX1528" fmla="*/ 4041 w 10746"/>
                  <a:gd name="connsiteY1528" fmla="*/ 1197 h 10000"/>
                  <a:gd name="connsiteX1529" fmla="*/ 4028 w 10746"/>
                  <a:gd name="connsiteY1529" fmla="*/ 1205 h 10000"/>
                  <a:gd name="connsiteX1530" fmla="*/ 4028 w 10746"/>
                  <a:gd name="connsiteY1530" fmla="*/ 1205 h 10000"/>
                  <a:gd name="connsiteX1531" fmla="*/ 4032 w 10746"/>
                  <a:gd name="connsiteY1531" fmla="*/ 1205 h 10000"/>
                  <a:gd name="connsiteX1532" fmla="*/ 4032 w 10746"/>
                  <a:gd name="connsiteY1532" fmla="*/ 1231 h 10000"/>
                  <a:gd name="connsiteX1533" fmla="*/ 4014 w 10746"/>
                  <a:gd name="connsiteY1533" fmla="*/ 1239 h 10000"/>
                  <a:gd name="connsiteX1534" fmla="*/ 4014 w 10746"/>
                  <a:gd name="connsiteY1534" fmla="*/ 1256 h 10000"/>
                  <a:gd name="connsiteX1535" fmla="*/ 4000 w 10746"/>
                  <a:gd name="connsiteY1535" fmla="*/ 1265 h 10000"/>
                  <a:gd name="connsiteX1536" fmla="*/ 3986 w 10746"/>
                  <a:gd name="connsiteY1536" fmla="*/ 1308 h 10000"/>
                  <a:gd name="connsiteX1537" fmla="*/ 3972 w 10746"/>
                  <a:gd name="connsiteY1537" fmla="*/ 1316 h 10000"/>
                  <a:gd name="connsiteX1538" fmla="*/ 3972 w 10746"/>
                  <a:gd name="connsiteY1538" fmla="*/ 1325 h 10000"/>
                  <a:gd name="connsiteX1539" fmla="*/ 3972 w 10746"/>
                  <a:gd name="connsiteY1539" fmla="*/ 1342 h 10000"/>
                  <a:gd name="connsiteX1540" fmla="*/ 3968 w 10746"/>
                  <a:gd name="connsiteY1540" fmla="*/ 1350 h 10000"/>
                  <a:gd name="connsiteX1541" fmla="*/ 3954 w 10746"/>
                  <a:gd name="connsiteY1541" fmla="*/ 1368 h 10000"/>
                  <a:gd name="connsiteX1542" fmla="*/ 3945 w 10746"/>
                  <a:gd name="connsiteY1542" fmla="*/ 1350 h 10000"/>
                  <a:gd name="connsiteX1543" fmla="*/ 3908 w 10746"/>
                  <a:gd name="connsiteY1543" fmla="*/ 1342 h 10000"/>
                  <a:gd name="connsiteX1544" fmla="*/ 3894 w 10746"/>
                  <a:gd name="connsiteY1544" fmla="*/ 1368 h 10000"/>
                  <a:gd name="connsiteX1545" fmla="*/ 3922 w 10746"/>
                  <a:gd name="connsiteY1545" fmla="*/ 1393 h 10000"/>
                  <a:gd name="connsiteX1546" fmla="*/ 3945 w 10746"/>
                  <a:gd name="connsiteY1546" fmla="*/ 1393 h 10000"/>
                  <a:gd name="connsiteX1547" fmla="*/ 3940 w 10746"/>
                  <a:gd name="connsiteY1547" fmla="*/ 1419 h 10000"/>
                  <a:gd name="connsiteX1548" fmla="*/ 3931 w 10746"/>
                  <a:gd name="connsiteY1548" fmla="*/ 1427 h 10000"/>
                  <a:gd name="connsiteX1549" fmla="*/ 3926 w 10746"/>
                  <a:gd name="connsiteY1549" fmla="*/ 1427 h 10000"/>
                  <a:gd name="connsiteX1550" fmla="*/ 3922 w 10746"/>
                  <a:gd name="connsiteY1550" fmla="*/ 1419 h 10000"/>
                  <a:gd name="connsiteX1551" fmla="*/ 3912 w 10746"/>
                  <a:gd name="connsiteY1551" fmla="*/ 1427 h 10000"/>
                  <a:gd name="connsiteX1552" fmla="*/ 3912 w 10746"/>
                  <a:gd name="connsiteY1552" fmla="*/ 1444 h 10000"/>
                  <a:gd name="connsiteX1553" fmla="*/ 3894 w 10746"/>
                  <a:gd name="connsiteY1553" fmla="*/ 1513 h 10000"/>
                  <a:gd name="connsiteX1554" fmla="*/ 3885 w 10746"/>
                  <a:gd name="connsiteY1554" fmla="*/ 1513 h 10000"/>
                  <a:gd name="connsiteX1555" fmla="*/ 3880 w 10746"/>
                  <a:gd name="connsiteY1555" fmla="*/ 1538 h 10000"/>
                  <a:gd name="connsiteX1556" fmla="*/ 3885 w 10746"/>
                  <a:gd name="connsiteY1556" fmla="*/ 1564 h 10000"/>
                  <a:gd name="connsiteX1557" fmla="*/ 3880 w 10746"/>
                  <a:gd name="connsiteY1557" fmla="*/ 1581 h 10000"/>
                  <a:gd name="connsiteX1558" fmla="*/ 3871 w 10746"/>
                  <a:gd name="connsiteY1558" fmla="*/ 1538 h 10000"/>
                  <a:gd name="connsiteX1559" fmla="*/ 3853 w 10746"/>
                  <a:gd name="connsiteY1559" fmla="*/ 1530 h 10000"/>
                  <a:gd name="connsiteX1560" fmla="*/ 3853 w 10746"/>
                  <a:gd name="connsiteY1560" fmla="*/ 1504 h 10000"/>
                  <a:gd name="connsiteX1561" fmla="*/ 3834 w 10746"/>
                  <a:gd name="connsiteY1561" fmla="*/ 1487 h 10000"/>
                  <a:gd name="connsiteX1562" fmla="*/ 3834 w 10746"/>
                  <a:gd name="connsiteY1562" fmla="*/ 1487 h 10000"/>
                  <a:gd name="connsiteX1563" fmla="*/ 3839 w 10746"/>
                  <a:gd name="connsiteY1563" fmla="*/ 1513 h 10000"/>
                  <a:gd name="connsiteX1564" fmla="*/ 3820 w 10746"/>
                  <a:gd name="connsiteY1564" fmla="*/ 1538 h 10000"/>
                  <a:gd name="connsiteX1565" fmla="*/ 3820 w 10746"/>
                  <a:gd name="connsiteY1565" fmla="*/ 1556 h 10000"/>
                  <a:gd name="connsiteX1566" fmla="*/ 3820 w 10746"/>
                  <a:gd name="connsiteY1566" fmla="*/ 1564 h 10000"/>
                  <a:gd name="connsiteX1567" fmla="*/ 3820 w 10746"/>
                  <a:gd name="connsiteY1567" fmla="*/ 1581 h 10000"/>
                  <a:gd name="connsiteX1568" fmla="*/ 3853 w 10746"/>
                  <a:gd name="connsiteY1568" fmla="*/ 1581 h 10000"/>
                  <a:gd name="connsiteX1569" fmla="*/ 3857 w 10746"/>
                  <a:gd name="connsiteY1569" fmla="*/ 1598 h 10000"/>
                  <a:gd name="connsiteX1570" fmla="*/ 3880 w 10746"/>
                  <a:gd name="connsiteY1570" fmla="*/ 1615 h 10000"/>
                  <a:gd name="connsiteX1571" fmla="*/ 3871 w 10746"/>
                  <a:gd name="connsiteY1571" fmla="*/ 1615 h 10000"/>
                  <a:gd name="connsiteX1572" fmla="*/ 3871 w 10746"/>
                  <a:gd name="connsiteY1572" fmla="*/ 1641 h 10000"/>
                  <a:gd name="connsiteX1573" fmla="*/ 3880 w 10746"/>
                  <a:gd name="connsiteY1573" fmla="*/ 1641 h 10000"/>
                  <a:gd name="connsiteX1574" fmla="*/ 3871 w 10746"/>
                  <a:gd name="connsiteY1574" fmla="*/ 1650 h 10000"/>
                  <a:gd name="connsiteX1575" fmla="*/ 3857 w 10746"/>
                  <a:gd name="connsiteY1575" fmla="*/ 1650 h 10000"/>
                  <a:gd name="connsiteX1576" fmla="*/ 3853 w 10746"/>
                  <a:gd name="connsiteY1576" fmla="*/ 1650 h 10000"/>
                  <a:gd name="connsiteX1577" fmla="*/ 3839 w 10746"/>
                  <a:gd name="connsiteY1577" fmla="*/ 1667 h 10000"/>
                  <a:gd name="connsiteX1578" fmla="*/ 3848 w 10746"/>
                  <a:gd name="connsiteY1578" fmla="*/ 1692 h 10000"/>
                  <a:gd name="connsiteX1579" fmla="*/ 3834 w 10746"/>
                  <a:gd name="connsiteY1579" fmla="*/ 1692 h 10000"/>
                  <a:gd name="connsiteX1580" fmla="*/ 3825 w 10746"/>
                  <a:gd name="connsiteY1580" fmla="*/ 1692 h 10000"/>
                  <a:gd name="connsiteX1581" fmla="*/ 3825 w 10746"/>
                  <a:gd name="connsiteY1581" fmla="*/ 1718 h 10000"/>
                  <a:gd name="connsiteX1582" fmla="*/ 3839 w 10746"/>
                  <a:gd name="connsiteY1582" fmla="*/ 1726 h 10000"/>
                  <a:gd name="connsiteX1583" fmla="*/ 3880 w 10746"/>
                  <a:gd name="connsiteY1583" fmla="*/ 1752 h 10000"/>
                  <a:gd name="connsiteX1584" fmla="*/ 3894 w 10746"/>
                  <a:gd name="connsiteY1584" fmla="*/ 1829 h 10000"/>
                  <a:gd name="connsiteX1585" fmla="*/ 3899 w 10746"/>
                  <a:gd name="connsiteY1585" fmla="*/ 1838 h 10000"/>
                  <a:gd name="connsiteX1586" fmla="*/ 3894 w 10746"/>
                  <a:gd name="connsiteY1586" fmla="*/ 1855 h 10000"/>
                  <a:gd name="connsiteX1587" fmla="*/ 3880 w 10746"/>
                  <a:gd name="connsiteY1587" fmla="*/ 1838 h 10000"/>
                  <a:gd name="connsiteX1588" fmla="*/ 3880 w 10746"/>
                  <a:gd name="connsiteY1588" fmla="*/ 1855 h 10000"/>
                  <a:gd name="connsiteX1589" fmla="*/ 3880 w 10746"/>
                  <a:gd name="connsiteY1589" fmla="*/ 1863 h 10000"/>
                  <a:gd name="connsiteX1590" fmla="*/ 3871 w 10746"/>
                  <a:gd name="connsiteY1590" fmla="*/ 1872 h 10000"/>
                  <a:gd name="connsiteX1591" fmla="*/ 3880 w 10746"/>
                  <a:gd name="connsiteY1591" fmla="*/ 1889 h 10000"/>
                  <a:gd name="connsiteX1592" fmla="*/ 3885 w 10746"/>
                  <a:gd name="connsiteY1592" fmla="*/ 1889 h 10000"/>
                  <a:gd name="connsiteX1593" fmla="*/ 3880 w 10746"/>
                  <a:gd name="connsiteY1593" fmla="*/ 1897 h 10000"/>
                  <a:gd name="connsiteX1594" fmla="*/ 3871 w 10746"/>
                  <a:gd name="connsiteY1594" fmla="*/ 1915 h 10000"/>
                  <a:gd name="connsiteX1595" fmla="*/ 3848 w 10746"/>
                  <a:gd name="connsiteY1595" fmla="*/ 1923 h 10000"/>
                  <a:gd name="connsiteX1596" fmla="*/ 3825 w 10746"/>
                  <a:gd name="connsiteY1596" fmla="*/ 1940 h 10000"/>
                  <a:gd name="connsiteX1597" fmla="*/ 3811 w 10746"/>
                  <a:gd name="connsiteY1597" fmla="*/ 1940 h 10000"/>
                  <a:gd name="connsiteX1598" fmla="*/ 3806 w 10746"/>
                  <a:gd name="connsiteY1598" fmla="*/ 1949 h 10000"/>
                  <a:gd name="connsiteX1599" fmla="*/ 3797 w 10746"/>
                  <a:gd name="connsiteY1599" fmla="*/ 1966 h 10000"/>
                  <a:gd name="connsiteX1600" fmla="*/ 3788 w 10746"/>
                  <a:gd name="connsiteY1600" fmla="*/ 1991 h 10000"/>
                  <a:gd name="connsiteX1601" fmla="*/ 3765 w 10746"/>
                  <a:gd name="connsiteY1601" fmla="*/ 1974 h 10000"/>
                  <a:gd name="connsiteX1602" fmla="*/ 3760 w 10746"/>
                  <a:gd name="connsiteY1602" fmla="*/ 1966 h 10000"/>
                  <a:gd name="connsiteX1603" fmla="*/ 3760 w 10746"/>
                  <a:gd name="connsiteY1603" fmla="*/ 1966 h 10000"/>
                  <a:gd name="connsiteX1604" fmla="*/ 3631 w 10746"/>
                  <a:gd name="connsiteY1604" fmla="*/ 2009 h 10000"/>
                  <a:gd name="connsiteX1605" fmla="*/ 3618 w 10746"/>
                  <a:gd name="connsiteY1605" fmla="*/ 2000 h 10000"/>
                  <a:gd name="connsiteX1606" fmla="*/ 3599 w 10746"/>
                  <a:gd name="connsiteY1606" fmla="*/ 2009 h 10000"/>
                  <a:gd name="connsiteX1607" fmla="*/ 3571 w 10746"/>
                  <a:gd name="connsiteY1607" fmla="*/ 2000 h 10000"/>
                  <a:gd name="connsiteX1608" fmla="*/ 3530 w 10746"/>
                  <a:gd name="connsiteY1608" fmla="*/ 2026 h 10000"/>
                  <a:gd name="connsiteX1609" fmla="*/ 3530 w 10746"/>
                  <a:gd name="connsiteY1609" fmla="*/ 2034 h 10000"/>
                  <a:gd name="connsiteX1610" fmla="*/ 3525 w 10746"/>
                  <a:gd name="connsiteY1610" fmla="*/ 2051 h 10000"/>
                  <a:gd name="connsiteX1611" fmla="*/ 3512 w 10746"/>
                  <a:gd name="connsiteY1611" fmla="*/ 2034 h 10000"/>
                  <a:gd name="connsiteX1612" fmla="*/ 3507 w 10746"/>
                  <a:gd name="connsiteY1612" fmla="*/ 2034 h 10000"/>
                  <a:gd name="connsiteX1613" fmla="*/ 3498 w 10746"/>
                  <a:gd name="connsiteY1613" fmla="*/ 2051 h 10000"/>
                  <a:gd name="connsiteX1614" fmla="*/ 3484 w 10746"/>
                  <a:gd name="connsiteY1614" fmla="*/ 2060 h 10000"/>
                  <a:gd name="connsiteX1615" fmla="*/ 3484 w 10746"/>
                  <a:gd name="connsiteY1615" fmla="*/ 2085 h 10000"/>
                  <a:gd name="connsiteX1616" fmla="*/ 3484 w 10746"/>
                  <a:gd name="connsiteY1616" fmla="*/ 2103 h 10000"/>
                  <a:gd name="connsiteX1617" fmla="*/ 3493 w 10746"/>
                  <a:gd name="connsiteY1617" fmla="*/ 2103 h 10000"/>
                  <a:gd name="connsiteX1618" fmla="*/ 3493 w 10746"/>
                  <a:gd name="connsiteY1618" fmla="*/ 2085 h 10000"/>
                  <a:gd name="connsiteX1619" fmla="*/ 3498 w 10746"/>
                  <a:gd name="connsiteY1619" fmla="*/ 2085 h 10000"/>
                  <a:gd name="connsiteX1620" fmla="*/ 3498 w 10746"/>
                  <a:gd name="connsiteY1620" fmla="*/ 2111 h 10000"/>
                  <a:gd name="connsiteX1621" fmla="*/ 3484 w 10746"/>
                  <a:gd name="connsiteY1621" fmla="*/ 2120 h 10000"/>
                  <a:gd name="connsiteX1622" fmla="*/ 3484 w 10746"/>
                  <a:gd name="connsiteY1622" fmla="*/ 2145 h 10000"/>
                  <a:gd name="connsiteX1623" fmla="*/ 3470 w 10746"/>
                  <a:gd name="connsiteY1623" fmla="*/ 2137 h 10000"/>
                  <a:gd name="connsiteX1624" fmla="*/ 3465 w 10746"/>
                  <a:gd name="connsiteY1624" fmla="*/ 2145 h 10000"/>
                  <a:gd name="connsiteX1625" fmla="*/ 3470 w 10746"/>
                  <a:gd name="connsiteY1625" fmla="*/ 2171 h 10000"/>
                  <a:gd name="connsiteX1626" fmla="*/ 3484 w 10746"/>
                  <a:gd name="connsiteY1626" fmla="*/ 2171 h 10000"/>
                  <a:gd name="connsiteX1627" fmla="*/ 3484 w 10746"/>
                  <a:gd name="connsiteY1627" fmla="*/ 2197 h 10000"/>
                  <a:gd name="connsiteX1628" fmla="*/ 3465 w 10746"/>
                  <a:gd name="connsiteY1628" fmla="*/ 2214 h 10000"/>
                  <a:gd name="connsiteX1629" fmla="*/ 3493 w 10746"/>
                  <a:gd name="connsiteY1629" fmla="*/ 2248 h 10000"/>
                  <a:gd name="connsiteX1630" fmla="*/ 3484 w 10746"/>
                  <a:gd name="connsiteY1630" fmla="*/ 2256 h 10000"/>
                  <a:gd name="connsiteX1631" fmla="*/ 3498 w 10746"/>
                  <a:gd name="connsiteY1631" fmla="*/ 2274 h 10000"/>
                  <a:gd name="connsiteX1632" fmla="*/ 3498 w 10746"/>
                  <a:gd name="connsiteY1632" fmla="*/ 2256 h 10000"/>
                  <a:gd name="connsiteX1633" fmla="*/ 3507 w 10746"/>
                  <a:gd name="connsiteY1633" fmla="*/ 2308 h 10000"/>
                  <a:gd name="connsiteX1634" fmla="*/ 3512 w 10746"/>
                  <a:gd name="connsiteY1634" fmla="*/ 2325 h 10000"/>
                  <a:gd name="connsiteX1635" fmla="*/ 3507 w 10746"/>
                  <a:gd name="connsiteY1635" fmla="*/ 2333 h 10000"/>
                  <a:gd name="connsiteX1636" fmla="*/ 3507 w 10746"/>
                  <a:gd name="connsiteY1636" fmla="*/ 2359 h 10000"/>
                  <a:gd name="connsiteX1637" fmla="*/ 3507 w 10746"/>
                  <a:gd name="connsiteY1637" fmla="*/ 2376 h 10000"/>
                  <a:gd name="connsiteX1638" fmla="*/ 3498 w 10746"/>
                  <a:gd name="connsiteY1638" fmla="*/ 2410 h 10000"/>
                  <a:gd name="connsiteX1639" fmla="*/ 3498 w 10746"/>
                  <a:gd name="connsiteY1639" fmla="*/ 2436 h 10000"/>
                  <a:gd name="connsiteX1640" fmla="*/ 3507 w 10746"/>
                  <a:gd name="connsiteY1640" fmla="*/ 2462 h 10000"/>
                  <a:gd name="connsiteX1641" fmla="*/ 3507 w 10746"/>
                  <a:gd name="connsiteY1641" fmla="*/ 2496 h 10000"/>
                  <a:gd name="connsiteX1642" fmla="*/ 3512 w 10746"/>
                  <a:gd name="connsiteY1642" fmla="*/ 2521 h 10000"/>
                  <a:gd name="connsiteX1643" fmla="*/ 3525 w 10746"/>
                  <a:gd name="connsiteY1643" fmla="*/ 2556 h 10000"/>
                  <a:gd name="connsiteX1644" fmla="*/ 3571 w 10746"/>
                  <a:gd name="connsiteY1644" fmla="*/ 2573 h 10000"/>
                  <a:gd name="connsiteX1645" fmla="*/ 3590 w 10746"/>
                  <a:gd name="connsiteY1645" fmla="*/ 2598 h 10000"/>
                  <a:gd name="connsiteX1646" fmla="*/ 3599 w 10746"/>
                  <a:gd name="connsiteY1646" fmla="*/ 2598 h 10000"/>
                  <a:gd name="connsiteX1647" fmla="*/ 3604 w 10746"/>
                  <a:gd name="connsiteY1647" fmla="*/ 2632 h 10000"/>
                  <a:gd name="connsiteX1648" fmla="*/ 3599 w 10746"/>
                  <a:gd name="connsiteY1648" fmla="*/ 2658 h 10000"/>
                  <a:gd name="connsiteX1649" fmla="*/ 3590 w 10746"/>
                  <a:gd name="connsiteY1649" fmla="*/ 2667 h 10000"/>
                  <a:gd name="connsiteX1650" fmla="*/ 3604 w 10746"/>
                  <a:gd name="connsiteY1650" fmla="*/ 2667 h 10000"/>
                  <a:gd name="connsiteX1651" fmla="*/ 3613 w 10746"/>
                  <a:gd name="connsiteY1651" fmla="*/ 2692 h 10000"/>
                  <a:gd name="connsiteX1652" fmla="*/ 3627 w 10746"/>
                  <a:gd name="connsiteY1652" fmla="*/ 2735 h 10000"/>
                  <a:gd name="connsiteX1653" fmla="*/ 3631 w 10746"/>
                  <a:gd name="connsiteY1653" fmla="*/ 2744 h 10000"/>
                  <a:gd name="connsiteX1654" fmla="*/ 3659 w 10746"/>
                  <a:gd name="connsiteY1654" fmla="*/ 2761 h 10000"/>
                  <a:gd name="connsiteX1655" fmla="*/ 3673 w 10746"/>
                  <a:gd name="connsiteY1655" fmla="*/ 2769 h 10000"/>
                  <a:gd name="connsiteX1656" fmla="*/ 3673 w 10746"/>
                  <a:gd name="connsiteY1656" fmla="*/ 2761 h 10000"/>
                  <a:gd name="connsiteX1657" fmla="*/ 3687 w 10746"/>
                  <a:gd name="connsiteY1657" fmla="*/ 2829 h 10000"/>
                  <a:gd name="connsiteX1658" fmla="*/ 3677 w 10746"/>
                  <a:gd name="connsiteY1658" fmla="*/ 2897 h 10000"/>
                  <a:gd name="connsiteX1659" fmla="*/ 3673 w 10746"/>
                  <a:gd name="connsiteY1659" fmla="*/ 2915 h 10000"/>
                  <a:gd name="connsiteX1660" fmla="*/ 3664 w 10746"/>
                  <a:gd name="connsiteY1660" fmla="*/ 2957 h 10000"/>
                  <a:gd name="connsiteX1661" fmla="*/ 3659 w 10746"/>
                  <a:gd name="connsiteY1661" fmla="*/ 2983 h 10000"/>
                  <a:gd name="connsiteX1662" fmla="*/ 3664 w 10746"/>
                  <a:gd name="connsiteY1662" fmla="*/ 3017 h 10000"/>
                  <a:gd name="connsiteX1663" fmla="*/ 3659 w 10746"/>
                  <a:gd name="connsiteY1663" fmla="*/ 3043 h 10000"/>
                  <a:gd name="connsiteX1664" fmla="*/ 3677 w 10746"/>
                  <a:gd name="connsiteY1664" fmla="*/ 3094 h 10000"/>
                  <a:gd name="connsiteX1665" fmla="*/ 3691 w 10746"/>
                  <a:gd name="connsiteY1665" fmla="*/ 3282 h 10000"/>
                  <a:gd name="connsiteX1666" fmla="*/ 3691 w 10746"/>
                  <a:gd name="connsiteY1666" fmla="*/ 3308 h 10000"/>
                  <a:gd name="connsiteX1667" fmla="*/ 3677 w 10746"/>
                  <a:gd name="connsiteY1667" fmla="*/ 3342 h 10000"/>
                  <a:gd name="connsiteX1668" fmla="*/ 3664 w 10746"/>
                  <a:gd name="connsiteY1668" fmla="*/ 3342 h 10000"/>
                  <a:gd name="connsiteX1669" fmla="*/ 3650 w 10746"/>
                  <a:gd name="connsiteY1669" fmla="*/ 3342 h 10000"/>
                  <a:gd name="connsiteX1670" fmla="*/ 3650 w 10746"/>
                  <a:gd name="connsiteY1670" fmla="*/ 3350 h 10000"/>
                  <a:gd name="connsiteX1671" fmla="*/ 3659 w 10746"/>
                  <a:gd name="connsiteY1671" fmla="*/ 3402 h 10000"/>
                  <a:gd name="connsiteX1672" fmla="*/ 3659 w 10746"/>
                  <a:gd name="connsiteY1672" fmla="*/ 3419 h 10000"/>
                  <a:gd name="connsiteX1673" fmla="*/ 3631 w 10746"/>
                  <a:gd name="connsiteY1673" fmla="*/ 3402 h 10000"/>
                  <a:gd name="connsiteX1674" fmla="*/ 3604 w 10746"/>
                  <a:gd name="connsiteY1674" fmla="*/ 3393 h 10000"/>
                  <a:gd name="connsiteX1675" fmla="*/ 3599 w 10746"/>
                  <a:gd name="connsiteY1675" fmla="*/ 3368 h 10000"/>
                  <a:gd name="connsiteX1676" fmla="*/ 3590 w 10746"/>
                  <a:gd name="connsiteY1676" fmla="*/ 3239 h 10000"/>
                  <a:gd name="connsiteX1677" fmla="*/ 3599 w 10746"/>
                  <a:gd name="connsiteY1677" fmla="*/ 3179 h 10000"/>
                  <a:gd name="connsiteX1678" fmla="*/ 3599 w 10746"/>
                  <a:gd name="connsiteY1678" fmla="*/ 3171 h 10000"/>
                  <a:gd name="connsiteX1679" fmla="*/ 3599 w 10746"/>
                  <a:gd name="connsiteY1679" fmla="*/ 3009 h 10000"/>
                  <a:gd name="connsiteX1680" fmla="*/ 3604 w 10746"/>
                  <a:gd name="connsiteY1680" fmla="*/ 2983 h 10000"/>
                  <a:gd name="connsiteX1681" fmla="*/ 3645 w 10746"/>
                  <a:gd name="connsiteY1681" fmla="*/ 2932 h 10000"/>
                  <a:gd name="connsiteX1682" fmla="*/ 3650 w 10746"/>
                  <a:gd name="connsiteY1682" fmla="*/ 2872 h 10000"/>
                  <a:gd name="connsiteX1683" fmla="*/ 3659 w 10746"/>
                  <a:gd name="connsiteY1683" fmla="*/ 2855 h 10000"/>
                  <a:gd name="connsiteX1684" fmla="*/ 3659 w 10746"/>
                  <a:gd name="connsiteY1684" fmla="*/ 2821 h 10000"/>
                  <a:gd name="connsiteX1685" fmla="*/ 3631 w 10746"/>
                  <a:gd name="connsiteY1685" fmla="*/ 2795 h 10000"/>
                  <a:gd name="connsiteX1686" fmla="*/ 3567 w 10746"/>
                  <a:gd name="connsiteY1686" fmla="*/ 2821 h 10000"/>
                  <a:gd name="connsiteX1687" fmla="*/ 3544 w 10746"/>
                  <a:gd name="connsiteY1687" fmla="*/ 2795 h 10000"/>
                  <a:gd name="connsiteX1688" fmla="*/ 3530 w 10746"/>
                  <a:gd name="connsiteY1688" fmla="*/ 2769 h 10000"/>
                  <a:gd name="connsiteX1689" fmla="*/ 3530 w 10746"/>
                  <a:gd name="connsiteY1689" fmla="*/ 2786 h 10000"/>
                  <a:gd name="connsiteX1690" fmla="*/ 3498 w 10746"/>
                  <a:gd name="connsiteY1690" fmla="*/ 2692 h 10000"/>
                  <a:gd name="connsiteX1691" fmla="*/ 3498 w 10746"/>
                  <a:gd name="connsiteY1691" fmla="*/ 2667 h 10000"/>
                  <a:gd name="connsiteX1692" fmla="*/ 3442 w 10746"/>
                  <a:gd name="connsiteY1692" fmla="*/ 2607 h 10000"/>
                  <a:gd name="connsiteX1693" fmla="*/ 3433 w 10746"/>
                  <a:gd name="connsiteY1693" fmla="*/ 2581 h 10000"/>
                  <a:gd name="connsiteX1694" fmla="*/ 3396 w 10746"/>
                  <a:gd name="connsiteY1694" fmla="*/ 2556 h 10000"/>
                  <a:gd name="connsiteX1695" fmla="*/ 3318 w 10746"/>
                  <a:gd name="connsiteY1695" fmla="*/ 2556 h 10000"/>
                  <a:gd name="connsiteX1696" fmla="*/ 3304 w 10746"/>
                  <a:gd name="connsiteY1696" fmla="*/ 2607 h 10000"/>
                  <a:gd name="connsiteX1697" fmla="*/ 3276 w 10746"/>
                  <a:gd name="connsiteY1697" fmla="*/ 2632 h 10000"/>
                  <a:gd name="connsiteX1698" fmla="*/ 3272 w 10746"/>
                  <a:gd name="connsiteY1698" fmla="*/ 2667 h 10000"/>
                  <a:gd name="connsiteX1699" fmla="*/ 3304 w 10746"/>
                  <a:gd name="connsiteY1699" fmla="*/ 2667 h 10000"/>
                  <a:gd name="connsiteX1700" fmla="*/ 3323 w 10746"/>
                  <a:gd name="connsiteY1700" fmla="*/ 2692 h 10000"/>
                  <a:gd name="connsiteX1701" fmla="*/ 3318 w 10746"/>
                  <a:gd name="connsiteY1701" fmla="*/ 2735 h 10000"/>
                  <a:gd name="connsiteX1702" fmla="*/ 3304 w 10746"/>
                  <a:gd name="connsiteY1702" fmla="*/ 2761 h 10000"/>
                  <a:gd name="connsiteX1703" fmla="*/ 3276 w 10746"/>
                  <a:gd name="connsiteY1703" fmla="*/ 2769 h 10000"/>
                  <a:gd name="connsiteX1704" fmla="*/ 3263 w 10746"/>
                  <a:gd name="connsiteY1704" fmla="*/ 2795 h 10000"/>
                  <a:gd name="connsiteX1705" fmla="*/ 3235 w 10746"/>
                  <a:gd name="connsiteY1705" fmla="*/ 2803 h 10000"/>
                  <a:gd name="connsiteX1706" fmla="*/ 3235 w 10746"/>
                  <a:gd name="connsiteY1706" fmla="*/ 2786 h 10000"/>
                  <a:gd name="connsiteX1707" fmla="*/ 3212 w 10746"/>
                  <a:gd name="connsiteY1707" fmla="*/ 2709 h 10000"/>
                  <a:gd name="connsiteX1708" fmla="*/ 3198 w 10746"/>
                  <a:gd name="connsiteY1708" fmla="*/ 2709 h 10000"/>
                  <a:gd name="connsiteX1709" fmla="*/ 3184 w 10746"/>
                  <a:gd name="connsiteY1709" fmla="*/ 2735 h 10000"/>
                  <a:gd name="connsiteX1710" fmla="*/ 3189 w 10746"/>
                  <a:gd name="connsiteY1710" fmla="*/ 2761 h 10000"/>
                  <a:gd name="connsiteX1711" fmla="*/ 3203 w 10746"/>
                  <a:gd name="connsiteY1711" fmla="*/ 2855 h 10000"/>
                  <a:gd name="connsiteX1712" fmla="*/ 3212 w 10746"/>
                  <a:gd name="connsiteY1712" fmla="*/ 2872 h 10000"/>
                  <a:gd name="connsiteX1713" fmla="*/ 3235 w 10746"/>
                  <a:gd name="connsiteY1713" fmla="*/ 2906 h 10000"/>
                  <a:gd name="connsiteX1714" fmla="*/ 3258 w 10746"/>
                  <a:gd name="connsiteY1714" fmla="*/ 2915 h 10000"/>
                  <a:gd name="connsiteX1715" fmla="*/ 3272 w 10746"/>
                  <a:gd name="connsiteY1715" fmla="*/ 2957 h 10000"/>
                  <a:gd name="connsiteX1716" fmla="*/ 3276 w 10746"/>
                  <a:gd name="connsiteY1716" fmla="*/ 2957 h 10000"/>
                  <a:gd name="connsiteX1717" fmla="*/ 3286 w 10746"/>
                  <a:gd name="connsiteY1717" fmla="*/ 2966 h 10000"/>
                  <a:gd name="connsiteX1718" fmla="*/ 3300 w 10746"/>
                  <a:gd name="connsiteY1718" fmla="*/ 2957 h 10000"/>
                  <a:gd name="connsiteX1719" fmla="*/ 3309 w 10746"/>
                  <a:gd name="connsiteY1719" fmla="*/ 2932 h 10000"/>
                  <a:gd name="connsiteX1720" fmla="*/ 3304 w 10746"/>
                  <a:gd name="connsiteY1720" fmla="*/ 2966 h 10000"/>
                  <a:gd name="connsiteX1721" fmla="*/ 3309 w 10746"/>
                  <a:gd name="connsiteY1721" fmla="*/ 2983 h 10000"/>
                  <a:gd name="connsiteX1722" fmla="*/ 3323 w 10746"/>
                  <a:gd name="connsiteY1722" fmla="*/ 2966 h 10000"/>
                  <a:gd name="connsiteX1723" fmla="*/ 3323 w 10746"/>
                  <a:gd name="connsiteY1723" fmla="*/ 3043 h 10000"/>
                  <a:gd name="connsiteX1724" fmla="*/ 3346 w 10746"/>
                  <a:gd name="connsiteY1724" fmla="*/ 3068 h 10000"/>
                  <a:gd name="connsiteX1725" fmla="*/ 3346 w 10746"/>
                  <a:gd name="connsiteY1725" fmla="*/ 3094 h 10000"/>
                  <a:gd name="connsiteX1726" fmla="*/ 3323 w 10746"/>
                  <a:gd name="connsiteY1726" fmla="*/ 3094 h 10000"/>
                  <a:gd name="connsiteX1727" fmla="*/ 3309 w 10746"/>
                  <a:gd name="connsiteY1727" fmla="*/ 3077 h 10000"/>
                  <a:gd name="connsiteX1728" fmla="*/ 3304 w 10746"/>
                  <a:gd name="connsiteY1728" fmla="*/ 3051 h 10000"/>
                  <a:gd name="connsiteX1729" fmla="*/ 3300 w 10746"/>
                  <a:gd name="connsiteY1729" fmla="*/ 3043 h 10000"/>
                  <a:gd name="connsiteX1730" fmla="*/ 3286 w 10746"/>
                  <a:gd name="connsiteY1730" fmla="*/ 3017 h 10000"/>
                  <a:gd name="connsiteX1731" fmla="*/ 3152 w 10746"/>
                  <a:gd name="connsiteY1731" fmla="*/ 2966 h 10000"/>
                  <a:gd name="connsiteX1732" fmla="*/ 3129 w 10746"/>
                  <a:gd name="connsiteY1732" fmla="*/ 2915 h 10000"/>
                  <a:gd name="connsiteX1733" fmla="*/ 3129 w 10746"/>
                  <a:gd name="connsiteY1733" fmla="*/ 2906 h 10000"/>
                  <a:gd name="connsiteX1734" fmla="*/ 3152 w 10746"/>
                  <a:gd name="connsiteY1734" fmla="*/ 2906 h 10000"/>
                  <a:gd name="connsiteX1735" fmla="*/ 3152 w 10746"/>
                  <a:gd name="connsiteY1735" fmla="*/ 2846 h 10000"/>
                  <a:gd name="connsiteX1736" fmla="*/ 3138 w 10746"/>
                  <a:gd name="connsiteY1736" fmla="*/ 2795 h 10000"/>
                  <a:gd name="connsiteX1737" fmla="*/ 3138 w 10746"/>
                  <a:gd name="connsiteY1737" fmla="*/ 2769 h 10000"/>
                  <a:gd name="connsiteX1738" fmla="*/ 3143 w 10746"/>
                  <a:gd name="connsiteY1738" fmla="*/ 2718 h 10000"/>
                  <a:gd name="connsiteX1739" fmla="*/ 3129 w 10746"/>
                  <a:gd name="connsiteY1739" fmla="*/ 2692 h 10000"/>
                  <a:gd name="connsiteX1740" fmla="*/ 3143 w 10746"/>
                  <a:gd name="connsiteY1740" fmla="*/ 2667 h 10000"/>
                  <a:gd name="connsiteX1741" fmla="*/ 3157 w 10746"/>
                  <a:gd name="connsiteY1741" fmla="*/ 2581 h 10000"/>
                  <a:gd name="connsiteX1742" fmla="*/ 3143 w 10746"/>
                  <a:gd name="connsiteY1742" fmla="*/ 2496 h 10000"/>
                  <a:gd name="connsiteX1743" fmla="*/ 3157 w 10746"/>
                  <a:gd name="connsiteY1743" fmla="*/ 2487 h 10000"/>
                  <a:gd name="connsiteX1744" fmla="*/ 3143 w 10746"/>
                  <a:gd name="connsiteY1744" fmla="*/ 2444 h 10000"/>
                  <a:gd name="connsiteX1745" fmla="*/ 3143 w 10746"/>
                  <a:gd name="connsiteY1745" fmla="*/ 2419 h 10000"/>
                  <a:gd name="connsiteX1746" fmla="*/ 3143 w 10746"/>
                  <a:gd name="connsiteY1746" fmla="*/ 2410 h 10000"/>
                  <a:gd name="connsiteX1747" fmla="*/ 3124 w 10746"/>
                  <a:gd name="connsiteY1747" fmla="*/ 2376 h 10000"/>
                  <a:gd name="connsiteX1748" fmla="*/ 3115 w 10746"/>
                  <a:gd name="connsiteY1748" fmla="*/ 2350 h 10000"/>
                  <a:gd name="connsiteX1749" fmla="*/ 3101 w 10746"/>
                  <a:gd name="connsiteY1749" fmla="*/ 2359 h 10000"/>
                  <a:gd name="connsiteX1750" fmla="*/ 3115 w 10746"/>
                  <a:gd name="connsiteY1750" fmla="*/ 2581 h 10000"/>
                  <a:gd name="connsiteX1751" fmla="*/ 3111 w 10746"/>
                  <a:gd name="connsiteY1751" fmla="*/ 2624 h 10000"/>
                  <a:gd name="connsiteX1752" fmla="*/ 3009 w 10746"/>
                  <a:gd name="connsiteY1752" fmla="*/ 2761 h 10000"/>
                  <a:gd name="connsiteX1753" fmla="*/ 3009 w 10746"/>
                  <a:gd name="connsiteY1753" fmla="*/ 2803 h 10000"/>
                  <a:gd name="connsiteX1754" fmla="*/ 3005 w 10746"/>
                  <a:gd name="connsiteY1754" fmla="*/ 2829 h 10000"/>
                  <a:gd name="connsiteX1755" fmla="*/ 2982 w 10746"/>
                  <a:gd name="connsiteY1755" fmla="*/ 2872 h 10000"/>
                  <a:gd name="connsiteX1756" fmla="*/ 2982 w 10746"/>
                  <a:gd name="connsiteY1756" fmla="*/ 2880 h 10000"/>
                  <a:gd name="connsiteX1757" fmla="*/ 3037 w 10746"/>
                  <a:gd name="connsiteY1757" fmla="*/ 3034 h 10000"/>
                  <a:gd name="connsiteX1758" fmla="*/ 3041 w 10746"/>
                  <a:gd name="connsiteY1758" fmla="*/ 3103 h 10000"/>
                  <a:gd name="connsiteX1759" fmla="*/ 3069 w 10746"/>
                  <a:gd name="connsiteY1759" fmla="*/ 3188 h 10000"/>
                  <a:gd name="connsiteX1760" fmla="*/ 3055 w 10746"/>
                  <a:gd name="connsiteY1760" fmla="*/ 3325 h 10000"/>
                  <a:gd name="connsiteX1761" fmla="*/ 3037 w 10746"/>
                  <a:gd name="connsiteY1761" fmla="*/ 3368 h 10000"/>
                  <a:gd name="connsiteX1762" fmla="*/ 3037 w 10746"/>
                  <a:gd name="connsiteY1762" fmla="*/ 3444 h 10000"/>
                  <a:gd name="connsiteX1763" fmla="*/ 3028 w 10746"/>
                  <a:gd name="connsiteY1763" fmla="*/ 3453 h 10000"/>
                  <a:gd name="connsiteX1764" fmla="*/ 3023 w 10746"/>
                  <a:gd name="connsiteY1764" fmla="*/ 3530 h 10000"/>
                  <a:gd name="connsiteX1765" fmla="*/ 3051 w 10746"/>
                  <a:gd name="connsiteY1765" fmla="*/ 3624 h 10000"/>
                  <a:gd name="connsiteX1766" fmla="*/ 3037 w 10746"/>
                  <a:gd name="connsiteY1766" fmla="*/ 3718 h 10000"/>
                  <a:gd name="connsiteX1767" fmla="*/ 3041 w 10746"/>
                  <a:gd name="connsiteY1767" fmla="*/ 3752 h 10000"/>
                  <a:gd name="connsiteX1768" fmla="*/ 3055 w 10746"/>
                  <a:gd name="connsiteY1768" fmla="*/ 3761 h 10000"/>
                  <a:gd name="connsiteX1769" fmla="*/ 3078 w 10746"/>
                  <a:gd name="connsiteY1769" fmla="*/ 3752 h 10000"/>
                  <a:gd name="connsiteX1770" fmla="*/ 3092 w 10746"/>
                  <a:gd name="connsiteY1770" fmla="*/ 3752 h 10000"/>
                  <a:gd name="connsiteX1771" fmla="*/ 3129 w 10746"/>
                  <a:gd name="connsiteY1771" fmla="*/ 3761 h 10000"/>
                  <a:gd name="connsiteX1772" fmla="*/ 3129 w 10746"/>
                  <a:gd name="connsiteY1772" fmla="*/ 3735 h 10000"/>
                  <a:gd name="connsiteX1773" fmla="*/ 3157 w 10746"/>
                  <a:gd name="connsiteY1773" fmla="*/ 3718 h 10000"/>
                  <a:gd name="connsiteX1774" fmla="*/ 3184 w 10746"/>
                  <a:gd name="connsiteY1774" fmla="*/ 3718 h 10000"/>
                  <a:gd name="connsiteX1775" fmla="*/ 3290 w 10746"/>
                  <a:gd name="connsiteY1775" fmla="*/ 3838 h 10000"/>
                  <a:gd name="connsiteX1776" fmla="*/ 3300 w 10746"/>
                  <a:gd name="connsiteY1776" fmla="*/ 3846 h 10000"/>
                  <a:gd name="connsiteX1777" fmla="*/ 3300 w 10746"/>
                  <a:gd name="connsiteY1777" fmla="*/ 3915 h 10000"/>
                  <a:gd name="connsiteX1778" fmla="*/ 3318 w 10746"/>
                  <a:gd name="connsiteY1778" fmla="*/ 4000 h 10000"/>
                  <a:gd name="connsiteX1779" fmla="*/ 3323 w 10746"/>
                  <a:gd name="connsiteY1779" fmla="*/ 4000 h 10000"/>
                  <a:gd name="connsiteX1780" fmla="*/ 3323 w 10746"/>
                  <a:gd name="connsiteY1780" fmla="*/ 4034 h 10000"/>
                  <a:gd name="connsiteX1781" fmla="*/ 3318 w 10746"/>
                  <a:gd name="connsiteY1781" fmla="*/ 4051 h 10000"/>
                  <a:gd name="connsiteX1782" fmla="*/ 3300 w 10746"/>
                  <a:gd name="connsiteY1782" fmla="*/ 4051 h 10000"/>
                  <a:gd name="connsiteX1783" fmla="*/ 3290 w 10746"/>
                  <a:gd name="connsiteY1783" fmla="*/ 4077 h 10000"/>
                  <a:gd name="connsiteX1784" fmla="*/ 3286 w 10746"/>
                  <a:gd name="connsiteY1784" fmla="*/ 4103 h 10000"/>
                  <a:gd name="connsiteX1785" fmla="*/ 3286 w 10746"/>
                  <a:gd name="connsiteY1785" fmla="*/ 4197 h 10000"/>
                  <a:gd name="connsiteX1786" fmla="*/ 3290 w 10746"/>
                  <a:gd name="connsiteY1786" fmla="*/ 4214 h 10000"/>
                  <a:gd name="connsiteX1787" fmla="*/ 3304 w 10746"/>
                  <a:gd name="connsiteY1787" fmla="*/ 4214 h 10000"/>
                  <a:gd name="connsiteX1788" fmla="*/ 3323 w 10746"/>
                  <a:gd name="connsiteY1788" fmla="*/ 4239 h 10000"/>
                  <a:gd name="connsiteX1789" fmla="*/ 3350 w 10746"/>
                  <a:gd name="connsiteY1789" fmla="*/ 4222 h 10000"/>
                  <a:gd name="connsiteX1790" fmla="*/ 3369 w 10746"/>
                  <a:gd name="connsiteY1790" fmla="*/ 4256 h 10000"/>
                  <a:gd name="connsiteX1791" fmla="*/ 3369 w 10746"/>
                  <a:gd name="connsiteY1791" fmla="*/ 4256 h 10000"/>
                  <a:gd name="connsiteX1792" fmla="*/ 3336 w 10746"/>
                  <a:gd name="connsiteY1792" fmla="*/ 4274 h 10000"/>
                  <a:gd name="connsiteX1793" fmla="*/ 3323 w 10746"/>
                  <a:gd name="connsiteY1793" fmla="*/ 4274 h 10000"/>
                  <a:gd name="connsiteX1794" fmla="*/ 3290 w 10746"/>
                  <a:gd name="connsiteY1794" fmla="*/ 4274 h 10000"/>
                  <a:gd name="connsiteX1795" fmla="*/ 3286 w 10746"/>
                  <a:gd name="connsiteY1795" fmla="*/ 4239 h 10000"/>
                  <a:gd name="connsiteX1796" fmla="*/ 3263 w 10746"/>
                  <a:gd name="connsiteY1796" fmla="*/ 4214 h 10000"/>
                  <a:gd name="connsiteX1797" fmla="*/ 3258 w 10746"/>
                  <a:gd name="connsiteY1797" fmla="*/ 4188 h 10000"/>
                  <a:gd name="connsiteX1798" fmla="*/ 3263 w 10746"/>
                  <a:gd name="connsiteY1798" fmla="*/ 4171 h 10000"/>
                  <a:gd name="connsiteX1799" fmla="*/ 3263 w 10746"/>
                  <a:gd name="connsiteY1799" fmla="*/ 4103 h 10000"/>
                  <a:gd name="connsiteX1800" fmla="*/ 3276 w 10746"/>
                  <a:gd name="connsiteY1800" fmla="*/ 4060 h 10000"/>
                  <a:gd name="connsiteX1801" fmla="*/ 3272 w 10746"/>
                  <a:gd name="connsiteY1801" fmla="*/ 4051 h 10000"/>
                  <a:gd name="connsiteX1802" fmla="*/ 3263 w 10746"/>
                  <a:gd name="connsiteY1802" fmla="*/ 4051 h 10000"/>
                  <a:gd name="connsiteX1803" fmla="*/ 3263 w 10746"/>
                  <a:gd name="connsiteY1803" fmla="*/ 4034 h 10000"/>
                  <a:gd name="connsiteX1804" fmla="*/ 3263 w 10746"/>
                  <a:gd name="connsiteY1804" fmla="*/ 4000 h 10000"/>
                  <a:gd name="connsiteX1805" fmla="*/ 3272 w 10746"/>
                  <a:gd name="connsiteY1805" fmla="*/ 4000 h 10000"/>
                  <a:gd name="connsiteX1806" fmla="*/ 3272 w 10746"/>
                  <a:gd name="connsiteY1806" fmla="*/ 3974 h 10000"/>
                  <a:gd name="connsiteX1807" fmla="*/ 3272 w 10746"/>
                  <a:gd name="connsiteY1807" fmla="*/ 3966 h 10000"/>
                  <a:gd name="connsiteX1808" fmla="*/ 3272 w 10746"/>
                  <a:gd name="connsiteY1808" fmla="*/ 3949 h 10000"/>
                  <a:gd name="connsiteX1809" fmla="*/ 3258 w 10746"/>
                  <a:gd name="connsiteY1809" fmla="*/ 3923 h 10000"/>
                  <a:gd name="connsiteX1810" fmla="*/ 3249 w 10746"/>
                  <a:gd name="connsiteY1810" fmla="*/ 3915 h 10000"/>
                  <a:gd name="connsiteX1811" fmla="*/ 3244 w 10746"/>
                  <a:gd name="connsiteY1811" fmla="*/ 3897 h 10000"/>
                  <a:gd name="connsiteX1812" fmla="*/ 3230 w 10746"/>
                  <a:gd name="connsiteY1812" fmla="*/ 3889 h 10000"/>
                  <a:gd name="connsiteX1813" fmla="*/ 3230 w 10746"/>
                  <a:gd name="connsiteY1813" fmla="*/ 3863 h 10000"/>
                  <a:gd name="connsiteX1814" fmla="*/ 3230 w 10746"/>
                  <a:gd name="connsiteY1814" fmla="*/ 3838 h 10000"/>
                  <a:gd name="connsiteX1815" fmla="*/ 3226 w 10746"/>
                  <a:gd name="connsiteY1815" fmla="*/ 3803 h 10000"/>
                  <a:gd name="connsiteX1816" fmla="*/ 3138 w 10746"/>
                  <a:gd name="connsiteY1816" fmla="*/ 3838 h 10000"/>
                  <a:gd name="connsiteX1817" fmla="*/ 3078 w 10746"/>
                  <a:gd name="connsiteY1817" fmla="*/ 3889 h 10000"/>
                  <a:gd name="connsiteX1818" fmla="*/ 3078 w 10746"/>
                  <a:gd name="connsiteY1818" fmla="*/ 3940 h 10000"/>
                  <a:gd name="connsiteX1819" fmla="*/ 3069 w 10746"/>
                  <a:gd name="connsiteY1819" fmla="*/ 3983 h 10000"/>
                  <a:gd name="connsiteX1820" fmla="*/ 3069 w 10746"/>
                  <a:gd name="connsiteY1820" fmla="*/ 4009 h 10000"/>
                  <a:gd name="connsiteX1821" fmla="*/ 3078 w 10746"/>
                  <a:gd name="connsiteY1821" fmla="*/ 4026 h 10000"/>
                  <a:gd name="connsiteX1822" fmla="*/ 3083 w 10746"/>
                  <a:gd name="connsiteY1822" fmla="*/ 4034 h 10000"/>
                  <a:gd name="connsiteX1823" fmla="*/ 3092 w 10746"/>
                  <a:gd name="connsiteY1823" fmla="*/ 4060 h 10000"/>
                  <a:gd name="connsiteX1824" fmla="*/ 3092 w 10746"/>
                  <a:gd name="connsiteY1824" fmla="*/ 4077 h 10000"/>
                  <a:gd name="connsiteX1825" fmla="*/ 3097 w 10746"/>
                  <a:gd name="connsiteY1825" fmla="*/ 4103 h 10000"/>
                  <a:gd name="connsiteX1826" fmla="*/ 3101 w 10746"/>
                  <a:gd name="connsiteY1826" fmla="*/ 4162 h 10000"/>
                  <a:gd name="connsiteX1827" fmla="*/ 3097 w 10746"/>
                  <a:gd name="connsiteY1827" fmla="*/ 4222 h 10000"/>
                  <a:gd name="connsiteX1828" fmla="*/ 3041 w 10746"/>
                  <a:gd name="connsiteY1828" fmla="*/ 4325 h 10000"/>
                  <a:gd name="connsiteX1829" fmla="*/ 3037 w 10746"/>
                  <a:gd name="connsiteY1829" fmla="*/ 4419 h 10000"/>
                  <a:gd name="connsiteX1830" fmla="*/ 3018 w 10746"/>
                  <a:gd name="connsiteY1830" fmla="*/ 4470 h 10000"/>
                  <a:gd name="connsiteX1831" fmla="*/ 2991 w 10746"/>
                  <a:gd name="connsiteY1831" fmla="*/ 4513 h 10000"/>
                  <a:gd name="connsiteX1832" fmla="*/ 2977 w 10746"/>
                  <a:gd name="connsiteY1832" fmla="*/ 4530 h 10000"/>
                  <a:gd name="connsiteX1833" fmla="*/ 2945 w 10746"/>
                  <a:gd name="connsiteY1833" fmla="*/ 4556 h 10000"/>
                  <a:gd name="connsiteX1834" fmla="*/ 2935 w 10746"/>
                  <a:gd name="connsiteY1834" fmla="*/ 4581 h 10000"/>
                  <a:gd name="connsiteX1835" fmla="*/ 2949 w 10746"/>
                  <a:gd name="connsiteY1835" fmla="*/ 4624 h 10000"/>
                  <a:gd name="connsiteX1836" fmla="*/ 2945 w 10746"/>
                  <a:gd name="connsiteY1836" fmla="*/ 4658 h 10000"/>
                  <a:gd name="connsiteX1837" fmla="*/ 2922 w 10746"/>
                  <a:gd name="connsiteY1837" fmla="*/ 4667 h 10000"/>
                  <a:gd name="connsiteX1838" fmla="*/ 2876 w 10746"/>
                  <a:gd name="connsiteY1838" fmla="*/ 4632 h 10000"/>
                  <a:gd name="connsiteX1839" fmla="*/ 2857 w 10746"/>
                  <a:gd name="connsiteY1839" fmla="*/ 4632 h 10000"/>
                  <a:gd name="connsiteX1840" fmla="*/ 2820 w 10746"/>
                  <a:gd name="connsiteY1840" fmla="*/ 4641 h 10000"/>
                  <a:gd name="connsiteX1841" fmla="*/ 2797 w 10746"/>
                  <a:gd name="connsiteY1841" fmla="*/ 4632 h 10000"/>
                  <a:gd name="connsiteX1842" fmla="*/ 2788 w 10746"/>
                  <a:gd name="connsiteY1842" fmla="*/ 4624 h 10000"/>
                  <a:gd name="connsiteX1843" fmla="*/ 2788 w 10746"/>
                  <a:gd name="connsiteY1843" fmla="*/ 4598 h 10000"/>
                  <a:gd name="connsiteX1844" fmla="*/ 2797 w 10746"/>
                  <a:gd name="connsiteY1844" fmla="*/ 4581 h 10000"/>
                  <a:gd name="connsiteX1845" fmla="*/ 2788 w 10746"/>
                  <a:gd name="connsiteY1845" fmla="*/ 4530 h 10000"/>
                  <a:gd name="connsiteX1846" fmla="*/ 2774 w 10746"/>
                  <a:gd name="connsiteY1846" fmla="*/ 4530 h 10000"/>
                  <a:gd name="connsiteX1847" fmla="*/ 2770 w 10746"/>
                  <a:gd name="connsiteY1847" fmla="*/ 4513 h 10000"/>
                  <a:gd name="connsiteX1848" fmla="*/ 2774 w 10746"/>
                  <a:gd name="connsiteY1848" fmla="*/ 4513 h 10000"/>
                  <a:gd name="connsiteX1849" fmla="*/ 2788 w 10746"/>
                  <a:gd name="connsiteY1849" fmla="*/ 4496 h 10000"/>
                  <a:gd name="connsiteX1850" fmla="*/ 2802 w 10746"/>
                  <a:gd name="connsiteY1850" fmla="*/ 4513 h 10000"/>
                  <a:gd name="connsiteX1851" fmla="*/ 2811 w 10746"/>
                  <a:gd name="connsiteY1851" fmla="*/ 4530 h 10000"/>
                  <a:gd name="connsiteX1852" fmla="*/ 2820 w 10746"/>
                  <a:gd name="connsiteY1852" fmla="*/ 4521 h 10000"/>
                  <a:gd name="connsiteX1853" fmla="*/ 2829 w 10746"/>
                  <a:gd name="connsiteY1853" fmla="*/ 4513 h 10000"/>
                  <a:gd name="connsiteX1854" fmla="*/ 2843 w 10746"/>
                  <a:gd name="connsiteY1854" fmla="*/ 4513 h 10000"/>
                  <a:gd name="connsiteX1855" fmla="*/ 2848 w 10746"/>
                  <a:gd name="connsiteY1855" fmla="*/ 4470 h 10000"/>
                  <a:gd name="connsiteX1856" fmla="*/ 2862 w 10746"/>
                  <a:gd name="connsiteY1856" fmla="*/ 4487 h 10000"/>
                  <a:gd name="connsiteX1857" fmla="*/ 2876 w 10746"/>
                  <a:gd name="connsiteY1857" fmla="*/ 4470 h 10000"/>
                  <a:gd name="connsiteX1858" fmla="*/ 2880 w 10746"/>
                  <a:gd name="connsiteY1858" fmla="*/ 4462 h 10000"/>
                  <a:gd name="connsiteX1859" fmla="*/ 2889 w 10746"/>
                  <a:gd name="connsiteY1859" fmla="*/ 4444 h 10000"/>
                  <a:gd name="connsiteX1860" fmla="*/ 2894 w 10746"/>
                  <a:gd name="connsiteY1860" fmla="*/ 4462 h 10000"/>
                  <a:gd name="connsiteX1861" fmla="*/ 2917 w 10746"/>
                  <a:gd name="connsiteY1861" fmla="*/ 4444 h 10000"/>
                  <a:gd name="connsiteX1862" fmla="*/ 2922 w 10746"/>
                  <a:gd name="connsiteY1862" fmla="*/ 4436 h 10000"/>
                  <a:gd name="connsiteX1863" fmla="*/ 2917 w 10746"/>
                  <a:gd name="connsiteY1863" fmla="*/ 4410 h 10000"/>
                  <a:gd name="connsiteX1864" fmla="*/ 2894 w 10746"/>
                  <a:gd name="connsiteY1864" fmla="*/ 4410 h 10000"/>
                  <a:gd name="connsiteX1865" fmla="*/ 2889 w 10746"/>
                  <a:gd name="connsiteY1865" fmla="*/ 4419 h 10000"/>
                  <a:gd name="connsiteX1866" fmla="*/ 2876 w 10746"/>
                  <a:gd name="connsiteY1866" fmla="*/ 4410 h 10000"/>
                  <a:gd name="connsiteX1867" fmla="*/ 2880 w 10746"/>
                  <a:gd name="connsiteY1867" fmla="*/ 4376 h 10000"/>
                  <a:gd name="connsiteX1868" fmla="*/ 2903 w 10746"/>
                  <a:gd name="connsiteY1868" fmla="*/ 4393 h 10000"/>
                  <a:gd name="connsiteX1869" fmla="*/ 2931 w 10746"/>
                  <a:gd name="connsiteY1869" fmla="*/ 4393 h 10000"/>
                  <a:gd name="connsiteX1870" fmla="*/ 2931 w 10746"/>
                  <a:gd name="connsiteY1870" fmla="*/ 4385 h 10000"/>
                  <a:gd name="connsiteX1871" fmla="*/ 2931 w 10746"/>
                  <a:gd name="connsiteY1871" fmla="*/ 4350 h 10000"/>
                  <a:gd name="connsiteX1872" fmla="*/ 2945 w 10746"/>
                  <a:gd name="connsiteY1872" fmla="*/ 4350 h 10000"/>
                  <a:gd name="connsiteX1873" fmla="*/ 2949 w 10746"/>
                  <a:gd name="connsiteY1873" fmla="*/ 4325 h 10000"/>
                  <a:gd name="connsiteX1874" fmla="*/ 2963 w 10746"/>
                  <a:gd name="connsiteY1874" fmla="*/ 4256 h 10000"/>
                  <a:gd name="connsiteX1875" fmla="*/ 2982 w 10746"/>
                  <a:gd name="connsiteY1875" fmla="*/ 4239 h 10000"/>
                  <a:gd name="connsiteX1876" fmla="*/ 2991 w 10746"/>
                  <a:gd name="connsiteY1876" fmla="*/ 4214 h 10000"/>
                  <a:gd name="connsiteX1877" fmla="*/ 2991 w 10746"/>
                  <a:gd name="connsiteY1877" fmla="*/ 4197 h 10000"/>
                  <a:gd name="connsiteX1878" fmla="*/ 2995 w 10746"/>
                  <a:gd name="connsiteY1878" fmla="*/ 4171 h 10000"/>
                  <a:gd name="connsiteX1879" fmla="*/ 2991 w 10746"/>
                  <a:gd name="connsiteY1879" fmla="*/ 4077 h 10000"/>
                  <a:gd name="connsiteX1880" fmla="*/ 2995 w 10746"/>
                  <a:gd name="connsiteY1880" fmla="*/ 4034 h 10000"/>
                  <a:gd name="connsiteX1881" fmla="*/ 3018 w 10746"/>
                  <a:gd name="connsiteY1881" fmla="*/ 3983 h 10000"/>
                  <a:gd name="connsiteX1882" fmla="*/ 3018 w 10746"/>
                  <a:gd name="connsiteY1882" fmla="*/ 3915 h 10000"/>
                  <a:gd name="connsiteX1883" fmla="*/ 2949 w 10746"/>
                  <a:gd name="connsiteY1883" fmla="*/ 3778 h 10000"/>
                  <a:gd name="connsiteX1884" fmla="*/ 2954 w 10746"/>
                  <a:gd name="connsiteY1884" fmla="*/ 3675 h 10000"/>
                  <a:gd name="connsiteX1885" fmla="*/ 2954 w 10746"/>
                  <a:gd name="connsiteY1885" fmla="*/ 3650 h 10000"/>
                  <a:gd name="connsiteX1886" fmla="*/ 2963 w 10746"/>
                  <a:gd name="connsiteY1886" fmla="*/ 3624 h 10000"/>
                  <a:gd name="connsiteX1887" fmla="*/ 2954 w 10746"/>
                  <a:gd name="connsiteY1887" fmla="*/ 3564 h 10000"/>
                  <a:gd name="connsiteX1888" fmla="*/ 2963 w 10746"/>
                  <a:gd name="connsiteY1888" fmla="*/ 3538 h 10000"/>
                  <a:gd name="connsiteX1889" fmla="*/ 2963 w 10746"/>
                  <a:gd name="connsiteY1889" fmla="*/ 3487 h 10000"/>
                  <a:gd name="connsiteX1890" fmla="*/ 2963 w 10746"/>
                  <a:gd name="connsiteY1890" fmla="*/ 3479 h 10000"/>
                  <a:gd name="connsiteX1891" fmla="*/ 2963 w 10746"/>
                  <a:gd name="connsiteY1891" fmla="*/ 3462 h 10000"/>
                  <a:gd name="connsiteX1892" fmla="*/ 2954 w 10746"/>
                  <a:gd name="connsiteY1892" fmla="*/ 3453 h 10000"/>
                  <a:gd name="connsiteX1893" fmla="*/ 2954 w 10746"/>
                  <a:gd name="connsiteY1893" fmla="*/ 3444 h 10000"/>
                  <a:gd name="connsiteX1894" fmla="*/ 2954 w 10746"/>
                  <a:gd name="connsiteY1894" fmla="*/ 3402 h 10000"/>
                  <a:gd name="connsiteX1895" fmla="*/ 2954 w 10746"/>
                  <a:gd name="connsiteY1895" fmla="*/ 3393 h 10000"/>
                  <a:gd name="connsiteX1896" fmla="*/ 2949 w 10746"/>
                  <a:gd name="connsiteY1896" fmla="*/ 3376 h 10000"/>
                  <a:gd name="connsiteX1897" fmla="*/ 2949 w 10746"/>
                  <a:gd name="connsiteY1897" fmla="*/ 3342 h 10000"/>
                  <a:gd name="connsiteX1898" fmla="*/ 2949 w 10746"/>
                  <a:gd name="connsiteY1898" fmla="*/ 3316 h 10000"/>
                  <a:gd name="connsiteX1899" fmla="*/ 2968 w 10746"/>
                  <a:gd name="connsiteY1899" fmla="*/ 3291 h 10000"/>
                  <a:gd name="connsiteX1900" fmla="*/ 2963 w 10746"/>
                  <a:gd name="connsiteY1900" fmla="*/ 3205 h 10000"/>
                  <a:gd name="connsiteX1901" fmla="*/ 2968 w 10746"/>
                  <a:gd name="connsiteY1901" fmla="*/ 3171 h 10000"/>
                  <a:gd name="connsiteX1902" fmla="*/ 2968 w 10746"/>
                  <a:gd name="connsiteY1902" fmla="*/ 3128 h 10000"/>
                  <a:gd name="connsiteX1903" fmla="*/ 2954 w 10746"/>
                  <a:gd name="connsiteY1903" fmla="*/ 3051 h 10000"/>
                  <a:gd name="connsiteX1904" fmla="*/ 2954 w 10746"/>
                  <a:gd name="connsiteY1904" fmla="*/ 3009 h 10000"/>
                  <a:gd name="connsiteX1905" fmla="*/ 2922 w 10746"/>
                  <a:gd name="connsiteY1905" fmla="*/ 2940 h 10000"/>
                  <a:gd name="connsiteX1906" fmla="*/ 2903 w 10746"/>
                  <a:gd name="connsiteY1906" fmla="*/ 2880 h 10000"/>
                  <a:gd name="connsiteX1907" fmla="*/ 2903 w 10746"/>
                  <a:gd name="connsiteY1907" fmla="*/ 2855 h 10000"/>
                  <a:gd name="connsiteX1908" fmla="*/ 2908 w 10746"/>
                  <a:gd name="connsiteY1908" fmla="*/ 2846 h 10000"/>
                  <a:gd name="connsiteX1909" fmla="*/ 2931 w 10746"/>
                  <a:gd name="connsiteY1909" fmla="*/ 2821 h 10000"/>
                  <a:gd name="connsiteX1910" fmla="*/ 2931 w 10746"/>
                  <a:gd name="connsiteY1910" fmla="*/ 2803 h 10000"/>
                  <a:gd name="connsiteX1911" fmla="*/ 2935 w 10746"/>
                  <a:gd name="connsiteY1911" fmla="*/ 2786 h 10000"/>
                  <a:gd name="connsiteX1912" fmla="*/ 2935 w 10746"/>
                  <a:gd name="connsiteY1912" fmla="*/ 2744 h 10000"/>
                  <a:gd name="connsiteX1913" fmla="*/ 2963 w 10746"/>
                  <a:gd name="connsiteY1913" fmla="*/ 2607 h 10000"/>
                  <a:gd name="connsiteX1914" fmla="*/ 2963 w 10746"/>
                  <a:gd name="connsiteY1914" fmla="*/ 2419 h 10000"/>
                  <a:gd name="connsiteX1915" fmla="*/ 2954 w 10746"/>
                  <a:gd name="connsiteY1915" fmla="*/ 2410 h 10000"/>
                  <a:gd name="connsiteX1916" fmla="*/ 2963 w 10746"/>
                  <a:gd name="connsiteY1916" fmla="*/ 2393 h 10000"/>
                  <a:gd name="connsiteX1917" fmla="*/ 2908 w 10746"/>
                  <a:gd name="connsiteY1917" fmla="*/ 2359 h 10000"/>
                  <a:gd name="connsiteX1918" fmla="*/ 2889 w 10746"/>
                  <a:gd name="connsiteY1918" fmla="*/ 2325 h 10000"/>
                  <a:gd name="connsiteX1919" fmla="*/ 2788 w 10746"/>
                  <a:gd name="connsiteY1919" fmla="*/ 2333 h 10000"/>
                  <a:gd name="connsiteX1920" fmla="*/ 2774 w 10746"/>
                  <a:gd name="connsiteY1920" fmla="*/ 2325 h 10000"/>
                  <a:gd name="connsiteX1921" fmla="*/ 2783 w 10746"/>
                  <a:gd name="connsiteY1921" fmla="*/ 2308 h 10000"/>
                  <a:gd name="connsiteX1922" fmla="*/ 2747 w 10746"/>
                  <a:gd name="connsiteY1922" fmla="*/ 2308 h 10000"/>
                  <a:gd name="connsiteX1923" fmla="*/ 2742 w 10746"/>
                  <a:gd name="connsiteY1923" fmla="*/ 2333 h 10000"/>
                  <a:gd name="connsiteX1924" fmla="*/ 2682 w 10746"/>
                  <a:gd name="connsiteY1924" fmla="*/ 2769 h 10000"/>
                  <a:gd name="connsiteX1925" fmla="*/ 2613 w 10746"/>
                  <a:gd name="connsiteY1925" fmla="*/ 2940 h 10000"/>
                  <a:gd name="connsiteX1926" fmla="*/ 2581 w 10746"/>
                  <a:gd name="connsiteY1926" fmla="*/ 2966 h 10000"/>
                  <a:gd name="connsiteX1927" fmla="*/ 2576 w 10746"/>
                  <a:gd name="connsiteY1927" fmla="*/ 3051 h 10000"/>
                  <a:gd name="connsiteX1928" fmla="*/ 2581 w 10746"/>
                  <a:gd name="connsiteY1928" fmla="*/ 3051 h 10000"/>
                  <a:gd name="connsiteX1929" fmla="*/ 2594 w 10746"/>
                  <a:gd name="connsiteY1929" fmla="*/ 3017 h 10000"/>
                  <a:gd name="connsiteX1930" fmla="*/ 2594 w 10746"/>
                  <a:gd name="connsiteY1930" fmla="*/ 3034 h 10000"/>
                  <a:gd name="connsiteX1931" fmla="*/ 2594 w 10746"/>
                  <a:gd name="connsiteY1931" fmla="*/ 3051 h 10000"/>
                  <a:gd name="connsiteX1932" fmla="*/ 2590 w 10746"/>
                  <a:gd name="connsiteY1932" fmla="*/ 3077 h 10000"/>
                  <a:gd name="connsiteX1933" fmla="*/ 2567 w 10746"/>
                  <a:gd name="connsiteY1933" fmla="*/ 3103 h 10000"/>
                  <a:gd name="connsiteX1934" fmla="*/ 2562 w 10746"/>
                  <a:gd name="connsiteY1934" fmla="*/ 3145 h 10000"/>
                  <a:gd name="connsiteX1935" fmla="*/ 2567 w 10746"/>
                  <a:gd name="connsiteY1935" fmla="*/ 3179 h 10000"/>
                  <a:gd name="connsiteX1936" fmla="*/ 2590 w 10746"/>
                  <a:gd name="connsiteY1936" fmla="*/ 3171 h 10000"/>
                  <a:gd name="connsiteX1937" fmla="*/ 2594 w 10746"/>
                  <a:gd name="connsiteY1937" fmla="*/ 3145 h 10000"/>
                  <a:gd name="connsiteX1938" fmla="*/ 2613 w 10746"/>
                  <a:gd name="connsiteY1938" fmla="*/ 3154 h 10000"/>
                  <a:gd name="connsiteX1939" fmla="*/ 2622 w 10746"/>
                  <a:gd name="connsiteY1939" fmla="*/ 3179 h 10000"/>
                  <a:gd name="connsiteX1940" fmla="*/ 2613 w 10746"/>
                  <a:gd name="connsiteY1940" fmla="*/ 3214 h 10000"/>
                  <a:gd name="connsiteX1941" fmla="*/ 2613 w 10746"/>
                  <a:gd name="connsiteY1941" fmla="*/ 3308 h 10000"/>
                  <a:gd name="connsiteX1942" fmla="*/ 2608 w 10746"/>
                  <a:gd name="connsiteY1942" fmla="*/ 3325 h 10000"/>
                  <a:gd name="connsiteX1943" fmla="*/ 2608 w 10746"/>
                  <a:gd name="connsiteY1943" fmla="*/ 3376 h 10000"/>
                  <a:gd name="connsiteX1944" fmla="*/ 2613 w 10746"/>
                  <a:gd name="connsiteY1944" fmla="*/ 3419 h 10000"/>
                  <a:gd name="connsiteX1945" fmla="*/ 2608 w 10746"/>
                  <a:gd name="connsiteY1945" fmla="*/ 3444 h 10000"/>
                  <a:gd name="connsiteX1946" fmla="*/ 2594 w 10746"/>
                  <a:gd name="connsiteY1946" fmla="*/ 3444 h 10000"/>
                  <a:gd name="connsiteX1947" fmla="*/ 2590 w 10746"/>
                  <a:gd name="connsiteY1947" fmla="*/ 3427 h 10000"/>
                  <a:gd name="connsiteX1948" fmla="*/ 2581 w 10746"/>
                  <a:gd name="connsiteY1948" fmla="*/ 3564 h 10000"/>
                  <a:gd name="connsiteX1949" fmla="*/ 2594 w 10746"/>
                  <a:gd name="connsiteY1949" fmla="*/ 3598 h 10000"/>
                  <a:gd name="connsiteX1950" fmla="*/ 2594 w 10746"/>
                  <a:gd name="connsiteY1950" fmla="*/ 3581 h 10000"/>
                  <a:gd name="connsiteX1951" fmla="*/ 2608 w 10746"/>
                  <a:gd name="connsiteY1951" fmla="*/ 3556 h 10000"/>
                  <a:gd name="connsiteX1952" fmla="*/ 2650 w 10746"/>
                  <a:gd name="connsiteY1952" fmla="*/ 3615 h 10000"/>
                  <a:gd name="connsiteX1953" fmla="*/ 2664 w 10746"/>
                  <a:gd name="connsiteY1953" fmla="*/ 3615 h 10000"/>
                  <a:gd name="connsiteX1954" fmla="*/ 2668 w 10746"/>
                  <a:gd name="connsiteY1954" fmla="*/ 3615 h 10000"/>
                  <a:gd name="connsiteX1955" fmla="*/ 2664 w 10746"/>
                  <a:gd name="connsiteY1955" fmla="*/ 3667 h 10000"/>
                  <a:gd name="connsiteX1956" fmla="*/ 2687 w 10746"/>
                  <a:gd name="connsiteY1956" fmla="*/ 3786 h 10000"/>
                  <a:gd name="connsiteX1957" fmla="*/ 2710 w 10746"/>
                  <a:gd name="connsiteY1957" fmla="*/ 3812 h 10000"/>
                  <a:gd name="connsiteX1958" fmla="*/ 2724 w 10746"/>
                  <a:gd name="connsiteY1958" fmla="*/ 3812 h 10000"/>
                  <a:gd name="connsiteX1959" fmla="*/ 2724 w 10746"/>
                  <a:gd name="connsiteY1959" fmla="*/ 3829 h 10000"/>
                  <a:gd name="connsiteX1960" fmla="*/ 2737 w 10746"/>
                  <a:gd name="connsiteY1960" fmla="*/ 3838 h 10000"/>
                  <a:gd name="connsiteX1961" fmla="*/ 2714 w 10746"/>
                  <a:gd name="connsiteY1961" fmla="*/ 3872 h 10000"/>
                  <a:gd name="connsiteX1962" fmla="*/ 2696 w 10746"/>
                  <a:gd name="connsiteY1962" fmla="*/ 4026 h 10000"/>
                  <a:gd name="connsiteX1963" fmla="*/ 2673 w 10746"/>
                  <a:gd name="connsiteY1963" fmla="*/ 4051 h 10000"/>
                  <a:gd name="connsiteX1964" fmla="*/ 2668 w 10746"/>
                  <a:gd name="connsiteY1964" fmla="*/ 4034 h 10000"/>
                  <a:gd name="connsiteX1965" fmla="*/ 2673 w 10746"/>
                  <a:gd name="connsiteY1965" fmla="*/ 4000 h 10000"/>
                  <a:gd name="connsiteX1966" fmla="*/ 2664 w 10746"/>
                  <a:gd name="connsiteY1966" fmla="*/ 3974 h 10000"/>
                  <a:gd name="connsiteX1967" fmla="*/ 2636 w 10746"/>
                  <a:gd name="connsiteY1967" fmla="*/ 3949 h 10000"/>
                  <a:gd name="connsiteX1968" fmla="*/ 2581 w 10746"/>
                  <a:gd name="connsiteY1968" fmla="*/ 3838 h 10000"/>
                  <a:gd name="connsiteX1969" fmla="*/ 2562 w 10746"/>
                  <a:gd name="connsiteY1969" fmla="*/ 3829 h 10000"/>
                  <a:gd name="connsiteX1970" fmla="*/ 2535 w 10746"/>
                  <a:gd name="connsiteY1970" fmla="*/ 3778 h 10000"/>
                  <a:gd name="connsiteX1971" fmla="*/ 2502 w 10746"/>
                  <a:gd name="connsiteY1971" fmla="*/ 3761 h 10000"/>
                  <a:gd name="connsiteX1972" fmla="*/ 2502 w 10746"/>
                  <a:gd name="connsiteY1972" fmla="*/ 3735 h 10000"/>
                  <a:gd name="connsiteX1973" fmla="*/ 2516 w 10746"/>
                  <a:gd name="connsiteY1973" fmla="*/ 3735 h 10000"/>
                  <a:gd name="connsiteX1974" fmla="*/ 2507 w 10746"/>
                  <a:gd name="connsiteY1974" fmla="*/ 3726 h 10000"/>
                  <a:gd name="connsiteX1975" fmla="*/ 2488 w 10746"/>
                  <a:gd name="connsiteY1975" fmla="*/ 3726 h 10000"/>
                  <a:gd name="connsiteX1976" fmla="*/ 2461 w 10746"/>
                  <a:gd name="connsiteY1976" fmla="*/ 3692 h 10000"/>
                  <a:gd name="connsiteX1977" fmla="*/ 2442 w 10746"/>
                  <a:gd name="connsiteY1977" fmla="*/ 3675 h 10000"/>
                  <a:gd name="connsiteX1978" fmla="*/ 2406 w 10746"/>
                  <a:gd name="connsiteY1978" fmla="*/ 3598 h 10000"/>
                  <a:gd name="connsiteX1979" fmla="*/ 2346 w 10746"/>
                  <a:gd name="connsiteY1979" fmla="*/ 3564 h 10000"/>
                  <a:gd name="connsiteX1980" fmla="*/ 2341 w 10746"/>
                  <a:gd name="connsiteY1980" fmla="*/ 3564 h 10000"/>
                  <a:gd name="connsiteX1981" fmla="*/ 2313 w 10746"/>
                  <a:gd name="connsiteY1981" fmla="*/ 3530 h 10000"/>
                  <a:gd name="connsiteX1982" fmla="*/ 2235 w 10746"/>
                  <a:gd name="connsiteY1982" fmla="*/ 3530 h 10000"/>
                  <a:gd name="connsiteX1983" fmla="*/ 2226 w 10746"/>
                  <a:gd name="connsiteY1983" fmla="*/ 3513 h 10000"/>
                  <a:gd name="connsiteX1984" fmla="*/ 2207 w 10746"/>
                  <a:gd name="connsiteY1984" fmla="*/ 3504 h 10000"/>
                  <a:gd name="connsiteX1985" fmla="*/ 2194 w 10746"/>
                  <a:gd name="connsiteY1985" fmla="*/ 3504 h 10000"/>
                  <a:gd name="connsiteX1986" fmla="*/ 2189 w 10746"/>
                  <a:gd name="connsiteY1986" fmla="*/ 3504 h 10000"/>
                  <a:gd name="connsiteX1987" fmla="*/ 2189 w 10746"/>
                  <a:gd name="connsiteY1987" fmla="*/ 3530 h 10000"/>
                  <a:gd name="connsiteX1988" fmla="*/ 2180 w 10746"/>
                  <a:gd name="connsiteY1988" fmla="*/ 3538 h 10000"/>
                  <a:gd name="connsiteX1989" fmla="*/ 2152 w 10746"/>
                  <a:gd name="connsiteY1989" fmla="*/ 3581 h 10000"/>
                  <a:gd name="connsiteX1990" fmla="*/ 2161 w 10746"/>
                  <a:gd name="connsiteY1990" fmla="*/ 3598 h 10000"/>
                  <a:gd name="connsiteX1991" fmla="*/ 2194 w 10746"/>
                  <a:gd name="connsiteY1991" fmla="*/ 3752 h 10000"/>
                  <a:gd name="connsiteX1992" fmla="*/ 2194 w 10746"/>
                  <a:gd name="connsiteY1992" fmla="*/ 3735 h 10000"/>
                  <a:gd name="connsiteX1993" fmla="*/ 2198 w 10746"/>
                  <a:gd name="connsiteY1993" fmla="*/ 3735 h 10000"/>
                  <a:gd name="connsiteX1994" fmla="*/ 2189 w 10746"/>
                  <a:gd name="connsiteY1994" fmla="*/ 3838 h 10000"/>
                  <a:gd name="connsiteX1995" fmla="*/ 2166 w 10746"/>
                  <a:gd name="connsiteY1995" fmla="*/ 3889 h 10000"/>
                  <a:gd name="connsiteX1996" fmla="*/ 2124 w 10746"/>
                  <a:gd name="connsiteY1996" fmla="*/ 3889 h 10000"/>
                  <a:gd name="connsiteX1997" fmla="*/ 2124 w 10746"/>
                  <a:gd name="connsiteY1997" fmla="*/ 3923 h 10000"/>
                  <a:gd name="connsiteX1998" fmla="*/ 2134 w 10746"/>
                  <a:gd name="connsiteY1998" fmla="*/ 3940 h 10000"/>
                  <a:gd name="connsiteX1999" fmla="*/ 2134 w 10746"/>
                  <a:gd name="connsiteY1999" fmla="*/ 3966 h 10000"/>
                  <a:gd name="connsiteX2000" fmla="*/ 2120 w 10746"/>
                  <a:gd name="connsiteY2000" fmla="*/ 4000 h 10000"/>
                  <a:gd name="connsiteX2001" fmla="*/ 2106 w 10746"/>
                  <a:gd name="connsiteY2001" fmla="*/ 4009 h 10000"/>
                  <a:gd name="connsiteX2002" fmla="*/ 2088 w 10746"/>
                  <a:gd name="connsiteY2002" fmla="*/ 4000 h 10000"/>
                  <a:gd name="connsiteX2003" fmla="*/ 2074 w 10746"/>
                  <a:gd name="connsiteY2003" fmla="*/ 3974 h 10000"/>
                  <a:gd name="connsiteX2004" fmla="*/ 2074 w 10746"/>
                  <a:gd name="connsiteY2004" fmla="*/ 3940 h 10000"/>
                  <a:gd name="connsiteX2005" fmla="*/ 2078 w 10746"/>
                  <a:gd name="connsiteY2005" fmla="*/ 3915 h 10000"/>
                  <a:gd name="connsiteX2006" fmla="*/ 2088 w 10746"/>
                  <a:gd name="connsiteY2006" fmla="*/ 3889 h 10000"/>
                  <a:gd name="connsiteX2007" fmla="*/ 2101 w 10746"/>
                  <a:gd name="connsiteY2007" fmla="*/ 3872 h 10000"/>
                  <a:gd name="connsiteX2008" fmla="*/ 2074 w 10746"/>
                  <a:gd name="connsiteY2008" fmla="*/ 3812 h 10000"/>
                  <a:gd name="connsiteX2009" fmla="*/ 2074 w 10746"/>
                  <a:gd name="connsiteY2009" fmla="*/ 3786 h 10000"/>
                  <a:gd name="connsiteX2010" fmla="*/ 2060 w 10746"/>
                  <a:gd name="connsiteY2010" fmla="*/ 3786 h 10000"/>
                  <a:gd name="connsiteX2011" fmla="*/ 2014 w 10746"/>
                  <a:gd name="connsiteY2011" fmla="*/ 3829 h 10000"/>
                  <a:gd name="connsiteX2012" fmla="*/ 2000 w 10746"/>
                  <a:gd name="connsiteY2012" fmla="*/ 3863 h 10000"/>
                  <a:gd name="connsiteX2013" fmla="*/ 1986 w 10746"/>
                  <a:gd name="connsiteY2013" fmla="*/ 3872 h 10000"/>
                  <a:gd name="connsiteX2014" fmla="*/ 1959 w 10746"/>
                  <a:gd name="connsiteY2014" fmla="*/ 3940 h 10000"/>
                  <a:gd name="connsiteX2015" fmla="*/ 1945 w 10746"/>
                  <a:gd name="connsiteY2015" fmla="*/ 3949 h 10000"/>
                  <a:gd name="connsiteX2016" fmla="*/ 1940 w 10746"/>
                  <a:gd name="connsiteY2016" fmla="*/ 3923 h 10000"/>
                  <a:gd name="connsiteX2017" fmla="*/ 1917 w 10746"/>
                  <a:gd name="connsiteY2017" fmla="*/ 3915 h 10000"/>
                  <a:gd name="connsiteX2018" fmla="*/ 1899 w 10746"/>
                  <a:gd name="connsiteY2018" fmla="*/ 3923 h 10000"/>
                  <a:gd name="connsiteX2019" fmla="*/ 1880 w 10746"/>
                  <a:gd name="connsiteY2019" fmla="*/ 3915 h 10000"/>
                  <a:gd name="connsiteX2020" fmla="*/ 1853 w 10746"/>
                  <a:gd name="connsiteY2020" fmla="*/ 3940 h 10000"/>
                  <a:gd name="connsiteX2021" fmla="*/ 1839 w 10746"/>
                  <a:gd name="connsiteY2021" fmla="*/ 3940 h 10000"/>
                  <a:gd name="connsiteX2022" fmla="*/ 1806 w 10746"/>
                  <a:gd name="connsiteY2022" fmla="*/ 3983 h 10000"/>
                  <a:gd name="connsiteX2023" fmla="*/ 1806 w 10746"/>
                  <a:gd name="connsiteY2023" fmla="*/ 4000 h 10000"/>
                  <a:gd name="connsiteX2024" fmla="*/ 1797 w 10746"/>
                  <a:gd name="connsiteY2024" fmla="*/ 4077 h 10000"/>
                  <a:gd name="connsiteX2025" fmla="*/ 1783 w 10746"/>
                  <a:gd name="connsiteY2025" fmla="*/ 4077 h 10000"/>
                  <a:gd name="connsiteX2026" fmla="*/ 1779 w 10746"/>
                  <a:gd name="connsiteY2026" fmla="*/ 4051 h 10000"/>
                  <a:gd name="connsiteX2027" fmla="*/ 1765 w 10746"/>
                  <a:gd name="connsiteY2027" fmla="*/ 4026 h 10000"/>
                  <a:gd name="connsiteX2028" fmla="*/ 1751 w 10746"/>
                  <a:gd name="connsiteY2028" fmla="*/ 4051 h 10000"/>
                  <a:gd name="connsiteX2029" fmla="*/ 1737 w 10746"/>
                  <a:gd name="connsiteY2029" fmla="*/ 4009 h 10000"/>
                  <a:gd name="connsiteX2030" fmla="*/ 1737 w 10746"/>
                  <a:gd name="connsiteY2030" fmla="*/ 3966 h 10000"/>
                  <a:gd name="connsiteX2031" fmla="*/ 1733 w 10746"/>
                  <a:gd name="connsiteY2031" fmla="*/ 3940 h 10000"/>
                  <a:gd name="connsiteX2032" fmla="*/ 1733 w 10746"/>
                  <a:gd name="connsiteY2032" fmla="*/ 3923 h 10000"/>
                  <a:gd name="connsiteX2033" fmla="*/ 1747 w 10746"/>
                  <a:gd name="connsiteY2033" fmla="*/ 3889 h 10000"/>
                  <a:gd name="connsiteX2034" fmla="*/ 1747 w 10746"/>
                  <a:gd name="connsiteY2034" fmla="*/ 3863 h 10000"/>
                  <a:gd name="connsiteX2035" fmla="*/ 1737 w 10746"/>
                  <a:gd name="connsiteY2035" fmla="*/ 3838 h 10000"/>
                  <a:gd name="connsiteX2036" fmla="*/ 1733 w 10746"/>
                  <a:gd name="connsiteY2036" fmla="*/ 3829 h 10000"/>
                  <a:gd name="connsiteX2037" fmla="*/ 1733 w 10746"/>
                  <a:gd name="connsiteY2037" fmla="*/ 3846 h 10000"/>
                  <a:gd name="connsiteX2038" fmla="*/ 1724 w 10746"/>
                  <a:gd name="connsiteY2038" fmla="*/ 3846 h 10000"/>
                  <a:gd name="connsiteX2039" fmla="*/ 1724 w 10746"/>
                  <a:gd name="connsiteY2039" fmla="*/ 3829 h 10000"/>
                  <a:gd name="connsiteX2040" fmla="*/ 1737 w 10746"/>
                  <a:gd name="connsiteY2040" fmla="*/ 3812 h 10000"/>
                  <a:gd name="connsiteX2041" fmla="*/ 1765 w 10746"/>
                  <a:gd name="connsiteY2041" fmla="*/ 3812 h 10000"/>
                  <a:gd name="connsiteX2042" fmla="*/ 1779 w 10746"/>
                  <a:gd name="connsiteY2042" fmla="*/ 3786 h 10000"/>
                  <a:gd name="connsiteX2043" fmla="*/ 1779 w 10746"/>
                  <a:gd name="connsiteY2043" fmla="*/ 3786 h 10000"/>
                  <a:gd name="connsiteX2044" fmla="*/ 1751 w 10746"/>
                  <a:gd name="connsiteY2044" fmla="*/ 3803 h 10000"/>
                  <a:gd name="connsiteX2045" fmla="*/ 1747 w 10746"/>
                  <a:gd name="connsiteY2045" fmla="*/ 3803 h 10000"/>
                  <a:gd name="connsiteX2046" fmla="*/ 1724 w 10746"/>
                  <a:gd name="connsiteY2046" fmla="*/ 3803 h 10000"/>
                  <a:gd name="connsiteX2047" fmla="*/ 1700 w 10746"/>
                  <a:gd name="connsiteY2047" fmla="*/ 3829 h 10000"/>
                  <a:gd name="connsiteX2048" fmla="*/ 1705 w 10746"/>
                  <a:gd name="connsiteY2048" fmla="*/ 3846 h 10000"/>
                  <a:gd name="connsiteX2049" fmla="*/ 1691 w 10746"/>
                  <a:gd name="connsiteY2049" fmla="*/ 3846 h 10000"/>
                  <a:gd name="connsiteX2050" fmla="*/ 1691 w 10746"/>
                  <a:gd name="connsiteY2050" fmla="*/ 3863 h 10000"/>
                  <a:gd name="connsiteX2051" fmla="*/ 1691 w 10746"/>
                  <a:gd name="connsiteY2051" fmla="*/ 3915 h 10000"/>
                  <a:gd name="connsiteX2052" fmla="*/ 1677 w 10746"/>
                  <a:gd name="connsiteY2052" fmla="*/ 3923 h 10000"/>
                  <a:gd name="connsiteX2053" fmla="*/ 1673 w 10746"/>
                  <a:gd name="connsiteY2053" fmla="*/ 3915 h 10000"/>
                  <a:gd name="connsiteX2054" fmla="*/ 1664 w 10746"/>
                  <a:gd name="connsiteY2054" fmla="*/ 3889 h 10000"/>
                  <a:gd name="connsiteX2055" fmla="*/ 1673 w 10746"/>
                  <a:gd name="connsiteY2055" fmla="*/ 3872 h 10000"/>
                  <a:gd name="connsiteX2056" fmla="*/ 1664 w 10746"/>
                  <a:gd name="connsiteY2056" fmla="*/ 3872 h 10000"/>
                  <a:gd name="connsiteX2057" fmla="*/ 1636 w 10746"/>
                  <a:gd name="connsiteY2057" fmla="*/ 3923 h 10000"/>
                  <a:gd name="connsiteX2058" fmla="*/ 1645 w 10746"/>
                  <a:gd name="connsiteY2058" fmla="*/ 3923 h 10000"/>
                  <a:gd name="connsiteX2059" fmla="*/ 1650 w 10746"/>
                  <a:gd name="connsiteY2059" fmla="*/ 3949 h 10000"/>
                  <a:gd name="connsiteX2060" fmla="*/ 1650 w 10746"/>
                  <a:gd name="connsiteY2060" fmla="*/ 3983 h 10000"/>
                  <a:gd name="connsiteX2061" fmla="*/ 1636 w 10746"/>
                  <a:gd name="connsiteY2061" fmla="*/ 4000 h 10000"/>
                  <a:gd name="connsiteX2062" fmla="*/ 1631 w 10746"/>
                  <a:gd name="connsiteY2062" fmla="*/ 4009 h 10000"/>
                  <a:gd name="connsiteX2063" fmla="*/ 1618 w 10746"/>
                  <a:gd name="connsiteY2063" fmla="*/ 3949 h 10000"/>
                  <a:gd name="connsiteX2064" fmla="*/ 1585 w 10746"/>
                  <a:gd name="connsiteY2064" fmla="*/ 3966 h 10000"/>
                  <a:gd name="connsiteX2065" fmla="*/ 1590 w 10746"/>
                  <a:gd name="connsiteY2065" fmla="*/ 3974 h 10000"/>
                  <a:gd name="connsiteX2066" fmla="*/ 1544 w 10746"/>
                  <a:gd name="connsiteY2066" fmla="*/ 4009 h 10000"/>
                  <a:gd name="connsiteX2067" fmla="*/ 1539 w 10746"/>
                  <a:gd name="connsiteY2067" fmla="*/ 4009 h 10000"/>
                  <a:gd name="connsiteX2068" fmla="*/ 1410 w 10746"/>
                  <a:gd name="connsiteY2068" fmla="*/ 4188 h 10000"/>
                  <a:gd name="connsiteX2069" fmla="*/ 1406 w 10746"/>
                  <a:gd name="connsiteY2069" fmla="*/ 4171 h 10000"/>
                  <a:gd name="connsiteX2070" fmla="*/ 1396 w 10746"/>
                  <a:gd name="connsiteY2070" fmla="*/ 4214 h 10000"/>
                  <a:gd name="connsiteX2071" fmla="*/ 1406 w 10746"/>
                  <a:gd name="connsiteY2071" fmla="*/ 4222 h 10000"/>
                  <a:gd name="connsiteX2072" fmla="*/ 1392 w 10746"/>
                  <a:gd name="connsiteY2072" fmla="*/ 4239 h 10000"/>
                  <a:gd name="connsiteX2073" fmla="*/ 1369 w 10746"/>
                  <a:gd name="connsiteY2073" fmla="*/ 4248 h 10000"/>
                  <a:gd name="connsiteX2074" fmla="*/ 1355 w 10746"/>
                  <a:gd name="connsiteY2074" fmla="*/ 4256 h 10000"/>
                  <a:gd name="connsiteX2075" fmla="*/ 1350 w 10746"/>
                  <a:gd name="connsiteY2075" fmla="*/ 4248 h 10000"/>
                  <a:gd name="connsiteX2076" fmla="*/ 1332 w 10746"/>
                  <a:gd name="connsiteY2076" fmla="*/ 4376 h 10000"/>
                  <a:gd name="connsiteX2077" fmla="*/ 1332 w 10746"/>
                  <a:gd name="connsiteY2077" fmla="*/ 4436 h 10000"/>
                  <a:gd name="connsiteX2078" fmla="*/ 1323 w 10746"/>
                  <a:gd name="connsiteY2078" fmla="*/ 4462 h 10000"/>
                  <a:gd name="connsiteX2079" fmla="*/ 1304 w 10746"/>
                  <a:gd name="connsiteY2079" fmla="*/ 4487 h 10000"/>
                  <a:gd name="connsiteX2080" fmla="*/ 1290 w 10746"/>
                  <a:gd name="connsiteY2080" fmla="*/ 4470 h 10000"/>
                  <a:gd name="connsiteX2081" fmla="*/ 1263 w 10746"/>
                  <a:gd name="connsiteY2081" fmla="*/ 4496 h 10000"/>
                  <a:gd name="connsiteX2082" fmla="*/ 1258 w 10746"/>
                  <a:gd name="connsiteY2082" fmla="*/ 4547 h 10000"/>
                  <a:gd name="connsiteX2083" fmla="*/ 1249 w 10746"/>
                  <a:gd name="connsiteY2083" fmla="*/ 4487 h 10000"/>
                  <a:gd name="connsiteX2084" fmla="*/ 1235 w 10746"/>
                  <a:gd name="connsiteY2084" fmla="*/ 4496 h 10000"/>
                  <a:gd name="connsiteX2085" fmla="*/ 1221 w 10746"/>
                  <a:gd name="connsiteY2085" fmla="*/ 4496 h 10000"/>
                  <a:gd name="connsiteX2086" fmla="*/ 1217 w 10746"/>
                  <a:gd name="connsiteY2086" fmla="*/ 4487 h 10000"/>
                  <a:gd name="connsiteX2087" fmla="*/ 1198 w 10746"/>
                  <a:gd name="connsiteY2087" fmla="*/ 4410 h 10000"/>
                  <a:gd name="connsiteX2088" fmla="*/ 1157 w 10746"/>
                  <a:gd name="connsiteY2088" fmla="*/ 4333 h 10000"/>
                  <a:gd name="connsiteX2089" fmla="*/ 1147 w 10746"/>
                  <a:gd name="connsiteY2089" fmla="*/ 4299 h 10000"/>
                  <a:gd name="connsiteX2090" fmla="*/ 1147 w 10746"/>
                  <a:gd name="connsiteY2090" fmla="*/ 4274 h 10000"/>
                  <a:gd name="connsiteX2091" fmla="*/ 1161 w 10746"/>
                  <a:gd name="connsiteY2091" fmla="*/ 4256 h 10000"/>
                  <a:gd name="connsiteX2092" fmla="*/ 1171 w 10746"/>
                  <a:gd name="connsiteY2092" fmla="*/ 4248 h 10000"/>
                  <a:gd name="connsiteX2093" fmla="*/ 1175 w 10746"/>
                  <a:gd name="connsiteY2093" fmla="*/ 4214 h 10000"/>
                  <a:gd name="connsiteX2094" fmla="*/ 1263 w 10746"/>
                  <a:gd name="connsiteY2094" fmla="*/ 4171 h 10000"/>
                  <a:gd name="connsiteX2095" fmla="*/ 1249 w 10746"/>
                  <a:gd name="connsiteY2095" fmla="*/ 4137 h 10000"/>
                  <a:gd name="connsiteX2096" fmla="*/ 1244 w 10746"/>
                  <a:gd name="connsiteY2096" fmla="*/ 4060 h 10000"/>
                  <a:gd name="connsiteX2097" fmla="*/ 1230 w 10746"/>
                  <a:gd name="connsiteY2097" fmla="*/ 4077 h 10000"/>
                  <a:gd name="connsiteX2098" fmla="*/ 1221 w 10746"/>
                  <a:gd name="connsiteY2098" fmla="*/ 4026 h 10000"/>
                  <a:gd name="connsiteX2099" fmla="*/ 1217 w 10746"/>
                  <a:gd name="connsiteY2099" fmla="*/ 4026 h 10000"/>
                  <a:gd name="connsiteX2100" fmla="*/ 1212 w 10746"/>
                  <a:gd name="connsiteY2100" fmla="*/ 3983 h 10000"/>
                  <a:gd name="connsiteX2101" fmla="*/ 1203 w 10746"/>
                  <a:gd name="connsiteY2101" fmla="*/ 3966 h 10000"/>
                  <a:gd name="connsiteX2102" fmla="*/ 1171 w 10746"/>
                  <a:gd name="connsiteY2102" fmla="*/ 3949 h 10000"/>
                  <a:gd name="connsiteX2103" fmla="*/ 1111 w 10746"/>
                  <a:gd name="connsiteY2103" fmla="*/ 3940 h 10000"/>
                  <a:gd name="connsiteX2104" fmla="*/ 1097 w 10746"/>
                  <a:gd name="connsiteY2104" fmla="*/ 3949 h 10000"/>
                  <a:gd name="connsiteX2105" fmla="*/ 1037 w 10746"/>
                  <a:gd name="connsiteY2105" fmla="*/ 3897 h 10000"/>
                  <a:gd name="connsiteX2106" fmla="*/ 1041 w 10746"/>
                  <a:gd name="connsiteY2106" fmla="*/ 3923 h 10000"/>
                  <a:gd name="connsiteX2107" fmla="*/ 1097 w 10746"/>
                  <a:gd name="connsiteY2107" fmla="*/ 4009 h 10000"/>
                  <a:gd name="connsiteX2108" fmla="*/ 1097 w 10746"/>
                  <a:gd name="connsiteY2108" fmla="*/ 4120 h 10000"/>
                  <a:gd name="connsiteX2109" fmla="*/ 1097 w 10746"/>
                  <a:gd name="connsiteY2109" fmla="*/ 4162 h 10000"/>
                  <a:gd name="connsiteX2110" fmla="*/ 1097 w 10746"/>
                  <a:gd name="connsiteY2110" fmla="*/ 4197 h 10000"/>
                  <a:gd name="connsiteX2111" fmla="*/ 1074 w 10746"/>
                  <a:gd name="connsiteY2111" fmla="*/ 4333 h 10000"/>
                  <a:gd name="connsiteX2112" fmla="*/ 1074 w 10746"/>
                  <a:gd name="connsiteY2112" fmla="*/ 4376 h 10000"/>
                  <a:gd name="connsiteX2113" fmla="*/ 1083 w 10746"/>
                  <a:gd name="connsiteY2113" fmla="*/ 4385 h 10000"/>
                  <a:gd name="connsiteX2114" fmla="*/ 1097 w 10746"/>
                  <a:gd name="connsiteY2114" fmla="*/ 4385 h 10000"/>
                  <a:gd name="connsiteX2115" fmla="*/ 1111 w 10746"/>
                  <a:gd name="connsiteY2115" fmla="*/ 4410 h 10000"/>
                  <a:gd name="connsiteX2116" fmla="*/ 1124 w 10746"/>
                  <a:gd name="connsiteY2116" fmla="*/ 4444 h 10000"/>
                  <a:gd name="connsiteX2117" fmla="*/ 1124 w 10746"/>
                  <a:gd name="connsiteY2117" fmla="*/ 4470 h 10000"/>
                  <a:gd name="connsiteX2118" fmla="*/ 1115 w 10746"/>
                  <a:gd name="connsiteY2118" fmla="*/ 4513 h 10000"/>
                  <a:gd name="connsiteX2119" fmla="*/ 1115 w 10746"/>
                  <a:gd name="connsiteY2119" fmla="*/ 4530 h 10000"/>
                  <a:gd name="connsiteX2120" fmla="*/ 1115 w 10746"/>
                  <a:gd name="connsiteY2120" fmla="*/ 4573 h 10000"/>
                  <a:gd name="connsiteX2121" fmla="*/ 1101 w 10746"/>
                  <a:gd name="connsiteY2121" fmla="*/ 4607 h 10000"/>
                  <a:gd name="connsiteX2122" fmla="*/ 1097 w 10746"/>
                  <a:gd name="connsiteY2122" fmla="*/ 4658 h 10000"/>
                  <a:gd name="connsiteX2123" fmla="*/ 1101 w 10746"/>
                  <a:gd name="connsiteY2123" fmla="*/ 4692 h 10000"/>
                  <a:gd name="connsiteX2124" fmla="*/ 1097 w 10746"/>
                  <a:gd name="connsiteY2124" fmla="*/ 4778 h 10000"/>
                  <a:gd name="connsiteX2125" fmla="*/ 1083 w 10746"/>
                  <a:gd name="connsiteY2125" fmla="*/ 4744 h 10000"/>
                  <a:gd name="connsiteX2126" fmla="*/ 1083 w 10746"/>
                  <a:gd name="connsiteY2126" fmla="*/ 4718 h 10000"/>
                  <a:gd name="connsiteX2127" fmla="*/ 1074 w 10746"/>
                  <a:gd name="connsiteY2127" fmla="*/ 4692 h 10000"/>
                  <a:gd name="connsiteX2128" fmla="*/ 1065 w 10746"/>
                  <a:gd name="connsiteY2128" fmla="*/ 4692 h 10000"/>
                  <a:gd name="connsiteX2129" fmla="*/ 1051 w 10746"/>
                  <a:gd name="connsiteY2129" fmla="*/ 4718 h 10000"/>
                  <a:gd name="connsiteX2130" fmla="*/ 1055 w 10746"/>
                  <a:gd name="connsiteY2130" fmla="*/ 4692 h 10000"/>
                  <a:gd name="connsiteX2131" fmla="*/ 1055 w 10746"/>
                  <a:gd name="connsiteY2131" fmla="*/ 4667 h 10000"/>
                  <a:gd name="connsiteX2132" fmla="*/ 1028 w 10746"/>
                  <a:gd name="connsiteY2132" fmla="*/ 4624 h 10000"/>
                  <a:gd name="connsiteX2133" fmla="*/ 1005 w 10746"/>
                  <a:gd name="connsiteY2133" fmla="*/ 4624 h 10000"/>
                  <a:gd name="connsiteX2134" fmla="*/ 977 w 10746"/>
                  <a:gd name="connsiteY2134" fmla="*/ 4581 h 10000"/>
                  <a:gd name="connsiteX2135" fmla="*/ 963 w 10746"/>
                  <a:gd name="connsiteY2135" fmla="*/ 4607 h 10000"/>
                  <a:gd name="connsiteX2136" fmla="*/ 963 w 10746"/>
                  <a:gd name="connsiteY2136" fmla="*/ 4632 h 10000"/>
                  <a:gd name="connsiteX2137" fmla="*/ 917 w 10746"/>
                  <a:gd name="connsiteY2137" fmla="*/ 4718 h 10000"/>
                  <a:gd name="connsiteX2138" fmla="*/ 889 w 10746"/>
                  <a:gd name="connsiteY2138" fmla="*/ 4744 h 10000"/>
                  <a:gd name="connsiteX2139" fmla="*/ 880 w 10746"/>
                  <a:gd name="connsiteY2139" fmla="*/ 4744 h 10000"/>
                  <a:gd name="connsiteX2140" fmla="*/ 862 w 10746"/>
                  <a:gd name="connsiteY2140" fmla="*/ 4769 h 10000"/>
                  <a:gd name="connsiteX2141" fmla="*/ 857 w 10746"/>
                  <a:gd name="connsiteY2141" fmla="*/ 4795 h 10000"/>
                  <a:gd name="connsiteX2142" fmla="*/ 829 w 10746"/>
                  <a:gd name="connsiteY2142" fmla="*/ 4846 h 10000"/>
                  <a:gd name="connsiteX2143" fmla="*/ 816 w 10746"/>
                  <a:gd name="connsiteY2143" fmla="*/ 4855 h 10000"/>
                  <a:gd name="connsiteX2144" fmla="*/ 816 w 10746"/>
                  <a:gd name="connsiteY2144" fmla="*/ 4940 h 10000"/>
                  <a:gd name="connsiteX2145" fmla="*/ 880 w 10746"/>
                  <a:gd name="connsiteY2145" fmla="*/ 5179 h 10000"/>
                  <a:gd name="connsiteX2146" fmla="*/ 880 w 10746"/>
                  <a:gd name="connsiteY2146" fmla="*/ 5188 h 10000"/>
                  <a:gd name="connsiteX2147" fmla="*/ 862 w 10746"/>
                  <a:gd name="connsiteY2147" fmla="*/ 5171 h 10000"/>
                  <a:gd name="connsiteX2148" fmla="*/ 857 w 10746"/>
                  <a:gd name="connsiteY2148" fmla="*/ 5171 h 10000"/>
                  <a:gd name="connsiteX2149" fmla="*/ 820 w 10746"/>
                  <a:gd name="connsiteY2149" fmla="*/ 5145 h 10000"/>
                  <a:gd name="connsiteX2150" fmla="*/ 820 w 10746"/>
                  <a:gd name="connsiteY2150" fmla="*/ 5154 h 10000"/>
                  <a:gd name="connsiteX2151" fmla="*/ 816 w 10746"/>
                  <a:gd name="connsiteY2151" fmla="*/ 5171 h 10000"/>
                  <a:gd name="connsiteX2152" fmla="*/ 783 w 10746"/>
                  <a:gd name="connsiteY2152" fmla="*/ 5145 h 10000"/>
                  <a:gd name="connsiteX2153" fmla="*/ 756 w 10746"/>
                  <a:gd name="connsiteY2153" fmla="*/ 5103 h 10000"/>
                  <a:gd name="connsiteX2154" fmla="*/ 742 w 10746"/>
                  <a:gd name="connsiteY2154" fmla="*/ 5103 h 10000"/>
                  <a:gd name="connsiteX2155" fmla="*/ 728 w 10746"/>
                  <a:gd name="connsiteY2155" fmla="*/ 5094 h 10000"/>
                  <a:gd name="connsiteX2156" fmla="*/ 710 w 10746"/>
                  <a:gd name="connsiteY2156" fmla="*/ 5120 h 10000"/>
                  <a:gd name="connsiteX2157" fmla="*/ 700 w 10746"/>
                  <a:gd name="connsiteY2157" fmla="*/ 5145 h 10000"/>
                  <a:gd name="connsiteX2158" fmla="*/ 696 w 10746"/>
                  <a:gd name="connsiteY2158" fmla="*/ 5103 h 10000"/>
                  <a:gd name="connsiteX2159" fmla="*/ 714 w 10746"/>
                  <a:gd name="connsiteY2159" fmla="*/ 5077 h 10000"/>
                  <a:gd name="connsiteX2160" fmla="*/ 682 w 10746"/>
                  <a:gd name="connsiteY2160" fmla="*/ 5068 h 10000"/>
                  <a:gd name="connsiteX2161" fmla="*/ 673 w 10746"/>
                  <a:gd name="connsiteY2161" fmla="*/ 5034 h 10000"/>
                  <a:gd name="connsiteX2162" fmla="*/ 636 w 10746"/>
                  <a:gd name="connsiteY2162" fmla="*/ 4991 h 10000"/>
                  <a:gd name="connsiteX2163" fmla="*/ 622 w 10746"/>
                  <a:gd name="connsiteY2163" fmla="*/ 4983 h 10000"/>
                  <a:gd name="connsiteX2164" fmla="*/ 622 w 10746"/>
                  <a:gd name="connsiteY2164" fmla="*/ 5034 h 10000"/>
                  <a:gd name="connsiteX2165" fmla="*/ 608 w 10746"/>
                  <a:gd name="connsiteY2165" fmla="*/ 5051 h 10000"/>
                  <a:gd name="connsiteX2166" fmla="*/ 594 w 10746"/>
                  <a:gd name="connsiteY2166" fmla="*/ 5068 h 10000"/>
                  <a:gd name="connsiteX2167" fmla="*/ 608 w 10746"/>
                  <a:gd name="connsiteY2167" fmla="*/ 5120 h 10000"/>
                  <a:gd name="connsiteX2168" fmla="*/ 613 w 10746"/>
                  <a:gd name="connsiteY2168" fmla="*/ 5128 h 10000"/>
                  <a:gd name="connsiteX2169" fmla="*/ 627 w 10746"/>
                  <a:gd name="connsiteY2169" fmla="*/ 5179 h 10000"/>
                  <a:gd name="connsiteX2170" fmla="*/ 650 w 10746"/>
                  <a:gd name="connsiteY2170" fmla="*/ 5214 h 10000"/>
                  <a:gd name="connsiteX2171" fmla="*/ 687 w 10746"/>
                  <a:gd name="connsiteY2171" fmla="*/ 5188 h 10000"/>
                  <a:gd name="connsiteX2172" fmla="*/ 700 w 10746"/>
                  <a:gd name="connsiteY2172" fmla="*/ 5325 h 10000"/>
                  <a:gd name="connsiteX2173" fmla="*/ 710 w 10746"/>
                  <a:gd name="connsiteY2173" fmla="*/ 5350 h 10000"/>
                  <a:gd name="connsiteX2174" fmla="*/ 687 w 10746"/>
                  <a:gd name="connsiteY2174" fmla="*/ 5325 h 10000"/>
                  <a:gd name="connsiteX2175" fmla="*/ 668 w 10746"/>
                  <a:gd name="connsiteY2175" fmla="*/ 5350 h 10000"/>
                  <a:gd name="connsiteX2176" fmla="*/ 668 w 10746"/>
                  <a:gd name="connsiteY2176" fmla="*/ 5368 h 10000"/>
                  <a:gd name="connsiteX2177" fmla="*/ 668 w 10746"/>
                  <a:gd name="connsiteY2177" fmla="*/ 5376 h 10000"/>
                  <a:gd name="connsiteX2178" fmla="*/ 581 w 10746"/>
                  <a:gd name="connsiteY2178" fmla="*/ 5316 h 10000"/>
                  <a:gd name="connsiteX2179" fmla="*/ 567 w 10746"/>
                  <a:gd name="connsiteY2179" fmla="*/ 5265 h 10000"/>
                  <a:gd name="connsiteX2180" fmla="*/ 562 w 10746"/>
                  <a:gd name="connsiteY2180" fmla="*/ 5256 h 10000"/>
                  <a:gd name="connsiteX2181" fmla="*/ 548 w 10746"/>
                  <a:gd name="connsiteY2181" fmla="*/ 5231 h 10000"/>
                  <a:gd name="connsiteX2182" fmla="*/ 535 w 10746"/>
                  <a:gd name="connsiteY2182" fmla="*/ 5214 h 10000"/>
                  <a:gd name="connsiteX2183" fmla="*/ 525 w 10746"/>
                  <a:gd name="connsiteY2183" fmla="*/ 5231 h 10000"/>
                  <a:gd name="connsiteX2184" fmla="*/ 521 w 10746"/>
                  <a:gd name="connsiteY2184" fmla="*/ 5231 h 10000"/>
                  <a:gd name="connsiteX2185" fmla="*/ 493 w 10746"/>
                  <a:gd name="connsiteY2185" fmla="*/ 5205 h 10000"/>
                  <a:gd name="connsiteX2186" fmla="*/ 488 w 10746"/>
                  <a:gd name="connsiteY2186" fmla="*/ 5179 h 10000"/>
                  <a:gd name="connsiteX2187" fmla="*/ 475 w 10746"/>
                  <a:gd name="connsiteY2187" fmla="*/ 5188 h 10000"/>
                  <a:gd name="connsiteX2188" fmla="*/ 475 w 10746"/>
                  <a:gd name="connsiteY2188" fmla="*/ 5171 h 10000"/>
                  <a:gd name="connsiteX2189" fmla="*/ 488 w 10746"/>
                  <a:gd name="connsiteY2189" fmla="*/ 5154 h 10000"/>
                  <a:gd name="connsiteX2190" fmla="*/ 488 w 10746"/>
                  <a:gd name="connsiteY2190" fmla="*/ 5068 h 10000"/>
                  <a:gd name="connsiteX2191" fmla="*/ 475 w 10746"/>
                  <a:gd name="connsiteY2191" fmla="*/ 5051 h 10000"/>
                  <a:gd name="connsiteX2192" fmla="*/ 475 w 10746"/>
                  <a:gd name="connsiteY2192" fmla="*/ 5017 h 10000"/>
                  <a:gd name="connsiteX2193" fmla="*/ 452 w 10746"/>
                  <a:gd name="connsiteY2193" fmla="*/ 4932 h 10000"/>
                  <a:gd name="connsiteX2194" fmla="*/ 461 w 10746"/>
                  <a:gd name="connsiteY2194" fmla="*/ 4915 h 10000"/>
                  <a:gd name="connsiteX2195" fmla="*/ 475 w 10746"/>
                  <a:gd name="connsiteY2195" fmla="*/ 4906 h 10000"/>
                  <a:gd name="connsiteX2196" fmla="*/ 479 w 10746"/>
                  <a:gd name="connsiteY2196" fmla="*/ 4803 h 10000"/>
                  <a:gd name="connsiteX2197" fmla="*/ 479 w 10746"/>
                  <a:gd name="connsiteY2197" fmla="*/ 4778 h 10000"/>
                  <a:gd name="connsiteX2198" fmla="*/ 475 w 10746"/>
                  <a:gd name="connsiteY2198" fmla="*/ 4761 h 10000"/>
                  <a:gd name="connsiteX2199" fmla="*/ 465 w 10746"/>
                  <a:gd name="connsiteY2199" fmla="*/ 4718 h 10000"/>
                  <a:gd name="connsiteX2200" fmla="*/ 461 w 10746"/>
                  <a:gd name="connsiteY2200" fmla="*/ 4709 h 10000"/>
                  <a:gd name="connsiteX2201" fmla="*/ 442 w 10746"/>
                  <a:gd name="connsiteY2201" fmla="*/ 4692 h 10000"/>
                  <a:gd name="connsiteX2202" fmla="*/ 433 w 10746"/>
                  <a:gd name="connsiteY2202" fmla="*/ 4667 h 10000"/>
                  <a:gd name="connsiteX2203" fmla="*/ 419 w 10746"/>
                  <a:gd name="connsiteY2203" fmla="*/ 4667 h 10000"/>
                  <a:gd name="connsiteX2204" fmla="*/ 401 w 10746"/>
                  <a:gd name="connsiteY2204" fmla="*/ 4658 h 10000"/>
                  <a:gd name="connsiteX2205" fmla="*/ 401 w 10746"/>
                  <a:gd name="connsiteY2205" fmla="*/ 4624 h 10000"/>
                  <a:gd name="connsiteX2206" fmla="*/ 401 w 10746"/>
                  <a:gd name="connsiteY2206" fmla="*/ 4607 h 10000"/>
                  <a:gd name="connsiteX2207" fmla="*/ 378 w 10746"/>
                  <a:gd name="connsiteY2207" fmla="*/ 4607 h 10000"/>
                  <a:gd name="connsiteX2208" fmla="*/ 341 w 10746"/>
                  <a:gd name="connsiteY2208" fmla="*/ 4530 h 10000"/>
                  <a:gd name="connsiteX2209" fmla="*/ 346 w 10746"/>
                  <a:gd name="connsiteY2209" fmla="*/ 4521 h 10000"/>
                  <a:gd name="connsiteX2210" fmla="*/ 332 w 10746"/>
                  <a:gd name="connsiteY2210" fmla="*/ 4487 h 10000"/>
                  <a:gd name="connsiteX2211" fmla="*/ 327 w 10746"/>
                  <a:gd name="connsiteY2211" fmla="*/ 4462 h 10000"/>
                  <a:gd name="connsiteX2212" fmla="*/ 313 w 10746"/>
                  <a:gd name="connsiteY2212" fmla="*/ 4436 h 10000"/>
                  <a:gd name="connsiteX2213" fmla="*/ 300 w 10746"/>
                  <a:gd name="connsiteY2213" fmla="*/ 4419 h 10000"/>
                  <a:gd name="connsiteX2214" fmla="*/ 309 w 10746"/>
                  <a:gd name="connsiteY2214" fmla="*/ 4393 h 10000"/>
                  <a:gd name="connsiteX2215" fmla="*/ 332 w 10746"/>
                  <a:gd name="connsiteY2215" fmla="*/ 4385 h 10000"/>
                  <a:gd name="connsiteX2216" fmla="*/ 355 w 10746"/>
                  <a:gd name="connsiteY2216" fmla="*/ 4419 h 10000"/>
                  <a:gd name="connsiteX2217" fmla="*/ 355 w 10746"/>
                  <a:gd name="connsiteY2217" fmla="*/ 4444 h 10000"/>
                  <a:gd name="connsiteX2218" fmla="*/ 369 w 10746"/>
                  <a:gd name="connsiteY2218" fmla="*/ 4470 h 10000"/>
                  <a:gd name="connsiteX2219" fmla="*/ 401 w 10746"/>
                  <a:gd name="connsiteY2219" fmla="*/ 4521 h 10000"/>
                  <a:gd name="connsiteX2220" fmla="*/ 406 w 10746"/>
                  <a:gd name="connsiteY2220" fmla="*/ 4513 h 10000"/>
                  <a:gd name="connsiteX2221" fmla="*/ 406 w 10746"/>
                  <a:gd name="connsiteY2221" fmla="*/ 4496 h 10000"/>
                  <a:gd name="connsiteX2222" fmla="*/ 419 w 10746"/>
                  <a:gd name="connsiteY2222" fmla="*/ 4521 h 10000"/>
                  <a:gd name="connsiteX2223" fmla="*/ 429 w 10746"/>
                  <a:gd name="connsiteY2223" fmla="*/ 4530 h 10000"/>
                  <a:gd name="connsiteX2224" fmla="*/ 433 w 10746"/>
                  <a:gd name="connsiteY2224" fmla="*/ 4521 h 10000"/>
                  <a:gd name="connsiteX2225" fmla="*/ 442 w 10746"/>
                  <a:gd name="connsiteY2225" fmla="*/ 4530 h 10000"/>
                  <a:gd name="connsiteX2226" fmla="*/ 447 w 10746"/>
                  <a:gd name="connsiteY2226" fmla="*/ 4521 h 10000"/>
                  <a:gd name="connsiteX2227" fmla="*/ 452 w 10746"/>
                  <a:gd name="connsiteY2227" fmla="*/ 4521 h 10000"/>
                  <a:gd name="connsiteX2228" fmla="*/ 461 w 10746"/>
                  <a:gd name="connsiteY2228" fmla="*/ 4573 h 10000"/>
                  <a:gd name="connsiteX2229" fmla="*/ 479 w 10746"/>
                  <a:gd name="connsiteY2229" fmla="*/ 4556 h 10000"/>
                  <a:gd name="connsiteX2230" fmla="*/ 502 w 10746"/>
                  <a:gd name="connsiteY2230" fmla="*/ 4573 h 10000"/>
                  <a:gd name="connsiteX2231" fmla="*/ 507 w 10746"/>
                  <a:gd name="connsiteY2231" fmla="*/ 4598 h 10000"/>
                  <a:gd name="connsiteX2232" fmla="*/ 525 w 10746"/>
                  <a:gd name="connsiteY2232" fmla="*/ 4598 h 10000"/>
                  <a:gd name="connsiteX2233" fmla="*/ 535 w 10746"/>
                  <a:gd name="connsiteY2233" fmla="*/ 4624 h 10000"/>
                  <a:gd name="connsiteX2234" fmla="*/ 594 w 10746"/>
                  <a:gd name="connsiteY2234" fmla="*/ 4658 h 10000"/>
                  <a:gd name="connsiteX2235" fmla="*/ 627 w 10746"/>
                  <a:gd name="connsiteY2235" fmla="*/ 4658 h 10000"/>
                  <a:gd name="connsiteX2236" fmla="*/ 654 w 10746"/>
                  <a:gd name="connsiteY2236" fmla="*/ 4684 h 10000"/>
                  <a:gd name="connsiteX2237" fmla="*/ 668 w 10746"/>
                  <a:gd name="connsiteY2237" fmla="*/ 4709 h 10000"/>
                  <a:gd name="connsiteX2238" fmla="*/ 747 w 10746"/>
                  <a:gd name="connsiteY2238" fmla="*/ 4718 h 10000"/>
                  <a:gd name="connsiteX2239" fmla="*/ 760 w 10746"/>
                  <a:gd name="connsiteY2239" fmla="*/ 4709 h 10000"/>
                  <a:gd name="connsiteX2240" fmla="*/ 774 w 10746"/>
                  <a:gd name="connsiteY2240" fmla="*/ 4692 h 10000"/>
                  <a:gd name="connsiteX2241" fmla="*/ 829 w 10746"/>
                  <a:gd name="connsiteY2241" fmla="*/ 4658 h 10000"/>
                  <a:gd name="connsiteX2242" fmla="*/ 903 w 10746"/>
                  <a:gd name="connsiteY2242" fmla="*/ 4496 h 10000"/>
                  <a:gd name="connsiteX2243" fmla="*/ 917 w 10746"/>
                  <a:gd name="connsiteY2243" fmla="*/ 4385 h 10000"/>
                  <a:gd name="connsiteX2244" fmla="*/ 903 w 10746"/>
                  <a:gd name="connsiteY2244" fmla="*/ 4376 h 10000"/>
                  <a:gd name="connsiteX2245" fmla="*/ 903 w 10746"/>
                  <a:gd name="connsiteY2245" fmla="*/ 4376 h 10000"/>
                  <a:gd name="connsiteX2246" fmla="*/ 889 w 10746"/>
                  <a:gd name="connsiteY2246" fmla="*/ 4239 h 10000"/>
                  <a:gd name="connsiteX2247" fmla="*/ 880 w 10746"/>
                  <a:gd name="connsiteY2247" fmla="*/ 4214 h 10000"/>
                  <a:gd name="connsiteX2248" fmla="*/ 862 w 10746"/>
                  <a:gd name="connsiteY2248" fmla="*/ 4188 h 10000"/>
                  <a:gd name="connsiteX2249" fmla="*/ 857 w 10746"/>
                  <a:gd name="connsiteY2249" fmla="*/ 4197 h 10000"/>
                  <a:gd name="connsiteX2250" fmla="*/ 848 w 10746"/>
                  <a:gd name="connsiteY2250" fmla="*/ 4188 h 10000"/>
                  <a:gd name="connsiteX2251" fmla="*/ 848 w 10746"/>
                  <a:gd name="connsiteY2251" fmla="*/ 4162 h 10000"/>
                  <a:gd name="connsiteX2252" fmla="*/ 829 w 10746"/>
                  <a:gd name="connsiteY2252" fmla="*/ 4120 h 10000"/>
                  <a:gd name="connsiteX2253" fmla="*/ 820 w 10746"/>
                  <a:gd name="connsiteY2253" fmla="*/ 4103 h 10000"/>
                  <a:gd name="connsiteX2254" fmla="*/ 806 w 10746"/>
                  <a:gd name="connsiteY2254" fmla="*/ 4077 h 10000"/>
                  <a:gd name="connsiteX2255" fmla="*/ 816 w 10746"/>
                  <a:gd name="connsiteY2255" fmla="*/ 4111 h 10000"/>
                  <a:gd name="connsiteX2256" fmla="*/ 802 w 10746"/>
                  <a:gd name="connsiteY2256" fmla="*/ 4111 h 10000"/>
                  <a:gd name="connsiteX2257" fmla="*/ 770 w 10746"/>
                  <a:gd name="connsiteY2257" fmla="*/ 4060 h 10000"/>
                  <a:gd name="connsiteX2258" fmla="*/ 760 w 10746"/>
                  <a:gd name="connsiteY2258" fmla="*/ 4077 h 10000"/>
                  <a:gd name="connsiteX2259" fmla="*/ 760 w 10746"/>
                  <a:gd name="connsiteY2259" fmla="*/ 4060 h 10000"/>
                  <a:gd name="connsiteX2260" fmla="*/ 756 w 10746"/>
                  <a:gd name="connsiteY2260" fmla="*/ 4034 h 10000"/>
                  <a:gd name="connsiteX2261" fmla="*/ 742 w 10746"/>
                  <a:gd name="connsiteY2261" fmla="*/ 4000 h 10000"/>
                  <a:gd name="connsiteX2262" fmla="*/ 747 w 10746"/>
                  <a:gd name="connsiteY2262" fmla="*/ 4034 h 10000"/>
                  <a:gd name="connsiteX2263" fmla="*/ 724 w 10746"/>
                  <a:gd name="connsiteY2263" fmla="*/ 4026 h 10000"/>
                  <a:gd name="connsiteX2264" fmla="*/ 714 w 10746"/>
                  <a:gd name="connsiteY2264" fmla="*/ 4000 h 10000"/>
                  <a:gd name="connsiteX2265" fmla="*/ 714 w 10746"/>
                  <a:gd name="connsiteY2265" fmla="*/ 3983 h 10000"/>
                  <a:gd name="connsiteX2266" fmla="*/ 553 w 10746"/>
                  <a:gd name="connsiteY2266" fmla="*/ 3726 h 10000"/>
                  <a:gd name="connsiteX2267" fmla="*/ 507 w 10746"/>
                  <a:gd name="connsiteY2267" fmla="*/ 3718 h 10000"/>
                  <a:gd name="connsiteX2268" fmla="*/ 516 w 10746"/>
                  <a:gd name="connsiteY2268" fmla="*/ 3726 h 10000"/>
                  <a:gd name="connsiteX2269" fmla="*/ 507 w 10746"/>
                  <a:gd name="connsiteY2269" fmla="*/ 3735 h 10000"/>
                  <a:gd name="connsiteX2270" fmla="*/ 502 w 10746"/>
                  <a:gd name="connsiteY2270" fmla="*/ 3735 h 10000"/>
                  <a:gd name="connsiteX2271" fmla="*/ 419 w 10746"/>
                  <a:gd name="connsiteY2271" fmla="*/ 3675 h 10000"/>
                  <a:gd name="connsiteX2272" fmla="*/ 419 w 10746"/>
                  <a:gd name="connsiteY2272" fmla="*/ 3692 h 10000"/>
                  <a:gd name="connsiteX2273" fmla="*/ 401 w 10746"/>
                  <a:gd name="connsiteY2273" fmla="*/ 3701 h 10000"/>
                  <a:gd name="connsiteX2274" fmla="*/ 387 w 10746"/>
                  <a:gd name="connsiteY2274" fmla="*/ 3718 h 10000"/>
                  <a:gd name="connsiteX2275" fmla="*/ 387 w 10746"/>
                  <a:gd name="connsiteY2275" fmla="*/ 3692 h 10000"/>
                  <a:gd name="connsiteX2276" fmla="*/ 378 w 10746"/>
                  <a:gd name="connsiteY2276" fmla="*/ 3675 h 10000"/>
                  <a:gd name="connsiteX2277" fmla="*/ 378 w 10746"/>
                  <a:gd name="connsiteY2277" fmla="*/ 3650 h 10000"/>
                  <a:gd name="connsiteX2278" fmla="*/ 378 w 10746"/>
                  <a:gd name="connsiteY2278" fmla="*/ 3650 h 10000"/>
                  <a:gd name="connsiteX2279" fmla="*/ 355 w 10746"/>
                  <a:gd name="connsiteY2279" fmla="*/ 3675 h 10000"/>
                  <a:gd name="connsiteX2280" fmla="*/ 359 w 10746"/>
                  <a:gd name="connsiteY2280" fmla="*/ 3641 h 10000"/>
                  <a:gd name="connsiteX2281" fmla="*/ 346 w 10746"/>
                  <a:gd name="connsiteY2281" fmla="*/ 3650 h 10000"/>
                  <a:gd name="connsiteX2282" fmla="*/ 355 w 10746"/>
                  <a:gd name="connsiteY2282" fmla="*/ 3624 h 10000"/>
                  <a:gd name="connsiteX2283" fmla="*/ 346 w 10746"/>
                  <a:gd name="connsiteY2283" fmla="*/ 3624 h 10000"/>
                  <a:gd name="connsiteX2284" fmla="*/ 341 w 10746"/>
                  <a:gd name="connsiteY2284" fmla="*/ 3624 h 10000"/>
                  <a:gd name="connsiteX2285" fmla="*/ 318 w 10746"/>
                  <a:gd name="connsiteY2285" fmla="*/ 3641 h 10000"/>
                  <a:gd name="connsiteX2286" fmla="*/ 327 w 10746"/>
                  <a:gd name="connsiteY2286" fmla="*/ 3624 h 10000"/>
                  <a:gd name="connsiteX2287" fmla="*/ 318 w 10746"/>
                  <a:gd name="connsiteY2287" fmla="*/ 3615 h 10000"/>
                  <a:gd name="connsiteX2288" fmla="*/ 318 w 10746"/>
                  <a:gd name="connsiteY2288" fmla="*/ 3598 h 10000"/>
                  <a:gd name="connsiteX2289" fmla="*/ 300 w 10746"/>
                  <a:gd name="connsiteY2289" fmla="*/ 3598 h 10000"/>
                  <a:gd name="connsiteX2290" fmla="*/ 309 w 10746"/>
                  <a:gd name="connsiteY2290" fmla="*/ 3538 h 10000"/>
                  <a:gd name="connsiteX2291" fmla="*/ 313 w 10746"/>
                  <a:gd name="connsiteY2291" fmla="*/ 3564 h 10000"/>
                  <a:gd name="connsiteX2292" fmla="*/ 318 w 10746"/>
                  <a:gd name="connsiteY2292" fmla="*/ 3581 h 10000"/>
                  <a:gd name="connsiteX2293" fmla="*/ 327 w 10746"/>
                  <a:gd name="connsiteY2293" fmla="*/ 3564 h 10000"/>
                  <a:gd name="connsiteX2294" fmla="*/ 332 w 10746"/>
                  <a:gd name="connsiteY2294" fmla="*/ 3590 h 10000"/>
                  <a:gd name="connsiteX2295" fmla="*/ 346 w 10746"/>
                  <a:gd name="connsiteY2295" fmla="*/ 3590 h 10000"/>
                  <a:gd name="connsiteX2296" fmla="*/ 355 w 10746"/>
                  <a:gd name="connsiteY2296" fmla="*/ 3590 h 10000"/>
                  <a:gd name="connsiteX2297" fmla="*/ 369 w 10746"/>
                  <a:gd name="connsiteY2297" fmla="*/ 3556 h 10000"/>
                  <a:gd name="connsiteX2298" fmla="*/ 369 w 10746"/>
                  <a:gd name="connsiteY2298" fmla="*/ 3538 h 10000"/>
                  <a:gd name="connsiteX2299" fmla="*/ 346 w 10746"/>
                  <a:gd name="connsiteY2299" fmla="*/ 3513 h 10000"/>
                  <a:gd name="connsiteX2300" fmla="*/ 341 w 10746"/>
                  <a:gd name="connsiteY2300" fmla="*/ 3530 h 10000"/>
                  <a:gd name="connsiteX2301" fmla="*/ 327 w 10746"/>
                  <a:gd name="connsiteY2301" fmla="*/ 3513 h 10000"/>
                  <a:gd name="connsiteX2302" fmla="*/ 327 w 10746"/>
                  <a:gd name="connsiteY2302" fmla="*/ 3504 h 10000"/>
                  <a:gd name="connsiteX2303" fmla="*/ 295 w 10746"/>
                  <a:gd name="connsiteY2303" fmla="*/ 3462 h 10000"/>
                  <a:gd name="connsiteX2304" fmla="*/ 300 w 10746"/>
                  <a:gd name="connsiteY2304" fmla="*/ 3479 h 10000"/>
                  <a:gd name="connsiteX2305" fmla="*/ 295 w 10746"/>
                  <a:gd name="connsiteY2305" fmla="*/ 3513 h 10000"/>
                  <a:gd name="connsiteX2306" fmla="*/ 286 w 10746"/>
                  <a:gd name="connsiteY2306" fmla="*/ 3513 h 10000"/>
                  <a:gd name="connsiteX2307" fmla="*/ 281 w 10746"/>
                  <a:gd name="connsiteY2307" fmla="*/ 3513 h 10000"/>
                  <a:gd name="connsiteX2308" fmla="*/ 281 w 10746"/>
                  <a:gd name="connsiteY2308" fmla="*/ 3530 h 10000"/>
                  <a:gd name="connsiteX2309" fmla="*/ 281 w 10746"/>
                  <a:gd name="connsiteY2309" fmla="*/ 3556 h 10000"/>
                  <a:gd name="connsiteX2310" fmla="*/ 272 w 10746"/>
                  <a:gd name="connsiteY2310" fmla="*/ 3564 h 10000"/>
                  <a:gd name="connsiteX2311" fmla="*/ 267 w 10746"/>
                  <a:gd name="connsiteY2311" fmla="*/ 3564 h 10000"/>
                  <a:gd name="connsiteX2312" fmla="*/ 253 w 10746"/>
                  <a:gd name="connsiteY2312" fmla="*/ 3538 h 10000"/>
                  <a:gd name="connsiteX2313" fmla="*/ 226 w 10746"/>
                  <a:gd name="connsiteY2313" fmla="*/ 3513 h 10000"/>
                  <a:gd name="connsiteX2314" fmla="*/ 226 w 10746"/>
                  <a:gd name="connsiteY2314" fmla="*/ 3530 h 10000"/>
                  <a:gd name="connsiteX2315" fmla="*/ 226 w 10746"/>
                  <a:gd name="connsiteY2315" fmla="*/ 3530 h 10000"/>
                  <a:gd name="connsiteX2316" fmla="*/ 226 w 10746"/>
                  <a:gd name="connsiteY2316" fmla="*/ 3530 h 10000"/>
                  <a:gd name="connsiteX2317" fmla="*/ 226 w 10746"/>
                  <a:gd name="connsiteY2317" fmla="*/ 3556 h 10000"/>
                  <a:gd name="connsiteX2318" fmla="*/ 221 w 10746"/>
                  <a:gd name="connsiteY2318" fmla="*/ 3598 h 10000"/>
                  <a:gd name="connsiteX2319" fmla="*/ 207 w 10746"/>
                  <a:gd name="connsiteY2319" fmla="*/ 3598 h 10000"/>
                  <a:gd name="connsiteX2320" fmla="*/ 180 w 10746"/>
                  <a:gd name="connsiteY2320" fmla="*/ 3581 h 10000"/>
                  <a:gd name="connsiteX2321" fmla="*/ 171 w 10746"/>
                  <a:gd name="connsiteY2321" fmla="*/ 3641 h 10000"/>
                  <a:gd name="connsiteX2322" fmla="*/ 166 w 10746"/>
                  <a:gd name="connsiteY2322" fmla="*/ 3650 h 10000"/>
                  <a:gd name="connsiteX2323" fmla="*/ 124 w 10746"/>
                  <a:gd name="connsiteY2323" fmla="*/ 3701 h 10000"/>
                  <a:gd name="connsiteX2324" fmla="*/ 124 w 10746"/>
                  <a:gd name="connsiteY2324" fmla="*/ 3718 h 10000"/>
                  <a:gd name="connsiteX2325" fmla="*/ 120 w 10746"/>
                  <a:gd name="connsiteY2325" fmla="*/ 3735 h 10000"/>
                  <a:gd name="connsiteX2326" fmla="*/ 120 w 10746"/>
                  <a:gd name="connsiteY2326" fmla="*/ 3735 h 10000"/>
                  <a:gd name="connsiteX2327" fmla="*/ 111 w 10746"/>
                  <a:gd name="connsiteY2327" fmla="*/ 3761 h 10000"/>
                  <a:gd name="connsiteX2328" fmla="*/ 106 w 10746"/>
                  <a:gd name="connsiteY2328" fmla="*/ 3761 h 10000"/>
                  <a:gd name="connsiteX2329" fmla="*/ 106 w 10746"/>
                  <a:gd name="connsiteY2329" fmla="*/ 3761 h 10000"/>
                  <a:gd name="connsiteX2330" fmla="*/ 74 w 10746"/>
                  <a:gd name="connsiteY2330" fmla="*/ 3829 h 10000"/>
                  <a:gd name="connsiteX2331" fmla="*/ 78 w 10746"/>
                  <a:gd name="connsiteY2331" fmla="*/ 3838 h 10000"/>
                  <a:gd name="connsiteX2332" fmla="*/ 88 w 10746"/>
                  <a:gd name="connsiteY2332" fmla="*/ 3846 h 10000"/>
                  <a:gd name="connsiteX2333" fmla="*/ 65 w 10746"/>
                  <a:gd name="connsiteY2333" fmla="*/ 3923 h 10000"/>
                  <a:gd name="connsiteX2334" fmla="*/ 78 w 10746"/>
                  <a:gd name="connsiteY2334" fmla="*/ 4026 h 10000"/>
                  <a:gd name="connsiteX2335" fmla="*/ 88 w 10746"/>
                  <a:gd name="connsiteY2335" fmla="*/ 4051 h 10000"/>
                  <a:gd name="connsiteX2336" fmla="*/ 92 w 10746"/>
                  <a:gd name="connsiteY2336" fmla="*/ 4060 h 10000"/>
                  <a:gd name="connsiteX2337" fmla="*/ 111 w 10746"/>
                  <a:gd name="connsiteY2337" fmla="*/ 4060 h 10000"/>
                  <a:gd name="connsiteX2338" fmla="*/ 124 w 10746"/>
                  <a:gd name="connsiteY2338" fmla="*/ 4085 h 10000"/>
                  <a:gd name="connsiteX2339" fmla="*/ 166 w 10746"/>
                  <a:gd name="connsiteY2339" fmla="*/ 4197 h 10000"/>
                  <a:gd name="connsiteX2340" fmla="*/ 166 w 10746"/>
                  <a:gd name="connsiteY2340" fmla="*/ 4248 h 10000"/>
                  <a:gd name="connsiteX2341" fmla="*/ 120 w 10746"/>
                  <a:gd name="connsiteY2341" fmla="*/ 4462 h 10000"/>
                  <a:gd name="connsiteX2342" fmla="*/ 120 w 10746"/>
                  <a:gd name="connsiteY2342" fmla="*/ 4513 h 10000"/>
                  <a:gd name="connsiteX2343" fmla="*/ 180 w 10746"/>
                  <a:gd name="connsiteY2343" fmla="*/ 4829 h 10000"/>
                  <a:gd name="connsiteX2344" fmla="*/ 161 w 10746"/>
                  <a:gd name="connsiteY2344" fmla="*/ 4855 h 10000"/>
                  <a:gd name="connsiteX2345" fmla="*/ 152 w 10746"/>
                  <a:gd name="connsiteY2345" fmla="*/ 4940 h 10000"/>
                  <a:gd name="connsiteX2346" fmla="*/ 161 w 10746"/>
                  <a:gd name="connsiteY2346" fmla="*/ 4966 h 10000"/>
                  <a:gd name="connsiteX2347" fmla="*/ 161 w 10746"/>
                  <a:gd name="connsiteY2347" fmla="*/ 5009 h 10000"/>
                  <a:gd name="connsiteX2348" fmla="*/ 152 w 10746"/>
                  <a:gd name="connsiteY2348" fmla="*/ 5034 h 10000"/>
                  <a:gd name="connsiteX2349" fmla="*/ 152 w 10746"/>
                  <a:gd name="connsiteY2349" fmla="*/ 5077 h 10000"/>
                  <a:gd name="connsiteX2350" fmla="*/ 171 w 10746"/>
                  <a:gd name="connsiteY2350" fmla="*/ 5094 h 10000"/>
                  <a:gd name="connsiteX2351" fmla="*/ 180 w 10746"/>
                  <a:gd name="connsiteY2351" fmla="*/ 5128 h 10000"/>
                  <a:gd name="connsiteX2352" fmla="*/ 180 w 10746"/>
                  <a:gd name="connsiteY2352" fmla="*/ 5171 h 10000"/>
                  <a:gd name="connsiteX2353" fmla="*/ 184 w 10746"/>
                  <a:gd name="connsiteY2353" fmla="*/ 5205 h 10000"/>
                  <a:gd name="connsiteX2354" fmla="*/ 207 w 10746"/>
                  <a:gd name="connsiteY2354" fmla="*/ 5239 h 10000"/>
                  <a:gd name="connsiteX2355" fmla="*/ 207 w 10746"/>
                  <a:gd name="connsiteY2355" fmla="*/ 5282 h 10000"/>
                  <a:gd name="connsiteX2356" fmla="*/ 180 w 10746"/>
                  <a:gd name="connsiteY2356" fmla="*/ 5393 h 10000"/>
                  <a:gd name="connsiteX2357" fmla="*/ 194 w 10746"/>
                  <a:gd name="connsiteY2357" fmla="*/ 5427 h 10000"/>
                  <a:gd name="connsiteX2358" fmla="*/ 198 w 10746"/>
                  <a:gd name="connsiteY2358" fmla="*/ 5462 h 10000"/>
                  <a:gd name="connsiteX2359" fmla="*/ 235 w 10746"/>
                  <a:gd name="connsiteY2359" fmla="*/ 5513 h 10000"/>
                  <a:gd name="connsiteX2360" fmla="*/ 240 w 10746"/>
                  <a:gd name="connsiteY2360" fmla="*/ 5556 h 10000"/>
                  <a:gd name="connsiteX2361" fmla="*/ 253 w 10746"/>
                  <a:gd name="connsiteY2361" fmla="*/ 5590 h 10000"/>
                  <a:gd name="connsiteX2362" fmla="*/ 258 w 10746"/>
                  <a:gd name="connsiteY2362" fmla="*/ 5573 h 10000"/>
                  <a:gd name="connsiteX2363" fmla="*/ 258 w 10746"/>
                  <a:gd name="connsiteY2363" fmla="*/ 5667 h 10000"/>
                  <a:gd name="connsiteX2364" fmla="*/ 14 w 10746"/>
                  <a:gd name="connsiteY2364" fmla="*/ 6214 h 10000"/>
                  <a:gd name="connsiteX2365" fmla="*/ 14 w 10746"/>
                  <a:gd name="connsiteY2365" fmla="*/ 6214 h 10000"/>
                  <a:gd name="connsiteX2366" fmla="*/ 37 w 10746"/>
                  <a:gd name="connsiteY2366" fmla="*/ 6214 h 10000"/>
                  <a:gd name="connsiteX2367" fmla="*/ 51 w 10746"/>
                  <a:gd name="connsiteY2367" fmla="*/ 6188 h 10000"/>
                  <a:gd name="connsiteX2368" fmla="*/ 78 w 10746"/>
                  <a:gd name="connsiteY2368" fmla="*/ 6162 h 10000"/>
                  <a:gd name="connsiteX2369" fmla="*/ 78 w 10746"/>
                  <a:gd name="connsiteY2369" fmla="*/ 6188 h 10000"/>
                  <a:gd name="connsiteX2370" fmla="*/ 74 w 10746"/>
                  <a:gd name="connsiteY2370" fmla="*/ 6197 h 10000"/>
                  <a:gd name="connsiteX2371" fmla="*/ 74 w 10746"/>
                  <a:gd name="connsiteY2371" fmla="*/ 6231 h 10000"/>
                  <a:gd name="connsiteX2372" fmla="*/ 74 w 10746"/>
                  <a:gd name="connsiteY2372" fmla="*/ 6214 h 10000"/>
                  <a:gd name="connsiteX2373" fmla="*/ 65 w 10746"/>
                  <a:gd name="connsiteY2373" fmla="*/ 6214 h 10000"/>
                  <a:gd name="connsiteX2374" fmla="*/ 65 w 10746"/>
                  <a:gd name="connsiteY2374" fmla="*/ 6248 h 10000"/>
                  <a:gd name="connsiteX2375" fmla="*/ 74 w 10746"/>
                  <a:gd name="connsiteY2375" fmla="*/ 6256 h 10000"/>
                  <a:gd name="connsiteX2376" fmla="*/ 78 w 10746"/>
                  <a:gd name="connsiteY2376" fmla="*/ 6256 h 10000"/>
                  <a:gd name="connsiteX2377" fmla="*/ 106 w 10746"/>
                  <a:gd name="connsiteY2377" fmla="*/ 6308 h 10000"/>
                  <a:gd name="connsiteX2378" fmla="*/ 138 w 10746"/>
                  <a:gd name="connsiteY2378" fmla="*/ 6299 h 10000"/>
                  <a:gd name="connsiteX2379" fmla="*/ 152 w 10746"/>
                  <a:gd name="connsiteY2379" fmla="*/ 6299 h 10000"/>
                  <a:gd name="connsiteX2380" fmla="*/ 166 w 10746"/>
                  <a:gd name="connsiteY2380" fmla="*/ 6325 h 10000"/>
                  <a:gd name="connsiteX2381" fmla="*/ 166 w 10746"/>
                  <a:gd name="connsiteY2381" fmla="*/ 6333 h 10000"/>
                  <a:gd name="connsiteX2382" fmla="*/ 171 w 10746"/>
                  <a:gd name="connsiteY2382" fmla="*/ 6350 h 10000"/>
                  <a:gd name="connsiteX2383" fmla="*/ 180 w 10746"/>
                  <a:gd name="connsiteY2383" fmla="*/ 6350 h 10000"/>
                  <a:gd name="connsiteX2384" fmla="*/ 180 w 10746"/>
                  <a:gd name="connsiteY2384" fmla="*/ 6359 h 10000"/>
                  <a:gd name="connsiteX2385" fmla="*/ 171 w 10746"/>
                  <a:gd name="connsiteY2385" fmla="*/ 6368 h 10000"/>
                  <a:gd name="connsiteX2386" fmla="*/ 106 w 10746"/>
                  <a:gd name="connsiteY2386" fmla="*/ 6350 h 10000"/>
                  <a:gd name="connsiteX2387" fmla="*/ 101 w 10746"/>
                  <a:gd name="connsiteY2387" fmla="*/ 6359 h 10000"/>
                  <a:gd name="connsiteX2388" fmla="*/ 101 w 10746"/>
                  <a:gd name="connsiteY2388" fmla="*/ 6385 h 10000"/>
                  <a:gd name="connsiteX2389" fmla="*/ 78 w 10746"/>
                  <a:gd name="connsiteY2389" fmla="*/ 6393 h 10000"/>
                  <a:gd name="connsiteX2390" fmla="*/ 74 w 10746"/>
                  <a:gd name="connsiteY2390" fmla="*/ 6385 h 10000"/>
                  <a:gd name="connsiteX2391" fmla="*/ 65 w 10746"/>
                  <a:gd name="connsiteY2391" fmla="*/ 6393 h 10000"/>
                  <a:gd name="connsiteX2392" fmla="*/ 60 w 10746"/>
                  <a:gd name="connsiteY2392" fmla="*/ 6419 h 10000"/>
                  <a:gd name="connsiteX2393" fmla="*/ 51 w 10746"/>
                  <a:gd name="connsiteY2393" fmla="*/ 6419 h 10000"/>
                  <a:gd name="connsiteX2394" fmla="*/ 46 w 10746"/>
                  <a:gd name="connsiteY2394" fmla="*/ 6410 h 10000"/>
                  <a:gd name="connsiteX2395" fmla="*/ 37 w 10746"/>
                  <a:gd name="connsiteY2395" fmla="*/ 6393 h 10000"/>
                  <a:gd name="connsiteX2396" fmla="*/ 32 w 10746"/>
                  <a:gd name="connsiteY2396" fmla="*/ 6419 h 10000"/>
                  <a:gd name="connsiteX2397" fmla="*/ 37 w 10746"/>
                  <a:gd name="connsiteY2397" fmla="*/ 6462 h 10000"/>
                  <a:gd name="connsiteX2398" fmla="*/ 46 w 10746"/>
                  <a:gd name="connsiteY2398" fmla="*/ 6462 h 10000"/>
                  <a:gd name="connsiteX2399" fmla="*/ 51 w 10746"/>
                  <a:gd name="connsiteY2399" fmla="*/ 6470 h 10000"/>
                  <a:gd name="connsiteX2400" fmla="*/ 51 w 10746"/>
                  <a:gd name="connsiteY2400" fmla="*/ 6496 h 10000"/>
                  <a:gd name="connsiteX2401" fmla="*/ 51 w 10746"/>
                  <a:gd name="connsiteY2401" fmla="*/ 6504 h 10000"/>
                  <a:gd name="connsiteX2402" fmla="*/ 37 w 10746"/>
                  <a:gd name="connsiteY2402" fmla="*/ 6530 h 10000"/>
                  <a:gd name="connsiteX2403" fmla="*/ 18 w 10746"/>
                  <a:gd name="connsiteY2403" fmla="*/ 6598 h 10000"/>
                  <a:gd name="connsiteX2404" fmla="*/ 28 w 10746"/>
                  <a:gd name="connsiteY2404" fmla="*/ 6632 h 10000"/>
                  <a:gd name="connsiteX2405" fmla="*/ 18 w 10746"/>
                  <a:gd name="connsiteY2405" fmla="*/ 6667 h 10000"/>
                  <a:gd name="connsiteX2406" fmla="*/ 28 w 10746"/>
                  <a:gd name="connsiteY2406" fmla="*/ 6692 h 10000"/>
                  <a:gd name="connsiteX2407" fmla="*/ 28 w 10746"/>
                  <a:gd name="connsiteY2407" fmla="*/ 6709 h 10000"/>
                  <a:gd name="connsiteX2408" fmla="*/ 18 w 10746"/>
                  <a:gd name="connsiteY2408" fmla="*/ 6718 h 10000"/>
                  <a:gd name="connsiteX2409" fmla="*/ 5 w 10746"/>
                  <a:gd name="connsiteY2409" fmla="*/ 6744 h 10000"/>
                  <a:gd name="connsiteX2410" fmla="*/ 0 w 10746"/>
                  <a:gd name="connsiteY2410" fmla="*/ 6769 h 10000"/>
                  <a:gd name="connsiteX2411" fmla="*/ 5 w 10746"/>
                  <a:gd name="connsiteY2411" fmla="*/ 6778 h 10000"/>
                  <a:gd name="connsiteX2412" fmla="*/ 32 w 10746"/>
                  <a:gd name="connsiteY2412" fmla="*/ 6778 h 10000"/>
                  <a:gd name="connsiteX2413" fmla="*/ 46 w 10746"/>
                  <a:gd name="connsiteY2413" fmla="*/ 6821 h 10000"/>
                  <a:gd name="connsiteX2414" fmla="*/ 46 w 10746"/>
                  <a:gd name="connsiteY2414" fmla="*/ 6855 h 10000"/>
                  <a:gd name="connsiteX2415" fmla="*/ 32 w 10746"/>
                  <a:gd name="connsiteY2415" fmla="*/ 6855 h 10000"/>
                  <a:gd name="connsiteX2416" fmla="*/ 14 w 10746"/>
                  <a:gd name="connsiteY2416" fmla="*/ 6821 h 10000"/>
                  <a:gd name="connsiteX2417" fmla="*/ 14 w 10746"/>
                  <a:gd name="connsiteY2417" fmla="*/ 6846 h 10000"/>
                  <a:gd name="connsiteX2418" fmla="*/ 0 w 10746"/>
                  <a:gd name="connsiteY2418" fmla="*/ 6897 h 10000"/>
                  <a:gd name="connsiteX2419" fmla="*/ 0 w 10746"/>
                  <a:gd name="connsiteY2419" fmla="*/ 6915 h 10000"/>
                  <a:gd name="connsiteX2420" fmla="*/ 5 w 10746"/>
                  <a:gd name="connsiteY2420" fmla="*/ 6932 h 10000"/>
                  <a:gd name="connsiteX2421" fmla="*/ 14 w 10746"/>
                  <a:gd name="connsiteY2421" fmla="*/ 6940 h 10000"/>
                  <a:gd name="connsiteX2422" fmla="*/ 18 w 10746"/>
                  <a:gd name="connsiteY2422" fmla="*/ 6957 h 10000"/>
                  <a:gd name="connsiteX2423" fmla="*/ 28 w 10746"/>
                  <a:gd name="connsiteY2423" fmla="*/ 6966 h 10000"/>
                  <a:gd name="connsiteX2424" fmla="*/ 28 w 10746"/>
                  <a:gd name="connsiteY2424" fmla="*/ 6983 h 10000"/>
                  <a:gd name="connsiteX2425" fmla="*/ 18 w 10746"/>
                  <a:gd name="connsiteY2425" fmla="*/ 7051 h 10000"/>
                  <a:gd name="connsiteX2426" fmla="*/ 28 w 10746"/>
                  <a:gd name="connsiteY2426" fmla="*/ 7068 h 10000"/>
                  <a:gd name="connsiteX2427" fmla="*/ 32 w 10746"/>
                  <a:gd name="connsiteY2427" fmla="*/ 7068 h 10000"/>
                  <a:gd name="connsiteX2428" fmla="*/ 32 w 10746"/>
                  <a:gd name="connsiteY2428" fmla="*/ 7094 h 10000"/>
                  <a:gd name="connsiteX2429" fmla="*/ 60 w 10746"/>
                  <a:gd name="connsiteY2429" fmla="*/ 7162 h 10000"/>
                  <a:gd name="connsiteX2430" fmla="*/ 60 w 10746"/>
                  <a:gd name="connsiteY2430" fmla="*/ 7231 h 10000"/>
                  <a:gd name="connsiteX2431" fmla="*/ 60 w 10746"/>
                  <a:gd name="connsiteY2431" fmla="*/ 7239 h 10000"/>
                  <a:gd name="connsiteX2432" fmla="*/ 78 w 10746"/>
                  <a:gd name="connsiteY2432" fmla="*/ 7239 h 10000"/>
                  <a:gd name="connsiteX2433" fmla="*/ 88 w 10746"/>
                  <a:gd name="connsiteY2433" fmla="*/ 7239 h 10000"/>
                  <a:gd name="connsiteX2434" fmla="*/ 92 w 10746"/>
                  <a:gd name="connsiteY2434" fmla="*/ 7256 h 10000"/>
                  <a:gd name="connsiteX2435" fmla="*/ 111 w 10746"/>
                  <a:gd name="connsiteY2435" fmla="*/ 7256 h 10000"/>
                  <a:gd name="connsiteX2436" fmla="*/ 120 w 10746"/>
                  <a:gd name="connsiteY2436" fmla="*/ 7256 h 10000"/>
                  <a:gd name="connsiteX2437" fmla="*/ 134 w 10746"/>
                  <a:gd name="connsiteY2437" fmla="*/ 7282 h 10000"/>
                  <a:gd name="connsiteX2438" fmla="*/ 134 w 10746"/>
                  <a:gd name="connsiteY2438" fmla="*/ 7316 h 10000"/>
                  <a:gd name="connsiteX2439" fmla="*/ 152 w 10746"/>
                  <a:gd name="connsiteY2439" fmla="*/ 7299 h 10000"/>
                  <a:gd name="connsiteX2440" fmla="*/ 161 w 10746"/>
                  <a:gd name="connsiteY2440" fmla="*/ 7299 h 10000"/>
                  <a:gd name="connsiteX2441" fmla="*/ 166 w 10746"/>
                  <a:gd name="connsiteY2441" fmla="*/ 7291 h 10000"/>
                  <a:gd name="connsiteX2442" fmla="*/ 194 w 10746"/>
                  <a:gd name="connsiteY2442" fmla="*/ 7291 h 10000"/>
                  <a:gd name="connsiteX2443" fmla="*/ 207 w 10746"/>
                  <a:gd name="connsiteY2443" fmla="*/ 7299 h 10000"/>
                  <a:gd name="connsiteX2444" fmla="*/ 221 w 10746"/>
                  <a:gd name="connsiteY2444" fmla="*/ 7342 h 10000"/>
                  <a:gd name="connsiteX2445" fmla="*/ 235 w 10746"/>
                  <a:gd name="connsiteY2445" fmla="*/ 7342 h 10000"/>
                  <a:gd name="connsiteX2446" fmla="*/ 235 w 10746"/>
                  <a:gd name="connsiteY2446" fmla="*/ 7368 h 10000"/>
                  <a:gd name="connsiteX2447" fmla="*/ 226 w 10746"/>
                  <a:gd name="connsiteY2447" fmla="*/ 7393 h 10000"/>
                  <a:gd name="connsiteX2448" fmla="*/ 226 w 10746"/>
                  <a:gd name="connsiteY2448" fmla="*/ 7402 h 10000"/>
                  <a:gd name="connsiteX2449" fmla="*/ 235 w 10746"/>
                  <a:gd name="connsiteY2449" fmla="*/ 7419 h 10000"/>
                  <a:gd name="connsiteX2450" fmla="*/ 240 w 10746"/>
                  <a:gd name="connsiteY2450" fmla="*/ 7436 h 10000"/>
                  <a:gd name="connsiteX2451" fmla="*/ 235 w 10746"/>
                  <a:gd name="connsiteY2451" fmla="*/ 7462 h 10000"/>
                  <a:gd name="connsiteX2452" fmla="*/ 226 w 10746"/>
                  <a:gd name="connsiteY2452" fmla="*/ 7479 h 10000"/>
                  <a:gd name="connsiteX2453" fmla="*/ 226 w 10746"/>
                  <a:gd name="connsiteY2453" fmla="*/ 7504 h 10000"/>
                  <a:gd name="connsiteX2454" fmla="*/ 226 w 10746"/>
                  <a:gd name="connsiteY2454" fmla="*/ 7513 h 10000"/>
                  <a:gd name="connsiteX2455" fmla="*/ 240 w 10746"/>
                  <a:gd name="connsiteY2455" fmla="*/ 7538 h 10000"/>
                  <a:gd name="connsiteX2456" fmla="*/ 267 w 10746"/>
                  <a:gd name="connsiteY2456" fmla="*/ 7641 h 10000"/>
                  <a:gd name="connsiteX2457" fmla="*/ 281 w 10746"/>
                  <a:gd name="connsiteY2457" fmla="*/ 7667 h 10000"/>
                  <a:gd name="connsiteX2458" fmla="*/ 286 w 10746"/>
                  <a:gd name="connsiteY2458" fmla="*/ 7675 h 10000"/>
                  <a:gd name="connsiteX2459" fmla="*/ 286 w 10746"/>
                  <a:gd name="connsiteY2459" fmla="*/ 7692 h 10000"/>
                  <a:gd name="connsiteX2460" fmla="*/ 286 w 10746"/>
                  <a:gd name="connsiteY2460" fmla="*/ 7709 h 10000"/>
                  <a:gd name="connsiteX2461" fmla="*/ 295 w 10746"/>
                  <a:gd name="connsiteY2461" fmla="*/ 7726 h 10000"/>
                  <a:gd name="connsiteX2462" fmla="*/ 318 w 10746"/>
                  <a:gd name="connsiteY2462" fmla="*/ 7709 h 10000"/>
                  <a:gd name="connsiteX2463" fmla="*/ 327 w 10746"/>
                  <a:gd name="connsiteY2463" fmla="*/ 7726 h 10000"/>
                  <a:gd name="connsiteX2464" fmla="*/ 341 w 10746"/>
                  <a:gd name="connsiteY2464" fmla="*/ 7735 h 10000"/>
                  <a:gd name="connsiteX2465" fmla="*/ 332 w 10746"/>
                  <a:gd name="connsiteY2465" fmla="*/ 7752 h 10000"/>
                  <a:gd name="connsiteX2466" fmla="*/ 341 w 10746"/>
                  <a:gd name="connsiteY2466" fmla="*/ 7761 h 10000"/>
                  <a:gd name="connsiteX2467" fmla="*/ 355 w 10746"/>
                  <a:gd name="connsiteY2467" fmla="*/ 7761 h 10000"/>
                  <a:gd name="connsiteX2468" fmla="*/ 355 w 10746"/>
                  <a:gd name="connsiteY2468" fmla="*/ 7803 h 10000"/>
                  <a:gd name="connsiteX2469" fmla="*/ 313 w 10746"/>
                  <a:gd name="connsiteY2469" fmla="*/ 7846 h 10000"/>
                  <a:gd name="connsiteX2470" fmla="*/ 295 w 10746"/>
                  <a:gd name="connsiteY2470" fmla="*/ 7846 h 10000"/>
                  <a:gd name="connsiteX2471" fmla="*/ 281 w 10746"/>
                  <a:gd name="connsiteY2471" fmla="*/ 7821 h 10000"/>
                  <a:gd name="connsiteX2472" fmla="*/ 272 w 10746"/>
                  <a:gd name="connsiteY2472" fmla="*/ 7821 h 10000"/>
                  <a:gd name="connsiteX2473" fmla="*/ 267 w 10746"/>
                  <a:gd name="connsiteY2473" fmla="*/ 7838 h 10000"/>
                  <a:gd name="connsiteX2474" fmla="*/ 258 w 10746"/>
                  <a:gd name="connsiteY2474" fmla="*/ 7846 h 10000"/>
                  <a:gd name="connsiteX2475" fmla="*/ 253 w 10746"/>
                  <a:gd name="connsiteY2475" fmla="*/ 7863 h 10000"/>
                  <a:gd name="connsiteX2476" fmla="*/ 253 w 10746"/>
                  <a:gd name="connsiteY2476" fmla="*/ 7872 h 10000"/>
                  <a:gd name="connsiteX2477" fmla="*/ 267 w 10746"/>
                  <a:gd name="connsiteY2477" fmla="*/ 7897 h 10000"/>
                  <a:gd name="connsiteX2478" fmla="*/ 272 w 10746"/>
                  <a:gd name="connsiteY2478" fmla="*/ 7915 h 10000"/>
                  <a:gd name="connsiteX2479" fmla="*/ 267 w 10746"/>
                  <a:gd name="connsiteY2479" fmla="*/ 7940 h 10000"/>
                  <a:gd name="connsiteX2480" fmla="*/ 272 w 10746"/>
                  <a:gd name="connsiteY2480" fmla="*/ 7949 h 10000"/>
                  <a:gd name="connsiteX2481" fmla="*/ 272 w 10746"/>
                  <a:gd name="connsiteY2481" fmla="*/ 7957 h 10000"/>
                  <a:gd name="connsiteX2482" fmla="*/ 281 w 10746"/>
                  <a:gd name="connsiteY2482" fmla="*/ 7974 h 10000"/>
                  <a:gd name="connsiteX2483" fmla="*/ 286 w 10746"/>
                  <a:gd name="connsiteY2483" fmla="*/ 7983 h 10000"/>
                  <a:gd name="connsiteX2484" fmla="*/ 281 w 10746"/>
                  <a:gd name="connsiteY2484" fmla="*/ 8009 h 10000"/>
                  <a:gd name="connsiteX2485" fmla="*/ 286 w 10746"/>
                  <a:gd name="connsiteY2485" fmla="*/ 8060 h 10000"/>
                  <a:gd name="connsiteX2486" fmla="*/ 286 w 10746"/>
                  <a:gd name="connsiteY2486" fmla="*/ 8060 h 10000"/>
                  <a:gd name="connsiteX2487" fmla="*/ 295 w 10746"/>
                  <a:gd name="connsiteY2487" fmla="*/ 8077 h 10000"/>
                  <a:gd name="connsiteX2488" fmla="*/ 309 w 10746"/>
                  <a:gd name="connsiteY2488" fmla="*/ 8077 h 10000"/>
                  <a:gd name="connsiteX2489" fmla="*/ 313 w 10746"/>
                  <a:gd name="connsiteY2489" fmla="*/ 8060 h 10000"/>
                  <a:gd name="connsiteX2490" fmla="*/ 318 w 10746"/>
                  <a:gd name="connsiteY2490" fmla="*/ 8051 h 10000"/>
                  <a:gd name="connsiteX2491" fmla="*/ 318 w 10746"/>
                  <a:gd name="connsiteY2491" fmla="*/ 8034 h 10000"/>
                  <a:gd name="connsiteX2492" fmla="*/ 332 w 10746"/>
                  <a:gd name="connsiteY2492" fmla="*/ 8026 h 10000"/>
                  <a:gd name="connsiteX2493" fmla="*/ 359 w 10746"/>
                  <a:gd name="connsiteY2493" fmla="*/ 8034 h 10000"/>
                  <a:gd name="connsiteX2494" fmla="*/ 378 w 10746"/>
                  <a:gd name="connsiteY2494" fmla="*/ 8026 h 10000"/>
                  <a:gd name="connsiteX2495" fmla="*/ 401 w 10746"/>
                  <a:gd name="connsiteY2495" fmla="*/ 8026 h 10000"/>
                  <a:gd name="connsiteX2496" fmla="*/ 419 w 10746"/>
                  <a:gd name="connsiteY2496" fmla="*/ 8009 h 10000"/>
                  <a:gd name="connsiteX2497" fmla="*/ 433 w 10746"/>
                  <a:gd name="connsiteY2497" fmla="*/ 8034 h 10000"/>
                  <a:gd name="connsiteX2498" fmla="*/ 442 w 10746"/>
                  <a:gd name="connsiteY2498" fmla="*/ 8060 h 10000"/>
                  <a:gd name="connsiteX2499" fmla="*/ 442 w 10746"/>
                  <a:gd name="connsiteY2499" fmla="*/ 8077 h 10000"/>
                  <a:gd name="connsiteX2500" fmla="*/ 461 w 10746"/>
                  <a:gd name="connsiteY2500" fmla="*/ 8111 h 10000"/>
                  <a:gd name="connsiteX2501" fmla="*/ 461 w 10746"/>
                  <a:gd name="connsiteY2501" fmla="*/ 8137 h 10000"/>
                  <a:gd name="connsiteX2502" fmla="*/ 447 w 10746"/>
                  <a:gd name="connsiteY2502" fmla="*/ 8145 h 10000"/>
                  <a:gd name="connsiteX2503" fmla="*/ 442 w 10746"/>
                  <a:gd name="connsiteY2503" fmla="*/ 8145 h 10000"/>
                  <a:gd name="connsiteX2504" fmla="*/ 442 w 10746"/>
                  <a:gd name="connsiteY2504" fmla="*/ 8162 h 10000"/>
                  <a:gd name="connsiteX2505" fmla="*/ 442 w 10746"/>
                  <a:gd name="connsiteY2505" fmla="*/ 8171 h 10000"/>
                  <a:gd name="connsiteX2506" fmla="*/ 447 w 10746"/>
                  <a:gd name="connsiteY2506" fmla="*/ 8214 h 10000"/>
                  <a:gd name="connsiteX2507" fmla="*/ 465 w 10746"/>
                  <a:gd name="connsiteY2507" fmla="*/ 8231 h 10000"/>
                  <a:gd name="connsiteX2508" fmla="*/ 488 w 10746"/>
                  <a:gd name="connsiteY2508" fmla="*/ 8231 h 10000"/>
                  <a:gd name="connsiteX2509" fmla="*/ 493 w 10746"/>
                  <a:gd name="connsiteY2509" fmla="*/ 8231 h 10000"/>
                  <a:gd name="connsiteX2510" fmla="*/ 502 w 10746"/>
                  <a:gd name="connsiteY2510" fmla="*/ 8231 h 10000"/>
                  <a:gd name="connsiteX2511" fmla="*/ 507 w 10746"/>
                  <a:gd name="connsiteY2511" fmla="*/ 8248 h 10000"/>
                  <a:gd name="connsiteX2512" fmla="*/ 521 w 10746"/>
                  <a:gd name="connsiteY2512" fmla="*/ 8274 h 10000"/>
                  <a:gd name="connsiteX2513" fmla="*/ 525 w 10746"/>
                  <a:gd name="connsiteY2513" fmla="*/ 8333 h 10000"/>
                  <a:gd name="connsiteX2514" fmla="*/ 525 w 10746"/>
                  <a:gd name="connsiteY2514" fmla="*/ 8359 h 10000"/>
                  <a:gd name="connsiteX2515" fmla="*/ 525 w 10746"/>
                  <a:gd name="connsiteY2515" fmla="*/ 8368 h 10000"/>
                  <a:gd name="connsiteX2516" fmla="*/ 548 w 10746"/>
                  <a:gd name="connsiteY2516" fmla="*/ 8393 h 10000"/>
                  <a:gd name="connsiteX2517" fmla="*/ 553 w 10746"/>
                  <a:gd name="connsiteY2517" fmla="*/ 8385 h 10000"/>
                  <a:gd name="connsiteX2518" fmla="*/ 562 w 10746"/>
                  <a:gd name="connsiteY2518" fmla="*/ 8385 h 10000"/>
                  <a:gd name="connsiteX2519" fmla="*/ 576 w 10746"/>
                  <a:gd name="connsiteY2519" fmla="*/ 8385 h 10000"/>
                  <a:gd name="connsiteX2520" fmla="*/ 585 w 10746"/>
                  <a:gd name="connsiteY2520" fmla="*/ 8410 h 10000"/>
                  <a:gd name="connsiteX2521" fmla="*/ 594 w 10746"/>
                  <a:gd name="connsiteY2521" fmla="*/ 8410 h 10000"/>
                  <a:gd name="connsiteX2522" fmla="*/ 608 w 10746"/>
                  <a:gd name="connsiteY2522" fmla="*/ 8410 h 10000"/>
                  <a:gd name="connsiteX2523" fmla="*/ 654 w 10746"/>
                  <a:gd name="connsiteY2523" fmla="*/ 8385 h 10000"/>
                  <a:gd name="connsiteX2524" fmla="*/ 659 w 10746"/>
                  <a:gd name="connsiteY2524" fmla="*/ 8385 h 10000"/>
                  <a:gd name="connsiteX2525" fmla="*/ 696 w 10746"/>
                  <a:gd name="connsiteY2525" fmla="*/ 8470 h 10000"/>
                  <a:gd name="connsiteX2526" fmla="*/ 700 w 10746"/>
                  <a:gd name="connsiteY2526" fmla="*/ 8470 h 10000"/>
                  <a:gd name="connsiteX2527" fmla="*/ 710 w 10746"/>
                  <a:gd name="connsiteY2527" fmla="*/ 8462 h 10000"/>
                  <a:gd name="connsiteX2528" fmla="*/ 714 w 10746"/>
                  <a:gd name="connsiteY2528" fmla="*/ 8462 h 10000"/>
                  <a:gd name="connsiteX2529" fmla="*/ 724 w 10746"/>
                  <a:gd name="connsiteY2529" fmla="*/ 8470 h 10000"/>
                  <a:gd name="connsiteX2530" fmla="*/ 733 w 10746"/>
                  <a:gd name="connsiteY2530" fmla="*/ 8470 h 10000"/>
                  <a:gd name="connsiteX2531" fmla="*/ 742 w 10746"/>
                  <a:gd name="connsiteY2531" fmla="*/ 8487 h 10000"/>
                  <a:gd name="connsiteX2532" fmla="*/ 747 w 10746"/>
                  <a:gd name="connsiteY2532" fmla="*/ 8496 h 10000"/>
                  <a:gd name="connsiteX2533" fmla="*/ 770 w 10746"/>
                  <a:gd name="connsiteY2533" fmla="*/ 8496 h 10000"/>
                  <a:gd name="connsiteX2534" fmla="*/ 783 w 10746"/>
                  <a:gd name="connsiteY2534" fmla="*/ 8521 h 10000"/>
                  <a:gd name="connsiteX2535" fmla="*/ 797 w 10746"/>
                  <a:gd name="connsiteY2535" fmla="*/ 8521 h 10000"/>
                  <a:gd name="connsiteX2536" fmla="*/ 806 w 10746"/>
                  <a:gd name="connsiteY2536" fmla="*/ 8530 h 10000"/>
                  <a:gd name="connsiteX2537" fmla="*/ 829 w 10746"/>
                  <a:gd name="connsiteY2537" fmla="*/ 8547 h 10000"/>
                  <a:gd name="connsiteX2538" fmla="*/ 834 w 10746"/>
                  <a:gd name="connsiteY2538" fmla="*/ 8556 h 10000"/>
                  <a:gd name="connsiteX2539" fmla="*/ 829 w 10746"/>
                  <a:gd name="connsiteY2539" fmla="*/ 8556 h 10000"/>
                  <a:gd name="connsiteX2540" fmla="*/ 834 w 10746"/>
                  <a:gd name="connsiteY2540" fmla="*/ 8607 h 10000"/>
                  <a:gd name="connsiteX2541" fmla="*/ 829 w 10746"/>
                  <a:gd name="connsiteY2541" fmla="*/ 8641 h 10000"/>
                  <a:gd name="connsiteX2542" fmla="*/ 806 w 10746"/>
                  <a:gd name="connsiteY2542" fmla="*/ 8658 h 10000"/>
                  <a:gd name="connsiteX2543" fmla="*/ 816 w 10746"/>
                  <a:gd name="connsiteY2543" fmla="*/ 8667 h 10000"/>
                  <a:gd name="connsiteX2544" fmla="*/ 820 w 10746"/>
                  <a:gd name="connsiteY2544" fmla="*/ 8667 h 10000"/>
                  <a:gd name="connsiteX2545" fmla="*/ 829 w 10746"/>
                  <a:gd name="connsiteY2545" fmla="*/ 8684 h 10000"/>
                  <a:gd name="connsiteX2546" fmla="*/ 806 w 10746"/>
                  <a:gd name="connsiteY2546" fmla="*/ 8692 h 10000"/>
                  <a:gd name="connsiteX2547" fmla="*/ 802 w 10746"/>
                  <a:gd name="connsiteY2547" fmla="*/ 8709 h 10000"/>
                  <a:gd name="connsiteX2548" fmla="*/ 802 w 10746"/>
                  <a:gd name="connsiteY2548" fmla="*/ 8735 h 10000"/>
                  <a:gd name="connsiteX2549" fmla="*/ 806 w 10746"/>
                  <a:gd name="connsiteY2549" fmla="*/ 8744 h 10000"/>
                  <a:gd name="connsiteX2550" fmla="*/ 816 w 10746"/>
                  <a:gd name="connsiteY2550" fmla="*/ 8752 h 10000"/>
                  <a:gd name="connsiteX2551" fmla="*/ 806 w 10746"/>
                  <a:gd name="connsiteY2551" fmla="*/ 8778 h 10000"/>
                  <a:gd name="connsiteX2552" fmla="*/ 820 w 10746"/>
                  <a:gd name="connsiteY2552" fmla="*/ 8778 h 10000"/>
                  <a:gd name="connsiteX2553" fmla="*/ 806 w 10746"/>
                  <a:gd name="connsiteY2553" fmla="*/ 8880 h 10000"/>
                  <a:gd name="connsiteX2554" fmla="*/ 797 w 10746"/>
                  <a:gd name="connsiteY2554" fmla="*/ 8880 h 10000"/>
                  <a:gd name="connsiteX2555" fmla="*/ 783 w 10746"/>
                  <a:gd name="connsiteY2555" fmla="*/ 8872 h 10000"/>
                  <a:gd name="connsiteX2556" fmla="*/ 770 w 10746"/>
                  <a:gd name="connsiteY2556" fmla="*/ 8880 h 10000"/>
                  <a:gd name="connsiteX2557" fmla="*/ 756 w 10746"/>
                  <a:gd name="connsiteY2557" fmla="*/ 8855 h 10000"/>
                  <a:gd name="connsiteX2558" fmla="*/ 733 w 10746"/>
                  <a:gd name="connsiteY2558" fmla="*/ 8906 h 10000"/>
                  <a:gd name="connsiteX2559" fmla="*/ 714 w 10746"/>
                  <a:gd name="connsiteY2559" fmla="*/ 8915 h 10000"/>
                  <a:gd name="connsiteX2560" fmla="*/ 710 w 10746"/>
                  <a:gd name="connsiteY2560" fmla="*/ 8940 h 10000"/>
                  <a:gd name="connsiteX2561" fmla="*/ 710 w 10746"/>
                  <a:gd name="connsiteY2561" fmla="*/ 9009 h 10000"/>
                  <a:gd name="connsiteX2562" fmla="*/ 728 w 10746"/>
                  <a:gd name="connsiteY2562" fmla="*/ 8991 h 10000"/>
                  <a:gd name="connsiteX2563" fmla="*/ 733 w 10746"/>
                  <a:gd name="connsiteY2563" fmla="*/ 8991 h 10000"/>
                  <a:gd name="connsiteX2564" fmla="*/ 747 w 10746"/>
                  <a:gd name="connsiteY2564" fmla="*/ 8983 h 10000"/>
                  <a:gd name="connsiteX2565" fmla="*/ 760 w 10746"/>
                  <a:gd name="connsiteY2565" fmla="*/ 8983 h 10000"/>
                  <a:gd name="connsiteX2566" fmla="*/ 770 w 10746"/>
                  <a:gd name="connsiteY2566" fmla="*/ 8983 h 10000"/>
                  <a:gd name="connsiteX2567" fmla="*/ 770 w 10746"/>
                  <a:gd name="connsiteY2567" fmla="*/ 8991 h 10000"/>
                  <a:gd name="connsiteX2568" fmla="*/ 783 w 10746"/>
                  <a:gd name="connsiteY2568" fmla="*/ 8991 h 10000"/>
                  <a:gd name="connsiteX2569" fmla="*/ 783 w 10746"/>
                  <a:gd name="connsiteY2569" fmla="*/ 9009 h 10000"/>
                  <a:gd name="connsiteX2570" fmla="*/ 783 w 10746"/>
                  <a:gd name="connsiteY2570" fmla="*/ 9017 h 10000"/>
                  <a:gd name="connsiteX2571" fmla="*/ 770 w 10746"/>
                  <a:gd name="connsiteY2571" fmla="*/ 9017 h 10000"/>
                  <a:gd name="connsiteX2572" fmla="*/ 724 w 10746"/>
                  <a:gd name="connsiteY2572" fmla="*/ 9051 h 10000"/>
                  <a:gd name="connsiteX2573" fmla="*/ 724 w 10746"/>
                  <a:gd name="connsiteY2573" fmla="*/ 9068 h 10000"/>
                  <a:gd name="connsiteX2574" fmla="*/ 728 w 10746"/>
                  <a:gd name="connsiteY2574" fmla="*/ 9077 h 10000"/>
                  <a:gd name="connsiteX2575" fmla="*/ 724 w 10746"/>
                  <a:gd name="connsiteY2575" fmla="*/ 9077 h 10000"/>
                  <a:gd name="connsiteX2576" fmla="*/ 710 w 10746"/>
                  <a:gd name="connsiteY2576" fmla="*/ 9077 h 10000"/>
                  <a:gd name="connsiteX2577" fmla="*/ 682 w 10746"/>
                  <a:gd name="connsiteY2577" fmla="*/ 9077 h 10000"/>
                  <a:gd name="connsiteX2578" fmla="*/ 673 w 10746"/>
                  <a:gd name="connsiteY2578" fmla="*/ 9103 h 10000"/>
                  <a:gd name="connsiteX2579" fmla="*/ 687 w 10746"/>
                  <a:gd name="connsiteY2579" fmla="*/ 9128 h 10000"/>
                  <a:gd name="connsiteX2580" fmla="*/ 700 w 10746"/>
                  <a:gd name="connsiteY2580" fmla="*/ 9128 h 10000"/>
                  <a:gd name="connsiteX2581" fmla="*/ 728 w 10746"/>
                  <a:gd name="connsiteY2581" fmla="*/ 9179 h 10000"/>
                  <a:gd name="connsiteX2582" fmla="*/ 724 w 10746"/>
                  <a:gd name="connsiteY2582" fmla="*/ 9188 h 10000"/>
                  <a:gd name="connsiteX2583" fmla="*/ 710 w 10746"/>
                  <a:gd name="connsiteY2583" fmla="*/ 9179 h 10000"/>
                  <a:gd name="connsiteX2584" fmla="*/ 700 w 10746"/>
                  <a:gd name="connsiteY2584" fmla="*/ 9205 h 10000"/>
                  <a:gd name="connsiteX2585" fmla="*/ 696 w 10746"/>
                  <a:gd name="connsiteY2585" fmla="*/ 9205 h 10000"/>
                  <a:gd name="connsiteX2586" fmla="*/ 654 w 10746"/>
                  <a:gd name="connsiteY2586" fmla="*/ 9299 h 10000"/>
                  <a:gd name="connsiteX2587" fmla="*/ 622 w 10746"/>
                  <a:gd name="connsiteY2587" fmla="*/ 9299 h 10000"/>
                  <a:gd name="connsiteX2588" fmla="*/ 613 w 10746"/>
                  <a:gd name="connsiteY2588" fmla="*/ 9316 h 10000"/>
                  <a:gd name="connsiteX2589" fmla="*/ 613 w 10746"/>
                  <a:gd name="connsiteY2589" fmla="*/ 9325 h 10000"/>
                  <a:gd name="connsiteX2590" fmla="*/ 608 w 10746"/>
                  <a:gd name="connsiteY2590" fmla="*/ 9342 h 10000"/>
                  <a:gd name="connsiteX2591" fmla="*/ 636 w 10746"/>
                  <a:gd name="connsiteY2591" fmla="*/ 9376 h 10000"/>
                  <a:gd name="connsiteX2592" fmla="*/ 641 w 10746"/>
                  <a:gd name="connsiteY2592" fmla="*/ 9402 h 10000"/>
                  <a:gd name="connsiteX2593" fmla="*/ 654 w 10746"/>
                  <a:gd name="connsiteY2593" fmla="*/ 9427 h 10000"/>
                  <a:gd name="connsiteX2594" fmla="*/ 668 w 10746"/>
                  <a:gd name="connsiteY2594" fmla="*/ 9427 h 10000"/>
                  <a:gd name="connsiteX2595" fmla="*/ 668 w 10746"/>
                  <a:gd name="connsiteY2595" fmla="*/ 9427 h 10000"/>
                  <a:gd name="connsiteX2596" fmla="*/ 774 w 10746"/>
                  <a:gd name="connsiteY2596" fmla="*/ 9547 h 10000"/>
                  <a:gd name="connsiteX2597" fmla="*/ 797 w 10746"/>
                  <a:gd name="connsiteY2597" fmla="*/ 9598 h 10000"/>
                  <a:gd name="connsiteX2598" fmla="*/ 802 w 10746"/>
                  <a:gd name="connsiteY2598" fmla="*/ 9598 h 10000"/>
                  <a:gd name="connsiteX2599" fmla="*/ 816 w 10746"/>
                  <a:gd name="connsiteY2599" fmla="*/ 9624 h 10000"/>
                  <a:gd name="connsiteX2600" fmla="*/ 843 w 10746"/>
                  <a:gd name="connsiteY2600" fmla="*/ 9615 h 10000"/>
                  <a:gd name="connsiteX2601" fmla="*/ 857 w 10746"/>
                  <a:gd name="connsiteY2601" fmla="*/ 9624 h 10000"/>
                  <a:gd name="connsiteX2602" fmla="*/ 862 w 10746"/>
                  <a:gd name="connsiteY2602" fmla="*/ 9615 h 10000"/>
                  <a:gd name="connsiteX2603" fmla="*/ 880 w 10746"/>
                  <a:gd name="connsiteY2603" fmla="*/ 9624 h 10000"/>
                  <a:gd name="connsiteX2604" fmla="*/ 889 w 10746"/>
                  <a:gd name="connsiteY2604" fmla="*/ 9641 h 10000"/>
                  <a:gd name="connsiteX2605" fmla="*/ 935 w 10746"/>
                  <a:gd name="connsiteY2605" fmla="*/ 9675 h 10000"/>
                  <a:gd name="connsiteX2606" fmla="*/ 977 w 10746"/>
                  <a:gd name="connsiteY2606" fmla="*/ 9667 h 10000"/>
                  <a:gd name="connsiteX2607" fmla="*/ 995 w 10746"/>
                  <a:gd name="connsiteY2607" fmla="*/ 9675 h 10000"/>
                  <a:gd name="connsiteX2608" fmla="*/ 1014 w 10746"/>
                  <a:gd name="connsiteY2608" fmla="*/ 9675 h 10000"/>
                  <a:gd name="connsiteX2609" fmla="*/ 1069 w 10746"/>
                  <a:gd name="connsiteY2609" fmla="*/ 9752 h 10000"/>
                  <a:gd name="connsiteX2610" fmla="*/ 1074 w 10746"/>
                  <a:gd name="connsiteY2610" fmla="*/ 9761 h 10000"/>
                  <a:gd name="connsiteX2611" fmla="*/ 1083 w 10746"/>
                  <a:gd name="connsiteY2611" fmla="*/ 9778 h 10000"/>
                  <a:gd name="connsiteX2612" fmla="*/ 1115 w 10746"/>
                  <a:gd name="connsiteY2612" fmla="*/ 9752 h 10000"/>
                  <a:gd name="connsiteX2613" fmla="*/ 1129 w 10746"/>
                  <a:gd name="connsiteY2613" fmla="*/ 9752 h 10000"/>
                  <a:gd name="connsiteX2614" fmla="*/ 1138 w 10746"/>
                  <a:gd name="connsiteY2614" fmla="*/ 9761 h 10000"/>
                  <a:gd name="connsiteX2615" fmla="*/ 1143 w 10746"/>
                  <a:gd name="connsiteY2615" fmla="*/ 9752 h 10000"/>
                  <a:gd name="connsiteX2616" fmla="*/ 1161 w 10746"/>
                  <a:gd name="connsiteY2616" fmla="*/ 9761 h 10000"/>
                  <a:gd name="connsiteX2617" fmla="*/ 1171 w 10746"/>
                  <a:gd name="connsiteY2617" fmla="*/ 9778 h 10000"/>
                  <a:gd name="connsiteX2618" fmla="*/ 1175 w 10746"/>
                  <a:gd name="connsiteY2618" fmla="*/ 9778 h 10000"/>
                  <a:gd name="connsiteX2619" fmla="*/ 1189 w 10746"/>
                  <a:gd name="connsiteY2619" fmla="*/ 9778 h 10000"/>
                  <a:gd name="connsiteX2620" fmla="*/ 1198 w 10746"/>
                  <a:gd name="connsiteY2620" fmla="*/ 9786 h 10000"/>
                  <a:gd name="connsiteX2621" fmla="*/ 1203 w 10746"/>
                  <a:gd name="connsiteY2621" fmla="*/ 9803 h 10000"/>
                  <a:gd name="connsiteX2622" fmla="*/ 1198 w 10746"/>
                  <a:gd name="connsiteY2622" fmla="*/ 9838 h 10000"/>
                  <a:gd name="connsiteX2623" fmla="*/ 1212 w 10746"/>
                  <a:gd name="connsiteY2623" fmla="*/ 9863 h 10000"/>
                  <a:gd name="connsiteX2624" fmla="*/ 1230 w 10746"/>
                  <a:gd name="connsiteY2624" fmla="*/ 9872 h 10000"/>
                  <a:gd name="connsiteX2625" fmla="*/ 1249 w 10746"/>
                  <a:gd name="connsiteY2625" fmla="*/ 9897 h 10000"/>
                  <a:gd name="connsiteX2626" fmla="*/ 1263 w 10746"/>
                  <a:gd name="connsiteY2626" fmla="*/ 9897 h 10000"/>
                  <a:gd name="connsiteX2627" fmla="*/ 1276 w 10746"/>
                  <a:gd name="connsiteY2627" fmla="*/ 9923 h 10000"/>
                  <a:gd name="connsiteX2628" fmla="*/ 1281 w 10746"/>
                  <a:gd name="connsiteY2628" fmla="*/ 9949 h 10000"/>
                  <a:gd name="connsiteX2629" fmla="*/ 1290 w 10746"/>
                  <a:gd name="connsiteY2629" fmla="*/ 9949 h 10000"/>
                  <a:gd name="connsiteX2630" fmla="*/ 1295 w 10746"/>
                  <a:gd name="connsiteY2630" fmla="*/ 10000 h 10000"/>
                  <a:gd name="connsiteX2631" fmla="*/ 1332 w 10746"/>
                  <a:gd name="connsiteY2631" fmla="*/ 10000 h 10000"/>
                  <a:gd name="connsiteX2632" fmla="*/ 1336 w 10746"/>
                  <a:gd name="connsiteY2632" fmla="*/ 10000 h 10000"/>
                  <a:gd name="connsiteX2633" fmla="*/ 1346 w 10746"/>
                  <a:gd name="connsiteY2633" fmla="*/ 9983 h 10000"/>
                  <a:gd name="connsiteX2634" fmla="*/ 1350 w 10746"/>
                  <a:gd name="connsiteY2634" fmla="*/ 9949 h 10000"/>
                  <a:gd name="connsiteX2635" fmla="*/ 1369 w 10746"/>
                  <a:gd name="connsiteY2635" fmla="*/ 9940 h 10000"/>
                  <a:gd name="connsiteX2636" fmla="*/ 1378 w 10746"/>
                  <a:gd name="connsiteY2636" fmla="*/ 9897 h 10000"/>
                  <a:gd name="connsiteX2637" fmla="*/ 1369 w 10746"/>
                  <a:gd name="connsiteY2637" fmla="*/ 9889 h 10000"/>
                  <a:gd name="connsiteX2638" fmla="*/ 1318 w 10746"/>
                  <a:gd name="connsiteY2638" fmla="*/ 9701 h 10000"/>
                  <a:gd name="connsiteX2639" fmla="*/ 1318 w 10746"/>
                  <a:gd name="connsiteY2639" fmla="*/ 9650 h 10000"/>
                  <a:gd name="connsiteX2640" fmla="*/ 1323 w 10746"/>
                  <a:gd name="connsiteY2640" fmla="*/ 9590 h 10000"/>
                  <a:gd name="connsiteX2641" fmla="*/ 1323 w 10746"/>
                  <a:gd name="connsiteY2641" fmla="*/ 9564 h 10000"/>
                  <a:gd name="connsiteX2642" fmla="*/ 1309 w 10746"/>
                  <a:gd name="connsiteY2642" fmla="*/ 9598 h 10000"/>
                  <a:gd name="connsiteX2643" fmla="*/ 1309 w 10746"/>
                  <a:gd name="connsiteY2643" fmla="*/ 9590 h 10000"/>
                  <a:gd name="connsiteX2644" fmla="*/ 1304 w 10746"/>
                  <a:gd name="connsiteY2644" fmla="*/ 9547 h 10000"/>
                  <a:gd name="connsiteX2645" fmla="*/ 1276 w 10746"/>
                  <a:gd name="connsiteY2645" fmla="*/ 9479 h 10000"/>
                  <a:gd name="connsiteX2646" fmla="*/ 1263 w 10746"/>
                  <a:gd name="connsiteY2646" fmla="*/ 9479 h 10000"/>
                  <a:gd name="connsiteX2647" fmla="*/ 1263 w 10746"/>
                  <a:gd name="connsiteY2647" fmla="*/ 9453 h 10000"/>
                  <a:gd name="connsiteX2648" fmla="*/ 1272 w 10746"/>
                  <a:gd name="connsiteY2648" fmla="*/ 9410 h 10000"/>
                  <a:gd name="connsiteX2649" fmla="*/ 1272 w 10746"/>
                  <a:gd name="connsiteY2649" fmla="*/ 9393 h 10000"/>
                  <a:gd name="connsiteX2650" fmla="*/ 1281 w 10746"/>
                  <a:gd name="connsiteY2650" fmla="*/ 9368 h 10000"/>
                  <a:gd name="connsiteX2651" fmla="*/ 1281 w 10746"/>
                  <a:gd name="connsiteY2651" fmla="*/ 9368 h 10000"/>
                  <a:gd name="connsiteX2652" fmla="*/ 1290 w 10746"/>
                  <a:gd name="connsiteY2652" fmla="*/ 9368 h 10000"/>
                  <a:gd name="connsiteX2653" fmla="*/ 1290 w 10746"/>
                  <a:gd name="connsiteY2653" fmla="*/ 9342 h 10000"/>
                  <a:gd name="connsiteX2654" fmla="*/ 1304 w 10746"/>
                  <a:gd name="connsiteY2654" fmla="*/ 9325 h 10000"/>
                  <a:gd name="connsiteX2655" fmla="*/ 1309 w 10746"/>
                  <a:gd name="connsiteY2655" fmla="*/ 9239 h 10000"/>
                  <a:gd name="connsiteX2656" fmla="*/ 1318 w 10746"/>
                  <a:gd name="connsiteY2656" fmla="*/ 9256 h 10000"/>
                  <a:gd name="connsiteX2657" fmla="*/ 1323 w 10746"/>
                  <a:gd name="connsiteY2657" fmla="*/ 9179 h 10000"/>
                  <a:gd name="connsiteX2658" fmla="*/ 1309 w 10746"/>
                  <a:gd name="connsiteY2658" fmla="*/ 9145 h 10000"/>
                  <a:gd name="connsiteX2659" fmla="*/ 1336 w 10746"/>
                  <a:gd name="connsiteY2659" fmla="*/ 9154 h 10000"/>
                  <a:gd name="connsiteX2660" fmla="*/ 1336 w 10746"/>
                  <a:gd name="connsiteY2660" fmla="*/ 9162 h 10000"/>
                  <a:gd name="connsiteX2661" fmla="*/ 1350 w 10746"/>
                  <a:gd name="connsiteY2661" fmla="*/ 9231 h 10000"/>
                  <a:gd name="connsiteX2662" fmla="*/ 1355 w 10746"/>
                  <a:gd name="connsiteY2662" fmla="*/ 9231 h 10000"/>
                  <a:gd name="connsiteX2663" fmla="*/ 1364 w 10746"/>
                  <a:gd name="connsiteY2663" fmla="*/ 9214 h 10000"/>
                  <a:gd name="connsiteX2664" fmla="*/ 1369 w 10746"/>
                  <a:gd name="connsiteY2664" fmla="*/ 9214 h 10000"/>
                  <a:gd name="connsiteX2665" fmla="*/ 1382 w 10746"/>
                  <a:gd name="connsiteY2665" fmla="*/ 9154 h 10000"/>
                  <a:gd name="connsiteX2666" fmla="*/ 1396 w 10746"/>
                  <a:gd name="connsiteY2666" fmla="*/ 9154 h 10000"/>
                  <a:gd name="connsiteX2667" fmla="*/ 1382 w 10746"/>
                  <a:gd name="connsiteY2667" fmla="*/ 9145 h 10000"/>
                  <a:gd name="connsiteX2668" fmla="*/ 1382 w 10746"/>
                  <a:gd name="connsiteY2668" fmla="*/ 9128 h 10000"/>
                  <a:gd name="connsiteX2669" fmla="*/ 1369 w 10746"/>
                  <a:gd name="connsiteY2669" fmla="*/ 9128 h 10000"/>
                  <a:gd name="connsiteX2670" fmla="*/ 1364 w 10746"/>
                  <a:gd name="connsiteY2670" fmla="*/ 9128 h 10000"/>
                  <a:gd name="connsiteX2671" fmla="*/ 1355 w 10746"/>
                  <a:gd name="connsiteY2671" fmla="*/ 9120 h 10000"/>
                  <a:gd name="connsiteX2672" fmla="*/ 1350 w 10746"/>
                  <a:gd name="connsiteY2672" fmla="*/ 9103 h 10000"/>
                  <a:gd name="connsiteX2673" fmla="*/ 1355 w 10746"/>
                  <a:gd name="connsiteY2673" fmla="*/ 9094 h 10000"/>
                  <a:gd name="connsiteX2674" fmla="*/ 1355 w 10746"/>
                  <a:gd name="connsiteY2674" fmla="*/ 9068 h 10000"/>
                  <a:gd name="connsiteX2675" fmla="*/ 1369 w 10746"/>
                  <a:gd name="connsiteY2675" fmla="*/ 9068 h 10000"/>
                  <a:gd name="connsiteX2676" fmla="*/ 1378 w 10746"/>
                  <a:gd name="connsiteY2676" fmla="*/ 9077 h 10000"/>
                  <a:gd name="connsiteX2677" fmla="*/ 1396 w 10746"/>
                  <a:gd name="connsiteY2677" fmla="*/ 9068 h 10000"/>
                  <a:gd name="connsiteX2678" fmla="*/ 1382 w 10746"/>
                  <a:gd name="connsiteY2678" fmla="*/ 8940 h 10000"/>
                  <a:gd name="connsiteX2679" fmla="*/ 1378 w 10746"/>
                  <a:gd name="connsiteY2679" fmla="*/ 8940 h 10000"/>
                  <a:gd name="connsiteX2680" fmla="*/ 1364 w 10746"/>
                  <a:gd name="connsiteY2680" fmla="*/ 8889 h 10000"/>
                  <a:gd name="connsiteX2681" fmla="*/ 1355 w 10746"/>
                  <a:gd name="connsiteY2681" fmla="*/ 8880 h 10000"/>
                  <a:gd name="connsiteX2682" fmla="*/ 1323 w 10746"/>
                  <a:gd name="connsiteY2682" fmla="*/ 8880 h 10000"/>
                  <a:gd name="connsiteX2683" fmla="*/ 1309 w 10746"/>
                  <a:gd name="connsiteY2683" fmla="*/ 8880 h 10000"/>
                  <a:gd name="connsiteX2684" fmla="*/ 1309 w 10746"/>
                  <a:gd name="connsiteY2684" fmla="*/ 8889 h 10000"/>
                  <a:gd name="connsiteX2685" fmla="*/ 1295 w 10746"/>
                  <a:gd name="connsiteY2685" fmla="*/ 8872 h 10000"/>
                  <a:gd name="connsiteX2686" fmla="*/ 1290 w 10746"/>
                  <a:gd name="connsiteY2686" fmla="*/ 8855 h 10000"/>
                  <a:gd name="connsiteX2687" fmla="*/ 1290 w 10746"/>
                  <a:gd name="connsiteY2687" fmla="*/ 8829 h 10000"/>
                  <a:gd name="connsiteX2688" fmla="*/ 1290 w 10746"/>
                  <a:gd name="connsiteY2688" fmla="*/ 8821 h 10000"/>
                  <a:gd name="connsiteX2689" fmla="*/ 1290 w 10746"/>
                  <a:gd name="connsiteY2689" fmla="*/ 8803 h 10000"/>
                  <a:gd name="connsiteX2690" fmla="*/ 1281 w 10746"/>
                  <a:gd name="connsiteY2690" fmla="*/ 8795 h 10000"/>
                  <a:gd name="connsiteX2691" fmla="*/ 1249 w 10746"/>
                  <a:gd name="connsiteY2691" fmla="*/ 8769 h 10000"/>
                  <a:gd name="connsiteX2692" fmla="*/ 1263 w 10746"/>
                  <a:gd name="connsiteY2692" fmla="*/ 8667 h 10000"/>
                  <a:gd name="connsiteX2693" fmla="*/ 1281 w 10746"/>
                  <a:gd name="connsiteY2693" fmla="*/ 8658 h 10000"/>
                  <a:gd name="connsiteX2694" fmla="*/ 1290 w 10746"/>
                  <a:gd name="connsiteY2694" fmla="*/ 8632 h 10000"/>
                  <a:gd name="connsiteX2695" fmla="*/ 1281 w 10746"/>
                  <a:gd name="connsiteY2695" fmla="*/ 8615 h 10000"/>
                  <a:gd name="connsiteX2696" fmla="*/ 1272 w 10746"/>
                  <a:gd name="connsiteY2696" fmla="*/ 8598 h 10000"/>
                  <a:gd name="connsiteX2697" fmla="*/ 1281 w 10746"/>
                  <a:gd name="connsiteY2697" fmla="*/ 8496 h 10000"/>
                  <a:gd name="connsiteX2698" fmla="*/ 1295 w 10746"/>
                  <a:gd name="connsiteY2698" fmla="*/ 8470 h 10000"/>
                  <a:gd name="connsiteX2699" fmla="*/ 1304 w 10746"/>
                  <a:gd name="connsiteY2699" fmla="*/ 8462 h 10000"/>
                  <a:gd name="connsiteX2700" fmla="*/ 1304 w 10746"/>
                  <a:gd name="connsiteY2700" fmla="*/ 8444 h 10000"/>
                  <a:gd name="connsiteX2701" fmla="*/ 1304 w 10746"/>
                  <a:gd name="connsiteY2701" fmla="*/ 8419 h 10000"/>
                  <a:gd name="connsiteX2702" fmla="*/ 1304 w 10746"/>
                  <a:gd name="connsiteY2702" fmla="*/ 8410 h 10000"/>
                  <a:gd name="connsiteX2703" fmla="*/ 1309 w 10746"/>
                  <a:gd name="connsiteY2703" fmla="*/ 8393 h 10000"/>
                  <a:gd name="connsiteX2704" fmla="*/ 1318 w 10746"/>
                  <a:gd name="connsiteY2704" fmla="*/ 8385 h 10000"/>
                  <a:gd name="connsiteX2705" fmla="*/ 1323 w 10746"/>
                  <a:gd name="connsiteY2705" fmla="*/ 8385 h 10000"/>
                  <a:gd name="connsiteX2706" fmla="*/ 1332 w 10746"/>
                  <a:gd name="connsiteY2706" fmla="*/ 8410 h 10000"/>
                  <a:gd name="connsiteX2707" fmla="*/ 1346 w 10746"/>
                  <a:gd name="connsiteY2707" fmla="*/ 8419 h 10000"/>
                  <a:gd name="connsiteX2708" fmla="*/ 1364 w 10746"/>
                  <a:gd name="connsiteY2708" fmla="*/ 8504 h 10000"/>
                  <a:gd name="connsiteX2709" fmla="*/ 1369 w 10746"/>
                  <a:gd name="connsiteY2709" fmla="*/ 8521 h 10000"/>
                  <a:gd name="connsiteX2710" fmla="*/ 1406 w 10746"/>
                  <a:gd name="connsiteY2710" fmla="*/ 8470 h 10000"/>
                  <a:gd name="connsiteX2711" fmla="*/ 1382 w 10746"/>
                  <a:gd name="connsiteY2711" fmla="*/ 8359 h 10000"/>
                  <a:gd name="connsiteX2712" fmla="*/ 1392 w 10746"/>
                  <a:gd name="connsiteY2712" fmla="*/ 8359 h 10000"/>
                  <a:gd name="connsiteX2713" fmla="*/ 1438 w 10746"/>
                  <a:gd name="connsiteY2713" fmla="*/ 8308 h 10000"/>
                  <a:gd name="connsiteX2714" fmla="*/ 1442 w 10746"/>
                  <a:gd name="connsiteY2714" fmla="*/ 8299 h 10000"/>
                  <a:gd name="connsiteX2715" fmla="*/ 1442 w 10746"/>
                  <a:gd name="connsiteY2715" fmla="*/ 8256 h 10000"/>
                  <a:gd name="connsiteX2716" fmla="*/ 1452 w 10746"/>
                  <a:gd name="connsiteY2716" fmla="*/ 8256 h 10000"/>
                  <a:gd name="connsiteX2717" fmla="*/ 1456 w 10746"/>
                  <a:gd name="connsiteY2717" fmla="*/ 8256 h 10000"/>
                  <a:gd name="connsiteX2718" fmla="*/ 1470 w 10746"/>
                  <a:gd name="connsiteY2718" fmla="*/ 8248 h 10000"/>
                  <a:gd name="connsiteX2719" fmla="*/ 1479 w 10746"/>
                  <a:gd name="connsiteY2719" fmla="*/ 8231 h 10000"/>
                  <a:gd name="connsiteX2720" fmla="*/ 1493 w 10746"/>
                  <a:gd name="connsiteY2720" fmla="*/ 8222 h 10000"/>
                  <a:gd name="connsiteX2721" fmla="*/ 1498 w 10746"/>
                  <a:gd name="connsiteY2721" fmla="*/ 8214 h 10000"/>
                  <a:gd name="connsiteX2722" fmla="*/ 1502 w 10746"/>
                  <a:gd name="connsiteY2722" fmla="*/ 8197 h 10000"/>
                  <a:gd name="connsiteX2723" fmla="*/ 1512 w 10746"/>
                  <a:gd name="connsiteY2723" fmla="*/ 8188 h 10000"/>
                  <a:gd name="connsiteX2724" fmla="*/ 1516 w 10746"/>
                  <a:gd name="connsiteY2724" fmla="*/ 8171 h 10000"/>
                  <a:gd name="connsiteX2725" fmla="*/ 1525 w 10746"/>
                  <a:gd name="connsiteY2725" fmla="*/ 8162 h 10000"/>
                  <a:gd name="connsiteX2726" fmla="*/ 1539 w 10746"/>
                  <a:gd name="connsiteY2726" fmla="*/ 8145 h 10000"/>
                  <a:gd name="connsiteX2727" fmla="*/ 1558 w 10746"/>
                  <a:gd name="connsiteY2727" fmla="*/ 8145 h 10000"/>
                  <a:gd name="connsiteX2728" fmla="*/ 1562 w 10746"/>
                  <a:gd name="connsiteY2728" fmla="*/ 8188 h 10000"/>
                  <a:gd name="connsiteX2729" fmla="*/ 1585 w 10746"/>
                  <a:gd name="connsiteY2729" fmla="*/ 8171 h 10000"/>
                  <a:gd name="connsiteX2730" fmla="*/ 1590 w 10746"/>
                  <a:gd name="connsiteY2730" fmla="*/ 8188 h 10000"/>
                  <a:gd name="connsiteX2731" fmla="*/ 1599 w 10746"/>
                  <a:gd name="connsiteY2731" fmla="*/ 8171 h 10000"/>
                  <a:gd name="connsiteX2732" fmla="*/ 1599 w 10746"/>
                  <a:gd name="connsiteY2732" fmla="*/ 8162 h 10000"/>
                  <a:gd name="connsiteX2733" fmla="*/ 1604 w 10746"/>
                  <a:gd name="connsiteY2733" fmla="*/ 8137 h 10000"/>
                  <a:gd name="connsiteX2734" fmla="*/ 1618 w 10746"/>
                  <a:gd name="connsiteY2734" fmla="*/ 8145 h 10000"/>
                  <a:gd name="connsiteX2735" fmla="*/ 1627 w 10746"/>
                  <a:gd name="connsiteY2735" fmla="*/ 8137 h 10000"/>
                  <a:gd name="connsiteX2736" fmla="*/ 1631 w 10746"/>
                  <a:gd name="connsiteY2736" fmla="*/ 8137 h 10000"/>
                  <a:gd name="connsiteX2737" fmla="*/ 1636 w 10746"/>
                  <a:gd name="connsiteY2737" fmla="*/ 8171 h 10000"/>
                  <a:gd name="connsiteX2738" fmla="*/ 1645 w 10746"/>
                  <a:gd name="connsiteY2738" fmla="*/ 8188 h 10000"/>
                  <a:gd name="connsiteX2739" fmla="*/ 1664 w 10746"/>
                  <a:gd name="connsiteY2739" fmla="*/ 8171 h 10000"/>
                  <a:gd name="connsiteX2740" fmla="*/ 1673 w 10746"/>
                  <a:gd name="connsiteY2740" fmla="*/ 8188 h 10000"/>
                  <a:gd name="connsiteX2741" fmla="*/ 1691 w 10746"/>
                  <a:gd name="connsiteY2741" fmla="*/ 8171 h 10000"/>
                  <a:gd name="connsiteX2742" fmla="*/ 1705 w 10746"/>
                  <a:gd name="connsiteY2742" fmla="*/ 8171 h 10000"/>
                  <a:gd name="connsiteX2743" fmla="*/ 1719 w 10746"/>
                  <a:gd name="connsiteY2743" fmla="*/ 8197 h 10000"/>
                  <a:gd name="connsiteX2744" fmla="*/ 1724 w 10746"/>
                  <a:gd name="connsiteY2744" fmla="*/ 8231 h 10000"/>
                  <a:gd name="connsiteX2745" fmla="*/ 1751 w 10746"/>
                  <a:gd name="connsiteY2745" fmla="*/ 8256 h 10000"/>
                  <a:gd name="connsiteX2746" fmla="*/ 1751 w 10746"/>
                  <a:gd name="connsiteY2746" fmla="*/ 8274 h 10000"/>
                  <a:gd name="connsiteX2747" fmla="*/ 1760 w 10746"/>
                  <a:gd name="connsiteY2747" fmla="*/ 8282 h 10000"/>
                  <a:gd name="connsiteX2748" fmla="*/ 1770 w 10746"/>
                  <a:gd name="connsiteY2748" fmla="*/ 8325 h 10000"/>
                  <a:gd name="connsiteX2749" fmla="*/ 1770 w 10746"/>
                  <a:gd name="connsiteY2749" fmla="*/ 8350 h 10000"/>
                  <a:gd name="connsiteX2750" fmla="*/ 1779 w 10746"/>
                  <a:gd name="connsiteY2750" fmla="*/ 8368 h 10000"/>
                  <a:gd name="connsiteX2751" fmla="*/ 1783 w 10746"/>
                  <a:gd name="connsiteY2751" fmla="*/ 8359 h 10000"/>
                  <a:gd name="connsiteX2752" fmla="*/ 1783 w 10746"/>
                  <a:gd name="connsiteY2752" fmla="*/ 8308 h 10000"/>
                  <a:gd name="connsiteX2753" fmla="*/ 1779 w 10746"/>
                  <a:gd name="connsiteY2753" fmla="*/ 8299 h 10000"/>
                  <a:gd name="connsiteX2754" fmla="*/ 1783 w 10746"/>
                  <a:gd name="connsiteY2754" fmla="*/ 8282 h 10000"/>
                  <a:gd name="connsiteX2755" fmla="*/ 1797 w 10746"/>
                  <a:gd name="connsiteY2755" fmla="*/ 8274 h 10000"/>
                  <a:gd name="connsiteX2756" fmla="*/ 1797 w 10746"/>
                  <a:gd name="connsiteY2756" fmla="*/ 8299 h 10000"/>
                  <a:gd name="connsiteX2757" fmla="*/ 1806 w 10746"/>
                  <a:gd name="connsiteY2757" fmla="*/ 8308 h 10000"/>
                  <a:gd name="connsiteX2758" fmla="*/ 1811 w 10746"/>
                  <a:gd name="connsiteY2758" fmla="*/ 8325 h 10000"/>
                  <a:gd name="connsiteX2759" fmla="*/ 1820 w 10746"/>
                  <a:gd name="connsiteY2759" fmla="*/ 8333 h 10000"/>
                  <a:gd name="connsiteX2760" fmla="*/ 1853 w 10746"/>
                  <a:gd name="connsiteY2760" fmla="*/ 8359 h 10000"/>
                  <a:gd name="connsiteX2761" fmla="*/ 1866 w 10746"/>
                  <a:gd name="connsiteY2761" fmla="*/ 8359 h 10000"/>
                  <a:gd name="connsiteX2762" fmla="*/ 1885 w 10746"/>
                  <a:gd name="connsiteY2762" fmla="*/ 8325 h 10000"/>
                  <a:gd name="connsiteX2763" fmla="*/ 1885 w 10746"/>
                  <a:gd name="connsiteY2763" fmla="*/ 8308 h 10000"/>
                  <a:gd name="connsiteX2764" fmla="*/ 1894 w 10746"/>
                  <a:gd name="connsiteY2764" fmla="*/ 8299 h 10000"/>
                  <a:gd name="connsiteX2765" fmla="*/ 1899 w 10746"/>
                  <a:gd name="connsiteY2765" fmla="*/ 8282 h 10000"/>
                  <a:gd name="connsiteX2766" fmla="*/ 1912 w 10746"/>
                  <a:gd name="connsiteY2766" fmla="*/ 8282 h 10000"/>
                  <a:gd name="connsiteX2767" fmla="*/ 1917 w 10746"/>
                  <a:gd name="connsiteY2767" fmla="*/ 8299 h 10000"/>
                  <a:gd name="connsiteX2768" fmla="*/ 1917 w 10746"/>
                  <a:gd name="connsiteY2768" fmla="*/ 8274 h 10000"/>
                  <a:gd name="connsiteX2769" fmla="*/ 1940 w 10746"/>
                  <a:gd name="connsiteY2769" fmla="*/ 8282 h 10000"/>
                  <a:gd name="connsiteX2770" fmla="*/ 1945 w 10746"/>
                  <a:gd name="connsiteY2770" fmla="*/ 8274 h 10000"/>
                  <a:gd name="connsiteX2771" fmla="*/ 1972 w 10746"/>
                  <a:gd name="connsiteY2771" fmla="*/ 8308 h 10000"/>
                  <a:gd name="connsiteX2772" fmla="*/ 1986 w 10746"/>
                  <a:gd name="connsiteY2772" fmla="*/ 8282 h 10000"/>
                  <a:gd name="connsiteX2773" fmla="*/ 1991 w 10746"/>
                  <a:gd name="connsiteY2773" fmla="*/ 8274 h 10000"/>
                  <a:gd name="connsiteX2774" fmla="*/ 2014 w 10746"/>
                  <a:gd name="connsiteY2774" fmla="*/ 8274 h 10000"/>
                  <a:gd name="connsiteX2775" fmla="*/ 2018 w 10746"/>
                  <a:gd name="connsiteY2775" fmla="*/ 8256 h 10000"/>
                  <a:gd name="connsiteX2776" fmla="*/ 2041 w 10746"/>
                  <a:gd name="connsiteY2776" fmla="*/ 8274 h 10000"/>
                  <a:gd name="connsiteX2777" fmla="*/ 2046 w 10746"/>
                  <a:gd name="connsiteY2777" fmla="*/ 8282 h 10000"/>
                  <a:gd name="connsiteX2778" fmla="*/ 2046 w 10746"/>
                  <a:gd name="connsiteY2778" fmla="*/ 8325 h 10000"/>
                  <a:gd name="connsiteX2779" fmla="*/ 2060 w 10746"/>
                  <a:gd name="connsiteY2779" fmla="*/ 8350 h 10000"/>
                  <a:gd name="connsiteX2780" fmla="*/ 2078 w 10746"/>
                  <a:gd name="connsiteY2780" fmla="*/ 8350 h 10000"/>
                  <a:gd name="connsiteX2781" fmla="*/ 2092 w 10746"/>
                  <a:gd name="connsiteY2781" fmla="*/ 8350 h 10000"/>
                  <a:gd name="connsiteX2782" fmla="*/ 2092 w 10746"/>
                  <a:gd name="connsiteY2782" fmla="*/ 8350 h 10000"/>
                  <a:gd name="connsiteX2783" fmla="*/ 2101 w 10746"/>
                  <a:gd name="connsiteY2783" fmla="*/ 8368 h 10000"/>
                  <a:gd name="connsiteX2784" fmla="*/ 2120 w 10746"/>
                  <a:gd name="connsiteY2784" fmla="*/ 8368 h 10000"/>
                  <a:gd name="connsiteX2785" fmla="*/ 2124 w 10746"/>
                  <a:gd name="connsiteY2785" fmla="*/ 8359 h 10000"/>
                  <a:gd name="connsiteX2786" fmla="*/ 2138 w 10746"/>
                  <a:gd name="connsiteY2786" fmla="*/ 8325 h 10000"/>
                  <a:gd name="connsiteX2787" fmla="*/ 2147 w 10746"/>
                  <a:gd name="connsiteY2787" fmla="*/ 8325 h 10000"/>
                  <a:gd name="connsiteX2788" fmla="*/ 2161 w 10746"/>
                  <a:gd name="connsiteY2788" fmla="*/ 8350 h 10000"/>
                  <a:gd name="connsiteX2789" fmla="*/ 2198 w 10746"/>
                  <a:gd name="connsiteY2789" fmla="*/ 8350 h 10000"/>
                  <a:gd name="connsiteX2790" fmla="*/ 2207 w 10746"/>
                  <a:gd name="connsiteY2790" fmla="*/ 8333 h 10000"/>
                  <a:gd name="connsiteX2791" fmla="*/ 2226 w 10746"/>
                  <a:gd name="connsiteY2791" fmla="*/ 8325 h 10000"/>
                  <a:gd name="connsiteX2792" fmla="*/ 2249 w 10746"/>
                  <a:gd name="connsiteY2792" fmla="*/ 8222 h 10000"/>
                  <a:gd name="connsiteX2793" fmla="*/ 2235 w 10746"/>
                  <a:gd name="connsiteY2793" fmla="*/ 8197 h 10000"/>
                  <a:gd name="connsiteX2794" fmla="*/ 2198 w 10746"/>
                  <a:gd name="connsiteY2794" fmla="*/ 8197 h 10000"/>
                  <a:gd name="connsiteX2795" fmla="*/ 2189 w 10746"/>
                  <a:gd name="connsiteY2795" fmla="*/ 8171 h 10000"/>
                  <a:gd name="connsiteX2796" fmla="*/ 2161 w 10746"/>
                  <a:gd name="connsiteY2796" fmla="*/ 8145 h 10000"/>
                  <a:gd name="connsiteX2797" fmla="*/ 2161 w 10746"/>
                  <a:gd name="connsiteY2797" fmla="*/ 8137 h 10000"/>
                  <a:gd name="connsiteX2798" fmla="*/ 2152 w 10746"/>
                  <a:gd name="connsiteY2798" fmla="*/ 8120 h 10000"/>
                  <a:gd name="connsiteX2799" fmla="*/ 2138 w 10746"/>
                  <a:gd name="connsiteY2799" fmla="*/ 8111 h 10000"/>
                  <a:gd name="connsiteX2800" fmla="*/ 2138 w 10746"/>
                  <a:gd name="connsiteY2800" fmla="*/ 8094 h 10000"/>
                  <a:gd name="connsiteX2801" fmla="*/ 2147 w 10746"/>
                  <a:gd name="connsiteY2801" fmla="*/ 8085 h 10000"/>
                  <a:gd name="connsiteX2802" fmla="*/ 2161 w 10746"/>
                  <a:gd name="connsiteY2802" fmla="*/ 8060 h 10000"/>
                  <a:gd name="connsiteX2803" fmla="*/ 2198 w 10746"/>
                  <a:gd name="connsiteY2803" fmla="*/ 8034 h 10000"/>
                  <a:gd name="connsiteX2804" fmla="*/ 2198 w 10746"/>
                  <a:gd name="connsiteY2804" fmla="*/ 8026 h 10000"/>
                  <a:gd name="connsiteX2805" fmla="*/ 2198 w 10746"/>
                  <a:gd name="connsiteY2805" fmla="*/ 8000 h 10000"/>
                  <a:gd name="connsiteX2806" fmla="*/ 2180 w 10746"/>
                  <a:gd name="connsiteY2806" fmla="*/ 7940 h 10000"/>
                  <a:gd name="connsiteX2807" fmla="*/ 2189 w 10746"/>
                  <a:gd name="connsiteY2807" fmla="*/ 7940 h 10000"/>
                  <a:gd name="connsiteX2808" fmla="*/ 2198 w 10746"/>
                  <a:gd name="connsiteY2808" fmla="*/ 7923 h 10000"/>
                  <a:gd name="connsiteX2809" fmla="*/ 2198 w 10746"/>
                  <a:gd name="connsiteY2809" fmla="*/ 7897 h 10000"/>
                  <a:gd name="connsiteX2810" fmla="*/ 2207 w 10746"/>
                  <a:gd name="connsiteY2810" fmla="*/ 7889 h 10000"/>
                  <a:gd name="connsiteX2811" fmla="*/ 2221 w 10746"/>
                  <a:gd name="connsiteY2811" fmla="*/ 7889 h 10000"/>
                  <a:gd name="connsiteX2812" fmla="*/ 2226 w 10746"/>
                  <a:gd name="connsiteY2812" fmla="*/ 7897 h 10000"/>
                  <a:gd name="connsiteX2813" fmla="*/ 2235 w 10746"/>
                  <a:gd name="connsiteY2813" fmla="*/ 7889 h 10000"/>
                  <a:gd name="connsiteX2814" fmla="*/ 2249 w 10746"/>
                  <a:gd name="connsiteY2814" fmla="*/ 7897 h 10000"/>
                  <a:gd name="connsiteX2815" fmla="*/ 2267 w 10746"/>
                  <a:gd name="connsiteY2815" fmla="*/ 7897 h 10000"/>
                  <a:gd name="connsiteX2816" fmla="*/ 2272 w 10746"/>
                  <a:gd name="connsiteY2816" fmla="*/ 7889 h 10000"/>
                  <a:gd name="connsiteX2817" fmla="*/ 2281 w 10746"/>
                  <a:gd name="connsiteY2817" fmla="*/ 7872 h 10000"/>
                  <a:gd name="connsiteX2818" fmla="*/ 2272 w 10746"/>
                  <a:gd name="connsiteY2818" fmla="*/ 7846 h 10000"/>
                  <a:gd name="connsiteX2819" fmla="*/ 2253 w 10746"/>
                  <a:gd name="connsiteY2819" fmla="*/ 7838 h 10000"/>
                  <a:gd name="connsiteX2820" fmla="*/ 2221 w 10746"/>
                  <a:gd name="connsiteY2820" fmla="*/ 7821 h 10000"/>
                  <a:gd name="connsiteX2821" fmla="*/ 2212 w 10746"/>
                  <a:gd name="connsiteY2821" fmla="*/ 7812 h 10000"/>
                  <a:gd name="connsiteX2822" fmla="*/ 2212 w 10746"/>
                  <a:gd name="connsiteY2822" fmla="*/ 7803 h 10000"/>
                  <a:gd name="connsiteX2823" fmla="*/ 2221 w 10746"/>
                  <a:gd name="connsiteY2823" fmla="*/ 7803 h 10000"/>
                  <a:gd name="connsiteX2824" fmla="*/ 2235 w 10746"/>
                  <a:gd name="connsiteY2824" fmla="*/ 7786 h 10000"/>
                  <a:gd name="connsiteX2825" fmla="*/ 2240 w 10746"/>
                  <a:gd name="connsiteY2825" fmla="*/ 7778 h 10000"/>
                  <a:gd name="connsiteX2826" fmla="*/ 2226 w 10746"/>
                  <a:gd name="connsiteY2826" fmla="*/ 7761 h 10000"/>
                  <a:gd name="connsiteX2827" fmla="*/ 2221 w 10746"/>
                  <a:gd name="connsiteY2827" fmla="*/ 7778 h 10000"/>
                  <a:gd name="connsiteX2828" fmla="*/ 2198 w 10746"/>
                  <a:gd name="connsiteY2828" fmla="*/ 7778 h 10000"/>
                  <a:gd name="connsiteX2829" fmla="*/ 2198 w 10746"/>
                  <a:gd name="connsiteY2829" fmla="*/ 7752 h 10000"/>
                  <a:gd name="connsiteX2830" fmla="*/ 2207 w 10746"/>
                  <a:gd name="connsiteY2830" fmla="*/ 7735 h 10000"/>
                  <a:gd name="connsiteX2831" fmla="*/ 2212 w 10746"/>
                  <a:gd name="connsiteY2831" fmla="*/ 7726 h 10000"/>
                  <a:gd name="connsiteX2832" fmla="*/ 2198 w 10746"/>
                  <a:gd name="connsiteY2832" fmla="*/ 7692 h 10000"/>
                  <a:gd name="connsiteX2833" fmla="*/ 2221 w 10746"/>
                  <a:gd name="connsiteY2833" fmla="*/ 7692 h 10000"/>
                  <a:gd name="connsiteX2834" fmla="*/ 2221 w 10746"/>
                  <a:gd name="connsiteY2834" fmla="*/ 7675 h 10000"/>
                  <a:gd name="connsiteX2835" fmla="*/ 2235 w 10746"/>
                  <a:gd name="connsiteY2835" fmla="*/ 7675 h 10000"/>
                  <a:gd name="connsiteX2836" fmla="*/ 2240 w 10746"/>
                  <a:gd name="connsiteY2836" fmla="*/ 7692 h 10000"/>
                  <a:gd name="connsiteX2837" fmla="*/ 2249 w 10746"/>
                  <a:gd name="connsiteY2837" fmla="*/ 7692 h 10000"/>
                  <a:gd name="connsiteX2838" fmla="*/ 2258 w 10746"/>
                  <a:gd name="connsiteY2838" fmla="*/ 7692 h 10000"/>
                  <a:gd name="connsiteX2839" fmla="*/ 2267 w 10746"/>
                  <a:gd name="connsiteY2839" fmla="*/ 7692 h 10000"/>
                  <a:gd name="connsiteX2840" fmla="*/ 2295 w 10746"/>
                  <a:gd name="connsiteY2840" fmla="*/ 7692 h 10000"/>
                  <a:gd name="connsiteX2841" fmla="*/ 2300 w 10746"/>
                  <a:gd name="connsiteY2841" fmla="*/ 7701 h 10000"/>
                  <a:gd name="connsiteX2842" fmla="*/ 2313 w 10746"/>
                  <a:gd name="connsiteY2842" fmla="*/ 7675 h 10000"/>
                  <a:gd name="connsiteX2843" fmla="*/ 2323 w 10746"/>
                  <a:gd name="connsiteY2843" fmla="*/ 7675 h 10000"/>
                  <a:gd name="connsiteX2844" fmla="*/ 2341 w 10746"/>
                  <a:gd name="connsiteY2844" fmla="*/ 7675 h 10000"/>
                  <a:gd name="connsiteX2845" fmla="*/ 2346 w 10746"/>
                  <a:gd name="connsiteY2845" fmla="*/ 7667 h 10000"/>
                  <a:gd name="connsiteX2846" fmla="*/ 2359 w 10746"/>
                  <a:gd name="connsiteY2846" fmla="*/ 7650 h 10000"/>
                  <a:gd name="connsiteX2847" fmla="*/ 2373 w 10746"/>
                  <a:gd name="connsiteY2847" fmla="*/ 7624 h 10000"/>
                  <a:gd name="connsiteX2848" fmla="*/ 2382 w 10746"/>
                  <a:gd name="connsiteY2848" fmla="*/ 7641 h 10000"/>
                  <a:gd name="connsiteX2849" fmla="*/ 2396 w 10746"/>
                  <a:gd name="connsiteY2849" fmla="*/ 7650 h 10000"/>
                  <a:gd name="connsiteX2850" fmla="*/ 2401 w 10746"/>
                  <a:gd name="connsiteY2850" fmla="*/ 7650 h 10000"/>
                  <a:gd name="connsiteX2851" fmla="*/ 2401 w 10746"/>
                  <a:gd name="connsiteY2851" fmla="*/ 7624 h 10000"/>
                  <a:gd name="connsiteX2852" fmla="*/ 2419 w 10746"/>
                  <a:gd name="connsiteY2852" fmla="*/ 7624 h 10000"/>
                  <a:gd name="connsiteX2853" fmla="*/ 2433 w 10746"/>
                  <a:gd name="connsiteY2853" fmla="*/ 7615 h 10000"/>
                  <a:gd name="connsiteX2854" fmla="*/ 2442 w 10746"/>
                  <a:gd name="connsiteY2854" fmla="*/ 7615 h 10000"/>
                  <a:gd name="connsiteX2855" fmla="*/ 2447 w 10746"/>
                  <a:gd name="connsiteY2855" fmla="*/ 7598 h 10000"/>
                  <a:gd name="connsiteX2856" fmla="*/ 2461 w 10746"/>
                  <a:gd name="connsiteY2856" fmla="*/ 7598 h 10000"/>
                  <a:gd name="connsiteX2857" fmla="*/ 2465 w 10746"/>
                  <a:gd name="connsiteY2857" fmla="*/ 7615 h 10000"/>
                  <a:gd name="connsiteX2858" fmla="*/ 2479 w 10746"/>
                  <a:gd name="connsiteY2858" fmla="*/ 7564 h 10000"/>
                  <a:gd name="connsiteX2859" fmla="*/ 2488 w 10746"/>
                  <a:gd name="connsiteY2859" fmla="*/ 7556 h 10000"/>
                  <a:gd name="connsiteX2860" fmla="*/ 2493 w 10746"/>
                  <a:gd name="connsiteY2860" fmla="*/ 7556 h 10000"/>
                  <a:gd name="connsiteX2861" fmla="*/ 2507 w 10746"/>
                  <a:gd name="connsiteY2861" fmla="*/ 7556 h 10000"/>
                  <a:gd name="connsiteX2862" fmla="*/ 2530 w 10746"/>
                  <a:gd name="connsiteY2862" fmla="*/ 7538 h 10000"/>
                  <a:gd name="connsiteX2863" fmla="*/ 2530 w 10746"/>
                  <a:gd name="connsiteY2863" fmla="*/ 7556 h 10000"/>
                  <a:gd name="connsiteX2864" fmla="*/ 2641 w 10746"/>
                  <a:gd name="connsiteY2864" fmla="*/ 7504 h 10000"/>
                  <a:gd name="connsiteX2865" fmla="*/ 2654 w 10746"/>
                  <a:gd name="connsiteY2865" fmla="*/ 7487 h 10000"/>
                  <a:gd name="connsiteX2866" fmla="*/ 2664 w 10746"/>
                  <a:gd name="connsiteY2866" fmla="*/ 7487 h 10000"/>
                  <a:gd name="connsiteX2867" fmla="*/ 2668 w 10746"/>
                  <a:gd name="connsiteY2867" fmla="*/ 7479 h 10000"/>
                  <a:gd name="connsiteX2868" fmla="*/ 2673 w 10746"/>
                  <a:gd name="connsiteY2868" fmla="*/ 7462 h 10000"/>
                  <a:gd name="connsiteX2869" fmla="*/ 2673 w 10746"/>
                  <a:gd name="connsiteY2869" fmla="*/ 7427 h 10000"/>
                  <a:gd name="connsiteX2870" fmla="*/ 2687 w 10746"/>
                  <a:gd name="connsiteY2870" fmla="*/ 7436 h 10000"/>
                  <a:gd name="connsiteX2871" fmla="*/ 2696 w 10746"/>
                  <a:gd name="connsiteY2871" fmla="*/ 7427 h 10000"/>
                  <a:gd name="connsiteX2872" fmla="*/ 2700 w 10746"/>
                  <a:gd name="connsiteY2872" fmla="*/ 7419 h 10000"/>
                  <a:gd name="connsiteX2873" fmla="*/ 2710 w 10746"/>
                  <a:gd name="connsiteY2873" fmla="*/ 7402 h 10000"/>
                  <a:gd name="connsiteX2874" fmla="*/ 2724 w 10746"/>
                  <a:gd name="connsiteY2874" fmla="*/ 7402 h 10000"/>
                  <a:gd name="connsiteX2875" fmla="*/ 2724 w 10746"/>
                  <a:gd name="connsiteY2875" fmla="*/ 7393 h 10000"/>
                  <a:gd name="connsiteX2876" fmla="*/ 2737 w 10746"/>
                  <a:gd name="connsiteY2876" fmla="*/ 7393 h 10000"/>
                  <a:gd name="connsiteX2877" fmla="*/ 2742 w 10746"/>
                  <a:gd name="connsiteY2877" fmla="*/ 7402 h 10000"/>
                  <a:gd name="connsiteX2878" fmla="*/ 2747 w 10746"/>
                  <a:gd name="connsiteY2878" fmla="*/ 7402 h 10000"/>
                  <a:gd name="connsiteX2879" fmla="*/ 2760 w 10746"/>
                  <a:gd name="connsiteY2879" fmla="*/ 7402 h 10000"/>
                  <a:gd name="connsiteX2880" fmla="*/ 2770 w 10746"/>
                  <a:gd name="connsiteY2880" fmla="*/ 7402 h 10000"/>
                  <a:gd name="connsiteX2881" fmla="*/ 2774 w 10746"/>
                  <a:gd name="connsiteY2881" fmla="*/ 7402 h 10000"/>
                  <a:gd name="connsiteX2882" fmla="*/ 2783 w 10746"/>
                  <a:gd name="connsiteY2882" fmla="*/ 7419 h 10000"/>
                  <a:gd name="connsiteX2883" fmla="*/ 2802 w 10746"/>
                  <a:gd name="connsiteY2883" fmla="*/ 7436 h 10000"/>
                  <a:gd name="connsiteX2884" fmla="*/ 2816 w 10746"/>
                  <a:gd name="connsiteY2884" fmla="*/ 7419 h 10000"/>
                  <a:gd name="connsiteX2885" fmla="*/ 2834 w 10746"/>
                  <a:gd name="connsiteY2885" fmla="*/ 7419 h 10000"/>
                  <a:gd name="connsiteX2886" fmla="*/ 2843 w 10746"/>
                  <a:gd name="connsiteY2886" fmla="*/ 7419 h 10000"/>
                  <a:gd name="connsiteX2887" fmla="*/ 2848 w 10746"/>
                  <a:gd name="connsiteY2887" fmla="*/ 7436 h 10000"/>
                  <a:gd name="connsiteX2888" fmla="*/ 2857 w 10746"/>
                  <a:gd name="connsiteY2888" fmla="*/ 7453 h 10000"/>
                  <a:gd name="connsiteX2889" fmla="*/ 2857 w 10746"/>
                  <a:gd name="connsiteY2889" fmla="*/ 7504 h 10000"/>
                  <a:gd name="connsiteX2890" fmla="*/ 2862 w 10746"/>
                  <a:gd name="connsiteY2890" fmla="*/ 7530 h 10000"/>
                  <a:gd name="connsiteX2891" fmla="*/ 2876 w 10746"/>
                  <a:gd name="connsiteY2891" fmla="*/ 7538 h 10000"/>
                  <a:gd name="connsiteX2892" fmla="*/ 2871 w 10746"/>
                  <a:gd name="connsiteY2892" fmla="*/ 7564 h 10000"/>
                  <a:gd name="connsiteX2893" fmla="*/ 2871 w 10746"/>
                  <a:gd name="connsiteY2893" fmla="*/ 7598 h 10000"/>
                  <a:gd name="connsiteX2894" fmla="*/ 2857 w 10746"/>
                  <a:gd name="connsiteY2894" fmla="*/ 7624 h 10000"/>
                  <a:gd name="connsiteX2895" fmla="*/ 2862 w 10746"/>
                  <a:gd name="connsiteY2895" fmla="*/ 7641 h 10000"/>
                  <a:gd name="connsiteX2896" fmla="*/ 2871 w 10746"/>
                  <a:gd name="connsiteY2896" fmla="*/ 7667 h 10000"/>
                  <a:gd name="connsiteX2897" fmla="*/ 2880 w 10746"/>
                  <a:gd name="connsiteY2897" fmla="*/ 7650 h 10000"/>
                  <a:gd name="connsiteX2898" fmla="*/ 2894 w 10746"/>
                  <a:gd name="connsiteY2898" fmla="*/ 7667 h 10000"/>
                  <a:gd name="connsiteX2899" fmla="*/ 2903 w 10746"/>
                  <a:gd name="connsiteY2899" fmla="*/ 7667 h 10000"/>
                  <a:gd name="connsiteX2900" fmla="*/ 2908 w 10746"/>
                  <a:gd name="connsiteY2900" fmla="*/ 7641 h 10000"/>
                  <a:gd name="connsiteX2901" fmla="*/ 2917 w 10746"/>
                  <a:gd name="connsiteY2901" fmla="*/ 7641 h 10000"/>
                  <a:gd name="connsiteX2902" fmla="*/ 2922 w 10746"/>
                  <a:gd name="connsiteY2902" fmla="*/ 7641 h 10000"/>
                  <a:gd name="connsiteX2903" fmla="*/ 2931 w 10746"/>
                  <a:gd name="connsiteY2903" fmla="*/ 7615 h 10000"/>
                  <a:gd name="connsiteX2904" fmla="*/ 2935 w 10746"/>
                  <a:gd name="connsiteY2904" fmla="*/ 7615 h 10000"/>
                  <a:gd name="connsiteX2905" fmla="*/ 2945 w 10746"/>
                  <a:gd name="connsiteY2905" fmla="*/ 7650 h 10000"/>
                  <a:gd name="connsiteX2906" fmla="*/ 2949 w 10746"/>
                  <a:gd name="connsiteY2906" fmla="*/ 7667 h 10000"/>
                  <a:gd name="connsiteX2907" fmla="*/ 2949 w 10746"/>
                  <a:gd name="connsiteY2907" fmla="*/ 7675 h 10000"/>
                  <a:gd name="connsiteX2908" fmla="*/ 2945 w 10746"/>
                  <a:gd name="connsiteY2908" fmla="*/ 7692 h 10000"/>
                  <a:gd name="connsiteX2909" fmla="*/ 2963 w 10746"/>
                  <a:gd name="connsiteY2909" fmla="*/ 7701 h 10000"/>
                  <a:gd name="connsiteX2910" fmla="*/ 2963 w 10746"/>
                  <a:gd name="connsiteY2910" fmla="*/ 7675 h 10000"/>
                  <a:gd name="connsiteX2911" fmla="*/ 2954 w 10746"/>
                  <a:gd name="connsiteY2911" fmla="*/ 7667 h 10000"/>
                  <a:gd name="connsiteX2912" fmla="*/ 2963 w 10746"/>
                  <a:gd name="connsiteY2912" fmla="*/ 7667 h 10000"/>
                  <a:gd name="connsiteX2913" fmla="*/ 2982 w 10746"/>
                  <a:gd name="connsiteY2913" fmla="*/ 7667 h 10000"/>
                  <a:gd name="connsiteX2914" fmla="*/ 2991 w 10746"/>
                  <a:gd name="connsiteY2914" fmla="*/ 7675 h 10000"/>
                  <a:gd name="connsiteX2915" fmla="*/ 2995 w 10746"/>
                  <a:gd name="connsiteY2915" fmla="*/ 7692 h 10000"/>
                  <a:gd name="connsiteX2916" fmla="*/ 3009 w 10746"/>
                  <a:gd name="connsiteY2916" fmla="*/ 7701 h 10000"/>
                  <a:gd name="connsiteX2917" fmla="*/ 3018 w 10746"/>
                  <a:gd name="connsiteY2917" fmla="*/ 7701 h 10000"/>
                  <a:gd name="connsiteX2918" fmla="*/ 3023 w 10746"/>
                  <a:gd name="connsiteY2918" fmla="*/ 7692 h 10000"/>
                  <a:gd name="connsiteX2919" fmla="*/ 3028 w 10746"/>
                  <a:gd name="connsiteY2919" fmla="*/ 7675 h 10000"/>
                  <a:gd name="connsiteX2920" fmla="*/ 3037 w 10746"/>
                  <a:gd name="connsiteY2920" fmla="*/ 7692 h 10000"/>
                  <a:gd name="connsiteX2921" fmla="*/ 3028 w 10746"/>
                  <a:gd name="connsiteY2921" fmla="*/ 7709 h 10000"/>
                  <a:gd name="connsiteX2922" fmla="*/ 3023 w 10746"/>
                  <a:gd name="connsiteY2922" fmla="*/ 7709 h 10000"/>
                  <a:gd name="connsiteX2923" fmla="*/ 3018 w 10746"/>
                  <a:gd name="connsiteY2923" fmla="*/ 7726 h 10000"/>
                  <a:gd name="connsiteX2924" fmla="*/ 3009 w 10746"/>
                  <a:gd name="connsiteY2924" fmla="*/ 7735 h 10000"/>
                  <a:gd name="connsiteX2925" fmla="*/ 3009 w 10746"/>
                  <a:gd name="connsiteY2925" fmla="*/ 7761 h 10000"/>
                  <a:gd name="connsiteX2926" fmla="*/ 3009 w 10746"/>
                  <a:gd name="connsiteY2926" fmla="*/ 7778 h 10000"/>
                  <a:gd name="connsiteX2927" fmla="*/ 3018 w 10746"/>
                  <a:gd name="connsiteY2927" fmla="*/ 7786 h 10000"/>
                  <a:gd name="connsiteX2928" fmla="*/ 3023 w 10746"/>
                  <a:gd name="connsiteY2928" fmla="*/ 7786 h 10000"/>
                  <a:gd name="connsiteX2929" fmla="*/ 3028 w 10746"/>
                  <a:gd name="connsiteY2929" fmla="*/ 7778 h 10000"/>
                  <a:gd name="connsiteX2930" fmla="*/ 3051 w 10746"/>
                  <a:gd name="connsiteY2930" fmla="*/ 7761 h 10000"/>
                  <a:gd name="connsiteX2931" fmla="*/ 3055 w 10746"/>
                  <a:gd name="connsiteY2931" fmla="*/ 7778 h 10000"/>
                  <a:gd name="connsiteX2932" fmla="*/ 3065 w 10746"/>
                  <a:gd name="connsiteY2932" fmla="*/ 7761 h 10000"/>
                  <a:gd name="connsiteX2933" fmla="*/ 3069 w 10746"/>
                  <a:gd name="connsiteY2933" fmla="*/ 7786 h 10000"/>
                  <a:gd name="connsiteX2934" fmla="*/ 3083 w 10746"/>
                  <a:gd name="connsiteY2934" fmla="*/ 7786 h 10000"/>
                  <a:gd name="connsiteX2935" fmla="*/ 3078 w 10746"/>
                  <a:gd name="connsiteY2935" fmla="*/ 7761 h 10000"/>
                  <a:gd name="connsiteX2936" fmla="*/ 3083 w 10746"/>
                  <a:gd name="connsiteY2936" fmla="*/ 7752 h 10000"/>
                  <a:gd name="connsiteX2937" fmla="*/ 3097 w 10746"/>
                  <a:gd name="connsiteY2937" fmla="*/ 7752 h 10000"/>
                  <a:gd name="connsiteX2938" fmla="*/ 3111 w 10746"/>
                  <a:gd name="connsiteY2938" fmla="*/ 7726 h 10000"/>
                  <a:gd name="connsiteX2939" fmla="*/ 3124 w 10746"/>
                  <a:gd name="connsiteY2939" fmla="*/ 7709 h 10000"/>
                  <a:gd name="connsiteX2940" fmla="*/ 3143 w 10746"/>
                  <a:gd name="connsiteY2940" fmla="*/ 7692 h 10000"/>
                  <a:gd name="connsiteX2941" fmla="*/ 3152 w 10746"/>
                  <a:gd name="connsiteY2941" fmla="*/ 7667 h 10000"/>
                  <a:gd name="connsiteX2942" fmla="*/ 3157 w 10746"/>
                  <a:gd name="connsiteY2942" fmla="*/ 7650 h 10000"/>
                  <a:gd name="connsiteX2943" fmla="*/ 3161 w 10746"/>
                  <a:gd name="connsiteY2943" fmla="*/ 7650 h 10000"/>
                  <a:gd name="connsiteX2944" fmla="*/ 3189 w 10746"/>
                  <a:gd name="connsiteY2944" fmla="*/ 7641 h 10000"/>
                  <a:gd name="connsiteX2945" fmla="*/ 3198 w 10746"/>
                  <a:gd name="connsiteY2945" fmla="*/ 7624 h 10000"/>
                  <a:gd name="connsiteX2946" fmla="*/ 3217 w 10746"/>
                  <a:gd name="connsiteY2946" fmla="*/ 7615 h 10000"/>
                  <a:gd name="connsiteX2947" fmla="*/ 3235 w 10746"/>
                  <a:gd name="connsiteY2947" fmla="*/ 7598 h 10000"/>
                  <a:gd name="connsiteX2948" fmla="*/ 3235 w 10746"/>
                  <a:gd name="connsiteY2948" fmla="*/ 7615 h 10000"/>
                  <a:gd name="connsiteX2949" fmla="*/ 3235 w 10746"/>
                  <a:gd name="connsiteY2949" fmla="*/ 7641 h 10000"/>
                  <a:gd name="connsiteX2950" fmla="*/ 3235 w 10746"/>
                  <a:gd name="connsiteY2950" fmla="*/ 7650 h 10000"/>
                  <a:gd name="connsiteX2951" fmla="*/ 3226 w 10746"/>
                  <a:gd name="connsiteY2951" fmla="*/ 7650 h 10000"/>
                  <a:gd name="connsiteX2952" fmla="*/ 3217 w 10746"/>
                  <a:gd name="connsiteY2952" fmla="*/ 7650 h 10000"/>
                  <a:gd name="connsiteX2953" fmla="*/ 3212 w 10746"/>
                  <a:gd name="connsiteY2953" fmla="*/ 7675 h 10000"/>
                  <a:gd name="connsiteX2954" fmla="*/ 3212 w 10746"/>
                  <a:gd name="connsiteY2954" fmla="*/ 7675 h 10000"/>
                  <a:gd name="connsiteX0" fmla="*/ 3212 w 10820"/>
                  <a:gd name="connsiteY0" fmla="*/ 7675 h 10000"/>
                  <a:gd name="connsiteX1" fmla="*/ 3217 w 10820"/>
                  <a:gd name="connsiteY1" fmla="*/ 7692 h 10000"/>
                  <a:gd name="connsiteX2" fmla="*/ 3226 w 10820"/>
                  <a:gd name="connsiteY2" fmla="*/ 7692 h 10000"/>
                  <a:gd name="connsiteX3" fmla="*/ 3309 w 10820"/>
                  <a:gd name="connsiteY3" fmla="*/ 7838 h 10000"/>
                  <a:gd name="connsiteX4" fmla="*/ 3452 w 10820"/>
                  <a:gd name="connsiteY4" fmla="*/ 8325 h 10000"/>
                  <a:gd name="connsiteX5" fmla="*/ 3470 w 10820"/>
                  <a:gd name="connsiteY5" fmla="*/ 8299 h 10000"/>
                  <a:gd name="connsiteX6" fmla="*/ 3470 w 10820"/>
                  <a:gd name="connsiteY6" fmla="*/ 8282 h 10000"/>
                  <a:gd name="connsiteX7" fmla="*/ 3470 w 10820"/>
                  <a:gd name="connsiteY7" fmla="*/ 8274 h 10000"/>
                  <a:gd name="connsiteX8" fmla="*/ 3484 w 10820"/>
                  <a:gd name="connsiteY8" fmla="*/ 8231 h 10000"/>
                  <a:gd name="connsiteX9" fmla="*/ 3498 w 10820"/>
                  <a:gd name="connsiteY9" fmla="*/ 8231 h 10000"/>
                  <a:gd name="connsiteX10" fmla="*/ 3498 w 10820"/>
                  <a:gd name="connsiteY10" fmla="*/ 8248 h 10000"/>
                  <a:gd name="connsiteX11" fmla="*/ 3512 w 10820"/>
                  <a:gd name="connsiteY11" fmla="*/ 8256 h 10000"/>
                  <a:gd name="connsiteX12" fmla="*/ 3525 w 10820"/>
                  <a:gd name="connsiteY12" fmla="*/ 8274 h 10000"/>
                  <a:gd name="connsiteX13" fmla="*/ 3525 w 10820"/>
                  <a:gd name="connsiteY13" fmla="*/ 8282 h 10000"/>
                  <a:gd name="connsiteX14" fmla="*/ 3525 w 10820"/>
                  <a:gd name="connsiteY14" fmla="*/ 8308 h 10000"/>
                  <a:gd name="connsiteX15" fmla="*/ 3530 w 10820"/>
                  <a:gd name="connsiteY15" fmla="*/ 8308 h 10000"/>
                  <a:gd name="connsiteX16" fmla="*/ 3539 w 10820"/>
                  <a:gd name="connsiteY16" fmla="*/ 8333 h 10000"/>
                  <a:gd name="connsiteX17" fmla="*/ 3571 w 10820"/>
                  <a:gd name="connsiteY17" fmla="*/ 8333 h 10000"/>
                  <a:gd name="connsiteX18" fmla="*/ 3590 w 10820"/>
                  <a:gd name="connsiteY18" fmla="*/ 8350 h 10000"/>
                  <a:gd name="connsiteX19" fmla="*/ 3599 w 10820"/>
                  <a:gd name="connsiteY19" fmla="*/ 8333 h 10000"/>
                  <a:gd name="connsiteX20" fmla="*/ 3618 w 10820"/>
                  <a:gd name="connsiteY20" fmla="*/ 8333 h 10000"/>
                  <a:gd name="connsiteX21" fmla="*/ 3618 w 10820"/>
                  <a:gd name="connsiteY21" fmla="*/ 8325 h 10000"/>
                  <a:gd name="connsiteX22" fmla="*/ 3627 w 10820"/>
                  <a:gd name="connsiteY22" fmla="*/ 8308 h 10000"/>
                  <a:gd name="connsiteX23" fmla="*/ 3641 w 10820"/>
                  <a:gd name="connsiteY23" fmla="*/ 8308 h 10000"/>
                  <a:gd name="connsiteX24" fmla="*/ 3645 w 10820"/>
                  <a:gd name="connsiteY24" fmla="*/ 8308 h 10000"/>
                  <a:gd name="connsiteX25" fmla="*/ 3650 w 10820"/>
                  <a:gd name="connsiteY25" fmla="*/ 8299 h 10000"/>
                  <a:gd name="connsiteX26" fmla="*/ 3659 w 10820"/>
                  <a:gd name="connsiteY26" fmla="*/ 8282 h 10000"/>
                  <a:gd name="connsiteX27" fmla="*/ 3677 w 10820"/>
                  <a:gd name="connsiteY27" fmla="*/ 8299 h 10000"/>
                  <a:gd name="connsiteX28" fmla="*/ 3687 w 10820"/>
                  <a:gd name="connsiteY28" fmla="*/ 8299 h 10000"/>
                  <a:gd name="connsiteX29" fmla="*/ 3691 w 10820"/>
                  <a:gd name="connsiteY29" fmla="*/ 8325 h 10000"/>
                  <a:gd name="connsiteX30" fmla="*/ 3700 w 10820"/>
                  <a:gd name="connsiteY30" fmla="*/ 8325 h 10000"/>
                  <a:gd name="connsiteX31" fmla="*/ 3714 w 10820"/>
                  <a:gd name="connsiteY31" fmla="*/ 8359 h 10000"/>
                  <a:gd name="connsiteX32" fmla="*/ 3719 w 10820"/>
                  <a:gd name="connsiteY32" fmla="*/ 8359 h 10000"/>
                  <a:gd name="connsiteX33" fmla="*/ 3724 w 10820"/>
                  <a:gd name="connsiteY33" fmla="*/ 8368 h 10000"/>
                  <a:gd name="connsiteX34" fmla="*/ 3719 w 10820"/>
                  <a:gd name="connsiteY34" fmla="*/ 8393 h 10000"/>
                  <a:gd name="connsiteX35" fmla="*/ 3724 w 10820"/>
                  <a:gd name="connsiteY35" fmla="*/ 8410 h 10000"/>
                  <a:gd name="connsiteX36" fmla="*/ 3724 w 10820"/>
                  <a:gd name="connsiteY36" fmla="*/ 8436 h 10000"/>
                  <a:gd name="connsiteX37" fmla="*/ 3737 w 10820"/>
                  <a:gd name="connsiteY37" fmla="*/ 8436 h 10000"/>
                  <a:gd name="connsiteX38" fmla="*/ 3765 w 10820"/>
                  <a:gd name="connsiteY38" fmla="*/ 8462 h 10000"/>
                  <a:gd name="connsiteX39" fmla="*/ 3765 w 10820"/>
                  <a:gd name="connsiteY39" fmla="*/ 8470 h 10000"/>
                  <a:gd name="connsiteX40" fmla="*/ 3765 w 10820"/>
                  <a:gd name="connsiteY40" fmla="*/ 8496 h 10000"/>
                  <a:gd name="connsiteX41" fmla="*/ 3774 w 10820"/>
                  <a:gd name="connsiteY41" fmla="*/ 8496 h 10000"/>
                  <a:gd name="connsiteX42" fmla="*/ 3779 w 10820"/>
                  <a:gd name="connsiteY42" fmla="*/ 8504 h 10000"/>
                  <a:gd name="connsiteX43" fmla="*/ 3793 w 10820"/>
                  <a:gd name="connsiteY43" fmla="*/ 8547 h 10000"/>
                  <a:gd name="connsiteX44" fmla="*/ 3797 w 10820"/>
                  <a:gd name="connsiteY44" fmla="*/ 8547 h 10000"/>
                  <a:gd name="connsiteX45" fmla="*/ 3820 w 10820"/>
                  <a:gd name="connsiteY45" fmla="*/ 8556 h 10000"/>
                  <a:gd name="connsiteX46" fmla="*/ 3834 w 10820"/>
                  <a:gd name="connsiteY46" fmla="*/ 8573 h 10000"/>
                  <a:gd name="connsiteX47" fmla="*/ 3853 w 10820"/>
                  <a:gd name="connsiteY47" fmla="*/ 8573 h 10000"/>
                  <a:gd name="connsiteX48" fmla="*/ 3857 w 10820"/>
                  <a:gd name="connsiteY48" fmla="*/ 8556 h 10000"/>
                  <a:gd name="connsiteX49" fmla="*/ 3866 w 10820"/>
                  <a:gd name="connsiteY49" fmla="*/ 8547 h 10000"/>
                  <a:gd name="connsiteX50" fmla="*/ 3880 w 10820"/>
                  <a:gd name="connsiteY50" fmla="*/ 8530 h 10000"/>
                  <a:gd name="connsiteX51" fmla="*/ 3885 w 10820"/>
                  <a:gd name="connsiteY51" fmla="*/ 8547 h 10000"/>
                  <a:gd name="connsiteX52" fmla="*/ 3885 w 10820"/>
                  <a:gd name="connsiteY52" fmla="*/ 8573 h 10000"/>
                  <a:gd name="connsiteX53" fmla="*/ 3899 w 10820"/>
                  <a:gd name="connsiteY53" fmla="*/ 8573 h 10000"/>
                  <a:gd name="connsiteX54" fmla="*/ 3908 w 10820"/>
                  <a:gd name="connsiteY54" fmla="*/ 8607 h 10000"/>
                  <a:gd name="connsiteX55" fmla="*/ 3912 w 10820"/>
                  <a:gd name="connsiteY55" fmla="*/ 8615 h 10000"/>
                  <a:gd name="connsiteX56" fmla="*/ 3922 w 10820"/>
                  <a:gd name="connsiteY56" fmla="*/ 8632 h 10000"/>
                  <a:gd name="connsiteX57" fmla="*/ 3908 w 10820"/>
                  <a:gd name="connsiteY57" fmla="*/ 8692 h 10000"/>
                  <a:gd name="connsiteX58" fmla="*/ 3908 w 10820"/>
                  <a:gd name="connsiteY58" fmla="*/ 8692 h 10000"/>
                  <a:gd name="connsiteX59" fmla="*/ 3931 w 10820"/>
                  <a:gd name="connsiteY59" fmla="*/ 8709 h 10000"/>
                  <a:gd name="connsiteX60" fmla="*/ 3954 w 10820"/>
                  <a:gd name="connsiteY60" fmla="*/ 8667 h 10000"/>
                  <a:gd name="connsiteX61" fmla="*/ 3959 w 10820"/>
                  <a:gd name="connsiteY61" fmla="*/ 8667 h 10000"/>
                  <a:gd name="connsiteX62" fmla="*/ 3972 w 10820"/>
                  <a:gd name="connsiteY62" fmla="*/ 8615 h 10000"/>
                  <a:gd name="connsiteX63" fmla="*/ 3995 w 10820"/>
                  <a:gd name="connsiteY63" fmla="*/ 8581 h 10000"/>
                  <a:gd name="connsiteX64" fmla="*/ 4032 w 10820"/>
                  <a:gd name="connsiteY64" fmla="*/ 8556 h 10000"/>
                  <a:gd name="connsiteX65" fmla="*/ 4138 w 10820"/>
                  <a:gd name="connsiteY65" fmla="*/ 8419 h 10000"/>
                  <a:gd name="connsiteX66" fmla="*/ 4249 w 10820"/>
                  <a:gd name="connsiteY66" fmla="*/ 8359 h 10000"/>
                  <a:gd name="connsiteX67" fmla="*/ 4295 w 10820"/>
                  <a:gd name="connsiteY67" fmla="*/ 8385 h 10000"/>
                  <a:gd name="connsiteX68" fmla="*/ 4309 w 10820"/>
                  <a:gd name="connsiteY68" fmla="*/ 8410 h 10000"/>
                  <a:gd name="connsiteX69" fmla="*/ 4355 w 10820"/>
                  <a:gd name="connsiteY69" fmla="*/ 8393 h 10000"/>
                  <a:gd name="connsiteX70" fmla="*/ 4382 w 10820"/>
                  <a:gd name="connsiteY70" fmla="*/ 8393 h 10000"/>
                  <a:gd name="connsiteX71" fmla="*/ 4419 w 10820"/>
                  <a:gd name="connsiteY71" fmla="*/ 8487 h 10000"/>
                  <a:gd name="connsiteX72" fmla="*/ 4442 w 10820"/>
                  <a:gd name="connsiteY72" fmla="*/ 8487 h 10000"/>
                  <a:gd name="connsiteX73" fmla="*/ 4493 w 10820"/>
                  <a:gd name="connsiteY73" fmla="*/ 8470 h 10000"/>
                  <a:gd name="connsiteX74" fmla="*/ 4516 w 10820"/>
                  <a:gd name="connsiteY74" fmla="*/ 8487 h 10000"/>
                  <a:gd name="connsiteX75" fmla="*/ 4608 w 10820"/>
                  <a:gd name="connsiteY75" fmla="*/ 8470 h 10000"/>
                  <a:gd name="connsiteX76" fmla="*/ 4622 w 10820"/>
                  <a:gd name="connsiteY76" fmla="*/ 8470 h 10000"/>
                  <a:gd name="connsiteX77" fmla="*/ 4618 w 10820"/>
                  <a:gd name="connsiteY77" fmla="*/ 8419 h 10000"/>
                  <a:gd name="connsiteX78" fmla="*/ 4622 w 10820"/>
                  <a:gd name="connsiteY78" fmla="*/ 8385 h 10000"/>
                  <a:gd name="connsiteX79" fmla="*/ 4636 w 10820"/>
                  <a:gd name="connsiteY79" fmla="*/ 8350 h 10000"/>
                  <a:gd name="connsiteX80" fmla="*/ 4636 w 10820"/>
                  <a:gd name="connsiteY80" fmla="*/ 8325 h 10000"/>
                  <a:gd name="connsiteX81" fmla="*/ 4622 w 10820"/>
                  <a:gd name="connsiteY81" fmla="*/ 8282 h 10000"/>
                  <a:gd name="connsiteX82" fmla="*/ 4618 w 10820"/>
                  <a:gd name="connsiteY82" fmla="*/ 8248 h 10000"/>
                  <a:gd name="connsiteX83" fmla="*/ 4618 w 10820"/>
                  <a:gd name="connsiteY83" fmla="*/ 8214 h 10000"/>
                  <a:gd name="connsiteX84" fmla="*/ 4691 w 10820"/>
                  <a:gd name="connsiteY84" fmla="*/ 8077 h 10000"/>
                  <a:gd name="connsiteX85" fmla="*/ 4700 w 10820"/>
                  <a:gd name="connsiteY85" fmla="*/ 8060 h 10000"/>
                  <a:gd name="connsiteX86" fmla="*/ 4728 w 10820"/>
                  <a:gd name="connsiteY86" fmla="*/ 8077 h 10000"/>
                  <a:gd name="connsiteX87" fmla="*/ 4751 w 10820"/>
                  <a:gd name="connsiteY87" fmla="*/ 8094 h 10000"/>
                  <a:gd name="connsiteX88" fmla="*/ 4788 w 10820"/>
                  <a:gd name="connsiteY88" fmla="*/ 8120 h 10000"/>
                  <a:gd name="connsiteX89" fmla="*/ 4802 w 10820"/>
                  <a:gd name="connsiteY89" fmla="*/ 8162 h 10000"/>
                  <a:gd name="connsiteX90" fmla="*/ 4885 w 10820"/>
                  <a:gd name="connsiteY90" fmla="*/ 8197 h 10000"/>
                  <a:gd name="connsiteX91" fmla="*/ 4889 w 10820"/>
                  <a:gd name="connsiteY91" fmla="*/ 8231 h 10000"/>
                  <a:gd name="connsiteX92" fmla="*/ 4899 w 10820"/>
                  <a:gd name="connsiteY92" fmla="*/ 8333 h 10000"/>
                  <a:gd name="connsiteX93" fmla="*/ 4903 w 10820"/>
                  <a:gd name="connsiteY93" fmla="*/ 8333 h 10000"/>
                  <a:gd name="connsiteX94" fmla="*/ 4949 w 10820"/>
                  <a:gd name="connsiteY94" fmla="*/ 8410 h 10000"/>
                  <a:gd name="connsiteX95" fmla="*/ 4991 w 10820"/>
                  <a:gd name="connsiteY95" fmla="*/ 8436 h 10000"/>
                  <a:gd name="connsiteX96" fmla="*/ 5023 w 10820"/>
                  <a:gd name="connsiteY96" fmla="*/ 8419 h 10000"/>
                  <a:gd name="connsiteX97" fmla="*/ 5092 w 10820"/>
                  <a:gd name="connsiteY97" fmla="*/ 8359 h 10000"/>
                  <a:gd name="connsiteX98" fmla="*/ 5180 w 10820"/>
                  <a:gd name="connsiteY98" fmla="*/ 8410 h 10000"/>
                  <a:gd name="connsiteX99" fmla="*/ 5189 w 10820"/>
                  <a:gd name="connsiteY99" fmla="*/ 8436 h 10000"/>
                  <a:gd name="connsiteX100" fmla="*/ 5198 w 10820"/>
                  <a:gd name="connsiteY100" fmla="*/ 8436 h 10000"/>
                  <a:gd name="connsiteX101" fmla="*/ 5226 w 10820"/>
                  <a:gd name="connsiteY101" fmla="*/ 8487 h 10000"/>
                  <a:gd name="connsiteX102" fmla="*/ 5276 w 10820"/>
                  <a:gd name="connsiteY102" fmla="*/ 8504 h 10000"/>
                  <a:gd name="connsiteX103" fmla="*/ 5290 w 10820"/>
                  <a:gd name="connsiteY103" fmla="*/ 8556 h 10000"/>
                  <a:gd name="connsiteX104" fmla="*/ 5323 w 10820"/>
                  <a:gd name="connsiteY104" fmla="*/ 8598 h 10000"/>
                  <a:gd name="connsiteX105" fmla="*/ 5447 w 10820"/>
                  <a:gd name="connsiteY105" fmla="*/ 8615 h 10000"/>
                  <a:gd name="connsiteX106" fmla="*/ 5465 w 10820"/>
                  <a:gd name="connsiteY106" fmla="*/ 8632 h 10000"/>
                  <a:gd name="connsiteX107" fmla="*/ 5604 w 10820"/>
                  <a:gd name="connsiteY107" fmla="*/ 8556 h 10000"/>
                  <a:gd name="connsiteX108" fmla="*/ 5677 w 10820"/>
                  <a:gd name="connsiteY108" fmla="*/ 8462 h 10000"/>
                  <a:gd name="connsiteX109" fmla="*/ 5705 w 10820"/>
                  <a:gd name="connsiteY109" fmla="*/ 8444 h 10000"/>
                  <a:gd name="connsiteX110" fmla="*/ 5737 w 10820"/>
                  <a:gd name="connsiteY110" fmla="*/ 8470 h 10000"/>
                  <a:gd name="connsiteX111" fmla="*/ 5760 w 10820"/>
                  <a:gd name="connsiteY111" fmla="*/ 8496 h 10000"/>
                  <a:gd name="connsiteX112" fmla="*/ 5788 w 10820"/>
                  <a:gd name="connsiteY112" fmla="*/ 8504 h 10000"/>
                  <a:gd name="connsiteX113" fmla="*/ 5806 w 10820"/>
                  <a:gd name="connsiteY113" fmla="*/ 8496 h 10000"/>
                  <a:gd name="connsiteX114" fmla="*/ 5820 w 10820"/>
                  <a:gd name="connsiteY114" fmla="*/ 8487 h 10000"/>
                  <a:gd name="connsiteX115" fmla="*/ 5825 w 10820"/>
                  <a:gd name="connsiteY115" fmla="*/ 8487 h 10000"/>
                  <a:gd name="connsiteX116" fmla="*/ 5825 w 10820"/>
                  <a:gd name="connsiteY116" fmla="*/ 8487 h 10000"/>
                  <a:gd name="connsiteX117" fmla="*/ 5926 w 10820"/>
                  <a:gd name="connsiteY117" fmla="*/ 8556 h 10000"/>
                  <a:gd name="connsiteX118" fmla="*/ 5940 w 10820"/>
                  <a:gd name="connsiteY118" fmla="*/ 8556 h 10000"/>
                  <a:gd name="connsiteX119" fmla="*/ 6014 w 10820"/>
                  <a:gd name="connsiteY119" fmla="*/ 8470 h 10000"/>
                  <a:gd name="connsiteX120" fmla="*/ 6018 w 10820"/>
                  <a:gd name="connsiteY120" fmla="*/ 8444 h 10000"/>
                  <a:gd name="connsiteX121" fmla="*/ 6014 w 10820"/>
                  <a:gd name="connsiteY121" fmla="*/ 8419 h 10000"/>
                  <a:gd name="connsiteX122" fmla="*/ 6018 w 10820"/>
                  <a:gd name="connsiteY122" fmla="*/ 8393 h 10000"/>
                  <a:gd name="connsiteX123" fmla="*/ 6041 w 10820"/>
                  <a:gd name="connsiteY123" fmla="*/ 8333 h 10000"/>
                  <a:gd name="connsiteX124" fmla="*/ 6069 w 10820"/>
                  <a:gd name="connsiteY124" fmla="*/ 8188 h 10000"/>
                  <a:gd name="connsiteX125" fmla="*/ 6088 w 10820"/>
                  <a:gd name="connsiteY125" fmla="*/ 8162 h 10000"/>
                  <a:gd name="connsiteX126" fmla="*/ 6115 w 10820"/>
                  <a:gd name="connsiteY126" fmla="*/ 8094 h 10000"/>
                  <a:gd name="connsiteX127" fmla="*/ 6115 w 10820"/>
                  <a:gd name="connsiteY127" fmla="*/ 8094 h 10000"/>
                  <a:gd name="connsiteX128" fmla="*/ 6106 w 10820"/>
                  <a:gd name="connsiteY128" fmla="*/ 8077 h 10000"/>
                  <a:gd name="connsiteX129" fmla="*/ 6106 w 10820"/>
                  <a:gd name="connsiteY129" fmla="*/ 8009 h 10000"/>
                  <a:gd name="connsiteX130" fmla="*/ 6101 w 10820"/>
                  <a:gd name="connsiteY130" fmla="*/ 8000 h 10000"/>
                  <a:gd name="connsiteX131" fmla="*/ 6069 w 10820"/>
                  <a:gd name="connsiteY131" fmla="*/ 8009 h 10000"/>
                  <a:gd name="connsiteX132" fmla="*/ 6069 w 10820"/>
                  <a:gd name="connsiteY132" fmla="*/ 8000 h 10000"/>
                  <a:gd name="connsiteX133" fmla="*/ 6069 w 10820"/>
                  <a:gd name="connsiteY133" fmla="*/ 7974 h 10000"/>
                  <a:gd name="connsiteX134" fmla="*/ 6101 w 10820"/>
                  <a:gd name="connsiteY134" fmla="*/ 7923 h 10000"/>
                  <a:gd name="connsiteX135" fmla="*/ 6106 w 10820"/>
                  <a:gd name="connsiteY135" fmla="*/ 7889 h 10000"/>
                  <a:gd name="connsiteX136" fmla="*/ 6129 w 10820"/>
                  <a:gd name="connsiteY136" fmla="*/ 7863 h 10000"/>
                  <a:gd name="connsiteX137" fmla="*/ 6300 w 10820"/>
                  <a:gd name="connsiteY137" fmla="*/ 7812 h 10000"/>
                  <a:gd name="connsiteX138" fmla="*/ 6359 w 10820"/>
                  <a:gd name="connsiteY138" fmla="*/ 7872 h 10000"/>
                  <a:gd name="connsiteX139" fmla="*/ 6373 w 10820"/>
                  <a:gd name="connsiteY139" fmla="*/ 7889 h 10000"/>
                  <a:gd name="connsiteX140" fmla="*/ 6401 w 10820"/>
                  <a:gd name="connsiteY140" fmla="*/ 7889 h 10000"/>
                  <a:gd name="connsiteX141" fmla="*/ 6433 w 10820"/>
                  <a:gd name="connsiteY141" fmla="*/ 7915 h 10000"/>
                  <a:gd name="connsiteX142" fmla="*/ 6461 w 10820"/>
                  <a:gd name="connsiteY142" fmla="*/ 7974 h 10000"/>
                  <a:gd name="connsiteX143" fmla="*/ 6461 w 10820"/>
                  <a:gd name="connsiteY143" fmla="*/ 8000 h 10000"/>
                  <a:gd name="connsiteX144" fmla="*/ 6484 w 10820"/>
                  <a:gd name="connsiteY144" fmla="*/ 8034 h 10000"/>
                  <a:gd name="connsiteX145" fmla="*/ 6484 w 10820"/>
                  <a:gd name="connsiteY145" fmla="*/ 8051 h 10000"/>
                  <a:gd name="connsiteX146" fmla="*/ 6484 w 10820"/>
                  <a:gd name="connsiteY146" fmla="*/ 8034 h 10000"/>
                  <a:gd name="connsiteX147" fmla="*/ 6558 w 10820"/>
                  <a:gd name="connsiteY147" fmla="*/ 8444 h 10000"/>
                  <a:gd name="connsiteX148" fmla="*/ 6558 w 10820"/>
                  <a:gd name="connsiteY148" fmla="*/ 8462 h 10000"/>
                  <a:gd name="connsiteX149" fmla="*/ 6558 w 10820"/>
                  <a:gd name="connsiteY149" fmla="*/ 8462 h 10000"/>
                  <a:gd name="connsiteX150" fmla="*/ 6562 w 10820"/>
                  <a:gd name="connsiteY150" fmla="*/ 8547 h 10000"/>
                  <a:gd name="connsiteX151" fmla="*/ 6576 w 10820"/>
                  <a:gd name="connsiteY151" fmla="*/ 8573 h 10000"/>
                  <a:gd name="connsiteX152" fmla="*/ 6604 w 10820"/>
                  <a:gd name="connsiteY152" fmla="*/ 8581 h 10000"/>
                  <a:gd name="connsiteX153" fmla="*/ 6631 w 10820"/>
                  <a:gd name="connsiteY153" fmla="*/ 8556 h 10000"/>
                  <a:gd name="connsiteX154" fmla="*/ 6691 w 10820"/>
                  <a:gd name="connsiteY154" fmla="*/ 8607 h 10000"/>
                  <a:gd name="connsiteX155" fmla="*/ 6728 w 10820"/>
                  <a:gd name="connsiteY155" fmla="*/ 8667 h 10000"/>
                  <a:gd name="connsiteX156" fmla="*/ 6742 w 10820"/>
                  <a:gd name="connsiteY156" fmla="*/ 8684 h 10000"/>
                  <a:gd name="connsiteX157" fmla="*/ 6765 w 10820"/>
                  <a:gd name="connsiteY157" fmla="*/ 8684 h 10000"/>
                  <a:gd name="connsiteX158" fmla="*/ 6765 w 10820"/>
                  <a:gd name="connsiteY158" fmla="*/ 8709 h 10000"/>
                  <a:gd name="connsiteX159" fmla="*/ 6765 w 10820"/>
                  <a:gd name="connsiteY159" fmla="*/ 8709 h 10000"/>
                  <a:gd name="connsiteX160" fmla="*/ 6770 w 10820"/>
                  <a:gd name="connsiteY160" fmla="*/ 8709 h 10000"/>
                  <a:gd name="connsiteX161" fmla="*/ 6770 w 10820"/>
                  <a:gd name="connsiteY161" fmla="*/ 8744 h 10000"/>
                  <a:gd name="connsiteX162" fmla="*/ 6779 w 10820"/>
                  <a:gd name="connsiteY162" fmla="*/ 8769 h 10000"/>
                  <a:gd name="connsiteX163" fmla="*/ 6779 w 10820"/>
                  <a:gd name="connsiteY163" fmla="*/ 8846 h 10000"/>
                  <a:gd name="connsiteX164" fmla="*/ 6797 w 10820"/>
                  <a:gd name="connsiteY164" fmla="*/ 8906 h 10000"/>
                  <a:gd name="connsiteX165" fmla="*/ 6816 w 10820"/>
                  <a:gd name="connsiteY165" fmla="*/ 8906 h 10000"/>
                  <a:gd name="connsiteX166" fmla="*/ 6843 w 10820"/>
                  <a:gd name="connsiteY166" fmla="*/ 8915 h 10000"/>
                  <a:gd name="connsiteX167" fmla="*/ 6862 w 10820"/>
                  <a:gd name="connsiteY167" fmla="*/ 8906 h 10000"/>
                  <a:gd name="connsiteX168" fmla="*/ 6935 w 10820"/>
                  <a:gd name="connsiteY168" fmla="*/ 8829 h 10000"/>
                  <a:gd name="connsiteX169" fmla="*/ 6963 w 10820"/>
                  <a:gd name="connsiteY169" fmla="*/ 8829 h 10000"/>
                  <a:gd name="connsiteX170" fmla="*/ 7046 w 10820"/>
                  <a:gd name="connsiteY170" fmla="*/ 8769 h 10000"/>
                  <a:gd name="connsiteX171" fmla="*/ 7046 w 10820"/>
                  <a:gd name="connsiteY171" fmla="*/ 8769 h 10000"/>
                  <a:gd name="connsiteX172" fmla="*/ 7032 w 10820"/>
                  <a:gd name="connsiteY172" fmla="*/ 8803 h 10000"/>
                  <a:gd name="connsiteX173" fmla="*/ 7032 w 10820"/>
                  <a:gd name="connsiteY173" fmla="*/ 8846 h 10000"/>
                  <a:gd name="connsiteX174" fmla="*/ 7037 w 10820"/>
                  <a:gd name="connsiteY174" fmla="*/ 8880 h 10000"/>
                  <a:gd name="connsiteX175" fmla="*/ 7037 w 10820"/>
                  <a:gd name="connsiteY175" fmla="*/ 8932 h 10000"/>
                  <a:gd name="connsiteX176" fmla="*/ 7005 w 10820"/>
                  <a:gd name="connsiteY176" fmla="*/ 8983 h 10000"/>
                  <a:gd name="connsiteX177" fmla="*/ 6977 w 10820"/>
                  <a:gd name="connsiteY177" fmla="*/ 9188 h 10000"/>
                  <a:gd name="connsiteX178" fmla="*/ 6935 w 10820"/>
                  <a:gd name="connsiteY178" fmla="*/ 9316 h 10000"/>
                  <a:gd name="connsiteX179" fmla="*/ 6931 w 10820"/>
                  <a:gd name="connsiteY179" fmla="*/ 9368 h 10000"/>
                  <a:gd name="connsiteX180" fmla="*/ 6917 w 10820"/>
                  <a:gd name="connsiteY180" fmla="*/ 9376 h 10000"/>
                  <a:gd name="connsiteX181" fmla="*/ 6912 w 10820"/>
                  <a:gd name="connsiteY181" fmla="*/ 9376 h 10000"/>
                  <a:gd name="connsiteX182" fmla="*/ 6848 w 10820"/>
                  <a:gd name="connsiteY182" fmla="*/ 9342 h 10000"/>
                  <a:gd name="connsiteX183" fmla="*/ 6788 w 10820"/>
                  <a:gd name="connsiteY183" fmla="*/ 9436 h 10000"/>
                  <a:gd name="connsiteX184" fmla="*/ 6802 w 10820"/>
                  <a:gd name="connsiteY184" fmla="*/ 9462 h 10000"/>
                  <a:gd name="connsiteX185" fmla="*/ 6811 w 10820"/>
                  <a:gd name="connsiteY185" fmla="*/ 9667 h 10000"/>
                  <a:gd name="connsiteX186" fmla="*/ 6788 w 10820"/>
                  <a:gd name="connsiteY186" fmla="*/ 9709 h 10000"/>
                  <a:gd name="connsiteX187" fmla="*/ 6765 w 10820"/>
                  <a:gd name="connsiteY187" fmla="*/ 9752 h 10000"/>
                  <a:gd name="connsiteX188" fmla="*/ 6765 w 10820"/>
                  <a:gd name="connsiteY188" fmla="*/ 9803 h 10000"/>
                  <a:gd name="connsiteX189" fmla="*/ 6770 w 10820"/>
                  <a:gd name="connsiteY189" fmla="*/ 9821 h 10000"/>
                  <a:gd name="connsiteX190" fmla="*/ 6779 w 10820"/>
                  <a:gd name="connsiteY190" fmla="*/ 9812 h 10000"/>
                  <a:gd name="connsiteX191" fmla="*/ 6779 w 10820"/>
                  <a:gd name="connsiteY191" fmla="*/ 9803 h 10000"/>
                  <a:gd name="connsiteX192" fmla="*/ 6770 w 10820"/>
                  <a:gd name="connsiteY192" fmla="*/ 9786 h 10000"/>
                  <a:gd name="connsiteX193" fmla="*/ 6811 w 10820"/>
                  <a:gd name="connsiteY193" fmla="*/ 9786 h 10000"/>
                  <a:gd name="connsiteX194" fmla="*/ 6816 w 10820"/>
                  <a:gd name="connsiteY194" fmla="*/ 9761 h 10000"/>
                  <a:gd name="connsiteX195" fmla="*/ 6825 w 10820"/>
                  <a:gd name="connsiteY195" fmla="*/ 9752 h 10000"/>
                  <a:gd name="connsiteX196" fmla="*/ 6825 w 10820"/>
                  <a:gd name="connsiteY196" fmla="*/ 9726 h 10000"/>
                  <a:gd name="connsiteX197" fmla="*/ 6843 w 10820"/>
                  <a:gd name="connsiteY197" fmla="*/ 9701 h 10000"/>
                  <a:gd name="connsiteX198" fmla="*/ 6848 w 10820"/>
                  <a:gd name="connsiteY198" fmla="*/ 9650 h 10000"/>
                  <a:gd name="connsiteX199" fmla="*/ 6848 w 10820"/>
                  <a:gd name="connsiteY199" fmla="*/ 9675 h 10000"/>
                  <a:gd name="connsiteX200" fmla="*/ 6862 w 10820"/>
                  <a:gd name="connsiteY200" fmla="*/ 9675 h 10000"/>
                  <a:gd name="connsiteX201" fmla="*/ 6857 w 10820"/>
                  <a:gd name="connsiteY201" fmla="*/ 9701 h 10000"/>
                  <a:gd name="connsiteX202" fmla="*/ 6857 w 10820"/>
                  <a:gd name="connsiteY202" fmla="*/ 9701 h 10000"/>
                  <a:gd name="connsiteX203" fmla="*/ 6876 w 10820"/>
                  <a:gd name="connsiteY203" fmla="*/ 9684 h 10000"/>
                  <a:gd name="connsiteX204" fmla="*/ 6885 w 10820"/>
                  <a:gd name="connsiteY204" fmla="*/ 9675 h 10000"/>
                  <a:gd name="connsiteX205" fmla="*/ 6876 w 10820"/>
                  <a:gd name="connsiteY205" fmla="*/ 9735 h 10000"/>
                  <a:gd name="connsiteX206" fmla="*/ 6885 w 10820"/>
                  <a:gd name="connsiteY206" fmla="*/ 9752 h 10000"/>
                  <a:gd name="connsiteX207" fmla="*/ 6903 w 10820"/>
                  <a:gd name="connsiteY207" fmla="*/ 9752 h 10000"/>
                  <a:gd name="connsiteX208" fmla="*/ 6917 w 10820"/>
                  <a:gd name="connsiteY208" fmla="*/ 9761 h 10000"/>
                  <a:gd name="connsiteX209" fmla="*/ 6917 w 10820"/>
                  <a:gd name="connsiteY209" fmla="*/ 9761 h 10000"/>
                  <a:gd name="connsiteX210" fmla="*/ 6922 w 10820"/>
                  <a:gd name="connsiteY210" fmla="*/ 9778 h 10000"/>
                  <a:gd name="connsiteX211" fmla="*/ 6945 w 10820"/>
                  <a:gd name="connsiteY211" fmla="*/ 9778 h 10000"/>
                  <a:gd name="connsiteX212" fmla="*/ 6972 w 10820"/>
                  <a:gd name="connsiteY212" fmla="*/ 9752 h 10000"/>
                  <a:gd name="connsiteX213" fmla="*/ 6977 w 10820"/>
                  <a:gd name="connsiteY213" fmla="*/ 9752 h 10000"/>
                  <a:gd name="connsiteX214" fmla="*/ 7069 w 10820"/>
                  <a:gd name="connsiteY214" fmla="*/ 9624 h 10000"/>
                  <a:gd name="connsiteX215" fmla="*/ 7097 w 10820"/>
                  <a:gd name="connsiteY215" fmla="*/ 9547 h 10000"/>
                  <a:gd name="connsiteX216" fmla="*/ 7106 w 10820"/>
                  <a:gd name="connsiteY216" fmla="*/ 9530 h 10000"/>
                  <a:gd name="connsiteX217" fmla="*/ 7124 w 10820"/>
                  <a:gd name="connsiteY217" fmla="*/ 9479 h 10000"/>
                  <a:gd name="connsiteX218" fmla="*/ 7138 w 10820"/>
                  <a:gd name="connsiteY218" fmla="*/ 9462 h 10000"/>
                  <a:gd name="connsiteX219" fmla="*/ 7378 w 10820"/>
                  <a:gd name="connsiteY219" fmla="*/ 8795 h 10000"/>
                  <a:gd name="connsiteX220" fmla="*/ 7392 w 10820"/>
                  <a:gd name="connsiteY220" fmla="*/ 8795 h 10000"/>
                  <a:gd name="connsiteX221" fmla="*/ 7401 w 10820"/>
                  <a:gd name="connsiteY221" fmla="*/ 8769 h 10000"/>
                  <a:gd name="connsiteX222" fmla="*/ 7406 w 10820"/>
                  <a:gd name="connsiteY222" fmla="*/ 8692 h 10000"/>
                  <a:gd name="connsiteX223" fmla="*/ 7406 w 10820"/>
                  <a:gd name="connsiteY223" fmla="*/ 8667 h 10000"/>
                  <a:gd name="connsiteX224" fmla="*/ 7419 w 10820"/>
                  <a:gd name="connsiteY224" fmla="*/ 8598 h 10000"/>
                  <a:gd name="connsiteX225" fmla="*/ 7419 w 10820"/>
                  <a:gd name="connsiteY225" fmla="*/ 8496 h 10000"/>
                  <a:gd name="connsiteX226" fmla="*/ 7424 w 10820"/>
                  <a:gd name="connsiteY226" fmla="*/ 8470 h 10000"/>
                  <a:gd name="connsiteX227" fmla="*/ 7424 w 10820"/>
                  <a:gd name="connsiteY227" fmla="*/ 8462 h 10000"/>
                  <a:gd name="connsiteX228" fmla="*/ 7419 w 10820"/>
                  <a:gd name="connsiteY228" fmla="*/ 8462 h 10000"/>
                  <a:gd name="connsiteX229" fmla="*/ 7410 w 10820"/>
                  <a:gd name="connsiteY229" fmla="*/ 8350 h 10000"/>
                  <a:gd name="connsiteX230" fmla="*/ 7419 w 10820"/>
                  <a:gd name="connsiteY230" fmla="*/ 8325 h 10000"/>
                  <a:gd name="connsiteX231" fmla="*/ 7424 w 10820"/>
                  <a:gd name="connsiteY231" fmla="*/ 8248 h 10000"/>
                  <a:gd name="connsiteX232" fmla="*/ 7433 w 10820"/>
                  <a:gd name="connsiteY232" fmla="*/ 8248 h 10000"/>
                  <a:gd name="connsiteX233" fmla="*/ 7433 w 10820"/>
                  <a:gd name="connsiteY233" fmla="*/ 8231 h 10000"/>
                  <a:gd name="connsiteX234" fmla="*/ 7433 w 10820"/>
                  <a:gd name="connsiteY234" fmla="*/ 8222 h 10000"/>
                  <a:gd name="connsiteX235" fmla="*/ 7433 w 10820"/>
                  <a:gd name="connsiteY235" fmla="*/ 8214 h 10000"/>
                  <a:gd name="connsiteX236" fmla="*/ 7447 w 10820"/>
                  <a:gd name="connsiteY236" fmla="*/ 8162 h 10000"/>
                  <a:gd name="connsiteX237" fmla="*/ 7461 w 10820"/>
                  <a:gd name="connsiteY237" fmla="*/ 8162 h 10000"/>
                  <a:gd name="connsiteX238" fmla="*/ 7475 w 10820"/>
                  <a:gd name="connsiteY238" fmla="*/ 8111 h 10000"/>
                  <a:gd name="connsiteX239" fmla="*/ 7475 w 10820"/>
                  <a:gd name="connsiteY239" fmla="*/ 8085 h 10000"/>
                  <a:gd name="connsiteX240" fmla="*/ 7479 w 10820"/>
                  <a:gd name="connsiteY240" fmla="*/ 8060 h 10000"/>
                  <a:gd name="connsiteX241" fmla="*/ 7452 w 10820"/>
                  <a:gd name="connsiteY241" fmla="*/ 8009 h 10000"/>
                  <a:gd name="connsiteX242" fmla="*/ 7465 w 10820"/>
                  <a:gd name="connsiteY242" fmla="*/ 7974 h 10000"/>
                  <a:gd name="connsiteX243" fmla="*/ 7452 w 10820"/>
                  <a:gd name="connsiteY243" fmla="*/ 7923 h 10000"/>
                  <a:gd name="connsiteX244" fmla="*/ 7433 w 10820"/>
                  <a:gd name="connsiteY244" fmla="*/ 7889 h 10000"/>
                  <a:gd name="connsiteX245" fmla="*/ 7419 w 10820"/>
                  <a:gd name="connsiteY245" fmla="*/ 7889 h 10000"/>
                  <a:gd name="connsiteX246" fmla="*/ 7401 w 10820"/>
                  <a:gd name="connsiteY246" fmla="*/ 7863 h 10000"/>
                  <a:gd name="connsiteX247" fmla="*/ 7387 w 10820"/>
                  <a:gd name="connsiteY247" fmla="*/ 7863 h 10000"/>
                  <a:gd name="connsiteX248" fmla="*/ 7373 w 10820"/>
                  <a:gd name="connsiteY248" fmla="*/ 7863 h 10000"/>
                  <a:gd name="connsiteX249" fmla="*/ 7387 w 10820"/>
                  <a:gd name="connsiteY249" fmla="*/ 7846 h 10000"/>
                  <a:gd name="connsiteX250" fmla="*/ 7401 w 10820"/>
                  <a:gd name="connsiteY250" fmla="*/ 7846 h 10000"/>
                  <a:gd name="connsiteX251" fmla="*/ 7410 w 10820"/>
                  <a:gd name="connsiteY251" fmla="*/ 7863 h 10000"/>
                  <a:gd name="connsiteX252" fmla="*/ 7424 w 10820"/>
                  <a:gd name="connsiteY252" fmla="*/ 7872 h 10000"/>
                  <a:gd name="connsiteX253" fmla="*/ 7433 w 10820"/>
                  <a:gd name="connsiteY253" fmla="*/ 7863 h 10000"/>
                  <a:gd name="connsiteX254" fmla="*/ 7461 w 10820"/>
                  <a:gd name="connsiteY254" fmla="*/ 7897 h 10000"/>
                  <a:gd name="connsiteX255" fmla="*/ 7465 w 10820"/>
                  <a:gd name="connsiteY255" fmla="*/ 7889 h 10000"/>
                  <a:gd name="connsiteX256" fmla="*/ 7475 w 10820"/>
                  <a:gd name="connsiteY256" fmla="*/ 7863 h 10000"/>
                  <a:gd name="connsiteX257" fmla="*/ 7475 w 10820"/>
                  <a:gd name="connsiteY257" fmla="*/ 7838 h 10000"/>
                  <a:gd name="connsiteX258" fmla="*/ 7465 w 10820"/>
                  <a:gd name="connsiteY258" fmla="*/ 7838 h 10000"/>
                  <a:gd name="connsiteX259" fmla="*/ 7406 w 10820"/>
                  <a:gd name="connsiteY259" fmla="*/ 7752 h 10000"/>
                  <a:gd name="connsiteX260" fmla="*/ 7401 w 10820"/>
                  <a:gd name="connsiteY260" fmla="*/ 7735 h 10000"/>
                  <a:gd name="connsiteX261" fmla="*/ 7401 w 10820"/>
                  <a:gd name="connsiteY261" fmla="*/ 7701 h 10000"/>
                  <a:gd name="connsiteX262" fmla="*/ 7378 w 10820"/>
                  <a:gd name="connsiteY262" fmla="*/ 7675 h 10000"/>
                  <a:gd name="connsiteX263" fmla="*/ 7373 w 10820"/>
                  <a:gd name="connsiteY263" fmla="*/ 7667 h 10000"/>
                  <a:gd name="connsiteX264" fmla="*/ 7364 w 10820"/>
                  <a:gd name="connsiteY264" fmla="*/ 7650 h 10000"/>
                  <a:gd name="connsiteX265" fmla="*/ 7364 w 10820"/>
                  <a:gd name="connsiteY265" fmla="*/ 7641 h 10000"/>
                  <a:gd name="connsiteX266" fmla="*/ 7350 w 10820"/>
                  <a:gd name="connsiteY266" fmla="*/ 7641 h 10000"/>
                  <a:gd name="connsiteX267" fmla="*/ 7336 w 10820"/>
                  <a:gd name="connsiteY267" fmla="*/ 7650 h 10000"/>
                  <a:gd name="connsiteX268" fmla="*/ 7327 w 10820"/>
                  <a:gd name="connsiteY268" fmla="*/ 7650 h 10000"/>
                  <a:gd name="connsiteX269" fmla="*/ 7300 w 10820"/>
                  <a:gd name="connsiteY269" fmla="*/ 7641 h 10000"/>
                  <a:gd name="connsiteX270" fmla="*/ 7300 w 10820"/>
                  <a:gd name="connsiteY270" fmla="*/ 7675 h 10000"/>
                  <a:gd name="connsiteX271" fmla="*/ 7300 w 10820"/>
                  <a:gd name="connsiteY271" fmla="*/ 7692 h 10000"/>
                  <a:gd name="connsiteX272" fmla="*/ 7286 w 10820"/>
                  <a:gd name="connsiteY272" fmla="*/ 7786 h 10000"/>
                  <a:gd name="connsiteX273" fmla="*/ 7272 w 10820"/>
                  <a:gd name="connsiteY273" fmla="*/ 7803 h 10000"/>
                  <a:gd name="connsiteX274" fmla="*/ 7276 w 10820"/>
                  <a:gd name="connsiteY274" fmla="*/ 7761 h 10000"/>
                  <a:gd name="connsiteX275" fmla="*/ 7286 w 10820"/>
                  <a:gd name="connsiteY275" fmla="*/ 7735 h 10000"/>
                  <a:gd name="connsiteX276" fmla="*/ 7276 w 10820"/>
                  <a:gd name="connsiteY276" fmla="*/ 7709 h 10000"/>
                  <a:gd name="connsiteX277" fmla="*/ 7258 w 10820"/>
                  <a:gd name="connsiteY277" fmla="*/ 7761 h 10000"/>
                  <a:gd name="connsiteX278" fmla="*/ 7217 w 10820"/>
                  <a:gd name="connsiteY278" fmla="*/ 7786 h 10000"/>
                  <a:gd name="connsiteX279" fmla="*/ 7203 w 10820"/>
                  <a:gd name="connsiteY279" fmla="*/ 7786 h 10000"/>
                  <a:gd name="connsiteX280" fmla="*/ 7198 w 10820"/>
                  <a:gd name="connsiteY280" fmla="*/ 7778 h 10000"/>
                  <a:gd name="connsiteX281" fmla="*/ 7212 w 10820"/>
                  <a:gd name="connsiteY281" fmla="*/ 7761 h 10000"/>
                  <a:gd name="connsiteX282" fmla="*/ 7230 w 10820"/>
                  <a:gd name="connsiteY282" fmla="*/ 7726 h 10000"/>
                  <a:gd name="connsiteX283" fmla="*/ 7226 w 10820"/>
                  <a:gd name="connsiteY283" fmla="*/ 7709 h 10000"/>
                  <a:gd name="connsiteX284" fmla="*/ 7212 w 10820"/>
                  <a:gd name="connsiteY284" fmla="*/ 7701 h 10000"/>
                  <a:gd name="connsiteX285" fmla="*/ 7203 w 10820"/>
                  <a:gd name="connsiteY285" fmla="*/ 7675 h 10000"/>
                  <a:gd name="connsiteX286" fmla="*/ 7217 w 10820"/>
                  <a:gd name="connsiteY286" fmla="*/ 7675 h 10000"/>
                  <a:gd name="connsiteX287" fmla="*/ 7226 w 10820"/>
                  <a:gd name="connsiteY287" fmla="*/ 7650 h 10000"/>
                  <a:gd name="connsiteX288" fmla="*/ 7226 w 10820"/>
                  <a:gd name="connsiteY288" fmla="*/ 7641 h 10000"/>
                  <a:gd name="connsiteX289" fmla="*/ 7203 w 10820"/>
                  <a:gd name="connsiteY289" fmla="*/ 7641 h 10000"/>
                  <a:gd name="connsiteX290" fmla="*/ 7198 w 10820"/>
                  <a:gd name="connsiteY290" fmla="*/ 7650 h 10000"/>
                  <a:gd name="connsiteX291" fmla="*/ 7194 w 10820"/>
                  <a:gd name="connsiteY291" fmla="*/ 7675 h 10000"/>
                  <a:gd name="connsiteX292" fmla="*/ 7198 w 10820"/>
                  <a:gd name="connsiteY292" fmla="*/ 7692 h 10000"/>
                  <a:gd name="connsiteX293" fmla="*/ 7198 w 10820"/>
                  <a:gd name="connsiteY293" fmla="*/ 7709 h 10000"/>
                  <a:gd name="connsiteX294" fmla="*/ 7184 w 10820"/>
                  <a:gd name="connsiteY294" fmla="*/ 7726 h 10000"/>
                  <a:gd name="connsiteX295" fmla="*/ 7180 w 10820"/>
                  <a:gd name="connsiteY295" fmla="*/ 7726 h 10000"/>
                  <a:gd name="connsiteX296" fmla="*/ 7171 w 10820"/>
                  <a:gd name="connsiteY296" fmla="*/ 7752 h 10000"/>
                  <a:gd name="connsiteX297" fmla="*/ 7166 w 10820"/>
                  <a:gd name="connsiteY297" fmla="*/ 7735 h 10000"/>
                  <a:gd name="connsiteX298" fmla="*/ 7171 w 10820"/>
                  <a:gd name="connsiteY298" fmla="*/ 7624 h 10000"/>
                  <a:gd name="connsiteX299" fmla="*/ 7171 w 10820"/>
                  <a:gd name="connsiteY299" fmla="*/ 7615 h 10000"/>
                  <a:gd name="connsiteX300" fmla="*/ 7171 w 10820"/>
                  <a:gd name="connsiteY300" fmla="*/ 7590 h 10000"/>
                  <a:gd name="connsiteX301" fmla="*/ 7166 w 10820"/>
                  <a:gd name="connsiteY301" fmla="*/ 7564 h 10000"/>
                  <a:gd name="connsiteX302" fmla="*/ 7157 w 10820"/>
                  <a:gd name="connsiteY302" fmla="*/ 7564 h 10000"/>
                  <a:gd name="connsiteX303" fmla="*/ 7097 w 10820"/>
                  <a:gd name="connsiteY303" fmla="*/ 7573 h 10000"/>
                  <a:gd name="connsiteX304" fmla="*/ 7065 w 10820"/>
                  <a:gd name="connsiteY304" fmla="*/ 7538 h 10000"/>
                  <a:gd name="connsiteX305" fmla="*/ 7069 w 10820"/>
                  <a:gd name="connsiteY305" fmla="*/ 7504 h 10000"/>
                  <a:gd name="connsiteX306" fmla="*/ 7106 w 10820"/>
                  <a:gd name="connsiteY306" fmla="*/ 7453 h 10000"/>
                  <a:gd name="connsiteX307" fmla="*/ 7111 w 10820"/>
                  <a:gd name="connsiteY307" fmla="*/ 7436 h 10000"/>
                  <a:gd name="connsiteX308" fmla="*/ 7138 w 10820"/>
                  <a:gd name="connsiteY308" fmla="*/ 7402 h 10000"/>
                  <a:gd name="connsiteX309" fmla="*/ 7143 w 10820"/>
                  <a:gd name="connsiteY309" fmla="*/ 7376 h 10000"/>
                  <a:gd name="connsiteX310" fmla="*/ 7152 w 10820"/>
                  <a:gd name="connsiteY310" fmla="*/ 7368 h 10000"/>
                  <a:gd name="connsiteX311" fmla="*/ 7157 w 10820"/>
                  <a:gd name="connsiteY311" fmla="*/ 7350 h 10000"/>
                  <a:gd name="connsiteX312" fmla="*/ 7230 w 10820"/>
                  <a:gd name="connsiteY312" fmla="*/ 7239 h 10000"/>
                  <a:gd name="connsiteX313" fmla="*/ 7240 w 10820"/>
                  <a:gd name="connsiteY313" fmla="*/ 7205 h 10000"/>
                  <a:gd name="connsiteX314" fmla="*/ 7253 w 10820"/>
                  <a:gd name="connsiteY314" fmla="*/ 7188 h 10000"/>
                  <a:gd name="connsiteX315" fmla="*/ 7258 w 10820"/>
                  <a:gd name="connsiteY315" fmla="*/ 7162 h 10000"/>
                  <a:gd name="connsiteX316" fmla="*/ 7258 w 10820"/>
                  <a:gd name="connsiteY316" fmla="*/ 7154 h 10000"/>
                  <a:gd name="connsiteX317" fmla="*/ 7272 w 10820"/>
                  <a:gd name="connsiteY317" fmla="*/ 7120 h 10000"/>
                  <a:gd name="connsiteX318" fmla="*/ 7276 w 10820"/>
                  <a:gd name="connsiteY318" fmla="*/ 7094 h 10000"/>
                  <a:gd name="connsiteX319" fmla="*/ 7286 w 10820"/>
                  <a:gd name="connsiteY319" fmla="*/ 7094 h 10000"/>
                  <a:gd name="connsiteX320" fmla="*/ 7290 w 10820"/>
                  <a:gd name="connsiteY320" fmla="*/ 7068 h 10000"/>
                  <a:gd name="connsiteX321" fmla="*/ 7332 w 10820"/>
                  <a:gd name="connsiteY321" fmla="*/ 6991 h 10000"/>
                  <a:gd name="connsiteX322" fmla="*/ 7336 w 10820"/>
                  <a:gd name="connsiteY322" fmla="*/ 6991 h 10000"/>
                  <a:gd name="connsiteX323" fmla="*/ 7364 w 10820"/>
                  <a:gd name="connsiteY323" fmla="*/ 6940 h 10000"/>
                  <a:gd name="connsiteX324" fmla="*/ 7373 w 10820"/>
                  <a:gd name="connsiteY324" fmla="*/ 6906 h 10000"/>
                  <a:gd name="connsiteX325" fmla="*/ 7378 w 10820"/>
                  <a:gd name="connsiteY325" fmla="*/ 6915 h 10000"/>
                  <a:gd name="connsiteX326" fmla="*/ 7406 w 10820"/>
                  <a:gd name="connsiteY326" fmla="*/ 6880 h 10000"/>
                  <a:gd name="connsiteX327" fmla="*/ 7410 w 10820"/>
                  <a:gd name="connsiteY327" fmla="*/ 6846 h 10000"/>
                  <a:gd name="connsiteX328" fmla="*/ 7419 w 10820"/>
                  <a:gd name="connsiteY328" fmla="*/ 6803 h 10000"/>
                  <a:gd name="connsiteX329" fmla="*/ 7585 w 10820"/>
                  <a:gd name="connsiteY329" fmla="*/ 6504 h 10000"/>
                  <a:gd name="connsiteX330" fmla="*/ 7765 w 10820"/>
                  <a:gd name="connsiteY330" fmla="*/ 6504 h 10000"/>
                  <a:gd name="connsiteX331" fmla="*/ 7765 w 10820"/>
                  <a:gd name="connsiteY331" fmla="*/ 6530 h 10000"/>
                  <a:gd name="connsiteX332" fmla="*/ 7774 w 10820"/>
                  <a:gd name="connsiteY332" fmla="*/ 6556 h 10000"/>
                  <a:gd name="connsiteX333" fmla="*/ 7779 w 10820"/>
                  <a:gd name="connsiteY333" fmla="*/ 6556 h 10000"/>
                  <a:gd name="connsiteX334" fmla="*/ 7793 w 10820"/>
                  <a:gd name="connsiteY334" fmla="*/ 6547 h 10000"/>
                  <a:gd name="connsiteX335" fmla="*/ 7793 w 10820"/>
                  <a:gd name="connsiteY335" fmla="*/ 6530 h 10000"/>
                  <a:gd name="connsiteX336" fmla="*/ 7802 w 10820"/>
                  <a:gd name="connsiteY336" fmla="*/ 6496 h 10000"/>
                  <a:gd name="connsiteX337" fmla="*/ 7806 w 10820"/>
                  <a:gd name="connsiteY337" fmla="*/ 6487 h 10000"/>
                  <a:gd name="connsiteX338" fmla="*/ 7876 w 10820"/>
                  <a:gd name="connsiteY338" fmla="*/ 6530 h 10000"/>
                  <a:gd name="connsiteX339" fmla="*/ 7894 w 10820"/>
                  <a:gd name="connsiteY339" fmla="*/ 6530 h 10000"/>
                  <a:gd name="connsiteX340" fmla="*/ 7894 w 10820"/>
                  <a:gd name="connsiteY340" fmla="*/ 6504 h 10000"/>
                  <a:gd name="connsiteX341" fmla="*/ 7899 w 10820"/>
                  <a:gd name="connsiteY341" fmla="*/ 6504 h 10000"/>
                  <a:gd name="connsiteX342" fmla="*/ 7926 w 10820"/>
                  <a:gd name="connsiteY342" fmla="*/ 6504 h 10000"/>
                  <a:gd name="connsiteX343" fmla="*/ 7940 w 10820"/>
                  <a:gd name="connsiteY343" fmla="*/ 6547 h 10000"/>
                  <a:gd name="connsiteX344" fmla="*/ 7949 w 10820"/>
                  <a:gd name="connsiteY344" fmla="*/ 6547 h 10000"/>
                  <a:gd name="connsiteX345" fmla="*/ 7963 w 10820"/>
                  <a:gd name="connsiteY345" fmla="*/ 6530 h 10000"/>
                  <a:gd name="connsiteX346" fmla="*/ 7963 w 10820"/>
                  <a:gd name="connsiteY346" fmla="*/ 6504 h 10000"/>
                  <a:gd name="connsiteX347" fmla="*/ 7963 w 10820"/>
                  <a:gd name="connsiteY347" fmla="*/ 6504 h 10000"/>
                  <a:gd name="connsiteX348" fmla="*/ 7954 w 10820"/>
                  <a:gd name="connsiteY348" fmla="*/ 6496 h 10000"/>
                  <a:gd name="connsiteX349" fmla="*/ 7963 w 10820"/>
                  <a:gd name="connsiteY349" fmla="*/ 6487 h 10000"/>
                  <a:gd name="connsiteX350" fmla="*/ 7982 w 10820"/>
                  <a:gd name="connsiteY350" fmla="*/ 6487 h 10000"/>
                  <a:gd name="connsiteX351" fmla="*/ 7982 w 10820"/>
                  <a:gd name="connsiteY351" fmla="*/ 6470 h 10000"/>
                  <a:gd name="connsiteX352" fmla="*/ 7972 w 10820"/>
                  <a:gd name="connsiteY352" fmla="*/ 6462 h 10000"/>
                  <a:gd name="connsiteX353" fmla="*/ 7972 w 10820"/>
                  <a:gd name="connsiteY353" fmla="*/ 6436 h 10000"/>
                  <a:gd name="connsiteX354" fmla="*/ 7986 w 10820"/>
                  <a:gd name="connsiteY354" fmla="*/ 6419 h 10000"/>
                  <a:gd name="connsiteX355" fmla="*/ 8000 w 10820"/>
                  <a:gd name="connsiteY355" fmla="*/ 6419 h 10000"/>
                  <a:gd name="connsiteX356" fmla="*/ 8055 w 10820"/>
                  <a:gd name="connsiteY356" fmla="*/ 6462 h 10000"/>
                  <a:gd name="connsiteX357" fmla="*/ 8069 w 10820"/>
                  <a:gd name="connsiteY357" fmla="*/ 6444 h 10000"/>
                  <a:gd name="connsiteX358" fmla="*/ 8083 w 10820"/>
                  <a:gd name="connsiteY358" fmla="*/ 6470 h 10000"/>
                  <a:gd name="connsiteX359" fmla="*/ 8083 w 10820"/>
                  <a:gd name="connsiteY359" fmla="*/ 6487 h 10000"/>
                  <a:gd name="connsiteX360" fmla="*/ 8097 w 10820"/>
                  <a:gd name="connsiteY360" fmla="*/ 6487 h 10000"/>
                  <a:gd name="connsiteX361" fmla="*/ 8101 w 10820"/>
                  <a:gd name="connsiteY361" fmla="*/ 6462 h 10000"/>
                  <a:gd name="connsiteX362" fmla="*/ 8115 w 10820"/>
                  <a:gd name="connsiteY362" fmla="*/ 6462 h 10000"/>
                  <a:gd name="connsiteX363" fmla="*/ 8129 w 10820"/>
                  <a:gd name="connsiteY363" fmla="*/ 6462 h 10000"/>
                  <a:gd name="connsiteX364" fmla="*/ 8157 w 10820"/>
                  <a:gd name="connsiteY364" fmla="*/ 6496 h 10000"/>
                  <a:gd name="connsiteX365" fmla="*/ 8157 w 10820"/>
                  <a:gd name="connsiteY365" fmla="*/ 6521 h 10000"/>
                  <a:gd name="connsiteX366" fmla="*/ 8180 w 10820"/>
                  <a:gd name="connsiteY366" fmla="*/ 6530 h 10000"/>
                  <a:gd name="connsiteX367" fmla="*/ 8180 w 10820"/>
                  <a:gd name="connsiteY367" fmla="*/ 6547 h 10000"/>
                  <a:gd name="connsiteX368" fmla="*/ 8171 w 10820"/>
                  <a:gd name="connsiteY368" fmla="*/ 6556 h 10000"/>
                  <a:gd name="connsiteX369" fmla="*/ 8129 w 10820"/>
                  <a:gd name="connsiteY369" fmla="*/ 6556 h 10000"/>
                  <a:gd name="connsiteX370" fmla="*/ 8106 w 10820"/>
                  <a:gd name="connsiteY370" fmla="*/ 6573 h 10000"/>
                  <a:gd name="connsiteX371" fmla="*/ 8115 w 10820"/>
                  <a:gd name="connsiteY371" fmla="*/ 6581 h 10000"/>
                  <a:gd name="connsiteX372" fmla="*/ 8129 w 10820"/>
                  <a:gd name="connsiteY372" fmla="*/ 6632 h 10000"/>
                  <a:gd name="connsiteX373" fmla="*/ 8171 w 10820"/>
                  <a:gd name="connsiteY373" fmla="*/ 6632 h 10000"/>
                  <a:gd name="connsiteX374" fmla="*/ 8180 w 10820"/>
                  <a:gd name="connsiteY374" fmla="*/ 6624 h 10000"/>
                  <a:gd name="connsiteX375" fmla="*/ 8189 w 10820"/>
                  <a:gd name="connsiteY375" fmla="*/ 6598 h 10000"/>
                  <a:gd name="connsiteX376" fmla="*/ 8203 w 10820"/>
                  <a:gd name="connsiteY376" fmla="*/ 6581 h 10000"/>
                  <a:gd name="connsiteX377" fmla="*/ 8207 w 10820"/>
                  <a:gd name="connsiteY377" fmla="*/ 6607 h 10000"/>
                  <a:gd name="connsiteX378" fmla="*/ 8221 w 10820"/>
                  <a:gd name="connsiteY378" fmla="*/ 6624 h 10000"/>
                  <a:gd name="connsiteX379" fmla="*/ 8235 w 10820"/>
                  <a:gd name="connsiteY379" fmla="*/ 6607 h 10000"/>
                  <a:gd name="connsiteX380" fmla="*/ 8240 w 10820"/>
                  <a:gd name="connsiteY380" fmla="*/ 6581 h 10000"/>
                  <a:gd name="connsiteX381" fmla="*/ 8253 w 10820"/>
                  <a:gd name="connsiteY381" fmla="*/ 6573 h 10000"/>
                  <a:gd name="connsiteX382" fmla="*/ 8263 w 10820"/>
                  <a:gd name="connsiteY382" fmla="*/ 6556 h 10000"/>
                  <a:gd name="connsiteX383" fmla="*/ 8276 w 10820"/>
                  <a:gd name="connsiteY383" fmla="*/ 6547 h 10000"/>
                  <a:gd name="connsiteX384" fmla="*/ 8290 w 10820"/>
                  <a:gd name="connsiteY384" fmla="*/ 6556 h 10000"/>
                  <a:gd name="connsiteX385" fmla="*/ 8304 w 10820"/>
                  <a:gd name="connsiteY385" fmla="*/ 6581 h 10000"/>
                  <a:gd name="connsiteX386" fmla="*/ 8309 w 10820"/>
                  <a:gd name="connsiteY386" fmla="*/ 6581 h 10000"/>
                  <a:gd name="connsiteX387" fmla="*/ 8327 w 10820"/>
                  <a:gd name="connsiteY387" fmla="*/ 6573 h 10000"/>
                  <a:gd name="connsiteX388" fmla="*/ 8327 w 10820"/>
                  <a:gd name="connsiteY388" fmla="*/ 6556 h 10000"/>
                  <a:gd name="connsiteX389" fmla="*/ 8350 w 10820"/>
                  <a:gd name="connsiteY389" fmla="*/ 6556 h 10000"/>
                  <a:gd name="connsiteX390" fmla="*/ 8355 w 10820"/>
                  <a:gd name="connsiteY390" fmla="*/ 6573 h 10000"/>
                  <a:gd name="connsiteX391" fmla="*/ 8364 w 10820"/>
                  <a:gd name="connsiteY391" fmla="*/ 6556 h 10000"/>
                  <a:gd name="connsiteX392" fmla="*/ 8369 w 10820"/>
                  <a:gd name="connsiteY392" fmla="*/ 6556 h 10000"/>
                  <a:gd name="connsiteX393" fmla="*/ 8378 w 10820"/>
                  <a:gd name="connsiteY393" fmla="*/ 6530 h 10000"/>
                  <a:gd name="connsiteX394" fmla="*/ 8369 w 10820"/>
                  <a:gd name="connsiteY394" fmla="*/ 6504 h 10000"/>
                  <a:gd name="connsiteX395" fmla="*/ 8364 w 10820"/>
                  <a:gd name="connsiteY395" fmla="*/ 6496 h 10000"/>
                  <a:gd name="connsiteX396" fmla="*/ 8336 w 10820"/>
                  <a:gd name="connsiteY396" fmla="*/ 6470 h 10000"/>
                  <a:gd name="connsiteX397" fmla="*/ 8309 w 10820"/>
                  <a:gd name="connsiteY397" fmla="*/ 6487 h 10000"/>
                  <a:gd name="connsiteX398" fmla="*/ 8313 w 10820"/>
                  <a:gd name="connsiteY398" fmla="*/ 6462 h 10000"/>
                  <a:gd name="connsiteX399" fmla="*/ 8323 w 10820"/>
                  <a:gd name="connsiteY399" fmla="*/ 6444 h 10000"/>
                  <a:gd name="connsiteX400" fmla="*/ 8309 w 10820"/>
                  <a:gd name="connsiteY400" fmla="*/ 6393 h 10000"/>
                  <a:gd name="connsiteX401" fmla="*/ 8313 w 10820"/>
                  <a:gd name="connsiteY401" fmla="*/ 6385 h 10000"/>
                  <a:gd name="connsiteX402" fmla="*/ 8323 w 10820"/>
                  <a:gd name="connsiteY402" fmla="*/ 6393 h 10000"/>
                  <a:gd name="connsiteX403" fmla="*/ 8323 w 10820"/>
                  <a:gd name="connsiteY403" fmla="*/ 6393 h 10000"/>
                  <a:gd name="connsiteX404" fmla="*/ 8355 w 10820"/>
                  <a:gd name="connsiteY404" fmla="*/ 6282 h 10000"/>
                  <a:gd name="connsiteX405" fmla="*/ 8369 w 10820"/>
                  <a:gd name="connsiteY405" fmla="*/ 6256 h 10000"/>
                  <a:gd name="connsiteX406" fmla="*/ 8382 w 10820"/>
                  <a:gd name="connsiteY406" fmla="*/ 6248 h 10000"/>
                  <a:gd name="connsiteX407" fmla="*/ 8424 w 10820"/>
                  <a:gd name="connsiteY407" fmla="*/ 6162 h 10000"/>
                  <a:gd name="connsiteX408" fmla="*/ 8429 w 10820"/>
                  <a:gd name="connsiteY408" fmla="*/ 6145 h 10000"/>
                  <a:gd name="connsiteX409" fmla="*/ 8470 w 10820"/>
                  <a:gd name="connsiteY409" fmla="*/ 6051 h 10000"/>
                  <a:gd name="connsiteX410" fmla="*/ 8475 w 10820"/>
                  <a:gd name="connsiteY410" fmla="*/ 5983 h 10000"/>
                  <a:gd name="connsiteX411" fmla="*/ 8512 w 10820"/>
                  <a:gd name="connsiteY411" fmla="*/ 5940 h 10000"/>
                  <a:gd name="connsiteX412" fmla="*/ 8521 w 10820"/>
                  <a:gd name="connsiteY412" fmla="*/ 5923 h 10000"/>
                  <a:gd name="connsiteX413" fmla="*/ 8535 w 10820"/>
                  <a:gd name="connsiteY413" fmla="*/ 5915 h 10000"/>
                  <a:gd name="connsiteX414" fmla="*/ 8562 w 10820"/>
                  <a:gd name="connsiteY414" fmla="*/ 5915 h 10000"/>
                  <a:gd name="connsiteX415" fmla="*/ 8618 w 10820"/>
                  <a:gd name="connsiteY415" fmla="*/ 5889 h 10000"/>
                  <a:gd name="connsiteX416" fmla="*/ 8622 w 10820"/>
                  <a:gd name="connsiteY416" fmla="*/ 5889 h 10000"/>
                  <a:gd name="connsiteX417" fmla="*/ 8622 w 10820"/>
                  <a:gd name="connsiteY417" fmla="*/ 5872 h 10000"/>
                  <a:gd name="connsiteX418" fmla="*/ 8636 w 10820"/>
                  <a:gd name="connsiteY418" fmla="*/ 5872 h 10000"/>
                  <a:gd name="connsiteX419" fmla="*/ 8650 w 10820"/>
                  <a:gd name="connsiteY419" fmla="*/ 5889 h 10000"/>
                  <a:gd name="connsiteX420" fmla="*/ 8659 w 10820"/>
                  <a:gd name="connsiteY420" fmla="*/ 5915 h 10000"/>
                  <a:gd name="connsiteX421" fmla="*/ 8664 w 10820"/>
                  <a:gd name="connsiteY421" fmla="*/ 5940 h 10000"/>
                  <a:gd name="connsiteX422" fmla="*/ 8682 w 10820"/>
                  <a:gd name="connsiteY422" fmla="*/ 5923 h 10000"/>
                  <a:gd name="connsiteX423" fmla="*/ 8719 w 10820"/>
                  <a:gd name="connsiteY423" fmla="*/ 5863 h 10000"/>
                  <a:gd name="connsiteX424" fmla="*/ 8705 w 10820"/>
                  <a:gd name="connsiteY424" fmla="*/ 5966 h 10000"/>
                  <a:gd name="connsiteX425" fmla="*/ 8696 w 10820"/>
                  <a:gd name="connsiteY425" fmla="*/ 5983 h 10000"/>
                  <a:gd name="connsiteX426" fmla="*/ 8682 w 10820"/>
                  <a:gd name="connsiteY426" fmla="*/ 6026 h 10000"/>
                  <a:gd name="connsiteX427" fmla="*/ 8682 w 10820"/>
                  <a:gd name="connsiteY427" fmla="*/ 6051 h 10000"/>
                  <a:gd name="connsiteX428" fmla="*/ 8691 w 10820"/>
                  <a:gd name="connsiteY428" fmla="*/ 6077 h 10000"/>
                  <a:gd name="connsiteX429" fmla="*/ 8691 w 10820"/>
                  <a:gd name="connsiteY429" fmla="*/ 6085 h 10000"/>
                  <a:gd name="connsiteX430" fmla="*/ 8682 w 10820"/>
                  <a:gd name="connsiteY430" fmla="*/ 6103 h 10000"/>
                  <a:gd name="connsiteX431" fmla="*/ 8682 w 10820"/>
                  <a:gd name="connsiteY431" fmla="*/ 6111 h 10000"/>
                  <a:gd name="connsiteX432" fmla="*/ 8691 w 10820"/>
                  <a:gd name="connsiteY432" fmla="*/ 6120 h 10000"/>
                  <a:gd name="connsiteX433" fmla="*/ 8719 w 10820"/>
                  <a:gd name="connsiteY433" fmla="*/ 6103 h 10000"/>
                  <a:gd name="connsiteX434" fmla="*/ 8705 w 10820"/>
                  <a:gd name="connsiteY434" fmla="*/ 6188 h 10000"/>
                  <a:gd name="connsiteX435" fmla="*/ 8705 w 10820"/>
                  <a:gd name="connsiteY435" fmla="*/ 6214 h 10000"/>
                  <a:gd name="connsiteX436" fmla="*/ 8710 w 10820"/>
                  <a:gd name="connsiteY436" fmla="*/ 6197 h 10000"/>
                  <a:gd name="connsiteX437" fmla="*/ 8728 w 10820"/>
                  <a:gd name="connsiteY437" fmla="*/ 6171 h 10000"/>
                  <a:gd name="connsiteX438" fmla="*/ 8737 w 10820"/>
                  <a:gd name="connsiteY438" fmla="*/ 6171 h 10000"/>
                  <a:gd name="connsiteX439" fmla="*/ 8843 w 10820"/>
                  <a:gd name="connsiteY439" fmla="*/ 5949 h 10000"/>
                  <a:gd name="connsiteX440" fmla="*/ 8866 w 10820"/>
                  <a:gd name="connsiteY440" fmla="*/ 5949 h 10000"/>
                  <a:gd name="connsiteX441" fmla="*/ 8871 w 10820"/>
                  <a:gd name="connsiteY441" fmla="*/ 5940 h 10000"/>
                  <a:gd name="connsiteX442" fmla="*/ 8876 w 10820"/>
                  <a:gd name="connsiteY442" fmla="*/ 5923 h 10000"/>
                  <a:gd name="connsiteX443" fmla="*/ 8885 w 10820"/>
                  <a:gd name="connsiteY443" fmla="*/ 5940 h 10000"/>
                  <a:gd name="connsiteX444" fmla="*/ 8885 w 10820"/>
                  <a:gd name="connsiteY444" fmla="*/ 5949 h 10000"/>
                  <a:gd name="connsiteX445" fmla="*/ 8885 w 10820"/>
                  <a:gd name="connsiteY445" fmla="*/ 5974 h 10000"/>
                  <a:gd name="connsiteX446" fmla="*/ 8889 w 10820"/>
                  <a:gd name="connsiteY446" fmla="*/ 5974 h 10000"/>
                  <a:gd name="connsiteX447" fmla="*/ 8903 w 10820"/>
                  <a:gd name="connsiteY447" fmla="*/ 5923 h 10000"/>
                  <a:gd name="connsiteX448" fmla="*/ 8889 w 10820"/>
                  <a:gd name="connsiteY448" fmla="*/ 5923 h 10000"/>
                  <a:gd name="connsiteX449" fmla="*/ 8889 w 10820"/>
                  <a:gd name="connsiteY449" fmla="*/ 5897 h 10000"/>
                  <a:gd name="connsiteX450" fmla="*/ 8899 w 10820"/>
                  <a:gd name="connsiteY450" fmla="*/ 5838 h 10000"/>
                  <a:gd name="connsiteX451" fmla="*/ 8889 w 10820"/>
                  <a:gd name="connsiteY451" fmla="*/ 5812 h 10000"/>
                  <a:gd name="connsiteX452" fmla="*/ 8903 w 10820"/>
                  <a:gd name="connsiteY452" fmla="*/ 5778 h 10000"/>
                  <a:gd name="connsiteX453" fmla="*/ 8903 w 10820"/>
                  <a:gd name="connsiteY453" fmla="*/ 5761 h 10000"/>
                  <a:gd name="connsiteX454" fmla="*/ 8912 w 10820"/>
                  <a:gd name="connsiteY454" fmla="*/ 5735 h 10000"/>
                  <a:gd name="connsiteX455" fmla="*/ 8931 w 10820"/>
                  <a:gd name="connsiteY455" fmla="*/ 5701 h 10000"/>
                  <a:gd name="connsiteX456" fmla="*/ 8977 w 10820"/>
                  <a:gd name="connsiteY456" fmla="*/ 5675 h 10000"/>
                  <a:gd name="connsiteX457" fmla="*/ 9000 w 10820"/>
                  <a:gd name="connsiteY457" fmla="*/ 5675 h 10000"/>
                  <a:gd name="connsiteX458" fmla="*/ 9018 w 10820"/>
                  <a:gd name="connsiteY458" fmla="*/ 5709 h 10000"/>
                  <a:gd name="connsiteX459" fmla="*/ 9009 w 10820"/>
                  <a:gd name="connsiteY459" fmla="*/ 5735 h 10000"/>
                  <a:gd name="connsiteX460" fmla="*/ 9000 w 10820"/>
                  <a:gd name="connsiteY460" fmla="*/ 5735 h 10000"/>
                  <a:gd name="connsiteX461" fmla="*/ 8963 w 10820"/>
                  <a:gd name="connsiteY461" fmla="*/ 5786 h 10000"/>
                  <a:gd name="connsiteX462" fmla="*/ 8949 w 10820"/>
                  <a:gd name="connsiteY462" fmla="*/ 5940 h 10000"/>
                  <a:gd name="connsiteX463" fmla="*/ 8945 w 10820"/>
                  <a:gd name="connsiteY463" fmla="*/ 5966 h 10000"/>
                  <a:gd name="connsiteX464" fmla="*/ 8945 w 10820"/>
                  <a:gd name="connsiteY464" fmla="*/ 6000 h 10000"/>
                  <a:gd name="connsiteX465" fmla="*/ 8945 w 10820"/>
                  <a:gd name="connsiteY465" fmla="*/ 6009 h 10000"/>
                  <a:gd name="connsiteX466" fmla="*/ 8945 w 10820"/>
                  <a:gd name="connsiteY466" fmla="*/ 6034 h 10000"/>
                  <a:gd name="connsiteX467" fmla="*/ 8931 w 10820"/>
                  <a:gd name="connsiteY467" fmla="*/ 6060 h 10000"/>
                  <a:gd name="connsiteX468" fmla="*/ 8926 w 10820"/>
                  <a:gd name="connsiteY468" fmla="*/ 6077 h 10000"/>
                  <a:gd name="connsiteX469" fmla="*/ 8926 w 10820"/>
                  <a:gd name="connsiteY469" fmla="*/ 6111 h 10000"/>
                  <a:gd name="connsiteX470" fmla="*/ 8931 w 10820"/>
                  <a:gd name="connsiteY470" fmla="*/ 6120 h 10000"/>
                  <a:gd name="connsiteX471" fmla="*/ 8931 w 10820"/>
                  <a:gd name="connsiteY471" fmla="*/ 6137 h 10000"/>
                  <a:gd name="connsiteX472" fmla="*/ 8912 w 10820"/>
                  <a:gd name="connsiteY472" fmla="*/ 6171 h 10000"/>
                  <a:gd name="connsiteX473" fmla="*/ 8899 w 10820"/>
                  <a:gd name="connsiteY473" fmla="*/ 6162 h 10000"/>
                  <a:gd name="connsiteX474" fmla="*/ 8885 w 10820"/>
                  <a:gd name="connsiteY474" fmla="*/ 6171 h 10000"/>
                  <a:gd name="connsiteX475" fmla="*/ 8866 w 10820"/>
                  <a:gd name="connsiteY475" fmla="*/ 6214 h 10000"/>
                  <a:gd name="connsiteX476" fmla="*/ 8853 w 10820"/>
                  <a:gd name="connsiteY476" fmla="*/ 6214 h 10000"/>
                  <a:gd name="connsiteX477" fmla="*/ 8816 w 10820"/>
                  <a:gd name="connsiteY477" fmla="*/ 6248 h 10000"/>
                  <a:gd name="connsiteX478" fmla="*/ 8816 w 10820"/>
                  <a:gd name="connsiteY478" fmla="*/ 6248 h 10000"/>
                  <a:gd name="connsiteX479" fmla="*/ 8816 w 10820"/>
                  <a:gd name="connsiteY479" fmla="*/ 6282 h 10000"/>
                  <a:gd name="connsiteX480" fmla="*/ 8811 w 10820"/>
                  <a:gd name="connsiteY480" fmla="*/ 6308 h 10000"/>
                  <a:gd name="connsiteX481" fmla="*/ 8751 w 10820"/>
                  <a:gd name="connsiteY481" fmla="*/ 6436 h 10000"/>
                  <a:gd name="connsiteX482" fmla="*/ 8724 w 10820"/>
                  <a:gd name="connsiteY482" fmla="*/ 6470 h 10000"/>
                  <a:gd name="connsiteX483" fmla="*/ 8710 w 10820"/>
                  <a:gd name="connsiteY483" fmla="*/ 6504 h 10000"/>
                  <a:gd name="connsiteX484" fmla="*/ 8705 w 10820"/>
                  <a:gd name="connsiteY484" fmla="*/ 6521 h 10000"/>
                  <a:gd name="connsiteX485" fmla="*/ 8677 w 10820"/>
                  <a:gd name="connsiteY485" fmla="*/ 6573 h 10000"/>
                  <a:gd name="connsiteX486" fmla="*/ 8677 w 10820"/>
                  <a:gd name="connsiteY486" fmla="*/ 6624 h 10000"/>
                  <a:gd name="connsiteX487" fmla="*/ 8590 w 10820"/>
                  <a:gd name="connsiteY487" fmla="*/ 6803 h 10000"/>
                  <a:gd name="connsiteX488" fmla="*/ 8562 w 10820"/>
                  <a:gd name="connsiteY488" fmla="*/ 6829 h 10000"/>
                  <a:gd name="connsiteX489" fmla="*/ 8544 w 10820"/>
                  <a:gd name="connsiteY489" fmla="*/ 6829 h 10000"/>
                  <a:gd name="connsiteX490" fmla="*/ 8521 w 10820"/>
                  <a:gd name="connsiteY490" fmla="*/ 6880 h 10000"/>
                  <a:gd name="connsiteX491" fmla="*/ 8498 w 10820"/>
                  <a:gd name="connsiteY491" fmla="*/ 6872 h 10000"/>
                  <a:gd name="connsiteX492" fmla="*/ 8488 w 10820"/>
                  <a:gd name="connsiteY492" fmla="*/ 6872 h 10000"/>
                  <a:gd name="connsiteX493" fmla="*/ 8498 w 10820"/>
                  <a:gd name="connsiteY493" fmla="*/ 6940 h 10000"/>
                  <a:gd name="connsiteX494" fmla="*/ 8484 w 10820"/>
                  <a:gd name="connsiteY494" fmla="*/ 7026 h 10000"/>
                  <a:gd name="connsiteX495" fmla="*/ 8429 w 10820"/>
                  <a:gd name="connsiteY495" fmla="*/ 7094 h 10000"/>
                  <a:gd name="connsiteX496" fmla="*/ 8401 w 10820"/>
                  <a:gd name="connsiteY496" fmla="*/ 7291 h 10000"/>
                  <a:gd name="connsiteX497" fmla="*/ 8424 w 10820"/>
                  <a:gd name="connsiteY497" fmla="*/ 7692 h 10000"/>
                  <a:gd name="connsiteX498" fmla="*/ 8424 w 10820"/>
                  <a:gd name="connsiteY498" fmla="*/ 7701 h 10000"/>
                  <a:gd name="connsiteX499" fmla="*/ 8484 w 10820"/>
                  <a:gd name="connsiteY499" fmla="*/ 8308 h 10000"/>
                  <a:gd name="connsiteX500" fmla="*/ 8576 w 10820"/>
                  <a:gd name="connsiteY500" fmla="*/ 8120 h 10000"/>
                  <a:gd name="connsiteX501" fmla="*/ 8590 w 10820"/>
                  <a:gd name="connsiteY501" fmla="*/ 8026 h 10000"/>
                  <a:gd name="connsiteX502" fmla="*/ 8590 w 10820"/>
                  <a:gd name="connsiteY502" fmla="*/ 7983 h 10000"/>
                  <a:gd name="connsiteX503" fmla="*/ 8594 w 10820"/>
                  <a:gd name="connsiteY503" fmla="*/ 7974 h 10000"/>
                  <a:gd name="connsiteX504" fmla="*/ 8594 w 10820"/>
                  <a:gd name="connsiteY504" fmla="*/ 7940 h 10000"/>
                  <a:gd name="connsiteX505" fmla="*/ 8594 w 10820"/>
                  <a:gd name="connsiteY505" fmla="*/ 7923 h 10000"/>
                  <a:gd name="connsiteX506" fmla="*/ 8594 w 10820"/>
                  <a:gd name="connsiteY506" fmla="*/ 7915 h 10000"/>
                  <a:gd name="connsiteX507" fmla="*/ 8604 w 10820"/>
                  <a:gd name="connsiteY507" fmla="*/ 7915 h 10000"/>
                  <a:gd name="connsiteX508" fmla="*/ 8608 w 10820"/>
                  <a:gd name="connsiteY508" fmla="*/ 7923 h 10000"/>
                  <a:gd name="connsiteX509" fmla="*/ 8645 w 10820"/>
                  <a:gd name="connsiteY509" fmla="*/ 7872 h 10000"/>
                  <a:gd name="connsiteX510" fmla="*/ 8668 w 10820"/>
                  <a:gd name="connsiteY510" fmla="*/ 7846 h 10000"/>
                  <a:gd name="connsiteX511" fmla="*/ 8691 w 10820"/>
                  <a:gd name="connsiteY511" fmla="*/ 7863 h 10000"/>
                  <a:gd name="connsiteX512" fmla="*/ 8691 w 10820"/>
                  <a:gd name="connsiteY512" fmla="*/ 7846 h 10000"/>
                  <a:gd name="connsiteX513" fmla="*/ 8682 w 10820"/>
                  <a:gd name="connsiteY513" fmla="*/ 7838 h 10000"/>
                  <a:gd name="connsiteX514" fmla="*/ 8682 w 10820"/>
                  <a:gd name="connsiteY514" fmla="*/ 7692 h 10000"/>
                  <a:gd name="connsiteX515" fmla="*/ 8728 w 10820"/>
                  <a:gd name="connsiteY515" fmla="*/ 7598 h 10000"/>
                  <a:gd name="connsiteX516" fmla="*/ 8751 w 10820"/>
                  <a:gd name="connsiteY516" fmla="*/ 7573 h 10000"/>
                  <a:gd name="connsiteX517" fmla="*/ 8770 w 10820"/>
                  <a:gd name="connsiteY517" fmla="*/ 7573 h 10000"/>
                  <a:gd name="connsiteX518" fmla="*/ 8779 w 10820"/>
                  <a:gd name="connsiteY518" fmla="*/ 7590 h 10000"/>
                  <a:gd name="connsiteX519" fmla="*/ 8793 w 10820"/>
                  <a:gd name="connsiteY519" fmla="*/ 7590 h 10000"/>
                  <a:gd name="connsiteX520" fmla="*/ 8811 w 10820"/>
                  <a:gd name="connsiteY520" fmla="*/ 7590 h 10000"/>
                  <a:gd name="connsiteX521" fmla="*/ 8825 w 10820"/>
                  <a:gd name="connsiteY521" fmla="*/ 7556 h 10000"/>
                  <a:gd name="connsiteX522" fmla="*/ 8829 w 10820"/>
                  <a:gd name="connsiteY522" fmla="*/ 7530 h 10000"/>
                  <a:gd name="connsiteX523" fmla="*/ 8802 w 10820"/>
                  <a:gd name="connsiteY523" fmla="*/ 7462 h 10000"/>
                  <a:gd name="connsiteX524" fmla="*/ 8797 w 10820"/>
                  <a:gd name="connsiteY524" fmla="*/ 7402 h 10000"/>
                  <a:gd name="connsiteX525" fmla="*/ 8816 w 10820"/>
                  <a:gd name="connsiteY525" fmla="*/ 7291 h 10000"/>
                  <a:gd name="connsiteX526" fmla="*/ 8825 w 10820"/>
                  <a:gd name="connsiteY526" fmla="*/ 7256 h 10000"/>
                  <a:gd name="connsiteX527" fmla="*/ 8843 w 10820"/>
                  <a:gd name="connsiteY527" fmla="*/ 7231 h 10000"/>
                  <a:gd name="connsiteX528" fmla="*/ 8839 w 10820"/>
                  <a:gd name="connsiteY528" fmla="*/ 7205 h 10000"/>
                  <a:gd name="connsiteX529" fmla="*/ 8839 w 10820"/>
                  <a:gd name="connsiteY529" fmla="*/ 7188 h 10000"/>
                  <a:gd name="connsiteX530" fmla="*/ 8876 w 10820"/>
                  <a:gd name="connsiteY530" fmla="*/ 7162 h 10000"/>
                  <a:gd name="connsiteX531" fmla="*/ 8885 w 10820"/>
                  <a:gd name="connsiteY531" fmla="*/ 7154 h 10000"/>
                  <a:gd name="connsiteX532" fmla="*/ 8885 w 10820"/>
                  <a:gd name="connsiteY532" fmla="*/ 7162 h 10000"/>
                  <a:gd name="connsiteX533" fmla="*/ 8876 w 10820"/>
                  <a:gd name="connsiteY533" fmla="*/ 7188 h 10000"/>
                  <a:gd name="connsiteX534" fmla="*/ 8871 w 10820"/>
                  <a:gd name="connsiteY534" fmla="*/ 7205 h 10000"/>
                  <a:gd name="connsiteX535" fmla="*/ 8866 w 10820"/>
                  <a:gd name="connsiteY535" fmla="*/ 7214 h 10000"/>
                  <a:gd name="connsiteX536" fmla="*/ 8876 w 10820"/>
                  <a:gd name="connsiteY536" fmla="*/ 7265 h 10000"/>
                  <a:gd name="connsiteX537" fmla="*/ 8885 w 10820"/>
                  <a:gd name="connsiteY537" fmla="*/ 7282 h 10000"/>
                  <a:gd name="connsiteX538" fmla="*/ 8889 w 10820"/>
                  <a:gd name="connsiteY538" fmla="*/ 7282 h 10000"/>
                  <a:gd name="connsiteX539" fmla="*/ 8903 w 10820"/>
                  <a:gd name="connsiteY539" fmla="*/ 7239 h 10000"/>
                  <a:gd name="connsiteX540" fmla="*/ 8903 w 10820"/>
                  <a:gd name="connsiteY540" fmla="*/ 7214 h 10000"/>
                  <a:gd name="connsiteX541" fmla="*/ 8899 w 10820"/>
                  <a:gd name="connsiteY541" fmla="*/ 7128 h 10000"/>
                  <a:gd name="connsiteX542" fmla="*/ 8889 w 10820"/>
                  <a:gd name="connsiteY542" fmla="*/ 7120 h 10000"/>
                  <a:gd name="connsiteX543" fmla="*/ 8871 w 10820"/>
                  <a:gd name="connsiteY543" fmla="*/ 7120 h 10000"/>
                  <a:gd name="connsiteX544" fmla="*/ 8871 w 10820"/>
                  <a:gd name="connsiteY544" fmla="*/ 7120 h 10000"/>
                  <a:gd name="connsiteX545" fmla="*/ 8871 w 10820"/>
                  <a:gd name="connsiteY545" fmla="*/ 6991 h 10000"/>
                  <a:gd name="connsiteX546" fmla="*/ 8871 w 10820"/>
                  <a:gd name="connsiteY546" fmla="*/ 6966 h 10000"/>
                  <a:gd name="connsiteX547" fmla="*/ 8889 w 10820"/>
                  <a:gd name="connsiteY547" fmla="*/ 6940 h 10000"/>
                  <a:gd name="connsiteX548" fmla="*/ 8903 w 10820"/>
                  <a:gd name="connsiteY548" fmla="*/ 6906 h 10000"/>
                  <a:gd name="connsiteX549" fmla="*/ 8899 w 10820"/>
                  <a:gd name="connsiteY549" fmla="*/ 6880 h 10000"/>
                  <a:gd name="connsiteX550" fmla="*/ 8866 w 10820"/>
                  <a:gd name="connsiteY550" fmla="*/ 6846 h 10000"/>
                  <a:gd name="connsiteX551" fmla="*/ 8853 w 10820"/>
                  <a:gd name="connsiteY551" fmla="*/ 6846 h 10000"/>
                  <a:gd name="connsiteX552" fmla="*/ 8843 w 10820"/>
                  <a:gd name="connsiteY552" fmla="*/ 6880 h 10000"/>
                  <a:gd name="connsiteX553" fmla="*/ 8843 w 10820"/>
                  <a:gd name="connsiteY553" fmla="*/ 6897 h 10000"/>
                  <a:gd name="connsiteX554" fmla="*/ 8829 w 10820"/>
                  <a:gd name="connsiteY554" fmla="*/ 6880 h 10000"/>
                  <a:gd name="connsiteX555" fmla="*/ 8825 w 10820"/>
                  <a:gd name="connsiteY555" fmla="*/ 6872 h 10000"/>
                  <a:gd name="connsiteX556" fmla="*/ 8816 w 10820"/>
                  <a:gd name="connsiteY556" fmla="*/ 6846 h 10000"/>
                  <a:gd name="connsiteX557" fmla="*/ 8816 w 10820"/>
                  <a:gd name="connsiteY557" fmla="*/ 6803 h 10000"/>
                  <a:gd name="connsiteX558" fmla="*/ 8876 w 10820"/>
                  <a:gd name="connsiteY558" fmla="*/ 6598 h 10000"/>
                  <a:gd name="connsiteX559" fmla="*/ 8876 w 10820"/>
                  <a:gd name="connsiteY559" fmla="*/ 6573 h 10000"/>
                  <a:gd name="connsiteX560" fmla="*/ 8885 w 10820"/>
                  <a:gd name="connsiteY560" fmla="*/ 6556 h 10000"/>
                  <a:gd name="connsiteX561" fmla="*/ 8899 w 10820"/>
                  <a:gd name="connsiteY561" fmla="*/ 6573 h 10000"/>
                  <a:gd name="connsiteX562" fmla="*/ 8889 w 10820"/>
                  <a:gd name="connsiteY562" fmla="*/ 6556 h 10000"/>
                  <a:gd name="connsiteX563" fmla="*/ 8889 w 10820"/>
                  <a:gd name="connsiteY563" fmla="*/ 6530 h 10000"/>
                  <a:gd name="connsiteX564" fmla="*/ 8903 w 10820"/>
                  <a:gd name="connsiteY564" fmla="*/ 6521 h 10000"/>
                  <a:gd name="connsiteX565" fmla="*/ 8903 w 10820"/>
                  <a:gd name="connsiteY565" fmla="*/ 6504 h 10000"/>
                  <a:gd name="connsiteX566" fmla="*/ 8903 w 10820"/>
                  <a:gd name="connsiteY566" fmla="*/ 6487 h 10000"/>
                  <a:gd name="connsiteX567" fmla="*/ 8903 w 10820"/>
                  <a:gd name="connsiteY567" fmla="*/ 6462 h 10000"/>
                  <a:gd name="connsiteX568" fmla="*/ 8912 w 10820"/>
                  <a:gd name="connsiteY568" fmla="*/ 6419 h 10000"/>
                  <a:gd name="connsiteX569" fmla="*/ 8917 w 10820"/>
                  <a:gd name="connsiteY569" fmla="*/ 6393 h 10000"/>
                  <a:gd name="connsiteX570" fmla="*/ 8926 w 10820"/>
                  <a:gd name="connsiteY570" fmla="*/ 6385 h 10000"/>
                  <a:gd name="connsiteX571" fmla="*/ 8931 w 10820"/>
                  <a:gd name="connsiteY571" fmla="*/ 6385 h 10000"/>
                  <a:gd name="connsiteX572" fmla="*/ 8949 w 10820"/>
                  <a:gd name="connsiteY572" fmla="*/ 6359 h 10000"/>
                  <a:gd name="connsiteX573" fmla="*/ 8959 w 10820"/>
                  <a:gd name="connsiteY573" fmla="*/ 6368 h 10000"/>
                  <a:gd name="connsiteX574" fmla="*/ 8963 w 10820"/>
                  <a:gd name="connsiteY574" fmla="*/ 6385 h 10000"/>
                  <a:gd name="connsiteX575" fmla="*/ 8972 w 10820"/>
                  <a:gd name="connsiteY575" fmla="*/ 6359 h 10000"/>
                  <a:gd name="connsiteX576" fmla="*/ 8991 w 10820"/>
                  <a:gd name="connsiteY576" fmla="*/ 6350 h 10000"/>
                  <a:gd name="connsiteX577" fmla="*/ 9000 w 10820"/>
                  <a:gd name="connsiteY577" fmla="*/ 6368 h 10000"/>
                  <a:gd name="connsiteX578" fmla="*/ 9005 w 10820"/>
                  <a:gd name="connsiteY578" fmla="*/ 6393 h 10000"/>
                  <a:gd name="connsiteX579" fmla="*/ 9018 w 10820"/>
                  <a:gd name="connsiteY579" fmla="*/ 6393 h 10000"/>
                  <a:gd name="connsiteX580" fmla="*/ 9023 w 10820"/>
                  <a:gd name="connsiteY580" fmla="*/ 6359 h 10000"/>
                  <a:gd name="connsiteX581" fmla="*/ 9023 w 10820"/>
                  <a:gd name="connsiteY581" fmla="*/ 6333 h 10000"/>
                  <a:gd name="connsiteX582" fmla="*/ 9037 w 10820"/>
                  <a:gd name="connsiteY582" fmla="*/ 6308 h 10000"/>
                  <a:gd name="connsiteX583" fmla="*/ 9074 w 10820"/>
                  <a:gd name="connsiteY583" fmla="*/ 6274 h 10000"/>
                  <a:gd name="connsiteX584" fmla="*/ 9092 w 10820"/>
                  <a:gd name="connsiteY584" fmla="*/ 6222 h 10000"/>
                  <a:gd name="connsiteX585" fmla="*/ 9097 w 10820"/>
                  <a:gd name="connsiteY585" fmla="*/ 6231 h 10000"/>
                  <a:gd name="connsiteX586" fmla="*/ 9097 w 10820"/>
                  <a:gd name="connsiteY586" fmla="*/ 6248 h 10000"/>
                  <a:gd name="connsiteX587" fmla="*/ 9097 w 10820"/>
                  <a:gd name="connsiteY587" fmla="*/ 6274 h 10000"/>
                  <a:gd name="connsiteX588" fmla="*/ 9097 w 10820"/>
                  <a:gd name="connsiteY588" fmla="*/ 6308 h 10000"/>
                  <a:gd name="connsiteX589" fmla="*/ 9092 w 10820"/>
                  <a:gd name="connsiteY589" fmla="*/ 6368 h 10000"/>
                  <a:gd name="connsiteX590" fmla="*/ 9092 w 10820"/>
                  <a:gd name="connsiteY590" fmla="*/ 6385 h 10000"/>
                  <a:gd name="connsiteX591" fmla="*/ 9092 w 10820"/>
                  <a:gd name="connsiteY591" fmla="*/ 6393 h 10000"/>
                  <a:gd name="connsiteX592" fmla="*/ 9092 w 10820"/>
                  <a:gd name="connsiteY592" fmla="*/ 6393 h 10000"/>
                  <a:gd name="connsiteX593" fmla="*/ 9143 w 10820"/>
                  <a:gd name="connsiteY593" fmla="*/ 6299 h 10000"/>
                  <a:gd name="connsiteX594" fmla="*/ 9143 w 10820"/>
                  <a:gd name="connsiteY594" fmla="*/ 6282 h 10000"/>
                  <a:gd name="connsiteX595" fmla="*/ 9143 w 10820"/>
                  <a:gd name="connsiteY595" fmla="*/ 6256 h 10000"/>
                  <a:gd name="connsiteX596" fmla="*/ 9143 w 10820"/>
                  <a:gd name="connsiteY596" fmla="*/ 6256 h 10000"/>
                  <a:gd name="connsiteX597" fmla="*/ 9157 w 10820"/>
                  <a:gd name="connsiteY597" fmla="*/ 6274 h 10000"/>
                  <a:gd name="connsiteX598" fmla="*/ 9166 w 10820"/>
                  <a:gd name="connsiteY598" fmla="*/ 6248 h 10000"/>
                  <a:gd name="connsiteX599" fmla="*/ 9180 w 10820"/>
                  <a:gd name="connsiteY599" fmla="*/ 6248 h 10000"/>
                  <a:gd name="connsiteX600" fmla="*/ 9198 w 10820"/>
                  <a:gd name="connsiteY600" fmla="*/ 6222 h 10000"/>
                  <a:gd name="connsiteX601" fmla="*/ 9212 w 10820"/>
                  <a:gd name="connsiteY601" fmla="*/ 6222 h 10000"/>
                  <a:gd name="connsiteX602" fmla="*/ 9226 w 10820"/>
                  <a:gd name="connsiteY602" fmla="*/ 6197 h 10000"/>
                  <a:gd name="connsiteX603" fmla="*/ 9230 w 10820"/>
                  <a:gd name="connsiteY603" fmla="*/ 6214 h 10000"/>
                  <a:gd name="connsiteX604" fmla="*/ 9272 w 10820"/>
                  <a:gd name="connsiteY604" fmla="*/ 6214 h 10000"/>
                  <a:gd name="connsiteX605" fmla="*/ 9304 w 10820"/>
                  <a:gd name="connsiteY605" fmla="*/ 6231 h 10000"/>
                  <a:gd name="connsiteX606" fmla="*/ 9318 w 10820"/>
                  <a:gd name="connsiteY606" fmla="*/ 6248 h 10000"/>
                  <a:gd name="connsiteX607" fmla="*/ 9327 w 10820"/>
                  <a:gd name="connsiteY607" fmla="*/ 6282 h 10000"/>
                  <a:gd name="connsiteX608" fmla="*/ 9355 w 10820"/>
                  <a:gd name="connsiteY608" fmla="*/ 6350 h 10000"/>
                  <a:gd name="connsiteX609" fmla="*/ 9355 w 10820"/>
                  <a:gd name="connsiteY609" fmla="*/ 6359 h 10000"/>
                  <a:gd name="connsiteX610" fmla="*/ 9364 w 10820"/>
                  <a:gd name="connsiteY610" fmla="*/ 6368 h 10000"/>
                  <a:gd name="connsiteX611" fmla="*/ 9373 w 10820"/>
                  <a:gd name="connsiteY611" fmla="*/ 6359 h 10000"/>
                  <a:gd name="connsiteX612" fmla="*/ 9373 w 10820"/>
                  <a:gd name="connsiteY612" fmla="*/ 6325 h 10000"/>
                  <a:gd name="connsiteX613" fmla="*/ 9387 w 10820"/>
                  <a:gd name="connsiteY613" fmla="*/ 6256 h 10000"/>
                  <a:gd name="connsiteX614" fmla="*/ 9387 w 10820"/>
                  <a:gd name="connsiteY614" fmla="*/ 6248 h 10000"/>
                  <a:gd name="connsiteX615" fmla="*/ 9378 w 10820"/>
                  <a:gd name="connsiteY615" fmla="*/ 6248 h 10000"/>
                  <a:gd name="connsiteX616" fmla="*/ 9406 w 10820"/>
                  <a:gd name="connsiteY616" fmla="*/ 6222 h 10000"/>
                  <a:gd name="connsiteX617" fmla="*/ 9415 w 10820"/>
                  <a:gd name="connsiteY617" fmla="*/ 6222 h 10000"/>
                  <a:gd name="connsiteX618" fmla="*/ 9415 w 10820"/>
                  <a:gd name="connsiteY618" fmla="*/ 6197 h 10000"/>
                  <a:gd name="connsiteX619" fmla="*/ 9419 w 10820"/>
                  <a:gd name="connsiteY619" fmla="*/ 6214 h 10000"/>
                  <a:gd name="connsiteX620" fmla="*/ 9424 w 10820"/>
                  <a:gd name="connsiteY620" fmla="*/ 6214 h 10000"/>
                  <a:gd name="connsiteX621" fmla="*/ 9447 w 10820"/>
                  <a:gd name="connsiteY621" fmla="*/ 6171 h 10000"/>
                  <a:gd name="connsiteX622" fmla="*/ 9452 w 10820"/>
                  <a:gd name="connsiteY622" fmla="*/ 6171 h 10000"/>
                  <a:gd name="connsiteX623" fmla="*/ 9452 w 10820"/>
                  <a:gd name="connsiteY623" fmla="*/ 6162 h 10000"/>
                  <a:gd name="connsiteX624" fmla="*/ 9461 w 10820"/>
                  <a:gd name="connsiteY624" fmla="*/ 6137 h 10000"/>
                  <a:gd name="connsiteX625" fmla="*/ 9475 w 10820"/>
                  <a:gd name="connsiteY625" fmla="*/ 6137 h 10000"/>
                  <a:gd name="connsiteX626" fmla="*/ 9475 w 10820"/>
                  <a:gd name="connsiteY626" fmla="*/ 6137 h 10000"/>
                  <a:gd name="connsiteX627" fmla="*/ 9479 w 10820"/>
                  <a:gd name="connsiteY627" fmla="*/ 6120 h 10000"/>
                  <a:gd name="connsiteX628" fmla="*/ 9488 w 10820"/>
                  <a:gd name="connsiteY628" fmla="*/ 6120 h 10000"/>
                  <a:gd name="connsiteX629" fmla="*/ 9488 w 10820"/>
                  <a:gd name="connsiteY629" fmla="*/ 6111 h 10000"/>
                  <a:gd name="connsiteX630" fmla="*/ 9479 w 10820"/>
                  <a:gd name="connsiteY630" fmla="*/ 6103 h 10000"/>
                  <a:gd name="connsiteX631" fmla="*/ 9479 w 10820"/>
                  <a:gd name="connsiteY631" fmla="*/ 6085 h 10000"/>
                  <a:gd name="connsiteX632" fmla="*/ 9488 w 10820"/>
                  <a:gd name="connsiteY632" fmla="*/ 6103 h 10000"/>
                  <a:gd name="connsiteX633" fmla="*/ 9493 w 10820"/>
                  <a:gd name="connsiteY633" fmla="*/ 6111 h 10000"/>
                  <a:gd name="connsiteX634" fmla="*/ 9498 w 10820"/>
                  <a:gd name="connsiteY634" fmla="*/ 6103 h 10000"/>
                  <a:gd name="connsiteX635" fmla="*/ 9507 w 10820"/>
                  <a:gd name="connsiteY635" fmla="*/ 6077 h 10000"/>
                  <a:gd name="connsiteX636" fmla="*/ 9498 w 10820"/>
                  <a:gd name="connsiteY636" fmla="*/ 6060 h 10000"/>
                  <a:gd name="connsiteX637" fmla="*/ 9512 w 10820"/>
                  <a:gd name="connsiteY637" fmla="*/ 6060 h 10000"/>
                  <a:gd name="connsiteX638" fmla="*/ 9525 w 10820"/>
                  <a:gd name="connsiteY638" fmla="*/ 6034 h 10000"/>
                  <a:gd name="connsiteX639" fmla="*/ 9535 w 10820"/>
                  <a:gd name="connsiteY639" fmla="*/ 6034 h 10000"/>
                  <a:gd name="connsiteX640" fmla="*/ 9535 w 10820"/>
                  <a:gd name="connsiteY640" fmla="*/ 6026 h 10000"/>
                  <a:gd name="connsiteX641" fmla="*/ 9525 w 10820"/>
                  <a:gd name="connsiteY641" fmla="*/ 6009 h 10000"/>
                  <a:gd name="connsiteX642" fmla="*/ 9535 w 10820"/>
                  <a:gd name="connsiteY642" fmla="*/ 6000 h 10000"/>
                  <a:gd name="connsiteX643" fmla="*/ 9539 w 10820"/>
                  <a:gd name="connsiteY643" fmla="*/ 6009 h 10000"/>
                  <a:gd name="connsiteX644" fmla="*/ 9548 w 10820"/>
                  <a:gd name="connsiteY644" fmla="*/ 6009 h 10000"/>
                  <a:gd name="connsiteX645" fmla="*/ 9553 w 10820"/>
                  <a:gd name="connsiteY645" fmla="*/ 6000 h 10000"/>
                  <a:gd name="connsiteX646" fmla="*/ 9562 w 10820"/>
                  <a:gd name="connsiteY646" fmla="*/ 5983 h 10000"/>
                  <a:gd name="connsiteX647" fmla="*/ 9562 w 10820"/>
                  <a:gd name="connsiteY647" fmla="*/ 5974 h 10000"/>
                  <a:gd name="connsiteX648" fmla="*/ 9567 w 10820"/>
                  <a:gd name="connsiteY648" fmla="*/ 5974 h 10000"/>
                  <a:gd name="connsiteX649" fmla="*/ 9567 w 10820"/>
                  <a:gd name="connsiteY649" fmla="*/ 5966 h 10000"/>
                  <a:gd name="connsiteX650" fmla="*/ 9567 w 10820"/>
                  <a:gd name="connsiteY650" fmla="*/ 5940 h 10000"/>
                  <a:gd name="connsiteX651" fmla="*/ 9571 w 10820"/>
                  <a:gd name="connsiteY651" fmla="*/ 5915 h 10000"/>
                  <a:gd name="connsiteX652" fmla="*/ 9581 w 10820"/>
                  <a:gd name="connsiteY652" fmla="*/ 5923 h 10000"/>
                  <a:gd name="connsiteX653" fmla="*/ 9585 w 10820"/>
                  <a:gd name="connsiteY653" fmla="*/ 5940 h 10000"/>
                  <a:gd name="connsiteX654" fmla="*/ 9594 w 10820"/>
                  <a:gd name="connsiteY654" fmla="*/ 5949 h 10000"/>
                  <a:gd name="connsiteX655" fmla="*/ 9599 w 10820"/>
                  <a:gd name="connsiteY655" fmla="*/ 5940 h 10000"/>
                  <a:gd name="connsiteX656" fmla="*/ 9613 w 10820"/>
                  <a:gd name="connsiteY656" fmla="*/ 5915 h 10000"/>
                  <a:gd name="connsiteX657" fmla="*/ 9645 w 10820"/>
                  <a:gd name="connsiteY657" fmla="*/ 5889 h 10000"/>
                  <a:gd name="connsiteX658" fmla="*/ 9654 w 10820"/>
                  <a:gd name="connsiteY658" fmla="*/ 5872 h 10000"/>
                  <a:gd name="connsiteX659" fmla="*/ 9673 w 10820"/>
                  <a:gd name="connsiteY659" fmla="*/ 5863 h 10000"/>
                  <a:gd name="connsiteX660" fmla="*/ 9682 w 10820"/>
                  <a:gd name="connsiteY660" fmla="*/ 5838 h 10000"/>
                  <a:gd name="connsiteX661" fmla="*/ 9682 w 10820"/>
                  <a:gd name="connsiteY661" fmla="*/ 5829 h 10000"/>
                  <a:gd name="connsiteX662" fmla="*/ 9682 w 10820"/>
                  <a:gd name="connsiteY662" fmla="*/ 5812 h 10000"/>
                  <a:gd name="connsiteX663" fmla="*/ 9687 w 10820"/>
                  <a:gd name="connsiteY663" fmla="*/ 5812 h 10000"/>
                  <a:gd name="connsiteX664" fmla="*/ 9687 w 10820"/>
                  <a:gd name="connsiteY664" fmla="*/ 5829 h 10000"/>
                  <a:gd name="connsiteX665" fmla="*/ 9687 w 10820"/>
                  <a:gd name="connsiteY665" fmla="*/ 5829 h 10000"/>
                  <a:gd name="connsiteX666" fmla="*/ 9719 w 10820"/>
                  <a:gd name="connsiteY666" fmla="*/ 5803 h 10000"/>
                  <a:gd name="connsiteX667" fmla="*/ 9728 w 10820"/>
                  <a:gd name="connsiteY667" fmla="*/ 5803 h 10000"/>
                  <a:gd name="connsiteX668" fmla="*/ 9779 w 10820"/>
                  <a:gd name="connsiteY668" fmla="*/ 5726 h 10000"/>
                  <a:gd name="connsiteX669" fmla="*/ 9816 w 10820"/>
                  <a:gd name="connsiteY669" fmla="*/ 5709 h 10000"/>
                  <a:gd name="connsiteX670" fmla="*/ 9820 w 10820"/>
                  <a:gd name="connsiteY670" fmla="*/ 5701 h 10000"/>
                  <a:gd name="connsiteX671" fmla="*/ 9816 w 10820"/>
                  <a:gd name="connsiteY671" fmla="*/ 5692 h 10000"/>
                  <a:gd name="connsiteX672" fmla="*/ 9816 w 10820"/>
                  <a:gd name="connsiteY672" fmla="*/ 5692 h 10000"/>
                  <a:gd name="connsiteX673" fmla="*/ 9802 w 10820"/>
                  <a:gd name="connsiteY673" fmla="*/ 5624 h 10000"/>
                  <a:gd name="connsiteX674" fmla="*/ 9806 w 10820"/>
                  <a:gd name="connsiteY674" fmla="*/ 5624 h 10000"/>
                  <a:gd name="connsiteX675" fmla="*/ 9820 w 10820"/>
                  <a:gd name="connsiteY675" fmla="*/ 5675 h 10000"/>
                  <a:gd name="connsiteX676" fmla="*/ 9829 w 10820"/>
                  <a:gd name="connsiteY676" fmla="*/ 5675 h 10000"/>
                  <a:gd name="connsiteX677" fmla="*/ 9829 w 10820"/>
                  <a:gd name="connsiteY677" fmla="*/ 5692 h 10000"/>
                  <a:gd name="connsiteX678" fmla="*/ 9829 w 10820"/>
                  <a:gd name="connsiteY678" fmla="*/ 5701 h 10000"/>
                  <a:gd name="connsiteX679" fmla="*/ 9839 w 10820"/>
                  <a:gd name="connsiteY679" fmla="*/ 5701 h 10000"/>
                  <a:gd name="connsiteX680" fmla="*/ 9839 w 10820"/>
                  <a:gd name="connsiteY680" fmla="*/ 5692 h 10000"/>
                  <a:gd name="connsiteX681" fmla="*/ 9839 w 10820"/>
                  <a:gd name="connsiteY681" fmla="*/ 5675 h 10000"/>
                  <a:gd name="connsiteX682" fmla="*/ 9848 w 10820"/>
                  <a:gd name="connsiteY682" fmla="*/ 5675 h 10000"/>
                  <a:gd name="connsiteX683" fmla="*/ 9848 w 10820"/>
                  <a:gd name="connsiteY683" fmla="*/ 5692 h 10000"/>
                  <a:gd name="connsiteX684" fmla="*/ 9853 w 10820"/>
                  <a:gd name="connsiteY684" fmla="*/ 5701 h 10000"/>
                  <a:gd name="connsiteX685" fmla="*/ 9880 w 10820"/>
                  <a:gd name="connsiteY685" fmla="*/ 5709 h 10000"/>
                  <a:gd name="connsiteX686" fmla="*/ 9912 w 10820"/>
                  <a:gd name="connsiteY686" fmla="*/ 5752 h 10000"/>
                  <a:gd name="connsiteX687" fmla="*/ 9926 w 10820"/>
                  <a:gd name="connsiteY687" fmla="*/ 5761 h 10000"/>
                  <a:gd name="connsiteX688" fmla="*/ 9935 w 10820"/>
                  <a:gd name="connsiteY688" fmla="*/ 5761 h 10000"/>
                  <a:gd name="connsiteX689" fmla="*/ 9940 w 10820"/>
                  <a:gd name="connsiteY689" fmla="*/ 5735 h 10000"/>
                  <a:gd name="connsiteX690" fmla="*/ 9949 w 10820"/>
                  <a:gd name="connsiteY690" fmla="*/ 5735 h 10000"/>
                  <a:gd name="connsiteX691" fmla="*/ 9968 w 10820"/>
                  <a:gd name="connsiteY691" fmla="*/ 5692 h 10000"/>
                  <a:gd name="connsiteX692" fmla="*/ 9968 w 10820"/>
                  <a:gd name="connsiteY692" fmla="*/ 5650 h 10000"/>
                  <a:gd name="connsiteX693" fmla="*/ 9968 w 10820"/>
                  <a:gd name="connsiteY693" fmla="*/ 5624 h 10000"/>
                  <a:gd name="connsiteX694" fmla="*/ 9935 w 10820"/>
                  <a:gd name="connsiteY694" fmla="*/ 5598 h 10000"/>
                  <a:gd name="connsiteX695" fmla="*/ 9935 w 10820"/>
                  <a:gd name="connsiteY695" fmla="*/ 5590 h 10000"/>
                  <a:gd name="connsiteX696" fmla="*/ 9935 w 10820"/>
                  <a:gd name="connsiteY696" fmla="*/ 5573 h 10000"/>
                  <a:gd name="connsiteX697" fmla="*/ 9935 w 10820"/>
                  <a:gd name="connsiteY697" fmla="*/ 5573 h 10000"/>
                  <a:gd name="connsiteX698" fmla="*/ 9940 w 10820"/>
                  <a:gd name="connsiteY698" fmla="*/ 5573 h 10000"/>
                  <a:gd name="connsiteX699" fmla="*/ 9954 w 10820"/>
                  <a:gd name="connsiteY699" fmla="*/ 5573 h 10000"/>
                  <a:gd name="connsiteX700" fmla="*/ 9963 w 10820"/>
                  <a:gd name="connsiteY700" fmla="*/ 5564 h 10000"/>
                  <a:gd name="connsiteX701" fmla="*/ 9954 w 10820"/>
                  <a:gd name="connsiteY701" fmla="*/ 5530 h 10000"/>
                  <a:gd name="connsiteX702" fmla="*/ 9949 w 10820"/>
                  <a:gd name="connsiteY702" fmla="*/ 5530 h 10000"/>
                  <a:gd name="connsiteX703" fmla="*/ 9926 w 10820"/>
                  <a:gd name="connsiteY703" fmla="*/ 5479 h 10000"/>
                  <a:gd name="connsiteX704" fmla="*/ 9912 w 10820"/>
                  <a:gd name="connsiteY704" fmla="*/ 5325 h 10000"/>
                  <a:gd name="connsiteX705" fmla="*/ 9903 w 10820"/>
                  <a:gd name="connsiteY705" fmla="*/ 5342 h 10000"/>
                  <a:gd name="connsiteX706" fmla="*/ 9889 w 10820"/>
                  <a:gd name="connsiteY706" fmla="*/ 5316 h 10000"/>
                  <a:gd name="connsiteX707" fmla="*/ 9889 w 10820"/>
                  <a:gd name="connsiteY707" fmla="*/ 5291 h 10000"/>
                  <a:gd name="connsiteX708" fmla="*/ 9903 w 10820"/>
                  <a:gd name="connsiteY708" fmla="*/ 5291 h 10000"/>
                  <a:gd name="connsiteX709" fmla="*/ 9903 w 10820"/>
                  <a:gd name="connsiteY709" fmla="*/ 5291 h 10000"/>
                  <a:gd name="connsiteX710" fmla="*/ 9894 w 10820"/>
                  <a:gd name="connsiteY710" fmla="*/ 5214 h 10000"/>
                  <a:gd name="connsiteX711" fmla="*/ 9880 w 10820"/>
                  <a:gd name="connsiteY711" fmla="*/ 5239 h 10000"/>
                  <a:gd name="connsiteX712" fmla="*/ 9876 w 10820"/>
                  <a:gd name="connsiteY712" fmla="*/ 5256 h 10000"/>
                  <a:gd name="connsiteX713" fmla="*/ 9862 w 10820"/>
                  <a:gd name="connsiteY713" fmla="*/ 5239 h 10000"/>
                  <a:gd name="connsiteX714" fmla="*/ 9853 w 10820"/>
                  <a:gd name="connsiteY714" fmla="*/ 5214 h 10000"/>
                  <a:gd name="connsiteX715" fmla="*/ 9839 w 10820"/>
                  <a:gd name="connsiteY715" fmla="*/ 5214 h 10000"/>
                  <a:gd name="connsiteX716" fmla="*/ 9834 w 10820"/>
                  <a:gd name="connsiteY716" fmla="*/ 5188 h 10000"/>
                  <a:gd name="connsiteX717" fmla="*/ 9834 w 10820"/>
                  <a:gd name="connsiteY717" fmla="*/ 5103 h 10000"/>
                  <a:gd name="connsiteX718" fmla="*/ 9839 w 10820"/>
                  <a:gd name="connsiteY718" fmla="*/ 5094 h 10000"/>
                  <a:gd name="connsiteX719" fmla="*/ 9853 w 10820"/>
                  <a:gd name="connsiteY719" fmla="*/ 5103 h 10000"/>
                  <a:gd name="connsiteX720" fmla="*/ 9876 w 10820"/>
                  <a:gd name="connsiteY720" fmla="*/ 5128 h 10000"/>
                  <a:gd name="connsiteX721" fmla="*/ 9889 w 10820"/>
                  <a:gd name="connsiteY721" fmla="*/ 5103 h 10000"/>
                  <a:gd name="connsiteX722" fmla="*/ 9880 w 10820"/>
                  <a:gd name="connsiteY722" fmla="*/ 5120 h 10000"/>
                  <a:gd name="connsiteX723" fmla="*/ 9889 w 10820"/>
                  <a:gd name="connsiteY723" fmla="*/ 5128 h 10000"/>
                  <a:gd name="connsiteX724" fmla="*/ 9912 w 10820"/>
                  <a:gd name="connsiteY724" fmla="*/ 5128 h 10000"/>
                  <a:gd name="connsiteX725" fmla="*/ 9908 w 10820"/>
                  <a:gd name="connsiteY725" fmla="*/ 5145 h 10000"/>
                  <a:gd name="connsiteX726" fmla="*/ 9908 w 10820"/>
                  <a:gd name="connsiteY726" fmla="*/ 5154 h 10000"/>
                  <a:gd name="connsiteX727" fmla="*/ 9922 w 10820"/>
                  <a:gd name="connsiteY727" fmla="*/ 5128 h 10000"/>
                  <a:gd name="connsiteX728" fmla="*/ 9935 w 10820"/>
                  <a:gd name="connsiteY728" fmla="*/ 5103 h 10000"/>
                  <a:gd name="connsiteX729" fmla="*/ 9968 w 10820"/>
                  <a:gd name="connsiteY729" fmla="*/ 5077 h 10000"/>
                  <a:gd name="connsiteX730" fmla="*/ 10000 w 10820"/>
                  <a:gd name="connsiteY730" fmla="*/ 5017 h 10000"/>
                  <a:gd name="connsiteX731" fmla="*/ 10307 w 10820"/>
                  <a:gd name="connsiteY731" fmla="*/ 4899 h 10000"/>
                  <a:gd name="connsiteX732" fmla="*/ 10785 w 10820"/>
                  <a:gd name="connsiteY732" fmla="*/ 4708 h 10000"/>
                  <a:gd name="connsiteX733" fmla="*/ 10689 w 10820"/>
                  <a:gd name="connsiteY733" fmla="*/ 4467 h 10000"/>
                  <a:gd name="connsiteX734" fmla="*/ 10354 w 10820"/>
                  <a:gd name="connsiteY734" fmla="*/ 4302 h 10000"/>
                  <a:gd name="connsiteX735" fmla="*/ 9912 w 10820"/>
                  <a:gd name="connsiteY735" fmla="*/ 3675 h 10000"/>
                  <a:gd name="connsiteX736" fmla="*/ 9903 w 10820"/>
                  <a:gd name="connsiteY736" fmla="*/ 3667 h 10000"/>
                  <a:gd name="connsiteX737" fmla="*/ 9894 w 10820"/>
                  <a:gd name="connsiteY737" fmla="*/ 3641 h 10000"/>
                  <a:gd name="connsiteX738" fmla="*/ 9889 w 10820"/>
                  <a:gd name="connsiteY738" fmla="*/ 3650 h 10000"/>
                  <a:gd name="connsiteX739" fmla="*/ 9848 w 10820"/>
                  <a:gd name="connsiteY739" fmla="*/ 3598 h 10000"/>
                  <a:gd name="connsiteX740" fmla="*/ 9829 w 10820"/>
                  <a:gd name="connsiteY740" fmla="*/ 3581 h 10000"/>
                  <a:gd name="connsiteX741" fmla="*/ 9820 w 10820"/>
                  <a:gd name="connsiteY741" fmla="*/ 3581 h 10000"/>
                  <a:gd name="connsiteX742" fmla="*/ 9793 w 10820"/>
                  <a:gd name="connsiteY742" fmla="*/ 3556 h 10000"/>
                  <a:gd name="connsiteX743" fmla="*/ 9779 w 10820"/>
                  <a:gd name="connsiteY743" fmla="*/ 3556 h 10000"/>
                  <a:gd name="connsiteX744" fmla="*/ 9747 w 10820"/>
                  <a:gd name="connsiteY744" fmla="*/ 3487 h 10000"/>
                  <a:gd name="connsiteX745" fmla="*/ 9668 w 10820"/>
                  <a:gd name="connsiteY745" fmla="*/ 3479 h 10000"/>
                  <a:gd name="connsiteX746" fmla="*/ 9659 w 10820"/>
                  <a:gd name="connsiteY746" fmla="*/ 3487 h 10000"/>
                  <a:gd name="connsiteX747" fmla="*/ 9645 w 10820"/>
                  <a:gd name="connsiteY747" fmla="*/ 3504 h 10000"/>
                  <a:gd name="connsiteX748" fmla="*/ 9631 w 10820"/>
                  <a:gd name="connsiteY748" fmla="*/ 3487 h 10000"/>
                  <a:gd name="connsiteX749" fmla="*/ 9613 w 10820"/>
                  <a:gd name="connsiteY749" fmla="*/ 3479 h 10000"/>
                  <a:gd name="connsiteX750" fmla="*/ 9599 w 10820"/>
                  <a:gd name="connsiteY750" fmla="*/ 3479 h 10000"/>
                  <a:gd name="connsiteX751" fmla="*/ 9571 w 10820"/>
                  <a:gd name="connsiteY751" fmla="*/ 3479 h 10000"/>
                  <a:gd name="connsiteX752" fmla="*/ 9562 w 10820"/>
                  <a:gd name="connsiteY752" fmla="*/ 3487 h 10000"/>
                  <a:gd name="connsiteX753" fmla="*/ 9539 w 10820"/>
                  <a:gd name="connsiteY753" fmla="*/ 3487 h 10000"/>
                  <a:gd name="connsiteX754" fmla="*/ 9507 w 10820"/>
                  <a:gd name="connsiteY754" fmla="*/ 3453 h 10000"/>
                  <a:gd name="connsiteX755" fmla="*/ 9498 w 10820"/>
                  <a:gd name="connsiteY755" fmla="*/ 3453 h 10000"/>
                  <a:gd name="connsiteX756" fmla="*/ 9387 w 10820"/>
                  <a:gd name="connsiteY756" fmla="*/ 3419 h 10000"/>
                  <a:gd name="connsiteX757" fmla="*/ 9373 w 10820"/>
                  <a:gd name="connsiteY757" fmla="*/ 3427 h 10000"/>
                  <a:gd name="connsiteX758" fmla="*/ 9373 w 10820"/>
                  <a:gd name="connsiteY758" fmla="*/ 3462 h 10000"/>
                  <a:gd name="connsiteX759" fmla="*/ 9378 w 10820"/>
                  <a:gd name="connsiteY759" fmla="*/ 3479 h 10000"/>
                  <a:gd name="connsiteX760" fmla="*/ 9378 w 10820"/>
                  <a:gd name="connsiteY760" fmla="*/ 3530 h 10000"/>
                  <a:gd name="connsiteX761" fmla="*/ 9355 w 10820"/>
                  <a:gd name="connsiteY761" fmla="*/ 3538 h 10000"/>
                  <a:gd name="connsiteX762" fmla="*/ 9355 w 10820"/>
                  <a:gd name="connsiteY762" fmla="*/ 3581 h 10000"/>
                  <a:gd name="connsiteX763" fmla="*/ 9387 w 10820"/>
                  <a:gd name="connsiteY763" fmla="*/ 3590 h 10000"/>
                  <a:gd name="connsiteX764" fmla="*/ 9401 w 10820"/>
                  <a:gd name="connsiteY764" fmla="*/ 3667 h 10000"/>
                  <a:gd name="connsiteX765" fmla="*/ 9406 w 10820"/>
                  <a:gd name="connsiteY765" fmla="*/ 3675 h 10000"/>
                  <a:gd name="connsiteX766" fmla="*/ 9406 w 10820"/>
                  <a:gd name="connsiteY766" fmla="*/ 3701 h 10000"/>
                  <a:gd name="connsiteX767" fmla="*/ 9415 w 10820"/>
                  <a:gd name="connsiteY767" fmla="*/ 3752 h 10000"/>
                  <a:gd name="connsiteX768" fmla="*/ 9373 w 10820"/>
                  <a:gd name="connsiteY768" fmla="*/ 3838 h 10000"/>
                  <a:gd name="connsiteX769" fmla="*/ 9355 w 10820"/>
                  <a:gd name="connsiteY769" fmla="*/ 3863 h 10000"/>
                  <a:gd name="connsiteX770" fmla="*/ 9327 w 10820"/>
                  <a:gd name="connsiteY770" fmla="*/ 3863 h 10000"/>
                  <a:gd name="connsiteX771" fmla="*/ 9313 w 10820"/>
                  <a:gd name="connsiteY771" fmla="*/ 3846 h 10000"/>
                  <a:gd name="connsiteX772" fmla="*/ 9300 w 10820"/>
                  <a:gd name="connsiteY772" fmla="*/ 3778 h 10000"/>
                  <a:gd name="connsiteX773" fmla="*/ 9281 w 10820"/>
                  <a:gd name="connsiteY773" fmla="*/ 3752 h 10000"/>
                  <a:gd name="connsiteX774" fmla="*/ 9281 w 10820"/>
                  <a:gd name="connsiteY774" fmla="*/ 3735 h 10000"/>
                  <a:gd name="connsiteX775" fmla="*/ 9267 w 10820"/>
                  <a:gd name="connsiteY775" fmla="*/ 3726 h 10000"/>
                  <a:gd name="connsiteX776" fmla="*/ 9240 w 10820"/>
                  <a:gd name="connsiteY776" fmla="*/ 3726 h 10000"/>
                  <a:gd name="connsiteX777" fmla="*/ 9230 w 10820"/>
                  <a:gd name="connsiteY777" fmla="*/ 3718 h 10000"/>
                  <a:gd name="connsiteX778" fmla="*/ 9226 w 10820"/>
                  <a:gd name="connsiteY778" fmla="*/ 3590 h 10000"/>
                  <a:gd name="connsiteX779" fmla="*/ 9207 w 10820"/>
                  <a:gd name="connsiteY779" fmla="*/ 3581 h 10000"/>
                  <a:gd name="connsiteX780" fmla="*/ 9207 w 10820"/>
                  <a:gd name="connsiteY780" fmla="*/ 3556 h 10000"/>
                  <a:gd name="connsiteX781" fmla="*/ 9217 w 10820"/>
                  <a:gd name="connsiteY781" fmla="*/ 3538 h 10000"/>
                  <a:gd name="connsiteX782" fmla="*/ 9212 w 10820"/>
                  <a:gd name="connsiteY782" fmla="*/ 3538 h 10000"/>
                  <a:gd name="connsiteX783" fmla="*/ 9198 w 10820"/>
                  <a:gd name="connsiteY783" fmla="*/ 3513 h 10000"/>
                  <a:gd name="connsiteX784" fmla="*/ 9194 w 10820"/>
                  <a:gd name="connsiteY784" fmla="*/ 3530 h 10000"/>
                  <a:gd name="connsiteX785" fmla="*/ 9143 w 10820"/>
                  <a:gd name="connsiteY785" fmla="*/ 3615 h 10000"/>
                  <a:gd name="connsiteX786" fmla="*/ 9138 w 10820"/>
                  <a:gd name="connsiteY786" fmla="*/ 3615 h 10000"/>
                  <a:gd name="connsiteX787" fmla="*/ 9134 w 10820"/>
                  <a:gd name="connsiteY787" fmla="*/ 3615 h 10000"/>
                  <a:gd name="connsiteX788" fmla="*/ 9106 w 10820"/>
                  <a:gd name="connsiteY788" fmla="*/ 3615 h 10000"/>
                  <a:gd name="connsiteX789" fmla="*/ 9078 w 10820"/>
                  <a:gd name="connsiteY789" fmla="*/ 3590 h 10000"/>
                  <a:gd name="connsiteX790" fmla="*/ 9037 w 10820"/>
                  <a:gd name="connsiteY790" fmla="*/ 3581 h 10000"/>
                  <a:gd name="connsiteX791" fmla="*/ 9023 w 10820"/>
                  <a:gd name="connsiteY791" fmla="*/ 3590 h 10000"/>
                  <a:gd name="connsiteX792" fmla="*/ 9018 w 10820"/>
                  <a:gd name="connsiteY792" fmla="*/ 3590 h 10000"/>
                  <a:gd name="connsiteX793" fmla="*/ 9018 w 10820"/>
                  <a:gd name="connsiteY793" fmla="*/ 3590 h 10000"/>
                  <a:gd name="connsiteX794" fmla="*/ 8991 w 10820"/>
                  <a:gd name="connsiteY794" fmla="*/ 3590 h 10000"/>
                  <a:gd name="connsiteX795" fmla="*/ 8972 w 10820"/>
                  <a:gd name="connsiteY795" fmla="*/ 3581 h 10000"/>
                  <a:gd name="connsiteX796" fmla="*/ 8959 w 10820"/>
                  <a:gd name="connsiteY796" fmla="*/ 3513 h 10000"/>
                  <a:gd name="connsiteX797" fmla="*/ 8931 w 10820"/>
                  <a:gd name="connsiteY797" fmla="*/ 3538 h 10000"/>
                  <a:gd name="connsiteX798" fmla="*/ 8889 w 10820"/>
                  <a:gd name="connsiteY798" fmla="*/ 3538 h 10000"/>
                  <a:gd name="connsiteX799" fmla="*/ 8871 w 10820"/>
                  <a:gd name="connsiteY799" fmla="*/ 3556 h 10000"/>
                  <a:gd name="connsiteX800" fmla="*/ 8857 w 10820"/>
                  <a:gd name="connsiteY800" fmla="*/ 3538 h 10000"/>
                  <a:gd name="connsiteX801" fmla="*/ 8843 w 10820"/>
                  <a:gd name="connsiteY801" fmla="*/ 3538 h 10000"/>
                  <a:gd name="connsiteX802" fmla="*/ 8839 w 10820"/>
                  <a:gd name="connsiteY802" fmla="*/ 3556 h 10000"/>
                  <a:gd name="connsiteX803" fmla="*/ 8839 w 10820"/>
                  <a:gd name="connsiteY803" fmla="*/ 3581 h 10000"/>
                  <a:gd name="connsiteX804" fmla="*/ 8825 w 10820"/>
                  <a:gd name="connsiteY804" fmla="*/ 3564 h 10000"/>
                  <a:gd name="connsiteX805" fmla="*/ 8825 w 10820"/>
                  <a:gd name="connsiteY805" fmla="*/ 3615 h 10000"/>
                  <a:gd name="connsiteX806" fmla="*/ 8802 w 10820"/>
                  <a:gd name="connsiteY806" fmla="*/ 3598 h 10000"/>
                  <a:gd name="connsiteX807" fmla="*/ 8797 w 10820"/>
                  <a:gd name="connsiteY807" fmla="*/ 3641 h 10000"/>
                  <a:gd name="connsiteX808" fmla="*/ 8783 w 10820"/>
                  <a:gd name="connsiteY808" fmla="*/ 3667 h 10000"/>
                  <a:gd name="connsiteX809" fmla="*/ 8779 w 10820"/>
                  <a:gd name="connsiteY809" fmla="*/ 3650 h 10000"/>
                  <a:gd name="connsiteX810" fmla="*/ 8779 w 10820"/>
                  <a:gd name="connsiteY810" fmla="*/ 3615 h 10000"/>
                  <a:gd name="connsiteX811" fmla="*/ 8770 w 10820"/>
                  <a:gd name="connsiteY811" fmla="*/ 3590 h 10000"/>
                  <a:gd name="connsiteX812" fmla="*/ 8765 w 10820"/>
                  <a:gd name="connsiteY812" fmla="*/ 3598 h 10000"/>
                  <a:gd name="connsiteX813" fmla="*/ 8756 w 10820"/>
                  <a:gd name="connsiteY813" fmla="*/ 3590 h 10000"/>
                  <a:gd name="connsiteX814" fmla="*/ 8737 w 10820"/>
                  <a:gd name="connsiteY814" fmla="*/ 3556 h 10000"/>
                  <a:gd name="connsiteX815" fmla="*/ 8724 w 10820"/>
                  <a:gd name="connsiteY815" fmla="*/ 3538 h 10000"/>
                  <a:gd name="connsiteX816" fmla="*/ 8696 w 10820"/>
                  <a:gd name="connsiteY816" fmla="*/ 3538 h 10000"/>
                  <a:gd name="connsiteX817" fmla="*/ 8691 w 10820"/>
                  <a:gd name="connsiteY817" fmla="*/ 3513 h 10000"/>
                  <a:gd name="connsiteX818" fmla="*/ 8668 w 10820"/>
                  <a:gd name="connsiteY818" fmla="*/ 3504 h 10000"/>
                  <a:gd name="connsiteX819" fmla="*/ 8668 w 10820"/>
                  <a:gd name="connsiteY819" fmla="*/ 3487 h 10000"/>
                  <a:gd name="connsiteX820" fmla="*/ 8691 w 10820"/>
                  <a:gd name="connsiteY820" fmla="*/ 3350 h 10000"/>
                  <a:gd name="connsiteX821" fmla="*/ 8691 w 10820"/>
                  <a:gd name="connsiteY821" fmla="*/ 3291 h 10000"/>
                  <a:gd name="connsiteX822" fmla="*/ 8677 w 10820"/>
                  <a:gd name="connsiteY822" fmla="*/ 3239 h 10000"/>
                  <a:gd name="connsiteX823" fmla="*/ 8677 w 10820"/>
                  <a:gd name="connsiteY823" fmla="*/ 3231 h 10000"/>
                  <a:gd name="connsiteX824" fmla="*/ 8636 w 10820"/>
                  <a:gd name="connsiteY824" fmla="*/ 3128 h 10000"/>
                  <a:gd name="connsiteX825" fmla="*/ 8622 w 10820"/>
                  <a:gd name="connsiteY825" fmla="*/ 3120 h 10000"/>
                  <a:gd name="connsiteX826" fmla="*/ 8618 w 10820"/>
                  <a:gd name="connsiteY826" fmla="*/ 3094 h 10000"/>
                  <a:gd name="connsiteX827" fmla="*/ 8594 w 10820"/>
                  <a:gd name="connsiteY827" fmla="*/ 3077 h 10000"/>
                  <a:gd name="connsiteX828" fmla="*/ 8548 w 10820"/>
                  <a:gd name="connsiteY828" fmla="*/ 3077 h 10000"/>
                  <a:gd name="connsiteX829" fmla="*/ 8535 w 10820"/>
                  <a:gd name="connsiteY829" fmla="*/ 3068 h 10000"/>
                  <a:gd name="connsiteX830" fmla="*/ 8429 w 10820"/>
                  <a:gd name="connsiteY830" fmla="*/ 3077 h 10000"/>
                  <a:gd name="connsiteX831" fmla="*/ 8424 w 10820"/>
                  <a:gd name="connsiteY831" fmla="*/ 3077 h 10000"/>
                  <a:gd name="connsiteX832" fmla="*/ 8396 w 10820"/>
                  <a:gd name="connsiteY832" fmla="*/ 3077 h 10000"/>
                  <a:gd name="connsiteX833" fmla="*/ 8387 w 10820"/>
                  <a:gd name="connsiteY833" fmla="*/ 3094 h 10000"/>
                  <a:gd name="connsiteX834" fmla="*/ 8378 w 10820"/>
                  <a:gd name="connsiteY834" fmla="*/ 3094 h 10000"/>
                  <a:gd name="connsiteX835" fmla="*/ 8341 w 10820"/>
                  <a:gd name="connsiteY835" fmla="*/ 3077 h 10000"/>
                  <a:gd name="connsiteX836" fmla="*/ 8336 w 10820"/>
                  <a:gd name="connsiteY836" fmla="*/ 3077 h 10000"/>
                  <a:gd name="connsiteX837" fmla="*/ 8327 w 10820"/>
                  <a:gd name="connsiteY837" fmla="*/ 3103 h 10000"/>
                  <a:gd name="connsiteX838" fmla="*/ 8309 w 10820"/>
                  <a:gd name="connsiteY838" fmla="*/ 3120 h 10000"/>
                  <a:gd name="connsiteX839" fmla="*/ 8304 w 10820"/>
                  <a:gd name="connsiteY839" fmla="*/ 3103 h 10000"/>
                  <a:gd name="connsiteX840" fmla="*/ 8276 w 10820"/>
                  <a:gd name="connsiteY840" fmla="*/ 3103 h 10000"/>
                  <a:gd name="connsiteX841" fmla="*/ 8267 w 10820"/>
                  <a:gd name="connsiteY841" fmla="*/ 3120 h 10000"/>
                  <a:gd name="connsiteX842" fmla="*/ 8253 w 10820"/>
                  <a:gd name="connsiteY842" fmla="*/ 3103 h 10000"/>
                  <a:gd name="connsiteX843" fmla="*/ 8230 w 10820"/>
                  <a:gd name="connsiteY843" fmla="*/ 3128 h 10000"/>
                  <a:gd name="connsiteX844" fmla="*/ 8217 w 10820"/>
                  <a:gd name="connsiteY844" fmla="*/ 3128 h 10000"/>
                  <a:gd name="connsiteX845" fmla="*/ 8203 w 10820"/>
                  <a:gd name="connsiteY845" fmla="*/ 3154 h 10000"/>
                  <a:gd name="connsiteX846" fmla="*/ 8175 w 10820"/>
                  <a:gd name="connsiteY846" fmla="*/ 3094 h 10000"/>
                  <a:gd name="connsiteX847" fmla="*/ 8161 w 10820"/>
                  <a:gd name="connsiteY847" fmla="*/ 3094 h 10000"/>
                  <a:gd name="connsiteX848" fmla="*/ 8157 w 10820"/>
                  <a:gd name="connsiteY848" fmla="*/ 3077 h 10000"/>
                  <a:gd name="connsiteX849" fmla="*/ 8180 w 10820"/>
                  <a:gd name="connsiteY849" fmla="*/ 3068 h 10000"/>
                  <a:gd name="connsiteX850" fmla="*/ 8189 w 10820"/>
                  <a:gd name="connsiteY850" fmla="*/ 3043 h 10000"/>
                  <a:gd name="connsiteX851" fmla="*/ 8189 w 10820"/>
                  <a:gd name="connsiteY851" fmla="*/ 3017 h 10000"/>
                  <a:gd name="connsiteX852" fmla="*/ 8147 w 10820"/>
                  <a:gd name="connsiteY852" fmla="*/ 2940 h 10000"/>
                  <a:gd name="connsiteX853" fmla="*/ 8143 w 10820"/>
                  <a:gd name="connsiteY853" fmla="*/ 2915 h 10000"/>
                  <a:gd name="connsiteX854" fmla="*/ 8143 w 10820"/>
                  <a:gd name="connsiteY854" fmla="*/ 2906 h 10000"/>
                  <a:gd name="connsiteX855" fmla="*/ 8097 w 10820"/>
                  <a:gd name="connsiteY855" fmla="*/ 2932 h 10000"/>
                  <a:gd name="connsiteX856" fmla="*/ 8083 w 10820"/>
                  <a:gd name="connsiteY856" fmla="*/ 2932 h 10000"/>
                  <a:gd name="connsiteX857" fmla="*/ 8074 w 10820"/>
                  <a:gd name="connsiteY857" fmla="*/ 2906 h 10000"/>
                  <a:gd name="connsiteX858" fmla="*/ 8074 w 10820"/>
                  <a:gd name="connsiteY858" fmla="*/ 2897 h 10000"/>
                  <a:gd name="connsiteX859" fmla="*/ 8055 w 10820"/>
                  <a:gd name="connsiteY859" fmla="*/ 2872 h 10000"/>
                  <a:gd name="connsiteX860" fmla="*/ 8046 w 10820"/>
                  <a:gd name="connsiteY860" fmla="*/ 2829 h 10000"/>
                  <a:gd name="connsiteX861" fmla="*/ 8041 w 10820"/>
                  <a:gd name="connsiteY861" fmla="*/ 2829 h 10000"/>
                  <a:gd name="connsiteX862" fmla="*/ 8023 w 10820"/>
                  <a:gd name="connsiteY862" fmla="*/ 2803 h 10000"/>
                  <a:gd name="connsiteX863" fmla="*/ 8014 w 10820"/>
                  <a:gd name="connsiteY863" fmla="*/ 2829 h 10000"/>
                  <a:gd name="connsiteX864" fmla="*/ 8000 w 10820"/>
                  <a:gd name="connsiteY864" fmla="*/ 2829 h 10000"/>
                  <a:gd name="connsiteX865" fmla="*/ 7995 w 10820"/>
                  <a:gd name="connsiteY865" fmla="*/ 2821 h 10000"/>
                  <a:gd name="connsiteX866" fmla="*/ 7972 w 10820"/>
                  <a:gd name="connsiteY866" fmla="*/ 2803 h 10000"/>
                  <a:gd name="connsiteX867" fmla="*/ 7968 w 10820"/>
                  <a:gd name="connsiteY867" fmla="*/ 2821 h 10000"/>
                  <a:gd name="connsiteX868" fmla="*/ 7968 w 10820"/>
                  <a:gd name="connsiteY868" fmla="*/ 2803 h 10000"/>
                  <a:gd name="connsiteX869" fmla="*/ 7995 w 10820"/>
                  <a:gd name="connsiteY869" fmla="*/ 2735 h 10000"/>
                  <a:gd name="connsiteX870" fmla="*/ 8000 w 10820"/>
                  <a:gd name="connsiteY870" fmla="*/ 2735 h 10000"/>
                  <a:gd name="connsiteX871" fmla="*/ 8014 w 10820"/>
                  <a:gd name="connsiteY871" fmla="*/ 2744 h 10000"/>
                  <a:gd name="connsiteX872" fmla="*/ 8023 w 10820"/>
                  <a:gd name="connsiteY872" fmla="*/ 2769 h 10000"/>
                  <a:gd name="connsiteX873" fmla="*/ 8032 w 10820"/>
                  <a:gd name="connsiteY873" fmla="*/ 2744 h 10000"/>
                  <a:gd name="connsiteX874" fmla="*/ 8032 w 10820"/>
                  <a:gd name="connsiteY874" fmla="*/ 2709 h 10000"/>
                  <a:gd name="connsiteX875" fmla="*/ 8023 w 10820"/>
                  <a:gd name="connsiteY875" fmla="*/ 2632 h 10000"/>
                  <a:gd name="connsiteX876" fmla="*/ 7986 w 10820"/>
                  <a:gd name="connsiteY876" fmla="*/ 2581 h 10000"/>
                  <a:gd name="connsiteX877" fmla="*/ 7968 w 10820"/>
                  <a:gd name="connsiteY877" fmla="*/ 2581 h 10000"/>
                  <a:gd name="connsiteX878" fmla="*/ 7963 w 10820"/>
                  <a:gd name="connsiteY878" fmla="*/ 2556 h 10000"/>
                  <a:gd name="connsiteX879" fmla="*/ 7935 w 10820"/>
                  <a:gd name="connsiteY879" fmla="*/ 2547 h 10000"/>
                  <a:gd name="connsiteX880" fmla="*/ 7912 w 10820"/>
                  <a:gd name="connsiteY880" fmla="*/ 2547 h 10000"/>
                  <a:gd name="connsiteX881" fmla="*/ 7912 w 10820"/>
                  <a:gd name="connsiteY881" fmla="*/ 2556 h 10000"/>
                  <a:gd name="connsiteX882" fmla="*/ 7908 w 10820"/>
                  <a:gd name="connsiteY882" fmla="*/ 2547 h 10000"/>
                  <a:gd name="connsiteX883" fmla="*/ 7862 w 10820"/>
                  <a:gd name="connsiteY883" fmla="*/ 2547 h 10000"/>
                  <a:gd name="connsiteX884" fmla="*/ 7848 w 10820"/>
                  <a:gd name="connsiteY884" fmla="*/ 2556 h 10000"/>
                  <a:gd name="connsiteX885" fmla="*/ 7820 w 10820"/>
                  <a:gd name="connsiteY885" fmla="*/ 2547 h 10000"/>
                  <a:gd name="connsiteX886" fmla="*/ 7806 w 10820"/>
                  <a:gd name="connsiteY886" fmla="*/ 2513 h 10000"/>
                  <a:gd name="connsiteX887" fmla="*/ 7788 w 10820"/>
                  <a:gd name="connsiteY887" fmla="*/ 2513 h 10000"/>
                  <a:gd name="connsiteX888" fmla="*/ 7760 w 10820"/>
                  <a:gd name="connsiteY888" fmla="*/ 2470 h 10000"/>
                  <a:gd name="connsiteX889" fmla="*/ 7751 w 10820"/>
                  <a:gd name="connsiteY889" fmla="*/ 2470 h 10000"/>
                  <a:gd name="connsiteX890" fmla="*/ 7705 w 10820"/>
                  <a:gd name="connsiteY890" fmla="*/ 2462 h 10000"/>
                  <a:gd name="connsiteX891" fmla="*/ 7673 w 10820"/>
                  <a:gd name="connsiteY891" fmla="*/ 2419 h 10000"/>
                  <a:gd name="connsiteX892" fmla="*/ 7627 w 10820"/>
                  <a:gd name="connsiteY892" fmla="*/ 2419 h 10000"/>
                  <a:gd name="connsiteX893" fmla="*/ 7613 w 10820"/>
                  <a:gd name="connsiteY893" fmla="*/ 2410 h 10000"/>
                  <a:gd name="connsiteX894" fmla="*/ 7493 w 10820"/>
                  <a:gd name="connsiteY894" fmla="*/ 2393 h 10000"/>
                  <a:gd name="connsiteX895" fmla="*/ 7479 w 10820"/>
                  <a:gd name="connsiteY895" fmla="*/ 2385 h 10000"/>
                  <a:gd name="connsiteX896" fmla="*/ 7479 w 10820"/>
                  <a:gd name="connsiteY896" fmla="*/ 2376 h 10000"/>
                  <a:gd name="connsiteX897" fmla="*/ 7465 w 10820"/>
                  <a:gd name="connsiteY897" fmla="*/ 2359 h 10000"/>
                  <a:gd name="connsiteX898" fmla="*/ 7447 w 10820"/>
                  <a:gd name="connsiteY898" fmla="*/ 2350 h 10000"/>
                  <a:gd name="connsiteX899" fmla="*/ 7433 w 10820"/>
                  <a:gd name="connsiteY899" fmla="*/ 2376 h 10000"/>
                  <a:gd name="connsiteX900" fmla="*/ 7433 w 10820"/>
                  <a:gd name="connsiteY900" fmla="*/ 2385 h 10000"/>
                  <a:gd name="connsiteX901" fmla="*/ 7447 w 10820"/>
                  <a:gd name="connsiteY901" fmla="*/ 2410 h 10000"/>
                  <a:gd name="connsiteX902" fmla="*/ 7447 w 10820"/>
                  <a:gd name="connsiteY902" fmla="*/ 2436 h 10000"/>
                  <a:gd name="connsiteX903" fmla="*/ 7452 w 10820"/>
                  <a:gd name="connsiteY903" fmla="*/ 2462 h 10000"/>
                  <a:gd name="connsiteX904" fmla="*/ 7447 w 10820"/>
                  <a:gd name="connsiteY904" fmla="*/ 2470 h 10000"/>
                  <a:gd name="connsiteX905" fmla="*/ 7424 w 10820"/>
                  <a:gd name="connsiteY905" fmla="*/ 2513 h 10000"/>
                  <a:gd name="connsiteX906" fmla="*/ 7419 w 10820"/>
                  <a:gd name="connsiteY906" fmla="*/ 2556 h 10000"/>
                  <a:gd name="connsiteX907" fmla="*/ 7406 w 10820"/>
                  <a:gd name="connsiteY907" fmla="*/ 2624 h 10000"/>
                  <a:gd name="connsiteX908" fmla="*/ 7392 w 10820"/>
                  <a:gd name="connsiteY908" fmla="*/ 2624 h 10000"/>
                  <a:gd name="connsiteX909" fmla="*/ 7373 w 10820"/>
                  <a:gd name="connsiteY909" fmla="*/ 2650 h 10000"/>
                  <a:gd name="connsiteX910" fmla="*/ 7364 w 10820"/>
                  <a:gd name="connsiteY910" fmla="*/ 2684 h 10000"/>
                  <a:gd name="connsiteX911" fmla="*/ 7364 w 10820"/>
                  <a:gd name="connsiteY911" fmla="*/ 2692 h 10000"/>
                  <a:gd name="connsiteX912" fmla="*/ 7373 w 10820"/>
                  <a:gd name="connsiteY912" fmla="*/ 2718 h 10000"/>
                  <a:gd name="connsiteX913" fmla="*/ 7373 w 10820"/>
                  <a:gd name="connsiteY913" fmla="*/ 2744 h 10000"/>
                  <a:gd name="connsiteX914" fmla="*/ 7359 w 10820"/>
                  <a:gd name="connsiteY914" fmla="*/ 2744 h 10000"/>
                  <a:gd name="connsiteX915" fmla="*/ 7359 w 10820"/>
                  <a:gd name="connsiteY915" fmla="*/ 2795 h 10000"/>
                  <a:gd name="connsiteX916" fmla="*/ 7364 w 10820"/>
                  <a:gd name="connsiteY916" fmla="*/ 2821 h 10000"/>
                  <a:gd name="connsiteX917" fmla="*/ 7378 w 10820"/>
                  <a:gd name="connsiteY917" fmla="*/ 2846 h 10000"/>
                  <a:gd name="connsiteX918" fmla="*/ 7378 w 10820"/>
                  <a:gd name="connsiteY918" fmla="*/ 2855 h 10000"/>
                  <a:gd name="connsiteX919" fmla="*/ 7378 w 10820"/>
                  <a:gd name="connsiteY919" fmla="*/ 2880 h 10000"/>
                  <a:gd name="connsiteX920" fmla="*/ 7378 w 10820"/>
                  <a:gd name="connsiteY920" fmla="*/ 2906 h 10000"/>
                  <a:gd name="connsiteX921" fmla="*/ 7364 w 10820"/>
                  <a:gd name="connsiteY921" fmla="*/ 2906 h 10000"/>
                  <a:gd name="connsiteX922" fmla="*/ 7346 w 10820"/>
                  <a:gd name="connsiteY922" fmla="*/ 2880 h 10000"/>
                  <a:gd name="connsiteX923" fmla="*/ 7332 w 10820"/>
                  <a:gd name="connsiteY923" fmla="*/ 2915 h 10000"/>
                  <a:gd name="connsiteX924" fmla="*/ 7318 w 10820"/>
                  <a:gd name="connsiteY924" fmla="*/ 2906 h 10000"/>
                  <a:gd name="connsiteX925" fmla="*/ 7313 w 10820"/>
                  <a:gd name="connsiteY925" fmla="*/ 2915 h 10000"/>
                  <a:gd name="connsiteX926" fmla="*/ 7313 w 10820"/>
                  <a:gd name="connsiteY926" fmla="*/ 2906 h 10000"/>
                  <a:gd name="connsiteX927" fmla="*/ 7286 w 10820"/>
                  <a:gd name="connsiteY927" fmla="*/ 2940 h 10000"/>
                  <a:gd name="connsiteX928" fmla="*/ 7276 w 10820"/>
                  <a:gd name="connsiteY928" fmla="*/ 2966 h 10000"/>
                  <a:gd name="connsiteX929" fmla="*/ 7272 w 10820"/>
                  <a:gd name="connsiteY929" fmla="*/ 2983 h 10000"/>
                  <a:gd name="connsiteX930" fmla="*/ 7267 w 10820"/>
                  <a:gd name="connsiteY930" fmla="*/ 3009 h 10000"/>
                  <a:gd name="connsiteX931" fmla="*/ 7253 w 10820"/>
                  <a:gd name="connsiteY931" fmla="*/ 3009 h 10000"/>
                  <a:gd name="connsiteX932" fmla="*/ 7244 w 10820"/>
                  <a:gd name="connsiteY932" fmla="*/ 3017 h 10000"/>
                  <a:gd name="connsiteX933" fmla="*/ 7240 w 10820"/>
                  <a:gd name="connsiteY933" fmla="*/ 3009 h 10000"/>
                  <a:gd name="connsiteX934" fmla="*/ 7230 w 10820"/>
                  <a:gd name="connsiteY934" fmla="*/ 2991 h 10000"/>
                  <a:gd name="connsiteX935" fmla="*/ 7226 w 10820"/>
                  <a:gd name="connsiteY935" fmla="*/ 2983 h 10000"/>
                  <a:gd name="connsiteX936" fmla="*/ 7226 w 10820"/>
                  <a:gd name="connsiteY936" fmla="*/ 2966 h 10000"/>
                  <a:gd name="connsiteX937" fmla="*/ 7212 w 10820"/>
                  <a:gd name="connsiteY937" fmla="*/ 2957 h 10000"/>
                  <a:gd name="connsiteX938" fmla="*/ 7212 w 10820"/>
                  <a:gd name="connsiteY938" fmla="*/ 2932 h 10000"/>
                  <a:gd name="connsiteX939" fmla="*/ 7198 w 10820"/>
                  <a:gd name="connsiteY939" fmla="*/ 2915 h 10000"/>
                  <a:gd name="connsiteX940" fmla="*/ 7194 w 10820"/>
                  <a:gd name="connsiteY940" fmla="*/ 2915 h 10000"/>
                  <a:gd name="connsiteX941" fmla="*/ 7157 w 10820"/>
                  <a:gd name="connsiteY941" fmla="*/ 2880 h 10000"/>
                  <a:gd name="connsiteX942" fmla="*/ 7138 w 10820"/>
                  <a:gd name="connsiteY942" fmla="*/ 2880 h 10000"/>
                  <a:gd name="connsiteX943" fmla="*/ 7120 w 10820"/>
                  <a:gd name="connsiteY943" fmla="*/ 2872 h 10000"/>
                  <a:gd name="connsiteX944" fmla="*/ 7111 w 10820"/>
                  <a:gd name="connsiteY944" fmla="*/ 2846 h 10000"/>
                  <a:gd name="connsiteX945" fmla="*/ 7106 w 10820"/>
                  <a:gd name="connsiteY945" fmla="*/ 2846 h 10000"/>
                  <a:gd name="connsiteX946" fmla="*/ 7092 w 10820"/>
                  <a:gd name="connsiteY946" fmla="*/ 2829 h 10000"/>
                  <a:gd name="connsiteX947" fmla="*/ 7051 w 10820"/>
                  <a:gd name="connsiteY947" fmla="*/ 2829 h 10000"/>
                  <a:gd name="connsiteX948" fmla="*/ 7037 w 10820"/>
                  <a:gd name="connsiteY948" fmla="*/ 2880 h 10000"/>
                  <a:gd name="connsiteX949" fmla="*/ 7037 w 10820"/>
                  <a:gd name="connsiteY949" fmla="*/ 2906 h 10000"/>
                  <a:gd name="connsiteX950" fmla="*/ 7037 w 10820"/>
                  <a:gd name="connsiteY950" fmla="*/ 2932 h 10000"/>
                  <a:gd name="connsiteX951" fmla="*/ 7037 w 10820"/>
                  <a:gd name="connsiteY951" fmla="*/ 2940 h 10000"/>
                  <a:gd name="connsiteX952" fmla="*/ 7023 w 10820"/>
                  <a:gd name="connsiteY952" fmla="*/ 2906 h 10000"/>
                  <a:gd name="connsiteX953" fmla="*/ 7023 w 10820"/>
                  <a:gd name="connsiteY953" fmla="*/ 2915 h 10000"/>
                  <a:gd name="connsiteX954" fmla="*/ 6991 w 10820"/>
                  <a:gd name="connsiteY954" fmla="*/ 2906 h 10000"/>
                  <a:gd name="connsiteX955" fmla="*/ 6977 w 10820"/>
                  <a:gd name="connsiteY955" fmla="*/ 2915 h 10000"/>
                  <a:gd name="connsiteX956" fmla="*/ 6963 w 10820"/>
                  <a:gd name="connsiteY956" fmla="*/ 2915 h 10000"/>
                  <a:gd name="connsiteX957" fmla="*/ 6949 w 10820"/>
                  <a:gd name="connsiteY957" fmla="*/ 2872 h 10000"/>
                  <a:gd name="connsiteX958" fmla="*/ 6935 w 10820"/>
                  <a:gd name="connsiteY958" fmla="*/ 2855 h 10000"/>
                  <a:gd name="connsiteX959" fmla="*/ 6922 w 10820"/>
                  <a:gd name="connsiteY959" fmla="*/ 2803 h 10000"/>
                  <a:gd name="connsiteX960" fmla="*/ 6917 w 10820"/>
                  <a:gd name="connsiteY960" fmla="*/ 2786 h 10000"/>
                  <a:gd name="connsiteX961" fmla="*/ 6903 w 10820"/>
                  <a:gd name="connsiteY961" fmla="*/ 2709 h 10000"/>
                  <a:gd name="connsiteX962" fmla="*/ 6903 w 10820"/>
                  <a:gd name="connsiteY962" fmla="*/ 2692 h 10000"/>
                  <a:gd name="connsiteX963" fmla="*/ 6899 w 10820"/>
                  <a:gd name="connsiteY963" fmla="*/ 2709 h 10000"/>
                  <a:gd name="connsiteX964" fmla="*/ 6857 w 10820"/>
                  <a:gd name="connsiteY964" fmla="*/ 2872 h 10000"/>
                  <a:gd name="connsiteX965" fmla="*/ 6857 w 10820"/>
                  <a:gd name="connsiteY965" fmla="*/ 3009 h 10000"/>
                  <a:gd name="connsiteX966" fmla="*/ 6848 w 10820"/>
                  <a:gd name="connsiteY966" fmla="*/ 3017 h 10000"/>
                  <a:gd name="connsiteX967" fmla="*/ 6839 w 10820"/>
                  <a:gd name="connsiteY967" fmla="*/ 3068 h 10000"/>
                  <a:gd name="connsiteX968" fmla="*/ 6829 w 10820"/>
                  <a:gd name="connsiteY968" fmla="*/ 3077 h 10000"/>
                  <a:gd name="connsiteX969" fmla="*/ 6829 w 10820"/>
                  <a:gd name="connsiteY969" fmla="*/ 3128 h 10000"/>
                  <a:gd name="connsiteX970" fmla="*/ 6816 w 10820"/>
                  <a:gd name="connsiteY970" fmla="*/ 3154 h 10000"/>
                  <a:gd name="connsiteX971" fmla="*/ 6811 w 10820"/>
                  <a:gd name="connsiteY971" fmla="*/ 3179 h 10000"/>
                  <a:gd name="connsiteX972" fmla="*/ 6797 w 10820"/>
                  <a:gd name="connsiteY972" fmla="*/ 3171 h 10000"/>
                  <a:gd name="connsiteX973" fmla="*/ 6783 w 10820"/>
                  <a:gd name="connsiteY973" fmla="*/ 3103 h 10000"/>
                  <a:gd name="connsiteX974" fmla="*/ 6779 w 10820"/>
                  <a:gd name="connsiteY974" fmla="*/ 3094 h 10000"/>
                  <a:gd name="connsiteX975" fmla="*/ 6779 w 10820"/>
                  <a:gd name="connsiteY975" fmla="*/ 3120 h 10000"/>
                  <a:gd name="connsiteX976" fmla="*/ 6770 w 10820"/>
                  <a:gd name="connsiteY976" fmla="*/ 3128 h 10000"/>
                  <a:gd name="connsiteX977" fmla="*/ 6765 w 10820"/>
                  <a:gd name="connsiteY977" fmla="*/ 3103 h 10000"/>
                  <a:gd name="connsiteX978" fmla="*/ 6756 w 10820"/>
                  <a:gd name="connsiteY978" fmla="*/ 3103 h 10000"/>
                  <a:gd name="connsiteX979" fmla="*/ 6742 w 10820"/>
                  <a:gd name="connsiteY979" fmla="*/ 3103 h 10000"/>
                  <a:gd name="connsiteX980" fmla="*/ 6737 w 10820"/>
                  <a:gd name="connsiteY980" fmla="*/ 3077 h 10000"/>
                  <a:gd name="connsiteX981" fmla="*/ 6737 w 10820"/>
                  <a:gd name="connsiteY981" fmla="*/ 3068 h 10000"/>
                  <a:gd name="connsiteX982" fmla="*/ 6728 w 10820"/>
                  <a:gd name="connsiteY982" fmla="*/ 3043 h 10000"/>
                  <a:gd name="connsiteX983" fmla="*/ 6724 w 10820"/>
                  <a:gd name="connsiteY983" fmla="*/ 3051 h 10000"/>
                  <a:gd name="connsiteX984" fmla="*/ 6714 w 10820"/>
                  <a:gd name="connsiteY984" fmla="*/ 3043 h 10000"/>
                  <a:gd name="connsiteX985" fmla="*/ 6710 w 10820"/>
                  <a:gd name="connsiteY985" fmla="*/ 3034 h 10000"/>
                  <a:gd name="connsiteX986" fmla="*/ 6705 w 10820"/>
                  <a:gd name="connsiteY986" fmla="*/ 2983 h 10000"/>
                  <a:gd name="connsiteX987" fmla="*/ 6696 w 10820"/>
                  <a:gd name="connsiteY987" fmla="*/ 2966 h 10000"/>
                  <a:gd name="connsiteX988" fmla="*/ 6691 w 10820"/>
                  <a:gd name="connsiteY988" fmla="*/ 2983 h 10000"/>
                  <a:gd name="connsiteX989" fmla="*/ 6677 w 10820"/>
                  <a:gd name="connsiteY989" fmla="*/ 2897 h 10000"/>
                  <a:gd name="connsiteX990" fmla="*/ 6677 w 10820"/>
                  <a:gd name="connsiteY990" fmla="*/ 2897 h 10000"/>
                  <a:gd name="connsiteX991" fmla="*/ 6677 w 10820"/>
                  <a:gd name="connsiteY991" fmla="*/ 2872 h 10000"/>
                  <a:gd name="connsiteX992" fmla="*/ 6668 w 10820"/>
                  <a:gd name="connsiteY992" fmla="*/ 2821 h 10000"/>
                  <a:gd name="connsiteX993" fmla="*/ 6664 w 10820"/>
                  <a:gd name="connsiteY993" fmla="*/ 2829 h 10000"/>
                  <a:gd name="connsiteX994" fmla="*/ 6654 w 10820"/>
                  <a:gd name="connsiteY994" fmla="*/ 2846 h 10000"/>
                  <a:gd name="connsiteX995" fmla="*/ 6650 w 10820"/>
                  <a:gd name="connsiteY995" fmla="*/ 2829 h 10000"/>
                  <a:gd name="connsiteX996" fmla="*/ 6650 w 10820"/>
                  <a:gd name="connsiteY996" fmla="*/ 2803 h 10000"/>
                  <a:gd name="connsiteX997" fmla="*/ 6650 w 10820"/>
                  <a:gd name="connsiteY997" fmla="*/ 2795 h 10000"/>
                  <a:gd name="connsiteX998" fmla="*/ 6641 w 10820"/>
                  <a:gd name="connsiteY998" fmla="*/ 2786 h 10000"/>
                  <a:gd name="connsiteX999" fmla="*/ 6636 w 10820"/>
                  <a:gd name="connsiteY999" fmla="*/ 2735 h 10000"/>
                  <a:gd name="connsiteX1000" fmla="*/ 6664 w 10820"/>
                  <a:gd name="connsiteY1000" fmla="*/ 2667 h 10000"/>
                  <a:gd name="connsiteX1001" fmla="*/ 6668 w 10820"/>
                  <a:gd name="connsiteY1001" fmla="*/ 2684 h 10000"/>
                  <a:gd name="connsiteX1002" fmla="*/ 6677 w 10820"/>
                  <a:gd name="connsiteY1002" fmla="*/ 2667 h 10000"/>
                  <a:gd name="connsiteX1003" fmla="*/ 6668 w 10820"/>
                  <a:gd name="connsiteY1003" fmla="*/ 2667 h 10000"/>
                  <a:gd name="connsiteX1004" fmla="*/ 6668 w 10820"/>
                  <a:gd name="connsiteY1004" fmla="*/ 2650 h 10000"/>
                  <a:gd name="connsiteX1005" fmla="*/ 6682 w 10820"/>
                  <a:gd name="connsiteY1005" fmla="*/ 2650 h 10000"/>
                  <a:gd name="connsiteX1006" fmla="*/ 6691 w 10820"/>
                  <a:gd name="connsiteY1006" fmla="*/ 2624 h 10000"/>
                  <a:gd name="connsiteX1007" fmla="*/ 6682 w 10820"/>
                  <a:gd name="connsiteY1007" fmla="*/ 2632 h 10000"/>
                  <a:gd name="connsiteX1008" fmla="*/ 6682 w 10820"/>
                  <a:gd name="connsiteY1008" fmla="*/ 2624 h 10000"/>
                  <a:gd name="connsiteX1009" fmla="*/ 6691 w 10820"/>
                  <a:gd name="connsiteY1009" fmla="*/ 2607 h 10000"/>
                  <a:gd name="connsiteX1010" fmla="*/ 6691 w 10820"/>
                  <a:gd name="connsiteY1010" fmla="*/ 2598 h 10000"/>
                  <a:gd name="connsiteX1011" fmla="*/ 6691 w 10820"/>
                  <a:gd name="connsiteY1011" fmla="*/ 2581 h 10000"/>
                  <a:gd name="connsiteX1012" fmla="*/ 6696 w 10820"/>
                  <a:gd name="connsiteY1012" fmla="*/ 2530 h 10000"/>
                  <a:gd name="connsiteX1013" fmla="*/ 6677 w 10820"/>
                  <a:gd name="connsiteY1013" fmla="*/ 2513 h 10000"/>
                  <a:gd name="connsiteX1014" fmla="*/ 6677 w 10820"/>
                  <a:gd name="connsiteY1014" fmla="*/ 2496 h 10000"/>
                  <a:gd name="connsiteX1015" fmla="*/ 6682 w 10820"/>
                  <a:gd name="connsiteY1015" fmla="*/ 2470 h 10000"/>
                  <a:gd name="connsiteX1016" fmla="*/ 6668 w 10820"/>
                  <a:gd name="connsiteY1016" fmla="*/ 2462 h 10000"/>
                  <a:gd name="connsiteX1017" fmla="*/ 6677 w 10820"/>
                  <a:gd name="connsiteY1017" fmla="*/ 2436 h 10000"/>
                  <a:gd name="connsiteX1018" fmla="*/ 6682 w 10820"/>
                  <a:gd name="connsiteY1018" fmla="*/ 2419 h 10000"/>
                  <a:gd name="connsiteX1019" fmla="*/ 6682 w 10820"/>
                  <a:gd name="connsiteY1019" fmla="*/ 2393 h 10000"/>
                  <a:gd name="connsiteX1020" fmla="*/ 6682 w 10820"/>
                  <a:gd name="connsiteY1020" fmla="*/ 2385 h 10000"/>
                  <a:gd name="connsiteX1021" fmla="*/ 6682 w 10820"/>
                  <a:gd name="connsiteY1021" fmla="*/ 2385 h 10000"/>
                  <a:gd name="connsiteX1022" fmla="*/ 6677 w 10820"/>
                  <a:gd name="connsiteY1022" fmla="*/ 2376 h 10000"/>
                  <a:gd name="connsiteX1023" fmla="*/ 6682 w 10820"/>
                  <a:gd name="connsiteY1023" fmla="*/ 2359 h 10000"/>
                  <a:gd name="connsiteX1024" fmla="*/ 6677 w 10820"/>
                  <a:gd name="connsiteY1024" fmla="*/ 2333 h 10000"/>
                  <a:gd name="connsiteX1025" fmla="*/ 6691 w 10820"/>
                  <a:gd name="connsiteY1025" fmla="*/ 2333 h 10000"/>
                  <a:gd name="connsiteX1026" fmla="*/ 6691 w 10820"/>
                  <a:gd name="connsiteY1026" fmla="*/ 2325 h 10000"/>
                  <a:gd name="connsiteX1027" fmla="*/ 6691 w 10820"/>
                  <a:gd name="connsiteY1027" fmla="*/ 2308 h 10000"/>
                  <a:gd name="connsiteX1028" fmla="*/ 6691 w 10820"/>
                  <a:gd name="connsiteY1028" fmla="*/ 2299 h 10000"/>
                  <a:gd name="connsiteX1029" fmla="*/ 6691 w 10820"/>
                  <a:gd name="connsiteY1029" fmla="*/ 2282 h 10000"/>
                  <a:gd name="connsiteX1030" fmla="*/ 6691 w 10820"/>
                  <a:gd name="connsiteY1030" fmla="*/ 2274 h 10000"/>
                  <a:gd name="connsiteX1031" fmla="*/ 6668 w 10820"/>
                  <a:gd name="connsiteY1031" fmla="*/ 2248 h 10000"/>
                  <a:gd name="connsiteX1032" fmla="*/ 6664 w 10820"/>
                  <a:gd name="connsiteY1032" fmla="*/ 2222 h 10000"/>
                  <a:gd name="connsiteX1033" fmla="*/ 6654 w 10820"/>
                  <a:gd name="connsiteY1033" fmla="*/ 2214 h 10000"/>
                  <a:gd name="connsiteX1034" fmla="*/ 6654 w 10820"/>
                  <a:gd name="connsiteY1034" fmla="*/ 2188 h 10000"/>
                  <a:gd name="connsiteX1035" fmla="*/ 6622 w 10820"/>
                  <a:gd name="connsiteY1035" fmla="*/ 2162 h 10000"/>
                  <a:gd name="connsiteX1036" fmla="*/ 6631 w 10820"/>
                  <a:gd name="connsiteY1036" fmla="*/ 2145 h 10000"/>
                  <a:gd name="connsiteX1037" fmla="*/ 6622 w 10820"/>
                  <a:gd name="connsiteY1037" fmla="*/ 2120 h 10000"/>
                  <a:gd name="connsiteX1038" fmla="*/ 6608 w 10820"/>
                  <a:gd name="connsiteY1038" fmla="*/ 2120 h 10000"/>
                  <a:gd name="connsiteX1039" fmla="*/ 6604 w 10820"/>
                  <a:gd name="connsiteY1039" fmla="*/ 2111 h 10000"/>
                  <a:gd name="connsiteX1040" fmla="*/ 6608 w 10820"/>
                  <a:gd name="connsiteY1040" fmla="*/ 2111 h 10000"/>
                  <a:gd name="connsiteX1041" fmla="*/ 6604 w 10820"/>
                  <a:gd name="connsiteY1041" fmla="*/ 2085 h 10000"/>
                  <a:gd name="connsiteX1042" fmla="*/ 6581 w 10820"/>
                  <a:gd name="connsiteY1042" fmla="*/ 2077 h 10000"/>
                  <a:gd name="connsiteX1043" fmla="*/ 6571 w 10820"/>
                  <a:gd name="connsiteY1043" fmla="*/ 2085 h 10000"/>
                  <a:gd name="connsiteX1044" fmla="*/ 6548 w 10820"/>
                  <a:gd name="connsiteY1044" fmla="*/ 2077 h 10000"/>
                  <a:gd name="connsiteX1045" fmla="*/ 6530 w 10820"/>
                  <a:gd name="connsiteY1045" fmla="*/ 2060 h 10000"/>
                  <a:gd name="connsiteX1046" fmla="*/ 6521 w 10820"/>
                  <a:gd name="connsiteY1046" fmla="*/ 2060 h 10000"/>
                  <a:gd name="connsiteX1047" fmla="*/ 6521 w 10820"/>
                  <a:gd name="connsiteY1047" fmla="*/ 2085 h 10000"/>
                  <a:gd name="connsiteX1048" fmla="*/ 6516 w 10820"/>
                  <a:gd name="connsiteY1048" fmla="*/ 2085 h 10000"/>
                  <a:gd name="connsiteX1049" fmla="*/ 6502 w 10820"/>
                  <a:gd name="connsiteY1049" fmla="*/ 2111 h 10000"/>
                  <a:gd name="connsiteX1050" fmla="*/ 6498 w 10820"/>
                  <a:gd name="connsiteY1050" fmla="*/ 2111 h 10000"/>
                  <a:gd name="connsiteX1051" fmla="*/ 6498 w 10820"/>
                  <a:gd name="connsiteY1051" fmla="*/ 2103 h 10000"/>
                  <a:gd name="connsiteX1052" fmla="*/ 6475 w 10820"/>
                  <a:gd name="connsiteY1052" fmla="*/ 2051 h 10000"/>
                  <a:gd name="connsiteX1053" fmla="*/ 6470 w 10820"/>
                  <a:gd name="connsiteY1053" fmla="*/ 2060 h 10000"/>
                  <a:gd name="connsiteX1054" fmla="*/ 6456 w 10820"/>
                  <a:gd name="connsiteY1054" fmla="*/ 2051 h 10000"/>
                  <a:gd name="connsiteX1055" fmla="*/ 6447 w 10820"/>
                  <a:gd name="connsiteY1055" fmla="*/ 2051 h 10000"/>
                  <a:gd name="connsiteX1056" fmla="*/ 6433 w 10820"/>
                  <a:gd name="connsiteY1056" fmla="*/ 2026 h 10000"/>
                  <a:gd name="connsiteX1057" fmla="*/ 6433 w 10820"/>
                  <a:gd name="connsiteY1057" fmla="*/ 2034 h 10000"/>
                  <a:gd name="connsiteX1058" fmla="*/ 6429 w 10820"/>
                  <a:gd name="connsiteY1058" fmla="*/ 2026 h 10000"/>
                  <a:gd name="connsiteX1059" fmla="*/ 6424 w 10820"/>
                  <a:gd name="connsiteY1059" fmla="*/ 2034 h 10000"/>
                  <a:gd name="connsiteX1060" fmla="*/ 6410 w 10820"/>
                  <a:gd name="connsiteY1060" fmla="*/ 2026 h 10000"/>
                  <a:gd name="connsiteX1061" fmla="*/ 6410 w 10820"/>
                  <a:gd name="connsiteY1061" fmla="*/ 1991 h 10000"/>
                  <a:gd name="connsiteX1062" fmla="*/ 6401 w 10820"/>
                  <a:gd name="connsiteY1062" fmla="*/ 1991 h 10000"/>
                  <a:gd name="connsiteX1063" fmla="*/ 6396 w 10820"/>
                  <a:gd name="connsiteY1063" fmla="*/ 2000 h 10000"/>
                  <a:gd name="connsiteX1064" fmla="*/ 6382 w 10820"/>
                  <a:gd name="connsiteY1064" fmla="*/ 1966 h 10000"/>
                  <a:gd name="connsiteX1065" fmla="*/ 6373 w 10820"/>
                  <a:gd name="connsiteY1065" fmla="*/ 1974 h 10000"/>
                  <a:gd name="connsiteX1066" fmla="*/ 6369 w 10820"/>
                  <a:gd name="connsiteY1066" fmla="*/ 1966 h 10000"/>
                  <a:gd name="connsiteX1067" fmla="*/ 6341 w 10820"/>
                  <a:gd name="connsiteY1067" fmla="*/ 1949 h 10000"/>
                  <a:gd name="connsiteX1068" fmla="*/ 6327 w 10820"/>
                  <a:gd name="connsiteY1068" fmla="*/ 1923 h 10000"/>
                  <a:gd name="connsiteX1069" fmla="*/ 6323 w 10820"/>
                  <a:gd name="connsiteY1069" fmla="*/ 1923 h 10000"/>
                  <a:gd name="connsiteX1070" fmla="*/ 6323 w 10820"/>
                  <a:gd name="connsiteY1070" fmla="*/ 1966 h 10000"/>
                  <a:gd name="connsiteX1071" fmla="*/ 6323 w 10820"/>
                  <a:gd name="connsiteY1071" fmla="*/ 1991 h 10000"/>
                  <a:gd name="connsiteX1072" fmla="*/ 6313 w 10820"/>
                  <a:gd name="connsiteY1072" fmla="*/ 1991 h 10000"/>
                  <a:gd name="connsiteX1073" fmla="*/ 6300 w 10820"/>
                  <a:gd name="connsiteY1073" fmla="*/ 1991 h 10000"/>
                  <a:gd name="connsiteX1074" fmla="*/ 6290 w 10820"/>
                  <a:gd name="connsiteY1074" fmla="*/ 1949 h 10000"/>
                  <a:gd name="connsiteX1075" fmla="*/ 6276 w 10820"/>
                  <a:gd name="connsiteY1075" fmla="*/ 2103 h 10000"/>
                  <a:gd name="connsiteX1076" fmla="*/ 6281 w 10820"/>
                  <a:gd name="connsiteY1076" fmla="*/ 2103 h 10000"/>
                  <a:gd name="connsiteX1077" fmla="*/ 6276 w 10820"/>
                  <a:gd name="connsiteY1077" fmla="*/ 2111 h 10000"/>
                  <a:gd name="connsiteX1078" fmla="*/ 6276 w 10820"/>
                  <a:gd name="connsiteY1078" fmla="*/ 2120 h 10000"/>
                  <a:gd name="connsiteX1079" fmla="*/ 6295 w 10820"/>
                  <a:gd name="connsiteY1079" fmla="*/ 2239 h 10000"/>
                  <a:gd name="connsiteX1080" fmla="*/ 6290 w 10820"/>
                  <a:gd name="connsiteY1080" fmla="*/ 2248 h 10000"/>
                  <a:gd name="connsiteX1081" fmla="*/ 6281 w 10820"/>
                  <a:gd name="connsiteY1081" fmla="*/ 2274 h 10000"/>
                  <a:gd name="connsiteX1082" fmla="*/ 6249 w 10820"/>
                  <a:gd name="connsiteY1082" fmla="*/ 2274 h 10000"/>
                  <a:gd name="connsiteX1083" fmla="*/ 6226 w 10820"/>
                  <a:gd name="connsiteY1083" fmla="*/ 2308 h 10000"/>
                  <a:gd name="connsiteX1084" fmla="*/ 6221 w 10820"/>
                  <a:gd name="connsiteY1084" fmla="*/ 2299 h 10000"/>
                  <a:gd name="connsiteX1085" fmla="*/ 6221 w 10820"/>
                  <a:gd name="connsiteY1085" fmla="*/ 2308 h 10000"/>
                  <a:gd name="connsiteX1086" fmla="*/ 6217 w 10820"/>
                  <a:gd name="connsiteY1086" fmla="*/ 2299 h 10000"/>
                  <a:gd name="connsiteX1087" fmla="*/ 6194 w 10820"/>
                  <a:gd name="connsiteY1087" fmla="*/ 2308 h 10000"/>
                  <a:gd name="connsiteX1088" fmla="*/ 6180 w 10820"/>
                  <a:gd name="connsiteY1088" fmla="*/ 2299 h 10000"/>
                  <a:gd name="connsiteX1089" fmla="*/ 6143 w 10820"/>
                  <a:gd name="connsiteY1089" fmla="*/ 2308 h 10000"/>
                  <a:gd name="connsiteX1090" fmla="*/ 6134 w 10820"/>
                  <a:gd name="connsiteY1090" fmla="*/ 2325 h 10000"/>
                  <a:gd name="connsiteX1091" fmla="*/ 6115 w 10820"/>
                  <a:gd name="connsiteY1091" fmla="*/ 2282 h 10000"/>
                  <a:gd name="connsiteX1092" fmla="*/ 6069 w 10820"/>
                  <a:gd name="connsiteY1092" fmla="*/ 2274 h 10000"/>
                  <a:gd name="connsiteX1093" fmla="*/ 6069 w 10820"/>
                  <a:gd name="connsiteY1093" fmla="*/ 2282 h 10000"/>
                  <a:gd name="connsiteX1094" fmla="*/ 6060 w 10820"/>
                  <a:gd name="connsiteY1094" fmla="*/ 2299 h 10000"/>
                  <a:gd name="connsiteX1095" fmla="*/ 5972 w 10820"/>
                  <a:gd name="connsiteY1095" fmla="*/ 2214 h 10000"/>
                  <a:gd name="connsiteX1096" fmla="*/ 5968 w 10820"/>
                  <a:gd name="connsiteY1096" fmla="*/ 2197 h 10000"/>
                  <a:gd name="connsiteX1097" fmla="*/ 5968 w 10820"/>
                  <a:gd name="connsiteY1097" fmla="*/ 2171 h 10000"/>
                  <a:gd name="connsiteX1098" fmla="*/ 5968 w 10820"/>
                  <a:gd name="connsiteY1098" fmla="*/ 2162 h 10000"/>
                  <a:gd name="connsiteX1099" fmla="*/ 5968 w 10820"/>
                  <a:gd name="connsiteY1099" fmla="*/ 2120 h 10000"/>
                  <a:gd name="connsiteX1100" fmla="*/ 5968 w 10820"/>
                  <a:gd name="connsiteY1100" fmla="*/ 2111 h 10000"/>
                  <a:gd name="connsiteX1101" fmla="*/ 5972 w 10820"/>
                  <a:gd name="connsiteY1101" fmla="*/ 2103 h 10000"/>
                  <a:gd name="connsiteX1102" fmla="*/ 5986 w 10820"/>
                  <a:gd name="connsiteY1102" fmla="*/ 2103 h 10000"/>
                  <a:gd name="connsiteX1103" fmla="*/ 5986 w 10820"/>
                  <a:gd name="connsiteY1103" fmla="*/ 2085 h 10000"/>
                  <a:gd name="connsiteX1104" fmla="*/ 5995 w 10820"/>
                  <a:gd name="connsiteY1104" fmla="*/ 2085 h 10000"/>
                  <a:gd name="connsiteX1105" fmla="*/ 5995 w 10820"/>
                  <a:gd name="connsiteY1105" fmla="*/ 2077 h 10000"/>
                  <a:gd name="connsiteX1106" fmla="*/ 5986 w 10820"/>
                  <a:gd name="connsiteY1106" fmla="*/ 2060 h 10000"/>
                  <a:gd name="connsiteX1107" fmla="*/ 5954 w 10820"/>
                  <a:gd name="connsiteY1107" fmla="*/ 2060 h 10000"/>
                  <a:gd name="connsiteX1108" fmla="*/ 5940 w 10820"/>
                  <a:gd name="connsiteY1108" fmla="*/ 2051 h 10000"/>
                  <a:gd name="connsiteX1109" fmla="*/ 5922 w 10820"/>
                  <a:gd name="connsiteY1109" fmla="*/ 2060 h 10000"/>
                  <a:gd name="connsiteX1110" fmla="*/ 5885 w 10820"/>
                  <a:gd name="connsiteY1110" fmla="*/ 2051 h 10000"/>
                  <a:gd name="connsiteX1111" fmla="*/ 5876 w 10820"/>
                  <a:gd name="connsiteY1111" fmla="*/ 2026 h 10000"/>
                  <a:gd name="connsiteX1112" fmla="*/ 5862 w 10820"/>
                  <a:gd name="connsiteY1112" fmla="*/ 2026 h 10000"/>
                  <a:gd name="connsiteX1113" fmla="*/ 5848 w 10820"/>
                  <a:gd name="connsiteY1113" fmla="*/ 2026 h 10000"/>
                  <a:gd name="connsiteX1114" fmla="*/ 5825 w 10820"/>
                  <a:gd name="connsiteY1114" fmla="*/ 2026 h 10000"/>
                  <a:gd name="connsiteX1115" fmla="*/ 5788 w 10820"/>
                  <a:gd name="connsiteY1115" fmla="*/ 1991 h 10000"/>
                  <a:gd name="connsiteX1116" fmla="*/ 5760 w 10820"/>
                  <a:gd name="connsiteY1116" fmla="*/ 2000 h 10000"/>
                  <a:gd name="connsiteX1117" fmla="*/ 5760 w 10820"/>
                  <a:gd name="connsiteY1117" fmla="*/ 2026 h 10000"/>
                  <a:gd name="connsiteX1118" fmla="*/ 5714 w 10820"/>
                  <a:gd name="connsiteY1118" fmla="*/ 2051 h 10000"/>
                  <a:gd name="connsiteX1119" fmla="*/ 5687 w 10820"/>
                  <a:gd name="connsiteY1119" fmla="*/ 2034 h 10000"/>
                  <a:gd name="connsiteX1120" fmla="*/ 5645 w 10820"/>
                  <a:gd name="connsiteY1120" fmla="*/ 2077 h 10000"/>
                  <a:gd name="connsiteX1121" fmla="*/ 5664 w 10820"/>
                  <a:gd name="connsiteY1121" fmla="*/ 2120 h 10000"/>
                  <a:gd name="connsiteX1122" fmla="*/ 5664 w 10820"/>
                  <a:gd name="connsiteY1122" fmla="*/ 2162 h 10000"/>
                  <a:gd name="connsiteX1123" fmla="*/ 5631 w 10820"/>
                  <a:gd name="connsiteY1123" fmla="*/ 2197 h 10000"/>
                  <a:gd name="connsiteX1124" fmla="*/ 5618 w 10820"/>
                  <a:gd name="connsiteY1124" fmla="*/ 2188 h 10000"/>
                  <a:gd name="connsiteX1125" fmla="*/ 5618 w 10820"/>
                  <a:gd name="connsiteY1125" fmla="*/ 2171 h 10000"/>
                  <a:gd name="connsiteX1126" fmla="*/ 5641 w 10820"/>
                  <a:gd name="connsiteY1126" fmla="*/ 2171 h 10000"/>
                  <a:gd name="connsiteX1127" fmla="*/ 5641 w 10820"/>
                  <a:gd name="connsiteY1127" fmla="*/ 2162 h 10000"/>
                  <a:gd name="connsiteX1128" fmla="*/ 5627 w 10820"/>
                  <a:gd name="connsiteY1128" fmla="*/ 2145 h 10000"/>
                  <a:gd name="connsiteX1129" fmla="*/ 5627 w 10820"/>
                  <a:gd name="connsiteY1129" fmla="*/ 2120 h 10000"/>
                  <a:gd name="connsiteX1130" fmla="*/ 5618 w 10820"/>
                  <a:gd name="connsiteY1130" fmla="*/ 2111 h 10000"/>
                  <a:gd name="connsiteX1131" fmla="*/ 5631 w 10820"/>
                  <a:gd name="connsiteY1131" fmla="*/ 2051 h 10000"/>
                  <a:gd name="connsiteX1132" fmla="*/ 5631 w 10820"/>
                  <a:gd name="connsiteY1132" fmla="*/ 2026 h 10000"/>
                  <a:gd name="connsiteX1133" fmla="*/ 5627 w 10820"/>
                  <a:gd name="connsiteY1133" fmla="*/ 1991 h 10000"/>
                  <a:gd name="connsiteX1134" fmla="*/ 5618 w 10820"/>
                  <a:gd name="connsiteY1134" fmla="*/ 1974 h 10000"/>
                  <a:gd name="connsiteX1135" fmla="*/ 5618 w 10820"/>
                  <a:gd name="connsiteY1135" fmla="*/ 1940 h 10000"/>
                  <a:gd name="connsiteX1136" fmla="*/ 5594 w 10820"/>
                  <a:gd name="connsiteY1136" fmla="*/ 1855 h 10000"/>
                  <a:gd name="connsiteX1137" fmla="*/ 5599 w 10820"/>
                  <a:gd name="connsiteY1137" fmla="*/ 1915 h 10000"/>
                  <a:gd name="connsiteX1138" fmla="*/ 5599 w 10820"/>
                  <a:gd name="connsiteY1138" fmla="*/ 1949 h 10000"/>
                  <a:gd name="connsiteX1139" fmla="*/ 5594 w 10820"/>
                  <a:gd name="connsiteY1139" fmla="*/ 1991 h 10000"/>
                  <a:gd name="connsiteX1140" fmla="*/ 5571 w 10820"/>
                  <a:gd name="connsiteY1140" fmla="*/ 2000 h 10000"/>
                  <a:gd name="connsiteX1141" fmla="*/ 5530 w 10820"/>
                  <a:gd name="connsiteY1141" fmla="*/ 1991 h 10000"/>
                  <a:gd name="connsiteX1142" fmla="*/ 5525 w 10820"/>
                  <a:gd name="connsiteY1142" fmla="*/ 2000 h 10000"/>
                  <a:gd name="connsiteX1143" fmla="*/ 5521 w 10820"/>
                  <a:gd name="connsiteY1143" fmla="*/ 1991 h 10000"/>
                  <a:gd name="connsiteX1144" fmla="*/ 5498 w 10820"/>
                  <a:gd name="connsiteY1144" fmla="*/ 1949 h 10000"/>
                  <a:gd name="connsiteX1145" fmla="*/ 5493 w 10820"/>
                  <a:gd name="connsiteY1145" fmla="*/ 1889 h 10000"/>
                  <a:gd name="connsiteX1146" fmla="*/ 5493 w 10820"/>
                  <a:gd name="connsiteY1146" fmla="*/ 1863 h 10000"/>
                  <a:gd name="connsiteX1147" fmla="*/ 5498 w 10820"/>
                  <a:gd name="connsiteY1147" fmla="*/ 1889 h 10000"/>
                  <a:gd name="connsiteX1148" fmla="*/ 5512 w 10820"/>
                  <a:gd name="connsiteY1148" fmla="*/ 1855 h 10000"/>
                  <a:gd name="connsiteX1149" fmla="*/ 5512 w 10820"/>
                  <a:gd name="connsiteY1149" fmla="*/ 1838 h 10000"/>
                  <a:gd name="connsiteX1150" fmla="*/ 5479 w 10820"/>
                  <a:gd name="connsiteY1150" fmla="*/ 1855 h 10000"/>
                  <a:gd name="connsiteX1151" fmla="*/ 5470 w 10820"/>
                  <a:gd name="connsiteY1151" fmla="*/ 1872 h 10000"/>
                  <a:gd name="connsiteX1152" fmla="*/ 5470 w 10820"/>
                  <a:gd name="connsiteY1152" fmla="*/ 1889 h 10000"/>
                  <a:gd name="connsiteX1153" fmla="*/ 5465 w 10820"/>
                  <a:gd name="connsiteY1153" fmla="*/ 1897 h 10000"/>
                  <a:gd name="connsiteX1154" fmla="*/ 5456 w 10820"/>
                  <a:gd name="connsiteY1154" fmla="*/ 1872 h 10000"/>
                  <a:gd name="connsiteX1155" fmla="*/ 5447 w 10820"/>
                  <a:gd name="connsiteY1155" fmla="*/ 1872 h 10000"/>
                  <a:gd name="connsiteX1156" fmla="*/ 5433 w 10820"/>
                  <a:gd name="connsiteY1156" fmla="*/ 1855 h 10000"/>
                  <a:gd name="connsiteX1157" fmla="*/ 5396 w 10820"/>
                  <a:gd name="connsiteY1157" fmla="*/ 1863 h 10000"/>
                  <a:gd name="connsiteX1158" fmla="*/ 5396 w 10820"/>
                  <a:gd name="connsiteY1158" fmla="*/ 1897 h 10000"/>
                  <a:gd name="connsiteX1159" fmla="*/ 5378 w 10820"/>
                  <a:gd name="connsiteY1159" fmla="*/ 1949 h 10000"/>
                  <a:gd name="connsiteX1160" fmla="*/ 5378 w 10820"/>
                  <a:gd name="connsiteY1160" fmla="*/ 1966 h 10000"/>
                  <a:gd name="connsiteX1161" fmla="*/ 5392 w 10820"/>
                  <a:gd name="connsiteY1161" fmla="*/ 2026 h 10000"/>
                  <a:gd name="connsiteX1162" fmla="*/ 5396 w 10820"/>
                  <a:gd name="connsiteY1162" fmla="*/ 2026 h 10000"/>
                  <a:gd name="connsiteX1163" fmla="*/ 5392 w 10820"/>
                  <a:gd name="connsiteY1163" fmla="*/ 2009 h 10000"/>
                  <a:gd name="connsiteX1164" fmla="*/ 5392 w 10820"/>
                  <a:gd name="connsiteY1164" fmla="*/ 2000 h 10000"/>
                  <a:gd name="connsiteX1165" fmla="*/ 5396 w 10820"/>
                  <a:gd name="connsiteY1165" fmla="*/ 2009 h 10000"/>
                  <a:gd name="connsiteX1166" fmla="*/ 5424 w 10820"/>
                  <a:gd name="connsiteY1166" fmla="*/ 2009 h 10000"/>
                  <a:gd name="connsiteX1167" fmla="*/ 5433 w 10820"/>
                  <a:gd name="connsiteY1167" fmla="*/ 1991 h 10000"/>
                  <a:gd name="connsiteX1168" fmla="*/ 5447 w 10820"/>
                  <a:gd name="connsiteY1168" fmla="*/ 1974 h 10000"/>
                  <a:gd name="connsiteX1169" fmla="*/ 5452 w 10820"/>
                  <a:gd name="connsiteY1169" fmla="*/ 1966 h 10000"/>
                  <a:gd name="connsiteX1170" fmla="*/ 5456 w 10820"/>
                  <a:gd name="connsiteY1170" fmla="*/ 1966 h 10000"/>
                  <a:gd name="connsiteX1171" fmla="*/ 5465 w 10820"/>
                  <a:gd name="connsiteY1171" fmla="*/ 2009 h 10000"/>
                  <a:gd name="connsiteX1172" fmla="*/ 5433 w 10820"/>
                  <a:gd name="connsiteY1172" fmla="*/ 2034 h 10000"/>
                  <a:gd name="connsiteX1173" fmla="*/ 5424 w 10820"/>
                  <a:gd name="connsiteY1173" fmla="*/ 2060 h 10000"/>
                  <a:gd name="connsiteX1174" fmla="*/ 5419 w 10820"/>
                  <a:gd name="connsiteY1174" fmla="*/ 2060 h 10000"/>
                  <a:gd name="connsiteX1175" fmla="*/ 5392 w 10820"/>
                  <a:gd name="connsiteY1175" fmla="*/ 2111 h 10000"/>
                  <a:gd name="connsiteX1176" fmla="*/ 5378 w 10820"/>
                  <a:gd name="connsiteY1176" fmla="*/ 2111 h 10000"/>
                  <a:gd name="connsiteX1177" fmla="*/ 5350 w 10820"/>
                  <a:gd name="connsiteY1177" fmla="*/ 2060 h 10000"/>
                  <a:gd name="connsiteX1178" fmla="*/ 5373 w 10820"/>
                  <a:gd name="connsiteY1178" fmla="*/ 2111 h 10000"/>
                  <a:gd name="connsiteX1179" fmla="*/ 5364 w 10820"/>
                  <a:gd name="connsiteY1179" fmla="*/ 2111 h 10000"/>
                  <a:gd name="connsiteX1180" fmla="*/ 5359 w 10820"/>
                  <a:gd name="connsiteY1180" fmla="*/ 2103 h 10000"/>
                  <a:gd name="connsiteX1181" fmla="*/ 5359 w 10820"/>
                  <a:gd name="connsiteY1181" fmla="*/ 2120 h 10000"/>
                  <a:gd name="connsiteX1182" fmla="*/ 5359 w 10820"/>
                  <a:gd name="connsiteY1182" fmla="*/ 2137 h 10000"/>
                  <a:gd name="connsiteX1183" fmla="*/ 5313 w 10820"/>
                  <a:gd name="connsiteY1183" fmla="*/ 2162 h 10000"/>
                  <a:gd name="connsiteX1184" fmla="*/ 5300 w 10820"/>
                  <a:gd name="connsiteY1184" fmla="*/ 2162 h 10000"/>
                  <a:gd name="connsiteX1185" fmla="*/ 5300 w 10820"/>
                  <a:gd name="connsiteY1185" fmla="*/ 2171 h 10000"/>
                  <a:gd name="connsiteX1186" fmla="*/ 5300 w 10820"/>
                  <a:gd name="connsiteY1186" fmla="*/ 2197 h 10000"/>
                  <a:gd name="connsiteX1187" fmla="*/ 5276 w 10820"/>
                  <a:gd name="connsiteY1187" fmla="*/ 2188 h 10000"/>
                  <a:gd name="connsiteX1188" fmla="*/ 5249 w 10820"/>
                  <a:gd name="connsiteY1188" fmla="*/ 2222 h 10000"/>
                  <a:gd name="connsiteX1189" fmla="*/ 5249 w 10820"/>
                  <a:gd name="connsiteY1189" fmla="*/ 2222 h 10000"/>
                  <a:gd name="connsiteX1190" fmla="*/ 5217 w 10820"/>
                  <a:gd name="connsiteY1190" fmla="*/ 2214 h 10000"/>
                  <a:gd name="connsiteX1191" fmla="*/ 5203 w 10820"/>
                  <a:gd name="connsiteY1191" fmla="*/ 2239 h 10000"/>
                  <a:gd name="connsiteX1192" fmla="*/ 5171 w 10820"/>
                  <a:gd name="connsiteY1192" fmla="*/ 2214 h 10000"/>
                  <a:gd name="connsiteX1193" fmla="*/ 5157 w 10820"/>
                  <a:gd name="connsiteY1193" fmla="*/ 2239 h 10000"/>
                  <a:gd name="connsiteX1194" fmla="*/ 5166 w 10820"/>
                  <a:gd name="connsiteY1194" fmla="*/ 2256 h 10000"/>
                  <a:gd name="connsiteX1195" fmla="*/ 5171 w 10820"/>
                  <a:gd name="connsiteY1195" fmla="*/ 2308 h 10000"/>
                  <a:gd name="connsiteX1196" fmla="*/ 5212 w 10820"/>
                  <a:gd name="connsiteY1196" fmla="*/ 2350 h 10000"/>
                  <a:gd name="connsiteX1197" fmla="*/ 5203 w 10820"/>
                  <a:gd name="connsiteY1197" fmla="*/ 2350 h 10000"/>
                  <a:gd name="connsiteX1198" fmla="*/ 5166 w 10820"/>
                  <a:gd name="connsiteY1198" fmla="*/ 2325 h 10000"/>
                  <a:gd name="connsiteX1199" fmla="*/ 5152 w 10820"/>
                  <a:gd name="connsiteY1199" fmla="*/ 2308 h 10000"/>
                  <a:gd name="connsiteX1200" fmla="*/ 5143 w 10820"/>
                  <a:gd name="connsiteY1200" fmla="*/ 2333 h 10000"/>
                  <a:gd name="connsiteX1201" fmla="*/ 5138 w 10820"/>
                  <a:gd name="connsiteY1201" fmla="*/ 2333 h 10000"/>
                  <a:gd name="connsiteX1202" fmla="*/ 5124 w 10820"/>
                  <a:gd name="connsiteY1202" fmla="*/ 2376 h 10000"/>
                  <a:gd name="connsiteX1203" fmla="*/ 5115 w 10820"/>
                  <a:gd name="connsiteY1203" fmla="*/ 2385 h 10000"/>
                  <a:gd name="connsiteX1204" fmla="*/ 5106 w 10820"/>
                  <a:gd name="connsiteY1204" fmla="*/ 2385 h 10000"/>
                  <a:gd name="connsiteX1205" fmla="*/ 5055 w 10820"/>
                  <a:gd name="connsiteY1205" fmla="*/ 2470 h 10000"/>
                  <a:gd name="connsiteX1206" fmla="*/ 5065 w 10820"/>
                  <a:gd name="connsiteY1206" fmla="*/ 2462 h 10000"/>
                  <a:gd name="connsiteX1207" fmla="*/ 5055 w 10820"/>
                  <a:gd name="connsiteY1207" fmla="*/ 2444 h 10000"/>
                  <a:gd name="connsiteX1208" fmla="*/ 5041 w 10820"/>
                  <a:gd name="connsiteY1208" fmla="*/ 2462 h 10000"/>
                  <a:gd name="connsiteX1209" fmla="*/ 5037 w 10820"/>
                  <a:gd name="connsiteY1209" fmla="*/ 2470 h 10000"/>
                  <a:gd name="connsiteX1210" fmla="*/ 5032 w 10820"/>
                  <a:gd name="connsiteY1210" fmla="*/ 2470 h 10000"/>
                  <a:gd name="connsiteX1211" fmla="*/ 5032 w 10820"/>
                  <a:gd name="connsiteY1211" fmla="*/ 2444 h 10000"/>
                  <a:gd name="connsiteX1212" fmla="*/ 5055 w 10820"/>
                  <a:gd name="connsiteY1212" fmla="*/ 2410 h 10000"/>
                  <a:gd name="connsiteX1213" fmla="*/ 5065 w 10820"/>
                  <a:gd name="connsiteY1213" fmla="*/ 2393 h 10000"/>
                  <a:gd name="connsiteX1214" fmla="*/ 5069 w 10820"/>
                  <a:gd name="connsiteY1214" fmla="*/ 2385 h 10000"/>
                  <a:gd name="connsiteX1215" fmla="*/ 5083 w 10820"/>
                  <a:gd name="connsiteY1215" fmla="*/ 2376 h 10000"/>
                  <a:gd name="connsiteX1216" fmla="*/ 5097 w 10820"/>
                  <a:gd name="connsiteY1216" fmla="*/ 2376 h 10000"/>
                  <a:gd name="connsiteX1217" fmla="*/ 5124 w 10820"/>
                  <a:gd name="connsiteY1217" fmla="*/ 2325 h 10000"/>
                  <a:gd name="connsiteX1218" fmla="*/ 5143 w 10820"/>
                  <a:gd name="connsiteY1218" fmla="*/ 2248 h 10000"/>
                  <a:gd name="connsiteX1219" fmla="*/ 5152 w 10820"/>
                  <a:gd name="connsiteY1219" fmla="*/ 2239 h 10000"/>
                  <a:gd name="connsiteX1220" fmla="*/ 5166 w 10820"/>
                  <a:gd name="connsiteY1220" fmla="*/ 2162 h 10000"/>
                  <a:gd name="connsiteX1221" fmla="*/ 5171 w 10820"/>
                  <a:gd name="connsiteY1221" fmla="*/ 2171 h 10000"/>
                  <a:gd name="connsiteX1222" fmla="*/ 5198 w 10820"/>
                  <a:gd name="connsiteY1222" fmla="*/ 2145 h 10000"/>
                  <a:gd name="connsiteX1223" fmla="*/ 5203 w 10820"/>
                  <a:gd name="connsiteY1223" fmla="*/ 2111 h 10000"/>
                  <a:gd name="connsiteX1224" fmla="*/ 5217 w 10820"/>
                  <a:gd name="connsiteY1224" fmla="*/ 2060 h 10000"/>
                  <a:gd name="connsiteX1225" fmla="*/ 5226 w 10820"/>
                  <a:gd name="connsiteY1225" fmla="*/ 2026 h 10000"/>
                  <a:gd name="connsiteX1226" fmla="*/ 5286 w 10820"/>
                  <a:gd name="connsiteY1226" fmla="*/ 2026 h 10000"/>
                  <a:gd name="connsiteX1227" fmla="*/ 5290 w 10820"/>
                  <a:gd name="connsiteY1227" fmla="*/ 2034 h 10000"/>
                  <a:gd name="connsiteX1228" fmla="*/ 5323 w 10820"/>
                  <a:gd name="connsiteY1228" fmla="*/ 1923 h 10000"/>
                  <a:gd name="connsiteX1229" fmla="*/ 5323 w 10820"/>
                  <a:gd name="connsiteY1229" fmla="*/ 1889 h 10000"/>
                  <a:gd name="connsiteX1230" fmla="*/ 5359 w 10820"/>
                  <a:gd name="connsiteY1230" fmla="*/ 1829 h 10000"/>
                  <a:gd name="connsiteX1231" fmla="*/ 5378 w 10820"/>
                  <a:gd name="connsiteY1231" fmla="*/ 1812 h 10000"/>
                  <a:gd name="connsiteX1232" fmla="*/ 5406 w 10820"/>
                  <a:gd name="connsiteY1232" fmla="*/ 1752 h 10000"/>
                  <a:gd name="connsiteX1233" fmla="*/ 5410 w 10820"/>
                  <a:gd name="connsiteY1233" fmla="*/ 1718 h 10000"/>
                  <a:gd name="connsiteX1234" fmla="*/ 5438 w 10820"/>
                  <a:gd name="connsiteY1234" fmla="*/ 1667 h 10000"/>
                  <a:gd name="connsiteX1235" fmla="*/ 5438 w 10820"/>
                  <a:gd name="connsiteY1235" fmla="*/ 1650 h 10000"/>
                  <a:gd name="connsiteX1236" fmla="*/ 5438 w 10820"/>
                  <a:gd name="connsiteY1236" fmla="*/ 1641 h 10000"/>
                  <a:gd name="connsiteX1237" fmla="*/ 5452 w 10820"/>
                  <a:gd name="connsiteY1237" fmla="*/ 1641 h 10000"/>
                  <a:gd name="connsiteX1238" fmla="*/ 5456 w 10820"/>
                  <a:gd name="connsiteY1238" fmla="*/ 1615 h 10000"/>
                  <a:gd name="connsiteX1239" fmla="*/ 5456 w 10820"/>
                  <a:gd name="connsiteY1239" fmla="*/ 1615 h 10000"/>
                  <a:gd name="connsiteX1240" fmla="*/ 5465 w 10820"/>
                  <a:gd name="connsiteY1240" fmla="*/ 1598 h 10000"/>
                  <a:gd name="connsiteX1241" fmla="*/ 5465 w 10820"/>
                  <a:gd name="connsiteY1241" fmla="*/ 1615 h 10000"/>
                  <a:gd name="connsiteX1242" fmla="*/ 5479 w 10820"/>
                  <a:gd name="connsiteY1242" fmla="*/ 1598 h 10000"/>
                  <a:gd name="connsiteX1243" fmla="*/ 5484 w 10820"/>
                  <a:gd name="connsiteY1243" fmla="*/ 1581 h 10000"/>
                  <a:gd name="connsiteX1244" fmla="*/ 5493 w 10820"/>
                  <a:gd name="connsiteY1244" fmla="*/ 1581 h 10000"/>
                  <a:gd name="connsiteX1245" fmla="*/ 5512 w 10820"/>
                  <a:gd name="connsiteY1245" fmla="*/ 1538 h 10000"/>
                  <a:gd name="connsiteX1246" fmla="*/ 5530 w 10820"/>
                  <a:gd name="connsiteY1246" fmla="*/ 1564 h 10000"/>
                  <a:gd name="connsiteX1247" fmla="*/ 5530 w 10820"/>
                  <a:gd name="connsiteY1247" fmla="*/ 1538 h 10000"/>
                  <a:gd name="connsiteX1248" fmla="*/ 5539 w 10820"/>
                  <a:gd name="connsiteY1248" fmla="*/ 1530 h 10000"/>
                  <a:gd name="connsiteX1249" fmla="*/ 5530 w 10820"/>
                  <a:gd name="connsiteY1249" fmla="*/ 1504 h 10000"/>
                  <a:gd name="connsiteX1250" fmla="*/ 5567 w 10820"/>
                  <a:gd name="connsiteY1250" fmla="*/ 1479 h 10000"/>
                  <a:gd name="connsiteX1251" fmla="*/ 5553 w 10820"/>
                  <a:gd name="connsiteY1251" fmla="*/ 1479 h 10000"/>
                  <a:gd name="connsiteX1252" fmla="*/ 5553 w 10820"/>
                  <a:gd name="connsiteY1252" fmla="*/ 1453 h 10000"/>
                  <a:gd name="connsiteX1253" fmla="*/ 5581 w 10820"/>
                  <a:gd name="connsiteY1253" fmla="*/ 1444 h 10000"/>
                  <a:gd name="connsiteX1254" fmla="*/ 5581 w 10820"/>
                  <a:gd name="connsiteY1254" fmla="*/ 1453 h 10000"/>
                  <a:gd name="connsiteX1255" fmla="*/ 5585 w 10820"/>
                  <a:gd name="connsiteY1255" fmla="*/ 1444 h 10000"/>
                  <a:gd name="connsiteX1256" fmla="*/ 5594 w 10820"/>
                  <a:gd name="connsiteY1256" fmla="*/ 1427 h 10000"/>
                  <a:gd name="connsiteX1257" fmla="*/ 5599 w 10820"/>
                  <a:gd name="connsiteY1257" fmla="*/ 1419 h 10000"/>
                  <a:gd name="connsiteX1258" fmla="*/ 5594 w 10820"/>
                  <a:gd name="connsiteY1258" fmla="*/ 1402 h 10000"/>
                  <a:gd name="connsiteX1259" fmla="*/ 5604 w 10820"/>
                  <a:gd name="connsiteY1259" fmla="*/ 1393 h 10000"/>
                  <a:gd name="connsiteX1260" fmla="*/ 5618 w 10820"/>
                  <a:gd name="connsiteY1260" fmla="*/ 1393 h 10000"/>
                  <a:gd name="connsiteX1261" fmla="*/ 5627 w 10820"/>
                  <a:gd name="connsiteY1261" fmla="*/ 1368 h 10000"/>
                  <a:gd name="connsiteX1262" fmla="*/ 5627 w 10820"/>
                  <a:gd name="connsiteY1262" fmla="*/ 1325 h 10000"/>
                  <a:gd name="connsiteX1263" fmla="*/ 5645 w 10820"/>
                  <a:gd name="connsiteY1263" fmla="*/ 1291 h 10000"/>
                  <a:gd name="connsiteX1264" fmla="*/ 5645 w 10820"/>
                  <a:gd name="connsiteY1264" fmla="*/ 1282 h 10000"/>
                  <a:gd name="connsiteX1265" fmla="*/ 5654 w 10820"/>
                  <a:gd name="connsiteY1265" fmla="*/ 1265 h 10000"/>
                  <a:gd name="connsiteX1266" fmla="*/ 5654 w 10820"/>
                  <a:gd name="connsiteY1266" fmla="*/ 1214 h 10000"/>
                  <a:gd name="connsiteX1267" fmla="*/ 5654 w 10820"/>
                  <a:gd name="connsiteY1267" fmla="*/ 1214 h 10000"/>
                  <a:gd name="connsiteX1268" fmla="*/ 5645 w 10820"/>
                  <a:gd name="connsiteY1268" fmla="*/ 1197 h 10000"/>
                  <a:gd name="connsiteX1269" fmla="*/ 5659 w 10820"/>
                  <a:gd name="connsiteY1269" fmla="*/ 1197 h 10000"/>
                  <a:gd name="connsiteX1270" fmla="*/ 5654 w 10820"/>
                  <a:gd name="connsiteY1270" fmla="*/ 1154 h 10000"/>
                  <a:gd name="connsiteX1271" fmla="*/ 5641 w 10820"/>
                  <a:gd name="connsiteY1271" fmla="*/ 1154 h 10000"/>
                  <a:gd name="connsiteX1272" fmla="*/ 5627 w 10820"/>
                  <a:gd name="connsiteY1272" fmla="*/ 1128 h 10000"/>
                  <a:gd name="connsiteX1273" fmla="*/ 5618 w 10820"/>
                  <a:gd name="connsiteY1273" fmla="*/ 1094 h 10000"/>
                  <a:gd name="connsiteX1274" fmla="*/ 5613 w 10820"/>
                  <a:gd name="connsiteY1274" fmla="*/ 1094 h 10000"/>
                  <a:gd name="connsiteX1275" fmla="*/ 5604 w 10820"/>
                  <a:gd name="connsiteY1275" fmla="*/ 1120 h 10000"/>
                  <a:gd name="connsiteX1276" fmla="*/ 5604 w 10820"/>
                  <a:gd name="connsiteY1276" fmla="*/ 1128 h 10000"/>
                  <a:gd name="connsiteX1277" fmla="*/ 5599 w 10820"/>
                  <a:gd name="connsiteY1277" fmla="*/ 1103 h 10000"/>
                  <a:gd name="connsiteX1278" fmla="*/ 5599 w 10820"/>
                  <a:gd name="connsiteY1278" fmla="*/ 1103 h 10000"/>
                  <a:gd name="connsiteX1279" fmla="*/ 5594 w 10820"/>
                  <a:gd name="connsiteY1279" fmla="*/ 1068 h 10000"/>
                  <a:gd name="connsiteX1280" fmla="*/ 5594 w 10820"/>
                  <a:gd name="connsiteY1280" fmla="*/ 1060 h 10000"/>
                  <a:gd name="connsiteX1281" fmla="*/ 5581 w 10820"/>
                  <a:gd name="connsiteY1281" fmla="*/ 1034 h 10000"/>
                  <a:gd name="connsiteX1282" fmla="*/ 5571 w 10820"/>
                  <a:gd name="connsiteY1282" fmla="*/ 1009 h 10000"/>
                  <a:gd name="connsiteX1283" fmla="*/ 5571 w 10820"/>
                  <a:gd name="connsiteY1283" fmla="*/ 991 h 10000"/>
                  <a:gd name="connsiteX1284" fmla="*/ 5585 w 10820"/>
                  <a:gd name="connsiteY1284" fmla="*/ 1009 h 10000"/>
                  <a:gd name="connsiteX1285" fmla="*/ 5604 w 10820"/>
                  <a:gd name="connsiteY1285" fmla="*/ 1043 h 10000"/>
                  <a:gd name="connsiteX1286" fmla="*/ 5641 w 10820"/>
                  <a:gd name="connsiteY1286" fmla="*/ 1094 h 10000"/>
                  <a:gd name="connsiteX1287" fmla="*/ 5631 w 10820"/>
                  <a:gd name="connsiteY1287" fmla="*/ 1128 h 10000"/>
                  <a:gd name="connsiteX1288" fmla="*/ 5641 w 10820"/>
                  <a:gd name="connsiteY1288" fmla="*/ 1128 h 10000"/>
                  <a:gd name="connsiteX1289" fmla="*/ 5659 w 10820"/>
                  <a:gd name="connsiteY1289" fmla="*/ 1017 h 10000"/>
                  <a:gd name="connsiteX1290" fmla="*/ 5659 w 10820"/>
                  <a:gd name="connsiteY1290" fmla="*/ 983 h 10000"/>
                  <a:gd name="connsiteX1291" fmla="*/ 5659 w 10820"/>
                  <a:gd name="connsiteY1291" fmla="*/ 957 h 10000"/>
                  <a:gd name="connsiteX1292" fmla="*/ 5654 w 10820"/>
                  <a:gd name="connsiteY1292" fmla="*/ 966 h 10000"/>
                  <a:gd name="connsiteX1293" fmla="*/ 5641 w 10820"/>
                  <a:gd name="connsiteY1293" fmla="*/ 957 h 10000"/>
                  <a:gd name="connsiteX1294" fmla="*/ 5631 w 10820"/>
                  <a:gd name="connsiteY1294" fmla="*/ 897 h 10000"/>
                  <a:gd name="connsiteX1295" fmla="*/ 5641 w 10820"/>
                  <a:gd name="connsiteY1295" fmla="*/ 872 h 10000"/>
                  <a:gd name="connsiteX1296" fmla="*/ 5618 w 10820"/>
                  <a:gd name="connsiteY1296" fmla="*/ 803 h 10000"/>
                  <a:gd name="connsiteX1297" fmla="*/ 5604 w 10820"/>
                  <a:gd name="connsiteY1297" fmla="*/ 821 h 10000"/>
                  <a:gd name="connsiteX1298" fmla="*/ 5613 w 10820"/>
                  <a:gd name="connsiteY1298" fmla="*/ 846 h 10000"/>
                  <a:gd name="connsiteX1299" fmla="*/ 5604 w 10820"/>
                  <a:gd name="connsiteY1299" fmla="*/ 855 h 10000"/>
                  <a:gd name="connsiteX1300" fmla="*/ 5599 w 10820"/>
                  <a:gd name="connsiteY1300" fmla="*/ 880 h 10000"/>
                  <a:gd name="connsiteX1301" fmla="*/ 5594 w 10820"/>
                  <a:gd name="connsiteY1301" fmla="*/ 880 h 10000"/>
                  <a:gd name="connsiteX1302" fmla="*/ 5585 w 10820"/>
                  <a:gd name="connsiteY1302" fmla="*/ 829 h 10000"/>
                  <a:gd name="connsiteX1303" fmla="*/ 5571 w 10820"/>
                  <a:gd name="connsiteY1303" fmla="*/ 803 h 10000"/>
                  <a:gd name="connsiteX1304" fmla="*/ 5585 w 10820"/>
                  <a:gd name="connsiteY1304" fmla="*/ 795 h 10000"/>
                  <a:gd name="connsiteX1305" fmla="*/ 5585 w 10820"/>
                  <a:gd name="connsiteY1305" fmla="*/ 761 h 10000"/>
                  <a:gd name="connsiteX1306" fmla="*/ 5558 w 10820"/>
                  <a:gd name="connsiteY1306" fmla="*/ 709 h 10000"/>
                  <a:gd name="connsiteX1307" fmla="*/ 5544 w 10820"/>
                  <a:gd name="connsiteY1307" fmla="*/ 709 h 10000"/>
                  <a:gd name="connsiteX1308" fmla="*/ 5544 w 10820"/>
                  <a:gd name="connsiteY1308" fmla="*/ 684 h 10000"/>
                  <a:gd name="connsiteX1309" fmla="*/ 5525 w 10820"/>
                  <a:gd name="connsiteY1309" fmla="*/ 632 h 10000"/>
                  <a:gd name="connsiteX1310" fmla="*/ 5507 w 10820"/>
                  <a:gd name="connsiteY1310" fmla="*/ 607 h 10000"/>
                  <a:gd name="connsiteX1311" fmla="*/ 5512 w 10820"/>
                  <a:gd name="connsiteY1311" fmla="*/ 598 h 10000"/>
                  <a:gd name="connsiteX1312" fmla="*/ 5507 w 10820"/>
                  <a:gd name="connsiteY1312" fmla="*/ 581 h 10000"/>
                  <a:gd name="connsiteX1313" fmla="*/ 5493 w 10820"/>
                  <a:gd name="connsiteY1313" fmla="*/ 573 h 10000"/>
                  <a:gd name="connsiteX1314" fmla="*/ 5484 w 10820"/>
                  <a:gd name="connsiteY1314" fmla="*/ 581 h 10000"/>
                  <a:gd name="connsiteX1315" fmla="*/ 5484 w 10820"/>
                  <a:gd name="connsiteY1315" fmla="*/ 573 h 10000"/>
                  <a:gd name="connsiteX1316" fmla="*/ 5484 w 10820"/>
                  <a:gd name="connsiteY1316" fmla="*/ 547 h 10000"/>
                  <a:gd name="connsiteX1317" fmla="*/ 5465 w 10820"/>
                  <a:gd name="connsiteY1317" fmla="*/ 556 h 10000"/>
                  <a:gd name="connsiteX1318" fmla="*/ 5433 w 10820"/>
                  <a:gd name="connsiteY1318" fmla="*/ 547 h 10000"/>
                  <a:gd name="connsiteX1319" fmla="*/ 5410 w 10820"/>
                  <a:gd name="connsiteY1319" fmla="*/ 573 h 10000"/>
                  <a:gd name="connsiteX1320" fmla="*/ 5406 w 10820"/>
                  <a:gd name="connsiteY1320" fmla="*/ 573 h 10000"/>
                  <a:gd name="connsiteX1321" fmla="*/ 5392 w 10820"/>
                  <a:gd name="connsiteY1321" fmla="*/ 573 h 10000"/>
                  <a:gd name="connsiteX1322" fmla="*/ 5364 w 10820"/>
                  <a:gd name="connsiteY1322" fmla="*/ 530 h 10000"/>
                  <a:gd name="connsiteX1323" fmla="*/ 5350 w 10820"/>
                  <a:gd name="connsiteY1323" fmla="*/ 556 h 10000"/>
                  <a:gd name="connsiteX1324" fmla="*/ 5346 w 10820"/>
                  <a:gd name="connsiteY1324" fmla="*/ 556 h 10000"/>
                  <a:gd name="connsiteX1325" fmla="*/ 5313 w 10820"/>
                  <a:gd name="connsiteY1325" fmla="*/ 573 h 10000"/>
                  <a:gd name="connsiteX1326" fmla="*/ 5304 w 10820"/>
                  <a:gd name="connsiteY1326" fmla="*/ 556 h 10000"/>
                  <a:gd name="connsiteX1327" fmla="*/ 5290 w 10820"/>
                  <a:gd name="connsiteY1327" fmla="*/ 573 h 10000"/>
                  <a:gd name="connsiteX1328" fmla="*/ 5290 w 10820"/>
                  <a:gd name="connsiteY1328" fmla="*/ 556 h 10000"/>
                  <a:gd name="connsiteX1329" fmla="*/ 5300 w 10820"/>
                  <a:gd name="connsiteY1329" fmla="*/ 547 h 10000"/>
                  <a:gd name="connsiteX1330" fmla="*/ 5300 w 10820"/>
                  <a:gd name="connsiteY1330" fmla="*/ 530 h 10000"/>
                  <a:gd name="connsiteX1331" fmla="*/ 5290 w 10820"/>
                  <a:gd name="connsiteY1331" fmla="*/ 530 h 10000"/>
                  <a:gd name="connsiteX1332" fmla="*/ 5286 w 10820"/>
                  <a:gd name="connsiteY1332" fmla="*/ 547 h 10000"/>
                  <a:gd name="connsiteX1333" fmla="*/ 5272 w 10820"/>
                  <a:gd name="connsiteY1333" fmla="*/ 556 h 10000"/>
                  <a:gd name="connsiteX1334" fmla="*/ 5272 w 10820"/>
                  <a:gd name="connsiteY1334" fmla="*/ 598 h 10000"/>
                  <a:gd name="connsiteX1335" fmla="*/ 5276 w 10820"/>
                  <a:gd name="connsiteY1335" fmla="*/ 581 h 10000"/>
                  <a:gd name="connsiteX1336" fmla="*/ 5272 w 10820"/>
                  <a:gd name="connsiteY1336" fmla="*/ 607 h 10000"/>
                  <a:gd name="connsiteX1337" fmla="*/ 5263 w 10820"/>
                  <a:gd name="connsiteY1337" fmla="*/ 607 h 10000"/>
                  <a:gd name="connsiteX1338" fmla="*/ 5263 w 10820"/>
                  <a:gd name="connsiteY1338" fmla="*/ 632 h 10000"/>
                  <a:gd name="connsiteX1339" fmla="*/ 5258 w 10820"/>
                  <a:gd name="connsiteY1339" fmla="*/ 658 h 10000"/>
                  <a:gd name="connsiteX1340" fmla="*/ 5244 w 10820"/>
                  <a:gd name="connsiteY1340" fmla="*/ 667 h 10000"/>
                  <a:gd name="connsiteX1341" fmla="*/ 5240 w 10820"/>
                  <a:gd name="connsiteY1341" fmla="*/ 658 h 10000"/>
                  <a:gd name="connsiteX1342" fmla="*/ 5240 w 10820"/>
                  <a:gd name="connsiteY1342" fmla="*/ 684 h 10000"/>
                  <a:gd name="connsiteX1343" fmla="*/ 5212 w 10820"/>
                  <a:gd name="connsiteY1343" fmla="*/ 684 h 10000"/>
                  <a:gd name="connsiteX1344" fmla="*/ 5198 w 10820"/>
                  <a:gd name="connsiteY1344" fmla="*/ 692 h 10000"/>
                  <a:gd name="connsiteX1345" fmla="*/ 5184 w 10820"/>
                  <a:gd name="connsiteY1345" fmla="*/ 684 h 10000"/>
                  <a:gd name="connsiteX1346" fmla="*/ 5157 w 10820"/>
                  <a:gd name="connsiteY1346" fmla="*/ 684 h 10000"/>
                  <a:gd name="connsiteX1347" fmla="*/ 5157 w 10820"/>
                  <a:gd name="connsiteY1347" fmla="*/ 667 h 10000"/>
                  <a:gd name="connsiteX1348" fmla="*/ 5157 w 10820"/>
                  <a:gd name="connsiteY1348" fmla="*/ 667 h 10000"/>
                  <a:gd name="connsiteX1349" fmla="*/ 5180 w 10820"/>
                  <a:gd name="connsiteY1349" fmla="*/ 650 h 10000"/>
                  <a:gd name="connsiteX1350" fmla="*/ 5184 w 10820"/>
                  <a:gd name="connsiteY1350" fmla="*/ 658 h 10000"/>
                  <a:gd name="connsiteX1351" fmla="*/ 5203 w 10820"/>
                  <a:gd name="connsiteY1351" fmla="*/ 547 h 10000"/>
                  <a:gd name="connsiteX1352" fmla="*/ 5226 w 10820"/>
                  <a:gd name="connsiteY1352" fmla="*/ 530 h 10000"/>
                  <a:gd name="connsiteX1353" fmla="*/ 5230 w 10820"/>
                  <a:gd name="connsiteY1353" fmla="*/ 487 h 10000"/>
                  <a:gd name="connsiteX1354" fmla="*/ 5230 w 10820"/>
                  <a:gd name="connsiteY1354" fmla="*/ 487 h 10000"/>
                  <a:gd name="connsiteX1355" fmla="*/ 5226 w 10820"/>
                  <a:gd name="connsiteY1355" fmla="*/ 462 h 10000"/>
                  <a:gd name="connsiteX1356" fmla="*/ 5226 w 10820"/>
                  <a:gd name="connsiteY1356" fmla="*/ 462 h 10000"/>
                  <a:gd name="connsiteX1357" fmla="*/ 5240 w 10820"/>
                  <a:gd name="connsiteY1357" fmla="*/ 462 h 10000"/>
                  <a:gd name="connsiteX1358" fmla="*/ 5240 w 10820"/>
                  <a:gd name="connsiteY1358" fmla="*/ 444 h 10000"/>
                  <a:gd name="connsiteX1359" fmla="*/ 5230 w 10820"/>
                  <a:gd name="connsiteY1359" fmla="*/ 436 h 10000"/>
                  <a:gd name="connsiteX1360" fmla="*/ 5230 w 10820"/>
                  <a:gd name="connsiteY1360" fmla="*/ 419 h 10000"/>
                  <a:gd name="connsiteX1361" fmla="*/ 5230 w 10820"/>
                  <a:gd name="connsiteY1361" fmla="*/ 410 h 10000"/>
                  <a:gd name="connsiteX1362" fmla="*/ 5198 w 10820"/>
                  <a:gd name="connsiteY1362" fmla="*/ 402 h 10000"/>
                  <a:gd name="connsiteX1363" fmla="*/ 5189 w 10820"/>
                  <a:gd name="connsiteY1363" fmla="*/ 402 h 10000"/>
                  <a:gd name="connsiteX1364" fmla="*/ 5184 w 10820"/>
                  <a:gd name="connsiteY1364" fmla="*/ 376 h 10000"/>
                  <a:gd name="connsiteX1365" fmla="*/ 5180 w 10820"/>
                  <a:gd name="connsiteY1365" fmla="*/ 376 h 10000"/>
                  <a:gd name="connsiteX1366" fmla="*/ 5166 w 10820"/>
                  <a:gd name="connsiteY1366" fmla="*/ 376 h 10000"/>
                  <a:gd name="connsiteX1367" fmla="*/ 5157 w 10820"/>
                  <a:gd name="connsiteY1367" fmla="*/ 385 h 10000"/>
                  <a:gd name="connsiteX1368" fmla="*/ 5152 w 10820"/>
                  <a:gd name="connsiteY1368" fmla="*/ 376 h 10000"/>
                  <a:gd name="connsiteX1369" fmla="*/ 5129 w 10820"/>
                  <a:gd name="connsiteY1369" fmla="*/ 385 h 10000"/>
                  <a:gd name="connsiteX1370" fmla="*/ 5129 w 10820"/>
                  <a:gd name="connsiteY1370" fmla="*/ 350 h 10000"/>
                  <a:gd name="connsiteX1371" fmla="*/ 5129 w 10820"/>
                  <a:gd name="connsiteY1371" fmla="*/ 325 h 10000"/>
                  <a:gd name="connsiteX1372" fmla="*/ 5124 w 10820"/>
                  <a:gd name="connsiteY1372" fmla="*/ 359 h 10000"/>
                  <a:gd name="connsiteX1373" fmla="*/ 5106 w 10820"/>
                  <a:gd name="connsiteY1373" fmla="*/ 359 h 10000"/>
                  <a:gd name="connsiteX1374" fmla="*/ 5037 w 10820"/>
                  <a:gd name="connsiteY1374" fmla="*/ 419 h 10000"/>
                  <a:gd name="connsiteX1375" fmla="*/ 5051 w 10820"/>
                  <a:gd name="connsiteY1375" fmla="*/ 385 h 10000"/>
                  <a:gd name="connsiteX1376" fmla="*/ 5055 w 10820"/>
                  <a:gd name="connsiteY1376" fmla="*/ 376 h 10000"/>
                  <a:gd name="connsiteX1377" fmla="*/ 5092 w 10820"/>
                  <a:gd name="connsiteY1377" fmla="*/ 282 h 10000"/>
                  <a:gd name="connsiteX1378" fmla="*/ 5106 w 10820"/>
                  <a:gd name="connsiteY1378" fmla="*/ 265 h 10000"/>
                  <a:gd name="connsiteX1379" fmla="*/ 5115 w 10820"/>
                  <a:gd name="connsiteY1379" fmla="*/ 265 h 10000"/>
                  <a:gd name="connsiteX1380" fmla="*/ 5124 w 10820"/>
                  <a:gd name="connsiteY1380" fmla="*/ 222 h 10000"/>
                  <a:gd name="connsiteX1381" fmla="*/ 5124 w 10820"/>
                  <a:gd name="connsiteY1381" fmla="*/ 214 h 10000"/>
                  <a:gd name="connsiteX1382" fmla="*/ 5143 w 10820"/>
                  <a:gd name="connsiteY1382" fmla="*/ 197 h 10000"/>
                  <a:gd name="connsiteX1383" fmla="*/ 5152 w 10820"/>
                  <a:gd name="connsiteY1383" fmla="*/ 214 h 10000"/>
                  <a:gd name="connsiteX1384" fmla="*/ 5143 w 10820"/>
                  <a:gd name="connsiteY1384" fmla="*/ 188 h 10000"/>
                  <a:gd name="connsiteX1385" fmla="*/ 5129 w 10820"/>
                  <a:gd name="connsiteY1385" fmla="*/ 103 h 10000"/>
                  <a:gd name="connsiteX1386" fmla="*/ 5115 w 10820"/>
                  <a:gd name="connsiteY1386" fmla="*/ 85 h 10000"/>
                  <a:gd name="connsiteX1387" fmla="*/ 5111 w 10820"/>
                  <a:gd name="connsiteY1387" fmla="*/ 111 h 10000"/>
                  <a:gd name="connsiteX1388" fmla="*/ 5092 w 10820"/>
                  <a:gd name="connsiteY1388" fmla="*/ 103 h 10000"/>
                  <a:gd name="connsiteX1389" fmla="*/ 5069 w 10820"/>
                  <a:gd name="connsiteY1389" fmla="*/ 77 h 10000"/>
                  <a:gd name="connsiteX1390" fmla="*/ 5051 w 10820"/>
                  <a:gd name="connsiteY1390" fmla="*/ 26 h 10000"/>
                  <a:gd name="connsiteX1391" fmla="*/ 5041 w 10820"/>
                  <a:gd name="connsiteY1391" fmla="*/ 34 h 10000"/>
                  <a:gd name="connsiteX1392" fmla="*/ 5037 w 10820"/>
                  <a:gd name="connsiteY1392" fmla="*/ 34 h 10000"/>
                  <a:gd name="connsiteX1393" fmla="*/ 5037 w 10820"/>
                  <a:gd name="connsiteY1393" fmla="*/ 26 h 10000"/>
                  <a:gd name="connsiteX1394" fmla="*/ 5037 w 10820"/>
                  <a:gd name="connsiteY1394" fmla="*/ 9 h 10000"/>
                  <a:gd name="connsiteX1395" fmla="*/ 5023 w 10820"/>
                  <a:gd name="connsiteY1395" fmla="*/ 0 h 10000"/>
                  <a:gd name="connsiteX1396" fmla="*/ 5009 w 10820"/>
                  <a:gd name="connsiteY1396" fmla="*/ 9 h 10000"/>
                  <a:gd name="connsiteX1397" fmla="*/ 4995 w 10820"/>
                  <a:gd name="connsiteY1397" fmla="*/ 34 h 10000"/>
                  <a:gd name="connsiteX1398" fmla="*/ 4991 w 10820"/>
                  <a:gd name="connsiteY1398" fmla="*/ 60 h 10000"/>
                  <a:gd name="connsiteX1399" fmla="*/ 4982 w 10820"/>
                  <a:gd name="connsiteY1399" fmla="*/ 60 h 10000"/>
                  <a:gd name="connsiteX1400" fmla="*/ 4949 w 10820"/>
                  <a:gd name="connsiteY1400" fmla="*/ 51 h 10000"/>
                  <a:gd name="connsiteX1401" fmla="*/ 4949 w 10820"/>
                  <a:gd name="connsiteY1401" fmla="*/ 85 h 10000"/>
                  <a:gd name="connsiteX1402" fmla="*/ 4903 w 10820"/>
                  <a:gd name="connsiteY1402" fmla="*/ 197 h 10000"/>
                  <a:gd name="connsiteX1403" fmla="*/ 4899 w 10820"/>
                  <a:gd name="connsiteY1403" fmla="*/ 239 h 10000"/>
                  <a:gd name="connsiteX1404" fmla="*/ 4871 w 10820"/>
                  <a:gd name="connsiteY1404" fmla="*/ 274 h 10000"/>
                  <a:gd name="connsiteX1405" fmla="*/ 4871 w 10820"/>
                  <a:gd name="connsiteY1405" fmla="*/ 282 h 10000"/>
                  <a:gd name="connsiteX1406" fmla="*/ 4834 w 10820"/>
                  <a:gd name="connsiteY1406" fmla="*/ 376 h 10000"/>
                  <a:gd name="connsiteX1407" fmla="*/ 4829 w 10820"/>
                  <a:gd name="connsiteY1407" fmla="*/ 402 h 10000"/>
                  <a:gd name="connsiteX1408" fmla="*/ 4834 w 10820"/>
                  <a:gd name="connsiteY1408" fmla="*/ 410 h 10000"/>
                  <a:gd name="connsiteX1409" fmla="*/ 4829 w 10820"/>
                  <a:gd name="connsiteY1409" fmla="*/ 436 h 10000"/>
                  <a:gd name="connsiteX1410" fmla="*/ 4825 w 10820"/>
                  <a:gd name="connsiteY1410" fmla="*/ 436 h 10000"/>
                  <a:gd name="connsiteX1411" fmla="*/ 4825 w 10820"/>
                  <a:gd name="connsiteY1411" fmla="*/ 444 h 10000"/>
                  <a:gd name="connsiteX1412" fmla="*/ 4811 w 10820"/>
                  <a:gd name="connsiteY1412" fmla="*/ 496 h 10000"/>
                  <a:gd name="connsiteX1413" fmla="*/ 4811 w 10820"/>
                  <a:gd name="connsiteY1413" fmla="*/ 496 h 10000"/>
                  <a:gd name="connsiteX1414" fmla="*/ 4811 w 10820"/>
                  <a:gd name="connsiteY1414" fmla="*/ 521 h 10000"/>
                  <a:gd name="connsiteX1415" fmla="*/ 4816 w 10820"/>
                  <a:gd name="connsiteY1415" fmla="*/ 530 h 10000"/>
                  <a:gd name="connsiteX1416" fmla="*/ 4834 w 10820"/>
                  <a:gd name="connsiteY1416" fmla="*/ 547 h 10000"/>
                  <a:gd name="connsiteX1417" fmla="*/ 4834 w 10820"/>
                  <a:gd name="connsiteY1417" fmla="*/ 581 h 10000"/>
                  <a:gd name="connsiteX1418" fmla="*/ 4843 w 10820"/>
                  <a:gd name="connsiteY1418" fmla="*/ 581 h 10000"/>
                  <a:gd name="connsiteX1419" fmla="*/ 4843 w 10820"/>
                  <a:gd name="connsiteY1419" fmla="*/ 598 h 10000"/>
                  <a:gd name="connsiteX1420" fmla="*/ 4829 w 10820"/>
                  <a:gd name="connsiteY1420" fmla="*/ 598 h 10000"/>
                  <a:gd name="connsiteX1421" fmla="*/ 4829 w 10820"/>
                  <a:gd name="connsiteY1421" fmla="*/ 573 h 10000"/>
                  <a:gd name="connsiteX1422" fmla="*/ 4829 w 10820"/>
                  <a:gd name="connsiteY1422" fmla="*/ 632 h 10000"/>
                  <a:gd name="connsiteX1423" fmla="*/ 4829 w 10820"/>
                  <a:gd name="connsiteY1423" fmla="*/ 632 h 10000"/>
                  <a:gd name="connsiteX1424" fmla="*/ 4829 w 10820"/>
                  <a:gd name="connsiteY1424" fmla="*/ 650 h 10000"/>
                  <a:gd name="connsiteX1425" fmla="*/ 4774 w 10820"/>
                  <a:gd name="connsiteY1425" fmla="*/ 684 h 10000"/>
                  <a:gd name="connsiteX1426" fmla="*/ 4756 w 10820"/>
                  <a:gd name="connsiteY1426" fmla="*/ 684 h 10000"/>
                  <a:gd name="connsiteX1427" fmla="*/ 4737 w 10820"/>
                  <a:gd name="connsiteY1427" fmla="*/ 692 h 10000"/>
                  <a:gd name="connsiteX1428" fmla="*/ 4677 w 10820"/>
                  <a:gd name="connsiteY1428" fmla="*/ 667 h 10000"/>
                  <a:gd name="connsiteX1429" fmla="*/ 4682 w 10820"/>
                  <a:gd name="connsiteY1429" fmla="*/ 692 h 10000"/>
                  <a:gd name="connsiteX1430" fmla="*/ 4682 w 10820"/>
                  <a:gd name="connsiteY1430" fmla="*/ 709 h 10000"/>
                  <a:gd name="connsiteX1431" fmla="*/ 4691 w 10820"/>
                  <a:gd name="connsiteY1431" fmla="*/ 718 h 10000"/>
                  <a:gd name="connsiteX1432" fmla="*/ 4691 w 10820"/>
                  <a:gd name="connsiteY1432" fmla="*/ 744 h 10000"/>
                  <a:gd name="connsiteX1433" fmla="*/ 4700 w 10820"/>
                  <a:gd name="connsiteY1433" fmla="*/ 744 h 10000"/>
                  <a:gd name="connsiteX1434" fmla="*/ 4714 w 10820"/>
                  <a:gd name="connsiteY1434" fmla="*/ 769 h 10000"/>
                  <a:gd name="connsiteX1435" fmla="*/ 4710 w 10820"/>
                  <a:gd name="connsiteY1435" fmla="*/ 786 h 10000"/>
                  <a:gd name="connsiteX1436" fmla="*/ 4737 w 10820"/>
                  <a:gd name="connsiteY1436" fmla="*/ 786 h 10000"/>
                  <a:gd name="connsiteX1437" fmla="*/ 4742 w 10820"/>
                  <a:gd name="connsiteY1437" fmla="*/ 795 h 10000"/>
                  <a:gd name="connsiteX1438" fmla="*/ 4742 w 10820"/>
                  <a:gd name="connsiteY1438" fmla="*/ 803 h 10000"/>
                  <a:gd name="connsiteX1439" fmla="*/ 4737 w 10820"/>
                  <a:gd name="connsiteY1439" fmla="*/ 846 h 10000"/>
                  <a:gd name="connsiteX1440" fmla="*/ 4737 w 10820"/>
                  <a:gd name="connsiteY1440" fmla="*/ 880 h 10000"/>
                  <a:gd name="connsiteX1441" fmla="*/ 4737 w 10820"/>
                  <a:gd name="connsiteY1441" fmla="*/ 906 h 10000"/>
                  <a:gd name="connsiteX1442" fmla="*/ 4724 w 10820"/>
                  <a:gd name="connsiteY1442" fmla="*/ 897 h 10000"/>
                  <a:gd name="connsiteX1443" fmla="*/ 4724 w 10820"/>
                  <a:gd name="connsiteY1443" fmla="*/ 872 h 10000"/>
                  <a:gd name="connsiteX1444" fmla="*/ 4714 w 10820"/>
                  <a:gd name="connsiteY1444" fmla="*/ 855 h 10000"/>
                  <a:gd name="connsiteX1445" fmla="*/ 4691 w 10820"/>
                  <a:gd name="connsiteY1445" fmla="*/ 846 h 10000"/>
                  <a:gd name="connsiteX1446" fmla="*/ 4691 w 10820"/>
                  <a:gd name="connsiteY1446" fmla="*/ 846 h 10000"/>
                  <a:gd name="connsiteX1447" fmla="*/ 4696 w 10820"/>
                  <a:gd name="connsiteY1447" fmla="*/ 821 h 10000"/>
                  <a:gd name="connsiteX1448" fmla="*/ 4691 w 10820"/>
                  <a:gd name="connsiteY1448" fmla="*/ 803 h 10000"/>
                  <a:gd name="connsiteX1449" fmla="*/ 4668 w 10820"/>
                  <a:gd name="connsiteY1449" fmla="*/ 821 h 10000"/>
                  <a:gd name="connsiteX1450" fmla="*/ 4668 w 10820"/>
                  <a:gd name="connsiteY1450" fmla="*/ 786 h 10000"/>
                  <a:gd name="connsiteX1451" fmla="*/ 4664 w 10820"/>
                  <a:gd name="connsiteY1451" fmla="*/ 786 h 10000"/>
                  <a:gd name="connsiteX1452" fmla="*/ 4622 w 10820"/>
                  <a:gd name="connsiteY1452" fmla="*/ 846 h 10000"/>
                  <a:gd name="connsiteX1453" fmla="*/ 4627 w 10820"/>
                  <a:gd name="connsiteY1453" fmla="*/ 872 h 10000"/>
                  <a:gd name="connsiteX1454" fmla="*/ 4622 w 10820"/>
                  <a:gd name="connsiteY1454" fmla="*/ 880 h 10000"/>
                  <a:gd name="connsiteX1455" fmla="*/ 4622 w 10820"/>
                  <a:gd name="connsiteY1455" fmla="*/ 880 h 10000"/>
                  <a:gd name="connsiteX1456" fmla="*/ 4618 w 10820"/>
                  <a:gd name="connsiteY1456" fmla="*/ 872 h 10000"/>
                  <a:gd name="connsiteX1457" fmla="*/ 4604 w 10820"/>
                  <a:gd name="connsiteY1457" fmla="*/ 880 h 10000"/>
                  <a:gd name="connsiteX1458" fmla="*/ 4594 w 10820"/>
                  <a:gd name="connsiteY1458" fmla="*/ 906 h 10000"/>
                  <a:gd name="connsiteX1459" fmla="*/ 4604 w 10820"/>
                  <a:gd name="connsiteY1459" fmla="*/ 906 h 10000"/>
                  <a:gd name="connsiteX1460" fmla="*/ 4608 w 10820"/>
                  <a:gd name="connsiteY1460" fmla="*/ 906 h 10000"/>
                  <a:gd name="connsiteX1461" fmla="*/ 4608 w 10820"/>
                  <a:gd name="connsiteY1461" fmla="*/ 932 h 10000"/>
                  <a:gd name="connsiteX1462" fmla="*/ 4604 w 10820"/>
                  <a:gd name="connsiteY1462" fmla="*/ 932 h 10000"/>
                  <a:gd name="connsiteX1463" fmla="*/ 4590 w 10820"/>
                  <a:gd name="connsiteY1463" fmla="*/ 932 h 10000"/>
                  <a:gd name="connsiteX1464" fmla="*/ 4567 w 10820"/>
                  <a:gd name="connsiteY1464" fmla="*/ 957 h 10000"/>
                  <a:gd name="connsiteX1465" fmla="*/ 4567 w 10820"/>
                  <a:gd name="connsiteY1465" fmla="*/ 932 h 10000"/>
                  <a:gd name="connsiteX1466" fmla="*/ 4567 w 10820"/>
                  <a:gd name="connsiteY1466" fmla="*/ 923 h 10000"/>
                  <a:gd name="connsiteX1467" fmla="*/ 4562 w 10820"/>
                  <a:gd name="connsiteY1467" fmla="*/ 932 h 10000"/>
                  <a:gd name="connsiteX1468" fmla="*/ 4548 w 10820"/>
                  <a:gd name="connsiteY1468" fmla="*/ 957 h 10000"/>
                  <a:gd name="connsiteX1469" fmla="*/ 4544 w 10820"/>
                  <a:gd name="connsiteY1469" fmla="*/ 957 h 10000"/>
                  <a:gd name="connsiteX1470" fmla="*/ 4521 w 10820"/>
                  <a:gd name="connsiteY1470" fmla="*/ 983 h 10000"/>
                  <a:gd name="connsiteX1471" fmla="*/ 4521 w 10820"/>
                  <a:gd name="connsiteY1471" fmla="*/ 983 h 10000"/>
                  <a:gd name="connsiteX1472" fmla="*/ 4530 w 10820"/>
                  <a:gd name="connsiteY1472" fmla="*/ 957 h 10000"/>
                  <a:gd name="connsiteX1473" fmla="*/ 4535 w 10820"/>
                  <a:gd name="connsiteY1473" fmla="*/ 932 h 10000"/>
                  <a:gd name="connsiteX1474" fmla="*/ 4521 w 10820"/>
                  <a:gd name="connsiteY1474" fmla="*/ 932 h 10000"/>
                  <a:gd name="connsiteX1475" fmla="*/ 4516 w 10820"/>
                  <a:gd name="connsiteY1475" fmla="*/ 923 h 10000"/>
                  <a:gd name="connsiteX1476" fmla="*/ 4516 w 10820"/>
                  <a:gd name="connsiteY1476" fmla="*/ 932 h 10000"/>
                  <a:gd name="connsiteX1477" fmla="*/ 4488 w 10820"/>
                  <a:gd name="connsiteY1477" fmla="*/ 940 h 10000"/>
                  <a:gd name="connsiteX1478" fmla="*/ 4484 w 10820"/>
                  <a:gd name="connsiteY1478" fmla="*/ 983 h 10000"/>
                  <a:gd name="connsiteX1479" fmla="*/ 4470 w 10820"/>
                  <a:gd name="connsiteY1479" fmla="*/ 983 h 10000"/>
                  <a:gd name="connsiteX1480" fmla="*/ 4470 w 10820"/>
                  <a:gd name="connsiteY1480" fmla="*/ 966 h 10000"/>
                  <a:gd name="connsiteX1481" fmla="*/ 4488 w 10820"/>
                  <a:gd name="connsiteY1481" fmla="*/ 923 h 10000"/>
                  <a:gd name="connsiteX1482" fmla="*/ 4493 w 10820"/>
                  <a:gd name="connsiteY1482" fmla="*/ 880 h 10000"/>
                  <a:gd name="connsiteX1483" fmla="*/ 4475 w 10820"/>
                  <a:gd name="connsiteY1483" fmla="*/ 846 h 10000"/>
                  <a:gd name="connsiteX1484" fmla="*/ 4442 w 10820"/>
                  <a:gd name="connsiteY1484" fmla="*/ 855 h 10000"/>
                  <a:gd name="connsiteX1485" fmla="*/ 4433 w 10820"/>
                  <a:gd name="connsiteY1485" fmla="*/ 855 h 10000"/>
                  <a:gd name="connsiteX1486" fmla="*/ 4433 w 10820"/>
                  <a:gd name="connsiteY1486" fmla="*/ 880 h 10000"/>
                  <a:gd name="connsiteX1487" fmla="*/ 4401 w 10820"/>
                  <a:gd name="connsiteY1487" fmla="*/ 855 h 10000"/>
                  <a:gd name="connsiteX1488" fmla="*/ 4396 w 10820"/>
                  <a:gd name="connsiteY1488" fmla="*/ 872 h 10000"/>
                  <a:gd name="connsiteX1489" fmla="*/ 4382 w 10820"/>
                  <a:gd name="connsiteY1489" fmla="*/ 897 h 10000"/>
                  <a:gd name="connsiteX1490" fmla="*/ 4373 w 10820"/>
                  <a:gd name="connsiteY1490" fmla="*/ 872 h 10000"/>
                  <a:gd name="connsiteX1491" fmla="*/ 4341 w 10820"/>
                  <a:gd name="connsiteY1491" fmla="*/ 872 h 10000"/>
                  <a:gd name="connsiteX1492" fmla="*/ 4336 w 10820"/>
                  <a:gd name="connsiteY1492" fmla="*/ 880 h 10000"/>
                  <a:gd name="connsiteX1493" fmla="*/ 4346 w 10820"/>
                  <a:gd name="connsiteY1493" fmla="*/ 897 h 10000"/>
                  <a:gd name="connsiteX1494" fmla="*/ 4346 w 10820"/>
                  <a:gd name="connsiteY1494" fmla="*/ 897 h 10000"/>
                  <a:gd name="connsiteX1495" fmla="*/ 4313 w 10820"/>
                  <a:gd name="connsiteY1495" fmla="*/ 906 h 10000"/>
                  <a:gd name="connsiteX1496" fmla="*/ 4313 w 10820"/>
                  <a:gd name="connsiteY1496" fmla="*/ 906 h 10000"/>
                  <a:gd name="connsiteX1497" fmla="*/ 4313 w 10820"/>
                  <a:gd name="connsiteY1497" fmla="*/ 880 h 10000"/>
                  <a:gd name="connsiteX1498" fmla="*/ 4309 w 10820"/>
                  <a:gd name="connsiteY1498" fmla="*/ 897 h 10000"/>
                  <a:gd name="connsiteX1499" fmla="*/ 4295 w 10820"/>
                  <a:gd name="connsiteY1499" fmla="*/ 923 h 10000"/>
                  <a:gd name="connsiteX1500" fmla="*/ 4286 w 10820"/>
                  <a:gd name="connsiteY1500" fmla="*/ 897 h 10000"/>
                  <a:gd name="connsiteX1501" fmla="*/ 4281 w 10820"/>
                  <a:gd name="connsiteY1501" fmla="*/ 906 h 10000"/>
                  <a:gd name="connsiteX1502" fmla="*/ 4281 w 10820"/>
                  <a:gd name="connsiteY1502" fmla="*/ 940 h 10000"/>
                  <a:gd name="connsiteX1503" fmla="*/ 4286 w 10820"/>
                  <a:gd name="connsiteY1503" fmla="*/ 957 h 10000"/>
                  <a:gd name="connsiteX1504" fmla="*/ 4309 w 10820"/>
                  <a:gd name="connsiteY1504" fmla="*/ 932 h 10000"/>
                  <a:gd name="connsiteX1505" fmla="*/ 4313 w 10820"/>
                  <a:gd name="connsiteY1505" fmla="*/ 957 h 10000"/>
                  <a:gd name="connsiteX1506" fmla="*/ 4313 w 10820"/>
                  <a:gd name="connsiteY1506" fmla="*/ 966 h 10000"/>
                  <a:gd name="connsiteX1507" fmla="*/ 4323 w 10820"/>
                  <a:gd name="connsiteY1507" fmla="*/ 966 h 10000"/>
                  <a:gd name="connsiteX1508" fmla="*/ 4323 w 10820"/>
                  <a:gd name="connsiteY1508" fmla="*/ 940 h 10000"/>
                  <a:gd name="connsiteX1509" fmla="*/ 4327 w 10820"/>
                  <a:gd name="connsiteY1509" fmla="*/ 940 h 10000"/>
                  <a:gd name="connsiteX1510" fmla="*/ 4327 w 10820"/>
                  <a:gd name="connsiteY1510" fmla="*/ 957 h 10000"/>
                  <a:gd name="connsiteX1511" fmla="*/ 4327 w 10820"/>
                  <a:gd name="connsiteY1511" fmla="*/ 966 h 10000"/>
                  <a:gd name="connsiteX1512" fmla="*/ 4323 w 10820"/>
                  <a:gd name="connsiteY1512" fmla="*/ 991 h 10000"/>
                  <a:gd name="connsiteX1513" fmla="*/ 4207 w 10820"/>
                  <a:gd name="connsiteY1513" fmla="*/ 1060 h 10000"/>
                  <a:gd name="connsiteX1514" fmla="*/ 4207 w 10820"/>
                  <a:gd name="connsiteY1514" fmla="*/ 1060 h 10000"/>
                  <a:gd name="connsiteX1515" fmla="*/ 4203 w 10820"/>
                  <a:gd name="connsiteY1515" fmla="*/ 1068 h 10000"/>
                  <a:gd name="connsiteX1516" fmla="*/ 4203 w 10820"/>
                  <a:gd name="connsiteY1516" fmla="*/ 1094 h 10000"/>
                  <a:gd name="connsiteX1517" fmla="*/ 4203 w 10820"/>
                  <a:gd name="connsiteY1517" fmla="*/ 1094 h 10000"/>
                  <a:gd name="connsiteX1518" fmla="*/ 4189 w 10820"/>
                  <a:gd name="connsiteY1518" fmla="*/ 1094 h 10000"/>
                  <a:gd name="connsiteX1519" fmla="*/ 4166 w 10820"/>
                  <a:gd name="connsiteY1519" fmla="*/ 1103 h 10000"/>
                  <a:gd name="connsiteX1520" fmla="*/ 4152 w 10820"/>
                  <a:gd name="connsiteY1520" fmla="*/ 1094 h 10000"/>
                  <a:gd name="connsiteX1521" fmla="*/ 4134 w 10820"/>
                  <a:gd name="connsiteY1521" fmla="*/ 1120 h 10000"/>
                  <a:gd name="connsiteX1522" fmla="*/ 4106 w 10820"/>
                  <a:gd name="connsiteY1522" fmla="*/ 1120 h 10000"/>
                  <a:gd name="connsiteX1523" fmla="*/ 4092 w 10820"/>
                  <a:gd name="connsiteY1523" fmla="*/ 1154 h 10000"/>
                  <a:gd name="connsiteX1524" fmla="*/ 4106 w 10820"/>
                  <a:gd name="connsiteY1524" fmla="*/ 1171 h 10000"/>
                  <a:gd name="connsiteX1525" fmla="*/ 4078 w 10820"/>
                  <a:gd name="connsiteY1525" fmla="*/ 1179 h 10000"/>
                  <a:gd name="connsiteX1526" fmla="*/ 4065 w 10820"/>
                  <a:gd name="connsiteY1526" fmla="*/ 1205 h 10000"/>
                  <a:gd name="connsiteX1527" fmla="*/ 4046 w 10820"/>
                  <a:gd name="connsiteY1527" fmla="*/ 1179 h 10000"/>
                  <a:gd name="connsiteX1528" fmla="*/ 4041 w 10820"/>
                  <a:gd name="connsiteY1528" fmla="*/ 1197 h 10000"/>
                  <a:gd name="connsiteX1529" fmla="*/ 4028 w 10820"/>
                  <a:gd name="connsiteY1529" fmla="*/ 1205 h 10000"/>
                  <a:gd name="connsiteX1530" fmla="*/ 4028 w 10820"/>
                  <a:gd name="connsiteY1530" fmla="*/ 1205 h 10000"/>
                  <a:gd name="connsiteX1531" fmla="*/ 4032 w 10820"/>
                  <a:gd name="connsiteY1531" fmla="*/ 1205 h 10000"/>
                  <a:gd name="connsiteX1532" fmla="*/ 4032 w 10820"/>
                  <a:gd name="connsiteY1532" fmla="*/ 1231 h 10000"/>
                  <a:gd name="connsiteX1533" fmla="*/ 4014 w 10820"/>
                  <a:gd name="connsiteY1533" fmla="*/ 1239 h 10000"/>
                  <a:gd name="connsiteX1534" fmla="*/ 4014 w 10820"/>
                  <a:gd name="connsiteY1534" fmla="*/ 1256 h 10000"/>
                  <a:gd name="connsiteX1535" fmla="*/ 4000 w 10820"/>
                  <a:gd name="connsiteY1535" fmla="*/ 1265 h 10000"/>
                  <a:gd name="connsiteX1536" fmla="*/ 3986 w 10820"/>
                  <a:gd name="connsiteY1536" fmla="*/ 1308 h 10000"/>
                  <a:gd name="connsiteX1537" fmla="*/ 3972 w 10820"/>
                  <a:gd name="connsiteY1537" fmla="*/ 1316 h 10000"/>
                  <a:gd name="connsiteX1538" fmla="*/ 3972 w 10820"/>
                  <a:gd name="connsiteY1538" fmla="*/ 1325 h 10000"/>
                  <a:gd name="connsiteX1539" fmla="*/ 3972 w 10820"/>
                  <a:gd name="connsiteY1539" fmla="*/ 1342 h 10000"/>
                  <a:gd name="connsiteX1540" fmla="*/ 3968 w 10820"/>
                  <a:gd name="connsiteY1540" fmla="*/ 1350 h 10000"/>
                  <a:gd name="connsiteX1541" fmla="*/ 3954 w 10820"/>
                  <a:gd name="connsiteY1541" fmla="*/ 1368 h 10000"/>
                  <a:gd name="connsiteX1542" fmla="*/ 3945 w 10820"/>
                  <a:gd name="connsiteY1542" fmla="*/ 1350 h 10000"/>
                  <a:gd name="connsiteX1543" fmla="*/ 3908 w 10820"/>
                  <a:gd name="connsiteY1543" fmla="*/ 1342 h 10000"/>
                  <a:gd name="connsiteX1544" fmla="*/ 3894 w 10820"/>
                  <a:gd name="connsiteY1544" fmla="*/ 1368 h 10000"/>
                  <a:gd name="connsiteX1545" fmla="*/ 3922 w 10820"/>
                  <a:gd name="connsiteY1545" fmla="*/ 1393 h 10000"/>
                  <a:gd name="connsiteX1546" fmla="*/ 3945 w 10820"/>
                  <a:gd name="connsiteY1546" fmla="*/ 1393 h 10000"/>
                  <a:gd name="connsiteX1547" fmla="*/ 3940 w 10820"/>
                  <a:gd name="connsiteY1547" fmla="*/ 1419 h 10000"/>
                  <a:gd name="connsiteX1548" fmla="*/ 3931 w 10820"/>
                  <a:gd name="connsiteY1548" fmla="*/ 1427 h 10000"/>
                  <a:gd name="connsiteX1549" fmla="*/ 3926 w 10820"/>
                  <a:gd name="connsiteY1549" fmla="*/ 1427 h 10000"/>
                  <a:gd name="connsiteX1550" fmla="*/ 3922 w 10820"/>
                  <a:gd name="connsiteY1550" fmla="*/ 1419 h 10000"/>
                  <a:gd name="connsiteX1551" fmla="*/ 3912 w 10820"/>
                  <a:gd name="connsiteY1551" fmla="*/ 1427 h 10000"/>
                  <a:gd name="connsiteX1552" fmla="*/ 3912 w 10820"/>
                  <a:gd name="connsiteY1552" fmla="*/ 1444 h 10000"/>
                  <a:gd name="connsiteX1553" fmla="*/ 3894 w 10820"/>
                  <a:gd name="connsiteY1553" fmla="*/ 1513 h 10000"/>
                  <a:gd name="connsiteX1554" fmla="*/ 3885 w 10820"/>
                  <a:gd name="connsiteY1554" fmla="*/ 1513 h 10000"/>
                  <a:gd name="connsiteX1555" fmla="*/ 3880 w 10820"/>
                  <a:gd name="connsiteY1555" fmla="*/ 1538 h 10000"/>
                  <a:gd name="connsiteX1556" fmla="*/ 3885 w 10820"/>
                  <a:gd name="connsiteY1556" fmla="*/ 1564 h 10000"/>
                  <a:gd name="connsiteX1557" fmla="*/ 3880 w 10820"/>
                  <a:gd name="connsiteY1557" fmla="*/ 1581 h 10000"/>
                  <a:gd name="connsiteX1558" fmla="*/ 3871 w 10820"/>
                  <a:gd name="connsiteY1558" fmla="*/ 1538 h 10000"/>
                  <a:gd name="connsiteX1559" fmla="*/ 3853 w 10820"/>
                  <a:gd name="connsiteY1559" fmla="*/ 1530 h 10000"/>
                  <a:gd name="connsiteX1560" fmla="*/ 3853 w 10820"/>
                  <a:gd name="connsiteY1560" fmla="*/ 1504 h 10000"/>
                  <a:gd name="connsiteX1561" fmla="*/ 3834 w 10820"/>
                  <a:gd name="connsiteY1561" fmla="*/ 1487 h 10000"/>
                  <a:gd name="connsiteX1562" fmla="*/ 3834 w 10820"/>
                  <a:gd name="connsiteY1562" fmla="*/ 1487 h 10000"/>
                  <a:gd name="connsiteX1563" fmla="*/ 3839 w 10820"/>
                  <a:gd name="connsiteY1563" fmla="*/ 1513 h 10000"/>
                  <a:gd name="connsiteX1564" fmla="*/ 3820 w 10820"/>
                  <a:gd name="connsiteY1564" fmla="*/ 1538 h 10000"/>
                  <a:gd name="connsiteX1565" fmla="*/ 3820 w 10820"/>
                  <a:gd name="connsiteY1565" fmla="*/ 1556 h 10000"/>
                  <a:gd name="connsiteX1566" fmla="*/ 3820 w 10820"/>
                  <a:gd name="connsiteY1566" fmla="*/ 1564 h 10000"/>
                  <a:gd name="connsiteX1567" fmla="*/ 3820 w 10820"/>
                  <a:gd name="connsiteY1567" fmla="*/ 1581 h 10000"/>
                  <a:gd name="connsiteX1568" fmla="*/ 3853 w 10820"/>
                  <a:gd name="connsiteY1568" fmla="*/ 1581 h 10000"/>
                  <a:gd name="connsiteX1569" fmla="*/ 3857 w 10820"/>
                  <a:gd name="connsiteY1569" fmla="*/ 1598 h 10000"/>
                  <a:gd name="connsiteX1570" fmla="*/ 3880 w 10820"/>
                  <a:gd name="connsiteY1570" fmla="*/ 1615 h 10000"/>
                  <a:gd name="connsiteX1571" fmla="*/ 3871 w 10820"/>
                  <a:gd name="connsiteY1571" fmla="*/ 1615 h 10000"/>
                  <a:gd name="connsiteX1572" fmla="*/ 3871 w 10820"/>
                  <a:gd name="connsiteY1572" fmla="*/ 1641 h 10000"/>
                  <a:gd name="connsiteX1573" fmla="*/ 3880 w 10820"/>
                  <a:gd name="connsiteY1573" fmla="*/ 1641 h 10000"/>
                  <a:gd name="connsiteX1574" fmla="*/ 3871 w 10820"/>
                  <a:gd name="connsiteY1574" fmla="*/ 1650 h 10000"/>
                  <a:gd name="connsiteX1575" fmla="*/ 3857 w 10820"/>
                  <a:gd name="connsiteY1575" fmla="*/ 1650 h 10000"/>
                  <a:gd name="connsiteX1576" fmla="*/ 3853 w 10820"/>
                  <a:gd name="connsiteY1576" fmla="*/ 1650 h 10000"/>
                  <a:gd name="connsiteX1577" fmla="*/ 3839 w 10820"/>
                  <a:gd name="connsiteY1577" fmla="*/ 1667 h 10000"/>
                  <a:gd name="connsiteX1578" fmla="*/ 3848 w 10820"/>
                  <a:gd name="connsiteY1578" fmla="*/ 1692 h 10000"/>
                  <a:gd name="connsiteX1579" fmla="*/ 3834 w 10820"/>
                  <a:gd name="connsiteY1579" fmla="*/ 1692 h 10000"/>
                  <a:gd name="connsiteX1580" fmla="*/ 3825 w 10820"/>
                  <a:gd name="connsiteY1580" fmla="*/ 1692 h 10000"/>
                  <a:gd name="connsiteX1581" fmla="*/ 3825 w 10820"/>
                  <a:gd name="connsiteY1581" fmla="*/ 1718 h 10000"/>
                  <a:gd name="connsiteX1582" fmla="*/ 3839 w 10820"/>
                  <a:gd name="connsiteY1582" fmla="*/ 1726 h 10000"/>
                  <a:gd name="connsiteX1583" fmla="*/ 3880 w 10820"/>
                  <a:gd name="connsiteY1583" fmla="*/ 1752 h 10000"/>
                  <a:gd name="connsiteX1584" fmla="*/ 3894 w 10820"/>
                  <a:gd name="connsiteY1584" fmla="*/ 1829 h 10000"/>
                  <a:gd name="connsiteX1585" fmla="*/ 3899 w 10820"/>
                  <a:gd name="connsiteY1585" fmla="*/ 1838 h 10000"/>
                  <a:gd name="connsiteX1586" fmla="*/ 3894 w 10820"/>
                  <a:gd name="connsiteY1586" fmla="*/ 1855 h 10000"/>
                  <a:gd name="connsiteX1587" fmla="*/ 3880 w 10820"/>
                  <a:gd name="connsiteY1587" fmla="*/ 1838 h 10000"/>
                  <a:gd name="connsiteX1588" fmla="*/ 3880 w 10820"/>
                  <a:gd name="connsiteY1588" fmla="*/ 1855 h 10000"/>
                  <a:gd name="connsiteX1589" fmla="*/ 3880 w 10820"/>
                  <a:gd name="connsiteY1589" fmla="*/ 1863 h 10000"/>
                  <a:gd name="connsiteX1590" fmla="*/ 3871 w 10820"/>
                  <a:gd name="connsiteY1590" fmla="*/ 1872 h 10000"/>
                  <a:gd name="connsiteX1591" fmla="*/ 3880 w 10820"/>
                  <a:gd name="connsiteY1591" fmla="*/ 1889 h 10000"/>
                  <a:gd name="connsiteX1592" fmla="*/ 3885 w 10820"/>
                  <a:gd name="connsiteY1592" fmla="*/ 1889 h 10000"/>
                  <a:gd name="connsiteX1593" fmla="*/ 3880 w 10820"/>
                  <a:gd name="connsiteY1593" fmla="*/ 1897 h 10000"/>
                  <a:gd name="connsiteX1594" fmla="*/ 3871 w 10820"/>
                  <a:gd name="connsiteY1594" fmla="*/ 1915 h 10000"/>
                  <a:gd name="connsiteX1595" fmla="*/ 3848 w 10820"/>
                  <a:gd name="connsiteY1595" fmla="*/ 1923 h 10000"/>
                  <a:gd name="connsiteX1596" fmla="*/ 3825 w 10820"/>
                  <a:gd name="connsiteY1596" fmla="*/ 1940 h 10000"/>
                  <a:gd name="connsiteX1597" fmla="*/ 3811 w 10820"/>
                  <a:gd name="connsiteY1597" fmla="*/ 1940 h 10000"/>
                  <a:gd name="connsiteX1598" fmla="*/ 3806 w 10820"/>
                  <a:gd name="connsiteY1598" fmla="*/ 1949 h 10000"/>
                  <a:gd name="connsiteX1599" fmla="*/ 3797 w 10820"/>
                  <a:gd name="connsiteY1599" fmla="*/ 1966 h 10000"/>
                  <a:gd name="connsiteX1600" fmla="*/ 3788 w 10820"/>
                  <a:gd name="connsiteY1600" fmla="*/ 1991 h 10000"/>
                  <a:gd name="connsiteX1601" fmla="*/ 3765 w 10820"/>
                  <a:gd name="connsiteY1601" fmla="*/ 1974 h 10000"/>
                  <a:gd name="connsiteX1602" fmla="*/ 3760 w 10820"/>
                  <a:gd name="connsiteY1602" fmla="*/ 1966 h 10000"/>
                  <a:gd name="connsiteX1603" fmla="*/ 3760 w 10820"/>
                  <a:gd name="connsiteY1603" fmla="*/ 1966 h 10000"/>
                  <a:gd name="connsiteX1604" fmla="*/ 3631 w 10820"/>
                  <a:gd name="connsiteY1604" fmla="*/ 2009 h 10000"/>
                  <a:gd name="connsiteX1605" fmla="*/ 3618 w 10820"/>
                  <a:gd name="connsiteY1605" fmla="*/ 2000 h 10000"/>
                  <a:gd name="connsiteX1606" fmla="*/ 3599 w 10820"/>
                  <a:gd name="connsiteY1606" fmla="*/ 2009 h 10000"/>
                  <a:gd name="connsiteX1607" fmla="*/ 3571 w 10820"/>
                  <a:gd name="connsiteY1607" fmla="*/ 2000 h 10000"/>
                  <a:gd name="connsiteX1608" fmla="*/ 3530 w 10820"/>
                  <a:gd name="connsiteY1608" fmla="*/ 2026 h 10000"/>
                  <a:gd name="connsiteX1609" fmla="*/ 3530 w 10820"/>
                  <a:gd name="connsiteY1609" fmla="*/ 2034 h 10000"/>
                  <a:gd name="connsiteX1610" fmla="*/ 3525 w 10820"/>
                  <a:gd name="connsiteY1610" fmla="*/ 2051 h 10000"/>
                  <a:gd name="connsiteX1611" fmla="*/ 3512 w 10820"/>
                  <a:gd name="connsiteY1611" fmla="*/ 2034 h 10000"/>
                  <a:gd name="connsiteX1612" fmla="*/ 3507 w 10820"/>
                  <a:gd name="connsiteY1612" fmla="*/ 2034 h 10000"/>
                  <a:gd name="connsiteX1613" fmla="*/ 3498 w 10820"/>
                  <a:gd name="connsiteY1613" fmla="*/ 2051 h 10000"/>
                  <a:gd name="connsiteX1614" fmla="*/ 3484 w 10820"/>
                  <a:gd name="connsiteY1614" fmla="*/ 2060 h 10000"/>
                  <a:gd name="connsiteX1615" fmla="*/ 3484 w 10820"/>
                  <a:gd name="connsiteY1615" fmla="*/ 2085 h 10000"/>
                  <a:gd name="connsiteX1616" fmla="*/ 3484 w 10820"/>
                  <a:gd name="connsiteY1616" fmla="*/ 2103 h 10000"/>
                  <a:gd name="connsiteX1617" fmla="*/ 3493 w 10820"/>
                  <a:gd name="connsiteY1617" fmla="*/ 2103 h 10000"/>
                  <a:gd name="connsiteX1618" fmla="*/ 3493 w 10820"/>
                  <a:gd name="connsiteY1618" fmla="*/ 2085 h 10000"/>
                  <a:gd name="connsiteX1619" fmla="*/ 3498 w 10820"/>
                  <a:gd name="connsiteY1619" fmla="*/ 2085 h 10000"/>
                  <a:gd name="connsiteX1620" fmla="*/ 3498 w 10820"/>
                  <a:gd name="connsiteY1620" fmla="*/ 2111 h 10000"/>
                  <a:gd name="connsiteX1621" fmla="*/ 3484 w 10820"/>
                  <a:gd name="connsiteY1621" fmla="*/ 2120 h 10000"/>
                  <a:gd name="connsiteX1622" fmla="*/ 3484 w 10820"/>
                  <a:gd name="connsiteY1622" fmla="*/ 2145 h 10000"/>
                  <a:gd name="connsiteX1623" fmla="*/ 3470 w 10820"/>
                  <a:gd name="connsiteY1623" fmla="*/ 2137 h 10000"/>
                  <a:gd name="connsiteX1624" fmla="*/ 3465 w 10820"/>
                  <a:gd name="connsiteY1624" fmla="*/ 2145 h 10000"/>
                  <a:gd name="connsiteX1625" fmla="*/ 3470 w 10820"/>
                  <a:gd name="connsiteY1625" fmla="*/ 2171 h 10000"/>
                  <a:gd name="connsiteX1626" fmla="*/ 3484 w 10820"/>
                  <a:gd name="connsiteY1626" fmla="*/ 2171 h 10000"/>
                  <a:gd name="connsiteX1627" fmla="*/ 3484 w 10820"/>
                  <a:gd name="connsiteY1627" fmla="*/ 2197 h 10000"/>
                  <a:gd name="connsiteX1628" fmla="*/ 3465 w 10820"/>
                  <a:gd name="connsiteY1628" fmla="*/ 2214 h 10000"/>
                  <a:gd name="connsiteX1629" fmla="*/ 3493 w 10820"/>
                  <a:gd name="connsiteY1629" fmla="*/ 2248 h 10000"/>
                  <a:gd name="connsiteX1630" fmla="*/ 3484 w 10820"/>
                  <a:gd name="connsiteY1630" fmla="*/ 2256 h 10000"/>
                  <a:gd name="connsiteX1631" fmla="*/ 3498 w 10820"/>
                  <a:gd name="connsiteY1631" fmla="*/ 2274 h 10000"/>
                  <a:gd name="connsiteX1632" fmla="*/ 3498 w 10820"/>
                  <a:gd name="connsiteY1632" fmla="*/ 2256 h 10000"/>
                  <a:gd name="connsiteX1633" fmla="*/ 3507 w 10820"/>
                  <a:gd name="connsiteY1633" fmla="*/ 2308 h 10000"/>
                  <a:gd name="connsiteX1634" fmla="*/ 3512 w 10820"/>
                  <a:gd name="connsiteY1634" fmla="*/ 2325 h 10000"/>
                  <a:gd name="connsiteX1635" fmla="*/ 3507 w 10820"/>
                  <a:gd name="connsiteY1635" fmla="*/ 2333 h 10000"/>
                  <a:gd name="connsiteX1636" fmla="*/ 3507 w 10820"/>
                  <a:gd name="connsiteY1636" fmla="*/ 2359 h 10000"/>
                  <a:gd name="connsiteX1637" fmla="*/ 3507 w 10820"/>
                  <a:gd name="connsiteY1637" fmla="*/ 2376 h 10000"/>
                  <a:gd name="connsiteX1638" fmla="*/ 3498 w 10820"/>
                  <a:gd name="connsiteY1638" fmla="*/ 2410 h 10000"/>
                  <a:gd name="connsiteX1639" fmla="*/ 3498 w 10820"/>
                  <a:gd name="connsiteY1639" fmla="*/ 2436 h 10000"/>
                  <a:gd name="connsiteX1640" fmla="*/ 3507 w 10820"/>
                  <a:gd name="connsiteY1640" fmla="*/ 2462 h 10000"/>
                  <a:gd name="connsiteX1641" fmla="*/ 3507 w 10820"/>
                  <a:gd name="connsiteY1641" fmla="*/ 2496 h 10000"/>
                  <a:gd name="connsiteX1642" fmla="*/ 3512 w 10820"/>
                  <a:gd name="connsiteY1642" fmla="*/ 2521 h 10000"/>
                  <a:gd name="connsiteX1643" fmla="*/ 3525 w 10820"/>
                  <a:gd name="connsiteY1643" fmla="*/ 2556 h 10000"/>
                  <a:gd name="connsiteX1644" fmla="*/ 3571 w 10820"/>
                  <a:gd name="connsiteY1644" fmla="*/ 2573 h 10000"/>
                  <a:gd name="connsiteX1645" fmla="*/ 3590 w 10820"/>
                  <a:gd name="connsiteY1645" fmla="*/ 2598 h 10000"/>
                  <a:gd name="connsiteX1646" fmla="*/ 3599 w 10820"/>
                  <a:gd name="connsiteY1646" fmla="*/ 2598 h 10000"/>
                  <a:gd name="connsiteX1647" fmla="*/ 3604 w 10820"/>
                  <a:gd name="connsiteY1647" fmla="*/ 2632 h 10000"/>
                  <a:gd name="connsiteX1648" fmla="*/ 3599 w 10820"/>
                  <a:gd name="connsiteY1648" fmla="*/ 2658 h 10000"/>
                  <a:gd name="connsiteX1649" fmla="*/ 3590 w 10820"/>
                  <a:gd name="connsiteY1649" fmla="*/ 2667 h 10000"/>
                  <a:gd name="connsiteX1650" fmla="*/ 3604 w 10820"/>
                  <a:gd name="connsiteY1650" fmla="*/ 2667 h 10000"/>
                  <a:gd name="connsiteX1651" fmla="*/ 3613 w 10820"/>
                  <a:gd name="connsiteY1651" fmla="*/ 2692 h 10000"/>
                  <a:gd name="connsiteX1652" fmla="*/ 3627 w 10820"/>
                  <a:gd name="connsiteY1652" fmla="*/ 2735 h 10000"/>
                  <a:gd name="connsiteX1653" fmla="*/ 3631 w 10820"/>
                  <a:gd name="connsiteY1653" fmla="*/ 2744 h 10000"/>
                  <a:gd name="connsiteX1654" fmla="*/ 3659 w 10820"/>
                  <a:gd name="connsiteY1654" fmla="*/ 2761 h 10000"/>
                  <a:gd name="connsiteX1655" fmla="*/ 3673 w 10820"/>
                  <a:gd name="connsiteY1655" fmla="*/ 2769 h 10000"/>
                  <a:gd name="connsiteX1656" fmla="*/ 3673 w 10820"/>
                  <a:gd name="connsiteY1656" fmla="*/ 2761 h 10000"/>
                  <a:gd name="connsiteX1657" fmla="*/ 3687 w 10820"/>
                  <a:gd name="connsiteY1657" fmla="*/ 2829 h 10000"/>
                  <a:gd name="connsiteX1658" fmla="*/ 3677 w 10820"/>
                  <a:gd name="connsiteY1658" fmla="*/ 2897 h 10000"/>
                  <a:gd name="connsiteX1659" fmla="*/ 3673 w 10820"/>
                  <a:gd name="connsiteY1659" fmla="*/ 2915 h 10000"/>
                  <a:gd name="connsiteX1660" fmla="*/ 3664 w 10820"/>
                  <a:gd name="connsiteY1660" fmla="*/ 2957 h 10000"/>
                  <a:gd name="connsiteX1661" fmla="*/ 3659 w 10820"/>
                  <a:gd name="connsiteY1661" fmla="*/ 2983 h 10000"/>
                  <a:gd name="connsiteX1662" fmla="*/ 3664 w 10820"/>
                  <a:gd name="connsiteY1662" fmla="*/ 3017 h 10000"/>
                  <a:gd name="connsiteX1663" fmla="*/ 3659 w 10820"/>
                  <a:gd name="connsiteY1663" fmla="*/ 3043 h 10000"/>
                  <a:gd name="connsiteX1664" fmla="*/ 3677 w 10820"/>
                  <a:gd name="connsiteY1664" fmla="*/ 3094 h 10000"/>
                  <a:gd name="connsiteX1665" fmla="*/ 3691 w 10820"/>
                  <a:gd name="connsiteY1665" fmla="*/ 3282 h 10000"/>
                  <a:gd name="connsiteX1666" fmla="*/ 3691 w 10820"/>
                  <a:gd name="connsiteY1666" fmla="*/ 3308 h 10000"/>
                  <a:gd name="connsiteX1667" fmla="*/ 3677 w 10820"/>
                  <a:gd name="connsiteY1667" fmla="*/ 3342 h 10000"/>
                  <a:gd name="connsiteX1668" fmla="*/ 3664 w 10820"/>
                  <a:gd name="connsiteY1668" fmla="*/ 3342 h 10000"/>
                  <a:gd name="connsiteX1669" fmla="*/ 3650 w 10820"/>
                  <a:gd name="connsiteY1669" fmla="*/ 3342 h 10000"/>
                  <a:gd name="connsiteX1670" fmla="*/ 3650 w 10820"/>
                  <a:gd name="connsiteY1670" fmla="*/ 3350 h 10000"/>
                  <a:gd name="connsiteX1671" fmla="*/ 3659 w 10820"/>
                  <a:gd name="connsiteY1671" fmla="*/ 3402 h 10000"/>
                  <a:gd name="connsiteX1672" fmla="*/ 3659 w 10820"/>
                  <a:gd name="connsiteY1672" fmla="*/ 3419 h 10000"/>
                  <a:gd name="connsiteX1673" fmla="*/ 3631 w 10820"/>
                  <a:gd name="connsiteY1673" fmla="*/ 3402 h 10000"/>
                  <a:gd name="connsiteX1674" fmla="*/ 3604 w 10820"/>
                  <a:gd name="connsiteY1674" fmla="*/ 3393 h 10000"/>
                  <a:gd name="connsiteX1675" fmla="*/ 3599 w 10820"/>
                  <a:gd name="connsiteY1675" fmla="*/ 3368 h 10000"/>
                  <a:gd name="connsiteX1676" fmla="*/ 3590 w 10820"/>
                  <a:gd name="connsiteY1676" fmla="*/ 3239 h 10000"/>
                  <a:gd name="connsiteX1677" fmla="*/ 3599 w 10820"/>
                  <a:gd name="connsiteY1677" fmla="*/ 3179 h 10000"/>
                  <a:gd name="connsiteX1678" fmla="*/ 3599 w 10820"/>
                  <a:gd name="connsiteY1678" fmla="*/ 3171 h 10000"/>
                  <a:gd name="connsiteX1679" fmla="*/ 3599 w 10820"/>
                  <a:gd name="connsiteY1679" fmla="*/ 3009 h 10000"/>
                  <a:gd name="connsiteX1680" fmla="*/ 3604 w 10820"/>
                  <a:gd name="connsiteY1680" fmla="*/ 2983 h 10000"/>
                  <a:gd name="connsiteX1681" fmla="*/ 3645 w 10820"/>
                  <a:gd name="connsiteY1681" fmla="*/ 2932 h 10000"/>
                  <a:gd name="connsiteX1682" fmla="*/ 3650 w 10820"/>
                  <a:gd name="connsiteY1682" fmla="*/ 2872 h 10000"/>
                  <a:gd name="connsiteX1683" fmla="*/ 3659 w 10820"/>
                  <a:gd name="connsiteY1683" fmla="*/ 2855 h 10000"/>
                  <a:gd name="connsiteX1684" fmla="*/ 3659 w 10820"/>
                  <a:gd name="connsiteY1684" fmla="*/ 2821 h 10000"/>
                  <a:gd name="connsiteX1685" fmla="*/ 3631 w 10820"/>
                  <a:gd name="connsiteY1685" fmla="*/ 2795 h 10000"/>
                  <a:gd name="connsiteX1686" fmla="*/ 3567 w 10820"/>
                  <a:gd name="connsiteY1686" fmla="*/ 2821 h 10000"/>
                  <a:gd name="connsiteX1687" fmla="*/ 3544 w 10820"/>
                  <a:gd name="connsiteY1687" fmla="*/ 2795 h 10000"/>
                  <a:gd name="connsiteX1688" fmla="*/ 3530 w 10820"/>
                  <a:gd name="connsiteY1688" fmla="*/ 2769 h 10000"/>
                  <a:gd name="connsiteX1689" fmla="*/ 3530 w 10820"/>
                  <a:gd name="connsiteY1689" fmla="*/ 2786 h 10000"/>
                  <a:gd name="connsiteX1690" fmla="*/ 3498 w 10820"/>
                  <a:gd name="connsiteY1690" fmla="*/ 2692 h 10000"/>
                  <a:gd name="connsiteX1691" fmla="*/ 3498 w 10820"/>
                  <a:gd name="connsiteY1691" fmla="*/ 2667 h 10000"/>
                  <a:gd name="connsiteX1692" fmla="*/ 3442 w 10820"/>
                  <a:gd name="connsiteY1692" fmla="*/ 2607 h 10000"/>
                  <a:gd name="connsiteX1693" fmla="*/ 3433 w 10820"/>
                  <a:gd name="connsiteY1693" fmla="*/ 2581 h 10000"/>
                  <a:gd name="connsiteX1694" fmla="*/ 3396 w 10820"/>
                  <a:gd name="connsiteY1694" fmla="*/ 2556 h 10000"/>
                  <a:gd name="connsiteX1695" fmla="*/ 3318 w 10820"/>
                  <a:gd name="connsiteY1695" fmla="*/ 2556 h 10000"/>
                  <a:gd name="connsiteX1696" fmla="*/ 3304 w 10820"/>
                  <a:gd name="connsiteY1696" fmla="*/ 2607 h 10000"/>
                  <a:gd name="connsiteX1697" fmla="*/ 3276 w 10820"/>
                  <a:gd name="connsiteY1697" fmla="*/ 2632 h 10000"/>
                  <a:gd name="connsiteX1698" fmla="*/ 3272 w 10820"/>
                  <a:gd name="connsiteY1698" fmla="*/ 2667 h 10000"/>
                  <a:gd name="connsiteX1699" fmla="*/ 3304 w 10820"/>
                  <a:gd name="connsiteY1699" fmla="*/ 2667 h 10000"/>
                  <a:gd name="connsiteX1700" fmla="*/ 3323 w 10820"/>
                  <a:gd name="connsiteY1700" fmla="*/ 2692 h 10000"/>
                  <a:gd name="connsiteX1701" fmla="*/ 3318 w 10820"/>
                  <a:gd name="connsiteY1701" fmla="*/ 2735 h 10000"/>
                  <a:gd name="connsiteX1702" fmla="*/ 3304 w 10820"/>
                  <a:gd name="connsiteY1702" fmla="*/ 2761 h 10000"/>
                  <a:gd name="connsiteX1703" fmla="*/ 3276 w 10820"/>
                  <a:gd name="connsiteY1703" fmla="*/ 2769 h 10000"/>
                  <a:gd name="connsiteX1704" fmla="*/ 3263 w 10820"/>
                  <a:gd name="connsiteY1704" fmla="*/ 2795 h 10000"/>
                  <a:gd name="connsiteX1705" fmla="*/ 3235 w 10820"/>
                  <a:gd name="connsiteY1705" fmla="*/ 2803 h 10000"/>
                  <a:gd name="connsiteX1706" fmla="*/ 3235 w 10820"/>
                  <a:gd name="connsiteY1706" fmla="*/ 2786 h 10000"/>
                  <a:gd name="connsiteX1707" fmla="*/ 3212 w 10820"/>
                  <a:gd name="connsiteY1707" fmla="*/ 2709 h 10000"/>
                  <a:gd name="connsiteX1708" fmla="*/ 3198 w 10820"/>
                  <a:gd name="connsiteY1708" fmla="*/ 2709 h 10000"/>
                  <a:gd name="connsiteX1709" fmla="*/ 3184 w 10820"/>
                  <a:gd name="connsiteY1709" fmla="*/ 2735 h 10000"/>
                  <a:gd name="connsiteX1710" fmla="*/ 3189 w 10820"/>
                  <a:gd name="connsiteY1710" fmla="*/ 2761 h 10000"/>
                  <a:gd name="connsiteX1711" fmla="*/ 3203 w 10820"/>
                  <a:gd name="connsiteY1711" fmla="*/ 2855 h 10000"/>
                  <a:gd name="connsiteX1712" fmla="*/ 3212 w 10820"/>
                  <a:gd name="connsiteY1712" fmla="*/ 2872 h 10000"/>
                  <a:gd name="connsiteX1713" fmla="*/ 3235 w 10820"/>
                  <a:gd name="connsiteY1713" fmla="*/ 2906 h 10000"/>
                  <a:gd name="connsiteX1714" fmla="*/ 3258 w 10820"/>
                  <a:gd name="connsiteY1714" fmla="*/ 2915 h 10000"/>
                  <a:gd name="connsiteX1715" fmla="*/ 3272 w 10820"/>
                  <a:gd name="connsiteY1715" fmla="*/ 2957 h 10000"/>
                  <a:gd name="connsiteX1716" fmla="*/ 3276 w 10820"/>
                  <a:gd name="connsiteY1716" fmla="*/ 2957 h 10000"/>
                  <a:gd name="connsiteX1717" fmla="*/ 3286 w 10820"/>
                  <a:gd name="connsiteY1717" fmla="*/ 2966 h 10000"/>
                  <a:gd name="connsiteX1718" fmla="*/ 3300 w 10820"/>
                  <a:gd name="connsiteY1718" fmla="*/ 2957 h 10000"/>
                  <a:gd name="connsiteX1719" fmla="*/ 3309 w 10820"/>
                  <a:gd name="connsiteY1719" fmla="*/ 2932 h 10000"/>
                  <a:gd name="connsiteX1720" fmla="*/ 3304 w 10820"/>
                  <a:gd name="connsiteY1720" fmla="*/ 2966 h 10000"/>
                  <a:gd name="connsiteX1721" fmla="*/ 3309 w 10820"/>
                  <a:gd name="connsiteY1721" fmla="*/ 2983 h 10000"/>
                  <a:gd name="connsiteX1722" fmla="*/ 3323 w 10820"/>
                  <a:gd name="connsiteY1722" fmla="*/ 2966 h 10000"/>
                  <a:gd name="connsiteX1723" fmla="*/ 3323 w 10820"/>
                  <a:gd name="connsiteY1723" fmla="*/ 3043 h 10000"/>
                  <a:gd name="connsiteX1724" fmla="*/ 3346 w 10820"/>
                  <a:gd name="connsiteY1724" fmla="*/ 3068 h 10000"/>
                  <a:gd name="connsiteX1725" fmla="*/ 3346 w 10820"/>
                  <a:gd name="connsiteY1725" fmla="*/ 3094 h 10000"/>
                  <a:gd name="connsiteX1726" fmla="*/ 3323 w 10820"/>
                  <a:gd name="connsiteY1726" fmla="*/ 3094 h 10000"/>
                  <a:gd name="connsiteX1727" fmla="*/ 3309 w 10820"/>
                  <a:gd name="connsiteY1727" fmla="*/ 3077 h 10000"/>
                  <a:gd name="connsiteX1728" fmla="*/ 3304 w 10820"/>
                  <a:gd name="connsiteY1728" fmla="*/ 3051 h 10000"/>
                  <a:gd name="connsiteX1729" fmla="*/ 3300 w 10820"/>
                  <a:gd name="connsiteY1729" fmla="*/ 3043 h 10000"/>
                  <a:gd name="connsiteX1730" fmla="*/ 3286 w 10820"/>
                  <a:gd name="connsiteY1730" fmla="*/ 3017 h 10000"/>
                  <a:gd name="connsiteX1731" fmla="*/ 3152 w 10820"/>
                  <a:gd name="connsiteY1731" fmla="*/ 2966 h 10000"/>
                  <a:gd name="connsiteX1732" fmla="*/ 3129 w 10820"/>
                  <a:gd name="connsiteY1732" fmla="*/ 2915 h 10000"/>
                  <a:gd name="connsiteX1733" fmla="*/ 3129 w 10820"/>
                  <a:gd name="connsiteY1733" fmla="*/ 2906 h 10000"/>
                  <a:gd name="connsiteX1734" fmla="*/ 3152 w 10820"/>
                  <a:gd name="connsiteY1734" fmla="*/ 2906 h 10000"/>
                  <a:gd name="connsiteX1735" fmla="*/ 3152 w 10820"/>
                  <a:gd name="connsiteY1735" fmla="*/ 2846 h 10000"/>
                  <a:gd name="connsiteX1736" fmla="*/ 3138 w 10820"/>
                  <a:gd name="connsiteY1736" fmla="*/ 2795 h 10000"/>
                  <a:gd name="connsiteX1737" fmla="*/ 3138 w 10820"/>
                  <a:gd name="connsiteY1737" fmla="*/ 2769 h 10000"/>
                  <a:gd name="connsiteX1738" fmla="*/ 3143 w 10820"/>
                  <a:gd name="connsiteY1738" fmla="*/ 2718 h 10000"/>
                  <a:gd name="connsiteX1739" fmla="*/ 3129 w 10820"/>
                  <a:gd name="connsiteY1739" fmla="*/ 2692 h 10000"/>
                  <a:gd name="connsiteX1740" fmla="*/ 3143 w 10820"/>
                  <a:gd name="connsiteY1740" fmla="*/ 2667 h 10000"/>
                  <a:gd name="connsiteX1741" fmla="*/ 3157 w 10820"/>
                  <a:gd name="connsiteY1741" fmla="*/ 2581 h 10000"/>
                  <a:gd name="connsiteX1742" fmla="*/ 3143 w 10820"/>
                  <a:gd name="connsiteY1742" fmla="*/ 2496 h 10000"/>
                  <a:gd name="connsiteX1743" fmla="*/ 3157 w 10820"/>
                  <a:gd name="connsiteY1743" fmla="*/ 2487 h 10000"/>
                  <a:gd name="connsiteX1744" fmla="*/ 3143 w 10820"/>
                  <a:gd name="connsiteY1744" fmla="*/ 2444 h 10000"/>
                  <a:gd name="connsiteX1745" fmla="*/ 3143 w 10820"/>
                  <a:gd name="connsiteY1745" fmla="*/ 2419 h 10000"/>
                  <a:gd name="connsiteX1746" fmla="*/ 3143 w 10820"/>
                  <a:gd name="connsiteY1746" fmla="*/ 2410 h 10000"/>
                  <a:gd name="connsiteX1747" fmla="*/ 3124 w 10820"/>
                  <a:gd name="connsiteY1747" fmla="*/ 2376 h 10000"/>
                  <a:gd name="connsiteX1748" fmla="*/ 3115 w 10820"/>
                  <a:gd name="connsiteY1748" fmla="*/ 2350 h 10000"/>
                  <a:gd name="connsiteX1749" fmla="*/ 3101 w 10820"/>
                  <a:gd name="connsiteY1749" fmla="*/ 2359 h 10000"/>
                  <a:gd name="connsiteX1750" fmla="*/ 3115 w 10820"/>
                  <a:gd name="connsiteY1750" fmla="*/ 2581 h 10000"/>
                  <a:gd name="connsiteX1751" fmla="*/ 3111 w 10820"/>
                  <a:gd name="connsiteY1751" fmla="*/ 2624 h 10000"/>
                  <a:gd name="connsiteX1752" fmla="*/ 3009 w 10820"/>
                  <a:gd name="connsiteY1752" fmla="*/ 2761 h 10000"/>
                  <a:gd name="connsiteX1753" fmla="*/ 3009 w 10820"/>
                  <a:gd name="connsiteY1753" fmla="*/ 2803 h 10000"/>
                  <a:gd name="connsiteX1754" fmla="*/ 3005 w 10820"/>
                  <a:gd name="connsiteY1754" fmla="*/ 2829 h 10000"/>
                  <a:gd name="connsiteX1755" fmla="*/ 2982 w 10820"/>
                  <a:gd name="connsiteY1755" fmla="*/ 2872 h 10000"/>
                  <a:gd name="connsiteX1756" fmla="*/ 2982 w 10820"/>
                  <a:gd name="connsiteY1756" fmla="*/ 2880 h 10000"/>
                  <a:gd name="connsiteX1757" fmla="*/ 3037 w 10820"/>
                  <a:gd name="connsiteY1757" fmla="*/ 3034 h 10000"/>
                  <a:gd name="connsiteX1758" fmla="*/ 3041 w 10820"/>
                  <a:gd name="connsiteY1758" fmla="*/ 3103 h 10000"/>
                  <a:gd name="connsiteX1759" fmla="*/ 3069 w 10820"/>
                  <a:gd name="connsiteY1759" fmla="*/ 3188 h 10000"/>
                  <a:gd name="connsiteX1760" fmla="*/ 3055 w 10820"/>
                  <a:gd name="connsiteY1760" fmla="*/ 3325 h 10000"/>
                  <a:gd name="connsiteX1761" fmla="*/ 3037 w 10820"/>
                  <a:gd name="connsiteY1761" fmla="*/ 3368 h 10000"/>
                  <a:gd name="connsiteX1762" fmla="*/ 3037 w 10820"/>
                  <a:gd name="connsiteY1762" fmla="*/ 3444 h 10000"/>
                  <a:gd name="connsiteX1763" fmla="*/ 3028 w 10820"/>
                  <a:gd name="connsiteY1763" fmla="*/ 3453 h 10000"/>
                  <a:gd name="connsiteX1764" fmla="*/ 3023 w 10820"/>
                  <a:gd name="connsiteY1764" fmla="*/ 3530 h 10000"/>
                  <a:gd name="connsiteX1765" fmla="*/ 3051 w 10820"/>
                  <a:gd name="connsiteY1765" fmla="*/ 3624 h 10000"/>
                  <a:gd name="connsiteX1766" fmla="*/ 3037 w 10820"/>
                  <a:gd name="connsiteY1766" fmla="*/ 3718 h 10000"/>
                  <a:gd name="connsiteX1767" fmla="*/ 3041 w 10820"/>
                  <a:gd name="connsiteY1767" fmla="*/ 3752 h 10000"/>
                  <a:gd name="connsiteX1768" fmla="*/ 3055 w 10820"/>
                  <a:gd name="connsiteY1768" fmla="*/ 3761 h 10000"/>
                  <a:gd name="connsiteX1769" fmla="*/ 3078 w 10820"/>
                  <a:gd name="connsiteY1769" fmla="*/ 3752 h 10000"/>
                  <a:gd name="connsiteX1770" fmla="*/ 3092 w 10820"/>
                  <a:gd name="connsiteY1770" fmla="*/ 3752 h 10000"/>
                  <a:gd name="connsiteX1771" fmla="*/ 3129 w 10820"/>
                  <a:gd name="connsiteY1771" fmla="*/ 3761 h 10000"/>
                  <a:gd name="connsiteX1772" fmla="*/ 3129 w 10820"/>
                  <a:gd name="connsiteY1772" fmla="*/ 3735 h 10000"/>
                  <a:gd name="connsiteX1773" fmla="*/ 3157 w 10820"/>
                  <a:gd name="connsiteY1773" fmla="*/ 3718 h 10000"/>
                  <a:gd name="connsiteX1774" fmla="*/ 3184 w 10820"/>
                  <a:gd name="connsiteY1774" fmla="*/ 3718 h 10000"/>
                  <a:gd name="connsiteX1775" fmla="*/ 3290 w 10820"/>
                  <a:gd name="connsiteY1775" fmla="*/ 3838 h 10000"/>
                  <a:gd name="connsiteX1776" fmla="*/ 3300 w 10820"/>
                  <a:gd name="connsiteY1776" fmla="*/ 3846 h 10000"/>
                  <a:gd name="connsiteX1777" fmla="*/ 3300 w 10820"/>
                  <a:gd name="connsiteY1777" fmla="*/ 3915 h 10000"/>
                  <a:gd name="connsiteX1778" fmla="*/ 3318 w 10820"/>
                  <a:gd name="connsiteY1778" fmla="*/ 4000 h 10000"/>
                  <a:gd name="connsiteX1779" fmla="*/ 3323 w 10820"/>
                  <a:gd name="connsiteY1779" fmla="*/ 4000 h 10000"/>
                  <a:gd name="connsiteX1780" fmla="*/ 3323 w 10820"/>
                  <a:gd name="connsiteY1780" fmla="*/ 4034 h 10000"/>
                  <a:gd name="connsiteX1781" fmla="*/ 3318 w 10820"/>
                  <a:gd name="connsiteY1781" fmla="*/ 4051 h 10000"/>
                  <a:gd name="connsiteX1782" fmla="*/ 3300 w 10820"/>
                  <a:gd name="connsiteY1782" fmla="*/ 4051 h 10000"/>
                  <a:gd name="connsiteX1783" fmla="*/ 3290 w 10820"/>
                  <a:gd name="connsiteY1783" fmla="*/ 4077 h 10000"/>
                  <a:gd name="connsiteX1784" fmla="*/ 3286 w 10820"/>
                  <a:gd name="connsiteY1784" fmla="*/ 4103 h 10000"/>
                  <a:gd name="connsiteX1785" fmla="*/ 3286 w 10820"/>
                  <a:gd name="connsiteY1785" fmla="*/ 4197 h 10000"/>
                  <a:gd name="connsiteX1786" fmla="*/ 3290 w 10820"/>
                  <a:gd name="connsiteY1786" fmla="*/ 4214 h 10000"/>
                  <a:gd name="connsiteX1787" fmla="*/ 3304 w 10820"/>
                  <a:gd name="connsiteY1787" fmla="*/ 4214 h 10000"/>
                  <a:gd name="connsiteX1788" fmla="*/ 3323 w 10820"/>
                  <a:gd name="connsiteY1788" fmla="*/ 4239 h 10000"/>
                  <a:gd name="connsiteX1789" fmla="*/ 3350 w 10820"/>
                  <a:gd name="connsiteY1789" fmla="*/ 4222 h 10000"/>
                  <a:gd name="connsiteX1790" fmla="*/ 3369 w 10820"/>
                  <a:gd name="connsiteY1790" fmla="*/ 4256 h 10000"/>
                  <a:gd name="connsiteX1791" fmla="*/ 3369 w 10820"/>
                  <a:gd name="connsiteY1791" fmla="*/ 4256 h 10000"/>
                  <a:gd name="connsiteX1792" fmla="*/ 3336 w 10820"/>
                  <a:gd name="connsiteY1792" fmla="*/ 4274 h 10000"/>
                  <a:gd name="connsiteX1793" fmla="*/ 3323 w 10820"/>
                  <a:gd name="connsiteY1793" fmla="*/ 4274 h 10000"/>
                  <a:gd name="connsiteX1794" fmla="*/ 3290 w 10820"/>
                  <a:gd name="connsiteY1794" fmla="*/ 4274 h 10000"/>
                  <a:gd name="connsiteX1795" fmla="*/ 3286 w 10820"/>
                  <a:gd name="connsiteY1795" fmla="*/ 4239 h 10000"/>
                  <a:gd name="connsiteX1796" fmla="*/ 3263 w 10820"/>
                  <a:gd name="connsiteY1796" fmla="*/ 4214 h 10000"/>
                  <a:gd name="connsiteX1797" fmla="*/ 3258 w 10820"/>
                  <a:gd name="connsiteY1797" fmla="*/ 4188 h 10000"/>
                  <a:gd name="connsiteX1798" fmla="*/ 3263 w 10820"/>
                  <a:gd name="connsiteY1798" fmla="*/ 4171 h 10000"/>
                  <a:gd name="connsiteX1799" fmla="*/ 3263 w 10820"/>
                  <a:gd name="connsiteY1799" fmla="*/ 4103 h 10000"/>
                  <a:gd name="connsiteX1800" fmla="*/ 3276 w 10820"/>
                  <a:gd name="connsiteY1800" fmla="*/ 4060 h 10000"/>
                  <a:gd name="connsiteX1801" fmla="*/ 3272 w 10820"/>
                  <a:gd name="connsiteY1801" fmla="*/ 4051 h 10000"/>
                  <a:gd name="connsiteX1802" fmla="*/ 3263 w 10820"/>
                  <a:gd name="connsiteY1802" fmla="*/ 4051 h 10000"/>
                  <a:gd name="connsiteX1803" fmla="*/ 3263 w 10820"/>
                  <a:gd name="connsiteY1803" fmla="*/ 4034 h 10000"/>
                  <a:gd name="connsiteX1804" fmla="*/ 3263 w 10820"/>
                  <a:gd name="connsiteY1804" fmla="*/ 4000 h 10000"/>
                  <a:gd name="connsiteX1805" fmla="*/ 3272 w 10820"/>
                  <a:gd name="connsiteY1805" fmla="*/ 4000 h 10000"/>
                  <a:gd name="connsiteX1806" fmla="*/ 3272 w 10820"/>
                  <a:gd name="connsiteY1806" fmla="*/ 3974 h 10000"/>
                  <a:gd name="connsiteX1807" fmla="*/ 3272 w 10820"/>
                  <a:gd name="connsiteY1807" fmla="*/ 3966 h 10000"/>
                  <a:gd name="connsiteX1808" fmla="*/ 3272 w 10820"/>
                  <a:gd name="connsiteY1808" fmla="*/ 3949 h 10000"/>
                  <a:gd name="connsiteX1809" fmla="*/ 3258 w 10820"/>
                  <a:gd name="connsiteY1809" fmla="*/ 3923 h 10000"/>
                  <a:gd name="connsiteX1810" fmla="*/ 3249 w 10820"/>
                  <a:gd name="connsiteY1810" fmla="*/ 3915 h 10000"/>
                  <a:gd name="connsiteX1811" fmla="*/ 3244 w 10820"/>
                  <a:gd name="connsiteY1811" fmla="*/ 3897 h 10000"/>
                  <a:gd name="connsiteX1812" fmla="*/ 3230 w 10820"/>
                  <a:gd name="connsiteY1812" fmla="*/ 3889 h 10000"/>
                  <a:gd name="connsiteX1813" fmla="*/ 3230 w 10820"/>
                  <a:gd name="connsiteY1813" fmla="*/ 3863 h 10000"/>
                  <a:gd name="connsiteX1814" fmla="*/ 3230 w 10820"/>
                  <a:gd name="connsiteY1814" fmla="*/ 3838 h 10000"/>
                  <a:gd name="connsiteX1815" fmla="*/ 3226 w 10820"/>
                  <a:gd name="connsiteY1815" fmla="*/ 3803 h 10000"/>
                  <a:gd name="connsiteX1816" fmla="*/ 3138 w 10820"/>
                  <a:gd name="connsiteY1816" fmla="*/ 3838 h 10000"/>
                  <a:gd name="connsiteX1817" fmla="*/ 3078 w 10820"/>
                  <a:gd name="connsiteY1817" fmla="*/ 3889 h 10000"/>
                  <a:gd name="connsiteX1818" fmla="*/ 3078 w 10820"/>
                  <a:gd name="connsiteY1818" fmla="*/ 3940 h 10000"/>
                  <a:gd name="connsiteX1819" fmla="*/ 3069 w 10820"/>
                  <a:gd name="connsiteY1819" fmla="*/ 3983 h 10000"/>
                  <a:gd name="connsiteX1820" fmla="*/ 3069 w 10820"/>
                  <a:gd name="connsiteY1820" fmla="*/ 4009 h 10000"/>
                  <a:gd name="connsiteX1821" fmla="*/ 3078 w 10820"/>
                  <a:gd name="connsiteY1821" fmla="*/ 4026 h 10000"/>
                  <a:gd name="connsiteX1822" fmla="*/ 3083 w 10820"/>
                  <a:gd name="connsiteY1822" fmla="*/ 4034 h 10000"/>
                  <a:gd name="connsiteX1823" fmla="*/ 3092 w 10820"/>
                  <a:gd name="connsiteY1823" fmla="*/ 4060 h 10000"/>
                  <a:gd name="connsiteX1824" fmla="*/ 3092 w 10820"/>
                  <a:gd name="connsiteY1824" fmla="*/ 4077 h 10000"/>
                  <a:gd name="connsiteX1825" fmla="*/ 3097 w 10820"/>
                  <a:gd name="connsiteY1825" fmla="*/ 4103 h 10000"/>
                  <a:gd name="connsiteX1826" fmla="*/ 3101 w 10820"/>
                  <a:gd name="connsiteY1826" fmla="*/ 4162 h 10000"/>
                  <a:gd name="connsiteX1827" fmla="*/ 3097 w 10820"/>
                  <a:gd name="connsiteY1827" fmla="*/ 4222 h 10000"/>
                  <a:gd name="connsiteX1828" fmla="*/ 3041 w 10820"/>
                  <a:gd name="connsiteY1828" fmla="*/ 4325 h 10000"/>
                  <a:gd name="connsiteX1829" fmla="*/ 3037 w 10820"/>
                  <a:gd name="connsiteY1829" fmla="*/ 4419 h 10000"/>
                  <a:gd name="connsiteX1830" fmla="*/ 3018 w 10820"/>
                  <a:gd name="connsiteY1830" fmla="*/ 4470 h 10000"/>
                  <a:gd name="connsiteX1831" fmla="*/ 2991 w 10820"/>
                  <a:gd name="connsiteY1831" fmla="*/ 4513 h 10000"/>
                  <a:gd name="connsiteX1832" fmla="*/ 2977 w 10820"/>
                  <a:gd name="connsiteY1832" fmla="*/ 4530 h 10000"/>
                  <a:gd name="connsiteX1833" fmla="*/ 2945 w 10820"/>
                  <a:gd name="connsiteY1833" fmla="*/ 4556 h 10000"/>
                  <a:gd name="connsiteX1834" fmla="*/ 2935 w 10820"/>
                  <a:gd name="connsiteY1834" fmla="*/ 4581 h 10000"/>
                  <a:gd name="connsiteX1835" fmla="*/ 2949 w 10820"/>
                  <a:gd name="connsiteY1835" fmla="*/ 4624 h 10000"/>
                  <a:gd name="connsiteX1836" fmla="*/ 2945 w 10820"/>
                  <a:gd name="connsiteY1836" fmla="*/ 4658 h 10000"/>
                  <a:gd name="connsiteX1837" fmla="*/ 2922 w 10820"/>
                  <a:gd name="connsiteY1837" fmla="*/ 4667 h 10000"/>
                  <a:gd name="connsiteX1838" fmla="*/ 2876 w 10820"/>
                  <a:gd name="connsiteY1838" fmla="*/ 4632 h 10000"/>
                  <a:gd name="connsiteX1839" fmla="*/ 2857 w 10820"/>
                  <a:gd name="connsiteY1839" fmla="*/ 4632 h 10000"/>
                  <a:gd name="connsiteX1840" fmla="*/ 2820 w 10820"/>
                  <a:gd name="connsiteY1840" fmla="*/ 4641 h 10000"/>
                  <a:gd name="connsiteX1841" fmla="*/ 2797 w 10820"/>
                  <a:gd name="connsiteY1841" fmla="*/ 4632 h 10000"/>
                  <a:gd name="connsiteX1842" fmla="*/ 2788 w 10820"/>
                  <a:gd name="connsiteY1842" fmla="*/ 4624 h 10000"/>
                  <a:gd name="connsiteX1843" fmla="*/ 2788 w 10820"/>
                  <a:gd name="connsiteY1843" fmla="*/ 4598 h 10000"/>
                  <a:gd name="connsiteX1844" fmla="*/ 2797 w 10820"/>
                  <a:gd name="connsiteY1844" fmla="*/ 4581 h 10000"/>
                  <a:gd name="connsiteX1845" fmla="*/ 2788 w 10820"/>
                  <a:gd name="connsiteY1845" fmla="*/ 4530 h 10000"/>
                  <a:gd name="connsiteX1846" fmla="*/ 2774 w 10820"/>
                  <a:gd name="connsiteY1846" fmla="*/ 4530 h 10000"/>
                  <a:gd name="connsiteX1847" fmla="*/ 2770 w 10820"/>
                  <a:gd name="connsiteY1847" fmla="*/ 4513 h 10000"/>
                  <a:gd name="connsiteX1848" fmla="*/ 2774 w 10820"/>
                  <a:gd name="connsiteY1848" fmla="*/ 4513 h 10000"/>
                  <a:gd name="connsiteX1849" fmla="*/ 2788 w 10820"/>
                  <a:gd name="connsiteY1849" fmla="*/ 4496 h 10000"/>
                  <a:gd name="connsiteX1850" fmla="*/ 2802 w 10820"/>
                  <a:gd name="connsiteY1850" fmla="*/ 4513 h 10000"/>
                  <a:gd name="connsiteX1851" fmla="*/ 2811 w 10820"/>
                  <a:gd name="connsiteY1851" fmla="*/ 4530 h 10000"/>
                  <a:gd name="connsiteX1852" fmla="*/ 2820 w 10820"/>
                  <a:gd name="connsiteY1852" fmla="*/ 4521 h 10000"/>
                  <a:gd name="connsiteX1853" fmla="*/ 2829 w 10820"/>
                  <a:gd name="connsiteY1853" fmla="*/ 4513 h 10000"/>
                  <a:gd name="connsiteX1854" fmla="*/ 2843 w 10820"/>
                  <a:gd name="connsiteY1854" fmla="*/ 4513 h 10000"/>
                  <a:gd name="connsiteX1855" fmla="*/ 2848 w 10820"/>
                  <a:gd name="connsiteY1855" fmla="*/ 4470 h 10000"/>
                  <a:gd name="connsiteX1856" fmla="*/ 2862 w 10820"/>
                  <a:gd name="connsiteY1856" fmla="*/ 4487 h 10000"/>
                  <a:gd name="connsiteX1857" fmla="*/ 2876 w 10820"/>
                  <a:gd name="connsiteY1857" fmla="*/ 4470 h 10000"/>
                  <a:gd name="connsiteX1858" fmla="*/ 2880 w 10820"/>
                  <a:gd name="connsiteY1858" fmla="*/ 4462 h 10000"/>
                  <a:gd name="connsiteX1859" fmla="*/ 2889 w 10820"/>
                  <a:gd name="connsiteY1859" fmla="*/ 4444 h 10000"/>
                  <a:gd name="connsiteX1860" fmla="*/ 2894 w 10820"/>
                  <a:gd name="connsiteY1860" fmla="*/ 4462 h 10000"/>
                  <a:gd name="connsiteX1861" fmla="*/ 2917 w 10820"/>
                  <a:gd name="connsiteY1861" fmla="*/ 4444 h 10000"/>
                  <a:gd name="connsiteX1862" fmla="*/ 2922 w 10820"/>
                  <a:gd name="connsiteY1862" fmla="*/ 4436 h 10000"/>
                  <a:gd name="connsiteX1863" fmla="*/ 2917 w 10820"/>
                  <a:gd name="connsiteY1863" fmla="*/ 4410 h 10000"/>
                  <a:gd name="connsiteX1864" fmla="*/ 2894 w 10820"/>
                  <a:gd name="connsiteY1864" fmla="*/ 4410 h 10000"/>
                  <a:gd name="connsiteX1865" fmla="*/ 2889 w 10820"/>
                  <a:gd name="connsiteY1865" fmla="*/ 4419 h 10000"/>
                  <a:gd name="connsiteX1866" fmla="*/ 2876 w 10820"/>
                  <a:gd name="connsiteY1866" fmla="*/ 4410 h 10000"/>
                  <a:gd name="connsiteX1867" fmla="*/ 2880 w 10820"/>
                  <a:gd name="connsiteY1867" fmla="*/ 4376 h 10000"/>
                  <a:gd name="connsiteX1868" fmla="*/ 2903 w 10820"/>
                  <a:gd name="connsiteY1868" fmla="*/ 4393 h 10000"/>
                  <a:gd name="connsiteX1869" fmla="*/ 2931 w 10820"/>
                  <a:gd name="connsiteY1869" fmla="*/ 4393 h 10000"/>
                  <a:gd name="connsiteX1870" fmla="*/ 2931 w 10820"/>
                  <a:gd name="connsiteY1870" fmla="*/ 4385 h 10000"/>
                  <a:gd name="connsiteX1871" fmla="*/ 2931 w 10820"/>
                  <a:gd name="connsiteY1871" fmla="*/ 4350 h 10000"/>
                  <a:gd name="connsiteX1872" fmla="*/ 2945 w 10820"/>
                  <a:gd name="connsiteY1872" fmla="*/ 4350 h 10000"/>
                  <a:gd name="connsiteX1873" fmla="*/ 2949 w 10820"/>
                  <a:gd name="connsiteY1873" fmla="*/ 4325 h 10000"/>
                  <a:gd name="connsiteX1874" fmla="*/ 2963 w 10820"/>
                  <a:gd name="connsiteY1874" fmla="*/ 4256 h 10000"/>
                  <a:gd name="connsiteX1875" fmla="*/ 2982 w 10820"/>
                  <a:gd name="connsiteY1875" fmla="*/ 4239 h 10000"/>
                  <a:gd name="connsiteX1876" fmla="*/ 2991 w 10820"/>
                  <a:gd name="connsiteY1876" fmla="*/ 4214 h 10000"/>
                  <a:gd name="connsiteX1877" fmla="*/ 2991 w 10820"/>
                  <a:gd name="connsiteY1877" fmla="*/ 4197 h 10000"/>
                  <a:gd name="connsiteX1878" fmla="*/ 2995 w 10820"/>
                  <a:gd name="connsiteY1878" fmla="*/ 4171 h 10000"/>
                  <a:gd name="connsiteX1879" fmla="*/ 2991 w 10820"/>
                  <a:gd name="connsiteY1879" fmla="*/ 4077 h 10000"/>
                  <a:gd name="connsiteX1880" fmla="*/ 2995 w 10820"/>
                  <a:gd name="connsiteY1880" fmla="*/ 4034 h 10000"/>
                  <a:gd name="connsiteX1881" fmla="*/ 3018 w 10820"/>
                  <a:gd name="connsiteY1881" fmla="*/ 3983 h 10000"/>
                  <a:gd name="connsiteX1882" fmla="*/ 3018 w 10820"/>
                  <a:gd name="connsiteY1882" fmla="*/ 3915 h 10000"/>
                  <a:gd name="connsiteX1883" fmla="*/ 2949 w 10820"/>
                  <a:gd name="connsiteY1883" fmla="*/ 3778 h 10000"/>
                  <a:gd name="connsiteX1884" fmla="*/ 2954 w 10820"/>
                  <a:gd name="connsiteY1884" fmla="*/ 3675 h 10000"/>
                  <a:gd name="connsiteX1885" fmla="*/ 2954 w 10820"/>
                  <a:gd name="connsiteY1885" fmla="*/ 3650 h 10000"/>
                  <a:gd name="connsiteX1886" fmla="*/ 2963 w 10820"/>
                  <a:gd name="connsiteY1886" fmla="*/ 3624 h 10000"/>
                  <a:gd name="connsiteX1887" fmla="*/ 2954 w 10820"/>
                  <a:gd name="connsiteY1887" fmla="*/ 3564 h 10000"/>
                  <a:gd name="connsiteX1888" fmla="*/ 2963 w 10820"/>
                  <a:gd name="connsiteY1888" fmla="*/ 3538 h 10000"/>
                  <a:gd name="connsiteX1889" fmla="*/ 2963 w 10820"/>
                  <a:gd name="connsiteY1889" fmla="*/ 3487 h 10000"/>
                  <a:gd name="connsiteX1890" fmla="*/ 2963 w 10820"/>
                  <a:gd name="connsiteY1890" fmla="*/ 3479 h 10000"/>
                  <a:gd name="connsiteX1891" fmla="*/ 2963 w 10820"/>
                  <a:gd name="connsiteY1891" fmla="*/ 3462 h 10000"/>
                  <a:gd name="connsiteX1892" fmla="*/ 2954 w 10820"/>
                  <a:gd name="connsiteY1892" fmla="*/ 3453 h 10000"/>
                  <a:gd name="connsiteX1893" fmla="*/ 2954 w 10820"/>
                  <a:gd name="connsiteY1893" fmla="*/ 3444 h 10000"/>
                  <a:gd name="connsiteX1894" fmla="*/ 2954 w 10820"/>
                  <a:gd name="connsiteY1894" fmla="*/ 3402 h 10000"/>
                  <a:gd name="connsiteX1895" fmla="*/ 2954 w 10820"/>
                  <a:gd name="connsiteY1895" fmla="*/ 3393 h 10000"/>
                  <a:gd name="connsiteX1896" fmla="*/ 2949 w 10820"/>
                  <a:gd name="connsiteY1896" fmla="*/ 3376 h 10000"/>
                  <a:gd name="connsiteX1897" fmla="*/ 2949 w 10820"/>
                  <a:gd name="connsiteY1897" fmla="*/ 3342 h 10000"/>
                  <a:gd name="connsiteX1898" fmla="*/ 2949 w 10820"/>
                  <a:gd name="connsiteY1898" fmla="*/ 3316 h 10000"/>
                  <a:gd name="connsiteX1899" fmla="*/ 2968 w 10820"/>
                  <a:gd name="connsiteY1899" fmla="*/ 3291 h 10000"/>
                  <a:gd name="connsiteX1900" fmla="*/ 2963 w 10820"/>
                  <a:gd name="connsiteY1900" fmla="*/ 3205 h 10000"/>
                  <a:gd name="connsiteX1901" fmla="*/ 2968 w 10820"/>
                  <a:gd name="connsiteY1901" fmla="*/ 3171 h 10000"/>
                  <a:gd name="connsiteX1902" fmla="*/ 2968 w 10820"/>
                  <a:gd name="connsiteY1902" fmla="*/ 3128 h 10000"/>
                  <a:gd name="connsiteX1903" fmla="*/ 2954 w 10820"/>
                  <a:gd name="connsiteY1903" fmla="*/ 3051 h 10000"/>
                  <a:gd name="connsiteX1904" fmla="*/ 2954 w 10820"/>
                  <a:gd name="connsiteY1904" fmla="*/ 3009 h 10000"/>
                  <a:gd name="connsiteX1905" fmla="*/ 2922 w 10820"/>
                  <a:gd name="connsiteY1905" fmla="*/ 2940 h 10000"/>
                  <a:gd name="connsiteX1906" fmla="*/ 2903 w 10820"/>
                  <a:gd name="connsiteY1906" fmla="*/ 2880 h 10000"/>
                  <a:gd name="connsiteX1907" fmla="*/ 2903 w 10820"/>
                  <a:gd name="connsiteY1907" fmla="*/ 2855 h 10000"/>
                  <a:gd name="connsiteX1908" fmla="*/ 2908 w 10820"/>
                  <a:gd name="connsiteY1908" fmla="*/ 2846 h 10000"/>
                  <a:gd name="connsiteX1909" fmla="*/ 2931 w 10820"/>
                  <a:gd name="connsiteY1909" fmla="*/ 2821 h 10000"/>
                  <a:gd name="connsiteX1910" fmla="*/ 2931 w 10820"/>
                  <a:gd name="connsiteY1910" fmla="*/ 2803 h 10000"/>
                  <a:gd name="connsiteX1911" fmla="*/ 2935 w 10820"/>
                  <a:gd name="connsiteY1911" fmla="*/ 2786 h 10000"/>
                  <a:gd name="connsiteX1912" fmla="*/ 2935 w 10820"/>
                  <a:gd name="connsiteY1912" fmla="*/ 2744 h 10000"/>
                  <a:gd name="connsiteX1913" fmla="*/ 2963 w 10820"/>
                  <a:gd name="connsiteY1913" fmla="*/ 2607 h 10000"/>
                  <a:gd name="connsiteX1914" fmla="*/ 2963 w 10820"/>
                  <a:gd name="connsiteY1914" fmla="*/ 2419 h 10000"/>
                  <a:gd name="connsiteX1915" fmla="*/ 2954 w 10820"/>
                  <a:gd name="connsiteY1915" fmla="*/ 2410 h 10000"/>
                  <a:gd name="connsiteX1916" fmla="*/ 2963 w 10820"/>
                  <a:gd name="connsiteY1916" fmla="*/ 2393 h 10000"/>
                  <a:gd name="connsiteX1917" fmla="*/ 2908 w 10820"/>
                  <a:gd name="connsiteY1917" fmla="*/ 2359 h 10000"/>
                  <a:gd name="connsiteX1918" fmla="*/ 2889 w 10820"/>
                  <a:gd name="connsiteY1918" fmla="*/ 2325 h 10000"/>
                  <a:gd name="connsiteX1919" fmla="*/ 2788 w 10820"/>
                  <a:gd name="connsiteY1919" fmla="*/ 2333 h 10000"/>
                  <a:gd name="connsiteX1920" fmla="*/ 2774 w 10820"/>
                  <a:gd name="connsiteY1920" fmla="*/ 2325 h 10000"/>
                  <a:gd name="connsiteX1921" fmla="*/ 2783 w 10820"/>
                  <a:gd name="connsiteY1921" fmla="*/ 2308 h 10000"/>
                  <a:gd name="connsiteX1922" fmla="*/ 2747 w 10820"/>
                  <a:gd name="connsiteY1922" fmla="*/ 2308 h 10000"/>
                  <a:gd name="connsiteX1923" fmla="*/ 2742 w 10820"/>
                  <a:gd name="connsiteY1923" fmla="*/ 2333 h 10000"/>
                  <a:gd name="connsiteX1924" fmla="*/ 2682 w 10820"/>
                  <a:gd name="connsiteY1924" fmla="*/ 2769 h 10000"/>
                  <a:gd name="connsiteX1925" fmla="*/ 2613 w 10820"/>
                  <a:gd name="connsiteY1925" fmla="*/ 2940 h 10000"/>
                  <a:gd name="connsiteX1926" fmla="*/ 2581 w 10820"/>
                  <a:gd name="connsiteY1926" fmla="*/ 2966 h 10000"/>
                  <a:gd name="connsiteX1927" fmla="*/ 2576 w 10820"/>
                  <a:gd name="connsiteY1927" fmla="*/ 3051 h 10000"/>
                  <a:gd name="connsiteX1928" fmla="*/ 2581 w 10820"/>
                  <a:gd name="connsiteY1928" fmla="*/ 3051 h 10000"/>
                  <a:gd name="connsiteX1929" fmla="*/ 2594 w 10820"/>
                  <a:gd name="connsiteY1929" fmla="*/ 3017 h 10000"/>
                  <a:gd name="connsiteX1930" fmla="*/ 2594 w 10820"/>
                  <a:gd name="connsiteY1930" fmla="*/ 3034 h 10000"/>
                  <a:gd name="connsiteX1931" fmla="*/ 2594 w 10820"/>
                  <a:gd name="connsiteY1931" fmla="*/ 3051 h 10000"/>
                  <a:gd name="connsiteX1932" fmla="*/ 2590 w 10820"/>
                  <a:gd name="connsiteY1932" fmla="*/ 3077 h 10000"/>
                  <a:gd name="connsiteX1933" fmla="*/ 2567 w 10820"/>
                  <a:gd name="connsiteY1933" fmla="*/ 3103 h 10000"/>
                  <a:gd name="connsiteX1934" fmla="*/ 2562 w 10820"/>
                  <a:gd name="connsiteY1934" fmla="*/ 3145 h 10000"/>
                  <a:gd name="connsiteX1935" fmla="*/ 2567 w 10820"/>
                  <a:gd name="connsiteY1935" fmla="*/ 3179 h 10000"/>
                  <a:gd name="connsiteX1936" fmla="*/ 2590 w 10820"/>
                  <a:gd name="connsiteY1936" fmla="*/ 3171 h 10000"/>
                  <a:gd name="connsiteX1937" fmla="*/ 2594 w 10820"/>
                  <a:gd name="connsiteY1937" fmla="*/ 3145 h 10000"/>
                  <a:gd name="connsiteX1938" fmla="*/ 2613 w 10820"/>
                  <a:gd name="connsiteY1938" fmla="*/ 3154 h 10000"/>
                  <a:gd name="connsiteX1939" fmla="*/ 2622 w 10820"/>
                  <a:gd name="connsiteY1939" fmla="*/ 3179 h 10000"/>
                  <a:gd name="connsiteX1940" fmla="*/ 2613 w 10820"/>
                  <a:gd name="connsiteY1940" fmla="*/ 3214 h 10000"/>
                  <a:gd name="connsiteX1941" fmla="*/ 2613 w 10820"/>
                  <a:gd name="connsiteY1941" fmla="*/ 3308 h 10000"/>
                  <a:gd name="connsiteX1942" fmla="*/ 2608 w 10820"/>
                  <a:gd name="connsiteY1942" fmla="*/ 3325 h 10000"/>
                  <a:gd name="connsiteX1943" fmla="*/ 2608 w 10820"/>
                  <a:gd name="connsiteY1943" fmla="*/ 3376 h 10000"/>
                  <a:gd name="connsiteX1944" fmla="*/ 2613 w 10820"/>
                  <a:gd name="connsiteY1944" fmla="*/ 3419 h 10000"/>
                  <a:gd name="connsiteX1945" fmla="*/ 2608 w 10820"/>
                  <a:gd name="connsiteY1945" fmla="*/ 3444 h 10000"/>
                  <a:gd name="connsiteX1946" fmla="*/ 2594 w 10820"/>
                  <a:gd name="connsiteY1946" fmla="*/ 3444 h 10000"/>
                  <a:gd name="connsiteX1947" fmla="*/ 2590 w 10820"/>
                  <a:gd name="connsiteY1947" fmla="*/ 3427 h 10000"/>
                  <a:gd name="connsiteX1948" fmla="*/ 2581 w 10820"/>
                  <a:gd name="connsiteY1948" fmla="*/ 3564 h 10000"/>
                  <a:gd name="connsiteX1949" fmla="*/ 2594 w 10820"/>
                  <a:gd name="connsiteY1949" fmla="*/ 3598 h 10000"/>
                  <a:gd name="connsiteX1950" fmla="*/ 2594 w 10820"/>
                  <a:gd name="connsiteY1950" fmla="*/ 3581 h 10000"/>
                  <a:gd name="connsiteX1951" fmla="*/ 2608 w 10820"/>
                  <a:gd name="connsiteY1951" fmla="*/ 3556 h 10000"/>
                  <a:gd name="connsiteX1952" fmla="*/ 2650 w 10820"/>
                  <a:gd name="connsiteY1952" fmla="*/ 3615 h 10000"/>
                  <a:gd name="connsiteX1953" fmla="*/ 2664 w 10820"/>
                  <a:gd name="connsiteY1953" fmla="*/ 3615 h 10000"/>
                  <a:gd name="connsiteX1954" fmla="*/ 2668 w 10820"/>
                  <a:gd name="connsiteY1954" fmla="*/ 3615 h 10000"/>
                  <a:gd name="connsiteX1955" fmla="*/ 2664 w 10820"/>
                  <a:gd name="connsiteY1955" fmla="*/ 3667 h 10000"/>
                  <a:gd name="connsiteX1956" fmla="*/ 2687 w 10820"/>
                  <a:gd name="connsiteY1956" fmla="*/ 3786 h 10000"/>
                  <a:gd name="connsiteX1957" fmla="*/ 2710 w 10820"/>
                  <a:gd name="connsiteY1957" fmla="*/ 3812 h 10000"/>
                  <a:gd name="connsiteX1958" fmla="*/ 2724 w 10820"/>
                  <a:gd name="connsiteY1958" fmla="*/ 3812 h 10000"/>
                  <a:gd name="connsiteX1959" fmla="*/ 2724 w 10820"/>
                  <a:gd name="connsiteY1959" fmla="*/ 3829 h 10000"/>
                  <a:gd name="connsiteX1960" fmla="*/ 2737 w 10820"/>
                  <a:gd name="connsiteY1960" fmla="*/ 3838 h 10000"/>
                  <a:gd name="connsiteX1961" fmla="*/ 2714 w 10820"/>
                  <a:gd name="connsiteY1961" fmla="*/ 3872 h 10000"/>
                  <a:gd name="connsiteX1962" fmla="*/ 2696 w 10820"/>
                  <a:gd name="connsiteY1962" fmla="*/ 4026 h 10000"/>
                  <a:gd name="connsiteX1963" fmla="*/ 2673 w 10820"/>
                  <a:gd name="connsiteY1963" fmla="*/ 4051 h 10000"/>
                  <a:gd name="connsiteX1964" fmla="*/ 2668 w 10820"/>
                  <a:gd name="connsiteY1964" fmla="*/ 4034 h 10000"/>
                  <a:gd name="connsiteX1965" fmla="*/ 2673 w 10820"/>
                  <a:gd name="connsiteY1965" fmla="*/ 4000 h 10000"/>
                  <a:gd name="connsiteX1966" fmla="*/ 2664 w 10820"/>
                  <a:gd name="connsiteY1966" fmla="*/ 3974 h 10000"/>
                  <a:gd name="connsiteX1967" fmla="*/ 2636 w 10820"/>
                  <a:gd name="connsiteY1967" fmla="*/ 3949 h 10000"/>
                  <a:gd name="connsiteX1968" fmla="*/ 2581 w 10820"/>
                  <a:gd name="connsiteY1968" fmla="*/ 3838 h 10000"/>
                  <a:gd name="connsiteX1969" fmla="*/ 2562 w 10820"/>
                  <a:gd name="connsiteY1969" fmla="*/ 3829 h 10000"/>
                  <a:gd name="connsiteX1970" fmla="*/ 2535 w 10820"/>
                  <a:gd name="connsiteY1970" fmla="*/ 3778 h 10000"/>
                  <a:gd name="connsiteX1971" fmla="*/ 2502 w 10820"/>
                  <a:gd name="connsiteY1971" fmla="*/ 3761 h 10000"/>
                  <a:gd name="connsiteX1972" fmla="*/ 2502 w 10820"/>
                  <a:gd name="connsiteY1972" fmla="*/ 3735 h 10000"/>
                  <a:gd name="connsiteX1973" fmla="*/ 2516 w 10820"/>
                  <a:gd name="connsiteY1973" fmla="*/ 3735 h 10000"/>
                  <a:gd name="connsiteX1974" fmla="*/ 2507 w 10820"/>
                  <a:gd name="connsiteY1974" fmla="*/ 3726 h 10000"/>
                  <a:gd name="connsiteX1975" fmla="*/ 2488 w 10820"/>
                  <a:gd name="connsiteY1975" fmla="*/ 3726 h 10000"/>
                  <a:gd name="connsiteX1976" fmla="*/ 2461 w 10820"/>
                  <a:gd name="connsiteY1976" fmla="*/ 3692 h 10000"/>
                  <a:gd name="connsiteX1977" fmla="*/ 2442 w 10820"/>
                  <a:gd name="connsiteY1977" fmla="*/ 3675 h 10000"/>
                  <a:gd name="connsiteX1978" fmla="*/ 2406 w 10820"/>
                  <a:gd name="connsiteY1978" fmla="*/ 3598 h 10000"/>
                  <a:gd name="connsiteX1979" fmla="*/ 2346 w 10820"/>
                  <a:gd name="connsiteY1979" fmla="*/ 3564 h 10000"/>
                  <a:gd name="connsiteX1980" fmla="*/ 2341 w 10820"/>
                  <a:gd name="connsiteY1980" fmla="*/ 3564 h 10000"/>
                  <a:gd name="connsiteX1981" fmla="*/ 2313 w 10820"/>
                  <a:gd name="connsiteY1981" fmla="*/ 3530 h 10000"/>
                  <a:gd name="connsiteX1982" fmla="*/ 2235 w 10820"/>
                  <a:gd name="connsiteY1982" fmla="*/ 3530 h 10000"/>
                  <a:gd name="connsiteX1983" fmla="*/ 2226 w 10820"/>
                  <a:gd name="connsiteY1983" fmla="*/ 3513 h 10000"/>
                  <a:gd name="connsiteX1984" fmla="*/ 2207 w 10820"/>
                  <a:gd name="connsiteY1984" fmla="*/ 3504 h 10000"/>
                  <a:gd name="connsiteX1985" fmla="*/ 2194 w 10820"/>
                  <a:gd name="connsiteY1985" fmla="*/ 3504 h 10000"/>
                  <a:gd name="connsiteX1986" fmla="*/ 2189 w 10820"/>
                  <a:gd name="connsiteY1986" fmla="*/ 3504 h 10000"/>
                  <a:gd name="connsiteX1987" fmla="*/ 2189 w 10820"/>
                  <a:gd name="connsiteY1987" fmla="*/ 3530 h 10000"/>
                  <a:gd name="connsiteX1988" fmla="*/ 2180 w 10820"/>
                  <a:gd name="connsiteY1988" fmla="*/ 3538 h 10000"/>
                  <a:gd name="connsiteX1989" fmla="*/ 2152 w 10820"/>
                  <a:gd name="connsiteY1989" fmla="*/ 3581 h 10000"/>
                  <a:gd name="connsiteX1990" fmla="*/ 2161 w 10820"/>
                  <a:gd name="connsiteY1990" fmla="*/ 3598 h 10000"/>
                  <a:gd name="connsiteX1991" fmla="*/ 2194 w 10820"/>
                  <a:gd name="connsiteY1991" fmla="*/ 3752 h 10000"/>
                  <a:gd name="connsiteX1992" fmla="*/ 2194 w 10820"/>
                  <a:gd name="connsiteY1992" fmla="*/ 3735 h 10000"/>
                  <a:gd name="connsiteX1993" fmla="*/ 2198 w 10820"/>
                  <a:gd name="connsiteY1993" fmla="*/ 3735 h 10000"/>
                  <a:gd name="connsiteX1994" fmla="*/ 2189 w 10820"/>
                  <a:gd name="connsiteY1994" fmla="*/ 3838 h 10000"/>
                  <a:gd name="connsiteX1995" fmla="*/ 2166 w 10820"/>
                  <a:gd name="connsiteY1995" fmla="*/ 3889 h 10000"/>
                  <a:gd name="connsiteX1996" fmla="*/ 2124 w 10820"/>
                  <a:gd name="connsiteY1996" fmla="*/ 3889 h 10000"/>
                  <a:gd name="connsiteX1997" fmla="*/ 2124 w 10820"/>
                  <a:gd name="connsiteY1997" fmla="*/ 3923 h 10000"/>
                  <a:gd name="connsiteX1998" fmla="*/ 2134 w 10820"/>
                  <a:gd name="connsiteY1998" fmla="*/ 3940 h 10000"/>
                  <a:gd name="connsiteX1999" fmla="*/ 2134 w 10820"/>
                  <a:gd name="connsiteY1999" fmla="*/ 3966 h 10000"/>
                  <a:gd name="connsiteX2000" fmla="*/ 2120 w 10820"/>
                  <a:gd name="connsiteY2000" fmla="*/ 4000 h 10000"/>
                  <a:gd name="connsiteX2001" fmla="*/ 2106 w 10820"/>
                  <a:gd name="connsiteY2001" fmla="*/ 4009 h 10000"/>
                  <a:gd name="connsiteX2002" fmla="*/ 2088 w 10820"/>
                  <a:gd name="connsiteY2002" fmla="*/ 4000 h 10000"/>
                  <a:gd name="connsiteX2003" fmla="*/ 2074 w 10820"/>
                  <a:gd name="connsiteY2003" fmla="*/ 3974 h 10000"/>
                  <a:gd name="connsiteX2004" fmla="*/ 2074 w 10820"/>
                  <a:gd name="connsiteY2004" fmla="*/ 3940 h 10000"/>
                  <a:gd name="connsiteX2005" fmla="*/ 2078 w 10820"/>
                  <a:gd name="connsiteY2005" fmla="*/ 3915 h 10000"/>
                  <a:gd name="connsiteX2006" fmla="*/ 2088 w 10820"/>
                  <a:gd name="connsiteY2006" fmla="*/ 3889 h 10000"/>
                  <a:gd name="connsiteX2007" fmla="*/ 2101 w 10820"/>
                  <a:gd name="connsiteY2007" fmla="*/ 3872 h 10000"/>
                  <a:gd name="connsiteX2008" fmla="*/ 2074 w 10820"/>
                  <a:gd name="connsiteY2008" fmla="*/ 3812 h 10000"/>
                  <a:gd name="connsiteX2009" fmla="*/ 2074 w 10820"/>
                  <a:gd name="connsiteY2009" fmla="*/ 3786 h 10000"/>
                  <a:gd name="connsiteX2010" fmla="*/ 2060 w 10820"/>
                  <a:gd name="connsiteY2010" fmla="*/ 3786 h 10000"/>
                  <a:gd name="connsiteX2011" fmla="*/ 2014 w 10820"/>
                  <a:gd name="connsiteY2011" fmla="*/ 3829 h 10000"/>
                  <a:gd name="connsiteX2012" fmla="*/ 2000 w 10820"/>
                  <a:gd name="connsiteY2012" fmla="*/ 3863 h 10000"/>
                  <a:gd name="connsiteX2013" fmla="*/ 1986 w 10820"/>
                  <a:gd name="connsiteY2013" fmla="*/ 3872 h 10000"/>
                  <a:gd name="connsiteX2014" fmla="*/ 1959 w 10820"/>
                  <a:gd name="connsiteY2014" fmla="*/ 3940 h 10000"/>
                  <a:gd name="connsiteX2015" fmla="*/ 1945 w 10820"/>
                  <a:gd name="connsiteY2015" fmla="*/ 3949 h 10000"/>
                  <a:gd name="connsiteX2016" fmla="*/ 1940 w 10820"/>
                  <a:gd name="connsiteY2016" fmla="*/ 3923 h 10000"/>
                  <a:gd name="connsiteX2017" fmla="*/ 1917 w 10820"/>
                  <a:gd name="connsiteY2017" fmla="*/ 3915 h 10000"/>
                  <a:gd name="connsiteX2018" fmla="*/ 1899 w 10820"/>
                  <a:gd name="connsiteY2018" fmla="*/ 3923 h 10000"/>
                  <a:gd name="connsiteX2019" fmla="*/ 1880 w 10820"/>
                  <a:gd name="connsiteY2019" fmla="*/ 3915 h 10000"/>
                  <a:gd name="connsiteX2020" fmla="*/ 1853 w 10820"/>
                  <a:gd name="connsiteY2020" fmla="*/ 3940 h 10000"/>
                  <a:gd name="connsiteX2021" fmla="*/ 1839 w 10820"/>
                  <a:gd name="connsiteY2021" fmla="*/ 3940 h 10000"/>
                  <a:gd name="connsiteX2022" fmla="*/ 1806 w 10820"/>
                  <a:gd name="connsiteY2022" fmla="*/ 3983 h 10000"/>
                  <a:gd name="connsiteX2023" fmla="*/ 1806 w 10820"/>
                  <a:gd name="connsiteY2023" fmla="*/ 4000 h 10000"/>
                  <a:gd name="connsiteX2024" fmla="*/ 1797 w 10820"/>
                  <a:gd name="connsiteY2024" fmla="*/ 4077 h 10000"/>
                  <a:gd name="connsiteX2025" fmla="*/ 1783 w 10820"/>
                  <a:gd name="connsiteY2025" fmla="*/ 4077 h 10000"/>
                  <a:gd name="connsiteX2026" fmla="*/ 1779 w 10820"/>
                  <a:gd name="connsiteY2026" fmla="*/ 4051 h 10000"/>
                  <a:gd name="connsiteX2027" fmla="*/ 1765 w 10820"/>
                  <a:gd name="connsiteY2027" fmla="*/ 4026 h 10000"/>
                  <a:gd name="connsiteX2028" fmla="*/ 1751 w 10820"/>
                  <a:gd name="connsiteY2028" fmla="*/ 4051 h 10000"/>
                  <a:gd name="connsiteX2029" fmla="*/ 1737 w 10820"/>
                  <a:gd name="connsiteY2029" fmla="*/ 4009 h 10000"/>
                  <a:gd name="connsiteX2030" fmla="*/ 1737 w 10820"/>
                  <a:gd name="connsiteY2030" fmla="*/ 3966 h 10000"/>
                  <a:gd name="connsiteX2031" fmla="*/ 1733 w 10820"/>
                  <a:gd name="connsiteY2031" fmla="*/ 3940 h 10000"/>
                  <a:gd name="connsiteX2032" fmla="*/ 1733 w 10820"/>
                  <a:gd name="connsiteY2032" fmla="*/ 3923 h 10000"/>
                  <a:gd name="connsiteX2033" fmla="*/ 1747 w 10820"/>
                  <a:gd name="connsiteY2033" fmla="*/ 3889 h 10000"/>
                  <a:gd name="connsiteX2034" fmla="*/ 1747 w 10820"/>
                  <a:gd name="connsiteY2034" fmla="*/ 3863 h 10000"/>
                  <a:gd name="connsiteX2035" fmla="*/ 1737 w 10820"/>
                  <a:gd name="connsiteY2035" fmla="*/ 3838 h 10000"/>
                  <a:gd name="connsiteX2036" fmla="*/ 1733 w 10820"/>
                  <a:gd name="connsiteY2036" fmla="*/ 3829 h 10000"/>
                  <a:gd name="connsiteX2037" fmla="*/ 1733 w 10820"/>
                  <a:gd name="connsiteY2037" fmla="*/ 3846 h 10000"/>
                  <a:gd name="connsiteX2038" fmla="*/ 1724 w 10820"/>
                  <a:gd name="connsiteY2038" fmla="*/ 3846 h 10000"/>
                  <a:gd name="connsiteX2039" fmla="*/ 1724 w 10820"/>
                  <a:gd name="connsiteY2039" fmla="*/ 3829 h 10000"/>
                  <a:gd name="connsiteX2040" fmla="*/ 1737 w 10820"/>
                  <a:gd name="connsiteY2040" fmla="*/ 3812 h 10000"/>
                  <a:gd name="connsiteX2041" fmla="*/ 1765 w 10820"/>
                  <a:gd name="connsiteY2041" fmla="*/ 3812 h 10000"/>
                  <a:gd name="connsiteX2042" fmla="*/ 1779 w 10820"/>
                  <a:gd name="connsiteY2042" fmla="*/ 3786 h 10000"/>
                  <a:gd name="connsiteX2043" fmla="*/ 1779 w 10820"/>
                  <a:gd name="connsiteY2043" fmla="*/ 3786 h 10000"/>
                  <a:gd name="connsiteX2044" fmla="*/ 1751 w 10820"/>
                  <a:gd name="connsiteY2044" fmla="*/ 3803 h 10000"/>
                  <a:gd name="connsiteX2045" fmla="*/ 1747 w 10820"/>
                  <a:gd name="connsiteY2045" fmla="*/ 3803 h 10000"/>
                  <a:gd name="connsiteX2046" fmla="*/ 1724 w 10820"/>
                  <a:gd name="connsiteY2046" fmla="*/ 3803 h 10000"/>
                  <a:gd name="connsiteX2047" fmla="*/ 1700 w 10820"/>
                  <a:gd name="connsiteY2047" fmla="*/ 3829 h 10000"/>
                  <a:gd name="connsiteX2048" fmla="*/ 1705 w 10820"/>
                  <a:gd name="connsiteY2048" fmla="*/ 3846 h 10000"/>
                  <a:gd name="connsiteX2049" fmla="*/ 1691 w 10820"/>
                  <a:gd name="connsiteY2049" fmla="*/ 3846 h 10000"/>
                  <a:gd name="connsiteX2050" fmla="*/ 1691 w 10820"/>
                  <a:gd name="connsiteY2050" fmla="*/ 3863 h 10000"/>
                  <a:gd name="connsiteX2051" fmla="*/ 1691 w 10820"/>
                  <a:gd name="connsiteY2051" fmla="*/ 3915 h 10000"/>
                  <a:gd name="connsiteX2052" fmla="*/ 1677 w 10820"/>
                  <a:gd name="connsiteY2052" fmla="*/ 3923 h 10000"/>
                  <a:gd name="connsiteX2053" fmla="*/ 1673 w 10820"/>
                  <a:gd name="connsiteY2053" fmla="*/ 3915 h 10000"/>
                  <a:gd name="connsiteX2054" fmla="*/ 1664 w 10820"/>
                  <a:gd name="connsiteY2054" fmla="*/ 3889 h 10000"/>
                  <a:gd name="connsiteX2055" fmla="*/ 1673 w 10820"/>
                  <a:gd name="connsiteY2055" fmla="*/ 3872 h 10000"/>
                  <a:gd name="connsiteX2056" fmla="*/ 1664 w 10820"/>
                  <a:gd name="connsiteY2056" fmla="*/ 3872 h 10000"/>
                  <a:gd name="connsiteX2057" fmla="*/ 1636 w 10820"/>
                  <a:gd name="connsiteY2057" fmla="*/ 3923 h 10000"/>
                  <a:gd name="connsiteX2058" fmla="*/ 1645 w 10820"/>
                  <a:gd name="connsiteY2058" fmla="*/ 3923 h 10000"/>
                  <a:gd name="connsiteX2059" fmla="*/ 1650 w 10820"/>
                  <a:gd name="connsiteY2059" fmla="*/ 3949 h 10000"/>
                  <a:gd name="connsiteX2060" fmla="*/ 1650 w 10820"/>
                  <a:gd name="connsiteY2060" fmla="*/ 3983 h 10000"/>
                  <a:gd name="connsiteX2061" fmla="*/ 1636 w 10820"/>
                  <a:gd name="connsiteY2061" fmla="*/ 4000 h 10000"/>
                  <a:gd name="connsiteX2062" fmla="*/ 1631 w 10820"/>
                  <a:gd name="connsiteY2062" fmla="*/ 4009 h 10000"/>
                  <a:gd name="connsiteX2063" fmla="*/ 1618 w 10820"/>
                  <a:gd name="connsiteY2063" fmla="*/ 3949 h 10000"/>
                  <a:gd name="connsiteX2064" fmla="*/ 1585 w 10820"/>
                  <a:gd name="connsiteY2064" fmla="*/ 3966 h 10000"/>
                  <a:gd name="connsiteX2065" fmla="*/ 1590 w 10820"/>
                  <a:gd name="connsiteY2065" fmla="*/ 3974 h 10000"/>
                  <a:gd name="connsiteX2066" fmla="*/ 1544 w 10820"/>
                  <a:gd name="connsiteY2066" fmla="*/ 4009 h 10000"/>
                  <a:gd name="connsiteX2067" fmla="*/ 1539 w 10820"/>
                  <a:gd name="connsiteY2067" fmla="*/ 4009 h 10000"/>
                  <a:gd name="connsiteX2068" fmla="*/ 1410 w 10820"/>
                  <a:gd name="connsiteY2068" fmla="*/ 4188 h 10000"/>
                  <a:gd name="connsiteX2069" fmla="*/ 1406 w 10820"/>
                  <a:gd name="connsiteY2069" fmla="*/ 4171 h 10000"/>
                  <a:gd name="connsiteX2070" fmla="*/ 1396 w 10820"/>
                  <a:gd name="connsiteY2070" fmla="*/ 4214 h 10000"/>
                  <a:gd name="connsiteX2071" fmla="*/ 1406 w 10820"/>
                  <a:gd name="connsiteY2071" fmla="*/ 4222 h 10000"/>
                  <a:gd name="connsiteX2072" fmla="*/ 1392 w 10820"/>
                  <a:gd name="connsiteY2072" fmla="*/ 4239 h 10000"/>
                  <a:gd name="connsiteX2073" fmla="*/ 1369 w 10820"/>
                  <a:gd name="connsiteY2073" fmla="*/ 4248 h 10000"/>
                  <a:gd name="connsiteX2074" fmla="*/ 1355 w 10820"/>
                  <a:gd name="connsiteY2074" fmla="*/ 4256 h 10000"/>
                  <a:gd name="connsiteX2075" fmla="*/ 1350 w 10820"/>
                  <a:gd name="connsiteY2075" fmla="*/ 4248 h 10000"/>
                  <a:gd name="connsiteX2076" fmla="*/ 1332 w 10820"/>
                  <a:gd name="connsiteY2076" fmla="*/ 4376 h 10000"/>
                  <a:gd name="connsiteX2077" fmla="*/ 1332 w 10820"/>
                  <a:gd name="connsiteY2077" fmla="*/ 4436 h 10000"/>
                  <a:gd name="connsiteX2078" fmla="*/ 1323 w 10820"/>
                  <a:gd name="connsiteY2078" fmla="*/ 4462 h 10000"/>
                  <a:gd name="connsiteX2079" fmla="*/ 1304 w 10820"/>
                  <a:gd name="connsiteY2079" fmla="*/ 4487 h 10000"/>
                  <a:gd name="connsiteX2080" fmla="*/ 1290 w 10820"/>
                  <a:gd name="connsiteY2080" fmla="*/ 4470 h 10000"/>
                  <a:gd name="connsiteX2081" fmla="*/ 1263 w 10820"/>
                  <a:gd name="connsiteY2081" fmla="*/ 4496 h 10000"/>
                  <a:gd name="connsiteX2082" fmla="*/ 1258 w 10820"/>
                  <a:gd name="connsiteY2082" fmla="*/ 4547 h 10000"/>
                  <a:gd name="connsiteX2083" fmla="*/ 1249 w 10820"/>
                  <a:gd name="connsiteY2083" fmla="*/ 4487 h 10000"/>
                  <a:gd name="connsiteX2084" fmla="*/ 1235 w 10820"/>
                  <a:gd name="connsiteY2084" fmla="*/ 4496 h 10000"/>
                  <a:gd name="connsiteX2085" fmla="*/ 1221 w 10820"/>
                  <a:gd name="connsiteY2085" fmla="*/ 4496 h 10000"/>
                  <a:gd name="connsiteX2086" fmla="*/ 1217 w 10820"/>
                  <a:gd name="connsiteY2086" fmla="*/ 4487 h 10000"/>
                  <a:gd name="connsiteX2087" fmla="*/ 1198 w 10820"/>
                  <a:gd name="connsiteY2087" fmla="*/ 4410 h 10000"/>
                  <a:gd name="connsiteX2088" fmla="*/ 1157 w 10820"/>
                  <a:gd name="connsiteY2088" fmla="*/ 4333 h 10000"/>
                  <a:gd name="connsiteX2089" fmla="*/ 1147 w 10820"/>
                  <a:gd name="connsiteY2089" fmla="*/ 4299 h 10000"/>
                  <a:gd name="connsiteX2090" fmla="*/ 1147 w 10820"/>
                  <a:gd name="connsiteY2090" fmla="*/ 4274 h 10000"/>
                  <a:gd name="connsiteX2091" fmla="*/ 1161 w 10820"/>
                  <a:gd name="connsiteY2091" fmla="*/ 4256 h 10000"/>
                  <a:gd name="connsiteX2092" fmla="*/ 1171 w 10820"/>
                  <a:gd name="connsiteY2092" fmla="*/ 4248 h 10000"/>
                  <a:gd name="connsiteX2093" fmla="*/ 1175 w 10820"/>
                  <a:gd name="connsiteY2093" fmla="*/ 4214 h 10000"/>
                  <a:gd name="connsiteX2094" fmla="*/ 1263 w 10820"/>
                  <a:gd name="connsiteY2094" fmla="*/ 4171 h 10000"/>
                  <a:gd name="connsiteX2095" fmla="*/ 1249 w 10820"/>
                  <a:gd name="connsiteY2095" fmla="*/ 4137 h 10000"/>
                  <a:gd name="connsiteX2096" fmla="*/ 1244 w 10820"/>
                  <a:gd name="connsiteY2096" fmla="*/ 4060 h 10000"/>
                  <a:gd name="connsiteX2097" fmla="*/ 1230 w 10820"/>
                  <a:gd name="connsiteY2097" fmla="*/ 4077 h 10000"/>
                  <a:gd name="connsiteX2098" fmla="*/ 1221 w 10820"/>
                  <a:gd name="connsiteY2098" fmla="*/ 4026 h 10000"/>
                  <a:gd name="connsiteX2099" fmla="*/ 1217 w 10820"/>
                  <a:gd name="connsiteY2099" fmla="*/ 4026 h 10000"/>
                  <a:gd name="connsiteX2100" fmla="*/ 1212 w 10820"/>
                  <a:gd name="connsiteY2100" fmla="*/ 3983 h 10000"/>
                  <a:gd name="connsiteX2101" fmla="*/ 1203 w 10820"/>
                  <a:gd name="connsiteY2101" fmla="*/ 3966 h 10000"/>
                  <a:gd name="connsiteX2102" fmla="*/ 1171 w 10820"/>
                  <a:gd name="connsiteY2102" fmla="*/ 3949 h 10000"/>
                  <a:gd name="connsiteX2103" fmla="*/ 1111 w 10820"/>
                  <a:gd name="connsiteY2103" fmla="*/ 3940 h 10000"/>
                  <a:gd name="connsiteX2104" fmla="*/ 1097 w 10820"/>
                  <a:gd name="connsiteY2104" fmla="*/ 3949 h 10000"/>
                  <a:gd name="connsiteX2105" fmla="*/ 1037 w 10820"/>
                  <a:gd name="connsiteY2105" fmla="*/ 3897 h 10000"/>
                  <a:gd name="connsiteX2106" fmla="*/ 1041 w 10820"/>
                  <a:gd name="connsiteY2106" fmla="*/ 3923 h 10000"/>
                  <a:gd name="connsiteX2107" fmla="*/ 1097 w 10820"/>
                  <a:gd name="connsiteY2107" fmla="*/ 4009 h 10000"/>
                  <a:gd name="connsiteX2108" fmla="*/ 1097 w 10820"/>
                  <a:gd name="connsiteY2108" fmla="*/ 4120 h 10000"/>
                  <a:gd name="connsiteX2109" fmla="*/ 1097 w 10820"/>
                  <a:gd name="connsiteY2109" fmla="*/ 4162 h 10000"/>
                  <a:gd name="connsiteX2110" fmla="*/ 1097 w 10820"/>
                  <a:gd name="connsiteY2110" fmla="*/ 4197 h 10000"/>
                  <a:gd name="connsiteX2111" fmla="*/ 1074 w 10820"/>
                  <a:gd name="connsiteY2111" fmla="*/ 4333 h 10000"/>
                  <a:gd name="connsiteX2112" fmla="*/ 1074 w 10820"/>
                  <a:gd name="connsiteY2112" fmla="*/ 4376 h 10000"/>
                  <a:gd name="connsiteX2113" fmla="*/ 1083 w 10820"/>
                  <a:gd name="connsiteY2113" fmla="*/ 4385 h 10000"/>
                  <a:gd name="connsiteX2114" fmla="*/ 1097 w 10820"/>
                  <a:gd name="connsiteY2114" fmla="*/ 4385 h 10000"/>
                  <a:gd name="connsiteX2115" fmla="*/ 1111 w 10820"/>
                  <a:gd name="connsiteY2115" fmla="*/ 4410 h 10000"/>
                  <a:gd name="connsiteX2116" fmla="*/ 1124 w 10820"/>
                  <a:gd name="connsiteY2116" fmla="*/ 4444 h 10000"/>
                  <a:gd name="connsiteX2117" fmla="*/ 1124 w 10820"/>
                  <a:gd name="connsiteY2117" fmla="*/ 4470 h 10000"/>
                  <a:gd name="connsiteX2118" fmla="*/ 1115 w 10820"/>
                  <a:gd name="connsiteY2118" fmla="*/ 4513 h 10000"/>
                  <a:gd name="connsiteX2119" fmla="*/ 1115 w 10820"/>
                  <a:gd name="connsiteY2119" fmla="*/ 4530 h 10000"/>
                  <a:gd name="connsiteX2120" fmla="*/ 1115 w 10820"/>
                  <a:gd name="connsiteY2120" fmla="*/ 4573 h 10000"/>
                  <a:gd name="connsiteX2121" fmla="*/ 1101 w 10820"/>
                  <a:gd name="connsiteY2121" fmla="*/ 4607 h 10000"/>
                  <a:gd name="connsiteX2122" fmla="*/ 1097 w 10820"/>
                  <a:gd name="connsiteY2122" fmla="*/ 4658 h 10000"/>
                  <a:gd name="connsiteX2123" fmla="*/ 1101 w 10820"/>
                  <a:gd name="connsiteY2123" fmla="*/ 4692 h 10000"/>
                  <a:gd name="connsiteX2124" fmla="*/ 1097 w 10820"/>
                  <a:gd name="connsiteY2124" fmla="*/ 4778 h 10000"/>
                  <a:gd name="connsiteX2125" fmla="*/ 1083 w 10820"/>
                  <a:gd name="connsiteY2125" fmla="*/ 4744 h 10000"/>
                  <a:gd name="connsiteX2126" fmla="*/ 1083 w 10820"/>
                  <a:gd name="connsiteY2126" fmla="*/ 4718 h 10000"/>
                  <a:gd name="connsiteX2127" fmla="*/ 1074 w 10820"/>
                  <a:gd name="connsiteY2127" fmla="*/ 4692 h 10000"/>
                  <a:gd name="connsiteX2128" fmla="*/ 1065 w 10820"/>
                  <a:gd name="connsiteY2128" fmla="*/ 4692 h 10000"/>
                  <a:gd name="connsiteX2129" fmla="*/ 1051 w 10820"/>
                  <a:gd name="connsiteY2129" fmla="*/ 4718 h 10000"/>
                  <a:gd name="connsiteX2130" fmla="*/ 1055 w 10820"/>
                  <a:gd name="connsiteY2130" fmla="*/ 4692 h 10000"/>
                  <a:gd name="connsiteX2131" fmla="*/ 1055 w 10820"/>
                  <a:gd name="connsiteY2131" fmla="*/ 4667 h 10000"/>
                  <a:gd name="connsiteX2132" fmla="*/ 1028 w 10820"/>
                  <a:gd name="connsiteY2132" fmla="*/ 4624 h 10000"/>
                  <a:gd name="connsiteX2133" fmla="*/ 1005 w 10820"/>
                  <a:gd name="connsiteY2133" fmla="*/ 4624 h 10000"/>
                  <a:gd name="connsiteX2134" fmla="*/ 977 w 10820"/>
                  <a:gd name="connsiteY2134" fmla="*/ 4581 h 10000"/>
                  <a:gd name="connsiteX2135" fmla="*/ 963 w 10820"/>
                  <a:gd name="connsiteY2135" fmla="*/ 4607 h 10000"/>
                  <a:gd name="connsiteX2136" fmla="*/ 963 w 10820"/>
                  <a:gd name="connsiteY2136" fmla="*/ 4632 h 10000"/>
                  <a:gd name="connsiteX2137" fmla="*/ 917 w 10820"/>
                  <a:gd name="connsiteY2137" fmla="*/ 4718 h 10000"/>
                  <a:gd name="connsiteX2138" fmla="*/ 889 w 10820"/>
                  <a:gd name="connsiteY2138" fmla="*/ 4744 h 10000"/>
                  <a:gd name="connsiteX2139" fmla="*/ 880 w 10820"/>
                  <a:gd name="connsiteY2139" fmla="*/ 4744 h 10000"/>
                  <a:gd name="connsiteX2140" fmla="*/ 862 w 10820"/>
                  <a:gd name="connsiteY2140" fmla="*/ 4769 h 10000"/>
                  <a:gd name="connsiteX2141" fmla="*/ 857 w 10820"/>
                  <a:gd name="connsiteY2141" fmla="*/ 4795 h 10000"/>
                  <a:gd name="connsiteX2142" fmla="*/ 829 w 10820"/>
                  <a:gd name="connsiteY2142" fmla="*/ 4846 h 10000"/>
                  <a:gd name="connsiteX2143" fmla="*/ 816 w 10820"/>
                  <a:gd name="connsiteY2143" fmla="*/ 4855 h 10000"/>
                  <a:gd name="connsiteX2144" fmla="*/ 816 w 10820"/>
                  <a:gd name="connsiteY2144" fmla="*/ 4940 h 10000"/>
                  <a:gd name="connsiteX2145" fmla="*/ 880 w 10820"/>
                  <a:gd name="connsiteY2145" fmla="*/ 5179 h 10000"/>
                  <a:gd name="connsiteX2146" fmla="*/ 880 w 10820"/>
                  <a:gd name="connsiteY2146" fmla="*/ 5188 h 10000"/>
                  <a:gd name="connsiteX2147" fmla="*/ 862 w 10820"/>
                  <a:gd name="connsiteY2147" fmla="*/ 5171 h 10000"/>
                  <a:gd name="connsiteX2148" fmla="*/ 857 w 10820"/>
                  <a:gd name="connsiteY2148" fmla="*/ 5171 h 10000"/>
                  <a:gd name="connsiteX2149" fmla="*/ 820 w 10820"/>
                  <a:gd name="connsiteY2149" fmla="*/ 5145 h 10000"/>
                  <a:gd name="connsiteX2150" fmla="*/ 820 w 10820"/>
                  <a:gd name="connsiteY2150" fmla="*/ 5154 h 10000"/>
                  <a:gd name="connsiteX2151" fmla="*/ 816 w 10820"/>
                  <a:gd name="connsiteY2151" fmla="*/ 5171 h 10000"/>
                  <a:gd name="connsiteX2152" fmla="*/ 783 w 10820"/>
                  <a:gd name="connsiteY2152" fmla="*/ 5145 h 10000"/>
                  <a:gd name="connsiteX2153" fmla="*/ 756 w 10820"/>
                  <a:gd name="connsiteY2153" fmla="*/ 5103 h 10000"/>
                  <a:gd name="connsiteX2154" fmla="*/ 742 w 10820"/>
                  <a:gd name="connsiteY2154" fmla="*/ 5103 h 10000"/>
                  <a:gd name="connsiteX2155" fmla="*/ 728 w 10820"/>
                  <a:gd name="connsiteY2155" fmla="*/ 5094 h 10000"/>
                  <a:gd name="connsiteX2156" fmla="*/ 710 w 10820"/>
                  <a:gd name="connsiteY2156" fmla="*/ 5120 h 10000"/>
                  <a:gd name="connsiteX2157" fmla="*/ 700 w 10820"/>
                  <a:gd name="connsiteY2157" fmla="*/ 5145 h 10000"/>
                  <a:gd name="connsiteX2158" fmla="*/ 696 w 10820"/>
                  <a:gd name="connsiteY2158" fmla="*/ 5103 h 10000"/>
                  <a:gd name="connsiteX2159" fmla="*/ 714 w 10820"/>
                  <a:gd name="connsiteY2159" fmla="*/ 5077 h 10000"/>
                  <a:gd name="connsiteX2160" fmla="*/ 682 w 10820"/>
                  <a:gd name="connsiteY2160" fmla="*/ 5068 h 10000"/>
                  <a:gd name="connsiteX2161" fmla="*/ 673 w 10820"/>
                  <a:gd name="connsiteY2161" fmla="*/ 5034 h 10000"/>
                  <a:gd name="connsiteX2162" fmla="*/ 636 w 10820"/>
                  <a:gd name="connsiteY2162" fmla="*/ 4991 h 10000"/>
                  <a:gd name="connsiteX2163" fmla="*/ 622 w 10820"/>
                  <a:gd name="connsiteY2163" fmla="*/ 4983 h 10000"/>
                  <a:gd name="connsiteX2164" fmla="*/ 622 w 10820"/>
                  <a:gd name="connsiteY2164" fmla="*/ 5034 h 10000"/>
                  <a:gd name="connsiteX2165" fmla="*/ 608 w 10820"/>
                  <a:gd name="connsiteY2165" fmla="*/ 5051 h 10000"/>
                  <a:gd name="connsiteX2166" fmla="*/ 594 w 10820"/>
                  <a:gd name="connsiteY2166" fmla="*/ 5068 h 10000"/>
                  <a:gd name="connsiteX2167" fmla="*/ 608 w 10820"/>
                  <a:gd name="connsiteY2167" fmla="*/ 5120 h 10000"/>
                  <a:gd name="connsiteX2168" fmla="*/ 613 w 10820"/>
                  <a:gd name="connsiteY2168" fmla="*/ 5128 h 10000"/>
                  <a:gd name="connsiteX2169" fmla="*/ 627 w 10820"/>
                  <a:gd name="connsiteY2169" fmla="*/ 5179 h 10000"/>
                  <a:gd name="connsiteX2170" fmla="*/ 650 w 10820"/>
                  <a:gd name="connsiteY2170" fmla="*/ 5214 h 10000"/>
                  <a:gd name="connsiteX2171" fmla="*/ 687 w 10820"/>
                  <a:gd name="connsiteY2171" fmla="*/ 5188 h 10000"/>
                  <a:gd name="connsiteX2172" fmla="*/ 700 w 10820"/>
                  <a:gd name="connsiteY2172" fmla="*/ 5325 h 10000"/>
                  <a:gd name="connsiteX2173" fmla="*/ 710 w 10820"/>
                  <a:gd name="connsiteY2173" fmla="*/ 5350 h 10000"/>
                  <a:gd name="connsiteX2174" fmla="*/ 687 w 10820"/>
                  <a:gd name="connsiteY2174" fmla="*/ 5325 h 10000"/>
                  <a:gd name="connsiteX2175" fmla="*/ 668 w 10820"/>
                  <a:gd name="connsiteY2175" fmla="*/ 5350 h 10000"/>
                  <a:gd name="connsiteX2176" fmla="*/ 668 w 10820"/>
                  <a:gd name="connsiteY2176" fmla="*/ 5368 h 10000"/>
                  <a:gd name="connsiteX2177" fmla="*/ 668 w 10820"/>
                  <a:gd name="connsiteY2177" fmla="*/ 5376 h 10000"/>
                  <a:gd name="connsiteX2178" fmla="*/ 581 w 10820"/>
                  <a:gd name="connsiteY2178" fmla="*/ 5316 h 10000"/>
                  <a:gd name="connsiteX2179" fmla="*/ 567 w 10820"/>
                  <a:gd name="connsiteY2179" fmla="*/ 5265 h 10000"/>
                  <a:gd name="connsiteX2180" fmla="*/ 562 w 10820"/>
                  <a:gd name="connsiteY2180" fmla="*/ 5256 h 10000"/>
                  <a:gd name="connsiteX2181" fmla="*/ 548 w 10820"/>
                  <a:gd name="connsiteY2181" fmla="*/ 5231 h 10000"/>
                  <a:gd name="connsiteX2182" fmla="*/ 535 w 10820"/>
                  <a:gd name="connsiteY2182" fmla="*/ 5214 h 10000"/>
                  <a:gd name="connsiteX2183" fmla="*/ 525 w 10820"/>
                  <a:gd name="connsiteY2183" fmla="*/ 5231 h 10000"/>
                  <a:gd name="connsiteX2184" fmla="*/ 521 w 10820"/>
                  <a:gd name="connsiteY2184" fmla="*/ 5231 h 10000"/>
                  <a:gd name="connsiteX2185" fmla="*/ 493 w 10820"/>
                  <a:gd name="connsiteY2185" fmla="*/ 5205 h 10000"/>
                  <a:gd name="connsiteX2186" fmla="*/ 488 w 10820"/>
                  <a:gd name="connsiteY2186" fmla="*/ 5179 h 10000"/>
                  <a:gd name="connsiteX2187" fmla="*/ 475 w 10820"/>
                  <a:gd name="connsiteY2187" fmla="*/ 5188 h 10000"/>
                  <a:gd name="connsiteX2188" fmla="*/ 475 w 10820"/>
                  <a:gd name="connsiteY2188" fmla="*/ 5171 h 10000"/>
                  <a:gd name="connsiteX2189" fmla="*/ 488 w 10820"/>
                  <a:gd name="connsiteY2189" fmla="*/ 5154 h 10000"/>
                  <a:gd name="connsiteX2190" fmla="*/ 488 w 10820"/>
                  <a:gd name="connsiteY2190" fmla="*/ 5068 h 10000"/>
                  <a:gd name="connsiteX2191" fmla="*/ 475 w 10820"/>
                  <a:gd name="connsiteY2191" fmla="*/ 5051 h 10000"/>
                  <a:gd name="connsiteX2192" fmla="*/ 475 w 10820"/>
                  <a:gd name="connsiteY2192" fmla="*/ 5017 h 10000"/>
                  <a:gd name="connsiteX2193" fmla="*/ 452 w 10820"/>
                  <a:gd name="connsiteY2193" fmla="*/ 4932 h 10000"/>
                  <a:gd name="connsiteX2194" fmla="*/ 461 w 10820"/>
                  <a:gd name="connsiteY2194" fmla="*/ 4915 h 10000"/>
                  <a:gd name="connsiteX2195" fmla="*/ 475 w 10820"/>
                  <a:gd name="connsiteY2195" fmla="*/ 4906 h 10000"/>
                  <a:gd name="connsiteX2196" fmla="*/ 479 w 10820"/>
                  <a:gd name="connsiteY2196" fmla="*/ 4803 h 10000"/>
                  <a:gd name="connsiteX2197" fmla="*/ 479 w 10820"/>
                  <a:gd name="connsiteY2197" fmla="*/ 4778 h 10000"/>
                  <a:gd name="connsiteX2198" fmla="*/ 475 w 10820"/>
                  <a:gd name="connsiteY2198" fmla="*/ 4761 h 10000"/>
                  <a:gd name="connsiteX2199" fmla="*/ 465 w 10820"/>
                  <a:gd name="connsiteY2199" fmla="*/ 4718 h 10000"/>
                  <a:gd name="connsiteX2200" fmla="*/ 461 w 10820"/>
                  <a:gd name="connsiteY2200" fmla="*/ 4709 h 10000"/>
                  <a:gd name="connsiteX2201" fmla="*/ 442 w 10820"/>
                  <a:gd name="connsiteY2201" fmla="*/ 4692 h 10000"/>
                  <a:gd name="connsiteX2202" fmla="*/ 433 w 10820"/>
                  <a:gd name="connsiteY2202" fmla="*/ 4667 h 10000"/>
                  <a:gd name="connsiteX2203" fmla="*/ 419 w 10820"/>
                  <a:gd name="connsiteY2203" fmla="*/ 4667 h 10000"/>
                  <a:gd name="connsiteX2204" fmla="*/ 401 w 10820"/>
                  <a:gd name="connsiteY2204" fmla="*/ 4658 h 10000"/>
                  <a:gd name="connsiteX2205" fmla="*/ 401 w 10820"/>
                  <a:gd name="connsiteY2205" fmla="*/ 4624 h 10000"/>
                  <a:gd name="connsiteX2206" fmla="*/ 401 w 10820"/>
                  <a:gd name="connsiteY2206" fmla="*/ 4607 h 10000"/>
                  <a:gd name="connsiteX2207" fmla="*/ 378 w 10820"/>
                  <a:gd name="connsiteY2207" fmla="*/ 4607 h 10000"/>
                  <a:gd name="connsiteX2208" fmla="*/ 341 w 10820"/>
                  <a:gd name="connsiteY2208" fmla="*/ 4530 h 10000"/>
                  <a:gd name="connsiteX2209" fmla="*/ 346 w 10820"/>
                  <a:gd name="connsiteY2209" fmla="*/ 4521 h 10000"/>
                  <a:gd name="connsiteX2210" fmla="*/ 332 w 10820"/>
                  <a:gd name="connsiteY2210" fmla="*/ 4487 h 10000"/>
                  <a:gd name="connsiteX2211" fmla="*/ 327 w 10820"/>
                  <a:gd name="connsiteY2211" fmla="*/ 4462 h 10000"/>
                  <a:gd name="connsiteX2212" fmla="*/ 313 w 10820"/>
                  <a:gd name="connsiteY2212" fmla="*/ 4436 h 10000"/>
                  <a:gd name="connsiteX2213" fmla="*/ 300 w 10820"/>
                  <a:gd name="connsiteY2213" fmla="*/ 4419 h 10000"/>
                  <a:gd name="connsiteX2214" fmla="*/ 309 w 10820"/>
                  <a:gd name="connsiteY2214" fmla="*/ 4393 h 10000"/>
                  <a:gd name="connsiteX2215" fmla="*/ 332 w 10820"/>
                  <a:gd name="connsiteY2215" fmla="*/ 4385 h 10000"/>
                  <a:gd name="connsiteX2216" fmla="*/ 355 w 10820"/>
                  <a:gd name="connsiteY2216" fmla="*/ 4419 h 10000"/>
                  <a:gd name="connsiteX2217" fmla="*/ 355 w 10820"/>
                  <a:gd name="connsiteY2217" fmla="*/ 4444 h 10000"/>
                  <a:gd name="connsiteX2218" fmla="*/ 369 w 10820"/>
                  <a:gd name="connsiteY2218" fmla="*/ 4470 h 10000"/>
                  <a:gd name="connsiteX2219" fmla="*/ 401 w 10820"/>
                  <a:gd name="connsiteY2219" fmla="*/ 4521 h 10000"/>
                  <a:gd name="connsiteX2220" fmla="*/ 406 w 10820"/>
                  <a:gd name="connsiteY2220" fmla="*/ 4513 h 10000"/>
                  <a:gd name="connsiteX2221" fmla="*/ 406 w 10820"/>
                  <a:gd name="connsiteY2221" fmla="*/ 4496 h 10000"/>
                  <a:gd name="connsiteX2222" fmla="*/ 419 w 10820"/>
                  <a:gd name="connsiteY2222" fmla="*/ 4521 h 10000"/>
                  <a:gd name="connsiteX2223" fmla="*/ 429 w 10820"/>
                  <a:gd name="connsiteY2223" fmla="*/ 4530 h 10000"/>
                  <a:gd name="connsiteX2224" fmla="*/ 433 w 10820"/>
                  <a:gd name="connsiteY2224" fmla="*/ 4521 h 10000"/>
                  <a:gd name="connsiteX2225" fmla="*/ 442 w 10820"/>
                  <a:gd name="connsiteY2225" fmla="*/ 4530 h 10000"/>
                  <a:gd name="connsiteX2226" fmla="*/ 447 w 10820"/>
                  <a:gd name="connsiteY2226" fmla="*/ 4521 h 10000"/>
                  <a:gd name="connsiteX2227" fmla="*/ 452 w 10820"/>
                  <a:gd name="connsiteY2227" fmla="*/ 4521 h 10000"/>
                  <a:gd name="connsiteX2228" fmla="*/ 461 w 10820"/>
                  <a:gd name="connsiteY2228" fmla="*/ 4573 h 10000"/>
                  <a:gd name="connsiteX2229" fmla="*/ 479 w 10820"/>
                  <a:gd name="connsiteY2229" fmla="*/ 4556 h 10000"/>
                  <a:gd name="connsiteX2230" fmla="*/ 502 w 10820"/>
                  <a:gd name="connsiteY2230" fmla="*/ 4573 h 10000"/>
                  <a:gd name="connsiteX2231" fmla="*/ 507 w 10820"/>
                  <a:gd name="connsiteY2231" fmla="*/ 4598 h 10000"/>
                  <a:gd name="connsiteX2232" fmla="*/ 525 w 10820"/>
                  <a:gd name="connsiteY2232" fmla="*/ 4598 h 10000"/>
                  <a:gd name="connsiteX2233" fmla="*/ 535 w 10820"/>
                  <a:gd name="connsiteY2233" fmla="*/ 4624 h 10000"/>
                  <a:gd name="connsiteX2234" fmla="*/ 594 w 10820"/>
                  <a:gd name="connsiteY2234" fmla="*/ 4658 h 10000"/>
                  <a:gd name="connsiteX2235" fmla="*/ 627 w 10820"/>
                  <a:gd name="connsiteY2235" fmla="*/ 4658 h 10000"/>
                  <a:gd name="connsiteX2236" fmla="*/ 654 w 10820"/>
                  <a:gd name="connsiteY2236" fmla="*/ 4684 h 10000"/>
                  <a:gd name="connsiteX2237" fmla="*/ 668 w 10820"/>
                  <a:gd name="connsiteY2237" fmla="*/ 4709 h 10000"/>
                  <a:gd name="connsiteX2238" fmla="*/ 747 w 10820"/>
                  <a:gd name="connsiteY2238" fmla="*/ 4718 h 10000"/>
                  <a:gd name="connsiteX2239" fmla="*/ 760 w 10820"/>
                  <a:gd name="connsiteY2239" fmla="*/ 4709 h 10000"/>
                  <a:gd name="connsiteX2240" fmla="*/ 774 w 10820"/>
                  <a:gd name="connsiteY2240" fmla="*/ 4692 h 10000"/>
                  <a:gd name="connsiteX2241" fmla="*/ 829 w 10820"/>
                  <a:gd name="connsiteY2241" fmla="*/ 4658 h 10000"/>
                  <a:gd name="connsiteX2242" fmla="*/ 903 w 10820"/>
                  <a:gd name="connsiteY2242" fmla="*/ 4496 h 10000"/>
                  <a:gd name="connsiteX2243" fmla="*/ 917 w 10820"/>
                  <a:gd name="connsiteY2243" fmla="*/ 4385 h 10000"/>
                  <a:gd name="connsiteX2244" fmla="*/ 903 w 10820"/>
                  <a:gd name="connsiteY2244" fmla="*/ 4376 h 10000"/>
                  <a:gd name="connsiteX2245" fmla="*/ 903 w 10820"/>
                  <a:gd name="connsiteY2245" fmla="*/ 4376 h 10000"/>
                  <a:gd name="connsiteX2246" fmla="*/ 889 w 10820"/>
                  <a:gd name="connsiteY2246" fmla="*/ 4239 h 10000"/>
                  <a:gd name="connsiteX2247" fmla="*/ 880 w 10820"/>
                  <a:gd name="connsiteY2247" fmla="*/ 4214 h 10000"/>
                  <a:gd name="connsiteX2248" fmla="*/ 862 w 10820"/>
                  <a:gd name="connsiteY2248" fmla="*/ 4188 h 10000"/>
                  <a:gd name="connsiteX2249" fmla="*/ 857 w 10820"/>
                  <a:gd name="connsiteY2249" fmla="*/ 4197 h 10000"/>
                  <a:gd name="connsiteX2250" fmla="*/ 848 w 10820"/>
                  <a:gd name="connsiteY2250" fmla="*/ 4188 h 10000"/>
                  <a:gd name="connsiteX2251" fmla="*/ 848 w 10820"/>
                  <a:gd name="connsiteY2251" fmla="*/ 4162 h 10000"/>
                  <a:gd name="connsiteX2252" fmla="*/ 829 w 10820"/>
                  <a:gd name="connsiteY2252" fmla="*/ 4120 h 10000"/>
                  <a:gd name="connsiteX2253" fmla="*/ 820 w 10820"/>
                  <a:gd name="connsiteY2253" fmla="*/ 4103 h 10000"/>
                  <a:gd name="connsiteX2254" fmla="*/ 806 w 10820"/>
                  <a:gd name="connsiteY2254" fmla="*/ 4077 h 10000"/>
                  <a:gd name="connsiteX2255" fmla="*/ 816 w 10820"/>
                  <a:gd name="connsiteY2255" fmla="*/ 4111 h 10000"/>
                  <a:gd name="connsiteX2256" fmla="*/ 802 w 10820"/>
                  <a:gd name="connsiteY2256" fmla="*/ 4111 h 10000"/>
                  <a:gd name="connsiteX2257" fmla="*/ 770 w 10820"/>
                  <a:gd name="connsiteY2257" fmla="*/ 4060 h 10000"/>
                  <a:gd name="connsiteX2258" fmla="*/ 760 w 10820"/>
                  <a:gd name="connsiteY2258" fmla="*/ 4077 h 10000"/>
                  <a:gd name="connsiteX2259" fmla="*/ 760 w 10820"/>
                  <a:gd name="connsiteY2259" fmla="*/ 4060 h 10000"/>
                  <a:gd name="connsiteX2260" fmla="*/ 756 w 10820"/>
                  <a:gd name="connsiteY2260" fmla="*/ 4034 h 10000"/>
                  <a:gd name="connsiteX2261" fmla="*/ 742 w 10820"/>
                  <a:gd name="connsiteY2261" fmla="*/ 4000 h 10000"/>
                  <a:gd name="connsiteX2262" fmla="*/ 747 w 10820"/>
                  <a:gd name="connsiteY2262" fmla="*/ 4034 h 10000"/>
                  <a:gd name="connsiteX2263" fmla="*/ 724 w 10820"/>
                  <a:gd name="connsiteY2263" fmla="*/ 4026 h 10000"/>
                  <a:gd name="connsiteX2264" fmla="*/ 714 w 10820"/>
                  <a:gd name="connsiteY2264" fmla="*/ 4000 h 10000"/>
                  <a:gd name="connsiteX2265" fmla="*/ 714 w 10820"/>
                  <a:gd name="connsiteY2265" fmla="*/ 3983 h 10000"/>
                  <a:gd name="connsiteX2266" fmla="*/ 553 w 10820"/>
                  <a:gd name="connsiteY2266" fmla="*/ 3726 h 10000"/>
                  <a:gd name="connsiteX2267" fmla="*/ 507 w 10820"/>
                  <a:gd name="connsiteY2267" fmla="*/ 3718 h 10000"/>
                  <a:gd name="connsiteX2268" fmla="*/ 516 w 10820"/>
                  <a:gd name="connsiteY2268" fmla="*/ 3726 h 10000"/>
                  <a:gd name="connsiteX2269" fmla="*/ 507 w 10820"/>
                  <a:gd name="connsiteY2269" fmla="*/ 3735 h 10000"/>
                  <a:gd name="connsiteX2270" fmla="*/ 502 w 10820"/>
                  <a:gd name="connsiteY2270" fmla="*/ 3735 h 10000"/>
                  <a:gd name="connsiteX2271" fmla="*/ 419 w 10820"/>
                  <a:gd name="connsiteY2271" fmla="*/ 3675 h 10000"/>
                  <a:gd name="connsiteX2272" fmla="*/ 419 w 10820"/>
                  <a:gd name="connsiteY2272" fmla="*/ 3692 h 10000"/>
                  <a:gd name="connsiteX2273" fmla="*/ 401 w 10820"/>
                  <a:gd name="connsiteY2273" fmla="*/ 3701 h 10000"/>
                  <a:gd name="connsiteX2274" fmla="*/ 387 w 10820"/>
                  <a:gd name="connsiteY2274" fmla="*/ 3718 h 10000"/>
                  <a:gd name="connsiteX2275" fmla="*/ 387 w 10820"/>
                  <a:gd name="connsiteY2275" fmla="*/ 3692 h 10000"/>
                  <a:gd name="connsiteX2276" fmla="*/ 378 w 10820"/>
                  <a:gd name="connsiteY2276" fmla="*/ 3675 h 10000"/>
                  <a:gd name="connsiteX2277" fmla="*/ 378 w 10820"/>
                  <a:gd name="connsiteY2277" fmla="*/ 3650 h 10000"/>
                  <a:gd name="connsiteX2278" fmla="*/ 378 w 10820"/>
                  <a:gd name="connsiteY2278" fmla="*/ 3650 h 10000"/>
                  <a:gd name="connsiteX2279" fmla="*/ 355 w 10820"/>
                  <a:gd name="connsiteY2279" fmla="*/ 3675 h 10000"/>
                  <a:gd name="connsiteX2280" fmla="*/ 359 w 10820"/>
                  <a:gd name="connsiteY2280" fmla="*/ 3641 h 10000"/>
                  <a:gd name="connsiteX2281" fmla="*/ 346 w 10820"/>
                  <a:gd name="connsiteY2281" fmla="*/ 3650 h 10000"/>
                  <a:gd name="connsiteX2282" fmla="*/ 355 w 10820"/>
                  <a:gd name="connsiteY2282" fmla="*/ 3624 h 10000"/>
                  <a:gd name="connsiteX2283" fmla="*/ 346 w 10820"/>
                  <a:gd name="connsiteY2283" fmla="*/ 3624 h 10000"/>
                  <a:gd name="connsiteX2284" fmla="*/ 341 w 10820"/>
                  <a:gd name="connsiteY2284" fmla="*/ 3624 h 10000"/>
                  <a:gd name="connsiteX2285" fmla="*/ 318 w 10820"/>
                  <a:gd name="connsiteY2285" fmla="*/ 3641 h 10000"/>
                  <a:gd name="connsiteX2286" fmla="*/ 327 w 10820"/>
                  <a:gd name="connsiteY2286" fmla="*/ 3624 h 10000"/>
                  <a:gd name="connsiteX2287" fmla="*/ 318 w 10820"/>
                  <a:gd name="connsiteY2287" fmla="*/ 3615 h 10000"/>
                  <a:gd name="connsiteX2288" fmla="*/ 318 w 10820"/>
                  <a:gd name="connsiteY2288" fmla="*/ 3598 h 10000"/>
                  <a:gd name="connsiteX2289" fmla="*/ 300 w 10820"/>
                  <a:gd name="connsiteY2289" fmla="*/ 3598 h 10000"/>
                  <a:gd name="connsiteX2290" fmla="*/ 309 w 10820"/>
                  <a:gd name="connsiteY2290" fmla="*/ 3538 h 10000"/>
                  <a:gd name="connsiteX2291" fmla="*/ 313 w 10820"/>
                  <a:gd name="connsiteY2291" fmla="*/ 3564 h 10000"/>
                  <a:gd name="connsiteX2292" fmla="*/ 318 w 10820"/>
                  <a:gd name="connsiteY2292" fmla="*/ 3581 h 10000"/>
                  <a:gd name="connsiteX2293" fmla="*/ 327 w 10820"/>
                  <a:gd name="connsiteY2293" fmla="*/ 3564 h 10000"/>
                  <a:gd name="connsiteX2294" fmla="*/ 332 w 10820"/>
                  <a:gd name="connsiteY2294" fmla="*/ 3590 h 10000"/>
                  <a:gd name="connsiteX2295" fmla="*/ 346 w 10820"/>
                  <a:gd name="connsiteY2295" fmla="*/ 3590 h 10000"/>
                  <a:gd name="connsiteX2296" fmla="*/ 355 w 10820"/>
                  <a:gd name="connsiteY2296" fmla="*/ 3590 h 10000"/>
                  <a:gd name="connsiteX2297" fmla="*/ 369 w 10820"/>
                  <a:gd name="connsiteY2297" fmla="*/ 3556 h 10000"/>
                  <a:gd name="connsiteX2298" fmla="*/ 369 w 10820"/>
                  <a:gd name="connsiteY2298" fmla="*/ 3538 h 10000"/>
                  <a:gd name="connsiteX2299" fmla="*/ 346 w 10820"/>
                  <a:gd name="connsiteY2299" fmla="*/ 3513 h 10000"/>
                  <a:gd name="connsiteX2300" fmla="*/ 341 w 10820"/>
                  <a:gd name="connsiteY2300" fmla="*/ 3530 h 10000"/>
                  <a:gd name="connsiteX2301" fmla="*/ 327 w 10820"/>
                  <a:gd name="connsiteY2301" fmla="*/ 3513 h 10000"/>
                  <a:gd name="connsiteX2302" fmla="*/ 327 w 10820"/>
                  <a:gd name="connsiteY2302" fmla="*/ 3504 h 10000"/>
                  <a:gd name="connsiteX2303" fmla="*/ 295 w 10820"/>
                  <a:gd name="connsiteY2303" fmla="*/ 3462 h 10000"/>
                  <a:gd name="connsiteX2304" fmla="*/ 300 w 10820"/>
                  <a:gd name="connsiteY2304" fmla="*/ 3479 h 10000"/>
                  <a:gd name="connsiteX2305" fmla="*/ 295 w 10820"/>
                  <a:gd name="connsiteY2305" fmla="*/ 3513 h 10000"/>
                  <a:gd name="connsiteX2306" fmla="*/ 286 w 10820"/>
                  <a:gd name="connsiteY2306" fmla="*/ 3513 h 10000"/>
                  <a:gd name="connsiteX2307" fmla="*/ 281 w 10820"/>
                  <a:gd name="connsiteY2307" fmla="*/ 3513 h 10000"/>
                  <a:gd name="connsiteX2308" fmla="*/ 281 w 10820"/>
                  <a:gd name="connsiteY2308" fmla="*/ 3530 h 10000"/>
                  <a:gd name="connsiteX2309" fmla="*/ 281 w 10820"/>
                  <a:gd name="connsiteY2309" fmla="*/ 3556 h 10000"/>
                  <a:gd name="connsiteX2310" fmla="*/ 272 w 10820"/>
                  <a:gd name="connsiteY2310" fmla="*/ 3564 h 10000"/>
                  <a:gd name="connsiteX2311" fmla="*/ 267 w 10820"/>
                  <a:gd name="connsiteY2311" fmla="*/ 3564 h 10000"/>
                  <a:gd name="connsiteX2312" fmla="*/ 253 w 10820"/>
                  <a:gd name="connsiteY2312" fmla="*/ 3538 h 10000"/>
                  <a:gd name="connsiteX2313" fmla="*/ 226 w 10820"/>
                  <a:gd name="connsiteY2313" fmla="*/ 3513 h 10000"/>
                  <a:gd name="connsiteX2314" fmla="*/ 226 w 10820"/>
                  <a:gd name="connsiteY2314" fmla="*/ 3530 h 10000"/>
                  <a:gd name="connsiteX2315" fmla="*/ 226 w 10820"/>
                  <a:gd name="connsiteY2315" fmla="*/ 3530 h 10000"/>
                  <a:gd name="connsiteX2316" fmla="*/ 226 w 10820"/>
                  <a:gd name="connsiteY2316" fmla="*/ 3530 h 10000"/>
                  <a:gd name="connsiteX2317" fmla="*/ 226 w 10820"/>
                  <a:gd name="connsiteY2317" fmla="*/ 3556 h 10000"/>
                  <a:gd name="connsiteX2318" fmla="*/ 221 w 10820"/>
                  <a:gd name="connsiteY2318" fmla="*/ 3598 h 10000"/>
                  <a:gd name="connsiteX2319" fmla="*/ 207 w 10820"/>
                  <a:gd name="connsiteY2319" fmla="*/ 3598 h 10000"/>
                  <a:gd name="connsiteX2320" fmla="*/ 180 w 10820"/>
                  <a:gd name="connsiteY2320" fmla="*/ 3581 h 10000"/>
                  <a:gd name="connsiteX2321" fmla="*/ 171 w 10820"/>
                  <a:gd name="connsiteY2321" fmla="*/ 3641 h 10000"/>
                  <a:gd name="connsiteX2322" fmla="*/ 166 w 10820"/>
                  <a:gd name="connsiteY2322" fmla="*/ 3650 h 10000"/>
                  <a:gd name="connsiteX2323" fmla="*/ 124 w 10820"/>
                  <a:gd name="connsiteY2323" fmla="*/ 3701 h 10000"/>
                  <a:gd name="connsiteX2324" fmla="*/ 124 w 10820"/>
                  <a:gd name="connsiteY2324" fmla="*/ 3718 h 10000"/>
                  <a:gd name="connsiteX2325" fmla="*/ 120 w 10820"/>
                  <a:gd name="connsiteY2325" fmla="*/ 3735 h 10000"/>
                  <a:gd name="connsiteX2326" fmla="*/ 120 w 10820"/>
                  <a:gd name="connsiteY2326" fmla="*/ 3735 h 10000"/>
                  <a:gd name="connsiteX2327" fmla="*/ 111 w 10820"/>
                  <a:gd name="connsiteY2327" fmla="*/ 3761 h 10000"/>
                  <a:gd name="connsiteX2328" fmla="*/ 106 w 10820"/>
                  <a:gd name="connsiteY2328" fmla="*/ 3761 h 10000"/>
                  <a:gd name="connsiteX2329" fmla="*/ 106 w 10820"/>
                  <a:gd name="connsiteY2329" fmla="*/ 3761 h 10000"/>
                  <a:gd name="connsiteX2330" fmla="*/ 74 w 10820"/>
                  <a:gd name="connsiteY2330" fmla="*/ 3829 h 10000"/>
                  <a:gd name="connsiteX2331" fmla="*/ 78 w 10820"/>
                  <a:gd name="connsiteY2331" fmla="*/ 3838 h 10000"/>
                  <a:gd name="connsiteX2332" fmla="*/ 88 w 10820"/>
                  <a:gd name="connsiteY2332" fmla="*/ 3846 h 10000"/>
                  <a:gd name="connsiteX2333" fmla="*/ 65 w 10820"/>
                  <a:gd name="connsiteY2333" fmla="*/ 3923 h 10000"/>
                  <a:gd name="connsiteX2334" fmla="*/ 78 w 10820"/>
                  <a:gd name="connsiteY2334" fmla="*/ 4026 h 10000"/>
                  <a:gd name="connsiteX2335" fmla="*/ 88 w 10820"/>
                  <a:gd name="connsiteY2335" fmla="*/ 4051 h 10000"/>
                  <a:gd name="connsiteX2336" fmla="*/ 92 w 10820"/>
                  <a:gd name="connsiteY2336" fmla="*/ 4060 h 10000"/>
                  <a:gd name="connsiteX2337" fmla="*/ 111 w 10820"/>
                  <a:gd name="connsiteY2337" fmla="*/ 4060 h 10000"/>
                  <a:gd name="connsiteX2338" fmla="*/ 124 w 10820"/>
                  <a:gd name="connsiteY2338" fmla="*/ 4085 h 10000"/>
                  <a:gd name="connsiteX2339" fmla="*/ 166 w 10820"/>
                  <a:gd name="connsiteY2339" fmla="*/ 4197 h 10000"/>
                  <a:gd name="connsiteX2340" fmla="*/ 166 w 10820"/>
                  <a:gd name="connsiteY2340" fmla="*/ 4248 h 10000"/>
                  <a:gd name="connsiteX2341" fmla="*/ 120 w 10820"/>
                  <a:gd name="connsiteY2341" fmla="*/ 4462 h 10000"/>
                  <a:gd name="connsiteX2342" fmla="*/ 120 w 10820"/>
                  <a:gd name="connsiteY2342" fmla="*/ 4513 h 10000"/>
                  <a:gd name="connsiteX2343" fmla="*/ 180 w 10820"/>
                  <a:gd name="connsiteY2343" fmla="*/ 4829 h 10000"/>
                  <a:gd name="connsiteX2344" fmla="*/ 161 w 10820"/>
                  <a:gd name="connsiteY2344" fmla="*/ 4855 h 10000"/>
                  <a:gd name="connsiteX2345" fmla="*/ 152 w 10820"/>
                  <a:gd name="connsiteY2345" fmla="*/ 4940 h 10000"/>
                  <a:gd name="connsiteX2346" fmla="*/ 161 w 10820"/>
                  <a:gd name="connsiteY2346" fmla="*/ 4966 h 10000"/>
                  <a:gd name="connsiteX2347" fmla="*/ 161 w 10820"/>
                  <a:gd name="connsiteY2347" fmla="*/ 5009 h 10000"/>
                  <a:gd name="connsiteX2348" fmla="*/ 152 w 10820"/>
                  <a:gd name="connsiteY2348" fmla="*/ 5034 h 10000"/>
                  <a:gd name="connsiteX2349" fmla="*/ 152 w 10820"/>
                  <a:gd name="connsiteY2349" fmla="*/ 5077 h 10000"/>
                  <a:gd name="connsiteX2350" fmla="*/ 171 w 10820"/>
                  <a:gd name="connsiteY2350" fmla="*/ 5094 h 10000"/>
                  <a:gd name="connsiteX2351" fmla="*/ 180 w 10820"/>
                  <a:gd name="connsiteY2351" fmla="*/ 5128 h 10000"/>
                  <a:gd name="connsiteX2352" fmla="*/ 180 w 10820"/>
                  <a:gd name="connsiteY2352" fmla="*/ 5171 h 10000"/>
                  <a:gd name="connsiteX2353" fmla="*/ 184 w 10820"/>
                  <a:gd name="connsiteY2353" fmla="*/ 5205 h 10000"/>
                  <a:gd name="connsiteX2354" fmla="*/ 207 w 10820"/>
                  <a:gd name="connsiteY2354" fmla="*/ 5239 h 10000"/>
                  <a:gd name="connsiteX2355" fmla="*/ 207 w 10820"/>
                  <a:gd name="connsiteY2355" fmla="*/ 5282 h 10000"/>
                  <a:gd name="connsiteX2356" fmla="*/ 180 w 10820"/>
                  <a:gd name="connsiteY2356" fmla="*/ 5393 h 10000"/>
                  <a:gd name="connsiteX2357" fmla="*/ 194 w 10820"/>
                  <a:gd name="connsiteY2357" fmla="*/ 5427 h 10000"/>
                  <a:gd name="connsiteX2358" fmla="*/ 198 w 10820"/>
                  <a:gd name="connsiteY2358" fmla="*/ 5462 h 10000"/>
                  <a:gd name="connsiteX2359" fmla="*/ 235 w 10820"/>
                  <a:gd name="connsiteY2359" fmla="*/ 5513 h 10000"/>
                  <a:gd name="connsiteX2360" fmla="*/ 240 w 10820"/>
                  <a:gd name="connsiteY2360" fmla="*/ 5556 h 10000"/>
                  <a:gd name="connsiteX2361" fmla="*/ 253 w 10820"/>
                  <a:gd name="connsiteY2361" fmla="*/ 5590 h 10000"/>
                  <a:gd name="connsiteX2362" fmla="*/ 258 w 10820"/>
                  <a:gd name="connsiteY2362" fmla="*/ 5573 h 10000"/>
                  <a:gd name="connsiteX2363" fmla="*/ 258 w 10820"/>
                  <a:gd name="connsiteY2363" fmla="*/ 5667 h 10000"/>
                  <a:gd name="connsiteX2364" fmla="*/ 14 w 10820"/>
                  <a:gd name="connsiteY2364" fmla="*/ 6214 h 10000"/>
                  <a:gd name="connsiteX2365" fmla="*/ 14 w 10820"/>
                  <a:gd name="connsiteY2365" fmla="*/ 6214 h 10000"/>
                  <a:gd name="connsiteX2366" fmla="*/ 37 w 10820"/>
                  <a:gd name="connsiteY2366" fmla="*/ 6214 h 10000"/>
                  <a:gd name="connsiteX2367" fmla="*/ 51 w 10820"/>
                  <a:gd name="connsiteY2367" fmla="*/ 6188 h 10000"/>
                  <a:gd name="connsiteX2368" fmla="*/ 78 w 10820"/>
                  <a:gd name="connsiteY2368" fmla="*/ 6162 h 10000"/>
                  <a:gd name="connsiteX2369" fmla="*/ 78 w 10820"/>
                  <a:gd name="connsiteY2369" fmla="*/ 6188 h 10000"/>
                  <a:gd name="connsiteX2370" fmla="*/ 74 w 10820"/>
                  <a:gd name="connsiteY2370" fmla="*/ 6197 h 10000"/>
                  <a:gd name="connsiteX2371" fmla="*/ 74 w 10820"/>
                  <a:gd name="connsiteY2371" fmla="*/ 6231 h 10000"/>
                  <a:gd name="connsiteX2372" fmla="*/ 74 w 10820"/>
                  <a:gd name="connsiteY2372" fmla="*/ 6214 h 10000"/>
                  <a:gd name="connsiteX2373" fmla="*/ 65 w 10820"/>
                  <a:gd name="connsiteY2373" fmla="*/ 6214 h 10000"/>
                  <a:gd name="connsiteX2374" fmla="*/ 65 w 10820"/>
                  <a:gd name="connsiteY2374" fmla="*/ 6248 h 10000"/>
                  <a:gd name="connsiteX2375" fmla="*/ 74 w 10820"/>
                  <a:gd name="connsiteY2375" fmla="*/ 6256 h 10000"/>
                  <a:gd name="connsiteX2376" fmla="*/ 78 w 10820"/>
                  <a:gd name="connsiteY2376" fmla="*/ 6256 h 10000"/>
                  <a:gd name="connsiteX2377" fmla="*/ 106 w 10820"/>
                  <a:gd name="connsiteY2377" fmla="*/ 6308 h 10000"/>
                  <a:gd name="connsiteX2378" fmla="*/ 138 w 10820"/>
                  <a:gd name="connsiteY2378" fmla="*/ 6299 h 10000"/>
                  <a:gd name="connsiteX2379" fmla="*/ 152 w 10820"/>
                  <a:gd name="connsiteY2379" fmla="*/ 6299 h 10000"/>
                  <a:gd name="connsiteX2380" fmla="*/ 166 w 10820"/>
                  <a:gd name="connsiteY2380" fmla="*/ 6325 h 10000"/>
                  <a:gd name="connsiteX2381" fmla="*/ 166 w 10820"/>
                  <a:gd name="connsiteY2381" fmla="*/ 6333 h 10000"/>
                  <a:gd name="connsiteX2382" fmla="*/ 171 w 10820"/>
                  <a:gd name="connsiteY2382" fmla="*/ 6350 h 10000"/>
                  <a:gd name="connsiteX2383" fmla="*/ 180 w 10820"/>
                  <a:gd name="connsiteY2383" fmla="*/ 6350 h 10000"/>
                  <a:gd name="connsiteX2384" fmla="*/ 180 w 10820"/>
                  <a:gd name="connsiteY2384" fmla="*/ 6359 h 10000"/>
                  <a:gd name="connsiteX2385" fmla="*/ 171 w 10820"/>
                  <a:gd name="connsiteY2385" fmla="*/ 6368 h 10000"/>
                  <a:gd name="connsiteX2386" fmla="*/ 106 w 10820"/>
                  <a:gd name="connsiteY2386" fmla="*/ 6350 h 10000"/>
                  <a:gd name="connsiteX2387" fmla="*/ 101 w 10820"/>
                  <a:gd name="connsiteY2387" fmla="*/ 6359 h 10000"/>
                  <a:gd name="connsiteX2388" fmla="*/ 101 w 10820"/>
                  <a:gd name="connsiteY2388" fmla="*/ 6385 h 10000"/>
                  <a:gd name="connsiteX2389" fmla="*/ 78 w 10820"/>
                  <a:gd name="connsiteY2389" fmla="*/ 6393 h 10000"/>
                  <a:gd name="connsiteX2390" fmla="*/ 74 w 10820"/>
                  <a:gd name="connsiteY2390" fmla="*/ 6385 h 10000"/>
                  <a:gd name="connsiteX2391" fmla="*/ 65 w 10820"/>
                  <a:gd name="connsiteY2391" fmla="*/ 6393 h 10000"/>
                  <a:gd name="connsiteX2392" fmla="*/ 60 w 10820"/>
                  <a:gd name="connsiteY2392" fmla="*/ 6419 h 10000"/>
                  <a:gd name="connsiteX2393" fmla="*/ 51 w 10820"/>
                  <a:gd name="connsiteY2393" fmla="*/ 6419 h 10000"/>
                  <a:gd name="connsiteX2394" fmla="*/ 46 w 10820"/>
                  <a:gd name="connsiteY2394" fmla="*/ 6410 h 10000"/>
                  <a:gd name="connsiteX2395" fmla="*/ 37 w 10820"/>
                  <a:gd name="connsiteY2395" fmla="*/ 6393 h 10000"/>
                  <a:gd name="connsiteX2396" fmla="*/ 32 w 10820"/>
                  <a:gd name="connsiteY2396" fmla="*/ 6419 h 10000"/>
                  <a:gd name="connsiteX2397" fmla="*/ 37 w 10820"/>
                  <a:gd name="connsiteY2397" fmla="*/ 6462 h 10000"/>
                  <a:gd name="connsiteX2398" fmla="*/ 46 w 10820"/>
                  <a:gd name="connsiteY2398" fmla="*/ 6462 h 10000"/>
                  <a:gd name="connsiteX2399" fmla="*/ 51 w 10820"/>
                  <a:gd name="connsiteY2399" fmla="*/ 6470 h 10000"/>
                  <a:gd name="connsiteX2400" fmla="*/ 51 w 10820"/>
                  <a:gd name="connsiteY2400" fmla="*/ 6496 h 10000"/>
                  <a:gd name="connsiteX2401" fmla="*/ 51 w 10820"/>
                  <a:gd name="connsiteY2401" fmla="*/ 6504 h 10000"/>
                  <a:gd name="connsiteX2402" fmla="*/ 37 w 10820"/>
                  <a:gd name="connsiteY2402" fmla="*/ 6530 h 10000"/>
                  <a:gd name="connsiteX2403" fmla="*/ 18 w 10820"/>
                  <a:gd name="connsiteY2403" fmla="*/ 6598 h 10000"/>
                  <a:gd name="connsiteX2404" fmla="*/ 28 w 10820"/>
                  <a:gd name="connsiteY2404" fmla="*/ 6632 h 10000"/>
                  <a:gd name="connsiteX2405" fmla="*/ 18 w 10820"/>
                  <a:gd name="connsiteY2405" fmla="*/ 6667 h 10000"/>
                  <a:gd name="connsiteX2406" fmla="*/ 28 w 10820"/>
                  <a:gd name="connsiteY2406" fmla="*/ 6692 h 10000"/>
                  <a:gd name="connsiteX2407" fmla="*/ 28 w 10820"/>
                  <a:gd name="connsiteY2407" fmla="*/ 6709 h 10000"/>
                  <a:gd name="connsiteX2408" fmla="*/ 18 w 10820"/>
                  <a:gd name="connsiteY2408" fmla="*/ 6718 h 10000"/>
                  <a:gd name="connsiteX2409" fmla="*/ 5 w 10820"/>
                  <a:gd name="connsiteY2409" fmla="*/ 6744 h 10000"/>
                  <a:gd name="connsiteX2410" fmla="*/ 0 w 10820"/>
                  <a:gd name="connsiteY2410" fmla="*/ 6769 h 10000"/>
                  <a:gd name="connsiteX2411" fmla="*/ 5 w 10820"/>
                  <a:gd name="connsiteY2411" fmla="*/ 6778 h 10000"/>
                  <a:gd name="connsiteX2412" fmla="*/ 32 w 10820"/>
                  <a:gd name="connsiteY2412" fmla="*/ 6778 h 10000"/>
                  <a:gd name="connsiteX2413" fmla="*/ 46 w 10820"/>
                  <a:gd name="connsiteY2413" fmla="*/ 6821 h 10000"/>
                  <a:gd name="connsiteX2414" fmla="*/ 46 w 10820"/>
                  <a:gd name="connsiteY2414" fmla="*/ 6855 h 10000"/>
                  <a:gd name="connsiteX2415" fmla="*/ 32 w 10820"/>
                  <a:gd name="connsiteY2415" fmla="*/ 6855 h 10000"/>
                  <a:gd name="connsiteX2416" fmla="*/ 14 w 10820"/>
                  <a:gd name="connsiteY2416" fmla="*/ 6821 h 10000"/>
                  <a:gd name="connsiteX2417" fmla="*/ 14 w 10820"/>
                  <a:gd name="connsiteY2417" fmla="*/ 6846 h 10000"/>
                  <a:gd name="connsiteX2418" fmla="*/ 0 w 10820"/>
                  <a:gd name="connsiteY2418" fmla="*/ 6897 h 10000"/>
                  <a:gd name="connsiteX2419" fmla="*/ 0 w 10820"/>
                  <a:gd name="connsiteY2419" fmla="*/ 6915 h 10000"/>
                  <a:gd name="connsiteX2420" fmla="*/ 5 w 10820"/>
                  <a:gd name="connsiteY2420" fmla="*/ 6932 h 10000"/>
                  <a:gd name="connsiteX2421" fmla="*/ 14 w 10820"/>
                  <a:gd name="connsiteY2421" fmla="*/ 6940 h 10000"/>
                  <a:gd name="connsiteX2422" fmla="*/ 18 w 10820"/>
                  <a:gd name="connsiteY2422" fmla="*/ 6957 h 10000"/>
                  <a:gd name="connsiteX2423" fmla="*/ 28 w 10820"/>
                  <a:gd name="connsiteY2423" fmla="*/ 6966 h 10000"/>
                  <a:gd name="connsiteX2424" fmla="*/ 28 w 10820"/>
                  <a:gd name="connsiteY2424" fmla="*/ 6983 h 10000"/>
                  <a:gd name="connsiteX2425" fmla="*/ 18 w 10820"/>
                  <a:gd name="connsiteY2425" fmla="*/ 7051 h 10000"/>
                  <a:gd name="connsiteX2426" fmla="*/ 28 w 10820"/>
                  <a:gd name="connsiteY2426" fmla="*/ 7068 h 10000"/>
                  <a:gd name="connsiteX2427" fmla="*/ 32 w 10820"/>
                  <a:gd name="connsiteY2427" fmla="*/ 7068 h 10000"/>
                  <a:gd name="connsiteX2428" fmla="*/ 32 w 10820"/>
                  <a:gd name="connsiteY2428" fmla="*/ 7094 h 10000"/>
                  <a:gd name="connsiteX2429" fmla="*/ 60 w 10820"/>
                  <a:gd name="connsiteY2429" fmla="*/ 7162 h 10000"/>
                  <a:gd name="connsiteX2430" fmla="*/ 60 w 10820"/>
                  <a:gd name="connsiteY2430" fmla="*/ 7231 h 10000"/>
                  <a:gd name="connsiteX2431" fmla="*/ 60 w 10820"/>
                  <a:gd name="connsiteY2431" fmla="*/ 7239 h 10000"/>
                  <a:gd name="connsiteX2432" fmla="*/ 78 w 10820"/>
                  <a:gd name="connsiteY2432" fmla="*/ 7239 h 10000"/>
                  <a:gd name="connsiteX2433" fmla="*/ 88 w 10820"/>
                  <a:gd name="connsiteY2433" fmla="*/ 7239 h 10000"/>
                  <a:gd name="connsiteX2434" fmla="*/ 92 w 10820"/>
                  <a:gd name="connsiteY2434" fmla="*/ 7256 h 10000"/>
                  <a:gd name="connsiteX2435" fmla="*/ 111 w 10820"/>
                  <a:gd name="connsiteY2435" fmla="*/ 7256 h 10000"/>
                  <a:gd name="connsiteX2436" fmla="*/ 120 w 10820"/>
                  <a:gd name="connsiteY2436" fmla="*/ 7256 h 10000"/>
                  <a:gd name="connsiteX2437" fmla="*/ 134 w 10820"/>
                  <a:gd name="connsiteY2437" fmla="*/ 7282 h 10000"/>
                  <a:gd name="connsiteX2438" fmla="*/ 134 w 10820"/>
                  <a:gd name="connsiteY2438" fmla="*/ 7316 h 10000"/>
                  <a:gd name="connsiteX2439" fmla="*/ 152 w 10820"/>
                  <a:gd name="connsiteY2439" fmla="*/ 7299 h 10000"/>
                  <a:gd name="connsiteX2440" fmla="*/ 161 w 10820"/>
                  <a:gd name="connsiteY2440" fmla="*/ 7299 h 10000"/>
                  <a:gd name="connsiteX2441" fmla="*/ 166 w 10820"/>
                  <a:gd name="connsiteY2441" fmla="*/ 7291 h 10000"/>
                  <a:gd name="connsiteX2442" fmla="*/ 194 w 10820"/>
                  <a:gd name="connsiteY2442" fmla="*/ 7291 h 10000"/>
                  <a:gd name="connsiteX2443" fmla="*/ 207 w 10820"/>
                  <a:gd name="connsiteY2443" fmla="*/ 7299 h 10000"/>
                  <a:gd name="connsiteX2444" fmla="*/ 221 w 10820"/>
                  <a:gd name="connsiteY2444" fmla="*/ 7342 h 10000"/>
                  <a:gd name="connsiteX2445" fmla="*/ 235 w 10820"/>
                  <a:gd name="connsiteY2445" fmla="*/ 7342 h 10000"/>
                  <a:gd name="connsiteX2446" fmla="*/ 235 w 10820"/>
                  <a:gd name="connsiteY2446" fmla="*/ 7368 h 10000"/>
                  <a:gd name="connsiteX2447" fmla="*/ 226 w 10820"/>
                  <a:gd name="connsiteY2447" fmla="*/ 7393 h 10000"/>
                  <a:gd name="connsiteX2448" fmla="*/ 226 w 10820"/>
                  <a:gd name="connsiteY2448" fmla="*/ 7402 h 10000"/>
                  <a:gd name="connsiteX2449" fmla="*/ 235 w 10820"/>
                  <a:gd name="connsiteY2449" fmla="*/ 7419 h 10000"/>
                  <a:gd name="connsiteX2450" fmla="*/ 240 w 10820"/>
                  <a:gd name="connsiteY2450" fmla="*/ 7436 h 10000"/>
                  <a:gd name="connsiteX2451" fmla="*/ 235 w 10820"/>
                  <a:gd name="connsiteY2451" fmla="*/ 7462 h 10000"/>
                  <a:gd name="connsiteX2452" fmla="*/ 226 w 10820"/>
                  <a:gd name="connsiteY2452" fmla="*/ 7479 h 10000"/>
                  <a:gd name="connsiteX2453" fmla="*/ 226 w 10820"/>
                  <a:gd name="connsiteY2453" fmla="*/ 7504 h 10000"/>
                  <a:gd name="connsiteX2454" fmla="*/ 226 w 10820"/>
                  <a:gd name="connsiteY2454" fmla="*/ 7513 h 10000"/>
                  <a:gd name="connsiteX2455" fmla="*/ 240 w 10820"/>
                  <a:gd name="connsiteY2455" fmla="*/ 7538 h 10000"/>
                  <a:gd name="connsiteX2456" fmla="*/ 267 w 10820"/>
                  <a:gd name="connsiteY2456" fmla="*/ 7641 h 10000"/>
                  <a:gd name="connsiteX2457" fmla="*/ 281 w 10820"/>
                  <a:gd name="connsiteY2457" fmla="*/ 7667 h 10000"/>
                  <a:gd name="connsiteX2458" fmla="*/ 286 w 10820"/>
                  <a:gd name="connsiteY2458" fmla="*/ 7675 h 10000"/>
                  <a:gd name="connsiteX2459" fmla="*/ 286 w 10820"/>
                  <a:gd name="connsiteY2459" fmla="*/ 7692 h 10000"/>
                  <a:gd name="connsiteX2460" fmla="*/ 286 w 10820"/>
                  <a:gd name="connsiteY2460" fmla="*/ 7709 h 10000"/>
                  <a:gd name="connsiteX2461" fmla="*/ 295 w 10820"/>
                  <a:gd name="connsiteY2461" fmla="*/ 7726 h 10000"/>
                  <a:gd name="connsiteX2462" fmla="*/ 318 w 10820"/>
                  <a:gd name="connsiteY2462" fmla="*/ 7709 h 10000"/>
                  <a:gd name="connsiteX2463" fmla="*/ 327 w 10820"/>
                  <a:gd name="connsiteY2463" fmla="*/ 7726 h 10000"/>
                  <a:gd name="connsiteX2464" fmla="*/ 341 w 10820"/>
                  <a:gd name="connsiteY2464" fmla="*/ 7735 h 10000"/>
                  <a:gd name="connsiteX2465" fmla="*/ 332 w 10820"/>
                  <a:gd name="connsiteY2465" fmla="*/ 7752 h 10000"/>
                  <a:gd name="connsiteX2466" fmla="*/ 341 w 10820"/>
                  <a:gd name="connsiteY2466" fmla="*/ 7761 h 10000"/>
                  <a:gd name="connsiteX2467" fmla="*/ 355 w 10820"/>
                  <a:gd name="connsiteY2467" fmla="*/ 7761 h 10000"/>
                  <a:gd name="connsiteX2468" fmla="*/ 355 w 10820"/>
                  <a:gd name="connsiteY2468" fmla="*/ 7803 h 10000"/>
                  <a:gd name="connsiteX2469" fmla="*/ 313 w 10820"/>
                  <a:gd name="connsiteY2469" fmla="*/ 7846 h 10000"/>
                  <a:gd name="connsiteX2470" fmla="*/ 295 w 10820"/>
                  <a:gd name="connsiteY2470" fmla="*/ 7846 h 10000"/>
                  <a:gd name="connsiteX2471" fmla="*/ 281 w 10820"/>
                  <a:gd name="connsiteY2471" fmla="*/ 7821 h 10000"/>
                  <a:gd name="connsiteX2472" fmla="*/ 272 w 10820"/>
                  <a:gd name="connsiteY2472" fmla="*/ 7821 h 10000"/>
                  <a:gd name="connsiteX2473" fmla="*/ 267 w 10820"/>
                  <a:gd name="connsiteY2473" fmla="*/ 7838 h 10000"/>
                  <a:gd name="connsiteX2474" fmla="*/ 258 w 10820"/>
                  <a:gd name="connsiteY2474" fmla="*/ 7846 h 10000"/>
                  <a:gd name="connsiteX2475" fmla="*/ 253 w 10820"/>
                  <a:gd name="connsiteY2475" fmla="*/ 7863 h 10000"/>
                  <a:gd name="connsiteX2476" fmla="*/ 253 w 10820"/>
                  <a:gd name="connsiteY2476" fmla="*/ 7872 h 10000"/>
                  <a:gd name="connsiteX2477" fmla="*/ 267 w 10820"/>
                  <a:gd name="connsiteY2477" fmla="*/ 7897 h 10000"/>
                  <a:gd name="connsiteX2478" fmla="*/ 272 w 10820"/>
                  <a:gd name="connsiteY2478" fmla="*/ 7915 h 10000"/>
                  <a:gd name="connsiteX2479" fmla="*/ 267 w 10820"/>
                  <a:gd name="connsiteY2479" fmla="*/ 7940 h 10000"/>
                  <a:gd name="connsiteX2480" fmla="*/ 272 w 10820"/>
                  <a:gd name="connsiteY2480" fmla="*/ 7949 h 10000"/>
                  <a:gd name="connsiteX2481" fmla="*/ 272 w 10820"/>
                  <a:gd name="connsiteY2481" fmla="*/ 7957 h 10000"/>
                  <a:gd name="connsiteX2482" fmla="*/ 281 w 10820"/>
                  <a:gd name="connsiteY2482" fmla="*/ 7974 h 10000"/>
                  <a:gd name="connsiteX2483" fmla="*/ 286 w 10820"/>
                  <a:gd name="connsiteY2483" fmla="*/ 7983 h 10000"/>
                  <a:gd name="connsiteX2484" fmla="*/ 281 w 10820"/>
                  <a:gd name="connsiteY2484" fmla="*/ 8009 h 10000"/>
                  <a:gd name="connsiteX2485" fmla="*/ 286 w 10820"/>
                  <a:gd name="connsiteY2485" fmla="*/ 8060 h 10000"/>
                  <a:gd name="connsiteX2486" fmla="*/ 286 w 10820"/>
                  <a:gd name="connsiteY2486" fmla="*/ 8060 h 10000"/>
                  <a:gd name="connsiteX2487" fmla="*/ 295 w 10820"/>
                  <a:gd name="connsiteY2487" fmla="*/ 8077 h 10000"/>
                  <a:gd name="connsiteX2488" fmla="*/ 309 w 10820"/>
                  <a:gd name="connsiteY2488" fmla="*/ 8077 h 10000"/>
                  <a:gd name="connsiteX2489" fmla="*/ 313 w 10820"/>
                  <a:gd name="connsiteY2489" fmla="*/ 8060 h 10000"/>
                  <a:gd name="connsiteX2490" fmla="*/ 318 w 10820"/>
                  <a:gd name="connsiteY2490" fmla="*/ 8051 h 10000"/>
                  <a:gd name="connsiteX2491" fmla="*/ 318 w 10820"/>
                  <a:gd name="connsiteY2491" fmla="*/ 8034 h 10000"/>
                  <a:gd name="connsiteX2492" fmla="*/ 332 w 10820"/>
                  <a:gd name="connsiteY2492" fmla="*/ 8026 h 10000"/>
                  <a:gd name="connsiteX2493" fmla="*/ 359 w 10820"/>
                  <a:gd name="connsiteY2493" fmla="*/ 8034 h 10000"/>
                  <a:gd name="connsiteX2494" fmla="*/ 378 w 10820"/>
                  <a:gd name="connsiteY2494" fmla="*/ 8026 h 10000"/>
                  <a:gd name="connsiteX2495" fmla="*/ 401 w 10820"/>
                  <a:gd name="connsiteY2495" fmla="*/ 8026 h 10000"/>
                  <a:gd name="connsiteX2496" fmla="*/ 419 w 10820"/>
                  <a:gd name="connsiteY2496" fmla="*/ 8009 h 10000"/>
                  <a:gd name="connsiteX2497" fmla="*/ 433 w 10820"/>
                  <a:gd name="connsiteY2497" fmla="*/ 8034 h 10000"/>
                  <a:gd name="connsiteX2498" fmla="*/ 442 w 10820"/>
                  <a:gd name="connsiteY2498" fmla="*/ 8060 h 10000"/>
                  <a:gd name="connsiteX2499" fmla="*/ 442 w 10820"/>
                  <a:gd name="connsiteY2499" fmla="*/ 8077 h 10000"/>
                  <a:gd name="connsiteX2500" fmla="*/ 461 w 10820"/>
                  <a:gd name="connsiteY2500" fmla="*/ 8111 h 10000"/>
                  <a:gd name="connsiteX2501" fmla="*/ 461 w 10820"/>
                  <a:gd name="connsiteY2501" fmla="*/ 8137 h 10000"/>
                  <a:gd name="connsiteX2502" fmla="*/ 447 w 10820"/>
                  <a:gd name="connsiteY2502" fmla="*/ 8145 h 10000"/>
                  <a:gd name="connsiteX2503" fmla="*/ 442 w 10820"/>
                  <a:gd name="connsiteY2503" fmla="*/ 8145 h 10000"/>
                  <a:gd name="connsiteX2504" fmla="*/ 442 w 10820"/>
                  <a:gd name="connsiteY2504" fmla="*/ 8162 h 10000"/>
                  <a:gd name="connsiteX2505" fmla="*/ 442 w 10820"/>
                  <a:gd name="connsiteY2505" fmla="*/ 8171 h 10000"/>
                  <a:gd name="connsiteX2506" fmla="*/ 447 w 10820"/>
                  <a:gd name="connsiteY2506" fmla="*/ 8214 h 10000"/>
                  <a:gd name="connsiteX2507" fmla="*/ 465 w 10820"/>
                  <a:gd name="connsiteY2507" fmla="*/ 8231 h 10000"/>
                  <a:gd name="connsiteX2508" fmla="*/ 488 w 10820"/>
                  <a:gd name="connsiteY2508" fmla="*/ 8231 h 10000"/>
                  <a:gd name="connsiteX2509" fmla="*/ 493 w 10820"/>
                  <a:gd name="connsiteY2509" fmla="*/ 8231 h 10000"/>
                  <a:gd name="connsiteX2510" fmla="*/ 502 w 10820"/>
                  <a:gd name="connsiteY2510" fmla="*/ 8231 h 10000"/>
                  <a:gd name="connsiteX2511" fmla="*/ 507 w 10820"/>
                  <a:gd name="connsiteY2511" fmla="*/ 8248 h 10000"/>
                  <a:gd name="connsiteX2512" fmla="*/ 521 w 10820"/>
                  <a:gd name="connsiteY2512" fmla="*/ 8274 h 10000"/>
                  <a:gd name="connsiteX2513" fmla="*/ 525 w 10820"/>
                  <a:gd name="connsiteY2513" fmla="*/ 8333 h 10000"/>
                  <a:gd name="connsiteX2514" fmla="*/ 525 w 10820"/>
                  <a:gd name="connsiteY2514" fmla="*/ 8359 h 10000"/>
                  <a:gd name="connsiteX2515" fmla="*/ 525 w 10820"/>
                  <a:gd name="connsiteY2515" fmla="*/ 8368 h 10000"/>
                  <a:gd name="connsiteX2516" fmla="*/ 548 w 10820"/>
                  <a:gd name="connsiteY2516" fmla="*/ 8393 h 10000"/>
                  <a:gd name="connsiteX2517" fmla="*/ 553 w 10820"/>
                  <a:gd name="connsiteY2517" fmla="*/ 8385 h 10000"/>
                  <a:gd name="connsiteX2518" fmla="*/ 562 w 10820"/>
                  <a:gd name="connsiteY2518" fmla="*/ 8385 h 10000"/>
                  <a:gd name="connsiteX2519" fmla="*/ 576 w 10820"/>
                  <a:gd name="connsiteY2519" fmla="*/ 8385 h 10000"/>
                  <a:gd name="connsiteX2520" fmla="*/ 585 w 10820"/>
                  <a:gd name="connsiteY2520" fmla="*/ 8410 h 10000"/>
                  <a:gd name="connsiteX2521" fmla="*/ 594 w 10820"/>
                  <a:gd name="connsiteY2521" fmla="*/ 8410 h 10000"/>
                  <a:gd name="connsiteX2522" fmla="*/ 608 w 10820"/>
                  <a:gd name="connsiteY2522" fmla="*/ 8410 h 10000"/>
                  <a:gd name="connsiteX2523" fmla="*/ 654 w 10820"/>
                  <a:gd name="connsiteY2523" fmla="*/ 8385 h 10000"/>
                  <a:gd name="connsiteX2524" fmla="*/ 659 w 10820"/>
                  <a:gd name="connsiteY2524" fmla="*/ 8385 h 10000"/>
                  <a:gd name="connsiteX2525" fmla="*/ 696 w 10820"/>
                  <a:gd name="connsiteY2525" fmla="*/ 8470 h 10000"/>
                  <a:gd name="connsiteX2526" fmla="*/ 700 w 10820"/>
                  <a:gd name="connsiteY2526" fmla="*/ 8470 h 10000"/>
                  <a:gd name="connsiteX2527" fmla="*/ 710 w 10820"/>
                  <a:gd name="connsiteY2527" fmla="*/ 8462 h 10000"/>
                  <a:gd name="connsiteX2528" fmla="*/ 714 w 10820"/>
                  <a:gd name="connsiteY2528" fmla="*/ 8462 h 10000"/>
                  <a:gd name="connsiteX2529" fmla="*/ 724 w 10820"/>
                  <a:gd name="connsiteY2529" fmla="*/ 8470 h 10000"/>
                  <a:gd name="connsiteX2530" fmla="*/ 733 w 10820"/>
                  <a:gd name="connsiteY2530" fmla="*/ 8470 h 10000"/>
                  <a:gd name="connsiteX2531" fmla="*/ 742 w 10820"/>
                  <a:gd name="connsiteY2531" fmla="*/ 8487 h 10000"/>
                  <a:gd name="connsiteX2532" fmla="*/ 747 w 10820"/>
                  <a:gd name="connsiteY2532" fmla="*/ 8496 h 10000"/>
                  <a:gd name="connsiteX2533" fmla="*/ 770 w 10820"/>
                  <a:gd name="connsiteY2533" fmla="*/ 8496 h 10000"/>
                  <a:gd name="connsiteX2534" fmla="*/ 783 w 10820"/>
                  <a:gd name="connsiteY2534" fmla="*/ 8521 h 10000"/>
                  <a:gd name="connsiteX2535" fmla="*/ 797 w 10820"/>
                  <a:gd name="connsiteY2535" fmla="*/ 8521 h 10000"/>
                  <a:gd name="connsiteX2536" fmla="*/ 806 w 10820"/>
                  <a:gd name="connsiteY2536" fmla="*/ 8530 h 10000"/>
                  <a:gd name="connsiteX2537" fmla="*/ 829 w 10820"/>
                  <a:gd name="connsiteY2537" fmla="*/ 8547 h 10000"/>
                  <a:gd name="connsiteX2538" fmla="*/ 834 w 10820"/>
                  <a:gd name="connsiteY2538" fmla="*/ 8556 h 10000"/>
                  <a:gd name="connsiteX2539" fmla="*/ 829 w 10820"/>
                  <a:gd name="connsiteY2539" fmla="*/ 8556 h 10000"/>
                  <a:gd name="connsiteX2540" fmla="*/ 834 w 10820"/>
                  <a:gd name="connsiteY2540" fmla="*/ 8607 h 10000"/>
                  <a:gd name="connsiteX2541" fmla="*/ 829 w 10820"/>
                  <a:gd name="connsiteY2541" fmla="*/ 8641 h 10000"/>
                  <a:gd name="connsiteX2542" fmla="*/ 806 w 10820"/>
                  <a:gd name="connsiteY2542" fmla="*/ 8658 h 10000"/>
                  <a:gd name="connsiteX2543" fmla="*/ 816 w 10820"/>
                  <a:gd name="connsiteY2543" fmla="*/ 8667 h 10000"/>
                  <a:gd name="connsiteX2544" fmla="*/ 820 w 10820"/>
                  <a:gd name="connsiteY2544" fmla="*/ 8667 h 10000"/>
                  <a:gd name="connsiteX2545" fmla="*/ 829 w 10820"/>
                  <a:gd name="connsiteY2545" fmla="*/ 8684 h 10000"/>
                  <a:gd name="connsiteX2546" fmla="*/ 806 w 10820"/>
                  <a:gd name="connsiteY2546" fmla="*/ 8692 h 10000"/>
                  <a:gd name="connsiteX2547" fmla="*/ 802 w 10820"/>
                  <a:gd name="connsiteY2547" fmla="*/ 8709 h 10000"/>
                  <a:gd name="connsiteX2548" fmla="*/ 802 w 10820"/>
                  <a:gd name="connsiteY2548" fmla="*/ 8735 h 10000"/>
                  <a:gd name="connsiteX2549" fmla="*/ 806 w 10820"/>
                  <a:gd name="connsiteY2549" fmla="*/ 8744 h 10000"/>
                  <a:gd name="connsiteX2550" fmla="*/ 816 w 10820"/>
                  <a:gd name="connsiteY2550" fmla="*/ 8752 h 10000"/>
                  <a:gd name="connsiteX2551" fmla="*/ 806 w 10820"/>
                  <a:gd name="connsiteY2551" fmla="*/ 8778 h 10000"/>
                  <a:gd name="connsiteX2552" fmla="*/ 820 w 10820"/>
                  <a:gd name="connsiteY2552" fmla="*/ 8778 h 10000"/>
                  <a:gd name="connsiteX2553" fmla="*/ 806 w 10820"/>
                  <a:gd name="connsiteY2553" fmla="*/ 8880 h 10000"/>
                  <a:gd name="connsiteX2554" fmla="*/ 797 w 10820"/>
                  <a:gd name="connsiteY2554" fmla="*/ 8880 h 10000"/>
                  <a:gd name="connsiteX2555" fmla="*/ 783 w 10820"/>
                  <a:gd name="connsiteY2555" fmla="*/ 8872 h 10000"/>
                  <a:gd name="connsiteX2556" fmla="*/ 770 w 10820"/>
                  <a:gd name="connsiteY2556" fmla="*/ 8880 h 10000"/>
                  <a:gd name="connsiteX2557" fmla="*/ 756 w 10820"/>
                  <a:gd name="connsiteY2557" fmla="*/ 8855 h 10000"/>
                  <a:gd name="connsiteX2558" fmla="*/ 733 w 10820"/>
                  <a:gd name="connsiteY2558" fmla="*/ 8906 h 10000"/>
                  <a:gd name="connsiteX2559" fmla="*/ 714 w 10820"/>
                  <a:gd name="connsiteY2559" fmla="*/ 8915 h 10000"/>
                  <a:gd name="connsiteX2560" fmla="*/ 710 w 10820"/>
                  <a:gd name="connsiteY2560" fmla="*/ 8940 h 10000"/>
                  <a:gd name="connsiteX2561" fmla="*/ 710 w 10820"/>
                  <a:gd name="connsiteY2561" fmla="*/ 9009 h 10000"/>
                  <a:gd name="connsiteX2562" fmla="*/ 728 w 10820"/>
                  <a:gd name="connsiteY2562" fmla="*/ 8991 h 10000"/>
                  <a:gd name="connsiteX2563" fmla="*/ 733 w 10820"/>
                  <a:gd name="connsiteY2563" fmla="*/ 8991 h 10000"/>
                  <a:gd name="connsiteX2564" fmla="*/ 747 w 10820"/>
                  <a:gd name="connsiteY2564" fmla="*/ 8983 h 10000"/>
                  <a:gd name="connsiteX2565" fmla="*/ 760 w 10820"/>
                  <a:gd name="connsiteY2565" fmla="*/ 8983 h 10000"/>
                  <a:gd name="connsiteX2566" fmla="*/ 770 w 10820"/>
                  <a:gd name="connsiteY2566" fmla="*/ 8983 h 10000"/>
                  <a:gd name="connsiteX2567" fmla="*/ 770 w 10820"/>
                  <a:gd name="connsiteY2567" fmla="*/ 8991 h 10000"/>
                  <a:gd name="connsiteX2568" fmla="*/ 783 w 10820"/>
                  <a:gd name="connsiteY2568" fmla="*/ 8991 h 10000"/>
                  <a:gd name="connsiteX2569" fmla="*/ 783 w 10820"/>
                  <a:gd name="connsiteY2569" fmla="*/ 9009 h 10000"/>
                  <a:gd name="connsiteX2570" fmla="*/ 783 w 10820"/>
                  <a:gd name="connsiteY2570" fmla="*/ 9017 h 10000"/>
                  <a:gd name="connsiteX2571" fmla="*/ 770 w 10820"/>
                  <a:gd name="connsiteY2571" fmla="*/ 9017 h 10000"/>
                  <a:gd name="connsiteX2572" fmla="*/ 724 w 10820"/>
                  <a:gd name="connsiteY2572" fmla="*/ 9051 h 10000"/>
                  <a:gd name="connsiteX2573" fmla="*/ 724 w 10820"/>
                  <a:gd name="connsiteY2573" fmla="*/ 9068 h 10000"/>
                  <a:gd name="connsiteX2574" fmla="*/ 728 w 10820"/>
                  <a:gd name="connsiteY2574" fmla="*/ 9077 h 10000"/>
                  <a:gd name="connsiteX2575" fmla="*/ 724 w 10820"/>
                  <a:gd name="connsiteY2575" fmla="*/ 9077 h 10000"/>
                  <a:gd name="connsiteX2576" fmla="*/ 710 w 10820"/>
                  <a:gd name="connsiteY2576" fmla="*/ 9077 h 10000"/>
                  <a:gd name="connsiteX2577" fmla="*/ 682 w 10820"/>
                  <a:gd name="connsiteY2577" fmla="*/ 9077 h 10000"/>
                  <a:gd name="connsiteX2578" fmla="*/ 673 w 10820"/>
                  <a:gd name="connsiteY2578" fmla="*/ 9103 h 10000"/>
                  <a:gd name="connsiteX2579" fmla="*/ 687 w 10820"/>
                  <a:gd name="connsiteY2579" fmla="*/ 9128 h 10000"/>
                  <a:gd name="connsiteX2580" fmla="*/ 700 w 10820"/>
                  <a:gd name="connsiteY2580" fmla="*/ 9128 h 10000"/>
                  <a:gd name="connsiteX2581" fmla="*/ 728 w 10820"/>
                  <a:gd name="connsiteY2581" fmla="*/ 9179 h 10000"/>
                  <a:gd name="connsiteX2582" fmla="*/ 724 w 10820"/>
                  <a:gd name="connsiteY2582" fmla="*/ 9188 h 10000"/>
                  <a:gd name="connsiteX2583" fmla="*/ 710 w 10820"/>
                  <a:gd name="connsiteY2583" fmla="*/ 9179 h 10000"/>
                  <a:gd name="connsiteX2584" fmla="*/ 700 w 10820"/>
                  <a:gd name="connsiteY2584" fmla="*/ 9205 h 10000"/>
                  <a:gd name="connsiteX2585" fmla="*/ 696 w 10820"/>
                  <a:gd name="connsiteY2585" fmla="*/ 9205 h 10000"/>
                  <a:gd name="connsiteX2586" fmla="*/ 654 w 10820"/>
                  <a:gd name="connsiteY2586" fmla="*/ 9299 h 10000"/>
                  <a:gd name="connsiteX2587" fmla="*/ 622 w 10820"/>
                  <a:gd name="connsiteY2587" fmla="*/ 9299 h 10000"/>
                  <a:gd name="connsiteX2588" fmla="*/ 613 w 10820"/>
                  <a:gd name="connsiteY2588" fmla="*/ 9316 h 10000"/>
                  <a:gd name="connsiteX2589" fmla="*/ 613 w 10820"/>
                  <a:gd name="connsiteY2589" fmla="*/ 9325 h 10000"/>
                  <a:gd name="connsiteX2590" fmla="*/ 608 w 10820"/>
                  <a:gd name="connsiteY2590" fmla="*/ 9342 h 10000"/>
                  <a:gd name="connsiteX2591" fmla="*/ 636 w 10820"/>
                  <a:gd name="connsiteY2591" fmla="*/ 9376 h 10000"/>
                  <a:gd name="connsiteX2592" fmla="*/ 641 w 10820"/>
                  <a:gd name="connsiteY2592" fmla="*/ 9402 h 10000"/>
                  <a:gd name="connsiteX2593" fmla="*/ 654 w 10820"/>
                  <a:gd name="connsiteY2593" fmla="*/ 9427 h 10000"/>
                  <a:gd name="connsiteX2594" fmla="*/ 668 w 10820"/>
                  <a:gd name="connsiteY2594" fmla="*/ 9427 h 10000"/>
                  <a:gd name="connsiteX2595" fmla="*/ 668 w 10820"/>
                  <a:gd name="connsiteY2595" fmla="*/ 9427 h 10000"/>
                  <a:gd name="connsiteX2596" fmla="*/ 774 w 10820"/>
                  <a:gd name="connsiteY2596" fmla="*/ 9547 h 10000"/>
                  <a:gd name="connsiteX2597" fmla="*/ 797 w 10820"/>
                  <a:gd name="connsiteY2597" fmla="*/ 9598 h 10000"/>
                  <a:gd name="connsiteX2598" fmla="*/ 802 w 10820"/>
                  <a:gd name="connsiteY2598" fmla="*/ 9598 h 10000"/>
                  <a:gd name="connsiteX2599" fmla="*/ 816 w 10820"/>
                  <a:gd name="connsiteY2599" fmla="*/ 9624 h 10000"/>
                  <a:gd name="connsiteX2600" fmla="*/ 843 w 10820"/>
                  <a:gd name="connsiteY2600" fmla="*/ 9615 h 10000"/>
                  <a:gd name="connsiteX2601" fmla="*/ 857 w 10820"/>
                  <a:gd name="connsiteY2601" fmla="*/ 9624 h 10000"/>
                  <a:gd name="connsiteX2602" fmla="*/ 862 w 10820"/>
                  <a:gd name="connsiteY2602" fmla="*/ 9615 h 10000"/>
                  <a:gd name="connsiteX2603" fmla="*/ 880 w 10820"/>
                  <a:gd name="connsiteY2603" fmla="*/ 9624 h 10000"/>
                  <a:gd name="connsiteX2604" fmla="*/ 889 w 10820"/>
                  <a:gd name="connsiteY2604" fmla="*/ 9641 h 10000"/>
                  <a:gd name="connsiteX2605" fmla="*/ 935 w 10820"/>
                  <a:gd name="connsiteY2605" fmla="*/ 9675 h 10000"/>
                  <a:gd name="connsiteX2606" fmla="*/ 977 w 10820"/>
                  <a:gd name="connsiteY2606" fmla="*/ 9667 h 10000"/>
                  <a:gd name="connsiteX2607" fmla="*/ 995 w 10820"/>
                  <a:gd name="connsiteY2607" fmla="*/ 9675 h 10000"/>
                  <a:gd name="connsiteX2608" fmla="*/ 1014 w 10820"/>
                  <a:gd name="connsiteY2608" fmla="*/ 9675 h 10000"/>
                  <a:gd name="connsiteX2609" fmla="*/ 1069 w 10820"/>
                  <a:gd name="connsiteY2609" fmla="*/ 9752 h 10000"/>
                  <a:gd name="connsiteX2610" fmla="*/ 1074 w 10820"/>
                  <a:gd name="connsiteY2610" fmla="*/ 9761 h 10000"/>
                  <a:gd name="connsiteX2611" fmla="*/ 1083 w 10820"/>
                  <a:gd name="connsiteY2611" fmla="*/ 9778 h 10000"/>
                  <a:gd name="connsiteX2612" fmla="*/ 1115 w 10820"/>
                  <a:gd name="connsiteY2612" fmla="*/ 9752 h 10000"/>
                  <a:gd name="connsiteX2613" fmla="*/ 1129 w 10820"/>
                  <a:gd name="connsiteY2613" fmla="*/ 9752 h 10000"/>
                  <a:gd name="connsiteX2614" fmla="*/ 1138 w 10820"/>
                  <a:gd name="connsiteY2614" fmla="*/ 9761 h 10000"/>
                  <a:gd name="connsiteX2615" fmla="*/ 1143 w 10820"/>
                  <a:gd name="connsiteY2615" fmla="*/ 9752 h 10000"/>
                  <a:gd name="connsiteX2616" fmla="*/ 1161 w 10820"/>
                  <a:gd name="connsiteY2616" fmla="*/ 9761 h 10000"/>
                  <a:gd name="connsiteX2617" fmla="*/ 1171 w 10820"/>
                  <a:gd name="connsiteY2617" fmla="*/ 9778 h 10000"/>
                  <a:gd name="connsiteX2618" fmla="*/ 1175 w 10820"/>
                  <a:gd name="connsiteY2618" fmla="*/ 9778 h 10000"/>
                  <a:gd name="connsiteX2619" fmla="*/ 1189 w 10820"/>
                  <a:gd name="connsiteY2619" fmla="*/ 9778 h 10000"/>
                  <a:gd name="connsiteX2620" fmla="*/ 1198 w 10820"/>
                  <a:gd name="connsiteY2620" fmla="*/ 9786 h 10000"/>
                  <a:gd name="connsiteX2621" fmla="*/ 1203 w 10820"/>
                  <a:gd name="connsiteY2621" fmla="*/ 9803 h 10000"/>
                  <a:gd name="connsiteX2622" fmla="*/ 1198 w 10820"/>
                  <a:gd name="connsiteY2622" fmla="*/ 9838 h 10000"/>
                  <a:gd name="connsiteX2623" fmla="*/ 1212 w 10820"/>
                  <a:gd name="connsiteY2623" fmla="*/ 9863 h 10000"/>
                  <a:gd name="connsiteX2624" fmla="*/ 1230 w 10820"/>
                  <a:gd name="connsiteY2624" fmla="*/ 9872 h 10000"/>
                  <a:gd name="connsiteX2625" fmla="*/ 1249 w 10820"/>
                  <a:gd name="connsiteY2625" fmla="*/ 9897 h 10000"/>
                  <a:gd name="connsiteX2626" fmla="*/ 1263 w 10820"/>
                  <a:gd name="connsiteY2626" fmla="*/ 9897 h 10000"/>
                  <a:gd name="connsiteX2627" fmla="*/ 1276 w 10820"/>
                  <a:gd name="connsiteY2627" fmla="*/ 9923 h 10000"/>
                  <a:gd name="connsiteX2628" fmla="*/ 1281 w 10820"/>
                  <a:gd name="connsiteY2628" fmla="*/ 9949 h 10000"/>
                  <a:gd name="connsiteX2629" fmla="*/ 1290 w 10820"/>
                  <a:gd name="connsiteY2629" fmla="*/ 9949 h 10000"/>
                  <a:gd name="connsiteX2630" fmla="*/ 1295 w 10820"/>
                  <a:gd name="connsiteY2630" fmla="*/ 10000 h 10000"/>
                  <a:gd name="connsiteX2631" fmla="*/ 1332 w 10820"/>
                  <a:gd name="connsiteY2631" fmla="*/ 10000 h 10000"/>
                  <a:gd name="connsiteX2632" fmla="*/ 1336 w 10820"/>
                  <a:gd name="connsiteY2632" fmla="*/ 10000 h 10000"/>
                  <a:gd name="connsiteX2633" fmla="*/ 1346 w 10820"/>
                  <a:gd name="connsiteY2633" fmla="*/ 9983 h 10000"/>
                  <a:gd name="connsiteX2634" fmla="*/ 1350 w 10820"/>
                  <a:gd name="connsiteY2634" fmla="*/ 9949 h 10000"/>
                  <a:gd name="connsiteX2635" fmla="*/ 1369 w 10820"/>
                  <a:gd name="connsiteY2635" fmla="*/ 9940 h 10000"/>
                  <a:gd name="connsiteX2636" fmla="*/ 1378 w 10820"/>
                  <a:gd name="connsiteY2636" fmla="*/ 9897 h 10000"/>
                  <a:gd name="connsiteX2637" fmla="*/ 1369 w 10820"/>
                  <a:gd name="connsiteY2637" fmla="*/ 9889 h 10000"/>
                  <a:gd name="connsiteX2638" fmla="*/ 1318 w 10820"/>
                  <a:gd name="connsiteY2638" fmla="*/ 9701 h 10000"/>
                  <a:gd name="connsiteX2639" fmla="*/ 1318 w 10820"/>
                  <a:gd name="connsiteY2639" fmla="*/ 9650 h 10000"/>
                  <a:gd name="connsiteX2640" fmla="*/ 1323 w 10820"/>
                  <a:gd name="connsiteY2640" fmla="*/ 9590 h 10000"/>
                  <a:gd name="connsiteX2641" fmla="*/ 1323 w 10820"/>
                  <a:gd name="connsiteY2641" fmla="*/ 9564 h 10000"/>
                  <a:gd name="connsiteX2642" fmla="*/ 1309 w 10820"/>
                  <a:gd name="connsiteY2642" fmla="*/ 9598 h 10000"/>
                  <a:gd name="connsiteX2643" fmla="*/ 1309 w 10820"/>
                  <a:gd name="connsiteY2643" fmla="*/ 9590 h 10000"/>
                  <a:gd name="connsiteX2644" fmla="*/ 1304 w 10820"/>
                  <a:gd name="connsiteY2644" fmla="*/ 9547 h 10000"/>
                  <a:gd name="connsiteX2645" fmla="*/ 1276 w 10820"/>
                  <a:gd name="connsiteY2645" fmla="*/ 9479 h 10000"/>
                  <a:gd name="connsiteX2646" fmla="*/ 1263 w 10820"/>
                  <a:gd name="connsiteY2646" fmla="*/ 9479 h 10000"/>
                  <a:gd name="connsiteX2647" fmla="*/ 1263 w 10820"/>
                  <a:gd name="connsiteY2647" fmla="*/ 9453 h 10000"/>
                  <a:gd name="connsiteX2648" fmla="*/ 1272 w 10820"/>
                  <a:gd name="connsiteY2648" fmla="*/ 9410 h 10000"/>
                  <a:gd name="connsiteX2649" fmla="*/ 1272 w 10820"/>
                  <a:gd name="connsiteY2649" fmla="*/ 9393 h 10000"/>
                  <a:gd name="connsiteX2650" fmla="*/ 1281 w 10820"/>
                  <a:gd name="connsiteY2650" fmla="*/ 9368 h 10000"/>
                  <a:gd name="connsiteX2651" fmla="*/ 1281 w 10820"/>
                  <a:gd name="connsiteY2651" fmla="*/ 9368 h 10000"/>
                  <a:gd name="connsiteX2652" fmla="*/ 1290 w 10820"/>
                  <a:gd name="connsiteY2652" fmla="*/ 9368 h 10000"/>
                  <a:gd name="connsiteX2653" fmla="*/ 1290 w 10820"/>
                  <a:gd name="connsiteY2653" fmla="*/ 9342 h 10000"/>
                  <a:gd name="connsiteX2654" fmla="*/ 1304 w 10820"/>
                  <a:gd name="connsiteY2654" fmla="*/ 9325 h 10000"/>
                  <a:gd name="connsiteX2655" fmla="*/ 1309 w 10820"/>
                  <a:gd name="connsiteY2655" fmla="*/ 9239 h 10000"/>
                  <a:gd name="connsiteX2656" fmla="*/ 1318 w 10820"/>
                  <a:gd name="connsiteY2656" fmla="*/ 9256 h 10000"/>
                  <a:gd name="connsiteX2657" fmla="*/ 1323 w 10820"/>
                  <a:gd name="connsiteY2657" fmla="*/ 9179 h 10000"/>
                  <a:gd name="connsiteX2658" fmla="*/ 1309 w 10820"/>
                  <a:gd name="connsiteY2658" fmla="*/ 9145 h 10000"/>
                  <a:gd name="connsiteX2659" fmla="*/ 1336 w 10820"/>
                  <a:gd name="connsiteY2659" fmla="*/ 9154 h 10000"/>
                  <a:gd name="connsiteX2660" fmla="*/ 1336 w 10820"/>
                  <a:gd name="connsiteY2660" fmla="*/ 9162 h 10000"/>
                  <a:gd name="connsiteX2661" fmla="*/ 1350 w 10820"/>
                  <a:gd name="connsiteY2661" fmla="*/ 9231 h 10000"/>
                  <a:gd name="connsiteX2662" fmla="*/ 1355 w 10820"/>
                  <a:gd name="connsiteY2662" fmla="*/ 9231 h 10000"/>
                  <a:gd name="connsiteX2663" fmla="*/ 1364 w 10820"/>
                  <a:gd name="connsiteY2663" fmla="*/ 9214 h 10000"/>
                  <a:gd name="connsiteX2664" fmla="*/ 1369 w 10820"/>
                  <a:gd name="connsiteY2664" fmla="*/ 9214 h 10000"/>
                  <a:gd name="connsiteX2665" fmla="*/ 1382 w 10820"/>
                  <a:gd name="connsiteY2665" fmla="*/ 9154 h 10000"/>
                  <a:gd name="connsiteX2666" fmla="*/ 1396 w 10820"/>
                  <a:gd name="connsiteY2666" fmla="*/ 9154 h 10000"/>
                  <a:gd name="connsiteX2667" fmla="*/ 1382 w 10820"/>
                  <a:gd name="connsiteY2667" fmla="*/ 9145 h 10000"/>
                  <a:gd name="connsiteX2668" fmla="*/ 1382 w 10820"/>
                  <a:gd name="connsiteY2668" fmla="*/ 9128 h 10000"/>
                  <a:gd name="connsiteX2669" fmla="*/ 1369 w 10820"/>
                  <a:gd name="connsiteY2669" fmla="*/ 9128 h 10000"/>
                  <a:gd name="connsiteX2670" fmla="*/ 1364 w 10820"/>
                  <a:gd name="connsiteY2670" fmla="*/ 9128 h 10000"/>
                  <a:gd name="connsiteX2671" fmla="*/ 1355 w 10820"/>
                  <a:gd name="connsiteY2671" fmla="*/ 9120 h 10000"/>
                  <a:gd name="connsiteX2672" fmla="*/ 1350 w 10820"/>
                  <a:gd name="connsiteY2672" fmla="*/ 9103 h 10000"/>
                  <a:gd name="connsiteX2673" fmla="*/ 1355 w 10820"/>
                  <a:gd name="connsiteY2673" fmla="*/ 9094 h 10000"/>
                  <a:gd name="connsiteX2674" fmla="*/ 1355 w 10820"/>
                  <a:gd name="connsiteY2674" fmla="*/ 9068 h 10000"/>
                  <a:gd name="connsiteX2675" fmla="*/ 1369 w 10820"/>
                  <a:gd name="connsiteY2675" fmla="*/ 9068 h 10000"/>
                  <a:gd name="connsiteX2676" fmla="*/ 1378 w 10820"/>
                  <a:gd name="connsiteY2676" fmla="*/ 9077 h 10000"/>
                  <a:gd name="connsiteX2677" fmla="*/ 1396 w 10820"/>
                  <a:gd name="connsiteY2677" fmla="*/ 9068 h 10000"/>
                  <a:gd name="connsiteX2678" fmla="*/ 1382 w 10820"/>
                  <a:gd name="connsiteY2678" fmla="*/ 8940 h 10000"/>
                  <a:gd name="connsiteX2679" fmla="*/ 1378 w 10820"/>
                  <a:gd name="connsiteY2679" fmla="*/ 8940 h 10000"/>
                  <a:gd name="connsiteX2680" fmla="*/ 1364 w 10820"/>
                  <a:gd name="connsiteY2680" fmla="*/ 8889 h 10000"/>
                  <a:gd name="connsiteX2681" fmla="*/ 1355 w 10820"/>
                  <a:gd name="connsiteY2681" fmla="*/ 8880 h 10000"/>
                  <a:gd name="connsiteX2682" fmla="*/ 1323 w 10820"/>
                  <a:gd name="connsiteY2682" fmla="*/ 8880 h 10000"/>
                  <a:gd name="connsiteX2683" fmla="*/ 1309 w 10820"/>
                  <a:gd name="connsiteY2683" fmla="*/ 8880 h 10000"/>
                  <a:gd name="connsiteX2684" fmla="*/ 1309 w 10820"/>
                  <a:gd name="connsiteY2684" fmla="*/ 8889 h 10000"/>
                  <a:gd name="connsiteX2685" fmla="*/ 1295 w 10820"/>
                  <a:gd name="connsiteY2685" fmla="*/ 8872 h 10000"/>
                  <a:gd name="connsiteX2686" fmla="*/ 1290 w 10820"/>
                  <a:gd name="connsiteY2686" fmla="*/ 8855 h 10000"/>
                  <a:gd name="connsiteX2687" fmla="*/ 1290 w 10820"/>
                  <a:gd name="connsiteY2687" fmla="*/ 8829 h 10000"/>
                  <a:gd name="connsiteX2688" fmla="*/ 1290 w 10820"/>
                  <a:gd name="connsiteY2688" fmla="*/ 8821 h 10000"/>
                  <a:gd name="connsiteX2689" fmla="*/ 1290 w 10820"/>
                  <a:gd name="connsiteY2689" fmla="*/ 8803 h 10000"/>
                  <a:gd name="connsiteX2690" fmla="*/ 1281 w 10820"/>
                  <a:gd name="connsiteY2690" fmla="*/ 8795 h 10000"/>
                  <a:gd name="connsiteX2691" fmla="*/ 1249 w 10820"/>
                  <a:gd name="connsiteY2691" fmla="*/ 8769 h 10000"/>
                  <a:gd name="connsiteX2692" fmla="*/ 1263 w 10820"/>
                  <a:gd name="connsiteY2692" fmla="*/ 8667 h 10000"/>
                  <a:gd name="connsiteX2693" fmla="*/ 1281 w 10820"/>
                  <a:gd name="connsiteY2693" fmla="*/ 8658 h 10000"/>
                  <a:gd name="connsiteX2694" fmla="*/ 1290 w 10820"/>
                  <a:gd name="connsiteY2694" fmla="*/ 8632 h 10000"/>
                  <a:gd name="connsiteX2695" fmla="*/ 1281 w 10820"/>
                  <a:gd name="connsiteY2695" fmla="*/ 8615 h 10000"/>
                  <a:gd name="connsiteX2696" fmla="*/ 1272 w 10820"/>
                  <a:gd name="connsiteY2696" fmla="*/ 8598 h 10000"/>
                  <a:gd name="connsiteX2697" fmla="*/ 1281 w 10820"/>
                  <a:gd name="connsiteY2697" fmla="*/ 8496 h 10000"/>
                  <a:gd name="connsiteX2698" fmla="*/ 1295 w 10820"/>
                  <a:gd name="connsiteY2698" fmla="*/ 8470 h 10000"/>
                  <a:gd name="connsiteX2699" fmla="*/ 1304 w 10820"/>
                  <a:gd name="connsiteY2699" fmla="*/ 8462 h 10000"/>
                  <a:gd name="connsiteX2700" fmla="*/ 1304 w 10820"/>
                  <a:gd name="connsiteY2700" fmla="*/ 8444 h 10000"/>
                  <a:gd name="connsiteX2701" fmla="*/ 1304 w 10820"/>
                  <a:gd name="connsiteY2701" fmla="*/ 8419 h 10000"/>
                  <a:gd name="connsiteX2702" fmla="*/ 1304 w 10820"/>
                  <a:gd name="connsiteY2702" fmla="*/ 8410 h 10000"/>
                  <a:gd name="connsiteX2703" fmla="*/ 1309 w 10820"/>
                  <a:gd name="connsiteY2703" fmla="*/ 8393 h 10000"/>
                  <a:gd name="connsiteX2704" fmla="*/ 1318 w 10820"/>
                  <a:gd name="connsiteY2704" fmla="*/ 8385 h 10000"/>
                  <a:gd name="connsiteX2705" fmla="*/ 1323 w 10820"/>
                  <a:gd name="connsiteY2705" fmla="*/ 8385 h 10000"/>
                  <a:gd name="connsiteX2706" fmla="*/ 1332 w 10820"/>
                  <a:gd name="connsiteY2706" fmla="*/ 8410 h 10000"/>
                  <a:gd name="connsiteX2707" fmla="*/ 1346 w 10820"/>
                  <a:gd name="connsiteY2707" fmla="*/ 8419 h 10000"/>
                  <a:gd name="connsiteX2708" fmla="*/ 1364 w 10820"/>
                  <a:gd name="connsiteY2708" fmla="*/ 8504 h 10000"/>
                  <a:gd name="connsiteX2709" fmla="*/ 1369 w 10820"/>
                  <a:gd name="connsiteY2709" fmla="*/ 8521 h 10000"/>
                  <a:gd name="connsiteX2710" fmla="*/ 1406 w 10820"/>
                  <a:gd name="connsiteY2710" fmla="*/ 8470 h 10000"/>
                  <a:gd name="connsiteX2711" fmla="*/ 1382 w 10820"/>
                  <a:gd name="connsiteY2711" fmla="*/ 8359 h 10000"/>
                  <a:gd name="connsiteX2712" fmla="*/ 1392 w 10820"/>
                  <a:gd name="connsiteY2712" fmla="*/ 8359 h 10000"/>
                  <a:gd name="connsiteX2713" fmla="*/ 1438 w 10820"/>
                  <a:gd name="connsiteY2713" fmla="*/ 8308 h 10000"/>
                  <a:gd name="connsiteX2714" fmla="*/ 1442 w 10820"/>
                  <a:gd name="connsiteY2714" fmla="*/ 8299 h 10000"/>
                  <a:gd name="connsiteX2715" fmla="*/ 1442 w 10820"/>
                  <a:gd name="connsiteY2715" fmla="*/ 8256 h 10000"/>
                  <a:gd name="connsiteX2716" fmla="*/ 1452 w 10820"/>
                  <a:gd name="connsiteY2716" fmla="*/ 8256 h 10000"/>
                  <a:gd name="connsiteX2717" fmla="*/ 1456 w 10820"/>
                  <a:gd name="connsiteY2717" fmla="*/ 8256 h 10000"/>
                  <a:gd name="connsiteX2718" fmla="*/ 1470 w 10820"/>
                  <a:gd name="connsiteY2718" fmla="*/ 8248 h 10000"/>
                  <a:gd name="connsiteX2719" fmla="*/ 1479 w 10820"/>
                  <a:gd name="connsiteY2719" fmla="*/ 8231 h 10000"/>
                  <a:gd name="connsiteX2720" fmla="*/ 1493 w 10820"/>
                  <a:gd name="connsiteY2720" fmla="*/ 8222 h 10000"/>
                  <a:gd name="connsiteX2721" fmla="*/ 1498 w 10820"/>
                  <a:gd name="connsiteY2721" fmla="*/ 8214 h 10000"/>
                  <a:gd name="connsiteX2722" fmla="*/ 1502 w 10820"/>
                  <a:gd name="connsiteY2722" fmla="*/ 8197 h 10000"/>
                  <a:gd name="connsiteX2723" fmla="*/ 1512 w 10820"/>
                  <a:gd name="connsiteY2723" fmla="*/ 8188 h 10000"/>
                  <a:gd name="connsiteX2724" fmla="*/ 1516 w 10820"/>
                  <a:gd name="connsiteY2724" fmla="*/ 8171 h 10000"/>
                  <a:gd name="connsiteX2725" fmla="*/ 1525 w 10820"/>
                  <a:gd name="connsiteY2725" fmla="*/ 8162 h 10000"/>
                  <a:gd name="connsiteX2726" fmla="*/ 1539 w 10820"/>
                  <a:gd name="connsiteY2726" fmla="*/ 8145 h 10000"/>
                  <a:gd name="connsiteX2727" fmla="*/ 1558 w 10820"/>
                  <a:gd name="connsiteY2727" fmla="*/ 8145 h 10000"/>
                  <a:gd name="connsiteX2728" fmla="*/ 1562 w 10820"/>
                  <a:gd name="connsiteY2728" fmla="*/ 8188 h 10000"/>
                  <a:gd name="connsiteX2729" fmla="*/ 1585 w 10820"/>
                  <a:gd name="connsiteY2729" fmla="*/ 8171 h 10000"/>
                  <a:gd name="connsiteX2730" fmla="*/ 1590 w 10820"/>
                  <a:gd name="connsiteY2730" fmla="*/ 8188 h 10000"/>
                  <a:gd name="connsiteX2731" fmla="*/ 1599 w 10820"/>
                  <a:gd name="connsiteY2731" fmla="*/ 8171 h 10000"/>
                  <a:gd name="connsiteX2732" fmla="*/ 1599 w 10820"/>
                  <a:gd name="connsiteY2732" fmla="*/ 8162 h 10000"/>
                  <a:gd name="connsiteX2733" fmla="*/ 1604 w 10820"/>
                  <a:gd name="connsiteY2733" fmla="*/ 8137 h 10000"/>
                  <a:gd name="connsiteX2734" fmla="*/ 1618 w 10820"/>
                  <a:gd name="connsiteY2734" fmla="*/ 8145 h 10000"/>
                  <a:gd name="connsiteX2735" fmla="*/ 1627 w 10820"/>
                  <a:gd name="connsiteY2735" fmla="*/ 8137 h 10000"/>
                  <a:gd name="connsiteX2736" fmla="*/ 1631 w 10820"/>
                  <a:gd name="connsiteY2736" fmla="*/ 8137 h 10000"/>
                  <a:gd name="connsiteX2737" fmla="*/ 1636 w 10820"/>
                  <a:gd name="connsiteY2737" fmla="*/ 8171 h 10000"/>
                  <a:gd name="connsiteX2738" fmla="*/ 1645 w 10820"/>
                  <a:gd name="connsiteY2738" fmla="*/ 8188 h 10000"/>
                  <a:gd name="connsiteX2739" fmla="*/ 1664 w 10820"/>
                  <a:gd name="connsiteY2739" fmla="*/ 8171 h 10000"/>
                  <a:gd name="connsiteX2740" fmla="*/ 1673 w 10820"/>
                  <a:gd name="connsiteY2740" fmla="*/ 8188 h 10000"/>
                  <a:gd name="connsiteX2741" fmla="*/ 1691 w 10820"/>
                  <a:gd name="connsiteY2741" fmla="*/ 8171 h 10000"/>
                  <a:gd name="connsiteX2742" fmla="*/ 1705 w 10820"/>
                  <a:gd name="connsiteY2742" fmla="*/ 8171 h 10000"/>
                  <a:gd name="connsiteX2743" fmla="*/ 1719 w 10820"/>
                  <a:gd name="connsiteY2743" fmla="*/ 8197 h 10000"/>
                  <a:gd name="connsiteX2744" fmla="*/ 1724 w 10820"/>
                  <a:gd name="connsiteY2744" fmla="*/ 8231 h 10000"/>
                  <a:gd name="connsiteX2745" fmla="*/ 1751 w 10820"/>
                  <a:gd name="connsiteY2745" fmla="*/ 8256 h 10000"/>
                  <a:gd name="connsiteX2746" fmla="*/ 1751 w 10820"/>
                  <a:gd name="connsiteY2746" fmla="*/ 8274 h 10000"/>
                  <a:gd name="connsiteX2747" fmla="*/ 1760 w 10820"/>
                  <a:gd name="connsiteY2747" fmla="*/ 8282 h 10000"/>
                  <a:gd name="connsiteX2748" fmla="*/ 1770 w 10820"/>
                  <a:gd name="connsiteY2748" fmla="*/ 8325 h 10000"/>
                  <a:gd name="connsiteX2749" fmla="*/ 1770 w 10820"/>
                  <a:gd name="connsiteY2749" fmla="*/ 8350 h 10000"/>
                  <a:gd name="connsiteX2750" fmla="*/ 1779 w 10820"/>
                  <a:gd name="connsiteY2750" fmla="*/ 8368 h 10000"/>
                  <a:gd name="connsiteX2751" fmla="*/ 1783 w 10820"/>
                  <a:gd name="connsiteY2751" fmla="*/ 8359 h 10000"/>
                  <a:gd name="connsiteX2752" fmla="*/ 1783 w 10820"/>
                  <a:gd name="connsiteY2752" fmla="*/ 8308 h 10000"/>
                  <a:gd name="connsiteX2753" fmla="*/ 1779 w 10820"/>
                  <a:gd name="connsiteY2753" fmla="*/ 8299 h 10000"/>
                  <a:gd name="connsiteX2754" fmla="*/ 1783 w 10820"/>
                  <a:gd name="connsiteY2754" fmla="*/ 8282 h 10000"/>
                  <a:gd name="connsiteX2755" fmla="*/ 1797 w 10820"/>
                  <a:gd name="connsiteY2755" fmla="*/ 8274 h 10000"/>
                  <a:gd name="connsiteX2756" fmla="*/ 1797 w 10820"/>
                  <a:gd name="connsiteY2756" fmla="*/ 8299 h 10000"/>
                  <a:gd name="connsiteX2757" fmla="*/ 1806 w 10820"/>
                  <a:gd name="connsiteY2757" fmla="*/ 8308 h 10000"/>
                  <a:gd name="connsiteX2758" fmla="*/ 1811 w 10820"/>
                  <a:gd name="connsiteY2758" fmla="*/ 8325 h 10000"/>
                  <a:gd name="connsiteX2759" fmla="*/ 1820 w 10820"/>
                  <a:gd name="connsiteY2759" fmla="*/ 8333 h 10000"/>
                  <a:gd name="connsiteX2760" fmla="*/ 1853 w 10820"/>
                  <a:gd name="connsiteY2760" fmla="*/ 8359 h 10000"/>
                  <a:gd name="connsiteX2761" fmla="*/ 1866 w 10820"/>
                  <a:gd name="connsiteY2761" fmla="*/ 8359 h 10000"/>
                  <a:gd name="connsiteX2762" fmla="*/ 1885 w 10820"/>
                  <a:gd name="connsiteY2762" fmla="*/ 8325 h 10000"/>
                  <a:gd name="connsiteX2763" fmla="*/ 1885 w 10820"/>
                  <a:gd name="connsiteY2763" fmla="*/ 8308 h 10000"/>
                  <a:gd name="connsiteX2764" fmla="*/ 1894 w 10820"/>
                  <a:gd name="connsiteY2764" fmla="*/ 8299 h 10000"/>
                  <a:gd name="connsiteX2765" fmla="*/ 1899 w 10820"/>
                  <a:gd name="connsiteY2765" fmla="*/ 8282 h 10000"/>
                  <a:gd name="connsiteX2766" fmla="*/ 1912 w 10820"/>
                  <a:gd name="connsiteY2766" fmla="*/ 8282 h 10000"/>
                  <a:gd name="connsiteX2767" fmla="*/ 1917 w 10820"/>
                  <a:gd name="connsiteY2767" fmla="*/ 8299 h 10000"/>
                  <a:gd name="connsiteX2768" fmla="*/ 1917 w 10820"/>
                  <a:gd name="connsiteY2768" fmla="*/ 8274 h 10000"/>
                  <a:gd name="connsiteX2769" fmla="*/ 1940 w 10820"/>
                  <a:gd name="connsiteY2769" fmla="*/ 8282 h 10000"/>
                  <a:gd name="connsiteX2770" fmla="*/ 1945 w 10820"/>
                  <a:gd name="connsiteY2770" fmla="*/ 8274 h 10000"/>
                  <a:gd name="connsiteX2771" fmla="*/ 1972 w 10820"/>
                  <a:gd name="connsiteY2771" fmla="*/ 8308 h 10000"/>
                  <a:gd name="connsiteX2772" fmla="*/ 1986 w 10820"/>
                  <a:gd name="connsiteY2772" fmla="*/ 8282 h 10000"/>
                  <a:gd name="connsiteX2773" fmla="*/ 1991 w 10820"/>
                  <a:gd name="connsiteY2773" fmla="*/ 8274 h 10000"/>
                  <a:gd name="connsiteX2774" fmla="*/ 2014 w 10820"/>
                  <a:gd name="connsiteY2774" fmla="*/ 8274 h 10000"/>
                  <a:gd name="connsiteX2775" fmla="*/ 2018 w 10820"/>
                  <a:gd name="connsiteY2775" fmla="*/ 8256 h 10000"/>
                  <a:gd name="connsiteX2776" fmla="*/ 2041 w 10820"/>
                  <a:gd name="connsiteY2776" fmla="*/ 8274 h 10000"/>
                  <a:gd name="connsiteX2777" fmla="*/ 2046 w 10820"/>
                  <a:gd name="connsiteY2777" fmla="*/ 8282 h 10000"/>
                  <a:gd name="connsiteX2778" fmla="*/ 2046 w 10820"/>
                  <a:gd name="connsiteY2778" fmla="*/ 8325 h 10000"/>
                  <a:gd name="connsiteX2779" fmla="*/ 2060 w 10820"/>
                  <a:gd name="connsiteY2779" fmla="*/ 8350 h 10000"/>
                  <a:gd name="connsiteX2780" fmla="*/ 2078 w 10820"/>
                  <a:gd name="connsiteY2780" fmla="*/ 8350 h 10000"/>
                  <a:gd name="connsiteX2781" fmla="*/ 2092 w 10820"/>
                  <a:gd name="connsiteY2781" fmla="*/ 8350 h 10000"/>
                  <a:gd name="connsiteX2782" fmla="*/ 2092 w 10820"/>
                  <a:gd name="connsiteY2782" fmla="*/ 8350 h 10000"/>
                  <a:gd name="connsiteX2783" fmla="*/ 2101 w 10820"/>
                  <a:gd name="connsiteY2783" fmla="*/ 8368 h 10000"/>
                  <a:gd name="connsiteX2784" fmla="*/ 2120 w 10820"/>
                  <a:gd name="connsiteY2784" fmla="*/ 8368 h 10000"/>
                  <a:gd name="connsiteX2785" fmla="*/ 2124 w 10820"/>
                  <a:gd name="connsiteY2785" fmla="*/ 8359 h 10000"/>
                  <a:gd name="connsiteX2786" fmla="*/ 2138 w 10820"/>
                  <a:gd name="connsiteY2786" fmla="*/ 8325 h 10000"/>
                  <a:gd name="connsiteX2787" fmla="*/ 2147 w 10820"/>
                  <a:gd name="connsiteY2787" fmla="*/ 8325 h 10000"/>
                  <a:gd name="connsiteX2788" fmla="*/ 2161 w 10820"/>
                  <a:gd name="connsiteY2788" fmla="*/ 8350 h 10000"/>
                  <a:gd name="connsiteX2789" fmla="*/ 2198 w 10820"/>
                  <a:gd name="connsiteY2789" fmla="*/ 8350 h 10000"/>
                  <a:gd name="connsiteX2790" fmla="*/ 2207 w 10820"/>
                  <a:gd name="connsiteY2790" fmla="*/ 8333 h 10000"/>
                  <a:gd name="connsiteX2791" fmla="*/ 2226 w 10820"/>
                  <a:gd name="connsiteY2791" fmla="*/ 8325 h 10000"/>
                  <a:gd name="connsiteX2792" fmla="*/ 2249 w 10820"/>
                  <a:gd name="connsiteY2792" fmla="*/ 8222 h 10000"/>
                  <a:gd name="connsiteX2793" fmla="*/ 2235 w 10820"/>
                  <a:gd name="connsiteY2793" fmla="*/ 8197 h 10000"/>
                  <a:gd name="connsiteX2794" fmla="*/ 2198 w 10820"/>
                  <a:gd name="connsiteY2794" fmla="*/ 8197 h 10000"/>
                  <a:gd name="connsiteX2795" fmla="*/ 2189 w 10820"/>
                  <a:gd name="connsiteY2795" fmla="*/ 8171 h 10000"/>
                  <a:gd name="connsiteX2796" fmla="*/ 2161 w 10820"/>
                  <a:gd name="connsiteY2796" fmla="*/ 8145 h 10000"/>
                  <a:gd name="connsiteX2797" fmla="*/ 2161 w 10820"/>
                  <a:gd name="connsiteY2797" fmla="*/ 8137 h 10000"/>
                  <a:gd name="connsiteX2798" fmla="*/ 2152 w 10820"/>
                  <a:gd name="connsiteY2798" fmla="*/ 8120 h 10000"/>
                  <a:gd name="connsiteX2799" fmla="*/ 2138 w 10820"/>
                  <a:gd name="connsiteY2799" fmla="*/ 8111 h 10000"/>
                  <a:gd name="connsiteX2800" fmla="*/ 2138 w 10820"/>
                  <a:gd name="connsiteY2800" fmla="*/ 8094 h 10000"/>
                  <a:gd name="connsiteX2801" fmla="*/ 2147 w 10820"/>
                  <a:gd name="connsiteY2801" fmla="*/ 8085 h 10000"/>
                  <a:gd name="connsiteX2802" fmla="*/ 2161 w 10820"/>
                  <a:gd name="connsiteY2802" fmla="*/ 8060 h 10000"/>
                  <a:gd name="connsiteX2803" fmla="*/ 2198 w 10820"/>
                  <a:gd name="connsiteY2803" fmla="*/ 8034 h 10000"/>
                  <a:gd name="connsiteX2804" fmla="*/ 2198 w 10820"/>
                  <a:gd name="connsiteY2804" fmla="*/ 8026 h 10000"/>
                  <a:gd name="connsiteX2805" fmla="*/ 2198 w 10820"/>
                  <a:gd name="connsiteY2805" fmla="*/ 8000 h 10000"/>
                  <a:gd name="connsiteX2806" fmla="*/ 2180 w 10820"/>
                  <a:gd name="connsiteY2806" fmla="*/ 7940 h 10000"/>
                  <a:gd name="connsiteX2807" fmla="*/ 2189 w 10820"/>
                  <a:gd name="connsiteY2807" fmla="*/ 7940 h 10000"/>
                  <a:gd name="connsiteX2808" fmla="*/ 2198 w 10820"/>
                  <a:gd name="connsiteY2808" fmla="*/ 7923 h 10000"/>
                  <a:gd name="connsiteX2809" fmla="*/ 2198 w 10820"/>
                  <a:gd name="connsiteY2809" fmla="*/ 7897 h 10000"/>
                  <a:gd name="connsiteX2810" fmla="*/ 2207 w 10820"/>
                  <a:gd name="connsiteY2810" fmla="*/ 7889 h 10000"/>
                  <a:gd name="connsiteX2811" fmla="*/ 2221 w 10820"/>
                  <a:gd name="connsiteY2811" fmla="*/ 7889 h 10000"/>
                  <a:gd name="connsiteX2812" fmla="*/ 2226 w 10820"/>
                  <a:gd name="connsiteY2812" fmla="*/ 7897 h 10000"/>
                  <a:gd name="connsiteX2813" fmla="*/ 2235 w 10820"/>
                  <a:gd name="connsiteY2813" fmla="*/ 7889 h 10000"/>
                  <a:gd name="connsiteX2814" fmla="*/ 2249 w 10820"/>
                  <a:gd name="connsiteY2814" fmla="*/ 7897 h 10000"/>
                  <a:gd name="connsiteX2815" fmla="*/ 2267 w 10820"/>
                  <a:gd name="connsiteY2815" fmla="*/ 7897 h 10000"/>
                  <a:gd name="connsiteX2816" fmla="*/ 2272 w 10820"/>
                  <a:gd name="connsiteY2816" fmla="*/ 7889 h 10000"/>
                  <a:gd name="connsiteX2817" fmla="*/ 2281 w 10820"/>
                  <a:gd name="connsiteY2817" fmla="*/ 7872 h 10000"/>
                  <a:gd name="connsiteX2818" fmla="*/ 2272 w 10820"/>
                  <a:gd name="connsiteY2818" fmla="*/ 7846 h 10000"/>
                  <a:gd name="connsiteX2819" fmla="*/ 2253 w 10820"/>
                  <a:gd name="connsiteY2819" fmla="*/ 7838 h 10000"/>
                  <a:gd name="connsiteX2820" fmla="*/ 2221 w 10820"/>
                  <a:gd name="connsiteY2820" fmla="*/ 7821 h 10000"/>
                  <a:gd name="connsiteX2821" fmla="*/ 2212 w 10820"/>
                  <a:gd name="connsiteY2821" fmla="*/ 7812 h 10000"/>
                  <a:gd name="connsiteX2822" fmla="*/ 2212 w 10820"/>
                  <a:gd name="connsiteY2822" fmla="*/ 7803 h 10000"/>
                  <a:gd name="connsiteX2823" fmla="*/ 2221 w 10820"/>
                  <a:gd name="connsiteY2823" fmla="*/ 7803 h 10000"/>
                  <a:gd name="connsiteX2824" fmla="*/ 2235 w 10820"/>
                  <a:gd name="connsiteY2824" fmla="*/ 7786 h 10000"/>
                  <a:gd name="connsiteX2825" fmla="*/ 2240 w 10820"/>
                  <a:gd name="connsiteY2825" fmla="*/ 7778 h 10000"/>
                  <a:gd name="connsiteX2826" fmla="*/ 2226 w 10820"/>
                  <a:gd name="connsiteY2826" fmla="*/ 7761 h 10000"/>
                  <a:gd name="connsiteX2827" fmla="*/ 2221 w 10820"/>
                  <a:gd name="connsiteY2827" fmla="*/ 7778 h 10000"/>
                  <a:gd name="connsiteX2828" fmla="*/ 2198 w 10820"/>
                  <a:gd name="connsiteY2828" fmla="*/ 7778 h 10000"/>
                  <a:gd name="connsiteX2829" fmla="*/ 2198 w 10820"/>
                  <a:gd name="connsiteY2829" fmla="*/ 7752 h 10000"/>
                  <a:gd name="connsiteX2830" fmla="*/ 2207 w 10820"/>
                  <a:gd name="connsiteY2830" fmla="*/ 7735 h 10000"/>
                  <a:gd name="connsiteX2831" fmla="*/ 2212 w 10820"/>
                  <a:gd name="connsiteY2831" fmla="*/ 7726 h 10000"/>
                  <a:gd name="connsiteX2832" fmla="*/ 2198 w 10820"/>
                  <a:gd name="connsiteY2832" fmla="*/ 7692 h 10000"/>
                  <a:gd name="connsiteX2833" fmla="*/ 2221 w 10820"/>
                  <a:gd name="connsiteY2833" fmla="*/ 7692 h 10000"/>
                  <a:gd name="connsiteX2834" fmla="*/ 2221 w 10820"/>
                  <a:gd name="connsiteY2834" fmla="*/ 7675 h 10000"/>
                  <a:gd name="connsiteX2835" fmla="*/ 2235 w 10820"/>
                  <a:gd name="connsiteY2835" fmla="*/ 7675 h 10000"/>
                  <a:gd name="connsiteX2836" fmla="*/ 2240 w 10820"/>
                  <a:gd name="connsiteY2836" fmla="*/ 7692 h 10000"/>
                  <a:gd name="connsiteX2837" fmla="*/ 2249 w 10820"/>
                  <a:gd name="connsiteY2837" fmla="*/ 7692 h 10000"/>
                  <a:gd name="connsiteX2838" fmla="*/ 2258 w 10820"/>
                  <a:gd name="connsiteY2838" fmla="*/ 7692 h 10000"/>
                  <a:gd name="connsiteX2839" fmla="*/ 2267 w 10820"/>
                  <a:gd name="connsiteY2839" fmla="*/ 7692 h 10000"/>
                  <a:gd name="connsiteX2840" fmla="*/ 2295 w 10820"/>
                  <a:gd name="connsiteY2840" fmla="*/ 7692 h 10000"/>
                  <a:gd name="connsiteX2841" fmla="*/ 2300 w 10820"/>
                  <a:gd name="connsiteY2841" fmla="*/ 7701 h 10000"/>
                  <a:gd name="connsiteX2842" fmla="*/ 2313 w 10820"/>
                  <a:gd name="connsiteY2842" fmla="*/ 7675 h 10000"/>
                  <a:gd name="connsiteX2843" fmla="*/ 2323 w 10820"/>
                  <a:gd name="connsiteY2843" fmla="*/ 7675 h 10000"/>
                  <a:gd name="connsiteX2844" fmla="*/ 2341 w 10820"/>
                  <a:gd name="connsiteY2844" fmla="*/ 7675 h 10000"/>
                  <a:gd name="connsiteX2845" fmla="*/ 2346 w 10820"/>
                  <a:gd name="connsiteY2845" fmla="*/ 7667 h 10000"/>
                  <a:gd name="connsiteX2846" fmla="*/ 2359 w 10820"/>
                  <a:gd name="connsiteY2846" fmla="*/ 7650 h 10000"/>
                  <a:gd name="connsiteX2847" fmla="*/ 2373 w 10820"/>
                  <a:gd name="connsiteY2847" fmla="*/ 7624 h 10000"/>
                  <a:gd name="connsiteX2848" fmla="*/ 2382 w 10820"/>
                  <a:gd name="connsiteY2848" fmla="*/ 7641 h 10000"/>
                  <a:gd name="connsiteX2849" fmla="*/ 2396 w 10820"/>
                  <a:gd name="connsiteY2849" fmla="*/ 7650 h 10000"/>
                  <a:gd name="connsiteX2850" fmla="*/ 2401 w 10820"/>
                  <a:gd name="connsiteY2850" fmla="*/ 7650 h 10000"/>
                  <a:gd name="connsiteX2851" fmla="*/ 2401 w 10820"/>
                  <a:gd name="connsiteY2851" fmla="*/ 7624 h 10000"/>
                  <a:gd name="connsiteX2852" fmla="*/ 2419 w 10820"/>
                  <a:gd name="connsiteY2852" fmla="*/ 7624 h 10000"/>
                  <a:gd name="connsiteX2853" fmla="*/ 2433 w 10820"/>
                  <a:gd name="connsiteY2853" fmla="*/ 7615 h 10000"/>
                  <a:gd name="connsiteX2854" fmla="*/ 2442 w 10820"/>
                  <a:gd name="connsiteY2854" fmla="*/ 7615 h 10000"/>
                  <a:gd name="connsiteX2855" fmla="*/ 2447 w 10820"/>
                  <a:gd name="connsiteY2855" fmla="*/ 7598 h 10000"/>
                  <a:gd name="connsiteX2856" fmla="*/ 2461 w 10820"/>
                  <a:gd name="connsiteY2856" fmla="*/ 7598 h 10000"/>
                  <a:gd name="connsiteX2857" fmla="*/ 2465 w 10820"/>
                  <a:gd name="connsiteY2857" fmla="*/ 7615 h 10000"/>
                  <a:gd name="connsiteX2858" fmla="*/ 2479 w 10820"/>
                  <a:gd name="connsiteY2858" fmla="*/ 7564 h 10000"/>
                  <a:gd name="connsiteX2859" fmla="*/ 2488 w 10820"/>
                  <a:gd name="connsiteY2859" fmla="*/ 7556 h 10000"/>
                  <a:gd name="connsiteX2860" fmla="*/ 2493 w 10820"/>
                  <a:gd name="connsiteY2860" fmla="*/ 7556 h 10000"/>
                  <a:gd name="connsiteX2861" fmla="*/ 2507 w 10820"/>
                  <a:gd name="connsiteY2861" fmla="*/ 7556 h 10000"/>
                  <a:gd name="connsiteX2862" fmla="*/ 2530 w 10820"/>
                  <a:gd name="connsiteY2862" fmla="*/ 7538 h 10000"/>
                  <a:gd name="connsiteX2863" fmla="*/ 2530 w 10820"/>
                  <a:gd name="connsiteY2863" fmla="*/ 7556 h 10000"/>
                  <a:gd name="connsiteX2864" fmla="*/ 2641 w 10820"/>
                  <a:gd name="connsiteY2864" fmla="*/ 7504 h 10000"/>
                  <a:gd name="connsiteX2865" fmla="*/ 2654 w 10820"/>
                  <a:gd name="connsiteY2865" fmla="*/ 7487 h 10000"/>
                  <a:gd name="connsiteX2866" fmla="*/ 2664 w 10820"/>
                  <a:gd name="connsiteY2866" fmla="*/ 7487 h 10000"/>
                  <a:gd name="connsiteX2867" fmla="*/ 2668 w 10820"/>
                  <a:gd name="connsiteY2867" fmla="*/ 7479 h 10000"/>
                  <a:gd name="connsiteX2868" fmla="*/ 2673 w 10820"/>
                  <a:gd name="connsiteY2868" fmla="*/ 7462 h 10000"/>
                  <a:gd name="connsiteX2869" fmla="*/ 2673 w 10820"/>
                  <a:gd name="connsiteY2869" fmla="*/ 7427 h 10000"/>
                  <a:gd name="connsiteX2870" fmla="*/ 2687 w 10820"/>
                  <a:gd name="connsiteY2870" fmla="*/ 7436 h 10000"/>
                  <a:gd name="connsiteX2871" fmla="*/ 2696 w 10820"/>
                  <a:gd name="connsiteY2871" fmla="*/ 7427 h 10000"/>
                  <a:gd name="connsiteX2872" fmla="*/ 2700 w 10820"/>
                  <a:gd name="connsiteY2872" fmla="*/ 7419 h 10000"/>
                  <a:gd name="connsiteX2873" fmla="*/ 2710 w 10820"/>
                  <a:gd name="connsiteY2873" fmla="*/ 7402 h 10000"/>
                  <a:gd name="connsiteX2874" fmla="*/ 2724 w 10820"/>
                  <a:gd name="connsiteY2874" fmla="*/ 7402 h 10000"/>
                  <a:gd name="connsiteX2875" fmla="*/ 2724 w 10820"/>
                  <a:gd name="connsiteY2875" fmla="*/ 7393 h 10000"/>
                  <a:gd name="connsiteX2876" fmla="*/ 2737 w 10820"/>
                  <a:gd name="connsiteY2876" fmla="*/ 7393 h 10000"/>
                  <a:gd name="connsiteX2877" fmla="*/ 2742 w 10820"/>
                  <a:gd name="connsiteY2877" fmla="*/ 7402 h 10000"/>
                  <a:gd name="connsiteX2878" fmla="*/ 2747 w 10820"/>
                  <a:gd name="connsiteY2878" fmla="*/ 7402 h 10000"/>
                  <a:gd name="connsiteX2879" fmla="*/ 2760 w 10820"/>
                  <a:gd name="connsiteY2879" fmla="*/ 7402 h 10000"/>
                  <a:gd name="connsiteX2880" fmla="*/ 2770 w 10820"/>
                  <a:gd name="connsiteY2880" fmla="*/ 7402 h 10000"/>
                  <a:gd name="connsiteX2881" fmla="*/ 2774 w 10820"/>
                  <a:gd name="connsiteY2881" fmla="*/ 7402 h 10000"/>
                  <a:gd name="connsiteX2882" fmla="*/ 2783 w 10820"/>
                  <a:gd name="connsiteY2882" fmla="*/ 7419 h 10000"/>
                  <a:gd name="connsiteX2883" fmla="*/ 2802 w 10820"/>
                  <a:gd name="connsiteY2883" fmla="*/ 7436 h 10000"/>
                  <a:gd name="connsiteX2884" fmla="*/ 2816 w 10820"/>
                  <a:gd name="connsiteY2884" fmla="*/ 7419 h 10000"/>
                  <a:gd name="connsiteX2885" fmla="*/ 2834 w 10820"/>
                  <a:gd name="connsiteY2885" fmla="*/ 7419 h 10000"/>
                  <a:gd name="connsiteX2886" fmla="*/ 2843 w 10820"/>
                  <a:gd name="connsiteY2886" fmla="*/ 7419 h 10000"/>
                  <a:gd name="connsiteX2887" fmla="*/ 2848 w 10820"/>
                  <a:gd name="connsiteY2887" fmla="*/ 7436 h 10000"/>
                  <a:gd name="connsiteX2888" fmla="*/ 2857 w 10820"/>
                  <a:gd name="connsiteY2888" fmla="*/ 7453 h 10000"/>
                  <a:gd name="connsiteX2889" fmla="*/ 2857 w 10820"/>
                  <a:gd name="connsiteY2889" fmla="*/ 7504 h 10000"/>
                  <a:gd name="connsiteX2890" fmla="*/ 2862 w 10820"/>
                  <a:gd name="connsiteY2890" fmla="*/ 7530 h 10000"/>
                  <a:gd name="connsiteX2891" fmla="*/ 2876 w 10820"/>
                  <a:gd name="connsiteY2891" fmla="*/ 7538 h 10000"/>
                  <a:gd name="connsiteX2892" fmla="*/ 2871 w 10820"/>
                  <a:gd name="connsiteY2892" fmla="*/ 7564 h 10000"/>
                  <a:gd name="connsiteX2893" fmla="*/ 2871 w 10820"/>
                  <a:gd name="connsiteY2893" fmla="*/ 7598 h 10000"/>
                  <a:gd name="connsiteX2894" fmla="*/ 2857 w 10820"/>
                  <a:gd name="connsiteY2894" fmla="*/ 7624 h 10000"/>
                  <a:gd name="connsiteX2895" fmla="*/ 2862 w 10820"/>
                  <a:gd name="connsiteY2895" fmla="*/ 7641 h 10000"/>
                  <a:gd name="connsiteX2896" fmla="*/ 2871 w 10820"/>
                  <a:gd name="connsiteY2896" fmla="*/ 7667 h 10000"/>
                  <a:gd name="connsiteX2897" fmla="*/ 2880 w 10820"/>
                  <a:gd name="connsiteY2897" fmla="*/ 7650 h 10000"/>
                  <a:gd name="connsiteX2898" fmla="*/ 2894 w 10820"/>
                  <a:gd name="connsiteY2898" fmla="*/ 7667 h 10000"/>
                  <a:gd name="connsiteX2899" fmla="*/ 2903 w 10820"/>
                  <a:gd name="connsiteY2899" fmla="*/ 7667 h 10000"/>
                  <a:gd name="connsiteX2900" fmla="*/ 2908 w 10820"/>
                  <a:gd name="connsiteY2900" fmla="*/ 7641 h 10000"/>
                  <a:gd name="connsiteX2901" fmla="*/ 2917 w 10820"/>
                  <a:gd name="connsiteY2901" fmla="*/ 7641 h 10000"/>
                  <a:gd name="connsiteX2902" fmla="*/ 2922 w 10820"/>
                  <a:gd name="connsiteY2902" fmla="*/ 7641 h 10000"/>
                  <a:gd name="connsiteX2903" fmla="*/ 2931 w 10820"/>
                  <a:gd name="connsiteY2903" fmla="*/ 7615 h 10000"/>
                  <a:gd name="connsiteX2904" fmla="*/ 2935 w 10820"/>
                  <a:gd name="connsiteY2904" fmla="*/ 7615 h 10000"/>
                  <a:gd name="connsiteX2905" fmla="*/ 2945 w 10820"/>
                  <a:gd name="connsiteY2905" fmla="*/ 7650 h 10000"/>
                  <a:gd name="connsiteX2906" fmla="*/ 2949 w 10820"/>
                  <a:gd name="connsiteY2906" fmla="*/ 7667 h 10000"/>
                  <a:gd name="connsiteX2907" fmla="*/ 2949 w 10820"/>
                  <a:gd name="connsiteY2907" fmla="*/ 7675 h 10000"/>
                  <a:gd name="connsiteX2908" fmla="*/ 2945 w 10820"/>
                  <a:gd name="connsiteY2908" fmla="*/ 7692 h 10000"/>
                  <a:gd name="connsiteX2909" fmla="*/ 2963 w 10820"/>
                  <a:gd name="connsiteY2909" fmla="*/ 7701 h 10000"/>
                  <a:gd name="connsiteX2910" fmla="*/ 2963 w 10820"/>
                  <a:gd name="connsiteY2910" fmla="*/ 7675 h 10000"/>
                  <a:gd name="connsiteX2911" fmla="*/ 2954 w 10820"/>
                  <a:gd name="connsiteY2911" fmla="*/ 7667 h 10000"/>
                  <a:gd name="connsiteX2912" fmla="*/ 2963 w 10820"/>
                  <a:gd name="connsiteY2912" fmla="*/ 7667 h 10000"/>
                  <a:gd name="connsiteX2913" fmla="*/ 2982 w 10820"/>
                  <a:gd name="connsiteY2913" fmla="*/ 7667 h 10000"/>
                  <a:gd name="connsiteX2914" fmla="*/ 2991 w 10820"/>
                  <a:gd name="connsiteY2914" fmla="*/ 7675 h 10000"/>
                  <a:gd name="connsiteX2915" fmla="*/ 2995 w 10820"/>
                  <a:gd name="connsiteY2915" fmla="*/ 7692 h 10000"/>
                  <a:gd name="connsiteX2916" fmla="*/ 3009 w 10820"/>
                  <a:gd name="connsiteY2916" fmla="*/ 7701 h 10000"/>
                  <a:gd name="connsiteX2917" fmla="*/ 3018 w 10820"/>
                  <a:gd name="connsiteY2917" fmla="*/ 7701 h 10000"/>
                  <a:gd name="connsiteX2918" fmla="*/ 3023 w 10820"/>
                  <a:gd name="connsiteY2918" fmla="*/ 7692 h 10000"/>
                  <a:gd name="connsiteX2919" fmla="*/ 3028 w 10820"/>
                  <a:gd name="connsiteY2919" fmla="*/ 7675 h 10000"/>
                  <a:gd name="connsiteX2920" fmla="*/ 3037 w 10820"/>
                  <a:gd name="connsiteY2920" fmla="*/ 7692 h 10000"/>
                  <a:gd name="connsiteX2921" fmla="*/ 3028 w 10820"/>
                  <a:gd name="connsiteY2921" fmla="*/ 7709 h 10000"/>
                  <a:gd name="connsiteX2922" fmla="*/ 3023 w 10820"/>
                  <a:gd name="connsiteY2922" fmla="*/ 7709 h 10000"/>
                  <a:gd name="connsiteX2923" fmla="*/ 3018 w 10820"/>
                  <a:gd name="connsiteY2923" fmla="*/ 7726 h 10000"/>
                  <a:gd name="connsiteX2924" fmla="*/ 3009 w 10820"/>
                  <a:gd name="connsiteY2924" fmla="*/ 7735 h 10000"/>
                  <a:gd name="connsiteX2925" fmla="*/ 3009 w 10820"/>
                  <a:gd name="connsiteY2925" fmla="*/ 7761 h 10000"/>
                  <a:gd name="connsiteX2926" fmla="*/ 3009 w 10820"/>
                  <a:gd name="connsiteY2926" fmla="*/ 7778 h 10000"/>
                  <a:gd name="connsiteX2927" fmla="*/ 3018 w 10820"/>
                  <a:gd name="connsiteY2927" fmla="*/ 7786 h 10000"/>
                  <a:gd name="connsiteX2928" fmla="*/ 3023 w 10820"/>
                  <a:gd name="connsiteY2928" fmla="*/ 7786 h 10000"/>
                  <a:gd name="connsiteX2929" fmla="*/ 3028 w 10820"/>
                  <a:gd name="connsiteY2929" fmla="*/ 7778 h 10000"/>
                  <a:gd name="connsiteX2930" fmla="*/ 3051 w 10820"/>
                  <a:gd name="connsiteY2930" fmla="*/ 7761 h 10000"/>
                  <a:gd name="connsiteX2931" fmla="*/ 3055 w 10820"/>
                  <a:gd name="connsiteY2931" fmla="*/ 7778 h 10000"/>
                  <a:gd name="connsiteX2932" fmla="*/ 3065 w 10820"/>
                  <a:gd name="connsiteY2932" fmla="*/ 7761 h 10000"/>
                  <a:gd name="connsiteX2933" fmla="*/ 3069 w 10820"/>
                  <a:gd name="connsiteY2933" fmla="*/ 7786 h 10000"/>
                  <a:gd name="connsiteX2934" fmla="*/ 3083 w 10820"/>
                  <a:gd name="connsiteY2934" fmla="*/ 7786 h 10000"/>
                  <a:gd name="connsiteX2935" fmla="*/ 3078 w 10820"/>
                  <a:gd name="connsiteY2935" fmla="*/ 7761 h 10000"/>
                  <a:gd name="connsiteX2936" fmla="*/ 3083 w 10820"/>
                  <a:gd name="connsiteY2936" fmla="*/ 7752 h 10000"/>
                  <a:gd name="connsiteX2937" fmla="*/ 3097 w 10820"/>
                  <a:gd name="connsiteY2937" fmla="*/ 7752 h 10000"/>
                  <a:gd name="connsiteX2938" fmla="*/ 3111 w 10820"/>
                  <a:gd name="connsiteY2938" fmla="*/ 7726 h 10000"/>
                  <a:gd name="connsiteX2939" fmla="*/ 3124 w 10820"/>
                  <a:gd name="connsiteY2939" fmla="*/ 7709 h 10000"/>
                  <a:gd name="connsiteX2940" fmla="*/ 3143 w 10820"/>
                  <a:gd name="connsiteY2940" fmla="*/ 7692 h 10000"/>
                  <a:gd name="connsiteX2941" fmla="*/ 3152 w 10820"/>
                  <a:gd name="connsiteY2941" fmla="*/ 7667 h 10000"/>
                  <a:gd name="connsiteX2942" fmla="*/ 3157 w 10820"/>
                  <a:gd name="connsiteY2942" fmla="*/ 7650 h 10000"/>
                  <a:gd name="connsiteX2943" fmla="*/ 3161 w 10820"/>
                  <a:gd name="connsiteY2943" fmla="*/ 7650 h 10000"/>
                  <a:gd name="connsiteX2944" fmla="*/ 3189 w 10820"/>
                  <a:gd name="connsiteY2944" fmla="*/ 7641 h 10000"/>
                  <a:gd name="connsiteX2945" fmla="*/ 3198 w 10820"/>
                  <a:gd name="connsiteY2945" fmla="*/ 7624 h 10000"/>
                  <a:gd name="connsiteX2946" fmla="*/ 3217 w 10820"/>
                  <a:gd name="connsiteY2946" fmla="*/ 7615 h 10000"/>
                  <a:gd name="connsiteX2947" fmla="*/ 3235 w 10820"/>
                  <a:gd name="connsiteY2947" fmla="*/ 7598 h 10000"/>
                  <a:gd name="connsiteX2948" fmla="*/ 3235 w 10820"/>
                  <a:gd name="connsiteY2948" fmla="*/ 7615 h 10000"/>
                  <a:gd name="connsiteX2949" fmla="*/ 3235 w 10820"/>
                  <a:gd name="connsiteY2949" fmla="*/ 7641 h 10000"/>
                  <a:gd name="connsiteX2950" fmla="*/ 3235 w 10820"/>
                  <a:gd name="connsiteY2950" fmla="*/ 7650 h 10000"/>
                  <a:gd name="connsiteX2951" fmla="*/ 3226 w 10820"/>
                  <a:gd name="connsiteY2951" fmla="*/ 7650 h 10000"/>
                  <a:gd name="connsiteX2952" fmla="*/ 3217 w 10820"/>
                  <a:gd name="connsiteY2952" fmla="*/ 7650 h 10000"/>
                  <a:gd name="connsiteX2953" fmla="*/ 3212 w 10820"/>
                  <a:gd name="connsiteY2953" fmla="*/ 7675 h 10000"/>
                  <a:gd name="connsiteX2954" fmla="*/ 3212 w 10820"/>
                  <a:gd name="connsiteY2954"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307 w 10785"/>
                  <a:gd name="connsiteY731" fmla="*/ 4899 h 10000"/>
                  <a:gd name="connsiteX732" fmla="*/ 10785 w 10785"/>
                  <a:gd name="connsiteY732" fmla="*/ 4708 h 10000"/>
                  <a:gd name="connsiteX733" fmla="*/ 10689 w 10785"/>
                  <a:gd name="connsiteY733" fmla="*/ 4467 h 10000"/>
                  <a:gd name="connsiteX734" fmla="*/ 10354 w 10785"/>
                  <a:gd name="connsiteY734" fmla="*/ 4302 h 10000"/>
                  <a:gd name="connsiteX735" fmla="*/ 9912 w 10785"/>
                  <a:gd name="connsiteY735" fmla="*/ 3675 h 10000"/>
                  <a:gd name="connsiteX736" fmla="*/ 9903 w 10785"/>
                  <a:gd name="connsiteY736" fmla="*/ 3667 h 10000"/>
                  <a:gd name="connsiteX737" fmla="*/ 9894 w 10785"/>
                  <a:gd name="connsiteY737" fmla="*/ 3641 h 10000"/>
                  <a:gd name="connsiteX738" fmla="*/ 9889 w 10785"/>
                  <a:gd name="connsiteY738" fmla="*/ 3650 h 10000"/>
                  <a:gd name="connsiteX739" fmla="*/ 9848 w 10785"/>
                  <a:gd name="connsiteY739" fmla="*/ 3598 h 10000"/>
                  <a:gd name="connsiteX740" fmla="*/ 9829 w 10785"/>
                  <a:gd name="connsiteY740" fmla="*/ 3581 h 10000"/>
                  <a:gd name="connsiteX741" fmla="*/ 9820 w 10785"/>
                  <a:gd name="connsiteY741" fmla="*/ 3581 h 10000"/>
                  <a:gd name="connsiteX742" fmla="*/ 9793 w 10785"/>
                  <a:gd name="connsiteY742" fmla="*/ 3556 h 10000"/>
                  <a:gd name="connsiteX743" fmla="*/ 9779 w 10785"/>
                  <a:gd name="connsiteY743" fmla="*/ 3556 h 10000"/>
                  <a:gd name="connsiteX744" fmla="*/ 9747 w 10785"/>
                  <a:gd name="connsiteY744" fmla="*/ 3487 h 10000"/>
                  <a:gd name="connsiteX745" fmla="*/ 9668 w 10785"/>
                  <a:gd name="connsiteY745" fmla="*/ 3479 h 10000"/>
                  <a:gd name="connsiteX746" fmla="*/ 9659 w 10785"/>
                  <a:gd name="connsiteY746" fmla="*/ 3487 h 10000"/>
                  <a:gd name="connsiteX747" fmla="*/ 9645 w 10785"/>
                  <a:gd name="connsiteY747" fmla="*/ 3504 h 10000"/>
                  <a:gd name="connsiteX748" fmla="*/ 9631 w 10785"/>
                  <a:gd name="connsiteY748" fmla="*/ 3487 h 10000"/>
                  <a:gd name="connsiteX749" fmla="*/ 9613 w 10785"/>
                  <a:gd name="connsiteY749" fmla="*/ 3479 h 10000"/>
                  <a:gd name="connsiteX750" fmla="*/ 9599 w 10785"/>
                  <a:gd name="connsiteY750" fmla="*/ 3479 h 10000"/>
                  <a:gd name="connsiteX751" fmla="*/ 9571 w 10785"/>
                  <a:gd name="connsiteY751" fmla="*/ 3479 h 10000"/>
                  <a:gd name="connsiteX752" fmla="*/ 9562 w 10785"/>
                  <a:gd name="connsiteY752" fmla="*/ 3487 h 10000"/>
                  <a:gd name="connsiteX753" fmla="*/ 9539 w 10785"/>
                  <a:gd name="connsiteY753" fmla="*/ 3487 h 10000"/>
                  <a:gd name="connsiteX754" fmla="*/ 9507 w 10785"/>
                  <a:gd name="connsiteY754" fmla="*/ 3453 h 10000"/>
                  <a:gd name="connsiteX755" fmla="*/ 9498 w 10785"/>
                  <a:gd name="connsiteY755" fmla="*/ 3453 h 10000"/>
                  <a:gd name="connsiteX756" fmla="*/ 9387 w 10785"/>
                  <a:gd name="connsiteY756" fmla="*/ 3419 h 10000"/>
                  <a:gd name="connsiteX757" fmla="*/ 9373 w 10785"/>
                  <a:gd name="connsiteY757" fmla="*/ 3427 h 10000"/>
                  <a:gd name="connsiteX758" fmla="*/ 9373 w 10785"/>
                  <a:gd name="connsiteY758" fmla="*/ 3462 h 10000"/>
                  <a:gd name="connsiteX759" fmla="*/ 9378 w 10785"/>
                  <a:gd name="connsiteY759" fmla="*/ 3479 h 10000"/>
                  <a:gd name="connsiteX760" fmla="*/ 9378 w 10785"/>
                  <a:gd name="connsiteY760" fmla="*/ 3530 h 10000"/>
                  <a:gd name="connsiteX761" fmla="*/ 9355 w 10785"/>
                  <a:gd name="connsiteY761" fmla="*/ 3538 h 10000"/>
                  <a:gd name="connsiteX762" fmla="*/ 9355 w 10785"/>
                  <a:gd name="connsiteY762" fmla="*/ 3581 h 10000"/>
                  <a:gd name="connsiteX763" fmla="*/ 9387 w 10785"/>
                  <a:gd name="connsiteY763" fmla="*/ 3590 h 10000"/>
                  <a:gd name="connsiteX764" fmla="*/ 9401 w 10785"/>
                  <a:gd name="connsiteY764" fmla="*/ 3667 h 10000"/>
                  <a:gd name="connsiteX765" fmla="*/ 9406 w 10785"/>
                  <a:gd name="connsiteY765" fmla="*/ 3675 h 10000"/>
                  <a:gd name="connsiteX766" fmla="*/ 9406 w 10785"/>
                  <a:gd name="connsiteY766" fmla="*/ 3701 h 10000"/>
                  <a:gd name="connsiteX767" fmla="*/ 9415 w 10785"/>
                  <a:gd name="connsiteY767" fmla="*/ 3752 h 10000"/>
                  <a:gd name="connsiteX768" fmla="*/ 9373 w 10785"/>
                  <a:gd name="connsiteY768" fmla="*/ 3838 h 10000"/>
                  <a:gd name="connsiteX769" fmla="*/ 9355 w 10785"/>
                  <a:gd name="connsiteY769" fmla="*/ 3863 h 10000"/>
                  <a:gd name="connsiteX770" fmla="*/ 9327 w 10785"/>
                  <a:gd name="connsiteY770" fmla="*/ 3863 h 10000"/>
                  <a:gd name="connsiteX771" fmla="*/ 9313 w 10785"/>
                  <a:gd name="connsiteY771" fmla="*/ 3846 h 10000"/>
                  <a:gd name="connsiteX772" fmla="*/ 9300 w 10785"/>
                  <a:gd name="connsiteY772" fmla="*/ 3778 h 10000"/>
                  <a:gd name="connsiteX773" fmla="*/ 9281 w 10785"/>
                  <a:gd name="connsiteY773" fmla="*/ 3752 h 10000"/>
                  <a:gd name="connsiteX774" fmla="*/ 9281 w 10785"/>
                  <a:gd name="connsiteY774" fmla="*/ 3735 h 10000"/>
                  <a:gd name="connsiteX775" fmla="*/ 9267 w 10785"/>
                  <a:gd name="connsiteY775" fmla="*/ 3726 h 10000"/>
                  <a:gd name="connsiteX776" fmla="*/ 9240 w 10785"/>
                  <a:gd name="connsiteY776" fmla="*/ 3726 h 10000"/>
                  <a:gd name="connsiteX777" fmla="*/ 9230 w 10785"/>
                  <a:gd name="connsiteY777" fmla="*/ 3718 h 10000"/>
                  <a:gd name="connsiteX778" fmla="*/ 9226 w 10785"/>
                  <a:gd name="connsiteY778" fmla="*/ 3590 h 10000"/>
                  <a:gd name="connsiteX779" fmla="*/ 9207 w 10785"/>
                  <a:gd name="connsiteY779" fmla="*/ 3581 h 10000"/>
                  <a:gd name="connsiteX780" fmla="*/ 9207 w 10785"/>
                  <a:gd name="connsiteY780" fmla="*/ 3556 h 10000"/>
                  <a:gd name="connsiteX781" fmla="*/ 9217 w 10785"/>
                  <a:gd name="connsiteY781" fmla="*/ 3538 h 10000"/>
                  <a:gd name="connsiteX782" fmla="*/ 9212 w 10785"/>
                  <a:gd name="connsiteY782" fmla="*/ 3538 h 10000"/>
                  <a:gd name="connsiteX783" fmla="*/ 9198 w 10785"/>
                  <a:gd name="connsiteY783" fmla="*/ 3513 h 10000"/>
                  <a:gd name="connsiteX784" fmla="*/ 9194 w 10785"/>
                  <a:gd name="connsiteY784" fmla="*/ 3530 h 10000"/>
                  <a:gd name="connsiteX785" fmla="*/ 9143 w 10785"/>
                  <a:gd name="connsiteY785" fmla="*/ 3615 h 10000"/>
                  <a:gd name="connsiteX786" fmla="*/ 9138 w 10785"/>
                  <a:gd name="connsiteY786" fmla="*/ 3615 h 10000"/>
                  <a:gd name="connsiteX787" fmla="*/ 9134 w 10785"/>
                  <a:gd name="connsiteY787" fmla="*/ 3615 h 10000"/>
                  <a:gd name="connsiteX788" fmla="*/ 9106 w 10785"/>
                  <a:gd name="connsiteY788" fmla="*/ 3615 h 10000"/>
                  <a:gd name="connsiteX789" fmla="*/ 9078 w 10785"/>
                  <a:gd name="connsiteY789" fmla="*/ 3590 h 10000"/>
                  <a:gd name="connsiteX790" fmla="*/ 9037 w 10785"/>
                  <a:gd name="connsiteY790" fmla="*/ 3581 h 10000"/>
                  <a:gd name="connsiteX791" fmla="*/ 9023 w 10785"/>
                  <a:gd name="connsiteY791" fmla="*/ 3590 h 10000"/>
                  <a:gd name="connsiteX792" fmla="*/ 9018 w 10785"/>
                  <a:gd name="connsiteY792" fmla="*/ 3590 h 10000"/>
                  <a:gd name="connsiteX793" fmla="*/ 9018 w 10785"/>
                  <a:gd name="connsiteY793" fmla="*/ 3590 h 10000"/>
                  <a:gd name="connsiteX794" fmla="*/ 8991 w 10785"/>
                  <a:gd name="connsiteY794" fmla="*/ 3590 h 10000"/>
                  <a:gd name="connsiteX795" fmla="*/ 8972 w 10785"/>
                  <a:gd name="connsiteY795" fmla="*/ 3581 h 10000"/>
                  <a:gd name="connsiteX796" fmla="*/ 8959 w 10785"/>
                  <a:gd name="connsiteY796" fmla="*/ 3513 h 10000"/>
                  <a:gd name="connsiteX797" fmla="*/ 8931 w 10785"/>
                  <a:gd name="connsiteY797" fmla="*/ 3538 h 10000"/>
                  <a:gd name="connsiteX798" fmla="*/ 8889 w 10785"/>
                  <a:gd name="connsiteY798" fmla="*/ 3538 h 10000"/>
                  <a:gd name="connsiteX799" fmla="*/ 8871 w 10785"/>
                  <a:gd name="connsiteY799" fmla="*/ 3556 h 10000"/>
                  <a:gd name="connsiteX800" fmla="*/ 8857 w 10785"/>
                  <a:gd name="connsiteY800" fmla="*/ 3538 h 10000"/>
                  <a:gd name="connsiteX801" fmla="*/ 8843 w 10785"/>
                  <a:gd name="connsiteY801" fmla="*/ 3538 h 10000"/>
                  <a:gd name="connsiteX802" fmla="*/ 8839 w 10785"/>
                  <a:gd name="connsiteY802" fmla="*/ 3556 h 10000"/>
                  <a:gd name="connsiteX803" fmla="*/ 8839 w 10785"/>
                  <a:gd name="connsiteY803" fmla="*/ 3581 h 10000"/>
                  <a:gd name="connsiteX804" fmla="*/ 8825 w 10785"/>
                  <a:gd name="connsiteY804" fmla="*/ 3564 h 10000"/>
                  <a:gd name="connsiteX805" fmla="*/ 8825 w 10785"/>
                  <a:gd name="connsiteY805" fmla="*/ 3615 h 10000"/>
                  <a:gd name="connsiteX806" fmla="*/ 8802 w 10785"/>
                  <a:gd name="connsiteY806" fmla="*/ 3598 h 10000"/>
                  <a:gd name="connsiteX807" fmla="*/ 8797 w 10785"/>
                  <a:gd name="connsiteY807" fmla="*/ 3641 h 10000"/>
                  <a:gd name="connsiteX808" fmla="*/ 8783 w 10785"/>
                  <a:gd name="connsiteY808" fmla="*/ 3667 h 10000"/>
                  <a:gd name="connsiteX809" fmla="*/ 8779 w 10785"/>
                  <a:gd name="connsiteY809" fmla="*/ 3650 h 10000"/>
                  <a:gd name="connsiteX810" fmla="*/ 8779 w 10785"/>
                  <a:gd name="connsiteY810" fmla="*/ 3615 h 10000"/>
                  <a:gd name="connsiteX811" fmla="*/ 8770 w 10785"/>
                  <a:gd name="connsiteY811" fmla="*/ 3590 h 10000"/>
                  <a:gd name="connsiteX812" fmla="*/ 8765 w 10785"/>
                  <a:gd name="connsiteY812" fmla="*/ 3598 h 10000"/>
                  <a:gd name="connsiteX813" fmla="*/ 8756 w 10785"/>
                  <a:gd name="connsiteY813" fmla="*/ 3590 h 10000"/>
                  <a:gd name="connsiteX814" fmla="*/ 8737 w 10785"/>
                  <a:gd name="connsiteY814" fmla="*/ 3556 h 10000"/>
                  <a:gd name="connsiteX815" fmla="*/ 8724 w 10785"/>
                  <a:gd name="connsiteY815" fmla="*/ 3538 h 10000"/>
                  <a:gd name="connsiteX816" fmla="*/ 8696 w 10785"/>
                  <a:gd name="connsiteY816" fmla="*/ 3538 h 10000"/>
                  <a:gd name="connsiteX817" fmla="*/ 8691 w 10785"/>
                  <a:gd name="connsiteY817" fmla="*/ 3513 h 10000"/>
                  <a:gd name="connsiteX818" fmla="*/ 8668 w 10785"/>
                  <a:gd name="connsiteY818" fmla="*/ 3504 h 10000"/>
                  <a:gd name="connsiteX819" fmla="*/ 8668 w 10785"/>
                  <a:gd name="connsiteY819" fmla="*/ 3487 h 10000"/>
                  <a:gd name="connsiteX820" fmla="*/ 8691 w 10785"/>
                  <a:gd name="connsiteY820" fmla="*/ 3350 h 10000"/>
                  <a:gd name="connsiteX821" fmla="*/ 8691 w 10785"/>
                  <a:gd name="connsiteY821" fmla="*/ 3291 h 10000"/>
                  <a:gd name="connsiteX822" fmla="*/ 8677 w 10785"/>
                  <a:gd name="connsiteY822" fmla="*/ 3239 h 10000"/>
                  <a:gd name="connsiteX823" fmla="*/ 8677 w 10785"/>
                  <a:gd name="connsiteY823" fmla="*/ 3231 h 10000"/>
                  <a:gd name="connsiteX824" fmla="*/ 8636 w 10785"/>
                  <a:gd name="connsiteY824" fmla="*/ 3128 h 10000"/>
                  <a:gd name="connsiteX825" fmla="*/ 8622 w 10785"/>
                  <a:gd name="connsiteY825" fmla="*/ 3120 h 10000"/>
                  <a:gd name="connsiteX826" fmla="*/ 8618 w 10785"/>
                  <a:gd name="connsiteY826" fmla="*/ 3094 h 10000"/>
                  <a:gd name="connsiteX827" fmla="*/ 8594 w 10785"/>
                  <a:gd name="connsiteY827" fmla="*/ 3077 h 10000"/>
                  <a:gd name="connsiteX828" fmla="*/ 8548 w 10785"/>
                  <a:gd name="connsiteY828" fmla="*/ 3077 h 10000"/>
                  <a:gd name="connsiteX829" fmla="*/ 8535 w 10785"/>
                  <a:gd name="connsiteY829" fmla="*/ 3068 h 10000"/>
                  <a:gd name="connsiteX830" fmla="*/ 8429 w 10785"/>
                  <a:gd name="connsiteY830" fmla="*/ 3077 h 10000"/>
                  <a:gd name="connsiteX831" fmla="*/ 8424 w 10785"/>
                  <a:gd name="connsiteY831" fmla="*/ 3077 h 10000"/>
                  <a:gd name="connsiteX832" fmla="*/ 8396 w 10785"/>
                  <a:gd name="connsiteY832" fmla="*/ 3077 h 10000"/>
                  <a:gd name="connsiteX833" fmla="*/ 8387 w 10785"/>
                  <a:gd name="connsiteY833" fmla="*/ 3094 h 10000"/>
                  <a:gd name="connsiteX834" fmla="*/ 8378 w 10785"/>
                  <a:gd name="connsiteY834" fmla="*/ 3094 h 10000"/>
                  <a:gd name="connsiteX835" fmla="*/ 8341 w 10785"/>
                  <a:gd name="connsiteY835" fmla="*/ 3077 h 10000"/>
                  <a:gd name="connsiteX836" fmla="*/ 8336 w 10785"/>
                  <a:gd name="connsiteY836" fmla="*/ 3077 h 10000"/>
                  <a:gd name="connsiteX837" fmla="*/ 8327 w 10785"/>
                  <a:gd name="connsiteY837" fmla="*/ 3103 h 10000"/>
                  <a:gd name="connsiteX838" fmla="*/ 8309 w 10785"/>
                  <a:gd name="connsiteY838" fmla="*/ 3120 h 10000"/>
                  <a:gd name="connsiteX839" fmla="*/ 8304 w 10785"/>
                  <a:gd name="connsiteY839" fmla="*/ 3103 h 10000"/>
                  <a:gd name="connsiteX840" fmla="*/ 8276 w 10785"/>
                  <a:gd name="connsiteY840" fmla="*/ 3103 h 10000"/>
                  <a:gd name="connsiteX841" fmla="*/ 8267 w 10785"/>
                  <a:gd name="connsiteY841" fmla="*/ 3120 h 10000"/>
                  <a:gd name="connsiteX842" fmla="*/ 8253 w 10785"/>
                  <a:gd name="connsiteY842" fmla="*/ 3103 h 10000"/>
                  <a:gd name="connsiteX843" fmla="*/ 8230 w 10785"/>
                  <a:gd name="connsiteY843" fmla="*/ 3128 h 10000"/>
                  <a:gd name="connsiteX844" fmla="*/ 8217 w 10785"/>
                  <a:gd name="connsiteY844" fmla="*/ 3128 h 10000"/>
                  <a:gd name="connsiteX845" fmla="*/ 8203 w 10785"/>
                  <a:gd name="connsiteY845" fmla="*/ 3154 h 10000"/>
                  <a:gd name="connsiteX846" fmla="*/ 8175 w 10785"/>
                  <a:gd name="connsiteY846" fmla="*/ 3094 h 10000"/>
                  <a:gd name="connsiteX847" fmla="*/ 8161 w 10785"/>
                  <a:gd name="connsiteY847" fmla="*/ 3094 h 10000"/>
                  <a:gd name="connsiteX848" fmla="*/ 8157 w 10785"/>
                  <a:gd name="connsiteY848" fmla="*/ 3077 h 10000"/>
                  <a:gd name="connsiteX849" fmla="*/ 8180 w 10785"/>
                  <a:gd name="connsiteY849" fmla="*/ 3068 h 10000"/>
                  <a:gd name="connsiteX850" fmla="*/ 8189 w 10785"/>
                  <a:gd name="connsiteY850" fmla="*/ 3043 h 10000"/>
                  <a:gd name="connsiteX851" fmla="*/ 8189 w 10785"/>
                  <a:gd name="connsiteY851" fmla="*/ 3017 h 10000"/>
                  <a:gd name="connsiteX852" fmla="*/ 8147 w 10785"/>
                  <a:gd name="connsiteY852" fmla="*/ 2940 h 10000"/>
                  <a:gd name="connsiteX853" fmla="*/ 8143 w 10785"/>
                  <a:gd name="connsiteY853" fmla="*/ 2915 h 10000"/>
                  <a:gd name="connsiteX854" fmla="*/ 8143 w 10785"/>
                  <a:gd name="connsiteY854" fmla="*/ 2906 h 10000"/>
                  <a:gd name="connsiteX855" fmla="*/ 8097 w 10785"/>
                  <a:gd name="connsiteY855" fmla="*/ 2932 h 10000"/>
                  <a:gd name="connsiteX856" fmla="*/ 8083 w 10785"/>
                  <a:gd name="connsiteY856" fmla="*/ 2932 h 10000"/>
                  <a:gd name="connsiteX857" fmla="*/ 8074 w 10785"/>
                  <a:gd name="connsiteY857" fmla="*/ 2906 h 10000"/>
                  <a:gd name="connsiteX858" fmla="*/ 8074 w 10785"/>
                  <a:gd name="connsiteY858" fmla="*/ 2897 h 10000"/>
                  <a:gd name="connsiteX859" fmla="*/ 8055 w 10785"/>
                  <a:gd name="connsiteY859" fmla="*/ 2872 h 10000"/>
                  <a:gd name="connsiteX860" fmla="*/ 8046 w 10785"/>
                  <a:gd name="connsiteY860" fmla="*/ 2829 h 10000"/>
                  <a:gd name="connsiteX861" fmla="*/ 8041 w 10785"/>
                  <a:gd name="connsiteY861" fmla="*/ 2829 h 10000"/>
                  <a:gd name="connsiteX862" fmla="*/ 8023 w 10785"/>
                  <a:gd name="connsiteY862" fmla="*/ 2803 h 10000"/>
                  <a:gd name="connsiteX863" fmla="*/ 8014 w 10785"/>
                  <a:gd name="connsiteY863" fmla="*/ 2829 h 10000"/>
                  <a:gd name="connsiteX864" fmla="*/ 8000 w 10785"/>
                  <a:gd name="connsiteY864" fmla="*/ 2829 h 10000"/>
                  <a:gd name="connsiteX865" fmla="*/ 7995 w 10785"/>
                  <a:gd name="connsiteY865" fmla="*/ 2821 h 10000"/>
                  <a:gd name="connsiteX866" fmla="*/ 7972 w 10785"/>
                  <a:gd name="connsiteY866" fmla="*/ 2803 h 10000"/>
                  <a:gd name="connsiteX867" fmla="*/ 7968 w 10785"/>
                  <a:gd name="connsiteY867" fmla="*/ 2821 h 10000"/>
                  <a:gd name="connsiteX868" fmla="*/ 7968 w 10785"/>
                  <a:gd name="connsiteY868" fmla="*/ 2803 h 10000"/>
                  <a:gd name="connsiteX869" fmla="*/ 7995 w 10785"/>
                  <a:gd name="connsiteY869" fmla="*/ 2735 h 10000"/>
                  <a:gd name="connsiteX870" fmla="*/ 8000 w 10785"/>
                  <a:gd name="connsiteY870" fmla="*/ 2735 h 10000"/>
                  <a:gd name="connsiteX871" fmla="*/ 8014 w 10785"/>
                  <a:gd name="connsiteY871" fmla="*/ 2744 h 10000"/>
                  <a:gd name="connsiteX872" fmla="*/ 8023 w 10785"/>
                  <a:gd name="connsiteY872" fmla="*/ 2769 h 10000"/>
                  <a:gd name="connsiteX873" fmla="*/ 8032 w 10785"/>
                  <a:gd name="connsiteY873" fmla="*/ 2744 h 10000"/>
                  <a:gd name="connsiteX874" fmla="*/ 8032 w 10785"/>
                  <a:gd name="connsiteY874" fmla="*/ 2709 h 10000"/>
                  <a:gd name="connsiteX875" fmla="*/ 8023 w 10785"/>
                  <a:gd name="connsiteY875" fmla="*/ 2632 h 10000"/>
                  <a:gd name="connsiteX876" fmla="*/ 7986 w 10785"/>
                  <a:gd name="connsiteY876" fmla="*/ 2581 h 10000"/>
                  <a:gd name="connsiteX877" fmla="*/ 7968 w 10785"/>
                  <a:gd name="connsiteY877" fmla="*/ 2581 h 10000"/>
                  <a:gd name="connsiteX878" fmla="*/ 7963 w 10785"/>
                  <a:gd name="connsiteY878" fmla="*/ 2556 h 10000"/>
                  <a:gd name="connsiteX879" fmla="*/ 7935 w 10785"/>
                  <a:gd name="connsiteY879" fmla="*/ 2547 h 10000"/>
                  <a:gd name="connsiteX880" fmla="*/ 7912 w 10785"/>
                  <a:gd name="connsiteY880" fmla="*/ 2547 h 10000"/>
                  <a:gd name="connsiteX881" fmla="*/ 7912 w 10785"/>
                  <a:gd name="connsiteY881" fmla="*/ 2556 h 10000"/>
                  <a:gd name="connsiteX882" fmla="*/ 7908 w 10785"/>
                  <a:gd name="connsiteY882" fmla="*/ 2547 h 10000"/>
                  <a:gd name="connsiteX883" fmla="*/ 7862 w 10785"/>
                  <a:gd name="connsiteY883" fmla="*/ 2547 h 10000"/>
                  <a:gd name="connsiteX884" fmla="*/ 7848 w 10785"/>
                  <a:gd name="connsiteY884" fmla="*/ 2556 h 10000"/>
                  <a:gd name="connsiteX885" fmla="*/ 7820 w 10785"/>
                  <a:gd name="connsiteY885" fmla="*/ 2547 h 10000"/>
                  <a:gd name="connsiteX886" fmla="*/ 7806 w 10785"/>
                  <a:gd name="connsiteY886" fmla="*/ 2513 h 10000"/>
                  <a:gd name="connsiteX887" fmla="*/ 7788 w 10785"/>
                  <a:gd name="connsiteY887" fmla="*/ 2513 h 10000"/>
                  <a:gd name="connsiteX888" fmla="*/ 7760 w 10785"/>
                  <a:gd name="connsiteY888" fmla="*/ 2470 h 10000"/>
                  <a:gd name="connsiteX889" fmla="*/ 7751 w 10785"/>
                  <a:gd name="connsiteY889" fmla="*/ 2470 h 10000"/>
                  <a:gd name="connsiteX890" fmla="*/ 7705 w 10785"/>
                  <a:gd name="connsiteY890" fmla="*/ 2462 h 10000"/>
                  <a:gd name="connsiteX891" fmla="*/ 7673 w 10785"/>
                  <a:gd name="connsiteY891" fmla="*/ 2419 h 10000"/>
                  <a:gd name="connsiteX892" fmla="*/ 7627 w 10785"/>
                  <a:gd name="connsiteY892" fmla="*/ 2419 h 10000"/>
                  <a:gd name="connsiteX893" fmla="*/ 7613 w 10785"/>
                  <a:gd name="connsiteY893" fmla="*/ 2410 h 10000"/>
                  <a:gd name="connsiteX894" fmla="*/ 7493 w 10785"/>
                  <a:gd name="connsiteY894" fmla="*/ 2393 h 10000"/>
                  <a:gd name="connsiteX895" fmla="*/ 7479 w 10785"/>
                  <a:gd name="connsiteY895" fmla="*/ 2385 h 10000"/>
                  <a:gd name="connsiteX896" fmla="*/ 7479 w 10785"/>
                  <a:gd name="connsiteY896" fmla="*/ 2376 h 10000"/>
                  <a:gd name="connsiteX897" fmla="*/ 7465 w 10785"/>
                  <a:gd name="connsiteY897" fmla="*/ 2359 h 10000"/>
                  <a:gd name="connsiteX898" fmla="*/ 7447 w 10785"/>
                  <a:gd name="connsiteY898" fmla="*/ 2350 h 10000"/>
                  <a:gd name="connsiteX899" fmla="*/ 7433 w 10785"/>
                  <a:gd name="connsiteY899" fmla="*/ 2376 h 10000"/>
                  <a:gd name="connsiteX900" fmla="*/ 7433 w 10785"/>
                  <a:gd name="connsiteY900" fmla="*/ 2385 h 10000"/>
                  <a:gd name="connsiteX901" fmla="*/ 7447 w 10785"/>
                  <a:gd name="connsiteY901" fmla="*/ 2410 h 10000"/>
                  <a:gd name="connsiteX902" fmla="*/ 7447 w 10785"/>
                  <a:gd name="connsiteY902" fmla="*/ 2436 h 10000"/>
                  <a:gd name="connsiteX903" fmla="*/ 7452 w 10785"/>
                  <a:gd name="connsiteY903" fmla="*/ 2462 h 10000"/>
                  <a:gd name="connsiteX904" fmla="*/ 7447 w 10785"/>
                  <a:gd name="connsiteY904" fmla="*/ 2470 h 10000"/>
                  <a:gd name="connsiteX905" fmla="*/ 7424 w 10785"/>
                  <a:gd name="connsiteY905" fmla="*/ 2513 h 10000"/>
                  <a:gd name="connsiteX906" fmla="*/ 7419 w 10785"/>
                  <a:gd name="connsiteY906" fmla="*/ 2556 h 10000"/>
                  <a:gd name="connsiteX907" fmla="*/ 7406 w 10785"/>
                  <a:gd name="connsiteY907" fmla="*/ 2624 h 10000"/>
                  <a:gd name="connsiteX908" fmla="*/ 7392 w 10785"/>
                  <a:gd name="connsiteY908" fmla="*/ 2624 h 10000"/>
                  <a:gd name="connsiteX909" fmla="*/ 7373 w 10785"/>
                  <a:gd name="connsiteY909" fmla="*/ 2650 h 10000"/>
                  <a:gd name="connsiteX910" fmla="*/ 7364 w 10785"/>
                  <a:gd name="connsiteY910" fmla="*/ 2684 h 10000"/>
                  <a:gd name="connsiteX911" fmla="*/ 7364 w 10785"/>
                  <a:gd name="connsiteY911" fmla="*/ 2692 h 10000"/>
                  <a:gd name="connsiteX912" fmla="*/ 7373 w 10785"/>
                  <a:gd name="connsiteY912" fmla="*/ 2718 h 10000"/>
                  <a:gd name="connsiteX913" fmla="*/ 7373 w 10785"/>
                  <a:gd name="connsiteY913" fmla="*/ 2744 h 10000"/>
                  <a:gd name="connsiteX914" fmla="*/ 7359 w 10785"/>
                  <a:gd name="connsiteY914" fmla="*/ 2744 h 10000"/>
                  <a:gd name="connsiteX915" fmla="*/ 7359 w 10785"/>
                  <a:gd name="connsiteY915" fmla="*/ 2795 h 10000"/>
                  <a:gd name="connsiteX916" fmla="*/ 7364 w 10785"/>
                  <a:gd name="connsiteY916" fmla="*/ 2821 h 10000"/>
                  <a:gd name="connsiteX917" fmla="*/ 7378 w 10785"/>
                  <a:gd name="connsiteY917" fmla="*/ 2846 h 10000"/>
                  <a:gd name="connsiteX918" fmla="*/ 7378 w 10785"/>
                  <a:gd name="connsiteY918" fmla="*/ 2855 h 10000"/>
                  <a:gd name="connsiteX919" fmla="*/ 7378 w 10785"/>
                  <a:gd name="connsiteY919" fmla="*/ 2880 h 10000"/>
                  <a:gd name="connsiteX920" fmla="*/ 7378 w 10785"/>
                  <a:gd name="connsiteY920" fmla="*/ 2906 h 10000"/>
                  <a:gd name="connsiteX921" fmla="*/ 7364 w 10785"/>
                  <a:gd name="connsiteY921" fmla="*/ 2906 h 10000"/>
                  <a:gd name="connsiteX922" fmla="*/ 7346 w 10785"/>
                  <a:gd name="connsiteY922" fmla="*/ 2880 h 10000"/>
                  <a:gd name="connsiteX923" fmla="*/ 7332 w 10785"/>
                  <a:gd name="connsiteY923" fmla="*/ 2915 h 10000"/>
                  <a:gd name="connsiteX924" fmla="*/ 7318 w 10785"/>
                  <a:gd name="connsiteY924" fmla="*/ 2906 h 10000"/>
                  <a:gd name="connsiteX925" fmla="*/ 7313 w 10785"/>
                  <a:gd name="connsiteY925" fmla="*/ 2915 h 10000"/>
                  <a:gd name="connsiteX926" fmla="*/ 7313 w 10785"/>
                  <a:gd name="connsiteY926" fmla="*/ 2906 h 10000"/>
                  <a:gd name="connsiteX927" fmla="*/ 7286 w 10785"/>
                  <a:gd name="connsiteY927" fmla="*/ 2940 h 10000"/>
                  <a:gd name="connsiteX928" fmla="*/ 7276 w 10785"/>
                  <a:gd name="connsiteY928" fmla="*/ 2966 h 10000"/>
                  <a:gd name="connsiteX929" fmla="*/ 7272 w 10785"/>
                  <a:gd name="connsiteY929" fmla="*/ 2983 h 10000"/>
                  <a:gd name="connsiteX930" fmla="*/ 7267 w 10785"/>
                  <a:gd name="connsiteY930" fmla="*/ 3009 h 10000"/>
                  <a:gd name="connsiteX931" fmla="*/ 7253 w 10785"/>
                  <a:gd name="connsiteY931" fmla="*/ 3009 h 10000"/>
                  <a:gd name="connsiteX932" fmla="*/ 7244 w 10785"/>
                  <a:gd name="connsiteY932" fmla="*/ 3017 h 10000"/>
                  <a:gd name="connsiteX933" fmla="*/ 7240 w 10785"/>
                  <a:gd name="connsiteY933" fmla="*/ 3009 h 10000"/>
                  <a:gd name="connsiteX934" fmla="*/ 7230 w 10785"/>
                  <a:gd name="connsiteY934" fmla="*/ 2991 h 10000"/>
                  <a:gd name="connsiteX935" fmla="*/ 7226 w 10785"/>
                  <a:gd name="connsiteY935" fmla="*/ 2983 h 10000"/>
                  <a:gd name="connsiteX936" fmla="*/ 7226 w 10785"/>
                  <a:gd name="connsiteY936" fmla="*/ 2966 h 10000"/>
                  <a:gd name="connsiteX937" fmla="*/ 7212 w 10785"/>
                  <a:gd name="connsiteY937" fmla="*/ 2957 h 10000"/>
                  <a:gd name="connsiteX938" fmla="*/ 7212 w 10785"/>
                  <a:gd name="connsiteY938" fmla="*/ 2932 h 10000"/>
                  <a:gd name="connsiteX939" fmla="*/ 7198 w 10785"/>
                  <a:gd name="connsiteY939" fmla="*/ 2915 h 10000"/>
                  <a:gd name="connsiteX940" fmla="*/ 7194 w 10785"/>
                  <a:gd name="connsiteY940" fmla="*/ 2915 h 10000"/>
                  <a:gd name="connsiteX941" fmla="*/ 7157 w 10785"/>
                  <a:gd name="connsiteY941" fmla="*/ 2880 h 10000"/>
                  <a:gd name="connsiteX942" fmla="*/ 7138 w 10785"/>
                  <a:gd name="connsiteY942" fmla="*/ 2880 h 10000"/>
                  <a:gd name="connsiteX943" fmla="*/ 7120 w 10785"/>
                  <a:gd name="connsiteY943" fmla="*/ 2872 h 10000"/>
                  <a:gd name="connsiteX944" fmla="*/ 7111 w 10785"/>
                  <a:gd name="connsiteY944" fmla="*/ 2846 h 10000"/>
                  <a:gd name="connsiteX945" fmla="*/ 7106 w 10785"/>
                  <a:gd name="connsiteY945" fmla="*/ 2846 h 10000"/>
                  <a:gd name="connsiteX946" fmla="*/ 7092 w 10785"/>
                  <a:gd name="connsiteY946" fmla="*/ 2829 h 10000"/>
                  <a:gd name="connsiteX947" fmla="*/ 7051 w 10785"/>
                  <a:gd name="connsiteY947" fmla="*/ 2829 h 10000"/>
                  <a:gd name="connsiteX948" fmla="*/ 7037 w 10785"/>
                  <a:gd name="connsiteY948" fmla="*/ 2880 h 10000"/>
                  <a:gd name="connsiteX949" fmla="*/ 7037 w 10785"/>
                  <a:gd name="connsiteY949" fmla="*/ 2906 h 10000"/>
                  <a:gd name="connsiteX950" fmla="*/ 7037 w 10785"/>
                  <a:gd name="connsiteY950" fmla="*/ 2932 h 10000"/>
                  <a:gd name="connsiteX951" fmla="*/ 7037 w 10785"/>
                  <a:gd name="connsiteY951" fmla="*/ 2940 h 10000"/>
                  <a:gd name="connsiteX952" fmla="*/ 7023 w 10785"/>
                  <a:gd name="connsiteY952" fmla="*/ 2906 h 10000"/>
                  <a:gd name="connsiteX953" fmla="*/ 7023 w 10785"/>
                  <a:gd name="connsiteY953" fmla="*/ 2915 h 10000"/>
                  <a:gd name="connsiteX954" fmla="*/ 6991 w 10785"/>
                  <a:gd name="connsiteY954" fmla="*/ 2906 h 10000"/>
                  <a:gd name="connsiteX955" fmla="*/ 6977 w 10785"/>
                  <a:gd name="connsiteY955" fmla="*/ 2915 h 10000"/>
                  <a:gd name="connsiteX956" fmla="*/ 6963 w 10785"/>
                  <a:gd name="connsiteY956" fmla="*/ 2915 h 10000"/>
                  <a:gd name="connsiteX957" fmla="*/ 6949 w 10785"/>
                  <a:gd name="connsiteY957" fmla="*/ 2872 h 10000"/>
                  <a:gd name="connsiteX958" fmla="*/ 6935 w 10785"/>
                  <a:gd name="connsiteY958" fmla="*/ 2855 h 10000"/>
                  <a:gd name="connsiteX959" fmla="*/ 6922 w 10785"/>
                  <a:gd name="connsiteY959" fmla="*/ 2803 h 10000"/>
                  <a:gd name="connsiteX960" fmla="*/ 6917 w 10785"/>
                  <a:gd name="connsiteY960" fmla="*/ 2786 h 10000"/>
                  <a:gd name="connsiteX961" fmla="*/ 6903 w 10785"/>
                  <a:gd name="connsiteY961" fmla="*/ 2709 h 10000"/>
                  <a:gd name="connsiteX962" fmla="*/ 6903 w 10785"/>
                  <a:gd name="connsiteY962" fmla="*/ 2692 h 10000"/>
                  <a:gd name="connsiteX963" fmla="*/ 6899 w 10785"/>
                  <a:gd name="connsiteY963" fmla="*/ 2709 h 10000"/>
                  <a:gd name="connsiteX964" fmla="*/ 6857 w 10785"/>
                  <a:gd name="connsiteY964" fmla="*/ 2872 h 10000"/>
                  <a:gd name="connsiteX965" fmla="*/ 6857 w 10785"/>
                  <a:gd name="connsiteY965" fmla="*/ 3009 h 10000"/>
                  <a:gd name="connsiteX966" fmla="*/ 6848 w 10785"/>
                  <a:gd name="connsiteY966" fmla="*/ 3017 h 10000"/>
                  <a:gd name="connsiteX967" fmla="*/ 6839 w 10785"/>
                  <a:gd name="connsiteY967" fmla="*/ 3068 h 10000"/>
                  <a:gd name="connsiteX968" fmla="*/ 6829 w 10785"/>
                  <a:gd name="connsiteY968" fmla="*/ 3077 h 10000"/>
                  <a:gd name="connsiteX969" fmla="*/ 6829 w 10785"/>
                  <a:gd name="connsiteY969" fmla="*/ 3128 h 10000"/>
                  <a:gd name="connsiteX970" fmla="*/ 6816 w 10785"/>
                  <a:gd name="connsiteY970" fmla="*/ 3154 h 10000"/>
                  <a:gd name="connsiteX971" fmla="*/ 6811 w 10785"/>
                  <a:gd name="connsiteY971" fmla="*/ 3179 h 10000"/>
                  <a:gd name="connsiteX972" fmla="*/ 6797 w 10785"/>
                  <a:gd name="connsiteY972" fmla="*/ 3171 h 10000"/>
                  <a:gd name="connsiteX973" fmla="*/ 6783 w 10785"/>
                  <a:gd name="connsiteY973" fmla="*/ 3103 h 10000"/>
                  <a:gd name="connsiteX974" fmla="*/ 6779 w 10785"/>
                  <a:gd name="connsiteY974" fmla="*/ 3094 h 10000"/>
                  <a:gd name="connsiteX975" fmla="*/ 6779 w 10785"/>
                  <a:gd name="connsiteY975" fmla="*/ 3120 h 10000"/>
                  <a:gd name="connsiteX976" fmla="*/ 6770 w 10785"/>
                  <a:gd name="connsiteY976" fmla="*/ 3128 h 10000"/>
                  <a:gd name="connsiteX977" fmla="*/ 6765 w 10785"/>
                  <a:gd name="connsiteY977" fmla="*/ 3103 h 10000"/>
                  <a:gd name="connsiteX978" fmla="*/ 6756 w 10785"/>
                  <a:gd name="connsiteY978" fmla="*/ 3103 h 10000"/>
                  <a:gd name="connsiteX979" fmla="*/ 6742 w 10785"/>
                  <a:gd name="connsiteY979" fmla="*/ 3103 h 10000"/>
                  <a:gd name="connsiteX980" fmla="*/ 6737 w 10785"/>
                  <a:gd name="connsiteY980" fmla="*/ 3077 h 10000"/>
                  <a:gd name="connsiteX981" fmla="*/ 6737 w 10785"/>
                  <a:gd name="connsiteY981" fmla="*/ 3068 h 10000"/>
                  <a:gd name="connsiteX982" fmla="*/ 6728 w 10785"/>
                  <a:gd name="connsiteY982" fmla="*/ 3043 h 10000"/>
                  <a:gd name="connsiteX983" fmla="*/ 6724 w 10785"/>
                  <a:gd name="connsiteY983" fmla="*/ 3051 h 10000"/>
                  <a:gd name="connsiteX984" fmla="*/ 6714 w 10785"/>
                  <a:gd name="connsiteY984" fmla="*/ 3043 h 10000"/>
                  <a:gd name="connsiteX985" fmla="*/ 6710 w 10785"/>
                  <a:gd name="connsiteY985" fmla="*/ 3034 h 10000"/>
                  <a:gd name="connsiteX986" fmla="*/ 6705 w 10785"/>
                  <a:gd name="connsiteY986" fmla="*/ 2983 h 10000"/>
                  <a:gd name="connsiteX987" fmla="*/ 6696 w 10785"/>
                  <a:gd name="connsiteY987" fmla="*/ 2966 h 10000"/>
                  <a:gd name="connsiteX988" fmla="*/ 6691 w 10785"/>
                  <a:gd name="connsiteY988" fmla="*/ 2983 h 10000"/>
                  <a:gd name="connsiteX989" fmla="*/ 6677 w 10785"/>
                  <a:gd name="connsiteY989" fmla="*/ 2897 h 10000"/>
                  <a:gd name="connsiteX990" fmla="*/ 6677 w 10785"/>
                  <a:gd name="connsiteY990" fmla="*/ 2897 h 10000"/>
                  <a:gd name="connsiteX991" fmla="*/ 6677 w 10785"/>
                  <a:gd name="connsiteY991" fmla="*/ 2872 h 10000"/>
                  <a:gd name="connsiteX992" fmla="*/ 6668 w 10785"/>
                  <a:gd name="connsiteY992" fmla="*/ 2821 h 10000"/>
                  <a:gd name="connsiteX993" fmla="*/ 6664 w 10785"/>
                  <a:gd name="connsiteY993" fmla="*/ 2829 h 10000"/>
                  <a:gd name="connsiteX994" fmla="*/ 6654 w 10785"/>
                  <a:gd name="connsiteY994" fmla="*/ 2846 h 10000"/>
                  <a:gd name="connsiteX995" fmla="*/ 6650 w 10785"/>
                  <a:gd name="connsiteY995" fmla="*/ 2829 h 10000"/>
                  <a:gd name="connsiteX996" fmla="*/ 6650 w 10785"/>
                  <a:gd name="connsiteY996" fmla="*/ 2803 h 10000"/>
                  <a:gd name="connsiteX997" fmla="*/ 6650 w 10785"/>
                  <a:gd name="connsiteY997" fmla="*/ 2795 h 10000"/>
                  <a:gd name="connsiteX998" fmla="*/ 6641 w 10785"/>
                  <a:gd name="connsiteY998" fmla="*/ 2786 h 10000"/>
                  <a:gd name="connsiteX999" fmla="*/ 6636 w 10785"/>
                  <a:gd name="connsiteY999" fmla="*/ 2735 h 10000"/>
                  <a:gd name="connsiteX1000" fmla="*/ 6664 w 10785"/>
                  <a:gd name="connsiteY1000" fmla="*/ 2667 h 10000"/>
                  <a:gd name="connsiteX1001" fmla="*/ 6668 w 10785"/>
                  <a:gd name="connsiteY1001" fmla="*/ 2684 h 10000"/>
                  <a:gd name="connsiteX1002" fmla="*/ 6677 w 10785"/>
                  <a:gd name="connsiteY1002" fmla="*/ 2667 h 10000"/>
                  <a:gd name="connsiteX1003" fmla="*/ 6668 w 10785"/>
                  <a:gd name="connsiteY1003" fmla="*/ 2667 h 10000"/>
                  <a:gd name="connsiteX1004" fmla="*/ 6668 w 10785"/>
                  <a:gd name="connsiteY1004" fmla="*/ 2650 h 10000"/>
                  <a:gd name="connsiteX1005" fmla="*/ 6682 w 10785"/>
                  <a:gd name="connsiteY1005" fmla="*/ 2650 h 10000"/>
                  <a:gd name="connsiteX1006" fmla="*/ 6691 w 10785"/>
                  <a:gd name="connsiteY1006" fmla="*/ 2624 h 10000"/>
                  <a:gd name="connsiteX1007" fmla="*/ 6682 w 10785"/>
                  <a:gd name="connsiteY1007" fmla="*/ 2632 h 10000"/>
                  <a:gd name="connsiteX1008" fmla="*/ 6682 w 10785"/>
                  <a:gd name="connsiteY1008" fmla="*/ 2624 h 10000"/>
                  <a:gd name="connsiteX1009" fmla="*/ 6691 w 10785"/>
                  <a:gd name="connsiteY1009" fmla="*/ 2607 h 10000"/>
                  <a:gd name="connsiteX1010" fmla="*/ 6691 w 10785"/>
                  <a:gd name="connsiteY1010" fmla="*/ 2598 h 10000"/>
                  <a:gd name="connsiteX1011" fmla="*/ 6691 w 10785"/>
                  <a:gd name="connsiteY1011" fmla="*/ 2581 h 10000"/>
                  <a:gd name="connsiteX1012" fmla="*/ 6696 w 10785"/>
                  <a:gd name="connsiteY1012" fmla="*/ 2530 h 10000"/>
                  <a:gd name="connsiteX1013" fmla="*/ 6677 w 10785"/>
                  <a:gd name="connsiteY1013" fmla="*/ 2513 h 10000"/>
                  <a:gd name="connsiteX1014" fmla="*/ 6677 w 10785"/>
                  <a:gd name="connsiteY1014" fmla="*/ 2496 h 10000"/>
                  <a:gd name="connsiteX1015" fmla="*/ 6682 w 10785"/>
                  <a:gd name="connsiteY1015" fmla="*/ 2470 h 10000"/>
                  <a:gd name="connsiteX1016" fmla="*/ 6668 w 10785"/>
                  <a:gd name="connsiteY1016" fmla="*/ 2462 h 10000"/>
                  <a:gd name="connsiteX1017" fmla="*/ 6677 w 10785"/>
                  <a:gd name="connsiteY1017" fmla="*/ 2436 h 10000"/>
                  <a:gd name="connsiteX1018" fmla="*/ 6682 w 10785"/>
                  <a:gd name="connsiteY1018" fmla="*/ 2419 h 10000"/>
                  <a:gd name="connsiteX1019" fmla="*/ 6682 w 10785"/>
                  <a:gd name="connsiteY1019" fmla="*/ 2393 h 10000"/>
                  <a:gd name="connsiteX1020" fmla="*/ 6682 w 10785"/>
                  <a:gd name="connsiteY1020" fmla="*/ 2385 h 10000"/>
                  <a:gd name="connsiteX1021" fmla="*/ 6682 w 10785"/>
                  <a:gd name="connsiteY1021" fmla="*/ 2385 h 10000"/>
                  <a:gd name="connsiteX1022" fmla="*/ 6677 w 10785"/>
                  <a:gd name="connsiteY1022" fmla="*/ 2376 h 10000"/>
                  <a:gd name="connsiteX1023" fmla="*/ 6682 w 10785"/>
                  <a:gd name="connsiteY1023" fmla="*/ 2359 h 10000"/>
                  <a:gd name="connsiteX1024" fmla="*/ 6677 w 10785"/>
                  <a:gd name="connsiteY1024" fmla="*/ 2333 h 10000"/>
                  <a:gd name="connsiteX1025" fmla="*/ 6691 w 10785"/>
                  <a:gd name="connsiteY1025" fmla="*/ 2333 h 10000"/>
                  <a:gd name="connsiteX1026" fmla="*/ 6691 w 10785"/>
                  <a:gd name="connsiteY1026" fmla="*/ 2325 h 10000"/>
                  <a:gd name="connsiteX1027" fmla="*/ 6691 w 10785"/>
                  <a:gd name="connsiteY1027" fmla="*/ 2308 h 10000"/>
                  <a:gd name="connsiteX1028" fmla="*/ 6691 w 10785"/>
                  <a:gd name="connsiteY1028" fmla="*/ 2299 h 10000"/>
                  <a:gd name="connsiteX1029" fmla="*/ 6691 w 10785"/>
                  <a:gd name="connsiteY1029" fmla="*/ 2282 h 10000"/>
                  <a:gd name="connsiteX1030" fmla="*/ 6691 w 10785"/>
                  <a:gd name="connsiteY1030" fmla="*/ 2274 h 10000"/>
                  <a:gd name="connsiteX1031" fmla="*/ 6668 w 10785"/>
                  <a:gd name="connsiteY1031" fmla="*/ 2248 h 10000"/>
                  <a:gd name="connsiteX1032" fmla="*/ 6664 w 10785"/>
                  <a:gd name="connsiteY1032" fmla="*/ 2222 h 10000"/>
                  <a:gd name="connsiteX1033" fmla="*/ 6654 w 10785"/>
                  <a:gd name="connsiteY1033" fmla="*/ 2214 h 10000"/>
                  <a:gd name="connsiteX1034" fmla="*/ 6654 w 10785"/>
                  <a:gd name="connsiteY1034" fmla="*/ 2188 h 10000"/>
                  <a:gd name="connsiteX1035" fmla="*/ 6622 w 10785"/>
                  <a:gd name="connsiteY1035" fmla="*/ 2162 h 10000"/>
                  <a:gd name="connsiteX1036" fmla="*/ 6631 w 10785"/>
                  <a:gd name="connsiteY1036" fmla="*/ 2145 h 10000"/>
                  <a:gd name="connsiteX1037" fmla="*/ 6622 w 10785"/>
                  <a:gd name="connsiteY1037" fmla="*/ 2120 h 10000"/>
                  <a:gd name="connsiteX1038" fmla="*/ 6608 w 10785"/>
                  <a:gd name="connsiteY1038" fmla="*/ 2120 h 10000"/>
                  <a:gd name="connsiteX1039" fmla="*/ 6604 w 10785"/>
                  <a:gd name="connsiteY1039" fmla="*/ 2111 h 10000"/>
                  <a:gd name="connsiteX1040" fmla="*/ 6608 w 10785"/>
                  <a:gd name="connsiteY1040" fmla="*/ 2111 h 10000"/>
                  <a:gd name="connsiteX1041" fmla="*/ 6604 w 10785"/>
                  <a:gd name="connsiteY1041" fmla="*/ 2085 h 10000"/>
                  <a:gd name="connsiteX1042" fmla="*/ 6581 w 10785"/>
                  <a:gd name="connsiteY1042" fmla="*/ 2077 h 10000"/>
                  <a:gd name="connsiteX1043" fmla="*/ 6571 w 10785"/>
                  <a:gd name="connsiteY1043" fmla="*/ 2085 h 10000"/>
                  <a:gd name="connsiteX1044" fmla="*/ 6548 w 10785"/>
                  <a:gd name="connsiteY1044" fmla="*/ 2077 h 10000"/>
                  <a:gd name="connsiteX1045" fmla="*/ 6530 w 10785"/>
                  <a:gd name="connsiteY1045" fmla="*/ 2060 h 10000"/>
                  <a:gd name="connsiteX1046" fmla="*/ 6521 w 10785"/>
                  <a:gd name="connsiteY1046" fmla="*/ 2060 h 10000"/>
                  <a:gd name="connsiteX1047" fmla="*/ 6521 w 10785"/>
                  <a:gd name="connsiteY1047" fmla="*/ 2085 h 10000"/>
                  <a:gd name="connsiteX1048" fmla="*/ 6516 w 10785"/>
                  <a:gd name="connsiteY1048" fmla="*/ 2085 h 10000"/>
                  <a:gd name="connsiteX1049" fmla="*/ 6502 w 10785"/>
                  <a:gd name="connsiteY1049" fmla="*/ 2111 h 10000"/>
                  <a:gd name="connsiteX1050" fmla="*/ 6498 w 10785"/>
                  <a:gd name="connsiteY1050" fmla="*/ 2111 h 10000"/>
                  <a:gd name="connsiteX1051" fmla="*/ 6498 w 10785"/>
                  <a:gd name="connsiteY1051" fmla="*/ 2103 h 10000"/>
                  <a:gd name="connsiteX1052" fmla="*/ 6475 w 10785"/>
                  <a:gd name="connsiteY1052" fmla="*/ 2051 h 10000"/>
                  <a:gd name="connsiteX1053" fmla="*/ 6470 w 10785"/>
                  <a:gd name="connsiteY1053" fmla="*/ 2060 h 10000"/>
                  <a:gd name="connsiteX1054" fmla="*/ 6456 w 10785"/>
                  <a:gd name="connsiteY1054" fmla="*/ 2051 h 10000"/>
                  <a:gd name="connsiteX1055" fmla="*/ 6447 w 10785"/>
                  <a:gd name="connsiteY1055" fmla="*/ 2051 h 10000"/>
                  <a:gd name="connsiteX1056" fmla="*/ 6433 w 10785"/>
                  <a:gd name="connsiteY1056" fmla="*/ 2026 h 10000"/>
                  <a:gd name="connsiteX1057" fmla="*/ 6433 w 10785"/>
                  <a:gd name="connsiteY1057" fmla="*/ 2034 h 10000"/>
                  <a:gd name="connsiteX1058" fmla="*/ 6429 w 10785"/>
                  <a:gd name="connsiteY1058" fmla="*/ 2026 h 10000"/>
                  <a:gd name="connsiteX1059" fmla="*/ 6424 w 10785"/>
                  <a:gd name="connsiteY1059" fmla="*/ 2034 h 10000"/>
                  <a:gd name="connsiteX1060" fmla="*/ 6410 w 10785"/>
                  <a:gd name="connsiteY1060" fmla="*/ 2026 h 10000"/>
                  <a:gd name="connsiteX1061" fmla="*/ 6410 w 10785"/>
                  <a:gd name="connsiteY1061" fmla="*/ 1991 h 10000"/>
                  <a:gd name="connsiteX1062" fmla="*/ 6401 w 10785"/>
                  <a:gd name="connsiteY1062" fmla="*/ 1991 h 10000"/>
                  <a:gd name="connsiteX1063" fmla="*/ 6396 w 10785"/>
                  <a:gd name="connsiteY1063" fmla="*/ 2000 h 10000"/>
                  <a:gd name="connsiteX1064" fmla="*/ 6382 w 10785"/>
                  <a:gd name="connsiteY1064" fmla="*/ 1966 h 10000"/>
                  <a:gd name="connsiteX1065" fmla="*/ 6373 w 10785"/>
                  <a:gd name="connsiteY1065" fmla="*/ 1974 h 10000"/>
                  <a:gd name="connsiteX1066" fmla="*/ 6369 w 10785"/>
                  <a:gd name="connsiteY1066" fmla="*/ 1966 h 10000"/>
                  <a:gd name="connsiteX1067" fmla="*/ 6341 w 10785"/>
                  <a:gd name="connsiteY1067" fmla="*/ 1949 h 10000"/>
                  <a:gd name="connsiteX1068" fmla="*/ 6327 w 10785"/>
                  <a:gd name="connsiteY1068" fmla="*/ 1923 h 10000"/>
                  <a:gd name="connsiteX1069" fmla="*/ 6323 w 10785"/>
                  <a:gd name="connsiteY1069" fmla="*/ 1923 h 10000"/>
                  <a:gd name="connsiteX1070" fmla="*/ 6323 w 10785"/>
                  <a:gd name="connsiteY1070" fmla="*/ 1966 h 10000"/>
                  <a:gd name="connsiteX1071" fmla="*/ 6323 w 10785"/>
                  <a:gd name="connsiteY1071" fmla="*/ 1991 h 10000"/>
                  <a:gd name="connsiteX1072" fmla="*/ 6313 w 10785"/>
                  <a:gd name="connsiteY1072" fmla="*/ 1991 h 10000"/>
                  <a:gd name="connsiteX1073" fmla="*/ 6300 w 10785"/>
                  <a:gd name="connsiteY1073" fmla="*/ 1991 h 10000"/>
                  <a:gd name="connsiteX1074" fmla="*/ 6290 w 10785"/>
                  <a:gd name="connsiteY1074" fmla="*/ 1949 h 10000"/>
                  <a:gd name="connsiteX1075" fmla="*/ 6276 w 10785"/>
                  <a:gd name="connsiteY1075" fmla="*/ 2103 h 10000"/>
                  <a:gd name="connsiteX1076" fmla="*/ 6281 w 10785"/>
                  <a:gd name="connsiteY1076" fmla="*/ 2103 h 10000"/>
                  <a:gd name="connsiteX1077" fmla="*/ 6276 w 10785"/>
                  <a:gd name="connsiteY1077" fmla="*/ 2111 h 10000"/>
                  <a:gd name="connsiteX1078" fmla="*/ 6276 w 10785"/>
                  <a:gd name="connsiteY1078" fmla="*/ 2120 h 10000"/>
                  <a:gd name="connsiteX1079" fmla="*/ 6295 w 10785"/>
                  <a:gd name="connsiteY1079" fmla="*/ 2239 h 10000"/>
                  <a:gd name="connsiteX1080" fmla="*/ 6290 w 10785"/>
                  <a:gd name="connsiteY1080" fmla="*/ 2248 h 10000"/>
                  <a:gd name="connsiteX1081" fmla="*/ 6281 w 10785"/>
                  <a:gd name="connsiteY1081" fmla="*/ 2274 h 10000"/>
                  <a:gd name="connsiteX1082" fmla="*/ 6249 w 10785"/>
                  <a:gd name="connsiteY1082" fmla="*/ 2274 h 10000"/>
                  <a:gd name="connsiteX1083" fmla="*/ 6226 w 10785"/>
                  <a:gd name="connsiteY1083" fmla="*/ 2308 h 10000"/>
                  <a:gd name="connsiteX1084" fmla="*/ 6221 w 10785"/>
                  <a:gd name="connsiteY1084" fmla="*/ 2299 h 10000"/>
                  <a:gd name="connsiteX1085" fmla="*/ 6221 w 10785"/>
                  <a:gd name="connsiteY1085" fmla="*/ 2308 h 10000"/>
                  <a:gd name="connsiteX1086" fmla="*/ 6217 w 10785"/>
                  <a:gd name="connsiteY1086" fmla="*/ 2299 h 10000"/>
                  <a:gd name="connsiteX1087" fmla="*/ 6194 w 10785"/>
                  <a:gd name="connsiteY1087" fmla="*/ 2308 h 10000"/>
                  <a:gd name="connsiteX1088" fmla="*/ 6180 w 10785"/>
                  <a:gd name="connsiteY1088" fmla="*/ 2299 h 10000"/>
                  <a:gd name="connsiteX1089" fmla="*/ 6143 w 10785"/>
                  <a:gd name="connsiteY1089" fmla="*/ 2308 h 10000"/>
                  <a:gd name="connsiteX1090" fmla="*/ 6134 w 10785"/>
                  <a:gd name="connsiteY1090" fmla="*/ 2325 h 10000"/>
                  <a:gd name="connsiteX1091" fmla="*/ 6115 w 10785"/>
                  <a:gd name="connsiteY1091" fmla="*/ 2282 h 10000"/>
                  <a:gd name="connsiteX1092" fmla="*/ 6069 w 10785"/>
                  <a:gd name="connsiteY1092" fmla="*/ 2274 h 10000"/>
                  <a:gd name="connsiteX1093" fmla="*/ 6069 w 10785"/>
                  <a:gd name="connsiteY1093" fmla="*/ 2282 h 10000"/>
                  <a:gd name="connsiteX1094" fmla="*/ 6060 w 10785"/>
                  <a:gd name="connsiteY1094" fmla="*/ 2299 h 10000"/>
                  <a:gd name="connsiteX1095" fmla="*/ 5972 w 10785"/>
                  <a:gd name="connsiteY1095" fmla="*/ 2214 h 10000"/>
                  <a:gd name="connsiteX1096" fmla="*/ 5968 w 10785"/>
                  <a:gd name="connsiteY1096" fmla="*/ 2197 h 10000"/>
                  <a:gd name="connsiteX1097" fmla="*/ 5968 w 10785"/>
                  <a:gd name="connsiteY1097" fmla="*/ 2171 h 10000"/>
                  <a:gd name="connsiteX1098" fmla="*/ 5968 w 10785"/>
                  <a:gd name="connsiteY1098" fmla="*/ 2162 h 10000"/>
                  <a:gd name="connsiteX1099" fmla="*/ 5968 w 10785"/>
                  <a:gd name="connsiteY1099" fmla="*/ 2120 h 10000"/>
                  <a:gd name="connsiteX1100" fmla="*/ 5968 w 10785"/>
                  <a:gd name="connsiteY1100" fmla="*/ 2111 h 10000"/>
                  <a:gd name="connsiteX1101" fmla="*/ 5972 w 10785"/>
                  <a:gd name="connsiteY1101" fmla="*/ 2103 h 10000"/>
                  <a:gd name="connsiteX1102" fmla="*/ 5986 w 10785"/>
                  <a:gd name="connsiteY1102" fmla="*/ 2103 h 10000"/>
                  <a:gd name="connsiteX1103" fmla="*/ 5986 w 10785"/>
                  <a:gd name="connsiteY1103" fmla="*/ 2085 h 10000"/>
                  <a:gd name="connsiteX1104" fmla="*/ 5995 w 10785"/>
                  <a:gd name="connsiteY1104" fmla="*/ 2085 h 10000"/>
                  <a:gd name="connsiteX1105" fmla="*/ 5995 w 10785"/>
                  <a:gd name="connsiteY1105" fmla="*/ 2077 h 10000"/>
                  <a:gd name="connsiteX1106" fmla="*/ 5986 w 10785"/>
                  <a:gd name="connsiteY1106" fmla="*/ 2060 h 10000"/>
                  <a:gd name="connsiteX1107" fmla="*/ 5954 w 10785"/>
                  <a:gd name="connsiteY1107" fmla="*/ 2060 h 10000"/>
                  <a:gd name="connsiteX1108" fmla="*/ 5940 w 10785"/>
                  <a:gd name="connsiteY1108" fmla="*/ 2051 h 10000"/>
                  <a:gd name="connsiteX1109" fmla="*/ 5922 w 10785"/>
                  <a:gd name="connsiteY1109" fmla="*/ 2060 h 10000"/>
                  <a:gd name="connsiteX1110" fmla="*/ 5885 w 10785"/>
                  <a:gd name="connsiteY1110" fmla="*/ 2051 h 10000"/>
                  <a:gd name="connsiteX1111" fmla="*/ 5876 w 10785"/>
                  <a:gd name="connsiteY1111" fmla="*/ 2026 h 10000"/>
                  <a:gd name="connsiteX1112" fmla="*/ 5862 w 10785"/>
                  <a:gd name="connsiteY1112" fmla="*/ 2026 h 10000"/>
                  <a:gd name="connsiteX1113" fmla="*/ 5848 w 10785"/>
                  <a:gd name="connsiteY1113" fmla="*/ 2026 h 10000"/>
                  <a:gd name="connsiteX1114" fmla="*/ 5825 w 10785"/>
                  <a:gd name="connsiteY1114" fmla="*/ 2026 h 10000"/>
                  <a:gd name="connsiteX1115" fmla="*/ 5788 w 10785"/>
                  <a:gd name="connsiteY1115" fmla="*/ 1991 h 10000"/>
                  <a:gd name="connsiteX1116" fmla="*/ 5760 w 10785"/>
                  <a:gd name="connsiteY1116" fmla="*/ 2000 h 10000"/>
                  <a:gd name="connsiteX1117" fmla="*/ 5760 w 10785"/>
                  <a:gd name="connsiteY1117" fmla="*/ 2026 h 10000"/>
                  <a:gd name="connsiteX1118" fmla="*/ 5714 w 10785"/>
                  <a:gd name="connsiteY1118" fmla="*/ 2051 h 10000"/>
                  <a:gd name="connsiteX1119" fmla="*/ 5687 w 10785"/>
                  <a:gd name="connsiteY1119" fmla="*/ 2034 h 10000"/>
                  <a:gd name="connsiteX1120" fmla="*/ 5645 w 10785"/>
                  <a:gd name="connsiteY1120" fmla="*/ 2077 h 10000"/>
                  <a:gd name="connsiteX1121" fmla="*/ 5664 w 10785"/>
                  <a:gd name="connsiteY1121" fmla="*/ 2120 h 10000"/>
                  <a:gd name="connsiteX1122" fmla="*/ 5664 w 10785"/>
                  <a:gd name="connsiteY1122" fmla="*/ 2162 h 10000"/>
                  <a:gd name="connsiteX1123" fmla="*/ 5631 w 10785"/>
                  <a:gd name="connsiteY1123" fmla="*/ 2197 h 10000"/>
                  <a:gd name="connsiteX1124" fmla="*/ 5618 w 10785"/>
                  <a:gd name="connsiteY1124" fmla="*/ 2188 h 10000"/>
                  <a:gd name="connsiteX1125" fmla="*/ 5618 w 10785"/>
                  <a:gd name="connsiteY1125" fmla="*/ 2171 h 10000"/>
                  <a:gd name="connsiteX1126" fmla="*/ 5641 w 10785"/>
                  <a:gd name="connsiteY1126" fmla="*/ 2171 h 10000"/>
                  <a:gd name="connsiteX1127" fmla="*/ 5641 w 10785"/>
                  <a:gd name="connsiteY1127" fmla="*/ 2162 h 10000"/>
                  <a:gd name="connsiteX1128" fmla="*/ 5627 w 10785"/>
                  <a:gd name="connsiteY1128" fmla="*/ 2145 h 10000"/>
                  <a:gd name="connsiteX1129" fmla="*/ 5627 w 10785"/>
                  <a:gd name="connsiteY1129" fmla="*/ 2120 h 10000"/>
                  <a:gd name="connsiteX1130" fmla="*/ 5618 w 10785"/>
                  <a:gd name="connsiteY1130" fmla="*/ 2111 h 10000"/>
                  <a:gd name="connsiteX1131" fmla="*/ 5631 w 10785"/>
                  <a:gd name="connsiteY1131" fmla="*/ 2051 h 10000"/>
                  <a:gd name="connsiteX1132" fmla="*/ 5631 w 10785"/>
                  <a:gd name="connsiteY1132" fmla="*/ 2026 h 10000"/>
                  <a:gd name="connsiteX1133" fmla="*/ 5627 w 10785"/>
                  <a:gd name="connsiteY1133" fmla="*/ 1991 h 10000"/>
                  <a:gd name="connsiteX1134" fmla="*/ 5618 w 10785"/>
                  <a:gd name="connsiteY1134" fmla="*/ 1974 h 10000"/>
                  <a:gd name="connsiteX1135" fmla="*/ 5618 w 10785"/>
                  <a:gd name="connsiteY1135" fmla="*/ 1940 h 10000"/>
                  <a:gd name="connsiteX1136" fmla="*/ 5594 w 10785"/>
                  <a:gd name="connsiteY1136" fmla="*/ 1855 h 10000"/>
                  <a:gd name="connsiteX1137" fmla="*/ 5599 w 10785"/>
                  <a:gd name="connsiteY1137" fmla="*/ 1915 h 10000"/>
                  <a:gd name="connsiteX1138" fmla="*/ 5599 w 10785"/>
                  <a:gd name="connsiteY1138" fmla="*/ 1949 h 10000"/>
                  <a:gd name="connsiteX1139" fmla="*/ 5594 w 10785"/>
                  <a:gd name="connsiteY1139" fmla="*/ 1991 h 10000"/>
                  <a:gd name="connsiteX1140" fmla="*/ 5571 w 10785"/>
                  <a:gd name="connsiteY1140" fmla="*/ 2000 h 10000"/>
                  <a:gd name="connsiteX1141" fmla="*/ 5530 w 10785"/>
                  <a:gd name="connsiteY1141" fmla="*/ 1991 h 10000"/>
                  <a:gd name="connsiteX1142" fmla="*/ 5525 w 10785"/>
                  <a:gd name="connsiteY1142" fmla="*/ 2000 h 10000"/>
                  <a:gd name="connsiteX1143" fmla="*/ 5521 w 10785"/>
                  <a:gd name="connsiteY1143" fmla="*/ 1991 h 10000"/>
                  <a:gd name="connsiteX1144" fmla="*/ 5498 w 10785"/>
                  <a:gd name="connsiteY1144" fmla="*/ 1949 h 10000"/>
                  <a:gd name="connsiteX1145" fmla="*/ 5493 w 10785"/>
                  <a:gd name="connsiteY1145" fmla="*/ 1889 h 10000"/>
                  <a:gd name="connsiteX1146" fmla="*/ 5493 w 10785"/>
                  <a:gd name="connsiteY1146" fmla="*/ 1863 h 10000"/>
                  <a:gd name="connsiteX1147" fmla="*/ 5498 w 10785"/>
                  <a:gd name="connsiteY1147" fmla="*/ 1889 h 10000"/>
                  <a:gd name="connsiteX1148" fmla="*/ 5512 w 10785"/>
                  <a:gd name="connsiteY1148" fmla="*/ 1855 h 10000"/>
                  <a:gd name="connsiteX1149" fmla="*/ 5512 w 10785"/>
                  <a:gd name="connsiteY1149" fmla="*/ 1838 h 10000"/>
                  <a:gd name="connsiteX1150" fmla="*/ 5479 w 10785"/>
                  <a:gd name="connsiteY1150" fmla="*/ 1855 h 10000"/>
                  <a:gd name="connsiteX1151" fmla="*/ 5470 w 10785"/>
                  <a:gd name="connsiteY1151" fmla="*/ 1872 h 10000"/>
                  <a:gd name="connsiteX1152" fmla="*/ 5470 w 10785"/>
                  <a:gd name="connsiteY1152" fmla="*/ 1889 h 10000"/>
                  <a:gd name="connsiteX1153" fmla="*/ 5465 w 10785"/>
                  <a:gd name="connsiteY1153" fmla="*/ 1897 h 10000"/>
                  <a:gd name="connsiteX1154" fmla="*/ 5456 w 10785"/>
                  <a:gd name="connsiteY1154" fmla="*/ 1872 h 10000"/>
                  <a:gd name="connsiteX1155" fmla="*/ 5447 w 10785"/>
                  <a:gd name="connsiteY1155" fmla="*/ 1872 h 10000"/>
                  <a:gd name="connsiteX1156" fmla="*/ 5433 w 10785"/>
                  <a:gd name="connsiteY1156" fmla="*/ 1855 h 10000"/>
                  <a:gd name="connsiteX1157" fmla="*/ 5396 w 10785"/>
                  <a:gd name="connsiteY1157" fmla="*/ 1863 h 10000"/>
                  <a:gd name="connsiteX1158" fmla="*/ 5396 w 10785"/>
                  <a:gd name="connsiteY1158" fmla="*/ 1897 h 10000"/>
                  <a:gd name="connsiteX1159" fmla="*/ 5378 w 10785"/>
                  <a:gd name="connsiteY1159" fmla="*/ 1949 h 10000"/>
                  <a:gd name="connsiteX1160" fmla="*/ 5378 w 10785"/>
                  <a:gd name="connsiteY1160" fmla="*/ 1966 h 10000"/>
                  <a:gd name="connsiteX1161" fmla="*/ 5392 w 10785"/>
                  <a:gd name="connsiteY1161" fmla="*/ 2026 h 10000"/>
                  <a:gd name="connsiteX1162" fmla="*/ 5396 w 10785"/>
                  <a:gd name="connsiteY1162" fmla="*/ 2026 h 10000"/>
                  <a:gd name="connsiteX1163" fmla="*/ 5392 w 10785"/>
                  <a:gd name="connsiteY1163" fmla="*/ 2009 h 10000"/>
                  <a:gd name="connsiteX1164" fmla="*/ 5392 w 10785"/>
                  <a:gd name="connsiteY1164" fmla="*/ 2000 h 10000"/>
                  <a:gd name="connsiteX1165" fmla="*/ 5396 w 10785"/>
                  <a:gd name="connsiteY1165" fmla="*/ 2009 h 10000"/>
                  <a:gd name="connsiteX1166" fmla="*/ 5424 w 10785"/>
                  <a:gd name="connsiteY1166" fmla="*/ 2009 h 10000"/>
                  <a:gd name="connsiteX1167" fmla="*/ 5433 w 10785"/>
                  <a:gd name="connsiteY1167" fmla="*/ 1991 h 10000"/>
                  <a:gd name="connsiteX1168" fmla="*/ 5447 w 10785"/>
                  <a:gd name="connsiteY1168" fmla="*/ 1974 h 10000"/>
                  <a:gd name="connsiteX1169" fmla="*/ 5452 w 10785"/>
                  <a:gd name="connsiteY1169" fmla="*/ 1966 h 10000"/>
                  <a:gd name="connsiteX1170" fmla="*/ 5456 w 10785"/>
                  <a:gd name="connsiteY1170" fmla="*/ 1966 h 10000"/>
                  <a:gd name="connsiteX1171" fmla="*/ 5465 w 10785"/>
                  <a:gd name="connsiteY1171" fmla="*/ 2009 h 10000"/>
                  <a:gd name="connsiteX1172" fmla="*/ 5433 w 10785"/>
                  <a:gd name="connsiteY1172" fmla="*/ 2034 h 10000"/>
                  <a:gd name="connsiteX1173" fmla="*/ 5424 w 10785"/>
                  <a:gd name="connsiteY1173" fmla="*/ 2060 h 10000"/>
                  <a:gd name="connsiteX1174" fmla="*/ 5419 w 10785"/>
                  <a:gd name="connsiteY1174" fmla="*/ 2060 h 10000"/>
                  <a:gd name="connsiteX1175" fmla="*/ 5392 w 10785"/>
                  <a:gd name="connsiteY1175" fmla="*/ 2111 h 10000"/>
                  <a:gd name="connsiteX1176" fmla="*/ 5378 w 10785"/>
                  <a:gd name="connsiteY1176" fmla="*/ 2111 h 10000"/>
                  <a:gd name="connsiteX1177" fmla="*/ 5350 w 10785"/>
                  <a:gd name="connsiteY1177" fmla="*/ 2060 h 10000"/>
                  <a:gd name="connsiteX1178" fmla="*/ 5373 w 10785"/>
                  <a:gd name="connsiteY1178" fmla="*/ 2111 h 10000"/>
                  <a:gd name="connsiteX1179" fmla="*/ 5364 w 10785"/>
                  <a:gd name="connsiteY1179" fmla="*/ 2111 h 10000"/>
                  <a:gd name="connsiteX1180" fmla="*/ 5359 w 10785"/>
                  <a:gd name="connsiteY1180" fmla="*/ 2103 h 10000"/>
                  <a:gd name="connsiteX1181" fmla="*/ 5359 w 10785"/>
                  <a:gd name="connsiteY1181" fmla="*/ 2120 h 10000"/>
                  <a:gd name="connsiteX1182" fmla="*/ 5359 w 10785"/>
                  <a:gd name="connsiteY1182" fmla="*/ 2137 h 10000"/>
                  <a:gd name="connsiteX1183" fmla="*/ 5313 w 10785"/>
                  <a:gd name="connsiteY1183" fmla="*/ 2162 h 10000"/>
                  <a:gd name="connsiteX1184" fmla="*/ 5300 w 10785"/>
                  <a:gd name="connsiteY1184" fmla="*/ 2162 h 10000"/>
                  <a:gd name="connsiteX1185" fmla="*/ 5300 w 10785"/>
                  <a:gd name="connsiteY1185" fmla="*/ 2171 h 10000"/>
                  <a:gd name="connsiteX1186" fmla="*/ 5300 w 10785"/>
                  <a:gd name="connsiteY1186" fmla="*/ 2197 h 10000"/>
                  <a:gd name="connsiteX1187" fmla="*/ 5276 w 10785"/>
                  <a:gd name="connsiteY1187" fmla="*/ 2188 h 10000"/>
                  <a:gd name="connsiteX1188" fmla="*/ 5249 w 10785"/>
                  <a:gd name="connsiteY1188" fmla="*/ 2222 h 10000"/>
                  <a:gd name="connsiteX1189" fmla="*/ 5249 w 10785"/>
                  <a:gd name="connsiteY1189" fmla="*/ 2222 h 10000"/>
                  <a:gd name="connsiteX1190" fmla="*/ 5217 w 10785"/>
                  <a:gd name="connsiteY1190" fmla="*/ 2214 h 10000"/>
                  <a:gd name="connsiteX1191" fmla="*/ 5203 w 10785"/>
                  <a:gd name="connsiteY1191" fmla="*/ 2239 h 10000"/>
                  <a:gd name="connsiteX1192" fmla="*/ 5171 w 10785"/>
                  <a:gd name="connsiteY1192" fmla="*/ 2214 h 10000"/>
                  <a:gd name="connsiteX1193" fmla="*/ 5157 w 10785"/>
                  <a:gd name="connsiteY1193" fmla="*/ 2239 h 10000"/>
                  <a:gd name="connsiteX1194" fmla="*/ 5166 w 10785"/>
                  <a:gd name="connsiteY1194" fmla="*/ 2256 h 10000"/>
                  <a:gd name="connsiteX1195" fmla="*/ 5171 w 10785"/>
                  <a:gd name="connsiteY1195" fmla="*/ 2308 h 10000"/>
                  <a:gd name="connsiteX1196" fmla="*/ 5212 w 10785"/>
                  <a:gd name="connsiteY1196" fmla="*/ 2350 h 10000"/>
                  <a:gd name="connsiteX1197" fmla="*/ 5203 w 10785"/>
                  <a:gd name="connsiteY1197" fmla="*/ 2350 h 10000"/>
                  <a:gd name="connsiteX1198" fmla="*/ 5166 w 10785"/>
                  <a:gd name="connsiteY1198" fmla="*/ 2325 h 10000"/>
                  <a:gd name="connsiteX1199" fmla="*/ 5152 w 10785"/>
                  <a:gd name="connsiteY1199" fmla="*/ 2308 h 10000"/>
                  <a:gd name="connsiteX1200" fmla="*/ 5143 w 10785"/>
                  <a:gd name="connsiteY1200" fmla="*/ 2333 h 10000"/>
                  <a:gd name="connsiteX1201" fmla="*/ 5138 w 10785"/>
                  <a:gd name="connsiteY1201" fmla="*/ 2333 h 10000"/>
                  <a:gd name="connsiteX1202" fmla="*/ 5124 w 10785"/>
                  <a:gd name="connsiteY1202" fmla="*/ 2376 h 10000"/>
                  <a:gd name="connsiteX1203" fmla="*/ 5115 w 10785"/>
                  <a:gd name="connsiteY1203" fmla="*/ 2385 h 10000"/>
                  <a:gd name="connsiteX1204" fmla="*/ 5106 w 10785"/>
                  <a:gd name="connsiteY1204" fmla="*/ 2385 h 10000"/>
                  <a:gd name="connsiteX1205" fmla="*/ 5055 w 10785"/>
                  <a:gd name="connsiteY1205" fmla="*/ 2470 h 10000"/>
                  <a:gd name="connsiteX1206" fmla="*/ 5065 w 10785"/>
                  <a:gd name="connsiteY1206" fmla="*/ 2462 h 10000"/>
                  <a:gd name="connsiteX1207" fmla="*/ 5055 w 10785"/>
                  <a:gd name="connsiteY1207" fmla="*/ 2444 h 10000"/>
                  <a:gd name="connsiteX1208" fmla="*/ 5041 w 10785"/>
                  <a:gd name="connsiteY1208" fmla="*/ 2462 h 10000"/>
                  <a:gd name="connsiteX1209" fmla="*/ 5037 w 10785"/>
                  <a:gd name="connsiteY1209" fmla="*/ 2470 h 10000"/>
                  <a:gd name="connsiteX1210" fmla="*/ 5032 w 10785"/>
                  <a:gd name="connsiteY1210" fmla="*/ 2470 h 10000"/>
                  <a:gd name="connsiteX1211" fmla="*/ 5032 w 10785"/>
                  <a:gd name="connsiteY1211" fmla="*/ 2444 h 10000"/>
                  <a:gd name="connsiteX1212" fmla="*/ 5055 w 10785"/>
                  <a:gd name="connsiteY1212" fmla="*/ 2410 h 10000"/>
                  <a:gd name="connsiteX1213" fmla="*/ 5065 w 10785"/>
                  <a:gd name="connsiteY1213" fmla="*/ 2393 h 10000"/>
                  <a:gd name="connsiteX1214" fmla="*/ 5069 w 10785"/>
                  <a:gd name="connsiteY1214" fmla="*/ 2385 h 10000"/>
                  <a:gd name="connsiteX1215" fmla="*/ 5083 w 10785"/>
                  <a:gd name="connsiteY1215" fmla="*/ 2376 h 10000"/>
                  <a:gd name="connsiteX1216" fmla="*/ 5097 w 10785"/>
                  <a:gd name="connsiteY1216" fmla="*/ 2376 h 10000"/>
                  <a:gd name="connsiteX1217" fmla="*/ 5124 w 10785"/>
                  <a:gd name="connsiteY1217" fmla="*/ 2325 h 10000"/>
                  <a:gd name="connsiteX1218" fmla="*/ 5143 w 10785"/>
                  <a:gd name="connsiteY1218" fmla="*/ 2248 h 10000"/>
                  <a:gd name="connsiteX1219" fmla="*/ 5152 w 10785"/>
                  <a:gd name="connsiteY1219" fmla="*/ 2239 h 10000"/>
                  <a:gd name="connsiteX1220" fmla="*/ 5166 w 10785"/>
                  <a:gd name="connsiteY1220" fmla="*/ 2162 h 10000"/>
                  <a:gd name="connsiteX1221" fmla="*/ 5171 w 10785"/>
                  <a:gd name="connsiteY1221" fmla="*/ 2171 h 10000"/>
                  <a:gd name="connsiteX1222" fmla="*/ 5198 w 10785"/>
                  <a:gd name="connsiteY1222" fmla="*/ 2145 h 10000"/>
                  <a:gd name="connsiteX1223" fmla="*/ 5203 w 10785"/>
                  <a:gd name="connsiteY1223" fmla="*/ 2111 h 10000"/>
                  <a:gd name="connsiteX1224" fmla="*/ 5217 w 10785"/>
                  <a:gd name="connsiteY1224" fmla="*/ 2060 h 10000"/>
                  <a:gd name="connsiteX1225" fmla="*/ 5226 w 10785"/>
                  <a:gd name="connsiteY1225" fmla="*/ 2026 h 10000"/>
                  <a:gd name="connsiteX1226" fmla="*/ 5286 w 10785"/>
                  <a:gd name="connsiteY1226" fmla="*/ 2026 h 10000"/>
                  <a:gd name="connsiteX1227" fmla="*/ 5290 w 10785"/>
                  <a:gd name="connsiteY1227" fmla="*/ 2034 h 10000"/>
                  <a:gd name="connsiteX1228" fmla="*/ 5323 w 10785"/>
                  <a:gd name="connsiteY1228" fmla="*/ 1923 h 10000"/>
                  <a:gd name="connsiteX1229" fmla="*/ 5323 w 10785"/>
                  <a:gd name="connsiteY1229" fmla="*/ 1889 h 10000"/>
                  <a:gd name="connsiteX1230" fmla="*/ 5359 w 10785"/>
                  <a:gd name="connsiteY1230" fmla="*/ 1829 h 10000"/>
                  <a:gd name="connsiteX1231" fmla="*/ 5378 w 10785"/>
                  <a:gd name="connsiteY1231" fmla="*/ 1812 h 10000"/>
                  <a:gd name="connsiteX1232" fmla="*/ 5406 w 10785"/>
                  <a:gd name="connsiteY1232" fmla="*/ 1752 h 10000"/>
                  <a:gd name="connsiteX1233" fmla="*/ 5410 w 10785"/>
                  <a:gd name="connsiteY1233" fmla="*/ 1718 h 10000"/>
                  <a:gd name="connsiteX1234" fmla="*/ 5438 w 10785"/>
                  <a:gd name="connsiteY1234" fmla="*/ 1667 h 10000"/>
                  <a:gd name="connsiteX1235" fmla="*/ 5438 w 10785"/>
                  <a:gd name="connsiteY1235" fmla="*/ 1650 h 10000"/>
                  <a:gd name="connsiteX1236" fmla="*/ 5438 w 10785"/>
                  <a:gd name="connsiteY1236" fmla="*/ 1641 h 10000"/>
                  <a:gd name="connsiteX1237" fmla="*/ 5452 w 10785"/>
                  <a:gd name="connsiteY1237" fmla="*/ 1641 h 10000"/>
                  <a:gd name="connsiteX1238" fmla="*/ 5456 w 10785"/>
                  <a:gd name="connsiteY1238" fmla="*/ 1615 h 10000"/>
                  <a:gd name="connsiteX1239" fmla="*/ 5456 w 10785"/>
                  <a:gd name="connsiteY1239" fmla="*/ 1615 h 10000"/>
                  <a:gd name="connsiteX1240" fmla="*/ 5465 w 10785"/>
                  <a:gd name="connsiteY1240" fmla="*/ 1598 h 10000"/>
                  <a:gd name="connsiteX1241" fmla="*/ 5465 w 10785"/>
                  <a:gd name="connsiteY1241" fmla="*/ 1615 h 10000"/>
                  <a:gd name="connsiteX1242" fmla="*/ 5479 w 10785"/>
                  <a:gd name="connsiteY1242" fmla="*/ 1598 h 10000"/>
                  <a:gd name="connsiteX1243" fmla="*/ 5484 w 10785"/>
                  <a:gd name="connsiteY1243" fmla="*/ 1581 h 10000"/>
                  <a:gd name="connsiteX1244" fmla="*/ 5493 w 10785"/>
                  <a:gd name="connsiteY1244" fmla="*/ 1581 h 10000"/>
                  <a:gd name="connsiteX1245" fmla="*/ 5512 w 10785"/>
                  <a:gd name="connsiteY1245" fmla="*/ 1538 h 10000"/>
                  <a:gd name="connsiteX1246" fmla="*/ 5530 w 10785"/>
                  <a:gd name="connsiteY1246" fmla="*/ 1564 h 10000"/>
                  <a:gd name="connsiteX1247" fmla="*/ 5530 w 10785"/>
                  <a:gd name="connsiteY1247" fmla="*/ 1538 h 10000"/>
                  <a:gd name="connsiteX1248" fmla="*/ 5539 w 10785"/>
                  <a:gd name="connsiteY1248" fmla="*/ 1530 h 10000"/>
                  <a:gd name="connsiteX1249" fmla="*/ 5530 w 10785"/>
                  <a:gd name="connsiteY1249" fmla="*/ 1504 h 10000"/>
                  <a:gd name="connsiteX1250" fmla="*/ 5567 w 10785"/>
                  <a:gd name="connsiteY1250" fmla="*/ 1479 h 10000"/>
                  <a:gd name="connsiteX1251" fmla="*/ 5553 w 10785"/>
                  <a:gd name="connsiteY1251" fmla="*/ 1479 h 10000"/>
                  <a:gd name="connsiteX1252" fmla="*/ 5553 w 10785"/>
                  <a:gd name="connsiteY1252" fmla="*/ 1453 h 10000"/>
                  <a:gd name="connsiteX1253" fmla="*/ 5581 w 10785"/>
                  <a:gd name="connsiteY1253" fmla="*/ 1444 h 10000"/>
                  <a:gd name="connsiteX1254" fmla="*/ 5581 w 10785"/>
                  <a:gd name="connsiteY1254" fmla="*/ 1453 h 10000"/>
                  <a:gd name="connsiteX1255" fmla="*/ 5585 w 10785"/>
                  <a:gd name="connsiteY1255" fmla="*/ 1444 h 10000"/>
                  <a:gd name="connsiteX1256" fmla="*/ 5594 w 10785"/>
                  <a:gd name="connsiteY1256" fmla="*/ 1427 h 10000"/>
                  <a:gd name="connsiteX1257" fmla="*/ 5599 w 10785"/>
                  <a:gd name="connsiteY1257" fmla="*/ 1419 h 10000"/>
                  <a:gd name="connsiteX1258" fmla="*/ 5594 w 10785"/>
                  <a:gd name="connsiteY1258" fmla="*/ 1402 h 10000"/>
                  <a:gd name="connsiteX1259" fmla="*/ 5604 w 10785"/>
                  <a:gd name="connsiteY1259" fmla="*/ 1393 h 10000"/>
                  <a:gd name="connsiteX1260" fmla="*/ 5618 w 10785"/>
                  <a:gd name="connsiteY1260" fmla="*/ 1393 h 10000"/>
                  <a:gd name="connsiteX1261" fmla="*/ 5627 w 10785"/>
                  <a:gd name="connsiteY1261" fmla="*/ 1368 h 10000"/>
                  <a:gd name="connsiteX1262" fmla="*/ 5627 w 10785"/>
                  <a:gd name="connsiteY1262" fmla="*/ 1325 h 10000"/>
                  <a:gd name="connsiteX1263" fmla="*/ 5645 w 10785"/>
                  <a:gd name="connsiteY1263" fmla="*/ 1291 h 10000"/>
                  <a:gd name="connsiteX1264" fmla="*/ 5645 w 10785"/>
                  <a:gd name="connsiteY1264" fmla="*/ 1282 h 10000"/>
                  <a:gd name="connsiteX1265" fmla="*/ 5654 w 10785"/>
                  <a:gd name="connsiteY1265" fmla="*/ 1265 h 10000"/>
                  <a:gd name="connsiteX1266" fmla="*/ 5654 w 10785"/>
                  <a:gd name="connsiteY1266" fmla="*/ 1214 h 10000"/>
                  <a:gd name="connsiteX1267" fmla="*/ 5654 w 10785"/>
                  <a:gd name="connsiteY1267" fmla="*/ 1214 h 10000"/>
                  <a:gd name="connsiteX1268" fmla="*/ 5645 w 10785"/>
                  <a:gd name="connsiteY1268" fmla="*/ 1197 h 10000"/>
                  <a:gd name="connsiteX1269" fmla="*/ 5659 w 10785"/>
                  <a:gd name="connsiteY1269" fmla="*/ 1197 h 10000"/>
                  <a:gd name="connsiteX1270" fmla="*/ 5654 w 10785"/>
                  <a:gd name="connsiteY1270" fmla="*/ 1154 h 10000"/>
                  <a:gd name="connsiteX1271" fmla="*/ 5641 w 10785"/>
                  <a:gd name="connsiteY1271" fmla="*/ 1154 h 10000"/>
                  <a:gd name="connsiteX1272" fmla="*/ 5627 w 10785"/>
                  <a:gd name="connsiteY1272" fmla="*/ 1128 h 10000"/>
                  <a:gd name="connsiteX1273" fmla="*/ 5618 w 10785"/>
                  <a:gd name="connsiteY1273" fmla="*/ 1094 h 10000"/>
                  <a:gd name="connsiteX1274" fmla="*/ 5613 w 10785"/>
                  <a:gd name="connsiteY1274" fmla="*/ 1094 h 10000"/>
                  <a:gd name="connsiteX1275" fmla="*/ 5604 w 10785"/>
                  <a:gd name="connsiteY1275" fmla="*/ 1120 h 10000"/>
                  <a:gd name="connsiteX1276" fmla="*/ 5604 w 10785"/>
                  <a:gd name="connsiteY1276" fmla="*/ 1128 h 10000"/>
                  <a:gd name="connsiteX1277" fmla="*/ 5599 w 10785"/>
                  <a:gd name="connsiteY1277" fmla="*/ 1103 h 10000"/>
                  <a:gd name="connsiteX1278" fmla="*/ 5599 w 10785"/>
                  <a:gd name="connsiteY1278" fmla="*/ 1103 h 10000"/>
                  <a:gd name="connsiteX1279" fmla="*/ 5594 w 10785"/>
                  <a:gd name="connsiteY1279" fmla="*/ 1068 h 10000"/>
                  <a:gd name="connsiteX1280" fmla="*/ 5594 w 10785"/>
                  <a:gd name="connsiteY1280" fmla="*/ 1060 h 10000"/>
                  <a:gd name="connsiteX1281" fmla="*/ 5581 w 10785"/>
                  <a:gd name="connsiteY1281" fmla="*/ 1034 h 10000"/>
                  <a:gd name="connsiteX1282" fmla="*/ 5571 w 10785"/>
                  <a:gd name="connsiteY1282" fmla="*/ 1009 h 10000"/>
                  <a:gd name="connsiteX1283" fmla="*/ 5571 w 10785"/>
                  <a:gd name="connsiteY1283" fmla="*/ 991 h 10000"/>
                  <a:gd name="connsiteX1284" fmla="*/ 5585 w 10785"/>
                  <a:gd name="connsiteY1284" fmla="*/ 1009 h 10000"/>
                  <a:gd name="connsiteX1285" fmla="*/ 5604 w 10785"/>
                  <a:gd name="connsiteY1285" fmla="*/ 1043 h 10000"/>
                  <a:gd name="connsiteX1286" fmla="*/ 5641 w 10785"/>
                  <a:gd name="connsiteY1286" fmla="*/ 1094 h 10000"/>
                  <a:gd name="connsiteX1287" fmla="*/ 5631 w 10785"/>
                  <a:gd name="connsiteY1287" fmla="*/ 1128 h 10000"/>
                  <a:gd name="connsiteX1288" fmla="*/ 5641 w 10785"/>
                  <a:gd name="connsiteY1288" fmla="*/ 1128 h 10000"/>
                  <a:gd name="connsiteX1289" fmla="*/ 5659 w 10785"/>
                  <a:gd name="connsiteY1289" fmla="*/ 1017 h 10000"/>
                  <a:gd name="connsiteX1290" fmla="*/ 5659 w 10785"/>
                  <a:gd name="connsiteY1290" fmla="*/ 983 h 10000"/>
                  <a:gd name="connsiteX1291" fmla="*/ 5659 w 10785"/>
                  <a:gd name="connsiteY1291" fmla="*/ 957 h 10000"/>
                  <a:gd name="connsiteX1292" fmla="*/ 5654 w 10785"/>
                  <a:gd name="connsiteY1292" fmla="*/ 966 h 10000"/>
                  <a:gd name="connsiteX1293" fmla="*/ 5641 w 10785"/>
                  <a:gd name="connsiteY1293" fmla="*/ 957 h 10000"/>
                  <a:gd name="connsiteX1294" fmla="*/ 5631 w 10785"/>
                  <a:gd name="connsiteY1294" fmla="*/ 897 h 10000"/>
                  <a:gd name="connsiteX1295" fmla="*/ 5641 w 10785"/>
                  <a:gd name="connsiteY1295" fmla="*/ 872 h 10000"/>
                  <a:gd name="connsiteX1296" fmla="*/ 5618 w 10785"/>
                  <a:gd name="connsiteY1296" fmla="*/ 803 h 10000"/>
                  <a:gd name="connsiteX1297" fmla="*/ 5604 w 10785"/>
                  <a:gd name="connsiteY1297" fmla="*/ 821 h 10000"/>
                  <a:gd name="connsiteX1298" fmla="*/ 5613 w 10785"/>
                  <a:gd name="connsiteY1298" fmla="*/ 846 h 10000"/>
                  <a:gd name="connsiteX1299" fmla="*/ 5604 w 10785"/>
                  <a:gd name="connsiteY1299" fmla="*/ 855 h 10000"/>
                  <a:gd name="connsiteX1300" fmla="*/ 5599 w 10785"/>
                  <a:gd name="connsiteY1300" fmla="*/ 880 h 10000"/>
                  <a:gd name="connsiteX1301" fmla="*/ 5594 w 10785"/>
                  <a:gd name="connsiteY1301" fmla="*/ 880 h 10000"/>
                  <a:gd name="connsiteX1302" fmla="*/ 5585 w 10785"/>
                  <a:gd name="connsiteY1302" fmla="*/ 829 h 10000"/>
                  <a:gd name="connsiteX1303" fmla="*/ 5571 w 10785"/>
                  <a:gd name="connsiteY1303" fmla="*/ 803 h 10000"/>
                  <a:gd name="connsiteX1304" fmla="*/ 5585 w 10785"/>
                  <a:gd name="connsiteY1304" fmla="*/ 795 h 10000"/>
                  <a:gd name="connsiteX1305" fmla="*/ 5585 w 10785"/>
                  <a:gd name="connsiteY1305" fmla="*/ 761 h 10000"/>
                  <a:gd name="connsiteX1306" fmla="*/ 5558 w 10785"/>
                  <a:gd name="connsiteY1306" fmla="*/ 709 h 10000"/>
                  <a:gd name="connsiteX1307" fmla="*/ 5544 w 10785"/>
                  <a:gd name="connsiteY1307" fmla="*/ 709 h 10000"/>
                  <a:gd name="connsiteX1308" fmla="*/ 5544 w 10785"/>
                  <a:gd name="connsiteY1308" fmla="*/ 684 h 10000"/>
                  <a:gd name="connsiteX1309" fmla="*/ 5525 w 10785"/>
                  <a:gd name="connsiteY1309" fmla="*/ 632 h 10000"/>
                  <a:gd name="connsiteX1310" fmla="*/ 5507 w 10785"/>
                  <a:gd name="connsiteY1310" fmla="*/ 607 h 10000"/>
                  <a:gd name="connsiteX1311" fmla="*/ 5512 w 10785"/>
                  <a:gd name="connsiteY1311" fmla="*/ 598 h 10000"/>
                  <a:gd name="connsiteX1312" fmla="*/ 5507 w 10785"/>
                  <a:gd name="connsiteY1312" fmla="*/ 581 h 10000"/>
                  <a:gd name="connsiteX1313" fmla="*/ 5493 w 10785"/>
                  <a:gd name="connsiteY1313" fmla="*/ 573 h 10000"/>
                  <a:gd name="connsiteX1314" fmla="*/ 5484 w 10785"/>
                  <a:gd name="connsiteY1314" fmla="*/ 581 h 10000"/>
                  <a:gd name="connsiteX1315" fmla="*/ 5484 w 10785"/>
                  <a:gd name="connsiteY1315" fmla="*/ 573 h 10000"/>
                  <a:gd name="connsiteX1316" fmla="*/ 5484 w 10785"/>
                  <a:gd name="connsiteY1316" fmla="*/ 547 h 10000"/>
                  <a:gd name="connsiteX1317" fmla="*/ 5465 w 10785"/>
                  <a:gd name="connsiteY1317" fmla="*/ 556 h 10000"/>
                  <a:gd name="connsiteX1318" fmla="*/ 5433 w 10785"/>
                  <a:gd name="connsiteY1318" fmla="*/ 547 h 10000"/>
                  <a:gd name="connsiteX1319" fmla="*/ 5410 w 10785"/>
                  <a:gd name="connsiteY1319" fmla="*/ 573 h 10000"/>
                  <a:gd name="connsiteX1320" fmla="*/ 5406 w 10785"/>
                  <a:gd name="connsiteY1320" fmla="*/ 573 h 10000"/>
                  <a:gd name="connsiteX1321" fmla="*/ 5392 w 10785"/>
                  <a:gd name="connsiteY1321" fmla="*/ 573 h 10000"/>
                  <a:gd name="connsiteX1322" fmla="*/ 5364 w 10785"/>
                  <a:gd name="connsiteY1322" fmla="*/ 530 h 10000"/>
                  <a:gd name="connsiteX1323" fmla="*/ 5350 w 10785"/>
                  <a:gd name="connsiteY1323" fmla="*/ 556 h 10000"/>
                  <a:gd name="connsiteX1324" fmla="*/ 5346 w 10785"/>
                  <a:gd name="connsiteY1324" fmla="*/ 556 h 10000"/>
                  <a:gd name="connsiteX1325" fmla="*/ 5313 w 10785"/>
                  <a:gd name="connsiteY1325" fmla="*/ 573 h 10000"/>
                  <a:gd name="connsiteX1326" fmla="*/ 5304 w 10785"/>
                  <a:gd name="connsiteY1326" fmla="*/ 556 h 10000"/>
                  <a:gd name="connsiteX1327" fmla="*/ 5290 w 10785"/>
                  <a:gd name="connsiteY1327" fmla="*/ 573 h 10000"/>
                  <a:gd name="connsiteX1328" fmla="*/ 5290 w 10785"/>
                  <a:gd name="connsiteY1328" fmla="*/ 556 h 10000"/>
                  <a:gd name="connsiteX1329" fmla="*/ 5300 w 10785"/>
                  <a:gd name="connsiteY1329" fmla="*/ 547 h 10000"/>
                  <a:gd name="connsiteX1330" fmla="*/ 5300 w 10785"/>
                  <a:gd name="connsiteY1330" fmla="*/ 530 h 10000"/>
                  <a:gd name="connsiteX1331" fmla="*/ 5290 w 10785"/>
                  <a:gd name="connsiteY1331" fmla="*/ 530 h 10000"/>
                  <a:gd name="connsiteX1332" fmla="*/ 5286 w 10785"/>
                  <a:gd name="connsiteY1332" fmla="*/ 547 h 10000"/>
                  <a:gd name="connsiteX1333" fmla="*/ 5272 w 10785"/>
                  <a:gd name="connsiteY1333" fmla="*/ 556 h 10000"/>
                  <a:gd name="connsiteX1334" fmla="*/ 5272 w 10785"/>
                  <a:gd name="connsiteY1334" fmla="*/ 598 h 10000"/>
                  <a:gd name="connsiteX1335" fmla="*/ 5276 w 10785"/>
                  <a:gd name="connsiteY1335" fmla="*/ 581 h 10000"/>
                  <a:gd name="connsiteX1336" fmla="*/ 5272 w 10785"/>
                  <a:gd name="connsiteY1336" fmla="*/ 607 h 10000"/>
                  <a:gd name="connsiteX1337" fmla="*/ 5263 w 10785"/>
                  <a:gd name="connsiteY1337" fmla="*/ 607 h 10000"/>
                  <a:gd name="connsiteX1338" fmla="*/ 5263 w 10785"/>
                  <a:gd name="connsiteY1338" fmla="*/ 632 h 10000"/>
                  <a:gd name="connsiteX1339" fmla="*/ 5258 w 10785"/>
                  <a:gd name="connsiteY1339" fmla="*/ 658 h 10000"/>
                  <a:gd name="connsiteX1340" fmla="*/ 5244 w 10785"/>
                  <a:gd name="connsiteY1340" fmla="*/ 667 h 10000"/>
                  <a:gd name="connsiteX1341" fmla="*/ 5240 w 10785"/>
                  <a:gd name="connsiteY1341" fmla="*/ 658 h 10000"/>
                  <a:gd name="connsiteX1342" fmla="*/ 5240 w 10785"/>
                  <a:gd name="connsiteY1342" fmla="*/ 684 h 10000"/>
                  <a:gd name="connsiteX1343" fmla="*/ 5212 w 10785"/>
                  <a:gd name="connsiteY1343" fmla="*/ 684 h 10000"/>
                  <a:gd name="connsiteX1344" fmla="*/ 5198 w 10785"/>
                  <a:gd name="connsiteY1344" fmla="*/ 692 h 10000"/>
                  <a:gd name="connsiteX1345" fmla="*/ 5184 w 10785"/>
                  <a:gd name="connsiteY1345" fmla="*/ 684 h 10000"/>
                  <a:gd name="connsiteX1346" fmla="*/ 5157 w 10785"/>
                  <a:gd name="connsiteY1346" fmla="*/ 684 h 10000"/>
                  <a:gd name="connsiteX1347" fmla="*/ 5157 w 10785"/>
                  <a:gd name="connsiteY1347" fmla="*/ 667 h 10000"/>
                  <a:gd name="connsiteX1348" fmla="*/ 5157 w 10785"/>
                  <a:gd name="connsiteY1348" fmla="*/ 667 h 10000"/>
                  <a:gd name="connsiteX1349" fmla="*/ 5180 w 10785"/>
                  <a:gd name="connsiteY1349" fmla="*/ 650 h 10000"/>
                  <a:gd name="connsiteX1350" fmla="*/ 5184 w 10785"/>
                  <a:gd name="connsiteY1350" fmla="*/ 658 h 10000"/>
                  <a:gd name="connsiteX1351" fmla="*/ 5203 w 10785"/>
                  <a:gd name="connsiteY1351" fmla="*/ 547 h 10000"/>
                  <a:gd name="connsiteX1352" fmla="*/ 5226 w 10785"/>
                  <a:gd name="connsiteY1352" fmla="*/ 530 h 10000"/>
                  <a:gd name="connsiteX1353" fmla="*/ 5230 w 10785"/>
                  <a:gd name="connsiteY1353" fmla="*/ 487 h 10000"/>
                  <a:gd name="connsiteX1354" fmla="*/ 5230 w 10785"/>
                  <a:gd name="connsiteY1354" fmla="*/ 487 h 10000"/>
                  <a:gd name="connsiteX1355" fmla="*/ 5226 w 10785"/>
                  <a:gd name="connsiteY1355" fmla="*/ 462 h 10000"/>
                  <a:gd name="connsiteX1356" fmla="*/ 5226 w 10785"/>
                  <a:gd name="connsiteY1356" fmla="*/ 462 h 10000"/>
                  <a:gd name="connsiteX1357" fmla="*/ 5240 w 10785"/>
                  <a:gd name="connsiteY1357" fmla="*/ 462 h 10000"/>
                  <a:gd name="connsiteX1358" fmla="*/ 5240 w 10785"/>
                  <a:gd name="connsiteY1358" fmla="*/ 444 h 10000"/>
                  <a:gd name="connsiteX1359" fmla="*/ 5230 w 10785"/>
                  <a:gd name="connsiteY1359" fmla="*/ 436 h 10000"/>
                  <a:gd name="connsiteX1360" fmla="*/ 5230 w 10785"/>
                  <a:gd name="connsiteY1360" fmla="*/ 419 h 10000"/>
                  <a:gd name="connsiteX1361" fmla="*/ 5230 w 10785"/>
                  <a:gd name="connsiteY1361" fmla="*/ 410 h 10000"/>
                  <a:gd name="connsiteX1362" fmla="*/ 5198 w 10785"/>
                  <a:gd name="connsiteY1362" fmla="*/ 402 h 10000"/>
                  <a:gd name="connsiteX1363" fmla="*/ 5189 w 10785"/>
                  <a:gd name="connsiteY1363" fmla="*/ 402 h 10000"/>
                  <a:gd name="connsiteX1364" fmla="*/ 5184 w 10785"/>
                  <a:gd name="connsiteY1364" fmla="*/ 376 h 10000"/>
                  <a:gd name="connsiteX1365" fmla="*/ 5180 w 10785"/>
                  <a:gd name="connsiteY1365" fmla="*/ 376 h 10000"/>
                  <a:gd name="connsiteX1366" fmla="*/ 5166 w 10785"/>
                  <a:gd name="connsiteY1366" fmla="*/ 376 h 10000"/>
                  <a:gd name="connsiteX1367" fmla="*/ 5157 w 10785"/>
                  <a:gd name="connsiteY1367" fmla="*/ 385 h 10000"/>
                  <a:gd name="connsiteX1368" fmla="*/ 5152 w 10785"/>
                  <a:gd name="connsiteY1368" fmla="*/ 376 h 10000"/>
                  <a:gd name="connsiteX1369" fmla="*/ 5129 w 10785"/>
                  <a:gd name="connsiteY1369" fmla="*/ 385 h 10000"/>
                  <a:gd name="connsiteX1370" fmla="*/ 5129 w 10785"/>
                  <a:gd name="connsiteY1370" fmla="*/ 350 h 10000"/>
                  <a:gd name="connsiteX1371" fmla="*/ 5129 w 10785"/>
                  <a:gd name="connsiteY1371" fmla="*/ 325 h 10000"/>
                  <a:gd name="connsiteX1372" fmla="*/ 5124 w 10785"/>
                  <a:gd name="connsiteY1372" fmla="*/ 359 h 10000"/>
                  <a:gd name="connsiteX1373" fmla="*/ 5106 w 10785"/>
                  <a:gd name="connsiteY1373" fmla="*/ 359 h 10000"/>
                  <a:gd name="connsiteX1374" fmla="*/ 5037 w 10785"/>
                  <a:gd name="connsiteY1374" fmla="*/ 419 h 10000"/>
                  <a:gd name="connsiteX1375" fmla="*/ 5051 w 10785"/>
                  <a:gd name="connsiteY1375" fmla="*/ 385 h 10000"/>
                  <a:gd name="connsiteX1376" fmla="*/ 5055 w 10785"/>
                  <a:gd name="connsiteY1376" fmla="*/ 376 h 10000"/>
                  <a:gd name="connsiteX1377" fmla="*/ 5092 w 10785"/>
                  <a:gd name="connsiteY1377" fmla="*/ 282 h 10000"/>
                  <a:gd name="connsiteX1378" fmla="*/ 5106 w 10785"/>
                  <a:gd name="connsiteY1378" fmla="*/ 265 h 10000"/>
                  <a:gd name="connsiteX1379" fmla="*/ 5115 w 10785"/>
                  <a:gd name="connsiteY1379" fmla="*/ 265 h 10000"/>
                  <a:gd name="connsiteX1380" fmla="*/ 5124 w 10785"/>
                  <a:gd name="connsiteY1380" fmla="*/ 222 h 10000"/>
                  <a:gd name="connsiteX1381" fmla="*/ 5124 w 10785"/>
                  <a:gd name="connsiteY1381" fmla="*/ 214 h 10000"/>
                  <a:gd name="connsiteX1382" fmla="*/ 5143 w 10785"/>
                  <a:gd name="connsiteY1382" fmla="*/ 197 h 10000"/>
                  <a:gd name="connsiteX1383" fmla="*/ 5152 w 10785"/>
                  <a:gd name="connsiteY1383" fmla="*/ 214 h 10000"/>
                  <a:gd name="connsiteX1384" fmla="*/ 5143 w 10785"/>
                  <a:gd name="connsiteY1384" fmla="*/ 188 h 10000"/>
                  <a:gd name="connsiteX1385" fmla="*/ 5129 w 10785"/>
                  <a:gd name="connsiteY1385" fmla="*/ 103 h 10000"/>
                  <a:gd name="connsiteX1386" fmla="*/ 5115 w 10785"/>
                  <a:gd name="connsiteY1386" fmla="*/ 85 h 10000"/>
                  <a:gd name="connsiteX1387" fmla="*/ 5111 w 10785"/>
                  <a:gd name="connsiteY1387" fmla="*/ 111 h 10000"/>
                  <a:gd name="connsiteX1388" fmla="*/ 5092 w 10785"/>
                  <a:gd name="connsiteY1388" fmla="*/ 103 h 10000"/>
                  <a:gd name="connsiteX1389" fmla="*/ 5069 w 10785"/>
                  <a:gd name="connsiteY1389" fmla="*/ 77 h 10000"/>
                  <a:gd name="connsiteX1390" fmla="*/ 5051 w 10785"/>
                  <a:gd name="connsiteY1390" fmla="*/ 26 h 10000"/>
                  <a:gd name="connsiteX1391" fmla="*/ 5041 w 10785"/>
                  <a:gd name="connsiteY1391" fmla="*/ 34 h 10000"/>
                  <a:gd name="connsiteX1392" fmla="*/ 5037 w 10785"/>
                  <a:gd name="connsiteY1392" fmla="*/ 34 h 10000"/>
                  <a:gd name="connsiteX1393" fmla="*/ 5037 w 10785"/>
                  <a:gd name="connsiteY1393" fmla="*/ 26 h 10000"/>
                  <a:gd name="connsiteX1394" fmla="*/ 5037 w 10785"/>
                  <a:gd name="connsiteY1394" fmla="*/ 9 h 10000"/>
                  <a:gd name="connsiteX1395" fmla="*/ 5023 w 10785"/>
                  <a:gd name="connsiteY1395" fmla="*/ 0 h 10000"/>
                  <a:gd name="connsiteX1396" fmla="*/ 5009 w 10785"/>
                  <a:gd name="connsiteY1396" fmla="*/ 9 h 10000"/>
                  <a:gd name="connsiteX1397" fmla="*/ 4995 w 10785"/>
                  <a:gd name="connsiteY1397" fmla="*/ 34 h 10000"/>
                  <a:gd name="connsiteX1398" fmla="*/ 4991 w 10785"/>
                  <a:gd name="connsiteY1398" fmla="*/ 60 h 10000"/>
                  <a:gd name="connsiteX1399" fmla="*/ 4982 w 10785"/>
                  <a:gd name="connsiteY1399" fmla="*/ 60 h 10000"/>
                  <a:gd name="connsiteX1400" fmla="*/ 4949 w 10785"/>
                  <a:gd name="connsiteY1400" fmla="*/ 51 h 10000"/>
                  <a:gd name="connsiteX1401" fmla="*/ 4949 w 10785"/>
                  <a:gd name="connsiteY1401" fmla="*/ 85 h 10000"/>
                  <a:gd name="connsiteX1402" fmla="*/ 4903 w 10785"/>
                  <a:gd name="connsiteY1402" fmla="*/ 197 h 10000"/>
                  <a:gd name="connsiteX1403" fmla="*/ 4899 w 10785"/>
                  <a:gd name="connsiteY1403" fmla="*/ 239 h 10000"/>
                  <a:gd name="connsiteX1404" fmla="*/ 4871 w 10785"/>
                  <a:gd name="connsiteY1404" fmla="*/ 274 h 10000"/>
                  <a:gd name="connsiteX1405" fmla="*/ 4871 w 10785"/>
                  <a:gd name="connsiteY1405" fmla="*/ 282 h 10000"/>
                  <a:gd name="connsiteX1406" fmla="*/ 4834 w 10785"/>
                  <a:gd name="connsiteY1406" fmla="*/ 376 h 10000"/>
                  <a:gd name="connsiteX1407" fmla="*/ 4829 w 10785"/>
                  <a:gd name="connsiteY1407" fmla="*/ 402 h 10000"/>
                  <a:gd name="connsiteX1408" fmla="*/ 4834 w 10785"/>
                  <a:gd name="connsiteY1408" fmla="*/ 410 h 10000"/>
                  <a:gd name="connsiteX1409" fmla="*/ 4829 w 10785"/>
                  <a:gd name="connsiteY1409" fmla="*/ 436 h 10000"/>
                  <a:gd name="connsiteX1410" fmla="*/ 4825 w 10785"/>
                  <a:gd name="connsiteY1410" fmla="*/ 436 h 10000"/>
                  <a:gd name="connsiteX1411" fmla="*/ 4825 w 10785"/>
                  <a:gd name="connsiteY1411" fmla="*/ 444 h 10000"/>
                  <a:gd name="connsiteX1412" fmla="*/ 4811 w 10785"/>
                  <a:gd name="connsiteY1412" fmla="*/ 496 h 10000"/>
                  <a:gd name="connsiteX1413" fmla="*/ 4811 w 10785"/>
                  <a:gd name="connsiteY1413" fmla="*/ 496 h 10000"/>
                  <a:gd name="connsiteX1414" fmla="*/ 4811 w 10785"/>
                  <a:gd name="connsiteY1414" fmla="*/ 521 h 10000"/>
                  <a:gd name="connsiteX1415" fmla="*/ 4816 w 10785"/>
                  <a:gd name="connsiteY1415" fmla="*/ 530 h 10000"/>
                  <a:gd name="connsiteX1416" fmla="*/ 4834 w 10785"/>
                  <a:gd name="connsiteY1416" fmla="*/ 547 h 10000"/>
                  <a:gd name="connsiteX1417" fmla="*/ 4834 w 10785"/>
                  <a:gd name="connsiteY1417" fmla="*/ 581 h 10000"/>
                  <a:gd name="connsiteX1418" fmla="*/ 4843 w 10785"/>
                  <a:gd name="connsiteY1418" fmla="*/ 581 h 10000"/>
                  <a:gd name="connsiteX1419" fmla="*/ 4843 w 10785"/>
                  <a:gd name="connsiteY1419" fmla="*/ 598 h 10000"/>
                  <a:gd name="connsiteX1420" fmla="*/ 4829 w 10785"/>
                  <a:gd name="connsiteY1420" fmla="*/ 598 h 10000"/>
                  <a:gd name="connsiteX1421" fmla="*/ 4829 w 10785"/>
                  <a:gd name="connsiteY1421" fmla="*/ 573 h 10000"/>
                  <a:gd name="connsiteX1422" fmla="*/ 4829 w 10785"/>
                  <a:gd name="connsiteY1422" fmla="*/ 632 h 10000"/>
                  <a:gd name="connsiteX1423" fmla="*/ 4829 w 10785"/>
                  <a:gd name="connsiteY1423" fmla="*/ 632 h 10000"/>
                  <a:gd name="connsiteX1424" fmla="*/ 4829 w 10785"/>
                  <a:gd name="connsiteY1424" fmla="*/ 650 h 10000"/>
                  <a:gd name="connsiteX1425" fmla="*/ 4774 w 10785"/>
                  <a:gd name="connsiteY1425" fmla="*/ 684 h 10000"/>
                  <a:gd name="connsiteX1426" fmla="*/ 4756 w 10785"/>
                  <a:gd name="connsiteY1426" fmla="*/ 684 h 10000"/>
                  <a:gd name="connsiteX1427" fmla="*/ 4737 w 10785"/>
                  <a:gd name="connsiteY1427" fmla="*/ 692 h 10000"/>
                  <a:gd name="connsiteX1428" fmla="*/ 4677 w 10785"/>
                  <a:gd name="connsiteY1428" fmla="*/ 667 h 10000"/>
                  <a:gd name="connsiteX1429" fmla="*/ 4682 w 10785"/>
                  <a:gd name="connsiteY1429" fmla="*/ 692 h 10000"/>
                  <a:gd name="connsiteX1430" fmla="*/ 4682 w 10785"/>
                  <a:gd name="connsiteY1430" fmla="*/ 709 h 10000"/>
                  <a:gd name="connsiteX1431" fmla="*/ 4691 w 10785"/>
                  <a:gd name="connsiteY1431" fmla="*/ 718 h 10000"/>
                  <a:gd name="connsiteX1432" fmla="*/ 4691 w 10785"/>
                  <a:gd name="connsiteY1432" fmla="*/ 744 h 10000"/>
                  <a:gd name="connsiteX1433" fmla="*/ 4700 w 10785"/>
                  <a:gd name="connsiteY1433" fmla="*/ 744 h 10000"/>
                  <a:gd name="connsiteX1434" fmla="*/ 4714 w 10785"/>
                  <a:gd name="connsiteY1434" fmla="*/ 769 h 10000"/>
                  <a:gd name="connsiteX1435" fmla="*/ 4710 w 10785"/>
                  <a:gd name="connsiteY1435" fmla="*/ 786 h 10000"/>
                  <a:gd name="connsiteX1436" fmla="*/ 4737 w 10785"/>
                  <a:gd name="connsiteY1436" fmla="*/ 786 h 10000"/>
                  <a:gd name="connsiteX1437" fmla="*/ 4742 w 10785"/>
                  <a:gd name="connsiteY1437" fmla="*/ 795 h 10000"/>
                  <a:gd name="connsiteX1438" fmla="*/ 4742 w 10785"/>
                  <a:gd name="connsiteY1438" fmla="*/ 803 h 10000"/>
                  <a:gd name="connsiteX1439" fmla="*/ 4737 w 10785"/>
                  <a:gd name="connsiteY1439" fmla="*/ 846 h 10000"/>
                  <a:gd name="connsiteX1440" fmla="*/ 4737 w 10785"/>
                  <a:gd name="connsiteY1440" fmla="*/ 880 h 10000"/>
                  <a:gd name="connsiteX1441" fmla="*/ 4737 w 10785"/>
                  <a:gd name="connsiteY1441" fmla="*/ 906 h 10000"/>
                  <a:gd name="connsiteX1442" fmla="*/ 4724 w 10785"/>
                  <a:gd name="connsiteY1442" fmla="*/ 897 h 10000"/>
                  <a:gd name="connsiteX1443" fmla="*/ 4724 w 10785"/>
                  <a:gd name="connsiteY1443" fmla="*/ 872 h 10000"/>
                  <a:gd name="connsiteX1444" fmla="*/ 4714 w 10785"/>
                  <a:gd name="connsiteY1444" fmla="*/ 855 h 10000"/>
                  <a:gd name="connsiteX1445" fmla="*/ 4691 w 10785"/>
                  <a:gd name="connsiteY1445" fmla="*/ 846 h 10000"/>
                  <a:gd name="connsiteX1446" fmla="*/ 4691 w 10785"/>
                  <a:gd name="connsiteY1446" fmla="*/ 846 h 10000"/>
                  <a:gd name="connsiteX1447" fmla="*/ 4696 w 10785"/>
                  <a:gd name="connsiteY1447" fmla="*/ 821 h 10000"/>
                  <a:gd name="connsiteX1448" fmla="*/ 4691 w 10785"/>
                  <a:gd name="connsiteY1448" fmla="*/ 803 h 10000"/>
                  <a:gd name="connsiteX1449" fmla="*/ 4668 w 10785"/>
                  <a:gd name="connsiteY1449" fmla="*/ 821 h 10000"/>
                  <a:gd name="connsiteX1450" fmla="*/ 4668 w 10785"/>
                  <a:gd name="connsiteY1450" fmla="*/ 786 h 10000"/>
                  <a:gd name="connsiteX1451" fmla="*/ 4664 w 10785"/>
                  <a:gd name="connsiteY1451" fmla="*/ 786 h 10000"/>
                  <a:gd name="connsiteX1452" fmla="*/ 4622 w 10785"/>
                  <a:gd name="connsiteY1452" fmla="*/ 846 h 10000"/>
                  <a:gd name="connsiteX1453" fmla="*/ 4627 w 10785"/>
                  <a:gd name="connsiteY1453" fmla="*/ 872 h 10000"/>
                  <a:gd name="connsiteX1454" fmla="*/ 4622 w 10785"/>
                  <a:gd name="connsiteY1454" fmla="*/ 880 h 10000"/>
                  <a:gd name="connsiteX1455" fmla="*/ 4622 w 10785"/>
                  <a:gd name="connsiteY1455" fmla="*/ 880 h 10000"/>
                  <a:gd name="connsiteX1456" fmla="*/ 4618 w 10785"/>
                  <a:gd name="connsiteY1456" fmla="*/ 872 h 10000"/>
                  <a:gd name="connsiteX1457" fmla="*/ 4604 w 10785"/>
                  <a:gd name="connsiteY1457" fmla="*/ 880 h 10000"/>
                  <a:gd name="connsiteX1458" fmla="*/ 4594 w 10785"/>
                  <a:gd name="connsiteY1458" fmla="*/ 906 h 10000"/>
                  <a:gd name="connsiteX1459" fmla="*/ 4604 w 10785"/>
                  <a:gd name="connsiteY1459" fmla="*/ 906 h 10000"/>
                  <a:gd name="connsiteX1460" fmla="*/ 4608 w 10785"/>
                  <a:gd name="connsiteY1460" fmla="*/ 906 h 10000"/>
                  <a:gd name="connsiteX1461" fmla="*/ 4608 w 10785"/>
                  <a:gd name="connsiteY1461" fmla="*/ 932 h 10000"/>
                  <a:gd name="connsiteX1462" fmla="*/ 4604 w 10785"/>
                  <a:gd name="connsiteY1462" fmla="*/ 932 h 10000"/>
                  <a:gd name="connsiteX1463" fmla="*/ 4590 w 10785"/>
                  <a:gd name="connsiteY1463" fmla="*/ 932 h 10000"/>
                  <a:gd name="connsiteX1464" fmla="*/ 4567 w 10785"/>
                  <a:gd name="connsiteY1464" fmla="*/ 957 h 10000"/>
                  <a:gd name="connsiteX1465" fmla="*/ 4567 w 10785"/>
                  <a:gd name="connsiteY1465" fmla="*/ 932 h 10000"/>
                  <a:gd name="connsiteX1466" fmla="*/ 4567 w 10785"/>
                  <a:gd name="connsiteY1466" fmla="*/ 923 h 10000"/>
                  <a:gd name="connsiteX1467" fmla="*/ 4562 w 10785"/>
                  <a:gd name="connsiteY1467" fmla="*/ 932 h 10000"/>
                  <a:gd name="connsiteX1468" fmla="*/ 4548 w 10785"/>
                  <a:gd name="connsiteY1468" fmla="*/ 957 h 10000"/>
                  <a:gd name="connsiteX1469" fmla="*/ 4544 w 10785"/>
                  <a:gd name="connsiteY1469" fmla="*/ 957 h 10000"/>
                  <a:gd name="connsiteX1470" fmla="*/ 4521 w 10785"/>
                  <a:gd name="connsiteY1470" fmla="*/ 983 h 10000"/>
                  <a:gd name="connsiteX1471" fmla="*/ 4521 w 10785"/>
                  <a:gd name="connsiteY1471" fmla="*/ 983 h 10000"/>
                  <a:gd name="connsiteX1472" fmla="*/ 4530 w 10785"/>
                  <a:gd name="connsiteY1472" fmla="*/ 957 h 10000"/>
                  <a:gd name="connsiteX1473" fmla="*/ 4535 w 10785"/>
                  <a:gd name="connsiteY1473" fmla="*/ 932 h 10000"/>
                  <a:gd name="connsiteX1474" fmla="*/ 4521 w 10785"/>
                  <a:gd name="connsiteY1474" fmla="*/ 932 h 10000"/>
                  <a:gd name="connsiteX1475" fmla="*/ 4516 w 10785"/>
                  <a:gd name="connsiteY1475" fmla="*/ 923 h 10000"/>
                  <a:gd name="connsiteX1476" fmla="*/ 4516 w 10785"/>
                  <a:gd name="connsiteY1476" fmla="*/ 932 h 10000"/>
                  <a:gd name="connsiteX1477" fmla="*/ 4488 w 10785"/>
                  <a:gd name="connsiteY1477" fmla="*/ 940 h 10000"/>
                  <a:gd name="connsiteX1478" fmla="*/ 4484 w 10785"/>
                  <a:gd name="connsiteY1478" fmla="*/ 983 h 10000"/>
                  <a:gd name="connsiteX1479" fmla="*/ 4470 w 10785"/>
                  <a:gd name="connsiteY1479" fmla="*/ 983 h 10000"/>
                  <a:gd name="connsiteX1480" fmla="*/ 4470 w 10785"/>
                  <a:gd name="connsiteY1480" fmla="*/ 966 h 10000"/>
                  <a:gd name="connsiteX1481" fmla="*/ 4488 w 10785"/>
                  <a:gd name="connsiteY1481" fmla="*/ 923 h 10000"/>
                  <a:gd name="connsiteX1482" fmla="*/ 4493 w 10785"/>
                  <a:gd name="connsiteY1482" fmla="*/ 880 h 10000"/>
                  <a:gd name="connsiteX1483" fmla="*/ 4475 w 10785"/>
                  <a:gd name="connsiteY1483" fmla="*/ 846 h 10000"/>
                  <a:gd name="connsiteX1484" fmla="*/ 4442 w 10785"/>
                  <a:gd name="connsiteY1484" fmla="*/ 855 h 10000"/>
                  <a:gd name="connsiteX1485" fmla="*/ 4433 w 10785"/>
                  <a:gd name="connsiteY1485" fmla="*/ 855 h 10000"/>
                  <a:gd name="connsiteX1486" fmla="*/ 4433 w 10785"/>
                  <a:gd name="connsiteY1486" fmla="*/ 880 h 10000"/>
                  <a:gd name="connsiteX1487" fmla="*/ 4401 w 10785"/>
                  <a:gd name="connsiteY1487" fmla="*/ 855 h 10000"/>
                  <a:gd name="connsiteX1488" fmla="*/ 4396 w 10785"/>
                  <a:gd name="connsiteY1488" fmla="*/ 872 h 10000"/>
                  <a:gd name="connsiteX1489" fmla="*/ 4382 w 10785"/>
                  <a:gd name="connsiteY1489" fmla="*/ 897 h 10000"/>
                  <a:gd name="connsiteX1490" fmla="*/ 4373 w 10785"/>
                  <a:gd name="connsiteY1490" fmla="*/ 872 h 10000"/>
                  <a:gd name="connsiteX1491" fmla="*/ 4341 w 10785"/>
                  <a:gd name="connsiteY1491" fmla="*/ 872 h 10000"/>
                  <a:gd name="connsiteX1492" fmla="*/ 4336 w 10785"/>
                  <a:gd name="connsiteY1492" fmla="*/ 880 h 10000"/>
                  <a:gd name="connsiteX1493" fmla="*/ 4346 w 10785"/>
                  <a:gd name="connsiteY1493" fmla="*/ 897 h 10000"/>
                  <a:gd name="connsiteX1494" fmla="*/ 4346 w 10785"/>
                  <a:gd name="connsiteY1494" fmla="*/ 897 h 10000"/>
                  <a:gd name="connsiteX1495" fmla="*/ 4313 w 10785"/>
                  <a:gd name="connsiteY1495" fmla="*/ 906 h 10000"/>
                  <a:gd name="connsiteX1496" fmla="*/ 4313 w 10785"/>
                  <a:gd name="connsiteY1496" fmla="*/ 906 h 10000"/>
                  <a:gd name="connsiteX1497" fmla="*/ 4313 w 10785"/>
                  <a:gd name="connsiteY1497" fmla="*/ 880 h 10000"/>
                  <a:gd name="connsiteX1498" fmla="*/ 4309 w 10785"/>
                  <a:gd name="connsiteY1498" fmla="*/ 897 h 10000"/>
                  <a:gd name="connsiteX1499" fmla="*/ 4295 w 10785"/>
                  <a:gd name="connsiteY1499" fmla="*/ 923 h 10000"/>
                  <a:gd name="connsiteX1500" fmla="*/ 4286 w 10785"/>
                  <a:gd name="connsiteY1500" fmla="*/ 897 h 10000"/>
                  <a:gd name="connsiteX1501" fmla="*/ 4281 w 10785"/>
                  <a:gd name="connsiteY1501" fmla="*/ 906 h 10000"/>
                  <a:gd name="connsiteX1502" fmla="*/ 4281 w 10785"/>
                  <a:gd name="connsiteY1502" fmla="*/ 940 h 10000"/>
                  <a:gd name="connsiteX1503" fmla="*/ 4286 w 10785"/>
                  <a:gd name="connsiteY1503" fmla="*/ 957 h 10000"/>
                  <a:gd name="connsiteX1504" fmla="*/ 4309 w 10785"/>
                  <a:gd name="connsiteY1504" fmla="*/ 932 h 10000"/>
                  <a:gd name="connsiteX1505" fmla="*/ 4313 w 10785"/>
                  <a:gd name="connsiteY1505" fmla="*/ 957 h 10000"/>
                  <a:gd name="connsiteX1506" fmla="*/ 4313 w 10785"/>
                  <a:gd name="connsiteY1506" fmla="*/ 966 h 10000"/>
                  <a:gd name="connsiteX1507" fmla="*/ 4323 w 10785"/>
                  <a:gd name="connsiteY1507" fmla="*/ 966 h 10000"/>
                  <a:gd name="connsiteX1508" fmla="*/ 4323 w 10785"/>
                  <a:gd name="connsiteY1508" fmla="*/ 940 h 10000"/>
                  <a:gd name="connsiteX1509" fmla="*/ 4327 w 10785"/>
                  <a:gd name="connsiteY1509" fmla="*/ 940 h 10000"/>
                  <a:gd name="connsiteX1510" fmla="*/ 4327 w 10785"/>
                  <a:gd name="connsiteY1510" fmla="*/ 957 h 10000"/>
                  <a:gd name="connsiteX1511" fmla="*/ 4327 w 10785"/>
                  <a:gd name="connsiteY1511" fmla="*/ 966 h 10000"/>
                  <a:gd name="connsiteX1512" fmla="*/ 4323 w 10785"/>
                  <a:gd name="connsiteY1512" fmla="*/ 991 h 10000"/>
                  <a:gd name="connsiteX1513" fmla="*/ 4207 w 10785"/>
                  <a:gd name="connsiteY1513" fmla="*/ 1060 h 10000"/>
                  <a:gd name="connsiteX1514" fmla="*/ 4207 w 10785"/>
                  <a:gd name="connsiteY1514" fmla="*/ 1060 h 10000"/>
                  <a:gd name="connsiteX1515" fmla="*/ 4203 w 10785"/>
                  <a:gd name="connsiteY1515" fmla="*/ 1068 h 10000"/>
                  <a:gd name="connsiteX1516" fmla="*/ 4203 w 10785"/>
                  <a:gd name="connsiteY1516" fmla="*/ 1094 h 10000"/>
                  <a:gd name="connsiteX1517" fmla="*/ 4203 w 10785"/>
                  <a:gd name="connsiteY1517" fmla="*/ 1094 h 10000"/>
                  <a:gd name="connsiteX1518" fmla="*/ 4189 w 10785"/>
                  <a:gd name="connsiteY1518" fmla="*/ 1094 h 10000"/>
                  <a:gd name="connsiteX1519" fmla="*/ 4166 w 10785"/>
                  <a:gd name="connsiteY1519" fmla="*/ 1103 h 10000"/>
                  <a:gd name="connsiteX1520" fmla="*/ 4152 w 10785"/>
                  <a:gd name="connsiteY1520" fmla="*/ 1094 h 10000"/>
                  <a:gd name="connsiteX1521" fmla="*/ 4134 w 10785"/>
                  <a:gd name="connsiteY1521" fmla="*/ 1120 h 10000"/>
                  <a:gd name="connsiteX1522" fmla="*/ 4106 w 10785"/>
                  <a:gd name="connsiteY1522" fmla="*/ 1120 h 10000"/>
                  <a:gd name="connsiteX1523" fmla="*/ 4092 w 10785"/>
                  <a:gd name="connsiteY1523" fmla="*/ 1154 h 10000"/>
                  <a:gd name="connsiteX1524" fmla="*/ 4106 w 10785"/>
                  <a:gd name="connsiteY1524" fmla="*/ 1171 h 10000"/>
                  <a:gd name="connsiteX1525" fmla="*/ 4078 w 10785"/>
                  <a:gd name="connsiteY1525" fmla="*/ 1179 h 10000"/>
                  <a:gd name="connsiteX1526" fmla="*/ 4065 w 10785"/>
                  <a:gd name="connsiteY1526" fmla="*/ 1205 h 10000"/>
                  <a:gd name="connsiteX1527" fmla="*/ 4046 w 10785"/>
                  <a:gd name="connsiteY1527" fmla="*/ 1179 h 10000"/>
                  <a:gd name="connsiteX1528" fmla="*/ 4041 w 10785"/>
                  <a:gd name="connsiteY1528" fmla="*/ 1197 h 10000"/>
                  <a:gd name="connsiteX1529" fmla="*/ 4028 w 10785"/>
                  <a:gd name="connsiteY1529" fmla="*/ 1205 h 10000"/>
                  <a:gd name="connsiteX1530" fmla="*/ 4028 w 10785"/>
                  <a:gd name="connsiteY1530" fmla="*/ 1205 h 10000"/>
                  <a:gd name="connsiteX1531" fmla="*/ 4032 w 10785"/>
                  <a:gd name="connsiteY1531" fmla="*/ 1205 h 10000"/>
                  <a:gd name="connsiteX1532" fmla="*/ 4032 w 10785"/>
                  <a:gd name="connsiteY1532" fmla="*/ 1231 h 10000"/>
                  <a:gd name="connsiteX1533" fmla="*/ 4014 w 10785"/>
                  <a:gd name="connsiteY1533" fmla="*/ 1239 h 10000"/>
                  <a:gd name="connsiteX1534" fmla="*/ 4014 w 10785"/>
                  <a:gd name="connsiteY1534" fmla="*/ 1256 h 10000"/>
                  <a:gd name="connsiteX1535" fmla="*/ 4000 w 10785"/>
                  <a:gd name="connsiteY1535" fmla="*/ 1265 h 10000"/>
                  <a:gd name="connsiteX1536" fmla="*/ 3986 w 10785"/>
                  <a:gd name="connsiteY1536" fmla="*/ 1308 h 10000"/>
                  <a:gd name="connsiteX1537" fmla="*/ 3972 w 10785"/>
                  <a:gd name="connsiteY1537" fmla="*/ 1316 h 10000"/>
                  <a:gd name="connsiteX1538" fmla="*/ 3972 w 10785"/>
                  <a:gd name="connsiteY1538" fmla="*/ 1325 h 10000"/>
                  <a:gd name="connsiteX1539" fmla="*/ 3972 w 10785"/>
                  <a:gd name="connsiteY1539" fmla="*/ 1342 h 10000"/>
                  <a:gd name="connsiteX1540" fmla="*/ 3968 w 10785"/>
                  <a:gd name="connsiteY1540" fmla="*/ 1350 h 10000"/>
                  <a:gd name="connsiteX1541" fmla="*/ 3954 w 10785"/>
                  <a:gd name="connsiteY1541" fmla="*/ 1368 h 10000"/>
                  <a:gd name="connsiteX1542" fmla="*/ 3945 w 10785"/>
                  <a:gd name="connsiteY1542" fmla="*/ 1350 h 10000"/>
                  <a:gd name="connsiteX1543" fmla="*/ 3908 w 10785"/>
                  <a:gd name="connsiteY1543" fmla="*/ 1342 h 10000"/>
                  <a:gd name="connsiteX1544" fmla="*/ 3894 w 10785"/>
                  <a:gd name="connsiteY1544" fmla="*/ 1368 h 10000"/>
                  <a:gd name="connsiteX1545" fmla="*/ 3922 w 10785"/>
                  <a:gd name="connsiteY1545" fmla="*/ 1393 h 10000"/>
                  <a:gd name="connsiteX1546" fmla="*/ 3945 w 10785"/>
                  <a:gd name="connsiteY1546" fmla="*/ 1393 h 10000"/>
                  <a:gd name="connsiteX1547" fmla="*/ 3940 w 10785"/>
                  <a:gd name="connsiteY1547" fmla="*/ 1419 h 10000"/>
                  <a:gd name="connsiteX1548" fmla="*/ 3931 w 10785"/>
                  <a:gd name="connsiteY1548" fmla="*/ 1427 h 10000"/>
                  <a:gd name="connsiteX1549" fmla="*/ 3926 w 10785"/>
                  <a:gd name="connsiteY1549" fmla="*/ 1427 h 10000"/>
                  <a:gd name="connsiteX1550" fmla="*/ 3922 w 10785"/>
                  <a:gd name="connsiteY1550" fmla="*/ 1419 h 10000"/>
                  <a:gd name="connsiteX1551" fmla="*/ 3912 w 10785"/>
                  <a:gd name="connsiteY1551" fmla="*/ 1427 h 10000"/>
                  <a:gd name="connsiteX1552" fmla="*/ 3912 w 10785"/>
                  <a:gd name="connsiteY1552" fmla="*/ 1444 h 10000"/>
                  <a:gd name="connsiteX1553" fmla="*/ 3894 w 10785"/>
                  <a:gd name="connsiteY1553" fmla="*/ 1513 h 10000"/>
                  <a:gd name="connsiteX1554" fmla="*/ 3885 w 10785"/>
                  <a:gd name="connsiteY1554" fmla="*/ 1513 h 10000"/>
                  <a:gd name="connsiteX1555" fmla="*/ 3880 w 10785"/>
                  <a:gd name="connsiteY1555" fmla="*/ 1538 h 10000"/>
                  <a:gd name="connsiteX1556" fmla="*/ 3885 w 10785"/>
                  <a:gd name="connsiteY1556" fmla="*/ 1564 h 10000"/>
                  <a:gd name="connsiteX1557" fmla="*/ 3880 w 10785"/>
                  <a:gd name="connsiteY1557" fmla="*/ 1581 h 10000"/>
                  <a:gd name="connsiteX1558" fmla="*/ 3871 w 10785"/>
                  <a:gd name="connsiteY1558" fmla="*/ 1538 h 10000"/>
                  <a:gd name="connsiteX1559" fmla="*/ 3853 w 10785"/>
                  <a:gd name="connsiteY1559" fmla="*/ 1530 h 10000"/>
                  <a:gd name="connsiteX1560" fmla="*/ 3853 w 10785"/>
                  <a:gd name="connsiteY1560" fmla="*/ 1504 h 10000"/>
                  <a:gd name="connsiteX1561" fmla="*/ 3834 w 10785"/>
                  <a:gd name="connsiteY1561" fmla="*/ 1487 h 10000"/>
                  <a:gd name="connsiteX1562" fmla="*/ 3834 w 10785"/>
                  <a:gd name="connsiteY1562" fmla="*/ 1487 h 10000"/>
                  <a:gd name="connsiteX1563" fmla="*/ 3839 w 10785"/>
                  <a:gd name="connsiteY1563" fmla="*/ 1513 h 10000"/>
                  <a:gd name="connsiteX1564" fmla="*/ 3820 w 10785"/>
                  <a:gd name="connsiteY1564" fmla="*/ 1538 h 10000"/>
                  <a:gd name="connsiteX1565" fmla="*/ 3820 w 10785"/>
                  <a:gd name="connsiteY1565" fmla="*/ 1556 h 10000"/>
                  <a:gd name="connsiteX1566" fmla="*/ 3820 w 10785"/>
                  <a:gd name="connsiteY1566" fmla="*/ 1564 h 10000"/>
                  <a:gd name="connsiteX1567" fmla="*/ 3820 w 10785"/>
                  <a:gd name="connsiteY1567" fmla="*/ 1581 h 10000"/>
                  <a:gd name="connsiteX1568" fmla="*/ 3853 w 10785"/>
                  <a:gd name="connsiteY1568" fmla="*/ 1581 h 10000"/>
                  <a:gd name="connsiteX1569" fmla="*/ 3857 w 10785"/>
                  <a:gd name="connsiteY1569" fmla="*/ 1598 h 10000"/>
                  <a:gd name="connsiteX1570" fmla="*/ 3880 w 10785"/>
                  <a:gd name="connsiteY1570" fmla="*/ 1615 h 10000"/>
                  <a:gd name="connsiteX1571" fmla="*/ 3871 w 10785"/>
                  <a:gd name="connsiteY1571" fmla="*/ 1615 h 10000"/>
                  <a:gd name="connsiteX1572" fmla="*/ 3871 w 10785"/>
                  <a:gd name="connsiteY1572" fmla="*/ 1641 h 10000"/>
                  <a:gd name="connsiteX1573" fmla="*/ 3880 w 10785"/>
                  <a:gd name="connsiteY1573" fmla="*/ 1641 h 10000"/>
                  <a:gd name="connsiteX1574" fmla="*/ 3871 w 10785"/>
                  <a:gd name="connsiteY1574" fmla="*/ 1650 h 10000"/>
                  <a:gd name="connsiteX1575" fmla="*/ 3857 w 10785"/>
                  <a:gd name="connsiteY1575" fmla="*/ 1650 h 10000"/>
                  <a:gd name="connsiteX1576" fmla="*/ 3853 w 10785"/>
                  <a:gd name="connsiteY1576" fmla="*/ 1650 h 10000"/>
                  <a:gd name="connsiteX1577" fmla="*/ 3839 w 10785"/>
                  <a:gd name="connsiteY1577" fmla="*/ 1667 h 10000"/>
                  <a:gd name="connsiteX1578" fmla="*/ 3848 w 10785"/>
                  <a:gd name="connsiteY1578" fmla="*/ 1692 h 10000"/>
                  <a:gd name="connsiteX1579" fmla="*/ 3834 w 10785"/>
                  <a:gd name="connsiteY1579" fmla="*/ 1692 h 10000"/>
                  <a:gd name="connsiteX1580" fmla="*/ 3825 w 10785"/>
                  <a:gd name="connsiteY1580" fmla="*/ 1692 h 10000"/>
                  <a:gd name="connsiteX1581" fmla="*/ 3825 w 10785"/>
                  <a:gd name="connsiteY1581" fmla="*/ 1718 h 10000"/>
                  <a:gd name="connsiteX1582" fmla="*/ 3839 w 10785"/>
                  <a:gd name="connsiteY1582" fmla="*/ 1726 h 10000"/>
                  <a:gd name="connsiteX1583" fmla="*/ 3880 w 10785"/>
                  <a:gd name="connsiteY1583" fmla="*/ 1752 h 10000"/>
                  <a:gd name="connsiteX1584" fmla="*/ 3894 w 10785"/>
                  <a:gd name="connsiteY1584" fmla="*/ 1829 h 10000"/>
                  <a:gd name="connsiteX1585" fmla="*/ 3899 w 10785"/>
                  <a:gd name="connsiteY1585" fmla="*/ 1838 h 10000"/>
                  <a:gd name="connsiteX1586" fmla="*/ 3894 w 10785"/>
                  <a:gd name="connsiteY1586" fmla="*/ 1855 h 10000"/>
                  <a:gd name="connsiteX1587" fmla="*/ 3880 w 10785"/>
                  <a:gd name="connsiteY1587" fmla="*/ 1838 h 10000"/>
                  <a:gd name="connsiteX1588" fmla="*/ 3880 w 10785"/>
                  <a:gd name="connsiteY1588" fmla="*/ 1855 h 10000"/>
                  <a:gd name="connsiteX1589" fmla="*/ 3880 w 10785"/>
                  <a:gd name="connsiteY1589" fmla="*/ 1863 h 10000"/>
                  <a:gd name="connsiteX1590" fmla="*/ 3871 w 10785"/>
                  <a:gd name="connsiteY1590" fmla="*/ 1872 h 10000"/>
                  <a:gd name="connsiteX1591" fmla="*/ 3880 w 10785"/>
                  <a:gd name="connsiteY1591" fmla="*/ 1889 h 10000"/>
                  <a:gd name="connsiteX1592" fmla="*/ 3885 w 10785"/>
                  <a:gd name="connsiteY1592" fmla="*/ 1889 h 10000"/>
                  <a:gd name="connsiteX1593" fmla="*/ 3880 w 10785"/>
                  <a:gd name="connsiteY1593" fmla="*/ 1897 h 10000"/>
                  <a:gd name="connsiteX1594" fmla="*/ 3871 w 10785"/>
                  <a:gd name="connsiteY1594" fmla="*/ 1915 h 10000"/>
                  <a:gd name="connsiteX1595" fmla="*/ 3848 w 10785"/>
                  <a:gd name="connsiteY1595" fmla="*/ 1923 h 10000"/>
                  <a:gd name="connsiteX1596" fmla="*/ 3825 w 10785"/>
                  <a:gd name="connsiteY1596" fmla="*/ 1940 h 10000"/>
                  <a:gd name="connsiteX1597" fmla="*/ 3811 w 10785"/>
                  <a:gd name="connsiteY1597" fmla="*/ 1940 h 10000"/>
                  <a:gd name="connsiteX1598" fmla="*/ 3806 w 10785"/>
                  <a:gd name="connsiteY1598" fmla="*/ 1949 h 10000"/>
                  <a:gd name="connsiteX1599" fmla="*/ 3797 w 10785"/>
                  <a:gd name="connsiteY1599" fmla="*/ 1966 h 10000"/>
                  <a:gd name="connsiteX1600" fmla="*/ 3788 w 10785"/>
                  <a:gd name="connsiteY1600" fmla="*/ 1991 h 10000"/>
                  <a:gd name="connsiteX1601" fmla="*/ 3765 w 10785"/>
                  <a:gd name="connsiteY1601" fmla="*/ 1974 h 10000"/>
                  <a:gd name="connsiteX1602" fmla="*/ 3760 w 10785"/>
                  <a:gd name="connsiteY1602" fmla="*/ 1966 h 10000"/>
                  <a:gd name="connsiteX1603" fmla="*/ 3760 w 10785"/>
                  <a:gd name="connsiteY1603" fmla="*/ 1966 h 10000"/>
                  <a:gd name="connsiteX1604" fmla="*/ 3631 w 10785"/>
                  <a:gd name="connsiteY1604" fmla="*/ 2009 h 10000"/>
                  <a:gd name="connsiteX1605" fmla="*/ 3618 w 10785"/>
                  <a:gd name="connsiteY1605" fmla="*/ 2000 h 10000"/>
                  <a:gd name="connsiteX1606" fmla="*/ 3599 w 10785"/>
                  <a:gd name="connsiteY1606" fmla="*/ 2009 h 10000"/>
                  <a:gd name="connsiteX1607" fmla="*/ 3571 w 10785"/>
                  <a:gd name="connsiteY1607" fmla="*/ 2000 h 10000"/>
                  <a:gd name="connsiteX1608" fmla="*/ 3530 w 10785"/>
                  <a:gd name="connsiteY1608" fmla="*/ 2026 h 10000"/>
                  <a:gd name="connsiteX1609" fmla="*/ 3530 w 10785"/>
                  <a:gd name="connsiteY1609" fmla="*/ 2034 h 10000"/>
                  <a:gd name="connsiteX1610" fmla="*/ 3525 w 10785"/>
                  <a:gd name="connsiteY1610" fmla="*/ 2051 h 10000"/>
                  <a:gd name="connsiteX1611" fmla="*/ 3512 w 10785"/>
                  <a:gd name="connsiteY1611" fmla="*/ 2034 h 10000"/>
                  <a:gd name="connsiteX1612" fmla="*/ 3507 w 10785"/>
                  <a:gd name="connsiteY1612" fmla="*/ 2034 h 10000"/>
                  <a:gd name="connsiteX1613" fmla="*/ 3498 w 10785"/>
                  <a:gd name="connsiteY1613" fmla="*/ 2051 h 10000"/>
                  <a:gd name="connsiteX1614" fmla="*/ 3484 w 10785"/>
                  <a:gd name="connsiteY1614" fmla="*/ 2060 h 10000"/>
                  <a:gd name="connsiteX1615" fmla="*/ 3484 w 10785"/>
                  <a:gd name="connsiteY1615" fmla="*/ 2085 h 10000"/>
                  <a:gd name="connsiteX1616" fmla="*/ 3484 w 10785"/>
                  <a:gd name="connsiteY1616" fmla="*/ 2103 h 10000"/>
                  <a:gd name="connsiteX1617" fmla="*/ 3493 w 10785"/>
                  <a:gd name="connsiteY1617" fmla="*/ 2103 h 10000"/>
                  <a:gd name="connsiteX1618" fmla="*/ 3493 w 10785"/>
                  <a:gd name="connsiteY1618" fmla="*/ 2085 h 10000"/>
                  <a:gd name="connsiteX1619" fmla="*/ 3498 w 10785"/>
                  <a:gd name="connsiteY1619" fmla="*/ 2085 h 10000"/>
                  <a:gd name="connsiteX1620" fmla="*/ 3498 w 10785"/>
                  <a:gd name="connsiteY1620" fmla="*/ 2111 h 10000"/>
                  <a:gd name="connsiteX1621" fmla="*/ 3484 w 10785"/>
                  <a:gd name="connsiteY1621" fmla="*/ 2120 h 10000"/>
                  <a:gd name="connsiteX1622" fmla="*/ 3484 w 10785"/>
                  <a:gd name="connsiteY1622" fmla="*/ 2145 h 10000"/>
                  <a:gd name="connsiteX1623" fmla="*/ 3470 w 10785"/>
                  <a:gd name="connsiteY1623" fmla="*/ 2137 h 10000"/>
                  <a:gd name="connsiteX1624" fmla="*/ 3465 w 10785"/>
                  <a:gd name="connsiteY1624" fmla="*/ 2145 h 10000"/>
                  <a:gd name="connsiteX1625" fmla="*/ 3470 w 10785"/>
                  <a:gd name="connsiteY1625" fmla="*/ 2171 h 10000"/>
                  <a:gd name="connsiteX1626" fmla="*/ 3484 w 10785"/>
                  <a:gd name="connsiteY1626" fmla="*/ 2171 h 10000"/>
                  <a:gd name="connsiteX1627" fmla="*/ 3484 w 10785"/>
                  <a:gd name="connsiteY1627" fmla="*/ 2197 h 10000"/>
                  <a:gd name="connsiteX1628" fmla="*/ 3465 w 10785"/>
                  <a:gd name="connsiteY1628" fmla="*/ 2214 h 10000"/>
                  <a:gd name="connsiteX1629" fmla="*/ 3493 w 10785"/>
                  <a:gd name="connsiteY1629" fmla="*/ 2248 h 10000"/>
                  <a:gd name="connsiteX1630" fmla="*/ 3484 w 10785"/>
                  <a:gd name="connsiteY1630" fmla="*/ 2256 h 10000"/>
                  <a:gd name="connsiteX1631" fmla="*/ 3498 w 10785"/>
                  <a:gd name="connsiteY1631" fmla="*/ 2274 h 10000"/>
                  <a:gd name="connsiteX1632" fmla="*/ 3498 w 10785"/>
                  <a:gd name="connsiteY1632" fmla="*/ 2256 h 10000"/>
                  <a:gd name="connsiteX1633" fmla="*/ 3507 w 10785"/>
                  <a:gd name="connsiteY1633" fmla="*/ 2308 h 10000"/>
                  <a:gd name="connsiteX1634" fmla="*/ 3512 w 10785"/>
                  <a:gd name="connsiteY1634" fmla="*/ 2325 h 10000"/>
                  <a:gd name="connsiteX1635" fmla="*/ 3507 w 10785"/>
                  <a:gd name="connsiteY1635" fmla="*/ 2333 h 10000"/>
                  <a:gd name="connsiteX1636" fmla="*/ 3507 w 10785"/>
                  <a:gd name="connsiteY1636" fmla="*/ 2359 h 10000"/>
                  <a:gd name="connsiteX1637" fmla="*/ 3507 w 10785"/>
                  <a:gd name="connsiteY1637" fmla="*/ 2376 h 10000"/>
                  <a:gd name="connsiteX1638" fmla="*/ 3498 w 10785"/>
                  <a:gd name="connsiteY1638" fmla="*/ 2410 h 10000"/>
                  <a:gd name="connsiteX1639" fmla="*/ 3498 w 10785"/>
                  <a:gd name="connsiteY1639" fmla="*/ 2436 h 10000"/>
                  <a:gd name="connsiteX1640" fmla="*/ 3507 w 10785"/>
                  <a:gd name="connsiteY1640" fmla="*/ 2462 h 10000"/>
                  <a:gd name="connsiteX1641" fmla="*/ 3507 w 10785"/>
                  <a:gd name="connsiteY1641" fmla="*/ 2496 h 10000"/>
                  <a:gd name="connsiteX1642" fmla="*/ 3512 w 10785"/>
                  <a:gd name="connsiteY1642" fmla="*/ 2521 h 10000"/>
                  <a:gd name="connsiteX1643" fmla="*/ 3525 w 10785"/>
                  <a:gd name="connsiteY1643" fmla="*/ 2556 h 10000"/>
                  <a:gd name="connsiteX1644" fmla="*/ 3571 w 10785"/>
                  <a:gd name="connsiteY1644" fmla="*/ 2573 h 10000"/>
                  <a:gd name="connsiteX1645" fmla="*/ 3590 w 10785"/>
                  <a:gd name="connsiteY1645" fmla="*/ 2598 h 10000"/>
                  <a:gd name="connsiteX1646" fmla="*/ 3599 w 10785"/>
                  <a:gd name="connsiteY1646" fmla="*/ 2598 h 10000"/>
                  <a:gd name="connsiteX1647" fmla="*/ 3604 w 10785"/>
                  <a:gd name="connsiteY1647" fmla="*/ 2632 h 10000"/>
                  <a:gd name="connsiteX1648" fmla="*/ 3599 w 10785"/>
                  <a:gd name="connsiteY1648" fmla="*/ 2658 h 10000"/>
                  <a:gd name="connsiteX1649" fmla="*/ 3590 w 10785"/>
                  <a:gd name="connsiteY1649" fmla="*/ 2667 h 10000"/>
                  <a:gd name="connsiteX1650" fmla="*/ 3604 w 10785"/>
                  <a:gd name="connsiteY1650" fmla="*/ 2667 h 10000"/>
                  <a:gd name="connsiteX1651" fmla="*/ 3613 w 10785"/>
                  <a:gd name="connsiteY1651" fmla="*/ 2692 h 10000"/>
                  <a:gd name="connsiteX1652" fmla="*/ 3627 w 10785"/>
                  <a:gd name="connsiteY1652" fmla="*/ 2735 h 10000"/>
                  <a:gd name="connsiteX1653" fmla="*/ 3631 w 10785"/>
                  <a:gd name="connsiteY1653" fmla="*/ 2744 h 10000"/>
                  <a:gd name="connsiteX1654" fmla="*/ 3659 w 10785"/>
                  <a:gd name="connsiteY1654" fmla="*/ 2761 h 10000"/>
                  <a:gd name="connsiteX1655" fmla="*/ 3673 w 10785"/>
                  <a:gd name="connsiteY1655" fmla="*/ 2769 h 10000"/>
                  <a:gd name="connsiteX1656" fmla="*/ 3673 w 10785"/>
                  <a:gd name="connsiteY1656" fmla="*/ 2761 h 10000"/>
                  <a:gd name="connsiteX1657" fmla="*/ 3687 w 10785"/>
                  <a:gd name="connsiteY1657" fmla="*/ 2829 h 10000"/>
                  <a:gd name="connsiteX1658" fmla="*/ 3677 w 10785"/>
                  <a:gd name="connsiteY1658" fmla="*/ 2897 h 10000"/>
                  <a:gd name="connsiteX1659" fmla="*/ 3673 w 10785"/>
                  <a:gd name="connsiteY1659" fmla="*/ 2915 h 10000"/>
                  <a:gd name="connsiteX1660" fmla="*/ 3664 w 10785"/>
                  <a:gd name="connsiteY1660" fmla="*/ 2957 h 10000"/>
                  <a:gd name="connsiteX1661" fmla="*/ 3659 w 10785"/>
                  <a:gd name="connsiteY1661" fmla="*/ 2983 h 10000"/>
                  <a:gd name="connsiteX1662" fmla="*/ 3664 w 10785"/>
                  <a:gd name="connsiteY1662" fmla="*/ 3017 h 10000"/>
                  <a:gd name="connsiteX1663" fmla="*/ 3659 w 10785"/>
                  <a:gd name="connsiteY1663" fmla="*/ 3043 h 10000"/>
                  <a:gd name="connsiteX1664" fmla="*/ 3677 w 10785"/>
                  <a:gd name="connsiteY1664" fmla="*/ 3094 h 10000"/>
                  <a:gd name="connsiteX1665" fmla="*/ 3691 w 10785"/>
                  <a:gd name="connsiteY1665" fmla="*/ 3282 h 10000"/>
                  <a:gd name="connsiteX1666" fmla="*/ 3691 w 10785"/>
                  <a:gd name="connsiteY1666" fmla="*/ 3308 h 10000"/>
                  <a:gd name="connsiteX1667" fmla="*/ 3677 w 10785"/>
                  <a:gd name="connsiteY1667" fmla="*/ 3342 h 10000"/>
                  <a:gd name="connsiteX1668" fmla="*/ 3664 w 10785"/>
                  <a:gd name="connsiteY1668" fmla="*/ 3342 h 10000"/>
                  <a:gd name="connsiteX1669" fmla="*/ 3650 w 10785"/>
                  <a:gd name="connsiteY1669" fmla="*/ 3342 h 10000"/>
                  <a:gd name="connsiteX1670" fmla="*/ 3650 w 10785"/>
                  <a:gd name="connsiteY1670" fmla="*/ 3350 h 10000"/>
                  <a:gd name="connsiteX1671" fmla="*/ 3659 w 10785"/>
                  <a:gd name="connsiteY1671" fmla="*/ 3402 h 10000"/>
                  <a:gd name="connsiteX1672" fmla="*/ 3659 w 10785"/>
                  <a:gd name="connsiteY1672" fmla="*/ 3419 h 10000"/>
                  <a:gd name="connsiteX1673" fmla="*/ 3631 w 10785"/>
                  <a:gd name="connsiteY1673" fmla="*/ 3402 h 10000"/>
                  <a:gd name="connsiteX1674" fmla="*/ 3604 w 10785"/>
                  <a:gd name="connsiteY1674" fmla="*/ 3393 h 10000"/>
                  <a:gd name="connsiteX1675" fmla="*/ 3599 w 10785"/>
                  <a:gd name="connsiteY1675" fmla="*/ 3368 h 10000"/>
                  <a:gd name="connsiteX1676" fmla="*/ 3590 w 10785"/>
                  <a:gd name="connsiteY1676" fmla="*/ 3239 h 10000"/>
                  <a:gd name="connsiteX1677" fmla="*/ 3599 w 10785"/>
                  <a:gd name="connsiteY1677" fmla="*/ 3179 h 10000"/>
                  <a:gd name="connsiteX1678" fmla="*/ 3599 w 10785"/>
                  <a:gd name="connsiteY1678" fmla="*/ 3171 h 10000"/>
                  <a:gd name="connsiteX1679" fmla="*/ 3599 w 10785"/>
                  <a:gd name="connsiteY1679" fmla="*/ 3009 h 10000"/>
                  <a:gd name="connsiteX1680" fmla="*/ 3604 w 10785"/>
                  <a:gd name="connsiteY1680" fmla="*/ 2983 h 10000"/>
                  <a:gd name="connsiteX1681" fmla="*/ 3645 w 10785"/>
                  <a:gd name="connsiteY1681" fmla="*/ 2932 h 10000"/>
                  <a:gd name="connsiteX1682" fmla="*/ 3650 w 10785"/>
                  <a:gd name="connsiteY1682" fmla="*/ 2872 h 10000"/>
                  <a:gd name="connsiteX1683" fmla="*/ 3659 w 10785"/>
                  <a:gd name="connsiteY1683" fmla="*/ 2855 h 10000"/>
                  <a:gd name="connsiteX1684" fmla="*/ 3659 w 10785"/>
                  <a:gd name="connsiteY1684" fmla="*/ 2821 h 10000"/>
                  <a:gd name="connsiteX1685" fmla="*/ 3631 w 10785"/>
                  <a:gd name="connsiteY1685" fmla="*/ 2795 h 10000"/>
                  <a:gd name="connsiteX1686" fmla="*/ 3567 w 10785"/>
                  <a:gd name="connsiteY1686" fmla="*/ 2821 h 10000"/>
                  <a:gd name="connsiteX1687" fmla="*/ 3544 w 10785"/>
                  <a:gd name="connsiteY1687" fmla="*/ 2795 h 10000"/>
                  <a:gd name="connsiteX1688" fmla="*/ 3530 w 10785"/>
                  <a:gd name="connsiteY1688" fmla="*/ 2769 h 10000"/>
                  <a:gd name="connsiteX1689" fmla="*/ 3530 w 10785"/>
                  <a:gd name="connsiteY1689" fmla="*/ 2786 h 10000"/>
                  <a:gd name="connsiteX1690" fmla="*/ 3498 w 10785"/>
                  <a:gd name="connsiteY1690" fmla="*/ 2692 h 10000"/>
                  <a:gd name="connsiteX1691" fmla="*/ 3498 w 10785"/>
                  <a:gd name="connsiteY1691" fmla="*/ 2667 h 10000"/>
                  <a:gd name="connsiteX1692" fmla="*/ 3442 w 10785"/>
                  <a:gd name="connsiteY1692" fmla="*/ 2607 h 10000"/>
                  <a:gd name="connsiteX1693" fmla="*/ 3433 w 10785"/>
                  <a:gd name="connsiteY1693" fmla="*/ 2581 h 10000"/>
                  <a:gd name="connsiteX1694" fmla="*/ 3396 w 10785"/>
                  <a:gd name="connsiteY1694" fmla="*/ 2556 h 10000"/>
                  <a:gd name="connsiteX1695" fmla="*/ 3318 w 10785"/>
                  <a:gd name="connsiteY1695" fmla="*/ 2556 h 10000"/>
                  <a:gd name="connsiteX1696" fmla="*/ 3304 w 10785"/>
                  <a:gd name="connsiteY1696" fmla="*/ 2607 h 10000"/>
                  <a:gd name="connsiteX1697" fmla="*/ 3276 w 10785"/>
                  <a:gd name="connsiteY1697" fmla="*/ 2632 h 10000"/>
                  <a:gd name="connsiteX1698" fmla="*/ 3272 w 10785"/>
                  <a:gd name="connsiteY1698" fmla="*/ 2667 h 10000"/>
                  <a:gd name="connsiteX1699" fmla="*/ 3304 w 10785"/>
                  <a:gd name="connsiteY1699" fmla="*/ 2667 h 10000"/>
                  <a:gd name="connsiteX1700" fmla="*/ 3323 w 10785"/>
                  <a:gd name="connsiteY1700" fmla="*/ 2692 h 10000"/>
                  <a:gd name="connsiteX1701" fmla="*/ 3318 w 10785"/>
                  <a:gd name="connsiteY1701" fmla="*/ 2735 h 10000"/>
                  <a:gd name="connsiteX1702" fmla="*/ 3304 w 10785"/>
                  <a:gd name="connsiteY1702" fmla="*/ 2761 h 10000"/>
                  <a:gd name="connsiteX1703" fmla="*/ 3276 w 10785"/>
                  <a:gd name="connsiteY1703" fmla="*/ 2769 h 10000"/>
                  <a:gd name="connsiteX1704" fmla="*/ 3263 w 10785"/>
                  <a:gd name="connsiteY1704" fmla="*/ 2795 h 10000"/>
                  <a:gd name="connsiteX1705" fmla="*/ 3235 w 10785"/>
                  <a:gd name="connsiteY1705" fmla="*/ 2803 h 10000"/>
                  <a:gd name="connsiteX1706" fmla="*/ 3235 w 10785"/>
                  <a:gd name="connsiteY1706" fmla="*/ 2786 h 10000"/>
                  <a:gd name="connsiteX1707" fmla="*/ 3212 w 10785"/>
                  <a:gd name="connsiteY1707" fmla="*/ 2709 h 10000"/>
                  <a:gd name="connsiteX1708" fmla="*/ 3198 w 10785"/>
                  <a:gd name="connsiteY1708" fmla="*/ 2709 h 10000"/>
                  <a:gd name="connsiteX1709" fmla="*/ 3184 w 10785"/>
                  <a:gd name="connsiteY1709" fmla="*/ 2735 h 10000"/>
                  <a:gd name="connsiteX1710" fmla="*/ 3189 w 10785"/>
                  <a:gd name="connsiteY1710" fmla="*/ 2761 h 10000"/>
                  <a:gd name="connsiteX1711" fmla="*/ 3203 w 10785"/>
                  <a:gd name="connsiteY1711" fmla="*/ 2855 h 10000"/>
                  <a:gd name="connsiteX1712" fmla="*/ 3212 w 10785"/>
                  <a:gd name="connsiteY1712" fmla="*/ 2872 h 10000"/>
                  <a:gd name="connsiteX1713" fmla="*/ 3235 w 10785"/>
                  <a:gd name="connsiteY1713" fmla="*/ 2906 h 10000"/>
                  <a:gd name="connsiteX1714" fmla="*/ 3258 w 10785"/>
                  <a:gd name="connsiteY1714" fmla="*/ 2915 h 10000"/>
                  <a:gd name="connsiteX1715" fmla="*/ 3272 w 10785"/>
                  <a:gd name="connsiteY1715" fmla="*/ 2957 h 10000"/>
                  <a:gd name="connsiteX1716" fmla="*/ 3276 w 10785"/>
                  <a:gd name="connsiteY1716" fmla="*/ 2957 h 10000"/>
                  <a:gd name="connsiteX1717" fmla="*/ 3286 w 10785"/>
                  <a:gd name="connsiteY1717" fmla="*/ 2966 h 10000"/>
                  <a:gd name="connsiteX1718" fmla="*/ 3300 w 10785"/>
                  <a:gd name="connsiteY1718" fmla="*/ 2957 h 10000"/>
                  <a:gd name="connsiteX1719" fmla="*/ 3309 w 10785"/>
                  <a:gd name="connsiteY1719" fmla="*/ 2932 h 10000"/>
                  <a:gd name="connsiteX1720" fmla="*/ 3304 w 10785"/>
                  <a:gd name="connsiteY1720" fmla="*/ 2966 h 10000"/>
                  <a:gd name="connsiteX1721" fmla="*/ 3309 w 10785"/>
                  <a:gd name="connsiteY1721" fmla="*/ 2983 h 10000"/>
                  <a:gd name="connsiteX1722" fmla="*/ 3323 w 10785"/>
                  <a:gd name="connsiteY1722" fmla="*/ 2966 h 10000"/>
                  <a:gd name="connsiteX1723" fmla="*/ 3323 w 10785"/>
                  <a:gd name="connsiteY1723" fmla="*/ 3043 h 10000"/>
                  <a:gd name="connsiteX1724" fmla="*/ 3346 w 10785"/>
                  <a:gd name="connsiteY1724" fmla="*/ 3068 h 10000"/>
                  <a:gd name="connsiteX1725" fmla="*/ 3346 w 10785"/>
                  <a:gd name="connsiteY1725" fmla="*/ 3094 h 10000"/>
                  <a:gd name="connsiteX1726" fmla="*/ 3323 w 10785"/>
                  <a:gd name="connsiteY1726" fmla="*/ 3094 h 10000"/>
                  <a:gd name="connsiteX1727" fmla="*/ 3309 w 10785"/>
                  <a:gd name="connsiteY1727" fmla="*/ 3077 h 10000"/>
                  <a:gd name="connsiteX1728" fmla="*/ 3304 w 10785"/>
                  <a:gd name="connsiteY1728" fmla="*/ 3051 h 10000"/>
                  <a:gd name="connsiteX1729" fmla="*/ 3300 w 10785"/>
                  <a:gd name="connsiteY1729" fmla="*/ 3043 h 10000"/>
                  <a:gd name="connsiteX1730" fmla="*/ 3286 w 10785"/>
                  <a:gd name="connsiteY1730" fmla="*/ 3017 h 10000"/>
                  <a:gd name="connsiteX1731" fmla="*/ 3152 w 10785"/>
                  <a:gd name="connsiteY1731" fmla="*/ 2966 h 10000"/>
                  <a:gd name="connsiteX1732" fmla="*/ 3129 w 10785"/>
                  <a:gd name="connsiteY1732" fmla="*/ 2915 h 10000"/>
                  <a:gd name="connsiteX1733" fmla="*/ 3129 w 10785"/>
                  <a:gd name="connsiteY1733" fmla="*/ 2906 h 10000"/>
                  <a:gd name="connsiteX1734" fmla="*/ 3152 w 10785"/>
                  <a:gd name="connsiteY1734" fmla="*/ 2906 h 10000"/>
                  <a:gd name="connsiteX1735" fmla="*/ 3152 w 10785"/>
                  <a:gd name="connsiteY1735" fmla="*/ 2846 h 10000"/>
                  <a:gd name="connsiteX1736" fmla="*/ 3138 w 10785"/>
                  <a:gd name="connsiteY1736" fmla="*/ 2795 h 10000"/>
                  <a:gd name="connsiteX1737" fmla="*/ 3138 w 10785"/>
                  <a:gd name="connsiteY1737" fmla="*/ 2769 h 10000"/>
                  <a:gd name="connsiteX1738" fmla="*/ 3143 w 10785"/>
                  <a:gd name="connsiteY1738" fmla="*/ 2718 h 10000"/>
                  <a:gd name="connsiteX1739" fmla="*/ 3129 w 10785"/>
                  <a:gd name="connsiteY1739" fmla="*/ 2692 h 10000"/>
                  <a:gd name="connsiteX1740" fmla="*/ 3143 w 10785"/>
                  <a:gd name="connsiteY1740" fmla="*/ 2667 h 10000"/>
                  <a:gd name="connsiteX1741" fmla="*/ 3157 w 10785"/>
                  <a:gd name="connsiteY1741" fmla="*/ 2581 h 10000"/>
                  <a:gd name="connsiteX1742" fmla="*/ 3143 w 10785"/>
                  <a:gd name="connsiteY1742" fmla="*/ 2496 h 10000"/>
                  <a:gd name="connsiteX1743" fmla="*/ 3157 w 10785"/>
                  <a:gd name="connsiteY1743" fmla="*/ 2487 h 10000"/>
                  <a:gd name="connsiteX1744" fmla="*/ 3143 w 10785"/>
                  <a:gd name="connsiteY1744" fmla="*/ 2444 h 10000"/>
                  <a:gd name="connsiteX1745" fmla="*/ 3143 w 10785"/>
                  <a:gd name="connsiteY1745" fmla="*/ 2419 h 10000"/>
                  <a:gd name="connsiteX1746" fmla="*/ 3143 w 10785"/>
                  <a:gd name="connsiteY1746" fmla="*/ 2410 h 10000"/>
                  <a:gd name="connsiteX1747" fmla="*/ 3124 w 10785"/>
                  <a:gd name="connsiteY1747" fmla="*/ 2376 h 10000"/>
                  <a:gd name="connsiteX1748" fmla="*/ 3115 w 10785"/>
                  <a:gd name="connsiteY1748" fmla="*/ 2350 h 10000"/>
                  <a:gd name="connsiteX1749" fmla="*/ 3101 w 10785"/>
                  <a:gd name="connsiteY1749" fmla="*/ 2359 h 10000"/>
                  <a:gd name="connsiteX1750" fmla="*/ 3115 w 10785"/>
                  <a:gd name="connsiteY1750" fmla="*/ 2581 h 10000"/>
                  <a:gd name="connsiteX1751" fmla="*/ 3111 w 10785"/>
                  <a:gd name="connsiteY1751" fmla="*/ 2624 h 10000"/>
                  <a:gd name="connsiteX1752" fmla="*/ 3009 w 10785"/>
                  <a:gd name="connsiteY1752" fmla="*/ 2761 h 10000"/>
                  <a:gd name="connsiteX1753" fmla="*/ 3009 w 10785"/>
                  <a:gd name="connsiteY1753" fmla="*/ 2803 h 10000"/>
                  <a:gd name="connsiteX1754" fmla="*/ 3005 w 10785"/>
                  <a:gd name="connsiteY1754" fmla="*/ 2829 h 10000"/>
                  <a:gd name="connsiteX1755" fmla="*/ 2982 w 10785"/>
                  <a:gd name="connsiteY1755" fmla="*/ 2872 h 10000"/>
                  <a:gd name="connsiteX1756" fmla="*/ 2982 w 10785"/>
                  <a:gd name="connsiteY1756" fmla="*/ 2880 h 10000"/>
                  <a:gd name="connsiteX1757" fmla="*/ 3037 w 10785"/>
                  <a:gd name="connsiteY1757" fmla="*/ 3034 h 10000"/>
                  <a:gd name="connsiteX1758" fmla="*/ 3041 w 10785"/>
                  <a:gd name="connsiteY1758" fmla="*/ 3103 h 10000"/>
                  <a:gd name="connsiteX1759" fmla="*/ 3069 w 10785"/>
                  <a:gd name="connsiteY1759" fmla="*/ 3188 h 10000"/>
                  <a:gd name="connsiteX1760" fmla="*/ 3055 w 10785"/>
                  <a:gd name="connsiteY1760" fmla="*/ 3325 h 10000"/>
                  <a:gd name="connsiteX1761" fmla="*/ 3037 w 10785"/>
                  <a:gd name="connsiteY1761" fmla="*/ 3368 h 10000"/>
                  <a:gd name="connsiteX1762" fmla="*/ 3037 w 10785"/>
                  <a:gd name="connsiteY1762" fmla="*/ 3444 h 10000"/>
                  <a:gd name="connsiteX1763" fmla="*/ 3028 w 10785"/>
                  <a:gd name="connsiteY1763" fmla="*/ 3453 h 10000"/>
                  <a:gd name="connsiteX1764" fmla="*/ 3023 w 10785"/>
                  <a:gd name="connsiteY1764" fmla="*/ 3530 h 10000"/>
                  <a:gd name="connsiteX1765" fmla="*/ 3051 w 10785"/>
                  <a:gd name="connsiteY1765" fmla="*/ 3624 h 10000"/>
                  <a:gd name="connsiteX1766" fmla="*/ 3037 w 10785"/>
                  <a:gd name="connsiteY1766" fmla="*/ 3718 h 10000"/>
                  <a:gd name="connsiteX1767" fmla="*/ 3041 w 10785"/>
                  <a:gd name="connsiteY1767" fmla="*/ 3752 h 10000"/>
                  <a:gd name="connsiteX1768" fmla="*/ 3055 w 10785"/>
                  <a:gd name="connsiteY1768" fmla="*/ 3761 h 10000"/>
                  <a:gd name="connsiteX1769" fmla="*/ 3078 w 10785"/>
                  <a:gd name="connsiteY1769" fmla="*/ 3752 h 10000"/>
                  <a:gd name="connsiteX1770" fmla="*/ 3092 w 10785"/>
                  <a:gd name="connsiteY1770" fmla="*/ 3752 h 10000"/>
                  <a:gd name="connsiteX1771" fmla="*/ 3129 w 10785"/>
                  <a:gd name="connsiteY1771" fmla="*/ 3761 h 10000"/>
                  <a:gd name="connsiteX1772" fmla="*/ 3129 w 10785"/>
                  <a:gd name="connsiteY1772" fmla="*/ 3735 h 10000"/>
                  <a:gd name="connsiteX1773" fmla="*/ 3157 w 10785"/>
                  <a:gd name="connsiteY1773" fmla="*/ 3718 h 10000"/>
                  <a:gd name="connsiteX1774" fmla="*/ 3184 w 10785"/>
                  <a:gd name="connsiteY1774" fmla="*/ 3718 h 10000"/>
                  <a:gd name="connsiteX1775" fmla="*/ 3290 w 10785"/>
                  <a:gd name="connsiteY1775" fmla="*/ 3838 h 10000"/>
                  <a:gd name="connsiteX1776" fmla="*/ 3300 w 10785"/>
                  <a:gd name="connsiteY1776" fmla="*/ 3846 h 10000"/>
                  <a:gd name="connsiteX1777" fmla="*/ 3300 w 10785"/>
                  <a:gd name="connsiteY1777" fmla="*/ 3915 h 10000"/>
                  <a:gd name="connsiteX1778" fmla="*/ 3318 w 10785"/>
                  <a:gd name="connsiteY1778" fmla="*/ 4000 h 10000"/>
                  <a:gd name="connsiteX1779" fmla="*/ 3323 w 10785"/>
                  <a:gd name="connsiteY1779" fmla="*/ 4000 h 10000"/>
                  <a:gd name="connsiteX1780" fmla="*/ 3323 w 10785"/>
                  <a:gd name="connsiteY1780" fmla="*/ 4034 h 10000"/>
                  <a:gd name="connsiteX1781" fmla="*/ 3318 w 10785"/>
                  <a:gd name="connsiteY1781" fmla="*/ 4051 h 10000"/>
                  <a:gd name="connsiteX1782" fmla="*/ 3300 w 10785"/>
                  <a:gd name="connsiteY1782" fmla="*/ 4051 h 10000"/>
                  <a:gd name="connsiteX1783" fmla="*/ 3290 w 10785"/>
                  <a:gd name="connsiteY1783" fmla="*/ 4077 h 10000"/>
                  <a:gd name="connsiteX1784" fmla="*/ 3286 w 10785"/>
                  <a:gd name="connsiteY1784" fmla="*/ 4103 h 10000"/>
                  <a:gd name="connsiteX1785" fmla="*/ 3286 w 10785"/>
                  <a:gd name="connsiteY1785" fmla="*/ 4197 h 10000"/>
                  <a:gd name="connsiteX1786" fmla="*/ 3290 w 10785"/>
                  <a:gd name="connsiteY1786" fmla="*/ 4214 h 10000"/>
                  <a:gd name="connsiteX1787" fmla="*/ 3304 w 10785"/>
                  <a:gd name="connsiteY1787" fmla="*/ 4214 h 10000"/>
                  <a:gd name="connsiteX1788" fmla="*/ 3323 w 10785"/>
                  <a:gd name="connsiteY1788" fmla="*/ 4239 h 10000"/>
                  <a:gd name="connsiteX1789" fmla="*/ 3350 w 10785"/>
                  <a:gd name="connsiteY1789" fmla="*/ 4222 h 10000"/>
                  <a:gd name="connsiteX1790" fmla="*/ 3369 w 10785"/>
                  <a:gd name="connsiteY1790" fmla="*/ 4256 h 10000"/>
                  <a:gd name="connsiteX1791" fmla="*/ 3369 w 10785"/>
                  <a:gd name="connsiteY1791" fmla="*/ 4256 h 10000"/>
                  <a:gd name="connsiteX1792" fmla="*/ 3336 w 10785"/>
                  <a:gd name="connsiteY1792" fmla="*/ 4274 h 10000"/>
                  <a:gd name="connsiteX1793" fmla="*/ 3323 w 10785"/>
                  <a:gd name="connsiteY1793" fmla="*/ 4274 h 10000"/>
                  <a:gd name="connsiteX1794" fmla="*/ 3290 w 10785"/>
                  <a:gd name="connsiteY1794" fmla="*/ 4274 h 10000"/>
                  <a:gd name="connsiteX1795" fmla="*/ 3286 w 10785"/>
                  <a:gd name="connsiteY1795" fmla="*/ 4239 h 10000"/>
                  <a:gd name="connsiteX1796" fmla="*/ 3263 w 10785"/>
                  <a:gd name="connsiteY1796" fmla="*/ 4214 h 10000"/>
                  <a:gd name="connsiteX1797" fmla="*/ 3258 w 10785"/>
                  <a:gd name="connsiteY1797" fmla="*/ 4188 h 10000"/>
                  <a:gd name="connsiteX1798" fmla="*/ 3263 w 10785"/>
                  <a:gd name="connsiteY1798" fmla="*/ 4171 h 10000"/>
                  <a:gd name="connsiteX1799" fmla="*/ 3263 w 10785"/>
                  <a:gd name="connsiteY1799" fmla="*/ 4103 h 10000"/>
                  <a:gd name="connsiteX1800" fmla="*/ 3276 w 10785"/>
                  <a:gd name="connsiteY1800" fmla="*/ 4060 h 10000"/>
                  <a:gd name="connsiteX1801" fmla="*/ 3272 w 10785"/>
                  <a:gd name="connsiteY1801" fmla="*/ 4051 h 10000"/>
                  <a:gd name="connsiteX1802" fmla="*/ 3263 w 10785"/>
                  <a:gd name="connsiteY1802" fmla="*/ 4051 h 10000"/>
                  <a:gd name="connsiteX1803" fmla="*/ 3263 w 10785"/>
                  <a:gd name="connsiteY1803" fmla="*/ 4034 h 10000"/>
                  <a:gd name="connsiteX1804" fmla="*/ 3263 w 10785"/>
                  <a:gd name="connsiteY1804" fmla="*/ 4000 h 10000"/>
                  <a:gd name="connsiteX1805" fmla="*/ 3272 w 10785"/>
                  <a:gd name="connsiteY1805" fmla="*/ 4000 h 10000"/>
                  <a:gd name="connsiteX1806" fmla="*/ 3272 w 10785"/>
                  <a:gd name="connsiteY1806" fmla="*/ 3974 h 10000"/>
                  <a:gd name="connsiteX1807" fmla="*/ 3272 w 10785"/>
                  <a:gd name="connsiteY1807" fmla="*/ 3966 h 10000"/>
                  <a:gd name="connsiteX1808" fmla="*/ 3272 w 10785"/>
                  <a:gd name="connsiteY1808" fmla="*/ 3949 h 10000"/>
                  <a:gd name="connsiteX1809" fmla="*/ 3258 w 10785"/>
                  <a:gd name="connsiteY1809" fmla="*/ 3923 h 10000"/>
                  <a:gd name="connsiteX1810" fmla="*/ 3249 w 10785"/>
                  <a:gd name="connsiteY1810" fmla="*/ 3915 h 10000"/>
                  <a:gd name="connsiteX1811" fmla="*/ 3244 w 10785"/>
                  <a:gd name="connsiteY1811" fmla="*/ 3897 h 10000"/>
                  <a:gd name="connsiteX1812" fmla="*/ 3230 w 10785"/>
                  <a:gd name="connsiteY1812" fmla="*/ 3889 h 10000"/>
                  <a:gd name="connsiteX1813" fmla="*/ 3230 w 10785"/>
                  <a:gd name="connsiteY1813" fmla="*/ 3863 h 10000"/>
                  <a:gd name="connsiteX1814" fmla="*/ 3230 w 10785"/>
                  <a:gd name="connsiteY1814" fmla="*/ 3838 h 10000"/>
                  <a:gd name="connsiteX1815" fmla="*/ 3226 w 10785"/>
                  <a:gd name="connsiteY1815" fmla="*/ 3803 h 10000"/>
                  <a:gd name="connsiteX1816" fmla="*/ 3138 w 10785"/>
                  <a:gd name="connsiteY1816" fmla="*/ 3838 h 10000"/>
                  <a:gd name="connsiteX1817" fmla="*/ 3078 w 10785"/>
                  <a:gd name="connsiteY1817" fmla="*/ 3889 h 10000"/>
                  <a:gd name="connsiteX1818" fmla="*/ 3078 w 10785"/>
                  <a:gd name="connsiteY1818" fmla="*/ 3940 h 10000"/>
                  <a:gd name="connsiteX1819" fmla="*/ 3069 w 10785"/>
                  <a:gd name="connsiteY1819" fmla="*/ 3983 h 10000"/>
                  <a:gd name="connsiteX1820" fmla="*/ 3069 w 10785"/>
                  <a:gd name="connsiteY1820" fmla="*/ 4009 h 10000"/>
                  <a:gd name="connsiteX1821" fmla="*/ 3078 w 10785"/>
                  <a:gd name="connsiteY1821" fmla="*/ 4026 h 10000"/>
                  <a:gd name="connsiteX1822" fmla="*/ 3083 w 10785"/>
                  <a:gd name="connsiteY1822" fmla="*/ 4034 h 10000"/>
                  <a:gd name="connsiteX1823" fmla="*/ 3092 w 10785"/>
                  <a:gd name="connsiteY1823" fmla="*/ 4060 h 10000"/>
                  <a:gd name="connsiteX1824" fmla="*/ 3092 w 10785"/>
                  <a:gd name="connsiteY1824" fmla="*/ 4077 h 10000"/>
                  <a:gd name="connsiteX1825" fmla="*/ 3097 w 10785"/>
                  <a:gd name="connsiteY1825" fmla="*/ 4103 h 10000"/>
                  <a:gd name="connsiteX1826" fmla="*/ 3101 w 10785"/>
                  <a:gd name="connsiteY1826" fmla="*/ 4162 h 10000"/>
                  <a:gd name="connsiteX1827" fmla="*/ 3097 w 10785"/>
                  <a:gd name="connsiteY1827" fmla="*/ 4222 h 10000"/>
                  <a:gd name="connsiteX1828" fmla="*/ 3041 w 10785"/>
                  <a:gd name="connsiteY1828" fmla="*/ 4325 h 10000"/>
                  <a:gd name="connsiteX1829" fmla="*/ 3037 w 10785"/>
                  <a:gd name="connsiteY1829" fmla="*/ 4419 h 10000"/>
                  <a:gd name="connsiteX1830" fmla="*/ 3018 w 10785"/>
                  <a:gd name="connsiteY1830" fmla="*/ 4470 h 10000"/>
                  <a:gd name="connsiteX1831" fmla="*/ 2991 w 10785"/>
                  <a:gd name="connsiteY1831" fmla="*/ 4513 h 10000"/>
                  <a:gd name="connsiteX1832" fmla="*/ 2977 w 10785"/>
                  <a:gd name="connsiteY1832" fmla="*/ 4530 h 10000"/>
                  <a:gd name="connsiteX1833" fmla="*/ 2945 w 10785"/>
                  <a:gd name="connsiteY1833" fmla="*/ 4556 h 10000"/>
                  <a:gd name="connsiteX1834" fmla="*/ 2935 w 10785"/>
                  <a:gd name="connsiteY1834" fmla="*/ 4581 h 10000"/>
                  <a:gd name="connsiteX1835" fmla="*/ 2949 w 10785"/>
                  <a:gd name="connsiteY1835" fmla="*/ 4624 h 10000"/>
                  <a:gd name="connsiteX1836" fmla="*/ 2945 w 10785"/>
                  <a:gd name="connsiteY1836" fmla="*/ 4658 h 10000"/>
                  <a:gd name="connsiteX1837" fmla="*/ 2922 w 10785"/>
                  <a:gd name="connsiteY1837" fmla="*/ 4667 h 10000"/>
                  <a:gd name="connsiteX1838" fmla="*/ 2876 w 10785"/>
                  <a:gd name="connsiteY1838" fmla="*/ 4632 h 10000"/>
                  <a:gd name="connsiteX1839" fmla="*/ 2857 w 10785"/>
                  <a:gd name="connsiteY1839" fmla="*/ 4632 h 10000"/>
                  <a:gd name="connsiteX1840" fmla="*/ 2820 w 10785"/>
                  <a:gd name="connsiteY1840" fmla="*/ 4641 h 10000"/>
                  <a:gd name="connsiteX1841" fmla="*/ 2797 w 10785"/>
                  <a:gd name="connsiteY1841" fmla="*/ 4632 h 10000"/>
                  <a:gd name="connsiteX1842" fmla="*/ 2788 w 10785"/>
                  <a:gd name="connsiteY1842" fmla="*/ 4624 h 10000"/>
                  <a:gd name="connsiteX1843" fmla="*/ 2788 w 10785"/>
                  <a:gd name="connsiteY1843" fmla="*/ 4598 h 10000"/>
                  <a:gd name="connsiteX1844" fmla="*/ 2797 w 10785"/>
                  <a:gd name="connsiteY1844" fmla="*/ 4581 h 10000"/>
                  <a:gd name="connsiteX1845" fmla="*/ 2788 w 10785"/>
                  <a:gd name="connsiteY1845" fmla="*/ 4530 h 10000"/>
                  <a:gd name="connsiteX1846" fmla="*/ 2774 w 10785"/>
                  <a:gd name="connsiteY1846" fmla="*/ 4530 h 10000"/>
                  <a:gd name="connsiteX1847" fmla="*/ 2770 w 10785"/>
                  <a:gd name="connsiteY1847" fmla="*/ 4513 h 10000"/>
                  <a:gd name="connsiteX1848" fmla="*/ 2774 w 10785"/>
                  <a:gd name="connsiteY1848" fmla="*/ 4513 h 10000"/>
                  <a:gd name="connsiteX1849" fmla="*/ 2788 w 10785"/>
                  <a:gd name="connsiteY1849" fmla="*/ 4496 h 10000"/>
                  <a:gd name="connsiteX1850" fmla="*/ 2802 w 10785"/>
                  <a:gd name="connsiteY1850" fmla="*/ 4513 h 10000"/>
                  <a:gd name="connsiteX1851" fmla="*/ 2811 w 10785"/>
                  <a:gd name="connsiteY1851" fmla="*/ 4530 h 10000"/>
                  <a:gd name="connsiteX1852" fmla="*/ 2820 w 10785"/>
                  <a:gd name="connsiteY1852" fmla="*/ 4521 h 10000"/>
                  <a:gd name="connsiteX1853" fmla="*/ 2829 w 10785"/>
                  <a:gd name="connsiteY1853" fmla="*/ 4513 h 10000"/>
                  <a:gd name="connsiteX1854" fmla="*/ 2843 w 10785"/>
                  <a:gd name="connsiteY1854" fmla="*/ 4513 h 10000"/>
                  <a:gd name="connsiteX1855" fmla="*/ 2848 w 10785"/>
                  <a:gd name="connsiteY1855" fmla="*/ 4470 h 10000"/>
                  <a:gd name="connsiteX1856" fmla="*/ 2862 w 10785"/>
                  <a:gd name="connsiteY1856" fmla="*/ 4487 h 10000"/>
                  <a:gd name="connsiteX1857" fmla="*/ 2876 w 10785"/>
                  <a:gd name="connsiteY1857" fmla="*/ 4470 h 10000"/>
                  <a:gd name="connsiteX1858" fmla="*/ 2880 w 10785"/>
                  <a:gd name="connsiteY1858" fmla="*/ 4462 h 10000"/>
                  <a:gd name="connsiteX1859" fmla="*/ 2889 w 10785"/>
                  <a:gd name="connsiteY1859" fmla="*/ 4444 h 10000"/>
                  <a:gd name="connsiteX1860" fmla="*/ 2894 w 10785"/>
                  <a:gd name="connsiteY1860" fmla="*/ 4462 h 10000"/>
                  <a:gd name="connsiteX1861" fmla="*/ 2917 w 10785"/>
                  <a:gd name="connsiteY1861" fmla="*/ 4444 h 10000"/>
                  <a:gd name="connsiteX1862" fmla="*/ 2922 w 10785"/>
                  <a:gd name="connsiteY1862" fmla="*/ 4436 h 10000"/>
                  <a:gd name="connsiteX1863" fmla="*/ 2917 w 10785"/>
                  <a:gd name="connsiteY1863" fmla="*/ 4410 h 10000"/>
                  <a:gd name="connsiteX1864" fmla="*/ 2894 w 10785"/>
                  <a:gd name="connsiteY1864" fmla="*/ 4410 h 10000"/>
                  <a:gd name="connsiteX1865" fmla="*/ 2889 w 10785"/>
                  <a:gd name="connsiteY1865" fmla="*/ 4419 h 10000"/>
                  <a:gd name="connsiteX1866" fmla="*/ 2876 w 10785"/>
                  <a:gd name="connsiteY1866" fmla="*/ 4410 h 10000"/>
                  <a:gd name="connsiteX1867" fmla="*/ 2880 w 10785"/>
                  <a:gd name="connsiteY1867" fmla="*/ 4376 h 10000"/>
                  <a:gd name="connsiteX1868" fmla="*/ 2903 w 10785"/>
                  <a:gd name="connsiteY1868" fmla="*/ 4393 h 10000"/>
                  <a:gd name="connsiteX1869" fmla="*/ 2931 w 10785"/>
                  <a:gd name="connsiteY1869" fmla="*/ 4393 h 10000"/>
                  <a:gd name="connsiteX1870" fmla="*/ 2931 w 10785"/>
                  <a:gd name="connsiteY1870" fmla="*/ 4385 h 10000"/>
                  <a:gd name="connsiteX1871" fmla="*/ 2931 w 10785"/>
                  <a:gd name="connsiteY1871" fmla="*/ 4350 h 10000"/>
                  <a:gd name="connsiteX1872" fmla="*/ 2945 w 10785"/>
                  <a:gd name="connsiteY1872" fmla="*/ 4350 h 10000"/>
                  <a:gd name="connsiteX1873" fmla="*/ 2949 w 10785"/>
                  <a:gd name="connsiteY1873" fmla="*/ 4325 h 10000"/>
                  <a:gd name="connsiteX1874" fmla="*/ 2963 w 10785"/>
                  <a:gd name="connsiteY1874" fmla="*/ 4256 h 10000"/>
                  <a:gd name="connsiteX1875" fmla="*/ 2982 w 10785"/>
                  <a:gd name="connsiteY1875" fmla="*/ 4239 h 10000"/>
                  <a:gd name="connsiteX1876" fmla="*/ 2991 w 10785"/>
                  <a:gd name="connsiteY1876" fmla="*/ 4214 h 10000"/>
                  <a:gd name="connsiteX1877" fmla="*/ 2991 w 10785"/>
                  <a:gd name="connsiteY1877" fmla="*/ 4197 h 10000"/>
                  <a:gd name="connsiteX1878" fmla="*/ 2995 w 10785"/>
                  <a:gd name="connsiteY1878" fmla="*/ 4171 h 10000"/>
                  <a:gd name="connsiteX1879" fmla="*/ 2991 w 10785"/>
                  <a:gd name="connsiteY1879" fmla="*/ 4077 h 10000"/>
                  <a:gd name="connsiteX1880" fmla="*/ 2995 w 10785"/>
                  <a:gd name="connsiteY1880" fmla="*/ 4034 h 10000"/>
                  <a:gd name="connsiteX1881" fmla="*/ 3018 w 10785"/>
                  <a:gd name="connsiteY1881" fmla="*/ 3983 h 10000"/>
                  <a:gd name="connsiteX1882" fmla="*/ 3018 w 10785"/>
                  <a:gd name="connsiteY1882" fmla="*/ 3915 h 10000"/>
                  <a:gd name="connsiteX1883" fmla="*/ 2949 w 10785"/>
                  <a:gd name="connsiteY1883" fmla="*/ 3778 h 10000"/>
                  <a:gd name="connsiteX1884" fmla="*/ 2954 w 10785"/>
                  <a:gd name="connsiteY1884" fmla="*/ 3675 h 10000"/>
                  <a:gd name="connsiteX1885" fmla="*/ 2954 w 10785"/>
                  <a:gd name="connsiteY1885" fmla="*/ 3650 h 10000"/>
                  <a:gd name="connsiteX1886" fmla="*/ 2963 w 10785"/>
                  <a:gd name="connsiteY1886" fmla="*/ 3624 h 10000"/>
                  <a:gd name="connsiteX1887" fmla="*/ 2954 w 10785"/>
                  <a:gd name="connsiteY1887" fmla="*/ 3564 h 10000"/>
                  <a:gd name="connsiteX1888" fmla="*/ 2963 w 10785"/>
                  <a:gd name="connsiteY1888" fmla="*/ 3538 h 10000"/>
                  <a:gd name="connsiteX1889" fmla="*/ 2963 w 10785"/>
                  <a:gd name="connsiteY1889" fmla="*/ 3487 h 10000"/>
                  <a:gd name="connsiteX1890" fmla="*/ 2963 w 10785"/>
                  <a:gd name="connsiteY1890" fmla="*/ 3479 h 10000"/>
                  <a:gd name="connsiteX1891" fmla="*/ 2963 w 10785"/>
                  <a:gd name="connsiteY1891" fmla="*/ 3462 h 10000"/>
                  <a:gd name="connsiteX1892" fmla="*/ 2954 w 10785"/>
                  <a:gd name="connsiteY1892" fmla="*/ 3453 h 10000"/>
                  <a:gd name="connsiteX1893" fmla="*/ 2954 w 10785"/>
                  <a:gd name="connsiteY1893" fmla="*/ 3444 h 10000"/>
                  <a:gd name="connsiteX1894" fmla="*/ 2954 w 10785"/>
                  <a:gd name="connsiteY1894" fmla="*/ 3402 h 10000"/>
                  <a:gd name="connsiteX1895" fmla="*/ 2954 w 10785"/>
                  <a:gd name="connsiteY1895" fmla="*/ 3393 h 10000"/>
                  <a:gd name="connsiteX1896" fmla="*/ 2949 w 10785"/>
                  <a:gd name="connsiteY1896" fmla="*/ 3376 h 10000"/>
                  <a:gd name="connsiteX1897" fmla="*/ 2949 w 10785"/>
                  <a:gd name="connsiteY1897" fmla="*/ 3342 h 10000"/>
                  <a:gd name="connsiteX1898" fmla="*/ 2949 w 10785"/>
                  <a:gd name="connsiteY1898" fmla="*/ 3316 h 10000"/>
                  <a:gd name="connsiteX1899" fmla="*/ 2968 w 10785"/>
                  <a:gd name="connsiteY1899" fmla="*/ 3291 h 10000"/>
                  <a:gd name="connsiteX1900" fmla="*/ 2963 w 10785"/>
                  <a:gd name="connsiteY1900" fmla="*/ 3205 h 10000"/>
                  <a:gd name="connsiteX1901" fmla="*/ 2968 w 10785"/>
                  <a:gd name="connsiteY1901" fmla="*/ 3171 h 10000"/>
                  <a:gd name="connsiteX1902" fmla="*/ 2968 w 10785"/>
                  <a:gd name="connsiteY1902" fmla="*/ 3128 h 10000"/>
                  <a:gd name="connsiteX1903" fmla="*/ 2954 w 10785"/>
                  <a:gd name="connsiteY1903" fmla="*/ 3051 h 10000"/>
                  <a:gd name="connsiteX1904" fmla="*/ 2954 w 10785"/>
                  <a:gd name="connsiteY1904" fmla="*/ 3009 h 10000"/>
                  <a:gd name="connsiteX1905" fmla="*/ 2922 w 10785"/>
                  <a:gd name="connsiteY1905" fmla="*/ 2940 h 10000"/>
                  <a:gd name="connsiteX1906" fmla="*/ 2903 w 10785"/>
                  <a:gd name="connsiteY1906" fmla="*/ 2880 h 10000"/>
                  <a:gd name="connsiteX1907" fmla="*/ 2903 w 10785"/>
                  <a:gd name="connsiteY1907" fmla="*/ 2855 h 10000"/>
                  <a:gd name="connsiteX1908" fmla="*/ 2908 w 10785"/>
                  <a:gd name="connsiteY1908" fmla="*/ 2846 h 10000"/>
                  <a:gd name="connsiteX1909" fmla="*/ 2931 w 10785"/>
                  <a:gd name="connsiteY1909" fmla="*/ 2821 h 10000"/>
                  <a:gd name="connsiteX1910" fmla="*/ 2931 w 10785"/>
                  <a:gd name="connsiteY1910" fmla="*/ 2803 h 10000"/>
                  <a:gd name="connsiteX1911" fmla="*/ 2935 w 10785"/>
                  <a:gd name="connsiteY1911" fmla="*/ 2786 h 10000"/>
                  <a:gd name="connsiteX1912" fmla="*/ 2935 w 10785"/>
                  <a:gd name="connsiteY1912" fmla="*/ 2744 h 10000"/>
                  <a:gd name="connsiteX1913" fmla="*/ 2963 w 10785"/>
                  <a:gd name="connsiteY1913" fmla="*/ 2607 h 10000"/>
                  <a:gd name="connsiteX1914" fmla="*/ 2963 w 10785"/>
                  <a:gd name="connsiteY1914" fmla="*/ 2419 h 10000"/>
                  <a:gd name="connsiteX1915" fmla="*/ 2954 w 10785"/>
                  <a:gd name="connsiteY1915" fmla="*/ 2410 h 10000"/>
                  <a:gd name="connsiteX1916" fmla="*/ 2963 w 10785"/>
                  <a:gd name="connsiteY1916" fmla="*/ 2393 h 10000"/>
                  <a:gd name="connsiteX1917" fmla="*/ 2908 w 10785"/>
                  <a:gd name="connsiteY1917" fmla="*/ 2359 h 10000"/>
                  <a:gd name="connsiteX1918" fmla="*/ 2889 w 10785"/>
                  <a:gd name="connsiteY1918" fmla="*/ 2325 h 10000"/>
                  <a:gd name="connsiteX1919" fmla="*/ 2788 w 10785"/>
                  <a:gd name="connsiteY1919" fmla="*/ 2333 h 10000"/>
                  <a:gd name="connsiteX1920" fmla="*/ 2774 w 10785"/>
                  <a:gd name="connsiteY1920" fmla="*/ 2325 h 10000"/>
                  <a:gd name="connsiteX1921" fmla="*/ 2783 w 10785"/>
                  <a:gd name="connsiteY1921" fmla="*/ 2308 h 10000"/>
                  <a:gd name="connsiteX1922" fmla="*/ 2747 w 10785"/>
                  <a:gd name="connsiteY1922" fmla="*/ 2308 h 10000"/>
                  <a:gd name="connsiteX1923" fmla="*/ 2742 w 10785"/>
                  <a:gd name="connsiteY1923" fmla="*/ 2333 h 10000"/>
                  <a:gd name="connsiteX1924" fmla="*/ 2682 w 10785"/>
                  <a:gd name="connsiteY1924" fmla="*/ 2769 h 10000"/>
                  <a:gd name="connsiteX1925" fmla="*/ 2613 w 10785"/>
                  <a:gd name="connsiteY1925" fmla="*/ 2940 h 10000"/>
                  <a:gd name="connsiteX1926" fmla="*/ 2581 w 10785"/>
                  <a:gd name="connsiteY1926" fmla="*/ 2966 h 10000"/>
                  <a:gd name="connsiteX1927" fmla="*/ 2576 w 10785"/>
                  <a:gd name="connsiteY1927" fmla="*/ 3051 h 10000"/>
                  <a:gd name="connsiteX1928" fmla="*/ 2581 w 10785"/>
                  <a:gd name="connsiteY1928" fmla="*/ 3051 h 10000"/>
                  <a:gd name="connsiteX1929" fmla="*/ 2594 w 10785"/>
                  <a:gd name="connsiteY1929" fmla="*/ 3017 h 10000"/>
                  <a:gd name="connsiteX1930" fmla="*/ 2594 w 10785"/>
                  <a:gd name="connsiteY1930" fmla="*/ 3034 h 10000"/>
                  <a:gd name="connsiteX1931" fmla="*/ 2594 w 10785"/>
                  <a:gd name="connsiteY1931" fmla="*/ 3051 h 10000"/>
                  <a:gd name="connsiteX1932" fmla="*/ 2590 w 10785"/>
                  <a:gd name="connsiteY1932" fmla="*/ 3077 h 10000"/>
                  <a:gd name="connsiteX1933" fmla="*/ 2567 w 10785"/>
                  <a:gd name="connsiteY1933" fmla="*/ 3103 h 10000"/>
                  <a:gd name="connsiteX1934" fmla="*/ 2562 w 10785"/>
                  <a:gd name="connsiteY1934" fmla="*/ 3145 h 10000"/>
                  <a:gd name="connsiteX1935" fmla="*/ 2567 w 10785"/>
                  <a:gd name="connsiteY1935" fmla="*/ 3179 h 10000"/>
                  <a:gd name="connsiteX1936" fmla="*/ 2590 w 10785"/>
                  <a:gd name="connsiteY1936" fmla="*/ 3171 h 10000"/>
                  <a:gd name="connsiteX1937" fmla="*/ 2594 w 10785"/>
                  <a:gd name="connsiteY1937" fmla="*/ 3145 h 10000"/>
                  <a:gd name="connsiteX1938" fmla="*/ 2613 w 10785"/>
                  <a:gd name="connsiteY1938" fmla="*/ 3154 h 10000"/>
                  <a:gd name="connsiteX1939" fmla="*/ 2622 w 10785"/>
                  <a:gd name="connsiteY1939" fmla="*/ 3179 h 10000"/>
                  <a:gd name="connsiteX1940" fmla="*/ 2613 w 10785"/>
                  <a:gd name="connsiteY1940" fmla="*/ 3214 h 10000"/>
                  <a:gd name="connsiteX1941" fmla="*/ 2613 w 10785"/>
                  <a:gd name="connsiteY1941" fmla="*/ 3308 h 10000"/>
                  <a:gd name="connsiteX1942" fmla="*/ 2608 w 10785"/>
                  <a:gd name="connsiteY1942" fmla="*/ 3325 h 10000"/>
                  <a:gd name="connsiteX1943" fmla="*/ 2608 w 10785"/>
                  <a:gd name="connsiteY1943" fmla="*/ 3376 h 10000"/>
                  <a:gd name="connsiteX1944" fmla="*/ 2613 w 10785"/>
                  <a:gd name="connsiteY1944" fmla="*/ 3419 h 10000"/>
                  <a:gd name="connsiteX1945" fmla="*/ 2608 w 10785"/>
                  <a:gd name="connsiteY1945" fmla="*/ 3444 h 10000"/>
                  <a:gd name="connsiteX1946" fmla="*/ 2594 w 10785"/>
                  <a:gd name="connsiteY1946" fmla="*/ 3444 h 10000"/>
                  <a:gd name="connsiteX1947" fmla="*/ 2590 w 10785"/>
                  <a:gd name="connsiteY1947" fmla="*/ 3427 h 10000"/>
                  <a:gd name="connsiteX1948" fmla="*/ 2581 w 10785"/>
                  <a:gd name="connsiteY1948" fmla="*/ 3564 h 10000"/>
                  <a:gd name="connsiteX1949" fmla="*/ 2594 w 10785"/>
                  <a:gd name="connsiteY1949" fmla="*/ 3598 h 10000"/>
                  <a:gd name="connsiteX1950" fmla="*/ 2594 w 10785"/>
                  <a:gd name="connsiteY1950" fmla="*/ 3581 h 10000"/>
                  <a:gd name="connsiteX1951" fmla="*/ 2608 w 10785"/>
                  <a:gd name="connsiteY1951" fmla="*/ 3556 h 10000"/>
                  <a:gd name="connsiteX1952" fmla="*/ 2650 w 10785"/>
                  <a:gd name="connsiteY1952" fmla="*/ 3615 h 10000"/>
                  <a:gd name="connsiteX1953" fmla="*/ 2664 w 10785"/>
                  <a:gd name="connsiteY1953" fmla="*/ 3615 h 10000"/>
                  <a:gd name="connsiteX1954" fmla="*/ 2668 w 10785"/>
                  <a:gd name="connsiteY1954" fmla="*/ 3615 h 10000"/>
                  <a:gd name="connsiteX1955" fmla="*/ 2664 w 10785"/>
                  <a:gd name="connsiteY1955" fmla="*/ 3667 h 10000"/>
                  <a:gd name="connsiteX1956" fmla="*/ 2687 w 10785"/>
                  <a:gd name="connsiteY1956" fmla="*/ 3786 h 10000"/>
                  <a:gd name="connsiteX1957" fmla="*/ 2710 w 10785"/>
                  <a:gd name="connsiteY1957" fmla="*/ 3812 h 10000"/>
                  <a:gd name="connsiteX1958" fmla="*/ 2724 w 10785"/>
                  <a:gd name="connsiteY1958" fmla="*/ 3812 h 10000"/>
                  <a:gd name="connsiteX1959" fmla="*/ 2724 w 10785"/>
                  <a:gd name="connsiteY1959" fmla="*/ 3829 h 10000"/>
                  <a:gd name="connsiteX1960" fmla="*/ 2737 w 10785"/>
                  <a:gd name="connsiteY1960" fmla="*/ 3838 h 10000"/>
                  <a:gd name="connsiteX1961" fmla="*/ 2714 w 10785"/>
                  <a:gd name="connsiteY1961" fmla="*/ 3872 h 10000"/>
                  <a:gd name="connsiteX1962" fmla="*/ 2696 w 10785"/>
                  <a:gd name="connsiteY1962" fmla="*/ 4026 h 10000"/>
                  <a:gd name="connsiteX1963" fmla="*/ 2673 w 10785"/>
                  <a:gd name="connsiteY1963" fmla="*/ 4051 h 10000"/>
                  <a:gd name="connsiteX1964" fmla="*/ 2668 w 10785"/>
                  <a:gd name="connsiteY1964" fmla="*/ 4034 h 10000"/>
                  <a:gd name="connsiteX1965" fmla="*/ 2673 w 10785"/>
                  <a:gd name="connsiteY1965" fmla="*/ 4000 h 10000"/>
                  <a:gd name="connsiteX1966" fmla="*/ 2664 w 10785"/>
                  <a:gd name="connsiteY1966" fmla="*/ 3974 h 10000"/>
                  <a:gd name="connsiteX1967" fmla="*/ 2636 w 10785"/>
                  <a:gd name="connsiteY1967" fmla="*/ 3949 h 10000"/>
                  <a:gd name="connsiteX1968" fmla="*/ 2581 w 10785"/>
                  <a:gd name="connsiteY1968" fmla="*/ 3838 h 10000"/>
                  <a:gd name="connsiteX1969" fmla="*/ 2562 w 10785"/>
                  <a:gd name="connsiteY1969" fmla="*/ 3829 h 10000"/>
                  <a:gd name="connsiteX1970" fmla="*/ 2535 w 10785"/>
                  <a:gd name="connsiteY1970" fmla="*/ 3778 h 10000"/>
                  <a:gd name="connsiteX1971" fmla="*/ 2502 w 10785"/>
                  <a:gd name="connsiteY1971" fmla="*/ 3761 h 10000"/>
                  <a:gd name="connsiteX1972" fmla="*/ 2502 w 10785"/>
                  <a:gd name="connsiteY1972" fmla="*/ 3735 h 10000"/>
                  <a:gd name="connsiteX1973" fmla="*/ 2516 w 10785"/>
                  <a:gd name="connsiteY1973" fmla="*/ 3735 h 10000"/>
                  <a:gd name="connsiteX1974" fmla="*/ 2507 w 10785"/>
                  <a:gd name="connsiteY1974" fmla="*/ 3726 h 10000"/>
                  <a:gd name="connsiteX1975" fmla="*/ 2488 w 10785"/>
                  <a:gd name="connsiteY1975" fmla="*/ 3726 h 10000"/>
                  <a:gd name="connsiteX1976" fmla="*/ 2461 w 10785"/>
                  <a:gd name="connsiteY1976" fmla="*/ 3692 h 10000"/>
                  <a:gd name="connsiteX1977" fmla="*/ 2442 w 10785"/>
                  <a:gd name="connsiteY1977" fmla="*/ 3675 h 10000"/>
                  <a:gd name="connsiteX1978" fmla="*/ 2406 w 10785"/>
                  <a:gd name="connsiteY1978" fmla="*/ 3598 h 10000"/>
                  <a:gd name="connsiteX1979" fmla="*/ 2346 w 10785"/>
                  <a:gd name="connsiteY1979" fmla="*/ 3564 h 10000"/>
                  <a:gd name="connsiteX1980" fmla="*/ 2341 w 10785"/>
                  <a:gd name="connsiteY1980" fmla="*/ 3564 h 10000"/>
                  <a:gd name="connsiteX1981" fmla="*/ 2313 w 10785"/>
                  <a:gd name="connsiteY1981" fmla="*/ 3530 h 10000"/>
                  <a:gd name="connsiteX1982" fmla="*/ 2235 w 10785"/>
                  <a:gd name="connsiteY1982" fmla="*/ 3530 h 10000"/>
                  <a:gd name="connsiteX1983" fmla="*/ 2226 w 10785"/>
                  <a:gd name="connsiteY1983" fmla="*/ 3513 h 10000"/>
                  <a:gd name="connsiteX1984" fmla="*/ 2207 w 10785"/>
                  <a:gd name="connsiteY1984" fmla="*/ 3504 h 10000"/>
                  <a:gd name="connsiteX1985" fmla="*/ 2194 w 10785"/>
                  <a:gd name="connsiteY1985" fmla="*/ 3504 h 10000"/>
                  <a:gd name="connsiteX1986" fmla="*/ 2189 w 10785"/>
                  <a:gd name="connsiteY1986" fmla="*/ 3504 h 10000"/>
                  <a:gd name="connsiteX1987" fmla="*/ 2189 w 10785"/>
                  <a:gd name="connsiteY1987" fmla="*/ 3530 h 10000"/>
                  <a:gd name="connsiteX1988" fmla="*/ 2180 w 10785"/>
                  <a:gd name="connsiteY1988" fmla="*/ 3538 h 10000"/>
                  <a:gd name="connsiteX1989" fmla="*/ 2152 w 10785"/>
                  <a:gd name="connsiteY1989" fmla="*/ 3581 h 10000"/>
                  <a:gd name="connsiteX1990" fmla="*/ 2161 w 10785"/>
                  <a:gd name="connsiteY1990" fmla="*/ 3598 h 10000"/>
                  <a:gd name="connsiteX1991" fmla="*/ 2194 w 10785"/>
                  <a:gd name="connsiteY1991" fmla="*/ 3752 h 10000"/>
                  <a:gd name="connsiteX1992" fmla="*/ 2194 w 10785"/>
                  <a:gd name="connsiteY1992" fmla="*/ 3735 h 10000"/>
                  <a:gd name="connsiteX1993" fmla="*/ 2198 w 10785"/>
                  <a:gd name="connsiteY1993" fmla="*/ 3735 h 10000"/>
                  <a:gd name="connsiteX1994" fmla="*/ 2189 w 10785"/>
                  <a:gd name="connsiteY1994" fmla="*/ 3838 h 10000"/>
                  <a:gd name="connsiteX1995" fmla="*/ 2166 w 10785"/>
                  <a:gd name="connsiteY1995" fmla="*/ 3889 h 10000"/>
                  <a:gd name="connsiteX1996" fmla="*/ 2124 w 10785"/>
                  <a:gd name="connsiteY1996" fmla="*/ 3889 h 10000"/>
                  <a:gd name="connsiteX1997" fmla="*/ 2124 w 10785"/>
                  <a:gd name="connsiteY1997" fmla="*/ 3923 h 10000"/>
                  <a:gd name="connsiteX1998" fmla="*/ 2134 w 10785"/>
                  <a:gd name="connsiteY1998" fmla="*/ 3940 h 10000"/>
                  <a:gd name="connsiteX1999" fmla="*/ 2134 w 10785"/>
                  <a:gd name="connsiteY1999" fmla="*/ 3966 h 10000"/>
                  <a:gd name="connsiteX2000" fmla="*/ 2120 w 10785"/>
                  <a:gd name="connsiteY2000" fmla="*/ 4000 h 10000"/>
                  <a:gd name="connsiteX2001" fmla="*/ 2106 w 10785"/>
                  <a:gd name="connsiteY2001" fmla="*/ 4009 h 10000"/>
                  <a:gd name="connsiteX2002" fmla="*/ 2088 w 10785"/>
                  <a:gd name="connsiteY2002" fmla="*/ 4000 h 10000"/>
                  <a:gd name="connsiteX2003" fmla="*/ 2074 w 10785"/>
                  <a:gd name="connsiteY2003" fmla="*/ 3974 h 10000"/>
                  <a:gd name="connsiteX2004" fmla="*/ 2074 w 10785"/>
                  <a:gd name="connsiteY2004" fmla="*/ 3940 h 10000"/>
                  <a:gd name="connsiteX2005" fmla="*/ 2078 w 10785"/>
                  <a:gd name="connsiteY2005" fmla="*/ 3915 h 10000"/>
                  <a:gd name="connsiteX2006" fmla="*/ 2088 w 10785"/>
                  <a:gd name="connsiteY2006" fmla="*/ 3889 h 10000"/>
                  <a:gd name="connsiteX2007" fmla="*/ 2101 w 10785"/>
                  <a:gd name="connsiteY2007" fmla="*/ 3872 h 10000"/>
                  <a:gd name="connsiteX2008" fmla="*/ 2074 w 10785"/>
                  <a:gd name="connsiteY2008" fmla="*/ 3812 h 10000"/>
                  <a:gd name="connsiteX2009" fmla="*/ 2074 w 10785"/>
                  <a:gd name="connsiteY2009" fmla="*/ 3786 h 10000"/>
                  <a:gd name="connsiteX2010" fmla="*/ 2060 w 10785"/>
                  <a:gd name="connsiteY2010" fmla="*/ 3786 h 10000"/>
                  <a:gd name="connsiteX2011" fmla="*/ 2014 w 10785"/>
                  <a:gd name="connsiteY2011" fmla="*/ 3829 h 10000"/>
                  <a:gd name="connsiteX2012" fmla="*/ 2000 w 10785"/>
                  <a:gd name="connsiteY2012" fmla="*/ 3863 h 10000"/>
                  <a:gd name="connsiteX2013" fmla="*/ 1986 w 10785"/>
                  <a:gd name="connsiteY2013" fmla="*/ 3872 h 10000"/>
                  <a:gd name="connsiteX2014" fmla="*/ 1959 w 10785"/>
                  <a:gd name="connsiteY2014" fmla="*/ 3940 h 10000"/>
                  <a:gd name="connsiteX2015" fmla="*/ 1945 w 10785"/>
                  <a:gd name="connsiteY2015" fmla="*/ 3949 h 10000"/>
                  <a:gd name="connsiteX2016" fmla="*/ 1940 w 10785"/>
                  <a:gd name="connsiteY2016" fmla="*/ 3923 h 10000"/>
                  <a:gd name="connsiteX2017" fmla="*/ 1917 w 10785"/>
                  <a:gd name="connsiteY2017" fmla="*/ 3915 h 10000"/>
                  <a:gd name="connsiteX2018" fmla="*/ 1899 w 10785"/>
                  <a:gd name="connsiteY2018" fmla="*/ 3923 h 10000"/>
                  <a:gd name="connsiteX2019" fmla="*/ 1880 w 10785"/>
                  <a:gd name="connsiteY2019" fmla="*/ 3915 h 10000"/>
                  <a:gd name="connsiteX2020" fmla="*/ 1853 w 10785"/>
                  <a:gd name="connsiteY2020" fmla="*/ 3940 h 10000"/>
                  <a:gd name="connsiteX2021" fmla="*/ 1839 w 10785"/>
                  <a:gd name="connsiteY2021" fmla="*/ 3940 h 10000"/>
                  <a:gd name="connsiteX2022" fmla="*/ 1806 w 10785"/>
                  <a:gd name="connsiteY2022" fmla="*/ 3983 h 10000"/>
                  <a:gd name="connsiteX2023" fmla="*/ 1806 w 10785"/>
                  <a:gd name="connsiteY2023" fmla="*/ 4000 h 10000"/>
                  <a:gd name="connsiteX2024" fmla="*/ 1797 w 10785"/>
                  <a:gd name="connsiteY2024" fmla="*/ 4077 h 10000"/>
                  <a:gd name="connsiteX2025" fmla="*/ 1783 w 10785"/>
                  <a:gd name="connsiteY2025" fmla="*/ 4077 h 10000"/>
                  <a:gd name="connsiteX2026" fmla="*/ 1779 w 10785"/>
                  <a:gd name="connsiteY2026" fmla="*/ 4051 h 10000"/>
                  <a:gd name="connsiteX2027" fmla="*/ 1765 w 10785"/>
                  <a:gd name="connsiteY2027" fmla="*/ 4026 h 10000"/>
                  <a:gd name="connsiteX2028" fmla="*/ 1751 w 10785"/>
                  <a:gd name="connsiteY2028" fmla="*/ 4051 h 10000"/>
                  <a:gd name="connsiteX2029" fmla="*/ 1737 w 10785"/>
                  <a:gd name="connsiteY2029" fmla="*/ 4009 h 10000"/>
                  <a:gd name="connsiteX2030" fmla="*/ 1737 w 10785"/>
                  <a:gd name="connsiteY2030" fmla="*/ 3966 h 10000"/>
                  <a:gd name="connsiteX2031" fmla="*/ 1733 w 10785"/>
                  <a:gd name="connsiteY2031" fmla="*/ 3940 h 10000"/>
                  <a:gd name="connsiteX2032" fmla="*/ 1733 w 10785"/>
                  <a:gd name="connsiteY2032" fmla="*/ 3923 h 10000"/>
                  <a:gd name="connsiteX2033" fmla="*/ 1747 w 10785"/>
                  <a:gd name="connsiteY2033" fmla="*/ 3889 h 10000"/>
                  <a:gd name="connsiteX2034" fmla="*/ 1747 w 10785"/>
                  <a:gd name="connsiteY2034" fmla="*/ 3863 h 10000"/>
                  <a:gd name="connsiteX2035" fmla="*/ 1737 w 10785"/>
                  <a:gd name="connsiteY2035" fmla="*/ 3838 h 10000"/>
                  <a:gd name="connsiteX2036" fmla="*/ 1733 w 10785"/>
                  <a:gd name="connsiteY2036" fmla="*/ 3829 h 10000"/>
                  <a:gd name="connsiteX2037" fmla="*/ 1733 w 10785"/>
                  <a:gd name="connsiteY2037" fmla="*/ 3846 h 10000"/>
                  <a:gd name="connsiteX2038" fmla="*/ 1724 w 10785"/>
                  <a:gd name="connsiteY2038" fmla="*/ 3846 h 10000"/>
                  <a:gd name="connsiteX2039" fmla="*/ 1724 w 10785"/>
                  <a:gd name="connsiteY2039" fmla="*/ 3829 h 10000"/>
                  <a:gd name="connsiteX2040" fmla="*/ 1737 w 10785"/>
                  <a:gd name="connsiteY2040" fmla="*/ 3812 h 10000"/>
                  <a:gd name="connsiteX2041" fmla="*/ 1765 w 10785"/>
                  <a:gd name="connsiteY2041" fmla="*/ 3812 h 10000"/>
                  <a:gd name="connsiteX2042" fmla="*/ 1779 w 10785"/>
                  <a:gd name="connsiteY2042" fmla="*/ 3786 h 10000"/>
                  <a:gd name="connsiteX2043" fmla="*/ 1779 w 10785"/>
                  <a:gd name="connsiteY2043" fmla="*/ 3786 h 10000"/>
                  <a:gd name="connsiteX2044" fmla="*/ 1751 w 10785"/>
                  <a:gd name="connsiteY2044" fmla="*/ 3803 h 10000"/>
                  <a:gd name="connsiteX2045" fmla="*/ 1747 w 10785"/>
                  <a:gd name="connsiteY2045" fmla="*/ 3803 h 10000"/>
                  <a:gd name="connsiteX2046" fmla="*/ 1724 w 10785"/>
                  <a:gd name="connsiteY2046" fmla="*/ 3803 h 10000"/>
                  <a:gd name="connsiteX2047" fmla="*/ 1700 w 10785"/>
                  <a:gd name="connsiteY2047" fmla="*/ 3829 h 10000"/>
                  <a:gd name="connsiteX2048" fmla="*/ 1705 w 10785"/>
                  <a:gd name="connsiteY2048" fmla="*/ 3846 h 10000"/>
                  <a:gd name="connsiteX2049" fmla="*/ 1691 w 10785"/>
                  <a:gd name="connsiteY2049" fmla="*/ 3846 h 10000"/>
                  <a:gd name="connsiteX2050" fmla="*/ 1691 w 10785"/>
                  <a:gd name="connsiteY2050" fmla="*/ 3863 h 10000"/>
                  <a:gd name="connsiteX2051" fmla="*/ 1691 w 10785"/>
                  <a:gd name="connsiteY2051" fmla="*/ 3915 h 10000"/>
                  <a:gd name="connsiteX2052" fmla="*/ 1677 w 10785"/>
                  <a:gd name="connsiteY2052" fmla="*/ 3923 h 10000"/>
                  <a:gd name="connsiteX2053" fmla="*/ 1673 w 10785"/>
                  <a:gd name="connsiteY2053" fmla="*/ 3915 h 10000"/>
                  <a:gd name="connsiteX2054" fmla="*/ 1664 w 10785"/>
                  <a:gd name="connsiteY2054" fmla="*/ 3889 h 10000"/>
                  <a:gd name="connsiteX2055" fmla="*/ 1673 w 10785"/>
                  <a:gd name="connsiteY2055" fmla="*/ 3872 h 10000"/>
                  <a:gd name="connsiteX2056" fmla="*/ 1664 w 10785"/>
                  <a:gd name="connsiteY2056" fmla="*/ 3872 h 10000"/>
                  <a:gd name="connsiteX2057" fmla="*/ 1636 w 10785"/>
                  <a:gd name="connsiteY2057" fmla="*/ 3923 h 10000"/>
                  <a:gd name="connsiteX2058" fmla="*/ 1645 w 10785"/>
                  <a:gd name="connsiteY2058" fmla="*/ 3923 h 10000"/>
                  <a:gd name="connsiteX2059" fmla="*/ 1650 w 10785"/>
                  <a:gd name="connsiteY2059" fmla="*/ 3949 h 10000"/>
                  <a:gd name="connsiteX2060" fmla="*/ 1650 w 10785"/>
                  <a:gd name="connsiteY2060" fmla="*/ 3983 h 10000"/>
                  <a:gd name="connsiteX2061" fmla="*/ 1636 w 10785"/>
                  <a:gd name="connsiteY2061" fmla="*/ 4000 h 10000"/>
                  <a:gd name="connsiteX2062" fmla="*/ 1631 w 10785"/>
                  <a:gd name="connsiteY2062" fmla="*/ 4009 h 10000"/>
                  <a:gd name="connsiteX2063" fmla="*/ 1618 w 10785"/>
                  <a:gd name="connsiteY2063" fmla="*/ 3949 h 10000"/>
                  <a:gd name="connsiteX2064" fmla="*/ 1585 w 10785"/>
                  <a:gd name="connsiteY2064" fmla="*/ 3966 h 10000"/>
                  <a:gd name="connsiteX2065" fmla="*/ 1590 w 10785"/>
                  <a:gd name="connsiteY2065" fmla="*/ 3974 h 10000"/>
                  <a:gd name="connsiteX2066" fmla="*/ 1544 w 10785"/>
                  <a:gd name="connsiteY2066" fmla="*/ 4009 h 10000"/>
                  <a:gd name="connsiteX2067" fmla="*/ 1539 w 10785"/>
                  <a:gd name="connsiteY2067" fmla="*/ 4009 h 10000"/>
                  <a:gd name="connsiteX2068" fmla="*/ 1410 w 10785"/>
                  <a:gd name="connsiteY2068" fmla="*/ 4188 h 10000"/>
                  <a:gd name="connsiteX2069" fmla="*/ 1406 w 10785"/>
                  <a:gd name="connsiteY2069" fmla="*/ 4171 h 10000"/>
                  <a:gd name="connsiteX2070" fmla="*/ 1396 w 10785"/>
                  <a:gd name="connsiteY2070" fmla="*/ 4214 h 10000"/>
                  <a:gd name="connsiteX2071" fmla="*/ 1406 w 10785"/>
                  <a:gd name="connsiteY2071" fmla="*/ 4222 h 10000"/>
                  <a:gd name="connsiteX2072" fmla="*/ 1392 w 10785"/>
                  <a:gd name="connsiteY2072" fmla="*/ 4239 h 10000"/>
                  <a:gd name="connsiteX2073" fmla="*/ 1369 w 10785"/>
                  <a:gd name="connsiteY2073" fmla="*/ 4248 h 10000"/>
                  <a:gd name="connsiteX2074" fmla="*/ 1355 w 10785"/>
                  <a:gd name="connsiteY2074" fmla="*/ 4256 h 10000"/>
                  <a:gd name="connsiteX2075" fmla="*/ 1350 w 10785"/>
                  <a:gd name="connsiteY2075" fmla="*/ 4248 h 10000"/>
                  <a:gd name="connsiteX2076" fmla="*/ 1332 w 10785"/>
                  <a:gd name="connsiteY2076" fmla="*/ 4376 h 10000"/>
                  <a:gd name="connsiteX2077" fmla="*/ 1332 w 10785"/>
                  <a:gd name="connsiteY2077" fmla="*/ 4436 h 10000"/>
                  <a:gd name="connsiteX2078" fmla="*/ 1323 w 10785"/>
                  <a:gd name="connsiteY2078" fmla="*/ 4462 h 10000"/>
                  <a:gd name="connsiteX2079" fmla="*/ 1304 w 10785"/>
                  <a:gd name="connsiteY2079" fmla="*/ 4487 h 10000"/>
                  <a:gd name="connsiteX2080" fmla="*/ 1290 w 10785"/>
                  <a:gd name="connsiteY2080" fmla="*/ 4470 h 10000"/>
                  <a:gd name="connsiteX2081" fmla="*/ 1263 w 10785"/>
                  <a:gd name="connsiteY2081" fmla="*/ 4496 h 10000"/>
                  <a:gd name="connsiteX2082" fmla="*/ 1258 w 10785"/>
                  <a:gd name="connsiteY2082" fmla="*/ 4547 h 10000"/>
                  <a:gd name="connsiteX2083" fmla="*/ 1249 w 10785"/>
                  <a:gd name="connsiteY2083" fmla="*/ 4487 h 10000"/>
                  <a:gd name="connsiteX2084" fmla="*/ 1235 w 10785"/>
                  <a:gd name="connsiteY2084" fmla="*/ 4496 h 10000"/>
                  <a:gd name="connsiteX2085" fmla="*/ 1221 w 10785"/>
                  <a:gd name="connsiteY2085" fmla="*/ 4496 h 10000"/>
                  <a:gd name="connsiteX2086" fmla="*/ 1217 w 10785"/>
                  <a:gd name="connsiteY2086" fmla="*/ 4487 h 10000"/>
                  <a:gd name="connsiteX2087" fmla="*/ 1198 w 10785"/>
                  <a:gd name="connsiteY2087" fmla="*/ 4410 h 10000"/>
                  <a:gd name="connsiteX2088" fmla="*/ 1157 w 10785"/>
                  <a:gd name="connsiteY2088" fmla="*/ 4333 h 10000"/>
                  <a:gd name="connsiteX2089" fmla="*/ 1147 w 10785"/>
                  <a:gd name="connsiteY2089" fmla="*/ 4299 h 10000"/>
                  <a:gd name="connsiteX2090" fmla="*/ 1147 w 10785"/>
                  <a:gd name="connsiteY2090" fmla="*/ 4274 h 10000"/>
                  <a:gd name="connsiteX2091" fmla="*/ 1161 w 10785"/>
                  <a:gd name="connsiteY2091" fmla="*/ 4256 h 10000"/>
                  <a:gd name="connsiteX2092" fmla="*/ 1171 w 10785"/>
                  <a:gd name="connsiteY2092" fmla="*/ 4248 h 10000"/>
                  <a:gd name="connsiteX2093" fmla="*/ 1175 w 10785"/>
                  <a:gd name="connsiteY2093" fmla="*/ 4214 h 10000"/>
                  <a:gd name="connsiteX2094" fmla="*/ 1263 w 10785"/>
                  <a:gd name="connsiteY2094" fmla="*/ 4171 h 10000"/>
                  <a:gd name="connsiteX2095" fmla="*/ 1249 w 10785"/>
                  <a:gd name="connsiteY2095" fmla="*/ 4137 h 10000"/>
                  <a:gd name="connsiteX2096" fmla="*/ 1244 w 10785"/>
                  <a:gd name="connsiteY2096" fmla="*/ 4060 h 10000"/>
                  <a:gd name="connsiteX2097" fmla="*/ 1230 w 10785"/>
                  <a:gd name="connsiteY2097" fmla="*/ 4077 h 10000"/>
                  <a:gd name="connsiteX2098" fmla="*/ 1221 w 10785"/>
                  <a:gd name="connsiteY2098" fmla="*/ 4026 h 10000"/>
                  <a:gd name="connsiteX2099" fmla="*/ 1217 w 10785"/>
                  <a:gd name="connsiteY2099" fmla="*/ 4026 h 10000"/>
                  <a:gd name="connsiteX2100" fmla="*/ 1212 w 10785"/>
                  <a:gd name="connsiteY2100" fmla="*/ 3983 h 10000"/>
                  <a:gd name="connsiteX2101" fmla="*/ 1203 w 10785"/>
                  <a:gd name="connsiteY2101" fmla="*/ 3966 h 10000"/>
                  <a:gd name="connsiteX2102" fmla="*/ 1171 w 10785"/>
                  <a:gd name="connsiteY2102" fmla="*/ 3949 h 10000"/>
                  <a:gd name="connsiteX2103" fmla="*/ 1111 w 10785"/>
                  <a:gd name="connsiteY2103" fmla="*/ 3940 h 10000"/>
                  <a:gd name="connsiteX2104" fmla="*/ 1097 w 10785"/>
                  <a:gd name="connsiteY2104" fmla="*/ 3949 h 10000"/>
                  <a:gd name="connsiteX2105" fmla="*/ 1037 w 10785"/>
                  <a:gd name="connsiteY2105" fmla="*/ 3897 h 10000"/>
                  <a:gd name="connsiteX2106" fmla="*/ 1041 w 10785"/>
                  <a:gd name="connsiteY2106" fmla="*/ 3923 h 10000"/>
                  <a:gd name="connsiteX2107" fmla="*/ 1097 w 10785"/>
                  <a:gd name="connsiteY2107" fmla="*/ 4009 h 10000"/>
                  <a:gd name="connsiteX2108" fmla="*/ 1097 w 10785"/>
                  <a:gd name="connsiteY2108" fmla="*/ 4120 h 10000"/>
                  <a:gd name="connsiteX2109" fmla="*/ 1097 w 10785"/>
                  <a:gd name="connsiteY2109" fmla="*/ 4162 h 10000"/>
                  <a:gd name="connsiteX2110" fmla="*/ 1097 w 10785"/>
                  <a:gd name="connsiteY2110" fmla="*/ 4197 h 10000"/>
                  <a:gd name="connsiteX2111" fmla="*/ 1074 w 10785"/>
                  <a:gd name="connsiteY2111" fmla="*/ 4333 h 10000"/>
                  <a:gd name="connsiteX2112" fmla="*/ 1074 w 10785"/>
                  <a:gd name="connsiteY2112" fmla="*/ 4376 h 10000"/>
                  <a:gd name="connsiteX2113" fmla="*/ 1083 w 10785"/>
                  <a:gd name="connsiteY2113" fmla="*/ 4385 h 10000"/>
                  <a:gd name="connsiteX2114" fmla="*/ 1097 w 10785"/>
                  <a:gd name="connsiteY2114" fmla="*/ 4385 h 10000"/>
                  <a:gd name="connsiteX2115" fmla="*/ 1111 w 10785"/>
                  <a:gd name="connsiteY2115" fmla="*/ 4410 h 10000"/>
                  <a:gd name="connsiteX2116" fmla="*/ 1124 w 10785"/>
                  <a:gd name="connsiteY2116" fmla="*/ 4444 h 10000"/>
                  <a:gd name="connsiteX2117" fmla="*/ 1124 w 10785"/>
                  <a:gd name="connsiteY2117" fmla="*/ 4470 h 10000"/>
                  <a:gd name="connsiteX2118" fmla="*/ 1115 w 10785"/>
                  <a:gd name="connsiteY2118" fmla="*/ 4513 h 10000"/>
                  <a:gd name="connsiteX2119" fmla="*/ 1115 w 10785"/>
                  <a:gd name="connsiteY2119" fmla="*/ 4530 h 10000"/>
                  <a:gd name="connsiteX2120" fmla="*/ 1115 w 10785"/>
                  <a:gd name="connsiteY2120" fmla="*/ 4573 h 10000"/>
                  <a:gd name="connsiteX2121" fmla="*/ 1101 w 10785"/>
                  <a:gd name="connsiteY2121" fmla="*/ 4607 h 10000"/>
                  <a:gd name="connsiteX2122" fmla="*/ 1097 w 10785"/>
                  <a:gd name="connsiteY2122" fmla="*/ 4658 h 10000"/>
                  <a:gd name="connsiteX2123" fmla="*/ 1101 w 10785"/>
                  <a:gd name="connsiteY2123" fmla="*/ 4692 h 10000"/>
                  <a:gd name="connsiteX2124" fmla="*/ 1097 w 10785"/>
                  <a:gd name="connsiteY2124" fmla="*/ 4778 h 10000"/>
                  <a:gd name="connsiteX2125" fmla="*/ 1083 w 10785"/>
                  <a:gd name="connsiteY2125" fmla="*/ 4744 h 10000"/>
                  <a:gd name="connsiteX2126" fmla="*/ 1083 w 10785"/>
                  <a:gd name="connsiteY2126" fmla="*/ 4718 h 10000"/>
                  <a:gd name="connsiteX2127" fmla="*/ 1074 w 10785"/>
                  <a:gd name="connsiteY2127" fmla="*/ 4692 h 10000"/>
                  <a:gd name="connsiteX2128" fmla="*/ 1065 w 10785"/>
                  <a:gd name="connsiteY2128" fmla="*/ 4692 h 10000"/>
                  <a:gd name="connsiteX2129" fmla="*/ 1051 w 10785"/>
                  <a:gd name="connsiteY2129" fmla="*/ 4718 h 10000"/>
                  <a:gd name="connsiteX2130" fmla="*/ 1055 w 10785"/>
                  <a:gd name="connsiteY2130" fmla="*/ 4692 h 10000"/>
                  <a:gd name="connsiteX2131" fmla="*/ 1055 w 10785"/>
                  <a:gd name="connsiteY2131" fmla="*/ 4667 h 10000"/>
                  <a:gd name="connsiteX2132" fmla="*/ 1028 w 10785"/>
                  <a:gd name="connsiteY2132" fmla="*/ 4624 h 10000"/>
                  <a:gd name="connsiteX2133" fmla="*/ 1005 w 10785"/>
                  <a:gd name="connsiteY2133" fmla="*/ 4624 h 10000"/>
                  <a:gd name="connsiteX2134" fmla="*/ 977 w 10785"/>
                  <a:gd name="connsiteY2134" fmla="*/ 4581 h 10000"/>
                  <a:gd name="connsiteX2135" fmla="*/ 963 w 10785"/>
                  <a:gd name="connsiteY2135" fmla="*/ 4607 h 10000"/>
                  <a:gd name="connsiteX2136" fmla="*/ 963 w 10785"/>
                  <a:gd name="connsiteY2136" fmla="*/ 4632 h 10000"/>
                  <a:gd name="connsiteX2137" fmla="*/ 917 w 10785"/>
                  <a:gd name="connsiteY2137" fmla="*/ 4718 h 10000"/>
                  <a:gd name="connsiteX2138" fmla="*/ 889 w 10785"/>
                  <a:gd name="connsiteY2138" fmla="*/ 4744 h 10000"/>
                  <a:gd name="connsiteX2139" fmla="*/ 880 w 10785"/>
                  <a:gd name="connsiteY2139" fmla="*/ 4744 h 10000"/>
                  <a:gd name="connsiteX2140" fmla="*/ 862 w 10785"/>
                  <a:gd name="connsiteY2140" fmla="*/ 4769 h 10000"/>
                  <a:gd name="connsiteX2141" fmla="*/ 857 w 10785"/>
                  <a:gd name="connsiteY2141" fmla="*/ 4795 h 10000"/>
                  <a:gd name="connsiteX2142" fmla="*/ 829 w 10785"/>
                  <a:gd name="connsiteY2142" fmla="*/ 4846 h 10000"/>
                  <a:gd name="connsiteX2143" fmla="*/ 816 w 10785"/>
                  <a:gd name="connsiteY2143" fmla="*/ 4855 h 10000"/>
                  <a:gd name="connsiteX2144" fmla="*/ 816 w 10785"/>
                  <a:gd name="connsiteY2144" fmla="*/ 4940 h 10000"/>
                  <a:gd name="connsiteX2145" fmla="*/ 880 w 10785"/>
                  <a:gd name="connsiteY2145" fmla="*/ 5179 h 10000"/>
                  <a:gd name="connsiteX2146" fmla="*/ 880 w 10785"/>
                  <a:gd name="connsiteY2146" fmla="*/ 5188 h 10000"/>
                  <a:gd name="connsiteX2147" fmla="*/ 862 w 10785"/>
                  <a:gd name="connsiteY2147" fmla="*/ 5171 h 10000"/>
                  <a:gd name="connsiteX2148" fmla="*/ 857 w 10785"/>
                  <a:gd name="connsiteY2148" fmla="*/ 5171 h 10000"/>
                  <a:gd name="connsiteX2149" fmla="*/ 820 w 10785"/>
                  <a:gd name="connsiteY2149" fmla="*/ 5145 h 10000"/>
                  <a:gd name="connsiteX2150" fmla="*/ 820 w 10785"/>
                  <a:gd name="connsiteY2150" fmla="*/ 5154 h 10000"/>
                  <a:gd name="connsiteX2151" fmla="*/ 816 w 10785"/>
                  <a:gd name="connsiteY2151" fmla="*/ 5171 h 10000"/>
                  <a:gd name="connsiteX2152" fmla="*/ 783 w 10785"/>
                  <a:gd name="connsiteY2152" fmla="*/ 5145 h 10000"/>
                  <a:gd name="connsiteX2153" fmla="*/ 756 w 10785"/>
                  <a:gd name="connsiteY2153" fmla="*/ 5103 h 10000"/>
                  <a:gd name="connsiteX2154" fmla="*/ 742 w 10785"/>
                  <a:gd name="connsiteY2154" fmla="*/ 5103 h 10000"/>
                  <a:gd name="connsiteX2155" fmla="*/ 728 w 10785"/>
                  <a:gd name="connsiteY2155" fmla="*/ 5094 h 10000"/>
                  <a:gd name="connsiteX2156" fmla="*/ 710 w 10785"/>
                  <a:gd name="connsiteY2156" fmla="*/ 5120 h 10000"/>
                  <a:gd name="connsiteX2157" fmla="*/ 700 w 10785"/>
                  <a:gd name="connsiteY2157" fmla="*/ 5145 h 10000"/>
                  <a:gd name="connsiteX2158" fmla="*/ 696 w 10785"/>
                  <a:gd name="connsiteY2158" fmla="*/ 5103 h 10000"/>
                  <a:gd name="connsiteX2159" fmla="*/ 714 w 10785"/>
                  <a:gd name="connsiteY2159" fmla="*/ 5077 h 10000"/>
                  <a:gd name="connsiteX2160" fmla="*/ 682 w 10785"/>
                  <a:gd name="connsiteY2160" fmla="*/ 5068 h 10000"/>
                  <a:gd name="connsiteX2161" fmla="*/ 673 w 10785"/>
                  <a:gd name="connsiteY2161" fmla="*/ 5034 h 10000"/>
                  <a:gd name="connsiteX2162" fmla="*/ 636 w 10785"/>
                  <a:gd name="connsiteY2162" fmla="*/ 4991 h 10000"/>
                  <a:gd name="connsiteX2163" fmla="*/ 622 w 10785"/>
                  <a:gd name="connsiteY2163" fmla="*/ 4983 h 10000"/>
                  <a:gd name="connsiteX2164" fmla="*/ 622 w 10785"/>
                  <a:gd name="connsiteY2164" fmla="*/ 5034 h 10000"/>
                  <a:gd name="connsiteX2165" fmla="*/ 608 w 10785"/>
                  <a:gd name="connsiteY2165" fmla="*/ 5051 h 10000"/>
                  <a:gd name="connsiteX2166" fmla="*/ 594 w 10785"/>
                  <a:gd name="connsiteY2166" fmla="*/ 5068 h 10000"/>
                  <a:gd name="connsiteX2167" fmla="*/ 608 w 10785"/>
                  <a:gd name="connsiteY2167" fmla="*/ 5120 h 10000"/>
                  <a:gd name="connsiteX2168" fmla="*/ 613 w 10785"/>
                  <a:gd name="connsiteY2168" fmla="*/ 5128 h 10000"/>
                  <a:gd name="connsiteX2169" fmla="*/ 627 w 10785"/>
                  <a:gd name="connsiteY2169" fmla="*/ 5179 h 10000"/>
                  <a:gd name="connsiteX2170" fmla="*/ 650 w 10785"/>
                  <a:gd name="connsiteY2170" fmla="*/ 5214 h 10000"/>
                  <a:gd name="connsiteX2171" fmla="*/ 687 w 10785"/>
                  <a:gd name="connsiteY2171" fmla="*/ 5188 h 10000"/>
                  <a:gd name="connsiteX2172" fmla="*/ 700 w 10785"/>
                  <a:gd name="connsiteY2172" fmla="*/ 5325 h 10000"/>
                  <a:gd name="connsiteX2173" fmla="*/ 710 w 10785"/>
                  <a:gd name="connsiteY2173" fmla="*/ 5350 h 10000"/>
                  <a:gd name="connsiteX2174" fmla="*/ 687 w 10785"/>
                  <a:gd name="connsiteY2174" fmla="*/ 5325 h 10000"/>
                  <a:gd name="connsiteX2175" fmla="*/ 668 w 10785"/>
                  <a:gd name="connsiteY2175" fmla="*/ 5350 h 10000"/>
                  <a:gd name="connsiteX2176" fmla="*/ 668 w 10785"/>
                  <a:gd name="connsiteY2176" fmla="*/ 5368 h 10000"/>
                  <a:gd name="connsiteX2177" fmla="*/ 668 w 10785"/>
                  <a:gd name="connsiteY2177" fmla="*/ 5376 h 10000"/>
                  <a:gd name="connsiteX2178" fmla="*/ 581 w 10785"/>
                  <a:gd name="connsiteY2178" fmla="*/ 5316 h 10000"/>
                  <a:gd name="connsiteX2179" fmla="*/ 567 w 10785"/>
                  <a:gd name="connsiteY2179" fmla="*/ 5265 h 10000"/>
                  <a:gd name="connsiteX2180" fmla="*/ 562 w 10785"/>
                  <a:gd name="connsiteY2180" fmla="*/ 5256 h 10000"/>
                  <a:gd name="connsiteX2181" fmla="*/ 548 w 10785"/>
                  <a:gd name="connsiteY2181" fmla="*/ 5231 h 10000"/>
                  <a:gd name="connsiteX2182" fmla="*/ 535 w 10785"/>
                  <a:gd name="connsiteY2182" fmla="*/ 5214 h 10000"/>
                  <a:gd name="connsiteX2183" fmla="*/ 525 w 10785"/>
                  <a:gd name="connsiteY2183" fmla="*/ 5231 h 10000"/>
                  <a:gd name="connsiteX2184" fmla="*/ 521 w 10785"/>
                  <a:gd name="connsiteY2184" fmla="*/ 5231 h 10000"/>
                  <a:gd name="connsiteX2185" fmla="*/ 493 w 10785"/>
                  <a:gd name="connsiteY2185" fmla="*/ 5205 h 10000"/>
                  <a:gd name="connsiteX2186" fmla="*/ 488 w 10785"/>
                  <a:gd name="connsiteY2186" fmla="*/ 5179 h 10000"/>
                  <a:gd name="connsiteX2187" fmla="*/ 475 w 10785"/>
                  <a:gd name="connsiteY2187" fmla="*/ 5188 h 10000"/>
                  <a:gd name="connsiteX2188" fmla="*/ 475 w 10785"/>
                  <a:gd name="connsiteY2188" fmla="*/ 5171 h 10000"/>
                  <a:gd name="connsiteX2189" fmla="*/ 488 w 10785"/>
                  <a:gd name="connsiteY2189" fmla="*/ 5154 h 10000"/>
                  <a:gd name="connsiteX2190" fmla="*/ 488 w 10785"/>
                  <a:gd name="connsiteY2190" fmla="*/ 5068 h 10000"/>
                  <a:gd name="connsiteX2191" fmla="*/ 475 w 10785"/>
                  <a:gd name="connsiteY2191" fmla="*/ 5051 h 10000"/>
                  <a:gd name="connsiteX2192" fmla="*/ 475 w 10785"/>
                  <a:gd name="connsiteY2192" fmla="*/ 5017 h 10000"/>
                  <a:gd name="connsiteX2193" fmla="*/ 452 w 10785"/>
                  <a:gd name="connsiteY2193" fmla="*/ 4932 h 10000"/>
                  <a:gd name="connsiteX2194" fmla="*/ 461 w 10785"/>
                  <a:gd name="connsiteY2194" fmla="*/ 4915 h 10000"/>
                  <a:gd name="connsiteX2195" fmla="*/ 475 w 10785"/>
                  <a:gd name="connsiteY2195" fmla="*/ 4906 h 10000"/>
                  <a:gd name="connsiteX2196" fmla="*/ 479 w 10785"/>
                  <a:gd name="connsiteY2196" fmla="*/ 4803 h 10000"/>
                  <a:gd name="connsiteX2197" fmla="*/ 479 w 10785"/>
                  <a:gd name="connsiteY2197" fmla="*/ 4778 h 10000"/>
                  <a:gd name="connsiteX2198" fmla="*/ 475 w 10785"/>
                  <a:gd name="connsiteY2198" fmla="*/ 4761 h 10000"/>
                  <a:gd name="connsiteX2199" fmla="*/ 465 w 10785"/>
                  <a:gd name="connsiteY2199" fmla="*/ 4718 h 10000"/>
                  <a:gd name="connsiteX2200" fmla="*/ 461 w 10785"/>
                  <a:gd name="connsiteY2200" fmla="*/ 4709 h 10000"/>
                  <a:gd name="connsiteX2201" fmla="*/ 442 w 10785"/>
                  <a:gd name="connsiteY2201" fmla="*/ 4692 h 10000"/>
                  <a:gd name="connsiteX2202" fmla="*/ 433 w 10785"/>
                  <a:gd name="connsiteY2202" fmla="*/ 4667 h 10000"/>
                  <a:gd name="connsiteX2203" fmla="*/ 419 w 10785"/>
                  <a:gd name="connsiteY2203" fmla="*/ 4667 h 10000"/>
                  <a:gd name="connsiteX2204" fmla="*/ 401 w 10785"/>
                  <a:gd name="connsiteY2204" fmla="*/ 4658 h 10000"/>
                  <a:gd name="connsiteX2205" fmla="*/ 401 w 10785"/>
                  <a:gd name="connsiteY2205" fmla="*/ 4624 h 10000"/>
                  <a:gd name="connsiteX2206" fmla="*/ 401 w 10785"/>
                  <a:gd name="connsiteY2206" fmla="*/ 4607 h 10000"/>
                  <a:gd name="connsiteX2207" fmla="*/ 378 w 10785"/>
                  <a:gd name="connsiteY2207" fmla="*/ 4607 h 10000"/>
                  <a:gd name="connsiteX2208" fmla="*/ 341 w 10785"/>
                  <a:gd name="connsiteY2208" fmla="*/ 4530 h 10000"/>
                  <a:gd name="connsiteX2209" fmla="*/ 346 w 10785"/>
                  <a:gd name="connsiteY2209" fmla="*/ 4521 h 10000"/>
                  <a:gd name="connsiteX2210" fmla="*/ 332 w 10785"/>
                  <a:gd name="connsiteY2210" fmla="*/ 4487 h 10000"/>
                  <a:gd name="connsiteX2211" fmla="*/ 327 w 10785"/>
                  <a:gd name="connsiteY2211" fmla="*/ 4462 h 10000"/>
                  <a:gd name="connsiteX2212" fmla="*/ 313 w 10785"/>
                  <a:gd name="connsiteY2212" fmla="*/ 4436 h 10000"/>
                  <a:gd name="connsiteX2213" fmla="*/ 300 w 10785"/>
                  <a:gd name="connsiteY2213" fmla="*/ 4419 h 10000"/>
                  <a:gd name="connsiteX2214" fmla="*/ 309 w 10785"/>
                  <a:gd name="connsiteY2214" fmla="*/ 4393 h 10000"/>
                  <a:gd name="connsiteX2215" fmla="*/ 332 w 10785"/>
                  <a:gd name="connsiteY2215" fmla="*/ 4385 h 10000"/>
                  <a:gd name="connsiteX2216" fmla="*/ 355 w 10785"/>
                  <a:gd name="connsiteY2216" fmla="*/ 4419 h 10000"/>
                  <a:gd name="connsiteX2217" fmla="*/ 355 w 10785"/>
                  <a:gd name="connsiteY2217" fmla="*/ 4444 h 10000"/>
                  <a:gd name="connsiteX2218" fmla="*/ 369 w 10785"/>
                  <a:gd name="connsiteY2218" fmla="*/ 4470 h 10000"/>
                  <a:gd name="connsiteX2219" fmla="*/ 401 w 10785"/>
                  <a:gd name="connsiteY2219" fmla="*/ 4521 h 10000"/>
                  <a:gd name="connsiteX2220" fmla="*/ 406 w 10785"/>
                  <a:gd name="connsiteY2220" fmla="*/ 4513 h 10000"/>
                  <a:gd name="connsiteX2221" fmla="*/ 406 w 10785"/>
                  <a:gd name="connsiteY2221" fmla="*/ 4496 h 10000"/>
                  <a:gd name="connsiteX2222" fmla="*/ 419 w 10785"/>
                  <a:gd name="connsiteY2222" fmla="*/ 4521 h 10000"/>
                  <a:gd name="connsiteX2223" fmla="*/ 429 w 10785"/>
                  <a:gd name="connsiteY2223" fmla="*/ 4530 h 10000"/>
                  <a:gd name="connsiteX2224" fmla="*/ 433 w 10785"/>
                  <a:gd name="connsiteY2224" fmla="*/ 4521 h 10000"/>
                  <a:gd name="connsiteX2225" fmla="*/ 442 w 10785"/>
                  <a:gd name="connsiteY2225" fmla="*/ 4530 h 10000"/>
                  <a:gd name="connsiteX2226" fmla="*/ 447 w 10785"/>
                  <a:gd name="connsiteY2226" fmla="*/ 4521 h 10000"/>
                  <a:gd name="connsiteX2227" fmla="*/ 452 w 10785"/>
                  <a:gd name="connsiteY2227" fmla="*/ 4521 h 10000"/>
                  <a:gd name="connsiteX2228" fmla="*/ 461 w 10785"/>
                  <a:gd name="connsiteY2228" fmla="*/ 4573 h 10000"/>
                  <a:gd name="connsiteX2229" fmla="*/ 479 w 10785"/>
                  <a:gd name="connsiteY2229" fmla="*/ 4556 h 10000"/>
                  <a:gd name="connsiteX2230" fmla="*/ 502 w 10785"/>
                  <a:gd name="connsiteY2230" fmla="*/ 4573 h 10000"/>
                  <a:gd name="connsiteX2231" fmla="*/ 507 w 10785"/>
                  <a:gd name="connsiteY2231" fmla="*/ 4598 h 10000"/>
                  <a:gd name="connsiteX2232" fmla="*/ 525 w 10785"/>
                  <a:gd name="connsiteY2232" fmla="*/ 4598 h 10000"/>
                  <a:gd name="connsiteX2233" fmla="*/ 535 w 10785"/>
                  <a:gd name="connsiteY2233" fmla="*/ 4624 h 10000"/>
                  <a:gd name="connsiteX2234" fmla="*/ 594 w 10785"/>
                  <a:gd name="connsiteY2234" fmla="*/ 4658 h 10000"/>
                  <a:gd name="connsiteX2235" fmla="*/ 627 w 10785"/>
                  <a:gd name="connsiteY2235" fmla="*/ 4658 h 10000"/>
                  <a:gd name="connsiteX2236" fmla="*/ 654 w 10785"/>
                  <a:gd name="connsiteY2236" fmla="*/ 4684 h 10000"/>
                  <a:gd name="connsiteX2237" fmla="*/ 668 w 10785"/>
                  <a:gd name="connsiteY2237" fmla="*/ 4709 h 10000"/>
                  <a:gd name="connsiteX2238" fmla="*/ 747 w 10785"/>
                  <a:gd name="connsiteY2238" fmla="*/ 4718 h 10000"/>
                  <a:gd name="connsiteX2239" fmla="*/ 760 w 10785"/>
                  <a:gd name="connsiteY2239" fmla="*/ 4709 h 10000"/>
                  <a:gd name="connsiteX2240" fmla="*/ 774 w 10785"/>
                  <a:gd name="connsiteY2240" fmla="*/ 4692 h 10000"/>
                  <a:gd name="connsiteX2241" fmla="*/ 829 w 10785"/>
                  <a:gd name="connsiteY2241" fmla="*/ 4658 h 10000"/>
                  <a:gd name="connsiteX2242" fmla="*/ 903 w 10785"/>
                  <a:gd name="connsiteY2242" fmla="*/ 4496 h 10000"/>
                  <a:gd name="connsiteX2243" fmla="*/ 917 w 10785"/>
                  <a:gd name="connsiteY2243" fmla="*/ 4385 h 10000"/>
                  <a:gd name="connsiteX2244" fmla="*/ 903 w 10785"/>
                  <a:gd name="connsiteY2244" fmla="*/ 4376 h 10000"/>
                  <a:gd name="connsiteX2245" fmla="*/ 903 w 10785"/>
                  <a:gd name="connsiteY2245" fmla="*/ 4376 h 10000"/>
                  <a:gd name="connsiteX2246" fmla="*/ 889 w 10785"/>
                  <a:gd name="connsiteY2246" fmla="*/ 4239 h 10000"/>
                  <a:gd name="connsiteX2247" fmla="*/ 880 w 10785"/>
                  <a:gd name="connsiteY2247" fmla="*/ 4214 h 10000"/>
                  <a:gd name="connsiteX2248" fmla="*/ 862 w 10785"/>
                  <a:gd name="connsiteY2248" fmla="*/ 4188 h 10000"/>
                  <a:gd name="connsiteX2249" fmla="*/ 857 w 10785"/>
                  <a:gd name="connsiteY2249" fmla="*/ 4197 h 10000"/>
                  <a:gd name="connsiteX2250" fmla="*/ 848 w 10785"/>
                  <a:gd name="connsiteY2250" fmla="*/ 4188 h 10000"/>
                  <a:gd name="connsiteX2251" fmla="*/ 848 w 10785"/>
                  <a:gd name="connsiteY2251" fmla="*/ 4162 h 10000"/>
                  <a:gd name="connsiteX2252" fmla="*/ 829 w 10785"/>
                  <a:gd name="connsiteY2252" fmla="*/ 4120 h 10000"/>
                  <a:gd name="connsiteX2253" fmla="*/ 820 w 10785"/>
                  <a:gd name="connsiteY2253" fmla="*/ 4103 h 10000"/>
                  <a:gd name="connsiteX2254" fmla="*/ 806 w 10785"/>
                  <a:gd name="connsiteY2254" fmla="*/ 4077 h 10000"/>
                  <a:gd name="connsiteX2255" fmla="*/ 816 w 10785"/>
                  <a:gd name="connsiteY2255" fmla="*/ 4111 h 10000"/>
                  <a:gd name="connsiteX2256" fmla="*/ 802 w 10785"/>
                  <a:gd name="connsiteY2256" fmla="*/ 4111 h 10000"/>
                  <a:gd name="connsiteX2257" fmla="*/ 770 w 10785"/>
                  <a:gd name="connsiteY2257" fmla="*/ 4060 h 10000"/>
                  <a:gd name="connsiteX2258" fmla="*/ 760 w 10785"/>
                  <a:gd name="connsiteY2258" fmla="*/ 4077 h 10000"/>
                  <a:gd name="connsiteX2259" fmla="*/ 760 w 10785"/>
                  <a:gd name="connsiteY2259" fmla="*/ 4060 h 10000"/>
                  <a:gd name="connsiteX2260" fmla="*/ 756 w 10785"/>
                  <a:gd name="connsiteY2260" fmla="*/ 4034 h 10000"/>
                  <a:gd name="connsiteX2261" fmla="*/ 742 w 10785"/>
                  <a:gd name="connsiteY2261" fmla="*/ 4000 h 10000"/>
                  <a:gd name="connsiteX2262" fmla="*/ 747 w 10785"/>
                  <a:gd name="connsiteY2262" fmla="*/ 4034 h 10000"/>
                  <a:gd name="connsiteX2263" fmla="*/ 724 w 10785"/>
                  <a:gd name="connsiteY2263" fmla="*/ 4026 h 10000"/>
                  <a:gd name="connsiteX2264" fmla="*/ 714 w 10785"/>
                  <a:gd name="connsiteY2264" fmla="*/ 4000 h 10000"/>
                  <a:gd name="connsiteX2265" fmla="*/ 714 w 10785"/>
                  <a:gd name="connsiteY2265" fmla="*/ 3983 h 10000"/>
                  <a:gd name="connsiteX2266" fmla="*/ 553 w 10785"/>
                  <a:gd name="connsiteY2266" fmla="*/ 3726 h 10000"/>
                  <a:gd name="connsiteX2267" fmla="*/ 507 w 10785"/>
                  <a:gd name="connsiteY2267" fmla="*/ 3718 h 10000"/>
                  <a:gd name="connsiteX2268" fmla="*/ 516 w 10785"/>
                  <a:gd name="connsiteY2268" fmla="*/ 3726 h 10000"/>
                  <a:gd name="connsiteX2269" fmla="*/ 507 w 10785"/>
                  <a:gd name="connsiteY2269" fmla="*/ 3735 h 10000"/>
                  <a:gd name="connsiteX2270" fmla="*/ 502 w 10785"/>
                  <a:gd name="connsiteY2270" fmla="*/ 3735 h 10000"/>
                  <a:gd name="connsiteX2271" fmla="*/ 419 w 10785"/>
                  <a:gd name="connsiteY2271" fmla="*/ 3675 h 10000"/>
                  <a:gd name="connsiteX2272" fmla="*/ 419 w 10785"/>
                  <a:gd name="connsiteY2272" fmla="*/ 3692 h 10000"/>
                  <a:gd name="connsiteX2273" fmla="*/ 401 w 10785"/>
                  <a:gd name="connsiteY2273" fmla="*/ 3701 h 10000"/>
                  <a:gd name="connsiteX2274" fmla="*/ 387 w 10785"/>
                  <a:gd name="connsiteY2274" fmla="*/ 3718 h 10000"/>
                  <a:gd name="connsiteX2275" fmla="*/ 387 w 10785"/>
                  <a:gd name="connsiteY2275" fmla="*/ 3692 h 10000"/>
                  <a:gd name="connsiteX2276" fmla="*/ 378 w 10785"/>
                  <a:gd name="connsiteY2276" fmla="*/ 3675 h 10000"/>
                  <a:gd name="connsiteX2277" fmla="*/ 378 w 10785"/>
                  <a:gd name="connsiteY2277" fmla="*/ 3650 h 10000"/>
                  <a:gd name="connsiteX2278" fmla="*/ 378 w 10785"/>
                  <a:gd name="connsiteY2278" fmla="*/ 3650 h 10000"/>
                  <a:gd name="connsiteX2279" fmla="*/ 355 w 10785"/>
                  <a:gd name="connsiteY2279" fmla="*/ 3675 h 10000"/>
                  <a:gd name="connsiteX2280" fmla="*/ 359 w 10785"/>
                  <a:gd name="connsiteY2280" fmla="*/ 3641 h 10000"/>
                  <a:gd name="connsiteX2281" fmla="*/ 346 w 10785"/>
                  <a:gd name="connsiteY2281" fmla="*/ 3650 h 10000"/>
                  <a:gd name="connsiteX2282" fmla="*/ 355 w 10785"/>
                  <a:gd name="connsiteY2282" fmla="*/ 3624 h 10000"/>
                  <a:gd name="connsiteX2283" fmla="*/ 346 w 10785"/>
                  <a:gd name="connsiteY2283" fmla="*/ 3624 h 10000"/>
                  <a:gd name="connsiteX2284" fmla="*/ 341 w 10785"/>
                  <a:gd name="connsiteY2284" fmla="*/ 3624 h 10000"/>
                  <a:gd name="connsiteX2285" fmla="*/ 318 w 10785"/>
                  <a:gd name="connsiteY2285" fmla="*/ 3641 h 10000"/>
                  <a:gd name="connsiteX2286" fmla="*/ 327 w 10785"/>
                  <a:gd name="connsiteY2286" fmla="*/ 3624 h 10000"/>
                  <a:gd name="connsiteX2287" fmla="*/ 318 w 10785"/>
                  <a:gd name="connsiteY2287" fmla="*/ 3615 h 10000"/>
                  <a:gd name="connsiteX2288" fmla="*/ 318 w 10785"/>
                  <a:gd name="connsiteY2288" fmla="*/ 3598 h 10000"/>
                  <a:gd name="connsiteX2289" fmla="*/ 300 w 10785"/>
                  <a:gd name="connsiteY2289" fmla="*/ 3598 h 10000"/>
                  <a:gd name="connsiteX2290" fmla="*/ 309 w 10785"/>
                  <a:gd name="connsiteY2290" fmla="*/ 3538 h 10000"/>
                  <a:gd name="connsiteX2291" fmla="*/ 313 w 10785"/>
                  <a:gd name="connsiteY2291" fmla="*/ 3564 h 10000"/>
                  <a:gd name="connsiteX2292" fmla="*/ 318 w 10785"/>
                  <a:gd name="connsiteY2292" fmla="*/ 3581 h 10000"/>
                  <a:gd name="connsiteX2293" fmla="*/ 327 w 10785"/>
                  <a:gd name="connsiteY2293" fmla="*/ 3564 h 10000"/>
                  <a:gd name="connsiteX2294" fmla="*/ 332 w 10785"/>
                  <a:gd name="connsiteY2294" fmla="*/ 3590 h 10000"/>
                  <a:gd name="connsiteX2295" fmla="*/ 346 w 10785"/>
                  <a:gd name="connsiteY2295" fmla="*/ 3590 h 10000"/>
                  <a:gd name="connsiteX2296" fmla="*/ 355 w 10785"/>
                  <a:gd name="connsiteY2296" fmla="*/ 3590 h 10000"/>
                  <a:gd name="connsiteX2297" fmla="*/ 369 w 10785"/>
                  <a:gd name="connsiteY2297" fmla="*/ 3556 h 10000"/>
                  <a:gd name="connsiteX2298" fmla="*/ 369 w 10785"/>
                  <a:gd name="connsiteY2298" fmla="*/ 3538 h 10000"/>
                  <a:gd name="connsiteX2299" fmla="*/ 346 w 10785"/>
                  <a:gd name="connsiteY2299" fmla="*/ 3513 h 10000"/>
                  <a:gd name="connsiteX2300" fmla="*/ 341 w 10785"/>
                  <a:gd name="connsiteY2300" fmla="*/ 3530 h 10000"/>
                  <a:gd name="connsiteX2301" fmla="*/ 327 w 10785"/>
                  <a:gd name="connsiteY2301" fmla="*/ 3513 h 10000"/>
                  <a:gd name="connsiteX2302" fmla="*/ 327 w 10785"/>
                  <a:gd name="connsiteY2302" fmla="*/ 3504 h 10000"/>
                  <a:gd name="connsiteX2303" fmla="*/ 295 w 10785"/>
                  <a:gd name="connsiteY2303" fmla="*/ 3462 h 10000"/>
                  <a:gd name="connsiteX2304" fmla="*/ 300 w 10785"/>
                  <a:gd name="connsiteY2304" fmla="*/ 3479 h 10000"/>
                  <a:gd name="connsiteX2305" fmla="*/ 295 w 10785"/>
                  <a:gd name="connsiteY2305" fmla="*/ 3513 h 10000"/>
                  <a:gd name="connsiteX2306" fmla="*/ 286 w 10785"/>
                  <a:gd name="connsiteY2306" fmla="*/ 3513 h 10000"/>
                  <a:gd name="connsiteX2307" fmla="*/ 281 w 10785"/>
                  <a:gd name="connsiteY2307" fmla="*/ 3513 h 10000"/>
                  <a:gd name="connsiteX2308" fmla="*/ 281 w 10785"/>
                  <a:gd name="connsiteY2308" fmla="*/ 3530 h 10000"/>
                  <a:gd name="connsiteX2309" fmla="*/ 281 w 10785"/>
                  <a:gd name="connsiteY2309" fmla="*/ 3556 h 10000"/>
                  <a:gd name="connsiteX2310" fmla="*/ 272 w 10785"/>
                  <a:gd name="connsiteY2310" fmla="*/ 3564 h 10000"/>
                  <a:gd name="connsiteX2311" fmla="*/ 267 w 10785"/>
                  <a:gd name="connsiteY2311" fmla="*/ 3564 h 10000"/>
                  <a:gd name="connsiteX2312" fmla="*/ 253 w 10785"/>
                  <a:gd name="connsiteY2312" fmla="*/ 3538 h 10000"/>
                  <a:gd name="connsiteX2313" fmla="*/ 226 w 10785"/>
                  <a:gd name="connsiteY2313" fmla="*/ 3513 h 10000"/>
                  <a:gd name="connsiteX2314" fmla="*/ 226 w 10785"/>
                  <a:gd name="connsiteY2314" fmla="*/ 3530 h 10000"/>
                  <a:gd name="connsiteX2315" fmla="*/ 226 w 10785"/>
                  <a:gd name="connsiteY2315" fmla="*/ 3530 h 10000"/>
                  <a:gd name="connsiteX2316" fmla="*/ 226 w 10785"/>
                  <a:gd name="connsiteY2316" fmla="*/ 3530 h 10000"/>
                  <a:gd name="connsiteX2317" fmla="*/ 226 w 10785"/>
                  <a:gd name="connsiteY2317" fmla="*/ 3556 h 10000"/>
                  <a:gd name="connsiteX2318" fmla="*/ 221 w 10785"/>
                  <a:gd name="connsiteY2318" fmla="*/ 3598 h 10000"/>
                  <a:gd name="connsiteX2319" fmla="*/ 207 w 10785"/>
                  <a:gd name="connsiteY2319" fmla="*/ 3598 h 10000"/>
                  <a:gd name="connsiteX2320" fmla="*/ 180 w 10785"/>
                  <a:gd name="connsiteY2320" fmla="*/ 3581 h 10000"/>
                  <a:gd name="connsiteX2321" fmla="*/ 171 w 10785"/>
                  <a:gd name="connsiteY2321" fmla="*/ 3641 h 10000"/>
                  <a:gd name="connsiteX2322" fmla="*/ 166 w 10785"/>
                  <a:gd name="connsiteY2322" fmla="*/ 3650 h 10000"/>
                  <a:gd name="connsiteX2323" fmla="*/ 124 w 10785"/>
                  <a:gd name="connsiteY2323" fmla="*/ 3701 h 10000"/>
                  <a:gd name="connsiteX2324" fmla="*/ 124 w 10785"/>
                  <a:gd name="connsiteY2324" fmla="*/ 3718 h 10000"/>
                  <a:gd name="connsiteX2325" fmla="*/ 120 w 10785"/>
                  <a:gd name="connsiteY2325" fmla="*/ 3735 h 10000"/>
                  <a:gd name="connsiteX2326" fmla="*/ 120 w 10785"/>
                  <a:gd name="connsiteY2326" fmla="*/ 3735 h 10000"/>
                  <a:gd name="connsiteX2327" fmla="*/ 111 w 10785"/>
                  <a:gd name="connsiteY2327" fmla="*/ 3761 h 10000"/>
                  <a:gd name="connsiteX2328" fmla="*/ 106 w 10785"/>
                  <a:gd name="connsiteY2328" fmla="*/ 3761 h 10000"/>
                  <a:gd name="connsiteX2329" fmla="*/ 106 w 10785"/>
                  <a:gd name="connsiteY2329" fmla="*/ 3761 h 10000"/>
                  <a:gd name="connsiteX2330" fmla="*/ 74 w 10785"/>
                  <a:gd name="connsiteY2330" fmla="*/ 3829 h 10000"/>
                  <a:gd name="connsiteX2331" fmla="*/ 78 w 10785"/>
                  <a:gd name="connsiteY2331" fmla="*/ 3838 h 10000"/>
                  <a:gd name="connsiteX2332" fmla="*/ 88 w 10785"/>
                  <a:gd name="connsiteY2332" fmla="*/ 3846 h 10000"/>
                  <a:gd name="connsiteX2333" fmla="*/ 65 w 10785"/>
                  <a:gd name="connsiteY2333" fmla="*/ 3923 h 10000"/>
                  <a:gd name="connsiteX2334" fmla="*/ 78 w 10785"/>
                  <a:gd name="connsiteY2334" fmla="*/ 4026 h 10000"/>
                  <a:gd name="connsiteX2335" fmla="*/ 88 w 10785"/>
                  <a:gd name="connsiteY2335" fmla="*/ 4051 h 10000"/>
                  <a:gd name="connsiteX2336" fmla="*/ 92 w 10785"/>
                  <a:gd name="connsiteY2336" fmla="*/ 4060 h 10000"/>
                  <a:gd name="connsiteX2337" fmla="*/ 111 w 10785"/>
                  <a:gd name="connsiteY2337" fmla="*/ 4060 h 10000"/>
                  <a:gd name="connsiteX2338" fmla="*/ 124 w 10785"/>
                  <a:gd name="connsiteY2338" fmla="*/ 4085 h 10000"/>
                  <a:gd name="connsiteX2339" fmla="*/ 166 w 10785"/>
                  <a:gd name="connsiteY2339" fmla="*/ 4197 h 10000"/>
                  <a:gd name="connsiteX2340" fmla="*/ 166 w 10785"/>
                  <a:gd name="connsiteY2340" fmla="*/ 4248 h 10000"/>
                  <a:gd name="connsiteX2341" fmla="*/ 120 w 10785"/>
                  <a:gd name="connsiteY2341" fmla="*/ 4462 h 10000"/>
                  <a:gd name="connsiteX2342" fmla="*/ 120 w 10785"/>
                  <a:gd name="connsiteY2342" fmla="*/ 4513 h 10000"/>
                  <a:gd name="connsiteX2343" fmla="*/ 180 w 10785"/>
                  <a:gd name="connsiteY2343" fmla="*/ 4829 h 10000"/>
                  <a:gd name="connsiteX2344" fmla="*/ 161 w 10785"/>
                  <a:gd name="connsiteY2344" fmla="*/ 4855 h 10000"/>
                  <a:gd name="connsiteX2345" fmla="*/ 152 w 10785"/>
                  <a:gd name="connsiteY2345" fmla="*/ 4940 h 10000"/>
                  <a:gd name="connsiteX2346" fmla="*/ 161 w 10785"/>
                  <a:gd name="connsiteY2346" fmla="*/ 4966 h 10000"/>
                  <a:gd name="connsiteX2347" fmla="*/ 161 w 10785"/>
                  <a:gd name="connsiteY2347" fmla="*/ 5009 h 10000"/>
                  <a:gd name="connsiteX2348" fmla="*/ 152 w 10785"/>
                  <a:gd name="connsiteY2348" fmla="*/ 5034 h 10000"/>
                  <a:gd name="connsiteX2349" fmla="*/ 152 w 10785"/>
                  <a:gd name="connsiteY2349" fmla="*/ 5077 h 10000"/>
                  <a:gd name="connsiteX2350" fmla="*/ 171 w 10785"/>
                  <a:gd name="connsiteY2350" fmla="*/ 5094 h 10000"/>
                  <a:gd name="connsiteX2351" fmla="*/ 180 w 10785"/>
                  <a:gd name="connsiteY2351" fmla="*/ 5128 h 10000"/>
                  <a:gd name="connsiteX2352" fmla="*/ 180 w 10785"/>
                  <a:gd name="connsiteY2352" fmla="*/ 5171 h 10000"/>
                  <a:gd name="connsiteX2353" fmla="*/ 184 w 10785"/>
                  <a:gd name="connsiteY2353" fmla="*/ 5205 h 10000"/>
                  <a:gd name="connsiteX2354" fmla="*/ 207 w 10785"/>
                  <a:gd name="connsiteY2354" fmla="*/ 5239 h 10000"/>
                  <a:gd name="connsiteX2355" fmla="*/ 207 w 10785"/>
                  <a:gd name="connsiteY2355" fmla="*/ 5282 h 10000"/>
                  <a:gd name="connsiteX2356" fmla="*/ 180 w 10785"/>
                  <a:gd name="connsiteY2356" fmla="*/ 5393 h 10000"/>
                  <a:gd name="connsiteX2357" fmla="*/ 194 w 10785"/>
                  <a:gd name="connsiteY2357" fmla="*/ 5427 h 10000"/>
                  <a:gd name="connsiteX2358" fmla="*/ 198 w 10785"/>
                  <a:gd name="connsiteY2358" fmla="*/ 5462 h 10000"/>
                  <a:gd name="connsiteX2359" fmla="*/ 235 w 10785"/>
                  <a:gd name="connsiteY2359" fmla="*/ 5513 h 10000"/>
                  <a:gd name="connsiteX2360" fmla="*/ 240 w 10785"/>
                  <a:gd name="connsiteY2360" fmla="*/ 5556 h 10000"/>
                  <a:gd name="connsiteX2361" fmla="*/ 253 w 10785"/>
                  <a:gd name="connsiteY2361" fmla="*/ 5590 h 10000"/>
                  <a:gd name="connsiteX2362" fmla="*/ 258 w 10785"/>
                  <a:gd name="connsiteY2362" fmla="*/ 5573 h 10000"/>
                  <a:gd name="connsiteX2363" fmla="*/ 258 w 10785"/>
                  <a:gd name="connsiteY2363" fmla="*/ 5667 h 10000"/>
                  <a:gd name="connsiteX2364" fmla="*/ 14 w 10785"/>
                  <a:gd name="connsiteY2364" fmla="*/ 6214 h 10000"/>
                  <a:gd name="connsiteX2365" fmla="*/ 14 w 10785"/>
                  <a:gd name="connsiteY2365" fmla="*/ 6214 h 10000"/>
                  <a:gd name="connsiteX2366" fmla="*/ 37 w 10785"/>
                  <a:gd name="connsiteY2366" fmla="*/ 6214 h 10000"/>
                  <a:gd name="connsiteX2367" fmla="*/ 51 w 10785"/>
                  <a:gd name="connsiteY2367" fmla="*/ 6188 h 10000"/>
                  <a:gd name="connsiteX2368" fmla="*/ 78 w 10785"/>
                  <a:gd name="connsiteY2368" fmla="*/ 6162 h 10000"/>
                  <a:gd name="connsiteX2369" fmla="*/ 78 w 10785"/>
                  <a:gd name="connsiteY2369" fmla="*/ 6188 h 10000"/>
                  <a:gd name="connsiteX2370" fmla="*/ 74 w 10785"/>
                  <a:gd name="connsiteY2370" fmla="*/ 6197 h 10000"/>
                  <a:gd name="connsiteX2371" fmla="*/ 74 w 10785"/>
                  <a:gd name="connsiteY2371" fmla="*/ 6231 h 10000"/>
                  <a:gd name="connsiteX2372" fmla="*/ 74 w 10785"/>
                  <a:gd name="connsiteY2372" fmla="*/ 6214 h 10000"/>
                  <a:gd name="connsiteX2373" fmla="*/ 65 w 10785"/>
                  <a:gd name="connsiteY2373" fmla="*/ 6214 h 10000"/>
                  <a:gd name="connsiteX2374" fmla="*/ 65 w 10785"/>
                  <a:gd name="connsiteY2374" fmla="*/ 6248 h 10000"/>
                  <a:gd name="connsiteX2375" fmla="*/ 74 w 10785"/>
                  <a:gd name="connsiteY2375" fmla="*/ 6256 h 10000"/>
                  <a:gd name="connsiteX2376" fmla="*/ 78 w 10785"/>
                  <a:gd name="connsiteY2376" fmla="*/ 6256 h 10000"/>
                  <a:gd name="connsiteX2377" fmla="*/ 106 w 10785"/>
                  <a:gd name="connsiteY2377" fmla="*/ 6308 h 10000"/>
                  <a:gd name="connsiteX2378" fmla="*/ 138 w 10785"/>
                  <a:gd name="connsiteY2378" fmla="*/ 6299 h 10000"/>
                  <a:gd name="connsiteX2379" fmla="*/ 152 w 10785"/>
                  <a:gd name="connsiteY2379" fmla="*/ 6299 h 10000"/>
                  <a:gd name="connsiteX2380" fmla="*/ 166 w 10785"/>
                  <a:gd name="connsiteY2380" fmla="*/ 6325 h 10000"/>
                  <a:gd name="connsiteX2381" fmla="*/ 166 w 10785"/>
                  <a:gd name="connsiteY2381" fmla="*/ 6333 h 10000"/>
                  <a:gd name="connsiteX2382" fmla="*/ 171 w 10785"/>
                  <a:gd name="connsiteY2382" fmla="*/ 6350 h 10000"/>
                  <a:gd name="connsiteX2383" fmla="*/ 180 w 10785"/>
                  <a:gd name="connsiteY2383" fmla="*/ 6350 h 10000"/>
                  <a:gd name="connsiteX2384" fmla="*/ 180 w 10785"/>
                  <a:gd name="connsiteY2384" fmla="*/ 6359 h 10000"/>
                  <a:gd name="connsiteX2385" fmla="*/ 171 w 10785"/>
                  <a:gd name="connsiteY2385" fmla="*/ 6368 h 10000"/>
                  <a:gd name="connsiteX2386" fmla="*/ 106 w 10785"/>
                  <a:gd name="connsiteY2386" fmla="*/ 6350 h 10000"/>
                  <a:gd name="connsiteX2387" fmla="*/ 101 w 10785"/>
                  <a:gd name="connsiteY2387" fmla="*/ 6359 h 10000"/>
                  <a:gd name="connsiteX2388" fmla="*/ 101 w 10785"/>
                  <a:gd name="connsiteY2388" fmla="*/ 6385 h 10000"/>
                  <a:gd name="connsiteX2389" fmla="*/ 78 w 10785"/>
                  <a:gd name="connsiteY2389" fmla="*/ 6393 h 10000"/>
                  <a:gd name="connsiteX2390" fmla="*/ 74 w 10785"/>
                  <a:gd name="connsiteY2390" fmla="*/ 6385 h 10000"/>
                  <a:gd name="connsiteX2391" fmla="*/ 65 w 10785"/>
                  <a:gd name="connsiteY2391" fmla="*/ 6393 h 10000"/>
                  <a:gd name="connsiteX2392" fmla="*/ 60 w 10785"/>
                  <a:gd name="connsiteY2392" fmla="*/ 6419 h 10000"/>
                  <a:gd name="connsiteX2393" fmla="*/ 51 w 10785"/>
                  <a:gd name="connsiteY2393" fmla="*/ 6419 h 10000"/>
                  <a:gd name="connsiteX2394" fmla="*/ 46 w 10785"/>
                  <a:gd name="connsiteY2394" fmla="*/ 6410 h 10000"/>
                  <a:gd name="connsiteX2395" fmla="*/ 37 w 10785"/>
                  <a:gd name="connsiteY2395" fmla="*/ 6393 h 10000"/>
                  <a:gd name="connsiteX2396" fmla="*/ 32 w 10785"/>
                  <a:gd name="connsiteY2396" fmla="*/ 6419 h 10000"/>
                  <a:gd name="connsiteX2397" fmla="*/ 37 w 10785"/>
                  <a:gd name="connsiteY2397" fmla="*/ 6462 h 10000"/>
                  <a:gd name="connsiteX2398" fmla="*/ 46 w 10785"/>
                  <a:gd name="connsiteY2398" fmla="*/ 6462 h 10000"/>
                  <a:gd name="connsiteX2399" fmla="*/ 51 w 10785"/>
                  <a:gd name="connsiteY2399" fmla="*/ 6470 h 10000"/>
                  <a:gd name="connsiteX2400" fmla="*/ 51 w 10785"/>
                  <a:gd name="connsiteY2400" fmla="*/ 6496 h 10000"/>
                  <a:gd name="connsiteX2401" fmla="*/ 51 w 10785"/>
                  <a:gd name="connsiteY2401" fmla="*/ 6504 h 10000"/>
                  <a:gd name="connsiteX2402" fmla="*/ 37 w 10785"/>
                  <a:gd name="connsiteY2402" fmla="*/ 6530 h 10000"/>
                  <a:gd name="connsiteX2403" fmla="*/ 18 w 10785"/>
                  <a:gd name="connsiteY2403" fmla="*/ 6598 h 10000"/>
                  <a:gd name="connsiteX2404" fmla="*/ 28 w 10785"/>
                  <a:gd name="connsiteY2404" fmla="*/ 6632 h 10000"/>
                  <a:gd name="connsiteX2405" fmla="*/ 18 w 10785"/>
                  <a:gd name="connsiteY2405" fmla="*/ 6667 h 10000"/>
                  <a:gd name="connsiteX2406" fmla="*/ 28 w 10785"/>
                  <a:gd name="connsiteY2406" fmla="*/ 6692 h 10000"/>
                  <a:gd name="connsiteX2407" fmla="*/ 28 w 10785"/>
                  <a:gd name="connsiteY2407" fmla="*/ 6709 h 10000"/>
                  <a:gd name="connsiteX2408" fmla="*/ 18 w 10785"/>
                  <a:gd name="connsiteY2408" fmla="*/ 6718 h 10000"/>
                  <a:gd name="connsiteX2409" fmla="*/ 5 w 10785"/>
                  <a:gd name="connsiteY2409" fmla="*/ 6744 h 10000"/>
                  <a:gd name="connsiteX2410" fmla="*/ 0 w 10785"/>
                  <a:gd name="connsiteY2410" fmla="*/ 6769 h 10000"/>
                  <a:gd name="connsiteX2411" fmla="*/ 5 w 10785"/>
                  <a:gd name="connsiteY2411" fmla="*/ 6778 h 10000"/>
                  <a:gd name="connsiteX2412" fmla="*/ 32 w 10785"/>
                  <a:gd name="connsiteY2412" fmla="*/ 6778 h 10000"/>
                  <a:gd name="connsiteX2413" fmla="*/ 46 w 10785"/>
                  <a:gd name="connsiteY2413" fmla="*/ 6821 h 10000"/>
                  <a:gd name="connsiteX2414" fmla="*/ 46 w 10785"/>
                  <a:gd name="connsiteY2414" fmla="*/ 6855 h 10000"/>
                  <a:gd name="connsiteX2415" fmla="*/ 32 w 10785"/>
                  <a:gd name="connsiteY2415" fmla="*/ 6855 h 10000"/>
                  <a:gd name="connsiteX2416" fmla="*/ 14 w 10785"/>
                  <a:gd name="connsiteY2416" fmla="*/ 6821 h 10000"/>
                  <a:gd name="connsiteX2417" fmla="*/ 14 w 10785"/>
                  <a:gd name="connsiteY2417" fmla="*/ 6846 h 10000"/>
                  <a:gd name="connsiteX2418" fmla="*/ 0 w 10785"/>
                  <a:gd name="connsiteY2418" fmla="*/ 6897 h 10000"/>
                  <a:gd name="connsiteX2419" fmla="*/ 0 w 10785"/>
                  <a:gd name="connsiteY2419" fmla="*/ 6915 h 10000"/>
                  <a:gd name="connsiteX2420" fmla="*/ 5 w 10785"/>
                  <a:gd name="connsiteY2420" fmla="*/ 6932 h 10000"/>
                  <a:gd name="connsiteX2421" fmla="*/ 14 w 10785"/>
                  <a:gd name="connsiteY2421" fmla="*/ 6940 h 10000"/>
                  <a:gd name="connsiteX2422" fmla="*/ 18 w 10785"/>
                  <a:gd name="connsiteY2422" fmla="*/ 6957 h 10000"/>
                  <a:gd name="connsiteX2423" fmla="*/ 28 w 10785"/>
                  <a:gd name="connsiteY2423" fmla="*/ 6966 h 10000"/>
                  <a:gd name="connsiteX2424" fmla="*/ 28 w 10785"/>
                  <a:gd name="connsiteY2424" fmla="*/ 6983 h 10000"/>
                  <a:gd name="connsiteX2425" fmla="*/ 18 w 10785"/>
                  <a:gd name="connsiteY2425" fmla="*/ 7051 h 10000"/>
                  <a:gd name="connsiteX2426" fmla="*/ 28 w 10785"/>
                  <a:gd name="connsiteY2426" fmla="*/ 7068 h 10000"/>
                  <a:gd name="connsiteX2427" fmla="*/ 32 w 10785"/>
                  <a:gd name="connsiteY2427" fmla="*/ 7068 h 10000"/>
                  <a:gd name="connsiteX2428" fmla="*/ 32 w 10785"/>
                  <a:gd name="connsiteY2428" fmla="*/ 7094 h 10000"/>
                  <a:gd name="connsiteX2429" fmla="*/ 60 w 10785"/>
                  <a:gd name="connsiteY2429" fmla="*/ 7162 h 10000"/>
                  <a:gd name="connsiteX2430" fmla="*/ 60 w 10785"/>
                  <a:gd name="connsiteY2430" fmla="*/ 7231 h 10000"/>
                  <a:gd name="connsiteX2431" fmla="*/ 60 w 10785"/>
                  <a:gd name="connsiteY2431" fmla="*/ 7239 h 10000"/>
                  <a:gd name="connsiteX2432" fmla="*/ 78 w 10785"/>
                  <a:gd name="connsiteY2432" fmla="*/ 7239 h 10000"/>
                  <a:gd name="connsiteX2433" fmla="*/ 88 w 10785"/>
                  <a:gd name="connsiteY2433" fmla="*/ 7239 h 10000"/>
                  <a:gd name="connsiteX2434" fmla="*/ 92 w 10785"/>
                  <a:gd name="connsiteY2434" fmla="*/ 7256 h 10000"/>
                  <a:gd name="connsiteX2435" fmla="*/ 111 w 10785"/>
                  <a:gd name="connsiteY2435" fmla="*/ 7256 h 10000"/>
                  <a:gd name="connsiteX2436" fmla="*/ 120 w 10785"/>
                  <a:gd name="connsiteY2436" fmla="*/ 7256 h 10000"/>
                  <a:gd name="connsiteX2437" fmla="*/ 134 w 10785"/>
                  <a:gd name="connsiteY2437" fmla="*/ 7282 h 10000"/>
                  <a:gd name="connsiteX2438" fmla="*/ 134 w 10785"/>
                  <a:gd name="connsiteY2438" fmla="*/ 7316 h 10000"/>
                  <a:gd name="connsiteX2439" fmla="*/ 152 w 10785"/>
                  <a:gd name="connsiteY2439" fmla="*/ 7299 h 10000"/>
                  <a:gd name="connsiteX2440" fmla="*/ 161 w 10785"/>
                  <a:gd name="connsiteY2440" fmla="*/ 7299 h 10000"/>
                  <a:gd name="connsiteX2441" fmla="*/ 166 w 10785"/>
                  <a:gd name="connsiteY2441" fmla="*/ 7291 h 10000"/>
                  <a:gd name="connsiteX2442" fmla="*/ 194 w 10785"/>
                  <a:gd name="connsiteY2442" fmla="*/ 7291 h 10000"/>
                  <a:gd name="connsiteX2443" fmla="*/ 207 w 10785"/>
                  <a:gd name="connsiteY2443" fmla="*/ 7299 h 10000"/>
                  <a:gd name="connsiteX2444" fmla="*/ 221 w 10785"/>
                  <a:gd name="connsiteY2444" fmla="*/ 7342 h 10000"/>
                  <a:gd name="connsiteX2445" fmla="*/ 235 w 10785"/>
                  <a:gd name="connsiteY2445" fmla="*/ 7342 h 10000"/>
                  <a:gd name="connsiteX2446" fmla="*/ 235 w 10785"/>
                  <a:gd name="connsiteY2446" fmla="*/ 7368 h 10000"/>
                  <a:gd name="connsiteX2447" fmla="*/ 226 w 10785"/>
                  <a:gd name="connsiteY2447" fmla="*/ 7393 h 10000"/>
                  <a:gd name="connsiteX2448" fmla="*/ 226 w 10785"/>
                  <a:gd name="connsiteY2448" fmla="*/ 7402 h 10000"/>
                  <a:gd name="connsiteX2449" fmla="*/ 235 w 10785"/>
                  <a:gd name="connsiteY2449" fmla="*/ 7419 h 10000"/>
                  <a:gd name="connsiteX2450" fmla="*/ 240 w 10785"/>
                  <a:gd name="connsiteY2450" fmla="*/ 7436 h 10000"/>
                  <a:gd name="connsiteX2451" fmla="*/ 235 w 10785"/>
                  <a:gd name="connsiteY2451" fmla="*/ 7462 h 10000"/>
                  <a:gd name="connsiteX2452" fmla="*/ 226 w 10785"/>
                  <a:gd name="connsiteY2452" fmla="*/ 7479 h 10000"/>
                  <a:gd name="connsiteX2453" fmla="*/ 226 w 10785"/>
                  <a:gd name="connsiteY2453" fmla="*/ 7504 h 10000"/>
                  <a:gd name="connsiteX2454" fmla="*/ 226 w 10785"/>
                  <a:gd name="connsiteY2454" fmla="*/ 7513 h 10000"/>
                  <a:gd name="connsiteX2455" fmla="*/ 240 w 10785"/>
                  <a:gd name="connsiteY2455" fmla="*/ 7538 h 10000"/>
                  <a:gd name="connsiteX2456" fmla="*/ 267 w 10785"/>
                  <a:gd name="connsiteY2456" fmla="*/ 7641 h 10000"/>
                  <a:gd name="connsiteX2457" fmla="*/ 281 w 10785"/>
                  <a:gd name="connsiteY2457" fmla="*/ 7667 h 10000"/>
                  <a:gd name="connsiteX2458" fmla="*/ 286 w 10785"/>
                  <a:gd name="connsiteY2458" fmla="*/ 7675 h 10000"/>
                  <a:gd name="connsiteX2459" fmla="*/ 286 w 10785"/>
                  <a:gd name="connsiteY2459" fmla="*/ 7692 h 10000"/>
                  <a:gd name="connsiteX2460" fmla="*/ 286 w 10785"/>
                  <a:gd name="connsiteY2460" fmla="*/ 7709 h 10000"/>
                  <a:gd name="connsiteX2461" fmla="*/ 295 w 10785"/>
                  <a:gd name="connsiteY2461" fmla="*/ 7726 h 10000"/>
                  <a:gd name="connsiteX2462" fmla="*/ 318 w 10785"/>
                  <a:gd name="connsiteY2462" fmla="*/ 7709 h 10000"/>
                  <a:gd name="connsiteX2463" fmla="*/ 327 w 10785"/>
                  <a:gd name="connsiteY2463" fmla="*/ 7726 h 10000"/>
                  <a:gd name="connsiteX2464" fmla="*/ 341 w 10785"/>
                  <a:gd name="connsiteY2464" fmla="*/ 7735 h 10000"/>
                  <a:gd name="connsiteX2465" fmla="*/ 332 w 10785"/>
                  <a:gd name="connsiteY2465" fmla="*/ 7752 h 10000"/>
                  <a:gd name="connsiteX2466" fmla="*/ 341 w 10785"/>
                  <a:gd name="connsiteY2466" fmla="*/ 7761 h 10000"/>
                  <a:gd name="connsiteX2467" fmla="*/ 355 w 10785"/>
                  <a:gd name="connsiteY2467" fmla="*/ 7761 h 10000"/>
                  <a:gd name="connsiteX2468" fmla="*/ 355 w 10785"/>
                  <a:gd name="connsiteY2468" fmla="*/ 7803 h 10000"/>
                  <a:gd name="connsiteX2469" fmla="*/ 313 w 10785"/>
                  <a:gd name="connsiteY2469" fmla="*/ 7846 h 10000"/>
                  <a:gd name="connsiteX2470" fmla="*/ 295 w 10785"/>
                  <a:gd name="connsiteY2470" fmla="*/ 7846 h 10000"/>
                  <a:gd name="connsiteX2471" fmla="*/ 281 w 10785"/>
                  <a:gd name="connsiteY2471" fmla="*/ 7821 h 10000"/>
                  <a:gd name="connsiteX2472" fmla="*/ 272 w 10785"/>
                  <a:gd name="connsiteY2472" fmla="*/ 7821 h 10000"/>
                  <a:gd name="connsiteX2473" fmla="*/ 267 w 10785"/>
                  <a:gd name="connsiteY2473" fmla="*/ 7838 h 10000"/>
                  <a:gd name="connsiteX2474" fmla="*/ 258 w 10785"/>
                  <a:gd name="connsiteY2474" fmla="*/ 7846 h 10000"/>
                  <a:gd name="connsiteX2475" fmla="*/ 253 w 10785"/>
                  <a:gd name="connsiteY2475" fmla="*/ 7863 h 10000"/>
                  <a:gd name="connsiteX2476" fmla="*/ 253 w 10785"/>
                  <a:gd name="connsiteY2476" fmla="*/ 7872 h 10000"/>
                  <a:gd name="connsiteX2477" fmla="*/ 267 w 10785"/>
                  <a:gd name="connsiteY2477" fmla="*/ 7897 h 10000"/>
                  <a:gd name="connsiteX2478" fmla="*/ 272 w 10785"/>
                  <a:gd name="connsiteY2478" fmla="*/ 7915 h 10000"/>
                  <a:gd name="connsiteX2479" fmla="*/ 267 w 10785"/>
                  <a:gd name="connsiteY2479" fmla="*/ 7940 h 10000"/>
                  <a:gd name="connsiteX2480" fmla="*/ 272 w 10785"/>
                  <a:gd name="connsiteY2480" fmla="*/ 7949 h 10000"/>
                  <a:gd name="connsiteX2481" fmla="*/ 272 w 10785"/>
                  <a:gd name="connsiteY2481" fmla="*/ 7957 h 10000"/>
                  <a:gd name="connsiteX2482" fmla="*/ 281 w 10785"/>
                  <a:gd name="connsiteY2482" fmla="*/ 7974 h 10000"/>
                  <a:gd name="connsiteX2483" fmla="*/ 286 w 10785"/>
                  <a:gd name="connsiteY2483" fmla="*/ 7983 h 10000"/>
                  <a:gd name="connsiteX2484" fmla="*/ 281 w 10785"/>
                  <a:gd name="connsiteY2484" fmla="*/ 8009 h 10000"/>
                  <a:gd name="connsiteX2485" fmla="*/ 286 w 10785"/>
                  <a:gd name="connsiteY2485" fmla="*/ 8060 h 10000"/>
                  <a:gd name="connsiteX2486" fmla="*/ 286 w 10785"/>
                  <a:gd name="connsiteY2486" fmla="*/ 8060 h 10000"/>
                  <a:gd name="connsiteX2487" fmla="*/ 295 w 10785"/>
                  <a:gd name="connsiteY2487" fmla="*/ 8077 h 10000"/>
                  <a:gd name="connsiteX2488" fmla="*/ 309 w 10785"/>
                  <a:gd name="connsiteY2488" fmla="*/ 8077 h 10000"/>
                  <a:gd name="connsiteX2489" fmla="*/ 313 w 10785"/>
                  <a:gd name="connsiteY2489" fmla="*/ 8060 h 10000"/>
                  <a:gd name="connsiteX2490" fmla="*/ 318 w 10785"/>
                  <a:gd name="connsiteY2490" fmla="*/ 8051 h 10000"/>
                  <a:gd name="connsiteX2491" fmla="*/ 318 w 10785"/>
                  <a:gd name="connsiteY2491" fmla="*/ 8034 h 10000"/>
                  <a:gd name="connsiteX2492" fmla="*/ 332 w 10785"/>
                  <a:gd name="connsiteY2492" fmla="*/ 8026 h 10000"/>
                  <a:gd name="connsiteX2493" fmla="*/ 359 w 10785"/>
                  <a:gd name="connsiteY2493" fmla="*/ 8034 h 10000"/>
                  <a:gd name="connsiteX2494" fmla="*/ 378 w 10785"/>
                  <a:gd name="connsiteY2494" fmla="*/ 8026 h 10000"/>
                  <a:gd name="connsiteX2495" fmla="*/ 401 w 10785"/>
                  <a:gd name="connsiteY2495" fmla="*/ 8026 h 10000"/>
                  <a:gd name="connsiteX2496" fmla="*/ 419 w 10785"/>
                  <a:gd name="connsiteY2496" fmla="*/ 8009 h 10000"/>
                  <a:gd name="connsiteX2497" fmla="*/ 433 w 10785"/>
                  <a:gd name="connsiteY2497" fmla="*/ 8034 h 10000"/>
                  <a:gd name="connsiteX2498" fmla="*/ 442 w 10785"/>
                  <a:gd name="connsiteY2498" fmla="*/ 8060 h 10000"/>
                  <a:gd name="connsiteX2499" fmla="*/ 442 w 10785"/>
                  <a:gd name="connsiteY2499" fmla="*/ 8077 h 10000"/>
                  <a:gd name="connsiteX2500" fmla="*/ 461 w 10785"/>
                  <a:gd name="connsiteY2500" fmla="*/ 8111 h 10000"/>
                  <a:gd name="connsiteX2501" fmla="*/ 461 w 10785"/>
                  <a:gd name="connsiteY2501" fmla="*/ 8137 h 10000"/>
                  <a:gd name="connsiteX2502" fmla="*/ 447 w 10785"/>
                  <a:gd name="connsiteY2502" fmla="*/ 8145 h 10000"/>
                  <a:gd name="connsiteX2503" fmla="*/ 442 w 10785"/>
                  <a:gd name="connsiteY2503" fmla="*/ 8145 h 10000"/>
                  <a:gd name="connsiteX2504" fmla="*/ 442 w 10785"/>
                  <a:gd name="connsiteY2504" fmla="*/ 8162 h 10000"/>
                  <a:gd name="connsiteX2505" fmla="*/ 442 w 10785"/>
                  <a:gd name="connsiteY2505" fmla="*/ 8171 h 10000"/>
                  <a:gd name="connsiteX2506" fmla="*/ 447 w 10785"/>
                  <a:gd name="connsiteY2506" fmla="*/ 8214 h 10000"/>
                  <a:gd name="connsiteX2507" fmla="*/ 465 w 10785"/>
                  <a:gd name="connsiteY2507" fmla="*/ 8231 h 10000"/>
                  <a:gd name="connsiteX2508" fmla="*/ 488 w 10785"/>
                  <a:gd name="connsiteY2508" fmla="*/ 8231 h 10000"/>
                  <a:gd name="connsiteX2509" fmla="*/ 493 w 10785"/>
                  <a:gd name="connsiteY2509" fmla="*/ 8231 h 10000"/>
                  <a:gd name="connsiteX2510" fmla="*/ 502 w 10785"/>
                  <a:gd name="connsiteY2510" fmla="*/ 8231 h 10000"/>
                  <a:gd name="connsiteX2511" fmla="*/ 507 w 10785"/>
                  <a:gd name="connsiteY2511" fmla="*/ 8248 h 10000"/>
                  <a:gd name="connsiteX2512" fmla="*/ 521 w 10785"/>
                  <a:gd name="connsiteY2512" fmla="*/ 8274 h 10000"/>
                  <a:gd name="connsiteX2513" fmla="*/ 525 w 10785"/>
                  <a:gd name="connsiteY2513" fmla="*/ 8333 h 10000"/>
                  <a:gd name="connsiteX2514" fmla="*/ 525 w 10785"/>
                  <a:gd name="connsiteY2514" fmla="*/ 8359 h 10000"/>
                  <a:gd name="connsiteX2515" fmla="*/ 525 w 10785"/>
                  <a:gd name="connsiteY2515" fmla="*/ 8368 h 10000"/>
                  <a:gd name="connsiteX2516" fmla="*/ 548 w 10785"/>
                  <a:gd name="connsiteY2516" fmla="*/ 8393 h 10000"/>
                  <a:gd name="connsiteX2517" fmla="*/ 553 w 10785"/>
                  <a:gd name="connsiteY2517" fmla="*/ 8385 h 10000"/>
                  <a:gd name="connsiteX2518" fmla="*/ 562 w 10785"/>
                  <a:gd name="connsiteY2518" fmla="*/ 8385 h 10000"/>
                  <a:gd name="connsiteX2519" fmla="*/ 576 w 10785"/>
                  <a:gd name="connsiteY2519" fmla="*/ 8385 h 10000"/>
                  <a:gd name="connsiteX2520" fmla="*/ 585 w 10785"/>
                  <a:gd name="connsiteY2520" fmla="*/ 8410 h 10000"/>
                  <a:gd name="connsiteX2521" fmla="*/ 594 w 10785"/>
                  <a:gd name="connsiteY2521" fmla="*/ 8410 h 10000"/>
                  <a:gd name="connsiteX2522" fmla="*/ 608 w 10785"/>
                  <a:gd name="connsiteY2522" fmla="*/ 8410 h 10000"/>
                  <a:gd name="connsiteX2523" fmla="*/ 654 w 10785"/>
                  <a:gd name="connsiteY2523" fmla="*/ 8385 h 10000"/>
                  <a:gd name="connsiteX2524" fmla="*/ 659 w 10785"/>
                  <a:gd name="connsiteY2524" fmla="*/ 8385 h 10000"/>
                  <a:gd name="connsiteX2525" fmla="*/ 696 w 10785"/>
                  <a:gd name="connsiteY2525" fmla="*/ 8470 h 10000"/>
                  <a:gd name="connsiteX2526" fmla="*/ 700 w 10785"/>
                  <a:gd name="connsiteY2526" fmla="*/ 8470 h 10000"/>
                  <a:gd name="connsiteX2527" fmla="*/ 710 w 10785"/>
                  <a:gd name="connsiteY2527" fmla="*/ 8462 h 10000"/>
                  <a:gd name="connsiteX2528" fmla="*/ 714 w 10785"/>
                  <a:gd name="connsiteY2528" fmla="*/ 8462 h 10000"/>
                  <a:gd name="connsiteX2529" fmla="*/ 724 w 10785"/>
                  <a:gd name="connsiteY2529" fmla="*/ 8470 h 10000"/>
                  <a:gd name="connsiteX2530" fmla="*/ 733 w 10785"/>
                  <a:gd name="connsiteY2530" fmla="*/ 8470 h 10000"/>
                  <a:gd name="connsiteX2531" fmla="*/ 742 w 10785"/>
                  <a:gd name="connsiteY2531" fmla="*/ 8487 h 10000"/>
                  <a:gd name="connsiteX2532" fmla="*/ 747 w 10785"/>
                  <a:gd name="connsiteY2532" fmla="*/ 8496 h 10000"/>
                  <a:gd name="connsiteX2533" fmla="*/ 770 w 10785"/>
                  <a:gd name="connsiteY2533" fmla="*/ 8496 h 10000"/>
                  <a:gd name="connsiteX2534" fmla="*/ 783 w 10785"/>
                  <a:gd name="connsiteY2534" fmla="*/ 8521 h 10000"/>
                  <a:gd name="connsiteX2535" fmla="*/ 797 w 10785"/>
                  <a:gd name="connsiteY2535" fmla="*/ 8521 h 10000"/>
                  <a:gd name="connsiteX2536" fmla="*/ 806 w 10785"/>
                  <a:gd name="connsiteY2536" fmla="*/ 8530 h 10000"/>
                  <a:gd name="connsiteX2537" fmla="*/ 829 w 10785"/>
                  <a:gd name="connsiteY2537" fmla="*/ 8547 h 10000"/>
                  <a:gd name="connsiteX2538" fmla="*/ 834 w 10785"/>
                  <a:gd name="connsiteY2538" fmla="*/ 8556 h 10000"/>
                  <a:gd name="connsiteX2539" fmla="*/ 829 w 10785"/>
                  <a:gd name="connsiteY2539" fmla="*/ 8556 h 10000"/>
                  <a:gd name="connsiteX2540" fmla="*/ 834 w 10785"/>
                  <a:gd name="connsiteY2540" fmla="*/ 8607 h 10000"/>
                  <a:gd name="connsiteX2541" fmla="*/ 829 w 10785"/>
                  <a:gd name="connsiteY2541" fmla="*/ 8641 h 10000"/>
                  <a:gd name="connsiteX2542" fmla="*/ 806 w 10785"/>
                  <a:gd name="connsiteY2542" fmla="*/ 8658 h 10000"/>
                  <a:gd name="connsiteX2543" fmla="*/ 816 w 10785"/>
                  <a:gd name="connsiteY2543" fmla="*/ 8667 h 10000"/>
                  <a:gd name="connsiteX2544" fmla="*/ 820 w 10785"/>
                  <a:gd name="connsiteY2544" fmla="*/ 8667 h 10000"/>
                  <a:gd name="connsiteX2545" fmla="*/ 829 w 10785"/>
                  <a:gd name="connsiteY2545" fmla="*/ 8684 h 10000"/>
                  <a:gd name="connsiteX2546" fmla="*/ 806 w 10785"/>
                  <a:gd name="connsiteY2546" fmla="*/ 8692 h 10000"/>
                  <a:gd name="connsiteX2547" fmla="*/ 802 w 10785"/>
                  <a:gd name="connsiteY2547" fmla="*/ 8709 h 10000"/>
                  <a:gd name="connsiteX2548" fmla="*/ 802 w 10785"/>
                  <a:gd name="connsiteY2548" fmla="*/ 8735 h 10000"/>
                  <a:gd name="connsiteX2549" fmla="*/ 806 w 10785"/>
                  <a:gd name="connsiteY2549" fmla="*/ 8744 h 10000"/>
                  <a:gd name="connsiteX2550" fmla="*/ 816 w 10785"/>
                  <a:gd name="connsiteY2550" fmla="*/ 8752 h 10000"/>
                  <a:gd name="connsiteX2551" fmla="*/ 806 w 10785"/>
                  <a:gd name="connsiteY2551" fmla="*/ 8778 h 10000"/>
                  <a:gd name="connsiteX2552" fmla="*/ 820 w 10785"/>
                  <a:gd name="connsiteY2552" fmla="*/ 8778 h 10000"/>
                  <a:gd name="connsiteX2553" fmla="*/ 806 w 10785"/>
                  <a:gd name="connsiteY2553" fmla="*/ 8880 h 10000"/>
                  <a:gd name="connsiteX2554" fmla="*/ 797 w 10785"/>
                  <a:gd name="connsiteY2554" fmla="*/ 8880 h 10000"/>
                  <a:gd name="connsiteX2555" fmla="*/ 783 w 10785"/>
                  <a:gd name="connsiteY2555" fmla="*/ 8872 h 10000"/>
                  <a:gd name="connsiteX2556" fmla="*/ 770 w 10785"/>
                  <a:gd name="connsiteY2556" fmla="*/ 8880 h 10000"/>
                  <a:gd name="connsiteX2557" fmla="*/ 756 w 10785"/>
                  <a:gd name="connsiteY2557" fmla="*/ 8855 h 10000"/>
                  <a:gd name="connsiteX2558" fmla="*/ 733 w 10785"/>
                  <a:gd name="connsiteY2558" fmla="*/ 8906 h 10000"/>
                  <a:gd name="connsiteX2559" fmla="*/ 714 w 10785"/>
                  <a:gd name="connsiteY2559" fmla="*/ 8915 h 10000"/>
                  <a:gd name="connsiteX2560" fmla="*/ 710 w 10785"/>
                  <a:gd name="connsiteY2560" fmla="*/ 8940 h 10000"/>
                  <a:gd name="connsiteX2561" fmla="*/ 710 w 10785"/>
                  <a:gd name="connsiteY2561" fmla="*/ 9009 h 10000"/>
                  <a:gd name="connsiteX2562" fmla="*/ 728 w 10785"/>
                  <a:gd name="connsiteY2562" fmla="*/ 8991 h 10000"/>
                  <a:gd name="connsiteX2563" fmla="*/ 733 w 10785"/>
                  <a:gd name="connsiteY2563" fmla="*/ 8991 h 10000"/>
                  <a:gd name="connsiteX2564" fmla="*/ 747 w 10785"/>
                  <a:gd name="connsiteY2564" fmla="*/ 8983 h 10000"/>
                  <a:gd name="connsiteX2565" fmla="*/ 760 w 10785"/>
                  <a:gd name="connsiteY2565" fmla="*/ 8983 h 10000"/>
                  <a:gd name="connsiteX2566" fmla="*/ 770 w 10785"/>
                  <a:gd name="connsiteY2566" fmla="*/ 8983 h 10000"/>
                  <a:gd name="connsiteX2567" fmla="*/ 770 w 10785"/>
                  <a:gd name="connsiteY2567" fmla="*/ 8991 h 10000"/>
                  <a:gd name="connsiteX2568" fmla="*/ 783 w 10785"/>
                  <a:gd name="connsiteY2568" fmla="*/ 8991 h 10000"/>
                  <a:gd name="connsiteX2569" fmla="*/ 783 w 10785"/>
                  <a:gd name="connsiteY2569" fmla="*/ 9009 h 10000"/>
                  <a:gd name="connsiteX2570" fmla="*/ 783 w 10785"/>
                  <a:gd name="connsiteY2570" fmla="*/ 9017 h 10000"/>
                  <a:gd name="connsiteX2571" fmla="*/ 770 w 10785"/>
                  <a:gd name="connsiteY2571" fmla="*/ 9017 h 10000"/>
                  <a:gd name="connsiteX2572" fmla="*/ 724 w 10785"/>
                  <a:gd name="connsiteY2572" fmla="*/ 9051 h 10000"/>
                  <a:gd name="connsiteX2573" fmla="*/ 724 w 10785"/>
                  <a:gd name="connsiteY2573" fmla="*/ 9068 h 10000"/>
                  <a:gd name="connsiteX2574" fmla="*/ 728 w 10785"/>
                  <a:gd name="connsiteY2574" fmla="*/ 9077 h 10000"/>
                  <a:gd name="connsiteX2575" fmla="*/ 724 w 10785"/>
                  <a:gd name="connsiteY2575" fmla="*/ 9077 h 10000"/>
                  <a:gd name="connsiteX2576" fmla="*/ 710 w 10785"/>
                  <a:gd name="connsiteY2576" fmla="*/ 9077 h 10000"/>
                  <a:gd name="connsiteX2577" fmla="*/ 682 w 10785"/>
                  <a:gd name="connsiteY2577" fmla="*/ 9077 h 10000"/>
                  <a:gd name="connsiteX2578" fmla="*/ 673 w 10785"/>
                  <a:gd name="connsiteY2578" fmla="*/ 9103 h 10000"/>
                  <a:gd name="connsiteX2579" fmla="*/ 687 w 10785"/>
                  <a:gd name="connsiteY2579" fmla="*/ 9128 h 10000"/>
                  <a:gd name="connsiteX2580" fmla="*/ 700 w 10785"/>
                  <a:gd name="connsiteY2580" fmla="*/ 9128 h 10000"/>
                  <a:gd name="connsiteX2581" fmla="*/ 728 w 10785"/>
                  <a:gd name="connsiteY2581" fmla="*/ 9179 h 10000"/>
                  <a:gd name="connsiteX2582" fmla="*/ 724 w 10785"/>
                  <a:gd name="connsiteY2582" fmla="*/ 9188 h 10000"/>
                  <a:gd name="connsiteX2583" fmla="*/ 710 w 10785"/>
                  <a:gd name="connsiteY2583" fmla="*/ 9179 h 10000"/>
                  <a:gd name="connsiteX2584" fmla="*/ 700 w 10785"/>
                  <a:gd name="connsiteY2584" fmla="*/ 9205 h 10000"/>
                  <a:gd name="connsiteX2585" fmla="*/ 696 w 10785"/>
                  <a:gd name="connsiteY2585" fmla="*/ 9205 h 10000"/>
                  <a:gd name="connsiteX2586" fmla="*/ 654 w 10785"/>
                  <a:gd name="connsiteY2586" fmla="*/ 9299 h 10000"/>
                  <a:gd name="connsiteX2587" fmla="*/ 622 w 10785"/>
                  <a:gd name="connsiteY2587" fmla="*/ 9299 h 10000"/>
                  <a:gd name="connsiteX2588" fmla="*/ 613 w 10785"/>
                  <a:gd name="connsiteY2588" fmla="*/ 9316 h 10000"/>
                  <a:gd name="connsiteX2589" fmla="*/ 613 w 10785"/>
                  <a:gd name="connsiteY2589" fmla="*/ 9325 h 10000"/>
                  <a:gd name="connsiteX2590" fmla="*/ 608 w 10785"/>
                  <a:gd name="connsiteY2590" fmla="*/ 9342 h 10000"/>
                  <a:gd name="connsiteX2591" fmla="*/ 636 w 10785"/>
                  <a:gd name="connsiteY2591" fmla="*/ 9376 h 10000"/>
                  <a:gd name="connsiteX2592" fmla="*/ 641 w 10785"/>
                  <a:gd name="connsiteY2592" fmla="*/ 9402 h 10000"/>
                  <a:gd name="connsiteX2593" fmla="*/ 654 w 10785"/>
                  <a:gd name="connsiteY2593" fmla="*/ 9427 h 10000"/>
                  <a:gd name="connsiteX2594" fmla="*/ 668 w 10785"/>
                  <a:gd name="connsiteY2594" fmla="*/ 9427 h 10000"/>
                  <a:gd name="connsiteX2595" fmla="*/ 668 w 10785"/>
                  <a:gd name="connsiteY2595" fmla="*/ 9427 h 10000"/>
                  <a:gd name="connsiteX2596" fmla="*/ 774 w 10785"/>
                  <a:gd name="connsiteY2596" fmla="*/ 9547 h 10000"/>
                  <a:gd name="connsiteX2597" fmla="*/ 797 w 10785"/>
                  <a:gd name="connsiteY2597" fmla="*/ 9598 h 10000"/>
                  <a:gd name="connsiteX2598" fmla="*/ 802 w 10785"/>
                  <a:gd name="connsiteY2598" fmla="*/ 9598 h 10000"/>
                  <a:gd name="connsiteX2599" fmla="*/ 816 w 10785"/>
                  <a:gd name="connsiteY2599" fmla="*/ 9624 h 10000"/>
                  <a:gd name="connsiteX2600" fmla="*/ 843 w 10785"/>
                  <a:gd name="connsiteY2600" fmla="*/ 9615 h 10000"/>
                  <a:gd name="connsiteX2601" fmla="*/ 857 w 10785"/>
                  <a:gd name="connsiteY2601" fmla="*/ 9624 h 10000"/>
                  <a:gd name="connsiteX2602" fmla="*/ 862 w 10785"/>
                  <a:gd name="connsiteY2602" fmla="*/ 9615 h 10000"/>
                  <a:gd name="connsiteX2603" fmla="*/ 880 w 10785"/>
                  <a:gd name="connsiteY2603" fmla="*/ 9624 h 10000"/>
                  <a:gd name="connsiteX2604" fmla="*/ 889 w 10785"/>
                  <a:gd name="connsiteY2604" fmla="*/ 9641 h 10000"/>
                  <a:gd name="connsiteX2605" fmla="*/ 935 w 10785"/>
                  <a:gd name="connsiteY2605" fmla="*/ 9675 h 10000"/>
                  <a:gd name="connsiteX2606" fmla="*/ 977 w 10785"/>
                  <a:gd name="connsiteY2606" fmla="*/ 9667 h 10000"/>
                  <a:gd name="connsiteX2607" fmla="*/ 995 w 10785"/>
                  <a:gd name="connsiteY2607" fmla="*/ 9675 h 10000"/>
                  <a:gd name="connsiteX2608" fmla="*/ 1014 w 10785"/>
                  <a:gd name="connsiteY2608" fmla="*/ 9675 h 10000"/>
                  <a:gd name="connsiteX2609" fmla="*/ 1069 w 10785"/>
                  <a:gd name="connsiteY2609" fmla="*/ 9752 h 10000"/>
                  <a:gd name="connsiteX2610" fmla="*/ 1074 w 10785"/>
                  <a:gd name="connsiteY2610" fmla="*/ 9761 h 10000"/>
                  <a:gd name="connsiteX2611" fmla="*/ 1083 w 10785"/>
                  <a:gd name="connsiteY2611" fmla="*/ 9778 h 10000"/>
                  <a:gd name="connsiteX2612" fmla="*/ 1115 w 10785"/>
                  <a:gd name="connsiteY2612" fmla="*/ 9752 h 10000"/>
                  <a:gd name="connsiteX2613" fmla="*/ 1129 w 10785"/>
                  <a:gd name="connsiteY2613" fmla="*/ 9752 h 10000"/>
                  <a:gd name="connsiteX2614" fmla="*/ 1138 w 10785"/>
                  <a:gd name="connsiteY2614" fmla="*/ 9761 h 10000"/>
                  <a:gd name="connsiteX2615" fmla="*/ 1143 w 10785"/>
                  <a:gd name="connsiteY2615" fmla="*/ 9752 h 10000"/>
                  <a:gd name="connsiteX2616" fmla="*/ 1161 w 10785"/>
                  <a:gd name="connsiteY2616" fmla="*/ 9761 h 10000"/>
                  <a:gd name="connsiteX2617" fmla="*/ 1171 w 10785"/>
                  <a:gd name="connsiteY2617" fmla="*/ 9778 h 10000"/>
                  <a:gd name="connsiteX2618" fmla="*/ 1175 w 10785"/>
                  <a:gd name="connsiteY2618" fmla="*/ 9778 h 10000"/>
                  <a:gd name="connsiteX2619" fmla="*/ 1189 w 10785"/>
                  <a:gd name="connsiteY2619" fmla="*/ 9778 h 10000"/>
                  <a:gd name="connsiteX2620" fmla="*/ 1198 w 10785"/>
                  <a:gd name="connsiteY2620" fmla="*/ 9786 h 10000"/>
                  <a:gd name="connsiteX2621" fmla="*/ 1203 w 10785"/>
                  <a:gd name="connsiteY2621" fmla="*/ 9803 h 10000"/>
                  <a:gd name="connsiteX2622" fmla="*/ 1198 w 10785"/>
                  <a:gd name="connsiteY2622" fmla="*/ 9838 h 10000"/>
                  <a:gd name="connsiteX2623" fmla="*/ 1212 w 10785"/>
                  <a:gd name="connsiteY2623" fmla="*/ 9863 h 10000"/>
                  <a:gd name="connsiteX2624" fmla="*/ 1230 w 10785"/>
                  <a:gd name="connsiteY2624" fmla="*/ 9872 h 10000"/>
                  <a:gd name="connsiteX2625" fmla="*/ 1249 w 10785"/>
                  <a:gd name="connsiteY2625" fmla="*/ 9897 h 10000"/>
                  <a:gd name="connsiteX2626" fmla="*/ 1263 w 10785"/>
                  <a:gd name="connsiteY2626" fmla="*/ 9897 h 10000"/>
                  <a:gd name="connsiteX2627" fmla="*/ 1276 w 10785"/>
                  <a:gd name="connsiteY2627" fmla="*/ 9923 h 10000"/>
                  <a:gd name="connsiteX2628" fmla="*/ 1281 w 10785"/>
                  <a:gd name="connsiteY2628" fmla="*/ 9949 h 10000"/>
                  <a:gd name="connsiteX2629" fmla="*/ 1290 w 10785"/>
                  <a:gd name="connsiteY2629" fmla="*/ 9949 h 10000"/>
                  <a:gd name="connsiteX2630" fmla="*/ 1295 w 10785"/>
                  <a:gd name="connsiteY2630" fmla="*/ 10000 h 10000"/>
                  <a:gd name="connsiteX2631" fmla="*/ 1332 w 10785"/>
                  <a:gd name="connsiteY2631" fmla="*/ 10000 h 10000"/>
                  <a:gd name="connsiteX2632" fmla="*/ 1336 w 10785"/>
                  <a:gd name="connsiteY2632" fmla="*/ 10000 h 10000"/>
                  <a:gd name="connsiteX2633" fmla="*/ 1346 w 10785"/>
                  <a:gd name="connsiteY2633" fmla="*/ 9983 h 10000"/>
                  <a:gd name="connsiteX2634" fmla="*/ 1350 w 10785"/>
                  <a:gd name="connsiteY2634" fmla="*/ 9949 h 10000"/>
                  <a:gd name="connsiteX2635" fmla="*/ 1369 w 10785"/>
                  <a:gd name="connsiteY2635" fmla="*/ 9940 h 10000"/>
                  <a:gd name="connsiteX2636" fmla="*/ 1378 w 10785"/>
                  <a:gd name="connsiteY2636" fmla="*/ 9897 h 10000"/>
                  <a:gd name="connsiteX2637" fmla="*/ 1369 w 10785"/>
                  <a:gd name="connsiteY2637" fmla="*/ 9889 h 10000"/>
                  <a:gd name="connsiteX2638" fmla="*/ 1318 w 10785"/>
                  <a:gd name="connsiteY2638" fmla="*/ 9701 h 10000"/>
                  <a:gd name="connsiteX2639" fmla="*/ 1318 w 10785"/>
                  <a:gd name="connsiteY2639" fmla="*/ 9650 h 10000"/>
                  <a:gd name="connsiteX2640" fmla="*/ 1323 w 10785"/>
                  <a:gd name="connsiteY2640" fmla="*/ 9590 h 10000"/>
                  <a:gd name="connsiteX2641" fmla="*/ 1323 w 10785"/>
                  <a:gd name="connsiteY2641" fmla="*/ 9564 h 10000"/>
                  <a:gd name="connsiteX2642" fmla="*/ 1309 w 10785"/>
                  <a:gd name="connsiteY2642" fmla="*/ 9598 h 10000"/>
                  <a:gd name="connsiteX2643" fmla="*/ 1309 w 10785"/>
                  <a:gd name="connsiteY2643" fmla="*/ 9590 h 10000"/>
                  <a:gd name="connsiteX2644" fmla="*/ 1304 w 10785"/>
                  <a:gd name="connsiteY2644" fmla="*/ 9547 h 10000"/>
                  <a:gd name="connsiteX2645" fmla="*/ 1276 w 10785"/>
                  <a:gd name="connsiteY2645" fmla="*/ 9479 h 10000"/>
                  <a:gd name="connsiteX2646" fmla="*/ 1263 w 10785"/>
                  <a:gd name="connsiteY2646" fmla="*/ 9479 h 10000"/>
                  <a:gd name="connsiteX2647" fmla="*/ 1263 w 10785"/>
                  <a:gd name="connsiteY2647" fmla="*/ 9453 h 10000"/>
                  <a:gd name="connsiteX2648" fmla="*/ 1272 w 10785"/>
                  <a:gd name="connsiteY2648" fmla="*/ 9410 h 10000"/>
                  <a:gd name="connsiteX2649" fmla="*/ 1272 w 10785"/>
                  <a:gd name="connsiteY2649" fmla="*/ 9393 h 10000"/>
                  <a:gd name="connsiteX2650" fmla="*/ 1281 w 10785"/>
                  <a:gd name="connsiteY2650" fmla="*/ 9368 h 10000"/>
                  <a:gd name="connsiteX2651" fmla="*/ 1281 w 10785"/>
                  <a:gd name="connsiteY2651" fmla="*/ 9368 h 10000"/>
                  <a:gd name="connsiteX2652" fmla="*/ 1290 w 10785"/>
                  <a:gd name="connsiteY2652" fmla="*/ 9368 h 10000"/>
                  <a:gd name="connsiteX2653" fmla="*/ 1290 w 10785"/>
                  <a:gd name="connsiteY2653" fmla="*/ 9342 h 10000"/>
                  <a:gd name="connsiteX2654" fmla="*/ 1304 w 10785"/>
                  <a:gd name="connsiteY2654" fmla="*/ 9325 h 10000"/>
                  <a:gd name="connsiteX2655" fmla="*/ 1309 w 10785"/>
                  <a:gd name="connsiteY2655" fmla="*/ 9239 h 10000"/>
                  <a:gd name="connsiteX2656" fmla="*/ 1318 w 10785"/>
                  <a:gd name="connsiteY2656" fmla="*/ 9256 h 10000"/>
                  <a:gd name="connsiteX2657" fmla="*/ 1323 w 10785"/>
                  <a:gd name="connsiteY2657" fmla="*/ 9179 h 10000"/>
                  <a:gd name="connsiteX2658" fmla="*/ 1309 w 10785"/>
                  <a:gd name="connsiteY2658" fmla="*/ 9145 h 10000"/>
                  <a:gd name="connsiteX2659" fmla="*/ 1336 w 10785"/>
                  <a:gd name="connsiteY2659" fmla="*/ 9154 h 10000"/>
                  <a:gd name="connsiteX2660" fmla="*/ 1336 w 10785"/>
                  <a:gd name="connsiteY2660" fmla="*/ 9162 h 10000"/>
                  <a:gd name="connsiteX2661" fmla="*/ 1350 w 10785"/>
                  <a:gd name="connsiteY2661" fmla="*/ 9231 h 10000"/>
                  <a:gd name="connsiteX2662" fmla="*/ 1355 w 10785"/>
                  <a:gd name="connsiteY2662" fmla="*/ 9231 h 10000"/>
                  <a:gd name="connsiteX2663" fmla="*/ 1364 w 10785"/>
                  <a:gd name="connsiteY2663" fmla="*/ 9214 h 10000"/>
                  <a:gd name="connsiteX2664" fmla="*/ 1369 w 10785"/>
                  <a:gd name="connsiteY2664" fmla="*/ 9214 h 10000"/>
                  <a:gd name="connsiteX2665" fmla="*/ 1382 w 10785"/>
                  <a:gd name="connsiteY2665" fmla="*/ 9154 h 10000"/>
                  <a:gd name="connsiteX2666" fmla="*/ 1396 w 10785"/>
                  <a:gd name="connsiteY2666" fmla="*/ 9154 h 10000"/>
                  <a:gd name="connsiteX2667" fmla="*/ 1382 w 10785"/>
                  <a:gd name="connsiteY2667" fmla="*/ 9145 h 10000"/>
                  <a:gd name="connsiteX2668" fmla="*/ 1382 w 10785"/>
                  <a:gd name="connsiteY2668" fmla="*/ 9128 h 10000"/>
                  <a:gd name="connsiteX2669" fmla="*/ 1369 w 10785"/>
                  <a:gd name="connsiteY2669" fmla="*/ 9128 h 10000"/>
                  <a:gd name="connsiteX2670" fmla="*/ 1364 w 10785"/>
                  <a:gd name="connsiteY2670" fmla="*/ 9128 h 10000"/>
                  <a:gd name="connsiteX2671" fmla="*/ 1355 w 10785"/>
                  <a:gd name="connsiteY2671" fmla="*/ 9120 h 10000"/>
                  <a:gd name="connsiteX2672" fmla="*/ 1350 w 10785"/>
                  <a:gd name="connsiteY2672" fmla="*/ 9103 h 10000"/>
                  <a:gd name="connsiteX2673" fmla="*/ 1355 w 10785"/>
                  <a:gd name="connsiteY2673" fmla="*/ 9094 h 10000"/>
                  <a:gd name="connsiteX2674" fmla="*/ 1355 w 10785"/>
                  <a:gd name="connsiteY2674" fmla="*/ 9068 h 10000"/>
                  <a:gd name="connsiteX2675" fmla="*/ 1369 w 10785"/>
                  <a:gd name="connsiteY2675" fmla="*/ 9068 h 10000"/>
                  <a:gd name="connsiteX2676" fmla="*/ 1378 w 10785"/>
                  <a:gd name="connsiteY2676" fmla="*/ 9077 h 10000"/>
                  <a:gd name="connsiteX2677" fmla="*/ 1396 w 10785"/>
                  <a:gd name="connsiteY2677" fmla="*/ 9068 h 10000"/>
                  <a:gd name="connsiteX2678" fmla="*/ 1382 w 10785"/>
                  <a:gd name="connsiteY2678" fmla="*/ 8940 h 10000"/>
                  <a:gd name="connsiteX2679" fmla="*/ 1378 w 10785"/>
                  <a:gd name="connsiteY2679" fmla="*/ 8940 h 10000"/>
                  <a:gd name="connsiteX2680" fmla="*/ 1364 w 10785"/>
                  <a:gd name="connsiteY2680" fmla="*/ 8889 h 10000"/>
                  <a:gd name="connsiteX2681" fmla="*/ 1355 w 10785"/>
                  <a:gd name="connsiteY2681" fmla="*/ 8880 h 10000"/>
                  <a:gd name="connsiteX2682" fmla="*/ 1323 w 10785"/>
                  <a:gd name="connsiteY2682" fmla="*/ 8880 h 10000"/>
                  <a:gd name="connsiteX2683" fmla="*/ 1309 w 10785"/>
                  <a:gd name="connsiteY2683" fmla="*/ 8880 h 10000"/>
                  <a:gd name="connsiteX2684" fmla="*/ 1309 w 10785"/>
                  <a:gd name="connsiteY2684" fmla="*/ 8889 h 10000"/>
                  <a:gd name="connsiteX2685" fmla="*/ 1295 w 10785"/>
                  <a:gd name="connsiteY2685" fmla="*/ 8872 h 10000"/>
                  <a:gd name="connsiteX2686" fmla="*/ 1290 w 10785"/>
                  <a:gd name="connsiteY2686" fmla="*/ 8855 h 10000"/>
                  <a:gd name="connsiteX2687" fmla="*/ 1290 w 10785"/>
                  <a:gd name="connsiteY2687" fmla="*/ 8829 h 10000"/>
                  <a:gd name="connsiteX2688" fmla="*/ 1290 w 10785"/>
                  <a:gd name="connsiteY2688" fmla="*/ 8821 h 10000"/>
                  <a:gd name="connsiteX2689" fmla="*/ 1290 w 10785"/>
                  <a:gd name="connsiteY2689" fmla="*/ 8803 h 10000"/>
                  <a:gd name="connsiteX2690" fmla="*/ 1281 w 10785"/>
                  <a:gd name="connsiteY2690" fmla="*/ 8795 h 10000"/>
                  <a:gd name="connsiteX2691" fmla="*/ 1249 w 10785"/>
                  <a:gd name="connsiteY2691" fmla="*/ 8769 h 10000"/>
                  <a:gd name="connsiteX2692" fmla="*/ 1263 w 10785"/>
                  <a:gd name="connsiteY2692" fmla="*/ 8667 h 10000"/>
                  <a:gd name="connsiteX2693" fmla="*/ 1281 w 10785"/>
                  <a:gd name="connsiteY2693" fmla="*/ 8658 h 10000"/>
                  <a:gd name="connsiteX2694" fmla="*/ 1290 w 10785"/>
                  <a:gd name="connsiteY2694" fmla="*/ 8632 h 10000"/>
                  <a:gd name="connsiteX2695" fmla="*/ 1281 w 10785"/>
                  <a:gd name="connsiteY2695" fmla="*/ 8615 h 10000"/>
                  <a:gd name="connsiteX2696" fmla="*/ 1272 w 10785"/>
                  <a:gd name="connsiteY2696" fmla="*/ 8598 h 10000"/>
                  <a:gd name="connsiteX2697" fmla="*/ 1281 w 10785"/>
                  <a:gd name="connsiteY2697" fmla="*/ 8496 h 10000"/>
                  <a:gd name="connsiteX2698" fmla="*/ 1295 w 10785"/>
                  <a:gd name="connsiteY2698" fmla="*/ 8470 h 10000"/>
                  <a:gd name="connsiteX2699" fmla="*/ 1304 w 10785"/>
                  <a:gd name="connsiteY2699" fmla="*/ 8462 h 10000"/>
                  <a:gd name="connsiteX2700" fmla="*/ 1304 w 10785"/>
                  <a:gd name="connsiteY2700" fmla="*/ 8444 h 10000"/>
                  <a:gd name="connsiteX2701" fmla="*/ 1304 w 10785"/>
                  <a:gd name="connsiteY2701" fmla="*/ 8419 h 10000"/>
                  <a:gd name="connsiteX2702" fmla="*/ 1304 w 10785"/>
                  <a:gd name="connsiteY2702" fmla="*/ 8410 h 10000"/>
                  <a:gd name="connsiteX2703" fmla="*/ 1309 w 10785"/>
                  <a:gd name="connsiteY2703" fmla="*/ 8393 h 10000"/>
                  <a:gd name="connsiteX2704" fmla="*/ 1318 w 10785"/>
                  <a:gd name="connsiteY2704" fmla="*/ 8385 h 10000"/>
                  <a:gd name="connsiteX2705" fmla="*/ 1323 w 10785"/>
                  <a:gd name="connsiteY2705" fmla="*/ 8385 h 10000"/>
                  <a:gd name="connsiteX2706" fmla="*/ 1332 w 10785"/>
                  <a:gd name="connsiteY2706" fmla="*/ 8410 h 10000"/>
                  <a:gd name="connsiteX2707" fmla="*/ 1346 w 10785"/>
                  <a:gd name="connsiteY2707" fmla="*/ 8419 h 10000"/>
                  <a:gd name="connsiteX2708" fmla="*/ 1364 w 10785"/>
                  <a:gd name="connsiteY2708" fmla="*/ 8504 h 10000"/>
                  <a:gd name="connsiteX2709" fmla="*/ 1369 w 10785"/>
                  <a:gd name="connsiteY2709" fmla="*/ 8521 h 10000"/>
                  <a:gd name="connsiteX2710" fmla="*/ 1406 w 10785"/>
                  <a:gd name="connsiteY2710" fmla="*/ 8470 h 10000"/>
                  <a:gd name="connsiteX2711" fmla="*/ 1382 w 10785"/>
                  <a:gd name="connsiteY2711" fmla="*/ 8359 h 10000"/>
                  <a:gd name="connsiteX2712" fmla="*/ 1392 w 10785"/>
                  <a:gd name="connsiteY2712" fmla="*/ 8359 h 10000"/>
                  <a:gd name="connsiteX2713" fmla="*/ 1438 w 10785"/>
                  <a:gd name="connsiteY2713" fmla="*/ 8308 h 10000"/>
                  <a:gd name="connsiteX2714" fmla="*/ 1442 w 10785"/>
                  <a:gd name="connsiteY2714" fmla="*/ 8299 h 10000"/>
                  <a:gd name="connsiteX2715" fmla="*/ 1442 w 10785"/>
                  <a:gd name="connsiteY2715" fmla="*/ 8256 h 10000"/>
                  <a:gd name="connsiteX2716" fmla="*/ 1452 w 10785"/>
                  <a:gd name="connsiteY2716" fmla="*/ 8256 h 10000"/>
                  <a:gd name="connsiteX2717" fmla="*/ 1456 w 10785"/>
                  <a:gd name="connsiteY2717" fmla="*/ 8256 h 10000"/>
                  <a:gd name="connsiteX2718" fmla="*/ 1470 w 10785"/>
                  <a:gd name="connsiteY2718" fmla="*/ 8248 h 10000"/>
                  <a:gd name="connsiteX2719" fmla="*/ 1479 w 10785"/>
                  <a:gd name="connsiteY2719" fmla="*/ 8231 h 10000"/>
                  <a:gd name="connsiteX2720" fmla="*/ 1493 w 10785"/>
                  <a:gd name="connsiteY2720" fmla="*/ 8222 h 10000"/>
                  <a:gd name="connsiteX2721" fmla="*/ 1498 w 10785"/>
                  <a:gd name="connsiteY2721" fmla="*/ 8214 h 10000"/>
                  <a:gd name="connsiteX2722" fmla="*/ 1502 w 10785"/>
                  <a:gd name="connsiteY2722" fmla="*/ 8197 h 10000"/>
                  <a:gd name="connsiteX2723" fmla="*/ 1512 w 10785"/>
                  <a:gd name="connsiteY2723" fmla="*/ 8188 h 10000"/>
                  <a:gd name="connsiteX2724" fmla="*/ 1516 w 10785"/>
                  <a:gd name="connsiteY2724" fmla="*/ 8171 h 10000"/>
                  <a:gd name="connsiteX2725" fmla="*/ 1525 w 10785"/>
                  <a:gd name="connsiteY2725" fmla="*/ 8162 h 10000"/>
                  <a:gd name="connsiteX2726" fmla="*/ 1539 w 10785"/>
                  <a:gd name="connsiteY2726" fmla="*/ 8145 h 10000"/>
                  <a:gd name="connsiteX2727" fmla="*/ 1558 w 10785"/>
                  <a:gd name="connsiteY2727" fmla="*/ 8145 h 10000"/>
                  <a:gd name="connsiteX2728" fmla="*/ 1562 w 10785"/>
                  <a:gd name="connsiteY2728" fmla="*/ 8188 h 10000"/>
                  <a:gd name="connsiteX2729" fmla="*/ 1585 w 10785"/>
                  <a:gd name="connsiteY2729" fmla="*/ 8171 h 10000"/>
                  <a:gd name="connsiteX2730" fmla="*/ 1590 w 10785"/>
                  <a:gd name="connsiteY2730" fmla="*/ 8188 h 10000"/>
                  <a:gd name="connsiteX2731" fmla="*/ 1599 w 10785"/>
                  <a:gd name="connsiteY2731" fmla="*/ 8171 h 10000"/>
                  <a:gd name="connsiteX2732" fmla="*/ 1599 w 10785"/>
                  <a:gd name="connsiteY2732" fmla="*/ 8162 h 10000"/>
                  <a:gd name="connsiteX2733" fmla="*/ 1604 w 10785"/>
                  <a:gd name="connsiteY2733" fmla="*/ 8137 h 10000"/>
                  <a:gd name="connsiteX2734" fmla="*/ 1618 w 10785"/>
                  <a:gd name="connsiteY2734" fmla="*/ 8145 h 10000"/>
                  <a:gd name="connsiteX2735" fmla="*/ 1627 w 10785"/>
                  <a:gd name="connsiteY2735" fmla="*/ 8137 h 10000"/>
                  <a:gd name="connsiteX2736" fmla="*/ 1631 w 10785"/>
                  <a:gd name="connsiteY2736" fmla="*/ 8137 h 10000"/>
                  <a:gd name="connsiteX2737" fmla="*/ 1636 w 10785"/>
                  <a:gd name="connsiteY2737" fmla="*/ 8171 h 10000"/>
                  <a:gd name="connsiteX2738" fmla="*/ 1645 w 10785"/>
                  <a:gd name="connsiteY2738" fmla="*/ 8188 h 10000"/>
                  <a:gd name="connsiteX2739" fmla="*/ 1664 w 10785"/>
                  <a:gd name="connsiteY2739" fmla="*/ 8171 h 10000"/>
                  <a:gd name="connsiteX2740" fmla="*/ 1673 w 10785"/>
                  <a:gd name="connsiteY2740" fmla="*/ 8188 h 10000"/>
                  <a:gd name="connsiteX2741" fmla="*/ 1691 w 10785"/>
                  <a:gd name="connsiteY2741" fmla="*/ 8171 h 10000"/>
                  <a:gd name="connsiteX2742" fmla="*/ 1705 w 10785"/>
                  <a:gd name="connsiteY2742" fmla="*/ 8171 h 10000"/>
                  <a:gd name="connsiteX2743" fmla="*/ 1719 w 10785"/>
                  <a:gd name="connsiteY2743" fmla="*/ 8197 h 10000"/>
                  <a:gd name="connsiteX2744" fmla="*/ 1724 w 10785"/>
                  <a:gd name="connsiteY2744" fmla="*/ 8231 h 10000"/>
                  <a:gd name="connsiteX2745" fmla="*/ 1751 w 10785"/>
                  <a:gd name="connsiteY2745" fmla="*/ 8256 h 10000"/>
                  <a:gd name="connsiteX2746" fmla="*/ 1751 w 10785"/>
                  <a:gd name="connsiteY2746" fmla="*/ 8274 h 10000"/>
                  <a:gd name="connsiteX2747" fmla="*/ 1760 w 10785"/>
                  <a:gd name="connsiteY2747" fmla="*/ 8282 h 10000"/>
                  <a:gd name="connsiteX2748" fmla="*/ 1770 w 10785"/>
                  <a:gd name="connsiteY2748" fmla="*/ 8325 h 10000"/>
                  <a:gd name="connsiteX2749" fmla="*/ 1770 w 10785"/>
                  <a:gd name="connsiteY2749" fmla="*/ 8350 h 10000"/>
                  <a:gd name="connsiteX2750" fmla="*/ 1779 w 10785"/>
                  <a:gd name="connsiteY2750" fmla="*/ 8368 h 10000"/>
                  <a:gd name="connsiteX2751" fmla="*/ 1783 w 10785"/>
                  <a:gd name="connsiteY2751" fmla="*/ 8359 h 10000"/>
                  <a:gd name="connsiteX2752" fmla="*/ 1783 w 10785"/>
                  <a:gd name="connsiteY2752" fmla="*/ 8308 h 10000"/>
                  <a:gd name="connsiteX2753" fmla="*/ 1779 w 10785"/>
                  <a:gd name="connsiteY2753" fmla="*/ 8299 h 10000"/>
                  <a:gd name="connsiteX2754" fmla="*/ 1783 w 10785"/>
                  <a:gd name="connsiteY2754" fmla="*/ 8282 h 10000"/>
                  <a:gd name="connsiteX2755" fmla="*/ 1797 w 10785"/>
                  <a:gd name="connsiteY2755" fmla="*/ 8274 h 10000"/>
                  <a:gd name="connsiteX2756" fmla="*/ 1797 w 10785"/>
                  <a:gd name="connsiteY2756" fmla="*/ 8299 h 10000"/>
                  <a:gd name="connsiteX2757" fmla="*/ 1806 w 10785"/>
                  <a:gd name="connsiteY2757" fmla="*/ 8308 h 10000"/>
                  <a:gd name="connsiteX2758" fmla="*/ 1811 w 10785"/>
                  <a:gd name="connsiteY2758" fmla="*/ 8325 h 10000"/>
                  <a:gd name="connsiteX2759" fmla="*/ 1820 w 10785"/>
                  <a:gd name="connsiteY2759" fmla="*/ 8333 h 10000"/>
                  <a:gd name="connsiteX2760" fmla="*/ 1853 w 10785"/>
                  <a:gd name="connsiteY2760" fmla="*/ 8359 h 10000"/>
                  <a:gd name="connsiteX2761" fmla="*/ 1866 w 10785"/>
                  <a:gd name="connsiteY2761" fmla="*/ 8359 h 10000"/>
                  <a:gd name="connsiteX2762" fmla="*/ 1885 w 10785"/>
                  <a:gd name="connsiteY2762" fmla="*/ 8325 h 10000"/>
                  <a:gd name="connsiteX2763" fmla="*/ 1885 w 10785"/>
                  <a:gd name="connsiteY2763" fmla="*/ 8308 h 10000"/>
                  <a:gd name="connsiteX2764" fmla="*/ 1894 w 10785"/>
                  <a:gd name="connsiteY2764" fmla="*/ 8299 h 10000"/>
                  <a:gd name="connsiteX2765" fmla="*/ 1899 w 10785"/>
                  <a:gd name="connsiteY2765" fmla="*/ 8282 h 10000"/>
                  <a:gd name="connsiteX2766" fmla="*/ 1912 w 10785"/>
                  <a:gd name="connsiteY2766" fmla="*/ 8282 h 10000"/>
                  <a:gd name="connsiteX2767" fmla="*/ 1917 w 10785"/>
                  <a:gd name="connsiteY2767" fmla="*/ 8299 h 10000"/>
                  <a:gd name="connsiteX2768" fmla="*/ 1917 w 10785"/>
                  <a:gd name="connsiteY2768" fmla="*/ 8274 h 10000"/>
                  <a:gd name="connsiteX2769" fmla="*/ 1940 w 10785"/>
                  <a:gd name="connsiteY2769" fmla="*/ 8282 h 10000"/>
                  <a:gd name="connsiteX2770" fmla="*/ 1945 w 10785"/>
                  <a:gd name="connsiteY2770" fmla="*/ 8274 h 10000"/>
                  <a:gd name="connsiteX2771" fmla="*/ 1972 w 10785"/>
                  <a:gd name="connsiteY2771" fmla="*/ 8308 h 10000"/>
                  <a:gd name="connsiteX2772" fmla="*/ 1986 w 10785"/>
                  <a:gd name="connsiteY2772" fmla="*/ 8282 h 10000"/>
                  <a:gd name="connsiteX2773" fmla="*/ 1991 w 10785"/>
                  <a:gd name="connsiteY2773" fmla="*/ 8274 h 10000"/>
                  <a:gd name="connsiteX2774" fmla="*/ 2014 w 10785"/>
                  <a:gd name="connsiteY2774" fmla="*/ 8274 h 10000"/>
                  <a:gd name="connsiteX2775" fmla="*/ 2018 w 10785"/>
                  <a:gd name="connsiteY2775" fmla="*/ 8256 h 10000"/>
                  <a:gd name="connsiteX2776" fmla="*/ 2041 w 10785"/>
                  <a:gd name="connsiteY2776" fmla="*/ 8274 h 10000"/>
                  <a:gd name="connsiteX2777" fmla="*/ 2046 w 10785"/>
                  <a:gd name="connsiteY2777" fmla="*/ 8282 h 10000"/>
                  <a:gd name="connsiteX2778" fmla="*/ 2046 w 10785"/>
                  <a:gd name="connsiteY2778" fmla="*/ 8325 h 10000"/>
                  <a:gd name="connsiteX2779" fmla="*/ 2060 w 10785"/>
                  <a:gd name="connsiteY2779" fmla="*/ 8350 h 10000"/>
                  <a:gd name="connsiteX2780" fmla="*/ 2078 w 10785"/>
                  <a:gd name="connsiteY2780" fmla="*/ 8350 h 10000"/>
                  <a:gd name="connsiteX2781" fmla="*/ 2092 w 10785"/>
                  <a:gd name="connsiteY2781" fmla="*/ 8350 h 10000"/>
                  <a:gd name="connsiteX2782" fmla="*/ 2092 w 10785"/>
                  <a:gd name="connsiteY2782" fmla="*/ 8350 h 10000"/>
                  <a:gd name="connsiteX2783" fmla="*/ 2101 w 10785"/>
                  <a:gd name="connsiteY2783" fmla="*/ 8368 h 10000"/>
                  <a:gd name="connsiteX2784" fmla="*/ 2120 w 10785"/>
                  <a:gd name="connsiteY2784" fmla="*/ 8368 h 10000"/>
                  <a:gd name="connsiteX2785" fmla="*/ 2124 w 10785"/>
                  <a:gd name="connsiteY2785" fmla="*/ 8359 h 10000"/>
                  <a:gd name="connsiteX2786" fmla="*/ 2138 w 10785"/>
                  <a:gd name="connsiteY2786" fmla="*/ 8325 h 10000"/>
                  <a:gd name="connsiteX2787" fmla="*/ 2147 w 10785"/>
                  <a:gd name="connsiteY2787" fmla="*/ 8325 h 10000"/>
                  <a:gd name="connsiteX2788" fmla="*/ 2161 w 10785"/>
                  <a:gd name="connsiteY2788" fmla="*/ 8350 h 10000"/>
                  <a:gd name="connsiteX2789" fmla="*/ 2198 w 10785"/>
                  <a:gd name="connsiteY2789" fmla="*/ 8350 h 10000"/>
                  <a:gd name="connsiteX2790" fmla="*/ 2207 w 10785"/>
                  <a:gd name="connsiteY2790" fmla="*/ 8333 h 10000"/>
                  <a:gd name="connsiteX2791" fmla="*/ 2226 w 10785"/>
                  <a:gd name="connsiteY2791" fmla="*/ 8325 h 10000"/>
                  <a:gd name="connsiteX2792" fmla="*/ 2249 w 10785"/>
                  <a:gd name="connsiteY2792" fmla="*/ 8222 h 10000"/>
                  <a:gd name="connsiteX2793" fmla="*/ 2235 w 10785"/>
                  <a:gd name="connsiteY2793" fmla="*/ 8197 h 10000"/>
                  <a:gd name="connsiteX2794" fmla="*/ 2198 w 10785"/>
                  <a:gd name="connsiteY2794" fmla="*/ 8197 h 10000"/>
                  <a:gd name="connsiteX2795" fmla="*/ 2189 w 10785"/>
                  <a:gd name="connsiteY2795" fmla="*/ 8171 h 10000"/>
                  <a:gd name="connsiteX2796" fmla="*/ 2161 w 10785"/>
                  <a:gd name="connsiteY2796" fmla="*/ 8145 h 10000"/>
                  <a:gd name="connsiteX2797" fmla="*/ 2161 w 10785"/>
                  <a:gd name="connsiteY2797" fmla="*/ 8137 h 10000"/>
                  <a:gd name="connsiteX2798" fmla="*/ 2152 w 10785"/>
                  <a:gd name="connsiteY2798" fmla="*/ 8120 h 10000"/>
                  <a:gd name="connsiteX2799" fmla="*/ 2138 w 10785"/>
                  <a:gd name="connsiteY2799" fmla="*/ 8111 h 10000"/>
                  <a:gd name="connsiteX2800" fmla="*/ 2138 w 10785"/>
                  <a:gd name="connsiteY2800" fmla="*/ 8094 h 10000"/>
                  <a:gd name="connsiteX2801" fmla="*/ 2147 w 10785"/>
                  <a:gd name="connsiteY2801" fmla="*/ 8085 h 10000"/>
                  <a:gd name="connsiteX2802" fmla="*/ 2161 w 10785"/>
                  <a:gd name="connsiteY2802" fmla="*/ 8060 h 10000"/>
                  <a:gd name="connsiteX2803" fmla="*/ 2198 w 10785"/>
                  <a:gd name="connsiteY2803" fmla="*/ 8034 h 10000"/>
                  <a:gd name="connsiteX2804" fmla="*/ 2198 w 10785"/>
                  <a:gd name="connsiteY2804" fmla="*/ 8026 h 10000"/>
                  <a:gd name="connsiteX2805" fmla="*/ 2198 w 10785"/>
                  <a:gd name="connsiteY2805" fmla="*/ 8000 h 10000"/>
                  <a:gd name="connsiteX2806" fmla="*/ 2180 w 10785"/>
                  <a:gd name="connsiteY2806" fmla="*/ 7940 h 10000"/>
                  <a:gd name="connsiteX2807" fmla="*/ 2189 w 10785"/>
                  <a:gd name="connsiteY2807" fmla="*/ 7940 h 10000"/>
                  <a:gd name="connsiteX2808" fmla="*/ 2198 w 10785"/>
                  <a:gd name="connsiteY2808" fmla="*/ 7923 h 10000"/>
                  <a:gd name="connsiteX2809" fmla="*/ 2198 w 10785"/>
                  <a:gd name="connsiteY2809" fmla="*/ 7897 h 10000"/>
                  <a:gd name="connsiteX2810" fmla="*/ 2207 w 10785"/>
                  <a:gd name="connsiteY2810" fmla="*/ 7889 h 10000"/>
                  <a:gd name="connsiteX2811" fmla="*/ 2221 w 10785"/>
                  <a:gd name="connsiteY2811" fmla="*/ 7889 h 10000"/>
                  <a:gd name="connsiteX2812" fmla="*/ 2226 w 10785"/>
                  <a:gd name="connsiteY2812" fmla="*/ 7897 h 10000"/>
                  <a:gd name="connsiteX2813" fmla="*/ 2235 w 10785"/>
                  <a:gd name="connsiteY2813" fmla="*/ 7889 h 10000"/>
                  <a:gd name="connsiteX2814" fmla="*/ 2249 w 10785"/>
                  <a:gd name="connsiteY2814" fmla="*/ 7897 h 10000"/>
                  <a:gd name="connsiteX2815" fmla="*/ 2267 w 10785"/>
                  <a:gd name="connsiteY2815" fmla="*/ 7897 h 10000"/>
                  <a:gd name="connsiteX2816" fmla="*/ 2272 w 10785"/>
                  <a:gd name="connsiteY2816" fmla="*/ 7889 h 10000"/>
                  <a:gd name="connsiteX2817" fmla="*/ 2281 w 10785"/>
                  <a:gd name="connsiteY2817" fmla="*/ 7872 h 10000"/>
                  <a:gd name="connsiteX2818" fmla="*/ 2272 w 10785"/>
                  <a:gd name="connsiteY2818" fmla="*/ 7846 h 10000"/>
                  <a:gd name="connsiteX2819" fmla="*/ 2253 w 10785"/>
                  <a:gd name="connsiteY2819" fmla="*/ 7838 h 10000"/>
                  <a:gd name="connsiteX2820" fmla="*/ 2221 w 10785"/>
                  <a:gd name="connsiteY2820" fmla="*/ 7821 h 10000"/>
                  <a:gd name="connsiteX2821" fmla="*/ 2212 w 10785"/>
                  <a:gd name="connsiteY2821" fmla="*/ 7812 h 10000"/>
                  <a:gd name="connsiteX2822" fmla="*/ 2212 w 10785"/>
                  <a:gd name="connsiteY2822" fmla="*/ 7803 h 10000"/>
                  <a:gd name="connsiteX2823" fmla="*/ 2221 w 10785"/>
                  <a:gd name="connsiteY2823" fmla="*/ 7803 h 10000"/>
                  <a:gd name="connsiteX2824" fmla="*/ 2235 w 10785"/>
                  <a:gd name="connsiteY2824" fmla="*/ 7786 h 10000"/>
                  <a:gd name="connsiteX2825" fmla="*/ 2240 w 10785"/>
                  <a:gd name="connsiteY2825" fmla="*/ 7778 h 10000"/>
                  <a:gd name="connsiteX2826" fmla="*/ 2226 w 10785"/>
                  <a:gd name="connsiteY2826" fmla="*/ 7761 h 10000"/>
                  <a:gd name="connsiteX2827" fmla="*/ 2221 w 10785"/>
                  <a:gd name="connsiteY2827" fmla="*/ 7778 h 10000"/>
                  <a:gd name="connsiteX2828" fmla="*/ 2198 w 10785"/>
                  <a:gd name="connsiteY2828" fmla="*/ 7778 h 10000"/>
                  <a:gd name="connsiteX2829" fmla="*/ 2198 w 10785"/>
                  <a:gd name="connsiteY2829" fmla="*/ 7752 h 10000"/>
                  <a:gd name="connsiteX2830" fmla="*/ 2207 w 10785"/>
                  <a:gd name="connsiteY2830" fmla="*/ 7735 h 10000"/>
                  <a:gd name="connsiteX2831" fmla="*/ 2212 w 10785"/>
                  <a:gd name="connsiteY2831" fmla="*/ 7726 h 10000"/>
                  <a:gd name="connsiteX2832" fmla="*/ 2198 w 10785"/>
                  <a:gd name="connsiteY2832" fmla="*/ 7692 h 10000"/>
                  <a:gd name="connsiteX2833" fmla="*/ 2221 w 10785"/>
                  <a:gd name="connsiteY2833" fmla="*/ 7692 h 10000"/>
                  <a:gd name="connsiteX2834" fmla="*/ 2221 w 10785"/>
                  <a:gd name="connsiteY2834" fmla="*/ 7675 h 10000"/>
                  <a:gd name="connsiteX2835" fmla="*/ 2235 w 10785"/>
                  <a:gd name="connsiteY2835" fmla="*/ 7675 h 10000"/>
                  <a:gd name="connsiteX2836" fmla="*/ 2240 w 10785"/>
                  <a:gd name="connsiteY2836" fmla="*/ 7692 h 10000"/>
                  <a:gd name="connsiteX2837" fmla="*/ 2249 w 10785"/>
                  <a:gd name="connsiteY2837" fmla="*/ 7692 h 10000"/>
                  <a:gd name="connsiteX2838" fmla="*/ 2258 w 10785"/>
                  <a:gd name="connsiteY2838" fmla="*/ 7692 h 10000"/>
                  <a:gd name="connsiteX2839" fmla="*/ 2267 w 10785"/>
                  <a:gd name="connsiteY2839" fmla="*/ 7692 h 10000"/>
                  <a:gd name="connsiteX2840" fmla="*/ 2295 w 10785"/>
                  <a:gd name="connsiteY2840" fmla="*/ 7692 h 10000"/>
                  <a:gd name="connsiteX2841" fmla="*/ 2300 w 10785"/>
                  <a:gd name="connsiteY2841" fmla="*/ 7701 h 10000"/>
                  <a:gd name="connsiteX2842" fmla="*/ 2313 w 10785"/>
                  <a:gd name="connsiteY2842" fmla="*/ 7675 h 10000"/>
                  <a:gd name="connsiteX2843" fmla="*/ 2323 w 10785"/>
                  <a:gd name="connsiteY2843" fmla="*/ 7675 h 10000"/>
                  <a:gd name="connsiteX2844" fmla="*/ 2341 w 10785"/>
                  <a:gd name="connsiteY2844" fmla="*/ 7675 h 10000"/>
                  <a:gd name="connsiteX2845" fmla="*/ 2346 w 10785"/>
                  <a:gd name="connsiteY2845" fmla="*/ 7667 h 10000"/>
                  <a:gd name="connsiteX2846" fmla="*/ 2359 w 10785"/>
                  <a:gd name="connsiteY2846" fmla="*/ 7650 h 10000"/>
                  <a:gd name="connsiteX2847" fmla="*/ 2373 w 10785"/>
                  <a:gd name="connsiteY2847" fmla="*/ 7624 h 10000"/>
                  <a:gd name="connsiteX2848" fmla="*/ 2382 w 10785"/>
                  <a:gd name="connsiteY2848" fmla="*/ 7641 h 10000"/>
                  <a:gd name="connsiteX2849" fmla="*/ 2396 w 10785"/>
                  <a:gd name="connsiteY2849" fmla="*/ 7650 h 10000"/>
                  <a:gd name="connsiteX2850" fmla="*/ 2401 w 10785"/>
                  <a:gd name="connsiteY2850" fmla="*/ 7650 h 10000"/>
                  <a:gd name="connsiteX2851" fmla="*/ 2401 w 10785"/>
                  <a:gd name="connsiteY2851" fmla="*/ 7624 h 10000"/>
                  <a:gd name="connsiteX2852" fmla="*/ 2419 w 10785"/>
                  <a:gd name="connsiteY2852" fmla="*/ 7624 h 10000"/>
                  <a:gd name="connsiteX2853" fmla="*/ 2433 w 10785"/>
                  <a:gd name="connsiteY2853" fmla="*/ 7615 h 10000"/>
                  <a:gd name="connsiteX2854" fmla="*/ 2442 w 10785"/>
                  <a:gd name="connsiteY2854" fmla="*/ 7615 h 10000"/>
                  <a:gd name="connsiteX2855" fmla="*/ 2447 w 10785"/>
                  <a:gd name="connsiteY2855" fmla="*/ 7598 h 10000"/>
                  <a:gd name="connsiteX2856" fmla="*/ 2461 w 10785"/>
                  <a:gd name="connsiteY2856" fmla="*/ 7598 h 10000"/>
                  <a:gd name="connsiteX2857" fmla="*/ 2465 w 10785"/>
                  <a:gd name="connsiteY2857" fmla="*/ 7615 h 10000"/>
                  <a:gd name="connsiteX2858" fmla="*/ 2479 w 10785"/>
                  <a:gd name="connsiteY2858" fmla="*/ 7564 h 10000"/>
                  <a:gd name="connsiteX2859" fmla="*/ 2488 w 10785"/>
                  <a:gd name="connsiteY2859" fmla="*/ 7556 h 10000"/>
                  <a:gd name="connsiteX2860" fmla="*/ 2493 w 10785"/>
                  <a:gd name="connsiteY2860" fmla="*/ 7556 h 10000"/>
                  <a:gd name="connsiteX2861" fmla="*/ 2507 w 10785"/>
                  <a:gd name="connsiteY2861" fmla="*/ 7556 h 10000"/>
                  <a:gd name="connsiteX2862" fmla="*/ 2530 w 10785"/>
                  <a:gd name="connsiteY2862" fmla="*/ 7538 h 10000"/>
                  <a:gd name="connsiteX2863" fmla="*/ 2530 w 10785"/>
                  <a:gd name="connsiteY2863" fmla="*/ 7556 h 10000"/>
                  <a:gd name="connsiteX2864" fmla="*/ 2641 w 10785"/>
                  <a:gd name="connsiteY2864" fmla="*/ 7504 h 10000"/>
                  <a:gd name="connsiteX2865" fmla="*/ 2654 w 10785"/>
                  <a:gd name="connsiteY2865" fmla="*/ 7487 h 10000"/>
                  <a:gd name="connsiteX2866" fmla="*/ 2664 w 10785"/>
                  <a:gd name="connsiteY2866" fmla="*/ 7487 h 10000"/>
                  <a:gd name="connsiteX2867" fmla="*/ 2668 w 10785"/>
                  <a:gd name="connsiteY2867" fmla="*/ 7479 h 10000"/>
                  <a:gd name="connsiteX2868" fmla="*/ 2673 w 10785"/>
                  <a:gd name="connsiteY2868" fmla="*/ 7462 h 10000"/>
                  <a:gd name="connsiteX2869" fmla="*/ 2673 w 10785"/>
                  <a:gd name="connsiteY2869" fmla="*/ 7427 h 10000"/>
                  <a:gd name="connsiteX2870" fmla="*/ 2687 w 10785"/>
                  <a:gd name="connsiteY2870" fmla="*/ 7436 h 10000"/>
                  <a:gd name="connsiteX2871" fmla="*/ 2696 w 10785"/>
                  <a:gd name="connsiteY2871" fmla="*/ 7427 h 10000"/>
                  <a:gd name="connsiteX2872" fmla="*/ 2700 w 10785"/>
                  <a:gd name="connsiteY2872" fmla="*/ 7419 h 10000"/>
                  <a:gd name="connsiteX2873" fmla="*/ 2710 w 10785"/>
                  <a:gd name="connsiteY2873" fmla="*/ 7402 h 10000"/>
                  <a:gd name="connsiteX2874" fmla="*/ 2724 w 10785"/>
                  <a:gd name="connsiteY2874" fmla="*/ 7402 h 10000"/>
                  <a:gd name="connsiteX2875" fmla="*/ 2724 w 10785"/>
                  <a:gd name="connsiteY2875" fmla="*/ 7393 h 10000"/>
                  <a:gd name="connsiteX2876" fmla="*/ 2737 w 10785"/>
                  <a:gd name="connsiteY2876" fmla="*/ 7393 h 10000"/>
                  <a:gd name="connsiteX2877" fmla="*/ 2742 w 10785"/>
                  <a:gd name="connsiteY2877" fmla="*/ 7402 h 10000"/>
                  <a:gd name="connsiteX2878" fmla="*/ 2747 w 10785"/>
                  <a:gd name="connsiteY2878" fmla="*/ 7402 h 10000"/>
                  <a:gd name="connsiteX2879" fmla="*/ 2760 w 10785"/>
                  <a:gd name="connsiteY2879" fmla="*/ 7402 h 10000"/>
                  <a:gd name="connsiteX2880" fmla="*/ 2770 w 10785"/>
                  <a:gd name="connsiteY2880" fmla="*/ 7402 h 10000"/>
                  <a:gd name="connsiteX2881" fmla="*/ 2774 w 10785"/>
                  <a:gd name="connsiteY2881" fmla="*/ 7402 h 10000"/>
                  <a:gd name="connsiteX2882" fmla="*/ 2783 w 10785"/>
                  <a:gd name="connsiteY2882" fmla="*/ 7419 h 10000"/>
                  <a:gd name="connsiteX2883" fmla="*/ 2802 w 10785"/>
                  <a:gd name="connsiteY2883" fmla="*/ 7436 h 10000"/>
                  <a:gd name="connsiteX2884" fmla="*/ 2816 w 10785"/>
                  <a:gd name="connsiteY2884" fmla="*/ 7419 h 10000"/>
                  <a:gd name="connsiteX2885" fmla="*/ 2834 w 10785"/>
                  <a:gd name="connsiteY2885" fmla="*/ 7419 h 10000"/>
                  <a:gd name="connsiteX2886" fmla="*/ 2843 w 10785"/>
                  <a:gd name="connsiteY2886" fmla="*/ 7419 h 10000"/>
                  <a:gd name="connsiteX2887" fmla="*/ 2848 w 10785"/>
                  <a:gd name="connsiteY2887" fmla="*/ 7436 h 10000"/>
                  <a:gd name="connsiteX2888" fmla="*/ 2857 w 10785"/>
                  <a:gd name="connsiteY2888" fmla="*/ 7453 h 10000"/>
                  <a:gd name="connsiteX2889" fmla="*/ 2857 w 10785"/>
                  <a:gd name="connsiteY2889" fmla="*/ 7504 h 10000"/>
                  <a:gd name="connsiteX2890" fmla="*/ 2862 w 10785"/>
                  <a:gd name="connsiteY2890" fmla="*/ 7530 h 10000"/>
                  <a:gd name="connsiteX2891" fmla="*/ 2876 w 10785"/>
                  <a:gd name="connsiteY2891" fmla="*/ 7538 h 10000"/>
                  <a:gd name="connsiteX2892" fmla="*/ 2871 w 10785"/>
                  <a:gd name="connsiteY2892" fmla="*/ 7564 h 10000"/>
                  <a:gd name="connsiteX2893" fmla="*/ 2871 w 10785"/>
                  <a:gd name="connsiteY2893" fmla="*/ 7598 h 10000"/>
                  <a:gd name="connsiteX2894" fmla="*/ 2857 w 10785"/>
                  <a:gd name="connsiteY2894" fmla="*/ 7624 h 10000"/>
                  <a:gd name="connsiteX2895" fmla="*/ 2862 w 10785"/>
                  <a:gd name="connsiteY2895" fmla="*/ 7641 h 10000"/>
                  <a:gd name="connsiteX2896" fmla="*/ 2871 w 10785"/>
                  <a:gd name="connsiteY2896" fmla="*/ 7667 h 10000"/>
                  <a:gd name="connsiteX2897" fmla="*/ 2880 w 10785"/>
                  <a:gd name="connsiteY2897" fmla="*/ 7650 h 10000"/>
                  <a:gd name="connsiteX2898" fmla="*/ 2894 w 10785"/>
                  <a:gd name="connsiteY2898" fmla="*/ 7667 h 10000"/>
                  <a:gd name="connsiteX2899" fmla="*/ 2903 w 10785"/>
                  <a:gd name="connsiteY2899" fmla="*/ 7667 h 10000"/>
                  <a:gd name="connsiteX2900" fmla="*/ 2908 w 10785"/>
                  <a:gd name="connsiteY2900" fmla="*/ 7641 h 10000"/>
                  <a:gd name="connsiteX2901" fmla="*/ 2917 w 10785"/>
                  <a:gd name="connsiteY2901" fmla="*/ 7641 h 10000"/>
                  <a:gd name="connsiteX2902" fmla="*/ 2922 w 10785"/>
                  <a:gd name="connsiteY2902" fmla="*/ 7641 h 10000"/>
                  <a:gd name="connsiteX2903" fmla="*/ 2931 w 10785"/>
                  <a:gd name="connsiteY2903" fmla="*/ 7615 h 10000"/>
                  <a:gd name="connsiteX2904" fmla="*/ 2935 w 10785"/>
                  <a:gd name="connsiteY2904" fmla="*/ 7615 h 10000"/>
                  <a:gd name="connsiteX2905" fmla="*/ 2945 w 10785"/>
                  <a:gd name="connsiteY2905" fmla="*/ 7650 h 10000"/>
                  <a:gd name="connsiteX2906" fmla="*/ 2949 w 10785"/>
                  <a:gd name="connsiteY2906" fmla="*/ 7667 h 10000"/>
                  <a:gd name="connsiteX2907" fmla="*/ 2949 w 10785"/>
                  <a:gd name="connsiteY2907" fmla="*/ 7675 h 10000"/>
                  <a:gd name="connsiteX2908" fmla="*/ 2945 w 10785"/>
                  <a:gd name="connsiteY2908" fmla="*/ 7692 h 10000"/>
                  <a:gd name="connsiteX2909" fmla="*/ 2963 w 10785"/>
                  <a:gd name="connsiteY2909" fmla="*/ 7701 h 10000"/>
                  <a:gd name="connsiteX2910" fmla="*/ 2963 w 10785"/>
                  <a:gd name="connsiteY2910" fmla="*/ 7675 h 10000"/>
                  <a:gd name="connsiteX2911" fmla="*/ 2954 w 10785"/>
                  <a:gd name="connsiteY2911" fmla="*/ 7667 h 10000"/>
                  <a:gd name="connsiteX2912" fmla="*/ 2963 w 10785"/>
                  <a:gd name="connsiteY2912" fmla="*/ 7667 h 10000"/>
                  <a:gd name="connsiteX2913" fmla="*/ 2982 w 10785"/>
                  <a:gd name="connsiteY2913" fmla="*/ 7667 h 10000"/>
                  <a:gd name="connsiteX2914" fmla="*/ 2991 w 10785"/>
                  <a:gd name="connsiteY2914" fmla="*/ 7675 h 10000"/>
                  <a:gd name="connsiteX2915" fmla="*/ 2995 w 10785"/>
                  <a:gd name="connsiteY2915" fmla="*/ 7692 h 10000"/>
                  <a:gd name="connsiteX2916" fmla="*/ 3009 w 10785"/>
                  <a:gd name="connsiteY2916" fmla="*/ 7701 h 10000"/>
                  <a:gd name="connsiteX2917" fmla="*/ 3018 w 10785"/>
                  <a:gd name="connsiteY2917" fmla="*/ 7701 h 10000"/>
                  <a:gd name="connsiteX2918" fmla="*/ 3023 w 10785"/>
                  <a:gd name="connsiteY2918" fmla="*/ 7692 h 10000"/>
                  <a:gd name="connsiteX2919" fmla="*/ 3028 w 10785"/>
                  <a:gd name="connsiteY2919" fmla="*/ 7675 h 10000"/>
                  <a:gd name="connsiteX2920" fmla="*/ 3037 w 10785"/>
                  <a:gd name="connsiteY2920" fmla="*/ 7692 h 10000"/>
                  <a:gd name="connsiteX2921" fmla="*/ 3028 w 10785"/>
                  <a:gd name="connsiteY2921" fmla="*/ 7709 h 10000"/>
                  <a:gd name="connsiteX2922" fmla="*/ 3023 w 10785"/>
                  <a:gd name="connsiteY2922" fmla="*/ 7709 h 10000"/>
                  <a:gd name="connsiteX2923" fmla="*/ 3018 w 10785"/>
                  <a:gd name="connsiteY2923" fmla="*/ 7726 h 10000"/>
                  <a:gd name="connsiteX2924" fmla="*/ 3009 w 10785"/>
                  <a:gd name="connsiteY2924" fmla="*/ 7735 h 10000"/>
                  <a:gd name="connsiteX2925" fmla="*/ 3009 w 10785"/>
                  <a:gd name="connsiteY2925" fmla="*/ 7761 h 10000"/>
                  <a:gd name="connsiteX2926" fmla="*/ 3009 w 10785"/>
                  <a:gd name="connsiteY2926" fmla="*/ 7778 h 10000"/>
                  <a:gd name="connsiteX2927" fmla="*/ 3018 w 10785"/>
                  <a:gd name="connsiteY2927" fmla="*/ 7786 h 10000"/>
                  <a:gd name="connsiteX2928" fmla="*/ 3023 w 10785"/>
                  <a:gd name="connsiteY2928" fmla="*/ 7786 h 10000"/>
                  <a:gd name="connsiteX2929" fmla="*/ 3028 w 10785"/>
                  <a:gd name="connsiteY2929" fmla="*/ 7778 h 10000"/>
                  <a:gd name="connsiteX2930" fmla="*/ 3051 w 10785"/>
                  <a:gd name="connsiteY2930" fmla="*/ 7761 h 10000"/>
                  <a:gd name="connsiteX2931" fmla="*/ 3055 w 10785"/>
                  <a:gd name="connsiteY2931" fmla="*/ 7778 h 10000"/>
                  <a:gd name="connsiteX2932" fmla="*/ 3065 w 10785"/>
                  <a:gd name="connsiteY2932" fmla="*/ 7761 h 10000"/>
                  <a:gd name="connsiteX2933" fmla="*/ 3069 w 10785"/>
                  <a:gd name="connsiteY2933" fmla="*/ 7786 h 10000"/>
                  <a:gd name="connsiteX2934" fmla="*/ 3083 w 10785"/>
                  <a:gd name="connsiteY2934" fmla="*/ 7786 h 10000"/>
                  <a:gd name="connsiteX2935" fmla="*/ 3078 w 10785"/>
                  <a:gd name="connsiteY2935" fmla="*/ 7761 h 10000"/>
                  <a:gd name="connsiteX2936" fmla="*/ 3083 w 10785"/>
                  <a:gd name="connsiteY2936" fmla="*/ 7752 h 10000"/>
                  <a:gd name="connsiteX2937" fmla="*/ 3097 w 10785"/>
                  <a:gd name="connsiteY2937" fmla="*/ 7752 h 10000"/>
                  <a:gd name="connsiteX2938" fmla="*/ 3111 w 10785"/>
                  <a:gd name="connsiteY2938" fmla="*/ 7726 h 10000"/>
                  <a:gd name="connsiteX2939" fmla="*/ 3124 w 10785"/>
                  <a:gd name="connsiteY2939" fmla="*/ 7709 h 10000"/>
                  <a:gd name="connsiteX2940" fmla="*/ 3143 w 10785"/>
                  <a:gd name="connsiteY2940" fmla="*/ 7692 h 10000"/>
                  <a:gd name="connsiteX2941" fmla="*/ 3152 w 10785"/>
                  <a:gd name="connsiteY2941" fmla="*/ 7667 h 10000"/>
                  <a:gd name="connsiteX2942" fmla="*/ 3157 w 10785"/>
                  <a:gd name="connsiteY2942" fmla="*/ 7650 h 10000"/>
                  <a:gd name="connsiteX2943" fmla="*/ 3161 w 10785"/>
                  <a:gd name="connsiteY2943" fmla="*/ 7650 h 10000"/>
                  <a:gd name="connsiteX2944" fmla="*/ 3189 w 10785"/>
                  <a:gd name="connsiteY2944" fmla="*/ 7641 h 10000"/>
                  <a:gd name="connsiteX2945" fmla="*/ 3198 w 10785"/>
                  <a:gd name="connsiteY2945" fmla="*/ 7624 h 10000"/>
                  <a:gd name="connsiteX2946" fmla="*/ 3217 w 10785"/>
                  <a:gd name="connsiteY2946" fmla="*/ 7615 h 10000"/>
                  <a:gd name="connsiteX2947" fmla="*/ 3235 w 10785"/>
                  <a:gd name="connsiteY2947" fmla="*/ 7598 h 10000"/>
                  <a:gd name="connsiteX2948" fmla="*/ 3235 w 10785"/>
                  <a:gd name="connsiteY2948" fmla="*/ 7615 h 10000"/>
                  <a:gd name="connsiteX2949" fmla="*/ 3235 w 10785"/>
                  <a:gd name="connsiteY2949" fmla="*/ 7641 h 10000"/>
                  <a:gd name="connsiteX2950" fmla="*/ 3235 w 10785"/>
                  <a:gd name="connsiteY2950" fmla="*/ 7650 h 10000"/>
                  <a:gd name="connsiteX2951" fmla="*/ 3226 w 10785"/>
                  <a:gd name="connsiteY2951" fmla="*/ 7650 h 10000"/>
                  <a:gd name="connsiteX2952" fmla="*/ 3217 w 10785"/>
                  <a:gd name="connsiteY2952" fmla="*/ 7650 h 10000"/>
                  <a:gd name="connsiteX2953" fmla="*/ 3212 w 10785"/>
                  <a:gd name="connsiteY2953" fmla="*/ 7675 h 10000"/>
                  <a:gd name="connsiteX2954" fmla="*/ 3212 w 10785"/>
                  <a:gd name="connsiteY2954"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307 w 10785"/>
                  <a:gd name="connsiteY731" fmla="*/ 4899 h 10000"/>
                  <a:gd name="connsiteX732" fmla="*/ 10617 w 10785"/>
                  <a:gd name="connsiteY732" fmla="*/ 4759 h 10000"/>
                  <a:gd name="connsiteX733" fmla="*/ 10785 w 10785"/>
                  <a:gd name="connsiteY733" fmla="*/ 4708 h 10000"/>
                  <a:gd name="connsiteX734" fmla="*/ 10689 w 10785"/>
                  <a:gd name="connsiteY734" fmla="*/ 4467 h 10000"/>
                  <a:gd name="connsiteX735" fmla="*/ 10354 w 10785"/>
                  <a:gd name="connsiteY735" fmla="*/ 4302 h 10000"/>
                  <a:gd name="connsiteX736" fmla="*/ 9912 w 10785"/>
                  <a:gd name="connsiteY736" fmla="*/ 3675 h 10000"/>
                  <a:gd name="connsiteX737" fmla="*/ 9903 w 10785"/>
                  <a:gd name="connsiteY737" fmla="*/ 3667 h 10000"/>
                  <a:gd name="connsiteX738" fmla="*/ 9894 w 10785"/>
                  <a:gd name="connsiteY738" fmla="*/ 3641 h 10000"/>
                  <a:gd name="connsiteX739" fmla="*/ 9889 w 10785"/>
                  <a:gd name="connsiteY739" fmla="*/ 3650 h 10000"/>
                  <a:gd name="connsiteX740" fmla="*/ 9848 w 10785"/>
                  <a:gd name="connsiteY740" fmla="*/ 3598 h 10000"/>
                  <a:gd name="connsiteX741" fmla="*/ 9829 w 10785"/>
                  <a:gd name="connsiteY741" fmla="*/ 3581 h 10000"/>
                  <a:gd name="connsiteX742" fmla="*/ 9820 w 10785"/>
                  <a:gd name="connsiteY742" fmla="*/ 3581 h 10000"/>
                  <a:gd name="connsiteX743" fmla="*/ 9793 w 10785"/>
                  <a:gd name="connsiteY743" fmla="*/ 3556 h 10000"/>
                  <a:gd name="connsiteX744" fmla="*/ 9779 w 10785"/>
                  <a:gd name="connsiteY744" fmla="*/ 3556 h 10000"/>
                  <a:gd name="connsiteX745" fmla="*/ 9747 w 10785"/>
                  <a:gd name="connsiteY745" fmla="*/ 3487 h 10000"/>
                  <a:gd name="connsiteX746" fmla="*/ 9668 w 10785"/>
                  <a:gd name="connsiteY746" fmla="*/ 3479 h 10000"/>
                  <a:gd name="connsiteX747" fmla="*/ 9659 w 10785"/>
                  <a:gd name="connsiteY747" fmla="*/ 3487 h 10000"/>
                  <a:gd name="connsiteX748" fmla="*/ 9645 w 10785"/>
                  <a:gd name="connsiteY748" fmla="*/ 3504 h 10000"/>
                  <a:gd name="connsiteX749" fmla="*/ 9631 w 10785"/>
                  <a:gd name="connsiteY749" fmla="*/ 3487 h 10000"/>
                  <a:gd name="connsiteX750" fmla="*/ 9613 w 10785"/>
                  <a:gd name="connsiteY750" fmla="*/ 3479 h 10000"/>
                  <a:gd name="connsiteX751" fmla="*/ 9599 w 10785"/>
                  <a:gd name="connsiteY751" fmla="*/ 3479 h 10000"/>
                  <a:gd name="connsiteX752" fmla="*/ 9571 w 10785"/>
                  <a:gd name="connsiteY752" fmla="*/ 3479 h 10000"/>
                  <a:gd name="connsiteX753" fmla="*/ 9562 w 10785"/>
                  <a:gd name="connsiteY753" fmla="*/ 3487 h 10000"/>
                  <a:gd name="connsiteX754" fmla="*/ 9539 w 10785"/>
                  <a:gd name="connsiteY754" fmla="*/ 3487 h 10000"/>
                  <a:gd name="connsiteX755" fmla="*/ 9507 w 10785"/>
                  <a:gd name="connsiteY755" fmla="*/ 3453 h 10000"/>
                  <a:gd name="connsiteX756" fmla="*/ 9498 w 10785"/>
                  <a:gd name="connsiteY756" fmla="*/ 3453 h 10000"/>
                  <a:gd name="connsiteX757" fmla="*/ 9387 w 10785"/>
                  <a:gd name="connsiteY757" fmla="*/ 3419 h 10000"/>
                  <a:gd name="connsiteX758" fmla="*/ 9373 w 10785"/>
                  <a:gd name="connsiteY758" fmla="*/ 3427 h 10000"/>
                  <a:gd name="connsiteX759" fmla="*/ 9373 w 10785"/>
                  <a:gd name="connsiteY759" fmla="*/ 3462 h 10000"/>
                  <a:gd name="connsiteX760" fmla="*/ 9378 w 10785"/>
                  <a:gd name="connsiteY760" fmla="*/ 3479 h 10000"/>
                  <a:gd name="connsiteX761" fmla="*/ 9378 w 10785"/>
                  <a:gd name="connsiteY761" fmla="*/ 3530 h 10000"/>
                  <a:gd name="connsiteX762" fmla="*/ 9355 w 10785"/>
                  <a:gd name="connsiteY762" fmla="*/ 3538 h 10000"/>
                  <a:gd name="connsiteX763" fmla="*/ 9355 w 10785"/>
                  <a:gd name="connsiteY763" fmla="*/ 3581 h 10000"/>
                  <a:gd name="connsiteX764" fmla="*/ 9387 w 10785"/>
                  <a:gd name="connsiteY764" fmla="*/ 3590 h 10000"/>
                  <a:gd name="connsiteX765" fmla="*/ 9401 w 10785"/>
                  <a:gd name="connsiteY765" fmla="*/ 3667 h 10000"/>
                  <a:gd name="connsiteX766" fmla="*/ 9406 w 10785"/>
                  <a:gd name="connsiteY766" fmla="*/ 3675 h 10000"/>
                  <a:gd name="connsiteX767" fmla="*/ 9406 w 10785"/>
                  <a:gd name="connsiteY767" fmla="*/ 3701 h 10000"/>
                  <a:gd name="connsiteX768" fmla="*/ 9415 w 10785"/>
                  <a:gd name="connsiteY768" fmla="*/ 3752 h 10000"/>
                  <a:gd name="connsiteX769" fmla="*/ 9373 w 10785"/>
                  <a:gd name="connsiteY769" fmla="*/ 3838 h 10000"/>
                  <a:gd name="connsiteX770" fmla="*/ 9355 w 10785"/>
                  <a:gd name="connsiteY770" fmla="*/ 3863 h 10000"/>
                  <a:gd name="connsiteX771" fmla="*/ 9327 w 10785"/>
                  <a:gd name="connsiteY771" fmla="*/ 3863 h 10000"/>
                  <a:gd name="connsiteX772" fmla="*/ 9313 w 10785"/>
                  <a:gd name="connsiteY772" fmla="*/ 3846 h 10000"/>
                  <a:gd name="connsiteX773" fmla="*/ 9300 w 10785"/>
                  <a:gd name="connsiteY773" fmla="*/ 3778 h 10000"/>
                  <a:gd name="connsiteX774" fmla="*/ 9281 w 10785"/>
                  <a:gd name="connsiteY774" fmla="*/ 3752 h 10000"/>
                  <a:gd name="connsiteX775" fmla="*/ 9281 w 10785"/>
                  <a:gd name="connsiteY775" fmla="*/ 3735 h 10000"/>
                  <a:gd name="connsiteX776" fmla="*/ 9267 w 10785"/>
                  <a:gd name="connsiteY776" fmla="*/ 3726 h 10000"/>
                  <a:gd name="connsiteX777" fmla="*/ 9240 w 10785"/>
                  <a:gd name="connsiteY777" fmla="*/ 3726 h 10000"/>
                  <a:gd name="connsiteX778" fmla="*/ 9230 w 10785"/>
                  <a:gd name="connsiteY778" fmla="*/ 3718 h 10000"/>
                  <a:gd name="connsiteX779" fmla="*/ 9226 w 10785"/>
                  <a:gd name="connsiteY779" fmla="*/ 3590 h 10000"/>
                  <a:gd name="connsiteX780" fmla="*/ 9207 w 10785"/>
                  <a:gd name="connsiteY780" fmla="*/ 3581 h 10000"/>
                  <a:gd name="connsiteX781" fmla="*/ 9207 w 10785"/>
                  <a:gd name="connsiteY781" fmla="*/ 3556 h 10000"/>
                  <a:gd name="connsiteX782" fmla="*/ 9217 w 10785"/>
                  <a:gd name="connsiteY782" fmla="*/ 3538 h 10000"/>
                  <a:gd name="connsiteX783" fmla="*/ 9212 w 10785"/>
                  <a:gd name="connsiteY783" fmla="*/ 3538 h 10000"/>
                  <a:gd name="connsiteX784" fmla="*/ 9198 w 10785"/>
                  <a:gd name="connsiteY784" fmla="*/ 3513 h 10000"/>
                  <a:gd name="connsiteX785" fmla="*/ 9194 w 10785"/>
                  <a:gd name="connsiteY785" fmla="*/ 3530 h 10000"/>
                  <a:gd name="connsiteX786" fmla="*/ 9143 w 10785"/>
                  <a:gd name="connsiteY786" fmla="*/ 3615 h 10000"/>
                  <a:gd name="connsiteX787" fmla="*/ 9138 w 10785"/>
                  <a:gd name="connsiteY787" fmla="*/ 3615 h 10000"/>
                  <a:gd name="connsiteX788" fmla="*/ 9134 w 10785"/>
                  <a:gd name="connsiteY788" fmla="*/ 3615 h 10000"/>
                  <a:gd name="connsiteX789" fmla="*/ 9106 w 10785"/>
                  <a:gd name="connsiteY789" fmla="*/ 3615 h 10000"/>
                  <a:gd name="connsiteX790" fmla="*/ 9078 w 10785"/>
                  <a:gd name="connsiteY790" fmla="*/ 3590 h 10000"/>
                  <a:gd name="connsiteX791" fmla="*/ 9037 w 10785"/>
                  <a:gd name="connsiteY791" fmla="*/ 3581 h 10000"/>
                  <a:gd name="connsiteX792" fmla="*/ 9023 w 10785"/>
                  <a:gd name="connsiteY792" fmla="*/ 3590 h 10000"/>
                  <a:gd name="connsiteX793" fmla="*/ 9018 w 10785"/>
                  <a:gd name="connsiteY793" fmla="*/ 3590 h 10000"/>
                  <a:gd name="connsiteX794" fmla="*/ 9018 w 10785"/>
                  <a:gd name="connsiteY794" fmla="*/ 3590 h 10000"/>
                  <a:gd name="connsiteX795" fmla="*/ 8991 w 10785"/>
                  <a:gd name="connsiteY795" fmla="*/ 3590 h 10000"/>
                  <a:gd name="connsiteX796" fmla="*/ 8972 w 10785"/>
                  <a:gd name="connsiteY796" fmla="*/ 3581 h 10000"/>
                  <a:gd name="connsiteX797" fmla="*/ 8959 w 10785"/>
                  <a:gd name="connsiteY797" fmla="*/ 3513 h 10000"/>
                  <a:gd name="connsiteX798" fmla="*/ 8931 w 10785"/>
                  <a:gd name="connsiteY798" fmla="*/ 3538 h 10000"/>
                  <a:gd name="connsiteX799" fmla="*/ 8889 w 10785"/>
                  <a:gd name="connsiteY799" fmla="*/ 3538 h 10000"/>
                  <a:gd name="connsiteX800" fmla="*/ 8871 w 10785"/>
                  <a:gd name="connsiteY800" fmla="*/ 3556 h 10000"/>
                  <a:gd name="connsiteX801" fmla="*/ 8857 w 10785"/>
                  <a:gd name="connsiteY801" fmla="*/ 3538 h 10000"/>
                  <a:gd name="connsiteX802" fmla="*/ 8843 w 10785"/>
                  <a:gd name="connsiteY802" fmla="*/ 3538 h 10000"/>
                  <a:gd name="connsiteX803" fmla="*/ 8839 w 10785"/>
                  <a:gd name="connsiteY803" fmla="*/ 3556 h 10000"/>
                  <a:gd name="connsiteX804" fmla="*/ 8839 w 10785"/>
                  <a:gd name="connsiteY804" fmla="*/ 3581 h 10000"/>
                  <a:gd name="connsiteX805" fmla="*/ 8825 w 10785"/>
                  <a:gd name="connsiteY805" fmla="*/ 3564 h 10000"/>
                  <a:gd name="connsiteX806" fmla="*/ 8825 w 10785"/>
                  <a:gd name="connsiteY806" fmla="*/ 3615 h 10000"/>
                  <a:gd name="connsiteX807" fmla="*/ 8802 w 10785"/>
                  <a:gd name="connsiteY807" fmla="*/ 3598 h 10000"/>
                  <a:gd name="connsiteX808" fmla="*/ 8797 w 10785"/>
                  <a:gd name="connsiteY808" fmla="*/ 3641 h 10000"/>
                  <a:gd name="connsiteX809" fmla="*/ 8783 w 10785"/>
                  <a:gd name="connsiteY809" fmla="*/ 3667 h 10000"/>
                  <a:gd name="connsiteX810" fmla="*/ 8779 w 10785"/>
                  <a:gd name="connsiteY810" fmla="*/ 3650 h 10000"/>
                  <a:gd name="connsiteX811" fmla="*/ 8779 w 10785"/>
                  <a:gd name="connsiteY811" fmla="*/ 3615 h 10000"/>
                  <a:gd name="connsiteX812" fmla="*/ 8770 w 10785"/>
                  <a:gd name="connsiteY812" fmla="*/ 3590 h 10000"/>
                  <a:gd name="connsiteX813" fmla="*/ 8765 w 10785"/>
                  <a:gd name="connsiteY813" fmla="*/ 3598 h 10000"/>
                  <a:gd name="connsiteX814" fmla="*/ 8756 w 10785"/>
                  <a:gd name="connsiteY814" fmla="*/ 3590 h 10000"/>
                  <a:gd name="connsiteX815" fmla="*/ 8737 w 10785"/>
                  <a:gd name="connsiteY815" fmla="*/ 3556 h 10000"/>
                  <a:gd name="connsiteX816" fmla="*/ 8724 w 10785"/>
                  <a:gd name="connsiteY816" fmla="*/ 3538 h 10000"/>
                  <a:gd name="connsiteX817" fmla="*/ 8696 w 10785"/>
                  <a:gd name="connsiteY817" fmla="*/ 3538 h 10000"/>
                  <a:gd name="connsiteX818" fmla="*/ 8691 w 10785"/>
                  <a:gd name="connsiteY818" fmla="*/ 3513 h 10000"/>
                  <a:gd name="connsiteX819" fmla="*/ 8668 w 10785"/>
                  <a:gd name="connsiteY819" fmla="*/ 3504 h 10000"/>
                  <a:gd name="connsiteX820" fmla="*/ 8668 w 10785"/>
                  <a:gd name="connsiteY820" fmla="*/ 3487 h 10000"/>
                  <a:gd name="connsiteX821" fmla="*/ 8691 w 10785"/>
                  <a:gd name="connsiteY821" fmla="*/ 3350 h 10000"/>
                  <a:gd name="connsiteX822" fmla="*/ 8691 w 10785"/>
                  <a:gd name="connsiteY822" fmla="*/ 3291 h 10000"/>
                  <a:gd name="connsiteX823" fmla="*/ 8677 w 10785"/>
                  <a:gd name="connsiteY823" fmla="*/ 3239 h 10000"/>
                  <a:gd name="connsiteX824" fmla="*/ 8677 w 10785"/>
                  <a:gd name="connsiteY824" fmla="*/ 3231 h 10000"/>
                  <a:gd name="connsiteX825" fmla="*/ 8636 w 10785"/>
                  <a:gd name="connsiteY825" fmla="*/ 3128 h 10000"/>
                  <a:gd name="connsiteX826" fmla="*/ 8622 w 10785"/>
                  <a:gd name="connsiteY826" fmla="*/ 3120 h 10000"/>
                  <a:gd name="connsiteX827" fmla="*/ 8618 w 10785"/>
                  <a:gd name="connsiteY827" fmla="*/ 3094 h 10000"/>
                  <a:gd name="connsiteX828" fmla="*/ 8594 w 10785"/>
                  <a:gd name="connsiteY828" fmla="*/ 3077 h 10000"/>
                  <a:gd name="connsiteX829" fmla="*/ 8548 w 10785"/>
                  <a:gd name="connsiteY829" fmla="*/ 3077 h 10000"/>
                  <a:gd name="connsiteX830" fmla="*/ 8535 w 10785"/>
                  <a:gd name="connsiteY830" fmla="*/ 3068 h 10000"/>
                  <a:gd name="connsiteX831" fmla="*/ 8429 w 10785"/>
                  <a:gd name="connsiteY831" fmla="*/ 3077 h 10000"/>
                  <a:gd name="connsiteX832" fmla="*/ 8424 w 10785"/>
                  <a:gd name="connsiteY832" fmla="*/ 3077 h 10000"/>
                  <a:gd name="connsiteX833" fmla="*/ 8396 w 10785"/>
                  <a:gd name="connsiteY833" fmla="*/ 3077 h 10000"/>
                  <a:gd name="connsiteX834" fmla="*/ 8387 w 10785"/>
                  <a:gd name="connsiteY834" fmla="*/ 3094 h 10000"/>
                  <a:gd name="connsiteX835" fmla="*/ 8378 w 10785"/>
                  <a:gd name="connsiteY835" fmla="*/ 3094 h 10000"/>
                  <a:gd name="connsiteX836" fmla="*/ 8341 w 10785"/>
                  <a:gd name="connsiteY836" fmla="*/ 3077 h 10000"/>
                  <a:gd name="connsiteX837" fmla="*/ 8336 w 10785"/>
                  <a:gd name="connsiteY837" fmla="*/ 3077 h 10000"/>
                  <a:gd name="connsiteX838" fmla="*/ 8327 w 10785"/>
                  <a:gd name="connsiteY838" fmla="*/ 3103 h 10000"/>
                  <a:gd name="connsiteX839" fmla="*/ 8309 w 10785"/>
                  <a:gd name="connsiteY839" fmla="*/ 3120 h 10000"/>
                  <a:gd name="connsiteX840" fmla="*/ 8304 w 10785"/>
                  <a:gd name="connsiteY840" fmla="*/ 3103 h 10000"/>
                  <a:gd name="connsiteX841" fmla="*/ 8276 w 10785"/>
                  <a:gd name="connsiteY841" fmla="*/ 3103 h 10000"/>
                  <a:gd name="connsiteX842" fmla="*/ 8267 w 10785"/>
                  <a:gd name="connsiteY842" fmla="*/ 3120 h 10000"/>
                  <a:gd name="connsiteX843" fmla="*/ 8253 w 10785"/>
                  <a:gd name="connsiteY843" fmla="*/ 3103 h 10000"/>
                  <a:gd name="connsiteX844" fmla="*/ 8230 w 10785"/>
                  <a:gd name="connsiteY844" fmla="*/ 3128 h 10000"/>
                  <a:gd name="connsiteX845" fmla="*/ 8217 w 10785"/>
                  <a:gd name="connsiteY845" fmla="*/ 3128 h 10000"/>
                  <a:gd name="connsiteX846" fmla="*/ 8203 w 10785"/>
                  <a:gd name="connsiteY846" fmla="*/ 3154 h 10000"/>
                  <a:gd name="connsiteX847" fmla="*/ 8175 w 10785"/>
                  <a:gd name="connsiteY847" fmla="*/ 3094 h 10000"/>
                  <a:gd name="connsiteX848" fmla="*/ 8161 w 10785"/>
                  <a:gd name="connsiteY848" fmla="*/ 3094 h 10000"/>
                  <a:gd name="connsiteX849" fmla="*/ 8157 w 10785"/>
                  <a:gd name="connsiteY849" fmla="*/ 3077 h 10000"/>
                  <a:gd name="connsiteX850" fmla="*/ 8180 w 10785"/>
                  <a:gd name="connsiteY850" fmla="*/ 3068 h 10000"/>
                  <a:gd name="connsiteX851" fmla="*/ 8189 w 10785"/>
                  <a:gd name="connsiteY851" fmla="*/ 3043 h 10000"/>
                  <a:gd name="connsiteX852" fmla="*/ 8189 w 10785"/>
                  <a:gd name="connsiteY852" fmla="*/ 3017 h 10000"/>
                  <a:gd name="connsiteX853" fmla="*/ 8147 w 10785"/>
                  <a:gd name="connsiteY853" fmla="*/ 2940 h 10000"/>
                  <a:gd name="connsiteX854" fmla="*/ 8143 w 10785"/>
                  <a:gd name="connsiteY854" fmla="*/ 2915 h 10000"/>
                  <a:gd name="connsiteX855" fmla="*/ 8143 w 10785"/>
                  <a:gd name="connsiteY855" fmla="*/ 2906 h 10000"/>
                  <a:gd name="connsiteX856" fmla="*/ 8097 w 10785"/>
                  <a:gd name="connsiteY856" fmla="*/ 2932 h 10000"/>
                  <a:gd name="connsiteX857" fmla="*/ 8083 w 10785"/>
                  <a:gd name="connsiteY857" fmla="*/ 2932 h 10000"/>
                  <a:gd name="connsiteX858" fmla="*/ 8074 w 10785"/>
                  <a:gd name="connsiteY858" fmla="*/ 2906 h 10000"/>
                  <a:gd name="connsiteX859" fmla="*/ 8074 w 10785"/>
                  <a:gd name="connsiteY859" fmla="*/ 2897 h 10000"/>
                  <a:gd name="connsiteX860" fmla="*/ 8055 w 10785"/>
                  <a:gd name="connsiteY860" fmla="*/ 2872 h 10000"/>
                  <a:gd name="connsiteX861" fmla="*/ 8046 w 10785"/>
                  <a:gd name="connsiteY861" fmla="*/ 2829 h 10000"/>
                  <a:gd name="connsiteX862" fmla="*/ 8041 w 10785"/>
                  <a:gd name="connsiteY862" fmla="*/ 2829 h 10000"/>
                  <a:gd name="connsiteX863" fmla="*/ 8023 w 10785"/>
                  <a:gd name="connsiteY863" fmla="*/ 2803 h 10000"/>
                  <a:gd name="connsiteX864" fmla="*/ 8014 w 10785"/>
                  <a:gd name="connsiteY864" fmla="*/ 2829 h 10000"/>
                  <a:gd name="connsiteX865" fmla="*/ 8000 w 10785"/>
                  <a:gd name="connsiteY865" fmla="*/ 2829 h 10000"/>
                  <a:gd name="connsiteX866" fmla="*/ 7995 w 10785"/>
                  <a:gd name="connsiteY866" fmla="*/ 2821 h 10000"/>
                  <a:gd name="connsiteX867" fmla="*/ 7972 w 10785"/>
                  <a:gd name="connsiteY867" fmla="*/ 2803 h 10000"/>
                  <a:gd name="connsiteX868" fmla="*/ 7968 w 10785"/>
                  <a:gd name="connsiteY868" fmla="*/ 2821 h 10000"/>
                  <a:gd name="connsiteX869" fmla="*/ 7968 w 10785"/>
                  <a:gd name="connsiteY869" fmla="*/ 2803 h 10000"/>
                  <a:gd name="connsiteX870" fmla="*/ 7995 w 10785"/>
                  <a:gd name="connsiteY870" fmla="*/ 2735 h 10000"/>
                  <a:gd name="connsiteX871" fmla="*/ 8000 w 10785"/>
                  <a:gd name="connsiteY871" fmla="*/ 2735 h 10000"/>
                  <a:gd name="connsiteX872" fmla="*/ 8014 w 10785"/>
                  <a:gd name="connsiteY872" fmla="*/ 2744 h 10000"/>
                  <a:gd name="connsiteX873" fmla="*/ 8023 w 10785"/>
                  <a:gd name="connsiteY873" fmla="*/ 2769 h 10000"/>
                  <a:gd name="connsiteX874" fmla="*/ 8032 w 10785"/>
                  <a:gd name="connsiteY874" fmla="*/ 2744 h 10000"/>
                  <a:gd name="connsiteX875" fmla="*/ 8032 w 10785"/>
                  <a:gd name="connsiteY875" fmla="*/ 2709 h 10000"/>
                  <a:gd name="connsiteX876" fmla="*/ 8023 w 10785"/>
                  <a:gd name="connsiteY876" fmla="*/ 2632 h 10000"/>
                  <a:gd name="connsiteX877" fmla="*/ 7986 w 10785"/>
                  <a:gd name="connsiteY877" fmla="*/ 2581 h 10000"/>
                  <a:gd name="connsiteX878" fmla="*/ 7968 w 10785"/>
                  <a:gd name="connsiteY878" fmla="*/ 2581 h 10000"/>
                  <a:gd name="connsiteX879" fmla="*/ 7963 w 10785"/>
                  <a:gd name="connsiteY879" fmla="*/ 2556 h 10000"/>
                  <a:gd name="connsiteX880" fmla="*/ 7935 w 10785"/>
                  <a:gd name="connsiteY880" fmla="*/ 2547 h 10000"/>
                  <a:gd name="connsiteX881" fmla="*/ 7912 w 10785"/>
                  <a:gd name="connsiteY881" fmla="*/ 2547 h 10000"/>
                  <a:gd name="connsiteX882" fmla="*/ 7912 w 10785"/>
                  <a:gd name="connsiteY882" fmla="*/ 2556 h 10000"/>
                  <a:gd name="connsiteX883" fmla="*/ 7908 w 10785"/>
                  <a:gd name="connsiteY883" fmla="*/ 2547 h 10000"/>
                  <a:gd name="connsiteX884" fmla="*/ 7862 w 10785"/>
                  <a:gd name="connsiteY884" fmla="*/ 2547 h 10000"/>
                  <a:gd name="connsiteX885" fmla="*/ 7848 w 10785"/>
                  <a:gd name="connsiteY885" fmla="*/ 2556 h 10000"/>
                  <a:gd name="connsiteX886" fmla="*/ 7820 w 10785"/>
                  <a:gd name="connsiteY886" fmla="*/ 2547 h 10000"/>
                  <a:gd name="connsiteX887" fmla="*/ 7806 w 10785"/>
                  <a:gd name="connsiteY887" fmla="*/ 2513 h 10000"/>
                  <a:gd name="connsiteX888" fmla="*/ 7788 w 10785"/>
                  <a:gd name="connsiteY888" fmla="*/ 2513 h 10000"/>
                  <a:gd name="connsiteX889" fmla="*/ 7760 w 10785"/>
                  <a:gd name="connsiteY889" fmla="*/ 2470 h 10000"/>
                  <a:gd name="connsiteX890" fmla="*/ 7751 w 10785"/>
                  <a:gd name="connsiteY890" fmla="*/ 2470 h 10000"/>
                  <a:gd name="connsiteX891" fmla="*/ 7705 w 10785"/>
                  <a:gd name="connsiteY891" fmla="*/ 2462 h 10000"/>
                  <a:gd name="connsiteX892" fmla="*/ 7673 w 10785"/>
                  <a:gd name="connsiteY892" fmla="*/ 2419 h 10000"/>
                  <a:gd name="connsiteX893" fmla="*/ 7627 w 10785"/>
                  <a:gd name="connsiteY893" fmla="*/ 2419 h 10000"/>
                  <a:gd name="connsiteX894" fmla="*/ 7613 w 10785"/>
                  <a:gd name="connsiteY894" fmla="*/ 2410 h 10000"/>
                  <a:gd name="connsiteX895" fmla="*/ 7493 w 10785"/>
                  <a:gd name="connsiteY895" fmla="*/ 2393 h 10000"/>
                  <a:gd name="connsiteX896" fmla="*/ 7479 w 10785"/>
                  <a:gd name="connsiteY896" fmla="*/ 2385 h 10000"/>
                  <a:gd name="connsiteX897" fmla="*/ 7479 w 10785"/>
                  <a:gd name="connsiteY897" fmla="*/ 2376 h 10000"/>
                  <a:gd name="connsiteX898" fmla="*/ 7465 w 10785"/>
                  <a:gd name="connsiteY898" fmla="*/ 2359 h 10000"/>
                  <a:gd name="connsiteX899" fmla="*/ 7447 w 10785"/>
                  <a:gd name="connsiteY899" fmla="*/ 2350 h 10000"/>
                  <a:gd name="connsiteX900" fmla="*/ 7433 w 10785"/>
                  <a:gd name="connsiteY900" fmla="*/ 2376 h 10000"/>
                  <a:gd name="connsiteX901" fmla="*/ 7433 w 10785"/>
                  <a:gd name="connsiteY901" fmla="*/ 2385 h 10000"/>
                  <a:gd name="connsiteX902" fmla="*/ 7447 w 10785"/>
                  <a:gd name="connsiteY902" fmla="*/ 2410 h 10000"/>
                  <a:gd name="connsiteX903" fmla="*/ 7447 w 10785"/>
                  <a:gd name="connsiteY903" fmla="*/ 2436 h 10000"/>
                  <a:gd name="connsiteX904" fmla="*/ 7452 w 10785"/>
                  <a:gd name="connsiteY904" fmla="*/ 2462 h 10000"/>
                  <a:gd name="connsiteX905" fmla="*/ 7447 w 10785"/>
                  <a:gd name="connsiteY905" fmla="*/ 2470 h 10000"/>
                  <a:gd name="connsiteX906" fmla="*/ 7424 w 10785"/>
                  <a:gd name="connsiteY906" fmla="*/ 2513 h 10000"/>
                  <a:gd name="connsiteX907" fmla="*/ 7419 w 10785"/>
                  <a:gd name="connsiteY907" fmla="*/ 2556 h 10000"/>
                  <a:gd name="connsiteX908" fmla="*/ 7406 w 10785"/>
                  <a:gd name="connsiteY908" fmla="*/ 2624 h 10000"/>
                  <a:gd name="connsiteX909" fmla="*/ 7392 w 10785"/>
                  <a:gd name="connsiteY909" fmla="*/ 2624 h 10000"/>
                  <a:gd name="connsiteX910" fmla="*/ 7373 w 10785"/>
                  <a:gd name="connsiteY910" fmla="*/ 2650 h 10000"/>
                  <a:gd name="connsiteX911" fmla="*/ 7364 w 10785"/>
                  <a:gd name="connsiteY911" fmla="*/ 2684 h 10000"/>
                  <a:gd name="connsiteX912" fmla="*/ 7364 w 10785"/>
                  <a:gd name="connsiteY912" fmla="*/ 2692 h 10000"/>
                  <a:gd name="connsiteX913" fmla="*/ 7373 w 10785"/>
                  <a:gd name="connsiteY913" fmla="*/ 2718 h 10000"/>
                  <a:gd name="connsiteX914" fmla="*/ 7373 w 10785"/>
                  <a:gd name="connsiteY914" fmla="*/ 2744 h 10000"/>
                  <a:gd name="connsiteX915" fmla="*/ 7359 w 10785"/>
                  <a:gd name="connsiteY915" fmla="*/ 2744 h 10000"/>
                  <a:gd name="connsiteX916" fmla="*/ 7359 w 10785"/>
                  <a:gd name="connsiteY916" fmla="*/ 2795 h 10000"/>
                  <a:gd name="connsiteX917" fmla="*/ 7364 w 10785"/>
                  <a:gd name="connsiteY917" fmla="*/ 2821 h 10000"/>
                  <a:gd name="connsiteX918" fmla="*/ 7378 w 10785"/>
                  <a:gd name="connsiteY918" fmla="*/ 2846 h 10000"/>
                  <a:gd name="connsiteX919" fmla="*/ 7378 w 10785"/>
                  <a:gd name="connsiteY919" fmla="*/ 2855 h 10000"/>
                  <a:gd name="connsiteX920" fmla="*/ 7378 w 10785"/>
                  <a:gd name="connsiteY920" fmla="*/ 2880 h 10000"/>
                  <a:gd name="connsiteX921" fmla="*/ 7378 w 10785"/>
                  <a:gd name="connsiteY921" fmla="*/ 2906 h 10000"/>
                  <a:gd name="connsiteX922" fmla="*/ 7364 w 10785"/>
                  <a:gd name="connsiteY922" fmla="*/ 2906 h 10000"/>
                  <a:gd name="connsiteX923" fmla="*/ 7346 w 10785"/>
                  <a:gd name="connsiteY923" fmla="*/ 2880 h 10000"/>
                  <a:gd name="connsiteX924" fmla="*/ 7332 w 10785"/>
                  <a:gd name="connsiteY924" fmla="*/ 2915 h 10000"/>
                  <a:gd name="connsiteX925" fmla="*/ 7318 w 10785"/>
                  <a:gd name="connsiteY925" fmla="*/ 2906 h 10000"/>
                  <a:gd name="connsiteX926" fmla="*/ 7313 w 10785"/>
                  <a:gd name="connsiteY926" fmla="*/ 2915 h 10000"/>
                  <a:gd name="connsiteX927" fmla="*/ 7313 w 10785"/>
                  <a:gd name="connsiteY927" fmla="*/ 2906 h 10000"/>
                  <a:gd name="connsiteX928" fmla="*/ 7286 w 10785"/>
                  <a:gd name="connsiteY928" fmla="*/ 2940 h 10000"/>
                  <a:gd name="connsiteX929" fmla="*/ 7276 w 10785"/>
                  <a:gd name="connsiteY929" fmla="*/ 2966 h 10000"/>
                  <a:gd name="connsiteX930" fmla="*/ 7272 w 10785"/>
                  <a:gd name="connsiteY930" fmla="*/ 2983 h 10000"/>
                  <a:gd name="connsiteX931" fmla="*/ 7267 w 10785"/>
                  <a:gd name="connsiteY931" fmla="*/ 3009 h 10000"/>
                  <a:gd name="connsiteX932" fmla="*/ 7253 w 10785"/>
                  <a:gd name="connsiteY932" fmla="*/ 3009 h 10000"/>
                  <a:gd name="connsiteX933" fmla="*/ 7244 w 10785"/>
                  <a:gd name="connsiteY933" fmla="*/ 3017 h 10000"/>
                  <a:gd name="connsiteX934" fmla="*/ 7240 w 10785"/>
                  <a:gd name="connsiteY934" fmla="*/ 3009 h 10000"/>
                  <a:gd name="connsiteX935" fmla="*/ 7230 w 10785"/>
                  <a:gd name="connsiteY935" fmla="*/ 2991 h 10000"/>
                  <a:gd name="connsiteX936" fmla="*/ 7226 w 10785"/>
                  <a:gd name="connsiteY936" fmla="*/ 2983 h 10000"/>
                  <a:gd name="connsiteX937" fmla="*/ 7226 w 10785"/>
                  <a:gd name="connsiteY937" fmla="*/ 2966 h 10000"/>
                  <a:gd name="connsiteX938" fmla="*/ 7212 w 10785"/>
                  <a:gd name="connsiteY938" fmla="*/ 2957 h 10000"/>
                  <a:gd name="connsiteX939" fmla="*/ 7212 w 10785"/>
                  <a:gd name="connsiteY939" fmla="*/ 2932 h 10000"/>
                  <a:gd name="connsiteX940" fmla="*/ 7198 w 10785"/>
                  <a:gd name="connsiteY940" fmla="*/ 2915 h 10000"/>
                  <a:gd name="connsiteX941" fmla="*/ 7194 w 10785"/>
                  <a:gd name="connsiteY941" fmla="*/ 2915 h 10000"/>
                  <a:gd name="connsiteX942" fmla="*/ 7157 w 10785"/>
                  <a:gd name="connsiteY942" fmla="*/ 2880 h 10000"/>
                  <a:gd name="connsiteX943" fmla="*/ 7138 w 10785"/>
                  <a:gd name="connsiteY943" fmla="*/ 2880 h 10000"/>
                  <a:gd name="connsiteX944" fmla="*/ 7120 w 10785"/>
                  <a:gd name="connsiteY944" fmla="*/ 2872 h 10000"/>
                  <a:gd name="connsiteX945" fmla="*/ 7111 w 10785"/>
                  <a:gd name="connsiteY945" fmla="*/ 2846 h 10000"/>
                  <a:gd name="connsiteX946" fmla="*/ 7106 w 10785"/>
                  <a:gd name="connsiteY946" fmla="*/ 2846 h 10000"/>
                  <a:gd name="connsiteX947" fmla="*/ 7092 w 10785"/>
                  <a:gd name="connsiteY947" fmla="*/ 2829 h 10000"/>
                  <a:gd name="connsiteX948" fmla="*/ 7051 w 10785"/>
                  <a:gd name="connsiteY948" fmla="*/ 2829 h 10000"/>
                  <a:gd name="connsiteX949" fmla="*/ 7037 w 10785"/>
                  <a:gd name="connsiteY949" fmla="*/ 2880 h 10000"/>
                  <a:gd name="connsiteX950" fmla="*/ 7037 w 10785"/>
                  <a:gd name="connsiteY950" fmla="*/ 2906 h 10000"/>
                  <a:gd name="connsiteX951" fmla="*/ 7037 w 10785"/>
                  <a:gd name="connsiteY951" fmla="*/ 2932 h 10000"/>
                  <a:gd name="connsiteX952" fmla="*/ 7037 w 10785"/>
                  <a:gd name="connsiteY952" fmla="*/ 2940 h 10000"/>
                  <a:gd name="connsiteX953" fmla="*/ 7023 w 10785"/>
                  <a:gd name="connsiteY953" fmla="*/ 2906 h 10000"/>
                  <a:gd name="connsiteX954" fmla="*/ 7023 w 10785"/>
                  <a:gd name="connsiteY954" fmla="*/ 2915 h 10000"/>
                  <a:gd name="connsiteX955" fmla="*/ 6991 w 10785"/>
                  <a:gd name="connsiteY955" fmla="*/ 2906 h 10000"/>
                  <a:gd name="connsiteX956" fmla="*/ 6977 w 10785"/>
                  <a:gd name="connsiteY956" fmla="*/ 2915 h 10000"/>
                  <a:gd name="connsiteX957" fmla="*/ 6963 w 10785"/>
                  <a:gd name="connsiteY957" fmla="*/ 2915 h 10000"/>
                  <a:gd name="connsiteX958" fmla="*/ 6949 w 10785"/>
                  <a:gd name="connsiteY958" fmla="*/ 2872 h 10000"/>
                  <a:gd name="connsiteX959" fmla="*/ 6935 w 10785"/>
                  <a:gd name="connsiteY959" fmla="*/ 2855 h 10000"/>
                  <a:gd name="connsiteX960" fmla="*/ 6922 w 10785"/>
                  <a:gd name="connsiteY960" fmla="*/ 2803 h 10000"/>
                  <a:gd name="connsiteX961" fmla="*/ 6917 w 10785"/>
                  <a:gd name="connsiteY961" fmla="*/ 2786 h 10000"/>
                  <a:gd name="connsiteX962" fmla="*/ 6903 w 10785"/>
                  <a:gd name="connsiteY962" fmla="*/ 2709 h 10000"/>
                  <a:gd name="connsiteX963" fmla="*/ 6903 w 10785"/>
                  <a:gd name="connsiteY963" fmla="*/ 2692 h 10000"/>
                  <a:gd name="connsiteX964" fmla="*/ 6899 w 10785"/>
                  <a:gd name="connsiteY964" fmla="*/ 2709 h 10000"/>
                  <a:gd name="connsiteX965" fmla="*/ 6857 w 10785"/>
                  <a:gd name="connsiteY965" fmla="*/ 2872 h 10000"/>
                  <a:gd name="connsiteX966" fmla="*/ 6857 w 10785"/>
                  <a:gd name="connsiteY966" fmla="*/ 3009 h 10000"/>
                  <a:gd name="connsiteX967" fmla="*/ 6848 w 10785"/>
                  <a:gd name="connsiteY967" fmla="*/ 3017 h 10000"/>
                  <a:gd name="connsiteX968" fmla="*/ 6839 w 10785"/>
                  <a:gd name="connsiteY968" fmla="*/ 3068 h 10000"/>
                  <a:gd name="connsiteX969" fmla="*/ 6829 w 10785"/>
                  <a:gd name="connsiteY969" fmla="*/ 3077 h 10000"/>
                  <a:gd name="connsiteX970" fmla="*/ 6829 w 10785"/>
                  <a:gd name="connsiteY970" fmla="*/ 3128 h 10000"/>
                  <a:gd name="connsiteX971" fmla="*/ 6816 w 10785"/>
                  <a:gd name="connsiteY971" fmla="*/ 3154 h 10000"/>
                  <a:gd name="connsiteX972" fmla="*/ 6811 w 10785"/>
                  <a:gd name="connsiteY972" fmla="*/ 3179 h 10000"/>
                  <a:gd name="connsiteX973" fmla="*/ 6797 w 10785"/>
                  <a:gd name="connsiteY973" fmla="*/ 3171 h 10000"/>
                  <a:gd name="connsiteX974" fmla="*/ 6783 w 10785"/>
                  <a:gd name="connsiteY974" fmla="*/ 3103 h 10000"/>
                  <a:gd name="connsiteX975" fmla="*/ 6779 w 10785"/>
                  <a:gd name="connsiteY975" fmla="*/ 3094 h 10000"/>
                  <a:gd name="connsiteX976" fmla="*/ 6779 w 10785"/>
                  <a:gd name="connsiteY976" fmla="*/ 3120 h 10000"/>
                  <a:gd name="connsiteX977" fmla="*/ 6770 w 10785"/>
                  <a:gd name="connsiteY977" fmla="*/ 3128 h 10000"/>
                  <a:gd name="connsiteX978" fmla="*/ 6765 w 10785"/>
                  <a:gd name="connsiteY978" fmla="*/ 3103 h 10000"/>
                  <a:gd name="connsiteX979" fmla="*/ 6756 w 10785"/>
                  <a:gd name="connsiteY979" fmla="*/ 3103 h 10000"/>
                  <a:gd name="connsiteX980" fmla="*/ 6742 w 10785"/>
                  <a:gd name="connsiteY980" fmla="*/ 3103 h 10000"/>
                  <a:gd name="connsiteX981" fmla="*/ 6737 w 10785"/>
                  <a:gd name="connsiteY981" fmla="*/ 3077 h 10000"/>
                  <a:gd name="connsiteX982" fmla="*/ 6737 w 10785"/>
                  <a:gd name="connsiteY982" fmla="*/ 3068 h 10000"/>
                  <a:gd name="connsiteX983" fmla="*/ 6728 w 10785"/>
                  <a:gd name="connsiteY983" fmla="*/ 3043 h 10000"/>
                  <a:gd name="connsiteX984" fmla="*/ 6724 w 10785"/>
                  <a:gd name="connsiteY984" fmla="*/ 3051 h 10000"/>
                  <a:gd name="connsiteX985" fmla="*/ 6714 w 10785"/>
                  <a:gd name="connsiteY985" fmla="*/ 3043 h 10000"/>
                  <a:gd name="connsiteX986" fmla="*/ 6710 w 10785"/>
                  <a:gd name="connsiteY986" fmla="*/ 3034 h 10000"/>
                  <a:gd name="connsiteX987" fmla="*/ 6705 w 10785"/>
                  <a:gd name="connsiteY987" fmla="*/ 2983 h 10000"/>
                  <a:gd name="connsiteX988" fmla="*/ 6696 w 10785"/>
                  <a:gd name="connsiteY988" fmla="*/ 2966 h 10000"/>
                  <a:gd name="connsiteX989" fmla="*/ 6691 w 10785"/>
                  <a:gd name="connsiteY989" fmla="*/ 2983 h 10000"/>
                  <a:gd name="connsiteX990" fmla="*/ 6677 w 10785"/>
                  <a:gd name="connsiteY990" fmla="*/ 2897 h 10000"/>
                  <a:gd name="connsiteX991" fmla="*/ 6677 w 10785"/>
                  <a:gd name="connsiteY991" fmla="*/ 2897 h 10000"/>
                  <a:gd name="connsiteX992" fmla="*/ 6677 w 10785"/>
                  <a:gd name="connsiteY992" fmla="*/ 2872 h 10000"/>
                  <a:gd name="connsiteX993" fmla="*/ 6668 w 10785"/>
                  <a:gd name="connsiteY993" fmla="*/ 2821 h 10000"/>
                  <a:gd name="connsiteX994" fmla="*/ 6664 w 10785"/>
                  <a:gd name="connsiteY994" fmla="*/ 2829 h 10000"/>
                  <a:gd name="connsiteX995" fmla="*/ 6654 w 10785"/>
                  <a:gd name="connsiteY995" fmla="*/ 2846 h 10000"/>
                  <a:gd name="connsiteX996" fmla="*/ 6650 w 10785"/>
                  <a:gd name="connsiteY996" fmla="*/ 2829 h 10000"/>
                  <a:gd name="connsiteX997" fmla="*/ 6650 w 10785"/>
                  <a:gd name="connsiteY997" fmla="*/ 2803 h 10000"/>
                  <a:gd name="connsiteX998" fmla="*/ 6650 w 10785"/>
                  <a:gd name="connsiteY998" fmla="*/ 2795 h 10000"/>
                  <a:gd name="connsiteX999" fmla="*/ 6641 w 10785"/>
                  <a:gd name="connsiteY999" fmla="*/ 2786 h 10000"/>
                  <a:gd name="connsiteX1000" fmla="*/ 6636 w 10785"/>
                  <a:gd name="connsiteY1000" fmla="*/ 2735 h 10000"/>
                  <a:gd name="connsiteX1001" fmla="*/ 6664 w 10785"/>
                  <a:gd name="connsiteY1001" fmla="*/ 2667 h 10000"/>
                  <a:gd name="connsiteX1002" fmla="*/ 6668 w 10785"/>
                  <a:gd name="connsiteY1002" fmla="*/ 2684 h 10000"/>
                  <a:gd name="connsiteX1003" fmla="*/ 6677 w 10785"/>
                  <a:gd name="connsiteY1003" fmla="*/ 2667 h 10000"/>
                  <a:gd name="connsiteX1004" fmla="*/ 6668 w 10785"/>
                  <a:gd name="connsiteY1004" fmla="*/ 2667 h 10000"/>
                  <a:gd name="connsiteX1005" fmla="*/ 6668 w 10785"/>
                  <a:gd name="connsiteY1005" fmla="*/ 2650 h 10000"/>
                  <a:gd name="connsiteX1006" fmla="*/ 6682 w 10785"/>
                  <a:gd name="connsiteY1006" fmla="*/ 2650 h 10000"/>
                  <a:gd name="connsiteX1007" fmla="*/ 6691 w 10785"/>
                  <a:gd name="connsiteY1007" fmla="*/ 2624 h 10000"/>
                  <a:gd name="connsiteX1008" fmla="*/ 6682 w 10785"/>
                  <a:gd name="connsiteY1008" fmla="*/ 2632 h 10000"/>
                  <a:gd name="connsiteX1009" fmla="*/ 6682 w 10785"/>
                  <a:gd name="connsiteY1009" fmla="*/ 2624 h 10000"/>
                  <a:gd name="connsiteX1010" fmla="*/ 6691 w 10785"/>
                  <a:gd name="connsiteY1010" fmla="*/ 2607 h 10000"/>
                  <a:gd name="connsiteX1011" fmla="*/ 6691 w 10785"/>
                  <a:gd name="connsiteY1011" fmla="*/ 2598 h 10000"/>
                  <a:gd name="connsiteX1012" fmla="*/ 6691 w 10785"/>
                  <a:gd name="connsiteY1012" fmla="*/ 2581 h 10000"/>
                  <a:gd name="connsiteX1013" fmla="*/ 6696 w 10785"/>
                  <a:gd name="connsiteY1013" fmla="*/ 2530 h 10000"/>
                  <a:gd name="connsiteX1014" fmla="*/ 6677 w 10785"/>
                  <a:gd name="connsiteY1014" fmla="*/ 2513 h 10000"/>
                  <a:gd name="connsiteX1015" fmla="*/ 6677 w 10785"/>
                  <a:gd name="connsiteY1015" fmla="*/ 2496 h 10000"/>
                  <a:gd name="connsiteX1016" fmla="*/ 6682 w 10785"/>
                  <a:gd name="connsiteY1016" fmla="*/ 2470 h 10000"/>
                  <a:gd name="connsiteX1017" fmla="*/ 6668 w 10785"/>
                  <a:gd name="connsiteY1017" fmla="*/ 2462 h 10000"/>
                  <a:gd name="connsiteX1018" fmla="*/ 6677 w 10785"/>
                  <a:gd name="connsiteY1018" fmla="*/ 2436 h 10000"/>
                  <a:gd name="connsiteX1019" fmla="*/ 6682 w 10785"/>
                  <a:gd name="connsiteY1019" fmla="*/ 2419 h 10000"/>
                  <a:gd name="connsiteX1020" fmla="*/ 6682 w 10785"/>
                  <a:gd name="connsiteY1020" fmla="*/ 2393 h 10000"/>
                  <a:gd name="connsiteX1021" fmla="*/ 6682 w 10785"/>
                  <a:gd name="connsiteY1021" fmla="*/ 2385 h 10000"/>
                  <a:gd name="connsiteX1022" fmla="*/ 6682 w 10785"/>
                  <a:gd name="connsiteY1022" fmla="*/ 2385 h 10000"/>
                  <a:gd name="connsiteX1023" fmla="*/ 6677 w 10785"/>
                  <a:gd name="connsiteY1023" fmla="*/ 2376 h 10000"/>
                  <a:gd name="connsiteX1024" fmla="*/ 6682 w 10785"/>
                  <a:gd name="connsiteY1024" fmla="*/ 2359 h 10000"/>
                  <a:gd name="connsiteX1025" fmla="*/ 6677 w 10785"/>
                  <a:gd name="connsiteY1025" fmla="*/ 2333 h 10000"/>
                  <a:gd name="connsiteX1026" fmla="*/ 6691 w 10785"/>
                  <a:gd name="connsiteY1026" fmla="*/ 2333 h 10000"/>
                  <a:gd name="connsiteX1027" fmla="*/ 6691 w 10785"/>
                  <a:gd name="connsiteY1027" fmla="*/ 2325 h 10000"/>
                  <a:gd name="connsiteX1028" fmla="*/ 6691 w 10785"/>
                  <a:gd name="connsiteY1028" fmla="*/ 2308 h 10000"/>
                  <a:gd name="connsiteX1029" fmla="*/ 6691 w 10785"/>
                  <a:gd name="connsiteY1029" fmla="*/ 2299 h 10000"/>
                  <a:gd name="connsiteX1030" fmla="*/ 6691 w 10785"/>
                  <a:gd name="connsiteY1030" fmla="*/ 2282 h 10000"/>
                  <a:gd name="connsiteX1031" fmla="*/ 6691 w 10785"/>
                  <a:gd name="connsiteY1031" fmla="*/ 2274 h 10000"/>
                  <a:gd name="connsiteX1032" fmla="*/ 6668 w 10785"/>
                  <a:gd name="connsiteY1032" fmla="*/ 2248 h 10000"/>
                  <a:gd name="connsiteX1033" fmla="*/ 6664 w 10785"/>
                  <a:gd name="connsiteY1033" fmla="*/ 2222 h 10000"/>
                  <a:gd name="connsiteX1034" fmla="*/ 6654 w 10785"/>
                  <a:gd name="connsiteY1034" fmla="*/ 2214 h 10000"/>
                  <a:gd name="connsiteX1035" fmla="*/ 6654 w 10785"/>
                  <a:gd name="connsiteY1035" fmla="*/ 2188 h 10000"/>
                  <a:gd name="connsiteX1036" fmla="*/ 6622 w 10785"/>
                  <a:gd name="connsiteY1036" fmla="*/ 2162 h 10000"/>
                  <a:gd name="connsiteX1037" fmla="*/ 6631 w 10785"/>
                  <a:gd name="connsiteY1037" fmla="*/ 2145 h 10000"/>
                  <a:gd name="connsiteX1038" fmla="*/ 6622 w 10785"/>
                  <a:gd name="connsiteY1038" fmla="*/ 2120 h 10000"/>
                  <a:gd name="connsiteX1039" fmla="*/ 6608 w 10785"/>
                  <a:gd name="connsiteY1039" fmla="*/ 2120 h 10000"/>
                  <a:gd name="connsiteX1040" fmla="*/ 6604 w 10785"/>
                  <a:gd name="connsiteY1040" fmla="*/ 2111 h 10000"/>
                  <a:gd name="connsiteX1041" fmla="*/ 6608 w 10785"/>
                  <a:gd name="connsiteY1041" fmla="*/ 2111 h 10000"/>
                  <a:gd name="connsiteX1042" fmla="*/ 6604 w 10785"/>
                  <a:gd name="connsiteY1042" fmla="*/ 2085 h 10000"/>
                  <a:gd name="connsiteX1043" fmla="*/ 6581 w 10785"/>
                  <a:gd name="connsiteY1043" fmla="*/ 2077 h 10000"/>
                  <a:gd name="connsiteX1044" fmla="*/ 6571 w 10785"/>
                  <a:gd name="connsiteY1044" fmla="*/ 2085 h 10000"/>
                  <a:gd name="connsiteX1045" fmla="*/ 6548 w 10785"/>
                  <a:gd name="connsiteY1045" fmla="*/ 2077 h 10000"/>
                  <a:gd name="connsiteX1046" fmla="*/ 6530 w 10785"/>
                  <a:gd name="connsiteY1046" fmla="*/ 2060 h 10000"/>
                  <a:gd name="connsiteX1047" fmla="*/ 6521 w 10785"/>
                  <a:gd name="connsiteY1047" fmla="*/ 2060 h 10000"/>
                  <a:gd name="connsiteX1048" fmla="*/ 6521 w 10785"/>
                  <a:gd name="connsiteY1048" fmla="*/ 2085 h 10000"/>
                  <a:gd name="connsiteX1049" fmla="*/ 6516 w 10785"/>
                  <a:gd name="connsiteY1049" fmla="*/ 2085 h 10000"/>
                  <a:gd name="connsiteX1050" fmla="*/ 6502 w 10785"/>
                  <a:gd name="connsiteY1050" fmla="*/ 2111 h 10000"/>
                  <a:gd name="connsiteX1051" fmla="*/ 6498 w 10785"/>
                  <a:gd name="connsiteY1051" fmla="*/ 2111 h 10000"/>
                  <a:gd name="connsiteX1052" fmla="*/ 6498 w 10785"/>
                  <a:gd name="connsiteY1052" fmla="*/ 2103 h 10000"/>
                  <a:gd name="connsiteX1053" fmla="*/ 6475 w 10785"/>
                  <a:gd name="connsiteY1053" fmla="*/ 2051 h 10000"/>
                  <a:gd name="connsiteX1054" fmla="*/ 6470 w 10785"/>
                  <a:gd name="connsiteY1054" fmla="*/ 2060 h 10000"/>
                  <a:gd name="connsiteX1055" fmla="*/ 6456 w 10785"/>
                  <a:gd name="connsiteY1055" fmla="*/ 2051 h 10000"/>
                  <a:gd name="connsiteX1056" fmla="*/ 6447 w 10785"/>
                  <a:gd name="connsiteY1056" fmla="*/ 2051 h 10000"/>
                  <a:gd name="connsiteX1057" fmla="*/ 6433 w 10785"/>
                  <a:gd name="connsiteY1057" fmla="*/ 2026 h 10000"/>
                  <a:gd name="connsiteX1058" fmla="*/ 6433 w 10785"/>
                  <a:gd name="connsiteY1058" fmla="*/ 2034 h 10000"/>
                  <a:gd name="connsiteX1059" fmla="*/ 6429 w 10785"/>
                  <a:gd name="connsiteY1059" fmla="*/ 2026 h 10000"/>
                  <a:gd name="connsiteX1060" fmla="*/ 6424 w 10785"/>
                  <a:gd name="connsiteY1060" fmla="*/ 2034 h 10000"/>
                  <a:gd name="connsiteX1061" fmla="*/ 6410 w 10785"/>
                  <a:gd name="connsiteY1061" fmla="*/ 2026 h 10000"/>
                  <a:gd name="connsiteX1062" fmla="*/ 6410 w 10785"/>
                  <a:gd name="connsiteY1062" fmla="*/ 1991 h 10000"/>
                  <a:gd name="connsiteX1063" fmla="*/ 6401 w 10785"/>
                  <a:gd name="connsiteY1063" fmla="*/ 1991 h 10000"/>
                  <a:gd name="connsiteX1064" fmla="*/ 6396 w 10785"/>
                  <a:gd name="connsiteY1064" fmla="*/ 2000 h 10000"/>
                  <a:gd name="connsiteX1065" fmla="*/ 6382 w 10785"/>
                  <a:gd name="connsiteY1065" fmla="*/ 1966 h 10000"/>
                  <a:gd name="connsiteX1066" fmla="*/ 6373 w 10785"/>
                  <a:gd name="connsiteY1066" fmla="*/ 1974 h 10000"/>
                  <a:gd name="connsiteX1067" fmla="*/ 6369 w 10785"/>
                  <a:gd name="connsiteY1067" fmla="*/ 1966 h 10000"/>
                  <a:gd name="connsiteX1068" fmla="*/ 6341 w 10785"/>
                  <a:gd name="connsiteY1068" fmla="*/ 1949 h 10000"/>
                  <a:gd name="connsiteX1069" fmla="*/ 6327 w 10785"/>
                  <a:gd name="connsiteY1069" fmla="*/ 1923 h 10000"/>
                  <a:gd name="connsiteX1070" fmla="*/ 6323 w 10785"/>
                  <a:gd name="connsiteY1070" fmla="*/ 1923 h 10000"/>
                  <a:gd name="connsiteX1071" fmla="*/ 6323 w 10785"/>
                  <a:gd name="connsiteY1071" fmla="*/ 1966 h 10000"/>
                  <a:gd name="connsiteX1072" fmla="*/ 6323 w 10785"/>
                  <a:gd name="connsiteY1072" fmla="*/ 1991 h 10000"/>
                  <a:gd name="connsiteX1073" fmla="*/ 6313 w 10785"/>
                  <a:gd name="connsiteY1073" fmla="*/ 1991 h 10000"/>
                  <a:gd name="connsiteX1074" fmla="*/ 6300 w 10785"/>
                  <a:gd name="connsiteY1074" fmla="*/ 1991 h 10000"/>
                  <a:gd name="connsiteX1075" fmla="*/ 6290 w 10785"/>
                  <a:gd name="connsiteY1075" fmla="*/ 1949 h 10000"/>
                  <a:gd name="connsiteX1076" fmla="*/ 6276 w 10785"/>
                  <a:gd name="connsiteY1076" fmla="*/ 2103 h 10000"/>
                  <a:gd name="connsiteX1077" fmla="*/ 6281 w 10785"/>
                  <a:gd name="connsiteY1077" fmla="*/ 2103 h 10000"/>
                  <a:gd name="connsiteX1078" fmla="*/ 6276 w 10785"/>
                  <a:gd name="connsiteY1078" fmla="*/ 2111 h 10000"/>
                  <a:gd name="connsiteX1079" fmla="*/ 6276 w 10785"/>
                  <a:gd name="connsiteY1079" fmla="*/ 2120 h 10000"/>
                  <a:gd name="connsiteX1080" fmla="*/ 6295 w 10785"/>
                  <a:gd name="connsiteY1080" fmla="*/ 2239 h 10000"/>
                  <a:gd name="connsiteX1081" fmla="*/ 6290 w 10785"/>
                  <a:gd name="connsiteY1081" fmla="*/ 2248 h 10000"/>
                  <a:gd name="connsiteX1082" fmla="*/ 6281 w 10785"/>
                  <a:gd name="connsiteY1082" fmla="*/ 2274 h 10000"/>
                  <a:gd name="connsiteX1083" fmla="*/ 6249 w 10785"/>
                  <a:gd name="connsiteY1083" fmla="*/ 2274 h 10000"/>
                  <a:gd name="connsiteX1084" fmla="*/ 6226 w 10785"/>
                  <a:gd name="connsiteY1084" fmla="*/ 2308 h 10000"/>
                  <a:gd name="connsiteX1085" fmla="*/ 6221 w 10785"/>
                  <a:gd name="connsiteY1085" fmla="*/ 2299 h 10000"/>
                  <a:gd name="connsiteX1086" fmla="*/ 6221 w 10785"/>
                  <a:gd name="connsiteY1086" fmla="*/ 2308 h 10000"/>
                  <a:gd name="connsiteX1087" fmla="*/ 6217 w 10785"/>
                  <a:gd name="connsiteY1087" fmla="*/ 2299 h 10000"/>
                  <a:gd name="connsiteX1088" fmla="*/ 6194 w 10785"/>
                  <a:gd name="connsiteY1088" fmla="*/ 2308 h 10000"/>
                  <a:gd name="connsiteX1089" fmla="*/ 6180 w 10785"/>
                  <a:gd name="connsiteY1089" fmla="*/ 2299 h 10000"/>
                  <a:gd name="connsiteX1090" fmla="*/ 6143 w 10785"/>
                  <a:gd name="connsiteY1090" fmla="*/ 2308 h 10000"/>
                  <a:gd name="connsiteX1091" fmla="*/ 6134 w 10785"/>
                  <a:gd name="connsiteY1091" fmla="*/ 2325 h 10000"/>
                  <a:gd name="connsiteX1092" fmla="*/ 6115 w 10785"/>
                  <a:gd name="connsiteY1092" fmla="*/ 2282 h 10000"/>
                  <a:gd name="connsiteX1093" fmla="*/ 6069 w 10785"/>
                  <a:gd name="connsiteY1093" fmla="*/ 2274 h 10000"/>
                  <a:gd name="connsiteX1094" fmla="*/ 6069 w 10785"/>
                  <a:gd name="connsiteY1094" fmla="*/ 2282 h 10000"/>
                  <a:gd name="connsiteX1095" fmla="*/ 6060 w 10785"/>
                  <a:gd name="connsiteY1095" fmla="*/ 2299 h 10000"/>
                  <a:gd name="connsiteX1096" fmla="*/ 5972 w 10785"/>
                  <a:gd name="connsiteY1096" fmla="*/ 2214 h 10000"/>
                  <a:gd name="connsiteX1097" fmla="*/ 5968 w 10785"/>
                  <a:gd name="connsiteY1097" fmla="*/ 2197 h 10000"/>
                  <a:gd name="connsiteX1098" fmla="*/ 5968 w 10785"/>
                  <a:gd name="connsiteY1098" fmla="*/ 2171 h 10000"/>
                  <a:gd name="connsiteX1099" fmla="*/ 5968 w 10785"/>
                  <a:gd name="connsiteY1099" fmla="*/ 2162 h 10000"/>
                  <a:gd name="connsiteX1100" fmla="*/ 5968 w 10785"/>
                  <a:gd name="connsiteY1100" fmla="*/ 2120 h 10000"/>
                  <a:gd name="connsiteX1101" fmla="*/ 5968 w 10785"/>
                  <a:gd name="connsiteY1101" fmla="*/ 2111 h 10000"/>
                  <a:gd name="connsiteX1102" fmla="*/ 5972 w 10785"/>
                  <a:gd name="connsiteY1102" fmla="*/ 2103 h 10000"/>
                  <a:gd name="connsiteX1103" fmla="*/ 5986 w 10785"/>
                  <a:gd name="connsiteY1103" fmla="*/ 2103 h 10000"/>
                  <a:gd name="connsiteX1104" fmla="*/ 5986 w 10785"/>
                  <a:gd name="connsiteY1104" fmla="*/ 2085 h 10000"/>
                  <a:gd name="connsiteX1105" fmla="*/ 5995 w 10785"/>
                  <a:gd name="connsiteY1105" fmla="*/ 2085 h 10000"/>
                  <a:gd name="connsiteX1106" fmla="*/ 5995 w 10785"/>
                  <a:gd name="connsiteY1106" fmla="*/ 2077 h 10000"/>
                  <a:gd name="connsiteX1107" fmla="*/ 5986 w 10785"/>
                  <a:gd name="connsiteY1107" fmla="*/ 2060 h 10000"/>
                  <a:gd name="connsiteX1108" fmla="*/ 5954 w 10785"/>
                  <a:gd name="connsiteY1108" fmla="*/ 2060 h 10000"/>
                  <a:gd name="connsiteX1109" fmla="*/ 5940 w 10785"/>
                  <a:gd name="connsiteY1109" fmla="*/ 2051 h 10000"/>
                  <a:gd name="connsiteX1110" fmla="*/ 5922 w 10785"/>
                  <a:gd name="connsiteY1110" fmla="*/ 2060 h 10000"/>
                  <a:gd name="connsiteX1111" fmla="*/ 5885 w 10785"/>
                  <a:gd name="connsiteY1111" fmla="*/ 2051 h 10000"/>
                  <a:gd name="connsiteX1112" fmla="*/ 5876 w 10785"/>
                  <a:gd name="connsiteY1112" fmla="*/ 2026 h 10000"/>
                  <a:gd name="connsiteX1113" fmla="*/ 5862 w 10785"/>
                  <a:gd name="connsiteY1113" fmla="*/ 2026 h 10000"/>
                  <a:gd name="connsiteX1114" fmla="*/ 5848 w 10785"/>
                  <a:gd name="connsiteY1114" fmla="*/ 2026 h 10000"/>
                  <a:gd name="connsiteX1115" fmla="*/ 5825 w 10785"/>
                  <a:gd name="connsiteY1115" fmla="*/ 2026 h 10000"/>
                  <a:gd name="connsiteX1116" fmla="*/ 5788 w 10785"/>
                  <a:gd name="connsiteY1116" fmla="*/ 1991 h 10000"/>
                  <a:gd name="connsiteX1117" fmla="*/ 5760 w 10785"/>
                  <a:gd name="connsiteY1117" fmla="*/ 2000 h 10000"/>
                  <a:gd name="connsiteX1118" fmla="*/ 5760 w 10785"/>
                  <a:gd name="connsiteY1118" fmla="*/ 2026 h 10000"/>
                  <a:gd name="connsiteX1119" fmla="*/ 5714 w 10785"/>
                  <a:gd name="connsiteY1119" fmla="*/ 2051 h 10000"/>
                  <a:gd name="connsiteX1120" fmla="*/ 5687 w 10785"/>
                  <a:gd name="connsiteY1120" fmla="*/ 2034 h 10000"/>
                  <a:gd name="connsiteX1121" fmla="*/ 5645 w 10785"/>
                  <a:gd name="connsiteY1121" fmla="*/ 2077 h 10000"/>
                  <a:gd name="connsiteX1122" fmla="*/ 5664 w 10785"/>
                  <a:gd name="connsiteY1122" fmla="*/ 2120 h 10000"/>
                  <a:gd name="connsiteX1123" fmla="*/ 5664 w 10785"/>
                  <a:gd name="connsiteY1123" fmla="*/ 2162 h 10000"/>
                  <a:gd name="connsiteX1124" fmla="*/ 5631 w 10785"/>
                  <a:gd name="connsiteY1124" fmla="*/ 2197 h 10000"/>
                  <a:gd name="connsiteX1125" fmla="*/ 5618 w 10785"/>
                  <a:gd name="connsiteY1125" fmla="*/ 2188 h 10000"/>
                  <a:gd name="connsiteX1126" fmla="*/ 5618 w 10785"/>
                  <a:gd name="connsiteY1126" fmla="*/ 2171 h 10000"/>
                  <a:gd name="connsiteX1127" fmla="*/ 5641 w 10785"/>
                  <a:gd name="connsiteY1127" fmla="*/ 2171 h 10000"/>
                  <a:gd name="connsiteX1128" fmla="*/ 5641 w 10785"/>
                  <a:gd name="connsiteY1128" fmla="*/ 2162 h 10000"/>
                  <a:gd name="connsiteX1129" fmla="*/ 5627 w 10785"/>
                  <a:gd name="connsiteY1129" fmla="*/ 2145 h 10000"/>
                  <a:gd name="connsiteX1130" fmla="*/ 5627 w 10785"/>
                  <a:gd name="connsiteY1130" fmla="*/ 2120 h 10000"/>
                  <a:gd name="connsiteX1131" fmla="*/ 5618 w 10785"/>
                  <a:gd name="connsiteY1131" fmla="*/ 2111 h 10000"/>
                  <a:gd name="connsiteX1132" fmla="*/ 5631 w 10785"/>
                  <a:gd name="connsiteY1132" fmla="*/ 2051 h 10000"/>
                  <a:gd name="connsiteX1133" fmla="*/ 5631 w 10785"/>
                  <a:gd name="connsiteY1133" fmla="*/ 2026 h 10000"/>
                  <a:gd name="connsiteX1134" fmla="*/ 5627 w 10785"/>
                  <a:gd name="connsiteY1134" fmla="*/ 1991 h 10000"/>
                  <a:gd name="connsiteX1135" fmla="*/ 5618 w 10785"/>
                  <a:gd name="connsiteY1135" fmla="*/ 1974 h 10000"/>
                  <a:gd name="connsiteX1136" fmla="*/ 5618 w 10785"/>
                  <a:gd name="connsiteY1136" fmla="*/ 1940 h 10000"/>
                  <a:gd name="connsiteX1137" fmla="*/ 5594 w 10785"/>
                  <a:gd name="connsiteY1137" fmla="*/ 1855 h 10000"/>
                  <a:gd name="connsiteX1138" fmla="*/ 5599 w 10785"/>
                  <a:gd name="connsiteY1138" fmla="*/ 1915 h 10000"/>
                  <a:gd name="connsiteX1139" fmla="*/ 5599 w 10785"/>
                  <a:gd name="connsiteY1139" fmla="*/ 1949 h 10000"/>
                  <a:gd name="connsiteX1140" fmla="*/ 5594 w 10785"/>
                  <a:gd name="connsiteY1140" fmla="*/ 1991 h 10000"/>
                  <a:gd name="connsiteX1141" fmla="*/ 5571 w 10785"/>
                  <a:gd name="connsiteY1141" fmla="*/ 2000 h 10000"/>
                  <a:gd name="connsiteX1142" fmla="*/ 5530 w 10785"/>
                  <a:gd name="connsiteY1142" fmla="*/ 1991 h 10000"/>
                  <a:gd name="connsiteX1143" fmla="*/ 5525 w 10785"/>
                  <a:gd name="connsiteY1143" fmla="*/ 2000 h 10000"/>
                  <a:gd name="connsiteX1144" fmla="*/ 5521 w 10785"/>
                  <a:gd name="connsiteY1144" fmla="*/ 1991 h 10000"/>
                  <a:gd name="connsiteX1145" fmla="*/ 5498 w 10785"/>
                  <a:gd name="connsiteY1145" fmla="*/ 1949 h 10000"/>
                  <a:gd name="connsiteX1146" fmla="*/ 5493 w 10785"/>
                  <a:gd name="connsiteY1146" fmla="*/ 1889 h 10000"/>
                  <a:gd name="connsiteX1147" fmla="*/ 5493 w 10785"/>
                  <a:gd name="connsiteY1147" fmla="*/ 1863 h 10000"/>
                  <a:gd name="connsiteX1148" fmla="*/ 5498 w 10785"/>
                  <a:gd name="connsiteY1148" fmla="*/ 1889 h 10000"/>
                  <a:gd name="connsiteX1149" fmla="*/ 5512 w 10785"/>
                  <a:gd name="connsiteY1149" fmla="*/ 1855 h 10000"/>
                  <a:gd name="connsiteX1150" fmla="*/ 5512 w 10785"/>
                  <a:gd name="connsiteY1150" fmla="*/ 1838 h 10000"/>
                  <a:gd name="connsiteX1151" fmla="*/ 5479 w 10785"/>
                  <a:gd name="connsiteY1151" fmla="*/ 1855 h 10000"/>
                  <a:gd name="connsiteX1152" fmla="*/ 5470 w 10785"/>
                  <a:gd name="connsiteY1152" fmla="*/ 1872 h 10000"/>
                  <a:gd name="connsiteX1153" fmla="*/ 5470 w 10785"/>
                  <a:gd name="connsiteY1153" fmla="*/ 1889 h 10000"/>
                  <a:gd name="connsiteX1154" fmla="*/ 5465 w 10785"/>
                  <a:gd name="connsiteY1154" fmla="*/ 1897 h 10000"/>
                  <a:gd name="connsiteX1155" fmla="*/ 5456 w 10785"/>
                  <a:gd name="connsiteY1155" fmla="*/ 1872 h 10000"/>
                  <a:gd name="connsiteX1156" fmla="*/ 5447 w 10785"/>
                  <a:gd name="connsiteY1156" fmla="*/ 1872 h 10000"/>
                  <a:gd name="connsiteX1157" fmla="*/ 5433 w 10785"/>
                  <a:gd name="connsiteY1157" fmla="*/ 1855 h 10000"/>
                  <a:gd name="connsiteX1158" fmla="*/ 5396 w 10785"/>
                  <a:gd name="connsiteY1158" fmla="*/ 1863 h 10000"/>
                  <a:gd name="connsiteX1159" fmla="*/ 5396 w 10785"/>
                  <a:gd name="connsiteY1159" fmla="*/ 1897 h 10000"/>
                  <a:gd name="connsiteX1160" fmla="*/ 5378 w 10785"/>
                  <a:gd name="connsiteY1160" fmla="*/ 1949 h 10000"/>
                  <a:gd name="connsiteX1161" fmla="*/ 5378 w 10785"/>
                  <a:gd name="connsiteY1161" fmla="*/ 1966 h 10000"/>
                  <a:gd name="connsiteX1162" fmla="*/ 5392 w 10785"/>
                  <a:gd name="connsiteY1162" fmla="*/ 2026 h 10000"/>
                  <a:gd name="connsiteX1163" fmla="*/ 5396 w 10785"/>
                  <a:gd name="connsiteY1163" fmla="*/ 2026 h 10000"/>
                  <a:gd name="connsiteX1164" fmla="*/ 5392 w 10785"/>
                  <a:gd name="connsiteY1164" fmla="*/ 2009 h 10000"/>
                  <a:gd name="connsiteX1165" fmla="*/ 5392 w 10785"/>
                  <a:gd name="connsiteY1165" fmla="*/ 2000 h 10000"/>
                  <a:gd name="connsiteX1166" fmla="*/ 5396 w 10785"/>
                  <a:gd name="connsiteY1166" fmla="*/ 2009 h 10000"/>
                  <a:gd name="connsiteX1167" fmla="*/ 5424 w 10785"/>
                  <a:gd name="connsiteY1167" fmla="*/ 2009 h 10000"/>
                  <a:gd name="connsiteX1168" fmla="*/ 5433 w 10785"/>
                  <a:gd name="connsiteY1168" fmla="*/ 1991 h 10000"/>
                  <a:gd name="connsiteX1169" fmla="*/ 5447 w 10785"/>
                  <a:gd name="connsiteY1169" fmla="*/ 1974 h 10000"/>
                  <a:gd name="connsiteX1170" fmla="*/ 5452 w 10785"/>
                  <a:gd name="connsiteY1170" fmla="*/ 1966 h 10000"/>
                  <a:gd name="connsiteX1171" fmla="*/ 5456 w 10785"/>
                  <a:gd name="connsiteY1171" fmla="*/ 1966 h 10000"/>
                  <a:gd name="connsiteX1172" fmla="*/ 5465 w 10785"/>
                  <a:gd name="connsiteY1172" fmla="*/ 2009 h 10000"/>
                  <a:gd name="connsiteX1173" fmla="*/ 5433 w 10785"/>
                  <a:gd name="connsiteY1173" fmla="*/ 2034 h 10000"/>
                  <a:gd name="connsiteX1174" fmla="*/ 5424 w 10785"/>
                  <a:gd name="connsiteY1174" fmla="*/ 2060 h 10000"/>
                  <a:gd name="connsiteX1175" fmla="*/ 5419 w 10785"/>
                  <a:gd name="connsiteY1175" fmla="*/ 2060 h 10000"/>
                  <a:gd name="connsiteX1176" fmla="*/ 5392 w 10785"/>
                  <a:gd name="connsiteY1176" fmla="*/ 2111 h 10000"/>
                  <a:gd name="connsiteX1177" fmla="*/ 5378 w 10785"/>
                  <a:gd name="connsiteY1177" fmla="*/ 2111 h 10000"/>
                  <a:gd name="connsiteX1178" fmla="*/ 5350 w 10785"/>
                  <a:gd name="connsiteY1178" fmla="*/ 2060 h 10000"/>
                  <a:gd name="connsiteX1179" fmla="*/ 5373 w 10785"/>
                  <a:gd name="connsiteY1179" fmla="*/ 2111 h 10000"/>
                  <a:gd name="connsiteX1180" fmla="*/ 5364 w 10785"/>
                  <a:gd name="connsiteY1180" fmla="*/ 2111 h 10000"/>
                  <a:gd name="connsiteX1181" fmla="*/ 5359 w 10785"/>
                  <a:gd name="connsiteY1181" fmla="*/ 2103 h 10000"/>
                  <a:gd name="connsiteX1182" fmla="*/ 5359 w 10785"/>
                  <a:gd name="connsiteY1182" fmla="*/ 2120 h 10000"/>
                  <a:gd name="connsiteX1183" fmla="*/ 5359 w 10785"/>
                  <a:gd name="connsiteY1183" fmla="*/ 2137 h 10000"/>
                  <a:gd name="connsiteX1184" fmla="*/ 5313 w 10785"/>
                  <a:gd name="connsiteY1184" fmla="*/ 2162 h 10000"/>
                  <a:gd name="connsiteX1185" fmla="*/ 5300 w 10785"/>
                  <a:gd name="connsiteY1185" fmla="*/ 2162 h 10000"/>
                  <a:gd name="connsiteX1186" fmla="*/ 5300 w 10785"/>
                  <a:gd name="connsiteY1186" fmla="*/ 2171 h 10000"/>
                  <a:gd name="connsiteX1187" fmla="*/ 5300 w 10785"/>
                  <a:gd name="connsiteY1187" fmla="*/ 2197 h 10000"/>
                  <a:gd name="connsiteX1188" fmla="*/ 5276 w 10785"/>
                  <a:gd name="connsiteY1188" fmla="*/ 2188 h 10000"/>
                  <a:gd name="connsiteX1189" fmla="*/ 5249 w 10785"/>
                  <a:gd name="connsiteY1189" fmla="*/ 2222 h 10000"/>
                  <a:gd name="connsiteX1190" fmla="*/ 5249 w 10785"/>
                  <a:gd name="connsiteY1190" fmla="*/ 2222 h 10000"/>
                  <a:gd name="connsiteX1191" fmla="*/ 5217 w 10785"/>
                  <a:gd name="connsiteY1191" fmla="*/ 2214 h 10000"/>
                  <a:gd name="connsiteX1192" fmla="*/ 5203 w 10785"/>
                  <a:gd name="connsiteY1192" fmla="*/ 2239 h 10000"/>
                  <a:gd name="connsiteX1193" fmla="*/ 5171 w 10785"/>
                  <a:gd name="connsiteY1193" fmla="*/ 2214 h 10000"/>
                  <a:gd name="connsiteX1194" fmla="*/ 5157 w 10785"/>
                  <a:gd name="connsiteY1194" fmla="*/ 2239 h 10000"/>
                  <a:gd name="connsiteX1195" fmla="*/ 5166 w 10785"/>
                  <a:gd name="connsiteY1195" fmla="*/ 2256 h 10000"/>
                  <a:gd name="connsiteX1196" fmla="*/ 5171 w 10785"/>
                  <a:gd name="connsiteY1196" fmla="*/ 2308 h 10000"/>
                  <a:gd name="connsiteX1197" fmla="*/ 5212 w 10785"/>
                  <a:gd name="connsiteY1197" fmla="*/ 2350 h 10000"/>
                  <a:gd name="connsiteX1198" fmla="*/ 5203 w 10785"/>
                  <a:gd name="connsiteY1198" fmla="*/ 2350 h 10000"/>
                  <a:gd name="connsiteX1199" fmla="*/ 5166 w 10785"/>
                  <a:gd name="connsiteY1199" fmla="*/ 2325 h 10000"/>
                  <a:gd name="connsiteX1200" fmla="*/ 5152 w 10785"/>
                  <a:gd name="connsiteY1200" fmla="*/ 2308 h 10000"/>
                  <a:gd name="connsiteX1201" fmla="*/ 5143 w 10785"/>
                  <a:gd name="connsiteY1201" fmla="*/ 2333 h 10000"/>
                  <a:gd name="connsiteX1202" fmla="*/ 5138 w 10785"/>
                  <a:gd name="connsiteY1202" fmla="*/ 2333 h 10000"/>
                  <a:gd name="connsiteX1203" fmla="*/ 5124 w 10785"/>
                  <a:gd name="connsiteY1203" fmla="*/ 2376 h 10000"/>
                  <a:gd name="connsiteX1204" fmla="*/ 5115 w 10785"/>
                  <a:gd name="connsiteY1204" fmla="*/ 2385 h 10000"/>
                  <a:gd name="connsiteX1205" fmla="*/ 5106 w 10785"/>
                  <a:gd name="connsiteY1205" fmla="*/ 2385 h 10000"/>
                  <a:gd name="connsiteX1206" fmla="*/ 5055 w 10785"/>
                  <a:gd name="connsiteY1206" fmla="*/ 2470 h 10000"/>
                  <a:gd name="connsiteX1207" fmla="*/ 5065 w 10785"/>
                  <a:gd name="connsiteY1207" fmla="*/ 2462 h 10000"/>
                  <a:gd name="connsiteX1208" fmla="*/ 5055 w 10785"/>
                  <a:gd name="connsiteY1208" fmla="*/ 2444 h 10000"/>
                  <a:gd name="connsiteX1209" fmla="*/ 5041 w 10785"/>
                  <a:gd name="connsiteY1209" fmla="*/ 2462 h 10000"/>
                  <a:gd name="connsiteX1210" fmla="*/ 5037 w 10785"/>
                  <a:gd name="connsiteY1210" fmla="*/ 2470 h 10000"/>
                  <a:gd name="connsiteX1211" fmla="*/ 5032 w 10785"/>
                  <a:gd name="connsiteY1211" fmla="*/ 2470 h 10000"/>
                  <a:gd name="connsiteX1212" fmla="*/ 5032 w 10785"/>
                  <a:gd name="connsiteY1212" fmla="*/ 2444 h 10000"/>
                  <a:gd name="connsiteX1213" fmla="*/ 5055 w 10785"/>
                  <a:gd name="connsiteY1213" fmla="*/ 2410 h 10000"/>
                  <a:gd name="connsiteX1214" fmla="*/ 5065 w 10785"/>
                  <a:gd name="connsiteY1214" fmla="*/ 2393 h 10000"/>
                  <a:gd name="connsiteX1215" fmla="*/ 5069 w 10785"/>
                  <a:gd name="connsiteY1215" fmla="*/ 2385 h 10000"/>
                  <a:gd name="connsiteX1216" fmla="*/ 5083 w 10785"/>
                  <a:gd name="connsiteY1216" fmla="*/ 2376 h 10000"/>
                  <a:gd name="connsiteX1217" fmla="*/ 5097 w 10785"/>
                  <a:gd name="connsiteY1217" fmla="*/ 2376 h 10000"/>
                  <a:gd name="connsiteX1218" fmla="*/ 5124 w 10785"/>
                  <a:gd name="connsiteY1218" fmla="*/ 2325 h 10000"/>
                  <a:gd name="connsiteX1219" fmla="*/ 5143 w 10785"/>
                  <a:gd name="connsiteY1219" fmla="*/ 2248 h 10000"/>
                  <a:gd name="connsiteX1220" fmla="*/ 5152 w 10785"/>
                  <a:gd name="connsiteY1220" fmla="*/ 2239 h 10000"/>
                  <a:gd name="connsiteX1221" fmla="*/ 5166 w 10785"/>
                  <a:gd name="connsiteY1221" fmla="*/ 2162 h 10000"/>
                  <a:gd name="connsiteX1222" fmla="*/ 5171 w 10785"/>
                  <a:gd name="connsiteY1222" fmla="*/ 2171 h 10000"/>
                  <a:gd name="connsiteX1223" fmla="*/ 5198 w 10785"/>
                  <a:gd name="connsiteY1223" fmla="*/ 2145 h 10000"/>
                  <a:gd name="connsiteX1224" fmla="*/ 5203 w 10785"/>
                  <a:gd name="connsiteY1224" fmla="*/ 2111 h 10000"/>
                  <a:gd name="connsiteX1225" fmla="*/ 5217 w 10785"/>
                  <a:gd name="connsiteY1225" fmla="*/ 2060 h 10000"/>
                  <a:gd name="connsiteX1226" fmla="*/ 5226 w 10785"/>
                  <a:gd name="connsiteY1226" fmla="*/ 2026 h 10000"/>
                  <a:gd name="connsiteX1227" fmla="*/ 5286 w 10785"/>
                  <a:gd name="connsiteY1227" fmla="*/ 2026 h 10000"/>
                  <a:gd name="connsiteX1228" fmla="*/ 5290 w 10785"/>
                  <a:gd name="connsiteY1228" fmla="*/ 2034 h 10000"/>
                  <a:gd name="connsiteX1229" fmla="*/ 5323 w 10785"/>
                  <a:gd name="connsiteY1229" fmla="*/ 1923 h 10000"/>
                  <a:gd name="connsiteX1230" fmla="*/ 5323 w 10785"/>
                  <a:gd name="connsiteY1230" fmla="*/ 1889 h 10000"/>
                  <a:gd name="connsiteX1231" fmla="*/ 5359 w 10785"/>
                  <a:gd name="connsiteY1231" fmla="*/ 1829 h 10000"/>
                  <a:gd name="connsiteX1232" fmla="*/ 5378 w 10785"/>
                  <a:gd name="connsiteY1232" fmla="*/ 1812 h 10000"/>
                  <a:gd name="connsiteX1233" fmla="*/ 5406 w 10785"/>
                  <a:gd name="connsiteY1233" fmla="*/ 1752 h 10000"/>
                  <a:gd name="connsiteX1234" fmla="*/ 5410 w 10785"/>
                  <a:gd name="connsiteY1234" fmla="*/ 1718 h 10000"/>
                  <a:gd name="connsiteX1235" fmla="*/ 5438 w 10785"/>
                  <a:gd name="connsiteY1235" fmla="*/ 1667 h 10000"/>
                  <a:gd name="connsiteX1236" fmla="*/ 5438 w 10785"/>
                  <a:gd name="connsiteY1236" fmla="*/ 1650 h 10000"/>
                  <a:gd name="connsiteX1237" fmla="*/ 5438 w 10785"/>
                  <a:gd name="connsiteY1237" fmla="*/ 1641 h 10000"/>
                  <a:gd name="connsiteX1238" fmla="*/ 5452 w 10785"/>
                  <a:gd name="connsiteY1238" fmla="*/ 1641 h 10000"/>
                  <a:gd name="connsiteX1239" fmla="*/ 5456 w 10785"/>
                  <a:gd name="connsiteY1239" fmla="*/ 1615 h 10000"/>
                  <a:gd name="connsiteX1240" fmla="*/ 5456 w 10785"/>
                  <a:gd name="connsiteY1240" fmla="*/ 1615 h 10000"/>
                  <a:gd name="connsiteX1241" fmla="*/ 5465 w 10785"/>
                  <a:gd name="connsiteY1241" fmla="*/ 1598 h 10000"/>
                  <a:gd name="connsiteX1242" fmla="*/ 5465 w 10785"/>
                  <a:gd name="connsiteY1242" fmla="*/ 1615 h 10000"/>
                  <a:gd name="connsiteX1243" fmla="*/ 5479 w 10785"/>
                  <a:gd name="connsiteY1243" fmla="*/ 1598 h 10000"/>
                  <a:gd name="connsiteX1244" fmla="*/ 5484 w 10785"/>
                  <a:gd name="connsiteY1244" fmla="*/ 1581 h 10000"/>
                  <a:gd name="connsiteX1245" fmla="*/ 5493 w 10785"/>
                  <a:gd name="connsiteY1245" fmla="*/ 1581 h 10000"/>
                  <a:gd name="connsiteX1246" fmla="*/ 5512 w 10785"/>
                  <a:gd name="connsiteY1246" fmla="*/ 1538 h 10000"/>
                  <a:gd name="connsiteX1247" fmla="*/ 5530 w 10785"/>
                  <a:gd name="connsiteY1247" fmla="*/ 1564 h 10000"/>
                  <a:gd name="connsiteX1248" fmla="*/ 5530 w 10785"/>
                  <a:gd name="connsiteY1248" fmla="*/ 1538 h 10000"/>
                  <a:gd name="connsiteX1249" fmla="*/ 5539 w 10785"/>
                  <a:gd name="connsiteY1249" fmla="*/ 1530 h 10000"/>
                  <a:gd name="connsiteX1250" fmla="*/ 5530 w 10785"/>
                  <a:gd name="connsiteY1250" fmla="*/ 1504 h 10000"/>
                  <a:gd name="connsiteX1251" fmla="*/ 5567 w 10785"/>
                  <a:gd name="connsiteY1251" fmla="*/ 1479 h 10000"/>
                  <a:gd name="connsiteX1252" fmla="*/ 5553 w 10785"/>
                  <a:gd name="connsiteY1252" fmla="*/ 1479 h 10000"/>
                  <a:gd name="connsiteX1253" fmla="*/ 5553 w 10785"/>
                  <a:gd name="connsiteY1253" fmla="*/ 1453 h 10000"/>
                  <a:gd name="connsiteX1254" fmla="*/ 5581 w 10785"/>
                  <a:gd name="connsiteY1254" fmla="*/ 1444 h 10000"/>
                  <a:gd name="connsiteX1255" fmla="*/ 5581 w 10785"/>
                  <a:gd name="connsiteY1255" fmla="*/ 1453 h 10000"/>
                  <a:gd name="connsiteX1256" fmla="*/ 5585 w 10785"/>
                  <a:gd name="connsiteY1256" fmla="*/ 1444 h 10000"/>
                  <a:gd name="connsiteX1257" fmla="*/ 5594 w 10785"/>
                  <a:gd name="connsiteY1257" fmla="*/ 1427 h 10000"/>
                  <a:gd name="connsiteX1258" fmla="*/ 5599 w 10785"/>
                  <a:gd name="connsiteY1258" fmla="*/ 1419 h 10000"/>
                  <a:gd name="connsiteX1259" fmla="*/ 5594 w 10785"/>
                  <a:gd name="connsiteY1259" fmla="*/ 1402 h 10000"/>
                  <a:gd name="connsiteX1260" fmla="*/ 5604 w 10785"/>
                  <a:gd name="connsiteY1260" fmla="*/ 1393 h 10000"/>
                  <a:gd name="connsiteX1261" fmla="*/ 5618 w 10785"/>
                  <a:gd name="connsiteY1261" fmla="*/ 1393 h 10000"/>
                  <a:gd name="connsiteX1262" fmla="*/ 5627 w 10785"/>
                  <a:gd name="connsiteY1262" fmla="*/ 1368 h 10000"/>
                  <a:gd name="connsiteX1263" fmla="*/ 5627 w 10785"/>
                  <a:gd name="connsiteY1263" fmla="*/ 1325 h 10000"/>
                  <a:gd name="connsiteX1264" fmla="*/ 5645 w 10785"/>
                  <a:gd name="connsiteY1264" fmla="*/ 1291 h 10000"/>
                  <a:gd name="connsiteX1265" fmla="*/ 5645 w 10785"/>
                  <a:gd name="connsiteY1265" fmla="*/ 1282 h 10000"/>
                  <a:gd name="connsiteX1266" fmla="*/ 5654 w 10785"/>
                  <a:gd name="connsiteY1266" fmla="*/ 1265 h 10000"/>
                  <a:gd name="connsiteX1267" fmla="*/ 5654 w 10785"/>
                  <a:gd name="connsiteY1267" fmla="*/ 1214 h 10000"/>
                  <a:gd name="connsiteX1268" fmla="*/ 5654 w 10785"/>
                  <a:gd name="connsiteY1268" fmla="*/ 1214 h 10000"/>
                  <a:gd name="connsiteX1269" fmla="*/ 5645 w 10785"/>
                  <a:gd name="connsiteY1269" fmla="*/ 1197 h 10000"/>
                  <a:gd name="connsiteX1270" fmla="*/ 5659 w 10785"/>
                  <a:gd name="connsiteY1270" fmla="*/ 1197 h 10000"/>
                  <a:gd name="connsiteX1271" fmla="*/ 5654 w 10785"/>
                  <a:gd name="connsiteY1271" fmla="*/ 1154 h 10000"/>
                  <a:gd name="connsiteX1272" fmla="*/ 5641 w 10785"/>
                  <a:gd name="connsiteY1272" fmla="*/ 1154 h 10000"/>
                  <a:gd name="connsiteX1273" fmla="*/ 5627 w 10785"/>
                  <a:gd name="connsiteY1273" fmla="*/ 1128 h 10000"/>
                  <a:gd name="connsiteX1274" fmla="*/ 5618 w 10785"/>
                  <a:gd name="connsiteY1274" fmla="*/ 1094 h 10000"/>
                  <a:gd name="connsiteX1275" fmla="*/ 5613 w 10785"/>
                  <a:gd name="connsiteY1275" fmla="*/ 1094 h 10000"/>
                  <a:gd name="connsiteX1276" fmla="*/ 5604 w 10785"/>
                  <a:gd name="connsiteY1276" fmla="*/ 1120 h 10000"/>
                  <a:gd name="connsiteX1277" fmla="*/ 5604 w 10785"/>
                  <a:gd name="connsiteY1277" fmla="*/ 1128 h 10000"/>
                  <a:gd name="connsiteX1278" fmla="*/ 5599 w 10785"/>
                  <a:gd name="connsiteY1278" fmla="*/ 1103 h 10000"/>
                  <a:gd name="connsiteX1279" fmla="*/ 5599 w 10785"/>
                  <a:gd name="connsiteY1279" fmla="*/ 1103 h 10000"/>
                  <a:gd name="connsiteX1280" fmla="*/ 5594 w 10785"/>
                  <a:gd name="connsiteY1280" fmla="*/ 1068 h 10000"/>
                  <a:gd name="connsiteX1281" fmla="*/ 5594 w 10785"/>
                  <a:gd name="connsiteY1281" fmla="*/ 1060 h 10000"/>
                  <a:gd name="connsiteX1282" fmla="*/ 5581 w 10785"/>
                  <a:gd name="connsiteY1282" fmla="*/ 1034 h 10000"/>
                  <a:gd name="connsiteX1283" fmla="*/ 5571 w 10785"/>
                  <a:gd name="connsiteY1283" fmla="*/ 1009 h 10000"/>
                  <a:gd name="connsiteX1284" fmla="*/ 5571 w 10785"/>
                  <a:gd name="connsiteY1284" fmla="*/ 991 h 10000"/>
                  <a:gd name="connsiteX1285" fmla="*/ 5585 w 10785"/>
                  <a:gd name="connsiteY1285" fmla="*/ 1009 h 10000"/>
                  <a:gd name="connsiteX1286" fmla="*/ 5604 w 10785"/>
                  <a:gd name="connsiteY1286" fmla="*/ 1043 h 10000"/>
                  <a:gd name="connsiteX1287" fmla="*/ 5641 w 10785"/>
                  <a:gd name="connsiteY1287" fmla="*/ 1094 h 10000"/>
                  <a:gd name="connsiteX1288" fmla="*/ 5631 w 10785"/>
                  <a:gd name="connsiteY1288" fmla="*/ 1128 h 10000"/>
                  <a:gd name="connsiteX1289" fmla="*/ 5641 w 10785"/>
                  <a:gd name="connsiteY1289" fmla="*/ 1128 h 10000"/>
                  <a:gd name="connsiteX1290" fmla="*/ 5659 w 10785"/>
                  <a:gd name="connsiteY1290" fmla="*/ 1017 h 10000"/>
                  <a:gd name="connsiteX1291" fmla="*/ 5659 w 10785"/>
                  <a:gd name="connsiteY1291" fmla="*/ 983 h 10000"/>
                  <a:gd name="connsiteX1292" fmla="*/ 5659 w 10785"/>
                  <a:gd name="connsiteY1292" fmla="*/ 957 h 10000"/>
                  <a:gd name="connsiteX1293" fmla="*/ 5654 w 10785"/>
                  <a:gd name="connsiteY1293" fmla="*/ 966 h 10000"/>
                  <a:gd name="connsiteX1294" fmla="*/ 5641 w 10785"/>
                  <a:gd name="connsiteY1294" fmla="*/ 957 h 10000"/>
                  <a:gd name="connsiteX1295" fmla="*/ 5631 w 10785"/>
                  <a:gd name="connsiteY1295" fmla="*/ 897 h 10000"/>
                  <a:gd name="connsiteX1296" fmla="*/ 5641 w 10785"/>
                  <a:gd name="connsiteY1296" fmla="*/ 872 h 10000"/>
                  <a:gd name="connsiteX1297" fmla="*/ 5618 w 10785"/>
                  <a:gd name="connsiteY1297" fmla="*/ 803 h 10000"/>
                  <a:gd name="connsiteX1298" fmla="*/ 5604 w 10785"/>
                  <a:gd name="connsiteY1298" fmla="*/ 821 h 10000"/>
                  <a:gd name="connsiteX1299" fmla="*/ 5613 w 10785"/>
                  <a:gd name="connsiteY1299" fmla="*/ 846 h 10000"/>
                  <a:gd name="connsiteX1300" fmla="*/ 5604 w 10785"/>
                  <a:gd name="connsiteY1300" fmla="*/ 855 h 10000"/>
                  <a:gd name="connsiteX1301" fmla="*/ 5599 w 10785"/>
                  <a:gd name="connsiteY1301" fmla="*/ 880 h 10000"/>
                  <a:gd name="connsiteX1302" fmla="*/ 5594 w 10785"/>
                  <a:gd name="connsiteY1302" fmla="*/ 880 h 10000"/>
                  <a:gd name="connsiteX1303" fmla="*/ 5585 w 10785"/>
                  <a:gd name="connsiteY1303" fmla="*/ 829 h 10000"/>
                  <a:gd name="connsiteX1304" fmla="*/ 5571 w 10785"/>
                  <a:gd name="connsiteY1304" fmla="*/ 803 h 10000"/>
                  <a:gd name="connsiteX1305" fmla="*/ 5585 w 10785"/>
                  <a:gd name="connsiteY1305" fmla="*/ 795 h 10000"/>
                  <a:gd name="connsiteX1306" fmla="*/ 5585 w 10785"/>
                  <a:gd name="connsiteY1306" fmla="*/ 761 h 10000"/>
                  <a:gd name="connsiteX1307" fmla="*/ 5558 w 10785"/>
                  <a:gd name="connsiteY1307" fmla="*/ 709 h 10000"/>
                  <a:gd name="connsiteX1308" fmla="*/ 5544 w 10785"/>
                  <a:gd name="connsiteY1308" fmla="*/ 709 h 10000"/>
                  <a:gd name="connsiteX1309" fmla="*/ 5544 w 10785"/>
                  <a:gd name="connsiteY1309" fmla="*/ 684 h 10000"/>
                  <a:gd name="connsiteX1310" fmla="*/ 5525 w 10785"/>
                  <a:gd name="connsiteY1310" fmla="*/ 632 h 10000"/>
                  <a:gd name="connsiteX1311" fmla="*/ 5507 w 10785"/>
                  <a:gd name="connsiteY1311" fmla="*/ 607 h 10000"/>
                  <a:gd name="connsiteX1312" fmla="*/ 5512 w 10785"/>
                  <a:gd name="connsiteY1312" fmla="*/ 598 h 10000"/>
                  <a:gd name="connsiteX1313" fmla="*/ 5507 w 10785"/>
                  <a:gd name="connsiteY1313" fmla="*/ 581 h 10000"/>
                  <a:gd name="connsiteX1314" fmla="*/ 5493 w 10785"/>
                  <a:gd name="connsiteY1314" fmla="*/ 573 h 10000"/>
                  <a:gd name="connsiteX1315" fmla="*/ 5484 w 10785"/>
                  <a:gd name="connsiteY1315" fmla="*/ 581 h 10000"/>
                  <a:gd name="connsiteX1316" fmla="*/ 5484 w 10785"/>
                  <a:gd name="connsiteY1316" fmla="*/ 573 h 10000"/>
                  <a:gd name="connsiteX1317" fmla="*/ 5484 w 10785"/>
                  <a:gd name="connsiteY1317" fmla="*/ 547 h 10000"/>
                  <a:gd name="connsiteX1318" fmla="*/ 5465 w 10785"/>
                  <a:gd name="connsiteY1318" fmla="*/ 556 h 10000"/>
                  <a:gd name="connsiteX1319" fmla="*/ 5433 w 10785"/>
                  <a:gd name="connsiteY1319" fmla="*/ 547 h 10000"/>
                  <a:gd name="connsiteX1320" fmla="*/ 5410 w 10785"/>
                  <a:gd name="connsiteY1320" fmla="*/ 573 h 10000"/>
                  <a:gd name="connsiteX1321" fmla="*/ 5406 w 10785"/>
                  <a:gd name="connsiteY1321" fmla="*/ 573 h 10000"/>
                  <a:gd name="connsiteX1322" fmla="*/ 5392 w 10785"/>
                  <a:gd name="connsiteY1322" fmla="*/ 573 h 10000"/>
                  <a:gd name="connsiteX1323" fmla="*/ 5364 w 10785"/>
                  <a:gd name="connsiteY1323" fmla="*/ 530 h 10000"/>
                  <a:gd name="connsiteX1324" fmla="*/ 5350 w 10785"/>
                  <a:gd name="connsiteY1324" fmla="*/ 556 h 10000"/>
                  <a:gd name="connsiteX1325" fmla="*/ 5346 w 10785"/>
                  <a:gd name="connsiteY1325" fmla="*/ 556 h 10000"/>
                  <a:gd name="connsiteX1326" fmla="*/ 5313 w 10785"/>
                  <a:gd name="connsiteY1326" fmla="*/ 573 h 10000"/>
                  <a:gd name="connsiteX1327" fmla="*/ 5304 w 10785"/>
                  <a:gd name="connsiteY1327" fmla="*/ 556 h 10000"/>
                  <a:gd name="connsiteX1328" fmla="*/ 5290 w 10785"/>
                  <a:gd name="connsiteY1328" fmla="*/ 573 h 10000"/>
                  <a:gd name="connsiteX1329" fmla="*/ 5290 w 10785"/>
                  <a:gd name="connsiteY1329" fmla="*/ 556 h 10000"/>
                  <a:gd name="connsiteX1330" fmla="*/ 5300 w 10785"/>
                  <a:gd name="connsiteY1330" fmla="*/ 547 h 10000"/>
                  <a:gd name="connsiteX1331" fmla="*/ 5300 w 10785"/>
                  <a:gd name="connsiteY1331" fmla="*/ 530 h 10000"/>
                  <a:gd name="connsiteX1332" fmla="*/ 5290 w 10785"/>
                  <a:gd name="connsiteY1332" fmla="*/ 530 h 10000"/>
                  <a:gd name="connsiteX1333" fmla="*/ 5286 w 10785"/>
                  <a:gd name="connsiteY1333" fmla="*/ 547 h 10000"/>
                  <a:gd name="connsiteX1334" fmla="*/ 5272 w 10785"/>
                  <a:gd name="connsiteY1334" fmla="*/ 556 h 10000"/>
                  <a:gd name="connsiteX1335" fmla="*/ 5272 w 10785"/>
                  <a:gd name="connsiteY1335" fmla="*/ 598 h 10000"/>
                  <a:gd name="connsiteX1336" fmla="*/ 5276 w 10785"/>
                  <a:gd name="connsiteY1336" fmla="*/ 581 h 10000"/>
                  <a:gd name="connsiteX1337" fmla="*/ 5272 w 10785"/>
                  <a:gd name="connsiteY1337" fmla="*/ 607 h 10000"/>
                  <a:gd name="connsiteX1338" fmla="*/ 5263 w 10785"/>
                  <a:gd name="connsiteY1338" fmla="*/ 607 h 10000"/>
                  <a:gd name="connsiteX1339" fmla="*/ 5263 w 10785"/>
                  <a:gd name="connsiteY1339" fmla="*/ 632 h 10000"/>
                  <a:gd name="connsiteX1340" fmla="*/ 5258 w 10785"/>
                  <a:gd name="connsiteY1340" fmla="*/ 658 h 10000"/>
                  <a:gd name="connsiteX1341" fmla="*/ 5244 w 10785"/>
                  <a:gd name="connsiteY1341" fmla="*/ 667 h 10000"/>
                  <a:gd name="connsiteX1342" fmla="*/ 5240 w 10785"/>
                  <a:gd name="connsiteY1342" fmla="*/ 658 h 10000"/>
                  <a:gd name="connsiteX1343" fmla="*/ 5240 w 10785"/>
                  <a:gd name="connsiteY1343" fmla="*/ 684 h 10000"/>
                  <a:gd name="connsiteX1344" fmla="*/ 5212 w 10785"/>
                  <a:gd name="connsiteY1344" fmla="*/ 684 h 10000"/>
                  <a:gd name="connsiteX1345" fmla="*/ 5198 w 10785"/>
                  <a:gd name="connsiteY1345" fmla="*/ 692 h 10000"/>
                  <a:gd name="connsiteX1346" fmla="*/ 5184 w 10785"/>
                  <a:gd name="connsiteY1346" fmla="*/ 684 h 10000"/>
                  <a:gd name="connsiteX1347" fmla="*/ 5157 w 10785"/>
                  <a:gd name="connsiteY1347" fmla="*/ 684 h 10000"/>
                  <a:gd name="connsiteX1348" fmla="*/ 5157 w 10785"/>
                  <a:gd name="connsiteY1348" fmla="*/ 667 h 10000"/>
                  <a:gd name="connsiteX1349" fmla="*/ 5157 w 10785"/>
                  <a:gd name="connsiteY1349" fmla="*/ 667 h 10000"/>
                  <a:gd name="connsiteX1350" fmla="*/ 5180 w 10785"/>
                  <a:gd name="connsiteY1350" fmla="*/ 650 h 10000"/>
                  <a:gd name="connsiteX1351" fmla="*/ 5184 w 10785"/>
                  <a:gd name="connsiteY1351" fmla="*/ 658 h 10000"/>
                  <a:gd name="connsiteX1352" fmla="*/ 5203 w 10785"/>
                  <a:gd name="connsiteY1352" fmla="*/ 547 h 10000"/>
                  <a:gd name="connsiteX1353" fmla="*/ 5226 w 10785"/>
                  <a:gd name="connsiteY1353" fmla="*/ 530 h 10000"/>
                  <a:gd name="connsiteX1354" fmla="*/ 5230 w 10785"/>
                  <a:gd name="connsiteY1354" fmla="*/ 487 h 10000"/>
                  <a:gd name="connsiteX1355" fmla="*/ 5230 w 10785"/>
                  <a:gd name="connsiteY1355" fmla="*/ 487 h 10000"/>
                  <a:gd name="connsiteX1356" fmla="*/ 5226 w 10785"/>
                  <a:gd name="connsiteY1356" fmla="*/ 462 h 10000"/>
                  <a:gd name="connsiteX1357" fmla="*/ 5226 w 10785"/>
                  <a:gd name="connsiteY1357" fmla="*/ 462 h 10000"/>
                  <a:gd name="connsiteX1358" fmla="*/ 5240 w 10785"/>
                  <a:gd name="connsiteY1358" fmla="*/ 462 h 10000"/>
                  <a:gd name="connsiteX1359" fmla="*/ 5240 w 10785"/>
                  <a:gd name="connsiteY1359" fmla="*/ 444 h 10000"/>
                  <a:gd name="connsiteX1360" fmla="*/ 5230 w 10785"/>
                  <a:gd name="connsiteY1360" fmla="*/ 436 h 10000"/>
                  <a:gd name="connsiteX1361" fmla="*/ 5230 w 10785"/>
                  <a:gd name="connsiteY1361" fmla="*/ 419 h 10000"/>
                  <a:gd name="connsiteX1362" fmla="*/ 5230 w 10785"/>
                  <a:gd name="connsiteY1362" fmla="*/ 410 h 10000"/>
                  <a:gd name="connsiteX1363" fmla="*/ 5198 w 10785"/>
                  <a:gd name="connsiteY1363" fmla="*/ 402 h 10000"/>
                  <a:gd name="connsiteX1364" fmla="*/ 5189 w 10785"/>
                  <a:gd name="connsiteY1364" fmla="*/ 402 h 10000"/>
                  <a:gd name="connsiteX1365" fmla="*/ 5184 w 10785"/>
                  <a:gd name="connsiteY1365" fmla="*/ 376 h 10000"/>
                  <a:gd name="connsiteX1366" fmla="*/ 5180 w 10785"/>
                  <a:gd name="connsiteY1366" fmla="*/ 376 h 10000"/>
                  <a:gd name="connsiteX1367" fmla="*/ 5166 w 10785"/>
                  <a:gd name="connsiteY1367" fmla="*/ 376 h 10000"/>
                  <a:gd name="connsiteX1368" fmla="*/ 5157 w 10785"/>
                  <a:gd name="connsiteY1368" fmla="*/ 385 h 10000"/>
                  <a:gd name="connsiteX1369" fmla="*/ 5152 w 10785"/>
                  <a:gd name="connsiteY1369" fmla="*/ 376 h 10000"/>
                  <a:gd name="connsiteX1370" fmla="*/ 5129 w 10785"/>
                  <a:gd name="connsiteY1370" fmla="*/ 385 h 10000"/>
                  <a:gd name="connsiteX1371" fmla="*/ 5129 w 10785"/>
                  <a:gd name="connsiteY1371" fmla="*/ 350 h 10000"/>
                  <a:gd name="connsiteX1372" fmla="*/ 5129 w 10785"/>
                  <a:gd name="connsiteY1372" fmla="*/ 325 h 10000"/>
                  <a:gd name="connsiteX1373" fmla="*/ 5124 w 10785"/>
                  <a:gd name="connsiteY1373" fmla="*/ 359 h 10000"/>
                  <a:gd name="connsiteX1374" fmla="*/ 5106 w 10785"/>
                  <a:gd name="connsiteY1374" fmla="*/ 359 h 10000"/>
                  <a:gd name="connsiteX1375" fmla="*/ 5037 w 10785"/>
                  <a:gd name="connsiteY1375" fmla="*/ 419 h 10000"/>
                  <a:gd name="connsiteX1376" fmla="*/ 5051 w 10785"/>
                  <a:gd name="connsiteY1376" fmla="*/ 385 h 10000"/>
                  <a:gd name="connsiteX1377" fmla="*/ 5055 w 10785"/>
                  <a:gd name="connsiteY1377" fmla="*/ 376 h 10000"/>
                  <a:gd name="connsiteX1378" fmla="*/ 5092 w 10785"/>
                  <a:gd name="connsiteY1378" fmla="*/ 282 h 10000"/>
                  <a:gd name="connsiteX1379" fmla="*/ 5106 w 10785"/>
                  <a:gd name="connsiteY1379" fmla="*/ 265 h 10000"/>
                  <a:gd name="connsiteX1380" fmla="*/ 5115 w 10785"/>
                  <a:gd name="connsiteY1380" fmla="*/ 265 h 10000"/>
                  <a:gd name="connsiteX1381" fmla="*/ 5124 w 10785"/>
                  <a:gd name="connsiteY1381" fmla="*/ 222 h 10000"/>
                  <a:gd name="connsiteX1382" fmla="*/ 5124 w 10785"/>
                  <a:gd name="connsiteY1382" fmla="*/ 214 h 10000"/>
                  <a:gd name="connsiteX1383" fmla="*/ 5143 w 10785"/>
                  <a:gd name="connsiteY1383" fmla="*/ 197 h 10000"/>
                  <a:gd name="connsiteX1384" fmla="*/ 5152 w 10785"/>
                  <a:gd name="connsiteY1384" fmla="*/ 214 h 10000"/>
                  <a:gd name="connsiteX1385" fmla="*/ 5143 w 10785"/>
                  <a:gd name="connsiteY1385" fmla="*/ 188 h 10000"/>
                  <a:gd name="connsiteX1386" fmla="*/ 5129 w 10785"/>
                  <a:gd name="connsiteY1386" fmla="*/ 103 h 10000"/>
                  <a:gd name="connsiteX1387" fmla="*/ 5115 w 10785"/>
                  <a:gd name="connsiteY1387" fmla="*/ 85 h 10000"/>
                  <a:gd name="connsiteX1388" fmla="*/ 5111 w 10785"/>
                  <a:gd name="connsiteY1388" fmla="*/ 111 h 10000"/>
                  <a:gd name="connsiteX1389" fmla="*/ 5092 w 10785"/>
                  <a:gd name="connsiteY1389" fmla="*/ 103 h 10000"/>
                  <a:gd name="connsiteX1390" fmla="*/ 5069 w 10785"/>
                  <a:gd name="connsiteY1390" fmla="*/ 77 h 10000"/>
                  <a:gd name="connsiteX1391" fmla="*/ 5051 w 10785"/>
                  <a:gd name="connsiteY1391" fmla="*/ 26 h 10000"/>
                  <a:gd name="connsiteX1392" fmla="*/ 5041 w 10785"/>
                  <a:gd name="connsiteY1392" fmla="*/ 34 h 10000"/>
                  <a:gd name="connsiteX1393" fmla="*/ 5037 w 10785"/>
                  <a:gd name="connsiteY1393" fmla="*/ 34 h 10000"/>
                  <a:gd name="connsiteX1394" fmla="*/ 5037 w 10785"/>
                  <a:gd name="connsiteY1394" fmla="*/ 26 h 10000"/>
                  <a:gd name="connsiteX1395" fmla="*/ 5037 w 10785"/>
                  <a:gd name="connsiteY1395" fmla="*/ 9 h 10000"/>
                  <a:gd name="connsiteX1396" fmla="*/ 5023 w 10785"/>
                  <a:gd name="connsiteY1396" fmla="*/ 0 h 10000"/>
                  <a:gd name="connsiteX1397" fmla="*/ 5009 w 10785"/>
                  <a:gd name="connsiteY1397" fmla="*/ 9 h 10000"/>
                  <a:gd name="connsiteX1398" fmla="*/ 4995 w 10785"/>
                  <a:gd name="connsiteY1398" fmla="*/ 34 h 10000"/>
                  <a:gd name="connsiteX1399" fmla="*/ 4991 w 10785"/>
                  <a:gd name="connsiteY1399" fmla="*/ 60 h 10000"/>
                  <a:gd name="connsiteX1400" fmla="*/ 4982 w 10785"/>
                  <a:gd name="connsiteY1400" fmla="*/ 60 h 10000"/>
                  <a:gd name="connsiteX1401" fmla="*/ 4949 w 10785"/>
                  <a:gd name="connsiteY1401" fmla="*/ 51 h 10000"/>
                  <a:gd name="connsiteX1402" fmla="*/ 4949 w 10785"/>
                  <a:gd name="connsiteY1402" fmla="*/ 85 h 10000"/>
                  <a:gd name="connsiteX1403" fmla="*/ 4903 w 10785"/>
                  <a:gd name="connsiteY1403" fmla="*/ 197 h 10000"/>
                  <a:gd name="connsiteX1404" fmla="*/ 4899 w 10785"/>
                  <a:gd name="connsiteY1404" fmla="*/ 239 h 10000"/>
                  <a:gd name="connsiteX1405" fmla="*/ 4871 w 10785"/>
                  <a:gd name="connsiteY1405" fmla="*/ 274 h 10000"/>
                  <a:gd name="connsiteX1406" fmla="*/ 4871 w 10785"/>
                  <a:gd name="connsiteY1406" fmla="*/ 282 h 10000"/>
                  <a:gd name="connsiteX1407" fmla="*/ 4834 w 10785"/>
                  <a:gd name="connsiteY1407" fmla="*/ 376 h 10000"/>
                  <a:gd name="connsiteX1408" fmla="*/ 4829 w 10785"/>
                  <a:gd name="connsiteY1408" fmla="*/ 402 h 10000"/>
                  <a:gd name="connsiteX1409" fmla="*/ 4834 w 10785"/>
                  <a:gd name="connsiteY1409" fmla="*/ 410 h 10000"/>
                  <a:gd name="connsiteX1410" fmla="*/ 4829 w 10785"/>
                  <a:gd name="connsiteY1410" fmla="*/ 436 h 10000"/>
                  <a:gd name="connsiteX1411" fmla="*/ 4825 w 10785"/>
                  <a:gd name="connsiteY1411" fmla="*/ 436 h 10000"/>
                  <a:gd name="connsiteX1412" fmla="*/ 4825 w 10785"/>
                  <a:gd name="connsiteY1412" fmla="*/ 444 h 10000"/>
                  <a:gd name="connsiteX1413" fmla="*/ 4811 w 10785"/>
                  <a:gd name="connsiteY1413" fmla="*/ 496 h 10000"/>
                  <a:gd name="connsiteX1414" fmla="*/ 4811 w 10785"/>
                  <a:gd name="connsiteY1414" fmla="*/ 496 h 10000"/>
                  <a:gd name="connsiteX1415" fmla="*/ 4811 w 10785"/>
                  <a:gd name="connsiteY1415" fmla="*/ 521 h 10000"/>
                  <a:gd name="connsiteX1416" fmla="*/ 4816 w 10785"/>
                  <a:gd name="connsiteY1416" fmla="*/ 530 h 10000"/>
                  <a:gd name="connsiteX1417" fmla="*/ 4834 w 10785"/>
                  <a:gd name="connsiteY1417" fmla="*/ 547 h 10000"/>
                  <a:gd name="connsiteX1418" fmla="*/ 4834 w 10785"/>
                  <a:gd name="connsiteY1418" fmla="*/ 581 h 10000"/>
                  <a:gd name="connsiteX1419" fmla="*/ 4843 w 10785"/>
                  <a:gd name="connsiteY1419" fmla="*/ 581 h 10000"/>
                  <a:gd name="connsiteX1420" fmla="*/ 4843 w 10785"/>
                  <a:gd name="connsiteY1420" fmla="*/ 598 h 10000"/>
                  <a:gd name="connsiteX1421" fmla="*/ 4829 w 10785"/>
                  <a:gd name="connsiteY1421" fmla="*/ 598 h 10000"/>
                  <a:gd name="connsiteX1422" fmla="*/ 4829 w 10785"/>
                  <a:gd name="connsiteY1422" fmla="*/ 573 h 10000"/>
                  <a:gd name="connsiteX1423" fmla="*/ 4829 w 10785"/>
                  <a:gd name="connsiteY1423" fmla="*/ 632 h 10000"/>
                  <a:gd name="connsiteX1424" fmla="*/ 4829 w 10785"/>
                  <a:gd name="connsiteY1424" fmla="*/ 632 h 10000"/>
                  <a:gd name="connsiteX1425" fmla="*/ 4829 w 10785"/>
                  <a:gd name="connsiteY1425" fmla="*/ 650 h 10000"/>
                  <a:gd name="connsiteX1426" fmla="*/ 4774 w 10785"/>
                  <a:gd name="connsiteY1426" fmla="*/ 684 h 10000"/>
                  <a:gd name="connsiteX1427" fmla="*/ 4756 w 10785"/>
                  <a:gd name="connsiteY1427" fmla="*/ 684 h 10000"/>
                  <a:gd name="connsiteX1428" fmla="*/ 4737 w 10785"/>
                  <a:gd name="connsiteY1428" fmla="*/ 692 h 10000"/>
                  <a:gd name="connsiteX1429" fmla="*/ 4677 w 10785"/>
                  <a:gd name="connsiteY1429" fmla="*/ 667 h 10000"/>
                  <a:gd name="connsiteX1430" fmla="*/ 4682 w 10785"/>
                  <a:gd name="connsiteY1430" fmla="*/ 692 h 10000"/>
                  <a:gd name="connsiteX1431" fmla="*/ 4682 w 10785"/>
                  <a:gd name="connsiteY1431" fmla="*/ 709 h 10000"/>
                  <a:gd name="connsiteX1432" fmla="*/ 4691 w 10785"/>
                  <a:gd name="connsiteY1432" fmla="*/ 718 h 10000"/>
                  <a:gd name="connsiteX1433" fmla="*/ 4691 w 10785"/>
                  <a:gd name="connsiteY1433" fmla="*/ 744 h 10000"/>
                  <a:gd name="connsiteX1434" fmla="*/ 4700 w 10785"/>
                  <a:gd name="connsiteY1434" fmla="*/ 744 h 10000"/>
                  <a:gd name="connsiteX1435" fmla="*/ 4714 w 10785"/>
                  <a:gd name="connsiteY1435" fmla="*/ 769 h 10000"/>
                  <a:gd name="connsiteX1436" fmla="*/ 4710 w 10785"/>
                  <a:gd name="connsiteY1436" fmla="*/ 786 h 10000"/>
                  <a:gd name="connsiteX1437" fmla="*/ 4737 w 10785"/>
                  <a:gd name="connsiteY1437" fmla="*/ 786 h 10000"/>
                  <a:gd name="connsiteX1438" fmla="*/ 4742 w 10785"/>
                  <a:gd name="connsiteY1438" fmla="*/ 795 h 10000"/>
                  <a:gd name="connsiteX1439" fmla="*/ 4742 w 10785"/>
                  <a:gd name="connsiteY1439" fmla="*/ 803 h 10000"/>
                  <a:gd name="connsiteX1440" fmla="*/ 4737 w 10785"/>
                  <a:gd name="connsiteY1440" fmla="*/ 846 h 10000"/>
                  <a:gd name="connsiteX1441" fmla="*/ 4737 w 10785"/>
                  <a:gd name="connsiteY1441" fmla="*/ 880 h 10000"/>
                  <a:gd name="connsiteX1442" fmla="*/ 4737 w 10785"/>
                  <a:gd name="connsiteY1442" fmla="*/ 906 h 10000"/>
                  <a:gd name="connsiteX1443" fmla="*/ 4724 w 10785"/>
                  <a:gd name="connsiteY1443" fmla="*/ 897 h 10000"/>
                  <a:gd name="connsiteX1444" fmla="*/ 4724 w 10785"/>
                  <a:gd name="connsiteY1444" fmla="*/ 872 h 10000"/>
                  <a:gd name="connsiteX1445" fmla="*/ 4714 w 10785"/>
                  <a:gd name="connsiteY1445" fmla="*/ 855 h 10000"/>
                  <a:gd name="connsiteX1446" fmla="*/ 4691 w 10785"/>
                  <a:gd name="connsiteY1446" fmla="*/ 846 h 10000"/>
                  <a:gd name="connsiteX1447" fmla="*/ 4691 w 10785"/>
                  <a:gd name="connsiteY1447" fmla="*/ 846 h 10000"/>
                  <a:gd name="connsiteX1448" fmla="*/ 4696 w 10785"/>
                  <a:gd name="connsiteY1448" fmla="*/ 821 h 10000"/>
                  <a:gd name="connsiteX1449" fmla="*/ 4691 w 10785"/>
                  <a:gd name="connsiteY1449" fmla="*/ 803 h 10000"/>
                  <a:gd name="connsiteX1450" fmla="*/ 4668 w 10785"/>
                  <a:gd name="connsiteY1450" fmla="*/ 821 h 10000"/>
                  <a:gd name="connsiteX1451" fmla="*/ 4668 w 10785"/>
                  <a:gd name="connsiteY1451" fmla="*/ 786 h 10000"/>
                  <a:gd name="connsiteX1452" fmla="*/ 4664 w 10785"/>
                  <a:gd name="connsiteY1452" fmla="*/ 786 h 10000"/>
                  <a:gd name="connsiteX1453" fmla="*/ 4622 w 10785"/>
                  <a:gd name="connsiteY1453" fmla="*/ 846 h 10000"/>
                  <a:gd name="connsiteX1454" fmla="*/ 4627 w 10785"/>
                  <a:gd name="connsiteY1454" fmla="*/ 872 h 10000"/>
                  <a:gd name="connsiteX1455" fmla="*/ 4622 w 10785"/>
                  <a:gd name="connsiteY1455" fmla="*/ 880 h 10000"/>
                  <a:gd name="connsiteX1456" fmla="*/ 4622 w 10785"/>
                  <a:gd name="connsiteY1456" fmla="*/ 880 h 10000"/>
                  <a:gd name="connsiteX1457" fmla="*/ 4618 w 10785"/>
                  <a:gd name="connsiteY1457" fmla="*/ 872 h 10000"/>
                  <a:gd name="connsiteX1458" fmla="*/ 4604 w 10785"/>
                  <a:gd name="connsiteY1458" fmla="*/ 880 h 10000"/>
                  <a:gd name="connsiteX1459" fmla="*/ 4594 w 10785"/>
                  <a:gd name="connsiteY1459" fmla="*/ 906 h 10000"/>
                  <a:gd name="connsiteX1460" fmla="*/ 4604 w 10785"/>
                  <a:gd name="connsiteY1460" fmla="*/ 906 h 10000"/>
                  <a:gd name="connsiteX1461" fmla="*/ 4608 w 10785"/>
                  <a:gd name="connsiteY1461" fmla="*/ 906 h 10000"/>
                  <a:gd name="connsiteX1462" fmla="*/ 4608 w 10785"/>
                  <a:gd name="connsiteY1462" fmla="*/ 932 h 10000"/>
                  <a:gd name="connsiteX1463" fmla="*/ 4604 w 10785"/>
                  <a:gd name="connsiteY1463" fmla="*/ 932 h 10000"/>
                  <a:gd name="connsiteX1464" fmla="*/ 4590 w 10785"/>
                  <a:gd name="connsiteY1464" fmla="*/ 932 h 10000"/>
                  <a:gd name="connsiteX1465" fmla="*/ 4567 w 10785"/>
                  <a:gd name="connsiteY1465" fmla="*/ 957 h 10000"/>
                  <a:gd name="connsiteX1466" fmla="*/ 4567 w 10785"/>
                  <a:gd name="connsiteY1466" fmla="*/ 932 h 10000"/>
                  <a:gd name="connsiteX1467" fmla="*/ 4567 w 10785"/>
                  <a:gd name="connsiteY1467" fmla="*/ 923 h 10000"/>
                  <a:gd name="connsiteX1468" fmla="*/ 4562 w 10785"/>
                  <a:gd name="connsiteY1468" fmla="*/ 932 h 10000"/>
                  <a:gd name="connsiteX1469" fmla="*/ 4548 w 10785"/>
                  <a:gd name="connsiteY1469" fmla="*/ 957 h 10000"/>
                  <a:gd name="connsiteX1470" fmla="*/ 4544 w 10785"/>
                  <a:gd name="connsiteY1470" fmla="*/ 957 h 10000"/>
                  <a:gd name="connsiteX1471" fmla="*/ 4521 w 10785"/>
                  <a:gd name="connsiteY1471" fmla="*/ 983 h 10000"/>
                  <a:gd name="connsiteX1472" fmla="*/ 4521 w 10785"/>
                  <a:gd name="connsiteY1472" fmla="*/ 983 h 10000"/>
                  <a:gd name="connsiteX1473" fmla="*/ 4530 w 10785"/>
                  <a:gd name="connsiteY1473" fmla="*/ 957 h 10000"/>
                  <a:gd name="connsiteX1474" fmla="*/ 4535 w 10785"/>
                  <a:gd name="connsiteY1474" fmla="*/ 932 h 10000"/>
                  <a:gd name="connsiteX1475" fmla="*/ 4521 w 10785"/>
                  <a:gd name="connsiteY1475" fmla="*/ 932 h 10000"/>
                  <a:gd name="connsiteX1476" fmla="*/ 4516 w 10785"/>
                  <a:gd name="connsiteY1476" fmla="*/ 923 h 10000"/>
                  <a:gd name="connsiteX1477" fmla="*/ 4516 w 10785"/>
                  <a:gd name="connsiteY1477" fmla="*/ 932 h 10000"/>
                  <a:gd name="connsiteX1478" fmla="*/ 4488 w 10785"/>
                  <a:gd name="connsiteY1478" fmla="*/ 940 h 10000"/>
                  <a:gd name="connsiteX1479" fmla="*/ 4484 w 10785"/>
                  <a:gd name="connsiteY1479" fmla="*/ 983 h 10000"/>
                  <a:gd name="connsiteX1480" fmla="*/ 4470 w 10785"/>
                  <a:gd name="connsiteY1480" fmla="*/ 983 h 10000"/>
                  <a:gd name="connsiteX1481" fmla="*/ 4470 w 10785"/>
                  <a:gd name="connsiteY1481" fmla="*/ 966 h 10000"/>
                  <a:gd name="connsiteX1482" fmla="*/ 4488 w 10785"/>
                  <a:gd name="connsiteY1482" fmla="*/ 923 h 10000"/>
                  <a:gd name="connsiteX1483" fmla="*/ 4493 w 10785"/>
                  <a:gd name="connsiteY1483" fmla="*/ 880 h 10000"/>
                  <a:gd name="connsiteX1484" fmla="*/ 4475 w 10785"/>
                  <a:gd name="connsiteY1484" fmla="*/ 846 h 10000"/>
                  <a:gd name="connsiteX1485" fmla="*/ 4442 w 10785"/>
                  <a:gd name="connsiteY1485" fmla="*/ 855 h 10000"/>
                  <a:gd name="connsiteX1486" fmla="*/ 4433 w 10785"/>
                  <a:gd name="connsiteY1486" fmla="*/ 855 h 10000"/>
                  <a:gd name="connsiteX1487" fmla="*/ 4433 w 10785"/>
                  <a:gd name="connsiteY1487" fmla="*/ 880 h 10000"/>
                  <a:gd name="connsiteX1488" fmla="*/ 4401 w 10785"/>
                  <a:gd name="connsiteY1488" fmla="*/ 855 h 10000"/>
                  <a:gd name="connsiteX1489" fmla="*/ 4396 w 10785"/>
                  <a:gd name="connsiteY1489" fmla="*/ 872 h 10000"/>
                  <a:gd name="connsiteX1490" fmla="*/ 4382 w 10785"/>
                  <a:gd name="connsiteY1490" fmla="*/ 897 h 10000"/>
                  <a:gd name="connsiteX1491" fmla="*/ 4373 w 10785"/>
                  <a:gd name="connsiteY1491" fmla="*/ 872 h 10000"/>
                  <a:gd name="connsiteX1492" fmla="*/ 4341 w 10785"/>
                  <a:gd name="connsiteY1492" fmla="*/ 872 h 10000"/>
                  <a:gd name="connsiteX1493" fmla="*/ 4336 w 10785"/>
                  <a:gd name="connsiteY1493" fmla="*/ 880 h 10000"/>
                  <a:gd name="connsiteX1494" fmla="*/ 4346 w 10785"/>
                  <a:gd name="connsiteY1494" fmla="*/ 897 h 10000"/>
                  <a:gd name="connsiteX1495" fmla="*/ 4346 w 10785"/>
                  <a:gd name="connsiteY1495" fmla="*/ 897 h 10000"/>
                  <a:gd name="connsiteX1496" fmla="*/ 4313 w 10785"/>
                  <a:gd name="connsiteY1496" fmla="*/ 906 h 10000"/>
                  <a:gd name="connsiteX1497" fmla="*/ 4313 w 10785"/>
                  <a:gd name="connsiteY1497" fmla="*/ 906 h 10000"/>
                  <a:gd name="connsiteX1498" fmla="*/ 4313 w 10785"/>
                  <a:gd name="connsiteY1498" fmla="*/ 880 h 10000"/>
                  <a:gd name="connsiteX1499" fmla="*/ 4309 w 10785"/>
                  <a:gd name="connsiteY1499" fmla="*/ 897 h 10000"/>
                  <a:gd name="connsiteX1500" fmla="*/ 4295 w 10785"/>
                  <a:gd name="connsiteY1500" fmla="*/ 923 h 10000"/>
                  <a:gd name="connsiteX1501" fmla="*/ 4286 w 10785"/>
                  <a:gd name="connsiteY1501" fmla="*/ 897 h 10000"/>
                  <a:gd name="connsiteX1502" fmla="*/ 4281 w 10785"/>
                  <a:gd name="connsiteY1502" fmla="*/ 906 h 10000"/>
                  <a:gd name="connsiteX1503" fmla="*/ 4281 w 10785"/>
                  <a:gd name="connsiteY1503" fmla="*/ 940 h 10000"/>
                  <a:gd name="connsiteX1504" fmla="*/ 4286 w 10785"/>
                  <a:gd name="connsiteY1504" fmla="*/ 957 h 10000"/>
                  <a:gd name="connsiteX1505" fmla="*/ 4309 w 10785"/>
                  <a:gd name="connsiteY1505" fmla="*/ 932 h 10000"/>
                  <a:gd name="connsiteX1506" fmla="*/ 4313 w 10785"/>
                  <a:gd name="connsiteY1506" fmla="*/ 957 h 10000"/>
                  <a:gd name="connsiteX1507" fmla="*/ 4313 w 10785"/>
                  <a:gd name="connsiteY1507" fmla="*/ 966 h 10000"/>
                  <a:gd name="connsiteX1508" fmla="*/ 4323 w 10785"/>
                  <a:gd name="connsiteY1508" fmla="*/ 966 h 10000"/>
                  <a:gd name="connsiteX1509" fmla="*/ 4323 w 10785"/>
                  <a:gd name="connsiteY1509" fmla="*/ 940 h 10000"/>
                  <a:gd name="connsiteX1510" fmla="*/ 4327 w 10785"/>
                  <a:gd name="connsiteY1510" fmla="*/ 940 h 10000"/>
                  <a:gd name="connsiteX1511" fmla="*/ 4327 w 10785"/>
                  <a:gd name="connsiteY1511" fmla="*/ 957 h 10000"/>
                  <a:gd name="connsiteX1512" fmla="*/ 4327 w 10785"/>
                  <a:gd name="connsiteY1512" fmla="*/ 966 h 10000"/>
                  <a:gd name="connsiteX1513" fmla="*/ 4323 w 10785"/>
                  <a:gd name="connsiteY1513" fmla="*/ 991 h 10000"/>
                  <a:gd name="connsiteX1514" fmla="*/ 4207 w 10785"/>
                  <a:gd name="connsiteY1514" fmla="*/ 1060 h 10000"/>
                  <a:gd name="connsiteX1515" fmla="*/ 4207 w 10785"/>
                  <a:gd name="connsiteY1515" fmla="*/ 1060 h 10000"/>
                  <a:gd name="connsiteX1516" fmla="*/ 4203 w 10785"/>
                  <a:gd name="connsiteY1516" fmla="*/ 1068 h 10000"/>
                  <a:gd name="connsiteX1517" fmla="*/ 4203 w 10785"/>
                  <a:gd name="connsiteY1517" fmla="*/ 1094 h 10000"/>
                  <a:gd name="connsiteX1518" fmla="*/ 4203 w 10785"/>
                  <a:gd name="connsiteY1518" fmla="*/ 1094 h 10000"/>
                  <a:gd name="connsiteX1519" fmla="*/ 4189 w 10785"/>
                  <a:gd name="connsiteY1519" fmla="*/ 1094 h 10000"/>
                  <a:gd name="connsiteX1520" fmla="*/ 4166 w 10785"/>
                  <a:gd name="connsiteY1520" fmla="*/ 1103 h 10000"/>
                  <a:gd name="connsiteX1521" fmla="*/ 4152 w 10785"/>
                  <a:gd name="connsiteY1521" fmla="*/ 1094 h 10000"/>
                  <a:gd name="connsiteX1522" fmla="*/ 4134 w 10785"/>
                  <a:gd name="connsiteY1522" fmla="*/ 1120 h 10000"/>
                  <a:gd name="connsiteX1523" fmla="*/ 4106 w 10785"/>
                  <a:gd name="connsiteY1523" fmla="*/ 1120 h 10000"/>
                  <a:gd name="connsiteX1524" fmla="*/ 4092 w 10785"/>
                  <a:gd name="connsiteY1524" fmla="*/ 1154 h 10000"/>
                  <a:gd name="connsiteX1525" fmla="*/ 4106 w 10785"/>
                  <a:gd name="connsiteY1525" fmla="*/ 1171 h 10000"/>
                  <a:gd name="connsiteX1526" fmla="*/ 4078 w 10785"/>
                  <a:gd name="connsiteY1526" fmla="*/ 1179 h 10000"/>
                  <a:gd name="connsiteX1527" fmla="*/ 4065 w 10785"/>
                  <a:gd name="connsiteY1527" fmla="*/ 1205 h 10000"/>
                  <a:gd name="connsiteX1528" fmla="*/ 4046 w 10785"/>
                  <a:gd name="connsiteY1528" fmla="*/ 1179 h 10000"/>
                  <a:gd name="connsiteX1529" fmla="*/ 4041 w 10785"/>
                  <a:gd name="connsiteY1529" fmla="*/ 1197 h 10000"/>
                  <a:gd name="connsiteX1530" fmla="*/ 4028 w 10785"/>
                  <a:gd name="connsiteY1530" fmla="*/ 1205 h 10000"/>
                  <a:gd name="connsiteX1531" fmla="*/ 4028 w 10785"/>
                  <a:gd name="connsiteY1531" fmla="*/ 1205 h 10000"/>
                  <a:gd name="connsiteX1532" fmla="*/ 4032 w 10785"/>
                  <a:gd name="connsiteY1532" fmla="*/ 1205 h 10000"/>
                  <a:gd name="connsiteX1533" fmla="*/ 4032 w 10785"/>
                  <a:gd name="connsiteY1533" fmla="*/ 1231 h 10000"/>
                  <a:gd name="connsiteX1534" fmla="*/ 4014 w 10785"/>
                  <a:gd name="connsiteY1534" fmla="*/ 1239 h 10000"/>
                  <a:gd name="connsiteX1535" fmla="*/ 4014 w 10785"/>
                  <a:gd name="connsiteY1535" fmla="*/ 1256 h 10000"/>
                  <a:gd name="connsiteX1536" fmla="*/ 4000 w 10785"/>
                  <a:gd name="connsiteY1536" fmla="*/ 1265 h 10000"/>
                  <a:gd name="connsiteX1537" fmla="*/ 3986 w 10785"/>
                  <a:gd name="connsiteY1537" fmla="*/ 1308 h 10000"/>
                  <a:gd name="connsiteX1538" fmla="*/ 3972 w 10785"/>
                  <a:gd name="connsiteY1538" fmla="*/ 1316 h 10000"/>
                  <a:gd name="connsiteX1539" fmla="*/ 3972 w 10785"/>
                  <a:gd name="connsiteY1539" fmla="*/ 1325 h 10000"/>
                  <a:gd name="connsiteX1540" fmla="*/ 3972 w 10785"/>
                  <a:gd name="connsiteY1540" fmla="*/ 1342 h 10000"/>
                  <a:gd name="connsiteX1541" fmla="*/ 3968 w 10785"/>
                  <a:gd name="connsiteY1541" fmla="*/ 1350 h 10000"/>
                  <a:gd name="connsiteX1542" fmla="*/ 3954 w 10785"/>
                  <a:gd name="connsiteY1542" fmla="*/ 1368 h 10000"/>
                  <a:gd name="connsiteX1543" fmla="*/ 3945 w 10785"/>
                  <a:gd name="connsiteY1543" fmla="*/ 1350 h 10000"/>
                  <a:gd name="connsiteX1544" fmla="*/ 3908 w 10785"/>
                  <a:gd name="connsiteY1544" fmla="*/ 1342 h 10000"/>
                  <a:gd name="connsiteX1545" fmla="*/ 3894 w 10785"/>
                  <a:gd name="connsiteY1545" fmla="*/ 1368 h 10000"/>
                  <a:gd name="connsiteX1546" fmla="*/ 3922 w 10785"/>
                  <a:gd name="connsiteY1546" fmla="*/ 1393 h 10000"/>
                  <a:gd name="connsiteX1547" fmla="*/ 3945 w 10785"/>
                  <a:gd name="connsiteY1547" fmla="*/ 1393 h 10000"/>
                  <a:gd name="connsiteX1548" fmla="*/ 3940 w 10785"/>
                  <a:gd name="connsiteY1548" fmla="*/ 1419 h 10000"/>
                  <a:gd name="connsiteX1549" fmla="*/ 3931 w 10785"/>
                  <a:gd name="connsiteY1549" fmla="*/ 1427 h 10000"/>
                  <a:gd name="connsiteX1550" fmla="*/ 3926 w 10785"/>
                  <a:gd name="connsiteY1550" fmla="*/ 1427 h 10000"/>
                  <a:gd name="connsiteX1551" fmla="*/ 3922 w 10785"/>
                  <a:gd name="connsiteY1551" fmla="*/ 1419 h 10000"/>
                  <a:gd name="connsiteX1552" fmla="*/ 3912 w 10785"/>
                  <a:gd name="connsiteY1552" fmla="*/ 1427 h 10000"/>
                  <a:gd name="connsiteX1553" fmla="*/ 3912 w 10785"/>
                  <a:gd name="connsiteY1553" fmla="*/ 1444 h 10000"/>
                  <a:gd name="connsiteX1554" fmla="*/ 3894 w 10785"/>
                  <a:gd name="connsiteY1554" fmla="*/ 1513 h 10000"/>
                  <a:gd name="connsiteX1555" fmla="*/ 3885 w 10785"/>
                  <a:gd name="connsiteY1555" fmla="*/ 1513 h 10000"/>
                  <a:gd name="connsiteX1556" fmla="*/ 3880 w 10785"/>
                  <a:gd name="connsiteY1556" fmla="*/ 1538 h 10000"/>
                  <a:gd name="connsiteX1557" fmla="*/ 3885 w 10785"/>
                  <a:gd name="connsiteY1557" fmla="*/ 1564 h 10000"/>
                  <a:gd name="connsiteX1558" fmla="*/ 3880 w 10785"/>
                  <a:gd name="connsiteY1558" fmla="*/ 1581 h 10000"/>
                  <a:gd name="connsiteX1559" fmla="*/ 3871 w 10785"/>
                  <a:gd name="connsiteY1559" fmla="*/ 1538 h 10000"/>
                  <a:gd name="connsiteX1560" fmla="*/ 3853 w 10785"/>
                  <a:gd name="connsiteY1560" fmla="*/ 1530 h 10000"/>
                  <a:gd name="connsiteX1561" fmla="*/ 3853 w 10785"/>
                  <a:gd name="connsiteY1561" fmla="*/ 1504 h 10000"/>
                  <a:gd name="connsiteX1562" fmla="*/ 3834 w 10785"/>
                  <a:gd name="connsiteY1562" fmla="*/ 1487 h 10000"/>
                  <a:gd name="connsiteX1563" fmla="*/ 3834 w 10785"/>
                  <a:gd name="connsiteY1563" fmla="*/ 1487 h 10000"/>
                  <a:gd name="connsiteX1564" fmla="*/ 3839 w 10785"/>
                  <a:gd name="connsiteY1564" fmla="*/ 1513 h 10000"/>
                  <a:gd name="connsiteX1565" fmla="*/ 3820 w 10785"/>
                  <a:gd name="connsiteY1565" fmla="*/ 1538 h 10000"/>
                  <a:gd name="connsiteX1566" fmla="*/ 3820 w 10785"/>
                  <a:gd name="connsiteY1566" fmla="*/ 1556 h 10000"/>
                  <a:gd name="connsiteX1567" fmla="*/ 3820 w 10785"/>
                  <a:gd name="connsiteY1567" fmla="*/ 1564 h 10000"/>
                  <a:gd name="connsiteX1568" fmla="*/ 3820 w 10785"/>
                  <a:gd name="connsiteY1568" fmla="*/ 1581 h 10000"/>
                  <a:gd name="connsiteX1569" fmla="*/ 3853 w 10785"/>
                  <a:gd name="connsiteY1569" fmla="*/ 1581 h 10000"/>
                  <a:gd name="connsiteX1570" fmla="*/ 3857 w 10785"/>
                  <a:gd name="connsiteY1570" fmla="*/ 1598 h 10000"/>
                  <a:gd name="connsiteX1571" fmla="*/ 3880 w 10785"/>
                  <a:gd name="connsiteY1571" fmla="*/ 1615 h 10000"/>
                  <a:gd name="connsiteX1572" fmla="*/ 3871 w 10785"/>
                  <a:gd name="connsiteY1572" fmla="*/ 1615 h 10000"/>
                  <a:gd name="connsiteX1573" fmla="*/ 3871 w 10785"/>
                  <a:gd name="connsiteY1573" fmla="*/ 1641 h 10000"/>
                  <a:gd name="connsiteX1574" fmla="*/ 3880 w 10785"/>
                  <a:gd name="connsiteY1574" fmla="*/ 1641 h 10000"/>
                  <a:gd name="connsiteX1575" fmla="*/ 3871 w 10785"/>
                  <a:gd name="connsiteY1575" fmla="*/ 1650 h 10000"/>
                  <a:gd name="connsiteX1576" fmla="*/ 3857 w 10785"/>
                  <a:gd name="connsiteY1576" fmla="*/ 1650 h 10000"/>
                  <a:gd name="connsiteX1577" fmla="*/ 3853 w 10785"/>
                  <a:gd name="connsiteY1577" fmla="*/ 1650 h 10000"/>
                  <a:gd name="connsiteX1578" fmla="*/ 3839 w 10785"/>
                  <a:gd name="connsiteY1578" fmla="*/ 1667 h 10000"/>
                  <a:gd name="connsiteX1579" fmla="*/ 3848 w 10785"/>
                  <a:gd name="connsiteY1579" fmla="*/ 1692 h 10000"/>
                  <a:gd name="connsiteX1580" fmla="*/ 3834 w 10785"/>
                  <a:gd name="connsiteY1580" fmla="*/ 1692 h 10000"/>
                  <a:gd name="connsiteX1581" fmla="*/ 3825 w 10785"/>
                  <a:gd name="connsiteY1581" fmla="*/ 1692 h 10000"/>
                  <a:gd name="connsiteX1582" fmla="*/ 3825 w 10785"/>
                  <a:gd name="connsiteY1582" fmla="*/ 1718 h 10000"/>
                  <a:gd name="connsiteX1583" fmla="*/ 3839 w 10785"/>
                  <a:gd name="connsiteY1583" fmla="*/ 1726 h 10000"/>
                  <a:gd name="connsiteX1584" fmla="*/ 3880 w 10785"/>
                  <a:gd name="connsiteY1584" fmla="*/ 1752 h 10000"/>
                  <a:gd name="connsiteX1585" fmla="*/ 3894 w 10785"/>
                  <a:gd name="connsiteY1585" fmla="*/ 1829 h 10000"/>
                  <a:gd name="connsiteX1586" fmla="*/ 3899 w 10785"/>
                  <a:gd name="connsiteY1586" fmla="*/ 1838 h 10000"/>
                  <a:gd name="connsiteX1587" fmla="*/ 3894 w 10785"/>
                  <a:gd name="connsiteY1587" fmla="*/ 1855 h 10000"/>
                  <a:gd name="connsiteX1588" fmla="*/ 3880 w 10785"/>
                  <a:gd name="connsiteY1588" fmla="*/ 1838 h 10000"/>
                  <a:gd name="connsiteX1589" fmla="*/ 3880 w 10785"/>
                  <a:gd name="connsiteY1589" fmla="*/ 1855 h 10000"/>
                  <a:gd name="connsiteX1590" fmla="*/ 3880 w 10785"/>
                  <a:gd name="connsiteY1590" fmla="*/ 1863 h 10000"/>
                  <a:gd name="connsiteX1591" fmla="*/ 3871 w 10785"/>
                  <a:gd name="connsiteY1591" fmla="*/ 1872 h 10000"/>
                  <a:gd name="connsiteX1592" fmla="*/ 3880 w 10785"/>
                  <a:gd name="connsiteY1592" fmla="*/ 1889 h 10000"/>
                  <a:gd name="connsiteX1593" fmla="*/ 3885 w 10785"/>
                  <a:gd name="connsiteY1593" fmla="*/ 1889 h 10000"/>
                  <a:gd name="connsiteX1594" fmla="*/ 3880 w 10785"/>
                  <a:gd name="connsiteY1594" fmla="*/ 1897 h 10000"/>
                  <a:gd name="connsiteX1595" fmla="*/ 3871 w 10785"/>
                  <a:gd name="connsiteY1595" fmla="*/ 1915 h 10000"/>
                  <a:gd name="connsiteX1596" fmla="*/ 3848 w 10785"/>
                  <a:gd name="connsiteY1596" fmla="*/ 1923 h 10000"/>
                  <a:gd name="connsiteX1597" fmla="*/ 3825 w 10785"/>
                  <a:gd name="connsiteY1597" fmla="*/ 1940 h 10000"/>
                  <a:gd name="connsiteX1598" fmla="*/ 3811 w 10785"/>
                  <a:gd name="connsiteY1598" fmla="*/ 1940 h 10000"/>
                  <a:gd name="connsiteX1599" fmla="*/ 3806 w 10785"/>
                  <a:gd name="connsiteY1599" fmla="*/ 1949 h 10000"/>
                  <a:gd name="connsiteX1600" fmla="*/ 3797 w 10785"/>
                  <a:gd name="connsiteY1600" fmla="*/ 1966 h 10000"/>
                  <a:gd name="connsiteX1601" fmla="*/ 3788 w 10785"/>
                  <a:gd name="connsiteY1601" fmla="*/ 1991 h 10000"/>
                  <a:gd name="connsiteX1602" fmla="*/ 3765 w 10785"/>
                  <a:gd name="connsiteY1602" fmla="*/ 1974 h 10000"/>
                  <a:gd name="connsiteX1603" fmla="*/ 3760 w 10785"/>
                  <a:gd name="connsiteY1603" fmla="*/ 1966 h 10000"/>
                  <a:gd name="connsiteX1604" fmla="*/ 3760 w 10785"/>
                  <a:gd name="connsiteY1604" fmla="*/ 1966 h 10000"/>
                  <a:gd name="connsiteX1605" fmla="*/ 3631 w 10785"/>
                  <a:gd name="connsiteY1605" fmla="*/ 2009 h 10000"/>
                  <a:gd name="connsiteX1606" fmla="*/ 3618 w 10785"/>
                  <a:gd name="connsiteY1606" fmla="*/ 2000 h 10000"/>
                  <a:gd name="connsiteX1607" fmla="*/ 3599 w 10785"/>
                  <a:gd name="connsiteY1607" fmla="*/ 2009 h 10000"/>
                  <a:gd name="connsiteX1608" fmla="*/ 3571 w 10785"/>
                  <a:gd name="connsiteY1608" fmla="*/ 2000 h 10000"/>
                  <a:gd name="connsiteX1609" fmla="*/ 3530 w 10785"/>
                  <a:gd name="connsiteY1609" fmla="*/ 2026 h 10000"/>
                  <a:gd name="connsiteX1610" fmla="*/ 3530 w 10785"/>
                  <a:gd name="connsiteY1610" fmla="*/ 2034 h 10000"/>
                  <a:gd name="connsiteX1611" fmla="*/ 3525 w 10785"/>
                  <a:gd name="connsiteY1611" fmla="*/ 2051 h 10000"/>
                  <a:gd name="connsiteX1612" fmla="*/ 3512 w 10785"/>
                  <a:gd name="connsiteY1612" fmla="*/ 2034 h 10000"/>
                  <a:gd name="connsiteX1613" fmla="*/ 3507 w 10785"/>
                  <a:gd name="connsiteY1613" fmla="*/ 2034 h 10000"/>
                  <a:gd name="connsiteX1614" fmla="*/ 3498 w 10785"/>
                  <a:gd name="connsiteY1614" fmla="*/ 2051 h 10000"/>
                  <a:gd name="connsiteX1615" fmla="*/ 3484 w 10785"/>
                  <a:gd name="connsiteY1615" fmla="*/ 2060 h 10000"/>
                  <a:gd name="connsiteX1616" fmla="*/ 3484 w 10785"/>
                  <a:gd name="connsiteY1616" fmla="*/ 2085 h 10000"/>
                  <a:gd name="connsiteX1617" fmla="*/ 3484 w 10785"/>
                  <a:gd name="connsiteY1617" fmla="*/ 2103 h 10000"/>
                  <a:gd name="connsiteX1618" fmla="*/ 3493 w 10785"/>
                  <a:gd name="connsiteY1618" fmla="*/ 2103 h 10000"/>
                  <a:gd name="connsiteX1619" fmla="*/ 3493 w 10785"/>
                  <a:gd name="connsiteY1619" fmla="*/ 2085 h 10000"/>
                  <a:gd name="connsiteX1620" fmla="*/ 3498 w 10785"/>
                  <a:gd name="connsiteY1620" fmla="*/ 2085 h 10000"/>
                  <a:gd name="connsiteX1621" fmla="*/ 3498 w 10785"/>
                  <a:gd name="connsiteY1621" fmla="*/ 2111 h 10000"/>
                  <a:gd name="connsiteX1622" fmla="*/ 3484 w 10785"/>
                  <a:gd name="connsiteY1622" fmla="*/ 2120 h 10000"/>
                  <a:gd name="connsiteX1623" fmla="*/ 3484 w 10785"/>
                  <a:gd name="connsiteY1623" fmla="*/ 2145 h 10000"/>
                  <a:gd name="connsiteX1624" fmla="*/ 3470 w 10785"/>
                  <a:gd name="connsiteY1624" fmla="*/ 2137 h 10000"/>
                  <a:gd name="connsiteX1625" fmla="*/ 3465 w 10785"/>
                  <a:gd name="connsiteY1625" fmla="*/ 2145 h 10000"/>
                  <a:gd name="connsiteX1626" fmla="*/ 3470 w 10785"/>
                  <a:gd name="connsiteY1626" fmla="*/ 2171 h 10000"/>
                  <a:gd name="connsiteX1627" fmla="*/ 3484 w 10785"/>
                  <a:gd name="connsiteY1627" fmla="*/ 2171 h 10000"/>
                  <a:gd name="connsiteX1628" fmla="*/ 3484 w 10785"/>
                  <a:gd name="connsiteY1628" fmla="*/ 2197 h 10000"/>
                  <a:gd name="connsiteX1629" fmla="*/ 3465 w 10785"/>
                  <a:gd name="connsiteY1629" fmla="*/ 2214 h 10000"/>
                  <a:gd name="connsiteX1630" fmla="*/ 3493 w 10785"/>
                  <a:gd name="connsiteY1630" fmla="*/ 2248 h 10000"/>
                  <a:gd name="connsiteX1631" fmla="*/ 3484 w 10785"/>
                  <a:gd name="connsiteY1631" fmla="*/ 2256 h 10000"/>
                  <a:gd name="connsiteX1632" fmla="*/ 3498 w 10785"/>
                  <a:gd name="connsiteY1632" fmla="*/ 2274 h 10000"/>
                  <a:gd name="connsiteX1633" fmla="*/ 3498 w 10785"/>
                  <a:gd name="connsiteY1633" fmla="*/ 2256 h 10000"/>
                  <a:gd name="connsiteX1634" fmla="*/ 3507 w 10785"/>
                  <a:gd name="connsiteY1634" fmla="*/ 2308 h 10000"/>
                  <a:gd name="connsiteX1635" fmla="*/ 3512 w 10785"/>
                  <a:gd name="connsiteY1635" fmla="*/ 2325 h 10000"/>
                  <a:gd name="connsiteX1636" fmla="*/ 3507 w 10785"/>
                  <a:gd name="connsiteY1636" fmla="*/ 2333 h 10000"/>
                  <a:gd name="connsiteX1637" fmla="*/ 3507 w 10785"/>
                  <a:gd name="connsiteY1637" fmla="*/ 2359 h 10000"/>
                  <a:gd name="connsiteX1638" fmla="*/ 3507 w 10785"/>
                  <a:gd name="connsiteY1638" fmla="*/ 2376 h 10000"/>
                  <a:gd name="connsiteX1639" fmla="*/ 3498 w 10785"/>
                  <a:gd name="connsiteY1639" fmla="*/ 2410 h 10000"/>
                  <a:gd name="connsiteX1640" fmla="*/ 3498 w 10785"/>
                  <a:gd name="connsiteY1640" fmla="*/ 2436 h 10000"/>
                  <a:gd name="connsiteX1641" fmla="*/ 3507 w 10785"/>
                  <a:gd name="connsiteY1641" fmla="*/ 2462 h 10000"/>
                  <a:gd name="connsiteX1642" fmla="*/ 3507 w 10785"/>
                  <a:gd name="connsiteY1642" fmla="*/ 2496 h 10000"/>
                  <a:gd name="connsiteX1643" fmla="*/ 3512 w 10785"/>
                  <a:gd name="connsiteY1643" fmla="*/ 2521 h 10000"/>
                  <a:gd name="connsiteX1644" fmla="*/ 3525 w 10785"/>
                  <a:gd name="connsiteY1644" fmla="*/ 2556 h 10000"/>
                  <a:gd name="connsiteX1645" fmla="*/ 3571 w 10785"/>
                  <a:gd name="connsiteY1645" fmla="*/ 2573 h 10000"/>
                  <a:gd name="connsiteX1646" fmla="*/ 3590 w 10785"/>
                  <a:gd name="connsiteY1646" fmla="*/ 2598 h 10000"/>
                  <a:gd name="connsiteX1647" fmla="*/ 3599 w 10785"/>
                  <a:gd name="connsiteY1647" fmla="*/ 2598 h 10000"/>
                  <a:gd name="connsiteX1648" fmla="*/ 3604 w 10785"/>
                  <a:gd name="connsiteY1648" fmla="*/ 2632 h 10000"/>
                  <a:gd name="connsiteX1649" fmla="*/ 3599 w 10785"/>
                  <a:gd name="connsiteY1649" fmla="*/ 2658 h 10000"/>
                  <a:gd name="connsiteX1650" fmla="*/ 3590 w 10785"/>
                  <a:gd name="connsiteY1650" fmla="*/ 2667 h 10000"/>
                  <a:gd name="connsiteX1651" fmla="*/ 3604 w 10785"/>
                  <a:gd name="connsiteY1651" fmla="*/ 2667 h 10000"/>
                  <a:gd name="connsiteX1652" fmla="*/ 3613 w 10785"/>
                  <a:gd name="connsiteY1652" fmla="*/ 2692 h 10000"/>
                  <a:gd name="connsiteX1653" fmla="*/ 3627 w 10785"/>
                  <a:gd name="connsiteY1653" fmla="*/ 2735 h 10000"/>
                  <a:gd name="connsiteX1654" fmla="*/ 3631 w 10785"/>
                  <a:gd name="connsiteY1654" fmla="*/ 2744 h 10000"/>
                  <a:gd name="connsiteX1655" fmla="*/ 3659 w 10785"/>
                  <a:gd name="connsiteY1655" fmla="*/ 2761 h 10000"/>
                  <a:gd name="connsiteX1656" fmla="*/ 3673 w 10785"/>
                  <a:gd name="connsiteY1656" fmla="*/ 2769 h 10000"/>
                  <a:gd name="connsiteX1657" fmla="*/ 3673 w 10785"/>
                  <a:gd name="connsiteY1657" fmla="*/ 2761 h 10000"/>
                  <a:gd name="connsiteX1658" fmla="*/ 3687 w 10785"/>
                  <a:gd name="connsiteY1658" fmla="*/ 2829 h 10000"/>
                  <a:gd name="connsiteX1659" fmla="*/ 3677 w 10785"/>
                  <a:gd name="connsiteY1659" fmla="*/ 2897 h 10000"/>
                  <a:gd name="connsiteX1660" fmla="*/ 3673 w 10785"/>
                  <a:gd name="connsiteY1660" fmla="*/ 2915 h 10000"/>
                  <a:gd name="connsiteX1661" fmla="*/ 3664 w 10785"/>
                  <a:gd name="connsiteY1661" fmla="*/ 2957 h 10000"/>
                  <a:gd name="connsiteX1662" fmla="*/ 3659 w 10785"/>
                  <a:gd name="connsiteY1662" fmla="*/ 2983 h 10000"/>
                  <a:gd name="connsiteX1663" fmla="*/ 3664 w 10785"/>
                  <a:gd name="connsiteY1663" fmla="*/ 3017 h 10000"/>
                  <a:gd name="connsiteX1664" fmla="*/ 3659 w 10785"/>
                  <a:gd name="connsiteY1664" fmla="*/ 3043 h 10000"/>
                  <a:gd name="connsiteX1665" fmla="*/ 3677 w 10785"/>
                  <a:gd name="connsiteY1665" fmla="*/ 3094 h 10000"/>
                  <a:gd name="connsiteX1666" fmla="*/ 3691 w 10785"/>
                  <a:gd name="connsiteY1666" fmla="*/ 3282 h 10000"/>
                  <a:gd name="connsiteX1667" fmla="*/ 3691 w 10785"/>
                  <a:gd name="connsiteY1667" fmla="*/ 3308 h 10000"/>
                  <a:gd name="connsiteX1668" fmla="*/ 3677 w 10785"/>
                  <a:gd name="connsiteY1668" fmla="*/ 3342 h 10000"/>
                  <a:gd name="connsiteX1669" fmla="*/ 3664 w 10785"/>
                  <a:gd name="connsiteY1669" fmla="*/ 3342 h 10000"/>
                  <a:gd name="connsiteX1670" fmla="*/ 3650 w 10785"/>
                  <a:gd name="connsiteY1670" fmla="*/ 3342 h 10000"/>
                  <a:gd name="connsiteX1671" fmla="*/ 3650 w 10785"/>
                  <a:gd name="connsiteY1671" fmla="*/ 3350 h 10000"/>
                  <a:gd name="connsiteX1672" fmla="*/ 3659 w 10785"/>
                  <a:gd name="connsiteY1672" fmla="*/ 3402 h 10000"/>
                  <a:gd name="connsiteX1673" fmla="*/ 3659 w 10785"/>
                  <a:gd name="connsiteY1673" fmla="*/ 3419 h 10000"/>
                  <a:gd name="connsiteX1674" fmla="*/ 3631 w 10785"/>
                  <a:gd name="connsiteY1674" fmla="*/ 3402 h 10000"/>
                  <a:gd name="connsiteX1675" fmla="*/ 3604 w 10785"/>
                  <a:gd name="connsiteY1675" fmla="*/ 3393 h 10000"/>
                  <a:gd name="connsiteX1676" fmla="*/ 3599 w 10785"/>
                  <a:gd name="connsiteY1676" fmla="*/ 3368 h 10000"/>
                  <a:gd name="connsiteX1677" fmla="*/ 3590 w 10785"/>
                  <a:gd name="connsiteY1677" fmla="*/ 3239 h 10000"/>
                  <a:gd name="connsiteX1678" fmla="*/ 3599 w 10785"/>
                  <a:gd name="connsiteY1678" fmla="*/ 3179 h 10000"/>
                  <a:gd name="connsiteX1679" fmla="*/ 3599 w 10785"/>
                  <a:gd name="connsiteY1679" fmla="*/ 3171 h 10000"/>
                  <a:gd name="connsiteX1680" fmla="*/ 3599 w 10785"/>
                  <a:gd name="connsiteY1680" fmla="*/ 3009 h 10000"/>
                  <a:gd name="connsiteX1681" fmla="*/ 3604 w 10785"/>
                  <a:gd name="connsiteY1681" fmla="*/ 2983 h 10000"/>
                  <a:gd name="connsiteX1682" fmla="*/ 3645 w 10785"/>
                  <a:gd name="connsiteY1682" fmla="*/ 2932 h 10000"/>
                  <a:gd name="connsiteX1683" fmla="*/ 3650 w 10785"/>
                  <a:gd name="connsiteY1683" fmla="*/ 2872 h 10000"/>
                  <a:gd name="connsiteX1684" fmla="*/ 3659 w 10785"/>
                  <a:gd name="connsiteY1684" fmla="*/ 2855 h 10000"/>
                  <a:gd name="connsiteX1685" fmla="*/ 3659 w 10785"/>
                  <a:gd name="connsiteY1685" fmla="*/ 2821 h 10000"/>
                  <a:gd name="connsiteX1686" fmla="*/ 3631 w 10785"/>
                  <a:gd name="connsiteY1686" fmla="*/ 2795 h 10000"/>
                  <a:gd name="connsiteX1687" fmla="*/ 3567 w 10785"/>
                  <a:gd name="connsiteY1687" fmla="*/ 2821 h 10000"/>
                  <a:gd name="connsiteX1688" fmla="*/ 3544 w 10785"/>
                  <a:gd name="connsiteY1688" fmla="*/ 2795 h 10000"/>
                  <a:gd name="connsiteX1689" fmla="*/ 3530 w 10785"/>
                  <a:gd name="connsiteY1689" fmla="*/ 2769 h 10000"/>
                  <a:gd name="connsiteX1690" fmla="*/ 3530 w 10785"/>
                  <a:gd name="connsiteY1690" fmla="*/ 2786 h 10000"/>
                  <a:gd name="connsiteX1691" fmla="*/ 3498 w 10785"/>
                  <a:gd name="connsiteY1691" fmla="*/ 2692 h 10000"/>
                  <a:gd name="connsiteX1692" fmla="*/ 3498 w 10785"/>
                  <a:gd name="connsiteY1692" fmla="*/ 2667 h 10000"/>
                  <a:gd name="connsiteX1693" fmla="*/ 3442 w 10785"/>
                  <a:gd name="connsiteY1693" fmla="*/ 2607 h 10000"/>
                  <a:gd name="connsiteX1694" fmla="*/ 3433 w 10785"/>
                  <a:gd name="connsiteY1694" fmla="*/ 2581 h 10000"/>
                  <a:gd name="connsiteX1695" fmla="*/ 3396 w 10785"/>
                  <a:gd name="connsiteY1695" fmla="*/ 2556 h 10000"/>
                  <a:gd name="connsiteX1696" fmla="*/ 3318 w 10785"/>
                  <a:gd name="connsiteY1696" fmla="*/ 2556 h 10000"/>
                  <a:gd name="connsiteX1697" fmla="*/ 3304 w 10785"/>
                  <a:gd name="connsiteY1697" fmla="*/ 2607 h 10000"/>
                  <a:gd name="connsiteX1698" fmla="*/ 3276 w 10785"/>
                  <a:gd name="connsiteY1698" fmla="*/ 2632 h 10000"/>
                  <a:gd name="connsiteX1699" fmla="*/ 3272 w 10785"/>
                  <a:gd name="connsiteY1699" fmla="*/ 2667 h 10000"/>
                  <a:gd name="connsiteX1700" fmla="*/ 3304 w 10785"/>
                  <a:gd name="connsiteY1700" fmla="*/ 2667 h 10000"/>
                  <a:gd name="connsiteX1701" fmla="*/ 3323 w 10785"/>
                  <a:gd name="connsiteY1701" fmla="*/ 2692 h 10000"/>
                  <a:gd name="connsiteX1702" fmla="*/ 3318 w 10785"/>
                  <a:gd name="connsiteY1702" fmla="*/ 2735 h 10000"/>
                  <a:gd name="connsiteX1703" fmla="*/ 3304 w 10785"/>
                  <a:gd name="connsiteY1703" fmla="*/ 2761 h 10000"/>
                  <a:gd name="connsiteX1704" fmla="*/ 3276 w 10785"/>
                  <a:gd name="connsiteY1704" fmla="*/ 2769 h 10000"/>
                  <a:gd name="connsiteX1705" fmla="*/ 3263 w 10785"/>
                  <a:gd name="connsiteY1705" fmla="*/ 2795 h 10000"/>
                  <a:gd name="connsiteX1706" fmla="*/ 3235 w 10785"/>
                  <a:gd name="connsiteY1706" fmla="*/ 2803 h 10000"/>
                  <a:gd name="connsiteX1707" fmla="*/ 3235 w 10785"/>
                  <a:gd name="connsiteY1707" fmla="*/ 2786 h 10000"/>
                  <a:gd name="connsiteX1708" fmla="*/ 3212 w 10785"/>
                  <a:gd name="connsiteY1708" fmla="*/ 2709 h 10000"/>
                  <a:gd name="connsiteX1709" fmla="*/ 3198 w 10785"/>
                  <a:gd name="connsiteY1709" fmla="*/ 2709 h 10000"/>
                  <a:gd name="connsiteX1710" fmla="*/ 3184 w 10785"/>
                  <a:gd name="connsiteY1710" fmla="*/ 2735 h 10000"/>
                  <a:gd name="connsiteX1711" fmla="*/ 3189 w 10785"/>
                  <a:gd name="connsiteY1711" fmla="*/ 2761 h 10000"/>
                  <a:gd name="connsiteX1712" fmla="*/ 3203 w 10785"/>
                  <a:gd name="connsiteY1712" fmla="*/ 2855 h 10000"/>
                  <a:gd name="connsiteX1713" fmla="*/ 3212 w 10785"/>
                  <a:gd name="connsiteY1713" fmla="*/ 2872 h 10000"/>
                  <a:gd name="connsiteX1714" fmla="*/ 3235 w 10785"/>
                  <a:gd name="connsiteY1714" fmla="*/ 2906 h 10000"/>
                  <a:gd name="connsiteX1715" fmla="*/ 3258 w 10785"/>
                  <a:gd name="connsiteY1715" fmla="*/ 2915 h 10000"/>
                  <a:gd name="connsiteX1716" fmla="*/ 3272 w 10785"/>
                  <a:gd name="connsiteY1716" fmla="*/ 2957 h 10000"/>
                  <a:gd name="connsiteX1717" fmla="*/ 3276 w 10785"/>
                  <a:gd name="connsiteY1717" fmla="*/ 2957 h 10000"/>
                  <a:gd name="connsiteX1718" fmla="*/ 3286 w 10785"/>
                  <a:gd name="connsiteY1718" fmla="*/ 2966 h 10000"/>
                  <a:gd name="connsiteX1719" fmla="*/ 3300 w 10785"/>
                  <a:gd name="connsiteY1719" fmla="*/ 2957 h 10000"/>
                  <a:gd name="connsiteX1720" fmla="*/ 3309 w 10785"/>
                  <a:gd name="connsiteY1720" fmla="*/ 2932 h 10000"/>
                  <a:gd name="connsiteX1721" fmla="*/ 3304 w 10785"/>
                  <a:gd name="connsiteY1721" fmla="*/ 2966 h 10000"/>
                  <a:gd name="connsiteX1722" fmla="*/ 3309 w 10785"/>
                  <a:gd name="connsiteY1722" fmla="*/ 2983 h 10000"/>
                  <a:gd name="connsiteX1723" fmla="*/ 3323 w 10785"/>
                  <a:gd name="connsiteY1723" fmla="*/ 2966 h 10000"/>
                  <a:gd name="connsiteX1724" fmla="*/ 3323 w 10785"/>
                  <a:gd name="connsiteY1724" fmla="*/ 3043 h 10000"/>
                  <a:gd name="connsiteX1725" fmla="*/ 3346 w 10785"/>
                  <a:gd name="connsiteY1725" fmla="*/ 3068 h 10000"/>
                  <a:gd name="connsiteX1726" fmla="*/ 3346 w 10785"/>
                  <a:gd name="connsiteY1726" fmla="*/ 3094 h 10000"/>
                  <a:gd name="connsiteX1727" fmla="*/ 3323 w 10785"/>
                  <a:gd name="connsiteY1727" fmla="*/ 3094 h 10000"/>
                  <a:gd name="connsiteX1728" fmla="*/ 3309 w 10785"/>
                  <a:gd name="connsiteY1728" fmla="*/ 3077 h 10000"/>
                  <a:gd name="connsiteX1729" fmla="*/ 3304 w 10785"/>
                  <a:gd name="connsiteY1729" fmla="*/ 3051 h 10000"/>
                  <a:gd name="connsiteX1730" fmla="*/ 3300 w 10785"/>
                  <a:gd name="connsiteY1730" fmla="*/ 3043 h 10000"/>
                  <a:gd name="connsiteX1731" fmla="*/ 3286 w 10785"/>
                  <a:gd name="connsiteY1731" fmla="*/ 3017 h 10000"/>
                  <a:gd name="connsiteX1732" fmla="*/ 3152 w 10785"/>
                  <a:gd name="connsiteY1732" fmla="*/ 2966 h 10000"/>
                  <a:gd name="connsiteX1733" fmla="*/ 3129 w 10785"/>
                  <a:gd name="connsiteY1733" fmla="*/ 2915 h 10000"/>
                  <a:gd name="connsiteX1734" fmla="*/ 3129 w 10785"/>
                  <a:gd name="connsiteY1734" fmla="*/ 2906 h 10000"/>
                  <a:gd name="connsiteX1735" fmla="*/ 3152 w 10785"/>
                  <a:gd name="connsiteY1735" fmla="*/ 2906 h 10000"/>
                  <a:gd name="connsiteX1736" fmla="*/ 3152 w 10785"/>
                  <a:gd name="connsiteY1736" fmla="*/ 2846 h 10000"/>
                  <a:gd name="connsiteX1737" fmla="*/ 3138 w 10785"/>
                  <a:gd name="connsiteY1737" fmla="*/ 2795 h 10000"/>
                  <a:gd name="connsiteX1738" fmla="*/ 3138 w 10785"/>
                  <a:gd name="connsiteY1738" fmla="*/ 2769 h 10000"/>
                  <a:gd name="connsiteX1739" fmla="*/ 3143 w 10785"/>
                  <a:gd name="connsiteY1739" fmla="*/ 2718 h 10000"/>
                  <a:gd name="connsiteX1740" fmla="*/ 3129 w 10785"/>
                  <a:gd name="connsiteY1740" fmla="*/ 2692 h 10000"/>
                  <a:gd name="connsiteX1741" fmla="*/ 3143 w 10785"/>
                  <a:gd name="connsiteY1741" fmla="*/ 2667 h 10000"/>
                  <a:gd name="connsiteX1742" fmla="*/ 3157 w 10785"/>
                  <a:gd name="connsiteY1742" fmla="*/ 2581 h 10000"/>
                  <a:gd name="connsiteX1743" fmla="*/ 3143 w 10785"/>
                  <a:gd name="connsiteY1743" fmla="*/ 2496 h 10000"/>
                  <a:gd name="connsiteX1744" fmla="*/ 3157 w 10785"/>
                  <a:gd name="connsiteY1744" fmla="*/ 2487 h 10000"/>
                  <a:gd name="connsiteX1745" fmla="*/ 3143 w 10785"/>
                  <a:gd name="connsiteY1745" fmla="*/ 2444 h 10000"/>
                  <a:gd name="connsiteX1746" fmla="*/ 3143 w 10785"/>
                  <a:gd name="connsiteY1746" fmla="*/ 2419 h 10000"/>
                  <a:gd name="connsiteX1747" fmla="*/ 3143 w 10785"/>
                  <a:gd name="connsiteY1747" fmla="*/ 2410 h 10000"/>
                  <a:gd name="connsiteX1748" fmla="*/ 3124 w 10785"/>
                  <a:gd name="connsiteY1748" fmla="*/ 2376 h 10000"/>
                  <a:gd name="connsiteX1749" fmla="*/ 3115 w 10785"/>
                  <a:gd name="connsiteY1749" fmla="*/ 2350 h 10000"/>
                  <a:gd name="connsiteX1750" fmla="*/ 3101 w 10785"/>
                  <a:gd name="connsiteY1750" fmla="*/ 2359 h 10000"/>
                  <a:gd name="connsiteX1751" fmla="*/ 3115 w 10785"/>
                  <a:gd name="connsiteY1751" fmla="*/ 2581 h 10000"/>
                  <a:gd name="connsiteX1752" fmla="*/ 3111 w 10785"/>
                  <a:gd name="connsiteY1752" fmla="*/ 2624 h 10000"/>
                  <a:gd name="connsiteX1753" fmla="*/ 3009 w 10785"/>
                  <a:gd name="connsiteY1753" fmla="*/ 2761 h 10000"/>
                  <a:gd name="connsiteX1754" fmla="*/ 3009 w 10785"/>
                  <a:gd name="connsiteY1754" fmla="*/ 2803 h 10000"/>
                  <a:gd name="connsiteX1755" fmla="*/ 3005 w 10785"/>
                  <a:gd name="connsiteY1755" fmla="*/ 2829 h 10000"/>
                  <a:gd name="connsiteX1756" fmla="*/ 2982 w 10785"/>
                  <a:gd name="connsiteY1756" fmla="*/ 2872 h 10000"/>
                  <a:gd name="connsiteX1757" fmla="*/ 2982 w 10785"/>
                  <a:gd name="connsiteY1757" fmla="*/ 2880 h 10000"/>
                  <a:gd name="connsiteX1758" fmla="*/ 3037 w 10785"/>
                  <a:gd name="connsiteY1758" fmla="*/ 3034 h 10000"/>
                  <a:gd name="connsiteX1759" fmla="*/ 3041 w 10785"/>
                  <a:gd name="connsiteY1759" fmla="*/ 3103 h 10000"/>
                  <a:gd name="connsiteX1760" fmla="*/ 3069 w 10785"/>
                  <a:gd name="connsiteY1760" fmla="*/ 3188 h 10000"/>
                  <a:gd name="connsiteX1761" fmla="*/ 3055 w 10785"/>
                  <a:gd name="connsiteY1761" fmla="*/ 3325 h 10000"/>
                  <a:gd name="connsiteX1762" fmla="*/ 3037 w 10785"/>
                  <a:gd name="connsiteY1762" fmla="*/ 3368 h 10000"/>
                  <a:gd name="connsiteX1763" fmla="*/ 3037 w 10785"/>
                  <a:gd name="connsiteY1763" fmla="*/ 3444 h 10000"/>
                  <a:gd name="connsiteX1764" fmla="*/ 3028 w 10785"/>
                  <a:gd name="connsiteY1764" fmla="*/ 3453 h 10000"/>
                  <a:gd name="connsiteX1765" fmla="*/ 3023 w 10785"/>
                  <a:gd name="connsiteY1765" fmla="*/ 3530 h 10000"/>
                  <a:gd name="connsiteX1766" fmla="*/ 3051 w 10785"/>
                  <a:gd name="connsiteY1766" fmla="*/ 3624 h 10000"/>
                  <a:gd name="connsiteX1767" fmla="*/ 3037 w 10785"/>
                  <a:gd name="connsiteY1767" fmla="*/ 3718 h 10000"/>
                  <a:gd name="connsiteX1768" fmla="*/ 3041 w 10785"/>
                  <a:gd name="connsiteY1768" fmla="*/ 3752 h 10000"/>
                  <a:gd name="connsiteX1769" fmla="*/ 3055 w 10785"/>
                  <a:gd name="connsiteY1769" fmla="*/ 3761 h 10000"/>
                  <a:gd name="connsiteX1770" fmla="*/ 3078 w 10785"/>
                  <a:gd name="connsiteY1770" fmla="*/ 3752 h 10000"/>
                  <a:gd name="connsiteX1771" fmla="*/ 3092 w 10785"/>
                  <a:gd name="connsiteY1771" fmla="*/ 3752 h 10000"/>
                  <a:gd name="connsiteX1772" fmla="*/ 3129 w 10785"/>
                  <a:gd name="connsiteY1772" fmla="*/ 3761 h 10000"/>
                  <a:gd name="connsiteX1773" fmla="*/ 3129 w 10785"/>
                  <a:gd name="connsiteY1773" fmla="*/ 3735 h 10000"/>
                  <a:gd name="connsiteX1774" fmla="*/ 3157 w 10785"/>
                  <a:gd name="connsiteY1774" fmla="*/ 3718 h 10000"/>
                  <a:gd name="connsiteX1775" fmla="*/ 3184 w 10785"/>
                  <a:gd name="connsiteY1775" fmla="*/ 3718 h 10000"/>
                  <a:gd name="connsiteX1776" fmla="*/ 3290 w 10785"/>
                  <a:gd name="connsiteY1776" fmla="*/ 3838 h 10000"/>
                  <a:gd name="connsiteX1777" fmla="*/ 3300 w 10785"/>
                  <a:gd name="connsiteY1777" fmla="*/ 3846 h 10000"/>
                  <a:gd name="connsiteX1778" fmla="*/ 3300 w 10785"/>
                  <a:gd name="connsiteY1778" fmla="*/ 3915 h 10000"/>
                  <a:gd name="connsiteX1779" fmla="*/ 3318 w 10785"/>
                  <a:gd name="connsiteY1779" fmla="*/ 4000 h 10000"/>
                  <a:gd name="connsiteX1780" fmla="*/ 3323 w 10785"/>
                  <a:gd name="connsiteY1780" fmla="*/ 4000 h 10000"/>
                  <a:gd name="connsiteX1781" fmla="*/ 3323 w 10785"/>
                  <a:gd name="connsiteY1781" fmla="*/ 4034 h 10000"/>
                  <a:gd name="connsiteX1782" fmla="*/ 3318 w 10785"/>
                  <a:gd name="connsiteY1782" fmla="*/ 4051 h 10000"/>
                  <a:gd name="connsiteX1783" fmla="*/ 3300 w 10785"/>
                  <a:gd name="connsiteY1783" fmla="*/ 4051 h 10000"/>
                  <a:gd name="connsiteX1784" fmla="*/ 3290 w 10785"/>
                  <a:gd name="connsiteY1784" fmla="*/ 4077 h 10000"/>
                  <a:gd name="connsiteX1785" fmla="*/ 3286 w 10785"/>
                  <a:gd name="connsiteY1785" fmla="*/ 4103 h 10000"/>
                  <a:gd name="connsiteX1786" fmla="*/ 3286 w 10785"/>
                  <a:gd name="connsiteY1786" fmla="*/ 4197 h 10000"/>
                  <a:gd name="connsiteX1787" fmla="*/ 3290 w 10785"/>
                  <a:gd name="connsiteY1787" fmla="*/ 4214 h 10000"/>
                  <a:gd name="connsiteX1788" fmla="*/ 3304 w 10785"/>
                  <a:gd name="connsiteY1788" fmla="*/ 4214 h 10000"/>
                  <a:gd name="connsiteX1789" fmla="*/ 3323 w 10785"/>
                  <a:gd name="connsiteY1789" fmla="*/ 4239 h 10000"/>
                  <a:gd name="connsiteX1790" fmla="*/ 3350 w 10785"/>
                  <a:gd name="connsiteY1790" fmla="*/ 4222 h 10000"/>
                  <a:gd name="connsiteX1791" fmla="*/ 3369 w 10785"/>
                  <a:gd name="connsiteY1791" fmla="*/ 4256 h 10000"/>
                  <a:gd name="connsiteX1792" fmla="*/ 3369 w 10785"/>
                  <a:gd name="connsiteY1792" fmla="*/ 4256 h 10000"/>
                  <a:gd name="connsiteX1793" fmla="*/ 3336 w 10785"/>
                  <a:gd name="connsiteY1793" fmla="*/ 4274 h 10000"/>
                  <a:gd name="connsiteX1794" fmla="*/ 3323 w 10785"/>
                  <a:gd name="connsiteY1794" fmla="*/ 4274 h 10000"/>
                  <a:gd name="connsiteX1795" fmla="*/ 3290 w 10785"/>
                  <a:gd name="connsiteY1795" fmla="*/ 4274 h 10000"/>
                  <a:gd name="connsiteX1796" fmla="*/ 3286 w 10785"/>
                  <a:gd name="connsiteY1796" fmla="*/ 4239 h 10000"/>
                  <a:gd name="connsiteX1797" fmla="*/ 3263 w 10785"/>
                  <a:gd name="connsiteY1797" fmla="*/ 4214 h 10000"/>
                  <a:gd name="connsiteX1798" fmla="*/ 3258 w 10785"/>
                  <a:gd name="connsiteY1798" fmla="*/ 4188 h 10000"/>
                  <a:gd name="connsiteX1799" fmla="*/ 3263 w 10785"/>
                  <a:gd name="connsiteY1799" fmla="*/ 4171 h 10000"/>
                  <a:gd name="connsiteX1800" fmla="*/ 3263 w 10785"/>
                  <a:gd name="connsiteY1800" fmla="*/ 4103 h 10000"/>
                  <a:gd name="connsiteX1801" fmla="*/ 3276 w 10785"/>
                  <a:gd name="connsiteY1801" fmla="*/ 4060 h 10000"/>
                  <a:gd name="connsiteX1802" fmla="*/ 3272 w 10785"/>
                  <a:gd name="connsiteY1802" fmla="*/ 4051 h 10000"/>
                  <a:gd name="connsiteX1803" fmla="*/ 3263 w 10785"/>
                  <a:gd name="connsiteY1803" fmla="*/ 4051 h 10000"/>
                  <a:gd name="connsiteX1804" fmla="*/ 3263 w 10785"/>
                  <a:gd name="connsiteY1804" fmla="*/ 4034 h 10000"/>
                  <a:gd name="connsiteX1805" fmla="*/ 3263 w 10785"/>
                  <a:gd name="connsiteY1805" fmla="*/ 4000 h 10000"/>
                  <a:gd name="connsiteX1806" fmla="*/ 3272 w 10785"/>
                  <a:gd name="connsiteY1806" fmla="*/ 4000 h 10000"/>
                  <a:gd name="connsiteX1807" fmla="*/ 3272 w 10785"/>
                  <a:gd name="connsiteY1807" fmla="*/ 3974 h 10000"/>
                  <a:gd name="connsiteX1808" fmla="*/ 3272 w 10785"/>
                  <a:gd name="connsiteY1808" fmla="*/ 3966 h 10000"/>
                  <a:gd name="connsiteX1809" fmla="*/ 3272 w 10785"/>
                  <a:gd name="connsiteY1809" fmla="*/ 3949 h 10000"/>
                  <a:gd name="connsiteX1810" fmla="*/ 3258 w 10785"/>
                  <a:gd name="connsiteY1810" fmla="*/ 3923 h 10000"/>
                  <a:gd name="connsiteX1811" fmla="*/ 3249 w 10785"/>
                  <a:gd name="connsiteY1811" fmla="*/ 3915 h 10000"/>
                  <a:gd name="connsiteX1812" fmla="*/ 3244 w 10785"/>
                  <a:gd name="connsiteY1812" fmla="*/ 3897 h 10000"/>
                  <a:gd name="connsiteX1813" fmla="*/ 3230 w 10785"/>
                  <a:gd name="connsiteY1813" fmla="*/ 3889 h 10000"/>
                  <a:gd name="connsiteX1814" fmla="*/ 3230 w 10785"/>
                  <a:gd name="connsiteY1814" fmla="*/ 3863 h 10000"/>
                  <a:gd name="connsiteX1815" fmla="*/ 3230 w 10785"/>
                  <a:gd name="connsiteY1815" fmla="*/ 3838 h 10000"/>
                  <a:gd name="connsiteX1816" fmla="*/ 3226 w 10785"/>
                  <a:gd name="connsiteY1816" fmla="*/ 3803 h 10000"/>
                  <a:gd name="connsiteX1817" fmla="*/ 3138 w 10785"/>
                  <a:gd name="connsiteY1817" fmla="*/ 3838 h 10000"/>
                  <a:gd name="connsiteX1818" fmla="*/ 3078 w 10785"/>
                  <a:gd name="connsiteY1818" fmla="*/ 3889 h 10000"/>
                  <a:gd name="connsiteX1819" fmla="*/ 3078 w 10785"/>
                  <a:gd name="connsiteY1819" fmla="*/ 3940 h 10000"/>
                  <a:gd name="connsiteX1820" fmla="*/ 3069 w 10785"/>
                  <a:gd name="connsiteY1820" fmla="*/ 3983 h 10000"/>
                  <a:gd name="connsiteX1821" fmla="*/ 3069 w 10785"/>
                  <a:gd name="connsiteY1821" fmla="*/ 4009 h 10000"/>
                  <a:gd name="connsiteX1822" fmla="*/ 3078 w 10785"/>
                  <a:gd name="connsiteY1822" fmla="*/ 4026 h 10000"/>
                  <a:gd name="connsiteX1823" fmla="*/ 3083 w 10785"/>
                  <a:gd name="connsiteY1823" fmla="*/ 4034 h 10000"/>
                  <a:gd name="connsiteX1824" fmla="*/ 3092 w 10785"/>
                  <a:gd name="connsiteY1824" fmla="*/ 4060 h 10000"/>
                  <a:gd name="connsiteX1825" fmla="*/ 3092 w 10785"/>
                  <a:gd name="connsiteY1825" fmla="*/ 4077 h 10000"/>
                  <a:gd name="connsiteX1826" fmla="*/ 3097 w 10785"/>
                  <a:gd name="connsiteY1826" fmla="*/ 4103 h 10000"/>
                  <a:gd name="connsiteX1827" fmla="*/ 3101 w 10785"/>
                  <a:gd name="connsiteY1827" fmla="*/ 4162 h 10000"/>
                  <a:gd name="connsiteX1828" fmla="*/ 3097 w 10785"/>
                  <a:gd name="connsiteY1828" fmla="*/ 4222 h 10000"/>
                  <a:gd name="connsiteX1829" fmla="*/ 3041 w 10785"/>
                  <a:gd name="connsiteY1829" fmla="*/ 4325 h 10000"/>
                  <a:gd name="connsiteX1830" fmla="*/ 3037 w 10785"/>
                  <a:gd name="connsiteY1830" fmla="*/ 4419 h 10000"/>
                  <a:gd name="connsiteX1831" fmla="*/ 3018 w 10785"/>
                  <a:gd name="connsiteY1831" fmla="*/ 4470 h 10000"/>
                  <a:gd name="connsiteX1832" fmla="*/ 2991 w 10785"/>
                  <a:gd name="connsiteY1832" fmla="*/ 4513 h 10000"/>
                  <a:gd name="connsiteX1833" fmla="*/ 2977 w 10785"/>
                  <a:gd name="connsiteY1833" fmla="*/ 4530 h 10000"/>
                  <a:gd name="connsiteX1834" fmla="*/ 2945 w 10785"/>
                  <a:gd name="connsiteY1834" fmla="*/ 4556 h 10000"/>
                  <a:gd name="connsiteX1835" fmla="*/ 2935 w 10785"/>
                  <a:gd name="connsiteY1835" fmla="*/ 4581 h 10000"/>
                  <a:gd name="connsiteX1836" fmla="*/ 2949 w 10785"/>
                  <a:gd name="connsiteY1836" fmla="*/ 4624 h 10000"/>
                  <a:gd name="connsiteX1837" fmla="*/ 2945 w 10785"/>
                  <a:gd name="connsiteY1837" fmla="*/ 4658 h 10000"/>
                  <a:gd name="connsiteX1838" fmla="*/ 2922 w 10785"/>
                  <a:gd name="connsiteY1838" fmla="*/ 4667 h 10000"/>
                  <a:gd name="connsiteX1839" fmla="*/ 2876 w 10785"/>
                  <a:gd name="connsiteY1839" fmla="*/ 4632 h 10000"/>
                  <a:gd name="connsiteX1840" fmla="*/ 2857 w 10785"/>
                  <a:gd name="connsiteY1840" fmla="*/ 4632 h 10000"/>
                  <a:gd name="connsiteX1841" fmla="*/ 2820 w 10785"/>
                  <a:gd name="connsiteY1841" fmla="*/ 4641 h 10000"/>
                  <a:gd name="connsiteX1842" fmla="*/ 2797 w 10785"/>
                  <a:gd name="connsiteY1842" fmla="*/ 4632 h 10000"/>
                  <a:gd name="connsiteX1843" fmla="*/ 2788 w 10785"/>
                  <a:gd name="connsiteY1843" fmla="*/ 4624 h 10000"/>
                  <a:gd name="connsiteX1844" fmla="*/ 2788 w 10785"/>
                  <a:gd name="connsiteY1844" fmla="*/ 4598 h 10000"/>
                  <a:gd name="connsiteX1845" fmla="*/ 2797 w 10785"/>
                  <a:gd name="connsiteY1845" fmla="*/ 4581 h 10000"/>
                  <a:gd name="connsiteX1846" fmla="*/ 2788 w 10785"/>
                  <a:gd name="connsiteY1846" fmla="*/ 4530 h 10000"/>
                  <a:gd name="connsiteX1847" fmla="*/ 2774 w 10785"/>
                  <a:gd name="connsiteY1847" fmla="*/ 4530 h 10000"/>
                  <a:gd name="connsiteX1848" fmla="*/ 2770 w 10785"/>
                  <a:gd name="connsiteY1848" fmla="*/ 4513 h 10000"/>
                  <a:gd name="connsiteX1849" fmla="*/ 2774 w 10785"/>
                  <a:gd name="connsiteY1849" fmla="*/ 4513 h 10000"/>
                  <a:gd name="connsiteX1850" fmla="*/ 2788 w 10785"/>
                  <a:gd name="connsiteY1850" fmla="*/ 4496 h 10000"/>
                  <a:gd name="connsiteX1851" fmla="*/ 2802 w 10785"/>
                  <a:gd name="connsiteY1851" fmla="*/ 4513 h 10000"/>
                  <a:gd name="connsiteX1852" fmla="*/ 2811 w 10785"/>
                  <a:gd name="connsiteY1852" fmla="*/ 4530 h 10000"/>
                  <a:gd name="connsiteX1853" fmla="*/ 2820 w 10785"/>
                  <a:gd name="connsiteY1853" fmla="*/ 4521 h 10000"/>
                  <a:gd name="connsiteX1854" fmla="*/ 2829 w 10785"/>
                  <a:gd name="connsiteY1854" fmla="*/ 4513 h 10000"/>
                  <a:gd name="connsiteX1855" fmla="*/ 2843 w 10785"/>
                  <a:gd name="connsiteY1855" fmla="*/ 4513 h 10000"/>
                  <a:gd name="connsiteX1856" fmla="*/ 2848 w 10785"/>
                  <a:gd name="connsiteY1856" fmla="*/ 4470 h 10000"/>
                  <a:gd name="connsiteX1857" fmla="*/ 2862 w 10785"/>
                  <a:gd name="connsiteY1857" fmla="*/ 4487 h 10000"/>
                  <a:gd name="connsiteX1858" fmla="*/ 2876 w 10785"/>
                  <a:gd name="connsiteY1858" fmla="*/ 4470 h 10000"/>
                  <a:gd name="connsiteX1859" fmla="*/ 2880 w 10785"/>
                  <a:gd name="connsiteY1859" fmla="*/ 4462 h 10000"/>
                  <a:gd name="connsiteX1860" fmla="*/ 2889 w 10785"/>
                  <a:gd name="connsiteY1860" fmla="*/ 4444 h 10000"/>
                  <a:gd name="connsiteX1861" fmla="*/ 2894 w 10785"/>
                  <a:gd name="connsiteY1861" fmla="*/ 4462 h 10000"/>
                  <a:gd name="connsiteX1862" fmla="*/ 2917 w 10785"/>
                  <a:gd name="connsiteY1862" fmla="*/ 4444 h 10000"/>
                  <a:gd name="connsiteX1863" fmla="*/ 2922 w 10785"/>
                  <a:gd name="connsiteY1863" fmla="*/ 4436 h 10000"/>
                  <a:gd name="connsiteX1864" fmla="*/ 2917 w 10785"/>
                  <a:gd name="connsiteY1864" fmla="*/ 4410 h 10000"/>
                  <a:gd name="connsiteX1865" fmla="*/ 2894 w 10785"/>
                  <a:gd name="connsiteY1865" fmla="*/ 4410 h 10000"/>
                  <a:gd name="connsiteX1866" fmla="*/ 2889 w 10785"/>
                  <a:gd name="connsiteY1866" fmla="*/ 4419 h 10000"/>
                  <a:gd name="connsiteX1867" fmla="*/ 2876 w 10785"/>
                  <a:gd name="connsiteY1867" fmla="*/ 4410 h 10000"/>
                  <a:gd name="connsiteX1868" fmla="*/ 2880 w 10785"/>
                  <a:gd name="connsiteY1868" fmla="*/ 4376 h 10000"/>
                  <a:gd name="connsiteX1869" fmla="*/ 2903 w 10785"/>
                  <a:gd name="connsiteY1869" fmla="*/ 4393 h 10000"/>
                  <a:gd name="connsiteX1870" fmla="*/ 2931 w 10785"/>
                  <a:gd name="connsiteY1870" fmla="*/ 4393 h 10000"/>
                  <a:gd name="connsiteX1871" fmla="*/ 2931 w 10785"/>
                  <a:gd name="connsiteY1871" fmla="*/ 4385 h 10000"/>
                  <a:gd name="connsiteX1872" fmla="*/ 2931 w 10785"/>
                  <a:gd name="connsiteY1872" fmla="*/ 4350 h 10000"/>
                  <a:gd name="connsiteX1873" fmla="*/ 2945 w 10785"/>
                  <a:gd name="connsiteY1873" fmla="*/ 4350 h 10000"/>
                  <a:gd name="connsiteX1874" fmla="*/ 2949 w 10785"/>
                  <a:gd name="connsiteY1874" fmla="*/ 4325 h 10000"/>
                  <a:gd name="connsiteX1875" fmla="*/ 2963 w 10785"/>
                  <a:gd name="connsiteY1875" fmla="*/ 4256 h 10000"/>
                  <a:gd name="connsiteX1876" fmla="*/ 2982 w 10785"/>
                  <a:gd name="connsiteY1876" fmla="*/ 4239 h 10000"/>
                  <a:gd name="connsiteX1877" fmla="*/ 2991 w 10785"/>
                  <a:gd name="connsiteY1877" fmla="*/ 4214 h 10000"/>
                  <a:gd name="connsiteX1878" fmla="*/ 2991 w 10785"/>
                  <a:gd name="connsiteY1878" fmla="*/ 4197 h 10000"/>
                  <a:gd name="connsiteX1879" fmla="*/ 2995 w 10785"/>
                  <a:gd name="connsiteY1879" fmla="*/ 4171 h 10000"/>
                  <a:gd name="connsiteX1880" fmla="*/ 2991 w 10785"/>
                  <a:gd name="connsiteY1880" fmla="*/ 4077 h 10000"/>
                  <a:gd name="connsiteX1881" fmla="*/ 2995 w 10785"/>
                  <a:gd name="connsiteY1881" fmla="*/ 4034 h 10000"/>
                  <a:gd name="connsiteX1882" fmla="*/ 3018 w 10785"/>
                  <a:gd name="connsiteY1882" fmla="*/ 3983 h 10000"/>
                  <a:gd name="connsiteX1883" fmla="*/ 3018 w 10785"/>
                  <a:gd name="connsiteY1883" fmla="*/ 3915 h 10000"/>
                  <a:gd name="connsiteX1884" fmla="*/ 2949 w 10785"/>
                  <a:gd name="connsiteY1884" fmla="*/ 3778 h 10000"/>
                  <a:gd name="connsiteX1885" fmla="*/ 2954 w 10785"/>
                  <a:gd name="connsiteY1885" fmla="*/ 3675 h 10000"/>
                  <a:gd name="connsiteX1886" fmla="*/ 2954 w 10785"/>
                  <a:gd name="connsiteY1886" fmla="*/ 3650 h 10000"/>
                  <a:gd name="connsiteX1887" fmla="*/ 2963 w 10785"/>
                  <a:gd name="connsiteY1887" fmla="*/ 3624 h 10000"/>
                  <a:gd name="connsiteX1888" fmla="*/ 2954 w 10785"/>
                  <a:gd name="connsiteY1888" fmla="*/ 3564 h 10000"/>
                  <a:gd name="connsiteX1889" fmla="*/ 2963 w 10785"/>
                  <a:gd name="connsiteY1889" fmla="*/ 3538 h 10000"/>
                  <a:gd name="connsiteX1890" fmla="*/ 2963 w 10785"/>
                  <a:gd name="connsiteY1890" fmla="*/ 3487 h 10000"/>
                  <a:gd name="connsiteX1891" fmla="*/ 2963 w 10785"/>
                  <a:gd name="connsiteY1891" fmla="*/ 3479 h 10000"/>
                  <a:gd name="connsiteX1892" fmla="*/ 2963 w 10785"/>
                  <a:gd name="connsiteY1892" fmla="*/ 3462 h 10000"/>
                  <a:gd name="connsiteX1893" fmla="*/ 2954 w 10785"/>
                  <a:gd name="connsiteY1893" fmla="*/ 3453 h 10000"/>
                  <a:gd name="connsiteX1894" fmla="*/ 2954 w 10785"/>
                  <a:gd name="connsiteY1894" fmla="*/ 3444 h 10000"/>
                  <a:gd name="connsiteX1895" fmla="*/ 2954 w 10785"/>
                  <a:gd name="connsiteY1895" fmla="*/ 3402 h 10000"/>
                  <a:gd name="connsiteX1896" fmla="*/ 2954 w 10785"/>
                  <a:gd name="connsiteY1896" fmla="*/ 3393 h 10000"/>
                  <a:gd name="connsiteX1897" fmla="*/ 2949 w 10785"/>
                  <a:gd name="connsiteY1897" fmla="*/ 3376 h 10000"/>
                  <a:gd name="connsiteX1898" fmla="*/ 2949 w 10785"/>
                  <a:gd name="connsiteY1898" fmla="*/ 3342 h 10000"/>
                  <a:gd name="connsiteX1899" fmla="*/ 2949 w 10785"/>
                  <a:gd name="connsiteY1899" fmla="*/ 3316 h 10000"/>
                  <a:gd name="connsiteX1900" fmla="*/ 2968 w 10785"/>
                  <a:gd name="connsiteY1900" fmla="*/ 3291 h 10000"/>
                  <a:gd name="connsiteX1901" fmla="*/ 2963 w 10785"/>
                  <a:gd name="connsiteY1901" fmla="*/ 3205 h 10000"/>
                  <a:gd name="connsiteX1902" fmla="*/ 2968 w 10785"/>
                  <a:gd name="connsiteY1902" fmla="*/ 3171 h 10000"/>
                  <a:gd name="connsiteX1903" fmla="*/ 2968 w 10785"/>
                  <a:gd name="connsiteY1903" fmla="*/ 3128 h 10000"/>
                  <a:gd name="connsiteX1904" fmla="*/ 2954 w 10785"/>
                  <a:gd name="connsiteY1904" fmla="*/ 3051 h 10000"/>
                  <a:gd name="connsiteX1905" fmla="*/ 2954 w 10785"/>
                  <a:gd name="connsiteY1905" fmla="*/ 3009 h 10000"/>
                  <a:gd name="connsiteX1906" fmla="*/ 2922 w 10785"/>
                  <a:gd name="connsiteY1906" fmla="*/ 2940 h 10000"/>
                  <a:gd name="connsiteX1907" fmla="*/ 2903 w 10785"/>
                  <a:gd name="connsiteY1907" fmla="*/ 2880 h 10000"/>
                  <a:gd name="connsiteX1908" fmla="*/ 2903 w 10785"/>
                  <a:gd name="connsiteY1908" fmla="*/ 2855 h 10000"/>
                  <a:gd name="connsiteX1909" fmla="*/ 2908 w 10785"/>
                  <a:gd name="connsiteY1909" fmla="*/ 2846 h 10000"/>
                  <a:gd name="connsiteX1910" fmla="*/ 2931 w 10785"/>
                  <a:gd name="connsiteY1910" fmla="*/ 2821 h 10000"/>
                  <a:gd name="connsiteX1911" fmla="*/ 2931 w 10785"/>
                  <a:gd name="connsiteY1911" fmla="*/ 2803 h 10000"/>
                  <a:gd name="connsiteX1912" fmla="*/ 2935 w 10785"/>
                  <a:gd name="connsiteY1912" fmla="*/ 2786 h 10000"/>
                  <a:gd name="connsiteX1913" fmla="*/ 2935 w 10785"/>
                  <a:gd name="connsiteY1913" fmla="*/ 2744 h 10000"/>
                  <a:gd name="connsiteX1914" fmla="*/ 2963 w 10785"/>
                  <a:gd name="connsiteY1914" fmla="*/ 2607 h 10000"/>
                  <a:gd name="connsiteX1915" fmla="*/ 2963 w 10785"/>
                  <a:gd name="connsiteY1915" fmla="*/ 2419 h 10000"/>
                  <a:gd name="connsiteX1916" fmla="*/ 2954 w 10785"/>
                  <a:gd name="connsiteY1916" fmla="*/ 2410 h 10000"/>
                  <a:gd name="connsiteX1917" fmla="*/ 2963 w 10785"/>
                  <a:gd name="connsiteY1917" fmla="*/ 2393 h 10000"/>
                  <a:gd name="connsiteX1918" fmla="*/ 2908 w 10785"/>
                  <a:gd name="connsiteY1918" fmla="*/ 2359 h 10000"/>
                  <a:gd name="connsiteX1919" fmla="*/ 2889 w 10785"/>
                  <a:gd name="connsiteY1919" fmla="*/ 2325 h 10000"/>
                  <a:gd name="connsiteX1920" fmla="*/ 2788 w 10785"/>
                  <a:gd name="connsiteY1920" fmla="*/ 2333 h 10000"/>
                  <a:gd name="connsiteX1921" fmla="*/ 2774 w 10785"/>
                  <a:gd name="connsiteY1921" fmla="*/ 2325 h 10000"/>
                  <a:gd name="connsiteX1922" fmla="*/ 2783 w 10785"/>
                  <a:gd name="connsiteY1922" fmla="*/ 2308 h 10000"/>
                  <a:gd name="connsiteX1923" fmla="*/ 2747 w 10785"/>
                  <a:gd name="connsiteY1923" fmla="*/ 2308 h 10000"/>
                  <a:gd name="connsiteX1924" fmla="*/ 2742 w 10785"/>
                  <a:gd name="connsiteY1924" fmla="*/ 2333 h 10000"/>
                  <a:gd name="connsiteX1925" fmla="*/ 2682 w 10785"/>
                  <a:gd name="connsiteY1925" fmla="*/ 2769 h 10000"/>
                  <a:gd name="connsiteX1926" fmla="*/ 2613 w 10785"/>
                  <a:gd name="connsiteY1926" fmla="*/ 2940 h 10000"/>
                  <a:gd name="connsiteX1927" fmla="*/ 2581 w 10785"/>
                  <a:gd name="connsiteY1927" fmla="*/ 2966 h 10000"/>
                  <a:gd name="connsiteX1928" fmla="*/ 2576 w 10785"/>
                  <a:gd name="connsiteY1928" fmla="*/ 3051 h 10000"/>
                  <a:gd name="connsiteX1929" fmla="*/ 2581 w 10785"/>
                  <a:gd name="connsiteY1929" fmla="*/ 3051 h 10000"/>
                  <a:gd name="connsiteX1930" fmla="*/ 2594 w 10785"/>
                  <a:gd name="connsiteY1930" fmla="*/ 3017 h 10000"/>
                  <a:gd name="connsiteX1931" fmla="*/ 2594 w 10785"/>
                  <a:gd name="connsiteY1931" fmla="*/ 3034 h 10000"/>
                  <a:gd name="connsiteX1932" fmla="*/ 2594 w 10785"/>
                  <a:gd name="connsiteY1932" fmla="*/ 3051 h 10000"/>
                  <a:gd name="connsiteX1933" fmla="*/ 2590 w 10785"/>
                  <a:gd name="connsiteY1933" fmla="*/ 3077 h 10000"/>
                  <a:gd name="connsiteX1934" fmla="*/ 2567 w 10785"/>
                  <a:gd name="connsiteY1934" fmla="*/ 3103 h 10000"/>
                  <a:gd name="connsiteX1935" fmla="*/ 2562 w 10785"/>
                  <a:gd name="connsiteY1935" fmla="*/ 3145 h 10000"/>
                  <a:gd name="connsiteX1936" fmla="*/ 2567 w 10785"/>
                  <a:gd name="connsiteY1936" fmla="*/ 3179 h 10000"/>
                  <a:gd name="connsiteX1937" fmla="*/ 2590 w 10785"/>
                  <a:gd name="connsiteY1937" fmla="*/ 3171 h 10000"/>
                  <a:gd name="connsiteX1938" fmla="*/ 2594 w 10785"/>
                  <a:gd name="connsiteY1938" fmla="*/ 3145 h 10000"/>
                  <a:gd name="connsiteX1939" fmla="*/ 2613 w 10785"/>
                  <a:gd name="connsiteY1939" fmla="*/ 3154 h 10000"/>
                  <a:gd name="connsiteX1940" fmla="*/ 2622 w 10785"/>
                  <a:gd name="connsiteY1940" fmla="*/ 3179 h 10000"/>
                  <a:gd name="connsiteX1941" fmla="*/ 2613 w 10785"/>
                  <a:gd name="connsiteY1941" fmla="*/ 3214 h 10000"/>
                  <a:gd name="connsiteX1942" fmla="*/ 2613 w 10785"/>
                  <a:gd name="connsiteY1942" fmla="*/ 3308 h 10000"/>
                  <a:gd name="connsiteX1943" fmla="*/ 2608 w 10785"/>
                  <a:gd name="connsiteY1943" fmla="*/ 3325 h 10000"/>
                  <a:gd name="connsiteX1944" fmla="*/ 2608 w 10785"/>
                  <a:gd name="connsiteY1944" fmla="*/ 3376 h 10000"/>
                  <a:gd name="connsiteX1945" fmla="*/ 2613 w 10785"/>
                  <a:gd name="connsiteY1945" fmla="*/ 3419 h 10000"/>
                  <a:gd name="connsiteX1946" fmla="*/ 2608 w 10785"/>
                  <a:gd name="connsiteY1946" fmla="*/ 3444 h 10000"/>
                  <a:gd name="connsiteX1947" fmla="*/ 2594 w 10785"/>
                  <a:gd name="connsiteY1947" fmla="*/ 3444 h 10000"/>
                  <a:gd name="connsiteX1948" fmla="*/ 2590 w 10785"/>
                  <a:gd name="connsiteY1948" fmla="*/ 3427 h 10000"/>
                  <a:gd name="connsiteX1949" fmla="*/ 2581 w 10785"/>
                  <a:gd name="connsiteY1949" fmla="*/ 3564 h 10000"/>
                  <a:gd name="connsiteX1950" fmla="*/ 2594 w 10785"/>
                  <a:gd name="connsiteY1950" fmla="*/ 3598 h 10000"/>
                  <a:gd name="connsiteX1951" fmla="*/ 2594 w 10785"/>
                  <a:gd name="connsiteY1951" fmla="*/ 3581 h 10000"/>
                  <a:gd name="connsiteX1952" fmla="*/ 2608 w 10785"/>
                  <a:gd name="connsiteY1952" fmla="*/ 3556 h 10000"/>
                  <a:gd name="connsiteX1953" fmla="*/ 2650 w 10785"/>
                  <a:gd name="connsiteY1953" fmla="*/ 3615 h 10000"/>
                  <a:gd name="connsiteX1954" fmla="*/ 2664 w 10785"/>
                  <a:gd name="connsiteY1954" fmla="*/ 3615 h 10000"/>
                  <a:gd name="connsiteX1955" fmla="*/ 2668 w 10785"/>
                  <a:gd name="connsiteY1955" fmla="*/ 3615 h 10000"/>
                  <a:gd name="connsiteX1956" fmla="*/ 2664 w 10785"/>
                  <a:gd name="connsiteY1956" fmla="*/ 3667 h 10000"/>
                  <a:gd name="connsiteX1957" fmla="*/ 2687 w 10785"/>
                  <a:gd name="connsiteY1957" fmla="*/ 3786 h 10000"/>
                  <a:gd name="connsiteX1958" fmla="*/ 2710 w 10785"/>
                  <a:gd name="connsiteY1958" fmla="*/ 3812 h 10000"/>
                  <a:gd name="connsiteX1959" fmla="*/ 2724 w 10785"/>
                  <a:gd name="connsiteY1959" fmla="*/ 3812 h 10000"/>
                  <a:gd name="connsiteX1960" fmla="*/ 2724 w 10785"/>
                  <a:gd name="connsiteY1960" fmla="*/ 3829 h 10000"/>
                  <a:gd name="connsiteX1961" fmla="*/ 2737 w 10785"/>
                  <a:gd name="connsiteY1961" fmla="*/ 3838 h 10000"/>
                  <a:gd name="connsiteX1962" fmla="*/ 2714 w 10785"/>
                  <a:gd name="connsiteY1962" fmla="*/ 3872 h 10000"/>
                  <a:gd name="connsiteX1963" fmla="*/ 2696 w 10785"/>
                  <a:gd name="connsiteY1963" fmla="*/ 4026 h 10000"/>
                  <a:gd name="connsiteX1964" fmla="*/ 2673 w 10785"/>
                  <a:gd name="connsiteY1964" fmla="*/ 4051 h 10000"/>
                  <a:gd name="connsiteX1965" fmla="*/ 2668 w 10785"/>
                  <a:gd name="connsiteY1965" fmla="*/ 4034 h 10000"/>
                  <a:gd name="connsiteX1966" fmla="*/ 2673 w 10785"/>
                  <a:gd name="connsiteY1966" fmla="*/ 4000 h 10000"/>
                  <a:gd name="connsiteX1967" fmla="*/ 2664 w 10785"/>
                  <a:gd name="connsiteY1967" fmla="*/ 3974 h 10000"/>
                  <a:gd name="connsiteX1968" fmla="*/ 2636 w 10785"/>
                  <a:gd name="connsiteY1968" fmla="*/ 3949 h 10000"/>
                  <a:gd name="connsiteX1969" fmla="*/ 2581 w 10785"/>
                  <a:gd name="connsiteY1969" fmla="*/ 3838 h 10000"/>
                  <a:gd name="connsiteX1970" fmla="*/ 2562 w 10785"/>
                  <a:gd name="connsiteY1970" fmla="*/ 3829 h 10000"/>
                  <a:gd name="connsiteX1971" fmla="*/ 2535 w 10785"/>
                  <a:gd name="connsiteY1971" fmla="*/ 3778 h 10000"/>
                  <a:gd name="connsiteX1972" fmla="*/ 2502 w 10785"/>
                  <a:gd name="connsiteY1972" fmla="*/ 3761 h 10000"/>
                  <a:gd name="connsiteX1973" fmla="*/ 2502 w 10785"/>
                  <a:gd name="connsiteY1973" fmla="*/ 3735 h 10000"/>
                  <a:gd name="connsiteX1974" fmla="*/ 2516 w 10785"/>
                  <a:gd name="connsiteY1974" fmla="*/ 3735 h 10000"/>
                  <a:gd name="connsiteX1975" fmla="*/ 2507 w 10785"/>
                  <a:gd name="connsiteY1975" fmla="*/ 3726 h 10000"/>
                  <a:gd name="connsiteX1976" fmla="*/ 2488 w 10785"/>
                  <a:gd name="connsiteY1976" fmla="*/ 3726 h 10000"/>
                  <a:gd name="connsiteX1977" fmla="*/ 2461 w 10785"/>
                  <a:gd name="connsiteY1977" fmla="*/ 3692 h 10000"/>
                  <a:gd name="connsiteX1978" fmla="*/ 2442 w 10785"/>
                  <a:gd name="connsiteY1978" fmla="*/ 3675 h 10000"/>
                  <a:gd name="connsiteX1979" fmla="*/ 2406 w 10785"/>
                  <a:gd name="connsiteY1979" fmla="*/ 3598 h 10000"/>
                  <a:gd name="connsiteX1980" fmla="*/ 2346 w 10785"/>
                  <a:gd name="connsiteY1980" fmla="*/ 3564 h 10000"/>
                  <a:gd name="connsiteX1981" fmla="*/ 2341 w 10785"/>
                  <a:gd name="connsiteY1981" fmla="*/ 3564 h 10000"/>
                  <a:gd name="connsiteX1982" fmla="*/ 2313 w 10785"/>
                  <a:gd name="connsiteY1982" fmla="*/ 3530 h 10000"/>
                  <a:gd name="connsiteX1983" fmla="*/ 2235 w 10785"/>
                  <a:gd name="connsiteY1983" fmla="*/ 3530 h 10000"/>
                  <a:gd name="connsiteX1984" fmla="*/ 2226 w 10785"/>
                  <a:gd name="connsiteY1984" fmla="*/ 3513 h 10000"/>
                  <a:gd name="connsiteX1985" fmla="*/ 2207 w 10785"/>
                  <a:gd name="connsiteY1985" fmla="*/ 3504 h 10000"/>
                  <a:gd name="connsiteX1986" fmla="*/ 2194 w 10785"/>
                  <a:gd name="connsiteY1986" fmla="*/ 3504 h 10000"/>
                  <a:gd name="connsiteX1987" fmla="*/ 2189 w 10785"/>
                  <a:gd name="connsiteY1987" fmla="*/ 3504 h 10000"/>
                  <a:gd name="connsiteX1988" fmla="*/ 2189 w 10785"/>
                  <a:gd name="connsiteY1988" fmla="*/ 3530 h 10000"/>
                  <a:gd name="connsiteX1989" fmla="*/ 2180 w 10785"/>
                  <a:gd name="connsiteY1989" fmla="*/ 3538 h 10000"/>
                  <a:gd name="connsiteX1990" fmla="*/ 2152 w 10785"/>
                  <a:gd name="connsiteY1990" fmla="*/ 3581 h 10000"/>
                  <a:gd name="connsiteX1991" fmla="*/ 2161 w 10785"/>
                  <a:gd name="connsiteY1991" fmla="*/ 3598 h 10000"/>
                  <a:gd name="connsiteX1992" fmla="*/ 2194 w 10785"/>
                  <a:gd name="connsiteY1992" fmla="*/ 3752 h 10000"/>
                  <a:gd name="connsiteX1993" fmla="*/ 2194 w 10785"/>
                  <a:gd name="connsiteY1993" fmla="*/ 3735 h 10000"/>
                  <a:gd name="connsiteX1994" fmla="*/ 2198 w 10785"/>
                  <a:gd name="connsiteY1994" fmla="*/ 3735 h 10000"/>
                  <a:gd name="connsiteX1995" fmla="*/ 2189 w 10785"/>
                  <a:gd name="connsiteY1995" fmla="*/ 3838 h 10000"/>
                  <a:gd name="connsiteX1996" fmla="*/ 2166 w 10785"/>
                  <a:gd name="connsiteY1996" fmla="*/ 3889 h 10000"/>
                  <a:gd name="connsiteX1997" fmla="*/ 2124 w 10785"/>
                  <a:gd name="connsiteY1997" fmla="*/ 3889 h 10000"/>
                  <a:gd name="connsiteX1998" fmla="*/ 2124 w 10785"/>
                  <a:gd name="connsiteY1998" fmla="*/ 3923 h 10000"/>
                  <a:gd name="connsiteX1999" fmla="*/ 2134 w 10785"/>
                  <a:gd name="connsiteY1999" fmla="*/ 3940 h 10000"/>
                  <a:gd name="connsiteX2000" fmla="*/ 2134 w 10785"/>
                  <a:gd name="connsiteY2000" fmla="*/ 3966 h 10000"/>
                  <a:gd name="connsiteX2001" fmla="*/ 2120 w 10785"/>
                  <a:gd name="connsiteY2001" fmla="*/ 4000 h 10000"/>
                  <a:gd name="connsiteX2002" fmla="*/ 2106 w 10785"/>
                  <a:gd name="connsiteY2002" fmla="*/ 4009 h 10000"/>
                  <a:gd name="connsiteX2003" fmla="*/ 2088 w 10785"/>
                  <a:gd name="connsiteY2003" fmla="*/ 4000 h 10000"/>
                  <a:gd name="connsiteX2004" fmla="*/ 2074 w 10785"/>
                  <a:gd name="connsiteY2004" fmla="*/ 3974 h 10000"/>
                  <a:gd name="connsiteX2005" fmla="*/ 2074 w 10785"/>
                  <a:gd name="connsiteY2005" fmla="*/ 3940 h 10000"/>
                  <a:gd name="connsiteX2006" fmla="*/ 2078 w 10785"/>
                  <a:gd name="connsiteY2006" fmla="*/ 3915 h 10000"/>
                  <a:gd name="connsiteX2007" fmla="*/ 2088 w 10785"/>
                  <a:gd name="connsiteY2007" fmla="*/ 3889 h 10000"/>
                  <a:gd name="connsiteX2008" fmla="*/ 2101 w 10785"/>
                  <a:gd name="connsiteY2008" fmla="*/ 3872 h 10000"/>
                  <a:gd name="connsiteX2009" fmla="*/ 2074 w 10785"/>
                  <a:gd name="connsiteY2009" fmla="*/ 3812 h 10000"/>
                  <a:gd name="connsiteX2010" fmla="*/ 2074 w 10785"/>
                  <a:gd name="connsiteY2010" fmla="*/ 3786 h 10000"/>
                  <a:gd name="connsiteX2011" fmla="*/ 2060 w 10785"/>
                  <a:gd name="connsiteY2011" fmla="*/ 3786 h 10000"/>
                  <a:gd name="connsiteX2012" fmla="*/ 2014 w 10785"/>
                  <a:gd name="connsiteY2012" fmla="*/ 3829 h 10000"/>
                  <a:gd name="connsiteX2013" fmla="*/ 2000 w 10785"/>
                  <a:gd name="connsiteY2013" fmla="*/ 3863 h 10000"/>
                  <a:gd name="connsiteX2014" fmla="*/ 1986 w 10785"/>
                  <a:gd name="connsiteY2014" fmla="*/ 3872 h 10000"/>
                  <a:gd name="connsiteX2015" fmla="*/ 1959 w 10785"/>
                  <a:gd name="connsiteY2015" fmla="*/ 3940 h 10000"/>
                  <a:gd name="connsiteX2016" fmla="*/ 1945 w 10785"/>
                  <a:gd name="connsiteY2016" fmla="*/ 3949 h 10000"/>
                  <a:gd name="connsiteX2017" fmla="*/ 1940 w 10785"/>
                  <a:gd name="connsiteY2017" fmla="*/ 3923 h 10000"/>
                  <a:gd name="connsiteX2018" fmla="*/ 1917 w 10785"/>
                  <a:gd name="connsiteY2018" fmla="*/ 3915 h 10000"/>
                  <a:gd name="connsiteX2019" fmla="*/ 1899 w 10785"/>
                  <a:gd name="connsiteY2019" fmla="*/ 3923 h 10000"/>
                  <a:gd name="connsiteX2020" fmla="*/ 1880 w 10785"/>
                  <a:gd name="connsiteY2020" fmla="*/ 3915 h 10000"/>
                  <a:gd name="connsiteX2021" fmla="*/ 1853 w 10785"/>
                  <a:gd name="connsiteY2021" fmla="*/ 3940 h 10000"/>
                  <a:gd name="connsiteX2022" fmla="*/ 1839 w 10785"/>
                  <a:gd name="connsiteY2022" fmla="*/ 3940 h 10000"/>
                  <a:gd name="connsiteX2023" fmla="*/ 1806 w 10785"/>
                  <a:gd name="connsiteY2023" fmla="*/ 3983 h 10000"/>
                  <a:gd name="connsiteX2024" fmla="*/ 1806 w 10785"/>
                  <a:gd name="connsiteY2024" fmla="*/ 4000 h 10000"/>
                  <a:gd name="connsiteX2025" fmla="*/ 1797 w 10785"/>
                  <a:gd name="connsiteY2025" fmla="*/ 4077 h 10000"/>
                  <a:gd name="connsiteX2026" fmla="*/ 1783 w 10785"/>
                  <a:gd name="connsiteY2026" fmla="*/ 4077 h 10000"/>
                  <a:gd name="connsiteX2027" fmla="*/ 1779 w 10785"/>
                  <a:gd name="connsiteY2027" fmla="*/ 4051 h 10000"/>
                  <a:gd name="connsiteX2028" fmla="*/ 1765 w 10785"/>
                  <a:gd name="connsiteY2028" fmla="*/ 4026 h 10000"/>
                  <a:gd name="connsiteX2029" fmla="*/ 1751 w 10785"/>
                  <a:gd name="connsiteY2029" fmla="*/ 4051 h 10000"/>
                  <a:gd name="connsiteX2030" fmla="*/ 1737 w 10785"/>
                  <a:gd name="connsiteY2030" fmla="*/ 4009 h 10000"/>
                  <a:gd name="connsiteX2031" fmla="*/ 1737 w 10785"/>
                  <a:gd name="connsiteY2031" fmla="*/ 3966 h 10000"/>
                  <a:gd name="connsiteX2032" fmla="*/ 1733 w 10785"/>
                  <a:gd name="connsiteY2032" fmla="*/ 3940 h 10000"/>
                  <a:gd name="connsiteX2033" fmla="*/ 1733 w 10785"/>
                  <a:gd name="connsiteY2033" fmla="*/ 3923 h 10000"/>
                  <a:gd name="connsiteX2034" fmla="*/ 1747 w 10785"/>
                  <a:gd name="connsiteY2034" fmla="*/ 3889 h 10000"/>
                  <a:gd name="connsiteX2035" fmla="*/ 1747 w 10785"/>
                  <a:gd name="connsiteY2035" fmla="*/ 3863 h 10000"/>
                  <a:gd name="connsiteX2036" fmla="*/ 1737 w 10785"/>
                  <a:gd name="connsiteY2036" fmla="*/ 3838 h 10000"/>
                  <a:gd name="connsiteX2037" fmla="*/ 1733 w 10785"/>
                  <a:gd name="connsiteY2037" fmla="*/ 3829 h 10000"/>
                  <a:gd name="connsiteX2038" fmla="*/ 1733 w 10785"/>
                  <a:gd name="connsiteY2038" fmla="*/ 3846 h 10000"/>
                  <a:gd name="connsiteX2039" fmla="*/ 1724 w 10785"/>
                  <a:gd name="connsiteY2039" fmla="*/ 3846 h 10000"/>
                  <a:gd name="connsiteX2040" fmla="*/ 1724 w 10785"/>
                  <a:gd name="connsiteY2040" fmla="*/ 3829 h 10000"/>
                  <a:gd name="connsiteX2041" fmla="*/ 1737 w 10785"/>
                  <a:gd name="connsiteY2041" fmla="*/ 3812 h 10000"/>
                  <a:gd name="connsiteX2042" fmla="*/ 1765 w 10785"/>
                  <a:gd name="connsiteY2042" fmla="*/ 3812 h 10000"/>
                  <a:gd name="connsiteX2043" fmla="*/ 1779 w 10785"/>
                  <a:gd name="connsiteY2043" fmla="*/ 3786 h 10000"/>
                  <a:gd name="connsiteX2044" fmla="*/ 1779 w 10785"/>
                  <a:gd name="connsiteY2044" fmla="*/ 3786 h 10000"/>
                  <a:gd name="connsiteX2045" fmla="*/ 1751 w 10785"/>
                  <a:gd name="connsiteY2045" fmla="*/ 3803 h 10000"/>
                  <a:gd name="connsiteX2046" fmla="*/ 1747 w 10785"/>
                  <a:gd name="connsiteY2046" fmla="*/ 3803 h 10000"/>
                  <a:gd name="connsiteX2047" fmla="*/ 1724 w 10785"/>
                  <a:gd name="connsiteY2047" fmla="*/ 3803 h 10000"/>
                  <a:gd name="connsiteX2048" fmla="*/ 1700 w 10785"/>
                  <a:gd name="connsiteY2048" fmla="*/ 3829 h 10000"/>
                  <a:gd name="connsiteX2049" fmla="*/ 1705 w 10785"/>
                  <a:gd name="connsiteY2049" fmla="*/ 3846 h 10000"/>
                  <a:gd name="connsiteX2050" fmla="*/ 1691 w 10785"/>
                  <a:gd name="connsiteY2050" fmla="*/ 3846 h 10000"/>
                  <a:gd name="connsiteX2051" fmla="*/ 1691 w 10785"/>
                  <a:gd name="connsiteY2051" fmla="*/ 3863 h 10000"/>
                  <a:gd name="connsiteX2052" fmla="*/ 1691 w 10785"/>
                  <a:gd name="connsiteY2052" fmla="*/ 3915 h 10000"/>
                  <a:gd name="connsiteX2053" fmla="*/ 1677 w 10785"/>
                  <a:gd name="connsiteY2053" fmla="*/ 3923 h 10000"/>
                  <a:gd name="connsiteX2054" fmla="*/ 1673 w 10785"/>
                  <a:gd name="connsiteY2054" fmla="*/ 3915 h 10000"/>
                  <a:gd name="connsiteX2055" fmla="*/ 1664 w 10785"/>
                  <a:gd name="connsiteY2055" fmla="*/ 3889 h 10000"/>
                  <a:gd name="connsiteX2056" fmla="*/ 1673 w 10785"/>
                  <a:gd name="connsiteY2056" fmla="*/ 3872 h 10000"/>
                  <a:gd name="connsiteX2057" fmla="*/ 1664 w 10785"/>
                  <a:gd name="connsiteY2057" fmla="*/ 3872 h 10000"/>
                  <a:gd name="connsiteX2058" fmla="*/ 1636 w 10785"/>
                  <a:gd name="connsiteY2058" fmla="*/ 3923 h 10000"/>
                  <a:gd name="connsiteX2059" fmla="*/ 1645 w 10785"/>
                  <a:gd name="connsiteY2059" fmla="*/ 3923 h 10000"/>
                  <a:gd name="connsiteX2060" fmla="*/ 1650 w 10785"/>
                  <a:gd name="connsiteY2060" fmla="*/ 3949 h 10000"/>
                  <a:gd name="connsiteX2061" fmla="*/ 1650 w 10785"/>
                  <a:gd name="connsiteY2061" fmla="*/ 3983 h 10000"/>
                  <a:gd name="connsiteX2062" fmla="*/ 1636 w 10785"/>
                  <a:gd name="connsiteY2062" fmla="*/ 4000 h 10000"/>
                  <a:gd name="connsiteX2063" fmla="*/ 1631 w 10785"/>
                  <a:gd name="connsiteY2063" fmla="*/ 4009 h 10000"/>
                  <a:gd name="connsiteX2064" fmla="*/ 1618 w 10785"/>
                  <a:gd name="connsiteY2064" fmla="*/ 3949 h 10000"/>
                  <a:gd name="connsiteX2065" fmla="*/ 1585 w 10785"/>
                  <a:gd name="connsiteY2065" fmla="*/ 3966 h 10000"/>
                  <a:gd name="connsiteX2066" fmla="*/ 1590 w 10785"/>
                  <a:gd name="connsiteY2066" fmla="*/ 3974 h 10000"/>
                  <a:gd name="connsiteX2067" fmla="*/ 1544 w 10785"/>
                  <a:gd name="connsiteY2067" fmla="*/ 4009 h 10000"/>
                  <a:gd name="connsiteX2068" fmla="*/ 1539 w 10785"/>
                  <a:gd name="connsiteY2068" fmla="*/ 4009 h 10000"/>
                  <a:gd name="connsiteX2069" fmla="*/ 1410 w 10785"/>
                  <a:gd name="connsiteY2069" fmla="*/ 4188 h 10000"/>
                  <a:gd name="connsiteX2070" fmla="*/ 1406 w 10785"/>
                  <a:gd name="connsiteY2070" fmla="*/ 4171 h 10000"/>
                  <a:gd name="connsiteX2071" fmla="*/ 1396 w 10785"/>
                  <a:gd name="connsiteY2071" fmla="*/ 4214 h 10000"/>
                  <a:gd name="connsiteX2072" fmla="*/ 1406 w 10785"/>
                  <a:gd name="connsiteY2072" fmla="*/ 4222 h 10000"/>
                  <a:gd name="connsiteX2073" fmla="*/ 1392 w 10785"/>
                  <a:gd name="connsiteY2073" fmla="*/ 4239 h 10000"/>
                  <a:gd name="connsiteX2074" fmla="*/ 1369 w 10785"/>
                  <a:gd name="connsiteY2074" fmla="*/ 4248 h 10000"/>
                  <a:gd name="connsiteX2075" fmla="*/ 1355 w 10785"/>
                  <a:gd name="connsiteY2075" fmla="*/ 4256 h 10000"/>
                  <a:gd name="connsiteX2076" fmla="*/ 1350 w 10785"/>
                  <a:gd name="connsiteY2076" fmla="*/ 4248 h 10000"/>
                  <a:gd name="connsiteX2077" fmla="*/ 1332 w 10785"/>
                  <a:gd name="connsiteY2077" fmla="*/ 4376 h 10000"/>
                  <a:gd name="connsiteX2078" fmla="*/ 1332 w 10785"/>
                  <a:gd name="connsiteY2078" fmla="*/ 4436 h 10000"/>
                  <a:gd name="connsiteX2079" fmla="*/ 1323 w 10785"/>
                  <a:gd name="connsiteY2079" fmla="*/ 4462 h 10000"/>
                  <a:gd name="connsiteX2080" fmla="*/ 1304 w 10785"/>
                  <a:gd name="connsiteY2080" fmla="*/ 4487 h 10000"/>
                  <a:gd name="connsiteX2081" fmla="*/ 1290 w 10785"/>
                  <a:gd name="connsiteY2081" fmla="*/ 4470 h 10000"/>
                  <a:gd name="connsiteX2082" fmla="*/ 1263 w 10785"/>
                  <a:gd name="connsiteY2082" fmla="*/ 4496 h 10000"/>
                  <a:gd name="connsiteX2083" fmla="*/ 1258 w 10785"/>
                  <a:gd name="connsiteY2083" fmla="*/ 4547 h 10000"/>
                  <a:gd name="connsiteX2084" fmla="*/ 1249 w 10785"/>
                  <a:gd name="connsiteY2084" fmla="*/ 4487 h 10000"/>
                  <a:gd name="connsiteX2085" fmla="*/ 1235 w 10785"/>
                  <a:gd name="connsiteY2085" fmla="*/ 4496 h 10000"/>
                  <a:gd name="connsiteX2086" fmla="*/ 1221 w 10785"/>
                  <a:gd name="connsiteY2086" fmla="*/ 4496 h 10000"/>
                  <a:gd name="connsiteX2087" fmla="*/ 1217 w 10785"/>
                  <a:gd name="connsiteY2087" fmla="*/ 4487 h 10000"/>
                  <a:gd name="connsiteX2088" fmla="*/ 1198 w 10785"/>
                  <a:gd name="connsiteY2088" fmla="*/ 4410 h 10000"/>
                  <a:gd name="connsiteX2089" fmla="*/ 1157 w 10785"/>
                  <a:gd name="connsiteY2089" fmla="*/ 4333 h 10000"/>
                  <a:gd name="connsiteX2090" fmla="*/ 1147 w 10785"/>
                  <a:gd name="connsiteY2090" fmla="*/ 4299 h 10000"/>
                  <a:gd name="connsiteX2091" fmla="*/ 1147 w 10785"/>
                  <a:gd name="connsiteY2091" fmla="*/ 4274 h 10000"/>
                  <a:gd name="connsiteX2092" fmla="*/ 1161 w 10785"/>
                  <a:gd name="connsiteY2092" fmla="*/ 4256 h 10000"/>
                  <a:gd name="connsiteX2093" fmla="*/ 1171 w 10785"/>
                  <a:gd name="connsiteY2093" fmla="*/ 4248 h 10000"/>
                  <a:gd name="connsiteX2094" fmla="*/ 1175 w 10785"/>
                  <a:gd name="connsiteY2094" fmla="*/ 4214 h 10000"/>
                  <a:gd name="connsiteX2095" fmla="*/ 1263 w 10785"/>
                  <a:gd name="connsiteY2095" fmla="*/ 4171 h 10000"/>
                  <a:gd name="connsiteX2096" fmla="*/ 1249 w 10785"/>
                  <a:gd name="connsiteY2096" fmla="*/ 4137 h 10000"/>
                  <a:gd name="connsiteX2097" fmla="*/ 1244 w 10785"/>
                  <a:gd name="connsiteY2097" fmla="*/ 4060 h 10000"/>
                  <a:gd name="connsiteX2098" fmla="*/ 1230 w 10785"/>
                  <a:gd name="connsiteY2098" fmla="*/ 4077 h 10000"/>
                  <a:gd name="connsiteX2099" fmla="*/ 1221 w 10785"/>
                  <a:gd name="connsiteY2099" fmla="*/ 4026 h 10000"/>
                  <a:gd name="connsiteX2100" fmla="*/ 1217 w 10785"/>
                  <a:gd name="connsiteY2100" fmla="*/ 4026 h 10000"/>
                  <a:gd name="connsiteX2101" fmla="*/ 1212 w 10785"/>
                  <a:gd name="connsiteY2101" fmla="*/ 3983 h 10000"/>
                  <a:gd name="connsiteX2102" fmla="*/ 1203 w 10785"/>
                  <a:gd name="connsiteY2102" fmla="*/ 3966 h 10000"/>
                  <a:gd name="connsiteX2103" fmla="*/ 1171 w 10785"/>
                  <a:gd name="connsiteY2103" fmla="*/ 3949 h 10000"/>
                  <a:gd name="connsiteX2104" fmla="*/ 1111 w 10785"/>
                  <a:gd name="connsiteY2104" fmla="*/ 3940 h 10000"/>
                  <a:gd name="connsiteX2105" fmla="*/ 1097 w 10785"/>
                  <a:gd name="connsiteY2105" fmla="*/ 3949 h 10000"/>
                  <a:gd name="connsiteX2106" fmla="*/ 1037 w 10785"/>
                  <a:gd name="connsiteY2106" fmla="*/ 3897 h 10000"/>
                  <a:gd name="connsiteX2107" fmla="*/ 1041 w 10785"/>
                  <a:gd name="connsiteY2107" fmla="*/ 3923 h 10000"/>
                  <a:gd name="connsiteX2108" fmla="*/ 1097 w 10785"/>
                  <a:gd name="connsiteY2108" fmla="*/ 4009 h 10000"/>
                  <a:gd name="connsiteX2109" fmla="*/ 1097 w 10785"/>
                  <a:gd name="connsiteY2109" fmla="*/ 4120 h 10000"/>
                  <a:gd name="connsiteX2110" fmla="*/ 1097 w 10785"/>
                  <a:gd name="connsiteY2110" fmla="*/ 4162 h 10000"/>
                  <a:gd name="connsiteX2111" fmla="*/ 1097 w 10785"/>
                  <a:gd name="connsiteY2111" fmla="*/ 4197 h 10000"/>
                  <a:gd name="connsiteX2112" fmla="*/ 1074 w 10785"/>
                  <a:gd name="connsiteY2112" fmla="*/ 4333 h 10000"/>
                  <a:gd name="connsiteX2113" fmla="*/ 1074 w 10785"/>
                  <a:gd name="connsiteY2113" fmla="*/ 4376 h 10000"/>
                  <a:gd name="connsiteX2114" fmla="*/ 1083 w 10785"/>
                  <a:gd name="connsiteY2114" fmla="*/ 4385 h 10000"/>
                  <a:gd name="connsiteX2115" fmla="*/ 1097 w 10785"/>
                  <a:gd name="connsiteY2115" fmla="*/ 4385 h 10000"/>
                  <a:gd name="connsiteX2116" fmla="*/ 1111 w 10785"/>
                  <a:gd name="connsiteY2116" fmla="*/ 4410 h 10000"/>
                  <a:gd name="connsiteX2117" fmla="*/ 1124 w 10785"/>
                  <a:gd name="connsiteY2117" fmla="*/ 4444 h 10000"/>
                  <a:gd name="connsiteX2118" fmla="*/ 1124 w 10785"/>
                  <a:gd name="connsiteY2118" fmla="*/ 4470 h 10000"/>
                  <a:gd name="connsiteX2119" fmla="*/ 1115 w 10785"/>
                  <a:gd name="connsiteY2119" fmla="*/ 4513 h 10000"/>
                  <a:gd name="connsiteX2120" fmla="*/ 1115 w 10785"/>
                  <a:gd name="connsiteY2120" fmla="*/ 4530 h 10000"/>
                  <a:gd name="connsiteX2121" fmla="*/ 1115 w 10785"/>
                  <a:gd name="connsiteY2121" fmla="*/ 4573 h 10000"/>
                  <a:gd name="connsiteX2122" fmla="*/ 1101 w 10785"/>
                  <a:gd name="connsiteY2122" fmla="*/ 4607 h 10000"/>
                  <a:gd name="connsiteX2123" fmla="*/ 1097 w 10785"/>
                  <a:gd name="connsiteY2123" fmla="*/ 4658 h 10000"/>
                  <a:gd name="connsiteX2124" fmla="*/ 1101 w 10785"/>
                  <a:gd name="connsiteY2124" fmla="*/ 4692 h 10000"/>
                  <a:gd name="connsiteX2125" fmla="*/ 1097 w 10785"/>
                  <a:gd name="connsiteY2125" fmla="*/ 4778 h 10000"/>
                  <a:gd name="connsiteX2126" fmla="*/ 1083 w 10785"/>
                  <a:gd name="connsiteY2126" fmla="*/ 4744 h 10000"/>
                  <a:gd name="connsiteX2127" fmla="*/ 1083 w 10785"/>
                  <a:gd name="connsiteY2127" fmla="*/ 4718 h 10000"/>
                  <a:gd name="connsiteX2128" fmla="*/ 1074 w 10785"/>
                  <a:gd name="connsiteY2128" fmla="*/ 4692 h 10000"/>
                  <a:gd name="connsiteX2129" fmla="*/ 1065 w 10785"/>
                  <a:gd name="connsiteY2129" fmla="*/ 4692 h 10000"/>
                  <a:gd name="connsiteX2130" fmla="*/ 1051 w 10785"/>
                  <a:gd name="connsiteY2130" fmla="*/ 4718 h 10000"/>
                  <a:gd name="connsiteX2131" fmla="*/ 1055 w 10785"/>
                  <a:gd name="connsiteY2131" fmla="*/ 4692 h 10000"/>
                  <a:gd name="connsiteX2132" fmla="*/ 1055 w 10785"/>
                  <a:gd name="connsiteY2132" fmla="*/ 4667 h 10000"/>
                  <a:gd name="connsiteX2133" fmla="*/ 1028 w 10785"/>
                  <a:gd name="connsiteY2133" fmla="*/ 4624 h 10000"/>
                  <a:gd name="connsiteX2134" fmla="*/ 1005 w 10785"/>
                  <a:gd name="connsiteY2134" fmla="*/ 4624 h 10000"/>
                  <a:gd name="connsiteX2135" fmla="*/ 977 w 10785"/>
                  <a:gd name="connsiteY2135" fmla="*/ 4581 h 10000"/>
                  <a:gd name="connsiteX2136" fmla="*/ 963 w 10785"/>
                  <a:gd name="connsiteY2136" fmla="*/ 4607 h 10000"/>
                  <a:gd name="connsiteX2137" fmla="*/ 963 w 10785"/>
                  <a:gd name="connsiteY2137" fmla="*/ 4632 h 10000"/>
                  <a:gd name="connsiteX2138" fmla="*/ 917 w 10785"/>
                  <a:gd name="connsiteY2138" fmla="*/ 4718 h 10000"/>
                  <a:gd name="connsiteX2139" fmla="*/ 889 w 10785"/>
                  <a:gd name="connsiteY2139" fmla="*/ 4744 h 10000"/>
                  <a:gd name="connsiteX2140" fmla="*/ 880 w 10785"/>
                  <a:gd name="connsiteY2140" fmla="*/ 4744 h 10000"/>
                  <a:gd name="connsiteX2141" fmla="*/ 862 w 10785"/>
                  <a:gd name="connsiteY2141" fmla="*/ 4769 h 10000"/>
                  <a:gd name="connsiteX2142" fmla="*/ 857 w 10785"/>
                  <a:gd name="connsiteY2142" fmla="*/ 4795 h 10000"/>
                  <a:gd name="connsiteX2143" fmla="*/ 829 w 10785"/>
                  <a:gd name="connsiteY2143" fmla="*/ 4846 h 10000"/>
                  <a:gd name="connsiteX2144" fmla="*/ 816 w 10785"/>
                  <a:gd name="connsiteY2144" fmla="*/ 4855 h 10000"/>
                  <a:gd name="connsiteX2145" fmla="*/ 816 w 10785"/>
                  <a:gd name="connsiteY2145" fmla="*/ 4940 h 10000"/>
                  <a:gd name="connsiteX2146" fmla="*/ 880 w 10785"/>
                  <a:gd name="connsiteY2146" fmla="*/ 5179 h 10000"/>
                  <a:gd name="connsiteX2147" fmla="*/ 880 w 10785"/>
                  <a:gd name="connsiteY2147" fmla="*/ 5188 h 10000"/>
                  <a:gd name="connsiteX2148" fmla="*/ 862 w 10785"/>
                  <a:gd name="connsiteY2148" fmla="*/ 5171 h 10000"/>
                  <a:gd name="connsiteX2149" fmla="*/ 857 w 10785"/>
                  <a:gd name="connsiteY2149" fmla="*/ 5171 h 10000"/>
                  <a:gd name="connsiteX2150" fmla="*/ 820 w 10785"/>
                  <a:gd name="connsiteY2150" fmla="*/ 5145 h 10000"/>
                  <a:gd name="connsiteX2151" fmla="*/ 820 w 10785"/>
                  <a:gd name="connsiteY2151" fmla="*/ 5154 h 10000"/>
                  <a:gd name="connsiteX2152" fmla="*/ 816 w 10785"/>
                  <a:gd name="connsiteY2152" fmla="*/ 5171 h 10000"/>
                  <a:gd name="connsiteX2153" fmla="*/ 783 w 10785"/>
                  <a:gd name="connsiteY2153" fmla="*/ 5145 h 10000"/>
                  <a:gd name="connsiteX2154" fmla="*/ 756 w 10785"/>
                  <a:gd name="connsiteY2154" fmla="*/ 5103 h 10000"/>
                  <a:gd name="connsiteX2155" fmla="*/ 742 w 10785"/>
                  <a:gd name="connsiteY2155" fmla="*/ 5103 h 10000"/>
                  <a:gd name="connsiteX2156" fmla="*/ 728 w 10785"/>
                  <a:gd name="connsiteY2156" fmla="*/ 5094 h 10000"/>
                  <a:gd name="connsiteX2157" fmla="*/ 710 w 10785"/>
                  <a:gd name="connsiteY2157" fmla="*/ 5120 h 10000"/>
                  <a:gd name="connsiteX2158" fmla="*/ 700 w 10785"/>
                  <a:gd name="connsiteY2158" fmla="*/ 5145 h 10000"/>
                  <a:gd name="connsiteX2159" fmla="*/ 696 w 10785"/>
                  <a:gd name="connsiteY2159" fmla="*/ 5103 h 10000"/>
                  <a:gd name="connsiteX2160" fmla="*/ 714 w 10785"/>
                  <a:gd name="connsiteY2160" fmla="*/ 5077 h 10000"/>
                  <a:gd name="connsiteX2161" fmla="*/ 682 w 10785"/>
                  <a:gd name="connsiteY2161" fmla="*/ 5068 h 10000"/>
                  <a:gd name="connsiteX2162" fmla="*/ 673 w 10785"/>
                  <a:gd name="connsiteY2162" fmla="*/ 5034 h 10000"/>
                  <a:gd name="connsiteX2163" fmla="*/ 636 w 10785"/>
                  <a:gd name="connsiteY2163" fmla="*/ 4991 h 10000"/>
                  <a:gd name="connsiteX2164" fmla="*/ 622 w 10785"/>
                  <a:gd name="connsiteY2164" fmla="*/ 4983 h 10000"/>
                  <a:gd name="connsiteX2165" fmla="*/ 622 w 10785"/>
                  <a:gd name="connsiteY2165" fmla="*/ 5034 h 10000"/>
                  <a:gd name="connsiteX2166" fmla="*/ 608 w 10785"/>
                  <a:gd name="connsiteY2166" fmla="*/ 5051 h 10000"/>
                  <a:gd name="connsiteX2167" fmla="*/ 594 w 10785"/>
                  <a:gd name="connsiteY2167" fmla="*/ 5068 h 10000"/>
                  <a:gd name="connsiteX2168" fmla="*/ 608 w 10785"/>
                  <a:gd name="connsiteY2168" fmla="*/ 5120 h 10000"/>
                  <a:gd name="connsiteX2169" fmla="*/ 613 w 10785"/>
                  <a:gd name="connsiteY2169" fmla="*/ 5128 h 10000"/>
                  <a:gd name="connsiteX2170" fmla="*/ 627 w 10785"/>
                  <a:gd name="connsiteY2170" fmla="*/ 5179 h 10000"/>
                  <a:gd name="connsiteX2171" fmla="*/ 650 w 10785"/>
                  <a:gd name="connsiteY2171" fmla="*/ 5214 h 10000"/>
                  <a:gd name="connsiteX2172" fmla="*/ 687 w 10785"/>
                  <a:gd name="connsiteY2172" fmla="*/ 5188 h 10000"/>
                  <a:gd name="connsiteX2173" fmla="*/ 700 w 10785"/>
                  <a:gd name="connsiteY2173" fmla="*/ 5325 h 10000"/>
                  <a:gd name="connsiteX2174" fmla="*/ 710 w 10785"/>
                  <a:gd name="connsiteY2174" fmla="*/ 5350 h 10000"/>
                  <a:gd name="connsiteX2175" fmla="*/ 687 w 10785"/>
                  <a:gd name="connsiteY2175" fmla="*/ 5325 h 10000"/>
                  <a:gd name="connsiteX2176" fmla="*/ 668 w 10785"/>
                  <a:gd name="connsiteY2176" fmla="*/ 5350 h 10000"/>
                  <a:gd name="connsiteX2177" fmla="*/ 668 w 10785"/>
                  <a:gd name="connsiteY2177" fmla="*/ 5368 h 10000"/>
                  <a:gd name="connsiteX2178" fmla="*/ 668 w 10785"/>
                  <a:gd name="connsiteY2178" fmla="*/ 5376 h 10000"/>
                  <a:gd name="connsiteX2179" fmla="*/ 581 w 10785"/>
                  <a:gd name="connsiteY2179" fmla="*/ 5316 h 10000"/>
                  <a:gd name="connsiteX2180" fmla="*/ 567 w 10785"/>
                  <a:gd name="connsiteY2180" fmla="*/ 5265 h 10000"/>
                  <a:gd name="connsiteX2181" fmla="*/ 562 w 10785"/>
                  <a:gd name="connsiteY2181" fmla="*/ 5256 h 10000"/>
                  <a:gd name="connsiteX2182" fmla="*/ 548 w 10785"/>
                  <a:gd name="connsiteY2182" fmla="*/ 5231 h 10000"/>
                  <a:gd name="connsiteX2183" fmla="*/ 535 w 10785"/>
                  <a:gd name="connsiteY2183" fmla="*/ 5214 h 10000"/>
                  <a:gd name="connsiteX2184" fmla="*/ 525 w 10785"/>
                  <a:gd name="connsiteY2184" fmla="*/ 5231 h 10000"/>
                  <a:gd name="connsiteX2185" fmla="*/ 521 w 10785"/>
                  <a:gd name="connsiteY2185" fmla="*/ 5231 h 10000"/>
                  <a:gd name="connsiteX2186" fmla="*/ 493 w 10785"/>
                  <a:gd name="connsiteY2186" fmla="*/ 5205 h 10000"/>
                  <a:gd name="connsiteX2187" fmla="*/ 488 w 10785"/>
                  <a:gd name="connsiteY2187" fmla="*/ 5179 h 10000"/>
                  <a:gd name="connsiteX2188" fmla="*/ 475 w 10785"/>
                  <a:gd name="connsiteY2188" fmla="*/ 5188 h 10000"/>
                  <a:gd name="connsiteX2189" fmla="*/ 475 w 10785"/>
                  <a:gd name="connsiteY2189" fmla="*/ 5171 h 10000"/>
                  <a:gd name="connsiteX2190" fmla="*/ 488 w 10785"/>
                  <a:gd name="connsiteY2190" fmla="*/ 5154 h 10000"/>
                  <a:gd name="connsiteX2191" fmla="*/ 488 w 10785"/>
                  <a:gd name="connsiteY2191" fmla="*/ 5068 h 10000"/>
                  <a:gd name="connsiteX2192" fmla="*/ 475 w 10785"/>
                  <a:gd name="connsiteY2192" fmla="*/ 5051 h 10000"/>
                  <a:gd name="connsiteX2193" fmla="*/ 475 w 10785"/>
                  <a:gd name="connsiteY2193" fmla="*/ 5017 h 10000"/>
                  <a:gd name="connsiteX2194" fmla="*/ 452 w 10785"/>
                  <a:gd name="connsiteY2194" fmla="*/ 4932 h 10000"/>
                  <a:gd name="connsiteX2195" fmla="*/ 461 w 10785"/>
                  <a:gd name="connsiteY2195" fmla="*/ 4915 h 10000"/>
                  <a:gd name="connsiteX2196" fmla="*/ 475 w 10785"/>
                  <a:gd name="connsiteY2196" fmla="*/ 4906 h 10000"/>
                  <a:gd name="connsiteX2197" fmla="*/ 479 w 10785"/>
                  <a:gd name="connsiteY2197" fmla="*/ 4803 h 10000"/>
                  <a:gd name="connsiteX2198" fmla="*/ 479 w 10785"/>
                  <a:gd name="connsiteY2198" fmla="*/ 4778 h 10000"/>
                  <a:gd name="connsiteX2199" fmla="*/ 475 w 10785"/>
                  <a:gd name="connsiteY2199" fmla="*/ 4761 h 10000"/>
                  <a:gd name="connsiteX2200" fmla="*/ 465 w 10785"/>
                  <a:gd name="connsiteY2200" fmla="*/ 4718 h 10000"/>
                  <a:gd name="connsiteX2201" fmla="*/ 461 w 10785"/>
                  <a:gd name="connsiteY2201" fmla="*/ 4709 h 10000"/>
                  <a:gd name="connsiteX2202" fmla="*/ 442 w 10785"/>
                  <a:gd name="connsiteY2202" fmla="*/ 4692 h 10000"/>
                  <a:gd name="connsiteX2203" fmla="*/ 433 w 10785"/>
                  <a:gd name="connsiteY2203" fmla="*/ 4667 h 10000"/>
                  <a:gd name="connsiteX2204" fmla="*/ 419 w 10785"/>
                  <a:gd name="connsiteY2204" fmla="*/ 4667 h 10000"/>
                  <a:gd name="connsiteX2205" fmla="*/ 401 w 10785"/>
                  <a:gd name="connsiteY2205" fmla="*/ 4658 h 10000"/>
                  <a:gd name="connsiteX2206" fmla="*/ 401 w 10785"/>
                  <a:gd name="connsiteY2206" fmla="*/ 4624 h 10000"/>
                  <a:gd name="connsiteX2207" fmla="*/ 401 w 10785"/>
                  <a:gd name="connsiteY2207" fmla="*/ 4607 h 10000"/>
                  <a:gd name="connsiteX2208" fmla="*/ 378 w 10785"/>
                  <a:gd name="connsiteY2208" fmla="*/ 4607 h 10000"/>
                  <a:gd name="connsiteX2209" fmla="*/ 341 w 10785"/>
                  <a:gd name="connsiteY2209" fmla="*/ 4530 h 10000"/>
                  <a:gd name="connsiteX2210" fmla="*/ 346 w 10785"/>
                  <a:gd name="connsiteY2210" fmla="*/ 4521 h 10000"/>
                  <a:gd name="connsiteX2211" fmla="*/ 332 w 10785"/>
                  <a:gd name="connsiteY2211" fmla="*/ 4487 h 10000"/>
                  <a:gd name="connsiteX2212" fmla="*/ 327 w 10785"/>
                  <a:gd name="connsiteY2212" fmla="*/ 4462 h 10000"/>
                  <a:gd name="connsiteX2213" fmla="*/ 313 w 10785"/>
                  <a:gd name="connsiteY2213" fmla="*/ 4436 h 10000"/>
                  <a:gd name="connsiteX2214" fmla="*/ 300 w 10785"/>
                  <a:gd name="connsiteY2214" fmla="*/ 4419 h 10000"/>
                  <a:gd name="connsiteX2215" fmla="*/ 309 w 10785"/>
                  <a:gd name="connsiteY2215" fmla="*/ 4393 h 10000"/>
                  <a:gd name="connsiteX2216" fmla="*/ 332 w 10785"/>
                  <a:gd name="connsiteY2216" fmla="*/ 4385 h 10000"/>
                  <a:gd name="connsiteX2217" fmla="*/ 355 w 10785"/>
                  <a:gd name="connsiteY2217" fmla="*/ 4419 h 10000"/>
                  <a:gd name="connsiteX2218" fmla="*/ 355 w 10785"/>
                  <a:gd name="connsiteY2218" fmla="*/ 4444 h 10000"/>
                  <a:gd name="connsiteX2219" fmla="*/ 369 w 10785"/>
                  <a:gd name="connsiteY2219" fmla="*/ 4470 h 10000"/>
                  <a:gd name="connsiteX2220" fmla="*/ 401 w 10785"/>
                  <a:gd name="connsiteY2220" fmla="*/ 4521 h 10000"/>
                  <a:gd name="connsiteX2221" fmla="*/ 406 w 10785"/>
                  <a:gd name="connsiteY2221" fmla="*/ 4513 h 10000"/>
                  <a:gd name="connsiteX2222" fmla="*/ 406 w 10785"/>
                  <a:gd name="connsiteY2222" fmla="*/ 4496 h 10000"/>
                  <a:gd name="connsiteX2223" fmla="*/ 419 w 10785"/>
                  <a:gd name="connsiteY2223" fmla="*/ 4521 h 10000"/>
                  <a:gd name="connsiteX2224" fmla="*/ 429 w 10785"/>
                  <a:gd name="connsiteY2224" fmla="*/ 4530 h 10000"/>
                  <a:gd name="connsiteX2225" fmla="*/ 433 w 10785"/>
                  <a:gd name="connsiteY2225" fmla="*/ 4521 h 10000"/>
                  <a:gd name="connsiteX2226" fmla="*/ 442 w 10785"/>
                  <a:gd name="connsiteY2226" fmla="*/ 4530 h 10000"/>
                  <a:gd name="connsiteX2227" fmla="*/ 447 w 10785"/>
                  <a:gd name="connsiteY2227" fmla="*/ 4521 h 10000"/>
                  <a:gd name="connsiteX2228" fmla="*/ 452 w 10785"/>
                  <a:gd name="connsiteY2228" fmla="*/ 4521 h 10000"/>
                  <a:gd name="connsiteX2229" fmla="*/ 461 w 10785"/>
                  <a:gd name="connsiteY2229" fmla="*/ 4573 h 10000"/>
                  <a:gd name="connsiteX2230" fmla="*/ 479 w 10785"/>
                  <a:gd name="connsiteY2230" fmla="*/ 4556 h 10000"/>
                  <a:gd name="connsiteX2231" fmla="*/ 502 w 10785"/>
                  <a:gd name="connsiteY2231" fmla="*/ 4573 h 10000"/>
                  <a:gd name="connsiteX2232" fmla="*/ 507 w 10785"/>
                  <a:gd name="connsiteY2232" fmla="*/ 4598 h 10000"/>
                  <a:gd name="connsiteX2233" fmla="*/ 525 w 10785"/>
                  <a:gd name="connsiteY2233" fmla="*/ 4598 h 10000"/>
                  <a:gd name="connsiteX2234" fmla="*/ 535 w 10785"/>
                  <a:gd name="connsiteY2234" fmla="*/ 4624 h 10000"/>
                  <a:gd name="connsiteX2235" fmla="*/ 594 w 10785"/>
                  <a:gd name="connsiteY2235" fmla="*/ 4658 h 10000"/>
                  <a:gd name="connsiteX2236" fmla="*/ 627 w 10785"/>
                  <a:gd name="connsiteY2236" fmla="*/ 4658 h 10000"/>
                  <a:gd name="connsiteX2237" fmla="*/ 654 w 10785"/>
                  <a:gd name="connsiteY2237" fmla="*/ 4684 h 10000"/>
                  <a:gd name="connsiteX2238" fmla="*/ 668 w 10785"/>
                  <a:gd name="connsiteY2238" fmla="*/ 4709 h 10000"/>
                  <a:gd name="connsiteX2239" fmla="*/ 747 w 10785"/>
                  <a:gd name="connsiteY2239" fmla="*/ 4718 h 10000"/>
                  <a:gd name="connsiteX2240" fmla="*/ 760 w 10785"/>
                  <a:gd name="connsiteY2240" fmla="*/ 4709 h 10000"/>
                  <a:gd name="connsiteX2241" fmla="*/ 774 w 10785"/>
                  <a:gd name="connsiteY2241" fmla="*/ 4692 h 10000"/>
                  <a:gd name="connsiteX2242" fmla="*/ 829 w 10785"/>
                  <a:gd name="connsiteY2242" fmla="*/ 4658 h 10000"/>
                  <a:gd name="connsiteX2243" fmla="*/ 903 w 10785"/>
                  <a:gd name="connsiteY2243" fmla="*/ 4496 h 10000"/>
                  <a:gd name="connsiteX2244" fmla="*/ 917 w 10785"/>
                  <a:gd name="connsiteY2244" fmla="*/ 4385 h 10000"/>
                  <a:gd name="connsiteX2245" fmla="*/ 903 w 10785"/>
                  <a:gd name="connsiteY2245" fmla="*/ 4376 h 10000"/>
                  <a:gd name="connsiteX2246" fmla="*/ 903 w 10785"/>
                  <a:gd name="connsiteY2246" fmla="*/ 4376 h 10000"/>
                  <a:gd name="connsiteX2247" fmla="*/ 889 w 10785"/>
                  <a:gd name="connsiteY2247" fmla="*/ 4239 h 10000"/>
                  <a:gd name="connsiteX2248" fmla="*/ 880 w 10785"/>
                  <a:gd name="connsiteY2248" fmla="*/ 4214 h 10000"/>
                  <a:gd name="connsiteX2249" fmla="*/ 862 w 10785"/>
                  <a:gd name="connsiteY2249" fmla="*/ 4188 h 10000"/>
                  <a:gd name="connsiteX2250" fmla="*/ 857 w 10785"/>
                  <a:gd name="connsiteY2250" fmla="*/ 4197 h 10000"/>
                  <a:gd name="connsiteX2251" fmla="*/ 848 w 10785"/>
                  <a:gd name="connsiteY2251" fmla="*/ 4188 h 10000"/>
                  <a:gd name="connsiteX2252" fmla="*/ 848 w 10785"/>
                  <a:gd name="connsiteY2252" fmla="*/ 4162 h 10000"/>
                  <a:gd name="connsiteX2253" fmla="*/ 829 w 10785"/>
                  <a:gd name="connsiteY2253" fmla="*/ 4120 h 10000"/>
                  <a:gd name="connsiteX2254" fmla="*/ 820 w 10785"/>
                  <a:gd name="connsiteY2254" fmla="*/ 4103 h 10000"/>
                  <a:gd name="connsiteX2255" fmla="*/ 806 w 10785"/>
                  <a:gd name="connsiteY2255" fmla="*/ 4077 h 10000"/>
                  <a:gd name="connsiteX2256" fmla="*/ 816 w 10785"/>
                  <a:gd name="connsiteY2256" fmla="*/ 4111 h 10000"/>
                  <a:gd name="connsiteX2257" fmla="*/ 802 w 10785"/>
                  <a:gd name="connsiteY2257" fmla="*/ 4111 h 10000"/>
                  <a:gd name="connsiteX2258" fmla="*/ 770 w 10785"/>
                  <a:gd name="connsiteY2258" fmla="*/ 4060 h 10000"/>
                  <a:gd name="connsiteX2259" fmla="*/ 760 w 10785"/>
                  <a:gd name="connsiteY2259" fmla="*/ 4077 h 10000"/>
                  <a:gd name="connsiteX2260" fmla="*/ 760 w 10785"/>
                  <a:gd name="connsiteY2260" fmla="*/ 4060 h 10000"/>
                  <a:gd name="connsiteX2261" fmla="*/ 756 w 10785"/>
                  <a:gd name="connsiteY2261" fmla="*/ 4034 h 10000"/>
                  <a:gd name="connsiteX2262" fmla="*/ 742 w 10785"/>
                  <a:gd name="connsiteY2262" fmla="*/ 4000 h 10000"/>
                  <a:gd name="connsiteX2263" fmla="*/ 747 w 10785"/>
                  <a:gd name="connsiteY2263" fmla="*/ 4034 h 10000"/>
                  <a:gd name="connsiteX2264" fmla="*/ 724 w 10785"/>
                  <a:gd name="connsiteY2264" fmla="*/ 4026 h 10000"/>
                  <a:gd name="connsiteX2265" fmla="*/ 714 w 10785"/>
                  <a:gd name="connsiteY2265" fmla="*/ 4000 h 10000"/>
                  <a:gd name="connsiteX2266" fmla="*/ 714 w 10785"/>
                  <a:gd name="connsiteY2266" fmla="*/ 3983 h 10000"/>
                  <a:gd name="connsiteX2267" fmla="*/ 553 w 10785"/>
                  <a:gd name="connsiteY2267" fmla="*/ 3726 h 10000"/>
                  <a:gd name="connsiteX2268" fmla="*/ 507 w 10785"/>
                  <a:gd name="connsiteY2268" fmla="*/ 3718 h 10000"/>
                  <a:gd name="connsiteX2269" fmla="*/ 516 w 10785"/>
                  <a:gd name="connsiteY2269" fmla="*/ 3726 h 10000"/>
                  <a:gd name="connsiteX2270" fmla="*/ 507 w 10785"/>
                  <a:gd name="connsiteY2270" fmla="*/ 3735 h 10000"/>
                  <a:gd name="connsiteX2271" fmla="*/ 502 w 10785"/>
                  <a:gd name="connsiteY2271" fmla="*/ 3735 h 10000"/>
                  <a:gd name="connsiteX2272" fmla="*/ 419 w 10785"/>
                  <a:gd name="connsiteY2272" fmla="*/ 3675 h 10000"/>
                  <a:gd name="connsiteX2273" fmla="*/ 419 w 10785"/>
                  <a:gd name="connsiteY2273" fmla="*/ 3692 h 10000"/>
                  <a:gd name="connsiteX2274" fmla="*/ 401 w 10785"/>
                  <a:gd name="connsiteY2274" fmla="*/ 3701 h 10000"/>
                  <a:gd name="connsiteX2275" fmla="*/ 387 w 10785"/>
                  <a:gd name="connsiteY2275" fmla="*/ 3718 h 10000"/>
                  <a:gd name="connsiteX2276" fmla="*/ 387 w 10785"/>
                  <a:gd name="connsiteY2276" fmla="*/ 3692 h 10000"/>
                  <a:gd name="connsiteX2277" fmla="*/ 378 w 10785"/>
                  <a:gd name="connsiteY2277" fmla="*/ 3675 h 10000"/>
                  <a:gd name="connsiteX2278" fmla="*/ 378 w 10785"/>
                  <a:gd name="connsiteY2278" fmla="*/ 3650 h 10000"/>
                  <a:gd name="connsiteX2279" fmla="*/ 378 w 10785"/>
                  <a:gd name="connsiteY2279" fmla="*/ 3650 h 10000"/>
                  <a:gd name="connsiteX2280" fmla="*/ 355 w 10785"/>
                  <a:gd name="connsiteY2280" fmla="*/ 3675 h 10000"/>
                  <a:gd name="connsiteX2281" fmla="*/ 359 w 10785"/>
                  <a:gd name="connsiteY2281" fmla="*/ 3641 h 10000"/>
                  <a:gd name="connsiteX2282" fmla="*/ 346 w 10785"/>
                  <a:gd name="connsiteY2282" fmla="*/ 3650 h 10000"/>
                  <a:gd name="connsiteX2283" fmla="*/ 355 w 10785"/>
                  <a:gd name="connsiteY2283" fmla="*/ 3624 h 10000"/>
                  <a:gd name="connsiteX2284" fmla="*/ 346 w 10785"/>
                  <a:gd name="connsiteY2284" fmla="*/ 3624 h 10000"/>
                  <a:gd name="connsiteX2285" fmla="*/ 341 w 10785"/>
                  <a:gd name="connsiteY2285" fmla="*/ 3624 h 10000"/>
                  <a:gd name="connsiteX2286" fmla="*/ 318 w 10785"/>
                  <a:gd name="connsiteY2286" fmla="*/ 3641 h 10000"/>
                  <a:gd name="connsiteX2287" fmla="*/ 327 w 10785"/>
                  <a:gd name="connsiteY2287" fmla="*/ 3624 h 10000"/>
                  <a:gd name="connsiteX2288" fmla="*/ 318 w 10785"/>
                  <a:gd name="connsiteY2288" fmla="*/ 3615 h 10000"/>
                  <a:gd name="connsiteX2289" fmla="*/ 318 w 10785"/>
                  <a:gd name="connsiteY2289" fmla="*/ 3598 h 10000"/>
                  <a:gd name="connsiteX2290" fmla="*/ 300 w 10785"/>
                  <a:gd name="connsiteY2290" fmla="*/ 3598 h 10000"/>
                  <a:gd name="connsiteX2291" fmla="*/ 309 w 10785"/>
                  <a:gd name="connsiteY2291" fmla="*/ 3538 h 10000"/>
                  <a:gd name="connsiteX2292" fmla="*/ 313 w 10785"/>
                  <a:gd name="connsiteY2292" fmla="*/ 3564 h 10000"/>
                  <a:gd name="connsiteX2293" fmla="*/ 318 w 10785"/>
                  <a:gd name="connsiteY2293" fmla="*/ 3581 h 10000"/>
                  <a:gd name="connsiteX2294" fmla="*/ 327 w 10785"/>
                  <a:gd name="connsiteY2294" fmla="*/ 3564 h 10000"/>
                  <a:gd name="connsiteX2295" fmla="*/ 332 w 10785"/>
                  <a:gd name="connsiteY2295" fmla="*/ 3590 h 10000"/>
                  <a:gd name="connsiteX2296" fmla="*/ 346 w 10785"/>
                  <a:gd name="connsiteY2296" fmla="*/ 3590 h 10000"/>
                  <a:gd name="connsiteX2297" fmla="*/ 355 w 10785"/>
                  <a:gd name="connsiteY2297" fmla="*/ 3590 h 10000"/>
                  <a:gd name="connsiteX2298" fmla="*/ 369 w 10785"/>
                  <a:gd name="connsiteY2298" fmla="*/ 3556 h 10000"/>
                  <a:gd name="connsiteX2299" fmla="*/ 369 w 10785"/>
                  <a:gd name="connsiteY2299" fmla="*/ 3538 h 10000"/>
                  <a:gd name="connsiteX2300" fmla="*/ 346 w 10785"/>
                  <a:gd name="connsiteY2300" fmla="*/ 3513 h 10000"/>
                  <a:gd name="connsiteX2301" fmla="*/ 341 w 10785"/>
                  <a:gd name="connsiteY2301" fmla="*/ 3530 h 10000"/>
                  <a:gd name="connsiteX2302" fmla="*/ 327 w 10785"/>
                  <a:gd name="connsiteY2302" fmla="*/ 3513 h 10000"/>
                  <a:gd name="connsiteX2303" fmla="*/ 327 w 10785"/>
                  <a:gd name="connsiteY2303" fmla="*/ 3504 h 10000"/>
                  <a:gd name="connsiteX2304" fmla="*/ 295 w 10785"/>
                  <a:gd name="connsiteY2304" fmla="*/ 3462 h 10000"/>
                  <a:gd name="connsiteX2305" fmla="*/ 300 w 10785"/>
                  <a:gd name="connsiteY2305" fmla="*/ 3479 h 10000"/>
                  <a:gd name="connsiteX2306" fmla="*/ 295 w 10785"/>
                  <a:gd name="connsiteY2306" fmla="*/ 3513 h 10000"/>
                  <a:gd name="connsiteX2307" fmla="*/ 286 w 10785"/>
                  <a:gd name="connsiteY2307" fmla="*/ 3513 h 10000"/>
                  <a:gd name="connsiteX2308" fmla="*/ 281 w 10785"/>
                  <a:gd name="connsiteY2308" fmla="*/ 3513 h 10000"/>
                  <a:gd name="connsiteX2309" fmla="*/ 281 w 10785"/>
                  <a:gd name="connsiteY2309" fmla="*/ 3530 h 10000"/>
                  <a:gd name="connsiteX2310" fmla="*/ 281 w 10785"/>
                  <a:gd name="connsiteY2310" fmla="*/ 3556 h 10000"/>
                  <a:gd name="connsiteX2311" fmla="*/ 272 w 10785"/>
                  <a:gd name="connsiteY2311" fmla="*/ 3564 h 10000"/>
                  <a:gd name="connsiteX2312" fmla="*/ 267 w 10785"/>
                  <a:gd name="connsiteY2312" fmla="*/ 3564 h 10000"/>
                  <a:gd name="connsiteX2313" fmla="*/ 253 w 10785"/>
                  <a:gd name="connsiteY2313" fmla="*/ 3538 h 10000"/>
                  <a:gd name="connsiteX2314" fmla="*/ 226 w 10785"/>
                  <a:gd name="connsiteY2314" fmla="*/ 3513 h 10000"/>
                  <a:gd name="connsiteX2315" fmla="*/ 226 w 10785"/>
                  <a:gd name="connsiteY2315" fmla="*/ 3530 h 10000"/>
                  <a:gd name="connsiteX2316" fmla="*/ 226 w 10785"/>
                  <a:gd name="connsiteY2316" fmla="*/ 3530 h 10000"/>
                  <a:gd name="connsiteX2317" fmla="*/ 226 w 10785"/>
                  <a:gd name="connsiteY2317" fmla="*/ 3530 h 10000"/>
                  <a:gd name="connsiteX2318" fmla="*/ 226 w 10785"/>
                  <a:gd name="connsiteY2318" fmla="*/ 3556 h 10000"/>
                  <a:gd name="connsiteX2319" fmla="*/ 221 w 10785"/>
                  <a:gd name="connsiteY2319" fmla="*/ 3598 h 10000"/>
                  <a:gd name="connsiteX2320" fmla="*/ 207 w 10785"/>
                  <a:gd name="connsiteY2320" fmla="*/ 3598 h 10000"/>
                  <a:gd name="connsiteX2321" fmla="*/ 180 w 10785"/>
                  <a:gd name="connsiteY2321" fmla="*/ 3581 h 10000"/>
                  <a:gd name="connsiteX2322" fmla="*/ 171 w 10785"/>
                  <a:gd name="connsiteY2322" fmla="*/ 3641 h 10000"/>
                  <a:gd name="connsiteX2323" fmla="*/ 166 w 10785"/>
                  <a:gd name="connsiteY2323" fmla="*/ 3650 h 10000"/>
                  <a:gd name="connsiteX2324" fmla="*/ 124 w 10785"/>
                  <a:gd name="connsiteY2324" fmla="*/ 3701 h 10000"/>
                  <a:gd name="connsiteX2325" fmla="*/ 124 w 10785"/>
                  <a:gd name="connsiteY2325" fmla="*/ 3718 h 10000"/>
                  <a:gd name="connsiteX2326" fmla="*/ 120 w 10785"/>
                  <a:gd name="connsiteY2326" fmla="*/ 3735 h 10000"/>
                  <a:gd name="connsiteX2327" fmla="*/ 120 w 10785"/>
                  <a:gd name="connsiteY2327" fmla="*/ 3735 h 10000"/>
                  <a:gd name="connsiteX2328" fmla="*/ 111 w 10785"/>
                  <a:gd name="connsiteY2328" fmla="*/ 3761 h 10000"/>
                  <a:gd name="connsiteX2329" fmla="*/ 106 w 10785"/>
                  <a:gd name="connsiteY2329" fmla="*/ 3761 h 10000"/>
                  <a:gd name="connsiteX2330" fmla="*/ 106 w 10785"/>
                  <a:gd name="connsiteY2330" fmla="*/ 3761 h 10000"/>
                  <a:gd name="connsiteX2331" fmla="*/ 74 w 10785"/>
                  <a:gd name="connsiteY2331" fmla="*/ 3829 h 10000"/>
                  <a:gd name="connsiteX2332" fmla="*/ 78 w 10785"/>
                  <a:gd name="connsiteY2332" fmla="*/ 3838 h 10000"/>
                  <a:gd name="connsiteX2333" fmla="*/ 88 w 10785"/>
                  <a:gd name="connsiteY2333" fmla="*/ 3846 h 10000"/>
                  <a:gd name="connsiteX2334" fmla="*/ 65 w 10785"/>
                  <a:gd name="connsiteY2334" fmla="*/ 3923 h 10000"/>
                  <a:gd name="connsiteX2335" fmla="*/ 78 w 10785"/>
                  <a:gd name="connsiteY2335" fmla="*/ 4026 h 10000"/>
                  <a:gd name="connsiteX2336" fmla="*/ 88 w 10785"/>
                  <a:gd name="connsiteY2336" fmla="*/ 4051 h 10000"/>
                  <a:gd name="connsiteX2337" fmla="*/ 92 w 10785"/>
                  <a:gd name="connsiteY2337" fmla="*/ 4060 h 10000"/>
                  <a:gd name="connsiteX2338" fmla="*/ 111 w 10785"/>
                  <a:gd name="connsiteY2338" fmla="*/ 4060 h 10000"/>
                  <a:gd name="connsiteX2339" fmla="*/ 124 w 10785"/>
                  <a:gd name="connsiteY2339" fmla="*/ 4085 h 10000"/>
                  <a:gd name="connsiteX2340" fmla="*/ 166 w 10785"/>
                  <a:gd name="connsiteY2340" fmla="*/ 4197 h 10000"/>
                  <a:gd name="connsiteX2341" fmla="*/ 166 w 10785"/>
                  <a:gd name="connsiteY2341" fmla="*/ 4248 h 10000"/>
                  <a:gd name="connsiteX2342" fmla="*/ 120 w 10785"/>
                  <a:gd name="connsiteY2342" fmla="*/ 4462 h 10000"/>
                  <a:gd name="connsiteX2343" fmla="*/ 120 w 10785"/>
                  <a:gd name="connsiteY2343" fmla="*/ 4513 h 10000"/>
                  <a:gd name="connsiteX2344" fmla="*/ 180 w 10785"/>
                  <a:gd name="connsiteY2344" fmla="*/ 4829 h 10000"/>
                  <a:gd name="connsiteX2345" fmla="*/ 161 w 10785"/>
                  <a:gd name="connsiteY2345" fmla="*/ 4855 h 10000"/>
                  <a:gd name="connsiteX2346" fmla="*/ 152 w 10785"/>
                  <a:gd name="connsiteY2346" fmla="*/ 4940 h 10000"/>
                  <a:gd name="connsiteX2347" fmla="*/ 161 w 10785"/>
                  <a:gd name="connsiteY2347" fmla="*/ 4966 h 10000"/>
                  <a:gd name="connsiteX2348" fmla="*/ 161 w 10785"/>
                  <a:gd name="connsiteY2348" fmla="*/ 5009 h 10000"/>
                  <a:gd name="connsiteX2349" fmla="*/ 152 w 10785"/>
                  <a:gd name="connsiteY2349" fmla="*/ 5034 h 10000"/>
                  <a:gd name="connsiteX2350" fmla="*/ 152 w 10785"/>
                  <a:gd name="connsiteY2350" fmla="*/ 5077 h 10000"/>
                  <a:gd name="connsiteX2351" fmla="*/ 171 w 10785"/>
                  <a:gd name="connsiteY2351" fmla="*/ 5094 h 10000"/>
                  <a:gd name="connsiteX2352" fmla="*/ 180 w 10785"/>
                  <a:gd name="connsiteY2352" fmla="*/ 5128 h 10000"/>
                  <a:gd name="connsiteX2353" fmla="*/ 180 w 10785"/>
                  <a:gd name="connsiteY2353" fmla="*/ 5171 h 10000"/>
                  <a:gd name="connsiteX2354" fmla="*/ 184 w 10785"/>
                  <a:gd name="connsiteY2354" fmla="*/ 5205 h 10000"/>
                  <a:gd name="connsiteX2355" fmla="*/ 207 w 10785"/>
                  <a:gd name="connsiteY2355" fmla="*/ 5239 h 10000"/>
                  <a:gd name="connsiteX2356" fmla="*/ 207 w 10785"/>
                  <a:gd name="connsiteY2356" fmla="*/ 5282 h 10000"/>
                  <a:gd name="connsiteX2357" fmla="*/ 180 w 10785"/>
                  <a:gd name="connsiteY2357" fmla="*/ 5393 h 10000"/>
                  <a:gd name="connsiteX2358" fmla="*/ 194 w 10785"/>
                  <a:gd name="connsiteY2358" fmla="*/ 5427 h 10000"/>
                  <a:gd name="connsiteX2359" fmla="*/ 198 w 10785"/>
                  <a:gd name="connsiteY2359" fmla="*/ 5462 h 10000"/>
                  <a:gd name="connsiteX2360" fmla="*/ 235 w 10785"/>
                  <a:gd name="connsiteY2360" fmla="*/ 5513 h 10000"/>
                  <a:gd name="connsiteX2361" fmla="*/ 240 w 10785"/>
                  <a:gd name="connsiteY2361" fmla="*/ 5556 h 10000"/>
                  <a:gd name="connsiteX2362" fmla="*/ 253 w 10785"/>
                  <a:gd name="connsiteY2362" fmla="*/ 5590 h 10000"/>
                  <a:gd name="connsiteX2363" fmla="*/ 258 w 10785"/>
                  <a:gd name="connsiteY2363" fmla="*/ 5573 h 10000"/>
                  <a:gd name="connsiteX2364" fmla="*/ 258 w 10785"/>
                  <a:gd name="connsiteY2364" fmla="*/ 5667 h 10000"/>
                  <a:gd name="connsiteX2365" fmla="*/ 14 w 10785"/>
                  <a:gd name="connsiteY2365" fmla="*/ 6214 h 10000"/>
                  <a:gd name="connsiteX2366" fmla="*/ 14 w 10785"/>
                  <a:gd name="connsiteY2366" fmla="*/ 6214 h 10000"/>
                  <a:gd name="connsiteX2367" fmla="*/ 37 w 10785"/>
                  <a:gd name="connsiteY2367" fmla="*/ 6214 h 10000"/>
                  <a:gd name="connsiteX2368" fmla="*/ 51 w 10785"/>
                  <a:gd name="connsiteY2368" fmla="*/ 6188 h 10000"/>
                  <a:gd name="connsiteX2369" fmla="*/ 78 w 10785"/>
                  <a:gd name="connsiteY2369" fmla="*/ 6162 h 10000"/>
                  <a:gd name="connsiteX2370" fmla="*/ 78 w 10785"/>
                  <a:gd name="connsiteY2370" fmla="*/ 6188 h 10000"/>
                  <a:gd name="connsiteX2371" fmla="*/ 74 w 10785"/>
                  <a:gd name="connsiteY2371" fmla="*/ 6197 h 10000"/>
                  <a:gd name="connsiteX2372" fmla="*/ 74 w 10785"/>
                  <a:gd name="connsiteY2372" fmla="*/ 6231 h 10000"/>
                  <a:gd name="connsiteX2373" fmla="*/ 74 w 10785"/>
                  <a:gd name="connsiteY2373" fmla="*/ 6214 h 10000"/>
                  <a:gd name="connsiteX2374" fmla="*/ 65 w 10785"/>
                  <a:gd name="connsiteY2374" fmla="*/ 6214 h 10000"/>
                  <a:gd name="connsiteX2375" fmla="*/ 65 w 10785"/>
                  <a:gd name="connsiteY2375" fmla="*/ 6248 h 10000"/>
                  <a:gd name="connsiteX2376" fmla="*/ 74 w 10785"/>
                  <a:gd name="connsiteY2376" fmla="*/ 6256 h 10000"/>
                  <a:gd name="connsiteX2377" fmla="*/ 78 w 10785"/>
                  <a:gd name="connsiteY2377" fmla="*/ 6256 h 10000"/>
                  <a:gd name="connsiteX2378" fmla="*/ 106 w 10785"/>
                  <a:gd name="connsiteY2378" fmla="*/ 6308 h 10000"/>
                  <a:gd name="connsiteX2379" fmla="*/ 138 w 10785"/>
                  <a:gd name="connsiteY2379" fmla="*/ 6299 h 10000"/>
                  <a:gd name="connsiteX2380" fmla="*/ 152 w 10785"/>
                  <a:gd name="connsiteY2380" fmla="*/ 6299 h 10000"/>
                  <a:gd name="connsiteX2381" fmla="*/ 166 w 10785"/>
                  <a:gd name="connsiteY2381" fmla="*/ 6325 h 10000"/>
                  <a:gd name="connsiteX2382" fmla="*/ 166 w 10785"/>
                  <a:gd name="connsiteY2382" fmla="*/ 6333 h 10000"/>
                  <a:gd name="connsiteX2383" fmla="*/ 171 w 10785"/>
                  <a:gd name="connsiteY2383" fmla="*/ 6350 h 10000"/>
                  <a:gd name="connsiteX2384" fmla="*/ 180 w 10785"/>
                  <a:gd name="connsiteY2384" fmla="*/ 6350 h 10000"/>
                  <a:gd name="connsiteX2385" fmla="*/ 180 w 10785"/>
                  <a:gd name="connsiteY2385" fmla="*/ 6359 h 10000"/>
                  <a:gd name="connsiteX2386" fmla="*/ 171 w 10785"/>
                  <a:gd name="connsiteY2386" fmla="*/ 6368 h 10000"/>
                  <a:gd name="connsiteX2387" fmla="*/ 106 w 10785"/>
                  <a:gd name="connsiteY2387" fmla="*/ 6350 h 10000"/>
                  <a:gd name="connsiteX2388" fmla="*/ 101 w 10785"/>
                  <a:gd name="connsiteY2388" fmla="*/ 6359 h 10000"/>
                  <a:gd name="connsiteX2389" fmla="*/ 101 w 10785"/>
                  <a:gd name="connsiteY2389" fmla="*/ 6385 h 10000"/>
                  <a:gd name="connsiteX2390" fmla="*/ 78 w 10785"/>
                  <a:gd name="connsiteY2390" fmla="*/ 6393 h 10000"/>
                  <a:gd name="connsiteX2391" fmla="*/ 74 w 10785"/>
                  <a:gd name="connsiteY2391" fmla="*/ 6385 h 10000"/>
                  <a:gd name="connsiteX2392" fmla="*/ 65 w 10785"/>
                  <a:gd name="connsiteY2392" fmla="*/ 6393 h 10000"/>
                  <a:gd name="connsiteX2393" fmla="*/ 60 w 10785"/>
                  <a:gd name="connsiteY2393" fmla="*/ 6419 h 10000"/>
                  <a:gd name="connsiteX2394" fmla="*/ 51 w 10785"/>
                  <a:gd name="connsiteY2394" fmla="*/ 6419 h 10000"/>
                  <a:gd name="connsiteX2395" fmla="*/ 46 w 10785"/>
                  <a:gd name="connsiteY2395" fmla="*/ 6410 h 10000"/>
                  <a:gd name="connsiteX2396" fmla="*/ 37 w 10785"/>
                  <a:gd name="connsiteY2396" fmla="*/ 6393 h 10000"/>
                  <a:gd name="connsiteX2397" fmla="*/ 32 w 10785"/>
                  <a:gd name="connsiteY2397" fmla="*/ 6419 h 10000"/>
                  <a:gd name="connsiteX2398" fmla="*/ 37 w 10785"/>
                  <a:gd name="connsiteY2398" fmla="*/ 6462 h 10000"/>
                  <a:gd name="connsiteX2399" fmla="*/ 46 w 10785"/>
                  <a:gd name="connsiteY2399" fmla="*/ 6462 h 10000"/>
                  <a:gd name="connsiteX2400" fmla="*/ 51 w 10785"/>
                  <a:gd name="connsiteY2400" fmla="*/ 6470 h 10000"/>
                  <a:gd name="connsiteX2401" fmla="*/ 51 w 10785"/>
                  <a:gd name="connsiteY2401" fmla="*/ 6496 h 10000"/>
                  <a:gd name="connsiteX2402" fmla="*/ 51 w 10785"/>
                  <a:gd name="connsiteY2402" fmla="*/ 6504 h 10000"/>
                  <a:gd name="connsiteX2403" fmla="*/ 37 w 10785"/>
                  <a:gd name="connsiteY2403" fmla="*/ 6530 h 10000"/>
                  <a:gd name="connsiteX2404" fmla="*/ 18 w 10785"/>
                  <a:gd name="connsiteY2404" fmla="*/ 6598 h 10000"/>
                  <a:gd name="connsiteX2405" fmla="*/ 28 w 10785"/>
                  <a:gd name="connsiteY2405" fmla="*/ 6632 h 10000"/>
                  <a:gd name="connsiteX2406" fmla="*/ 18 w 10785"/>
                  <a:gd name="connsiteY2406" fmla="*/ 6667 h 10000"/>
                  <a:gd name="connsiteX2407" fmla="*/ 28 w 10785"/>
                  <a:gd name="connsiteY2407" fmla="*/ 6692 h 10000"/>
                  <a:gd name="connsiteX2408" fmla="*/ 28 w 10785"/>
                  <a:gd name="connsiteY2408" fmla="*/ 6709 h 10000"/>
                  <a:gd name="connsiteX2409" fmla="*/ 18 w 10785"/>
                  <a:gd name="connsiteY2409" fmla="*/ 6718 h 10000"/>
                  <a:gd name="connsiteX2410" fmla="*/ 5 w 10785"/>
                  <a:gd name="connsiteY2410" fmla="*/ 6744 h 10000"/>
                  <a:gd name="connsiteX2411" fmla="*/ 0 w 10785"/>
                  <a:gd name="connsiteY2411" fmla="*/ 6769 h 10000"/>
                  <a:gd name="connsiteX2412" fmla="*/ 5 w 10785"/>
                  <a:gd name="connsiteY2412" fmla="*/ 6778 h 10000"/>
                  <a:gd name="connsiteX2413" fmla="*/ 32 w 10785"/>
                  <a:gd name="connsiteY2413" fmla="*/ 6778 h 10000"/>
                  <a:gd name="connsiteX2414" fmla="*/ 46 w 10785"/>
                  <a:gd name="connsiteY2414" fmla="*/ 6821 h 10000"/>
                  <a:gd name="connsiteX2415" fmla="*/ 46 w 10785"/>
                  <a:gd name="connsiteY2415" fmla="*/ 6855 h 10000"/>
                  <a:gd name="connsiteX2416" fmla="*/ 32 w 10785"/>
                  <a:gd name="connsiteY2416" fmla="*/ 6855 h 10000"/>
                  <a:gd name="connsiteX2417" fmla="*/ 14 w 10785"/>
                  <a:gd name="connsiteY2417" fmla="*/ 6821 h 10000"/>
                  <a:gd name="connsiteX2418" fmla="*/ 14 w 10785"/>
                  <a:gd name="connsiteY2418" fmla="*/ 6846 h 10000"/>
                  <a:gd name="connsiteX2419" fmla="*/ 0 w 10785"/>
                  <a:gd name="connsiteY2419" fmla="*/ 6897 h 10000"/>
                  <a:gd name="connsiteX2420" fmla="*/ 0 w 10785"/>
                  <a:gd name="connsiteY2420" fmla="*/ 6915 h 10000"/>
                  <a:gd name="connsiteX2421" fmla="*/ 5 w 10785"/>
                  <a:gd name="connsiteY2421" fmla="*/ 6932 h 10000"/>
                  <a:gd name="connsiteX2422" fmla="*/ 14 w 10785"/>
                  <a:gd name="connsiteY2422" fmla="*/ 6940 h 10000"/>
                  <a:gd name="connsiteX2423" fmla="*/ 18 w 10785"/>
                  <a:gd name="connsiteY2423" fmla="*/ 6957 h 10000"/>
                  <a:gd name="connsiteX2424" fmla="*/ 28 w 10785"/>
                  <a:gd name="connsiteY2424" fmla="*/ 6966 h 10000"/>
                  <a:gd name="connsiteX2425" fmla="*/ 28 w 10785"/>
                  <a:gd name="connsiteY2425" fmla="*/ 6983 h 10000"/>
                  <a:gd name="connsiteX2426" fmla="*/ 18 w 10785"/>
                  <a:gd name="connsiteY2426" fmla="*/ 7051 h 10000"/>
                  <a:gd name="connsiteX2427" fmla="*/ 28 w 10785"/>
                  <a:gd name="connsiteY2427" fmla="*/ 7068 h 10000"/>
                  <a:gd name="connsiteX2428" fmla="*/ 32 w 10785"/>
                  <a:gd name="connsiteY2428" fmla="*/ 7068 h 10000"/>
                  <a:gd name="connsiteX2429" fmla="*/ 32 w 10785"/>
                  <a:gd name="connsiteY2429" fmla="*/ 7094 h 10000"/>
                  <a:gd name="connsiteX2430" fmla="*/ 60 w 10785"/>
                  <a:gd name="connsiteY2430" fmla="*/ 7162 h 10000"/>
                  <a:gd name="connsiteX2431" fmla="*/ 60 w 10785"/>
                  <a:gd name="connsiteY2431" fmla="*/ 7231 h 10000"/>
                  <a:gd name="connsiteX2432" fmla="*/ 60 w 10785"/>
                  <a:gd name="connsiteY2432" fmla="*/ 7239 h 10000"/>
                  <a:gd name="connsiteX2433" fmla="*/ 78 w 10785"/>
                  <a:gd name="connsiteY2433" fmla="*/ 7239 h 10000"/>
                  <a:gd name="connsiteX2434" fmla="*/ 88 w 10785"/>
                  <a:gd name="connsiteY2434" fmla="*/ 7239 h 10000"/>
                  <a:gd name="connsiteX2435" fmla="*/ 92 w 10785"/>
                  <a:gd name="connsiteY2435" fmla="*/ 7256 h 10000"/>
                  <a:gd name="connsiteX2436" fmla="*/ 111 w 10785"/>
                  <a:gd name="connsiteY2436" fmla="*/ 7256 h 10000"/>
                  <a:gd name="connsiteX2437" fmla="*/ 120 w 10785"/>
                  <a:gd name="connsiteY2437" fmla="*/ 7256 h 10000"/>
                  <a:gd name="connsiteX2438" fmla="*/ 134 w 10785"/>
                  <a:gd name="connsiteY2438" fmla="*/ 7282 h 10000"/>
                  <a:gd name="connsiteX2439" fmla="*/ 134 w 10785"/>
                  <a:gd name="connsiteY2439" fmla="*/ 7316 h 10000"/>
                  <a:gd name="connsiteX2440" fmla="*/ 152 w 10785"/>
                  <a:gd name="connsiteY2440" fmla="*/ 7299 h 10000"/>
                  <a:gd name="connsiteX2441" fmla="*/ 161 w 10785"/>
                  <a:gd name="connsiteY2441" fmla="*/ 7299 h 10000"/>
                  <a:gd name="connsiteX2442" fmla="*/ 166 w 10785"/>
                  <a:gd name="connsiteY2442" fmla="*/ 7291 h 10000"/>
                  <a:gd name="connsiteX2443" fmla="*/ 194 w 10785"/>
                  <a:gd name="connsiteY2443" fmla="*/ 7291 h 10000"/>
                  <a:gd name="connsiteX2444" fmla="*/ 207 w 10785"/>
                  <a:gd name="connsiteY2444" fmla="*/ 7299 h 10000"/>
                  <a:gd name="connsiteX2445" fmla="*/ 221 w 10785"/>
                  <a:gd name="connsiteY2445" fmla="*/ 7342 h 10000"/>
                  <a:gd name="connsiteX2446" fmla="*/ 235 w 10785"/>
                  <a:gd name="connsiteY2446" fmla="*/ 7342 h 10000"/>
                  <a:gd name="connsiteX2447" fmla="*/ 235 w 10785"/>
                  <a:gd name="connsiteY2447" fmla="*/ 7368 h 10000"/>
                  <a:gd name="connsiteX2448" fmla="*/ 226 w 10785"/>
                  <a:gd name="connsiteY2448" fmla="*/ 7393 h 10000"/>
                  <a:gd name="connsiteX2449" fmla="*/ 226 w 10785"/>
                  <a:gd name="connsiteY2449" fmla="*/ 7402 h 10000"/>
                  <a:gd name="connsiteX2450" fmla="*/ 235 w 10785"/>
                  <a:gd name="connsiteY2450" fmla="*/ 7419 h 10000"/>
                  <a:gd name="connsiteX2451" fmla="*/ 240 w 10785"/>
                  <a:gd name="connsiteY2451" fmla="*/ 7436 h 10000"/>
                  <a:gd name="connsiteX2452" fmla="*/ 235 w 10785"/>
                  <a:gd name="connsiteY2452" fmla="*/ 7462 h 10000"/>
                  <a:gd name="connsiteX2453" fmla="*/ 226 w 10785"/>
                  <a:gd name="connsiteY2453" fmla="*/ 7479 h 10000"/>
                  <a:gd name="connsiteX2454" fmla="*/ 226 w 10785"/>
                  <a:gd name="connsiteY2454" fmla="*/ 7504 h 10000"/>
                  <a:gd name="connsiteX2455" fmla="*/ 226 w 10785"/>
                  <a:gd name="connsiteY2455" fmla="*/ 7513 h 10000"/>
                  <a:gd name="connsiteX2456" fmla="*/ 240 w 10785"/>
                  <a:gd name="connsiteY2456" fmla="*/ 7538 h 10000"/>
                  <a:gd name="connsiteX2457" fmla="*/ 267 w 10785"/>
                  <a:gd name="connsiteY2457" fmla="*/ 7641 h 10000"/>
                  <a:gd name="connsiteX2458" fmla="*/ 281 w 10785"/>
                  <a:gd name="connsiteY2458" fmla="*/ 7667 h 10000"/>
                  <a:gd name="connsiteX2459" fmla="*/ 286 w 10785"/>
                  <a:gd name="connsiteY2459" fmla="*/ 7675 h 10000"/>
                  <a:gd name="connsiteX2460" fmla="*/ 286 w 10785"/>
                  <a:gd name="connsiteY2460" fmla="*/ 7692 h 10000"/>
                  <a:gd name="connsiteX2461" fmla="*/ 286 w 10785"/>
                  <a:gd name="connsiteY2461" fmla="*/ 7709 h 10000"/>
                  <a:gd name="connsiteX2462" fmla="*/ 295 w 10785"/>
                  <a:gd name="connsiteY2462" fmla="*/ 7726 h 10000"/>
                  <a:gd name="connsiteX2463" fmla="*/ 318 w 10785"/>
                  <a:gd name="connsiteY2463" fmla="*/ 7709 h 10000"/>
                  <a:gd name="connsiteX2464" fmla="*/ 327 w 10785"/>
                  <a:gd name="connsiteY2464" fmla="*/ 7726 h 10000"/>
                  <a:gd name="connsiteX2465" fmla="*/ 341 w 10785"/>
                  <a:gd name="connsiteY2465" fmla="*/ 7735 h 10000"/>
                  <a:gd name="connsiteX2466" fmla="*/ 332 w 10785"/>
                  <a:gd name="connsiteY2466" fmla="*/ 7752 h 10000"/>
                  <a:gd name="connsiteX2467" fmla="*/ 341 w 10785"/>
                  <a:gd name="connsiteY2467" fmla="*/ 7761 h 10000"/>
                  <a:gd name="connsiteX2468" fmla="*/ 355 w 10785"/>
                  <a:gd name="connsiteY2468" fmla="*/ 7761 h 10000"/>
                  <a:gd name="connsiteX2469" fmla="*/ 355 w 10785"/>
                  <a:gd name="connsiteY2469" fmla="*/ 7803 h 10000"/>
                  <a:gd name="connsiteX2470" fmla="*/ 313 w 10785"/>
                  <a:gd name="connsiteY2470" fmla="*/ 7846 h 10000"/>
                  <a:gd name="connsiteX2471" fmla="*/ 295 w 10785"/>
                  <a:gd name="connsiteY2471" fmla="*/ 7846 h 10000"/>
                  <a:gd name="connsiteX2472" fmla="*/ 281 w 10785"/>
                  <a:gd name="connsiteY2472" fmla="*/ 7821 h 10000"/>
                  <a:gd name="connsiteX2473" fmla="*/ 272 w 10785"/>
                  <a:gd name="connsiteY2473" fmla="*/ 7821 h 10000"/>
                  <a:gd name="connsiteX2474" fmla="*/ 267 w 10785"/>
                  <a:gd name="connsiteY2474" fmla="*/ 7838 h 10000"/>
                  <a:gd name="connsiteX2475" fmla="*/ 258 w 10785"/>
                  <a:gd name="connsiteY2475" fmla="*/ 7846 h 10000"/>
                  <a:gd name="connsiteX2476" fmla="*/ 253 w 10785"/>
                  <a:gd name="connsiteY2476" fmla="*/ 7863 h 10000"/>
                  <a:gd name="connsiteX2477" fmla="*/ 253 w 10785"/>
                  <a:gd name="connsiteY2477" fmla="*/ 7872 h 10000"/>
                  <a:gd name="connsiteX2478" fmla="*/ 267 w 10785"/>
                  <a:gd name="connsiteY2478" fmla="*/ 7897 h 10000"/>
                  <a:gd name="connsiteX2479" fmla="*/ 272 w 10785"/>
                  <a:gd name="connsiteY2479" fmla="*/ 7915 h 10000"/>
                  <a:gd name="connsiteX2480" fmla="*/ 267 w 10785"/>
                  <a:gd name="connsiteY2480" fmla="*/ 7940 h 10000"/>
                  <a:gd name="connsiteX2481" fmla="*/ 272 w 10785"/>
                  <a:gd name="connsiteY2481" fmla="*/ 7949 h 10000"/>
                  <a:gd name="connsiteX2482" fmla="*/ 272 w 10785"/>
                  <a:gd name="connsiteY2482" fmla="*/ 7957 h 10000"/>
                  <a:gd name="connsiteX2483" fmla="*/ 281 w 10785"/>
                  <a:gd name="connsiteY2483" fmla="*/ 7974 h 10000"/>
                  <a:gd name="connsiteX2484" fmla="*/ 286 w 10785"/>
                  <a:gd name="connsiteY2484" fmla="*/ 7983 h 10000"/>
                  <a:gd name="connsiteX2485" fmla="*/ 281 w 10785"/>
                  <a:gd name="connsiteY2485" fmla="*/ 8009 h 10000"/>
                  <a:gd name="connsiteX2486" fmla="*/ 286 w 10785"/>
                  <a:gd name="connsiteY2486" fmla="*/ 8060 h 10000"/>
                  <a:gd name="connsiteX2487" fmla="*/ 286 w 10785"/>
                  <a:gd name="connsiteY2487" fmla="*/ 8060 h 10000"/>
                  <a:gd name="connsiteX2488" fmla="*/ 295 w 10785"/>
                  <a:gd name="connsiteY2488" fmla="*/ 8077 h 10000"/>
                  <a:gd name="connsiteX2489" fmla="*/ 309 w 10785"/>
                  <a:gd name="connsiteY2489" fmla="*/ 8077 h 10000"/>
                  <a:gd name="connsiteX2490" fmla="*/ 313 w 10785"/>
                  <a:gd name="connsiteY2490" fmla="*/ 8060 h 10000"/>
                  <a:gd name="connsiteX2491" fmla="*/ 318 w 10785"/>
                  <a:gd name="connsiteY2491" fmla="*/ 8051 h 10000"/>
                  <a:gd name="connsiteX2492" fmla="*/ 318 w 10785"/>
                  <a:gd name="connsiteY2492" fmla="*/ 8034 h 10000"/>
                  <a:gd name="connsiteX2493" fmla="*/ 332 w 10785"/>
                  <a:gd name="connsiteY2493" fmla="*/ 8026 h 10000"/>
                  <a:gd name="connsiteX2494" fmla="*/ 359 w 10785"/>
                  <a:gd name="connsiteY2494" fmla="*/ 8034 h 10000"/>
                  <a:gd name="connsiteX2495" fmla="*/ 378 w 10785"/>
                  <a:gd name="connsiteY2495" fmla="*/ 8026 h 10000"/>
                  <a:gd name="connsiteX2496" fmla="*/ 401 w 10785"/>
                  <a:gd name="connsiteY2496" fmla="*/ 8026 h 10000"/>
                  <a:gd name="connsiteX2497" fmla="*/ 419 w 10785"/>
                  <a:gd name="connsiteY2497" fmla="*/ 8009 h 10000"/>
                  <a:gd name="connsiteX2498" fmla="*/ 433 w 10785"/>
                  <a:gd name="connsiteY2498" fmla="*/ 8034 h 10000"/>
                  <a:gd name="connsiteX2499" fmla="*/ 442 w 10785"/>
                  <a:gd name="connsiteY2499" fmla="*/ 8060 h 10000"/>
                  <a:gd name="connsiteX2500" fmla="*/ 442 w 10785"/>
                  <a:gd name="connsiteY2500" fmla="*/ 8077 h 10000"/>
                  <a:gd name="connsiteX2501" fmla="*/ 461 w 10785"/>
                  <a:gd name="connsiteY2501" fmla="*/ 8111 h 10000"/>
                  <a:gd name="connsiteX2502" fmla="*/ 461 w 10785"/>
                  <a:gd name="connsiteY2502" fmla="*/ 8137 h 10000"/>
                  <a:gd name="connsiteX2503" fmla="*/ 447 w 10785"/>
                  <a:gd name="connsiteY2503" fmla="*/ 8145 h 10000"/>
                  <a:gd name="connsiteX2504" fmla="*/ 442 w 10785"/>
                  <a:gd name="connsiteY2504" fmla="*/ 8145 h 10000"/>
                  <a:gd name="connsiteX2505" fmla="*/ 442 w 10785"/>
                  <a:gd name="connsiteY2505" fmla="*/ 8162 h 10000"/>
                  <a:gd name="connsiteX2506" fmla="*/ 442 w 10785"/>
                  <a:gd name="connsiteY2506" fmla="*/ 8171 h 10000"/>
                  <a:gd name="connsiteX2507" fmla="*/ 447 w 10785"/>
                  <a:gd name="connsiteY2507" fmla="*/ 8214 h 10000"/>
                  <a:gd name="connsiteX2508" fmla="*/ 465 w 10785"/>
                  <a:gd name="connsiteY2508" fmla="*/ 8231 h 10000"/>
                  <a:gd name="connsiteX2509" fmla="*/ 488 w 10785"/>
                  <a:gd name="connsiteY2509" fmla="*/ 8231 h 10000"/>
                  <a:gd name="connsiteX2510" fmla="*/ 493 w 10785"/>
                  <a:gd name="connsiteY2510" fmla="*/ 8231 h 10000"/>
                  <a:gd name="connsiteX2511" fmla="*/ 502 w 10785"/>
                  <a:gd name="connsiteY2511" fmla="*/ 8231 h 10000"/>
                  <a:gd name="connsiteX2512" fmla="*/ 507 w 10785"/>
                  <a:gd name="connsiteY2512" fmla="*/ 8248 h 10000"/>
                  <a:gd name="connsiteX2513" fmla="*/ 521 w 10785"/>
                  <a:gd name="connsiteY2513" fmla="*/ 8274 h 10000"/>
                  <a:gd name="connsiteX2514" fmla="*/ 525 w 10785"/>
                  <a:gd name="connsiteY2514" fmla="*/ 8333 h 10000"/>
                  <a:gd name="connsiteX2515" fmla="*/ 525 w 10785"/>
                  <a:gd name="connsiteY2515" fmla="*/ 8359 h 10000"/>
                  <a:gd name="connsiteX2516" fmla="*/ 525 w 10785"/>
                  <a:gd name="connsiteY2516" fmla="*/ 8368 h 10000"/>
                  <a:gd name="connsiteX2517" fmla="*/ 548 w 10785"/>
                  <a:gd name="connsiteY2517" fmla="*/ 8393 h 10000"/>
                  <a:gd name="connsiteX2518" fmla="*/ 553 w 10785"/>
                  <a:gd name="connsiteY2518" fmla="*/ 8385 h 10000"/>
                  <a:gd name="connsiteX2519" fmla="*/ 562 w 10785"/>
                  <a:gd name="connsiteY2519" fmla="*/ 8385 h 10000"/>
                  <a:gd name="connsiteX2520" fmla="*/ 576 w 10785"/>
                  <a:gd name="connsiteY2520" fmla="*/ 8385 h 10000"/>
                  <a:gd name="connsiteX2521" fmla="*/ 585 w 10785"/>
                  <a:gd name="connsiteY2521" fmla="*/ 8410 h 10000"/>
                  <a:gd name="connsiteX2522" fmla="*/ 594 w 10785"/>
                  <a:gd name="connsiteY2522" fmla="*/ 8410 h 10000"/>
                  <a:gd name="connsiteX2523" fmla="*/ 608 w 10785"/>
                  <a:gd name="connsiteY2523" fmla="*/ 8410 h 10000"/>
                  <a:gd name="connsiteX2524" fmla="*/ 654 w 10785"/>
                  <a:gd name="connsiteY2524" fmla="*/ 8385 h 10000"/>
                  <a:gd name="connsiteX2525" fmla="*/ 659 w 10785"/>
                  <a:gd name="connsiteY2525" fmla="*/ 8385 h 10000"/>
                  <a:gd name="connsiteX2526" fmla="*/ 696 w 10785"/>
                  <a:gd name="connsiteY2526" fmla="*/ 8470 h 10000"/>
                  <a:gd name="connsiteX2527" fmla="*/ 700 w 10785"/>
                  <a:gd name="connsiteY2527" fmla="*/ 8470 h 10000"/>
                  <a:gd name="connsiteX2528" fmla="*/ 710 w 10785"/>
                  <a:gd name="connsiteY2528" fmla="*/ 8462 h 10000"/>
                  <a:gd name="connsiteX2529" fmla="*/ 714 w 10785"/>
                  <a:gd name="connsiteY2529" fmla="*/ 8462 h 10000"/>
                  <a:gd name="connsiteX2530" fmla="*/ 724 w 10785"/>
                  <a:gd name="connsiteY2530" fmla="*/ 8470 h 10000"/>
                  <a:gd name="connsiteX2531" fmla="*/ 733 w 10785"/>
                  <a:gd name="connsiteY2531" fmla="*/ 8470 h 10000"/>
                  <a:gd name="connsiteX2532" fmla="*/ 742 w 10785"/>
                  <a:gd name="connsiteY2532" fmla="*/ 8487 h 10000"/>
                  <a:gd name="connsiteX2533" fmla="*/ 747 w 10785"/>
                  <a:gd name="connsiteY2533" fmla="*/ 8496 h 10000"/>
                  <a:gd name="connsiteX2534" fmla="*/ 770 w 10785"/>
                  <a:gd name="connsiteY2534" fmla="*/ 8496 h 10000"/>
                  <a:gd name="connsiteX2535" fmla="*/ 783 w 10785"/>
                  <a:gd name="connsiteY2535" fmla="*/ 8521 h 10000"/>
                  <a:gd name="connsiteX2536" fmla="*/ 797 w 10785"/>
                  <a:gd name="connsiteY2536" fmla="*/ 8521 h 10000"/>
                  <a:gd name="connsiteX2537" fmla="*/ 806 w 10785"/>
                  <a:gd name="connsiteY2537" fmla="*/ 8530 h 10000"/>
                  <a:gd name="connsiteX2538" fmla="*/ 829 w 10785"/>
                  <a:gd name="connsiteY2538" fmla="*/ 8547 h 10000"/>
                  <a:gd name="connsiteX2539" fmla="*/ 834 w 10785"/>
                  <a:gd name="connsiteY2539" fmla="*/ 8556 h 10000"/>
                  <a:gd name="connsiteX2540" fmla="*/ 829 w 10785"/>
                  <a:gd name="connsiteY2540" fmla="*/ 8556 h 10000"/>
                  <a:gd name="connsiteX2541" fmla="*/ 834 w 10785"/>
                  <a:gd name="connsiteY2541" fmla="*/ 8607 h 10000"/>
                  <a:gd name="connsiteX2542" fmla="*/ 829 w 10785"/>
                  <a:gd name="connsiteY2542" fmla="*/ 8641 h 10000"/>
                  <a:gd name="connsiteX2543" fmla="*/ 806 w 10785"/>
                  <a:gd name="connsiteY2543" fmla="*/ 8658 h 10000"/>
                  <a:gd name="connsiteX2544" fmla="*/ 816 w 10785"/>
                  <a:gd name="connsiteY2544" fmla="*/ 8667 h 10000"/>
                  <a:gd name="connsiteX2545" fmla="*/ 820 w 10785"/>
                  <a:gd name="connsiteY2545" fmla="*/ 8667 h 10000"/>
                  <a:gd name="connsiteX2546" fmla="*/ 829 w 10785"/>
                  <a:gd name="connsiteY2546" fmla="*/ 8684 h 10000"/>
                  <a:gd name="connsiteX2547" fmla="*/ 806 w 10785"/>
                  <a:gd name="connsiteY2547" fmla="*/ 8692 h 10000"/>
                  <a:gd name="connsiteX2548" fmla="*/ 802 w 10785"/>
                  <a:gd name="connsiteY2548" fmla="*/ 8709 h 10000"/>
                  <a:gd name="connsiteX2549" fmla="*/ 802 w 10785"/>
                  <a:gd name="connsiteY2549" fmla="*/ 8735 h 10000"/>
                  <a:gd name="connsiteX2550" fmla="*/ 806 w 10785"/>
                  <a:gd name="connsiteY2550" fmla="*/ 8744 h 10000"/>
                  <a:gd name="connsiteX2551" fmla="*/ 816 w 10785"/>
                  <a:gd name="connsiteY2551" fmla="*/ 8752 h 10000"/>
                  <a:gd name="connsiteX2552" fmla="*/ 806 w 10785"/>
                  <a:gd name="connsiteY2552" fmla="*/ 8778 h 10000"/>
                  <a:gd name="connsiteX2553" fmla="*/ 820 w 10785"/>
                  <a:gd name="connsiteY2553" fmla="*/ 8778 h 10000"/>
                  <a:gd name="connsiteX2554" fmla="*/ 806 w 10785"/>
                  <a:gd name="connsiteY2554" fmla="*/ 8880 h 10000"/>
                  <a:gd name="connsiteX2555" fmla="*/ 797 w 10785"/>
                  <a:gd name="connsiteY2555" fmla="*/ 8880 h 10000"/>
                  <a:gd name="connsiteX2556" fmla="*/ 783 w 10785"/>
                  <a:gd name="connsiteY2556" fmla="*/ 8872 h 10000"/>
                  <a:gd name="connsiteX2557" fmla="*/ 770 w 10785"/>
                  <a:gd name="connsiteY2557" fmla="*/ 8880 h 10000"/>
                  <a:gd name="connsiteX2558" fmla="*/ 756 w 10785"/>
                  <a:gd name="connsiteY2558" fmla="*/ 8855 h 10000"/>
                  <a:gd name="connsiteX2559" fmla="*/ 733 w 10785"/>
                  <a:gd name="connsiteY2559" fmla="*/ 8906 h 10000"/>
                  <a:gd name="connsiteX2560" fmla="*/ 714 w 10785"/>
                  <a:gd name="connsiteY2560" fmla="*/ 8915 h 10000"/>
                  <a:gd name="connsiteX2561" fmla="*/ 710 w 10785"/>
                  <a:gd name="connsiteY2561" fmla="*/ 8940 h 10000"/>
                  <a:gd name="connsiteX2562" fmla="*/ 710 w 10785"/>
                  <a:gd name="connsiteY2562" fmla="*/ 9009 h 10000"/>
                  <a:gd name="connsiteX2563" fmla="*/ 728 w 10785"/>
                  <a:gd name="connsiteY2563" fmla="*/ 8991 h 10000"/>
                  <a:gd name="connsiteX2564" fmla="*/ 733 w 10785"/>
                  <a:gd name="connsiteY2564" fmla="*/ 8991 h 10000"/>
                  <a:gd name="connsiteX2565" fmla="*/ 747 w 10785"/>
                  <a:gd name="connsiteY2565" fmla="*/ 8983 h 10000"/>
                  <a:gd name="connsiteX2566" fmla="*/ 760 w 10785"/>
                  <a:gd name="connsiteY2566" fmla="*/ 8983 h 10000"/>
                  <a:gd name="connsiteX2567" fmla="*/ 770 w 10785"/>
                  <a:gd name="connsiteY2567" fmla="*/ 8983 h 10000"/>
                  <a:gd name="connsiteX2568" fmla="*/ 770 w 10785"/>
                  <a:gd name="connsiteY2568" fmla="*/ 8991 h 10000"/>
                  <a:gd name="connsiteX2569" fmla="*/ 783 w 10785"/>
                  <a:gd name="connsiteY2569" fmla="*/ 8991 h 10000"/>
                  <a:gd name="connsiteX2570" fmla="*/ 783 w 10785"/>
                  <a:gd name="connsiteY2570" fmla="*/ 9009 h 10000"/>
                  <a:gd name="connsiteX2571" fmla="*/ 783 w 10785"/>
                  <a:gd name="connsiteY2571" fmla="*/ 9017 h 10000"/>
                  <a:gd name="connsiteX2572" fmla="*/ 770 w 10785"/>
                  <a:gd name="connsiteY2572" fmla="*/ 9017 h 10000"/>
                  <a:gd name="connsiteX2573" fmla="*/ 724 w 10785"/>
                  <a:gd name="connsiteY2573" fmla="*/ 9051 h 10000"/>
                  <a:gd name="connsiteX2574" fmla="*/ 724 w 10785"/>
                  <a:gd name="connsiteY2574" fmla="*/ 9068 h 10000"/>
                  <a:gd name="connsiteX2575" fmla="*/ 728 w 10785"/>
                  <a:gd name="connsiteY2575" fmla="*/ 9077 h 10000"/>
                  <a:gd name="connsiteX2576" fmla="*/ 724 w 10785"/>
                  <a:gd name="connsiteY2576" fmla="*/ 9077 h 10000"/>
                  <a:gd name="connsiteX2577" fmla="*/ 710 w 10785"/>
                  <a:gd name="connsiteY2577" fmla="*/ 9077 h 10000"/>
                  <a:gd name="connsiteX2578" fmla="*/ 682 w 10785"/>
                  <a:gd name="connsiteY2578" fmla="*/ 9077 h 10000"/>
                  <a:gd name="connsiteX2579" fmla="*/ 673 w 10785"/>
                  <a:gd name="connsiteY2579" fmla="*/ 9103 h 10000"/>
                  <a:gd name="connsiteX2580" fmla="*/ 687 w 10785"/>
                  <a:gd name="connsiteY2580" fmla="*/ 9128 h 10000"/>
                  <a:gd name="connsiteX2581" fmla="*/ 700 w 10785"/>
                  <a:gd name="connsiteY2581" fmla="*/ 9128 h 10000"/>
                  <a:gd name="connsiteX2582" fmla="*/ 728 w 10785"/>
                  <a:gd name="connsiteY2582" fmla="*/ 9179 h 10000"/>
                  <a:gd name="connsiteX2583" fmla="*/ 724 w 10785"/>
                  <a:gd name="connsiteY2583" fmla="*/ 9188 h 10000"/>
                  <a:gd name="connsiteX2584" fmla="*/ 710 w 10785"/>
                  <a:gd name="connsiteY2584" fmla="*/ 9179 h 10000"/>
                  <a:gd name="connsiteX2585" fmla="*/ 700 w 10785"/>
                  <a:gd name="connsiteY2585" fmla="*/ 9205 h 10000"/>
                  <a:gd name="connsiteX2586" fmla="*/ 696 w 10785"/>
                  <a:gd name="connsiteY2586" fmla="*/ 9205 h 10000"/>
                  <a:gd name="connsiteX2587" fmla="*/ 654 w 10785"/>
                  <a:gd name="connsiteY2587" fmla="*/ 9299 h 10000"/>
                  <a:gd name="connsiteX2588" fmla="*/ 622 w 10785"/>
                  <a:gd name="connsiteY2588" fmla="*/ 9299 h 10000"/>
                  <a:gd name="connsiteX2589" fmla="*/ 613 w 10785"/>
                  <a:gd name="connsiteY2589" fmla="*/ 9316 h 10000"/>
                  <a:gd name="connsiteX2590" fmla="*/ 613 w 10785"/>
                  <a:gd name="connsiteY2590" fmla="*/ 9325 h 10000"/>
                  <a:gd name="connsiteX2591" fmla="*/ 608 w 10785"/>
                  <a:gd name="connsiteY2591" fmla="*/ 9342 h 10000"/>
                  <a:gd name="connsiteX2592" fmla="*/ 636 w 10785"/>
                  <a:gd name="connsiteY2592" fmla="*/ 9376 h 10000"/>
                  <a:gd name="connsiteX2593" fmla="*/ 641 w 10785"/>
                  <a:gd name="connsiteY2593" fmla="*/ 9402 h 10000"/>
                  <a:gd name="connsiteX2594" fmla="*/ 654 w 10785"/>
                  <a:gd name="connsiteY2594" fmla="*/ 9427 h 10000"/>
                  <a:gd name="connsiteX2595" fmla="*/ 668 w 10785"/>
                  <a:gd name="connsiteY2595" fmla="*/ 9427 h 10000"/>
                  <a:gd name="connsiteX2596" fmla="*/ 668 w 10785"/>
                  <a:gd name="connsiteY2596" fmla="*/ 9427 h 10000"/>
                  <a:gd name="connsiteX2597" fmla="*/ 774 w 10785"/>
                  <a:gd name="connsiteY2597" fmla="*/ 9547 h 10000"/>
                  <a:gd name="connsiteX2598" fmla="*/ 797 w 10785"/>
                  <a:gd name="connsiteY2598" fmla="*/ 9598 h 10000"/>
                  <a:gd name="connsiteX2599" fmla="*/ 802 w 10785"/>
                  <a:gd name="connsiteY2599" fmla="*/ 9598 h 10000"/>
                  <a:gd name="connsiteX2600" fmla="*/ 816 w 10785"/>
                  <a:gd name="connsiteY2600" fmla="*/ 9624 h 10000"/>
                  <a:gd name="connsiteX2601" fmla="*/ 843 w 10785"/>
                  <a:gd name="connsiteY2601" fmla="*/ 9615 h 10000"/>
                  <a:gd name="connsiteX2602" fmla="*/ 857 w 10785"/>
                  <a:gd name="connsiteY2602" fmla="*/ 9624 h 10000"/>
                  <a:gd name="connsiteX2603" fmla="*/ 862 w 10785"/>
                  <a:gd name="connsiteY2603" fmla="*/ 9615 h 10000"/>
                  <a:gd name="connsiteX2604" fmla="*/ 880 w 10785"/>
                  <a:gd name="connsiteY2604" fmla="*/ 9624 h 10000"/>
                  <a:gd name="connsiteX2605" fmla="*/ 889 w 10785"/>
                  <a:gd name="connsiteY2605" fmla="*/ 9641 h 10000"/>
                  <a:gd name="connsiteX2606" fmla="*/ 935 w 10785"/>
                  <a:gd name="connsiteY2606" fmla="*/ 9675 h 10000"/>
                  <a:gd name="connsiteX2607" fmla="*/ 977 w 10785"/>
                  <a:gd name="connsiteY2607" fmla="*/ 9667 h 10000"/>
                  <a:gd name="connsiteX2608" fmla="*/ 995 w 10785"/>
                  <a:gd name="connsiteY2608" fmla="*/ 9675 h 10000"/>
                  <a:gd name="connsiteX2609" fmla="*/ 1014 w 10785"/>
                  <a:gd name="connsiteY2609" fmla="*/ 9675 h 10000"/>
                  <a:gd name="connsiteX2610" fmla="*/ 1069 w 10785"/>
                  <a:gd name="connsiteY2610" fmla="*/ 9752 h 10000"/>
                  <a:gd name="connsiteX2611" fmla="*/ 1074 w 10785"/>
                  <a:gd name="connsiteY2611" fmla="*/ 9761 h 10000"/>
                  <a:gd name="connsiteX2612" fmla="*/ 1083 w 10785"/>
                  <a:gd name="connsiteY2612" fmla="*/ 9778 h 10000"/>
                  <a:gd name="connsiteX2613" fmla="*/ 1115 w 10785"/>
                  <a:gd name="connsiteY2613" fmla="*/ 9752 h 10000"/>
                  <a:gd name="connsiteX2614" fmla="*/ 1129 w 10785"/>
                  <a:gd name="connsiteY2614" fmla="*/ 9752 h 10000"/>
                  <a:gd name="connsiteX2615" fmla="*/ 1138 w 10785"/>
                  <a:gd name="connsiteY2615" fmla="*/ 9761 h 10000"/>
                  <a:gd name="connsiteX2616" fmla="*/ 1143 w 10785"/>
                  <a:gd name="connsiteY2616" fmla="*/ 9752 h 10000"/>
                  <a:gd name="connsiteX2617" fmla="*/ 1161 w 10785"/>
                  <a:gd name="connsiteY2617" fmla="*/ 9761 h 10000"/>
                  <a:gd name="connsiteX2618" fmla="*/ 1171 w 10785"/>
                  <a:gd name="connsiteY2618" fmla="*/ 9778 h 10000"/>
                  <a:gd name="connsiteX2619" fmla="*/ 1175 w 10785"/>
                  <a:gd name="connsiteY2619" fmla="*/ 9778 h 10000"/>
                  <a:gd name="connsiteX2620" fmla="*/ 1189 w 10785"/>
                  <a:gd name="connsiteY2620" fmla="*/ 9778 h 10000"/>
                  <a:gd name="connsiteX2621" fmla="*/ 1198 w 10785"/>
                  <a:gd name="connsiteY2621" fmla="*/ 9786 h 10000"/>
                  <a:gd name="connsiteX2622" fmla="*/ 1203 w 10785"/>
                  <a:gd name="connsiteY2622" fmla="*/ 9803 h 10000"/>
                  <a:gd name="connsiteX2623" fmla="*/ 1198 w 10785"/>
                  <a:gd name="connsiteY2623" fmla="*/ 9838 h 10000"/>
                  <a:gd name="connsiteX2624" fmla="*/ 1212 w 10785"/>
                  <a:gd name="connsiteY2624" fmla="*/ 9863 h 10000"/>
                  <a:gd name="connsiteX2625" fmla="*/ 1230 w 10785"/>
                  <a:gd name="connsiteY2625" fmla="*/ 9872 h 10000"/>
                  <a:gd name="connsiteX2626" fmla="*/ 1249 w 10785"/>
                  <a:gd name="connsiteY2626" fmla="*/ 9897 h 10000"/>
                  <a:gd name="connsiteX2627" fmla="*/ 1263 w 10785"/>
                  <a:gd name="connsiteY2627" fmla="*/ 9897 h 10000"/>
                  <a:gd name="connsiteX2628" fmla="*/ 1276 w 10785"/>
                  <a:gd name="connsiteY2628" fmla="*/ 9923 h 10000"/>
                  <a:gd name="connsiteX2629" fmla="*/ 1281 w 10785"/>
                  <a:gd name="connsiteY2629" fmla="*/ 9949 h 10000"/>
                  <a:gd name="connsiteX2630" fmla="*/ 1290 w 10785"/>
                  <a:gd name="connsiteY2630" fmla="*/ 9949 h 10000"/>
                  <a:gd name="connsiteX2631" fmla="*/ 1295 w 10785"/>
                  <a:gd name="connsiteY2631" fmla="*/ 10000 h 10000"/>
                  <a:gd name="connsiteX2632" fmla="*/ 1332 w 10785"/>
                  <a:gd name="connsiteY2632" fmla="*/ 10000 h 10000"/>
                  <a:gd name="connsiteX2633" fmla="*/ 1336 w 10785"/>
                  <a:gd name="connsiteY2633" fmla="*/ 10000 h 10000"/>
                  <a:gd name="connsiteX2634" fmla="*/ 1346 w 10785"/>
                  <a:gd name="connsiteY2634" fmla="*/ 9983 h 10000"/>
                  <a:gd name="connsiteX2635" fmla="*/ 1350 w 10785"/>
                  <a:gd name="connsiteY2635" fmla="*/ 9949 h 10000"/>
                  <a:gd name="connsiteX2636" fmla="*/ 1369 w 10785"/>
                  <a:gd name="connsiteY2636" fmla="*/ 9940 h 10000"/>
                  <a:gd name="connsiteX2637" fmla="*/ 1378 w 10785"/>
                  <a:gd name="connsiteY2637" fmla="*/ 9897 h 10000"/>
                  <a:gd name="connsiteX2638" fmla="*/ 1369 w 10785"/>
                  <a:gd name="connsiteY2638" fmla="*/ 9889 h 10000"/>
                  <a:gd name="connsiteX2639" fmla="*/ 1318 w 10785"/>
                  <a:gd name="connsiteY2639" fmla="*/ 9701 h 10000"/>
                  <a:gd name="connsiteX2640" fmla="*/ 1318 w 10785"/>
                  <a:gd name="connsiteY2640" fmla="*/ 9650 h 10000"/>
                  <a:gd name="connsiteX2641" fmla="*/ 1323 w 10785"/>
                  <a:gd name="connsiteY2641" fmla="*/ 9590 h 10000"/>
                  <a:gd name="connsiteX2642" fmla="*/ 1323 w 10785"/>
                  <a:gd name="connsiteY2642" fmla="*/ 9564 h 10000"/>
                  <a:gd name="connsiteX2643" fmla="*/ 1309 w 10785"/>
                  <a:gd name="connsiteY2643" fmla="*/ 9598 h 10000"/>
                  <a:gd name="connsiteX2644" fmla="*/ 1309 w 10785"/>
                  <a:gd name="connsiteY2644" fmla="*/ 9590 h 10000"/>
                  <a:gd name="connsiteX2645" fmla="*/ 1304 w 10785"/>
                  <a:gd name="connsiteY2645" fmla="*/ 9547 h 10000"/>
                  <a:gd name="connsiteX2646" fmla="*/ 1276 w 10785"/>
                  <a:gd name="connsiteY2646" fmla="*/ 9479 h 10000"/>
                  <a:gd name="connsiteX2647" fmla="*/ 1263 w 10785"/>
                  <a:gd name="connsiteY2647" fmla="*/ 9479 h 10000"/>
                  <a:gd name="connsiteX2648" fmla="*/ 1263 w 10785"/>
                  <a:gd name="connsiteY2648" fmla="*/ 9453 h 10000"/>
                  <a:gd name="connsiteX2649" fmla="*/ 1272 w 10785"/>
                  <a:gd name="connsiteY2649" fmla="*/ 9410 h 10000"/>
                  <a:gd name="connsiteX2650" fmla="*/ 1272 w 10785"/>
                  <a:gd name="connsiteY2650" fmla="*/ 9393 h 10000"/>
                  <a:gd name="connsiteX2651" fmla="*/ 1281 w 10785"/>
                  <a:gd name="connsiteY2651" fmla="*/ 9368 h 10000"/>
                  <a:gd name="connsiteX2652" fmla="*/ 1281 w 10785"/>
                  <a:gd name="connsiteY2652" fmla="*/ 9368 h 10000"/>
                  <a:gd name="connsiteX2653" fmla="*/ 1290 w 10785"/>
                  <a:gd name="connsiteY2653" fmla="*/ 9368 h 10000"/>
                  <a:gd name="connsiteX2654" fmla="*/ 1290 w 10785"/>
                  <a:gd name="connsiteY2654" fmla="*/ 9342 h 10000"/>
                  <a:gd name="connsiteX2655" fmla="*/ 1304 w 10785"/>
                  <a:gd name="connsiteY2655" fmla="*/ 9325 h 10000"/>
                  <a:gd name="connsiteX2656" fmla="*/ 1309 w 10785"/>
                  <a:gd name="connsiteY2656" fmla="*/ 9239 h 10000"/>
                  <a:gd name="connsiteX2657" fmla="*/ 1318 w 10785"/>
                  <a:gd name="connsiteY2657" fmla="*/ 9256 h 10000"/>
                  <a:gd name="connsiteX2658" fmla="*/ 1323 w 10785"/>
                  <a:gd name="connsiteY2658" fmla="*/ 9179 h 10000"/>
                  <a:gd name="connsiteX2659" fmla="*/ 1309 w 10785"/>
                  <a:gd name="connsiteY2659" fmla="*/ 9145 h 10000"/>
                  <a:gd name="connsiteX2660" fmla="*/ 1336 w 10785"/>
                  <a:gd name="connsiteY2660" fmla="*/ 9154 h 10000"/>
                  <a:gd name="connsiteX2661" fmla="*/ 1336 w 10785"/>
                  <a:gd name="connsiteY2661" fmla="*/ 9162 h 10000"/>
                  <a:gd name="connsiteX2662" fmla="*/ 1350 w 10785"/>
                  <a:gd name="connsiteY2662" fmla="*/ 9231 h 10000"/>
                  <a:gd name="connsiteX2663" fmla="*/ 1355 w 10785"/>
                  <a:gd name="connsiteY2663" fmla="*/ 9231 h 10000"/>
                  <a:gd name="connsiteX2664" fmla="*/ 1364 w 10785"/>
                  <a:gd name="connsiteY2664" fmla="*/ 9214 h 10000"/>
                  <a:gd name="connsiteX2665" fmla="*/ 1369 w 10785"/>
                  <a:gd name="connsiteY2665" fmla="*/ 9214 h 10000"/>
                  <a:gd name="connsiteX2666" fmla="*/ 1382 w 10785"/>
                  <a:gd name="connsiteY2666" fmla="*/ 9154 h 10000"/>
                  <a:gd name="connsiteX2667" fmla="*/ 1396 w 10785"/>
                  <a:gd name="connsiteY2667" fmla="*/ 9154 h 10000"/>
                  <a:gd name="connsiteX2668" fmla="*/ 1382 w 10785"/>
                  <a:gd name="connsiteY2668" fmla="*/ 9145 h 10000"/>
                  <a:gd name="connsiteX2669" fmla="*/ 1382 w 10785"/>
                  <a:gd name="connsiteY2669" fmla="*/ 9128 h 10000"/>
                  <a:gd name="connsiteX2670" fmla="*/ 1369 w 10785"/>
                  <a:gd name="connsiteY2670" fmla="*/ 9128 h 10000"/>
                  <a:gd name="connsiteX2671" fmla="*/ 1364 w 10785"/>
                  <a:gd name="connsiteY2671" fmla="*/ 9128 h 10000"/>
                  <a:gd name="connsiteX2672" fmla="*/ 1355 w 10785"/>
                  <a:gd name="connsiteY2672" fmla="*/ 9120 h 10000"/>
                  <a:gd name="connsiteX2673" fmla="*/ 1350 w 10785"/>
                  <a:gd name="connsiteY2673" fmla="*/ 9103 h 10000"/>
                  <a:gd name="connsiteX2674" fmla="*/ 1355 w 10785"/>
                  <a:gd name="connsiteY2674" fmla="*/ 9094 h 10000"/>
                  <a:gd name="connsiteX2675" fmla="*/ 1355 w 10785"/>
                  <a:gd name="connsiteY2675" fmla="*/ 9068 h 10000"/>
                  <a:gd name="connsiteX2676" fmla="*/ 1369 w 10785"/>
                  <a:gd name="connsiteY2676" fmla="*/ 9068 h 10000"/>
                  <a:gd name="connsiteX2677" fmla="*/ 1378 w 10785"/>
                  <a:gd name="connsiteY2677" fmla="*/ 9077 h 10000"/>
                  <a:gd name="connsiteX2678" fmla="*/ 1396 w 10785"/>
                  <a:gd name="connsiteY2678" fmla="*/ 9068 h 10000"/>
                  <a:gd name="connsiteX2679" fmla="*/ 1382 w 10785"/>
                  <a:gd name="connsiteY2679" fmla="*/ 8940 h 10000"/>
                  <a:gd name="connsiteX2680" fmla="*/ 1378 w 10785"/>
                  <a:gd name="connsiteY2680" fmla="*/ 8940 h 10000"/>
                  <a:gd name="connsiteX2681" fmla="*/ 1364 w 10785"/>
                  <a:gd name="connsiteY2681" fmla="*/ 8889 h 10000"/>
                  <a:gd name="connsiteX2682" fmla="*/ 1355 w 10785"/>
                  <a:gd name="connsiteY2682" fmla="*/ 8880 h 10000"/>
                  <a:gd name="connsiteX2683" fmla="*/ 1323 w 10785"/>
                  <a:gd name="connsiteY2683" fmla="*/ 8880 h 10000"/>
                  <a:gd name="connsiteX2684" fmla="*/ 1309 w 10785"/>
                  <a:gd name="connsiteY2684" fmla="*/ 8880 h 10000"/>
                  <a:gd name="connsiteX2685" fmla="*/ 1309 w 10785"/>
                  <a:gd name="connsiteY2685" fmla="*/ 8889 h 10000"/>
                  <a:gd name="connsiteX2686" fmla="*/ 1295 w 10785"/>
                  <a:gd name="connsiteY2686" fmla="*/ 8872 h 10000"/>
                  <a:gd name="connsiteX2687" fmla="*/ 1290 w 10785"/>
                  <a:gd name="connsiteY2687" fmla="*/ 8855 h 10000"/>
                  <a:gd name="connsiteX2688" fmla="*/ 1290 w 10785"/>
                  <a:gd name="connsiteY2688" fmla="*/ 8829 h 10000"/>
                  <a:gd name="connsiteX2689" fmla="*/ 1290 w 10785"/>
                  <a:gd name="connsiteY2689" fmla="*/ 8821 h 10000"/>
                  <a:gd name="connsiteX2690" fmla="*/ 1290 w 10785"/>
                  <a:gd name="connsiteY2690" fmla="*/ 8803 h 10000"/>
                  <a:gd name="connsiteX2691" fmla="*/ 1281 w 10785"/>
                  <a:gd name="connsiteY2691" fmla="*/ 8795 h 10000"/>
                  <a:gd name="connsiteX2692" fmla="*/ 1249 w 10785"/>
                  <a:gd name="connsiteY2692" fmla="*/ 8769 h 10000"/>
                  <a:gd name="connsiteX2693" fmla="*/ 1263 w 10785"/>
                  <a:gd name="connsiteY2693" fmla="*/ 8667 h 10000"/>
                  <a:gd name="connsiteX2694" fmla="*/ 1281 w 10785"/>
                  <a:gd name="connsiteY2694" fmla="*/ 8658 h 10000"/>
                  <a:gd name="connsiteX2695" fmla="*/ 1290 w 10785"/>
                  <a:gd name="connsiteY2695" fmla="*/ 8632 h 10000"/>
                  <a:gd name="connsiteX2696" fmla="*/ 1281 w 10785"/>
                  <a:gd name="connsiteY2696" fmla="*/ 8615 h 10000"/>
                  <a:gd name="connsiteX2697" fmla="*/ 1272 w 10785"/>
                  <a:gd name="connsiteY2697" fmla="*/ 8598 h 10000"/>
                  <a:gd name="connsiteX2698" fmla="*/ 1281 w 10785"/>
                  <a:gd name="connsiteY2698" fmla="*/ 8496 h 10000"/>
                  <a:gd name="connsiteX2699" fmla="*/ 1295 w 10785"/>
                  <a:gd name="connsiteY2699" fmla="*/ 8470 h 10000"/>
                  <a:gd name="connsiteX2700" fmla="*/ 1304 w 10785"/>
                  <a:gd name="connsiteY2700" fmla="*/ 8462 h 10000"/>
                  <a:gd name="connsiteX2701" fmla="*/ 1304 w 10785"/>
                  <a:gd name="connsiteY2701" fmla="*/ 8444 h 10000"/>
                  <a:gd name="connsiteX2702" fmla="*/ 1304 w 10785"/>
                  <a:gd name="connsiteY2702" fmla="*/ 8419 h 10000"/>
                  <a:gd name="connsiteX2703" fmla="*/ 1304 w 10785"/>
                  <a:gd name="connsiteY2703" fmla="*/ 8410 h 10000"/>
                  <a:gd name="connsiteX2704" fmla="*/ 1309 w 10785"/>
                  <a:gd name="connsiteY2704" fmla="*/ 8393 h 10000"/>
                  <a:gd name="connsiteX2705" fmla="*/ 1318 w 10785"/>
                  <a:gd name="connsiteY2705" fmla="*/ 8385 h 10000"/>
                  <a:gd name="connsiteX2706" fmla="*/ 1323 w 10785"/>
                  <a:gd name="connsiteY2706" fmla="*/ 8385 h 10000"/>
                  <a:gd name="connsiteX2707" fmla="*/ 1332 w 10785"/>
                  <a:gd name="connsiteY2707" fmla="*/ 8410 h 10000"/>
                  <a:gd name="connsiteX2708" fmla="*/ 1346 w 10785"/>
                  <a:gd name="connsiteY2708" fmla="*/ 8419 h 10000"/>
                  <a:gd name="connsiteX2709" fmla="*/ 1364 w 10785"/>
                  <a:gd name="connsiteY2709" fmla="*/ 8504 h 10000"/>
                  <a:gd name="connsiteX2710" fmla="*/ 1369 w 10785"/>
                  <a:gd name="connsiteY2710" fmla="*/ 8521 h 10000"/>
                  <a:gd name="connsiteX2711" fmla="*/ 1406 w 10785"/>
                  <a:gd name="connsiteY2711" fmla="*/ 8470 h 10000"/>
                  <a:gd name="connsiteX2712" fmla="*/ 1382 w 10785"/>
                  <a:gd name="connsiteY2712" fmla="*/ 8359 h 10000"/>
                  <a:gd name="connsiteX2713" fmla="*/ 1392 w 10785"/>
                  <a:gd name="connsiteY2713" fmla="*/ 8359 h 10000"/>
                  <a:gd name="connsiteX2714" fmla="*/ 1438 w 10785"/>
                  <a:gd name="connsiteY2714" fmla="*/ 8308 h 10000"/>
                  <a:gd name="connsiteX2715" fmla="*/ 1442 w 10785"/>
                  <a:gd name="connsiteY2715" fmla="*/ 8299 h 10000"/>
                  <a:gd name="connsiteX2716" fmla="*/ 1442 w 10785"/>
                  <a:gd name="connsiteY2716" fmla="*/ 8256 h 10000"/>
                  <a:gd name="connsiteX2717" fmla="*/ 1452 w 10785"/>
                  <a:gd name="connsiteY2717" fmla="*/ 8256 h 10000"/>
                  <a:gd name="connsiteX2718" fmla="*/ 1456 w 10785"/>
                  <a:gd name="connsiteY2718" fmla="*/ 8256 h 10000"/>
                  <a:gd name="connsiteX2719" fmla="*/ 1470 w 10785"/>
                  <a:gd name="connsiteY2719" fmla="*/ 8248 h 10000"/>
                  <a:gd name="connsiteX2720" fmla="*/ 1479 w 10785"/>
                  <a:gd name="connsiteY2720" fmla="*/ 8231 h 10000"/>
                  <a:gd name="connsiteX2721" fmla="*/ 1493 w 10785"/>
                  <a:gd name="connsiteY2721" fmla="*/ 8222 h 10000"/>
                  <a:gd name="connsiteX2722" fmla="*/ 1498 w 10785"/>
                  <a:gd name="connsiteY2722" fmla="*/ 8214 h 10000"/>
                  <a:gd name="connsiteX2723" fmla="*/ 1502 w 10785"/>
                  <a:gd name="connsiteY2723" fmla="*/ 8197 h 10000"/>
                  <a:gd name="connsiteX2724" fmla="*/ 1512 w 10785"/>
                  <a:gd name="connsiteY2724" fmla="*/ 8188 h 10000"/>
                  <a:gd name="connsiteX2725" fmla="*/ 1516 w 10785"/>
                  <a:gd name="connsiteY2725" fmla="*/ 8171 h 10000"/>
                  <a:gd name="connsiteX2726" fmla="*/ 1525 w 10785"/>
                  <a:gd name="connsiteY2726" fmla="*/ 8162 h 10000"/>
                  <a:gd name="connsiteX2727" fmla="*/ 1539 w 10785"/>
                  <a:gd name="connsiteY2727" fmla="*/ 8145 h 10000"/>
                  <a:gd name="connsiteX2728" fmla="*/ 1558 w 10785"/>
                  <a:gd name="connsiteY2728" fmla="*/ 8145 h 10000"/>
                  <a:gd name="connsiteX2729" fmla="*/ 1562 w 10785"/>
                  <a:gd name="connsiteY2729" fmla="*/ 8188 h 10000"/>
                  <a:gd name="connsiteX2730" fmla="*/ 1585 w 10785"/>
                  <a:gd name="connsiteY2730" fmla="*/ 8171 h 10000"/>
                  <a:gd name="connsiteX2731" fmla="*/ 1590 w 10785"/>
                  <a:gd name="connsiteY2731" fmla="*/ 8188 h 10000"/>
                  <a:gd name="connsiteX2732" fmla="*/ 1599 w 10785"/>
                  <a:gd name="connsiteY2732" fmla="*/ 8171 h 10000"/>
                  <a:gd name="connsiteX2733" fmla="*/ 1599 w 10785"/>
                  <a:gd name="connsiteY2733" fmla="*/ 8162 h 10000"/>
                  <a:gd name="connsiteX2734" fmla="*/ 1604 w 10785"/>
                  <a:gd name="connsiteY2734" fmla="*/ 8137 h 10000"/>
                  <a:gd name="connsiteX2735" fmla="*/ 1618 w 10785"/>
                  <a:gd name="connsiteY2735" fmla="*/ 8145 h 10000"/>
                  <a:gd name="connsiteX2736" fmla="*/ 1627 w 10785"/>
                  <a:gd name="connsiteY2736" fmla="*/ 8137 h 10000"/>
                  <a:gd name="connsiteX2737" fmla="*/ 1631 w 10785"/>
                  <a:gd name="connsiteY2737" fmla="*/ 8137 h 10000"/>
                  <a:gd name="connsiteX2738" fmla="*/ 1636 w 10785"/>
                  <a:gd name="connsiteY2738" fmla="*/ 8171 h 10000"/>
                  <a:gd name="connsiteX2739" fmla="*/ 1645 w 10785"/>
                  <a:gd name="connsiteY2739" fmla="*/ 8188 h 10000"/>
                  <a:gd name="connsiteX2740" fmla="*/ 1664 w 10785"/>
                  <a:gd name="connsiteY2740" fmla="*/ 8171 h 10000"/>
                  <a:gd name="connsiteX2741" fmla="*/ 1673 w 10785"/>
                  <a:gd name="connsiteY2741" fmla="*/ 8188 h 10000"/>
                  <a:gd name="connsiteX2742" fmla="*/ 1691 w 10785"/>
                  <a:gd name="connsiteY2742" fmla="*/ 8171 h 10000"/>
                  <a:gd name="connsiteX2743" fmla="*/ 1705 w 10785"/>
                  <a:gd name="connsiteY2743" fmla="*/ 8171 h 10000"/>
                  <a:gd name="connsiteX2744" fmla="*/ 1719 w 10785"/>
                  <a:gd name="connsiteY2744" fmla="*/ 8197 h 10000"/>
                  <a:gd name="connsiteX2745" fmla="*/ 1724 w 10785"/>
                  <a:gd name="connsiteY2745" fmla="*/ 8231 h 10000"/>
                  <a:gd name="connsiteX2746" fmla="*/ 1751 w 10785"/>
                  <a:gd name="connsiteY2746" fmla="*/ 8256 h 10000"/>
                  <a:gd name="connsiteX2747" fmla="*/ 1751 w 10785"/>
                  <a:gd name="connsiteY2747" fmla="*/ 8274 h 10000"/>
                  <a:gd name="connsiteX2748" fmla="*/ 1760 w 10785"/>
                  <a:gd name="connsiteY2748" fmla="*/ 8282 h 10000"/>
                  <a:gd name="connsiteX2749" fmla="*/ 1770 w 10785"/>
                  <a:gd name="connsiteY2749" fmla="*/ 8325 h 10000"/>
                  <a:gd name="connsiteX2750" fmla="*/ 1770 w 10785"/>
                  <a:gd name="connsiteY2750" fmla="*/ 8350 h 10000"/>
                  <a:gd name="connsiteX2751" fmla="*/ 1779 w 10785"/>
                  <a:gd name="connsiteY2751" fmla="*/ 8368 h 10000"/>
                  <a:gd name="connsiteX2752" fmla="*/ 1783 w 10785"/>
                  <a:gd name="connsiteY2752" fmla="*/ 8359 h 10000"/>
                  <a:gd name="connsiteX2753" fmla="*/ 1783 w 10785"/>
                  <a:gd name="connsiteY2753" fmla="*/ 8308 h 10000"/>
                  <a:gd name="connsiteX2754" fmla="*/ 1779 w 10785"/>
                  <a:gd name="connsiteY2754" fmla="*/ 8299 h 10000"/>
                  <a:gd name="connsiteX2755" fmla="*/ 1783 w 10785"/>
                  <a:gd name="connsiteY2755" fmla="*/ 8282 h 10000"/>
                  <a:gd name="connsiteX2756" fmla="*/ 1797 w 10785"/>
                  <a:gd name="connsiteY2756" fmla="*/ 8274 h 10000"/>
                  <a:gd name="connsiteX2757" fmla="*/ 1797 w 10785"/>
                  <a:gd name="connsiteY2757" fmla="*/ 8299 h 10000"/>
                  <a:gd name="connsiteX2758" fmla="*/ 1806 w 10785"/>
                  <a:gd name="connsiteY2758" fmla="*/ 8308 h 10000"/>
                  <a:gd name="connsiteX2759" fmla="*/ 1811 w 10785"/>
                  <a:gd name="connsiteY2759" fmla="*/ 8325 h 10000"/>
                  <a:gd name="connsiteX2760" fmla="*/ 1820 w 10785"/>
                  <a:gd name="connsiteY2760" fmla="*/ 8333 h 10000"/>
                  <a:gd name="connsiteX2761" fmla="*/ 1853 w 10785"/>
                  <a:gd name="connsiteY2761" fmla="*/ 8359 h 10000"/>
                  <a:gd name="connsiteX2762" fmla="*/ 1866 w 10785"/>
                  <a:gd name="connsiteY2762" fmla="*/ 8359 h 10000"/>
                  <a:gd name="connsiteX2763" fmla="*/ 1885 w 10785"/>
                  <a:gd name="connsiteY2763" fmla="*/ 8325 h 10000"/>
                  <a:gd name="connsiteX2764" fmla="*/ 1885 w 10785"/>
                  <a:gd name="connsiteY2764" fmla="*/ 8308 h 10000"/>
                  <a:gd name="connsiteX2765" fmla="*/ 1894 w 10785"/>
                  <a:gd name="connsiteY2765" fmla="*/ 8299 h 10000"/>
                  <a:gd name="connsiteX2766" fmla="*/ 1899 w 10785"/>
                  <a:gd name="connsiteY2766" fmla="*/ 8282 h 10000"/>
                  <a:gd name="connsiteX2767" fmla="*/ 1912 w 10785"/>
                  <a:gd name="connsiteY2767" fmla="*/ 8282 h 10000"/>
                  <a:gd name="connsiteX2768" fmla="*/ 1917 w 10785"/>
                  <a:gd name="connsiteY2768" fmla="*/ 8299 h 10000"/>
                  <a:gd name="connsiteX2769" fmla="*/ 1917 w 10785"/>
                  <a:gd name="connsiteY2769" fmla="*/ 8274 h 10000"/>
                  <a:gd name="connsiteX2770" fmla="*/ 1940 w 10785"/>
                  <a:gd name="connsiteY2770" fmla="*/ 8282 h 10000"/>
                  <a:gd name="connsiteX2771" fmla="*/ 1945 w 10785"/>
                  <a:gd name="connsiteY2771" fmla="*/ 8274 h 10000"/>
                  <a:gd name="connsiteX2772" fmla="*/ 1972 w 10785"/>
                  <a:gd name="connsiteY2772" fmla="*/ 8308 h 10000"/>
                  <a:gd name="connsiteX2773" fmla="*/ 1986 w 10785"/>
                  <a:gd name="connsiteY2773" fmla="*/ 8282 h 10000"/>
                  <a:gd name="connsiteX2774" fmla="*/ 1991 w 10785"/>
                  <a:gd name="connsiteY2774" fmla="*/ 8274 h 10000"/>
                  <a:gd name="connsiteX2775" fmla="*/ 2014 w 10785"/>
                  <a:gd name="connsiteY2775" fmla="*/ 8274 h 10000"/>
                  <a:gd name="connsiteX2776" fmla="*/ 2018 w 10785"/>
                  <a:gd name="connsiteY2776" fmla="*/ 8256 h 10000"/>
                  <a:gd name="connsiteX2777" fmla="*/ 2041 w 10785"/>
                  <a:gd name="connsiteY2777" fmla="*/ 8274 h 10000"/>
                  <a:gd name="connsiteX2778" fmla="*/ 2046 w 10785"/>
                  <a:gd name="connsiteY2778" fmla="*/ 8282 h 10000"/>
                  <a:gd name="connsiteX2779" fmla="*/ 2046 w 10785"/>
                  <a:gd name="connsiteY2779" fmla="*/ 8325 h 10000"/>
                  <a:gd name="connsiteX2780" fmla="*/ 2060 w 10785"/>
                  <a:gd name="connsiteY2780" fmla="*/ 8350 h 10000"/>
                  <a:gd name="connsiteX2781" fmla="*/ 2078 w 10785"/>
                  <a:gd name="connsiteY2781" fmla="*/ 8350 h 10000"/>
                  <a:gd name="connsiteX2782" fmla="*/ 2092 w 10785"/>
                  <a:gd name="connsiteY2782" fmla="*/ 8350 h 10000"/>
                  <a:gd name="connsiteX2783" fmla="*/ 2092 w 10785"/>
                  <a:gd name="connsiteY2783" fmla="*/ 8350 h 10000"/>
                  <a:gd name="connsiteX2784" fmla="*/ 2101 w 10785"/>
                  <a:gd name="connsiteY2784" fmla="*/ 8368 h 10000"/>
                  <a:gd name="connsiteX2785" fmla="*/ 2120 w 10785"/>
                  <a:gd name="connsiteY2785" fmla="*/ 8368 h 10000"/>
                  <a:gd name="connsiteX2786" fmla="*/ 2124 w 10785"/>
                  <a:gd name="connsiteY2786" fmla="*/ 8359 h 10000"/>
                  <a:gd name="connsiteX2787" fmla="*/ 2138 w 10785"/>
                  <a:gd name="connsiteY2787" fmla="*/ 8325 h 10000"/>
                  <a:gd name="connsiteX2788" fmla="*/ 2147 w 10785"/>
                  <a:gd name="connsiteY2788" fmla="*/ 8325 h 10000"/>
                  <a:gd name="connsiteX2789" fmla="*/ 2161 w 10785"/>
                  <a:gd name="connsiteY2789" fmla="*/ 8350 h 10000"/>
                  <a:gd name="connsiteX2790" fmla="*/ 2198 w 10785"/>
                  <a:gd name="connsiteY2790" fmla="*/ 8350 h 10000"/>
                  <a:gd name="connsiteX2791" fmla="*/ 2207 w 10785"/>
                  <a:gd name="connsiteY2791" fmla="*/ 8333 h 10000"/>
                  <a:gd name="connsiteX2792" fmla="*/ 2226 w 10785"/>
                  <a:gd name="connsiteY2792" fmla="*/ 8325 h 10000"/>
                  <a:gd name="connsiteX2793" fmla="*/ 2249 w 10785"/>
                  <a:gd name="connsiteY2793" fmla="*/ 8222 h 10000"/>
                  <a:gd name="connsiteX2794" fmla="*/ 2235 w 10785"/>
                  <a:gd name="connsiteY2794" fmla="*/ 8197 h 10000"/>
                  <a:gd name="connsiteX2795" fmla="*/ 2198 w 10785"/>
                  <a:gd name="connsiteY2795" fmla="*/ 8197 h 10000"/>
                  <a:gd name="connsiteX2796" fmla="*/ 2189 w 10785"/>
                  <a:gd name="connsiteY2796" fmla="*/ 8171 h 10000"/>
                  <a:gd name="connsiteX2797" fmla="*/ 2161 w 10785"/>
                  <a:gd name="connsiteY2797" fmla="*/ 8145 h 10000"/>
                  <a:gd name="connsiteX2798" fmla="*/ 2161 w 10785"/>
                  <a:gd name="connsiteY2798" fmla="*/ 8137 h 10000"/>
                  <a:gd name="connsiteX2799" fmla="*/ 2152 w 10785"/>
                  <a:gd name="connsiteY2799" fmla="*/ 8120 h 10000"/>
                  <a:gd name="connsiteX2800" fmla="*/ 2138 w 10785"/>
                  <a:gd name="connsiteY2800" fmla="*/ 8111 h 10000"/>
                  <a:gd name="connsiteX2801" fmla="*/ 2138 w 10785"/>
                  <a:gd name="connsiteY2801" fmla="*/ 8094 h 10000"/>
                  <a:gd name="connsiteX2802" fmla="*/ 2147 w 10785"/>
                  <a:gd name="connsiteY2802" fmla="*/ 8085 h 10000"/>
                  <a:gd name="connsiteX2803" fmla="*/ 2161 w 10785"/>
                  <a:gd name="connsiteY2803" fmla="*/ 8060 h 10000"/>
                  <a:gd name="connsiteX2804" fmla="*/ 2198 w 10785"/>
                  <a:gd name="connsiteY2804" fmla="*/ 8034 h 10000"/>
                  <a:gd name="connsiteX2805" fmla="*/ 2198 w 10785"/>
                  <a:gd name="connsiteY2805" fmla="*/ 8026 h 10000"/>
                  <a:gd name="connsiteX2806" fmla="*/ 2198 w 10785"/>
                  <a:gd name="connsiteY2806" fmla="*/ 8000 h 10000"/>
                  <a:gd name="connsiteX2807" fmla="*/ 2180 w 10785"/>
                  <a:gd name="connsiteY2807" fmla="*/ 7940 h 10000"/>
                  <a:gd name="connsiteX2808" fmla="*/ 2189 w 10785"/>
                  <a:gd name="connsiteY2808" fmla="*/ 7940 h 10000"/>
                  <a:gd name="connsiteX2809" fmla="*/ 2198 w 10785"/>
                  <a:gd name="connsiteY2809" fmla="*/ 7923 h 10000"/>
                  <a:gd name="connsiteX2810" fmla="*/ 2198 w 10785"/>
                  <a:gd name="connsiteY2810" fmla="*/ 7897 h 10000"/>
                  <a:gd name="connsiteX2811" fmla="*/ 2207 w 10785"/>
                  <a:gd name="connsiteY2811" fmla="*/ 7889 h 10000"/>
                  <a:gd name="connsiteX2812" fmla="*/ 2221 w 10785"/>
                  <a:gd name="connsiteY2812" fmla="*/ 7889 h 10000"/>
                  <a:gd name="connsiteX2813" fmla="*/ 2226 w 10785"/>
                  <a:gd name="connsiteY2813" fmla="*/ 7897 h 10000"/>
                  <a:gd name="connsiteX2814" fmla="*/ 2235 w 10785"/>
                  <a:gd name="connsiteY2814" fmla="*/ 7889 h 10000"/>
                  <a:gd name="connsiteX2815" fmla="*/ 2249 w 10785"/>
                  <a:gd name="connsiteY2815" fmla="*/ 7897 h 10000"/>
                  <a:gd name="connsiteX2816" fmla="*/ 2267 w 10785"/>
                  <a:gd name="connsiteY2816" fmla="*/ 7897 h 10000"/>
                  <a:gd name="connsiteX2817" fmla="*/ 2272 w 10785"/>
                  <a:gd name="connsiteY2817" fmla="*/ 7889 h 10000"/>
                  <a:gd name="connsiteX2818" fmla="*/ 2281 w 10785"/>
                  <a:gd name="connsiteY2818" fmla="*/ 7872 h 10000"/>
                  <a:gd name="connsiteX2819" fmla="*/ 2272 w 10785"/>
                  <a:gd name="connsiteY2819" fmla="*/ 7846 h 10000"/>
                  <a:gd name="connsiteX2820" fmla="*/ 2253 w 10785"/>
                  <a:gd name="connsiteY2820" fmla="*/ 7838 h 10000"/>
                  <a:gd name="connsiteX2821" fmla="*/ 2221 w 10785"/>
                  <a:gd name="connsiteY2821" fmla="*/ 7821 h 10000"/>
                  <a:gd name="connsiteX2822" fmla="*/ 2212 w 10785"/>
                  <a:gd name="connsiteY2822" fmla="*/ 7812 h 10000"/>
                  <a:gd name="connsiteX2823" fmla="*/ 2212 w 10785"/>
                  <a:gd name="connsiteY2823" fmla="*/ 7803 h 10000"/>
                  <a:gd name="connsiteX2824" fmla="*/ 2221 w 10785"/>
                  <a:gd name="connsiteY2824" fmla="*/ 7803 h 10000"/>
                  <a:gd name="connsiteX2825" fmla="*/ 2235 w 10785"/>
                  <a:gd name="connsiteY2825" fmla="*/ 7786 h 10000"/>
                  <a:gd name="connsiteX2826" fmla="*/ 2240 w 10785"/>
                  <a:gd name="connsiteY2826" fmla="*/ 7778 h 10000"/>
                  <a:gd name="connsiteX2827" fmla="*/ 2226 w 10785"/>
                  <a:gd name="connsiteY2827" fmla="*/ 7761 h 10000"/>
                  <a:gd name="connsiteX2828" fmla="*/ 2221 w 10785"/>
                  <a:gd name="connsiteY2828" fmla="*/ 7778 h 10000"/>
                  <a:gd name="connsiteX2829" fmla="*/ 2198 w 10785"/>
                  <a:gd name="connsiteY2829" fmla="*/ 7778 h 10000"/>
                  <a:gd name="connsiteX2830" fmla="*/ 2198 w 10785"/>
                  <a:gd name="connsiteY2830" fmla="*/ 7752 h 10000"/>
                  <a:gd name="connsiteX2831" fmla="*/ 2207 w 10785"/>
                  <a:gd name="connsiteY2831" fmla="*/ 7735 h 10000"/>
                  <a:gd name="connsiteX2832" fmla="*/ 2212 w 10785"/>
                  <a:gd name="connsiteY2832" fmla="*/ 7726 h 10000"/>
                  <a:gd name="connsiteX2833" fmla="*/ 2198 w 10785"/>
                  <a:gd name="connsiteY2833" fmla="*/ 7692 h 10000"/>
                  <a:gd name="connsiteX2834" fmla="*/ 2221 w 10785"/>
                  <a:gd name="connsiteY2834" fmla="*/ 7692 h 10000"/>
                  <a:gd name="connsiteX2835" fmla="*/ 2221 w 10785"/>
                  <a:gd name="connsiteY2835" fmla="*/ 7675 h 10000"/>
                  <a:gd name="connsiteX2836" fmla="*/ 2235 w 10785"/>
                  <a:gd name="connsiteY2836" fmla="*/ 7675 h 10000"/>
                  <a:gd name="connsiteX2837" fmla="*/ 2240 w 10785"/>
                  <a:gd name="connsiteY2837" fmla="*/ 7692 h 10000"/>
                  <a:gd name="connsiteX2838" fmla="*/ 2249 w 10785"/>
                  <a:gd name="connsiteY2838" fmla="*/ 7692 h 10000"/>
                  <a:gd name="connsiteX2839" fmla="*/ 2258 w 10785"/>
                  <a:gd name="connsiteY2839" fmla="*/ 7692 h 10000"/>
                  <a:gd name="connsiteX2840" fmla="*/ 2267 w 10785"/>
                  <a:gd name="connsiteY2840" fmla="*/ 7692 h 10000"/>
                  <a:gd name="connsiteX2841" fmla="*/ 2295 w 10785"/>
                  <a:gd name="connsiteY2841" fmla="*/ 7692 h 10000"/>
                  <a:gd name="connsiteX2842" fmla="*/ 2300 w 10785"/>
                  <a:gd name="connsiteY2842" fmla="*/ 7701 h 10000"/>
                  <a:gd name="connsiteX2843" fmla="*/ 2313 w 10785"/>
                  <a:gd name="connsiteY2843" fmla="*/ 7675 h 10000"/>
                  <a:gd name="connsiteX2844" fmla="*/ 2323 w 10785"/>
                  <a:gd name="connsiteY2844" fmla="*/ 7675 h 10000"/>
                  <a:gd name="connsiteX2845" fmla="*/ 2341 w 10785"/>
                  <a:gd name="connsiteY2845" fmla="*/ 7675 h 10000"/>
                  <a:gd name="connsiteX2846" fmla="*/ 2346 w 10785"/>
                  <a:gd name="connsiteY2846" fmla="*/ 7667 h 10000"/>
                  <a:gd name="connsiteX2847" fmla="*/ 2359 w 10785"/>
                  <a:gd name="connsiteY2847" fmla="*/ 7650 h 10000"/>
                  <a:gd name="connsiteX2848" fmla="*/ 2373 w 10785"/>
                  <a:gd name="connsiteY2848" fmla="*/ 7624 h 10000"/>
                  <a:gd name="connsiteX2849" fmla="*/ 2382 w 10785"/>
                  <a:gd name="connsiteY2849" fmla="*/ 7641 h 10000"/>
                  <a:gd name="connsiteX2850" fmla="*/ 2396 w 10785"/>
                  <a:gd name="connsiteY2850" fmla="*/ 7650 h 10000"/>
                  <a:gd name="connsiteX2851" fmla="*/ 2401 w 10785"/>
                  <a:gd name="connsiteY2851" fmla="*/ 7650 h 10000"/>
                  <a:gd name="connsiteX2852" fmla="*/ 2401 w 10785"/>
                  <a:gd name="connsiteY2852" fmla="*/ 7624 h 10000"/>
                  <a:gd name="connsiteX2853" fmla="*/ 2419 w 10785"/>
                  <a:gd name="connsiteY2853" fmla="*/ 7624 h 10000"/>
                  <a:gd name="connsiteX2854" fmla="*/ 2433 w 10785"/>
                  <a:gd name="connsiteY2854" fmla="*/ 7615 h 10000"/>
                  <a:gd name="connsiteX2855" fmla="*/ 2442 w 10785"/>
                  <a:gd name="connsiteY2855" fmla="*/ 7615 h 10000"/>
                  <a:gd name="connsiteX2856" fmla="*/ 2447 w 10785"/>
                  <a:gd name="connsiteY2856" fmla="*/ 7598 h 10000"/>
                  <a:gd name="connsiteX2857" fmla="*/ 2461 w 10785"/>
                  <a:gd name="connsiteY2857" fmla="*/ 7598 h 10000"/>
                  <a:gd name="connsiteX2858" fmla="*/ 2465 w 10785"/>
                  <a:gd name="connsiteY2858" fmla="*/ 7615 h 10000"/>
                  <a:gd name="connsiteX2859" fmla="*/ 2479 w 10785"/>
                  <a:gd name="connsiteY2859" fmla="*/ 7564 h 10000"/>
                  <a:gd name="connsiteX2860" fmla="*/ 2488 w 10785"/>
                  <a:gd name="connsiteY2860" fmla="*/ 7556 h 10000"/>
                  <a:gd name="connsiteX2861" fmla="*/ 2493 w 10785"/>
                  <a:gd name="connsiteY2861" fmla="*/ 7556 h 10000"/>
                  <a:gd name="connsiteX2862" fmla="*/ 2507 w 10785"/>
                  <a:gd name="connsiteY2862" fmla="*/ 7556 h 10000"/>
                  <a:gd name="connsiteX2863" fmla="*/ 2530 w 10785"/>
                  <a:gd name="connsiteY2863" fmla="*/ 7538 h 10000"/>
                  <a:gd name="connsiteX2864" fmla="*/ 2530 w 10785"/>
                  <a:gd name="connsiteY2864" fmla="*/ 7556 h 10000"/>
                  <a:gd name="connsiteX2865" fmla="*/ 2641 w 10785"/>
                  <a:gd name="connsiteY2865" fmla="*/ 7504 h 10000"/>
                  <a:gd name="connsiteX2866" fmla="*/ 2654 w 10785"/>
                  <a:gd name="connsiteY2866" fmla="*/ 7487 h 10000"/>
                  <a:gd name="connsiteX2867" fmla="*/ 2664 w 10785"/>
                  <a:gd name="connsiteY2867" fmla="*/ 7487 h 10000"/>
                  <a:gd name="connsiteX2868" fmla="*/ 2668 w 10785"/>
                  <a:gd name="connsiteY2868" fmla="*/ 7479 h 10000"/>
                  <a:gd name="connsiteX2869" fmla="*/ 2673 w 10785"/>
                  <a:gd name="connsiteY2869" fmla="*/ 7462 h 10000"/>
                  <a:gd name="connsiteX2870" fmla="*/ 2673 w 10785"/>
                  <a:gd name="connsiteY2870" fmla="*/ 7427 h 10000"/>
                  <a:gd name="connsiteX2871" fmla="*/ 2687 w 10785"/>
                  <a:gd name="connsiteY2871" fmla="*/ 7436 h 10000"/>
                  <a:gd name="connsiteX2872" fmla="*/ 2696 w 10785"/>
                  <a:gd name="connsiteY2872" fmla="*/ 7427 h 10000"/>
                  <a:gd name="connsiteX2873" fmla="*/ 2700 w 10785"/>
                  <a:gd name="connsiteY2873" fmla="*/ 7419 h 10000"/>
                  <a:gd name="connsiteX2874" fmla="*/ 2710 w 10785"/>
                  <a:gd name="connsiteY2874" fmla="*/ 7402 h 10000"/>
                  <a:gd name="connsiteX2875" fmla="*/ 2724 w 10785"/>
                  <a:gd name="connsiteY2875" fmla="*/ 7402 h 10000"/>
                  <a:gd name="connsiteX2876" fmla="*/ 2724 w 10785"/>
                  <a:gd name="connsiteY2876" fmla="*/ 7393 h 10000"/>
                  <a:gd name="connsiteX2877" fmla="*/ 2737 w 10785"/>
                  <a:gd name="connsiteY2877" fmla="*/ 7393 h 10000"/>
                  <a:gd name="connsiteX2878" fmla="*/ 2742 w 10785"/>
                  <a:gd name="connsiteY2878" fmla="*/ 7402 h 10000"/>
                  <a:gd name="connsiteX2879" fmla="*/ 2747 w 10785"/>
                  <a:gd name="connsiteY2879" fmla="*/ 7402 h 10000"/>
                  <a:gd name="connsiteX2880" fmla="*/ 2760 w 10785"/>
                  <a:gd name="connsiteY2880" fmla="*/ 7402 h 10000"/>
                  <a:gd name="connsiteX2881" fmla="*/ 2770 w 10785"/>
                  <a:gd name="connsiteY2881" fmla="*/ 7402 h 10000"/>
                  <a:gd name="connsiteX2882" fmla="*/ 2774 w 10785"/>
                  <a:gd name="connsiteY2882" fmla="*/ 7402 h 10000"/>
                  <a:gd name="connsiteX2883" fmla="*/ 2783 w 10785"/>
                  <a:gd name="connsiteY2883" fmla="*/ 7419 h 10000"/>
                  <a:gd name="connsiteX2884" fmla="*/ 2802 w 10785"/>
                  <a:gd name="connsiteY2884" fmla="*/ 7436 h 10000"/>
                  <a:gd name="connsiteX2885" fmla="*/ 2816 w 10785"/>
                  <a:gd name="connsiteY2885" fmla="*/ 7419 h 10000"/>
                  <a:gd name="connsiteX2886" fmla="*/ 2834 w 10785"/>
                  <a:gd name="connsiteY2886" fmla="*/ 7419 h 10000"/>
                  <a:gd name="connsiteX2887" fmla="*/ 2843 w 10785"/>
                  <a:gd name="connsiteY2887" fmla="*/ 7419 h 10000"/>
                  <a:gd name="connsiteX2888" fmla="*/ 2848 w 10785"/>
                  <a:gd name="connsiteY2888" fmla="*/ 7436 h 10000"/>
                  <a:gd name="connsiteX2889" fmla="*/ 2857 w 10785"/>
                  <a:gd name="connsiteY2889" fmla="*/ 7453 h 10000"/>
                  <a:gd name="connsiteX2890" fmla="*/ 2857 w 10785"/>
                  <a:gd name="connsiteY2890" fmla="*/ 7504 h 10000"/>
                  <a:gd name="connsiteX2891" fmla="*/ 2862 w 10785"/>
                  <a:gd name="connsiteY2891" fmla="*/ 7530 h 10000"/>
                  <a:gd name="connsiteX2892" fmla="*/ 2876 w 10785"/>
                  <a:gd name="connsiteY2892" fmla="*/ 7538 h 10000"/>
                  <a:gd name="connsiteX2893" fmla="*/ 2871 w 10785"/>
                  <a:gd name="connsiteY2893" fmla="*/ 7564 h 10000"/>
                  <a:gd name="connsiteX2894" fmla="*/ 2871 w 10785"/>
                  <a:gd name="connsiteY2894" fmla="*/ 7598 h 10000"/>
                  <a:gd name="connsiteX2895" fmla="*/ 2857 w 10785"/>
                  <a:gd name="connsiteY2895" fmla="*/ 7624 h 10000"/>
                  <a:gd name="connsiteX2896" fmla="*/ 2862 w 10785"/>
                  <a:gd name="connsiteY2896" fmla="*/ 7641 h 10000"/>
                  <a:gd name="connsiteX2897" fmla="*/ 2871 w 10785"/>
                  <a:gd name="connsiteY2897" fmla="*/ 7667 h 10000"/>
                  <a:gd name="connsiteX2898" fmla="*/ 2880 w 10785"/>
                  <a:gd name="connsiteY2898" fmla="*/ 7650 h 10000"/>
                  <a:gd name="connsiteX2899" fmla="*/ 2894 w 10785"/>
                  <a:gd name="connsiteY2899" fmla="*/ 7667 h 10000"/>
                  <a:gd name="connsiteX2900" fmla="*/ 2903 w 10785"/>
                  <a:gd name="connsiteY2900" fmla="*/ 7667 h 10000"/>
                  <a:gd name="connsiteX2901" fmla="*/ 2908 w 10785"/>
                  <a:gd name="connsiteY2901" fmla="*/ 7641 h 10000"/>
                  <a:gd name="connsiteX2902" fmla="*/ 2917 w 10785"/>
                  <a:gd name="connsiteY2902" fmla="*/ 7641 h 10000"/>
                  <a:gd name="connsiteX2903" fmla="*/ 2922 w 10785"/>
                  <a:gd name="connsiteY2903" fmla="*/ 7641 h 10000"/>
                  <a:gd name="connsiteX2904" fmla="*/ 2931 w 10785"/>
                  <a:gd name="connsiteY2904" fmla="*/ 7615 h 10000"/>
                  <a:gd name="connsiteX2905" fmla="*/ 2935 w 10785"/>
                  <a:gd name="connsiteY2905" fmla="*/ 7615 h 10000"/>
                  <a:gd name="connsiteX2906" fmla="*/ 2945 w 10785"/>
                  <a:gd name="connsiteY2906" fmla="*/ 7650 h 10000"/>
                  <a:gd name="connsiteX2907" fmla="*/ 2949 w 10785"/>
                  <a:gd name="connsiteY2907" fmla="*/ 7667 h 10000"/>
                  <a:gd name="connsiteX2908" fmla="*/ 2949 w 10785"/>
                  <a:gd name="connsiteY2908" fmla="*/ 7675 h 10000"/>
                  <a:gd name="connsiteX2909" fmla="*/ 2945 w 10785"/>
                  <a:gd name="connsiteY2909" fmla="*/ 7692 h 10000"/>
                  <a:gd name="connsiteX2910" fmla="*/ 2963 w 10785"/>
                  <a:gd name="connsiteY2910" fmla="*/ 7701 h 10000"/>
                  <a:gd name="connsiteX2911" fmla="*/ 2963 w 10785"/>
                  <a:gd name="connsiteY2911" fmla="*/ 7675 h 10000"/>
                  <a:gd name="connsiteX2912" fmla="*/ 2954 w 10785"/>
                  <a:gd name="connsiteY2912" fmla="*/ 7667 h 10000"/>
                  <a:gd name="connsiteX2913" fmla="*/ 2963 w 10785"/>
                  <a:gd name="connsiteY2913" fmla="*/ 7667 h 10000"/>
                  <a:gd name="connsiteX2914" fmla="*/ 2982 w 10785"/>
                  <a:gd name="connsiteY2914" fmla="*/ 7667 h 10000"/>
                  <a:gd name="connsiteX2915" fmla="*/ 2991 w 10785"/>
                  <a:gd name="connsiteY2915" fmla="*/ 7675 h 10000"/>
                  <a:gd name="connsiteX2916" fmla="*/ 2995 w 10785"/>
                  <a:gd name="connsiteY2916" fmla="*/ 7692 h 10000"/>
                  <a:gd name="connsiteX2917" fmla="*/ 3009 w 10785"/>
                  <a:gd name="connsiteY2917" fmla="*/ 7701 h 10000"/>
                  <a:gd name="connsiteX2918" fmla="*/ 3018 w 10785"/>
                  <a:gd name="connsiteY2918" fmla="*/ 7701 h 10000"/>
                  <a:gd name="connsiteX2919" fmla="*/ 3023 w 10785"/>
                  <a:gd name="connsiteY2919" fmla="*/ 7692 h 10000"/>
                  <a:gd name="connsiteX2920" fmla="*/ 3028 w 10785"/>
                  <a:gd name="connsiteY2920" fmla="*/ 7675 h 10000"/>
                  <a:gd name="connsiteX2921" fmla="*/ 3037 w 10785"/>
                  <a:gd name="connsiteY2921" fmla="*/ 7692 h 10000"/>
                  <a:gd name="connsiteX2922" fmla="*/ 3028 w 10785"/>
                  <a:gd name="connsiteY2922" fmla="*/ 7709 h 10000"/>
                  <a:gd name="connsiteX2923" fmla="*/ 3023 w 10785"/>
                  <a:gd name="connsiteY2923" fmla="*/ 7709 h 10000"/>
                  <a:gd name="connsiteX2924" fmla="*/ 3018 w 10785"/>
                  <a:gd name="connsiteY2924" fmla="*/ 7726 h 10000"/>
                  <a:gd name="connsiteX2925" fmla="*/ 3009 w 10785"/>
                  <a:gd name="connsiteY2925" fmla="*/ 7735 h 10000"/>
                  <a:gd name="connsiteX2926" fmla="*/ 3009 w 10785"/>
                  <a:gd name="connsiteY2926" fmla="*/ 7761 h 10000"/>
                  <a:gd name="connsiteX2927" fmla="*/ 3009 w 10785"/>
                  <a:gd name="connsiteY2927" fmla="*/ 7778 h 10000"/>
                  <a:gd name="connsiteX2928" fmla="*/ 3018 w 10785"/>
                  <a:gd name="connsiteY2928" fmla="*/ 7786 h 10000"/>
                  <a:gd name="connsiteX2929" fmla="*/ 3023 w 10785"/>
                  <a:gd name="connsiteY2929" fmla="*/ 7786 h 10000"/>
                  <a:gd name="connsiteX2930" fmla="*/ 3028 w 10785"/>
                  <a:gd name="connsiteY2930" fmla="*/ 7778 h 10000"/>
                  <a:gd name="connsiteX2931" fmla="*/ 3051 w 10785"/>
                  <a:gd name="connsiteY2931" fmla="*/ 7761 h 10000"/>
                  <a:gd name="connsiteX2932" fmla="*/ 3055 w 10785"/>
                  <a:gd name="connsiteY2932" fmla="*/ 7778 h 10000"/>
                  <a:gd name="connsiteX2933" fmla="*/ 3065 w 10785"/>
                  <a:gd name="connsiteY2933" fmla="*/ 7761 h 10000"/>
                  <a:gd name="connsiteX2934" fmla="*/ 3069 w 10785"/>
                  <a:gd name="connsiteY2934" fmla="*/ 7786 h 10000"/>
                  <a:gd name="connsiteX2935" fmla="*/ 3083 w 10785"/>
                  <a:gd name="connsiteY2935" fmla="*/ 7786 h 10000"/>
                  <a:gd name="connsiteX2936" fmla="*/ 3078 w 10785"/>
                  <a:gd name="connsiteY2936" fmla="*/ 7761 h 10000"/>
                  <a:gd name="connsiteX2937" fmla="*/ 3083 w 10785"/>
                  <a:gd name="connsiteY2937" fmla="*/ 7752 h 10000"/>
                  <a:gd name="connsiteX2938" fmla="*/ 3097 w 10785"/>
                  <a:gd name="connsiteY2938" fmla="*/ 7752 h 10000"/>
                  <a:gd name="connsiteX2939" fmla="*/ 3111 w 10785"/>
                  <a:gd name="connsiteY2939" fmla="*/ 7726 h 10000"/>
                  <a:gd name="connsiteX2940" fmla="*/ 3124 w 10785"/>
                  <a:gd name="connsiteY2940" fmla="*/ 7709 h 10000"/>
                  <a:gd name="connsiteX2941" fmla="*/ 3143 w 10785"/>
                  <a:gd name="connsiteY2941" fmla="*/ 7692 h 10000"/>
                  <a:gd name="connsiteX2942" fmla="*/ 3152 w 10785"/>
                  <a:gd name="connsiteY2942" fmla="*/ 7667 h 10000"/>
                  <a:gd name="connsiteX2943" fmla="*/ 3157 w 10785"/>
                  <a:gd name="connsiteY2943" fmla="*/ 7650 h 10000"/>
                  <a:gd name="connsiteX2944" fmla="*/ 3161 w 10785"/>
                  <a:gd name="connsiteY2944" fmla="*/ 7650 h 10000"/>
                  <a:gd name="connsiteX2945" fmla="*/ 3189 w 10785"/>
                  <a:gd name="connsiteY2945" fmla="*/ 7641 h 10000"/>
                  <a:gd name="connsiteX2946" fmla="*/ 3198 w 10785"/>
                  <a:gd name="connsiteY2946" fmla="*/ 7624 h 10000"/>
                  <a:gd name="connsiteX2947" fmla="*/ 3217 w 10785"/>
                  <a:gd name="connsiteY2947" fmla="*/ 7615 h 10000"/>
                  <a:gd name="connsiteX2948" fmla="*/ 3235 w 10785"/>
                  <a:gd name="connsiteY2948" fmla="*/ 7598 h 10000"/>
                  <a:gd name="connsiteX2949" fmla="*/ 3235 w 10785"/>
                  <a:gd name="connsiteY2949" fmla="*/ 7615 h 10000"/>
                  <a:gd name="connsiteX2950" fmla="*/ 3235 w 10785"/>
                  <a:gd name="connsiteY2950" fmla="*/ 7641 h 10000"/>
                  <a:gd name="connsiteX2951" fmla="*/ 3235 w 10785"/>
                  <a:gd name="connsiteY2951" fmla="*/ 7650 h 10000"/>
                  <a:gd name="connsiteX2952" fmla="*/ 3226 w 10785"/>
                  <a:gd name="connsiteY2952" fmla="*/ 7650 h 10000"/>
                  <a:gd name="connsiteX2953" fmla="*/ 3217 w 10785"/>
                  <a:gd name="connsiteY2953" fmla="*/ 7650 h 10000"/>
                  <a:gd name="connsiteX2954" fmla="*/ 3212 w 10785"/>
                  <a:gd name="connsiteY2954" fmla="*/ 7675 h 10000"/>
                  <a:gd name="connsiteX2955" fmla="*/ 3212 w 10785"/>
                  <a:gd name="connsiteY2955"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307 w 10785"/>
                  <a:gd name="connsiteY731" fmla="*/ 4899 h 10000"/>
                  <a:gd name="connsiteX732" fmla="*/ 10619 w 10785"/>
                  <a:gd name="connsiteY732" fmla="*/ 4708 h 10000"/>
                  <a:gd name="connsiteX733" fmla="*/ 10785 w 10785"/>
                  <a:gd name="connsiteY733" fmla="*/ 4708 h 10000"/>
                  <a:gd name="connsiteX734" fmla="*/ 10689 w 10785"/>
                  <a:gd name="connsiteY734" fmla="*/ 4467 h 10000"/>
                  <a:gd name="connsiteX735" fmla="*/ 10354 w 10785"/>
                  <a:gd name="connsiteY735" fmla="*/ 4302 h 10000"/>
                  <a:gd name="connsiteX736" fmla="*/ 9912 w 10785"/>
                  <a:gd name="connsiteY736" fmla="*/ 3675 h 10000"/>
                  <a:gd name="connsiteX737" fmla="*/ 9903 w 10785"/>
                  <a:gd name="connsiteY737" fmla="*/ 3667 h 10000"/>
                  <a:gd name="connsiteX738" fmla="*/ 9894 w 10785"/>
                  <a:gd name="connsiteY738" fmla="*/ 3641 h 10000"/>
                  <a:gd name="connsiteX739" fmla="*/ 9889 w 10785"/>
                  <a:gd name="connsiteY739" fmla="*/ 3650 h 10000"/>
                  <a:gd name="connsiteX740" fmla="*/ 9848 w 10785"/>
                  <a:gd name="connsiteY740" fmla="*/ 3598 h 10000"/>
                  <a:gd name="connsiteX741" fmla="*/ 9829 w 10785"/>
                  <a:gd name="connsiteY741" fmla="*/ 3581 h 10000"/>
                  <a:gd name="connsiteX742" fmla="*/ 9820 w 10785"/>
                  <a:gd name="connsiteY742" fmla="*/ 3581 h 10000"/>
                  <a:gd name="connsiteX743" fmla="*/ 9793 w 10785"/>
                  <a:gd name="connsiteY743" fmla="*/ 3556 h 10000"/>
                  <a:gd name="connsiteX744" fmla="*/ 9779 w 10785"/>
                  <a:gd name="connsiteY744" fmla="*/ 3556 h 10000"/>
                  <a:gd name="connsiteX745" fmla="*/ 9747 w 10785"/>
                  <a:gd name="connsiteY745" fmla="*/ 3487 h 10000"/>
                  <a:gd name="connsiteX746" fmla="*/ 9668 w 10785"/>
                  <a:gd name="connsiteY746" fmla="*/ 3479 h 10000"/>
                  <a:gd name="connsiteX747" fmla="*/ 9659 w 10785"/>
                  <a:gd name="connsiteY747" fmla="*/ 3487 h 10000"/>
                  <a:gd name="connsiteX748" fmla="*/ 9645 w 10785"/>
                  <a:gd name="connsiteY748" fmla="*/ 3504 h 10000"/>
                  <a:gd name="connsiteX749" fmla="*/ 9631 w 10785"/>
                  <a:gd name="connsiteY749" fmla="*/ 3487 h 10000"/>
                  <a:gd name="connsiteX750" fmla="*/ 9613 w 10785"/>
                  <a:gd name="connsiteY750" fmla="*/ 3479 h 10000"/>
                  <a:gd name="connsiteX751" fmla="*/ 9599 w 10785"/>
                  <a:gd name="connsiteY751" fmla="*/ 3479 h 10000"/>
                  <a:gd name="connsiteX752" fmla="*/ 9571 w 10785"/>
                  <a:gd name="connsiteY752" fmla="*/ 3479 h 10000"/>
                  <a:gd name="connsiteX753" fmla="*/ 9562 w 10785"/>
                  <a:gd name="connsiteY753" fmla="*/ 3487 h 10000"/>
                  <a:gd name="connsiteX754" fmla="*/ 9539 w 10785"/>
                  <a:gd name="connsiteY754" fmla="*/ 3487 h 10000"/>
                  <a:gd name="connsiteX755" fmla="*/ 9507 w 10785"/>
                  <a:gd name="connsiteY755" fmla="*/ 3453 h 10000"/>
                  <a:gd name="connsiteX756" fmla="*/ 9498 w 10785"/>
                  <a:gd name="connsiteY756" fmla="*/ 3453 h 10000"/>
                  <a:gd name="connsiteX757" fmla="*/ 9387 w 10785"/>
                  <a:gd name="connsiteY757" fmla="*/ 3419 h 10000"/>
                  <a:gd name="connsiteX758" fmla="*/ 9373 w 10785"/>
                  <a:gd name="connsiteY758" fmla="*/ 3427 h 10000"/>
                  <a:gd name="connsiteX759" fmla="*/ 9373 w 10785"/>
                  <a:gd name="connsiteY759" fmla="*/ 3462 h 10000"/>
                  <a:gd name="connsiteX760" fmla="*/ 9378 w 10785"/>
                  <a:gd name="connsiteY760" fmla="*/ 3479 h 10000"/>
                  <a:gd name="connsiteX761" fmla="*/ 9378 w 10785"/>
                  <a:gd name="connsiteY761" fmla="*/ 3530 h 10000"/>
                  <a:gd name="connsiteX762" fmla="*/ 9355 w 10785"/>
                  <a:gd name="connsiteY762" fmla="*/ 3538 h 10000"/>
                  <a:gd name="connsiteX763" fmla="*/ 9355 w 10785"/>
                  <a:gd name="connsiteY763" fmla="*/ 3581 h 10000"/>
                  <a:gd name="connsiteX764" fmla="*/ 9387 w 10785"/>
                  <a:gd name="connsiteY764" fmla="*/ 3590 h 10000"/>
                  <a:gd name="connsiteX765" fmla="*/ 9401 w 10785"/>
                  <a:gd name="connsiteY765" fmla="*/ 3667 h 10000"/>
                  <a:gd name="connsiteX766" fmla="*/ 9406 w 10785"/>
                  <a:gd name="connsiteY766" fmla="*/ 3675 h 10000"/>
                  <a:gd name="connsiteX767" fmla="*/ 9406 w 10785"/>
                  <a:gd name="connsiteY767" fmla="*/ 3701 h 10000"/>
                  <a:gd name="connsiteX768" fmla="*/ 9415 w 10785"/>
                  <a:gd name="connsiteY768" fmla="*/ 3752 h 10000"/>
                  <a:gd name="connsiteX769" fmla="*/ 9373 w 10785"/>
                  <a:gd name="connsiteY769" fmla="*/ 3838 h 10000"/>
                  <a:gd name="connsiteX770" fmla="*/ 9355 w 10785"/>
                  <a:gd name="connsiteY770" fmla="*/ 3863 h 10000"/>
                  <a:gd name="connsiteX771" fmla="*/ 9327 w 10785"/>
                  <a:gd name="connsiteY771" fmla="*/ 3863 h 10000"/>
                  <a:gd name="connsiteX772" fmla="*/ 9313 w 10785"/>
                  <a:gd name="connsiteY772" fmla="*/ 3846 h 10000"/>
                  <a:gd name="connsiteX773" fmla="*/ 9300 w 10785"/>
                  <a:gd name="connsiteY773" fmla="*/ 3778 h 10000"/>
                  <a:gd name="connsiteX774" fmla="*/ 9281 w 10785"/>
                  <a:gd name="connsiteY774" fmla="*/ 3752 h 10000"/>
                  <a:gd name="connsiteX775" fmla="*/ 9281 w 10785"/>
                  <a:gd name="connsiteY775" fmla="*/ 3735 h 10000"/>
                  <a:gd name="connsiteX776" fmla="*/ 9267 w 10785"/>
                  <a:gd name="connsiteY776" fmla="*/ 3726 h 10000"/>
                  <a:gd name="connsiteX777" fmla="*/ 9240 w 10785"/>
                  <a:gd name="connsiteY777" fmla="*/ 3726 h 10000"/>
                  <a:gd name="connsiteX778" fmla="*/ 9230 w 10785"/>
                  <a:gd name="connsiteY778" fmla="*/ 3718 h 10000"/>
                  <a:gd name="connsiteX779" fmla="*/ 9226 w 10785"/>
                  <a:gd name="connsiteY779" fmla="*/ 3590 h 10000"/>
                  <a:gd name="connsiteX780" fmla="*/ 9207 w 10785"/>
                  <a:gd name="connsiteY780" fmla="*/ 3581 h 10000"/>
                  <a:gd name="connsiteX781" fmla="*/ 9207 w 10785"/>
                  <a:gd name="connsiteY781" fmla="*/ 3556 h 10000"/>
                  <a:gd name="connsiteX782" fmla="*/ 9217 w 10785"/>
                  <a:gd name="connsiteY782" fmla="*/ 3538 h 10000"/>
                  <a:gd name="connsiteX783" fmla="*/ 9212 w 10785"/>
                  <a:gd name="connsiteY783" fmla="*/ 3538 h 10000"/>
                  <a:gd name="connsiteX784" fmla="*/ 9198 w 10785"/>
                  <a:gd name="connsiteY784" fmla="*/ 3513 h 10000"/>
                  <a:gd name="connsiteX785" fmla="*/ 9194 w 10785"/>
                  <a:gd name="connsiteY785" fmla="*/ 3530 h 10000"/>
                  <a:gd name="connsiteX786" fmla="*/ 9143 w 10785"/>
                  <a:gd name="connsiteY786" fmla="*/ 3615 h 10000"/>
                  <a:gd name="connsiteX787" fmla="*/ 9138 w 10785"/>
                  <a:gd name="connsiteY787" fmla="*/ 3615 h 10000"/>
                  <a:gd name="connsiteX788" fmla="*/ 9134 w 10785"/>
                  <a:gd name="connsiteY788" fmla="*/ 3615 h 10000"/>
                  <a:gd name="connsiteX789" fmla="*/ 9106 w 10785"/>
                  <a:gd name="connsiteY789" fmla="*/ 3615 h 10000"/>
                  <a:gd name="connsiteX790" fmla="*/ 9078 w 10785"/>
                  <a:gd name="connsiteY790" fmla="*/ 3590 h 10000"/>
                  <a:gd name="connsiteX791" fmla="*/ 9037 w 10785"/>
                  <a:gd name="connsiteY791" fmla="*/ 3581 h 10000"/>
                  <a:gd name="connsiteX792" fmla="*/ 9023 w 10785"/>
                  <a:gd name="connsiteY792" fmla="*/ 3590 h 10000"/>
                  <a:gd name="connsiteX793" fmla="*/ 9018 w 10785"/>
                  <a:gd name="connsiteY793" fmla="*/ 3590 h 10000"/>
                  <a:gd name="connsiteX794" fmla="*/ 9018 w 10785"/>
                  <a:gd name="connsiteY794" fmla="*/ 3590 h 10000"/>
                  <a:gd name="connsiteX795" fmla="*/ 8991 w 10785"/>
                  <a:gd name="connsiteY795" fmla="*/ 3590 h 10000"/>
                  <a:gd name="connsiteX796" fmla="*/ 8972 w 10785"/>
                  <a:gd name="connsiteY796" fmla="*/ 3581 h 10000"/>
                  <a:gd name="connsiteX797" fmla="*/ 8959 w 10785"/>
                  <a:gd name="connsiteY797" fmla="*/ 3513 h 10000"/>
                  <a:gd name="connsiteX798" fmla="*/ 8931 w 10785"/>
                  <a:gd name="connsiteY798" fmla="*/ 3538 h 10000"/>
                  <a:gd name="connsiteX799" fmla="*/ 8889 w 10785"/>
                  <a:gd name="connsiteY799" fmla="*/ 3538 h 10000"/>
                  <a:gd name="connsiteX800" fmla="*/ 8871 w 10785"/>
                  <a:gd name="connsiteY800" fmla="*/ 3556 h 10000"/>
                  <a:gd name="connsiteX801" fmla="*/ 8857 w 10785"/>
                  <a:gd name="connsiteY801" fmla="*/ 3538 h 10000"/>
                  <a:gd name="connsiteX802" fmla="*/ 8843 w 10785"/>
                  <a:gd name="connsiteY802" fmla="*/ 3538 h 10000"/>
                  <a:gd name="connsiteX803" fmla="*/ 8839 w 10785"/>
                  <a:gd name="connsiteY803" fmla="*/ 3556 h 10000"/>
                  <a:gd name="connsiteX804" fmla="*/ 8839 w 10785"/>
                  <a:gd name="connsiteY804" fmla="*/ 3581 h 10000"/>
                  <a:gd name="connsiteX805" fmla="*/ 8825 w 10785"/>
                  <a:gd name="connsiteY805" fmla="*/ 3564 h 10000"/>
                  <a:gd name="connsiteX806" fmla="*/ 8825 w 10785"/>
                  <a:gd name="connsiteY806" fmla="*/ 3615 h 10000"/>
                  <a:gd name="connsiteX807" fmla="*/ 8802 w 10785"/>
                  <a:gd name="connsiteY807" fmla="*/ 3598 h 10000"/>
                  <a:gd name="connsiteX808" fmla="*/ 8797 w 10785"/>
                  <a:gd name="connsiteY808" fmla="*/ 3641 h 10000"/>
                  <a:gd name="connsiteX809" fmla="*/ 8783 w 10785"/>
                  <a:gd name="connsiteY809" fmla="*/ 3667 h 10000"/>
                  <a:gd name="connsiteX810" fmla="*/ 8779 w 10785"/>
                  <a:gd name="connsiteY810" fmla="*/ 3650 h 10000"/>
                  <a:gd name="connsiteX811" fmla="*/ 8779 w 10785"/>
                  <a:gd name="connsiteY811" fmla="*/ 3615 h 10000"/>
                  <a:gd name="connsiteX812" fmla="*/ 8770 w 10785"/>
                  <a:gd name="connsiteY812" fmla="*/ 3590 h 10000"/>
                  <a:gd name="connsiteX813" fmla="*/ 8765 w 10785"/>
                  <a:gd name="connsiteY813" fmla="*/ 3598 h 10000"/>
                  <a:gd name="connsiteX814" fmla="*/ 8756 w 10785"/>
                  <a:gd name="connsiteY814" fmla="*/ 3590 h 10000"/>
                  <a:gd name="connsiteX815" fmla="*/ 8737 w 10785"/>
                  <a:gd name="connsiteY815" fmla="*/ 3556 h 10000"/>
                  <a:gd name="connsiteX816" fmla="*/ 8724 w 10785"/>
                  <a:gd name="connsiteY816" fmla="*/ 3538 h 10000"/>
                  <a:gd name="connsiteX817" fmla="*/ 8696 w 10785"/>
                  <a:gd name="connsiteY817" fmla="*/ 3538 h 10000"/>
                  <a:gd name="connsiteX818" fmla="*/ 8691 w 10785"/>
                  <a:gd name="connsiteY818" fmla="*/ 3513 h 10000"/>
                  <a:gd name="connsiteX819" fmla="*/ 8668 w 10785"/>
                  <a:gd name="connsiteY819" fmla="*/ 3504 h 10000"/>
                  <a:gd name="connsiteX820" fmla="*/ 8668 w 10785"/>
                  <a:gd name="connsiteY820" fmla="*/ 3487 h 10000"/>
                  <a:gd name="connsiteX821" fmla="*/ 8691 w 10785"/>
                  <a:gd name="connsiteY821" fmla="*/ 3350 h 10000"/>
                  <a:gd name="connsiteX822" fmla="*/ 8691 w 10785"/>
                  <a:gd name="connsiteY822" fmla="*/ 3291 h 10000"/>
                  <a:gd name="connsiteX823" fmla="*/ 8677 w 10785"/>
                  <a:gd name="connsiteY823" fmla="*/ 3239 h 10000"/>
                  <a:gd name="connsiteX824" fmla="*/ 8677 w 10785"/>
                  <a:gd name="connsiteY824" fmla="*/ 3231 h 10000"/>
                  <a:gd name="connsiteX825" fmla="*/ 8636 w 10785"/>
                  <a:gd name="connsiteY825" fmla="*/ 3128 h 10000"/>
                  <a:gd name="connsiteX826" fmla="*/ 8622 w 10785"/>
                  <a:gd name="connsiteY826" fmla="*/ 3120 h 10000"/>
                  <a:gd name="connsiteX827" fmla="*/ 8618 w 10785"/>
                  <a:gd name="connsiteY827" fmla="*/ 3094 h 10000"/>
                  <a:gd name="connsiteX828" fmla="*/ 8594 w 10785"/>
                  <a:gd name="connsiteY828" fmla="*/ 3077 h 10000"/>
                  <a:gd name="connsiteX829" fmla="*/ 8548 w 10785"/>
                  <a:gd name="connsiteY829" fmla="*/ 3077 h 10000"/>
                  <a:gd name="connsiteX830" fmla="*/ 8535 w 10785"/>
                  <a:gd name="connsiteY830" fmla="*/ 3068 h 10000"/>
                  <a:gd name="connsiteX831" fmla="*/ 8429 w 10785"/>
                  <a:gd name="connsiteY831" fmla="*/ 3077 h 10000"/>
                  <a:gd name="connsiteX832" fmla="*/ 8424 w 10785"/>
                  <a:gd name="connsiteY832" fmla="*/ 3077 h 10000"/>
                  <a:gd name="connsiteX833" fmla="*/ 8396 w 10785"/>
                  <a:gd name="connsiteY833" fmla="*/ 3077 h 10000"/>
                  <a:gd name="connsiteX834" fmla="*/ 8387 w 10785"/>
                  <a:gd name="connsiteY834" fmla="*/ 3094 h 10000"/>
                  <a:gd name="connsiteX835" fmla="*/ 8378 w 10785"/>
                  <a:gd name="connsiteY835" fmla="*/ 3094 h 10000"/>
                  <a:gd name="connsiteX836" fmla="*/ 8341 w 10785"/>
                  <a:gd name="connsiteY836" fmla="*/ 3077 h 10000"/>
                  <a:gd name="connsiteX837" fmla="*/ 8336 w 10785"/>
                  <a:gd name="connsiteY837" fmla="*/ 3077 h 10000"/>
                  <a:gd name="connsiteX838" fmla="*/ 8327 w 10785"/>
                  <a:gd name="connsiteY838" fmla="*/ 3103 h 10000"/>
                  <a:gd name="connsiteX839" fmla="*/ 8309 w 10785"/>
                  <a:gd name="connsiteY839" fmla="*/ 3120 h 10000"/>
                  <a:gd name="connsiteX840" fmla="*/ 8304 w 10785"/>
                  <a:gd name="connsiteY840" fmla="*/ 3103 h 10000"/>
                  <a:gd name="connsiteX841" fmla="*/ 8276 w 10785"/>
                  <a:gd name="connsiteY841" fmla="*/ 3103 h 10000"/>
                  <a:gd name="connsiteX842" fmla="*/ 8267 w 10785"/>
                  <a:gd name="connsiteY842" fmla="*/ 3120 h 10000"/>
                  <a:gd name="connsiteX843" fmla="*/ 8253 w 10785"/>
                  <a:gd name="connsiteY843" fmla="*/ 3103 h 10000"/>
                  <a:gd name="connsiteX844" fmla="*/ 8230 w 10785"/>
                  <a:gd name="connsiteY844" fmla="*/ 3128 h 10000"/>
                  <a:gd name="connsiteX845" fmla="*/ 8217 w 10785"/>
                  <a:gd name="connsiteY845" fmla="*/ 3128 h 10000"/>
                  <a:gd name="connsiteX846" fmla="*/ 8203 w 10785"/>
                  <a:gd name="connsiteY846" fmla="*/ 3154 h 10000"/>
                  <a:gd name="connsiteX847" fmla="*/ 8175 w 10785"/>
                  <a:gd name="connsiteY847" fmla="*/ 3094 h 10000"/>
                  <a:gd name="connsiteX848" fmla="*/ 8161 w 10785"/>
                  <a:gd name="connsiteY848" fmla="*/ 3094 h 10000"/>
                  <a:gd name="connsiteX849" fmla="*/ 8157 w 10785"/>
                  <a:gd name="connsiteY849" fmla="*/ 3077 h 10000"/>
                  <a:gd name="connsiteX850" fmla="*/ 8180 w 10785"/>
                  <a:gd name="connsiteY850" fmla="*/ 3068 h 10000"/>
                  <a:gd name="connsiteX851" fmla="*/ 8189 w 10785"/>
                  <a:gd name="connsiteY851" fmla="*/ 3043 h 10000"/>
                  <a:gd name="connsiteX852" fmla="*/ 8189 w 10785"/>
                  <a:gd name="connsiteY852" fmla="*/ 3017 h 10000"/>
                  <a:gd name="connsiteX853" fmla="*/ 8147 w 10785"/>
                  <a:gd name="connsiteY853" fmla="*/ 2940 h 10000"/>
                  <a:gd name="connsiteX854" fmla="*/ 8143 w 10785"/>
                  <a:gd name="connsiteY854" fmla="*/ 2915 h 10000"/>
                  <a:gd name="connsiteX855" fmla="*/ 8143 w 10785"/>
                  <a:gd name="connsiteY855" fmla="*/ 2906 h 10000"/>
                  <a:gd name="connsiteX856" fmla="*/ 8097 w 10785"/>
                  <a:gd name="connsiteY856" fmla="*/ 2932 h 10000"/>
                  <a:gd name="connsiteX857" fmla="*/ 8083 w 10785"/>
                  <a:gd name="connsiteY857" fmla="*/ 2932 h 10000"/>
                  <a:gd name="connsiteX858" fmla="*/ 8074 w 10785"/>
                  <a:gd name="connsiteY858" fmla="*/ 2906 h 10000"/>
                  <a:gd name="connsiteX859" fmla="*/ 8074 w 10785"/>
                  <a:gd name="connsiteY859" fmla="*/ 2897 h 10000"/>
                  <a:gd name="connsiteX860" fmla="*/ 8055 w 10785"/>
                  <a:gd name="connsiteY860" fmla="*/ 2872 h 10000"/>
                  <a:gd name="connsiteX861" fmla="*/ 8046 w 10785"/>
                  <a:gd name="connsiteY861" fmla="*/ 2829 h 10000"/>
                  <a:gd name="connsiteX862" fmla="*/ 8041 w 10785"/>
                  <a:gd name="connsiteY862" fmla="*/ 2829 h 10000"/>
                  <a:gd name="connsiteX863" fmla="*/ 8023 w 10785"/>
                  <a:gd name="connsiteY863" fmla="*/ 2803 h 10000"/>
                  <a:gd name="connsiteX864" fmla="*/ 8014 w 10785"/>
                  <a:gd name="connsiteY864" fmla="*/ 2829 h 10000"/>
                  <a:gd name="connsiteX865" fmla="*/ 8000 w 10785"/>
                  <a:gd name="connsiteY865" fmla="*/ 2829 h 10000"/>
                  <a:gd name="connsiteX866" fmla="*/ 7995 w 10785"/>
                  <a:gd name="connsiteY866" fmla="*/ 2821 h 10000"/>
                  <a:gd name="connsiteX867" fmla="*/ 7972 w 10785"/>
                  <a:gd name="connsiteY867" fmla="*/ 2803 h 10000"/>
                  <a:gd name="connsiteX868" fmla="*/ 7968 w 10785"/>
                  <a:gd name="connsiteY868" fmla="*/ 2821 h 10000"/>
                  <a:gd name="connsiteX869" fmla="*/ 7968 w 10785"/>
                  <a:gd name="connsiteY869" fmla="*/ 2803 h 10000"/>
                  <a:gd name="connsiteX870" fmla="*/ 7995 w 10785"/>
                  <a:gd name="connsiteY870" fmla="*/ 2735 h 10000"/>
                  <a:gd name="connsiteX871" fmla="*/ 8000 w 10785"/>
                  <a:gd name="connsiteY871" fmla="*/ 2735 h 10000"/>
                  <a:gd name="connsiteX872" fmla="*/ 8014 w 10785"/>
                  <a:gd name="connsiteY872" fmla="*/ 2744 h 10000"/>
                  <a:gd name="connsiteX873" fmla="*/ 8023 w 10785"/>
                  <a:gd name="connsiteY873" fmla="*/ 2769 h 10000"/>
                  <a:gd name="connsiteX874" fmla="*/ 8032 w 10785"/>
                  <a:gd name="connsiteY874" fmla="*/ 2744 h 10000"/>
                  <a:gd name="connsiteX875" fmla="*/ 8032 w 10785"/>
                  <a:gd name="connsiteY875" fmla="*/ 2709 h 10000"/>
                  <a:gd name="connsiteX876" fmla="*/ 8023 w 10785"/>
                  <a:gd name="connsiteY876" fmla="*/ 2632 h 10000"/>
                  <a:gd name="connsiteX877" fmla="*/ 7986 w 10785"/>
                  <a:gd name="connsiteY877" fmla="*/ 2581 h 10000"/>
                  <a:gd name="connsiteX878" fmla="*/ 7968 w 10785"/>
                  <a:gd name="connsiteY878" fmla="*/ 2581 h 10000"/>
                  <a:gd name="connsiteX879" fmla="*/ 7963 w 10785"/>
                  <a:gd name="connsiteY879" fmla="*/ 2556 h 10000"/>
                  <a:gd name="connsiteX880" fmla="*/ 7935 w 10785"/>
                  <a:gd name="connsiteY880" fmla="*/ 2547 h 10000"/>
                  <a:gd name="connsiteX881" fmla="*/ 7912 w 10785"/>
                  <a:gd name="connsiteY881" fmla="*/ 2547 h 10000"/>
                  <a:gd name="connsiteX882" fmla="*/ 7912 w 10785"/>
                  <a:gd name="connsiteY882" fmla="*/ 2556 h 10000"/>
                  <a:gd name="connsiteX883" fmla="*/ 7908 w 10785"/>
                  <a:gd name="connsiteY883" fmla="*/ 2547 h 10000"/>
                  <a:gd name="connsiteX884" fmla="*/ 7862 w 10785"/>
                  <a:gd name="connsiteY884" fmla="*/ 2547 h 10000"/>
                  <a:gd name="connsiteX885" fmla="*/ 7848 w 10785"/>
                  <a:gd name="connsiteY885" fmla="*/ 2556 h 10000"/>
                  <a:gd name="connsiteX886" fmla="*/ 7820 w 10785"/>
                  <a:gd name="connsiteY886" fmla="*/ 2547 h 10000"/>
                  <a:gd name="connsiteX887" fmla="*/ 7806 w 10785"/>
                  <a:gd name="connsiteY887" fmla="*/ 2513 h 10000"/>
                  <a:gd name="connsiteX888" fmla="*/ 7788 w 10785"/>
                  <a:gd name="connsiteY888" fmla="*/ 2513 h 10000"/>
                  <a:gd name="connsiteX889" fmla="*/ 7760 w 10785"/>
                  <a:gd name="connsiteY889" fmla="*/ 2470 h 10000"/>
                  <a:gd name="connsiteX890" fmla="*/ 7751 w 10785"/>
                  <a:gd name="connsiteY890" fmla="*/ 2470 h 10000"/>
                  <a:gd name="connsiteX891" fmla="*/ 7705 w 10785"/>
                  <a:gd name="connsiteY891" fmla="*/ 2462 h 10000"/>
                  <a:gd name="connsiteX892" fmla="*/ 7673 w 10785"/>
                  <a:gd name="connsiteY892" fmla="*/ 2419 h 10000"/>
                  <a:gd name="connsiteX893" fmla="*/ 7627 w 10785"/>
                  <a:gd name="connsiteY893" fmla="*/ 2419 h 10000"/>
                  <a:gd name="connsiteX894" fmla="*/ 7613 w 10785"/>
                  <a:gd name="connsiteY894" fmla="*/ 2410 h 10000"/>
                  <a:gd name="connsiteX895" fmla="*/ 7493 w 10785"/>
                  <a:gd name="connsiteY895" fmla="*/ 2393 h 10000"/>
                  <a:gd name="connsiteX896" fmla="*/ 7479 w 10785"/>
                  <a:gd name="connsiteY896" fmla="*/ 2385 h 10000"/>
                  <a:gd name="connsiteX897" fmla="*/ 7479 w 10785"/>
                  <a:gd name="connsiteY897" fmla="*/ 2376 h 10000"/>
                  <a:gd name="connsiteX898" fmla="*/ 7465 w 10785"/>
                  <a:gd name="connsiteY898" fmla="*/ 2359 h 10000"/>
                  <a:gd name="connsiteX899" fmla="*/ 7447 w 10785"/>
                  <a:gd name="connsiteY899" fmla="*/ 2350 h 10000"/>
                  <a:gd name="connsiteX900" fmla="*/ 7433 w 10785"/>
                  <a:gd name="connsiteY900" fmla="*/ 2376 h 10000"/>
                  <a:gd name="connsiteX901" fmla="*/ 7433 w 10785"/>
                  <a:gd name="connsiteY901" fmla="*/ 2385 h 10000"/>
                  <a:gd name="connsiteX902" fmla="*/ 7447 w 10785"/>
                  <a:gd name="connsiteY902" fmla="*/ 2410 h 10000"/>
                  <a:gd name="connsiteX903" fmla="*/ 7447 w 10785"/>
                  <a:gd name="connsiteY903" fmla="*/ 2436 h 10000"/>
                  <a:gd name="connsiteX904" fmla="*/ 7452 w 10785"/>
                  <a:gd name="connsiteY904" fmla="*/ 2462 h 10000"/>
                  <a:gd name="connsiteX905" fmla="*/ 7447 w 10785"/>
                  <a:gd name="connsiteY905" fmla="*/ 2470 h 10000"/>
                  <a:gd name="connsiteX906" fmla="*/ 7424 w 10785"/>
                  <a:gd name="connsiteY906" fmla="*/ 2513 h 10000"/>
                  <a:gd name="connsiteX907" fmla="*/ 7419 w 10785"/>
                  <a:gd name="connsiteY907" fmla="*/ 2556 h 10000"/>
                  <a:gd name="connsiteX908" fmla="*/ 7406 w 10785"/>
                  <a:gd name="connsiteY908" fmla="*/ 2624 h 10000"/>
                  <a:gd name="connsiteX909" fmla="*/ 7392 w 10785"/>
                  <a:gd name="connsiteY909" fmla="*/ 2624 h 10000"/>
                  <a:gd name="connsiteX910" fmla="*/ 7373 w 10785"/>
                  <a:gd name="connsiteY910" fmla="*/ 2650 h 10000"/>
                  <a:gd name="connsiteX911" fmla="*/ 7364 w 10785"/>
                  <a:gd name="connsiteY911" fmla="*/ 2684 h 10000"/>
                  <a:gd name="connsiteX912" fmla="*/ 7364 w 10785"/>
                  <a:gd name="connsiteY912" fmla="*/ 2692 h 10000"/>
                  <a:gd name="connsiteX913" fmla="*/ 7373 w 10785"/>
                  <a:gd name="connsiteY913" fmla="*/ 2718 h 10000"/>
                  <a:gd name="connsiteX914" fmla="*/ 7373 w 10785"/>
                  <a:gd name="connsiteY914" fmla="*/ 2744 h 10000"/>
                  <a:gd name="connsiteX915" fmla="*/ 7359 w 10785"/>
                  <a:gd name="connsiteY915" fmla="*/ 2744 h 10000"/>
                  <a:gd name="connsiteX916" fmla="*/ 7359 w 10785"/>
                  <a:gd name="connsiteY916" fmla="*/ 2795 h 10000"/>
                  <a:gd name="connsiteX917" fmla="*/ 7364 w 10785"/>
                  <a:gd name="connsiteY917" fmla="*/ 2821 h 10000"/>
                  <a:gd name="connsiteX918" fmla="*/ 7378 w 10785"/>
                  <a:gd name="connsiteY918" fmla="*/ 2846 h 10000"/>
                  <a:gd name="connsiteX919" fmla="*/ 7378 w 10785"/>
                  <a:gd name="connsiteY919" fmla="*/ 2855 h 10000"/>
                  <a:gd name="connsiteX920" fmla="*/ 7378 w 10785"/>
                  <a:gd name="connsiteY920" fmla="*/ 2880 h 10000"/>
                  <a:gd name="connsiteX921" fmla="*/ 7378 w 10785"/>
                  <a:gd name="connsiteY921" fmla="*/ 2906 h 10000"/>
                  <a:gd name="connsiteX922" fmla="*/ 7364 w 10785"/>
                  <a:gd name="connsiteY922" fmla="*/ 2906 h 10000"/>
                  <a:gd name="connsiteX923" fmla="*/ 7346 w 10785"/>
                  <a:gd name="connsiteY923" fmla="*/ 2880 h 10000"/>
                  <a:gd name="connsiteX924" fmla="*/ 7332 w 10785"/>
                  <a:gd name="connsiteY924" fmla="*/ 2915 h 10000"/>
                  <a:gd name="connsiteX925" fmla="*/ 7318 w 10785"/>
                  <a:gd name="connsiteY925" fmla="*/ 2906 h 10000"/>
                  <a:gd name="connsiteX926" fmla="*/ 7313 w 10785"/>
                  <a:gd name="connsiteY926" fmla="*/ 2915 h 10000"/>
                  <a:gd name="connsiteX927" fmla="*/ 7313 w 10785"/>
                  <a:gd name="connsiteY927" fmla="*/ 2906 h 10000"/>
                  <a:gd name="connsiteX928" fmla="*/ 7286 w 10785"/>
                  <a:gd name="connsiteY928" fmla="*/ 2940 h 10000"/>
                  <a:gd name="connsiteX929" fmla="*/ 7276 w 10785"/>
                  <a:gd name="connsiteY929" fmla="*/ 2966 h 10000"/>
                  <a:gd name="connsiteX930" fmla="*/ 7272 w 10785"/>
                  <a:gd name="connsiteY930" fmla="*/ 2983 h 10000"/>
                  <a:gd name="connsiteX931" fmla="*/ 7267 w 10785"/>
                  <a:gd name="connsiteY931" fmla="*/ 3009 h 10000"/>
                  <a:gd name="connsiteX932" fmla="*/ 7253 w 10785"/>
                  <a:gd name="connsiteY932" fmla="*/ 3009 h 10000"/>
                  <a:gd name="connsiteX933" fmla="*/ 7244 w 10785"/>
                  <a:gd name="connsiteY933" fmla="*/ 3017 h 10000"/>
                  <a:gd name="connsiteX934" fmla="*/ 7240 w 10785"/>
                  <a:gd name="connsiteY934" fmla="*/ 3009 h 10000"/>
                  <a:gd name="connsiteX935" fmla="*/ 7230 w 10785"/>
                  <a:gd name="connsiteY935" fmla="*/ 2991 h 10000"/>
                  <a:gd name="connsiteX936" fmla="*/ 7226 w 10785"/>
                  <a:gd name="connsiteY936" fmla="*/ 2983 h 10000"/>
                  <a:gd name="connsiteX937" fmla="*/ 7226 w 10785"/>
                  <a:gd name="connsiteY937" fmla="*/ 2966 h 10000"/>
                  <a:gd name="connsiteX938" fmla="*/ 7212 w 10785"/>
                  <a:gd name="connsiteY938" fmla="*/ 2957 h 10000"/>
                  <a:gd name="connsiteX939" fmla="*/ 7212 w 10785"/>
                  <a:gd name="connsiteY939" fmla="*/ 2932 h 10000"/>
                  <a:gd name="connsiteX940" fmla="*/ 7198 w 10785"/>
                  <a:gd name="connsiteY940" fmla="*/ 2915 h 10000"/>
                  <a:gd name="connsiteX941" fmla="*/ 7194 w 10785"/>
                  <a:gd name="connsiteY941" fmla="*/ 2915 h 10000"/>
                  <a:gd name="connsiteX942" fmla="*/ 7157 w 10785"/>
                  <a:gd name="connsiteY942" fmla="*/ 2880 h 10000"/>
                  <a:gd name="connsiteX943" fmla="*/ 7138 w 10785"/>
                  <a:gd name="connsiteY943" fmla="*/ 2880 h 10000"/>
                  <a:gd name="connsiteX944" fmla="*/ 7120 w 10785"/>
                  <a:gd name="connsiteY944" fmla="*/ 2872 h 10000"/>
                  <a:gd name="connsiteX945" fmla="*/ 7111 w 10785"/>
                  <a:gd name="connsiteY945" fmla="*/ 2846 h 10000"/>
                  <a:gd name="connsiteX946" fmla="*/ 7106 w 10785"/>
                  <a:gd name="connsiteY946" fmla="*/ 2846 h 10000"/>
                  <a:gd name="connsiteX947" fmla="*/ 7092 w 10785"/>
                  <a:gd name="connsiteY947" fmla="*/ 2829 h 10000"/>
                  <a:gd name="connsiteX948" fmla="*/ 7051 w 10785"/>
                  <a:gd name="connsiteY948" fmla="*/ 2829 h 10000"/>
                  <a:gd name="connsiteX949" fmla="*/ 7037 w 10785"/>
                  <a:gd name="connsiteY949" fmla="*/ 2880 h 10000"/>
                  <a:gd name="connsiteX950" fmla="*/ 7037 w 10785"/>
                  <a:gd name="connsiteY950" fmla="*/ 2906 h 10000"/>
                  <a:gd name="connsiteX951" fmla="*/ 7037 w 10785"/>
                  <a:gd name="connsiteY951" fmla="*/ 2932 h 10000"/>
                  <a:gd name="connsiteX952" fmla="*/ 7037 w 10785"/>
                  <a:gd name="connsiteY952" fmla="*/ 2940 h 10000"/>
                  <a:gd name="connsiteX953" fmla="*/ 7023 w 10785"/>
                  <a:gd name="connsiteY953" fmla="*/ 2906 h 10000"/>
                  <a:gd name="connsiteX954" fmla="*/ 7023 w 10785"/>
                  <a:gd name="connsiteY954" fmla="*/ 2915 h 10000"/>
                  <a:gd name="connsiteX955" fmla="*/ 6991 w 10785"/>
                  <a:gd name="connsiteY955" fmla="*/ 2906 h 10000"/>
                  <a:gd name="connsiteX956" fmla="*/ 6977 w 10785"/>
                  <a:gd name="connsiteY956" fmla="*/ 2915 h 10000"/>
                  <a:gd name="connsiteX957" fmla="*/ 6963 w 10785"/>
                  <a:gd name="connsiteY957" fmla="*/ 2915 h 10000"/>
                  <a:gd name="connsiteX958" fmla="*/ 6949 w 10785"/>
                  <a:gd name="connsiteY958" fmla="*/ 2872 h 10000"/>
                  <a:gd name="connsiteX959" fmla="*/ 6935 w 10785"/>
                  <a:gd name="connsiteY959" fmla="*/ 2855 h 10000"/>
                  <a:gd name="connsiteX960" fmla="*/ 6922 w 10785"/>
                  <a:gd name="connsiteY960" fmla="*/ 2803 h 10000"/>
                  <a:gd name="connsiteX961" fmla="*/ 6917 w 10785"/>
                  <a:gd name="connsiteY961" fmla="*/ 2786 h 10000"/>
                  <a:gd name="connsiteX962" fmla="*/ 6903 w 10785"/>
                  <a:gd name="connsiteY962" fmla="*/ 2709 h 10000"/>
                  <a:gd name="connsiteX963" fmla="*/ 6903 w 10785"/>
                  <a:gd name="connsiteY963" fmla="*/ 2692 h 10000"/>
                  <a:gd name="connsiteX964" fmla="*/ 6899 w 10785"/>
                  <a:gd name="connsiteY964" fmla="*/ 2709 h 10000"/>
                  <a:gd name="connsiteX965" fmla="*/ 6857 w 10785"/>
                  <a:gd name="connsiteY965" fmla="*/ 2872 h 10000"/>
                  <a:gd name="connsiteX966" fmla="*/ 6857 w 10785"/>
                  <a:gd name="connsiteY966" fmla="*/ 3009 h 10000"/>
                  <a:gd name="connsiteX967" fmla="*/ 6848 w 10785"/>
                  <a:gd name="connsiteY967" fmla="*/ 3017 h 10000"/>
                  <a:gd name="connsiteX968" fmla="*/ 6839 w 10785"/>
                  <a:gd name="connsiteY968" fmla="*/ 3068 h 10000"/>
                  <a:gd name="connsiteX969" fmla="*/ 6829 w 10785"/>
                  <a:gd name="connsiteY969" fmla="*/ 3077 h 10000"/>
                  <a:gd name="connsiteX970" fmla="*/ 6829 w 10785"/>
                  <a:gd name="connsiteY970" fmla="*/ 3128 h 10000"/>
                  <a:gd name="connsiteX971" fmla="*/ 6816 w 10785"/>
                  <a:gd name="connsiteY971" fmla="*/ 3154 h 10000"/>
                  <a:gd name="connsiteX972" fmla="*/ 6811 w 10785"/>
                  <a:gd name="connsiteY972" fmla="*/ 3179 h 10000"/>
                  <a:gd name="connsiteX973" fmla="*/ 6797 w 10785"/>
                  <a:gd name="connsiteY973" fmla="*/ 3171 h 10000"/>
                  <a:gd name="connsiteX974" fmla="*/ 6783 w 10785"/>
                  <a:gd name="connsiteY974" fmla="*/ 3103 h 10000"/>
                  <a:gd name="connsiteX975" fmla="*/ 6779 w 10785"/>
                  <a:gd name="connsiteY975" fmla="*/ 3094 h 10000"/>
                  <a:gd name="connsiteX976" fmla="*/ 6779 w 10785"/>
                  <a:gd name="connsiteY976" fmla="*/ 3120 h 10000"/>
                  <a:gd name="connsiteX977" fmla="*/ 6770 w 10785"/>
                  <a:gd name="connsiteY977" fmla="*/ 3128 h 10000"/>
                  <a:gd name="connsiteX978" fmla="*/ 6765 w 10785"/>
                  <a:gd name="connsiteY978" fmla="*/ 3103 h 10000"/>
                  <a:gd name="connsiteX979" fmla="*/ 6756 w 10785"/>
                  <a:gd name="connsiteY979" fmla="*/ 3103 h 10000"/>
                  <a:gd name="connsiteX980" fmla="*/ 6742 w 10785"/>
                  <a:gd name="connsiteY980" fmla="*/ 3103 h 10000"/>
                  <a:gd name="connsiteX981" fmla="*/ 6737 w 10785"/>
                  <a:gd name="connsiteY981" fmla="*/ 3077 h 10000"/>
                  <a:gd name="connsiteX982" fmla="*/ 6737 w 10785"/>
                  <a:gd name="connsiteY982" fmla="*/ 3068 h 10000"/>
                  <a:gd name="connsiteX983" fmla="*/ 6728 w 10785"/>
                  <a:gd name="connsiteY983" fmla="*/ 3043 h 10000"/>
                  <a:gd name="connsiteX984" fmla="*/ 6724 w 10785"/>
                  <a:gd name="connsiteY984" fmla="*/ 3051 h 10000"/>
                  <a:gd name="connsiteX985" fmla="*/ 6714 w 10785"/>
                  <a:gd name="connsiteY985" fmla="*/ 3043 h 10000"/>
                  <a:gd name="connsiteX986" fmla="*/ 6710 w 10785"/>
                  <a:gd name="connsiteY986" fmla="*/ 3034 h 10000"/>
                  <a:gd name="connsiteX987" fmla="*/ 6705 w 10785"/>
                  <a:gd name="connsiteY987" fmla="*/ 2983 h 10000"/>
                  <a:gd name="connsiteX988" fmla="*/ 6696 w 10785"/>
                  <a:gd name="connsiteY988" fmla="*/ 2966 h 10000"/>
                  <a:gd name="connsiteX989" fmla="*/ 6691 w 10785"/>
                  <a:gd name="connsiteY989" fmla="*/ 2983 h 10000"/>
                  <a:gd name="connsiteX990" fmla="*/ 6677 w 10785"/>
                  <a:gd name="connsiteY990" fmla="*/ 2897 h 10000"/>
                  <a:gd name="connsiteX991" fmla="*/ 6677 w 10785"/>
                  <a:gd name="connsiteY991" fmla="*/ 2897 h 10000"/>
                  <a:gd name="connsiteX992" fmla="*/ 6677 w 10785"/>
                  <a:gd name="connsiteY992" fmla="*/ 2872 h 10000"/>
                  <a:gd name="connsiteX993" fmla="*/ 6668 w 10785"/>
                  <a:gd name="connsiteY993" fmla="*/ 2821 h 10000"/>
                  <a:gd name="connsiteX994" fmla="*/ 6664 w 10785"/>
                  <a:gd name="connsiteY994" fmla="*/ 2829 h 10000"/>
                  <a:gd name="connsiteX995" fmla="*/ 6654 w 10785"/>
                  <a:gd name="connsiteY995" fmla="*/ 2846 h 10000"/>
                  <a:gd name="connsiteX996" fmla="*/ 6650 w 10785"/>
                  <a:gd name="connsiteY996" fmla="*/ 2829 h 10000"/>
                  <a:gd name="connsiteX997" fmla="*/ 6650 w 10785"/>
                  <a:gd name="connsiteY997" fmla="*/ 2803 h 10000"/>
                  <a:gd name="connsiteX998" fmla="*/ 6650 w 10785"/>
                  <a:gd name="connsiteY998" fmla="*/ 2795 h 10000"/>
                  <a:gd name="connsiteX999" fmla="*/ 6641 w 10785"/>
                  <a:gd name="connsiteY999" fmla="*/ 2786 h 10000"/>
                  <a:gd name="connsiteX1000" fmla="*/ 6636 w 10785"/>
                  <a:gd name="connsiteY1000" fmla="*/ 2735 h 10000"/>
                  <a:gd name="connsiteX1001" fmla="*/ 6664 w 10785"/>
                  <a:gd name="connsiteY1001" fmla="*/ 2667 h 10000"/>
                  <a:gd name="connsiteX1002" fmla="*/ 6668 w 10785"/>
                  <a:gd name="connsiteY1002" fmla="*/ 2684 h 10000"/>
                  <a:gd name="connsiteX1003" fmla="*/ 6677 w 10785"/>
                  <a:gd name="connsiteY1003" fmla="*/ 2667 h 10000"/>
                  <a:gd name="connsiteX1004" fmla="*/ 6668 w 10785"/>
                  <a:gd name="connsiteY1004" fmla="*/ 2667 h 10000"/>
                  <a:gd name="connsiteX1005" fmla="*/ 6668 w 10785"/>
                  <a:gd name="connsiteY1005" fmla="*/ 2650 h 10000"/>
                  <a:gd name="connsiteX1006" fmla="*/ 6682 w 10785"/>
                  <a:gd name="connsiteY1006" fmla="*/ 2650 h 10000"/>
                  <a:gd name="connsiteX1007" fmla="*/ 6691 w 10785"/>
                  <a:gd name="connsiteY1007" fmla="*/ 2624 h 10000"/>
                  <a:gd name="connsiteX1008" fmla="*/ 6682 w 10785"/>
                  <a:gd name="connsiteY1008" fmla="*/ 2632 h 10000"/>
                  <a:gd name="connsiteX1009" fmla="*/ 6682 w 10785"/>
                  <a:gd name="connsiteY1009" fmla="*/ 2624 h 10000"/>
                  <a:gd name="connsiteX1010" fmla="*/ 6691 w 10785"/>
                  <a:gd name="connsiteY1010" fmla="*/ 2607 h 10000"/>
                  <a:gd name="connsiteX1011" fmla="*/ 6691 w 10785"/>
                  <a:gd name="connsiteY1011" fmla="*/ 2598 h 10000"/>
                  <a:gd name="connsiteX1012" fmla="*/ 6691 w 10785"/>
                  <a:gd name="connsiteY1012" fmla="*/ 2581 h 10000"/>
                  <a:gd name="connsiteX1013" fmla="*/ 6696 w 10785"/>
                  <a:gd name="connsiteY1013" fmla="*/ 2530 h 10000"/>
                  <a:gd name="connsiteX1014" fmla="*/ 6677 w 10785"/>
                  <a:gd name="connsiteY1014" fmla="*/ 2513 h 10000"/>
                  <a:gd name="connsiteX1015" fmla="*/ 6677 w 10785"/>
                  <a:gd name="connsiteY1015" fmla="*/ 2496 h 10000"/>
                  <a:gd name="connsiteX1016" fmla="*/ 6682 w 10785"/>
                  <a:gd name="connsiteY1016" fmla="*/ 2470 h 10000"/>
                  <a:gd name="connsiteX1017" fmla="*/ 6668 w 10785"/>
                  <a:gd name="connsiteY1017" fmla="*/ 2462 h 10000"/>
                  <a:gd name="connsiteX1018" fmla="*/ 6677 w 10785"/>
                  <a:gd name="connsiteY1018" fmla="*/ 2436 h 10000"/>
                  <a:gd name="connsiteX1019" fmla="*/ 6682 w 10785"/>
                  <a:gd name="connsiteY1019" fmla="*/ 2419 h 10000"/>
                  <a:gd name="connsiteX1020" fmla="*/ 6682 w 10785"/>
                  <a:gd name="connsiteY1020" fmla="*/ 2393 h 10000"/>
                  <a:gd name="connsiteX1021" fmla="*/ 6682 w 10785"/>
                  <a:gd name="connsiteY1021" fmla="*/ 2385 h 10000"/>
                  <a:gd name="connsiteX1022" fmla="*/ 6682 w 10785"/>
                  <a:gd name="connsiteY1022" fmla="*/ 2385 h 10000"/>
                  <a:gd name="connsiteX1023" fmla="*/ 6677 w 10785"/>
                  <a:gd name="connsiteY1023" fmla="*/ 2376 h 10000"/>
                  <a:gd name="connsiteX1024" fmla="*/ 6682 w 10785"/>
                  <a:gd name="connsiteY1024" fmla="*/ 2359 h 10000"/>
                  <a:gd name="connsiteX1025" fmla="*/ 6677 w 10785"/>
                  <a:gd name="connsiteY1025" fmla="*/ 2333 h 10000"/>
                  <a:gd name="connsiteX1026" fmla="*/ 6691 w 10785"/>
                  <a:gd name="connsiteY1026" fmla="*/ 2333 h 10000"/>
                  <a:gd name="connsiteX1027" fmla="*/ 6691 w 10785"/>
                  <a:gd name="connsiteY1027" fmla="*/ 2325 h 10000"/>
                  <a:gd name="connsiteX1028" fmla="*/ 6691 w 10785"/>
                  <a:gd name="connsiteY1028" fmla="*/ 2308 h 10000"/>
                  <a:gd name="connsiteX1029" fmla="*/ 6691 w 10785"/>
                  <a:gd name="connsiteY1029" fmla="*/ 2299 h 10000"/>
                  <a:gd name="connsiteX1030" fmla="*/ 6691 w 10785"/>
                  <a:gd name="connsiteY1030" fmla="*/ 2282 h 10000"/>
                  <a:gd name="connsiteX1031" fmla="*/ 6691 w 10785"/>
                  <a:gd name="connsiteY1031" fmla="*/ 2274 h 10000"/>
                  <a:gd name="connsiteX1032" fmla="*/ 6668 w 10785"/>
                  <a:gd name="connsiteY1032" fmla="*/ 2248 h 10000"/>
                  <a:gd name="connsiteX1033" fmla="*/ 6664 w 10785"/>
                  <a:gd name="connsiteY1033" fmla="*/ 2222 h 10000"/>
                  <a:gd name="connsiteX1034" fmla="*/ 6654 w 10785"/>
                  <a:gd name="connsiteY1034" fmla="*/ 2214 h 10000"/>
                  <a:gd name="connsiteX1035" fmla="*/ 6654 w 10785"/>
                  <a:gd name="connsiteY1035" fmla="*/ 2188 h 10000"/>
                  <a:gd name="connsiteX1036" fmla="*/ 6622 w 10785"/>
                  <a:gd name="connsiteY1036" fmla="*/ 2162 h 10000"/>
                  <a:gd name="connsiteX1037" fmla="*/ 6631 w 10785"/>
                  <a:gd name="connsiteY1037" fmla="*/ 2145 h 10000"/>
                  <a:gd name="connsiteX1038" fmla="*/ 6622 w 10785"/>
                  <a:gd name="connsiteY1038" fmla="*/ 2120 h 10000"/>
                  <a:gd name="connsiteX1039" fmla="*/ 6608 w 10785"/>
                  <a:gd name="connsiteY1039" fmla="*/ 2120 h 10000"/>
                  <a:gd name="connsiteX1040" fmla="*/ 6604 w 10785"/>
                  <a:gd name="connsiteY1040" fmla="*/ 2111 h 10000"/>
                  <a:gd name="connsiteX1041" fmla="*/ 6608 w 10785"/>
                  <a:gd name="connsiteY1041" fmla="*/ 2111 h 10000"/>
                  <a:gd name="connsiteX1042" fmla="*/ 6604 w 10785"/>
                  <a:gd name="connsiteY1042" fmla="*/ 2085 h 10000"/>
                  <a:gd name="connsiteX1043" fmla="*/ 6581 w 10785"/>
                  <a:gd name="connsiteY1043" fmla="*/ 2077 h 10000"/>
                  <a:gd name="connsiteX1044" fmla="*/ 6571 w 10785"/>
                  <a:gd name="connsiteY1044" fmla="*/ 2085 h 10000"/>
                  <a:gd name="connsiteX1045" fmla="*/ 6548 w 10785"/>
                  <a:gd name="connsiteY1045" fmla="*/ 2077 h 10000"/>
                  <a:gd name="connsiteX1046" fmla="*/ 6530 w 10785"/>
                  <a:gd name="connsiteY1046" fmla="*/ 2060 h 10000"/>
                  <a:gd name="connsiteX1047" fmla="*/ 6521 w 10785"/>
                  <a:gd name="connsiteY1047" fmla="*/ 2060 h 10000"/>
                  <a:gd name="connsiteX1048" fmla="*/ 6521 w 10785"/>
                  <a:gd name="connsiteY1048" fmla="*/ 2085 h 10000"/>
                  <a:gd name="connsiteX1049" fmla="*/ 6516 w 10785"/>
                  <a:gd name="connsiteY1049" fmla="*/ 2085 h 10000"/>
                  <a:gd name="connsiteX1050" fmla="*/ 6502 w 10785"/>
                  <a:gd name="connsiteY1050" fmla="*/ 2111 h 10000"/>
                  <a:gd name="connsiteX1051" fmla="*/ 6498 w 10785"/>
                  <a:gd name="connsiteY1051" fmla="*/ 2111 h 10000"/>
                  <a:gd name="connsiteX1052" fmla="*/ 6498 w 10785"/>
                  <a:gd name="connsiteY1052" fmla="*/ 2103 h 10000"/>
                  <a:gd name="connsiteX1053" fmla="*/ 6475 w 10785"/>
                  <a:gd name="connsiteY1053" fmla="*/ 2051 h 10000"/>
                  <a:gd name="connsiteX1054" fmla="*/ 6470 w 10785"/>
                  <a:gd name="connsiteY1054" fmla="*/ 2060 h 10000"/>
                  <a:gd name="connsiteX1055" fmla="*/ 6456 w 10785"/>
                  <a:gd name="connsiteY1055" fmla="*/ 2051 h 10000"/>
                  <a:gd name="connsiteX1056" fmla="*/ 6447 w 10785"/>
                  <a:gd name="connsiteY1056" fmla="*/ 2051 h 10000"/>
                  <a:gd name="connsiteX1057" fmla="*/ 6433 w 10785"/>
                  <a:gd name="connsiteY1057" fmla="*/ 2026 h 10000"/>
                  <a:gd name="connsiteX1058" fmla="*/ 6433 w 10785"/>
                  <a:gd name="connsiteY1058" fmla="*/ 2034 h 10000"/>
                  <a:gd name="connsiteX1059" fmla="*/ 6429 w 10785"/>
                  <a:gd name="connsiteY1059" fmla="*/ 2026 h 10000"/>
                  <a:gd name="connsiteX1060" fmla="*/ 6424 w 10785"/>
                  <a:gd name="connsiteY1060" fmla="*/ 2034 h 10000"/>
                  <a:gd name="connsiteX1061" fmla="*/ 6410 w 10785"/>
                  <a:gd name="connsiteY1061" fmla="*/ 2026 h 10000"/>
                  <a:gd name="connsiteX1062" fmla="*/ 6410 w 10785"/>
                  <a:gd name="connsiteY1062" fmla="*/ 1991 h 10000"/>
                  <a:gd name="connsiteX1063" fmla="*/ 6401 w 10785"/>
                  <a:gd name="connsiteY1063" fmla="*/ 1991 h 10000"/>
                  <a:gd name="connsiteX1064" fmla="*/ 6396 w 10785"/>
                  <a:gd name="connsiteY1064" fmla="*/ 2000 h 10000"/>
                  <a:gd name="connsiteX1065" fmla="*/ 6382 w 10785"/>
                  <a:gd name="connsiteY1065" fmla="*/ 1966 h 10000"/>
                  <a:gd name="connsiteX1066" fmla="*/ 6373 w 10785"/>
                  <a:gd name="connsiteY1066" fmla="*/ 1974 h 10000"/>
                  <a:gd name="connsiteX1067" fmla="*/ 6369 w 10785"/>
                  <a:gd name="connsiteY1067" fmla="*/ 1966 h 10000"/>
                  <a:gd name="connsiteX1068" fmla="*/ 6341 w 10785"/>
                  <a:gd name="connsiteY1068" fmla="*/ 1949 h 10000"/>
                  <a:gd name="connsiteX1069" fmla="*/ 6327 w 10785"/>
                  <a:gd name="connsiteY1069" fmla="*/ 1923 h 10000"/>
                  <a:gd name="connsiteX1070" fmla="*/ 6323 w 10785"/>
                  <a:gd name="connsiteY1070" fmla="*/ 1923 h 10000"/>
                  <a:gd name="connsiteX1071" fmla="*/ 6323 w 10785"/>
                  <a:gd name="connsiteY1071" fmla="*/ 1966 h 10000"/>
                  <a:gd name="connsiteX1072" fmla="*/ 6323 w 10785"/>
                  <a:gd name="connsiteY1072" fmla="*/ 1991 h 10000"/>
                  <a:gd name="connsiteX1073" fmla="*/ 6313 w 10785"/>
                  <a:gd name="connsiteY1073" fmla="*/ 1991 h 10000"/>
                  <a:gd name="connsiteX1074" fmla="*/ 6300 w 10785"/>
                  <a:gd name="connsiteY1074" fmla="*/ 1991 h 10000"/>
                  <a:gd name="connsiteX1075" fmla="*/ 6290 w 10785"/>
                  <a:gd name="connsiteY1075" fmla="*/ 1949 h 10000"/>
                  <a:gd name="connsiteX1076" fmla="*/ 6276 w 10785"/>
                  <a:gd name="connsiteY1076" fmla="*/ 2103 h 10000"/>
                  <a:gd name="connsiteX1077" fmla="*/ 6281 w 10785"/>
                  <a:gd name="connsiteY1077" fmla="*/ 2103 h 10000"/>
                  <a:gd name="connsiteX1078" fmla="*/ 6276 w 10785"/>
                  <a:gd name="connsiteY1078" fmla="*/ 2111 h 10000"/>
                  <a:gd name="connsiteX1079" fmla="*/ 6276 w 10785"/>
                  <a:gd name="connsiteY1079" fmla="*/ 2120 h 10000"/>
                  <a:gd name="connsiteX1080" fmla="*/ 6295 w 10785"/>
                  <a:gd name="connsiteY1080" fmla="*/ 2239 h 10000"/>
                  <a:gd name="connsiteX1081" fmla="*/ 6290 w 10785"/>
                  <a:gd name="connsiteY1081" fmla="*/ 2248 h 10000"/>
                  <a:gd name="connsiteX1082" fmla="*/ 6281 w 10785"/>
                  <a:gd name="connsiteY1082" fmla="*/ 2274 h 10000"/>
                  <a:gd name="connsiteX1083" fmla="*/ 6249 w 10785"/>
                  <a:gd name="connsiteY1083" fmla="*/ 2274 h 10000"/>
                  <a:gd name="connsiteX1084" fmla="*/ 6226 w 10785"/>
                  <a:gd name="connsiteY1084" fmla="*/ 2308 h 10000"/>
                  <a:gd name="connsiteX1085" fmla="*/ 6221 w 10785"/>
                  <a:gd name="connsiteY1085" fmla="*/ 2299 h 10000"/>
                  <a:gd name="connsiteX1086" fmla="*/ 6221 w 10785"/>
                  <a:gd name="connsiteY1086" fmla="*/ 2308 h 10000"/>
                  <a:gd name="connsiteX1087" fmla="*/ 6217 w 10785"/>
                  <a:gd name="connsiteY1087" fmla="*/ 2299 h 10000"/>
                  <a:gd name="connsiteX1088" fmla="*/ 6194 w 10785"/>
                  <a:gd name="connsiteY1088" fmla="*/ 2308 h 10000"/>
                  <a:gd name="connsiteX1089" fmla="*/ 6180 w 10785"/>
                  <a:gd name="connsiteY1089" fmla="*/ 2299 h 10000"/>
                  <a:gd name="connsiteX1090" fmla="*/ 6143 w 10785"/>
                  <a:gd name="connsiteY1090" fmla="*/ 2308 h 10000"/>
                  <a:gd name="connsiteX1091" fmla="*/ 6134 w 10785"/>
                  <a:gd name="connsiteY1091" fmla="*/ 2325 h 10000"/>
                  <a:gd name="connsiteX1092" fmla="*/ 6115 w 10785"/>
                  <a:gd name="connsiteY1092" fmla="*/ 2282 h 10000"/>
                  <a:gd name="connsiteX1093" fmla="*/ 6069 w 10785"/>
                  <a:gd name="connsiteY1093" fmla="*/ 2274 h 10000"/>
                  <a:gd name="connsiteX1094" fmla="*/ 6069 w 10785"/>
                  <a:gd name="connsiteY1094" fmla="*/ 2282 h 10000"/>
                  <a:gd name="connsiteX1095" fmla="*/ 6060 w 10785"/>
                  <a:gd name="connsiteY1095" fmla="*/ 2299 h 10000"/>
                  <a:gd name="connsiteX1096" fmla="*/ 5972 w 10785"/>
                  <a:gd name="connsiteY1096" fmla="*/ 2214 h 10000"/>
                  <a:gd name="connsiteX1097" fmla="*/ 5968 w 10785"/>
                  <a:gd name="connsiteY1097" fmla="*/ 2197 h 10000"/>
                  <a:gd name="connsiteX1098" fmla="*/ 5968 w 10785"/>
                  <a:gd name="connsiteY1098" fmla="*/ 2171 h 10000"/>
                  <a:gd name="connsiteX1099" fmla="*/ 5968 w 10785"/>
                  <a:gd name="connsiteY1099" fmla="*/ 2162 h 10000"/>
                  <a:gd name="connsiteX1100" fmla="*/ 5968 w 10785"/>
                  <a:gd name="connsiteY1100" fmla="*/ 2120 h 10000"/>
                  <a:gd name="connsiteX1101" fmla="*/ 5968 w 10785"/>
                  <a:gd name="connsiteY1101" fmla="*/ 2111 h 10000"/>
                  <a:gd name="connsiteX1102" fmla="*/ 5972 w 10785"/>
                  <a:gd name="connsiteY1102" fmla="*/ 2103 h 10000"/>
                  <a:gd name="connsiteX1103" fmla="*/ 5986 w 10785"/>
                  <a:gd name="connsiteY1103" fmla="*/ 2103 h 10000"/>
                  <a:gd name="connsiteX1104" fmla="*/ 5986 w 10785"/>
                  <a:gd name="connsiteY1104" fmla="*/ 2085 h 10000"/>
                  <a:gd name="connsiteX1105" fmla="*/ 5995 w 10785"/>
                  <a:gd name="connsiteY1105" fmla="*/ 2085 h 10000"/>
                  <a:gd name="connsiteX1106" fmla="*/ 5995 w 10785"/>
                  <a:gd name="connsiteY1106" fmla="*/ 2077 h 10000"/>
                  <a:gd name="connsiteX1107" fmla="*/ 5986 w 10785"/>
                  <a:gd name="connsiteY1107" fmla="*/ 2060 h 10000"/>
                  <a:gd name="connsiteX1108" fmla="*/ 5954 w 10785"/>
                  <a:gd name="connsiteY1108" fmla="*/ 2060 h 10000"/>
                  <a:gd name="connsiteX1109" fmla="*/ 5940 w 10785"/>
                  <a:gd name="connsiteY1109" fmla="*/ 2051 h 10000"/>
                  <a:gd name="connsiteX1110" fmla="*/ 5922 w 10785"/>
                  <a:gd name="connsiteY1110" fmla="*/ 2060 h 10000"/>
                  <a:gd name="connsiteX1111" fmla="*/ 5885 w 10785"/>
                  <a:gd name="connsiteY1111" fmla="*/ 2051 h 10000"/>
                  <a:gd name="connsiteX1112" fmla="*/ 5876 w 10785"/>
                  <a:gd name="connsiteY1112" fmla="*/ 2026 h 10000"/>
                  <a:gd name="connsiteX1113" fmla="*/ 5862 w 10785"/>
                  <a:gd name="connsiteY1113" fmla="*/ 2026 h 10000"/>
                  <a:gd name="connsiteX1114" fmla="*/ 5848 w 10785"/>
                  <a:gd name="connsiteY1114" fmla="*/ 2026 h 10000"/>
                  <a:gd name="connsiteX1115" fmla="*/ 5825 w 10785"/>
                  <a:gd name="connsiteY1115" fmla="*/ 2026 h 10000"/>
                  <a:gd name="connsiteX1116" fmla="*/ 5788 w 10785"/>
                  <a:gd name="connsiteY1116" fmla="*/ 1991 h 10000"/>
                  <a:gd name="connsiteX1117" fmla="*/ 5760 w 10785"/>
                  <a:gd name="connsiteY1117" fmla="*/ 2000 h 10000"/>
                  <a:gd name="connsiteX1118" fmla="*/ 5760 w 10785"/>
                  <a:gd name="connsiteY1118" fmla="*/ 2026 h 10000"/>
                  <a:gd name="connsiteX1119" fmla="*/ 5714 w 10785"/>
                  <a:gd name="connsiteY1119" fmla="*/ 2051 h 10000"/>
                  <a:gd name="connsiteX1120" fmla="*/ 5687 w 10785"/>
                  <a:gd name="connsiteY1120" fmla="*/ 2034 h 10000"/>
                  <a:gd name="connsiteX1121" fmla="*/ 5645 w 10785"/>
                  <a:gd name="connsiteY1121" fmla="*/ 2077 h 10000"/>
                  <a:gd name="connsiteX1122" fmla="*/ 5664 w 10785"/>
                  <a:gd name="connsiteY1122" fmla="*/ 2120 h 10000"/>
                  <a:gd name="connsiteX1123" fmla="*/ 5664 w 10785"/>
                  <a:gd name="connsiteY1123" fmla="*/ 2162 h 10000"/>
                  <a:gd name="connsiteX1124" fmla="*/ 5631 w 10785"/>
                  <a:gd name="connsiteY1124" fmla="*/ 2197 h 10000"/>
                  <a:gd name="connsiteX1125" fmla="*/ 5618 w 10785"/>
                  <a:gd name="connsiteY1125" fmla="*/ 2188 h 10000"/>
                  <a:gd name="connsiteX1126" fmla="*/ 5618 w 10785"/>
                  <a:gd name="connsiteY1126" fmla="*/ 2171 h 10000"/>
                  <a:gd name="connsiteX1127" fmla="*/ 5641 w 10785"/>
                  <a:gd name="connsiteY1127" fmla="*/ 2171 h 10000"/>
                  <a:gd name="connsiteX1128" fmla="*/ 5641 w 10785"/>
                  <a:gd name="connsiteY1128" fmla="*/ 2162 h 10000"/>
                  <a:gd name="connsiteX1129" fmla="*/ 5627 w 10785"/>
                  <a:gd name="connsiteY1129" fmla="*/ 2145 h 10000"/>
                  <a:gd name="connsiteX1130" fmla="*/ 5627 w 10785"/>
                  <a:gd name="connsiteY1130" fmla="*/ 2120 h 10000"/>
                  <a:gd name="connsiteX1131" fmla="*/ 5618 w 10785"/>
                  <a:gd name="connsiteY1131" fmla="*/ 2111 h 10000"/>
                  <a:gd name="connsiteX1132" fmla="*/ 5631 w 10785"/>
                  <a:gd name="connsiteY1132" fmla="*/ 2051 h 10000"/>
                  <a:gd name="connsiteX1133" fmla="*/ 5631 w 10785"/>
                  <a:gd name="connsiteY1133" fmla="*/ 2026 h 10000"/>
                  <a:gd name="connsiteX1134" fmla="*/ 5627 w 10785"/>
                  <a:gd name="connsiteY1134" fmla="*/ 1991 h 10000"/>
                  <a:gd name="connsiteX1135" fmla="*/ 5618 w 10785"/>
                  <a:gd name="connsiteY1135" fmla="*/ 1974 h 10000"/>
                  <a:gd name="connsiteX1136" fmla="*/ 5618 w 10785"/>
                  <a:gd name="connsiteY1136" fmla="*/ 1940 h 10000"/>
                  <a:gd name="connsiteX1137" fmla="*/ 5594 w 10785"/>
                  <a:gd name="connsiteY1137" fmla="*/ 1855 h 10000"/>
                  <a:gd name="connsiteX1138" fmla="*/ 5599 w 10785"/>
                  <a:gd name="connsiteY1138" fmla="*/ 1915 h 10000"/>
                  <a:gd name="connsiteX1139" fmla="*/ 5599 w 10785"/>
                  <a:gd name="connsiteY1139" fmla="*/ 1949 h 10000"/>
                  <a:gd name="connsiteX1140" fmla="*/ 5594 w 10785"/>
                  <a:gd name="connsiteY1140" fmla="*/ 1991 h 10000"/>
                  <a:gd name="connsiteX1141" fmla="*/ 5571 w 10785"/>
                  <a:gd name="connsiteY1141" fmla="*/ 2000 h 10000"/>
                  <a:gd name="connsiteX1142" fmla="*/ 5530 w 10785"/>
                  <a:gd name="connsiteY1142" fmla="*/ 1991 h 10000"/>
                  <a:gd name="connsiteX1143" fmla="*/ 5525 w 10785"/>
                  <a:gd name="connsiteY1143" fmla="*/ 2000 h 10000"/>
                  <a:gd name="connsiteX1144" fmla="*/ 5521 w 10785"/>
                  <a:gd name="connsiteY1144" fmla="*/ 1991 h 10000"/>
                  <a:gd name="connsiteX1145" fmla="*/ 5498 w 10785"/>
                  <a:gd name="connsiteY1145" fmla="*/ 1949 h 10000"/>
                  <a:gd name="connsiteX1146" fmla="*/ 5493 w 10785"/>
                  <a:gd name="connsiteY1146" fmla="*/ 1889 h 10000"/>
                  <a:gd name="connsiteX1147" fmla="*/ 5493 w 10785"/>
                  <a:gd name="connsiteY1147" fmla="*/ 1863 h 10000"/>
                  <a:gd name="connsiteX1148" fmla="*/ 5498 w 10785"/>
                  <a:gd name="connsiteY1148" fmla="*/ 1889 h 10000"/>
                  <a:gd name="connsiteX1149" fmla="*/ 5512 w 10785"/>
                  <a:gd name="connsiteY1149" fmla="*/ 1855 h 10000"/>
                  <a:gd name="connsiteX1150" fmla="*/ 5512 w 10785"/>
                  <a:gd name="connsiteY1150" fmla="*/ 1838 h 10000"/>
                  <a:gd name="connsiteX1151" fmla="*/ 5479 w 10785"/>
                  <a:gd name="connsiteY1151" fmla="*/ 1855 h 10000"/>
                  <a:gd name="connsiteX1152" fmla="*/ 5470 w 10785"/>
                  <a:gd name="connsiteY1152" fmla="*/ 1872 h 10000"/>
                  <a:gd name="connsiteX1153" fmla="*/ 5470 w 10785"/>
                  <a:gd name="connsiteY1153" fmla="*/ 1889 h 10000"/>
                  <a:gd name="connsiteX1154" fmla="*/ 5465 w 10785"/>
                  <a:gd name="connsiteY1154" fmla="*/ 1897 h 10000"/>
                  <a:gd name="connsiteX1155" fmla="*/ 5456 w 10785"/>
                  <a:gd name="connsiteY1155" fmla="*/ 1872 h 10000"/>
                  <a:gd name="connsiteX1156" fmla="*/ 5447 w 10785"/>
                  <a:gd name="connsiteY1156" fmla="*/ 1872 h 10000"/>
                  <a:gd name="connsiteX1157" fmla="*/ 5433 w 10785"/>
                  <a:gd name="connsiteY1157" fmla="*/ 1855 h 10000"/>
                  <a:gd name="connsiteX1158" fmla="*/ 5396 w 10785"/>
                  <a:gd name="connsiteY1158" fmla="*/ 1863 h 10000"/>
                  <a:gd name="connsiteX1159" fmla="*/ 5396 w 10785"/>
                  <a:gd name="connsiteY1159" fmla="*/ 1897 h 10000"/>
                  <a:gd name="connsiteX1160" fmla="*/ 5378 w 10785"/>
                  <a:gd name="connsiteY1160" fmla="*/ 1949 h 10000"/>
                  <a:gd name="connsiteX1161" fmla="*/ 5378 w 10785"/>
                  <a:gd name="connsiteY1161" fmla="*/ 1966 h 10000"/>
                  <a:gd name="connsiteX1162" fmla="*/ 5392 w 10785"/>
                  <a:gd name="connsiteY1162" fmla="*/ 2026 h 10000"/>
                  <a:gd name="connsiteX1163" fmla="*/ 5396 w 10785"/>
                  <a:gd name="connsiteY1163" fmla="*/ 2026 h 10000"/>
                  <a:gd name="connsiteX1164" fmla="*/ 5392 w 10785"/>
                  <a:gd name="connsiteY1164" fmla="*/ 2009 h 10000"/>
                  <a:gd name="connsiteX1165" fmla="*/ 5392 w 10785"/>
                  <a:gd name="connsiteY1165" fmla="*/ 2000 h 10000"/>
                  <a:gd name="connsiteX1166" fmla="*/ 5396 w 10785"/>
                  <a:gd name="connsiteY1166" fmla="*/ 2009 h 10000"/>
                  <a:gd name="connsiteX1167" fmla="*/ 5424 w 10785"/>
                  <a:gd name="connsiteY1167" fmla="*/ 2009 h 10000"/>
                  <a:gd name="connsiteX1168" fmla="*/ 5433 w 10785"/>
                  <a:gd name="connsiteY1168" fmla="*/ 1991 h 10000"/>
                  <a:gd name="connsiteX1169" fmla="*/ 5447 w 10785"/>
                  <a:gd name="connsiteY1169" fmla="*/ 1974 h 10000"/>
                  <a:gd name="connsiteX1170" fmla="*/ 5452 w 10785"/>
                  <a:gd name="connsiteY1170" fmla="*/ 1966 h 10000"/>
                  <a:gd name="connsiteX1171" fmla="*/ 5456 w 10785"/>
                  <a:gd name="connsiteY1171" fmla="*/ 1966 h 10000"/>
                  <a:gd name="connsiteX1172" fmla="*/ 5465 w 10785"/>
                  <a:gd name="connsiteY1172" fmla="*/ 2009 h 10000"/>
                  <a:gd name="connsiteX1173" fmla="*/ 5433 w 10785"/>
                  <a:gd name="connsiteY1173" fmla="*/ 2034 h 10000"/>
                  <a:gd name="connsiteX1174" fmla="*/ 5424 w 10785"/>
                  <a:gd name="connsiteY1174" fmla="*/ 2060 h 10000"/>
                  <a:gd name="connsiteX1175" fmla="*/ 5419 w 10785"/>
                  <a:gd name="connsiteY1175" fmla="*/ 2060 h 10000"/>
                  <a:gd name="connsiteX1176" fmla="*/ 5392 w 10785"/>
                  <a:gd name="connsiteY1176" fmla="*/ 2111 h 10000"/>
                  <a:gd name="connsiteX1177" fmla="*/ 5378 w 10785"/>
                  <a:gd name="connsiteY1177" fmla="*/ 2111 h 10000"/>
                  <a:gd name="connsiteX1178" fmla="*/ 5350 w 10785"/>
                  <a:gd name="connsiteY1178" fmla="*/ 2060 h 10000"/>
                  <a:gd name="connsiteX1179" fmla="*/ 5373 w 10785"/>
                  <a:gd name="connsiteY1179" fmla="*/ 2111 h 10000"/>
                  <a:gd name="connsiteX1180" fmla="*/ 5364 w 10785"/>
                  <a:gd name="connsiteY1180" fmla="*/ 2111 h 10000"/>
                  <a:gd name="connsiteX1181" fmla="*/ 5359 w 10785"/>
                  <a:gd name="connsiteY1181" fmla="*/ 2103 h 10000"/>
                  <a:gd name="connsiteX1182" fmla="*/ 5359 w 10785"/>
                  <a:gd name="connsiteY1182" fmla="*/ 2120 h 10000"/>
                  <a:gd name="connsiteX1183" fmla="*/ 5359 w 10785"/>
                  <a:gd name="connsiteY1183" fmla="*/ 2137 h 10000"/>
                  <a:gd name="connsiteX1184" fmla="*/ 5313 w 10785"/>
                  <a:gd name="connsiteY1184" fmla="*/ 2162 h 10000"/>
                  <a:gd name="connsiteX1185" fmla="*/ 5300 w 10785"/>
                  <a:gd name="connsiteY1185" fmla="*/ 2162 h 10000"/>
                  <a:gd name="connsiteX1186" fmla="*/ 5300 w 10785"/>
                  <a:gd name="connsiteY1186" fmla="*/ 2171 h 10000"/>
                  <a:gd name="connsiteX1187" fmla="*/ 5300 w 10785"/>
                  <a:gd name="connsiteY1187" fmla="*/ 2197 h 10000"/>
                  <a:gd name="connsiteX1188" fmla="*/ 5276 w 10785"/>
                  <a:gd name="connsiteY1188" fmla="*/ 2188 h 10000"/>
                  <a:gd name="connsiteX1189" fmla="*/ 5249 w 10785"/>
                  <a:gd name="connsiteY1189" fmla="*/ 2222 h 10000"/>
                  <a:gd name="connsiteX1190" fmla="*/ 5249 w 10785"/>
                  <a:gd name="connsiteY1190" fmla="*/ 2222 h 10000"/>
                  <a:gd name="connsiteX1191" fmla="*/ 5217 w 10785"/>
                  <a:gd name="connsiteY1191" fmla="*/ 2214 h 10000"/>
                  <a:gd name="connsiteX1192" fmla="*/ 5203 w 10785"/>
                  <a:gd name="connsiteY1192" fmla="*/ 2239 h 10000"/>
                  <a:gd name="connsiteX1193" fmla="*/ 5171 w 10785"/>
                  <a:gd name="connsiteY1193" fmla="*/ 2214 h 10000"/>
                  <a:gd name="connsiteX1194" fmla="*/ 5157 w 10785"/>
                  <a:gd name="connsiteY1194" fmla="*/ 2239 h 10000"/>
                  <a:gd name="connsiteX1195" fmla="*/ 5166 w 10785"/>
                  <a:gd name="connsiteY1195" fmla="*/ 2256 h 10000"/>
                  <a:gd name="connsiteX1196" fmla="*/ 5171 w 10785"/>
                  <a:gd name="connsiteY1196" fmla="*/ 2308 h 10000"/>
                  <a:gd name="connsiteX1197" fmla="*/ 5212 w 10785"/>
                  <a:gd name="connsiteY1197" fmla="*/ 2350 h 10000"/>
                  <a:gd name="connsiteX1198" fmla="*/ 5203 w 10785"/>
                  <a:gd name="connsiteY1198" fmla="*/ 2350 h 10000"/>
                  <a:gd name="connsiteX1199" fmla="*/ 5166 w 10785"/>
                  <a:gd name="connsiteY1199" fmla="*/ 2325 h 10000"/>
                  <a:gd name="connsiteX1200" fmla="*/ 5152 w 10785"/>
                  <a:gd name="connsiteY1200" fmla="*/ 2308 h 10000"/>
                  <a:gd name="connsiteX1201" fmla="*/ 5143 w 10785"/>
                  <a:gd name="connsiteY1201" fmla="*/ 2333 h 10000"/>
                  <a:gd name="connsiteX1202" fmla="*/ 5138 w 10785"/>
                  <a:gd name="connsiteY1202" fmla="*/ 2333 h 10000"/>
                  <a:gd name="connsiteX1203" fmla="*/ 5124 w 10785"/>
                  <a:gd name="connsiteY1203" fmla="*/ 2376 h 10000"/>
                  <a:gd name="connsiteX1204" fmla="*/ 5115 w 10785"/>
                  <a:gd name="connsiteY1204" fmla="*/ 2385 h 10000"/>
                  <a:gd name="connsiteX1205" fmla="*/ 5106 w 10785"/>
                  <a:gd name="connsiteY1205" fmla="*/ 2385 h 10000"/>
                  <a:gd name="connsiteX1206" fmla="*/ 5055 w 10785"/>
                  <a:gd name="connsiteY1206" fmla="*/ 2470 h 10000"/>
                  <a:gd name="connsiteX1207" fmla="*/ 5065 w 10785"/>
                  <a:gd name="connsiteY1207" fmla="*/ 2462 h 10000"/>
                  <a:gd name="connsiteX1208" fmla="*/ 5055 w 10785"/>
                  <a:gd name="connsiteY1208" fmla="*/ 2444 h 10000"/>
                  <a:gd name="connsiteX1209" fmla="*/ 5041 w 10785"/>
                  <a:gd name="connsiteY1209" fmla="*/ 2462 h 10000"/>
                  <a:gd name="connsiteX1210" fmla="*/ 5037 w 10785"/>
                  <a:gd name="connsiteY1210" fmla="*/ 2470 h 10000"/>
                  <a:gd name="connsiteX1211" fmla="*/ 5032 w 10785"/>
                  <a:gd name="connsiteY1211" fmla="*/ 2470 h 10000"/>
                  <a:gd name="connsiteX1212" fmla="*/ 5032 w 10785"/>
                  <a:gd name="connsiteY1212" fmla="*/ 2444 h 10000"/>
                  <a:gd name="connsiteX1213" fmla="*/ 5055 w 10785"/>
                  <a:gd name="connsiteY1213" fmla="*/ 2410 h 10000"/>
                  <a:gd name="connsiteX1214" fmla="*/ 5065 w 10785"/>
                  <a:gd name="connsiteY1214" fmla="*/ 2393 h 10000"/>
                  <a:gd name="connsiteX1215" fmla="*/ 5069 w 10785"/>
                  <a:gd name="connsiteY1215" fmla="*/ 2385 h 10000"/>
                  <a:gd name="connsiteX1216" fmla="*/ 5083 w 10785"/>
                  <a:gd name="connsiteY1216" fmla="*/ 2376 h 10000"/>
                  <a:gd name="connsiteX1217" fmla="*/ 5097 w 10785"/>
                  <a:gd name="connsiteY1217" fmla="*/ 2376 h 10000"/>
                  <a:gd name="connsiteX1218" fmla="*/ 5124 w 10785"/>
                  <a:gd name="connsiteY1218" fmla="*/ 2325 h 10000"/>
                  <a:gd name="connsiteX1219" fmla="*/ 5143 w 10785"/>
                  <a:gd name="connsiteY1219" fmla="*/ 2248 h 10000"/>
                  <a:gd name="connsiteX1220" fmla="*/ 5152 w 10785"/>
                  <a:gd name="connsiteY1220" fmla="*/ 2239 h 10000"/>
                  <a:gd name="connsiteX1221" fmla="*/ 5166 w 10785"/>
                  <a:gd name="connsiteY1221" fmla="*/ 2162 h 10000"/>
                  <a:gd name="connsiteX1222" fmla="*/ 5171 w 10785"/>
                  <a:gd name="connsiteY1222" fmla="*/ 2171 h 10000"/>
                  <a:gd name="connsiteX1223" fmla="*/ 5198 w 10785"/>
                  <a:gd name="connsiteY1223" fmla="*/ 2145 h 10000"/>
                  <a:gd name="connsiteX1224" fmla="*/ 5203 w 10785"/>
                  <a:gd name="connsiteY1224" fmla="*/ 2111 h 10000"/>
                  <a:gd name="connsiteX1225" fmla="*/ 5217 w 10785"/>
                  <a:gd name="connsiteY1225" fmla="*/ 2060 h 10000"/>
                  <a:gd name="connsiteX1226" fmla="*/ 5226 w 10785"/>
                  <a:gd name="connsiteY1226" fmla="*/ 2026 h 10000"/>
                  <a:gd name="connsiteX1227" fmla="*/ 5286 w 10785"/>
                  <a:gd name="connsiteY1227" fmla="*/ 2026 h 10000"/>
                  <a:gd name="connsiteX1228" fmla="*/ 5290 w 10785"/>
                  <a:gd name="connsiteY1228" fmla="*/ 2034 h 10000"/>
                  <a:gd name="connsiteX1229" fmla="*/ 5323 w 10785"/>
                  <a:gd name="connsiteY1229" fmla="*/ 1923 h 10000"/>
                  <a:gd name="connsiteX1230" fmla="*/ 5323 w 10785"/>
                  <a:gd name="connsiteY1230" fmla="*/ 1889 h 10000"/>
                  <a:gd name="connsiteX1231" fmla="*/ 5359 w 10785"/>
                  <a:gd name="connsiteY1231" fmla="*/ 1829 h 10000"/>
                  <a:gd name="connsiteX1232" fmla="*/ 5378 w 10785"/>
                  <a:gd name="connsiteY1232" fmla="*/ 1812 h 10000"/>
                  <a:gd name="connsiteX1233" fmla="*/ 5406 w 10785"/>
                  <a:gd name="connsiteY1233" fmla="*/ 1752 h 10000"/>
                  <a:gd name="connsiteX1234" fmla="*/ 5410 w 10785"/>
                  <a:gd name="connsiteY1234" fmla="*/ 1718 h 10000"/>
                  <a:gd name="connsiteX1235" fmla="*/ 5438 w 10785"/>
                  <a:gd name="connsiteY1235" fmla="*/ 1667 h 10000"/>
                  <a:gd name="connsiteX1236" fmla="*/ 5438 w 10785"/>
                  <a:gd name="connsiteY1236" fmla="*/ 1650 h 10000"/>
                  <a:gd name="connsiteX1237" fmla="*/ 5438 w 10785"/>
                  <a:gd name="connsiteY1237" fmla="*/ 1641 h 10000"/>
                  <a:gd name="connsiteX1238" fmla="*/ 5452 w 10785"/>
                  <a:gd name="connsiteY1238" fmla="*/ 1641 h 10000"/>
                  <a:gd name="connsiteX1239" fmla="*/ 5456 w 10785"/>
                  <a:gd name="connsiteY1239" fmla="*/ 1615 h 10000"/>
                  <a:gd name="connsiteX1240" fmla="*/ 5456 w 10785"/>
                  <a:gd name="connsiteY1240" fmla="*/ 1615 h 10000"/>
                  <a:gd name="connsiteX1241" fmla="*/ 5465 w 10785"/>
                  <a:gd name="connsiteY1241" fmla="*/ 1598 h 10000"/>
                  <a:gd name="connsiteX1242" fmla="*/ 5465 w 10785"/>
                  <a:gd name="connsiteY1242" fmla="*/ 1615 h 10000"/>
                  <a:gd name="connsiteX1243" fmla="*/ 5479 w 10785"/>
                  <a:gd name="connsiteY1243" fmla="*/ 1598 h 10000"/>
                  <a:gd name="connsiteX1244" fmla="*/ 5484 w 10785"/>
                  <a:gd name="connsiteY1244" fmla="*/ 1581 h 10000"/>
                  <a:gd name="connsiteX1245" fmla="*/ 5493 w 10785"/>
                  <a:gd name="connsiteY1245" fmla="*/ 1581 h 10000"/>
                  <a:gd name="connsiteX1246" fmla="*/ 5512 w 10785"/>
                  <a:gd name="connsiteY1246" fmla="*/ 1538 h 10000"/>
                  <a:gd name="connsiteX1247" fmla="*/ 5530 w 10785"/>
                  <a:gd name="connsiteY1247" fmla="*/ 1564 h 10000"/>
                  <a:gd name="connsiteX1248" fmla="*/ 5530 w 10785"/>
                  <a:gd name="connsiteY1248" fmla="*/ 1538 h 10000"/>
                  <a:gd name="connsiteX1249" fmla="*/ 5539 w 10785"/>
                  <a:gd name="connsiteY1249" fmla="*/ 1530 h 10000"/>
                  <a:gd name="connsiteX1250" fmla="*/ 5530 w 10785"/>
                  <a:gd name="connsiteY1250" fmla="*/ 1504 h 10000"/>
                  <a:gd name="connsiteX1251" fmla="*/ 5567 w 10785"/>
                  <a:gd name="connsiteY1251" fmla="*/ 1479 h 10000"/>
                  <a:gd name="connsiteX1252" fmla="*/ 5553 w 10785"/>
                  <a:gd name="connsiteY1252" fmla="*/ 1479 h 10000"/>
                  <a:gd name="connsiteX1253" fmla="*/ 5553 w 10785"/>
                  <a:gd name="connsiteY1253" fmla="*/ 1453 h 10000"/>
                  <a:gd name="connsiteX1254" fmla="*/ 5581 w 10785"/>
                  <a:gd name="connsiteY1254" fmla="*/ 1444 h 10000"/>
                  <a:gd name="connsiteX1255" fmla="*/ 5581 w 10785"/>
                  <a:gd name="connsiteY1255" fmla="*/ 1453 h 10000"/>
                  <a:gd name="connsiteX1256" fmla="*/ 5585 w 10785"/>
                  <a:gd name="connsiteY1256" fmla="*/ 1444 h 10000"/>
                  <a:gd name="connsiteX1257" fmla="*/ 5594 w 10785"/>
                  <a:gd name="connsiteY1257" fmla="*/ 1427 h 10000"/>
                  <a:gd name="connsiteX1258" fmla="*/ 5599 w 10785"/>
                  <a:gd name="connsiteY1258" fmla="*/ 1419 h 10000"/>
                  <a:gd name="connsiteX1259" fmla="*/ 5594 w 10785"/>
                  <a:gd name="connsiteY1259" fmla="*/ 1402 h 10000"/>
                  <a:gd name="connsiteX1260" fmla="*/ 5604 w 10785"/>
                  <a:gd name="connsiteY1260" fmla="*/ 1393 h 10000"/>
                  <a:gd name="connsiteX1261" fmla="*/ 5618 w 10785"/>
                  <a:gd name="connsiteY1261" fmla="*/ 1393 h 10000"/>
                  <a:gd name="connsiteX1262" fmla="*/ 5627 w 10785"/>
                  <a:gd name="connsiteY1262" fmla="*/ 1368 h 10000"/>
                  <a:gd name="connsiteX1263" fmla="*/ 5627 w 10785"/>
                  <a:gd name="connsiteY1263" fmla="*/ 1325 h 10000"/>
                  <a:gd name="connsiteX1264" fmla="*/ 5645 w 10785"/>
                  <a:gd name="connsiteY1264" fmla="*/ 1291 h 10000"/>
                  <a:gd name="connsiteX1265" fmla="*/ 5645 w 10785"/>
                  <a:gd name="connsiteY1265" fmla="*/ 1282 h 10000"/>
                  <a:gd name="connsiteX1266" fmla="*/ 5654 w 10785"/>
                  <a:gd name="connsiteY1266" fmla="*/ 1265 h 10000"/>
                  <a:gd name="connsiteX1267" fmla="*/ 5654 w 10785"/>
                  <a:gd name="connsiteY1267" fmla="*/ 1214 h 10000"/>
                  <a:gd name="connsiteX1268" fmla="*/ 5654 w 10785"/>
                  <a:gd name="connsiteY1268" fmla="*/ 1214 h 10000"/>
                  <a:gd name="connsiteX1269" fmla="*/ 5645 w 10785"/>
                  <a:gd name="connsiteY1269" fmla="*/ 1197 h 10000"/>
                  <a:gd name="connsiteX1270" fmla="*/ 5659 w 10785"/>
                  <a:gd name="connsiteY1270" fmla="*/ 1197 h 10000"/>
                  <a:gd name="connsiteX1271" fmla="*/ 5654 w 10785"/>
                  <a:gd name="connsiteY1271" fmla="*/ 1154 h 10000"/>
                  <a:gd name="connsiteX1272" fmla="*/ 5641 w 10785"/>
                  <a:gd name="connsiteY1272" fmla="*/ 1154 h 10000"/>
                  <a:gd name="connsiteX1273" fmla="*/ 5627 w 10785"/>
                  <a:gd name="connsiteY1273" fmla="*/ 1128 h 10000"/>
                  <a:gd name="connsiteX1274" fmla="*/ 5618 w 10785"/>
                  <a:gd name="connsiteY1274" fmla="*/ 1094 h 10000"/>
                  <a:gd name="connsiteX1275" fmla="*/ 5613 w 10785"/>
                  <a:gd name="connsiteY1275" fmla="*/ 1094 h 10000"/>
                  <a:gd name="connsiteX1276" fmla="*/ 5604 w 10785"/>
                  <a:gd name="connsiteY1276" fmla="*/ 1120 h 10000"/>
                  <a:gd name="connsiteX1277" fmla="*/ 5604 w 10785"/>
                  <a:gd name="connsiteY1277" fmla="*/ 1128 h 10000"/>
                  <a:gd name="connsiteX1278" fmla="*/ 5599 w 10785"/>
                  <a:gd name="connsiteY1278" fmla="*/ 1103 h 10000"/>
                  <a:gd name="connsiteX1279" fmla="*/ 5599 w 10785"/>
                  <a:gd name="connsiteY1279" fmla="*/ 1103 h 10000"/>
                  <a:gd name="connsiteX1280" fmla="*/ 5594 w 10785"/>
                  <a:gd name="connsiteY1280" fmla="*/ 1068 h 10000"/>
                  <a:gd name="connsiteX1281" fmla="*/ 5594 w 10785"/>
                  <a:gd name="connsiteY1281" fmla="*/ 1060 h 10000"/>
                  <a:gd name="connsiteX1282" fmla="*/ 5581 w 10785"/>
                  <a:gd name="connsiteY1282" fmla="*/ 1034 h 10000"/>
                  <a:gd name="connsiteX1283" fmla="*/ 5571 w 10785"/>
                  <a:gd name="connsiteY1283" fmla="*/ 1009 h 10000"/>
                  <a:gd name="connsiteX1284" fmla="*/ 5571 w 10785"/>
                  <a:gd name="connsiteY1284" fmla="*/ 991 h 10000"/>
                  <a:gd name="connsiteX1285" fmla="*/ 5585 w 10785"/>
                  <a:gd name="connsiteY1285" fmla="*/ 1009 h 10000"/>
                  <a:gd name="connsiteX1286" fmla="*/ 5604 w 10785"/>
                  <a:gd name="connsiteY1286" fmla="*/ 1043 h 10000"/>
                  <a:gd name="connsiteX1287" fmla="*/ 5641 w 10785"/>
                  <a:gd name="connsiteY1287" fmla="*/ 1094 h 10000"/>
                  <a:gd name="connsiteX1288" fmla="*/ 5631 w 10785"/>
                  <a:gd name="connsiteY1288" fmla="*/ 1128 h 10000"/>
                  <a:gd name="connsiteX1289" fmla="*/ 5641 w 10785"/>
                  <a:gd name="connsiteY1289" fmla="*/ 1128 h 10000"/>
                  <a:gd name="connsiteX1290" fmla="*/ 5659 w 10785"/>
                  <a:gd name="connsiteY1290" fmla="*/ 1017 h 10000"/>
                  <a:gd name="connsiteX1291" fmla="*/ 5659 w 10785"/>
                  <a:gd name="connsiteY1291" fmla="*/ 983 h 10000"/>
                  <a:gd name="connsiteX1292" fmla="*/ 5659 w 10785"/>
                  <a:gd name="connsiteY1292" fmla="*/ 957 h 10000"/>
                  <a:gd name="connsiteX1293" fmla="*/ 5654 w 10785"/>
                  <a:gd name="connsiteY1293" fmla="*/ 966 h 10000"/>
                  <a:gd name="connsiteX1294" fmla="*/ 5641 w 10785"/>
                  <a:gd name="connsiteY1294" fmla="*/ 957 h 10000"/>
                  <a:gd name="connsiteX1295" fmla="*/ 5631 w 10785"/>
                  <a:gd name="connsiteY1295" fmla="*/ 897 h 10000"/>
                  <a:gd name="connsiteX1296" fmla="*/ 5641 w 10785"/>
                  <a:gd name="connsiteY1296" fmla="*/ 872 h 10000"/>
                  <a:gd name="connsiteX1297" fmla="*/ 5618 w 10785"/>
                  <a:gd name="connsiteY1297" fmla="*/ 803 h 10000"/>
                  <a:gd name="connsiteX1298" fmla="*/ 5604 w 10785"/>
                  <a:gd name="connsiteY1298" fmla="*/ 821 h 10000"/>
                  <a:gd name="connsiteX1299" fmla="*/ 5613 w 10785"/>
                  <a:gd name="connsiteY1299" fmla="*/ 846 h 10000"/>
                  <a:gd name="connsiteX1300" fmla="*/ 5604 w 10785"/>
                  <a:gd name="connsiteY1300" fmla="*/ 855 h 10000"/>
                  <a:gd name="connsiteX1301" fmla="*/ 5599 w 10785"/>
                  <a:gd name="connsiteY1301" fmla="*/ 880 h 10000"/>
                  <a:gd name="connsiteX1302" fmla="*/ 5594 w 10785"/>
                  <a:gd name="connsiteY1302" fmla="*/ 880 h 10000"/>
                  <a:gd name="connsiteX1303" fmla="*/ 5585 w 10785"/>
                  <a:gd name="connsiteY1303" fmla="*/ 829 h 10000"/>
                  <a:gd name="connsiteX1304" fmla="*/ 5571 w 10785"/>
                  <a:gd name="connsiteY1304" fmla="*/ 803 h 10000"/>
                  <a:gd name="connsiteX1305" fmla="*/ 5585 w 10785"/>
                  <a:gd name="connsiteY1305" fmla="*/ 795 h 10000"/>
                  <a:gd name="connsiteX1306" fmla="*/ 5585 w 10785"/>
                  <a:gd name="connsiteY1306" fmla="*/ 761 h 10000"/>
                  <a:gd name="connsiteX1307" fmla="*/ 5558 w 10785"/>
                  <a:gd name="connsiteY1307" fmla="*/ 709 h 10000"/>
                  <a:gd name="connsiteX1308" fmla="*/ 5544 w 10785"/>
                  <a:gd name="connsiteY1308" fmla="*/ 709 h 10000"/>
                  <a:gd name="connsiteX1309" fmla="*/ 5544 w 10785"/>
                  <a:gd name="connsiteY1309" fmla="*/ 684 h 10000"/>
                  <a:gd name="connsiteX1310" fmla="*/ 5525 w 10785"/>
                  <a:gd name="connsiteY1310" fmla="*/ 632 h 10000"/>
                  <a:gd name="connsiteX1311" fmla="*/ 5507 w 10785"/>
                  <a:gd name="connsiteY1311" fmla="*/ 607 h 10000"/>
                  <a:gd name="connsiteX1312" fmla="*/ 5512 w 10785"/>
                  <a:gd name="connsiteY1312" fmla="*/ 598 h 10000"/>
                  <a:gd name="connsiteX1313" fmla="*/ 5507 w 10785"/>
                  <a:gd name="connsiteY1313" fmla="*/ 581 h 10000"/>
                  <a:gd name="connsiteX1314" fmla="*/ 5493 w 10785"/>
                  <a:gd name="connsiteY1314" fmla="*/ 573 h 10000"/>
                  <a:gd name="connsiteX1315" fmla="*/ 5484 w 10785"/>
                  <a:gd name="connsiteY1315" fmla="*/ 581 h 10000"/>
                  <a:gd name="connsiteX1316" fmla="*/ 5484 w 10785"/>
                  <a:gd name="connsiteY1316" fmla="*/ 573 h 10000"/>
                  <a:gd name="connsiteX1317" fmla="*/ 5484 w 10785"/>
                  <a:gd name="connsiteY1317" fmla="*/ 547 h 10000"/>
                  <a:gd name="connsiteX1318" fmla="*/ 5465 w 10785"/>
                  <a:gd name="connsiteY1318" fmla="*/ 556 h 10000"/>
                  <a:gd name="connsiteX1319" fmla="*/ 5433 w 10785"/>
                  <a:gd name="connsiteY1319" fmla="*/ 547 h 10000"/>
                  <a:gd name="connsiteX1320" fmla="*/ 5410 w 10785"/>
                  <a:gd name="connsiteY1320" fmla="*/ 573 h 10000"/>
                  <a:gd name="connsiteX1321" fmla="*/ 5406 w 10785"/>
                  <a:gd name="connsiteY1321" fmla="*/ 573 h 10000"/>
                  <a:gd name="connsiteX1322" fmla="*/ 5392 w 10785"/>
                  <a:gd name="connsiteY1322" fmla="*/ 573 h 10000"/>
                  <a:gd name="connsiteX1323" fmla="*/ 5364 w 10785"/>
                  <a:gd name="connsiteY1323" fmla="*/ 530 h 10000"/>
                  <a:gd name="connsiteX1324" fmla="*/ 5350 w 10785"/>
                  <a:gd name="connsiteY1324" fmla="*/ 556 h 10000"/>
                  <a:gd name="connsiteX1325" fmla="*/ 5346 w 10785"/>
                  <a:gd name="connsiteY1325" fmla="*/ 556 h 10000"/>
                  <a:gd name="connsiteX1326" fmla="*/ 5313 w 10785"/>
                  <a:gd name="connsiteY1326" fmla="*/ 573 h 10000"/>
                  <a:gd name="connsiteX1327" fmla="*/ 5304 w 10785"/>
                  <a:gd name="connsiteY1327" fmla="*/ 556 h 10000"/>
                  <a:gd name="connsiteX1328" fmla="*/ 5290 w 10785"/>
                  <a:gd name="connsiteY1328" fmla="*/ 573 h 10000"/>
                  <a:gd name="connsiteX1329" fmla="*/ 5290 w 10785"/>
                  <a:gd name="connsiteY1329" fmla="*/ 556 h 10000"/>
                  <a:gd name="connsiteX1330" fmla="*/ 5300 w 10785"/>
                  <a:gd name="connsiteY1330" fmla="*/ 547 h 10000"/>
                  <a:gd name="connsiteX1331" fmla="*/ 5300 w 10785"/>
                  <a:gd name="connsiteY1331" fmla="*/ 530 h 10000"/>
                  <a:gd name="connsiteX1332" fmla="*/ 5290 w 10785"/>
                  <a:gd name="connsiteY1332" fmla="*/ 530 h 10000"/>
                  <a:gd name="connsiteX1333" fmla="*/ 5286 w 10785"/>
                  <a:gd name="connsiteY1333" fmla="*/ 547 h 10000"/>
                  <a:gd name="connsiteX1334" fmla="*/ 5272 w 10785"/>
                  <a:gd name="connsiteY1334" fmla="*/ 556 h 10000"/>
                  <a:gd name="connsiteX1335" fmla="*/ 5272 w 10785"/>
                  <a:gd name="connsiteY1335" fmla="*/ 598 h 10000"/>
                  <a:gd name="connsiteX1336" fmla="*/ 5276 w 10785"/>
                  <a:gd name="connsiteY1336" fmla="*/ 581 h 10000"/>
                  <a:gd name="connsiteX1337" fmla="*/ 5272 w 10785"/>
                  <a:gd name="connsiteY1337" fmla="*/ 607 h 10000"/>
                  <a:gd name="connsiteX1338" fmla="*/ 5263 w 10785"/>
                  <a:gd name="connsiteY1338" fmla="*/ 607 h 10000"/>
                  <a:gd name="connsiteX1339" fmla="*/ 5263 w 10785"/>
                  <a:gd name="connsiteY1339" fmla="*/ 632 h 10000"/>
                  <a:gd name="connsiteX1340" fmla="*/ 5258 w 10785"/>
                  <a:gd name="connsiteY1340" fmla="*/ 658 h 10000"/>
                  <a:gd name="connsiteX1341" fmla="*/ 5244 w 10785"/>
                  <a:gd name="connsiteY1341" fmla="*/ 667 h 10000"/>
                  <a:gd name="connsiteX1342" fmla="*/ 5240 w 10785"/>
                  <a:gd name="connsiteY1342" fmla="*/ 658 h 10000"/>
                  <a:gd name="connsiteX1343" fmla="*/ 5240 w 10785"/>
                  <a:gd name="connsiteY1343" fmla="*/ 684 h 10000"/>
                  <a:gd name="connsiteX1344" fmla="*/ 5212 w 10785"/>
                  <a:gd name="connsiteY1344" fmla="*/ 684 h 10000"/>
                  <a:gd name="connsiteX1345" fmla="*/ 5198 w 10785"/>
                  <a:gd name="connsiteY1345" fmla="*/ 692 h 10000"/>
                  <a:gd name="connsiteX1346" fmla="*/ 5184 w 10785"/>
                  <a:gd name="connsiteY1346" fmla="*/ 684 h 10000"/>
                  <a:gd name="connsiteX1347" fmla="*/ 5157 w 10785"/>
                  <a:gd name="connsiteY1347" fmla="*/ 684 h 10000"/>
                  <a:gd name="connsiteX1348" fmla="*/ 5157 w 10785"/>
                  <a:gd name="connsiteY1348" fmla="*/ 667 h 10000"/>
                  <a:gd name="connsiteX1349" fmla="*/ 5157 w 10785"/>
                  <a:gd name="connsiteY1349" fmla="*/ 667 h 10000"/>
                  <a:gd name="connsiteX1350" fmla="*/ 5180 w 10785"/>
                  <a:gd name="connsiteY1350" fmla="*/ 650 h 10000"/>
                  <a:gd name="connsiteX1351" fmla="*/ 5184 w 10785"/>
                  <a:gd name="connsiteY1351" fmla="*/ 658 h 10000"/>
                  <a:gd name="connsiteX1352" fmla="*/ 5203 w 10785"/>
                  <a:gd name="connsiteY1352" fmla="*/ 547 h 10000"/>
                  <a:gd name="connsiteX1353" fmla="*/ 5226 w 10785"/>
                  <a:gd name="connsiteY1353" fmla="*/ 530 h 10000"/>
                  <a:gd name="connsiteX1354" fmla="*/ 5230 w 10785"/>
                  <a:gd name="connsiteY1354" fmla="*/ 487 h 10000"/>
                  <a:gd name="connsiteX1355" fmla="*/ 5230 w 10785"/>
                  <a:gd name="connsiteY1355" fmla="*/ 487 h 10000"/>
                  <a:gd name="connsiteX1356" fmla="*/ 5226 w 10785"/>
                  <a:gd name="connsiteY1356" fmla="*/ 462 h 10000"/>
                  <a:gd name="connsiteX1357" fmla="*/ 5226 w 10785"/>
                  <a:gd name="connsiteY1357" fmla="*/ 462 h 10000"/>
                  <a:gd name="connsiteX1358" fmla="*/ 5240 w 10785"/>
                  <a:gd name="connsiteY1358" fmla="*/ 462 h 10000"/>
                  <a:gd name="connsiteX1359" fmla="*/ 5240 w 10785"/>
                  <a:gd name="connsiteY1359" fmla="*/ 444 h 10000"/>
                  <a:gd name="connsiteX1360" fmla="*/ 5230 w 10785"/>
                  <a:gd name="connsiteY1360" fmla="*/ 436 h 10000"/>
                  <a:gd name="connsiteX1361" fmla="*/ 5230 w 10785"/>
                  <a:gd name="connsiteY1361" fmla="*/ 419 h 10000"/>
                  <a:gd name="connsiteX1362" fmla="*/ 5230 w 10785"/>
                  <a:gd name="connsiteY1362" fmla="*/ 410 h 10000"/>
                  <a:gd name="connsiteX1363" fmla="*/ 5198 w 10785"/>
                  <a:gd name="connsiteY1363" fmla="*/ 402 h 10000"/>
                  <a:gd name="connsiteX1364" fmla="*/ 5189 w 10785"/>
                  <a:gd name="connsiteY1364" fmla="*/ 402 h 10000"/>
                  <a:gd name="connsiteX1365" fmla="*/ 5184 w 10785"/>
                  <a:gd name="connsiteY1365" fmla="*/ 376 h 10000"/>
                  <a:gd name="connsiteX1366" fmla="*/ 5180 w 10785"/>
                  <a:gd name="connsiteY1366" fmla="*/ 376 h 10000"/>
                  <a:gd name="connsiteX1367" fmla="*/ 5166 w 10785"/>
                  <a:gd name="connsiteY1367" fmla="*/ 376 h 10000"/>
                  <a:gd name="connsiteX1368" fmla="*/ 5157 w 10785"/>
                  <a:gd name="connsiteY1368" fmla="*/ 385 h 10000"/>
                  <a:gd name="connsiteX1369" fmla="*/ 5152 w 10785"/>
                  <a:gd name="connsiteY1369" fmla="*/ 376 h 10000"/>
                  <a:gd name="connsiteX1370" fmla="*/ 5129 w 10785"/>
                  <a:gd name="connsiteY1370" fmla="*/ 385 h 10000"/>
                  <a:gd name="connsiteX1371" fmla="*/ 5129 w 10785"/>
                  <a:gd name="connsiteY1371" fmla="*/ 350 h 10000"/>
                  <a:gd name="connsiteX1372" fmla="*/ 5129 w 10785"/>
                  <a:gd name="connsiteY1372" fmla="*/ 325 h 10000"/>
                  <a:gd name="connsiteX1373" fmla="*/ 5124 w 10785"/>
                  <a:gd name="connsiteY1373" fmla="*/ 359 h 10000"/>
                  <a:gd name="connsiteX1374" fmla="*/ 5106 w 10785"/>
                  <a:gd name="connsiteY1374" fmla="*/ 359 h 10000"/>
                  <a:gd name="connsiteX1375" fmla="*/ 5037 w 10785"/>
                  <a:gd name="connsiteY1375" fmla="*/ 419 h 10000"/>
                  <a:gd name="connsiteX1376" fmla="*/ 5051 w 10785"/>
                  <a:gd name="connsiteY1376" fmla="*/ 385 h 10000"/>
                  <a:gd name="connsiteX1377" fmla="*/ 5055 w 10785"/>
                  <a:gd name="connsiteY1377" fmla="*/ 376 h 10000"/>
                  <a:gd name="connsiteX1378" fmla="*/ 5092 w 10785"/>
                  <a:gd name="connsiteY1378" fmla="*/ 282 h 10000"/>
                  <a:gd name="connsiteX1379" fmla="*/ 5106 w 10785"/>
                  <a:gd name="connsiteY1379" fmla="*/ 265 h 10000"/>
                  <a:gd name="connsiteX1380" fmla="*/ 5115 w 10785"/>
                  <a:gd name="connsiteY1380" fmla="*/ 265 h 10000"/>
                  <a:gd name="connsiteX1381" fmla="*/ 5124 w 10785"/>
                  <a:gd name="connsiteY1381" fmla="*/ 222 h 10000"/>
                  <a:gd name="connsiteX1382" fmla="*/ 5124 w 10785"/>
                  <a:gd name="connsiteY1382" fmla="*/ 214 h 10000"/>
                  <a:gd name="connsiteX1383" fmla="*/ 5143 w 10785"/>
                  <a:gd name="connsiteY1383" fmla="*/ 197 h 10000"/>
                  <a:gd name="connsiteX1384" fmla="*/ 5152 w 10785"/>
                  <a:gd name="connsiteY1384" fmla="*/ 214 h 10000"/>
                  <a:gd name="connsiteX1385" fmla="*/ 5143 w 10785"/>
                  <a:gd name="connsiteY1385" fmla="*/ 188 h 10000"/>
                  <a:gd name="connsiteX1386" fmla="*/ 5129 w 10785"/>
                  <a:gd name="connsiteY1386" fmla="*/ 103 h 10000"/>
                  <a:gd name="connsiteX1387" fmla="*/ 5115 w 10785"/>
                  <a:gd name="connsiteY1387" fmla="*/ 85 h 10000"/>
                  <a:gd name="connsiteX1388" fmla="*/ 5111 w 10785"/>
                  <a:gd name="connsiteY1388" fmla="*/ 111 h 10000"/>
                  <a:gd name="connsiteX1389" fmla="*/ 5092 w 10785"/>
                  <a:gd name="connsiteY1389" fmla="*/ 103 h 10000"/>
                  <a:gd name="connsiteX1390" fmla="*/ 5069 w 10785"/>
                  <a:gd name="connsiteY1390" fmla="*/ 77 h 10000"/>
                  <a:gd name="connsiteX1391" fmla="*/ 5051 w 10785"/>
                  <a:gd name="connsiteY1391" fmla="*/ 26 h 10000"/>
                  <a:gd name="connsiteX1392" fmla="*/ 5041 w 10785"/>
                  <a:gd name="connsiteY1392" fmla="*/ 34 h 10000"/>
                  <a:gd name="connsiteX1393" fmla="*/ 5037 w 10785"/>
                  <a:gd name="connsiteY1393" fmla="*/ 34 h 10000"/>
                  <a:gd name="connsiteX1394" fmla="*/ 5037 w 10785"/>
                  <a:gd name="connsiteY1394" fmla="*/ 26 h 10000"/>
                  <a:gd name="connsiteX1395" fmla="*/ 5037 w 10785"/>
                  <a:gd name="connsiteY1395" fmla="*/ 9 h 10000"/>
                  <a:gd name="connsiteX1396" fmla="*/ 5023 w 10785"/>
                  <a:gd name="connsiteY1396" fmla="*/ 0 h 10000"/>
                  <a:gd name="connsiteX1397" fmla="*/ 5009 w 10785"/>
                  <a:gd name="connsiteY1397" fmla="*/ 9 h 10000"/>
                  <a:gd name="connsiteX1398" fmla="*/ 4995 w 10785"/>
                  <a:gd name="connsiteY1398" fmla="*/ 34 h 10000"/>
                  <a:gd name="connsiteX1399" fmla="*/ 4991 w 10785"/>
                  <a:gd name="connsiteY1399" fmla="*/ 60 h 10000"/>
                  <a:gd name="connsiteX1400" fmla="*/ 4982 w 10785"/>
                  <a:gd name="connsiteY1400" fmla="*/ 60 h 10000"/>
                  <a:gd name="connsiteX1401" fmla="*/ 4949 w 10785"/>
                  <a:gd name="connsiteY1401" fmla="*/ 51 h 10000"/>
                  <a:gd name="connsiteX1402" fmla="*/ 4949 w 10785"/>
                  <a:gd name="connsiteY1402" fmla="*/ 85 h 10000"/>
                  <a:gd name="connsiteX1403" fmla="*/ 4903 w 10785"/>
                  <a:gd name="connsiteY1403" fmla="*/ 197 h 10000"/>
                  <a:gd name="connsiteX1404" fmla="*/ 4899 w 10785"/>
                  <a:gd name="connsiteY1404" fmla="*/ 239 h 10000"/>
                  <a:gd name="connsiteX1405" fmla="*/ 4871 w 10785"/>
                  <a:gd name="connsiteY1405" fmla="*/ 274 h 10000"/>
                  <a:gd name="connsiteX1406" fmla="*/ 4871 w 10785"/>
                  <a:gd name="connsiteY1406" fmla="*/ 282 h 10000"/>
                  <a:gd name="connsiteX1407" fmla="*/ 4834 w 10785"/>
                  <a:gd name="connsiteY1407" fmla="*/ 376 h 10000"/>
                  <a:gd name="connsiteX1408" fmla="*/ 4829 w 10785"/>
                  <a:gd name="connsiteY1408" fmla="*/ 402 h 10000"/>
                  <a:gd name="connsiteX1409" fmla="*/ 4834 w 10785"/>
                  <a:gd name="connsiteY1409" fmla="*/ 410 h 10000"/>
                  <a:gd name="connsiteX1410" fmla="*/ 4829 w 10785"/>
                  <a:gd name="connsiteY1410" fmla="*/ 436 h 10000"/>
                  <a:gd name="connsiteX1411" fmla="*/ 4825 w 10785"/>
                  <a:gd name="connsiteY1411" fmla="*/ 436 h 10000"/>
                  <a:gd name="connsiteX1412" fmla="*/ 4825 w 10785"/>
                  <a:gd name="connsiteY1412" fmla="*/ 444 h 10000"/>
                  <a:gd name="connsiteX1413" fmla="*/ 4811 w 10785"/>
                  <a:gd name="connsiteY1413" fmla="*/ 496 h 10000"/>
                  <a:gd name="connsiteX1414" fmla="*/ 4811 w 10785"/>
                  <a:gd name="connsiteY1414" fmla="*/ 496 h 10000"/>
                  <a:gd name="connsiteX1415" fmla="*/ 4811 w 10785"/>
                  <a:gd name="connsiteY1415" fmla="*/ 521 h 10000"/>
                  <a:gd name="connsiteX1416" fmla="*/ 4816 w 10785"/>
                  <a:gd name="connsiteY1416" fmla="*/ 530 h 10000"/>
                  <a:gd name="connsiteX1417" fmla="*/ 4834 w 10785"/>
                  <a:gd name="connsiteY1417" fmla="*/ 547 h 10000"/>
                  <a:gd name="connsiteX1418" fmla="*/ 4834 w 10785"/>
                  <a:gd name="connsiteY1418" fmla="*/ 581 h 10000"/>
                  <a:gd name="connsiteX1419" fmla="*/ 4843 w 10785"/>
                  <a:gd name="connsiteY1419" fmla="*/ 581 h 10000"/>
                  <a:gd name="connsiteX1420" fmla="*/ 4843 w 10785"/>
                  <a:gd name="connsiteY1420" fmla="*/ 598 h 10000"/>
                  <a:gd name="connsiteX1421" fmla="*/ 4829 w 10785"/>
                  <a:gd name="connsiteY1421" fmla="*/ 598 h 10000"/>
                  <a:gd name="connsiteX1422" fmla="*/ 4829 w 10785"/>
                  <a:gd name="connsiteY1422" fmla="*/ 573 h 10000"/>
                  <a:gd name="connsiteX1423" fmla="*/ 4829 w 10785"/>
                  <a:gd name="connsiteY1423" fmla="*/ 632 h 10000"/>
                  <a:gd name="connsiteX1424" fmla="*/ 4829 w 10785"/>
                  <a:gd name="connsiteY1424" fmla="*/ 632 h 10000"/>
                  <a:gd name="connsiteX1425" fmla="*/ 4829 w 10785"/>
                  <a:gd name="connsiteY1425" fmla="*/ 650 h 10000"/>
                  <a:gd name="connsiteX1426" fmla="*/ 4774 w 10785"/>
                  <a:gd name="connsiteY1426" fmla="*/ 684 h 10000"/>
                  <a:gd name="connsiteX1427" fmla="*/ 4756 w 10785"/>
                  <a:gd name="connsiteY1427" fmla="*/ 684 h 10000"/>
                  <a:gd name="connsiteX1428" fmla="*/ 4737 w 10785"/>
                  <a:gd name="connsiteY1428" fmla="*/ 692 h 10000"/>
                  <a:gd name="connsiteX1429" fmla="*/ 4677 w 10785"/>
                  <a:gd name="connsiteY1429" fmla="*/ 667 h 10000"/>
                  <a:gd name="connsiteX1430" fmla="*/ 4682 w 10785"/>
                  <a:gd name="connsiteY1430" fmla="*/ 692 h 10000"/>
                  <a:gd name="connsiteX1431" fmla="*/ 4682 w 10785"/>
                  <a:gd name="connsiteY1431" fmla="*/ 709 h 10000"/>
                  <a:gd name="connsiteX1432" fmla="*/ 4691 w 10785"/>
                  <a:gd name="connsiteY1432" fmla="*/ 718 h 10000"/>
                  <a:gd name="connsiteX1433" fmla="*/ 4691 w 10785"/>
                  <a:gd name="connsiteY1433" fmla="*/ 744 h 10000"/>
                  <a:gd name="connsiteX1434" fmla="*/ 4700 w 10785"/>
                  <a:gd name="connsiteY1434" fmla="*/ 744 h 10000"/>
                  <a:gd name="connsiteX1435" fmla="*/ 4714 w 10785"/>
                  <a:gd name="connsiteY1435" fmla="*/ 769 h 10000"/>
                  <a:gd name="connsiteX1436" fmla="*/ 4710 w 10785"/>
                  <a:gd name="connsiteY1436" fmla="*/ 786 h 10000"/>
                  <a:gd name="connsiteX1437" fmla="*/ 4737 w 10785"/>
                  <a:gd name="connsiteY1437" fmla="*/ 786 h 10000"/>
                  <a:gd name="connsiteX1438" fmla="*/ 4742 w 10785"/>
                  <a:gd name="connsiteY1438" fmla="*/ 795 h 10000"/>
                  <a:gd name="connsiteX1439" fmla="*/ 4742 w 10785"/>
                  <a:gd name="connsiteY1439" fmla="*/ 803 h 10000"/>
                  <a:gd name="connsiteX1440" fmla="*/ 4737 w 10785"/>
                  <a:gd name="connsiteY1440" fmla="*/ 846 h 10000"/>
                  <a:gd name="connsiteX1441" fmla="*/ 4737 w 10785"/>
                  <a:gd name="connsiteY1441" fmla="*/ 880 h 10000"/>
                  <a:gd name="connsiteX1442" fmla="*/ 4737 w 10785"/>
                  <a:gd name="connsiteY1442" fmla="*/ 906 h 10000"/>
                  <a:gd name="connsiteX1443" fmla="*/ 4724 w 10785"/>
                  <a:gd name="connsiteY1443" fmla="*/ 897 h 10000"/>
                  <a:gd name="connsiteX1444" fmla="*/ 4724 w 10785"/>
                  <a:gd name="connsiteY1444" fmla="*/ 872 h 10000"/>
                  <a:gd name="connsiteX1445" fmla="*/ 4714 w 10785"/>
                  <a:gd name="connsiteY1445" fmla="*/ 855 h 10000"/>
                  <a:gd name="connsiteX1446" fmla="*/ 4691 w 10785"/>
                  <a:gd name="connsiteY1446" fmla="*/ 846 h 10000"/>
                  <a:gd name="connsiteX1447" fmla="*/ 4691 w 10785"/>
                  <a:gd name="connsiteY1447" fmla="*/ 846 h 10000"/>
                  <a:gd name="connsiteX1448" fmla="*/ 4696 w 10785"/>
                  <a:gd name="connsiteY1448" fmla="*/ 821 h 10000"/>
                  <a:gd name="connsiteX1449" fmla="*/ 4691 w 10785"/>
                  <a:gd name="connsiteY1449" fmla="*/ 803 h 10000"/>
                  <a:gd name="connsiteX1450" fmla="*/ 4668 w 10785"/>
                  <a:gd name="connsiteY1450" fmla="*/ 821 h 10000"/>
                  <a:gd name="connsiteX1451" fmla="*/ 4668 w 10785"/>
                  <a:gd name="connsiteY1451" fmla="*/ 786 h 10000"/>
                  <a:gd name="connsiteX1452" fmla="*/ 4664 w 10785"/>
                  <a:gd name="connsiteY1452" fmla="*/ 786 h 10000"/>
                  <a:gd name="connsiteX1453" fmla="*/ 4622 w 10785"/>
                  <a:gd name="connsiteY1453" fmla="*/ 846 h 10000"/>
                  <a:gd name="connsiteX1454" fmla="*/ 4627 w 10785"/>
                  <a:gd name="connsiteY1454" fmla="*/ 872 h 10000"/>
                  <a:gd name="connsiteX1455" fmla="*/ 4622 w 10785"/>
                  <a:gd name="connsiteY1455" fmla="*/ 880 h 10000"/>
                  <a:gd name="connsiteX1456" fmla="*/ 4622 w 10785"/>
                  <a:gd name="connsiteY1456" fmla="*/ 880 h 10000"/>
                  <a:gd name="connsiteX1457" fmla="*/ 4618 w 10785"/>
                  <a:gd name="connsiteY1457" fmla="*/ 872 h 10000"/>
                  <a:gd name="connsiteX1458" fmla="*/ 4604 w 10785"/>
                  <a:gd name="connsiteY1458" fmla="*/ 880 h 10000"/>
                  <a:gd name="connsiteX1459" fmla="*/ 4594 w 10785"/>
                  <a:gd name="connsiteY1459" fmla="*/ 906 h 10000"/>
                  <a:gd name="connsiteX1460" fmla="*/ 4604 w 10785"/>
                  <a:gd name="connsiteY1460" fmla="*/ 906 h 10000"/>
                  <a:gd name="connsiteX1461" fmla="*/ 4608 w 10785"/>
                  <a:gd name="connsiteY1461" fmla="*/ 906 h 10000"/>
                  <a:gd name="connsiteX1462" fmla="*/ 4608 w 10785"/>
                  <a:gd name="connsiteY1462" fmla="*/ 932 h 10000"/>
                  <a:gd name="connsiteX1463" fmla="*/ 4604 w 10785"/>
                  <a:gd name="connsiteY1463" fmla="*/ 932 h 10000"/>
                  <a:gd name="connsiteX1464" fmla="*/ 4590 w 10785"/>
                  <a:gd name="connsiteY1464" fmla="*/ 932 h 10000"/>
                  <a:gd name="connsiteX1465" fmla="*/ 4567 w 10785"/>
                  <a:gd name="connsiteY1465" fmla="*/ 957 h 10000"/>
                  <a:gd name="connsiteX1466" fmla="*/ 4567 w 10785"/>
                  <a:gd name="connsiteY1466" fmla="*/ 932 h 10000"/>
                  <a:gd name="connsiteX1467" fmla="*/ 4567 w 10785"/>
                  <a:gd name="connsiteY1467" fmla="*/ 923 h 10000"/>
                  <a:gd name="connsiteX1468" fmla="*/ 4562 w 10785"/>
                  <a:gd name="connsiteY1468" fmla="*/ 932 h 10000"/>
                  <a:gd name="connsiteX1469" fmla="*/ 4548 w 10785"/>
                  <a:gd name="connsiteY1469" fmla="*/ 957 h 10000"/>
                  <a:gd name="connsiteX1470" fmla="*/ 4544 w 10785"/>
                  <a:gd name="connsiteY1470" fmla="*/ 957 h 10000"/>
                  <a:gd name="connsiteX1471" fmla="*/ 4521 w 10785"/>
                  <a:gd name="connsiteY1471" fmla="*/ 983 h 10000"/>
                  <a:gd name="connsiteX1472" fmla="*/ 4521 w 10785"/>
                  <a:gd name="connsiteY1472" fmla="*/ 983 h 10000"/>
                  <a:gd name="connsiteX1473" fmla="*/ 4530 w 10785"/>
                  <a:gd name="connsiteY1473" fmla="*/ 957 h 10000"/>
                  <a:gd name="connsiteX1474" fmla="*/ 4535 w 10785"/>
                  <a:gd name="connsiteY1474" fmla="*/ 932 h 10000"/>
                  <a:gd name="connsiteX1475" fmla="*/ 4521 w 10785"/>
                  <a:gd name="connsiteY1475" fmla="*/ 932 h 10000"/>
                  <a:gd name="connsiteX1476" fmla="*/ 4516 w 10785"/>
                  <a:gd name="connsiteY1476" fmla="*/ 923 h 10000"/>
                  <a:gd name="connsiteX1477" fmla="*/ 4516 w 10785"/>
                  <a:gd name="connsiteY1477" fmla="*/ 932 h 10000"/>
                  <a:gd name="connsiteX1478" fmla="*/ 4488 w 10785"/>
                  <a:gd name="connsiteY1478" fmla="*/ 940 h 10000"/>
                  <a:gd name="connsiteX1479" fmla="*/ 4484 w 10785"/>
                  <a:gd name="connsiteY1479" fmla="*/ 983 h 10000"/>
                  <a:gd name="connsiteX1480" fmla="*/ 4470 w 10785"/>
                  <a:gd name="connsiteY1480" fmla="*/ 983 h 10000"/>
                  <a:gd name="connsiteX1481" fmla="*/ 4470 w 10785"/>
                  <a:gd name="connsiteY1481" fmla="*/ 966 h 10000"/>
                  <a:gd name="connsiteX1482" fmla="*/ 4488 w 10785"/>
                  <a:gd name="connsiteY1482" fmla="*/ 923 h 10000"/>
                  <a:gd name="connsiteX1483" fmla="*/ 4493 w 10785"/>
                  <a:gd name="connsiteY1483" fmla="*/ 880 h 10000"/>
                  <a:gd name="connsiteX1484" fmla="*/ 4475 w 10785"/>
                  <a:gd name="connsiteY1484" fmla="*/ 846 h 10000"/>
                  <a:gd name="connsiteX1485" fmla="*/ 4442 w 10785"/>
                  <a:gd name="connsiteY1485" fmla="*/ 855 h 10000"/>
                  <a:gd name="connsiteX1486" fmla="*/ 4433 w 10785"/>
                  <a:gd name="connsiteY1486" fmla="*/ 855 h 10000"/>
                  <a:gd name="connsiteX1487" fmla="*/ 4433 w 10785"/>
                  <a:gd name="connsiteY1487" fmla="*/ 880 h 10000"/>
                  <a:gd name="connsiteX1488" fmla="*/ 4401 w 10785"/>
                  <a:gd name="connsiteY1488" fmla="*/ 855 h 10000"/>
                  <a:gd name="connsiteX1489" fmla="*/ 4396 w 10785"/>
                  <a:gd name="connsiteY1489" fmla="*/ 872 h 10000"/>
                  <a:gd name="connsiteX1490" fmla="*/ 4382 w 10785"/>
                  <a:gd name="connsiteY1490" fmla="*/ 897 h 10000"/>
                  <a:gd name="connsiteX1491" fmla="*/ 4373 w 10785"/>
                  <a:gd name="connsiteY1491" fmla="*/ 872 h 10000"/>
                  <a:gd name="connsiteX1492" fmla="*/ 4341 w 10785"/>
                  <a:gd name="connsiteY1492" fmla="*/ 872 h 10000"/>
                  <a:gd name="connsiteX1493" fmla="*/ 4336 w 10785"/>
                  <a:gd name="connsiteY1493" fmla="*/ 880 h 10000"/>
                  <a:gd name="connsiteX1494" fmla="*/ 4346 w 10785"/>
                  <a:gd name="connsiteY1494" fmla="*/ 897 h 10000"/>
                  <a:gd name="connsiteX1495" fmla="*/ 4346 w 10785"/>
                  <a:gd name="connsiteY1495" fmla="*/ 897 h 10000"/>
                  <a:gd name="connsiteX1496" fmla="*/ 4313 w 10785"/>
                  <a:gd name="connsiteY1496" fmla="*/ 906 h 10000"/>
                  <a:gd name="connsiteX1497" fmla="*/ 4313 w 10785"/>
                  <a:gd name="connsiteY1497" fmla="*/ 906 h 10000"/>
                  <a:gd name="connsiteX1498" fmla="*/ 4313 w 10785"/>
                  <a:gd name="connsiteY1498" fmla="*/ 880 h 10000"/>
                  <a:gd name="connsiteX1499" fmla="*/ 4309 w 10785"/>
                  <a:gd name="connsiteY1499" fmla="*/ 897 h 10000"/>
                  <a:gd name="connsiteX1500" fmla="*/ 4295 w 10785"/>
                  <a:gd name="connsiteY1500" fmla="*/ 923 h 10000"/>
                  <a:gd name="connsiteX1501" fmla="*/ 4286 w 10785"/>
                  <a:gd name="connsiteY1501" fmla="*/ 897 h 10000"/>
                  <a:gd name="connsiteX1502" fmla="*/ 4281 w 10785"/>
                  <a:gd name="connsiteY1502" fmla="*/ 906 h 10000"/>
                  <a:gd name="connsiteX1503" fmla="*/ 4281 w 10785"/>
                  <a:gd name="connsiteY1503" fmla="*/ 940 h 10000"/>
                  <a:gd name="connsiteX1504" fmla="*/ 4286 w 10785"/>
                  <a:gd name="connsiteY1504" fmla="*/ 957 h 10000"/>
                  <a:gd name="connsiteX1505" fmla="*/ 4309 w 10785"/>
                  <a:gd name="connsiteY1505" fmla="*/ 932 h 10000"/>
                  <a:gd name="connsiteX1506" fmla="*/ 4313 w 10785"/>
                  <a:gd name="connsiteY1506" fmla="*/ 957 h 10000"/>
                  <a:gd name="connsiteX1507" fmla="*/ 4313 w 10785"/>
                  <a:gd name="connsiteY1507" fmla="*/ 966 h 10000"/>
                  <a:gd name="connsiteX1508" fmla="*/ 4323 w 10785"/>
                  <a:gd name="connsiteY1508" fmla="*/ 966 h 10000"/>
                  <a:gd name="connsiteX1509" fmla="*/ 4323 w 10785"/>
                  <a:gd name="connsiteY1509" fmla="*/ 940 h 10000"/>
                  <a:gd name="connsiteX1510" fmla="*/ 4327 w 10785"/>
                  <a:gd name="connsiteY1510" fmla="*/ 940 h 10000"/>
                  <a:gd name="connsiteX1511" fmla="*/ 4327 w 10785"/>
                  <a:gd name="connsiteY1511" fmla="*/ 957 h 10000"/>
                  <a:gd name="connsiteX1512" fmla="*/ 4327 w 10785"/>
                  <a:gd name="connsiteY1512" fmla="*/ 966 h 10000"/>
                  <a:gd name="connsiteX1513" fmla="*/ 4323 w 10785"/>
                  <a:gd name="connsiteY1513" fmla="*/ 991 h 10000"/>
                  <a:gd name="connsiteX1514" fmla="*/ 4207 w 10785"/>
                  <a:gd name="connsiteY1514" fmla="*/ 1060 h 10000"/>
                  <a:gd name="connsiteX1515" fmla="*/ 4207 w 10785"/>
                  <a:gd name="connsiteY1515" fmla="*/ 1060 h 10000"/>
                  <a:gd name="connsiteX1516" fmla="*/ 4203 w 10785"/>
                  <a:gd name="connsiteY1516" fmla="*/ 1068 h 10000"/>
                  <a:gd name="connsiteX1517" fmla="*/ 4203 w 10785"/>
                  <a:gd name="connsiteY1517" fmla="*/ 1094 h 10000"/>
                  <a:gd name="connsiteX1518" fmla="*/ 4203 w 10785"/>
                  <a:gd name="connsiteY1518" fmla="*/ 1094 h 10000"/>
                  <a:gd name="connsiteX1519" fmla="*/ 4189 w 10785"/>
                  <a:gd name="connsiteY1519" fmla="*/ 1094 h 10000"/>
                  <a:gd name="connsiteX1520" fmla="*/ 4166 w 10785"/>
                  <a:gd name="connsiteY1520" fmla="*/ 1103 h 10000"/>
                  <a:gd name="connsiteX1521" fmla="*/ 4152 w 10785"/>
                  <a:gd name="connsiteY1521" fmla="*/ 1094 h 10000"/>
                  <a:gd name="connsiteX1522" fmla="*/ 4134 w 10785"/>
                  <a:gd name="connsiteY1522" fmla="*/ 1120 h 10000"/>
                  <a:gd name="connsiteX1523" fmla="*/ 4106 w 10785"/>
                  <a:gd name="connsiteY1523" fmla="*/ 1120 h 10000"/>
                  <a:gd name="connsiteX1524" fmla="*/ 4092 w 10785"/>
                  <a:gd name="connsiteY1524" fmla="*/ 1154 h 10000"/>
                  <a:gd name="connsiteX1525" fmla="*/ 4106 w 10785"/>
                  <a:gd name="connsiteY1525" fmla="*/ 1171 h 10000"/>
                  <a:gd name="connsiteX1526" fmla="*/ 4078 w 10785"/>
                  <a:gd name="connsiteY1526" fmla="*/ 1179 h 10000"/>
                  <a:gd name="connsiteX1527" fmla="*/ 4065 w 10785"/>
                  <a:gd name="connsiteY1527" fmla="*/ 1205 h 10000"/>
                  <a:gd name="connsiteX1528" fmla="*/ 4046 w 10785"/>
                  <a:gd name="connsiteY1528" fmla="*/ 1179 h 10000"/>
                  <a:gd name="connsiteX1529" fmla="*/ 4041 w 10785"/>
                  <a:gd name="connsiteY1529" fmla="*/ 1197 h 10000"/>
                  <a:gd name="connsiteX1530" fmla="*/ 4028 w 10785"/>
                  <a:gd name="connsiteY1530" fmla="*/ 1205 h 10000"/>
                  <a:gd name="connsiteX1531" fmla="*/ 4028 w 10785"/>
                  <a:gd name="connsiteY1531" fmla="*/ 1205 h 10000"/>
                  <a:gd name="connsiteX1532" fmla="*/ 4032 w 10785"/>
                  <a:gd name="connsiteY1532" fmla="*/ 1205 h 10000"/>
                  <a:gd name="connsiteX1533" fmla="*/ 4032 w 10785"/>
                  <a:gd name="connsiteY1533" fmla="*/ 1231 h 10000"/>
                  <a:gd name="connsiteX1534" fmla="*/ 4014 w 10785"/>
                  <a:gd name="connsiteY1534" fmla="*/ 1239 h 10000"/>
                  <a:gd name="connsiteX1535" fmla="*/ 4014 w 10785"/>
                  <a:gd name="connsiteY1535" fmla="*/ 1256 h 10000"/>
                  <a:gd name="connsiteX1536" fmla="*/ 4000 w 10785"/>
                  <a:gd name="connsiteY1536" fmla="*/ 1265 h 10000"/>
                  <a:gd name="connsiteX1537" fmla="*/ 3986 w 10785"/>
                  <a:gd name="connsiteY1537" fmla="*/ 1308 h 10000"/>
                  <a:gd name="connsiteX1538" fmla="*/ 3972 w 10785"/>
                  <a:gd name="connsiteY1538" fmla="*/ 1316 h 10000"/>
                  <a:gd name="connsiteX1539" fmla="*/ 3972 w 10785"/>
                  <a:gd name="connsiteY1539" fmla="*/ 1325 h 10000"/>
                  <a:gd name="connsiteX1540" fmla="*/ 3972 w 10785"/>
                  <a:gd name="connsiteY1540" fmla="*/ 1342 h 10000"/>
                  <a:gd name="connsiteX1541" fmla="*/ 3968 w 10785"/>
                  <a:gd name="connsiteY1541" fmla="*/ 1350 h 10000"/>
                  <a:gd name="connsiteX1542" fmla="*/ 3954 w 10785"/>
                  <a:gd name="connsiteY1542" fmla="*/ 1368 h 10000"/>
                  <a:gd name="connsiteX1543" fmla="*/ 3945 w 10785"/>
                  <a:gd name="connsiteY1543" fmla="*/ 1350 h 10000"/>
                  <a:gd name="connsiteX1544" fmla="*/ 3908 w 10785"/>
                  <a:gd name="connsiteY1544" fmla="*/ 1342 h 10000"/>
                  <a:gd name="connsiteX1545" fmla="*/ 3894 w 10785"/>
                  <a:gd name="connsiteY1545" fmla="*/ 1368 h 10000"/>
                  <a:gd name="connsiteX1546" fmla="*/ 3922 w 10785"/>
                  <a:gd name="connsiteY1546" fmla="*/ 1393 h 10000"/>
                  <a:gd name="connsiteX1547" fmla="*/ 3945 w 10785"/>
                  <a:gd name="connsiteY1547" fmla="*/ 1393 h 10000"/>
                  <a:gd name="connsiteX1548" fmla="*/ 3940 w 10785"/>
                  <a:gd name="connsiteY1548" fmla="*/ 1419 h 10000"/>
                  <a:gd name="connsiteX1549" fmla="*/ 3931 w 10785"/>
                  <a:gd name="connsiteY1549" fmla="*/ 1427 h 10000"/>
                  <a:gd name="connsiteX1550" fmla="*/ 3926 w 10785"/>
                  <a:gd name="connsiteY1550" fmla="*/ 1427 h 10000"/>
                  <a:gd name="connsiteX1551" fmla="*/ 3922 w 10785"/>
                  <a:gd name="connsiteY1551" fmla="*/ 1419 h 10000"/>
                  <a:gd name="connsiteX1552" fmla="*/ 3912 w 10785"/>
                  <a:gd name="connsiteY1552" fmla="*/ 1427 h 10000"/>
                  <a:gd name="connsiteX1553" fmla="*/ 3912 w 10785"/>
                  <a:gd name="connsiteY1553" fmla="*/ 1444 h 10000"/>
                  <a:gd name="connsiteX1554" fmla="*/ 3894 w 10785"/>
                  <a:gd name="connsiteY1554" fmla="*/ 1513 h 10000"/>
                  <a:gd name="connsiteX1555" fmla="*/ 3885 w 10785"/>
                  <a:gd name="connsiteY1555" fmla="*/ 1513 h 10000"/>
                  <a:gd name="connsiteX1556" fmla="*/ 3880 w 10785"/>
                  <a:gd name="connsiteY1556" fmla="*/ 1538 h 10000"/>
                  <a:gd name="connsiteX1557" fmla="*/ 3885 w 10785"/>
                  <a:gd name="connsiteY1557" fmla="*/ 1564 h 10000"/>
                  <a:gd name="connsiteX1558" fmla="*/ 3880 w 10785"/>
                  <a:gd name="connsiteY1558" fmla="*/ 1581 h 10000"/>
                  <a:gd name="connsiteX1559" fmla="*/ 3871 w 10785"/>
                  <a:gd name="connsiteY1559" fmla="*/ 1538 h 10000"/>
                  <a:gd name="connsiteX1560" fmla="*/ 3853 w 10785"/>
                  <a:gd name="connsiteY1560" fmla="*/ 1530 h 10000"/>
                  <a:gd name="connsiteX1561" fmla="*/ 3853 w 10785"/>
                  <a:gd name="connsiteY1561" fmla="*/ 1504 h 10000"/>
                  <a:gd name="connsiteX1562" fmla="*/ 3834 w 10785"/>
                  <a:gd name="connsiteY1562" fmla="*/ 1487 h 10000"/>
                  <a:gd name="connsiteX1563" fmla="*/ 3834 w 10785"/>
                  <a:gd name="connsiteY1563" fmla="*/ 1487 h 10000"/>
                  <a:gd name="connsiteX1564" fmla="*/ 3839 w 10785"/>
                  <a:gd name="connsiteY1564" fmla="*/ 1513 h 10000"/>
                  <a:gd name="connsiteX1565" fmla="*/ 3820 w 10785"/>
                  <a:gd name="connsiteY1565" fmla="*/ 1538 h 10000"/>
                  <a:gd name="connsiteX1566" fmla="*/ 3820 w 10785"/>
                  <a:gd name="connsiteY1566" fmla="*/ 1556 h 10000"/>
                  <a:gd name="connsiteX1567" fmla="*/ 3820 w 10785"/>
                  <a:gd name="connsiteY1567" fmla="*/ 1564 h 10000"/>
                  <a:gd name="connsiteX1568" fmla="*/ 3820 w 10785"/>
                  <a:gd name="connsiteY1568" fmla="*/ 1581 h 10000"/>
                  <a:gd name="connsiteX1569" fmla="*/ 3853 w 10785"/>
                  <a:gd name="connsiteY1569" fmla="*/ 1581 h 10000"/>
                  <a:gd name="connsiteX1570" fmla="*/ 3857 w 10785"/>
                  <a:gd name="connsiteY1570" fmla="*/ 1598 h 10000"/>
                  <a:gd name="connsiteX1571" fmla="*/ 3880 w 10785"/>
                  <a:gd name="connsiteY1571" fmla="*/ 1615 h 10000"/>
                  <a:gd name="connsiteX1572" fmla="*/ 3871 w 10785"/>
                  <a:gd name="connsiteY1572" fmla="*/ 1615 h 10000"/>
                  <a:gd name="connsiteX1573" fmla="*/ 3871 w 10785"/>
                  <a:gd name="connsiteY1573" fmla="*/ 1641 h 10000"/>
                  <a:gd name="connsiteX1574" fmla="*/ 3880 w 10785"/>
                  <a:gd name="connsiteY1574" fmla="*/ 1641 h 10000"/>
                  <a:gd name="connsiteX1575" fmla="*/ 3871 w 10785"/>
                  <a:gd name="connsiteY1575" fmla="*/ 1650 h 10000"/>
                  <a:gd name="connsiteX1576" fmla="*/ 3857 w 10785"/>
                  <a:gd name="connsiteY1576" fmla="*/ 1650 h 10000"/>
                  <a:gd name="connsiteX1577" fmla="*/ 3853 w 10785"/>
                  <a:gd name="connsiteY1577" fmla="*/ 1650 h 10000"/>
                  <a:gd name="connsiteX1578" fmla="*/ 3839 w 10785"/>
                  <a:gd name="connsiteY1578" fmla="*/ 1667 h 10000"/>
                  <a:gd name="connsiteX1579" fmla="*/ 3848 w 10785"/>
                  <a:gd name="connsiteY1579" fmla="*/ 1692 h 10000"/>
                  <a:gd name="connsiteX1580" fmla="*/ 3834 w 10785"/>
                  <a:gd name="connsiteY1580" fmla="*/ 1692 h 10000"/>
                  <a:gd name="connsiteX1581" fmla="*/ 3825 w 10785"/>
                  <a:gd name="connsiteY1581" fmla="*/ 1692 h 10000"/>
                  <a:gd name="connsiteX1582" fmla="*/ 3825 w 10785"/>
                  <a:gd name="connsiteY1582" fmla="*/ 1718 h 10000"/>
                  <a:gd name="connsiteX1583" fmla="*/ 3839 w 10785"/>
                  <a:gd name="connsiteY1583" fmla="*/ 1726 h 10000"/>
                  <a:gd name="connsiteX1584" fmla="*/ 3880 w 10785"/>
                  <a:gd name="connsiteY1584" fmla="*/ 1752 h 10000"/>
                  <a:gd name="connsiteX1585" fmla="*/ 3894 w 10785"/>
                  <a:gd name="connsiteY1585" fmla="*/ 1829 h 10000"/>
                  <a:gd name="connsiteX1586" fmla="*/ 3899 w 10785"/>
                  <a:gd name="connsiteY1586" fmla="*/ 1838 h 10000"/>
                  <a:gd name="connsiteX1587" fmla="*/ 3894 w 10785"/>
                  <a:gd name="connsiteY1587" fmla="*/ 1855 h 10000"/>
                  <a:gd name="connsiteX1588" fmla="*/ 3880 w 10785"/>
                  <a:gd name="connsiteY1588" fmla="*/ 1838 h 10000"/>
                  <a:gd name="connsiteX1589" fmla="*/ 3880 w 10785"/>
                  <a:gd name="connsiteY1589" fmla="*/ 1855 h 10000"/>
                  <a:gd name="connsiteX1590" fmla="*/ 3880 w 10785"/>
                  <a:gd name="connsiteY1590" fmla="*/ 1863 h 10000"/>
                  <a:gd name="connsiteX1591" fmla="*/ 3871 w 10785"/>
                  <a:gd name="connsiteY1591" fmla="*/ 1872 h 10000"/>
                  <a:gd name="connsiteX1592" fmla="*/ 3880 w 10785"/>
                  <a:gd name="connsiteY1592" fmla="*/ 1889 h 10000"/>
                  <a:gd name="connsiteX1593" fmla="*/ 3885 w 10785"/>
                  <a:gd name="connsiteY1593" fmla="*/ 1889 h 10000"/>
                  <a:gd name="connsiteX1594" fmla="*/ 3880 w 10785"/>
                  <a:gd name="connsiteY1594" fmla="*/ 1897 h 10000"/>
                  <a:gd name="connsiteX1595" fmla="*/ 3871 w 10785"/>
                  <a:gd name="connsiteY1595" fmla="*/ 1915 h 10000"/>
                  <a:gd name="connsiteX1596" fmla="*/ 3848 w 10785"/>
                  <a:gd name="connsiteY1596" fmla="*/ 1923 h 10000"/>
                  <a:gd name="connsiteX1597" fmla="*/ 3825 w 10785"/>
                  <a:gd name="connsiteY1597" fmla="*/ 1940 h 10000"/>
                  <a:gd name="connsiteX1598" fmla="*/ 3811 w 10785"/>
                  <a:gd name="connsiteY1598" fmla="*/ 1940 h 10000"/>
                  <a:gd name="connsiteX1599" fmla="*/ 3806 w 10785"/>
                  <a:gd name="connsiteY1599" fmla="*/ 1949 h 10000"/>
                  <a:gd name="connsiteX1600" fmla="*/ 3797 w 10785"/>
                  <a:gd name="connsiteY1600" fmla="*/ 1966 h 10000"/>
                  <a:gd name="connsiteX1601" fmla="*/ 3788 w 10785"/>
                  <a:gd name="connsiteY1601" fmla="*/ 1991 h 10000"/>
                  <a:gd name="connsiteX1602" fmla="*/ 3765 w 10785"/>
                  <a:gd name="connsiteY1602" fmla="*/ 1974 h 10000"/>
                  <a:gd name="connsiteX1603" fmla="*/ 3760 w 10785"/>
                  <a:gd name="connsiteY1603" fmla="*/ 1966 h 10000"/>
                  <a:gd name="connsiteX1604" fmla="*/ 3760 w 10785"/>
                  <a:gd name="connsiteY1604" fmla="*/ 1966 h 10000"/>
                  <a:gd name="connsiteX1605" fmla="*/ 3631 w 10785"/>
                  <a:gd name="connsiteY1605" fmla="*/ 2009 h 10000"/>
                  <a:gd name="connsiteX1606" fmla="*/ 3618 w 10785"/>
                  <a:gd name="connsiteY1606" fmla="*/ 2000 h 10000"/>
                  <a:gd name="connsiteX1607" fmla="*/ 3599 w 10785"/>
                  <a:gd name="connsiteY1607" fmla="*/ 2009 h 10000"/>
                  <a:gd name="connsiteX1608" fmla="*/ 3571 w 10785"/>
                  <a:gd name="connsiteY1608" fmla="*/ 2000 h 10000"/>
                  <a:gd name="connsiteX1609" fmla="*/ 3530 w 10785"/>
                  <a:gd name="connsiteY1609" fmla="*/ 2026 h 10000"/>
                  <a:gd name="connsiteX1610" fmla="*/ 3530 w 10785"/>
                  <a:gd name="connsiteY1610" fmla="*/ 2034 h 10000"/>
                  <a:gd name="connsiteX1611" fmla="*/ 3525 w 10785"/>
                  <a:gd name="connsiteY1611" fmla="*/ 2051 h 10000"/>
                  <a:gd name="connsiteX1612" fmla="*/ 3512 w 10785"/>
                  <a:gd name="connsiteY1612" fmla="*/ 2034 h 10000"/>
                  <a:gd name="connsiteX1613" fmla="*/ 3507 w 10785"/>
                  <a:gd name="connsiteY1613" fmla="*/ 2034 h 10000"/>
                  <a:gd name="connsiteX1614" fmla="*/ 3498 w 10785"/>
                  <a:gd name="connsiteY1614" fmla="*/ 2051 h 10000"/>
                  <a:gd name="connsiteX1615" fmla="*/ 3484 w 10785"/>
                  <a:gd name="connsiteY1615" fmla="*/ 2060 h 10000"/>
                  <a:gd name="connsiteX1616" fmla="*/ 3484 w 10785"/>
                  <a:gd name="connsiteY1616" fmla="*/ 2085 h 10000"/>
                  <a:gd name="connsiteX1617" fmla="*/ 3484 w 10785"/>
                  <a:gd name="connsiteY1617" fmla="*/ 2103 h 10000"/>
                  <a:gd name="connsiteX1618" fmla="*/ 3493 w 10785"/>
                  <a:gd name="connsiteY1618" fmla="*/ 2103 h 10000"/>
                  <a:gd name="connsiteX1619" fmla="*/ 3493 w 10785"/>
                  <a:gd name="connsiteY1619" fmla="*/ 2085 h 10000"/>
                  <a:gd name="connsiteX1620" fmla="*/ 3498 w 10785"/>
                  <a:gd name="connsiteY1620" fmla="*/ 2085 h 10000"/>
                  <a:gd name="connsiteX1621" fmla="*/ 3498 w 10785"/>
                  <a:gd name="connsiteY1621" fmla="*/ 2111 h 10000"/>
                  <a:gd name="connsiteX1622" fmla="*/ 3484 w 10785"/>
                  <a:gd name="connsiteY1622" fmla="*/ 2120 h 10000"/>
                  <a:gd name="connsiteX1623" fmla="*/ 3484 w 10785"/>
                  <a:gd name="connsiteY1623" fmla="*/ 2145 h 10000"/>
                  <a:gd name="connsiteX1624" fmla="*/ 3470 w 10785"/>
                  <a:gd name="connsiteY1624" fmla="*/ 2137 h 10000"/>
                  <a:gd name="connsiteX1625" fmla="*/ 3465 w 10785"/>
                  <a:gd name="connsiteY1625" fmla="*/ 2145 h 10000"/>
                  <a:gd name="connsiteX1626" fmla="*/ 3470 w 10785"/>
                  <a:gd name="connsiteY1626" fmla="*/ 2171 h 10000"/>
                  <a:gd name="connsiteX1627" fmla="*/ 3484 w 10785"/>
                  <a:gd name="connsiteY1627" fmla="*/ 2171 h 10000"/>
                  <a:gd name="connsiteX1628" fmla="*/ 3484 w 10785"/>
                  <a:gd name="connsiteY1628" fmla="*/ 2197 h 10000"/>
                  <a:gd name="connsiteX1629" fmla="*/ 3465 w 10785"/>
                  <a:gd name="connsiteY1629" fmla="*/ 2214 h 10000"/>
                  <a:gd name="connsiteX1630" fmla="*/ 3493 w 10785"/>
                  <a:gd name="connsiteY1630" fmla="*/ 2248 h 10000"/>
                  <a:gd name="connsiteX1631" fmla="*/ 3484 w 10785"/>
                  <a:gd name="connsiteY1631" fmla="*/ 2256 h 10000"/>
                  <a:gd name="connsiteX1632" fmla="*/ 3498 w 10785"/>
                  <a:gd name="connsiteY1632" fmla="*/ 2274 h 10000"/>
                  <a:gd name="connsiteX1633" fmla="*/ 3498 w 10785"/>
                  <a:gd name="connsiteY1633" fmla="*/ 2256 h 10000"/>
                  <a:gd name="connsiteX1634" fmla="*/ 3507 w 10785"/>
                  <a:gd name="connsiteY1634" fmla="*/ 2308 h 10000"/>
                  <a:gd name="connsiteX1635" fmla="*/ 3512 w 10785"/>
                  <a:gd name="connsiteY1635" fmla="*/ 2325 h 10000"/>
                  <a:gd name="connsiteX1636" fmla="*/ 3507 w 10785"/>
                  <a:gd name="connsiteY1636" fmla="*/ 2333 h 10000"/>
                  <a:gd name="connsiteX1637" fmla="*/ 3507 w 10785"/>
                  <a:gd name="connsiteY1637" fmla="*/ 2359 h 10000"/>
                  <a:gd name="connsiteX1638" fmla="*/ 3507 w 10785"/>
                  <a:gd name="connsiteY1638" fmla="*/ 2376 h 10000"/>
                  <a:gd name="connsiteX1639" fmla="*/ 3498 w 10785"/>
                  <a:gd name="connsiteY1639" fmla="*/ 2410 h 10000"/>
                  <a:gd name="connsiteX1640" fmla="*/ 3498 w 10785"/>
                  <a:gd name="connsiteY1640" fmla="*/ 2436 h 10000"/>
                  <a:gd name="connsiteX1641" fmla="*/ 3507 w 10785"/>
                  <a:gd name="connsiteY1641" fmla="*/ 2462 h 10000"/>
                  <a:gd name="connsiteX1642" fmla="*/ 3507 w 10785"/>
                  <a:gd name="connsiteY1642" fmla="*/ 2496 h 10000"/>
                  <a:gd name="connsiteX1643" fmla="*/ 3512 w 10785"/>
                  <a:gd name="connsiteY1643" fmla="*/ 2521 h 10000"/>
                  <a:gd name="connsiteX1644" fmla="*/ 3525 w 10785"/>
                  <a:gd name="connsiteY1644" fmla="*/ 2556 h 10000"/>
                  <a:gd name="connsiteX1645" fmla="*/ 3571 w 10785"/>
                  <a:gd name="connsiteY1645" fmla="*/ 2573 h 10000"/>
                  <a:gd name="connsiteX1646" fmla="*/ 3590 w 10785"/>
                  <a:gd name="connsiteY1646" fmla="*/ 2598 h 10000"/>
                  <a:gd name="connsiteX1647" fmla="*/ 3599 w 10785"/>
                  <a:gd name="connsiteY1647" fmla="*/ 2598 h 10000"/>
                  <a:gd name="connsiteX1648" fmla="*/ 3604 w 10785"/>
                  <a:gd name="connsiteY1648" fmla="*/ 2632 h 10000"/>
                  <a:gd name="connsiteX1649" fmla="*/ 3599 w 10785"/>
                  <a:gd name="connsiteY1649" fmla="*/ 2658 h 10000"/>
                  <a:gd name="connsiteX1650" fmla="*/ 3590 w 10785"/>
                  <a:gd name="connsiteY1650" fmla="*/ 2667 h 10000"/>
                  <a:gd name="connsiteX1651" fmla="*/ 3604 w 10785"/>
                  <a:gd name="connsiteY1651" fmla="*/ 2667 h 10000"/>
                  <a:gd name="connsiteX1652" fmla="*/ 3613 w 10785"/>
                  <a:gd name="connsiteY1652" fmla="*/ 2692 h 10000"/>
                  <a:gd name="connsiteX1653" fmla="*/ 3627 w 10785"/>
                  <a:gd name="connsiteY1653" fmla="*/ 2735 h 10000"/>
                  <a:gd name="connsiteX1654" fmla="*/ 3631 w 10785"/>
                  <a:gd name="connsiteY1654" fmla="*/ 2744 h 10000"/>
                  <a:gd name="connsiteX1655" fmla="*/ 3659 w 10785"/>
                  <a:gd name="connsiteY1655" fmla="*/ 2761 h 10000"/>
                  <a:gd name="connsiteX1656" fmla="*/ 3673 w 10785"/>
                  <a:gd name="connsiteY1656" fmla="*/ 2769 h 10000"/>
                  <a:gd name="connsiteX1657" fmla="*/ 3673 w 10785"/>
                  <a:gd name="connsiteY1657" fmla="*/ 2761 h 10000"/>
                  <a:gd name="connsiteX1658" fmla="*/ 3687 w 10785"/>
                  <a:gd name="connsiteY1658" fmla="*/ 2829 h 10000"/>
                  <a:gd name="connsiteX1659" fmla="*/ 3677 w 10785"/>
                  <a:gd name="connsiteY1659" fmla="*/ 2897 h 10000"/>
                  <a:gd name="connsiteX1660" fmla="*/ 3673 w 10785"/>
                  <a:gd name="connsiteY1660" fmla="*/ 2915 h 10000"/>
                  <a:gd name="connsiteX1661" fmla="*/ 3664 w 10785"/>
                  <a:gd name="connsiteY1661" fmla="*/ 2957 h 10000"/>
                  <a:gd name="connsiteX1662" fmla="*/ 3659 w 10785"/>
                  <a:gd name="connsiteY1662" fmla="*/ 2983 h 10000"/>
                  <a:gd name="connsiteX1663" fmla="*/ 3664 w 10785"/>
                  <a:gd name="connsiteY1663" fmla="*/ 3017 h 10000"/>
                  <a:gd name="connsiteX1664" fmla="*/ 3659 w 10785"/>
                  <a:gd name="connsiteY1664" fmla="*/ 3043 h 10000"/>
                  <a:gd name="connsiteX1665" fmla="*/ 3677 w 10785"/>
                  <a:gd name="connsiteY1665" fmla="*/ 3094 h 10000"/>
                  <a:gd name="connsiteX1666" fmla="*/ 3691 w 10785"/>
                  <a:gd name="connsiteY1666" fmla="*/ 3282 h 10000"/>
                  <a:gd name="connsiteX1667" fmla="*/ 3691 w 10785"/>
                  <a:gd name="connsiteY1667" fmla="*/ 3308 h 10000"/>
                  <a:gd name="connsiteX1668" fmla="*/ 3677 w 10785"/>
                  <a:gd name="connsiteY1668" fmla="*/ 3342 h 10000"/>
                  <a:gd name="connsiteX1669" fmla="*/ 3664 w 10785"/>
                  <a:gd name="connsiteY1669" fmla="*/ 3342 h 10000"/>
                  <a:gd name="connsiteX1670" fmla="*/ 3650 w 10785"/>
                  <a:gd name="connsiteY1670" fmla="*/ 3342 h 10000"/>
                  <a:gd name="connsiteX1671" fmla="*/ 3650 w 10785"/>
                  <a:gd name="connsiteY1671" fmla="*/ 3350 h 10000"/>
                  <a:gd name="connsiteX1672" fmla="*/ 3659 w 10785"/>
                  <a:gd name="connsiteY1672" fmla="*/ 3402 h 10000"/>
                  <a:gd name="connsiteX1673" fmla="*/ 3659 w 10785"/>
                  <a:gd name="connsiteY1673" fmla="*/ 3419 h 10000"/>
                  <a:gd name="connsiteX1674" fmla="*/ 3631 w 10785"/>
                  <a:gd name="connsiteY1674" fmla="*/ 3402 h 10000"/>
                  <a:gd name="connsiteX1675" fmla="*/ 3604 w 10785"/>
                  <a:gd name="connsiteY1675" fmla="*/ 3393 h 10000"/>
                  <a:gd name="connsiteX1676" fmla="*/ 3599 w 10785"/>
                  <a:gd name="connsiteY1676" fmla="*/ 3368 h 10000"/>
                  <a:gd name="connsiteX1677" fmla="*/ 3590 w 10785"/>
                  <a:gd name="connsiteY1677" fmla="*/ 3239 h 10000"/>
                  <a:gd name="connsiteX1678" fmla="*/ 3599 w 10785"/>
                  <a:gd name="connsiteY1678" fmla="*/ 3179 h 10000"/>
                  <a:gd name="connsiteX1679" fmla="*/ 3599 w 10785"/>
                  <a:gd name="connsiteY1679" fmla="*/ 3171 h 10000"/>
                  <a:gd name="connsiteX1680" fmla="*/ 3599 w 10785"/>
                  <a:gd name="connsiteY1680" fmla="*/ 3009 h 10000"/>
                  <a:gd name="connsiteX1681" fmla="*/ 3604 w 10785"/>
                  <a:gd name="connsiteY1681" fmla="*/ 2983 h 10000"/>
                  <a:gd name="connsiteX1682" fmla="*/ 3645 w 10785"/>
                  <a:gd name="connsiteY1682" fmla="*/ 2932 h 10000"/>
                  <a:gd name="connsiteX1683" fmla="*/ 3650 w 10785"/>
                  <a:gd name="connsiteY1683" fmla="*/ 2872 h 10000"/>
                  <a:gd name="connsiteX1684" fmla="*/ 3659 w 10785"/>
                  <a:gd name="connsiteY1684" fmla="*/ 2855 h 10000"/>
                  <a:gd name="connsiteX1685" fmla="*/ 3659 w 10785"/>
                  <a:gd name="connsiteY1685" fmla="*/ 2821 h 10000"/>
                  <a:gd name="connsiteX1686" fmla="*/ 3631 w 10785"/>
                  <a:gd name="connsiteY1686" fmla="*/ 2795 h 10000"/>
                  <a:gd name="connsiteX1687" fmla="*/ 3567 w 10785"/>
                  <a:gd name="connsiteY1687" fmla="*/ 2821 h 10000"/>
                  <a:gd name="connsiteX1688" fmla="*/ 3544 w 10785"/>
                  <a:gd name="connsiteY1688" fmla="*/ 2795 h 10000"/>
                  <a:gd name="connsiteX1689" fmla="*/ 3530 w 10785"/>
                  <a:gd name="connsiteY1689" fmla="*/ 2769 h 10000"/>
                  <a:gd name="connsiteX1690" fmla="*/ 3530 w 10785"/>
                  <a:gd name="connsiteY1690" fmla="*/ 2786 h 10000"/>
                  <a:gd name="connsiteX1691" fmla="*/ 3498 w 10785"/>
                  <a:gd name="connsiteY1691" fmla="*/ 2692 h 10000"/>
                  <a:gd name="connsiteX1692" fmla="*/ 3498 w 10785"/>
                  <a:gd name="connsiteY1692" fmla="*/ 2667 h 10000"/>
                  <a:gd name="connsiteX1693" fmla="*/ 3442 w 10785"/>
                  <a:gd name="connsiteY1693" fmla="*/ 2607 h 10000"/>
                  <a:gd name="connsiteX1694" fmla="*/ 3433 w 10785"/>
                  <a:gd name="connsiteY1694" fmla="*/ 2581 h 10000"/>
                  <a:gd name="connsiteX1695" fmla="*/ 3396 w 10785"/>
                  <a:gd name="connsiteY1695" fmla="*/ 2556 h 10000"/>
                  <a:gd name="connsiteX1696" fmla="*/ 3318 w 10785"/>
                  <a:gd name="connsiteY1696" fmla="*/ 2556 h 10000"/>
                  <a:gd name="connsiteX1697" fmla="*/ 3304 w 10785"/>
                  <a:gd name="connsiteY1697" fmla="*/ 2607 h 10000"/>
                  <a:gd name="connsiteX1698" fmla="*/ 3276 w 10785"/>
                  <a:gd name="connsiteY1698" fmla="*/ 2632 h 10000"/>
                  <a:gd name="connsiteX1699" fmla="*/ 3272 w 10785"/>
                  <a:gd name="connsiteY1699" fmla="*/ 2667 h 10000"/>
                  <a:gd name="connsiteX1700" fmla="*/ 3304 w 10785"/>
                  <a:gd name="connsiteY1700" fmla="*/ 2667 h 10000"/>
                  <a:gd name="connsiteX1701" fmla="*/ 3323 w 10785"/>
                  <a:gd name="connsiteY1701" fmla="*/ 2692 h 10000"/>
                  <a:gd name="connsiteX1702" fmla="*/ 3318 w 10785"/>
                  <a:gd name="connsiteY1702" fmla="*/ 2735 h 10000"/>
                  <a:gd name="connsiteX1703" fmla="*/ 3304 w 10785"/>
                  <a:gd name="connsiteY1703" fmla="*/ 2761 h 10000"/>
                  <a:gd name="connsiteX1704" fmla="*/ 3276 w 10785"/>
                  <a:gd name="connsiteY1704" fmla="*/ 2769 h 10000"/>
                  <a:gd name="connsiteX1705" fmla="*/ 3263 w 10785"/>
                  <a:gd name="connsiteY1705" fmla="*/ 2795 h 10000"/>
                  <a:gd name="connsiteX1706" fmla="*/ 3235 w 10785"/>
                  <a:gd name="connsiteY1706" fmla="*/ 2803 h 10000"/>
                  <a:gd name="connsiteX1707" fmla="*/ 3235 w 10785"/>
                  <a:gd name="connsiteY1707" fmla="*/ 2786 h 10000"/>
                  <a:gd name="connsiteX1708" fmla="*/ 3212 w 10785"/>
                  <a:gd name="connsiteY1708" fmla="*/ 2709 h 10000"/>
                  <a:gd name="connsiteX1709" fmla="*/ 3198 w 10785"/>
                  <a:gd name="connsiteY1709" fmla="*/ 2709 h 10000"/>
                  <a:gd name="connsiteX1710" fmla="*/ 3184 w 10785"/>
                  <a:gd name="connsiteY1710" fmla="*/ 2735 h 10000"/>
                  <a:gd name="connsiteX1711" fmla="*/ 3189 w 10785"/>
                  <a:gd name="connsiteY1711" fmla="*/ 2761 h 10000"/>
                  <a:gd name="connsiteX1712" fmla="*/ 3203 w 10785"/>
                  <a:gd name="connsiteY1712" fmla="*/ 2855 h 10000"/>
                  <a:gd name="connsiteX1713" fmla="*/ 3212 w 10785"/>
                  <a:gd name="connsiteY1713" fmla="*/ 2872 h 10000"/>
                  <a:gd name="connsiteX1714" fmla="*/ 3235 w 10785"/>
                  <a:gd name="connsiteY1714" fmla="*/ 2906 h 10000"/>
                  <a:gd name="connsiteX1715" fmla="*/ 3258 w 10785"/>
                  <a:gd name="connsiteY1715" fmla="*/ 2915 h 10000"/>
                  <a:gd name="connsiteX1716" fmla="*/ 3272 w 10785"/>
                  <a:gd name="connsiteY1716" fmla="*/ 2957 h 10000"/>
                  <a:gd name="connsiteX1717" fmla="*/ 3276 w 10785"/>
                  <a:gd name="connsiteY1717" fmla="*/ 2957 h 10000"/>
                  <a:gd name="connsiteX1718" fmla="*/ 3286 w 10785"/>
                  <a:gd name="connsiteY1718" fmla="*/ 2966 h 10000"/>
                  <a:gd name="connsiteX1719" fmla="*/ 3300 w 10785"/>
                  <a:gd name="connsiteY1719" fmla="*/ 2957 h 10000"/>
                  <a:gd name="connsiteX1720" fmla="*/ 3309 w 10785"/>
                  <a:gd name="connsiteY1720" fmla="*/ 2932 h 10000"/>
                  <a:gd name="connsiteX1721" fmla="*/ 3304 w 10785"/>
                  <a:gd name="connsiteY1721" fmla="*/ 2966 h 10000"/>
                  <a:gd name="connsiteX1722" fmla="*/ 3309 w 10785"/>
                  <a:gd name="connsiteY1722" fmla="*/ 2983 h 10000"/>
                  <a:gd name="connsiteX1723" fmla="*/ 3323 w 10785"/>
                  <a:gd name="connsiteY1723" fmla="*/ 2966 h 10000"/>
                  <a:gd name="connsiteX1724" fmla="*/ 3323 w 10785"/>
                  <a:gd name="connsiteY1724" fmla="*/ 3043 h 10000"/>
                  <a:gd name="connsiteX1725" fmla="*/ 3346 w 10785"/>
                  <a:gd name="connsiteY1725" fmla="*/ 3068 h 10000"/>
                  <a:gd name="connsiteX1726" fmla="*/ 3346 w 10785"/>
                  <a:gd name="connsiteY1726" fmla="*/ 3094 h 10000"/>
                  <a:gd name="connsiteX1727" fmla="*/ 3323 w 10785"/>
                  <a:gd name="connsiteY1727" fmla="*/ 3094 h 10000"/>
                  <a:gd name="connsiteX1728" fmla="*/ 3309 w 10785"/>
                  <a:gd name="connsiteY1728" fmla="*/ 3077 h 10000"/>
                  <a:gd name="connsiteX1729" fmla="*/ 3304 w 10785"/>
                  <a:gd name="connsiteY1729" fmla="*/ 3051 h 10000"/>
                  <a:gd name="connsiteX1730" fmla="*/ 3300 w 10785"/>
                  <a:gd name="connsiteY1730" fmla="*/ 3043 h 10000"/>
                  <a:gd name="connsiteX1731" fmla="*/ 3286 w 10785"/>
                  <a:gd name="connsiteY1731" fmla="*/ 3017 h 10000"/>
                  <a:gd name="connsiteX1732" fmla="*/ 3152 w 10785"/>
                  <a:gd name="connsiteY1732" fmla="*/ 2966 h 10000"/>
                  <a:gd name="connsiteX1733" fmla="*/ 3129 w 10785"/>
                  <a:gd name="connsiteY1733" fmla="*/ 2915 h 10000"/>
                  <a:gd name="connsiteX1734" fmla="*/ 3129 w 10785"/>
                  <a:gd name="connsiteY1734" fmla="*/ 2906 h 10000"/>
                  <a:gd name="connsiteX1735" fmla="*/ 3152 w 10785"/>
                  <a:gd name="connsiteY1735" fmla="*/ 2906 h 10000"/>
                  <a:gd name="connsiteX1736" fmla="*/ 3152 w 10785"/>
                  <a:gd name="connsiteY1736" fmla="*/ 2846 h 10000"/>
                  <a:gd name="connsiteX1737" fmla="*/ 3138 w 10785"/>
                  <a:gd name="connsiteY1737" fmla="*/ 2795 h 10000"/>
                  <a:gd name="connsiteX1738" fmla="*/ 3138 w 10785"/>
                  <a:gd name="connsiteY1738" fmla="*/ 2769 h 10000"/>
                  <a:gd name="connsiteX1739" fmla="*/ 3143 w 10785"/>
                  <a:gd name="connsiteY1739" fmla="*/ 2718 h 10000"/>
                  <a:gd name="connsiteX1740" fmla="*/ 3129 w 10785"/>
                  <a:gd name="connsiteY1740" fmla="*/ 2692 h 10000"/>
                  <a:gd name="connsiteX1741" fmla="*/ 3143 w 10785"/>
                  <a:gd name="connsiteY1741" fmla="*/ 2667 h 10000"/>
                  <a:gd name="connsiteX1742" fmla="*/ 3157 w 10785"/>
                  <a:gd name="connsiteY1742" fmla="*/ 2581 h 10000"/>
                  <a:gd name="connsiteX1743" fmla="*/ 3143 w 10785"/>
                  <a:gd name="connsiteY1743" fmla="*/ 2496 h 10000"/>
                  <a:gd name="connsiteX1744" fmla="*/ 3157 w 10785"/>
                  <a:gd name="connsiteY1744" fmla="*/ 2487 h 10000"/>
                  <a:gd name="connsiteX1745" fmla="*/ 3143 w 10785"/>
                  <a:gd name="connsiteY1745" fmla="*/ 2444 h 10000"/>
                  <a:gd name="connsiteX1746" fmla="*/ 3143 w 10785"/>
                  <a:gd name="connsiteY1746" fmla="*/ 2419 h 10000"/>
                  <a:gd name="connsiteX1747" fmla="*/ 3143 w 10785"/>
                  <a:gd name="connsiteY1747" fmla="*/ 2410 h 10000"/>
                  <a:gd name="connsiteX1748" fmla="*/ 3124 w 10785"/>
                  <a:gd name="connsiteY1748" fmla="*/ 2376 h 10000"/>
                  <a:gd name="connsiteX1749" fmla="*/ 3115 w 10785"/>
                  <a:gd name="connsiteY1749" fmla="*/ 2350 h 10000"/>
                  <a:gd name="connsiteX1750" fmla="*/ 3101 w 10785"/>
                  <a:gd name="connsiteY1750" fmla="*/ 2359 h 10000"/>
                  <a:gd name="connsiteX1751" fmla="*/ 3115 w 10785"/>
                  <a:gd name="connsiteY1751" fmla="*/ 2581 h 10000"/>
                  <a:gd name="connsiteX1752" fmla="*/ 3111 w 10785"/>
                  <a:gd name="connsiteY1752" fmla="*/ 2624 h 10000"/>
                  <a:gd name="connsiteX1753" fmla="*/ 3009 w 10785"/>
                  <a:gd name="connsiteY1753" fmla="*/ 2761 h 10000"/>
                  <a:gd name="connsiteX1754" fmla="*/ 3009 w 10785"/>
                  <a:gd name="connsiteY1754" fmla="*/ 2803 h 10000"/>
                  <a:gd name="connsiteX1755" fmla="*/ 3005 w 10785"/>
                  <a:gd name="connsiteY1755" fmla="*/ 2829 h 10000"/>
                  <a:gd name="connsiteX1756" fmla="*/ 2982 w 10785"/>
                  <a:gd name="connsiteY1756" fmla="*/ 2872 h 10000"/>
                  <a:gd name="connsiteX1757" fmla="*/ 2982 w 10785"/>
                  <a:gd name="connsiteY1757" fmla="*/ 2880 h 10000"/>
                  <a:gd name="connsiteX1758" fmla="*/ 3037 w 10785"/>
                  <a:gd name="connsiteY1758" fmla="*/ 3034 h 10000"/>
                  <a:gd name="connsiteX1759" fmla="*/ 3041 w 10785"/>
                  <a:gd name="connsiteY1759" fmla="*/ 3103 h 10000"/>
                  <a:gd name="connsiteX1760" fmla="*/ 3069 w 10785"/>
                  <a:gd name="connsiteY1760" fmla="*/ 3188 h 10000"/>
                  <a:gd name="connsiteX1761" fmla="*/ 3055 w 10785"/>
                  <a:gd name="connsiteY1761" fmla="*/ 3325 h 10000"/>
                  <a:gd name="connsiteX1762" fmla="*/ 3037 w 10785"/>
                  <a:gd name="connsiteY1762" fmla="*/ 3368 h 10000"/>
                  <a:gd name="connsiteX1763" fmla="*/ 3037 w 10785"/>
                  <a:gd name="connsiteY1763" fmla="*/ 3444 h 10000"/>
                  <a:gd name="connsiteX1764" fmla="*/ 3028 w 10785"/>
                  <a:gd name="connsiteY1764" fmla="*/ 3453 h 10000"/>
                  <a:gd name="connsiteX1765" fmla="*/ 3023 w 10785"/>
                  <a:gd name="connsiteY1765" fmla="*/ 3530 h 10000"/>
                  <a:gd name="connsiteX1766" fmla="*/ 3051 w 10785"/>
                  <a:gd name="connsiteY1766" fmla="*/ 3624 h 10000"/>
                  <a:gd name="connsiteX1767" fmla="*/ 3037 w 10785"/>
                  <a:gd name="connsiteY1767" fmla="*/ 3718 h 10000"/>
                  <a:gd name="connsiteX1768" fmla="*/ 3041 w 10785"/>
                  <a:gd name="connsiteY1768" fmla="*/ 3752 h 10000"/>
                  <a:gd name="connsiteX1769" fmla="*/ 3055 w 10785"/>
                  <a:gd name="connsiteY1769" fmla="*/ 3761 h 10000"/>
                  <a:gd name="connsiteX1770" fmla="*/ 3078 w 10785"/>
                  <a:gd name="connsiteY1770" fmla="*/ 3752 h 10000"/>
                  <a:gd name="connsiteX1771" fmla="*/ 3092 w 10785"/>
                  <a:gd name="connsiteY1771" fmla="*/ 3752 h 10000"/>
                  <a:gd name="connsiteX1772" fmla="*/ 3129 w 10785"/>
                  <a:gd name="connsiteY1772" fmla="*/ 3761 h 10000"/>
                  <a:gd name="connsiteX1773" fmla="*/ 3129 w 10785"/>
                  <a:gd name="connsiteY1773" fmla="*/ 3735 h 10000"/>
                  <a:gd name="connsiteX1774" fmla="*/ 3157 w 10785"/>
                  <a:gd name="connsiteY1774" fmla="*/ 3718 h 10000"/>
                  <a:gd name="connsiteX1775" fmla="*/ 3184 w 10785"/>
                  <a:gd name="connsiteY1775" fmla="*/ 3718 h 10000"/>
                  <a:gd name="connsiteX1776" fmla="*/ 3290 w 10785"/>
                  <a:gd name="connsiteY1776" fmla="*/ 3838 h 10000"/>
                  <a:gd name="connsiteX1777" fmla="*/ 3300 w 10785"/>
                  <a:gd name="connsiteY1777" fmla="*/ 3846 h 10000"/>
                  <a:gd name="connsiteX1778" fmla="*/ 3300 w 10785"/>
                  <a:gd name="connsiteY1778" fmla="*/ 3915 h 10000"/>
                  <a:gd name="connsiteX1779" fmla="*/ 3318 w 10785"/>
                  <a:gd name="connsiteY1779" fmla="*/ 4000 h 10000"/>
                  <a:gd name="connsiteX1780" fmla="*/ 3323 w 10785"/>
                  <a:gd name="connsiteY1780" fmla="*/ 4000 h 10000"/>
                  <a:gd name="connsiteX1781" fmla="*/ 3323 w 10785"/>
                  <a:gd name="connsiteY1781" fmla="*/ 4034 h 10000"/>
                  <a:gd name="connsiteX1782" fmla="*/ 3318 w 10785"/>
                  <a:gd name="connsiteY1782" fmla="*/ 4051 h 10000"/>
                  <a:gd name="connsiteX1783" fmla="*/ 3300 w 10785"/>
                  <a:gd name="connsiteY1783" fmla="*/ 4051 h 10000"/>
                  <a:gd name="connsiteX1784" fmla="*/ 3290 w 10785"/>
                  <a:gd name="connsiteY1784" fmla="*/ 4077 h 10000"/>
                  <a:gd name="connsiteX1785" fmla="*/ 3286 w 10785"/>
                  <a:gd name="connsiteY1785" fmla="*/ 4103 h 10000"/>
                  <a:gd name="connsiteX1786" fmla="*/ 3286 w 10785"/>
                  <a:gd name="connsiteY1786" fmla="*/ 4197 h 10000"/>
                  <a:gd name="connsiteX1787" fmla="*/ 3290 w 10785"/>
                  <a:gd name="connsiteY1787" fmla="*/ 4214 h 10000"/>
                  <a:gd name="connsiteX1788" fmla="*/ 3304 w 10785"/>
                  <a:gd name="connsiteY1788" fmla="*/ 4214 h 10000"/>
                  <a:gd name="connsiteX1789" fmla="*/ 3323 w 10785"/>
                  <a:gd name="connsiteY1789" fmla="*/ 4239 h 10000"/>
                  <a:gd name="connsiteX1790" fmla="*/ 3350 w 10785"/>
                  <a:gd name="connsiteY1790" fmla="*/ 4222 h 10000"/>
                  <a:gd name="connsiteX1791" fmla="*/ 3369 w 10785"/>
                  <a:gd name="connsiteY1791" fmla="*/ 4256 h 10000"/>
                  <a:gd name="connsiteX1792" fmla="*/ 3369 w 10785"/>
                  <a:gd name="connsiteY1792" fmla="*/ 4256 h 10000"/>
                  <a:gd name="connsiteX1793" fmla="*/ 3336 w 10785"/>
                  <a:gd name="connsiteY1793" fmla="*/ 4274 h 10000"/>
                  <a:gd name="connsiteX1794" fmla="*/ 3323 w 10785"/>
                  <a:gd name="connsiteY1794" fmla="*/ 4274 h 10000"/>
                  <a:gd name="connsiteX1795" fmla="*/ 3290 w 10785"/>
                  <a:gd name="connsiteY1795" fmla="*/ 4274 h 10000"/>
                  <a:gd name="connsiteX1796" fmla="*/ 3286 w 10785"/>
                  <a:gd name="connsiteY1796" fmla="*/ 4239 h 10000"/>
                  <a:gd name="connsiteX1797" fmla="*/ 3263 w 10785"/>
                  <a:gd name="connsiteY1797" fmla="*/ 4214 h 10000"/>
                  <a:gd name="connsiteX1798" fmla="*/ 3258 w 10785"/>
                  <a:gd name="connsiteY1798" fmla="*/ 4188 h 10000"/>
                  <a:gd name="connsiteX1799" fmla="*/ 3263 w 10785"/>
                  <a:gd name="connsiteY1799" fmla="*/ 4171 h 10000"/>
                  <a:gd name="connsiteX1800" fmla="*/ 3263 w 10785"/>
                  <a:gd name="connsiteY1800" fmla="*/ 4103 h 10000"/>
                  <a:gd name="connsiteX1801" fmla="*/ 3276 w 10785"/>
                  <a:gd name="connsiteY1801" fmla="*/ 4060 h 10000"/>
                  <a:gd name="connsiteX1802" fmla="*/ 3272 w 10785"/>
                  <a:gd name="connsiteY1802" fmla="*/ 4051 h 10000"/>
                  <a:gd name="connsiteX1803" fmla="*/ 3263 w 10785"/>
                  <a:gd name="connsiteY1803" fmla="*/ 4051 h 10000"/>
                  <a:gd name="connsiteX1804" fmla="*/ 3263 w 10785"/>
                  <a:gd name="connsiteY1804" fmla="*/ 4034 h 10000"/>
                  <a:gd name="connsiteX1805" fmla="*/ 3263 w 10785"/>
                  <a:gd name="connsiteY1805" fmla="*/ 4000 h 10000"/>
                  <a:gd name="connsiteX1806" fmla="*/ 3272 w 10785"/>
                  <a:gd name="connsiteY1806" fmla="*/ 4000 h 10000"/>
                  <a:gd name="connsiteX1807" fmla="*/ 3272 w 10785"/>
                  <a:gd name="connsiteY1807" fmla="*/ 3974 h 10000"/>
                  <a:gd name="connsiteX1808" fmla="*/ 3272 w 10785"/>
                  <a:gd name="connsiteY1808" fmla="*/ 3966 h 10000"/>
                  <a:gd name="connsiteX1809" fmla="*/ 3272 w 10785"/>
                  <a:gd name="connsiteY1809" fmla="*/ 3949 h 10000"/>
                  <a:gd name="connsiteX1810" fmla="*/ 3258 w 10785"/>
                  <a:gd name="connsiteY1810" fmla="*/ 3923 h 10000"/>
                  <a:gd name="connsiteX1811" fmla="*/ 3249 w 10785"/>
                  <a:gd name="connsiteY1811" fmla="*/ 3915 h 10000"/>
                  <a:gd name="connsiteX1812" fmla="*/ 3244 w 10785"/>
                  <a:gd name="connsiteY1812" fmla="*/ 3897 h 10000"/>
                  <a:gd name="connsiteX1813" fmla="*/ 3230 w 10785"/>
                  <a:gd name="connsiteY1813" fmla="*/ 3889 h 10000"/>
                  <a:gd name="connsiteX1814" fmla="*/ 3230 w 10785"/>
                  <a:gd name="connsiteY1814" fmla="*/ 3863 h 10000"/>
                  <a:gd name="connsiteX1815" fmla="*/ 3230 w 10785"/>
                  <a:gd name="connsiteY1815" fmla="*/ 3838 h 10000"/>
                  <a:gd name="connsiteX1816" fmla="*/ 3226 w 10785"/>
                  <a:gd name="connsiteY1816" fmla="*/ 3803 h 10000"/>
                  <a:gd name="connsiteX1817" fmla="*/ 3138 w 10785"/>
                  <a:gd name="connsiteY1817" fmla="*/ 3838 h 10000"/>
                  <a:gd name="connsiteX1818" fmla="*/ 3078 w 10785"/>
                  <a:gd name="connsiteY1818" fmla="*/ 3889 h 10000"/>
                  <a:gd name="connsiteX1819" fmla="*/ 3078 w 10785"/>
                  <a:gd name="connsiteY1819" fmla="*/ 3940 h 10000"/>
                  <a:gd name="connsiteX1820" fmla="*/ 3069 w 10785"/>
                  <a:gd name="connsiteY1820" fmla="*/ 3983 h 10000"/>
                  <a:gd name="connsiteX1821" fmla="*/ 3069 w 10785"/>
                  <a:gd name="connsiteY1821" fmla="*/ 4009 h 10000"/>
                  <a:gd name="connsiteX1822" fmla="*/ 3078 w 10785"/>
                  <a:gd name="connsiteY1822" fmla="*/ 4026 h 10000"/>
                  <a:gd name="connsiteX1823" fmla="*/ 3083 w 10785"/>
                  <a:gd name="connsiteY1823" fmla="*/ 4034 h 10000"/>
                  <a:gd name="connsiteX1824" fmla="*/ 3092 w 10785"/>
                  <a:gd name="connsiteY1824" fmla="*/ 4060 h 10000"/>
                  <a:gd name="connsiteX1825" fmla="*/ 3092 w 10785"/>
                  <a:gd name="connsiteY1825" fmla="*/ 4077 h 10000"/>
                  <a:gd name="connsiteX1826" fmla="*/ 3097 w 10785"/>
                  <a:gd name="connsiteY1826" fmla="*/ 4103 h 10000"/>
                  <a:gd name="connsiteX1827" fmla="*/ 3101 w 10785"/>
                  <a:gd name="connsiteY1827" fmla="*/ 4162 h 10000"/>
                  <a:gd name="connsiteX1828" fmla="*/ 3097 w 10785"/>
                  <a:gd name="connsiteY1828" fmla="*/ 4222 h 10000"/>
                  <a:gd name="connsiteX1829" fmla="*/ 3041 w 10785"/>
                  <a:gd name="connsiteY1829" fmla="*/ 4325 h 10000"/>
                  <a:gd name="connsiteX1830" fmla="*/ 3037 w 10785"/>
                  <a:gd name="connsiteY1830" fmla="*/ 4419 h 10000"/>
                  <a:gd name="connsiteX1831" fmla="*/ 3018 w 10785"/>
                  <a:gd name="connsiteY1831" fmla="*/ 4470 h 10000"/>
                  <a:gd name="connsiteX1832" fmla="*/ 2991 w 10785"/>
                  <a:gd name="connsiteY1832" fmla="*/ 4513 h 10000"/>
                  <a:gd name="connsiteX1833" fmla="*/ 2977 w 10785"/>
                  <a:gd name="connsiteY1833" fmla="*/ 4530 h 10000"/>
                  <a:gd name="connsiteX1834" fmla="*/ 2945 w 10785"/>
                  <a:gd name="connsiteY1834" fmla="*/ 4556 h 10000"/>
                  <a:gd name="connsiteX1835" fmla="*/ 2935 w 10785"/>
                  <a:gd name="connsiteY1835" fmla="*/ 4581 h 10000"/>
                  <a:gd name="connsiteX1836" fmla="*/ 2949 w 10785"/>
                  <a:gd name="connsiteY1836" fmla="*/ 4624 h 10000"/>
                  <a:gd name="connsiteX1837" fmla="*/ 2945 w 10785"/>
                  <a:gd name="connsiteY1837" fmla="*/ 4658 h 10000"/>
                  <a:gd name="connsiteX1838" fmla="*/ 2922 w 10785"/>
                  <a:gd name="connsiteY1838" fmla="*/ 4667 h 10000"/>
                  <a:gd name="connsiteX1839" fmla="*/ 2876 w 10785"/>
                  <a:gd name="connsiteY1839" fmla="*/ 4632 h 10000"/>
                  <a:gd name="connsiteX1840" fmla="*/ 2857 w 10785"/>
                  <a:gd name="connsiteY1840" fmla="*/ 4632 h 10000"/>
                  <a:gd name="connsiteX1841" fmla="*/ 2820 w 10785"/>
                  <a:gd name="connsiteY1841" fmla="*/ 4641 h 10000"/>
                  <a:gd name="connsiteX1842" fmla="*/ 2797 w 10785"/>
                  <a:gd name="connsiteY1842" fmla="*/ 4632 h 10000"/>
                  <a:gd name="connsiteX1843" fmla="*/ 2788 w 10785"/>
                  <a:gd name="connsiteY1843" fmla="*/ 4624 h 10000"/>
                  <a:gd name="connsiteX1844" fmla="*/ 2788 w 10785"/>
                  <a:gd name="connsiteY1844" fmla="*/ 4598 h 10000"/>
                  <a:gd name="connsiteX1845" fmla="*/ 2797 w 10785"/>
                  <a:gd name="connsiteY1845" fmla="*/ 4581 h 10000"/>
                  <a:gd name="connsiteX1846" fmla="*/ 2788 w 10785"/>
                  <a:gd name="connsiteY1846" fmla="*/ 4530 h 10000"/>
                  <a:gd name="connsiteX1847" fmla="*/ 2774 w 10785"/>
                  <a:gd name="connsiteY1847" fmla="*/ 4530 h 10000"/>
                  <a:gd name="connsiteX1848" fmla="*/ 2770 w 10785"/>
                  <a:gd name="connsiteY1848" fmla="*/ 4513 h 10000"/>
                  <a:gd name="connsiteX1849" fmla="*/ 2774 w 10785"/>
                  <a:gd name="connsiteY1849" fmla="*/ 4513 h 10000"/>
                  <a:gd name="connsiteX1850" fmla="*/ 2788 w 10785"/>
                  <a:gd name="connsiteY1850" fmla="*/ 4496 h 10000"/>
                  <a:gd name="connsiteX1851" fmla="*/ 2802 w 10785"/>
                  <a:gd name="connsiteY1851" fmla="*/ 4513 h 10000"/>
                  <a:gd name="connsiteX1852" fmla="*/ 2811 w 10785"/>
                  <a:gd name="connsiteY1852" fmla="*/ 4530 h 10000"/>
                  <a:gd name="connsiteX1853" fmla="*/ 2820 w 10785"/>
                  <a:gd name="connsiteY1853" fmla="*/ 4521 h 10000"/>
                  <a:gd name="connsiteX1854" fmla="*/ 2829 w 10785"/>
                  <a:gd name="connsiteY1854" fmla="*/ 4513 h 10000"/>
                  <a:gd name="connsiteX1855" fmla="*/ 2843 w 10785"/>
                  <a:gd name="connsiteY1855" fmla="*/ 4513 h 10000"/>
                  <a:gd name="connsiteX1856" fmla="*/ 2848 w 10785"/>
                  <a:gd name="connsiteY1856" fmla="*/ 4470 h 10000"/>
                  <a:gd name="connsiteX1857" fmla="*/ 2862 w 10785"/>
                  <a:gd name="connsiteY1857" fmla="*/ 4487 h 10000"/>
                  <a:gd name="connsiteX1858" fmla="*/ 2876 w 10785"/>
                  <a:gd name="connsiteY1858" fmla="*/ 4470 h 10000"/>
                  <a:gd name="connsiteX1859" fmla="*/ 2880 w 10785"/>
                  <a:gd name="connsiteY1859" fmla="*/ 4462 h 10000"/>
                  <a:gd name="connsiteX1860" fmla="*/ 2889 w 10785"/>
                  <a:gd name="connsiteY1860" fmla="*/ 4444 h 10000"/>
                  <a:gd name="connsiteX1861" fmla="*/ 2894 w 10785"/>
                  <a:gd name="connsiteY1861" fmla="*/ 4462 h 10000"/>
                  <a:gd name="connsiteX1862" fmla="*/ 2917 w 10785"/>
                  <a:gd name="connsiteY1862" fmla="*/ 4444 h 10000"/>
                  <a:gd name="connsiteX1863" fmla="*/ 2922 w 10785"/>
                  <a:gd name="connsiteY1863" fmla="*/ 4436 h 10000"/>
                  <a:gd name="connsiteX1864" fmla="*/ 2917 w 10785"/>
                  <a:gd name="connsiteY1864" fmla="*/ 4410 h 10000"/>
                  <a:gd name="connsiteX1865" fmla="*/ 2894 w 10785"/>
                  <a:gd name="connsiteY1865" fmla="*/ 4410 h 10000"/>
                  <a:gd name="connsiteX1866" fmla="*/ 2889 w 10785"/>
                  <a:gd name="connsiteY1866" fmla="*/ 4419 h 10000"/>
                  <a:gd name="connsiteX1867" fmla="*/ 2876 w 10785"/>
                  <a:gd name="connsiteY1867" fmla="*/ 4410 h 10000"/>
                  <a:gd name="connsiteX1868" fmla="*/ 2880 w 10785"/>
                  <a:gd name="connsiteY1868" fmla="*/ 4376 h 10000"/>
                  <a:gd name="connsiteX1869" fmla="*/ 2903 w 10785"/>
                  <a:gd name="connsiteY1869" fmla="*/ 4393 h 10000"/>
                  <a:gd name="connsiteX1870" fmla="*/ 2931 w 10785"/>
                  <a:gd name="connsiteY1870" fmla="*/ 4393 h 10000"/>
                  <a:gd name="connsiteX1871" fmla="*/ 2931 w 10785"/>
                  <a:gd name="connsiteY1871" fmla="*/ 4385 h 10000"/>
                  <a:gd name="connsiteX1872" fmla="*/ 2931 w 10785"/>
                  <a:gd name="connsiteY1872" fmla="*/ 4350 h 10000"/>
                  <a:gd name="connsiteX1873" fmla="*/ 2945 w 10785"/>
                  <a:gd name="connsiteY1873" fmla="*/ 4350 h 10000"/>
                  <a:gd name="connsiteX1874" fmla="*/ 2949 w 10785"/>
                  <a:gd name="connsiteY1874" fmla="*/ 4325 h 10000"/>
                  <a:gd name="connsiteX1875" fmla="*/ 2963 w 10785"/>
                  <a:gd name="connsiteY1875" fmla="*/ 4256 h 10000"/>
                  <a:gd name="connsiteX1876" fmla="*/ 2982 w 10785"/>
                  <a:gd name="connsiteY1876" fmla="*/ 4239 h 10000"/>
                  <a:gd name="connsiteX1877" fmla="*/ 2991 w 10785"/>
                  <a:gd name="connsiteY1877" fmla="*/ 4214 h 10000"/>
                  <a:gd name="connsiteX1878" fmla="*/ 2991 w 10785"/>
                  <a:gd name="connsiteY1878" fmla="*/ 4197 h 10000"/>
                  <a:gd name="connsiteX1879" fmla="*/ 2995 w 10785"/>
                  <a:gd name="connsiteY1879" fmla="*/ 4171 h 10000"/>
                  <a:gd name="connsiteX1880" fmla="*/ 2991 w 10785"/>
                  <a:gd name="connsiteY1880" fmla="*/ 4077 h 10000"/>
                  <a:gd name="connsiteX1881" fmla="*/ 2995 w 10785"/>
                  <a:gd name="connsiteY1881" fmla="*/ 4034 h 10000"/>
                  <a:gd name="connsiteX1882" fmla="*/ 3018 w 10785"/>
                  <a:gd name="connsiteY1882" fmla="*/ 3983 h 10000"/>
                  <a:gd name="connsiteX1883" fmla="*/ 3018 w 10785"/>
                  <a:gd name="connsiteY1883" fmla="*/ 3915 h 10000"/>
                  <a:gd name="connsiteX1884" fmla="*/ 2949 w 10785"/>
                  <a:gd name="connsiteY1884" fmla="*/ 3778 h 10000"/>
                  <a:gd name="connsiteX1885" fmla="*/ 2954 w 10785"/>
                  <a:gd name="connsiteY1885" fmla="*/ 3675 h 10000"/>
                  <a:gd name="connsiteX1886" fmla="*/ 2954 w 10785"/>
                  <a:gd name="connsiteY1886" fmla="*/ 3650 h 10000"/>
                  <a:gd name="connsiteX1887" fmla="*/ 2963 w 10785"/>
                  <a:gd name="connsiteY1887" fmla="*/ 3624 h 10000"/>
                  <a:gd name="connsiteX1888" fmla="*/ 2954 w 10785"/>
                  <a:gd name="connsiteY1888" fmla="*/ 3564 h 10000"/>
                  <a:gd name="connsiteX1889" fmla="*/ 2963 w 10785"/>
                  <a:gd name="connsiteY1889" fmla="*/ 3538 h 10000"/>
                  <a:gd name="connsiteX1890" fmla="*/ 2963 w 10785"/>
                  <a:gd name="connsiteY1890" fmla="*/ 3487 h 10000"/>
                  <a:gd name="connsiteX1891" fmla="*/ 2963 w 10785"/>
                  <a:gd name="connsiteY1891" fmla="*/ 3479 h 10000"/>
                  <a:gd name="connsiteX1892" fmla="*/ 2963 w 10785"/>
                  <a:gd name="connsiteY1892" fmla="*/ 3462 h 10000"/>
                  <a:gd name="connsiteX1893" fmla="*/ 2954 w 10785"/>
                  <a:gd name="connsiteY1893" fmla="*/ 3453 h 10000"/>
                  <a:gd name="connsiteX1894" fmla="*/ 2954 w 10785"/>
                  <a:gd name="connsiteY1894" fmla="*/ 3444 h 10000"/>
                  <a:gd name="connsiteX1895" fmla="*/ 2954 w 10785"/>
                  <a:gd name="connsiteY1895" fmla="*/ 3402 h 10000"/>
                  <a:gd name="connsiteX1896" fmla="*/ 2954 w 10785"/>
                  <a:gd name="connsiteY1896" fmla="*/ 3393 h 10000"/>
                  <a:gd name="connsiteX1897" fmla="*/ 2949 w 10785"/>
                  <a:gd name="connsiteY1897" fmla="*/ 3376 h 10000"/>
                  <a:gd name="connsiteX1898" fmla="*/ 2949 w 10785"/>
                  <a:gd name="connsiteY1898" fmla="*/ 3342 h 10000"/>
                  <a:gd name="connsiteX1899" fmla="*/ 2949 w 10785"/>
                  <a:gd name="connsiteY1899" fmla="*/ 3316 h 10000"/>
                  <a:gd name="connsiteX1900" fmla="*/ 2968 w 10785"/>
                  <a:gd name="connsiteY1900" fmla="*/ 3291 h 10000"/>
                  <a:gd name="connsiteX1901" fmla="*/ 2963 w 10785"/>
                  <a:gd name="connsiteY1901" fmla="*/ 3205 h 10000"/>
                  <a:gd name="connsiteX1902" fmla="*/ 2968 w 10785"/>
                  <a:gd name="connsiteY1902" fmla="*/ 3171 h 10000"/>
                  <a:gd name="connsiteX1903" fmla="*/ 2968 w 10785"/>
                  <a:gd name="connsiteY1903" fmla="*/ 3128 h 10000"/>
                  <a:gd name="connsiteX1904" fmla="*/ 2954 w 10785"/>
                  <a:gd name="connsiteY1904" fmla="*/ 3051 h 10000"/>
                  <a:gd name="connsiteX1905" fmla="*/ 2954 w 10785"/>
                  <a:gd name="connsiteY1905" fmla="*/ 3009 h 10000"/>
                  <a:gd name="connsiteX1906" fmla="*/ 2922 w 10785"/>
                  <a:gd name="connsiteY1906" fmla="*/ 2940 h 10000"/>
                  <a:gd name="connsiteX1907" fmla="*/ 2903 w 10785"/>
                  <a:gd name="connsiteY1907" fmla="*/ 2880 h 10000"/>
                  <a:gd name="connsiteX1908" fmla="*/ 2903 w 10785"/>
                  <a:gd name="connsiteY1908" fmla="*/ 2855 h 10000"/>
                  <a:gd name="connsiteX1909" fmla="*/ 2908 w 10785"/>
                  <a:gd name="connsiteY1909" fmla="*/ 2846 h 10000"/>
                  <a:gd name="connsiteX1910" fmla="*/ 2931 w 10785"/>
                  <a:gd name="connsiteY1910" fmla="*/ 2821 h 10000"/>
                  <a:gd name="connsiteX1911" fmla="*/ 2931 w 10785"/>
                  <a:gd name="connsiteY1911" fmla="*/ 2803 h 10000"/>
                  <a:gd name="connsiteX1912" fmla="*/ 2935 w 10785"/>
                  <a:gd name="connsiteY1912" fmla="*/ 2786 h 10000"/>
                  <a:gd name="connsiteX1913" fmla="*/ 2935 w 10785"/>
                  <a:gd name="connsiteY1913" fmla="*/ 2744 h 10000"/>
                  <a:gd name="connsiteX1914" fmla="*/ 2963 w 10785"/>
                  <a:gd name="connsiteY1914" fmla="*/ 2607 h 10000"/>
                  <a:gd name="connsiteX1915" fmla="*/ 2963 w 10785"/>
                  <a:gd name="connsiteY1915" fmla="*/ 2419 h 10000"/>
                  <a:gd name="connsiteX1916" fmla="*/ 2954 w 10785"/>
                  <a:gd name="connsiteY1916" fmla="*/ 2410 h 10000"/>
                  <a:gd name="connsiteX1917" fmla="*/ 2963 w 10785"/>
                  <a:gd name="connsiteY1917" fmla="*/ 2393 h 10000"/>
                  <a:gd name="connsiteX1918" fmla="*/ 2908 w 10785"/>
                  <a:gd name="connsiteY1918" fmla="*/ 2359 h 10000"/>
                  <a:gd name="connsiteX1919" fmla="*/ 2889 w 10785"/>
                  <a:gd name="connsiteY1919" fmla="*/ 2325 h 10000"/>
                  <a:gd name="connsiteX1920" fmla="*/ 2788 w 10785"/>
                  <a:gd name="connsiteY1920" fmla="*/ 2333 h 10000"/>
                  <a:gd name="connsiteX1921" fmla="*/ 2774 w 10785"/>
                  <a:gd name="connsiteY1921" fmla="*/ 2325 h 10000"/>
                  <a:gd name="connsiteX1922" fmla="*/ 2783 w 10785"/>
                  <a:gd name="connsiteY1922" fmla="*/ 2308 h 10000"/>
                  <a:gd name="connsiteX1923" fmla="*/ 2747 w 10785"/>
                  <a:gd name="connsiteY1923" fmla="*/ 2308 h 10000"/>
                  <a:gd name="connsiteX1924" fmla="*/ 2742 w 10785"/>
                  <a:gd name="connsiteY1924" fmla="*/ 2333 h 10000"/>
                  <a:gd name="connsiteX1925" fmla="*/ 2682 w 10785"/>
                  <a:gd name="connsiteY1925" fmla="*/ 2769 h 10000"/>
                  <a:gd name="connsiteX1926" fmla="*/ 2613 w 10785"/>
                  <a:gd name="connsiteY1926" fmla="*/ 2940 h 10000"/>
                  <a:gd name="connsiteX1927" fmla="*/ 2581 w 10785"/>
                  <a:gd name="connsiteY1927" fmla="*/ 2966 h 10000"/>
                  <a:gd name="connsiteX1928" fmla="*/ 2576 w 10785"/>
                  <a:gd name="connsiteY1928" fmla="*/ 3051 h 10000"/>
                  <a:gd name="connsiteX1929" fmla="*/ 2581 w 10785"/>
                  <a:gd name="connsiteY1929" fmla="*/ 3051 h 10000"/>
                  <a:gd name="connsiteX1930" fmla="*/ 2594 w 10785"/>
                  <a:gd name="connsiteY1930" fmla="*/ 3017 h 10000"/>
                  <a:gd name="connsiteX1931" fmla="*/ 2594 w 10785"/>
                  <a:gd name="connsiteY1931" fmla="*/ 3034 h 10000"/>
                  <a:gd name="connsiteX1932" fmla="*/ 2594 w 10785"/>
                  <a:gd name="connsiteY1932" fmla="*/ 3051 h 10000"/>
                  <a:gd name="connsiteX1933" fmla="*/ 2590 w 10785"/>
                  <a:gd name="connsiteY1933" fmla="*/ 3077 h 10000"/>
                  <a:gd name="connsiteX1934" fmla="*/ 2567 w 10785"/>
                  <a:gd name="connsiteY1934" fmla="*/ 3103 h 10000"/>
                  <a:gd name="connsiteX1935" fmla="*/ 2562 w 10785"/>
                  <a:gd name="connsiteY1935" fmla="*/ 3145 h 10000"/>
                  <a:gd name="connsiteX1936" fmla="*/ 2567 w 10785"/>
                  <a:gd name="connsiteY1936" fmla="*/ 3179 h 10000"/>
                  <a:gd name="connsiteX1937" fmla="*/ 2590 w 10785"/>
                  <a:gd name="connsiteY1937" fmla="*/ 3171 h 10000"/>
                  <a:gd name="connsiteX1938" fmla="*/ 2594 w 10785"/>
                  <a:gd name="connsiteY1938" fmla="*/ 3145 h 10000"/>
                  <a:gd name="connsiteX1939" fmla="*/ 2613 w 10785"/>
                  <a:gd name="connsiteY1939" fmla="*/ 3154 h 10000"/>
                  <a:gd name="connsiteX1940" fmla="*/ 2622 w 10785"/>
                  <a:gd name="connsiteY1940" fmla="*/ 3179 h 10000"/>
                  <a:gd name="connsiteX1941" fmla="*/ 2613 w 10785"/>
                  <a:gd name="connsiteY1941" fmla="*/ 3214 h 10000"/>
                  <a:gd name="connsiteX1942" fmla="*/ 2613 w 10785"/>
                  <a:gd name="connsiteY1942" fmla="*/ 3308 h 10000"/>
                  <a:gd name="connsiteX1943" fmla="*/ 2608 w 10785"/>
                  <a:gd name="connsiteY1943" fmla="*/ 3325 h 10000"/>
                  <a:gd name="connsiteX1944" fmla="*/ 2608 w 10785"/>
                  <a:gd name="connsiteY1944" fmla="*/ 3376 h 10000"/>
                  <a:gd name="connsiteX1945" fmla="*/ 2613 w 10785"/>
                  <a:gd name="connsiteY1945" fmla="*/ 3419 h 10000"/>
                  <a:gd name="connsiteX1946" fmla="*/ 2608 w 10785"/>
                  <a:gd name="connsiteY1946" fmla="*/ 3444 h 10000"/>
                  <a:gd name="connsiteX1947" fmla="*/ 2594 w 10785"/>
                  <a:gd name="connsiteY1947" fmla="*/ 3444 h 10000"/>
                  <a:gd name="connsiteX1948" fmla="*/ 2590 w 10785"/>
                  <a:gd name="connsiteY1948" fmla="*/ 3427 h 10000"/>
                  <a:gd name="connsiteX1949" fmla="*/ 2581 w 10785"/>
                  <a:gd name="connsiteY1949" fmla="*/ 3564 h 10000"/>
                  <a:gd name="connsiteX1950" fmla="*/ 2594 w 10785"/>
                  <a:gd name="connsiteY1950" fmla="*/ 3598 h 10000"/>
                  <a:gd name="connsiteX1951" fmla="*/ 2594 w 10785"/>
                  <a:gd name="connsiteY1951" fmla="*/ 3581 h 10000"/>
                  <a:gd name="connsiteX1952" fmla="*/ 2608 w 10785"/>
                  <a:gd name="connsiteY1952" fmla="*/ 3556 h 10000"/>
                  <a:gd name="connsiteX1953" fmla="*/ 2650 w 10785"/>
                  <a:gd name="connsiteY1953" fmla="*/ 3615 h 10000"/>
                  <a:gd name="connsiteX1954" fmla="*/ 2664 w 10785"/>
                  <a:gd name="connsiteY1954" fmla="*/ 3615 h 10000"/>
                  <a:gd name="connsiteX1955" fmla="*/ 2668 w 10785"/>
                  <a:gd name="connsiteY1955" fmla="*/ 3615 h 10000"/>
                  <a:gd name="connsiteX1956" fmla="*/ 2664 w 10785"/>
                  <a:gd name="connsiteY1956" fmla="*/ 3667 h 10000"/>
                  <a:gd name="connsiteX1957" fmla="*/ 2687 w 10785"/>
                  <a:gd name="connsiteY1957" fmla="*/ 3786 h 10000"/>
                  <a:gd name="connsiteX1958" fmla="*/ 2710 w 10785"/>
                  <a:gd name="connsiteY1958" fmla="*/ 3812 h 10000"/>
                  <a:gd name="connsiteX1959" fmla="*/ 2724 w 10785"/>
                  <a:gd name="connsiteY1959" fmla="*/ 3812 h 10000"/>
                  <a:gd name="connsiteX1960" fmla="*/ 2724 w 10785"/>
                  <a:gd name="connsiteY1960" fmla="*/ 3829 h 10000"/>
                  <a:gd name="connsiteX1961" fmla="*/ 2737 w 10785"/>
                  <a:gd name="connsiteY1961" fmla="*/ 3838 h 10000"/>
                  <a:gd name="connsiteX1962" fmla="*/ 2714 w 10785"/>
                  <a:gd name="connsiteY1962" fmla="*/ 3872 h 10000"/>
                  <a:gd name="connsiteX1963" fmla="*/ 2696 w 10785"/>
                  <a:gd name="connsiteY1963" fmla="*/ 4026 h 10000"/>
                  <a:gd name="connsiteX1964" fmla="*/ 2673 w 10785"/>
                  <a:gd name="connsiteY1964" fmla="*/ 4051 h 10000"/>
                  <a:gd name="connsiteX1965" fmla="*/ 2668 w 10785"/>
                  <a:gd name="connsiteY1965" fmla="*/ 4034 h 10000"/>
                  <a:gd name="connsiteX1966" fmla="*/ 2673 w 10785"/>
                  <a:gd name="connsiteY1966" fmla="*/ 4000 h 10000"/>
                  <a:gd name="connsiteX1967" fmla="*/ 2664 w 10785"/>
                  <a:gd name="connsiteY1967" fmla="*/ 3974 h 10000"/>
                  <a:gd name="connsiteX1968" fmla="*/ 2636 w 10785"/>
                  <a:gd name="connsiteY1968" fmla="*/ 3949 h 10000"/>
                  <a:gd name="connsiteX1969" fmla="*/ 2581 w 10785"/>
                  <a:gd name="connsiteY1969" fmla="*/ 3838 h 10000"/>
                  <a:gd name="connsiteX1970" fmla="*/ 2562 w 10785"/>
                  <a:gd name="connsiteY1970" fmla="*/ 3829 h 10000"/>
                  <a:gd name="connsiteX1971" fmla="*/ 2535 w 10785"/>
                  <a:gd name="connsiteY1971" fmla="*/ 3778 h 10000"/>
                  <a:gd name="connsiteX1972" fmla="*/ 2502 w 10785"/>
                  <a:gd name="connsiteY1972" fmla="*/ 3761 h 10000"/>
                  <a:gd name="connsiteX1973" fmla="*/ 2502 w 10785"/>
                  <a:gd name="connsiteY1973" fmla="*/ 3735 h 10000"/>
                  <a:gd name="connsiteX1974" fmla="*/ 2516 w 10785"/>
                  <a:gd name="connsiteY1974" fmla="*/ 3735 h 10000"/>
                  <a:gd name="connsiteX1975" fmla="*/ 2507 w 10785"/>
                  <a:gd name="connsiteY1975" fmla="*/ 3726 h 10000"/>
                  <a:gd name="connsiteX1976" fmla="*/ 2488 w 10785"/>
                  <a:gd name="connsiteY1976" fmla="*/ 3726 h 10000"/>
                  <a:gd name="connsiteX1977" fmla="*/ 2461 w 10785"/>
                  <a:gd name="connsiteY1977" fmla="*/ 3692 h 10000"/>
                  <a:gd name="connsiteX1978" fmla="*/ 2442 w 10785"/>
                  <a:gd name="connsiteY1978" fmla="*/ 3675 h 10000"/>
                  <a:gd name="connsiteX1979" fmla="*/ 2406 w 10785"/>
                  <a:gd name="connsiteY1979" fmla="*/ 3598 h 10000"/>
                  <a:gd name="connsiteX1980" fmla="*/ 2346 w 10785"/>
                  <a:gd name="connsiteY1980" fmla="*/ 3564 h 10000"/>
                  <a:gd name="connsiteX1981" fmla="*/ 2341 w 10785"/>
                  <a:gd name="connsiteY1981" fmla="*/ 3564 h 10000"/>
                  <a:gd name="connsiteX1982" fmla="*/ 2313 w 10785"/>
                  <a:gd name="connsiteY1982" fmla="*/ 3530 h 10000"/>
                  <a:gd name="connsiteX1983" fmla="*/ 2235 w 10785"/>
                  <a:gd name="connsiteY1983" fmla="*/ 3530 h 10000"/>
                  <a:gd name="connsiteX1984" fmla="*/ 2226 w 10785"/>
                  <a:gd name="connsiteY1984" fmla="*/ 3513 h 10000"/>
                  <a:gd name="connsiteX1985" fmla="*/ 2207 w 10785"/>
                  <a:gd name="connsiteY1985" fmla="*/ 3504 h 10000"/>
                  <a:gd name="connsiteX1986" fmla="*/ 2194 w 10785"/>
                  <a:gd name="connsiteY1986" fmla="*/ 3504 h 10000"/>
                  <a:gd name="connsiteX1987" fmla="*/ 2189 w 10785"/>
                  <a:gd name="connsiteY1987" fmla="*/ 3504 h 10000"/>
                  <a:gd name="connsiteX1988" fmla="*/ 2189 w 10785"/>
                  <a:gd name="connsiteY1988" fmla="*/ 3530 h 10000"/>
                  <a:gd name="connsiteX1989" fmla="*/ 2180 w 10785"/>
                  <a:gd name="connsiteY1989" fmla="*/ 3538 h 10000"/>
                  <a:gd name="connsiteX1990" fmla="*/ 2152 w 10785"/>
                  <a:gd name="connsiteY1990" fmla="*/ 3581 h 10000"/>
                  <a:gd name="connsiteX1991" fmla="*/ 2161 w 10785"/>
                  <a:gd name="connsiteY1991" fmla="*/ 3598 h 10000"/>
                  <a:gd name="connsiteX1992" fmla="*/ 2194 w 10785"/>
                  <a:gd name="connsiteY1992" fmla="*/ 3752 h 10000"/>
                  <a:gd name="connsiteX1993" fmla="*/ 2194 w 10785"/>
                  <a:gd name="connsiteY1993" fmla="*/ 3735 h 10000"/>
                  <a:gd name="connsiteX1994" fmla="*/ 2198 w 10785"/>
                  <a:gd name="connsiteY1994" fmla="*/ 3735 h 10000"/>
                  <a:gd name="connsiteX1995" fmla="*/ 2189 w 10785"/>
                  <a:gd name="connsiteY1995" fmla="*/ 3838 h 10000"/>
                  <a:gd name="connsiteX1996" fmla="*/ 2166 w 10785"/>
                  <a:gd name="connsiteY1996" fmla="*/ 3889 h 10000"/>
                  <a:gd name="connsiteX1997" fmla="*/ 2124 w 10785"/>
                  <a:gd name="connsiteY1997" fmla="*/ 3889 h 10000"/>
                  <a:gd name="connsiteX1998" fmla="*/ 2124 w 10785"/>
                  <a:gd name="connsiteY1998" fmla="*/ 3923 h 10000"/>
                  <a:gd name="connsiteX1999" fmla="*/ 2134 w 10785"/>
                  <a:gd name="connsiteY1999" fmla="*/ 3940 h 10000"/>
                  <a:gd name="connsiteX2000" fmla="*/ 2134 w 10785"/>
                  <a:gd name="connsiteY2000" fmla="*/ 3966 h 10000"/>
                  <a:gd name="connsiteX2001" fmla="*/ 2120 w 10785"/>
                  <a:gd name="connsiteY2001" fmla="*/ 4000 h 10000"/>
                  <a:gd name="connsiteX2002" fmla="*/ 2106 w 10785"/>
                  <a:gd name="connsiteY2002" fmla="*/ 4009 h 10000"/>
                  <a:gd name="connsiteX2003" fmla="*/ 2088 w 10785"/>
                  <a:gd name="connsiteY2003" fmla="*/ 4000 h 10000"/>
                  <a:gd name="connsiteX2004" fmla="*/ 2074 w 10785"/>
                  <a:gd name="connsiteY2004" fmla="*/ 3974 h 10000"/>
                  <a:gd name="connsiteX2005" fmla="*/ 2074 w 10785"/>
                  <a:gd name="connsiteY2005" fmla="*/ 3940 h 10000"/>
                  <a:gd name="connsiteX2006" fmla="*/ 2078 w 10785"/>
                  <a:gd name="connsiteY2006" fmla="*/ 3915 h 10000"/>
                  <a:gd name="connsiteX2007" fmla="*/ 2088 w 10785"/>
                  <a:gd name="connsiteY2007" fmla="*/ 3889 h 10000"/>
                  <a:gd name="connsiteX2008" fmla="*/ 2101 w 10785"/>
                  <a:gd name="connsiteY2008" fmla="*/ 3872 h 10000"/>
                  <a:gd name="connsiteX2009" fmla="*/ 2074 w 10785"/>
                  <a:gd name="connsiteY2009" fmla="*/ 3812 h 10000"/>
                  <a:gd name="connsiteX2010" fmla="*/ 2074 w 10785"/>
                  <a:gd name="connsiteY2010" fmla="*/ 3786 h 10000"/>
                  <a:gd name="connsiteX2011" fmla="*/ 2060 w 10785"/>
                  <a:gd name="connsiteY2011" fmla="*/ 3786 h 10000"/>
                  <a:gd name="connsiteX2012" fmla="*/ 2014 w 10785"/>
                  <a:gd name="connsiteY2012" fmla="*/ 3829 h 10000"/>
                  <a:gd name="connsiteX2013" fmla="*/ 2000 w 10785"/>
                  <a:gd name="connsiteY2013" fmla="*/ 3863 h 10000"/>
                  <a:gd name="connsiteX2014" fmla="*/ 1986 w 10785"/>
                  <a:gd name="connsiteY2014" fmla="*/ 3872 h 10000"/>
                  <a:gd name="connsiteX2015" fmla="*/ 1959 w 10785"/>
                  <a:gd name="connsiteY2015" fmla="*/ 3940 h 10000"/>
                  <a:gd name="connsiteX2016" fmla="*/ 1945 w 10785"/>
                  <a:gd name="connsiteY2016" fmla="*/ 3949 h 10000"/>
                  <a:gd name="connsiteX2017" fmla="*/ 1940 w 10785"/>
                  <a:gd name="connsiteY2017" fmla="*/ 3923 h 10000"/>
                  <a:gd name="connsiteX2018" fmla="*/ 1917 w 10785"/>
                  <a:gd name="connsiteY2018" fmla="*/ 3915 h 10000"/>
                  <a:gd name="connsiteX2019" fmla="*/ 1899 w 10785"/>
                  <a:gd name="connsiteY2019" fmla="*/ 3923 h 10000"/>
                  <a:gd name="connsiteX2020" fmla="*/ 1880 w 10785"/>
                  <a:gd name="connsiteY2020" fmla="*/ 3915 h 10000"/>
                  <a:gd name="connsiteX2021" fmla="*/ 1853 w 10785"/>
                  <a:gd name="connsiteY2021" fmla="*/ 3940 h 10000"/>
                  <a:gd name="connsiteX2022" fmla="*/ 1839 w 10785"/>
                  <a:gd name="connsiteY2022" fmla="*/ 3940 h 10000"/>
                  <a:gd name="connsiteX2023" fmla="*/ 1806 w 10785"/>
                  <a:gd name="connsiteY2023" fmla="*/ 3983 h 10000"/>
                  <a:gd name="connsiteX2024" fmla="*/ 1806 w 10785"/>
                  <a:gd name="connsiteY2024" fmla="*/ 4000 h 10000"/>
                  <a:gd name="connsiteX2025" fmla="*/ 1797 w 10785"/>
                  <a:gd name="connsiteY2025" fmla="*/ 4077 h 10000"/>
                  <a:gd name="connsiteX2026" fmla="*/ 1783 w 10785"/>
                  <a:gd name="connsiteY2026" fmla="*/ 4077 h 10000"/>
                  <a:gd name="connsiteX2027" fmla="*/ 1779 w 10785"/>
                  <a:gd name="connsiteY2027" fmla="*/ 4051 h 10000"/>
                  <a:gd name="connsiteX2028" fmla="*/ 1765 w 10785"/>
                  <a:gd name="connsiteY2028" fmla="*/ 4026 h 10000"/>
                  <a:gd name="connsiteX2029" fmla="*/ 1751 w 10785"/>
                  <a:gd name="connsiteY2029" fmla="*/ 4051 h 10000"/>
                  <a:gd name="connsiteX2030" fmla="*/ 1737 w 10785"/>
                  <a:gd name="connsiteY2030" fmla="*/ 4009 h 10000"/>
                  <a:gd name="connsiteX2031" fmla="*/ 1737 w 10785"/>
                  <a:gd name="connsiteY2031" fmla="*/ 3966 h 10000"/>
                  <a:gd name="connsiteX2032" fmla="*/ 1733 w 10785"/>
                  <a:gd name="connsiteY2032" fmla="*/ 3940 h 10000"/>
                  <a:gd name="connsiteX2033" fmla="*/ 1733 w 10785"/>
                  <a:gd name="connsiteY2033" fmla="*/ 3923 h 10000"/>
                  <a:gd name="connsiteX2034" fmla="*/ 1747 w 10785"/>
                  <a:gd name="connsiteY2034" fmla="*/ 3889 h 10000"/>
                  <a:gd name="connsiteX2035" fmla="*/ 1747 w 10785"/>
                  <a:gd name="connsiteY2035" fmla="*/ 3863 h 10000"/>
                  <a:gd name="connsiteX2036" fmla="*/ 1737 w 10785"/>
                  <a:gd name="connsiteY2036" fmla="*/ 3838 h 10000"/>
                  <a:gd name="connsiteX2037" fmla="*/ 1733 w 10785"/>
                  <a:gd name="connsiteY2037" fmla="*/ 3829 h 10000"/>
                  <a:gd name="connsiteX2038" fmla="*/ 1733 w 10785"/>
                  <a:gd name="connsiteY2038" fmla="*/ 3846 h 10000"/>
                  <a:gd name="connsiteX2039" fmla="*/ 1724 w 10785"/>
                  <a:gd name="connsiteY2039" fmla="*/ 3846 h 10000"/>
                  <a:gd name="connsiteX2040" fmla="*/ 1724 w 10785"/>
                  <a:gd name="connsiteY2040" fmla="*/ 3829 h 10000"/>
                  <a:gd name="connsiteX2041" fmla="*/ 1737 w 10785"/>
                  <a:gd name="connsiteY2041" fmla="*/ 3812 h 10000"/>
                  <a:gd name="connsiteX2042" fmla="*/ 1765 w 10785"/>
                  <a:gd name="connsiteY2042" fmla="*/ 3812 h 10000"/>
                  <a:gd name="connsiteX2043" fmla="*/ 1779 w 10785"/>
                  <a:gd name="connsiteY2043" fmla="*/ 3786 h 10000"/>
                  <a:gd name="connsiteX2044" fmla="*/ 1779 w 10785"/>
                  <a:gd name="connsiteY2044" fmla="*/ 3786 h 10000"/>
                  <a:gd name="connsiteX2045" fmla="*/ 1751 w 10785"/>
                  <a:gd name="connsiteY2045" fmla="*/ 3803 h 10000"/>
                  <a:gd name="connsiteX2046" fmla="*/ 1747 w 10785"/>
                  <a:gd name="connsiteY2046" fmla="*/ 3803 h 10000"/>
                  <a:gd name="connsiteX2047" fmla="*/ 1724 w 10785"/>
                  <a:gd name="connsiteY2047" fmla="*/ 3803 h 10000"/>
                  <a:gd name="connsiteX2048" fmla="*/ 1700 w 10785"/>
                  <a:gd name="connsiteY2048" fmla="*/ 3829 h 10000"/>
                  <a:gd name="connsiteX2049" fmla="*/ 1705 w 10785"/>
                  <a:gd name="connsiteY2049" fmla="*/ 3846 h 10000"/>
                  <a:gd name="connsiteX2050" fmla="*/ 1691 w 10785"/>
                  <a:gd name="connsiteY2050" fmla="*/ 3846 h 10000"/>
                  <a:gd name="connsiteX2051" fmla="*/ 1691 w 10785"/>
                  <a:gd name="connsiteY2051" fmla="*/ 3863 h 10000"/>
                  <a:gd name="connsiteX2052" fmla="*/ 1691 w 10785"/>
                  <a:gd name="connsiteY2052" fmla="*/ 3915 h 10000"/>
                  <a:gd name="connsiteX2053" fmla="*/ 1677 w 10785"/>
                  <a:gd name="connsiteY2053" fmla="*/ 3923 h 10000"/>
                  <a:gd name="connsiteX2054" fmla="*/ 1673 w 10785"/>
                  <a:gd name="connsiteY2054" fmla="*/ 3915 h 10000"/>
                  <a:gd name="connsiteX2055" fmla="*/ 1664 w 10785"/>
                  <a:gd name="connsiteY2055" fmla="*/ 3889 h 10000"/>
                  <a:gd name="connsiteX2056" fmla="*/ 1673 w 10785"/>
                  <a:gd name="connsiteY2056" fmla="*/ 3872 h 10000"/>
                  <a:gd name="connsiteX2057" fmla="*/ 1664 w 10785"/>
                  <a:gd name="connsiteY2057" fmla="*/ 3872 h 10000"/>
                  <a:gd name="connsiteX2058" fmla="*/ 1636 w 10785"/>
                  <a:gd name="connsiteY2058" fmla="*/ 3923 h 10000"/>
                  <a:gd name="connsiteX2059" fmla="*/ 1645 w 10785"/>
                  <a:gd name="connsiteY2059" fmla="*/ 3923 h 10000"/>
                  <a:gd name="connsiteX2060" fmla="*/ 1650 w 10785"/>
                  <a:gd name="connsiteY2060" fmla="*/ 3949 h 10000"/>
                  <a:gd name="connsiteX2061" fmla="*/ 1650 w 10785"/>
                  <a:gd name="connsiteY2061" fmla="*/ 3983 h 10000"/>
                  <a:gd name="connsiteX2062" fmla="*/ 1636 w 10785"/>
                  <a:gd name="connsiteY2062" fmla="*/ 4000 h 10000"/>
                  <a:gd name="connsiteX2063" fmla="*/ 1631 w 10785"/>
                  <a:gd name="connsiteY2063" fmla="*/ 4009 h 10000"/>
                  <a:gd name="connsiteX2064" fmla="*/ 1618 w 10785"/>
                  <a:gd name="connsiteY2064" fmla="*/ 3949 h 10000"/>
                  <a:gd name="connsiteX2065" fmla="*/ 1585 w 10785"/>
                  <a:gd name="connsiteY2065" fmla="*/ 3966 h 10000"/>
                  <a:gd name="connsiteX2066" fmla="*/ 1590 w 10785"/>
                  <a:gd name="connsiteY2066" fmla="*/ 3974 h 10000"/>
                  <a:gd name="connsiteX2067" fmla="*/ 1544 w 10785"/>
                  <a:gd name="connsiteY2067" fmla="*/ 4009 h 10000"/>
                  <a:gd name="connsiteX2068" fmla="*/ 1539 w 10785"/>
                  <a:gd name="connsiteY2068" fmla="*/ 4009 h 10000"/>
                  <a:gd name="connsiteX2069" fmla="*/ 1410 w 10785"/>
                  <a:gd name="connsiteY2069" fmla="*/ 4188 h 10000"/>
                  <a:gd name="connsiteX2070" fmla="*/ 1406 w 10785"/>
                  <a:gd name="connsiteY2070" fmla="*/ 4171 h 10000"/>
                  <a:gd name="connsiteX2071" fmla="*/ 1396 w 10785"/>
                  <a:gd name="connsiteY2071" fmla="*/ 4214 h 10000"/>
                  <a:gd name="connsiteX2072" fmla="*/ 1406 w 10785"/>
                  <a:gd name="connsiteY2072" fmla="*/ 4222 h 10000"/>
                  <a:gd name="connsiteX2073" fmla="*/ 1392 w 10785"/>
                  <a:gd name="connsiteY2073" fmla="*/ 4239 h 10000"/>
                  <a:gd name="connsiteX2074" fmla="*/ 1369 w 10785"/>
                  <a:gd name="connsiteY2074" fmla="*/ 4248 h 10000"/>
                  <a:gd name="connsiteX2075" fmla="*/ 1355 w 10785"/>
                  <a:gd name="connsiteY2075" fmla="*/ 4256 h 10000"/>
                  <a:gd name="connsiteX2076" fmla="*/ 1350 w 10785"/>
                  <a:gd name="connsiteY2076" fmla="*/ 4248 h 10000"/>
                  <a:gd name="connsiteX2077" fmla="*/ 1332 w 10785"/>
                  <a:gd name="connsiteY2077" fmla="*/ 4376 h 10000"/>
                  <a:gd name="connsiteX2078" fmla="*/ 1332 w 10785"/>
                  <a:gd name="connsiteY2078" fmla="*/ 4436 h 10000"/>
                  <a:gd name="connsiteX2079" fmla="*/ 1323 w 10785"/>
                  <a:gd name="connsiteY2079" fmla="*/ 4462 h 10000"/>
                  <a:gd name="connsiteX2080" fmla="*/ 1304 w 10785"/>
                  <a:gd name="connsiteY2080" fmla="*/ 4487 h 10000"/>
                  <a:gd name="connsiteX2081" fmla="*/ 1290 w 10785"/>
                  <a:gd name="connsiteY2081" fmla="*/ 4470 h 10000"/>
                  <a:gd name="connsiteX2082" fmla="*/ 1263 w 10785"/>
                  <a:gd name="connsiteY2082" fmla="*/ 4496 h 10000"/>
                  <a:gd name="connsiteX2083" fmla="*/ 1258 w 10785"/>
                  <a:gd name="connsiteY2083" fmla="*/ 4547 h 10000"/>
                  <a:gd name="connsiteX2084" fmla="*/ 1249 w 10785"/>
                  <a:gd name="connsiteY2084" fmla="*/ 4487 h 10000"/>
                  <a:gd name="connsiteX2085" fmla="*/ 1235 w 10785"/>
                  <a:gd name="connsiteY2085" fmla="*/ 4496 h 10000"/>
                  <a:gd name="connsiteX2086" fmla="*/ 1221 w 10785"/>
                  <a:gd name="connsiteY2086" fmla="*/ 4496 h 10000"/>
                  <a:gd name="connsiteX2087" fmla="*/ 1217 w 10785"/>
                  <a:gd name="connsiteY2087" fmla="*/ 4487 h 10000"/>
                  <a:gd name="connsiteX2088" fmla="*/ 1198 w 10785"/>
                  <a:gd name="connsiteY2088" fmla="*/ 4410 h 10000"/>
                  <a:gd name="connsiteX2089" fmla="*/ 1157 w 10785"/>
                  <a:gd name="connsiteY2089" fmla="*/ 4333 h 10000"/>
                  <a:gd name="connsiteX2090" fmla="*/ 1147 w 10785"/>
                  <a:gd name="connsiteY2090" fmla="*/ 4299 h 10000"/>
                  <a:gd name="connsiteX2091" fmla="*/ 1147 w 10785"/>
                  <a:gd name="connsiteY2091" fmla="*/ 4274 h 10000"/>
                  <a:gd name="connsiteX2092" fmla="*/ 1161 w 10785"/>
                  <a:gd name="connsiteY2092" fmla="*/ 4256 h 10000"/>
                  <a:gd name="connsiteX2093" fmla="*/ 1171 w 10785"/>
                  <a:gd name="connsiteY2093" fmla="*/ 4248 h 10000"/>
                  <a:gd name="connsiteX2094" fmla="*/ 1175 w 10785"/>
                  <a:gd name="connsiteY2094" fmla="*/ 4214 h 10000"/>
                  <a:gd name="connsiteX2095" fmla="*/ 1263 w 10785"/>
                  <a:gd name="connsiteY2095" fmla="*/ 4171 h 10000"/>
                  <a:gd name="connsiteX2096" fmla="*/ 1249 w 10785"/>
                  <a:gd name="connsiteY2096" fmla="*/ 4137 h 10000"/>
                  <a:gd name="connsiteX2097" fmla="*/ 1244 w 10785"/>
                  <a:gd name="connsiteY2097" fmla="*/ 4060 h 10000"/>
                  <a:gd name="connsiteX2098" fmla="*/ 1230 w 10785"/>
                  <a:gd name="connsiteY2098" fmla="*/ 4077 h 10000"/>
                  <a:gd name="connsiteX2099" fmla="*/ 1221 w 10785"/>
                  <a:gd name="connsiteY2099" fmla="*/ 4026 h 10000"/>
                  <a:gd name="connsiteX2100" fmla="*/ 1217 w 10785"/>
                  <a:gd name="connsiteY2100" fmla="*/ 4026 h 10000"/>
                  <a:gd name="connsiteX2101" fmla="*/ 1212 w 10785"/>
                  <a:gd name="connsiteY2101" fmla="*/ 3983 h 10000"/>
                  <a:gd name="connsiteX2102" fmla="*/ 1203 w 10785"/>
                  <a:gd name="connsiteY2102" fmla="*/ 3966 h 10000"/>
                  <a:gd name="connsiteX2103" fmla="*/ 1171 w 10785"/>
                  <a:gd name="connsiteY2103" fmla="*/ 3949 h 10000"/>
                  <a:gd name="connsiteX2104" fmla="*/ 1111 w 10785"/>
                  <a:gd name="connsiteY2104" fmla="*/ 3940 h 10000"/>
                  <a:gd name="connsiteX2105" fmla="*/ 1097 w 10785"/>
                  <a:gd name="connsiteY2105" fmla="*/ 3949 h 10000"/>
                  <a:gd name="connsiteX2106" fmla="*/ 1037 w 10785"/>
                  <a:gd name="connsiteY2106" fmla="*/ 3897 h 10000"/>
                  <a:gd name="connsiteX2107" fmla="*/ 1041 w 10785"/>
                  <a:gd name="connsiteY2107" fmla="*/ 3923 h 10000"/>
                  <a:gd name="connsiteX2108" fmla="*/ 1097 w 10785"/>
                  <a:gd name="connsiteY2108" fmla="*/ 4009 h 10000"/>
                  <a:gd name="connsiteX2109" fmla="*/ 1097 w 10785"/>
                  <a:gd name="connsiteY2109" fmla="*/ 4120 h 10000"/>
                  <a:gd name="connsiteX2110" fmla="*/ 1097 w 10785"/>
                  <a:gd name="connsiteY2110" fmla="*/ 4162 h 10000"/>
                  <a:gd name="connsiteX2111" fmla="*/ 1097 w 10785"/>
                  <a:gd name="connsiteY2111" fmla="*/ 4197 h 10000"/>
                  <a:gd name="connsiteX2112" fmla="*/ 1074 w 10785"/>
                  <a:gd name="connsiteY2112" fmla="*/ 4333 h 10000"/>
                  <a:gd name="connsiteX2113" fmla="*/ 1074 w 10785"/>
                  <a:gd name="connsiteY2113" fmla="*/ 4376 h 10000"/>
                  <a:gd name="connsiteX2114" fmla="*/ 1083 w 10785"/>
                  <a:gd name="connsiteY2114" fmla="*/ 4385 h 10000"/>
                  <a:gd name="connsiteX2115" fmla="*/ 1097 w 10785"/>
                  <a:gd name="connsiteY2115" fmla="*/ 4385 h 10000"/>
                  <a:gd name="connsiteX2116" fmla="*/ 1111 w 10785"/>
                  <a:gd name="connsiteY2116" fmla="*/ 4410 h 10000"/>
                  <a:gd name="connsiteX2117" fmla="*/ 1124 w 10785"/>
                  <a:gd name="connsiteY2117" fmla="*/ 4444 h 10000"/>
                  <a:gd name="connsiteX2118" fmla="*/ 1124 w 10785"/>
                  <a:gd name="connsiteY2118" fmla="*/ 4470 h 10000"/>
                  <a:gd name="connsiteX2119" fmla="*/ 1115 w 10785"/>
                  <a:gd name="connsiteY2119" fmla="*/ 4513 h 10000"/>
                  <a:gd name="connsiteX2120" fmla="*/ 1115 w 10785"/>
                  <a:gd name="connsiteY2120" fmla="*/ 4530 h 10000"/>
                  <a:gd name="connsiteX2121" fmla="*/ 1115 w 10785"/>
                  <a:gd name="connsiteY2121" fmla="*/ 4573 h 10000"/>
                  <a:gd name="connsiteX2122" fmla="*/ 1101 w 10785"/>
                  <a:gd name="connsiteY2122" fmla="*/ 4607 h 10000"/>
                  <a:gd name="connsiteX2123" fmla="*/ 1097 w 10785"/>
                  <a:gd name="connsiteY2123" fmla="*/ 4658 h 10000"/>
                  <a:gd name="connsiteX2124" fmla="*/ 1101 w 10785"/>
                  <a:gd name="connsiteY2124" fmla="*/ 4692 h 10000"/>
                  <a:gd name="connsiteX2125" fmla="*/ 1097 w 10785"/>
                  <a:gd name="connsiteY2125" fmla="*/ 4778 h 10000"/>
                  <a:gd name="connsiteX2126" fmla="*/ 1083 w 10785"/>
                  <a:gd name="connsiteY2126" fmla="*/ 4744 h 10000"/>
                  <a:gd name="connsiteX2127" fmla="*/ 1083 w 10785"/>
                  <a:gd name="connsiteY2127" fmla="*/ 4718 h 10000"/>
                  <a:gd name="connsiteX2128" fmla="*/ 1074 w 10785"/>
                  <a:gd name="connsiteY2128" fmla="*/ 4692 h 10000"/>
                  <a:gd name="connsiteX2129" fmla="*/ 1065 w 10785"/>
                  <a:gd name="connsiteY2129" fmla="*/ 4692 h 10000"/>
                  <a:gd name="connsiteX2130" fmla="*/ 1051 w 10785"/>
                  <a:gd name="connsiteY2130" fmla="*/ 4718 h 10000"/>
                  <a:gd name="connsiteX2131" fmla="*/ 1055 w 10785"/>
                  <a:gd name="connsiteY2131" fmla="*/ 4692 h 10000"/>
                  <a:gd name="connsiteX2132" fmla="*/ 1055 w 10785"/>
                  <a:gd name="connsiteY2132" fmla="*/ 4667 h 10000"/>
                  <a:gd name="connsiteX2133" fmla="*/ 1028 w 10785"/>
                  <a:gd name="connsiteY2133" fmla="*/ 4624 h 10000"/>
                  <a:gd name="connsiteX2134" fmla="*/ 1005 w 10785"/>
                  <a:gd name="connsiteY2134" fmla="*/ 4624 h 10000"/>
                  <a:gd name="connsiteX2135" fmla="*/ 977 w 10785"/>
                  <a:gd name="connsiteY2135" fmla="*/ 4581 h 10000"/>
                  <a:gd name="connsiteX2136" fmla="*/ 963 w 10785"/>
                  <a:gd name="connsiteY2136" fmla="*/ 4607 h 10000"/>
                  <a:gd name="connsiteX2137" fmla="*/ 963 w 10785"/>
                  <a:gd name="connsiteY2137" fmla="*/ 4632 h 10000"/>
                  <a:gd name="connsiteX2138" fmla="*/ 917 w 10785"/>
                  <a:gd name="connsiteY2138" fmla="*/ 4718 h 10000"/>
                  <a:gd name="connsiteX2139" fmla="*/ 889 w 10785"/>
                  <a:gd name="connsiteY2139" fmla="*/ 4744 h 10000"/>
                  <a:gd name="connsiteX2140" fmla="*/ 880 w 10785"/>
                  <a:gd name="connsiteY2140" fmla="*/ 4744 h 10000"/>
                  <a:gd name="connsiteX2141" fmla="*/ 862 w 10785"/>
                  <a:gd name="connsiteY2141" fmla="*/ 4769 h 10000"/>
                  <a:gd name="connsiteX2142" fmla="*/ 857 w 10785"/>
                  <a:gd name="connsiteY2142" fmla="*/ 4795 h 10000"/>
                  <a:gd name="connsiteX2143" fmla="*/ 829 w 10785"/>
                  <a:gd name="connsiteY2143" fmla="*/ 4846 h 10000"/>
                  <a:gd name="connsiteX2144" fmla="*/ 816 w 10785"/>
                  <a:gd name="connsiteY2144" fmla="*/ 4855 h 10000"/>
                  <a:gd name="connsiteX2145" fmla="*/ 816 w 10785"/>
                  <a:gd name="connsiteY2145" fmla="*/ 4940 h 10000"/>
                  <a:gd name="connsiteX2146" fmla="*/ 880 w 10785"/>
                  <a:gd name="connsiteY2146" fmla="*/ 5179 h 10000"/>
                  <a:gd name="connsiteX2147" fmla="*/ 880 w 10785"/>
                  <a:gd name="connsiteY2147" fmla="*/ 5188 h 10000"/>
                  <a:gd name="connsiteX2148" fmla="*/ 862 w 10785"/>
                  <a:gd name="connsiteY2148" fmla="*/ 5171 h 10000"/>
                  <a:gd name="connsiteX2149" fmla="*/ 857 w 10785"/>
                  <a:gd name="connsiteY2149" fmla="*/ 5171 h 10000"/>
                  <a:gd name="connsiteX2150" fmla="*/ 820 w 10785"/>
                  <a:gd name="connsiteY2150" fmla="*/ 5145 h 10000"/>
                  <a:gd name="connsiteX2151" fmla="*/ 820 w 10785"/>
                  <a:gd name="connsiteY2151" fmla="*/ 5154 h 10000"/>
                  <a:gd name="connsiteX2152" fmla="*/ 816 w 10785"/>
                  <a:gd name="connsiteY2152" fmla="*/ 5171 h 10000"/>
                  <a:gd name="connsiteX2153" fmla="*/ 783 w 10785"/>
                  <a:gd name="connsiteY2153" fmla="*/ 5145 h 10000"/>
                  <a:gd name="connsiteX2154" fmla="*/ 756 w 10785"/>
                  <a:gd name="connsiteY2154" fmla="*/ 5103 h 10000"/>
                  <a:gd name="connsiteX2155" fmla="*/ 742 w 10785"/>
                  <a:gd name="connsiteY2155" fmla="*/ 5103 h 10000"/>
                  <a:gd name="connsiteX2156" fmla="*/ 728 w 10785"/>
                  <a:gd name="connsiteY2156" fmla="*/ 5094 h 10000"/>
                  <a:gd name="connsiteX2157" fmla="*/ 710 w 10785"/>
                  <a:gd name="connsiteY2157" fmla="*/ 5120 h 10000"/>
                  <a:gd name="connsiteX2158" fmla="*/ 700 w 10785"/>
                  <a:gd name="connsiteY2158" fmla="*/ 5145 h 10000"/>
                  <a:gd name="connsiteX2159" fmla="*/ 696 w 10785"/>
                  <a:gd name="connsiteY2159" fmla="*/ 5103 h 10000"/>
                  <a:gd name="connsiteX2160" fmla="*/ 714 w 10785"/>
                  <a:gd name="connsiteY2160" fmla="*/ 5077 h 10000"/>
                  <a:gd name="connsiteX2161" fmla="*/ 682 w 10785"/>
                  <a:gd name="connsiteY2161" fmla="*/ 5068 h 10000"/>
                  <a:gd name="connsiteX2162" fmla="*/ 673 w 10785"/>
                  <a:gd name="connsiteY2162" fmla="*/ 5034 h 10000"/>
                  <a:gd name="connsiteX2163" fmla="*/ 636 w 10785"/>
                  <a:gd name="connsiteY2163" fmla="*/ 4991 h 10000"/>
                  <a:gd name="connsiteX2164" fmla="*/ 622 w 10785"/>
                  <a:gd name="connsiteY2164" fmla="*/ 4983 h 10000"/>
                  <a:gd name="connsiteX2165" fmla="*/ 622 w 10785"/>
                  <a:gd name="connsiteY2165" fmla="*/ 5034 h 10000"/>
                  <a:gd name="connsiteX2166" fmla="*/ 608 w 10785"/>
                  <a:gd name="connsiteY2166" fmla="*/ 5051 h 10000"/>
                  <a:gd name="connsiteX2167" fmla="*/ 594 w 10785"/>
                  <a:gd name="connsiteY2167" fmla="*/ 5068 h 10000"/>
                  <a:gd name="connsiteX2168" fmla="*/ 608 w 10785"/>
                  <a:gd name="connsiteY2168" fmla="*/ 5120 h 10000"/>
                  <a:gd name="connsiteX2169" fmla="*/ 613 w 10785"/>
                  <a:gd name="connsiteY2169" fmla="*/ 5128 h 10000"/>
                  <a:gd name="connsiteX2170" fmla="*/ 627 w 10785"/>
                  <a:gd name="connsiteY2170" fmla="*/ 5179 h 10000"/>
                  <a:gd name="connsiteX2171" fmla="*/ 650 w 10785"/>
                  <a:gd name="connsiteY2171" fmla="*/ 5214 h 10000"/>
                  <a:gd name="connsiteX2172" fmla="*/ 687 w 10785"/>
                  <a:gd name="connsiteY2172" fmla="*/ 5188 h 10000"/>
                  <a:gd name="connsiteX2173" fmla="*/ 700 w 10785"/>
                  <a:gd name="connsiteY2173" fmla="*/ 5325 h 10000"/>
                  <a:gd name="connsiteX2174" fmla="*/ 710 w 10785"/>
                  <a:gd name="connsiteY2174" fmla="*/ 5350 h 10000"/>
                  <a:gd name="connsiteX2175" fmla="*/ 687 w 10785"/>
                  <a:gd name="connsiteY2175" fmla="*/ 5325 h 10000"/>
                  <a:gd name="connsiteX2176" fmla="*/ 668 w 10785"/>
                  <a:gd name="connsiteY2176" fmla="*/ 5350 h 10000"/>
                  <a:gd name="connsiteX2177" fmla="*/ 668 w 10785"/>
                  <a:gd name="connsiteY2177" fmla="*/ 5368 h 10000"/>
                  <a:gd name="connsiteX2178" fmla="*/ 668 w 10785"/>
                  <a:gd name="connsiteY2178" fmla="*/ 5376 h 10000"/>
                  <a:gd name="connsiteX2179" fmla="*/ 581 w 10785"/>
                  <a:gd name="connsiteY2179" fmla="*/ 5316 h 10000"/>
                  <a:gd name="connsiteX2180" fmla="*/ 567 w 10785"/>
                  <a:gd name="connsiteY2180" fmla="*/ 5265 h 10000"/>
                  <a:gd name="connsiteX2181" fmla="*/ 562 w 10785"/>
                  <a:gd name="connsiteY2181" fmla="*/ 5256 h 10000"/>
                  <a:gd name="connsiteX2182" fmla="*/ 548 w 10785"/>
                  <a:gd name="connsiteY2182" fmla="*/ 5231 h 10000"/>
                  <a:gd name="connsiteX2183" fmla="*/ 535 w 10785"/>
                  <a:gd name="connsiteY2183" fmla="*/ 5214 h 10000"/>
                  <a:gd name="connsiteX2184" fmla="*/ 525 w 10785"/>
                  <a:gd name="connsiteY2184" fmla="*/ 5231 h 10000"/>
                  <a:gd name="connsiteX2185" fmla="*/ 521 w 10785"/>
                  <a:gd name="connsiteY2185" fmla="*/ 5231 h 10000"/>
                  <a:gd name="connsiteX2186" fmla="*/ 493 w 10785"/>
                  <a:gd name="connsiteY2186" fmla="*/ 5205 h 10000"/>
                  <a:gd name="connsiteX2187" fmla="*/ 488 w 10785"/>
                  <a:gd name="connsiteY2187" fmla="*/ 5179 h 10000"/>
                  <a:gd name="connsiteX2188" fmla="*/ 475 w 10785"/>
                  <a:gd name="connsiteY2188" fmla="*/ 5188 h 10000"/>
                  <a:gd name="connsiteX2189" fmla="*/ 475 w 10785"/>
                  <a:gd name="connsiteY2189" fmla="*/ 5171 h 10000"/>
                  <a:gd name="connsiteX2190" fmla="*/ 488 w 10785"/>
                  <a:gd name="connsiteY2190" fmla="*/ 5154 h 10000"/>
                  <a:gd name="connsiteX2191" fmla="*/ 488 w 10785"/>
                  <a:gd name="connsiteY2191" fmla="*/ 5068 h 10000"/>
                  <a:gd name="connsiteX2192" fmla="*/ 475 w 10785"/>
                  <a:gd name="connsiteY2192" fmla="*/ 5051 h 10000"/>
                  <a:gd name="connsiteX2193" fmla="*/ 475 w 10785"/>
                  <a:gd name="connsiteY2193" fmla="*/ 5017 h 10000"/>
                  <a:gd name="connsiteX2194" fmla="*/ 452 w 10785"/>
                  <a:gd name="connsiteY2194" fmla="*/ 4932 h 10000"/>
                  <a:gd name="connsiteX2195" fmla="*/ 461 w 10785"/>
                  <a:gd name="connsiteY2195" fmla="*/ 4915 h 10000"/>
                  <a:gd name="connsiteX2196" fmla="*/ 475 w 10785"/>
                  <a:gd name="connsiteY2196" fmla="*/ 4906 h 10000"/>
                  <a:gd name="connsiteX2197" fmla="*/ 479 w 10785"/>
                  <a:gd name="connsiteY2197" fmla="*/ 4803 h 10000"/>
                  <a:gd name="connsiteX2198" fmla="*/ 479 w 10785"/>
                  <a:gd name="connsiteY2198" fmla="*/ 4778 h 10000"/>
                  <a:gd name="connsiteX2199" fmla="*/ 475 w 10785"/>
                  <a:gd name="connsiteY2199" fmla="*/ 4761 h 10000"/>
                  <a:gd name="connsiteX2200" fmla="*/ 465 w 10785"/>
                  <a:gd name="connsiteY2200" fmla="*/ 4718 h 10000"/>
                  <a:gd name="connsiteX2201" fmla="*/ 461 w 10785"/>
                  <a:gd name="connsiteY2201" fmla="*/ 4709 h 10000"/>
                  <a:gd name="connsiteX2202" fmla="*/ 442 w 10785"/>
                  <a:gd name="connsiteY2202" fmla="*/ 4692 h 10000"/>
                  <a:gd name="connsiteX2203" fmla="*/ 433 w 10785"/>
                  <a:gd name="connsiteY2203" fmla="*/ 4667 h 10000"/>
                  <a:gd name="connsiteX2204" fmla="*/ 419 w 10785"/>
                  <a:gd name="connsiteY2204" fmla="*/ 4667 h 10000"/>
                  <a:gd name="connsiteX2205" fmla="*/ 401 w 10785"/>
                  <a:gd name="connsiteY2205" fmla="*/ 4658 h 10000"/>
                  <a:gd name="connsiteX2206" fmla="*/ 401 w 10785"/>
                  <a:gd name="connsiteY2206" fmla="*/ 4624 h 10000"/>
                  <a:gd name="connsiteX2207" fmla="*/ 401 w 10785"/>
                  <a:gd name="connsiteY2207" fmla="*/ 4607 h 10000"/>
                  <a:gd name="connsiteX2208" fmla="*/ 378 w 10785"/>
                  <a:gd name="connsiteY2208" fmla="*/ 4607 h 10000"/>
                  <a:gd name="connsiteX2209" fmla="*/ 341 w 10785"/>
                  <a:gd name="connsiteY2209" fmla="*/ 4530 h 10000"/>
                  <a:gd name="connsiteX2210" fmla="*/ 346 w 10785"/>
                  <a:gd name="connsiteY2210" fmla="*/ 4521 h 10000"/>
                  <a:gd name="connsiteX2211" fmla="*/ 332 w 10785"/>
                  <a:gd name="connsiteY2211" fmla="*/ 4487 h 10000"/>
                  <a:gd name="connsiteX2212" fmla="*/ 327 w 10785"/>
                  <a:gd name="connsiteY2212" fmla="*/ 4462 h 10000"/>
                  <a:gd name="connsiteX2213" fmla="*/ 313 w 10785"/>
                  <a:gd name="connsiteY2213" fmla="*/ 4436 h 10000"/>
                  <a:gd name="connsiteX2214" fmla="*/ 300 w 10785"/>
                  <a:gd name="connsiteY2214" fmla="*/ 4419 h 10000"/>
                  <a:gd name="connsiteX2215" fmla="*/ 309 w 10785"/>
                  <a:gd name="connsiteY2215" fmla="*/ 4393 h 10000"/>
                  <a:gd name="connsiteX2216" fmla="*/ 332 w 10785"/>
                  <a:gd name="connsiteY2216" fmla="*/ 4385 h 10000"/>
                  <a:gd name="connsiteX2217" fmla="*/ 355 w 10785"/>
                  <a:gd name="connsiteY2217" fmla="*/ 4419 h 10000"/>
                  <a:gd name="connsiteX2218" fmla="*/ 355 w 10785"/>
                  <a:gd name="connsiteY2218" fmla="*/ 4444 h 10000"/>
                  <a:gd name="connsiteX2219" fmla="*/ 369 w 10785"/>
                  <a:gd name="connsiteY2219" fmla="*/ 4470 h 10000"/>
                  <a:gd name="connsiteX2220" fmla="*/ 401 w 10785"/>
                  <a:gd name="connsiteY2220" fmla="*/ 4521 h 10000"/>
                  <a:gd name="connsiteX2221" fmla="*/ 406 w 10785"/>
                  <a:gd name="connsiteY2221" fmla="*/ 4513 h 10000"/>
                  <a:gd name="connsiteX2222" fmla="*/ 406 w 10785"/>
                  <a:gd name="connsiteY2222" fmla="*/ 4496 h 10000"/>
                  <a:gd name="connsiteX2223" fmla="*/ 419 w 10785"/>
                  <a:gd name="connsiteY2223" fmla="*/ 4521 h 10000"/>
                  <a:gd name="connsiteX2224" fmla="*/ 429 w 10785"/>
                  <a:gd name="connsiteY2224" fmla="*/ 4530 h 10000"/>
                  <a:gd name="connsiteX2225" fmla="*/ 433 w 10785"/>
                  <a:gd name="connsiteY2225" fmla="*/ 4521 h 10000"/>
                  <a:gd name="connsiteX2226" fmla="*/ 442 w 10785"/>
                  <a:gd name="connsiteY2226" fmla="*/ 4530 h 10000"/>
                  <a:gd name="connsiteX2227" fmla="*/ 447 w 10785"/>
                  <a:gd name="connsiteY2227" fmla="*/ 4521 h 10000"/>
                  <a:gd name="connsiteX2228" fmla="*/ 452 w 10785"/>
                  <a:gd name="connsiteY2228" fmla="*/ 4521 h 10000"/>
                  <a:gd name="connsiteX2229" fmla="*/ 461 w 10785"/>
                  <a:gd name="connsiteY2229" fmla="*/ 4573 h 10000"/>
                  <a:gd name="connsiteX2230" fmla="*/ 479 w 10785"/>
                  <a:gd name="connsiteY2230" fmla="*/ 4556 h 10000"/>
                  <a:gd name="connsiteX2231" fmla="*/ 502 w 10785"/>
                  <a:gd name="connsiteY2231" fmla="*/ 4573 h 10000"/>
                  <a:gd name="connsiteX2232" fmla="*/ 507 w 10785"/>
                  <a:gd name="connsiteY2232" fmla="*/ 4598 h 10000"/>
                  <a:gd name="connsiteX2233" fmla="*/ 525 w 10785"/>
                  <a:gd name="connsiteY2233" fmla="*/ 4598 h 10000"/>
                  <a:gd name="connsiteX2234" fmla="*/ 535 w 10785"/>
                  <a:gd name="connsiteY2234" fmla="*/ 4624 h 10000"/>
                  <a:gd name="connsiteX2235" fmla="*/ 594 w 10785"/>
                  <a:gd name="connsiteY2235" fmla="*/ 4658 h 10000"/>
                  <a:gd name="connsiteX2236" fmla="*/ 627 w 10785"/>
                  <a:gd name="connsiteY2236" fmla="*/ 4658 h 10000"/>
                  <a:gd name="connsiteX2237" fmla="*/ 654 w 10785"/>
                  <a:gd name="connsiteY2237" fmla="*/ 4684 h 10000"/>
                  <a:gd name="connsiteX2238" fmla="*/ 668 w 10785"/>
                  <a:gd name="connsiteY2238" fmla="*/ 4709 h 10000"/>
                  <a:gd name="connsiteX2239" fmla="*/ 747 w 10785"/>
                  <a:gd name="connsiteY2239" fmla="*/ 4718 h 10000"/>
                  <a:gd name="connsiteX2240" fmla="*/ 760 w 10785"/>
                  <a:gd name="connsiteY2240" fmla="*/ 4709 h 10000"/>
                  <a:gd name="connsiteX2241" fmla="*/ 774 w 10785"/>
                  <a:gd name="connsiteY2241" fmla="*/ 4692 h 10000"/>
                  <a:gd name="connsiteX2242" fmla="*/ 829 w 10785"/>
                  <a:gd name="connsiteY2242" fmla="*/ 4658 h 10000"/>
                  <a:gd name="connsiteX2243" fmla="*/ 903 w 10785"/>
                  <a:gd name="connsiteY2243" fmla="*/ 4496 h 10000"/>
                  <a:gd name="connsiteX2244" fmla="*/ 917 w 10785"/>
                  <a:gd name="connsiteY2244" fmla="*/ 4385 h 10000"/>
                  <a:gd name="connsiteX2245" fmla="*/ 903 w 10785"/>
                  <a:gd name="connsiteY2245" fmla="*/ 4376 h 10000"/>
                  <a:gd name="connsiteX2246" fmla="*/ 903 w 10785"/>
                  <a:gd name="connsiteY2246" fmla="*/ 4376 h 10000"/>
                  <a:gd name="connsiteX2247" fmla="*/ 889 w 10785"/>
                  <a:gd name="connsiteY2247" fmla="*/ 4239 h 10000"/>
                  <a:gd name="connsiteX2248" fmla="*/ 880 w 10785"/>
                  <a:gd name="connsiteY2248" fmla="*/ 4214 h 10000"/>
                  <a:gd name="connsiteX2249" fmla="*/ 862 w 10785"/>
                  <a:gd name="connsiteY2249" fmla="*/ 4188 h 10000"/>
                  <a:gd name="connsiteX2250" fmla="*/ 857 w 10785"/>
                  <a:gd name="connsiteY2250" fmla="*/ 4197 h 10000"/>
                  <a:gd name="connsiteX2251" fmla="*/ 848 w 10785"/>
                  <a:gd name="connsiteY2251" fmla="*/ 4188 h 10000"/>
                  <a:gd name="connsiteX2252" fmla="*/ 848 w 10785"/>
                  <a:gd name="connsiteY2252" fmla="*/ 4162 h 10000"/>
                  <a:gd name="connsiteX2253" fmla="*/ 829 w 10785"/>
                  <a:gd name="connsiteY2253" fmla="*/ 4120 h 10000"/>
                  <a:gd name="connsiteX2254" fmla="*/ 820 w 10785"/>
                  <a:gd name="connsiteY2254" fmla="*/ 4103 h 10000"/>
                  <a:gd name="connsiteX2255" fmla="*/ 806 w 10785"/>
                  <a:gd name="connsiteY2255" fmla="*/ 4077 h 10000"/>
                  <a:gd name="connsiteX2256" fmla="*/ 816 w 10785"/>
                  <a:gd name="connsiteY2256" fmla="*/ 4111 h 10000"/>
                  <a:gd name="connsiteX2257" fmla="*/ 802 w 10785"/>
                  <a:gd name="connsiteY2257" fmla="*/ 4111 h 10000"/>
                  <a:gd name="connsiteX2258" fmla="*/ 770 w 10785"/>
                  <a:gd name="connsiteY2258" fmla="*/ 4060 h 10000"/>
                  <a:gd name="connsiteX2259" fmla="*/ 760 w 10785"/>
                  <a:gd name="connsiteY2259" fmla="*/ 4077 h 10000"/>
                  <a:gd name="connsiteX2260" fmla="*/ 760 w 10785"/>
                  <a:gd name="connsiteY2260" fmla="*/ 4060 h 10000"/>
                  <a:gd name="connsiteX2261" fmla="*/ 756 w 10785"/>
                  <a:gd name="connsiteY2261" fmla="*/ 4034 h 10000"/>
                  <a:gd name="connsiteX2262" fmla="*/ 742 w 10785"/>
                  <a:gd name="connsiteY2262" fmla="*/ 4000 h 10000"/>
                  <a:gd name="connsiteX2263" fmla="*/ 747 w 10785"/>
                  <a:gd name="connsiteY2263" fmla="*/ 4034 h 10000"/>
                  <a:gd name="connsiteX2264" fmla="*/ 724 w 10785"/>
                  <a:gd name="connsiteY2264" fmla="*/ 4026 h 10000"/>
                  <a:gd name="connsiteX2265" fmla="*/ 714 w 10785"/>
                  <a:gd name="connsiteY2265" fmla="*/ 4000 h 10000"/>
                  <a:gd name="connsiteX2266" fmla="*/ 714 w 10785"/>
                  <a:gd name="connsiteY2266" fmla="*/ 3983 h 10000"/>
                  <a:gd name="connsiteX2267" fmla="*/ 553 w 10785"/>
                  <a:gd name="connsiteY2267" fmla="*/ 3726 h 10000"/>
                  <a:gd name="connsiteX2268" fmla="*/ 507 w 10785"/>
                  <a:gd name="connsiteY2268" fmla="*/ 3718 h 10000"/>
                  <a:gd name="connsiteX2269" fmla="*/ 516 w 10785"/>
                  <a:gd name="connsiteY2269" fmla="*/ 3726 h 10000"/>
                  <a:gd name="connsiteX2270" fmla="*/ 507 w 10785"/>
                  <a:gd name="connsiteY2270" fmla="*/ 3735 h 10000"/>
                  <a:gd name="connsiteX2271" fmla="*/ 502 w 10785"/>
                  <a:gd name="connsiteY2271" fmla="*/ 3735 h 10000"/>
                  <a:gd name="connsiteX2272" fmla="*/ 419 w 10785"/>
                  <a:gd name="connsiteY2272" fmla="*/ 3675 h 10000"/>
                  <a:gd name="connsiteX2273" fmla="*/ 419 w 10785"/>
                  <a:gd name="connsiteY2273" fmla="*/ 3692 h 10000"/>
                  <a:gd name="connsiteX2274" fmla="*/ 401 w 10785"/>
                  <a:gd name="connsiteY2274" fmla="*/ 3701 h 10000"/>
                  <a:gd name="connsiteX2275" fmla="*/ 387 w 10785"/>
                  <a:gd name="connsiteY2275" fmla="*/ 3718 h 10000"/>
                  <a:gd name="connsiteX2276" fmla="*/ 387 w 10785"/>
                  <a:gd name="connsiteY2276" fmla="*/ 3692 h 10000"/>
                  <a:gd name="connsiteX2277" fmla="*/ 378 w 10785"/>
                  <a:gd name="connsiteY2277" fmla="*/ 3675 h 10000"/>
                  <a:gd name="connsiteX2278" fmla="*/ 378 w 10785"/>
                  <a:gd name="connsiteY2278" fmla="*/ 3650 h 10000"/>
                  <a:gd name="connsiteX2279" fmla="*/ 378 w 10785"/>
                  <a:gd name="connsiteY2279" fmla="*/ 3650 h 10000"/>
                  <a:gd name="connsiteX2280" fmla="*/ 355 w 10785"/>
                  <a:gd name="connsiteY2280" fmla="*/ 3675 h 10000"/>
                  <a:gd name="connsiteX2281" fmla="*/ 359 w 10785"/>
                  <a:gd name="connsiteY2281" fmla="*/ 3641 h 10000"/>
                  <a:gd name="connsiteX2282" fmla="*/ 346 w 10785"/>
                  <a:gd name="connsiteY2282" fmla="*/ 3650 h 10000"/>
                  <a:gd name="connsiteX2283" fmla="*/ 355 w 10785"/>
                  <a:gd name="connsiteY2283" fmla="*/ 3624 h 10000"/>
                  <a:gd name="connsiteX2284" fmla="*/ 346 w 10785"/>
                  <a:gd name="connsiteY2284" fmla="*/ 3624 h 10000"/>
                  <a:gd name="connsiteX2285" fmla="*/ 341 w 10785"/>
                  <a:gd name="connsiteY2285" fmla="*/ 3624 h 10000"/>
                  <a:gd name="connsiteX2286" fmla="*/ 318 w 10785"/>
                  <a:gd name="connsiteY2286" fmla="*/ 3641 h 10000"/>
                  <a:gd name="connsiteX2287" fmla="*/ 327 w 10785"/>
                  <a:gd name="connsiteY2287" fmla="*/ 3624 h 10000"/>
                  <a:gd name="connsiteX2288" fmla="*/ 318 w 10785"/>
                  <a:gd name="connsiteY2288" fmla="*/ 3615 h 10000"/>
                  <a:gd name="connsiteX2289" fmla="*/ 318 w 10785"/>
                  <a:gd name="connsiteY2289" fmla="*/ 3598 h 10000"/>
                  <a:gd name="connsiteX2290" fmla="*/ 300 w 10785"/>
                  <a:gd name="connsiteY2290" fmla="*/ 3598 h 10000"/>
                  <a:gd name="connsiteX2291" fmla="*/ 309 w 10785"/>
                  <a:gd name="connsiteY2291" fmla="*/ 3538 h 10000"/>
                  <a:gd name="connsiteX2292" fmla="*/ 313 w 10785"/>
                  <a:gd name="connsiteY2292" fmla="*/ 3564 h 10000"/>
                  <a:gd name="connsiteX2293" fmla="*/ 318 w 10785"/>
                  <a:gd name="connsiteY2293" fmla="*/ 3581 h 10000"/>
                  <a:gd name="connsiteX2294" fmla="*/ 327 w 10785"/>
                  <a:gd name="connsiteY2294" fmla="*/ 3564 h 10000"/>
                  <a:gd name="connsiteX2295" fmla="*/ 332 w 10785"/>
                  <a:gd name="connsiteY2295" fmla="*/ 3590 h 10000"/>
                  <a:gd name="connsiteX2296" fmla="*/ 346 w 10785"/>
                  <a:gd name="connsiteY2296" fmla="*/ 3590 h 10000"/>
                  <a:gd name="connsiteX2297" fmla="*/ 355 w 10785"/>
                  <a:gd name="connsiteY2297" fmla="*/ 3590 h 10000"/>
                  <a:gd name="connsiteX2298" fmla="*/ 369 w 10785"/>
                  <a:gd name="connsiteY2298" fmla="*/ 3556 h 10000"/>
                  <a:gd name="connsiteX2299" fmla="*/ 369 w 10785"/>
                  <a:gd name="connsiteY2299" fmla="*/ 3538 h 10000"/>
                  <a:gd name="connsiteX2300" fmla="*/ 346 w 10785"/>
                  <a:gd name="connsiteY2300" fmla="*/ 3513 h 10000"/>
                  <a:gd name="connsiteX2301" fmla="*/ 341 w 10785"/>
                  <a:gd name="connsiteY2301" fmla="*/ 3530 h 10000"/>
                  <a:gd name="connsiteX2302" fmla="*/ 327 w 10785"/>
                  <a:gd name="connsiteY2302" fmla="*/ 3513 h 10000"/>
                  <a:gd name="connsiteX2303" fmla="*/ 327 w 10785"/>
                  <a:gd name="connsiteY2303" fmla="*/ 3504 h 10000"/>
                  <a:gd name="connsiteX2304" fmla="*/ 295 w 10785"/>
                  <a:gd name="connsiteY2304" fmla="*/ 3462 h 10000"/>
                  <a:gd name="connsiteX2305" fmla="*/ 300 w 10785"/>
                  <a:gd name="connsiteY2305" fmla="*/ 3479 h 10000"/>
                  <a:gd name="connsiteX2306" fmla="*/ 295 w 10785"/>
                  <a:gd name="connsiteY2306" fmla="*/ 3513 h 10000"/>
                  <a:gd name="connsiteX2307" fmla="*/ 286 w 10785"/>
                  <a:gd name="connsiteY2307" fmla="*/ 3513 h 10000"/>
                  <a:gd name="connsiteX2308" fmla="*/ 281 w 10785"/>
                  <a:gd name="connsiteY2308" fmla="*/ 3513 h 10000"/>
                  <a:gd name="connsiteX2309" fmla="*/ 281 w 10785"/>
                  <a:gd name="connsiteY2309" fmla="*/ 3530 h 10000"/>
                  <a:gd name="connsiteX2310" fmla="*/ 281 w 10785"/>
                  <a:gd name="connsiteY2310" fmla="*/ 3556 h 10000"/>
                  <a:gd name="connsiteX2311" fmla="*/ 272 w 10785"/>
                  <a:gd name="connsiteY2311" fmla="*/ 3564 h 10000"/>
                  <a:gd name="connsiteX2312" fmla="*/ 267 w 10785"/>
                  <a:gd name="connsiteY2312" fmla="*/ 3564 h 10000"/>
                  <a:gd name="connsiteX2313" fmla="*/ 253 w 10785"/>
                  <a:gd name="connsiteY2313" fmla="*/ 3538 h 10000"/>
                  <a:gd name="connsiteX2314" fmla="*/ 226 w 10785"/>
                  <a:gd name="connsiteY2314" fmla="*/ 3513 h 10000"/>
                  <a:gd name="connsiteX2315" fmla="*/ 226 w 10785"/>
                  <a:gd name="connsiteY2315" fmla="*/ 3530 h 10000"/>
                  <a:gd name="connsiteX2316" fmla="*/ 226 w 10785"/>
                  <a:gd name="connsiteY2316" fmla="*/ 3530 h 10000"/>
                  <a:gd name="connsiteX2317" fmla="*/ 226 w 10785"/>
                  <a:gd name="connsiteY2317" fmla="*/ 3530 h 10000"/>
                  <a:gd name="connsiteX2318" fmla="*/ 226 w 10785"/>
                  <a:gd name="connsiteY2318" fmla="*/ 3556 h 10000"/>
                  <a:gd name="connsiteX2319" fmla="*/ 221 w 10785"/>
                  <a:gd name="connsiteY2319" fmla="*/ 3598 h 10000"/>
                  <a:gd name="connsiteX2320" fmla="*/ 207 w 10785"/>
                  <a:gd name="connsiteY2320" fmla="*/ 3598 h 10000"/>
                  <a:gd name="connsiteX2321" fmla="*/ 180 w 10785"/>
                  <a:gd name="connsiteY2321" fmla="*/ 3581 h 10000"/>
                  <a:gd name="connsiteX2322" fmla="*/ 171 w 10785"/>
                  <a:gd name="connsiteY2322" fmla="*/ 3641 h 10000"/>
                  <a:gd name="connsiteX2323" fmla="*/ 166 w 10785"/>
                  <a:gd name="connsiteY2323" fmla="*/ 3650 h 10000"/>
                  <a:gd name="connsiteX2324" fmla="*/ 124 w 10785"/>
                  <a:gd name="connsiteY2324" fmla="*/ 3701 h 10000"/>
                  <a:gd name="connsiteX2325" fmla="*/ 124 w 10785"/>
                  <a:gd name="connsiteY2325" fmla="*/ 3718 h 10000"/>
                  <a:gd name="connsiteX2326" fmla="*/ 120 w 10785"/>
                  <a:gd name="connsiteY2326" fmla="*/ 3735 h 10000"/>
                  <a:gd name="connsiteX2327" fmla="*/ 120 w 10785"/>
                  <a:gd name="connsiteY2327" fmla="*/ 3735 h 10000"/>
                  <a:gd name="connsiteX2328" fmla="*/ 111 w 10785"/>
                  <a:gd name="connsiteY2328" fmla="*/ 3761 h 10000"/>
                  <a:gd name="connsiteX2329" fmla="*/ 106 w 10785"/>
                  <a:gd name="connsiteY2329" fmla="*/ 3761 h 10000"/>
                  <a:gd name="connsiteX2330" fmla="*/ 106 w 10785"/>
                  <a:gd name="connsiteY2330" fmla="*/ 3761 h 10000"/>
                  <a:gd name="connsiteX2331" fmla="*/ 74 w 10785"/>
                  <a:gd name="connsiteY2331" fmla="*/ 3829 h 10000"/>
                  <a:gd name="connsiteX2332" fmla="*/ 78 w 10785"/>
                  <a:gd name="connsiteY2332" fmla="*/ 3838 h 10000"/>
                  <a:gd name="connsiteX2333" fmla="*/ 88 w 10785"/>
                  <a:gd name="connsiteY2333" fmla="*/ 3846 h 10000"/>
                  <a:gd name="connsiteX2334" fmla="*/ 65 w 10785"/>
                  <a:gd name="connsiteY2334" fmla="*/ 3923 h 10000"/>
                  <a:gd name="connsiteX2335" fmla="*/ 78 w 10785"/>
                  <a:gd name="connsiteY2335" fmla="*/ 4026 h 10000"/>
                  <a:gd name="connsiteX2336" fmla="*/ 88 w 10785"/>
                  <a:gd name="connsiteY2336" fmla="*/ 4051 h 10000"/>
                  <a:gd name="connsiteX2337" fmla="*/ 92 w 10785"/>
                  <a:gd name="connsiteY2337" fmla="*/ 4060 h 10000"/>
                  <a:gd name="connsiteX2338" fmla="*/ 111 w 10785"/>
                  <a:gd name="connsiteY2338" fmla="*/ 4060 h 10000"/>
                  <a:gd name="connsiteX2339" fmla="*/ 124 w 10785"/>
                  <a:gd name="connsiteY2339" fmla="*/ 4085 h 10000"/>
                  <a:gd name="connsiteX2340" fmla="*/ 166 w 10785"/>
                  <a:gd name="connsiteY2340" fmla="*/ 4197 h 10000"/>
                  <a:gd name="connsiteX2341" fmla="*/ 166 w 10785"/>
                  <a:gd name="connsiteY2341" fmla="*/ 4248 h 10000"/>
                  <a:gd name="connsiteX2342" fmla="*/ 120 w 10785"/>
                  <a:gd name="connsiteY2342" fmla="*/ 4462 h 10000"/>
                  <a:gd name="connsiteX2343" fmla="*/ 120 w 10785"/>
                  <a:gd name="connsiteY2343" fmla="*/ 4513 h 10000"/>
                  <a:gd name="connsiteX2344" fmla="*/ 180 w 10785"/>
                  <a:gd name="connsiteY2344" fmla="*/ 4829 h 10000"/>
                  <a:gd name="connsiteX2345" fmla="*/ 161 w 10785"/>
                  <a:gd name="connsiteY2345" fmla="*/ 4855 h 10000"/>
                  <a:gd name="connsiteX2346" fmla="*/ 152 w 10785"/>
                  <a:gd name="connsiteY2346" fmla="*/ 4940 h 10000"/>
                  <a:gd name="connsiteX2347" fmla="*/ 161 w 10785"/>
                  <a:gd name="connsiteY2347" fmla="*/ 4966 h 10000"/>
                  <a:gd name="connsiteX2348" fmla="*/ 161 w 10785"/>
                  <a:gd name="connsiteY2348" fmla="*/ 5009 h 10000"/>
                  <a:gd name="connsiteX2349" fmla="*/ 152 w 10785"/>
                  <a:gd name="connsiteY2349" fmla="*/ 5034 h 10000"/>
                  <a:gd name="connsiteX2350" fmla="*/ 152 w 10785"/>
                  <a:gd name="connsiteY2350" fmla="*/ 5077 h 10000"/>
                  <a:gd name="connsiteX2351" fmla="*/ 171 w 10785"/>
                  <a:gd name="connsiteY2351" fmla="*/ 5094 h 10000"/>
                  <a:gd name="connsiteX2352" fmla="*/ 180 w 10785"/>
                  <a:gd name="connsiteY2352" fmla="*/ 5128 h 10000"/>
                  <a:gd name="connsiteX2353" fmla="*/ 180 w 10785"/>
                  <a:gd name="connsiteY2353" fmla="*/ 5171 h 10000"/>
                  <a:gd name="connsiteX2354" fmla="*/ 184 w 10785"/>
                  <a:gd name="connsiteY2354" fmla="*/ 5205 h 10000"/>
                  <a:gd name="connsiteX2355" fmla="*/ 207 w 10785"/>
                  <a:gd name="connsiteY2355" fmla="*/ 5239 h 10000"/>
                  <a:gd name="connsiteX2356" fmla="*/ 207 w 10785"/>
                  <a:gd name="connsiteY2356" fmla="*/ 5282 h 10000"/>
                  <a:gd name="connsiteX2357" fmla="*/ 180 w 10785"/>
                  <a:gd name="connsiteY2357" fmla="*/ 5393 h 10000"/>
                  <a:gd name="connsiteX2358" fmla="*/ 194 w 10785"/>
                  <a:gd name="connsiteY2358" fmla="*/ 5427 h 10000"/>
                  <a:gd name="connsiteX2359" fmla="*/ 198 w 10785"/>
                  <a:gd name="connsiteY2359" fmla="*/ 5462 h 10000"/>
                  <a:gd name="connsiteX2360" fmla="*/ 235 w 10785"/>
                  <a:gd name="connsiteY2360" fmla="*/ 5513 h 10000"/>
                  <a:gd name="connsiteX2361" fmla="*/ 240 w 10785"/>
                  <a:gd name="connsiteY2361" fmla="*/ 5556 h 10000"/>
                  <a:gd name="connsiteX2362" fmla="*/ 253 w 10785"/>
                  <a:gd name="connsiteY2362" fmla="*/ 5590 h 10000"/>
                  <a:gd name="connsiteX2363" fmla="*/ 258 w 10785"/>
                  <a:gd name="connsiteY2363" fmla="*/ 5573 h 10000"/>
                  <a:gd name="connsiteX2364" fmla="*/ 258 w 10785"/>
                  <a:gd name="connsiteY2364" fmla="*/ 5667 h 10000"/>
                  <a:gd name="connsiteX2365" fmla="*/ 14 w 10785"/>
                  <a:gd name="connsiteY2365" fmla="*/ 6214 h 10000"/>
                  <a:gd name="connsiteX2366" fmla="*/ 14 w 10785"/>
                  <a:gd name="connsiteY2366" fmla="*/ 6214 h 10000"/>
                  <a:gd name="connsiteX2367" fmla="*/ 37 w 10785"/>
                  <a:gd name="connsiteY2367" fmla="*/ 6214 h 10000"/>
                  <a:gd name="connsiteX2368" fmla="*/ 51 w 10785"/>
                  <a:gd name="connsiteY2368" fmla="*/ 6188 h 10000"/>
                  <a:gd name="connsiteX2369" fmla="*/ 78 w 10785"/>
                  <a:gd name="connsiteY2369" fmla="*/ 6162 h 10000"/>
                  <a:gd name="connsiteX2370" fmla="*/ 78 w 10785"/>
                  <a:gd name="connsiteY2370" fmla="*/ 6188 h 10000"/>
                  <a:gd name="connsiteX2371" fmla="*/ 74 w 10785"/>
                  <a:gd name="connsiteY2371" fmla="*/ 6197 h 10000"/>
                  <a:gd name="connsiteX2372" fmla="*/ 74 w 10785"/>
                  <a:gd name="connsiteY2372" fmla="*/ 6231 h 10000"/>
                  <a:gd name="connsiteX2373" fmla="*/ 74 w 10785"/>
                  <a:gd name="connsiteY2373" fmla="*/ 6214 h 10000"/>
                  <a:gd name="connsiteX2374" fmla="*/ 65 w 10785"/>
                  <a:gd name="connsiteY2374" fmla="*/ 6214 h 10000"/>
                  <a:gd name="connsiteX2375" fmla="*/ 65 w 10785"/>
                  <a:gd name="connsiteY2375" fmla="*/ 6248 h 10000"/>
                  <a:gd name="connsiteX2376" fmla="*/ 74 w 10785"/>
                  <a:gd name="connsiteY2376" fmla="*/ 6256 h 10000"/>
                  <a:gd name="connsiteX2377" fmla="*/ 78 w 10785"/>
                  <a:gd name="connsiteY2377" fmla="*/ 6256 h 10000"/>
                  <a:gd name="connsiteX2378" fmla="*/ 106 w 10785"/>
                  <a:gd name="connsiteY2378" fmla="*/ 6308 h 10000"/>
                  <a:gd name="connsiteX2379" fmla="*/ 138 w 10785"/>
                  <a:gd name="connsiteY2379" fmla="*/ 6299 h 10000"/>
                  <a:gd name="connsiteX2380" fmla="*/ 152 w 10785"/>
                  <a:gd name="connsiteY2380" fmla="*/ 6299 h 10000"/>
                  <a:gd name="connsiteX2381" fmla="*/ 166 w 10785"/>
                  <a:gd name="connsiteY2381" fmla="*/ 6325 h 10000"/>
                  <a:gd name="connsiteX2382" fmla="*/ 166 w 10785"/>
                  <a:gd name="connsiteY2382" fmla="*/ 6333 h 10000"/>
                  <a:gd name="connsiteX2383" fmla="*/ 171 w 10785"/>
                  <a:gd name="connsiteY2383" fmla="*/ 6350 h 10000"/>
                  <a:gd name="connsiteX2384" fmla="*/ 180 w 10785"/>
                  <a:gd name="connsiteY2384" fmla="*/ 6350 h 10000"/>
                  <a:gd name="connsiteX2385" fmla="*/ 180 w 10785"/>
                  <a:gd name="connsiteY2385" fmla="*/ 6359 h 10000"/>
                  <a:gd name="connsiteX2386" fmla="*/ 171 w 10785"/>
                  <a:gd name="connsiteY2386" fmla="*/ 6368 h 10000"/>
                  <a:gd name="connsiteX2387" fmla="*/ 106 w 10785"/>
                  <a:gd name="connsiteY2387" fmla="*/ 6350 h 10000"/>
                  <a:gd name="connsiteX2388" fmla="*/ 101 w 10785"/>
                  <a:gd name="connsiteY2388" fmla="*/ 6359 h 10000"/>
                  <a:gd name="connsiteX2389" fmla="*/ 101 w 10785"/>
                  <a:gd name="connsiteY2389" fmla="*/ 6385 h 10000"/>
                  <a:gd name="connsiteX2390" fmla="*/ 78 w 10785"/>
                  <a:gd name="connsiteY2390" fmla="*/ 6393 h 10000"/>
                  <a:gd name="connsiteX2391" fmla="*/ 74 w 10785"/>
                  <a:gd name="connsiteY2391" fmla="*/ 6385 h 10000"/>
                  <a:gd name="connsiteX2392" fmla="*/ 65 w 10785"/>
                  <a:gd name="connsiteY2392" fmla="*/ 6393 h 10000"/>
                  <a:gd name="connsiteX2393" fmla="*/ 60 w 10785"/>
                  <a:gd name="connsiteY2393" fmla="*/ 6419 h 10000"/>
                  <a:gd name="connsiteX2394" fmla="*/ 51 w 10785"/>
                  <a:gd name="connsiteY2394" fmla="*/ 6419 h 10000"/>
                  <a:gd name="connsiteX2395" fmla="*/ 46 w 10785"/>
                  <a:gd name="connsiteY2395" fmla="*/ 6410 h 10000"/>
                  <a:gd name="connsiteX2396" fmla="*/ 37 w 10785"/>
                  <a:gd name="connsiteY2396" fmla="*/ 6393 h 10000"/>
                  <a:gd name="connsiteX2397" fmla="*/ 32 w 10785"/>
                  <a:gd name="connsiteY2397" fmla="*/ 6419 h 10000"/>
                  <a:gd name="connsiteX2398" fmla="*/ 37 w 10785"/>
                  <a:gd name="connsiteY2398" fmla="*/ 6462 h 10000"/>
                  <a:gd name="connsiteX2399" fmla="*/ 46 w 10785"/>
                  <a:gd name="connsiteY2399" fmla="*/ 6462 h 10000"/>
                  <a:gd name="connsiteX2400" fmla="*/ 51 w 10785"/>
                  <a:gd name="connsiteY2400" fmla="*/ 6470 h 10000"/>
                  <a:gd name="connsiteX2401" fmla="*/ 51 w 10785"/>
                  <a:gd name="connsiteY2401" fmla="*/ 6496 h 10000"/>
                  <a:gd name="connsiteX2402" fmla="*/ 51 w 10785"/>
                  <a:gd name="connsiteY2402" fmla="*/ 6504 h 10000"/>
                  <a:gd name="connsiteX2403" fmla="*/ 37 w 10785"/>
                  <a:gd name="connsiteY2403" fmla="*/ 6530 h 10000"/>
                  <a:gd name="connsiteX2404" fmla="*/ 18 w 10785"/>
                  <a:gd name="connsiteY2404" fmla="*/ 6598 h 10000"/>
                  <a:gd name="connsiteX2405" fmla="*/ 28 w 10785"/>
                  <a:gd name="connsiteY2405" fmla="*/ 6632 h 10000"/>
                  <a:gd name="connsiteX2406" fmla="*/ 18 w 10785"/>
                  <a:gd name="connsiteY2406" fmla="*/ 6667 h 10000"/>
                  <a:gd name="connsiteX2407" fmla="*/ 28 w 10785"/>
                  <a:gd name="connsiteY2407" fmla="*/ 6692 h 10000"/>
                  <a:gd name="connsiteX2408" fmla="*/ 28 w 10785"/>
                  <a:gd name="connsiteY2408" fmla="*/ 6709 h 10000"/>
                  <a:gd name="connsiteX2409" fmla="*/ 18 w 10785"/>
                  <a:gd name="connsiteY2409" fmla="*/ 6718 h 10000"/>
                  <a:gd name="connsiteX2410" fmla="*/ 5 w 10785"/>
                  <a:gd name="connsiteY2410" fmla="*/ 6744 h 10000"/>
                  <a:gd name="connsiteX2411" fmla="*/ 0 w 10785"/>
                  <a:gd name="connsiteY2411" fmla="*/ 6769 h 10000"/>
                  <a:gd name="connsiteX2412" fmla="*/ 5 w 10785"/>
                  <a:gd name="connsiteY2412" fmla="*/ 6778 h 10000"/>
                  <a:gd name="connsiteX2413" fmla="*/ 32 w 10785"/>
                  <a:gd name="connsiteY2413" fmla="*/ 6778 h 10000"/>
                  <a:gd name="connsiteX2414" fmla="*/ 46 w 10785"/>
                  <a:gd name="connsiteY2414" fmla="*/ 6821 h 10000"/>
                  <a:gd name="connsiteX2415" fmla="*/ 46 w 10785"/>
                  <a:gd name="connsiteY2415" fmla="*/ 6855 h 10000"/>
                  <a:gd name="connsiteX2416" fmla="*/ 32 w 10785"/>
                  <a:gd name="connsiteY2416" fmla="*/ 6855 h 10000"/>
                  <a:gd name="connsiteX2417" fmla="*/ 14 w 10785"/>
                  <a:gd name="connsiteY2417" fmla="*/ 6821 h 10000"/>
                  <a:gd name="connsiteX2418" fmla="*/ 14 w 10785"/>
                  <a:gd name="connsiteY2418" fmla="*/ 6846 h 10000"/>
                  <a:gd name="connsiteX2419" fmla="*/ 0 w 10785"/>
                  <a:gd name="connsiteY2419" fmla="*/ 6897 h 10000"/>
                  <a:gd name="connsiteX2420" fmla="*/ 0 w 10785"/>
                  <a:gd name="connsiteY2420" fmla="*/ 6915 h 10000"/>
                  <a:gd name="connsiteX2421" fmla="*/ 5 w 10785"/>
                  <a:gd name="connsiteY2421" fmla="*/ 6932 h 10000"/>
                  <a:gd name="connsiteX2422" fmla="*/ 14 w 10785"/>
                  <a:gd name="connsiteY2422" fmla="*/ 6940 h 10000"/>
                  <a:gd name="connsiteX2423" fmla="*/ 18 w 10785"/>
                  <a:gd name="connsiteY2423" fmla="*/ 6957 h 10000"/>
                  <a:gd name="connsiteX2424" fmla="*/ 28 w 10785"/>
                  <a:gd name="connsiteY2424" fmla="*/ 6966 h 10000"/>
                  <a:gd name="connsiteX2425" fmla="*/ 28 w 10785"/>
                  <a:gd name="connsiteY2425" fmla="*/ 6983 h 10000"/>
                  <a:gd name="connsiteX2426" fmla="*/ 18 w 10785"/>
                  <a:gd name="connsiteY2426" fmla="*/ 7051 h 10000"/>
                  <a:gd name="connsiteX2427" fmla="*/ 28 w 10785"/>
                  <a:gd name="connsiteY2427" fmla="*/ 7068 h 10000"/>
                  <a:gd name="connsiteX2428" fmla="*/ 32 w 10785"/>
                  <a:gd name="connsiteY2428" fmla="*/ 7068 h 10000"/>
                  <a:gd name="connsiteX2429" fmla="*/ 32 w 10785"/>
                  <a:gd name="connsiteY2429" fmla="*/ 7094 h 10000"/>
                  <a:gd name="connsiteX2430" fmla="*/ 60 w 10785"/>
                  <a:gd name="connsiteY2430" fmla="*/ 7162 h 10000"/>
                  <a:gd name="connsiteX2431" fmla="*/ 60 w 10785"/>
                  <a:gd name="connsiteY2431" fmla="*/ 7231 h 10000"/>
                  <a:gd name="connsiteX2432" fmla="*/ 60 w 10785"/>
                  <a:gd name="connsiteY2432" fmla="*/ 7239 h 10000"/>
                  <a:gd name="connsiteX2433" fmla="*/ 78 w 10785"/>
                  <a:gd name="connsiteY2433" fmla="*/ 7239 h 10000"/>
                  <a:gd name="connsiteX2434" fmla="*/ 88 w 10785"/>
                  <a:gd name="connsiteY2434" fmla="*/ 7239 h 10000"/>
                  <a:gd name="connsiteX2435" fmla="*/ 92 w 10785"/>
                  <a:gd name="connsiteY2435" fmla="*/ 7256 h 10000"/>
                  <a:gd name="connsiteX2436" fmla="*/ 111 w 10785"/>
                  <a:gd name="connsiteY2436" fmla="*/ 7256 h 10000"/>
                  <a:gd name="connsiteX2437" fmla="*/ 120 w 10785"/>
                  <a:gd name="connsiteY2437" fmla="*/ 7256 h 10000"/>
                  <a:gd name="connsiteX2438" fmla="*/ 134 w 10785"/>
                  <a:gd name="connsiteY2438" fmla="*/ 7282 h 10000"/>
                  <a:gd name="connsiteX2439" fmla="*/ 134 w 10785"/>
                  <a:gd name="connsiteY2439" fmla="*/ 7316 h 10000"/>
                  <a:gd name="connsiteX2440" fmla="*/ 152 w 10785"/>
                  <a:gd name="connsiteY2440" fmla="*/ 7299 h 10000"/>
                  <a:gd name="connsiteX2441" fmla="*/ 161 w 10785"/>
                  <a:gd name="connsiteY2441" fmla="*/ 7299 h 10000"/>
                  <a:gd name="connsiteX2442" fmla="*/ 166 w 10785"/>
                  <a:gd name="connsiteY2442" fmla="*/ 7291 h 10000"/>
                  <a:gd name="connsiteX2443" fmla="*/ 194 w 10785"/>
                  <a:gd name="connsiteY2443" fmla="*/ 7291 h 10000"/>
                  <a:gd name="connsiteX2444" fmla="*/ 207 w 10785"/>
                  <a:gd name="connsiteY2444" fmla="*/ 7299 h 10000"/>
                  <a:gd name="connsiteX2445" fmla="*/ 221 w 10785"/>
                  <a:gd name="connsiteY2445" fmla="*/ 7342 h 10000"/>
                  <a:gd name="connsiteX2446" fmla="*/ 235 w 10785"/>
                  <a:gd name="connsiteY2446" fmla="*/ 7342 h 10000"/>
                  <a:gd name="connsiteX2447" fmla="*/ 235 w 10785"/>
                  <a:gd name="connsiteY2447" fmla="*/ 7368 h 10000"/>
                  <a:gd name="connsiteX2448" fmla="*/ 226 w 10785"/>
                  <a:gd name="connsiteY2448" fmla="*/ 7393 h 10000"/>
                  <a:gd name="connsiteX2449" fmla="*/ 226 w 10785"/>
                  <a:gd name="connsiteY2449" fmla="*/ 7402 h 10000"/>
                  <a:gd name="connsiteX2450" fmla="*/ 235 w 10785"/>
                  <a:gd name="connsiteY2450" fmla="*/ 7419 h 10000"/>
                  <a:gd name="connsiteX2451" fmla="*/ 240 w 10785"/>
                  <a:gd name="connsiteY2451" fmla="*/ 7436 h 10000"/>
                  <a:gd name="connsiteX2452" fmla="*/ 235 w 10785"/>
                  <a:gd name="connsiteY2452" fmla="*/ 7462 h 10000"/>
                  <a:gd name="connsiteX2453" fmla="*/ 226 w 10785"/>
                  <a:gd name="connsiteY2453" fmla="*/ 7479 h 10000"/>
                  <a:gd name="connsiteX2454" fmla="*/ 226 w 10785"/>
                  <a:gd name="connsiteY2454" fmla="*/ 7504 h 10000"/>
                  <a:gd name="connsiteX2455" fmla="*/ 226 w 10785"/>
                  <a:gd name="connsiteY2455" fmla="*/ 7513 h 10000"/>
                  <a:gd name="connsiteX2456" fmla="*/ 240 w 10785"/>
                  <a:gd name="connsiteY2456" fmla="*/ 7538 h 10000"/>
                  <a:gd name="connsiteX2457" fmla="*/ 267 w 10785"/>
                  <a:gd name="connsiteY2457" fmla="*/ 7641 h 10000"/>
                  <a:gd name="connsiteX2458" fmla="*/ 281 w 10785"/>
                  <a:gd name="connsiteY2458" fmla="*/ 7667 h 10000"/>
                  <a:gd name="connsiteX2459" fmla="*/ 286 w 10785"/>
                  <a:gd name="connsiteY2459" fmla="*/ 7675 h 10000"/>
                  <a:gd name="connsiteX2460" fmla="*/ 286 w 10785"/>
                  <a:gd name="connsiteY2460" fmla="*/ 7692 h 10000"/>
                  <a:gd name="connsiteX2461" fmla="*/ 286 w 10785"/>
                  <a:gd name="connsiteY2461" fmla="*/ 7709 h 10000"/>
                  <a:gd name="connsiteX2462" fmla="*/ 295 w 10785"/>
                  <a:gd name="connsiteY2462" fmla="*/ 7726 h 10000"/>
                  <a:gd name="connsiteX2463" fmla="*/ 318 w 10785"/>
                  <a:gd name="connsiteY2463" fmla="*/ 7709 h 10000"/>
                  <a:gd name="connsiteX2464" fmla="*/ 327 w 10785"/>
                  <a:gd name="connsiteY2464" fmla="*/ 7726 h 10000"/>
                  <a:gd name="connsiteX2465" fmla="*/ 341 w 10785"/>
                  <a:gd name="connsiteY2465" fmla="*/ 7735 h 10000"/>
                  <a:gd name="connsiteX2466" fmla="*/ 332 w 10785"/>
                  <a:gd name="connsiteY2466" fmla="*/ 7752 h 10000"/>
                  <a:gd name="connsiteX2467" fmla="*/ 341 w 10785"/>
                  <a:gd name="connsiteY2467" fmla="*/ 7761 h 10000"/>
                  <a:gd name="connsiteX2468" fmla="*/ 355 w 10785"/>
                  <a:gd name="connsiteY2468" fmla="*/ 7761 h 10000"/>
                  <a:gd name="connsiteX2469" fmla="*/ 355 w 10785"/>
                  <a:gd name="connsiteY2469" fmla="*/ 7803 h 10000"/>
                  <a:gd name="connsiteX2470" fmla="*/ 313 w 10785"/>
                  <a:gd name="connsiteY2470" fmla="*/ 7846 h 10000"/>
                  <a:gd name="connsiteX2471" fmla="*/ 295 w 10785"/>
                  <a:gd name="connsiteY2471" fmla="*/ 7846 h 10000"/>
                  <a:gd name="connsiteX2472" fmla="*/ 281 w 10785"/>
                  <a:gd name="connsiteY2472" fmla="*/ 7821 h 10000"/>
                  <a:gd name="connsiteX2473" fmla="*/ 272 w 10785"/>
                  <a:gd name="connsiteY2473" fmla="*/ 7821 h 10000"/>
                  <a:gd name="connsiteX2474" fmla="*/ 267 w 10785"/>
                  <a:gd name="connsiteY2474" fmla="*/ 7838 h 10000"/>
                  <a:gd name="connsiteX2475" fmla="*/ 258 w 10785"/>
                  <a:gd name="connsiteY2475" fmla="*/ 7846 h 10000"/>
                  <a:gd name="connsiteX2476" fmla="*/ 253 w 10785"/>
                  <a:gd name="connsiteY2476" fmla="*/ 7863 h 10000"/>
                  <a:gd name="connsiteX2477" fmla="*/ 253 w 10785"/>
                  <a:gd name="connsiteY2477" fmla="*/ 7872 h 10000"/>
                  <a:gd name="connsiteX2478" fmla="*/ 267 w 10785"/>
                  <a:gd name="connsiteY2478" fmla="*/ 7897 h 10000"/>
                  <a:gd name="connsiteX2479" fmla="*/ 272 w 10785"/>
                  <a:gd name="connsiteY2479" fmla="*/ 7915 h 10000"/>
                  <a:gd name="connsiteX2480" fmla="*/ 267 w 10785"/>
                  <a:gd name="connsiteY2480" fmla="*/ 7940 h 10000"/>
                  <a:gd name="connsiteX2481" fmla="*/ 272 w 10785"/>
                  <a:gd name="connsiteY2481" fmla="*/ 7949 h 10000"/>
                  <a:gd name="connsiteX2482" fmla="*/ 272 w 10785"/>
                  <a:gd name="connsiteY2482" fmla="*/ 7957 h 10000"/>
                  <a:gd name="connsiteX2483" fmla="*/ 281 w 10785"/>
                  <a:gd name="connsiteY2483" fmla="*/ 7974 h 10000"/>
                  <a:gd name="connsiteX2484" fmla="*/ 286 w 10785"/>
                  <a:gd name="connsiteY2484" fmla="*/ 7983 h 10000"/>
                  <a:gd name="connsiteX2485" fmla="*/ 281 w 10785"/>
                  <a:gd name="connsiteY2485" fmla="*/ 8009 h 10000"/>
                  <a:gd name="connsiteX2486" fmla="*/ 286 w 10785"/>
                  <a:gd name="connsiteY2486" fmla="*/ 8060 h 10000"/>
                  <a:gd name="connsiteX2487" fmla="*/ 286 w 10785"/>
                  <a:gd name="connsiteY2487" fmla="*/ 8060 h 10000"/>
                  <a:gd name="connsiteX2488" fmla="*/ 295 w 10785"/>
                  <a:gd name="connsiteY2488" fmla="*/ 8077 h 10000"/>
                  <a:gd name="connsiteX2489" fmla="*/ 309 w 10785"/>
                  <a:gd name="connsiteY2489" fmla="*/ 8077 h 10000"/>
                  <a:gd name="connsiteX2490" fmla="*/ 313 w 10785"/>
                  <a:gd name="connsiteY2490" fmla="*/ 8060 h 10000"/>
                  <a:gd name="connsiteX2491" fmla="*/ 318 w 10785"/>
                  <a:gd name="connsiteY2491" fmla="*/ 8051 h 10000"/>
                  <a:gd name="connsiteX2492" fmla="*/ 318 w 10785"/>
                  <a:gd name="connsiteY2492" fmla="*/ 8034 h 10000"/>
                  <a:gd name="connsiteX2493" fmla="*/ 332 w 10785"/>
                  <a:gd name="connsiteY2493" fmla="*/ 8026 h 10000"/>
                  <a:gd name="connsiteX2494" fmla="*/ 359 w 10785"/>
                  <a:gd name="connsiteY2494" fmla="*/ 8034 h 10000"/>
                  <a:gd name="connsiteX2495" fmla="*/ 378 w 10785"/>
                  <a:gd name="connsiteY2495" fmla="*/ 8026 h 10000"/>
                  <a:gd name="connsiteX2496" fmla="*/ 401 w 10785"/>
                  <a:gd name="connsiteY2496" fmla="*/ 8026 h 10000"/>
                  <a:gd name="connsiteX2497" fmla="*/ 419 w 10785"/>
                  <a:gd name="connsiteY2497" fmla="*/ 8009 h 10000"/>
                  <a:gd name="connsiteX2498" fmla="*/ 433 w 10785"/>
                  <a:gd name="connsiteY2498" fmla="*/ 8034 h 10000"/>
                  <a:gd name="connsiteX2499" fmla="*/ 442 w 10785"/>
                  <a:gd name="connsiteY2499" fmla="*/ 8060 h 10000"/>
                  <a:gd name="connsiteX2500" fmla="*/ 442 w 10785"/>
                  <a:gd name="connsiteY2500" fmla="*/ 8077 h 10000"/>
                  <a:gd name="connsiteX2501" fmla="*/ 461 w 10785"/>
                  <a:gd name="connsiteY2501" fmla="*/ 8111 h 10000"/>
                  <a:gd name="connsiteX2502" fmla="*/ 461 w 10785"/>
                  <a:gd name="connsiteY2502" fmla="*/ 8137 h 10000"/>
                  <a:gd name="connsiteX2503" fmla="*/ 447 w 10785"/>
                  <a:gd name="connsiteY2503" fmla="*/ 8145 h 10000"/>
                  <a:gd name="connsiteX2504" fmla="*/ 442 w 10785"/>
                  <a:gd name="connsiteY2504" fmla="*/ 8145 h 10000"/>
                  <a:gd name="connsiteX2505" fmla="*/ 442 w 10785"/>
                  <a:gd name="connsiteY2505" fmla="*/ 8162 h 10000"/>
                  <a:gd name="connsiteX2506" fmla="*/ 442 w 10785"/>
                  <a:gd name="connsiteY2506" fmla="*/ 8171 h 10000"/>
                  <a:gd name="connsiteX2507" fmla="*/ 447 w 10785"/>
                  <a:gd name="connsiteY2507" fmla="*/ 8214 h 10000"/>
                  <a:gd name="connsiteX2508" fmla="*/ 465 w 10785"/>
                  <a:gd name="connsiteY2508" fmla="*/ 8231 h 10000"/>
                  <a:gd name="connsiteX2509" fmla="*/ 488 w 10785"/>
                  <a:gd name="connsiteY2509" fmla="*/ 8231 h 10000"/>
                  <a:gd name="connsiteX2510" fmla="*/ 493 w 10785"/>
                  <a:gd name="connsiteY2510" fmla="*/ 8231 h 10000"/>
                  <a:gd name="connsiteX2511" fmla="*/ 502 w 10785"/>
                  <a:gd name="connsiteY2511" fmla="*/ 8231 h 10000"/>
                  <a:gd name="connsiteX2512" fmla="*/ 507 w 10785"/>
                  <a:gd name="connsiteY2512" fmla="*/ 8248 h 10000"/>
                  <a:gd name="connsiteX2513" fmla="*/ 521 w 10785"/>
                  <a:gd name="connsiteY2513" fmla="*/ 8274 h 10000"/>
                  <a:gd name="connsiteX2514" fmla="*/ 525 w 10785"/>
                  <a:gd name="connsiteY2514" fmla="*/ 8333 h 10000"/>
                  <a:gd name="connsiteX2515" fmla="*/ 525 w 10785"/>
                  <a:gd name="connsiteY2515" fmla="*/ 8359 h 10000"/>
                  <a:gd name="connsiteX2516" fmla="*/ 525 w 10785"/>
                  <a:gd name="connsiteY2516" fmla="*/ 8368 h 10000"/>
                  <a:gd name="connsiteX2517" fmla="*/ 548 w 10785"/>
                  <a:gd name="connsiteY2517" fmla="*/ 8393 h 10000"/>
                  <a:gd name="connsiteX2518" fmla="*/ 553 w 10785"/>
                  <a:gd name="connsiteY2518" fmla="*/ 8385 h 10000"/>
                  <a:gd name="connsiteX2519" fmla="*/ 562 w 10785"/>
                  <a:gd name="connsiteY2519" fmla="*/ 8385 h 10000"/>
                  <a:gd name="connsiteX2520" fmla="*/ 576 w 10785"/>
                  <a:gd name="connsiteY2520" fmla="*/ 8385 h 10000"/>
                  <a:gd name="connsiteX2521" fmla="*/ 585 w 10785"/>
                  <a:gd name="connsiteY2521" fmla="*/ 8410 h 10000"/>
                  <a:gd name="connsiteX2522" fmla="*/ 594 w 10785"/>
                  <a:gd name="connsiteY2522" fmla="*/ 8410 h 10000"/>
                  <a:gd name="connsiteX2523" fmla="*/ 608 w 10785"/>
                  <a:gd name="connsiteY2523" fmla="*/ 8410 h 10000"/>
                  <a:gd name="connsiteX2524" fmla="*/ 654 w 10785"/>
                  <a:gd name="connsiteY2524" fmla="*/ 8385 h 10000"/>
                  <a:gd name="connsiteX2525" fmla="*/ 659 w 10785"/>
                  <a:gd name="connsiteY2525" fmla="*/ 8385 h 10000"/>
                  <a:gd name="connsiteX2526" fmla="*/ 696 w 10785"/>
                  <a:gd name="connsiteY2526" fmla="*/ 8470 h 10000"/>
                  <a:gd name="connsiteX2527" fmla="*/ 700 w 10785"/>
                  <a:gd name="connsiteY2527" fmla="*/ 8470 h 10000"/>
                  <a:gd name="connsiteX2528" fmla="*/ 710 w 10785"/>
                  <a:gd name="connsiteY2528" fmla="*/ 8462 h 10000"/>
                  <a:gd name="connsiteX2529" fmla="*/ 714 w 10785"/>
                  <a:gd name="connsiteY2529" fmla="*/ 8462 h 10000"/>
                  <a:gd name="connsiteX2530" fmla="*/ 724 w 10785"/>
                  <a:gd name="connsiteY2530" fmla="*/ 8470 h 10000"/>
                  <a:gd name="connsiteX2531" fmla="*/ 733 w 10785"/>
                  <a:gd name="connsiteY2531" fmla="*/ 8470 h 10000"/>
                  <a:gd name="connsiteX2532" fmla="*/ 742 w 10785"/>
                  <a:gd name="connsiteY2532" fmla="*/ 8487 h 10000"/>
                  <a:gd name="connsiteX2533" fmla="*/ 747 w 10785"/>
                  <a:gd name="connsiteY2533" fmla="*/ 8496 h 10000"/>
                  <a:gd name="connsiteX2534" fmla="*/ 770 w 10785"/>
                  <a:gd name="connsiteY2534" fmla="*/ 8496 h 10000"/>
                  <a:gd name="connsiteX2535" fmla="*/ 783 w 10785"/>
                  <a:gd name="connsiteY2535" fmla="*/ 8521 h 10000"/>
                  <a:gd name="connsiteX2536" fmla="*/ 797 w 10785"/>
                  <a:gd name="connsiteY2536" fmla="*/ 8521 h 10000"/>
                  <a:gd name="connsiteX2537" fmla="*/ 806 w 10785"/>
                  <a:gd name="connsiteY2537" fmla="*/ 8530 h 10000"/>
                  <a:gd name="connsiteX2538" fmla="*/ 829 w 10785"/>
                  <a:gd name="connsiteY2538" fmla="*/ 8547 h 10000"/>
                  <a:gd name="connsiteX2539" fmla="*/ 834 w 10785"/>
                  <a:gd name="connsiteY2539" fmla="*/ 8556 h 10000"/>
                  <a:gd name="connsiteX2540" fmla="*/ 829 w 10785"/>
                  <a:gd name="connsiteY2540" fmla="*/ 8556 h 10000"/>
                  <a:gd name="connsiteX2541" fmla="*/ 834 w 10785"/>
                  <a:gd name="connsiteY2541" fmla="*/ 8607 h 10000"/>
                  <a:gd name="connsiteX2542" fmla="*/ 829 w 10785"/>
                  <a:gd name="connsiteY2542" fmla="*/ 8641 h 10000"/>
                  <a:gd name="connsiteX2543" fmla="*/ 806 w 10785"/>
                  <a:gd name="connsiteY2543" fmla="*/ 8658 h 10000"/>
                  <a:gd name="connsiteX2544" fmla="*/ 816 w 10785"/>
                  <a:gd name="connsiteY2544" fmla="*/ 8667 h 10000"/>
                  <a:gd name="connsiteX2545" fmla="*/ 820 w 10785"/>
                  <a:gd name="connsiteY2545" fmla="*/ 8667 h 10000"/>
                  <a:gd name="connsiteX2546" fmla="*/ 829 w 10785"/>
                  <a:gd name="connsiteY2546" fmla="*/ 8684 h 10000"/>
                  <a:gd name="connsiteX2547" fmla="*/ 806 w 10785"/>
                  <a:gd name="connsiteY2547" fmla="*/ 8692 h 10000"/>
                  <a:gd name="connsiteX2548" fmla="*/ 802 w 10785"/>
                  <a:gd name="connsiteY2548" fmla="*/ 8709 h 10000"/>
                  <a:gd name="connsiteX2549" fmla="*/ 802 w 10785"/>
                  <a:gd name="connsiteY2549" fmla="*/ 8735 h 10000"/>
                  <a:gd name="connsiteX2550" fmla="*/ 806 w 10785"/>
                  <a:gd name="connsiteY2550" fmla="*/ 8744 h 10000"/>
                  <a:gd name="connsiteX2551" fmla="*/ 816 w 10785"/>
                  <a:gd name="connsiteY2551" fmla="*/ 8752 h 10000"/>
                  <a:gd name="connsiteX2552" fmla="*/ 806 w 10785"/>
                  <a:gd name="connsiteY2552" fmla="*/ 8778 h 10000"/>
                  <a:gd name="connsiteX2553" fmla="*/ 820 w 10785"/>
                  <a:gd name="connsiteY2553" fmla="*/ 8778 h 10000"/>
                  <a:gd name="connsiteX2554" fmla="*/ 806 w 10785"/>
                  <a:gd name="connsiteY2554" fmla="*/ 8880 h 10000"/>
                  <a:gd name="connsiteX2555" fmla="*/ 797 w 10785"/>
                  <a:gd name="connsiteY2555" fmla="*/ 8880 h 10000"/>
                  <a:gd name="connsiteX2556" fmla="*/ 783 w 10785"/>
                  <a:gd name="connsiteY2556" fmla="*/ 8872 h 10000"/>
                  <a:gd name="connsiteX2557" fmla="*/ 770 w 10785"/>
                  <a:gd name="connsiteY2557" fmla="*/ 8880 h 10000"/>
                  <a:gd name="connsiteX2558" fmla="*/ 756 w 10785"/>
                  <a:gd name="connsiteY2558" fmla="*/ 8855 h 10000"/>
                  <a:gd name="connsiteX2559" fmla="*/ 733 w 10785"/>
                  <a:gd name="connsiteY2559" fmla="*/ 8906 h 10000"/>
                  <a:gd name="connsiteX2560" fmla="*/ 714 w 10785"/>
                  <a:gd name="connsiteY2560" fmla="*/ 8915 h 10000"/>
                  <a:gd name="connsiteX2561" fmla="*/ 710 w 10785"/>
                  <a:gd name="connsiteY2561" fmla="*/ 8940 h 10000"/>
                  <a:gd name="connsiteX2562" fmla="*/ 710 w 10785"/>
                  <a:gd name="connsiteY2562" fmla="*/ 9009 h 10000"/>
                  <a:gd name="connsiteX2563" fmla="*/ 728 w 10785"/>
                  <a:gd name="connsiteY2563" fmla="*/ 8991 h 10000"/>
                  <a:gd name="connsiteX2564" fmla="*/ 733 w 10785"/>
                  <a:gd name="connsiteY2564" fmla="*/ 8991 h 10000"/>
                  <a:gd name="connsiteX2565" fmla="*/ 747 w 10785"/>
                  <a:gd name="connsiteY2565" fmla="*/ 8983 h 10000"/>
                  <a:gd name="connsiteX2566" fmla="*/ 760 w 10785"/>
                  <a:gd name="connsiteY2566" fmla="*/ 8983 h 10000"/>
                  <a:gd name="connsiteX2567" fmla="*/ 770 w 10785"/>
                  <a:gd name="connsiteY2567" fmla="*/ 8983 h 10000"/>
                  <a:gd name="connsiteX2568" fmla="*/ 770 w 10785"/>
                  <a:gd name="connsiteY2568" fmla="*/ 8991 h 10000"/>
                  <a:gd name="connsiteX2569" fmla="*/ 783 w 10785"/>
                  <a:gd name="connsiteY2569" fmla="*/ 8991 h 10000"/>
                  <a:gd name="connsiteX2570" fmla="*/ 783 w 10785"/>
                  <a:gd name="connsiteY2570" fmla="*/ 9009 h 10000"/>
                  <a:gd name="connsiteX2571" fmla="*/ 783 w 10785"/>
                  <a:gd name="connsiteY2571" fmla="*/ 9017 h 10000"/>
                  <a:gd name="connsiteX2572" fmla="*/ 770 w 10785"/>
                  <a:gd name="connsiteY2572" fmla="*/ 9017 h 10000"/>
                  <a:gd name="connsiteX2573" fmla="*/ 724 w 10785"/>
                  <a:gd name="connsiteY2573" fmla="*/ 9051 h 10000"/>
                  <a:gd name="connsiteX2574" fmla="*/ 724 w 10785"/>
                  <a:gd name="connsiteY2574" fmla="*/ 9068 h 10000"/>
                  <a:gd name="connsiteX2575" fmla="*/ 728 w 10785"/>
                  <a:gd name="connsiteY2575" fmla="*/ 9077 h 10000"/>
                  <a:gd name="connsiteX2576" fmla="*/ 724 w 10785"/>
                  <a:gd name="connsiteY2576" fmla="*/ 9077 h 10000"/>
                  <a:gd name="connsiteX2577" fmla="*/ 710 w 10785"/>
                  <a:gd name="connsiteY2577" fmla="*/ 9077 h 10000"/>
                  <a:gd name="connsiteX2578" fmla="*/ 682 w 10785"/>
                  <a:gd name="connsiteY2578" fmla="*/ 9077 h 10000"/>
                  <a:gd name="connsiteX2579" fmla="*/ 673 w 10785"/>
                  <a:gd name="connsiteY2579" fmla="*/ 9103 h 10000"/>
                  <a:gd name="connsiteX2580" fmla="*/ 687 w 10785"/>
                  <a:gd name="connsiteY2580" fmla="*/ 9128 h 10000"/>
                  <a:gd name="connsiteX2581" fmla="*/ 700 w 10785"/>
                  <a:gd name="connsiteY2581" fmla="*/ 9128 h 10000"/>
                  <a:gd name="connsiteX2582" fmla="*/ 728 w 10785"/>
                  <a:gd name="connsiteY2582" fmla="*/ 9179 h 10000"/>
                  <a:gd name="connsiteX2583" fmla="*/ 724 w 10785"/>
                  <a:gd name="connsiteY2583" fmla="*/ 9188 h 10000"/>
                  <a:gd name="connsiteX2584" fmla="*/ 710 w 10785"/>
                  <a:gd name="connsiteY2584" fmla="*/ 9179 h 10000"/>
                  <a:gd name="connsiteX2585" fmla="*/ 700 w 10785"/>
                  <a:gd name="connsiteY2585" fmla="*/ 9205 h 10000"/>
                  <a:gd name="connsiteX2586" fmla="*/ 696 w 10785"/>
                  <a:gd name="connsiteY2586" fmla="*/ 9205 h 10000"/>
                  <a:gd name="connsiteX2587" fmla="*/ 654 w 10785"/>
                  <a:gd name="connsiteY2587" fmla="*/ 9299 h 10000"/>
                  <a:gd name="connsiteX2588" fmla="*/ 622 w 10785"/>
                  <a:gd name="connsiteY2588" fmla="*/ 9299 h 10000"/>
                  <a:gd name="connsiteX2589" fmla="*/ 613 w 10785"/>
                  <a:gd name="connsiteY2589" fmla="*/ 9316 h 10000"/>
                  <a:gd name="connsiteX2590" fmla="*/ 613 w 10785"/>
                  <a:gd name="connsiteY2590" fmla="*/ 9325 h 10000"/>
                  <a:gd name="connsiteX2591" fmla="*/ 608 w 10785"/>
                  <a:gd name="connsiteY2591" fmla="*/ 9342 h 10000"/>
                  <a:gd name="connsiteX2592" fmla="*/ 636 w 10785"/>
                  <a:gd name="connsiteY2592" fmla="*/ 9376 h 10000"/>
                  <a:gd name="connsiteX2593" fmla="*/ 641 w 10785"/>
                  <a:gd name="connsiteY2593" fmla="*/ 9402 h 10000"/>
                  <a:gd name="connsiteX2594" fmla="*/ 654 w 10785"/>
                  <a:gd name="connsiteY2594" fmla="*/ 9427 h 10000"/>
                  <a:gd name="connsiteX2595" fmla="*/ 668 w 10785"/>
                  <a:gd name="connsiteY2595" fmla="*/ 9427 h 10000"/>
                  <a:gd name="connsiteX2596" fmla="*/ 668 w 10785"/>
                  <a:gd name="connsiteY2596" fmla="*/ 9427 h 10000"/>
                  <a:gd name="connsiteX2597" fmla="*/ 774 w 10785"/>
                  <a:gd name="connsiteY2597" fmla="*/ 9547 h 10000"/>
                  <a:gd name="connsiteX2598" fmla="*/ 797 w 10785"/>
                  <a:gd name="connsiteY2598" fmla="*/ 9598 h 10000"/>
                  <a:gd name="connsiteX2599" fmla="*/ 802 w 10785"/>
                  <a:gd name="connsiteY2599" fmla="*/ 9598 h 10000"/>
                  <a:gd name="connsiteX2600" fmla="*/ 816 w 10785"/>
                  <a:gd name="connsiteY2600" fmla="*/ 9624 h 10000"/>
                  <a:gd name="connsiteX2601" fmla="*/ 843 w 10785"/>
                  <a:gd name="connsiteY2601" fmla="*/ 9615 h 10000"/>
                  <a:gd name="connsiteX2602" fmla="*/ 857 w 10785"/>
                  <a:gd name="connsiteY2602" fmla="*/ 9624 h 10000"/>
                  <a:gd name="connsiteX2603" fmla="*/ 862 w 10785"/>
                  <a:gd name="connsiteY2603" fmla="*/ 9615 h 10000"/>
                  <a:gd name="connsiteX2604" fmla="*/ 880 w 10785"/>
                  <a:gd name="connsiteY2604" fmla="*/ 9624 h 10000"/>
                  <a:gd name="connsiteX2605" fmla="*/ 889 w 10785"/>
                  <a:gd name="connsiteY2605" fmla="*/ 9641 h 10000"/>
                  <a:gd name="connsiteX2606" fmla="*/ 935 w 10785"/>
                  <a:gd name="connsiteY2606" fmla="*/ 9675 h 10000"/>
                  <a:gd name="connsiteX2607" fmla="*/ 977 w 10785"/>
                  <a:gd name="connsiteY2607" fmla="*/ 9667 h 10000"/>
                  <a:gd name="connsiteX2608" fmla="*/ 995 w 10785"/>
                  <a:gd name="connsiteY2608" fmla="*/ 9675 h 10000"/>
                  <a:gd name="connsiteX2609" fmla="*/ 1014 w 10785"/>
                  <a:gd name="connsiteY2609" fmla="*/ 9675 h 10000"/>
                  <a:gd name="connsiteX2610" fmla="*/ 1069 w 10785"/>
                  <a:gd name="connsiteY2610" fmla="*/ 9752 h 10000"/>
                  <a:gd name="connsiteX2611" fmla="*/ 1074 w 10785"/>
                  <a:gd name="connsiteY2611" fmla="*/ 9761 h 10000"/>
                  <a:gd name="connsiteX2612" fmla="*/ 1083 w 10785"/>
                  <a:gd name="connsiteY2612" fmla="*/ 9778 h 10000"/>
                  <a:gd name="connsiteX2613" fmla="*/ 1115 w 10785"/>
                  <a:gd name="connsiteY2613" fmla="*/ 9752 h 10000"/>
                  <a:gd name="connsiteX2614" fmla="*/ 1129 w 10785"/>
                  <a:gd name="connsiteY2614" fmla="*/ 9752 h 10000"/>
                  <a:gd name="connsiteX2615" fmla="*/ 1138 w 10785"/>
                  <a:gd name="connsiteY2615" fmla="*/ 9761 h 10000"/>
                  <a:gd name="connsiteX2616" fmla="*/ 1143 w 10785"/>
                  <a:gd name="connsiteY2616" fmla="*/ 9752 h 10000"/>
                  <a:gd name="connsiteX2617" fmla="*/ 1161 w 10785"/>
                  <a:gd name="connsiteY2617" fmla="*/ 9761 h 10000"/>
                  <a:gd name="connsiteX2618" fmla="*/ 1171 w 10785"/>
                  <a:gd name="connsiteY2618" fmla="*/ 9778 h 10000"/>
                  <a:gd name="connsiteX2619" fmla="*/ 1175 w 10785"/>
                  <a:gd name="connsiteY2619" fmla="*/ 9778 h 10000"/>
                  <a:gd name="connsiteX2620" fmla="*/ 1189 w 10785"/>
                  <a:gd name="connsiteY2620" fmla="*/ 9778 h 10000"/>
                  <a:gd name="connsiteX2621" fmla="*/ 1198 w 10785"/>
                  <a:gd name="connsiteY2621" fmla="*/ 9786 h 10000"/>
                  <a:gd name="connsiteX2622" fmla="*/ 1203 w 10785"/>
                  <a:gd name="connsiteY2622" fmla="*/ 9803 h 10000"/>
                  <a:gd name="connsiteX2623" fmla="*/ 1198 w 10785"/>
                  <a:gd name="connsiteY2623" fmla="*/ 9838 h 10000"/>
                  <a:gd name="connsiteX2624" fmla="*/ 1212 w 10785"/>
                  <a:gd name="connsiteY2624" fmla="*/ 9863 h 10000"/>
                  <a:gd name="connsiteX2625" fmla="*/ 1230 w 10785"/>
                  <a:gd name="connsiteY2625" fmla="*/ 9872 h 10000"/>
                  <a:gd name="connsiteX2626" fmla="*/ 1249 w 10785"/>
                  <a:gd name="connsiteY2626" fmla="*/ 9897 h 10000"/>
                  <a:gd name="connsiteX2627" fmla="*/ 1263 w 10785"/>
                  <a:gd name="connsiteY2627" fmla="*/ 9897 h 10000"/>
                  <a:gd name="connsiteX2628" fmla="*/ 1276 w 10785"/>
                  <a:gd name="connsiteY2628" fmla="*/ 9923 h 10000"/>
                  <a:gd name="connsiteX2629" fmla="*/ 1281 w 10785"/>
                  <a:gd name="connsiteY2629" fmla="*/ 9949 h 10000"/>
                  <a:gd name="connsiteX2630" fmla="*/ 1290 w 10785"/>
                  <a:gd name="connsiteY2630" fmla="*/ 9949 h 10000"/>
                  <a:gd name="connsiteX2631" fmla="*/ 1295 w 10785"/>
                  <a:gd name="connsiteY2631" fmla="*/ 10000 h 10000"/>
                  <a:gd name="connsiteX2632" fmla="*/ 1332 w 10785"/>
                  <a:gd name="connsiteY2632" fmla="*/ 10000 h 10000"/>
                  <a:gd name="connsiteX2633" fmla="*/ 1336 w 10785"/>
                  <a:gd name="connsiteY2633" fmla="*/ 10000 h 10000"/>
                  <a:gd name="connsiteX2634" fmla="*/ 1346 w 10785"/>
                  <a:gd name="connsiteY2634" fmla="*/ 9983 h 10000"/>
                  <a:gd name="connsiteX2635" fmla="*/ 1350 w 10785"/>
                  <a:gd name="connsiteY2635" fmla="*/ 9949 h 10000"/>
                  <a:gd name="connsiteX2636" fmla="*/ 1369 w 10785"/>
                  <a:gd name="connsiteY2636" fmla="*/ 9940 h 10000"/>
                  <a:gd name="connsiteX2637" fmla="*/ 1378 w 10785"/>
                  <a:gd name="connsiteY2637" fmla="*/ 9897 h 10000"/>
                  <a:gd name="connsiteX2638" fmla="*/ 1369 w 10785"/>
                  <a:gd name="connsiteY2638" fmla="*/ 9889 h 10000"/>
                  <a:gd name="connsiteX2639" fmla="*/ 1318 w 10785"/>
                  <a:gd name="connsiteY2639" fmla="*/ 9701 h 10000"/>
                  <a:gd name="connsiteX2640" fmla="*/ 1318 w 10785"/>
                  <a:gd name="connsiteY2640" fmla="*/ 9650 h 10000"/>
                  <a:gd name="connsiteX2641" fmla="*/ 1323 w 10785"/>
                  <a:gd name="connsiteY2641" fmla="*/ 9590 h 10000"/>
                  <a:gd name="connsiteX2642" fmla="*/ 1323 w 10785"/>
                  <a:gd name="connsiteY2642" fmla="*/ 9564 h 10000"/>
                  <a:gd name="connsiteX2643" fmla="*/ 1309 w 10785"/>
                  <a:gd name="connsiteY2643" fmla="*/ 9598 h 10000"/>
                  <a:gd name="connsiteX2644" fmla="*/ 1309 w 10785"/>
                  <a:gd name="connsiteY2644" fmla="*/ 9590 h 10000"/>
                  <a:gd name="connsiteX2645" fmla="*/ 1304 w 10785"/>
                  <a:gd name="connsiteY2645" fmla="*/ 9547 h 10000"/>
                  <a:gd name="connsiteX2646" fmla="*/ 1276 w 10785"/>
                  <a:gd name="connsiteY2646" fmla="*/ 9479 h 10000"/>
                  <a:gd name="connsiteX2647" fmla="*/ 1263 w 10785"/>
                  <a:gd name="connsiteY2647" fmla="*/ 9479 h 10000"/>
                  <a:gd name="connsiteX2648" fmla="*/ 1263 w 10785"/>
                  <a:gd name="connsiteY2648" fmla="*/ 9453 h 10000"/>
                  <a:gd name="connsiteX2649" fmla="*/ 1272 w 10785"/>
                  <a:gd name="connsiteY2649" fmla="*/ 9410 h 10000"/>
                  <a:gd name="connsiteX2650" fmla="*/ 1272 w 10785"/>
                  <a:gd name="connsiteY2650" fmla="*/ 9393 h 10000"/>
                  <a:gd name="connsiteX2651" fmla="*/ 1281 w 10785"/>
                  <a:gd name="connsiteY2651" fmla="*/ 9368 h 10000"/>
                  <a:gd name="connsiteX2652" fmla="*/ 1281 w 10785"/>
                  <a:gd name="connsiteY2652" fmla="*/ 9368 h 10000"/>
                  <a:gd name="connsiteX2653" fmla="*/ 1290 w 10785"/>
                  <a:gd name="connsiteY2653" fmla="*/ 9368 h 10000"/>
                  <a:gd name="connsiteX2654" fmla="*/ 1290 w 10785"/>
                  <a:gd name="connsiteY2654" fmla="*/ 9342 h 10000"/>
                  <a:gd name="connsiteX2655" fmla="*/ 1304 w 10785"/>
                  <a:gd name="connsiteY2655" fmla="*/ 9325 h 10000"/>
                  <a:gd name="connsiteX2656" fmla="*/ 1309 w 10785"/>
                  <a:gd name="connsiteY2656" fmla="*/ 9239 h 10000"/>
                  <a:gd name="connsiteX2657" fmla="*/ 1318 w 10785"/>
                  <a:gd name="connsiteY2657" fmla="*/ 9256 h 10000"/>
                  <a:gd name="connsiteX2658" fmla="*/ 1323 w 10785"/>
                  <a:gd name="connsiteY2658" fmla="*/ 9179 h 10000"/>
                  <a:gd name="connsiteX2659" fmla="*/ 1309 w 10785"/>
                  <a:gd name="connsiteY2659" fmla="*/ 9145 h 10000"/>
                  <a:gd name="connsiteX2660" fmla="*/ 1336 w 10785"/>
                  <a:gd name="connsiteY2660" fmla="*/ 9154 h 10000"/>
                  <a:gd name="connsiteX2661" fmla="*/ 1336 w 10785"/>
                  <a:gd name="connsiteY2661" fmla="*/ 9162 h 10000"/>
                  <a:gd name="connsiteX2662" fmla="*/ 1350 w 10785"/>
                  <a:gd name="connsiteY2662" fmla="*/ 9231 h 10000"/>
                  <a:gd name="connsiteX2663" fmla="*/ 1355 w 10785"/>
                  <a:gd name="connsiteY2663" fmla="*/ 9231 h 10000"/>
                  <a:gd name="connsiteX2664" fmla="*/ 1364 w 10785"/>
                  <a:gd name="connsiteY2664" fmla="*/ 9214 h 10000"/>
                  <a:gd name="connsiteX2665" fmla="*/ 1369 w 10785"/>
                  <a:gd name="connsiteY2665" fmla="*/ 9214 h 10000"/>
                  <a:gd name="connsiteX2666" fmla="*/ 1382 w 10785"/>
                  <a:gd name="connsiteY2666" fmla="*/ 9154 h 10000"/>
                  <a:gd name="connsiteX2667" fmla="*/ 1396 w 10785"/>
                  <a:gd name="connsiteY2667" fmla="*/ 9154 h 10000"/>
                  <a:gd name="connsiteX2668" fmla="*/ 1382 w 10785"/>
                  <a:gd name="connsiteY2668" fmla="*/ 9145 h 10000"/>
                  <a:gd name="connsiteX2669" fmla="*/ 1382 w 10785"/>
                  <a:gd name="connsiteY2669" fmla="*/ 9128 h 10000"/>
                  <a:gd name="connsiteX2670" fmla="*/ 1369 w 10785"/>
                  <a:gd name="connsiteY2670" fmla="*/ 9128 h 10000"/>
                  <a:gd name="connsiteX2671" fmla="*/ 1364 w 10785"/>
                  <a:gd name="connsiteY2671" fmla="*/ 9128 h 10000"/>
                  <a:gd name="connsiteX2672" fmla="*/ 1355 w 10785"/>
                  <a:gd name="connsiteY2672" fmla="*/ 9120 h 10000"/>
                  <a:gd name="connsiteX2673" fmla="*/ 1350 w 10785"/>
                  <a:gd name="connsiteY2673" fmla="*/ 9103 h 10000"/>
                  <a:gd name="connsiteX2674" fmla="*/ 1355 w 10785"/>
                  <a:gd name="connsiteY2674" fmla="*/ 9094 h 10000"/>
                  <a:gd name="connsiteX2675" fmla="*/ 1355 w 10785"/>
                  <a:gd name="connsiteY2675" fmla="*/ 9068 h 10000"/>
                  <a:gd name="connsiteX2676" fmla="*/ 1369 w 10785"/>
                  <a:gd name="connsiteY2676" fmla="*/ 9068 h 10000"/>
                  <a:gd name="connsiteX2677" fmla="*/ 1378 w 10785"/>
                  <a:gd name="connsiteY2677" fmla="*/ 9077 h 10000"/>
                  <a:gd name="connsiteX2678" fmla="*/ 1396 w 10785"/>
                  <a:gd name="connsiteY2678" fmla="*/ 9068 h 10000"/>
                  <a:gd name="connsiteX2679" fmla="*/ 1382 w 10785"/>
                  <a:gd name="connsiteY2679" fmla="*/ 8940 h 10000"/>
                  <a:gd name="connsiteX2680" fmla="*/ 1378 w 10785"/>
                  <a:gd name="connsiteY2680" fmla="*/ 8940 h 10000"/>
                  <a:gd name="connsiteX2681" fmla="*/ 1364 w 10785"/>
                  <a:gd name="connsiteY2681" fmla="*/ 8889 h 10000"/>
                  <a:gd name="connsiteX2682" fmla="*/ 1355 w 10785"/>
                  <a:gd name="connsiteY2682" fmla="*/ 8880 h 10000"/>
                  <a:gd name="connsiteX2683" fmla="*/ 1323 w 10785"/>
                  <a:gd name="connsiteY2683" fmla="*/ 8880 h 10000"/>
                  <a:gd name="connsiteX2684" fmla="*/ 1309 w 10785"/>
                  <a:gd name="connsiteY2684" fmla="*/ 8880 h 10000"/>
                  <a:gd name="connsiteX2685" fmla="*/ 1309 w 10785"/>
                  <a:gd name="connsiteY2685" fmla="*/ 8889 h 10000"/>
                  <a:gd name="connsiteX2686" fmla="*/ 1295 w 10785"/>
                  <a:gd name="connsiteY2686" fmla="*/ 8872 h 10000"/>
                  <a:gd name="connsiteX2687" fmla="*/ 1290 w 10785"/>
                  <a:gd name="connsiteY2687" fmla="*/ 8855 h 10000"/>
                  <a:gd name="connsiteX2688" fmla="*/ 1290 w 10785"/>
                  <a:gd name="connsiteY2688" fmla="*/ 8829 h 10000"/>
                  <a:gd name="connsiteX2689" fmla="*/ 1290 w 10785"/>
                  <a:gd name="connsiteY2689" fmla="*/ 8821 h 10000"/>
                  <a:gd name="connsiteX2690" fmla="*/ 1290 w 10785"/>
                  <a:gd name="connsiteY2690" fmla="*/ 8803 h 10000"/>
                  <a:gd name="connsiteX2691" fmla="*/ 1281 w 10785"/>
                  <a:gd name="connsiteY2691" fmla="*/ 8795 h 10000"/>
                  <a:gd name="connsiteX2692" fmla="*/ 1249 w 10785"/>
                  <a:gd name="connsiteY2692" fmla="*/ 8769 h 10000"/>
                  <a:gd name="connsiteX2693" fmla="*/ 1263 w 10785"/>
                  <a:gd name="connsiteY2693" fmla="*/ 8667 h 10000"/>
                  <a:gd name="connsiteX2694" fmla="*/ 1281 w 10785"/>
                  <a:gd name="connsiteY2694" fmla="*/ 8658 h 10000"/>
                  <a:gd name="connsiteX2695" fmla="*/ 1290 w 10785"/>
                  <a:gd name="connsiteY2695" fmla="*/ 8632 h 10000"/>
                  <a:gd name="connsiteX2696" fmla="*/ 1281 w 10785"/>
                  <a:gd name="connsiteY2696" fmla="*/ 8615 h 10000"/>
                  <a:gd name="connsiteX2697" fmla="*/ 1272 w 10785"/>
                  <a:gd name="connsiteY2697" fmla="*/ 8598 h 10000"/>
                  <a:gd name="connsiteX2698" fmla="*/ 1281 w 10785"/>
                  <a:gd name="connsiteY2698" fmla="*/ 8496 h 10000"/>
                  <a:gd name="connsiteX2699" fmla="*/ 1295 w 10785"/>
                  <a:gd name="connsiteY2699" fmla="*/ 8470 h 10000"/>
                  <a:gd name="connsiteX2700" fmla="*/ 1304 w 10785"/>
                  <a:gd name="connsiteY2700" fmla="*/ 8462 h 10000"/>
                  <a:gd name="connsiteX2701" fmla="*/ 1304 w 10785"/>
                  <a:gd name="connsiteY2701" fmla="*/ 8444 h 10000"/>
                  <a:gd name="connsiteX2702" fmla="*/ 1304 w 10785"/>
                  <a:gd name="connsiteY2702" fmla="*/ 8419 h 10000"/>
                  <a:gd name="connsiteX2703" fmla="*/ 1304 w 10785"/>
                  <a:gd name="connsiteY2703" fmla="*/ 8410 h 10000"/>
                  <a:gd name="connsiteX2704" fmla="*/ 1309 w 10785"/>
                  <a:gd name="connsiteY2704" fmla="*/ 8393 h 10000"/>
                  <a:gd name="connsiteX2705" fmla="*/ 1318 w 10785"/>
                  <a:gd name="connsiteY2705" fmla="*/ 8385 h 10000"/>
                  <a:gd name="connsiteX2706" fmla="*/ 1323 w 10785"/>
                  <a:gd name="connsiteY2706" fmla="*/ 8385 h 10000"/>
                  <a:gd name="connsiteX2707" fmla="*/ 1332 w 10785"/>
                  <a:gd name="connsiteY2707" fmla="*/ 8410 h 10000"/>
                  <a:gd name="connsiteX2708" fmla="*/ 1346 w 10785"/>
                  <a:gd name="connsiteY2708" fmla="*/ 8419 h 10000"/>
                  <a:gd name="connsiteX2709" fmla="*/ 1364 w 10785"/>
                  <a:gd name="connsiteY2709" fmla="*/ 8504 h 10000"/>
                  <a:gd name="connsiteX2710" fmla="*/ 1369 w 10785"/>
                  <a:gd name="connsiteY2710" fmla="*/ 8521 h 10000"/>
                  <a:gd name="connsiteX2711" fmla="*/ 1406 w 10785"/>
                  <a:gd name="connsiteY2711" fmla="*/ 8470 h 10000"/>
                  <a:gd name="connsiteX2712" fmla="*/ 1382 w 10785"/>
                  <a:gd name="connsiteY2712" fmla="*/ 8359 h 10000"/>
                  <a:gd name="connsiteX2713" fmla="*/ 1392 w 10785"/>
                  <a:gd name="connsiteY2713" fmla="*/ 8359 h 10000"/>
                  <a:gd name="connsiteX2714" fmla="*/ 1438 w 10785"/>
                  <a:gd name="connsiteY2714" fmla="*/ 8308 h 10000"/>
                  <a:gd name="connsiteX2715" fmla="*/ 1442 w 10785"/>
                  <a:gd name="connsiteY2715" fmla="*/ 8299 h 10000"/>
                  <a:gd name="connsiteX2716" fmla="*/ 1442 w 10785"/>
                  <a:gd name="connsiteY2716" fmla="*/ 8256 h 10000"/>
                  <a:gd name="connsiteX2717" fmla="*/ 1452 w 10785"/>
                  <a:gd name="connsiteY2717" fmla="*/ 8256 h 10000"/>
                  <a:gd name="connsiteX2718" fmla="*/ 1456 w 10785"/>
                  <a:gd name="connsiteY2718" fmla="*/ 8256 h 10000"/>
                  <a:gd name="connsiteX2719" fmla="*/ 1470 w 10785"/>
                  <a:gd name="connsiteY2719" fmla="*/ 8248 h 10000"/>
                  <a:gd name="connsiteX2720" fmla="*/ 1479 w 10785"/>
                  <a:gd name="connsiteY2720" fmla="*/ 8231 h 10000"/>
                  <a:gd name="connsiteX2721" fmla="*/ 1493 w 10785"/>
                  <a:gd name="connsiteY2721" fmla="*/ 8222 h 10000"/>
                  <a:gd name="connsiteX2722" fmla="*/ 1498 w 10785"/>
                  <a:gd name="connsiteY2722" fmla="*/ 8214 h 10000"/>
                  <a:gd name="connsiteX2723" fmla="*/ 1502 w 10785"/>
                  <a:gd name="connsiteY2723" fmla="*/ 8197 h 10000"/>
                  <a:gd name="connsiteX2724" fmla="*/ 1512 w 10785"/>
                  <a:gd name="connsiteY2724" fmla="*/ 8188 h 10000"/>
                  <a:gd name="connsiteX2725" fmla="*/ 1516 w 10785"/>
                  <a:gd name="connsiteY2725" fmla="*/ 8171 h 10000"/>
                  <a:gd name="connsiteX2726" fmla="*/ 1525 w 10785"/>
                  <a:gd name="connsiteY2726" fmla="*/ 8162 h 10000"/>
                  <a:gd name="connsiteX2727" fmla="*/ 1539 w 10785"/>
                  <a:gd name="connsiteY2727" fmla="*/ 8145 h 10000"/>
                  <a:gd name="connsiteX2728" fmla="*/ 1558 w 10785"/>
                  <a:gd name="connsiteY2728" fmla="*/ 8145 h 10000"/>
                  <a:gd name="connsiteX2729" fmla="*/ 1562 w 10785"/>
                  <a:gd name="connsiteY2729" fmla="*/ 8188 h 10000"/>
                  <a:gd name="connsiteX2730" fmla="*/ 1585 w 10785"/>
                  <a:gd name="connsiteY2730" fmla="*/ 8171 h 10000"/>
                  <a:gd name="connsiteX2731" fmla="*/ 1590 w 10785"/>
                  <a:gd name="connsiteY2731" fmla="*/ 8188 h 10000"/>
                  <a:gd name="connsiteX2732" fmla="*/ 1599 w 10785"/>
                  <a:gd name="connsiteY2732" fmla="*/ 8171 h 10000"/>
                  <a:gd name="connsiteX2733" fmla="*/ 1599 w 10785"/>
                  <a:gd name="connsiteY2733" fmla="*/ 8162 h 10000"/>
                  <a:gd name="connsiteX2734" fmla="*/ 1604 w 10785"/>
                  <a:gd name="connsiteY2734" fmla="*/ 8137 h 10000"/>
                  <a:gd name="connsiteX2735" fmla="*/ 1618 w 10785"/>
                  <a:gd name="connsiteY2735" fmla="*/ 8145 h 10000"/>
                  <a:gd name="connsiteX2736" fmla="*/ 1627 w 10785"/>
                  <a:gd name="connsiteY2736" fmla="*/ 8137 h 10000"/>
                  <a:gd name="connsiteX2737" fmla="*/ 1631 w 10785"/>
                  <a:gd name="connsiteY2737" fmla="*/ 8137 h 10000"/>
                  <a:gd name="connsiteX2738" fmla="*/ 1636 w 10785"/>
                  <a:gd name="connsiteY2738" fmla="*/ 8171 h 10000"/>
                  <a:gd name="connsiteX2739" fmla="*/ 1645 w 10785"/>
                  <a:gd name="connsiteY2739" fmla="*/ 8188 h 10000"/>
                  <a:gd name="connsiteX2740" fmla="*/ 1664 w 10785"/>
                  <a:gd name="connsiteY2740" fmla="*/ 8171 h 10000"/>
                  <a:gd name="connsiteX2741" fmla="*/ 1673 w 10785"/>
                  <a:gd name="connsiteY2741" fmla="*/ 8188 h 10000"/>
                  <a:gd name="connsiteX2742" fmla="*/ 1691 w 10785"/>
                  <a:gd name="connsiteY2742" fmla="*/ 8171 h 10000"/>
                  <a:gd name="connsiteX2743" fmla="*/ 1705 w 10785"/>
                  <a:gd name="connsiteY2743" fmla="*/ 8171 h 10000"/>
                  <a:gd name="connsiteX2744" fmla="*/ 1719 w 10785"/>
                  <a:gd name="connsiteY2744" fmla="*/ 8197 h 10000"/>
                  <a:gd name="connsiteX2745" fmla="*/ 1724 w 10785"/>
                  <a:gd name="connsiteY2745" fmla="*/ 8231 h 10000"/>
                  <a:gd name="connsiteX2746" fmla="*/ 1751 w 10785"/>
                  <a:gd name="connsiteY2746" fmla="*/ 8256 h 10000"/>
                  <a:gd name="connsiteX2747" fmla="*/ 1751 w 10785"/>
                  <a:gd name="connsiteY2747" fmla="*/ 8274 h 10000"/>
                  <a:gd name="connsiteX2748" fmla="*/ 1760 w 10785"/>
                  <a:gd name="connsiteY2748" fmla="*/ 8282 h 10000"/>
                  <a:gd name="connsiteX2749" fmla="*/ 1770 w 10785"/>
                  <a:gd name="connsiteY2749" fmla="*/ 8325 h 10000"/>
                  <a:gd name="connsiteX2750" fmla="*/ 1770 w 10785"/>
                  <a:gd name="connsiteY2750" fmla="*/ 8350 h 10000"/>
                  <a:gd name="connsiteX2751" fmla="*/ 1779 w 10785"/>
                  <a:gd name="connsiteY2751" fmla="*/ 8368 h 10000"/>
                  <a:gd name="connsiteX2752" fmla="*/ 1783 w 10785"/>
                  <a:gd name="connsiteY2752" fmla="*/ 8359 h 10000"/>
                  <a:gd name="connsiteX2753" fmla="*/ 1783 w 10785"/>
                  <a:gd name="connsiteY2753" fmla="*/ 8308 h 10000"/>
                  <a:gd name="connsiteX2754" fmla="*/ 1779 w 10785"/>
                  <a:gd name="connsiteY2754" fmla="*/ 8299 h 10000"/>
                  <a:gd name="connsiteX2755" fmla="*/ 1783 w 10785"/>
                  <a:gd name="connsiteY2755" fmla="*/ 8282 h 10000"/>
                  <a:gd name="connsiteX2756" fmla="*/ 1797 w 10785"/>
                  <a:gd name="connsiteY2756" fmla="*/ 8274 h 10000"/>
                  <a:gd name="connsiteX2757" fmla="*/ 1797 w 10785"/>
                  <a:gd name="connsiteY2757" fmla="*/ 8299 h 10000"/>
                  <a:gd name="connsiteX2758" fmla="*/ 1806 w 10785"/>
                  <a:gd name="connsiteY2758" fmla="*/ 8308 h 10000"/>
                  <a:gd name="connsiteX2759" fmla="*/ 1811 w 10785"/>
                  <a:gd name="connsiteY2759" fmla="*/ 8325 h 10000"/>
                  <a:gd name="connsiteX2760" fmla="*/ 1820 w 10785"/>
                  <a:gd name="connsiteY2760" fmla="*/ 8333 h 10000"/>
                  <a:gd name="connsiteX2761" fmla="*/ 1853 w 10785"/>
                  <a:gd name="connsiteY2761" fmla="*/ 8359 h 10000"/>
                  <a:gd name="connsiteX2762" fmla="*/ 1866 w 10785"/>
                  <a:gd name="connsiteY2762" fmla="*/ 8359 h 10000"/>
                  <a:gd name="connsiteX2763" fmla="*/ 1885 w 10785"/>
                  <a:gd name="connsiteY2763" fmla="*/ 8325 h 10000"/>
                  <a:gd name="connsiteX2764" fmla="*/ 1885 w 10785"/>
                  <a:gd name="connsiteY2764" fmla="*/ 8308 h 10000"/>
                  <a:gd name="connsiteX2765" fmla="*/ 1894 w 10785"/>
                  <a:gd name="connsiteY2765" fmla="*/ 8299 h 10000"/>
                  <a:gd name="connsiteX2766" fmla="*/ 1899 w 10785"/>
                  <a:gd name="connsiteY2766" fmla="*/ 8282 h 10000"/>
                  <a:gd name="connsiteX2767" fmla="*/ 1912 w 10785"/>
                  <a:gd name="connsiteY2767" fmla="*/ 8282 h 10000"/>
                  <a:gd name="connsiteX2768" fmla="*/ 1917 w 10785"/>
                  <a:gd name="connsiteY2768" fmla="*/ 8299 h 10000"/>
                  <a:gd name="connsiteX2769" fmla="*/ 1917 w 10785"/>
                  <a:gd name="connsiteY2769" fmla="*/ 8274 h 10000"/>
                  <a:gd name="connsiteX2770" fmla="*/ 1940 w 10785"/>
                  <a:gd name="connsiteY2770" fmla="*/ 8282 h 10000"/>
                  <a:gd name="connsiteX2771" fmla="*/ 1945 w 10785"/>
                  <a:gd name="connsiteY2771" fmla="*/ 8274 h 10000"/>
                  <a:gd name="connsiteX2772" fmla="*/ 1972 w 10785"/>
                  <a:gd name="connsiteY2772" fmla="*/ 8308 h 10000"/>
                  <a:gd name="connsiteX2773" fmla="*/ 1986 w 10785"/>
                  <a:gd name="connsiteY2773" fmla="*/ 8282 h 10000"/>
                  <a:gd name="connsiteX2774" fmla="*/ 1991 w 10785"/>
                  <a:gd name="connsiteY2774" fmla="*/ 8274 h 10000"/>
                  <a:gd name="connsiteX2775" fmla="*/ 2014 w 10785"/>
                  <a:gd name="connsiteY2775" fmla="*/ 8274 h 10000"/>
                  <a:gd name="connsiteX2776" fmla="*/ 2018 w 10785"/>
                  <a:gd name="connsiteY2776" fmla="*/ 8256 h 10000"/>
                  <a:gd name="connsiteX2777" fmla="*/ 2041 w 10785"/>
                  <a:gd name="connsiteY2777" fmla="*/ 8274 h 10000"/>
                  <a:gd name="connsiteX2778" fmla="*/ 2046 w 10785"/>
                  <a:gd name="connsiteY2778" fmla="*/ 8282 h 10000"/>
                  <a:gd name="connsiteX2779" fmla="*/ 2046 w 10785"/>
                  <a:gd name="connsiteY2779" fmla="*/ 8325 h 10000"/>
                  <a:gd name="connsiteX2780" fmla="*/ 2060 w 10785"/>
                  <a:gd name="connsiteY2780" fmla="*/ 8350 h 10000"/>
                  <a:gd name="connsiteX2781" fmla="*/ 2078 w 10785"/>
                  <a:gd name="connsiteY2781" fmla="*/ 8350 h 10000"/>
                  <a:gd name="connsiteX2782" fmla="*/ 2092 w 10785"/>
                  <a:gd name="connsiteY2782" fmla="*/ 8350 h 10000"/>
                  <a:gd name="connsiteX2783" fmla="*/ 2092 w 10785"/>
                  <a:gd name="connsiteY2783" fmla="*/ 8350 h 10000"/>
                  <a:gd name="connsiteX2784" fmla="*/ 2101 w 10785"/>
                  <a:gd name="connsiteY2784" fmla="*/ 8368 h 10000"/>
                  <a:gd name="connsiteX2785" fmla="*/ 2120 w 10785"/>
                  <a:gd name="connsiteY2785" fmla="*/ 8368 h 10000"/>
                  <a:gd name="connsiteX2786" fmla="*/ 2124 w 10785"/>
                  <a:gd name="connsiteY2786" fmla="*/ 8359 h 10000"/>
                  <a:gd name="connsiteX2787" fmla="*/ 2138 w 10785"/>
                  <a:gd name="connsiteY2787" fmla="*/ 8325 h 10000"/>
                  <a:gd name="connsiteX2788" fmla="*/ 2147 w 10785"/>
                  <a:gd name="connsiteY2788" fmla="*/ 8325 h 10000"/>
                  <a:gd name="connsiteX2789" fmla="*/ 2161 w 10785"/>
                  <a:gd name="connsiteY2789" fmla="*/ 8350 h 10000"/>
                  <a:gd name="connsiteX2790" fmla="*/ 2198 w 10785"/>
                  <a:gd name="connsiteY2790" fmla="*/ 8350 h 10000"/>
                  <a:gd name="connsiteX2791" fmla="*/ 2207 w 10785"/>
                  <a:gd name="connsiteY2791" fmla="*/ 8333 h 10000"/>
                  <a:gd name="connsiteX2792" fmla="*/ 2226 w 10785"/>
                  <a:gd name="connsiteY2792" fmla="*/ 8325 h 10000"/>
                  <a:gd name="connsiteX2793" fmla="*/ 2249 w 10785"/>
                  <a:gd name="connsiteY2793" fmla="*/ 8222 h 10000"/>
                  <a:gd name="connsiteX2794" fmla="*/ 2235 w 10785"/>
                  <a:gd name="connsiteY2794" fmla="*/ 8197 h 10000"/>
                  <a:gd name="connsiteX2795" fmla="*/ 2198 w 10785"/>
                  <a:gd name="connsiteY2795" fmla="*/ 8197 h 10000"/>
                  <a:gd name="connsiteX2796" fmla="*/ 2189 w 10785"/>
                  <a:gd name="connsiteY2796" fmla="*/ 8171 h 10000"/>
                  <a:gd name="connsiteX2797" fmla="*/ 2161 w 10785"/>
                  <a:gd name="connsiteY2797" fmla="*/ 8145 h 10000"/>
                  <a:gd name="connsiteX2798" fmla="*/ 2161 w 10785"/>
                  <a:gd name="connsiteY2798" fmla="*/ 8137 h 10000"/>
                  <a:gd name="connsiteX2799" fmla="*/ 2152 w 10785"/>
                  <a:gd name="connsiteY2799" fmla="*/ 8120 h 10000"/>
                  <a:gd name="connsiteX2800" fmla="*/ 2138 w 10785"/>
                  <a:gd name="connsiteY2800" fmla="*/ 8111 h 10000"/>
                  <a:gd name="connsiteX2801" fmla="*/ 2138 w 10785"/>
                  <a:gd name="connsiteY2801" fmla="*/ 8094 h 10000"/>
                  <a:gd name="connsiteX2802" fmla="*/ 2147 w 10785"/>
                  <a:gd name="connsiteY2802" fmla="*/ 8085 h 10000"/>
                  <a:gd name="connsiteX2803" fmla="*/ 2161 w 10785"/>
                  <a:gd name="connsiteY2803" fmla="*/ 8060 h 10000"/>
                  <a:gd name="connsiteX2804" fmla="*/ 2198 w 10785"/>
                  <a:gd name="connsiteY2804" fmla="*/ 8034 h 10000"/>
                  <a:gd name="connsiteX2805" fmla="*/ 2198 w 10785"/>
                  <a:gd name="connsiteY2805" fmla="*/ 8026 h 10000"/>
                  <a:gd name="connsiteX2806" fmla="*/ 2198 w 10785"/>
                  <a:gd name="connsiteY2806" fmla="*/ 8000 h 10000"/>
                  <a:gd name="connsiteX2807" fmla="*/ 2180 w 10785"/>
                  <a:gd name="connsiteY2807" fmla="*/ 7940 h 10000"/>
                  <a:gd name="connsiteX2808" fmla="*/ 2189 w 10785"/>
                  <a:gd name="connsiteY2808" fmla="*/ 7940 h 10000"/>
                  <a:gd name="connsiteX2809" fmla="*/ 2198 w 10785"/>
                  <a:gd name="connsiteY2809" fmla="*/ 7923 h 10000"/>
                  <a:gd name="connsiteX2810" fmla="*/ 2198 w 10785"/>
                  <a:gd name="connsiteY2810" fmla="*/ 7897 h 10000"/>
                  <a:gd name="connsiteX2811" fmla="*/ 2207 w 10785"/>
                  <a:gd name="connsiteY2811" fmla="*/ 7889 h 10000"/>
                  <a:gd name="connsiteX2812" fmla="*/ 2221 w 10785"/>
                  <a:gd name="connsiteY2812" fmla="*/ 7889 h 10000"/>
                  <a:gd name="connsiteX2813" fmla="*/ 2226 w 10785"/>
                  <a:gd name="connsiteY2813" fmla="*/ 7897 h 10000"/>
                  <a:gd name="connsiteX2814" fmla="*/ 2235 w 10785"/>
                  <a:gd name="connsiteY2814" fmla="*/ 7889 h 10000"/>
                  <a:gd name="connsiteX2815" fmla="*/ 2249 w 10785"/>
                  <a:gd name="connsiteY2815" fmla="*/ 7897 h 10000"/>
                  <a:gd name="connsiteX2816" fmla="*/ 2267 w 10785"/>
                  <a:gd name="connsiteY2816" fmla="*/ 7897 h 10000"/>
                  <a:gd name="connsiteX2817" fmla="*/ 2272 w 10785"/>
                  <a:gd name="connsiteY2817" fmla="*/ 7889 h 10000"/>
                  <a:gd name="connsiteX2818" fmla="*/ 2281 w 10785"/>
                  <a:gd name="connsiteY2818" fmla="*/ 7872 h 10000"/>
                  <a:gd name="connsiteX2819" fmla="*/ 2272 w 10785"/>
                  <a:gd name="connsiteY2819" fmla="*/ 7846 h 10000"/>
                  <a:gd name="connsiteX2820" fmla="*/ 2253 w 10785"/>
                  <a:gd name="connsiteY2820" fmla="*/ 7838 h 10000"/>
                  <a:gd name="connsiteX2821" fmla="*/ 2221 w 10785"/>
                  <a:gd name="connsiteY2821" fmla="*/ 7821 h 10000"/>
                  <a:gd name="connsiteX2822" fmla="*/ 2212 w 10785"/>
                  <a:gd name="connsiteY2822" fmla="*/ 7812 h 10000"/>
                  <a:gd name="connsiteX2823" fmla="*/ 2212 w 10785"/>
                  <a:gd name="connsiteY2823" fmla="*/ 7803 h 10000"/>
                  <a:gd name="connsiteX2824" fmla="*/ 2221 w 10785"/>
                  <a:gd name="connsiteY2824" fmla="*/ 7803 h 10000"/>
                  <a:gd name="connsiteX2825" fmla="*/ 2235 w 10785"/>
                  <a:gd name="connsiteY2825" fmla="*/ 7786 h 10000"/>
                  <a:gd name="connsiteX2826" fmla="*/ 2240 w 10785"/>
                  <a:gd name="connsiteY2826" fmla="*/ 7778 h 10000"/>
                  <a:gd name="connsiteX2827" fmla="*/ 2226 w 10785"/>
                  <a:gd name="connsiteY2827" fmla="*/ 7761 h 10000"/>
                  <a:gd name="connsiteX2828" fmla="*/ 2221 w 10785"/>
                  <a:gd name="connsiteY2828" fmla="*/ 7778 h 10000"/>
                  <a:gd name="connsiteX2829" fmla="*/ 2198 w 10785"/>
                  <a:gd name="connsiteY2829" fmla="*/ 7778 h 10000"/>
                  <a:gd name="connsiteX2830" fmla="*/ 2198 w 10785"/>
                  <a:gd name="connsiteY2830" fmla="*/ 7752 h 10000"/>
                  <a:gd name="connsiteX2831" fmla="*/ 2207 w 10785"/>
                  <a:gd name="connsiteY2831" fmla="*/ 7735 h 10000"/>
                  <a:gd name="connsiteX2832" fmla="*/ 2212 w 10785"/>
                  <a:gd name="connsiteY2832" fmla="*/ 7726 h 10000"/>
                  <a:gd name="connsiteX2833" fmla="*/ 2198 w 10785"/>
                  <a:gd name="connsiteY2833" fmla="*/ 7692 h 10000"/>
                  <a:gd name="connsiteX2834" fmla="*/ 2221 w 10785"/>
                  <a:gd name="connsiteY2834" fmla="*/ 7692 h 10000"/>
                  <a:gd name="connsiteX2835" fmla="*/ 2221 w 10785"/>
                  <a:gd name="connsiteY2835" fmla="*/ 7675 h 10000"/>
                  <a:gd name="connsiteX2836" fmla="*/ 2235 w 10785"/>
                  <a:gd name="connsiteY2836" fmla="*/ 7675 h 10000"/>
                  <a:gd name="connsiteX2837" fmla="*/ 2240 w 10785"/>
                  <a:gd name="connsiteY2837" fmla="*/ 7692 h 10000"/>
                  <a:gd name="connsiteX2838" fmla="*/ 2249 w 10785"/>
                  <a:gd name="connsiteY2838" fmla="*/ 7692 h 10000"/>
                  <a:gd name="connsiteX2839" fmla="*/ 2258 w 10785"/>
                  <a:gd name="connsiteY2839" fmla="*/ 7692 h 10000"/>
                  <a:gd name="connsiteX2840" fmla="*/ 2267 w 10785"/>
                  <a:gd name="connsiteY2840" fmla="*/ 7692 h 10000"/>
                  <a:gd name="connsiteX2841" fmla="*/ 2295 w 10785"/>
                  <a:gd name="connsiteY2841" fmla="*/ 7692 h 10000"/>
                  <a:gd name="connsiteX2842" fmla="*/ 2300 w 10785"/>
                  <a:gd name="connsiteY2842" fmla="*/ 7701 h 10000"/>
                  <a:gd name="connsiteX2843" fmla="*/ 2313 w 10785"/>
                  <a:gd name="connsiteY2843" fmla="*/ 7675 h 10000"/>
                  <a:gd name="connsiteX2844" fmla="*/ 2323 w 10785"/>
                  <a:gd name="connsiteY2844" fmla="*/ 7675 h 10000"/>
                  <a:gd name="connsiteX2845" fmla="*/ 2341 w 10785"/>
                  <a:gd name="connsiteY2845" fmla="*/ 7675 h 10000"/>
                  <a:gd name="connsiteX2846" fmla="*/ 2346 w 10785"/>
                  <a:gd name="connsiteY2846" fmla="*/ 7667 h 10000"/>
                  <a:gd name="connsiteX2847" fmla="*/ 2359 w 10785"/>
                  <a:gd name="connsiteY2847" fmla="*/ 7650 h 10000"/>
                  <a:gd name="connsiteX2848" fmla="*/ 2373 w 10785"/>
                  <a:gd name="connsiteY2848" fmla="*/ 7624 h 10000"/>
                  <a:gd name="connsiteX2849" fmla="*/ 2382 w 10785"/>
                  <a:gd name="connsiteY2849" fmla="*/ 7641 h 10000"/>
                  <a:gd name="connsiteX2850" fmla="*/ 2396 w 10785"/>
                  <a:gd name="connsiteY2850" fmla="*/ 7650 h 10000"/>
                  <a:gd name="connsiteX2851" fmla="*/ 2401 w 10785"/>
                  <a:gd name="connsiteY2851" fmla="*/ 7650 h 10000"/>
                  <a:gd name="connsiteX2852" fmla="*/ 2401 w 10785"/>
                  <a:gd name="connsiteY2852" fmla="*/ 7624 h 10000"/>
                  <a:gd name="connsiteX2853" fmla="*/ 2419 w 10785"/>
                  <a:gd name="connsiteY2853" fmla="*/ 7624 h 10000"/>
                  <a:gd name="connsiteX2854" fmla="*/ 2433 w 10785"/>
                  <a:gd name="connsiteY2854" fmla="*/ 7615 h 10000"/>
                  <a:gd name="connsiteX2855" fmla="*/ 2442 w 10785"/>
                  <a:gd name="connsiteY2855" fmla="*/ 7615 h 10000"/>
                  <a:gd name="connsiteX2856" fmla="*/ 2447 w 10785"/>
                  <a:gd name="connsiteY2856" fmla="*/ 7598 h 10000"/>
                  <a:gd name="connsiteX2857" fmla="*/ 2461 w 10785"/>
                  <a:gd name="connsiteY2857" fmla="*/ 7598 h 10000"/>
                  <a:gd name="connsiteX2858" fmla="*/ 2465 w 10785"/>
                  <a:gd name="connsiteY2858" fmla="*/ 7615 h 10000"/>
                  <a:gd name="connsiteX2859" fmla="*/ 2479 w 10785"/>
                  <a:gd name="connsiteY2859" fmla="*/ 7564 h 10000"/>
                  <a:gd name="connsiteX2860" fmla="*/ 2488 w 10785"/>
                  <a:gd name="connsiteY2860" fmla="*/ 7556 h 10000"/>
                  <a:gd name="connsiteX2861" fmla="*/ 2493 w 10785"/>
                  <a:gd name="connsiteY2861" fmla="*/ 7556 h 10000"/>
                  <a:gd name="connsiteX2862" fmla="*/ 2507 w 10785"/>
                  <a:gd name="connsiteY2862" fmla="*/ 7556 h 10000"/>
                  <a:gd name="connsiteX2863" fmla="*/ 2530 w 10785"/>
                  <a:gd name="connsiteY2863" fmla="*/ 7538 h 10000"/>
                  <a:gd name="connsiteX2864" fmla="*/ 2530 w 10785"/>
                  <a:gd name="connsiteY2864" fmla="*/ 7556 h 10000"/>
                  <a:gd name="connsiteX2865" fmla="*/ 2641 w 10785"/>
                  <a:gd name="connsiteY2865" fmla="*/ 7504 h 10000"/>
                  <a:gd name="connsiteX2866" fmla="*/ 2654 w 10785"/>
                  <a:gd name="connsiteY2866" fmla="*/ 7487 h 10000"/>
                  <a:gd name="connsiteX2867" fmla="*/ 2664 w 10785"/>
                  <a:gd name="connsiteY2867" fmla="*/ 7487 h 10000"/>
                  <a:gd name="connsiteX2868" fmla="*/ 2668 w 10785"/>
                  <a:gd name="connsiteY2868" fmla="*/ 7479 h 10000"/>
                  <a:gd name="connsiteX2869" fmla="*/ 2673 w 10785"/>
                  <a:gd name="connsiteY2869" fmla="*/ 7462 h 10000"/>
                  <a:gd name="connsiteX2870" fmla="*/ 2673 w 10785"/>
                  <a:gd name="connsiteY2870" fmla="*/ 7427 h 10000"/>
                  <a:gd name="connsiteX2871" fmla="*/ 2687 w 10785"/>
                  <a:gd name="connsiteY2871" fmla="*/ 7436 h 10000"/>
                  <a:gd name="connsiteX2872" fmla="*/ 2696 w 10785"/>
                  <a:gd name="connsiteY2872" fmla="*/ 7427 h 10000"/>
                  <a:gd name="connsiteX2873" fmla="*/ 2700 w 10785"/>
                  <a:gd name="connsiteY2873" fmla="*/ 7419 h 10000"/>
                  <a:gd name="connsiteX2874" fmla="*/ 2710 w 10785"/>
                  <a:gd name="connsiteY2874" fmla="*/ 7402 h 10000"/>
                  <a:gd name="connsiteX2875" fmla="*/ 2724 w 10785"/>
                  <a:gd name="connsiteY2875" fmla="*/ 7402 h 10000"/>
                  <a:gd name="connsiteX2876" fmla="*/ 2724 w 10785"/>
                  <a:gd name="connsiteY2876" fmla="*/ 7393 h 10000"/>
                  <a:gd name="connsiteX2877" fmla="*/ 2737 w 10785"/>
                  <a:gd name="connsiteY2877" fmla="*/ 7393 h 10000"/>
                  <a:gd name="connsiteX2878" fmla="*/ 2742 w 10785"/>
                  <a:gd name="connsiteY2878" fmla="*/ 7402 h 10000"/>
                  <a:gd name="connsiteX2879" fmla="*/ 2747 w 10785"/>
                  <a:gd name="connsiteY2879" fmla="*/ 7402 h 10000"/>
                  <a:gd name="connsiteX2880" fmla="*/ 2760 w 10785"/>
                  <a:gd name="connsiteY2880" fmla="*/ 7402 h 10000"/>
                  <a:gd name="connsiteX2881" fmla="*/ 2770 w 10785"/>
                  <a:gd name="connsiteY2881" fmla="*/ 7402 h 10000"/>
                  <a:gd name="connsiteX2882" fmla="*/ 2774 w 10785"/>
                  <a:gd name="connsiteY2882" fmla="*/ 7402 h 10000"/>
                  <a:gd name="connsiteX2883" fmla="*/ 2783 w 10785"/>
                  <a:gd name="connsiteY2883" fmla="*/ 7419 h 10000"/>
                  <a:gd name="connsiteX2884" fmla="*/ 2802 w 10785"/>
                  <a:gd name="connsiteY2884" fmla="*/ 7436 h 10000"/>
                  <a:gd name="connsiteX2885" fmla="*/ 2816 w 10785"/>
                  <a:gd name="connsiteY2885" fmla="*/ 7419 h 10000"/>
                  <a:gd name="connsiteX2886" fmla="*/ 2834 w 10785"/>
                  <a:gd name="connsiteY2886" fmla="*/ 7419 h 10000"/>
                  <a:gd name="connsiteX2887" fmla="*/ 2843 w 10785"/>
                  <a:gd name="connsiteY2887" fmla="*/ 7419 h 10000"/>
                  <a:gd name="connsiteX2888" fmla="*/ 2848 w 10785"/>
                  <a:gd name="connsiteY2888" fmla="*/ 7436 h 10000"/>
                  <a:gd name="connsiteX2889" fmla="*/ 2857 w 10785"/>
                  <a:gd name="connsiteY2889" fmla="*/ 7453 h 10000"/>
                  <a:gd name="connsiteX2890" fmla="*/ 2857 w 10785"/>
                  <a:gd name="connsiteY2890" fmla="*/ 7504 h 10000"/>
                  <a:gd name="connsiteX2891" fmla="*/ 2862 w 10785"/>
                  <a:gd name="connsiteY2891" fmla="*/ 7530 h 10000"/>
                  <a:gd name="connsiteX2892" fmla="*/ 2876 w 10785"/>
                  <a:gd name="connsiteY2892" fmla="*/ 7538 h 10000"/>
                  <a:gd name="connsiteX2893" fmla="*/ 2871 w 10785"/>
                  <a:gd name="connsiteY2893" fmla="*/ 7564 h 10000"/>
                  <a:gd name="connsiteX2894" fmla="*/ 2871 w 10785"/>
                  <a:gd name="connsiteY2894" fmla="*/ 7598 h 10000"/>
                  <a:gd name="connsiteX2895" fmla="*/ 2857 w 10785"/>
                  <a:gd name="connsiteY2895" fmla="*/ 7624 h 10000"/>
                  <a:gd name="connsiteX2896" fmla="*/ 2862 w 10785"/>
                  <a:gd name="connsiteY2896" fmla="*/ 7641 h 10000"/>
                  <a:gd name="connsiteX2897" fmla="*/ 2871 w 10785"/>
                  <a:gd name="connsiteY2897" fmla="*/ 7667 h 10000"/>
                  <a:gd name="connsiteX2898" fmla="*/ 2880 w 10785"/>
                  <a:gd name="connsiteY2898" fmla="*/ 7650 h 10000"/>
                  <a:gd name="connsiteX2899" fmla="*/ 2894 w 10785"/>
                  <a:gd name="connsiteY2899" fmla="*/ 7667 h 10000"/>
                  <a:gd name="connsiteX2900" fmla="*/ 2903 w 10785"/>
                  <a:gd name="connsiteY2900" fmla="*/ 7667 h 10000"/>
                  <a:gd name="connsiteX2901" fmla="*/ 2908 w 10785"/>
                  <a:gd name="connsiteY2901" fmla="*/ 7641 h 10000"/>
                  <a:gd name="connsiteX2902" fmla="*/ 2917 w 10785"/>
                  <a:gd name="connsiteY2902" fmla="*/ 7641 h 10000"/>
                  <a:gd name="connsiteX2903" fmla="*/ 2922 w 10785"/>
                  <a:gd name="connsiteY2903" fmla="*/ 7641 h 10000"/>
                  <a:gd name="connsiteX2904" fmla="*/ 2931 w 10785"/>
                  <a:gd name="connsiteY2904" fmla="*/ 7615 h 10000"/>
                  <a:gd name="connsiteX2905" fmla="*/ 2935 w 10785"/>
                  <a:gd name="connsiteY2905" fmla="*/ 7615 h 10000"/>
                  <a:gd name="connsiteX2906" fmla="*/ 2945 w 10785"/>
                  <a:gd name="connsiteY2906" fmla="*/ 7650 h 10000"/>
                  <a:gd name="connsiteX2907" fmla="*/ 2949 w 10785"/>
                  <a:gd name="connsiteY2907" fmla="*/ 7667 h 10000"/>
                  <a:gd name="connsiteX2908" fmla="*/ 2949 w 10785"/>
                  <a:gd name="connsiteY2908" fmla="*/ 7675 h 10000"/>
                  <a:gd name="connsiteX2909" fmla="*/ 2945 w 10785"/>
                  <a:gd name="connsiteY2909" fmla="*/ 7692 h 10000"/>
                  <a:gd name="connsiteX2910" fmla="*/ 2963 w 10785"/>
                  <a:gd name="connsiteY2910" fmla="*/ 7701 h 10000"/>
                  <a:gd name="connsiteX2911" fmla="*/ 2963 w 10785"/>
                  <a:gd name="connsiteY2911" fmla="*/ 7675 h 10000"/>
                  <a:gd name="connsiteX2912" fmla="*/ 2954 w 10785"/>
                  <a:gd name="connsiteY2912" fmla="*/ 7667 h 10000"/>
                  <a:gd name="connsiteX2913" fmla="*/ 2963 w 10785"/>
                  <a:gd name="connsiteY2913" fmla="*/ 7667 h 10000"/>
                  <a:gd name="connsiteX2914" fmla="*/ 2982 w 10785"/>
                  <a:gd name="connsiteY2914" fmla="*/ 7667 h 10000"/>
                  <a:gd name="connsiteX2915" fmla="*/ 2991 w 10785"/>
                  <a:gd name="connsiteY2915" fmla="*/ 7675 h 10000"/>
                  <a:gd name="connsiteX2916" fmla="*/ 2995 w 10785"/>
                  <a:gd name="connsiteY2916" fmla="*/ 7692 h 10000"/>
                  <a:gd name="connsiteX2917" fmla="*/ 3009 w 10785"/>
                  <a:gd name="connsiteY2917" fmla="*/ 7701 h 10000"/>
                  <a:gd name="connsiteX2918" fmla="*/ 3018 w 10785"/>
                  <a:gd name="connsiteY2918" fmla="*/ 7701 h 10000"/>
                  <a:gd name="connsiteX2919" fmla="*/ 3023 w 10785"/>
                  <a:gd name="connsiteY2919" fmla="*/ 7692 h 10000"/>
                  <a:gd name="connsiteX2920" fmla="*/ 3028 w 10785"/>
                  <a:gd name="connsiteY2920" fmla="*/ 7675 h 10000"/>
                  <a:gd name="connsiteX2921" fmla="*/ 3037 w 10785"/>
                  <a:gd name="connsiteY2921" fmla="*/ 7692 h 10000"/>
                  <a:gd name="connsiteX2922" fmla="*/ 3028 w 10785"/>
                  <a:gd name="connsiteY2922" fmla="*/ 7709 h 10000"/>
                  <a:gd name="connsiteX2923" fmla="*/ 3023 w 10785"/>
                  <a:gd name="connsiteY2923" fmla="*/ 7709 h 10000"/>
                  <a:gd name="connsiteX2924" fmla="*/ 3018 w 10785"/>
                  <a:gd name="connsiteY2924" fmla="*/ 7726 h 10000"/>
                  <a:gd name="connsiteX2925" fmla="*/ 3009 w 10785"/>
                  <a:gd name="connsiteY2925" fmla="*/ 7735 h 10000"/>
                  <a:gd name="connsiteX2926" fmla="*/ 3009 w 10785"/>
                  <a:gd name="connsiteY2926" fmla="*/ 7761 h 10000"/>
                  <a:gd name="connsiteX2927" fmla="*/ 3009 w 10785"/>
                  <a:gd name="connsiteY2927" fmla="*/ 7778 h 10000"/>
                  <a:gd name="connsiteX2928" fmla="*/ 3018 w 10785"/>
                  <a:gd name="connsiteY2928" fmla="*/ 7786 h 10000"/>
                  <a:gd name="connsiteX2929" fmla="*/ 3023 w 10785"/>
                  <a:gd name="connsiteY2929" fmla="*/ 7786 h 10000"/>
                  <a:gd name="connsiteX2930" fmla="*/ 3028 w 10785"/>
                  <a:gd name="connsiteY2930" fmla="*/ 7778 h 10000"/>
                  <a:gd name="connsiteX2931" fmla="*/ 3051 w 10785"/>
                  <a:gd name="connsiteY2931" fmla="*/ 7761 h 10000"/>
                  <a:gd name="connsiteX2932" fmla="*/ 3055 w 10785"/>
                  <a:gd name="connsiteY2932" fmla="*/ 7778 h 10000"/>
                  <a:gd name="connsiteX2933" fmla="*/ 3065 w 10785"/>
                  <a:gd name="connsiteY2933" fmla="*/ 7761 h 10000"/>
                  <a:gd name="connsiteX2934" fmla="*/ 3069 w 10785"/>
                  <a:gd name="connsiteY2934" fmla="*/ 7786 h 10000"/>
                  <a:gd name="connsiteX2935" fmla="*/ 3083 w 10785"/>
                  <a:gd name="connsiteY2935" fmla="*/ 7786 h 10000"/>
                  <a:gd name="connsiteX2936" fmla="*/ 3078 w 10785"/>
                  <a:gd name="connsiteY2936" fmla="*/ 7761 h 10000"/>
                  <a:gd name="connsiteX2937" fmla="*/ 3083 w 10785"/>
                  <a:gd name="connsiteY2937" fmla="*/ 7752 h 10000"/>
                  <a:gd name="connsiteX2938" fmla="*/ 3097 w 10785"/>
                  <a:gd name="connsiteY2938" fmla="*/ 7752 h 10000"/>
                  <a:gd name="connsiteX2939" fmla="*/ 3111 w 10785"/>
                  <a:gd name="connsiteY2939" fmla="*/ 7726 h 10000"/>
                  <a:gd name="connsiteX2940" fmla="*/ 3124 w 10785"/>
                  <a:gd name="connsiteY2940" fmla="*/ 7709 h 10000"/>
                  <a:gd name="connsiteX2941" fmla="*/ 3143 w 10785"/>
                  <a:gd name="connsiteY2941" fmla="*/ 7692 h 10000"/>
                  <a:gd name="connsiteX2942" fmla="*/ 3152 w 10785"/>
                  <a:gd name="connsiteY2942" fmla="*/ 7667 h 10000"/>
                  <a:gd name="connsiteX2943" fmla="*/ 3157 w 10785"/>
                  <a:gd name="connsiteY2943" fmla="*/ 7650 h 10000"/>
                  <a:gd name="connsiteX2944" fmla="*/ 3161 w 10785"/>
                  <a:gd name="connsiteY2944" fmla="*/ 7650 h 10000"/>
                  <a:gd name="connsiteX2945" fmla="*/ 3189 w 10785"/>
                  <a:gd name="connsiteY2945" fmla="*/ 7641 h 10000"/>
                  <a:gd name="connsiteX2946" fmla="*/ 3198 w 10785"/>
                  <a:gd name="connsiteY2946" fmla="*/ 7624 h 10000"/>
                  <a:gd name="connsiteX2947" fmla="*/ 3217 w 10785"/>
                  <a:gd name="connsiteY2947" fmla="*/ 7615 h 10000"/>
                  <a:gd name="connsiteX2948" fmla="*/ 3235 w 10785"/>
                  <a:gd name="connsiteY2948" fmla="*/ 7598 h 10000"/>
                  <a:gd name="connsiteX2949" fmla="*/ 3235 w 10785"/>
                  <a:gd name="connsiteY2949" fmla="*/ 7615 h 10000"/>
                  <a:gd name="connsiteX2950" fmla="*/ 3235 w 10785"/>
                  <a:gd name="connsiteY2950" fmla="*/ 7641 h 10000"/>
                  <a:gd name="connsiteX2951" fmla="*/ 3235 w 10785"/>
                  <a:gd name="connsiteY2951" fmla="*/ 7650 h 10000"/>
                  <a:gd name="connsiteX2952" fmla="*/ 3226 w 10785"/>
                  <a:gd name="connsiteY2952" fmla="*/ 7650 h 10000"/>
                  <a:gd name="connsiteX2953" fmla="*/ 3217 w 10785"/>
                  <a:gd name="connsiteY2953" fmla="*/ 7650 h 10000"/>
                  <a:gd name="connsiteX2954" fmla="*/ 3212 w 10785"/>
                  <a:gd name="connsiteY2954" fmla="*/ 7675 h 10000"/>
                  <a:gd name="connsiteX2955" fmla="*/ 3212 w 10785"/>
                  <a:gd name="connsiteY2955"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307 w 10785"/>
                  <a:gd name="connsiteY731" fmla="*/ 4899 h 10000"/>
                  <a:gd name="connsiteX732" fmla="*/ 10435 w 10785"/>
                  <a:gd name="connsiteY732" fmla="*/ 4810 h 10000"/>
                  <a:gd name="connsiteX733" fmla="*/ 10619 w 10785"/>
                  <a:gd name="connsiteY733" fmla="*/ 4708 h 10000"/>
                  <a:gd name="connsiteX734" fmla="*/ 10785 w 10785"/>
                  <a:gd name="connsiteY734" fmla="*/ 4708 h 10000"/>
                  <a:gd name="connsiteX735" fmla="*/ 10689 w 10785"/>
                  <a:gd name="connsiteY735" fmla="*/ 4467 h 10000"/>
                  <a:gd name="connsiteX736" fmla="*/ 10354 w 10785"/>
                  <a:gd name="connsiteY736" fmla="*/ 4302 h 10000"/>
                  <a:gd name="connsiteX737" fmla="*/ 9912 w 10785"/>
                  <a:gd name="connsiteY737" fmla="*/ 3675 h 10000"/>
                  <a:gd name="connsiteX738" fmla="*/ 9903 w 10785"/>
                  <a:gd name="connsiteY738" fmla="*/ 3667 h 10000"/>
                  <a:gd name="connsiteX739" fmla="*/ 9894 w 10785"/>
                  <a:gd name="connsiteY739" fmla="*/ 3641 h 10000"/>
                  <a:gd name="connsiteX740" fmla="*/ 9889 w 10785"/>
                  <a:gd name="connsiteY740" fmla="*/ 3650 h 10000"/>
                  <a:gd name="connsiteX741" fmla="*/ 9848 w 10785"/>
                  <a:gd name="connsiteY741" fmla="*/ 3598 h 10000"/>
                  <a:gd name="connsiteX742" fmla="*/ 9829 w 10785"/>
                  <a:gd name="connsiteY742" fmla="*/ 3581 h 10000"/>
                  <a:gd name="connsiteX743" fmla="*/ 9820 w 10785"/>
                  <a:gd name="connsiteY743" fmla="*/ 3581 h 10000"/>
                  <a:gd name="connsiteX744" fmla="*/ 9793 w 10785"/>
                  <a:gd name="connsiteY744" fmla="*/ 3556 h 10000"/>
                  <a:gd name="connsiteX745" fmla="*/ 9779 w 10785"/>
                  <a:gd name="connsiteY745" fmla="*/ 3556 h 10000"/>
                  <a:gd name="connsiteX746" fmla="*/ 9747 w 10785"/>
                  <a:gd name="connsiteY746" fmla="*/ 3487 h 10000"/>
                  <a:gd name="connsiteX747" fmla="*/ 9668 w 10785"/>
                  <a:gd name="connsiteY747" fmla="*/ 3479 h 10000"/>
                  <a:gd name="connsiteX748" fmla="*/ 9659 w 10785"/>
                  <a:gd name="connsiteY748" fmla="*/ 3487 h 10000"/>
                  <a:gd name="connsiteX749" fmla="*/ 9645 w 10785"/>
                  <a:gd name="connsiteY749" fmla="*/ 3504 h 10000"/>
                  <a:gd name="connsiteX750" fmla="*/ 9631 w 10785"/>
                  <a:gd name="connsiteY750" fmla="*/ 3487 h 10000"/>
                  <a:gd name="connsiteX751" fmla="*/ 9613 w 10785"/>
                  <a:gd name="connsiteY751" fmla="*/ 3479 h 10000"/>
                  <a:gd name="connsiteX752" fmla="*/ 9599 w 10785"/>
                  <a:gd name="connsiteY752" fmla="*/ 3479 h 10000"/>
                  <a:gd name="connsiteX753" fmla="*/ 9571 w 10785"/>
                  <a:gd name="connsiteY753" fmla="*/ 3479 h 10000"/>
                  <a:gd name="connsiteX754" fmla="*/ 9562 w 10785"/>
                  <a:gd name="connsiteY754" fmla="*/ 3487 h 10000"/>
                  <a:gd name="connsiteX755" fmla="*/ 9539 w 10785"/>
                  <a:gd name="connsiteY755" fmla="*/ 3487 h 10000"/>
                  <a:gd name="connsiteX756" fmla="*/ 9507 w 10785"/>
                  <a:gd name="connsiteY756" fmla="*/ 3453 h 10000"/>
                  <a:gd name="connsiteX757" fmla="*/ 9498 w 10785"/>
                  <a:gd name="connsiteY757" fmla="*/ 3453 h 10000"/>
                  <a:gd name="connsiteX758" fmla="*/ 9387 w 10785"/>
                  <a:gd name="connsiteY758" fmla="*/ 3419 h 10000"/>
                  <a:gd name="connsiteX759" fmla="*/ 9373 w 10785"/>
                  <a:gd name="connsiteY759" fmla="*/ 3427 h 10000"/>
                  <a:gd name="connsiteX760" fmla="*/ 9373 w 10785"/>
                  <a:gd name="connsiteY760" fmla="*/ 3462 h 10000"/>
                  <a:gd name="connsiteX761" fmla="*/ 9378 w 10785"/>
                  <a:gd name="connsiteY761" fmla="*/ 3479 h 10000"/>
                  <a:gd name="connsiteX762" fmla="*/ 9378 w 10785"/>
                  <a:gd name="connsiteY762" fmla="*/ 3530 h 10000"/>
                  <a:gd name="connsiteX763" fmla="*/ 9355 w 10785"/>
                  <a:gd name="connsiteY763" fmla="*/ 3538 h 10000"/>
                  <a:gd name="connsiteX764" fmla="*/ 9355 w 10785"/>
                  <a:gd name="connsiteY764" fmla="*/ 3581 h 10000"/>
                  <a:gd name="connsiteX765" fmla="*/ 9387 w 10785"/>
                  <a:gd name="connsiteY765" fmla="*/ 3590 h 10000"/>
                  <a:gd name="connsiteX766" fmla="*/ 9401 w 10785"/>
                  <a:gd name="connsiteY766" fmla="*/ 3667 h 10000"/>
                  <a:gd name="connsiteX767" fmla="*/ 9406 w 10785"/>
                  <a:gd name="connsiteY767" fmla="*/ 3675 h 10000"/>
                  <a:gd name="connsiteX768" fmla="*/ 9406 w 10785"/>
                  <a:gd name="connsiteY768" fmla="*/ 3701 h 10000"/>
                  <a:gd name="connsiteX769" fmla="*/ 9415 w 10785"/>
                  <a:gd name="connsiteY769" fmla="*/ 3752 h 10000"/>
                  <a:gd name="connsiteX770" fmla="*/ 9373 w 10785"/>
                  <a:gd name="connsiteY770" fmla="*/ 3838 h 10000"/>
                  <a:gd name="connsiteX771" fmla="*/ 9355 w 10785"/>
                  <a:gd name="connsiteY771" fmla="*/ 3863 h 10000"/>
                  <a:gd name="connsiteX772" fmla="*/ 9327 w 10785"/>
                  <a:gd name="connsiteY772" fmla="*/ 3863 h 10000"/>
                  <a:gd name="connsiteX773" fmla="*/ 9313 w 10785"/>
                  <a:gd name="connsiteY773" fmla="*/ 3846 h 10000"/>
                  <a:gd name="connsiteX774" fmla="*/ 9300 w 10785"/>
                  <a:gd name="connsiteY774" fmla="*/ 3778 h 10000"/>
                  <a:gd name="connsiteX775" fmla="*/ 9281 w 10785"/>
                  <a:gd name="connsiteY775" fmla="*/ 3752 h 10000"/>
                  <a:gd name="connsiteX776" fmla="*/ 9281 w 10785"/>
                  <a:gd name="connsiteY776" fmla="*/ 3735 h 10000"/>
                  <a:gd name="connsiteX777" fmla="*/ 9267 w 10785"/>
                  <a:gd name="connsiteY777" fmla="*/ 3726 h 10000"/>
                  <a:gd name="connsiteX778" fmla="*/ 9240 w 10785"/>
                  <a:gd name="connsiteY778" fmla="*/ 3726 h 10000"/>
                  <a:gd name="connsiteX779" fmla="*/ 9230 w 10785"/>
                  <a:gd name="connsiteY779" fmla="*/ 3718 h 10000"/>
                  <a:gd name="connsiteX780" fmla="*/ 9226 w 10785"/>
                  <a:gd name="connsiteY780" fmla="*/ 3590 h 10000"/>
                  <a:gd name="connsiteX781" fmla="*/ 9207 w 10785"/>
                  <a:gd name="connsiteY781" fmla="*/ 3581 h 10000"/>
                  <a:gd name="connsiteX782" fmla="*/ 9207 w 10785"/>
                  <a:gd name="connsiteY782" fmla="*/ 3556 h 10000"/>
                  <a:gd name="connsiteX783" fmla="*/ 9217 w 10785"/>
                  <a:gd name="connsiteY783" fmla="*/ 3538 h 10000"/>
                  <a:gd name="connsiteX784" fmla="*/ 9212 w 10785"/>
                  <a:gd name="connsiteY784" fmla="*/ 3538 h 10000"/>
                  <a:gd name="connsiteX785" fmla="*/ 9198 w 10785"/>
                  <a:gd name="connsiteY785" fmla="*/ 3513 h 10000"/>
                  <a:gd name="connsiteX786" fmla="*/ 9194 w 10785"/>
                  <a:gd name="connsiteY786" fmla="*/ 3530 h 10000"/>
                  <a:gd name="connsiteX787" fmla="*/ 9143 w 10785"/>
                  <a:gd name="connsiteY787" fmla="*/ 3615 h 10000"/>
                  <a:gd name="connsiteX788" fmla="*/ 9138 w 10785"/>
                  <a:gd name="connsiteY788" fmla="*/ 3615 h 10000"/>
                  <a:gd name="connsiteX789" fmla="*/ 9134 w 10785"/>
                  <a:gd name="connsiteY789" fmla="*/ 3615 h 10000"/>
                  <a:gd name="connsiteX790" fmla="*/ 9106 w 10785"/>
                  <a:gd name="connsiteY790" fmla="*/ 3615 h 10000"/>
                  <a:gd name="connsiteX791" fmla="*/ 9078 w 10785"/>
                  <a:gd name="connsiteY791" fmla="*/ 3590 h 10000"/>
                  <a:gd name="connsiteX792" fmla="*/ 9037 w 10785"/>
                  <a:gd name="connsiteY792" fmla="*/ 3581 h 10000"/>
                  <a:gd name="connsiteX793" fmla="*/ 9023 w 10785"/>
                  <a:gd name="connsiteY793" fmla="*/ 3590 h 10000"/>
                  <a:gd name="connsiteX794" fmla="*/ 9018 w 10785"/>
                  <a:gd name="connsiteY794" fmla="*/ 3590 h 10000"/>
                  <a:gd name="connsiteX795" fmla="*/ 9018 w 10785"/>
                  <a:gd name="connsiteY795" fmla="*/ 3590 h 10000"/>
                  <a:gd name="connsiteX796" fmla="*/ 8991 w 10785"/>
                  <a:gd name="connsiteY796" fmla="*/ 3590 h 10000"/>
                  <a:gd name="connsiteX797" fmla="*/ 8972 w 10785"/>
                  <a:gd name="connsiteY797" fmla="*/ 3581 h 10000"/>
                  <a:gd name="connsiteX798" fmla="*/ 8959 w 10785"/>
                  <a:gd name="connsiteY798" fmla="*/ 3513 h 10000"/>
                  <a:gd name="connsiteX799" fmla="*/ 8931 w 10785"/>
                  <a:gd name="connsiteY799" fmla="*/ 3538 h 10000"/>
                  <a:gd name="connsiteX800" fmla="*/ 8889 w 10785"/>
                  <a:gd name="connsiteY800" fmla="*/ 3538 h 10000"/>
                  <a:gd name="connsiteX801" fmla="*/ 8871 w 10785"/>
                  <a:gd name="connsiteY801" fmla="*/ 3556 h 10000"/>
                  <a:gd name="connsiteX802" fmla="*/ 8857 w 10785"/>
                  <a:gd name="connsiteY802" fmla="*/ 3538 h 10000"/>
                  <a:gd name="connsiteX803" fmla="*/ 8843 w 10785"/>
                  <a:gd name="connsiteY803" fmla="*/ 3538 h 10000"/>
                  <a:gd name="connsiteX804" fmla="*/ 8839 w 10785"/>
                  <a:gd name="connsiteY804" fmla="*/ 3556 h 10000"/>
                  <a:gd name="connsiteX805" fmla="*/ 8839 w 10785"/>
                  <a:gd name="connsiteY805" fmla="*/ 3581 h 10000"/>
                  <a:gd name="connsiteX806" fmla="*/ 8825 w 10785"/>
                  <a:gd name="connsiteY806" fmla="*/ 3564 h 10000"/>
                  <a:gd name="connsiteX807" fmla="*/ 8825 w 10785"/>
                  <a:gd name="connsiteY807" fmla="*/ 3615 h 10000"/>
                  <a:gd name="connsiteX808" fmla="*/ 8802 w 10785"/>
                  <a:gd name="connsiteY808" fmla="*/ 3598 h 10000"/>
                  <a:gd name="connsiteX809" fmla="*/ 8797 w 10785"/>
                  <a:gd name="connsiteY809" fmla="*/ 3641 h 10000"/>
                  <a:gd name="connsiteX810" fmla="*/ 8783 w 10785"/>
                  <a:gd name="connsiteY810" fmla="*/ 3667 h 10000"/>
                  <a:gd name="connsiteX811" fmla="*/ 8779 w 10785"/>
                  <a:gd name="connsiteY811" fmla="*/ 3650 h 10000"/>
                  <a:gd name="connsiteX812" fmla="*/ 8779 w 10785"/>
                  <a:gd name="connsiteY812" fmla="*/ 3615 h 10000"/>
                  <a:gd name="connsiteX813" fmla="*/ 8770 w 10785"/>
                  <a:gd name="connsiteY813" fmla="*/ 3590 h 10000"/>
                  <a:gd name="connsiteX814" fmla="*/ 8765 w 10785"/>
                  <a:gd name="connsiteY814" fmla="*/ 3598 h 10000"/>
                  <a:gd name="connsiteX815" fmla="*/ 8756 w 10785"/>
                  <a:gd name="connsiteY815" fmla="*/ 3590 h 10000"/>
                  <a:gd name="connsiteX816" fmla="*/ 8737 w 10785"/>
                  <a:gd name="connsiteY816" fmla="*/ 3556 h 10000"/>
                  <a:gd name="connsiteX817" fmla="*/ 8724 w 10785"/>
                  <a:gd name="connsiteY817" fmla="*/ 3538 h 10000"/>
                  <a:gd name="connsiteX818" fmla="*/ 8696 w 10785"/>
                  <a:gd name="connsiteY818" fmla="*/ 3538 h 10000"/>
                  <a:gd name="connsiteX819" fmla="*/ 8691 w 10785"/>
                  <a:gd name="connsiteY819" fmla="*/ 3513 h 10000"/>
                  <a:gd name="connsiteX820" fmla="*/ 8668 w 10785"/>
                  <a:gd name="connsiteY820" fmla="*/ 3504 h 10000"/>
                  <a:gd name="connsiteX821" fmla="*/ 8668 w 10785"/>
                  <a:gd name="connsiteY821" fmla="*/ 3487 h 10000"/>
                  <a:gd name="connsiteX822" fmla="*/ 8691 w 10785"/>
                  <a:gd name="connsiteY822" fmla="*/ 3350 h 10000"/>
                  <a:gd name="connsiteX823" fmla="*/ 8691 w 10785"/>
                  <a:gd name="connsiteY823" fmla="*/ 3291 h 10000"/>
                  <a:gd name="connsiteX824" fmla="*/ 8677 w 10785"/>
                  <a:gd name="connsiteY824" fmla="*/ 3239 h 10000"/>
                  <a:gd name="connsiteX825" fmla="*/ 8677 w 10785"/>
                  <a:gd name="connsiteY825" fmla="*/ 3231 h 10000"/>
                  <a:gd name="connsiteX826" fmla="*/ 8636 w 10785"/>
                  <a:gd name="connsiteY826" fmla="*/ 3128 h 10000"/>
                  <a:gd name="connsiteX827" fmla="*/ 8622 w 10785"/>
                  <a:gd name="connsiteY827" fmla="*/ 3120 h 10000"/>
                  <a:gd name="connsiteX828" fmla="*/ 8618 w 10785"/>
                  <a:gd name="connsiteY828" fmla="*/ 3094 h 10000"/>
                  <a:gd name="connsiteX829" fmla="*/ 8594 w 10785"/>
                  <a:gd name="connsiteY829" fmla="*/ 3077 h 10000"/>
                  <a:gd name="connsiteX830" fmla="*/ 8548 w 10785"/>
                  <a:gd name="connsiteY830" fmla="*/ 3077 h 10000"/>
                  <a:gd name="connsiteX831" fmla="*/ 8535 w 10785"/>
                  <a:gd name="connsiteY831" fmla="*/ 3068 h 10000"/>
                  <a:gd name="connsiteX832" fmla="*/ 8429 w 10785"/>
                  <a:gd name="connsiteY832" fmla="*/ 3077 h 10000"/>
                  <a:gd name="connsiteX833" fmla="*/ 8424 w 10785"/>
                  <a:gd name="connsiteY833" fmla="*/ 3077 h 10000"/>
                  <a:gd name="connsiteX834" fmla="*/ 8396 w 10785"/>
                  <a:gd name="connsiteY834" fmla="*/ 3077 h 10000"/>
                  <a:gd name="connsiteX835" fmla="*/ 8387 w 10785"/>
                  <a:gd name="connsiteY835" fmla="*/ 3094 h 10000"/>
                  <a:gd name="connsiteX836" fmla="*/ 8378 w 10785"/>
                  <a:gd name="connsiteY836" fmla="*/ 3094 h 10000"/>
                  <a:gd name="connsiteX837" fmla="*/ 8341 w 10785"/>
                  <a:gd name="connsiteY837" fmla="*/ 3077 h 10000"/>
                  <a:gd name="connsiteX838" fmla="*/ 8336 w 10785"/>
                  <a:gd name="connsiteY838" fmla="*/ 3077 h 10000"/>
                  <a:gd name="connsiteX839" fmla="*/ 8327 w 10785"/>
                  <a:gd name="connsiteY839" fmla="*/ 3103 h 10000"/>
                  <a:gd name="connsiteX840" fmla="*/ 8309 w 10785"/>
                  <a:gd name="connsiteY840" fmla="*/ 3120 h 10000"/>
                  <a:gd name="connsiteX841" fmla="*/ 8304 w 10785"/>
                  <a:gd name="connsiteY841" fmla="*/ 3103 h 10000"/>
                  <a:gd name="connsiteX842" fmla="*/ 8276 w 10785"/>
                  <a:gd name="connsiteY842" fmla="*/ 3103 h 10000"/>
                  <a:gd name="connsiteX843" fmla="*/ 8267 w 10785"/>
                  <a:gd name="connsiteY843" fmla="*/ 3120 h 10000"/>
                  <a:gd name="connsiteX844" fmla="*/ 8253 w 10785"/>
                  <a:gd name="connsiteY844" fmla="*/ 3103 h 10000"/>
                  <a:gd name="connsiteX845" fmla="*/ 8230 w 10785"/>
                  <a:gd name="connsiteY845" fmla="*/ 3128 h 10000"/>
                  <a:gd name="connsiteX846" fmla="*/ 8217 w 10785"/>
                  <a:gd name="connsiteY846" fmla="*/ 3128 h 10000"/>
                  <a:gd name="connsiteX847" fmla="*/ 8203 w 10785"/>
                  <a:gd name="connsiteY847" fmla="*/ 3154 h 10000"/>
                  <a:gd name="connsiteX848" fmla="*/ 8175 w 10785"/>
                  <a:gd name="connsiteY848" fmla="*/ 3094 h 10000"/>
                  <a:gd name="connsiteX849" fmla="*/ 8161 w 10785"/>
                  <a:gd name="connsiteY849" fmla="*/ 3094 h 10000"/>
                  <a:gd name="connsiteX850" fmla="*/ 8157 w 10785"/>
                  <a:gd name="connsiteY850" fmla="*/ 3077 h 10000"/>
                  <a:gd name="connsiteX851" fmla="*/ 8180 w 10785"/>
                  <a:gd name="connsiteY851" fmla="*/ 3068 h 10000"/>
                  <a:gd name="connsiteX852" fmla="*/ 8189 w 10785"/>
                  <a:gd name="connsiteY852" fmla="*/ 3043 h 10000"/>
                  <a:gd name="connsiteX853" fmla="*/ 8189 w 10785"/>
                  <a:gd name="connsiteY853" fmla="*/ 3017 h 10000"/>
                  <a:gd name="connsiteX854" fmla="*/ 8147 w 10785"/>
                  <a:gd name="connsiteY854" fmla="*/ 2940 h 10000"/>
                  <a:gd name="connsiteX855" fmla="*/ 8143 w 10785"/>
                  <a:gd name="connsiteY855" fmla="*/ 2915 h 10000"/>
                  <a:gd name="connsiteX856" fmla="*/ 8143 w 10785"/>
                  <a:gd name="connsiteY856" fmla="*/ 2906 h 10000"/>
                  <a:gd name="connsiteX857" fmla="*/ 8097 w 10785"/>
                  <a:gd name="connsiteY857" fmla="*/ 2932 h 10000"/>
                  <a:gd name="connsiteX858" fmla="*/ 8083 w 10785"/>
                  <a:gd name="connsiteY858" fmla="*/ 2932 h 10000"/>
                  <a:gd name="connsiteX859" fmla="*/ 8074 w 10785"/>
                  <a:gd name="connsiteY859" fmla="*/ 2906 h 10000"/>
                  <a:gd name="connsiteX860" fmla="*/ 8074 w 10785"/>
                  <a:gd name="connsiteY860" fmla="*/ 2897 h 10000"/>
                  <a:gd name="connsiteX861" fmla="*/ 8055 w 10785"/>
                  <a:gd name="connsiteY861" fmla="*/ 2872 h 10000"/>
                  <a:gd name="connsiteX862" fmla="*/ 8046 w 10785"/>
                  <a:gd name="connsiteY862" fmla="*/ 2829 h 10000"/>
                  <a:gd name="connsiteX863" fmla="*/ 8041 w 10785"/>
                  <a:gd name="connsiteY863" fmla="*/ 2829 h 10000"/>
                  <a:gd name="connsiteX864" fmla="*/ 8023 w 10785"/>
                  <a:gd name="connsiteY864" fmla="*/ 2803 h 10000"/>
                  <a:gd name="connsiteX865" fmla="*/ 8014 w 10785"/>
                  <a:gd name="connsiteY865" fmla="*/ 2829 h 10000"/>
                  <a:gd name="connsiteX866" fmla="*/ 8000 w 10785"/>
                  <a:gd name="connsiteY866" fmla="*/ 2829 h 10000"/>
                  <a:gd name="connsiteX867" fmla="*/ 7995 w 10785"/>
                  <a:gd name="connsiteY867" fmla="*/ 2821 h 10000"/>
                  <a:gd name="connsiteX868" fmla="*/ 7972 w 10785"/>
                  <a:gd name="connsiteY868" fmla="*/ 2803 h 10000"/>
                  <a:gd name="connsiteX869" fmla="*/ 7968 w 10785"/>
                  <a:gd name="connsiteY869" fmla="*/ 2821 h 10000"/>
                  <a:gd name="connsiteX870" fmla="*/ 7968 w 10785"/>
                  <a:gd name="connsiteY870" fmla="*/ 2803 h 10000"/>
                  <a:gd name="connsiteX871" fmla="*/ 7995 w 10785"/>
                  <a:gd name="connsiteY871" fmla="*/ 2735 h 10000"/>
                  <a:gd name="connsiteX872" fmla="*/ 8000 w 10785"/>
                  <a:gd name="connsiteY872" fmla="*/ 2735 h 10000"/>
                  <a:gd name="connsiteX873" fmla="*/ 8014 w 10785"/>
                  <a:gd name="connsiteY873" fmla="*/ 2744 h 10000"/>
                  <a:gd name="connsiteX874" fmla="*/ 8023 w 10785"/>
                  <a:gd name="connsiteY874" fmla="*/ 2769 h 10000"/>
                  <a:gd name="connsiteX875" fmla="*/ 8032 w 10785"/>
                  <a:gd name="connsiteY875" fmla="*/ 2744 h 10000"/>
                  <a:gd name="connsiteX876" fmla="*/ 8032 w 10785"/>
                  <a:gd name="connsiteY876" fmla="*/ 2709 h 10000"/>
                  <a:gd name="connsiteX877" fmla="*/ 8023 w 10785"/>
                  <a:gd name="connsiteY877" fmla="*/ 2632 h 10000"/>
                  <a:gd name="connsiteX878" fmla="*/ 7986 w 10785"/>
                  <a:gd name="connsiteY878" fmla="*/ 2581 h 10000"/>
                  <a:gd name="connsiteX879" fmla="*/ 7968 w 10785"/>
                  <a:gd name="connsiteY879" fmla="*/ 2581 h 10000"/>
                  <a:gd name="connsiteX880" fmla="*/ 7963 w 10785"/>
                  <a:gd name="connsiteY880" fmla="*/ 2556 h 10000"/>
                  <a:gd name="connsiteX881" fmla="*/ 7935 w 10785"/>
                  <a:gd name="connsiteY881" fmla="*/ 2547 h 10000"/>
                  <a:gd name="connsiteX882" fmla="*/ 7912 w 10785"/>
                  <a:gd name="connsiteY882" fmla="*/ 2547 h 10000"/>
                  <a:gd name="connsiteX883" fmla="*/ 7912 w 10785"/>
                  <a:gd name="connsiteY883" fmla="*/ 2556 h 10000"/>
                  <a:gd name="connsiteX884" fmla="*/ 7908 w 10785"/>
                  <a:gd name="connsiteY884" fmla="*/ 2547 h 10000"/>
                  <a:gd name="connsiteX885" fmla="*/ 7862 w 10785"/>
                  <a:gd name="connsiteY885" fmla="*/ 2547 h 10000"/>
                  <a:gd name="connsiteX886" fmla="*/ 7848 w 10785"/>
                  <a:gd name="connsiteY886" fmla="*/ 2556 h 10000"/>
                  <a:gd name="connsiteX887" fmla="*/ 7820 w 10785"/>
                  <a:gd name="connsiteY887" fmla="*/ 2547 h 10000"/>
                  <a:gd name="connsiteX888" fmla="*/ 7806 w 10785"/>
                  <a:gd name="connsiteY888" fmla="*/ 2513 h 10000"/>
                  <a:gd name="connsiteX889" fmla="*/ 7788 w 10785"/>
                  <a:gd name="connsiteY889" fmla="*/ 2513 h 10000"/>
                  <a:gd name="connsiteX890" fmla="*/ 7760 w 10785"/>
                  <a:gd name="connsiteY890" fmla="*/ 2470 h 10000"/>
                  <a:gd name="connsiteX891" fmla="*/ 7751 w 10785"/>
                  <a:gd name="connsiteY891" fmla="*/ 2470 h 10000"/>
                  <a:gd name="connsiteX892" fmla="*/ 7705 w 10785"/>
                  <a:gd name="connsiteY892" fmla="*/ 2462 h 10000"/>
                  <a:gd name="connsiteX893" fmla="*/ 7673 w 10785"/>
                  <a:gd name="connsiteY893" fmla="*/ 2419 h 10000"/>
                  <a:gd name="connsiteX894" fmla="*/ 7627 w 10785"/>
                  <a:gd name="connsiteY894" fmla="*/ 2419 h 10000"/>
                  <a:gd name="connsiteX895" fmla="*/ 7613 w 10785"/>
                  <a:gd name="connsiteY895" fmla="*/ 2410 h 10000"/>
                  <a:gd name="connsiteX896" fmla="*/ 7493 w 10785"/>
                  <a:gd name="connsiteY896" fmla="*/ 2393 h 10000"/>
                  <a:gd name="connsiteX897" fmla="*/ 7479 w 10785"/>
                  <a:gd name="connsiteY897" fmla="*/ 2385 h 10000"/>
                  <a:gd name="connsiteX898" fmla="*/ 7479 w 10785"/>
                  <a:gd name="connsiteY898" fmla="*/ 2376 h 10000"/>
                  <a:gd name="connsiteX899" fmla="*/ 7465 w 10785"/>
                  <a:gd name="connsiteY899" fmla="*/ 2359 h 10000"/>
                  <a:gd name="connsiteX900" fmla="*/ 7447 w 10785"/>
                  <a:gd name="connsiteY900" fmla="*/ 2350 h 10000"/>
                  <a:gd name="connsiteX901" fmla="*/ 7433 w 10785"/>
                  <a:gd name="connsiteY901" fmla="*/ 2376 h 10000"/>
                  <a:gd name="connsiteX902" fmla="*/ 7433 w 10785"/>
                  <a:gd name="connsiteY902" fmla="*/ 2385 h 10000"/>
                  <a:gd name="connsiteX903" fmla="*/ 7447 w 10785"/>
                  <a:gd name="connsiteY903" fmla="*/ 2410 h 10000"/>
                  <a:gd name="connsiteX904" fmla="*/ 7447 w 10785"/>
                  <a:gd name="connsiteY904" fmla="*/ 2436 h 10000"/>
                  <a:gd name="connsiteX905" fmla="*/ 7452 w 10785"/>
                  <a:gd name="connsiteY905" fmla="*/ 2462 h 10000"/>
                  <a:gd name="connsiteX906" fmla="*/ 7447 w 10785"/>
                  <a:gd name="connsiteY906" fmla="*/ 2470 h 10000"/>
                  <a:gd name="connsiteX907" fmla="*/ 7424 w 10785"/>
                  <a:gd name="connsiteY907" fmla="*/ 2513 h 10000"/>
                  <a:gd name="connsiteX908" fmla="*/ 7419 w 10785"/>
                  <a:gd name="connsiteY908" fmla="*/ 2556 h 10000"/>
                  <a:gd name="connsiteX909" fmla="*/ 7406 w 10785"/>
                  <a:gd name="connsiteY909" fmla="*/ 2624 h 10000"/>
                  <a:gd name="connsiteX910" fmla="*/ 7392 w 10785"/>
                  <a:gd name="connsiteY910" fmla="*/ 2624 h 10000"/>
                  <a:gd name="connsiteX911" fmla="*/ 7373 w 10785"/>
                  <a:gd name="connsiteY911" fmla="*/ 2650 h 10000"/>
                  <a:gd name="connsiteX912" fmla="*/ 7364 w 10785"/>
                  <a:gd name="connsiteY912" fmla="*/ 2684 h 10000"/>
                  <a:gd name="connsiteX913" fmla="*/ 7364 w 10785"/>
                  <a:gd name="connsiteY913" fmla="*/ 2692 h 10000"/>
                  <a:gd name="connsiteX914" fmla="*/ 7373 w 10785"/>
                  <a:gd name="connsiteY914" fmla="*/ 2718 h 10000"/>
                  <a:gd name="connsiteX915" fmla="*/ 7373 w 10785"/>
                  <a:gd name="connsiteY915" fmla="*/ 2744 h 10000"/>
                  <a:gd name="connsiteX916" fmla="*/ 7359 w 10785"/>
                  <a:gd name="connsiteY916" fmla="*/ 2744 h 10000"/>
                  <a:gd name="connsiteX917" fmla="*/ 7359 w 10785"/>
                  <a:gd name="connsiteY917" fmla="*/ 2795 h 10000"/>
                  <a:gd name="connsiteX918" fmla="*/ 7364 w 10785"/>
                  <a:gd name="connsiteY918" fmla="*/ 2821 h 10000"/>
                  <a:gd name="connsiteX919" fmla="*/ 7378 w 10785"/>
                  <a:gd name="connsiteY919" fmla="*/ 2846 h 10000"/>
                  <a:gd name="connsiteX920" fmla="*/ 7378 w 10785"/>
                  <a:gd name="connsiteY920" fmla="*/ 2855 h 10000"/>
                  <a:gd name="connsiteX921" fmla="*/ 7378 w 10785"/>
                  <a:gd name="connsiteY921" fmla="*/ 2880 h 10000"/>
                  <a:gd name="connsiteX922" fmla="*/ 7378 w 10785"/>
                  <a:gd name="connsiteY922" fmla="*/ 2906 h 10000"/>
                  <a:gd name="connsiteX923" fmla="*/ 7364 w 10785"/>
                  <a:gd name="connsiteY923" fmla="*/ 2906 h 10000"/>
                  <a:gd name="connsiteX924" fmla="*/ 7346 w 10785"/>
                  <a:gd name="connsiteY924" fmla="*/ 2880 h 10000"/>
                  <a:gd name="connsiteX925" fmla="*/ 7332 w 10785"/>
                  <a:gd name="connsiteY925" fmla="*/ 2915 h 10000"/>
                  <a:gd name="connsiteX926" fmla="*/ 7318 w 10785"/>
                  <a:gd name="connsiteY926" fmla="*/ 2906 h 10000"/>
                  <a:gd name="connsiteX927" fmla="*/ 7313 w 10785"/>
                  <a:gd name="connsiteY927" fmla="*/ 2915 h 10000"/>
                  <a:gd name="connsiteX928" fmla="*/ 7313 w 10785"/>
                  <a:gd name="connsiteY928" fmla="*/ 2906 h 10000"/>
                  <a:gd name="connsiteX929" fmla="*/ 7286 w 10785"/>
                  <a:gd name="connsiteY929" fmla="*/ 2940 h 10000"/>
                  <a:gd name="connsiteX930" fmla="*/ 7276 w 10785"/>
                  <a:gd name="connsiteY930" fmla="*/ 2966 h 10000"/>
                  <a:gd name="connsiteX931" fmla="*/ 7272 w 10785"/>
                  <a:gd name="connsiteY931" fmla="*/ 2983 h 10000"/>
                  <a:gd name="connsiteX932" fmla="*/ 7267 w 10785"/>
                  <a:gd name="connsiteY932" fmla="*/ 3009 h 10000"/>
                  <a:gd name="connsiteX933" fmla="*/ 7253 w 10785"/>
                  <a:gd name="connsiteY933" fmla="*/ 3009 h 10000"/>
                  <a:gd name="connsiteX934" fmla="*/ 7244 w 10785"/>
                  <a:gd name="connsiteY934" fmla="*/ 3017 h 10000"/>
                  <a:gd name="connsiteX935" fmla="*/ 7240 w 10785"/>
                  <a:gd name="connsiteY935" fmla="*/ 3009 h 10000"/>
                  <a:gd name="connsiteX936" fmla="*/ 7230 w 10785"/>
                  <a:gd name="connsiteY936" fmla="*/ 2991 h 10000"/>
                  <a:gd name="connsiteX937" fmla="*/ 7226 w 10785"/>
                  <a:gd name="connsiteY937" fmla="*/ 2983 h 10000"/>
                  <a:gd name="connsiteX938" fmla="*/ 7226 w 10785"/>
                  <a:gd name="connsiteY938" fmla="*/ 2966 h 10000"/>
                  <a:gd name="connsiteX939" fmla="*/ 7212 w 10785"/>
                  <a:gd name="connsiteY939" fmla="*/ 2957 h 10000"/>
                  <a:gd name="connsiteX940" fmla="*/ 7212 w 10785"/>
                  <a:gd name="connsiteY940" fmla="*/ 2932 h 10000"/>
                  <a:gd name="connsiteX941" fmla="*/ 7198 w 10785"/>
                  <a:gd name="connsiteY941" fmla="*/ 2915 h 10000"/>
                  <a:gd name="connsiteX942" fmla="*/ 7194 w 10785"/>
                  <a:gd name="connsiteY942" fmla="*/ 2915 h 10000"/>
                  <a:gd name="connsiteX943" fmla="*/ 7157 w 10785"/>
                  <a:gd name="connsiteY943" fmla="*/ 2880 h 10000"/>
                  <a:gd name="connsiteX944" fmla="*/ 7138 w 10785"/>
                  <a:gd name="connsiteY944" fmla="*/ 2880 h 10000"/>
                  <a:gd name="connsiteX945" fmla="*/ 7120 w 10785"/>
                  <a:gd name="connsiteY945" fmla="*/ 2872 h 10000"/>
                  <a:gd name="connsiteX946" fmla="*/ 7111 w 10785"/>
                  <a:gd name="connsiteY946" fmla="*/ 2846 h 10000"/>
                  <a:gd name="connsiteX947" fmla="*/ 7106 w 10785"/>
                  <a:gd name="connsiteY947" fmla="*/ 2846 h 10000"/>
                  <a:gd name="connsiteX948" fmla="*/ 7092 w 10785"/>
                  <a:gd name="connsiteY948" fmla="*/ 2829 h 10000"/>
                  <a:gd name="connsiteX949" fmla="*/ 7051 w 10785"/>
                  <a:gd name="connsiteY949" fmla="*/ 2829 h 10000"/>
                  <a:gd name="connsiteX950" fmla="*/ 7037 w 10785"/>
                  <a:gd name="connsiteY950" fmla="*/ 2880 h 10000"/>
                  <a:gd name="connsiteX951" fmla="*/ 7037 w 10785"/>
                  <a:gd name="connsiteY951" fmla="*/ 2906 h 10000"/>
                  <a:gd name="connsiteX952" fmla="*/ 7037 w 10785"/>
                  <a:gd name="connsiteY952" fmla="*/ 2932 h 10000"/>
                  <a:gd name="connsiteX953" fmla="*/ 7037 w 10785"/>
                  <a:gd name="connsiteY953" fmla="*/ 2940 h 10000"/>
                  <a:gd name="connsiteX954" fmla="*/ 7023 w 10785"/>
                  <a:gd name="connsiteY954" fmla="*/ 2906 h 10000"/>
                  <a:gd name="connsiteX955" fmla="*/ 7023 w 10785"/>
                  <a:gd name="connsiteY955" fmla="*/ 2915 h 10000"/>
                  <a:gd name="connsiteX956" fmla="*/ 6991 w 10785"/>
                  <a:gd name="connsiteY956" fmla="*/ 2906 h 10000"/>
                  <a:gd name="connsiteX957" fmla="*/ 6977 w 10785"/>
                  <a:gd name="connsiteY957" fmla="*/ 2915 h 10000"/>
                  <a:gd name="connsiteX958" fmla="*/ 6963 w 10785"/>
                  <a:gd name="connsiteY958" fmla="*/ 2915 h 10000"/>
                  <a:gd name="connsiteX959" fmla="*/ 6949 w 10785"/>
                  <a:gd name="connsiteY959" fmla="*/ 2872 h 10000"/>
                  <a:gd name="connsiteX960" fmla="*/ 6935 w 10785"/>
                  <a:gd name="connsiteY960" fmla="*/ 2855 h 10000"/>
                  <a:gd name="connsiteX961" fmla="*/ 6922 w 10785"/>
                  <a:gd name="connsiteY961" fmla="*/ 2803 h 10000"/>
                  <a:gd name="connsiteX962" fmla="*/ 6917 w 10785"/>
                  <a:gd name="connsiteY962" fmla="*/ 2786 h 10000"/>
                  <a:gd name="connsiteX963" fmla="*/ 6903 w 10785"/>
                  <a:gd name="connsiteY963" fmla="*/ 2709 h 10000"/>
                  <a:gd name="connsiteX964" fmla="*/ 6903 w 10785"/>
                  <a:gd name="connsiteY964" fmla="*/ 2692 h 10000"/>
                  <a:gd name="connsiteX965" fmla="*/ 6899 w 10785"/>
                  <a:gd name="connsiteY965" fmla="*/ 2709 h 10000"/>
                  <a:gd name="connsiteX966" fmla="*/ 6857 w 10785"/>
                  <a:gd name="connsiteY966" fmla="*/ 2872 h 10000"/>
                  <a:gd name="connsiteX967" fmla="*/ 6857 w 10785"/>
                  <a:gd name="connsiteY967" fmla="*/ 3009 h 10000"/>
                  <a:gd name="connsiteX968" fmla="*/ 6848 w 10785"/>
                  <a:gd name="connsiteY968" fmla="*/ 3017 h 10000"/>
                  <a:gd name="connsiteX969" fmla="*/ 6839 w 10785"/>
                  <a:gd name="connsiteY969" fmla="*/ 3068 h 10000"/>
                  <a:gd name="connsiteX970" fmla="*/ 6829 w 10785"/>
                  <a:gd name="connsiteY970" fmla="*/ 3077 h 10000"/>
                  <a:gd name="connsiteX971" fmla="*/ 6829 w 10785"/>
                  <a:gd name="connsiteY971" fmla="*/ 3128 h 10000"/>
                  <a:gd name="connsiteX972" fmla="*/ 6816 w 10785"/>
                  <a:gd name="connsiteY972" fmla="*/ 3154 h 10000"/>
                  <a:gd name="connsiteX973" fmla="*/ 6811 w 10785"/>
                  <a:gd name="connsiteY973" fmla="*/ 3179 h 10000"/>
                  <a:gd name="connsiteX974" fmla="*/ 6797 w 10785"/>
                  <a:gd name="connsiteY974" fmla="*/ 3171 h 10000"/>
                  <a:gd name="connsiteX975" fmla="*/ 6783 w 10785"/>
                  <a:gd name="connsiteY975" fmla="*/ 3103 h 10000"/>
                  <a:gd name="connsiteX976" fmla="*/ 6779 w 10785"/>
                  <a:gd name="connsiteY976" fmla="*/ 3094 h 10000"/>
                  <a:gd name="connsiteX977" fmla="*/ 6779 w 10785"/>
                  <a:gd name="connsiteY977" fmla="*/ 3120 h 10000"/>
                  <a:gd name="connsiteX978" fmla="*/ 6770 w 10785"/>
                  <a:gd name="connsiteY978" fmla="*/ 3128 h 10000"/>
                  <a:gd name="connsiteX979" fmla="*/ 6765 w 10785"/>
                  <a:gd name="connsiteY979" fmla="*/ 3103 h 10000"/>
                  <a:gd name="connsiteX980" fmla="*/ 6756 w 10785"/>
                  <a:gd name="connsiteY980" fmla="*/ 3103 h 10000"/>
                  <a:gd name="connsiteX981" fmla="*/ 6742 w 10785"/>
                  <a:gd name="connsiteY981" fmla="*/ 3103 h 10000"/>
                  <a:gd name="connsiteX982" fmla="*/ 6737 w 10785"/>
                  <a:gd name="connsiteY982" fmla="*/ 3077 h 10000"/>
                  <a:gd name="connsiteX983" fmla="*/ 6737 w 10785"/>
                  <a:gd name="connsiteY983" fmla="*/ 3068 h 10000"/>
                  <a:gd name="connsiteX984" fmla="*/ 6728 w 10785"/>
                  <a:gd name="connsiteY984" fmla="*/ 3043 h 10000"/>
                  <a:gd name="connsiteX985" fmla="*/ 6724 w 10785"/>
                  <a:gd name="connsiteY985" fmla="*/ 3051 h 10000"/>
                  <a:gd name="connsiteX986" fmla="*/ 6714 w 10785"/>
                  <a:gd name="connsiteY986" fmla="*/ 3043 h 10000"/>
                  <a:gd name="connsiteX987" fmla="*/ 6710 w 10785"/>
                  <a:gd name="connsiteY987" fmla="*/ 3034 h 10000"/>
                  <a:gd name="connsiteX988" fmla="*/ 6705 w 10785"/>
                  <a:gd name="connsiteY988" fmla="*/ 2983 h 10000"/>
                  <a:gd name="connsiteX989" fmla="*/ 6696 w 10785"/>
                  <a:gd name="connsiteY989" fmla="*/ 2966 h 10000"/>
                  <a:gd name="connsiteX990" fmla="*/ 6691 w 10785"/>
                  <a:gd name="connsiteY990" fmla="*/ 2983 h 10000"/>
                  <a:gd name="connsiteX991" fmla="*/ 6677 w 10785"/>
                  <a:gd name="connsiteY991" fmla="*/ 2897 h 10000"/>
                  <a:gd name="connsiteX992" fmla="*/ 6677 w 10785"/>
                  <a:gd name="connsiteY992" fmla="*/ 2897 h 10000"/>
                  <a:gd name="connsiteX993" fmla="*/ 6677 w 10785"/>
                  <a:gd name="connsiteY993" fmla="*/ 2872 h 10000"/>
                  <a:gd name="connsiteX994" fmla="*/ 6668 w 10785"/>
                  <a:gd name="connsiteY994" fmla="*/ 2821 h 10000"/>
                  <a:gd name="connsiteX995" fmla="*/ 6664 w 10785"/>
                  <a:gd name="connsiteY995" fmla="*/ 2829 h 10000"/>
                  <a:gd name="connsiteX996" fmla="*/ 6654 w 10785"/>
                  <a:gd name="connsiteY996" fmla="*/ 2846 h 10000"/>
                  <a:gd name="connsiteX997" fmla="*/ 6650 w 10785"/>
                  <a:gd name="connsiteY997" fmla="*/ 2829 h 10000"/>
                  <a:gd name="connsiteX998" fmla="*/ 6650 w 10785"/>
                  <a:gd name="connsiteY998" fmla="*/ 2803 h 10000"/>
                  <a:gd name="connsiteX999" fmla="*/ 6650 w 10785"/>
                  <a:gd name="connsiteY999" fmla="*/ 2795 h 10000"/>
                  <a:gd name="connsiteX1000" fmla="*/ 6641 w 10785"/>
                  <a:gd name="connsiteY1000" fmla="*/ 2786 h 10000"/>
                  <a:gd name="connsiteX1001" fmla="*/ 6636 w 10785"/>
                  <a:gd name="connsiteY1001" fmla="*/ 2735 h 10000"/>
                  <a:gd name="connsiteX1002" fmla="*/ 6664 w 10785"/>
                  <a:gd name="connsiteY1002" fmla="*/ 2667 h 10000"/>
                  <a:gd name="connsiteX1003" fmla="*/ 6668 w 10785"/>
                  <a:gd name="connsiteY1003" fmla="*/ 2684 h 10000"/>
                  <a:gd name="connsiteX1004" fmla="*/ 6677 w 10785"/>
                  <a:gd name="connsiteY1004" fmla="*/ 2667 h 10000"/>
                  <a:gd name="connsiteX1005" fmla="*/ 6668 w 10785"/>
                  <a:gd name="connsiteY1005" fmla="*/ 2667 h 10000"/>
                  <a:gd name="connsiteX1006" fmla="*/ 6668 w 10785"/>
                  <a:gd name="connsiteY1006" fmla="*/ 2650 h 10000"/>
                  <a:gd name="connsiteX1007" fmla="*/ 6682 w 10785"/>
                  <a:gd name="connsiteY1007" fmla="*/ 2650 h 10000"/>
                  <a:gd name="connsiteX1008" fmla="*/ 6691 w 10785"/>
                  <a:gd name="connsiteY1008" fmla="*/ 2624 h 10000"/>
                  <a:gd name="connsiteX1009" fmla="*/ 6682 w 10785"/>
                  <a:gd name="connsiteY1009" fmla="*/ 2632 h 10000"/>
                  <a:gd name="connsiteX1010" fmla="*/ 6682 w 10785"/>
                  <a:gd name="connsiteY1010" fmla="*/ 2624 h 10000"/>
                  <a:gd name="connsiteX1011" fmla="*/ 6691 w 10785"/>
                  <a:gd name="connsiteY1011" fmla="*/ 2607 h 10000"/>
                  <a:gd name="connsiteX1012" fmla="*/ 6691 w 10785"/>
                  <a:gd name="connsiteY1012" fmla="*/ 2598 h 10000"/>
                  <a:gd name="connsiteX1013" fmla="*/ 6691 w 10785"/>
                  <a:gd name="connsiteY1013" fmla="*/ 2581 h 10000"/>
                  <a:gd name="connsiteX1014" fmla="*/ 6696 w 10785"/>
                  <a:gd name="connsiteY1014" fmla="*/ 2530 h 10000"/>
                  <a:gd name="connsiteX1015" fmla="*/ 6677 w 10785"/>
                  <a:gd name="connsiteY1015" fmla="*/ 2513 h 10000"/>
                  <a:gd name="connsiteX1016" fmla="*/ 6677 w 10785"/>
                  <a:gd name="connsiteY1016" fmla="*/ 2496 h 10000"/>
                  <a:gd name="connsiteX1017" fmla="*/ 6682 w 10785"/>
                  <a:gd name="connsiteY1017" fmla="*/ 2470 h 10000"/>
                  <a:gd name="connsiteX1018" fmla="*/ 6668 w 10785"/>
                  <a:gd name="connsiteY1018" fmla="*/ 2462 h 10000"/>
                  <a:gd name="connsiteX1019" fmla="*/ 6677 w 10785"/>
                  <a:gd name="connsiteY1019" fmla="*/ 2436 h 10000"/>
                  <a:gd name="connsiteX1020" fmla="*/ 6682 w 10785"/>
                  <a:gd name="connsiteY1020" fmla="*/ 2419 h 10000"/>
                  <a:gd name="connsiteX1021" fmla="*/ 6682 w 10785"/>
                  <a:gd name="connsiteY1021" fmla="*/ 2393 h 10000"/>
                  <a:gd name="connsiteX1022" fmla="*/ 6682 w 10785"/>
                  <a:gd name="connsiteY1022" fmla="*/ 2385 h 10000"/>
                  <a:gd name="connsiteX1023" fmla="*/ 6682 w 10785"/>
                  <a:gd name="connsiteY1023" fmla="*/ 2385 h 10000"/>
                  <a:gd name="connsiteX1024" fmla="*/ 6677 w 10785"/>
                  <a:gd name="connsiteY1024" fmla="*/ 2376 h 10000"/>
                  <a:gd name="connsiteX1025" fmla="*/ 6682 w 10785"/>
                  <a:gd name="connsiteY1025" fmla="*/ 2359 h 10000"/>
                  <a:gd name="connsiteX1026" fmla="*/ 6677 w 10785"/>
                  <a:gd name="connsiteY1026" fmla="*/ 2333 h 10000"/>
                  <a:gd name="connsiteX1027" fmla="*/ 6691 w 10785"/>
                  <a:gd name="connsiteY1027" fmla="*/ 2333 h 10000"/>
                  <a:gd name="connsiteX1028" fmla="*/ 6691 w 10785"/>
                  <a:gd name="connsiteY1028" fmla="*/ 2325 h 10000"/>
                  <a:gd name="connsiteX1029" fmla="*/ 6691 w 10785"/>
                  <a:gd name="connsiteY1029" fmla="*/ 2308 h 10000"/>
                  <a:gd name="connsiteX1030" fmla="*/ 6691 w 10785"/>
                  <a:gd name="connsiteY1030" fmla="*/ 2299 h 10000"/>
                  <a:gd name="connsiteX1031" fmla="*/ 6691 w 10785"/>
                  <a:gd name="connsiteY1031" fmla="*/ 2282 h 10000"/>
                  <a:gd name="connsiteX1032" fmla="*/ 6691 w 10785"/>
                  <a:gd name="connsiteY1032" fmla="*/ 2274 h 10000"/>
                  <a:gd name="connsiteX1033" fmla="*/ 6668 w 10785"/>
                  <a:gd name="connsiteY1033" fmla="*/ 2248 h 10000"/>
                  <a:gd name="connsiteX1034" fmla="*/ 6664 w 10785"/>
                  <a:gd name="connsiteY1034" fmla="*/ 2222 h 10000"/>
                  <a:gd name="connsiteX1035" fmla="*/ 6654 w 10785"/>
                  <a:gd name="connsiteY1035" fmla="*/ 2214 h 10000"/>
                  <a:gd name="connsiteX1036" fmla="*/ 6654 w 10785"/>
                  <a:gd name="connsiteY1036" fmla="*/ 2188 h 10000"/>
                  <a:gd name="connsiteX1037" fmla="*/ 6622 w 10785"/>
                  <a:gd name="connsiteY1037" fmla="*/ 2162 h 10000"/>
                  <a:gd name="connsiteX1038" fmla="*/ 6631 w 10785"/>
                  <a:gd name="connsiteY1038" fmla="*/ 2145 h 10000"/>
                  <a:gd name="connsiteX1039" fmla="*/ 6622 w 10785"/>
                  <a:gd name="connsiteY1039" fmla="*/ 2120 h 10000"/>
                  <a:gd name="connsiteX1040" fmla="*/ 6608 w 10785"/>
                  <a:gd name="connsiteY1040" fmla="*/ 2120 h 10000"/>
                  <a:gd name="connsiteX1041" fmla="*/ 6604 w 10785"/>
                  <a:gd name="connsiteY1041" fmla="*/ 2111 h 10000"/>
                  <a:gd name="connsiteX1042" fmla="*/ 6608 w 10785"/>
                  <a:gd name="connsiteY1042" fmla="*/ 2111 h 10000"/>
                  <a:gd name="connsiteX1043" fmla="*/ 6604 w 10785"/>
                  <a:gd name="connsiteY1043" fmla="*/ 2085 h 10000"/>
                  <a:gd name="connsiteX1044" fmla="*/ 6581 w 10785"/>
                  <a:gd name="connsiteY1044" fmla="*/ 2077 h 10000"/>
                  <a:gd name="connsiteX1045" fmla="*/ 6571 w 10785"/>
                  <a:gd name="connsiteY1045" fmla="*/ 2085 h 10000"/>
                  <a:gd name="connsiteX1046" fmla="*/ 6548 w 10785"/>
                  <a:gd name="connsiteY1046" fmla="*/ 2077 h 10000"/>
                  <a:gd name="connsiteX1047" fmla="*/ 6530 w 10785"/>
                  <a:gd name="connsiteY1047" fmla="*/ 2060 h 10000"/>
                  <a:gd name="connsiteX1048" fmla="*/ 6521 w 10785"/>
                  <a:gd name="connsiteY1048" fmla="*/ 2060 h 10000"/>
                  <a:gd name="connsiteX1049" fmla="*/ 6521 w 10785"/>
                  <a:gd name="connsiteY1049" fmla="*/ 2085 h 10000"/>
                  <a:gd name="connsiteX1050" fmla="*/ 6516 w 10785"/>
                  <a:gd name="connsiteY1050" fmla="*/ 2085 h 10000"/>
                  <a:gd name="connsiteX1051" fmla="*/ 6502 w 10785"/>
                  <a:gd name="connsiteY1051" fmla="*/ 2111 h 10000"/>
                  <a:gd name="connsiteX1052" fmla="*/ 6498 w 10785"/>
                  <a:gd name="connsiteY1052" fmla="*/ 2111 h 10000"/>
                  <a:gd name="connsiteX1053" fmla="*/ 6498 w 10785"/>
                  <a:gd name="connsiteY1053" fmla="*/ 2103 h 10000"/>
                  <a:gd name="connsiteX1054" fmla="*/ 6475 w 10785"/>
                  <a:gd name="connsiteY1054" fmla="*/ 2051 h 10000"/>
                  <a:gd name="connsiteX1055" fmla="*/ 6470 w 10785"/>
                  <a:gd name="connsiteY1055" fmla="*/ 2060 h 10000"/>
                  <a:gd name="connsiteX1056" fmla="*/ 6456 w 10785"/>
                  <a:gd name="connsiteY1056" fmla="*/ 2051 h 10000"/>
                  <a:gd name="connsiteX1057" fmla="*/ 6447 w 10785"/>
                  <a:gd name="connsiteY1057" fmla="*/ 2051 h 10000"/>
                  <a:gd name="connsiteX1058" fmla="*/ 6433 w 10785"/>
                  <a:gd name="connsiteY1058" fmla="*/ 2026 h 10000"/>
                  <a:gd name="connsiteX1059" fmla="*/ 6433 w 10785"/>
                  <a:gd name="connsiteY1059" fmla="*/ 2034 h 10000"/>
                  <a:gd name="connsiteX1060" fmla="*/ 6429 w 10785"/>
                  <a:gd name="connsiteY1060" fmla="*/ 2026 h 10000"/>
                  <a:gd name="connsiteX1061" fmla="*/ 6424 w 10785"/>
                  <a:gd name="connsiteY1061" fmla="*/ 2034 h 10000"/>
                  <a:gd name="connsiteX1062" fmla="*/ 6410 w 10785"/>
                  <a:gd name="connsiteY1062" fmla="*/ 2026 h 10000"/>
                  <a:gd name="connsiteX1063" fmla="*/ 6410 w 10785"/>
                  <a:gd name="connsiteY1063" fmla="*/ 1991 h 10000"/>
                  <a:gd name="connsiteX1064" fmla="*/ 6401 w 10785"/>
                  <a:gd name="connsiteY1064" fmla="*/ 1991 h 10000"/>
                  <a:gd name="connsiteX1065" fmla="*/ 6396 w 10785"/>
                  <a:gd name="connsiteY1065" fmla="*/ 2000 h 10000"/>
                  <a:gd name="connsiteX1066" fmla="*/ 6382 w 10785"/>
                  <a:gd name="connsiteY1066" fmla="*/ 1966 h 10000"/>
                  <a:gd name="connsiteX1067" fmla="*/ 6373 w 10785"/>
                  <a:gd name="connsiteY1067" fmla="*/ 1974 h 10000"/>
                  <a:gd name="connsiteX1068" fmla="*/ 6369 w 10785"/>
                  <a:gd name="connsiteY1068" fmla="*/ 1966 h 10000"/>
                  <a:gd name="connsiteX1069" fmla="*/ 6341 w 10785"/>
                  <a:gd name="connsiteY1069" fmla="*/ 1949 h 10000"/>
                  <a:gd name="connsiteX1070" fmla="*/ 6327 w 10785"/>
                  <a:gd name="connsiteY1070" fmla="*/ 1923 h 10000"/>
                  <a:gd name="connsiteX1071" fmla="*/ 6323 w 10785"/>
                  <a:gd name="connsiteY1071" fmla="*/ 1923 h 10000"/>
                  <a:gd name="connsiteX1072" fmla="*/ 6323 w 10785"/>
                  <a:gd name="connsiteY1072" fmla="*/ 1966 h 10000"/>
                  <a:gd name="connsiteX1073" fmla="*/ 6323 w 10785"/>
                  <a:gd name="connsiteY1073" fmla="*/ 1991 h 10000"/>
                  <a:gd name="connsiteX1074" fmla="*/ 6313 w 10785"/>
                  <a:gd name="connsiteY1074" fmla="*/ 1991 h 10000"/>
                  <a:gd name="connsiteX1075" fmla="*/ 6300 w 10785"/>
                  <a:gd name="connsiteY1075" fmla="*/ 1991 h 10000"/>
                  <a:gd name="connsiteX1076" fmla="*/ 6290 w 10785"/>
                  <a:gd name="connsiteY1076" fmla="*/ 1949 h 10000"/>
                  <a:gd name="connsiteX1077" fmla="*/ 6276 w 10785"/>
                  <a:gd name="connsiteY1077" fmla="*/ 2103 h 10000"/>
                  <a:gd name="connsiteX1078" fmla="*/ 6281 w 10785"/>
                  <a:gd name="connsiteY1078" fmla="*/ 2103 h 10000"/>
                  <a:gd name="connsiteX1079" fmla="*/ 6276 w 10785"/>
                  <a:gd name="connsiteY1079" fmla="*/ 2111 h 10000"/>
                  <a:gd name="connsiteX1080" fmla="*/ 6276 w 10785"/>
                  <a:gd name="connsiteY1080" fmla="*/ 2120 h 10000"/>
                  <a:gd name="connsiteX1081" fmla="*/ 6295 w 10785"/>
                  <a:gd name="connsiteY1081" fmla="*/ 2239 h 10000"/>
                  <a:gd name="connsiteX1082" fmla="*/ 6290 w 10785"/>
                  <a:gd name="connsiteY1082" fmla="*/ 2248 h 10000"/>
                  <a:gd name="connsiteX1083" fmla="*/ 6281 w 10785"/>
                  <a:gd name="connsiteY1083" fmla="*/ 2274 h 10000"/>
                  <a:gd name="connsiteX1084" fmla="*/ 6249 w 10785"/>
                  <a:gd name="connsiteY1084" fmla="*/ 2274 h 10000"/>
                  <a:gd name="connsiteX1085" fmla="*/ 6226 w 10785"/>
                  <a:gd name="connsiteY1085" fmla="*/ 2308 h 10000"/>
                  <a:gd name="connsiteX1086" fmla="*/ 6221 w 10785"/>
                  <a:gd name="connsiteY1086" fmla="*/ 2299 h 10000"/>
                  <a:gd name="connsiteX1087" fmla="*/ 6221 w 10785"/>
                  <a:gd name="connsiteY1087" fmla="*/ 2308 h 10000"/>
                  <a:gd name="connsiteX1088" fmla="*/ 6217 w 10785"/>
                  <a:gd name="connsiteY1088" fmla="*/ 2299 h 10000"/>
                  <a:gd name="connsiteX1089" fmla="*/ 6194 w 10785"/>
                  <a:gd name="connsiteY1089" fmla="*/ 2308 h 10000"/>
                  <a:gd name="connsiteX1090" fmla="*/ 6180 w 10785"/>
                  <a:gd name="connsiteY1090" fmla="*/ 2299 h 10000"/>
                  <a:gd name="connsiteX1091" fmla="*/ 6143 w 10785"/>
                  <a:gd name="connsiteY1091" fmla="*/ 2308 h 10000"/>
                  <a:gd name="connsiteX1092" fmla="*/ 6134 w 10785"/>
                  <a:gd name="connsiteY1092" fmla="*/ 2325 h 10000"/>
                  <a:gd name="connsiteX1093" fmla="*/ 6115 w 10785"/>
                  <a:gd name="connsiteY1093" fmla="*/ 2282 h 10000"/>
                  <a:gd name="connsiteX1094" fmla="*/ 6069 w 10785"/>
                  <a:gd name="connsiteY1094" fmla="*/ 2274 h 10000"/>
                  <a:gd name="connsiteX1095" fmla="*/ 6069 w 10785"/>
                  <a:gd name="connsiteY1095" fmla="*/ 2282 h 10000"/>
                  <a:gd name="connsiteX1096" fmla="*/ 6060 w 10785"/>
                  <a:gd name="connsiteY1096" fmla="*/ 2299 h 10000"/>
                  <a:gd name="connsiteX1097" fmla="*/ 5972 w 10785"/>
                  <a:gd name="connsiteY1097" fmla="*/ 2214 h 10000"/>
                  <a:gd name="connsiteX1098" fmla="*/ 5968 w 10785"/>
                  <a:gd name="connsiteY1098" fmla="*/ 2197 h 10000"/>
                  <a:gd name="connsiteX1099" fmla="*/ 5968 w 10785"/>
                  <a:gd name="connsiteY1099" fmla="*/ 2171 h 10000"/>
                  <a:gd name="connsiteX1100" fmla="*/ 5968 w 10785"/>
                  <a:gd name="connsiteY1100" fmla="*/ 2162 h 10000"/>
                  <a:gd name="connsiteX1101" fmla="*/ 5968 w 10785"/>
                  <a:gd name="connsiteY1101" fmla="*/ 2120 h 10000"/>
                  <a:gd name="connsiteX1102" fmla="*/ 5968 w 10785"/>
                  <a:gd name="connsiteY1102" fmla="*/ 2111 h 10000"/>
                  <a:gd name="connsiteX1103" fmla="*/ 5972 w 10785"/>
                  <a:gd name="connsiteY1103" fmla="*/ 2103 h 10000"/>
                  <a:gd name="connsiteX1104" fmla="*/ 5986 w 10785"/>
                  <a:gd name="connsiteY1104" fmla="*/ 2103 h 10000"/>
                  <a:gd name="connsiteX1105" fmla="*/ 5986 w 10785"/>
                  <a:gd name="connsiteY1105" fmla="*/ 2085 h 10000"/>
                  <a:gd name="connsiteX1106" fmla="*/ 5995 w 10785"/>
                  <a:gd name="connsiteY1106" fmla="*/ 2085 h 10000"/>
                  <a:gd name="connsiteX1107" fmla="*/ 5995 w 10785"/>
                  <a:gd name="connsiteY1107" fmla="*/ 2077 h 10000"/>
                  <a:gd name="connsiteX1108" fmla="*/ 5986 w 10785"/>
                  <a:gd name="connsiteY1108" fmla="*/ 2060 h 10000"/>
                  <a:gd name="connsiteX1109" fmla="*/ 5954 w 10785"/>
                  <a:gd name="connsiteY1109" fmla="*/ 2060 h 10000"/>
                  <a:gd name="connsiteX1110" fmla="*/ 5940 w 10785"/>
                  <a:gd name="connsiteY1110" fmla="*/ 2051 h 10000"/>
                  <a:gd name="connsiteX1111" fmla="*/ 5922 w 10785"/>
                  <a:gd name="connsiteY1111" fmla="*/ 2060 h 10000"/>
                  <a:gd name="connsiteX1112" fmla="*/ 5885 w 10785"/>
                  <a:gd name="connsiteY1112" fmla="*/ 2051 h 10000"/>
                  <a:gd name="connsiteX1113" fmla="*/ 5876 w 10785"/>
                  <a:gd name="connsiteY1113" fmla="*/ 2026 h 10000"/>
                  <a:gd name="connsiteX1114" fmla="*/ 5862 w 10785"/>
                  <a:gd name="connsiteY1114" fmla="*/ 2026 h 10000"/>
                  <a:gd name="connsiteX1115" fmla="*/ 5848 w 10785"/>
                  <a:gd name="connsiteY1115" fmla="*/ 2026 h 10000"/>
                  <a:gd name="connsiteX1116" fmla="*/ 5825 w 10785"/>
                  <a:gd name="connsiteY1116" fmla="*/ 2026 h 10000"/>
                  <a:gd name="connsiteX1117" fmla="*/ 5788 w 10785"/>
                  <a:gd name="connsiteY1117" fmla="*/ 1991 h 10000"/>
                  <a:gd name="connsiteX1118" fmla="*/ 5760 w 10785"/>
                  <a:gd name="connsiteY1118" fmla="*/ 2000 h 10000"/>
                  <a:gd name="connsiteX1119" fmla="*/ 5760 w 10785"/>
                  <a:gd name="connsiteY1119" fmla="*/ 2026 h 10000"/>
                  <a:gd name="connsiteX1120" fmla="*/ 5714 w 10785"/>
                  <a:gd name="connsiteY1120" fmla="*/ 2051 h 10000"/>
                  <a:gd name="connsiteX1121" fmla="*/ 5687 w 10785"/>
                  <a:gd name="connsiteY1121" fmla="*/ 2034 h 10000"/>
                  <a:gd name="connsiteX1122" fmla="*/ 5645 w 10785"/>
                  <a:gd name="connsiteY1122" fmla="*/ 2077 h 10000"/>
                  <a:gd name="connsiteX1123" fmla="*/ 5664 w 10785"/>
                  <a:gd name="connsiteY1123" fmla="*/ 2120 h 10000"/>
                  <a:gd name="connsiteX1124" fmla="*/ 5664 w 10785"/>
                  <a:gd name="connsiteY1124" fmla="*/ 2162 h 10000"/>
                  <a:gd name="connsiteX1125" fmla="*/ 5631 w 10785"/>
                  <a:gd name="connsiteY1125" fmla="*/ 2197 h 10000"/>
                  <a:gd name="connsiteX1126" fmla="*/ 5618 w 10785"/>
                  <a:gd name="connsiteY1126" fmla="*/ 2188 h 10000"/>
                  <a:gd name="connsiteX1127" fmla="*/ 5618 w 10785"/>
                  <a:gd name="connsiteY1127" fmla="*/ 2171 h 10000"/>
                  <a:gd name="connsiteX1128" fmla="*/ 5641 w 10785"/>
                  <a:gd name="connsiteY1128" fmla="*/ 2171 h 10000"/>
                  <a:gd name="connsiteX1129" fmla="*/ 5641 w 10785"/>
                  <a:gd name="connsiteY1129" fmla="*/ 2162 h 10000"/>
                  <a:gd name="connsiteX1130" fmla="*/ 5627 w 10785"/>
                  <a:gd name="connsiteY1130" fmla="*/ 2145 h 10000"/>
                  <a:gd name="connsiteX1131" fmla="*/ 5627 w 10785"/>
                  <a:gd name="connsiteY1131" fmla="*/ 2120 h 10000"/>
                  <a:gd name="connsiteX1132" fmla="*/ 5618 w 10785"/>
                  <a:gd name="connsiteY1132" fmla="*/ 2111 h 10000"/>
                  <a:gd name="connsiteX1133" fmla="*/ 5631 w 10785"/>
                  <a:gd name="connsiteY1133" fmla="*/ 2051 h 10000"/>
                  <a:gd name="connsiteX1134" fmla="*/ 5631 w 10785"/>
                  <a:gd name="connsiteY1134" fmla="*/ 2026 h 10000"/>
                  <a:gd name="connsiteX1135" fmla="*/ 5627 w 10785"/>
                  <a:gd name="connsiteY1135" fmla="*/ 1991 h 10000"/>
                  <a:gd name="connsiteX1136" fmla="*/ 5618 w 10785"/>
                  <a:gd name="connsiteY1136" fmla="*/ 1974 h 10000"/>
                  <a:gd name="connsiteX1137" fmla="*/ 5618 w 10785"/>
                  <a:gd name="connsiteY1137" fmla="*/ 1940 h 10000"/>
                  <a:gd name="connsiteX1138" fmla="*/ 5594 w 10785"/>
                  <a:gd name="connsiteY1138" fmla="*/ 1855 h 10000"/>
                  <a:gd name="connsiteX1139" fmla="*/ 5599 w 10785"/>
                  <a:gd name="connsiteY1139" fmla="*/ 1915 h 10000"/>
                  <a:gd name="connsiteX1140" fmla="*/ 5599 w 10785"/>
                  <a:gd name="connsiteY1140" fmla="*/ 1949 h 10000"/>
                  <a:gd name="connsiteX1141" fmla="*/ 5594 w 10785"/>
                  <a:gd name="connsiteY1141" fmla="*/ 1991 h 10000"/>
                  <a:gd name="connsiteX1142" fmla="*/ 5571 w 10785"/>
                  <a:gd name="connsiteY1142" fmla="*/ 2000 h 10000"/>
                  <a:gd name="connsiteX1143" fmla="*/ 5530 w 10785"/>
                  <a:gd name="connsiteY1143" fmla="*/ 1991 h 10000"/>
                  <a:gd name="connsiteX1144" fmla="*/ 5525 w 10785"/>
                  <a:gd name="connsiteY1144" fmla="*/ 2000 h 10000"/>
                  <a:gd name="connsiteX1145" fmla="*/ 5521 w 10785"/>
                  <a:gd name="connsiteY1145" fmla="*/ 1991 h 10000"/>
                  <a:gd name="connsiteX1146" fmla="*/ 5498 w 10785"/>
                  <a:gd name="connsiteY1146" fmla="*/ 1949 h 10000"/>
                  <a:gd name="connsiteX1147" fmla="*/ 5493 w 10785"/>
                  <a:gd name="connsiteY1147" fmla="*/ 1889 h 10000"/>
                  <a:gd name="connsiteX1148" fmla="*/ 5493 w 10785"/>
                  <a:gd name="connsiteY1148" fmla="*/ 1863 h 10000"/>
                  <a:gd name="connsiteX1149" fmla="*/ 5498 w 10785"/>
                  <a:gd name="connsiteY1149" fmla="*/ 1889 h 10000"/>
                  <a:gd name="connsiteX1150" fmla="*/ 5512 w 10785"/>
                  <a:gd name="connsiteY1150" fmla="*/ 1855 h 10000"/>
                  <a:gd name="connsiteX1151" fmla="*/ 5512 w 10785"/>
                  <a:gd name="connsiteY1151" fmla="*/ 1838 h 10000"/>
                  <a:gd name="connsiteX1152" fmla="*/ 5479 w 10785"/>
                  <a:gd name="connsiteY1152" fmla="*/ 1855 h 10000"/>
                  <a:gd name="connsiteX1153" fmla="*/ 5470 w 10785"/>
                  <a:gd name="connsiteY1153" fmla="*/ 1872 h 10000"/>
                  <a:gd name="connsiteX1154" fmla="*/ 5470 w 10785"/>
                  <a:gd name="connsiteY1154" fmla="*/ 1889 h 10000"/>
                  <a:gd name="connsiteX1155" fmla="*/ 5465 w 10785"/>
                  <a:gd name="connsiteY1155" fmla="*/ 1897 h 10000"/>
                  <a:gd name="connsiteX1156" fmla="*/ 5456 w 10785"/>
                  <a:gd name="connsiteY1156" fmla="*/ 1872 h 10000"/>
                  <a:gd name="connsiteX1157" fmla="*/ 5447 w 10785"/>
                  <a:gd name="connsiteY1157" fmla="*/ 1872 h 10000"/>
                  <a:gd name="connsiteX1158" fmla="*/ 5433 w 10785"/>
                  <a:gd name="connsiteY1158" fmla="*/ 1855 h 10000"/>
                  <a:gd name="connsiteX1159" fmla="*/ 5396 w 10785"/>
                  <a:gd name="connsiteY1159" fmla="*/ 1863 h 10000"/>
                  <a:gd name="connsiteX1160" fmla="*/ 5396 w 10785"/>
                  <a:gd name="connsiteY1160" fmla="*/ 1897 h 10000"/>
                  <a:gd name="connsiteX1161" fmla="*/ 5378 w 10785"/>
                  <a:gd name="connsiteY1161" fmla="*/ 1949 h 10000"/>
                  <a:gd name="connsiteX1162" fmla="*/ 5378 w 10785"/>
                  <a:gd name="connsiteY1162" fmla="*/ 1966 h 10000"/>
                  <a:gd name="connsiteX1163" fmla="*/ 5392 w 10785"/>
                  <a:gd name="connsiteY1163" fmla="*/ 2026 h 10000"/>
                  <a:gd name="connsiteX1164" fmla="*/ 5396 w 10785"/>
                  <a:gd name="connsiteY1164" fmla="*/ 2026 h 10000"/>
                  <a:gd name="connsiteX1165" fmla="*/ 5392 w 10785"/>
                  <a:gd name="connsiteY1165" fmla="*/ 2009 h 10000"/>
                  <a:gd name="connsiteX1166" fmla="*/ 5392 w 10785"/>
                  <a:gd name="connsiteY1166" fmla="*/ 2000 h 10000"/>
                  <a:gd name="connsiteX1167" fmla="*/ 5396 w 10785"/>
                  <a:gd name="connsiteY1167" fmla="*/ 2009 h 10000"/>
                  <a:gd name="connsiteX1168" fmla="*/ 5424 w 10785"/>
                  <a:gd name="connsiteY1168" fmla="*/ 2009 h 10000"/>
                  <a:gd name="connsiteX1169" fmla="*/ 5433 w 10785"/>
                  <a:gd name="connsiteY1169" fmla="*/ 1991 h 10000"/>
                  <a:gd name="connsiteX1170" fmla="*/ 5447 w 10785"/>
                  <a:gd name="connsiteY1170" fmla="*/ 1974 h 10000"/>
                  <a:gd name="connsiteX1171" fmla="*/ 5452 w 10785"/>
                  <a:gd name="connsiteY1171" fmla="*/ 1966 h 10000"/>
                  <a:gd name="connsiteX1172" fmla="*/ 5456 w 10785"/>
                  <a:gd name="connsiteY1172" fmla="*/ 1966 h 10000"/>
                  <a:gd name="connsiteX1173" fmla="*/ 5465 w 10785"/>
                  <a:gd name="connsiteY1173" fmla="*/ 2009 h 10000"/>
                  <a:gd name="connsiteX1174" fmla="*/ 5433 w 10785"/>
                  <a:gd name="connsiteY1174" fmla="*/ 2034 h 10000"/>
                  <a:gd name="connsiteX1175" fmla="*/ 5424 w 10785"/>
                  <a:gd name="connsiteY1175" fmla="*/ 2060 h 10000"/>
                  <a:gd name="connsiteX1176" fmla="*/ 5419 w 10785"/>
                  <a:gd name="connsiteY1176" fmla="*/ 2060 h 10000"/>
                  <a:gd name="connsiteX1177" fmla="*/ 5392 w 10785"/>
                  <a:gd name="connsiteY1177" fmla="*/ 2111 h 10000"/>
                  <a:gd name="connsiteX1178" fmla="*/ 5378 w 10785"/>
                  <a:gd name="connsiteY1178" fmla="*/ 2111 h 10000"/>
                  <a:gd name="connsiteX1179" fmla="*/ 5350 w 10785"/>
                  <a:gd name="connsiteY1179" fmla="*/ 2060 h 10000"/>
                  <a:gd name="connsiteX1180" fmla="*/ 5373 w 10785"/>
                  <a:gd name="connsiteY1180" fmla="*/ 2111 h 10000"/>
                  <a:gd name="connsiteX1181" fmla="*/ 5364 w 10785"/>
                  <a:gd name="connsiteY1181" fmla="*/ 2111 h 10000"/>
                  <a:gd name="connsiteX1182" fmla="*/ 5359 w 10785"/>
                  <a:gd name="connsiteY1182" fmla="*/ 2103 h 10000"/>
                  <a:gd name="connsiteX1183" fmla="*/ 5359 w 10785"/>
                  <a:gd name="connsiteY1183" fmla="*/ 2120 h 10000"/>
                  <a:gd name="connsiteX1184" fmla="*/ 5359 w 10785"/>
                  <a:gd name="connsiteY1184" fmla="*/ 2137 h 10000"/>
                  <a:gd name="connsiteX1185" fmla="*/ 5313 w 10785"/>
                  <a:gd name="connsiteY1185" fmla="*/ 2162 h 10000"/>
                  <a:gd name="connsiteX1186" fmla="*/ 5300 w 10785"/>
                  <a:gd name="connsiteY1186" fmla="*/ 2162 h 10000"/>
                  <a:gd name="connsiteX1187" fmla="*/ 5300 w 10785"/>
                  <a:gd name="connsiteY1187" fmla="*/ 2171 h 10000"/>
                  <a:gd name="connsiteX1188" fmla="*/ 5300 w 10785"/>
                  <a:gd name="connsiteY1188" fmla="*/ 2197 h 10000"/>
                  <a:gd name="connsiteX1189" fmla="*/ 5276 w 10785"/>
                  <a:gd name="connsiteY1189" fmla="*/ 2188 h 10000"/>
                  <a:gd name="connsiteX1190" fmla="*/ 5249 w 10785"/>
                  <a:gd name="connsiteY1190" fmla="*/ 2222 h 10000"/>
                  <a:gd name="connsiteX1191" fmla="*/ 5249 w 10785"/>
                  <a:gd name="connsiteY1191" fmla="*/ 2222 h 10000"/>
                  <a:gd name="connsiteX1192" fmla="*/ 5217 w 10785"/>
                  <a:gd name="connsiteY1192" fmla="*/ 2214 h 10000"/>
                  <a:gd name="connsiteX1193" fmla="*/ 5203 w 10785"/>
                  <a:gd name="connsiteY1193" fmla="*/ 2239 h 10000"/>
                  <a:gd name="connsiteX1194" fmla="*/ 5171 w 10785"/>
                  <a:gd name="connsiteY1194" fmla="*/ 2214 h 10000"/>
                  <a:gd name="connsiteX1195" fmla="*/ 5157 w 10785"/>
                  <a:gd name="connsiteY1195" fmla="*/ 2239 h 10000"/>
                  <a:gd name="connsiteX1196" fmla="*/ 5166 w 10785"/>
                  <a:gd name="connsiteY1196" fmla="*/ 2256 h 10000"/>
                  <a:gd name="connsiteX1197" fmla="*/ 5171 w 10785"/>
                  <a:gd name="connsiteY1197" fmla="*/ 2308 h 10000"/>
                  <a:gd name="connsiteX1198" fmla="*/ 5212 w 10785"/>
                  <a:gd name="connsiteY1198" fmla="*/ 2350 h 10000"/>
                  <a:gd name="connsiteX1199" fmla="*/ 5203 w 10785"/>
                  <a:gd name="connsiteY1199" fmla="*/ 2350 h 10000"/>
                  <a:gd name="connsiteX1200" fmla="*/ 5166 w 10785"/>
                  <a:gd name="connsiteY1200" fmla="*/ 2325 h 10000"/>
                  <a:gd name="connsiteX1201" fmla="*/ 5152 w 10785"/>
                  <a:gd name="connsiteY1201" fmla="*/ 2308 h 10000"/>
                  <a:gd name="connsiteX1202" fmla="*/ 5143 w 10785"/>
                  <a:gd name="connsiteY1202" fmla="*/ 2333 h 10000"/>
                  <a:gd name="connsiteX1203" fmla="*/ 5138 w 10785"/>
                  <a:gd name="connsiteY1203" fmla="*/ 2333 h 10000"/>
                  <a:gd name="connsiteX1204" fmla="*/ 5124 w 10785"/>
                  <a:gd name="connsiteY1204" fmla="*/ 2376 h 10000"/>
                  <a:gd name="connsiteX1205" fmla="*/ 5115 w 10785"/>
                  <a:gd name="connsiteY1205" fmla="*/ 2385 h 10000"/>
                  <a:gd name="connsiteX1206" fmla="*/ 5106 w 10785"/>
                  <a:gd name="connsiteY1206" fmla="*/ 2385 h 10000"/>
                  <a:gd name="connsiteX1207" fmla="*/ 5055 w 10785"/>
                  <a:gd name="connsiteY1207" fmla="*/ 2470 h 10000"/>
                  <a:gd name="connsiteX1208" fmla="*/ 5065 w 10785"/>
                  <a:gd name="connsiteY1208" fmla="*/ 2462 h 10000"/>
                  <a:gd name="connsiteX1209" fmla="*/ 5055 w 10785"/>
                  <a:gd name="connsiteY1209" fmla="*/ 2444 h 10000"/>
                  <a:gd name="connsiteX1210" fmla="*/ 5041 w 10785"/>
                  <a:gd name="connsiteY1210" fmla="*/ 2462 h 10000"/>
                  <a:gd name="connsiteX1211" fmla="*/ 5037 w 10785"/>
                  <a:gd name="connsiteY1211" fmla="*/ 2470 h 10000"/>
                  <a:gd name="connsiteX1212" fmla="*/ 5032 w 10785"/>
                  <a:gd name="connsiteY1212" fmla="*/ 2470 h 10000"/>
                  <a:gd name="connsiteX1213" fmla="*/ 5032 w 10785"/>
                  <a:gd name="connsiteY1213" fmla="*/ 2444 h 10000"/>
                  <a:gd name="connsiteX1214" fmla="*/ 5055 w 10785"/>
                  <a:gd name="connsiteY1214" fmla="*/ 2410 h 10000"/>
                  <a:gd name="connsiteX1215" fmla="*/ 5065 w 10785"/>
                  <a:gd name="connsiteY1215" fmla="*/ 2393 h 10000"/>
                  <a:gd name="connsiteX1216" fmla="*/ 5069 w 10785"/>
                  <a:gd name="connsiteY1216" fmla="*/ 2385 h 10000"/>
                  <a:gd name="connsiteX1217" fmla="*/ 5083 w 10785"/>
                  <a:gd name="connsiteY1217" fmla="*/ 2376 h 10000"/>
                  <a:gd name="connsiteX1218" fmla="*/ 5097 w 10785"/>
                  <a:gd name="connsiteY1218" fmla="*/ 2376 h 10000"/>
                  <a:gd name="connsiteX1219" fmla="*/ 5124 w 10785"/>
                  <a:gd name="connsiteY1219" fmla="*/ 2325 h 10000"/>
                  <a:gd name="connsiteX1220" fmla="*/ 5143 w 10785"/>
                  <a:gd name="connsiteY1220" fmla="*/ 2248 h 10000"/>
                  <a:gd name="connsiteX1221" fmla="*/ 5152 w 10785"/>
                  <a:gd name="connsiteY1221" fmla="*/ 2239 h 10000"/>
                  <a:gd name="connsiteX1222" fmla="*/ 5166 w 10785"/>
                  <a:gd name="connsiteY1222" fmla="*/ 2162 h 10000"/>
                  <a:gd name="connsiteX1223" fmla="*/ 5171 w 10785"/>
                  <a:gd name="connsiteY1223" fmla="*/ 2171 h 10000"/>
                  <a:gd name="connsiteX1224" fmla="*/ 5198 w 10785"/>
                  <a:gd name="connsiteY1224" fmla="*/ 2145 h 10000"/>
                  <a:gd name="connsiteX1225" fmla="*/ 5203 w 10785"/>
                  <a:gd name="connsiteY1225" fmla="*/ 2111 h 10000"/>
                  <a:gd name="connsiteX1226" fmla="*/ 5217 w 10785"/>
                  <a:gd name="connsiteY1226" fmla="*/ 2060 h 10000"/>
                  <a:gd name="connsiteX1227" fmla="*/ 5226 w 10785"/>
                  <a:gd name="connsiteY1227" fmla="*/ 2026 h 10000"/>
                  <a:gd name="connsiteX1228" fmla="*/ 5286 w 10785"/>
                  <a:gd name="connsiteY1228" fmla="*/ 2026 h 10000"/>
                  <a:gd name="connsiteX1229" fmla="*/ 5290 w 10785"/>
                  <a:gd name="connsiteY1229" fmla="*/ 2034 h 10000"/>
                  <a:gd name="connsiteX1230" fmla="*/ 5323 w 10785"/>
                  <a:gd name="connsiteY1230" fmla="*/ 1923 h 10000"/>
                  <a:gd name="connsiteX1231" fmla="*/ 5323 w 10785"/>
                  <a:gd name="connsiteY1231" fmla="*/ 1889 h 10000"/>
                  <a:gd name="connsiteX1232" fmla="*/ 5359 w 10785"/>
                  <a:gd name="connsiteY1232" fmla="*/ 1829 h 10000"/>
                  <a:gd name="connsiteX1233" fmla="*/ 5378 w 10785"/>
                  <a:gd name="connsiteY1233" fmla="*/ 1812 h 10000"/>
                  <a:gd name="connsiteX1234" fmla="*/ 5406 w 10785"/>
                  <a:gd name="connsiteY1234" fmla="*/ 1752 h 10000"/>
                  <a:gd name="connsiteX1235" fmla="*/ 5410 w 10785"/>
                  <a:gd name="connsiteY1235" fmla="*/ 1718 h 10000"/>
                  <a:gd name="connsiteX1236" fmla="*/ 5438 w 10785"/>
                  <a:gd name="connsiteY1236" fmla="*/ 1667 h 10000"/>
                  <a:gd name="connsiteX1237" fmla="*/ 5438 w 10785"/>
                  <a:gd name="connsiteY1237" fmla="*/ 1650 h 10000"/>
                  <a:gd name="connsiteX1238" fmla="*/ 5438 w 10785"/>
                  <a:gd name="connsiteY1238" fmla="*/ 1641 h 10000"/>
                  <a:gd name="connsiteX1239" fmla="*/ 5452 w 10785"/>
                  <a:gd name="connsiteY1239" fmla="*/ 1641 h 10000"/>
                  <a:gd name="connsiteX1240" fmla="*/ 5456 w 10785"/>
                  <a:gd name="connsiteY1240" fmla="*/ 1615 h 10000"/>
                  <a:gd name="connsiteX1241" fmla="*/ 5456 w 10785"/>
                  <a:gd name="connsiteY1241" fmla="*/ 1615 h 10000"/>
                  <a:gd name="connsiteX1242" fmla="*/ 5465 w 10785"/>
                  <a:gd name="connsiteY1242" fmla="*/ 1598 h 10000"/>
                  <a:gd name="connsiteX1243" fmla="*/ 5465 w 10785"/>
                  <a:gd name="connsiteY1243" fmla="*/ 1615 h 10000"/>
                  <a:gd name="connsiteX1244" fmla="*/ 5479 w 10785"/>
                  <a:gd name="connsiteY1244" fmla="*/ 1598 h 10000"/>
                  <a:gd name="connsiteX1245" fmla="*/ 5484 w 10785"/>
                  <a:gd name="connsiteY1245" fmla="*/ 1581 h 10000"/>
                  <a:gd name="connsiteX1246" fmla="*/ 5493 w 10785"/>
                  <a:gd name="connsiteY1246" fmla="*/ 1581 h 10000"/>
                  <a:gd name="connsiteX1247" fmla="*/ 5512 w 10785"/>
                  <a:gd name="connsiteY1247" fmla="*/ 1538 h 10000"/>
                  <a:gd name="connsiteX1248" fmla="*/ 5530 w 10785"/>
                  <a:gd name="connsiteY1248" fmla="*/ 1564 h 10000"/>
                  <a:gd name="connsiteX1249" fmla="*/ 5530 w 10785"/>
                  <a:gd name="connsiteY1249" fmla="*/ 1538 h 10000"/>
                  <a:gd name="connsiteX1250" fmla="*/ 5539 w 10785"/>
                  <a:gd name="connsiteY1250" fmla="*/ 1530 h 10000"/>
                  <a:gd name="connsiteX1251" fmla="*/ 5530 w 10785"/>
                  <a:gd name="connsiteY1251" fmla="*/ 1504 h 10000"/>
                  <a:gd name="connsiteX1252" fmla="*/ 5567 w 10785"/>
                  <a:gd name="connsiteY1252" fmla="*/ 1479 h 10000"/>
                  <a:gd name="connsiteX1253" fmla="*/ 5553 w 10785"/>
                  <a:gd name="connsiteY1253" fmla="*/ 1479 h 10000"/>
                  <a:gd name="connsiteX1254" fmla="*/ 5553 w 10785"/>
                  <a:gd name="connsiteY1254" fmla="*/ 1453 h 10000"/>
                  <a:gd name="connsiteX1255" fmla="*/ 5581 w 10785"/>
                  <a:gd name="connsiteY1255" fmla="*/ 1444 h 10000"/>
                  <a:gd name="connsiteX1256" fmla="*/ 5581 w 10785"/>
                  <a:gd name="connsiteY1256" fmla="*/ 1453 h 10000"/>
                  <a:gd name="connsiteX1257" fmla="*/ 5585 w 10785"/>
                  <a:gd name="connsiteY1257" fmla="*/ 1444 h 10000"/>
                  <a:gd name="connsiteX1258" fmla="*/ 5594 w 10785"/>
                  <a:gd name="connsiteY1258" fmla="*/ 1427 h 10000"/>
                  <a:gd name="connsiteX1259" fmla="*/ 5599 w 10785"/>
                  <a:gd name="connsiteY1259" fmla="*/ 1419 h 10000"/>
                  <a:gd name="connsiteX1260" fmla="*/ 5594 w 10785"/>
                  <a:gd name="connsiteY1260" fmla="*/ 1402 h 10000"/>
                  <a:gd name="connsiteX1261" fmla="*/ 5604 w 10785"/>
                  <a:gd name="connsiteY1261" fmla="*/ 1393 h 10000"/>
                  <a:gd name="connsiteX1262" fmla="*/ 5618 w 10785"/>
                  <a:gd name="connsiteY1262" fmla="*/ 1393 h 10000"/>
                  <a:gd name="connsiteX1263" fmla="*/ 5627 w 10785"/>
                  <a:gd name="connsiteY1263" fmla="*/ 1368 h 10000"/>
                  <a:gd name="connsiteX1264" fmla="*/ 5627 w 10785"/>
                  <a:gd name="connsiteY1264" fmla="*/ 1325 h 10000"/>
                  <a:gd name="connsiteX1265" fmla="*/ 5645 w 10785"/>
                  <a:gd name="connsiteY1265" fmla="*/ 1291 h 10000"/>
                  <a:gd name="connsiteX1266" fmla="*/ 5645 w 10785"/>
                  <a:gd name="connsiteY1266" fmla="*/ 1282 h 10000"/>
                  <a:gd name="connsiteX1267" fmla="*/ 5654 w 10785"/>
                  <a:gd name="connsiteY1267" fmla="*/ 1265 h 10000"/>
                  <a:gd name="connsiteX1268" fmla="*/ 5654 w 10785"/>
                  <a:gd name="connsiteY1268" fmla="*/ 1214 h 10000"/>
                  <a:gd name="connsiteX1269" fmla="*/ 5654 w 10785"/>
                  <a:gd name="connsiteY1269" fmla="*/ 1214 h 10000"/>
                  <a:gd name="connsiteX1270" fmla="*/ 5645 w 10785"/>
                  <a:gd name="connsiteY1270" fmla="*/ 1197 h 10000"/>
                  <a:gd name="connsiteX1271" fmla="*/ 5659 w 10785"/>
                  <a:gd name="connsiteY1271" fmla="*/ 1197 h 10000"/>
                  <a:gd name="connsiteX1272" fmla="*/ 5654 w 10785"/>
                  <a:gd name="connsiteY1272" fmla="*/ 1154 h 10000"/>
                  <a:gd name="connsiteX1273" fmla="*/ 5641 w 10785"/>
                  <a:gd name="connsiteY1273" fmla="*/ 1154 h 10000"/>
                  <a:gd name="connsiteX1274" fmla="*/ 5627 w 10785"/>
                  <a:gd name="connsiteY1274" fmla="*/ 1128 h 10000"/>
                  <a:gd name="connsiteX1275" fmla="*/ 5618 w 10785"/>
                  <a:gd name="connsiteY1275" fmla="*/ 1094 h 10000"/>
                  <a:gd name="connsiteX1276" fmla="*/ 5613 w 10785"/>
                  <a:gd name="connsiteY1276" fmla="*/ 1094 h 10000"/>
                  <a:gd name="connsiteX1277" fmla="*/ 5604 w 10785"/>
                  <a:gd name="connsiteY1277" fmla="*/ 1120 h 10000"/>
                  <a:gd name="connsiteX1278" fmla="*/ 5604 w 10785"/>
                  <a:gd name="connsiteY1278" fmla="*/ 1128 h 10000"/>
                  <a:gd name="connsiteX1279" fmla="*/ 5599 w 10785"/>
                  <a:gd name="connsiteY1279" fmla="*/ 1103 h 10000"/>
                  <a:gd name="connsiteX1280" fmla="*/ 5599 w 10785"/>
                  <a:gd name="connsiteY1280" fmla="*/ 1103 h 10000"/>
                  <a:gd name="connsiteX1281" fmla="*/ 5594 w 10785"/>
                  <a:gd name="connsiteY1281" fmla="*/ 1068 h 10000"/>
                  <a:gd name="connsiteX1282" fmla="*/ 5594 w 10785"/>
                  <a:gd name="connsiteY1282" fmla="*/ 1060 h 10000"/>
                  <a:gd name="connsiteX1283" fmla="*/ 5581 w 10785"/>
                  <a:gd name="connsiteY1283" fmla="*/ 1034 h 10000"/>
                  <a:gd name="connsiteX1284" fmla="*/ 5571 w 10785"/>
                  <a:gd name="connsiteY1284" fmla="*/ 1009 h 10000"/>
                  <a:gd name="connsiteX1285" fmla="*/ 5571 w 10785"/>
                  <a:gd name="connsiteY1285" fmla="*/ 991 h 10000"/>
                  <a:gd name="connsiteX1286" fmla="*/ 5585 w 10785"/>
                  <a:gd name="connsiteY1286" fmla="*/ 1009 h 10000"/>
                  <a:gd name="connsiteX1287" fmla="*/ 5604 w 10785"/>
                  <a:gd name="connsiteY1287" fmla="*/ 1043 h 10000"/>
                  <a:gd name="connsiteX1288" fmla="*/ 5641 w 10785"/>
                  <a:gd name="connsiteY1288" fmla="*/ 1094 h 10000"/>
                  <a:gd name="connsiteX1289" fmla="*/ 5631 w 10785"/>
                  <a:gd name="connsiteY1289" fmla="*/ 1128 h 10000"/>
                  <a:gd name="connsiteX1290" fmla="*/ 5641 w 10785"/>
                  <a:gd name="connsiteY1290" fmla="*/ 1128 h 10000"/>
                  <a:gd name="connsiteX1291" fmla="*/ 5659 w 10785"/>
                  <a:gd name="connsiteY1291" fmla="*/ 1017 h 10000"/>
                  <a:gd name="connsiteX1292" fmla="*/ 5659 w 10785"/>
                  <a:gd name="connsiteY1292" fmla="*/ 983 h 10000"/>
                  <a:gd name="connsiteX1293" fmla="*/ 5659 w 10785"/>
                  <a:gd name="connsiteY1293" fmla="*/ 957 h 10000"/>
                  <a:gd name="connsiteX1294" fmla="*/ 5654 w 10785"/>
                  <a:gd name="connsiteY1294" fmla="*/ 966 h 10000"/>
                  <a:gd name="connsiteX1295" fmla="*/ 5641 w 10785"/>
                  <a:gd name="connsiteY1295" fmla="*/ 957 h 10000"/>
                  <a:gd name="connsiteX1296" fmla="*/ 5631 w 10785"/>
                  <a:gd name="connsiteY1296" fmla="*/ 897 h 10000"/>
                  <a:gd name="connsiteX1297" fmla="*/ 5641 w 10785"/>
                  <a:gd name="connsiteY1297" fmla="*/ 872 h 10000"/>
                  <a:gd name="connsiteX1298" fmla="*/ 5618 w 10785"/>
                  <a:gd name="connsiteY1298" fmla="*/ 803 h 10000"/>
                  <a:gd name="connsiteX1299" fmla="*/ 5604 w 10785"/>
                  <a:gd name="connsiteY1299" fmla="*/ 821 h 10000"/>
                  <a:gd name="connsiteX1300" fmla="*/ 5613 w 10785"/>
                  <a:gd name="connsiteY1300" fmla="*/ 846 h 10000"/>
                  <a:gd name="connsiteX1301" fmla="*/ 5604 w 10785"/>
                  <a:gd name="connsiteY1301" fmla="*/ 855 h 10000"/>
                  <a:gd name="connsiteX1302" fmla="*/ 5599 w 10785"/>
                  <a:gd name="connsiteY1302" fmla="*/ 880 h 10000"/>
                  <a:gd name="connsiteX1303" fmla="*/ 5594 w 10785"/>
                  <a:gd name="connsiteY1303" fmla="*/ 880 h 10000"/>
                  <a:gd name="connsiteX1304" fmla="*/ 5585 w 10785"/>
                  <a:gd name="connsiteY1304" fmla="*/ 829 h 10000"/>
                  <a:gd name="connsiteX1305" fmla="*/ 5571 w 10785"/>
                  <a:gd name="connsiteY1305" fmla="*/ 803 h 10000"/>
                  <a:gd name="connsiteX1306" fmla="*/ 5585 w 10785"/>
                  <a:gd name="connsiteY1306" fmla="*/ 795 h 10000"/>
                  <a:gd name="connsiteX1307" fmla="*/ 5585 w 10785"/>
                  <a:gd name="connsiteY1307" fmla="*/ 761 h 10000"/>
                  <a:gd name="connsiteX1308" fmla="*/ 5558 w 10785"/>
                  <a:gd name="connsiteY1308" fmla="*/ 709 h 10000"/>
                  <a:gd name="connsiteX1309" fmla="*/ 5544 w 10785"/>
                  <a:gd name="connsiteY1309" fmla="*/ 709 h 10000"/>
                  <a:gd name="connsiteX1310" fmla="*/ 5544 w 10785"/>
                  <a:gd name="connsiteY1310" fmla="*/ 684 h 10000"/>
                  <a:gd name="connsiteX1311" fmla="*/ 5525 w 10785"/>
                  <a:gd name="connsiteY1311" fmla="*/ 632 h 10000"/>
                  <a:gd name="connsiteX1312" fmla="*/ 5507 w 10785"/>
                  <a:gd name="connsiteY1312" fmla="*/ 607 h 10000"/>
                  <a:gd name="connsiteX1313" fmla="*/ 5512 w 10785"/>
                  <a:gd name="connsiteY1313" fmla="*/ 598 h 10000"/>
                  <a:gd name="connsiteX1314" fmla="*/ 5507 w 10785"/>
                  <a:gd name="connsiteY1314" fmla="*/ 581 h 10000"/>
                  <a:gd name="connsiteX1315" fmla="*/ 5493 w 10785"/>
                  <a:gd name="connsiteY1315" fmla="*/ 573 h 10000"/>
                  <a:gd name="connsiteX1316" fmla="*/ 5484 w 10785"/>
                  <a:gd name="connsiteY1316" fmla="*/ 581 h 10000"/>
                  <a:gd name="connsiteX1317" fmla="*/ 5484 w 10785"/>
                  <a:gd name="connsiteY1317" fmla="*/ 573 h 10000"/>
                  <a:gd name="connsiteX1318" fmla="*/ 5484 w 10785"/>
                  <a:gd name="connsiteY1318" fmla="*/ 547 h 10000"/>
                  <a:gd name="connsiteX1319" fmla="*/ 5465 w 10785"/>
                  <a:gd name="connsiteY1319" fmla="*/ 556 h 10000"/>
                  <a:gd name="connsiteX1320" fmla="*/ 5433 w 10785"/>
                  <a:gd name="connsiteY1320" fmla="*/ 547 h 10000"/>
                  <a:gd name="connsiteX1321" fmla="*/ 5410 w 10785"/>
                  <a:gd name="connsiteY1321" fmla="*/ 573 h 10000"/>
                  <a:gd name="connsiteX1322" fmla="*/ 5406 w 10785"/>
                  <a:gd name="connsiteY1322" fmla="*/ 573 h 10000"/>
                  <a:gd name="connsiteX1323" fmla="*/ 5392 w 10785"/>
                  <a:gd name="connsiteY1323" fmla="*/ 573 h 10000"/>
                  <a:gd name="connsiteX1324" fmla="*/ 5364 w 10785"/>
                  <a:gd name="connsiteY1324" fmla="*/ 530 h 10000"/>
                  <a:gd name="connsiteX1325" fmla="*/ 5350 w 10785"/>
                  <a:gd name="connsiteY1325" fmla="*/ 556 h 10000"/>
                  <a:gd name="connsiteX1326" fmla="*/ 5346 w 10785"/>
                  <a:gd name="connsiteY1326" fmla="*/ 556 h 10000"/>
                  <a:gd name="connsiteX1327" fmla="*/ 5313 w 10785"/>
                  <a:gd name="connsiteY1327" fmla="*/ 573 h 10000"/>
                  <a:gd name="connsiteX1328" fmla="*/ 5304 w 10785"/>
                  <a:gd name="connsiteY1328" fmla="*/ 556 h 10000"/>
                  <a:gd name="connsiteX1329" fmla="*/ 5290 w 10785"/>
                  <a:gd name="connsiteY1329" fmla="*/ 573 h 10000"/>
                  <a:gd name="connsiteX1330" fmla="*/ 5290 w 10785"/>
                  <a:gd name="connsiteY1330" fmla="*/ 556 h 10000"/>
                  <a:gd name="connsiteX1331" fmla="*/ 5300 w 10785"/>
                  <a:gd name="connsiteY1331" fmla="*/ 547 h 10000"/>
                  <a:gd name="connsiteX1332" fmla="*/ 5300 w 10785"/>
                  <a:gd name="connsiteY1332" fmla="*/ 530 h 10000"/>
                  <a:gd name="connsiteX1333" fmla="*/ 5290 w 10785"/>
                  <a:gd name="connsiteY1333" fmla="*/ 530 h 10000"/>
                  <a:gd name="connsiteX1334" fmla="*/ 5286 w 10785"/>
                  <a:gd name="connsiteY1334" fmla="*/ 547 h 10000"/>
                  <a:gd name="connsiteX1335" fmla="*/ 5272 w 10785"/>
                  <a:gd name="connsiteY1335" fmla="*/ 556 h 10000"/>
                  <a:gd name="connsiteX1336" fmla="*/ 5272 w 10785"/>
                  <a:gd name="connsiteY1336" fmla="*/ 598 h 10000"/>
                  <a:gd name="connsiteX1337" fmla="*/ 5276 w 10785"/>
                  <a:gd name="connsiteY1337" fmla="*/ 581 h 10000"/>
                  <a:gd name="connsiteX1338" fmla="*/ 5272 w 10785"/>
                  <a:gd name="connsiteY1338" fmla="*/ 607 h 10000"/>
                  <a:gd name="connsiteX1339" fmla="*/ 5263 w 10785"/>
                  <a:gd name="connsiteY1339" fmla="*/ 607 h 10000"/>
                  <a:gd name="connsiteX1340" fmla="*/ 5263 w 10785"/>
                  <a:gd name="connsiteY1340" fmla="*/ 632 h 10000"/>
                  <a:gd name="connsiteX1341" fmla="*/ 5258 w 10785"/>
                  <a:gd name="connsiteY1341" fmla="*/ 658 h 10000"/>
                  <a:gd name="connsiteX1342" fmla="*/ 5244 w 10785"/>
                  <a:gd name="connsiteY1342" fmla="*/ 667 h 10000"/>
                  <a:gd name="connsiteX1343" fmla="*/ 5240 w 10785"/>
                  <a:gd name="connsiteY1343" fmla="*/ 658 h 10000"/>
                  <a:gd name="connsiteX1344" fmla="*/ 5240 w 10785"/>
                  <a:gd name="connsiteY1344" fmla="*/ 684 h 10000"/>
                  <a:gd name="connsiteX1345" fmla="*/ 5212 w 10785"/>
                  <a:gd name="connsiteY1345" fmla="*/ 684 h 10000"/>
                  <a:gd name="connsiteX1346" fmla="*/ 5198 w 10785"/>
                  <a:gd name="connsiteY1346" fmla="*/ 692 h 10000"/>
                  <a:gd name="connsiteX1347" fmla="*/ 5184 w 10785"/>
                  <a:gd name="connsiteY1347" fmla="*/ 684 h 10000"/>
                  <a:gd name="connsiteX1348" fmla="*/ 5157 w 10785"/>
                  <a:gd name="connsiteY1348" fmla="*/ 684 h 10000"/>
                  <a:gd name="connsiteX1349" fmla="*/ 5157 w 10785"/>
                  <a:gd name="connsiteY1349" fmla="*/ 667 h 10000"/>
                  <a:gd name="connsiteX1350" fmla="*/ 5157 w 10785"/>
                  <a:gd name="connsiteY1350" fmla="*/ 667 h 10000"/>
                  <a:gd name="connsiteX1351" fmla="*/ 5180 w 10785"/>
                  <a:gd name="connsiteY1351" fmla="*/ 650 h 10000"/>
                  <a:gd name="connsiteX1352" fmla="*/ 5184 w 10785"/>
                  <a:gd name="connsiteY1352" fmla="*/ 658 h 10000"/>
                  <a:gd name="connsiteX1353" fmla="*/ 5203 w 10785"/>
                  <a:gd name="connsiteY1353" fmla="*/ 547 h 10000"/>
                  <a:gd name="connsiteX1354" fmla="*/ 5226 w 10785"/>
                  <a:gd name="connsiteY1354" fmla="*/ 530 h 10000"/>
                  <a:gd name="connsiteX1355" fmla="*/ 5230 w 10785"/>
                  <a:gd name="connsiteY1355" fmla="*/ 487 h 10000"/>
                  <a:gd name="connsiteX1356" fmla="*/ 5230 w 10785"/>
                  <a:gd name="connsiteY1356" fmla="*/ 487 h 10000"/>
                  <a:gd name="connsiteX1357" fmla="*/ 5226 w 10785"/>
                  <a:gd name="connsiteY1357" fmla="*/ 462 h 10000"/>
                  <a:gd name="connsiteX1358" fmla="*/ 5226 w 10785"/>
                  <a:gd name="connsiteY1358" fmla="*/ 462 h 10000"/>
                  <a:gd name="connsiteX1359" fmla="*/ 5240 w 10785"/>
                  <a:gd name="connsiteY1359" fmla="*/ 462 h 10000"/>
                  <a:gd name="connsiteX1360" fmla="*/ 5240 w 10785"/>
                  <a:gd name="connsiteY1360" fmla="*/ 444 h 10000"/>
                  <a:gd name="connsiteX1361" fmla="*/ 5230 w 10785"/>
                  <a:gd name="connsiteY1361" fmla="*/ 436 h 10000"/>
                  <a:gd name="connsiteX1362" fmla="*/ 5230 w 10785"/>
                  <a:gd name="connsiteY1362" fmla="*/ 419 h 10000"/>
                  <a:gd name="connsiteX1363" fmla="*/ 5230 w 10785"/>
                  <a:gd name="connsiteY1363" fmla="*/ 410 h 10000"/>
                  <a:gd name="connsiteX1364" fmla="*/ 5198 w 10785"/>
                  <a:gd name="connsiteY1364" fmla="*/ 402 h 10000"/>
                  <a:gd name="connsiteX1365" fmla="*/ 5189 w 10785"/>
                  <a:gd name="connsiteY1365" fmla="*/ 402 h 10000"/>
                  <a:gd name="connsiteX1366" fmla="*/ 5184 w 10785"/>
                  <a:gd name="connsiteY1366" fmla="*/ 376 h 10000"/>
                  <a:gd name="connsiteX1367" fmla="*/ 5180 w 10785"/>
                  <a:gd name="connsiteY1367" fmla="*/ 376 h 10000"/>
                  <a:gd name="connsiteX1368" fmla="*/ 5166 w 10785"/>
                  <a:gd name="connsiteY1368" fmla="*/ 376 h 10000"/>
                  <a:gd name="connsiteX1369" fmla="*/ 5157 w 10785"/>
                  <a:gd name="connsiteY1369" fmla="*/ 385 h 10000"/>
                  <a:gd name="connsiteX1370" fmla="*/ 5152 w 10785"/>
                  <a:gd name="connsiteY1370" fmla="*/ 376 h 10000"/>
                  <a:gd name="connsiteX1371" fmla="*/ 5129 w 10785"/>
                  <a:gd name="connsiteY1371" fmla="*/ 385 h 10000"/>
                  <a:gd name="connsiteX1372" fmla="*/ 5129 w 10785"/>
                  <a:gd name="connsiteY1372" fmla="*/ 350 h 10000"/>
                  <a:gd name="connsiteX1373" fmla="*/ 5129 w 10785"/>
                  <a:gd name="connsiteY1373" fmla="*/ 325 h 10000"/>
                  <a:gd name="connsiteX1374" fmla="*/ 5124 w 10785"/>
                  <a:gd name="connsiteY1374" fmla="*/ 359 h 10000"/>
                  <a:gd name="connsiteX1375" fmla="*/ 5106 w 10785"/>
                  <a:gd name="connsiteY1375" fmla="*/ 359 h 10000"/>
                  <a:gd name="connsiteX1376" fmla="*/ 5037 w 10785"/>
                  <a:gd name="connsiteY1376" fmla="*/ 419 h 10000"/>
                  <a:gd name="connsiteX1377" fmla="*/ 5051 w 10785"/>
                  <a:gd name="connsiteY1377" fmla="*/ 385 h 10000"/>
                  <a:gd name="connsiteX1378" fmla="*/ 5055 w 10785"/>
                  <a:gd name="connsiteY1378" fmla="*/ 376 h 10000"/>
                  <a:gd name="connsiteX1379" fmla="*/ 5092 w 10785"/>
                  <a:gd name="connsiteY1379" fmla="*/ 282 h 10000"/>
                  <a:gd name="connsiteX1380" fmla="*/ 5106 w 10785"/>
                  <a:gd name="connsiteY1380" fmla="*/ 265 h 10000"/>
                  <a:gd name="connsiteX1381" fmla="*/ 5115 w 10785"/>
                  <a:gd name="connsiteY1381" fmla="*/ 265 h 10000"/>
                  <a:gd name="connsiteX1382" fmla="*/ 5124 w 10785"/>
                  <a:gd name="connsiteY1382" fmla="*/ 222 h 10000"/>
                  <a:gd name="connsiteX1383" fmla="*/ 5124 w 10785"/>
                  <a:gd name="connsiteY1383" fmla="*/ 214 h 10000"/>
                  <a:gd name="connsiteX1384" fmla="*/ 5143 w 10785"/>
                  <a:gd name="connsiteY1384" fmla="*/ 197 h 10000"/>
                  <a:gd name="connsiteX1385" fmla="*/ 5152 w 10785"/>
                  <a:gd name="connsiteY1385" fmla="*/ 214 h 10000"/>
                  <a:gd name="connsiteX1386" fmla="*/ 5143 w 10785"/>
                  <a:gd name="connsiteY1386" fmla="*/ 188 h 10000"/>
                  <a:gd name="connsiteX1387" fmla="*/ 5129 w 10785"/>
                  <a:gd name="connsiteY1387" fmla="*/ 103 h 10000"/>
                  <a:gd name="connsiteX1388" fmla="*/ 5115 w 10785"/>
                  <a:gd name="connsiteY1388" fmla="*/ 85 h 10000"/>
                  <a:gd name="connsiteX1389" fmla="*/ 5111 w 10785"/>
                  <a:gd name="connsiteY1389" fmla="*/ 111 h 10000"/>
                  <a:gd name="connsiteX1390" fmla="*/ 5092 w 10785"/>
                  <a:gd name="connsiteY1390" fmla="*/ 103 h 10000"/>
                  <a:gd name="connsiteX1391" fmla="*/ 5069 w 10785"/>
                  <a:gd name="connsiteY1391" fmla="*/ 77 h 10000"/>
                  <a:gd name="connsiteX1392" fmla="*/ 5051 w 10785"/>
                  <a:gd name="connsiteY1392" fmla="*/ 26 h 10000"/>
                  <a:gd name="connsiteX1393" fmla="*/ 5041 w 10785"/>
                  <a:gd name="connsiteY1393" fmla="*/ 34 h 10000"/>
                  <a:gd name="connsiteX1394" fmla="*/ 5037 w 10785"/>
                  <a:gd name="connsiteY1394" fmla="*/ 34 h 10000"/>
                  <a:gd name="connsiteX1395" fmla="*/ 5037 w 10785"/>
                  <a:gd name="connsiteY1395" fmla="*/ 26 h 10000"/>
                  <a:gd name="connsiteX1396" fmla="*/ 5037 w 10785"/>
                  <a:gd name="connsiteY1396" fmla="*/ 9 h 10000"/>
                  <a:gd name="connsiteX1397" fmla="*/ 5023 w 10785"/>
                  <a:gd name="connsiteY1397" fmla="*/ 0 h 10000"/>
                  <a:gd name="connsiteX1398" fmla="*/ 5009 w 10785"/>
                  <a:gd name="connsiteY1398" fmla="*/ 9 h 10000"/>
                  <a:gd name="connsiteX1399" fmla="*/ 4995 w 10785"/>
                  <a:gd name="connsiteY1399" fmla="*/ 34 h 10000"/>
                  <a:gd name="connsiteX1400" fmla="*/ 4991 w 10785"/>
                  <a:gd name="connsiteY1400" fmla="*/ 60 h 10000"/>
                  <a:gd name="connsiteX1401" fmla="*/ 4982 w 10785"/>
                  <a:gd name="connsiteY1401" fmla="*/ 60 h 10000"/>
                  <a:gd name="connsiteX1402" fmla="*/ 4949 w 10785"/>
                  <a:gd name="connsiteY1402" fmla="*/ 51 h 10000"/>
                  <a:gd name="connsiteX1403" fmla="*/ 4949 w 10785"/>
                  <a:gd name="connsiteY1403" fmla="*/ 85 h 10000"/>
                  <a:gd name="connsiteX1404" fmla="*/ 4903 w 10785"/>
                  <a:gd name="connsiteY1404" fmla="*/ 197 h 10000"/>
                  <a:gd name="connsiteX1405" fmla="*/ 4899 w 10785"/>
                  <a:gd name="connsiteY1405" fmla="*/ 239 h 10000"/>
                  <a:gd name="connsiteX1406" fmla="*/ 4871 w 10785"/>
                  <a:gd name="connsiteY1406" fmla="*/ 274 h 10000"/>
                  <a:gd name="connsiteX1407" fmla="*/ 4871 w 10785"/>
                  <a:gd name="connsiteY1407" fmla="*/ 282 h 10000"/>
                  <a:gd name="connsiteX1408" fmla="*/ 4834 w 10785"/>
                  <a:gd name="connsiteY1408" fmla="*/ 376 h 10000"/>
                  <a:gd name="connsiteX1409" fmla="*/ 4829 w 10785"/>
                  <a:gd name="connsiteY1409" fmla="*/ 402 h 10000"/>
                  <a:gd name="connsiteX1410" fmla="*/ 4834 w 10785"/>
                  <a:gd name="connsiteY1410" fmla="*/ 410 h 10000"/>
                  <a:gd name="connsiteX1411" fmla="*/ 4829 w 10785"/>
                  <a:gd name="connsiteY1411" fmla="*/ 436 h 10000"/>
                  <a:gd name="connsiteX1412" fmla="*/ 4825 w 10785"/>
                  <a:gd name="connsiteY1412" fmla="*/ 436 h 10000"/>
                  <a:gd name="connsiteX1413" fmla="*/ 4825 w 10785"/>
                  <a:gd name="connsiteY1413" fmla="*/ 444 h 10000"/>
                  <a:gd name="connsiteX1414" fmla="*/ 4811 w 10785"/>
                  <a:gd name="connsiteY1414" fmla="*/ 496 h 10000"/>
                  <a:gd name="connsiteX1415" fmla="*/ 4811 w 10785"/>
                  <a:gd name="connsiteY1415" fmla="*/ 496 h 10000"/>
                  <a:gd name="connsiteX1416" fmla="*/ 4811 w 10785"/>
                  <a:gd name="connsiteY1416" fmla="*/ 521 h 10000"/>
                  <a:gd name="connsiteX1417" fmla="*/ 4816 w 10785"/>
                  <a:gd name="connsiteY1417" fmla="*/ 530 h 10000"/>
                  <a:gd name="connsiteX1418" fmla="*/ 4834 w 10785"/>
                  <a:gd name="connsiteY1418" fmla="*/ 547 h 10000"/>
                  <a:gd name="connsiteX1419" fmla="*/ 4834 w 10785"/>
                  <a:gd name="connsiteY1419" fmla="*/ 581 h 10000"/>
                  <a:gd name="connsiteX1420" fmla="*/ 4843 w 10785"/>
                  <a:gd name="connsiteY1420" fmla="*/ 581 h 10000"/>
                  <a:gd name="connsiteX1421" fmla="*/ 4843 w 10785"/>
                  <a:gd name="connsiteY1421" fmla="*/ 598 h 10000"/>
                  <a:gd name="connsiteX1422" fmla="*/ 4829 w 10785"/>
                  <a:gd name="connsiteY1422" fmla="*/ 598 h 10000"/>
                  <a:gd name="connsiteX1423" fmla="*/ 4829 w 10785"/>
                  <a:gd name="connsiteY1423" fmla="*/ 573 h 10000"/>
                  <a:gd name="connsiteX1424" fmla="*/ 4829 w 10785"/>
                  <a:gd name="connsiteY1424" fmla="*/ 632 h 10000"/>
                  <a:gd name="connsiteX1425" fmla="*/ 4829 w 10785"/>
                  <a:gd name="connsiteY1425" fmla="*/ 632 h 10000"/>
                  <a:gd name="connsiteX1426" fmla="*/ 4829 w 10785"/>
                  <a:gd name="connsiteY1426" fmla="*/ 650 h 10000"/>
                  <a:gd name="connsiteX1427" fmla="*/ 4774 w 10785"/>
                  <a:gd name="connsiteY1427" fmla="*/ 684 h 10000"/>
                  <a:gd name="connsiteX1428" fmla="*/ 4756 w 10785"/>
                  <a:gd name="connsiteY1428" fmla="*/ 684 h 10000"/>
                  <a:gd name="connsiteX1429" fmla="*/ 4737 w 10785"/>
                  <a:gd name="connsiteY1429" fmla="*/ 692 h 10000"/>
                  <a:gd name="connsiteX1430" fmla="*/ 4677 w 10785"/>
                  <a:gd name="connsiteY1430" fmla="*/ 667 h 10000"/>
                  <a:gd name="connsiteX1431" fmla="*/ 4682 w 10785"/>
                  <a:gd name="connsiteY1431" fmla="*/ 692 h 10000"/>
                  <a:gd name="connsiteX1432" fmla="*/ 4682 w 10785"/>
                  <a:gd name="connsiteY1432" fmla="*/ 709 h 10000"/>
                  <a:gd name="connsiteX1433" fmla="*/ 4691 w 10785"/>
                  <a:gd name="connsiteY1433" fmla="*/ 718 h 10000"/>
                  <a:gd name="connsiteX1434" fmla="*/ 4691 w 10785"/>
                  <a:gd name="connsiteY1434" fmla="*/ 744 h 10000"/>
                  <a:gd name="connsiteX1435" fmla="*/ 4700 w 10785"/>
                  <a:gd name="connsiteY1435" fmla="*/ 744 h 10000"/>
                  <a:gd name="connsiteX1436" fmla="*/ 4714 w 10785"/>
                  <a:gd name="connsiteY1436" fmla="*/ 769 h 10000"/>
                  <a:gd name="connsiteX1437" fmla="*/ 4710 w 10785"/>
                  <a:gd name="connsiteY1437" fmla="*/ 786 h 10000"/>
                  <a:gd name="connsiteX1438" fmla="*/ 4737 w 10785"/>
                  <a:gd name="connsiteY1438" fmla="*/ 786 h 10000"/>
                  <a:gd name="connsiteX1439" fmla="*/ 4742 w 10785"/>
                  <a:gd name="connsiteY1439" fmla="*/ 795 h 10000"/>
                  <a:gd name="connsiteX1440" fmla="*/ 4742 w 10785"/>
                  <a:gd name="connsiteY1440" fmla="*/ 803 h 10000"/>
                  <a:gd name="connsiteX1441" fmla="*/ 4737 w 10785"/>
                  <a:gd name="connsiteY1441" fmla="*/ 846 h 10000"/>
                  <a:gd name="connsiteX1442" fmla="*/ 4737 w 10785"/>
                  <a:gd name="connsiteY1442" fmla="*/ 880 h 10000"/>
                  <a:gd name="connsiteX1443" fmla="*/ 4737 w 10785"/>
                  <a:gd name="connsiteY1443" fmla="*/ 906 h 10000"/>
                  <a:gd name="connsiteX1444" fmla="*/ 4724 w 10785"/>
                  <a:gd name="connsiteY1444" fmla="*/ 897 h 10000"/>
                  <a:gd name="connsiteX1445" fmla="*/ 4724 w 10785"/>
                  <a:gd name="connsiteY1445" fmla="*/ 872 h 10000"/>
                  <a:gd name="connsiteX1446" fmla="*/ 4714 w 10785"/>
                  <a:gd name="connsiteY1446" fmla="*/ 855 h 10000"/>
                  <a:gd name="connsiteX1447" fmla="*/ 4691 w 10785"/>
                  <a:gd name="connsiteY1447" fmla="*/ 846 h 10000"/>
                  <a:gd name="connsiteX1448" fmla="*/ 4691 w 10785"/>
                  <a:gd name="connsiteY1448" fmla="*/ 846 h 10000"/>
                  <a:gd name="connsiteX1449" fmla="*/ 4696 w 10785"/>
                  <a:gd name="connsiteY1449" fmla="*/ 821 h 10000"/>
                  <a:gd name="connsiteX1450" fmla="*/ 4691 w 10785"/>
                  <a:gd name="connsiteY1450" fmla="*/ 803 h 10000"/>
                  <a:gd name="connsiteX1451" fmla="*/ 4668 w 10785"/>
                  <a:gd name="connsiteY1451" fmla="*/ 821 h 10000"/>
                  <a:gd name="connsiteX1452" fmla="*/ 4668 w 10785"/>
                  <a:gd name="connsiteY1452" fmla="*/ 786 h 10000"/>
                  <a:gd name="connsiteX1453" fmla="*/ 4664 w 10785"/>
                  <a:gd name="connsiteY1453" fmla="*/ 786 h 10000"/>
                  <a:gd name="connsiteX1454" fmla="*/ 4622 w 10785"/>
                  <a:gd name="connsiteY1454" fmla="*/ 846 h 10000"/>
                  <a:gd name="connsiteX1455" fmla="*/ 4627 w 10785"/>
                  <a:gd name="connsiteY1455" fmla="*/ 872 h 10000"/>
                  <a:gd name="connsiteX1456" fmla="*/ 4622 w 10785"/>
                  <a:gd name="connsiteY1456" fmla="*/ 880 h 10000"/>
                  <a:gd name="connsiteX1457" fmla="*/ 4622 w 10785"/>
                  <a:gd name="connsiteY1457" fmla="*/ 880 h 10000"/>
                  <a:gd name="connsiteX1458" fmla="*/ 4618 w 10785"/>
                  <a:gd name="connsiteY1458" fmla="*/ 872 h 10000"/>
                  <a:gd name="connsiteX1459" fmla="*/ 4604 w 10785"/>
                  <a:gd name="connsiteY1459" fmla="*/ 880 h 10000"/>
                  <a:gd name="connsiteX1460" fmla="*/ 4594 w 10785"/>
                  <a:gd name="connsiteY1460" fmla="*/ 906 h 10000"/>
                  <a:gd name="connsiteX1461" fmla="*/ 4604 w 10785"/>
                  <a:gd name="connsiteY1461" fmla="*/ 906 h 10000"/>
                  <a:gd name="connsiteX1462" fmla="*/ 4608 w 10785"/>
                  <a:gd name="connsiteY1462" fmla="*/ 906 h 10000"/>
                  <a:gd name="connsiteX1463" fmla="*/ 4608 w 10785"/>
                  <a:gd name="connsiteY1463" fmla="*/ 932 h 10000"/>
                  <a:gd name="connsiteX1464" fmla="*/ 4604 w 10785"/>
                  <a:gd name="connsiteY1464" fmla="*/ 932 h 10000"/>
                  <a:gd name="connsiteX1465" fmla="*/ 4590 w 10785"/>
                  <a:gd name="connsiteY1465" fmla="*/ 932 h 10000"/>
                  <a:gd name="connsiteX1466" fmla="*/ 4567 w 10785"/>
                  <a:gd name="connsiteY1466" fmla="*/ 957 h 10000"/>
                  <a:gd name="connsiteX1467" fmla="*/ 4567 w 10785"/>
                  <a:gd name="connsiteY1467" fmla="*/ 932 h 10000"/>
                  <a:gd name="connsiteX1468" fmla="*/ 4567 w 10785"/>
                  <a:gd name="connsiteY1468" fmla="*/ 923 h 10000"/>
                  <a:gd name="connsiteX1469" fmla="*/ 4562 w 10785"/>
                  <a:gd name="connsiteY1469" fmla="*/ 932 h 10000"/>
                  <a:gd name="connsiteX1470" fmla="*/ 4548 w 10785"/>
                  <a:gd name="connsiteY1470" fmla="*/ 957 h 10000"/>
                  <a:gd name="connsiteX1471" fmla="*/ 4544 w 10785"/>
                  <a:gd name="connsiteY1471" fmla="*/ 957 h 10000"/>
                  <a:gd name="connsiteX1472" fmla="*/ 4521 w 10785"/>
                  <a:gd name="connsiteY1472" fmla="*/ 983 h 10000"/>
                  <a:gd name="connsiteX1473" fmla="*/ 4521 w 10785"/>
                  <a:gd name="connsiteY1473" fmla="*/ 983 h 10000"/>
                  <a:gd name="connsiteX1474" fmla="*/ 4530 w 10785"/>
                  <a:gd name="connsiteY1474" fmla="*/ 957 h 10000"/>
                  <a:gd name="connsiteX1475" fmla="*/ 4535 w 10785"/>
                  <a:gd name="connsiteY1475" fmla="*/ 932 h 10000"/>
                  <a:gd name="connsiteX1476" fmla="*/ 4521 w 10785"/>
                  <a:gd name="connsiteY1476" fmla="*/ 932 h 10000"/>
                  <a:gd name="connsiteX1477" fmla="*/ 4516 w 10785"/>
                  <a:gd name="connsiteY1477" fmla="*/ 923 h 10000"/>
                  <a:gd name="connsiteX1478" fmla="*/ 4516 w 10785"/>
                  <a:gd name="connsiteY1478" fmla="*/ 932 h 10000"/>
                  <a:gd name="connsiteX1479" fmla="*/ 4488 w 10785"/>
                  <a:gd name="connsiteY1479" fmla="*/ 940 h 10000"/>
                  <a:gd name="connsiteX1480" fmla="*/ 4484 w 10785"/>
                  <a:gd name="connsiteY1480" fmla="*/ 983 h 10000"/>
                  <a:gd name="connsiteX1481" fmla="*/ 4470 w 10785"/>
                  <a:gd name="connsiteY1481" fmla="*/ 983 h 10000"/>
                  <a:gd name="connsiteX1482" fmla="*/ 4470 w 10785"/>
                  <a:gd name="connsiteY1482" fmla="*/ 966 h 10000"/>
                  <a:gd name="connsiteX1483" fmla="*/ 4488 w 10785"/>
                  <a:gd name="connsiteY1483" fmla="*/ 923 h 10000"/>
                  <a:gd name="connsiteX1484" fmla="*/ 4493 w 10785"/>
                  <a:gd name="connsiteY1484" fmla="*/ 880 h 10000"/>
                  <a:gd name="connsiteX1485" fmla="*/ 4475 w 10785"/>
                  <a:gd name="connsiteY1485" fmla="*/ 846 h 10000"/>
                  <a:gd name="connsiteX1486" fmla="*/ 4442 w 10785"/>
                  <a:gd name="connsiteY1486" fmla="*/ 855 h 10000"/>
                  <a:gd name="connsiteX1487" fmla="*/ 4433 w 10785"/>
                  <a:gd name="connsiteY1487" fmla="*/ 855 h 10000"/>
                  <a:gd name="connsiteX1488" fmla="*/ 4433 w 10785"/>
                  <a:gd name="connsiteY1488" fmla="*/ 880 h 10000"/>
                  <a:gd name="connsiteX1489" fmla="*/ 4401 w 10785"/>
                  <a:gd name="connsiteY1489" fmla="*/ 855 h 10000"/>
                  <a:gd name="connsiteX1490" fmla="*/ 4396 w 10785"/>
                  <a:gd name="connsiteY1490" fmla="*/ 872 h 10000"/>
                  <a:gd name="connsiteX1491" fmla="*/ 4382 w 10785"/>
                  <a:gd name="connsiteY1491" fmla="*/ 897 h 10000"/>
                  <a:gd name="connsiteX1492" fmla="*/ 4373 w 10785"/>
                  <a:gd name="connsiteY1492" fmla="*/ 872 h 10000"/>
                  <a:gd name="connsiteX1493" fmla="*/ 4341 w 10785"/>
                  <a:gd name="connsiteY1493" fmla="*/ 872 h 10000"/>
                  <a:gd name="connsiteX1494" fmla="*/ 4336 w 10785"/>
                  <a:gd name="connsiteY1494" fmla="*/ 880 h 10000"/>
                  <a:gd name="connsiteX1495" fmla="*/ 4346 w 10785"/>
                  <a:gd name="connsiteY1495" fmla="*/ 897 h 10000"/>
                  <a:gd name="connsiteX1496" fmla="*/ 4346 w 10785"/>
                  <a:gd name="connsiteY1496" fmla="*/ 897 h 10000"/>
                  <a:gd name="connsiteX1497" fmla="*/ 4313 w 10785"/>
                  <a:gd name="connsiteY1497" fmla="*/ 906 h 10000"/>
                  <a:gd name="connsiteX1498" fmla="*/ 4313 w 10785"/>
                  <a:gd name="connsiteY1498" fmla="*/ 906 h 10000"/>
                  <a:gd name="connsiteX1499" fmla="*/ 4313 w 10785"/>
                  <a:gd name="connsiteY1499" fmla="*/ 880 h 10000"/>
                  <a:gd name="connsiteX1500" fmla="*/ 4309 w 10785"/>
                  <a:gd name="connsiteY1500" fmla="*/ 897 h 10000"/>
                  <a:gd name="connsiteX1501" fmla="*/ 4295 w 10785"/>
                  <a:gd name="connsiteY1501" fmla="*/ 923 h 10000"/>
                  <a:gd name="connsiteX1502" fmla="*/ 4286 w 10785"/>
                  <a:gd name="connsiteY1502" fmla="*/ 897 h 10000"/>
                  <a:gd name="connsiteX1503" fmla="*/ 4281 w 10785"/>
                  <a:gd name="connsiteY1503" fmla="*/ 906 h 10000"/>
                  <a:gd name="connsiteX1504" fmla="*/ 4281 w 10785"/>
                  <a:gd name="connsiteY1504" fmla="*/ 940 h 10000"/>
                  <a:gd name="connsiteX1505" fmla="*/ 4286 w 10785"/>
                  <a:gd name="connsiteY1505" fmla="*/ 957 h 10000"/>
                  <a:gd name="connsiteX1506" fmla="*/ 4309 w 10785"/>
                  <a:gd name="connsiteY1506" fmla="*/ 932 h 10000"/>
                  <a:gd name="connsiteX1507" fmla="*/ 4313 w 10785"/>
                  <a:gd name="connsiteY1507" fmla="*/ 957 h 10000"/>
                  <a:gd name="connsiteX1508" fmla="*/ 4313 w 10785"/>
                  <a:gd name="connsiteY1508" fmla="*/ 966 h 10000"/>
                  <a:gd name="connsiteX1509" fmla="*/ 4323 w 10785"/>
                  <a:gd name="connsiteY1509" fmla="*/ 966 h 10000"/>
                  <a:gd name="connsiteX1510" fmla="*/ 4323 w 10785"/>
                  <a:gd name="connsiteY1510" fmla="*/ 940 h 10000"/>
                  <a:gd name="connsiteX1511" fmla="*/ 4327 w 10785"/>
                  <a:gd name="connsiteY1511" fmla="*/ 940 h 10000"/>
                  <a:gd name="connsiteX1512" fmla="*/ 4327 w 10785"/>
                  <a:gd name="connsiteY1512" fmla="*/ 957 h 10000"/>
                  <a:gd name="connsiteX1513" fmla="*/ 4327 w 10785"/>
                  <a:gd name="connsiteY1513" fmla="*/ 966 h 10000"/>
                  <a:gd name="connsiteX1514" fmla="*/ 4323 w 10785"/>
                  <a:gd name="connsiteY1514" fmla="*/ 991 h 10000"/>
                  <a:gd name="connsiteX1515" fmla="*/ 4207 w 10785"/>
                  <a:gd name="connsiteY1515" fmla="*/ 1060 h 10000"/>
                  <a:gd name="connsiteX1516" fmla="*/ 4207 w 10785"/>
                  <a:gd name="connsiteY1516" fmla="*/ 1060 h 10000"/>
                  <a:gd name="connsiteX1517" fmla="*/ 4203 w 10785"/>
                  <a:gd name="connsiteY1517" fmla="*/ 1068 h 10000"/>
                  <a:gd name="connsiteX1518" fmla="*/ 4203 w 10785"/>
                  <a:gd name="connsiteY1518" fmla="*/ 1094 h 10000"/>
                  <a:gd name="connsiteX1519" fmla="*/ 4203 w 10785"/>
                  <a:gd name="connsiteY1519" fmla="*/ 1094 h 10000"/>
                  <a:gd name="connsiteX1520" fmla="*/ 4189 w 10785"/>
                  <a:gd name="connsiteY1520" fmla="*/ 1094 h 10000"/>
                  <a:gd name="connsiteX1521" fmla="*/ 4166 w 10785"/>
                  <a:gd name="connsiteY1521" fmla="*/ 1103 h 10000"/>
                  <a:gd name="connsiteX1522" fmla="*/ 4152 w 10785"/>
                  <a:gd name="connsiteY1522" fmla="*/ 1094 h 10000"/>
                  <a:gd name="connsiteX1523" fmla="*/ 4134 w 10785"/>
                  <a:gd name="connsiteY1523" fmla="*/ 1120 h 10000"/>
                  <a:gd name="connsiteX1524" fmla="*/ 4106 w 10785"/>
                  <a:gd name="connsiteY1524" fmla="*/ 1120 h 10000"/>
                  <a:gd name="connsiteX1525" fmla="*/ 4092 w 10785"/>
                  <a:gd name="connsiteY1525" fmla="*/ 1154 h 10000"/>
                  <a:gd name="connsiteX1526" fmla="*/ 4106 w 10785"/>
                  <a:gd name="connsiteY1526" fmla="*/ 1171 h 10000"/>
                  <a:gd name="connsiteX1527" fmla="*/ 4078 w 10785"/>
                  <a:gd name="connsiteY1527" fmla="*/ 1179 h 10000"/>
                  <a:gd name="connsiteX1528" fmla="*/ 4065 w 10785"/>
                  <a:gd name="connsiteY1528" fmla="*/ 1205 h 10000"/>
                  <a:gd name="connsiteX1529" fmla="*/ 4046 w 10785"/>
                  <a:gd name="connsiteY1529" fmla="*/ 1179 h 10000"/>
                  <a:gd name="connsiteX1530" fmla="*/ 4041 w 10785"/>
                  <a:gd name="connsiteY1530" fmla="*/ 1197 h 10000"/>
                  <a:gd name="connsiteX1531" fmla="*/ 4028 w 10785"/>
                  <a:gd name="connsiteY1531" fmla="*/ 1205 h 10000"/>
                  <a:gd name="connsiteX1532" fmla="*/ 4028 w 10785"/>
                  <a:gd name="connsiteY1532" fmla="*/ 1205 h 10000"/>
                  <a:gd name="connsiteX1533" fmla="*/ 4032 w 10785"/>
                  <a:gd name="connsiteY1533" fmla="*/ 1205 h 10000"/>
                  <a:gd name="connsiteX1534" fmla="*/ 4032 w 10785"/>
                  <a:gd name="connsiteY1534" fmla="*/ 1231 h 10000"/>
                  <a:gd name="connsiteX1535" fmla="*/ 4014 w 10785"/>
                  <a:gd name="connsiteY1535" fmla="*/ 1239 h 10000"/>
                  <a:gd name="connsiteX1536" fmla="*/ 4014 w 10785"/>
                  <a:gd name="connsiteY1536" fmla="*/ 1256 h 10000"/>
                  <a:gd name="connsiteX1537" fmla="*/ 4000 w 10785"/>
                  <a:gd name="connsiteY1537" fmla="*/ 1265 h 10000"/>
                  <a:gd name="connsiteX1538" fmla="*/ 3986 w 10785"/>
                  <a:gd name="connsiteY1538" fmla="*/ 1308 h 10000"/>
                  <a:gd name="connsiteX1539" fmla="*/ 3972 w 10785"/>
                  <a:gd name="connsiteY1539" fmla="*/ 1316 h 10000"/>
                  <a:gd name="connsiteX1540" fmla="*/ 3972 w 10785"/>
                  <a:gd name="connsiteY1540" fmla="*/ 1325 h 10000"/>
                  <a:gd name="connsiteX1541" fmla="*/ 3972 w 10785"/>
                  <a:gd name="connsiteY1541" fmla="*/ 1342 h 10000"/>
                  <a:gd name="connsiteX1542" fmla="*/ 3968 w 10785"/>
                  <a:gd name="connsiteY1542" fmla="*/ 1350 h 10000"/>
                  <a:gd name="connsiteX1543" fmla="*/ 3954 w 10785"/>
                  <a:gd name="connsiteY1543" fmla="*/ 1368 h 10000"/>
                  <a:gd name="connsiteX1544" fmla="*/ 3945 w 10785"/>
                  <a:gd name="connsiteY1544" fmla="*/ 1350 h 10000"/>
                  <a:gd name="connsiteX1545" fmla="*/ 3908 w 10785"/>
                  <a:gd name="connsiteY1545" fmla="*/ 1342 h 10000"/>
                  <a:gd name="connsiteX1546" fmla="*/ 3894 w 10785"/>
                  <a:gd name="connsiteY1546" fmla="*/ 1368 h 10000"/>
                  <a:gd name="connsiteX1547" fmla="*/ 3922 w 10785"/>
                  <a:gd name="connsiteY1547" fmla="*/ 1393 h 10000"/>
                  <a:gd name="connsiteX1548" fmla="*/ 3945 w 10785"/>
                  <a:gd name="connsiteY1548" fmla="*/ 1393 h 10000"/>
                  <a:gd name="connsiteX1549" fmla="*/ 3940 w 10785"/>
                  <a:gd name="connsiteY1549" fmla="*/ 1419 h 10000"/>
                  <a:gd name="connsiteX1550" fmla="*/ 3931 w 10785"/>
                  <a:gd name="connsiteY1550" fmla="*/ 1427 h 10000"/>
                  <a:gd name="connsiteX1551" fmla="*/ 3926 w 10785"/>
                  <a:gd name="connsiteY1551" fmla="*/ 1427 h 10000"/>
                  <a:gd name="connsiteX1552" fmla="*/ 3922 w 10785"/>
                  <a:gd name="connsiteY1552" fmla="*/ 1419 h 10000"/>
                  <a:gd name="connsiteX1553" fmla="*/ 3912 w 10785"/>
                  <a:gd name="connsiteY1553" fmla="*/ 1427 h 10000"/>
                  <a:gd name="connsiteX1554" fmla="*/ 3912 w 10785"/>
                  <a:gd name="connsiteY1554" fmla="*/ 1444 h 10000"/>
                  <a:gd name="connsiteX1555" fmla="*/ 3894 w 10785"/>
                  <a:gd name="connsiteY1555" fmla="*/ 1513 h 10000"/>
                  <a:gd name="connsiteX1556" fmla="*/ 3885 w 10785"/>
                  <a:gd name="connsiteY1556" fmla="*/ 1513 h 10000"/>
                  <a:gd name="connsiteX1557" fmla="*/ 3880 w 10785"/>
                  <a:gd name="connsiteY1557" fmla="*/ 1538 h 10000"/>
                  <a:gd name="connsiteX1558" fmla="*/ 3885 w 10785"/>
                  <a:gd name="connsiteY1558" fmla="*/ 1564 h 10000"/>
                  <a:gd name="connsiteX1559" fmla="*/ 3880 w 10785"/>
                  <a:gd name="connsiteY1559" fmla="*/ 1581 h 10000"/>
                  <a:gd name="connsiteX1560" fmla="*/ 3871 w 10785"/>
                  <a:gd name="connsiteY1560" fmla="*/ 1538 h 10000"/>
                  <a:gd name="connsiteX1561" fmla="*/ 3853 w 10785"/>
                  <a:gd name="connsiteY1561" fmla="*/ 1530 h 10000"/>
                  <a:gd name="connsiteX1562" fmla="*/ 3853 w 10785"/>
                  <a:gd name="connsiteY1562" fmla="*/ 1504 h 10000"/>
                  <a:gd name="connsiteX1563" fmla="*/ 3834 w 10785"/>
                  <a:gd name="connsiteY1563" fmla="*/ 1487 h 10000"/>
                  <a:gd name="connsiteX1564" fmla="*/ 3834 w 10785"/>
                  <a:gd name="connsiteY1564" fmla="*/ 1487 h 10000"/>
                  <a:gd name="connsiteX1565" fmla="*/ 3839 w 10785"/>
                  <a:gd name="connsiteY1565" fmla="*/ 1513 h 10000"/>
                  <a:gd name="connsiteX1566" fmla="*/ 3820 w 10785"/>
                  <a:gd name="connsiteY1566" fmla="*/ 1538 h 10000"/>
                  <a:gd name="connsiteX1567" fmla="*/ 3820 w 10785"/>
                  <a:gd name="connsiteY1567" fmla="*/ 1556 h 10000"/>
                  <a:gd name="connsiteX1568" fmla="*/ 3820 w 10785"/>
                  <a:gd name="connsiteY1568" fmla="*/ 1564 h 10000"/>
                  <a:gd name="connsiteX1569" fmla="*/ 3820 w 10785"/>
                  <a:gd name="connsiteY1569" fmla="*/ 1581 h 10000"/>
                  <a:gd name="connsiteX1570" fmla="*/ 3853 w 10785"/>
                  <a:gd name="connsiteY1570" fmla="*/ 1581 h 10000"/>
                  <a:gd name="connsiteX1571" fmla="*/ 3857 w 10785"/>
                  <a:gd name="connsiteY1571" fmla="*/ 1598 h 10000"/>
                  <a:gd name="connsiteX1572" fmla="*/ 3880 w 10785"/>
                  <a:gd name="connsiteY1572" fmla="*/ 1615 h 10000"/>
                  <a:gd name="connsiteX1573" fmla="*/ 3871 w 10785"/>
                  <a:gd name="connsiteY1573" fmla="*/ 1615 h 10000"/>
                  <a:gd name="connsiteX1574" fmla="*/ 3871 w 10785"/>
                  <a:gd name="connsiteY1574" fmla="*/ 1641 h 10000"/>
                  <a:gd name="connsiteX1575" fmla="*/ 3880 w 10785"/>
                  <a:gd name="connsiteY1575" fmla="*/ 1641 h 10000"/>
                  <a:gd name="connsiteX1576" fmla="*/ 3871 w 10785"/>
                  <a:gd name="connsiteY1576" fmla="*/ 1650 h 10000"/>
                  <a:gd name="connsiteX1577" fmla="*/ 3857 w 10785"/>
                  <a:gd name="connsiteY1577" fmla="*/ 1650 h 10000"/>
                  <a:gd name="connsiteX1578" fmla="*/ 3853 w 10785"/>
                  <a:gd name="connsiteY1578" fmla="*/ 1650 h 10000"/>
                  <a:gd name="connsiteX1579" fmla="*/ 3839 w 10785"/>
                  <a:gd name="connsiteY1579" fmla="*/ 1667 h 10000"/>
                  <a:gd name="connsiteX1580" fmla="*/ 3848 w 10785"/>
                  <a:gd name="connsiteY1580" fmla="*/ 1692 h 10000"/>
                  <a:gd name="connsiteX1581" fmla="*/ 3834 w 10785"/>
                  <a:gd name="connsiteY1581" fmla="*/ 1692 h 10000"/>
                  <a:gd name="connsiteX1582" fmla="*/ 3825 w 10785"/>
                  <a:gd name="connsiteY1582" fmla="*/ 1692 h 10000"/>
                  <a:gd name="connsiteX1583" fmla="*/ 3825 w 10785"/>
                  <a:gd name="connsiteY1583" fmla="*/ 1718 h 10000"/>
                  <a:gd name="connsiteX1584" fmla="*/ 3839 w 10785"/>
                  <a:gd name="connsiteY1584" fmla="*/ 1726 h 10000"/>
                  <a:gd name="connsiteX1585" fmla="*/ 3880 w 10785"/>
                  <a:gd name="connsiteY1585" fmla="*/ 1752 h 10000"/>
                  <a:gd name="connsiteX1586" fmla="*/ 3894 w 10785"/>
                  <a:gd name="connsiteY1586" fmla="*/ 1829 h 10000"/>
                  <a:gd name="connsiteX1587" fmla="*/ 3899 w 10785"/>
                  <a:gd name="connsiteY1587" fmla="*/ 1838 h 10000"/>
                  <a:gd name="connsiteX1588" fmla="*/ 3894 w 10785"/>
                  <a:gd name="connsiteY1588" fmla="*/ 1855 h 10000"/>
                  <a:gd name="connsiteX1589" fmla="*/ 3880 w 10785"/>
                  <a:gd name="connsiteY1589" fmla="*/ 1838 h 10000"/>
                  <a:gd name="connsiteX1590" fmla="*/ 3880 w 10785"/>
                  <a:gd name="connsiteY1590" fmla="*/ 1855 h 10000"/>
                  <a:gd name="connsiteX1591" fmla="*/ 3880 w 10785"/>
                  <a:gd name="connsiteY1591" fmla="*/ 1863 h 10000"/>
                  <a:gd name="connsiteX1592" fmla="*/ 3871 w 10785"/>
                  <a:gd name="connsiteY1592" fmla="*/ 1872 h 10000"/>
                  <a:gd name="connsiteX1593" fmla="*/ 3880 w 10785"/>
                  <a:gd name="connsiteY1593" fmla="*/ 1889 h 10000"/>
                  <a:gd name="connsiteX1594" fmla="*/ 3885 w 10785"/>
                  <a:gd name="connsiteY1594" fmla="*/ 1889 h 10000"/>
                  <a:gd name="connsiteX1595" fmla="*/ 3880 w 10785"/>
                  <a:gd name="connsiteY1595" fmla="*/ 1897 h 10000"/>
                  <a:gd name="connsiteX1596" fmla="*/ 3871 w 10785"/>
                  <a:gd name="connsiteY1596" fmla="*/ 1915 h 10000"/>
                  <a:gd name="connsiteX1597" fmla="*/ 3848 w 10785"/>
                  <a:gd name="connsiteY1597" fmla="*/ 1923 h 10000"/>
                  <a:gd name="connsiteX1598" fmla="*/ 3825 w 10785"/>
                  <a:gd name="connsiteY1598" fmla="*/ 1940 h 10000"/>
                  <a:gd name="connsiteX1599" fmla="*/ 3811 w 10785"/>
                  <a:gd name="connsiteY1599" fmla="*/ 1940 h 10000"/>
                  <a:gd name="connsiteX1600" fmla="*/ 3806 w 10785"/>
                  <a:gd name="connsiteY1600" fmla="*/ 1949 h 10000"/>
                  <a:gd name="connsiteX1601" fmla="*/ 3797 w 10785"/>
                  <a:gd name="connsiteY1601" fmla="*/ 1966 h 10000"/>
                  <a:gd name="connsiteX1602" fmla="*/ 3788 w 10785"/>
                  <a:gd name="connsiteY1602" fmla="*/ 1991 h 10000"/>
                  <a:gd name="connsiteX1603" fmla="*/ 3765 w 10785"/>
                  <a:gd name="connsiteY1603" fmla="*/ 1974 h 10000"/>
                  <a:gd name="connsiteX1604" fmla="*/ 3760 w 10785"/>
                  <a:gd name="connsiteY1604" fmla="*/ 1966 h 10000"/>
                  <a:gd name="connsiteX1605" fmla="*/ 3760 w 10785"/>
                  <a:gd name="connsiteY1605" fmla="*/ 1966 h 10000"/>
                  <a:gd name="connsiteX1606" fmla="*/ 3631 w 10785"/>
                  <a:gd name="connsiteY1606" fmla="*/ 2009 h 10000"/>
                  <a:gd name="connsiteX1607" fmla="*/ 3618 w 10785"/>
                  <a:gd name="connsiteY1607" fmla="*/ 2000 h 10000"/>
                  <a:gd name="connsiteX1608" fmla="*/ 3599 w 10785"/>
                  <a:gd name="connsiteY1608" fmla="*/ 2009 h 10000"/>
                  <a:gd name="connsiteX1609" fmla="*/ 3571 w 10785"/>
                  <a:gd name="connsiteY1609" fmla="*/ 2000 h 10000"/>
                  <a:gd name="connsiteX1610" fmla="*/ 3530 w 10785"/>
                  <a:gd name="connsiteY1610" fmla="*/ 2026 h 10000"/>
                  <a:gd name="connsiteX1611" fmla="*/ 3530 w 10785"/>
                  <a:gd name="connsiteY1611" fmla="*/ 2034 h 10000"/>
                  <a:gd name="connsiteX1612" fmla="*/ 3525 w 10785"/>
                  <a:gd name="connsiteY1612" fmla="*/ 2051 h 10000"/>
                  <a:gd name="connsiteX1613" fmla="*/ 3512 w 10785"/>
                  <a:gd name="connsiteY1613" fmla="*/ 2034 h 10000"/>
                  <a:gd name="connsiteX1614" fmla="*/ 3507 w 10785"/>
                  <a:gd name="connsiteY1614" fmla="*/ 2034 h 10000"/>
                  <a:gd name="connsiteX1615" fmla="*/ 3498 w 10785"/>
                  <a:gd name="connsiteY1615" fmla="*/ 2051 h 10000"/>
                  <a:gd name="connsiteX1616" fmla="*/ 3484 w 10785"/>
                  <a:gd name="connsiteY1616" fmla="*/ 2060 h 10000"/>
                  <a:gd name="connsiteX1617" fmla="*/ 3484 w 10785"/>
                  <a:gd name="connsiteY1617" fmla="*/ 2085 h 10000"/>
                  <a:gd name="connsiteX1618" fmla="*/ 3484 w 10785"/>
                  <a:gd name="connsiteY1618" fmla="*/ 2103 h 10000"/>
                  <a:gd name="connsiteX1619" fmla="*/ 3493 w 10785"/>
                  <a:gd name="connsiteY1619" fmla="*/ 2103 h 10000"/>
                  <a:gd name="connsiteX1620" fmla="*/ 3493 w 10785"/>
                  <a:gd name="connsiteY1620" fmla="*/ 2085 h 10000"/>
                  <a:gd name="connsiteX1621" fmla="*/ 3498 w 10785"/>
                  <a:gd name="connsiteY1621" fmla="*/ 2085 h 10000"/>
                  <a:gd name="connsiteX1622" fmla="*/ 3498 w 10785"/>
                  <a:gd name="connsiteY1622" fmla="*/ 2111 h 10000"/>
                  <a:gd name="connsiteX1623" fmla="*/ 3484 w 10785"/>
                  <a:gd name="connsiteY1623" fmla="*/ 2120 h 10000"/>
                  <a:gd name="connsiteX1624" fmla="*/ 3484 w 10785"/>
                  <a:gd name="connsiteY1624" fmla="*/ 2145 h 10000"/>
                  <a:gd name="connsiteX1625" fmla="*/ 3470 w 10785"/>
                  <a:gd name="connsiteY1625" fmla="*/ 2137 h 10000"/>
                  <a:gd name="connsiteX1626" fmla="*/ 3465 w 10785"/>
                  <a:gd name="connsiteY1626" fmla="*/ 2145 h 10000"/>
                  <a:gd name="connsiteX1627" fmla="*/ 3470 w 10785"/>
                  <a:gd name="connsiteY1627" fmla="*/ 2171 h 10000"/>
                  <a:gd name="connsiteX1628" fmla="*/ 3484 w 10785"/>
                  <a:gd name="connsiteY1628" fmla="*/ 2171 h 10000"/>
                  <a:gd name="connsiteX1629" fmla="*/ 3484 w 10785"/>
                  <a:gd name="connsiteY1629" fmla="*/ 2197 h 10000"/>
                  <a:gd name="connsiteX1630" fmla="*/ 3465 w 10785"/>
                  <a:gd name="connsiteY1630" fmla="*/ 2214 h 10000"/>
                  <a:gd name="connsiteX1631" fmla="*/ 3493 w 10785"/>
                  <a:gd name="connsiteY1631" fmla="*/ 2248 h 10000"/>
                  <a:gd name="connsiteX1632" fmla="*/ 3484 w 10785"/>
                  <a:gd name="connsiteY1632" fmla="*/ 2256 h 10000"/>
                  <a:gd name="connsiteX1633" fmla="*/ 3498 w 10785"/>
                  <a:gd name="connsiteY1633" fmla="*/ 2274 h 10000"/>
                  <a:gd name="connsiteX1634" fmla="*/ 3498 w 10785"/>
                  <a:gd name="connsiteY1634" fmla="*/ 2256 h 10000"/>
                  <a:gd name="connsiteX1635" fmla="*/ 3507 w 10785"/>
                  <a:gd name="connsiteY1635" fmla="*/ 2308 h 10000"/>
                  <a:gd name="connsiteX1636" fmla="*/ 3512 w 10785"/>
                  <a:gd name="connsiteY1636" fmla="*/ 2325 h 10000"/>
                  <a:gd name="connsiteX1637" fmla="*/ 3507 w 10785"/>
                  <a:gd name="connsiteY1637" fmla="*/ 2333 h 10000"/>
                  <a:gd name="connsiteX1638" fmla="*/ 3507 w 10785"/>
                  <a:gd name="connsiteY1638" fmla="*/ 2359 h 10000"/>
                  <a:gd name="connsiteX1639" fmla="*/ 3507 w 10785"/>
                  <a:gd name="connsiteY1639" fmla="*/ 2376 h 10000"/>
                  <a:gd name="connsiteX1640" fmla="*/ 3498 w 10785"/>
                  <a:gd name="connsiteY1640" fmla="*/ 2410 h 10000"/>
                  <a:gd name="connsiteX1641" fmla="*/ 3498 w 10785"/>
                  <a:gd name="connsiteY1641" fmla="*/ 2436 h 10000"/>
                  <a:gd name="connsiteX1642" fmla="*/ 3507 w 10785"/>
                  <a:gd name="connsiteY1642" fmla="*/ 2462 h 10000"/>
                  <a:gd name="connsiteX1643" fmla="*/ 3507 w 10785"/>
                  <a:gd name="connsiteY1643" fmla="*/ 2496 h 10000"/>
                  <a:gd name="connsiteX1644" fmla="*/ 3512 w 10785"/>
                  <a:gd name="connsiteY1644" fmla="*/ 2521 h 10000"/>
                  <a:gd name="connsiteX1645" fmla="*/ 3525 w 10785"/>
                  <a:gd name="connsiteY1645" fmla="*/ 2556 h 10000"/>
                  <a:gd name="connsiteX1646" fmla="*/ 3571 w 10785"/>
                  <a:gd name="connsiteY1646" fmla="*/ 2573 h 10000"/>
                  <a:gd name="connsiteX1647" fmla="*/ 3590 w 10785"/>
                  <a:gd name="connsiteY1647" fmla="*/ 2598 h 10000"/>
                  <a:gd name="connsiteX1648" fmla="*/ 3599 w 10785"/>
                  <a:gd name="connsiteY1648" fmla="*/ 2598 h 10000"/>
                  <a:gd name="connsiteX1649" fmla="*/ 3604 w 10785"/>
                  <a:gd name="connsiteY1649" fmla="*/ 2632 h 10000"/>
                  <a:gd name="connsiteX1650" fmla="*/ 3599 w 10785"/>
                  <a:gd name="connsiteY1650" fmla="*/ 2658 h 10000"/>
                  <a:gd name="connsiteX1651" fmla="*/ 3590 w 10785"/>
                  <a:gd name="connsiteY1651" fmla="*/ 2667 h 10000"/>
                  <a:gd name="connsiteX1652" fmla="*/ 3604 w 10785"/>
                  <a:gd name="connsiteY1652" fmla="*/ 2667 h 10000"/>
                  <a:gd name="connsiteX1653" fmla="*/ 3613 w 10785"/>
                  <a:gd name="connsiteY1653" fmla="*/ 2692 h 10000"/>
                  <a:gd name="connsiteX1654" fmla="*/ 3627 w 10785"/>
                  <a:gd name="connsiteY1654" fmla="*/ 2735 h 10000"/>
                  <a:gd name="connsiteX1655" fmla="*/ 3631 w 10785"/>
                  <a:gd name="connsiteY1655" fmla="*/ 2744 h 10000"/>
                  <a:gd name="connsiteX1656" fmla="*/ 3659 w 10785"/>
                  <a:gd name="connsiteY1656" fmla="*/ 2761 h 10000"/>
                  <a:gd name="connsiteX1657" fmla="*/ 3673 w 10785"/>
                  <a:gd name="connsiteY1657" fmla="*/ 2769 h 10000"/>
                  <a:gd name="connsiteX1658" fmla="*/ 3673 w 10785"/>
                  <a:gd name="connsiteY1658" fmla="*/ 2761 h 10000"/>
                  <a:gd name="connsiteX1659" fmla="*/ 3687 w 10785"/>
                  <a:gd name="connsiteY1659" fmla="*/ 2829 h 10000"/>
                  <a:gd name="connsiteX1660" fmla="*/ 3677 w 10785"/>
                  <a:gd name="connsiteY1660" fmla="*/ 2897 h 10000"/>
                  <a:gd name="connsiteX1661" fmla="*/ 3673 w 10785"/>
                  <a:gd name="connsiteY1661" fmla="*/ 2915 h 10000"/>
                  <a:gd name="connsiteX1662" fmla="*/ 3664 w 10785"/>
                  <a:gd name="connsiteY1662" fmla="*/ 2957 h 10000"/>
                  <a:gd name="connsiteX1663" fmla="*/ 3659 w 10785"/>
                  <a:gd name="connsiteY1663" fmla="*/ 2983 h 10000"/>
                  <a:gd name="connsiteX1664" fmla="*/ 3664 w 10785"/>
                  <a:gd name="connsiteY1664" fmla="*/ 3017 h 10000"/>
                  <a:gd name="connsiteX1665" fmla="*/ 3659 w 10785"/>
                  <a:gd name="connsiteY1665" fmla="*/ 3043 h 10000"/>
                  <a:gd name="connsiteX1666" fmla="*/ 3677 w 10785"/>
                  <a:gd name="connsiteY1666" fmla="*/ 3094 h 10000"/>
                  <a:gd name="connsiteX1667" fmla="*/ 3691 w 10785"/>
                  <a:gd name="connsiteY1667" fmla="*/ 3282 h 10000"/>
                  <a:gd name="connsiteX1668" fmla="*/ 3691 w 10785"/>
                  <a:gd name="connsiteY1668" fmla="*/ 3308 h 10000"/>
                  <a:gd name="connsiteX1669" fmla="*/ 3677 w 10785"/>
                  <a:gd name="connsiteY1669" fmla="*/ 3342 h 10000"/>
                  <a:gd name="connsiteX1670" fmla="*/ 3664 w 10785"/>
                  <a:gd name="connsiteY1670" fmla="*/ 3342 h 10000"/>
                  <a:gd name="connsiteX1671" fmla="*/ 3650 w 10785"/>
                  <a:gd name="connsiteY1671" fmla="*/ 3342 h 10000"/>
                  <a:gd name="connsiteX1672" fmla="*/ 3650 w 10785"/>
                  <a:gd name="connsiteY1672" fmla="*/ 3350 h 10000"/>
                  <a:gd name="connsiteX1673" fmla="*/ 3659 w 10785"/>
                  <a:gd name="connsiteY1673" fmla="*/ 3402 h 10000"/>
                  <a:gd name="connsiteX1674" fmla="*/ 3659 w 10785"/>
                  <a:gd name="connsiteY1674" fmla="*/ 3419 h 10000"/>
                  <a:gd name="connsiteX1675" fmla="*/ 3631 w 10785"/>
                  <a:gd name="connsiteY1675" fmla="*/ 3402 h 10000"/>
                  <a:gd name="connsiteX1676" fmla="*/ 3604 w 10785"/>
                  <a:gd name="connsiteY1676" fmla="*/ 3393 h 10000"/>
                  <a:gd name="connsiteX1677" fmla="*/ 3599 w 10785"/>
                  <a:gd name="connsiteY1677" fmla="*/ 3368 h 10000"/>
                  <a:gd name="connsiteX1678" fmla="*/ 3590 w 10785"/>
                  <a:gd name="connsiteY1678" fmla="*/ 3239 h 10000"/>
                  <a:gd name="connsiteX1679" fmla="*/ 3599 w 10785"/>
                  <a:gd name="connsiteY1679" fmla="*/ 3179 h 10000"/>
                  <a:gd name="connsiteX1680" fmla="*/ 3599 w 10785"/>
                  <a:gd name="connsiteY1680" fmla="*/ 3171 h 10000"/>
                  <a:gd name="connsiteX1681" fmla="*/ 3599 w 10785"/>
                  <a:gd name="connsiteY1681" fmla="*/ 3009 h 10000"/>
                  <a:gd name="connsiteX1682" fmla="*/ 3604 w 10785"/>
                  <a:gd name="connsiteY1682" fmla="*/ 2983 h 10000"/>
                  <a:gd name="connsiteX1683" fmla="*/ 3645 w 10785"/>
                  <a:gd name="connsiteY1683" fmla="*/ 2932 h 10000"/>
                  <a:gd name="connsiteX1684" fmla="*/ 3650 w 10785"/>
                  <a:gd name="connsiteY1684" fmla="*/ 2872 h 10000"/>
                  <a:gd name="connsiteX1685" fmla="*/ 3659 w 10785"/>
                  <a:gd name="connsiteY1685" fmla="*/ 2855 h 10000"/>
                  <a:gd name="connsiteX1686" fmla="*/ 3659 w 10785"/>
                  <a:gd name="connsiteY1686" fmla="*/ 2821 h 10000"/>
                  <a:gd name="connsiteX1687" fmla="*/ 3631 w 10785"/>
                  <a:gd name="connsiteY1687" fmla="*/ 2795 h 10000"/>
                  <a:gd name="connsiteX1688" fmla="*/ 3567 w 10785"/>
                  <a:gd name="connsiteY1688" fmla="*/ 2821 h 10000"/>
                  <a:gd name="connsiteX1689" fmla="*/ 3544 w 10785"/>
                  <a:gd name="connsiteY1689" fmla="*/ 2795 h 10000"/>
                  <a:gd name="connsiteX1690" fmla="*/ 3530 w 10785"/>
                  <a:gd name="connsiteY1690" fmla="*/ 2769 h 10000"/>
                  <a:gd name="connsiteX1691" fmla="*/ 3530 w 10785"/>
                  <a:gd name="connsiteY1691" fmla="*/ 2786 h 10000"/>
                  <a:gd name="connsiteX1692" fmla="*/ 3498 w 10785"/>
                  <a:gd name="connsiteY1692" fmla="*/ 2692 h 10000"/>
                  <a:gd name="connsiteX1693" fmla="*/ 3498 w 10785"/>
                  <a:gd name="connsiteY1693" fmla="*/ 2667 h 10000"/>
                  <a:gd name="connsiteX1694" fmla="*/ 3442 w 10785"/>
                  <a:gd name="connsiteY1694" fmla="*/ 2607 h 10000"/>
                  <a:gd name="connsiteX1695" fmla="*/ 3433 w 10785"/>
                  <a:gd name="connsiteY1695" fmla="*/ 2581 h 10000"/>
                  <a:gd name="connsiteX1696" fmla="*/ 3396 w 10785"/>
                  <a:gd name="connsiteY1696" fmla="*/ 2556 h 10000"/>
                  <a:gd name="connsiteX1697" fmla="*/ 3318 w 10785"/>
                  <a:gd name="connsiteY1697" fmla="*/ 2556 h 10000"/>
                  <a:gd name="connsiteX1698" fmla="*/ 3304 w 10785"/>
                  <a:gd name="connsiteY1698" fmla="*/ 2607 h 10000"/>
                  <a:gd name="connsiteX1699" fmla="*/ 3276 w 10785"/>
                  <a:gd name="connsiteY1699" fmla="*/ 2632 h 10000"/>
                  <a:gd name="connsiteX1700" fmla="*/ 3272 w 10785"/>
                  <a:gd name="connsiteY1700" fmla="*/ 2667 h 10000"/>
                  <a:gd name="connsiteX1701" fmla="*/ 3304 w 10785"/>
                  <a:gd name="connsiteY1701" fmla="*/ 2667 h 10000"/>
                  <a:gd name="connsiteX1702" fmla="*/ 3323 w 10785"/>
                  <a:gd name="connsiteY1702" fmla="*/ 2692 h 10000"/>
                  <a:gd name="connsiteX1703" fmla="*/ 3318 w 10785"/>
                  <a:gd name="connsiteY1703" fmla="*/ 2735 h 10000"/>
                  <a:gd name="connsiteX1704" fmla="*/ 3304 w 10785"/>
                  <a:gd name="connsiteY1704" fmla="*/ 2761 h 10000"/>
                  <a:gd name="connsiteX1705" fmla="*/ 3276 w 10785"/>
                  <a:gd name="connsiteY1705" fmla="*/ 2769 h 10000"/>
                  <a:gd name="connsiteX1706" fmla="*/ 3263 w 10785"/>
                  <a:gd name="connsiteY1706" fmla="*/ 2795 h 10000"/>
                  <a:gd name="connsiteX1707" fmla="*/ 3235 w 10785"/>
                  <a:gd name="connsiteY1707" fmla="*/ 2803 h 10000"/>
                  <a:gd name="connsiteX1708" fmla="*/ 3235 w 10785"/>
                  <a:gd name="connsiteY1708" fmla="*/ 2786 h 10000"/>
                  <a:gd name="connsiteX1709" fmla="*/ 3212 w 10785"/>
                  <a:gd name="connsiteY1709" fmla="*/ 2709 h 10000"/>
                  <a:gd name="connsiteX1710" fmla="*/ 3198 w 10785"/>
                  <a:gd name="connsiteY1710" fmla="*/ 2709 h 10000"/>
                  <a:gd name="connsiteX1711" fmla="*/ 3184 w 10785"/>
                  <a:gd name="connsiteY1711" fmla="*/ 2735 h 10000"/>
                  <a:gd name="connsiteX1712" fmla="*/ 3189 w 10785"/>
                  <a:gd name="connsiteY1712" fmla="*/ 2761 h 10000"/>
                  <a:gd name="connsiteX1713" fmla="*/ 3203 w 10785"/>
                  <a:gd name="connsiteY1713" fmla="*/ 2855 h 10000"/>
                  <a:gd name="connsiteX1714" fmla="*/ 3212 w 10785"/>
                  <a:gd name="connsiteY1714" fmla="*/ 2872 h 10000"/>
                  <a:gd name="connsiteX1715" fmla="*/ 3235 w 10785"/>
                  <a:gd name="connsiteY1715" fmla="*/ 2906 h 10000"/>
                  <a:gd name="connsiteX1716" fmla="*/ 3258 w 10785"/>
                  <a:gd name="connsiteY1716" fmla="*/ 2915 h 10000"/>
                  <a:gd name="connsiteX1717" fmla="*/ 3272 w 10785"/>
                  <a:gd name="connsiteY1717" fmla="*/ 2957 h 10000"/>
                  <a:gd name="connsiteX1718" fmla="*/ 3276 w 10785"/>
                  <a:gd name="connsiteY1718" fmla="*/ 2957 h 10000"/>
                  <a:gd name="connsiteX1719" fmla="*/ 3286 w 10785"/>
                  <a:gd name="connsiteY1719" fmla="*/ 2966 h 10000"/>
                  <a:gd name="connsiteX1720" fmla="*/ 3300 w 10785"/>
                  <a:gd name="connsiteY1720" fmla="*/ 2957 h 10000"/>
                  <a:gd name="connsiteX1721" fmla="*/ 3309 w 10785"/>
                  <a:gd name="connsiteY1721" fmla="*/ 2932 h 10000"/>
                  <a:gd name="connsiteX1722" fmla="*/ 3304 w 10785"/>
                  <a:gd name="connsiteY1722" fmla="*/ 2966 h 10000"/>
                  <a:gd name="connsiteX1723" fmla="*/ 3309 w 10785"/>
                  <a:gd name="connsiteY1723" fmla="*/ 2983 h 10000"/>
                  <a:gd name="connsiteX1724" fmla="*/ 3323 w 10785"/>
                  <a:gd name="connsiteY1724" fmla="*/ 2966 h 10000"/>
                  <a:gd name="connsiteX1725" fmla="*/ 3323 w 10785"/>
                  <a:gd name="connsiteY1725" fmla="*/ 3043 h 10000"/>
                  <a:gd name="connsiteX1726" fmla="*/ 3346 w 10785"/>
                  <a:gd name="connsiteY1726" fmla="*/ 3068 h 10000"/>
                  <a:gd name="connsiteX1727" fmla="*/ 3346 w 10785"/>
                  <a:gd name="connsiteY1727" fmla="*/ 3094 h 10000"/>
                  <a:gd name="connsiteX1728" fmla="*/ 3323 w 10785"/>
                  <a:gd name="connsiteY1728" fmla="*/ 3094 h 10000"/>
                  <a:gd name="connsiteX1729" fmla="*/ 3309 w 10785"/>
                  <a:gd name="connsiteY1729" fmla="*/ 3077 h 10000"/>
                  <a:gd name="connsiteX1730" fmla="*/ 3304 w 10785"/>
                  <a:gd name="connsiteY1730" fmla="*/ 3051 h 10000"/>
                  <a:gd name="connsiteX1731" fmla="*/ 3300 w 10785"/>
                  <a:gd name="connsiteY1731" fmla="*/ 3043 h 10000"/>
                  <a:gd name="connsiteX1732" fmla="*/ 3286 w 10785"/>
                  <a:gd name="connsiteY1732" fmla="*/ 3017 h 10000"/>
                  <a:gd name="connsiteX1733" fmla="*/ 3152 w 10785"/>
                  <a:gd name="connsiteY1733" fmla="*/ 2966 h 10000"/>
                  <a:gd name="connsiteX1734" fmla="*/ 3129 w 10785"/>
                  <a:gd name="connsiteY1734" fmla="*/ 2915 h 10000"/>
                  <a:gd name="connsiteX1735" fmla="*/ 3129 w 10785"/>
                  <a:gd name="connsiteY1735" fmla="*/ 2906 h 10000"/>
                  <a:gd name="connsiteX1736" fmla="*/ 3152 w 10785"/>
                  <a:gd name="connsiteY1736" fmla="*/ 2906 h 10000"/>
                  <a:gd name="connsiteX1737" fmla="*/ 3152 w 10785"/>
                  <a:gd name="connsiteY1737" fmla="*/ 2846 h 10000"/>
                  <a:gd name="connsiteX1738" fmla="*/ 3138 w 10785"/>
                  <a:gd name="connsiteY1738" fmla="*/ 2795 h 10000"/>
                  <a:gd name="connsiteX1739" fmla="*/ 3138 w 10785"/>
                  <a:gd name="connsiteY1739" fmla="*/ 2769 h 10000"/>
                  <a:gd name="connsiteX1740" fmla="*/ 3143 w 10785"/>
                  <a:gd name="connsiteY1740" fmla="*/ 2718 h 10000"/>
                  <a:gd name="connsiteX1741" fmla="*/ 3129 w 10785"/>
                  <a:gd name="connsiteY1741" fmla="*/ 2692 h 10000"/>
                  <a:gd name="connsiteX1742" fmla="*/ 3143 w 10785"/>
                  <a:gd name="connsiteY1742" fmla="*/ 2667 h 10000"/>
                  <a:gd name="connsiteX1743" fmla="*/ 3157 w 10785"/>
                  <a:gd name="connsiteY1743" fmla="*/ 2581 h 10000"/>
                  <a:gd name="connsiteX1744" fmla="*/ 3143 w 10785"/>
                  <a:gd name="connsiteY1744" fmla="*/ 2496 h 10000"/>
                  <a:gd name="connsiteX1745" fmla="*/ 3157 w 10785"/>
                  <a:gd name="connsiteY1745" fmla="*/ 2487 h 10000"/>
                  <a:gd name="connsiteX1746" fmla="*/ 3143 w 10785"/>
                  <a:gd name="connsiteY1746" fmla="*/ 2444 h 10000"/>
                  <a:gd name="connsiteX1747" fmla="*/ 3143 w 10785"/>
                  <a:gd name="connsiteY1747" fmla="*/ 2419 h 10000"/>
                  <a:gd name="connsiteX1748" fmla="*/ 3143 w 10785"/>
                  <a:gd name="connsiteY1748" fmla="*/ 2410 h 10000"/>
                  <a:gd name="connsiteX1749" fmla="*/ 3124 w 10785"/>
                  <a:gd name="connsiteY1749" fmla="*/ 2376 h 10000"/>
                  <a:gd name="connsiteX1750" fmla="*/ 3115 w 10785"/>
                  <a:gd name="connsiteY1750" fmla="*/ 2350 h 10000"/>
                  <a:gd name="connsiteX1751" fmla="*/ 3101 w 10785"/>
                  <a:gd name="connsiteY1751" fmla="*/ 2359 h 10000"/>
                  <a:gd name="connsiteX1752" fmla="*/ 3115 w 10785"/>
                  <a:gd name="connsiteY1752" fmla="*/ 2581 h 10000"/>
                  <a:gd name="connsiteX1753" fmla="*/ 3111 w 10785"/>
                  <a:gd name="connsiteY1753" fmla="*/ 2624 h 10000"/>
                  <a:gd name="connsiteX1754" fmla="*/ 3009 w 10785"/>
                  <a:gd name="connsiteY1754" fmla="*/ 2761 h 10000"/>
                  <a:gd name="connsiteX1755" fmla="*/ 3009 w 10785"/>
                  <a:gd name="connsiteY1755" fmla="*/ 2803 h 10000"/>
                  <a:gd name="connsiteX1756" fmla="*/ 3005 w 10785"/>
                  <a:gd name="connsiteY1756" fmla="*/ 2829 h 10000"/>
                  <a:gd name="connsiteX1757" fmla="*/ 2982 w 10785"/>
                  <a:gd name="connsiteY1757" fmla="*/ 2872 h 10000"/>
                  <a:gd name="connsiteX1758" fmla="*/ 2982 w 10785"/>
                  <a:gd name="connsiteY1758" fmla="*/ 2880 h 10000"/>
                  <a:gd name="connsiteX1759" fmla="*/ 3037 w 10785"/>
                  <a:gd name="connsiteY1759" fmla="*/ 3034 h 10000"/>
                  <a:gd name="connsiteX1760" fmla="*/ 3041 w 10785"/>
                  <a:gd name="connsiteY1760" fmla="*/ 3103 h 10000"/>
                  <a:gd name="connsiteX1761" fmla="*/ 3069 w 10785"/>
                  <a:gd name="connsiteY1761" fmla="*/ 3188 h 10000"/>
                  <a:gd name="connsiteX1762" fmla="*/ 3055 w 10785"/>
                  <a:gd name="connsiteY1762" fmla="*/ 3325 h 10000"/>
                  <a:gd name="connsiteX1763" fmla="*/ 3037 w 10785"/>
                  <a:gd name="connsiteY1763" fmla="*/ 3368 h 10000"/>
                  <a:gd name="connsiteX1764" fmla="*/ 3037 w 10785"/>
                  <a:gd name="connsiteY1764" fmla="*/ 3444 h 10000"/>
                  <a:gd name="connsiteX1765" fmla="*/ 3028 w 10785"/>
                  <a:gd name="connsiteY1765" fmla="*/ 3453 h 10000"/>
                  <a:gd name="connsiteX1766" fmla="*/ 3023 w 10785"/>
                  <a:gd name="connsiteY1766" fmla="*/ 3530 h 10000"/>
                  <a:gd name="connsiteX1767" fmla="*/ 3051 w 10785"/>
                  <a:gd name="connsiteY1767" fmla="*/ 3624 h 10000"/>
                  <a:gd name="connsiteX1768" fmla="*/ 3037 w 10785"/>
                  <a:gd name="connsiteY1768" fmla="*/ 3718 h 10000"/>
                  <a:gd name="connsiteX1769" fmla="*/ 3041 w 10785"/>
                  <a:gd name="connsiteY1769" fmla="*/ 3752 h 10000"/>
                  <a:gd name="connsiteX1770" fmla="*/ 3055 w 10785"/>
                  <a:gd name="connsiteY1770" fmla="*/ 3761 h 10000"/>
                  <a:gd name="connsiteX1771" fmla="*/ 3078 w 10785"/>
                  <a:gd name="connsiteY1771" fmla="*/ 3752 h 10000"/>
                  <a:gd name="connsiteX1772" fmla="*/ 3092 w 10785"/>
                  <a:gd name="connsiteY1772" fmla="*/ 3752 h 10000"/>
                  <a:gd name="connsiteX1773" fmla="*/ 3129 w 10785"/>
                  <a:gd name="connsiteY1773" fmla="*/ 3761 h 10000"/>
                  <a:gd name="connsiteX1774" fmla="*/ 3129 w 10785"/>
                  <a:gd name="connsiteY1774" fmla="*/ 3735 h 10000"/>
                  <a:gd name="connsiteX1775" fmla="*/ 3157 w 10785"/>
                  <a:gd name="connsiteY1775" fmla="*/ 3718 h 10000"/>
                  <a:gd name="connsiteX1776" fmla="*/ 3184 w 10785"/>
                  <a:gd name="connsiteY1776" fmla="*/ 3718 h 10000"/>
                  <a:gd name="connsiteX1777" fmla="*/ 3290 w 10785"/>
                  <a:gd name="connsiteY1777" fmla="*/ 3838 h 10000"/>
                  <a:gd name="connsiteX1778" fmla="*/ 3300 w 10785"/>
                  <a:gd name="connsiteY1778" fmla="*/ 3846 h 10000"/>
                  <a:gd name="connsiteX1779" fmla="*/ 3300 w 10785"/>
                  <a:gd name="connsiteY1779" fmla="*/ 3915 h 10000"/>
                  <a:gd name="connsiteX1780" fmla="*/ 3318 w 10785"/>
                  <a:gd name="connsiteY1780" fmla="*/ 4000 h 10000"/>
                  <a:gd name="connsiteX1781" fmla="*/ 3323 w 10785"/>
                  <a:gd name="connsiteY1781" fmla="*/ 4000 h 10000"/>
                  <a:gd name="connsiteX1782" fmla="*/ 3323 w 10785"/>
                  <a:gd name="connsiteY1782" fmla="*/ 4034 h 10000"/>
                  <a:gd name="connsiteX1783" fmla="*/ 3318 w 10785"/>
                  <a:gd name="connsiteY1783" fmla="*/ 4051 h 10000"/>
                  <a:gd name="connsiteX1784" fmla="*/ 3300 w 10785"/>
                  <a:gd name="connsiteY1784" fmla="*/ 4051 h 10000"/>
                  <a:gd name="connsiteX1785" fmla="*/ 3290 w 10785"/>
                  <a:gd name="connsiteY1785" fmla="*/ 4077 h 10000"/>
                  <a:gd name="connsiteX1786" fmla="*/ 3286 w 10785"/>
                  <a:gd name="connsiteY1786" fmla="*/ 4103 h 10000"/>
                  <a:gd name="connsiteX1787" fmla="*/ 3286 w 10785"/>
                  <a:gd name="connsiteY1787" fmla="*/ 4197 h 10000"/>
                  <a:gd name="connsiteX1788" fmla="*/ 3290 w 10785"/>
                  <a:gd name="connsiteY1788" fmla="*/ 4214 h 10000"/>
                  <a:gd name="connsiteX1789" fmla="*/ 3304 w 10785"/>
                  <a:gd name="connsiteY1789" fmla="*/ 4214 h 10000"/>
                  <a:gd name="connsiteX1790" fmla="*/ 3323 w 10785"/>
                  <a:gd name="connsiteY1790" fmla="*/ 4239 h 10000"/>
                  <a:gd name="connsiteX1791" fmla="*/ 3350 w 10785"/>
                  <a:gd name="connsiteY1791" fmla="*/ 4222 h 10000"/>
                  <a:gd name="connsiteX1792" fmla="*/ 3369 w 10785"/>
                  <a:gd name="connsiteY1792" fmla="*/ 4256 h 10000"/>
                  <a:gd name="connsiteX1793" fmla="*/ 3369 w 10785"/>
                  <a:gd name="connsiteY1793" fmla="*/ 4256 h 10000"/>
                  <a:gd name="connsiteX1794" fmla="*/ 3336 w 10785"/>
                  <a:gd name="connsiteY1794" fmla="*/ 4274 h 10000"/>
                  <a:gd name="connsiteX1795" fmla="*/ 3323 w 10785"/>
                  <a:gd name="connsiteY1795" fmla="*/ 4274 h 10000"/>
                  <a:gd name="connsiteX1796" fmla="*/ 3290 w 10785"/>
                  <a:gd name="connsiteY1796" fmla="*/ 4274 h 10000"/>
                  <a:gd name="connsiteX1797" fmla="*/ 3286 w 10785"/>
                  <a:gd name="connsiteY1797" fmla="*/ 4239 h 10000"/>
                  <a:gd name="connsiteX1798" fmla="*/ 3263 w 10785"/>
                  <a:gd name="connsiteY1798" fmla="*/ 4214 h 10000"/>
                  <a:gd name="connsiteX1799" fmla="*/ 3258 w 10785"/>
                  <a:gd name="connsiteY1799" fmla="*/ 4188 h 10000"/>
                  <a:gd name="connsiteX1800" fmla="*/ 3263 w 10785"/>
                  <a:gd name="connsiteY1800" fmla="*/ 4171 h 10000"/>
                  <a:gd name="connsiteX1801" fmla="*/ 3263 w 10785"/>
                  <a:gd name="connsiteY1801" fmla="*/ 4103 h 10000"/>
                  <a:gd name="connsiteX1802" fmla="*/ 3276 w 10785"/>
                  <a:gd name="connsiteY1802" fmla="*/ 4060 h 10000"/>
                  <a:gd name="connsiteX1803" fmla="*/ 3272 w 10785"/>
                  <a:gd name="connsiteY1803" fmla="*/ 4051 h 10000"/>
                  <a:gd name="connsiteX1804" fmla="*/ 3263 w 10785"/>
                  <a:gd name="connsiteY1804" fmla="*/ 4051 h 10000"/>
                  <a:gd name="connsiteX1805" fmla="*/ 3263 w 10785"/>
                  <a:gd name="connsiteY1805" fmla="*/ 4034 h 10000"/>
                  <a:gd name="connsiteX1806" fmla="*/ 3263 w 10785"/>
                  <a:gd name="connsiteY1806" fmla="*/ 4000 h 10000"/>
                  <a:gd name="connsiteX1807" fmla="*/ 3272 w 10785"/>
                  <a:gd name="connsiteY1807" fmla="*/ 4000 h 10000"/>
                  <a:gd name="connsiteX1808" fmla="*/ 3272 w 10785"/>
                  <a:gd name="connsiteY1808" fmla="*/ 3974 h 10000"/>
                  <a:gd name="connsiteX1809" fmla="*/ 3272 w 10785"/>
                  <a:gd name="connsiteY1809" fmla="*/ 3966 h 10000"/>
                  <a:gd name="connsiteX1810" fmla="*/ 3272 w 10785"/>
                  <a:gd name="connsiteY1810" fmla="*/ 3949 h 10000"/>
                  <a:gd name="connsiteX1811" fmla="*/ 3258 w 10785"/>
                  <a:gd name="connsiteY1811" fmla="*/ 3923 h 10000"/>
                  <a:gd name="connsiteX1812" fmla="*/ 3249 w 10785"/>
                  <a:gd name="connsiteY1812" fmla="*/ 3915 h 10000"/>
                  <a:gd name="connsiteX1813" fmla="*/ 3244 w 10785"/>
                  <a:gd name="connsiteY1813" fmla="*/ 3897 h 10000"/>
                  <a:gd name="connsiteX1814" fmla="*/ 3230 w 10785"/>
                  <a:gd name="connsiteY1814" fmla="*/ 3889 h 10000"/>
                  <a:gd name="connsiteX1815" fmla="*/ 3230 w 10785"/>
                  <a:gd name="connsiteY1815" fmla="*/ 3863 h 10000"/>
                  <a:gd name="connsiteX1816" fmla="*/ 3230 w 10785"/>
                  <a:gd name="connsiteY1816" fmla="*/ 3838 h 10000"/>
                  <a:gd name="connsiteX1817" fmla="*/ 3226 w 10785"/>
                  <a:gd name="connsiteY1817" fmla="*/ 3803 h 10000"/>
                  <a:gd name="connsiteX1818" fmla="*/ 3138 w 10785"/>
                  <a:gd name="connsiteY1818" fmla="*/ 3838 h 10000"/>
                  <a:gd name="connsiteX1819" fmla="*/ 3078 w 10785"/>
                  <a:gd name="connsiteY1819" fmla="*/ 3889 h 10000"/>
                  <a:gd name="connsiteX1820" fmla="*/ 3078 w 10785"/>
                  <a:gd name="connsiteY1820" fmla="*/ 3940 h 10000"/>
                  <a:gd name="connsiteX1821" fmla="*/ 3069 w 10785"/>
                  <a:gd name="connsiteY1821" fmla="*/ 3983 h 10000"/>
                  <a:gd name="connsiteX1822" fmla="*/ 3069 w 10785"/>
                  <a:gd name="connsiteY1822" fmla="*/ 4009 h 10000"/>
                  <a:gd name="connsiteX1823" fmla="*/ 3078 w 10785"/>
                  <a:gd name="connsiteY1823" fmla="*/ 4026 h 10000"/>
                  <a:gd name="connsiteX1824" fmla="*/ 3083 w 10785"/>
                  <a:gd name="connsiteY1824" fmla="*/ 4034 h 10000"/>
                  <a:gd name="connsiteX1825" fmla="*/ 3092 w 10785"/>
                  <a:gd name="connsiteY1825" fmla="*/ 4060 h 10000"/>
                  <a:gd name="connsiteX1826" fmla="*/ 3092 w 10785"/>
                  <a:gd name="connsiteY1826" fmla="*/ 4077 h 10000"/>
                  <a:gd name="connsiteX1827" fmla="*/ 3097 w 10785"/>
                  <a:gd name="connsiteY1827" fmla="*/ 4103 h 10000"/>
                  <a:gd name="connsiteX1828" fmla="*/ 3101 w 10785"/>
                  <a:gd name="connsiteY1828" fmla="*/ 4162 h 10000"/>
                  <a:gd name="connsiteX1829" fmla="*/ 3097 w 10785"/>
                  <a:gd name="connsiteY1829" fmla="*/ 4222 h 10000"/>
                  <a:gd name="connsiteX1830" fmla="*/ 3041 w 10785"/>
                  <a:gd name="connsiteY1830" fmla="*/ 4325 h 10000"/>
                  <a:gd name="connsiteX1831" fmla="*/ 3037 w 10785"/>
                  <a:gd name="connsiteY1831" fmla="*/ 4419 h 10000"/>
                  <a:gd name="connsiteX1832" fmla="*/ 3018 w 10785"/>
                  <a:gd name="connsiteY1832" fmla="*/ 4470 h 10000"/>
                  <a:gd name="connsiteX1833" fmla="*/ 2991 w 10785"/>
                  <a:gd name="connsiteY1833" fmla="*/ 4513 h 10000"/>
                  <a:gd name="connsiteX1834" fmla="*/ 2977 w 10785"/>
                  <a:gd name="connsiteY1834" fmla="*/ 4530 h 10000"/>
                  <a:gd name="connsiteX1835" fmla="*/ 2945 w 10785"/>
                  <a:gd name="connsiteY1835" fmla="*/ 4556 h 10000"/>
                  <a:gd name="connsiteX1836" fmla="*/ 2935 w 10785"/>
                  <a:gd name="connsiteY1836" fmla="*/ 4581 h 10000"/>
                  <a:gd name="connsiteX1837" fmla="*/ 2949 w 10785"/>
                  <a:gd name="connsiteY1837" fmla="*/ 4624 h 10000"/>
                  <a:gd name="connsiteX1838" fmla="*/ 2945 w 10785"/>
                  <a:gd name="connsiteY1838" fmla="*/ 4658 h 10000"/>
                  <a:gd name="connsiteX1839" fmla="*/ 2922 w 10785"/>
                  <a:gd name="connsiteY1839" fmla="*/ 4667 h 10000"/>
                  <a:gd name="connsiteX1840" fmla="*/ 2876 w 10785"/>
                  <a:gd name="connsiteY1840" fmla="*/ 4632 h 10000"/>
                  <a:gd name="connsiteX1841" fmla="*/ 2857 w 10785"/>
                  <a:gd name="connsiteY1841" fmla="*/ 4632 h 10000"/>
                  <a:gd name="connsiteX1842" fmla="*/ 2820 w 10785"/>
                  <a:gd name="connsiteY1842" fmla="*/ 4641 h 10000"/>
                  <a:gd name="connsiteX1843" fmla="*/ 2797 w 10785"/>
                  <a:gd name="connsiteY1843" fmla="*/ 4632 h 10000"/>
                  <a:gd name="connsiteX1844" fmla="*/ 2788 w 10785"/>
                  <a:gd name="connsiteY1844" fmla="*/ 4624 h 10000"/>
                  <a:gd name="connsiteX1845" fmla="*/ 2788 w 10785"/>
                  <a:gd name="connsiteY1845" fmla="*/ 4598 h 10000"/>
                  <a:gd name="connsiteX1846" fmla="*/ 2797 w 10785"/>
                  <a:gd name="connsiteY1846" fmla="*/ 4581 h 10000"/>
                  <a:gd name="connsiteX1847" fmla="*/ 2788 w 10785"/>
                  <a:gd name="connsiteY1847" fmla="*/ 4530 h 10000"/>
                  <a:gd name="connsiteX1848" fmla="*/ 2774 w 10785"/>
                  <a:gd name="connsiteY1848" fmla="*/ 4530 h 10000"/>
                  <a:gd name="connsiteX1849" fmla="*/ 2770 w 10785"/>
                  <a:gd name="connsiteY1849" fmla="*/ 4513 h 10000"/>
                  <a:gd name="connsiteX1850" fmla="*/ 2774 w 10785"/>
                  <a:gd name="connsiteY1850" fmla="*/ 4513 h 10000"/>
                  <a:gd name="connsiteX1851" fmla="*/ 2788 w 10785"/>
                  <a:gd name="connsiteY1851" fmla="*/ 4496 h 10000"/>
                  <a:gd name="connsiteX1852" fmla="*/ 2802 w 10785"/>
                  <a:gd name="connsiteY1852" fmla="*/ 4513 h 10000"/>
                  <a:gd name="connsiteX1853" fmla="*/ 2811 w 10785"/>
                  <a:gd name="connsiteY1853" fmla="*/ 4530 h 10000"/>
                  <a:gd name="connsiteX1854" fmla="*/ 2820 w 10785"/>
                  <a:gd name="connsiteY1854" fmla="*/ 4521 h 10000"/>
                  <a:gd name="connsiteX1855" fmla="*/ 2829 w 10785"/>
                  <a:gd name="connsiteY1855" fmla="*/ 4513 h 10000"/>
                  <a:gd name="connsiteX1856" fmla="*/ 2843 w 10785"/>
                  <a:gd name="connsiteY1856" fmla="*/ 4513 h 10000"/>
                  <a:gd name="connsiteX1857" fmla="*/ 2848 w 10785"/>
                  <a:gd name="connsiteY1857" fmla="*/ 4470 h 10000"/>
                  <a:gd name="connsiteX1858" fmla="*/ 2862 w 10785"/>
                  <a:gd name="connsiteY1858" fmla="*/ 4487 h 10000"/>
                  <a:gd name="connsiteX1859" fmla="*/ 2876 w 10785"/>
                  <a:gd name="connsiteY1859" fmla="*/ 4470 h 10000"/>
                  <a:gd name="connsiteX1860" fmla="*/ 2880 w 10785"/>
                  <a:gd name="connsiteY1860" fmla="*/ 4462 h 10000"/>
                  <a:gd name="connsiteX1861" fmla="*/ 2889 w 10785"/>
                  <a:gd name="connsiteY1861" fmla="*/ 4444 h 10000"/>
                  <a:gd name="connsiteX1862" fmla="*/ 2894 w 10785"/>
                  <a:gd name="connsiteY1862" fmla="*/ 4462 h 10000"/>
                  <a:gd name="connsiteX1863" fmla="*/ 2917 w 10785"/>
                  <a:gd name="connsiteY1863" fmla="*/ 4444 h 10000"/>
                  <a:gd name="connsiteX1864" fmla="*/ 2922 w 10785"/>
                  <a:gd name="connsiteY1864" fmla="*/ 4436 h 10000"/>
                  <a:gd name="connsiteX1865" fmla="*/ 2917 w 10785"/>
                  <a:gd name="connsiteY1865" fmla="*/ 4410 h 10000"/>
                  <a:gd name="connsiteX1866" fmla="*/ 2894 w 10785"/>
                  <a:gd name="connsiteY1866" fmla="*/ 4410 h 10000"/>
                  <a:gd name="connsiteX1867" fmla="*/ 2889 w 10785"/>
                  <a:gd name="connsiteY1867" fmla="*/ 4419 h 10000"/>
                  <a:gd name="connsiteX1868" fmla="*/ 2876 w 10785"/>
                  <a:gd name="connsiteY1868" fmla="*/ 4410 h 10000"/>
                  <a:gd name="connsiteX1869" fmla="*/ 2880 w 10785"/>
                  <a:gd name="connsiteY1869" fmla="*/ 4376 h 10000"/>
                  <a:gd name="connsiteX1870" fmla="*/ 2903 w 10785"/>
                  <a:gd name="connsiteY1870" fmla="*/ 4393 h 10000"/>
                  <a:gd name="connsiteX1871" fmla="*/ 2931 w 10785"/>
                  <a:gd name="connsiteY1871" fmla="*/ 4393 h 10000"/>
                  <a:gd name="connsiteX1872" fmla="*/ 2931 w 10785"/>
                  <a:gd name="connsiteY1872" fmla="*/ 4385 h 10000"/>
                  <a:gd name="connsiteX1873" fmla="*/ 2931 w 10785"/>
                  <a:gd name="connsiteY1873" fmla="*/ 4350 h 10000"/>
                  <a:gd name="connsiteX1874" fmla="*/ 2945 w 10785"/>
                  <a:gd name="connsiteY1874" fmla="*/ 4350 h 10000"/>
                  <a:gd name="connsiteX1875" fmla="*/ 2949 w 10785"/>
                  <a:gd name="connsiteY1875" fmla="*/ 4325 h 10000"/>
                  <a:gd name="connsiteX1876" fmla="*/ 2963 w 10785"/>
                  <a:gd name="connsiteY1876" fmla="*/ 4256 h 10000"/>
                  <a:gd name="connsiteX1877" fmla="*/ 2982 w 10785"/>
                  <a:gd name="connsiteY1877" fmla="*/ 4239 h 10000"/>
                  <a:gd name="connsiteX1878" fmla="*/ 2991 w 10785"/>
                  <a:gd name="connsiteY1878" fmla="*/ 4214 h 10000"/>
                  <a:gd name="connsiteX1879" fmla="*/ 2991 w 10785"/>
                  <a:gd name="connsiteY1879" fmla="*/ 4197 h 10000"/>
                  <a:gd name="connsiteX1880" fmla="*/ 2995 w 10785"/>
                  <a:gd name="connsiteY1880" fmla="*/ 4171 h 10000"/>
                  <a:gd name="connsiteX1881" fmla="*/ 2991 w 10785"/>
                  <a:gd name="connsiteY1881" fmla="*/ 4077 h 10000"/>
                  <a:gd name="connsiteX1882" fmla="*/ 2995 w 10785"/>
                  <a:gd name="connsiteY1882" fmla="*/ 4034 h 10000"/>
                  <a:gd name="connsiteX1883" fmla="*/ 3018 w 10785"/>
                  <a:gd name="connsiteY1883" fmla="*/ 3983 h 10000"/>
                  <a:gd name="connsiteX1884" fmla="*/ 3018 w 10785"/>
                  <a:gd name="connsiteY1884" fmla="*/ 3915 h 10000"/>
                  <a:gd name="connsiteX1885" fmla="*/ 2949 w 10785"/>
                  <a:gd name="connsiteY1885" fmla="*/ 3778 h 10000"/>
                  <a:gd name="connsiteX1886" fmla="*/ 2954 w 10785"/>
                  <a:gd name="connsiteY1886" fmla="*/ 3675 h 10000"/>
                  <a:gd name="connsiteX1887" fmla="*/ 2954 w 10785"/>
                  <a:gd name="connsiteY1887" fmla="*/ 3650 h 10000"/>
                  <a:gd name="connsiteX1888" fmla="*/ 2963 w 10785"/>
                  <a:gd name="connsiteY1888" fmla="*/ 3624 h 10000"/>
                  <a:gd name="connsiteX1889" fmla="*/ 2954 w 10785"/>
                  <a:gd name="connsiteY1889" fmla="*/ 3564 h 10000"/>
                  <a:gd name="connsiteX1890" fmla="*/ 2963 w 10785"/>
                  <a:gd name="connsiteY1890" fmla="*/ 3538 h 10000"/>
                  <a:gd name="connsiteX1891" fmla="*/ 2963 w 10785"/>
                  <a:gd name="connsiteY1891" fmla="*/ 3487 h 10000"/>
                  <a:gd name="connsiteX1892" fmla="*/ 2963 w 10785"/>
                  <a:gd name="connsiteY1892" fmla="*/ 3479 h 10000"/>
                  <a:gd name="connsiteX1893" fmla="*/ 2963 w 10785"/>
                  <a:gd name="connsiteY1893" fmla="*/ 3462 h 10000"/>
                  <a:gd name="connsiteX1894" fmla="*/ 2954 w 10785"/>
                  <a:gd name="connsiteY1894" fmla="*/ 3453 h 10000"/>
                  <a:gd name="connsiteX1895" fmla="*/ 2954 w 10785"/>
                  <a:gd name="connsiteY1895" fmla="*/ 3444 h 10000"/>
                  <a:gd name="connsiteX1896" fmla="*/ 2954 w 10785"/>
                  <a:gd name="connsiteY1896" fmla="*/ 3402 h 10000"/>
                  <a:gd name="connsiteX1897" fmla="*/ 2954 w 10785"/>
                  <a:gd name="connsiteY1897" fmla="*/ 3393 h 10000"/>
                  <a:gd name="connsiteX1898" fmla="*/ 2949 w 10785"/>
                  <a:gd name="connsiteY1898" fmla="*/ 3376 h 10000"/>
                  <a:gd name="connsiteX1899" fmla="*/ 2949 w 10785"/>
                  <a:gd name="connsiteY1899" fmla="*/ 3342 h 10000"/>
                  <a:gd name="connsiteX1900" fmla="*/ 2949 w 10785"/>
                  <a:gd name="connsiteY1900" fmla="*/ 3316 h 10000"/>
                  <a:gd name="connsiteX1901" fmla="*/ 2968 w 10785"/>
                  <a:gd name="connsiteY1901" fmla="*/ 3291 h 10000"/>
                  <a:gd name="connsiteX1902" fmla="*/ 2963 w 10785"/>
                  <a:gd name="connsiteY1902" fmla="*/ 3205 h 10000"/>
                  <a:gd name="connsiteX1903" fmla="*/ 2968 w 10785"/>
                  <a:gd name="connsiteY1903" fmla="*/ 3171 h 10000"/>
                  <a:gd name="connsiteX1904" fmla="*/ 2968 w 10785"/>
                  <a:gd name="connsiteY1904" fmla="*/ 3128 h 10000"/>
                  <a:gd name="connsiteX1905" fmla="*/ 2954 w 10785"/>
                  <a:gd name="connsiteY1905" fmla="*/ 3051 h 10000"/>
                  <a:gd name="connsiteX1906" fmla="*/ 2954 w 10785"/>
                  <a:gd name="connsiteY1906" fmla="*/ 3009 h 10000"/>
                  <a:gd name="connsiteX1907" fmla="*/ 2922 w 10785"/>
                  <a:gd name="connsiteY1907" fmla="*/ 2940 h 10000"/>
                  <a:gd name="connsiteX1908" fmla="*/ 2903 w 10785"/>
                  <a:gd name="connsiteY1908" fmla="*/ 2880 h 10000"/>
                  <a:gd name="connsiteX1909" fmla="*/ 2903 w 10785"/>
                  <a:gd name="connsiteY1909" fmla="*/ 2855 h 10000"/>
                  <a:gd name="connsiteX1910" fmla="*/ 2908 w 10785"/>
                  <a:gd name="connsiteY1910" fmla="*/ 2846 h 10000"/>
                  <a:gd name="connsiteX1911" fmla="*/ 2931 w 10785"/>
                  <a:gd name="connsiteY1911" fmla="*/ 2821 h 10000"/>
                  <a:gd name="connsiteX1912" fmla="*/ 2931 w 10785"/>
                  <a:gd name="connsiteY1912" fmla="*/ 2803 h 10000"/>
                  <a:gd name="connsiteX1913" fmla="*/ 2935 w 10785"/>
                  <a:gd name="connsiteY1913" fmla="*/ 2786 h 10000"/>
                  <a:gd name="connsiteX1914" fmla="*/ 2935 w 10785"/>
                  <a:gd name="connsiteY1914" fmla="*/ 2744 h 10000"/>
                  <a:gd name="connsiteX1915" fmla="*/ 2963 w 10785"/>
                  <a:gd name="connsiteY1915" fmla="*/ 2607 h 10000"/>
                  <a:gd name="connsiteX1916" fmla="*/ 2963 w 10785"/>
                  <a:gd name="connsiteY1916" fmla="*/ 2419 h 10000"/>
                  <a:gd name="connsiteX1917" fmla="*/ 2954 w 10785"/>
                  <a:gd name="connsiteY1917" fmla="*/ 2410 h 10000"/>
                  <a:gd name="connsiteX1918" fmla="*/ 2963 w 10785"/>
                  <a:gd name="connsiteY1918" fmla="*/ 2393 h 10000"/>
                  <a:gd name="connsiteX1919" fmla="*/ 2908 w 10785"/>
                  <a:gd name="connsiteY1919" fmla="*/ 2359 h 10000"/>
                  <a:gd name="connsiteX1920" fmla="*/ 2889 w 10785"/>
                  <a:gd name="connsiteY1920" fmla="*/ 2325 h 10000"/>
                  <a:gd name="connsiteX1921" fmla="*/ 2788 w 10785"/>
                  <a:gd name="connsiteY1921" fmla="*/ 2333 h 10000"/>
                  <a:gd name="connsiteX1922" fmla="*/ 2774 w 10785"/>
                  <a:gd name="connsiteY1922" fmla="*/ 2325 h 10000"/>
                  <a:gd name="connsiteX1923" fmla="*/ 2783 w 10785"/>
                  <a:gd name="connsiteY1923" fmla="*/ 2308 h 10000"/>
                  <a:gd name="connsiteX1924" fmla="*/ 2747 w 10785"/>
                  <a:gd name="connsiteY1924" fmla="*/ 2308 h 10000"/>
                  <a:gd name="connsiteX1925" fmla="*/ 2742 w 10785"/>
                  <a:gd name="connsiteY1925" fmla="*/ 2333 h 10000"/>
                  <a:gd name="connsiteX1926" fmla="*/ 2682 w 10785"/>
                  <a:gd name="connsiteY1926" fmla="*/ 2769 h 10000"/>
                  <a:gd name="connsiteX1927" fmla="*/ 2613 w 10785"/>
                  <a:gd name="connsiteY1927" fmla="*/ 2940 h 10000"/>
                  <a:gd name="connsiteX1928" fmla="*/ 2581 w 10785"/>
                  <a:gd name="connsiteY1928" fmla="*/ 2966 h 10000"/>
                  <a:gd name="connsiteX1929" fmla="*/ 2576 w 10785"/>
                  <a:gd name="connsiteY1929" fmla="*/ 3051 h 10000"/>
                  <a:gd name="connsiteX1930" fmla="*/ 2581 w 10785"/>
                  <a:gd name="connsiteY1930" fmla="*/ 3051 h 10000"/>
                  <a:gd name="connsiteX1931" fmla="*/ 2594 w 10785"/>
                  <a:gd name="connsiteY1931" fmla="*/ 3017 h 10000"/>
                  <a:gd name="connsiteX1932" fmla="*/ 2594 w 10785"/>
                  <a:gd name="connsiteY1932" fmla="*/ 3034 h 10000"/>
                  <a:gd name="connsiteX1933" fmla="*/ 2594 w 10785"/>
                  <a:gd name="connsiteY1933" fmla="*/ 3051 h 10000"/>
                  <a:gd name="connsiteX1934" fmla="*/ 2590 w 10785"/>
                  <a:gd name="connsiteY1934" fmla="*/ 3077 h 10000"/>
                  <a:gd name="connsiteX1935" fmla="*/ 2567 w 10785"/>
                  <a:gd name="connsiteY1935" fmla="*/ 3103 h 10000"/>
                  <a:gd name="connsiteX1936" fmla="*/ 2562 w 10785"/>
                  <a:gd name="connsiteY1936" fmla="*/ 3145 h 10000"/>
                  <a:gd name="connsiteX1937" fmla="*/ 2567 w 10785"/>
                  <a:gd name="connsiteY1937" fmla="*/ 3179 h 10000"/>
                  <a:gd name="connsiteX1938" fmla="*/ 2590 w 10785"/>
                  <a:gd name="connsiteY1938" fmla="*/ 3171 h 10000"/>
                  <a:gd name="connsiteX1939" fmla="*/ 2594 w 10785"/>
                  <a:gd name="connsiteY1939" fmla="*/ 3145 h 10000"/>
                  <a:gd name="connsiteX1940" fmla="*/ 2613 w 10785"/>
                  <a:gd name="connsiteY1940" fmla="*/ 3154 h 10000"/>
                  <a:gd name="connsiteX1941" fmla="*/ 2622 w 10785"/>
                  <a:gd name="connsiteY1941" fmla="*/ 3179 h 10000"/>
                  <a:gd name="connsiteX1942" fmla="*/ 2613 w 10785"/>
                  <a:gd name="connsiteY1942" fmla="*/ 3214 h 10000"/>
                  <a:gd name="connsiteX1943" fmla="*/ 2613 w 10785"/>
                  <a:gd name="connsiteY1943" fmla="*/ 3308 h 10000"/>
                  <a:gd name="connsiteX1944" fmla="*/ 2608 w 10785"/>
                  <a:gd name="connsiteY1944" fmla="*/ 3325 h 10000"/>
                  <a:gd name="connsiteX1945" fmla="*/ 2608 w 10785"/>
                  <a:gd name="connsiteY1945" fmla="*/ 3376 h 10000"/>
                  <a:gd name="connsiteX1946" fmla="*/ 2613 w 10785"/>
                  <a:gd name="connsiteY1946" fmla="*/ 3419 h 10000"/>
                  <a:gd name="connsiteX1947" fmla="*/ 2608 w 10785"/>
                  <a:gd name="connsiteY1947" fmla="*/ 3444 h 10000"/>
                  <a:gd name="connsiteX1948" fmla="*/ 2594 w 10785"/>
                  <a:gd name="connsiteY1948" fmla="*/ 3444 h 10000"/>
                  <a:gd name="connsiteX1949" fmla="*/ 2590 w 10785"/>
                  <a:gd name="connsiteY1949" fmla="*/ 3427 h 10000"/>
                  <a:gd name="connsiteX1950" fmla="*/ 2581 w 10785"/>
                  <a:gd name="connsiteY1950" fmla="*/ 3564 h 10000"/>
                  <a:gd name="connsiteX1951" fmla="*/ 2594 w 10785"/>
                  <a:gd name="connsiteY1951" fmla="*/ 3598 h 10000"/>
                  <a:gd name="connsiteX1952" fmla="*/ 2594 w 10785"/>
                  <a:gd name="connsiteY1952" fmla="*/ 3581 h 10000"/>
                  <a:gd name="connsiteX1953" fmla="*/ 2608 w 10785"/>
                  <a:gd name="connsiteY1953" fmla="*/ 3556 h 10000"/>
                  <a:gd name="connsiteX1954" fmla="*/ 2650 w 10785"/>
                  <a:gd name="connsiteY1954" fmla="*/ 3615 h 10000"/>
                  <a:gd name="connsiteX1955" fmla="*/ 2664 w 10785"/>
                  <a:gd name="connsiteY1955" fmla="*/ 3615 h 10000"/>
                  <a:gd name="connsiteX1956" fmla="*/ 2668 w 10785"/>
                  <a:gd name="connsiteY1956" fmla="*/ 3615 h 10000"/>
                  <a:gd name="connsiteX1957" fmla="*/ 2664 w 10785"/>
                  <a:gd name="connsiteY1957" fmla="*/ 3667 h 10000"/>
                  <a:gd name="connsiteX1958" fmla="*/ 2687 w 10785"/>
                  <a:gd name="connsiteY1958" fmla="*/ 3786 h 10000"/>
                  <a:gd name="connsiteX1959" fmla="*/ 2710 w 10785"/>
                  <a:gd name="connsiteY1959" fmla="*/ 3812 h 10000"/>
                  <a:gd name="connsiteX1960" fmla="*/ 2724 w 10785"/>
                  <a:gd name="connsiteY1960" fmla="*/ 3812 h 10000"/>
                  <a:gd name="connsiteX1961" fmla="*/ 2724 w 10785"/>
                  <a:gd name="connsiteY1961" fmla="*/ 3829 h 10000"/>
                  <a:gd name="connsiteX1962" fmla="*/ 2737 w 10785"/>
                  <a:gd name="connsiteY1962" fmla="*/ 3838 h 10000"/>
                  <a:gd name="connsiteX1963" fmla="*/ 2714 w 10785"/>
                  <a:gd name="connsiteY1963" fmla="*/ 3872 h 10000"/>
                  <a:gd name="connsiteX1964" fmla="*/ 2696 w 10785"/>
                  <a:gd name="connsiteY1964" fmla="*/ 4026 h 10000"/>
                  <a:gd name="connsiteX1965" fmla="*/ 2673 w 10785"/>
                  <a:gd name="connsiteY1965" fmla="*/ 4051 h 10000"/>
                  <a:gd name="connsiteX1966" fmla="*/ 2668 w 10785"/>
                  <a:gd name="connsiteY1966" fmla="*/ 4034 h 10000"/>
                  <a:gd name="connsiteX1967" fmla="*/ 2673 w 10785"/>
                  <a:gd name="connsiteY1967" fmla="*/ 4000 h 10000"/>
                  <a:gd name="connsiteX1968" fmla="*/ 2664 w 10785"/>
                  <a:gd name="connsiteY1968" fmla="*/ 3974 h 10000"/>
                  <a:gd name="connsiteX1969" fmla="*/ 2636 w 10785"/>
                  <a:gd name="connsiteY1969" fmla="*/ 3949 h 10000"/>
                  <a:gd name="connsiteX1970" fmla="*/ 2581 w 10785"/>
                  <a:gd name="connsiteY1970" fmla="*/ 3838 h 10000"/>
                  <a:gd name="connsiteX1971" fmla="*/ 2562 w 10785"/>
                  <a:gd name="connsiteY1971" fmla="*/ 3829 h 10000"/>
                  <a:gd name="connsiteX1972" fmla="*/ 2535 w 10785"/>
                  <a:gd name="connsiteY1972" fmla="*/ 3778 h 10000"/>
                  <a:gd name="connsiteX1973" fmla="*/ 2502 w 10785"/>
                  <a:gd name="connsiteY1973" fmla="*/ 3761 h 10000"/>
                  <a:gd name="connsiteX1974" fmla="*/ 2502 w 10785"/>
                  <a:gd name="connsiteY1974" fmla="*/ 3735 h 10000"/>
                  <a:gd name="connsiteX1975" fmla="*/ 2516 w 10785"/>
                  <a:gd name="connsiteY1975" fmla="*/ 3735 h 10000"/>
                  <a:gd name="connsiteX1976" fmla="*/ 2507 w 10785"/>
                  <a:gd name="connsiteY1976" fmla="*/ 3726 h 10000"/>
                  <a:gd name="connsiteX1977" fmla="*/ 2488 w 10785"/>
                  <a:gd name="connsiteY1977" fmla="*/ 3726 h 10000"/>
                  <a:gd name="connsiteX1978" fmla="*/ 2461 w 10785"/>
                  <a:gd name="connsiteY1978" fmla="*/ 3692 h 10000"/>
                  <a:gd name="connsiteX1979" fmla="*/ 2442 w 10785"/>
                  <a:gd name="connsiteY1979" fmla="*/ 3675 h 10000"/>
                  <a:gd name="connsiteX1980" fmla="*/ 2406 w 10785"/>
                  <a:gd name="connsiteY1980" fmla="*/ 3598 h 10000"/>
                  <a:gd name="connsiteX1981" fmla="*/ 2346 w 10785"/>
                  <a:gd name="connsiteY1981" fmla="*/ 3564 h 10000"/>
                  <a:gd name="connsiteX1982" fmla="*/ 2341 w 10785"/>
                  <a:gd name="connsiteY1982" fmla="*/ 3564 h 10000"/>
                  <a:gd name="connsiteX1983" fmla="*/ 2313 w 10785"/>
                  <a:gd name="connsiteY1983" fmla="*/ 3530 h 10000"/>
                  <a:gd name="connsiteX1984" fmla="*/ 2235 w 10785"/>
                  <a:gd name="connsiteY1984" fmla="*/ 3530 h 10000"/>
                  <a:gd name="connsiteX1985" fmla="*/ 2226 w 10785"/>
                  <a:gd name="connsiteY1985" fmla="*/ 3513 h 10000"/>
                  <a:gd name="connsiteX1986" fmla="*/ 2207 w 10785"/>
                  <a:gd name="connsiteY1986" fmla="*/ 3504 h 10000"/>
                  <a:gd name="connsiteX1987" fmla="*/ 2194 w 10785"/>
                  <a:gd name="connsiteY1987" fmla="*/ 3504 h 10000"/>
                  <a:gd name="connsiteX1988" fmla="*/ 2189 w 10785"/>
                  <a:gd name="connsiteY1988" fmla="*/ 3504 h 10000"/>
                  <a:gd name="connsiteX1989" fmla="*/ 2189 w 10785"/>
                  <a:gd name="connsiteY1989" fmla="*/ 3530 h 10000"/>
                  <a:gd name="connsiteX1990" fmla="*/ 2180 w 10785"/>
                  <a:gd name="connsiteY1990" fmla="*/ 3538 h 10000"/>
                  <a:gd name="connsiteX1991" fmla="*/ 2152 w 10785"/>
                  <a:gd name="connsiteY1991" fmla="*/ 3581 h 10000"/>
                  <a:gd name="connsiteX1992" fmla="*/ 2161 w 10785"/>
                  <a:gd name="connsiteY1992" fmla="*/ 3598 h 10000"/>
                  <a:gd name="connsiteX1993" fmla="*/ 2194 w 10785"/>
                  <a:gd name="connsiteY1993" fmla="*/ 3752 h 10000"/>
                  <a:gd name="connsiteX1994" fmla="*/ 2194 w 10785"/>
                  <a:gd name="connsiteY1994" fmla="*/ 3735 h 10000"/>
                  <a:gd name="connsiteX1995" fmla="*/ 2198 w 10785"/>
                  <a:gd name="connsiteY1995" fmla="*/ 3735 h 10000"/>
                  <a:gd name="connsiteX1996" fmla="*/ 2189 w 10785"/>
                  <a:gd name="connsiteY1996" fmla="*/ 3838 h 10000"/>
                  <a:gd name="connsiteX1997" fmla="*/ 2166 w 10785"/>
                  <a:gd name="connsiteY1997" fmla="*/ 3889 h 10000"/>
                  <a:gd name="connsiteX1998" fmla="*/ 2124 w 10785"/>
                  <a:gd name="connsiteY1998" fmla="*/ 3889 h 10000"/>
                  <a:gd name="connsiteX1999" fmla="*/ 2124 w 10785"/>
                  <a:gd name="connsiteY1999" fmla="*/ 3923 h 10000"/>
                  <a:gd name="connsiteX2000" fmla="*/ 2134 w 10785"/>
                  <a:gd name="connsiteY2000" fmla="*/ 3940 h 10000"/>
                  <a:gd name="connsiteX2001" fmla="*/ 2134 w 10785"/>
                  <a:gd name="connsiteY2001" fmla="*/ 3966 h 10000"/>
                  <a:gd name="connsiteX2002" fmla="*/ 2120 w 10785"/>
                  <a:gd name="connsiteY2002" fmla="*/ 4000 h 10000"/>
                  <a:gd name="connsiteX2003" fmla="*/ 2106 w 10785"/>
                  <a:gd name="connsiteY2003" fmla="*/ 4009 h 10000"/>
                  <a:gd name="connsiteX2004" fmla="*/ 2088 w 10785"/>
                  <a:gd name="connsiteY2004" fmla="*/ 4000 h 10000"/>
                  <a:gd name="connsiteX2005" fmla="*/ 2074 w 10785"/>
                  <a:gd name="connsiteY2005" fmla="*/ 3974 h 10000"/>
                  <a:gd name="connsiteX2006" fmla="*/ 2074 w 10785"/>
                  <a:gd name="connsiteY2006" fmla="*/ 3940 h 10000"/>
                  <a:gd name="connsiteX2007" fmla="*/ 2078 w 10785"/>
                  <a:gd name="connsiteY2007" fmla="*/ 3915 h 10000"/>
                  <a:gd name="connsiteX2008" fmla="*/ 2088 w 10785"/>
                  <a:gd name="connsiteY2008" fmla="*/ 3889 h 10000"/>
                  <a:gd name="connsiteX2009" fmla="*/ 2101 w 10785"/>
                  <a:gd name="connsiteY2009" fmla="*/ 3872 h 10000"/>
                  <a:gd name="connsiteX2010" fmla="*/ 2074 w 10785"/>
                  <a:gd name="connsiteY2010" fmla="*/ 3812 h 10000"/>
                  <a:gd name="connsiteX2011" fmla="*/ 2074 w 10785"/>
                  <a:gd name="connsiteY2011" fmla="*/ 3786 h 10000"/>
                  <a:gd name="connsiteX2012" fmla="*/ 2060 w 10785"/>
                  <a:gd name="connsiteY2012" fmla="*/ 3786 h 10000"/>
                  <a:gd name="connsiteX2013" fmla="*/ 2014 w 10785"/>
                  <a:gd name="connsiteY2013" fmla="*/ 3829 h 10000"/>
                  <a:gd name="connsiteX2014" fmla="*/ 2000 w 10785"/>
                  <a:gd name="connsiteY2014" fmla="*/ 3863 h 10000"/>
                  <a:gd name="connsiteX2015" fmla="*/ 1986 w 10785"/>
                  <a:gd name="connsiteY2015" fmla="*/ 3872 h 10000"/>
                  <a:gd name="connsiteX2016" fmla="*/ 1959 w 10785"/>
                  <a:gd name="connsiteY2016" fmla="*/ 3940 h 10000"/>
                  <a:gd name="connsiteX2017" fmla="*/ 1945 w 10785"/>
                  <a:gd name="connsiteY2017" fmla="*/ 3949 h 10000"/>
                  <a:gd name="connsiteX2018" fmla="*/ 1940 w 10785"/>
                  <a:gd name="connsiteY2018" fmla="*/ 3923 h 10000"/>
                  <a:gd name="connsiteX2019" fmla="*/ 1917 w 10785"/>
                  <a:gd name="connsiteY2019" fmla="*/ 3915 h 10000"/>
                  <a:gd name="connsiteX2020" fmla="*/ 1899 w 10785"/>
                  <a:gd name="connsiteY2020" fmla="*/ 3923 h 10000"/>
                  <a:gd name="connsiteX2021" fmla="*/ 1880 w 10785"/>
                  <a:gd name="connsiteY2021" fmla="*/ 3915 h 10000"/>
                  <a:gd name="connsiteX2022" fmla="*/ 1853 w 10785"/>
                  <a:gd name="connsiteY2022" fmla="*/ 3940 h 10000"/>
                  <a:gd name="connsiteX2023" fmla="*/ 1839 w 10785"/>
                  <a:gd name="connsiteY2023" fmla="*/ 3940 h 10000"/>
                  <a:gd name="connsiteX2024" fmla="*/ 1806 w 10785"/>
                  <a:gd name="connsiteY2024" fmla="*/ 3983 h 10000"/>
                  <a:gd name="connsiteX2025" fmla="*/ 1806 w 10785"/>
                  <a:gd name="connsiteY2025" fmla="*/ 4000 h 10000"/>
                  <a:gd name="connsiteX2026" fmla="*/ 1797 w 10785"/>
                  <a:gd name="connsiteY2026" fmla="*/ 4077 h 10000"/>
                  <a:gd name="connsiteX2027" fmla="*/ 1783 w 10785"/>
                  <a:gd name="connsiteY2027" fmla="*/ 4077 h 10000"/>
                  <a:gd name="connsiteX2028" fmla="*/ 1779 w 10785"/>
                  <a:gd name="connsiteY2028" fmla="*/ 4051 h 10000"/>
                  <a:gd name="connsiteX2029" fmla="*/ 1765 w 10785"/>
                  <a:gd name="connsiteY2029" fmla="*/ 4026 h 10000"/>
                  <a:gd name="connsiteX2030" fmla="*/ 1751 w 10785"/>
                  <a:gd name="connsiteY2030" fmla="*/ 4051 h 10000"/>
                  <a:gd name="connsiteX2031" fmla="*/ 1737 w 10785"/>
                  <a:gd name="connsiteY2031" fmla="*/ 4009 h 10000"/>
                  <a:gd name="connsiteX2032" fmla="*/ 1737 w 10785"/>
                  <a:gd name="connsiteY2032" fmla="*/ 3966 h 10000"/>
                  <a:gd name="connsiteX2033" fmla="*/ 1733 w 10785"/>
                  <a:gd name="connsiteY2033" fmla="*/ 3940 h 10000"/>
                  <a:gd name="connsiteX2034" fmla="*/ 1733 w 10785"/>
                  <a:gd name="connsiteY2034" fmla="*/ 3923 h 10000"/>
                  <a:gd name="connsiteX2035" fmla="*/ 1747 w 10785"/>
                  <a:gd name="connsiteY2035" fmla="*/ 3889 h 10000"/>
                  <a:gd name="connsiteX2036" fmla="*/ 1747 w 10785"/>
                  <a:gd name="connsiteY2036" fmla="*/ 3863 h 10000"/>
                  <a:gd name="connsiteX2037" fmla="*/ 1737 w 10785"/>
                  <a:gd name="connsiteY2037" fmla="*/ 3838 h 10000"/>
                  <a:gd name="connsiteX2038" fmla="*/ 1733 w 10785"/>
                  <a:gd name="connsiteY2038" fmla="*/ 3829 h 10000"/>
                  <a:gd name="connsiteX2039" fmla="*/ 1733 w 10785"/>
                  <a:gd name="connsiteY2039" fmla="*/ 3846 h 10000"/>
                  <a:gd name="connsiteX2040" fmla="*/ 1724 w 10785"/>
                  <a:gd name="connsiteY2040" fmla="*/ 3846 h 10000"/>
                  <a:gd name="connsiteX2041" fmla="*/ 1724 w 10785"/>
                  <a:gd name="connsiteY2041" fmla="*/ 3829 h 10000"/>
                  <a:gd name="connsiteX2042" fmla="*/ 1737 w 10785"/>
                  <a:gd name="connsiteY2042" fmla="*/ 3812 h 10000"/>
                  <a:gd name="connsiteX2043" fmla="*/ 1765 w 10785"/>
                  <a:gd name="connsiteY2043" fmla="*/ 3812 h 10000"/>
                  <a:gd name="connsiteX2044" fmla="*/ 1779 w 10785"/>
                  <a:gd name="connsiteY2044" fmla="*/ 3786 h 10000"/>
                  <a:gd name="connsiteX2045" fmla="*/ 1779 w 10785"/>
                  <a:gd name="connsiteY2045" fmla="*/ 3786 h 10000"/>
                  <a:gd name="connsiteX2046" fmla="*/ 1751 w 10785"/>
                  <a:gd name="connsiteY2046" fmla="*/ 3803 h 10000"/>
                  <a:gd name="connsiteX2047" fmla="*/ 1747 w 10785"/>
                  <a:gd name="connsiteY2047" fmla="*/ 3803 h 10000"/>
                  <a:gd name="connsiteX2048" fmla="*/ 1724 w 10785"/>
                  <a:gd name="connsiteY2048" fmla="*/ 3803 h 10000"/>
                  <a:gd name="connsiteX2049" fmla="*/ 1700 w 10785"/>
                  <a:gd name="connsiteY2049" fmla="*/ 3829 h 10000"/>
                  <a:gd name="connsiteX2050" fmla="*/ 1705 w 10785"/>
                  <a:gd name="connsiteY2050" fmla="*/ 3846 h 10000"/>
                  <a:gd name="connsiteX2051" fmla="*/ 1691 w 10785"/>
                  <a:gd name="connsiteY2051" fmla="*/ 3846 h 10000"/>
                  <a:gd name="connsiteX2052" fmla="*/ 1691 w 10785"/>
                  <a:gd name="connsiteY2052" fmla="*/ 3863 h 10000"/>
                  <a:gd name="connsiteX2053" fmla="*/ 1691 w 10785"/>
                  <a:gd name="connsiteY2053" fmla="*/ 3915 h 10000"/>
                  <a:gd name="connsiteX2054" fmla="*/ 1677 w 10785"/>
                  <a:gd name="connsiteY2054" fmla="*/ 3923 h 10000"/>
                  <a:gd name="connsiteX2055" fmla="*/ 1673 w 10785"/>
                  <a:gd name="connsiteY2055" fmla="*/ 3915 h 10000"/>
                  <a:gd name="connsiteX2056" fmla="*/ 1664 w 10785"/>
                  <a:gd name="connsiteY2056" fmla="*/ 3889 h 10000"/>
                  <a:gd name="connsiteX2057" fmla="*/ 1673 w 10785"/>
                  <a:gd name="connsiteY2057" fmla="*/ 3872 h 10000"/>
                  <a:gd name="connsiteX2058" fmla="*/ 1664 w 10785"/>
                  <a:gd name="connsiteY2058" fmla="*/ 3872 h 10000"/>
                  <a:gd name="connsiteX2059" fmla="*/ 1636 w 10785"/>
                  <a:gd name="connsiteY2059" fmla="*/ 3923 h 10000"/>
                  <a:gd name="connsiteX2060" fmla="*/ 1645 w 10785"/>
                  <a:gd name="connsiteY2060" fmla="*/ 3923 h 10000"/>
                  <a:gd name="connsiteX2061" fmla="*/ 1650 w 10785"/>
                  <a:gd name="connsiteY2061" fmla="*/ 3949 h 10000"/>
                  <a:gd name="connsiteX2062" fmla="*/ 1650 w 10785"/>
                  <a:gd name="connsiteY2062" fmla="*/ 3983 h 10000"/>
                  <a:gd name="connsiteX2063" fmla="*/ 1636 w 10785"/>
                  <a:gd name="connsiteY2063" fmla="*/ 4000 h 10000"/>
                  <a:gd name="connsiteX2064" fmla="*/ 1631 w 10785"/>
                  <a:gd name="connsiteY2064" fmla="*/ 4009 h 10000"/>
                  <a:gd name="connsiteX2065" fmla="*/ 1618 w 10785"/>
                  <a:gd name="connsiteY2065" fmla="*/ 3949 h 10000"/>
                  <a:gd name="connsiteX2066" fmla="*/ 1585 w 10785"/>
                  <a:gd name="connsiteY2066" fmla="*/ 3966 h 10000"/>
                  <a:gd name="connsiteX2067" fmla="*/ 1590 w 10785"/>
                  <a:gd name="connsiteY2067" fmla="*/ 3974 h 10000"/>
                  <a:gd name="connsiteX2068" fmla="*/ 1544 w 10785"/>
                  <a:gd name="connsiteY2068" fmla="*/ 4009 h 10000"/>
                  <a:gd name="connsiteX2069" fmla="*/ 1539 w 10785"/>
                  <a:gd name="connsiteY2069" fmla="*/ 4009 h 10000"/>
                  <a:gd name="connsiteX2070" fmla="*/ 1410 w 10785"/>
                  <a:gd name="connsiteY2070" fmla="*/ 4188 h 10000"/>
                  <a:gd name="connsiteX2071" fmla="*/ 1406 w 10785"/>
                  <a:gd name="connsiteY2071" fmla="*/ 4171 h 10000"/>
                  <a:gd name="connsiteX2072" fmla="*/ 1396 w 10785"/>
                  <a:gd name="connsiteY2072" fmla="*/ 4214 h 10000"/>
                  <a:gd name="connsiteX2073" fmla="*/ 1406 w 10785"/>
                  <a:gd name="connsiteY2073" fmla="*/ 4222 h 10000"/>
                  <a:gd name="connsiteX2074" fmla="*/ 1392 w 10785"/>
                  <a:gd name="connsiteY2074" fmla="*/ 4239 h 10000"/>
                  <a:gd name="connsiteX2075" fmla="*/ 1369 w 10785"/>
                  <a:gd name="connsiteY2075" fmla="*/ 4248 h 10000"/>
                  <a:gd name="connsiteX2076" fmla="*/ 1355 w 10785"/>
                  <a:gd name="connsiteY2076" fmla="*/ 4256 h 10000"/>
                  <a:gd name="connsiteX2077" fmla="*/ 1350 w 10785"/>
                  <a:gd name="connsiteY2077" fmla="*/ 4248 h 10000"/>
                  <a:gd name="connsiteX2078" fmla="*/ 1332 w 10785"/>
                  <a:gd name="connsiteY2078" fmla="*/ 4376 h 10000"/>
                  <a:gd name="connsiteX2079" fmla="*/ 1332 w 10785"/>
                  <a:gd name="connsiteY2079" fmla="*/ 4436 h 10000"/>
                  <a:gd name="connsiteX2080" fmla="*/ 1323 w 10785"/>
                  <a:gd name="connsiteY2080" fmla="*/ 4462 h 10000"/>
                  <a:gd name="connsiteX2081" fmla="*/ 1304 w 10785"/>
                  <a:gd name="connsiteY2081" fmla="*/ 4487 h 10000"/>
                  <a:gd name="connsiteX2082" fmla="*/ 1290 w 10785"/>
                  <a:gd name="connsiteY2082" fmla="*/ 4470 h 10000"/>
                  <a:gd name="connsiteX2083" fmla="*/ 1263 w 10785"/>
                  <a:gd name="connsiteY2083" fmla="*/ 4496 h 10000"/>
                  <a:gd name="connsiteX2084" fmla="*/ 1258 w 10785"/>
                  <a:gd name="connsiteY2084" fmla="*/ 4547 h 10000"/>
                  <a:gd name="connsiteX2085" fmla="*/ 1249 w 10785"/>
                  <a:gd name="connsiteY2085" fmla="*/ 4487 h 10000"/>
                  <a:gd name="connsiteX2086" fmla="*/ 1235 w 10785"/>
                  <a:gd name="connsiteY2086" fmla="*/ 4496 h 10000"/>
                  <a:gd name="connsiteX2087" fmla="*/ 1221 w 10785"/>
                  <a:gd name="connsiteY2087" fmla="*/ 4496 h 10000"/>
                  <a:gd name="connsiteX2088" fmla="*/ 1217 w 10785"/>
                  <a:gd name="connsiteY2088" fmla="*/ 4487 h 10000"/>
                  <a:gd name="connsiteX2089" fmla="*/ 1198 w 10785"/>
                  <a:gd name="connsiteY2089" fmla="*/ 4410 h 10000"/>
                  <a:gd name="connsiteX2090" fmla="*/ 1157 w 10785"/>
                  <a:gd name="connsiteY2090" fmla="*/ 4333 h 10000"/>
                  <a:gd name="connsiteX2091" fmla="*/ 1147 w 10785"/>
                  <a:gd name="connsiteY2091" fmla="*/ 4299 h 10000"/>
                  <a:gd name="connsiteX2092" fmla="*/ 1147 w 10785"/>
                  <a:gd name="connsiteY2092" fmla="*/ 4274 h 10000"/>
                  <a:gd name="connsiteX2093" fmla="*/ 1161 w 10785"/>
                  <a:gd name="connsiteY2093" fmla="*/ 4256 h 10000"/>
                  <a:gd name="connsiteX2094" fmla="*/ 1171 w 10785"/>
                  <a:gd name="connsiteY2094" fmla="*/ 4248 h 10000"/>
                  <a:gd name="connsiteX2095" fmla="*/ 1175 w 10785"/>
                  <a:gd name="connsiteY2095" fmla="*/ 4214 h 10000"/>
                  <a:gd name="connsiteX2096" fmla="*/ 1263 w 10785"/>
                  <a:gd name="connsiteY2096" fmla="*/ 4171 h 10000"/>
                  <a:gd name="connsiteX2097" fmla="*/ 1249 w 10785"/>
                  <a:gd name="connsiteY2097" fmla="*/ 4137 h 10000"/>
                  <a:gd name="connsiteX2098" fmla="*/ 1244 w 10785"/>
                  <a:gd name="connsiteY2098" fmla="*/ 4060 h 10000"/>
                  <a:gd name="connsiteX2099" fmla="*/ 1230 w 10785"/>
                  <a:gd name="connsiteY2099" fmla="*/ 4077 h 10000"/>
                  <a:gd name="connsiteX2100" fmla="*/ 1221 w 10785"/>
                  <a:gd name="connsiteY2100" fmla="*/ 4026 h 10000"/>
                  <a:gd name="connsiteX2101" fmla="*/ 1217 w 10785"/>
                  <a:gd name="connsiteY2101" fmla="*/ 4026 h 10000"/>
                  <a:gd name="connsiteX2102" fmla="*/ 1212 w 10785"/>
                  <a:gd name="connsiteY2102" fmla="*/ 3983 h 10000"/>
                  <a:gd name="connsiteX2103" fmla="*/ 1203 w 10785"/>
                  <a:gd name="connsiteY2103" fmla="*/ 3966 h 10000"/>
                  <a:gd name="connsiteX2104" fmla="*/ 1171 w 10785"/>
                  <a:gd name="connsiteY2104" fmla="*/ 3949 h 10000"/>
                  <a:gd name="connsiteX2105" fmla="*/ 1111 w 10785"/>
                  <a:gd name="connsiteY2105" fmla="*/ 3940 h 10000"/>
                  <a:gd name="connsiteX2106" fmla="*/ 1097 w 10785"/>
                  <a:gd name="connsiteY2106" fmla="*/ 3949 h 10000"/>
                  <a:gd name="connsiteX2107" fmla="*/ 1037 w 10785"/>
                  <a:gd name="connsiteY2107" fmla="*/ 3897 h 10000"/>
                  <a:gd name="connsiteX2108" fmla="*/ 1041 w 10785"/>
                  <a:gd name="connsiteY2108" fmla="*/ 3923 h 10000"/>
                  <a:gd name="connsiteX2109" fmla="*/ 1097 w 10785"/>
                  <a:gd name="connsiteY2109" fmla="*/ 4009 h 10000"/>
                  <a:gd name="connsiteX2110" fmla="*/ 1097 w 10785"/>
                  <a:gd name="connsiteY2110" fmla="*/ 4120 h 10000"/>
                  <a:gd name="connsiteX2111" fmla="*/ 1097 w 10785"/>
                  <a:gd name="connsiteY2111" fmla="*/ 4162 h 10000"/>
                  <a:gd name="connsiteX2112" fmla="*/ 1097 w 10785"/>
                  <a:gd name="connsiteY2112" fmla="*/ 4197 h 10000"/>
                  <a:gd name="connsiteX2113" fmla="*/ 1074 w 10785"/>
                  <a:gd name="connsiteY2113" fmla="*/ 4333 h 10000"/>
                  <a:gd name="connsiteX2114" fmla="*/ 1074 w 10785"/>
                  <a:gd name="connsiteY2114" fmla="*/ 4376 h 10000"/>
                  <a:gd name="connsiteX2115" fmla="*/ 1083 w 10785"/>
                  <a:gd name="connsiteY2115" fmla="*/ 4385 h 10000"/>
                  <a:gd name="connsiteX2116" fmla="*/ 1097 w 10785"/>
                  <a:gd name="connsiteY2116" fmla="*/ 4385 h 10000"/>
                  <a:gd name="connsiteX2117" fmla="*/ 1111 w 10785"/>
                  <a:gd name="connsiteY2117" fmla="*/ 4410 h 10000"/>
                  <a:gd name="connsiteX2118" fmla="*/ 1124 w 10785"/>
                  <a:gd name="connsiteY2118" fmla="*/ 4444 h 10000"/>
                  <a:gd name="connsiteX2119" fmla="*/ 1124 w 10785"/>
                  <a:gd name="connsiteY2119" fmla="*/ 4470 h 10000"/>
                  <a:gd name="connsiteX2120" fmla="*/ 1115 w 10785"/>
                  <a:gd name="connsiteY2120" fmla="*/ 4513 h 10000"/>
                  <a:gd name="connsiteX2121" fmla="*/ 1115 w 10785"/>
                  <a:gd name="connsiteY2121" fmla="*/ 4530 h 10000"/>
                  <a:gd name="connsiteX2122" fmla="*/ 1115 w 10785"/>
                  <a:gd name="connsiteY2122" fmla="*/ 4573 h 10000"/>
                  <a:gd name="connsiteX2123" fmla="*/ 1101 w 10785"/>
                  <a:gd name="connsiteY2123" fmla="*/ 4607 h 10000"/>
                  <a:gd name="connsiteX2124" fmla="*/ 1097 w 10785"/>
                  <a:gd name="connsiteY2124" fmla="*/ 4658 h 10000"/>
                  <a:gd name="connsiteX2125" fmla="*/ 1101 w 10785"/>
                  <a:gd name="connsiteY2125" fmla="*/ 4692 h 10000"/>
                  <a:gd name="connsiteX2126" fmla="*/ 1097 w 10785"/>
                  <a:gd name="connsiteY2126" fmla="*/ 4778 h 10000"/>
                  <a:gd name="connsiteX2127" fmla="*/ 1083 w 10785"/>
                  <a:gd name="connsiteY2127" fmla="*/ 4744 h 10000"/>
                  <a:gd name="connsiteX2128" fmla="*/ 1083 w 10785"/>
                  <a:gd name="connsiteY2128" fmla="*/ 4718 h 10000"/>
                  <a:gd name="connsiteX2129" fmla="*/ 1074 w 10785"/>
                  <a:gd name="connsiteY2129" fmla="*/ 4692 h 10000"/>
                  <a:gd name="connsiteX2130" fmla="*/ 1065 w 10785"/>
                  <a:gd name="connsiteY2130" fmla="*/ 4692 h 10000"/>
                  <a:gd name="connsiteX2131" fmla="*/ 1051 w 10785"/>
                  <a:gd name="connsiteY2131" fmla="*/ 4718 h 10000"/>
                  <a:gd name="connsiteX2132" fmla="*/ 1055 w 10785"/>
                  <a:gd name="connsiteY2132" fmla="*/ 4692 h 10000"/>
                  <a:gd name="connsiteX2133" fmla="*/ 1055 w 10785"/>
                  <a:gd name="connsiteY2133" fmla="*/ 4667 h 10000"/>
                  <a:gd name="connsiteX2134" fmla="*/ 1028 w 10785"/>
                  <a:gd name="connsiteY2134" fmla="*/ 4624 h 10000"/>
                  <a:gd name="connsiteX2135" fmla="*/ 1005 w 10785"/>
                  <a:gd name="connsiteY2135" fmla="*/ 4624 h 10000"/>
                  <a:gd name="connsiteX2136" fmla="*/ 977 w 10785"/>
                  <a:gd name="connsiteY2136" fmla="*/ 4581 h 10000"/>
                  <a:gd name="connsiteX2137" fmla="*/ 963 w 10785"/>
                  <a:gd name="connsiteY2137" fmla="*/ 4607 h 10000"/>
                  <a:gd name="connsiteX2138" fmla="*/ 963 w 10785"/>
                  <a:gd name="connsiteY2138" fmla="*/ 4632 h 10000"/>
                  <a:gd name="connsiteX2139" fmla="*/ 917 w 10785"/>
                  <a:gd name="connsiteY2139" fmla="*/ 4718 h 10000"/>
                  <a:gd name="connsiteX2140" fmla="*/ 889 w 10785"/>
                  <a:gd name="connsiteY2140" fmla="*/ 4744 h 10000"/>
                  <a:gd name="connsiteX2141" fmla="*/ 880 w 10785"/>
                  <a:gd name="connsiteY2141" fmla="*/ 4744 h 10000"/>
                  <a:gd name="connsiteX2142" fmla="*/ 862 w 10785"/>
                  <a:gd name="connsiteY2142" fmla="*/ 4769 h 10000"/>
                  <a:gd name="connsiteX2143" fmla="*/ 857 w 10785"/>
                  <a:gd name="connsiteY2143" fmla="*/ 4795 h 10000"/>
                  <a:gd name="connsiteX2144" fmla="*/ 829 w 10785"/>
                  <a:gd name="connsiteY2144" fmla="*/ 4846 h 10000"/>
                  <a:gd name="connsiteX2145" fmla="*/ 816 w 10785"/>
                  <a:gd name="connsiteY2145" fmla="*/ 4855 h 10000"/>
                  <a:gd name="connsiteX2146" fmla="*/ 816 w 10785"/>
                  <a:gd name="connsiteY2146" fmla="*/ 4940 h 10000"/>
                  <a:gd name="connsiteX2147" fmla="*/ 880 w 10785"/>
                  <a:gd name="connsiteY2147" fmla="*/ 5179 h 10000"/>
                  <a:gd name="connsiteX2148" fmla="*/ 880 w 10785"/>
                  <a:gd name="connsiteY2148" fmla="*/ 5188 h 10000"/>
                  <a:gd name="connsiteX2149" fmla="*/ 862 w 10785"/>
                  <a:gd name="connsiteY2149" fmla="*/ 5171 h 10000"/>
                  <a:gd name="connsiteX2150" fmla="*/ 857 w 10785"/>
                  <a:gd name="connsiteY2150" fmla="*/ 5171 h 10000"/>
                  <a:gd name="connsiteX2151" fmla="*/ 820 w 10785"/>
                  <a:gd name="connsiteY2151" fmla="*/ 5145 h 10000"/>
                  <a:gd name="connsiteX2152" fmla="*/ 820 w 10785"/>
                  <a:gd name="connsiteY2152" fmla="*/ 5154 h 10000"/>
                  <a:gd name="connsiteX2153" fmla="*/ 816 w 10785"/>
                  <a:gd name="connsiteY2153" fmla="*/ 5171 h 10000"/>
                  <a:gd name="connsiteX2154" fmla="*/ 783 w 10785"/>
                  <a:gd name="connsiteY2154" fmla="*/ 5145 h 10000"/>
                  <a:gd name="connsiteX2155" fmla="*/ 756 w 10785"/>
                  <a:gd name="connsiteY2155" fmla="*/ 5103 h 10000"/>
                  <a:gd name="connsiteX2156" fmla="*/ 742 w 10785"/>
                  <a:gd name="connsiteY2156" fmla="*/ 5103 h 10000"/>
                  <a:gd name="connsiteX2157" fmla="*/ 728 w 10785"/>
                  <a:gd name="connsiteY2157" fmla="*/ 5094 h 10000"/>
                  <a:gd name="connsiteX2158" fmla="*/ 710 w 10785"/>
                  <a:gd name="connsiteY2158" fmla="*/ 5120 h 10000"/>
                  <a:gd name="connsiteX2159" fmla="*/ 700 w 10785"/>
                  <a:gd name="connsiteY2159" fmla="*/ 5145 h 10000"/>
                  <a:gd name="connsiteX2160" fmla="*/ 696 w 10785"/>
                  <a:gd name="connsiteY2160" fmla="*/ 5103 h 10000"/>
                  <a:gd name="connsiteX2161" fmla="*/ 714 w 10785"/>
                  <a:gd name="connsiteY2161" fmla="*/ 5077 h 10000"/>
                  <a:gd name="connsiteX2162" fmla="*/ 682 w 10785"/>
                  <a:gd name="connsiteY2162" fmla="*/ 5068 h 10000"/>
                  <a:gd name="connsiteX2163" fmla="*/ 673 w 10785"/>
                  <a:gd name="connsiteY2163" fmla="*/ 5034 h 10000"/>
                  <a:gd name="connsiteX2164" fmla="*/ 636 w 10785"/>
                  <a:gd name="connsiteY2164" fmla="*/ 4991 h 10000"/>
                  <a:gd name="connsiteX2165" fmla="*/ 622 w 10785"/>
                  <a:gd name="connsiteY2165" fmla="*/ 4983 h 10000"/>
                  <a:gd name="connsiteX2166" fmla="*/ 622 w 10785"/>
                  <a:gd name="connsiteY2166" fmla="*/ 5034 h 10000"/>
                  <a:gd name="connsiteX2167" fmla="*/ 608 w 10785"/>
                  <a:gd name="connsiteY2167" fmla="*/ 5051 h 10000"/>
                  <a:gd name="connsiteX2168" fmla="*/ 594 w 10785"/>
                  <a:gd name="connsiteY2168" fmla="*/ 5068 h 10000"/>
                  <a:gd name="connsiteX2169" fmla="*/ 608 w 10785"/>
                  <a:gd name="connsiteY2169" fmla="*/ 5120 h 10000"/>
                  <a:gd name="connsiteX2170" fmla="*/ 613 w 10785"/>
                  <a:gd name="connsiteY2170" fmla="*/ 5128 h 10000"/>
                  <a:gd name="connsiteX2171" fmla="*/ 627 w 10785"/>
                  <a:gd name="connsiteY2171" fmla="*/ 5179 h 10000"/>
                  <a:gd name="connsiteX2172" fmla="*/ 650 w 10785"/>
                  <a:gd name="connsiteY2172" fmla="*/ 5214 h 10000"/>
                  <a:gd name="connsiteX2173" fmla="*/ 687 w 10785"/>
                  <a:gd name="connsiteY2173" fmla="*/ 5188 h 10000"/>
                  <a:gd name="connsiteX2174" fmla="*/ 700 w 10785"/>
                  <a:gd name="connsiteY2174" fmla="*/ 5325 h 10000"/>
                  <a:gd name="connsiteX2175" fmla="*/ 710 w 10785"/>
                  <a:gd name="connsiteY2175" fmla="*/ 5350 h 10000"/>
                  <a:gd name="connsiteX2176" fmla="*/ 687 w 10785"/>
                  <a:gd name="connsiteY2176" fmla="*/ 5325 h 10000"/>
                  <a:gd name="connsiteX2177" fmla="*/ 668 w 10785"/>
                  <a:gd name="connsiteY2177" fmla="*/ 5350 h 10000"/>
                  <a:gd name="connsiteX2178" fmla="*/ 668 w 10785"/>
                  <a:gd name="connsiteY2178" fmla="*/ 5368 h 10000"/>
                  <a:gd name="connsiteX2179" fmla="*/ 668 w 10785"/>
                  <a:gd name="connsiteY2179" fmla="*/ 5376 h 10000"/>
                  <a:gd name="connsiteX2180" fmla="*/ 581 w 10785"/>
                  <a:gd name="connsiteY2180" fmla="*/ 5316 h 10000"/>
                  <a:gd name="connsiteX2181" fmla="*/ 567 w 10785"/>
                  <a:gd name="connsiteY2181" fmla="*/ 5265 h 10000"/>
                  <a:gd name="connsiteX2182" fmla="*/ 562 w 10785"/>
                  <a:gd name="connsiteY2182" fmla="*/ 5256 h 10000"/>
                  <a:gd name="connsiteX2183" fmla="*/ 548 w 10785"/>
                  <a:gd name="connsiteY2183" fmla="*/ 5231 h 10000"/>
                  <a:gd name="connsiteX2184" fmla="*/ 535 w 10785"/>
                  <a:gd name="connsiteY2184" fmla="*/ 5214 h 10000"/>
                  <a:gd name="connsiteX2185" fmla="*/ 525 w 10785"/>
                  <a:gd name="connsiteY2185" fmla="*/ 5231 h 10000"/>
                  <a:gd name="connsiteX2186" fmla="*/ 521 w 10785"/>
                  <a:gd name="connsiteY2186" fmla="*/ 5231 h 10000"/>
                  <a:gd name="connsiteX2187" fmla="*/ 493 w 10785"/>
                  <a:gd name="connsiteY2187" fmla="*/ 5205 h 10000"/>
                  <a:gd name="connsiteX2188" fmla="*/ 488 w 10785"/>
                  <a:gd name="connsiteY2188" fmla="*/ 5179 h 10000"/>
                  <a:gd name="connsiteX2189" fmla="*/ 475 w 10785"/>
                  <a:gd name="connsiteY2189" fmla="*/ 5188 h 10000"/>
                  <a:gd name="connsiteX2190" fmla="*/ 475 w 10785"/>
                  <a:gd name="connsiteY2190" fmla="*/ 5171 h 10000"/>
                  <a:gd name="connsiteX2191" fmla="*/ 488 w 10785"/>
                  <a:gd name="connsiteY2191" fmla="*/ 5154 h 10000"/>
                  <a:gd name="connsiteX2192" fmla="*/ 488 w 10785"/>
                  <a:gd name="connsiteY2192" fmla="*/ 5068 h 10000"/>
                  <a:gd name="connsiteX2193" fmla="*/ 475 w 10785"/>
                  <a:gd name="connsiteY2193" fmla="*/ 5051 h 10000"/>
                  <a:gd name="connsiteX2194" fmla="*/ 475 w 10785"/>
                  <a:gd name="connsiteY2194" fmla="*/ 5017 h 10000"/>
                  <a:gd name="connsiteX2195" fmla="*/ 452 w 10785"/>
                  <a:gd name="connsiteY2195" fmla="*/ 4932 h 10000"/>
                  <a:gd name="connsiteX2196" fmla="*/ 461 w 10785"/>
                  <a:gd name="connsiteY2196" fmla="*/ 4915 h 10000"/>
                  <a:gd name="connsiteX2197" fmla="*/ 475 w 10785"/>
                  <a:gd name="connsiteY2197" fmla="*/ 4906 h 10000"/>
                  <a:gd name="connsiteX2198" fmla="*/ 479 w 10785"/>
                  <a:gd name="connsiteY2198" fmla="*/ 4803 h 10000"/>
                  <a:gd name="connsiteX2199" fmla="*/ 479 w 10785"/>
                  <a:gd name="connsiteY2199" fmla="*/ 4778 h 10000"/>
                  <a:gd name="connsiteX2200" fmla="*/ 475 w 10785"/>
                  <a:gd name="connsiteY2200" fmla="*/ 4761 h 10000"/>
                  <a:gd name="connsiteX2201" fmla="*/ 465 w 10785"/>
                  <a:gd name="connsiteY2201" fmla="*/ 4718 h 10000"/>
                  <a:gd name="connsiteX2202" fmla="*/ 461 w 10785"/>
                  <a:gd name="connsiteY2202" fmla="*/ 4709 h 10000"/>
                  <a:gd name="connsiteX2203" fmla="*/ 442 w 10785"/>
                  <a:gd name="connsiteY2203" fmla="*/ 4692 h 10000"/>
                  <a:gd name="connsiteX2204" fmla="*/ 433 w 10785"/>
                  <a:gd name="connsiteY2204" fmla="*/ 4667 h 10000"/>
                  <a:gd name="connsiteX2205" fmla="*/ 419 w 10785"/>
                  <a:gd name="connsiteY2205" fmla="*/ 4667 h 10000"/>
                  <a:gd name="connsiteX2206" fmla="*/ 401 w 10785"/>
                  <a:gd name="connsiteY2206" fmla="*/ 4658 h 10000"/>
                  <a:gd name="connsiteX2207" fmla="*/ 401 w 10785"/>
                  <a:gd name="connsiteY2207" fmla="*/ 4624 h 10000"/>
                  <a:gd name="connsiteX2208" fmla="*/ 401 w 10785"/>
                  <a:gd name="connsiteY2208" fmla="*/ 4607 h 10000"/>
                  <a:gd name="connsiteX2209" fmla="*/ 378 w 10785"/>
                  <a:gd name="connsiteY2209" fmla="*/ 4607 h 10000"/>
                  <a:gd name="connsiteX2210" fmla="*/ 341 w 10785"/>
                  <a:gd name="connsiteY2210" fmla="*/ 4530 h 10000"/>
                  <a:gd name="connsiteX2211" fmla="*/ 346 w 10785"/>
                  <a:gd name="connsiteY2211" fmla="*/ 4521 h 10000"/>
                  <a:gd name="connsiteX2212" fmla="*/ 332 w 10785"/>
                  <a:gd name="connsiteY2212" fmla="*/ 4487 h 10000"/>
                  <a:gd name="connsiteX2213" fmla="*/ 327 w 10785"/>
                  <a:gd name="connsiteY2213" fmla="*/ 4462 h 10000"/>
                  <a:gd name="connsiteX2214" fmla="*/ 313 w 10785"/>
                  <a:gd name="connsiteY2214" fmla="*/ 4436 h 10000"/>
                  <a:gd name="connsiteX2215" fmla="*/ 300 w 10785"/>
                  <a:gd name="connsiteY2215" fmla="*/ 4419 h 10000"/>
                  <a:gd name="connsiteX2216" fmla="*/ 309 w 10785"/>
                  <a:gd name="connsiteY2216" fmla="*/ 4393 h 10000"/>
                  <a:gd name="connsiteX2217" fmla="*/ 332 w 10785"/>
                  <a:gd name="connsiteY2217" fmla="*/ 4385 h 10000"/>
                  <a:gd name="connsiteX2218" fmla="*/ 355 w 10785"/>
                  <a:gd name="connsiteY2218" fmla="*/ 4419 h 10000"/>
                  <a:gd name="connsiteX2219" fmla="*/ 355 w 10785"/>
                  <a:gd name="connsiteY2219" fmla="*/ 4444 h 10000"/>
                  <a:gd name="connsiteX2220" fmla="*/ 369 w 10785"/>
                  <a:gd name="connsiteY2220" fmla="*/ 4470 h 10000"/>
                  <a:gd name="connsiteX2221" fmla="*/ 401 w 10785"/>
                  <a:gd name="connsiteY2221" fmla="*/ 4521 h 10000"/>
                  <a:gd name="connsiteX2222" fmla="*/ 406 w 10785"/>
                  <a:gd name="connsiteY2222" fmla="*/ 4513 h 10000"/>
                  <a:gd name="connsiteX2223" fmla="*/ 406 w 10785"/>
                  <a:gd name="connsiteY2223" fmla="*/ 4496 h 10000"/>
                  <a:gd name="connsiteX2224" fmla="*/ 419 w 10785"/>
                  <a:gd name="connsiteY2224" fmla="*/ 4521 h 10000"/>
                  <a:gd name="connsiteX2225" fmla="*/ 429 w 10785"/>
                  <a:gd name="connsiteY2225" fmla="*/ 4530 h 10000"/>
                  <a:gd name="connsiteX2226" fmla="*/ 433 w 10785"/>
                  <a:gd name="connsiteY2226" fmla="*/ 4521 h 10000"/>
                  <a:gd name="connsiteX2227" fmla="*/ 442 w 10785"/>
                  <a:gd name="connsiteY2227" fmla="*/ 4530 h 10000"/>
                  <a:gd name="connsiteX2228" fmla="*/ 447 w 10785"/>
                  <a:gd name="connsiteY2228" fmla="*/ 4521 h 10000"/>
                  <a:gd name="connsiteX2229" fmla="*/ 452 w 10785"/>
                  <a:gd name="connsiteY2229" fmla="*/ 4521 h 10000"/>
                  <a:gd name="connsiteX2230" fmla="*/ 461 w 10785"/>
                  <a:gd name="connsiteY2230" fmla="*/ 4573 h 10000"/>
                  <a:gd name="connsiteX2231" fmla="*/ 479 w 10785"/>
                  <a:gd name="connsiteY2231" fmla="*/ 4556 h 10000"/>
                  <a:gd name="connsiteX2232" fmla="*/ 502 w 10785"/>
                  <a:gd name="connsiteY2232" fmla="*/ 4573 h 10000"/>
                  <a:gd name="connsiteX2233" fmla="*/ 507 w 10785"/>
                  <a:gd name="connsiteY2233" fmla="*/ 4598 h 10000"/>
                  <a:gd name="connsiteX2234" fmla="*/ 525 w 10785"/>
                  <a:gd name="connsiteY2234" fmla="*/ 4598 h 10000"/>
                  <a:gd name="connsiteX2235" fmla="*/ 535 w 10785"/>
                  <a:gd name="connsiteY2235" fmla="*/ 4624 h 10000"/>
                  <a:gd name="connsiteX2236" fmla="*/ 594 w 10785"/>
                  <a:gd name="connsiteY2236" fmla="*/ 4658 h 10000"/>
                  <a:gd name="connsiteX2237" fmla="*/ 627 w 10785"/>
                  <a:gd name="connsiteY2237" fmla="*/ 4658 h 10000"/>
                  <a:gd name="connsiteX2238" fmla="*/ 654 w 10785"/>
                  <a:gd name="connsiteY2238" fmla="*/ 4684 h 10000"/>
                  <a:gd name="connsiteX2239" fmla="*/ 668 w 10785"/>
                  <a:gd name="connsiteY2239" fmla="*/ 4709 h 10000"/>
                  <a:gd name="connsiteX2240" fmla="*/ 747 w 10785"/>
                  <a:gd name="connsiteY2240" fmla="*/ 4718 h 10000"/>
                  <a:gd name="connsiteX2241" fmla="*/ 760 w 10785"/>
                  <a:gd name="connsiteY2241" fmla="*/ 4709 h 10000"/>
                  <a:gd name="connsiteX2242" fmla="*/ 774 w 10785"/>
                  <a:gd name="connsiteY2242" fmla="*/ 4692 h 10000"/>
                  <a:gd name="connsiteX2243" fmla="*/ 829 w 10785"/>
                  <a:gd name="connsiteY2243" fmla="*/ 4658 h 10000"/>
                  <a:gd name="connsiteX2244" fmla="*/ 903 w 10785"/>
                  <a:gd name="connsiteY2244" fmla="*/ 4496 h 10000"/>
                  <a:gd name="connsiteX2245" fmla="*/ 917 w 10785"/>
                  <a:gd name="connsiteY2245" fmla="*/ 4385 h 10000"/>
                  <a:gd name="connsiteX2246" fmla="*/ 903 w 10785"/>
                  <a:gd name="connsiteY2246" fmla="*/ 4376 h 10000"/>
                  <a:gd name="connsiteX2247" fmla="*/ 903 w 10785"/>
                  <a:gd name="connsiteY2247" fmla="*/ 4376 h 10000"/>
                  <a:gd name="connsiteX2248" fmla="*/ 889 w 10785"/>
                  <a:gd name="connsiteY2248" fmla="*/ 4239 h 10000"/>
                  <a:gd name="connsiteX2249" fmla="*/ 880 w 10785"/>
                  <a:gd name="connsiteY2249" fmla="*/ 4214 h 10000"/>
                  <a:gd name="connsiteX2250" fmla="*/ 862 w 10785"/>
                  <a:gd name="connsiteY2250" fmla="*/ 4188 h 10000"/>
                  <a:gd name="connsiteX2251" fmla="*/ 857 w 10785"/>
                  <a:gd name="connsiteY2251" fmla="*/ 4197 h 10000"/>
                  <a:gd name="connsiteX2252" fmla="*/ 848 w 10785"/>
                  <a:gd name="connsiteY2252" fmla="*/ 4188 h 10000"/>
                  <a:gd name="connsiteX2253" fmla="*/ 848 w 10785"/>
                  <a:gd name="connsiteY2253" fmla="*/ 4162 h 10000"/>
                  <a:gd name="connsiteX2254" fmla="*/ 829 w 10785"/>
                  <a:gd name="connsiteY2254" fmla="*/ 4120 h 10000"/>
                  <a:gd name="connsiteX2255" fmla="*/ 820 w 10785"/>
                  <a:gd name="connsiteY2255" fmla="*/ 4103 h 10000"/>
                  <a:gd name="connsiteX2256" fmla="*/ 806 w 10785"/>
                  <a:gd name="connsiteY2256" fmla="*/ 4077 h 10000"/>
                  <a:gd name="connsiteX2257" fmla="*/ 816 w 10785"/>
                  <a:gd name="connsiteY2257" fmla="*/ 4111 h 10000"/>
                  <a:gd name="connsiteX2258" fmla="*/ 802 w 10785"/>
                  <a:gd name="connsiteY2258" fmla="*/ 4111 h 10000"/>
                  <a:gd name="connsiteX2259" fmla="*/ 770 w 10785"/>
                  <a:gd name="connsiteY2259" fmla="*/ 4060 h 10000"/>
                  <a:gd name="connsiteX2260" fmla="*/ 760 w 10785"/>
                  <a:gd name="connsiteY2260" fmla="*/ 4077 h 10000"/>
                  <a:gd name="connsiteX2261" fmla="*/ 760 w 10785"/>
                  <a:gd name="connsiteY2261" fmla="*/ 4060 h 10000"/>
                  <a:gd name="connsiteX2262" fmla="*/ 756 w 10785"/>
                  <a:gd name="connsiteY2262" fmla="*/ 4034 h 10000"/>
                  <a:gd name="connsiteX2263" fmla="*/ 742 w 10785"/>
                  <a:gd name="connsiteY2263" fmla="*/ 4000 h 10000"/>
                  <a:gd name="connsiteX2264" fmla="*/ 747 w 10785"/>
                  <a:gd name="connsiteY2264" fmla="*/ 4034 h 10000"/>
                  <a:gd name="connsiteX2265" fmla="*/ 724 w 10785"/>
                  <a:gd name="connsiteY2265" fmla="*/ 4026 h 10000"/>
                  <a:gd name="connsiteX2266" fmla="*/ 714 w 10785"/>
                  <a:gd name="connsiteY2266" fmla="*/ 4000 h 10000"/>
                  <a:gd name="connsiteX2267" fmla="*/ 714 w 10785"/>
                  <a:gd name="connsiteY2267" fmla="*/ 3983 h 10000"/>
                  <a:gd name="connsiteX2268" fmla="*/ 553 w 10785"/>
                  <a:gd name="connsiteY2268" fmla="*/ 3726 h 10000"/>
                  <a:gd name="connsiteX2269" fmla="*/ 507 w 10785"/>
                  <a:gd name="connsiteY2269" fmla="*/ 3718 h 10000"/>
                  <a:gd name="connsiteX2270" fmla="*/ 516 w 10785"/>
                  <a:gd name="connsiteY2270" fmla="*/ 3726 h 10000"/>
                  <a:gd name="connsiteX2271" fmla="*/ 507 w 10785"/>
                  <a:gd name="connsiteY2271" fmla="*/ 3735 h 10000"/>
                  <a:gd name="connsiteX2272" fmla="*/ 502 w 10785"/>
                  <a:gd name="connsiteY2272" fmla="*/ 3735 h 10000"/>
                  <a:gd name="connsiteX2273" fmla="*/ 419 w 10785"/>
                  <a:gd name="connsiteY2273" fmla="*/ 3675 h 10000"/>
                  <a:gd name="connsiteX2274" fmla="*/ 419 w 10785"/>
                  <a:gd name="connsiteY2274" fmla="*/ 3692 h 10000"/>
                  <a:gd name="connsiteX2275" fmla="*/ 401 w 10785"/>
                  <a:gd name="connsiteY2275" fmla="*/ 3701 h 10000"/>
                  <a:gd name="connsiteX2276" fmla="*/ 387 w 10785"/>
                  <a:gd name="connsiteY2276" fmla="*/ 3718 h 10000"/>
                  <a:gd name="connsiteX2277" fmla="*/ 387 w 10785"/>
                  <a:gd name="connsiteY2277" fmla="*/ 3692 h 10000"/>
                  <a:gd name="connsiteX2278" fmla="*/ 378 w 10785"/>
                  <a:gd name="connsiteY2278" fmla="*/ 3675 h 10000"/>
                  <a:gd name="connsiteX2279" fmla="*/ 378 w 10785"/>
                  <a:gd name="connsiteY2279" fmla="*/ 3650 h 10000"/>
                  <a:gd name="connsiteX2280" fmla="*/ 378 w 10785"/>
                  <a:gd name="connsiteY2280" fmla="*/ 3650 h 10000"/>
                  <a:gd name="connsiteX2281" fmla="*/ 355 w 10785"/>
                  <a:gd name="connsiteY2281" fmla="*/ 3675 h 10000"/>
                  <a:gd name="connsiteX2282" fmla="*/ 359 w 10785"/>
                  <a:gd name="connsiteY2282" fmla="*/ 3641 h 10000"/>
                  <a:gd name="connsiteX2283" fmla="*/ 346 w 10785"/>
                  <a:gd name="connsiteY2283" fmla="*/ 3650 h 10000"/>
                  <a:gd name="connsiteX2284" fmla="*/ 355 w 10785"/>
                  <a:gd name="connsiteY2284" fmla="*/ 3624 h 10000"/>
                  <a:gd name="connsiteX2285" fmla="*/ 346 w 10785"/>
                  <a:gd name="connsiteY2285" fmla="*/ 3624 h 10000"/>
                  <a:gd name="connsiteX2286" fmla="*/ 341 w 10785"/>
                  <a:gd name="connsiteY2286" fmla="*/ 3624 h 10000"/>
                  <a:gd name="connsiteX2287" fmla="*/ 318 w 10785"/>
                  <a:gd name="connsiteY2287" fmla="*/ 3641 h 10000"/>
                  <a:gd name="connsiteX2288" fmla="*/ 327 w 10785"/>
                  <a:gd name="connsiteY2288" fmla="*/ 3624 h 10000"/>
                  <a:gd name="connsiteX2289" fmla="*/ 318 w 10785"/>
                  <a:gd name="connsiteY2289" fmla="*/ 3615 h 10000"/>
                  <a:gd name="connsiteX2290" fmla="*/ 318 w 10785"/>
                  <a:gd name="connsiteY2290" fmla="*/ 3598 h 10000"/>
                  <a:gd name="connsiteX2291" fmla="*/ 300 w 10785"/>
                  <a:gd name="connsiteY2291" fmla="*/ 3598 h 10000"/>
                  <a:gd name="connsiteX2292" fmla="*/ 309 w 10785"/>
                  <a:gd name="connsiteY2292" fmla="*/ 3538 h 10000"/>
                  <a:gd name="connsiteX2293" fmla="*/ 313 w 10785"/>
                  <a:gd name="connsiteY2293" fmla="*/ 3564 h 10000"/>
                  <a:gd name="connsiteX2294" fmla="*/ 318 w 10785"/>
                  <a:gd name="connsiteY2294" fmla="*/ 3581 h 10000"/>
                  <a:gd name="connsiteX2295" fmla="*/ 327 w 10785"/>
                  <a:gd name="connsiteY2295" fmla="*/ 3564 h 10000"/>
                  <a:gd name="connsiteX2296" fmla="*/ 332 w 10785"/>
                  <a:gd name="connsiteY2296" fmla="*/ 3590 h 10000"/>
                  <a:gd name="connsiteX2297" fmla="*/ 346 w 10785"/>
                  <a:gd name="connsiteY2297" fmla="*/ 3590 h 10000"/>
                  <a:gd name="connsiteX2298" fmla="*/ 355 w 10785"/>
                  <a:gd name="connsiteY2298" fmla="*/ 3590 h 10000"/>
                  <a:gd name="connsiteX2299" fmla="*/ 369 w 10785"/>
                  <a:gd name="connsiteY2299" fmla="*/ 3556 h 10000"/>
                  <a:gd name="connsiteX2300" fmla="*/ 369 w 10785"/>
                  <a:gd name="connsiteY2300" fmla="*/ 3538 h 10000"/>
                  <a:gd name="connsiteX2301" fmla="*/ 346 w 10785"/>
                  <a:gd name="connsiteY2301" fmla="*/ 3513 h 10000"/>
                  <a:gd name="connsiteX2302" fmla="*/ 341 w 10785"/>
                  <a:gd name="connsiteY2302" fmla="*/ 3530 h 10000"/>
                  <a:gd name="connsiteX2303" fmla="*/ 327 w 10785"/>
                  <a:gd name="connsiteY2303" fmla="*/ 3513 h 10000"/>
                  <a:gd name="connsiteX2304" fmla="*/ 327 w 10785"/>
                  <a:gd name="connsiteY2304" fmla="*/ 3504 h 10000"/>
                  <a:gd name="connsiteX2305" fmla="*/ 295 w 10785"/>
                  <a:gd name="connsiteY2305" fmla="*/ 3462 h 10000"/>
                  <a:gd name="connsiteX2306" fmla="*/ 300 w 10785"/>
                  <a:gd name="connsiteY2306" fmla="*/ 3479 h 10000"/>
                  <a:gd name="connsiteX2307" fmla="*/ 295 w 10785"/>
                  <a:gd name="connsiteY2307" fmla="*/ 3513 h 10000"/>
                  <a:gd name="connsiteX2308" fmla="*/ 286 w 10785"/>
                  <a:gd name="connsiteY2308" fmla="*/ 3513 h 10000"/>
                  <a:gd name="connsiteX2309" fmla="*/ 281 w 10785"/>
                  <a:gd name="connsiteY2309" fmla="*/ 3513 h 10000"/>
                  <a:gd name="connsiteX2310" fmla="*/ 281 w 10785"/>
                  <a:gd name="connsiteY2310" fmla="*/ 3530 h 10000"/>
                  <a:gd name="connsiteX2311" fmla="*/ 281 w 10785"/>
                  <a:gd name="connsiteY2311" fmla="*/ 3556 h 10000"/>
                  <a:gd name="connsiteX2312" fmla="*/ 272 w 10785"/>
                  <a:gd name="connsiteY2312" fmla="*/ 3564 h 10000"/>
                  <a:gd name="connsiteX2313" fmla="*/ 267 w 10785"/>
                  <a:gd name="connsiteY2313" fmla="*/ 3564 h 10000"/>
                  <a:gd name="connsiteX2314" fmla="*/ 253 w 10785"/>
                  <a:gd name="connsiteY2314" fmla="*/ 3538 h 10000"/>
                  <a:gd name="connsiteX2315" fmla="*/ 226 w 10785"/>
                  <a:gd name="connsiteY2315" fmla="*/ 3513 h 10000"/>
                  <a:gd name="connsiteX2316" fmla="*/ 226 w 10785"/>
                  <a:gd name="connsiteY2316" fmla="*/ 3530 h 10000"/>
                  <a:gd name="connsiteX2317" fmla="*/ 226 w 10785"/>
                  <a:gd name="connsiteY2317" fmla="*/ 3530 h 10000"/>
                  <a:gd name="connsiteX2318" fmla="*/ 226 w 10785"/>
                  <a:gd name="connsiteY2318" fmla="*/ 3530 h 10000"/>
                  <a:gd name="connsiteX2319" fmla="*/ 226 w 10785"/>
                  <a:gd name="connsiteY2319" fmla="*/ 3556 h 10000"/>
                  <a:gd name="connsiteX2320" fmla="*/ 221 w 10785"/>
                  <a:gd name="connsiteY2320" fmla="*/ 3598 h 10000"/>
                  <a:gd name="connsiteX2321" fmla="*/ 207 w 10785"/>
                  <a:gd name="connsiteY2321" fmla="*/ 3598 h 10000"/>
                  <a:gd name="connsiteX2322" fmla="*/ 180 w 10785"/>
                  <a:gd name="connsiteY2322" fmla="*/ 3581 h 10000"/>
                  <a:gd name="connsiteX2323" fmla="*/ 171 w 10785"/>
                  <a:gd name="connsiteY2323" fmla="*/ 3641 h 10000"/>
                  <a:gd name="connsiteX2324" fmla="*/ 166 w 10785"/>
                  <a:gd name="connsiteY2324" fmla="*/ 3650 h 10000"/>
                  <a:gd name="connsiteX2325" fmla="*/ 124 w 10785"/>
                  <a:gd name="connsiteY2325" fmla="*/ 3701 h 10000"/>
                  <a:gd name="connsiteX2326" fmla="*/ 124 w 10785"/>
                  <a:gd name="connsiteY2326" fmla="*/ 3718 h 10000"/>
                  <a:gd name="connsiteX2327" fmla="*/ 120 w 10785"/>
                  <a:gd name="connsiteY2327" fmla="*/ 3735 h 10000"/>
                  <a:gd name="connsiteX2328" fmla="*/ 120 w 10785"/>
                  <a:gd name="connsiteY2328" fmla="*/ 3735 h 10000"/>
                  <a:gd name="connsiteX2329" fmla="*/ 111 w 10785"/>
                  <a:gd name="connsiteY2329" fmla="*/ 3761 h 10000"/>
                  <a:gd name="connsiteX2330" fmla="*/ 106 w 10785"/>
                  <a:gd name="connsiteY2330" fmla="*/ 3761 h 10000"/>
                  <a:gd name="connsiteX2331" fmla="*/ 106 w 10785"/>
                  <a:gd name="connsiteY2331" fmla="*/ 3761 h 10000"/>
                  <a:gd name="connsiteX2332" fmla="*/ 74 w 10785"/>
                  <a:gd name="connsiteY2332" fmla="*/ 3829 h 10000"/>
                  <a:gd name="connsiteX2333" fmla="*/ 78 w 10785"/>
                  <a:gd name="connsiteY2333" fmla="*/ 3838 h 10000"/>
                  <a:gd name="connsiteX2334" fmla="*/ 88 w 10785"/>
                  <a:gd name="connsiteY2334" fmla="*/ 3846 h 10000"/>
                  <a:gd name="connsiteX2335" fmla="*/ 65 w 10785"/>
                  <a:gd name="connsiteY2335" fmla="*/ 3923 h 10000"/>
                  <a:gd name="connsiteX2336" fmla="*/ 78 w 10785"/>
                  <a:gd name="connsiteY2336" fmla="*/ 4026 h 10000"/>
                  <a:gd name="connsiteX2337" fmla="*/ 88 w 10785"/>
                  <a:gd name="connsiteY2337" fmla="*/ 4051 h 10000"/>
                  <a:gd name="connsiteX2338" fmla="*/ 92 w 10785"/>
                  <a:gd name="connsiteY2338" fmla="*/ 4060 h 10000"/>
                  <a:gd name="connsiteX2339" fmla="*/ 111 w 10785"/>
                  <a:gd name="connsiteY2339" fmla="*/ 4060 h 10000"/>
                  <a:gd name="connsiteX2340" fmla="*/ 124 w 10785"/>
                  <a:gd name="connsiteY2340" fmla="*/ 4085 h 10000"/>
                  <a:gd name="connsiteX2341" fmla="*/ 166 w 10785"/>
                  <a:gd name="connsiteY2341" fmla="*/ 4197 h 10000"/>
                  <a:gd name="connsiteX2342" fmla="*/ 166 w 10785"/>
                  <a:gd name="connsiteY2342" fmla="*/ 4248 h 10000"/>
                  <a:gd name="connsiteX2343" fmla="*/ 120 w 10785"/>
                  <a:gd name="connsiteY2343" fmla="*/ 4462 h 10000"/>
                  <a:gd name="connsiteX2344" fmla="*/ 120 w 10785"/>
                  <a:gd name="connsiteY2344" fmla="*/ 4513 h 10000"/>
                  <a:gd name="connsiteX2345" fmla="*/ 180 w 10785"/>
                  <a:gd name="connsiteY2345" fmla="*/ 4829 h 10000"/>
                  <a:gd name="connsiteX2346" fmla="*/ 161 w 10785"/>
                  <a:gd name="connsiteY2346" fmla="*/ 4855 h 10000"/>
                  <a:gd name="connsiteX2347" fmla="*/ 152 w 10785"/>
                  <a:gd name="connsiteY2347" fmla="*/ 4940 h 10000"/>
                  <a:gd name="connsiteX2348" fmla="*/ 161 w 10785"/>
                  <a:gd name="connsiteY2348" fmla="*/ 4966 h 10000"/>
                  <a:gd name="connsiteX2349" fmla="*/ 161 w 10785"/>
                  <a:gd name="connsiteY2349" fmla="*/ 5009 h 10000"/>
                  <a:gd name="connsiteX2350" fmla="*/ 152 w 10785"/>
                  <a:gd name="connsiteY2350" fmla="*/ 5034 h 10000"/>
                  <a:gd name="connsiteX2351" fmla="*/ 152 w 10785"/>
                  <a:gd name="connsiteY2351" fmla="*/ 5077 h 10000"/>
                  <a:gd name="connsiteX2352" fmla="*/ 171 w 10785"/>
                  <a:gd name="connsiteY2352" fmla="*/ 5094 h 10000"/>
                  <a:gd name="connsiteX2353" fmla="*/ 180 w 10785"/>
                  <a:gd name="connsiteY2353" fmla="*/ 5128 h 10000"/>
                  <a:gd name="connsiteX2354" fmla="*/ 180 w 10785"/>
                  <a:gd name="connsiteY2354" fmla="*/ 5171 h 10000"/>
                  <a:gd name="connsiteX2355" fmla="*/ 184 w 10785"/>
                  <a:gd name="connsiteY2355" fmla="*/ 5205 h 10000"/>
                  <a:gd name="connsiteX2356" fmla="*/ 207 w 10785"/>
                  <a:gd name="connsiteY2356" fmla="*/ 5239 h 10000"/>
                  <a:gd name="connsiteX2357" fmla="*/ 207 w 10785"/>
                  <a:gd name="connsiteY2357" fmla="*/ 5282 h 10000"/>
                  <a:gd name="connsiteX2358" fmla="*/ 180 w 10785"/>
                  <a:gd name="connsiteY2358" fmla="*/ 5393 h 10000"/>
                  <a:gd name="connsiteX2359" fmla="*/ 194 w 10785"/>
                  <a:gd name="connsiteY2359" fmla="*/ 5427 h 10000"/>
                  <a:gd name="connsiteX2360" fmla="*/ 198 w 10785"/>
                  <a:gd name="connsiteY2360" fmla="*/ 5462 h 10000"/>
                  <a:gd name="connsiteX2361" fmla="*/ 235 w 10785"/>
                  <a:gd name="connsiteY2361" fmla="*/ 5513 h 10000"/>
                  <a:gd name="connsiteX2362" fmla="*/ 240 w 10785"/>
                  <a:gd name="connsiteY2362" fmla="*/ 5556 h 10000"/>
                  <a:gd name="connsiteX2363" fmla="*/ 253 w 10785"/>
                  <a:gd name="connsiteY2363" fmla="*/ 5590 h 10000"/>
                  <a:gd name="connsiteX2364" fmla="*/ 258 w 10785"/>
                  <a:gd name="connsiteY2364" fmla="*/ 5573 h 10000"/>
                  <a:gd name="connsiteX2365" fmla="*/ 258 w 10785"/>
                  <a:gd name="connsiteY2365" fmla="*/ 5667 h 10000"/>
                  <a:gd name="connsiteX2366" fmla="*/ 14 w 10785"/>
                  <a:gd name="connsiteY2366" fmla="*/ 6214 h 10000"/>
                  <a:gd name="connsiteX2367" fmla="*/ 14 w 10785"/>
                  <a:gd name="connsiteY2367" fmla="*/ 6214 h 10000"/>
                  <a:gd name="connsiteX2368" fmla="*/ 37 w 10785"/>
                  <a:gd name="connsiteY2368" fmla="*/ 6214 h 10000"/>
                  <a:gd name="connsiteX2369" fmla="*/ 51 w 10785"/>
                  <a:gd name="connsiteY2369" fmla="*/ 6188 h 10000"/>
                  <a:gd name="connsiteX2370" fmla="*/ 78 w 10785"/>
                  <a:gd name="connsiteY2370" fmla="*/ 6162 h 10000"/>
                  <a:gd name="connsiteX2371" fmla="*/ 78 w 10785"/>
                  <a:gd name="connsiteY2371" fmla="*/ 6188 h 10000"/>
                  <a:gd name="connsiteX2372" fmla="*/ 74 w 10785"/>
                  <a:gd name="connsiteY2372" fmla="*/ 6197 h 10000"/>
                  <a:gd name="connsiteX2373" fmla="*/ 74 w 10785"/>
                  <a:gd name="connsiteY2373" fmla="*/ 6231 h 10000"/>
                  <a:gd name="connsiteX2374" fmla="*/ 74 w 10785"/>
                  <a:gd name="connsiteY2374" fmla="*/ 6214 h 10000"/>
                  <a:gd name="connsiteX2375" fmla="*/ 65 w 10785"/>
                  <a:gd name="connsiteY2375" fmla="*/ 6214 h 10000"/>
                  <a:gd name="connsiteX2376" fmla="*/ 65 w 10785"/>
                  <a:gd name="connsiteY2376" fmla="*/ 6248 h 10000"/>
                  <a:gd name="connsiteX2377" fmla="*/ 74 w 10785"/>
                  <a:gd name="connsiteY2377" fmla="*/ 6256 h 10000"/>
                  <a:gd name="connsiteX2378" fmla="*/ 78 w 10785"/>
                  <a:gd name="connsiteY2378" fmla="*/ 6256 h 10000"/>
                  <a:gd name="connsiteX2379" fmla="*/ 106 w 10785"/>
                  <a:gd name="connsiteY2379" fmla="*/ 6308 h 10000"/>
                  <a:gd name="connsiteX2380" fmla="*/ 138 w 10785"/>
                  <a:gd name="connsiteY2380" fmla="*/ 6299 h 10000"/>
                  <a:gd name="connsiteX2381" fmla="*/ 152 w 10785"/>
                  <a:gd name="connsiteY2381" fmla="*/ 6299 h 10000"/>
                  <a:gd name="connsiteX2382" fmla="*/ 166 w 10785"/>
                  <a:gd name="connsiteY2382" fmla="*/ 6325 h 10000"/>
                  <a:gd name="connsiteX2383" fmla="*/ 166 w 10785"/>
                  <a:gd name="connsiteY2383" fmla="*/ 6333 h 10000"/>
                  <a:gd name="connsiteX2384" fmla="*/ 171 w 10785"/>
                  <a:gd name="connsiteY2384" fmla="*/ 6350 h 10000"/>
                  <a:gd name="connsiteX2385" fmla="*/ 180 w 10785"/>
                  <a:gd name="connsiteY2385" fmla="*/ 6350 h 10000"/>
                  <a:gd name="connsiteX2386" fmla="*/ 180 w 10785"/>
                  <a:gd name="connsiteY2386" fmla="*/ 6359 h 10000"/>
                  <a:gd name="connsiteX2387" fmla="*/ 171 w 10785"/>
                  <a:gd name="connsiteY2387" fmla="*/ 6368 h 10000"/>
                  <a:gd name="connsiteX2388" fmla="*/ 106 w 10785"/>
                  <a:gd name="connsiteY2388" fmla="*/ 6350 h 10000"/>
                  <a:gd name="connsiteX2389" fmla="*/ 101 w 10785"/>
                  <a:gd name="connsiteY2389" fmla="*/ 6359 h 10000"/>
                  <a:gd name="connsiteX2390" fmla="*/ 101 w 10785"/>
                  <a:gd name="connsiteY2390" fmla="*/ 6385 h 10000"/>
                  <a:gd name="connsiteX2391" fmla="*/ 78 w 10785"/>
                  <a:gd name="connsiteY2391" fmla="*/ 6393 h 10000"/>
                  <a:gd name="connsiteX2392" fmla="*/ 74 w 10785"/>
                  <a:gd name="connsiteY2392" fmla="*/ 6385 h 10000"/>
                  <a:gd name="connsiteX2393" fmla="*/ 65 w 10785"/>
                  <a:gd name="connsiteY2393" fmla="*/ 6393 h 10000"/>
                  <a:gd name="connsiteX2394" fmla="*/ 60 w 10785"/>
                  <a:gd name="connsiteY2394" fmla="*/ 6419 h 10000"/>
                  <a:gd name="connsiteX2395" fmla="*/ 51 w 10785"/>
                  <a:gd name="connsiteY2395" fmla="*/ 6419 h 10000"/>
                  <a:gd name="connsiteX2396" fmla="*/ 46 w 10785"/>
                  <a:gd name="connsiteY2396" fmla="*/ 6410 h 10000"/>
                  <a:gd name="connsiteX2397" fmla="*/ 37 w 10785"/>
                  <a:gd name="connsiteY2397" fmla="*/ 6393 h 10000"/>
                  <a:gd name="connsiteX2398" fmla="*/ 32 w 10785"/>
                  <a:gd name="connsiteY2398" fmla="*/ 6419 h 10000"/>
                  <a:gd name="connsiteX2399" fmla="*/ 37 w 10785"/>
                  <a:gd name="connsiteY2399" fmla="*/ 6462 h 10000"/>
                  <a:gd name="connsiteX2400" fmla="*/ 46 w 10785"/>
                  <a:gd name="connsiteY2400" fmla="*/ 6462 h 10000"/>
                  <a:gd name="connsiteX2401" fmla="*/ 51 w 10785"/>
                  <a:gd name="connsiteY2401" fmla="*/ 6470 h 10000"/>
                  <a:gd name="connsiteX2402" fmla="*/ 51 w 10785"/>
                  <a:gd name="connsiteY2402" fmla="*/ 6496 h 10000"/>
                  <a:gd name="connsiteX2403" fmla="*/ 51 w 10785"/>
                  <a:gd name="connsiteY2403" fmla="*/ 6504 h 10000"/>
                  <a:gd name="connsiteX2404" fmla="*/ 37 w 10785"/>
                  <a:gd name="connsiteY2404" fmla="*/ 6530 h 10000"/>
                  <a:gd name="connsiteX2405" fmla="*/ 18 w 10785"/>
                  <a:gd name="connsiteY2405" fmla="*/ 6598 h 10000"/>
                  <a:gd name="connsiteX2406" fmla="*/ 28 w 10785"/>
                  <a:gd name="connsiteY2406" fmla="*/ 6632 h 10000"/>
                  <a:gd name="connsiteX2407" fmla="*/ 18 w 10785"/>
                  <a:gd name="connsiteY2407" fmla="*/ 6667 h 10000"/>
                  <a:gd name="connsiteX2408" fmla="*/ 28 w 10785"/>
                  <a:gd name="connsiteY2408" fmla="*/ 6692 h 10000"/>
                  <a:gd name="connsiteX2409" fmla="*/ 28 w 10785"/>
                  <a:gd name="connsiteY2409" fmla="*/ 6709 h 10000"/>
                  <a:gd name="connsiteX2410" fmla="*/ 18 w 10785"/>
                  <a:gd name="connsiteY2410" fmla="*/ 6718 h 10000"/>
                  <a:gd name="connsiteX2411" fmla="*/ 5 w 10785"/>
                  <a:gd name="connsiteY2411" fmla="*/ 6744 h 10000"/>
                  <a:gd name="connsiteX2412" fmla="*/ 0 w 10785"/>
                  <a:gd name="connsiteY2412" fmla="*/ 6769 h 10000"/>
                  <a:gd name="connsiteX2413" fmla="*/ 5 w 10785"/>
                  <a:gd name="connsiteY2413" fmla="*/ 6778 h 10000"/>
                  <a:gd name="connsiteX2414" fmla="*/ 32 w 10785"/>
                  <a:gd name="connsiteY2414" fmla="*/ 6778 h 10000"/>
                  <a:gd name="connsiteX2415" fmla="*/ 46 w 10785"/>
                  <a:gd name="connsiteY2415" fmla="*/ 6821 h 10000"/>
                  <a:gd name="connsiteX2416" fmla="*/ 46 w 10785"/>
                  <a:gd name="connsiteY2416" fmla="*/ 6855 h 10000"/>
                  <a:gd name="connsiteX2417" fmla="*/ 32 w 10785"/>
                  <a:gd name="connsiteY2417" fmla="*/ 6855 h 10000"/>
                  <a:gd name="connsiteX2418" fmla="*/ 14 w 10785"/>
                  <a:gd name="connsiteY2418" fmla="*/ 6821 h 10000"/>
                  <a:gd name="connsiteX2419" fmla="*/ 14 w 10785"/>
                  <a:gd name="connsiteY2419" fmla="*/ 6846 h 10000"/>
                  <a:gd name="connsiteX2420" fmla="*/ 0 w 10785"/>
                  <a:gd name="connsiteY2420" fmla="*/ 6897 h 10000"/>
                  <a:gd name="connsiteX2421" fmla="*/ 0 w 10785"/>
                  <a:gd name="connsiteY2421" fmla="*/ 6915 h 10000"/>
                  <a:gd name="connsiteX2422" fmla="*/ 5 w 10785"/>
                  <a:gd name="connsiteY2422" fmla="*/ 6932 h 10000"/>
                  <a:gd name="connsiteX2423" fmla="*/ 14 w 10785"/>
                  <a:gd name="connsiteY2423" fmla="*/ 6940 h 10000"/>
                  <a:gd name="connsiteX2424" fmla="*/ 18 w 10785"/>
                  <a:gd name="connsiteY2424" fmla="*/ 6957 h 10000"/>
                  <a:gd name="connsiteX2425" fmla="*/ 28 w 10785"/>
                  <a:gd name="connsiteY2425" fmla="*/ 6966 h 10000"/>
                  <a:gd name="connsiteX2426" fmla="*/ 28 w 10785"/>
                  <a:gd name="connsiteY2426" fmla="*/ 6983 h 10000"/>
                  <a:gd name="connsiteX2427" fmla="*/ 18 w 10785"/>
                  <a:gd name="connsiteY2427" fmla="*/ 7051 h 10000"/>
                  <a:gd name="connsiteX2428" fmla="*/ 28 w 10785"/>
                  <a:gd name="connsiteY2428" fmla="*/ 7068 h 10000"/>
                  <a:gd name="connsiteX2429" fmla="*/ 32 w 10785"/>
                  <a:gd name="connsiteY2429" fmla="*/ 7068 h 10000"/>
                  <a:gd name="connsiteX2430" fmla="*/ 32 w 10785"/>
                  <a:gd name="connsiteY2430" fmla="*/ 7094 h 10000"/>
                  <a:gd name="connsiteX2431" fmla="*/ 60 w 10785"/>
                  <a:gd name="connsiteY2431" fmla="*/ 7162 h 10000"/>
                  <a:gd name="connsiteX2432" fmla="*/ 60 w 10785"/>
                  <a:gd name="connsiteY2432" fmla="*/ 7231 h 10000"/>
                  <a:gd name="connsiteX2433" fmla="*/ 60 w 10785"/>
                  <a:gd name="connsiteY2433" fmla="*/ 7239 h 10000"/>
                  <a:gd name="connsiteX2434" fmla="*/ 78 w 10785"/>
                  <a:gd name="connsiteY2434" fmla="*/ 7239 h 10000"/>
                  <a:gd name="connsiteX2435" fmla="*/ 88 w 10785"/>
                  <a:gd name="connsiteY2435" fmla="*/ 7239 h 10000"/>
                  <a:gd name="connsiteX2436" fmla="*/ 92 w 10785"/>
                  <a:gd name="connsiteY2436" fmla="*/ 7256 h 10000"/>
                  <a:gd name="connsiteX2437" fmla="*/ 111 w 10785"/>
                  <a:gd name="connsiteY2437" fmla="*/ 7256 h 10000"/>
                  <a:gd name="connsiteX2438" fmla="*/ 120 w 10785"/>
                  <a:gd name="connsiteY2438" fmla="*/ 7256 h 10000"/>
                  <a:gd name="connsiteX2439" fmla="*/ 134 w 10785"/>
                  <a:gd name="connsiteY2439" fmla="*/ 7282 h 10000"/>
                  <a:gd name="connsiteX2440" fmla="*/ 134 w 10785"/>
                  <a:gd name="connsiteY2440" fmla="*/ 7316 h 10000"/>
                  <a:gd name="connsiteX2441" fmla="*/ 152 w 10785"/>
                  <a:gd name="connsiteY2441" fmla="*/ 7299 h 10000"/>
                  <a:gd name="connsiteX2442" fmla="*/ 161 w 10785"/>
                  <a:gd name="connsiteY2442" fmla="*/ 7299 h 10000"/>
                  <a:gd name="connsiteX2443" fmla="*/ 166 w 10785"/>
                  <a:gd name="connsiteY2443" fmla="*/ 7291 h 10000"/>
                  <a:gd name="connsiteX2444" fmla="*/ 194 w 10785"/>
                  <a:gd name="connsiteY2444" fmla="*/ 7291 h 10000"/>
                  <a:gd name="connsiteX2445" fmla="*/ 207 w 10785"/>
                  <a:gd name="connsiteY2445" fmla="*/ 7299 h 10000"/>
                  <a:gd name="connsiteX2446" fmla="*/ 221 w 10785"/>
                  <a:gd name="connsiteY2446" fmla="*/ 7342 h 10000"/>
                  <a:gd name="connsiteX2447" fmla="*/ 235 w 10785"/>
                  <a:gd name="connsiteY2447" fmla="*/ 7342 h 10000"/>
                  <a:gd name="connsiteX2448" fmla="*/ 235 w 10785"/>
                  <a:gd name="connsiteY2448" fmla="*/ 7368 h 10000"/>
                  <a:gd name="connsiteX2449" fmla="*/ 226 w 10785"/>
                  <a:gd name="connsiteY2449" fmla="*/ 7393 h 10000"/>
                  <a:gd name="connsiteX2450" fmla="*/ 226 w 10785"/>
                  <a:gd name="connsiteY2450" fmla="*/ 7402 h 10000"/>
                  <a:gd name="connsiteX2451" fmla="*/ 235 w 10785"/>
                  <a:gd name="connsiteY2451" fmla="*/ 7419 h 10000"/>
                  <a:gd name="connsiteX2452" fmla="*/ 240 w 10785"/>
                  <a:gd name="connsiteY2452" fmla="*/ 7436 h 10000"/>
                  <a:gd name="connsiteX2453" fmla="*/ 235 w 10785"/>
                  <a:gd name="connsiteY2453" fmla="*/ 7462 h 10000"/>
                  <a:gd name="connsiteX2454" fmla="*/ 226 w 10785"/>
                  <a:gd name="connsiteY2454" fmla="*/ 7479 h 10000"/>
                  <a:gd name="connsiteX2455" fmla="*/ 226 w 10785"/>
                  <a:gd name="connsiteY2455" fmla="*/ 7504 h 10000"/>
                  <a:gd name="connsiteX2456" fmla="*/ 226 w 10785"/>
                  <a:gd name="connsiteY2456" fmla="*/ 7513 h 10000"/>
                  <a:gd name="connsiteX2457" fmla="*/ 240 w 10785"/>
                  <a:gd name="connsiteY2457" fmla="*/ 7538 h 10000"/>
                  <a:gd name="connsiteX2458" fmla="*/ 267 w 10785"/>
                  <a:gd name="connsiteY2458" fmla="*/ 7641 h 10000"/>
                  <a:gd name="connsiteX2459" fmla="*/ 281 w 10785"/>
                  <a:gd name="connsiteY2459" fmla="*/ 7667 h 10000"/>
                  <a:gd name="connsiteX2460" fmla="*/ 286 w 10785"/>
                  <a:gd name="connsiteY2460" fmla="*/ 7675 h 10000"/>
                  <a:gd name="connsiteX2461" fmla="*/ 286 w 10785"/>
                  <a:gd name="connsiteY2461" fmla="*/ 7692 h 10000"/>
                  <a:gd name="connsiteX2462" fmla="*/ 286 w 10785"/>
                  <a:gd name="connsiteY2462" fmla="*/ 7709 h 10000"/>
                  <a:gd name="connsiteX2463" fmla="*/ 295 w 10785"/>
                  <a:gd name="connsiteY2463" fmla="*/ 7726 h 10000"/>
                  <a:gd name="connsiteX2464" fmla="*/ 318 w 10785"/>
                  <a:gd name="connsiteY2464" fmla="*/ 7709 h 10000"/>
                  <a:gd name="connsiteX2465" fmla="*/ 327 w 10785"/>
                  <a:gd name="connsiteY2465" fmla="*/ 7726 h 10000"/>
                  <a:gd name="connsiteX2466" fmla="*/ 341 w 10785"/>
                  <a:gd name="connsiteY2466" fmla="*/ 7735 h 10000"/>
                  <a:gd name="connsiteX2467" fmla="*/ 332 w 10785"/>
                  <a:gd name="connsiteY2467" fmla="*/ 7752 h 10000"/>
                  <a:gd name="connsiteX2468" fmla="*/ 341 w 10785"/>
                  <a:gd name="connsiteY2468" fmla="*/ 7761 h 10000"/>
                  <a:gd name="connsiteX2469" fmla="*/ 355 w 10785"/>
                  <a:gd name="connsiteY2469" fmla="*/ 7761 h 10000"/>
                  <a:gd name="connsiteX2470" fmla="*/ 355 w 10785"/>
                  <a:gd name="connsiteY2470" fmla="*/ 7803 h 10000"/>
                  <a:gd name="connsiteX2471" fmla="*/ 313 w 10785"/>
                  <a:gd name="connsiteY2471" fmla="*/ 7846 h 10000"/>
                  <a:gd name="connsiteX2472" fmla="*/ 295 w 10785"/>
                  <a:gd name="connsiteY2472" fmla="*/ 7846 h 10000"/>
                  <a:gd name="connsiteX2473" fmla="*/ 281 w 10785"/>
                  <a:gd name="connsiteY2473" fmla="*/ 7821 h 10000"/>
                  <a:gd name="connsiteX2474" fmla="*/ 272 w 10785"/>
                  <a:gd name="connsiteY2474" fmla="*/ 7821 h 10000"/>
                  <a:gd name="connsiteX2475" fmla="*/ 267 w 10785"/>
                  <a:gd name="connsiteY2475" fmla="*/ 7838 h 10000"/>
                  <a:gd name="connsiteX2476" fmla="*/ 258 w 10785"/>
                  <a:gd name="connsiteY2476" fmla="*/ 7846 h 10000"/>
                  <a:gd name="connsiteX2477" fmla="*/ 253 w 10785"/>
                  <a:gd name="connsiteY2477" fmla="*/ 7863 h 10000"/>
                  <a:gd name="connsiteX2478" fmla="*/ 253 w 10785"/>
                  <a:gd name="connsiteY2478" fmla="*/ 7872 h 10000"/>
                  <a:gd name="connsiteX2479" fmla="*/ 267 w 10785"/>
                  <a:gd name="connsiteY2479" fmla="*/ 7897 h 10000"/>
                  <a:gd name="connsiteX2480" fmla="*/ 272 w 10785"/>
                  <a:gd name="connsiteY2480" fmla="*/ 7915 h 10000"/>
                  <a:gd name="connsiteX2481" fmla="*/ 267 w 10785"/>
                  <a:gd name="connsiteY2481" fmla="*/ 7940 h 10000"/>
                  <a:gd name="connsiteX2482" fmla="*/ 272 w 10785"/>
                  <a:gd name="connsiteY2482" fmla="*/ 7949 h 10000"/>
                  <a:gd name="connsiteX2483" fmla="*/ 272 w 10785"/>
                  <a:gd name="connsiteY2483" fmla="*/ 7957 h 10000"/>
                  <a:gd name="connsiteX2484" fmla="*/ 281 w 10785"/>
                  <a:gd name="connsiteY2484" fmla="*/ 7974 h 10000"/>
                  <a:gd name="connsiteX2485" fmla="*/ 286 w 10785"/>
                  <a:gd name="connsiteY2485" fmla="*/ 7983 h 10000"/>
                  <a:gd name="connsiteX2486" fmla="*/ 281 w 10785"/>
                  <a:gd name="connsiteY2486" fmla="*/ 8009 h 10000"/>
                  <a:gd name="connsiteX2487" fmla="*/ 286 w 10785"/>
                  <a:gd name="connsiteY2487" fmla="*/ 8060 h 10000"/>
                  <a:gd name="connsiteX2488" fmla="*/ 286 w 10785"/>
                  <a:gd name="connsiteY2488" fmla="*/ 8060 h 10000"/>
                  <a:gd name="connsiteX2489" fmla="*/ 295 w 10785"/>
                  <a:gd name="connsiteY2489" fmla="*/ 8077 h 10000"/>
                  <a:gd name="connsiteX2490" fmla="*/ 309 w 10785"/>
                  <a:gd name="connsiteY2490" fmla="*/ 8077 h 10000"/>
                  <a:gd name="connsiteX2491" fmla="*/ 313 w 10785"/>
                  <a:gd name="connsiteY2491" fmla="*/ 8060 h 10000"/>
                  <a:gd name="connsiteX2492" fmla="*/ 318 w 10785"/>
                  <a:gd name="connsiteY2492" fmla="*/ 8051 h 10000"/>
                  <a:gd name="connsiteX2493" fmla="*/ 318 w 10785"/>
                  <a:gd name="connsiteY2493" fmla="*/ 8034 h 10000"/>
                  <a:gd name="connsiteX2494" fmla="*/ 332 w 10785"/>
                  <a:gd name="connsiteY2494" fmla="*/ 8026 h 10000"/>
                  <a:gd name="connsiteX2495" fmla="*/ 359 w 10785"/>
                  <a:gd name="connsiteY2495" fmla="*/ 8034 h 10000"/>
                  <a:gd name="connsiteX2496" fmla="*/ 378 w 10785"/>
                  <a:gd name="connsiteY2496" fmla="*/ 8026 h 10000"/>
                  <a:gd name="connsiteX2497" fmla="*/ 401 w 10785"/>
                  <a:gd name="connsiteY2497" fmla="*/ 8026 h 10000"/>
                  <a:gd name="connsiteX2498" fmla="*/ 419 w 10785"/>
                  <a:gd name="connsiteY2498" fmla="*/ 8009 h 10000"/>
                  <a:gd name="connsiteX2499" fmla="*/ 433 w 10785"/>
                  <a:gd name="connsiteY2499" fmla="*/ 8034 h 10000"/>
                  <a:gd name="connsiteX2500" fmla="*/ 442 w 10785"/>
                  <a:gd name="connsiteY2500" fmla="*/ 8060 h 10000"/>
                  <a:gd name="connsiteX2501" fmla="*/ 442 w 10785"/>
                  <a:gd name="connsiteY2501" fmla="*/ 8077 h 10000"/>
                  <a:gd name="connsiteX2502" fmla="*/ 461 w 10785"/>
                  <a:gd name="connsiteY2502" fmla="*/ 8111 h 10000"/>
                  <a:gd name="connsiteX2503" fmla="*/ 461 w 10785"/>
                  <a:gd name="connsiteY2503" fmla="*/ 8137 h 10000"/>
                  <a:gd name="connsiteX2504" fmla="*/ 447 w 10785"/>
                  <a:gd name="connsiteY2504" fmla="*/ 8145 h 10000"/>
                  <a:gd name="connsiteX2505" fmla="*/ 442 w 10785"/>
                  <a:gd name="connsiteY2505" fmla="*/ 8145 h 10000"/>
                  <a:gd name="connsiteX2506" fmla="*/ 442 w 10785"/>
                  <a:gd name="connsiteY2506" fmla="*/ 8162 h 10000"/>
                  <a:gd name="connsiteX2507" fmla="*/ 442 w 10785"/>
                  <a:gd name="connsiteY2507" fmla="*/ 8171 h 10000"/>
                  <a:gd name="connsiteX2508" fmla="*/ 447 w 10785"/>
                  <a:gd name="connsiteY2508" fmla="*/ 8214 h 10000"/>
                  <a:gd name="connsiteX2509" fmla="*/ 465 w 10785"/>
                  <a:gd name="connsiteY2509" fmla="*/ 8231 h 10000"/>
                  <a:gd name="connsiteX2510" fmla="*/ 488 w 10785"/>
                  <a:gd name="connsiteY2510" fmla="*/ 8231 h 10000"/>
                  <a:gd name="connsiteX2511" fmla="*/ 493 w 10785"/>
                  <a:gd name="connsiteY2511" fmla="*/ 8231 h 10000"/>
                  <a:gd name="connsiteX2512" fmla="*/ 502 w 10785"/>
                  <a:gd name="connsiteY2512" fmla="*/ 8231 h 10000"/>
                  <a:gd name="connsiteX2513" fmla="*/ 507 w 10785"/>
                  <a:gd name="connsiteY2513" fmla="*/ 8248 h 10000"/>
                  <a:gd name="connsiteX2514" fmla="*/ 521 w 10785"/>
                  <a:gd name="connsiteY2514" fmla="*/ 8274 h 10000"/>
                  <a:gd name="connsiteX2515" fmla="*/ 525 w 10785"/>
                  <a:gd name="connsiteY2515" fmla="*/ 8333 h 10000"/>
                  <a:gd name="connsiteX2516" fmla="*/ 525 w 10785"/>
                  <a:gd name="connsiteY2516" fmla="*/ 8359 h 10000"/>
                  <a:gd name="connsiteX2517" fmla="*/ 525 w 10785"/>
                  <a:gd name="connsiteY2517" fmla="*/ 8368 h 10000"/>
                  <a:gd name="connsiteX2518" fmla="*/ 548 w 10785"/>
                  <a:gd name="connsiteY2518" fmla="*/ 8393 h 10000"/>
                  <a:gd name="connsiteX2519" fmla="*/ 553 w 10785"/>
                  <a:gd name="connsiteY2519" fmla="*/ 8385 h 10000"/>
                  <a:gd name="connsiteX2520" fmla="*/ 562 w 10785"/>
                  <a:gd name="connsiteY2520" fmla="*/ 8385 h 10000"/>
                  <a:gd name="connsiteX2521" fmla="*/ 576 w 10785"/>
                  <a:gd name="connsiteY2521" fmla="*/ 8385 h 10000"/>
                  <a:gd name="connsiteX2522" fmla="*/ 585 w 10785"/>
                  <a:gd name="connsiteY2522" fmla="*/ 8410 h 10000"/>
                  <a:gd name="connsiteX2523" fmla="*/ 594 w 10785"/>
                  <a:gd name="connsiteY2523" fmla="*/ 8410 h 10000"/>
                  <a:gd name="connsiteX2524" fmla="*/ 608 w 10785"/>
                  <a:gd name="connsiteY2524" fmla="*/ 8410 h 10000"/>
                  <a:gd name="connsiteX2525" fmla="*/ 654 w 10785"/>
                  <a:gd name="connsiteY2525" fmla="*/ 8385 h 10000"/>
                  <a:gd name="connsiteX2526" fmla="*/ 659 w 10785"/>
                  <a:gd name="connsiteY2526" fmla="*/ 8385 h 10000"/>
                  <a:gd name="connsiteX2527" fmla="*/ 696 w 10785"/>
                  <a:gd name="connsiteY2527" fmla="*/ 8470 h 10000"/>
                  <a:gd name="connsiteX2528" fmla="*/ 700 w 10785"/>
                  <a:gd name="connsiteY2528" fmla="*/ 8470 h 10000"/>
                  <a:gd name="connsiteX2529" fmla="*/ 710 w 10785"/>
                  <a:gd name="connsiteY2529" fmla="*/ 8462 h 10000"/>
                  <a:gd name="connsiteX2530" fmla="*/ 714 w 10785"/>
                  <a:gd name="connsiteY2530" fmla="*/ 8462 h 10000"/>
                  <a:gd name="connsiteX2531" fmla="*/ 724 w 10785"/>
                  <a:gd name="connsiteY2531" fmla="*/ 8470 h 10000"/>
                  <a:gd name="connsiteX2532" fmla="*/ 733 w 10785"/>
                  <a:gd name="connsiteY2532" fmla="*/ 8470 h 10000"/>
                  <a:gd name="connsiteX2533" fmla="*/ 742 w 10785"/>
                  <a:gd name="connsiteY2533" fmla="*/ 8487 h 10000"/>
                  <a:gd name="connsiteX2534" fmla="*/ 747 w 10785"/>
                  <a:gd name="connsiteY2534" fmla="*/ 8496 h 10000"/>
                  <a:gd name="connsiteX2535" fmla="*/ 770 w 10785"/>
                  <a:gd name="connsiteY2535" fmla="*/ 8496 h 10000"/>
                  <a:gd name="connsiteX2536" fmla="*/ 783 w 10785"/>
                  <a:gd name="connsiteY2536" fmla="*/ 8521 h 10000"/>
                  <a:gd name="connsiteX2537" fmla="*/ 797 w 10785"/>
                  <a:gd name="connsiteY2537" fmla="*/ 8521 h 10000"/>
                  <a:gd name="connsiteX2538" fmla="*/ 806 w 10785"/>
                  <a:gd name="connsiteY2538" fmla="*/ 8530 h 10000"/>
                  <a:gd name="connsiteX2539" fmla="*/ 829 w 10785"/>
                  <a:gd name="connsiteY2539" fmla="*/ 8547 h 10000"/>
                  <a:gd name="connsiteX2540" fmla="*/ 834 w 10785"/>
                  <a:gd name="connsiteY2540" fmla="*/ 8556 h 10000"/>
                  <a:gd name="connsiteX2541" fmla="*/ 829 w 10785"/>
                  <a:gd name="connsiteY2541" fmla="*/ 8556 h 10000"/>
                  <a:gd name="connsiteX2542" fmla="*/ 834 w 10785"/>
                  <a:gd name="connsiteY2542" fmla="*/ 8607 h 10000"/>
                  <a:gd name="connsiteX2543" fmla="*/ 829 w 10785"/>
                  <a:gd name="connsiteY2543" fmla="*/ 8641 h 10000"/>
                  <a:gd name="connsiteX2544" fmla="*/ 806 w 10785"/>
                  <a:gd name="connsiteY2544" fmla="*/ 8658 h 10000"/>
                  <a:gd name="connsiteX2545" fmla="*/ 816 w 10785"/>
                  <a:gd name="connsiteY2545" fmla="*/ 8667 h 10000"/>
                  <a:gd name="connsiteX2546" fmla="*/ 820 w 10785"/>
                  <a:gd name="connsiteY2546" fmla="*/ 8667 h 10000"/>
                  <a:gd name="connsiteX2547" fmla="*/ 829 w 10785"/>
                  <a:gd name="connsiteY2547" fmla="*/ 8684 h 10000"/>
                  <a:gd name="connsiteX2548" fmla="*/ 806 w 10785"/>
                  <a:gd name="connsiteY2548" fmla="*/ 8692 h 10000"/>
                  <a:gd name="connsiteX2549" fmla="*/ 802 w 10785"/>
                  <a:gd name="connsiteY2549" fmla="*/ 8709 h 10000"/>
                  <a:gd name="connsiteX2550" fmla="*/ 802 w 10785"/>
                  <a:gd name="connsiteY2550" fmla="*/ 8735 h 10000"/>
                  <a:gd name="connsiteX2551" fmla="*/ 806 w 10785"/>
                  <a:gd name="connsiteY2551" fmla="*/ 8744 h 10000"/>
                  <a:gd name="connsiteX2552" fmla="*/ 816 w 10785"/>
                  <a:gd name="connsiteY2552" fmla="*/ 8752 h 10000"/>
                  <a:gd name="connsiteX2553" fmla="*/ 806 w 10785"/>
                  <a:gd name="connsiteY2553" fmla="*/ 8778 h 10000"/>
                  <a:gd name="connsiteX2554" fmla="*/ 820 w 10785"/>
                  <a:gd name="connsiteY2554" fmla="*/ 8778 h 10000"/>
                  <a:gd name="connsiteX2555" fmla="*/ 806 w 10785"/>
                  <a:gd name="connsiteY2555" fmla="*/ 8880 h 10000"/>
                  <a:gd name="connsiteX2556" fmla="*/ 797 w 10785"/>
                  <a:gd name="connsiteY2556" fmla="*/ 8880 h 10000"/>
                  <a:gd name="connsiteX2557" fmla="*/ 783 w 10785"/>
                  <a:gd name="connsiteY2557" fmla="*/ 8872 h 10000"/>
                  <a:gd name="connsiteX2558" fmla="*/ 770 w 10785"/>
                  <a:gd name="connsiteY2558" fmla="*/ 8880 h 10000"/>
                  <a:gd name="connsiteX2559" fmla="*/ 756 w 10785"/>
                  <a:gd name="connsiteY2559" fmla="*/ 8855 h 10000"/>
                  <a:gd name="connsiteX2560" fmla="*/ 733 w 10785"/>
                  <a:gd name="connsiteY2560" fmla="*/ 8906 h 10000"/>
                  <a:gd name="connsiteX2561" fmla="*/ 714 w 10785"/>
                  <a:gd name="connsiteY2561" fmla="*/ 8915 h 10000"/>
                  <a:gd name="connsiteX2562" fmla="*/ 710 w 10785"/>
                  <a:gd name="connsiteY2562" fmla="*/ 8940 h 10000"/>
                  <a:gd name="connsiteX2563" fmla="*/ 710 w 10785"/>
                  <a:gd name="connsiteY2563" fmla="*/ 9009 h 10000"/>
                  <a:gd name="connsiteX2564" fmla="*/ 728 w 10785"/>
                  <a:gd name="connsiteY2564" fmla="*/ 8991 h 10000"/>
                  <a:gd name="connsiteX2565" fmla="*/ 733 w 10785"/>
                  <a:gd name="connsiteY2565" fmla="*/ 8991 h 10000"/>
                  <a:gd name="connsiteX2566" fmla="*/ 747 w 10785"/>
                  <a:gd name="connsiteY2566" fmla="*/ 8983 h 10000"/>
                  <a:gd name="connsiteX2567" fmla="*/ 760 w 10785"/>
                  <a:gd name="connsiteY2567" fmla="*/ 8983 h 10000"/>
                  <a:gd name="connsiteX2568" fmla="*/ 770 w 10785"/>
                  <a:gd name="connsiteY2568" fmla="*/ 8983 h 10000"/>
                  <a:gd name="connsiteX2569" fmla="*/ 770 w 10785"/>
                  <a:gd name="connsiteY2569" fmla="*/ 8991 h 10000"/>
                  <a:gd name="connsiteX2570" fmla="*/ 783 w 10785"/>
                  <a:gd name="connsiteY2570" fmla="*/ 8991 h 10000"/>
                  <a:gd name="connsiteX2571" fmla="*/ 783 w 10785"/>
                  <a:gd name="connsiteY2571" fmla="*/ 9009 h 10000"/>
                  <a:gd name="connsiteX2572" fmla="*/ 783 w 10785"/>
                  <a:gd name="connsiteY2572" fmla="*/ 9017 h 10000"/>
                  <a:gd name="connsiteX2573" fmla="*/ 770 w 10785"/>
                  <a:gd name="connsiteY2573" fmla="*/ 9017 h 10000"/>
                  <a:gd name="connsiteX2574" fmla="*/ 724 w 10785"/>
                  <a:gd name="connsiteY2574" fmla="*/ 9051 h 10000"/>
                  <a:gd name="connsiteX2575" fmla="*/ 724 w 10785"/>
                  <a:gd name="connsiteY2575" fmla="*/ 9068 h 10000"/>
                  <a:gd name="connsiteX2576" fmla="*/ 728 w 10785"/>
                  <a:gd name="connsiteY2576" fmla="*/ 9077 h 10000"/>
                  <a:gd name="connsiteX2577" fmla="*/ 724 w 10785"/>
                  <a:gd name="connsiteY2577" fmla="*/ 9077 h 10000"/>
                  <a:gd name="connsiteX2578" fmla="*/ 710 w 10785"/>
                  <a:gd name="connsiteY2578" fmla="*/ 9077 h 10000"/>
                  <a:gd name="connsiteX2579" fmla="*/ 682 w 10785"/>
                  <a:gd name="connsiteY2579" fmla="*/ 9077 h 10000"/>
                  <a:gd name="connsiteX2580" fmla="*/ 673 w 10785"/>
                  <a:gd name="connsiteY2580" fmla="*/ 9103 h 10000"/>
                  <a:gd name="connsiteX2581" fmla="*/ 687 w 10785"/>
                  <a:gd name="connsiteY2581" fmla="*/ 9128 h 10000"/>
                  <a:gd name="connsiteX2582" fmla="*/ 700 w 10785"/>
                  <a:gd name="connsiteY2582" fmla="*/ 9128 h 10000"/>
                  <a:gd name="connsiteX2583" fmla="*/ 728 w 10785"/>
                  <a:gd name="connsiteY2583" fmla="*/ 9179 h 10000"/>
                  <a:gd name="connsiteX2584" fmla="*/ 724 w 10785"/>
                  <a:gd name="connsiteY2584" fmla="*/ 9188 h 10000"/>
                  <a:gd name="connsiteX2585" fmla="*/ 710 w 10785"/>
                  <a:gd name="connsiteY2585" fmla="*/ 9179 h 10000"/>
                  <a:gd name="connsiteX2586" fmla="*/ 700 w 10785"/>
                  <a:gd name="connsiteY2586" fmla="*/ 9205 h 10000"/>
                  <a:gd name="connsiteX2587" fmla="*/ 696 w 10785"/>
                  <a:gd name="connsiteY2587" fmla="*/ 9205 h 10000"/>
                  <a:gd name="connsiteX2588" fmla="*/ 654 w 10785"/>
                  <a:gd name="connsiteY2588" fmla="*/ 9299 h 10000"/>
                  <a:gd name="connsiteX2589" fmla="*/ 622 w 10785"/>
                  <a:gd name="connsiteY2589" fmla="*/ 9299 h 10000"/>
                  <a:gd name="connsiteX2590" fmla="*/ 613 w 10785"/>
                  <a:gd name="connsiteY2590" fmla="*/ 9316 h 10000"/>
                  <a:gd name="connsiteX2591" fmla="*/ 613 w 10785"/>
                  <a:gd name="connsiteY2591" fmla="*/ 9325 h 10000"/>
                  <a:gd name="connsiteX2592" fmla="*/ 608 w 10785"/>
                  <a:gd name="connsiteY2592" fmla="*/ 9342 h 10000"/>
                  <a:gd name="connsiteX2593" fmla="*/ 636 w 10785"/>
                  <a:gd name="connsiteY2593" fmla="*/ 9376 h 10000"/>
                  <a:gd name="connsiteX2594" fmla="*/ 641 w 10785"/>
                  <a:gd name="connsiteY2594" fmla="*/ 9402 h 10000"/>
                  <a:gd name="connsiteX2595" fmla="*/ 654 w 10785"/>
                  <a:gd name="connsiteY2595" fmla="*/ 9427 h 10000"/>
                  <a:gd name="connsiteX2596" fmla="*/ 668 w 10785"/>
                  <a:gd name="connsiteY2596" fmla="*/ 9427 h 10000"/>
                  <a:gd name="connsiteX2597" fmla="*/ 668 w 10785"/>
                  <a:gd name="connsiteY2597" fmla="*/ 9427 h 10000"/>
                  <a:gd name="connsiteX2598" fmla="*/ 774 w 10785"/>
                  <a:gd name="connsiteY2598" fmla="*/ 9547 h 10000"/>
                  <a:gd name="connsiteX2599" fmla="*/ 797 w 10785"/>
                  <a:gd name="connsiteY2599" fmla="*/ 9598 h 10000"/>
                  <a:gd name="connsiteX2600" fmla="*/ 802 w 10785"/>
                  <a:gd name="connsiteY2600" fmla="*/ 9598 h 10000"/>
                  <a:gd name="connsiteX2601" fmla="*/ 816 w 10785"/>
                  <a:gd name="connsiteY2601" fmla="*/ 9624 h 10000"/>
                  <a:gd name="connsiteX2602" fmla="*/ 843 w 10785"/>
                  <a:gd name="connsiteY2602" fmla="*/ 9615 h 10000"/>
                  <a:gd name="connsiteX2603" fmla="*/ 857 w 10785"/>
                  <a:gd name="connsiteY2603" fmla="*/ 9624 h 10000"/>
                  <a:gd name="connsiteX2604" fmla="*/ 862 w 10785"/>
                  <a:gd name="connsiteY2604" fmla="*/ 9615 h 10000"/>
                  <a:gd name="connsiteX2605" fmla="*/ 880 w 10785"/>
                  <a:gd name="connsiteY2605" fmla="*/ 9624 h 10000"/>
                  <a:gd name="connsiteX2606" fmla="*/ 889 w 10785"/>
                  <a:gd name="connsiteY2606" fmla="*/ 9641 h 10000"/>
                  <a:gd name="connsiteX2607" fmla="*/ 935 w 10785"/>
                  <a:gd name="connsiteY2607" fmla="*/ 9675 h 10000"/>
                  <a:gd name="connsiteX2608" fmla="*/ 977 w 10785"/>
                  <a:gd name="connsiteY2608" fmla="*/ 9667 h 10000"/>
                  <a:gd name="connsiteX2609" fmla="*/ 995 w 10785"/>
                  <a:gd name="connsiteY2609" fmla="*/ 9675 h 10000"/>
                  <a:gd name="connsiteX2610" fmla="*/ 1014 w 10785"/>
                  <a:gd name="connsiteY2610" fmla="*/ 9675 h 10000"/>
                  <a:gd name="connsiteX2611" fmla="*/ 1069 w 10785"/>
                  <a:gd name="connsiteY2611" fmla="*/ 9752 h 10000"/>
                  <a:gd name="connsiteX2612" fmla="*/ 1074 w 10785"/>
                  <a:gd name="connsiteY2612" fmla="*/ 9761 h 10000"/>
                  <a:gd name="connsiteX2613" fmla="*/ 1083 w 10785"/>
                  <a:gd name="connsiteY2613" fmla="*/ 9778 h 10000"/>
                  <a:gd name="connsiteX2614" fmla="*/ 1115 w 10785"/>
                  <a:gd name="connsiteY2614" fmla="*/ 9752 h 10000"/>
                  <a:gd name="connsiteX2615" fmla="*/ 1129 w 10785"/>
                  <a:gd name="connsiteY2615" fmla="*/ 9752 h 10000"/>
                  <a:gd name="connsiteX2616" fmla="*/ 1138 w 10785"/>
                  <a:gd name="connsiteY2616" fmla="*/ 9761 h 10000"/>
                  <a:gd name="connsiteX2617" fmla="*/ 1143 w 10785"/>
                  <a:gd name="connsiteY2617" fmla="*/ 9752 h 10000"/>
                  <a:gd name="connsiteX2618" fmla="*/ 1161 w 10785"/>
                  <a:gd name="connsiteY2618" fmla="*/ 9761 h 10000"/>
                  <a:gd name="connsiteX2619" fmla="*/ 1171 w 10785"/>
                  <a:gd name="connsiteY2619" fmla="*/ 9778 h 10000"/>
                  <a:gd name="connsiteX2620" fmla="*/ 1175 w 10785"/>
                  <a:gd name="connsiteY2620" fmla="*/ 9778 h 10000"/>
                  <a:gd name="connsiteX2621" fmla="*/ 1189 w 10785"/>
                  <a:gd name="connsiteY2621" fmla="*/ 9778 h 10000"/>
                  <a:gd name="connsiteX2622" fmla="*/ 1198 w 10785"/>
                  <a:gd name="connsiteY2622" fmla="*/ 9786 h 10000"/>
                  <a:gd name="connsiteX2623" fmla="*/ 1203 w 10785"/>
                  <a:gd name="connsiteY2623" fmla="*/ 9803 h 10000"/>
                  <a:gd name="connsiteX2624" fmla="*/ 1198 w 10785"/>
                  <a:gd name="connsiteY2624" fmla="*/ 9838 h 10000"/>
                  <a:gd name="connsiteX2625" fmla="*/ 1212 w 10785"/>
                  <a:gd name="connsiteY2625" fmla="*/ 9863 h 10000"/>
                  <a:gd name="connsiteX2626" fmla="*/ 1230 w 10785"/>
                  <a:gd name="connsiteY2626" fmla="*/ 9872 h 10000"/>
                  <a:gd name="connsiteX2627" fmla="*/ 1249 w 10785"/>
                  <a:gd name="connsiteY2627" fmla="*/ 9897 h 10000"/>
                  <a:gd name="connsiteX2628" fmla="*/ 1263 w 10785"/>
                  <a:gd name="connsiteY2628" fmla="*/ 9897 h 10000"/>
                  <a:gd name="connsiteX2629" fmla="*/ 1276 w 10785"/>
                  <a:gd name="connsiteY2629" fmla="*/ 9923 h 10000"/>
                  <a:gd name="connsiteX2630" fmla="*/ 1281 w 10785"/>
                  <a:gd name="connsiteY2630" fmla="*/ 9949 h 10000"/>
                  <a:gd name="connsiteX2631" fmla="*/ 1290 w 10785"/>
                  <a:gd name="connsiteY2631" fmla="*/ 9949 h 10000"/>
                  <a:gd name="connsiteX2632" fmla="*/ 1295 w 10785"/>
                  <a:gd name="connsiteY2632" fmla="*/ 10000 h 10000"/>
                  <a:gd name="connsiteX2633" fmla="*/ 1332 w 10785"/>
                  <a:gd name="connsiteY2633" fmla="*/ 10000 h 10000"/>
                  <a:gd name="connsiteX2634" fmla="*/ 1336 w 10785"/>
                  <a:gd name="connsiteY2634" fmla="*/ 10000 h 10000"/>
                  <a:gd name="connsiteX2635" fmla="*/ 1346 w 10785"/>
                  <a:gd name="connsiteY2635" fmla="*/ 9983 h 10000"/>
                  <a:gd name="connsiteX2636" fmla="*/ 1350 w 10785"/>
                  <a:gd name="connsiteY2636" fmla="*/ 9949 h 10000"/>
                  <a:gd name="connsiteX2637" fmla="*/ 1369 w 10785"/>
                  <a:gd name="connsiteY2637" fmla="*/ 9940 h 10000"/>
                  <a:gd name="connsiteX2638" fmla="*/ 1378 w 10785"/>
                  <a:gd name="connsiteY2638" fmla="*/ 9897 h 10000"/>
                  <a:gd name="connsiteX2639" fmla="*/ 1369 w 10785"/>
                  <a:gd name="connsiteY2639" fmla="*/ 9889 h 10000"/>
                  <a:gd name="connsiteX2640" fmla="*/ 1318 w 10785"/>
                  <a:gd name="connsiteY2640" fmla="*/ 9701 h 10000"/>
                  <a:gd name="connsiteX2641" fmla="*/ 1318 w 10785"/>
                  <a:gd name="connsiteY2641" fmla="*/ 9650 h 10000"/>
                  <a:gd name="connsiteX2642" fmla="*/ 1323 w 10785"/>
                  <a:gd name="connsiteY2642" fmla="*/ 9590 h 10000"/>
                  <a:gd name="connsiteX2643" fmla="*/ 1323 w 10785"/>
                  <a:gd name="connsiteY2643" fmla="*/ 9564 h 10000"/>
                  <a:gd name="connsiteX2644" fmla="*/ 1309 w 10785"/>
                  <a:gd name="connsiteY2644" fmla="*/ 9598 h 10000"/>
                  <a:gd name="connsiteX2645" fmla="*/ 1309 w 10785"/>
                  <a:gd name="connsiteY2645" fmla="*/ 9590 h 10000"/>
                  <a:gd name="connsiteX2646" fmla="*/ 1304 w 10785"/>
                  <a:gd name="connsiteY2646" fmla="*/ 9547 h 10000"/>
                  <a:gd name="connsiteX2647" fmla="*/ 1276 w 10785"/>
                  <a:gd name="connsiteY2647" fmla="*/ 9479 h 10000"/>
                  <a:gd name="connsiteX2648" fmla="*/ 1263 w 10785"/>
                  <a:gd name="connsiteY2648" fmla="*/ 9479 h 10000"/>
                  <a:gd name="connsiteX2649" fmla="*/ 1263 w 10785"/>
                  <a:gd name="connsiteY2649" fmla="*/ 9453 h 10000"/>
                  <a:gd name="connsiteX2650" fmla="*/ 1272 w 10785"/>
                  <a:gd name="connsiteY2650" fmla="*/ 9410 h 10000"/>
                  <a:gd name="connsiteX2651" fmla="*/ 1272 w 10785"/>
                  <a:gd name="connsiteY2651" fmla="*/ 9393 h 10000"/>
                  <a:gd name="connsiteX2652" fmla="*/ 1281 w 10785"/>
                  <a:gd name="connsiteY2652" fmla="*/ 9368 h 10000"/>
                  <a:gd name="connsiteX2653" fmla="*/ 1281 w 10785"/>
                  <a:gd name="connsiteY2653" fmla="*/ 9368 h 10000"/>
                  <a:gd name="connsiteX2654" fmla="*/ 1290 w 10785"/>
                  <a:gd name="connsiteY2654" fmla="*/ 9368 h 10000"/>
                  <a:gd name="connsiteX2655" fmla="*/ 1290 w 10785"/>
                  <a:gd name="connsiteY2655" fmla="*/ 9342 h 10000"/>
                  <a:gd name="connsiteX2656" fmla="*/ 1304 w 10785"/>
                  <a:gd name="connsiteY2656" fmla="*/ 9325 h 10000"/>
                  <a:gd name="connsiteX2657" fmla="*/ 1309 w 10785"/>
                  <a:gd name="connsiteY2657" fmla="*/ 9239 h 10000"/>
                  <a:gd name="connsiteX2658" fmla="*/ 1318 w 10785"/>
                  <a:gd name="connsiteY2658" fmla="*/ 9256 h 10000"/>
                  <a:gd name="connsiteX2659" fmla="*/ 1323 w 10785"/>
                  <a:gd name="connsiteY2659" fmla="*/ 9179 h 10000"/>
                  <a:gd name="connsiteX2660" fmla="*/ 1309 w 10785"/>
                  <a:gd name="connsiteY2660" fmla="*/ 9145 h 10000"/>
                  <a:gd name="connsiteX2661" fmla="*/ 1336 w 10785"/>
                  <a:gd name="connsiteY2661" fmla="*/ 9154 h 10000"/>
                  <a:gd name="connsiteX2662" fmla="*/ 1336 w 10785"/>
                  <a:gd name="connsiteY2662" fmla="*/ 9162 h 10000"/>
                  <a:gd name="connsiteX2663" fmla="*/ 1350 w 10785"/>
                  <a:gd name="connsiteY2663" fmla="*/ 9231 h 10000"/>
                  <a:gd name="connsiteX2664" fmla="*/ 1355 w 10785"/>
                  <a:gd name="connsiteY2664" fmla="*/ 9231 h 10000"/>
                  <a:gd name="connsiteX2665" fmla="*/ 1364 w 10785"/>
                  <a:gd name="connsiteY2665" fmla="*/ 9214 h 10000"/>
                  <a:gd name="connsiteX2666" fmla="*/ 1369 w 10785"/>
                  <a:gd name="connsiteY2666" fmla="*/ 9214 h 10000"/>
                  <a:gd name="connsiteX2667" fmla="*/ 1382 w 10785"/>
                  <a:gd name="connsiteY2667" fmla="*/ 9154 h 10000"/>
                  <a:gd name="connsiteX2668" fmla="*/ 1396 w 10785"/>
                  <a:gd name="connsiteY2668" fmla="*/ 9154 h 10000"/>
                  <a:gd name="connsiteX2669" fmla="*/ 1382 w 10785"/>
                  <a:gd name="connsiteY2669" fmla="*/ 9145 h 10000"/>
                  <a:gd name="connsiteX2670" fmla="*/ 1382 w 10785"/>
                  <a:gd name="connsiteY2670" fmla="*/ 9128 h 10000"/>
                  <a:gd name="connsiteX2671" fmla="*/ 1369 w 10785"/>
                  <a:gd name="connsiteY2671" fmla="*/ 9128 h 10000"/>
                  <a:gd name="connsiteX2672" fmla="*/ 1364 w 10785"/>
                  <a:gd name="connsiteY2672" fmla="*/ 9128 h 10000"/>
                  <a:gd name="connsiteX2673" fmla="*/ 1355 w 10785"/>
                  <a:gd name="connsiteY2673" fmla="*/ 9120 h 10000"/>
                  <a:gd name="connsiteX2674" fmla="*/ 1350 w 10785"/>
                  <a:gd name="connsiteY2674" fmla="*/ 9103 h 10000"/>
                  <a:gd name="connsiteX2675" fmla="*/ 1355 w 10785"/>
                  <a:gd name="connsiteY2675" fmla="*/ 9094 h 10000"/>
                  <a:gd name="connsiteX2676" fmla="*/ 1355 w 10785"/>
                  <a:gd name="connsiteY2676" fmla="*/ 9068 h 10000"/>
                  <a:gd name="connsiteX2677" fmla="*/ 1369 w 10785"/>
                  <a:gd name="connsiteY2677" fmla="*/ 9068 h 10000"/>
                  <a:gd name="connsiteX2678" fmla="*/ 1378 w 10785"/>
                  <a:gd name="connsiteY2678" fmla="*/ 9077 h 10000"/>
                  <a:gd name="connsiteX2679" fmla="*/ 1396 w 10785"/>
                  <a:gd name="connsiteY2679" fmla="*/ 9068 h 10000"/>
                  <a:gd name="connsiteX2680" fmla="*/ 1382 w 10785"/>
                  <a:gd name="connsiteY2680" fmla="*/ 8940 h 10000"/>
                  <a:gd name="connsiteX2681" fmla="*/ 1378 w 10785"/>
                  <a:gd name="connsiteY2681" fmla="*/ 8940 h 10000"/>
                  <a:gd name="connsiteX2682" fmla="*/ 1364 w 10785"/>
                  <a:gd name="connsiteY2682" fmla="*/ 8889 h 10000"/>
                  <a:gd name="connsiteX2683" fmla="*/ 1355 w 10785"/>
                  <a:gd name="connsiteY2683" fmla="*/ 8880 h 10000"/>
                  <a:gd name="connsiteX2684" fmla="*/ 1323 w 10785"/>
                  <a:gd name="connsiteY2684" fmla="*/ 8880 h 10000"/>
                  <a:gd name="connsiteX2685" fmla="*/ 1309 w 10785"/>
                  <a:gd name="connsiteY2685" fmla="*/ 8880 h 10000"/>
                  <a:gd name="connsiteX2686" fmla="*/ 1309 w 10785"/>
                  <a:gd name="connsiteY2686" fmla="*/ 8889 h 10000"/>
                  <a:gd name="connsiteX2687" fmla="*/ 1295 w 10785"/>
                  <a:gd name="connsiteY2687" fmla="*/ 8872 h 10000"/>
                  <a:gd name="connsiteX2688" fmla="*/ 1290 w 10785"/>
                  <a:gd name="connsiteY2688" fmla="*/ 8855 h 10000"/>
                  <a:gd name="connsiteX2689" fmla="*/ 1290 w 10785"/>
                  <a:gd name="connsiteY2689" fmla="*/ 8829 h 10000"/>
                  <a:gd name="connsiteX2690" fmla="*/ 1290 w 10785"/>
                  <a:gd name="connsiteY2690" fmla="*/ 8821 h 10000"/>
                  <a:gd name="connsiteX2691" fmla="*/ 1290 w 10785"/>
                  <a:gd name="connsiteY2691" fmla="*/ 8803 h 10000"/>
                  <a:gd name="connsiteX2692" fmla="*/ 1281 w 10785"/>
                  <a:gd name="connsiteY2692" fmla="*/ 8795 h 10000"/>
                  <a:gd name="connsiteX2693" fmla="*/ 1249 w 10785"/>
                  <a:gd name="connsiteY2693" fmla="*/ 8769 h 10000"/>
                  <a:gd name="connsiteX2694" fmla="*/ 1263 w 10785"/>
                  <a:gd name="connsiteY2694" fmla="*/ 8667 h 10000"/>
                  <a:gd name="connsiteX2695" fmla="*/ 1281 w 10785"/>
                  <a:gd name="connsiteY2695" fmla="*/ 8658 h 10000"/>
                  <a:gd name="connsiteX2696" fmla="*/ 1290 w 10785"/>
                  <a:gd name="connsiteY2696" fmla="*/ 8632 h 10000"/>
                  <a:gd name="connsiteX2697" fmla="*/ 1281 w 10785"/>
                  <a:gd name="connsiteY2697" fmla="*/ 8615 h 10000"/>
                  <a:gd name="connsiteX2698" fmla="*/ 1272 w 10785"/>
                  <a:gd name="connsiteY2698" fmla="*/ 8598 h 10000"/>
                  <a:gd name="connsiteX2699" fmla="*/ 1281 w 10785"/>
                  <a:gd name="connsiteY2699" fmla="*/ 8496 h 10000"/>
                  <a:gd name="connsiteX2700" fmla="*/ 1295 w 10785"/>
                  <a:gd name="connsiteY2700" fmla="*/ 8470 h 10000"/>
                  <a:gd name="connsiteX2701" fmla="*/ 1304 w 10785"/>
                  <a:gd name="connsiteY2701" fmla="*/ 8462 h 10000"/>
                  <a:gd name="connsiteX2702" fmla="*/ 1304 w 10785"/>
                  <a:gd name="connsiteY2702" fmla="*/ 8444 h 10000"/>
                  <a:gd name="connsiteX2703" fmla="*/ 1304 w 10785"/>
                  <a:gd name="connsiteY2703" fmla="*/ 8419 h 10000"/>
                  <a:gd name="connsiteX2704" fmla="*/ 1304 w 10785"/>
                  <a:gd name="connsiteY2704" fmla="*/ 8410 h 10000"/>
                  <a:gd name="connsiteX2705" fmla="*/ 1309 w 10785"/>
                  <a:gd name="connsiteY2705" fmla="*/ 8393 h 10000"/>
                  <a:gd name="connsiteX2706" fmla="*/ 1318 w 10785"/>
                  <a:gd name="connsiteY2706" fmla="*/ 8385 h 10000"/>
                  <a:gd name="connsiteX2707" fmla="*/ 1323 w 10785"/>
                  <a:gd name="connsiteY2707" fmla="*/ 8385 h 10000"/>
                  <a:gd name="connsiteX2708" fmla="*/ 1332 w 10785"/>
                  <a:gd name="connsiteY2708" fmla="*/ 8410 h 10000"/>
                  <a:gd name="connsiteX2709" fmla="*/ 1346 w 10785"/>
                  <a:gd name="connsiteY2709" fmla="*/ 8419 h 10000"/>
                  <a:gd name="connsiteX2710" fmla="*/ 1364 w 10785"/>
                  <a:gd name="connsiteY2710" fmla="*/ 8504 h 10000"/>
                  <a:gd name="connsiteX2711" fmla="*/ 1369 w 10785"/>
                  <a:gd name="connsiteY2711" fmla="*/ 8521 h 10000"/>
                  <a:gd name="connsiteX2712" fmla="*/ 1406 w 10785"/>
                  <a:gd name="connsiteY2712" fmla="*/ 8470 h 10000"/>
                  <a:gd name="connsiteX2713" fmla="*/ 1382 w 10785"/>
                  <a:gd name="connsiteY2713" fmla="*/ 8359 h 10000"/>
                  <a:gd name="connsiteX2714" fmla="*/ 1392 w 10785"/>
                  <a:gd name="connsiteY2714" fmla="*/ 8359 h 10000"/>
                  <a:gd name="connsiteX2715" fmla="*/ 1438 w 10785"/>
                  <a:gd name="connsiteY2715" fmla="*/ 8308 h 10000"/>
                  <a:gd name="connsiteX2716" fmla="*/ 1442 w 10785"/>
                  <a:gd name="connsiteY2716" fmla="*/ 8299 h 10000"/>
                  <a:gd name="connsiteX2717" fmla="*/ 1442 w 10785"/>
                  <a:gd name="connsiteY2717" fmla="*/ 8256 h 10000"/>
                  <a:gd name="connsiteX2718" fmla="*/ 1452 w 10785"/>
                  <a:gd name="connsiteY2718" fmla="*/ 8256 h 10000"/>
                  <a:gd name="connsiteX2719" fmla="*/ 1456 w 10785"/>
                  <a:gd name="connsiteY2719" fmla="*/ 8256 h 10000"/>
                  <a:gd name="connsiteX2720" fmla="*/ 1470 w 10785"/>
                  <a:gd name="connsiteY2720" fmla="*/ 8248 h 10000"/>
                  <a:gd name="connsiteX2721" fmla="*/ 1479 w 10785"/>
                  <a:gd name="connsiteY2721" fmla="*/ 8231 h 10000"/>
                  <a:gd name="connsiteX2722" fmla="*/ 1493 w 10785"/>
                  <a:gd name="connsiteY2722" fmla="*/ 8222 h 10000"/>
                  <a:gd name="connsiteX2723" fmla="*/ 1498 w 10785"/>
                  <a:gd name="connsiteY2723" fmla="*/ 8214 h 10000"/>
                  <a:gd name="connsiteX2724" fmla="*/ 1502 w 10785"/>
                  <a:gd name="connsiteY2724" fmla="*/ 8197 h 10000"/>
                  <a:gd name="connsiteX2725" fmla="*/ 1512 w 10785"/>
                  <a:gd name="connsiteY2725" fmla="*/ 8188 h 10000"/>
                  <a:gd name="connsiteX2726" fmla="*/ 1516 w 10785"/>
                  <a:gd name="connsiteY2726" fmla="*/ 8171 h 10000"/>
                  <a:gd name="connsiteX2727" fmla="*/ 1525 w 10785"/>
                  <a:gd name="connsiteY2727" fmla="*/ 8162 h 10000"/>
                  <a:gd name="connsiteX2728" fmla="*/ 1539 w 10785"/>
                  <a:gd name="connsiteY2728" fmla="*/ 8145 h 10000"/>
                  <a:gd name="connsiteX2729" fmla="*/ 1558 w 10785"/>
                  <a:gd name="connsiteY2729" fmla="*/ 8145 h 10000"/>
                  <a:gd name="connsiteX2730" fmla="*/ 1562 w 10785"/>
                  <a:gd name="connsiteY2730" fmla="*/ 8188 h 10000"/>
                  <a:gd name="connsiteX2731" fmla="*/ 1585 w 10785"/>
                  <a:gd name="connsiteY2731" fmla="*/ 8171 h 10000"/>
                  <a:gd name="connsiteX2732" fmla="*/ 1590 w 10785"/>
                  <a:gd name="connsiteY2732" fmla="*/ 8188 h 10000"/>
                  <a:gd name="connsiteX2733" fmla="*/ 1599 w 10785"/>
                  <a:gd name="connsiteY2733" fmla="*/ 8171 h 10000"/>
                  <a:gd name="connsiteX2734" fmla="*/ 1599 w 10785"/>
                  <a:gd name="connsiteY2734" fmla="*/ 8162 h 10000"/>
                  <a:gd name="connsiteX2735" fmla="*/ 1604 w 10785"/>
                  <a:gd name="connsiteY2735" fmla="*/ 8137 h 10000"/>
                  <a:gd name="connsiteX2736" fmla="*/ 1618 w 10785"/>
                  <a:gd name="connsiteY2736" fmla="*/ 8145 h 10000"/>
                  <a:gd name="connsiteX2737" fmla="*/ 1627 w 10785"/>
                  <a:gd name="connsiteY2737" fmla="*/ 8137 h 10000"/>
                  <a:gd name="connsiteX2738" fmla="*/ 1631 w 10785"/>
                  <a:gd name="connsiteY2738" fmla="*/ 8137 h 10000"/>
                  <a:gd name="connsiteX2739" fmla="*/ 1636 w 10785"/>
                  <a:gd name="connsiteY2739" fmla="*/ 8171 h 10000"/>
                  <a:gd name="connsiteX2740" fmla="*/ 1645 w 10785"/>
                  <a:gd name="connsiteY2740" fmla="*/ 8188 h 10000"/>
                  <a:gd name="connsiteX2741" fmla="*/ 1664 w 10785"/>
                  <a:gd name="connsiteY2741" fmla="*/ 8171 h 10000"/>
                  <a:gd name="connsiteX2742" fmla="*/ 1673 w 10785"/>
                  <a:gd name="connsiteY2742" fmla="*/ 8188 h 10000"/>
                  <a:gd name="connsiteX2743" fmla="*/ 1691 w 10785"/>
                  <a:gd name="connsiteY2743" fmla="*/ 8171 h 10000"/>
                  <a:gd name="connsiteX2744" fmla="*/ 1705 w 10785"/>
                  <a:gd name="connsiteY2744" fmla="*/ 8171 h 10000"/>
                  <a:gd name="connsiteX2745" fmla="*/ 1719 w 10785"/>
                  <a:gd name="connsiteY2745" fmla="*/ 8197 h 10000"/>
                  <a:gd name="connsiteX2746" fmla="*/ 1724 w 10785"/>
                  <a:gd name="connsiteY2746" fmla="*/ 8231 h 10000"/>
                  <a:gd name="connsiteX2747" fmla="*/ 1751 w 10785"/>
                  <a:gd name="connsiteY2747" fmla="*/ 8256 h 10000"/>
                  <a:gd name="connsiteX2748" fmla="*/ 1751 w 10785"/>
                  <a:gd name="connsiteY2748" fmla="*/ 8274 h 10000"/>
                  <a:gd name="connsiteX2749" fmla="*/ 1760 w 10785"/>
                  <a:gd name="connsiteY2749" fmla="*/ 8282 h 10000"/>
                  <a:gd name="connsiteX2750" fmla="*/ 1770 w 10785"/>
                  <a:gd name="connsiteY2750" fmla="*/ 8325 h 10000"/>
                  <a:gd name="connsiteX2751" fmla="*/ 1770 w 10785"/>
                  <a:gd name="connsiteY2751" fmla="*/ 8350 h 10000"/>
                  <a:gd name="connsiteX2752" fmla="*/ 1779 w 10785"/>
                  <a:gd name="connsiteY2752" fmla="*/ 8368 h 10000"/>
                  <a:gd name="connsiteX2753" fmla="*/ 1783 w 10785"/>
                  <a:gd name="connsiteY2753" fmla="*/ 8359 h 10000"/>
                  <a:gd name="connsiteX2754" fmla="*/ 1783 w 10785"/>
                  <a:gd name="connsiteY2754" fmla="*/ 8308 h 10000"/>
                  <a:gd name="connsiteX2755" fmla="*/ 1779 w 10785"/>
                  <a:gd name="connsiteY2755" fmla="*/ 8299 h 10000"/>
                  <a:gd name="connsiteX2756" fmla="*/ 1783 w 10785"/>
                  <a:gd name="connsiteY2756" fmla="*/ 8282 h 10000"/>
                  <a:gd name="connsiteX2757" fmla="*/ 1797 w 10785"/>
                  <a:gd name="connsiteY2757" fmla="*/ 8274 h 10000"/>
                  <a:gd name="connsiteX2758" fmla="*/ 1797 w 10785"/>
                  <a:gd name="connsiteY2758" fmla="*/ 8299 h 10000"/>
                  <a:gd name="connsiteX2759" fmla="*/ 1806 w 10785"/>
                  <a:gd name="connsiteY2759" fmla="*/ 8308 h 10000"/>
                  <a:gd name="connsiteX2760" fmla="*/ 1811 w 10785"/>
                  <a:gd name="connsiteY2760" fmla="*/ 8325 h 10000"/>
                  <a:gd name="connsiteX2761" fmla="*/ 1820 w 10785"/>
                  <a:gd name="connsiteY2761" fmla="*/ 8333 h 10000"/>
                  <a:gd name="connsiteX2762" fmla="*/ 1853 w 10785"/>
                  <a:gd name="connsiteY2762" fmla="*/ 8359 h 10000"/>
                  <a:gd name="connsiteX2763" fmla="*/ 1866 w 10785"/>
                  <a:gd name="connsiteY2763" fmla="*/ 8359 h 10000"/>
                  <a:gd name="connsiteX2764" fmla="*/ 1885 w 10785"/>
                  <a:gd name="connsiteY2764" fmla="*/ 8325 h 10000"/>
                  <a:gd name="connsiteX2765" fmla="*/ 1885 w 10785"/>
                  <a:gd name="connsiteY2765" fmla="*/ 8308 h 10000"/>
                  <a:gd name="connsiteX2766" fmla="*/ 1894 w 10785"/>
                  <a:gd name="connsiteY2766" fmla="*/ 8299 h 10000"/>
                  <a:gd name="connsiteX2767" fmla="*/ 1899 w 10785"/>
                  <a:gd name="connsiteY2767" fmla="*/ 8282 h 10000"/>
                  <a:gd name="connsiteX2768" fmla="*/ 1912 w 10785"/>
                  <a:gd name="connsiteY2768" fmla="*/ 8282 h 10000"/>
                  <a:gd name="connsiteX2769" fmla="*/ 1917 w 10785"/>
                  <a:gd name="connsiteY2769" fmla="*/ 8299 h 10000"/>
                  <a:gd name="connsiteX2770" fmla="*/ 1917 w 10785"/>
                  <a:gd name="connsiteY2770" fmla="*/ 8274 h 10000"/>
                  <a:gd name="connsiteX2771" fmla="*/ 1940 w 10785"/>
                  <a:gd name="connsiteY2771" fmla="*/ 8282 h 10000"/>
                  <a:gd name="connsiteX2772" fmla="*/ 1945 w 10785"/>
                  <a:gd name="connsiteY2772" fmla="*/ 8274 h 10000"/>
                  <a:gd name="connsiteX2773" fmla="*/ 1972 w 10785"/>
                  <a:gd name="connsiteY2773" fmla="*/ 8308 h 10000"/>
                  <a:gd name="connsiteX2774" fmla="*/ 1986 w 10785"/>
                  <a:gd name="connsiteY2774" fmla="*/ 8282 h 10000"/>
                  <a:gd name="connsiteX2775" fmla="*/ 1991 w 10785"/>
                  <a:gd name="connsiteY2775" fmla="*/ 8274 h 10000"/>
                  <a:gd name="connsiteX2776" fmla="*/ 2014 w 10785"/>
                  <a:gd name="connsiteY2776" fmla="*/ 8274 h 10000"/>
                  <a:gd name="connsiteX2777" fmla="*/ 2018 w 10785"/>
                  <a:gd name="connsiteY2777" fmla="*/ 8256 h 10000"/>
                  <a:gd name="connsiteX2778" fmla="*/ 2041 w 10785"/>
                  <a:gd name="connsiteY2778" fmla="*/ 8274 h 10000"/>
                  <a:gd name="connsiteX2779" fmla="*/ 2046 w 10785"/>
                  <a:gd name="connsiteY2779" fmla="*/ 8282 h 10000"/>
                  <a:gd name="connsiteX2780" fmla="*/ 2046 w 10785"/>
                  <a:gd name="connsiteY2780" fmla="*/ 8325 h 10000"/>
                  <a:gd name="connsiteX2781" fmla="*/ 2060 w 10785"/>
                  <a:gd name="connsiteY2781" fmla="*/ 8350 h 10000"/>
                  <a:gd name="connsiteX2782" fmla="*/ 2078 w 10785"/>
                  <a:gd name="connsiteY2782" fmla="*/ 8350 h 10000"/>
                  <a:gd name="connsiteX2783" fmla="*/ 2092 w 10785"/>
                  <a:gd name="connsiteY2783" fmla="*/ 8350 h 10000"/>
                  <a:gd name="connsiteX2784" fmla="*/ 2092 w 10785"/>
                  <a:gd name="connsiteY2784" fmla="*/ 8350 h 10000"/>
                  <a:gd name="connsiteX2785" fmla="*/ 2101 w 10785"/>
                  <a:gd name="connsiteY2785" fmla="*/ 8368 h 10000"/>
                  <a:gd name="connsiteX2786" fmla="*/ 2120 w 10785"/>
                  <a:gd name="connsiteY2786" fmla="*/ 8368 h 10000"/>
                  <a:gd name="connsiteX2787" fmla="*/ 2124 w 10785"/>
                  <a:gd name="connsiteY2787" fmla="*/ 8359 h 10000"/>
                  <a:gd name="connsiteX2788" fmla="*/ 2138 w 10785"/>
                  <a:gd name="connsiteY2788" fmla="*/ 8325 h 10000"/>
                  <a:gd name="connsiteX2789" fmla="*/ 2147 w 10785"/>
                  <a:gd name="connsiteY2789" fmla="*/ 8325 h 10000"/>
                  <a:gd name="connsiteX2790" fmla="*/ 2161 w 10785"/>
                  <a:gd name="connsiteY2790" fmla="*/ 8350 h 10000"/>
                  <a:gd name="connsiteX2791" fmla="*/ 2198 w 10785"/>
                  <a:gd name="connsiteY2791" fmla="*/ 8350 h 10000"/>
                  <a:gd name="connsiteX2792" fmla="*/ 2207 w 10785"/>
                  <a:gd name="connsiteY2792" fmla="*/ 8333 h 10000"/>
                  <a:gd name="connsiteX2793" fmla="*/ 2226 w 10785"/>
                  <a:gd name="connsiteY2793" fmla="*/ 8325 h 10000"/>
                  <a:gd name="connsiteX2794" fmla="*/ 2249 w 10785"/>
                  <a:gd name="connsiteY2794" fmla="*/ 8222 h 10000"/>
                  <a:gd name="connsiteX2795" fmla="*/ 2235 w 10785"/>
                  <a:gd name="connsiteY2795" fmla="*/ 8197 h 10000"/>
                  <a:gd name="connsiteX2796" fmla="*/ 2198 w 10785"/>
                  <a:gd name="connsiteY2796" fmla="*/ 8197 h 10000"/>
                  <a:gd name="connsiteX2797" fmla="*/ 2189 w 10785"/>
                  <a:gd name="connsiteY2797" fmla="*/ 8171 h 10000"/>
                  <a:gd name="connsiteX2798" fmla="*/ 2161 w 10785"/>
                  <a:gd name="connsiteY2798" fmla="*/ 8145 h 10000"/>
                  <a:gd name="connsiteX2799" fmla="*/ 2161 w 10785"/>
                  <a:gd name="connsiteY2799" fmla="*/ 8137 h 10000"/>
                  <a:gd name="connsiteX2800" fmla="*/ 2152 w 10785"/>
                  <a:gd name="connsiteY2800" fmla="*/ 8120 h 10000"/>
                  <a:gd name="connsiteX2801" fmla="*/ 2138 w 10785"/>
                  <a:gd name="connsiteY2801" fmla="*/ 8111 h 10000"/>
                  <a:gd name="connsiteX2802" fmla="*/ 2138 w 10785"/>
                  <a:gd name="connsiteY2802" fmla="*/ 8094 h 10000"/>
                  <a:gd name="connsiteX2803" fmla="*/ 2147 w 10785"/>
                  <a:gd name="connsiteY2803" fmla="*/ 8085 h 10000"/>
                  <a:gd name="connsiteX2804" fmla="*/ 2161 w 10785"/>
                  <a:gd name="connsiteY2804" fmla="*/ 8060 h 10000"/>
                  <a:gd name="connsiteX2805" fmla="*/ 2198 w 10785"/>
                  <a:gd name="connsiteY2805" fmla="*/ 8034 h 10000"/>
                  <a:gd name="connsiteX2806" fmla="*/ 2198 w 10785"/>
                  <a:gd name="connsiteY2806" fmla="*/ 8026 h 10000"/>
                  <a:gd name="connsiteX2807" fmla="*/ 2198 w 10785"/>
                  <a:gd name="connsiteY2807" fmla="*/ 8000 h 10000"/>
                  <a:gd name="connsiteX2808" fmla="*/ 2180 w 10785"/>
                  <a:gd name="connsiteY2808" fmla="*/ 7940 h 10000"/>
                  <a:gd name="connsiteX2809" fmla="*/ 2189 w 10785"/>
                  <a:gd name="connsiteY2809" fmla="*/ 7940 h 10000"/>
                  <a:gd name="connsiteX2810" fmla="*/ 2198 w 10785"/>
                  <a:gd name="connsiteY2810" fmla="*/ 7923 h 10000"/>
                  <a:gd name="connsiteX2811" fmla="*/ 2198 w 10785"/>
                  <a:gd name="connsiteY2811" fmla="*/ 7897 h 10000"/>
                  <a:gd name="connsiteX2812" fmla="*/ 2207 w 10785"/>
                  <a:gd name="connsiteY2812" fmla="*/ 7889 h 10000"/>
                  <a:gd name="connsiteX2813" fmla="*/ 2221 w 10785"/>
                  <a:gd name="connsiteY2813" fmla="*/ 7889 h 10000"/>
                  <a:gd name="connsiteX2814" fmla="*/ 2226 w 10785"/>
                  <a:gd name="connsiteY2814" fmla="*/ 7897 h 10000"/>
                  <a:gd name="connsiteX2815" fmla="*/ 2235 w 10785"/>
                  <a:gd name="connsiteY2815" fmla="*/ 7889 h 10000"/>
                  <a:gd name="connsiteX2816" fmla="*/ 2249 w 10785"/>
                  <a:gd name="connsiteY2816" fmla="*/ 7897 h 10000"/>
                  <a:gd name="connsiteX2817" fmla="*/ 2267 w 10785"/>
                  <a:gd name="connsiteY2817" fmla="*/ 7897 h 10000"/>
                  <a:gd name="connsiteX2818" fmla="*/ 2272 w 10785"/>
                  <a:gd name="connsiteY2818" fmla="*/ 7889 h 10000"/>
                  <a:gd name="connsiteX2819" fmla="*/ 2281 w 10785"/>
                  <a:gd name="connsiteY2819" fmla="*/ 7872 h 10000"/>
                  <a:gd name="connsiteX2820" fmla="*/ 2272 w 10785"/>
                  <a:gd name="connsiteY2820" fmla="*/ 7846 h 10000"/>
                  <a:gd name="connsiteX2821" fmla="*/ 2253 w 10785"/>
                  <a:gd name="connsiteY2821" fmla="*/ 7838 h 10000"/>
                  <a:gd name="connsiteX2822" fmla="*/ 2221 w 10785"/>
                  <a:gd name="connsiteY2822" fmla="*/ 7821 h 10000"/>
                  <a:gd name="connsiteX2823" fmla="*/ 2212 w 10785"/>
                  <a:gd name="connsiteY2823" fmla="*/ 7812 h 10000"/>
                  <a:gd name="connsiteX2824" fmla="*/ 2212 w 10785"/>
                  <a:gd name="connsiteY2824" fmla="*/ 7803 h 10000"/>
                  <a:gd name="connsiteX2825" fmla="*/ 2221 w 10785"/>
                  <a:gd name="connsiteY2825" fmla="*/ 7803 h 10000"/>
                  <a:gd name="connsiteX2826" fmla="*/ 2235 w 10785"/>
                  <a:gd name="connsiteY2826" fmla="*/ 7786 h 10000"/>
                  <a:gd name="connsiteX2827" fmla="*/ 2240 w 10785"/>
                  <a:gd name="connsiteY2827" fmla="*/ 7778 h 10000"/>
                  <a:gd name="connsiteX2828" fmla="*/ 2226 w 10785"/>
                  <a:gd name="connsiteY2828" fmla="*/ 7761 h 10000"/>
                  <a:gd name="connsiteX2829" fmla="*/ 2221 w 10785"/>
                  <a:gd name="connsiteY2829" fmla="*/ 7778 h 10000"/>
                  <a:gd name="connsiteX2830" fmla="*/ 2198 w 10785"/>
                  <a:gd name="connsiteY2830" fmla="*/ 7778 h 10000"/>
                  <a:gd name="connsiteX2831" fmla="*/ 2198 w 10785"/>
                  <a:gd name="connsiteY2831" fmla="*/ 7752 h 10000"/>
                  <a:gd name="connsiteX2832" fmla="*/ 2207 w 10785"/>
                  <a:gd name="connsiteY2832" fmla="*/ 7735 h 10000"/>
                  <a:gd name="connsiteX2833" fmla="*/ 2212 w 10785"/>
                  <a:gd name="connsiteY2833" fmla="*/ 7726 h 10000"/>
                  <a:gd name="connsiteX2834" fmla="*/ 2198 w 10785"/>
                  <a:gd name="connsiteY2834" fmla="*/ 7692 h 10000"/>
                  <a:gd name="connsiteX2835" fmla="*/ 2221 w 10785"/>
                  <a:gd name="connsiteY2835" fmla="*/ 7692 h 10000"/>
                  <a:gd name="connsiteX2836" fmla="*/ 2221 w 10785"/>
                  <a:gd name="connsiteY2836" fmla="*/ 7675 h 10000"/>
                  <a:gd name="connsiteX2837" fmla="*/ 2235 w 10785"/>
                  <a:gd name="connsiteY2837" fmla="*/ 7675 h 10000"/>
                  <a:gd name="connsiteX2838" fmla="*/ 2240 w 10785"/>
                  <a:gd name="connsiteY2838" fmla="*/ 7692 h 10000"/>
                  <a:gd name="connsiteX2839" fmla="*/ 2249 w 10785"/>
                  <a:gd name="connsiteY2839" fmla="*/ 7692 h 10000"/>
                  <a:gd name="connsiteX2840" fmla="*/ 2258 w 10785"/>
                  <a:gd name="connsiteY2840" fmla="*/ 7692 h 10000"/>
                  <a:gd name="connsiteX2841" fmla="*/ 2267 w 10785"/>
                  <a:gd name="connsiteY2841" fmla="*/ 7692 h 10000"/>
                  <a:gd name="connsiteX2842" fmla="*/ 2295 w 10785"/>
                  <a:gd name="connsiteY2842" fmla="*/ 7692 h 10000"/>
                  <a:gd name="connsiteX2843" fmla="*/ 2300 w 10785"/>
                  <a:gd name="connsiteY2843" fmla="*/ 7701 h 10000"/>
                  <a:gd name="connsiteX2844" fmla="*/ 2313 w 10785"/>
                  <a:gd name="connsiteY2844" fmla="*/ 7675 h 10000"/>
                  <a:gd name="connsiteX2845" fmla="*/ 2323 w 10785"/>
                  <a:gd name="connsiteY2845" fmla="*/ 7675 h 10000"/>
                  <a:gd name="connsiteX2846" fmla="*/ 2341 w 10785"/>
                  <a:gd name="connsiteY2846" fmla="*/ 7675 h 10000"/>
                  <a:gd name="connsiteX2847" fmla="*/ 2346 w 10785"/>
                  <a:gd name="connsiteY2847" fmla="*/ 7667 h 10000"/>
                  <a:gd name="connsiteX2848" fmla="*/ 2359 w 10785"/>
                  <a:gd name="connsiteY2848" fmla="*/ 7650 h 10000"/>
                  <a:gd name="connsiteX2849" fmla="*/ 2373 w 10785"/>
                  <a:gd name="connsiteY2849" fmla="*/ 7624 h 10000"/>
                  <a:gd name="connsiteX2850" fmla="*/ 2382 w 10785"/>
                  <a:gd name="connsiteY2850" fmla="*/ 7641 h 10000"/>
                  <a:gd name="connsiteX2851" fmla="*/ 2396 w 10785"/>
                  <a:gd name="connsiteY2851" fmla="*/ 7650 h 10000"/>
                  <a:gd name="connsiteX2852" fmla="*/ 2401 w 10785"/>
                  <a:gd name="connsiteY2852" fmla="*/ 7650 h 10000"/>
                  <a:gd name="connsiteX2853" fmla="*/ 2401 w 10785"/>
                  <a:gd name="connsiteY2853" fmla="*/ 7624 h 10000"/>
                  <a:gd name="connsiteX2854" fmla="*/ 2419 w 10785"/>
                  <a:gd name="connsiteY2854" fmla="*/ 7624 h 10000"/>
                  <a:gd name="connsiteX2855" fmla="*/ 2433 w 10785"/>
                  <a:gd name="connsiteY2855" fmla="*/ 7615 h 10000"/>
                  <a:gd name="connsiteX2856" fmla="*/ 2442 w 10785"/>
                  <a:gd name="connsiteY2856" fmla="*/ 7615 h 10000"/>
                  <a:gd name="connsiteX2857" fmla="*/ 2447 w 10785"/>
                  <a:gd name="connsiteY2857" fmla="*/ 7598 h 10000"/>
                  <a:gd name="connsiteX2858" fmla="*/ 2461 w 10785"/>
                  <a:gd name="connsiteY2858" fmla="*/ 7598 h 10000"/>
                  <a:gd name="connsiteX2859" fmla="*/ 2465 w 10785"/>
                  <a:gd name="connsiteY2859" fmla="*/ 7615 h 10000"/>
                  <a:gd name="connsiteX2860" fmla="*/ 2479 w 10785"/>
                  <a:gd name="connsiteY2860" fmla="*/ 7564 h 10000"/>
                  <a:gd name="connsiteX2861" fmla="*/ 2488 w 10785"/>
                  <a:gd name="connsiteY2861" fmla="*/ 7556 h 10000"/>
                  <a:gd name="connsiteX2862" fmla="*/ 2493 w 10785"/>
                  <a:gd name="connsiteY2862" fmla="*/ 7556 h 10000"/>
                  <a:gd name="connsiteX2863" fmla="*/ 2507 w 10785"/>
                  <a:gd name="connsiteY2863" fmla="*/ 7556 h 10000"/>
                  <a:gd name="connsiteX2864" fmla="*/ 2530 w 10785"/>
                  <a:gd name="connsiteY2864" fmla="*/ 7538 h 10000"/>
                  <a:gd name="connsiteX2865" fmla="*/ 2530 w 10785"/>
                  <a:gd name="connsiteY2865" fmla="*/ 7556 h 10000"/>
                  <a:gd name="connsiteX2866" fmla="*/ 2641 w 10785"/>
                  <a:gd name="connsiteY2866" fmla="*/ 7504 h 10000"/>
                  <a:gd name="connsiteX2867" fmla="*/ 2654 w 10785"/>
                  <a:gd name="connsiteY2867" fmla="*/ 7487 h 10000"/>
                  <a:gd name="connsiteX2868" fmla="*/ 2664 w 10785"/>
                  <a:gd name="connsiteY2868" fmla="*/ 7487 h 10000"/>
                  <a:gd name="connsiteX2869" fmla="*/ 2668 w 10785"/>
                  <a:gd name="connsiteY2869" fmla="*/ 7479 h 10000"/>
                  <a:gd name="connsiteX2870" fmla="*/ 2673 w 10785"/>
                  <a:gd name="connsiteY2870" fmla="*/ 7462 h 10000"/>
                  <a:gd name="connsiteX2871" fmla="*/ 2673 w 10785"/>
                  <a:gd name="connsiteY2871" fmla="*/ 7427 h 10000"/>
                  <a:gd name="connsiteX2872" fmla="*/ 2687 w 10785"/>
                  <a:gd name="connsiteY2872" fmla="*/ 7436 h 10000"/>
                  <a:gd name="connsiteX2873" fmla="*/ 2696 w 10785"/>
                  <a:gd name="connsiteY2873" fmla="*/ 7427 h 10000"/>
                  <a:gd name="connsiteX2874" fmla="*/ 2700 w 10785"/>
                  <a:gd name="connsiteY2874" fmla="*/ 7419 h 10000"/>
                  <a:gd name="connsiteX2875" fmla="*/ 2710 w 10785"/>
                  <a:gd name="connsiteY2875" fmla="*/ 7402 h 10000"/>
                  <a:gd name="connsiteX2876" fmla="*/ 2724 w 10785"/>
                  <a:gd name="connsiteY2876" fmla="*/ 7402 h 10000"/>
                  <a:gd name="connsiteX2877" fmla="*/ 2724 w 10785"/>
                  <a:gd name="connsiteY2877" fmla="*/ 7393 h 10000"/>
                  <a:gd name="connsiteX2878" fmla="*/ 2737 w 10785"/>
                  <a:gd name="connsiteY2878" fmla="*/ 7393 h 10000"/>
                  <a:gd name="connsiteX2879" fmla="*/ 2742 w 10785"/>
                  <a:gd name="connsiteY2879" fmla="*/ 7402 h 10000"/>
                  <a:gd name="connsiteX2880" fmla="*/ 2747 w 10785"/>
                  <a:gd name="connsiteY2880" fmla="*/ 7402 h 10000"/>
                  <a:gd name="connsiteX2881" fmla="*/ 2760 w 10785"/>
                  <a:gd name="connsiteY2881" fmla="*/ 7402 h 10000"/>
                  <a:gd name="connsiteX2882" fmla="*/ 2770 w 10785"/>
                  <a:gd name="connsiteY2882" fmla="*/ 7402 h 10000"/>
                  <a:gd name="connsiteX2883" fmla="*/ 2774 w 10785"/>
                  <a:gd name="connsiteY2883" fmla="*/ 7402 h 10000"/>
                  <a:gd name="connsiteX2884" fmla="*/ 2783 w 10785"/>
                  <a:gd name="connsiteY2884" fmla="*/ 7419 h 10000"/>
                  <a:gd name="connsiteX2885" fmla="*/ 2802 w 10785"/>
                  <a:gd name="connsiteY2885" fmla="*/ 7436 h 10000"/>
                  <a:gd name="connsiteX2886" fmla="*/ 2816 w 10785"/>
                  <a:gd name="connsiteY2886" fmla="*/ 7419 h 10000"/>
                  <a:gd name="connsiteX2887" fmla="*/ 2834 w 10785"/>
                  <a:gd name="connsiteY2887" fmla="*/ 7419 h 10000"/>
                  <a:gd name="connsiteX2888" fmla="*/ 2843 w 10785"/>
                  <a:gd name="connsiteY2888" fmla="*/ 7419 h 10000"/>
                  <a:gd name="connsiteX2889" fmla="*/ 2848 w 10785"/>
                  <a:gd name="connsiteY2889" fmla="*/ 7436 h 10000"/>
                  <a:gd name="connsiteX2890" fmla="*/ 2857 w 10785"/>
                  <a:gd name="connsiteY2890" fmla="*/ 7453 h 10000"/>
                  <a:gd name="connsiteX2891" fmla="*/ 2857 w 10785"/>
                  <a:gd name="connsiteY2891" fmla="*/ 7504 h 10000"/>
                  <a:gd name="connsiteX2892" fmla="*/ 2862 w 10785"/>
                  <a:gd name="connsiteY2892" fmla="*/ 7530 h 10000"/>
                  <a:gd name="connsiteX2893" fmla="*/ 2876 w 10785"/>
                  <a:gd name="connsiteY2893" fmla="*/ 7538 h 10000"/>
                  <a:gd name="connsiteX2894" fmla="*/ 2871 w 10785"/>
                  <a:gd name="connsiteY2894" fmla="*/ 7564 h 10000"/>
                  <a:gd name="connsiteX2895" fmla="*/ 2871 w 10785"/>
                  <a:gd name="connsiteY2895" fmla="*/ 7598 h 10000"/>
                  <a:gd name="connsiteX2896" fmla="*/ 2857 w 10785"/>
                  <a:gd name="connsiteY2896" fmla="*/ 7624 h 10000"/>
                  <a:gd name="connsiteX2897" fmla="*/ 2862 w 10785"/>
                  <a:gd name="connsiteY2897" fmla="*/ 7641 h 10000"/>
                  <a:gd name="connsiteX2898" fmla="*/ 2871 w 10785"/>
                  <a:gd name="connsiteY2898" fmla="*/ 7667 h 10000"/>
                  <a:gd name="connsiteX2899" fmla="*/ 2880 w 10785"/>
                  <a:gd name="connsiteY2899" fmla="*/ 7650 h 10000"/>
                  <a:gd name="connsiteX2900" fmla="*/ 2894 w 10785"/>
                  <a:gd name="connsiteY2900" fmla="*/ 7667 h 10000"/>
                  <a:gd name="connsiteX2901" fmla="*/ 2903 w 10785"/>
                  <a:gd name="connsiteY2901" fmla="*/ 7667 h 10000"/>
                  <a:gd name="connsiteX2902" fmla="*/ 2908 w 10785"/>
                  <a:gd name="connsiteY2902" fmla="*/ 7641 h 10000"/>
                  <a:gd name="connsiteX2903" fmla="*/ 2917 w 10785"/>
                  <a:gd name="connsiteY2903" fmla="*/ 7641 h 10000"/>
                  <a:gd name="connsiteX2904" fmla="*/ 2922 w 10785"/>
                  <a:gd name="connsiteY2904" fmla="*/ 7641 h 10000"/>
                  <a:gd name="connsiteX2905" fmla="*/ 2931 w 10785"/>
                  <a:gd name="connsiteY2905" fmla="*/ 7615 h 10000"/>
                  <a:gd name="connsiteX2906" fmla="*/ 2935 w 10785"/>
                  <a:gd name="connsiteY2906" fmla="*/ 7615 h 10000"/>
                  <a:gd name="connsiteX2907" fmla="*/ 2945 w 10785"/>
                  <a:gd name="connsiteY2907" fmla="*/ 7650 h 10000"/>
                  <a:gd name="connsiteX2908" fmla="*/ 2949 w 10785"/>
                  <a:gd name="connsiteY2908" fmla="*/ 7667 h 10000"/>
                  <a:gd name="connsiteX2909" fmla="*/ 2949 w 10785"/>
                  <a:gd name="connsiteY2909" fmla="*/ 7675 h 10000"/>
                  <a:gd name="connsiteX2910" fmla="*/ 2945 w 10785"/>
                  <a:gd name="connsiteY2910" fmla="*/ 7692 h 10000"/>
                  <a:gd name="connsiteX2911" fmla="*/ 2963 w 10785"/>
                  <a:gd name="connsiteY2911" fmla="*/ 7701 h 10000"/>
                  <a:gd name="connsiteX2912" fmla="*/ 2963 w 10785"/>
                  <a:gd name="connsiteY2912" fmla="*/ 7675 h 10000"/>
                  <a:gd name="connsiteX2913" fmla="*/ 2954 w 10785"/>
                  <a:gd name="connsiteY2913" fmla="*/ 7667 h 10000"/>
                  <a:gd name="connsiteX2914" fmla="*/ 2963 w 10785"/>
                  <a:gd name="connsiteY2914" fmla="*/ 7667 h 10000"/>
                  <a:gd name="connsiteX2915" fmla="*/ 2982 w 10785"/>
                  <a:gd name="connsiteY2915" fmla="*/ 7667 h 10000"/>
                  <a:gd name="connsiteX2916" fmla="*/ 2991 w 10785"/>
                  <a:gd name="connsiteY2916" fmla="*/ 7675 h 10000"/>
                  <a:gd name="connsiteX2917" fmla="*/ 2995 w 10785"/>
                  <a:gd name="connsiteY2917" fmla="*/ 7692 h 10000"/>
                  <a:gd name="connsiteX2918" fmla="*/ 3009 w 10785"/>
                  <a:gd name="connsiteY2918" fmla="*/ 7701 h 10000"/>
                  <a:gd name="connsiteX2919" fmla="*/ 3018 w 10785"/>
                  <a:gd name="connsiteY2919" fmla="*/ 7701 h 10000"/>
                  <a:gd name="connsiteX2920" fmla="*/ 3023 w 10785"/>
                  <a:gd name="connsiteY2920" fmla="*/ 7692 h 10000"/>
                  <a:gd name="connsiteX2921" fmla="*/ 3028 w 10785"/>
                  <a:gd name="connsiteY2921" fmla="*/ 7675 h 10000"/>
                  <a:gd name="connsiteX2922" fmla="*/ 3037 w 10785"/>
                  <a:gd name="connsiteY2922" fmla="*/ 7692 h 10000"/>
                  <a:gd name="connsiteX2923" fmla="*/ 3028 w 10785"/>
                  <a:gd name="connsiteY2923" fmla="*/ 7709 h 10000"/>
                  <a:gd name="connsiteX2924" fmla="*/ 3023 w 10785"/>
                  <a:gd name="connsiteY2924" fmla="*/ 7709 h 10000"/>
                  <a:gd name="connsiteX2925" fmla="*/ 3018 w 10785"/>
                  <a:gd name="connsiteY2925" fmla="*/ 7726 h 10000"/>
                  <a:gd name="connsiteX2926" fmla="*/ 3009 w 10785"/>
                  <a:gd name="connsiteY2926" fmla="*/ 7735 h 10000"/>
                  <a:gd name="connsiteX2927" fmla="*/ 3009 w 10785"/>
                  <a:gd name="connsiteY2927" fmla="*/ 7761 h 10000"/>
                  <a:gd name="connsiteX2928" fmla="*/ 3009 w 10785"/>
                  <a:gd name="connsiteY2928" fmla="*/ 7778 h 10000"/>
                  <a:gd name="connsiteX2929" fmla="*/ 3018 w 10785"/>
                  <a:gd name="connsiteY2929" fmla="*/ 7786 h 10000"/>
                  <a:gd name="connsiteX2930" fmla="*/ 3023 w 10785"/>
                  <a:gd name="connsiteY2930" fmla="*/ 7786 h 10000"/>
                  <a:gd name="connsiteX2931" fmla="*/ 3028 w 10785"/>
                  <a:gd name="connsiteY2931" fmla="*/ 7778 h 10000"/>
                  <a:gd name="connsiteX2932" fmla="*/ 3051 w 10785"/>
                  <a:gd name="connsiteY2932" fmla="*/ 7761 h 10000"/>
                  <a:gd name="connsiteX2933" fmla="*/ 3055 w 10785"/>
                  <a:gd name="connsiteY2933" fmla="*/ 7778 h 10000"/>
                  <a:gd name="connsiteX2934" fmla="*/ 3065 w 10785"/>
                  <a:gd name="connsiteY2934" fmla="*/ 7761 h 10000"/>
                  <a:gd name="connsiteX2935" fmla="*/ 3069 w 10785"/>
                  <a:gd name="connsiteY2935" fmla="*/ 7786 h 10000"/>
                  <a:gd name="connsiteX2936" fmla="*/ 3083 w 10785"/>
                  <a:gd name="connsiteY2936" fmla="*/ 7786 h 10000"/>
                  <a:gd name="connsiteX2937" fmla="*/ 3078 w 10785"/>
                  <a:gd name="connsiteY2937" fmla="*/ 7761 h 10000"/>
                  <a:gd name="connsiteX2938" fmla="*/ 3083 w 10785"/>
                  <a:gd name="connsiteY2938" fmla="*/ 7752 h 10000"/>
                  <a:gd name="connsiteX2939" fmla="*/ 3097 w 10785"/>
                  <a:gd name="connsiteY2939" fmla="*/ 7752 h 10000"/>
                  <a:gd name="connsiteX2940" fmla="*/ 3111 w 10785"/>
                  <a:gd name="connsiteY2940" fmla="*/ 7726 h 10000"/>
                  <a:gd name="connsiteX2941" fmla="*/ 3124 w 10785"/>
                  <a:gd name="connsiteY2941" fmla="*/ 7709 h 10000"/>
                  <a:gd name="connsiteX2942" fmla="*/ 3143 w 10785"/>
                  <a:gd name="connsiteY2942" fmla="*/ 7692 h 10000"/>
                  <a:gd name="connsiteX2943" fmla="*/ 3152 w 10785"/>
                  <a:gd name="connsiteY2943" fmla="*/ 7667 h 10000"/>
                  <a:gd name="connsiteX2944" fmla="*/ 3157 w 10785"/>
                  <a:gd name="connsiteY2944" fmla="*/ 7650 h 10000"/>
                  <a:gd name="connsiteX2945" fmla="*/ 3161 w 10785"/>
                  <a:gd name="connsiteY2945" fmla="*/ 7650 h 10000"/>
                  <a:gd name="connsiteX2946" fmla="*/ 3189 w 10785"/>
                  <a:gd name="connsiteY2946" fmla="*/ 7641 h 10000"/>
                  <a:gd name="connsiteX2947" fmla="*/ 3198 w 10785"/>
                  <a:gd name="connsiteY2947" fmla="*/ 7624 h 10000"/>
                  <a:gd name="connsiteX2948" fmla="*/ 3217 w 10785"/>
                  <a:gd name="connsiteY2948" fmla="*/ 7615 h 10000"/>
                  <a:gd name="connsiteX2949" fmla="*/ 3235 w 10785"/>
                  <a:gd name="connsiteY2949" fmla="*/ 7598 h 10000"/>
                  <a:gd name="connsiteX2950" fmla="*/ 3235 w 10785"/>
                  <a:gd name="connsiteY2950" fmla="*/ 7615 h 10000"/>
                  <a:gd name="connsiteX2951" fmla="*/ 3235 w 10785"/>
                  <a:gd name="connsiteY2951" fmla="*/ 7641 h 10000"/>
                  <a:gd name="connsiteX2952" fmla="*/ 3235 w 10785"/>
                  <a:gd name="connsiteY2952" fmla="*/ 7650 h 10000"/>
                  <a:gd name="connsiteX2953" fmla="*/ 3226 w 10785"/>
                  <a:gd name="connsiteY2953" fmla="*/ 7650 h 10000"/>
                  <a:gd name="connsiteX2954" fmla="*/ 3217 w 10785"/>
                  <a:gd name="connsiteY2954" fmla="*/ 7650 h 10000"/>
                  <a:gd name="connsiteX2955" fmla="*/ 3212 w 10785"/>
                  <a:gd name="connsiteY2955" fmla="*/ 7675 h 10000"/>
                  <a:gd name="connsiteX2956" fmla="*/ 3212 w 10785"/>
                  <a:gd name="connsiteY2956"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307 w 10785"/>
                  <a:gd name="connsiteY731" fmla="*/ 4899 h 10000"/>
                  <a:gd name="connsiteX732" fmla="*/ 10691 w 10785"/>
                  <a:gd name="connsiteY732" fmla="*/ 5255 h 10000"/>
                  <a:gd name="connsiteX733" fmla="*/ 10619 w 10785"/>
                  <a:gd name="connsiteY733" fmla="*/ 4708 h 10000"/>
                  <a:gd name="connsiteX734" fmla="*/ 10785 w 10785"/>
                  <a:gd name="connsiteY734" fmla="*/ 4708 h 10000"/>
                  <a:gd name="connsiteX735" fmla="*/ 10689 w 10785"/>
                  <a:gd name="connsiteY735" fmla="*/ 4467 h 10000"/>
                  <a:gd name="connsiteX736" fmla="*/ 10354 w 10785"/>
                  <a:gd name="connsiteY736" fmla="*/ 4302 h 10000"/>
                  <a:gd name="connsiteX737" fmla="*/ 9912 w 10785"/>
                  <a:gd name="connsiteY737" fmla="*/ 3675 h 10000"/>
                  <a:gd name="connsiteX738" fmla="*/ 9903 w 10785"/>
                  <a:gd name="connsiteY738" fmla="*/ 3667 h 10000"/>
                  <a:gd name="connsiteX739" fmla="*/ 9894 w 10785"/>
                  <a:gd name="connsiteY739" fmla="*/ 3641 h 10000"/>
                  <a:gd name="connsiteX740" fmla="*/ 9889 w 10785"/>
                  <a:gd name="connsiteY740" fmla="*/ 3650 h 10000"/>
                  <a:gd name="connsiteX741" fmla="*/ 9848 w 10785"/>
                  <a:gd name="connsiteY741" fmla="*/ 3598 h 10000"/>
                  <a:gd name="connsiteX742" fmla="*/ 9829 w 10785"/>
                  <a:gd name="connsiteY742" fmla="*/ 3581 h 10000"/>
                  <a:gd name="connsiteX743" fmla="*/ 9820 w 10785"/>
                  <a:gd name="connsiteY743" fmla="*/ 3581 h 10000"/>
                  <a:gd name="connsiteX744" fmla="*/ 9793 w 10785"/>
                  <a:gd name="connsiteY744" fmla="*/ 3556 h 10000"/>
                  <a:gd name="connsiteX745" fmla="*/ 9779 w 10785"/>
                  <a:gd name="connsiteY745" fmla="*/ 3556 h 10000"/>
                  <a:gd name="connsiteX746" fmla="*/ 9747 w 10785"/>
                  <a:gd name="connsiteY746" fmla="*/ 3487 h 10000"/>
                  <a:gd name="connsiteX747" fmla="*/ 9668 w 10785"/>
                  <a:gd name="connsiteY747" fmla="*/ 3479 h 10000"/>
                  <a:gd name="connsiteX748" fmla="*/ 9659 w 10785"/>
                  <a:gd name="connsiteY748" fmla="*/ 3487 h 10000"/>
                  <a:gd name="connsiteX749" fmla="*/ 9645 w 10785"/>
                  <a:gd name="connsiteY749" fmla="*/ 3504 h 10000"/>
                  <a:gd name="connsiteX750" fmla="*/ 9631 w 10785"/>
                  <a:gd name="connsiteY750" fmla="*/ 3487 h 10000"/>
                  <a:gd name="connsiteX751" fmla="*/ 9613 w 10785"/>
                  <a:gd name="connsiteY751" fmla="*/ 3479 h 10000"/>
                  <a:gd name="connsiteX752" fmla="*/ 9599 w 10785"/>
                  <a:gd name="connsiteY752" fmla="*/ 3479 h 10000"/>
                  <a:gd name="connsiteX753" fmla="*/ 9571 w 10785"/>
                  <a:gd name="connsiteY753" fmla="*/ 3479 h 10000"/>
                  <a:gd name="connsiteX754" fmla="*/ 9562 w 10785"/>
                  <a:gd name="connsiteY754" fmla="*/ 3487 h 10000"/>
                  <a:gd name="connsiteX755" fmla="*/ 9539 w 10785"/>
                  <a:gd name="connsiteY755" fmla="*/ 3487 h 10000"/>
                  <a:gd name="connsiteX756" fmla="*/ 9507 w 10785"/>
                  <a:gd name="connsiteY756" fmla="*/ 3453 h 10000"/>
                  <a:gd name="connsiteX757" fmla="*/ 9498 w 10785"/>
                  <a:gd name="connsiteY757" fmla="*/ 3453 h 10000"/>
                  <a:gd name="connsiteX758" fmla="*/ 9387 w 10785"/>
                  <a:gd name="connsiteY758" fmla="*/ 3419 h 10000"/>
                  <a:gd name="connsiteX759" fmla="*/ 9373 w 10785"/>
                  <a:gd name="connsiteY759" fmla="*/ 3427 h 10000"/>
                  <a:gd name="connsiteX760" fmla="*/ 9373 w 10785"/>
                  <a:gd name="connsiteY760" fmla="*/ 3462 h 10000"/>
                  <a:gd name="connsiteX761" fmla="*/ 9378 w 10785"/>
                  <a:gd name="connsiteY761" fmla="*/ 3479 h 10000"/>
                  <a:gd name="connsiteX762" fmla="*/ 9378 w 10785"/>
                  <a:gd name="connsiteY762" fmla="*/ 3530 h 10000"/>
                  <a:gd name="connsiteX763" fmla="*/ 9355 w 10785"/>
                  <a:gd name="connsiteY763" fmla="*/ 3538 h 10000"/>
                  <a:gd name="connsiteX764" fmla="*/ 9355 w 10785"/>
                  <a:gd name="connsiteY764" fmla="*/ 3581 h 10000"/>
                  <a:gd name="connsiteX765" fmla="*/ 9387 w 10785"/>
                  <a:gd name="connsiteY765" fmla="*/ 3590 h 10000"/>
                  <a:gd name="connsiteX766" fmla="*/ 9401 w 10785"/>
                  <a:gd name="connsiteY766" fmla="*/ 3667 h 10000"/>
                  <a:gd name="connsiteX767" fmla="*/ 9406 w 10785"/>
                  <a:gd name="connsiteY767" fmla="*/ 3675 h 10000"/>
                  <a:gd name="connsiteX768" fmla="*/ 9406 w 10785"/>
                  <a:gd name="connsiteY768" fmla="*/ 3701 h 10000"/>
                  <a:gd name="connsiteX769" fmla="*/ 9415 w 10785"/>
                  <a:gd name="connsiteY769" fmla="*/ 3752 h 10000"/>
                  <a:gd name="connsiteX770" fmla="*/ 9373 w 10785"/>
                  <a:gd name="connsiteY770" fmla="*/ 3838 h 10000"/>
                  <a:gd name="connsiteX771" fmla="*/ 9355 w 10785"/>
                  <a:gd name="connsiteY771" fmla="*/ 3863 h 10000"/>
                  <a:gd name="connsiteX772" fmla="*/ 9327 w 10785"/>
                  <a:gd name="connsiteY772" fmla="*/ 3863 h 10000"/>
                  <a:gd name="connsiteX773" fmla="*/ 9313 w 10785"/>
                  <a:gd name="connsiteY773" fmla="*/ 3846 h 10000"/>
                  <a:gd name="connsiteX774" fmla="*/ 9300 w 10785"/>
                  <a:gd name="connsiteY774" fmla="*/ 3778 h 10000"/>
                  <a:gd name="connsiteX775" fmla="*/ 9281 w 10785"/>
                  <a:gd name="connsiteY775" fmla="*/ 3752 h 10000"/>
                  <a:gd name="connsiteX776" fmla="*/ 9281 w 10785"/>
                  <a:gd name="connsiteY776" fmla="*/ 3735 h 10000"/>
                  <a:gd name="connsiteX777" fmla="*/ 9267 w 10785"/>
                  <a:gd name="connsiteY777" fmla="*/ 3726 h 10000"/>
                  <a:gd name="connsiteX778" fmla="*/ 9240 w 10785"/>
                  <a:gd name="connsiteY778" fmla="*/ 3726 h 10000"/>
                  <a:gd name="connsiteX779" fmla="*/ 9230 w 10785"/>
                  <a:gd name="connsiteY779" fmla="*/ 3718 h 10000"/>
                  <a:gd name="connsiteX780" fmla="*/ 9226 w 10785"/>
                  <a:gd name="connsiteY780" fmla="*/ 3590 h 10000"/>
                  <a:gd name="connsiteX781" fmla="*/ 9207 w 10785"/>
                  <a:gd name="connsiteY781" fmla="*/ 3581 h 10000"/>
                  <a:gd name="connsiteX782" fmla="*/ 9207 w 10785"/>
                  <a:gd name="connsiteY782" fmla="*/ 3556 h 10000"/>
                  <a:gd name="connsiteX783" fmla="*/ 9217 w 10785"/>
                  <a:gd name="connsiteY783" fmla="*/ 3538 h 10000"/>
                  <a:gd name="connsiteX784" fmla="*/ 9212 w 10785"/>
                  <a:gd name="connsiteY784" fmla="*/ 3538 h 10000"/>
                  <a:gd name="connsiteX785" fmla="*/ 9198 w 10785"/>
                  <a:gd name="connsiteY785" fmla="*/ 3513 h 10000"/>
                  <a:gd name="connsiteX786" fmla="*/ 9194 w 10785"/>
                  <a:gd name="connsiteY786" fmla="*/ 3530 h 10000"/>
                  <a:gd name="connsiteX787" fmla="*/ 9143 w 10785"/>
                  <a:gd name="connsiteY787" fmla="*/ 3615 h 10000"/>
                  <a:gd name="connsiteX788" fmla="*/ 9138 w 10785"/>
                  <a:gd name="connsiteY788" fmla="*/ 3615 h 10000"/>
                  <a:gd name="connsiteX789" fmla="*/ 9134 w 10785"/>
                  <a:gd name="connsiteY789" fmla="*/ 3615 h 10000"/>
                  <a:gd name="connsiteX790" fmla="*/ 9106 w 10785"/>
                  <a:gd name="connsiteY790" fmla="*/ 3615 h 10000"/>
                  <a:gd name="connsiteX791" fmla="*/ 9078 w 10785"/>
                  <a:gd name="connsiteY791" fmla="*/ 3590 h 10000"/>
                  <a:gd name="connsiteX792" fmla="*/ 9037 w 10785"/>
                  <a:gd name="connsiteY792" fmla="*/ 3581 h 10000"/>
                  <a:gd name="connsiteX793" fmla="*/ 9023 w 10785"/>
                  <a:gd name="connsiteY793" fmla="*/ 3590 h 10000"/>
                  <a:gd name="connsiteX794" fmla="*/ 9018 w 10785"/>
                  <a:gd name="connsiteY794" fmla="*/ 3590 h 10000"/>
                  <a:gd name="connsiteX795" fmla="*/ 9018 w 10785"/>
                  <a:gd name="connsiteY795" fmla="*/ 3590 h 10000"/>
                  <a:gd name="connsiteX796" fmla="*/ 8991 w 10785"/>
                  <a:gd name="connsiteY796" fmla="*/ 3590 h 10000"/>
                  <a:gd name="connsiteX797" fmla="*/ 8972 w 10785"/>
                  <a:gd name="connsiteY797" fmla="*/ 3581 h 10000"/>
                  <a:gd name="connsiteX798" fmla="*/ 8959 w 10785"/>
                  <a:gd name="connsiteY798" fmla="*/ 3513 h 10000"/>
                  <a:gd name="connsiteX799" fmla="*/ 8931 w 10785"/>
                  <a:gd name="connsiteY799" fmla="*/ 3538 h 10000"/>
                  <a:gd name="connsiteX800" fmla="*/ 8889 w 10785"/>
                  <a:gd name="connsiteY800" fmla="*/ 3538 h 10000"/>
                  <a:gd name="connsiteX801" fmla="*/ 8871 w 10785"/>
                  <a:gd name="connsiteY801" fmla="*/ 3556 h 10000"/>
                  <a:gd name="connsiteX802" fmla="*/ 8857 w 10785"/>
                  <a:gd name="connsiteY802" fmla="*/ 3538 h 10000"/>
                  <a:gd name="connsiteX803" fmla="*/ 8843 w 10785"/>
                  <a:gd name="connsiteY803" fmla="*/ 3538 h 10000"/>
                  <a:gd name="connsiteX804" fmla="*/ 8839 w 10785"/>
                  <a:gd name="connsiteY804" fmla="*/ 3556 h 10000"/>
                  <a:gd name="connsiteX805" fmla="*/ 8839 w 10785"/>
                  <a:gd name="connsiteY805" fmla="*/ 3581 h 10000"/>
                  <a:gd name="connsiteX806" fmla="*/ 8825 w 10785"/>
                  <a:gd name="connsiteY806" fmla="*/ 3564 h 10000"/>
                  <a:gd name="connsiteX807" fmla="*/ 8825 w 10785"/>
                  <a:gd name="connsiteY807" fmla="*/ 3615 h 10000"/>
                  <a:gd name="connsiteX808" fmla="*/ 8802 w 10785"/>
                  <a:gd name="connsiteY808" fmla="*/ 3598 h 10000"/>
                  <a:gd name="connsiteX809" fmla="*/ 8797 w 10785"/>
                  <a:gd name="connsiteY809" fmla="*/ 3641 h 10000"/>
                  <a:gd name="connsiteX810" fmla="*/ 8783 w 10785"/>
                  <a:gd name="connsiteY810" fmla="*/ 3667 h 10000"/>
                  <a:gd name="connsiteX811" fmla="*/ 8779 w 10785"/>
                  <a:gd name="connsiteY811" fmla="*/ 3650 h 10000"/>
                  <a:gd name="connsiteX812" fmla="*/ 8779 w 10785"/>
                  <a:gd name="connsiteY812" fmla="*/ 3615 h 10000"/>
                  <a:gd name="connsiteX813" fmla="*/ 8770 w 10785"/>
                  <a:gd name="connsiteY813" fmla="*/ 3590 h 10000"/>
                  <a:gd name="connsiteX814" fmla="*/ 8765 w 10785"/>
                  <a:gd name="connsiteY814" fmla="*/ 3598 h 10000"/>
                  <a:gd name="connsiteX815" fmla="*/ 8756 w 10785"/>
                  <a:gd name="connsiteY815" fmla="*/ 3590 h 10000"/>
                  <a:gd name="connsiteX816" fmla="*/ 8737 w 10785"/>
                  <a:gd name="connsiteY816" fmla="*/ 3556 h 10000"/>
                  <a:gd name="connsiteX817" fmla="*/ 8724 w 10785"/>
                  <a:gd name="connsiteY817" fmla="*/ 3538 h 10000"/>
                  <a:gd name="connsiteX818" fmla="*/ 8696 w 10785"/>
                  <a:gd name="connsiteY818" fmla="*/ 3538 h 10000"/>
                  <a:gd name="connsiteX819" fmla="*/ 8691 w 10785"/>
                  <a:gd name="connsiteY819" fmla="*/ 3513 h 10000"/>
                  <a:gd name="connsiteX820" fmla="*/ 8668 w 10785"/>
                  <a:gd name="connsiteY820" fmla="*/ 3504 h 10000"/>
                  <a:gd name="connsiteX821" fmla="*/ 8668 w 10785"/>
                  <a:gd name="connsiteY821" fmla="*/ 3487 h 10000"/>
                  <a:gd name="connsiteX822" fmla="*/ 8691 w 10785"/>
                  <a:gd name="connsiteY822" fmla="*/ 3350 h 10000"/>
                  <a:gd name="connsiteX823" fmla="*/ 8691 w 10785"/>
                  <a:gd name="connsiteY823" fmla="*/ 3291 h 10000"/>
                  <a:gd name="connsiteX824" fmla="*/ 8677 w 10785"/>
                  <a:gd name="connsiteY824" fmla="*/ 3239 h 10000"/>
                  <a:gd name="connsiteX825" fmla="*/ 8677 w 10785"/>
                  <a:gd name="connsiteY825" fmla="*/ 3231 h 10000"/>
                  <a:gd name="connsiteX826" fmla="*/ 8636 w 10785"/>
                  <a:gd name="connsiteY826" fmla="*/ 3128 h 10000"/>
                  <a:gd name="connsiteX827" fmla="*/ 8622 w 10785"/>
                  <a:gd name="connsiteY827" fmla="*/ 3120 h 10000"/>
                  <a:gd name="connsiteX828" fmla="*/ 8618 w 10785"/>
                  <a:gd name="connsiteY828" fmla="*/ 3094 h 10000"/>
                  <a:gd name="connsiteX829" fmla="*/ 8594 w 10785"/>
                  <a:gd name="connsiteY829" fmla="*/ 3077 h 10000"/>
                  <a:gd name="connsiteX830" fmla="*/ 8548 w 10785"/>
                  <a:gd name="connsiteY830" fmla="*/ 3077 h 10000"/>
                  <a:gd name="connsiteX831" fmla="*/ 8535 w 10785"/>
                  <a:gd name="connsiteY831" fmla="*/ 3068 h 10000"/>
                  <a:gd name="connsiteX832" fmla="*/ 8429 w 10785"/>
                  <a:gd name="connsiteY832" fmla="*/ 3077 h 10000"/>
                  <a:gd name="connsiteX833" fmla="*/ 8424 w 10785"/>
                  <a:gd name="connsiteY833" fmla="*/ 3077 h 10000"/>
                  <a:gd name="connsiteX834" fmla="*/ 8396 w 10785"/>
                  <a:gd name="connsiteY834" fmla="*/ 3077 h 10000"/>
                  <a:gd name="connsiteX835" fmla="*/ 8387 w 10785"/>
                  <a:gd name="connsiteY835" fmla="*/ 3094 h 10000"/>
                  <a:gd name="connsiteX836" fmla="*/ 8378 w 10785"/>
                  <a:gd name="connsiteY836" fmla="*/ 3094 h 10000"/>
                  <a:gd name="connsiteX837" fmla="*/ 8341 w 10785"/>
                  <a:gd name="connsiteY837" fmla="*/ 3077 h 10000"/>
                  <a:gd name="connsiteX838" fmla="*/ 8336 w 10785"/>
                  <a:gd name="connsiteY838" fmla="*/ 3077 h 10000"/>
                  <a:gd name="connsiteX839" fmla="*/ 8327 w 10785"/>
                  <a:gd name="connsiteY839" fmla="*/ 3103 h 10000"/>
                  <a:gd name="connsiteX840" fmla="*/ 8309 w 10785"/>
                  <a:gd name="connsiteY840" fmla="*/ 3120 h 10000"/>
                  <a:gd name="connsiteX841" fmla="*/ 8304 w 10785"/>
                  <a:gd name="connsiteY841" fmla="*/ 3103 h 10000"/>
                  <a:gd name="connsiteX842" fmla="*/ 8276 w 10785"/>
                  <a:gd name="connsiteY842" fmla="*/ 3103 h 10000"/>
                  <a:gd name="connsiteX843" fmla="*/ 8267 w 10785"/>
                  <a:gd name="connsiteY843" fmla="*/ 3120 h 10000"/>
                  <a:gd name="connsiteX844" fmla="*/ 8253 w 10785"/>
                  <a:gd name="connsiteY844" fmla="*/ 3103 h 10000"/>
                  <a:gd name="connsiteX845" fmla="*/ 8230 w 10785"/>
                  <a:gd name="connsiteY845" fmla="*/ 3128 h 10000"/>
                  <a:gd name="connsiteX846" fmla="*/ 8217 w 10785"/>
                  <a:gd name="connsiteY846" fmla="*/ 3128 h 10000"/>
                  <a:gd name="connsiteX847" fmla="*/ 8203 w 10785"/>
                  <a:gd name="connsiteY847" fmla="*/ 3154 h 10000"/>
                  <a:gd name="connsiteX848" fmla="*/ 8175 w 10785"/>
                  <a:gd name="connsiteY848" fmla="*/ 3094 h 10000"/>
                  <a:gd name="connsiteX849" fmla="*/ 8161 w 10785"/>
                  <a:gd name="connsiteY849" fmla="*/ 3094 h 10000"/>
                  <a:gd name="connsiteX850" fmla="*/ 8157 w 10785"/>
                  <a:gd name="connsiteY850" fmla="*/ 3077 h 10000"/>
                  <a:gd name="connsiteX851" fmla="*/ 8180 w 10785"/>
                  <a:gd name="connsiteY851" fmla="*/ 3068 h 10000"/>
                  <a:gd name="connsiteX852" fmla="*/ 8189 w 10785"/>
                  <a:gd name="connsiteY852" fmla="*/ 3043 h 10000"/>
                  <a:gd name="connsiteX853" fmla="*/ 8189 w 10785"/>
                  <a:gd name="connsiteY853" fmla="*/ 3017 h 10000"/>
                  <a:gd name="connsiteX854" fmla="*/ 8147 w 10785"/>
                  <a:gd name="connsiteY854" fmla="*/ 2940 h 10000"/>
                  <a:gd name="connsiteX855" fmla="*/ 8143 w 10785"/>
                  <a:gd name="connsiteY855" fmla="*/ 2915 h 10000"/>
                  <a:gd name="connsiteX856" fmla="*/ 8143 w 10785"/>
                  <a:gd name="connsiteY856" fmla="*/ 2906 h 10000"/>
                  <a:gd name="connsiteX857" fmla="*/ 8097 w 10785"/>
                  <a:gd name="connsiteY857" fmla="*/ 2932 h 10000"/>
                  <a:gd name="connsiteX858" fmla="*/ 8083 w 10785"/>
                  <a:gd name="connsiteY858" fmla="*/ 2932 h 10000"/>
                  <a:gd name="connsiteX859" fmla="*/ 8074 w 10785"/>
                  <a:gd name="connsiteY859" fmla="*/ 2906 h 10000"/>
                  <a:gd name="connsiteX860" fmla="*/ 8074 w 10785"/>
                  <a:gd name="connsiteY860" fmla="*/ 2897 h 10000"/>
                  <a:gd name="connsiteX861" fmla="*/ 8055 w 10785"/>
                  <a:gd name="connsiteY861" fmla="*/ 2872 h 10000"/>
                  <a:gd name="connsiteX862" fmla="*/ 8046 w 10785"/>
                  <a:gd name="connsiteY862" fmla="*/ 2829 h 10000"/>
                  <a:gd name="connsiteX863" fmla="*/ 8041 w 10785"/>
                  <a:gd name="connsiteY863" fmla="*/ 2829 h 10000"/>
                  <a:gd name="connsiteX864" fmla="*/ 8023 w 10785"/>
                  <a:gd name="connsiteY864" fmla="*/ 2803 h 10000"/>
                  <a:gd name="connsiteX865" fmla="*/ 8014 w 10785"/>
                  <a:gd name="connsiteY865" fmla="*/ 2829 h 10000"/>
                  <a:gd name="connsiteX866" fmla="*/ 8000 w 10785"/>
                  <a:gd name="connsiteY866" fmla="*/ 2829 h 10000"/>
                  <a:gd name="connsiteX867" fmla="*/ 7995 w 10785"/>
                  <a:gd name="connsiteY867" fmla="*/ 2821 h 10000"/>
                  <a:gd name="connsiteX868" fmla="*/ 7972 w 10785"/>
                  <a:gd name="connsiteY868" fmla="*/ 2803 h 10000"/>
                  <a:gd name="connsiteX869" fmla="*/ 7968 w 10785"/>
                  <a:gd name="connsiteY869" fmla="*/ 2821 h 10000"/>
                  <a:gd name="connsiteX870" fmla="*/ 7968 w 10785"/>
                  <a:gd name="connsiteY870" fmla="*/ 2803 h 10000"/>
                  <a:gd name="connsiteX871" fmla="*/ 7995 w 10785"/>
                  <a:gd name="connsiteY871" fmla="*/ 2735 h 10000"/>
                  <a:gd name="connsiteX872" fmla="*/ 8000 w 10785"/>
                  <a:gd name="connsiteY872" fmla="*/ 2735 h 10000"/>
                  <a:gd name="connsiteX873" fmla="*/ 8014 w 10785"/>
                  <a:gd name="connsiteY873" fmla="*/ 2744 h 10000"/>
                  <a:gd name="connsiteX874" fmla="*/ 8023 w 10785"/>
                  <a:gd name="connsiteY874" fmla="*/ 2769 h 10000"/>
                  <a:gd name="connsiteX875" fmla="*/ 8032 w 10785"/>
                  <a:gd name="connsiteY875" fmla="*/ 2744 h 10000"/>
                  <a:gd name="connsiteX876" fmla="*/ 8032 w 10785"/>
                  <a:gd name="connsiteY876" fmla="*/ 2709 h 10000"/>
                  <a:gd name="connsiteX877" fmla="*/ 8023 w 10785"/>
                  <a:gd name="connsiteY877" fmla="*/ 2632 h 10000"/>
                  <a:gd name="connsiteX878" fmla="*/ 7986 w 10785"/>
                  <a:gd name="connsiteY878" fmla="*/ 2581 h 10000"/>
                  <a:gd name="connsiteX879" fmla="*/ 7968 w 10785"/>
                  <a:gd name="connsiteY879" fmla="*/ 2581 h 10000"/>
                  <a:gd name="connsiteX880" fmla="*/ 7963 w 10785"/>
                  <a:gd name="connsiteY880" fmla="*/ 2556 h 10000"/>
                  <a:gd name="connsiteX881" fmla="*/ 7935 w 10785"/>
                  <a:gd name="connsiteY881" fmla="*/ 2547 h 10000"/>
                  <a:gd name="connsiteX882" fmla="*/ 7912 w 10785"/>
                  <a:gd name="connsiteY882" fmla="*/ 2547 h 10000"/>
                  <a:gd name="connsiteX883" fmla="*/ 7912 w 10785"/>
                  <a:gd name="connsiteY883" fmla="*/ 2556 h 10000"/>
                  <a:gd name="connsiteX884" fmla="*/ 7908 w 10785"/>
                  <a:gd name="connsiteY884" fmla="*/ 2547 h 10000"/>
                  <a:gd name="connsiteX885" fmla="*/ 7862 w 10785"/>
                  <a:gd name="connsiteY885" fmla="*/ 2547 h 10000"/>
                  <a:gd name="connsiteX886" fmla="*/ 7848 w 10785"/>
                  <a:gd name="connsiteY886" fmla="*/ 2556 h 10000"/>
                  <a:gd name="connsiteX887" fmla="*/ 7820 w 10785"/>
                  <a:gd name="connsiteY887" fmla="*/ 2547 h 10000"/>
                  <a:gd name="connsiteX888" fmla="*/ 7806 w 10785"/>
                  <a:gd name="connsiteY888" fmla="*/ 2513 h 10000"/>
                  <a:gd name="connsiteX889" fmla="*/ 7788 w 10785"/>
                  <a:gd name="connsiteY889" fmla="*/ 2513 h 10000"/>
                  <a:gd name="connsiteX890" fmla="*/ 7760 w 10785"/>
                  <a:gd name="connsiteY890" fmla="*/ 2470 h 10000"/>
                  <a:gd name="connsiteX891" fmla="*/ 7751 w 10785"/>
                  <a:gd name="connsiteY891" fmla="*/ 2470 h 10000"/>
                  <a:gd name="connsiteX892" fmla="*/ 7705 w 10785"/>
                  <a:gd name="connsiteY892" fmla="*/ 2462 h 10000"/>
                  <a:gd name="connsiteX893" fmla="*/ 7673 w 10785"/>
                  <a:gd name="connsiteY893" fmla="*/ 2419 h 10000"/>
                  <a:gd name="connsiteX894" fmla="*/ 7627 w 10785"/>
                  <a:gd name="connsiteY894" fmla="*/ 2419 h 10000"/>
                  <a:gd name="connsiteX895" fmla="*/ 7613 w 10785"/>
                  <a:gd name="connsiteY895" fmla="*/ 2410 h 10000"/>
                  <a:gd name="connsiteX896" fmla="*/ 7493 w 10785"/>
                  <a:gd name="connsiteY896" fmla="*/ 2393 h 10000"/>
                  <a:gd name="connsiteX897" fmla="*/ 7479 w 10785"/>
                  <a:gd name="connsiteY897" fmla="*/ 2385 h 10000"/>
                  <a:gd name="connsiteX898" fmla="*/ 7479 w 10785"/>
                  <a:gd name="connsiteY898" fmla="*/ 2376 h 10000"/>
                  <a:gd name="connsiteX899" fmla="*/ 7465 w 10785"/>
                  <a:gd name="connsiteY899" fmla="*/ 2359 h 10000"/>
                  <a:gd name="connsiteX900" fmla="*/ 7447 w 10785"/>
                  <a:gd name="connsiteY900" fmla="*/ 2350 h 10000"/>
                  <a:gd name="connsiteX901" fmla="*/ 7433 w 10785"/>
                  <a:gd name="connsiteY901" fmla="*/ 2376 h 10000"/>
                  <a:gd name="connsiteX902" fmla="*/ 7433 w 10785"/>
                  <a:gd name="connsiteY902" fmla="*/ 2385 h 10000"/>
                  <a:gd name="connsiteX903" fmla="*/ 7447 w 10785"/>
                  <a:gd name="connsiteY903" fmla="*/ 2410 h 10000"/>
                  <a:gd name="connsiteX904" fmla="*/ 7447 w 10785"/>
                  <a:gd name="connsiteY904" fmla="*/ 2436 h 10000"/>
                  <a:gd name="connsiteX905" fmla="*/ 7452 w 10785"/>
                  <a:gd name="connsiteY905" fmla="*/ 2462 h 10000"/>
                  <a:gd name="connsiteX906" fmla="*/ 7447 w 10785"/>
                  <a:gd name="connsiteY906" fmla="*/ 2470 h 10000"/>
                  <a:gd name="connsiteX907" fmla="*/ 7424 w 10785"/>
                  <a:gd name="connsiteY907" fmla="*/ 2513 h 10000"/>
                  <a:gd name="connsiteX908" fmla="*/ 7419 w 10785"/>
                  <a:gd name="connsiteY908" fmla="*/ 2556 h 10000"/>
                  <a:gd name="connsiteX909" fmla="*/ 7406 w 10785"/>
                  <a:gd name="connsiteY909" fmla="*/ 2624 h 10000"/>
                  <a:gd name="connsiteX910" fmla="*/ 7392 w 10785"/>
                  <a:gd name="connsiteY910" fmla="*/ 2624 h 10000"/>
                  <a:gd name="connsiteX911" fmla="*/ 7373 w 10785"/>
                  <a:gd name="connsiteY911" fmla="*/ 2650 h 10000"/>
                  <a:gd name="connsiteX912" fmla="*/ 7364 w 10785"/>
                  <a:gd name="connsiteY912" fmla="*/ 2684 h 10000"/>
                  <a:gd name="connsiteX913" fmla="*/ 7364 w 10785"/>
                  <a:gd name="connsiteY913" fmla="*/ 2692 h 10000"/>
                  <a:gd name="connsiteX914" fmla="*/ 7373 w 10785"/>
                  <a:gd name="connsiteY914" fmla="*/ 2718 h 10000"/>
                  <a:gd name="connsiteX915" fmla="*/ 7373 w 10785"/>
                  <a:gd name="connsiteY915" fmla="*/ 2744 h 10000"/>
                  <a:gd name="connsiteX916" fmla="*/ 7359 w 10785"/>
                  <a:gd name="connsiteY916" fmla="*/ 2744 h 10000"/>
                  <a:gd name="connsiteX917" fmla="*/ 7359 w 10785"/>
                  <a:gd name="connsiteY917" fmla="*/ 2795 h 10000"/>
                  <a:gd name="connsiteX918" fmla="*/ 7364 w 10785"/>
                  <a:gd name="connsiteY918" fmla="*/ 2821 h 10000"/>
                  <a:gd name="connsiteX919" fmla="*/ 7378 w 10785"/>
                  <a:gd name="connsiteY919" fmla="*/ 2846 h 10000"/>
                  <a:gd name="connsiteX920" fmla="*/ 7378 w 10785"/>
                  <a:gd name="connsiteY920" fmla="*/ 2855 h 10000"/>
                  <a:gd name="connsiteX921" fmla="*/ 7378 w 10785"/>
                  <a:gd name="connsiteY921" fmla="*/ 2880 h 10000"/>
                  <a:gd name="connsiteX922" fmla="*/ 7378 w 10785"/>
                  <a:gd name="connsiteY922" fmla="*/ 2906 h 10000"/>
                  <a:gd name="connsiteX923" fmla="*/ 7364 w 10785"/>
                  <a:gd name="connsiteY923" fmla="*/ 2906 h 10000"/>
                  <a:gd name="connsiteX924" fmla="*/ 7346 w 10785"/>
                  <a:gd name="connsiteY924" fmla="*/ 2880 h 10000"/>
                  <a:gd name="connsiteX925" fmla="*/ 7332 w 10785"/>
                  <a:gd name="connsiteY925" fmla="*/ 2915 h 10000"/>
                  <a:gd name="connsiteX926" fmla="*/ 7318 w 10785"/>
                  <a:gd name="connsiteY926" fmla="*/ 2906 h 10000"/>
                  <a:gd name="connsiteX927" fmla="*/ 7313 w 10785"/>
                  <a:gd name="connsiteY927" fmla="*/ 2915 h 10000"/>
                  <a:gd name="connsiteX928" fmla="*/ 7313 w 10785"/>
                  <a:gd name="connsiteY928" fmla="*/ 2906 h 10000"/>
                  <a:gd name="connsiteX929" fmla="*/ 7286 w 10785"/>
                  <a:gd name="connsiteY929" fmla="*/ 2940 h 10000"/>
                  <a:gd name="connsiteX930" fmla="*/ 7276 w 10785"/>
                  <a:gd name="connsiteY930" fmla="*/ 2966 h 10000"/>
                  <a:gd name="connsiteX931" fmla="*/ 7272 w 10785"/>
                  <a:gd name="connsiteY931" fmla="*/ 2983 h 10000"/>
                  <a:gd name="connsiteX932" fmla="*/ 7267 w 10785"/>
                  <a:gd name="connsiteY932" fmla="*/ 3009 h 10000"/>
                  <a:gd name="connsiteX933" fmla="*/ 7253 w 10785"/>
                  <a:gd name="connsiteY933" fmla="*/ 3009 h 10000"/>
                  <a:gd name="connsiteX934" fmla="*/ 7244 w 10785"/>
                  <a:gd name="connsiteY934" fmla="*/ 3017 h 10000"/>
                  <a:gd name="connsiteX935" fmla="*/ 7240 w 10785"/>
                  <a:gd name="connsiteY935" fmla="*/ 3009 h 10000"/>
                  <a:gd name="connsiteX936" fmla="*/ 7230 w 10785"/>
                  <a:gd name="connsiteY936" fmla="*/ 2991 h 10000"/>
                  <a:gd name="connsiteX937" fmla="*/ 7226 w 10785"/>
                  <a:gd name="connsiteY937" fmla="*/ 2983 h 10000"/>
                  <a:gd name="connsiteX938" fmla="*/ 7226 w 10785"/>
                  <a:gd name="connsiteY938" fmla="*/ 2966 h 10000"/>
                  <a:gd name="connsiteX939" fmla="*/ 7212 w 10785"/>
                  <a:gd name="connsiteY939" fmla="*/ 2957 h 10000"/>
                  <a:gd name="connsiteX940" fmla="*/ 7212 w 10785"/>
                  <a:gd name="connsiteY940" fmla="*/ 2932 h 10000"/>
                  <a:gd name="connsiteX941" fmla="*/ 7198 w 10785"/>
                  <a:gd name="connsiteY941" fmla="*/ 2915 h 10000"/>
                  <a:gd name="connsiteX942" fmla="*/ 7194 w 10785"/>
                  <a:gd name="connsiteY942" fmla="*/ 2915 h 10000"/>
                  <a:gd name="connsiteX943" fmla="*/ 7157 w 10785"/>
                  <a:gd name="connsiteY943" fmla="*/ 2880 h 10000"/>
                  <a:gd name="connsiteX944" fmla="*/ 7138 w 10785"/>
                  <a:gd name="connsiteY944" fmla="*/ 2880 h 10000"/>
                  <a:gd name="connsiteX945" fmla="*/ 7120 w 10785"/>
                  <a:gd name="connsiteY945" fmla="*/ 2872 h 10000"/>
                  <a:gd name="connsiteX946" fmla="*/ 7111 w 10785"/>
                  <a:gd name="connsiteY946" fmla="*/ 2846 h 10000"/>
                  <a:gd name="connsiteX947" fmla="*/ 7106 w 10785"/>
                  <a:gd name="connsiteY947" fmla="*/ 2846 h 10000"/>
                  <a:gd name="connsiteX948" fmla="*/ 7092 w 10785"/>
                  <a:gd name="connsiteY948" fmla="*/ 2829 h 10000"/>
                  <a:gd name="connsiteX949" fmla="*/ 7051 w 10785"/>
                  <a:gd name="connsiteY949" fmla="*/ 2829 h 10000"/>
                  <a:gd name="connsiteX950" fmla="*/ 7037 w 10785"/>
                  <a:gd name="connsiteY950" fmla="*/ 2880 h 10000"/>
                  <a:gd name="connsiteX951" fmla="*/ 7037 w 10785"/>
                  <a:gd name="connsiteY951" fmla="*/ 2906 h 10000"/>
                  <a:gd name="connsiteX952" fmla="*/ 7037 w 10785"/>
                  <a:gd name="connsiteY952" fmla="*/ 2932 h 10000"/>
                  <a:gd name="connsiteX953" fmla="*/ 7037 w 10785"/>
                  <a:gd name="connsiteY953" fmla="*/ 2940 h 10000"/>
                  <a:gd name="connsiteX954" fmla="*/ 7023 w 10785"/>
                  <a:gd name="connsiteY954" fmla="*/ 2906 h 10000"/>
                  <a:gd name="connsiteX955" fmla="*/ 7023 w 10785"/>
                  <a:gd name="connsiteY955" fmla="*/ 2915 h 10000"/>
                  <a:gd name="connsiteX956" fmla="*/ 6991 w 10785"/>
                  <a:gd name="connsiteY956" fmla="*/ 2906 h 10000"/>
                  <a:gd name="connsiteX957" fmla="*/ 6977 w 10785"/>
                  <a:gd name="connsiteY957" fmla="*/ 2915 h 10000"/>
                  <a:gd name="connsiteX958" fmla="*/ 6963 w 10785"/>
                  <a:gd name="connsiteY958" fmla="*/ 2915 h 10000"/>
                  <a:gd name="connsiteX959" fmla="*/ 6949 w 10785"/>
                  <a:gd name="connsiteY959" fmla="*/ 2872 h 10000"/>
                  <a:gd name="connsiteX960" fmla="*/ 6935 w 10785"/>
                  <a:gd name="connsiteY960" fmla="*/ 2855 h 10000"/>
                  <a:gd name="connsiteX961" fmla="*/ 6922 w 10785"/>
                  <a:gd name="connsiteY961" fmla="*/ 2803 h 10000"/>
                  <a:gd name="connsiteX962" fmla="*/ 6917 w 10785"/>
                  <a:gd name="connsiteY962" fmla="*/ 2786 h 10000"/>
                  <a:gd name="connsiteX963" fmla="*/ 6903 w 10785"/>
                  <a:gd name="connsiteY963" fmla="*/ 2709 h 10000"/>
                  <a:gd name="connsiteX964" fmla="*/ 6903 w 10785"/>
                  <a:gd name="connsiteY964" fmla="*/ 2692 h 10000"/>
                  <a:gd name="connsiteX965" fmla="*/ 6899 w 10785"/>
                  <a:gd name="connsiteY965" fmla="*/ 2709 h 10000"/>
                  <a:gd name="connsiteX966" fmla="*/ 6857 w 10785"/>
                  <a:gd name="connsiteY966" fmla="*/ 2872 h 10000"/>
                  <a:gd name="connsiteX967" fmla="*/ 6857 w 10785"/>
                  <a:gd name="connsiteY967" fmla="*/ 3009 h 10000"/>
                  <a:gd name="connsiteX968" fmla="*/ 6848 w 10785"/>
                  <a:gd name="connsiteY968" fmla="*/ 3017 h 10000"/>
                  <a:gd name="connsiteX969" fmla="*/ 6839 w 10785"/>
                  <a:gd name="connsiteY969" fmla="*/ 3068 h 10000"/>
                  <a:gd name="connsiteX970" fmla="*/ 6829 w 10785"/>
                  <a:gd name="connsiteY970" fmla="*/ 3077 h 10000"/>
                  <a:gd name="connsiteX971" fmla="*/ 6829 w 10785"/>
                  <a:gd name="connsiteY971" fmla="*/ 3128 h 10000"/>
                  <a:gd name="connsiteX972" fmla="*/ 6816 w 10785"/>
                  <a:gd name="connsiteY972" fmla="*/ 3154 h 10000"/>
                  <a:gd name="connsiteX973" fmla="*/ 6811 w 10785"/>
                  <a:gd name="connsiteY973" fmla="*/ 3179 h 10000"/>
                  <a:gd name="connsiteX974" fmla="*/ 6797 w 10785"/>
                  <a:gd name="connsiteY974" fmla="*/ 3171 h 10000"/>
                  <a:gd name="connsiteX975" fmla="*/ 6783 w 10785"/>
                  <a:gd name="connsiteY975" fmla="*/ 3103 h 10000"/>
                  <a:gd name="connsiteX976" fmla="*/ 6779 w 10785"/>
                  <a:gd name="connsiteY976" fmla="*/ 3094 h 10000"/>
                  <a:gd name="connsiteX977" fmla="*/ 6779 w 10785"/>
                  <a:gd name="connsiteY977" fmla="*/ 3120 h 10000"/>
                  <a:gd name="connsiteX978" fmla="*/ 6770 w 10785"/>
                  <a:gd name="connsiteY978" fmla="*/ 3128 h 10000"/>
                  <a:gd name="connsiteX979" fmla="*/ 6765 w 10785"/>
                  <a:gd name="connsiteY979" fmla="*/ 3103 h 10000"/>
                  <a:gd name="connsiteX980" fmla="*/ 6756 w 10785"/>
                  <a:gd name="connsiteY980" fmla="*/ 3103 h 10000"/>
                  <a:gd name="connsiteX981" fmla="*/ 6742 w 10785"/>
                  <a:gd name="connsiteY981" fmla="*/ 3103 h 10000"/>
                  <a:gd name="connsiteX982" fmla="*/ 6737 w 10785"/>
                  <a:gd name="connsiteY982" fmla="*/ 3077 h 10000"/>
                  <a:gd name="connsiteX983" fmla="*/ 6737 w 10785"/>
                  <a:gd name="connsiteY983" fmla="*/ 3068 h 10000"/>
                  <a:gd name="connsiteX984" fmla="*/ 6728 w 10785"/>
                  <a:gd name="connsiteY984" fmla="*/ 3043 h 10000"/>
                  <a:gd name="connsiteX985" fmla="*/ 6724 w 10785"/>
                  <a:gd name="connsiteY985" fmla="*/ 3051 h 10000"/>
                  <a:gd name="connsiteX986" fmla="*/ 6714 w 10785"/>
                  <a:gd name="connsiteY986" fmla="*/ 3043 h 10000"/>
                  <a:gd name="connsiteX987" fmla="*/ 6710 w 10785"/>
                  <a:gd name="connsiteY987" fmla="*/ 3034 h 10000"/>
                  <a:gd name="connsiteX988" fmla="*/ 6705 w 10785"/>
                  <a:gd name="connsiteY988" fmla="*/ 2983 h 10000"/>
                  <a:gd name="connsiteX989" fmla="*/ 6696 w 10785"/>
                  <a:gd name="connsiteY989" fmla="*/ 2966 h 10000"/>
                  <a:gd name="connsiteX990" fmla="*/ 6691 w 10785"/>
                  <a:gd name="connsiteY990" fmla="*/ 2983 h 10000"/>
                  <a:gd name="connsiteX991" fmla="*/ 6677 w 10785"/>
                  <a:gd name="connsiteY991" fmla="*/ 2897 h 10000"/>
                  <a:gd name="connsiteX992" fmla="*/ 6677 w 10785"/>
                  <a:gd name="connsiteY992" fmla="*/ 2897 h 10000"/>
                  <a:gd name="connsiteX993" fmla="*/ 6677 w 10785"/>
                  <a:gd name="connsiteY993" fmla="*/ 2872 h 10000"/>
                  <a:gd name="connsiteX994" fmla="*/ 6668 w 10785"/>
                  <a:gd name="connsiteY994" fmla="*/ 2821 h 10000"/>
                  <a:gd name="connsiteX995" fmla="*/ 6664 w 10785"/>
                  <a:gd name="connsiteY995" fmla="*/ 2829 h 10000"/>
                  <a:gd name="connsiteX996" fmla="*/ 6654 w 10785"/>
                  <a:gd name="connsiteY996" fmla="*/ 2846 h 10000"/>
                  <a:gd name="connsiteX997" fmla="*/ 6650 w 10785"/>
                  <a:gd name="connsiteY997" fmla="*/ 2829 h 10000"/>
                  <a:gd name="connsiteX998" fmla="*/ 6650 w 10785"/>
                  <a:gd name="connsiteY998" fmla="*/ 2803 h 10000"/>
                  <a:gd name="connsiteX999" fmla="*/ 6650 w 10785"/>
                  <a:gd name="connsiteY999" fmla="*/ 2795 h 10000"/>
                  <a:gd name="connsiteX1000" fmla="*/ 6641 w 10785"/>
                  <a:gd name="connsiteY1000" fmla="*/ 2786 h 10000"/>
                  <a:gd name="connsiteX1001" fmla="*/ 6636 w 10785"/>
                  <a:gd name="connsiteY1001" fmla="*/ 2735 h 10000"/>
                  <a:gd name="connsiteX1002" fmla="*/ 6664 w 10785"/>
                  <a:gd name="connsiteY1002" fmla="*/ 2667 h 10000"/>
                  <a:gd name="connsiteX1003" fmla="*/ 6668 w 10785"/>
                  <a:gd name="connsiteY1003" fmla="*/ 2684 h 10000"/>
                  <a:gd name="connsiteX1004" fmla="*/ 6677 w 10785"/>
                  <a:gd name="connsiteY1004" fmla="*/ 2667 h 10000"/>
                  <a:gd name="connsiteX1005" fmla="*/ 6668 w 10785"/>
                  <a:gd name="connsiteY1005" fmla="*/ 2667 h 10000"/>
                  <a:gd name="connsiteX1006" fmla="*/ 6668 w 10785"/>
                  <a:gd name="connsiteY1006" fmla="*/ 2650 h 10000"/>
                  <a:gd name="connsiteX1007" fmla="*/ 6682 w 10785"/>
                  <a:gd name="connsiteY1007" fmla="*/ 2650 h 10000"/>
                  <a:gd name="connsiteX1008" fmla="*/ 6691 w 10785"/>
                  <a:gd name="connsiteY1008" fmla="*/ 2624 h 10000"/>
                  <a:gd name="connsiteX1009" fmla="*/ 6682 w 10785"/>
                  <a:gd name="connsiteY1009" fmla="*/ 2632 h 10000"/>
                  <a:gd name="connsiteX1010" fmla="*/ 6682 w 10785"/>
                  <a:gd name="connsiteY1010" fmla="*/ 2624 h 10000"/>
                  <a:gd name="connsiteX1011" fmla="*/ 6691 w 10785"/>
                  <a:gd name="connsiteY1011" fmla="*/ 2607 h 10000"/>
                  <a:gd name="connsiteX1012" fmla="*/ 6691 w 10785"/>
                  <a:gd name="connsiteY1012" fmla="*/ 2598 h 10000"/>
                  <a:gd name="connsiteX1013" fmla="*/ 6691 w 10785"/>
                  <a:gd name="connsiteY1013" fmla="*/ 2581 h 10000"/>
                  <a:gd name="connsiteX1014" fmla="*/ 6696 w 10785"/>
                  <a:gd name="connsiteY1014" fmla="*/ 2530 h 10000"/>
                  <a:gd name="connsiteX1015" fmla="*/ 6677 w 10785"/>
                  <a:gd name="connsiteY1015" fmla="*/ 2513 h 10000"/>
                  <a:gd name="connsiteX1016" fmla="*/ 6677 w 10785"/>
                  <a:gd name="connsiteY1016" fmla="*/ 2496 h 10000"/>
                  <a:gd name="connsiteX1017" fmla="*/ 6682 w 10785"/>
                  <a:gd name="connsiteY1017" fmla="*/ 2470 h 10000"/>
                  <a:gd name="connsiteX1018" fmla="*/ 6668 w 10785"/>
                  <a:gd name="connsiteY1018" fmla="*/ 2462 h 10000"/>
                  <a:gd name="connsiteX1019" fmla="*/ 6677 w 10785"/>
                  <a:gd name="connsiteY1019" fmla="*/ 2436 h 10000"/>
                  <a:gd name="connsiteX1020" fmla="*/ 6682 w 10785"/>
                  <a:gd name="connsiteY1020" fmla="*/ 2419 h 10000"/>
                  <a:gd name="connsiteX1021" fmla="*/ 6682 w 10785"/>
                  <a:gd name="connsiteY1021" fmla="*/ 2393 h 10000"/>
                  <a:gd name="connsiteX1022" fmla="*/ 6682 w 10785"/>
                  <a:gd name="connsiteY1022" fmla="*/ 2385 h 10000"/>
                  <a:gd name="connsiteX1023" fmla="*/ 6682 w 10785"/>
                  <a:gd name="connsiteY1023" fmla="*/ 2385 h 10000"/>
                  <a:gd name="connsiteX1024" fmla="*/ 6677 w 10785"/>
                  <a:gd name="connsiteY1024" fmla="*/ 2376 h 10000"/>
                  <a:gd name="connsiteX1025" fmla="*/ 6682 w 10785"/>
                  <a:gd name="connsiteY1025" fmla="*/ 2359 h 10000"/>
                  <a:gd name="connsiteX1026" fmla="*/ 6677 w 10785"/>
                  <a:gd name="connsiteY1026" fmla="*/ 2333 h 10000"/>
                  <a:gd name="connsiteX1027" fmla="*/ 6691 w 10785"/>
                  <a:gd name="connsiteY1027" fmla="*/ 2333 h 10000"/>
                  <a:gd name="connsiteX1028" fmla="*/ 6691 w 10785"/>
                  <a:gd name="connsiteY1028" fmla="*/ 2325 h 10000"/>
                  <a:gd name="connsiteX1029" fmla="*/ 6691 w 10785"/>
                  <a:gd name="connsiteY1029" fmla="*/ 2308 h 10000"/>
                  <a:gd name="connsiteX1030" fmla="*/ 6691 w 10785"/>
                  <a:gd name="connsiteY1030" fmla="*/ 2299 h 10000"/>
                  <a:gd name="connsiteX1031" fmla="*/ 6691 w 10785"/>
                  <a:gd name="connsiteY1031" fmla="*/ 2282 h 10000"/>
                  <a:gd name="connsiteX1032" fmla="*/ 6691 w 10785"/>
                  <a:gd name="connsiteY1032" fmla="*/ 2274 h 10000"/>
                  <a:gd name="connsiteX1033" fmla="*/ 6668 w 10785"/>
                  <a:gd name="connsiteY1033" fmla="*/ 2248 h 10000"/>
                  <a:gd name="connsiteX1034" fmla="*/ 6664 w 10785"/>
                  <a:gd name="connsiteY1034" fmla="*/ 2222 h 10000"/>
                  <a:gd name="connsiteX1035" fmla="*/ 6654 w 10785"/>
                  <a:gd name="connsiteY1035" fmla="*/ 2214 h 10000"/>
                  <a:gd name="connsiteX1036" fmla="*/ 6654 w 10785"/>
                  <a:gd name="connsiteY1036" fmla="*/ 2188 h 10000"/>
                  <a:gd name="connsiteX1037" fmla="*/ 6622 w 10785"/>
                  <a:gd name="connsiteY1037" fmla="*/ 2162 h 10000"/>
                  <a:gd name="connsiteX1038" fmla="*/ 6631 w 10785"/>
                  <a:gd name="connsiteY1038" fmla="*/ 2145 h 10000"/>
                  <a:gd name="connsiteX1039" fmla="*/ 6622 w 10785"/>
                  <a:gd name="connsiteY1039" fmla="*/ 2120 h 10000"/>
                  <a:gd name="connsiteX1040" fmla="*/ 6608 w 10785"/>
                  <a:gd name="connsiteY1040" fmla="*/ 2120 h 10000"/>
                  <a:gd name="connsiteX1041" fmla="*/ 6604 w 10785"/>
                  <a:gd name="connsiteY1041" fmla="*/ 2111 h 10000"/>
                  <a:gd name="connsiteX1042" fmla="*/ 6608 w 10785"/>
                  <a:gd name="connsiteY1042" fmla="*/ 2111 h 10000"/>
                  <a:gd name="connsiteX1043" fmla="*/ 6604 w 10785"/>
                  <a:gd name="connsiteY1043" fmla="*/ 2085 h 10000"/>
                  <a:gd name="connsiteX1044" fmla="*/ 6581 w 10785"/>
                  <a:gd name="connsiteY1044" fmla="*/ 2077 h 10000"/>
                  <a:gd name="connsiteX1045" fmla="*/ 6571 w 10785"/>
                  <a:gd name="connsiteY1045" fmla="*/ 2085 h 10000"/>
                  <a:gd name="connsiteX1046" fmla="*/ 6548 w 10785"/>
                  <a:gd name="connsiteY1046" fmla="*/ 2077 h 10000"/>
                  <a:gd name="connsiteX1047" fmla="*/ 6530 w 10785"/>
                  <a:gd name="connsiteY1047" fmla="*/ 2060 h 10000"/>
                  <a:gd name="connsiteX1048" fmla="*/ 6521 w 10785"/>
                  <a:gd name="connsiteY1048" fmla="*/ 2060 h 10000"/>
                  <a:gd name="connsiteX1049" fmla="*/ 6521 w 10785"/>
                  <a:gd name="connsiteY1049" fmla="*/ 2085 h 10000"/>
                  <a:gd name="connsiteX1050" fmla="*/ 6516 w 10785"/>
                  <a:gd name="connsiteY1050" fmla="*/ 2085 h 10000"/>
                  <a:gd name="connsiteX1051" fmla="*/ 6502 w 10785"/>
                  <a:gd name="connsiteY1051" fmla="*/ 2111 h 10000"/>
                  <a:gd name="connsiteX1052" fmla="*/ 6498 w 10785"/>
                  <a:gd name="connsiteY1052" fmla="*/ 2111 h 10000"/>
                  <a:gd name="connsiteX1053" fmla="*/ 6498 w 10785"/>
                  <a:gd name="connsiteY1053" fmla="*/ 2103 h 10000"/>
                  <a:gd name="connsiteX1054" fmla="*/ 6475 w 10785"/>
                  <a:gd name="connsiteY1054" fmla="*/ 2051 h 10000"/>
                  <a:gd name="connsiteX1055" fmla="*/ 6470 w 10785"/>
                  <a:gd name="connsiteY1055" fmla="*/ 2060 h 10000"/>
                  <a:gd name="connsiteX1056" fmla="*/ 6456 w 10785"/>
                  <a:gd name="connsiteY1056" fmla="*/ 2051 h 10000"/>
                  <a:gd name="connsiteX1057" fmla="*/ 6447 w 10785"/>
                  <a:gd name="connsiteY1057" fmla="*/ 2051 h 10000"/>
                  <a:gd name="connsiteX1058" fmla="*/ 6433 w 10785"/>
                  <a:gd name="connsiteY1058" fmla="*/ 2026 h 10000"/>
                  <a:gd name="connsiteX1059" fmla="*/ 6433 w 10785"/>
                  <a:gd name="connsiteY1059" fmla="*/ 2034 h 10000"/>
                  <a:gd name="connsiteX1060" fmla="*/ 6429 w 10785"/>
                  <a:gd name="connsiteY1060" fmla="*/ 2026 h 10000"/>
                  <a:gd name="connsiteX1061" fmla="*/ 6424 w 10785"/>
                  <a:gd name="connsiteY1061" fmla="*/ 2034 h 10000"/>
                  <a:gd name="connsiteX1062" fmla="*/ 6410 w 10785"/>
                  <a:gd name="connsiteY1062" fmla="*/ 2026 h 10000"/>
                  <a:gd name="connsiteX1063" fmla="*/ 6410 w 10785"/>
                  <a:gd name="connsiteY1063" fmla="*/ 1991 h 10000"/>
                  <a:gd name="connsiteX1064" fmla="*/ 6401 w 10785"/>
                  <a:gd name="connsiteY1064" fmla="*/ 1991 h 10000"/>
                  <a:gd name="connsiteX1065" fmla="*/ 6396 w 10785"/>
                  <a:gd name="connsiteY1065" fmla="*/ 2000 h 10000"/>
                  <a:gd name="connsiteX1066" fmla="*/ 6382 w 10785"/>
                  <a:gd name="connsiteY1066" fmla="*/ 1966 h 10000"/>
                  <a:gd name="connsiteX1067" fmla="*/ 6373 w 10785"/>
                  <a:gd name="connsiteY1067" fmla="*/ 1974 h 10000"/>
                  <a:gd name="connsiteX1068" fmla="*/ 6369 w 10785"/>
                  <a:gd name="connsiteY1068" fmla="*/ 1966 h 10000"/>
                  <a:gd name="connsiteX1069" fmla="*/ 6341 w 10785"/>
                  <a:gd name="connsiteY1069" fmla="*/ 1949 h 10000"/>
                  <a:gd name="connsiteX1070" fmla="*/ 6327 w 10785"/>
                  <a:gd name="connsiteY1070" fmla="*/ 1923 h 10000"/>
                  <a:gd name="connsiteX1071" fmla="*/ 6323 w 10785"/>
                  <a:gd name="connsiteY1071" fmla="*/ 1923 h 10000"/>
                  <a:gd name="connsiteX1072" fmla="*/ 6323 w 10785"/>
                  <a:gd name="connsiteY1072" fmla="*/ 1966 h 10000"/>
                  <a:gd name="connsiteX1073" fmla="*/ 6323 w 10785"/>
                  <a:gd name="connsiteY1073" fmla="*/ 1991 h 10000"/>
                  <a:gd name="connsiteX1074" fmla="*/ 6313 w 10785"/>
                  <a:gd name="connsiteY1074" fmla="*/ 1991 h 10000"/>
                  <a:gd name="connsiteX1075" fmla="*/ 6300 w 10785"/>
                  <a:gd name="connsiteY1075" fmla="*/ 1991 h 10000"/>
                  <a:gd name="connsiteX1076" fmla="*/ 6290 w 10785"/>
                  <a:gd name="connsiteY1076" fmla="*/ 1949 h 10000"/>
                  <a:gd name="connsiteX1077" fmla="*/ 6276 w 10785"/>
                  <a:gd name="connsiteY1077" fmla="*/ 2103 h 10000"/>
                  <a:gd name="connsiteX1078" fmla="*/ 6281 w 10785"/>
                  <a:gd name="connsiteY1078" fmla="*/ 2103 h 10000"/>
                  <a:gd name="connsiteX1079" fmla="*/ 6276 w 10785"/>
                  <a:gd name="connsiteY1079" fmla="*/ 2111 h 10000"/>
                  <a:gd name="connsiteX1080" fmla="*/ 6276 w 10785"/>
                  <a:gd name="connsiteY1080" fmla="*/ 2120 h 10000"/>
                  <a:gd name="connsiteX1081" fmla="*/ 6295 w 10785"/>
                  <a:gd name="connsiteY1081" fmla="*/ 2239 h 10000"/>
                  <a:gd name="connsiteX1082" fmla="*/ 6290 w 10785"/>
                  <a:gd name="connsiteY1082" fmla="*/ 2248 h 10000"/>
                  <a:gd name="connsiteX1083" fmla="*/ 6281 w 10785"/>
                  <a:gd name="connsiteY1083" fmla="*/ 2274 h 10000"/>
                  <a:gd name="connsiteX1084" fmla="*/ 6249 w 10785"/>
                  <a:gd name="connsiteY1084" fmla="*/ 2274 h 10000"/>
                  <a:gd name="connsiteX1085" fmla="*/ 6226 w 10785"/>
                  <a:gd name="connsiteY1085" fmla="*/ 2308 h 10000"/>
                  <a:gd name="connsiteX1086" fmla="*/ 6221 w 10785"/>
                  <a:gd name="connsiteY1086" fmla="*/ 2299 h 10000"/>
                  <a:gd name="connsiteX1087" fmla="*/ 6221 w 10785"/>
                  <a:gd name="connsiteY1087" fmla="*/ 2308 h 10000"/>
                  <a:gd name="connsiteX1088" fmla="*/ 6217 w 10785"/>
                  <a:gd name="connsiteY1088" fmla="*/ 2299 h 10000"/>
                  <a:gd name="connsiteX1089" fmla="*/ 6194 w 10785"/>
                  <a:gd name="connsiteY1089" fmla="*/ 2308 h 10000"/>
                  <a:gd name="connsiteX1090" fmla="*/ 6180 w 10785"/>
                  <a:gd name="connsiteY1090" fmla="*/ 2299 h 10000"/>
                  <a:gd name="connsiteX1091" fmla="*/ 6143 w 10785"/>
                  <a:gd name="connsiteY1091" fmla="*/ 2308 h 10000"/>
                  <a:gd name="connsiteX1092" fmla="*/ 6134 w 10785"/>
                  <a:gd name="connsiteY1092" fmla="*/ 2325 h 10000"/>
                  <a:gd name="connsiteX1093" fmla="*/ 6115 w 10785"/>
                  <a:gd name="connsiteY1093" fmla="*/ 2282 h 10000"/>
                  <a:gd name="connsiteX1094" fmla="*/ 6069 w 10785"/>
                  <a:gd name="connsiteY1094" fmla="*/ 2274 h 10000"/>
                  <a:gd name="connsiteX1095" fmla="*/ 6069 w 10785"/>
                  <a:gd name="connsiteY1095" fmla="*/ 2282 h 10000"/>
                  <a:gd name="connsiteX1096" fmla="*/ 6060 w 10785"/>
                  <a:gd name="connsiteY1096" fmla="*/ 2299 h 10000"/>
                  <a:gd name="connsiteX1097" fmla="*/ 5972 w 10785"/>
                  <a:gd name="connsiteY1097" fmla="*/ 2214 h 10000"/>
                  <a:gd name="connsiteX1098" fmla="*/ 5968 w 10785"/>
                  <a:gd name="connsiteY1098" fmla="*/ 2197 h 10000"/>
                  <a:gd name="connsiteX1099" fmla="*/ 5968 w 10785"/>
                  <a:gd name="connsiteY1099" fmla="*/ 2171 h 10000"/>
                  <a:gd name="connsiteX1100" fmla="*/ 5968 w 10785"/>
                  <a:gd name="connsiteY1100" fmla="*/ 2162 h 10000"/>
                  <a:gd name="connsiteX1101" fmla="*/ 5968 w 10785"/>
                  <a:gd name="connsiteY1101" fmla="*/ 2120 h 10000"/>
                  <a:gd name="connsiteX1102" fmla="*/ 5968 w 10785"/>
                  <a:gd name="connsiteY1102" fmla="*/ 2111 h 10000"/>
                  <a:gd name="connsiteX1103" fmla="*/ 5972 w 10785"/>
                  <a:gd name="connsiteY1103" fmla="*/ 2103 h 10000"/>
                  <a:gd name="connsiteX1104" fmla="*/ 5986 w 10785"/>
                  <a:gd name="connsiteY1104" fmla="*/ 2103 h 10000"/>
                  <a:gd name="connsiteX1105" fmla="*/ 5986 w 10785"/>
                  <a:gd name="connsiteY1105" fmla="*/ 2085 h 10000"/>
                  <a:gd name="connsiteX1106" fmla="*/ 5995 w 10785"/>
                  <a:gd name="connsiteY1106" fmla="*/ 2085 h 10000"/>
                  <a:gd name="connsiteX1107" fmla="*/ 5995 w 10785"/>
                  <a:gd name="connsiteY1107" fmla="*/ 2077 h 10000"/>
                  <a:gd name="connsiteX1108" fmla="*/ 5986 w 10785"/>
                  <a:gd name="connsiteY1108" fmla="*/ 2060 h 10000"/>
                  <a:gd name="connsiteX1109" fmla="*/ 5954 w 10785"/>
                  <a:gd name="connsiteY1109" fmla="*/ 2060 h 10000"/>
                  <a:gd name="connsiteX1110" fmla="*/ 5940 w 10785"/>
                  <a:gd name="connsiteY1110" fmla="*/ 2051 h 10000"/>
                  <a:gd name="connsiteX1111" fmla="*/ 5922 w 10785"/>
                  <a:gd name="connsiteY1111" fmla="*/ 2060 h 10000"/>
                  <a:gd name="connsiteX1112" fmla="*/ 5885 w 10785"/>
                  <a:gd name="connsiteY1112" fmla="*/ 2051 h 10000"/>
                  <a:gd name="connsiteX1113" fmla="*/ 5876 w 10785"/>
                  <a:gd name="connsiteY1113" fmla="*/ 2026 h 10000"/>
                  <a:gd name="connsiteX1114" fmla="*/ 5862 w 10785"/>
                  <a:gd name="connsiteY1114" fmla="*/ 2026 h 10000"/>
                  <a:gd name="connsiteX1115" fmla="*/ 5848 w 10785"/>
                  <a:gd name="connsiteY1115" fmla="*/ 2026 h 10000"/>
                  <a:gd name="connsiteX1116" fmla="*/ 5825 w 10785"/>
                  <a:gd name="connsiteY1116" fmla="*/ 2026 h 10000"/>
                  <a:gd name="connsiteX1117" fmla="*/ 5788 w 10785"/>
                  <a:gd name="connsiteY1117" fmla="*/ 1991 h 10000"/>
                  <a:gd name="connsiteX1118" fmla="*/ 5760 w 10785"/>
                  <a:gd name="connsiteY1118" fmla="*/ 2000 h 10000"/>
                  <a:gd name="connsiteX1119" fmla="*/ 5760 w 10785"/>
                  <a:gd name="connsiteY1119" fmla="*/ 2026 h 10000"/>
                  <a:gd name="connsiteX1120" fmla="*/ 5714 w 10785"/>
                  <a:gd name="connsiteY1120" fmla="*/ 2051 h 10000"/>
                  <a:gd name="connsiteX1121" fmla="*/ 5687 w 10785"/>
                  <a:gd name="connsiteY1121" fmla="*/ 2034 h 10000"/>
                  <a:gd name="connsiteX1122" fmla="*/ 5645 w 10785"/>
                  <a:gd name="connsiteY1122" fmla="*/ 2077 h 10000"/>
                  <a:gd name="connsiteX1123" fmla="*/ 5664 w 10785"/>
                  <a:gd name="connsiteY1123" fmla="*/ 2120 h 10000"/>
                  <a:gd name="connsiteX1124" fmla="*/ 5664 w 10785"/>
                  <a:gd name="connsiteY1124" fmla="*/ 2162 h 10000"/>
                  <a:gd name="connsiteX1125" fmla="*/ 5631 w 10785"/>
                  <a:gd name="connsiteY1125" fmla="*/ 2197 h 10000"/>
                  <a:gd name="connsiteX1126" fmla="*/ 5618 w 10785"/>
                  <a:gd name="connsiteY1126" fmla="*/ 2188 h 10000"/>
                  <a:gd name="connsiteX1127" fmla="*/ 5618 w 10785"/>
                  <a:gd name="connsiteY1127" fmla="*/ 2171 h 10000"/>
                  <a:gd name="connsiteX1128" fmla="*/ 5641 w 10785"/>
                  <a:gd name="connsiteY1128" fmla="*/ 2171 h 10000"/>
                  <a:gd name="connsiteX1129" fmla="*/ 5641 w 10785"/>
                  <a:gd name="connsiteY1129" fmla="*/ 2162 h 10000"/>
                  <a:gd name="connsiteX1130" fmla="*/ 5627 w 10785"/>
                  <a:gd name="connsiteY1130" fmla="*/ 2145 h 10000"/>
                  <a:gd name="connsiteX1131" fmla="*/ 5627 w 10785"/>
                  <a:gd name="connsiteY1131" fmla="*/ 2120 h 10000"/>
                  <a:gd name="connsiteX1132" fmla="*/ 5618 w 10785"/>
                  <a:gd name="connsiteY1132" fmla="*/ 2111 h 10000"/>
                  <a:gd name="connsiteX1133" fmla="*/ 5631 w 10785"/>
                  <a:gd name="connsiteY1133" fmla="*/ 2051 h 10000"/>
                  <a:gd name="connsiteX1134" fmla="*/ 5631 w 10785"/>
                  <a:gd name="connsiteY1134" fmla="*/ 2026 h 10000"/>
                  <a:gd name="connsiteX1135" fmla="*/ 5627 w 10785"/>
                  <a:gd name="connsiteY1135" fmla="*/ 1991 h 10000"/>
                  <a:gd name="connsiteX1136" fmla="*/ 5618 w 10785"/>
                  <a:gd name="connsiteY1136" fmla="*/ 1974 h 10000"/>
                  <a:gd name="connsiteX1137" fmla="*/ 5618 w 10785"/>
                  <a:gd name="connsiteY1137" fmla="*/ 1940 h 10000"/>
                  <a:gd name="connsiteX1138" fmla="*/ 5594 w 10785"/>
                  <a:gd name="connsiteY1138" fmla="*/ 1855 h 10000"/>
                  <a:gd name="connsiteX1139" fmla="*/ 5599 w 10785"/>
                  <a:gd name="connsiteY1139" fmla="*/ 1915 h 10000"/>
                  <a:gd name="connsiteX1140" fmla="*/ 5599 w 10785"/>
                  <a:gd name="connsiteY1140" fmla="*/ 1949 h 10000"/>
                  <a:gd name="connsiteX1141" fmla="*/ 5594 w 10785"/>
                  <a:gd name="connsiteY1141" fmla="*/ 1991 h 10000"/>
                  <a:gd name="connsiteX1142" fmla="*/ 5571 w 10785"/>
                  <a:gd name="connsiteY1142" fmla="*/ 2000 h 10000"/>
                  <a:gd name="connsiteX1143" fmla="*/ 5530 w 10785"/>
                  <a:gd name="connsiteY1143" fmla="*/ 1991 h 10000"/>
                  <a:gd name="connsiteX1144" fmla="*/ 5525 w 10785"/>
                  <a:gd name="connsiteY1144" fmla="*/ 2000 h 10000"/>
                  <a:gd name="connsiteX1145" fmla="*/ 5521 w 10785"/>
                  <a:gd name="connsiteY1145" fmla="*/ 1991 h 10000"/>
                  <a:gd name="connsiteX1146" fmla="*/ 5498 w 10785"/>
                  <a:gd name="connsiteY1146" fmla="*/ 1949 h 10000"/>
                  <a:gd name="connsiteX1147" fmla="*/ 5493 w 10785"/>
                  <a:gd name="connsiteY1147" fmla="*/ 1889 h 10000"/>
                  <a:gd name="connsiteX1148" fmla="*/ 5493 w 10785"/>
                  <a:gd name="connsiteY1148" fmla="*/ 1863 h 10000"/>
                  <a:gd name="connsiteX1149" fmla="*/ 5498 w 10785"/>
                  <a:gd name="connsiteY1149" fmla="*/ 1889 h 10000"/>
                  <a:gd name="connsiteX1150" fmla="*/ 5512 w 10785"/>
                  <a:gd name="connsiteY1150" fmla="*/ 1855 h 10000"/>
                  <a:gd name="connsiteX1151" fmla="*/ 5512 w 10785"/>
                  <a:gd name="connsiteY1151" fmla="*/ 1838 h 10000"/>
                  <a:gd name="connsiteX1152" fmla="*/ 5479 w 10785"/>
                  <a:gd name="connsiteY1152" fmla="*/ 1855 h 10000"/>
                  <a:gd name="connsiteX1153" fmla="*/ 5470 w 10785"/>
                  <a:gd name="connsiteY1153" fmla="*/ 1872 h 10000"/>
                  <a:gd name="connsiteX1154" fmla="*/ 5470 w 10785"/>
                  <a:gd name="connsiteY1154" fmla="*/ 1889 h 10000"/>
                  <a:gd name="connsiteX1155" fmla="*/ 5465 w 10785"/>
                  <a:gd name="connsiteY1155" fmla="*/ 1897 h 10000"/>
                  <a:gd name="connsiteX1156" fmla="*/ 5456 w 10785"/>
                  <a:gd name="connsiteY1156" fmla="*/ 1872 h 10000"/>
                  <a:gd name="connsiteX1157" fmla="*/ 5447 w 10785"/>
                  <a:gd name="connsiteY1157" fmla="*/ 1872 h 10000"/>
                  <a:gd name="connsiteX1158" fmla="*/ 5433 w 10785"/>
                  <a:gd name="connsiteY1158" fmla="*/ 1855 h 10000"/>
                  <a:gd name="connsiteX1159" fmla="*/ 5396 w 10785"/>
                  <a:gd name="connsiteY1159" fmla="*/ 1863 h 10000"/>
                  <a:gd name="connsiteX1160" fmla="*/ 5396 w 10785"/>
                  <a:gd name="connsiteY1160" fmla="*/ 1897 h 10000"/>
                  <a:gd name="connsiteX1161" fmla="*/ 5378 w 10785"/>
                  <a:gd name="connsiteY1161" fmla="*/ 1949 h 10000"/>
                  <a:gd name="connsiteX1162" fmla="*/ 5378 w 10785"/>
                  <a:gd name="connsiteY1162" fmla="*/ 1966 h 10000"/>
                  <a:gd name="connsiteX1163" fmla="*/ 5392 w 10785"/>
                  <a:gd name="connsiteY1163" fmla="*/ 2026 h 10000"/>
                  <a:gd name="connsiteX1164" fmla="*/ 5396 w 10785"/>
                  <a:gd name="connsiteY1164" fmla="*/ 2026 h 10000"/>
                  <a:gd name="connsiteX1165" fmla="*/ 5392 w 10785"/>
                  <a:gd name="connsiteY1165" fmla="*/ 2009 h 10000"/>
                  <a:gd name="connsiteX1166" fmla="*/ 5392 w 10785"/>
                  <a:gd name="connsiteY1166" fmla="*/ 2000 h 10000"/>
                  <a:gd name="connsiteX1167" fmla="*/ 5396 w 10785"/>
                  <a:gd name="connsiteY1167" fmla="*/ 2009 h 10000"/>
                  <a:gd name="connsiteX1168" fmla="*/ 5424 w 10785"/>
                  <a:gd name="connsiteY1168" fmla="*/ 2009 h 10000"/>
                  <a:gd name="connsiteX1169" fmla="*/ 5433 w 10785"/>
                  <a:gd name="connsiteY1169" fmla="*/ 1991 h 10000"/>
                  <a:gd name="connsiteX1170" fmla="*/ 5447 w 10785"/>
                  <a:gd name="connsiteY1170" fmla="*/ 1974 h 10000"/>
                  <a:gd name="connsiteX1171" fmla="*/ 5452 w 10785"/>
                  <a:gd name="connsiteY1171" fmla="*/ 1966 h 10000"/>
                  <a:gd name="connsiteX1172" fmla="*/ 5456 w 10785"/>
                  <a:gd name="connsiteY1172" fmla="*/ 1966 h 10000"/>
                  <a:gd name="connsiteX1173" fmla="*/ 5465 w 10785"/>
                  <a:gd name="connsiteY1173" fmla="*/ 2009 h 10000"/>
                  <a:gd name="connsiteX1174" fmla="*/ 5433 w 10785"/>
                  <a:gd name="connsiteY1174" fmla="*/ 2034 h 10000"/>
                  <a:gd name="connsiteX1175" fmla="*/ 5424 w 10785"/>
                  <a:gd name="connsiteY1175" fmla="*/ 2060 h 10000"/>
                  <a:gd name="connsiteX1176" fmla="*/ 5419 w 10785"/>
                  <a:gd name="connsiteY1176" fmla="*/ 2060 h 10000"/>
                  <a:gd name="connsiteX1177" fmla="*/ 5392 w 10785"/>
                  <a:gd name="connsiteY1177" fmla="*/ 2111 h 10000"/>
                  <a:gd name="connsiteX1178" fmla="*/ 5378 w 10785"/>
                  <a:gd name="connsiteY1178" fmla="*/ 2111 h 10000"/>
                  <a:gd name="connsiteX1179" fmla="*/ 5350 w 10785"/>
                  <a:gd name="connsiteY1179" fmla="*/ 2060 h 10000"/>
                  <a:gd name="connsiteX1180" fmla="*/ 5373 w 10785"/>
                  <a:gd name="connsiteY1180" fmla="*/ 2111 h 10000"/>
                  <a:gd name="connsiteX1181" fmla="*/ 5364 w 10785"/>
                  <a:gd name="connsiteY1181" fmla="*/ 2111 h 10000"/>
                  <a:gd name="connsiteX1182" fmla="*/ 5359 w 10785"/>
                  <a:gd name="connsiteY1182" fmla="*/ 2103 h 10000"/>
                  <a:gd name="connsiteX1183" fmla="*/ 5359 w 10785"/>
                  <a:gd name="connsiteY1183" fmla="*/ 2120 h 10000"/>
                  <a:gd name="connsiteX1184" fmla="*/ 5359 w 10785"/>
                  <a:gd name="connsiteY1184" fmla="*/ 2137 h 10000"/>
                  <a:gd name="connsiteX1185" fmla="*/ 5313 w 10785"/>
                  <a:gd name="connsiteY1185" fmla="*/ 2162 h 10000"/>
                  <a:gd name="connsiteX1186" fmla="*/ 5300 w 10785"/>
                  <a:gd name="connsiteY1186" fmla="*/ 2162 h 10000"/>
                  <a:gd name="connsiteX1187" fmla="*/ 5300 w 10785"/>
                  <a:gd name="connsiteY1187" fmla="*/ 2171 h 10000"/>
                  <a:gd name="connsiteX1188" fmla="*/ 5300 w 10785"/>
                  <a:gd name="connsiteY1188" fmla="*/ 2197 h 10000"/>
                  <a:gd name="connsiteX1189" fmla="*/ 5276 w 10785"/>
                  <a:gd name="connsiteY1189" fmla="*/ 2188 h 10000"/>
                  <a:gd name="connsiteX1190" fmla="*/ 5249 w 10785"/>
                  <a:gd name="connsiteY1190" fmla="*/ 2222 h 10000"/>
                  <a:gd name="connsiteX1191" fmla="*/ 5249 w 10785"/>
                  <a:gd name="connsiteY1191" fmla="*/ 2222 h 10000"/>
                  <a:gd name="connsiteX1192" fmla="*/ 5217 w 10785"/>
                  <a:gd name="connsiteY1192" fmla="*/ 2214 h 10000"/>
                  <a:gd name="connsiteX1193" fmla="*/ 5203 w 10785"/>
                  <a:gd name="connsiteY1193" fmla="*/ 2239 h 10000"/>
                  <a:gd name="connsiteX1194" fmla="*/ 5171 w 10785"/>
                  <a:gd name="connsiteY1194" fmla="*/ 2214 h 10000"/>
                  <a:gd name="connsiteX1195" fmla="*/ 5157 w 10785"/>
                  <a:gd name="connsiteY1195" fmla="*/ 2239 h 10000"/>
                  <a:gd name="connsiteX1196" fmla="*/ 5166 w 10785"/>
                  <a:gd name="connsiteY1196" fmla="*/ 2256 h 10000"/>
                  <a:gd name="connsiteX1197" fmla="*/ 5171 w 10785"/>
                  <a:gd name="connsiteY1197" fmla="*/ 2308 h 10000"/>
                  <a:gd name="connsiteX1198" fmla="*/ 5212 w 10785"/>
                  <a:gd name="connsiteY1198" fmla="*/ 2350 h 10000"/>
                  <a:gd name="connsiteX1199" fmla="*/ 5203 w 10785"/>
                  <a:gd name="connsiteY1199" fmla="*/ 2350 h 10000"/>
                  <a:gd name="connsiteX1200" fmla="*/ 5166 w 10785"/>
                  <a:gd name="connsiteY1200" fmla="*/ 2325 h 10000"/>
                  <a:gd name="connsiteX1201" fmla="*/ 5152 w 10785"/>
                  <a:gd name="connsiteY1201" fmla="*/ 2308 h 10000"/>
                  <a:gd name="connsiteX1202" fmla="*/ 5143 w 10785"/>
                  <a:gd name="connsiteY1202" fmla="*/ 2333 h 10000"/>
                  <a:gd name="connsiteX1203" fmla="*/ 5138 w 10785"/>
                  <a:gd name="connsiteY1203" fmla="*/ 2333 h 10000"/>
                  <a:gd name="connsiteX1204" fmla="*/ 5124 w 10785"/>
                  <a:gd name="connsiteY1204" fmla="*/ 2376 h 10000"/>
                  <a:gd name="connsiteX1205" fmla="*/ 5115 w 10785"/>
                  <a:gd name="connsiteY1205" fmla="*/ 2385 h 10000"/>
                  <a:gd name="connsiteX1206" fmla="*/ 5106 w 10785"/>
                  <a:gd name="connsiteY1206" fmla="*/ 2385 h 10000"/>
                  <a:gd name="connsiteX1207" fmla="*/ 5055 w 10785"/>
                  <a:gd name="connsiteY1207" fmla="*/ 2470 h 10000"/>
                  <a:gd name="connsiteX1208" fmla="*/ 5065 w 10785"/>
                  <a:gd name="connsiteY1208" fmla="*/ 2462 h 10000"/>
                  <a:gd name="connsiteX1209" fmla="*/ 5055 w 10785"/>
                  <a:gd name="connsiteY1209" fmla="*/ 2444 h 10000"/>
                  <a:gd name="connsiteX1210" fmla="*/ 5041 w 10785"/>
                  <a:gd name="connsiteY1210" fmla="*/ 2462 h 10000"/>
                  <a:gd name="connsiteX1211" fmla="*/ 5037 w 10785"/>
                  <a:gd name="connsiteY1211" fmla="*/ 2470 h 10000"/>
                  <a:gd name="connsiteX1212" fmla="*/ 5032 w 10785"/>
                  <a:gd name="connsiteY1212" fmla="*/ 2470 h 10000"/>
                  <a:gd name="connsiteX1213" fmla="*/ 5032 w 10785"/>
                  <a:gd name="connsiteY1213" fmla="*/ 2444 h 10000"/>
                  <a:gd name="connsiteX1214" fmla="*/ 5055 w 10785"/>
                  <a:gd name="connsiteY1214" fmla="*/ 2410 h 10000"/>
                  <a:gd name="connsiteX1215" fmla="*/ 5065 w 10785"/>
                  <a:gd name="connsiteY1215" fmla="*/ 2393 h 10000"/>
                  <a:gd name="connsiteX1216" fmla="*/ 5069 w 10785"/>
                  <a:gd name="connsiteY1216" fmla="*/ 2385 h 10000"/>
                  <a:gd name="connsiteX1217" fmla="*/ 5083 w 10785"/>
                  <a:gd name="connsiteY1217" fmla="*/ 2376 h 10000"/>
                  <a:gd name="connsiteX1218" fmla="*/ 5097 w 10785"/>
                  <a:gd name="connsiteY1218" fmla="*/ 2376 h 10000"/>
                  <a:gd name="connsiteX1219" fmla="*/ 5124 w 10785"/>
                  <a:gd name="connsiteY1219" fmla="*/ 2325 h 10000"/>
                  <a:gd name="connsiteX1220" fmla="*/ 5143 w 10785"/>
                  <a:gd name="connsiteY1220" fmla="*/ 2248 h 10000"/>
                  <a:gd name="connsiteX1221" fmla="*/ 5152 w 10785"/>
                  <a:gd name="connsiteY1221" fmla="*/ 2239 h 10000"/>
                  <a:gd name="connsiteX1222" fmla="*/ 5166 w 10785"/>
                  <a:gd name="connsiteY1222" fmla="*/ 2162 h 10000"/>
                  <a:gd name="connsiteX1223" fmla="*/ 5171 w 10785"/>
                  <a:gd name="connsiteY1223" fmla="*/ 2171 h 10000"/>
                  <a:gd name="connsiteX1224" fmla="*/ 5198 w 10785"/>
                  <a:gd name="connsiteY1224" fmla="*/ 2145 h 10000"/>
                  <a:gd name="connsiteX1225" fmla="*/ 5203 w 10785"/>
                  <a:gd name="connsiteY1225" fmla="*/ 2111 h 10000"/>
                  <a:gd name="connsiteX1226" fmla="*/ 5217 w 10785"/>
                  <a:gd name="connsiteY1226" fmla="*/ 2060 h 10000"/>
                  <a:gd name="connsiteX1227" fmla="*/ 5226 w 10785"/>
                  <a:gd name="connsiteY1227" fmla="*/ 2026 h 10000"/>
                  <a:gd name="connsiteX1228" fmla="*/ 5286 w 10785"/>
                  <a:gd name="connsiteY1228" fmla="*/ 2026 h 10000"/>
                  <a:gd name="connsiteX1229" fmla="*/ 5290 w 10785"/>
                  <a:gd name="connsiteY1229" fmla="*/ 2034 h 10000"/>
                  <a:gd name="connsiteX1230" fmla="*/ 5323 w 10785"/>
                  <a:gd name="connsiteY1230" fmla="*/ 1923 h 10000"/>
                  <a:gd name="connsiteX1231" fmla="*/ 5323 w 10785"/>
                  <a:gd name="connsiteY1231" fmla="*/ 1889 h 10000"/>
                  <a:gd name="connsiteX1232" fmla="*/ 5359 w 10785"/>
                  <a:gd name="connsiteY1232" fmla="*/ 1829 h 10000"/>
                  <a:gd name="connsiteX1233" fmla="*/ 5378 w 10785"/>
                  <a:gd name="connsiteY1233" fmla="*/ 1812 h 10000"/>
                  <a:gd name="connsiteX1234" fmla="*/ 5406 w 10785"/>
                  <a:gd name="connsiteY1234" fmla="*/ 1752 h 10000"/>
                  <a:gd name="connsiteX1235" fmla="*/ 5410 w 10785"/>
                  <a:gd name="connsiteY1235" fmla="*/ 1718 h 10000"/>
                  <a:gd name="connsiteX1236" fmla="*/ 5438 w 10785"/>
                  <a:gd name="connsiteY1236" fmla="*/ 1667 h 10000"/>
                  <a:gd name="connsiteX1237" fmla="*/ 5438 w 10785"/>
                  <a:gd name="connsiteY1237" fmla="*/ 1650 h 10000"/>
                  <a:gd name="connsiteX1238" fmla="*/ 5438 w 10785"/>
                  <a:gd name="connsiteY1238" fmla="*/ 1641 h 10000"/>
                  <a:gd name="connsiteX1239" fmla="*/ 5452 w 10785"/>
                  <a:gd name="connsiteY1239" fmla="*/ 1641 h 10000"/>
                  <a:gd name="connsiteX1240" fmla="*/ 5456 w 10785"/>
                  <a:gd name="connsiteY1240" fmla="*/ 1615 h 10000"/>
                  <a:gd name="connsiteX1241" fmla="*/ 5456 w 10785"/>
                  <a:gd name="connsiteY1241" fmla="*/ 1615 h 10000"/>
                  <a:gd name="connsiteX1242" fmla="*/ 5465 w 10785"/>
                  <a:gd name="connsiteY1242" fmla="*/ 1598 h 10000"/>
                  <a:gd name="connsiteX1243" fmla="*/ 5465 w 10785"/>
                  <a:gd name="connsiteY1243" fmla="*/ 1615 h 10000"/>
                  <a:gd name="connsiteX1244" fmla="*/ 5479 w 10785"/>
                  <a:gd name="connsiteY1244" fmla="*/ 1598 h 10000"/>
                  <a:gd name="connsiteX1245" fmla="*/ 5484 w 10785"/>
                  <a:gd name="connsiteY1245" fmla="*/ 1581 h 10000"/>
                  <a:gd name="connsiteX1246" fmla="*/ 5493 w 10785"/>
                  <a:gd name="connsiteY1246" fmla="*/ 1581 h 10000"/>
                  <a:gd name="connsiteX1247" fmla="*/ 5512 w 10785"/>
                  <a:gd name="connsiteY1247" fmla="*/ 1538 h 10000"/>
                  <a:gd name="connsiteX1248" fmla="*/ 5530 w 10785"/>
                  <a:gd name="connsiteY1248" fmla="*/ 1564 h 10000"/>
                  <a:gd name="connsiteX1249" fmla="*/ 5530 w 10785"/>
                  <a:gd name="connsiteY1249" fmla="*/ 1538 h 10000"/>
                  <a:gd name="connsiteX1250" fmla="*/ 5539 w 10785"/>
                  <a:gd name="connsiteY1250" fmla="*/ 1530 h 10000"/>
                  <a:gd name="connsiteX1251" fmla="*/ 5530 w 10785"/>
                  <a:gd name="connsiteY1251" fmla="*/ 1504 h 10000"/>
                  <a:gd name="connsiteX1252" fmla="*/ 5567 w 10785"/>
                  <a:gd name="connsiteY1252" fmla="*/ 1479 h 10000"/>
                  <a:gd name="connsiteX1253" fmla="*/ 5553 w 10785"/>
                  <a:gd name="connsiteY1253" fmla="*/ 1479 h 10000"/>
                  <a:gd name="connsiteX1254" fmla="*/ 5553 w 10785"/>
                  <a:gd name="connsiteY1254" fmla="*/ 1453 h 10000"/>
                  <a:gd name="connsiteX1255" fmla="*/ 5581 w 10785"/>
                  <a:gd name="connsiteY1255" fmla="*/ 1444 h 10000"/>
                  <a:gd name="connsiteX1256" fmla="*/ 5581 w 10785"/>
                  <a:gd name="connsiteY1256" fmla="*/ 1453 h 10000"/>
                  <a:gd name="connsiteX1257" fmla="*/ 5585 w 10785"/>
                  <a:gd name="connsiteY1257" fmla="*/ 1444 h 10000"/>
                  <a:gd name="connsiteX1258" fmla="*/ 5594 w 10785"/>
                  <a:gd name="connsiteY1258" fmla="*/ 1427 h 10000"/>
                  <a:gd name="connsiteX1259" fmla="*/ 5599 w 10785"/>
                  <a:gd name="connsiteY1259" fmla="*/ 1419 h 10000"/>
                  <a:gd name="connsiteX1260" fmla="*/ 5594 w 10785"/>
                  <a:gd name="connsiteY1260" fmla="*/ 1402 h 10000"/>
                  <a:gd name="connsiteX1261" fmla="*/ 5604 w 10785"/>
                  <a:gd name="connsiteY1261" fmla="*/ 1393 h 10000"/>
                  <a:gd name="connsiteX1262" fmla="*/ 5618 w 10785"/>
                  <a:gd name="connsiteY1262" fmla="*/ 1393 h 10000"/>
                  <a:gd name="connsiteX1263" fmla="*/ 5627 w 10785"/>
                  <a:gd name="connsiteY1263" fmla="*/ 1368 h 10000"/>
                  <a:gd name="connsiteX1264" fmla="*/ 5627 w 10785"/>
                  <a:gd name="connsiteY1264" fmla="*/ 1325 h 10000"/>
                  <a:gd name="connsiteX1265" fmla="*/ 5645 w 10785"/>
                  <a:gd name="connsiteY1265" fmla="*/ 1291 h 10000"/>
                  <a:gd name="connsiteX1266" fmla="*/ 5645 w 10785"/>
                  <a:gd name="connsiteY1266" fmla="*/ 1282 h 10000"/>
                  <a:gd name="connsiteX1267" fmla="*/ 5654 w 10785"/>
                  <a:gd name="connsiteY1267" fmla="*/ 1265 h 10000"/>
                  <a:gd name="connsiteX1268" fmla="*/ 5654 w 10785"/>
                  <a:gd name="connsiteY1268" fmla="*/ 1214 h 10000"/>
                  <a:gd name="connsiteX1269" fmla="*/ 5654 w 10785"/>
                  <a:gd name="connsiteY1269" fmla="*/ 1214 h 10000"/>
                  <a:gd name="connsiteX1270" fmla="*/ 5645 w 10785"/>
                  <a:gd name="connsiteY1270" fmla="*/ 1197 h 10000"/>
                  <a:gd name="connsiteX1271" fmla="*/ 5659 w 10785"/>
                  <a:gd name="connsiteY1271" fmla="*/ 1197 h 10000"/>
                  <a:gd name="connsiteX1272" fmla="*/ 5654 w 10785"/>
                  <a:gd name="connsiteY1272" fmla="*/ 1154 h 10000"/>
                  <a:gd name="connsiteX1273" fmla="*/ 5641 w 10785"/>
                  <a:gd name="connsiteY1273" fmla="*/ 1154 h 10000"/>
                  <a:gd name="connsiteX1274" fmla="*/ 5627 w 10785"/>
                  <a:gd name="connsiteY1274" fmla="*/ 1128 h 10000"/>
                  <a:gd name="connsiteX1275" fmla="*/ 5618 w 10785"/>
                  <a:gd name="connsiteY1275" fmla="*/ 1094 h 10000"/>
                  <a:gd name="connsiteX1276" fmla="*/ 5613 w 10785"/>
                  <a:gd name="connsiteY1276" fmla="*/ 1094 h 10000"/>
                  <a:gd name="connsiteX1277" fmla="*/ 5604 w 10785"/>
                  <a:gd name="connsiteY1277" fmla="*/ 1120 h 10000"/>
                  <a:gd name="connsiteX1278" fmla="*/ 5604 w 10785"/>
                  <a:gd name="connsiteY1278" fmla="*/ 1128 h 10000"/>
                  <a:gd name="connsiteX1279" fmla="*/ 5599 w 10785"/>
                  <a:gd name="connsiteY1279" fmla="*/ 1103 h 10000"/>
                  <a:gd name="connsiteX1280" fmla="*/ 5599 w 10785"/>
                  <a:gd name="connsiteY1280" fmla="*/ 1103 h 10000"/>
                  <a:gd name="connsiteX1281" fmla="*/ 5594 w 10785"/>
                  <a:gd name="connsiteY1281" fmla="*/ 1068 h 10000"/>
                  <a:gd name="connsiteX1282" fmla="*/ 5594 w 10785"/>
                  <a:gd name="connsiteY1282" fmla="*/ 1060 h 10000"/>
                  <a:gd name="connsiteX1283" fmla="*/ 5581 w 10785"/>
                  <a:gd name="connsiteY1283" fmla="*/ 1034 h 10000"/>
                  <a:gd name="connsiteX1284" fmla="*/ 5571 w 10785"/>
                  <a:gd name="connsiteY1284" fmla="*/ 1009 h 10000"/>
                  <a:gd name="connsiteX1285" fmla="*/ 5571 w 10785"/>
                  <a:gd name="connsiteY1285" fmla="*/ 991 h 10000"/>
                  <a:gd name="connsiteX1286" fmla="*/ 5585 w 10785"/>
                  <a:gd name="connsiteY1286" fmla="*/ 1009 h 10000"/>
                  <a:gd name="connsiteX1287" fmla="*/ 5604 w 10785"/>
                  <a:gd name="connsiteY1287" fmla="*/ 1043 h 10000"/>
                  <a:gd name="connsiteX1288" fmla="*/ 5641 w 10785"/>
                  <a:gd name="connsiteY1288" fmla="*/ 1094 h 10000"/>
                  <a:gd name="connsiteX1289" fmla="*/ 5631 w 10785"/>
                  <a:gd name="connsiteY1289" fmla="*/ 1128 h 10000"/>
                  <a:gd name="connsiteX1290" fmla="*/ 5641 w 10785"/>
                  <a:gd name="connsiteY1290" fmla="*/ 1128 h 10000"/>
                  <a:gd name="connsiteX1291" fmla="*/ 5659 w 10785"/>
                  <a:gd name="connsiteY1291" fmla="*/ 1017 h 10000"/>
                  <a:gd name="connsiteX1292" fmla="*/ 5659 w 10785"/>
                  <a:gd name="connsiteY1292" fmla="*/ 983 h 10000"/>
                  <a:gd name="connsiteX1293" fmla="*/ 5659 w 10785"/>
                  <a:gd name="connsiteY1293" fmla="*/ 957 h 10000"/>
                  <a:gd name="connsiteX1294" fmla="*/ 5654 w 10785"/>
                  <a:gd name="connsiteY1294" fmla="*/ 966 h 10000"/>
                  <a:gd name="connsiteX1295" fmla="*/ 5641 w 10785"/>
                  <a:gd name="connsiteY1295" fmla="*/ 957 h 10000"/>
                  <a:gd name="connsiteX1296" fmla="*/ 5631 w 10785"/>
                  <a:gd name="connsiteY1296" fmla="*/ 897 h 10000"/>
                  <a:gd name="connsiteX1297" fmla="*/ 5641 w 10785"/>
                  <a:gd name="connsiteY1297" fmla="*/ 872 h 10000"/>
                  <a:gd name="connsiteX1298" fmla="*/ 5618 w 10785"/>
                  <a:gd name="connsiteY1298" fmla="*/ 803 h 10000"/>
                  <a:gd name="connsiteX1299" fmla="*/ 5604 w 10785"/>
                  <a:gd name="connsiteY1299" fmla="*/ 821 h 10000"/>
                  <a:gd name="connsiteX1300" fmla="*/ 5613 w 10785"/>
                  <a:gd name="connsiteY1300" fmla="*/ 846 h 10000"/>
                  <a:gd name="connsiteX1301" fmla="*/ 5604 w 10785"/>
                  <a:gd name="connsiteY1301" fmla="*/ 855 h 10000"/>
                  <a:gd name="connsiteX1302" fmla="*/ 5599 w 10785"/>
                  <a:gd name="connsiteY1302" fmla="*/ 880 h 10000"/>
                  <a:gd name="connsiteX1303" fmla="*/ 5594 w 10785"/>
                  <a:gd name="connsiteY1303" fmla="*/ 880 h 10000"/>
                  <a:gd name="connsiteX1304" fmla="*/ 5585 w 10785"/>
                  <a:gd name="connsiteY1304" fmla="*/ 829 h 10000"/>
                  <a:gd name="connsiteX1305" fmla="*/ 5571 w 10785"/>
                  <a:gd name="connsiteY1305" fmla="*/ 803 h 10000"/>
                  <a:gd name="connsiteX1306" fmla="*/ 5585 w 10785"/>
                  <a:gd name="connsiteY1306" fmla="*/ 795 h 10000"/>
                  <a:gd name="connsiteX1307" fmla="*/ 5585 w 10785"/>
                  <a:gd name="connsiteY1307" fmla="*/ 761 h 10000"/>
                  <a:gd name="connsiteX1308" fmla="*/ 5558 w 10785"/>
                  <a:gd name="connsiteY1308" fmla="*/ 709 h 10000"/>
                  <a:gd name="connsiteX1309" fmla="*/ 5544 w 10785"/>
                  <a:gd name="connsiteY1309" fmla="*/ 709 h 10000"/>
                  <a:gd name="connsiteX1310" fmla="*/ 5544 w 10785"/>
                  <a:gd name="connsiteY1310" fmla="*/ 684 h 10000"/>
                  <a:gd name="connsiteX1311" fmla="*/ 5525 w 10785"/>
                  <a:gd name="connsiteY1311" fmla="*/ 632 h 10000"/>
                  <a:gd name="connsiteX1312" fmla="*/ 5507 w 10785"/>
                  <a:gd name="connsiteY1312" fmla="*/ 607 h 10000"/>
                  <a:gd name="connsiteX1313" fmla="*/ 5512 w 10785"/>
                  <a:gd name="connsiteY1313" fmla="*/ 598 h 10000"/>
                  <a:gd name="connsiteX1314" fmla="*/ 5507 w 10785"/>
                  <a:gd name="connsiteY1314" fmla="*/ 581 h 10000"/>
                  <a:gd name="connsiteX1315" fmla="*/ 5493 w 10785"/>
                  <a:gd name="connsiteY1315" fmla="*/ 573 h 10000"/>
                  <a:gd name="connsiteX1316" fmla="*/ 5484 w 10785"/>
                  <a:gd name="connsiteY1316" fmla="*/ 581 h 10000"/>
                  <a:gd name="connsiteX1317" fmla="*/ 5484 w 10785"/>
                  <a:gd name="connsiteY1317" fmla="*/ 573 h 10000"/>
                  <a:gd name="connsiteX1318" fmla="*/ 5484 w 10785"/>
                  <a:gd name="connsiteY1318" fmla="*/ 547 h 10000"/>
                  <a:gd name="connsiteX1319" fmla="*/ 5465 w 10785"/>
                  <a:gd name="connsiteY1319" fmla="*/ 556 h 10000"/>
                  <a:gd name="connsiteX1320" fmla="*/ 5433 w 10785"/>
                  <a:gd name="connsiteY1320" fmla="*/ 547 h 10000"/>
                  <a:gd name="connsiteX1321" fmla="*/ 5410 w 10785"/>
                  <a:gd name="connsiteY1321" fmla="*/ 573 h 10000"/>
                  <a:gd name="connsiteX1322" fmla="*/ 5406 w 10785"/>
                  <a:gd name="connsiteY1322" fmla="*/ 573 h 10000"/>
                  <a:gd name="connsiteX1323" fmla="*/ 5392 w 10785"/>
                  <a:gd name="connsiteY1323" fmla="*/ 573 h 10000"/>
                  <a:gd name="connsiteX1324" fmla="*/ 5364 w 10785"/>
                  <a:gd name="connsiteY1324" fmla="*/ 530 h 10000"/>
                  <a:gd name="connsiteX1325" fmla="*/ 5350 w 10785"/>
                  <a:gd name="connsiteY1325" fmla="*/ 556 h 10000"/>
                  <a:gd name="connsiteX1326" fmla="*/ 5346 w 10785"/>
                  <a:gd name="connsiteY1326" fmla="*/ 556 h 10000"/>
                  <a:gd name="connsiteX1327" fmla="*/ 5313 w 10785"/>
                  <a:gd name="connsiteY1327" fmla="*/ 573 h 10000"/>
                  <a:gd name="connsiteX1328" fmla="*/ 5304 w 10785"/>
                  <a:gd name="connsiteY1328" fmla="*/ 556 h 10000"/>
                  <a:gd name="connsiteX1329" fmla="*/ 5290 w 10785"/>
                  <a:gd name="connsiteY1329" fmla="*/ 573 h 10000"/>
                  <a:gd name="connsiteX1330" fmla="*/ 5290 w 10785"/>
                  <a:gd name="connsiteY1330" fmla="*/ 556 h 10000"/>
                  <a:gd name="connsiteX1331" fmla="*/ 5300 w 10785"/>
                  <a:gd name="connsiteY1331" fmla="*/ 547 h 10000"/>
                  <a:gd name="connsiteX1332" fmla="*/ 5300 w 10785"/>
                  <a:gd name="connsiteY1332" fmla="*/ 530 h 10000"/>
                  <a:gd name="connsiteX1333" fmla="*/ 5290 w 10785"/>
                  <a:gd name="connsiteY1333" fmla="*/ 530 h 10000"/>
                  <a:gd name="connsiteX1334" fmla="*/ 5286 w 10785"/>
                  <a:gd name="connsiteY1334" fmla="*/ 547 h 10000"/>
                  <a:gd name="connsiteX1335" fmla="*/ 5272 w 10785"/>
                  <a:gd name="connsiteY1335" fmla="*/ 556 h 10000"/>
                  <a:gd name="connsiteX1336" fmla="*/ 5272 w 10785"/>
                  <a:gd name="connsiteY1336" fmla="*/ 598 h 10000"/>
                  <a:gd name="connsiteX1337" fmla="*/ 5276 w 10785"/>
                  <a:gd name="connsiteY1337" fmla="*/ 581 h 10000"/>
                  <a:gd name="connsiteX1338" fmla="*/ 5272 w 10785"/>
                  <a:gd name="connsiteY1338" fmla="*/ 607 h 10000"/>
                  <a:gd name="connsiteX1339" fmla="*/ 5263 w 10785"/>
                  <a:gd name="connsiteY1339" fmla="*/ 607 h 10000"/>
                  <a:gd name="connsiteX1340" fmla="*/ 5263 w 10785"/>
                  <a:gd name="connsiteY1340" fmla="*/ 632 h 10000"/>
                  <a:gd name="connsiteX1341" fmla="*/ 5258 w 10785"/>
                  <a:gd name="connsiteY1341" fmla="*/ 658 h 10000"/>
                  <a:gd name="connsiteX1342" fmla="*/ 5244 w 10785"/>
                  <a:gd name="connsiteY1342" fmla="*/ 667 h 10000"/>
                  <a:gd name="connsiteX1343" fmla="*/ 5240 w 10785"/>
                  <a:gd name="connsiteY1343" fmla="*/ 658 h 10000"/>
                  <a:gd name="connsiteX1344" fmla="*/ 5240 w 10785"/>
                  <a:gd name="connsiteY1344" fmla="*/ 684 h 10000"/>
                  <a:gd name="connsiteX1345" fmla="*/ 5212 w 10785"/>
                  <a:gd name="connsiteY1345" fmla="*/ 684 h 10000"/>
                  <a:gd name="connsiteX1346" fmla="*/ 5198 w 10785"/>
                  <a:gd name="connsiteY1346" fmla="*/ 692 h 10000"/>
                  <a:gd name="connsiteX1347" fmla="*/ 5184 w 10785"/>
                  <a:gd name="connsiteY1347" fmla="*/ 684 h 10000"/>
                  <a:gd name="connsiteX1348" fmla="*/ 5157 w 10785"/>
                  <a:gd name="connsiteY1348" fmla="*/ 684 h 10000"/>
                  <a:gd name="connsiteX1349" fmla="*/ 5157 w 10785"/>
                  <a:gd name="connsiteY1349" fmla="*/ 667 h 10000"/>
                  <a:gd name="connsiteX1350" fmla="*/ 5157 w 10785"/>
                  <a:gd name="connsiteY1350" fmla="*/ 667 h 10000"/>
                  <a:gd name="connsiteX1351" fmla="*/ 5180 w 10785"/>
                  <a:gd name="connsiteY1351" fmla="*/ 650 h 10000"/>
                  <a:gd name="connsiteX1352" fmla="*/ 5184 w 10785"/>
                  <a:gd name="connsiteY1352" fmla="*/ 658 h 10000"/>
                  <a:gd name="connsiteX1353" fmla="*/ 5203 w 10785"/>
                  <a:gd name="connsiteY1353" fmla="*/ 547 h 10000"/>
                  <a:gd name="connsiteX1354" fmla="*/ 5226 w 10785"/>
                  <a:gd name="connsiteY1354" fmla="*/ 530 h 10000"/>
                  <a:gd name="connsiteX1355" fmla="*/ 5230 w 10785"/>
                  <a:gd name="connsiteY1355" fmla="*/ 487 h 10000"/>
                  <a:gd name="connsiteX1356" fmla="*/ 5230 w 10785"/>
                  <a:gd name="connsiteY1356" fmla="*/ 487 h 10000"/>
                  <a:gd name="connsiteX1357" fmla="*/ 5226 w 10785"/>
                  <a:gd name="connsiteY1357" fmla="*/ 462 h 10000"/>
                  <a:gd name="connsiteX1358" fmla="*/ 5226 w 10785"/>
                  <a:gd name="connsiteY1358" fmla="*/ 462 h 10000"/>
                  <a:gd name="connsiteX1359" fmla="*/ 5240 w 10785"/>
                  <a:gd name="connsiteY1359" fmla="*/ 462 h 10000"/>
                  <a:gd name="connsiteX1360" fmla="*/ 5240 w 10785"/>
                  <a:gd name="connsiteY1360" fmla="*/ 444 h 10000"/>
                  <a:gd name="connsiteX1361" fmla="*/ 5230 w 10785"/>
                  <a:gd name="connsiteY1361" fmla="*/ 436 h 10000"/>
                  <a:gd name="connsiteX1362" fmla="*/ 5230 w 10785"/>
                  <a:gd name="connsiteY1362" fmla="*/ 419 h 10000"/>
                  <a:gd name="connsiteX1363" fmla="*/ 5230 w 10785"/>
                  <a:gd name="connsiteY1363" fmla="*/ 410 h 10000"/>
                  <a:gd name="connsiteX1364" fmla="*/ 5198 w 10785"/>
                  <a:gd name="connsiteY1364" fmla="*/ 402 h 10000"/>
                  <a:gd name="connsiteX1365" fmla="*/ 5189 w 10785"/>
                  <a:gd name="connsiteY1365" fmla="*/ 402 h 10000"/>
                  <a:gd name="connsiteX1366" fmla="*/ 5184 w 10785"/>
                  <a:gd name="connsiteY1366" fmla="*/ 376 h 10000"/>
                  <a:gd name="connsiteX1367" fmla="*/ 5180 w 10785"/>
                  <a:gd name="connsiteY1367" fmla="*/ 376 h 10000"/>
                  <a:gd name="connsiteX1368" fmla="*/ 5166 w 10785"/>
                  <a:gd name="connsiteY1368" fmla="*/ 376 h 10000"/>
                  <a:gd name="connsiteX1369" fmla="*/ 5157 w 10785"/>
                  <a:gd name="connsiteY1369" fmla="*/ 385 h 10000"/>
                  <a:gd name="connsiteX1370" fmla="*/ 5152 w 10785"/>
                  <a:gd name="connsiteY1370" fmla="*/ 376 h 10000"/>
                  <a:gd name="connsiteX1371" fmla="*/ 5129 w 10785"/>
                  <a:gd name="connsiteY1371" fmla="*/ 385 h 10000"/>
                  <a:gd name="connsiteX1372" fmla="*/ 5129 w 10785"/>
                  <a:gd name="connsiteY1372" fmla="*/ 350 h 10000"/>
                  <a:gd name="connsiteX1373" fmla="*/ 5129 w 10785"/>
                  <a:gd name="connsiteY1373" fmla="*/ 325 h 10000"/>
                  <a:gd name="connsiteX1374" fmla="*/ 5124 w 10785"/>
                  <a:gd name="connsiteY1374" fmla="*/ 359 h 10000"/>
                  <a:gd name="connsiteX1375" fmla="*/ 5106 w 10785"/>
                  <a:gd name="connsiteY1375" fmla="*/ 359 h 10000"/>
                  <a:gd name="connsiteX1376" fmla="*/ 5037 w 10785"/>
                  <a:gd name="connsiteY1376" fmla="*/ 419 h 10000"/>
                  <a:gd name="connsiteX1377" fmla="*/ 5051 w 10785"/>
                  <a:gd name="connsiteY1377" fmla="*/ 385 h 10000"/>
                  <a:gd name="connsiteX1378" fmla="*/ 5055 w 10785"/>
                  <a:gd name="connsiteY1378" fmla="*/ 376 h 10000"/>
                  <a:gd name="connsiteX1379" fmla="*/ 5092 w 10785"/>
                  <a:gd name="connsiteY1379" fmla="*/ 282 h 10000"/>
                  <a:gd name="connsiteX1380" fmla="*/ 5106 w 10785"/>
                  <a:gd name="connsiteY1380" fmla="*/ 265 h 10000"/>
                  <a:gd name="connsiteX1381" fmla="*/ 5115 w 10785"/>
                  <a:gd name="connsiteY1381" fmla="*/ 265 h 10000"/>
                  <a:gd name="connsiteX1382" fmla="*/ 5124 w 10785"/>
                  <a:gd name="connsiteY1382" fmla="*/ 222 h 10000"/>
                  <a:gd name="connsiteX1383" fmla="*/ 5124 w 10785"/>
                  <a:gd name="connsiteY1383" fmla="*/ 214 h 10000"/>
                  <a:gd name="connsiteX1384" fmla="*/ 5143 w 10785"/>
                  <a:gd name="connsiteY1384" fmla="*/ 197 h 10000"/>
                  <a:gd name="connsiteX1385" fmla="*/ 5152 w 10785"/>
                  <a:gd name="connsiteY1385" fmla="*/ 214 h 10000"/>
                  <a:gd name="connsiteX1386" fmla="*/ 5143 w 10785"/>
                  <a:gd name="connsiteY1386" fmla="*/ 188 h 10000"/>
                  <a:gd name="connsiteX1387" fmla="*/ 5129 w 10785"/>
                  <a:gd name="connsiteY1387" fmla="*/ 103 h 10000"/>
                  <a:gd name="connsiteX1388" fmla="*/ 5115 w 10785"/>
                  <a:gd name="connsiteY1388" fmla="*/ 85 h 10000"/>
                  <a:gd name="connsiteX1389" fmla="*/ 5111 w 10785"/>
                  <a:gd name="connsiteY1389" fmla="*/ 111 h 10000"/>
                  <a:gd name="connsiteX1390" fmla="*/ 5092 w 10785"/>
                  <a:gd name="connsiteY1390" fmla="*/ 103 h 10000"/>
                  <a:gd name="connsiteX1391" fmla="*/ 5069 w 10785"/>
                  <a:gd name="connsiteY1391" fmla="*/ 77 h 10000"/>
                  <a:gd name="connsiteX1392" fmla="*/ 5051 w 10785"/>
                  <a:gd name="connsiteY1392" fmla="*/ 26 h 10000"/>
                  <a:gd name="connsiteX1393" fmla="*/ 5041 w 10785"/>
                  <a:gd name="connsiteY1393" fmla="*/ 34 h 10000"/>
                  <a:gd name="connsiteX1394" fmla="*/ 5037 w 10785"/>
                  <a:gd name="connsiteY1394" fmla="*/ 34 h 10000"/>
                  <a:gd name="connsiteX1395" fmla="*/ 5037 w 10785"/>
                  <a:gd name="connsiteY1395" fmla="*/ 26 h 10000"/>
                  <a:gd name="connsiteX1396" fmla="*/ 5037 w 10785"/>
                  <a:gd name="connsiteY1396" fmla="*/ 9 h 10000"/>
                  <a:gd name="connsiteX1397" fmla="*/ 5023 w 10785"/>
                  <a:gd name="connsiteY1397" fmla="*/ 0 h 10000"/>
                  <a:gd name="connsiteX1398" fmla="*/ 5009 w 10785"/>
                  <a:gd name="connsiteY1398" fmla="*/ 9 h 10000"/>
                  <a:gd name="connsiteX1399" fmla="*/ 4995 w 10785"/>
                  <a:gd name="connsiteY1399" fmla="*/ 34 h 10000"/>
                  <a:gd name="connsiteX1400" fmla="*/ 4991 w 10785"/>
                  <a:gd name="connsiteY1400" fmla="*/ 60 h 10000"/>
                  <a:gd name="connsiteX1401" fmla="*/ 4982 w 10785"/>
                  <a:gd name="connsiteY1401" fmla="*/ 60 h 10000"/>
                  <a:gd name="connsiteX1402" fmla="*/ 4949 w 10785"/>
                  <a:gd name="connsiteY1402" fmla="*/ 51 h 10000"/>
                  <a:gd name="connsiteX1403" fmla="*/ 4949 w 10785"/>
                  <a:gd name="connsiteY1403" fmla="*/ 85 h 10000"/>
                  <a:gd name="connsiteX1404" fmla="*/ 4903 w 10785"/>
                  <a:gd name="connsiteY1404" fmla="*/ 197 h 10000"/>
                  <a:gd name="connsiteX1405" fmla="*/ 4899 w 10785"/>
                  <a:gd name="connsiteY1405" fmla="*/ 239 h 10000"/>
                  <a:gd name="connsiteX1406" fmla="*/ 4871 w 10785"/>
                  <a:gd name="connsiteY1406" fmla="*/ 274 h 10000"/>
                  <a:gd name="connsiteX1407" fmla="*/ 4871 w 10785"/>
                  <a:gd name="connsiteY1407" fmla="*/ 282 h 10000"/>
                  <a:gd name="connsiteX1408" fmla="*/ 4834 w 10785"/>
                  <a:gd name="connsiteY1408" fmla="*/ 376 h 10000"/>
                  <a:gd name="connsiteX1409" fmla="*/ 4829 w 10785"/>
                  <a:gd name="connsiteY1409" fmla="*/ 402 h 10000"/>
                  <a:gd name="connsiteX1410" fmla="*/ 4834 w 10785"/>
                  <a:gd name="connsiteY1410" fmla="*/ 410 h 10000"/>
                  <a:gd name="connsiteX1411" fmla="*/ 4829 w 10785"/>
                  <a:gd name="connsiteY1411" fmla="*/ 436 h 10000"/>
                  <a:gd name="connsiteX1412" fmla="*/ 4825 w 10785"/>
                  <a:gd name="connsiteY1412" fmla="*/ 436 h 10000"/>
                  <a:gd name="connsiteX1413" fmla="*/ 4825 w 10785"/>
                  <a:gd name="connsiteY1413" fmla="*/ 444 h 10000"/>
                  <a:gd name="connsiteX1414" fmla="*/ 4811 w 10785"/>
                  <a:gd name="connsiteY1414" fmla="*/ 496 h 10000"/>
                  <a:gd name="connsiteX1415" fmla="*/ 4811 w 10785"/>
                  <a:gd name="connsiteY1415" fmla="*/ 496 h 10000"/>
                  <a:gd name="connsiteX1416" fmla="*/ 4811 w 10785"/>
                  <a:gd name="connsiteY1416" fmla="*/ 521 h 10000"/>
                  <a:gd name="connsiteX1417" fmla="*/ 4816 w 10785"/>
                  <a:gd name="connsiteY1417" fmla="*/ 530 h 10000"/>
                  <a:gd name="connsiteX1418" fmla="*/ 4834 w 10785"/>
                  <a:gd name="connsiteY1418" fmla="*/ 547 h 10000"/>
                  <a:gd name="connsiteX1419" fmla="*/ 4834 w 10785"/>
                  <a:gd name="connsiteY1419" fmla="*/ 581 h 10000"/>
                  <a:gd name="connsiteX1420" fmla="*/ 4843 w 10785"/>
                  <a:gd name="connsiteY1420" fmla="*/ 581 h 10000"/>
                  <a:gd name="connsiteX1421" fmla="*/ 4843 w 10785"/>
                  <a:gd name="connsiteY1421" fmla="*/ 598 h 10000"/>
                  <a:gd name="connsiteX1422" fmla="*/ 4829 w 10785"/>
                  <a:gd name="connsiteY1422" fmla="*/ 598 h 10000"/>
                  <a:gd name="connsiteX1423" fmla="*/ 4829 w 10785"/>
                  <a:gd name="connsiteY1423" fmla="*/ 573 h 10000"/>
                  <a:gd name="connsiteX1424" fmla="*/ 4829 w 10785"/>
                  <a:gd name="connsiteY1424" fmla="*/ 632 h 10000"/>
                  <a:gd name="connsiteX1425" fmla="*/ 4829 w 10785"/>
                  <a:gd name="connsiteY1425" fmla="*/ 632 h 10000"/>
                  <a:gd name="connsiteX1426" fmla="*/ 4829 w 10785"/>
                  <a:gd name="connsiteY1426" fmla="*/ 650 h 10000"/>
                  <a:gd name="connsiteX1427" fmla="*/ 4774 w 10785"/>
                  <a:gd name="connsiteY1427" fmla="*/ 684 h 10000"/>
                  <a:gd name="connsiteX1428" fmla="*/ 4756 w 10785"/>
                  <a:gd name="connsiteY1428" fmla="*/ 684 h 10000"/>
                  <a:gd name="connsiteX1429" fmla="*/ 4737 w 10785"/>
                  <a:gd name="connsiteY1429" fmla="*/ 692 h 10000"/>
                  <a:gd name="connsiteX1430" fmla="*/ 4677 w 10785"/>
                  <a:gd name="connsiteY1430" fmla="*/ 667 h 10000"/>
                  <a:gd name="connsiteX1431" fmla="*/ 4682 w 10785"/>
                  <a:gd name="connsiteY1431" fmla="*/ 692 h 10000"/>
                  <a:gd name="connsiteX1432" fmla="*/ 4682 w 10785"/>
                  <a:gd name="connsiteY1432" fmla="*/ 709 h 10000"/>
                  <a:gd name="connsiteX1433" fmla="*/ 4691 w 10785"/>
                  <a:gd name="connsiteY1433" fmla="*/ 718 h 10000"/>
                  <a:gd name="connsiteX1434" fmla="*/ 4691 w 10785"/>
                  <a:gd name="connsiteY1434" fmla="*/ 744 h 10000"/>
                  <a:gd name="connsiteX1435" fmla="*/ 4700 w 10785"/>
                  <a:gd name="connsiteY1435" fmla="*/ 744 h 10000"/>
                  <a:gd name="connsiteX1436" fmla="*/ 4714 w 10785"/>
                  <a:gd name="connsiteY1436" fmla="*/ 769 h 10000"/>
                  <a:gd name="connsiteX1437" fmla="*/ 4710 w 10785"/>
                  <a:gd name="connsiteY1437" fmla="*/ 786 h 10000"/>
                  <a:gd name="connsiteX1438" fmla="*/ 4737 w 10785"/>
                  <a:gd name="connsiteY1438" fmla="*/ 786 h 10000"/>
                  <a:gd name="connsiteX1439" fmla="*/ 4742 w 10785"/>
                  <a:gd name="connsiteY1439" fmla="*/ 795 h 10000"/>
                  <a:gd name="connsiteX1440" fmla="*/ 4742 w 10785"/>
                  <a:gd name="connsiteY1440" fmla="*/ 803 h 10000"/>
                  <a:gd name="connsiteX1441" fmla="*/ 4737 w 10785"/>
                  <a:gd name="connsiteY1441" fmla="*/ 846 h 10000"/>
                  <a:gd name="connsiteX1442" fmla="*/ 4737 w 10785"/>
                  <a:gd name="connsiteY1442" fmla="*/ 880 h 10000"/>
                  <a:gd name="connsiteX1443" fmla="*/ 4737 w 10785"/>
                  <a:gd name="connsiteY1443" fmla="*/ 906 h 10000"/>
                  <a:gd name="connsiteX1444" fmla="*/ 4724 w 10785"/>
                  <a:gd name="connsiteY1444" fmla="*/ 897 h 10000"/>
                  <a:gd name="connsiteX1445" fmla="*/ 4724 w 10785"/>
                  <a:gd name="connsiteY1445" fmla="*/ 872 h 10000"/>
                  <a:gd name="connsiteX1446" fmla="*/ 4714 w 10785"/>
                  <a:gd name="connsiteY1446" fmla="*/ 855 h 10000"/>
                  <a:gd name="connsiteX1447" fmla="*/ 4691 w 10785"/>
                  <a:gd name="connsiteY1447" fmla="*/ 846 h 10000"/>
                  <a:gd name="connsiteX1448" fmla="*/ 4691 w 10785"/>
                  <a:gd name="connsiteY1448" fmla="*/ 846 h 10000"/>
                  <a:gd name="connsiteX1449" fmla="*/ 4696 w 10785"/>
                  <a:gd name="connsiteY1449" fmla="*/ 821 h 10000"/>
                  <a:gd name="connsiteX1450" fmla="*/ 4691 w 10785"/>
                  <a:gd name="connsiteY1450" fmla="*/ 803 h 10000"/>
                  <a:gd name="connsiteX1451" fmla="*/ 4668 w 10785"/>
                  <a:gd name="connsiteY1451" fmla="*/ 821 h 10000"/>
                  <a:gd name="connsiteX1452" fmla="*/ 4668 w 10785"/>
                  <a:gd name="connsiteY1452" fmla="*/ 786 h 10000"/>
                  <a:gd name="connsiteX1453" fmla="*/ 4664 w 10785"/>
                  <a:gd name="connsiteY1453" fmla="*/ 786 h 10000"/>
                  <a:gd name="connsiteX1454" fmla="*/ 4622 w 10785"/>
                  <a:gd name="connsiteY1454" fmla="*/ 846 h 10000"/>
                  <a:gd name="connsiteX1455" fmla="*/ 4627 w 10785"/>
                  <a:gd name="connsiteY1455" fmla="*/ 872 h 10000"/>
                  <a:gd name="connsiteX1456" fmla="*/ 4622 w 10785"/>
                  <a:gd name="connsiteY1456" fmla="*/ 880 h 10000"/>
                  <a:gd name="connsiteX1457" fmla="*/ 4622 w 10785"/>
                  <a:gd name="connsiteY1457" fmla="*/ 880 h 10000"/>
                  <a:gd name="connsiteX1458" fmla="*/ 4618 w 10785"/>
                  <a:gd name="connsiteY1458" fmla="*/ 872 h 10000"/>
                  <a:gd name="connsiteX1459" fmla="*/ 4604 w 10785"/>
                  <a:gd name="connsiteY1459" fmla="*/ 880 h 10000"/>
                  <a:gd name="connsiteX1460" fmla="*/ 4594 w 10785"/>
                  <a:gd name="connsiteY1460" fmla="*/ 906 h 10000"/>
                  <a:gd name="connsiteX1461" fmla="*/ 4604 w 10785"/>
                  <a:gd name="connsiteY1461" fmla="*/ 906 h 10000"/>
                  <a:gd name="connsiteX1462" fmla="*/ 4608 w 10785"/>
                  <a:gd name="connsiteY1462" fmla="*/ 906 h 10000"/>
                  <a:gd name="connsiteX1463" fmla="*/ 4608 w 10785"/>
                  <a:gd name="connsiteY1463" fmla="*/ 932 h 10000"/>
                  <a:gd name="connsiteX1464" fmla="*/ 4604 w 10785"/>
                  <a:gd name="connsiteY1464" fmla="*/ 932 h 10000"/>
                  <a:gd name="connsiteX1465" fmla="*/ 4590 w 10785"/>
                  <a:gd name="connsiteY1465" fmla="*/ 932 h 10000"/>
                  <a:gd name="connsiteX1466" fmla="*/ 4567 w 10785"/>
                  <a:gd name="connsiteY1466" fmla="*/ 957 h 10000"/>
                  <a:gd name="connsiteX1467" fmla="*/ 4567 w 10785"/>
                  <a:gd name="connsiteY1467" fmla="*/ 932 h 10000"/>
                  <a:gd name="connsiteX1468" fmla="*/ 4567 w 10785"/>
                  <a:gd name="connsiteY1468" fmla="*/ 923 h 10000"/>
                  <a:gd name="connsiteX1469" fmla="*/ 4562 w 10785"/>
                  <a:gd name="connsiteY1469" fmla="*/ 932 h 10000"/>
                  <a:gd name="connsiteX1470" fmla="*/ 4548 w 10785"/>
                  <a:gd name="connsiteY1470" fmla="*/ 957 h 10000"/>
                  <a:gd name="connsiteX1471" fmla="*/ 4544 w 10785"/>
                  <a:gd name="connsiteY1471" fmla="*/ 957 h 10000"/>
                  <a:gd name="connsiteX1472" fmla="*/ 4521 w 10785"/>
                  <a:gd name="connsiteY1472" fmla="*/ 983 h 10000"/>
                  <a:gd name="connsiteX1473" fmla="*/ 4521 w 10785"/>
                  <a:gd name="connsiteY1473" fmla="*/ 983 h 10000"/>
                  <a:gd name="connsiteX1474" fmla="*/ 4530 w 10785"/>
                  <a:gd name="connsiteY1474" fmla="*/ 957 h 10000"/>
                  <a:gd name="connsiteX1475" fmla="*/ 4535 w 10785"/>
                  <a:gd name="connsiteY1475" fmla="*/ 932 h 10000"/>
                  <a:gd name="connsiteX1476" fmla="*/ 4521 w 10785"/>
                  <a:gd name="connsiteY1476" fmla="*/ 932 h 10000"/>
                  <a:gd name="connsiteX1477" fmla="*/ 4516 w 10785"/>
                  <a:gd name="connsiteY1477" fmla="*/ 923 h 10000"/>
                  <a:gd name="connsiteX1478" fmla="*/ 4516 w 10785"/>
                  <a:gd name="connsiteY1478" fmla="*/ 932 h 10000"/>
                  <a:gd name="connsiteX1479" fmla="*/ 4488 w 10785"/>
                  <a:gd name="connsiteY1479" fmla="*/ 940 h 10000"/>
                  <a:gd name="connsiteX1480" fmla="*/ 4484 w 10785"/>
                  <a:gd name="connsiteY1480" fmla="*/ 983 h 10000"/>
                  <a:gd name="connsiteX1481" fmla="*/ 4470 w 10785"/>
                  <a:gd name="connsiteY1481" fmla="*/ 983 h 10000"/>
                  <a:gd name="connsiteX1482" fmla="*/ 4470 w 10785"/>
                  <a:gd name="connsiteY1482" fmla="*/ 966 h 10000"/>
                  <a:gd name="connsiteX1483" fmla="*/ 4488 w 10785"/>
                  <a:gd name="connsiteY1483" fmla="*/ 923 h 10000"/>
                  <a:gd name="connsiteX1484" fmla="*/ 4493 w 10785"/>
                  <a:gd name="connsiteY1484" fmla="*/ 880 h 10000"/>
                  <a:gd name="connsiteX1485" fmla="*/ 4475 w 10785"/>
                  <a:gd name="connsiteY1485" fmla="*/ 846 h 10000"/>
                  <a:gd name="connsiteX1486" fmla="*/ 4442 w 10785"/>
                  <a:gd name="connsiteY1486" fmla="*/ 855 h 10000"/>
                  <a:gd name="connsiteX1487" fmla="*/ 4433 w 10785"/>
                  <a:gd name="connsiteY1487" fmla="*/ 855 h 10000"/>
                  <a:gd name="connsiteX1488" fmla="*/ 4433 w 10785"/>
                  <a:gd name="connsiteY1488" fmla="*/ 880 h 10000"/>
                  <a:gd name="connsiteX1489" fmla="*/ 4401 w 10785"/>
                  <a:gd name="connsiteY1489" fmla="*/ 855 h 10000"/>
                  <a:gd name="connsiteX1490" fmla="*/ 4396 w 10785"/>
                  <a:gd name="connsiteY1490" fmla="*/ 872 h 10000"/>
                  <a:gd name="connsiteX1491" fmla="*/ 4382 w 10785"/>
                  <a:gd name="connsiteY1491" fmla="*/ 897 h 10000"/>
                  <a:gd name="connsiteX1492" fmla="*/ 4373 w 10785"/>
                  <a:gd name="connsiteY1492" fmla="*/ 872 h 10000"/>
                  <a:gd name="connsiteX1493" fmla="*/ 4341 w 10785"/>
                  <a:gd name="connsiteY1493" fmla="*/ 872 h 10000"/>
                  <a:gd name="connsiteX1494" fmla="*/ 4336 w 10785"/>
                  <a:gd name="connsiteY1494" fmla="*/ 880 h 10000"/>
                  <a:gd name="connsiteX1495" fmla="*/ 4346 w 10785"/>
                  <a:gd name="connsiteY1495" fmla="*/ 897 h 10000"/>
                  <a:gd name="connsiteX1496" fmla="*/ 4346 w 10785"/>
                  <a:gd name="connsiteY1496" fmla="*/ 897 h 10000"/>
                  <a:gd name="connsiteX1497" fmla="*/ 4313 w 10785"/>
                  <a:gd name="connsiteY1497" fmla="*/ 906 h 10000"/>
                  <a:gd name="connsiteX1498" fmla="*/ 4313 w 10785"/>
                  <a:gd name="connsiteY1498" fmla="*/ 906 h 10000"/>
                  <a:gd name="connsiteX1499" fmla="*/ 4313 w 10785"/>
                  <a:gd name="connsiteY1499" fmla="*/ 880 h 10000"/>
                  <a:gd name="connsiteX1500" fmla="*/ 4309 w 10785"/>
                  <a:gd name="connsiteY1500" fmla="*/ 897 h 10000"/>
                  <a:gd name="connsiteX1501" fmla="*/ 4295 w 10785"/>
                  <a:gd name="connsiteY1501" fmla="*/ 923 h 10000"/>
                  <a:gd name="connsiteX1502" fmla="*/ 4286 w 10785"/>
                  <a:gd name="connsiteY1502" fmla="*/ 897 h 10000"/>
                  <a:gd name="connsiteX1503" fmla="*/ 4281 w 10785"/>
                  <a:gd name="connsiteY1503" fmla="*/ 906 h 10000"/>
                  <a:gd name="connsiteX1504" fmla="*/ 4281 w 10785"/>
                  <a:gd name="connsiteY1504" fmla="*/ 940 h 10000"/>
                  <a:gd name="connsiteX1505" fmla="*/ 4286 w 10785"/>
                  <a:gd name="connsiteY1505" fmla="*/ 957 h 10000"/>
                  <a:gd name="connsiteX1506" fmla="*/ 4309 w 10785"/>
                  <a:gd name="connsiteY1506" fmla="*/ 932 h 10000"/>
                  <a:gd name="connsiteX1507" fmla="*/ 4313 w 10785"/>
                  <a:gd name="connsiteY1507" fmla="*/ 957 h 10000"/>
                  <a:gd name="connsiteX1508" fmla="*/ 4313 w 10785"/>
                  <a:gd name="connsiteY1508" fmla="*/ 966 h 10000"/>
                  <a:gd name="connsiteX1509" fmla="*/ 4323 w 10785"/>
                  <a:gd name="connsiteY1509" fmla="*/ 966 h 10000"/>
                  <a:gd name="connsiteX1510" fmla="*/ 4323 w 10785"/>
                  <a:gd name="connsiteY1510" fmla="*/ 940 h 10000"/>
                  <a:gd name="connsiteX1511" fmla="*/ 4327 w 10785"/>
                  <a:gd name="connsiteY1511" fmla="*/ 940 h 10000"/>
                  <a:gd name="connsiteX1512" fmla="*/ 4327 w 10785"/>
                  <a:gd name="connsiteY1512" fmla="*/ 957 h 10000"/>
                  <a:gd name="connsiteX1513" fmla="*/ 4327 w 10785"/>
                  <a:gd name="connsiteY1513" fmla="*/ 966 h 10000"/>
                  <a:gd name="connsiteX1514" fmla="*/ 4323 w 10785"/>
                  <a:gd name="connsiteY1514" fmla="*/ 991 h 10000"/>
                  <a:gd name="connsiteX1515" fmla="*/ 4207 w 10785"/>
                  <a:gd name="connsiteY1515" fmla="*/ 1060 h 10000"/>
                  <a:gd name="connsiteX1516" fmla="*/ 4207 w 10785"/>
                  <a:gd name="connsiteY1516" fmla="*/ 1060 h 10000"/>
                  <a:gd name="connsiteX1517" fmla="*/ 4203 w 10785"/>
                  <a:gd name="connsiteY1517" fmla="*/ 1068 h 10000"/>
                  <a:gd name="connsiteX1518" fmla="*/ 4203 w 10785"/>
                  <a:gd name="connsiteY1518" fmla="*/ 1094 h 10000"/>
                  <a:gd name="connsiteX1519" fmla="*/ 4203 w 10785"/>
                  <a:gd name="connsiteY1519" fmla="*/ 1094 h 10000"/>
                  <a:gd name="connsiteX1520" fmla="*/ 4189 w 10785"/>
                  <a:gd name="connsiteY1520" fmla="*/ 1094 h 10000"/>
                  <a:gd name="connsiteX1521" fmla="*/ 4166 w 10785"/>
                  <a:gd name="connsiteY1521" fmla="*/ 1103 h 10000"/>
                  <a:gd name="connsiteX1522" fmla="*/ 4152 w 10785"/>
                  <a:gd name="connsiteY1522" fmla="*/ 1094 h 10000"/>
                  <a:gd name="connsiteX1523" fmla="*/ 4134 w 10785"/>
                  <a:gd name="connsiteY1523" fmla="*/ 1120 h 10000"/>
                  <a:gd name="connsiteX1524" fmla="*/ 4106 w 10785"/>
                  <a:gd name="connsiteY1524" fmla="*/ 1120 h 10000"/>
                  <a:gd name="connsiteX1525" fmla="*/ 4092 w 10785"/>
                  <a:gd name="connsiteY1525" fmla="*/ 1154 h 10000"/>
                  <a:gd name="connsiteX1526" fmla="*/ 4106 w 10785"/>
                  <a:gd name="connsiteY1526" fmla="*/ 1171 h 10000"/>
                  <a:gd name="connsiteX1527" fmla="*/ 4078 w 10785"/>
                  <a:gd name="connsiteY1527" fmla="*/ 1179 h 10000"/>
                  <a:gd name="connsiteX1528" fmla="*/ 4065 w 10785"/>
                  <a:gd name="connsiteY1528" fmla="*/ 1205 h 10000"/>
                  <a:gd name="connsiteX1529" fmla="*/ 4046 w 10785"/>
                  <a:gd name="connsiteY1529" fmla="*/ 1179 h 10000"/>
                  <a:gd name="connsiteX1530" fmla="*/ 4041 w 10785"/>
                  <a:gd name="connsiteY1530" fmla="*/ 1197 h 10000"/>
                  <a:gd name="connsiteX1531" fmla="*/ 4028 w 10785"/>
                  <a:gd name="connsiteY1531" fmla="*/ 1205 h 10000"/>
                  <a:gd name="connsiteX1532" fmla="*/ 4028 w 10785"/>
                  <a:gd name="connsiteY1532" fmla="*/ 1205 h 10000"/>
                  <a:gd name="connsiteX1533" fmla="*/ 4032 w 10785"/>
                  <a:gd name="connsiteY1533" fmla="*/ 1205 h 10000"/>
                  <a:gd name="connsiteX1534" fmla="*/ 4032 w 10785"/>
                  <a:gd name="connsiteY1534" fmla="*/ 1231 h 10000"/>
                  <a:gd name="connsiteX1535" fmla="*/ 4014 w 10785"/>
                  <a:gd name="connsiteY1535" fmla="*/ 1239 h 10000"/>
                  <a:gd name="connsiteX1536" fmla="*/ 4014 w 10785"/>
                  <a:gd name="connsiteY1536" fmla="*/ 1256 h 10000"/>
                  <a:gd name="connsiteX1537" fmla="*/ 4000 w 10785"/>
                  <a:gd name="connsiteY1537" fmla="*/ 1265 h 10000"/>
                  <a:gd name="connsiteX1538" fmla="*/ 3986 w 10785"/>
                  <a:gd name="connsiteY1538" fmla="*/ 1308 h 10000"/>
                  <a:gd name="connsiteX1539" fmla="*/ 3972 w 10785"/>
                  <a:gd name="connsiteY1539" fmla="*/ 1316 h 10000"/>
                  <a:gd name="connsiteX1540" fmla="*/ 3972 w 10785"/>
                  <a:gd name="connsiteY1540" fmla="*/ 1325 h 10000"/>
                  <a:gd name="connsiteX1541" fmla="*/ 3972 w 10785"/>
                  <a:gd name="connsiteY1541" fmla="*/ 1342 h 10000"/>
                  <a:gd name="connsiteX1542" fmla="*/ 3968 w 10785"/>
                  <a:gd name="connsiteY1542" fmla="*/ 1350 h 10000"/>
                  <a:gd name="connsiteX1543" fmla="*/ 3954 w 10785"/>
                  <a:gd name="connsiteY1543" fmla="*/ 1368 h 10000"/>
                  <a:gd name="connsiteX1544" fmla="*/ 3945 w 10785"/>
                  <a:gd name="connsiteY1544" fmla="*/ 1350 h 10000"/>
                  <a:gd name="connsiteX1545" fmla="*/ 3908 w 10785"/>
                  <a:gd name="connsiteY1545" fmla="*/ 1342 h 10000"/>
                  <a:gd name="connsiteX1546" fmla="*/ 3894 w 10785"/>
                  <a:gd name="connsiteY1546" fmla="*/ 1368 h 10000"/>
                  <a:gd name="connsiteX1547" fmla="*/ 3922 w 10785"/>
                  <a:gd name="connsiteY1547" fmla="*/ 1393 h 10000"/>
                  <a:gd name="connsiteX1548" fmla="*/ 3945 w 10785"/>
                  <a:gd name="connsiteY1548" fmla="*/ 1393 h 10000"/>
                  <a:gd name="connsiteX1549" fmla="*/ 3940 w 10785"/>
                  <a:gd name="connsiteY1549" fmla="*/ 1419 h 10000"/>
                  <a:gd name="connsiteX1550" fmla="*/ 3931 w 10785"/>
                  <a:gd name="connsiteY1550" fmla="*/ 1427 h 10000"/>
                  <a:gd name="connsiteX1551" fmla="*/ 3926 w 10785"/>
                  <a:gd name="connsiteY1551" fmla="*/ 1427 h 10000"/>
                  <a:gd name="connsiteX1552" fmla="*/ 3922 w 10785"/>
                  <a:gd name="connsiteY1552" fmla="*/ 1419 h 10000"/>
                  <a:gd name="connsiteX1553" fmla="*/ 3912 w 10785"/>
                  <a:gd name="connsiteY1553" fmla="*/ 1427 h 10000"/>
                  <a:gd name="connsiteX1554" fmla="*/ 3912 w 10785"/>
                  <a:gd name="connsiteY1554" fmla="*/ 1444 h 10000"/>
                  <a:gd name="connsiteX1555" fmla="*/ 3894 w 10785"/>
                  <a:gd name="connsiteY1555" fmla="*/ 1513 h 10000"/>
                  <a:gd name="connsiteX1556" fmla="*/ 3885 w 10785"/>
                  <a:gd name="connsiteY1556" fmla="*/ 1513 h 10000"/>
                  <a:gd name="connsiteX1557" fmla="*/ 3880 w 10785"/>
                  <a:gd name="connsiteY1557" fmla="*/ 1538 h 10000"/>
                  <a:gd name="connsiteX1558" fmla="*/ 3885 w 10785"/>
                  <a:gd name="connsiteY1558" fmla="*/ 1564 h 10000"/>
                  <a:gd name="connsiteX1559" fmla="*/ 3880 w 10785"/>
                  <a:gd name="connsiteY1559" fmla="*/ 1581 h 10000"/>
                  <a:gd name="connsiteX1560" fmla="*/ 3871 w 10785"/>
                  <a:gd name="connsiteY1560" fmla="*/ 1538 h 10000"/>
                  <a:gd name="connsiteX1561" fmla="*/ 3853 w 10785"/>
                  <a:gd name="connsiteY1561" fmla="*/ 1530 h 10000"/>
                  <a:gd name="connsiteX1562" fmla="*/ 3853 w 10785"/>
                  <a:gd name="connsiteY1562" fmla="*/ 1504 h 10000"/>
                  <a:gd name="connsiteX1563" fmla="*/ 3834 w 10785"/>
                  <a:gd name="connsiteY1563" fmla="*/ 1487 h 10000"/>
                  <a:gd name="connsiteX1564" fmla="*/ 3834 w 10785"/>
                  <a:gd name="connsiteY1564" fmla="*/ 1487 h 10000"/>
                  <a:gd name="connsiteX1565" fmla="*/ 3839 w 10785"/>
                  <a:gd name="connsiteY1565" fmla="*/ 1513 h 10000"/>
                  <a:gd name="connsiteX1566" fmla="*/ 3820 w 10785"/>
                  <a:gd name="connsiteY1566" fmla="*/ 1538 h 10000"/>
                  <a:gd name="connsiteX1567" fmla="*/ 3820 w 10785"/>
                  <a:gd name="connsiteY1567" fmla="*/ 1556 h 10000"/>
                  <a:gd name="connsiteX1568" fmla="*/ 3820 w 10785"/>
                  <a:gd name="connsiteY1568" fmla="*/ 1564 h 10000"/>
                  <a:gd name="connsiteX1569" fmla="*/ 3820 w 10785"/>
                  <a:gd name="connsiteY1569" fmla="*/ 1581 h 10000"/>
                  <a:gd name="connsiteX1570" fmla="*/ 3853 w 10785"/>
                  <a:gd name="connsiteY1570" fmla="*/ 1581 h 10000"/>
                  <a:gd name="connsiteX1571" fmla="*/ 3857 w 10785"/>
                  <a:gd name="connsiteY1571" fmla="*/ 1598 h 10000"/>
                  <a:gd name="connsiteX1572" fmla="*/ 3880 w 10785"/>
                  <a:gd name="connsiteY1572" fmla="*/ 1615 h 10000"/>
                  <a:gd name="connsiteX1573" fmla="*/ 3871 w 10785"/>
                  <a:gd name="connsiteY1573" fmla="*/ 1615 h 10000"/>
                  <a:gd name="connsiteX1574" fmla="*/ 3871 w 10785"/>
                  <a:gd name="connsiteY1574" fmla="*/ 1641 h 10000"/>
                  <a:gd name="connsiteX1575" fmla="*/ 3880 w 10785"/>
                  <a:gd name="connsiteY1575" fmla="*/ 1641 h 10000"/>
                  <a:gd name="connsiteX1576" fmla="*/ 3871 w 10785"/>
                  <a:gd name="connsiteY1576" fmla="*/ 1650 h 10000"/>
                  <a:gd name="connsiteX1577" fmla="*/ 3857 w 10785"/>
                  <a:gd name="connsiteY1577" fmla="*/ 1650 h 10000"/>
                  <a:gd name="connsiteX1578" fmla="*/ 3853 w 10785"/>
                  <a:gd name="connsiteY1578" fmla="*/ 1650 h 10000"/>
                  <a:gd name="connsiteX1579" fmla="*/ 3839 w 10785"/>
                  <a:gd name="connsiteY1579" fmla="*/ 1667 h 10000"/>
                  <a:gd name="connsiteX1580" fmla="*/ 3848 w 10785"/>
                  <a:gd name="connsiteY1580" fmla="*/ 1692 h 10000"/>
                  <a:gd name="connsiteX1581" fmla="*/ 3834 w 10785"/>
                  <a:gd name="connsiteY1581" fmla="*/ 1692 h 10000"/>
                  <a:gd name="connsiteX1582" fmla="*/ 3825 w 10785"/>
                  <a:gd name="connsiteY1582" fmla="*/ 1692 h 10000"/>
                  <a:gd name="connsiteX1583" fmla="*/ 3825 w 10785"/>
                  <a:gd name="connsiteY1583" fmla="*/ 1718 h 10000"/>
                  <a:gd name="connsiteX1584" fmla="*/ 3839 w 10785"/>
                  <a:gd name="connsiteY1584" fmla="*/ 1726 h 10000"/>
                  <a:gd name="connsiteX1585" fmla="*/ 3880 w 10785"/>
                  <a:gd name="connsiteY1585" fmla="*/ 1752 h 10000"/>
                  <a:gd name="connsiteX1586" fmla="*/ 3894 w 10785"/>
                  <a:gd name="connsiteY1586" fmla="*/ 1829 h 10000"/>
                  <a:gd name="connsiteX1587" fmla="*/ 3899 w 10785"/>
                  <a:gd name="connsiteY1587" fmla="*/ 1838 h 10000"/>
                  <a:gd name="connsiteX1588" fmla="*/ 3894 w 10785"/>
                  <a:gd name="connsiteY1588" fmla="*/ 1855 h 10000"/>
                  <a:gd name="connsiteX1589" fmla="*/ 3880 w 10785"/>
                  <a:gd name="connsiteY1589" fmla="*/ 1838 h 10000"/>
                  <a:gd name="connsiteX1590" fmla="*/ 3880 w 10785"/>
                  <a:gd name="connsiteY1590" fmla="*/ 1855 h 10000"/>
                  <a:gd name="connsiteX1591" fmla="*/ 3880 w 10785"/>
                  <a:gd name="connsiteY1591" fmla="*/ 1863 h 10000"/>
                  <a:gd name="connsiteX1592" fmla="*/ 3871 w 10785"/>
                  <a:gd name="connsiteY1592" fmla="*/ 1872 h 10000"/>
                  <a:gd name="connsiteX1593" fmla="*/ 3880 w 10785"/>
                  <a:gd name="connsiteY1593" fmla="*/ 1889 h 10000"/>
                  <a:gd name="connsiteX1594" fmla="*/ 3885 w 10785"/>
                  <a:gd name="connsiteY1594" fmla="*/ 1889 h 10000"/>
                  <a:gd name="connsiteX1595" fmla="*/ 3880 w 10785"/>
                  <a:gd name="connsiteY1595" fmla="*/ 1897 h 10000"/>
                  <a:gd name="connsiteX1596" fmla="*/ 3871 w 10785"/>
                  <a:gd name="connsiteY1596" fmla="*/ 1915 h 10000"/>
                  <a:gd name="connsiteX1597" fmla="*/ 3848 w 10785"/>
                  <a:gd name="connsiteY1597" fmla="*/ 1923 h 10000"/>
                  <a:gd name="connsiteX1598" fmla="*/ 3825 w 10785"/>
                  <a:gd name="connsiteY1598" fmla="*/ 1940 h 10000"/>
                  <a:gd name="connsiteX1599" fmla="*/ 3811 w 10785"/>
                  <a:gd name="connsiteY1599" fmla="*/ 1940 h 10000"/>
                  <a:gd name="connsiteX1600" fmla="*/ 3806 w 10785"/>
                  <a:gd name="connsiteY1600" fmla="*/ 1949 h 10000"/>
                  <a:gd name="connsiteX1601" fmla="*/ 3797 w 10785"/>
                  <a:gd name="connsiteY1601" fmla="*/ 1966 h 10000"/>
                  <a:gd name="connsiteX1602" fmla="*/ 3788 w 10785"/>
                  <a:gd name="connsiteY1602" fmla="*/ 1991 h 10000"/>
                  <a:gd name="connsiteX1603" fmla="*/ 3765 w 10785"/>
                  <a:gd name="connsiteY1603" fmla="*/ 1974 h 10000"/>
                  <a:gd name="connsiteX1604" fmla="*/ 3760 w 10785"/>
                  <a:gd name="connsiteY1604" fmla="*/ 1966 h 10000"/>
                  <a:gd name="connsiteX1605" fmla="*/ 3760 w 10785"/>
                  <a:gd name="connsiteY1605" fmla="*/ 1966 h 10000"/>
                  <a:gd name="connsiteX1606" fmla="*/ 3631 w 10785"/>
                  <a:gd name="connsiteY1606" fmla="*/ 2009 h 10000"/>
                  <a:gd name="connsiteX1607" fmla="*/ 3618 w 10785"/>
                  <a:gd name="connsiteY1607" fmla="*/ 2000 h 10000"/>
                  <a:gd name="connsiteX1608" fmla="*/ 3599 w 10785"/>
                  <a:gd name="connsiteY1608" fmla="*/ 2009 h 10000"/>
                  <a:gd name="connsiteX1609" fmla="*/ 3571 w 10785"/>
                  <a:gd name="connsiteY1609" fmla="*/ 2000 h 10000"/>
                  <a:gd name="connsiteX1610" fmla="*/ 3530 w 10785"/>
                  <a:gd name="connsiteY1610" fmla="*/ 2026 h 10000"/>
                  <a:gd name="connsiteX1611" fmla="*/ 3530 w 10785"/>
                  <a:gd name="connsiteY1611" fmla="*/ 2034 h 10000"/>
                  <a:gd name="connsiteX1612" fmla="*/ 3525 w 10785"/>
                  <a:gd name="connsiteY1612" fmla="*/ 2051 h 10000"/>
                  <a:gd name="connsiteX1613" fmla="*/ 3512 w 10785"/>
                  <a:gd name="connsiteY1613" fmla="*/ 2034 h 10000"/>
                  <a:gd name="connsiteX1614" fmla="*/ 3507 w 10785"/>
                  <a:gd name="connsiteY1614" fmla="*/ 2034 h 10000"/>
                  <a:gd name="connsiteX1615" fmla="*/ 3498 w 10785"/>
                  <a:gd name="connsiteY1615" fmla="*/ 2051 h 10000"/>
                  <a:gd name="connsiteX1616" fmla="*/ 3484 w 10785"/>
                  <a:gd name="connsiteY1616" fmla="*/ 2060 h 10000"/>
                  <a:gd name="connsiteX1617" fmla="*/ 3484 w 10785"/>
                  <a:gd name="connsiteY1617" fmla="*/ 2085 h 10000"/>
                  <a:gd name="connsiteX1618" fmla="*/ 3484 w 10785"/>
                  <a:gd name="connsiteY1618" fmla="*/ 2103 h 10000"/>
                  <a:gd name="connsiteX1619" fmla="*/ 3493 w 10785"/>
                  <a:gd name="connsiteY1619" fmla="*/ 2103 h 10000"/>
                  <a:gd name="connsiteX1620" fmla="*/ 3493 w 10785"/>
                  <a:gd name="connsiteY1620" fmla="*/ 2085 h 10000"/>
                  <a:gd name="connsiteX1621" fmla="*/ 3498 w 10785"/>
                  <a:gd name="connsiteY1621" fmla="*/ 2085 h 10000"/>
                  <a:gd name="connsiteX1622" fmla="*/ 3498 w 10785"/>
                  <a:gd name="connsiteY1622" fmla="*/ 2111 h 10000"/>
                  <a:gd name="connsiteX1623" fmla="*/ 3484 w 10785"/>
                  <a:gd name="connsiteY1623" fmla="*/ 2120 h 10000"/>
                  <a:gd name="connsiteX1624" fmla="*/ 3484 w 10785"/>
                  <a:gd name="connsiteY1624" fmla="*/ 2145 h 10000"/>
                  <a:gd name="connsiteX1625" fmla="*/ 3470 w 10785"/>
                  <a:gd name="connsiteY1625" fmla="*/ 2137 h 10000"/>
                  <a:gd name="connsiteX1626" fmla="*/ 3465 w 10785"/>
                  <a:gd name="connsiteY1626" fmla="*/ 2145 h 10000"/>
                  <a:gd name="connsiteX1627" fmla="*/ 3470 w 10785"/>
                  <a:gd name="connsiteY1627" fmla="*/ 2171 h 10000"/>
                  <a:gd name="connsiteX1628" fmla="*/ 3484 w 10785"/>
                  <a:gd name="connsiteY1628" fmla="*/ 2171 h 10000"/>
                  <a:gd name="connsiteX1629" fmla="*/ 3484 w 10785"/>
                  <a:gd name="connsiteY1629" fmla="*/ 2197 h 10000"/>
                  <a:gd name="connsiteX1630" fmla="*/ 3465 w 10785"/>
                  <a:gd name="connsiteY1630" fmla="*/ 2214 h 10000"/>
                  <a:gd name="connsiteX1631" fmla="*/ 3493 w 10785"/>
                  <a:gd name="connsiteY1631" fmla="*/ 2248 h 10000"/>
                  <a:gd name="connsiteX1632" fmla="*/ 3484 w 10785"/>
                  <a:gd name="connsiteY1632" fmla="*/ 2256 h 10000"/>
                  <a:gd name="connsiteX1633" fmla="*/ 3498 w 10785"/>
                  <a:gd name="connsiteY1633" fmla="*/ 2274 h 10000"/>
                  <a:gd name="connsiteX1634" fmla="*/ 3498 w 10785"/>
                  <a:gd name="connsiteY1634" fmla="*/ 2256 h 10000"/>
                  <a:gd name="connsiteX1635" fmla="*/ 3507 w 10785"/>
                  <a:gd name="connsiteY1635" fmla="*/ 2308 h 10000"/>
                  <a:gd name="connsiteX1636" fmla="*/ 3512 w 10785"/>
                  <a:gd name="connsiteY1636" fmla="*/ 2325 h 10000"/>
                  <a:gd name="connsiteX1637" fmla="*/ 3507 w 10785"/>
                  <a:gd name="connsiteY1637" fmla="*/ 2333 h 10000"/>
                  <a:gd name="connsiteX1638" fmla="*/ 3507 w 10785"/>
                  <a:gd name="connsiteY1638" fmla="*/ 2359 h 10000"/>
                  <a:gd name="connsiteX1639" fmla="*/ 3507 w 10785"/>
                  <a:gd name="connsiteY1639" fmla="*/ 2376 h 10000"/>
                  <a:gd name="connsiteX1640" fmla="*/ 3498 w 10785"/>
                  <a:gd name="connsiteY1640" fmla="*/ 2410 h 10000"/>
                  <a:gd name="connsiteX1641" fmla="*/ 3498 w 10785"/>
                  <a:gd name="connsiteY1641" fmla="*/ 2436 h 10000"/>
                  <a:gd name="connsiteX1642" fmla="*/ 3507 w 10785"/>
                  <a:gd name="connsiteY1642" fmla="*/ 2462 h 10000"/>
                  <a:gd name="connsiteX1643" fmla="*/ 3507 w 10785"/>
                  <a:gd name="connsiteY1643" fmla="*/ 2496 h 10000"/>
                  <a:gd name="connsiteX1644" fmla="*/ 3512 w 10785"/>
                  <a:gd name="connsiteY1644" fmla="*/ 2521 h 10000"/>
                  <a:gd name="connsiteX1645" fmla="*/ 3525 w 10785"/>
                  <a:gd name="connsiteY1645" fmla="*/ 2556 h 10000"/>
                  <a:gd name="connsiteX1646" fmla="*/ 3571 w 10785"/>
                  <a:gd name="connsiteY1646" fmla="*/ 2573 h 10000"/>
                  <a:gd name="connsiteX1647" fmla="*/ 3590 w 10785"/>
                  <a:gd name="connsiteY1647" fmla="*/ 2598 h 10000"/>
                  <a:gd name="connsiteX1648" fmla="*/ 3599 w 10785"/>
                  <a:gd name="connsiteY1648" fmla="*/ 2598 h 10000"/>
                  <a:gd name="connsiteX1649" fmla="*/ 3604 w 10785"/>
                  <a:gd name="connsiteY1649" fmla="*/ 2632 h 10000"/>
                  <a:gd name="connsiteX1650" fmla="*/ 3599 w 10785"/>
                  <a:gd name="connsiteY1650" fmla="*/ 2658 h 10000"/>
                  <a:gd name="connsiteX1651" fmla="*/ 3590 w 10785"/>
                  <a:gd name="connsiteY1651" fmla="*/ 2667 h 10000"/>
                  <a:gd name="connsiteX1652" fmla="*/ 3604 w 10785"/>
                  <a:gd name="connsiteY1652" fmla="*/ 2667 h 10000"/>
                  <a:gd name="connsiteX1653" fmla="*/ 3613 w 10785"/>
                  <a:gd name="connsiteY1653" fmla="*/ 2692 h 10000"/>
                  <a:gd name="connsiteX1654" fmla="*/ 3627 w 10785"/>
                  <a:gd name="connsiteY1654" fmla="*/ 2735 h 10000"/>
                  <a:gd name="connsiteX1655" fmla="*/ 3631 w 10785"/>
                  <a:gd name="connsiteY1655" fmla="*/ 2744 h 10000"/>
                  <a:gd name="connsiteX1656" fmla="*/ 3659 w 10785"/>
                  <a:gd name="connsiteY1656" fmla="*/ 2761 h 10000"/>
                  <a:gd name="connsiteX1657" fmla="*/ 3673 w 10785"/>
                  <a:gd name="connsiteY1657" fmla="*/ 2769 h 10000"/>
                  <a:gd name="connsiteX1658" fmla="*/ 3673 w 10785"/>
                  <a:gd name="connsiteY1658" fmla="*/ 2761 h 10000"/>
                  <a:gd name="connsiteX1659" fmla="*/ 3687 w 10785"/>
                  <a:gd name="connsiteY1659" fmla="*/ 2829 h 10000"/>
                  <a:gd name="connsiteX1660" fmla="*/ 3677 w 10785"/>
                  <a:gd name="connsiteY1660" fmla="*/ 2897 h 10000"/>
                  <a:gd name="connsiteX1661" fmla="*/ 3673 w 10785"/>
                  <a:gd name="connsiteY1661" fmla="*/ 2915 h 10000"/>
                  <a:gd name="connsiteX1662" fmla="*/ 3664 w 10785"/>
                  <a:gd name="connsiteY1662" fmla="*/ 2957 h 10000"/>
                  <a:gd name="connsiteX1663" fmla="*/ 3659 w 10785"/>
                  <a:gd name="connsiteY1663" fmla="*/ 2983 h 10000"/>
                  <a:gd name="connsiteX1664" fmla="*/ 3664 w 10785"/>
                  <a:gd name="connsiteY1664" fmla="*/ 3017 h 10000"/>
                  <a:gd name="connsiteX1665" fmla="*/ 3659 w 10785"/>
                  <a:gd name="connsiteY1665" fmla="*/ 3043 h 10000"/>
                  <a:gd name="connsiteX1666" fmla="*/ 3677 w 10785"/>
                  <a:gd name="connsiteY1666" fmla="*/ 3094 h 10000"/>
                  <a:gd name="connsiteX1667" fmla="*/ 3691 w 10785"/>
                  <a:gd name="connsiteY1667" fmla="*/ 3282 h 10000"/>
                  <a:gd name="connsiteX1668" fmla="*/ 3691 w 10785"/>
                  <a:gd name="connsiteY1668" fmla="*/ 3308 h 10000"/>
                  <a:gd name="connsiteX1669" fmla="*/ 3677 w 10785"/>
                  <a:gd name="connsiteY1669" fmla="*/ 3342 h 10000"/>
                  <a:gd name="connsiteX1670" fmla="*/ 3664 w 10785"/>
                  <a:gd name="connsiteY1670" fmla="*/ 3342 h 10000"/>
                  <a:gd name="connsiteX1671" fmla="*/ 3650 w 10785"/>
                  <a:gd name="connsiteY1671" fmla="*/ 3342 h 10000"/>
                  <a:gd name="connsiteX1672" fmla="*/ 3650 w 10785"/>
                  <a:gd name="connsiteY1672" fmla="*/ 3350 h 10000"/>
                  <a:gd name="connsiteX1673" fmla="*/ 3659 w 10785"/>
                  <a:gd name="connsiteY1673" fmla="*/ 3402 h 10000"/>
                  <a:gd name="connsiteX1674" fmla="*/ 3659 w 10785"/>
                  <a:gd name="connsiteY1674" fmla="*/ 3419 h 10000"/>
                  <a:gd name="connsiteX1675" fmla="*/ 3631 w 10785"/>
                  <a:gd name="connsiteY1675" fmla="*/ 3402 h 10000"/>
                  <a:gd name="connsiteX1676" fmla="*/ 3604 w 10785"/>
                  <a:gd name="connsiteY1676" fmla="*/ 3393 h 10000"/>
                  <a:gd name="connsiteX1677" fmla="*/ 3599 w 10785"/>
                  <a:gd name="connsiteY1677" fmla="*/ 3368 h 10000"/>
                  <a:gd name="connsiteX1678" fmla="*/ 3590 w 10785"/>
                  <a:gd name="connsiteY1678" fmla="*/ 3239 h 10000"/>
                  <a:gd name="connsiteX1679" fmla="*/ 3599 w 10785"/>
                  <a:gd name="connsiteY1679" fmla="*/ 3179 h 10000"/>
                  <a:gd name="connsiteX1680" fmla="*/ 3599 w 10785"/>
                  <a:gd name="connsiteY1680" fmla="*/ 3171 h 10000"/>
                  <a:gd name="connsiteX1681" fmla="*/ 3599 w 10785"/>
                  <a:gd name="connsiteY1681" fmla="*/ 3009 h 10000"/>
                  <a:gd name="connsiteX1682" fmla="*/ 3604 w 10785"/>
                  <a:gd name="connsiteY1682" fmla="*/ 2983 h 10000"/>
                  <a:gd name="connsiteX1683" fmla="*/ 3645 w 10785"/>
                  <a:gd name="connsiteY1683" fmla="*/ 2932 h 10000"/>
                  <a:gd name="connsiteX1684" fmla="*/ 3650 w 10785"/>
                  <a:gd name="connsiteY1684" fmla="*/ 2872 h 10000"/>
                  <a:gd name="connsiteX1685" fmla="*/ 3659 w 10785"/>
                  <a:gd name="connsiteY1685" fmla="*/ 2855 h 10000"/>
                  <a:gd name="connsiteX1686" fmla="*/ 3659 w 10785"/>
                  <a:gd name="connsiteY1686" fmla="*/ 2821 h 10000"/>
                  <a:gd name="connsiteX1687" fmla="*/ 3631 w 10785"/>
                  <a:gd name="connsiteY1687" fmla="*/ 2795 h 10000"/>
                  <a:gd name="connsiteX1688" fmla="*/ 3567 w 10785"/>
                  <a:gd name="connsiteY1688" fmla="*/ 2821 h 10000"/>
                  <a:gd name="connsiteX1689" fmla="*/ 3544 w 10785"/>
                  <a:gd name="connsiteY1689" fmla="*/ 2795 h 10000"/>
                  <a:gd name="connsiteX1690" fmla="*/ 3530 w 10785"/>
                  <a:gd name="connsiteY1690" fmla="*/ 2769 h 10000"/>
                  <a:gd name="connsiteX1691" fmla="*/ 3530 w 10785"/>
                  <a:gd name="connsiteY1691" fmla="*/ 2786 h 10000"/>
                  <a:gd name="connsiteX1692" fmla="*/ 3498 w 10785"/>
                  <a:gd name="connsiteY1692" fmla="*/ 2692 h 10000"/>
                  <a:gd name="connsiteX1693" fmla="*/ 3498 w 10785"/>
                  <a:gd name="connsiteY1693" fmla="*/ 2667 h 10000"/>
                  <a:gd name="connsiteX1694" fmla="*/ 3442 w 10785"/>
                  <a:gd name="connsiteY1694" fmla="*/ 2607 h 10000"/>
                  <a:gd name="connsiteX1695" fmla="*/ 3433 w 10785"/>
                  <a:gd name="connsiteY1695" fmla="*/ 2581 h 10000"/>
                  <a:gd name="connsiteX1696" fmla="*/ 3396 w 10785"/>
                  <a:gd name="connsiteY1696" fmla="*/ 2556 h 10000"/>
                  <a:gd name="connsiteX1697" fmla="*/ 3318 w 10785"/>
                  <a:gd name="connsiteY1697" fmla="*/ 2556 h 10000"/>
                  <a:gd name="connsiteX1698" fmla="*/ 3304 w 10785"/>
                  <a:gd name="connsiteY1698" fmla="*/ 2607 h 10000"/>
                  <a:gd name="connsiteX1699" fmla="*/ 3276 w 10785"/>
                  <a:gd name="connsiteY1699" fmla="*/ 2632 h 10000"/>
                  <a:gd name="connsiteX1700" fmla="*/ 3272 w 10785"/>
                  <a:gd name="connsiteY1700" fmla="*/ 2667 h 10000"/>
                  <a:gd name="connsiteX1701" fmla="*/ 3304 w 10785"/>
                  <a:gd name="connsiteY1701" fmla="*/ 2667 h 10000"/>
                  <a:gd name="connsiteX1702" fmla="*/ 3323 w 10785"/>
                  <a:gd name="connsiteY1702" fmla="*/ 2692 h 10000"/>
                  <a:gd name="connsiteX1703" fmla="*/ 3318 w 10785"/>
                  <a:gd name="connsiteY1703" fmla="*/ 2735 h 10000"/>
                  <a:gd name="connsiteX1704" fmla="*/ 3304 w 10785"/>
                  <a:gd name="connsiteY1704" fmla="*/ 2761 h 10000"/>
                  <a:gd name="connsiteX1705" fmla="*/ 3276 w 10785"/>
                  <a:gd name="connsiteY1705" fmla="*/ 2769 h 10000"/>
                  <a:gd name="connsiteX1706" fmla="*/ 3263 w 10785"/>
                  <a:gd name="connsiteY1706" fmla="*/ 2795 h 10000"/>
                  <a:gd name="connsiteX1707" fmla="*/ 3235 w 10785"/>
                  <a:gd name="connsiteY1707" fmla="*/ 2803 h 10000"/>
                  <a:gd name="connsiteX1708" fmla="*/ 3235 w 10785"/>
                  <a:gd name="connsiteY1708" fmla="*/ 2786 h 10000"/>
                  <a:gd name="connsiteX1709" fmla="*/ 3212 w 10785"/>
                  <a:gd name="connsiteY1709" fmla="*/ 2709 h 10000"/>
                  <a:gd name="connsiteX1710" fmla="*/ 3198 w 10785"/>
                  <a:gd name="connsiteY1710" fmla="*/ 2709 h 10000"/>
                  <a:gd name="connsiteX1711" fmla="*/ 3184 w 10785"/>
                  <a:gd name="connsiteY1711" fmla="*/ 2735 h 10000"/>
                  <a:gd name="connsiteX1712" fmla="*/ 3189 w 10785"/>
                  <a:gd name="connsiteY1712" fmla="*/ 2761 h 10000"/>
                  <a:gd name="connsiteX1713" fmla="*/ 3203 w 10785"/>
                  <a:gd name="connsiteY1713" fmla="*/ 2855 h 10000"/>
                  <a:gd name="connsiteX1714" fmla="*/ 3212 w 10785"/>
                  <a:gd name="connsiteY1714" fmla="*/ 2872 h 10000"/>
                  <a:gd name="connsiteX1715" fmla="*/ 3235 w 10785"/>
                  <a:gd name="connsiteY1715" fmla="*/ 2906 h 10000"/>
                  <a:gd name="connsiteX1716" fmla="*/ 3258 w 10785"/>
                  <a:gd name="connsiteY1716" fmla="*/ 2915 h 10000"/>
                  <a:gd name="connsiteX1717" fmla="*/ 3272 w 10785"/>
                  <a:gd name="connsiteY1717" fmla="*/ 2957 h 10000"/>
                  <a:gd name="connsiteX1718" fmla="*/ 3276 w 10785"/>
                  <a:gd name="connsiteY1718" fmla="*/ 2957 h 10000"/>
                  <a:gd name="connsiteX1719" fmla="*/ 3286 w 10785"/>
                  <a:gd name="connsiteY1719" fmla="*/ 2966 h 10000"/>
                  <a:gd name="connsiteX1720" fmla="*/ 3300 w 10785"/>
                  <a:gd name="connsiteY1720" fmla="*/ 2957 h 10000"/>
                  <a:gd name="connsiteX1721" fmla="*/ 3309 w 10785"/>
                  <a:gd name="connsiteY1721" fmla="*/ 2932 h 10000"/>
                  <a:gd name="connsiteX1722" fmla="*/ 3304 w 10785"/>
                  <a:gd name="connsiteY1722" fmla="*/ 2966 h 10000"/>
                  <a:gd name="connsiteX1723" fmla="*/ 3309 w 10785"/>
                  <a:gd name="connsiteY1723" fmla="*/ 2983 h 10000"/>
                  <a:gd name="connsiteX1724" fmla="*/ 3323 w 10785"/>
                  <a:gd name="connsiteY1724" fmla="*/ 2966 h 10000"/>
                  <a:gd name="connsiteX1725" fmla="*/ 3323 w 10785"/>
                  <a:gd name="connsiteY1725" fmla="*/ 3043 h 10000"/>
                  <a:gd name="connsiteX1726" fmla="*/ 3346 w 10785"/>
                  <a:gd name="connsiteY1726" fmla="*/ 3068 h 10000"/>
                  <a:gd name="connsiteX1727" fmla="*/ 3346 w 10785"/>
                  <a:gd name="connsiteY1727" fmla="*/ 3094 h 10000"/>
                  <a:gd name="connsiteX1728" fmla="*/ 3323 w 10785"/>
                  <a:gd name="connsiteY1728" fmla="*/ 3094 h 10000"/>
                  <a:gd name="connsiteX1729" fmla="*/ 3309 w 10785"/>
                  <a:gd name="connsiteY1729" fmla="*/ 3077 h 10000"/>
                  <a:gd name="connsiteX1730" fmla="*/ 3304 w 10785"/>
                  <a:gd name="connsiteY1730" fmla="*/ 3051 h 10000"/>
                  <a:gd name="connsiteX1731" fmla="*/ 3300 w 10785"/>
                  <a:gd name="connsiteY1731" fmla="*/ 3043 h 10000"/>
                  <a:gd name="connsiteX1732" fmla="*/ 3286 w 10785"/>
                  <a:gd name="connsiteY1732" fmla="*/ 3017 h 10000"/>
                  <a:gd name="connsiteX1733" fmla="*/ 3152 w 10785"/>
                  <a:gd name="connsiteY1733" fmla="*/ 2966 h 10000"/>
                  <a:gd name="connsiteX1734" fmla="*/ 3129 w 10785"/>
                  <a:gd name="connsiteY1734" fmla="*/ 2915 h 10000"/>
                  <a:gd name="connsiteX1735" fmla="*/ 3129 w 10785"/>
                  <a:gd name="connsiteY1735" fmla="*/ 2906 h 10000"/>
                  <a:gd name="connsiteX1736" fmla="*/ 3152 w 10785"/>
                  <a:gd name="connsiteY1736" fmla="*/ 2906 h 10000"/>
                  <a:gd name="connsiteX1737" fmla="*/ 3152 w 10785"/>
                  <a:gd name="connsiteY1737" fmla="*/ 2846 h 10000"/>
                  <a:gd name="connsiteX1738" fmla="*/ 3138 w 10785"/>
                  <a:gd name="connsiteY1738" fmla="*/ 2795 h 10000"/>
                  <a:gd name="connsiteX1739" fmla="*/ 3138 w 10785"/>
                  <a:gd name="connsiteY1739" fmla="*/ 2769 h 10000"/>
                  <a:gd name="connsiteX1740" fmla="*/ 3143 w 10785"/>
                  <a:gd name="connsiteY1740" fmla="*/ 2718 h 10000"/>
                  <a:gd name="connsiteX1741" fmla="*/ 3129 w 10785"/>
                  <a:gd name="connsiteY1741" fmla="*/ 2692 h 10000"/>
                  <a:gd name="connsiteX1742" fmla="*/ 3143 w 10785"/>
                  <a:gd name="connsiteY1742" fmla="*/ 2667 h 10000"/>
                  <a:gd name="connsiteX1743" fmla="*/ 3157 w 10785"/>
                  <a:gd name="connsiteY1743" fmla="*/ 2581 h 10000"/>
                  <a:gd name="connsiteX1744" fmla="*/ 3143 w 10785"/>
                  <a:gd name="connsiteY1744" fmla="*/ 2496 h 10000"/>
                  <a:gd name="connsiteX1745" fmla="*/ 3157 w 10785"/>
                  <a:gd name="connsiteY1745" fmla="*/ 2487 h 10000"/>
                  <a:gd name="connsiteX1746" fmla="*/ 3143 w 10785"/>
                  <a:gd name="connsiteY1746" fmla="*/ 2444 h 10000"/>
                  <a:gd name="connsiteX1747" fmla="*/ 3143 w 10785"/>
                  <a:gd name="connsiteY1747" fmla="*/ 2419 h 10000"/>
                  <a:gd name="connsiteX1748" fmla="*/ 3143 w 10785"/>
                  <a:gd name="connsiteY1748" fmla="*/ 2410 h 10000"/>
                  <a:gd name="connsiteX1749" fmla="*/ 3124 w 10785"/>
                  <a:gd name="connsiteY1749" fmla="*/ 2376 h 10000"/>
                  <a:gd name="connsiteX1750" fmla="*/ 3115 w 10785"/>
                  <a:gd name="connsiteY1750" fmla="*/ 2350 h 10000"/>
                  <a:gd name="connsiteX1751" fmla="*/ 3101 w 10785"/>
                  <a:gd name="connsiteY1751" fmla="*/ 2359 h 10000"/>
                  <a:gd name="connsiteX1752" fmla="*/ 3115 w 10785"/>
                  <a:gd name="connsiteY1752" fmla="*/ 2581 h 10000"/>
                  <a:gd name="connsiteX1753" fmla="*/ 3111 w 10785"/>
                  <a:gd name="connsiteY1753" fmla="*/ 2624 h 10000"/>
                  <a:gd name="connsiteX1754" fmla="*/ 3009 w 10785"/>
                  <a:gd name="connsiteY1754" fmla="*/ 2761 h 10000"/>
                  <a:gd name="connsiteX1755" fmla="*/ 3009 w 10785"/>
                  <a:gd name="connsiteY1755" fmla="*/ 2803 h 10000"/>
                  <a:gd name="connsiteX1756" fmla="*/ 3005 w 10785"/>
                  <a:gd name="connsiteY1756" fmla="*/ 2829 h 10000"/>
                  <a:gd name="connsiteX1757" fmla="*/ 2982 w 10785"/>
                  <a:gd name="connsiteY1757" fmla="*/ 2872 h 10000"/>
                  <a:gd name="connsiteX1758" fmla="*/ 2982 w 10785"/>
                  <a:gd name="connsiteY1758" fmla="*/ 2880 h 10000"/>
                  <a:gd name="connsiteX1759" fmla="*/ 3037 w 10785"/>
                  <a:gd name="connsiteY1759" fmla="*/ 3034 h 10000"/>
                  <a:gd name="connsiteX1760" fmla="*/ 3041 w 10785"/>
                  <a:gd name="connsiteY1760" fmla="*/ 3103 h 10000"/>
                  <a:gd name="connsiteX1761" fmla="*/ 3069 w 10785"/>
                  <a:gd name="connsiteY1761" fmla="*/ 3188 h 10000"/>
                  <a:gd name="connsiteX1762" fmla="*/ 3055 w 10785"/>
                  <a:gd name="connsiteY1762" fmla="*/ 3325 h 10000"/>
                  <a:gd name="connsiteX1763" fmla="*/ 3037 w 10785"/>
                  <a:gd name="connsiteY1763" fmla="*/ 3368 h 10000"/>
                  <a:gd name="connsiteX1764" fmla="*/ 3037 w 10785"/>
                  <a:gd name="connsiteY1764" fmla="*/ 3444 h 10000"/>
                  <a:gd name="connsiteX1765" fmla="*/ 3028 w 10785"/>
                  <a:gd name="connsiteY1765" fmla="*/ 3453 h 10000"/>
                  <a:gd name="connsiteX1766" fmla="*/ 3023 w 10785"/>
                  <a:gd name="connsiteY1766" fmla="*/ 3530 h 10000"/>
                  <a:gd name="connsiteX1767" fmla="*/ 3051 w 10785"/>
                  <a:gd name="connsiteY1767" fmla="*/ 3624 h 10000"/>
                  <a:gd name="connsiteX1768" fmla="*/ 3037 w 10785"/>
                  <a:gd name="connsiteY1768" fmla="*/ 3718 h 10000"/>
                  <a:gd name="connsiteX1769" fmla="*/ 3041 w 10785"/>
                  <a:gd name="connsiteY1769" fmla="*/ 3752 h 10000"/>
                  <a:gd name="connsiteX1770" fmla="*/ 3055 w 10785"/>
                  <a:gd name="connsiteY1770" fmla="*/ 3761 h 10000"/>
                  <a:gd name="connsiteX1771" fmla="*/ 3078 w 10785"/>
                  <a:gd name="connsiteY1771" fmla="*/ 3752 h 10000"/>
                  <a:gd name="connsiteX1772" fmla="*/ 3092 w 10785"/>
                  <a:gd name="connsiteY1772" fmla="*/ 3752 h 10000"/>
                  <a:gd name="connsiteX1773" fmla="*/ 3129 w 10785"/>
                  <a:gd name="connsiteY1773" fmla="*/ 3761 h 10000"/>
                  <a:gd name="connsiteX1774" fmla="*/ 3129 w 10785"/>
                  <a:gd name="connsiteY1774" fmla="*/ 3735 h 10000"/>
                  <a:gd name="connsiteX1775" fmla="*/ 3157 w 10785"/>
                  <a:gd name="connsiteY1775" fmla="*/ 3718 h 10000"/>
                  <a:gd name="connsiteX1776" fmla="*/ 3184 w 10785"/>
                  <a:gd name="connsiteY1776" fmla="*/ 3718 h 10000"/>
                  <a:gd name="connsiteX1777" fmla="*/ 3290 w 10785"/>
                  <a:gd name="connsiteY1777" fmla="*/ 3838 h 10000"/>
                  <a:gd name="connsiteX1778" fmla="*/ 3300 w 10785"/>
                  <a:gd name="connsiteY1778" fmla="*/ 3846 h 10000"/>
                  <a:gd name="connsiteX1779" fmla="*/ 3300 w 10785"/>
                  <a:gd name="connsiteY1779" fmla="*/ 3915 h 10000"/>
                  <a:gd name="connsiteX1780" fmla="*/ 3318 w 10785"/>
                  <a:gd name="connsiteY1780" fmla="*/ 4000 h 10000"/>
                  <a:gd name="connsiteX1781" fmla="*/ 3323 w 10785"/>
                  <a:gd name="connsiteY1781" fmla="*/ 4000 h 10000"/>
                  <a:gd name="connsiteX1782" fmla="*/ 3323 w 10785"/>
                  <a:gd name="connsiteY1782" fmla="*/ 4034 h 10000"/>
                  <a:gd name="connsiteX1783" fmla="*/ 3318 w 10785"/>
                  <a:gd name="connsiteY1783" fmla="*/ 4051 h 10000"/>
                  <a:gd name="connsiteX1784" fmla="*/ 3300 w 10785"/>
                  <a:gd name="connsiteY1784" fmla="*/ 4051 h 10000"/>
                  <a:gd name="connsiteX1785" fmla="*/ 3290 w 10785"/>
                  <a:gd name="connsiteY1785" fmla="*/ 4077 h 10000"/>
                  <a:gd name="connsiteX1786" fmla="*/ 3286 w 10785"/>
                  <a:gd name="connsiteY1786" fmla="*/ 4103 h 10000"/>
                  <a:gd name="connsiteX1787" fmla="*/ 3286 w 10785"/>
                  <a:gd name="connsiteY1787" fmla="*/ 4197 h 10000"/>
                  <a:gd name="connsiteX1788" fmla="*/ 3290 w 10785"/>
                  <a:gd name="connsiteY1788" fmla="*/ 4214 h 10000"/>
                  <a:gd name="connsiteX1789" fmla="*/ 3304 w 10785"/>
                  <a:gd name="connsiteY1789" fmla="*/ 4214 h 10000"/>
                  <a:gd name="connsiteX1790" fmla="*/ 3323 w 10785"/>
                  <a:gd name="connsiteY1790" fmla="*/ 4239 h 10000"/>
                  <a:gd name="connsiteX1791" fmla="*/ 3350 w 10785"/>
                  <a:gd name="connsiteY1791" fmla="*/ 4222 h 10000"/>
                  <a:gd name="connsiteX1792" fmla="*/ 3369 w 10785"/>
                  <a:gd name="connsiteY1792" fmla="*/ 4256 h 10000"/>
                  <a:gd name="connsiteX1793" fmla="*/ 3369 w 10785"/>
                  <a:gd name="connsiteY1793" fmla="*/ 4256 h 10000"/>
                  <a:gd name="connsiteX1794" fmla="*/ 3336 w 10785"/>
                  <a:gd name="connsiteY1794" fmla="*/ 4274 h 10000"/>
                  <a:gd name="connsiteX1795" fmla="*/ 3323 w 10785"/>
                  <a:gd name="connsiteY1795" fmla="*/ 4274 h 10000"/>
                  <a:gd name="connsiteX1796" fmla="*/ 3290 w 10785"/>
                  <a:gd name="connsiteY1796" fmla="*/ 4274 h 10000"/>
                  <a:gd name="connsiteX1797" fmla="*/ 3286 w 10785"/>
                  <a:gd name="connsiteY1797" fmla="*/ 4239 h 10000"/>
                  <a:gd name="connsiteX1798" fmla="*/ 3263 w 10785"/>
                  <a:gd name="connsiteY1798" fmla="*/ 4214 h 10000"/>
                  <a:gd name="connsiteX1799" fmla="*/ 3258 w 10785"/>
                  <a:gd name="connsiteY1799" fmla="*/ 4188 h 10000"/>
                  <a:gd name="connsiteX1800" fmla="*/ 3263 w 10785"/>
                  <a:gd name="connsiteY1800" fmla="*/ 4171 h 10000"/>
                  <a:gd name="connsiteX1801" fmla="*/ 3263 w 10785"/>
                  <a:gd name="connsiteY1801" fmla="*/ 4103 h 10000"/>
                  <a:gd name="connsiteX1802" fmla="*/ 3276 w 10785"/>
                  <a:gd name="connsiteY1802" fmla="*/ 4060 h 10000"/>
                  <a:gd name="connsiteX1803" fmla="*/ 3272 w 10785"/>
                  <a:gd name="connsiteY1803" fmla="*/ 4051 h 10000"/>
                  <a:gd name="connsiteX1804" fmla="*/ 3263 w 10785"/>
                  <a:gd name="connsiteY1804" fmla="*/ 4051 h 10000"/>
                  <a:gd name="connsiteX1805" fmla="*/ 3263 w 10785"/>
                  <a:gd name="connsiteY1805" fmla="*/ 4034 h 10000"/>
                  <a:gd name="connsiteX1806" fmla="*/ 3263 w 10785"/>
                  <a:gd name="connsiteY1806" fmla="*/ 4000 h 10000"/>
                  <a:gd name="connsiteX1807" fmla="*/ 3272 w 10785"/>
                  <a:gd name="connsiteY1807" fmla="*/ 4000 h 10000"/>
                  <a:gd name="connsiteX1808" fmla="*/ 3272 w 10785"/>
                  <a:gd name="connsiteY1808" fmla="*/ 3974 h 10000"/>
                  <a:gd name="connsiteX1809" fmla="*/ 3272 w 10785"/>
                  <a:gd name="connsiteY1809" fmla="*/ 3966 h 10000"/>
                  <a:gd name="connsiteX1810" fmla="*/ 3272 w 10785"/>
                  <a:gd name="connsiteY1810" fmla="*/ 3949 h 10000"/>
                  <a:gd name="connsiteX1811" fmla="*/ 3258 w 10785"/>
                  <a:gd name="connsiteY1811" fmla="*/ 3923 h 10000"/>
                  <a:gd name="connsiteX1812" fmla="*/ 3249 w 10785"/>
                  <a:gd name="connsiteY1812" fmla="*/ 3915 h 10000"/>
                  <a:gd name="connsiteX1813" fmla="*/ 3244 w 10785"/>
                  <a:gd name="connsiteY1813" fmla="*/ 3897 h 10000"/>
                  <a:gd name="connsiteX1814" fmla="*/ 3230 w 10785"/>
                  <a:gd name="connsiteY1814" fmla="*/ 3889 h 10000"/>
                  <a:gd name="connsiteX1815" fmla="*/ 3230 w 10785"/>
                  <a:gd name="connsiteY1815" fmla="*/ 3863 h 10000"/>
                  <a:gd name="connsiteX1816" fmla="*/ 3230 w 10785"/>
                  <a:gd name="connsiteY1816" fmla="*/ 3838 h 10000"/>
                  <a:gd name="connsiteX1817" fmla="*/ 3226 w 10785"/>
                  <a:gd name="connsiteY1817" fmla="*/ 3803 h 10000"/>
                  <a:gd name="connsiteX1818" fmla="*/ 3138 w 10785"/>
                  <a:gd name="connsiteY1818" fmla="*/ 3838 h 10000"/>
                  <a:gd name="connsiteX1819" fmla="*/ 3078 w 10785"/>
                  <a:gd name="connsiteY1819" fmla="*/ 3889 h 10000"/>
                  <a:gd name="connsiteX1820" fmla="*/ 3078 w 10785"/>
                  <a:gd name="connsiteY1820" fmla="*/ 3940 h 10000"/>
                  <a:gd name="connsiteX1821" fmla="*/ 3069 w 10785"/>
                  <a:gd name="connsiteY1821" fmla="*/ 3983 h 10000"/>
                  <a:gd name="connsiteX1822" fmla="*/ 3069 w 10785"/>
                  <a:gd name="connsiteY1822" fmla="*/ 4009 h 10000"/>
                  <a:gd name="connsiteX1823" fmla="*/ 3078 w 10785"/>
                  <a:gd name="connsiteY1823" fmla="*/ 4026 h 10000"/>
                  <a:gd name="connsiteX1824" fmla="*/ 3083 w 10785"/>
                  <a:gd name="connsiteY1824" fmla="*/ 4034 h 10000"/>
                  <a:gd name="connsiteX1825" fmla="*/ 3092 w 10785"/>
                  <a:gd name="connsiteY1825" fmla="*/ 4060 h 10000"/>
                  <a:gd name="connsiteX1826" fmla="*/ 3092 w 10785"/>
                  <a:gd name="connsiteY1826" fmla="*/ 4077 h 10000"/>
                  <a:gd name="connsiteX1827" fmla="*/ 3097 w 10785"/>
                  <a:gd name="connsiteY1827" fmla="*/ 4103 h 10000"/>
                  <a:gd name="connsiteX1828" fmla="*/ 3101 w 10785"/>
                  <a:gd name="connsiteY1828" fmla="*/ 4162 h 10000"/>
                  <a:gd name="connsiteX1829" fmla="*/ 3097 w 10785"/>
                  <a:gd name="connsiteY1829" fmla="*/ 4222 h 10000"/>
                  <a:gd name="connsiteX1830" fmla="*/ 3041 w 10785"/>
                  <a:gd name="connsiteY1830" fmla="*/ 4325 h 10000"/>
                  <a:gd name="connsiteX1831" fmla="*/ 3037 w 10785"/>
                  <a:gd name="connsiteY1831" fmla="*/ 4419 h 10000"/>
                  <a:gd name="connsiteX1832" fmla="*/ 3018 w 10785"/>
                  <a:gd name="connsiteY1832" fmla="*/ 4470 h 10000"/>
                  <a:gd name="connsiteX1833" fmla="*/ 2991 w 10785"/>
                  <a:gd name="connsiteY1833" fmla="*/ 4513 h 10000"/>
                  <a:gd name="connsiteX1834" fmla="*/ 2977 w 10785"/>
                  <a:gd name="connsiteY1834" fmla="*/ 4530 h 10000"/>
                  <a:gd name="connsiteX1835" fmla="*/ 2945 w 10785"/>
                  <a:gd name="connsiteY1835" fmla="*/ 4556 h 10000"/>
                  <a:gd name="connsiteX1836" fmla="*/ 2935 w 10785"/>
                  <a:gd name="connsiteY1836" fmla="*/ 4581 h 10000"/>
                  <a:gd name="connsiteX1837" fmla="*/ 2949 w 10785"/>
                  <a:gd name="connsiteY1837" fmla="*/ 4624 h 10000"/>
                  <a:gd name="connsiteX1838" fmla="*/ 2945 w 10785"/>
                  <a:gd name="connsiteY1838" fmla="*/ 4658 h 10000"/>
                  <a:gd name="connsiteX1839" fmla="*/ 2922 w 10785"/>
                  <a:gd name="connsiteY1839" fmla="*/ 4667 h 10000"/>
                  <a:gd name="connsiteX1840" fmla="*/ 2876 w 10785"/>
                  <a:gd name="connsiteY1840" fmla="*/ 4632 h 10000"/>
                  <a:gd name="connsiteX1841" fmla="*/ 2857 w 10785"/>
                  <a:gd name="connsiteY1841" fmla="*/ 4632 h 10000"/>
                  <a:gd name="connsiteX1842" fmla="*/ 2820 w 10785"/>
                  <a:gd name="connsiteY1842" fmla="*/ 4641 h 10000"/>
                  <a:gd name="connsiteX1843" fmla="*/ 2797 w 10785"/>
                  <a:gd name="connsiteY1843" fmla="*/ 4632 h 10000"/>
                  <a:gd name="connsiteX1844" fmla="*/ 2788 w 10785"/>
                  <a:gd name="connsiteY1844" fmla="*/ 4624 h 10000"/>
                  <a:gd name="connsiteX1845" fmla="*/ 2788 w 10785"/>
                  <a:gd name="connsiteY1845" fmla="*/ 4598 h 10000"/>
                  <a:gd name="connsiteX1846" fmla="*/ 2797 w 10785"/>
                  <a:gd name="connsiteY1846" fmla="*/ 4581 h 10000"/>
                  <a:gd name="connsiteX1847" fmla="*/ 2788 w 10785"/>
                  <a:gd name="connsiteY1847" fmla="*/ 4530 h 10000"/>
                  <a:gd name="connsiteX1848" fmla="*/ 2774 w 10785"/>
                  <a:gd name="connsiteY1848" fmla="*/ 4530 h 10000"/>
                  <a:gd name="connsiteX1849" fmla="*/ 2770 w 10785"/>
                  <a:gd name="connsiteY1849" fmla="*/ 4513 h 10000"/>
                  <a:gd name="connsiteX1850" fmla="*/ 2774 w 10785"/>
                  <a:gd name="connsiteY1850" fmla="*/ 4513 h 10000"/>
                  <a:gd name="connsiteX1851" fmla="*/ 2788 w 10785"/>
                  <a:gd name="connsiteY1851" fmla="*/ 4496 h 10000"/>
                  <a:gd name="connsiteX1852" fmla="*/ 2802 w 10785"/>
                  <a:gd name="connsiteY1852" fmla="*/ 4513 h 10000"/>
                  <a:gd name="connsiteX1853" fmla="*/ 2811 w 10785"/>
                  <a:gd name="connsiteY1853" fmla="*/ 4530 h 10000"/>
                  <a:gd name="connsiteX1854" fmla="*/ 2820 w 10785"/>
                  <a:gd name="connsiteY1854" fmla="*/ 4521 h 10000"/>
                  <a:gd name="connsiteX1855" fmla="*/ 2829 w 10785"/>
                  <a:gd name="connsiteY1855" fmla="*/ 4513 h 10000"/>
                  <a:gd name="connsiteX1856" fmla="*/ 2843 w 10785"/>
                  <a:gd name="connsiteY1856" fmla="*/ 4513 h 10000"/>
                  <a:gd name="connsiteX1857" fmla="*/ 2848 w 10785"/>
                  <a:gd name="connsiteY1857" fmla="*/ 4470 h 10000"/>
                  <a:gd name="connsiteX1858" fmla="*/ 2862 w 10785"/>
                  <a:gd name="connsiteY1858" fmla="*/ 4487 h 10000"/>
                  <a:gd name="connsiteX1859" fmla="*/ 2876 w 10785"/>
                  <a:gd name="connsiteY1859" fmla="*/ 4470 h 10000"/>
                  <a:gd name="connsiteX1860" fmla="*/ 2880 w 10785"/>
                  <a:gd name="connsiteY1860" fmla="*/ 4462 h 10000"/>
                  <a:gd name="connsiteX1861" fmla="*/ 2889 w 10785"/>
                  <a:gd name="connsiteY1861" fmla="*/ 4444 h 10000"/>
                  <a:gd name="connsiteX1862" fmla="*/ 2894 w 10785"/>
                  <a:gd name="connsiteY1862" fmla="*/ 4462 h 10000"/>
                  <a:gd name="connsiteX1863" fmla="*/ 2917 w 10785"/>
                  <a:gd name="connsiteY1863" fmla="*/ 4444 h 10000"/>
                  <a:gd name="connsiteX1864" fmla="*/ 2922 w 10785"/>
                  <a:gd name="connsiteY1864" fmla="*/ 4436 h 10000"/>
                  <a:gd name="connsiteX1865" fmla="*/ 2917 w 10785"/>
                  <a:gd name="connsiteY1865" fmla="*/ 4410 h 10000"/>
                  <a:gd name="connsiteX1866" fmla="*/ 2894 w 10785"/>
                  <a:gd name="connsiteY1866" fmla="*/ 4410 h 10000"/>
                  <a:gd name="connsiteX1867" fmla="*/ 2889 w 10785"/>
                  <a:gd name="connsiteY1867" fmla="*/ 4419 h 10000"/>
                  <a:gd name="connsiteX1868" fmla="*/ 2876 w 10785"/>
                  <a:gd name="connsiteY1868" fmla="*/ 4410 h 10000"/>
                  <a:gd name="connsiteX1869" fmla="*/ 2880 w 10785"/>
                  <a:gd name="connsiteY1869" fmla="*/ 4376 h 10000"/>
                  <a:gd name="connsiteX1870" fmla="*/ 2903 w 10785"/>
                  <a:gd name="connsiteY1870" fmla="*/ 4393 h 10000"/>
                  <a:gd name="connsiteX1871" fmla="*/ 2931 w 10785"/>
                  <a:gd name="connsiteY1871" fmla="*/ 4393 h 10000"/>
                  <a:gd name="connsiteX1872" fmla="*/ 2931 w 10785"/>
                  <a:gd name="connsiteY1872" fmla="*/ 4385 h 10000"/>
                  <a:gd name="connsiteX1873" fmla="*/ 2931 w 10785"/>
                  <a:gd name="connsiteY1873" fmla="*/ 4350 h 10000"/>
                  <a:gd name="connsiteX1874" fmla="*/ 2945 w 10785"/>
                  <a:gd name="connsiteY1874" fmla="*/ 4350 h 10000"/>
                  <a:gd name="connsiteX1875" fmla="*/ 2949 w 10785"/>
                  <a:gd name="connsiteY1875" fmla="*/ 4325 h 10000"/>
                  <a:gd name="connsiteX1876" fmla="*/ 2963 w 10785"/>
                  <a:gd name="connsiteY1876" fmla="*/ 4256 h 10000"/>
                  <a:gd name="connsiteX1877" fmla="*/ 2982 w 10785"/>
                  <a:gd name="connsiteY1877" fmla="*/ 4239 h 10000"/>
                  <a:gd name="connsiteX1878" fmla="*/ 2991 w 10785"/>
                  <a:gd name="connsiteY1878" fmla="*/ 4214 h 10000"/>
                  <a:gd name="connsiteX1879" fmla="*/ 2991 w 10785"/>
                  <a:gd name="connsiteY1879" fmla="*/ 4197 h 10000"/>
                  <a:gd name="connsiteX1880" fmla="*/ 2995 w 10785"/>
                  <a:gd name="connsiteY1880" fmla="*/ 4171 h 10000"/>
                  <a:gd name="connsiteX1881" fmla="*/ 2991 w 10785"/>
                  <a:gd name="connsiteY1881" fmla="*/ 4077 h 10000"/>
                  <a:gd name="connsiteX1882" fmla="*/ 2995 w 10785"/>
                  <a:gd name="connsiteY1882" fmla="*/ 4034 h 10000"/>
                  <a:gd name="connsiteX1883" fmla="*/ 3018 w 10785"/>
                  <a:gd name="connsiteY1883" fmla="*/ 3983 h 10000"/>
                  <a:gd name="connsiteX1884" fmla="*/ 3018 w 10785"/>
                  <a:gd name="connsiteY1884" fmla="*/ 3915 h 10000"/>
                  <a:gd name="connsiteX1885" fmla="*/ 2949 w 10785"/>
                  <a:gd name="connsiteY1885" fmla="*/ 3778 h 10000"/>
                  <a:gd name="connsiteX1886" fmla="*/ 2954 w 10785"/>
                  <a:gd name="connsiteY1886" fmla="*/ 3675 h 10000"/>
                  <a:gd name="connsiteX1887" fmla="*/ 2954 w 10785"/>
                  <a:gd name="connsiteY1887" fmla="*/ 3650 h 10000"/>
                  <a:gd name="connsiteX1888" fmla="*/ 2963 w 10785"/>
                  <a:gd name="connsiteY1888" fmla="*/ 3624 h 10000"/>
                  <a:gd name="connsiteX1889" fmla="*/ 2954 w 10785"/>
                  <a:gd name="connsiteY1889" fmla="*/ 3564 h 10000"/>
                  <a:gd name="connsiteX1890" fmla="*/ 2963 w 10785"/>
                  <a:gd name="connsiteY1890" fmla="*/ 3538 h 10000"/>
                  <a:gd name="connsiteX1891" fmla="*/ 2963 w 10785"/>
                  <a:gd name="connsiteY1891" fmla="*/ 3487 h 10000"/>
                  <a:gd name="connsiteX1892" fmla="*/ 2963 w 10785"/>
                  <a:gd name="connsiteY1892" fmla="*/ 3479 h 10000"/>
                  <a:gd name="connsiteX1893" fmla="*/ 2963 w 10785"/>
                  <a:gd name="connsiteY1893" fmla="*/ 3462 h 10000"/>
                  <a:gd name="connsiteX1894" fmla="*/ 2954 w 10785"/>
                  <a:gd name="connsiteY1894" fmla="*/ 3453 h 10000"/>
                  <a:gd name="connsiteX1895" fmla="*/ 2954 w 10785"/>
                  <a:gd name="connsiteY1895" fmla="*/ 3444 h 10000"/>
                  <a:gd name="connsiteX1896" fmla="*/ 2954 w 10785"/>
                  <a:gd name="connsiteY1896" fmla="*/ 3402 h 10000"/>
                  <a:gd name="connsiteX1897" fmla="*/ 2954 w 10785"/>
                  <a:gd name="connsiteY1897" fmla="*/ 3393 h 10000"/>
                  <a:gd name="connsiteX1898" fmla="*/ 2949 w 10785"/>
                  <a:gd name="connsiteY1898" fmla="*/ 3376 h 10000"/>
                  <a:gd name="connsiteX1899" fmla="*/ 2949 w 10785"/>
                  <a:gd name="connsiteY1899" fmla="*/ 3342 h 10000"/>
                  <a:gd name="connsiteX1900" fmla="*/ 2949 w 10785"/>
                  <a:gd name="connsiteY1900" fmla="*/ 3316 h 10000"/>
                  <a:gd name="connsiteX1901" fmla="*/ 2968 w 10785"/>
                  <a:gd name="connsiteY1901" fmla="*/ 3291 h 10000"/>
                  <a:gd name="connsiteX1902" fmla="*/ 2963 w 10785"/>
                  <a:gd name="connsiteY1902" fmla="*/ 3205 h 10000"/>
                  <a:gd name="connsiteX1903" fmla="*/ 2968 w 10785"/>
                  <a:gd name="connsiteY1903" fmla="*/ 3171 h 10000"/>
                  <a:gd name="connsiteX1904" fmla="*/ 2968 w 10785"/>
                  <a:gd name="connsiteY1904" fmla="*/ 3128 h 10000"/>
                  <a:gd name="connsiteX1905" fmla="*/ 2954 w 10785"/>
                  <a:gd name="connsiteY1905" fmla="*/ 3051 h 10000"/>
                  <a:gd name="connsiteX1906" fmla="*/ 2954 w 10785"/>
                  <a:gd name="connsiteY1906" fmla="*/ 3009 h 10000"/>
                  <a:gd name="connsiteX1907" fmla="*/ 2922 w 10785"/>
                  <a:gd name="connsiteY1907" fmla="*/ 2940 h 10000"/>
                  <a:gd name="connsiteX1908" fmla="*/ 2903 w 10785"/>
                  <a:gd name="connsiteY1908" fmla="*/ 2880 h 10000"/>
                  <a:gd name="connsiteX1909" fmla="*/ 2903 w 10785"/>
                  <a:gd name="connsiteY1909" fmla="*/ 2855 h 10000"/>
                  <a:gd name="connsiteX1910" fmla="*/ 2908 w 10785"/>
                  <a:gd name="connsiteY1910" fmla="*/ 2846 h 10000"/>
                  <a:gd name="connsiteX1911" fmla="*/ 2931 w 10785"/>
                  <a:gd name="connsiteY1911" fmla="*/ 2821 h 10000"/>
                  <a:gd name="connsiteX1912" fmla="*/ 2931 w 10785"/>
                  <a:gd name="connsiteY1912" fmla="*/ 2803 h 10000"/>
                  <a:gd name="connsiteX1913" fmla="*/ 2935 w 10785"/>
                  <a:gd name="connsiteY1913" fmla="*/ 2786 h 10000"/>
                  <a:gd name="connsiteX1914" fmla="*/ 2935 w 10785"/>
                  <a:gd name="connsiteY1914" fmla="*/ 2744 h 10000"/>
                  <a:gd name="connsiteX1915" fmla="*/ 2963 w 10785"/>
                  <a:gd name="connsiteY1915" fmla="*/ 2607 h 10000"/>
                  <a:gd name="connsiteX1916" fmla="*/ 2963 w 10785"/>
                  <a:gd name="connsiteY1916" fmla="*/ 2419 h 10000"/>
                  <a:gd name="connsiteX1917" fmla="*/ 2954 w 10785"/>
                  <a:gd name="connsiteY1917" fmla="*/ 2410 h 10000"/>
                  <a:gd name="connsiteX1918" fmla="*/ 2963 w 10785"/>
                  <a:gd name="connsiteY1918" fmla="*/ 2393 h 10000"/>
                  <a:gd name="connsiteX1919" fmla="*/ 2908 w 10785"/>
                  <a:gd name="connsiteY1919" fmla="*/ 2359 h 10000"/>
                  <a:gd name="connsiteX1920" fmla="*/ 2889 w 10785"/>
                  <a:gd name="connsiteY1920" fmla="*/ 2325 h 10000"/>
                  <a:gd name="connsiteX1921" fmla="*/ 2788 w 10785"/>
                  <a:gd name="connsiteY1921" fmla="*/ 2333 h 10000"/>
                  <a:gd name="connsiteX1922" fmla="*/ 2774 w 10785"/>
                  <a:gd name="connsiteY1922" fmla="*/ 2325 h 10000"/>
                  <a:gd name="connsiteX1923" fmla="*/ 2783 w 10785"/>
                  <a:gd name="connsiteY1923" fmla="*/ 2308 h 10000"/>
                  <a:gd name="connsiteX1924" fmla="*/ 2747 w 10785"/>
                  <a:gd name="connsiteY1924" fmla="*/ 2308 h 10000"/>
                  <a:gd name="connsiteX1925" fmla="*/ 2742 w 10785"/>
                  <a:gd name="connsiteY1925" fmla="*/ 2333 h 10000"/>
                  <a:gd name="connsiteX1926" fmla="*/ 2682 w 10785"/>
                  <a:gd name="connsiteY1926" fmla="*/ 2769 h 10000"/>
                  <a:gd name="connsiteX1927" fmla="*/ 2613 w 10785"/>
                  <a:gd name="connsiteY1927" fmla="*/ 2940 h 10000"/>
                  <a:gd name="connsiteX1928" fmla="*/ 2581 w 10785"/>
                  <a:gd name="connsiteY1928" fmla="*/ 2966 h 10000"/>
                  <a:gd name="connsiteX1929" fmla="*/ 2576 w 10785"/>
                  <a:gd name="connsiteY1929" fmla="*/ 3051 h 10000"/>
                  <a:gd name="connsiteX1930" fmla="*/ 2581 w 10785"/>
                  <a:gd name="connsiteY1930" fmla="*/ 3051 h 10000"/>
                  <a:gd name="connsiteX1931" fmla="*/ 2594 w 10785"/>
                  <a:gd name="connsiteY1931" fmla="*/ 3017 h 10000"/>
                  <a:gd name="connsiteX1932" fmla="*/ 2594 w 10785"/>
                  <a:gd name="connsiteY1932" fmla="*/ 3034 h 10000"/>
                  <a:gd name="connsiteX1933" fmla="*/ 2594 w 10785"/>
                  <a:gd name="connsiteY1933" fmla="*/ 3051 h 10000"/>
                  <a:gd name="connsiteX1934" fmla="*/ 2590 w 10785"/>
                  <a:gd name="connsiteY1934" fmla="*/ 3077 h 10000"/>
                  <a:gd name="connsiteX1935" fmla="*/ 2567 w 10785"/>
                  <a:gd name="connsiteY1935" fmla="*/ 3103 h 10000"/>
                  <a:gd name="connsiteX1936" fmla="*/ 2562 w 10785"/>
                  <a:gd name="connsiteY1936" fmla="*/ 3145 h 10000"/>
                  <a:gd name="connsiteX1937" fmla="*/ 2567 w 10785"/>
                  <a:gd name="connsiteY1937" fmla="*/ 3179 h 10000"/>
                  <a:gd name="connsiteX1938" fmla="*/ 2590 w 10785"/>
                  <a:gd name="connsiteY1938" fmla="*/ 3171 h 10000"/>
                  <a:gd name="connsiteX1939" fmla="*/ 2594 w 10785"/>
                  <a:gd name="connsiteY1939" fmla="*/ 3145 h 10000"/>
                  <a:gd name="connsiteX1940" fmla="*/ 2613 w 10785"/>
                  <a:gd name="connsiteY1940" fmla="*/ 3154 h 10000"/>
                  <a:gd name="connsiteX1941" fmla="*/ 2622 w 10785"/>
                  <a:gd name="connsiteY1941" fmla="*/ 3179 h 10000"/>
                  <a:gd name="connsiteX1942" fmla="*/ 2613 w 10785"/>
                  <a:gd name="connsiteY1942" fmla="*/ 3214 h 10000"/>
                  <a:gd name="connsiteX1943" fmla="*/ 2613 w 10785"/>
                  <a:gd name="connsiteY1943" fmla="*/ 3308 h 10000"/>
                  <a:gd name="connsiteX1944" fmla="*/ 2608 w 10785"/>
                  <a:gd name="connsiteY1944" fmla="*/ 3325 h 10000"/>
                  <a:gd name="connsiteX1945" fmla="*/ 2608 w 10785"/>
                  <a:gd name="connsiteY1945" fmla="*/ 3376 h 10000"/>
                  <a:gd name="connsiteX1946" fmla="*/ 2613 w 10785"/>
                  <a:gd name="connsiteY1946" fmla="*/ 3419 h 10000"/>
                  <a:gd name="connsiteX1947" fmla="*/ 2608 w 10785"/>
                  <a:gd name="connsiteY1947" fmla="*/ 3444 h 10000"/>
                  <a:gd name="connsiteX1948" fmla="*/ 2594 w 10785"/>
                  <a:gd name="connsiteY1948" fmla="*/ 3444 h 10000"/>
                  <a:gd name="connsiteX1949" fmla="*/ 2590 w 10785"/>
                  <a:gd name="connsiteY1949" fmla="*/ 3427 h 10000"/>
                  <a:gd name="connsiteX1950" fmla="*/ 2581 w 10785"/>
                  <a:gd name="connsiteY1950" fmla="*/ 3564 h 10000"/>
                  <a:gd name="connsiteX1951" fmla="*/ 2594 w 10785"/>
                  <a:gd name="connsiteY1951" fmla="*/ 3598 h 10000"/>
                  <a:gd name="connsiteX1952" fmla="*/ 2594 w 10785"/>
                  <a:gd name="connsiteY1952" fmla="*/ 3581 h 10000"/>
                  <a:gd name="connsiteX1953" fmla="*/ 2608 w 10785"/>
                  <a:gd name="connsiteY1953" fmla="*/ 3556 h 10000"/>
                  <a:gd name="connsiteX1954" fmla="*/ 2650 w 10785"/>
                  <a:gd name="connsiteY1954" fmla="*/ 3615 h 10000"/>
                  <a:gd name="connsiteX1955" fmla="*/ 2664 w 10785"/>
                  <a:gd name="connsiteY1955" fmla="*/ 3615 h 10000"/>
                  <a:gd name="connsiteX1956" fmla="*/ 2668 w 10785"/>
                  <a:gd name="connsiteY1956" fmla="*/ 3615 h 10000"/>
                  <a:gd name="connsiteX1957" fmla="*/ 2664 w 10785"/>
                  <a:gd name="connsiteY1957" fmla="*/ 3667 h 10000"/>
                  <a:gd name="connsiteX1958" fmla="*/ 2687 w 10785"/>
                  <a:gd name="connsiteY1958" fmla="*/ 3786 h 10000"/>
                  <a:gd name="connsiteX1959" fmla="*/ 2710 w 10785"/>
                  <a:gd name="connsiteY1959" fmla="*/ 3812 h 10000"/>
                  <a:gd name="connsiteX1960" fmla="*/ 2724 w 10785"/>
                  <a:gd name="connsiteY1960" fmla="*/ 3812 h 10000"/>
                  <a:gd name="connsiteX1961" fmla="*/ 2724 w 10785"/>
                  <a:gd name="connsiteY1961" fmla="*/ 3829 h 10000"/>
                  <a:gd name="connsiteX1962" fmla="*/ 2737 w 10785"/>
                  <a:gd name="connsiteY1962" fmla="*/ 3838 h 10000"/>
                  <a:gd name="connsiteX1963" fmla="*/ 2714 w 10785"/>
                  <a:gd name="connsiteY1963" fmla="*/ 3872 h 10000"/>
                  <a:gd name="connsiteX1964" fmla="*/ 2696 w 10785"/>
                  <a:gd name="connsiteY1964" fmla="*/ 4026 h 10000"/>
                  <a:gd name="connsiteX1965" fmla="*/ 2673 w 10785"/>
                  <a:gd name="connsiteY1965" fmla="*/ 4051 h 10000"/>
                  <a:gd name="connsiteX1966" fmla="*/ 2668 w 10785"/>
                  <a:gd name="connsiteY1966" fmla="*/ 4034 h 10000"/>
                  <a:gd name="connsiteX1967" fmla="*/ 2673 w 10785"/>
                  <a:gd name="connsiteY1967" fmla="*/ 4000 h 10000"/>
                  <a:gd name="connsiteX1968" fmla="*/ 2664 w 10785"/>
                  <a:gd name="connsiteY1968" fmla="*/ 3974 h 10000"/>
                  <a:gd name="connsiteX1969" fmla="*/ 2636 w 10785"/>
                  <a:gd name="connsiteY1969" fmla="*/ 3949 h 10000"/>
                  <a:gd name="connsiteX1970" fmla="*/ 2581 w 10785"/>
                  <a:gd name="connsiteY1970" fmla="*/ 3838 h 10000"/>
                  <a:gd name="connsiteX1971" fmla="*/ 2562 w 10785"/>
                  <a:gd name="connsiteY1971" fmla="*/ 3829 h 10000"/>
                  <a:gd name="connsiteX1972" fmla="*/ 2535 w 10785"/>
                  <a:gd name="connsiteY1972" fmla="*/ 3778 h 10000"/>
                  <a:gd name="connsiteX1973" fmla="*/ 2502 w 10785"/>
                  <a:gd name="connsiteY1973" fmla="*/ 3761 h 10000"/>
                  <a:gd name="connsiteX1974" fmla="*/ 2502 w 10785"/>
                  <a:gd name="connsiteY1974" fmla="*/ 3735 h 10000"/>
                  <a:gd name="connsiteX1975" fmla="*/ 2516 w 10785"/>
                  <a:gd name="connsiteY1975" fmla="*/ 3735 h 10000"/>
                  <a:gd name="connsiteX1976" fmla="*/ 2507 w 10785"/>
                  <a:gd name="connsiteY1976" fmla="*/ 3726 h 10000"/>
                  <a:gd name="connsiteX1977" fmla="*/ 2488 w 10785"/>
                  <a:gd name="connsiteY1977" fmla="*/ 3726 h 10000"/>
                  <a:gd name="connsiteX1978" fmla="*/ 2461 w 10785"/>
                  <a:gd name="connsiteY1978" fmla="*/ 3692 h 10000"/>
                  <a:gd name="connsiteX1979" fmla="*/ 2442 w 10785"/>
                  <a:gd name="connsiteY1979" fmla="*/ 3675 h 10000"/>
                  <a:gd name="connsiteX1980" fmla="*/ 2406 w 10785"/>
                  <a:gd name="connsiteY1980" fmla="*/ 3598 h 10000"/>
                  <a:gd name="connsiteX1981" fmla="*/ 2346 w 10785"/>
                  <a:gd name="connsiteY1981" fmla="*/ 3564 h 10000"/>
                  <a:gd name="connsiteX1982" fmla="*/ 2341 w 10785"/>
                  <a:gd name="connsiteY1982" fmla="*/ 3564 h 10000"/>
                  <a:gd name="connsiteX1983" fmla="*/ 2313 w 10785"/>
                  <a:gd name="connsiteY1983" fmla="*/ 3530 h 10000"/>
                  <a:gd name="connsiteX1984" fmla="*/ 2235 w 10785"/>
                  <a:gd name="connsiteY1984" fmla="*/ 3530 h 10000"/>
                  <a:gd name="connsiteX1985" fmla="*/ 2226 w 10785"/>
                  <a:gd name="connsiteY1985" fmla="*/ 3513 h 10000"/>
                  <a:gd name="connsiteX1986" fmla="*/ 2207 w 10785"/>
                  <a:gd name="connsiteY1986" fmla="*/ 3504 h 10000"/>
                  <a:gd name="connsiteX1987" fmla="*/ 2194 w 10785"/>
                  <a:gd name="connsiteY1987" fmla="*/ 3504 h 10000"/>
                  <a:gd name="connsiteX1988" fmla="*/ 2189 w 10785"/>
                  <a:gd name="connsiteY1988" fmla="*/ 3504 h 10000"/>
                  <a:gd name="connsiteX1989" fmla="*/ 2189 w 10785"/>
                  <a:gd name="connsiteY1989" fmla="*/ 3530 h 10000"/>
                  <a:gd name="connsiteX1990" fmla="*/ 2180 w 10785"/>
                  <a:gd name="connsiteY1990" fmla="*/ 3538 h 10000"/>
                  <a:gd name="connsiteX1991" fmla="*/ 2152 w 10785"/>
                  <a:gd name="connsiteY1991" fmla="*/ 3581 h 10000"/>
                  <a:gd name="connsiteX1992" fmla="*/ 2161 w 10785"/>
                  <a:gd name="connsiteY1992" fmla="*/ 3598 h 10000"/>
                  <a:gd name="connsiteX1993" fmla="*/ 2194 w 10785"/>
                  <a:gd name="connsiteY1993" fmla="*/ 3752 h 10000"/>
                  <a:gd name="connsiteX1994" fmla="*/ 2194 w 10785"/>
                  <a:gd name="connsiteY1994" fmla="*/ 3735 h 10000"/>
                  <a:gd name="connsiteX1995" fmla="*/ 2198 w 10785"/>
                  <a:gd name="connsiteY1995" fmla="*/ 3735 h 10000"/>
                  <a:gd name="connsiteX1996" fmla="*/ 2189 w 10785"/>
                  <a:gd name="connsiteY1996" fmla="*/ 3838 h 10000"/>
                  <a:gd name="connsiteX1997" fmla="*/ 2166 w 10785"/>
                  <a:gd name="connsiteY1997" fmla="*/ 3889 h 10000"/>
                  <a:gd name="connsiteX1998" fmla="*/ 2124 w 10785"/>
                  <a:gd name="connsiteY1998" fmla="*/ 3889 h 10000"/>
                  <a:gd name="connsiteX1999" fmla="*/ 2124 w 10785"/>
                  <a:gd name="connsiteY1999" fmla="*/ 3923 h 10000"/>
                  <a:gd name="connsiteX2000" fmla="*/ 2134 w 10785"/>
                  <a:gd name="connsiteY2000" fmla="*/ 3940 h 10000"/>
                  <a:gd name="connsiteX2001" fmla="*/ 2134 w 10785"/>
                  <a:gd name="connsiteY2001" fmla="*/ 3966 h 10000"/>
                  <a:gd name="connsiteX2002" fmla="*/ 2120 w 10785"/>
                  <a:gd name="connsiteY2002" fmla="*/ 4000 h 10000"/>
                  <a:gd name="connsiteX2003" fmla="*/ 2106 w 10785"/>
                  <a:gd name="connsiteY2003" fmla="*/ 4009 h 10000"/>
                  <a:gd name="connsiteX2004" fmla="*/ 2088 w 10785"/>
                  <a:gd name="connsiteY2004" fmla="*/ 4000 h 10000"/>
                  <a:gd name="connsiteX2005" fmla="*/ 2074 w 10785"/>
                  <a:gd name="connsiteY2005" fmla="*/ 3974 h 10000"/>
                  <a:gd name="connsiteX2006" fmla="*/ 2074 w 10785"/>
                  <a:gd name="connsiteY2006" fmla="*/ 3940 h 10000"/>
                  <a:gd name="connsiteX2007" fmla="*/ 2078 w 10785"/>
                  <a:gd name="connsiteY2007" fmla="*/ 3915 h 10000"/>
                  <a:gd name="connsiteX2008" fmla="*/ 2088 w 10785"/>
                  <a:gd name="connsiteY2008" fmla="*/ 3889 h 10000"/>
                  <a:gd name="connsiteX2009" fmla="*/ 2101 w 10785"/>
                  <a:gd name="connsiteY2009" fmla="*/ 3872 h 10000"/>
                  <a:gd name="connsiteX2010" fmla="*/ 2074 w 10785"/>
                  <a:gd name="connsiteY2010" fmla="*/ 3812 h 10000"/>
                  <a:gd name="connsiteX2011" fmla="*/ 2074 w 10785"/>
                  <a:gd name="connsiteY2011" fmla="*/ 3786 h 10000"/>
                  <a:gd name="connsiteX2012" fmla="*/ 2060 w 10785"/>
                  <a:gd name="connsiteY2012" fmla="*/ 3786 h 10000"/>
                  <a:gd name="connsiteX2013" fmla="*/ 2014 w 10785"/>
                  <a:gd name="connsiteY2013" fmla="*/ 3829 h 10000"/>
                  <a:gd name="connsiteX2014" fmla="*/ 2000 w 10785"/>
                  <a:gd name="connsiteY2014" fmla="*/ 3863 h 10000"/>
                  <a:gd name="connsiteX2015" fmla="*/ 1986 w 10785"/>
                  <a:gd name="connsiteY2015" fmla="*/ 3872 h 10000"/>
                  <a:gd name="connsiteX2016" fmla="*/ 1959 w 10785"/>
                  <a:gd name="connsiteY2016" fmla="*/ 3940 h 10000"/>
                  <a:gd name="connsiteX2017" fmla="*/ 1945 w 10785"/>
                  <a:gd name="connsiteY2017" fmla="*/ 3949 h 10000"/>
                  <a:gd name="connsiteX2018" fmla="*/ 1940 w 10785"/>
                  <a:gd name="connsiteY2018" fmla="*/ 3923 h 10000"/>
                  <a:gd name="connsiteX2019" fmla="*/ 1917 w 10785"/>
                  <a:gd name="connsiteY2019" fmla="*/ 3915 h 10000"/>
                  <a:gd name="connsiteX2020" fmla="*/ 1899 w 10785"/>
                  <a:gd name="connsiteY2020" fmla="*/ 3923 h 10000"/>
                  <a:gd name="connsiteX2021" fmla="*/ 1880 w 10785"/>
                  <a:gd name="connsiteY2021" fmla="*/ 3915 h 10000"/>
                  <a:gd name="connsiteX2022" fmla="*/ 1853 w 10785"/>
                  <a:gd name="connsiteY2022" fmla="*/ 3940 h 10000"/>
                  <a:gd name="connsiteX2023" fmla="*/ 1839 w 10785"/>
                  <a:gd name="connsiteY2023" fmla="*/ 3940 h 10000"/>
                  <a:gd name="connsiteX2024" fmla="*/ 1806 w 10785"/>
                  <a:gd name="connsiteY2024" fmla="*/ 3983 h 10000"/>
                  <a:gd name="connsiteX2025" fmla="*/ 1806 w 10785"/>
                  <a:gd name="connsiteY2025" fmla="*/ 4000 h 10000"/>
                  <a:gd name="connsiteX2026" fmla="*/ 1797 w 10785"/>
                  <a:gd name="connsiteY2026" fmla="*/ 4077 h 10000"/>
                  <a:gd name="connsiteX2027" fmla="*/ 1783 w 10785"/>
                  <a:gd name="connsiteY2027" fmla="*/ 4077 h 10000"/>
                  <a:gd name="connsiteX2028" fmla="*/ 1779 w 10785"/>
                  <a:gd name="connsiteY2028" fmla="*/ 4051 h 10000"/>
                  <a:gd name="connsiteX2029" fmla="*/ 1765 w 10785"/>
                  <a:gd name="connsiteY2029" fmla="*/ 4026 h 10000"/>
                  <a:gd name="connsiteX2030" fmla="*/ 1751 w 10785"/>
                  <a:gd name="connsiteY2030" fmla="*/ 4051 h 10000"/>
                  <a:gd name="connsiteX2031" fmla="*/ 1737 w 10785"/>
                  <a:gd name="connsiteY2031" fmla="*/ 4009 h 10000"/>
                  <a:gd name="connsiteX2032" fmla="*/ 1737 w 10785"/>
                  <a:gd name="connsiteY2032" fmla="*/ 3966 h 10000"/>
                  <a:gd name="connsiteX2033" fmla="*/ 1733 w 10785"/>
                  <a:gd name="connsiteY2033" fmla="*/ 3940 h 10000"/>
                  <a:gd name="connsiteX2034" fmla="*/ 1733 w 10785"/>
                  <a:gd name="connsiteY2034" fmla="*/ 3923 h 10000"/>
                  <a:gd name="connsiteX2035" fmla="*/ 1747 w 10785"/>
                  <a:gd name="connsiteY2035" fmla="*/ 3889 h 10000"/>
                  <a:gd name="connsiteX2036" fmla="*/ 1747 w 10785"/>
                  <a:gd name="connsiteY2036" fmla="*/ 3863 h 10000"/>
                  <a:gd name="connsiteX2037" fmla="*/ 1737 w 10785"/>
                  <a:gd name="connsiteY2037" fmla="*/ 3838 h 10000"/>
                  <a:gd name="connsiteX2038" fmla="*/ 1733 w 10785"/>
                  <a:gd name="connsiteY2038" fmla="*/ 3829 h 10000"/>
                  <a:gd name="connsiteX2039" fmla="*/ 1733 w 10785"/>
                  <a:gd name="connsiteY2039" fmla="*/ 3846 h 10000"/>
                  <a:gd name="connsiteX2040" fmla="*/ 1724 w 10785"/>
                  <a:gd name="connsiteY2040" fmla="*/ 3846 h 10000"/>
                  <a:gd name="connsiteX2041" fmla="*/ 1724 w 10785"/>
                  <a:gd name="connsiteY2041" fmla="*/ 3829 h 10000"/>
                  <a:gd name="connsiteX2042" fmla="*/ 1737 w 10785"/>
                  <a:gd name="connsiteY2042" fmla="*/ 3812 h 10000"/>
                  <a:gd name="connsiteX2043" fmla="*/ 1765 w 10785"/>
                  <a:gd name="connsiteY2043" fmla="*/ 3812 h 10000"/>
                  <a:gd name="connsiteX2044" fmla="*/ 1779 w 10785"/>
                  <a:gd name="connsiteY2044" fmla="*/ 3786 h 10000"/>
                  <a:gd name="connsiteX2045" fmla="*/ 1779 w 10785"/>
                  <a:gd name="connsiteY2045" fmla="*/ 3786 h 10000"/>
                  <a:gd name="connsiteX2046" fmla="*/ 1751 w 10785"/>
                  <a:gd name="connsiteY2046" fmla="*/ 3803 h 10000"/>
                  <a:gd name="connsiteX2047" fmla="*/ 1747 w 10785"/>
                  <a:gd name="connsiteY2047" fmla="*/ 3803 h 10000"/>
                  <a:gd name="connsiteX2048" fmla="*/ 1724 w 10785"/>
                  <a:gd name="connsiteY2048" fmla="*/ 3803 h 10000"/>
                  <a:gd name="connsiteX2049" fmla="*/ 1700 w 10785"/>
                  <a:gd name="connsiteY2049" fmla="*/ 3829 h 10000"/>
                  <a:gd name="connsiteX2050" fmla="*/ 1705 w 10785"/>
                  <a:gd name="connsiteY2050" fmla="*/ 3846 h 10000"/>
                  <a:gd name="connsiteX2051" fmla="*/ 1691 w 10785"/>
                  <a:gd name="connsiteY2051" fmla="*/ 3846 h 10000"/>
                  <a:gd name="connsiteX2052" fmla="*/ 1691 w 10785"/>
                  <a:gd name="connsiteY2052" fmla="*/ 3863 h 10000"/>
                  <a:gd name="connsiteX2053" fmla="*/ 1691 w 10785"/>
                  <a:gd name="connsiteY2053" fmla="*/ 3915 h 10000"/>
                  <a:gd name="connsiteX2054" fmla="*/ 1677 w 10785"/>
                  <a:gd name="connsiteY2054" fmla="*/ 3923 h 10000"/>
                  <a:gd name="connsiteX2055" fmla="*/ 1673 w 10785"/>
                  <a:gd name="connsiteY2055" fmla="*/ 3915 h 10000"/>
                  <a:gd name="connsiteX2056" fmla="*/ 1664 w 10785"/>
                  <a:gd name="connsiteY2056" fmla="*/ 3889 h 10000"/>
                  <a:gd name="connsiteX2057" fmla="*/ 1673 w 10785"/>
                  <a:gd name="connsiteY2057" fmla="*/ 3872 h 10000"/>
                  <a:gd name="connsiteX2058" fmla="*/ 1664 w 10785"/>
                  <a:gd name="connsiteY2058" fmla="*/ 3872 h 10000"/>
                  <a:gd name="connsiteX2059" fmla="*/ 1636 w 10785"/>
                  <a:gd name="connsiteY2059" fmla="*/ 3923 h 10000"/>
                  <a:gd name="connsiteX2060" fmla="*/ 1645 w 10785"/>
                  <a:gd name="connsiteY2060" fmla="*/ 3923 h 10000"/>
                  <a:gd name="connsiteX2061" fmla="*/ 1650 w 10785"/>
                  <a:gd name="connsiteY2061" fmla="*/ 3949 h 10000"/>
                  <a:gd name="connsiteX2062" fmla="*/ 1650 w 10785"/>
                  <a:gd name="connsiteY2062" fmla="*/ 3983 h 10000"/>
                  <a:gd name="connsiteX2063" fmla="*/ 1636 w 10785"/>
                  <a:gd name="connsiteY2063" fmla="*/ 4000 h 10000"/>
                  <a:gd name="connsiteX2064" fmla="*/ 1631 w 10785"/>
                  <a:gd name="connsiteY2064" fmla="*/ 4009 h 10000"/>
                  <a:gd name="connsiteX2065" fmla="*/ 1618 w 10785"/>
                  <a:gd name="connsiteY2065" fmla="*/ 3949 h 10000"/>
                  <a:gd name="connsiteX2066" fmla="*/ 1585 w 10785"/>
                  <a:gd name="connsiteY2066" fmla="*/ 3966 h 10000"/>
                  <a:gd name="connsiteX2067" fmla="*/ 1590 w 10785"/>
                  <a:gd name="connsiteY2067" fmla="*/ 3974 h 10000"/>
                  <a:gd name="connsiteX2068" fmla="*/ 1544 w 10785"/>
                  <a:gd name="connsiteY2068" fmla="*/ 4009 h 10000"/>
                  <a:gd name="connsiteX2069" fmla="*/ 1539 w 10785"/>
                  <a:gd name="connsiteY2069" fmla="*/ 4009 h 10000"/>
                  <a:gd name="connsiteX2070" fmla="*/ 1410 w 10785"/>
                  <a:gd name="connsiteY2070" fmla="*/ 4188 h 10000"/>
                  <a:gd name="connsiteX2071" fmla="*/ 1406 w 10785"/>
                  <a:gd name="connsiteY2071" fmla="*/ 4171 h 10000"/>
                  <a:gd name="connsiteX2072" fmla="*/ 1396 w 10785"/>
                  <a:gd name="connsiteY2072" fmla="*/ 4214 h 10000"/>
                  <a:gd name="connsiteX2073" fmla="*/ 1406 w 10785"/>
                  <a:gd name="connsiteY2073" fmla="*/ 4222 h 10000"/>
                  <a:gd name="connsiteX2074" fmla="*/ 1392 w 10785"/>
                  <a:gd name="connsiteY2074" fmla="*/ 4239 h 10000"/>
                  <a:gd name="connsiteX2075" fmla="*/ 1369 w 10785"/>
                  <a:gd name="connsiteY2075" fmla="*/ 4248 h 10000"/>
                  <a:gd name="connsiteX2076" fmla="*/ 1355 w 10785"/>
                  <a:gd name="connsiteY2076" fmla="*/ 4256 h 10000"/>
                  <a:gd name="connsiteX2077" fmla="*/ 1350 w 10785"/>
                  <a:gd name="connsiteY2077" fmla="*/ 4248 h 10000"/>
                  <a:gd name="connsiteX2078" fmla="*/ 1332 w 10785"/>
                  <a:gd name="connsiteY2078" fmla="*/ 4376 h 10000"/>
                  <a:gd name="connsiteX2079" fmla="*/ 1332 w 10785"/>
                  <a:gd name="connsiteY2079" fmla="*/ 4436 h 10000"/>
                  <a:gd name="connsiteX2080" fmla="*/ 1323 w 10785"/>
                  <a:gd name="connsiteY2080" fmla="*/ 4462 h 10000"/>
                  <a:gd name="connsiteX2081" fmla="*/ 1304 w 10785"/>
                  <a:gd name="connsiteY2081" fmla="*/ 4487 h 10000"/>
                  <a:gd name="connsiteX2082" fmla="*/ 1290 w 10785"/>
                  <a:gd name="connsiteY2082" fmla="*/ 4470 h 10000"/>
                  <a:gd name="connsiteX2083" fmla="*/ 1263 w 10785"/>
                  <a:gd name="connsiteY2083" fmla="*/ 4496 h 10000"/>
                  <a:gd name="connsiteX2084" fmla="*/ 1258 w 10785"/>
                  <a:gd name="connsiteY2084" fmla="*/ 4547 h 10000"/>
                  <a:gd name="connsiteX2085" fmla="*/ 1249 w 10785"/>
                  <a:gd name="connsiteY2085" fmla="*/ 4487 h 10000"/>
                  <a:gd name="connsiteX2086" fmla="*/ 1235 w 10785"/>
                  <a:gd name="connsiteY2086" fmla="*/ 4496 h 10000"/>
                  <a:gd name="connsiteX2087" fmla="*/ 1221 w 10785"/>
                  <a:gd name="connsiteY2087" fmla="*/ 4496 h 10000"/>
                  <a:gd name="connsiteX2088" fmla="*/ 1217 w 10785"/>
                  <a:gd name="connsiteY2088" fmla="*/ 4487 h 10000"/>
                  <a:gd name="connsiteX2089" fmla="*/ 1198 w 10785"/>
                  <a:gd name="connsiteY2089" fmla="*/ 4410 h 10000"/>
                  <a:gd name="connsiteX2090" fmla="*/ 1157 w 10785"/>
                  <a:gd name="connsiteY2090" fmla="*/ 4333 h 10000"/>
                  <a:gd name="connsiteX2091" fmla="*/ 1147 w 10785"/>
                  <a:gd name="connsiteY2091" fmla="*/ 4299 h 10000"/>
                  <a:gd name="connsiteX2092" fmla="*/ 1147 w 10785"/>
                  <a:gd name="connsiteY2092" fmla="*/ 4274 h 10000"/>
                  <a:gd name="connsiteX2093" fmla="*/ 1161 w 10785"/>
                  <a:gd name="connsiteY2093" fmla="*/ 4256 h 10000"/>
                  <a:gd name="connsiteX2094" fmla="*/ 1171 w 10785"/>
                  <a:gd name="connsiteY2094" fmla="*/ 4248 h 10000"/>
                  <a:gd name="connsiteX2095" fmla="*/ 1175 w 10785"/>
                  <a:gd name="connsiteY2095" fmla="*/ 4214 h 10000"/>
                  <a:gd name="connsiteX2096" fmla="*/ 1263 w 10785"/>
                  <a:gd name="connsiteY2096" fmla="*/ 4171 h 10000"/>
                  <a:gd name="connsiteX2097" fmla="*/ 1249 w 10785"/>
                  <a:gd name="connsiteY2097" fmla="*/ 4137 h 10000"/>
                  <a:gd name="connsiteX2098" fmla="*/ 1244 w 10785"/>
                  <a:gd name="connsiteY2098" fmla="*/ 4060 h 10000"/>
                  <a:gd name="connsiteX2099" fmla="*/ 1230 w 10785"/>
                  <a:gd name="connsiteY2099" fmla="*/ 4077 h 10000"/>
                  <a:gd name="connsiteX2100" fmla="*/ 1221 w 10785"/>
                  <a:gd name="connsiteY2100" fmla="*/ 4026 h 10000"/>
                  <a:gd name="connsiteX2101" fmla="*/ 1217 w 10785"/>
                  <a:gd name="connsiteY2101" fmla="*/ 4026 h 10000"/>
                  <a:gd name="connsiteX2102" fmla="*/ 1212 w 10785"/>
                  <a:gd name="connsiteY2102" fmla="*/ 3983 h 10000"/>
                  <a:gd name="connsiteX2103" fmla="*/ 1203 w 10785"/>
                  <a:gd name="connsiteY2103" fmla="*/ 3966 h 10000"/>
                  <a:gd name="connsiteX2104" fmla="*/ 1171 w 10785"/>
                  <a:gd name="connsiteY2104" fmla="*/ 3949 h 10000"/>
                  <a:gd name="connsiteX2105" fmla="*/ 1111 w 10785"/>
                  <a:gd name="connsiteY2105" fmla="*/ 3940 h 10000"/>
                  <a:gd name="connsiteX2106" fmla="*/ 1097 w 10785"/>
                  <a:gd name="connsiteY2106" fmla="*/ 3949 h 10000"/>
                  <a:gd name="connsiteX2107" fmla="*/ 1037 w 10785"/>
                  <a:gd name="connsiteY2107" fmla="*/ 3897 h 10000"/>
                  <a:gd name="connsiteX2108" fmla="*/ 1041 w 10785"/>
                  <a:gd name="connsiteY2108" fmla="*/ 3923 h 10000"/>
                  <a:gd name="connsiteX2109" fmla="*/ 1097 w 10785"/>
                  <a:gd name="connsiteY2109" fmla="*/ 4009 h 10000"/>
                  <a:gd name="connsiteX2110" fmla="*/ 1097 w 10785"/>
                  <a:gd name="connsiteY2110" fmla="*/ 4120 h 10000"/>
                  <a:gd name="connsiteX2111" fmla="*/ 1097 w 10785"/>
                  <a:gd name="connsiteY2111" fmla="*/ 4162 h 10000"/>
                  <a:gd name="connsiteX2112" fmla="*/ 1097 w 10785"/>
                  <a:gd name="connsiteY2112" fmla="*/ 4197 h 10000"/>
                  <a:gd name="connsiteX2113" fmla="*/ 1074 w 10785"/>
                  <a:gd name="connsiteY2113" fmla="*/ 4333 h 10000"/>
                  <a:gd name="connsiteX2114" fmla="*/ 1074 w 10785"/>
                  <a:gd name="connsiteY2114" fmla="*/ 4376 h 10000"/>
                  <a:gd name="connsiteX2115" fmla="*/ 1083 w 10785"/>
                  <a:gd name="connsiteY2115" fmla="*/ 4385 h 10000"/>
                  <a:gd name="connsiteX2116" fmla="*/ 1097 w 10785"/>
                  <a:gd name="connsiteY2116" fmla="*/ 4385 h 10000"/>
                  <a:gd name="connsiteX2117" fmla="*/ 1111 w 10785"/>
                  <a:gd name="connsiteY2117" fmla="*/ 4410 h 10000"/>
                  <a:gd name="connsiteX2118" fmla="*/ 1124 w 10785"/>
                  <a:gd name="connsiteY2118" fmla="*/ 4444 h 10000"/>
                  <a:gd name="connsiteX2119" fmla="*/ 1124 w 10785"/>
                  <a:gd name="connsiteY2119" fmla="*/ 4470 h 10000"/>
                  <a:gd name="connsiteX2120" fmla="*/ 1115 w 10785"/>
                  <a:gd name="connsiteY2120" fmla="*/ 4513 h 10000"/>
                  <a:gd name="connsiteX2121" fmla="*/ 1115 w 10785"/>
                  <a:gd name="connsiteY2121" fmla="*/ 4530 h 10000"/>
                  <a:gd name="connsiteX2122" fmla="*/ 1115 w 10785"/>
                  <a:gd name="connsiteY2122" fmla="*/ 4573 h 10000"/>
                  <a:gd name="connsiteX2123" fmla="*/ 1101 w 10785"/>
                  <a:gd name="connsiteY2123" fmla="*/ 4607 h 10000"/>
                  <a:gd name="connsiteX2124" fmla="*/ 1097 w 10785"/>
                  <a:gd name="connsiteY2124" fmla="*/ 4658 h 10000"/>
                  <a:gd name="connsiteX2125" fmla="*/ 1101 w 10785"/>
                  <a:gd name="connsiteY2125" fmla="*/ 4692 h 10000"/>
                  <a:gd name="connsiteX2126" fmla="*/ 1097 w 10785"/>
                  <a:gd name="connsiteY2126" fmla="*/ 4778 h 10000"/>
                  <a:gd name="connsiteX2127" fmla="*/ 1083 w 10785"/>
                  <a:gd name="connsiteY2127" fmla="*/ 4744 h 10000"/>
                  <a:gd name="connsiteX2128" fmla="*/ 1083 w 10785"/>
                  <a:gd name="connsiteY2128" fmla="*/ 4718 h 10000"/>
                  <a:gd name="connsiteX2129" fmla="*/ 1074 w 10785"/>
                  <a:gd name="connsiteY2129" fmla="*/ 4692 h 10000"/>
                  <a:gd name="connsiteX2130" fmla="*/ 1065 w 10785"/>
                  <a:gd name="connsiteY2130" fmla="*/ 4692 h 10000"/>
                  <a:gd name="connsiteX2131" fmla="*/ 1051 w 10785"/>
                  <a:gd name="connsiteY2131" fmla="*/ 4718 h 10000"/>
                  <a:gd name="connsiteX2132" fmla="*/ 1055 w 10785"/>
                  <a:gd name="connsiteY2132" fmla="*/ 4692 h 10000"/>
                  <a:gd name="connsiteX2133" fmla="*/ 1055 w 10785"/>
                  <a:gd name="connsiteY2133" fmla="*/ 4667 h 10000"/>
                  <a:gd name="connsiteX2134" fmla="*/ 1028 w 10785"/>
                  <a:gd name="connsiteY2134" fmla="*/ 4624 h 10000"/>
                  <a:gd name="connsiteX2135" fmla="*/ 1005 w 10785"/>
                  <a:gd name="connsiteY2135" fmla="*/ 4624 h 10000"/>
                  <a:gd name="connsiteX2136" fmla="*/ 977 w 10785"/>
                  <a:gd name="connsiteY2136" fmla="*/ 4581 h 10000"/>
                  <a:gd name="connsiteX2137" fmla="*/ 963 w 10785"/>
                  <a:gd name="connsiteY2137" fmla="*/ 4607 h 10000"/>
                  <a:gd name="connsiteX2138" fmla="*/ 963 w 10785"/>
                  <a:gd name="connsiteY2138" fmla="*/ 4632 h 10000"/>
                  <a:gd name="connsiteX2139" fmla="*/ 917 w 10785"/>
                  <a:gd name="connsiteY2139" fmla="*/ 4718 h 10000"/>
                  <a:gd name="connsiteX2140" fmla="*/ 889 w 10785"/>
                  <a:gd name="connsiteY2140" fmla="*/ 4744 h 10000"/>
                  <a:gd name="connsiteX2141" fmla="*/ 880 w 10785"/>
                  <a:gd name="connsiteY2141" fmla="*/ 4744 h 10000"/>
                  <a:gd name="connsiteX2142" fmla="*/ 862 w 10785"/>
                  <a:gd name="connsiteY2142" fmla="*/ 4769 h 10000"/>
                  <a:gd name="connsiteX2143" fmla="*/ 857 w 10785"/>
                  <a:gd name="connsiteY2143" fmla="*/ 4795 h 10000"/>
                  <a:gd name="connsiteX2144" fmla="*/ 829 w 10785"/>
                  <a:gd name="connsiteY2144" fmla="*/ 4846 h 10000"/>
                  <a:gd name="connsiteX2145" fmla="*/ 816 w 10785"/>
                  <a:gd name="connsiteY2145" fmla="*/ 4855 h 10000"/>
                  <a:gd name="connsiteX2146" fmla="*/ 816 w 10785"/>
                  <a:gd name="connsiteY2146" fmla="*/ 4940 h 10000"/>
                  <a:gd name="connsiteX2147" fmla="*/ 880 w 10785"/>
                  <a:gd name="connsiteY2147" fmla="*/ 5179 h 10000"/>
                  <a:gd name="connsiteX2148" fmla="*/ 880 w 10785"/>
                  <a:gd name="connsiteY2148" fmla="*/ 5188 h 10000"/>
                  <a:gd name="connsiteX2149" fmla="*/ 862 w 10785"/>
                  <a:gd name="connsiteY2149" fmla="*/ 5171 h 10000"/>
                  <a:gd name="connsiteX2150" fmla="*/ 857 w 10785"/>
                  <a:gd name="connsiteY2150" fmla="*/ 5171 h 10000"/>
                  <a:gd name="connsiteX2151" fmla="*/ 820 w 10785"/>
                  <a:gd name="connsiteY2151" fmla="*/ 5145 h 10000"/>
                  <a:gd name="connsiteX2152" fmla="*/ 820 w 10785"/>
                  <a:gd name="connsiteY2152" fmla="*/ 5154 h 10000"/>
                  <a:gd name="connsiteX2153" fmla="*/ 816 w 10785"/>
                  <a:gd name="connsiteY2153" fmla="*/ 5171 h 10000"/>
                  <a:gd name="connsiteX2154" fmla="*/ 783 w 10785"/>
                  <a:gd name="connsiteY2154" fmla="*/ 5145 h 10000"/>
                  <a:gd name="connsiteX2155" fmla="*/ 756 w 10785"/>
                  <a:gd name="connsiteY2155" fmla="*/ 5103 h 10000"/>
                  <a:gd name="connsiteX2156" fmla="*/ 742 w 10785"/>
                  <a:gd name="connsiteY2156" fmla="*/ 5103 h 10000"/>
                  <a:gd name="connsiteX2157" fmla="*/ 728 w 10785"/>
                  <a:gd name="connsiteY2157" fmla="*/ 5094 h 10000"/>
                  <a:gd name="connsiteX2158" fmla="*/ 710 w 10785"/>
                  <a:gd name="connsiteY2158" fmla="*/ 5120 h 10000"/>
                  <a:gd name="connsiteX2159" fmla="*/ 700 w 10785"/>
                  <a:gd name="connsiteY2159" fmla="*/ 5145 h 10000"/>
                  <a:gd name="connsiteX2160" fmla="*/ 696 w 10785"/>
                  <a:gd name="connsiteY2160" fmla="*/ 5103 h 10000"/>
                  <a:gd name="connsiteX2161" fmla="*/ 714 w 10785"/>
                  <a:gd name="connsiteY2161" fmla="*/ 5077 h 10000"/>
                  <a:gd name="connsiteX2162" fmla="*/ 682 w 10785"/>
                  <a:gd name="connsiteY2162" fmla="*/ 5068 h 10000"/>
                  <a:gd name="connsiteX2163" fmla="*/ 673 w 10785"/>
                  <a:gd name="connsiteY2163" fmla="*/ 5034 h 10000"/>
                  <a:gd name="connsiteX2164" fmla="*/ 636 w 10785"/>
                  <a:gd name="connsiteY2164" fmla="*/ 4991 h 10000"/>
                  <a:gd name="connsiteX2165" fmla="*/ 622 w 10785"/>
                  <a:gd name="connsiteY2165" fmla="*/ 4983 h 10000"/>
                  <a:gd name="connsiteX2166" fmla="*/ 622 w 10785"/>
                  <a:gd name="connsiteY2166" fmla="*/ 5034 h 10000"/>
                  <a:gd name="connsiteX2167" fmla="*/ 608 w 10785"/>
                  <a:gd name="connsiteY2167" fmla="*/ 5051 h 10000"/>
                  <a:gd name="connsiteX2168" fmla="*/ 594 w 10785"/>
                  <a:gd name="connsiteY2168" fmla="*/ 5068 h 10000"/>
                  <a:gd name="connsiteX2169" fmla="*/ 608 w 10785"/>
                  <a:gd name="connsiteY2169" fmla="*/ 5120 h 10000"/>
                  <a:gd name="connsiteX2170" fmla="*/ 613 w 10785"/>
                  <a:gd name="connsiteY2170" fmla="*/ 5128 h 10000"/>
                  <a:gd name="connsiteX2171" fmla="*/ 627 w 10785"/>
                  <a:gd name="connsiteY2171" fmla="*/ 5179 h 10000"/>
                  <a:gd name="connsiteX2172" fmla="*/ 650 w 10785"/>
                  <a:gd name="connsiteY2172" fmla="*/ 5214 h 10000"/>
                  <a:gd name="connsiteX2173" fmla="*/ 687 w 10785"/>
                  <a:gd name="connsiteY2173" fmla="*/ 5188 h 10000"/>
                  <a:gd name="connsiteX2174" fmla="*/ 700 w 10785"/>
                  <a:gd name="connsiteY2174" fmla="*/ 5325 h 10000"/>
                  <a:gd name="connsiteX2175" fmla="*/ 710 w 10785"/>
                  <a:gd name="connsiteY2175" fmla="*/ 5350 h 10000"/>
                  <a:gd name="connsiteX2176" fmla="*/ 687 w 10785"/>
                  <a:gd name="connsiteY2176" fmla="*/ 5325 h 10000"/>
                  <a:gd name="connsiteX2177" fmla="*/ 668 w 10785"/>
                  <a:gd name="connsiteY2177" fmla="*/ 5350 h 10000"/>
                  <a:gd name="connsiteX2178" fmla="*/ 668 w 10785"/>
                  <a:gd name="connsiteY2178" fmla="*/ 5368 h 10000"/>
                  <a:gd name="connsiteX2179" fmla="*/ 668 w 10785"/>
                  <a:gd name="connsiteY2179" fmla="*/ 5376 h 10000"/>
                  <a:gd name="connsiteX2180" fmla="*/ 581 w 10785"/>
                  <a:gd name="connsiteY2180" fmla="*/ 5316 h 10000"/>
                  <a:gd name="connsiteX2181" fmla="*/ 567 w 10785"/>
                  <a:gd name="connsiteY2181" fmla="*/ 5265 h 10000"/>
                  <a:gd name="connsiteX2182" fmla="*/ 562 w 10785"/>
                  <a:gd name="connsiteY2182" fmla="*/ 5256 h 10000"/>
                  <a:gd name="connsiteX2183" fmla="*/ 548 w 10785"/>
                  <a:gd name="connsiteY2183" fmla="*/ 5231 h 10000"/>
                  <a:gd name="connsiteX2184" fmla="*/ 535 w 10785"/>
                  <a:gd name="connsiteY2184" fmla="*/ 5214 h 10000"/>
                  <a:gd name="connsiteX2185" fmla="*/ 525 w 10785"/>
                  <a:gd name="connsiteY2185" fmla="*/ 5231 h 10000"/>
                  <a:gd name="connsiteX2186" fmla="*/ 521 w 10785"/>
                  <a:gd name="connsiteY2186" fmla="*/ 5231 h 10000"/>
                  <a:gd name="connsiteX2187" fmla="*/ 493 w 10785"/>
                  <a:gd name="connsiteY2187" fmla="*/ 5205 h 10000"/>
                  <a:gd name="connsiteX2188" fmla="*/ 488 w 10785"/>
                  <a:gd name="connsiteY2188" fmla="*/ 5179 h 10000"/>
                  <a:gd name="connsiteX2189" fmla="*/ 475 w 10785"/>
                  <a:gd name="connsiteY2189" fmla="*/ 5188 h 10000"/>
                  <a:gd name="connsiteX2190" fmla="*/ 475 w 10785"/>
                  <a:gd name="connsiteY2190" fmla="*/ 5171 h 10000"/>
                  <a:gd name="connsiteX2191" fmla="*/ 488 w 10785"/>
                  <a:gd name="connsiteY2191" fmla="*/ 5154 h 10000"/>
                  <a:gd name="connsiteX2192" fmla="*/ 488 w 10785"/>
                  <a:gd name="connsiteY2192" fmla="*/ 5068 h 10000"/>
                  <a:gd name="connsiteX2193" fmla="*/ 475 w 10785"/>
                  <a:gd name="connsiteY2193" fmla="*/ 5051 h 10000"/>
                  <a:gd name="connsiteX2194" fmla="*/ 475 w 10785"/>
                  <a:gd name="connsiteY2194" fmla="*/ 5017 h 10000"/>
                  <a:gd name="connsiteX2195" fmla="*/ 452 w 10785"/>
                  <a:gd name="connsiteY2195" fmla="*/ 4932 h 10000"/>
                  <a:gd name="connsiteX2196" fmla="*/ 461 w 10785"/>
                  <a:gd name="connsiteY2196" fmla="*/ 4915 h 10000"/>
                  <a:gd name="connsiteX2197" fmla="*/ 475 w 10785"/>
                  <a:gd name="connsiteY2197" fmla="*/ 4906 h 10000"/>
                  <a:gd name="connsiteX2198" fmla="*/ 479 w 10785"/>
                  <a:gd name="connsiteY2198" fmla="*/ 4803 h 10000"/>
                  <a:gd name="connsiteX2199" fmla="*/ 479 w 10785"/>
                  <a:gd name="connsiteY2199" fmla="*/ 4778 h 10000"/>
                  <a:gd name="connsiteX2200" fmla="*/ 475 w 10785"/>
                  <a:gd name="connsiteY2200" fmla="*/ 4761 h 10000"/>
                  <a:gd name="connsiteX2201" fmla="*/ 465 w 10785"/>
                  <a:gd name="connsiteY2201" fmla="*/ 4718 h 10000"/>
                  <a:gd name="connsiteX2202" fmla="*/ 461 w 10785"/>
                  <a:gd name="connsiteY2202" fmla="*/ 4709 h 10000"/>
                  <a:gd name="connsiteX2203" fmla="*/ 442 w 10785"/>
                  <a:gd name="connsiteY2203" fmla="*/ 4692 h 10000"/>
                  <a:gd name="connsiteX2204" fmla="*/ 433 w 10785"/>
                  <a:gd name="connsiteY2204" fmla="*/ 4667 h 10000"/>
                  <a:gd name="connsiteX2205" fmla="*/ 419 w 10785"/>
                  <a:gd name="connsiteY2205" fmla="*/ 4667 h 10000"/>
                  <a:gd name="connsiteX2206" fmla="*/ 401 w 10785"/>
                  <a:gd name="connsiteY2206" fmla="*/ 4658 h 10000"/>
                  <a:gd name="connsiteX2207" fmla="*/ 401 w 10785"/>
                  <a:gd name="connsiteY2207" fmla="*/ 4624 h 10000"/>
                  <a:gd name="connsiteX2208" fmla="*/ 401 w 10785"/>
                  <a:gd name="connsiteY2208" fmla="*/ 4607 h 10000"/>
                  <a:gd name="connsiteX2209" fmla="*/ 378 w 10785"/>
                  <a:gd name="connsiteY2209" fmla="*/ 4607 h 10000"/>
                  <a:gd name="connsiteX2210" fmla="*/ 341 w 10785"/>
                  <a:gd name="connsiteY2210" fmla="*/ 4530 h 10000"/>
                  <a:gd name="connsiteX2211" fmla="*/ 346 w 10785"/>
                  <a:gd name="connsiteY2211" fmla="*/ 4521 h 10000"/>
                  <a:gd name="connsiteX2212" fmla="*/ 332 w 10785"/>
                  <a:gd name="connsiteY2212" fmla="*/ 4487 h 10000"/>
                  <a:gd name="connsiteX2213" fmla="*/ 327 w 10785"/>
                  <a:gd name="connsiteY2213" fmla="*/ 4462 h 10000"/>
                  <a:gd name="connsiteX2214" fmla="*/ 313 w 10785"/>
                  <a:gd name="connsiteY2214" fmla="*/ 4436 h 10000"/>
                  <a:gd name="connsiteX2215" fmla="*/ 300 w 10785"/>
                  <a:gd name="connsiteY2215" fmla="*/ 4419 h 10000"/>
                  <a:gd name="connsiteX2216" fmla="*/ 309 w 10785"/>
                  <a:gd name="connsiteY2216" fmla="*/ 4393 h 10000"/>
                  <a:gd name="connsiteX2217" fmla="*/ 332 w 10785"/>
                  <a:gd name="connsiteY2217" fmla="*/ 4385 h 10000"/>
                  <a:gd name="connsiteX2218" fmla="*/ 355 w 10785"/>
                  <a:gd name="connsiteY2218" fmla="*/ 4419 h 10000"/>
                  <a:gd name="connsiteX2219" fmla="*/ 355 w 10785"/>
                  <a:gd name="connsiteY2219" fmla="*/ 4444 h 10000"/>
                  <a:gd name="connsiteX2220" fmla="*/ 369 w 10785"/>
                  <a:gd name="connsiteY2220" fmla="*/ 4470 h 10000"/>
                  <a:gd name="connsiteX2221" fmla="*/ 401 w 10785"/>
                  <a:gd name="connsiteY2221" fmla="*/ 4521 h 10000"/>
                  <a:gd name="connsiteX2222" fmla="*/ 406 w 10785"/>
                  <a:gd name="connsiteY2222" fmla="*/ 4513 h 10000"/>
                  <a:gd name="connsiteX2223" fmla="*/ 406 w 10785"/>
                  <a:gd name="connsiteY2223" fmla="*/ 4496 h 10000"/>
                  <a:gd name="connsiteX2224" fmla="*/ 419 w 10785"/>
                  <a:gd name="connsiteY2224" fmla="*/ 4521 h 10000"/>
                  <a:gd name="connsiteX2225" fmla="*/ 429 w 10785"/>
                  <a:gd name="connsiteY2225" fmla="*/ 4530 h 10000"/>
                  <a:gd name="connsiteX2226" fmla="*/ 433 w 10785"/>
                  <a:gd name="connsiteY2226" fmla="*/ 4521 h 10000"/>
                  <a:gd name="connsiteX2227" fmla="*/ 442 w 10785"/>
                  <a:gd name="connsiteY2227" fmla="*/ 4530 h 10000"/>
                  <a:gd name="connsiteX2228" fmla="*/ 447 w 10785"/>
                  <a:gd name="connsiteY2228" fmla="*/ 4521 h 10000"/>
                  <a:gd name="connsiteX2229" fmla="*/ 452 w 10785"/>
                  <a:gd name="connsiteY2229" fmla="*/ 4521 h 10000"/>
                  <a:gd name="connsiteX2230" fmla="*/ 461 w 10785"/>
                  <a:gd name="connsiteY2230" fmla="*/ 4573 h 10000"/>
                  <a:gd name="connsiteX2231" fmla="*/ 479 w 10785"/>
                  <a:gd name="connsiteY2231" fmla="*/ 4556 h 10000"/>
                  <a:gd name="connsiteX2232" fmla="*/ 502 w 10785"/>
                  <a:gd name="connsiteY2232" fmla="*/ 4573 h 10000"/>
                  <a:gd name="connsiteX2233" fmla="*/ 507 w 10785"/>
                  <a:gd name="connsiteY2233" fmla="*/ 4598 h 10000"/>
                  <a:gd name="connsiteX2234" fmla="*/ 525 w 10785"/>
                  <a:gd name="connsiteY2234" fmla="*/ 4598 h 10000"/>
                  <a:gd name="connsiteX2235" fmla="*/ 535 w 10785"/>
                  <a:gd name="connsiteY2235" fmla="*/ 4624 h 10000"/>
                  <a:gd name="connsiteX2236" fmla="*/ 594 w 10785"/>
                  <a:gd name="connsiteY2236" fmla="*/ 4658 h 10000"/>
                  <a:gd name="connsiteX2237" fmla="*/ 627 w 10785"/>
                  <a:gd name="connsiteY2237" fmla="*/ 4658 h 10000"/>
                  <a:gd name="connsiteX2238" fmla="*/ 654 w 10785"/>
                  <a:gd name="connsiteY2238" fmla="*/ 4684 h 10000"/>
                  <a:gd name="connsiteX2239" fmla="*/ 668 w 10785"/>
                  <a:gd name="connsiteY2239" fmla="*/ 4709 h 10000"/>
                  <a:gd name="connsiteX2240" fmla="*/ 747 w 10785"/>
                  <a:gd name="connsiteY2240" fmla="*/ 4718 h 10000"/>
                  <a:gd name="connsiteX2241" fmla="*/ 760 w 10785"/>
                  <a:gd name="connsiteY2241" fmla="*/ 4709 h 10000"/>
                  <a:gd name="connsiteX2242" fmla="*/ 774 w 10785"/>
                  <a:gd name="connsiteY2242" fmla="*/ 4692 h 10000"/>
                  <a:gd name="connsiteX2243" fmla="*/ 829 w 10785"/>
                  <a:gd name="connsiteY2243" fmla="*/ 4658 h 10000"/>
                  <a:gd name="connsiteX2244" fmla="*/ 903 w 10785"/>
                  <a:gd name="connsiteY2244" fmla="*/ 4496 h 10000"/>
                  <a:gd name="connsiteX2245" fmla="*/ 917 w 10785"/>
                  <a:gd name="connsiteY2245" fmla="*/ 4385 h 10000"/>
                  <a:gd name="connsiteX2246" fmla="*/ 903 w 10785"/>
                  <a:gd name="connsiteY2246" fmla="*/ 4376 h 10000"/>
                  <a:gd name="connsiteX2247" fmla="*/ 903 w 10785"/>
                  <a:gd name="connsiteY2247" fmla="*/ 4376 h 10000"/>
                  <a:gd name="connsiteX2248" fmla="*/ 889 w 10785"/>
                  <a:gd name="connsiteY2248" fmla="*/ 4239 h 10000"/>
                  <a:gd name="connsiteX2249" fmla="*/ 880 w 10785"/>
                  <a:gd name="connsiteY2249" fmla="*/ 4214 h 10000"/>
                  <a:gd name="connsiteX2250" fmla="*/ 862 w 10785"/>
                  <a:gd name="connsiteY2250" fmla="*/ 4188 h 10000"/>
                  <a:gd name="connsiteX2251" fmla="*/ 857 w 10785"/>
                  <a:gd name="connsiteY2251" fmla="*/ 4197 h 10000"/>
                  <a:gd name="connsiteX2252" fmla="*/ 848 w 10785"/>
                  <a:gd name="connsiteY2252" fmla="*/ 4188 h 10000"/>
                  <a:gd name="connsiteX2253" fmla="*/ 848 w 10785"/>
                  <a:gd name="connsiteY2253" fmla="*/ 4162 h 10000"/>
                  <a:gd name="connsiteX2254" fmla="*/ 829 w 10785"/>
                  <a:gd name="connsiteY2254" fmla="*/ 4120 h 10000"/>
                  <a:gd name="connsiteX2255" fmla="*/ 820 w 10785"/>
                  <a:gd name="connsiteY2255" fmla="*/ 4103 h 10000"/>
                  <a:gd name="connsiteX2256" fmla="*/ 806 w 10785"/>
                  <a:gd name="connsiteY2256" fmla="*/ 4077 h 10000"/>
                  <a:gd name="connsiteX2257" fmla="*/ 816 w 10785"/>
                  <a:gd name="connsiteY2257" fmla="*/ 4111 h 10000"/>
                  <a:gd name="connsiteX2258" fmla="*/ 802 w 10785"/>
                  <a:gd name="connsiteY2258" fmla="*/ 4111 h 10000"/>
                  <a:gd name="connsiteX2259" fmla="*/ 770 w 10785"/>
                  <a:gd name="connsiteY2259" fmla="*/ 4060 h 10000"/>
                  <a:gd name="connsiteX2260" fmla="*/ 760 w 10785"/>
                  <a:gd name="connsiteY2260" fmla="*/ 4077 h 10000"/>
                  <a:gd name="connsiteX2261" fmla="*/ 760 w 10785"/>
                  <a:gd name="connsiteY2261" fmla="*/ 4060 h 10000"/>
                  <a:gd name="connsiteX2262" fmla="*/ 756 w 10785"/>
                  <a:gd name="connsiteY2262" fmla="*/ 4034 h 10000"/>
                  <a:gd name="connsiteX2263" fmla="*/ 742 w 10785"/>
                  <a:gd name="connsiteY2263" fmla="*/ 4000 h 10000"/>
                  <a:gd name="connsiteX2264" fmla="*/ 747 w 10785"/>
                  <a:gd name="connsiteY2264" fmla="*/ 4034 h 10000"/>
                  <a:gd name="connsiteX2265" fmla="*/ 724 w 10785"/>
                  <a:gd name="connsiteY2265" fmla="*/ 4026 h 10000"/>
                  <a:gd name="connsiteX2266" fmla="*/ 714 w 10785"/>
                  <a:gd name="connsiteY2266" fmla="*/ 4000 h 10000"/>
                  <a:gd name="connsiteX2267" fmla="*/ 714 w 10785"/>
                  <a:gd name="connsiteY2267" fmla="*/ 3983 h 10000"/>
                  <a:gd name="connsiteX2268" fmla="*/ 553 w 10785"/>
                  <a:gd name="connsiteY2268" fmla="*/ 3726 h 10000"/>
                  <a:gd name="connsiteX2269" fmla="*/ 507 w 10785"/>
                  <a:gd name="connsiteY2269" fmla="*/ 3718 h 10000"/>
                  <a:gd name="connsiteX2270" fmla="*/ 516 w 10785"/>
                  <a:gd name="connsiteY2270" fmla="*/ 3726 h 10000"/>
                  <a:gd name="connsiteX2271" fmla="*/ 507 w 10785"/>
                  <a:gd name="connsiteY2271" fmla="*/ 3735 h 10000"/>
                  <a:gd name="connsiteX2272" fmla="*/ 502 w 10785"/>
                  <a:gd name="connsiteY2272" fmla="*/ 3735 h 10000"/>
                  <a:gd name="connsiteX2273" fmla="*/ 419 w 10785"/>
                  <a:gd name="connsiteY2273" fmla="*/ 3675 h 10000"/>
                  <a:gd name="connsiteX2274" fmla="*/ 419 w 10785"/>
                  <a:gd name="connsiteY2274" fmla="*/ 3692 h 10000"/>
                  <a:gd name="connsiteX2275" fmla="*/ 401 w 10785"/>
                  <a:gd name="connsiteY2275" fmla="*/ 3701 h 10000"/>
                  <a:gd name="connsiteX2276" fmla="*/ 387 w 10785"/>
                  <a:gd name="connsiteY2276" fmla="*/ 3718 h 10000"/>
                  <a:gd name="connsiteX2277" fmla="*/ 387 w 10785"/>
                  <a:gd name="connsiteY2277" fmla="*/ 3692 h 10000"/>
                  <a:gd name="connsiteX2278" fmla="*/ 378 w 10785"/>
                  <a:gd name="connsiteY2278" fmla="*/ 3675 h 10000"/>
                  <a:gd name="connsiteX2279" fmla="*/ 378 w 10785"/>
                  <a:gd name="connsiteY2279" fmla="*/ 3650 h 10000"/>
                  <a:gd name="connsiteX2280" fmla="*/ 378 w 10785"/>
                  <a:gd name="connsiteY2280" fmla="*/ 3650 h 10000"/>
                  <a:gd name="connsiteX2281" fmla="*/ 355 w 10785"/>
                  <a:gd name="connsiteY2281" fmla="*/ 3675 h 10000"/>
                  <a:gd name="connsiteX2282" fmla="*/ 359 w 10785"/>
                  <a:gd name="connsiteY2282" fmla="*/ 3641 h 10000"/>
                  <a:gd name="connsiteX2283" fmla="*/ 346 w 10785"/>
                  <a:gd name="connsiteY2283" fmla="*/ 3650 h 10000"/>
                  <a:gd name="connsiteX2284" fmla="*/ 355 w 10785"/>
                  <a:gd name="connsiteY2284" fmla="*/ 3624 h 10000"/>
                  <a:gd name="connsiteX2285" fmla="*/ 346 w 10785"/>
                  <a:gd name="connsiteY2285" fmla="*/ 3624 h 10000"/>
                  <a:gd name="connsiteX2286" fmla="*/ 341 w 10785"/>
                  <a:gd name="connsiteY2286" fmla="*/ 3624 h 10000"/>
                  <a:gd name="connsiteX2287" fmla="*/ 318 w 10785"/>
                  <a:gd name="connsiteY2287" fmla="*/ 3641 h 10000"/>
                  <a:gd name="connsiteX2288" fmla="*/ 327 w 10785"/>
                  <a:gd name="connsiteY2288" fmla="*/ 3624 h 10000"/>
                  <a:gd name="connsiteX2289" fmla="*/ 318 w 10785"/>
                  <a:gd name="connsiteY2289" fmla="*/ 3615 h 10000"/>
                  <a:gd name="connsiteX2290" fmla="*/ 318 w 10785"/>
                  <a:gd name="connsiteY2290" fmla="*/ 3598 h 10000"/>
                  <a:gd name="connsiteX2291" fmla="*/ 300 w 10785"/>
                  <a:gd name="connsiteY2291" fmla="*/ 3598 h 10000"/>
                  <a:gd name="connsiteX2292" fmla="*/ 309 w 10785"/>
                  <a:gd name="connsiteY2292" fmla="*/ 3538 h 10000"/>
                  <a:gd name="connsiteX2293" fmla="*/ 313 w 10785"/>
                  <a:gd name="connsiteY2293" fmla="*/ 3564 h 10000"/>
                  <a:gd name="connsiteX2294" fmla="*/ 318 w 10785"/>
                  <a:gd name="connsiteY2294" fmla="*/ 3581 h 10000"/>
                  <a:gd name="connsiteX2295" fmla="*/ 327 w 10785"/>
                  <a:gd name="connsiteY2295" fmla="*/ 3564 h 10000"/>
                  <a:gd name="connsiteX2296" fmla="*/ 332 w 10785"/>
                  <a:gd name="connsiteY2296" fmla="*/ 3590 h 10000"/>
                  <a:gd name="connsiteX2297" fmla="*/ 346 w 10785"/>
                  <a:gd name="connsiteY2297" fmla="*/ 3590 h 10000"/>
                  <a:gd name="connsiteX2298" fmla="*/ 355 w 10785"/>
                  <a:gd name="connsiteY2298" fmla="*/ 3590 h 10000"/>
                  <a:gd name="connsiteX2299" fmla="*/ 369 w 10785"/>
                  <a:gd name="connsiteY2299" fmla="*/ 3556 h 10000"/>
                  <a:gd name="connsiteX2300" fmla="*/ 369 w 10785"/>
                  <a:gd name="connsiteY2300" fmla="*/ 3538 h 10000"/>
                  <a:gd name="connsiteX2301" fmla="*/ 346 w 10785"/>
                  <a:gd name="connsiteY2301" fmla="*/ 3513 h 10000"/>
                  <a:gd name="connsiteX2302" fmla="*/ 341 w 10785"/>
                  <a:gd name="connsiteY2302" fmla="*/ 3530 h 10000"/>
                  <a:gd name="connsiteX2303" fmla="*/ 327 w 10785"/>
                  <a:gd name="connsiteY2303" fmla="*/ 3513 h 10000"/>
                  <a:gd name="connsiteX2304" fmla="*/ 327 w 10785"/>
                  <a:gd name="connsiteY2304" fmla="*/ 3504 h 10000"/>
                  <a:gd name="connsiteX2305" fmla="*/ 295 w 10785"/>
                  <a:gd name="connsiteY2305" fmla="*/ 3462 h 10000"/>
                  <a:gd name="connsiteX2306" fmla="*/ 300 w 10785"/>
                  <a:gd name="connsiteY2306" fmla="*/ 3479 h 10000"/>
                  <a:gd name="connsiteX2307" fmla="*/ 295 w 10785"/>
                  <a:gd name="connsiteY2307" fmla="*/ 3513 h 10000"/>
                  <a:gd name="connsiteX2308" fmla="*/ 286 w 10785"/>
                  <a:gd name="connsiteY2308" fmla="*/ 3513 h 10000"/>
                  <a:gd name="connsiteX2309" fmla="*/ 281 w 10785"/>
                  <a:gd name="connsiteY2309" fmla="*/ 3513 h 10000"/>
                  <a:gd name="connsiteX2310" fmla="*/ 281 w 10785"/>
                  <a:gd name="connsiteY2310" fmla="*/ 3530 h 10000"/>
                  <a:gd name="connsiteX2311" fmla="*/ 281 w 10785"/>
                  <a:gd name="connsiteY2311" fmla="*/ 3556 h 10000"/>
                  <a:gd name="connsiteX2312" fmla="*/ 272 w 10785"/>
                  <a:gd name="connsiteY2312" fmla="*/ 3564 h 10000"/>
                  <a:gd name="connsiteX2313" fmla="*/ 267 w 10785"/>
                  <a:gd name="connsiteY2313" fmla="*/ 3564 h 10000"/>
                  <a:gd name="connsiteX2314" fmla="*/ 253 w 10785"/>
                  <a:gd name="connsiteY2314" fmla="*/ 3538 h 10000"/>
                  <a:gd name="connsiteX2315" fmla="*/ 226 w 10785"/>
                  <a:gd name="connsiteY2315" fmla="*/ 3513 h 10000"/>
                  <a:gd name="connsiteX2316" fmla="*/ 226 w 10785"/>
                  <a:gd name="connsiteY2316" fmla="*/ 3530 h 10000"/>
                  <a:gd name="connsiteX2317" fmla="*/ 226 w 10785"/>
                  <a:gd name="connsiteY2317" fmla="*/ 3530 h 10000"/>
                  <a:gd name="connsiteX2318" fmla="*/ 226 w 10785"/>
                  <a:gd name="connsiteY2318" fmla="*/ 3530 h 10000"/>
                  <a:gd name="connsiteX2319" fmla="*/ 226 w 10785"/>
                  <a:gd name="connsiteY2319" fmla="*/ 3556 h 10000"/>
                  <a:gd name="connsiteX2320" fmla="*/ 221 w 10785"/>
                  <a:gd name="connsiteY2320" fmla="*/ 3598 h 10000"/>
                  <a:gd name="connsiteX2321" fmla="*/ 207 w 10785"/>
                  <a:gd name="connsiteY2321" fmla="*/ 3598 h 10000"/>
                  <a:gd name="connsiteX2322" fmla="*/ 180 w 10785"/>
                  <a:gd name="connsiteY2322" fmla="*/ 3581 h 10000"/>
                  <a:gd name="connsiteX2323" fmla="*/ 171 w 10785"/>
                  <a:gd name="connsiteY2323" fmla="*/ 3641 h 10000"/>
                  <a:gd name="connsiteX2324" fmla="*/ 166 w 10785"/>
                  <a:gd name="connsiteY2324" fmla="*/ 3650 h 10000"/>
                  <a:gd name="connsiteX2325" fmla="*/ 124 w 10785"/>
                  <a:gd name="connsiteY2325" fmla="*/ 3701 h 10000"/>
                  <a:gd name="connsiteX2326" fmla="*/ 124 w 10785"/>
                  <a:gd name="connsiteY2326" fmla="*/ 3718 h 10000"/>
                  <a:gd name="connsiteX2327" fmla="*/ 120 w 10785"/>
                  <a:gd name="connsiteY2327" fmla="*/ 3735 h 10000"/>
                  <a:gd name="connsiteX2328" fmla="*/ 120 w 10785"/>
                  <a:gd name="connsiteY2328" fmla="*/ 3735 h 10000"/>
                  <a:gd name="connsiteX2329" fmla="*/ 111 w 10785"/>
                  <a:gd name="connsiteY2329" fmla="*/ 3761 h 10000"/>
                  <a:gd name="connsiteX2330" fmla="*/ 106 w 10785"/>
                  <a:gd name="connsiteY2330" fmla="*/ 3761 h 10000"/>
                  <a:gd name="connsiteX2331" fmla="*/ 106 w 10785"/>
                  <a:gd name="connsiteY2331" fmla="*/ 3761 h 10000"/>
                  <a:gd name="connsiteX2332" fmla="*/ 74 w 10785"/>
                  <a:gd name="connsiteY2332" fmla="*/ 3829 h 10000"/>
                  <a:gd name="connsiteX2333" fmla="*/ 78 w 10785"/>
                  <a:gd name="connsiteY2333" fmla="*/ 3838 h 10000"/>
                  <a:gd name="connsiteX2334" fmla="*/ 88 w 10785"/>
                  <a:gd name="connsiteY2334" fmla="*/ 3846 h 10000"/>
                  <a:gd name="connsiteX2335" fmla="*/ 65 w 10785"/>
                  <a:gd name="connsiteY2335" fmla="*/ 3923 h 10000"/>
                  <a:gd name="connsiteX2336" fmla="*/ 78 w 10785"/>
                  <a:gd name="connsiteY2336" fmla="*/ 4026 h 10000"/>
                  <a:gd name="connsiteX2337" fmla="*/ 88 w 10785"/>
                  <a:gd name="connsiteY2337" fmla="*/ 4051 h 10000"/>
                  <a:gd name="connsiteX2338" fmla="*/ 92 w 10785"/>
                  <a:gd name="connsiteY2338" fmla="*/ 4060 h 10000"/>
                  <a:gd name="connsiteX2339" fmla="*/ 111 w 10785"/>
                  <a:gd name="connsiteY2339" fmla="*/ 4060 h 10000"/>
                  <a:gd name="connsiteX2340" fmla="*/ 124 w 10785"/>
                  <a:gd name="connsiteY2340" fmla="*/ 4085 h 10000"/>
                  <a:gd name="connsiteX2341" fmla="*/ 166 w 10785"/>
                  <a:gd name="connsiteY2341" fmla="*/ 4197 h 10000"/>
                  <a:gd name="connsiteX2342" fmla="*/ 166 w 10785"/>
                  <a:gd name="connsiteY2342" fmla="*/ 4248 h 10000"/>
                  <a:gd name="connsiteX2343" fmla="*/ 120 w 10785"/>
                  <a:gd name="connsiteY2343" fmla="*/ 4462 h 10000"/>
                  <a:gd name="connsiteX2344" fmla="*/ 120 w 10785"/>
                  <a:gd name="connsiteY2344" fmla="*/ 4513 h 10000"/>
                  <a:gd name="connsiteX2345" fmla="*/ 180 w 10785"/>
                  <a:gd name="connsiteY2345" fmla="*/ 4829 h 10000"/>
                  <a:gd name="connsiteX2346" fmla="*/ 161 w 10785"/>
                  <a:gd name="connsiteY2346" fmla="*/ 4855 h 10000"/>
                  <a:gd name="connsiteX2347" fmla="*/ 152 w 10785"/>
                  <a:gd name="connsiteY2347" fmla="*/ 4940 h 10000"/>
                  <a:gd name="connsiteX2348" fmla="*/ 161 w 10785"/>
                  <a:gd name="connsiteY2348" fmla="*/ 4966 h 10000"/>
                  <a:gd name="connsiteX2349" fmla="*/ 161 w 10785"/>
                  <a:gd name="connsiteY2349" fmla="*/ 5009 h 10000"/>
                  <a:gd name="connsiteX2350" fmla="*/ 152 w 10785"/>
                  <a:gd name="connsiteY2350" fmla="*/ 5034 h 10000"/>
                  <a:gd name="connsiteX2351" fmla="*/ 152 w 10785"/>
                  <a:gd name="connsiteY2351" fmla="*/ 5077 h 10000"/>
                  <a:gd name="connsiteX2352" fmla="*/ 171 w 10785"/>
                  <a:gd name="connsiteY2352" fmla="*/ 5094 h 10000"/>
                  <a:gd name="connsiteX2353" fmla="*/ 180 w 10785"/>
                  <a:gd name="connsiteY2353" fmla="*/ 5128 h 10000"/>
                  <a:gd name="connsiteX2354" fmla="*/ 180 w 10785"/>
                  <a:gd name="connsiteY2354" fmla="*/ 5171 h 10000"/>
                  <a:gd name="connsiteX2355" fmla="*/ 184 w 10785"/>
                  <a:gd name="connsiteY2355" fmla="*/ 5205 h 10000"/>
                  <a:gd name="connsiteX2356" fmla="*/ 207 w 10785"/>
                  <a:gd name="connsiteY2356" fmla="*/ 5239 h 10000"/>
                  <a:gd name="connsiteX2357" fmla="*/ 207 w 10785"/>
                  <a:gd name="connsiteY2357" fmla="*/ 5282 h 10000"/>
                  <a:gd name="connsiteX2358" fmla="*/ 180 w 10785"/>
                  <a:gd name="connsiteY2358" fmla="*/ 5393 h 10000"/>
                  <a:gd name="connsiteX2359" fmla="*/ 194 w 10785"/>
                  <a:gd name="connsiteY2359" fmla="*/ 5427 h 10000"/>
                  <a:gd name="connsiteX2360" fmla="*/ 198 w 10785"/>
                  <a:gd name="connsiteY2360" fmla="*/ 5462 h 10000"/>
                  <a:gd name="connsiteX2361" fmla="*/ 235 w 10785"/>
                  <a:gd name="connsiteY2361" fmla="*/ 5513 h 10000"/>
                  <a:gd name="connsiteX2362" fmla="*/ 240 w 10785"/>
                  <a:gd name="connsiteY2362" fmla="*/ 5556 h 10000"/>
                  <a:gd name="connsiteX2363" fmla="*/ 253 w 10785"/>
                  <a:gd name="connsiteY2363" fmla="*/ 5590 h 10000"/>
                  <a:gd name="connsiteX2364" fmla="*/ 258 w 10785"/>
                  <a:gd name="connsiteY2364" fmla="*/ 5573 h 10000"/>
                  <a:gd name="connsiteX2365" fmla="*/ 258 w 10785"/>
                  <a:gd name="connsiteY2365" fmla="*/ 5667 h 10000"/>
                  <a:gd name="connsiteX2366" fmla="*/ 14 w 10785"/>
                  <a:gd name="connsiteY2366" fmla="*/ 6214 h 10000"/>
                  <a:gd name="connsiteX2367" fmla="*/ 14 w 10785"/>
                  <a:gd name="connsiteY2367" fmla="*/ 6214 h 10000"/>
                  <a:gd name="connsiteX2368" fmla="*/ 37 w 10785"/>
                  <a:gd name="connsiteY2368" fmla="*/ 6214 h 10000"/>
                  <a:gd name="connsiteX2369" fmla="*/ 51 w 10785"/>
                  <a:gd name="connsiteY2369" fmla="*/ 6188 h 10000"/>
                  <a:gd name="connsiteX2370" fmla="*/ 78 w 10785"/>
                  <a:gd name="connsiteY2370" fmla="*/ 6162 h 10000"/>
                  <a:gd name="connsiteX2371" fmla="*/ 78 w 10785"/>
                  <a:gd name="connsiteY2371" fmla="*/ 6188 h 10000"/>
                  <a:gd name="connsiteX2372" fmla="*/ 74 w 10785"/>
                  <a:gd name="connsiteY2372" fmla="*/ 6197 h 10000"/>
                  <a:gd name="connsiteX2373" fmla="*/ 74 w 10785"/>
                  <a:gd name="connsiteY2373" fmla="*/ 6231 h 10000"/>
                  <a:gd name="connsiteX2374" fmla="*/ 74 w 10785"/>
                  <a:gd name="connsiteY2374" fmla="*/ 6214 h 10000"/>
                  <a:gd name="connsiteX2375" fmla="*/ 65 w 10785"/>
                  <a:gd name="connsiteY2375" fmla="*/ 6214 h 10000"/>
                  <a:gd name="connsiteX2376" fmla="*/ 65 w 10785"/>
                  <a:gd name="connsiteY2376" fmla="*/ 6248 h 10000"/>
                  <a:gd name="connsiteX2377" fmla="*/ 74 w 10785"/>
                  <a:gd name="connsiteY2377" fmla="*/ 6256 h 10000"/>
                  <a:gd name="connsiteX2378" fmla="*/ 78 w 10785"/>
                  <a:gd name="connsiteY2378" fmla="*/ 6256 h 10000"/>
                  <a:gd name="connsiteX2379" fmla="*/ 106 w 10785"/>
                  <a:gd name="connsiteY2379" fmla="*/ 6308 h 10000"/>
                  <a:gd name="connsiteX2380" fmla="*/ 138 w 10785"/>
                  <a:gd name="connsiteY2380" fmla="*/ 6299 h 10000"/>
                  <a:gd name="connsiteX2381" fmla="*/ 152 w 10785"/>
                  <a:gd name="connsiteY2381" fmla="*/ 6299 h 10000"/>
                  <a:gd name="connsiteX2382" fmla="*/ 166 w 10785"/>
                  <a:gd name="connsiteY2382" fmla="*/ 6325 h 10000"/>
                  <a:gd name="connsiteX2383" fmla="*/ 166 w 10785"/>
                  <a:gd name="connsiteY2383" fmla="*/ 6333 h 10000"/>
                  <a:gd name="connsiteX2384" fmla="*/ 171 w 10785"/>
                  <a:gd name="connsiteY2384" fmla="*/ 6350 h 10000"/>
                  <a:gd name="connsiteX2385" fmla="*/ 180 w 10785"/>
                  <a:gd name="connsiteY2385" fmla="*/ 6350 h 10000"/>
                  <a:gd name="connsiteX2386" fmla="*/ 180 w 10785"/>
                  <a:gd name="connsiteY2386" fmla="*/ 6359 h 10000"/>
                  <a:gd name="connsiteX2387" fmla="*/ 171 w 10785"/>
                  <a:gd name="connsiteY2387" fmla="*/ 6368 h 10000"/>
                  <a:gd name="connsiteX2388" fmla="*/ 106 w 10785"/>
                  <a:gd name="connsiteY2388" fmla="*/ 6350 h 10000"/>
                  <a:gd name="connsiteX2389" fmla="*/ 101 w 10785"/>
                  <a:gd name="connsiteY2389" fmla="*/ 6359 h 10000"/>
                  <a:gd name="connsiteX2390" fmla="*/ 101 w 10785"/>
                  <a:gd name="connsiteY2390" fmla="*/ 6385 h 10000"/>
                  <a:gd name="connsiteX2391" fmla="*/ 78 w 10785"/>
                  <a:gd name="connsiteY2391" fmla="*/ 6393 h 10000"/>
                  <a:gd name="connsiteX2392" fmla="*/ 74 w 10785"/>
                  <a:gd name="connsiteY2392" fmla="*/ 6385 h 10000"/>
                  <a:gd name="connsiteX2393" fmla="*/ 65 w 10785"/>
                  <a:gd name="connsiteY2393" fmla="*/ 6393 h 10000"/>
                  <a:gd name="connsiteX2394" fmla="*/ 60 w 10785"/>
                  <a:gd name="connsiteY2394" fmla="*/ 6419 h 10000"/>
                  <a:gd name="connsiteX2395" fmla="*/ 51 w 10785"/>
                  <a:gd name="connsiteY2395" fmla="*/ 6419 h 10000"/>
                  <a:gd name="connsiteX2396" fmla="*/ 46 w 10785"/>
                  <a:gd name="connsiteY2396" fmla="*/ 6410 h 10000"/>
                  <a:gd name="connsiteX2397" fmla="*/ 37 w 10785"/>
                  <a:gd name="connsiteY2397" fmla="*/ 6393 h 10000"/>
                  <a:gd name="connsiteX2398" fmla="*/ 32 w 10785"/>
                  <a:gd name="connsiteY2398" fmla="*/ 6419 h 10000"/>
                  <a:gd name="connsiteX2399" fmla="*/ 37 w 10785"/>
                  <a:gd name="connsiteY2399" fmla="*/ 6462 h 10000"/>
                  <a:gd name="connsiteX2400" fmla="*/ 46 w 10785"/>
                  <a:gd name="connsiteY2400" fmla="*/ 6462 h 10000"/>
                  <a:gd name="connsiteX2401" fmla="*/ 51 w 10785"/>
                  <a:gd name="connsiteY2401" fmla="*/ 6470 h 10000"/>
                  <a:gd name="connsiteX2402" fmla="*/ 51 w 10785"/>
                  <a:gd name="connsiteY2402" fmla="*/ 6496 h 10000"/>
                  <a:gd name="connsiteX2403" fmla="*/ 51 w 10785"/>
                  <a:gd name="connsiteY2403" fmla="*/ 6504 h 10000"/>
                  <a:gd name="connsiteX2404" fmla="*/ 37 w 10785"/>
                  <a:gd name="connsiteY2404" fmla="*/ 6530 h 10000"/>
                  <a:gd name="connsiteX2405" fmla="*/ 18 w 10785"/>
                  <a:gd name="connsiteY2405" fmla="*/ 6598 h 10000"/>
                  <a:gd name="connsiteX2406" fmla="*/ 28 w 10785"/>
                  <a:gd name="connsiteY2406" fmla="*/ 6632 h 10000"/>
                  <a:gd name="connsiteX2407" fmla="*/ 18 w 10785"/>
                  <a:gd name="connsiteY2407" fmla="*/ 6667 h 10000"/>
                  <a:gd name="connsiteX2408" fmla="*/ 28 w 10785"/>
                  <a:gd name="connsiteY2408" fmla="*/ 6692 h 10000"/>
                  <a:gd name="connsiteX2409" fmla="*/ 28 w 10785"/>
                  <a:gd name="connsiteY2409" fmla="*/ 6709 h 10000"/>
                  <a:gd name="connsiteX2410" fmla="*/ 18 w 10785"/>
                  <a:gd name="connsiteY2410" fmla="*/ 6718 h 10000"/>
                  <a:gd name="connsiteX2411" fmla="*/ 5 w 10785"/>
                  <a:gd name="connsiteY2411" fmla="*/ 6744 h 10000"/>
                  <a:gd name="connsiteX2412" fmla="*/ 0 w 10785"/>
                  <a:gd name="connsiteY2412" fmla="*/ 6769 h 10000"/>
                  <a:gd name="connsiteX2413" fmla="*/ 5 w 10785"/>
                  <a:gd name="connsiteY2413" fmla="*/ 6778 h 10000"/>
                  <a:gd name="connsiteX2414" fmla="*/ 32 w 10785"/>
                  <a:gd name="connsiteY2414" fmla="*/ 6778 h 10000"/>
                  <a:gd name="connsiteX2415" fmla="*/ 46 w 10785"/>
                  <a:gd name="connsiteY2415" fmla="*/ 6821 h 10000"/>
                  <a:gd name="connsiteX2416" fmla="*/ 46 w 10785"/>
                  <a:gd name="connsiteY2416" fmla="*/ 6855 h 10000"/>
                  <a:gd name="connsiteX2417" fmla="*/ 32 w 10785"/>
                  <a:gd name="connsiteY2417" fmla="*/ 6855 h 10000"/>
                  <a:gd name="connsiteX2418" fmla="*/ 14 w 10785"/>
                  <a:gd name="connsiteY2418" fmla="*/ 6821 h 10000"/>
                  <a:gd name="connsiteX2419" fmla="*/ 14 w 10785"/>
                  <a:gd name="connsiteY2419" fmla="*/ 6846 h 10000"/>
                  <a:gd name="connsiteX2420" fmla="*/ 0 w 10785"/>
                  <a:gd name="connsiteY2420" fmla="*/ 6897 h 10000"/>
                  <a:gd name="connsiteX2421" fmla="*/ 0 w 10785"/>
                  <a:gd name="connsiteY2421" fmla="*/ 6915 h 10000"/>
                  <a:gd name="connsiteX2422" fmla="*/ 5 w 10785"/>
                  <a:gd name="connsiteY2422" fmla="*/ 6932 h 10000"/>
                  <a:gd name="connsiteX2423" fmla="*/ 14 w 10785"/>
                  <a:gd name="connsiteY2423" fmla="*/ 6940 h 10000"/>
                  <a:gd name="connsiteX2424" fmla="*/ 18 w 10785"/>
                  <a:gd name="connsiteY2424" fmla="*/ 6957 h 10000"/>
                  <a:gd name="connsiteX2425" fmla="*/ 28 w 10785"/>
                  <a:gd name="connsiteY2425" fmla="*/ 6966 h 10000"/>
                  <a:gd name="connsiteX2426" fmla="*/ 28 w 10785"/>
                  <a:gd name="connsiteY2426" fmla="*/ 6983 h 10000"/>
                  <a:gd name="connsiteX2427" fmla="*/ 18 w 10785"/>
                  <a:gd name="connsiteY2427" fmla="*/ 7051 h 10000"/>
                  <a:gd name="connsiteX2428" fmla="*/ 28 w 10785"/>
                  <a:gd name="connsiteY2428" fmla="*/ 7068 h 10000"/>
                  <a:gd name="connsiteX2429" fmla="*/ 32 w 10785"/>
                  <a:gd name="connsiteY2429" fmla="*/ 7068 h 10000"/>
                  <a:gd name="connsiteX2430" fmla="*/ 32 w 10785"/>
                  <a:gd name="connsiteY2430" fmla="*/ 7094 h 10000"/>
                  <a:gd name="connsiteX2431" fmla="*/ 60 w 10785"/>
                  <a:gd name="connsiteY2431" fmla="*/ 7162 h 10000"/>
                  <a:gd name="connsiteX2432" fmla="*/ 60 w 10785"/>
                  <a:gd name="connsiteY2432" fmla="*/ 7231 h 10000"/>
                  <a:gd name="connsiteX2433" fmla="*/ 60 w 10785"/>
                  <a:gd name="connsiteY2433" fmla="*/ 7239 h 10000"/>
                  <a:gd name="connsiteX2434" fmla="*/ 78 w 10785"/>
                  <a:gd name="connsiteY2434" fmla="*/ 7239 h 10000"/>
                  <a:gd name="connsiteX2435" fmla="*/ 88 w 10785"/>
                  <a:gd name="connsiteY2435" fmla="*/ 7239 h 10000"/>
                  <a:gd name="connsiteX2436" fmla="*/ 92 w 10785"/>
                  <a:gd name="connsiteY2436" fmla="*/ 7256 h 10000"/>
                  <a:gd name="connsiteX2437" fmla="*/ 111 w 10785"/>
                  <a:gd name="connsiteY2437" fmla="*/ 7256 h 10000"/>
                  <a:gd name="connsiteX2438" fmla="*/ 120 w 10785"/>
                  <a:gd name="connsiteY2438" fmla="*/ 7256 h 10000"/>
                  <a:gd name="connsiteX2439" fmla="*/ 134 w 10785"/>
                  <a:gd name="connsiteY2439" fmla="*/ 7282 h 10000"/>
                  <a:gd name="connsiteX2440" fmla="*/ 134 w 10785"/>
                  <a:gd name="connsiteY2440" fmla="*/ 7316 h 10000"/>
                  <a:gd name="connsiteX2441" fmla="*/ 152 w 10785"/>
                  <a:gd name="connsiteY2441" fmla="*/ 7299 h 10000"/>
                  <a:gd name="connsiteX2442" fmla="*/ 161 w 10785"/>
                  <a:gd name="connsiteY2442" fmla="*/ 7299 h 10000"/>
                  <a:gd name="connsiteX2443" fmla="*/ 166 w 10785"/>
                  <a:gd name="connsiteY2443" fmla="*/ 7291 h 10000"/>
                  <a:gd name="connsiteX2444" fmla="*/ 194 w 10785"/>
                  <a:gd name="connsiteY2444" fmla="*/ 7291 h 10000"/>
                  <a:gd name="connsiteX2445" fmla="*/ 207 w 10785"/>
                  <a:gd name="connsiteY2445" fmla="*/ 7299 h 10000"/>
                  <a:gd name="connsiteX2446" fmla="*/ 221 w 10785"/>
                  <a:gd name="connsiteY2446" fmla="*/ 7342 h 10000"/>
                  <a:gd name="connsiteX2447" fmla="*/ 235 w 10785"/>
                  <a:gd name="connsiteY2447" fmla="*/ 7342 h 10000"/>
                  <a:gd name="connsiteX2448" fmla="*/ 235 w 10785"/>
                  <a:gd name="connsiteY2448" fmla="*/ 7368 h 10000"/>
                  <a:gd name="connsiteX2449" fmla="*/ 226 w 10785"/>
                  <a:gd name="connsiteY2449" fmla="*/ 7393 h 10000"/>
                  <a:gd name="connsiteX2450" fmla="*/ 226 w 10785"/>
                  <a:gd name="connsiteY2450" fmla="*/ 7402 h 10000"/>
                  <a:gd name="connsiteX2451" fmla="*/ 235 w 10785"/>
                  <a:gd name="connsiteY2451" fmla="*/ 7419 h 10000"/>
                  <a:gd name="connsiteX2452" fmla="*/ 240 w 10785"/>
                  <a:gd name="connsiteY2452" fmla="*/ 7436 h 10000"/>
                  <a:gd name="connsiteX2453" fmla="*/ 235 w 10785"/>
                  <a:gd name="connsiteY2453" fmla="*/ 7462 h 10000"/>
                  <a:gd name="connsiteX2454" fmla="*/ 226 w 10785"/>
                  <a:gd name="connsiteY2454" fmla="*/ 7479 h 10000"/>
                  <a:gd name="connsiteX2455" fmla="*/ 226 w 10785"/>
                  <a:gd name="connsiteY2455" fmla="*/ 7504 h 10000"/>
                  <a:gd name="connsiteX2456" fmla="*/ 226 w 10785"/>
                  <a:gd name="connsiteY2456" fmla="*/ 7513 h 10000"/>
                  <a:gd name="connsiteX2457" fmla="*/ 240 w 10785"/>
                  <a:gd name="connsiteY2457" fmla="*/ 7538 h 10000"/>
                  <a:gd name="connsiteX2458" fmla="*/ 267 w 10785"/>
                  <a:gd name="connsiteY2458" fmla="*/ 7641 h 10000"/>
                  <a:gd name="connsiteX2459" fmla="*/ 281 w 10785"/>
                  <a:gd name="connsiteY2459" fmla="*/ 7667 h 10000"/>
                  <a:gd name="connsiteX2460" fmla="*/ 286 w 10785"/>
                  <a:gd name="connsiteY2460" fmla="*/ 7675 h 10000"/>
                  <a:gd name="connsiteX2461" fmla="*/ 286 w 10785"/>
                  <a:gd name="connsiteY2461" fmla="*/ 7692 h 10000"/>
                  <a:gd name="connsiteX2462" fmla="*/ 286 w 10785"/>
                  <a:gd name="connsiteY2462" fmla="*/ 7709 h 10000"/>
                  <a:gd name="connsiteX2463" fmla="*/ 295 w 10785"/>
                  <a:gd name="connsiteY2463" fmla="*/ 7726 h 10000"/>
                  <a:gd name="connsiteX2464" fmla="*/ 318 w 10785"/>
                  <a:gd name="connsiteY2464" fmla="*/ 7709 h 10000"/>
                  <a:gd name="connsiteX2465" fmla="*/ 327 w 10785"/>
                  <a:gd name="connsiteY2465" fmla="*/ 7726 h 10000"/>
                  <a:gd name="connsiteX2466" fmla="*/ 341 w 10785"/>
                  <a:gd name="connsiteY2466" fmla="*/ 7735 h 10000"/>
                  <a:gd name="connsiteX2467" fmla="*/ 332 w 10785"/>
                  <a:gd name="connsiteY2467" fmla="*/ 7752 h 10000"/>
                  <a:gd name="connsiteX2468" fmla="*/ 341 w 10785"/>
                  <a:gd name="connsiteY2468" fmla="*/ 7761 h 10000"/>
                  <a:gd name="connsiteX2469" fmla="*/ 355 w 10785"/>
                  <a:gd name="connsiteY2469" fmla="*/ 7761 h 10000"/>
                  <a:gd name="connsiteX2470" fmla="*/ 355 w 10785"/>
                  <a:gd name="connsiteY2470" fmla="*/ 7803 h 10000"/>
                  <a:gd name="connsiteX2471" fmla="*/ 313 w 10785"/>
                  <a:gd name="connsiteY2471" fmla="*/ 7846 h 10000"/>
                  <a:gd name="connsiteX2472" fmla="*/ 295 w 10785"/>
                  <a:gd name="connsiteY2472" fmla="*/ 7846 h 10000"/>
                  <a:gd name="connsiteX2473" fmla="*/ 281 w 10785"/>
                  <a:gd name="connsiteY2473" fmla="*/ 7821 h 10000"/>
                  <a:gd name="connsiteX2474" fmla="*/ 272 w 10785"/>
                  <a:gd name="connsiteY2474" fmla="*/ 7821 h 10000"/>
                  <a:gd name="connsiteX2475" fmla="*/ 267 w 10785"/>
                  <a:gd name="connsiteY2475" fmla="*/ 7838 h 10000"/>
                  <a:gd name="connsiteX2476" fmla="*/ 258 w 10785"/>
                  <a:gd name="connsiteY2476" fmla="*/ 7846 h 10000"/>
                  <a:gd name="connsiteX2477" fmla="*/ 253 w 10785"/>
                  <a:gd name="connsiteY2477" fmla="*/ 7863 h 10000"/>
                  <a:gd name="connsiteX2478" fmla="*/ 253 w 10785"/>
                  <a:gd name="connsiteY2478" fmla="*/ 7872 h 10000"/>
                  <a:gd name="connsiteX2479" fmla="*/ 267 w 10785"/>
                  <a:gd name="connsiteY2479" fmla="*/ 7897 h 10000"/>
                  <a:gd name="connsiteX2480" fmla="*/ 272 w 10785"/>
                  <a:gd name="connsiteY2480" fmla="*/ 7915 h 10000"/>
                  <a:gd name="connsiteX2481" fmla="*/ 267 w 10785"/>
                  <a:gd name="connsiteY2481" fmla="*/ 7940 h 10000"/>
                  <a:gd name="connsiteX2482" fmla="*/ 272 w 10785"/>
                  <a:gd name="connsiteY2482" fmla="*/ 7949 h 10000"/>
                  <a:gd name="connsiteX2483" fmla="*/ 272 w 10785"/>
                  <a:gd name="connsiteY2483" fmla="*/ 7957 h 10000"/>
                  <a:gd name="connsiteX2484" fmla="*/ 281 w 10785"/>
                  <a:gd name="connsiteY2484" fmla="*/ 7974 h 10000"/>
                  <a:gd name="connsiteX2485" fmla="*/ 286 w 10785"/>
                  <a:gd name="connsiteY2485" fmla="*/ 7983 h 10000"/>
                  <a:gd name="connsiteX2486" fmla="*/ 281 w 10785"/>
                  <a:gd name="connsiteY2486" fmla="*/ 8009 h 10000"/>
                  <a:gd name="connsiteX2487" fmla="*/ 286 w 10785"/>
                  <a:gd name="connsiteY2487" fmla="*/ 8060 h 10000"/>
                  <a:gd name="connsiteX2488" fmla="*/ 286 w 10785"/>
                  <a:gd name="connsiteY2488" fmla="*/ 8060 h 10000"/>
                  <a:gd name="connsiteX2489" fmla="*/ 295 w 10785"/>
                  <a:gd name="connsiteY2489" fmla="*/ 8077 h 10000"/>
                  <a:gd name="connsiteX2490" fmla="*/ 309 w 10785"/>
                  <a:gd name="connsiteY2490" fmla="*/ 8077 h 10000"/>
                  <a:gd name="connsiteX2491" fmla="*/ 313 w 10785"/>
                  <a:gd name="connsiteY2491" fmla="*/ 8060 h 10000"/>
                  <a:gd name="connsiteX2492" fmla="*/ 318 w 10785"/>
                  <a:gd name="connsiteY2492" fmla="*/ 8051 h 10000"/>
                  <a:gd name="connsiteX2493" fmla="*/ 318 w 10785"/>
                  <a:gd name="connsiteY2493" fmla="*/ 8034 h 10000"/>
                  <a:gd name="connsiteX2494" fmla="*/ 332 w 10785"/>
                  <a:gd name="connsiteY2494" fmla="*/ 8026 h 10000"/>
                  <a:gd name="connsiteX2495" fmla="*/ 359 w 10785"/>
                  <a:gd name="connsiteY2495" fmla="*/ 8034 h 10000"/>
                  <a:gd name="connsiteX2496" fmla="*/ 378 w 10785"/>
                  <a:gd name="connsiteY2496" fmla="*/ 8026 h 10000"/>
                  <a:gd name="connsiteX2497" fmla="*/ 401 w 10785"/>
                  <a:gd name="connsiteY2497" fmla="*/ 8026 h 10000"/>
                  <a:gd name="connsiteX2498" fmla="*/ 419 w 10785"/>
                  <a:gd name="connsiteY2498" fmla="*/ 8009 h 10000"/>
                  <a:gd name="connsiteX2499" fmla="*/ 433 w 10785"/>
                  <a:gd name="connsiteY2499" fmla="*/ 8034 h 10000"/>
                  <a:gd name="connsiteX2500" fmla="*/ 442 w 10785"/>
                  <a:gd name="connsiteY2500" fmla="*/ 8060 h 10000"/>
                  <a:gd name="connsiteX2501" fmla="*/ 442 w 10785"/>
                  <a:gd name="connsiteY2501" fmla="*/ 8077 h 10000"/>
                  <a:gd name="connsiteX2502" fmla="*/ 461 w 10785"/>
                  <a:gd name="connsiteY2502" fmla="*/ 8111 h 10000"/>
                  <a:gd name="connsiteX2503" fmla="*/ 461 w 10785"/>
                  <a:gd name="connsiteY2503" fmla="*/ 8137 h 10000"/>
                  <a:gd name="connsiteX2504" fmla="*/ 447 w 10785"/>
                  <a:gd name="connsiteY2504" fmla="*/ 8145 h 10000"/>
                  <a:gd name="connsiteX2505" fmla="*/ 442 w 10785"/>
                  <a:gd name="connsiteY2505" fmla="*/ 8145 h 10000"/>
                  <a:gd name="connsiteX2506" fmla="*/ 442 w 10785"/>
                  <a:gd name="connsiteY2506" fmla="*/ 8162 h 10000"/>
                  <a:gd name="connsiteX2507" fmla="*/ 442 w 10785"/>
                  <a:gd name="connsiteY2507" fmla="*/ 8171 h 10000"/>
                  <a:gd name="connsiteX2508" fmla="*/ 447 w 10785"/>
                  <a:gd name="connsiteY2508" fmla="*/ 8214 h 10000"/>
                  <a:gd name="connsiteX2509" fmla="*/ 465 w 10785"/>
                  <a:gd name="connsiteY2509" fmla="*/ 8231 h 10000"/>
                  <a:gd name="connsiteX2510" fmla="*/ 488 w 10785"/>
                  <a:gd name="connsiteY2510" fmla="*/ 8231 h 10000"/>
                  <a:gd name="connsiteX2511" fmla="*/ 493 w 10785"/>
                  <a:gd name="connsiteY2511" fmla="*/ 8231 h 10000"/>
                  <a:gd name="connsiteX2512" fmla="*/ 502 w 10785"/>
                  <a:gd name="connsiteY2512" fmla="*/ 8231 h 10000"/>
                  <a:gd name="connsiteX2513" fmla="*/ 507 w 10785"/>
                  <a:gd name="connsiteY2513" fmla="*/ 8248 h 10000"/>
                  <a:gd name="connsiteX2514" fmla="*/ 521 w 10785"/>
                  <a:gd name="connsiteY2514" fmla="*/ 8274 h 10000"/>
                  <a:gd name="connsiteX2515" fmla="*/ 525 w 10785"/>
                  <a:gd name="connsiteY2515" fmla="*/ 8333 h 10000"/>
                  <a:gd name="connsiteX2516" fmla="*/ 525 w 10785"/>
                  <a:gd name="connsiteY2516" fmla="*/ 8359 h 10000"/>
                  <a:gd name="connsiteX2517" fmla="*/ 525 w 10785"/>
                  <a:gd name="connsiteY2517" fmla="*/ 8368 h 10000"/>
                  <a:gd name="connsiteX2518" fmla="*/ 548 w 10785"/>
                  <a:gd name="connsiteY2518" fmla="*/ 8393 h 10000"/>
                  <a:gd name="connsiteX2519" fmla="*/ 553 w 10785"/>
                  <a:gd name="connsiteY2519" fmla="*/ 8385 h 10000"/>
                  <a:gd name="connsiteX2520" fmla="*/ 562 w 10785"/>
                  <a:gd name="connsiteY2520" fmla="*/ 8385 h 10000"/>
                  <a:gd name="connsiteX2521" fmla="*/ 576 w 10785"/>
                  <a:gd name="connsiteY2521" fmla="*/ 8385 h 10000"/>
                  <a:gd name="connsiteX2522" fmla="*/ 585 w 10785"/>
                  <a:gd name="connsiteY2522" fmla="*/ 8410 h 10000"/>
                  <a:gd name="connsiteX2523" fmla="*/ 594 w 10785"/>
                  <a:gd name="connsiteY2523" fmla="*/ 8410 h 10000"/>
                  <a:gd name="connsiteX2524" fmla="*/ 608 w 10785"/>
                  <a:gd name="connsiteY2524" fmla="*/ 8410 h 10000"/>
                  <a:gd name="connsiteX2525" fmla="*/ 654 w 10785"/>
                  <a:gd name="connsiteY2525" fmla="*/ 8385 h 10000"/>
                  <a:gd name="connsiteX2526" fmla="*/ 659 w 10785"/>
                  <a:gd name="connsiteY2526" fmla="*/ 8385 h 10000"/>
                  <a:gd name="connsiteX2527" fmla="*/ 696 w 10785"/>
                  <a:gd name="connsiteY2527" fmla="*/ 8470 h 10000"/>
                  <a:gd name="connsiteX2528" fmla="*/ 700 w 10785"/>
                  <a:gd name="connsiteY2528" fmla="*/ 8470 h 10000"/>
                  <a:gd name="connsiteX2529" fmla="*/ 710 w 10785"/>
                  <a:gd name="connsiteY2529" fmla="*/ 8462 h 10000"/>
                  <a:gd name="connsiteX2530" fmla="*/ 714 w 10785"/>
                  <a:gd name="connsiteY2530" fmla="*/ 8462 h 10000"/>
                  <a:gd name="connsiteX2531" fmla="*/ 724 w 10785"/>
                  <a:gd name="connsiteY2531" fmla="*/ 8470 h 10000"/>
                  <a:gd name="connsiteX2532" fmla="*/ 733 w 10785"/>
                  <a:gd name="connsiteY2532" fmla="*/ 8470 h 10000"/>
                  <a:gd name="connsiteX2533" fmla="*/ 742 w 10785"/>
                  <a:gd name="connsiteY2533" fmla="*/ 8487 h 10000"/>
                  <a:gd name="connsiteX2534" fmla="*/ 747 w 10785"/>
                  <a:gd name="connsiteY2534" fmla="*/ 8496 h 10000"/>
                  <a:gd name="connsiteX2535" fmla="*/ 770 w 10785"/>
                  <a:gd name="connsiteY2535" fmla="*/ 8496 h 10000"/>
                  <a:gd name="connsiteX2536" fmla="*/ 783 w 10785"/>
                  <a:gd name="connsiteY2536" fmla="*/ 8521 h 10000"/>
                  <a:gd name="connsiteX2537" fmla="*/ 797 w 10785"/>
                  <a:gd name="connsiteY2537" fmla="*/ 8521 h 10000"/>
                  <a:gd name="connsiteX2538" fmla="*/ 806 w 10785"/>
                  <a:gd name="connsiteY2538" fmla="*/ 8530 h 10000"/>
                  <a:gd name="connsiteX2539" fmla="*/ 829 w 10785"/>
                  <a:gd name="connsiteY2539" fmla="*/ 8547 h 10000"/>
                  <a:gd name="connsiteX2540" fmla="*/ 834 w 10785"/>
                  <a:gd name="connsiteY2540" fmla="*/ 8556 h 10000"/>
                  <a:gd name="connsiteX2541" fmla="*/ 829 w 10785"/>
                  <a:gd name="connsiteY2541" fmla="*/ 8556 h 10000"/>
                  <a:gd name="connsiteX2542" fmla="*/ 834 w 10785"/>
                  <a:gd name="connsiteY2542" fmla="*/ 8607 h 10000"/>
                  <a:gd name="connsiteX2543" fmla="*/ 829 w 10785"/>
                  <a:gd name="connsiteY2543" fmla="*/ 8641 h 10000"/>
                  <a:gd name="connsiteX2544" fmla="*/ 806 w 10785"/>
                  <a:gd name="connsiteY2544" fmla="*/ 8658 h 10000"/>
                  <a:gd name="connsiteX2545" fmla="*/ 816 w 10785"/>
                  <a:gd name="connsiteY2545" fmla="*/ 8667 h 10000"/>
                  <a:gd name="connsiteX2546" fmla="*/ 820 w 10785"/>
                  <a:gd name="connsiteY2546" fmla="*/ 8667 h 10000"/>
                  <a:gd name="connsiteX2547" fmla="*/ 829 w 10785"/>
                  <a:gd name="connsiteY2547" fmla="*/ 8684 h 10000"/>
                  <a:gd name="connsiteX2548" fmla="*/ 806 w 10785"/>
                  <a:gd name="connsiteY2548" fmla="*/ 8692 h 10000"/>
                  <a:gd name="connsiteX2549" fmla="*/ 802 w 10785"/>
                  <a:gd name="connsiteY2549" fmla="*/ 8709 h 10000"/>
                  <a:gd name="connsiteX2550" fmla="*/ 802 w 10785"/>
                  <a:gd name="connsiteY2550" fmla="*/ 8735 h 10000"/>
                  <a:gd name="connsiteX2551" fmla="*/ 806 w 10785"/>
                  <a:gd name="connsiteY2551" fmla="*/ 8744 h 10000"/>
                  <a:gd name="connsiteX2552" fmla="*/ 816 w 10785"/>
                  <a:gd name="connsiteY2552" fmla="*/ 8752 h 10000"/>
                  <a:gd name="connsiteX2553" fmla="*/ 806 w 10785"/>
                  <a:gd name="connsiteY2553" fmla="*/ 8778 h 10000"/>
                  <a:gd name="connsiteX2554" fmla="*/ 820 w 10785"/>
                  <a:gd name="connsiteY2554" fmla="*/ 8778 h 10000"/>
                  <a:gd name="connsiteX2555" fmla="*/ 806 w 10785"/>
                  <a:gd name="connsiteY2555" fmla="*/ 8880 h 10000"/>
                  <a:gd name="connsiteX2556" fmla="*/ 797 w 10785"/>
                  <a:gd name="connsiteY2556" fmla="*/ 8880 h 10000"/>
                  <a:gd name="connsiteX2557" fmla="*/ 783 w 10785"/>
                  <a:gd name="connsiteY2557" fmla="*/ 8872 h 10000"/>
                  <a:gd name="connsiteX2558" fmla="*/ 770 w 10785"/>
                  <a:gd name="connsiteY2558" fmla="*/ 8880 h 10000"/>
                  <a:gd name="connsiteX2559" fmla="*/ 756 w 10785"/>
                  <a:gd name="connsiteY2559" fmla="*/ 8855 h 10000"/>
                  <a:gd name="connsiteX2560" fmla="*/ 733 w 10785"/>
                  <a:gd name="connsiteY2560" fmla="*/ 8906 h 10000"/>
                  <a:gd name="connsiteX2561" fmla="*/ 714 w 10785"/>
                  <a:gd name="connsiteY2561" fmla="*/ 8915 h 10000"/>
                  <a:gd name="connsiteX2562" fmla="*/ 710 w 10785"/>
                  <a:gd name="connsiteY2562" fmla="*/ 8940 h 10000"/>
                  <a:gd name="connsiteX2563" fmla="*/ 710 w 10785"/>
                  <a:gd name="connsiteY2563" fmla="*/ 9009 h 10000"/>
                  <a:gd name="connsiteX2564" fmla="*/ 728 w 10785"/>
                  <a:gd name="connsiteY2564" fmla="*/ 8991 h 10000"/>
                  <a:gd name="connsiteX2565" fmla="*/ 733 w 10785"/>
                  <a:gd name="connsiteY2565" fmla="*/ 8991 h 10000"/>
                  <a:gd name="connsiteX2566" fmla="*/ 747 w 10785"/>
                  <a:gd name="connsiteY2566" fmla="*/ 8983 h 10000"/>
                  <a:gd name="connsiteX2567" fmla="*/ 760 w 10785"/>
                  <a:gd name="connsiteY2567" fmla="*/ 8983 h 10000"/>
                  <a:gd name="connsiteX2568" fmla="*/ 770 w 10785"/>
                  <a:gd name="connsiteY2568" fmla="*/ 8983 h 10000"/>
                  <a:gd name="connsiteX2569" fmla="*/ 770 w 10785"/>
                  <a:gd name="connsiteY2569" fmla="*/ 8991 h 10000"/>
                  <a:gd name="connsiteX2570" fmla="*/ 783 w 10785"/>
                  <a:gd name="connsiteY2570" fmla="*/ 8991 h 10000"/>
                  <a:gd name="connsiteX2571" fmla="*/ 783 w 10785"/>
                  <a:gd name="connsiteY2571" fmla="*/ 9009 h 10000"/>
                  <a:gd name="connsiteX2572" fmla="*/ 783 w 10785"/>
                  <a:gd name="connsiteY2572" fmla="*/ 9017 h 10000"/>
                  <a:gd name="connsiteX2573" fmla="*/ 770 w 10785"/>
                  <a:gd name="connsiteY2573" fmla="*/ 9017 h 10000"/>
                  <a:gd name="connsiteX2574" fmla="*/ 724 w 10785"/>
                  <a:gd name="connsiteY2574" fmla="*/ 9051 h 10000"/>
                  <a:gd name="connsiteX2575" fmla="*/ 724 w 10785"/>
                  <a:gd name="connsiteY2575" fmla="*/ 9068 h 10000"/>
                  <a:gd name="connsiteX2576" fmla="*/ 728 w 10785"/>
                  <a:gd name="connsiteY2576" fmla="*/ 9077 h 10000"/>
                  <a:gd name="connsiteX2577" fmla="*/ 724 w 10785"/>
                  <a:gd name="connsiteY2577" fmla="*/ 9077 h 10000"/>
                  <a:gd name="connsiteX2578" fmla="*/ 710 w 10785"/>
                  <a:gd name="connsiteY2578" fmla="*/ 9077 h 10000"/>
                  <a:gd name="connsiteX2579" fmla="*/ 682 w 10785"/>
                  <a:gd name="connsiteY2579" fmla="*/ 9077 h 10000"/>
                  <a:gd name="connsiteX2580" fmla="*/ 673 w 10785"/>
                  <a:gd name="connsiteY2580" fmla="*/ 9103 h 10000"/>
                  <a:gd name="connsiteX2581" fmla="*/ 687 w 10785"/>
                  <a:gd name="connsiteY2581" fmla="*/ 9128 h 10000"/>
                  <a:gd name="connsiteX2582" fmla="*/ 700 w 10785"/>
                  <a:gd name="connsiteY2582" fmla="*/ 9128 h 10000"/>
                  <a:gd name="connsiteX2583" fmla="*/ 728 w 10785"/>
                  <a:gd name="connsiteY2583" fmla="*/ 9179 h 10000"/>
                  <a:gd name="connsiteX2584" fmla="*/ 724 w 10785"/>
                  <a:gd name="connsiteY2584" fmla="*/ 9188 h 10000"/>
                  <a:gd name="connsiteX2585" fmla="*/ 710 w 10785"/>
                  <a:gd name="connsiteY2585" fmla="*/ 9179 h 10000"/>
                  <a:gd name="connsiteX2586" fmla="*/ 700 w 10785"/>
                  <a:gd name="connsiteY2586" fmla="*/ 9205 h 10000"/>
                  <a:gd name="connsiteX2587" fmla="*/ 696 w 10785"/>
                  <a:gd name="connsiteY2587" fmla="*/ 9205 h 10000"/>
                  <a:gd name="connsiteX2588" fmla="*/ 654 w 10785"/>
                  <a:gd name="connsiteY2588" fmla="*/ 9299 h 10000"/>
                  <a:gd name="connsiteX2589" fmla="*/ 622 w 10785"/>
                  <a:gd name="connsiteY2589" fmla="*/ 9299 h 10000"/>
                  <a:gd name="connsiteX2590" fmla="*/ 613 w 10785"/>
                  <a:gd name="connsiteY2590" fmla="*/ 9316 h 10000"/>
                  <a:gd name="connsiteX2591" fmla="*/ 613 w 10785"/>
                  <a:gd name="connsiteY2591" fmla="*/ 9325 h 10000"/>
                  <a:gd name="connsiteX2592" fmla="*/ 608 w 10785"/>
                  <a:gd name="connsiteY2592" fmla="*/ 9342 h 10000"/>
                  <a:gd name="connsiteX2593" fmla="*/ 636 w 10785"/>
                  <a:gd name="connsiteY2593" fmla="*/ 9376 h 10000"/>
                  <a:gd name="connsiteX2594" fmla="*/ 641 w 10785"/>
                  <a:gd name="connsiteY2594" fmla="*/ 9402 h 10000"/>
                  <a:gd name="connsiteX2595" fmla="*/ 654 w 10785"/>
                  <a:gd name="connsiteY2595" fmla="*/ 9427 h 10000"/>
                  <a:gd name="connsiteX2596" fmla="*/ 668 w 10785"/>
                  <a:gd name="connsiteY2596" fmla="*/ 9427 h 10000"/>
                  <a:gd name="connsiteX2597" fmla="*/ 668 w 10785"/>
                  <a:gd name="connsiteY2597" fmla="*/ 9427 h 10000"/>
                  <a:gd name="connsiteX2598" fmla="*/ 774 w 10785"/>
                  <a:gd name="connsiteY2598" fmla="*/ 9547 h 10000"/>
                  <a:gd name="connsiteX2599" fmla="*/ 797 w 10785"/>
                  <a:gd name="connsiteY2599" fmla="*/ 9598 h 10000"/>
                  <a:gd name="connsiteX2600" fmla="*/ 802 w 10785"/>
                  <a:gd name="connsiteY2600" fmla="*/ 9598 h 10000"/>
                  <a:gd name="connsiteX2601" fmla="*/ 816 w 10785"/>
                  <a:gd name="connsiteY2601" fmla="*/ 9624 h 10000"/>
                  <a:gd name="connsiteX2602" fmla="*/ 843 w 10785"/>
                  <a:gd name="connsiteY2602" fmla="*/ 9615 h 10000"/>
                  <a:gd name="connsiteX2603" fmla="*/ 857 w 10785"/>
                  <a:gd name="connsiteY2603" fmla="*/ 9624 h 10000"/>
                  <a:gd name="connsiteX2604" fmla="*/ 862 w 10785"/>
                  <a:gd name="connsiteY2604" fmla="*/ 9615 h 10000"/>
                  <a:gd name="connsiteX2605" fmla="*/ 880 w 10785"/>
                  <a:gd name="connsiteY2605" fmla="*/ 9624 h 10000"/>
                  <a:gd name="connsiteX2606" fmla="*/ 889 w 10785"/>
                  <a:gd name="connsiteY2606" fmla="*/ 9641 h 10000"/>
                  <a:gd name="connsiteX2607" fmla="*/ 935 w 10785"/>
                  <a:gd name="connsiteY2607" fmla="*/ 9675 h 10000"/>
                  <a:gd name="connsiteX2608" fmla="*/ 977 w 10785"/>
                  <a:gd name="connsiteY2608" fmla="*/ 9667 h 10000"/>
                  <a:gd name="connsiteX2609" fmla="*/ 995 w 10785"/>
                  <a:gd name="connsiteY2609" fmla="*/ 9675 h 10000"/>
                  <a:gd name="connsiteX2610" fmla="*/ 1014 w 10785"/>
                  <a:gd name="connsiteY2610" fmla="*/ 9675 h 10000"/>
                  <a:gd name="connsiteX2611" fmla="*/ 1069 w 10785"/>
                  <a:gd name="connsiteY2611" fmla="*/ 9752 h 10000"/>
                  <a:gd name="connsiteX2612" fmla="*/ 1074 w 10785"/>
                  <a:gd name="connsiteY2612" fmla="*/ 9761 h 10000"/>
                  <a:gd name="connsiteX2613" fmla="*/ 1083 w 10785"/>
                  <a:gd name="connsiteY2613" fmla="*/ 9778 h 10000"/>
                  <a:gd name="connsiteX2614" fmla="*/ 1115 w 10785"/>
                  <a:gd name="connsiteY2614" fmla="*/ 9752 h 10000"/>
                  <a:gd name="connsiteX2615" fmla="*/ 1129 w 10785"/>
                  <a:gd name="connsiteY2615" fmla="*/ 9752 h 10000"/>
                  <a:gd name="connsiteX2616" fmla="*/ 1138 w 10785"/>
                  <a:gd name="connsiteY2616" fmla="*/ 9761 h 10000"/>
                  <a:gd name="connsiteX2617" fmla="*/ 1143 w 10785"/>
                  <a:gd name="connsiteY2617" fmla="*/ 9752 h 10000"/>
                  <a:gd name="connsiteX2618" fmla="*/ 1161 w 10785"/>
                  <a:gd name="connsiteY2618" fmla="*/ 9761 h 10000"/>
                  <a:gd name="connsiteX2619" fmla="*/ 1171 w 10785"/>
                  <a:gd name="connsiteY2619" fmla="*/ 9778 h 10000"/>
                  <a:gd name="connsiteX2620" fmla="*/ 1175 w 10785"/>
                  <a:gd name="connsiteY2620" fmla="*/ 9778 h 10000"/>
                  <a:gd name="connsiteX2621" fmla="*/ 1189 w 10785"/>
                  <a:gd name="connsiteY2621" fmla="*/ 9778 h 10000"/>
                  <a:gd name="connsiteX2622" fmla="*/ 1198 w 10785"/>
                  <a:gd name="connsiteY2622" fmla="*/ 9786 h 10000"/>
                  <a:gd name="connsiteX2623" fmla="*/ 1203 w 10785"/>
                  <a:gd name="connsiteY2623" fmla="*/ 9803 h 10000"/>
                  <a:gd name="connsiteX2624" fmla="*/ 1198 w 10785"/>
                  <a:gd name="connsiteY2624" fmla="*/ 9838 h 10000"/>
                  <a:gd name="connsiteX2625" fmla="*/ 1212 w 10785"/>
                  <a:gd name="connsiteY2625" fmla="*/ 9863 h 10000"/>
                  <a:gd name="connsiteX2626" fmla="*/ 1230 w 10785"/>
                  <a:gd name="connsiteY2626" fmla="*/ 9872 h 10000"/>
                  <a:gd name="connsiteX2627" fmla="*/ 1249 w 10785"/>
                  <a:gd name="connsiteY2627" fmla="*/ 9897 h 10000"/>
                  <a:gd name="connsiteX2628" fmla="*/ 1263 w 10785"/>
                  <a:gd name="connsiteY2628" fmla="*/ 9897 h 10000"/>
                  <a:gd name="connsiteX2629" fmla="*/ 1276 w 10785"/>
                  <a:gd name="connsiteY2629" fmla="*/ 9923 h 10000"/>
                  <a:gd name="connsiteX2630" fmla="*/ 1281 w 10785"/>
                  <a:gd name="connsiteY2630" fmla="*/ 9949 h 10000"/>
                  <a:gd name="connsiteX2631" fmla="*/ 1290 w 10785"/>
                  <a:gd name="connsiteY2631" fmla="*/ 9949 h 10000"/>
                  <a:gd name="connsiteX2632" fmla="*/ 1295 w 10785"/>
                  <a:gd name="connsiteY2632" fmla="*/ 10000 h 10000"/>
                  <a:gd name="connsiteX2633" fmla="*/ 1332 w 10785"/>
                  <a:gd name="connsiteY2633" fmla="*/ 10000 h 10000"/>
                  <a:gd name="connsiteX2634" fmla="*/ 1336 w 10785"/>
                  <a:gd name="connsiteY2634" fmla="*/ 10000 h 10000"/>
                  <a:gd name="connsiteX2635" fmla="*/ 1346 w 10785"/>
                  <a:gd name="connsiteY2635" fmla="*/ 9983 h 10000"/>
                  <a:gd name="connsiteX2636" fmla="*/ 1350 w 10785"/>
                  <a:gd name="connsiteY2636" fmla="*/ 9949 h 10000"/>
                  <a:gd name="connsiteX2637" fmla="*/ 1369 w 10785"/>
                  <a:gd name="connsiteY2637" fmla="*/ 9940 h 10000"/>
                  <a:gd name="connsiteX2638" fmla="*/ 1378 w 10785"/>
                  <a:gd name="connsiteY2638" fmla="*/ 9897 h 10000"/>
                  <a:gd name="connsiteX2639" fmla="*/ 1369 w 10785"/>
                  <a:gd name="connsiteY2639" fmla="*/ 9889 h 10000"/>
                  <a:gd name="connsiteX2640" fmla="*/ 1318 w 10785"/>
                  <a:gd name="connsiteY2640" fmla="*/ 9701 h 10000"/>
                  <a:gd name="connsiteX2641" fmla="*/ 1318 w 10785"/>
                  <a:gd name="connsiteY2641" fmla="*/ 9650 h 10000"/>
                  <a:gd name="connsiteX2642" fmla="*/ 1323 w 10785"/>
                  <a:gd name="connsiteY2642" fmla="*/ 9590 h 10000"/>
                  <a:gd name="connsiteX2643" fmla="*/ 1323 w 10785"/>
                  <a:gd name="connsiteY2643" fmla="*/ 9564 h 10000"/>
                  <a:gd name="connsiteX2644" fmla="*/ 1309 w 10785"/>
                  <a:gd name="connsiteY2644" fmla="*/ 9598 h 10000"/>
                  <a:gd name="connsiteX2645" fmla="*/ 1309 w 10785"/>
                  <a:gd name="connsiteY2645" fmla="*/ 9590 h 10000"/>
                  <a:gd name="connsiteX2646" fmla="*/ 1304 w 10785"/>
                  <a:gd name="connsiteY2646" fmla="*/ 9547 h 10000"/>
                  <a:gd name="connsiteX2647" fmla="*/ 1276 w 10785"/>
                  <a:gd name="connsiteY2647" fmla="*/ 9479 h 10000"/>
                  <a:gd name="connsiteX2648" fmla="*/ 1263 w 10785"/>
                  <a:gd name="connsiteY2648" fmla="*/ 9479 h 10000"/>
                  <a:gd name="connsiteX2649" fmla="*/ 1263 w 10785"/>
                  <a:gd name="connsiteY2649" fmla="*/ 9453 h 10000"/>
                  <a:gd name="connsiteX2650" fmla="*/ 1272 w 10785"/>
                  <a:gd name="connsiteY2650" fmla="*/ 9410 h 10000"/>
                  <a:gd name="connsiteX2651" fmla="*/ 1272 w 10785"/>
                  <a:gd name="connsiteY2651" fmla="*/ 9393 h 10000"/>
                  <a:gd name="connsiteX2652" fmla="*/ 1281 w 10785"/>
                  <a:gd name="connsiteY2652" fmla="*/ 9368 h 10000"/>
                  <a:gd name="connsiteX2653" fmla="*/ 1281 w 10785"/>
                  <a:gd name="connsiteY2653" fmla="*/ 9368 h 10000"/>
                  <a:gd name="connsiteX2654" fmla="*/ 1290 w 10785"/>
                  <a:gd name="connsiteY2654" fmla="*/ 9368 h 10000"/>
                  <a:gd name="connsiteX2655" fmla="*/ 1290 w 10785"/>
                  <a:gd name="connsiteY2655" fmla="*/ 9342 h 10000"/>
                  <a:gd name="connsiteX2656" fmla="*/ 1304 w 10785"/>
                  <a:gd name="connsiteY2656" fmla="*/ 9325 h 10000"/>
                  <a:gd name="connsiteX2657" fmla="*/ 1309 w 10785"/>
                  <a:gd name="connsiteY2657" fmla="*/ 9239 h 10000"/>
                  <a:gd name="connsiteX2658" fmla="*/ 1318 w 10785"/>
                  <a:gd name="connsiteY2658" fmla="*/ 9256 h 10000"/>
                  <a:gd name="connsiteX2659" fmla="*/ 1323 w 10785"/>
                  <a:gd name="connsiteY2659" fmla="*/ 9179 h 10000"/>
                  <a:gd name="connsiteX2660" fmla="*/ 1309 w 10785"/>
                  <a:gd name="connsiteY2660" fmla="*/ 9145 h 10000"/>
                  <a:gd name="connsiteX2661" fmla="*/ 1336 w 10785"/>
                  <a:gd name="connsiteY2661" fmla="*/ 9154 h 10000"/>
                  <a:gd name="connsiteX2662" fmla="*/ 1336 w 10785"/>
                  <a:gd name="connsiteY2662" fmla="*/ 9162 h 10000"/>
                  <a:gd name="connsiteX2663" fmla="*/ 1350 w 10785"/>
                  <a:gd name="connsiteY2663" fmla="*/ 9231 h 10000"/>
                  <a:gd name="connsiteX2664" fmla="*/ 1355 w 10785"/>
                  <a:gd name="connsiteY2664" fmla="*/ 9231 h 10000"/>
                  <a:gd name="connsiteX2665" fmla="*/ 1364 w 10785"/>
                  <a:gd name="connsiteY2665" fmla="*/ 9214 h 10000"/>
                  <a:gd name="connsiteX2666" fmla="*/ 1369 w 10785"/>
                  <a:gd name="connsiteY2666" fmla="*/ 9214 h 10000"/>
                  <a:gd name="connsiteX2667" fmla="*/ 1382 w 10785"/>
                  <a:gd name="connsiteY2667" fmla="*/ 9154 h 10000"/>
                  <a:gd name="connsiteX2668" fmla="*/ 1396 w 10785"/>
                  <a:gd name="connsiteY2668" fmla="*/ 9154 h 10000"/>
                  <a:gd name="connsiteX2669" fmla="*/ 1382 w 10785"/>
                  <a:gd name="connsiteY2669" fmla="*/ 9145 h 10000"/>
                  <a:gd name="connsiteX2670" fmla="*/ 1382 w 10785"/>
                  <a:gd name="connsiteY2670" fmla="*/ 9128 h 10000"/>
                  <a:gd name="connsiteX2671" fmla="*/ 1369 w 10785"/>
                  <a:gd name="connsiteY2671" fmla="*/ 9128 h 10000"/>
                  <a:gd name="connsiteX2672" fmla="*/ 1364 w 10785"/>
                  <a:gd name="connsiteY2672" fmla="*/ 9128 h 10000"/>
                  <a:gd name="connsiteX2673" fmla="*/ 1355 w 10785"/>
                  <a:gd name="connsiteY2673" fmla="*/ 9120 h 10000"/>
                  <a:gd name="connsiteX2674" fmla="*/ 1350 w 10785"/>
                  <a:gd name="connsiteY2674" fmla="*/ 9103 h 10000"/>
                  <a:gd name="connsiteX2675" fmla="*/ 1355 w 10785"/>
                  <a:gd name="connsiteY2675" fmla="*/ 9094 h 10000"/>
                  <a:gd name="connsiteX2676" fmla="*/ 1355 w 10785"/>
                  <a:gd name="connsiteY2676" fmla="*/ 9068 h 10000"/>
                  <a:gd name="connsiteX2677" fmla="*/ 1369 w 10785"/>
                  <a:gd name="connsiteY2677" fmla="*/ 9068 h 10000"/>
                  <a:gd name="connsiteX2678" fmla="*/ 1378 w 10785"/>
                  <a:gd name="connsiteY2678" fmla="*/ 9077 h 10000"/>
                  <a:gd name="connsiteX2679" fmla="*/ 1396 w 10785"/>
                  <a:gd name="connsiteY2679" fmla="*/ 9068 h 10000"/>
                  <a:gd name="connsiteX2680" fmla="*/ 1382 w 10785"/>
                  <a:gd name="connsiteY2680" fmla="*/ 8940 h 10000"/>
                  <a:gd name="connsiteX2681" fmla="*/ 1378 w 10785"/>
                  <a:gd name="connsiteY2681" fmla="*/ 8940 h 10000"/>
                  <a:gd name="connsiteX2682" fmla="*/ 1364 w 10785"/>
                  <a:gd name="connsiteY2682" fmla="*/ 8889 h 10000"/>
                  <a:gd name="connsiteX2683" fmla="*/ 1355 w 10785"/>
                  <a:gd name="connsiteY2683" fmla="*/ 8880 h 10000"/>
                  <a:gd name="connsiteX2684" fmla="*/ 1323 w 10785"/>
                  <a:gd name="connsiteY2684" fmla="*/ 8880 h 10000"/>
                  <a:gd name="connsiteX2685" fmla="*/ 1309 w 10785"/>
                  <a:gd name="connsiteY2685" fmla="*/ 8880 h 10000"/>
                  <a:gd name="connsiteX2686" fmla="*/ 1309 w 10785"/>
                  <a:gd name="connsiteY2686" fmla="*/ 8889 h 10000"/>
                  <a:gd name="connsiteX2687" fmla="*/ 1295 w 10785"/>
                  <a:gd name="connsiteY2687" fmla="*/ 8872 h 10000"/>
                  <a:gd name="connsiteX2688" fmla="*/ 1290 w 10785"/>
                  <a:gd name="connsiteY2688" fmla="*/ 8855 h 10000"/>
                  <a:gd name="connsiteX2689" fmla="*/ 1290 w 10785"/>
                  <a:gd name="connsiteY2689" fmla="*/ 8829 h 10000"/>
                  <a:gd name="connsiteX2690" fmla="*/ 1290 w 10785"/>
                  <a:gd name="connsiteY2690" fmla="*/ 8821 h 10000"/>
                  <a:gd name="connsiteX2691" fmla="*/ 1290 w 10785"/>
                  <a:gd name="connsiteY2691" fmla="*/ 8803 h 10000"/>
                  <a:gd name="connsiteX2692" fmla="*/ 1281 w 10785"/>
                  <a:gd name="connsiteY2692" fmla="*/ 8795 h 10000"/>
                  <a:gd name="connsiteX2693" fmla="*/ 1249 w 10785"/>
                  <a:gd name="connsiteY2693" fmla="*/ 8769 h 10000"/>
                  <a:gd name="connsiteX2694" fmla="*/ 1263 w 10785"/>
                  <a:gd name="connsiteY2694" fmla="*/ 8667 h 10000"/>
                  <a:gd name="connsiteX2695" fmla="*/ 1281 w 10785"/>
                  <a:gd name="connsiteY2695" fmla="*/ 8658 h 10000"/>
                  <a:gd name="connsiteX2696" fmla="*/ 1290 w 10785"/>
                  <a:gd name="connsiteY2696" fmla="*/ 8632 h 10000"/>
                  <a:gd name="connsiteX2697" fmla="*/ 1281 w 10785"/>
                  <a:gd name="connsiteY2697" fmla="*/ 8615 h 10000"/>
                  <a:gd name="connsiteX2698" fmla="*/ 1272 w 10785"/>
                  <a:gd name="connsiteY2698" fmla="*/ 8598 h 10000"/>
                  <a:gd name="connsiteX2699" fmla="*/ 1281 w 10785"/>
                  <a:gd name="connsiteY2699" fmla="*/ 8496 h 10000"/>
                  <a:gd name="connsiteX2700" fmla="*/ 1295 w 10785"/>
                  <a:gd name="connsiteY2700" fmla="*/ 8470 h 10000"/>
                  <a:gd name="connsiteX2701" fmla="*/ 1304 w 10785"/>
                  <a:gd name="connsiteY2701" fmla="*/ 8462 h 10000"/>
                  <a:gd name="connsiteX2702" fmla="*/ 1304 w 10785"/>
                  <a:gd name="connsiteY2702" fmla="*/ 8444 h 10000"/>
                  <a:gd name="connsiteX2703" fmla="*/ 1304 w 10785"/>
                  <a:gd name="connsiteY2703" fmla="*/ 8419 h 10000"/>
                  <a:gd name="connsiteX2704" fmla="*/ 1304 w 10785"/>
                  <a:gd name="connsiteY2704" fmla="*/ 8410 h 10000"/>
                  <a:gd name="connsiteX2705" fmla="*/ 1309 w 10785"/>
                  <a:gd name="connsiteY2705" fmla="*/ 8393 h 10000"/>
                  <a:gd name="connsiteX2706" fmla="*/ 1318 w 10785"/>
                  <a:gd name="connsiteY2706" fmla="*/ 8385 h 10000"/>
                  <a:gd name="connsiteX2707" fmla="*/ 1323 w 10785"/>
                  <a:gd name="connsiteY2707" fmla="*/ 8385 h 10000"/>
                  <a:gd name="connsiteX2708" fmla="*/ 1332 w 10785"/>
                  <a:gd name="connsiteY2708" fmla="*/ 8410 h 10000"/>
                  <a:gd name="connsiteX2709" fmla="*/ 1346 w 10785"/>
                  <a:gd name="connsiteY2709" fmla="*/ 8419 h 10000"/>
                  <a:gd name="connsiteX2710" fmla="*/ 1364 w 10785"/>
                  <a:gd name="connsiteY2710" fmla="*/ 8504 h 10000"/>
                  <a:gd name="connsiteX2711" fmla="*/ 1369 w 10785"/>
                  <a:gd name="connsiteY2711" fmla="*/ 8521 h 10000"/>
                  <a:gd name="connsiteX2712" fmla="*/ 1406 w 10785"/>
                  <a:gd name="connsiteY2712" fmla="*/ 8470 h 10000"/>
                  <a:gd name="connsiteX2713" fmla="*/ 1382 w 10785"/>
                  <a:gd name="connsiteY2713" fmla="*/ 8359 h 10000"/>
                  <a:gd name="connsiteX2714" fmla="*/ 1392 w 10785"/>
                  <a:gd name="connsiteY2714" fmla="*/ 8359 h 10000"/>
                  <a:gd name="connsiteX2715" fmla="*/ 1438 w 10785"/>
                  <a:gd name="connsiteY2715" fmla="*/ 8308 h 10000"/>
                  <a:gd name="connsiteX2716" fmla="*/ 1442 w 10785"/>
                  <a:gd name="connsiteY2716" fmla="*/ 8299 h 10000"/>
                  <a:gd name="connsiteX2717" fmla="*/ 1442 w 10785"/>
                  <a:gd name="connsiteY2717" fmla="*/ 8256 h 10000"/>
                  <a:gd name="connsiteX2718" fmla="*/ 1452 w 10785"/>
                  <a:gd name="connsiteY2718" fmla="*/ 8256 h 10000"/>
                  <a:gd name="connsiteX2719" fmla="*/ 1456 w 10785"/>
                  <a:gd name="connsiteY2719" fmla="*/ 8256 h 10000"/>
                  <a:gd name="connsiteX2720" fmla="*/ 1470 w 10785"/>
                  <a:gd name="connsiteY2720" fmla="*/ 8248 h 10000"/>
                  <a:gd name="connsiteX2721" fmla="*/ 1479 w 10785"/>
                  <a:gd name="connsiteY2721" fmla="*/ 8231 h 10000"/>
                  <a:gd name="connsiteX2722" fmla="*/ 1493 w 10785"/>
                  <a:gd name="connsiteY2722" fmla="*/ 8222 h 10000"/>
                  <a:gd name="connsiteX2723" fmla="*/ 1498 w 10785"/>
                  <a:gd name="connsiteY2723" fmla="*/ 8214 h 10000"/>
                  <a:gd name="connsiteX2724" fmla="*/ 1502 w 10785"/>
                  <a:gd name="connsiteY2724" fmla="*/ 8197 h 10000"/>
                  <a:gd name="connsiteX2725" fmla="*/ 1512 w 10785"/>
                  <a:gd name="connsiteY2725" fmla="*/ 8188 h 10000"/>
                  <a:gd name="connsiteX2726" fmla="*/ 1516 w 10785"/>
                  <a:gd name="connsiteY2726" fmla="*/ 8171 h 10000"/>
                  <a:gd name="connsiteX2727" fmla="*/ 1525 w 10785"/>
                  <a:gd name="connsiteY2727" fmla="*/ 8162 h 10000"/>
                  <a:gd name="connsiteX2728" fmla="*/ 1539 w 10785"/>
                  <a:gd name="connsiteY2728" fmla="*/ 8145 h 10000"/>
                  <a:gd name="connsiteX2729" fmla="*/ 1558 w 10785"/>
                  <a:gd name="connsiteY2729" fmla="*/ 8145 h 10000"/>
                  <a:gd name="connsiteX2730" fmla="*/ 1562 w 10785"/>
                  <a:gd name="connsiteY2730" fmla="*/ 8188 h 10000"/>
                  <a:gd name="connsiteX2731" fmla="*/ 1585 w 10785"/>
                  <a:gd name="connsiteY2731" fmla="*/ 8171 h 10000"/>
                  <a:gd name="connsiteX2732" fmla="*/ 1590 w 10785"/>
                  <a:gd name="connsiteY2732" fmla="*/ 8188 h 10000"/>
                  <a:gd name="connsiteX2733" fmla="*/ 1599 w 10785"/>
                  <a:gd name="connsiteY2733" fmla="*/ 8171 h 10000"/>
                  <a:gd name="connsiteX2734" fmla="*/ 1599 w 10785"/>
                  <a:gd name="connsiteY2734" fmla="*/ 8162 h 10000"/>
                  <a:gd name="connsiteX2735" fmla="*/ 1604 w 10785"/>
                  <a:gd name="connsiteY2735" fmla="*/ 8137 h 10000"/>
                  <a:gd name="connsiteX2736" fmla="*/ 1618 w 10785"/>
                  <a:gd name="connsiteY2736" fmla="*/ 8145 h 10000"/>
                  <a:gd name="connsiteX2737" fmla="*/ 1627 w 10785"/>
                  <a:gd name="connsiteY2737" fmla="*/ 8137 h 10000"/>
                  <a:gd name="connsiteX2738" fmla="*/ 1631 w 10785"/>
                  <a:gd name="connsiteY2738" fmla="*/ 8137 h 10000"/>
                  <a:gd name="connsiteX2739" fmla="*/ 1636 w 10785"/>
                  <a:gd name="connsiteY2739" fmla="*/ 8171 h 10000"/>
                  <a:gd name="connsiteX2740" fmla="*/ 1645 w 10785"/>
                  <a:gd name="connsiteY2740" fmla="*/ 8188 h 10000"/>
                  <a:gd name="connsiteX2741" fmla="*/ 1664 w 10785"/>
                  <a:gd name="connsiteY2741" fmla="*/ 8171 h 10000"/>
                  <a:gd name="connsiteX2742" fmla="*/ 1673 w 10785"/>
                  <a:gd name="connsiteY2742" fmla="*/ 8188 h 10000"/>
                  <a:gd name="connsiteX2743" fmla="*/ 1691 w 10785"/>
                  <a:gd name="connsiteY2743" fmla="*/ 8171 h 10000"/>
                  <a:gd name="connsiteX2744" fmla="*/ 1705 w 10785"/>
                  <a:gd name="connsiteY2744" fmla="*/ 8171 h 10000"/>
                  <a:gd name="connsiteX2745" fmla="*/ 1719 w 10785"/>
                  <a:gd name="connsiteY2745" fmla="*/ 8197 h 10000"/>
                  <a:gd name="connsiteX2746" fmla="*/ 1724 w 10785"/>
                  <a:gd name="connsiteY2746" fmla="*/ 8231 h 10000"/>
                  <a:gd name="connsiteX2747" fmla="*/ 1751 w 10785"/>
                  <a:gd name="connsiteY2747" fmla="*/ 8256 h 10000"/>
                  <a:gd name="connsiteX2748" fmla="*/ 1751 w 10785"/>
                  <a:gd name="connsiteY2748" fmla="*/ 8274 h 10000"/>
                  <a:gd name="connsiteX2749" fmla="*/ 1760 w 10785"/>
                  <a:gd name="connsiteY2749" fmla="*/ 8282 h 10000"/>
                  <a:gd name="connsiteX2750" fmla="*/ 1770 w 10785"/>
                  <a:gd name="connsiteY2750" fmla="*/ 8325 h 10000"/>
                  <a:gd name="connsiteX2751" fmla="*/ 1770 w 10785"/>
                  <a:gd name="connsiteY2751" fmla="*/ 8350 h 10000"/>
                  <a:gd name="connsiteX2752" fmla="*/ 1779 w 10785"/>
                  <a:gd name="connsiteY2752" fmla="*/ 8368 h 10000"/>
                  <a:gd name="connsiteX2753" fmla="*/ 1783 w 10785"/>
                  <a:gd name="connsiteY2753" fmla="*/ 8359 h 10000"/>
                  <a:gd name="connsiteX2754" fmla="*/ 1783 w 10785"/>
                  <a:gd name="connsiteY2754" fmla="*/ 8308 h 10000"/>
                  <a:gd name="connsiteX2755" fmla="*/ 1779 w 10785"/>
                  <a:gd name="connsiteY2755" fmla="*/ 8299 h 10000"/>
                  <a:gd name="connsiteX2756" fmla="*/ 1783 w 10785"/>
                  <a:gd name="connsiteY2756" fmla="*/ 8282 h 10000"/>
                  <a:gd name="connsiteX2757" fmla="*/ 1797 w 10785"/>
                  <a:gd name="connsiteY2757" fmla="*/ 8274 h 10000"/>
                  <a:gd name="connsiteX2758" fmla="*/ 1797 w 10785"/>
                  <a:gd name="connsiteY2758" fmla="*/ 8299 h 10000"/>
                  <a:gd name="connsiteX2759" fmla="*/ 1806 w 10785"/>
                  <a:gd name="connsiteY2759" fmla="*/ 8308 h 10000"/>
                  <a:gd name="connsiteX2760" fmla="*/ 1811 w 10785"/>
                  <a:gd name="connsiteY2760" fmla="*/ 8325 h 10000"/>
                  <a:gd name="connsiteX2761" fmla="*/ 1820 w 10785"/>
                  <a:gd name="connsiteY2761" fmla="*/ 8333 h 10000"/>
                  <a:gd name="connsiteX2762" fmla="*/ 1853 w 10785"/>
                  <a:gd name="connsiteY2762" fmla="*/ 8359 h 10000"/>
                  <a:gd name="connsiteX2763" fmla="*/ 1866 w 10785"/>
                  <a:gd name="connsiteY2763" fmla="*/ 8359 h 10000"/>
                  <a:gd name="connsiteX2764" fmla="*/ 1885 w 10785"/>
                  <a:gd name="connsiteY2764" fmla="*/ 8325 h 10000"/>
                  <a:gd name="connsiteX2765" fmla="*/ 1885 w 10785"/>
                  <a:gd name="connsiteY2765" fmla="*/ 8308 h 10000"/>
                  <a:gd name="connsiteX2766" fmla="*/ 1894 w 10785"/>
                  <a:gd name="connsiteY2766" fmla="*/ 8299 h 10000"/>
                  <a:gd name="connsiteX2767" fmla="*/ 1899 w 10785"/>
                  <a:gd name="connsiteY2767" fmla="*/ 8282 h 10000"/>
                  <a:gd name="connsiteX2768" fmla="*/ 1912 w 10785"/>
                  <a:gd name="connsiteY2768" fmla="*/ 8282 h 10000"/>
                  <a:gd name="connsiteX2769" fmla="*/ 1917 w 10785"/>
                  <a:gd name="connsiteY2769" fmla="*/ 8299 h 10000"/>
                  <a:gd name="connsiteX2770" fmla="*/ 1917 w 10785"/>
                  <a:gd name="connsiteY2770" fmla="*/ 8274 h 10000"/>
                  <a:gd name="connsiteX2771" fmla="*/ 1940 w 10785"/>
                  <a:gd name="connsiteY2771" fmla="*/ 8282 h 10000"/>
                  <a:gd name="connsiteX2772" fmla="*/ 1945 w 10785"/>
                  <a:gd name="connsiteY2772" fmla="*/ 8274 h 10000"/>
                  <a:gd name="connsiteX2773" fmla="*/ 1972 w 10785"/>
                  <a:gd name="connsiteY2773" fmla="*/ 8308 h 10000"/>
                  <a:gd name="connsiteX2774" fmla="*/ 1986 w 10785"/>
                  <a:gd name="connsiteY2774" fmla="*/ 8282 h 10000"/>
                  <a:gd name="connsiteX2775" fmla="*/ 1991 w 10785"/>
                  <a:gd name="connsiteY2775" fmla="*/ 8274 h 10000"/>
                  <a:gd name="connsiteX2776" fmla="*/ 2014 w 10785"/>
                  <a:gd name="connsiteY2776" fmla="*/ 8274 h 10000"/>
                  <a:gd name="connsiteX2777" fmla="*/ 2018 w 10785"/>
                  <a:gd name="connsiteY2777" fmla="*/ 8256 h 10000"/>
                  <a:gd name="connsiteX2778" fmla="*/ 2041 w 10785"/>
                  <a:gd name="connsiteY2778" fmla="*/ 8274 h 10000"/>
                  <a:gd name="connsiteX2779" fmla="*/ 2046 w 10785"/>
                  <a:gd name="connsiteY2779" fmla="*/ 8282 h 10000"/>
                  <a:gd name="connsiteX2780" fmla="*/ 2046 w 10785"/>
                  <a:gd name="connsiteY2780" fmla="*/ 8325 h 10000"/>
                  <a:gd name="connsiteX2781" fmla="*/ 2060 w 10785"/>
                  <a:gd name="connsiteY2781" fmla="*/ 8350 h 10000"/>
                  <a:gd name="connsiteX2782" fmla="*/ 2078 w 10785"/>
                  <a:gd name="connsiteY2782" fmla="*/ 8350 h 10000"/>
                  <a:gd name="connsiteX2783" fmla="*/ 2092 w 10785"/>
                  <a:gd name="connsiteY2783" fmla="*/ 8350 h 10000"/>
                  <a:gd name="connsiteX2784" fmla="*/ 2092 w 10785"/>
                  <a:gd name="connsiteY2784" fmla="*/ 8350 h 10000"/>
                  <a:gd name="connsiteX2785" fmla="*/ 2101 w 10785"/>
                  <a:gd name="connsiteY2785" fmla="*/ 8368 h 10000"/>
                  <a:gd name="connsiteX2786" fmla="*/ 2120 w 10785"/>
                  <a:gd name="connsiteY2786" fmla="*/ 8368 h 10000"/>
                  <a:gd name="connsiteX2787" fmla="*/ 2124 w 10785"/>
                  <a:gd name="connsiteY2787" fmla="*/ 8359 h 10000"/>
                  <a:gd name="connsiteX2788" fmla="*/ 2138 w 10785"/>
                  <a:gd name="connsiteY2788" fmla="*/ 8325 h 10000"/>
                  <a:gd name="connsiteX2789" fmla="*/ 2147 w 10785"/>
                  <a:gd name="connsiteY2789" fmla="*/ 8325 h 10000"/>
                  <a:gd name="connsiteX2790" fmla="*/ 2161 w 10785"/>
                  <a:gd name="connsiteY2790" fmla="*/ 8350 h 10000"/>
                  <a:gd name="connsiteX2791" fmla="*/ 2198 w 10785"/>
                  <a:gd name="connsiteY2791" fmla="*/ 8350 h 10000"/>
                  <a:gd name="connsiteX2792" fmla="*/ 2207 w 10785"/>
                  <a:gd name="connsiteY2792" fmla="*/ 8333 h 10000"/>
                  <a:gd name="connsiteX2793" fmla="*/ 2226 w 10785"/>
                  <a:gd name="connsiteY2793" fmla="*/ 8325 h 10000"/>
                  <a:gd name="connsiteX2794" fmla="*/ 2249 w 10785"/>
                  <a:gd name="connsiteY2794" fmla="*/ 8222 h 10000"/>
                  <a:gd name="connsiteX2795" fmla="*/ 2235 w 10785"/>
                  <a:gd name="connsiteY2795" fmla="*/ 8197 h 10000"/>
                  <a:gd name="connsiteX2796" fmla="*/ 2198 w 10785"/>
                  <a:gd name="connsiteY2796" fmla="*/ 8197 h 10000"/>
                  <a:gd name="connsiteX2797" fmla="*/ 2189 w 10785"/>
                  <a:gd name="connsiteY2797" fmla="*/ 8171 h 10000"/>
                  <a:gd name="connsiteX2798" fmla="*/ 2161 w 10785"/>
                  <a:gd name="connsiteY2798" fmla="*/ 8145 h 10000"/>
                  <a:gd name="connsiteX2799" fmla="*/ 2161 w 10785"/>
                  <a:gd name="connsiteY2799" fmla="*/ 8137 h 10000"/>
                  <a:gd name="connsiteX2800" fmla="*/ 2152 w 10785"/>
                  <a:gd name="connsiteY2800" fmla="*/ 8120 h 10000"/>
                  <a:gd name="connsiteX2801" fmla="*/ 2138 w 10785"/>
                  <a:gd name="connsiteY2801" fmla="*/ 8111 h 10000"/>
                  <a:gd name="connsiteX2802" fmla="*/ 2138 w 10785"/>
                  <a:gd name="connsiteY2802" fmla="*/ 8094 h 10000"/>
                  <a:gd name="connsiteX2803" fmla="*/ 2147 w 10785"/>
                  <a:gd name="connsiteY2803" fmla="*/ 8085 h 10000"/>
                  <a:gd name="connsiteX2804" fmla="*/ 2161 w 10785"/>
                  <a:gd name="connsiteY2804" fmla="*/ 8060 h 10000"/>
                  <a:gd name="connsiteX2805" fmla="*/ 2198 w 10785"/>
                  <a:gd name="connsiteY2805" fmla="*/ 8034 h 10000"/>
                  <a:gd name="connsiteX2806" fmla="*/ 2198 w 10785"/>
                  <a:gd name="connsiteY2806" fmla="*/ 8026 h 10000"/>
                  <a:gd name="connsiteX2807" fmla="*/ 2198 w 10785"/>
                  <a:gd name="connsiteY2807" fmla="*/ 8000 h 10000"/>
                  <a:gd name="connsiteX2808" fmla="*/ 2180 w 10785"/>
                  <a:gd name="connsiteY2808" fmla="*/ 7940 h 10000"/>
                  <a:gd name="connsiteX2809" fmla="*/ 2189 w 10785"/>
                  <a:gd name="connsiteY2809" fmla="*/ 7940 h 10000"/>
                  <a:gd name="connsiteX2810" fmla="*/ 2198 w 10785"/>
                  <a:gd name="connsiteY2810" fmla="*/ 7923 h 10000"/>
                  <a:gd name="connsiteX2811" fmla="*/ 2198 w 10785"/>
                  <a:gd name="connsiteY2811" fmla="*/ 7897 h 10000"/>
                  <a:gd name="connsiteX2812" fmla="*/ 2207 w 10785"/>
                  <a:gd name="connsiteY2812" fmla="*/ 7889 h 10000"/>
                  <a:gd name="connsiteX2813" fmla="*/ 2221 w 10785"/>
                  <a:gd name="connsiteY2813" fmla="*/ 7889 h 10000"/>
                  <a:gd name="connsiteX2814" fmla="*/ 2226 w 10785"/>
                  <a:gd name="connsiteY2814" fmla="*/ 7897 h 10000"/>
                  <a:gd name="connsiteX2815" fmla="*/ 2235 w 10785"/>
                  <a:gd name="connsiteY2815" fmla="*/ 7889 h 10000"/>
                  <a:gd name="connsiteX2816" fmla="*/ 2249 w 10785"/>
                  <a:gd name="connsiteY2816" fmla="*/ 7897 h 10000"/>
                  <a:gd name="connsiteX2817" fmla="*/ 2267 w 10785"/>
                  <a:gd name="connsiteY2817" fmla="*/ 7897 h 10000"/>
                  <a:gd name="connsiteX2818" fmla="*/ 2272 w 10785"/>
                  <a:gd name="connsiteY2818" fmla="*/ 7889 h 10000"/>
                  <a:gd name="connsiteX2819" fmla="*/ 2281 w 10785"/>
                  <a:gd name="connsiteY2819" fmla="*/ 7872 h 10000"/>
                  <a:gd name="connsiteX2820" fmla="*/ 2272 w 10785"/>
                  <a:gd name="connsiteY2820" fmla="*/ 7846 h 10000"/>
                  <a:gd name="connsiteX2821" fmla="*/ 2253 w 10785"/>
                  <a:gd name="connsiteY2821" fmla="*/ 7838 h 10000"/>
                  <a:gd name="connsiteX2822" fmla="*/ 2221 w 10785"/>
                  <a:gd name="connsiteY2822" fmla="*/ 7821 h 10000"/>
                  <a:gd name="connsiteX2823" fmla="*/ 2212 w 10785"/>
                  <a:gd name="connsiteY2823" fmla="*/ 7812 h 10000"/>
                  <a:gd name="connsiteX2824" fmla="*/ 2212 w 10785"/>
                  <a:gd name="connsiteY2824" fmla="*/ 7803 h 10000"/>
                  <a:gd name="connsiteX2825" fmla="*/ 2221 w 10785"/>
                  <a:gd name="connsiteY2825" fmla="*/ 7803 h 10000"/>
                  <a:gd name="connsiteX2826" fmla="*/ 2235 w 10785"/>
                  <a:gd name="connsiteY2826" fmla="*/ 7786 h 10000"/>
                  <a:gd name="connsiteX2827" fmla="*/ 2240 w 10785"/>
                  <a:gd name="connsiteY2827" fmla="*/ 7778 h 10000"/>
                  <a:gd name="connsiteX2828" fmla="*/ 2226 w 10785"/>
                  <a:gd name="connsiteY2828" fmla="*/ 7761 h 10000"/>
                  <a:gd name="connsiteX2829" fmla="*/ 2221 w 10785"/>
                  <a:gd name="connsiteY2829" fmla="*/ 7778 h 10000"/>
                  <a:gd name="connsiteX2830" fmla="*/ 2198 w 10785"/>
                  <a:gd name="connsiteY2830" fmla="*/ 7778 h 10000"/>
                  <a:gd name="connsiteX2831" fmla="*/ 2198 w 10785"/>
                  <a:gd name="connsiteY2831" fmla="*/ 7752 h 10000"/>
                  <a:gd name="connsiteX2832" fmla="*/ 2207 w 10785"/>
                  <a:gd name="connsiteY2832" fmla="*/ 7735 h 10000"/>
                  <a:gd name="connsiteX2833" fmla="*/ 2212 w 10785"/>
                  <a:gd name="connsiteY2833" fmla="*/ 7726 h 10000"/>
                  <a:gd name="connsiteX2834" fmla="*/ 2198 w 10785"/>
                  <a:gd name="connsiteY2834" fmla="*/ 7692 h 10000"/>
                  <a:gd name="connsiteX2835" fmla="*/ 2221 w 10785"/>
                  <a:gd name="connsiteY2835" fmla="*/ 7692 h 10000"/>
                  <a:gd name="connsiteX2836" fmla="*/ 2221 w 10785"/>
                  <a:gd name="connsiteY2836" fmla="*/ 7675 h 10000"/>
                  <a:gd name="connsiteX2837" fmla="*/ 2235 w 10785"/>
                  <a:gd name="connsiteY2837" fmla="*/ 7675 h 10000"/>
                  <a:gd name="connsiteX2838" fmla="*/ 2240 w 10785"/>
                  <a:gd name="connsiteY2838" fmla="*/ 7692 h 10000"/>
                  <a:gd name="connsiteX2839" fmla="*/ 2249 w 10785"/>
                  <a:gd name="connsiteY2839" fmla="*/ 7692 h 10000"/>
                  <a:gd name="connsiteX2840" fmla="*/ 2258 w 10785"/>
                  <a:gd name="connsiteY2840" fmla="*/ 7692 h 10000"/>
                  <a:gd name="connsiteX2841" fmla="*/ 2267 w 10785"/>
                  <a:gd name="connsiteY2841" fmla="*/ 7692 h 10000"/>
                  <a:gd name="connsiteX2842" fmla="*/ 2295 w 10785"/>
                  <a:gd name="connsiteY2842" fmla="*/ 7692 h 10000"/>
                  <a:gd name="connsiteX2843" fmla="*/ 2300 w 10785"/>
                  <a:gd name="connsiteY2843" fmla="*/ 7701 h 10000"/>
                  <a:gd name="connsiteX2844" fmla="*/ 2313 w 10785"/>
                  <a:gd name="connsiteY2844" fmla="*/ 7675 h 10000"/>
                  <a:gd name="connsiteX2845" fmla="*/ 2323 w 10785"/>
                  <a:gd name="connsiteY2845" fmla="*/ 7675 h 10000"/>
                  <a:gd name="connsiteX2846" fmla="*/ 2341 w 10785"/>
                  <a:gd name="connsiteY2846" fmla="*/ 7675 h 10000"/>
                  <a:gd name="connsiteX2847" fmla="*/ 2346 w 10785"/>
                  <a:gd name="connsiteY2847" fmla="*/ 7667 h 10000"/>
                  <a:gd name="connsiteX2848" fmla="*/ 2359 w 10785"/>
                  <a:gd name="connsiteY2848" fmla="*/ 7650 h 10000"/>
                  <a:gd name="connsiteX2849" fmla="*/ 2373 w 10785"/>
                  <a:gd name="connsiteY2849" fmla="*/ 7624 h 10000"/>
                  <a:gd name="connsiteX2850" fmla="*/ 2382 w 10785"/>
                  <a:gd name="connsiteY2850" fmla="*/ 7641 h 10000"/>
                  <a:gd name="connsiteX2851" fmla="*/ 2396 w 10785"/>
                  <a:gd name="connsiteY2851" fmla="*/ 7650 h 10000"/>
                  <a:gd name="connsiteX2852" fmla="*/ 2401 w 10785"/>
                  <a:gd name="connsiteY2852" fmla="*/ 7650 h 10000"/>
                  <a:gd name="connsiteX2853" fmla="*/ 2401 w 10785"/>
                  <a:gd name="connsiteY2853" fmla="*/ 7624 h 10000"/>
                  <a:gd name="connsiteX2854" fmla="*/ 2419 w 10785"/>
                  <a:gd name="connsiteY2854" fmla="*/ 7624 h 10000"/>
                  <a:gd name="connsiteX2855" fmla="*/ 2433 w 10785"/>
                  <a:gd name="connsiteY2855" fmla="*/ 7615 h 10000"/>
                  <a:gd name="connsiteX2856" fmla="*/ 2442 w 10785"/>
                  <a:gd name="connsiteY2856" fmla="*/ 7615 h 10000"/>
                  <a:gd name="connsiteX2857" fmla="*/ 2447 w 10785"/>
                  <a:gd name="connsiteY2857" fmla="*/ 7598 h 10000"/>
                  <a:gd name="connsiteX2858" fmla="*/ 2461 w 10785"/>
                  <a:gd name="connsiteY2858" fmla="*/ 7598 h 10000"/>
                  <a:gd name="connsiteX2859" fmla="*/ 2465 w 10785"/>
                  <a:gd name="connsiteY2859" fmla="*/ 7615 h 10000"/>
                  <a:gd name="connsiteX2860" fmla="*/ 2479 w 10785"/>
                  <a:gd name="connsiteY2860" fmla="*/ 7564 h 10000"/>
                  <a:gd name="connsiteX2861" fmla="*/ 2488 w 10785"/>
                  <a:gd name="connsiteY2861" fmla="*/ 7556 h 10000"/>
                  <a:gd name="connsiteX2862" fmla="*/ 2493 w 10785"/>
                  <a:gd name="connsiteY2862" fmla="*/ 7556 h 10000"/>
                  <a:gd name="connsiteX2863" fmla="*/ 2507 w 10785"/>
                  <a:gd name="connsiteY2863" fmla="*/ 7556 h 10000"/>
                  <a:gd name="connsiteX2864" fmla="*/ 2530 w 10785"/>
                  <a:gd name="connsiteY2864" fmla="*/ 7538 h 10000"/>
                  <a:gd name="connsiteX2865" fmla="*/ 2530 w 10785"/>
                  <a:gd name="connsiteY2865" fmla="*/ 7556 h 10000"/>
                  <a:gd name="connsiteX2866" fmla="*/ 2641 w 10785"/>
                  <a:gd name="connsiteY2866" fmla="*/ 7504 h 10000"/>
                  <a:gd name="connsiteX2867" fmla="*/ 2654 w 10785"/>
                  <a:gd name="connsiteY2867" fmla="*/ 7487 h 10000"/>
                  <a:gd name="connsiteX2868" fmla="*/ 2664 w 10785"/>
                  <a:gd name="connsiteY2868" fmla="*/ 7487 h 10000"/>
                  <a:gd name="connsiteX2869" fmla="*/ 2668 w 10785"/>
                  <a:gd name="connsiteY2869" fmla="*/ 7479 h 10000"/>
                  <a:gd name="connsiteX2870" fmla="*/ 2673 w 10785"/>
                  <a:gd name="connsiteY2870" fmla="*/ 7462 h 10000"/>
                  <a:gd name="connsiteX2871" fmla="*/ 2673 w 10785"/>
                  <a:gd name="connsiteY2871" fmla="*/ 7427 h 10000"/>
                  <a:gd name="connsiteX2872" fmla="*/ 2687 w 10785"/>
                  <a:gd name="connsiteY2872" fmla="*/ 7436 h 10000"/>
                  <a:gd name="connsiteX2873" fmla="*/ 2696 w 10785"/>
                  <a:gd name="connsiteY2873" fmla="*/ 7427 h 10000"/>
                  <a:gd name="connsiteX2874" fmla="*/ 2700 w 10785"/>
                  <a:gd name="connsiteY2874" fmla="*/ 7419 h 10000"/>
                  <a:gd name="connsiteX2875" fmla="*/ 2710 w 10785"/>
                  <a:gd name="connsiteY2875" fmla="*/ 7402 h 10000"/>
                  <a:gd name="connsiteX2876" fmla="*/ 2724 w 10785"/>
                  <a:gd name="connsiteY2876" fmla="*/ 7402 h 10000"/>
                  <a:gd name="connsiteX2877" fmla="*/ 2724 w 10785"/>
                  <a:gd name="connsiteY2877" fmla="*/ 7393 h 10000"/>
                  <a:gd name="connsiteX2878" fmla="*/ 2737 w 10785"/>
                  <a:gd name="connsiteY2878" fmla="*/ 7393 h 10000"/>
                  <a:gd name="connsiteX2879" fmla="*/ 2742 w 10785"/>
                  <a:gd name="connsiteY2879" fmla="*/ 7402 h 10000"/>
                  <a:gd name="connsiteX2880" fmla="*/ 2747 w 10785"/>
                  <a:gd name="connsiteY2880" fmla="*/ 7402 h 10000"/>
                  <a:gd name="connsiteX2881" fmla="*/ 2760 w 10785"/>
                  <a:gd name="connsiteY2881" fmla="*/ 7402 h 10000"/>
                  <a:gd name="connsiteX2882" fmla="*/ 2770 w 10785"/>
                  <a:gd name="connsiteY2882" fmla="*/ 7402 h 10000"/>
                  <a:gd name="connsiteX2883" fmla="*/ 2774 w 10785"/>
                  <a:gd name="connsiteY2883" fmla="*/ 7402 h 10000"/>
                  <a:gd name="connsiteX2884" fmla="*/ 2783 w 10785"/>
                  <a:gd name="connsiteY2884" fmla="*/ 7419 h 10000"/>
                  <a:gd name="connsiteX2885" fmla="*/ 2802 w 10785"/>
                  <a:gd name="connsiteY2885" fmla="*/ 7436 h 10000"/>
                  <a:gd name="connsiteX2886" fmla="*/ 2816 w 10785"/>
                  <a:gd name="connsiteY2886" fmla="*/ 7419 h 10000"/>
                  <a:gd name="connsiteX2887" fmla="*/ 2834 w 10785"/>
                  <a:gd name="connsiteY2887" fmla="*/ 7419 h 10000"/>
                  <a:gd name="connsiteX2888" fmla="*/ 2843 w 10785"/>
                  <a:gd name="connsiteY2888" fmla="*/ 7419 h 10000"/>
                  <a:gd name="connsiteX2889" fmla="*/ 2848 w 10785"/>
                  <a:gd name="connsiteY2889" fmla="*/ 7436 h 10000"/>
                  <a:gd name="connsiteX2890" fmla="*/ 2857 w 10785"/>
                  <a:gd name="connsiteY2890" fmla="*/ 7453 h 10000"/>
                  <a:gd name="connsiteX2891" fmla="*/ 2857 w 10785"/>
                  <a:gd name="connsiteY2891" fmla="*/ 7504 h 10000"/>
                  <a:gd name="connsiteX2892" fmla="*/ 2862 w 10785"/>
                  <a:gd name="connsiteY2892" fmla="*/ 7530 h 10000"/>
                  <a:gd name="connsiteX2893" fmla="*/ 2876 w 10785"/>
                  <a:gd name="connsiteY2893" fmla="*/ 7538 h 10000"/>
                  <a:gd name="connsiteX2894" fmla="*/ 2871 w 10785"/>
                  <a:gd name="connsiteY2894" fmla="*/ 7564 h 10000"/>
                  <a:gd name="connsiteX2895" fmla="*/ 2871 w 10785"/>
                  <a:gd name="connsiteY2895" fmla="*/ 7598 h 10000"/>
                  <a:gd name="connsiteX2896" fmla="*/ 2857 w 10785"/>
                  <a:gd name="connsiteY2896" fmla="*/ 7624 h 10000"/>
                  <a:gd name="connsiteX2897" fmla="*/ 2862 w 10785"/>
                  <a:gd name="connsiteY2897" fmla="*/ 7641 h 10000"/>
                  <a:gd name="connsiteX2898" fmla="*/ 2871 w 10785"/>
                  <a:gd name="connsiteY2898" fmla="*/ 7667 h 10000"/>
                  <a:gd name="connsiteX2899" fmla="*/ 2880 w 10785"/>
                  <a:gd name="connsiteY2899" fmla="*/ 7650 h 10000"/>
                  <a:gd name="connsiteX2900" fmla="*/ 2894 w 10785"/>
                  <a:gd name="connsiteY2900" fmla="*/ 7667 h 10000"/>
                  <a:gd name="connsiteX2901" fmla="*/ 2903 w 10785"/>
                  <a:gd name="connsiteY2901" fmla="*/ 7667 h 10000"/>
                  <a:gd name="connsiteX2902" fmla="*/ 2908 w 10785"/>
                  <a:gd name="connsiteY2902" fmla="*/ 7641 h 10000"/>
                  <a:gd name="connsiteX2903" fmla="*/ 2917 w 10785"/>
                  <a:gd name="connsiteY2903" fmla="*/ 7641 h 10000"/>
                  <a:gd name="connsiteX2904" fmla="*/ 2922 w 10785"/>
                  <a:gd name="connsiteY2904" fmla="*/ 7641 h 10000"/>
                  <a:gd name="connsiteX2905" fmla="*/ 2931 w 10785"/>
                  <a:gd name="connsiteY2905" fmla="*/ 7615 h 10000"/>
                  <a:gd name="connsiteX2906" fmla="*/ 2935 w 10785"/>
                  <a:gd name="connsiteY2906" fmla="*/ 7615 h 10000"/>
                  <a:gd name="connsiteX2907" fmla="*/ 2945 w 10785"/>
                  <a:gd name="connsiteY2907" fmla="*/ 7650 h 10000"/>
                  <a:gd name="connsiteX2908" fmla="*/ 2949 w 10785"/>
                  <a:gd name="connsiteY2908" fmla="*/ 7667 h 10000"/>
                  <a:gd name="connsiteX2909" fmla="*/ 2949 w 10785"/>
                  <a:gd name="connsiteY2909" fmla="*/ 7675 h 10000"/>
                  <a:gd name="connsiteX2910" fmla="*/ 2945 w 10785"/>
                  <a:gd name="connsiteY2910" fmla="*/ 7692 h 10000"/>
                  <a:gd name="connsiteX2911" fmla="*/ 2963 w 10785"/>
                  <a:gd name="connsiteY2911" fmla="*/ 7701 h 10000"/>
                  <a:gd name="connsiteX2912" fmla="*/ 2963 w 10785"/>
                  <a:gd name="connsiteY2912" fmla="*/ 7675 h 10000"/>
                  <a:gd name="connsiteX2913" fmla="*/ 2954 w 10785"/>
                  <a:gd name="connsiteY2913" fmla="*/ 7667 h 10000"/>
                  <a:gd name="connsiteX2914" fmla="*/ 2963 w 10785"/>
                  <a:gd name="connsiteY2914" fmla="*/ 7667 h 10000"/>
                  <a:gd name="connsiteX2915" fmla="*/ 2982 w 10785"/>
                  <a:gd name="connsiteY2915" fmla="*/ 7667 h 10000"/>
                  <a:gd name="connsiteX2916" fmla="*/ 2991 w 10785"/>
                  <a:gd name="connsiteY2916" fmla="*/ 7675 h 10000"/>
                  <a:gd name="connsiteX2917" fmla="*/ 2995 w 10785"/>
                  <a:gd name="connsiteY2917" fmla="*/ 7692 h 10000"/>
                  <a:gd name="connsiteX2918" fmla="*/ 3009 w 10785"/>
                  <a:gd name="connsiteY2918" fmla="*/ 7701 h 10000"/>
                  <a:gd name="connsiteX2919" fmla="*/ 3018 w 10785"/>
                  <a:gd name="connsiteY2919" fmla="*/ 7701 h 10000"/>
                  <a:gd name="connsiteX2920" fmla="*/ 3023 w 10785"/>
                  <a:gd name="connsiteY2920" fmla="*/ 7692 h 10000"/>
                  <a:gd name="connsiteX2921" fmla="*/ 3028 w 10785"/>
                  <a:gd name="connsiteY2921" fmla="*/ 7675 h 10000"/>
                  <a:gd name="connsiteX2922" fmla="*/ 3037 w 10785"/>
                  <a:gd name="connsiteY2922" fmla="*/ 7692 h 10000"/>
                  <a:gd name="connsiteX2923" fmla="*/ 3028 w 10785"/>
                  <a:gd name="connsiteY2923" fmla="*/ 7709 h 10000"/>
                  <a:gd name="connsiteX2924" fmla="*/ 3023 w 10785"/>
                  <a:gd name="connsiteY2924" fmla="*/ 7709 h 10000"/>
                  <a:gd name="connsiteX2925" fmla="*/ 3018 w 10785"/>
                  <a:gd name="connsiteY2925" fmla="*/ 7726 h 10000"/>
                  <a:gd name="connsiteX2926" fmla="*/ 3009 w 10785"/>
                  <a:gd name="connsiteY2926" fmla="*/ 7735 h 10000"/>
                  <a:gd name="connsiteX2927" fmla="*/ 3009 w 10785"/>
                  <a:gd name="connsiteY2927" fmla="*/ 7761 h 10000"/>
                  <a:gd name="connsiteX2928" fmla="*/ 3009 w 10785"/>
                  <a:gd name="connsiteY2928" fmla="*/ 7778 h 10000"/>
                  <a:gd name="connsiteX2929" fmla="*/ 3018 w 10785"/>
                  <a:gd name="connsiteY2929" fmla="*/ 7786 h 10000"/>
                  <a:gd name="connsiteX2930" fmla="*/ 3023 w 10785"/>
                  <a:gd name="connsiteY2930" fmla="*/ 7786 h 10000"/>
                  <a:gd name="connsiteX2931" fmla="*/ 3028 w 10785"/>
                  <a:gd name="connsiteY2931" fmla="*/ 7778 h 10000"/>
                  <a:gd name="connsiteX2932" fmla="*/ 3051 w 10785"/>
                  <a:gd name="connsiteY2932" fmla="*/ 7761 h 10000"/>
                  <a:gd name="connsiteX2933" fmla="*/ 3055 w 10785"/>
                  <a:gd name="connsiteY2933" fmla="*/ 7778 h 10000"/>
                  <a:gd name="connsiteX2934" fmla="*/ 3065 w 10785"/>
                  <a:gd name="connsiteY2934" fmla="*/ 7761 h 10000"/>
                  <a:gd name="connsiteX2935" fmla="*/ 3069 w 10785"/>
                  <a:gd name="connsiteY2935" fmla="*/ 7786 h 10000"/>
                  <a:gd name="connsiteX2936" fmla="*/ 3083 w 10785"/>
                  <a:gd name="connsiteY2936" fmla="*/ 7786 h 10000"/>
                  <a:gd name="connsiteX2937" fmla="*/ 3078 w 10785"/>
                  <a:gd name="connsiteY2937" fmla="*/ 7761 h 10000"/>
                  <a:gd name="connsiteX2938" fmla="*/ 3083 w 10785"/>
                  <a:gd name="connsiteY2938" fmla="*/ 7752 h 10000"/>
                  <a:gd name="connsiteX2939" fmla="*/ 3097 w 10785"/>
                  <a:gd name="connsiteY2939" fmla="*/ 7752 h 10000"/>
                  <a:gd name="connsiteX2940" fmla="*/ 3111 w 10785"/>
                  <a:gd name="connsiteY2940" fmla="*/ 7726 h 10000"/>
                  <a:gd name="connsiteX2941" fmla="*/ 3124 w 10785"/>
                  <a:gd name="connsiteY2941" fmla="*/ 7709 h 10000"/>
                  <a:gd name="connsiteX2942" fmla="*/ 3143 w 10785"/>
                  <a:gd name="connsiteY2942" fmla="*/ 7692 h 10000"/>
                  <a:gd name="connsiteX2943" fmla="*/ 3152 w 10785"/>
                  <a:gd name="connsiteY2943" fmla="*/ 7667 h 10000"/>
                  <a:gd name="connsiteX2944" fmla="*/ 3157 w 10785"/>
                  <a:gd name="connsiteY2944" fmla="*/ 7650 h 10000"/>
                  <a:gd name="connsiteX2945" fmla="*/ 3161 w 10785"/>
                  <a:gd name="connsiteY2945" fmla="*/ 7650 h 10000"/>
                  <a:gd name="connsiteX2946" fmla="*/ 3189 w 10785"/>
                  <a:gd name="connsiteY2946" fmla="*/ 7641 h 10000"/>
                  <a:gd name="connsiteX2947" fmla="*/ 3198 w 10785"/>
                  <a:gd name="connsiteY2947" fmla="*/ 7624 h 10000"/>
                  <a:gd name="connsiteX2948" fmla="*/ 3217 w 10785"/>
                  <a:gd name="connsiteY2948" fmla="*/ 7615 h 10000"/>
                  <a:gd name="connsiteX2949" fmla="*/ 3235 w 10785"/>
                  <a:gd name="connsiteY2949" fmla="*/ 7598 h 10000"/>
                  <a:gd name="connsiteX2950" fmla="*/ 3235 w 10785"/>
                  <a:gd name="connsiteY2950" fmla="*/ 7615 h 10000"/>
                  <a:gd name="connsiteX2951" fmla="*/ 3235 w 10785"/>
                  <a:gd name="connsiteY2951" fmla="*/ 7641 h 10000"/>
                  <a:gd name="connsiteX2952" fmla="*/ 3235 w 10785"/>
                  <a:gd name="connsiteY2952" fmla="*/ 7650 h 10000"/>
                  <a:gd name="connsiteX2953" fmla="*/ 3226 w 10785"/>
                  <a:gd name="connsiteY2953" fmla="*/ 7650 h 10000"/>
                  <a:gd name="connsiteX2954" fmla="*/ 3217 w 10785"/>
                  <a:gd name="connsiteY2954" fmla="*/ 7650 h 10000"/>
                  <a:gd name="connsiteX2955" fmla="*/ 3212 w 10785"/>
                  <a:gd name="connsiteY2955" fmla="*/ 7675 h 10000"/>
                  <a:gd name="connsiteX2956" fmla="*/ 3212 w 10785"/>
                  <a:gd name="connsiteY2956"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307 w 10785"/>
                  <a:gd name="connsiteY731" fmla="*/ 4899 h 10000"/>
                  <a:gd name="connsiteX732" fmla="*/ 10691 w 10785"/>
                  <a:gd name="connsiteY732" fmla="*/ 5255 h 10000"/>
                  <a:gd name="connsiteX733" fmla="*/ 10619 w 10785"/>
                  <a:gd name="connsiteY733" fmla="*/ 4708 h 10000"/>
                  <a:gd name="connsiteX734" fmla="*/ 10785 w 10785"/>
                  <a:gd name="connsiteY734" fmla="*/ 4708 h 10000"/>
                  <a:gd name="connsiteX735" fmla="*/ 10689 w 10785"/>
                  <a:gd name="connsiteY735" fmla="*/ 4467 h 10000"/>
                  <a:gd name="connsiteX736" fmla="*/ 10354 w 10785"/>
                  <a:gd name="connsiteY736" fmla="*/ 4302 h 10000"/>
                  <a:gd name="connsiteX737" fmla="*/ 9912 w 10785"/>
                  <a:gd name="connsiteY737" fmla="*/ 3675 h 10000"/>
                  <a:gd name="connsiteX738" fmla="*/ 9903 w 10785"/>
                  <a:gd name="connsiteY738" fmla="*/ 3667 h 10000"/>
                  <a:gd name="connsiteX739" fmla="*/ 9894 w 10785"/>
                  <a:gd name="connsiteY739" fmla="*/ 3641 h 10000"/>
                  <a:gd name="connsiteX740" fmla="*/ 9889 w 10785"/>
                  <a:gd name="connsiteY740" fmla="*/ 3650 h 10000"/>
                  <a:gd name="connsiteX741" fmla="*/ 9848 w 10785"/>
                  <a:gd name="connsiteY741" fmla="*/ 3598 h 10000"/>
                  <a:gd name="connsiteX742" fmla="*/ 9829 w 10785"/>
                  <a:gd name="connsiteY742" fmla="*/ 3581 h 10000"/>
                  <a:gd name="connsiteX743" fmla="*/ 9820 w 10785"/>
                  <a:gd name="connsiteY743" fmla="*/ 3581 h 10000"/>
                  <a:gd name="connsiteX744" fmla="*/ 9793 w 10785"/>
                  <a:gd name="connsiteY744" fmla="*/ 3556 h 10000"/>
                  <a:gd name="connsiteX745" fmla="*/ 9779 w 10785"/>
                  <a:gd name="connsiteY745" fmla="*/ 3556 h 10000"/>
                  <a:gd name="connsiteX746" fmla="*/ 9747 w 10785"/>
                  <a:gd name="connsiteY746" fmla="*/ 3487 h 10000"/>
                  <a:gd name="connsiteX747" fmla="*/ 9668 w 10785"/>
                  <a:gd name="connsiteY747" fmla="*/ 3479 h 10000"/>
                  <a:gd name="connsiteX748" fmla="*/ 9659 w 10785"/>
                  <a:gd name="connsiteY748" fmla="*/ 3487 h 10000"/>
                  <a:gd name="connsiteX749" fmla="*/ 9645 w 10785"/>
                  <a:gd name="connsiteY749" fmla="*/ 3504 h 10000"/>
                  <a:gd name="connsiteX750" fmla="*/ 9631 w 10785"/>
                  <a:gd name="connsiteY750" fmla="*/ 3487 h 10000"/>
                  <a:gd name="connsiteX751" fmla="*/ 9613 w 10785"/>
                  <a:gd name="connsiteY751" fmla="*/ 3479 h 10000"/>
                  <a:gd name="connsiteX752" fmla="*/ 9599 w 10785"/>
                  <a:gd name="connsiteY752" fmla="*/ 3479 h 10000"/>
                  <a:gd name="connsiteX753" fmla="*/ 9571 w 10785"/>
                  <a:gd name="connsiteY753" fmla="*/ 3479 h 10000"/>
                  <a:gd name="connsiteX754" fmla="*/ 9562 w 10785"/>
                  <a:gd name="connsiteY754" fmla="*/ 3487 h 10000"/>
                  <a:gd name="connsiteX755" fmla="*/ 9539 w 10785"/>
                  <a:gd name="connsiteY755" fmla="*/ 3487 h 10000"/>
                  <a:gd name="connsiteX756" fmla="*/ 9507 w 10785"/>
                  <a:gd name="connsiteY756" fmla="*/ 3453 h 10000"/>
                  <a:gd name="connsiteX757" fmla="*/ 9498 w 10785"/>
                  <a:gd name="connsiteY757" fmla="*/ 3453 h 10000"/>
                  <a:gd name="connsiteX758" fmla="*/ 9387 w 10785"/>
                  <a:gd name="connsiteY758" fmla="*/ 3419 h 10000"/>
                  <a:gd name="connsiteX759" fmla="*/ 9373 w 10785"/>
                  <a:gd name="connsiteY759" fmla="*/ 3427 h 10000"/>
                  <a:gd name="connsiteX760" fmla="*/ 9373 w 10785"/>
                  <a:gd name="connsiteY760" fmla="*/ 3462 h 10000"/>
                  <a:gd name="connsiteX761" fmla="*/ 9378 w 10785"/>
                  <a:gd name="connsiteY761" fmla="*/ 3479 h 10000"/>
                  <a:gd name="connsiteX762" fmla="*/ 9378 w 10785"/>
                  <a:gd name="connsiteY762" fmla="*/ 3530 h 10000"/>
                  <a:gd name="connsiteX763" fmla="*/ 9355 w 10785"/>
                  <a:gd name="connsiteY763" fmla="*/ 3538 h 10000"/>
                  <a:gd name="connsiteX764" fmla="*/ 9355 w 10785"/>
                  <a:gd name="connsiteY764" fmla="*/ 3581 h 10000"/>
                  <a:gd name="connsiteX765" fmla="*/ 9387 w 10785"/>
                  <a:gd name="connsiteY765" fmla="*/ 3590 h 10000"/>
                  <a:gd name="connsiteX766" fmla="*/ 9401 w 10785"/>
                  <a:gd name="connsiteY766" fmla="*/ 3667 h 10000"/>
                  <a:gd name="connsiteX767" fmla="*/ 9406 w 10785"/>
                  <a:gd name="connsiteY767" fmla="*/ 3675 h 10000"/>
                  <a:gd name="connsiteX768" fmla="*/ 9406 w 10785"/>
                  <a:gd name="connsiteY768" fmla="*/ 3701 h 10000"/>
                  <a:gd name="connsiteX769" fmla="*/ 9415 w 10785"/>
                  <a:gd name="connsiteY769" fmla="*/ 3752 h 10000"/>
                  <a:gd name="connsiteX770" fmla="*/ 9373 w 10785"/>
                  <a:gd name="connsiteY770" fmla="*/ 3838 h 10000"/>
                  <a:gd name="connsiteX771" fmla="*/ 9355 w 10785"/>
                  <a:gd name="connsiteY771" fmla="*/ 3863 h 10000"/>
                  <a:gd name="connsiteX772" fmla="*/ 9327 w 10785"/>
                  <a:gd name="connsiteY772" fmla="*/ 3863 h 10000"/>
                  <a:gd name="connsiteX773" fmla="*/ 9313 w 10785"/>
                  <a:gd name="connsiteY773" fmla="*/ 3846 h 10000"/>
                  <a:gd name="connsiteX774" fmla="*/ 9300 w 10785"/>
                  <a:gd name="connsiteY774" fmla="*/ 3778 h 10000"/>
                  <a:gd name="connsiteX775" fmla="*/ 9281 w 10785"/>
                  <a:gd name="connsiteY775" fmla="*/ 3752 h 10000"/>
                  <a:gd name="connsiteX776" fmla="*/ 9281 w 10785"/>
                  <a:gd name="connsiteY776" fmla="*/ 3735 h 10000"/>
                  <a:gd name="connsiteX777" fmla="*/ 9267 w 10785"/>
                  <a:gd name="connsiteY777" fmla="*/ 3726 h 10000"/>
                  <a:gd name="connsiteX778" fmla="*/ 9240 w 10785"/>
                  <a:gd name="connsiteY778" fmla="*/ 3726 h 10000"/>
                  <a:gd name="connsiteX779" fmla="*/ 9230 w 10785"/>
                  <a:gd name="connsiteY779" fmla="*/ 3718 h 10000"/>
                  <a:gd name="connsiteX780" fmla="*/ 9226 w 10785"/>
                  <a:gd name="connsiteY780" fmla="*/ 3590 h 10000"/>
                  <a:gd name="connsiteX781" fmla="*/ 9207 w 10785"/>
                  <a:gd name="connsiteY781" fmla="*/ 3581 h 10000"/>
                  <a:gd name="connsiteX782" fmla="*/ 9207 w 10785"/>
                  <a:gd name="connsiteY782" fmla="*/ 3556 h 10000"/>
                  <a:gd name="connsiteX783" fmla="*/ 9217 w 10785"/>
                  <a:gd name="connsiteY783" fmla="*/ 3538 h 10000"/>
                  <a:gd name="connsiteX784" fmla="*/ 9212 w 10785"/>
                  <a:gd name="connsiteY784" fmla="*/ 3538 h 10000"/>
                  <a:gd name="connsiteX785" fmla="*/ 9198 w 10785"/>
                  <a:gd name="connsiteY785" fmla="*/ 3513 h 10000"/>
                  <a:gd name="connsiteX786" fmla="*/ 9194 w 10785"/>
                  <a:gd name="connsiteY786" fmla="*/ 3530 h 10000"/>
                  <a:gd name="connsiteX787" fmla="*/ 9143 w 10785"/>
                  <a:gd name="connsiteY787" fmla="*/ 3615 h 10000"/>
                  <a:gd name="connsiteX788" fmla="*/ 9138 w 10785"/>
                  <a:gd name="connsiteY788" fmla="*/ 3615 h 10000"/>
                  <a:gd name="connsiteX789" fmla="*/ 9134 w 10785"/>
                  <a:gd name="connsiteY789" fmla="*/ 3615 h 10000"/>
                  <a:gd name="connsiteX790" fmla="*/ 9106 w 10785"/>
                  <a:gd name="connsiteY790" fmla="*/ 3615 h 10000"/>
                  <a:gd name="connsiteX791" fmla="*/ 9078 w 10785"/>
                  <a:gd name="connsiteY791" fmla="*/ 3590 h 10000"/>
                  <a:gd name="connsiteX792" fmla="*/ 9037 w 10785"/>
                  <a:gd name="connsiteY792" fmla="*/ 3581 h 10000"/>
                  <a:gd name="connsiteX793" fmla="*/ 9023 w 10785"/>
                  <a:gd name="connsiteY793" fmla="*/ 3590 h 10000"/>
                  <a:gd name="connsiteX794" fmla="*/ 9018 w 10785"/>
                  <a:gd name="connsiteY794" fmla="*/ 3590 h 10000"/>
                  <a:gd name="connsiteX795" fmla="*/ 9018 w 10785"/>
                  <a:gd name="connsiteY795" fmla="*/ 3590 h 10000"/>
                  <a:gd name="connsiteX796" fmla="*/ 8991 w 10785"/>
                  <a:gd name="connsiteY796" fmla="*/ 3590 h 10000"/>
                  <a:gd name="connsiteX797" fmla="*/ 8972 w 10785"/>
                  <a:gd name="connsiteY797" fmla="*/ 3581 h 10000"/>
                  <a:gd name="connsiteX798" fmla="*/ 8959 w 10785"/>
                  <a:gd name="connsiteY798" fmla="*/ 3513 h 10000"/>
                  <a:gd name="connsiteX799" fmla="*/ 8931 w 10785"/>
                  <a:gd name="connsiteY799" fmla="*/ 3538 h 10000"/>
                  <a:gd name="connsiteX800" fmla="*/ 8889 w 10785"/>
                  <a:gd name="connsiteY800" fmla="*/ 3538 h 10000"/>
                  <a:gd name="connsiteX801" fmla="*/ 8871 w 10785"/>
                  <a:gd name="connsiteY801" fmla="*/ 3556 h 10000"/>
                  <a:gd name="connsiteX802" fmla="*/ 8857 w 10785"/>
                  <a:gd name="connsiteY802" fmla="*/ 3538 h 10000"/>
                  <a:gd name="connsiteX803" fmla="*/ 8843 w 10785"/>
                  <a:gd name="connsiteY803" fmla="*/ 3538 h 10000"/>
                  <a:gd name="connsiteX804" fmla="*/ 8839 w 10785"/>
                  <a:gd name="connsiteY804" fmla="*/ 3556 h 10000"/>
                  <a:gd name="connsiteX805" fmla="*/ 8839 w 10785"/>
                  <a:gd name="connsiteY805" fmla="*/ 3581 h 10000"/>
                  <a:gd name="connsiteX806" fmla="*/ 8825 w 10785"/>
                  <a:gd name="connsiteY806" fmla="*/ 3564 h 10000"/>
                  <a:gd name="connsiteX807" fmla="*/ 8825 w 10785"/>
                  <a:gd name="connsiteY807" fmla="*/ 3615 h 10000"/>
                  <a:gd name="connsiteX808" fmla="*/ 8802 w 10785"/>
                  <a:gd name="connsiteY808" fmla="*/ 3598 h 10000"/>
                  <a:gd name="connsiteX809" fmla="*/ 8797 w 10785"/>
                  <a:gd name="connsiteY809" fmla="*/ 3641 h 10000"/>
                  <a:gd name="connsiteX810" fmla="*/ 8783 w 10785"/>
                  <a:gd name="connsiteY810" fmla="*/ 3667 h 10000"/>
                  <a:gd name="connsiteX811" fmla="*/ 8779 w 10785"/>
                  <a:gd name="connsiteY811" fmla="*/ 3650 h 10000"/>
                  <a:gd name="connsiteX812" fmla="*/ 8779 w 10785"/>
                  <a:gd name="connsiteY812" fmla="*/ 3615 h 10000"/>
                  <a:gd name="connsiteX813" fmla="*/ 8770 w 10785"/>
                  <a:gd name="connsiteY813" fmla="*/ 3590 h 10000"/>
                  <a:gd name="connsiteX814" fmla="*/ 8765 w 10785"/>
                  <a:gd name="connsiteY814" fmla="*/ 3598 h 10000"/>
                  <a:gd name="connsiteX815" fmla="*/ 8756 w 10785"/>
                  <a:gd name="connsiteY815" fmla="*/ 3590 h 10000"/>
                  <a:gd name="connsiteX816" fmla="*/ 8737 w 10785"/>
                  <a:gd name="connsiteY816" fmla="*/ 3556 h 10000"/>
                  <a:gd name="connsiteX817" fmla="*/ 8724 w 10785"/>
                  <a:gd name="connsiteY817" fmla="*/ 3538 h 10000"/>
                  <a:gd name="connsiteX818" fmla="*/ 8696 w 10785"/>
                  <a:gd name="connsiteY818" fmla="*/ 3538 h 10000"/>
                  <a:gd name="connsiteX819" fmla="*/ 8691 w 10785"/>
                  <a:gd name="connsiteY819" fmla="*/ 3513 h 10000"/>
                  <a:gd name="connsiteX820" fmla="*/ 8668 w 10785"/>
                  <a:gd name="connsiteY820" fmla="*/ 3504 h 10000"/>
                  <a:gd name="connsiteX821" fmla="*/ 8668 w 10785"/>
                  <a:gd name="connsiteY821" fmla="*/ 3487 h 10000"/>
                  <a:gd name="connsiteX822" fmla="*/ 8691 w 10785"/>
                  <a:gd name="connsiteY822" fmla="*/ 3350 h 10000"/>
                  <a:gd name="connsiteX823" fmla="*/ 8691 w 10785"/>
                  <a:gd name="connsiteY823" fmla="*/ 3291 h 10000"/>
                  <a:gd name="connsiteX824" fmla="*/ 8677 w 10785"/>
                  <a:gd name="connsiteY824" fmla="*/ 3239 h 10000"/>
                  <a:gd name="connsiteX825" fmla="*/ 8677 w 10785"/>
                  <a:gd name="connsiteY825" fmla="*/ 3231 h 10000"/>
                  <a:gd name="connsiteX826" fmla="*/ 8636 w 10785"/>
                  <a:gd name="connsiteY826" fmla="*/ 3128 h 10000"/>
                  <a:gd name="connsiteX827" fmla="*/ 8622 w 10785"/>
                  <a:gd name="connsiteY827" fmla="*/ 3120 h 10000"/>
                  <a:gd name="connsiteX828" fmla="*/ 8618 w 10785"/>
                  <a:gd name="connsiteY828" fmla="*/ 3094 h 10000"/>
                  <a:gd name="connsiteX829" fmla="*/ 8594 w 10785"/>
                  <a:gd name="connsiteY829" fmla="*/ 3077 h 10000"/>
                  <a:gd name="connsiteX830" fmla="*/ 8548 w 10785"/>
                  <a:gd name="connsiteY830" fmla="*/ 3077 h 10000"/>
                  <a:gd name="connsiteX831" fmla="*/ 8535 w 10785"/>
                  <a:gd name="connsiteY831" fmla="*/ 3068 h 10000"/>
                  <a:gd name="connsiteX832" fmla="*/ 8429 w 10785"/>
                  <a:gd name="connsiteY832" fmla="*/ 3077 h 10000"/>
                  <a:gd name="connsiteX833" fmla="*/ 8424 w 10785"/>
                  <a:gd name="connsiteY833" fmla="*/ 3077 h 10000"/>
                  <a:gd name="connsiteX834" fmla="*/ 8396 w 10785"/>
                  <a:gd name="connsiteY834" fmla="*/ 3077 h 10000"/>
                  <a:gd name="connsiteX835" fmla="*/ 8387 w 10785"/>
                  <a:gd name="connsiteY835" fmla="*/ 3094 h 10000"/>
                  <a:gd name="connsiteX836" fmla="*/ 8378 w 10785"/>
                  <a:gd name="connsiteY836" fmla="*/ 3094 h 10000"/>
                  <a:gd name="connsiteX837" fmla="*/ 8341 w 10785"/>
                  <a:gd name="connsiteY837" fmla="*/ 3077 h 10000"/>
                  <a:gd name="connsiteX838" fmla="*/ 8336 w 10785"/>
                  <a:gd name="connsiteY838" fmla="*/ 3077 h 10000"/>
                  <a:gd name="connsiteX839" fmla="*/ 8327 w 10785"/>
                  <a:gd name="connsiteY839" fmla="*/ 3103 h 10000"/>
                  <a:gd name="connsiteX840" fmla="*/ 8309 w 10785"/>
                  <a:gd name="connsiteY840" fmla="*/ 3120 h 10000"/>
                  <a:gd name="connsiteX841" fmla="*/ 8304 w 10785"/>
                  <a:gd name="connsiteY841" fmla="*/ 3103 h 10000"/>
                  <a:gd name="connsiteX842" fmla="*/ 8276 w 10785"/>
                  <a:gd name="connsiteY842" fmla="*/ 3103 h 10000"/>
                  <a:gd name="connsiteX843" fmla="*/ 8267 w 10785"/>
                  <a:gd name="connsiteY843" fmla="*/ 3120 h 10000"/>
                  <a:gd name="connsiteX844" fmla="*/ 8253 w 10785"/>
                  <a:gd name="connsiteY844" fmla="*/ 3103 h 10000"/>
                  <a:gd name="connsiteX845" fmla="*/ 8230 w 10785"/>
                  <a:gd name="connsiteY845" fmla="*/ 3128 h 10000"/>
                  <a:gd name="connsiteX846" fmla="*/ 8217 w 10785"/>
                  <a:gd name="connsiteY846" fmla="*/ 3128 h 10000"/>
                  <a:gd name="connsiteX847" fmla="*/ 8203 w 10785"/>
                  <a:gd name="connsiteY847" fmla="*/ 3154 h 10000"/>
                  <a:gd name="connsiteX848" fmla="*/ 8175 w 10785"/>
                  <a:gd name="connsiteY848" fmla="*/ 3094 h 10000"/>
                  <a:gd name="connsiteX849" fmla="*/ 8161 w 10785"/>
                  <a:gd name="connsiteY849" fmla="*/ 3094 h 10000"/>
                  <a:gd name="connsiteX850" fmla="*/ 8157 w 10785"/>
                  <a:gd name="connsiteY850" fmla="*/ 3077 h 10000"/>
                  <a:gd name="connsiteX851" fmla="*/ 8180 w 10785"/>
                  <a:gd name="connsiteY851" fmla="*/ 3068 h 10000"/>
                  <a:gd name="connsiteX852" fmla="*/ 8189 w 10785"/>
                  <a:gd name="connsiteY852" fmla="*/ 3043 h 10000"/>
                  <a:gd name="connsiteX853" fmla="*/ 8189 w 10785"/>
                  <a:gd name="connsiteY853" fmla="*/ 3017 h 10000"/>
                  <a:gd name="connsiteX854" fmla="*/ 8147 w 10785"/>
                  <a:gd name="connsiteY854" fmla="*/ 2940 h 10000"/>
                  <a:gd name="connsiteX855" fmla="*/ 8143 w 10785"/>
                  <a:gd name="connsiteY855" fmla="*/ 2915 h 10000"/>
                  <a:gd name="connsiteX856" fmla="*/ 8143 w 10785"/>
                  <a:gd name="connsiteY856" fmla="*/ 2906 h 10000"/>
                  <a:gd name="connsiteX857" fmla="*/ 8097 w 10785"/>
                  <a:gd name="connsiteY857" fmla="*/ 2932 h 10000"/>
                  <a:gd name="connsiteX858" fmla="*/ 8083 w 10785"/>
                  <a:gd name="connsiteY858" fmla="*/ 2932 h 10000"/>
                  <a:gd name="connsiteX859" fmla="*/ 8074 w 10785"/>
                  <a:gd name="connsiteY859" fmla="*/ 2906 h 10000"/>
                  <a:gd name="connsiteX860" fmla="*/ 8074 w 10785"/>
                  <a:gd name="connsiteY860" fmla="*/ 2897 h 10000"/>
                  <a:gd name="connsiteX861" fmla="*/ 8055 w 10785"/>
                  <a:gd name="connsiteY861" fmla="*/ 2872 h 10000"/>
                  <a:gd name="connsiteX862" fmla="*/ 8046 w 10785"/>
                  <a:gd name="connsiteY862" fmla="*/ 2829 h 10000"/>
                  <a:gd name="connsiteX863" fmla="*/ 8041 w 10785"/>
                  <a:gd name="connsiteY863" fmla="*/ 2829 h 10000"/>
                  <a:gd name="connsiteX864" fmla="*/ 8023 w 10785"/>
                  <a:gd name="connsiteY864" fmla="*/ 2803 h 10000"/>
                  <a:gd name="connsiteX865" fmla="*/ 8014 w 10785"/>
                  <a:gd name="connsiteY865" fmla="*/ 2829 h 10000"/>
                  <a:gd name="connsiteX866" fmla="*/ 8000 w 10785"/>
                  <a:gd name="connsiteY866" fmla="*/ 2829 h 10000"/>
                  <a:gd name="connsiteX867" fmla="*/ 7995 w 10785"/>
                  <a:gd name="connsiteY867" fmla="*/ 2821 h 10000"/>
                  <a:gd name="connsiteX868" fmla="*/ 7972 w 10785"/>
                  <a:gd name="connsiteY868" fmla="*/ 2803 h 10000"/>
                  <a:gd name="connsiteX869" fmla="*/ 7968 w 10785"/>
                  <a:gd name="connsiteY869" fmla="*/ 2821 h 10000"/>
                  <a:gd name="connsiteX870" fmla="*/ 7968 w 10785"/>
                  <a:gd name="connsiteY870" fmla="*/ 2803 h 10000"/>
                  <a:gd name="connsiteX871" fmla="*/ 7995 w 10785"/>
                  <a:gd name="connsiteY871" fmla="*/ 2735 h 10000"/>
                  <a:gd name="connsiteX872" fmla="*/ 8000 w 10785"/>
                  <a:gd name="connsiteY872" fmla="*/ 2735 h 10000"/>
                  <a:gd name="connsiteX873" fmla="*/ 8014 w 10785"/>
                  <a:gd name="connsiteY873" fmla="*/ 2744 h 10000"/>
                  <a:gd name="connsiteX874" fmla="*/ 8023 w 10785"/>
                  <a:gd name="connsiteY874" fmla="*/ 2769 h 10000"/>
                  <a:gd name="connsiteX875" fmla="*/ 8032 w 10785"/>
                  <a:gd name="connsiteY875" fmla="*/ 2744 h 10000"/>
                  <a:gd name="connsiteX876" fmla="*/ 8032 w 10785"/>
                  <a:gd name="connsiteY876" fmla="*/ 2709 h 10000"/>
                  <a:gd name="connsiteX877" fmla="*/ 8023 w 10785"/>
                  <a:gd name="connsiteY877" fmla="*/ 2632 h 10000"/>
                  <a:gd name="connsiteX878" fmla="*/ 7986 w 10785"/>
                  <a:gd name="connsiteY878" fmla="*/ 2581 h 10000"/>
                  <a:gd name="connsiteX879" fmla="*/ 7968 w 10785"/>
                  <a:gd name="connsiteY879" fmla="*/ 2581 h 10000"/>
                  <a:gd name="connsiteX880" fmla="*/ 7963 w 10785"/>
                  <a:gd name="connsiteY880" fmla="*/ 2556 h 10000"/>
                  <a:gd name="connsiteX881" fmla="*/ 7935 w 10785"/>
                  <a:gd name="connsiteY881" fmla="*/ 2547 h 10000"/>
                  <a:gd name="connsiteX882" fmla="*/ 7912 w 10785"/>
                  <a:gd name="connsiteY882" fmla="*/ 2547 h 10000"/>
                  <a:gd name="connsiteX883" fmla="*/ 7912 w 10785"/>
                  <a:gd name="connsiteY883" fmla="*/ 2556 h 10000"/>
                  <a:gd name="connsiteX884" fmla="*/ 7908 w 10785"/>
                  <a:gd name="connsiteY884" fmla="*/ 2547 h 10000"/>
                  <a:gd name="connsiteX885" fmla="*/ 7862 w 10785"/>
                  <a:gd name="connsiteY885" fmla="*/ 2547 h 10000"/>
                  <a:gd name="connsiteX886" fmla="*/ 7848 w 10785"/>
                  <a:gd name="connsiteY886" fmla="*/ 2556 h 10000"/>
                  <a:gd name="connsiteX887" fmla="*/ 7820 w 10785"/>
                  <a:gd name="connsiteY887" fmla="*/ 2547 h 10000"/>
                  <a:gd name="connsiteX888" fmla="*/ 7806 w 10785"/>
                  <a:gd name="connsiteY888" fmla="*/ 2513 h 10000"/>
                  <a:gd name="connsiteX889" fmla="*/ 7788 w 10785"/>
                  <a:gd name="connsiteY889" fmla="*/ 2513 h 10000"/>
                  <a:gd name="connsiteX890" fmla="*/ 7760 w 10785"/>
                  <a:gd name="connsiteY890" fmla="*/ 2470 h 10000"/>
                  <a:gd name="connsiteX891" fmla="*/ 7751 w 10785"/>
                  <a:gd name="connsiteY891" fmla="*/ 2470 h 10000"/>
                  <a:gd name="connsiteX892" fmla="*/ 7705 w 10785"/>
                  <a:gd name="connsiteY892" fmla="*/ 2462 h 10000"/>
                  <a:gd name="connsiteX893" fmla="*/ 7673 w 10785"/>
                  <a:gd name="connsiteY893" fmla="*/ 2419 h 10000"/>
                  <a:gd name="connsiteX894" fmla="*/ 7627 w 10785"/>
                  <a:gd name="connsiteY894" fmla="*/ 2419 h 10000"/>
                  <a:gd name="connsiteX895" fmla="*/ 7613 w 10785"/>
                  <a:gd name="connsiteY895" fmla="*/ 2410 h 10000"/>
                  <a:gd name="connsiteX896" fmla="*/ 7493 w 10785"/>
                  <a:gd name="connsiteY896" fmla="*/ 2393 h 10000"/>
                  <a:gd name="connsiteX897" fmla="*/ 7479 w 10785"/>
                  <a:gd name="connsiteY897" fmla="*/ 2385 h 10000"/>
                  <a:gd name="connsiteX898" fmla="*/ 7479 w 10785"/>
                  <a:gd name="connsiteY898" fmla="*/ 2376 h 10000"/>
                  <a:gd name="connsiteX899" fmla="*/ 7465 w 10785"/>
                  <a:gd name="connsiteY899" fmla="*/ 2359 h 10000"/>
                  <a:gd name="connsiteX900" fmla="*/ 7447 w 10785"/>
                  <a:gd name="connsiteY900" fmla="*/ 2350 h 10000"/>
                  <a:gd name="connsiteX901" fmla="*/ 7433 w 10785"/>
                  <a:gd name="connsiteY901" fmla="*/ 2376 h 10000"/>
                  <a:gd name="connsiteX902" fmla="*/ 7433 w 10785"/>
                  <a:gd name="connsiteY902" fmla="*/ 2385 h 10000"/>
                  <a:gd name="connsiteX903" fmla="*/ 7447 w 10785"/>
                  <a:gd name="connsiteY903" fmla="*/ 2410 h 10000"/>
                  <a:gd name="connsiteX904" fmla="*/ 7447 w 10785"/>
                  <a:gd name="connsiteY904" fmla="*/ 2436 h 10000"/>
                  <a:gd name="connsiteX905" fmla="*/ 7452 w 10785"/>
                  <a:gd name="connsiteY905" fmla="*/ 2462 h 10000"/>
                  <a:gd name="connsiteX906" fmla="*/ 7447 w 10785"/>
                  <a:gd name="connsiteY906" fmla="*/ 2470 h 10000"/>
                  <a:gd name="connsiteX907" fmla="*/ 7424 w 10785"/>
                  <a:gd name="connsiteY907" fmla="*/ 2513 h 10000"/>
                  <a:gd name="connsiteX908" fmla="*/ 7419 w 10785"/>
                  <a:gd name="connsiteY908" fmla="*/ 2556 h 10000"/>
                  <a:gd name="connsiteX909" fmla="*/ 7406 w 10785"/>
                  <a:gd name="connsiteY909" fmla="*/ 2624 h 10000"/>
                  <a:gd name="connsiteX910" fmla="*/ 7392 w 10785"/>
                  <a:gd name="connsiteY910" fmla="*/ 2624 h 10000"/>
                  <a:gd name="connsiteX911" fmla="*/ 7373 w 10785"/>
                  <a:gd name="connsiteY911" fmla="*/ 2650 h 10000"/>
                  <a:gd name="connsiteX912" fmla="*/ 7364 w 10785"/>
                  <a:gd name="connsiteY912" fmla="*/ 2684 h 10000"/>
                  <a:gd name="connsiteX913" fmla="*/ 7364 w 10785"/>
                  <a:gd name="connsiteY913" fmla="*/ 2692 h 10000"/>
                  <a:gd name="connsiteX914" fmla="*/ 7373 w 10785"/>
                  <a:gd name="connsiteY914" fmla="*/ 2718 h 10000"/>
                  <a:gd name="connsiteX915" fmla="*/ 7373 w 10785"/>
                  <a:gd name="connsiteY915" fmla="*/ 2744 h 10000"/>
                  <a:gd name="connsiteX916" fmla="*/ 7359 w 10785"/>
                  <a:gd name="connsiteY916" fmla="*/ 2744 h 10000"/>
                  <a:gd name="connsiteX917" fmla="*/ 7359 w 10785"/>
                  <a:gd name="connsiteY917" fmla="*/ 2795 h 10000"/>
                  <a:gd name="connsiteX918" fmla="*/ 7364 w 10785"/>
                  <a:gd name="connsiteY918" fmla="*/ 2821 h 10000"/>
                  <a:gd name="connsiteX919" fmla="*/ 7378 w 10785"/>
                  <a:gd name="connsiteY919" fmla="*/ 2846 h 10000"/>
                  <a:gd name="connsiteX920" fmla="*/ 7378 w 10785"/>
                  <a:gd name="connsiteY920" fmla="*/ 2855 h 10000"/>
                  <a:gd name="connsiteX921" fmla="*/ 7378 w 10785"/>
                  <a:gd name="connsiteY921" fmla="*/ 2880 h 10000"/>
                  <a:gd name="connsiteX922" fmla="*/ 7378 w 10785"/>
                  <a:gd name="connsiteY922" fmla="*/ 2906 h 10000"/>
                  <a:gd name="connsiteX923" fmla="*/ 7364 w 10785"/>
                  <a:gd name="connsiteY923" fmla="*/ 2906 h 10000"/>
                  <a:gd name="connsiteX924" fmla="*/ 7346 w 10785"/>
                  <a:gd name="connsiteY924" fmla="*/ 2880 h 10000"/>
                  <a:gd name="connsiteX925" fmla="*/ 7332 w 10785"/>
                  <a:gd name="connsiteY925" fmla="*/ 2915 h 10000"/>
                  <a:gd name="connsiteX926" fmla="*/ 7318 w 10785"/>
                  <a:gd name="connsiteY926" fmla="*/ 2906 h 10000"/>
                  <a:gd name="connsiteX927" fmla="*/ 7313 w 10785"/>
                  <a:gd name="connsiteY927" fmla="*/ 2915 h 10000"/>
                  <a:gd name="connsiteX928" fmla="*/ 7313 w 10785"/>
                  <a:gd name="connsiteY928" fmla="*/ 2906 h 10000"/>
                  <a:gd name="connsiteX929" fmla="*/ 7286 w 10785"/>
                  <a:gd name="connsiteY929" fmla="*/ 2940 h 10000"/>
                  <a:gd name="connsiteX930" fmla="*/ 7276 w 10785"/>
                  <a:gd name="connsiteY930" fmla="*/ 2966 h 10000"/>
                  <a:gd name="connsiteX931" fmla="*/ 7272 w 10785"/>
                  <a:gd name="connsiteY931" fmla="*/ 2983 h 10000"/>
                  <a:gd name="connsiteX932" fmla="*/ 7267 w 10785"/>
                  <a:gd name="connsiteY932" fmla="*/ 3009 h 10000"/>
                  <a:gd name="connsiteX933" fmla="*/ 7253 w 10785"/>
                  <a:gd name="connsiteY933" fmla="*/ 3009 h 10000"/>
                  <a:gd name="connsiteX934" fmla="*/ 7244 w 10785"/>
                  <a:gd name="connsiteY934" fmla="*/ 3017 h 10000"/>
                  <a:gd name="connsiteX935" fmla="*/ 7240 w 10785"/>
                  <a:gd name="connsiteY935" fmla="*/ 3009 h 10000"/>
                  <a:gd name="connsiteX936" fmla="*/ 7230 w 10785"/>
                  <a:gd name="connsiteY936" fmla="*/ 2991 h 10000"/>
                  <a:gd name="connsiteX937" fmla="*/ 7226 w 10785"/>
                  <a:gd name="connsiteY937" fmla="*/ 2983 h 10000"/>
                  <a:gd name="connsiteX938" fmla="*/ 7226 w 10785"/>
                  <a:gd name="connsiteY938" fmla="*/ 2966 h 10000"/>
                  <a:gd name="connsiteX939" fmla="*/ 7212 w 10785"/>
                  <a:gd name="connsiteY939" fmla="*/ 2957 h 10000"/>
                  <a:gd name="connsiteX940" fmla="*/ 7212 w 10785"/>
                  <a:gd name="connsiteY940" fmla="*/ 2932 h 10000"/>
                  <a:gd name="connsiteX941" fmla="*/ 7198 w 10785"/>
                  <a:gd name="connsiteY941" fmla="*/ 2915 h 10000"/>
                  <a:gd name="connsiteX942" fmla="*/ 7194 w 10785"/>
                  <a:gd name="connsiteY942" fmla="*/ 2915 h 10000"/>
                  <a:gd name="connsiteX943" fmla="*/ 7157 w 10785"/>
                  <a:gd name="connsiteY943" fmla="*/ 2880 h 10000"/>
                  <a:gd name="connsiteX944" fmla="*/ 7138 w 10785"/>
                  <a:gd name="connsiteY944" fmla="*/ 2880 h 10000"/>
                  <a:gd name="connsiteX945" fmla="*/ 7120 w 10785"/>
                  <a:gd name="connsiteY945" fmla="*/ 2872 h 10000"/>
                  <a:gd name="connsiteX946" fmla="*/ 7111 w 10785"/>
                  <a:gd name="connsiteY946" fmla="*/ 2846 h 10000"/>
                  <a:gd name="connsiteX947" fmla="*/ 7106 w 10785"/>
                  <a:gd name="connsiteY947" fmla="*/ 2846 h 10000"/>
                  <a:gd name="connsiteX948" fmla="*/ 7092 w 10785"/>
                  <a:gd name="connsiteY948" fmla="*/ 2829 h 10000"/>
                  <a:gd name="connsiteX949" fmla="*/ 7051 w 10785"/>
                  <a:gd name="connsiteY949" fmla="*/ 2829 h 10000"/>
                  <a:gd name="connsiteX950" fmla="*/ 7037 w 10785"/>
                  <a:gd name="connsiteY950" fmla="*/ 2880 h 10000"/>
                  <a:gd name="connsiteX951" fmla="*/ 7037 w 10785"/>
                  <a:gd name="connsiteY951" fmla="*/ 2906 h 10000"/>
                  <a:gd name="connsiteX952" fmla="*/ 7037 w 10785"/>
                  <a:gd name="connsiteY952" fmla="*/ 2932 h 10000"/>
                  <a:gd name="connsiteX953" fmla="*/ 7037 w 10785"/>
                  <a:gd name="connsiteY953" fmla="*/ 2940 h 10000"/>
                  <a:gd name="connsiteX954" fmla="*/ 7023 w 10785"/>
                  <a:gd name="connsiteY954" fmla="*/ 2906 h 10000"/>
                  <a:gd name="connsiteX955" fmla="*/ 7023 w 10785"/>
                  <a:gd name="connsiteY955" fmla="*/ 2915 h 10000"/>
                  <a:gd name="connsiteX956" fmla="*/ 6991 w 10785"/>
                  <a:gd name="connsiteY956" fmla="*/ 2906 h 10000"/>
                  <a:gd name="connsiteX957" fmla="*/ 6977 w 10785"/>
                  <a:gd name="connsiteY957" fmla="*/ 2915 h 10000"/>
                  <a:gd name="connsiteX958" fmla="*/ 6963 w 10785"/>
                  <a:gd name="connsiteY958" fmla="*/ 2915 h 10000"/>
                  <a:gd name="connsiteX959" fmla="*/ 6949 w 10785"/>
                  <a:gd name="connsiteY959" fmla="*/ 2872 h 10000"/>
                  <a:gd name="connsiteX960" fmla="*/ 6935 w 10785"/>
                  <a:gd name="connsiteY960" fmla="*/ 2855 h 10000"/>
                  <a:gd name="connsiteX961" fmla="*/ 6922 w 10785"/>
                  <a:gd name="connsiteY961" fmla="*/ 2803 h 10000"/>
                  <a:gd name="connsiteX962" fmla="*/ 6917 w 10785"/>
                  <a:gd name="connsiteY962" fmla="*/ 2786 h 10000"/>
                  <a:gd name="connsiteX963" fmla="*/ 6903 w 10785"/>
                  <a:gd name="connsiteY963" fmla="*/ 2709 h 10000"/>
                  <a:gd name="connsiteX964" fmla="*/ 6903 w 10785"/>
                  <a:gd name="connsiteY964" fmla="*/ 2692 h 10000"/>
                  <a:gd name="connsiteX965" fmla="*/ 6899 w 10785"/>
                  <a:gd name="connsiteY965" fmla="*/ 2709 h 10000"/>
                  <a:gd name="connsiteX966" fmla="*/ 6857 w 10785"/>
                  <a:gd name="connsiteY966" fmla="*/ 2872 h 10000"/>
                  <a:gd name="connsiteX967" fmla="*/ 6857 w 10785"/>
                  <a:gd name="connsiteY967" fmla="*/ 3009 h 10000"/>
                  <a:gd name="connsiteX968" fmla="*/ 6848 w 10785"/>
                  <a:gd name="connsiteY968" fmla="*/ 3017 h 10000"/>
                  <a:gd name="connsiteX969" fmla="*/ 6839 w 10785"/>
                  <a:gd name="connsiteY969" fmla="*/ 3068 h 10000"/>
                  <a:gd name="connsiteX970" fmla="*/ 6829 w 10785"/>
                  <a:gd name="connsiteY970" fmla="*/ 3077 h 10000"/>
                  <a:gd name="connsiteX971" fmla="*/ 6829 w 10785"/>
                  <a:gd name="connsiteY971" fmla="*/ 3128 h 10000"/>
                  <a:gd name="connsiteX972" fmla="*/ 6816 w 10785"/>
                  <a:gd name="connsiteY972" fmla="*/ 3154 h 10000"/>
                  <a:gd name="connsiteX973" fmla="*/ 6811 w 10785"/>
                  <a:gd name="connsiteY973" fmla="*/ 3179 h 10000"/>
                  <a:gd name="connsiteX974" fmla="*/ 6797 w 10785"/>
                  <a:gd name="connsiteY974" fmla="*/ 3171 h 10000"/>
                  <a:gd name="connsiteX975" fmla="*/ 6783 w 10785"/>
                  <a:gd name="connsiteY975" fmla="*/ 3103 h 10000"/>
                  <a:gd name="connsiteX976" fmla="*/ 6779 w 10785"/>
                  <a:gd name="connsiteY976" fmla="*/ 3094 h 10000"/>
                  <a:gd name="connsiteX977" fmla="*/ 6779 w 10785"/>
                  <a:gd name="connsiteY977" fmla="*/ 3120 h 10000"/>
                  <a:gd name="connsiteX978" fmla="*/ 6770 w 10785"/>
                  <a:gd name="connsiteY978" fmla="*/ 3128 h 10000"/>
                  <a:gd name="connsiteX979" fmla="*/ 6765 w 10785"/>
                  <a:gd name="connsiteY979" fmla="*/ 3103 h 10000"/>
                  <a:gd name="connsiteX980" fmla="*/ 6756 w 10785"/>
                  <a:gd name="connsiteY980" fmla="*/ 3103 h 10000"/>
                  <a:gd name="connsiteX981" fmla="*/ 6742 w 10785"/>
                  <a:gd name="connsiteY981" fmla="*/ 3103 h 10000"/>
                  <a:gd name="connsiteX982" fmla="*/ 6737 w 10785"/>
                  <a:gd name="connsiteY982" fmla="*/ 3077 h 10000"/>
                  <a:gd name="connsiteX983" fmla="*/ 6737 w 10785"/>
                  <a:gd name="connsiteY983" fmla="*/ 3068 h 10000"/>
                  <a:gd name="connsiteX984" fmla="*/ 6728 w 10785"/>
                  <a:gd name="connsiteY984" fmla="*/ 3043 h 10000"/>
                  <a:gd name="connsiteX985" fmla="*/ 6724 w 10785"/>
                  <a:gd name="connsiteY985" fmla="*/ 3051 h 10000"/>
                  <a:gd name="connsiteX986" fmla="*/ 6714 w 10785"/>
                  <a:gd name="connsiteY986" fmla="*/ 3043 h 10000"/>
                  <a:gd name="connsiteX987" fmla="*/ 6710 w 10785"/>
                  <a:gd name="connsiteY987" fmla="*/ 3034 h 10000"/>
                  <a:gd name="connsiteX988" fmla="*/ 6705 w 10785"/>
                  <a:gd name="connsiteY988" fmla="*/ 2983 h 10000"/>
                  <a:gd name="connsiteX989" fmla="*/ 6696 w 10785"/>
                  <a:gd name="connsiteY989" fmla="*/ 2966 h 10000"/>
                  <a:gd name="connsiteX990" fmla="*/ 6691 w 10785"/>
                  <a:gd name="connsiteY990" fmla="*/ 2983 h 10000"/>
                  <a:gd name="connsiteX991" fmla="*/ 6677 w 10785"/>
                  <a:gd name="connsiteY991" fmla="*/ 2897 h 10000"/>
                  <a:gd name="connsiteX992" fmla="*/ 6677 w 10785"/>
                  <a:gd name="connsiteY992" fmla="*/ 2897 h 10000"/>
                  <a:gd name="connsiteX993" fmla="*/ 6677 w 10785"/>
                  <a:gd name="connsiteY993" fmla="*/ 2872 h 10000"/>
                  <a:gd name="connsiteX994" fmla="*/ 6668 w 10785"/>
                  <a:gd name="connsiteY994" fmla="*/ 2821 h 10000"/>
                  <a:gd name="connsiteX995" fmla="*/ 6664 w 10785"/>
                  <a:gd name="connsiteY995" fmla="*/ 2829 h 10000"/>
                  <a:gd name="connsiteX996" fmla="*/ 6654 w 10785"/>
                  <a:gd name="connsiteY996" fmla="*/ 2846 h 10000"/>
                  <a:gd name="connsiteX997" fmla="*/ 6650 w 10785"/>
                  <a:gd name="connsiteY997" fmla="*/ 2829 h 10000"/>
                  <a:gd name="connsiteX998" fmla="*/ 6650 w 10785"/>
                  <a:gd name="connsiteY998" fmla="*/ 2803 h 10000"/>
                  <a:gd name="connsiteX999" fmla="*/ 6650 w 10785"/>
                  <a:gd name="connsiteY999" fmla="*/ 2795 h 10000"/>
                  <a:gd name="connsiteX1000" fmla="*/ 6641 w 10785"/>
                  <a:gd name="connsiteY1000" fmla="*/ 2786 h 10000"/>
                  <a:gd name="connsiteX1001" fmla="*/ 6636 w 10785"/>
                  <a:gd name="connsiteY1001" fmla="*/ 2735 h 10000"/>
                  <a:gd name="connsiteX1002" fmla="*/ 6664 w 10785"/>
                  <a:gd name="connsiteY1002" fmla="*/ 2667 h 10000"/>
                  <a:gd name="connsiteX1003" fmla="*/ 6668 w 10785"/>
                  <a:gd name="connsiteY1003" fmla="*/ 2684 h 10000"/>
                  <a:gd name="connsiteX1004" fmla="*/ 6677 w 10785"/>
                  <a:gd name="connsiteY1004" fmla="*/ 2667 h 10000"/>
                  <a:gd name="connsiteX1005" fmla="*/ 6668 w 10785"/>
                  <a:gd name="connsiteY1005" fmla="*/ 2667 h 10000"/>
                  <a:gd name="connsiteX1006" fmla="*/ 6668 w 10785"/>
                  <a:gd name="connsiteY1006" fmla="*/ 2650 h 10000"/>
                  <a:gd name="connsiteX1007" fmla="*/ 6682 w 10785"/>
                  <a:gd name="connsiteY1007" fmla="*/ 2650 h 10000"/>
                  <a:gd name="connsiteX1008" fmla="*/ 6691 w 10785"/>
                  <a:gd name="connsiteY1008" fmla="*/ 2624 h 10000"/>
                  <a:gd name="connsiteX1009" fmla="*/ 6682 w 10785"/>
                  <a:gd name="connsiteY1009" fmla="*/ 2632 h 10000"/>
                  <a:gd name="connsiteX1010" fmla="*/ 6682 w 10785"/>
                  <a:gd name="connsiteY1010" fmla="*/ 2624 h 10000"/>
                  <a:gd name="connsiteX1011" fmla="*/ 6691 w 10785"/>
                  <a:gd name="connsiteY1011" fmla="*/ 2607 h 10000"/>
                  <a:gd name="connsiteX1012" fmla="*/ 6691 w 10785"/>
                  <a:gd name="connsiteY1012" fmla="*/ 2598 h 10000"/>
                  <a:gd name="connsiteX1013" fmla="*/ 6691 w 10785"/>
                  <a:gd name="connsiteY1013" fmla="*/ 2581 h 10000"/>
                  <a:gd name="connsiteX1014" fmla="*/ 6696 w 10785"/>
                  <a:gd name="connsiteY1014" fmla="*/ 2530 h 10000"/>
                  <a:gd name="connsiteX1015" fmla="*/ 6677 w 10785"/>
                  <a:gd name="connsiteY1015" fmla="*/ 2513 h 10000"/>
                  <a:gd name="connsiteX1016" fmla="*/ 6677 w 10785"/>
                  <a:gd name="connsiteY1016" fmla="*/ 2496 h 10000"/>
                  <a:gd name="connsiteX1017" fmla="*/ 6682 w 10785"/>
                  <a:gd name="connsiteY1017" fmla="*/ 2470 h 10000"/>
                  <a:gd name="connsiteX1018" fmla="*/ 6668 w 10785"/>
                  <a:gd name="connsiteY1018" fmla="*/ 2462 h 10000"/>
                  <a:gd name="connsiteX1019" fmla="*/ 6677 w 10785"/>
                  <a:gd name="connsiteY1019" fmla="*/ 2436 h 10000"/>
                  <a:gd name="connsiteX1020" fmla="*/ 6682 w 10785"/>
                  <a:gd name="connsiteY1020" fmla="*/ 2419 h 10000"/>
                  <a:gd name="connsiteX1021" fmla="*/ 6682 w 10785"/>
                  <a:gd name="connsiteY1021" fmla="*/ 2393 h 10000"/>
                  <a:gd name="connsiteX1022" fmla="*/ 6682 w 10785"/>
                  <a:gd name="connsiteY1022" fmla="*/ 2385 h 10000"/>
                  <a:gd name="connsiteX1023" fmla="*/ 6682 w 10785"/>
                  <a:gd name="connsiteY1023" fmla="*/ 2385 h 10000"/>
                  <a:gd name="connsiteX1024" fmla="*/ 6677 w 10785"/>
                  <a:gd name="connsiteY1024" fmla="*/ 2376 h 10000"/>
                  <a:gd name="connsiteX1025" fmla="*/ 6682 w 10785"/>
                  <a:gd name="connsiteY1025" fmla="*/ 2359 h 10000"/>
                  <a:gd name="connsiteX1026" fmla="*/ 6677 w 10785"/>
                  <a:gd name="connsiteY1026" fmla="*/ 2333 h 10000"/>
                  <a:gd name="connsiteX1027" fmla="*/ 6691 w 10785"/>
                  <a:gd name="connsiteY1027" fmla="*/ 2333 h 10000"/>
                  <a:gd name="connsiteX1028" fmla="*/ 6691 w 10785"/>
                  <a:gd name="connsiteY1028" fmla="*/ 2325 h 10000"/>
                  <a:gd name="connsiteX1029" fmla="*/ 6691 w 10785"/>
                  <a:gd name="connsiteY1029" fmla="*/ 2308 h 10000"/>
                  <a:gd name="connsiteX1030" fmla="*/ 6691 w 10785"/>
                  <a:gd name="connsiteY1030" fmla="*/ 2299 h 10000"/>
                  <a:gd name="connsiteX1031" fmla="*/ 6691 w 10785"/>
                  <a:gd name="connsiteY1031" fmla="*/ 2282 h 10000"/>
                  <a:gd name="connsiteX1032" fmla="*/ 6691 w 10785"/>
                  <a:gd name="connsiteY1032" fmla="*/ 2274 h 10000"/>
                  <a:gd name="connsiteX1033" fmla="*/ 6668 w 10785"/>
                  <a:gd name="connsiteY1033" fmla="*/ 2248 h 10000"/>
                  <a:gd name="connsiteX1034" fmla="*/ 6664 w 10785"/>
                  <a:gd name="connsiteY1034" fmla="*/ 2222 h 10000"/>
                  <a:gd name="connsiteX1035" fmla="*/ 6654 w 10785"/>
                  <a:gd name="connsiteY1035" fmla="*/ 2214 h 10000"/>
                  <a:gd name="connsiteX1036" fmla="*/ 6654 w 10785"/>
                  <a:gd name="connsiteY1036" fmla="*/ 2188 h 10000"/>
                  <a:gd name="connsiteX1037" fmla="*/ 6622 w 10785"/>
                  <a:gd name="connsiteY1037" fmla="*/ 2162 h 10000"/>
                  <a:gd name="connsiteX1038" fmla="*/ 6631 w 10785"/>
                  <a:gd name="connsiteY1038" fmla="*/ 2145 h 10000"/>
                  <a:gd name="connsiteX1039" fmla="*/ 6622 w 10785"/>
                  <a:gd name="connsiteY1039" fmla="*/ 2120 h 10000"/>
                  <a:gd name="connsiteX1040" fmla="*/ 6608 w 10785"/>
                  <a:gd name="connsiteY1040" fmla="*/ 2120 h 10000"/>
                  <a:gd name="connsiteX1041" fmla="*/ 6604 w 10785"/>
                  <a:gd name="connsiteY1041" fmla="*/ 2111 h 10000"/>
                  <a:gd name="connsiteX1042" fmla="*/ 6608 w 10785"/>
                  <a:gd name="connsiteY1042" fmla="*/ 2111 h 10000"/>
                  <a:gd name="connsiteX1043" fmla="*/ 6604 w 10785"/>
                  <a:gd name="connsiteY1043" fmla="*/ 2085 h 10000"/>
                  <a:gd name="connsiteX1044" fmla="*/ 6581 w 10785"/>
                  <a:gd name="connsiteY1044" fmla="*/ 2077 h 10000"/>
                  <a:gd name="connsiteX1045" fmla="*/ 6571 w 10785"/>
                  <a:gd name="connsiteY1045" fmla="*/ 2085 h 10000"/>
                  <a:gd name="connsiteX1046" fmla="*/ 6548 w 10785"/>
                  <a:gd name="connsiteY1046" fmla="*/ 2077 h 10000"/>
                  <a:gd name="connsiteX1047" fmla="*/ 6530 w 10785"/>
                  <a:gd name="connsiteY1047" fmla="*/ 2060 h 10000"/>
                  <a:gd name="connsiteX1048" fmla="*/ 6521 w 10785"/>
                  <a:gd name="connsiteY1048" fmla="*/ 2060 h 10000"/>
                  <a:gd name="connsiteX1049" fmla="*/ 6521 w 10785"/>
                  <a:gd name="connsiteY1049" fmla="*/ 2085 h 10000"/>
                  <a:gd name="connsiteX1050" fmla="*/ 6516 w 10785"/>
                  <a:gd name="connsiteY1050" fmla="*/ 2085 h 10000"/>
                  <a:gd name="connsiteX1051" fmla="*/ 6502 w 10785"/>
                  <a:gd name="connsiteY1051" fmla="*/ 2111 h 10000"/>
                  <a:gd name="connsiteX1052" fmla="*/ 6498 w 10785"/>
                  <a:gd name="connsiteY1052" fmla="*/ 2111 h 10000"/>
                  <a:gd name="connsiteX1053" fmla="*/ 6498 w 10785"/>
                  <a:gd name="connsiteY1053" fmla="*/ 2103 h 10000"/>
                  <a:gd name="connsiteX1054" fmla="*/ 6475 w 10785"/>
                  <a:gd name="connsiteY1054" fmla="*/ 2051 h 10000"/>
                  <a:gd name="connsiteX1055" fmla="*/ 6470 w 10785"/>
                  <a:gd name="connsiteY1055" fmla="*/ 2060 h 10000"/>
                  <a:gd name="connsiteX1056" fmla="*/ 6456 w 10785"/>
                  <a:gd name="connsiteY1056" fmla="*/ 2051 h 10000"/>
                  <a:gd name="connsiteX1057" fmla="*/ 6447 w 10785"/>
                  <a:gd name="connsiteY1057" fmla="*/ 2051 h 10000"/>
                  <a:gd name="connsiteX1058" fmla="*/ 6433 w 10785"/>
                  <a:gd name="connsiteY1058" fmla="*/ 2026 h 10000"/>
                  <a:gd name="connsiteX1059" fmla="*/ 6433 w 10785"/>
                  <a:gd name="connsiteY1059" fmla="*/ 2034 h 10000"/>
                  <a:gd name="connsiteX1060" fmla="*/ 6429 w 10785"/>
                  <a:gd name="connsiteY1060" fmla="*/ 2026 h 10000"/>
                  <a:gd name="connsiteX1061" fmla="*/ 6424 w 10785"/>
                  <a:gd name="connsiteY1061" fmla="*/ 2034 h 10000"/>
                  <a:gd name="connsiteX1062" fmla="*/ 6410 w 10785"/>
                  <a:gd name="connsiteY1062" fmla="*/ 2026 h 10000"/>
                  <a:gd name="connsiteX1063" fmla="*/ 6410 w 10785"/>
                  <a:gd name="connsiteY1063" fmla="*/ 1991 h 10000"/>
                  <a:gd name="connsiteX1064" fmla="*/ 6401 w 10785"/>
                  <a:gd name="connsiteY1064" fmla="*/ 1991 h 10000"/>
                  <a:gd name="connsiteX1065" fmla="*/ 6396 w 10785"/>
                  <a:gd name="connsiteY1065" fmla="*/ 2000 h 10000"/>
                  <a:gd name="connsiteX1066" fmla="*/ 6382 w 10785"/>
                  <a:gd name="connsiteY1066" fmla="*/ 1966 h 10000"/>
                  <a:gd name="connsiteX1067" fmla="*/ 6373 w 10785"/>
                  <a:gd name="connsiteY1067" fmla="*/ 1974 h 10000"/>
                  <a:gd name="connsiteX1068" fmla="*/ 6369 w 10785"/>
                  <a:gd name="connsiteY1068" fmla="*/ 1966 h 10000"/>
                  <a:gd name="connsiteX1069" fmla="*/ 6341 w 10785"/>
                  <a:gd name="connsiteY1069" fmla="*/ 1949 h 10000"/>
                  <a:gd name="connsiteX1070" fmla="*/ 6327 w 10785"/>
                  <a:gd name="connsiteY1070" fmla="*/ 1923 h 10000"/>
                  <a:gd name="connsiteX1071" fmla="*/ 6323 w 10785"/>
                  <a:gd name="connsiteY1071" fmla="*/ 1923 h 10000"/>
                  <a:gd name="connsiteX1072" fmla="*/ 6323 w 10785"/>
                  <a:gd name="connsiteY1072" fmla="*/ 1966 h 10000"/>
                  <a:gd name="connsiteX1073" fmla="*/ 6323 w 10785"/>
                  <a:gd name="connsiteY1073" fmla="*/ 1991 h 10000"/>
                  <a:gd name="connsiteX1074" fmla="*/ 6313 w 10785"/>
                  <a:gd name="connsiteY1074" fmla="*/ 1991 h 10000"/>
                  <a:gd name="connsiteX1075" fmla="*/ 6300 w 10785"/>
                  <a:gd name="connsiteY1075" fmla="*/ 1991 h 10000"/>
                  <a:gd name="connsiteX1076" fmla="*/ 6290 w 10785"/>
                  <a:gd name="connsiteY1076" fmla="*/ 1949 h 10000"/>
                  <a:gd name="connsiteX1077" fmla="*/ 6276 w 10785"/>
                  <a:gd name="connsiteY1077" fmla="*/ 2103 h 10000"/>
                  <a:gd name="connsiteX1078" fmla="*/ 6281 w 10785"/>
                  <a:gd name="connsiteY1078" fmla="*/ 2103 h 10000"/>
                  <a:gd name="connsiteX1079" fmla="*/ 6276 w 10785"/>
                  <a:gd name="connsiteY1079" fmla="*/ 2111 h 10000"/>
                  <a:gd name="connsiteX1080" fmla="*/ 6276 w 10785"/>
                  <a:gd name="connsiteY1080" fmla="*/ 2120 h 10000"/>
                  <a:gd name="connsiteX1081" fmla="*/ 6295 w 10785"/>
                  <a:gd name="connsiteY1081" fmla="*/ 2239 h 10000"/>
                  <a:gd name="connsiteX1082" fmla="*/ 6290 w 10785"/>
                  <a:gd name="connsiteY1082" fmla="*/ 2248 h 10000"/>
                  <a:gd name="connsiteX1083" fmla="*/ 6281 w 10785"/>
                  <a:gd name="connsiteY1083" fmla="*/ 2274 h 10000"/>
                  <a:gd name="connsiteX1084" fmla="*/ 6249 w 10785"/>
                  <a:gd name="connsiteY1084" fmla="*/ 2274 h 10000"/>
                  <a:gd name="connsiteX1085" fmla="*/ 6226 w 10785"/>
                  <a:gd name="connsiteY1085" fmla="*/ 2308 h 10000"/>
                  <a:gd name="connsiteX1086" fmla="*/ 6221 w 10785"/>
                  <a:gd name="connsiteY1086" fmla="*/ 2299 h 10000"/>
                  <a:gd name="connsiteX1087" fmla="*/ 6221 w 10785"/>
                  <a:gd name="connsiteY1087" fmla="*/ 2308 h 10000"/>
                  <a:gd name="connsiteX1088" fmla="*/ 6217 w 10785"/>
                  <a:gd name="connsiteY1088" fmla="*/ 2299 h 10000"/>
                  <a:gd name="connsiteX1089" fmla="*/ 6194 w 10785"/>
                  <a:gd name="connsiteY1089" fmla="*/ 2308 h 10000"/>
                  <a:gd name="connsiteX1090" fmla="*/ 6180 w 10785"/>
                  <a:gd name="connsiteY1090" fmla="*/ 2299 h 10000"/>
                  <a:gd name="connsiteX1091" fmla="*/ 6143 w 10785"/>
                  <a:gd name="connsiteY1091" fmla="*/ 2308 h 10000"/>
                  <a:gd name="connsiteX1092" fmla="*/ 6134 w 10785"/>
                  <a:gd name="connsiteY1092" fmla="*/ 2325 h 10000"/>
                  <a:gd name="connsiteX1093" fmla="*/ 6115 w 10785"/>
                  <a:gd name="connsiteY1093" fmla="*/ 2282 h 10000"/>
                  <a:gd name="connsiteX1094" fmla="*/ 6069 w 10785"/>
                  <a:gd name="connsiteY1094" fmla="*/ 2274 h 10000"/>
                  <a:gd name="connsiteX1095" fmla="*/ 6069 w 10785"/>
                  <a:gd name="connsiteY1095" fmla="*/ 2282 h 10000"/>
                  <a:gd name="connsiteX1096" fmla="*/ 6060 w 10785"/>
                  <a:gd name="connsiteY1096" fmla="*/ 2299 h 10000"/>
                  <a:gd name="connsiteX1097" fmla="*/ 5972 w 10785"/>
                  <a:gd name="connsiteY1097" fmla="*/ 2214 h 10000"/>
                  <a:gd name="connsiteX1098" fmla="*/ 5968 w 10785"/>
                  <a:gd name="connsiteY1098" fmla="*/ 2197 h 10000"/>
                  <a:gd name="connsiteX1099" fmla="*/ 5968 w 10785"/>
                  <a:gd name="connsiteY1099" fmla="*/ 2171 h 10000"/>
                  <a:gd name="connsiteX1100" fmla="*/ 5968 w 10785"/>
                  <a:gd name="connsiteY1100" fmla="*/ 2162 h 10000"/>
                  <a:gd name="connsiteX1101" fmla="*/ 5968 w 10785"/>
                  <a:gd name="connsiteY1101" fmla="*/ 2120 h 10000"/>
                  <a:gd name="connsiteX1102" fmla="*/ 5968 w 10785"/>
                  <a:gd name="connsiteY1102" fmla="*/ 2111 h 10000"/>
                  <a:gd name="connsiteX1103" fmla="*/ 5972 w 10785"/>
                  <a:gd name="connsiteY1103" fmla="*/ 2103 h 10000"/>
                  <a:gd name="connsiteX1104" fmla="*/ 5986 w 10785"/>
                  <a:gd name="connsiteY1104" fmla="*/ 2103 h 10000"/>
                  <a:gd name="connsiteX1105" fmla="*/ 5986 w 10785"/>
                  <a:gd name="connsiteY1105" fmla="*/ 2085 h 10000"/>
                  <a:gd name="connsiteX1106" fmla="*/ 5995 w 10785"/>
                  <a:gd name="connsiteY1106" fmla="*/ 2085 h 10000"/>
                  <a:gd name="connsiteX1107" fmla="*/ 5995 w 10785"/>
                  <a:gd name="connsiteY1107" fmla="*/ 2077 h 10000"/>
                  <a:gd name="connsiteX1108" fmla="*/ 5986 w 10785"/>
                  <a:gd name="connsiteY1108" fmla="*/ 2060 h 10000"/>
                  <a:gd name="connsiteX1109" fmla="*/ 5954 w 10785"/>
                  <a:gd name="connsiteY1109" fmla="*/ 2060 h 10000"/>
                  <a:gd name="connsiteX1110" fmla="*/ 5940 w 10785"/>
                  <a:gd name="connsiteY1110" fmla="*/ 2051 h 10000"/>
                  <a:gd name="connsiteX1111" fmla="*/ 5922 w 10785"/>
                  <a:gd name="connsiteY1111" fmla="*/ 2060 h 10000"/>
                  <a:gd name="connsiteX1112" fmla="*/ 5885 w 10785"/>
                  <a:gd name="connsiteY1112" fmla="*/ 2051 h 10000"/>
                  <a:gd name="connsiteX1113" fmla="*/ 5876 w 10785"/>
                  <a:gd name="connsiteY1113" fmla="*/ 2026 h 10000"/>
                  <a:gd name="connsiteX1114" fmla="*/ 5862 w 10785"/>
                  <a:gd name="connsiteY1114" fmla="*/ 2026 h 10000"/>
                  <a:gd name="connsiteX1115" fmla="*/ 5848 w 10785"/>
                  <a:gd name="connsiteY1115" fmla="*/ 2026 h 10000"/>
                  <a:gd name="connsiteX1116" fmla="*/ 5825 w 10785"/>
                  <a:gd name="connsiteY1116" fmla="*/ 2026 h 10000"/>
                  <a:gd name="connsiteX1117" fmla="*/ 5788 w 10785"/>
                  <a:gd name="connsiteY1117" fmla="*/ 1991 h 10000"/>
                  <a:gd name="connsiteX1118" fmla="*/ 5760 w 10785"/>
                  <a:gd name="connsiteY1118" fmla="*/ 2000 h 10000"/>
                  <a:gd name="connsiteX1119" fmla="*/ 5760 w 10785"/>
                  <a:gd name="connsiteY1119" fmla="*/ 2026 h 10000"/>
                  <a:gd name="connsiteX1120" fmla="*/ 5714 w 10785"/>
                  <a:gd name="connsiteY1120" fmla="*/ 2051 h 10000"/>
                  <a:gd name="connsiteX1121" fmla="*/ 5687 w 10785"/>
                  <a:gd name="connsiteY1121" fmla="*/ 2034 h 10000"/>
                  <a:gd name="connsiteX1122" fmla="*/ 5645 w 10785"/>
                  <a:gd name="connsiteY1122" fmla="*/ 2077 h 10000"/>
                  <a:gd name="connsiteX1123" fmla="*/ 5664 w 10785"/>
                  <a:gd name="connsiteY1123" fmla="*/ 2120 h 10000"/>
                  <a:gd name="connsiteX1124" fmla="*/ 5664 w 10785"/>
                  <a:gd name="connsiteY1124" fmla="*/ 2162 h 10000"/>
                  <a:gd name="connsiteX1125" fmla="*/ 5631 w 10785"/>
                  <a:gd name="connsiteY1125" fmla="*/ 2197 h 10000"/>
                  <a:gd name="connsiteX1126" fmla="*/ 5618 w 10785"/>
                  <a:gd name="connsiteY1126" fmla="*/ 2188 h 10000"/>
                  <a:gd name="connsiteX1127" fmla="*/ 5618 w 10785"/>
                  <a:gd name="connsiteY1127" fmla="*/ 2171 h 10000"/>
                  <a:gd name="connsiteX1128" fmla="*/ 5641 w 10785"/>
                  <a:gd name="connsiteY1128" fmla="*/ 2171 h 10000"/>
                  <a:gd name="connsiteX1129" fmla="*/ 5641 w 10785"/>
                  <a:gd name="connsiteY1129" fmla="*/ 2162 h 10000"/>
                  <a:gd name="connsiteX1130" fmla="*/ 5627 w 10785"/>
                  <a:gd name="connsiteY1130" fmla="*/ 2145 h 10000"/>
                  <a:gd name="connsiteX1131" fmla="*/ 5627 w 10785"/>
                  <a:gd name="connsiteY1131" fmla="*/ 2120 h 10000"/>
                  <a:gd name="connsiteX1132" fmla="*/ 5618 w 10785"/>
                  <a:gd name="connsiteY1132" fmla="*/ 2111 h 10000"/>
                  <a:gd name="connsiteX1133" fmla="*/ 5631 w 10785"/>
                  <a:gd name="connsiteY1133" fmla="*/ 2051 h 10000"/>
                  <a:gd name="connsiteX1134" fmla="*/ 5631 w 10785"/>
                  <a:gd name="connsiteY1134" fmla="*/ 2026 h 10000"/>
                  <a:gd name="connsiteX1135" fmla="*/ 5627 w 10785"/>
                  <a:gd name="connsiteY1135" fmla="*/ 1991 h 10000"/>
                  <a:gd name="connsiteX1136" fmla="*/ 5618 w 10785"/>
                  <a:gd name="connsiteY1136" fmla="*/ 1974 h 10000"/>
                  <a:gd name="connsiteX1137" fmla="*/ 5618 w 10785"/>
                  <a:gd name="connsiteY1137" fmla="*/ 1940 h 10000"/>
                  <a:gd name="connsiteX1138" fmla="*/ 5594 w 10785"/>
                  <a:gd name="connsiteY1138" fmla="*/ 1855 h 10000"/>
                  <a:gd name="connsiteX1139" fmla="*/ 5599 w 10785"/>
                  <a:gd name="connsiteY1139" fmla="*/ 1915 h 10000"/>
                  <a:gd name="connsiteX1140" fmla="*/ 5599 w 10785"/>
                  <a:gd name="connsiteY1140" fmla="*/ 1949 h 10000"/>
                  <a:gd name="connsiteX1141" fmla="*/ 5594 w 10785"/>
                  <a:gd name="connsiteY1141" fmla="*/ 1991 h 10000"/>
                  <a:gd name="connsiteX1142" fmla="*/ 5571 w 10785"/>
                  <a:gd name="connsiteY1142" fmla="*/ 2000 h 10000"/>
                  <a:gd name="connsiteX1143" fmla="*/ 5530 w 10785"/>
                  <a:gd name="connsiteY1143" fmla="*/ 1991 h 10000"/>
                  <a:gd name="connsiteX1144" fmla="*/ 5525 w 10785"/>
                  <a:gd name="connsiteY1144" fmla="*/ 2000 h 10000"/>
                  <a:gd name="connsiteX1145" fmla="*/ 5521 w 10785"/>
                  <a:gd name="connsiteY1145" fmla="*/ 1991 h 10000"/>
                  <a:gd name="connsiteX1146" fmla="*/ 5498 w 10785"/>
                  <a:gd name="connsiteY1146" fmla="*/ 1949 h 10000"/>
                  <a:gd name="connsiteX1147" fmla="*/ 5493 w 10785"/>
                  <a:gd name="connsiteY1147" fmla="*/ 1889 h 10000"/>
                  <a:gd name="connsiteX1148" fmla="*/ 5493 w 10785"/>
                  <a:gd name="connsiteY1148" fmla="*/ 1863 h 10000"/>
                  <a:gd name="connsiteX1149" fmla="*/ 5498 w 10785"/>
                  <a:gd name="connsiteY1149" fmla="*/ 1889 h 10000"/>
                  <a:gd name="connsiteX1150" fmla="*/ 5512 w 10785"/>
                  <a:gd name="connsiteY1150" fmla="*/ 1855 h 10000"/>
                  <a:gd name="connsiteX1151" fmla="*/ 5512 w 10785"/>
                  <a:gd name="connsiteY1151" fmla="*/ 1838 h 10000"/>
                  <a:gd name="connsiteX1152" fmla="*/ 5479 w 10785"/>
                  <a:gd name="connsiteY1152" fmla="*/ 1855 h 10000"/>
                  <a:gd name="connsiteX1153" fmla="*/ 5470 w 10785"/>
                  <a:gd name="connsiteY1153" fmla="*/ 1872 h 10000"/>
                  <a:gd name="connsiteX1154" fmla="*/ 5470 w 10785"/>
                  <a:gd name="connsiteY1154" fmla="*/ 1889 h 10000"/>
                  <a:gd name="connsiteX1155" fmla="*/ 5465 w 10785"/>
                  <a:gd name="connsiteY1155" fmla="*/ 1897 h 10000"/>
                  <a:gd name="connsiteX1156" fmla="*/ 5456 w 10785"/>
                  <a:gd name="connsiteY1156" fmla="*/ 1872 h 10000"/>
                  <a:gd name="connsiteX1157" fmla="*/ 5447 w 10785"/>
                  <a:gd name="connsiteY1157" fmla="*/ 1872 h 10000"/>
                  <a:gd name="connsiteX1158" fmla="*/ 5433 w 10785"/>
                  <a:gd name="connsiteY1158" fmla="*/ 1855 h 10000"/>
                  <a:gd name="connsiteX1159" fmla="*/ 5396 w 10785"/>
                  <a:gd name="connsiteY1159" fmla="*/ 1863 h 10000"/>
                  <a:gd name="connsiteX1160" fmla="*/ 5396 w 10785"/>
                  <a:gd name="connsiteY1160" fmla="*/ 1897 h 10000"/>
                  <a:gd name="connsiteX1161" fmla="*/ 5378 w 10785"/>
                  <a:gd name="connsiteY1161" fmla="*/ 1949 h 10000"/>
                  <a:gd name="connsiteX1162" fmla="*/ 5378 w 10785"/>
                  <a:gd name="connsiteY1162" fmla="*/ 1966 h 10000"/>
                  <a:gd name="connsiteX1163" fmla="*/ 5392 w 10785"/>
                  <a:gd name="connsiteY1163" fmla="*/ 2026 h 10000"/>
                  <a:gd name="connsiteX1164" fmla="*/ 5396 w 10785"/>
                  <a:gd name="connsiteY1164" fmla="*/ 2026 h 10000"/>
                  <a:gd name="connsiteX1165" fmla="*/ 5392 w 10785"/>
                  <a:gd name="connsiteY1165" fmla="*/ 2009 h 10000"/>
                  <a:gd name="connsiteX1166" fmla="*/ 5392 w 10785"/>
                  <a:gd name="connsiteY1166" fmla="*/ 2000 h 10000"/>
                  <a:gd name="connsiteX1167" fmla="*/ 5396 w 10785"/>
                  <a:gd name="connsiteY1167" fmla="*/ 2009 h 10000"/>
                  <a:gd name="connsiteX1168" fmla="*/ 5424 w 10785"/>
                  <a:gd name="connsiteY1168" fmla="*/ 2009 h 10000"/>
                  <a:gd name="connsiteX1169" fmla="*/ 5433 w 10785"/>
                  <a:gd name="connsiteY1169" fmla="*/ 1991 h 10000"/>
                  <a:gd name="connsiteX1170" fmla="*/ 5447 w 10785"/>
                  <a:gd name="connsiteY1170" fmla="*/ 1974 h 10000"/>
                  <a:gd name="connsiteX1171" fmla="*/ 5452 w 10785"/>
                  <a:gd name="connsiteY1171" fmla="*/ 1966 h 10000"/>
                  <a:gd name="connsiteX1172" fmla="*/ 5456 w 10785"/>
                  <a:gd name="connsiteY1172" fmla="*/ 1966 h 10000"/>
                  <a:gd name="connsiteX1173" fmla="*/ 5465 w 10785"/>
                  <a:gd name="connsiteY1173" fmla="*/ 2009 h 10000"/>
                  <a:gd name="connsiteX1174" fmla="*/ 5433 w 10785"/>
                  <a:gd name="connsiteY1174" fmla="*/ 2034 h 10000"/>
                  <a:gd name="connsiteX1175" fmla="*/ 5424 w 10785"/>
                  <a:gd name="connsiteY1175" fmla="*/ 2060 h 10000"/>
                  <a:gd name="connsiteX1176" fmla="*/ 5419 w 10785"/>
                  <a:gd name="connsiteY1176" fmla="*/ 2060 h 10000"/>
                  <a:gd name="connsiteX1177" fmla="*/ 5392 w 10785"/>
                  <a:gd name="connsiteY1177" fmla="*/ 2111 h 10000"/>
                  <a:gd name="connsiteX1178" fmla="*/ 5378 w 10785"/>
                  <a:gd name="connsiteY1178" fmla="*/ 2111 h 10000"/>
                  <a:gd name="connsiteX1179" fmla="*/ 5350 w 10785"/>
                  <a:gd name="connsiteY1179" fmla="*/ 2060 h 10000"/>
                  <a:gd name="connsiteX1180" fmla="*/ 5373 w 10785"/>
                  <a:gd name="connsiteY1180" fmla="*/ 2111 h 10000"/>
                  <a:gd name="connsiteX1181" fmla="*/ 5364 w 10785"/>
                  <a:gd name="connsiteY1181" fmla="*/ 2111 h 10000"/>
                  <a:gd name="connsiteX1182" fmla="*/ 5359 w 10785"/>
                  <a:gd name="connsiteY1182" fmla="*/ 2103 h 10000"/>
                  <a:gd name="connsiteX1183" fmla="*/ 5359 w 10785"/>
                  <a:gd name="connsiteY1183" fmla="*/ 2120 h 10000"/>
                  <a:gd name="connsiteX1184" fmla="*/ 5359 w 10785"/>
                  <a:gd name="connsiteY1184" fmla="*/ 2137 h 10000"/>
                  <a:gd name="connsiteX1185" fmla="*/ 5313 w 10785"/>
                  <a:gd name="connsiteY1185" fmla="*/ 2162 h 10000"/>
                  <a:gd name="connsiteX1186" fmla="*/ 5300 w 10785"/>
                  <a:gd name="connsiteY1186" fmla="*/ 2162 h 10000"/>
                  <a:gd name="connsiteX1187" fmla="*/ 5300 w 10785"/>
                  <a:gd name="connsiteY1187" fmla="*/ 2171 h 10000"/>
                  <a:gd name="connsiteX1188" fmla="*/ 5300 w 10785"/>
                  <a:gd name="connsiteY1188" fmla="*/ 2197 h 10000"/>
                  <a:gd name="connsiteX1189" fmla="*/ 5276 w 10785"/>
                  <a:gd name="connsiteY1189" fmla="*/ 2188 h 10000"/>
                  <a:gd name="connsiteX1190" fmla="*/ 5249 w 10785"/>
                  <a:gd name="connsiteY1190" fmla="*/ 2222 h 10000"/>
                  <a:gd name="connsiteX1191" fmla="*/ 5249 w 10785"/>
                  <a:gd name="connsiteY1191" fmla="*/ 2222 h 10000"/>
                  <a:gd name="connsiteX1192" fmla="*/ 5217 w 10785"/>
                  <a:gd name="connsiteY1192" fmla="*/ 2214 h 10000"/>
                  <a:gd name="connsiteX1193" fmla="*/ 5203 w 10785"/>
                  <a:gd name="connsiteY1193" fmla="*/ 2239 h 10000"/>
                  <a:gd name="connsiteX1194" fmla="*/ 5171 w 10785"/>
                  <a:gd name="connsiteY1194" fmla="*/ 2214 h 10000"/>
                  <a:gd name="connsiteX1195" fmla="*/ 5157 w 10785"/>
                  <a:gd name="connsiteY1195" fmla="*/ 2239 h 10000"/>
                  <a:gd name="connsiteX1196" fmla="*/ 5166 w 10785"/>
                  <a:gd name="connsiteY1196" fmla="*/ 2256 h 10000"/>
                  <a:gd name="connsiteX1197" fmla="*/ 5171 w 10785"/>
                  <a:gd name="connsiteY1197" fmla="*/ 2308 h 10000"/>
                  <a:gd name="connsiteX1198" fmla="*/ 5212 w 10785"/>
                  <a:gd name="connsiteY1198" fmla="*/ 2350 h 10000"/>
                  <a:gd name="connsiteX1199" fmla="*/ 5203 w 10785"/>
                  <a:gd name="connsiteY1199" fmla="*/ 2350 h 10000"/>
                  <a:gd name="connsiteX1200" fmla="*/ 5166 w 10785"/>
                  <a:gd name="connsiteY1200" fmla="*/ 2325 h 10000"/>
                  <a:gd name="connsiteX1201" fmla="*/ 5152 w 10785"/>
                  <a:gd name="connsiteY1201" fmla="*/ 2308 h 10000"/>
                  <a:gd name="connsiteX1202" fmla="*/ 5143 w 10785"/>
                  <a:gd name="connsiteY1202" fmla="*/ 2333 h 10000"/>
                  <a:gd name="connsiteX1203" fmla="*/ 5138 w 10785"/>
                  <a:gd name="connsiteY1203" fmla="*/ 2333 h 10000"/>
                  <a:gd name="connsiteX1204" fmla="*/ 5124 w 10785"/>
                  <a:gd name="connsiteY1204" fmla="*/ 2376 h 10000"/>
                  <a:gd name="connsiteX1205" fmla="*/ 5115 w 10785"/>
                  <a:gd name="connsiteY1205" fmla="*/ 2385 h 10000"/>
                  <a:gd name="connsiteX1206" fmla="*/ 5106 w 10785"/>
                  <a:gd name="connsiteY1206" fmla="*/ 2385 h 10000"/>
                  <a:gd name="connsiteX1207" fmla="*/ 5055 w 10785"/>
                  <a:gd name="connsiteY1207" fmla="*/ 2470 h 10000"/>
                  <a:gd name="connsiteX1208" fmla="*/ 5065 w 10785"/>
                  <a:gd name="connsiteY1208" fmla="*/ 2462 h 10000"/>
                  <a:gd name="connsiteX1209" fmla="*/ 5055 w 10785"/>
                  <a:gd name="connsiteY1209" fmla="*/ 2444 h 10000"/>
                  <a:gd name="connsiteX1210" fmla="*/ 5041 w 10785"/>
                  <a:gd name="connsiteY1210" fmla="*/ 2462 h 10000"/>
                  <a:gd name="connsiteX1211" fmla="*/ 5037 w 10785"/>
                  <a:gd name="connsiteY1211" fmla="*/ 2470 h 10000"/>
                  <a:gd name="connsiteX1212" fmla="*/ 5032 w 10785"/>
                  <a:gd name="connsiteY1212" fmla="*/ 2470 h 10000"/>
                  <a:gd name="connsiteX1213" fmla="*/ 5032 w 10785"/>
                  <a:gd name="connsiteY1213" fmla="*/ 2444 h 10000"/>
                  <a:gd name="connsiteX1214" fmla="*/ 5055 w 10785"/>
                  <a:gd name="connsiteY1214" fmla="*/ 2410 h 10000"/>
                  <a:gd name="connsiteX1215" fmla="*/ 5065 w 10785"/>
                  <a:gd name="connsiteY1215" fmla="*/ 2393 h 10000"/>
                  <a:gd name="connsiteX1216" fmla="*/ 5069 w 10785"/>
                  <a:gd name="connsiteY1216" fmla="*/ 2385 h 10000"/>
                  <a:gd name="connsiteX1217" fmla="*/ 5083 w 10785"/>
                  <a:gd name="connsiteY1217" fmla="*/ 2376 h 10000"/>
                  <a:gd name="connsiteX1218" fmla="*/ 5097 w 10785"/>
                  <a:gd name="connsiteY1218" fmla="*/ 2376 h 10000"/>
                  <a:gd name="connsiteX1219" fmla="*/ 5124 w 10785"/>
                  <a:gd name="connsiteY1219" fmla="*/ 2325 h 10000"/>
                  <a:gd name="connsiteX1220" fmla="*/ 5143 w 10785"/>
                  <a:gd name="connsiteY1220" fmla="*/ 2248 h 10000"/>
                  <a:gd name="connsiteX1221" fmla="*/ 5152 w 10785"/>
                  <a:gd name="connsiteY1221" fmla="*/ 2239 h 10000"/>
                  <a:gd name="connsiteX1222" fmla="*/ 5166 w 10785"/>
                  <a:gd name="connsiteY1222" fmla="*/ 2162 h 10000"/>
                  <a:gd name="connsiteX1223" fmla="*/ 5171 w 10785"/>
                  <a:gd name="connsiteY1223" fmla="*/ 2171 h 10000"/>
                  <a:gd name="connsiteX1224" fmla="*/ 5198 w 10785"/>
                  <a:gd name="connsiteY1224" fmla="*/ 2145 h 10000"/>
                  <a:gd name="connsiteX1225" fmla="*/ 5203 w 10785"/>
                  <a:gd name="connsiteY1225" fmla="*/ 2111 h 10000"/>
                  <a:gd name="connsiteX1226" fmla="*/ 5217 w 10785"/>
                  <a:gd name="connsiteY1226" fmla="*/ 2060 h 10000"/>
                  <a:gd name="connsiteX1227" fmla="*/ 5226 w 10785"/>
                  <a:gd name="connsiteY1227" fmla="*/ 2026 h 10000"/>
                  <a:gd name="connsiteX1228" fmla="*/ 5286 w 10785"/>
                  <a:gd name="connsiteY1228" fmla="*/ 2026 h 10000"/>
                  <a:gd name="connsiteX1229" fmla="*/ 5290 w 10785"/>
                  <a:gd name="connsiteY1229" fmla="*/ 2034 h 10000"/>
                  <a:gd name="connsiteX1230" fmla="*/ 5323 w 10785"/>
                  <a:gd name="connsiteY1230" fmla="*/ 1923 h 10000"/>
                  <a:gd name="connsiteX1231" fmla="*/ 5323 w 10785"/>
                  <a:gd name="connsiteY1231" fmla="*/ 1889 h 10000"/>
                  <a:gd name="connsiteX1232" fmla="*/ 5359 w 10785"/>
                  <a:gd name="connsiteY1232" fmla="*/ 1829 h 10000"/>
                  <a:gd name="connsiteX1233" fmla="*/ 5378 w 10785"/>
                  <a:gd name="connsiteY1233" fmla="*/ 1812 h 10000"/>
                  <a:gd name="connsiteX1234" fmla="*/ 5406 w 10785"/>
                  <a:gd name="connsiteY1234" fmla="*/ 1752 h 10000"/>
                  <a:gd name="connsiteX1235" fmla="*/ 5410 w 10785"/>
                  <a:gd name="connsiteY1235" fmla="*/ 1718 h 10000"/>
                  <a:gd name="connsiteX1236" fmla="*/ 5438 w 10785"/>
                  <a:gd name="connsiteY1236" fmla="*/ 1667 h 10000"/>
                  <a:gd name="connsiteX1237" fmla="*/ 5438 w 10785"/>
                  <a:gd name="connsiteY1237" fmla="*/ 1650 h 10000"/>
                  <a:gd name="connsiteX1238" fmla="*/ 5438 w 10785"/>
                  <a:gd name="connsiteY1238" fmla="*/ 1641 h 10000"/>
                  <a:gd name="connsiteX1239" fmla="*/ 5452 w 10785"/>
                  <a:gd name="connsiteY1239" fmla="*/ 1641 h 10000"/>
                  <a:gd name="connsiteX1240" fmla="*/ 5456 w 10785"/>
                  <a:gd name="connsiteY1240" fmla="*/ 1615 h 10000"/>
                  <a:gd name="connsiteX1241" fmla="*/ 5456 w 10785"/>
                  <a:gd name="connsiteY1241" fmla="*/ 1615 h 10000"/>
                  <a:gd name="connsiteX1242" fmla="*/ 5465 w 10785"/>
                  <a:gd name="connsiteY1242" fmla="*/ 1598 h 10000"/>
                  <a:gd name="connsiteX1243" fmla="*/ 5465 w 10785"/>
                  <a:gd name="connsiteY1243" fmla="*/ 1615 h 10000"/>
                  <a:gd name="connsiteX1244" fmla="*/ 5479 w 10785"/>
                  <a:gd name="connsiteY1244" fmla="*/ 1598 h 10000"/>
                  <a:gd name="connsiteX1245" fmla="*/ 5484 w 10785"/>
                  <a:gd name="connsiteY1245" fmla="*/ 1581 h 10000"/>
                  <a:gd name="connsiteX1246" fmla="*/ 5493 w 10785"/>
                  <a:gd name="connsiteY1246" fmla="*/ 1581 h 10000"/>
                  <a:gd name="connsiteX1247" fmla="*/ 5512 w 10785"/>
                  <a:gd name="connsiteY1247" fmla="*/ 1538 h 10000"/>
                  <a:gd name="connsiteX1248" fmla="*/ 5530 w 10785"/>
                  <a:gd name="connsiteY1248" fmla="*/ 1564 h 10000"/>
                  <a:gd name="connsiteX1249" fmla="*/ 5530 w 10785"/>
                  <a:gd name="connsiteY1249" fmla="*/ 1538 h 10000"/>
                  <a:gd name="connsiteX1250" fmla="*/ 5539 w 10785"/>
                  <a:gd name="connsiteY1250" fmla="*/ 1530 h 10000"/>
                  <a:gd name="connsiteX1251" fmla="*/ 5530 w 10785"/>
                  <a:gd name="connsiteY1251" fmla="*/ 1504 h 10000"/>
                  <a:gd name="connsiteX1252" fmla="*/ 5567 w 10785"/>
                  <a:gd name="connsiteY1252" fmla="*/ 1479 h 10000"/>
                  <a:gd name="connsiteX1253" fmla="*/ 5553 w 10785"/>
                  <a:gd name="connsiteY1253" fmla="*/ 1479 h 10000"/>
                  <a:gd name="connsiteX1254" fmla="*/ 5553 w 10785"/>
                  <a:gd name="connsiteY1254" fmla="*/ 1453 h 10000"/>
                  <a:gd name="connsiteX1255" fmla="*/ 5581 w 10785"/>
                  <a:gd name="connsiteY1255" fmla="*/ 1444 h 10000"/>
                  <a:gd name="connsiteX1256" fmla="*/ 5581 w 10785"/>
                  <a:gd name="connsiteY1256" fmla="*/ 1453 h 10000"/>
                  <a:gd name="connsiteX1257" fmla="*/ 5585 w 10785"/>
                  <a:gd name="connsiteY1257" fmla="*/ 1444 h 10000"/>
                  <a:gd name="connsiteX1258" fmla="*/ 5594 w 10785"/>
                  <a:gd name="connsiteY1258" fmla="*/ 1427 h 10000"/>
                  <a:gd name="connsiteX1259" fmla="*/ 5599 w 10785"/>
                  <a:gd name="connsiteY1259" fmla="*/ 1419 h 10000"/>
                  <a:gd name="connsiteX1260" fmla="*/ 5594 w 10785"/>
                  <a:gd name="connsiteY1260" fmla="*/ 1402 h 10000"/>
                  <a:gd name="connsiteX1261" fmla="*/ 5604 w 10785"/>
                  <a:gd name="connsiteY1261" fmla="*/ 1393 h 10000"/>
                  <a:gd name="connsiteX1262" fmla="*/ 5618 w 10785"/>
                  <a:gd name="connsiteY1262" fmla="*/ 1393 h 10000"/>
                  <a:gd name="connsiteX1263" fmla="*/ 5627 w 10785"/>
                  <a:gd name="connsiteY1263" fmla="*/ 1368 h 10000"/>
                  <a:gd name="connsiteX1264" fmla="*/ 5627 w 10785"/>
                  <a:gd name="connsiteY1264" fmla="*/ 1325 h 10000"/>
                  <a:gd name="connsiteX1265" fmla="*/ 5645 w 10785"/>
                  <a:gd name="connsiteY1265" fmla="*/ 1291 h 10000"/>
                  <a:gd name="connsiteX1266" fmla="*/ 5645 w 10785"/>
                  <a:gd name="connsiteY1266" fmla="*/ 1282 h 10000"/>
                  <a:gd name="connsiteX1267" fmla="*/ 5654 w 10785"/>
                  <a:gd name="connsiteY1267" fmla="*/ 1265 h 10000"/>
                  <a:gd name="connsiteX1268" fmla="*/ 5654 w 10785"/>
                  <a:gd name="connsiteY1268" fmla="*/ 1214 h 10000"/>
                  <a:gd name="connsiteX1269" fmla="*/ 5654 w 10785"/>
                  <a:gd name="connsiteY1269" fmla="*/ 1214 h 10000"/>
                  <a:gd name="connsiteX1270" fmla="*/ 5645 w 10785"/>
                  <a:gd name="connsiteY1270" fmla="*/ 1197 h 10000"/>
                  <a:gd name="connsiteX1271" fmla="*/ 5659 w 10785"/>
                  <a:gd name="connsiteY1271" fmla="*/ 1197 h 10000"/>
                  <a:gd name="connsiteX1272" fmla="*/ 5654 w 10785"/>
                  <a:gd name="connsiteY1272" fmla="*/ 1154 h 10000"/>
                  <a:gd name="connsiteX1273" fmla="*/ 5641 w 10785"/>
                  <a:gd name="connsiteY1273" fmla="*/ 1154 h 10000"/>
                  <a:gd name="connsiteX1274" fmla="*/ 5627 w 10785"/>
                  <a:gd name="connsiteY1274" fmla="*/ 1128 h 10000"/>
                  <a:gd name="connsiteX1275" fmla="*/ 5618 w 10785"/>
                  <a:gd name="connsiteY1275" fmla="*/ 1094 h 10000"/>
                  <a:gd name="connsiteX1276" fmla="*/ 5613 w 10785"/>
                  <a:gd name="connsiteY1276" fmla="*/ 1094 h 10000"/>
                  <a:gd name="connsiteX1277" fmla="*/ 5604 w 10785"/>
                  <a:gd name="connsiteY1277" fmla="*/ 1120 h 10000"/>
                  <a:gd name="connsiteX1278" fmla="*/ 5604 w 10785"/>
                  <a:gd name="connsiteY1278" fmla="*/ 1128 h 10000"/>
                  <a:gd name="connsiteX1279" fmla="*/ 5599 w 10785"/>
                  <a:gd name="connsiteY1279" fmla="*/ 1103 h 10000"/>
                  <a:gd name="connsiteX1280" fmla="*/ 5599 w 10785"/>
                  <a:gd name="connsiteY1280" fmla="*/ 1103 h 10000"/>
                  <a:gd name="connsiteX1281" fmla="*/ 5594 w 10785"/>
                  <a:gd name="connsiteY1281" fmla="*/ 1068 h 10000"/>
                  <a:gd name="connsiteX1282" fmla="*/ 5594 w 10785"/>
                  <a:gd name="connsiteY1282" fmla="*/ 1060 h 10000"/>
                  <a:gd name="connsiteX1283" fmla="*/ 5581 w 10785"/>
                  <a:gd name="connsiteY1283" fmla="*/ 1034 h 10000"/>
                  <a:gd name="connsiteX1284" fmla="*/ 5571 w 10785"/>
                  <a:gd name="connsiteY1284" fmla="*/ 1009 h 10000"/>
                  <a:gd name="connsiteX1285" fmla="*/ 5571 w 10785"/>
                  <a:gd name="connsiteY1285" fmla="*/ 991 h 10000"/>
                  <a:gd name="connsiteX1286" fmla="*/ 5585 w 10785"/>
                  <a:gd name="connsiteY1286" fmla="*/ 1009 h 10000"/>
                  <a:gd name="connsiteX1287" fmla="*/ 5604 w 10785"/>
                  <a:gd name="connsiteY1287" fmla="*/ 1043 h 10000"/>
                  <a:gd name="connsiteX1288" fmla="*/ 5641 w 10785"/>
                  <a:gd name="connsiteY1288" fmla="*/ 1094 h 10000"/>
                  <a:gd name="connsiteX1289" fmla="*/ 5631 w 10785"/>
                  <a:gd name="connsiteY1289" fmla="*/ 1128 h 10000"/>
                  <a:gd name="connsiteX1290" fmla="*/ 5641 w 10785"/>
                  <a:gd name="connsiteY1290" fmla="*/ 1128 h 10000"/>
                  <a:gd name="connsiteX1291" fmla="*/ 5659 w 10785"/>
                  <a:gd name="connsiteY1291" fmla="*/ 1017 h 10000"/>
                  <a:gd name="connsiteX1292" fmla="*/ 5659 w 10785"/>
                  <a:gd name="connsiteY1292" fmla="*/ 983 h 10000"/>
                  <a:gd name="connsiteX1293" fmla="*/ 5659 w 10785"/>
                  <a:gd name="connsiteY1293" fmla="*/ 957 h 10000"/>
                  <a:gd name="connsiteX1294" fmla="*/ 5654 w 10785"/>
                  <a:gd name="connsiteY1294" fmla="*/ 966 h 10000"/>
                  <a:gd name="connsiteX1295" fmla="*/ 5641 w 10785"/>
                  <a:gd name="connsiteY1295" fmla="*/ 957 h 10000"/>
                  <a:gd name="connsiteX1296" fmla="*/ 5631 w 10785"/>
                  <a:gd name="connsiteY1296" fmla="*/ 897 h 10000"/>
                  <a:gd name="connsiteX1297" fmla="*/ 5641 w 10785"/>
                  <a:gd name="connsiteY1297" fmla="*/ 872 h 10000"/>
                  <a:gd name="connsiteX1298" fmla="*/ 5618 w 10785"/>
                  <a:gd name="connsiteY1298" fmla="*/ 803 h 10000"/>
                  <a:gd name="connsiteX1299" fmla="*/ 5604 w 10785"/>
                  <a:gd name="connsiteY1299" fmla="*/ 821 h 10000"/>
                  <a:gd name="connsiteX1300" fmla="*/ 5613 w 10785"/>
                  <a:gd name="connsiteY1300" fmla="*/ 846 h 10000"/>
                  <a:gd name="connsiteX1301" fmla="*/ 5604 w 10785"/>
                  <a:gd name="connsiteY1301" fmla="*/ 855 h 10000"/>
                  <a:gd name="connsiteX1302" fmla="*/ 5599 w 10785"/>
                  <a:gd name="connsiteY1302" fmla="*/ 880 h 10000"/>
                  <a:gd name="connsiteX1303" fmla="*/ 5594 w 10785"/>
                  <a:gd name="connsiteY1303" fmla="*/ 880 h 10000"/>
                  <a:gd name="connsiteX1304" fmla="*/ 5585 w 10785"/>
                  <a:gd name="connsiteY1304" fmla="*/ 829 h 10000"/>
                  <a:gd name="connsiteX1305" fmla="*/ 5571 w 10785"/>
                  <a:gd name="connsiteY1305" fmla="*/ 803 h 10000"/>
                  <a:gd name="connsiteX1306" fmla="*/ 5585 w 10785"/>
                  <a:gd name="connsiteY1306" fmla="*/ 795 h 10000"/>
                  <a:gd name="connsiteX1307" fmla="*/ 5585 w 10785"/>
                  <a:gd name="connsiteY1307" fmla="*/ 761 h 10000"/>
                  <a:gd name="connsiteX1308" fmla="*/ 5558 w 10785"/>
                  <a:gd name="connsiteY1308" fmla="*/ 709 h 10000"/>
                  <a:gd name="connsiteX1309" fmla="*/ 5544 w 10785"/>
                  <a:gd name="connsiteY1309" fmla="*/ 709 h 10000"/>
                  <a:gd name="connsiteX1310" fmla="*/ 5544 w 10785"/>
                  <a:gd name="connsiteY1310" fmla="*/ 684 h 10000"/>
                  <a:gd name="connsiteX1311" fmla="*/ 5525 w 10785"/>
                  <a:gd name="connsiteY1311" fmla="*/ 632 h 10000"/>
                  <a:gd name="connsiteX1312" fmla="*/ 5507 w 10785"/>
                  <a:gd name="connsiteY1312" fmla="*/ 607 h 10000"/>
                  <a:gd name="connsiteX1313" fmla="*/ 5512 w 10785"/>
                  <a:gd name="connsiteY1313" fmla="*/ 598 h 10000"/>
                  <a:gd name="connsiteX1314" fmla="*/ 5507 w 10785"/>
                  <a:gd name="connsiteY1314" fmla="*/ 581 h 10000"/>
                  <a:gd name="connsiteX1315" fmla="*/ 5493 w 10785"/>
                  <a:gd name="connsiteY1315" fmla="*/ 573 h 10000"/>
                  <a:gd name="connsiteX1316" fmla="*/ 5484 w 10785"/>
                  <a:gd name="connsiteY1316" fmla="*/ 581 h 10000"/>
                  <a:gd name="connsiteX1317" fmla="*/ 5484 w 10785"/>
                  <a:gd name="connsiteY1317" fmla="*/ 573 h 10000"/>
                  <a:gd name="connsiteX1318" fmla="*/ 5484 w 10785"/>
                  <a:gd name="connsiteY1318" fmla="*/ 547 h 10000"/>
                  <a:gd name="connsiteX1319" fmla="*/ 5465 w 10785"/>
                  <a:gd name="connsiteY1319" fmla="*/ 556 h 10000"/>
                  <a:gd name="connsiteX1320" fmla="*/ 5433 w 10785"/>
                  <a:gd name="connsiteY1320" fmla="*/ 547 h 10000"/>
                  <a:gd name="connsiteX1321" fmla="*/ 5410 w 10785"/>
                  <a:gd name="connsiteY1321" fmla="*/ 573 h 10000"/>
                  <a:gd name="connsiteX1322" fmla="*/ 5406 w 10785"/>
                  <a:gd name="connsiteY1322" fmla="*/ 573 h 10000"/>
                  <a:gd name="connsiteX1323" fmla="*/ 5392 w 10785"/>
                  <a:gd name="connsiteY1323" fmla="*/ 573 h 10000"/>
                  <a:gd name="connsiteX1324" fmla="*/ 5364 w 10785"/>
                  <a:gd name="connsiteY1324" fmla="*/ 530 h 10000"/>
                  <a:gd name="connsiteX1325" fmla="*/ 5350 w 10785"/>
                  <a:gd name="connsiteY1325" fmla="*/ 556 h 10000"/>
                  <a:gd name="connsiteX1326" fmla="*/ 5346 w 10785"/>
                  <a:gd name="connsiteY1326" fmla="*/ 556 h 10000"/>
                  <a:gd name="connsiteX1327" fmla="*/ 5313 w 10785"/>
                  <a:gd name="connsiteY1327" fmla="*/ 573 h 10000"/>
                  <a:gd name="connsiteX1328" fmla="*/ 5304 w 10785"/>
                  <a:gd name="connsiteY1328" fmla="*/ 556 h 10000"/>
                  <a:gd name="connsiteX1329" fmla="*/ 5290 w 10785"/>
                  <a:gd name="connsiteY1329" fmla="*/ 573 h 10000"/>
                  <a:gd name="connsiteX1330" fmla="*/ 5290 w 10785"/>
                  <a:gd name="connsiteY1330" fmla="*/ 556 h 10000"/>
                  <a:gd name="connsiteX1331" fmla="*/ 5300 w 10785"/>
                  <a:gd name="connsiteY1331" fmla="*/ 547 h 10000"/>
                  <a:gd name="connsiteX1332" fmla="*/ 5300 w 10785"/>
                  <a:gd name="connsiteY1332" fmla="*/ 530 h 10000"/>
                  <a:gd name="connsiteX1333" fmla="*/ 5290 w 10785"/>
                  <a:gd name="connsiteY1333" fmla="*/ 530 h 10000"/>
                  <a:gd name="connsiteX1334" fmla="*/ 5286 w 10785"/>
                  <a:gd name="connsiteY1334" fmla="*/ 547 h 10000"/>
                  <a:gd name="connsiteX1335" fmla="*/ 5272 w 10785"/>
                  <a:gd name="connsiteY1335" fmla="*/ 556 h 10000"/>
                  <a:gd name="connsiteX1336" fmla="*/ 5272 w 10785"/>
                  <a:gd name="connsiteY1336" fmla="*/ 598 h 10000"/>
                  <a:gd name="connsiteX1337" fmla="*/ 5276 w 10785"/>
                  <a:gd name="connsiteY1337" fmla="*/ 581 h 10000"/>
                  <a:gd name="connsiteX1338" fmla="*/ 5272 w 10785"/>
                  <a:gd name="connsiteY1338" fmla="*/ 607 h 10000"/>
                  <a:gd name="connsiteX1339" fmla="*/ 5263 w 10785"/>
                  <a:gd name="connsiteY1339" fmla="*/ 607 h 10000"/>
                  <a:gd name="connsiteX1340" fmla="*/ 5263 w 10785"/>
                  <a:gd name="connsiteY1340" fmla="*/ 632 h 10000"/>
                  <a:gd name="connsiteX1341" fmla="*/ 5258 w 10785"/>
                  <a:gd name="connsiteY1341" fmla="*/ 658 h 10000"/>
                  <a:gd name="connsiteX1342" fmla="*/ 5244 w 10785"/>
                  <a:gd name="connsiteY1342" fmla="*/ 667 h 10000"/>
                  <a:gd name="connsiteX1343" fmla="*/ 5240 w 10785"/>
                  <a:gd name="connsiteY1343" fmla="*/ 658 h 10000"/>
                  <a:gd name="connsiteX1344" fmla="*/ 5240 w 10785"/>
                  <a:gd name="connsiteY1344" fmla="*/ 684 h 10000"/>
                  <a:gd name="connsiteX1345" fmla="*/ 5212 w 10785"/>
                  <a:gd name="connsiteY1345" fmla="*/ 684 h 10000"/>
                  <a:gd name="connsiteX1346" fmla="*/ 5198 w 10785"/>
                  <a:gd name="connsiteY1346" fmla="*/ 692 h 10000"/>
                  <a:gd name="connsiteX1347" fmla="*/ 5184 w 10785"/>
                  <a:gd name="connsiteY1347" fmla="*/ 684 h 10000"/>
                  <a:gd name="connsiteX1348" fmla="*/ 5157 w 10785"/>
                  <a:gd name="connsiteY1348" fmla="*/ 684 h 10000"/>
                  <a:gd name="connsiteX1349" fmla="*/ 5157 w 10785"/>
                  <a:gd name="connsiteY1349" fmla="*/ 667 h 10000"/>
                  <a:gd name="connsiteX1350" fmla="*/ 5157 w 10785"/>
                  <a:gd name="connsiteY1350" fmla="*/ 667 h 10000"/>
                  <a:gd name="connsiteX1351" fmla="*/ 5180 w 10785"/>
                  <a:gd name="connsiteY1351" fmla="*/ 650 h 10000"/>
                  <a:gd name="connsiteX1352" fmla="*/ 5184 w 10785"/>
                  <a:gd name="connsiteY1352" fmla="*/ 658 h 10000"/>
                  <a:gd name="connsiteX1353" fmla="*/ 5203 w 10785"/>
                  <a:gd name="connsiteY1353" fmla="*/ 547 h 10000"/>
                  <a:gd name="connsiteX1354" fmla="*/ 5226 w 10785"/>
                  <a:gd name="connsiteY1354" fmla="*/ 530 h 10000"/>
                  <a:gd name="connsiteX1355" fmla="*/ 5230 w 10785"/>
                  <a:gd name="connsiteY1355" fmla="*/ 487 h 10000"/>
                  <a:gd name="connsiteX1356" fmla="*/ 5230 w 10785"/>
                  <a:gd name="connsiteY1356" fmla="*/ 487 h 10000"/>
                  <a:gd name="connsiteX1357" fmla="*/ 5226 w 10785"/>
                  <a:gd name="connsiteY1357" fmla="*/ 462 h 10000"/>
                  <a:gd name="connsiteX1358" fmla="*/ 5226 w 10785"/>
                  <a:gd name="connsiteY1358" fmla="*/ 462 h 10000"/>
                  <a:gd name="connsiteX1359" fmla="*/ 5240 w 10785"/>
                  <a:gd name="connsiteY1359" fmla="*/ 462 h 10000"/>
                  <a:gd name="connsiteX1360" fmla="*/ 5240 w 10785"/>
                  <a:gd name="connsiteY1360" fmla="*/ 444 h 10000"/>
                  <a:gd name="connsiteX1361" fmla="*/ 5230 w 10785"/>
                  <a:gd name="connsiteY1361" fmla="*/ 436 h 10000"/>
                  <a:gd name="connsiteX1362" fmla="*/ 5230 w 10785"/>
                  <a:gd name="connsiteY1362" fmla="*/ 419 h 10000"/>
                  <a:gd name="connsiteX1363" fmla="*/ 5230 w 10785"/>
                  <a:gd name="connsiteY1363" fmla="*/ 410 h 10000"/>
                  <a:gd name="connsiteX1364" fmla="*/ 5198 w 10785"/>
                  <a:gd name="connsiteY1364" fmla="*/ 402 h 10000"/>
                  <a:gd name="connsiteX1365" fmla="*/ 5189 w 10785"/>
                  <a:gd name="connsiteY1365" fmla="*/ 402 h 10000"/>
                  <a:gd name="connsiteX1366" fmla="*/ 5184 w 10785"/>
                  <a:gd name="connsiteY1366" fmla="*/ 376 h 10000"/>
                  <a:gd name="connsiteX1367" fmla="*/ 5180 w 10785"/>
                  <a:gd name="connsiteY1367" fmla="*/ 376 h 10000"/>
                  <a:gd name="connsiteX1368" fmla="*/ 5166 w 10785"/>
                  <a:gd name="connsiteY1368" fmla="*/ 376 h 10000"/>
                  <a:gd name="connsiteX1369" fmla="*/ 5157 w 10785"/>
                  <a:gd name="connsiteY1369" fmla="*/ 385 h 10000"/>
                  <a:gd name="connsiteX1370" fmla="*/ 5152 w 10785"/>
                  <a:gd name="connsiteY1370" fmla="*/ 376 h 10000"/>
                  <a:gd name="connsiteX1371" fmla="*/ 5129 w 10785"/>
                  <a:gd name="connsiteY1371" fmla="*/ 385 h 10000"/>
                  <a:gd name="connsiteX1372" fmla="*/ 5129 w 10785"/>
                  <a:gd name="connsiteY1372" fmla="*/ 350 h 10000"/>
                  <a:gd name="connsiteX1373" fmla="*/ 5129 w 10785"/>
                  <a:gd name="connsiteY1373" fmla="*/ 325 h 10000"/>
                  <a:gd name="connsiteX1374" fmla="*/ 5124 w 10785"/>
                  <a:gd name="connsiteY1374" fmla="*/ 359 h 10000"/>
                  <a:gd name="connsiteX1375" fmla="*/ 5106 w 10785"/>
                  <a:gd name="connsiteY1375" fmla="*/ 359 h 10000"/>
                  <a:gd name="connsiteX1376" fmla="*/ 5037 w 10785"/>
                  <a:gd name="connsiteY1376" fmla="*/ 419 h 10000"/>
                  <a:gd name="connsiteX1377" fmla="*/ 5051 w 10785"/>
                  <a:gd name="connsiteY1377" fmla="*/ 385 h 10000"/>
                  <a:gd name="connsiteX1378" fmla="*/ 5055 w 10785"/>
                  <a:gd name="connsiteY1378" fmla="*/ 376 h 10000"/>
                  <a:gd name="connsiteX1379" fmla="*/ 5092 w 10785"/>
                  <a:gd name="connsiteY1379" fmla="*/ 282 h 10000"/>
                  <a:gd name="connsiteX1380" fmla="*/ 5106 w 10785"/>
                  <a:gd name="connsiteY1380" fmla="*/ 265 h 10000"/>
                  <a:gd name="connsiteX1381" fmla="*/ 5115 w 10785"/>
                  <a:gd name="connsiteY1381" fmla="*/ 265 h 10000"/>
                  <a:gd name="connsiteX1382" fmla="*/ 5124 w 10785"/>
                  <a:gd name="connsiteY1382" fmla="*/ 222 h 10000"/>
                  <a:gd name="connsiteX1383" fmla="*/ 5124 w 10785"/>
                  <a:gd name="connsiteY1383" fmla="*/ 214 h 10000"/>
                  <a:gd name="connsiteX1384" fmla="*/ 5143 w 10785"/>
                  <a:gd name="connsiteY1384" fmla="*/ 197 h 10000"/>
                  <a:gd name="connsiteX1385" fmla="*/ 5152 w 10785"/>
                  <a:gd name="connsiteY1385" fmla="*/ 214 h 10000"/>
                  <a:gd name="connsiteX1386" fmla="*/ 5143 w 10785"/>
                  <a:gd name="connsiteY1386" fmla="*/ 188 h 10000"/>
                  <a:gd name="connsiteX1387" fmla="*/ 5129 w 10785"/>
                  <a:gd name="connsiteY1387" fmla="*/ 103 h 10000"/>
                  <a:gd name="connsiteX1388" fmla="*/ 5115 w 10785"/>
                  <a:gd name="connsiteY1388" fmla="*/ 85 h 10000"/>
                  <a:gd name="connsiteX1389" fmla="*/ 5111 w 10785"/>
                  <a:gd name="connsiteY1389" fmla="*/ 111 h 10000"/>
                  <a:gd name="connsiteX1390" fmla="*/ 5092 w 10785"/>
                  <a:gd name="connsiteY1390" fmla="*/ 103 h 10000"/>
                  <a:gd name="connsiteX1391" fmla="*/ 5069 w 10785"/>
                  <a:gd name="connsiteY1391" fmla="*/ 77 h 10000"/>
                  <a:gd name="connsiteX1392" fmla="*/ 5051 w 10785"/>
                  <a:gd name="connsiteY1392" fmla="*/ 26 h 10000"/>
                  <a:gd name="connsiteX1393" fmla="*/ 5041 w 10785"/>
                  <a:gd name="connsiteY1393" fmla="*/ 34 h 10000"/>
                  <a:gd name="connsiteX1394" fmla="*/ 5037 w 10785"/>
                  <a:gd name="connsiteY1394" fmla="*/ 34 h 10000"/>
                  <a:gd name="connsiteX1395" fmla="*/ 5037 w 10785"/>
                  <a:gd name="connsiteY1395" fmla="*/ 26 h 10000"/>
                  <a:gd name="connsiteX1396" fmla="*/ 5037 w 10785"/>
                  <a:gd name="connsiteY1396" fmla="*/ 9 h 10000"/>
                  <a:gd name="connsiteX1397" fmla="*/ 5023 w 10785"/>
                  <a:gd name="connsiteY1397" fmla="*/ 0 h 10000"/>
                  <a:gd name="connsiteX1398" fmla="*/ 5009 w 10785"/>
                  <a:gd name="connsiteY1398" fmla="*/ 9 h 10000"/>
                  <a:gd name="connsiteX1399" fmla="*/ 4995 w 10785"/>
                  <a:gd name="connsiteY1399" fmla="*/ 34 h 10000"/>
                  <a:gd name="connsiteX1400" fmla="*/ 4991 w 10785"/>
                  <a:gd name="connsiteY1400" fmla="*/ 60 h 10000"/>
                  <a:gd name="connsiteX1401" fmla="*/ 4982 w 10785"/>
                  <a:gd name="connsiteY1401" fmla="*/ 60 h 10000"/>
                  <a:gd name="connsiteX1402" fmla="*/ 4949 w 10785"/>
                  <a:gd name="connsiteY1402" fmla="*/ 51 h 10000"/>
                  <a:gd name="connsiteX1403" fmla="*/ 4949 w 10785"/>
                  <a:gd name="connsiteY1403" fmla="*/ 85 h 10000"/>
                  <a:gd name="connsiteX1404" fmla="*/ 4903 w 10785"/>
                  <a:gd name="connsiteY1404" fmla="*/ 197 h 10000"/>
                  <a:gd name="connsiteX1405" fmla="*/ 4899 w 10785"/>
                  <a:gd name="connsiteY1405" fmla="*/ 239 h 10000"/>
                  <a:gd name="connsiteX1406" fmla="*/ 4871 w 10785"/>
                  <a:gd name="connsiteY1406" fmla="*/ 274 h 10000"/>
                  <a:gd name="connsiteX1407" fmla="*/ 4871 w 10785"/>
                  <a:gd name="connsiteY1407" fmla="*/ 282 h 10000"/>
                  <a:gd name="connsiteX1408" fmla="*/ 4834 w 10785"/>
                  <a:gd name="connsiteY1408" fmla="*/ 376 h 10000"/>
                  <a:gd name="connsiteX1409" fmla="*/ 4829 w 10785"/>
                  <a:gd name="connsiteY1409" fmla="*/ 402 h 10000"/>
                  <a:gd name="connsiteX1410" fmla="*/ 4834 w 10785"/>
                  <a:gd name="connsiteY1410" fmla="*/ 410 h 10000"/>
                  <a:gd name="connsiteX1411" fmla="*/ 4829 w 10785"/>
                  <a:gd name="connsiteY1411" fmla="*/ 436 h 10000"/>
                  <a:gd name="connsiteX1412" fmla="*/ 4825 w 10785"/>
                  <a:gd name="connsiteY1412" fmla="*/ 436 h 10000"/>
                  <a:gd name="connsiteX1413" fmla="*/ 4825 w 10785"/>
                  <a:gd name="connsiteY1413" fmla="*/ 444 h 10000"/>
                  <a:gd name="connsiteX1414" fmla="*/ 4811 w 10785"/>
                  <a:gd name="connsiteY1414" fmla="*/ 496 h 10000"/>
                  <a:gd name="connsiteX1415" fmla="*/ 4811 w 10785"/>
                  <a:gd name="connsiteY1415" fmla="*/ 496 h 10000"/>
                  <a:gd name="connsiteX1416" fmla="*/ 4811 w 10785"/>
                  <a:gd name="connsiteY1416" fmla="*/ 521 h 10000"/>
                  <a:gd name="connsiteX1417" fmla="*/ 4816 w 10785"/>
                  <a:gd name="connsiteY1417" fmla="*/ 530 h 10000"/>
                  <a:gd name="connsiteX1418" fmla="*/ 4834 w 10785"/>
                  <a:gd name="connsiteY1418" fmla="*/ 547 h 10000"/>
                  <a:gd name="connsiteX1419" fmla="*/ 4834 w 10785"/>
                  <a:gd name="connsiteY1419" fmla="*/ 581 h 10000"/>
                  <a:gd name="connsiteX1420" fmla="*/ 4843 w 10785"/>
                  <a:gd name="connsiteY1420" fmla="*/ 581 h 10000"/>
                  <a:gd name="connsiteX1421" fmla="*/ 4843 w 10785"/>
                  <a:gd name="connsiteY1421" fmla="*/ 598 h 10000"/>
                  <a:gd name="connsiteX1422" fmla="*/ 4829 w 10785"/>
                  <a:gd name="connsiteY1422" fmla="*/ 598 h 10000"/>
                  <a:gd name="connsiteX1423" fmla="*/ 4829 w 10785"/>
                  <a:gd name="connsiteY1423" fmla="*/ 573 h 10000"/>
                  <a:gd name="connsiteX1424" fmla="*/ 4829 w 10785"/>
                  <a:gd name="connsiteY1424" fmla="*/ 632 h 10000"/>
                  <a:gd name="connsiteX1425" fmla="*/ 4829 w 10785"/>
                  <a:gd name="connsiteY1425" fmla="*/ 632 h 10000"/>
                  <a:gd name="connsiteX1426" fmla="*/ 4829 w 10785"/>
                  <a:gd name="connsiteY1426" fmla="*/ 650 h 10000"/>
                  <a:gd name="connsiteX1427" fmla="*/ 4774 w 10785"/>
                  <a:gd name="connsiteY1427" fmla="*/ 684 h 10000"/>
                  <a:gd name="connsiteX1428" fmla="*/ 4756 w 10785"/>
                  <a:gd name="connsiteY1428" fmla="*/ 684 h 10000"/>
                  <a:gd name="connsiteX1429" fmla="*/ 4737 w 10785"/>
                  <a:gd name="connsiteY1429" fmla="*/ 692 h 10000"/>
                  <a:gd name="connsiteX1430" fmla="*/ 4677 w 10785"/>
                  <a:gd name="connsiteY1430" fmla="*/ 667 h 10000"/>
                  <a:gd name="connsiteX1431" fmla="*/ 4682 w 10785"/>
                  <a:gd name="connsiteY1431" fmla="*/ 692 h 10000"/>
                  <a:gd name="connsiteX1432" fmla="*/ 4682 w 10785"/>
                  <a:gd name="connsiteY1432" fmla="*/ 709 h 10000"/>
                  <a:gd name="connsiteX1433" fmla="*/ 4691 w 10785"/>
                  <a:gd name="connsiteY1433" fmla="*/ 718 h 10000"/>
                  <a:gd name="connsiteX1434" fmla="*/ 4691 w 10785"/>
                  <a:gd name="connsiteY1434" fmla="*/ 744 h 10000"/>
                  <a:gd name="connsiteX1435" fmla="*/ 4700 w 10785"/>
                  <a:gd name="connsiteY1435" fmla="*/ 744 h 10000"/>
                  <a:gd name="connsiteX1436" fmla="*/ 4714 w 10785"/>
                  <a:gd name="connsiteY1436" fmla="*/ 769 h 10000"/>
                  <a:gd name="connsiteX1437" fmla="*/ 4710 w 10785"/>
                  <a:gd name="connsiteY1437" fmla="*/ 786 h 10000"/>
                  <a:gd name="connsiteX1438" fmla="*/ 4737 w 10785"/>
                  <a:gd name="connsiteY1438" fmla="*/ 786 h 10000"/>
                  <a:gd name="connsiteX1439" fmla="*/ 4742 w 10785"/>
                  <a:gd name="connsiteY1439" fmla="*/ 795 h 10000"/>
                  <a:gd name="connsiteX1440" fmla="*/ 4742 w 10785"/>
                  <a:gd name="connsiteY1440" fmla="*/ 803 h 10000"/>
                  <a:gd name="connsiteX1441" fmla="*/ 4737 w 10785"/>
                  <a:gd name="connsiteY1441" fmla="*/ 846 h 10000"/>
                  <a:gd name="connsiteX1442" fmla="*/ 4737 w 10785"/>
                  <a:gd name="connsiteY1442" fmla="*/ 880 h 10000"/>
                  <a:gd name="connsiteX1443" fmla="*/ 4737 w 10785"/>
                  <a:gd name="connsiteY1443" fmla="*/ 906 h 10000"/>
                  <a:gd name="connsiteX1444" fmla="*/ 4724 w 10785"/>
                  <a:gd name="connsiteY1444" fmla="*/ 897 h 10000"/>
                  <a:gd name="connsiteX1445" fmla="*/ 4724 w 10785"/>
                  <a:gd name="connsiteY1445" fmla="*/ 872 h 10000"/>
                  <a:gd name="connsiteX1446" fmla="*/ 4714 w 10785"/>
                  <a:gd name="connsiteY1446" fmla="*/ 855 h 10000"/>
                  <a:gd name="connsiteX1447" fmla="*/ 4691 w 10785"/>
                  <a:gd name="connsiteY1447" fmla="*/ 846 h 10000"/>
                  <a:gd name="connsiteX1448" fmla="*/ 4691 w 10785"/>
                  <a:gd name="connsiteY1448" fmla="*/ 846 h 10000"/>
                  <a:gd name="connsiteX1449" fmla="*/ 4696 w 10785"/>
                  <a:gd name="connsiteY1449" fmla="*/ 821 h 10000"/>
                  <a:gd name="connsiteX1450" fmla="*/ 4691 w 10785"/>
                  <a:gd name="connsiteY1450" fmla="*/ 803 h 10000"/>
                  <a:gd name="connsiteX1451" fmla="*/ 4668 w 10785"/>
                  <a:gd name="connsiteY1451" fmla="*/ 821 h 10000"/>
                  <a:gd name="connsiteX1452" fmla="*/ 4668 w 10785"/>
                  <a:gd name="connsiteY1452" fmla="*/ 786 h 10000"/>
                  <a:gd name="connsiteX1453" fmla="*/ 4664 w 10785"/>
                  <a:gd name="connsiteY1453" fmla="*/ 786 h 10000"/>
                  <a:gd name="connsiteX1454" fmla="*/ 4622 w 10785"/>
                  <a:gd name="connsiteY1454" fmla="*/ 846 h 10000"/>
                  <a:gd name="connsiteX1455" fmla="*/ 4627 w 10785"/>
                  <a:gd name="connsiteY1455" fmla="*/ 872 h 10000"/>
                  <a:gd name="connsiteX1456" fmla="*/ 4622 w 10785"/>
                  <a:gd name="connsiteY1456" fmla="*/ 880 h 10000"/>
                  <a:gd name="connsiteX1457" fmla="*/ 4622 w 10785"/>
                  <a:gd name="connsiteY1457" fmla="*/ 880 h 10000"/>
                  <a:gd name="connsiteX1458" fmla="*/ 4618 w 10785"/>
                  <a:gd name="connsiteY1458" fmla="*/ 872 h 10000"/>
                  <a:gd name="connsiteX1459" fmla="*/ 4604 w 10785"/>
                  <a:gd name="connsiteY1459" fmla="*/ 880 h 10000"/>
                  <a:gd name="connsiteX1460" fmla="*/ 4594 w 10785"/>
                  <a:gd name="connsiteY1460" fmla="*/ 906 h 10000"/>
                  <a:gd name="connsiteX1461" fmla="*/ 4604 w 10785"/>
                  <a:gd name="connsiteY1461" fmla="*/ 906 h 10000"/>
                  <a:gd name="connsiteX1462" fmla="*/ 4608 w 10785"/>
                  <a:gd name="connsiteY1462" fmla="*/ 906 h 10000"/>
                  <a:gd name="connsiteX1463" fmla="*/ 4608 w 10785"/>
                  <a:gd name="connsiteY1463" fmla="*/ 932 h 10000"/>
                  <a:gd name="connsiteX1464" fmla="*/ 4604 w 10785"/>
                  <a:gd name="connsiteY1464" fmla="*/ 932 h 10000"/>
                  <a:gd name="connsiteX1465" fmla="*/ 4590 w 10785"/>
                  <a:gd name="connsiteY1465" fmla="*/ 932 h 10000"/>
                  <a:gd name="connsiteX1466" fmla="*/ 4567 w 10785"/>
                  <a:gd name="connsiteY1466" fmla="*/ 957 h 10000"/>
                  <a:gd name="connsiteX1467" fmla="*/ 4567 w 10785"/>
                  <a:gd name="connsiteY1467" fmla="*/ 932 h 10000"/>
                  <a:gd name="connsiteX1468" fmla="*/ 4567 w 10785"/>
                  <a:gd name="connsiteY1468" fmla="*/ 923 h 10000"/>
                  <a:gd name="connsiteX1469" fmla="*/ 4562 w 10785"/>
                  <a:gd name="connsiteY1469" fmla="*/ 932 h 10000"/>
                  <a:gd name="connsiteX1470" fmla="*/ 4548 w 10785"/>
                  <a:gd name="connsiteY1470" fmla="*/ 957 h 10000"/>
                  <a:gd name="connsiteX1471" fmla="*/ 4544 w 10785"/>
                  <a:gd name="connsiteY1471" fmla="*/ 957 h 10000"/>
                  <a:gd name="connsiteX1472" fmla="*/ 4521 w 10785"/>
                  <a:gd name="connsiteY1472" fmla="*/ 983 h 10000"/>
                  <a:gd name="connsiteX1473" fmla="*/ 4521 w 10785"/>
                  <a:gd name="connsiteY1473" fmla="*/ 983 h 10000"/>
                  <a:gd name="connsiteX1474" fmla="*/ 4530 w 10785"/>
                  <a:gd name="connsiteY1474" fmla="*/ 957 h 10000"/>
                  <a:gd name="connsiteX1475" fmla="*/ 4535 w 10785"/>
                  <a:gd name="connsiteY1475" fmla="*/ 932 h 10000"/>
                  <a:gd name="connsiteX1476" fmla="*/ 4521 w 10785"/>
                  <a:gd name="connsiteY1476" fmla="*/ 932 h 10000"/>
                  <a:gd name="connsiteX1477" fmla="*/ 4516 w 10785"/>
                  <a:gd name="connsiteY1477" fmla="*/ 923 h 10000"/>
                  <a:gd name="connsiteX1478" fmla="*/ 4516 w 10785"/>
                  <a:gd name="connsiteY1478" fmla="*/ 932 h 10000"/>
                  <a:gd name="connsiteX1479" fmla="*/ 4488 w 10785"/>
                  <a:gd name="connsiteY1479" fmla="*/ 940 h 10000"/>
                  <a:gd name="connsiteX1480" fmla="*/ 4484 w 10785"/>
                  <a:gd name="connsiteY1480" fmla="*/ 983 h 10000"/>
                  <a:gd name="connsiteX1481" fmla="*/ 4470 w 10785"/>
                  <a:gd name="connsiteY1481" fmla="*/ 983 h 10000"/>
                  <a:gd name="connsiteX1482" fmla="*/ 4470 w 10785"/>
                  <a:gd name="connsiteY1482" fmla="*/ 966 h 10000"/>
                  <a:gd name="connsiteX1483" fmla="*/ 4488 w 10785"/>
                  <a:gd name="connsiteY1483" fmla="*/ 923 h 10000"/>
                  <a:gd name="connsiteX1484" fmla="*/ 4493 w 10785"/>
                  <a:gd name="connsiteY1484" fmla="*/ 880 h 10000"/>
                  <a:gd name="connsiteX1485" fmla="*/ 4475 w 10785"/>
                  <a:gd name="connsiteY1485" fmla="*/ 846 h 10000"/>
                  <a:gd name="connsiteX1486" fmla="*/ 4442 w 10785"/>
                  <a:gd name="connsiteY1486" fmla="*/ 855 h 10000"/>
                  <a:gd name="connsiteX1487" fmla="*/ 4433 w 10785"/>
                  <a:gd name="connsiteY1487" fmla="*/ 855 h 10000"/>
                  <a:gd name="connsiteX1488" fmla="*/ 4433 w 10785"/>
                  <a:gd name="connsiteY1488" fmla="*/ 880 h 10000"/>
                  <a:gd name="connsiteX1489" fmla="*/ 4401 w 10785"/>
                  <a:gd name="connsiteY1489" fmla="*/ 855 h 10000"/>
                  <a:gd name="connsiteX1490" fmla="*/ 4396 w 10785"/>
                  <a:gd name="connsiteY1490" fmla="*/ 872 h 10000"/>
                  <a:gd name="connsiteX1491" fmla="*/ 4382 w 10785"/>
                  <a:gd name="connsiteY1491" fmla="*/ 897 h 10000"/>
                  <a:gd name="connsiteX1492" fmla="*/ 4373 w 10785"/>
                  <a:gd name="connsiteY1492" fmla="*/ 872 h 10000"/>
                  <a:gd name="connsiteX1493" fmla="*/ 4341 w 10785"/>
                  <a:gd name="connsiteY1493" fmla="*/ 872 h 10000"/>
                  <a:gd name="connsiteX1494" fmla="*/ 4336 w 10785"/>
                  <a:gd name="connsiteY1494" fmla="*/ 880 h 10000"/>
                  <a:gd name="connsiteX1495" fmla="*/ 4346 w 10785"/>
                  <a:gd name="connsiteY1495" fmla="*/ 897 h 10000"/>
                  <a:gd name="connsiteX1496" fmla="*/ 4346 w 10785"/>
                  <a:gd name="connsiteY1496" fmla="*/ 897 h 10000"/>
                  <a:gd name="connsiteX1497" fmla="*/ 4313 w 10785"/>
                  <a:gd name="connsiteY1497" fmla="*/ 906 h 10000"/>
                  <a:gd name="connsiteX1498" fmla="*/ 4313 w 10785"/>
                  <a:gd name="connsiteY1498" fmla="*/ 906 h 10000"/>
                  <a:gd name="connsiteX1499" fmla="*/ 4313 w 10785"/>
                  <a:gd name="connsiteY1499" fmla="*/ 880 h 10000"/>
                  <a:gd name="connsiteX1500" fmla="*/ 4309 w 10785"/>
                  <a:gd name="connsiteY1500" fmla="*/ 897 h 10000"/>
                  <a:gd name="connsiteX1501" fmla="*/ 4295 w 10785"/>
                  <a:gd name="connsiteY1501" fmla="*/ 923 h 10000"/>
                  <a:gd name="connsiteX1502" fmla="*/ 4286 w 10785"/>
                  <a:gd name="connsiteY1502" fmla="*/ 897 h 10000"/>
                  <a:gd name="connsiteX1503" fmla="*/ 4281 w 10785"/>
                  <a:gd name="connsiteY1503" fmla="*/ 906 h 10000"/>
                  <a:gd name="connsiteX1504" fmla="*/ 4281 w 10785"/>
                  <a:gd name="connsiteY1504" fmla="*/ 940 h 10000"/>
                  <a:gd name="connsiteX1505" fmla="*/ 4286 w 10785"/>
                  <a:gd name="connsiteY1505" fmla="*/ 957 h 10000"/>
                  <a:gd name="connsiteX1506" fmla="*/ 4309 w 10785"/>
                  <a:gd name="connsiteY1506" fmla="*/ 932 h 10000"/>
                  <a:gd name="connsiteX1507" fmla="*/ 4313 w 10785"/>
                  <a:gd name="connsiteY1507" fmla="*/ 957 h 10000"/>
                  <a:gd name="connsiteX1508" fmla="*/ 4313 w 10785"/>
                  <a:gd name="connsiteY1508" fmla="*/ 966 h 10000"/>
                  <a:gd name="connsiteX1509" fmla="*/ 4323 w 10785"/>
                  <a:gd name="connsiteY1509" fmla="*/ 966 h 10000"/>
                  <a:gd name="connsiteX1510" fmla="*/ 4323 w 10785"/>
                  <a:gd name="connsiteY1510" fmla="*/ 940 h 10000"/>
                  <a:gd name="connsiteX1511" fmla="*/ 4327 w 10785"/>
                  <a:gd name="connsiteY1511" fmla="*/ 940 h 10000"/>
                  <a:gd name="connsiteX1512" fmla="*/ 4327 w 10785"/>
                  <a:gd name="connsiteY1512" fmla="*/ 957 h 10000"/>
                  <a:gd name="connsiteX1513" fmla="*/ 4327 w 10785"/>
                  <a:gd name="connsiteY1513" fmla="*/ 966 h 10000"/>
                  <a:gd name="connsiteX1514" fmla="*/ 4323 w 10785"/>
                  <a:gd name="connsiteY1514" fmla="*/ 991 h 10000"/>
                  <a:gd name="connsiteX1515" fmla="*/ 4207 w 10785"/>
                  <a:gd name="connsiteY1515" fmla="*/ 1060 h 10000"/>
                  <a:gd name="connsiteX1516" fmla="*/ 4207 w 10785"/>
                  <a:gd name="connsiteY1516" fmla="*/ 1060 h 10000"/>
                  <a:gd name="connsiteX1517" fmla="*/ 4203 w 10785"/>
                  <a:gd name="connsiteY1517" fmla="*/ 1068 h 10000"/>
                  <a:gd name="connsiteX1518" fmla="*/ 4203 w 10785"/>
                  <a:gd name="connsiteY1518" fmla="*/ 1094 h 10000"/>
                  <a:gd name="connsiteX1519" fmla="*/ 4203 w 10785"/>
                  <a:gd name="connsiteY1519" fmla="*/ 1094 h 10000"/>
                  <a:gd name="connsiteX1520" fmla="*/ 4189 w 10785"/>
                  <a:gd name="connsiteY1520" fmla="*/ 1094 h 10000"/>
                  <a:gd name="connsiteX1521" fmla="*/ 4166 w 10785"/>
                  <a:gd name="connsiteY1521" fmla="*/ 1103 h 10000"/>
                  <a:gd name="connsiteX1522" fmla="*/ 4152 w 10785"/>
                  <a:gd name="connsiteY1522" fmla="*/ 1094 h 10000"/>
                  <a:gd name="connsiteX1523" fmla="*/ 4134 w 10785"/>
                  <a:gd name="connsiteY1523" fmla="*/ 1120 h 10000"/>
                  <a:gd name="connsiteX1524" fmla="*/ 4106 w 10785"/>
                  <a:gd name="connsiteY1524" fmla="*/ 1120 h 10000"/>
                  <a:gd name="connsiteX1525" fmla="*/ 4092 w 10785"/>
                  <a:gd name="connsiteY1525" fmla="*/ 1154 h 10000"/>
                  <a:gd name="connsiteX1526" fmla="*/ 4106 w 10785"/>
                  <a:gd name="connsiteY1526" fmla="*/ 1171 h 10000"/>
                  <a:gd name="connsiteX1527" fmla="*/ 4078 w 10785"/>
                  <a:gd name="connsiteY1527" fmla="*/ 1179 h 10000"/>
                  <a:gd name="connsiteX1528" fmla="*/ 4065 w 10785"/>
                  <a:gd name="connsiteY1528" fmla="*/ 1205 h 10000"/>
                  <a:gd name="connsiteX1529" fmla="*/ 4046 w 10785"/>
                  <a:gd name="connsiteY1529" fmla="*/ 1179 h 10000"/>
                  <a:gd name="connsiteX1530" fmla="*/ 4041 w 10785"/>
                  <a:gd name="connsiteY1530" fmla="*/ 1197 h 10000"/>
                  <a:gd name="connsiteX1531" fmla="*/ 4028 w 10785"/>
                  <a:gd name="connsiteY1531" fmla="*/ 1205 h 10000"/>
                  <a:gd name="connsiteX1532" fmla="*/ 4028 w 10785"/>
                  <a:gd name="connsiteY1532" fmla="*/ 1205 h 10000"/>
                  <a:gd name="connsiteX1533" fmla="*/ 4032 w 10785"/>
                  <a:gd name="connsiteY1533" fmla="*/ 1205 h 10000"/>
                  <a:gd name="connsiteX1534" fmla="*/ 4032 w 10785"/>
                  <a:gd name="connsiteY1534" fmla="*/ 1231 h 10000"/>
                  <a:gd name="connsiteX1535" fmla="*/ 4014 w 10785"/>
                  <a:gd name="connsiteY1535" fmla="*/ 1239 h 10000"/>
                  <a:gd name="connsiteX1536" fmla="*/ 4014 w 10785"/>
                  <a:gd name="connsiteY1536" fmla="*/ 1256 h 10000"/>
                  <a:gd name="connsiteX1537" fmla="*/ 4000 w 10785"/>
                  <a:gd name="connsiteY1537" fmla="*/ 1265 h 10000"/>
                  <a:gd name="connsiteX1538" fmla="*/ 3986 w 10785"/>
                  <a:gd name="connsiteY1538" fmla="*/ 1308 h 10000"/>
                  <a:gd name="connsiteX1539" fmla="*/ 3972 w 10785"/>
                  <a:gd name="connsiteY1539" fmla="*/ 1316 h 10000"/>
                  <a:gd name="connsiteX1540" fmla="*/ 3972 w 10785"/>
                  <a:gd name="connsiteY1540" fmla="*/ 1325 h 10000"/>
                  <a:gd name="connsiteX1541" fmla="*/ 3972 w 10785"/>
                  <a:gd name="connsiteY1541" fmla="*/ 1342 h 10000"/>
                  <a:gd name="connsiteX1542" fmla="*/ 3968 w 10785"/>
                  <a:gd name="connsiteY1542" fmla="*/ 1350 h 10000"/>
                  <a:gd name="connsiteX1543" fmla="*/ 3954 w 10785"/>
                  <a:gd name="connsiteY1543" fmla="*/ 1368 h 10000"/>
                  <a:gd name="connsiteX1544" fmla="*/ 3945 w 10785"/>
                  <a:gd name="connsiteY1544" fmla="*/ 1350 h 10000"/>
                  <a:gd name="connsiteX1545" fmla="*/ 3908 w 10785"/>
                  <a:gd name="connsiteY1545" fmla="*/ 1342 h 10000"/>
                  <a:gd name="connsiteX1546" fmla="*/ 3894 w 10785"/>
                  <a:gd name="connsiteY1546" fmla="*/ 1368 h 10000"/>
                  <a:gd name="connsiteX1547" fmla="*/ 3922 w 10785"/>
                  <a:gd name="connsiteY1547" fmla="*/ 1393 h 10000"/>
                  <a:gd name="connsiteX1548" fmla="*/ 3945 w 10785"/>
                  <a:gd name="connsiteY1548" fmla="*/ 1393 h 10000"/>
                  <a:gd name="connsiteX1549" fmla="*/ 3940 w 10785"/>
                  <a:gd name="connsiteY1549" fmla="*/ 1419 h 10000"/>
                  <a:gd name="connsiteX1550" fmla="*/ 3931 w 10785"/>
                  <a:gd name="connsiteY1550" fmla="*/ 1427 h 10000"/>
                  <a:gd name="connsiteX1551" fmla="*/ 3926 w 10785"/>
                  <a:gd name="connsiteY1551" fmla="*/ 1427 h 10000"/>
                  <a:gd name="connsiteX1552" fmla="*/ 3922 w 10785"/>
                  <a:gd name="connsiteY1552" fmla="*/ 1419 h 10000"/>
                  <a:gd name="connsiteX1553" fmla="*/ 3912 w 10785"/>
                  <a:gd name="connsiteY1553" fmla="*/ 1427 h 10000"/>
                  <a:gd name="connsiteX1554" fmla="*/ 3912 w 10785"/>
                  <a:gd name="connsiteY1554" fmla="*/ 1444 h 10000"/>
                  <a:gd name="connsiteX1555" fmla="*/ 3894 w 10785"/>
                  <a:gd name="connsiteY1555" fmla="*/ 1513 h 10000"/>
                  <a:gd name="connsiteX1556" fmla="*/ 3885 w 10785"/>
                  <a:gd name="connsiteY1556" fmla="*/ 1513 h 10000"/>
                  <a:gd name="connsiteX1557" fmla="*/ 3880 w 10785"/>
                  <a:gd name="connsiteY1557" fmla="*/ 1538 h 10000"/>
                  <a:gd name="connsiteX1558" fmla="*/ 3885 w 10785"/>
                  <a:gd name="connsiteY1558" fmla="*/ 1564 h 10000"/>
                  <a:gd name="connsiteX1559" fmla="*/ 3880 w 10785"/>
                  <a:gd name="connsiteY1559" fmla="*/ 1581 h 10000"/>
                  <a:gd name="connsiteX1560" fmla="*/ 3871 w 10785"/>
                  <a:gd name="connsiteY1560" fmla="*/ 1538 h 10000"/>
                  <a:gd name="connsiteX1561" fmla="*/ 3853 w 10785"/>
                  <a:gd name="connsiteY1561" fmla="*/ 1530 h 10000"/>
                  <a:gd name="connsiteX1562" fmla="*/ 3853 w 10785"/>
                  <a:gd name="connsiteY1562" fmla="*/ 1504 h 10000"/>
                  <a:gd name="connsiteX1563" fmla="*/ 3834 w 10785"/>
                  <a:gd name="connsiteY1563" fmla="*/ 1487 h 10000"/>
                  <a:gd name="connsiteX1564" fmla="*/ 3834 w 10785"/>
                  <a:gd name="connsiteY1564" fmla="*/ 1487 h 10000"/>
                  <a:gd name="connsiteX1565" fmla="*/ 3839 w 10785"/>
                  <a:gd name="connsiteY1565" fmla="*/ 1513 h 10000"/>
                  <a:gd name="connsiteX1566" fmla="*/ 3820 w 10785"/>
                  <a:gd name="connsiteY1566" fmla="*/ 1538 h 10000"/>
                  <a:gd name="connsiteX1567" fmla="*/ 3820 w 10785"/>
                  <a:gd name="connsiteY1567" fmla="*/ 1556 h 10000"/>
                  <a:gd name="connsiteX1568" fmla="*/ 3820 w 10785"/>
                  <a:gd name="connsiteY1568" fmla="*/ 1564 h 10000"/>
                  <a:gd name="connsiteX1569" fmla="*/ 3820 w 10785"/>
                  <a:gd name="connsiteY1569" fmla="*/ 1581 h 10000"/>
                  <a:gd name="connsiteX1570" fmla="*/ 3853 w 10785"/>
                  <a:gd name="connsiteY1570" fmla="*/ 1581 h 10000"/>
                  <a:gd name="connsiteX1571" fmla="*/ 3857 w 10785"/>
                  <a:gd name="connsiteY1571" fmla="*/ 1598 h 10000"/>
                  <a:gd name="connsiteX1572" fmla="*/ 3880 w 10785"/>
                  <a:gd name="connsiteY1572" fmla="*/ 1615 h 10000"/>
                  <a:gd name="connsiteX1573" fmla="*/ 3871 w 10785"/>
                  <a:gd name="connsiteY1573" fmla="*/ 1615 h 10000"/>
                  <a:gd name="connsiteX1574" fmla="*/ 3871 w 10785"/>
                  <a:gd name="connsiteY1574" fmla="*/ 1641 h 10000"/>
                  <a:gd name="connsiteX1575" fmla="*/ 3880 w 10785"/>
                  <a:gd name="connsiteY1575" fmla="*/ 1641 h 10000"/>
                  <a:gd name="connsiteX1576" fmla="*/ 3871 w 10785"/>
                  <a:gd name="connsiteY1576" fmla="*/ 1650 h 10000"/>
                  <a:gd name="connsiteX1577" fmla="*/ 3857 w 10785"/>
                  <a:gd name="connsiteY1577" fmla="*/ 1650 h 10000"/>
                  <a:gd name="connsiteX1578" fmla="*/ 3853 w 10785"/>
                  <a:gd name="connsiteY1578" fmla="*/ 1650 h 10000"/>
                  <a:gd name="connsiteX1579" fmla="*/ 3839 w 10785"/>
                  <a:gd name="connsiteY1579" fmla="*/ 1667 h 10000"/>
                  <a:gd name="connsiteX1580" fmla="*/ 3848 w 10785"/>
                  <a:gd name="connsiteY1580" fmla="*/ 1692 h 10000"/>
                  <a:gd name="connsiteX1581" fmla="*/ 3834 w 10785"/>
                  <a:gd name="connsiteY1581" fmla="*/ 1692 h 10000"/>
                  <a:gd name="connsiteX1582" fmla="*/ 3825 w 10785"/>
                  <a:gd name="connsiteY1582" fmla="*/ 1692 h 10000"/>
                  <a:gd name="connsiteX1583" fmla="*/ 3825 w 10785"/>
                  <a:gd name="connsiteY1583" fmla="*/ 1718 h 10000"/>
                  <a:gd name="connsiteX1584" fmla="*/ 3839 w 10785"/>
                  <a:gd name="connsiteY1584" fmla="*/ 1726 h 10000"/>
                  <a:gd name="connsiteX1585" fmla="*/ 3880 w 10785"/>
                  <a:gd name="connsiteY1585" fmla="*/ 1752 h 10000"/>
                  <a:gd name="connsiteX1586" fmla="*/ 3894 w 10785"/>
                  <a:gd name="connsiteY1586" fmla="*/ 1829 h 10000"/>
                  <a:gd name="connsiteX1587" fmla="*/ 3899 w 10785"/>
                  <a:gd name="connsiteY1587" fmla="*/ 1838 h 10000"/>
                  <a:gd name="connsiteX1588" fmla="*/ 3894 w 10785"/>
                  <a:gd name="connsiteY1588" fmla="*/ 1855 h 10000"/>
                  <a:gd name="connsiteX1589" fmla="*/ 3880 w 10785"/>
                  <a:gd name="connsiteY1589" fmla="*/ 1838 h 10000"/>
                  <a:gd name="connsiteX1590" fmla="*/ 3880 w 10785"/>
                  <a:gd name="connsiteY1590" fmla="*/ 1855 h 10000"/>
                  <a:gd name="connsiteX1591" fmla="*/ 3880 w 10785"/>
                  <a:gd name="connsiteY1591" fmla="*/ 1863 h 10000"/>
                  <a:gd name="connsiteX1592" fmla="*/ 3871 w 10785"/>
                  <a:gd name="connsiteY1592" fmla="*/ 1872 h 10000"/>
                  <a:gd name="connsiteX1593" fmla="*/ 3880 w 10785"/>
                  <a:gd name="connsiteY1593" fmla="*/ 1889 h 10000"/>
                  <a:gd name="connsiteX1594" fmla="*/ 3885 w 10785"/>
                  <a:gd name="connsiteY1594" fmla="*/ 1889 h 10000"/>
                  <a:gd name="connsiteX1595" fmla="*/ 3880 w 10785"/>
                  <a:gd name="connsiteY1595" fmla="*/ 1897 h 10000"/>
                  <a:gd name="connsiteX1596" fmla="*/ 3871 w 10785"/>
                  <a:gd name="connsiteY1596" fmla="*/ 1915 h 10000"/>
                  <a:gd name="connsiteX1597" fmla="*/ 3848 w 10785"/>
                  <a:gd name="connsiteY1597" fmla="*/ 1923 h 10000"/>
                  <a:gd name="connsiteX1598" fmla="*/ 3825 w 10785"/>
                  <a:gd name="connsiteY1598" fmla="*/ 1940 h 10000"/>
                  <a:gd name="connsiteX1599" fmla="*/ 3811 w 10785"/>
                  <a:gd name="connsiteY1599" fmla="*/ 1940 h 10000"/>
                  <a:gd name="connsiteX1600" fmla="*/ 3806 w 10785"/>
                  <a:gd name="connsiteY1600" fmla="*/ 1949 h 10000"/>
                  <a:gd name="connsiteX1601" fmla="*/ 3797 w 10785"/>
                  <a:gd name="connsiteY1601" fmla="*/ 1966 h 10000"/>
                  <a:gd name="connsiteX1602" fmla="*/ 3788 w 10785"/>
                  <a:gd name="connsiteY1602" fmla="*/ 1991 h 10000"/>
                  <a:gd name="connsiteX1603" fmla="*/ 3765 w 10785"/>
                  <a:gd name="connsiteY1603" fmla="*/ 1974 h 10000"/>
                  <a:gd name="connsiteX1604" fmla="*/ 3760 w 10785"/>
                  <a:gd name="connsiteY1604" fmla="*/ 1966 h 10000"/>
                  <a:gd name="connsiteX1605" fmla="*/ 3760 w 10785"/>
                  <a:gd name="connsiteY1605" fmla="*/ 1966 h 10000"/>
                  <a:gd name="connsiteX1606" fmla="*/ 3631 w 10785"/>
                  <a:gd name="connsiteY1606" fmla="*/ 2009 h 10000"/>
                  <a:gd name="connsiteX1607" fmla="*/ 3618 w 10785"/>
                  <a:gd name="connsiteY1607" fmla="*/ 2000 h 10000"/>
                  <a:gd name="connsiteX1608" fmla="*/ 3599 w 10785"/>
                  <a:gd name="connsiteY1608" fmla="*/ 2009 h 10000"/>
                  <a:gd name="connsiteX1609" fmla="*/ 3571 w 10785"/>
                  <a:gd name="connsiteY1609" fmla="*/ 2000 h 10000"/>
                  <a:gd name="connsiteX1610" fmla="*/ 3530 w 10785"/>
                  <a:gd name="connsiteY1610" fmla="*/ 2026 h 10000"/>
                  <a:gd name="connsiteX1611" fmla="*/ 3530 w 10785"/>
                  <a:gd name="connsiteY1611" fmla="*/ 2034 h 10000"/>
                  <a:gd name="connsiteX1612" fmla="*/ 3525 w 10785"/>
                  <a:gd name="connsiteY1612" fmla="*/ 2051 h 10000"/>
                  <a:gd name="connsiteX1613" fmla="*/ 3512 w 10785"/>
                  <a:gd name="connsiteY1613" fmla="*/ 2034 h 10000"/>
                  <a:gd name="connsiteX1614" fmla="*/ 3507 w 10785"/>
                  <a:gd name="connsiteY1614" fmla="*/ 2034 h 10000"/>
                  <a:gd name="connsiteX1615" fmla="*/ 3498 w 10785"/>
                  <a:gd name="connsiteY1615" fmla="*/ 2051 h 10000"/>
                  <a:gd name="connsiteX1616" fmla="*/ 3484 w 10785"/>
                  <a:gd name="connsiteY1616" fmla="*/ 2060 h 10000"/>
                  <a:gd name="connsiteX1617" fmla="*/ 3484 w 10785"/>
                  <a:gd name="connsiteY1617" fmla="*/ 2085 h 10000"/>
                  <a:gd name="connsiteX1618" fmla="*/ 3484 w 10785"/>
                  <a:gd name="connsiteY1618" fmla="*/ 2103 h 10000"/>
                  <a:gd name="connsiteX1619" fmla="*/ 3493 w 10785"/>
                  <a:gd name="connsiteY1619" fmla="*/ 2103 h 10000"/>
                  <a:gd name="connsiteX1620" fmla="*/ 3493 w 10785"/>
                  <a:gd name="connsiteY1620" fmla="*/ 2085 h 10000"/>
                  <a:gd name="connsiteX1621" fmla="*/ 3498 w 10785"/>
                  <a:gd name="connsiteY1621" fmla="*/ 2085 h 10000"/>
                  <a:gd name="connsiteX1622" fmla="*/ 3498 w 10785"/>
                  <a:gd name="connsiteY1622" fmla="*/ 2111 h 10000"/>
                  <a:gd name="connsiteX1623" fmla="*/ 3484 w 10785"/>
                  <a:gd name="connsiteY1623" fmla="*/ 2120 h 10000"/>
                  <a:gd name="connsiteX1624" fmla="*/ 3484 w 10785"/>
                  <a:gd name="connsiteY1624" fmla="*/ 2145 h 10000"/>
                  <a:gd name="connsiteX1625" fmla="*/ 3470 w 10785"/>
                  <a:gd name="connsiteY1625" fmla="*/ 2137 h 10000"/>
                  <a:gd name="connsiteX1626" fmla="*/ 3465 w 10785"/>
                  <a:gd name="connsiteY1626" fmla="*/ 2145 h 10000"/>
                  <a:gd name="connsiteX1627" fmla="*/ 3470 w 10785"/>
                  <a:gd name="connsiteY1627" fmla="*/ 2171 h 10000"/>
                  <a:gd name="connsiteX1628" fmla="*/ 3484 w 10785"/>
                  <a:gd name="connsiteY1628" fmla="*/ 2171 h 10000"/>
                  <a:gd name="connsiteX1629" fmla="*/ 3484 w 10785"/>
                  <a:gd name="connsiteY1629" fmla="*/ 2197 h 10000"/>
                  <a:gd name="connsiteX1630" fmla="*/ 3465 w 10785"/>
                  <a:gd name="connsiteY1630" fmla="*/ 2214 h 10000"/>
                  <a:gd name="connsiteX1631" fmla="*/ 3493 w 10785"/>
                  <a:gd name="connsiteY1631" fmla="*/ 2248 h 10000"/>
                  <a:gd name="connsiteX1632" fmla="*/ 3484 w 10785"/>
                  <a:gd name="connsiteY1632" fmla="*/ 2256 h 10000"/>
                  <a:gd name="connsiteX1633" fmla="*/ 3498 w 10785"/>
                  <a:gd name="connsiteY1633" fmla="*/ 2274 h 10000"/>
                  <a:gd name="connsiteX1634" fmla="*/ 3498 w 10785"/>
                  <a:gd name="connsiteY1634" fmla="*/ 2256 h 10000"/>
                  <a:gd name="connsiteX1635" fmla="*/ 3507 w 10785"/>
                  <a:gd name="connsiteY1635" fmla="*/ 2308 h 10000"/>
                  <a:gd name="connsiteX1636" fmla="*/ 3512 w 10785"/>
                  <a:gd name="connsiteY1636" fmla="*/ 2325 h 10000"/>
                  <a:gd name="connsiteX1637" fmla="*/ 3507 w 10785"/>
                  <a:gd name="connsiteY1637" fmla="*/ 2333 h 10000"/>
                  <a:gd name="connsiteX1638" fmla="*/ 3507 w 10785"/>
                  <a:gd name="connsiteY1638" fmla="*/ 2359 h 10000"/>
                  <a:gd name="connsiteX1639" fmla="*/ 3507 w 10785"/>
                  <a:gd name="connsiteY1639" fmla="*/ 2376 h 10000"/>
                  <a:gd name="connsiteX1640" fmla="*/ 3498 w 10785"/>
                  <a:gd name="connsiteY1640" fmla="*/ 2410 h 10000"/>
                  <a:gd name="connsiteX1641" fmla="*/ 3498 w 10785"/>
                  <a:gd name="connsiteY1641" fmla="*/ 2436 h 10000"/>
                  <a:gd name="connsiteX1642" fmla="*/ 3507 w 10785"/>
                  <a:gd name="connsiteY1642" fmla="*/ 2462 h 10000"/>
                  <a:gd name="connsiteX1643" fmla="*/ 3507 w 10785"/>
                  <a:gd name="connsiteY1643" fmla="*/ 2496 h 10000"/>
                  <a:gd name="connsiteX1644" fmla="*/ 3512 w 10785"/>
                  <a:gd name="connsiteY1644" fmla="*/ 2521 h 10000"/>
                  <a:gd name="connsiteX1645" fmla="*/ 3525 w 10785"/>
                  <a:gd name="connsiteY1645" fmla="*/ 2556 h 10000"/>
                  <a:gd name="connsiteX1646" fmla="*/ 3571 w 10785"/>
                  <a:gd name="connsiteY1646" fmla="*/ 2573 h 10000"/>
                  <a:gd name="connsiteX1647" fmla="*/ 3590 w 10785"/>
                  <a:gd name="connsiteY1647" fmla="*/ 2598 h 10000"/>
                  <a:gd name="connsiteX1648" fmla="*/ 3599 w 10785"/>
                  <a:gd name="connsiteY1648" fmla="*/ 2598 h 10000"/>
                  <a:gd name="connsiteX1649" fmla="*/ 3604 w 10785"/>
                  <a:gd name="connsiteY1649" fmla="*/ 2632 h 10000"/>
                  <a:gd name="connsiteX1650" fmla="*/ 3599 w 10785"/>
                  <a:gd name="connsiteY1650" fmla="*/ 2658 h 10000"/>
                  <a:gd name="connsiteX1651" fmla="*/ 3590 w 10785"/>
                  <a:gd name="connsiteY1651" fmla="*/ 2667 h 10000"/>
                  <a:gd name="connsiteX1652" fmla="*/ 3604 w 10785"/>
                  <a:gd name="connsiteY1652" fmla="*/ 2667 h 10000"/>
                  <a:gd name="connsiteX1653" fmla="*/ 3613 w 10785"/>
                  <a:gd name="connsiteY1653" fmla="*/ 2692 h 10000"/>
                  <a:gd name="connsiteX1654" fmla="*/ 3627 w 10785"/>
                  <a:gd name="connsiteY1654" fmla="*/ 2735 h 10000"/>
                  <a:gd name="connsiteX1655" fmla="*/ 3631 w 10785"/>
                  <a:gd name="connsiteY1655" fmla="*/ 2744 h 10000"/>
                  <a:gd name="connsiteX1656" fmla="*/ 3659 w 10785"/>
                  <a:gd name="connsiteY1656" fmla="*/ 2761 h 10000"/>
                  <a:gd name="connsiteX1657" fmla="*/ 3673 w 10785"/>
                  <a:gd name="connsiteY1657" fmla="*/ 2769 h 10000"/>
                  <a:gd name="connsiteX1658" fmla="*/ 3673 w 10785"/>
                  <a:gd name="connsiteY1658" fmla="*/ 2761 h 10000"/>
                  <a:gd name="connsiteX1659" fmla="*/ 3687 w 10785"/>
                  <a:gd name="connsiteY1659" fmla="*/ 2829 h 10000"/>
                  <a:gd name="connsiteX1660" fmla="*/ 3677 w 10785"/>
                  <a:gd name="connsiteY1660" fmla="*/ 2897 h 10000"/>
                  <a:gd name="connsiteX1661" fmla="*/ 3673 w 10785"/>
                  <a:gd name="connsiteY1661" fmla="*/ 2915 h 10000"/>
                  <a:gd name="connsiteX1662" fmla="*/ 3664 w 10785"/>
                  <a:gd name="connsiteY1662" fmla="*/ 2957 h 10000"/>
                  <a:gd name="connsiteX1663" fmla="*/ 3659 w 10785"/>
                  <a:gd name="connsiteY1663" fmla="*/ 2983 h 10000"/>
                  <a:gd name="connsiteX1664" fmla="*/ 3664 w 10785"/>
                  <a:gd name="connsiteY1664" fmla="*/ 3017 h 10000"/>
                  <a:gd name="connsiteX1665" fmla="*/ 3659 w 10785"/>
                  <a:gd name="connsiteY1665" fmla="*/ 3043 h 10000"/>
                  <a:gd name="connsiteX1666" fmla="*/ 3677 w 10785"/>
                  <a:gd name="connsiteY1666" fmla="*/ 3094 h 10000"/>
                  <a:gd name="connsiteX1667" fmla="*/ 3691 w 10785"/>
                  <a:gd name="connsiteY1667" fmla="*/ 3282 h 10000"/>
                  <a:gd name="connsiteX1668" fmla="*/ 3691 w 10785"/>
                  <a:gd name="connsiteY1668" fmla="*/ 3308 h 10000"/>
                  <a:gd name="connsiteX1669" fmla="*/ 3677 w 10785"/>
                  <a:gd name="connsiteY1669" fmla="*/ 3342 h 10000"/>
                  <a:gd name="connsiteX1670" fmla="*/ 3664 w 10785"/>
                  <a:gd name="connsiteY1670" fmla="*/ 3342 h 10000"/>
                  <a:gd name="connsiteX1671" fmla="*/ 3650 w 10785"/>
                  <a:gd name="connsiteY1671" fmla="*/ 3342 h 10000"/>
                  <a:gd name="connsiteX1672" fmla="*/ 3650 w 10785"/>
                  <a:gd name="connsiteY1672" fmla="*/ 3350 h 10000"/>
                  <a:gd name="connsiteX1673" fmla="*/ 3659 w 10785"/>
                  <a:gd name="connsiteY1673" fmla="*/ 3402 h 10000"/>
                  <a:gd name="connsiteX1674" fmla="*/ 3659 w 10785"/>
                  <a:gd name="connsiteY1674" fmla="*/ 3419 h 10000"/>
                  <a:gd name="connsiteX1675" fmla="*/ 3631 w 10785"/>
                  <a:gd name="connsiteY1675" fmla="*/ 3402 h 10000"/>
                  <a:gd name="connsiteX1676" fmla="*/ 3604 w 10785"/>
                  <a:gd name="connsiteY1676" fmla="*/ 3393 h 10000"/>
                  <a:gd name="connsiteX1677" fmla="*/ 3599 w 10785"/>
                  <a:gd name="connsiteY1677" fmla="*/ 3368 h 10000"/>
                  <a:gd name="connsiteX1678" fmla="*/ 3590 w 10785"/>
                  <a:gd name="connsiteY1678" fmla="*/ 3239 h 10000"/>
                  <a:gd name="connsiteX1679" fmla="*/ 3599 w 10785"/>
                  <a:gd name="connsiteY1679" fmla="*/ 3179 h 10000"/>
                  <a:gd name="connsiteX1680" fmla="*/ 3599 w 10785"/>
                  <a:gd name="connsiteY1680" fmla="*/ 3171 h 10000"/>
                  <a:gd name="connsiteX1681" fmla="*/ 3599 w 10785"/>
                  <a:gd name="connsiteY1681" fmla="*/ 3009 h 10000"/>
                  <a:gd name="connsiteX1682" fmla="*/ 3604 w 10785"/>
                  <a:gd name="connsiteY1682" fmla="*/ 2983 h 10000"/>
                  <a:gd name="connsiteX1683" fmla="*/ 3645 w 10785"/>
                  <a:gd name="connsiteY1683" fmla="*/ 2932 h 10000"/>
                  <a:gd name="connsiteX1684" fmla="*/ 3650 w 10785"/>
                  <a:gd name="connsiteY1684" fmla="*/ 2872 h 10000"/>
                  <a:gd name="connsiteX1685" fmla="*/ 3659 w 10785"/>
                  <a:gd name="connsiteY1685" fmla="*/ 2855 h 10000"/>
                  <a:gd name="connsiteX1686" fmla="*/ 3659 w 10785"/>
                  <a:gd name="connsiteY1686" fmla="*/ 2821 h 10000"/>
                  <a:gd name="connsiteX1687" fmla="*/ 3631 w 10785"/>
                  <a:gd name="connsiteY1687" fmla="*/ 2795 h 10000"/>
                  <a:gd name="connsiteX1688" fmla="*/ 3567 w 10785"/>
                  <a:gd name="connsiteY1688" fmla="*/ 2821 h 10000"/>
                  <a:gd name="connsiteX1689" fmla="*/ 3544 w 10785"/>
                  <a:gd name="connsiteY1689" fmla="*/ 2795 h 10000"/>
                  <a:gd name="connsiteX1690" fmla="*/ 3530 w 10785"/>
                  <a:gd name="connsiteY1690" fmla="*/ 2769 h 10000"/>
                  <a:gd name="connsiteX1691" fmla="*/ 3530 w 10785"/>
                  <a:gd name="connsiteY1691" fmla="*/ 2786 h 10000"/>
                  <a:gd name="connsiteX1692" fmla="*/ 3498 w 10785"/>
                  <a:gd name="connsiteY1692" fmla="*/ 2692 h 10000"/>
                  <a:gd name="connsiteX1693" fmla="*/ 3498 w 10785"/>
                  <a:gd name="connsiteY1693" fmla="*/ 2667 h 10000"/>
                  <a:gd name="connsiteX1694" fmla="*/ 3442 w 10785"/>
                  <a:gd name="connsiteY1694" fmla="*/ 2607 h 10000"/>
                  <a:gd name="connsiteX1695" fmla="*/ 3433 w 10785"/>
                  <a:gd name="connsiteY1695" fmla="*/ 2581 h 10000"/>
                  <a:gd name="connsiteX1696" fmla="*/ 3396 w 10785"/>
                  <a:gd name="connsiteY1696" fmla="*/ 2556 h 10000"/>
                  <a:gd name="connsiteX1697" fmla="*/ 3318 w 10785"/>
                  <a:gd name="connsiteY1697" fmla="*/ 2556 h 10000"/>
                  <a:gd name="connsiteX1698" fmla="*/ 3304 w 10785"/>
                  <a:gd name="connsiteY1698" fmla="*/ 2607 h 10000"/>
                  <a:gd name="connsiteX1699" fmla="*/ 3276 w 10785"/>
                  <a:gd name="connsiteY1699" fmla="*/ 2632 h 10000"/>
                  <a:gd name="connsiteX1700" fmla="*/ 3272 w 10785"/>
                  <a:gd name="connsiteY1700" fmla="*/ 2667 h 10000"/>
                  <a:gd name="connsiteX1701" fmla="*/ 3304 w 10785"/>
                  <a:gd name="connsiteY1701" fmla="*/ 2667 h 10000"/>
                  <a:gd name="connsiteX1702" fmla="*/ 3323 w 10785"/>
                  <a:gd name="connsiteY1702" fmla="*/ 2692 h 10000"/>
                  <a:gd name="connsiteX1703" fmla="*/ 3318 w 10785"/>
                  <a:gd name="connsiteY1703" fmla="*/ 2735 h 10000"/>
                  <a:gd name="connsiteX1704" fmla="*/ 3304 w 10785"/>
                  <a:gd name="connsiteY1704" fmla="*/ 2761 h 10000"/>
                  <a:gd name="connsiteX1705" fmla="*/ 3276 w 10785"/>
                  <a:gd name="connsiteY1705" fmla="*/ 2769 h 10000"/>
                  <a:gd name="connsiteX1706" fmla="*/ 3263 w 10785"/>
                  <a:gd name="connsiteY1706" fmla="*/ 2795 h 10000"/>
                  <a:gd name="connsiteX1707" fmla="*/ 3235 w 10785"/>
                  <a:gd name="connsiteY1707" fmla="*/ 2803 h 10000"/>
                  <a:gd name="connsiteX1708" fmla="*/ 3235 w 10785"/>
                  <a:gd name="connsiteY1708" fmla="*/ 2786 h 10000"/>
                  <a:gd name="connsiteX1709" fmla="*/ 3212 w 10785"/>
                  <a:gd name="connsiteY1709" fmla="*/ 2709 h 10000"/>
                  <a:gd name="connsiteX1710" fmla="*/ 3198 w 10785"/>
                  <a:gd name="connsiteY1710" fmla="*/ 2709 h 10000"/>
                  <a:gd name="connsiteX1711" fmla="*/ 3184 w 10785"/>
                  <a:gd name="connsiteY1711" fmla="*/ 2735 h 10000"/>
                  <a:gd name="connsiteX1712" fmla="*/ 3189 w 10785"/>
                  <a:gd name="connsiteY1712" fmla="*/ 2761 h 10000"/>
                  <a:gd name="connsiteX1713" fmla="*/ 3203 w 10785"/>
                  <a:gd name="connsiteY1713" fmla="*/ 2855 h 10000"/>
                  <a:gd name="connsiteX1714" fmla="*/ 3212 w 10785"/>
                  <a:gd name="connsiteY1714" fmla="*/ 2872 h 10000"/>
                  <a:gd name="connsiteX1715" fmla="*/ 3235 w 10785"/>
                  <a:gd name="connsiteY1715" fmla="*/ 2906 h 10000"/>
                  <a:gd name="connsiteX1716" fmla="*/ 3258 w 10785"/>
                  <a:gd name="connsiteY1716" fmla="*/ 2915 h 10000"/>
                  <a:gd name="connsiteX1717" fmla="*/ 3272 w 10785"/>
                  <a:gd name="connsiteY1717" fmla="*/ 2957 h 10000"/>
                  <a:gd name="connsiteX1718" fmla="*/ 3276 w 10785"/>
                  <a:gd name="connsiteY1718" fmla="*/ 2957 h 10000"/>
                  <a:gd name="connsiteX1719" fmla="*/ 3286 w 10785"/>
                  <a:gd name="connsiteY1719" fmla="*/ 2966 h 10000"/>
                  <a:gd name="connsiteX1720" fmla="*/ 3300 w 10785"/>
                  <a:gd name="connsiteY1720" fmla="*/ 2957 h 10000"/>
                  <a:gd name="connsiteX1721" fmla="*/ 3309 w 10785"/>
                  <a:gd name="connsiteY1721" fmla="*/ 2932 h 10000"/>
                  <a:gd name="connsiteX1722" fmla="*/ 3304 w 10785"/>
                  <a:gd name="connsiteY1722" fmla="*/ 2966 h 10000"/>
                  <a:gd name="connsiteX1723" fmla="*/ 3309 w 10785"/>
                  <a:gd name="connsiteY1723" fmla="*/ 2983 h 10000"/>
                  <a:gd name="connsiteX1724" fmla="*/ 3323 w 10785"/>
                  <a:gd name="connsiteY1724" fmla="*/ 2966 h 10000"/>
                  <a:gd name="connsiteX1725" fmla="*/ 3323 w 10785"/>
                  <a:gd name="connsiteY1725" fmla="*/ 3043 h 10000"/>
                  <a:gd name="connsiteX1726" fmla="*/ 3346 w 10785"/>
                  <a:gd name="connsiteY1726" fmla="*/ 3068 h 10000"/>
                  <a:gd name="connsiteX1727" fmla="*/ 3346 w 10785"/>
                  <a:gd name="connsiteY1727" fmla="*/ 3094 h 10000"/>
                  <a:gd name="connsiteX1728" fmla="*/ 3323 w 10785"/>
                  <a:gd name="connsiteY1728" fmla="*/ 3094 h 10000"/>
                  <a:gd name="connsiteX1729" fmla="*/ 3309 w 10785"/>
                  <a:gd name="connsiteY1729" fmla="*/ 3077 h 10000"/>
                  <a:gd name="connsiteX1730" fmla="*/ 3304 w 10785"/>
                  <a:gd name="connsiteY1730" fmla="*/ 3051 h 10000"/>
                  <a:gd name="connsiteX1731" fmla="*/ 3300 w 10785"/>
                  <a:gd name="connsiteY1731" fmla="*/ 3043 h 10000"/>
                  <a:gd name="connsiteX1732" fmla="*/ 3286 w 10785"/>
                  <a:gd name="connsiteY1732" fmla="*/ 3017 h 10000"/>
                  <a:gd name="connsiteX1733" fmla="*/ 3152 w 10785"/>
                  <a:gd name="connsiteY1733" fmla="*/ 2966 h 10000"/>
                  <a:gd name="connsiteX1734" fmla="*/ 3129 w 10785"/>
                  <a:gd name="connsiteY1734" fmla="*/ 2915 h 10000"/>
                  <a:gd name="connsiteX1735" fmla="*/ 3129 w 10785"/>
                  <a:gd name="connsiteY1735" fmla="*/ 2906 h 10000"/>
                  <a:gd name="connsiteX1736" fmla="*/ 3152 w 10785"/>
                  <a:gd name="connsiteY1736" fmla="*/ 2906 h 10000"/>
                  <a:gd name="connsiteX1737" fmla="*/ 3152 w 10785"/>
                  <a:gd name="connsiteY1737" fmla="*/ 2846 h 10000"/>
                  <a:gd name="connsiteX1738" fmla="*/ 3138 w 10785"/>
                  <a:gd name="connsiteY1738" fmla="*/ 2795 h 10000"/>
                  <a:gd name="connsiteX1739" fmla="*/ 3138 w 10785"/>
                  <a:gd name="connsiteY1739" fmla="*/ 2769 h 10000"/>
                  <a:gd name="connsiteX1740" fmla="*/ 3143 w 10785"/>
                  <a:gd name="connsiteY1740" fmla="*/ 2718 h 10000"/>
                  <a:gd name="connsiteX1741" fmla="*/ 3129 w 10785"/>
                  <a:gd name="connsiteY1741" fmla="*/ 2692 h 10000"/>
                  <a:gd name="connsiteX1742" fmla="*/ 3143 w 10785"/>
                  <a:gd name="connsiteY1742" fmla="*/ 2667 h 10000"/>
                  <a:gd name="connsiteX1743" fmla="*/ 3157 w 10785"/>
                  <a:gd name="connsiteY1743" fmla="*/ 2581 h 10000"/>
                  <a:gd name="connsiteX1744" fmla="*/ 3143 w 10785"/>
                  <a:gd name="connsiteY1744" fmla="*/ 2496 h 10000"/>
                  <a:gd name="connsiteX1745" fmla="*/ 3157 w 10785"/>
                  <a:gd name="connsiteY1745" fmla="*/ 2487 h 10000"/>
                  <a:gd name="connsiteX1746" fmla="*/ 3143 w 10785"/>
                  <a:gd name="connsiteY1746" fmla="*/ 2444 h 10000"/>
                  <a:gd name="connsiteX1747" fmla="*/ 3143 w 10785"/>
                  <a:gd name="connsiteY1747" fmla="*/ 2419 h 10000"/>
                  <a:gd name="connsiteX1748" fmla="*/ 3143 w 10785"/>
                  <a:gd name="connsiteY1748" fmla="*/ 2410 h 10000"/>
                  <a:gd name="connsiteX1749" fmla="*/ 3124 w 10785"/>
                  <a:gd name="connsiteY1749" fmla="*/ 2376 h 10000"/>
                  <a:gd name="connsiteX1750" fmla="*/ 3115 w 10785"/>
                  <a:gd name="connsiteY1750" fmla="*/ 2350 h 10000"/>
                  <a:gd name="connsiteX1751" fmla="*/ 3101 w 10785"/>
                  <a:gd name="connsiteY1751" fmla="*/ 2359 h 10000"/>
                  <a:gd name="connsiteX1752" fmla="*/ 3115 w 10785"/>
                  <a:gd name="connsiteY1752" fmla="*/ 2581 h 10000"/>
                  <a:gd name="connsiteX1753" fmla="*/ 3111 w 10785"/>
                  <a:gd name="connsiteY1753" fmla="*/ 2624 h 10000"/>
                  <a:gd name="connsiteX1754" fmla="*/ 3009 w 10785"/>
                  <a:gd name="connsiteY1754" fmla="*/ 2761 h 10000"/>
                  <a:gd name="connsiteX1755" fmla="*/ 3009 w 10785"/>
                  <a:gd name="connsiteY1755" fmla="*/ 2803 h 10000"/>
                  <a:gd name="connsiteX1756" fmla="*/ 3005 w 10785"/>
                  <a:gd name="connsiteY1756" fmla="*/ 2829 h 10000"/>
                  <a:gd name="connsiteX1757" fmla="*/ 2982 w 10785"/>
                  <a:gd name="connsiteY1757" fmla="*/ 2872 h 10000"/>
                  <a:gd name="connsiteX1758" fmla="*/ 2982 w 10785"/>
                  <a:gd name="connsiteY1758" fmla="*/ 2880 h 10000"/>
                  <a:gd name="connsiteX1759" fmla="*/ 3037 w 10785"/>
                  <a:gd name="connsiteY1759" fmla="*/ 3034 h 10000"/>
                  <a:gd name="connsiteX1760" fmla="*/ 3041 w 10785"/>
                  <a:gd name="connsiteY1760" fmla="*/ 3103 h 10000"/>
                  <a:gd name="connsiteX1761" fmla="*/ 3069 w 10785"/>
                  <a:gd name="connsiteY1761" fmla="*/ 3188 h 10000"/>
                  <a:gd name="connsiteX1762" fmla="*/ 3055 w 10785"/>
                  <a:gd name="connsiteY1762" fmla="*/ 3325 h 10000"/>
                  <a:gd name="connsiteX1763" fmla="*/ 3037 w 10785"/>
                  <a:gd name="connsiteY1763" fmla="*/ 3368 h 10000"/>
                  <a:gd name="connsiteX1764" fmla="*/ 3037 w 10785"/>
                  <a:gd name="connsiteY1764" fmla="*/ 3444 h 10000"/>
                  <a:gd name="connsiteX1765" fmla="*/ 3028 w 10785"/>
                  <a:gd name="connsiteY1765" fmla="*/ 3453 h 10000"/>
                  <a:gd name="connsiteX1766" fmla="*/ 3023 w 10785"/>
                  <a:gd name="connsiteY1766" fmla="*/ 3530 h 10000"/>
                  <a:gd name="connsiteX1767" fmla="*/ 3051 w 10785"/>
                  <a:gd name="connsiteY1767" fmla="*/ 3624 h 10000"/>
                  <a:gd name="connsiteX1768" fmla="*/ 3037 w 10785"/>
                  <a:gd name="connsiteY1768" fmla="*/ 3718 h 10000"/>
                  <a:gd name="connsiteX1769" fmla="*/ 3041 w 10785"/>
                  <a:gd name="connsiteY1769" fmla="*/ 3752 h 10000"/>
                  <a:gd name="connsiteX1770" fmla="*/ 3055 w 10785"/>
                  <a:gd name="connsiteY1770" fmla="*/ 3761 h 10000"/>
                  <a:gd name="connsiteX1771" fmla="*/ 3078 w 10785"/>
                  <a:gd name="connsiteY1771" fmla="*/ 3752 h 10000"/>
                  <a:gd name="connsiteX1772" fmla="*/ 3092 w 10785"/>
                  <a:gd name="connsiteY1772" fmla="*/ 3752 h 10000"/>
                  <a:gd name="connsiteX1773" fmla="*/ 3129 w 10785"/>
                  <a:gd name="connsiteY1773" fmla="*/ 3761 h 10000"/>
                  <a:gd name="connsiteX1774" fmla="*/ 3129 w 10785"/>
                  <a:gd name="connsiteY1774" fmla="*/ 3735 h 10000"/>
                  <a:gd name="connsiteX1775" fmla="*/ 3157 w 10785"/>
                  <a:gd name="connsiteY1775" fmla="*/ 3718 h 10000"/>
                  <a:gd name="connsiteX1776" fmla="*/ 3184 w 10785"/>
                  <a:gd name="connsiteY1776" fmla="*/ 3718 h 10000"/>
                  <a:gd name="connsiteX1777" fmla="*/ 3290 w 10785"/>
                  <a:gd name="connsiteY1777" fmla="*/ 3838 h 10000"/>
                  <a:gd name="connsiteX1778" fmla="*/ 3300 w 10785"/>
                  <a:gd name="connsiteY1778" fmla="*/ 3846 h 10000"/>
                  <a:gd name="connsiteX1779" fmla="*/ 3300 w 10785"/>
                  <a:gd name="connsiteY1779" fmla="*/ 3915 h 10000"/>
                  <a:gd name="connsiteX1780" fmla="*/ 3318 w 10785"/>
                  <a:gd name="connsiteY1780" fmla="*/ 4000 h 10000"/>
                  <a:gd name="connsiteX1781" fmla="*/ 3323 w 10785"/>
                  <a:gd name="connsiteY1781" fmla="*/ 4000 h 10000"/>
                  <a:gd name="connsiteX1782" fmla="*/ 3323 w 10785"/>
                  <a:gd name="connsiteY1782" fmla="*/ 4034 h 10000"/>
                  <a:gd name="connsiteX1783" fmla="*/ 3318 w 10785"/>
                  <a:gd name="connsiteY1783" fmla="*/ 4051 h 10000"/>
                  <a:gd name="connsiteX1784" fmla="*/ 3300 w 10785"/>
                  <a:gd name="connsiteY1784" fmla="*/ 4051 h 10000"/>
                  <a:gd name="connsiteX1785" fmla="*/ 3290 w 10785"/>
                  <a:gd name="connsiteY1785" fmla="*/ 4077 h 10000"/>
                  <a:gd name="connsiteX1786" fmla="*/ 3286 w 10785"/>
                  <a:gd name="connsiteY1786" fmla="*/ 4103 h 10000"/>
                  <a:gd name="connsiteX1787" fmla="*/ 3286 w 10785"/>
                  <a:gd name="connsiteY1787" fmla="*/ 4197 h 10000"/>
                  <a:gd name="connsiteX1788" fmla="*/ 3290 w 10785"/>
                  <a:gd name="connsiteY1788" fmla="*/ 4214 h 10000"/>
                  <a:gd name="connsiteX1789" fmla="*/ 3304 w 10785"/>
                  <a:gd name="connsiteY1789" fmla="*/ 4214 h 10000"/>
                  <a:gd name="connsiteX1790" fmla="*/ 3323 w 10785"/>
                  <a:gd name="connsiteY1790" fmla="*/ 4239 h 10000"/>
                  <a:gd name="connsiteX1791" fmla="*/ 3350 w 10785"/>
                  <a:gd name="connsiteY1791" fmla="*/ 4222 h 10000"/>
                  <a:gd name="connsiteX1792" fmla="*/ 3369 w 10785"/>
                  <a:gd name="connsiteY1792" fmla="*/ 4256 h 10000"/>
                  <a:gd name="connsiteX1793" fmla="*/ 3369 w 10785"/>
                  <a:gd name="connsiteY1793" fmla="*/ 4256 h 10000"/>
                  <a:gd name="connsiteX1794" fmla="*/ 3336 w 10785"/>
                  <a:gd name="connsiteY1794" fmla="*/ 4274 h 10000"/>
                  <a:gd name="connsiteX1795" fmla="*/ 3323 w 10785"/>
                  <a:gd name="connsiteY1795" fmla="*/ 4274 h 10000"/>
                  <a:gd name="connsiteX1796" fmla="*/ 3290 w 10785"/>
                  <a:gd name="connsiteY1796" fmla="*/ 4274 h 10000"/>
                  <a:gd name="connsiteX1797" fmla="*/ 3286 w 10785"/>
                  <a:gd name="connsiteY1797" fmla="*/ 4239 h 10000"/>
                  <a:gd name="connsiteX1798" fmla="*/ 3263 w 10785"/>
                  <a:gd name="connsiteY1798" fmla="*/ 4214 h 10000"/>
                  <a:gd name="connsiteX1799" fmla="*/ 3258 w 10785"/>
                  <a:gd name="connsiteY1799" fmla="*/ 4188 h 10000"/>
                  <a:gd name="connsiteX1800" fmla="*/ 3263 w 10785"/>
                  <a:gd name="connsiteY1800" fmla="*/ 4171 h 10000"/>
                  <a:gd name="connsiteX1801" fmla="*/ 3263 w 10785"/>
                  <a:gd name="connsiteY1801" fmla="*/ 4103 h 10000"/>
                  <a:gd name="connsiteX1802" fmla="*/ 3276 w 10785"/>
                  <a:gd name="connsiteY1802" fmla="*/ 4060 h 10000"/>
                  <a:gd name="connsiteX1803" fmla="*/ 3272 w 10785"/>
                  <a:gd name="connsiteY1803" fmla="*/ 4051 h 10000"/>
                  <a:gd name="connsiteX1804" fmla="*/ 3263 w 10785"/>
                  <a:gd name="connsiteY1804" fmla="*/ 4051 h 10000"/>
                  <a:gd name="connsiteX1805" fmla="*/ 3263 w 10785"/>
                  <a:gd name="connsiteY1805" fmla="*/ 4034 h 10000"/>
                  <a:gd name="connsiteX1806" fmla="*/ 3263 w 10785"/>
                  <a:gd name="connsiteY1806" fmla="*/ 4000 h 10000"/>
                  <a:gd name="connsiteX1807" fmla="*/ 3272 w 10785"/>
                  <a:gd name="connsiteY1807" fmla="*/ 4000 h 10000"/>
                  <a:gd name="connsiteX1808" fmla="*/ 3272 w 10785"/>
                  <a:gd name="connsiteY1808" fmla="*/ 3974 h 10000"/>
                  <a:gd name="connsiteX1809" fmla="*/ 3272 w 10785"/>
                  <a:gd name="connsiteY1809" fmla="*/ 3966 h 10000"/>
                  <a:gd name="connsiteX1810" fmla="*/ 3272 w 10785"/>
                  <a:gd name="connsiteY1810" fmla="*/ 3949 h 10000"/>
                  <a:gd name="connsiteX1811" fmla="*/ 3258 w 10785"/>
                  <a:gd name="connsiteY1811" fmla="*/ 3923 h 10000"/>
                  <a:gd name="connsiteX1812" fmla="*/ 3249 w 10785"/>
                  <a:gd name="connsiteY1812" fmla="*/ 3915 h 10000"/>
                  <a:gd name="connsiteX1813" fmla="*/ 3244 w 10785"/>
                  <a:gd name="connsiteY1813" fmla="*/ 3897 h 10000"/>
                  <a:gd name="connsiteX1814" fmla="*/ 3230 w 10785"/>
                  <a:gd name="connsiteY1814" fmla="*/ 3889 h 10000"/>
                  <a:gd name="connsiteX1815" fmla="*/ 3230 w 10785"/>
                  <a:gd name="connsiteY1815" fmla="*/ 3863 h 10000"/>
                  <a:gd name="connsiteX1816" fmla="*/ 3230 w 10785"/>
                  <a:gd name="connsiteY1816" fmla="*/ 3838 h 10000"/>
                  <a:gd name="connsiteX1817" fmla="*/ 3226 w 10785"/>
                  <a:gd name="connsiteY1817" fmla="*/ 3803 h 10000"/>
                  <a:gd name="connsiteX1818" fmla="*/ 3138 w 10785"/>
                  <a:gd name="connsiteY1818" fmla="*/ 3838 h 10000"/>
                  <a:gd name="connsiteX1819" fmla="*/ 3078 w 10785"/>
                  <a:gd name="connsiteY1819" fmla="*/ 3889 h 10000"/>
                  <a:gd name="connsiteX1820" fmla="*/ 3078 w 10785"/>
                  <a:gd name="connsiteY1820" fmla="*/ 3940 h 10000"/>
                  <a:gd name="connsiteX1821" fmla="*/ 3069 w 10785"/>
                  <a:gd name="connsiteY1821" fmla="*/ 3983 h 10000"/>
                  <a:gd name="connsiteX1822" fmla="*/ 3069 w 10785"/>
                  <a:gd name="connsiteY1822" fmla="*/ 4009 h 10000"/>
                  <a:gd name="connsiteX1823" fmla="*/ 3078 w 10785"/>
                  <a:gd name="connsiteY1823" fmla="*/ 4026 h 10000"/>
                  <a:gd name="connsiteX1824" fmla="*/ 3083 w 10785"/>
                  <a:gd name="connsiteY1824" fmla="*/ 4034 h 10000"/>
                  <a:gd name="connsiteX1825" fmla="*/ 3092 w 10785"/>
                  <a:gd name="connsiteY1825" fmla="*/ 4060 h 10000"/>
                  <a:gd name="connsiteX1826" fmla="*/ 3092 w 10785"/>
                  <a:gd name="connsiteY1826" fmla="*/ 4077 h 10000"/>
                  <a:gd name="connsiteX1827" fmla="*/ 3097 w 10785"/>
                  <a:gd name="connsiteY1827" fmla="*/ 4103 h 10000"/>
                  <a:gd name="connsiteX1828" fmla="*/ 3101 w 10785"/>
                  <a:gd name="connsiteY1828" fmla="*/ 4162 h 10000"/>
                  <a:gd name="connsiteX1829" fmla="*/ 3097 w 10785"/>
                  <a:gd name="connsiteY1829" fmla="*/ 4222 h 10000"/>
                  <a:gd name="connsiteX1830" fmla="*/ 3041 w 10785"/>
                  <a:gd name="connsiteY1830" fmla="*/ 4325 h 10000"/>
                  <a:gd name="connsiteX1831" fmla="*/ 3037 w 10785"/>
                  <a:gd name="connsiteY1831" fmla="*/ 4419 h 10000"/>
                  <a:gd name="connsiteX1832" fmla="*/ 3018 w 10785"/>
                  <a:gd name="connsiteY1832" fmla="*/ 4470 h 10000"/>
                  <a:gd name="connsiteX1833" fmla="*/ 2991 w 10785"/>
                  <a:gd name="connsiteY1833" fmla="*/ 4513 h 10000"/>
                  <a:gd name="connsiteX1834" fmla="*/ 2977 w 10785"/>
                  <a:gd name="connsiteY1834" fmla="*/ 4530 h 10000"/>
                  <a:gd name="connsiteX1835" fmla="*/ 2945 w 10785"/>
                  <a:gd name="connsiteY1835" fmla="*/ 4556 h 10000"/>
                  <a:gd name="connsiteX1836" fmla="*/ 2935 w 10785"/>
                  <a:gd name="connsiteY1836" fmla="*/ 4581 h 10000"/>
                  <a:gd name="connsiteX1837" fmla="*/ 2949 w 10785"/>
                  <a:gd name="connsiteY1837" fmla="*/ 4624 h 10000"/>
                  <a:gd name="connsiteX1838" fmla="*/ 2945 w 10785"/>
                  <a:gd name="connsiteY1838" fmla="*/ 4658 h 10000"/>
                  <a:gd name="connsiteX1839" fmla="*/ 2922 w 10785"/>
                  <a:gd name="connsiteY1839" fmla="*/ 4667 h 10000"/>
                  <a:gd name="connsiteX1840" fmla="*/ 2876 w 10785"/>
                  <a:gd name="connsiteY1840" fmla="*/ 4632 h 10000"/>
                  <a:gd name="connsiteX1841" fmla="*/ 2857 w 10785"/>
                  <a:gd name="connsiteY1841" fmla="*/ 4632 h 10000"/>
                  <a:gd name="connsiteX1842" fmla="*/ 2820 w 10785"/>
                  <a:gd name="connsiteY1842" fmla="*/ 4641 h 10000"/>
                  <a:gd name="connsiteX1843" fmla="*/ 2797 w 10785"/>
                  <a:gd name="connsiteY1843" fmla="*/ 4632 h 10000"/>
                  <a:gd name="connsiteX1844" fmla="*/ 2788 w 10785"/>
                  <a:gd name="connsiteY1844" fmla="*/ 4624 h 10000"/>
                  <a:gd name="connsiteX1845" fmla="*/ 2788 w 10785"/>
                  <a:gd name="connsiteY1845" fmla="*/ 4598 h 10000"/>
                  <a:gd name="connsiteX1846" fmla="*/ 2797 w 10785"/>
                  <a:gd name="connsiteY1846" fmla="*/ 4581 h 10000"/>
                  <a:gd name="connsiteX1847" fmla="*/ 2788 w 10785"/>
                  <a:gd name="connsiteY1847" fmla="*/ 4530 h 10000"/>
                  <a:gd name="connsiteX1848" fmla="*/ 2774 w 10785"/>
                  <a:gd name="connsiteY1848" fmla="*/ 4530 h 10000"/>
                  <a:gd name="connsiteX1849" fmla="*/ 2770 w 10785"/>
                  <a:gd name="connsiteY1849" fmla="*/ 4513 h 10000"/>
                  <a:gd name="connsiteX1850" fmla="*/ 2774 w 10785"/>
                  <a:gd name="connsiteY1850" fmla="*/ 4513 h 10000"/>
                  <a:gd name="connsiteX1851" fmla="*/ 2788 w 10785"/>
                  <a:gd name="connsiteY1851" fmla="*/ 4496 h 10000"/>
                  <a:gd name="connsiteX1852" fmla="*/ 2802 w 10785"/>
                  <a:gd name="connsiteY1852" fmla="*/ 4513 h 10000"/>
                  <a:gd name="connsiteX1853" fmla="*/ 2811 w 10785"/>
                  <a:gd name="connsiteY1853" fmla="*/ 4530 h 10000"/>
                  <a:gd name="connsiteX1854" fmla="*/ 2820 w 10785"/>
                  <a:gd name="connsiteY1854" fmla="*/ 4521 h 10000"/>
                  <a:gd name="connsiteX1855" fmla="*/ 2829 w 10785"/>
                  <a:gd name="connsiteY1855" fmla="*/ 4513 h 10000"/>
                  <a:gd name="connsiteX1856" fmla="*/ 2843 w 10785"/>
                  <a:gd name="connsiteY1856" fmla="*/ 4513 h 10000"/>
                  <a:gd name="connsiteX1857" fmla="*/ 2848 w 10785"/>
                  <a:gd name="connsiteY1857" fmla="*/ 4470 h 10000"/>
                  <a:gd name="connsiteX1858" fmla="*/ 2862 w 10785"/>
                  <a:gd name="connsiteY1858" fmla="*/ 4487 h 10000"/>
                  <a:gd name="connsiteX1859" fmla="*/ 2876 w 10785"/>
                  <a:gd name="connsiteY1859" fmla="*/ 4470 h 10000"/>
                  <a:gd name="connsiteX1860" fmla="*/ 2880 w 10785"/>
                  <a:gd name="connsiteY1860" fmla="*/ 4462 h 10000"/>
                  <a:gd name="connsiteX1861" fmla="*/ 2889 w 10785"/>
                  <a:gd name="connsiteY1861" fmla="*/ 4444 h 10000"/>
                  <a:gd name="connsiteX1862" fmla="*/ 2894 w 10785"/>
                  <a:gd name="connsiteY1862" fmla="*/ 4462 h 10000"/>
                  <a:gd name="connsiteX1863" fmla="*/ 2917 w 10785"/>
                  <a:gd name="connsiteY1863" fmla="*/ 4444 h 10000"/>
                  <a:gd name="connsiteX1864" fmla="*/ 2922 w 10785"/>
                  <a:gd name="connsiteY1864" fmla="*/ 4436 h 10000"/>
                  <a:gd name="connsiteX1865" fmla="*/ 2917 w 10785"/>
                  <a:gd name="connsiteY1865" fmla="*/ 4410 h 10000"/>
                  <a:gd name="connsiteX1866" fmla="*/ 2894 w 10785"/>
                  <a:gd name="connsiteY1866" fmla="*/ 4410 h 10000"/>
                  <a:gd name="connsiteX1867" fmla="*/ 2889 w 10785"/>
                  <a:gd name="connsiteY1867" fmla="*/ 4419 h 10000"/>
                  <a:gd name="connsiteX1868" fmla="*/ 2876 w 10785"/>
                  <a:gd name="connsiteY1868" fmla="*/ 4410 h 10000"/>
                  <a:gd name="connsiteX1869" fmla="*/ 2880 w 10785"/>
                  <a:gd name="connsiteY1869" fmla="*/ 4376 h 10000"/>
                  <a:gd name="connsiteX1870" fmla="*/ 2903 w 10785"/>
                  <a:gd name="connsiteY1870" fmla="*/ 4393 h 10000"/>
                  <a:gd name="connsiteX1871" fmla="*/ 2931 w 10785"/>
                  <a:gd name="connsiteY1871" fmla="*/ 4393 h 10000"/>
                  <a:gd name="connsiteX1872" fmla="*/ 2931 w 10785"/>
                  <a:gd name="connsiteY1872" fmla="*/ 4385 h 10000"/>
                  <a:gd name="connsiteX1873" fmla="*/ 2931 w 10785"/>
                  <a:gd name="connsiteY1873" fmla="*/ 4350 h 10000"/>
                  <a:gd name="connsiteX1874" fmla="*/ 2945 w 10785"/>
                  <a:gd name="connsiteY1874" fmla="*/ 4350 h 10000"/>
                  <a:gd name="connsiteX1875" fmla="*/ 2949 w 10785"/>
                  <a:gd name="connsiteY1875" fmla="*/ 4325 h 10000"/>
                  <a:gd name="connsiteX1876" fmla="*/ 2963 w 10785"/>
                  <a:gd name="connsiteY1876" fmla="*/ 4256 h 10000"/>
                  <a:gd name="connsiteX1877" fmla="*/ 2982 w 10785"/>
                  <a:gd name="connsiteY1877" fmla="*/ 4239 h 10000"/>
                  <a:gd name="connsiteX1878" fmla="*/ 2991 w 10785"/>
                  <a:gd name="connsiteY1878" fmla="*/ 4214 h 10000"/>
                  <a:gd name="connsiteX1879" fmla="*/ 2991 w 10785"/>
                  <a:gd name="connsiteY1879" fmla="*/ 4197 h 10000"/>
                  <a:gd name="connsiteX1880" fmla="*/ 2995 w 10785"/>
                  <a:gd name="connsiteY1880" fmla="*/ 4171 h 10000"/>
                  <a:gd name="connsiteX1881" fmla="*/ 2991 w 10785"/>
                  <a:gd name="connsiteY1881" fmla="*/ 4077 h 10000"/>
                  <a:gd name="connsiteX1882" fmla="*/ 2995 w 10785"/>
                  <a:gd name="connsiteY1882" fmla="*/ 4034 h 10000"/>
                  <a:gd name="connsiteX1883" fmla="*/ 3018 w 10785"/>
                  <a:gd name="connsiteY1883" fmla="*/ 3983 h 10000"/>
                  <a:gd name="connsiteX1884" fmla="*/ 3018 w 10785"/>
                  <a:gd name="connsiteY1884" fmla="*/ 3915 h 10000"/>
                  <a:gd name="connsiteX1885" fmla="*/ 2949 w 10785"/>
                  <a:gd name="connsiteY1885" fmla="*/ 3778 h 10000"/>
                  <a:gd name="connsiteX1886" fmla="*/ 2954 w 10785"/>
                  <a:gd name="connsiteY1886" fmla="*/ 3675 h 10000"/>
                  <a:gd name="connsiteX1887" fmla="*/ 2954 w 10785"/>
                  <a:gd name="connsiteY1887" fmla="*/ 3650 h 10000"/>
                  <a:gd name="connsiteX1888" fmla="*/ 2963 w 10785"/>
                  <a:gd name="connsiteY1888" fmla="*/ 3624 h 10000"/>
                  <a:gd name="connsiteX1889" fmla="*/ 2954 w 10785"/>
                  <a:gd name="connsiteY1889" fmla="*/ 3564 h 10000"/>
                  <a:gd name="connsiteX1890" fmla="*/ 2963 w 10785"/>
                  <a:gd name="connsiteY1890" fmla="*/ 3538 h 10000"/>
                  <a:gd name="connsiteX1891" fmla="*/ 2963 w 10785"/>
                  <a:gd name="connsiteY1891" fmla="*/ 3487 h 10000"/>
                  <a:gd name="connsiteX1892" fmla="*/ 2963 w 10785"/>
                  <a:gd name="connsiteY1892" fmla="*/ 3479 h 10000"/>
                  <a:gd name="connsiteX1893" fmla="*/ 2963 w 10785"/>
                  <a:gd name="connsiteY1893" fmla="*/ 3462 h 10000"/>
                  <a:gd name="connsiteX1894" fmla="*/ 2954 w 10785"/>
                  <a:gd name="connsiteY1894" fmla="*/ 3453 h 10000"/>
                  <a:gd name="connsiteX1895" fmla="*/ 2954 w 10785"/>
                  <a:gd name="connsiteY1895" fmla="*/ 3444 h 10000"/>
                  <a:gd name="connsiteX1896" fmla="*/ 2954 w 10785"/>
                  <a:gd name="connsiteY1896" fmla="*/ 3402 h 10000"/>
                  <a:gd name="connsiteX1897" fmla="*/ 2954 w 10785"/>
                  <a:gd name="connsiteY1897" fmla="*/ 3393 h 10000"/>
                  <a:gd name="connsiteX1898" fmla="*/ 2949 w 10785"/>
                  <a:gd name="connsiteY1898" fmla="*/ 3376 h 10000"/>
                  <a:gd name="connsiteX1899" fmla="*/ 2949 w 10785"/>
                  <a:gd name="connsiteY1899" fmla="*/ 3342 h 10000"/>
                  <a:gd name="connsiteX1900" fmla="*/ 2949 w 10785"/>
                  <a:gd name="connsiteY1900" fmla="*/ 3316 h 10000"/>
                  <a:gd name="connsiteX1901" fmla="*/ 2968 w 10785"/>
                  <a:gd name="connsiteY1901" fmla="*/ 3291 h 10000"/>
                  <a:gd name="connsiteX1902" fmla="*/ 2963 w 10785"/>
                  <a:gd name="connsiteY1902" fmla="*/ 3205 h 10000"/>
                  <a:gd name="connsiteX1903" fmla="*/ 2968 w 10785"/>
                  <a:gd name="connsiteY1903" fmla="*/ 3171 h 10000"/>
                  <a:gd name="connsiteX1904" fmla="*/ 2968 w 10785"/>
                  <a:gd name="connsiteY1904" fmla="*/ 3128 h 10000"/>
                  <a:gd name="connsiteX1905" fmla="*/ 2954 w 10785"/>
                  <a:gd name="connsiteY1905" fmla="*/ 3051 h 10000"/>
                  <a:gd name="connsiteX1906" fmla="*/ 2954 w 10785"/>
                  <a:gd name="connsiteY1906" fmla="*/ 3009 h 10000"/>
                  <a:gd name="connsiteX1907" fmla="*/ 2922 w 10785"/>
                  <a:gd name="connsiteY1907" fmla="*/ 2940 h 10000"/>
                  <a:gd name="connsiteX1908" fmla="*/ 2903 w 10785"/>
                  <a:gd name="connsiteY1908" fmla="*/ 2880 h 10000"/>
                  <a:gd name="connsiteX1909" fmla="*/ 2903 w 10785"/>
                  <a:gd name="connsiteY1909" fmla="*/ 2855 h 10000"/>
                  <a:gd name="connsiteX1910" fmla="*/ 2908 w 10785"/>
                  <a:gd name="connsiteY1910" fmla="*/ 2846 h 10000"/>
                  <a:gd name="connsiteX1911" fmla="*/ 2931 w 10785"/>
                  <a:gd name="connsiteY1911" fmla="*/ 2821 h 10000"/>
                  <a:gd name="connsiteX1912" fmla="*/ 2931 w 10785"/>
                  <a:gd name="connsiteY1912" fmla="*/ 2803 h 10000"/>
                  <a:gd name="connsiteX1913" fmla="*/ 2935 w 10785"/>
                  <a:gd name="connsiteY1913" fmla="*/ 2786 h 10000"/>
                  <a:gd name="connsiteX1914" fmla="*/ 2935 w 10785"/>
                  <a:gd name="connsiteY1914" fmla="*/ 2744 h 10000"/>
                  <a:gd name="connsiteX1915" fmla="*/ 2963 w 10785"/>
                  <a:gd name="connsiteY1915" fmla="*/ 2607 h 10000"/>
                  <a:gd name="connsiteX1916" fmla="*/ 2963 w 10785"/>
                  <a:gd name="connsiteY1916" fmla="*/ 2419 h 10000"/>
                  <a:gd name="connsiteX1917" fmla="*/ 2954 w 10785"/>
                  <a:gd name="connsiteY1917" fmla="*/ 2410 h 10000"/>
                  <a:gd name="connsiteX1918" fmla="*/ 2963 w 10785"/>
                  <a:gd name="connsiteY1918" fmla="*/ 2393 h 10000"/>
                  <a:gd name="connsiteX1919" fmla="*/ 2908 w 10785"/>
                  <a:gd name="connsiteY1919" fmla="*/ 2359 h 10000"/>
                  <a:gd name="connsiteX1920" fmla="*/ 2889 w 10785"/>
                  <a:gd name="connsiteY1920" fmla="*/ 2325 h 10000"/>
                  <a:gd name="connsiteX1921" fmla="*/ 2788 w 10785"/>
                  <a:gd name="connsiteY1921" fmla="*/ 2333 h 10000"/>
                  <a:gd name="connsiteX1922" fmla="*/ 2774 w 10785"/>
                  <a:gd name="connsiteY1922" fmla="*/ 2325 h 10000"/>
                  <a:gd name="connsiteX1923" fmla="*/ 2783 w 10785"/>
                  <a:gd name="connsiteY1923" fmla="*/ 2308 h 10000"/>
                  <a:gd name="connsiteX1924" fmla="*/ 2747 w 10785"/>
                  <a:gd name="connsiteY1924" fmla="*/ 2308 h 10000"/>
                  <a:gd name="connsiteX1925" fmla="*/ 2742 w 10785"/>
                  <a:gd name="connsiteY1925" fmla="*/ 2333 h 10000"/>
                  <a:gd name="connsiteX1926" fmla="*/ 2682 w 10785"/>
                  <a:gd name="connsiteY1926" fmla="*/ 2769 h 10000"/>
                  <a:gd name="connsiteX1927" fmla="*/ 2613 w 10785"/>
                  <a:gd name="connsiteY1927" fmla="*/ 2940 h 10000"/>
                  <a:gd name="connsiteX1928" fmla="*/ 2581 w 10785"/>
                  <a:gd name="connsiteY1928" fmla="*/ 2966 h 10000"/>
                  <a:gd name="connsiteX1929" fmla="*/ 2576 w 10785"/>
                  <a:gd name="connsiteY1929" fmla="*/ 3051 h 10000"/>
                  <a:gd name="connsiteX1930" fmla="*/ 2581 w 10785"/>
                  <a:gd name="connsiteY1930" fmla="*/ 3051 h 10000"/>
                  <a:gd name="connsiteX1931" fmla="*/ 2594 w 10785"/>
                  <a:gd name="connsiteY1931" fmla="*/ 3017 h 10000"/>
                  <a:gd name="connsiteX1932" fmla="*/ 2594 w 10785"/>
                  <a:gd name="connsiteY1932" fmla="*/ 3034 h 10000"/>
                  <a:gd name="connsiteX1933" fmla="*/ 2594 w 10785"/>
                  <a:gd name="connsiteY1933" fmla="*/ 3051 h 10000"/>
                  <a:gd name="connsiteX1934" fmla="*/ 2590 w 10785"/>
                  <a:gd name="connsiteY1934" fmla="*/ 3077 h 10000"/>
                  <a:gd name="connsiteX1935" fmla="*/ 2567 w 10785"/>
                  <a:gd name="connsiteY1935" fmla="*/ 3103 h 10000"/>
                  <a:gd name="connsiteX1936" fmla="*/ 2562 w 10785"/>
                  <a:gd name="connsiteY1936" fmla="*/ 3145 h 10000"/>
                  <a:gd name="connsiteX1937" fmla="*/ 2567 w 10785"/>
                  <a:gd name="connsiteY1937" fmla="*/ 3179 h 10000"/>
                  <a:gd name="connsiteX1938" fmla="*/ 2590 w 10785"/>
                  <a:gd name="connsiteY1938" fmla="*/ 3171 h 10000"/>
                  <a:gd name="connsiteX1939" fmla="*/ 2594 w 10785"/>
                  <a:gd name="connsiteY1939" fmla="*/ 3145 h 10000"/>
                  <a:gd name="connsiteX1940" fmla="*/ 2613 w 10785"/>
                  <a:gd name="connsiteY1940" fmla="*/ 3154 h 10000"/>
                  <a:gd name="connsiteX1941" fmla="*/ 2622 w 10785"/>
                  <a:gd name="connsiteY1941" fmla="*/ 3179 h 10000"/>
                  <a:gd name="connsiteX1942" fmla="*/ 2613 w 10785"/>
                  <a:gd name="connsiteY1942" fmla="*/ 3214 h 10000"/>
                  <a:gd name="connsiteX1943" fmla="*/ 2613 w 10785"/>
                  <a:gd name="connsiteY1943" fmla="*/ 3308 h 10000"/>
                  <a:gd name="connsiteX1944" fmla="*/ 2608 w 10785"/>
                  <a:gd name="connsiteY1944" fmla="*/ 3325 h 10000"/>
                  <a:gd name="connsiteX1945" fmla="*/ 2608 w 10785"/>
                  <a:gd name="connsiteY1945" fmla="*/ 3376 h 10000"/>
                  <a:gd name="connsiteX1946" fmla="*/ 2613 w 10785"/>
                  <a:gd name="connsiteY1946" fmla="*/ 3419 h 10000"/>
                  <a:gd name="connsiteX1947" fmla="*/ 2608 w 10785"/>
                  <a:gd name="connsiteY1947" fmla="*/ 3444 h 10000"/>
                  <a:gd name="connsiteX1948" fmla="*/ 2594 w 10785"/>
                  <a:gd name="connsiteY1948" fmla="*/ 3444 h 10000"/>
                  <a:gd name="connsiteX1949" fmla="*/ 2590 w 10785"/>
                  <a:gd name="connsiteY1949" fmla="*/ 3427 h 10000"/>
                  <a:gd name="connsiteX1950" fmla="*/ 2581 w 10785"/>
                  <a:gd name="connsiteY1950" fmla="*/ 3564 h 10000"/>
                  <a:gd name="connsiteX1951" fmla="*/ 2594 w 10785"/>
                  <a:gd name="connsiteY1951" fmla="*/ 3598 h 10000"/>
                  <a:gd name="connsiteX1952" fmla="*/ 2594 w 10785"/>
                  <a:gd name="connsiteY1952" fmla="*/ 3581 h 10000"/>
                  <a:gd name="connsiteX1953" fmla="*/ 2608 w 10785"/>
                  <a:gd name="connsiteY1953" fmla="*/ 3556 h 10000"/>
                  <a:gd name="connsiteX1954" fmla="*/ 2650 w 10785"/>
                  <a:gd name="connsiteY1954" fmla="*/ 3615 h 10000"/>
                  <a:gd name="connsiteX1955" fmla="*/ 2664 w 10785"/>
                  <a:gd name="connsiteY1955" fmla="*/ 3615 h 10000"/>
                  <a:gd name="connsiteX1956" fmla="*/ 2668 w 10785"/>
                  <a:gd name="connsiteY1956" fmla="*/ 3615 h 10000"/>
                  <a:gd name="connsiteX1957" fmla="*/ 2664 w 10785"/>
                  <a:gd name="connsiteY1957" fmla="*/ 3667 h 10000"/>
                  <a:gd name="connsiteX1958" fmla="*/ 2687 w 10785"/>
                  <a:gd name="connsiteY1958" fmla="*/ 3786 h 10000"/>
                  <a:gd name="connsiteX1959" fmla="*/ 2710 w 10785"/>
                  <a:gd name="connsiteY1959" fmla="*/ 3812 h 10000"/>
                  <a:gd name="connsiteX1960" fmla="*/ 2724 w 10785"/>
                  <a:gd name="connsiteY1960" fmla="*/ 3812 h 10000"/>
                  <a:gd name="connsiteX1961" fmla="*/ 2724 w 10785"/>
                  <a:gd name="connsiteY1961" fmla="*/ 3829 h 10000"/>
                  <a:gd name="connsiteX1962" fmla="*/ 2737 w 10785"/>
                  <a:gd name="connsiteY1962" fmla="*/ 3838 h 10000"/>
                  <a:gd name="connsiteX1963" fmla="*/ 2714 w 10785"/>
                  <a:gd name="connsiteY1963" fmla="*/ 3872 h 10000"/>
                  <a:gd name="connsiteX1964" fmla="*/ 2696 w 10785"/>
                  <a:gd name="connsiteY1964" fmla="*/ 4026 h 10000"/>
                  <a:gd name="connsiteX1965" fmla="*/ 2673 w 10785"/>
                  <a:gd name="connsiteY1965" fmla="*/ 4051 h 10000"/>
                  <a:gd name="connsiteX1966" fmla="*/ 2668 w 10785"/>
                  <a:gd name="connsiteY1966" fmla="*/ 4034 h 10000"/>
                  <a:gd name="connsiteX1967" fmla="*/ 2673 w 10785"/>
                  <a:gd name="connsiteY1967" fmla="*/ 4000 h 10000"/>
                  <a:gd name="connsiteX1968" fmla="*/ 2664 w 10785"/>
                  <a:gd name="connsiteY1968" fmla="*/ 3974 h 10000"/>
                  <a:gd name="connsiteX1969" fmla="*/ 2636 w 10785"/>
                  <a:gd name="connsiteY1969" fmla="*/ 3949 h 10000"/>
                  <a:gd name="connsiteX1970" fmla="*/ 2581 w 10785"/>
                  <a:gd name="connsiteY1970" fmla="*/ 3838 h 10000"/>
                  <a:gd name="connsiteX1971" fmla="*/ 2562 w 10785"/>
                  <a:gd name="connsiteY1971" fmla="*/ 3829 h 10000"/>
                  <a:gd name="connsiteX1972" fmla="*/ 2535 w 10785"/>
                  <a:gd name="connsiteY1972" fmla="*/ 3778 h 10000"/>
                  <a:gd name="connsiteX1973" fmla="*/ 2502 w 10785"/>
                  <a:gd name="connsiteY1973" fmla="*/ 3761 h 10000"/>
                  <a:gd name="connsiteX1974" fmla="*/ 2502 w 10785"/>
                  <a:gd name="connsiteY1974" fmla="*/ 3735 h 10000"/>
                  <a:gd name="connsiteX1975" fmla="*/ 2516 w 10785"/>
                  <a:gd name="connsiteY1975" fmla="*/ 3735 h 10000"/>
                  <a:gd name="connsiteX1976" fmla="*/ 2507 w 10785"/>
                  <a:gd name="connsiteY1976" fmla="*/ 3726 h 10000"/>
                  <a:gd name="connsiteX1977" fmla="*/ 2488 w 10785"/>
                  <a:gd name="connsiteY1977" fmla="*/ 3726 h 10000"/>
                  <a:gd name="connsiteX1978" fmla="*/ 2461 w 10785"/>
                  <a:gd name="connsiteY1978" fmla="*/ 3692 h 10000"/>
                  <a:gd name="connsiteX1979" fmla="*/ 2442 w 10785"/>
                  <a:gd name="connsiteY1979" fmla="*/ 3675 h 10000"/>
                  <a:gd name="connsiteX1980" fmla="*/ 2406 w 10785"/>
                  <a:gd name="connsiteY1980" fmla="*/ 3598 h 10000"/>
                  <a:gd name="connsiteX1981" fmla="*/ 2346 w 10785"/>
                  <a:gd name="connsiteY1981" fmla="*/ 3564 h 10000"/>
                  <a:gd name="connsiteX1982" fmla="*/ 2341 w 10785"/>
                  <a:gd name="connsiteY1982" fmla="*/ 3564 h 10000"/>
                  <a:gd name="connsiteX1983" fmla="*/ 2313 w 10785"/>
                  <a:gd name="connsiteY1983" fmla="*/ 3530 h 10000"/>
                  <a:gd name="connsiteX1984" fmla="*/ 2235 w 10785"/>
                  <a:gd name="connsiteY1984" fmla="*/ 3530 h 10000"/>
                  <a:gd name="connsiteX1985" fmla="*/ 2226 w 10785"/>
                  <a:gd name="connsiteY1985" fmla="*/ 3513 h 10000"/>
                  <a:gd name="connsiteX1986" fmla="*/ 2207 w 10785"/>
                  <a:gd name="connsiteY1986" fmla="*/ 3504 h 10000"/>
                  <a:gd name="connsiteX1987" fmla="*/ 2194 w 10785"/>
                  <a:gd name="connsiteY1987" fmla="*/ 3504 h 10000"/>
                  <a:gd name="connsiteX1988" fmla="*/ 2189 w 10785"/>
                  <a:gd name="connsiteY1988" fmla="*/ 3504 h 10000"/>
                  <a:gd name="connsiteX1989" fmla="*/ 2189 w 10785"/>
                  <a:gd name="connsiteY1989" fmla="*/ 3530 h 10000"/>
                  <a:gd name="connsiteX1990" fmla="*/ 2180 w 10785"/>
                  <a:gd name="connsiteY1990" fmla="*/ 3538 h 10000"/>
                  <a:gd name="connsiteX1991" fmla="*/ 2152 w 10785"/>
                  <a:gd name="connsiteY1991" fmla="*/ 3581 h 10000"/>
                  <a:gd name="connsiteX1992" fmla="*/ 2161 w 10785"/>
                  <a:gd name="connsiteY1992" fmla="*/ 3598 h 10000"/>
                  <a:gd name="connsiteX1993" fmla="*/ 2194 w 10785"/>
                  <a:gd name="connsiteY1993" fmla="*/ 3752 h 10000"/>
                  <a:gd name="connsiteX1994" fmla="*/ 2194 w 10785"/>
                  <a:gd name="connsiteY1994" fmla="*/ 3735 h 10000"/>
                  <a:gd name="connsiteX1995" fmla="*/ 2198 w 10785"/>
                  <a:gd name="connsiteY1995" fmla="*/ 3735 h 10000"/>
                  <a:gd name="connsiteX1996" fmla="*/ 2189 w 10785"/>
                  <a:gd name="connsiteY1996" fmla="*/ 3838 h 10000"/>
                  <a:gd name="connsiteX1997" fmla="*/ 2166 w 10785"/>
                  <a:gd name="connsiteY1997" fmla="*/ 3889 h 10000"/>
                  <a:gd name="connsiteX1998" fmla="*/ 2124 w 10785"/>
                  <a:gd name="connsiteY1998" fmla="*/ 3889 h 10000"/>
                  <a:gd name="connsiteX1999" fmla="*/ 2124 w 10785"/>
                  <a:gd name="connsiteY1999" fmla="*/ 3923 h 10000"/>
                  <a:gd name="connsiteX2000" fmla="*/ 2134 w 10785"/>
                  <a:gd name="connsiteY2000" fmla="*/ 3940 h 10000"/>
                  <a:gd name="connsiteX2001" fmla="*/ 2134 w 10785"/>
                  <a:gd name="connsiteY2001" fmla="*/ 3966 h 10000"/>
                  <a:gd name="connsiteX2002" fmla="*/ 2120 w 10785"/>
                  <a:gd name="connsiteY2002" fmla="*/ 4000 h 10000"/>
                  <a:gd name="connsiteX2003" fmla="*/ 2106 w 10785"/>
                  <a:gd name="connsiteY2003" fmla="*/ 4009 h 10000"/>
                  <a:gd name="connsiteX2004" fmla="*/ 2088 w 10785"/>
                  <a:gd name="connsiteY2004" fmla="*/ 4000 h 10000"/>
                  <a:gd name="connsiteX2005" fmla="*/ 2074 w 10785"/>
                  <a:gd name="connsiteY2005" fmla="*/ 3974 h 10000"/>
                  <a:gd name="connsiteX2006" fmla="*/ 2074 w 10785"/>
                  <a:gd name="connsiteY2006" fmla="*/ 3940 h 10000"/>
                  <a:gd name="connsiteX2007" fmla="*/ 2078 w 10785"/>
                  <a:gd name="connsiteY2007" fmla="*/ 3915 h 10000"/>
                  <a:gd name="connsiteX2008" fmla="*/ 2088 w 10785"/>
                  <a:gd name="connsiteY2008" fmla="*/ 3889 h 10000"/>
                  <a:gd name="connsiteX2009" fmla="*/ 2101 w 10785"/>
                  <a:gd name="connsiteY2009" fmla="*/ 3872 h 10000"/>
                  <a:gd name="connsiteX2010" fmla="*/ 2074 w 10785"/>
                  <a:gd name="connsiteY2010" fmla="*/ 3812 h 10000"/>
                  <a:gd name="connsiteX2011" fmla="*/ 2074 w 10785"/>
                  <a:gd name="connsiteY2011" fmla="*/ 3786 h 10000"/>
                  <a:gd name="connsiteX2012" fmla="*/ 2060 w 10785"/>
                  <a:gd name="connsiteY2012" fmla="*/ 3786 h 10000"/>
                  <a:gd name="connsiteX2013" fmla="*/ 2014 w 10785"/>
                  <a:gd name="connsiteY2013" fmla="*/ 3829 h 10000"/>
                  <a:gd name="connsiteX2014" fmla="*/ 2000 w 10785"/>
                  <a:gd name="connsiteY2014" fmla="*/ 3863 h 10000"/>
                  <a:gd name="connsiteX2015" fmla="*/ 1986 w 10785"/>
                  <a:gd name="connsiteY2015" fmla="*/ 3872 h 10000"/>
                  <a:gd name="connsiteX2016" fmla="*/ 1959 w 10785"/>
                  <a:gd name="connsiteY2016" fmla="*/ 3940 h 10000"/>
                  <a:gd name="connsiteX2017" fmla="*/ 1945 w 10785"/>
                  <a:gd name="connsiteY2017" fmla="*/ 3949 h 10000"/>
                  <a:gd name="connsiteX2018" fmla="*/ 1940 w 10785"/>
                  <a:gd name="connsiteY2018" fmla="*/ 3923 h 10000"/>
                  <a:gd name="connsiteX2019" fmla="*/ 1917 w 10785"/>
                  <a:gd name="connsiteY2019" fmla="*/ 3915 h 10000"/>
                  <a:gd name="connsiteX2020" fmla="*/ 1899 w 10785"/>
                  <a:gd name="connsiteY2020" fmla="*/ 3923 h 10000"/>
                  <a:gd name="connsiteX2021" fmla="*/ 1880 w 10785"/>
                  <a:gd name="connsiteY2021" fmla="*/ 3915 h 10000"/>
                  <a:gd name="connsiteX2022" fmla="*/ 1853 w 10785"/>
                  <a:gd name="connsiteY2022" fmla="*/ 3940 h 10000"/>
                  <a:gd name="connsiteX2023" fmla="*/ 1839 w 10785"/>
                  <a:gd name="connsiteY2023" fmla="*/ 3940 h 10000"/>
                  <a:gd name="connsiteX2024" fmla="*/ 1806 w 10785"/>
                  <a:gd name="connsiteY2024" fmla="*/ 3983 h 10000"/>
                  <a:gd name="connsiteX2025" fmla="*/ 1806 w 10785"/>
                  <a:gd name="connsiteY2025" fmla="*/ 4000 h 10000"/>
                  <a:gd name="connsiteX2026" fmla="*/ 1797 w 10785"/>
                  <a:gd name="connsiteY2026" fmla="*/ 4077 h 10000"/>
                  <a:gd name="connsiteX2027" fmla="*/ 1783 w 10785"/>
                  <a:gd name="connsiteY2027" fmla="*/ 4077 h 10000"/>
                  <a:gd name="connsiteX2028" fmla="*/ 1779 w 10785"/>
                  <a:gd name="connsiteY2028" fmla="*/ 4051 h 10000"/>
                  <a:gd name="connsiteX2029" fmla="*/ 1765 w 10785"/>
                  <a:gd name="connsiteY2029" fmla="*/ 4026 h 10000"/>
                  <a:gd name="connsiteX2030" fmla="*/ 1751 w 10785"/>
                  <a:gd name="connsiteY2030" fmla="*/ 4051 h 10000"/>
                  <a:gd name="connsiteX2031" fmla="*/ 1737 w 10785"/>
                  <a:gd name="connsiteY2031" fmla="*/ 4009 h 10000"/>
                  <a:gd name="connsiteX2032" fmla="*/ 1737 w 10785"/>
                  <a:gd name="connsiteY2032" fmla="*/ 3966 h 10000"/>
                  <a:gd name="connsiteX2033" fmla="*/ 1733 w 10785"/>
                  <a:gd name="connsiteY2033" fmla="*/ 3940 h 10000"/>
                  <a:gd name="connsiteX2034" fmla="*/ 1733 w 10785"/>
                  <a:gd name="connsiteY2034" fmla="*/ 3923 h 10000"/>
                  <a:gd name="connsiteX2035" fmla="*/ 1747 w 10785"/>
                  <a:gd name="connsiteY2035" fmla="*/ 3889 h 10000"/>
                  <a:gd name="connsiteX2036" fmla="*/ 1747 w 10785"/>
                  <a:gd name="connsiteY2036" fmla="*/ 3863 h 10000"/>
                  <a:gd name="connsiteX2037" fmla="*/ 1737 w 10785"/>
                  <a:gd name="connsiteY2037" fmla="*/ 3838 h 10000"/>
                  <a:gd name="connsiteX2038" fmla="*/ 1733 w 10785"/>
                  <a:gd name="connsiteY2038" fmla="*/ 3829 h 10000"/>
                  <a:gd name="connsiteX2039" fmla="*/ 1733 w 10785"/>
                  <a:gd name="connsiteY2039" fmla="*/ 3846 h 10000"/>
                  <a:gd name="connsiteX2040" fmla="*/ 1724 w 10785"/>
                  <a:gd name="connsiteY2040" fmla="*/ 3846 h 10000"/>
                  <a:gd name="connsiteX2041" fmla="*/ 1724 w 10785"/>
                  <a:gd name="connsiteY2041" fmla="*/ 3829 h 10000"/>
                  <a:gd name="connsiteX2042" fmla="*/ 1737 w 10785"/>
                  <a:gd name="connsiteY2042" fmla="*/ 3812 h 10000"/>
                  <a:gd name="connsiteX2043" fmla="*/ 1765 w 10785"/>
                  <a:gd name="connsiteY2043" fmla="*/ 3812 h 10000"/>
                  <a:gd name="connsiteX2044" fmla="*/ 1779 w 10785"/>
                  <a:gd name="connsiteY2044" fmla="*/ 3786 h 10000"/>
                  <a:gd name="connsiteX2045" fmla="*/ 1779 w 10785"/>
                  <a:gd name="connsiteY2045" fmla="*/ 3786 h 10000"/>
                  <a:gd name="connsiteX2046" fmla="*/ 1751 w 10785"/>
                  <a:gd name="connsiteY2046" fmla="*/ 3803 h 10000"/>
                  <a:gd name="connsiteX2047" fmla="*/ 1747 w 10785"/>
                  <a:gd name="connsiteY2047" fmla="*/ 3803 h 10000"/>
                  <a:gd name="connsiteX2048" fmla="*/ 1724 w 10785"/>
                  <a:gd name="connsiteY2048" fmla="*/ 3803 h 10000"/>
                  <a:gd name="connsiteX2049" fmla="*/ 1700 w 10785"/>
                  <a:gd name="connsiteY2049" fmla="*/ 3829 h 10000"/>
                  <a:gd name="connsiteX2050" fmla="*/ 1705 w 10785"/>
                  <a:gd name="connsiteY2050" fmla="*/ 3846 h 10000"/>
                  <a:gd name="connsiteX2051" fmla="*/ 1691 w 10785"/>
                  <a:gd name="connsiteY2051" fmla="*/ 3846 h 10000"/>
                  <a:gd name="connsiteX2052" fmla="*/ 1691 w 10785"/>
                  <a:gd name="connsiteY2052" fmla="*/ 3863 h 10000"/>
                  <a:gd name="connsiteX2053" fmla="*/ 1691 w 10785"/>
                  <a:gd name="connsiteY2053" fmla="*/ 3915 h 10000"/>
                  <a:gd name="connsiteX2054" fmla="*/ 1677 w 10785"/>
                  <a:gd name="connsiteY2054" fmla="*/ 3923 h 10000"/>
                  <a:gd name="connsiteX2055" fmla="*/ 1673 w 10785"/>
                  <a:gd name="connsiteY2055" fmla="*/ 3915 h 10000"/>
                  <a:gd name="connsiteX2056" fmla="*/ 1664 w 10785"/>
                  <a:gd name="connsiteY2056" fmla="*/ 3889 h 10000"/>
                  <a:gd name="connsiteX2057" fmla="*/ 1673 w 10785"/>
                  <a:gd name="connsiteY2057" fmla="*/ 3872 h 10000"/>
                  <a:gd name="connsiteX2058" fmla="*/ 1664 w 10785"/>
                  <a:gd name="connsiteY2058" fmla="*/ 3872 h 10000"/>
                  <a:gd name="connsiteX2059" fmla="*/ 1636 w 10785"/>
                  <a:gd name="connsiteY2059" fmla="*/ 3923 h 10000"/>
                  <a:gd name="connsiteX2060" fmla="*/ 1645 w 10785"/>
                  <a:gd name="connsiteY2060" fmla="*/ 3923 h 10000"/>
                  <a:gd name="connsiteX2061" fmla="*/ 1650 w 10785"/>
                  <a:gd name="connsiteY2061" fmla="*/ 3949 h 10000"/>
                  <a:gd name="connsiteX2062" fmla="*/ 1650 w 10785"/>
                  <a:gd name="connsiteY2062" fmla="*/ 3983 h 10000"/>
                  <a:gd name="connsiteX2063" fmla="*/ 1636 w 10785"/>
                  <a:gd name="connsiteY2063" fmla="*/ 4000 h 10000"/>
                  <a:gd name="connsiteX2064" fmla="*/ 1631 w 10785"/>
                  <a:gd name="connsiteY2064" fmla="*/ 4009 h 10000"/>
                  <a:gd name="connsiteX2065" fmla="*/ 1618 w 10785"/>
                  <a:gd name="connsiteY2065" fmla="*/ 3949 h 10000"/>
                  <a:gd name="connsiteX2066" fmla="*/ 1585 w 10785"/>
                  <a:gd name="connsiteY2066" fmla="*/ 3966 h 10000"/>
                  <a:gd name="connsiteX2067" fmla="*/ 1590 w 10785"/>
                  <a:gd name="connsiteY2067" fmla="*/ 3974 h 10000"/>
                  <a:gd name="connsiteX2068" fmla="*/ 1544 w 10785"/>
                  <a:gd name="connsiteY2068" fmla="*/ 4009 h 10000"/>
                  <a:gd name="connsiteX2069" fmla="*/ 1539 w 10785"/>
                  <a:gd name="connsiteY2069" fmla="*/ 4009 h 10000"/>
                  <a:gd name="connsiteX2070" fmla="*/ 1410 w 10785"/>
                  <a:gd name="connsiteY2070" fmla="*/ 4188 h 10000"/>
                  <a:gd name="connsiteX2071" fmla="*/ 1406 w 10785"/>
                  <a:gd name="connsiteY2071" fmla="*/ 4171 h 10000"/>
                  <a:gd name="connsiteX2072" fmla="*/ 1396 w 10785"/>
                  <a:gd name="connsiteY2072" fmla="*/ 4214 h 10000"/>
                  <a:gd name="connsiteX2073" fmla="*/ 1406 w 10785"/>
                  <a:gd name="connsiteY2073" fmla="*/ 4222 h 10000"/>
                  <a:gd name="connsiteX2074" fmla="*/ 1392 w 10785"/>
                  <a:gd name="connsiteY2074" fmla="*/ 4239 h 10000"/>
                  <a:gd name="connsiteX2075" fmla="*/ 1369 w 10785"/>
                  <a:gd name="connsiteY2075" fmla="*/ 4248 h 10000"/>
                  <a:gd name="connsiteX2076" fmla="*/ 1355 w 10785"/>
                  <a:gd name="connsiteY2076" fmla="*/ 4256 h 10000"/>
                  <a:gd name="connsiteX2077" fmla="*/ 1350 w 10785"/>
                  <a:gd name="connsiteY2077" fmla="*/ 4248 h 10000"/>
                  <a:gd name="connsiteX2078" fmla="*/ 1332 w 10785"/>
                  <a:gd name="connsiteY2078" fmla="*/ 4376 h 10000"/>
                  <a:gd name="connsiteX2079" fmla="*/ 1332 w 10785"/>
                  <a:gd name="connsiteY2079" fmla="*/ 4436 h 10000"/>
                  <a:gd name="connsiteX2080" fmla="*/ 1323 w 10785"/>
                  <a:gd name="connsiteY2080" fmla="*/ 4462 h 10000"/>
                  <a:gd name="connsiteX2081" fmla="*/ 1304 w 10785"/>
                  <a:gd name="connsiteY2081" fmla="*/ 4487 h 10000"/>
                  <a:gd name="connsiteX2082" fmla="*/ 1290 w 10785"/>
                  <a:gd name="connsiteY2082" fmla="*/ 4470 h 10000"/>
                  <a:gd name="connsiteX2083" fmla="*/ 1263 w 10785"/>
                  <a:gd name="connsiteY2083" fmla="*/ 4496 h 10000"/>
                  <a:gd name="connsiteX2084" fmla="*/ 1258 w 10785"/>
                  <a:gd name="connsiteY2084" fmla="*/ 4547 h 10000"/>
                  <a:gd name="connsiteX2085" fmla="*/ 1249 w 10785"/>
                  <a:gd name="connsiteY2085" fmla="*/ 4487 h 10000"/>
                  <a:gd name="connsiteX2086" fmla="*/ 1235 w 10785"/>
                  <a:gd name="connsiteY2086" fmla="*/ 4496 h 10000"/>
                  <a:gd name="connsiteX2087" fmla="*/ 1221 w 10785"/>
                  <a:gd name="connsiteY2087" fmla="*/ 4496 h 10000"/>
                  <a:gd name="connsiteX2088" fmla="*/ 1217 w 10785"/>
                  <a:gd name="connsiteY2088" fmla="*/ 4487 h 10000"/>
                  <a:gd name="connsiteX2089" fmla="*/ 1198 w 10785"/>
                  <a:gd name="connsiteY2089" fmla="*/ 4410 h 10000"/>
                  <a:gd name="connsiteX2090" fmla="*/ 1157 w 10785"/>
                  <a:gd name="connsiteY2090" fmla="*/ 4333 h 10000"/>
                  <a:gd name="connsiteX2091" fmla="*/ 1147 w 10785"/>
                  <a:gd name="connsiteY2091" fmla="*/ 4299 h 10000"/>
                  <a:gd name="connsiteX2092" fmla="*/ 1147 w 10785"/>
                  <a:gd name="connsiteY2092" fmla="*/ 4274 h 10000"/>
                  <a:gd name="connsiteX2093" fmla="*/ 1161 w 10785"/>
                  <a:gd name="connsiteY2093" fmla="*/ 4256 h 10000"/>
                  <a:gd name="connsiteX2094" fmla="*/ 1171 w 10785"/>
                  <a:gd name="connsiteY2094" fmla="*/ 4248 h 10000"/>
                  <a:gd name="connsiteX2095" fmla="*/ 1175 w 10785"/>
                  <a:gd name="connsiteY2095" fmla="*/ 4214 h 10000"/>
                  <a:gd name="connsiteX2096" fmla="*/ 1263 w 10785"/>
                  <a:gd name="connsiteY2096" fmla="*/ 4171 h 10000"/>
                  <a:gd name="connsiteX2097" fmla="*/ 1249 w 10785"/>
                  <a:gd name="connsiteY2097" fmla="*/ 4137 h 10000"/>
                  <a:gd name="connsiteX2098" fmla="*/ 1244 w 10785"/>
                  <a:gd name="connsiteY2098" fmla="*/ 4060 h 10000"/>
                  <a:gd name="connsiteX2099" fmla="*/ 1230 w 10785"/>
                  <a:gd name="connsiteY2099" fmla="*/ 4077 h 10000"/>
                  <a:gd name="connsiteX2100" fmla="*/ 1221 w 10785"/>
                  <a:gd name="connsiteY2100" fmla="*/ 4026 h 10000"/>
                  <a:gd name="connsiteX2101" fmla="*/ 1217 w 10785"/>
                  <a:gd name="connsiteY2101" fmla="*/ 4026 h 10000"/>
                  <a:gd name="connsiteX2102" fmla="*/ 1212 w 10785"/>
                  <a:gd name="connsiteY2102" fmla="*/ 3983 h 10000"/>
                  <a:gd name="connsiteX2103" fmla="*/ 1203 w 10785"/>
                  <a:gd name="connsiteY2103" fmla="*/ 3966 h 10000"/>
                  <a:gd name="connsiteX2104" fmla="*/ 1171 w 10785"/>
                  <a:gd name="connsiteY2104" fmla="*/ 3949 h 10000"/>
                  <a:gd name="connsiteX2105" fmla="*/ 1111 w 10785"/>
                  <a:gd name="connsiteY2105" fmla="*/ 3940 h 10000"/>
                  <a:gd name="connsiteX2106" fmla="*/ 1097 w 10785"/>
                  <a:gd name="connsiteY2106" fmla="*/ 3949 h 10000"/>
                  <a:gd name="connsiteX2107" fmla="*/ 1037 w 10785"/>
                  <a:gd name="connsiteY2107" fmla="*/ 3897 h 10000"/>
                  <a:gd name="connsiteX2108" fmla="*/ 1041 w 10785"/>
                  <a:gd name="connsiteY2108" fmla="*/ 3923 h 10000"/>
                  <a:gd name="connsiteX2109" fmla="*/ 1097 w 10785"/>
                  <a:gd name="connsiteY2109" fmla="*/ 4009 h 10000"/>
                  <a:gd name="connsiteX2110" fmla="*/ 1097 w 10785"/>
                  <a:gd name="connsiteY2110" fmla="*/ 4120 h 10000"/>
                  <a:gd name="connsiteX2111" fmla="*/ 1097 w 10785"/>
                  <a:gd name="connsiteY2111" fmla="*/ 4162 h 10000"/>
                  <a:gd name="connsiteX2112" fmla="*/ 1097 w 10785"/>
                  <a:gd name="connsiteY2112" fmla="*/ 4197 h 10000"/>
                  <a:gd name="connsiteX2113" fmla="*/ 1074 w 10785"/>
                  <a:gd name="connsiteY2113" fmla="*/ 4333 h 10000"/>
                  <a:gd name="connsiteX2114" fmla="*/ 1074 w 10785"/>
                  <a:gd name="connsiteY2114" fmla="*/ 4376 h 10000"/>
                  <a:gd name="connsiteX2115" fmla="*/ 1083 w 10785"/>
                  <a:gd name="connsiteY2115" fmla="*/ 4385 h 10000"/>
                  <a:gd name="connsiteX2116" fmla="*/ 1097 w 10785"/>
                  <a:gd name="connsiteY2116" fmla="*/ 4385 h 10000"/>
                  <a:gd name="connsiteX2117" fmla="*/ 1111 w 10785"/>
                  <a:gd name="connsiteY2117" fmla="*/ 4410 h 10000"/>
                  <a:gd name="connsiteX2118" fmla="*/ 1124 w 10785"/>
                  <a:gd name="connsiteY2118" fmla="*/ 4444 h 10000"/>
                  <a:gd name="connsiteX2119" fmla="*/ 1124 w 10785"/>
                  <a:gd name="connsiteY2119" fmla="*/ 4470 h 10000"/>
                  <a:gd name="connsiteX2120" fmla="*/ 1115 w 10785"/>
                  <a:gd name="connsiteY2120" fmla="*/ 4513 h 10000"/>
                  <a:gd name="connsiteX2121" fmla="*/ 1115 w 10785"/>
                  <a:gd name="connsiteY2121" fmla="*/ 4530 h 10000"/>
                  <a:gd name="connsiteX2122" fmla="*/ 1115 w 10785"/>
                  <a:gd name="connsiteY2122" fmla="*/ 4573 h 10000"/>
                  <a:gd name="connsiteX2123" fmla="*/ 1101 w 10785"/>
                  <a:gd name="connsiteY2123" fmla="*/ 4607 h 10000"/>
                  <a:gd name="connsiteX2124" fmla="*/ 1097 w 10785"/>
                  <a:gd name="connsiteY2124" fmla="*/ 4658 h 10000"/>
                  <a:gd name="connsiteX2125" fmla="*/ 1101 w 10785"/>
                  <a:gd name="connsiteY2125" fmla="*/ 4692 h 10000"/>
                  <a:gd name="connsiteX2126" fmla="*/ 1097 w 10785"/>
                  <a:gd name="connsiteY2126" fmla="*/ 4778 h 10000"/>
                  <a:gd name="connsiteX2127" fmla="*/ 1083 w 10785"/>
                  <a:gd name="connsiteY2127" fmla="*/ 4744 h 10000"/>
                  <a:gd name="connsiteX2128" fmla="*/ 1083 w 10785"/>
                  <a:gd name="connsiteY2128" fmla="*/ 4718 h 10000"/>
                  <a:gd name="connsiteX2129" fmla="*/ 1074 w 10785"/>
                  <a:gd name="connsiteY2129" fmla="*/ 4692 h 10000"/>
                  <a:gd name="connsiteX2130" fmla="*/ 1065 w 10785"/>
                  <a:gd name="connsiteY2130" fmla="*/ 4692 h 10000"/>
                  <a:gd name="connsiteX2131" fmla="*/ 1051 w 10785"/>
                  <a:gd name="connsiteY2131" fmla="*/ 4718 h 10000"/>
                  <a:gd name="connsiteX2132" fmla="*/ 1055 w 10785"/>
                  <a:gd name="connsiteY2132" fmla="*/ 4692 h 10000"/>
                  <a:gd name="connsiteX2133" fmla="*/ 1055 w 10785"/>
                  <a:gd name="connsiteY2133" fmla="*/ 4667 h 10000"/>
                  <a:gd name="connsiteX2134" fmla="*/ 1028 w 10785"/>
                  <a:gd name="connsiteY2134" fmla="*/ 4624 h 10000"/>
                  <a:gd name="connsiteX2135" fmla="*/ 1005 w 10785"/>
                  <a:gd name="connsiteY2135" fmla="*/ 4624 h 10000"/>
                  <a:gd name="connsiteX2136" fmla="*/ 977 w 10785"/>
                  <a:gd name="connsiteY2136" fmla="*/ 4581 h 10000"/>
                  <a:gd name="connsiteX2137" fmla="*/ 963 w 10785"/>
                  <a:gd name="connsiteY2137" fmla="*/ 4607 h 10000"/>
                  <a:gd name="connsiteX2138" fmla="*/ 963 w 10785"/>
                  <a:gd name="connsiteY2138" fmla="*/ 4632 h 10000"/>
                  <a:gd name="connsiteX2139" fmla="*/ 917 w 10785"/>
                  <a:gd name="connsiteY2139" fmla="*/ 4718 h 10000"/>
                  <a:gd name="connsiteX2140" fmla="*/ 889 w 10785"/>
                  <a:gd name="connsiteY2140" fmla="*/ 4744 h 10000"/>
                  <a:gd name="connsiteX2141" fmla="*/ 880 w 10785"/>
                  <a:gd name="connsiteY2141" fmla="*/ 4744 h 10000"/>
                  <a:gd name="connsiteX2142" fmla="*/ 862 w 10785"/>
                  <a:gd name="connsiteY2142" fmla="*/ 4769 h 10000"/>
                  <a:gd name="connsiteX2143" fmla="*/ 857 w 10785"/>
                  <a:gd name="connsiteY2143" fmla="*/ 4795 h 10000"/>
                  <a:gd name="connsiteX2144" fmla="*/ 829 w 10785"/>
                  <a:gd name="connsiteY2144" fmla="*/ 4846 h 10000"/>
                  <a:gd name="connsiteX2145" fmla="*/ 816 w 10785"/>
                  <a:gd name="connsiteY2145" fmla="*/ 4855 h 10000"/>
                  <a:gd name="connsiteX2146" fmla="*/ 816 w 10785"/>
                  <a:gd name="connsiteY2146" fmla="*/ 4940 h 10000"/>
                  <a:gd name="connsiteX2147" fmla="*/ 880 w 10785"/>
                  <a:gd name="connsiteY2147" fmla="*/ 5179 h 10000"/>
                  <a:gd name="connsiteX2148" fmla="*/ 880 w 10785"/>
                  <a:gd name="connsiteY2148" fmla="*/ 5188 h 10000"/>
                  <a:gd name="connsiteX2149" fmla="*/ 862 w 10785"/>
                  <a:gd name="connsiteY2149" fmla="*/ 5171 h 10000"/>
                  <a:gd name="connsiteX2150" fmla="*/ 857 w 10785"/>
                  <a:gd name="connsiteY2150" fmla="*/ 5171 h 10000"/>
                  <a:gd name="connsiteX2151" fmla="*/ 820 w 10785"/>
                  <a:gd name="connsiteY2151" fmla="*/ 5145 h 10000"/>
                  <a:gd name="connsiteX2152" fmla="*/ 820 w 10785"/>
                  <a:gd name="connsiteY2152" fmla="*/ 5154 h 10000"/>
                  <a:gd name="connsiteX2153" fmla="*/ 816 w 10785"/>
                  <a:gd name="connsiteY2153" fmla="*/ 5171 h 10000"/>
                  <a:gd name="connsiteX2154" fmla="*/ 783 w 10785"/>
                  <a:gd name="connsiteY2154" fmla="*/ 5145 h 10000"/>
                  <a:gd name="connsiteX2155" fmla="*/ 756 w 10785"/>
                  <a:gd name="connsiteY2155" fmla="*/ 5103 h 10000"/>
                  <a:gd name="connsiteX2156" fmla="*/ 742 w 10785"/>
                  <a:gd name="connsiteY2156" fmla="*/ 5103 h 10000"/>
                  <a:gd name="connsiteX2157" fmla="*/ 728 w 10785"/>
                  <a:gd name="connsiteY2157" fmla="*/ 5094 h 10000"/>
                  <a:gd name="connsiteX2158" fmla="*/ 710 w 10785"/>
                  <a:gd name="connsiteY2158" fmla="*/ 5120 h 10000"/>
                  <a:gd name="connsiteX2159" fmla="*/ 700 w 10785"/>
                  <a:gd name="connsiteY2159" fmla="*/ 5145 h 10000"/>
                  <a:gd name="connsiteX2160" fmla="*/ 696 w 10785"/>
                  <a:gd name="connsiteY2160" fmla="*/ 5103 h 10000"/>
                  <a:gd name="connsiteX2161" fmla="*/ 714 w 10785"/>
                  <a:gd name="connsiteY2161" fmla="*/ 5077 h 10000"/>
                  <a:gd name="connsiteX2162" fmla="*/ 682 w 10785"/>
                  <a:gd name="connsiteY2162" fmla="*/ 5068 h 10000"/>
                  <a:gd name="connsiteX2163" fmla="*/ 673 w 10785"/>
                  <a:gd name="connsiteY2163" fmla="*/ 5034 h 10000"/>
                  <a:gd name="connsiteX2164" fmla="*/ 636 w 10785"/>
                  <a:gd name="connsiteY2164" fmla="*/ 4991 h 10000"/>
                  <a:gd name="connsiteX2165" fmla="*/ 622 w 10785"/>
                  <a:gd name="connsiteY2165" fmla="*/ 4983 h 10000"/>
                  <a:gd name="connsiteX2166" fmla="*/ 622 w 10785"/>
                  <a:gd name="connsiteY2166" fmla="*/ 5034 h 10000"/>
                  <a:gd name="connsiteX2167" fmla="*/ 608 w 10785"/>
                  <a:gd name="connsiteY2167" fmla="*/ 5051 h 10000"/>
                  <a:gd name="connsiteX2168" fmla="*/ 594 w 10785"/>
                  <a:gd name="connsiteY2168" fmla="*/ 5068 h 10000"/>
                  <a:gd name="connsiteX2169" fmla="*/ 608 w 10785"/>
                  <a:gd name="connsiteY2169" fmla="*/ 5120 h 10000"/>
                  <a:gd name="connsiteX2170" fmla="*/ 613 w 10785"/>
                  <a:gd name="connsiteY2170" fmla="*/ 5128 h 10000"/>
                  <a:gd name="connsiteX2171" fmla="*/ 627 w 10785"/>
                  <a:gd name="connsiteY2171" fmla="*/ 5179 h 10000"/>
                  <a:gd name="connsiteX2172" fmla="*/ 650 w 10785"/>
                  <a:gd name="connsiteY2172" fmla="*/ 5214 h 10000"/>
                  <a:gd name="connsiteX2173" fmla="*/ 687 w 10785"/>
                  <a:gd name="connsiteY2173" fmla="*/ 5188 h 10000"/>
                  <a:gd name="connsiteX2174" fmla="*/ 700 w 10785"/>
                  <a:gd name="connsiteY2174" fmla="*/ 5325 h 10000"/>
                  <a:gd name="connsiteX2175" fmla="*/ 710 w 10785"/>
                  <a:gd name="connsiteY2175" fmla="*/ 5350 h 10000"/>
                  <a:gd name="connsiteX2176" fmla="*/ 687 w 10785"/>
                  <a:gd name="connsiteY2176" fmla="*/ 5325 h 10000"/>
                  <a:gd name="connsiteX2177" fmla="*/ 668 w 10785"/>
                  <a:gd name="connsiteY2177" fmla="*/ 5350 h 10000"/>
                  <a:gd name="connsiteX2178" fmla="*/ 668 w 10785"/>
                  <a:gd name="connsiteY2178" fmla="*/ 5368 h 10000"/>
                  <a:gd name="connsiteX2179" fmla="*/ 668 w 10785"/>
                  <a:gd name="connsiteY2179" fmla="*/ 5376 h 10000"/>
                  <a:gd name="connsiteX2180" fmla="*/ 581 w 10785"/>
                  <a:gd name="connsiteY2180" fmla="*/ 5316 h 10000"/>
                  <a:gd name="connsiteX2181" fmla="*/ 567 w 10785"/>
                  <a:gd name="connsiteY2181" fmla="*/ 5265 h 10000"/>
                  <a:gd name="connsiteX2182" fmla="*/ 562 w 10785"/>
                  <a:gd name="connsiteY2182" fmla="*/ 5256 h 10000"/>
                  <a:gd name="connsiteX2183" fmla="*/ 548 w 10785"/>
                  <a:gd name="connsiteY2183" fmla="*/ 5231 h 10000"/>
                  <a:gd name="connsiteX2184" fmla="*/ 535 w 10785"/>
                  <a:gd name="connsiteY2184" fmla="*/ 5214 h 10000"/>
                  <a:gd name="connsiteX2185" fmla="*/ 525 w 10785"/>
                  <a:gd name="connsiteY2185" fmla="*/ 5231 h 10000"/>
                  <a:gd name="connsiteX2186" fmla="*/ 521 w 10785"/>
                  <a:gd name="connsiteY2186" fmla="*/ 5231 h 10000"/>
                  <a:gd name="connsiteX2187" fmla="*/ 493 w 10785"/>
                  <a:gd name="connsiteY2187" fmla="*/ 5205 h 10000"/>
                  <a:gd name="connsiteX2188" fmla="*/ 488 w 10785"/>
                  <a:gd name="connsiteY2188" fmla="*/ 5179 h 10000"/>
                  <a:gd name="connsiteX2189" fmla="*/ 475 w 10785"/>
                  <a:gd name="connsiteY2189" fmla="*/ 5188 h 10000"/>
                  <a:gd name="connsiteX2190" fmla="*/ 475 w 10785"/>
                  <a:gd name="connsiteY2190" fmla="*/ 5171 h 10000"/>
                  <a:gd name="connsiteX2191" fmla="*/ 488 w 10785"/>
                  <a:gd name="connsiteY2191" fmla="*/ 5154 h 10000"/>
                  <a:gd name="connsiteX2192" fmla="*/ 488 w 10785"/>
                  <a:gd name="connsiteY2192" fmla="*/ 5068 h 10000"/>
                  <a:gd name="connsiteX2193" fmla="*/ 475 w 10785"/>
                  <a:gd name="connsiteY2193" fmla="*/ 5051 h 10000"/>
                  <a:gd name="connsiteX2194" fmla="*/ 475 w 10785"/>
                  <a:gd name="connsiteY2194" fmla="*/ 5017 h 10000"/>
                  <a:gd name="connsiteX2195" fmla="*/ 452 w 10785"/>
                  <a:gd name="connsiteY2195" fmla="*/ 4932 h 10000"/>
                  <a:gd name="connsiteX2196" fmla="*/ 461 w 10785"/>
                  <a:gd name="connsiteY2196" fmla="*/ 4915 h 10000"/>
                  <a:gd name="connsiteX2197" fmla="*/ 475 w 10785"/>
                  <a:gd name="connsiteY2197" fmla="*/ 4906 h 10000"/>
                  <a:gd name="connsiteX2198" fmla="*/ 479 w 10785"/>
                  <a:gd name="connsiteY2198" fmla="*/ 4803 h 10000"/>
                  <a:gd name="connsiteX2199" fmla="*/ 479 w 10785"/>
                  <a:gd name="connsiteY2199" fmla="*/ 4778 h 10000"/>
                  <a:gd name="connsiteX2200" fmla="*/ 475 w 10785"/>
                  <a:gd name="connsiteY2200" fmla="*/ 4761 h 10000"/>
                  <a:gd name="connsiteX2201" fmla="*/ 465 w 10785"/>
                  <a:gd name="connsiteY2201" fmla="*/ 4718 h 10000"/>
                  <a:gd name="connsiteX2202" fmla="*/ 461 w 10785"/>
                  <a:gd name="connsiteY2202" fmla="*/ 4709 h 10000"/>
                  <a:gd name="connsiteX2203" fmla="*/ 442 w 10785"/>
                  <a:gd name="connsiteY2203" fmla="*/ 4692 h 10000"/>
                  <a:gd name="connsiteX2204" fmla="*/ 433 w 10785"/>
                  <a:gd name="connsiteY2204" fmla="*/ 4667 h 10000"/>
                  <a:gd name="connsiteX2205" fmla="*/ 419 w 10785"/>
                  <a:gd name="connsiteY2205" fmla="*/ 4667 h 10000"/>
                  <a:gd name="connsiteX2206" fmla="*/ 401 w 10785"/>
                  <a:gd name="connsiteY2206" fmla="*/ 4658 h 10000"/>
                  <a:gd name="connsiteX2207" fmla="*/ 401 w 10785"/>
                  <a:gd name="connsiteY2207" fmla="*/ 4624 h 10000"/>
                  <a:gd name="connsiteX2208" fmla="*/ 401 w 10785"/>
                  <a:gd name="connsiteY2208" fmla="*/ 4607 h 10000"/>
                  <a:gd name="connsiteX2209" fmla="*/ 378 w 10785"/>
                  <a:gd name="connsiteY2209" fmla="*/ 4607 h 10000"/>
                  <a:gd name="connsiteX2210" fmla="*/ 341 w 10785"/>
                  <a:gd name="connsiteY2210" fmla="*/ 4530 h 10000"/>
                  <a:gd name="connsiteX2211" fmla="*/ 346 w 10785"/>
                  <a:gd name="connsiteY2211" fmla="*/ 4521 h 10000"/>
                  <a:gd name="connsiteX2212" fmla="*/ 332 w 10785"/>
                  <a:gd name="connsiteY2212" fmla="*/ 4487 h 10000"/>
                  <a:gd name="connsiteX2213" fmla="*/ 327 w 10785"/>
                  <a:gd name="connsiteY2213" fmla="*/ 4462 h 10000"/>
                  <a:gd name="connsiteX2214" fmla="*/ 313 w 10785"/>
                  <a:gd name="connsiteY2214" fmla="*/ 4436 h 10000"/>
                  <a:gd name="connsiteX2215" fmla="*/ 300 w 10785"/>
                  <a:gd name="connsiteY2215" fmla="*/ 4419 h 10000"/>
                  <a:gd name="connsiteX2216" fmla="*/ 309 w 10785"/>
                  <a:gd name="connsiteY2216" fmla="*/ 4393 h 10000"/>
                  <a:gd name="connsiteX2217" fmla="*/ 332 w 10785"/>
                  <a:gd name="connsiteY2217" fmla="*/ 4385 h 10000"/>
                  <a:gd name="connsiteX2218" fmla="*/ 355 w 10785"/>
                  <a:gd name="connsiteY2218" fmla="*/ 4419 h 10000"/>
                  <a:gd name="connsiteX2219" fmla="*/ 355 w 10785"/>
                  <a:gd name="connsiteY2219" fmla="*/ 4444 h 10000"/>
                  <a:gd name="connsiteX2220" fmla="*/ 369 w 10785"/>
                  <a:gd name="connsiteY2220" fmla="*/ 4470 h 10000"/>
                  <a:gd name="connsiteX2221" fmla="*/ 401 w 10785"/>
                  <a:gd name="connsiteY2221" fmla="*/ 4521 h 10000"/>
                  <a:gd name="connsiteX2222" fmla="*/ 406 w 10785"/>
                  <a:gd name="connsiteY2222" fmla="*/ 4513 h 10000"/>
                  <a:gd name="connsiteX2223" fmla="*/ 406 w 10785"/>
                  <a:gd name="connsiteY2223" fmla="*/ 4496 h 10000"/>
                  <a:gd name="connsiteX2224" fmla="*/ 419 w 10785"/>
                  <a:gd name="connsiteY2224" fmla="*/ 4521 h 10000"/>
                  <a:gd name="connsiteX2225" fmla="*/ 429 w 10785"/>
                  <a:gd name="connsiteY2225" fmla="*/ 4530 h 10000"/>
                  <a:gd name="connsiteX2226" fmla="*/ 433 w 10785"/>
                  <a:gd name="connsiteY2226" fmla="*/ 4521 h 10000"/>
                  <a:gd name="connsiteX2227" fmla="*/ 442 w 10785"/>
                  <a:gd name="connsiteY2227" fmla="*/ 4530 h 10000"/>
                  <a:gd name="connsiteX2228" fmla="*/ 447 w 10785"/>
                  <a:gd name="connsiteY2228" fmla="*/ 4521 h 10000"/>
                  <a:gd name="connsiteX2229" fmla="*/ 452 w 10785"/>
                  <a:gd name="connsiteY2229" fmla="*/ 4521 h 10000"/>
                  <a:gd name="connsiteX2230" fmla="*/ 461 w 10785"/>
                  <a:gd name="connsiteY2230" fmla="*/ 4573 h 10000"/>
                  <a:gd name="connsiteX2231" fmla="*/ 479 w 10785"/>
                  <a:gd name="connsiteY2231" fmla="*/ 4556 h 10000"/>
                  <a:gd name="connsiteX2232" fmla="*/ 502 w 10785"/>
                  <a:gd name="connsiteY2232" fmla="*/ 4573 h 10000"/>
                  <a:gd name="connsiteX2233" fmla="*/ 507 w 10785"/>
                  <a:gd name="connsiteY2233" fmla="*/ 4598 h 10000"/>
                  <a:gd name="connsiteX2234" fmla="*/ 525 w 10785"/>
                  <a:gd name="connsiteY2234" fmla="*/ 4598 h 10000"/>
                  <a:gd name="connsiteX2235" fmla="*/ 535 w 10785"/>
                  <a:gd name="connsiteY2235" fmla="*/ 4624 h 10000"/>
                  <a:gd name="connsiteX2236" fmla="*/ 594 w 10785"/>
                  <a:gd name="connsiteY2236" fmla="*/ 4658 h 10000"/>
                  <a:gd name="connsiteX2237" fmla="*/ 627 w 10785"/>
                  <a:gd name="connsiteY2237" fmla="*/ 4658 h 10000"/>
                  <a:gd name="connsiteX2238" fmla="*/ 654 w 10785"/>
                  <a:gd name="connsiteY2238" fmla="*/ 4684 h 10000"/>
                  <a:gd name="connsiteX2239" fmla="*/ 668 w 10785"/>
                  <a:gd name="connsiteY2239" fmla="*/ 4709 h 10000"/>
                  <a:gd name="connsiteX2240" fmla="*/ 747 w 10785"/>
                  <a:gd name="connsiteY2240" fmla="*/ 4718 h 10000"/>
                  <a:gd name="connsiteX2241" fmla="*/ 760 w 10785"/>
                  <a:gd name="connsiteY2241" fmla="*/ 4709 h 10000"/>
                  <a:gd name="connsiteX2242" fmla="*/ 774 w 10785"/>
                  <a:gd name="connsiteY2242" fmla="*/ 4692 h 10000"/>
                  <a:gd name="connsiteX2243" fmla="*/ 829 w 10785"/>
                  <a:gd name="connsiteY2243" fmla="*/ 4658 h 10000"/>
                  <a:gd name="connsiteX2244" fmla="*/ 903 w 10785"/>
                  <a:gd name="connsiteY2244" fmla="*/ 4496 h 10000"/>
                  <a:gd name="connsiteX2245" fmla="*/ 917 w 10785"/>
                  <a:gd name="connsiteY2245" fmla="*/ 4385 h 10000"/>
                  <a:gd name="connsiteX2246" fmla="*/ 903 w 10785"/>
                  <a:gd name="connsiteY2246" fmla="*/ 4376 h 10000"/>
                  <a:gd name="connsiteX2247" fmla="*/ 903 w 10785"/>
                  <a:gd name="connsiteY2247" fmla="*/ 4376 h 10000"/>
                  <a:gd name="connsiteX2248" fmla="*/ 889 w 10785"/>
                  <a:gd name="connsiteY2248" fmla="*/ 4239 h 10000"/>
                  <a:gd name="connsiteX2249" fmla="*/ 880 w 10785"/>
                  <a:gd name="connsiteY2249" fmla="*/ 4214 h 10000"/>
                  <a:gd name="connsiteX2250" fmla="*/ 862 w 10785"/>
                  <a:gd name="connsiteY2250" fmla="*/ 4188 h 10000"/>
                  <a:gd name="connsiteX2251" fmla="*/ 857 w 10785"/>
                  <a:gd name="connsiteY2251" fmla="*/ 4197 h 10000"/>
                  <a:gd name="connsiteX2252" fmla="*/ 848 w 10785"/>
                  <a:gd name="connsiteY2252" fmla="*/ 4188 h 10000"/>
                  <a:gd name="connsiteX2253" fmla="*/ 848 w 10785"/>
                  <a:gd name="connsiteY2253" fmla="*/ 4162 h 10000"/>
                  <a:gd name="connsiteX2254" fmla="*/ 829 w 10785"/>
                  <a:gd name="connsiteY2254" fmla="*/ 4120 h 10000"/>
                  <a:gd name="connsiteX2255" fmla="*/ 820 w 10785"/>
                  <a:gd name="connsiteY2255" fmla="*/ 4103 h 10000"/>
                  <a:gd name="connsiteX2256" fmla="*/ 806 w 10785"/>
                  <a:gd name="connsiteY2256" fmla="*/ 4077 h 10000"/>
                  <a:gd name="connsiteX2257" fmla="*/ 816 w 10785"/>
                  <a:gd name="connsiteY2257" fmla="*/ 4111 h 10000"/>
                  <a:gd name="connsiteX2258" fmla="*/ 802 w 10785"/>
                  <a:gd name="connsiteY2258" fmla="*/ 4111 h 10000"/>
                  <a:gd name="connsiteX2259" fmla="*/ 770 w 10785"/>
                  <a:gd name="connsiteY2259" fmla="*/ 4060 h 10000"/>
                  <a:gd name="connsiteX2260" fmla="*/ 760 w 10785"/>
                  <a:gd name="connsiteY2260" fmla="*/ 4077 h 10000"/>
                  <a:gd name="connsiteX2261" fmla="*/ 760 w 10785"/>
                  <a:gd name="connsiteY2261" fmla="*/ 4060 h 10000"/>
                  <a:gd name="connsiteX2262" fmla="*/ 756 w 10785"/>
                  <a:gd name="connsiteY2262" fmla="*/ 4034 h 10000"/>
                  <a:gd name="connsiteX2263" fmla="*/ 742 w 10785"/>
                  <a:gd name="connsiteY2263" fmla="*/ 4000 h 10000"/>
                  <a:gd name="connsiteX2264" fmla="*/ 747 w 10785"/>
                  <a:gd name="connsiteY2264" fmla="*/ 4034 h 10000"/>
                  <a:gd name="connsiteX2265" fmla="*/ 724 w 10785"/>
                  <a:gd name="connsiteY2265" fmla="*/ 4026 h 10000"/>
                  <a:gd name="connsiteX2266" fmla="*/ 714 w 10785"/>
                  <a:gd name="connsiteY2266" fmla="*/ 4000 h 10000"/>
                  <a:gd name="connsiteX2267" fmla="*/ 714 w 10785"/>
                  <a:gd name="connsiteY2267" fmla="*/ 3983 h 10000"/>
                  <a:gd name="connsiteX2268" fmla="*/ 553 w 10785"/>
                  <a:gd name="connsiteY2268" fmla="*/ 3726 h 10000"/>
                  <a:gd name="connsiteX2269" fmla="*/ 507 w 10785"/>
                  <a:gd name="connsiteY2269" fmla="*/ 3718 h 10000"/>
                  <a:gd name="connsiteX2270" fmla="*/ 516 w 10785"/>
                  <a:gd name="connsiteY2270" fmla="*/ 3726 h 10000"/>
                  <a:gd name="connsiteX2271" fmla="*/ 507 w 10785"/>
                  <a:gd name="connsiteY2271" fmla="*/ 3735 h 10000"/>
                  <a:gd name="connsiteX2272" fmla="*/ 502 w 10785"/>
                  <a:gd name="connsiteY2272" fmla="*/ 3735 h 10000"/>
                  <a:gd name="connsiteX2273" fmla="*/ 419 w 10785"/>
                  <a:gd name="connsiteY2273" fmla="*/ 3675 h 10000"/>
                  <a:gd name="connsiteX2274" fmla="*/ 419 w 10785"/>
                  <a:gd name="connsiteY2274" fmla="*/ 3692 h 10000"/>
                  <a:gd name="connsiteX2275" fmla="*/ 401 w 10785"/>
                  <a:gd name="connsiteY2275" fmla="*/ 3701 h 10000"/>
                  <a:gd name="connsiteX2276" fmla="*/ 387 w 10785"/>
                  <a:gd name="connsiteY2276" fmla="*/ 3718 h 10000"/>
                  <a:gd name="connsiteX2277" fmla="*/ 387 w 10785"/>
                  <a:gd name="connsiteY2277" fmla="*/ 3692 h 10000"/>
                  <a:gd name="connsiteX2278" fmla="*/ 378 w 10785"/>
                  <a:gd name="connsiteY2278" fmla="*/ 3675 h 10000"/>
                  <a:gd name="connsiteX2279" fmla="*/ 378 w 10785"/>
                  <a:gd name="connsiteY2279" fmla="*/ 3650 h 10000"/>
                  <a:gd name="connsiteX2280" fmla="*/ 378 w 10785"/>
                  <a:gd name="connsiteY2280" fmla="*/ 3650 h 10000"/>
                  <a:gd name="connsiteX2281" fmla="*/ 355 w 10785"/>
                  <a:gd name="connsiteY2281" fmla="*/ 3675 h 10000"/>
                  <a:gd name="connsiteX2282" fmla="*/ 359 w 10785"/>
                  <a:gd name="connsiteY2282" fmla="*/ 3641 h 10000"/>
                  <a:gd name="connsiteX2283" fmla="*/ 346 w 10785"/>
                  <a:gd name="connsiteY2283" fmla="*/ 3650 h 10000"/>
                  <a:gd name="connsiteX2284" fmla="*/ 355 w 10785"/>
                  <a:gd name="connsiteY2284" fmla="*/ 3624 h 10000"/>
                  <a:gd name="connsiteX2285" fmla="*/ 346 w 10785"/>
                  <a:gd name="connsiteY2285" fmla="*/ 3624 h 10000"/>
                  <a:gd name="connsiteX2286" fmla="*/ 341 w 10785"/>
                  <a:gd name="connsiteY2286" fmla="*/ 3624 h 10000"/>
                  <a:gd name="connsiteX2287" fmla="*/ 318 w 10785"/>
                  <a:gd name="connsiteY2287" fmla="*/ 3641 h 10000"/>
                  <a:gd name="connsiteX2288" fmla="*/ 327 w 10785"/>
                  <a:gd name="connsiteY2288" fmla="*/ 3624 h 10000"/>
                  <a:gd name="connsiteX2289" fmla="*/ 318 w 10785"/>
                  <a:gd name="connsiteY2289" fmla="*/ 3615 h 10000"/>
                  <a:gd name="connsiteX2290" fmla="*/ 318 w 10785"/>
                  <a:gd name="connsiteY2290" fmla="*/ 3598 h 10000"/>
                  <a:gd name="connsiteX2291" fmla="*/ 300 w 10785"/>
                  <a:gd name="connsiteY2291" fmla="*/ 3598 h 10000"/>
                  <a:gd name="connsiteX2292" fmla="*/ 309 w 10785"/>
                  <a:gd name="connsiteY2292" fmla="*/ 3538 h 10000"/>
                  <a:gd name="connsiteX2293" fmla="*/ 313 w 10785"/>
                  <a:gd name="connsiteY2293" fmla="*/ 3564 h 10000"/>
                  <a:gd name="connsiteX2294" fmla="*/ 318 w 10785"/>
                  <a:gd name="connsiteY2294" fmla="*/ 3581 h 10000"/>
                  <a:gd name="connsiteX2295" fmla="*/ 327 w 10785"/>
                  <a:gd name="connsiteY2295" fmla="*/ 3564 h 10000"/>
                  <a:gd name="connsiteX2296" fmla="*/ 332 w 10785"/>
                  <a:gd name="connsiteY2296" fmla="*/ 3590 h 10000"/>
                  <a:gd name="connsiteX2297" fmla="*/ 346 w 10785"/>
                  <a:gd name="connsiteY2297" fmla="*/ 3590 h 10000"/>
                  <a:gd name="connsiteX2298" fmla="*/ 355 w 10785"/>
                  <a:gd name="connsiteY2298" fmla="*/ 3590 h 10000"/>
                  <a:gd name="connsiteX2299" fmla="*/ 369 w 10785"/>
                  <a:gd name="connsiteY2299" fmla="*/ 3556 h 10000"/>
                  <a:gd name="connsiteX2300" fmla="*/ 369 w 10785"/>
                  <a:gd name="connsiteY2300" fmla="*/ 3538 h 10000"/>
                  <a:gd name="connsiteX2301" fmla="*/ 346 w 10785"/>
                  <a:gd name="connsiteY2301" fmla="*/ 3513 h 10000"/>
                  <a:gd name="connsiteX2302" fmla="*/ 341 w 10785"/>
                  <a:gd name="connsiteY2302" fmla="*/ 3530 h 10000"/>
                  <a:gd name="connsiteX2303" fmla="*/ 327 w 10785"/>
                  <a:gd name="connsiteY2303" fmla="*/ 3513 h 10000"/>
                  <a:gd name="connsiteX2304" fmla="*/ 327 w 10785"/>
                  <a:gd name="connsiteY2304" fmla="*/ 3504 h 10000"/>
                  <a:gd name="connsiteX2305" fmla="*/ 295 w 10785"/>
                  <a:gd name="connsiteY2305" fmla="*/ 3462 h 10000"/>
                  <a:gd name="connsiteX2306" fmla="*/ 300 w 10785"/>
                  <a:gd name="connsiteY2306" fmla="*/ 3479 h 10000"/>
                  <a:gd name="connsiteX2307" fmla="*/ 295 w 10785"/>
                  <a:gd name="connsiteY2307" fmla="*/ 3513 h 10000"/>
                  <a:gd name="connsiteX2308" fmla="*/ 286 w 10785"/>
                  <a:gd name="connsiteY2308" fmla="*/ 3513 h 10000"/>
                  <a:gd name="connsiteX2309" fmla="*/ 281 w 10785"/>
                  <a:gd name="connsiteY2309" fmla="*/ 3513 h 10000"/>
                  <a:gd name="connsiteX2310" fmla="*/ 281 w 10785"/>
                  <a:gd name="connsiteY2310" fmla="*/ 3530 h 10000"/>
                  <a:gd name="connsiteX2311" fmla="*/ 281 w 10785"/>
                  <a:gd name="connsiteY2311" fmla="*/ 3556 h 10000"/>
                  <a:gd name="connsiteX2312" fmla="*/ 272 w 10785"/>
                  <a:gd name="connsiteY2312" fmla="*/ 3564 h 10000"/>
                  <a:gd name="connsiteX2313" fmla="*/ 267 w 10785"/>
                  <a:gd name="connsiteY2313" fmla="*/ 3564 h 10000"/>
                  <a:gd name="connsiteX2314" fmla="*/ 253 w 10785"/>
                  <a:gd name="connsiteY2314" fmla="*/ 3538 h 10000"/>
                  <a:gd name="connsiteX2315" fmla="*/ 226 w 10785"/>
                  <a:gd name="connsiteY2315" fmla="*/ 3513 h 10000"/>
                  <a:gd name="connsiteX2316" fmla="*/ 226 w 10785"/>
                  <a:gd name="connsiteY2316" fmla="*/ 3530 h 10000"/>
                  <a:gd name="connsiteX2317" fmla="*/ 226 w 10785"/>
                  <a:gd name="connsiteY2317" fmla="*/ 3530 h 10000"/>
                  <a:gd name="connsiteX2318" fmla="*/ 226 w 10785"/>
                  <a:gd name="connsiteY2318" fmla="*/ 3530 h 10000"/>
                  <a:gd name="connsiteX2319" fmla="*/ 226 w 10785"/>
                  <a:gd name="connsiteY2319" fmla="*/ 3556 h 10000"/>
                  <a:gd name="connsiteX2320" fmla="*/ 221 w 10785"/>
                  <a:gd name="connsiteY2320" fmla="*/ 3598 h 10000"/>
                  <a:gd name="connsiteX2321" fmla="*/ 207 w 10785"/>
                  <a:gd name="connsiteY2321" fmla="*/ 3598 h 10000"/>
                  <a:gd name="connsiteX2322" fmla="*/ 180 w 10785"/>
                  <a:gd name="connsiteY2322" fmla="*/ 3581 h 10000"/>
                  <a:gd name="connsiteX2323" fmla="*/ 171 w 10785"/>
                  <a:gd name="connsiteY2323" fmla="*/ 3641 h 10000"/>
                  <a:gd name="connsiteX2324" fmla="*/ 166 w 10785"/>
                  <a:gd name="connsiteY2324" fmla="*/ 3650 h 10000"/>
                  <a:gd name="connsiteX2325" fmla="*/ 124 w 10785"/>
                  <a:gd name="connsiteY2325" fmla="*/ 3701 h 10000"/>
                  <a:gd name="connsiteX2326" fmla="*/ 124 w 10785"/>
                  <a:gd name="connsiteY2326" fmla="*/ 3718 h 10000"/>
                  <a:gd name="connsiteX2327" fmla="*/ 120 w 10785"/>
                  <a:gd name="connsiteY2327" fmla="*/ 3735 h 10000"/>
                  <a:gd name="connsiteX2328" fmla="*/ 120 w 10785"/>
                  <a:gd name="connsiteY2328" fmla="*/ 3735 h 10000"/>
                  <a:gd name="connsiteX2329" fmla="*/ 111 w 10785"/>
                  <a:gd name="connsiteY2329" fmla="*/ 3761 h 10000"/>
                  <a:gd name="connsiteX2330" fmla="*/ 106 w 10785"/>
                  <a:gd name="connsiteY2330" fmla="*/ 3761 h 10000"/>
                  <a:gd name="connsiteX2331" fmla="*/ 106 w 10785"/>
                  <a:gd name="connsiteY2331" fmla="*/ 3761 h 10000"/>
                  <a:gd name="connsiteX2332" fmla="*/ 74 w 10785"/>
                  <a:gd name="connsiteY2332" fmla="*/ 3829 h 10000"/>
                  <a:gd name="connsiteX2333" fmla="*/ 78 w 10785"/>
                  <a:gd name="connsiteY2333" fmla="*/ 3838 h 10000"/>
                  <a:gd name="connsiteX2334" fmla="*/ 88 w 10785"/>
                  <a:gd name="connsiteY2334" fmla="*/ 3846 h 10000"/>
                  <a:gd name="connsiteX2335" fmla="*/ 65 w 10785"/>
                  <a:gd name="connsiteY2335" fmla="*/ 3923 h 10000"/>
                  <a:gd name="connsiteX2336" fmla="*/ 78 w 10785"/>
                  <a:gd name="connsiteY2336" fmla="*/ 4026 h 10000"/>
                  <a:gd name="connsiteX2337" fmla="*/ 88 w 10785"/>
                  <a:gd name="connsiteY2337" fmla="*/ 4051 h 10000"/>
                  <a:gd name="connsiteX2338" fmla="*/ 92 w 10785"/>
                  <a:gd name="connsiteY2338" fmla="*/ 4060 h 10000"/>
                  <a:gd name="connsiteX2339" fmla="*/ 111 w 10785"/>
                  <a:gd name="connsiteY2339" fmla="*/ 4060 h 10000"/>
                  <a:gd name="connsiteX2340" fmla="*/ 124 w 10785"/>
                  <a:gd name="connsiteY2340" fmla="*/ 4085 h 10000"/>
                  <a:gd name="connsiteX2341" fmla="*/ 166 w 10785"/>
                  <a:gd name="connsiteY2341" fmla="*/ 4197 h 10000"/>
                  <a:gd name="connsiteX2342" fmla="*/ 166 w 10785"/>
                  <a:gd name="connsiteY2342" fmla="*/ 4248 h 10000"/>
                  <a:gd name="connsiteX2343" fmla="*/ 120 w 10785"/>
                  <a:gd name="connsiteY2343" fmla="*/ 4462 h 10000"/>
                  <a:gd name="connsiteX2344" fmla="*/ 120 w 10785"/>
                  <a:gd name="connsiteY2344" fmla="*/ 4513 h 10000"/>
                  <a:gd name="connsiteX2345" fmla="*/ 180 w 10785"/>
                  <a:gd name="connsiteY2345" fmla="*/ 4829 h 10000"/>
                  <a:gd name="connsiteX2346" fmla="*/ 161 w 10785"/>
                  <a:gd name="connsiteY2346" fmla="*/ 4855 h 10000"/>
                  <a:gd name="connsiteX2347" fmla="*/ 152 w 10785"/>
                  <a:gd name="connsiteY2347" fmla="*/ 4940 h 10000"/>
                  <a:gd name="connsiteX2348" fmla="*/ 161 w 10785"/>
                  <a:gd name="connsiteY2348" fmla="*/ 4966 h 10000"/>
                  <a:gd name="connsiteX2349" fmla="*/ 161 w 10785"/>
                  <a:gd name="connsiteY2349" fmla="*/ 5009 h 10000"/>
                  <a:gd name="connsiteX2350" fmla="*/ 152 w 10785"/>
                  <a:gd name="connsiteY2350" fmla="*/ 5034 h 10000"/>
                  <a:gd name="connsiteX2351" fmla="*/ 152 w 10785"/>
                  <a:gd name="connsiteY2351" fmla="*/ 5077 h 10000"/>
                  <a:gd name="connsiteX2352" fmla="*/ 171 w 10785"/>
                  <a:gd name="connsiteY2352" fmla="*/ 5094 h 10000"/>
                  <a:gd name="connsiteX2353" fmla="*/ 180 w 10785"/>
                  <a:gd name="connsiteY2353" fmla="*/ 5128 h 10000"/>
                  <a:gd name="connsiteX2354" fmla="*/ 180 w 10785"/>
                  <a:gd name="connsiteY2354" fmla="*/ 5171 h 10000"/>
                  <a:gd name="connsiteX2355" fmla="*/ 184 w 10785"/>
                  <a:gd name="connsiteY2355" fmla="*/ 5205 h 10000"/>
                  <a:gd name="connsiteX2356" fmla="*/ 207 w 10785"/>
                  <a:gd name="connsiteY2356" fmla="*/ 5239 h 10000"/>
                  <a:gd name="connsiteX2357" fmla="*/ 207 w 10785"/>
                  <a:gd name="connsiteY2357" fmla="*/ 5282 h 10000"/>
                  <a:gd name="connsiteX2358" fmla="*/ 180 w 10785"/>
                  <a:gd name="connsiteY2358" fmla="*/ 5393 h 10000"/>
                  <a:gd name="connsiteX2359" fmla="*/ 194 w 10785"/>
                  <a:gd name="connsiteY2359" fmla="*/ 5427 h 10000"/>
                  <a:gd name="connsiteX2360" fmla="*/ 198 w 10785"/>
                  <a:gd name="connsiteY2360" fmla="*/ 5462 h 10000"/>
                  <a:gd name="connsiteX2361" fmla="*/ 235 w 10785"/>
                  <a:gd name="connsiteY2361" fmla="*/ 5513 h 10000"/>
                  <a:gd name="connsiteX2362" fmla="*/ 240 w 10785"/>
                  <a:gd name="connsiteY2362" fmla="*/ 5556 h 10000"/>
                  <a:gd name="connsiteX2363" fmla="*/ 253 w 10785"/>
                  <a:gd name="connsiteY2363" fmla="*/ 5590 h 10000"/>
                  <a:gd name="connsiteX2364" fmla="*/ 258 w 10785"/>
                  <a:gd name="connsiteY2364" fmla="*/ 5573 h 10000"/>
                  <a:gd name="connsiteX2365" fmla="*/ 258 w 10785"/>
                  <a:gd name="connsiteY2365" fmla="*/ 5667 h 10000"/>
                  <a:gd name="connsiteX2366" fmla="*/ 14 w 10785"/>
                  <a:gd name="connsiteY2366" fmla="*/ 6214 h 10000"/>
                  <a:gd name="connsiteX2367" fmla="*/ 14 w 10785"/>
                  <a:gd name="connsiteY2367" fmla="*/ 6214 h 10000"/>
                  <a:gd name="connsiteX2368" fmla="*/ 37 w 10785"/>
                  <a:gd name="connsiteY2368" fmla="*/ 6214 h 10000"/>
                  <a:gd name="connsiteX2369" fmla="*/ 51 w 10785"/>
                  <a:gd name="connsiteY2369" fmla="*/ 6188 h 10000"/>
                  <a:gd name="connsiteX2370" fmla="*/ 78 w 10785"/>
                  <a:gd name="connsiteY2370" fmla="*/ 6162 h 10000"/>
                  <a:gd name="connsiteX2371" fmla="*/ 78 w 10785"/>
                  <a:gd name="connsiteY2371" fmla="*/ 6188 h 10000"/>
                  <a:gd name="connsiteX2372" fmla="*/ 74 w 10785"/>
                  <a:gd name="connsiteY2372" fmla="*/ 6197 h 10000"/>
                  <a:gd name="connsiteX2373" fmla="*/ 74 w 10785"/>
                  <a:gd name="connsiteY2373" fmla="*/ 6231 h 10000"/>
                  <a:gd name="connsiteX2374" fmla="*/ 74 w 10785"/>
                  <a:gd name="connsiteY2374" fmla="*/ 6214 h 10000"/>
                  <a:gd name="connsiteX2375" fmla="*/ 65 w 10785"/>
                  <a:gd name="connsiteY2375" fmla="*/ 6214 h 10000"/>
                  <a:gd name="connsiteX2376" fmla="*/ 65 w 10785"/>
                  <a:gd name="connsiteY2376" fmla="*/ 6248 h 10000"/>
                  <a:gd name="connsiteX2377" fmla="*/ 74 w 10785"/>
                  <a:gd name="connsiteY2377" fmla="*/ 6256 h 10000"/>
                  <a:gd name="connsiteX2378" fmla="*/ 78 w 10785"/>
                  <a:gd name="connsiteY2378" fmla="*/ 6256 h 10000"/>
                  <a:gd name="connsiteX2379" fmla="*/ 106 w 10785"/>
                  <a:gd name="connsiteY2379" fmla="*/ 6308 h 10000"/>
                  <a:gd name="connsiteX2380" fmla="*/ 138 w 10785"/>
                  <a:gd name="connsiteY2380" fmla="*/ 6299 h 10000"/>
                  <a:gd name="connsiteX2381" fmla="*/ 152 w 10785"/>
                  <a:gd name="connsiteY2381" fmla="*/ 6299 h 10000"/>
                  <a:gd name="connsiteX2382" fmla="*/ 166 w 10785"/>
                  <a:gd name="connsiteY2382" fmla="*/ 6325 h 10000"/>
                  <a:gd name="connsiteX2383" fmla="*/ 166 w 10785"/>
                  <a:gd name="connsiteY2383" fmla="*/ 6333 h 10000"/>
                  <a:gd name="connsiteX2384" fmla="*/ 171 w 10785"/>
                  <a:gd name="connsiteY2384" fmla="*/ 6350 h 10000"/>
                  <a:gd name="connsiteX2385" fmla="*/ 180 w 10785"/>
                  <a:gd name="connsiteY2385" fmla="*/ 6350 h 10000"/>
                  <a:gd name="connsiteX2386" fmla="*/ 180 w 10785"/>
                  <a:gd name="connsiteY2386" fmla="*/ 6359 h 10000"/>
                  <a:gd name="connsiteX2387" fmla="*/ 171 w 10785"/>
                  <a:gd name="connsiteY2387" fmla="*/ 6368 h 10000"/>
                  <a:gd name="connsiteX2388" fmla="*/ 106 w 10785"/>
                  <a:gd name="connsiteY2388" fmla="*/ 6350 h 10000"/>
                  <a:gd name="connsiteX2389" fmla="*/ 101 w 10785"/>
                  <a:gd name="connsiteY2389" fmla="*/ 6359 h 10000"/>
                  <a:gd name="connsiteX2390" fmla="*/ 101 w 10785"/>
                  <a:gd name="connsiteY2390" fmla="*/ 6385 h 10000"/>
                  <a:gd name="connsiteX2391" fmla="*/ 78 w 10785"/>
                  <a:gd name="connsiteY2391" fmla="*/ 6393 h 10000"/>
                  <a:gd name="connsiteX2392" fmla="*/ 74 w 10785"/>
                  <a:gd name="connsiteY2392" fmla="*/ 6385 h 10000"/>
                  <a:gd name="connsiteX2393" fmla="*/ 65 w 10785"/>
                  <a:gd name="connsiteY2393" fmla="*/ 6393 h 10000"/>
                  <a:gd name="connsiteX2394" fmla="*/ 60 w 10785"/>
                  <a:gd name="connsiteY2394" fmla="*/ 6419 h 10000"/>
                  <a:gd name="connsiteX2395" fmla="*/ 51 w 10785"/>
                  <a:gd name="connsiteY2395" fmla="*/ 6419 h 10000"/>
                  <a:gd name="connsiteX2396" fmla="*/ 46 w 10785"/>
                  <a:gd name="connsiteY2396" fmla="*/ 6410 h 10000"/>
                  <a:gd name="connsiteX2397" fmla="*/ 37 w 10785"/>
                  <a:gd name="connsiteY2397" fmla="*/ 6393 h 10000"/>
                  <a:gd name="connsiteX2398" fmla="*/ 32 w 10785"/>
                  <a:gd name="connsiteY2398" fmla="*/ 6419 h 10000"/>
                  <a:gd name="connsiteX2399" fmla="*/ 37 w 10785"/>
                  <a:gd name="connsiteY2399" fmla="*/ 6462 h 10000"/>
                  <a:gd name="connsiteX2400" fmla="*/ 46 w 10785"/>
                  <a:gd name="connsiteY2400" fmla="*/ 6462 h 10000"/>
                  <a:gd name="connsiteX2401" fmla="*/ 51 w 10785"/>
                  <a:gd name="connsiteY2401" fmla="*/ 6470 h 10000"/>
                  <a:gd name="connsiteX2402" fmla="*/ 51 w 10785"/>
                  <a:gd name="connsiteY2402" fmla="*/ 6496 h 10000"/>
                  <a:gd name="connsiteX2403" fmla="*/ 51 w 10785"/>
                  <a:gd name="connsiteY2403" fmla="*/ 6504 h 10000"/>
                  <a:gd name="connsiteX2404" fmla="*/ 37 w 10785"/>
                  <a:gd name="connsiteY2404" fmla="*/ 6530 h 10000"/>
                  <a:gd name="connsiteX2405" fmla="*/ 18 w 10785"/>
                  <a:gd name="connsiteY2405" fmla="*/ 6598 h 10000"/>
                  <a:gd name="connsiteX2406" fmla="*/ 28 w 10785"/>
                  <a:gd name="connsiteY2406" fmla="*/ 6632 h 10000"/>
                  <a:gd name="connsiteX2407" fmla="*/ 18 w 10785"/>
                  <a:gd name="connsiteY2407" fmla="*/ 6667 h 10000"/>
                  <a:gd name="connsiteX2408" fmla="*/ 28 w 10785"/>
                  <a:gd name="connsiteY2408" fmla="*/ 6692 h 10000"/>
                  <a:gd name="connsiteX2409" fmla="*/ 28 w 10785"/>
                  <a:gd name="connsiteY2409" fmla="*/ 6709 h 10000"/>
                  <a:gd name="connsiteX2410" fmla="*/ 18 w 10785"/>
                  <a:gd name="connsiteY2410" fmla="*/ 6718 h 10000"/>
                  <a:gd name="connsiteX2411" fmla="*/ 5 w 10785"/>
                  <a:gd name="connsiteY2411" fmla="*/ 6744 h 10000"/>
                  <a:gd name="connsiteX2412" fmla="*/ 0 w 10785"/>
                  <a:gd name="connsiteY2412" fmla="*/ 6769 h 10000"/>
                  <a:gd name="connsiteX2413" fmla="*/ 5 w 10785"/>
                  <a:gd name="connsiteY2413" fmla="*/ 6778 h 10000"/>
                  <a:gd name="connsiteX2414" fmla="*/ 32 w 10785"/>
                  <a:gd name="connsiteY2414" fmla="*/ 6778 h 10000"/>
                  <a:gd name="connsiteX2415" fmla="*/ 46 w 10785"/>
                  <a:gd name="connsiteY2415" fmla="*/ 6821 h 10000"/>
                  <a:gd name="connsiteX2416" fmla="*/ 46 w 10785"/>
                  <a:gd name="connsiteY2416" fmla="*/ 6855 h 10000"/>
                  <a:gd name="connsiteX2417" fmla="*/ 32 w 10785"/>
                  <a:gd name="connsiteY2417" fmla="*/ 6855 h 10000"/>
                  <a:gd name="connsiteX2418" fmla="*/ 14 w 10785"/>
                  <a:gd name="connsiteY2418" fmla="*/ 6821 h 10000"/>
                  <a:gd name="connsiteX2419" fmla="*/ 14 w 10785"/>
                  <a:gd name="connsiteY2419" fmla="*/ 6846 h 10000"/>
                  <a:gd name="connsiteX2420" fmla="*/ 0 w 10785"/>
                  <a:gd name="connsiteY2420" fmla="*/ 6897 h 10000"/>
                  <a:gd name="connsiteX2421" fmla="*/ 0 w 10785"/>
                  <a:gd name="connsiteY2421" fmla="*/ 6915 h 10000"/>
                  <a:gd name="connsiteX2422" fmla="*/ 5 w 10785"/>
                  <a:gd name="connsiteY2422" fmla="*/ 6932 h 10000"/>
                  <a:gd name="connsiteX2423" fmla="*/ 14 w 10785"/>
                  <a:gd name="connsiteY2423" fmla="*/ 6940 h 10000"/>
                  <a:gd name="connsiteX2424" fmla="*/ 18 w 10785"/>
                  <a:gd name="connsiteY2424" fmla="*/ 6957 h 10000"/>
                  <a:gd name="connsiteX2425" fmla="*/ 28 w 10785"/>
                  <a:gd name="connsiteY2425" fmla="*/ 6966 h 10000"/>
                  <a:gd name="connsiteX2426" fmla="*/ 28 w 10785"/>
                  <a:gd name="connsiteY2426" fmla="*/ 6983 h 10000"/>
                  <a:gd name="connsiteX2427" fmla="*/ 18 w 10785"/>
                  <a:gd name="connsiteY2427" fmla="*/ 7051 h 10000"/>
                  <a:gd name="connsiteX2428" fmla="*/ 28 w 10785"/>
                  <a:gd name="connsiteY2428" fmla="*/ 7068 h 10000"/>
                  <a:gd name="connsiteX2429" fmla="*/ 32 w 10785"/>
                  <a:gd name="connsiteY2429" fmla="*/ 7068 h 10000"/>
                  <a:gd name="connsiteX2430" fmla="*/ 32 w 10785"/>
                  <a:gd name="connsiteY2430" fmla="*/ 7094 h 10000"/>
                  <a:gd name="connsiteX2431" fmla="*/ 60 w 10785"/>
                  <a:gd name="connsiteY2431" fmla="*/ 7162 h 10000"/>
                  <a:gd name="connsiteX2432" fmla="*/ 60 w 10785"/>
                  <a:gd name="connsiteY2432" fmla="*/ 7231 h 10000"/>
                  <a:gd name="connsiteX2433" fmla="*/ 60 w 10785"/>
                  <a:gd name="connsiteY2433" fmla="*/ 7239 h 10000"/>
                  <a:gd name="connsiteX2434" fmla="*/ 78 w 10785"/>
                  <a:gd name="connsiteY2434" fmla="*/ 7239 h 10000"/>
                  <a:gd name="connsiteX2435" fmla="*/ 88 w 10785"/>
                  <a:gd name="connsiteY2435" fmla="*/ 7239 h 10000"/>
                  <a:gd name="connsiteX2436" fmla="*/ 92 w 10785"/>
                  <a:gd name="connsiteY2436" fmla="*/ 7256 h 10000"/>
                  <a:gd name="connsiteX2437" fmla="*/ 111 w 10785"/>
                  <a:gd name="connsiteY2437" fmla="*/ 7256 h 10000"/>
                  <a:gd name="connsiteX2438" fmla="*/ 120 w 10785"/>
                  <a:gd name="connsiteY2438" fmla="*/ 7256 h 10000"/>
                  <a:gd name="connsiteX2439" fmla="*/ 134 w 10785"/>
                  <a:gd name="connsiteY2439" fmla="*/ 7282 h 10000"/>
                  <a:gd name="connsiteX2440" fmla="*/ 134 w 10785"/>
                  <a:gd name="connsiteY2440" fmla="*/ 7316 h 10000"/>
                  <a:gd name="connsiteX2441" fmla="*/ 152 w 10785"/>
                  <a:gd name="connsiteY2441" fmla="*/ 7299 h 10000"/>
                  <a:gd name="connsiteX2442" fmla="*/ 161 w 10785"/>
                  <a:gd name="connsiteY2442" fmla="*/ 7299 h 10000"/>
                  <a:gd name="connsiteX2443" fmla="*/ 166 w 10785"/>
                  <a:gd name="connsiteY2443" fmla="*/ 7291 h 10000"/>
                  <a:gd name="connsiteX2444" fmla="*/ 194 w 10785"/>
                  <a:gd name="connsiteY2444" fmla="*/ 7291 h 10000"/>
                  <a:gd name="connsiteX2445" fmla="*/ 207 w 10785"/>
                  <a:gd name="connsiteY2445" fmla="*/ 7299 h 10000"/>
                  <a:gd name="connsiteX2446" fmla="*/ 221 w 10785"/>
                  <a:gd name="connsiteY2446" fmla="*/ 7342 h 10000"/>
                  <a:gd name="connsiteX2447" fmla="*/ 235 w 10785"/>
                  <a:gd name="connsiteY2447" fmla="*/ 7342 h 10000"/>
                  <a:gd name="connsiteX2448" fmla="*/ 235 w 10785"/>
                  <a:gd name="connsiteY2448" fmla="*/ 7368 h 10000"/>
                  <a:gd name="connsiteX2449" fmla="*/ 226 w 10785"/>
                  <a:gd name="connsiteY2449" fmla="*/ 7393 h 10000"/>
                  <a:gd name="connsiteX2450" fmla="*/ 226 w 10785"/>
                  <a:gd name="connsiteY2450" fmla="*/ 7402 h 10000"/>
                  <a:gd name="connsiteX2451" fmla="*/ 235 w 10785"/>
                  <a:gd name="connsiteY2451" fmla="*/ 7419 h 10000"/>
                  <a:gd name="connsiteX2452" fmla="*/ 240 w 10785"/>
                  <a:gd name="connsiteY2452" fmla="*/ 7436 h 10000"/>
                  <a:gd name="connsiteX2453" fmla="*/ 235 w 10785"/>
                  <a:gd name="connsiteY2453" fmla="*/ 7462 h 10000"/>
                  <a:gd name="connsiteX2454" fmla="*/ 226 w 10785"/>
                  <a:gd name="connsiteY2454" fmla="*/ 7479 h 10000"/>
                  <a:gd name="connsiteX2455" fmla="*/ 226 w 10785"/>
                  <a:gd name="connsiteY2455" fmla="*/ 7504 h 10000"/>
                  <a:gd name="connsiteX2456" fmla="*/ 226 w 10785"/>
                  <a:gd name="connsiteY2456" fmla="*/ 7513 h 10000"/>
                  <a:gd name="connsiteX2457" fmla="*/ 240 w 10785"/>
                  <a:gd name="connsiteY2457" fmla="*/ 7538 h 10000"/>
                  <a:gd name="connsiteX2458" fmla="*/ 267 w 10785"/>
                  <a:gd name="connsiteY2458" fmla="*/ 7641 h 10000"/>
                  <a:gd name="connsiteX2459" fmla="*/ 281 w 10785"/>
                  <a:gd name="connsiteY2459" fmla="*/ 7667 h 10000"/>
                  <a:gd name="connsiteX2460" fmla="*/ 286 w 10785"/>
                  <a:gd name="connsiteY2460" fmla="*/ 7675 h 10000"/>
                  <a:gd name="connsiteX2461" fmla="*/ 286 w 10785"/>
                  <a:gd name="connsiteY2461" fmla="*/ 7692 h 10000"/>
                  <a:gd name="connsiteX2462" fmla="*/ 286 w 10785"/>
                  <a:gd name="connsiteY2462" fmla="*/ 7709 h 10000"/>
                  <a:gd name="connsiteX2463" fmla="*/ 295 w 10785"/>
                  <a:gd name="connsiteY2463" fmla="*/ 7726 h 10000"/>
                  <a:gd name="connsiteX2464" fmla="*/ 318 w 10785"/>
                  <a:gd name="connsiteY2464" fmla="*/ 7709 h 10000"/>
                  <a:gd name="connsiteX2465" fmla="*/ 327 w 10785"/>
                  <a:gd name="connsiteY2465" fmla="*/ 7726 h 10000"/>
                  <a:gd name="connsiteX2466" fmla="*/ 341 w 10785"/>
                  <a:gd name="connsiteY2466" fmla="*/ 7735 h 10000"/>
                  <a:gd name="connsiteX2467" fmla="*/ 332 w 10785"/>
                  <a:gd name="connsiteY2467" fmla="*/ 7752 h 10000"/>
                  <a:gd name="connsiteX2468" fmla="*/ 341 w 10785"/>
                  <a:gd name="connsiteY2468" fmla="*/ 7761 h 10000"/>
                  <a:gd name="connsiteX2469" fmla="*/ 355 w 10785"/>
                  <a:gd name="connsiteY2469" fmla="*/ 7761 h 10000"/>
                  <a:gd name="connsiteX2470" fmla="*/ 355 w 10785"/>
                  <a:gd name="connsiteY2470" fmla="*/ 7803 h 10000"/>
                  <a:gd name="connsiteX2471" fmla="*/ 313 w 10785"/>
                  <a:gd name="connsiteY2471" fmla="*/ 7846 h 10000"/>
                  <a:gd name="connsiteX2472" fmla="*/ 295 w 10785"/>
                  <a:gd name="connsiteY2472" fmla="*/ 7846 h 10000"/>
                  <a:gd name="connsiteX2473" fmla="*/ 281 w 10785"/>
                  <a:gd name="connsiteY2473" fmla="*/ 7821 h 10000"/>
                  <a:gd name="connsiteX2474" fmla="*/ 272 w 10785"/>
                  <a:gd name="connsiteY2474" fmla="*/ 7821 h 10000"/>
                  <a:gd name="connsiteX2475" fmla="*/ 267 w 10785"/>
                  <a:gd name="connsiteY2475" fmla="*/ 7838 h 10000"/>
                  <a:gd name="connsiteX2476" fmla="*/ 258 w 10785"/>
                  <a:gd name="connsiteY2476" fmla="*/ 7846 h 10000"/>
                  <a:gd name="connsiteX2477" fmla="*/ 253 w 10785"/>
                  <a:gd name="connsiteY2477" fmla="*/ 7863 h 10000"/>
                  <a:gd name="connsiteX2478" fmla="*/ 253 w 10785"/>
                  <a:gd name="connsiteY2478" fmla="*/ 7872 h 10000"/>
                  <a:gd name="connsiteX2479" fmla="*/ 267 w 10785"/>
                  <a:gd name="connsiteY2479" fmla="*/ 7897 h 10000"/>
                  <a:gd name="connsiteX2480" fmla="*/ 272 w 10785"/>
                  <a:gd name="connsiteY2480" fmla="*/ 7915 h 10000"/>
                  <a:gd name="connsiteX2481" fmla="*/ 267 w 10785"/>
                  <a:gd name="connsiteY2481" fmla="*/ 7940 h 10000"/>
                  <a:gd name="connsiteX2482" fmla="*/ 272 w 10785"/>
                  <a:gd name="connsiteY2482" fmla="*/ 7949 h 10000"/>
                  <a:gd name="connsiteX2483" fmla="*/ 272 w 10785"/>
                  <a:gd name="connsiteY2483" fmla="*/ 7957 h 10000"/>
                  <a:gd name="connsiteX2484" fmla="*/ 281 w 10785"/>
                  <a:gd name="connsiteY2484" fmla="*/ 7974 h 10000"/>
                  <a:gd name="connsiteX2485" fmla="*/ 286 w 10785"/>
                  <a:gd name="connsiteY2485" fmla="*/ 7983 h 10000"/>
                  <a:gd name="connsiteX2486" fmla="*/ 281 w 10785"/>
                  <a:gd name="connsiteY2486" fmla="*/ 8009 h 10000"/>
                  <a:gd name="connsiteX2487" fmla="*/ 286 w 10785"/>
                  <a:gd name="connsiteY2487" fmla="*/ 8060 h 10000"/>
                  <a:gd name="connsiteX2488" fmla="*/ 286 w 10785"/>
                  <a:gd name="connsiteY2488" fmla="*/ 8060 h 10000"/>
                  <a:gd name="connsiteX2489" fmla="*/ 295 w 10785"/>
                  <a:gd name="connsiteY2489" fmla="*/ 8077 h 10000"/>
                  <a:gd name="connsiteX2490" fmla="*/ 309 w 10785"/>
                  <a:gd name="connsiteY2490" fmla="*/ 8077 h 10000"/>
                  <a:gd name="connsiteX2491" fmla="*/ 313 w 10785"/>
                  <a:gd name="connsiteY2491" fmla="*/ 8060 h 10000"/>
                  <a:gd name="connsiteX2492" fmla="*/ 318 w 10785"/>
                  <a:gd name="connsiteY2492" fmla="*/ 8051 h 10000"/>
                  <a:gd name="connsiteX2493" fmla="*/ 318 w 10785"/>
                  <a:gd name="connsiteY2493" fmla="*/ 8034 h 10000"/>
                  <a:gd name="connsiteX2494" fmla="*/ 332 w 10785"/>
                  <a:gd name="connsiteY2494" fmla="*/ 8026 h 10000"/>
                  <a:gd name="connsiteX2495" fmla="*/ 359 w 10785"/>
                  <a:gd name="connsiteY2495" fmla="*/ 8034 h 10000"/>
                  <a:gd name="connsiteX2496" fmla="*/ 378 w 10785"/>
                  <a:gd name="connsiteY2496" fmla="*/ 8026 h 10000"/>
                  <a:gd name="connsiteX2497" fmla="*/ 401 w 10785"/>
                  <a:gd name="connsiteY2497" fmla="*/ 8026 h 10000"/>
                  <a:gd name="connsiteX2498" fmla="*/ 419 w 10785"/>
                  <a:gd name="connsiteY2498" fmla="*/ 8009 h 10000"/>
                  <a:gd name="connsiteX2499" fmla="*/ 433 w 10785"/>
                  <a:gd name="connsiteY2499" fmla="*/ 8034 h 10000"/>
                  <a:gd name="connsiteX2500" fmla="*/ 442 w 10785"/>
                  <a:gd name="connsiteY2500" fmla="*/ 8060 h 10000"/>
                  <a:gd name="connsiteX2501" fmla="*/ 442 w 10785"/>
                  <a:gd name="connsiteY2501" fmla="*/ 8077 h 10000"/>
                  <a:gd name="connsiteX2502" fmla="*/ 461 w 10785"/>
                  <a:gd name="connsiteY2502" fmla="*/ 8111 h 10000"/>
                  <a:gd name="connsiteX2503" fmla="*/ 461 w 10785"/>
                  <a:gd name="connsiteY2503" fmla="*/ 8137 h 10000"/>
                  <a:gd name="connsiteX2504" fmla="*/ 447 w 10785"/>
                  <a:gd name="connsiteY2504" fmla="*/ 8145 h 10000"/>
                  <a:gd name="connsiteX2505" fmla="*/ 442 w 10785"/>
                  <a:gd name="connsiteY2505" fmla="*/ 8145 h 10000"/>
                  <a:gd name="connsiteX2506" fmla="*/ 442 w 10785"/>
                  <a:gd name="connsiteY2506" fmla="*/ 8162 h 10000"/>
                  <a:gd name="connsiteX2507" fmla="*/ 442 w 10785"/>
                  <a:gd name="connsiteY2507" fmla="*/ 8171 h 10000"/>
                  <a:gd name="connsiteX2508" fmla="*/ 447 w 10785"/>
                  <a:gd name="connsiteY2508" fmla="*/ 8214 h 10000"/>
                  <a:gd name="connsiteX2509" fmla="*/ 465 w 10785"/>
                  <a:gd name="connsiteY2509" fmla="*/ 8231 h 10000"/>
                  <a:gd name="connsiteX2510" fmla="*/ 488 w 10785"/>
                  <a:gd name="connsiteY2510" fmla="*/ 8231 h 10000"/>
                  <a:gd name="connsiteX2511" fmla="*/ 493 w 10785"/>
                  <a:gd name="connsiteY2511" fmla="*/ 8231 h 10000"/>
                  <a:gd name="connsiteX2512" fmla="*/ 502 w 10785"/>
                  <a:gd name="connsiteY2512" fmla="*/ 8231 h 10000"/>
                  <a:gd name="connsiteX2513" fmla="*/ 507 w 10785"/>
                  <a:gd name="connsiteY2513" fmla="*/ 8248 h 10000"/>
                  <a:gd name="connsiteX2514" fmla="*/ 521 w 10785"/>
                  <a:gd name="connsiteY2514" fmla="*/ 8274 h 10000"/>
                  <a:gd name="connsiteX2515" fmla="*/ 525 w 10785"/>
                  <a:gd name="connsiteY2515" fmla="*/ 8333 h 10000"/>
                  <a:gd name="connsiteX2516" fmla="*/ 525 w 10785"/>
                  <a:gd name="connsiteY2516" fmla="*/ 8359 h 10000"/>
                  <a:gd name="connsiteX2517" fmla="*/ 525 w 10785"/>
                  <a:gd name="connsiteY2517" fmla="*/ 8368 h 10000"/>
                  <a:gd name="connsiteX2518" fmla="*/ 548 w 10785"/>
                  <a:gd name="connsiteY2518" fmla="*/ 8393 h 10000"/>
                  <a:gd name="connsiteX2519" fmla="*/ 553 w 10785"/>
                  <a:gd name="connsiteY2519" fmla="*/ 8385 h 10000"/>
                  <a:gd name="connsiteX2520" fmla="*/ 562 w 10785"/>
                  <a:gd name="connsiteY2520" fmla="*/ 8385 h 10000"/>
                  <a:gd name="connsiteX2521" fmla="*/ 576 w 10785"/>
                  <a:gd name="connsiteY2521" fmla="*/ 8385 h 10000"/>
                  <a:gd name="connsiteX2522" fmla="*/ 585 w 10785"/>
                  <a:gd name="connsiteY2522" fmla="*/ 8410 h 10000"/>
                  <a:gd name="connsiteX2523" fmla="*/ 594 w 10785"/>
                  <a:gd name="connsiteY2523" fmla="*/ 8410 h 10000"/>
                  <a:gd name="connsiteX2524" fmla="*/ 608 w 10785"/>
                  <a:gd name="connsiteY2524" fmla="*/ 8410 h 10000"/>
                  <a:gd name="connsiteX2525" fmla="*/ 654 w 10785"/>
                  <a:gd name="connsiteY2525" fmla="*/ 8385 h 10000"/>
                  <a:gd name="connsiteX2526" fmla="*/ 659 w 10785"/>
                  <a:gd name="connsiteY2526" fmla="*/ 8385 h 10000"/>
                  <a:gd name="connsiteX2527" fmla="*/ 696 w 10785"/>
                  <a:gd name="connsiteY2527" fmla="*/ 8470 h 10000"/>
                  <a:gd name="connsiteX2528" fmla="*/ 700 w 10785"/>
                  <a:gd name="connsiteY2528" fmla="*/ 8470 h 10000"/>
                  <a:gd name="connsiteX2529" fmla="*/ 710 w 10785"/>
                  <a:gd name="connsiteY2529" fmla="*/ 8462 h 10000"/>
                  <a:gd name="connsiteX2530" fmla="*/ 714 w 10785"/>
                  <a:gd name="connsiteY2530" fmla="*/ 8462 h 10000"/>
                  <a:gd name="connsiteX2531" fmla="*/ 724 w 10785"/>
                  <a:gd name="connsiteY2531" fmla="*/ 8470 h 10000"/>
                  <a:gd name="connsiteX2532" fmla="*/ 733 w 10785"/>
                  <a:gd name="connsiteY2532" fmla="*/ 8470 h 10000"/>
                  <a:gd name="connsiteX2533" fmla="*/ 742 w 10785"/>
                  <a:gd name="connsiteY2533" fmla="*/ 8487 h 10000"/>
                  <a:gd name="connsiteX2534" fmla="*/ 747 w 10785"/>
                  <a:gd name="connsiteY2534" fmla="*/ 8496 h 10000"/>
                  <a:gd name="connsiteX2535" fmla="*/ 770 w 10785"/>
                  <a:gd name="connsiteY2535" fmla="*/ 8496 h 10000"/>
                  <a:gd name="connsiteX2536" fmla="*/ 783 w 10785"/>
                  <a:gd name="connsiteY2536" fmla="*/ 8521 h 10000"/>
                  <a:gd name="connsiteX2537" fmla="*/ 797 w 10785"/>
                  <a:gd name="connsiteY2537" fmla="*/ 8521 h 10000"/>
                  <a:gd name="connsiteX2538" fmla="*/ 806 w 10785"/>
                  <a:gd name="connsiteY2538" fmla="*/ 8530 h 10000"/>
                  <a:gd name="connsiteX2539" fmla="*/ 829 w 10785"/>
                  <a:gd name="connsiteY2539" fmla="*/ 8547 h 10000"/>
                  <a:gd name="connsiteX2540" fmla="*/ 834 w 10785"/>
                  <a:gd name="connsiteY2540" fmla="*/ 8556 h 10000"/>
                  <a:gd name="connsiteX2541" fmla="*/ 829 w 10785"/>
                  <a:gd name="connsiteY2541" fmla="*/ 8556 h 10000"/>
                  <a:gd name="connsiteX2542" fmla="*/ 834 w 10785"/>
                  <a:gd name="connsiteY2542" fmla="*/ 8607 h 10000"/>
                  <a:gd name="connsiteX2543" fmla="*/ 829 w 10785"/>
                  <a:gd name="connsiteY2543" fmla="*/ 8641 h 10000"/>
                  <a:gd name="connsiteX2544" fmla="*/ 806 w 10785"/>
                  <a:gd name="connsiteY2544" fmla="*/ 8658 h 10000"/>
                  <a:gd name="connsiteX2545" fmla="*/ 816 w 10785"/>
                  <a:gd name="connsiteY2545" fmla="*/ 8667 h 10000"/>
                  <a:gd name="connsiteX2546" fmla="*/ 820 w 10785"/>
                  <a:gd name="connsiteY2546" fmla="*/ 8667 h 10000"/>
                  <a:gd name="connsiteX2547" fmla="*/ 829 w 10785"/>
                  <a:gd name="connsiteY2547" fmla="*/ 8684 h 10000"/>
                  <a:gd name="connsiteX2548" fmla="*/ 806 w 10785"/>
                  <a:gd name="connsiteY2548" fmla="*/ 8692 h 10000"/>
                  <a:gd name="connsiteX2549" fmla="*/ 802 w 10785"/>
                  <a:gd name="connsiteY2549" fmla="*/ 8709 h 10000"/>
                  <a:gd name="connsiteX2550" fmla="*/ 802 w 10785"/>
                  <a:gd name="connsiteY2550" fmla="*/ 8735 h 10000"/>
                  <a:gd name="connsiteX2551" fmla="*/ 806 w 10785"/>
                  <a:gd name="connsiteY2551" fmla="*/ 8744 h 10000"/>
                  <a:gd name="connsiteX2552" fmla="*/ 816 w 10785"/>
                  <a:gd name="connsiteY2552" fmla="*/ 8752 h 10000"/>
                  <a:gd name="connsiteX2553" fmla="*/ 806 w 10785"/>
                  <a:gd name="connsiteY2553" fmla="*/ 8778 h 10000"/>
                  <a:gd name="connsiteX2554" fmla="*/ 820 w 10785"/>
                  <a:gd name="connsiteY2554" fmla="*/ 8778 h 10000"/>
                  <a:gd name="connsiteX2555" fmla="*/ 806 w 10785"/>
                  <a:gd name="connsiteY2555" fmla="*/ 8880 h 10000"/>
                  <a:gd name="connsiteX2556" fmla="*/ 797 w 10785"/>
                  <a:gd name="connsiteY2556" fmla="*/ 8880 h 10000"/>
                  <a:gd name="connsiteX2557" fmla="*/ 783 w 10785"/>
                  <a:gd name="connsiteY2557" fmla="*/ 8872 h 10000"/>
                  <a:gd name="connsiteX2558" fmla="*/ 770 w 10785"/>
                  <a:gd name="connsiteY2558" fmla="*/ 8880 h 10000"/>
                  <a:gd name="connsiteX2559" fmla="*/ 756 w 10785"/>
                  <a:gd name="connsiteY2559" fmla="*/ 8855 h 10000"/>
                  <a:gd name="connsiteX2560" fmla="*/ 733 w 10785"/>
                  <a:gd name="connsiteY2560" fmla="*/ 8906 h 10000"/>
                  <a:gd name="connsiteX2561" fmla="*/ 714 w 10785"/>
                  <a:gd name="connsiteY2561" fmla="*/ 8915 h 10000"/>
                  <a:gd name="connsiteX2562" fmla="*/ 710 w 10785"/>
                  <a:gd name="connsiteY2562" fmla="*/ 8940 h 10000"/>
                  <a:gd name="connsiteX2563" fmla="*/ 710 w 10785"/>
                  <a:gd name="connsiteY2563" fmla="*/ 9009 h 10000"/>
                  <a:gd name="connsiteX2564" fmla="*/ 728 w 10785"/>
                  <a:gd name="connsiteY2564" fmla="*/ 8991 h 10000"/>
                  <a:gd name="connsiteX2565" fmla="*/ 733 w 10785"/>
                  <a:gd name="connsiteY2565" fmla="*/ 8991 h 10000"/>
                  <a:gd name="connsiteX2566" fmla="*/ 747 w 10785"/>
                  <a:gd name="connsiteY2566" fmla="*/ 8983 h 10000"/>
                  <a:gd name="connsiteX2567" fmla="*/ 760 w 10785"/>
                  <a:gd name="connsiteY2567" fmla="*/ 8983 h 10000"/>
                  <a:gd name="connsiteX2568" fmla="*/ 770 w 10785"/>
                  <a:gd name="connsiteY2568" fmla="*/ 8983 h 10000"/>
                  <a:gd name="connsiteX2569" fmla="*/ 770 w 10785"/>
                  <a:gd name="connsiteY2569" fmla="*/ 8991 h 10000"/>
                  <a:gd name="connsiteX2570" fmla="*/ 783 w 10785"/>
                  <a:gd name="connsiteY2570" fmla="*/ 8991 h 10000"/>
                  <a:gd name="connsiteX2571" fmla="*/ 783 w 10785"/>
                  <a:gd name="connsiteY2571" fmla="*/ 9009 h 10000"/>
                  <a:gd name="connsiteX2572" fmla="*/ 783 w 10785"/>
                  <a:gd name="connsiteY2572" fmla="*/ 9017 h 10000"/>
                  <a:gd name="connsiteX2573" fmla="*/ 770 w 10785"/>
                  <a:gd name="connsiteY2573" fmla="*/ 9017 h 10000"/>
                  <a:gd name="connsiteX2574" fmla="*/ 724 w 10785"/>
                  <a:gd name="connsiteY2574" fmla="*/ 9051 h 10000"/>
                  <a:gd name="connsiteX2575" fmla="*/ 724 w 10785"/>
                  <a:gd name="connsiteY2575" fmla="*/ 9068 h 10000"/>
                  <a:gd name="connsiteX2576" fmla="*/ 728 w 10785"/>
                  <a:gd name="connsiteY2576" fmla="*/ 9077 h 10000"/>
                  <a:gd name="connsiteX2577" fmla="*/ 724 w 10785"/>
                  <a:gd name="connsiteY2577" fmla="*/ 9077 h 10000"/>
                  <a:gd name="connsiteX2578" fmla="*/ 710 w 10785"/>
                  <a:gd name="connsiteY2578" fmla="*/ 9077 h 10000"/>
                  <a:gd name="connsiteX2579" fmla="*/ 682 w 10785"/>
                  <a:gd name="connsiteY2579" fmla="*/ 9077 h 10000"/>
                  <a:gd name="connsiteX2580" fmla="*/ 673 w 10785"/>
                  <a:gd name="connsiteY2580" fmla="*/ 9103 h 10000"/>
                  <a:gd name="connsiteX2581" fmla="*/ 687 w 10785"/>
                  <a:gd name="connsiteY2581" fmla="*/ 9128 h 10000"/>
                  <a:gd name="connsiteX2582" fmla="*/ 700 w 10785"/>
                  <a:gd name="connsiteY2582" fmla="*/ 9128 h 10000"/>
                  <a:gd name="connsiteX2583" fmla="*/ 728 w 10785"/>
                  <a:gd name="connsiteY2583" fmla="*/ 9179 h 10000"/>
                  <a:gd name="connsiteX2584" fmla="*/ 724 w 10785"/>
                  <a:gd name="connsiteY2584" fmla="*/ 9188 h 10000"/>
                  <a:gd name="connsiteX2585" fmla="*/ 710 w 10785"/>
                  <a:gd name="connsiteY2585" fmla="*/ 9179 h 10000"/>
                  <a:gd name="connsiteX2586" fmla="*/ 700 w 10785"/>
                  <a:gd name="connsiteY2586" fmla="*/ 9205 h 10000"/>
                  <a:gd name="connsiteX2587" fmla="*/ 696 w 10785"/>
                  <a:gd name="connsiteY2587" fmla="*/ 9205 h 10000"/>
                  <a:gd name="connsiteX2588" fmla="*/ 654 w 10785"/>
                  <a:gd name="connsiteY2588" fmla="*/ 9299 h 10000"/>
                  <a:gd name="connsiteX2589" fmla="*/ 622 w 10785"/>
                  <a:gd name="connsiteY2589" fmla="*/ 9299 h 10000"/>
                  <a:gd name="connsiteX2590" fmla="*/ 613 w 10785"/>
                  <a:gd name="connsiteY2590" fmla="*/ 9316 h 10000"/>
                  <a:gd name="connsiteX2591" fmla="*/ 613 w 10785"/>
                  <a:gd name="connsiteY2591" fmla="*/ 9325 h 10000"/>
                  <a:gd name="connsiteX2592" fmla="*/ 608 w 10785"/>
                  <a:gd name="connsiteY2592" fmla="*/ 9342 h 10000"/>
                  <a:gd name="connsiteX2593" fmla="*/ 636 w 10785"/>
                  <a:gd name="connsiteY2593" fmla="*/ 9376 h 10000"/>
                  <a:gd name="connsiteX2594" fmla="*/ 641 w 10785"/>
                  <a:gd name="connsiteY2594" fmla="*/ 9402 h 10000"/>
                  <a:gd name="connsiteX2595" fmla="*/ 654 w 10785"/>
                  <a:gd name="connsiteY2595" fmla="*/ 9427 h 10000"/>
                  <a:gd name="connsiteX2596" fmla="*/ 668 w 10785"/>
                  <a:gd name="connsiteY2596" fmla="*/ 9427 h 10000"/>
                  <a:gd name="connsiteX2597" fmla="*/ 668 w 10785"/>
                  <a:gd name="connsiteY2597" fmla="*/ 9427 h 10000"/>
                  <a:gd name="connsiteX2598" fmla="*/ 774 w 10785"/>
                  <a:gd name="connsiteY2598" fmla="*/ 9547 h 10000"/>
                  <a:gd name="connsiteX2599" fmla="*/ 797 w 10785"/>
                  <a:gd name="connsiteY2599" fmla="*/ 9598 h 10000"/>
                  <a:gd name="connsiteX2600" fmla="*/ 802 w 10785"/>
                  <a:gd name="connsiteY2600" fmla="*/ 9598 h 10000"/>
                  <a:gd name="connsiteX2601" fmla="*/ 816 w 10785"/>
                  <a:gd name="connsiteY2601" fmla="*/ 9624 h 10000"/>
                  <a:gd name="connsiteX2602" fmla="*/ 843 w 10785"/>
                  <a:gd name="connsiteY2602" fmla="*/ 9615 h 10000"/>
                  <a:gd name="connsiteX2603" fmla="*/ 857 w 10785"/>
                  <a:gd name="connsiteY2603" fmla="*/ 9624 h 10000"/>
                  <a:gd name="connsiteX2604" fmla="*/ 862 w 10785"/>
                  <a:gd name="connsiteY2604" fmla="*/ 9615 h 10000"/>
                  <a:gd name="connsiteX2605" fmla="*/ 880 w 10785"/>
                  <a:gd name="connsiteY2605" fmla="*/ 9624 h 10000"/>
                  <a:gd name="connsiteX2606" fmla="*/ 889 w 10785"/>
                  <a:gd name="connsiteY2606" fmla="*/ 9641 h 10000"/>
                  <a:gd name="connsiteX2607" fmla="*/ 935 w 10785"/>
                  <a:gd name="connsiteY2607" fmla="*/ 9675 h 10000"/>
                  <a:gd name="connsiteX2608" fmla="*/ 977 w 10785"/>
                  <a:gd name="connsiteY2608" fmla="*/ 9667 h 10000"/>
                  <a:gd name="connsiteX2609" fmla="*/ 995 w 10785"/>
                  <a:gd name="connsiteY2609" fmla="*/ 9675 h 10000"/>
                  <a:gd name="connsiteX2610" fmla="*/ 1014 w 10785"/>
                  <a:gd name="connsiteY2610" fmla="*/ 9675 h 10000"/>
                  <a:gd name="connsiteX2611" fmla="*/ 1069 w 10785"/>
                  <a:gd name="connsiteY2611" fmla="*/ 9752 h 10000"/>
                  <a:gd name="connsiteX2612" fmla="*/ 1074 w 10785"/>
                  <a:gd name="connsiteY2612" fmla="*/ 9761 h 10000"/>
                  <a:gd name="connsiteX2613" fmla="*/ 1083 w 10785"/>
                  <a:gd name="connsiteY2613" fmla="*/ 9778 h 10000"/>
                  <a:gd name="connsiteX2614" fmla="*/ 1115 w 10785"/>
                  <a:gd name="connsiteY2614" fmla="*/ 9752 h 10000"/>
                  <a:gd name="connsiteX2615" fmla="*/ 1129 w 10785"/>
                  <a:gd name="connsiteY2615" fmla="*/ 9752 h 10000"/>
                  <a:gd name="connsiteX2616" fmla="*/ 1138 w 10785"/>
                  <a:gd name="connsiteY2616" fmla="*/ 9761 h 10000"/>
                  <a:gd name="connsiteX2617" fmla="*/ 1143 w 10785"/>
                  <a:gd name="connsiteY2617" fmla="*/ 9752 h 10000"/>
                  <a:gd name="connsiteX2618" fmla="*/ 1161 w 10785"/>
                  <a:gd name="connsiteY2618" fmla="*/ 9761 h 10000"/>
                  <a:gd name="connsiteX2619" fmla="*/ 1171 w 10785"/>
                  <a:gd name="connsiteY2619" fmla="*/ 9778 h 10000"/>
                  <a:gd name="connsiteX2620" fmla="*/ 1175 w 10785"/>
                  <a:gd name="connsiteY2620" fmla="*/ 9778 h 10000"/>
                  <a:gd name="connsiteX2621" fmla="*/ 1189 w 10785"/>
                  <a:gd name="connsiteY2621" fmla="*/ 9778 h 10000"/>
                  <a:gd name="connsiteX2622" fmla="*/ 1198 w 10785"/>
                  <a:gd name="connsiteY2622" fmla="*/ 9786 h 10000"/>
                  <a:gd name="connsiteX2623" fmla="*/ 1203 w 10785"/>
                  <a:gd name="connsiteY2623" fmla="*/ 9803 h 10000"/>
                  <a:gd name="connsiteX2624" fmla="*/ 1198 w 10785"/>
                  <a:gd name="connsiteY2624" fmla="*/ 9838 h 10000"/>
                  <a:gd name="connsiteX2625" fmla="*/ 1212 w 10785"/>
                  <a:gd name="connsiteY2625" fmla="*/ 9863 h 10000"/>
                  <a:gd name="connsiteX2626" fmla="*/ 1230 w 10785"/>
                  <a:gd name="connsiteY2626" fmla="*/ 9872 h 10000"/>
                  <a:gd name="connsiteX2627" fmla="*/ 1249 w 10785"/>
                  <a:gd name="connsiteY2627" fmla="*/ 9897 h 10000"/>
                  <a:gd name="connsiteX2628" fmla="*/ 1263 w 10785"/>
                  <a:gd name="connsiteY2628" fmla="*/ 9897 h 10000"/>
                  <a:gd name="connsiteX2629" fmla="*/ 1276 w 10785"/>
                  <a:gd name="connsiteY2629" fmla="*/ 9923 h 10000"/>
                  <a:gd name="connsiteX2630" fmla="*/ 1281 w 10785"/>
                  <a:gd name="connsiteY2630" fmla="*/ 9949 h 10000"/>
                  <a:gd name="connsiteX2631" fmla="*/ 1290 w 10785"/>
                  <a:gd name="connsiteY2631" fmla="*/ 9949 h 10000"/>
                  <a:gd name="connsiteX2632" fmla="*/ 1295 w 10785"/>
                  <a:gd name="connsiteY2632" fmla="*/ 10000 h 10000"/>
                  <a:gd name="connsiteX2633" fmla="*/ 1332 w 10785"/>
                  <a:gd name="connsiteY2633" fmla="*/ 10000 h 10000"/>
                  <a:gd name="connsiteX2634" fmla="*/ 1336 w 10785"/>
                  <a:gd name="connsiteY2634" fmla="*/ 10000 h 10000"/>
                  <a:gd name="connsiteX2635" fmla="*/ 1346 w 10785"/>
                  <a:gd name="connsiteY2635" fmla="*/ 9983 h 10000"/>
                  <a:gd name="connsiteX2636" fmla="*/ 1350 w 10785"/>
                  <a:gd name="connsiteY2636" fmla="*/ 9949 h 10000"/>
                  <a:gd name="connsiteX2637" fmla="*/ 1369 w 10785"/>
                  <a:gd name="connsiteY2637" fmla="*/ 9940 h 10000"/>
                  <a:gd name="connsiteX2638" fmla="*/ 1378 w 10785"/>
                  <a:gd name="connsiteY2638" fmla="*/ 9897 h 10000"/>
                  <a:gd name="connsiteX2639" fmla="*/ 1369 w 10785"/>
                  <a:gd name="connsiteY2639" fmla="*/ 9889 h 10000"/>
                  <a:gd name="connsiteX2640" fmla="*/ 1318 w 10785"/>
                  <a:gd name="connsiteY2640" fmla="*/ 9701 h 10000"/>
                  <a:gd name="connsiteX2641" fmla="*/ 1318 w 10785"/>
                  <a:gd name="connsiteY2641" fmla="*/ 9650 h 10000"/>
                  <a:gd name="connsiteX2642" fmla="*/ 1323 w 10785"/>
                  <a:gd name="connsiteY2642" fmla="*/ 9590 h 10000"/>
                  <a:gd name="connsiteX2643" fmla="*/ 1323 w 10785"/>
                  <a:gd name="connsiteY2643" fmla="*/ 9564 h 10000"/>
                  <a:gd name="connsiteX2644" fmla="*/ 1309 w 10785"/>
                  <a:gd name="connsiteY2644" fmla="*/ 9598 h 10000"/>
                  <a:gd name="connsiteX2645" fmla="*/ 1309 w 10785"/>
                  <a:gd name="connsiteY2645" fmla="*/ 9590 h 10000"/>
                  <a:gd name="connsiteX2646" fmla="*/ 1304 w 10785"/>
                  <a:gd name="connsiteY2646" fmla="*/ 9547 h 10000"/>
                  <a:gd name="connsiteX2647" fmla="*/ 1276 w 10785"/>
                  <a:gd name="connsiteY2647" fmla="*/ 9479 h 10000"/>
                  <a:gd name="connsiteX2648" fmla="*/ 1263 w 10785"/>
                  <a:gd name="connsiteY2648" fmla="*/ 9479 h 10000"/>
                  <a:gd name="connsiteX2649" fmla="*/ 1263 w 10785"/>
                  <a:gd name="connsiteY2649" fmla="*/ 9453 h 10000"/>
                  <a:gd name="connsiteX2650" fmla="*/ 1272 w 10785"/>
                  <a:gd name="connsiteY2650" fmla="*/ 9410 h 10000"/>
                  <a:gd name="connsiteX2651" fmla="*/ 1272 w 10785"/>
                  <a:gd name="connsiteY2651" fmla="*/ 9393 h 10000"/>
                  <a:gd name="connsiteX2652" fmla="*/ 1281 w 10785"/>
                  <a:gd name="connsiteY2652" fmla="*/ 9368 h 10000"/>
                  <a:gd name="connsiteX2653" fmla="*/ 1281 w 10785"/>
                  <a:gd name="connsiteY2653" fmla="*/ 9368 h 10000"/>
                  <a:gd name="connsiteX2654" fmla="*/ 1290 w 10785"/>
                  <a:gd name="connsiteY2654" fmla="*/ 9368 h 10000"/>
                  <a:gd name="connsiteX2655" fmla="*/ 1290 w 10785"/>
                  <a:gd name="connsiteY2655" fmla="*/ 9342 h 10000"/>
                  <a:gd name="connsiteX2656" fmla="*/ 1304 w 10785"/>
                  <a:gd name="connsiteY2656" fmla="*/ 9325 h 10000"/>
                  <a:gd name="connsiteX2657" fmla="*/ 1309 w 10785"/>
                  <a:gd name="connsiteY2657" fmla="*/ 9239 h 10000"/>
                  <a:gd name="connsiteX2658" fmla="*/ 1318 w 10785"/>
                  <a:gd name="connsiteY2658" fmla="*/ 9256 h 10000"/>
                  <a:gd name="connsiteX2659" fmla="*/ 1323 w 10785"/>
                  <a:gd name="connsiteY2659" fmla="*/ 9179 h 10000"/>
                  <a:gd name="connsiteX2660" fmla="*/ 1309 w 10785"/>
                  <a:gd name="connsiteY2660" fmla="*/ 9145 h 10000"/>
                  <a:gd name="connsiteX2661" fmla="*/ 1336 w 10785"/>
                  <a:gd name="connsiteY2661" fmla="*/ 9154 h 10000"/>
                  <a:gd name="connsiteX2662" fmla="*/ 1336 w 10785"/>
                  <a:gd name="connsiteY2662" fmla="*/ 9162 h 10000"/>
                  <a:gd name="connsiteX2663" fmla="*/ 1350 w 10785"/>
                  <a:gd name="connsiteY2663" fmla="*/ 9231 h 10000"/>
                  <a:gd name="connsiteX2664" fmla="*/ 1355 w 10785"/>
                  <a:gd name="connsiteY2664" fmla="*/ 9231 h 10000"/>
                  <a:gd name="connsiteX2665" fmla="*/ 1364 w 10785"/>
                  <a:gd name="connsiteY2665" fmla="*/ 9214 h 10000"/>
                  <a:gd name="connsiteX2666" fmla="*/ 1369 w 10785"/>
                  <a:gd name="connsiteY2666" fmla="*/ 9214 h 10000"/>
                  <a:gd name="connsiteX2667" fmla="*/ 1382 w 10785"/>
                  <a:gd name="connsiteY2667" fmla="*/ 9154 h 10000"/>
                  <a:gd name="connsiteX2668" fmla="*/ 1396 w 10785"/>
                  <a:gd name="connsiteY2668" fmla="*/ 9154 h 10000"/>
                  <a:gd name="connsiteX2669" fmla="*/ 1382 w 10785"/>
                  <a:gd name="connsiteY2669" fmla="*/ 9145 h 10000"/>
                  <a:gd name="connsiteX2670" fmla="*/ 1382 w 10785"/>
                  <a:gd name="connsiteY2670" fmla="*/ 9128 h 10000"/>
                  <a:gd name="connsiteX2671" fmla="*/ 1369 w 10785"/>
                  <a:gd name="connsiteY2671" fmla="*/ 9128 h 10000"/>
                  <a:gd name="connsiteX2672" fmla="*/ 1364 w 10785"/>
                  <a:gd name="connsiteY2672" fmla="*/ 9128 h 10000"/>
                  <a:gd name="connsiteX2673" fmla="*/ 1355 w 10785"/>
                  <a:gd name="connsiteY2673" fmla="*/ 9120 h 10000"/>
                  <a:gd name="connsiteX2674" fmla="*/ 1350 w 10785"/>
                  <a:gd name="connsiteY2674" fmla="*/ 9103 h 10000"/>
                  <a:gd name="connsiteX2675" fmla="*/ 1355 w 10785"/>
                  <a:gd name="connsiteY2675" fmla="*/ 9094 h 10000"/>
                  <a:gd name="connsiteX2676" fmla="*/ 1355 w 10785"/>
                  <a:gd name="connsiteY2676" fmla="*/ 9068 h 10000"/>
                  <a:gd name="connsiteX2677" fmla="*/ 1369 w 10785"/>
                  <a:gd name="connsiteY2677" fmla="*/ 9068 h 10000"/>
                  <a:gd name="connsiteX2678" fmla="*/ 1378 w 10785"/>
                  <a:gd name="connsiteY2678" fmla="*/ 9077 h 10000"/>
                  <a:gd name="connsiteX2679" fmla="*/ 1396 w 10785"/>
                  <a:gd name="connsiteY2679" fmla="*/ 9068 h 10000"/>
                  <a:gd name="connsiteX2680" fmla="*/ 1382 w 10785"/>
                  <a:gd name="connsiteY2680" fmla="*/ 8940 h 10000"/>
                  <a:gd name="connsiteX2681" fmla="*/ 1378 w 10785"/>
                  <a:gd name="connsiteY2681" fmla="*/ 8940 h 10000"/>
                  <a:gd name="connsiteX2682" fmla="*/ 1364 w 10785"/>
                  <a:gd name="connsiteY2682" fmla="*/ 8889 h 10000"/>
                  <a:gd name="connsiteX2683" fmla="*/ 1355 w 10785"/>
                  <a:gd name="connsiteY2683" fmla="*/ 8880 h 10000"/>
                  <a:gd name="connsiteX2684" fmla="*/ 1323 w 10785"/>
                  <a:gd name="connsiteY2684" fmla="*/ 8880 h 10000"/>
                  <a:gd name="connsiteX2685" fmla="*/ 1309 w 10785"/>
                  <a:gd name="connsiteY2685" fmla="*/ 8880 h 10000"/>
                  <a:gd name="connsiteX2686" fmla="*/ 1309 w 10785"/>
                  <a:gd name="connsiteY2686" fmla="*/ 8889 h 10000"/>
                  <a:gd name="connsiteX2687" fmla="*/ 1295 w 10785"/>
                  <a:gd name="connsiteY2687" fmla="*/ 8872 h 10000"/>
                  <a:gd name="connsiteX2688" fmla="*/ 1290 w 10785"/>
                  <a:gd name="connsiteY2688" fmla="*/ 8855 h 10000"/>
                  <a:gd name="connsiteX2689" fmla="*/ 1290 w 10785"/>
                  <a:gd name="connsiteY2689" fmla="*/ 8829 h 10000"/>
                  <a:gd name="connsiteX2690" fmla="*/ 1290 w 10785"/>
                  <a:gd name="connsiteY2690" fmla="*/ 8821 h 10000"/>
                  <a:gd name="connsiteX2691" fmla="*/ 1290 w 10785"/>
                  <a:gd name="connsiteY2691" fmla="*/ 8803 h 10000"/>
                  <a:gd name="connsiteX2692" fmla="*/ 1281 w 10785"/>
                  <a:gd name="connsiteY2692" fmla="*/ 8795 h 10000"/>
                  <a:gd name="connsiteX2693" fmla="*/ 1249 w 10785"/>
                  <a:gd name="connsiteY2693" fmla="*/ 8769 h 10000"/>
                  <a:gd name="connsiteX2694" fmla="*/ 1263 w 10785"/>
                  <a:gd name="connsiteY2694" fmla="*/ 8667 h 10000"/>
                  <a:gd name="connsiteX2695" fmla="*/ 1281 w 10785"/>
                  <a:gd name="connsiteY2695" fmla="*/ 8658 h 10000"/>
                  <a:gd name="connsiteX2696" fmla="*/ 1290 w 10785"/>
                  <a:gd name="connsiteY2696" fmla="*/ 8632 h 10000"/>
                  <a:gd name="connsiteX2697" fmla="*/ 1281 w 10785"/>
                  <a:gd name="connsiteY2697" fmla="*/ 8615 h 10000"/>
                  <a:gd name="connsiteX2698" fmla="*/ 1272 w 10785"/>
                  <a:gd name="connsiteY2698" fmla="*/ 8598 h 10000"/>
                  <a:gd name="connsiteX2699" fmla="*/ 1281 w 10785"/>
                  <a:gd name="connsiteY2699" fmla="*/ 8496 h 10000"/>
                  <a:gd name="connsiteX2700" fmla="*/ 1295 w 10785"/>
                  <a:gd name="connsiteY2700" fmla="*/ 8470 h 10000"/>
                  <a:gd name="connsiteX2701" fmla="*/ 1304 w 10785"/>
                  <a:gd name="connsiteY2701" fmla="*/ 8462 h 10000"/>
                  <a:gd name="connsiteX2702" fmla="*/ 1304 w 10785"/>
                  <a:gd name="connsiteY2702" fmla="*/ 8444 h 10000"/>
                  <a:gd name="connsiteX2703" fmla="*/ 1304 w 10785"/>
                  <a:gd name="connsiteY2703" fmla="*/ 8419 h 10000"/>
                  <a:gd name="connsiteX2704" fmla="*/ 1304 w 10785"/>
                  <a:gd name="connsiteY2704" fmla="*/ 8410 h 10000"/>
                  <a:gd name="connsiteX2705" fmla="*/ 1309 w 10785"/>
                  <a:gd name="connsiteY2705" fmla="*/ 8393 h 10000"/>
                  <a:gd name="connsiteX2706" fmla="*/ 1318 w 10785"/>
                  <a:gd name="connsiteY2706" fmla="*/ 8385 h 10000"/>
                  <a:gd name="connsiteX2707" fmla="*/ 1323 w 10785"/>
                  <a:gd name="connsiteY2707" fmla="*/ 8385 h 10000"/>
                  <a:gd name="connsiteX2708" fmla="*/ 1332 w 10785"/>
                  <a:gd name="connsiteY2708" fmla="*/ 8410 h 10000"/>
                  <a:gd name="connsiteX2709" fmla="*/ 1346 w 10785"/>
                  <a:gd name="connsiteY2709" fmla="*/ 8419 h 10000"/>
                  <a:gd name="connsiteX2710" fmla="*/ 1364 w 10785"/>
                  <a:gd name="connsiteY2710" fmla="*/ 8504 h 10000"/>
                  <a:gd name="connsiteX2711" fmla="*/ 1369 w 10785"/>
                  <a:gd name="connsiteY2711" fmla="*/ 8521 h 10000"/>
                  <a:gd name="connsiteX2712" fmla="*/ 1406 w 10785"/>
                  <a:gd name="connsiteY2712" fmla="*/ 8470 h 10000"/>
                  <a:gd name="connsiteX2713" fmla="*/ 1382 w 10785"/>
                  <a:gd name="connsiteY2713" fmla="*/ 8359 h 10000"/>
                  <a:gd name="connsiteX2714" fmla="*/ 1392 w 10785"/>
                  <a:gd name="connsiteY2714" fmla="*/ 8359 h 10000"/>
                  <a:gd name="connsiteX2715" fmla="*/ 1438 w 10785"/>
                  <a:gd name="connsiteY2715" fmla="*/ 8308 h 10000"/>
                  <a:gd name="connsiteX2716" fmla="*/ 1442 w 10785"/>
                  <a:gd name="connsiteY2716" fmla="*/ 8299 h 10000"/>
                  <a:gd name="connsiteX2717" fmla="*/ 1442 w 10785"/>
                  <a:gd name="connsiteY2717" fmla="*/ 8256 h 10000"/>
                  <a:gd name="connsiteX2718" fmla="*/ 1452 w 10785"/>
                  <a:gd name="connsiteY2718" fmla="*/ 8256 h 10000"/>
                  <a:gd name="connsiteX2719" fmla="*/ 1456 w 10785"/>
                  <a:gd name="connsiteY2719" fmla="*/ 8256 h 10000"/>
                  <a:gd name="connsiteX2720" fmla="*/ 1470 w 10785"/>
                  <a:gd name="connsiteY2720" fmla="*/ 8248 h 10000"/>
                  <a:gd name="connsiteX2721" fmla="*/ 1479 w 10785"/>
                  <a:gd name="connsiteY2721" fmla="*/ 8231 h 10000"/>
                  <a:gd name="connsiteX2722" fmla="*/ 1493 w 10785"/>
                  <a:gd name="connsiteY2722" fmla="*/ 8222 h 10000"/>
                  <a:gd name="connsiteX2723" fmla="*/ 1498 w 10785"/>
                  <a:gd name="connsiteY2723" fmla="*/ 8214 h 10000"/>
                  <a:gd name="connsiteX2724" fmla="*/ 1502 w 10785"/>
                  <a:gd name="connsiteY2724" fmla="*/ 8197 h 10000"/>
                  <a:gd name="connsiteX2725" fmla="*/ 1512 w 10785"/>
                  <a:gd name="connsiteY2725" fmla="*/ 8188 h 10000"/>
                  <a:gd name="connsiteX2726" fmla="*/ 1516 w 10785"/>
                  <a:gd name="connsiteY2726" fmla="*/ 8171 h 10000"/>
                  <a:gd name="connsiteX2727" fmla="*/ 1525 w 10785"/>
                  <a:gd name="connsiteY2727" fmla="*/ 8162 h 10000"/>
                  <a:gd name="connsiteX2728" fmla="*/ 1539 w 10785"/>
                  <a:gd name="connsiteY2728" fmla="*/ 8145 h 10000"/>
                  <a:gd name="connsiteX2729" fmla="*/ 1558 w 10785"/>
                  <a:gd name="connsiteY2729" fmla="*/ 8145 h 10000"/>
                  <a:gd name="connsiteX2730" fmla="*/ 1562 w 10785"/>
                  <a:gd name="connsiteY2730" fmla="*/ 8188 h 10000"/>
                  <a:gd name="connsiteX2731" fmla="*/ 1585 w 10785"/>
                  <a:gd name="connsiteY2731" fmla="*/ 8171 h 10000"/>
                  <a:gd name="connsiteX2732" fmla="*/ 1590 w 10785"/>
                  <a:gd name="connsiteY2732" fmla="*/ 8188 h 10000"/>
                  <a:gd name="connsiteX2733" fmla="*/ 1599 w 10785"/>
                  <a:gd name="connsiteY2733" fmla="*/ 8171 h 10000"/>
                  <a:gd name="connsiteX2734" fmla="*/ 1599 w 10785"/>
                  <a:gd name="connsiteY2734" fmla="*/ 8162 h 10000"/>
                  <a:gd name="connsiteX2735" fmla="*/ 1604 w 10785"/>
                  <a:gd name="connsiteY2735" fmla="*/ 8137 h 10000"/>
                  <a:gd name="connsiteX2736" fmla="*/ 1618 w 10785"/>
                  <a:gd name="connsiteY2736" fmla="*/ 8145 h 10000"/>
                  <a:gd name="connsiteX2737" fmla="*/ 1627 w 10785"/>
                  <a:gd name="connsiteY2737" fmla="*/ 8137 h 10000"/>
                  <a:gd name="connsiteX2738" fmla="*/ 1631 w 10785"/>
                  <a:gd name="connsiteY2738" fmla="*/ 8137 h 10000"/>
                  <a:gd name="connsiteX2739" fmla="*/ 1636 w 10785"/>
                  <a:gd name="connsiteY2739" fmla="*/ 8171 h 10000"/>
                  <a:gd name="connsiteX2740" fmla="*/ 1645 w 10785"/>
                  <a:gd name="connsiteY2740" fmla="*/ 8188 h 10000"/>
                  <a:gd name="connsiteX2741" fmla="*/ 1664 w 10785"/>
                  <a:gd name="connsiteY2741" fmla="*/ 8171 h 10000"/>
                  <a:gd name="connsiteX2742" fmla="*/ 1673 w 10785"/>
                  <a:gd name="connsiteY2742" fmla="*/ 8188 h 10000"/>
                  <a:gd name="connsiteX2743" fmla="*/ 1691 w 10785"/>
                  <a:gd name="connsiteY2743" fmla="*/ 8171 h 10000"/>
                  <a:gd name="connsiteX2744" fmla="*/ 1705 w 10785"/>
                  <a:gd name="connsiteY2744" fmla="*/ 8171 h 10000"/>
                  <a:gd name="connsiteX2745" fmla="*/ 1719 w 10785"/>
                  <a:gd name="connsiteY2745" fmla="*/ 8197 h 10000"/>
                  <a:gd name="connsiteX2746" fmla="*/ 1724 w 10785"/>
                  <a:gd name="connsiteY2746" fmla="*/ 8231 h 10000"/>
                  <a:gd name="connsiteX2747" fmla="*/ 1751 w 10785"/>
                  <a:gd name="connsiteY2747" fmla="*/ 8256 h 10000"/>
                  <a:gd name="connsiteX2748" fmla="*/ 1751 w 10785"/>
                  <a:gd name="connsiteY2748" fmla="*/ 8274 h 10000"/>
                  <a:gd name="connsiteX2749" fmla="*/ 1760 w 10785"/>
                  <a:gd name="connsiteY2749" fmla="*/ 8282 h 10000"/>
                  <a:gd name="connsiteX2750" fmla="*/ 1770 w 10785"/>
                  <a:gd name="connsiteY2750" fmla="*/ 8325 h 10000"/>
                  <a:gd name="connsiteX2751" fmla="*/ 1770 w 10785"/>
                  <a:gd name="connsiteY2751" fmla="*/ 8350 h 10000"/>
                  <a:gd name="connsiteX2752" fmla="*/ 1779 w 10785"/>
                  <a:gd name="connsiteY2752" fmla="*/ 8368 h 10000"/>
                  <a:gd name="connsiteX2753" fmla="*/ 1783 w 10785"/>
                  <a:gd name="connsiteY2753" fmla="*/ 8359 h 10000"/>
                  <a:gd name="connsiteX2754" fmla="*/ 1783 w 10785"/>
                  <a:gd name="connsiteY2754" fmla="*/ 8308 h 10000"/>
                  <a:gd name="connsiteX2755" fmla="*/ 1779 w 10785"/>
                  <a:gd name="connsiteY2755" fmla="*/ 8299 h 10000"/>
                  <a:gd name="connsiteX2756" fmla="*/ 1783 w 10785"/>
                  <a:gd name="connsiteY2756" fmla="*/ 8282 h 10000"/>
                  <a:gd name="connsiteX2757" fmla="*/ 1797 w 10785"/>
                  <a:gd name="connsiteY2757" fmla="*/ 8274 h 10000"/>
                  <a:gd name="connsiteX2758" fmla="*/ 1797 w 10785"/>
                  <a:gd name="connsiteY2758" fmla="*/ 8299 h 10000"/>
                  <a:gd name="connsiteX2759" fmla="*/ 1806 w 10785"/>
                  <a:gd name="connsiteY2759" fmla="*/ 8308 h 10000"/>
                  <a:gd name="connsiteX2760" fmla="*/ 1811 w 10785"/>
                  <a:gd name="connsiteY2760" fmla="*/ 8325 h 10000"/>
                  <a:gd name="connsiteX2761" fmla="*/ 1820 w 10785"/>
                  <a:gd name="connsiteY2761" fmla="*/ 8333 h 10000"/>
                  <a:gd name="connsiteX2762" fmla="*/ 1853 w 10785"/>
                  <a:gd name="connsiteY2762" fmla="*/ 8359 h 10000"/>
                  <a:gd name="connsiteX2763" fmla="*/ 1866 w 10785"/>
                  <a:gd name="connsiteY2763" fmla="*/ 8359 h 10000"/>
                  <a:gd name="connsiteX2764" fmla="*/ 1885 w 10785"/>
                  <a:gd name="connsiteY2764" fmla="*/ 8325 h 10000"/>
                  <a:gd name="connsiteX2765" fmla="*/ 1885 w 10785"/>
                  <a:gd name="connsiteY2765" fmla="*/ 8308 h 10000"/>
                  <a:gd name="connsiteX2766" fmla="*/ 1894 w 10785"/>
                  <a:gd name="connsiteY2766" fmla="*/ 8299 h 10000"/>
                  <a:gd name="connsiteX2767" fmla="*/ 1899 w 10785"/>
                  <a:gd name="connsiteY2767" fmla="*/ 8282 h 10000"/>
                  <a:gd name="connsiteX2768" fmla="*/ 1912 w 10785"/>
                  <a:gd name="connsiteY2768" fmla="*/ 8282 h 10000"/>
                  <a:gd name="connsiteX2769" fmla="*/ 1917 w 10785"/>
                  <a:gd name="connsiteY2769" fmla="*/ 8299 h 10000"/>
                  <a:gd name="connsiteX2770" fmla="*/ 1917 w 10785"/>
                  <a:gd name="connsiteY2770" fmla="*/ 8274 h 10000"/>
                  <a:gd name="connsiteX2771" fmla="*/ 1940 w 10785"/>
                  <a:gd name="connsiteY2771" fmla="*/ 8282 h 10000"/>
                  <a:gd name="connsiteX2772" fmla="*/ 1945 w 10785"/>
                  <a:gd name="connsiteY2772" fmla="*/ 8274 h 10000"/>
                  <a:gd name="connsiteX2773" fmla="*/ 1972 w 10785"/>
                  <a:gd name="connsiteY2773" fmla="*/ 8308 h 10000"/>
                  <a:gd name="connsiteX2774" fmla="*/ 1986 w 10785"/>
                  <a:gd name="connsiteY2774" fmla="*/ 8282 h 10000"/>
                  <a:gd name="connsiteX2775" fmla="*/ 1991 w 10785"/>
                  <a:gd name="connsiteY2775" fmla="*/ 8274 h 10000"/>
                  <a:gd name="connsiteX2776" fmla="*/ 2014 w 10785"/>
                  <a:gd name="connsiteY2776" fmla="*/ 8274 h 10000"/>
                  <a:gd name="connsiteX2777" fmla="*/ 2018 w 10785"/>
                  <a:gd name="connsiteY2777" fmla="*/ 8256 h 10000"/>
                  <a:gd name="connsiteX2778" fmla="*/ 2041 w 10785"/>
                  <a:gd name="connsiteY2778" fmla="*/ 8274 h 10000"/>
                  <a:gd name="connsiteX2779" fmla="*/ 2046 w 10785"/>
                  <a:gd name="connsiteY2779" fmla="*/ 8282 h 10000"/>
                  <a:gd name="connsiteX2780" fmla="*/ 2046 w 10785"/>
                  <a:gd name="connsiteY2780" fmla="*/ 8325 h 10000"/>
                  <a:gd name="connsiteX2781" fmla="*/ 2060 w 10785"/>
                  <a:gd name="connsiteY2781" fmla="*/ 8350 h 10000"/>
                  <a:gd name="connsiteX2782" fmla="*/ 2078 w 10785"/>
                  <a:gd name="connsiteY2782" fmla="*/ 8350 h 10000"/>
                  <a:gd name="connsiteX2783" fmla="*/ 2092 w 10785"/>
                  <a:gd name="connsiteY2783" fmla="*/ 8350 h 10000"/>
                  <a:gd name="connsiteX2784" fmla="*/ 2092 w 10785"/>
                  <a:gd name="connsiteY2784" fmla="*/ 8350 h 10000"/>
                  <a:gd name="connsiteX2785" fmla="*/ 2101 w 10785"/>
                  <a:gd name="connsiteY2785" fmla="*/ 8368 h 10000"/>
                  <a:gd name="connsiteX2786" fmla="*/ 2120 w 10785"/>
                  <a:gd name="connsiteY2786" fmla="*/ 8368 h 10000"/>
                  <a:gd name="connsiteX2787" fmla="*/ 2124 w 10785"/>
                  <a:gd name="connsiteY2787" fmla="*/ 8359 h 10000"/>
                  <a:gd name="connsiteX2788" fmla="*/ 2138 w 10785"/>
                  <a:gd name="connsiteY2788" fmla="*/ 8325 h 10000"/>
                  <a:gd name="connsiteX2789" fmla="*/ 2147 w 10785"/>
                  <a:gd name="connsiteY2789" fmla="*/ 8325 h 10000"/>
                  <a:gd name="connsiteX2790" fmla="*/ 2161 w 10785"/>
                  <a:gd name="connsiteY2790" fmla="*/ 8350 h 10000"/>
                  <a:gd name="connsiteX2791" fmla="*/ 2198 w 10785"/>
                  <a:gd name="connsiteY2791" fmla="*/ 8350 h 10000"/>
                  <a:gd name="connsiteX2792" fmla="*/ 2207 w 10785"/>
                  <a:gd name="connsiteY2792" fmla="*/ 8333 h 10000"/>
                  <a:gd name="connsiteX2793" fmla="*/ 2226 w 10785"/>
                  <a:gd name="connsiteY2793" fmla="*/ 8325 h 10000"/>
                  <a:gd name="connsiteX2794" fmla="*/ 2249 w 10785"/>
                  <a:gd name="connsiteY2794" fmla="*/ 8222 h 10000"/>
                  <a:gd name="connsiteX2795" fmla="*/ 2235 w 10785"/>
                  <a:gd name="connsiteY2795" fmla="*/ 8197 h 10000"/>
                  <a:gd name="connsiteX2796" fmla="*/ 2198 w 10785"/>
                  <a:gd name="connsiteY2796" fmla="*/ 8197 h 10000"/>
                  <a:gd name="connsiteX2797" fmla="*/ 2189 w 10785"/>
                  <a:gd name="connsiteY2797" fmla="*/ 8171 h 10000"/>
                  <a:gd name="connsiteX2798" fmla="*/ 2161 w 10785"/>
                  <a:gd name="connsiteY2798" fmla="*/ 8145 h 10000"/>
                  <a:gd name="connsiteX2799" fmla="*/ 2161 w 10785"/>
                  <a:gd name="connsiteY2799" fmla="*/ 8137 h 10000"/>
                  <a:gd name="connsiteX2800" fmla="*/ 2152 w 10785"/>
                  <a:gd name="connsiteY2800" fmla="*/ 8120 h 10000"/>
                  <a:gd name="connsiteX2801" fmla="*/ 2138 w 10785"/>
                  <a:gd name="connsiteY2801" fmla="*/ 8111 h 10000"/>
                  <a:gd name="connsiteX2802" fmla="*/ 2138 w 10785"/>
                  <a:gd name="connsiteY2802" fmla="*/ 8094 h 10000"/>
                  <a:gd name="connsiteX2803" fmla="*/ 2147 w 10785"/>
                  <a:gd name="connsiteY2803" fmla="*/ 8085 h 10000"/>
                  <a:gd name="connsiteX2804" fmla="*/ 2161 w 10785"/>
                  <a:gd name="connsiteY2804" fmla="*/ 8060 h 10000"/>
                  <a:gd name="connsiteX2805" fmla="*/ 2198 w 10785"/>
                  <a:gd name="connsiteY2805" fmla="*/ 8034 h 10000"/>
                  <a:gd name="connsiteX2806" fmla="*/ 2198 w 10785"/>
                  <a:gd name="connsiteY2806" fmla="*/ 8026 h 10000"/>
                  <a:gd name="connsiteX2807" fmla="*/ 2198 w 10785"/>
                  <a:gd name="connsiteY2807" fmla="*/ 8000 h 10000"/>
                  <a:gd name="connsiteX2808" fmla="*/ 2180 w 10785"/>
                  <a:gd name="connsiteY2808" fmla="*/ 7940 h 10000"/>
                  <a:gd name="connsiteX2809" fmla="*/ 2189 w 10785"/>
                  <a:gd name="connsiteY2809" fmla="*/ 7940 h 10000"/>
                  <a:gd name="connsiteX2810" fmla="*/ 2198 w 10785"/>
                  <a:gd name="connsiteY2810" fmla="*/ 7923 h 10000"/>
                  <a:gd name="connsiteX2811" fmla="*/ 2198 w 10785"/>
                  <a:gd name="connsiteY2811" fmla="*/ 7897 h 10000"/>
                  <a:gd name="connsiteX2812" fmla="*/ 2207 w 10785"/>
                  <a:gd name="connsiteY2812" fmla="*/ 7889 h 10000"/>
                  <a:gd name="connsiteX2813" fmla="*/ 2221 w 10785"/>
                  <a:gd name="connsiteY2813" fmla="*/ 7889 h 10000"/>
                  <a:gd name="connsiteX2814" fmla="*/ 2226 w 10785"/>
                  <a:gd name="connsiteY2814" fmla="*/ 7897 h 10000"/>
                  <a:gd name="connsiteX2815" fmla="*/ 2235 w 10785"/>
                  <a:gd name="connsiteY2815" fmla="*/ 7889 h 10000"/>
                  <a:gd name="connsiteX2816" fmla="*/ 2249 w 10785"/>
                  <a:gd name="connsiteY2816" fmla="*/ 7897 h 10000"/>
                  <a:gd name="connsiteX2817" fmla="*/ 2267 w 10785"/>
                  <a:gd name="connsiteY2817" fmla="*/ 7897 h 10000"/>
                  <a:gd name="connsiteX2818" fmla="*/ 2272 w 10785"/>
                  <a:gd name="connsiteY2818" fmla="*/ 7889 h 10000"/>
                  <a:gd name="connsiteX2819" fmla="*/ 2281 w 10785"/>
                  <a:gd name="connsiteY2819" fmla="*/ 7872 h 10000"/>
                  <a:gd name="connsiteX2820" fmla="*/ 2272 w 10785"/>
                  <a:gd name="connsiteY2820" fmla="*/ 7846 h 10000"/>
                  <a:gd name="connsiteX2821" fmla="*/ 2253 w 10785"/>
                  <a:gd name="connsiteY2821" fmla="*/ 7838 h 10000"/>
                  <a:gd name="connsiteX2822" fmla="*/ 2221 w 10785"/>
                  <a:gd name="connsiteY2822" fmla="*/ 7821 h 10000"/>
                  <a:gd name="connsiteX2823" fmla="*/ 2212 w 10785"/>
                  <a:gd name="connsiteY2823" fmla="*/ 7812 h 10000"/>
                  <a:gd name="connsiteX2824" fmla="*/ 2212 w 10785"/>
                  <a:gd name="connsiteY2824" fmla="*/ 7803 h 10000"/>
                  <a:gd name="connsiteX2825" fmla="*/ 2221 w 10785"/>
                  <a:gd name="connsiteY2825" fmla="*/ 7803 h 10000"/>
                  <a:gd name="connsiteX2826" fmla="*/ 2235 w 10785"/>
                  <a:gd name="connsiteY2826" fmla="*/ 7786 h 10000"/>
                  <a:gd name="connsiteX2827" fmla="*/ 2240 w 10785"/>
                  <a:gd name="connsiteY2827" fmla="*/ 7778 h 10000"/>
                  <a:gd name="connsiteX2828" fmla="*/ 2226 w 10785"/>
                  <a:gd name="connsiteY2828" fmla="*/ 7761 h 10000"/>
                  <a:gd name="connsiteX2829" fmla="*/ 2221 w 10785"/>
                  <a:gd name="connsiteY2829" fmla="*/ 7778 h 10000"/>
                  <a:gd name="connsiteX2830" fmla="*/ 2198 w 10785"/>
                  <a:gd name="connsiteY2830" fmla="*/ 7778 h 10000"/>
                  <a:gd name="connsiteX2831" fmla="*/ 2198 w 10785"/>
                  <a:gd name="connsiteY2831" fmla="*/ 7752 h 10000"/>
                  <a:gd name="connsiteX2832" fmla="*/ 2207 w 10785"/>
                  <a:gd name="connsiteY2832" fmla="*/ 7735 h 10000"/>
                  <a:gd name="connsiteX2833" fmla="*/ 2212 w 10785"/>
                  <a:gd name="connsiteY2833" fmla="*/ 7726 h 10000"/>
                  <a:gd name="connsiteX2834" fmla="*/ 2198 w 10785"/>
                  <a:gd name="connsiteY2834" fmla="*/ 7692 h 10000"/>
                  <a:gd name="connsiteX2835" fmla="*/ 2221 w 10785"/>
                  <a:gd name="connsiteY2835" fmla="*/ 7692 h 10000"/>
                  <a:gd name="connsiteX2836" fmla="*/ 2221 w 10785"/>
                  <a:gd name="connsiteY2836" fmla="*/ 7675 h 10000"/>
                  <a:gd name="connsiteX2837" fmla="*/ 2235 w 10785"/>
                  <a:gd name="connsiteY2837" fmla="*/ 7675 h 10000"/>
                  <a:gd name="connsiteX2838" fmla="*/ 2240 w 10785"/>
                  <a:gd name="connsiteY2838" fmla="*/ 7692 h 10000"/>
                  <a:gd name="connsiteX2839" fmla="*/ 2249 w 10785"/>
                  <a:gd name="connsiteY2839" fmla="*/ 7692 h 10000"/>
                  <a:gd name="connsiteX2840" fmla="*/ 2258 w 10785"/>
                  <a:gd name="connsiteY2840" fmla="*/ 7692 h 10000"/>
                  <a:gd name="connsiteX2841" fmla="*/ 2267 w 10785"/>
                  <a:gd name="connsiteY2841" fmla="*/ 7692 h 10000"/>
                  <a:gd name="connsiteX2842" fmla="*/ 2295 w 10785"/>
                  <a:gd name="connsiteY2842" fmla="*/ 7692 h 10000"/>
                  <a:gd name="connsiteX2843" fmla="*/ 2300 w 10785"/>
                  <a:gd name="connsiteY2843" fmla="*/ 7701 h 10000"/>
                  <a:gd name="connsiteX2844" fmla="*/ 2313 w 10785"/>
                  <a:gd name="connsiteY2844" fmla="*/ 7675 h 10000"/>
                  <a:gd name="connsiteX2845" fmla="*/ 2323 w 10785"/>
                  <a:gd name="connsiteY2845" fmla="*/ 7675 h 10000"/>
                  <a:gd name="connsiteX2846" fmla="*/ 2341 w 10785"/>
                  <a:gd name="connsiteY2846" fmla="*/ 7675 h 10000"/>
                  <a:gd name="connsiteX2847" fmla="*/ 2346 w 10785"/>
                  <a:gd name="connsiteY2847" fmla="*/ 7667 h 10000"/>
                  <a:gd name="connsiteX2848" fmla="*/ 2359 w 10785"/>
                  <a:gd name="connsiteY2848" fmla="*/ 7650 h 10000"/>
                  <a:gd name="connsiteX2849" fmla="*/ 2373 w 10785"/>
                  <a:gd name="connsiteY2849" fmla="*/ 7624 h 10000"/>
                  <a:gd name="connsiteX2850" fmla="*/ 2382 w 10785"/>
                  <a:gd name="connsiteY2850" fmla="*/ 7641 h 10000"/>
                  <a:gd name="connsiteX2851" fmla="*/ 2396 w 10785"/>
                  <a:gd name="connsiteY2851" fmla="*/ 7650 h 10000"/>
                  <a:gd name="connsiteX2852" fmla="*/ 2401 w 10785"/>
                  <a:gd name="connsiteY2852" fmla="*/ 7650 h 10000"/>
                  <a:gd name="connsiteX2853" fmla="*/ 2401 w 10785"/>
                  <a:gd name="connsiteY2853" fmla="*/ 7624 h 10000"/>
                  <a:gd name="connsiteX2854" fmla="*/ 2419 w 10785"/>
                  <a:gd name="connsiteY2854" fmla="*/ 7624 h 10000"/>
                  <a:gd name="connsiteX2855" fmla="*/ 2433 w 10785"/>
                  <a:gd name="connsiteY2855" fmla="*/ 7615 h 10000"/>
                  <a:gd name="connsiteX2856" fmla="*/ 2442 w 10785"/>
                  <a:gd name="connsiteY2856" fmla="*/ 7615 h 10000"/>
                  <a:gd name="connsiteX2857" fmla="*/ 2447 w 10785"/>
                  <a:gd name="connsiteY2857" fmla="*/ 7598 h 10000"/>
                  <a:gd name="connsiteX2858" fmla="*/ 2461 w 10785"/>
                  <a:gd name="connsiteY2858" fmla="*/ 7598 h 10000"/>
                  <a:gd name="connsiteX2859" fmla="*/ 2465 w 10785"/>
                  <a:gd name="connsiteY2859" fmla="*/ 7615 h 10000"/>
                  <a:gd name="connsiteX2860" fmla="*/ 2479 w 10785"/>
                  <a:gd name="connsiteY2860" fmla="*/ 7564 h 10000"/>
                  <a:gd name="connsiteX2861" fmla="*/ 2488 w 10785"/>
                  <a:gd name="connsiteY2861" fmla="*/ 7556 h 10000"/>
                  <a:gd name="connsiteX2862" fmla="*/ 2493 w 10785"/>
                  <a:gd name="connsiteY2862" fmla="*/ 7556 h 10000"/>
                  <a:gd name="connsiteX2863" fmla="*/ 2507 w 10785"/>
                  <a:gd name="connsiteY2863" fmla="*/ 7556 h 10000"/>
                  <a:gd name="connsiteX2864" fmla="*/ 2530 w 10785"/>
                  <a:gd name="connsiteY2864" fmla="*/ 7538 h 10000"/>
                  <a:gd name="connsiteX2865" fmla="*/ 2530 w 10785"/>
                  <a:gd name="connsiteY2865" fmla="*/ 7556 h 10000"/>
                  <a:gd name="connsiteX2866" fmla="*/ 2641 w 10785"/>
                  <a:gd name="connsiteY2866" fmla="*/ 7504 h 10000"/>
                  <a:gd name="connsiteX2867" fmla="*/ 2654 w 10785"/>
                  <a:gd name="connsiteY2867" fmla="*/ 7487 h 10000"/>
                  <a:gd name="connsiteX2868" fmla="*/ 2664 w 10785"/>
                  <a:gd name="connsiteY2868" fmla="*/ 7487 h 10000"/>
                  <a:gd name="connsiteX2869" fmla="*/ 2668 w 10785"/>
                  <a:gd name="connsiteY2869" fmla="*/ 7479 h 10000"/>
                  <a:gd name="connsiteX2870" fmla="*/ 2673 w 10785"/>
                  <a:gd name="connsiteY2870" fmla="*/ 7462 h 10000"/>
                  <a:gd name="connsiteX2871" fmla="*/ 2673 w 10785"/>
                  <a:gd name="connsiteY2871" fmla="*/ 7427 h 10000"/>
                  <a:gd name="connsiteX2872" fmla="*/ 2687 w 10785"/>
                  <a:gd name="connsiteY2872" fmla="*/ 7436 h 10000"/>
                  <a:gd name="connsiteX2873" fmla="*/ 2696 w 10785"/>
                  <a:gd name="connsiteY2873" fmla="*/ 7427 h 10000"/>
                  <a:gd name="connsiteX2874" fmla="*/ 2700 w 10785"/>
                  <a:gd name="connsiteY2874" fmla="*/ 7419 h 10000"/>
                  <a:gd name="connsiteX2875" fmla="*/ 2710 w 10785"/>
                  <a:gd name="connsiteY2875" fmla="*/ 7402 h 10000"/>
                  <a:gd name="connsiteX2876" fmla="*/ 2724 w 10785"/>
                  <a:gd name="connsiteY2876" fmla="*/ 7402 h 10000"/>
                  <a:gd name="connsiteX2877" fmla="*/ 2724 w 10785"/>
                  <a:gd name="connsiteY2877" fmla="*/ 7393 h 10000"/>
                  <a:gd name="connsiteX2878" fmla="*/ 2737 w 10785"/>
                  <a:gd name="connsiteY2878" fmla="*/ 7393 h 10000"/>
                  <a:gd name="connsiteX2879" fmla="*/ 2742 w 10785"/>
                  <a:gd name="connsiteY2879" fmla="*/ 7402 h 10000"/>
                  <a:gd name="connsiteX2880" fmla="*/ 2747 w 10785"/>
                  <a:gd name="connsiteY2880" fmla="*/ 7402 h 10000"/>
                  <a:gd name="connsiteX2881" fmla="*/ 2760 w 10785"/>
                  <a:gd name="connsiteY2881" fmla="*/ 7402 h 10000"/>
                  <a:gd name="connsiteX2882" fmla="*/ 2770 w 10785"/>
                  <a:gd name="connsiteY2882" fmla="*/ 7402 h 10000"/>
                  <a:gd name="connsiteX2883" fmla="*/ 2774 w 10785"/>
                  <a:gd name="connsiteY2883" fmla="*/ 7402 h 10000"/>
                  <a:gd name="connsiteX2884" fmla="*/ 2783 w 10785"/>
                  <a:gd name="connsiteY2884" fmla="*/ 7419 h 10000"/>
                  <a:gd name="connsiteX2885" fmla="*/ 2802 w 10785"/>
                  <a:gd name="connsiteY2885" fmla="*/ 7436 h 10000"/>
                  <a:gd name="connsiteX2886" fmla="*/ 2816 w 10785"/>
                  <a:gd name="connsiteY2886" fmla="*/ 7419 h 10000"/>
                  <a:gd name="connsiteX2887" fmla="*/ 2834 w 10785"/>
                  <a:gd name="connsiteY2887" fmla="*/ 7419 h 10000"/>
                  <a:gd name="connsiteX2888" fmla="*/ 2843 w 10785"/>
                  <a:gd name="connsiteY2888" fmla="*/ 7419 h 10000"/>
                  <a:gd name="connsiteX2889" fmla="*/ 2848 w 10785"/>
                  <a:gd name="connsiteY2889" fmla="*/ 7436 h 10000"/>
                  <a:gd name="connsiteX2890" fmla="*/ 2857 w 10785"/>
                  <a:gd name="connsiteY2890" fmla="*/ 7453 h 10000"/>
                  <a:gd name="connsiteX2891" fmla="*/ 2857 w 10785"/>
                  <a:gd name="connsiteY2891" fmla="*/ 7504 h 10000"/>
                  <a:gd name="connsiteX2892" fmla="*/ 2862 w 10785"/>
                  <a:gd name="connsiteY2892" fmla="*/ 7530 h 10000"/>
                  <a:gd name="connsiteX2893" fmla="*/ 2876 w 10785"/>
                  <a:gd name="connsiteY2893" fmla="*/ 7538 h 10000"/>
                  <a:gd name="connsiteX2894" fmla="*/ 2871 w 10785"/>
                  <a:gd name="connsiteY2894" fmla="*/ 7564 h 10000"/>
                  <a:gd name="connsiteX2895" fmla="*/ 2871 w 10785"/>
                  <a:gd name="connsiteY2895" fmla="*/ 7598 h 10000"/>
                  <a:gd name="connsiteX2896" fmla="*/ 2857 w 10785"/>
                  <a:gd name="connsiteY2896" fmla="*/ 7624 h 10000"/>
                  <a:gd name="connsiteX2897" fmla="*/ 2862 w 10785"/>
                  <a:gd name="connsiteY2897" fmla="*/ 7641 h 10000"/>
                  <a:gd name="connsiteX2898" fmla="*/ 2871 w 10785"/>
                  <a:gd name="connsiteY2898" fmla="*/ 7667 h 10000"/>
                  <a:gd name="connsiteX2899" fmla="*/ 2880 w 10785"/>
                  <a:gd name="connsiteY2899" fmla="*/ 7650 h 10000"/>
                  <a:gd name="connsiteX2900" fmla="*/ 2894 w 10785"/>
                  <a:gd name="connsiteY2900" fmla="*/ 7667 h 10000"/>
                  <a:gd name="connsiteX2901" fmla="*/ 2903 w 10785"/>
                  <a:gd name="connsiteY2901" fmla="*/ 7667 h 10000"/>
                  <a:gd name="connsiteX2902" fmla="*/ 2908 w 10785"/>
                  <a:gd name="connsiteY2902" fmla="*/ 7641 h 10000"/>
                  <a:gd name="connsiteX2903" fmla="*/ 2917 w 10785"/>
                  <a:gd name="connsiteY2903" fmla="*/ 7641 h 10000"/>
                  <a:gd name="connsiteX2904" fmla="*/ 2922 w 10785"/>
                  <a:gd name="connsiteY2904" fmla="*/ 7641 h 10000"/>
                  <a:gd name="connsiteX2905" fmla="*/ 2931 w 10785"/>
                  <a:gd name="connsiteY2905" fmla="*/ 7615 h 10000"/>
                  <a:gd name="connsiteX2906" fmla="*/ 2935 w 10785"/>
                  <a:gd name="connsiteY2906" fmla="*/ 7615 h 10000"/>
                  <a:gd name="connsiteX2907" fmla="*/ 2945 w 10785"/>
                  <a:gd name="connsiteY2907" fmla="*/ 7650 h 10000"/>
                  <a:gd name="connsiteX2908" fmla="*/ 2949 w 10785"/>
                  <a:gd name="connsiteY2908" fmla="*/ 7667 h 10000"/>
                  <a:gd name="connsiteX2909" fmla="*/ 2949 w 10785"/>
                  <a:gd name="connsiteY2909" fmla="*/ 7675 h 10000"/>
                  <a:gd name="connsiteX2910" fmla="*/ 2945 w 10785"/>
                  <a:gd name="connsiteY2910" fmla="*/ 7692 h 10000"/>
                  <a:gd name="connsiteX2911" fmla="*/ 2963 w 10785"/>
                  <a:gd name="connsiteY2911" fmla="*/ 7701 h 10000"/>
                  <a:gd name="connsiteX2912" fmla="*/ 2963 w 10785"/>
                  <a:gd name="connsiteY2912" fmla="*/ 7675 h 10000"/>
                  <a:gd name="connsiteX2913" fmla="*/ 2954 w 10785"/>
                  <a:gd name="connsiteY2913" fmla="*/ 7667 h 10000"/>
                  <a:gd name="connsiteX2914" fmla="*/ 2963 w 10785"/>
                  <a:gd name="connsiteY2914" fmla="*/ 7667 h 10000"/>
                  <a:gd name="connsiteX2915" fmla="*/ 2982 w 10785"/>
                  <a:gd name="connsiteY2915" fmla="*/ 7667 h 10000"/>
                  <a:gd name="connsiteX2916" fmla="*/ 2991 w 10785"/>
                  <a:gd name="connsiteY2916" fmla="*/ 7675 h 10000"/>
                  <a:gd name="connsiteX2917" fmla="*/ 2995 w 10785"/>
                  <a:gd name="connsiteY2917" fmla="*/ 7692 h 10000"/>
                  <a:gd name="connsiteX2918" fmla="*/ 3009 w 10785"/>
                  <a:gd name="connsiteY2918" fmla="*/ 7701 h 10000"/>
                  <a:gd name="connsiteX2919" fmla="*/ 3018 w 10785"/>
                  <a:gd name="connsiteY2919" fmla="*/ 7701 h 10000"/>
                  <a:gd name="connsiteX2920" fmla="*/ 3023 w 10785"/>
                  <a:gd name="connsiteY2920" fmla="*/ 7692 h 10000"/>
                  <a:gd name="connsiteX2921" fmla="*/ 3028 w 10785"/>
                  <a:gd name="connsiteY2921" fmla="*/ 7675 h 10000"/>
                  <a:gd name="connsiteX2922" fmla="*/ 3037 w 10785"/>
                  <a:gd name="connsiteY2922" fmla="*/ 7692 h 10000"/>
                  <a:gd name="connsiteX2923" fmla="*/ 3028 w 10785"/>
                  <a:gd name="connsiteY2923" fmla="*/ 7709 h 10000"/>
                  <a:gd name="connsiteX2924" fmla="*/ 3023 w 10785"/>
                  <a:gd name="connsiteY2924" fmla="*/ 7709 h 10000"/>
                  <a:gd name="connsiteX2925" fmla="*/ 3018 w 10785"/>
                  <a:gd name="connsiteY2925" fmla="*/ 7726 h 10000"/>
                  <a:gd name="connsiteX2926" fmla="*/ 3009 w 10785"/>
                  <a:gd name="connsiteY2926" fmla="*/ 7735 h 10000"/>
                  <a:gd name="connsiteX2927" fmla="*/ 3009 w 10785"/>
                  <a:gd name="connsiteY2927" fmla="*/ 7761 h 10000"/>
                  <a:gd name="connsiteX2928" fmla="*/ 3009 w 10785"/>
                  <a:gd name="connsiteY2928" fmla="*/ 7778 h 10000"/>
                  <a:gd name="connsiteX2929" fmla="*/ 3018 w 10785"/>
                  <a:gd name="connsiteY2929" fmla="*/ 7786 h 10000"/>
                  <a:gd name="connsiteX2930" fmla="*/ 3023 w 10785"/>
                  <a:gd name="connsiteY2930" fmla="*/ 7786 h 10000"/>
                  <a:gd name="connsiteX2931" fmla="*/ 3028 w 10785"/>
                  <a:gd name="connsiteY2931" fmla="*/ 7778 h 10000"/>
                  <a:gd name="connsiteX2932" fmla="*/ 3051 w 10785"/>
                  <a:gd name="connsiteY2932" fmla="*/ 7761 h 10000"/>
                  <a:gd name="connsiteX2933" fmla="*/ 3055 w 10785"/>
                  <a:gd name="connsiteY2933" fmla="*/ 7778 h 10000"/>
                  <a:gd name="connsiteX2934" fmla="*/ 3065 w 10785"/>
                  <a:gd name="connsiteY2934" fmla="*/ 7761 h 10000"/>
                  <a:gd name="connsiteX2935" fmla="*/ 3069 w 10785"/>
                  <a:gd name="connsiteY2935" fmla="*/ 7786 h 10000"/>
                  <a:gd name="connsiteX2936" fmla="*/ 3083 w 10785"/>
                  <a:gd name="connsiteY2936" fmla="*/ 7786 h 10000"/>
                  <a:gd name="connsiteX2937" fmla="*/ 3078 w 10785"/>
                  <a:gd name="connsiteY2937" fmla="*/ 7761 h 10000"/>
                  <a:gd name="connsiteX2938" fmla="*/ 3083 w 10785"/>
                  <a:gd name="connsiteY2938" fmla="*/ 7752 h 10000"/>
                  <a:gd name="connsiteX2939" fmla="*/ 3097 w 10785"/>
                  <a:gd name="connsiteY2939" fmla="*/ 7752 h 10000"/>
                  <a:gd name="connsiteX2940" fmla="*/ 3111 w 10785"/>
                  <a:gd name="connsiteY2940" fmla="*/ 7726 h 10000"/>
                  <a:gd name="connsiteX2941" fmla="*/ 3124 w 10785"/>
                  <a:gd name="connsiteY2941" fmla="*/ 7709 h 10000"/>
                  <a:gd name="connsiteX2942" fmla="*/ 3143 w 10785"/>
                  <a:gd name="connsiteY2942" fmla="*/ 7692 h 10000"/>
                  <a:gd name="connsiteX2943" fmla="*/ 3152 w 10785"/>
                  <a:gd name="connsiteY2943" fmla="*/ 7667 h 10000"/>
                  <a:gd name="connsiteX2944" fmla="*/ 3157 w 10785"/>
                  <a:gd name="connsiteY2944" fmla="*/ 7650 h 10000"/>
                  <a:gd name="connsiteX2945" fmla="*/ 3161 w 10785"/>
                  <a:gd name="connsiteY2945" fmla="*/ 7650 h 10000"/>
                  <a:gd name="connsiteX2946" fmla="*/ 3189 w 10785"/>
                  <a:gd name="connsiteY2946" fmla="*/ 7641 h 10000"/>
                  <a:gd name="connsiteX2947" fmla="*/ 3198 w 10785"/>
                  <a:gd name="connsiteY2947" fmla="*/ 7624 h 10000"/>
                  <a:gd name="connsiteX2948" fmla="*/ 3217 w 10785"/>
                  <a:gd name="connsiteY2948" fmla="*/ 7615 h 10000"/>
                  <a:gd name="connsiteX2949" fmla="*/ 3235 w 10785"/>
                  <a:gd name="connsiteY2949" fmla="*/ 7598 h 10000"/>
                  <a:gd name="connsiteX2950" fmla="*/ 3235 w 10785"/>
                  <a:gd name="connsiteY2950" fmla="*/ 7615 h 10000"/>
                  <a:gd name="connsiteX2951" fmla="*/ 3235 w 10785"/>
                  <a:gd name="connsiteY2951" fmla="*/ 7641 h 10000"/>
                  <a:gd name="connsiteX2952" fmla="*/ 3235 w 10785"/>
                  <a:gd name="connsiteY2952" fmla="*/ 7650 h 10000"/>
                  <a:gd name="connsiteX2953" fmla="*/ 3226 w 10785"/>
                  <a:gd name="connsiteY2953" fmla="*/ 7650 h 10000"/>
                  <a:gd name="connsiteX2954" fmla="*/ 3217 w 10785"/>
                  <a:gd name="connsiteY2954" fmla="*/ 7650 h 10000"/>
                  <a:gd name="connsiteX2955" fmla="*/ 3212 w 10785"/>
                  <a:gd name="connsiteY2955" fmla="*/ 7675 h 10000"/>
                  <a:gd name="connsiteX2956" fmla="*/ 3212 w 10785"/>
                  <a:gd name="connsiteY2956"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334 w 10785"/>
                  <a:gd name="connsiteY731" fmla="*/ 4810 h 10000"/>
                  <a:gd name="connsiteX732" fmla="*/ 10691 w 10785"/>
                  <a:gd name="connsiteY732" fmla="*/ 5255 h 10000"/>
                  <a:gd name="connsiteX733" fmla="*/ 10619 w 10785"/>
                  <a:gd name="connsiteY733" fmla="*/ 4708 h 10000"/>
                  <a:gd name="connsiteX734" fmla="*/ 10785 w 10785"/>
                  <a:gd name="connsiteY734" fmla="*/ 4708 h 10000"/>
                  <a:gd name="connsiteX735" fmla="*/ 10689 w 10785"/>
                  <a:gd name="connsiteY735" fmla="*/ 4467 h 10000"/>
                  <a:gd name="connsiteX736" fmla="*/ 10354 w 10785"/>
                  <a:gd name="connsiteY736" fmla="*/ 4302 h 10000"/>
                  <a:gd name="connsiteX737" fmla="*/ 9912 w 10785"/>
                  <a:gd name="connsiteY737" fmla="*/ 3675 h 10000"/>
                  <a:gd name="connsiteX738" fmla="*/ 9903 w 10785"/>
                  <a:gd name="connsiteY738" fmla="*/ 3667 h 10000"/>
                  <a:gd name="connsiteX739" fmla="*/ 9894 w 10785"/>
                  <a:gd name="connsiteY739" fmla="*/ 3641 h 10000"/>
                  <a:gd name="connsiteX740" fmla="*/ 9889 w 10785"/>
                  <a:gd name="connsiteY740" fmla="*/ 3650 h 10000"/>
                  <a:gd name="connsiteX741" fmla="*/ 9848 w 10785"/>
                  <a:gd name="connsiteY741" fmla="*/ 3598 h 10000"/>
                  <a:gd name="connsiteX742" fmla="*/ 9829 w 10785"/>
                  <a:gd name="connsiteY742" fmla="*/ 3581 h 10000"/>
                  <a:gd name="connsiteX743" fmla="*/ 9820 w 10785"/>
                  <a:gd name="connsiteY743" fmla="*/ 3581 h 10000"/>
                  <a:gd name="connsiteX744" fmla="*/ 9793 w 10785"/>
                  <a:gd name="connsiteY744" fmla="*/ 3556 h 10000"/>
                  <a:gd name="connsiteX745" fmla="*/ 9779 w 10785"/>
                  <a:gd name="connsiteY745" fmla="*/ 3556 h 10000"/>
                  <a:gd name="connsiteX746" fmla="*/ 9747 w 10785"/>
                  <a:gd name="connsiteY746" fmla="*/ 3487 h 10000"/>
                  <a:gd name="connsiteX747" fmla="*/ 9668 w 10785"/>
                  <a:gd name="connsiteY747" fmla="*/ 3479 h 10000"/>
                  <a:gd name="connsiteX748" fmla="*/ 9659 w 10785"/>
                  <a:gd name="connsiteY748" fmla="*/ 3487 h 10000"/>
                  <a:gd name="connsiteX749" fmla="*/ 9645 w 10785"/>
                  <a:gd name="connsiteY749" fmla="*/ 3504 h 10000"/>
                  <a:gd name="connsiteX750" fmla="*/ 9631 w 10785"/>
                  <a:gd name="connsiteY750" fmla="*/ 3487 h 10000"/>
                  <a:gd name="connsiteX751" fmla="*/ 9613 w 10785"/>
                  <a:gd name="connsiteY751" fmla="*/ 3479 h 10000"/>
                  <a:gd name="connsiteX752" fmla="*/ 9599 w 10785"/>
                  <a:gd name="connsiteY752" fmla="*/ 3479 h 10000"/>
                  <a:gd name="connsiteX753" fmla="*/ 9571 w 10785"/>
                  <a:gd name="connsiteY753" fmla="*/ 3479 h 10000"/>
                  <a:gd name="connsiteX754" fmla="*/ 9562 w 10785"/>
                  <a:gd name="connsiteY754" fmla="*/ 3487 h 10000"/>
                  <a:gd name="connsiteX755" fmla="*/ 9539 w 10785"/>
                  <a:gd name="connsiteY755" fmla="*/ 3487 h 10000"/>
                  <a:gd name="connsiteX756" fmla="*/ 9507 w 10785"/>
                  <a:gd name="connsiteY756" fmla="*/ 3453 h 10000"/>
                  <a:gd name="connsiteX757" fmla="*/ 9498 w 10785"/>
                  <a:gd name="connsiteY757" fmla="*/ 3453 h 10000"/>
                  <a:gd name="connsiteX758" fmla="*/ 9387 w 10785"/>
                  <a:gd name="connsiteY758" fmla="*/ 3419 h 10000"/>
                  <a:gd name="connsiteX759" fmla="*/ 9373 w 10785"/>
                  <a:gd name="connsiteY759" fmla="*/ 3427 h 10000"/>
                  <a:gd name="connsiteX760" fmla="*/ 9373 w 10785"/>
                  <a:gd name="connsiteY760" fmla="*/ 3462 h 10000"/>
                  <a:gd name="connsiteX761" fmla="*/ 9378 w 10785"/>
                  <a:gd name="connsiteY761" fmla="*/ 3479 h 10000"/>
                  <a:gd name="connsiteX762" fmla="*/ 9378 w 10785"/>
                  <a:gd name="connsiteY762" fmla="*/ 3530 h 10000"/>
                  <a:gd name="connsiteX763" fmla="*/ 9355 w 10785"/>
                  <a:gd name="connsiteY763" fmla="*/ 3538 h 10000"/>
                  <a:gd name="connsiteX764" fmla="*/ 9355 w 10785"/>
                  <a:gd name="connsiteY764" fmla="*/ 3581 h 10000"/>
                  <a:gd name="connsiteX765" fmla="*/ 9387 w 10785"/>
                  <a:gd name="connsiteY765" fmla="*/ 3590 h 10000"/>
                  <a:gd name="connsiteX766" fmla="*/ 9401 w 10785"/>
                  <a:gd name="connsiteY766" fmla="*/ 3667 h 10000"/>
                  <a:gd name="connsiteX767" fmla="*/ 9406 w 10785"/>
                  <a:gd name="connsiteY767" fmla="*/ 3675 h 10000"/>
                  <a:gd name="connsiteX768" fmla="*/ 9406 w 10785"/>
                  <a:gd name="connsiteY768" fmla="*/ 3701 h 10000"/>
                  <a:gd name="connsiteX769" fmla="*/ 9415 w 10785"/>
                  <a:gd name="connsiteY769" fmla="*/ 3752 h 10000"/>
                  <a:gd name="connsiteX770" fmla="*/ 9373 w 10785"/>
                  <a:gd name="connsiteY770" fmla="*/ 3838 h 10000"/>
                  <a:gd name="connsiteX771" fmla="*/ 9355 w 10785"/>
                  <a:gd name="connsiteY771" fmla="*/ 3863 h 10000"/>
                  <a:gd name="connsiteX772" fmla="*/ 9327 w 10785"/>
                  <a:gd name="connsiteY772" fmla="*/ 3863 h 10000"/>
                  <a:gd name="connsiteX773" fmla="*/ 9313 w 10785"/>
                  <a:gd name="connsiteY773" fmla="*/ 3846 h 10000"/>
                  <a:gd name="connsiteX774" fmla="*/ 9300 w 10785"/>
                  <a:gd name="connsiteY774" fmla="*/ 3778 h 10000"/>
                  <a:gd name="connsiteX775" fmla="*/ 9281 w 10785"/>
                  <a:gd name="connsiteY775" fmla="*/ 3752 h 10000"/>
                  <a:gd name="connsiteX776" fmla="*/ 9281 w 10785"/>
                  <a:gd name="connsiteY776" fmla="*/ 3735 h 10000"/>
                  <a:gd name="connsiteX777" fmla="*/ 9267 w 10785"/>
                  <a:gd name="connsiteY777" fmla="*/ 3726 h 10000"/>
                  <a:gd name="connsiteX778" fmla="*/ 9240 w 10785"/>
                  <a:gd name="connsiteY778" fmla="*/ 3726 h 10000"/>
                  <a:gd name="connsiteX779" fmla="*/ 9230 w 10785"/>
                  <a:gd name="connsiteY779" fmla="*/ 3718 h 10000"/>
                  <a:gd name="connsiteX780" fmla="*/ 9226 w 10785"/>
                  <a:gd name="connsiteY780" fmla="*/ 3590 h 10000"/>
                  <a:gd name="connsiteX781" fmla="*/ 9207 w 10785"/>
                  <a:gd name="connsiteY781" fmla="*/ 3581 h 10000"/>
                  <a:gd name="connsiteX782" fmla="*/ 9207 w 10785"/>
                  <a:gd name="connsiteY782" fmla="*/ 3556 h 10000"/>
                  <a:gd name="connsiteX783" fmla="*/ 9217 w 10785"/>
                  <a:gd name="connsiteY783" fmla="*/ 3538 h 10000"/>
                  <a:gd name="connsiteX784" fmla="*/ 9212 w 10785"/>
                  <a:gd name="connsiteY784" fmla="*/ 3538 h 10000"/>
                  <a:gd name="connsiteX785" fmla="*/ 9198 w 10785"/>
                  <a:gd name="connsiteY785" fmla="*/ 3513 h 10000"/>
                  <a:gd name="connsiteX786" fmla="*/ 9194 w 10785"/>
                  <a:gd name="connsiteY786" fmla="*/ 3530 h 10000"/>
                  <a:gd name="connsiteX787" fmla="*/ 9143 w 10785"/>
                  <a:gd name="connsiteY787" fmla="*/ 3615 h 10000"/>
                  <a:gd name="connsiteX788" fmla="*/ 9138 w 10785"/>
                  <a:gd name="connsiteY788" fmla="*/ 3615 h 10000"/>
                  <a:gd name="connsiteX789" fmla="*/ 9134 w 10785"/>
                  <a:gd name="connsiteY789" fmla="*/ 3615 h 10000"/>
                  <a:gd name="connsiteX790" fmla="*/ 9106 w 10785"/>
                  <a:gd name="connsiteY790" fmla="*/ 3615 h 10000"/>
                  <a:gd name="connsiteX791" fmla="*/ 9078 w 10785"/>
                  <a:gd name="connsiteY791" fmla="*/ 3590 h 10000"/>
                  <a:gd name="connsiteX792" fmla="*/ 9037 w 10785"/>
                  <a:gd name="connsiteY792" fmla="*/ 3581 h 10000"/>
                  <a:gd name="connsiteX793" fmla="*/ 9023 w 10785"/>
                  <a:gd name="connsiteY793" fmla="*/ 3590 h 10000"/>
                  <a:gd name="connsiteX794" fmla="*/ 9018 w 10785"/>
                  <a:gd name="connsiteY794" fmla="*/ 3590 h 10000"/>
                  <a:gd name="connsiteX795" fmla="*/ 9018 w 10785"/>
                  <a:gd name="connsiteY795" fmla="*/ 3590 h 10000"/>
                  <a:gd name="connsiteX796" fmla="*/ 8991 w 10785"/>
                  <a:gd name="connsiteY796" fmla="*/ 3590 h 10000"/>
                  <a:gd name="connsiteX797" fmla="*/ 8972 w 10785"/>
                  <a:gd name="connsiteY797" fmla="*/ 3581 h 10000"/>
                  <a:gd name="connsiteX798" fmla="*/ 8959 w 10785"/>
                  <a:gd name="connsiteY798" fmla="*/ 3513 h 10000"/>
                  <a:gd name="connsiteX799" fmla="*/ 8931 w 10785"/>
                  <a:gd name="connsiteY799" fmla="*/ 3538 h 10000"/>
                  <a:gd name="connsiteX800" fmla="*/ 8889 w 10785"/>
                  <a:gd name="connsiteY800" fmla="*/ 3538 h 10000"/>
                  <a:gd name="connsiteX801" fmla="*/ 8871 w 10785"/>
                  <a:gd name="connsiteY801" fmla="*/ 3556 h 10000"/>
                  <a:gd name="connsiteX802" fmla="*/ 8857 w 10785"/>
                  <a:gd name="connsiteY802" fmla="*/ 3538 h 10000"/>
                  <a:gd name="connsiteX803" fmla="*/ 8843 w 10785"/>
                  <a:gd name="connsiteY803" fmla="*/ 3538 h 10000"/>
                  <a:gd name="connsiteX804" fmla="*/ 8839 w 10785"/>
                  <a:gd name="connsiteY804" fmla="*/ 3556 h 10000"/>
                  <a:gd name="connsiteX805" fmla="*/ 8839 w 10785"/>
                  <a:gd name="connsiteY805" fmla="*/ 3581 h 10000"/>
                  <a:gd name="connsiteX806" fmla="*/ 8825 w 10785"/>
                  <a:gd name="connsiteY806" fmla="*/ 3564 h 10000"/>
                  <a:gd name="connsiteX807" fmla="*/ 8825 w 10785"/>
                  <a:gd name="connsiteY807" fmla="*/ 3615 h 10000"/>
                  <a:gd name="connsiteX808" fmla="*/ 8802 w 10785"/>
                  <a:gd name="connsiteY808" fmla="*/ 3598 h 10000"/>
                  <a:gd name="connsiteX809" fmla="*/ 8797 w 10785"/>
                  <a:gd name="connsiteY809" fmla="*/ 3641 h 10000"/>
                  <a:gd name="connsiteX810" fmla="*/ 8783 w 10785"/>
                  <a:gd name="connsiteY810" fmla="*/ 3667 h 10000"/>
                  <a:gd name="connsiteX811" fmla="*/ 8779 w 10785"/>
                  <a:gd name="connsiteY811" fmla="*/ 3650 h 10000"/>
                  <a:gd name="connsiteX812" fmla="*/ 8779 w 10785"/>
                  <a:gd name="connsiteY812" fmla="*/ 3615 h 10000"/>
                  <a:gd name="connsiteX813" fmla="*/ 8770 w 10785"/>
                  <a:gd name="connsiteY813" fmla="*/ 3590 h 10000"/>
                  <a:gd name="connsiteX814" fmla="*/ 8765 w 10785"/>
                  <a:gd name="connsiteY814" fmla="*/ 3598 h 10000"/>
                  <a:gd name="connsiteX815" fmla="*/ 8756 w 10785"/>
                  <a:gd name="connsiteY815" fmla="*/ 3590 h 10000"/>
                  <a:gd name="connsiteX816" fmla="*/ 8737 w 10785"/>
                  <a:gd name="connsiteY816" fmla="*/ 3556 h 10000"/>
                  <a:gd name="connsiteX817" fmla="*/ 8724 w 10785"/>
                  <a:gd name="connsiteY817" fmla="*/ 3538 h 10000"/>
                  <a:gd name="connsiteX818" fmla="*/ 8696 w 10785"/>
                  <a:gd name="connsiteY818" fmla="*/ 3538 h 10000"/>
                  <a:gd name="connsiteX819" fmla="*/ 8691 w 10785"/>
                  <a:gd name="connsiteY819" fmla="*/ 3513 h 10000"/>
                  <a:gd name="connsiteX820" fmla="*/ 8668 w 10785"/>
                  <a:gd name="connsiteY820" fmla="*/ 3504 h 10000"/>
                  <a:gd name="connsiteX821" fmla="*/ 8668 w 10785"/>
                  <a:gd name="connsiteY821" fmla="*/ 3487 h 10000"/>
                  <a:gd name="connsiteX822" fmla="*/ 8691 w 10785"/>
                  <a:gd name="connsiteY822" fmla="*/ 3350 h 10000"/>
                  <a:gd name="connsiteX823" fmla="*/ 8691 w 10785"/>
                  <a:gd name="connsiteY823" fmla="*/ 3291 h 10000"/>
                  <a:gd name="connsiteX824" fmla="*/ 8677 w 10785"/>
                  <a:gd name="connsiteY824" fmla="*/ 3239 h 10000"/>
                  <a:gd name="connsiteX825" fmla="*/ 8677 w 10785"/>
                  <a:gd name="connsiteY825" fmla="*/ 3231 h 10000"/>
                  <a:gd name="connsiteX826" fmla="*/ 8636 w 10785"/>
                  <a:gd name="connsiteY826" fmla="*/ 3128 h 10000"/>
                  <a:gd name="connsiteX827" fmla="*/ 8622 w 10785"/>
                  <a:gd name="connsiteY827" fmla="*/ 3120 h 10000"/>
                  <a:gd name="connsiteX828" fmla="*/ 8618 w 10785"/>
                  <a:gd name="connsiteY828" fmla="*/ 3094 h 10000"/>
                  <a:gd name="connsiteX829" fmla="*/ 8594 w 10785"/>
                  <a:gd name="connsiteY829" fmla="*/ 3077 h 10000"/>
                  <a:gd name="connsiteX830" fmla="*/ 8548 w 10785"/>
                  <a:gd name="connsiteY830" fmla="*/ 3077 h 10000"/>
                  <a:gd name="connsiteX831" fmla="*/ 8535 w 10785"/>
                  <a:gd name="connsiteY831" fmla="*/ 3068 h 10000"/>
                  <a:gd name="connsiteX832" fmla="*/ 8429 w 10785"/>
                  <a:gd name="connsiteY832" fmla="*/ 3077 h 10000"/>
                  <a:gd name="connsiteX833" fmla="*/ 8424 w 10785"/>
                  <a:gd name="connsiteY833" fmla="*/ 3077 h 10000"/>
                  <a:gd name="connsiteX834" fmla="*/ 8396 w 10785"/>
                  <a:gd name="connsiteY834" fmla="*/ 3077 h 10000"/>
                  <a:gd name="connsiteX835" fmla="*/ 8387 w 10785"/>
                  <a:gd name="connsiteY835" fmla="*/ 3094 h 10000"/>
                  <a:gd name="connsiteX836" fmla="*/ 8378 w 10785"/>
                  <a:gd name="connsiteY836" fmla="*/ 3094 h 10000"/>
                  <a:gd name="connsiteX837" fmla="*/ 8341 w 10785"/>
                  <a:gd name="connsiteY837" fmla="*/ 3077 h 10000"/>
                  <a:gd name="connsiteX838" fmla="*/ 8336 w 10785"/>
                  <a:gd name="connsiteY838" fmla="*/ 3077 h 10000"/>
                  <a:gd name="connsiteX839" fmla="*/ 8327 w 10785"/>
                  <a:gd name="connsiteY839" fmla="*/ 3103 h 10000"/>
                  <a:gd name="connsiteX840" fmla="*/ 8309 w 10785"/>
                  <a:gd name="connsiteY840" fmla="*/ 3120 h 10000"/>
                  <a:gd name="connsiteX841" fmla="*/ 8304 w 10785"/>
                  <a:gd name="connsiteY841" fmla="*/ 3103 h 10000"/>
                  <a:gd name="connsiteX842" fmla="*/ 8276 w 10785"/>
                  <a:gd name="connsiteY842" fmla="*/ 3103 h 10000"/>
                  <a:gd name="connsiteX843" fmla="*/ 8267 w 10785"/>
                  <a:gd name="connsiteY843" fmla="*/ 3120 h 10000"/>
                  <a:gd name="connsiteX844" fmla="*/ 8253 w 10785"/>
                  <a:gd name="connsiteY844" fmla="*/ 3103 h 10000"/>
                  <a:gd name="connsiteX845" fmla="*/ 8230 w 10785"/>
                  <a:gd name="connsiteY845" fmla="*/ 3128 h 10000"/>
                  <a:gd name="connsiteX846" fmla="*/ 8217 w 10785"/>
                  <a:gd name="connsiteY846" fmla="*/ 3128 h 10000"/>
                  <a:gd name="connsiteX847" fmla="*/ 8203 w 10785"/>
                  <a:gd name="connsiteY847" fmla="*/ 3154 h 10000"/>
                  <a:gd name="connsiteX848" fmla="*/ 8175 w 10785"/>
                  <a:gd name="connsiteY848" fmla="*/ 3094 h 10000"/>
                  <a:gd name="connsiteX849" fmla="*/ 8161 w 10785"/>
                  <a:gd name="connsiteY849" fmla="*/ 3094 h 10000"/>
                  <a:gd name="connsiteX850" fmla="*/ 8157 w 10785"/>
                  <a:gd name="connsiteY850" fmla="*/ 3077 h 10000"/>
                  <a:gd name="connsiteX851" fmla="*/ 8180 w 10785"/>
                  <a:gd name="connsiteY851" fmla="*/ 3068 h 10000"/>
                  <a:gd name="connsiteX852" fmla="*/ 8189 w 10785"/>
                  <a:gd name="connsiteY852" fmla="*/ 3043 h 10000"/>
                  <a:gd name="connsiteX853" fmla="*/ 8189 w 10785"/>
                  <a:gd name="connsiteY853" fmla="*/ 3017 h 10000"/>
                  <a:gd name="connsiteX854" fmla="*/ 8147 w 10785"/>
                  <a:gd name="connsiteY854" fmla="*/ 2940 h 10000"/>
                  <a:gd name="connsiteX855" fmla="*/ 8143 w 10785"/>
                  <a:gd name="connsiteY855" fmla="*/ 2915 h 10000"/>
                  <a:gd name="connsiteX856" fmla="*/ 8143 w 10785"/>
                  <a:gd name="connsiteY856" fmla="*/ 2906 h 10000"/>
                  <a:gd name="connsiteX857" fmla="*/ 8097 w 10785"/>
                  <a:gd name="connsiteY857" fmla="*/ 2932 h 10000"/>
                  <a:gd name="connsiteX858" fmla="*/ 8083 w 10785"/>
                  <a:gd name="connsiteY858" fmla="*/ 2932 h 10000"/>
                  <a:gd name="connsiteX859" fmla="*/ 8074 w 10785"/>
                  <a:gd name="connsiteY859" fmla="*/ 2906 h 10000"/>
                  <a:gd name="connsiteX860" fmla="*/ 8074 w 10785"/>
                  <a:gd name="connsiteY860" fmla="*/ 2897 h 10000"/>
                  <a:gd name="connsiteX861" fmla="*/ 8055 w 10785"/>
                  <a:gd name="connsiteY861" fmla="*/ 2872 h 10000"/>
                  <a:gd name="connsiteX862" fmla="*/ 8046 w 10785"/>
                  <a:gd name="connsiteY862" fmla="*/ 2829 h 10000"/>
                  <a:gd name="connsiteX863" fmla="*/ 8041 w 10785"/>
                  <a:gd name="connsiteY863" fmla="*/ 2829 h 10000"/>
                  <a:gd name="connsiteX864" fmla="*/ 8023 w 10785"/>
                  <a:gd name="connsiteY864" fmla="*/ 2803 h 10000"/>
                  <a:gd name="connsiteX865" fmla="*/ 8014 w 10785"/>
                  <a:gd name="connsiteY865" fmla="*/ 2829 h 10000"/>
                  <a:gd name="connsiteX866" fmla="*/ 8000 w 10785"/>
                  <a:gd name="connsiteY866" fmla="*/ 2829 h 10000"/>
                  <a:gd name="connsiteX867" fmla="*/ 7995 w 10785"/>
                  <a:gd name="connsiteY867" fmla="*/ 2821 h 10000"/>
                  <a:gd name="connsiteX868" fmla="*/ 7972 w 10785"/>
                  <a:gd name="connsiteY868" fmla="*/ 2803 h 10000"/>
                  <a:gd name="connsiteX869" fmla="*/ 7968 w 10785"/>
                  <a:gd name="connsiteY869" fmla="*/ 2821 h 10000"/>
                  <a:gd name="connsiteX870" fmla="*/ 7968 w 10785"/>
                  <a:gd name="connsiteY870" fmla="*/ 2803 h 10000"/>
                  <a:gd name="connsiteX871" fmla="*/ 7995 w 10785"/>
                  <a:gd name="connsiteY871" fmla="*/ 2735 h 10000"/>
                  <a:gd name="connsiteX872" fmla="*/ 8000 w 10785"/>
                  <a:gd name="connsiteY872" fmla="*/ 2735 h 10000"/>
                  <a:gd name="connsiteX873" fmla="*/ 8014 w 10785"/>
                  <a:gd name="connsiteY873" fmla="*/ 2744 h 10000"/>
                  <a:gd name="connsiteX874" fmla="*/ 8023 w 10785"/>
                  <a:gd name="connsiteY874" fmla="*/ 2769 h 10000"/>
                  <a:gd name="connsiteX875" fmla="*/ 8032 w 10785"/>
                  <a:gd name="connsiteY875" fmla="*/ 2744 h 10000"/>
                  <a:gd name="connsiteX876" fmla="*/ 8032 w 10785"/>
                  <a:gd name="connsiteY876" fmla="*/ 2709 h 10000"/>
                  <a:gd name="connsiteX877" fmla="*/ 8023 w 10785"/>
                  <a:gd name="connsiteY877" fmla="*/ 2632 h 10000"/>
                  <a:gd name="connsiteX878" fmla="*/ 7986 w 10785"/>
                  <a:gd name="connsiteY878" fmla="*/ 2581 h 10000"/>
                  <a:gd name="connsiteX879" fmla="*/ 7968 w 10785"/>
                  <a:gd name="connsiteY879" fmla="*/ 2581 h 10000"/>
                  <a:gd name="connsiteX880" fmla="*/ 7963 w 10785"/>
                  <a:gd name="connsiteY880" fmla="*/ 2556 h 10000"/>
                  <a:gd name="connsiteX881" fmla="*/ 7935 w 10785"/>
                  <a:gd name="connsiteY881" fmla="*/ 2547 h 10000"/>
                  <a:gd name="connsiteX882" fmla="*/ 7912 w 10785"/>
                  <a:gd name="connsiteY882" fmla="*/ 2547 h 10000"/>
                  <a:gd name="connsiteX883" fmla="*/ 7912 w 10785"/>
                  <a:gd name="connsiteY883" fmla="*/ 2556 h 10000"/>
                  <a:gd name="connsiteX884" fmla="*/ 7908 w 10785"/>
                  <a:gd name="connsiteY884" fmla="*/ 2547 h 10000"/>
                  <a:gd name="connsiteX885" fmla="*/ 7862 w 10785"/>
                  <a:gd name="connsiteY885" fmla="*/ 2547 h 10000"/>
                  <a:gd name="connsiteX886" fmla="*/ 7848 w 10785"/>
                  <a:gd name="connsiteY886" fmla="*/ 2556 h 10000"/>
                  <a:gd name="connsiteX887" fmla="*/ 7820 w 10785"/>
                  <a:gd name="connsiteY887" fmla="*/ 2547 h 10000"/>
                  <a:gd name="connsiteX888" fmla="*/ 7806 w 10785"/>
                  <a:gd name="connsiteY888" fmla="*/ 2513 h 10000"/>
                  <a:gd name="connsiteX889" fmla="*/ 7788 w 10785"/>
                  <a:gd name="connsiteY889" fmla="*/ 2513 h 10000"/>
                  <a:gd name="connsiteX890" fmla="*/ 7760 w 10785"/>
                  <a:gd name="connsiteY890" fmla="*/ 2470 h 10000"/>
                  <a:gd name="connsiteX891" fmla="*/ 7751 w 10785"/>
                  <a:gd name="connsiteY891" fmla="*/ 2470 h 10000"/>
                  <a:gd name="connsiteX892" fmla="*/ 7705 w 10785"/>
                  <a:gd name="connsiteY892" fmla="*/ 2462 h 10000"/>
                  <a:gd name="connsiteX893" fmla="*/ 7673 w 10785"/>
                  <a:gd name="connsiteY893" fmla="*/ 2419 h 10000"/>
                  <a:gd name="connsiteX894" fmla="*/ 7627 w 10785"/>
                  <a:gd name="connsiteY894" fmla="*/ 2419 h 10000"/>
                  <a:gd name="connsiteX895" fmla="*/ 7613 w 10785"/>
                  <a:gd name="connsiteY895" fmla="*/ 2410 h 10000"/>
                  <a:gd name="connsiteX896" fmla="*/ 7493 w 10785"/>
                  <a:gd name="connsiteY896" fmla="*/ 2393 h 10000"/>
                  <a:gd name="connsiteX897" fmla="*/ 7479 w 10785"/>
                  <a:gd name="connsiteY897" fmla="*/ 2385 h 10000"/>
                  <a:gd name="connsiteX898" fmla="*/ 7479 w 10785"/>
                  <a:gd name="connsiteY898" fmla="*/ 2376 h 10000"/>
                  <a:gd name="connsiteX899" fmla="*/ 7465 w 10785"/>
                  <a:gd name="connsiteY899" fmla="*/ 2359 h 10000"/>
                  <a:gd name="connsiteX900" fmla="*/ 7447 w 10785"/>
                  <a:gd name="connsiteY900" fmla="*/ 2350 h 10000"/>
                  <a:gd name="connsiteX901" fmla="*/ 7433 w 10785"/>
                  <a:gd name="connsiteY901" fmla="*/ 2376 h 10000"/>
                  <a:gd name="connsiteX902" fmla="*/ 7433 w 10785"/>
                  <a:gd name="connsiteY902" fmla="*/ 2385 h 10000"/>
                  <a:gd name="connsiteX903" fmla="*/ 7447 w 10785"/>
                  <a:gd name="connsiteY903" fmla="*/ 2410 h 10000"/>
                  <a:gd name="connsiteX904" fmla="*/ 7447 w 10785"/>
                  <a:gd name="connsiteY904" fmla="*/ 2436 h 10000"/>
                  <a:gd name="connsiteX905" fmla="*/ 7452 w 10785"/>
                  <a:gd name="connsiteY905" fmla="*/ 2462 h 10000"/>
                  <a:gd name="connsiteX906" fmla="*/ 7447 w 10785"/>
                  <a:gd name="connsiteY906" fmla="*/ 2470 h 10000"/>
                  <a:gd name="connsiteX907" fmla="*/ 7424 w 10785"/>
                  <a:gd name="connsiteY907" fmla="*/ 2513 h 10000"/>
                  <a:gd name="connsiteX908" fmla="*/ 7419 w 10785"/>
                  <a:gd name="connsiteY908" fmla="*/ 2556 h 10000"/>
                  <a:gd name="connsiteX909" fmla="*/ 7406 w 10785"/>
                  <a:gd name="connsiteY909" fmla="*/ 2624 h 10000"/>
                  <a:gd name="connsiteX910" fmla="*/ 7392 w 10785"/>
                  <a:gd name="connsiteY910" fmla="*/ 2624 h 10000"/>
                  <a:gd name="connsiteX911" fmla="*/ 7373 w 10785"/>
                  <a:gd name="connsiteY911" fmla="*/ 2650 h 10000"/>
                  <a:gd name="connsiteX912" fmla="*/ 7364 w 10785"/>
                  <a:gd name="connsiteY912" fmla="*/ 2684 h 10000"/>
                  <a:gd name="connsiteX913" fmla="*/ 7364 w 10785"/>
                  <a:gd name="connsiteY913" fmla="*/ 2692 h 10000"/>
                  <a:gd name="connsiteX914" fmla="*/ 7373 w 10785"/>
                  <a:gd name="connsiteY914" fmla="*/ 2718 h 10000"/>
                  <a:gd name="connsiteX915" fmla="*/ 7373 w 10785"/>
                  <a:gd name="connsiteY915" fmla="*/ 2744 h 10000"/>
                  <a:gd name="connsiteX916" fmla="*/ 7359 w 10785"/>
                  <a:gd name="connsiteY916" fmla="*/ 2744 h 10000"/>
                  <a:gd name="connsiteX917" fmla="*/ 7359 w 10785"/>
                  <a:gd name="connsiteY917" fmla="*/ 2795 h 10000"/>
                  <a:gd name="connsiteX918" fmla="*/ 7364 w 10785"/>
                  <a:gd name="connsiteY918" fmla="*/ 2821 h 10000"/>
                  <a:gd name="connsiteX919" fmla="*/ 7378 w 10785"/>
                  <a:gd name="connsiteY919" fmla="*/ 2846 h 10000"/>
                  <a:gd name="connsiteX920" fmla="*/ 7378 w 10785"/>
                  <a:gd name="connsiteY920" fmla="*/ 2855 h 10000"/>
                  <a:gd name="connsiteX921" fmla="*/ 7378 w 10785"/>
                  <a:gd name="connsiteY921" fmla="*/ 2880 h 10000"/>
                  <a:gd name="connsiteX922" fmla="*/ 7378 w 10785"/>
                  <a:gd name="connsiteY922" fmla="*/ 2906 h 10000"/>
                  <a:gd name="connsiteX923" fmla="*/ 7364 w 10785"/>
                  <a:gd name="connsiteY923" fmla="*/ 2906 h 10000"/>
                  <a:gd name="connsiteX924" fmla="*/ 7346 w 10785"/>
                  <a:gd name="connsiteY924" fmla="*/ 2880 h 10000"/>
                  <a:gd name="connsiteX925" fmla="*/ 7332 w 10785"/>
                  <a:gd name="connsiteY925" fmla="*/ 2915 h 10000"/>
                  <a:gd name="connsiteX926" fmla="*/ 7318 w 10785"/>
                  <a:gd name="connsiteY926" fmla="*/ 2906 h 10000"/>
                  <a:gd name="connsiteX927" fmla="*/ 7313 w 10785"/>
                  <a:gd name="connsiteY927" fmla="*/ 2915 h 10000"/>
                  <a:gd name="connsiteX928" fmla="*/ 7313 w 10785"/>
                  <a:gd name="connsiteY928" fmla="*/ 2906 h 10000"/>
                  <a:gd name="connsiteX929" fmla="*/ 7286 w 10785"/>
                  <a:gd name="connsiteY929" fmla="*/ 2940 h 10000"/>
                  <a:gd name="connsiteX930" fmla="*/ 7276 w 10785"/>
                  <a:gd name="connsiteY930" fmla="*/ 2966 h 10000"/>
                  <a:gd name="connsiteX931" fmla="*/ 7272 w 10785"/>
                  <a:gd name="connsiteY931" fmla="*/ 2983 h 10000"/>
                  <a:gd name="connsiteX932" fmla="*/ 7267 w 10785"/>
                  <a:gd name="connsiteY932" fmla="*/ 3009 h 10000"/>
                  <a:gd name="connsiteX933" fmla="*/ 7253 w 10785"/>
                  <a:gd name="connsiteY933" fmla="*/ 3009 h 10000"/>
                  <a:gd name="connsiteX934" fmla="*/ 7244 w 10785"/>
                  <a:gd name="connsiteY934" fmla="*/ 3017 h 10000"/>
                  <a:gd name="connsiteX935" fmla="*/ 7240 w 10785"/>
                  <a:gd name="connsiteY935" fmla="*/ 3009 h 10000"/>
                  <a:gd name="connsiteX936" fmla="*/ 7230 w 10785"/>
                  <a:gd name="connsiteY936" fmla="*/ 2991 h 10000"/>
                  <a:gd name="connsiteX937" fmla="*/ 7226 w 10785"/>
                  <a:gd name="connsiteY937" fmla="*/ 2983 h 10000"/>
                  <a:gd name="connsiteX938" fmla="*/ 7226 w 10785"/>
                  <a:gd name="connsiteY938" fmla="*/ 2966 h 10000"/>
                  <a:gd name="connsiteX939" fmla="*/ 7212 w 10785"/>
                  <a:gd name="connsiteY939" fmla="*/ 2957 h 10000"/>
                  <a:gd name="connsiteX940" fmla="*/ 7212 w 10785"/>
                  <a:gd name="connsiteY940" fmla="*/ 2932 h 10000"/>
                  <a:gd name="connsiteX941" fmla="*/ 7198 w 10785"/>
                  <a:gd name="connsiteY941" fmla="*/ 2915 h 10000"/>
                  <a:gd name="connsiteX942" fmla="*/ 7194 w 10785"/>
                  <a:gd name="connsiteY942" fmla="*/ 2915 h 10000"/>
                  <a:gd name="connsiteX943" fmla="*/ 7157 w 10785"/>
                  <a:gd name="connsiteY943" fmla="*/ 2880 h 10000"/>
                  <a:gd name="connsiteX944" fmla="*/ 7138 w 10785"/>
                  <a:gd name="connsiteY944" fmla="*/ 2880 h 10000"/>
                  <a:gd name="connsiteX945" fmla="*/ 7120 w 10785"/>
                  <a:gd name="connsiteY945" fmla="*/ 2872 h 10000"/>
                  <a:gd name="connsiteX946" fmla="*/ 7111 w 10785"/>
                  <a:gd name="connsiteY946" fmla="*/ 2846 h 10000"/>
                  <a:gd name="connsiteX947" fmla="*/ 7106 w 10785"/>
                  <a:gd name="connsiteY947" fmla="*/ 2846 h 10000"/>
                  <a:gd name="connsiteX948" fmla="*/ 7092 w 10785"/>
                  <a:gd name="connsiteY948" fmla="*/ 2829 h 10000"/>
                  <a:gd name="connsiteX949" fmla="*/ 7051 w 10785"/>
                  <a:gd name="connsiteY949" fmla="*/ 2829 h 10000"/>
                  <a:gd name="connsiteX950" fmla="*/ 7037 w 10785"/>
                  <a:gd name="connsiteY950" fmla="*/ 2880 h 10000"/>
                  <a:gd name="connsiteX951" fmla="*/ 7037 w 10785"/>
                  <a:gd name="connsiteY951" fmla="*/ 2906 h 10000"/>
                  <a:gd name="connsiteX952" fmla="*/ 7037 w 10785"/>
                  <a:gd name="connsiteY952" fmla="*/ 2932 h 10000"/>
                  <a:gd name="connsiteX953" fmla="*/ 7037 w 10785"/>
                  <a:gd name="connsiteY953" fmla="*/ 2940 h 10000"/>
                  <a:gd name="connsiteX954" fmla="*/ 7023 w 10785"/>
                  <a:gd name="connsiteY954" fmla="*/ 2906 h 10000"/>
                  <a:gd name="connsiteX955" fmla="*/ 7023 w 10785"/>
                  <a:gd name="connsiteY955" fmla="*/ 2915 h 10000"/>
                  <a:gd name="connsiteX956" fmla="*/ 6991 w 10785"/>
                  <a:gd name="connsiteY956" fmla="*/ 2906 h 10000"/>
                  <a:gd name="connsiteX957" fmla="*/ 6977 w 10785"/>
                  <a:gd name="connsiteY957" fmla="*/ 2915 h 10000"/>
                  <a:gd name="connsiteX958" fmla="*/ 6963 w 10785"/>
                  <a:gd name="connsiteY958" fmla="*/ 2915 h 10000"/>
                  <a:gd name="connsiteX959" fmla="*/ 6949 w 10785"/>
                  <a:gd name="connsiteY959" fmla="*/ 2872 h 10000"/>
                  <a:gd name="connsiteX960" fmla="*/ 6935 w 10785"/>
                  <a:gd name="connsiteY960" fmla="*/ 2855 h 10000"/>
                  <a:gd name="connsiteX961" fmla="*/ 6922 w 10785"/>
                  <a:gd name="connsiteY961" fmla="*/ 2803 h 10000"/>
                  <a:gd name="connsiteX962" fmla="*/ 6917 w 10785"/>
                  <a:gd name="connsiteY962" fmla="*/ 2786 h 10000"/>
                  <a:gd name="connsiteX963" fmla="*/ 6903 w 10785"/>
                  <a:gd name="connsiteY963" fmla="*/ 2709 h 10000"/>
                  <a:gd name="connsiteX964" fmla="*/ 6903 w 10785"/>
                  <a:gd name="connsiteY964" fmla="*/ 2692 h 10000"/>
                  <a:gd name="connsiteX965" fmla="*/ 6899 w 10785"/>
                  <a:gd name="connsiteY965" fmla="*/ 2709 h 10000"/>
                  <a:gd name="connsiteX966" fmla="*/ 6857 w 10785"/>
                  <a:gd name="connsiteY966" fmla="*/ 2872 h 10000"/>
                  <a:gd name="connsiteX967" fmla="*/ 6857 w 10785"/>
                  <a:gd name="connsiteY967" fmla="*/ 3009 h 10000"/>
                  <a:gd name="connsiteX968" fmla="*/ 6848 w 10785"/>
                  <a:gd name="connsiteY968" fmla="*/ 3017 h 10000"/>
                  <a:gd name="connsiteX969" fmla="*/ 6839 w 10785"/>
                  <a:gd name="connsiteY969" fmla="*/ 3068 h 10000"/>
                  <a:gd name="connsiteX970" fmla="*/ 6829 w 10785"/>
                  <a:gd name="connsiteY970" fmla="*/ 3077 h 10000"/>
                  <a:gd name="connsiteX971" fmla="*/ 6829 w 10785"/>
                  <a:gd name="connsiteY971" fmla="*/ 3128 h 10000"/>
                  <a:gd name="connsiteX972" fmla="*/ 6816 w 10785"/>
                  <a:gd name="connsiteY972" fmla="*/ 3154 h 10000"/>
                  <a:gd name="connsiteX973" fmla="*/ 6811 w 10785"/>
                  <a:gd name="connsiteY973" fmla="*/ 3179 h 10000"/>
                  <a:gd name="connsiteX974" fmla="*/ 6797 w 10785"/>
                  <a:gd name="connsiteY974" fmla="*/ 3171 h 10000"/>
                  <a:gd name="connsiteX975" fmla="*/ 6783 w 10785"/>
                  <a:gd name="connsiteY975" fmla="*/ 3103 h 10000"/>
                  <a:gd name="connsiteX976" fmla="*/ 6779 w 10785"/>
                  <a:gd name="connsiteY976" fmla="*/ 3094 h 10000"/>
                  <a:gd name="connsiteX977" fmla="*/ 6779 w 10785"/>
                  <a:gd name="connsiteY977" fmla="*/ 3120 h 10000"/>
                  <a:gd name="connsiteX978" fmla="*/ 6770 w 10785"/>
                  <a:gd name="connsiteY978" fmla="*/ 3128 h 10000"/>
                  <a:gd name="connsiteX979" fmla="*/ 6765 w 10785"/>
                  <a:gd name="connsiteY979" fmla="*/ 3103 h 10000"/>
                  <a:gd name="connsiteX980" fmla="*/ 6756 w 10785"/>
                  <a:gd name="connsiteY980" fmla="*/ 3103 h 10000"/>
                  <a:gd name="connsiteX981" fmla="*/ 6742 w 10785"/>
                  <a:gd name="connsiteY981" fmla="*/ 3103 h 10000"/>
                  <a:gd name="connsiteX982" fmla="*/ 6737 w 10785"/>
                  <a:gd name="connsiteY982" fmla="*/ 3077 h 10000"/>
                  <a:gd name="connsiteX983" fmla="*/ 6737 w 10785"/>
                  <a:gd name="connsiteY983" fmla="*/ 3068 h 10000"/>
                  <a:gd name="connsiteX984" fmla="*/ 6728 w 10785"/>
                  <a:gd name="connsiteY984" fmla="*/ 3043 h 10000"/>
                  <a:gd name="connsiteX985" fmla="*/ 6724 w 10785"/>
                  <a:gd name="connsiteY985" fmla="*/ 3051 h 10000"/>
                  <a:gd name="connsiteX986" fmla="*/ 6714 w 10785"/>
                  <a:gd name="connsiteY986" fmla="*/ 3043 h 10000"/>
                  <a:gd name="connsiteX987" fmla="*/ 6710 w 10785"/>
                  <a:gd name="connsiteY987" fmla="*/ 3034 h 10000"/>
                  <a:gd name="connsiteX988" fmla="*/ 6705 w 10785"/>
                  <a:gd name="connsiteY988" fmla="*/ 2983 h 10000"/>
                  <a:gd name="connsiteX989" fmla="*/ 6696 w 10785"/>
                  <a:gd name="connsiteY989" fmla="*/ 2966 h 10000"/>
                  <a:gd name="connsiteX990" fmla="*/ 6691 w 10785"/>
                  <a:gd name="connsiteY990" fmla="*/ 2983 h 10000"/>
                  <a:gd name="connsiteX991" fmla="*/ 6677 w 10785"/>
                  <a:gd name="connsiteY991" fmla="*/ 2897 h 10000"/>
                  <a:gd name="connsiteX992" fmla="*/ 6677 w 10785"/>
                  <a:gd name="connsiteY992" fmla="*/ 2897 h 10000"/>
                  <a:gd name="connsiteX993" fmla="*/ 6677 w 10785"/>
                  <a:gd name="connsiteY993" fmla="*/ 2872 h 10000"/>
                  <a:gd name="connsiteX994" fmla="*/ 6668 w 10785"/>
                  <a:gd name="connsiteY994" fmla="*/ 2821 h 10000"/>
                  <a:gd name="connsiteX995" fmla="*/ 6664 w 10785"/>
                  <a:gd name="connsiteY995" fmla="*/ 2829 h 10000"/>
                  <a:gd name="connsiteX996" fmla="*/ 6654 w 10785"/>
                  <a:gd name="connsiteY996" fmla="*/ 2846 h 10000"/>
                  <a:gd name="connsiteX997" fmla="*/ 6650 w 10785"/>
                  <a:gd name="connsiteY997" fmla="*/ 2829 h 10000"/>
                  <a:gd name="connsiteX998" fmla="*/ 6650 w 10785"/>
                  <a:gd name="connsiteY998" fmla="*/ 2803 h 10000"/>
                  <a:gd name="connsiteX999" fmla="*/ 6650 w 10785"/>
                  <a:gd name="connsiteY999" fmla="*/ 2795 h 10000"/>
                  <a:gd name="connsiteX1000" fmla="*/ 6641 w 10785"/>
                  <a:gd name="connsiteY1000" fmla="*/ 2786 h 10000"/>
                  <a:gd name="connsiteX1001" fmla="*/ 6636 w 10785"/>
                  <a:gd name="connsiteY1001" fmla="*/ 2735 h 10000"/>
                  <a:gd name="connsiteX1002" fmla="*/ 6664 w 10785"/>
                  <a:gd name="connsiteY1002" fmla="*/ 2667 h 10000"/>
                  <a:gd name="connsiteX1003" fmla="*/ 6668 w 10785"/>
                  <a:gd name="connsiteY1003" fmla="*/ 2684 h 10000"/>
                  <a:gd name="connsiteX1004" fmla="*/ 6677 w 10785"/>
                  <a:gd name="connsiteY1004" fmla="*/ 2667 h 10000"/>
                  <a:gd name="connsiteX1005" fmla="*/ 6668 w 10785"/>
                  <a:gd name="connsiteY1005" fmla="*/ 2667 h 10000"/>
                  <a:gd name="connsiteX1006" fmla="*/ 6668 w 10785"/>
                  <a:gd name="connsiteY1006" fmla="*/ 2650 h 10000"/>
                  <a:gd name="connsiteX1007" fmla="*/ 6682 w 10785"/>
                  <a:gd name="connsiteY1007" fmla="*/ 2650 h 10000"/>
                  <a:gd name="connsiteX1008" fmla="*/ 6691 w 10785"/>
                  <a:gd name="connsiteY1008" fmla="*/ 2624 h 10000"/>
                  <a:gd name="connsiteX1009" fmla="*/ 6682 w 10785"/>
                  <a:gd name="connsiteY1009" fmla="*/ 2632 h 10000"/>
                  <a:gd name="connsiteX1010" fmla="*/ 6682 w 10785"/>
                  <a:gd name="connsiteY1010" fmla="*/ 2624 h 10000"/>
                  <a:gd name="connsiteX1011" fmla="*/ 6691 w 10785"/>
                  <a:gd name="connsiteY1011" fmla="*/ 2607 h 10000"/>
                  <a:gd name="connsiteX1012" fmla="*/ 6691 w 10785"/>
                  <a:gd name="connsiteY1012" fmla="*/ 2598 h 10000"/>
                  <a:gd name="connsiteX1013" fmla="*/ 6691 w 10785"/>
                  <a:gd name="connsiteY1013" fmla="*/ 2581 h 10000"/>
                  <a:gd name="connsiteX1014" fmla="*/ 6696 w 10785"/>
                  <a:gd name="connsiteY1014" fmla="*/ 2530 h 10000"/>
                  <a:gd name="connsiteX1015" fmla="*/ 6677 w 10785"/>
                  <a:gd name="connsiteY1015" fmla="*/ 2513 h 10000"/>
                  <a:gd name="connsiteX1016" fmla="*/ 6677 w 10785"/>
                  <a:gd name="connsiteY1016" fmla="*/ 2496 h 10000"/>
                  <a:gd name="connsiteX1017" fmla="*/ 6682 w 10785"/>
                  <a:gd name="connsiteY1017" fmla="*/ 2470 h 10000"/>
                  <a:gd name="connsiteX1018" fmla="*/ 6668 w 10785"/>
                  <a:gd name="connsiteY1018" fmla="*/ 2462 h 10000"/>
                  <a:gd name="connsiteX1019" fmla="*/ 6677 w 10785"/>
                  <a:gd name="connsiteY1019" fmla="*/ 2436 h 10000"/>
                  <a:gd name="connsiteX1020" fmla="*/ 6682 w 10785"/>
                  <a:gd name="connsiteY1020" fmla="*/ 2419 h 10000"/>
                  <a:gd name="connsiteX1021" fmla="*/ 6682 w 10785"/>
                  <a:gd name="connsiteY1021" fmla="*/ 2393 h 10000"/>
                  <a:gd name="connsiteX1022" fmla="*/ 6682 w 10785"/>
                  <a:gd name="connsiteY1022" fmla="*/ 2385 h 10000"/>
                  <a:gd name="connsiteX1023" fmla="*/ 6682 w 10785"/>
                  <a:gd name="connsiteY1023" fmla="*/ 2385 h 10000"/>
                  <a:gd name="connsiteX1024" fmla="*/ 6677 w 10785"/>
                  <a:gd name="connsiteY1024" fmla="*/ 2376 h 10000"/>
                  <a:gd name="connsiteX1025" fmla="*/ 6682 w 10785"/>
                  <a:gd name="connsiteY1025" fmla="*/ 2359 h 10000"/>
                  <a:gd name="connsiteX1026" fmla="*/ 6677 w 10785"/>
                  <a:gd name="connsiteY1026" fmla="*/ 2333 h 10000"/>
                  <a:gd name="connsiteX1027" fmla="*/ 6691 w 10785"/>
                  <a:gd name="connsiteY1027" fmla="*/ 2333 h 10000"/>
                  <a:gd name="connsiteX1028" fmla="*/ 6691 w 10785"/>
                  <a:gd name="connsiteY1028" fmla="*/ 2325 h 10000"/>
                  <a:gd name="connsiteX1029" fmla="*/ 6691 w 10785"/>
                  <a:gd name="connsiteY1029" fmla="*/ 2308 h 10000"/>
                  <a:gd name="connsiteX1030" fmla="*/ 6691 w 10785"/>
                  <a:gd name="connsiteY1030" fmla="*/ 2299 h 10000"/>
                  <a:gd name="connsiteX1031" fmla="*/ 6691 w 10785"/>
                  <a:gd name="connsiteY1031" fmla="*/ 2282 h 10000"/>
                  <a:gd name="connsiteX1032" fmla="*/ 6691 w 10785"/>
                  <a:gd name="connsiteY1032" fmla="*/ 2274 h 10000"/>
                  <a:gd name="connsiteX1033" fmla="*/ 6668 w 10785"/>
                  <a:gd name="connsiteY1033" fmla="*/ 2248 h 10000"/>
                  <a:gd name="connsiteX1034" fmla="*/ 6664 w 10785"/>
                  <a:gd name="connsiteY1034" fmla="*/ 2222 h 10000"/>
                  <a:gd name="connsiteX1035" fmla="*/ 6654 w 10785"/>
                  <a:gd name="connsiteY1035" fmla="*/ 2214 h 10000"/>
                  <a:gd name="connsiteX1036" fmla="*/ 6654 w 10785"/>
                  <a:gd name="connsiteY1036" fmla="*/ 2188 h 10000"/>
                  <a:gd name="connsiteX1037" fmla="*/ 6622 w 10785"/>
                  <a:gd name="connsiteY1037" fmla="*/ 2162 h 10000"/>
                  <a:gd name="connsiteX1038" fmla="*/ 6631 w 10785"/>
                  <a:gd name="connsiteY1038" fmla="*/ 2145 h 10000"/>
                  <a:gd name="connsiteX1039" fmla="*/ 6622 w 10785"/>
                  <a:gd name="connsiteY1039" fmla="*/ 2120 h 10000"/>
                  <a:gd name="connsiteX1040" fmla="*/ 6608 w 10785"/>
                  <a:gd name="connsiteY1040" fmla="*/ 2120 h 10000"/>
                  <a:gd name="connsiteX1041" fmla="*/ 6604 w 10785"/>
                  <a:gd name="connsiteY1041" fmla="*/ 2111 h 10000"/>
                  <a:gd name="connsiteX1042" fmla="*/ 6608 w 10785"/>
                  <a:gd name="connsiteY1042" fmla="*/ 2111 h 10000"/>
                  <a:gd name="connsiteX1043" fmla="*/ 6604 w 10785"/>
                  <a:gd name="connsiteY1043" fmla="*/ 2085 h 10000"/>
                  <a:gd name="connsiteX1044" fmla="*/ 6581 w 10785"/>
                  <a:gd name="connsiteY1044" fmla="*/ 2077 h 10000"/>
                  <a:gd name="connsiteX1045" fmla="*/ 6571 w 10785"/>
                  <a:gd name="connsiteY1045" fmla="*/ 2085 h 10000"/>
                  <a:gd name="connsiteX1046" fmla="*/ 6548 w 10785"/>
                  <a:gd name="connsiteY1046" fmla="*/ 2077 h 10000"/>
                  <a:gd name="connsiteX1047" fmla="*/ 6530 w 10785"/>
                  <a:gd name="connsiteY1047" fmla="*/ 2060 h 10000"/>
                  <a:gd name="connsiteX1048" fmla="*/ 6521 w 10785"/>
                  <a:gd name="connsiteY1048" fmla="*/ 2060 h 10000"/>
                  <a:gd name="connsiteX1049" fmla="*/ 6521 w 10785"/>
                  <a:gd name="connsiteY1049" fmla="*/ 2085 h 10000"/>
                  <a:gd name="connsiteX1050" fmla="*/ 6516 w 10785"/>
                  <a:gd name="connsiteY1050" fmla="*/ 2085 h 10000"/>
                  <a:gd name="connsiteX1051" fmla="*/ 6502 w 10785"/>
                  <a:gd name="connsiteY1051" fmla="*/ 2111 h 10000"/>
                  <a:gd name="connsiteX1052" fmla="*/ 6498 w 10785"/>
                  <a:gd name="connsiteY1052" fmla="*/ 2111 h 10000"/>
                  <a:gd name="connsiteX1053" fmla="*/ 6498 w 10785"/>
                  <a:gd name="connsiteY1053" fmla="*/ 2103 h 10000"/>
                  <a:gd name="connsiteX1054" fmla="*/ 6475 w 10785"/>
                  <a:gd name="connsiteY1054" fmla="*/ 2051 h 10000"/>
                  <a:gd name="connsiteX1055" fmla="*/ 6470 w 10785"/>
                  <a:gd name="connsiteY1055" fmla="*/ 2060 h 10000"/>
                  <a:gd name="connsiteX1056" fmla="*/ 6456 w 10785"/>
                  <a:gd name="connsiteY1056" fmla="*/ 2051 h 10000"/>
                  <a:gd name="connsiteX1057" fmla="*/ 6447 w 10785"/>
                  <a:gd name="connsiteY1057" fmla="*/ 2051 h 10000"/>
                  <a:gd name="connsiteX1058" fmla="*/ 6433 w 10785"/>
                  <a:gd name="connsiteY1058" fmla="*/ 2026 h 10000"/>
                  <a:gd name="connsiteX1059" fmla="*/ 6433 w 10785"/>
                  <a:gd name="connsiteY1059" fmla="*/ 2034 h 10000"/>
                  <a:gd name="connsiteX1060" fmla="*/ 6429 w 10785"/>
                  <a:gd name="connsiteY1060" fmla="*/ 2026 h 10000"/>
                  <a:gd name="connsiteX1061" fmla="*/ 6424 w 10785"/>
                  <a:gd name="connsiteY1061" fmla="*/ 2034 h 10000"/>
                  <a:gd name="connsiteX1062" fmla="*/ 6410 w 10785"/>
                  <a:gd name="connsiteY1062" fmla="*/ 2026 h 10000"/>
                  <a:gd name="connsiteX1063" fmla="*/ 6410 w 10785"/>
                  <a:gd name="connsiteY1063" fmla="*/ 1991 h 10000"/>
                  <a:gd name="connsiteX1064" fmla="*/ 6401 w 10785"/>
                  <a:gd name="connsiteY1064" fmla="*/ 1991 h 10000"/>
                  <a:gd name="connsiteX1065" fmla="*/ 6396 w 10785"/>
                  <a:gd name="connsiteY1065" fmla="*/ 2000 h 10000"/>
                  <a:gd name="connsiteX1066" fmla="*/ 6382 w 10785"/>
                  <a:gd name="connsiteY1066" fmla="*/ 1966 h 10000"/>
                  <a:gd name="connsiteX1067" fmla="*/ 6373 w 10785"/>
                  <a:gd name="connsiteY1067" fmla="*/ 1974 h 10000"/>
                  <a:gd name="connsiteX1068" fmla="*/ 6369 w 10785"/>
                  <a:gd name="connsiteY1068" fmla="*/ 1966 h 10000"/>
                  <a:gd name="connsiteX1069" fmla="*/ 6341 w 10785"/>
                  <a:gd name="connsiteY1069" fmla="*/ 1949 h 10000"/>
                  <a:gd name="connsiteX1070" fmla="*/ 6327 w 10785"/>
                  <a:gd name="connsiteY1070" fmla="*/ 1923 h 10000"/>
                  <a:gd name="connsiteX1071" fmla="*/ 6323 w 10785"/>
                  <a:gd name="connsiteY1071" fmla="*/ 1923 h 10000"/>
                  <a:gd name="connsiteX1072" fmla="*/ 6323 w 10785"/>
                  <a:gd name="connsiteY1072" fmla="*/ 1966 h 10000"/>
                  <a:gd name="connsiteX1073" fmla="*/ 6323 w 10785"/>
                  <a:gd name="connsiteY1073" fmla="*/ 1991 h 10000"/>
                  <a:gd name="connsiteX1074" fmla="*/ 6313 w 10785"/>
                  <a:gd name="connsiteY1074" fmla="*/ 1991 h 10000"/>
                  <a:gd name="connsiteX1075" fmla="*/ 6300 w 10785"/>
                  <a:gd name="connsiteY1075" fmla="*/ 1991 h 10000"/>
                  <a:gd name="connsiteX1076" fmla="*/ 6290 w 10785"/>
                  <a:gd name="connsiteY1076" fmla="*/ 1949 h 10000"/>
                  <a:gd name="connsiteX1077" fmla="*/ 6276 w 10785"/>
                  <a:gd name="connsiteY1077" fmla="*/ 2103 h 10000"/>
                  <a:gd name="connsiteX1078" fmla="*/ 6281 w 10785"/>
                  <a:gd name="connsiteY1078" fmla="*/ 2103 h 10000"/>
                  <a:gd name="connsiteX1079" fmla="*/ 6276 w 10785"/>
                  <a:gd name="connsiteY1079" fmla="*/ 2111 h 10000"/>
                  <a:gd name="connsiteX1080" fmla="*/ 6276 w 10785"/>
                  <a:gd name="connsiteY1080" fmla="*/ 2120 h 10000"/>
                  <a:gd name="connsiteX1081" fmla="*/ 6295 w 10785"/>
                  <a:gd name="connsiteY1081" fmla="*/ 2239 h 10000"/>
                  <a:gd name="connsiteX1082" fmla="*/ 6290 w 10785"/>
                  <a:gd name="connsiteY1082" fmla="*/ 2248 h 10000"/>
                  <a:gd name="connsiteX1083" fmla="*/ 6281 w 10785"/>
                  <a:gd name="connsiteY1083" fmla="*/ 2274 h 10000"/>
                  <a:gd name="connsiteX1084" fmla="*/ 6249 w 10785"/>
                  <a:gd name="connsiteY1084" fmla="*/ 2274 h 10000"/>
                  <a:gd name="connsiteX1085" fmla="*/ 6226 w 10785"/>
                  <a:gd name="connsiteY1085" fmla="*/ 2308 h 10000"/>
                  <a:gd name="connsiteX1086" fmla="*/ 6221 w 10785"/>
                  <a:gd name="connsiteY1086" fmla="*/ 2299 h 10000"/>
                  <a:gd name="connsiteX1087" fmla="*/ 6221 w 10785"/>
                  <a:gd name="connsiteY1087" fmla="*/ 2308 h 10000"/>
                  <a:gd name="connsiteX1088" fmla="*/ 6217 w 10785"/>
                  <a:gd name="connsiteY1088" fmla="*/ 2299 h 10000"/>
                  <a:gd name="connsiteX1089" fmla="*/ 6194 w 10785"/>
                  <a:gd name="connsiteY1089" fmla="*/ 2308 h 10000"/>
                  <a:gd name="connsiteX1090" fmla="*/ 6180 w 10785"/>
                  <a:gd name="connsiteY1090" fmla="*/ 2299 h 10000"/>
                  <a:gd name="connsiteX1091" fmla="*/ 6143 w 10785"/>
                  <a:gd name="connsiteY1091" fmla="*/ 2308 h 10000"/>
                  <a:gd name="connsiteX1092" fmla="*/ 6134 w 10785"/>
                  <a:gd name="connsiteY1092" fmla="*/ 2325 h 10000"/>
                  <a:gd name="connsiteX1093" fmla="*/ 6115 w 10785"/>
                  <a:gd name="connsiteY1093" fmla="*/ 2282 h 10000"/>
                  <a:gd name="connsiteX1094" fmla="*/ 6069 w 10785"/>
                  <a:gd name="connsiteY1094" fmla="*/ 2274 h 10000"/>
                  <a:gd name="connsiteX1095" fmla="*/ 6069 w 10785"/>
                  <a:gd name="connsiteY1095" fmla="*/ 2282 h 10000"/>
                  <a:gd name="connsiteX1096" fmla="*/ 6060 w 10785"/>
                  <a:gd name="connsiteY1096" fmla="*/ 2299 h 10000"/>
                  <a:gd name="connsiteX1097" fmla="*/ 5972 w 10785"/>
                  <a:gd name="connsiteY1097" fmla="*/ 2214 h 10000"/>
                  <a:gd name="connsiteX1098" fmla="*/ 5968 w 10785"/>
                  <a:gd name="connsiteY1098" fmla="*/ 2197 h 10000"/>
                  <a:gd name="connsiteX1099" fmla="*/ 5968 w 10785"/>
                  <a:gd name="connsiteY1099" fmla="*/ 2171 h 10000"/>
                  <a:gd name="connsiteX1100" fmla="*/ 5968 w 10785"/>
                  <a:gd name="connsiteY1100" fmla="*/ 2162 h 10000"/>
                  <a:gd name="connsiteX1101" fmla="*/ 5968 w 10785"/>
                  <a:gd name="connsiteY1101" fmla="*/ 2120 h 10000"/>
                  <a:gd name="connsiteX1102" fmla="*/ 5968 w 10785"/>
                  <a:gd name="connsiteY1102" fmla="*/ 2111 h 10000"/>
                  <a:gd name="connsiteX1103" fmla="*/ 5972 w 10785"/>
                  <a:gd name="connsiteY1103" fmla="*/ 2103 h 10000"/>
                  <a:gd name="connsiteX1104" fmla="*/ 5986 w 10785"/>
                  <a:gd name="connsiteY1104" fmla="*/ 2103 h 10000"/>
                  <a:gd name="connsiteX1105" fmla="*/ 5986 w 10785"/>
                  <a:gd name="connsiteY1105" fmla="*/ 2085 h 10000"/>
                  <a:gd name="connsiteX1106" fmla="*/ 5995 w 10785"/>
                  <a:gd name="connsiteY1106" fmla="*/ 2085 h 10000"/>
                  <a:gd name="connsiteX1107" fmla="*/ 5995 w 10785"/>
                  <a:gd name="connsiteY1107" fmla="*/ 2077 h 10000"/>
                  <a:gd name="connsiteX1108" fmla="*/ 5986 w 10785"/>
                  <a:gd name="connsiteY1108" fmla="*/ 2060 h 10000"/>
                  <a:gd name="connsiteX1109" fmla="*/ 5954 w 10785"/>
                  <a:gd name="connsiteY1109" fmla="*/ 2060 h 10000"/>
                  <a:gd name="connsiteX1110" fmla="*/ 5940 w 10785"/>
                  <a:gd name="connsiteY1110" fmla="*/ 2051 h 10000"/>
                  <a:gd name="connsiteX1111" fmla="*/ 5922 w 10785"/>
                  <a:gd name="connsiteY1111" fmla="*/ 2060 h 10000"/>
                  <a:gd name="connsiteX1112" fmla="*/ 5885 w 10785"/>
                  <a:gd name="connsiteY1112" fmla="*/ 2051 h 10000"/>
                  <a:gd name="connsiteX1113" fmla="*/ 5876 w 10785"/>
                  <a:gd name="connsiteY1113" fmla="*/ 2026 h 10000"/>
                  <a:gd name="connsiteX1114" fmla="*/ 5862 w 10785"/>
                  <a:gd name="connsiteY1114" fmla="*/ 2026 h 10000"/>
                  <a:gd name="connsiteX1115" fmla="*/ 5848 w 10785"/>
                  <a:gd name="connsiteY1115" fmla="*/ 2026 h 10000"/>
                  <a:gd name="connsiteX1116" fmla="*/ 5825 w 10785"/>
                  <a:gd name="connsiteY1116" fmla="*/ 2026 h 10000"/>
                  <a:gd name="connsiteX1117" fmla="*/ 5788 w 10785"/>
                  <a:gd name="connsiteY1117" fmla="*/ 1991 h 10000"/>
                  <a:gd name="connsiteX1118" fmla="*/ 5760 w 10785"/>
                  <a:gd name="connsiteY1118" fmla="*/ 2000 h 10000"/>
                  <a:gd name="connsiteX1119" fmla="*/ 5760 w 10785"/>
                  <a:gd name="connsiteY1119" fmla="*/ 2026 h 10000"/>
                  <a:gd name="connsiteX1120" fmla="*/ 5714 w 10785"/>
                  <a:gd name="connsiteY1120" fmla="*/ 2051 h 10000"/>
                  <a:gd name="connsiteX1121" fmla="*/ 5687 w 10785"/>
                  <a:gd name="connsiteY1121" fmla="*/ 2034 h 10000"/>
                  <a:gd name="connsiteX1122" fmla="*/ 5645 w 10785"/>
                  <a:gd name="connsiteY1122" fmla="*/ 2077 h 10000"/>
                  <a:gd name="connsiteX1123" fmla="*/ 5664 w 10785"/>
                  <a:gd name="connsiteY1123" fmla="*/ 2120 h 10000"/>
                  <a:gd name="connsiteX1124" fmla="*/ 5664 w 10785"/>
                  <a:gd name="connsiteY1124" fmla="*/ 2162 h 10000"/>
                  <a:gd name="connsiteX1125" fmla="*/ 5631 w 10785"/>
                  <a:gd name="connsiteY1125" fmla="*/ 2197 h 10000"/>
                  <a:gd name="connsiteX1126" fmla="*/ 5618 w 10785"/>
                  <a:gd name="connsiteY1126" fmla="*/ 2188 h 10000"/>
                  <a:gd name="connsiteX1127" fmla="*/ 5618 w 10785"/>
                  <a:gd name="connsiteY1127" fmla="*/ 2171 h 10000"/>
                  <a:gd name="connsiteX1128" fmla="*/ 5641 w 10785"/>
                  <a:gd name="connsiteY1128" fmla="*/ 2171 h 10000"/>
                  <a:gd name="connsiteX1129" fmla="*/ 5641 w 10785"/>
                  <a:gd name="connsiteY1129" fmla="*/ 2162 h 10000"/>
                  <a:gd name="connsiteX1130" fmla="*/ 5627 w 10785"/>
                  <a:gd name="connsiteY1130" fmla="*/ 2145 h 10000"/>
                  <a:gd name="connsiteX1131" fmla="*/ 5627 w 10785"/>
                  <a:gd name="connsiteY1131" fmla="*/ 2120 h 10000"/>
                  <a:gd name="connsiteX1132" fmla="*/ 5618 w 10785"/>
                  <a:gd name="connsiteY1132" fmla="*/ 2111 h 10000"/>
                  <a:gd name="connsiteX1133" fmla="*/ 5631 w 10785"/>
                  <a:gd name="connsiteY1133" fmla="*/ 2051 h 10000"/>
                  <a:gd name="connsiteX1134" fmla="*/ 5631 w 10785"/>
                  <a:gd name="connsiteY1134" fmla="*/ 2026 h 10000"/>
                  <a:gd name="connsiteX1135" fmla="*/ 5627 w 10785"/>
                  <a:gd name="connsiteY1135" fmla="*/ 1991 h 10000"/>
                  <a:gd name="connsiteX1136" fmla="*/ 5618 w 10785"/>
                  <a:gd name="connsiteY1136" fmla="*/ 1974 h 10000"/>
                  <a:gd name="connsiteX1137" fmla="*/ 5618 w 10785"/>
                  <a:gd name="connsiteY1137" fmla="*/ 1940 h 10000"/>
                  <a:gd name="connsiteX1138" fmla="*/ 5594 w 10785"/>
                  <a:gd name="connsiteY1138" fmla="*/ 1855 h 10000"/>
                  <a:gd name="connsiteX1139" fmla="*/ 5599 w 10785"/>
                  <a:gd name="connsiteY1139" fmla="*/ 1915 h 10000"/>
                  <a:gd name="connsiteX1140" fmla="*/ 5599 w 10785"/>
                  <a:gd name="connsiteY1140" fmla="*/ 1949 h 10000"/>
                  <a:gd name="connsiteX1141" fmla="*/ 5594 w 10785"/>
                  <a:gd name="connsiteY1141" fmla="*/ 1991 h 10000"/>
                  <a:gd name="connsiteX1142" fmla="*/ 5571 w 10785"/>
                  <a:gd name="connsiteY1142" fmla="*/ 2000 h 10000"/>
                  <a:gd name="connsiteX1143" fmla="*/ 5530 w 10785"/>
                  <a:gd name="connsiteY1143" fmla="*/ 1991 h 10000"/>
                  <a:gd name="connsiteX1144" fmla="*/ 5525 w 10785"/>
                  <a:gd name="connsiteY1144" fmla="*/ 2000 h 10000"/>
                  <a:gd name="connsiteX1145" fmla="*/ 5521 w 10785"/>
                  <a:gd name="connsiteY1145" fmla="*/ 1991 h 10000"/>
                  <a:gd name="connsiteX1146" fmla="*/ 5498 w 10785"/>
                  <a:gd name="connsiteY1146" fmla="*/ 1949 h 10000"/>
                  <a:gd name="connsiteX1147" fmla="*/ 5493 w 10785"/>
                  <a:gd name="connsiteY1147" fmla="*/ 1889 h 10000"/>
                  <a:gd name="connsiteX1148" fmla="*/ 5493 w 10785"/>
                  <a:gd name="connsiteY1148" fmla="*/ 1863 h 10000"/>
                  <a:gd name="connsiteX1149" fmla="*/ 5498 w 10785"/>
                  <a:gd name="connsiteY1149" fmla="*/ 1889 h 10000"/>
                  <a:gd name="connsiteX1150" fmla="*/ 5512 w 10785"/>
                  <a:gd name="connsiteY1150" fmla="*/ 1855 h 10000"/>
                  <a:gd name="connsiteX1151" fmla="*/ 5512 w 10785"/>
                  <a:gd name="connsiteY1151" fmla="*/ 1838 h 10000"/>
                  <a:gd name="connsiteX1152" fmla="*/ 5479 w 10785"/>
                  <a:gd name="connsiteY1152" fmla="*/ 1855 h 10000"/>
                  <a:gd name="connsiteX1153" fmla="*/ 5470 w 10785"/>
                  <a:gd name="connsiteY1153" fmla="*/ 1872 h 10000"/>
                  <a:gd name="connsiteX1154" fmla="*/ 5470 w 10785"/>
                  <a:gd name="connsiteY1154" fmla="*/ 1889 h 10000"/>
                  <a:gd name="connsiteX1155" fmla="*/ 5465 w 10785"/>
                  <a:gd name="connsiteY1155" fmla="*/ 1897 h 10000"/>
                  <a:gd name="connsiteX1156" fmla="*/ 5456 w 10785"/>
                  <a:gd name="connsiteY1156" fmla="*/ 1872 h 10000"/>
                  <a:gd name="connsiteX1157" fmla="*/ 5447 w 10785"/>
                  <a:gd name="connsiteY1157" fmla="*/ 1872 h 10000"/>
                  <a:gd name="connsiteX1158" fmla="*/ 5433 w 10785"/>
                  <a:gd name="connsiteY1158" fmla="*/ 1855 h 10000"/>
                  <a:gd name="connsiteX1159" fmla="*/ 5396 w 10785"/>
                  <a:gd name="connsiteY1159" fmla="*/ 1863 h 10000"/>
                  <a:gd name="connsiteX1160" fmla="*/ 5396 w 10785"/>
                  <a:gd name="connsiteY1160" fmla="*/ 1897 h 10000"/>
                  <a:gd name="connsiteX1161" fmla="*/ 5378 w 10785"/>
                  <a:gd name="connsiteY1161" fmla="*/ 1949 h 10000"/>
                  <a:gd name="connsiteX1162" fmla="*/ 5378 w 10785"/>
                  <a:gd name="connsiteY1162" fmla="*/ 1966 h 10000"/>
                  <a:gd name="connsiteX1163" fmla="*/ 5392 w 10785"/>
                  <a:gd name="connsiteY1163" fmla="*/ 2026 h 10000"/>
                  <a:gd name="connsiteX1164" fmla="*/ 5396 w 10785"/>
                  <a:gd name="connsiteY1164" fmla="*/ 2026 h 10000"/>
                  <a:gd name="connsiteX1165" fmla="*/ 5392 w 10785"/>
                  <a:gd name="connsiteY1165" fmla="*/ 2009 h 10000"/>
                  <a:gd name="connsiteX1166" fmla="*/ 5392 w 10785"/>
                  <a:gd name="connsiteY1166" fmla="*/ 2000 h 10000"/>
                  <a:gd name="connsiteX1167" fmla="*/ 5396 w 10785"/>
                  <a:gd name="connsiteY1167" fmla="*/ 2009 h 10000"/>
                  <a:gd name="connsiteX1168" fmla="*/ 5424 w 10785"/>
                  <a:gd name="connsiteY1168" fmla="*/ 2009 h 10000"/>
                  <a:gd name="connsiteX1169" fmla="*/ 5433 w 10785"/>
                  <a:gd name="connsiteY1169" fmla="*/ 1991 h 10000"/>
                  <a:gd name="connsiteX1170" fmla="*/ 5447 w 10785"/>
                  <a:gd name="connsiteY1170" fmla="*/ 1974 h 10000"/>
                  <a:gd name="connsiteX1171" fmla="*/ 5452 w 10785"/>
                  <a:gd name="connsiteY1171" fmla="*/ 1966 h 10000"/>
                  <a:gd name="connsiteX1172" fmla="*/ 5456 w 10785"/>
                  <a:gd name="connsiteY1172" fmla="*/ 1966 h 10000"/>
                  <a:gd name="connsiteX1173" fmla="*/ 5465 w 10785"/>
                  <a:gd name="connsiteY1173" fmla="*/ 2009 h 10000"/>
                  <a:gd name="connsiteX1174" fmla="*/ 5433 w 10785"/>
                  <a:gd name="connsiteY1174" fmla="*/ 2034 h 10000"/>
                  <a:gd name="connsiteX1175" fmla="*/ 5424 w 10785"/>
                  <a:gd name="connsiteY1175" fmla="*/ 2060 h 10000"/>
                  <a:gd name="connsiteX1176" fmla="*/ 5419 w 10785"/>
                  <a:gd name="connsiteY1176" fmla="*/ 2060 h 10000"/>
                  <a:gd name="connsiteX1177" fmla="*/ 5392 w 10785"/>
                  <a:gd name="connsiteY1177" fmla="*/ 2111 h 10000"/>
                  <a:gd name="connsiteX1178" fmla="*/ 5378 w 10785"/>
                  <a:gd name="connsiteY1178" fmla="*/ 2111 h 10000"/>
                  <a:gd name="connsiteX1179" fmla="*/ 5350 w 10785"/>
                  <a:gd name="connsiteY1179" fmla="*/ 2060 h 10000"/>
                  <a:gd name="connsiteX1180" fmla="*/ 5373 w 10785"/>
                  <a:gd name="connsiteY1180" fmla="*/ 2111 h 10000"/>
                  <a:gd name="connsiteX1181" fmla="*/ 5364 w 10785"/>
                  <a:gd name="connsiteY1181" fmla="*/ 2111 h 10000"/>
                  <a:gd name="connsiteX1182" fmla="*/ 5359 w 10785"/>
                  <a:gd name="connsiteY1182" fmla="*/ 2103 h 10000"/>
                  <a:gd name="connsiteX1183" fmla="*/ 5359 w 10785"/>
                  <a:gd name="connsiteY1183" fmla="*/ 2120 h 10000"/>
                  <a:gd name="connsiteX1184" fmla="*/ 5359 w 10785"/>
                  <a:gd name="connsiteY1184" fmla="*/ 2137 h 10000"/>
                  <a:gd name="connsiteX1185" fmla="*/ 5313 w 10785"/>
                  <a:gd name="connsiteY1185" fmla="*/ 2162 h 10000"/>
                  <a:gd name="connsiteX1186" fmla="*/ 5300 w 10785"/>
                  <a:gd name="connsiteY1186" fmla="*/ 2162 h 10000"/>
                  <a:gd name="connsiteX1187" fmla="*/ 5300 w 10785"/>
                  <a:gd name="connsiteY1187" fmla="*/ 2171 h 10000"/>
                  <a:gd name="connsiteX1188" fmla="*/ 5300 w 10785"/>
                  <a:gd name="connsiteY1188" fmla="*/ 2197 h 10000"/>
                  <a:gd name="connsiteX1189" fmla="*/ 5276 w 10785"/>
                  <a:gd name="connsiteY1189" fmla="*/ 2188 h 10000"/>
                  <a:gd name="connsiteX1190" fmla="*/ 5249 w 10785"/>
                  <a:gd name="connsiteY1190" fmla="*/ 2222 h 10000"/>
                  <a:gd name="connsiteX1191" fmla="*/ 5249 w 10785"/>
                  <a:gd name="connsiteY1191" fmla="*/ 2222 h 10000"/>
                  <a:gd name="connsiteX1192" fmla="*/ 5217 w 10785"/>
                  <a:gd name="connsiteY1192" fmla="*/ 2214 h 10000"/>
                  <a:gd name="connsiteX1193" fmla="*/ 5203 w 10785"/>
                  <a:gd name="connsiteY1193" fmla="*/ 2239 h 10000"/>
                  <a:gd name="connsiteX1194" fmla="*/ 5171 w 10785"/>
                  <a:gd name="connsiteY1194" fmla="*/ 2214 h 10000"/>
                  <a:gd name="connsiteX1195" fmla="*/ 5157 w 10785"/>
                  <a:gd name="connsiteY1195" fmla="*/ 2239 h 10000"/>
                  <a:gd name="connsiteX1196" fmla="*/ 5166 w 10785"/>
                  <a:gd name="connsiteY1196" fmla="*/ 2256 h 10000"/>
                  <a:gd name="connsiteX1197" fmla="*/ 5171 w 10785"/>
                  <a:gd name="connsiteY1197" fmla="*/ 2308 h 10000"/>
                  <a:gd name="connsiteX1198" fmla="*/ 5212 w 10785"/>
                  <a:gd name="connsiteY1198" fmla="*/ 2350 h 10000"/>
                  <a:gd name="connsiteX1199" fmla="*/ 5203 w 10785"/>
                  <a:gd name="connsiteY1199" fmla="*/ 2350 h 10000"/>
                  <a:gd name="connsiteX1200" fmla="*/ 5166 w 10785"/>
                  <a:gd name="connsiteY1200" fmla="*/ 2325 h 10000"/>
                  <a:gd name="connsiteX1201" fmla="*/ 5152 w 10785"/>
                  <a:gd name="connsiteY1201" fmla="*/ 2308 h 10000"/>
                  <a:gd name="connsiteX1202" fmla="*/ 5143 w 10785"/>
                  <a:gd name="connsiteY1202" fmla="*/ 2333 h 10000"/>
                  <a:gd name="connsiteX1203" fmla="*/ 5138 w 10785"/>
                  <a:gd name="connsiteY1203" fmla="*/ 2333 h 10000"/>
                  <a:gd name="connsiteX1204" fmla="*/ 5124 w 10785"/>
                  <a:gd name="connsiteY1204" fmla="*/ 2376 h 10000"/>
                  <a:gd name="connsiteX1205" fmla="*/ 5115 w 10785"/>
                  <a:gd name="connsiteY1205" fmla="*/ 2385 h 10000"/>
                  <a:gd name="connsiteX1206" fmla="*/ 5106 w 10785"/>
                  <a:gd name="connsiteY1206" fmla="*/ 2385 h 10000"/>
                  <a:gd name="connsiteX1207" fmla="*/ 5055 w 10785"/>
                  <a:gd name="connsiteY1207" fmla="*/ 2470 h 10000"/>
                  <a:gd name="connsiteX1208" fmla="*/ 5065 w 10785"/>
                  <a:gd name="connsiteY1208" fmla="*/ 2462 h 10000"/>
                  <a:gd name="connsiteX1209" fmla="*/ 5055 w 10785"/>
                  <a:gd name="connsiteY1209" fmla="*/ 2444 h 10000"/>
                  <a:gd name="connsiteX1210" fmla="*/ 5041 w 10785"/>
                  <a:gd name="connsiteY1210" fmla="*/ 2462 h 10000"/>
                  <a:gd name="connsiteX1211" fmla="*/ 5037 w 10785"/>
                  <a:gd name="connsiteY1211" fmla="*/ 2470 h 10000"/>
                  <a:gd name="connsiteX1212" fmla="*/ 5032 w 10785"/>
                  <a:gd name="connsiteY1212" fmla="*/ 2470 h 10000"/>
                  <a:gd name="connsiteX1213" fmla="*/ 5032 w 10785"/>
                  <a:gd name="connsiteY1213" fmla="*/ 2444 h 10000"/>
                  <a:gd name="connsiteX1214" fmla="*/ 5055 w 10785"/>
                  <a:gd name="connsiteY1214" fmla="*/ 2410 h 10000"/>
                  <a:gd name="connsiteX1215" fmla="*/ 5065 w 10785"/>
                  <a:gd name="connsiteY1215" fmla="*/ 2393 h 10000"/>
                  <a:gd name="connsiteX1216" fmla="*/ 5069 w 10785"/>
                  <a:gd name="connsiteY1216" fmla="*/ 2385 h 10000"/>
                  <a:gd name="connsiteX1217" fmla="*/ 5083 w 10785"/>
                  <a:gd name="connsiteY1217" fmla="*/ 2376 h 10000"/>
                  <a:gd name="connsiteX1218" fmla="*/ 5097 w 10785"/>
                  <a:gd name="connsiteY1218" fmla="*/ 2376 h 10000"/>
                  <a:gd name="connsiteX1219" fmla="*/ 5124 w 10785"/>
                  <a:gd name="connsiteY1219" fmla="*/ 2325 h 10000"/>
                  <a:gd name="connsiteX1220" fmla="*/ 5143 w 10785"/>
                  <a:gd name="connsiteY1220" fmla="*/ 2248 h 10000"/>
                  <a:gd name="connsiteX1221" fmla="*/ 5152 w 10785"/>
                  <a:gd name="connsiteY1221" fmla="*/ 2239 h 10000"/>
                  <a:gd name="connsiteX1222" fmla="*/ 5166 w 10785"/>
                  <a:gd name="connsiteY1222" fmla="*/ 2162 h 10000"/>
                  <a:gd name="connsiteX1223" fmla="*/ 5171 w 10785"/>
                  <a:gd name="connsiteY1223" fmla="*/ 2171 h 10000"/>
                  <a:gd name="connsiteX1224" fmla="*/ 5198 w 10785"/>
                  <a:gd name="connsiteY1224" fmla="*/ 2145 h 10000"/>
                  <a:gd name="connsiteX1225" fmla="*/ 5203 w 10785"/>
                  <a:gd name="connsiteY1225" fmla="*/ 2111 h 10000"/>
                  <a:gd name="connsiteX1226" fmla="*/ 5217 w 10785"/>
                  <a:gd name="connsiteY1226" fmla="*/ 2060 h 10000"/>
                  <a:gd name="connsiteX1227" fmla="*/ 5226 w 10785"/>
                  <a:gd name="connsiteY1227" fmla="*/ 2026 h 10000"/>
                  <a:gd name="connsiteX1228" fmla="*/ 5286 w 10785"/>
                  <a:gd name="connsiteY1228" fmla="*/ 2026 h 10000"/>
                  <a:gd name="connsiteX1229" fmla="*/ 5290 w 10785"/>
                  <a:gd name="connsiteY1229" fmla="*/ 2034 h 10000"/>
                  <a:gd name="connsiteX1230" fmla="*/ 5323 w 10785"/>
                  <a:gd name="connsiteY1230" fmla="*/ 1923 h 10000"/>
                  <a:gd name="connsiteX1231" fmla="*/ 5323 w 10785"/>
                  <a:gd name="connsiteY1231" fmla="*/ 1889 h 10000"/>
                  <a:gd name="connsiteX1232" fmla="*/ 5359 w 10785"/>
                  <a:gd name="connsiteY1232" fmla="*/ 1829 h 10000"/>
                  <a:gd name="connsiteX1233" fmla="*/ 5378 w 10785"/>
                  <a:gd name="connsiteY1233" fmla="*/ 1812 h 10000"/>
                  <a:gd name="connsiteX1234" fmla="*/ 5406 w 10785"/>
                  <a:gd name="connsiteY1234" fmla="*/ 1752 h 10000"/>
                  <a:gd name="connsiteX1235" fmla="*/ 5410 w 10785"/>
                  <a:gd name="connsiteY1235" fmla="*/ 1718 h 10000"/>
                  <a:gd name="connsiteX1236" fmla="*/ 5438 w 10785"/>
                  <a:gd name="connsiteY1236" fmla="*/ 1667 h 10000"/>
                  <a:gd name="connsiteX1237" fmla="*/ 5438 w 10785"/>
                  <a:gd name="connsiteY1237" fmla="*/ 1650 h 10000"/>
                  <a:gd name="connsiteX1238" fmla="*/ 5438 w 10785"/>
                  <a:gd name="connsiteY1238" fmla="*/ 1641 h 10000"/>
                  <a:gd name="connsiteX1239" fmla="*/ 5452 w 10785"/>
                  <a:gd name="connsiteY1239" fmla="*/ 1641 h 10000"/>
                  <a:gd name="connsiteX1240" fmla="*/ 5456 w 10785"/>
                  <a:gd name="connsiteY1240" fmla="*/ 1615 h 10000"/>
                  <a:gd name="connsiteX1241" fmla="*/ 5456 w 10785"/>
                  <a:gd name="connsiteY1241" fmla="*/ 1615 h 10000"/>
                  <a:gd name="connsiteX1242" fmla="*/ 5465 w 10785"/>
                  <a:gd name="connsiteY1242" fmla="*/ 1598 h 10000"/>
                  <a:gd name="connsiteX1243" fmla="*/ 5465 w 10785"/>
                  <a:gd name="connsiteY1243" fmla="*/ 1615 h 10000"/>
                  <a:gd name="connsiteX1244" fmla="*/ 5479 w 10785"/>
                  <a:gd name="connsiteY1244" fmla="*/ 1598 h 10000"/>
                  <a:gd name="connsiteX1245" fmla="*/ 5484 w 10785"/>
                  <a:gd name="connsiteY1245" fmla="*/ 1581 h 10000"/>
                  <a:gd name="connsiteX1246" fmla="*/ 5493 w 10785"/>
                  <a:gd name="connsiteY1246" fmla="*/ 1581 h 10000"/>
                  <a:gd name="connsiteX1247" fmla="*/ 5512 w 10785"/>
                  <a:gd name="connsiteY1247" fmla="*/ 1538 h 10000"/>
                  <a:gd name="connsiteX1248" fmla="*/ 5530 w 10785"/>
                  <a:gd name="connsiteY1248" fmla="*/ 1564 h 10000"/>
                  <a:gd name="connsiteX1249" fmla="*/ 5530 w 10785"/>
                  <a:gd name="connsiteY1249" fmla="*/ 1538 h 10000"/>
                  <a:gd name="connsiteX1250" fmla="*/ 5539 w 10785"/>
                  <a:gd name="connsiteY1250" fmla="*/ 1530 h 10000"/>
                  <a:gd name="connsiteX1251" fmla="*/ 5530 w 10785"/>
                  <a:gd name="connsiteY1251" fmla="*/ 1504 h 10000"/>
                  <a:gd name="connsiteX1252" fmla="*/ 5567 w 10785"/>
                  <a:gd name="connsiteY1252" fmla="*/ 1479 h 10000"/>
                  <a:gd name="connsiteX1253" fmla="*/ 5553 w 10785"/>
                  <a:gd name="connsiteY1253" fmla="*/ 1479 h 10000"/>
                  <a:gd name="connsiteX1254" fmla="*/ 5553 w 10785"/>
                  <a:gd name="connsiteY1254" fmla="*/ 1453 h 10000"/>
                  <a:gd name="connsiteX1255" fmla="*/ 5581 w 10785"/>
                  <a:gd name="connsiteY1255" fmla="*/ 1444 h 10000"/>
                  <a:gd name="connsiteX1256" fmla="*/ 5581 w 10785"/>
                  <a:gd name="connsiteY1256" fmla="*/ 1453 h 10000"/>
                  <a:gd name="connsiteX1257" fmla="*/ 5585 w 10785"/>
                  <a:gd name="connsiteY1257" fmla="*/ 1444 h 10000"/>
                  <a:gd name="connsiteX1258" fmla="*/ 5594 w 10785"/>
                  <a:gd name="connsiteY1258" fmla="*/ 1427 h 10000"/>
                  <a:gd name="connsiteX1259" fmla="*/ 5599 w 10785"/>
                  <a:gd name="connsiteY1259" fmla="*/ 1419 h 10000"/>
                  <a:gd name="connsiteX1260" fmla="*/ 5594 w 10785"/>
                  <a:gd name="connsiteY1260" fmla="*/ 1402 h 10000"/>
                  <a:gd name="connsiteX1261" fmla="*/ 5604 w 10785"/>
                  <a:gd name="connsiteY1261" fmla="*/ 1393 h 10000"/>
                  <a:gd name="connsiteX1262" fmla="*/ 5618 w 10785"/>
                  <a:gd name="connsiteY1262" fmla="*/ 1393 h 10000"/>
                  <a:gd name="connsiteX1263" fmla="*/ 5627 w 10785"/>
                  <a:gd name="connsiteY1263" fmla="*/ 1368 h 10000"/>
                  <a:gd name="connsiteX1264" fmla="*/ 5627 w 10785"/>
                  <a:gd name="connsiteY1264" fmla="*/ 1325 h 10000"/>
                  <a:gd name="connsiteX1265" fmla="*/ 5645 w 10785"/>
                  <a:gd name="connsiteY1265" fmla="*/ 1291 h 10000"/>
                  <a:gd name="connsiteX1266" fmla="*/ 5645 w 10785"/>
                  <a:gd name="connsiteY1266" fmla="*/ 1282 h 10000"/>
                  <a:gd name="connsiteX1267" fmla="*/ 5654 w 10785"/>
                  <a:gd name="connsiteY1267" fmla="*/ 1265 h 10000"/>
                  <a:gd name="connsiteX1268" fmla="*/ 5654 w 10785"/>
                  <a:gd name="connsiteY1268" fmla="*/ 1214 h 10000"/>
                  <a:gd name="connsiteX1269" fmla="*/ 5654 w 10785"/>
                  <a:gd name="connsiteY1269" fmla="*/ 1214 h 10000"/>
                  <a:gd name="connsiteX1270" fmla="*/ 5645 w 10785"/>
                  <a:gd name="connsiteY1270" fmla="*/ 1197 h 10000"/>
                  <a:gd name="connsiteX1271" fmla="*/ 5659 w 10785"/>
                  <a:gd name="connsiteY1271" fmla="*/ 1197 h 10000"/>
                  <a:gd name="connsiteX1272" fmla="*/ 5654 w 10785"/>
                  <a:gd name="connsiteY1272" fmla="*/ 1154 h 10000"/>
                  <a:gd name="connsiteX1273" fmla="*/ 5641 w 10785"/>
                  <a:gd name="connsiteY1273" fmla="*/ 1154 h 10000"/>
                  <a:gd name="connsiteX1274" fmla="*/ 5627 w 10785"/>
                  <a:gd name="connsiteY1274" fmla="*/ 1128 h 10000"/>
                  <a:gd name="connsiteX1275" fmla="*/ 5618 w 10785"/>
                  <a:gd name="connsiteY1275" fmla="*/ 1094 h 10000"/>
                  <a:gd name="connsiteX1276" fmla="*/ 5613 w 10785"/>
                  <a:gd name="connsiteY1276" fmla="*/ 1094 h 10000"/>
                  <a:gd name="connsiteX1277" fmla="*/ 5604 w 10785"/>
                  <a:gd name="connsiteY1277" fmla="*/ 1120 h 10000"/>
                  <a:gd name="connsiteX1278" fmla="*/ 5604 w 10785"/>
                  <a:gd name="connsiteY1278" fmla="*/ 1128 h 10000"/>
                  <a:gd name="connsiteX1279" fmla="*/ 5599 w 10785"/>
                  <a:gd name="connsiteY1279" fmla="*/ 1103 h 10000"/>
                  <a:gd name="connsiteX1280" fmla="*/ 5599 w 10785"/>
                  <a:gd name="connsiteY1280" fmla="*/ 1103 h 10000"/>
                  <a:gd name="connsiteX1281" fmla="*/ 5594 w 10785"/>
                  <a:gd name="connsiteY1281" fmla="*/ 1068 h 10000"/>
                  <a:gd name="connsiteX1282" fmla="*/ 5594 w 10785"/>
                  <a:gd name="connsiteY1282" fmla="*/ 1060 h 10000"/>
                  <a:gd name="connsiteX1283" fmla="*/ 5581 w 10785"/>
                  <a:gd name="connsiteY1283" fmla="*/ 1034 h 10000"/>
                  <a:gd name="connsiteX1284" fmla="*/ 5571 w 10785"/>
                  <a:gd name="connsiteY1284" fmla="*/ 1009 h 10000"/>
                  <a:gd name="connsiteX1285" fmla="*/ 5571 w 10785"/>
                  <a:gd name="connsiteY1285" fmla="*/ 991 h 10000"/>
                  <a:gd name="connsiteX1286" fmla="*/ 5585 w 10785"/>
                  <a:gd name="connsiteY1286" fmla="*/ 1009 h 10000"/>
                  <a:gd name="connsiteX1287" fmla="*/ 5604 w 10785"/>
                  <a:gd name="connsiteY1287" fmla="*/ 1043 h 10000"/>
                  <a:gd name="connsiteX1288" fmla="*/ 5641 w 10785"/>
                  <a:gd name="connsiteY1288" fmla="*/ 1094 h 10000"/>
                  <a:gd name="connsiteX1289" fmla="*/ 5631 w 10785"/>
                  <a:gd name="connsiteY1289" fmla="*/ 1128 h 10000"/>
                  <a:gd name="connsiteX1290" fmla="*/ 5641 w 10785"/>
                  <a:gd name="connsiteY1290" fmla="*/ 1128 h 10000"/>
                  <a:gd name="connsiteX1291" fmla="*/ 5659 w 10785"/>
                  <a:gd name="connsiteY1291" fmla="*/ 1017 h 10000"/>
                  <a:gd name="connsiteX1292" fmla="*/ 5659 w 10785"/>
                  <a:gd name="connsiteY1292" fmla="*/ 983 h 10000"/>
                  <a:gd name="connsiteX1293" fmla="*/ 5659 w 10785"/>
                  <a:gd name="connsiteY1293" fmla="*/ 957 h 10000"/>
                  <a:gd name="connsiteX1294" fmla="*/ 5654 w 10785"/>
                  <a:gd name="connsiteY1294" fmla="*/ 966 h 10000"/>
                  <a:gd name="connsiteX1295" fmla="*/ 5641 w 10785"/>
                  <a:gd name="connsiteY1295" fmla="*/ 957 h 10000"/>
                  <a:gd name="connsiteX1296" fmla="*/ 5631 w 10785"/>
                  <a:gd name="connsiteY1296" fmla="*/ 897 h 10000"/>
                  <a:gd name="connsiteX1297" fmla="*/ 5641 w 10785"/>
                  <a:gd name="connsiteY1297" fmla="*/ 872 h 10000"/>
                  <a:gd name="connsiteX1298" fmla="*/ 5618 w 10785"/>
                  <a:gd name="connsiteY1298" fmla="*/ 803 h 10000"/>
                  <a:gd name="connsiteX1299" fmla="*/ 5604 w 10785"/>
                  <a:gd name="connsiteY1299" fmla="*/ 821 h 10000"/>
                  <a:gd name="connsiteX1300" fmla="*/ 5613 w 10785"/>
                  <a:gd name="connsiteY1300" fmla="*/ 846 h 10000"/>
                  <a:gd name="connsiteX1301" fmla="*/ 5604 w 10785"/>
                  <a:gd name="connsiteY1301" fmla="*/ 855 h 10000"/>
                  <a:gd name="connsiteX1302" fmla="*/ 5599 w 10785"/>
                  <a:gd name="connsiteY1302" fmla="*/ 880 h 10000"/>
                  <a:gd name="connsiteX1303" fmla="*/ 5594 w 10785"/>
                  <a:gd name="connsiteY1303" fmla="*/ 880 h 10000"/>
                  <a:gd name="connsiteX1304" fmla="*/ 5585 w 10785"/>
                  <a:gd name="connsiteY1304" fmla="*/ 829 h 10000"/>
                  <a:gd name="connsiteX1305" fmla="*/ 5571 w 10785"/>
                  <a:gd name="connsiteY1305" fmla="*/ 803 h 10000"/>
                  <a:gd name="connsiteX1306" fmla="*/ 5585 w 10785"/>
                  <a:gd name="connsiteY1306" fmla="*/ 795 h 10000"/>
                  <a:gd name="connsiteX1307" fmla="*/ 5585 w 10785"/>
                  <a:gd name="connsiteY1307" fmla="*/ 761 h 10000"/>
                  <a:gd name="connsiteX1308" fmla="*/ 5558 w 10785"/>
                  <a:gd name="connsiteY1308" fmla="*/ 709 h 10000"/>
                  <a:gd name="connsiteX1309" fmla="*/ 5544 w 10785"/>
                  <a:gd name="connsiteY1309" fmla="*/ 709 h 10000"/>
                  <a:gd name="connsiteX1310" fmla="*/ 5544 w 10785"/>
                  <a:gd name="connsiteY1310" fmla="*/ 684 h 10000"/>
                  <a:gd name="connsiteX1311" fmla="*/ 5525 w 10785"/>
                  <a:gd name="connsiteY1311" fmla="*/ 632 h 10000"/>
                  <a:gd name="connsiteX1312" fmla="*/ 5507 w 10785"/>
                  <a:gd name="connsiteY1312" fmla="*/ 607 h 10000"/>
                  <a:gd name="connsiteX1313" fmla="*/ 5512 w 10785"/>
                  <a:gd name="connsiteY1313" fmla="*/ 598 h 10000"/>
                  <a:gd name="connsiteX1314" fmla="*/ 5507 w 10785"/>
                  <a:gd name="connsiteY1314" fmla="*/ 581 h 10000"/>
                  <a:gd name="connsiteX1315" fmla="*/ 5493 w 10785"/>
                  <a:gd name="connsiteY1315" fmla="*/ 573 h 10000"/>
                  <a:gd name="connsiteX1316" fmla="*/ 5484 w 10785"/>
                  <a:gd name="connsiteY1316" fmla="*/ 581 h 10000"/>
                  <a:gd name="connsiteX1317" fmla="*/ 5484 w 10785"/>
                  <a:gd name="connsiteY1317" fmla="*/ 573 h 10000"/>
                  <a:gd name="connsiteX1318" fmla="*/ 5484 w 10785"/>
                  <a:gd name="connsiteY1318" fmla="*/ 547 h 10000"/>
                  <a:gd name="connsiteX1319" fmla="*/ 5465 w 10785"/>
                  <a:gd name="connsiteY1319" fmla="*/ 556 h 10000"/>
                  <a:gd name="connsiteX1320" fmla="*/ 5433 w 10785"/>
                  <a:gd name="connsiteY1320" fmla="*/ 547 h 10000"/>
                  <a:gd name="connsiteX1321" fmla="*/ 5410 w 10785"/>
                  <a:gd name="connsiteY1321" fmla="*/ 573 h 10000"/>
                  <a:gd name="connsiteX1322" fmla="*/ 5406 w 10785"/>
                  <a:gd name="connsiteY1322" fmla="*/ 573 h 10000"/>
                  <a:gd name="connsiteX1323" fmla="*/ 5392 w 10785"/>
                  <a:gd name="connsiteY1323" fmla="*/ 573 h 10000"/>
                  <a:gd name="connsiteX1324" fmla="*/ 5364 w 10785"/>
                  <a:gd name="connsiteY1324" fmla="*/ 530 h 10000"/>
                  <a:gd name="connsiteX1325" fmla="*/ 5350 w 10785"/>
                  <a:gd name="connsiteY1325" fmla="*/ 556 h 10000"/>
                  <a:gd name="connsiteX1326" fmla="*/ 5346 w 10785"/>
                  <a:gd name="connsiteY1326" fmla="*/ 556 h 10000"/>
                  <a:gd name="connsiteX1327" fmla="*/ 5313 w 10785"/>
                  <a:gd name="connsiteY1327" fmla="*/ 573 h 10000"/>
                  <a:gd name="connsiteX1328" fmla="*/ 5304 w 10785"/>
                  <a:gd name="connsiteY1328" fmla="*/ 556 h 10000"/>
                  <a:gd name="connsiteX1329" fmla="*/ 5290 w 10785"/>
                  <a:gd name="connsiteY1329" fmla="*/ 573 h 10000"/>
                  <a:gd name="connsiteX1330" fmla="*/ 5290 w 10785"/>
                  <a:gd name="connsiteY1330" fmla="*/ 556 h 10000"/>
                  <a:gd name="connsiteX1331" fmla="*/ 5300 w 10785"/>
                  <a:gd name="connsiteY1331" fmla="*/ 547 h 10000"/>
                  <a:gd name="connsiteX1332" fmla="*/ 5300 w 10785"/>
                  <a:gd name="connsiteY1332" fmla="*/ 530 h 10000"/>
                  <a:gd name="connsiteX1333" fmla="*/ 5290 w 10785"/>
                  <a:gd name="connsiteY1333" fmla="*/ 530 h 10000"/>
                  <a:gd name="connsiteX1334" fmla="*/ 5286 w 10785"/>
                  <a:gd name="connsiteY1334" fmla="*/ 547 h 10000"/>
                  <a:gd name="connsiteX1335" fmla="*/ 5272 w 10785"/>
                  <a:gd name="connsiteY1335" fmla="*/ 556 h 10000"/>
                  <a:gd name="connsiteX1336" fmla="*/ 5272 w 10785"/>
                  <a:gd name="connsiteY1336" fmla="*/ 598 h 10000"/>
                  <a:gd name="connsiteX1337" fmla="*/ 5276 w 10785"/>
                  <a:gd name="connsiteY1337" fmla="*/ 581 h 10000"/>
                  <a:gd name="connsiteX1338" fmla="*/ 5272 w 10785"/>
                  <a:gd name="connsiteY1338" fmla="*/ 607 h 10000"/>
                  <a:gd name="connsiteX1339" fmla="*/ 5263 w 10785"/>
                  <a:gd name="connsiteY1339" fmla="*/ 607 h 10000"/>
                  <a:gd name="connsiteX1340" fmla="*/ 5263 w 10785"/>
                  <a:gd name="connsiteY1340" fmla="*/ 632 h 10000"/>
                  <a:gd name="connsiteX1341" fmla="*/ 5258 w 10785"/>
                  <a:gd name="connsiteY1341" fmla="*/ 658 h 10000"/>
                  <a:gd name="connsiteX1342" fmla="*/ 5244 w 10785"/>
                  <a:gd name="connsiteY1342" fmla="*/ 667 h 10000"/>
                  <a:gd name="connsiteX1343" fmla="*/ 5240 w 10785"/>
                  <a:gd name="connsiteY1343" fmla="*/ 658 h 10000"/>
                  <a:gd name="connsiteX1344" fmla="*/ 5240 w 10785"/>
                  <a:gd name="connsiteY1344" fmla="*/ 684 h 10000"/>
                  <a:gd name="connsiteX1345" fmla="*/ 5212 w 10785"/>
                  <a:gd name="connsiteY1345" fmla="*/ 684 h 10000"/>
                  <a:gd name="connsiteX1346" fmla="*/ 5198 w 10785"/>
                  <a:gd name="connsiteY1346" fmla="*/ 692 h 10000"/>
                  <a:gd name="connsiteX1347" fmla="*/ 5184 w 10785"/>
                  <a:gd name="connsiteY1347" fmla="*/ 684 h 10000"/>
                  <a:gd name="connsiteX1348" fmla="*/ 5157 w 10785"/>
                  <a:gd name="connsiteY1348" fmla="*/ 684 h 10000"/>
                  <a:gd name="connsiteX1349" fmla="*/ 5157 w 10785"/>
                  <a:gd name="connsiteY1349" fmla="*/ 667 h 10000"/>
                  <a:gd name="connsiteX1350" fmla="*/ 5157 w 10785"/>
                  <a:gd name="connsiteY1350" fmla="*/ 667 h 10000"/>
                  <a:gd name="connsiteX1351" fmla="*/ 5180 w 10785"/>
                  <a:gd name="connsiteY1351" fmla="*/ 650 h 10000"/>
                  <a:gd name="connsiteX1352" fmla="*/ 5184 w 10785"/>
                  <a:gd name="connsiteY1352" fmla="*/ 658 h 10000"/>
                  <a:gd name="connsiteX1353" fmla="*/ 5203 w 10785"/>
                  <a:gd name="connsiteY1353" fmla="*/ 547 h 10000"/>
                  <a:gd name="connsiteX1354" fmla="*/ 5226 w 10785"/>
                  <a:gd name="connsiteY1354" fmla="*/ 530 h 10000"/>
                  <a:gd name="connsiteX1355" fmla="*/ 5230 w 10785"/>
                  <a:gd name="connsiteY1355" fmla="*/ 487 h 10000"/>
                  <a:gd name="connsiteX1356" fmla="*/ 5230 w 10785"/>
                  <a:gd name="connsiteY1356" fmla="*/ 487 h 10000"/>
                  <a:gd name="connsiteX1357" fmla="*/ 5226 w 10785"/>
                  <a:gd name="connsiteY1357" fmla="*/ 462 h 10000"/>
                  <a:gd name="connsiteX1358" fmla="*/ 5226 w 10785"/>
                  <a:gd name="connsiteY1358" fmla="*/ 462 h 10000"/>
                  <a:gd name="connsiteX1359" fmla="*/ 5240 w 10785"/>
                  <a:gd name="connsiteY1359" fmla="*/ 462 h 10000"/>
                  <a:gd name="connsiteX1360" fmla="*/ 5240 w 10785"/>
                  <a:gd name="connsiteY1360" fmla="*/ 444 h 10000"/>
                  <a:gd name="connsiteX1361" fmla="*/ 5230 w 10785"/>
                  <a:gd name="connsiteY1361" fmla="*/ 436 h 10000"/>
                  <a:gd name="connsiteX1362" fmla="*/ 5230 w 10785"/>
                  <a:gd name="connsiteY1362" fmla="*/ 419 h 10000"/>
                  <a:gd name="connsiteX1363" fmla="*/ 5230 w 10785"/>
                  <a:gd name="connsiteY1363" fmla="*/ 410 h 10000"/>
                  <a:gd name="connsiteX1364" fmla="*/ 5198 w 10785"/>
                  <a:gd name="connsiteY1364" fmla="*/ 402 h 10000"/>
                  <a:gd name="connsiteX1365" fmla="*/ 5189 w 10785"/>
                  <a:gd name="connsiteY1365" fmla="*/ 402 h 10000"/>
                  <a:gd name="connsiteX1366" fmla="*/ 5184 w 10785"/>
                  <a:gd name="connsiteY1366" fmla="*/ 376 h 10000"/>
                  <a:gd name="connsiteX1367" fmla="*/ 5180 w 10785"/>
                  <a:gd name="connsiteY1367" fmla="*/ 376 h 10000"/>
                  <a:gd name="connsiteX1368" fmla="*/ 5166 w 10785"/>
                  <a:gd name="connsiteY1368" fmla="*/ 376 h 10000"/>
                  <a:gd name="connsiteX1369" fmla="*/ 5157 w 10785"/>
                  <a:gd name="connsiteY1369" fmla="*/ 385 h 10000"/>
                  <a:gd name="connsiteX1370" fmla="*/ 5152 w 10785"/>
                  <a:gd name="connsiteY1370" fmla="*/ 376 h 10000"/>
                  <a:gd name="connsiteX1371" fmla="*/ 5129 w 10785"/>
                  <a:gd name="connsiteY1371" fmla="*/ 385 h 10000"/>
                  <a:gd name="connsiteX1372" fmla="*/ 5129 w 10785"/>
                  <a:gd name="connsiteY1372" fmla="*/ 350 h 10000"/>
                  <a:gd name="connsiteX1373" fmla="*/ 5129 w 10785"/>
                  <a:gd name="connsiteY1373" fmla="*/ 325 h 10000"/>
                  <a:gd name="connsiteX1374" fmla="*/ 5124 w 10785"/>
                  <a:gd name="connsiteY1374" fmla="*/ 359 h 10000"/>
                  <a:gd name="connsiteX1375" fmla="*/ 5106 w 10785"/>
                  <a:gd name="connsiteY1375" fmla="*/ 359 h 10000"/>
                  <a:gd name="connsiteX1376" fmla="*/ 5037 w 10785"/>
                  <a:gd name="connsiteY1376" fmla="*/ 419 h 10000"/>
                  <a:gd name="connsiteX1377" fmla="*/ 5051 w 10785"/>
                  <a:gd name="connsiteY1377" fmla="*/ 385 h 10000"/>
                  <a:gd name="connsiteX1378" fmla="*/ 5055 w 10785"/>
                  <a:gd name="connsiteY1378" fmla="*/ 376 h 10000"/>
                  <a:gd name="connsiteX1379" fmla="*/ 5092 w 10785"/>
                  <a:gd name="connsiteY1379" fmla="*/ 282 h 10000"/>
                  <a:gd name="connsiteX1380" fmla="*/ 5106 w 10785"/>
                  <a:gd name="connsiteY1380" fmla="*/ 265 h 10000"/>
                  <a:gd name="connsiteX1381" fmla="*/ 5115 w 10785"/>
                  <a:gd name="connsiteY1381" fmla="*/ 265 h 10000"/>
                  <a:gd name="connsiteX1382" fmla="*/ 5124 w 10785"/>
                  <a:gd name="connsiteY1382" fmla="*/ 222 h 10000"/>
                  <a:gd name="connsiteX1383" fmla="*/ 5124 w 10785"/>
                  <a:gd name="connsiteY1383" fmla="*/ 214 h 10000"/>
                  <a:gd name="connsiteX1384" fmla="*/ 5143 w 10785"/>
                  <a:gd name="connsiteY1384" fmla="*/ 197 h 10000"/>
                  <a:gd name="connsiteX1385" fmla="*/ 5152 w 10785"/>
                  <a:gd name="connsiteY1385" fmla="*/ 214 h 10000"/>
                  <a:gd name="connsiteX1386" fmla="*/ 5143 w 10785"/>
                  <a:gd name="connsiteY1386" fmla="*/ 188 h 10000"/>
                  <a:gd name="connsiteX1387" fmla="*/ 5129 w 10785"/>
                  <a:gd name="connsiteY1387" fmla="*/ 103 h 10000"/>
                  <a:gd name="connsiteX1388" fmla="*/ 5115 w 10785"/>
                  <a:gd name="connsiteY1388" fmla="*/ 85 h 10000"/>
                  <a:gd name="connsiteX1389" fmla="*/ 5111 w 10785"/>
                  <a:gd name="connsiteY1389" fmla="*/ 111 h 10000"/>
                  <a:gd name="connsiteX1390" fmla="*/ 5092 w 10785"/>
                  <a:gd name="connsiteY1390" fmla="*/ 103 h 10000"/>
                  <a:gd name="connsiteX1391" fmla="*/ 5069 w 10785"/>
                  <a:gd name="connsiteY1391" fmla="*/ 77 h 10000"/>
                  <a:gd name="connsiteX1392" fmla="*/ 5051 w 10785"/>
                  <a:gd name="connsiteY1392" fmla="*/ 26 h 10000"/>
                  <a:gd name="connsiteX1393" fmla="*/ 5041 w 10785"/>
                  <a:gd name="connsiteY1393" fmla="*/ 34 h 10000"/>
                  <a:gd name="connsiteX1394" fmla="*/ 5037 w 10785"/>
                  <a:gd name="connsiteY1394" fmla="*/ 34 h 10000"/>
                  <a:gd name="connsiteX1395" fmla="*/ 5037 w 10785"/>
                  <a:gd name="connsiteY1395" fmla="*/ 26 h 10000"/>
                  <a:gd name="connsiteX1396" fmla="*/ 5037 w 10785"/>
                  <a:gd name="connsiteY1396" fmla="*/ 9 h 10000"/>
                  <a:gd name="connsiteX1397" fmla="*/ 5023 w 10785"/>
                  <a:gd name="connsiteY1397" fmla="*/ 0 h 10000"/>
                  <a:gd name="connsiteX1398" fmla="*/ 5009 w 10785"/>
                  <a:gd name="connsiteY1398" fmla="*/ 9 h 10000"/>
                  <a:gd name="connsiteX1399" fmla="*/ 4995 w 10785"/>
                  <a:gd name="connsiteY1399" fmla="*/ 34 h 10000"/>
                  <a:gd name="connsiteX1400" fmla="*/ 4991 w 10785"/>
                  <a:gd name="connsiteY1400" fmla="*/ 60 h 10000"/>
                  <a:gd name="connsiteX1401" fmla="*/ 4982 w 10785"/>
                  <a:gd name="connsiteY1401" fmla="*/ 60 h 10000"/>
                  <a:gd name="connsiteX1402" fmla="*/ 4949 w 10785"/>
                  <a:gd name="connsiteY1402" fmla="*/ 51 h 10000"/>
                  <a:gd name="connsiteX1403" fmla="*/ 4949 w 10785"/>
                  <a:gd name="connsiteY1403" fmla="*/ 85 h 10000"/>
                  <a:gd name="connsiteX1404" fmla="*/ 4903 w 10785"/>
                  <a:gd name="connsiteY1404" fmla="*/ 197 h 10000"/>
                  <a:gd name="connsiteX1405" fmla="*/ 4899 w 10785"/>
                  <a:gd name="connsiteY1405" fmla="*/ 239 h 10000"/>
                  <a:gd name="connsiteX1406" fmla="*/ 4871 w 10785"/>
                  <a:gd name="connsiteY1406" fmla="*/ 274 h 10000"/>
                  <a:gd name="connsiteX1407" fmla="*/ 4871 w 10785"/>
                  <a:gd name="connsiteY1407" fmla="*/ 282 h 10000"/>
                  <a:gd name="connsiteX1408" fmla="*/ 4834 w 10785"/>
                  <a:gd name="connsiteY1408" fmla="*/ 376 h 10000"/>
                  <a:gd name="connsiteX1409" fmla="*/ 4829 w 10785"/>
                  <a:gd name="connsiteY1409" fmla="*/ 402 h 10000"/>
                  <a:gd name="connsiteX1410" fmla="*/ 4834 w 10785"/>
                  <a:gd name="connsiteY1410" fmla="*/ 410 h 10000"/>
                  <a:gd name="connsiteX1411" fmla="*/ 4829 w 10785"/>
                  <a:gd name="connsiteY1411" fmla="*/ 436 h 10000"/>
                  <a:gd name="connsiteX1412" fmla="*/ 4825 w 10785"/>
                  <a:gd name="connsiteY1412" fmla="*/ 436 h 10000"/>
                  <a:gd name="connsiteX1413" fmla="*/ 4825 w 10785"/>
                  <a:gd name="connsiteY1413" fmla="*/ 444 h 10000"/>
                  <a:gd name="connsiteX1414" fmla="*/ 4811 w 10785"/>
                  <a:gd name="connsiteY1414" fmla="*/ 496 h 10000"/>
                  <a:gd name="connsiteX1415" fmla="*/ 4811 w 10785"/>
                  <a:gd name="connsiteY1415" fmla="*/ 496 h 10000"/>
                  <a:gd name="connsiteX1416" fmla="*/ 4811 w 10785"/>
                  <a:gd name="connsiteY1416" fmla="*/ 521 h 10000"/>
                  <a:gd name="connsiteX1417" fmla="*/ 4816 w 10785"/>
                  <a:gd name="connsiteY1417" fmla="*/ 530 h 10000"/>
                  <a:gd name="connsiteX1418" fmla="*/ 4834 w 10785"/>
                  <a:gd name="connsiteY1418" fmla="*/ 547 h 10000"/>
                  <a:gd name="connsiteX1419" fmla="*/ 4834 w 10785"/>
                  <a:gd name="connsiteY1419" fmla="*/ 581 h 10000"/>
                  <a:gd name="connsiteX1420" fmla="*/ 4843 w 10785"/>
                  <a:gd name="connsiteY1420" fmla="*/ 581 h 10000"/>
                  <a:gd name="connsiteX1421" fmla="*/ 4843 w 10785"/>
                  <a:gd name="connsiteY1421" fmla="*/ 598 h 10000"/>
                  <a:gd name="connsiteX1422" fmla="*/ 4829 w 10785"/>
                  <a:gd name="connsiteY1422" fmla="*/ 598 h 10000"/>
                  <a:gd name="connsiteX1423" fmla="*/ 4829 w 10785"/>
                  <a:gd name="connsiteY1423" fmla="*/ 573 h 10000"/>
                  <a:gd name="connsiteX1424" fmla="*/ 4829 w 10785"/>
                  <a:gd name="connsiteY1424" fmla="*/ 632 h 10000"/>
                  <a:gd name="connsiteX1425" fmla="*/ 4829 w 10785"/>
                  <a:gd name="connsiteY1425" fmla="*/ 632 h 10000"/>
                  <a:gd name="connsiteX1426" fmla="*/ 4829 w 10785"/>
                  <a:gd name="connsiteY1426" fmla="*/ 650 h 10000"/>
                  <a:gd name="connsiteX1427" fmla="*/ 4774 w 10785"/>
                  <a:gd name="connsiteY1427" fmla="*/ 684 h 10000"/>
                  <a:gd name="connsiteX1428" fmla="*/ 4756 w 10785"/>
                  <a:gd name="connsiteY1428" fmla="*/ 684 h 10000"/>
                  <a:gd name="connsiteX1429" fmla="*/ 4737 w 10785"/>
                  <a:gd name="connsiteY1429" fmla="*/ 692 h 10000"/>
                  <a:gd name="connsiteX1430" fmla="*/ 4677 w 10785"/>
                  <a:gd name="connsiteY1430" fmla="*/ 667 h 10000"/>
                  <a:gd name="connsiteX1431" fmla="*/ 4682 w 10785"/>
                  <a:gd name="connsiteY1431" fmla="*/ 692 h 10000"/>
                  <a:gd name="connsiteX1432" fmla="*/ 4682 w 10785"/>
                  <a:gd name="connsiteY1432" fmla="*/ 709 h 10000"/>
                  <a:gd name="connsiteX1433" fmla="*/ 4691 w 10785"/>
                  <a:gd name="connsiteY1433" fmla="*/ 718 h 10000"/>
                  <a:gd name="connsiteX1434" fmla="*/ 4691 w 10785"/>
                  <a:gd name="connsiteY1434" fmla="*/ 744 h 10000"/>
                  <a:gd name="connsiteX1435" fmla="*/ 4700 w 10785"/>
                  <a:gd name="connsiteY1435" fmla="*/ 744 h 10000"/>
                  <a:gd name="connsiteX1436" fmla="*/ 4714 w 10785"/>
                  <a:gd name="connsiteY1436" fmla="*/ 769 h 10000"/>
                  <a:gd name="connsiteX1437" fmla="*/ 4710 w 10785"/>
                  <a:gd name="connsiteY1437" fmla="*/ 786 h 10000"/>
                  <a:gd name="connsiteX1438" fmla="*/ 4737 w 10785"/>
                  <a:gd name="connsiteY1438" fmla="*/ 786 h 10000"/>
                  <a:gd name="connsiteX1439" fmla="*/ 4742 w 10785"/>
                  <a:gd name="connsiteY1439" fmla="*/ 795 h 10000"/>
                  <a:gd name="connsiteX1440" fmla="*/ 4742 w 10785"/>
                  <a:gd name="connsiteY1440" fmla="*/ 803 h 10000"/>
                  <a:gd name="connsiteX1441" fmla="*/ 4737 w 10785"/>
                  <a:gd name="connsiteY1441" fmla="*/ 846 h 10000"/>
                  <a:gd name="connsiteX1442" fmla="*/ 4737 w 10785"/>
                  <a:gd name="connsiteY1442" fmla="*/ 880 h 10000"/>
                  <a:gd name="connsiteX1443" fmla="*/ 4737 w 10785"/>
                  <a:gd name="connsiteY1443" fmla="*/ 906 h 10000"/>
                  <a:gd name="connsiteX1444" fmla="*/ 4724 w 10785"/>
                  <a:gd name="connsiteY1444" fmla="*/ 897 h 10000"/>
                  <a:gd name="connsiteX1445" fmla="*/ 4724 w 10785"/>
                  <a:gd name="connsiteY1445" fmla="*/ 872 h 10000"/>
                  <a:gd name="connsiteX1446" fmla="*/ 4714 w 10785"/>
                  <a:gd name="connsiteY1446" fmla="*/ 855 h 10000"/>
                  <a:gd name="connsiteX1447" fmla="*/ 4691 w 10785"/>
                  <a:gd name="connsiteY1447" fmla="*/ 846 h 10000"/>
                  <a:gd name="connsiteX1448" fmla="*/ 4691 w 10785"/>
                  <a:gd name="connsiteY1448" fmla="*/ 846 h 10000"/>
                  <a:gd name="connsiteX1449" fmla="*/ 4696 w 10785"/>
                  <a:gd name="connsiteY1449" fmla="*/ 821 h 10000"/>
                  <a:gd name="connsiteX1450" fmla="*/ 4691 w 10785"/>
                  <a:gd name="connsiteY1450" fmla="*/ 803 h 10000"/>
                  <a:gd name="connsiteX1451" fmla="*/ 4668 w 10785"/>
                  <a:gd name="connsiteY1451" fmla="*/ 821 h 10000"/>
                  <a:gd name="connsiteX1452" fmla="*/ 4668 w 10785"/>
                  <a:gd name="connsiteY1452" fmla="*/ 786 h 10000"/>
                  <a:gd name="connsiteX1453" fmla="*/ 4664 w 10785"/>
                  <a:gd name="connsiteY1453" fmla="*/ 786 h 10000"/>
                  <a:gd name="connsiteX1454" fmla="*/ 4622 w 10785"/>
                  <a:gd name="connsiteY1454" fmla="*/ 846 h 10000"/>
                  <a:gd name="connsiteX1455" fmla="*/ 4627 w 10785"/>
                  <a:gd name="connsiteY1455" fmla="*/ 872 h 10000"/>
                  <a:gd name="connsiteX1456" fmla="*/ 4622 w 10785"/>
                  <a:gd name="connsiteY1456" fmla="*/ 880 h 10000"/>
                  <a:gd name="connsiteX1457" fmla="*/ 4622 w 10785"/>
                  <a:gd name="connsiteY1457" fmla="*/ 880 h 10000"/>
                  <a:gd name="connsiteX1458" fmla="*/ 4618 w 10785"/>
                  <a:gd name="connsiteY1458" fmla="*/ 872 h 10000"/>
                  <a:gd name="connsiteX1459" fmla="*/ 4604 w 10785"/>
                  <a:gd name="connsiteY1459" fmla="*/ 880 h 10000"/>
                  <a:gd name="connsiteX1460" fmla="*/ 4594 w 10785"/>
                  <a:gd name="connsiteY1460" fmla="*/ 906 h 10000"/>
                  <a:gd name="connsiteX1461" fmla="*/ 4604 w 10785"/>
                  <a:gd name="connsiteY1461" fmla="*/ 906 h 10000"/>
                  <a:gd name="connsiteX1462" fmla="*/ 4608 w 10785"/>
                  <a:gd name="connsiteY1462" fmla="*/ 906 h 10000"/>
                  <a:gd name="connsiteX1463" fmla="*/ 4608 w 10785"/>
                  <a:gd name="connsiteY1463" fmla="*/ 932 h 10000"/>
                  <a:gd name="connsiteX1464" fmla="*/ 4604 w 10785"/>
                  <a:gd name="connsiteY1464" fmla="*/ 932 h 10000"/>
                  <a:gd name="connsiteX1465" fmla="*/ 4590 w 10785"/>
                  <a:gd name="connsiteY1465" fmla="*/ 932 h 10000"/>
                  <a:gd name="connsiteX1466" fmla="*/ 4567 w 10785"/>
                  <a:gd name="connsiteY1466" fmla="*/ 957 h 10000"/>
                  <a:gd name="connsiteX1467" fmla="*/ 4567 w 10785"/>
                  <a:gd name="connsiteY1467" fmla="*/ 932 h 10000"/>
                  <a:gd name="connsiteX1468" fmla="*/ 4567 w 10785"/>
                  <a:gd name="connsiteY1468" fmla="*/ 923 h 10000"/>
                  <a:gd name="connsiteX1469" fmla="*/ 4562 w 10785"/>
                  <a:gd name="connsiteY1469" fmla="*/ 932 h 10000"/>
                  <a:gd name="connsiteX1470" fmla="*/ 4548 w 10785"/>
                  <a:gd name="connsiteY1470" fmla="*/ 957 h 10000"/>
                  <a:gd name="connsiteX1471" fmla="*/ 4544 w 10785"/>
                  <a:gd name="connsiteY1471" fmla="*/ 957 h 10000"/>
                  <a:gd name="connsiteX1472" fmla="*/ 4521 w 10785"/>
                  <a:gd name="connsiteY1472" fmla="*/ 983 h 10000"/>
                  <a:gd name="connsiteX1473" fmla="*/ 4521 w 10785"/>
                  <a:gd name="connsiteY1473" fmla="*/ 983 h 10000"/>
                  <a:gd name="connsiteX1474" fmla="*/ 4530 w 10785"/>
                  <a:gd name="connsiteY1474" fmla="*/ 957 h 10000"/>
                  <a:gd name="connsiteX1475" fmla="*/ 4535 w 10785"/>
                  <a:gd name="connsiteY1475" fmla="*/ 932 h 10000"/>
                  <a:gd name="connsiteX1476" fmla="*/ 4521 w 10785"/>
                  <a:gd name="connsiteY1476" fmla="*/ 932 h 10000"/>
                  <a:gd name="connsiteX1477" fmla="*/ 4516 w 10785"/>
                  <a:gd name="connsiteY1477" fmla="*/ 923 h 10000"/>
                  <a:gd name="connsiteX1478" fmla="*/ 4516 w 10785"/>
                  <a:gd name="connsiteY1478" fmla="*/ 932 h 10000"/>
                  <a:gd name="connsiteX1479" fmla="*/ 4488 w 10785"/>
                  <a:gd name="connsiteY1479" fmla="*/ 940 h 10000"/>
                  <a:gd name="connsiteX1480" fmla="*/ 4484 w 10785"/>
                  <a:gd name="connsiteY1480" fmla="*/ 983 h 10000"/>
                  <a:gd name="connsiteX1481" fmla="*/ 4470 w 10785"/>
                  <a:gd name="connsiteY1481" fmla="*/ 983 h 10000"/>
                  <a:gd name="connsiteX1482" fmla="*/ 4470 w 10785"/>
                  <a:gd name="connsiteY1482" fmla="*/ 966 h 10000"/>
                  <a:gd name="connsiteX1483" fmla="*/ 4488 w 10785"/>
                  <a:gd name="connsiteY1483" fmla="*/ 923 h 10000"/>
                  <a:gd name="connsiteX1484" fmla="*/ 4493 w 10785"/>
                  <a:gd name="connsiteY1484" fmla="*/ 880 h 10000"/>
                  <a:gd name="connsiteX1485" fmla="*/ 4475 w 10785"/>
                  <a:gd name="connsiteY1485" fmla="*/ 846 h 10000"/>
                  <a:gd name="connsiteX1486" fmla="*/ 4442 w 10785"/>
                  <a:gd name="connsiteY1486" fmla="*/ 855 h 10000"/>
                  <a:gd name="connsiteX1487" fmla="*/ 4433 w 10785"/>
                  <a:gd name="connsiteY1487" fmla="*/ 855 h 10000"/>
                  <a:gd name="connsiteX1488" fmla="*/ 4433 w 10785"/>
                  <a:gd name="connsiteY1488" fmla="*/ 880 h 10000"/>
                  <a:gd name="connsiteX1489" fmla="*/ 4401 w 10785"/>
                  <a:gd name="connsiteY1489" fmla="*/ 855 h 10000"/>
                  <a:gd name="connsiteX1490" fmla="*/ 4396 w 10785"/>
                  <a:gd name="connsiteY1490" fmla="*/ 872 h 10000"/>
                  <a:gd name="connsiteX1491" fmla="*/ 4382 w 10785"/>
                  <a:gd name="connsiteY1491" fmla="*/ 897 h 10000"/>
                  <a:gd name="connsiteX1492" fmla="*/ 4373 w 10785"/>
                  <a:gd name="connsiteY1492" fmla="*/ 872 h 10000"/>
                  <a:gd name="connsiteX1493" fmla="*/ 4341 w 10785"/>
                  <a:gd name="connsiteY1493" fmla="*/ 872 h 10000"/>
                  <a:gd name="connsiteX1494" fmla="*/ 4336 w 10785"/>
                  <a:gd name="connsiteY1494" fmla="*/ 880 h 10000"/>
                  <a:gd name="connsiteX1495" fmla="*/ 4346 w 10785"/>
                  <a:gd name="connsiteY1495" fmla="*/ 897 h 10000"/>
                  <a:gd name="connsiteX1496" fmla="*/ 4346 w 10785"/>
                  <a:gd name="connsiteY1496" fmla="*/ 897 h 10000"/>
                  <a:gd name="connsiteX1497" fmla="*/ 4313 w 10785"/>
                  <a:gd name="connsiteY1497" fmla="*/ 906 h 10000"/>
                  <a:gd name="connsiteX1498" fmla="*/ 4313 w 10785"/>
                  <a:gd name="connsiteY1498" fmla="*/ 906 h 10000"/>
                  <a:gd name="connsiteX1499" fmla="*/ 4313 w 10785"/>
                  <a:gd name="connsiteY1499" fmla="*/ 880 h 10000"/>
                  <a:gd name="connsiteX1500" fmla="*/ 4309 w 10785"/>
                  <a:gd name="connsiteY1500" fmla="*/ 897 h 10000"/>
                  <a:gd name="connsiteX1501" fmla="*/ 4295 w 10785"/>
                  <a:gd name="connsiteY1501" fmla="*/ 923 h 10000"/>
                  <a:gd name="connsiteX1502" fmla="*/ 4286 w 10785"/>
                  <a:gd name="connsiteY1502" fmla="*/ 897 h 10000"/>
                  <a:gd name="connsiteX1503" fmla="*/ 4281 w 10785"/>
                  <a:gd name="connsiteY1503" fmla="*/ 906 h 10000"/>
                  <a:gd name="connsiteX1504" fmla="*/ 4281 w 10785"/>
                  <a:gd name="connsiteY1504" fmla="*/ 940 h 10000"/>
                  <a:gd name="connsiteX1505" fmla="*/ 4286 w 10785"/>
                  <a:gd name="connsiteY1505" fmla="*/ 957 h 10000"/>
                  <a:gd name="connsiteX1506" fmla="*/ 4309 w 10785"/>
                  <a:gd name="connsiteY1506" fmla="*/ 932 h 10000"/>
                  <a:gd name="connsiteX1507" fmla="*/ 4313 w 10785"/>
                  <a:gd name="connsiteY1507" fmla="*/ 957 h 10000"/>
                  <a:gd name="connsiteX1508" fmla="*/ 4313 w 10785"/>
                  <a:gd name="connsiteY1508" fmla="*/ 966 h 10000"/>
                  <a:gd name="connsiteX1509" fmla="*/ 4323 w 10785"/>
                  <a:gd name="connsiteY1509" fmla="*/ 966 h 10000"/>
                  <a:gd name="connsiteX1510" fmla="*/ 4323 w 10785"/>
                  <a:gd name="connsiteY1510" fmla="*/ 940 h 10000"/>
                  <a:gd name="connsiteX1511" fmla="*/ 4327 w 10785"/>
                  <a:gd name="connsiteY1511" fmla="*/ 940 h 10000"/>
                  <a:gd name="connsiteX1512" fmla="*/ 4327 w 10785"/>
                  <a:gd name="connsiteY1512" fmla="*/ 957 h 10000"/>
                  <a:gd name="connsiteX1513" fmla="*/ 4327 w 10785"/>
                  <a:gd name="connsiteY1513" fmla="*/ 966 h 10000"/>
                  <a:gd name="connsiteX1514" fmla="*/ 4323 w 10785"/>
                  <a:gd name="connsiteY1514" fmla="*/ 991 h 10000"/>
                  <a:gd name="connsiteX1515" fmla="*/ 4207 w 10785"/>
                  <a:gd name="connsiteY1515" fmla="*/ 1060 h 10000"/>
                  <a:gd name="connsiteX1516" fmla="*/ 4207 w 10785"/>
                  <a:gd name="connsiteY1516" fmla="*/ 1060 h 10000"/>
                  <a:gd name="connsiteX1517" fmla="*/ 4203 w 10785"/>
                  <a:gd name="connsiteY1517" fmla="*/ 1068 h 10000"/>
                  <a:gd name="connsiteX1518" fmla="*/ 4203 w 10785"/>
                  <a:gd name="connsiteY1518" fmla="*/ 1094 h 10000"/>
                  <a:gd name="connsiteX1519" fmla="*/ 4203 w 10785"/>
                  <a:gd name="connsiteY1519" fmla="*/ 1094 h 10000"/>
                  <a:gd name="connsiteX1520" fmla="*/ 4189 w 10785"/>
                  <a:gd name="connsiteY1520" fmla="*/ 1094 h 10000"/>
                  <a:gd name="connsiteX1521" fmla="*/ 4166 w 10785"/>
                  <a:gd name="connsiteY1521" fmla="*/ 1103 h 10000"/>
                  <a:gd name="connsiteX1522" fmla="*/ 4152 w 10785"/>
                  <a:gd name="connsiteY1522" fmla="*/ 1094 h 10000"/>
                  <a:gd name="connsiteX1523" fmla="*/ 4134 w 10785"/>
                  <a:gd name="connsiteY1523" fmla="*/ 1120 h 10000"/>
                  <a:gd name="connsiteX1524" fmla="*/ 4106 w 10785"/>
                  <a:gd name="connsiteY1524" fmla="*/ 1120 h 10000"/>
                  <a:gd name="connsiteX1525" fmla="*/ 4092 w 10785"/>
                  <a:gd name="connsiteY1525" fmla="*/ 1154 h 10000"/>
                  <a:gd name="connsiteX1526" fmla="*/ 4106 w 10785"/>
                  <a:gd name="connsiteY1526" fmla="*/ 1171 h 10000"/>
                  <a:gd name="connsiteX1527" fmla="*/ 4078 w 10785"/>
                  <a:gd name="connsiteY1527" fmla="*/ 1179 h 10000"/>
                  <a:gd name="connsiteX1528" fmla="*/ 4065 w 10785"/>
                  <a:gd name="connsiteY1528" fmla="*/ 1205 h 10000"/>
                  <a:gd name="connsiteX1529" fmla="*/ 4046 w 10785"/>
                  <a:gd name="connsiteY1529" fmla="*/ 1179 h 10000"/>
                  <a:gd name="connsiteX1530" fmla="*/ 4041 w 10785"/>
                  <a:gd name="connsiteY1530" fmla="*/ 1197 h 10000"/>
                  <a:gd name="connsiteX1531" fmla="*/ 4028 w 10785"/>
                  <a:gd name="connsiteY1531" fmla="*/ 1205 h 10000"/>
                  <a:gd name="connsiteX1532" fmla="*/ 4028 w 10785"/>
                  <a:gd name="connsiteY1532" fmla="*/ 1205 h 10000"/>
                  <a:gd name="connsiteX1533" fmla="*/ 4032 w 10785"/>
                  <a:gd name="connsiteY1533" fmla="*/ 1205 h 10000"/>
                  <a:gd name="connsiteX1534" fmla="*/ 4032 w 10785"/>
                  <a:gd name="connsiteY1534" fmla="*/ 1231 h 10000"/>
                  <a:gd name="connsiteX1535" fmla="*/ 4014 w 10785"/>
                  <a:gd name="connsiteY1535" fmla="*/ 1239 h 10000"/>
                  <a:gd name="connsiteX1536" fmla="*/ 4014 w 10785"/>
                  <a:gd name="connsiteY1536" fmla="*/ 1256 h 10000"/>
                  <a:gd name="connsiteX1537" fmla="*/ 4000 w 10785"/>
                  <a:gd name="connsiteY1537" fmla="*/ 1265 h 10000"/>
                  <a:gd name="connsiteX1538" fmla="*/ 3986 w 10785"/>
                  <a:gd name="connsiteY1538" fmla="*/ 1308 h 10000"/>
                  <a:gd name="connsiteX1539" fmla="*/ 3972 w 10785"/>
                  <a:gd name="connsiteY1539" fmla="*/ 1316 h 10000"/>
                  <a:gd name="connsiteX1540" fmla="*/ 3972 w 10785"/>
                  <a:gd name="connsiteY1540" fmla="*/ 1325 h 10000"/>
                  <a:gd name="connsiteX1541" fmla="*/ 3972 w 10785"/>
                  <a:gd name="connsiteY1541" fmla="*/ 1342 h 10000"/>
                  <a:gd name="connsiteX1542" fmla="*/ 3968 w 10785"/>
                  <a:gd name="connsiteY1542" fmla="*/ 1350 h 10000"/>
                  <a:gd name="connsiteX1543" fmla="*/ 3954 w 10785"/>
                  <a:gd name="connsiteY1543" fmla="*/ 1368 h 10000"/>
                  <a:gd name="connsiteX1544" fmla="*/ 3945 w 10785"/>
                  <a:gd name="connsiteY1544" fmla="*/ 1350 h 10000"/>
                  <a:gd name="connsiteX1545" fmla="*/ 3908 w 10785"/>
                  <a:gd name="connsiteY1545" fmla="*/ 1342 h 10000"/>
                  <a:gd name="connsiteX1546" fmla="*/ 3894 w 10785"/>
                  <a:gd name="connsiteY1546" fmla="*/ 1368 h 10000"/>
                  <a:gd name="connsiteX1547" fmla="*/ 3922 w 10785"/>
                  <a:gd name="connsiteY1547" fmla="*/ 1393 h 10000"/>
                  <a:gd name="connsiteX1548" fmla="*/ 3945 w 10785"/>
                  <a:gd name="connsiteY1548" fmla="*/ 1393 h 10000"/>
                  <a:gd name="connsiteX1549" fmla="*/ 3940 w 10785"/>
                  <a:gd name="connsiteY1549" fmla="*/ 1419 h 10000"/>
                  <a:gd name="connsiteX1550" fmla="*/ 3931 w 10785"/>
                  <a:gd name="connsiteY1550" fmla="*/ 1427 h 10000"/>
                  <a:gd name="connsiteX1551" fmla="*/ 3926 w 10785"/>
                  <a:gd name="connsiteY1551" fmla="*/ 1427 h 10000"/>
                  <a:gd name="connsiteX1552" fmla="*/ 3922 w 10785"/>
                  <a:gd name="connsiteY1552" fmla="*/ 1419 h 10000"/>
                  <a:gd name="connsiteX1553" fmla="*/ 3912 w 10785"/>
                  <a:gd name="connsiteY1553" fmla="*/ 1427 h 10000"/>
                  <a:gd name="connsiteX1554" fmla="*/ 3912 w 10785"/>
                  <a:gd name="connsiteY1554" fmla="*/ 1444 h 10000"/>
                  <a:gd name="connsiteX1555" fmla="*/ 3894 w 10785"/>
                  <a:gd name="connsiteY1555" fmla="*/ 1513 h 10000"/>
                  <a:gd name="connsiteX1556" fmla="*/ 3885 w 10785"/>
                  <a:gd name="connsiteY1556" fmla="*/ 1513 h 10000"/>
                  <a:gd name="connsiteX1557" fmla="*/ 3880 w 10785"/>
                  <a:gd name="connsiteY1557" fmla="*/ 1538 h 10000"/>
                  <a:gd name="connsiteX1558" fmla="*/ 3885 w 10785"/>
                  <a:gd name="connsiteY1558" fmla="*/ 1564 h 10000"/>
                  <a:gd name="connsiteX1559" fmla="*/ 3880 w 10785"/>
                  <a:gd name="connsiteY1559" fmla="*/ 1581 h 10000"/>
                  <a:gd name="connsiteX1560" fmla="*/ 3871 w 10785"/>
                  <a:gd name="connsiteY1560" fmla="*/ 1538 h 10000"/>
                  <a:gd name="connsiteX1561" fmla="*/ 3853 w 10785"/>
                  <a:gd name="connsiteY1561" fmla="*/ 1530 h 10000"/>
                  <a:gd name="connsiteX1562" fmla="*/ 3853 w 10785"/>
                  <a:gd name="connsiteY1562" fmla="*/ 1504 h 10000"/>
                  <a:gd name="connsiteX1563" fmla="*/ 3834 w 10785"/>
                  <a:gd name="connsiteY1563" fmla="*/ 1487 h 10000"/>
                  <a:gd name="connsiteX1564" fmla="*/ 3834 w 10785"/>
                  <a:gd name="connsiteY1564" fmla="*/ 1487 h 10000"/>
                  <a:gd name="connsiteX1565" fmla="*/ 3839 w 10785"/>
                  <a:gd name="connsiteY1565" fmla="*/ 1513 h 10000"/>
                  <a:gd name="connsiteX1566" fmla="*/ 3820 w 10785"/>
                  <a:gd name="connsiteY1566" fmla="*/ 1538 h 10000"/>
                  <a:gd name="connsiteX1567" fmla="*/ 3820 w 10785"/>
                  <a:gd name="connsiteY1567" fmla="*/ 1556 h 10000"/>
                  <a:gd name="connsiteX1568" fmla="*/ 3820 w 10785"/>
                  <a:gd name="connsiteY1568" fmla="*/ 1564 h 10000"/>
                  <a:gd name="connsiteX1569" fmla="*/ 3820 w 10785"/>
                  <a:gd name="connsiteY1569" fmla="*/ 1581 h 10000"/>
                  <a:gd name="connsiteX1570" fmla="*/ 3853 w 10785"/>
                  <a:gd name="connsiteY1570" fmla="*/ 1581 h 10000"/>
                  <a:gd name="connsiteX1571" fmla="*/ 3857 w 10785"/>
                  <a:gd name="connsiteY1571" fmla="*/ 1598 h 10000"/>
                  <a:gd name="connsiteX1572" fmla="*/ 3880 w 10785"/>
                  <a:gd name="connsiteY1572" fmla="*/ 1615 h 10000"/>
                  <a:gd name="connsiteX1573" fmla="*/ 3871 w 10785"/>
                  <a:gd name="connsiteY1573" fmla="*/ 1615 h 10000"/>
                  <a:gd name="connsiteX1574" fmla="*/ 3871 w 10785"/>
                  <a:gd name="connsiteY1574" fmla="*/ 1641 h 10000"/>
                  <a:gd name="connsiteX1575" fmla="*/ 3880 w 10785"/>
                  <a:gd name="connsiteY1575" fmla="*/ 1641 h 10000"/>
                  <a:gd name="connsiteX1576" fmla="*/ 3871 w 10785"/>
                  <a:gd name="connsiteY1576" fmla="*/ 1650 h 10000"/>
                  <a:gd name="connsiteX1577" fmla="*/ 3857 w 10785"/>
                  <a:gd name="connsiteY1577" fmla="*/ 1650 h 10000"/>
                  <a:gd name="connsiteX1578" fmla="*/ 3853 w 10785"/>
                  <a:gd name="connsiteY1578" fmla="*/ 1650 h 10000"/>
                  <a:gd name="connsiteX1579" fmla="*/ 3839 w 10785"/>
                  <a:gd name="connsiteY1579" fmla="*/ 1667 h 10000"/>
                  <a:gd name="connsiteX1580" fmla="*/ 3848 w 10785"/>
                  <a:gd name="connsiteY1580" fmla="*/ 1692 h 10000"/>
                  <a:gd name="connsiteX1581" fmla="*/ 3834 w 10785"/>
                  <a:gd name="connsiteY1581" fmla="*/ 1692 h 10000"/>
                  <a:gd name="connsiteX1582" fmla="*/ 3825 w 10785"/>
                  <a:gd name="connsiteY1582" fmla="*/ 1692 h 10000"/>
                  <a:gd name="connsiteX1583" fmla="*/ 3825 w 10785"/>
                  <a:gd name="connsiteY1583" fmla="*/ 1718 h 10000"/>
                  <a:gd name="connsiteX1584" fmla="*/ 3839 w 10785"/>
                  <a:gd name="connsiteY1584" fmla="*/ 1726 h 10000"/>
                  <a:gd name="connsiteX1585" fmla="*/ 3880 w 10785"/>
                  <a:gd name="connsiteY1585" fmla="*/ 1752 h 10000"/>
                  <a:gd name="connsiteX1586" fmla="*/ 3894 w 10785"/>
                  <a:gd name="connsiteY1586" fmla="*/ 1829 h 10000"/>
                  <a:gd name="connsiteX1587" fmla="*/ 3899 w 10785"/>
                  <a:gd name="connsiteY1587" fmla="*/ 1838 h 10000"/>
                  <a:gd name="connsiteX1588" fmla="*/ 3894 w 10785"/>
                  <a:gd name="connsiteY1588" fmla="*/ 1855 h 10000"/>
                  <a:gd name="connsiteX1589" fmla="*/ 3880 w 10785"/>
                  <a:gd name="connsiteY1589" fmla="*/ 1838 h 10000"/>
                  <a:gd name="connsiteX1590" fmla="*/ 3880 w 10785"/>
                  <a:gd name="connsiteY1590" fmla="*/ 1855 h 10000"/>
                  <a:gd name="connsiteX1591" fmla="*/ 3880 w 10785"/>
                  <a:gd name="connsiteY1591" fmla="*/ 1863 h 10000"/>
                  <a:gd name="connsiteX1592" fmla="*/ 3871 w 10785"/>
                  <a:gd name="connsiteY1592" fmla="*/ 1872 h 10000"/>
                  <a:gd name="connsiteX1593" fmla="*/ 3880 w 10785"/>
                  <a:gd name="connsiteY1593" fmla="*/ 1889 h 10000"/>
                  <a:gd name="connsiteX1594" fmla="*/ 3885 w 10785"/>
                  <a:gd name="connsiteY1594" fmla="*/ 1889 h 10000"/>
                  <a:gd name="connsiteX1595" fmla="*/ 3880 w 10785"/>
                  <a:gd name="connsiteY1595" fmla="*/ 1897 h 10000"/>
                  <a:gd name="connsiteX1596" fmla="*/ 3871 w 10785"/>
                  <a:gd name="connsiteY1596" fmla="*/ 1915 h 10000"/>
                  <a:gd name="connsiteX1597" fmla="*/ 3848 w 10785"/>
                  <a:gd name="connsiteY1597" fmla="*/ 1923 h 10000"/>
                  <a:gd name="connsiteX1598" fmla="*/ 3825 w 10785"/>
                  <a:gd name="connsiteY1598" fmla="*/ 1940 h 10000"/>
                  <a:gd name="connsiteX1599" fmla="*/ 3811 w 10785"/>
                  <a:gd name="connsiteY1599" fmla="*/ 1940 h 10000"/>
                  <a:gd name="connsiteX1600" fmla="*/ 3806 w 10785"/>
                  <a:gd name="connsiteY1600" fmla="*/ 1949 h 10000"/>
                  <a:gd name="connsiteX1601" fmla="*/ 3797 w 10785"/>
                  <a:gd name="connsiteY1601" fmla="*/ 1966 h 10000"/>
                  <a:gd name="connsiteX1602" fmla="*/ 3788 w 10785"/>
                  <a:gd name="connsiteY1602" fmla="*/ 1991 h 10000"/>
                  <a:gd name="connsiteX1603" fmla="*/ 3765 w 10785"/>
                  <a:gd name="connsiteY1603" fmla="*/ 1974 h 10000"/>
                  <a:gd name="connsiteX1604" fmla="*/ 3760 w 10785"/>
                  <a:gd name="connsiteY1604" fmla="*/ 1966 h 10000"/>
                  <a:gd name="connsiteX1605" fmla="*/ 3760 w 10785"/>
                  <a:gd name="connsiteY1605" fmla="*/ 1966 h 10000"/>
                  <a:gd name="connsiteX1606" fmla="*/ 3631 w 10785"/>
                  <a:gd name="connsiteY1606" fmla="*/ 2009 h 10000"/>
                  <a:gd name="connsiteX1607" fmla="*/ 3618 w 10785"/>
                  <a:gd name="connsiteY1607" fmla="*/ 2000 h 10000"/>
                  <a:gd name="connsiteX1608" fmla="*/ 3599 w 10785"/>
                  <a:gd name="connsiteY1608" fmla="*/ 2009 h 10000"/>
                  <a:gd name="connsiteX1609" fmla="*/ 3571 w 10785"/>
                  <a:gd name="connsiteY1609" fmla="*/ 2000 h 10000"/>
                  <a:gd name="connsiteX1610" fmla="*/ 3530 w 10785"/>
                  <a:gd name="connsiteY1610" fmla="*/ 2026 h 10000"/>
                  <a:gd name="connsiteX1611" fmla="*/ 3530 w 10785"/>
                  <a:gd name="connsiteY1611" fmla="*/ 2034 h 10000"/>
                  <a:gd name="connsiteX1612" fmla="*/ 3525 w 10785"/>
                  <a:gd name="connsiteY1612" fmla="*/ 2051 h 10000"/>
                  <a:gd name="connsiteX1613" fmla="*/ 3512 w 10785"/>
                  <a:gd name="connsiteY1613" fmla="*/ 2034 h 10000"/>
                  <a:gd name="connsiteX1614" fmla="*/ 3507 w 10785"/>
                  <a:gd name="connsiteY1614" fmla="*/ 2034 h 10000"/>
                  <a:gd name="connsiteX1615" fmla="*/ 3498 w 10785"/>
                  <a:gd name="connsiteY1615" fmla="*/ 2051 h 10000"/>
                  <a:gd name="connsiteX1616" fmla="*/ 3484 w 10785"/>
                  <a:gd name="connsiteY1616" fmla="*/ 2060 h 10000"/>
                  <a:gd name="connsiteX1617" fmla="*/ 3484 w 10785"/>
                  <a:gd name="connsiteY1617" fmla="*/ 2085 h 10000"/>
                  <a:gd name="connsiteX1618" fmla="*/ 3484 w 10785"/>
                  <a:gd name="connsiteY1618" fmla="*/ 2103 h 10000"/>
                  <a:gd name="connsiteX1619" fmla="*/ 3493 w 10785"/>
                  <a:gd name="connsiteY1619" fmla="*/ 2103 h 10000"/>
                  <a:gd name="connsiteX1620" fmla="*/ 3493 w 10785"/>
                  <a:gd name="connsiteY1620" fmla="*/ 2085 h 10000"/>
                  <a:gd name="connsiteX1621" fmla="*/ 3498 w 10785"/>
                  <a:gd name="connsiteY1621" fmla="*/ 2085 h 10000"/>
                  <a:gd name="connsiteX1622" fmla="*/ 3498 w 10785"/>
                  <a:gd name="connsiteY1622" fmla="*/ 2111 h 10000"/>
                  <a:gd name="connsiteX1623" fmla="*/ 3484 w 10785"/>
                  <a:gd name="connsiteY1623" fmla="*/ 2120 h 10000"/>
                  <a:gd name="connsiteX1624" fmla="*/ 3484 w 10785"/>
                  <a:gd name="connsiteY1624" fmla="*/ 2145 h 10000"/>
                  <a:gd name="connsiteX1625" fmla="*/ 3470 w 10785"/>
                  <a:gd name="connsiteY1625" fmla="*/ 2137 h 10000"/>
                  <a:gd name="connsiteX1626" fmla="*/ 3465 w 10785"/>
                  <a:gd name="connsiteY1626" fmla="*/ 2145 h 10000"/>
                  <a:gd name="connsiteX1627" fmla="*/ 3470 w 10785"/>
                  <a:gd name="connsiteY1627" fmla="*/ 2171 h 10000"/>
                  <a:gd name="connsiteX1628" fmla="*/ 3484 w 10785"/>
                  <a:gd name="connsiteY1628" fmla="*/ 2171 h 10000"/>
                  <a:gd name="connsiteX1629" fmla="*/ 3484 w 10785"/>
                  <a:gd name="connsiteY1629" fmla="*/ 2197 h 10000"/>
                  <a:gd name="connsiteX1630" fmla="*/ 3465 w 10785"/>
                  <a:gd name="connsiteY1630" fmla="*/ 2214 h 10000"/>
                  <a:gd name="connsiteX1631" fmla="*/ 3493 w 10785"/>
                  <a:gd name="connsiteY1631" fmla="*/ 2248 h 10000"/>
                  <a:gd name="connsiteX1632" fmla="*/ 3484 w 10785"/>
                  <a:gd name="connsiteY1632" fmla="*/ 2256 h 10000"/>
                  <a:gd name="connsiteX1633" fmla="*/ 3498 w 10785"/>
                  <a:gd name="connsiteY1633" fmla="*/ 2274 h 10000"/>
                  <a:gd name="connsiteX1634" fmla="*/ 3498 w 10785"/>
                  <a:gd name="connsiteY1634" fmla="*/ 2256 h 10000"/>
                  <a:gd name="connsiteX1635" fmla="*/ 3507 w 10785"/>
                  <a:gd name="connsiteY1635" fmla="*/ 2308 h 10000"/>
                  <a:gd name="connsiteX1636" fmla="*/ 3512 w 10785"/>
                  <a:gd name="connsiteY1636" fmla="*/ 2325 h 10000"/>
                  <a:gd name="connsiteX1637" fmla="*/ 3507 w 10785"/>
                  <a:gd name="connsiteY1637" fmla="*/ 2333 h 10000"/>
                  <a:gd name="connsiteX1638" fmla="*/ 3507 w 10785"/>
                  <a:gd name="connsiteY1638" fmla="*/ 2359 h 10000"/>
                  <a:gd name="connsiteX1639" fmla="*/ 3507 w 10785"/>
                  <a:gd name="connsiteY1639" fmla="*/ 2376 h 10000"/>
                  <a:gd name="connsiteX1640" fmla="*/ 3498 w 10785"/>
                  <a:gd name="connsiteY1640" fmla="*/ 2410 h 10000"/>
                  <a:gd name="connsiteX1641" fmla="*/ 3498 w 10785"/>
                  <a:gd name="connsiteY1641" fmla="*/ 2436 h 10000"/>
                  <a:gd name="connsiteX1642" fmla="*/ 3507 w 10785"/>
                  <a:gd name="connsiteY1642" fmla="*/ 2462 h 10000"/>
                  <a:gd name="connsiteX1643" fmla="*/ 3507 w 10785"/>
                  <a:gd name="connsiteY1643" fmla="*/ 2496 h 10000"/>
                  <a:gd name="connsiteX1644" fmla="*/ 3512 w 10785"/>
                  <a:gd name="connsiteY1644" fmla="*/ 2521 h 10000"/>
                  <a:gd name="connsiteX1645" fmla="*/ 3525 w 10785"/>
                  <a:gd name="connsiteY1645" fmla="*/ 2556 h 10000"/>
                  <a:gd name="connsiteX1646" fmla="*/ 3571 w 10785"/>
                  <a:gd name="connsiteY1646" fmla="*/ 2573 h 10000"/>
                  <a:gd name="connsiteX1647" fmla="*/ 3590 w 10785"/>
                  <a:gd name="connsiteY1647" fmla="*/ 2598 h 10000"/>
                  <a:gd name="connsiteX1648" fmla="*/ 3599 w 10785"/>
                  <a:gd name="connsiteY1648" fmla="*/ 2598 h 10000"/>
                  <a:gd name="connsiteX1649" fmla="*/ 3604 w 10785"/>
                  <a:gd name="connsiteY1649" fmla="*/ 2632 h 10000"/>
                  <a:gd name="connsiteX1650" fmla="*/ 3599 w 10785"/>
                  <a:gd name="connsiteY1650" fmla="*/ 2658 h 10000"/>
                  <a:gd name="connsiteX1651" fmla="*/ 3590 w 10785"/>
                  <a:gd name="connsiteY1651" fmla="*/ 2667 h 10000"/>
                  <a:gd name="connsiteX1652" fmla="*/ 3604 w 10785"/>
                  <a:gd name="connsiteY1652" fmla="*/ 2667 h 10000"/>
                  <a:gd name="connsiteX1653" fmla="*/ 3613 w 10785"/>
                  <a:gd name="connsiteY1653" fmla="*/ 2692 h 10000"/>
                  <a:gd name="connsiteX1654" fmla="*/ 3627 w 10785"/>
                  <a:gd name="connsiteY1654" fmla="*/ 2735 h 10000"/>
                  <a:gd name="connsiteX1655" fmla="*/ 3631 w 10785"/>
                  <a:gd name="connsiteY1655" fmla="*/ 2744 h 10000"/>
                  <a:gd name="connsiteX1656" fmla="*/ 3659 w 10785"/>
                  <a:gd name="connsiteY1656" fmla="*/ 2761 h 10000"/>
                  <a:gd name="connsiteX1657" fmla="*/ 3673 w 10785"/>
                  <a:gd name="connsiteY1657" fmla="*/ 2769 h 10000"/>
                  <a:gd name="connsiteX1658" fmla="*/ 3673 w 10785"/>
                  <a:gd name="connsiteY1658" fmla="*/ 2761 h 10000"/>
                  <a:gd name="connsiteX1659" fmla="*/ 3687 w 10785"/>
                  <a:gd name="connsiteY1659" fmla="*/ 2829 h 10000"/>
                  <a:gd name="connsiteX1660" fmla="*/ 3677 w 10785"/>
                  <a:gd name="connsiteY1660" fmla="*/ 2897 h 10000"/>
                  <a:gd name="connsiteX1661" fmla="*/ 3673 w 10785"/>
                  <a:gd name="connsiteY1661" fmla="*/ 2915 h 10000"/>
                  <a:gd name="connsiteX1662" fmla="*/ 3664 w 10785"/>
                  <a:gd name="connsiteY1662" fmla="*/ 2957 h 10000"/>
                  <a:gd name="connsiteX1663" fmla="*/ 3659 w 10785"/>
                  <a:gd name="connsiteY1663" fmla="*/ 2983 h 10000"/>
                  <a:gd name="connsiteX1664" fmla="*/ 3664 w 10785"/>
                  <a:gd name="connsiteY1664" fmla="*/ 3017 h 10000"/>
                  <a:gd name="connsiteX1665" fmla="*/ 3659 w 10785"/>
                  <a:gd name="connsiteY1665" fmla="*/ 3043 h 10000"/>
                  <a:gd name="connsiteX1666" fmla="*/ 3677 w 10785"/>
                  <a:gd name="connsiteY1666" fmla="*/ 3094 h 10000"/>
                  <a:gd name="connsiteX1667" fmla="*/ 3691 w 10785"/>
                  <a:gd name="connsiteY1667" fmla="*/ 3282 h 10000"/>
                  <a:gd name="connsiteX1668" fmla="*/ 3691 w 10785"/>
                  <a:gd name="connsiteY1668" fmla="*/ 3308 h 10000"/>
                  <a:gd name="connsiteX1669" fmla="*/ 3677 w 10785"/>
                  <a:gd name="connsiteY1669" fmla="*/ 3342 h 10000"/>
                  <a:gd name="connsiteX1670" fmla="*/ 3664 w 10785"/>
                  <a:gd name="connsiteY1670" fmla="*/ 3342 h 10000"/>
                  <a:gd name="connsiteX1671" fmla="*/ 3650 w 10785"/>
                  <a:gd name="connsiteY1671" fmla="*/ 3342 h 10000"/>
                  <a:gd name="connsiteX1672" fmla="*/ 3650 w 10785"/>
                  <a:gd name="connsiteY1672" fmla="*/ 3350 h 10000"/>
                  <a:gd name="connsiteX1673" fmla="*/ 3659 w 10785"/>
                  <a:gd name="connsiteY1673" fmla="*/ 3402 h 10000"/>
                  <a:gd name="connsiteX1674" fmla="*/ 3659 w 10785"/>
                  <a:gd name="connsiteY1674" fmla="*/ 3419 h 10000"/>
                  <a:gd name="connsiteX1675" fmla="*/ 3631 w 10785"/>
                  <a:gd name="connsiteY1675" fmla="*/ 3402 h 10000"/>
                  <a:gd name="connsiteX1676" fmla="*/ 3604 w 10785"/>
                  <a:gd name="connsiteY1676" fmla="*/ 3393 h 10000"/>
                  <a:gd name="connsiteX1677" fmla="*/ 3599 w 10785"/>
                  <a:gd name="connsiteY1677" fmla="*/ 3368 h 10000"/>
                  <a:gd name="connsiteX1678" fmla="*/ 3590 w 10785"/>
                  <a:gd name="connsiteY1678" fmla="*/ 3239 h 10000"/>
                  <a:gd name="connsiteX1679" fmla="*/ 3599 w 10785"/>
                  <a:gd name="connsiteY1679" fmla="*/ 3179 h 10000"/>
                  <a:gd name="connsiteX1680" fmla="*/ 3599 w 10785"/>
                  <a:gd name="connsiteY1680" fmla="*/ 3171 h 10000"/>
                  <a:gd name="connsiteX1681" fmla="*/ 3599 w 10785"/>
                  <a:gd name="connsiteY1681" fmla="*/ 3009 h 10000"/>
                  <a:gd name="connsiteX1682" fmla="*/ 3604 w 10785"/>
                  <a:gd name="connsiteY1682" fmla="*/ 2983 h 10000"/>
                  <a:gd name="connsiteX1683" fmla="*/ 3645 w 10785"/>
                  <a:gd name="connsiteY1683" fmla="*/ 2932 h 10000"/>
                  <a:gd name="connsiteX1684" fmla="*/ 3650 w 10785"/>
                  <a:gd name="connsiteY1684" fmla="*/ 2872 h 10000"/>
                  <a:gd name="connsiteX1685" fmla="*/ 3659 w 10785"/>
                  <a:gd name="connsiteY1685" fmla="*/ 2855 h 10000"/>
                  <a:gd name="connsiteX1686" fmla="*/ 3659 w 10785"/>
                  <a:gd name="connsiteY1686" fmla="*/ 2821 h 10000"/>
                  <a:gd name="connsiteX1687" fmla="*/ 3631 w 10785"/>
                  <a:gd name="connsiteY1687" fmla="*/ 2795 h 10000"/>
                  <a:gd name="connsiteX1688" fmla="*/ 3567 w 10785"/>
                  <a:gd name="connsiteY1688" fmla="*/ 2821 h 10000"/>
                  <a:gd name="connsiteX1689" fmla="*/ 3544 w 10785"/>
                  <a:gd name="connsiteY1689" fmla="*/ 2795 h 10000"/>
                  <a:gd name="connsiteX1690" fmla="*/ 3530 w 10785"/>
                  <a:gd name="connsiteY1690" fmla="*/ 2769 h 10000"/>
                  <a:gd name="connsiteX1691" fmla="*/ 3530 w 10785"/>
                  <a:gd name="connsiteY1691" fmla="*/ 2786 h 10000"/>
                  <a:gd name="connsiteX1692" fmla="*/ 3498 w 10785"/>
                  <a:gd name="connsiteY1692" fmla="*/ 2692 h 10000"/>
                  <a:gd name="connsiteX1693" fmla="*/ 3498 w 10785"/>
                  <a:gd name="connsiteY1693" fmla="*/ 2667 h 10000"/>
                  <a:gd name="connsiteX1694" fmla="*/ 3442 w 10785"/>
                  <a:gd name="connsiteY1694" fmla="*/ 2607 h 10000"/>
                  <a:gd name="connsiteX1695" fmla="*/ 3433 w 10785"/>
                  <a:gd name="connsiteY1695" fmla="*/ 2581 h 10000"/>
                  <a:gd name="connsiteX1696" fmla="*/ 3396 w 10785"/>
                  <a:gd name="connsiteY1696" fmla="*/ 2556 h 10000"/>
                  <a:gd name="connsiteX1697" fmla="*/ 3318 w 10785"/>
                  <a:gd name="connsiteY1697" fmla="*/ 2556 h 10000"/>
                  <a:gd name="connsiteX1698" fmla="*/ 3304 w 10785"/>
                  <a:gd name="connsiteY1698" fmla="*/ 2607 h 10000"/>
                  <a:gd name="connsiteX1699" fmla="*/ 3276 w 10785"/>
                  <a:gd name="connsiteY1699" fmla="*/ 2632 h 10000"/>
                  <a:gd name="connsiteX1700" fmla="*/ 3272 w 10785"/>
                  <a:gd name="connsiteY1700" fmla="*/ 2667 h 10000"/>
                  <a:gd name="connsiteX1701" fmla="*/ 3304 w 10785"/>
                  <a:gd name="connsiteY1701" fmla="*/ 2667 h 10000"/>
                  <a:gd name="connsiteX1702" fmla="*/ 3323 w 10785"/>
                  <a:gd name="connsiteY1702" fmla="*/ 2692 h 10000"/>
                  <a:gd name="connsiteX1703" fmla="*/ 3318 w 10785"/>
                  <a:gd name="connsiteY1703" fmla="*/ 2735 h 10000"/>
                  <a:gd name="connsiteX1704" fmla="*/ 3304 w 10785"/>
                  <a:gd name="connsiteY1704" fmla="*/ 2761 h 10000"/>
                  <a:gd name="connsiteX1705" fmla="*/ 3276 w 10785"/>
                  <a:gd name="connsiteY1705" fmla="*/ 2769 h 10000"/>
                  <a:gd name="connsiteX1706" fmla="*/ 3263 w 10785"/>
                  <a:gd name="connsiteY1706" fmla="*/ 2795 h 10000"/>
                  <a:gd name="connsiteX1707" fmla="*/ 3235 w 10785"/>
                  <a:gd name="connsiteY1707" fmla="*/ 2803 h 10000"/>
                  <a:gd name="connsiteX1708" fmla="*/ 3235 w 10785"/>
                  <a:gd name="connsiteY1708" fmla="*/ 2786 h 10000"/>
                  <a:gd name="connsiteX1709" fmla="*/ 3212 w 10785"/>
                  <a:gd name="connsiteY1709" fmla="*/ 2709 h 10000"/>
                  <a:gd name="connsiteX1710" fmla="*/ 3198 w 10785"/>
                  <a:gd name="connsiteY1710" fmla="*/ 2709 h 10000"/>
                  <a:gd name="connsiteX1711" fmla="*/ 3184 w 10785"/>
                  <a:gd name="connsiteY1711" fmla="*/ 2735 h 10000"/>
                  <a:gd name="connsiteX1712" fmla="*/ 3189 w 10785"/>
                  <a:gd name="connsiteY1712" fmla="*/ 2761 h 10000"/>
                  <a:gd name="connsiteX1713" fmla="*/ 3203 w 10785"/>
                  <a:gd name="connsiteY1713" fmla="*/ 2855 h 10000"/>
                  <a:gd name="connsiteX1714" fmla="*/ 3212 w 10785"/>
                  <a:gd name="connsiteY1714" fmla="*/ 2872 h 10000"/>
                  <a:gd name="connsiteX1715" fmla="*/ 3235 w 10785"/>
                  <a:gd name="connsiteY1715" fmla="*/ 2906 h 10000"/>
                  <a:gd name="connsiteX1716" fmla="*/ 3258 w 10785"/>
                  <a:gd name="connsiteY1716" fmla="*/ 2915 h 10000"/>
                  <a:gd name="connsiteX1717" fmla="*/ 3272 w 10785"/>
                  <a:gd name="connsiteY1717" fmla="*/ 2957 h 10000"/>
                  <a:gd name="connsiteX1718" fmla="*/ 3276 w 10785"/>
                  <a:gd name="connsiteY1718" fmla="*/ 2957 h 10000"/>
                  <a:gd name="connsiteX1719" fmla="*/ 3286 w 10785"/>
                  <a:gd name="connsiteY1719" fmla="*/ 2966 h 10000"/>
                  <a:gd name="connsiteX1720" fmla="*/ 3300 w 10785"/>
                  <a:gd name="connsiteY1720" fmla="*/ 2957 h 10000"/>
                  <a:gd name="connsiteX1721" fmla="*/ 3309 w 10785"/>
                  <a:gd name="connsiteY1721" fmla="*/ 2932 h 10000"/>
                  <a:gd name="connsiteX1722" fmla="*/ 3304 w 10785"/>
                  <a:gd name="connsiteY1722" fmla="*/ 2966 h 10000"/>
                  <a:gd name="connsiteX1723" fmla="*/ 3309 w 10785"/>
                  <a:gd name="connsiteY1723" fmla="*/ 2983 h 10000"/>
                  <a:gd name="connsiteX1724" fmla="*/ 3323 w 10785"/>
                  <a:gd name="connsiteY1724" fmla="*/ 2966 h 10000"/>
                  <a:gd name="connsiteX1725" fmla="*/ 3323 w 10785"/>
                  <a:gd name="connsiteY1725" fmla="*/ 3043 h 10000"/>
                  <a:gd name="connsiteX1726" fmla="*/ 3346 w 10785"/>
                  <a:gd name="connsiteY1726" fmla="*/ 3068 h 10000"/>
                  <a:gd name="connsiteX1727" fmla="*/ 3346 w 10785"/>
                  <a:gd name="connsiteY1727" fmla="*/ 3094 h 10000"/>
                  <a:gd name="connsiteX1728" fmla="*/ 3323 w 10785"/>
                  <a:gd name="connsiteY1728" fmla="*/ 3094 h 10000"/>
                  <a:gd name="connsiteX1729" fmla="*/ 3309 w 10785"/>
                  <a:gd name="connsiteY1729" fmla="*/ 3077 h 10000"/>
                  <a:gd name="connsiteX1730" fmla="*/ 3304 w 10785"/>
                  <a:gd name="connsiteY1730" fmla="*/ 3051 h 10000"/>
                  <a:gd name="connsiteX1731" fmla="*/ 3300 w 10785"/>
                  <a:gd name="connsiteY1731" fmla="*/ 3043 h 10000"/>
                  <a:gd name="connsiteX1732" fmla="*/ 3286 w 10785"/>
                  <a:gd name="connsiteY1732" fmla="*/ 3017 h 10000"/>
                  <a:gd name="connsiteX1733" fmla="*/ 3152 w 10785"/>
                  <a:gd name="connsiteY1733" fmla="*/ 2966 h 10000"/>
                  <a:gd name="connsiteX1734" fmla="*/ 3129 w 10785"/>
                  <a:gd name="connsiteY1734" fmla="*/ 2915 h 10000"/>
                  <a:gd name="connsiteX1735" fmla="*/ 3129 w 10785"/>
                  <a:gd name="connsiteY1735" fmla="*/ 2906 h 10000"/>
                  <a:gd name="connsiteX1736" fmla="*/ 3152 w 10785"/>
                  <a:gd name="connsiteY1736" fmla="*/ 2906 h 10000"/>
                  <a:gd name="connsiteX1737" fmla="*/ 3152 w 10785"/>
                  <a:gd name="connsiteY1737" fmla="*/ 2846 h 10000"/>
                  <a:gd name="connsiteX1738" fmla="*/ 3138 w 10785"/>
                  <a:gd name="connsiteY1738" fmla="*/ 2795 h 10000"/>
                  <a:gd name="connsiteX1739" fmla="*/ 3138 w 10785"/>
                  <a:gd name="connsiteY1739" fmla="*/ 2769 h 10000"/>
                  <a:gd name="connsiteX1740" fmla="*/ 3143 w 10785"/>
                  <a:gd name="connsiteY1740" fmla="*/ 2718 h 10000"/>
                  <a:gd name="connsiteX1741" fmla="*/ 3129 w 10785"/>
                  <a:gd name="connsiteY1741" fmla="*/ 2692 h 10000"/>
                  <a:gd name="connsiteX1742" fmla="*/ 3143 w 10785"/>
                  <a:gd name="connsiteY1742" fmla="*/ 2667 h 10000"/>
                  <a:gd name="connsiteX1743" fmla="*/ 3157 w 10785"/>
                  <a:gd name="connsiteY1743" fmla="*/ 2581 h 10000"/>
                  <a:gd name="connsiteX1744" fmla="*/ 3143 w 10785"/>
                  <a:gd name="connsiteY1744" fmla="*/ 2496 h 10000"/>
                  <a:gd name="connsiteX1745" fmla="*/ 3157 w 10785"/>
                  <a:gd name="connsiteY1745" fmla="*/ 2487 h 10000"/>
                  <a:gd name="connsiteX1746" fmla="*/ 3143 w 10785"/>
                  <a:gd name="connsiteY1746" fmla="*/ 2444 h 10000"/>
                  <a:gd name="connsiteX1747" fmla="*/ 3143 w 10785"/>
                  <a:gd name="connsiteY1747" fmla="*/ 2419 h 10000"/>
                  <a:gd name="connsiteX1748" fmla="*/ 3143 w 10785"/>
                  <a:gd name="connsiteY1748" fmla="*/ 2410 h 10000"/>
                  <a:gd name="connsiteX1749" fmla="*/ 3124 w 10785"/>
                  <a:gd name="connsiteY1749" fmla="*/ 2376 h 10000"/>
                  <a:gd name="connsiteX1750" fmla="*/ 3115 w 10785"/>
                  <a:gd name="connsiteY1750" fmla="*/ 2350 h 10000"/>
                  <a:gd name="connsiteX1751" fmla="*/ 3101 w 10785"/>
                  <a:gd name="connsiteY1751" fmla="*/ 2359 h 10000"/>
                  <a:gd name="connsiteX1752" fmla="*/ 3115 w 10785"/>
                  <a:gd name="connsiteY1752" fmla="*/ 2581 h 10000"/>
                  <a:gd name="connsiteX1753" fmla="*/ 3111 w 10785"/>
                  <a:gd name="connsiteY1753" fmla="*/ 2624 h 10000"/>
                  <a:gd name="connsiteX1754" fmla="*/ 3009 w 10785"/>
                  <a:gd name="connsiteY1754" fmla="*/ 2761 h 10000"/>
                  <a:gd name="connsiteX1755" fmla="*/ 3009 w 10785"/>
                  <a:gd name="connsiteY1755" fmla="*/ 2803 h 10000"/>
                  <a:gd name="connsiteX1756" fmla="*/ 3005 w 10785"/>
                  <a:gd name="connsiteY1756" fmla="*/ 2829 h 10000"/>
                  <a:gd name="connsiteX1757" fmla="*/ 2982 w 10785"/>
                  <a:gd name="connsiteY1757" fmla="*/ 2872 h 10000"/>
                  <a:gd name="connsiteX1758" fmla="*/ 2982 w 10785"/>
                  <a:gd name="connsiteY1758" fmla="*/ 2880 h 10000"/>
                  <a:gd name="connsiteX1759" fmla="*/ 3037 w 10785"/>
                  <a:gd name="connsiteY1759" fmla="*/ 3034 h 10000"/>
                  <a:gd name="connsiteX1760" fmla="*/ 3041 w 10785"/>
                  <a:gd name="connsiteY1760" fmla="*/ 3103 h 10000"/>
                  <a:gd name="connsiteX1761" fmla="*/ 3069 w 10785"/>
                  <a:gd name="connsiteY1761" fmla="*/ 3188 h 10000"/>
                  <a:gd name="connsiteX1762" fmla="*/ 3055 w 10785"/>
                  <a:gd name="connsiteY1762" fmla="*/ 3325 h 10000"/>
                  <a:gd name="connsiteX1763" fmla="*/ 3037 w 10785"/>
                  <a:gd name="connsiteY1763" fmla="*/ 3368 h 10000"/>
                  <a:gd name="connsiteX1764" fmla="*/ 3037 w 10785"/>
                  <a:gd name="connsiteY1764" fmla="*/ 3444 h 10000"/>
                  <a:gd name="connsiteX1765" fmla="*/ 3028 w 10785"/>
                  <a:gd name="connsiteY1765" fmla="*/ 3453 h 10000"/>
                  <a:gd name="connsiteX1766" fmla="*/ 3023 w 10785"/>
                  <a:gd name="connsiteY1766" fmla="*/ 3530 h 10000"/>
                  <a:gd name="connsiteX1767" fmla="*/ 3051 w 10785"/>
                  <a:gd name="connsiteY1767" fmla="*/ 3624 h 10000"/>
                  <a:gd name="connsiteX1768" fmla="*/ 3037 w 10785"/>
                  <a:gd name="connsiteY1768" fmla="*/ 3718 h 10000"/>
                  <a:gd name="connsiteX1769" fmla="*/ 3041 w 10785"/>
                  <a:gd name="connsiteY1769" fmla="*/ 3752 h 10000"/>
                  <a:gd name="connsiteX1770" fmla="*/ 3055 w 10785"/>
                  <a:gd name="connsiteY1770" fmla="*/ 3761 h 10000"/>
                  <a:gd name="connsiteX1771" fmla="*/ 3078 w 10785"/>
                  <a:gd name="connsiteY1771" fmla="*/ 3752 h 10000"/>
                  <a:gd name="connsiteX1772" fmla="*/ 3092 w 10785"/>
                  <a:gd name="connsiteY1772" fmla="*/ 3752 h 10000"/>
                  <a:gd name="connsiteX1773" fmla="*/ 3129 w 10785"/>
                  <a:gd name="connsiteY1773" fmla="*/ 3761 h 10000"/>
                  <a:gd name="connsiteX1774" fmla="*/ 3129 w 10785"/>
                  <a:gd name="connsiteY1774" fmla="*/ 3735 h 10000"/>
                  <a:gd name="connsiteX1775" fmla="*/ 3157 w 10785"/>
                  <a:gd name="connsiteY1775" fmla="*/ 3718 h 10000"/>
                  <a:gd name="connsiteX1776" fmla="*/ 3184 w 10785"/>
                  <a:gd name="connsiteY1776" fmla="*/ 3718 h 10000"/>
                  <a:gd name="connsiteX1777" fmla="*/ 3290 w 10785"/>
                  <a:gd name="connsiteY1777" fmla="*/ 3838 h 10000"/>
                  <a:gd name="connsiteX1778" fmla="*/ 3300 w 10785"/>
                  <a:gd name="connsiteY1778" fmla="*/ 3846 h 10000"/>
                  <a:gd name="connsiteX1779" fmla="*/ 3300 w 10785"/>
                  <a:gd name="connsiteY1779" fmla="*/ 3915 h 10000"/>
                  <a:gd name="connsiteX1780" fmla="*/ 3318 w 10785"/>
                  <a:gd name="connsiteY1780" fmla="*/ 4000 h 10000"/>
                  <a:gd name="connsiteX1781" fmla="*/ 3323 w 10785"/>
                  <a:gd name="connsiteY1781" fmla="*/ 4000 h 10000"/>
                  <a:gd name="connsiteX1782" fmla="*/ 3323 w 10785"/>
                  <a:gd name="connsiteY1782" fmla="*/ 4034 h 10000"/>
                  <a:gd name="connsiteX1783" fmla="*/ 3318 w 10785"/>
                  <a:gd name="connsiteY1783" fmla="*/ 4051 h 10000"/>
                  <a:gd name="connsiteX1784" fmla="*/ 3300 w 10785"/>
                  <a:gd name="connsiteY1784" fmla="*/ 4051 h 10000"/>
                  <a:gd name="connsiteX1785" fmla="*/ 3290 w 10785"/>
                  <a:gd name="connsiteY1785" fmla="*/ 4077 h 10000"/>
                  <a:gd name="connsiteX1786" fmla="*/ 3286 w 10785"/>
                  <a:gd name="connsiteY1786" fmla="*/ 4103 h 10000"/>
                  <a:gd name="connsiteX1787" fmla="*/ 3286 w 10785"/>
                  <a:gd name="connsiteY1787" fmla="*/ 4197 h 10000"/>
                  <a:gd name="connsiteX1788" fmla="*/ 3290 w 10785"/>
                  <a:gd name="connsiteY1788" fmla="*/ 4214 h 10000"/>
                  <a:gd name="connsiteX1789" fmla="*/ 3304 w 10785"/>
                  <a:gd name="connsiteY1789" fmla="*/ 4214 h 10000"/>
                  <a:gd name="connsiteX1790" fmla="*/ 3323 w 10785"/>
                  <a:gd name="connsiteY1790" fmla="*/ 4239 h 10000"/>
                  <a:gd name="connsiteX1791" fmla="*/ 3350 w 10785"/>
                  <a:gd name="connsiteY1791" fmla="*/ 4222 h 10000"/>
                  <a:gd name="connsiteX1792" fmla="*/ 3369 w 10785"/>
                  <a:gd name="connsiteY1792" fmla="*/ 4256 h 10000"/>
                  <a:gd name="connsiteX1793" fmla="*/ 3369 w 10785"/>
                  <a:gd name="connsiteY1793" fmla="*/ 4256 h 10000"/>
                  <a:gd name="connsiteX1794" fmla="*/ 3336 w 10785"/>
                  <a:gd name="connsiteY1794" fmla="*/ 4274 h 10000"/>
                  <a:gd name="connsiteX1795" fmla="*/ 3323 w 10785"/>
                  <a:gd name="connsiteY1795" fmla="*/ 4274 h 10000"/>
                  <a:gd name="connsiteX1796" fmla="*/ 3290 w 10785"/>
                  <a:gd name="connsiteY1796" fmla="*/ 4274 h 10000"/>
                  <a:gd name="connsiteX1797" fmla="*/ 3286 w 10785"/>
                  <a:gd name="connsiteY1797" fmla="*/ 4239 h 10000"/>
                  <a:gd name="connsiteX1798" fmla="*/ 3263 w 10785"/>
                  <a:gd name="connsiteY1798" fmla="*/ 4214 h 10000"/>
                  <a:gd name="connsiteX1799" fmla="*/ 3258 w 10785"/>
                  <a:gd name="connsiteY1799" fmla="*/ 4188 h 10000"/>
                  <a:gd name="connsiteX1800" fmla="*/ 3263 w 10785"/>
                  <a:gd name="connsiteY1800" fmla="*/ 4171 h 10000"/>
                  <a:gd name="connsiteX1801" fmla="*/ 3263 w 10785"/>
                  <a:gd name="connsiteY1801" fmla="*/ 4103 h 10000"/>
                  <a:gd name="connsiteX1802" fmla="*/ 3276 w 10785"/>
                  <a:gd name="connsiteY1802" fmla="*/ 4060 h 10000"/>
                  <a:gd name="connsiteX1803" fmla="*/ 3272 w 10785"/>
                  <a:gd name="connsiteY1803" fmla="*/ 4051 h 10000"/>
                  <a:gd name="connsiteX1804" fmla="*/ 3263 w 10785"/>
                  <a:gd name="connsiteY1804" fmla="*/ 4051 h 10000"/>
                  <a:gd name="connsiteX1805" fmla="*/ 3263 w 10785"/>
                  <a:gd name="connsiteY1805" fmla="*/ 4034 h 10000"/>
                  <a:gd name="connsiteX1806" fmla="*/ 3263 w 10785"/>
                  <a:gd name="connsiteY1806" fmla="*/ 4000 h 10000"/>
                  <a:gd name="connsiteX1807" fmla="*/ 3272 w 10785"/>
                  <a:gd name="connsiteY1807" fmla="*/ 4000 h 10000"/>
                  <a:gd name="connsiteX1808" fmla="*/ 3272 w 10785"/>
                  <a:gd name="connsiteY1808" fmla="*/ 3974 h 10000"/>
                  <a:gd name="connsiteX1809" fmla="*/ 3272 w 10785"/>
                  <a:gd name="connsiteY1809" fmla="*/ 3966 h 10000"/>
                  <a:gd name="connsiteX1810" fmla="*/ 3272 w 10785"/>
                  <a:gd name="connsiteY1810" fmla="*/ 3949 h 10000"/>
                  <a:gd name="connsiteX1811" fmla="*/ 3258 w 10785"/>
                  <a:gd name="connsiteY1811" fmla="*/ 3923 h 10000"/>
                  <a:gd name="connsiteX1812" fmla="*/ 3249 w 10785"/>
                  <a:gd name="connsiteY1812" fmla="*/ 3915 h 10000"/>
                  <a:gd name="connsiteX1813" fmla="*/ 3244 w 10785"/>
                  <a:gd name="connsiteY1813" fmla="*/ 3897 h 10000"/>
                  <a:gd name="connsiteX1814" fmla="*/ 3230 w 10785"/>
                  <a:gd name="connsiteY1814" fmla="*/ 3889 h 10000"/>
                  <a:gd name="connsiteX1815" fmla="*/ 3230 w 10785"/>
                  <a:gd name="connsiteY1815" fmla="*/ 3863 h 10000"/>
                  <a:gd name="connsiteX1816" fmla="*/ 3230 w 10785"/>
                  <a:gd name="connsiteY1816" fmla="*/ 3838 h 10000"/>
                  <a:gd name="connsiteX1817" fmla="*/ 3226 w 10785"/>
                  <a:gd name="connsiteY1817" fmla="*/ 3803 h 10000"/>
                  <a:gd name="connsiteX1818" fmla="*/ 3138 w 10785"/>
                  <a:gd name="connsiteY1818" fmla="*/ 3838 h 10000"/>
                  <a:gd name="connsiteX1819" fmla="*/ 3078 w 10785"/>
                  <a:gd name="connsiteY1819" fmla="*/ 3889 h 10000"/>
                  <a:gd name="connsiteX1820" fmla="*/ 3078 w 10785"/>
                  <a:gd name="connsiteY1820" fmla="*/ 3940 h 10000"/>
                  <a:gd name="connsiteX1821" fmla="*/ 3069 w 10785"/>
                  <a:gd name="connsiteY1821" fmla="*/ 3983 h 10000"/>
                  <a:gd name="connsiteX1822" fmla="*/ 3069 w 10785"/>
                  <a:gd name="connsiteY1822" fmla="*/ 4009 h 10000"/>
                  <a:gd name="connsiteX1823" fmla="*/ 3078 w 10785"/>
                  <a:gd name="connsiteY1823" fmla="*/ 4026 h 10000"/>
                  <a:gd name="connsiteX1824" fmla="*/ 3083 w 10785"/>
                  <a:gd name="connsiteY1824" fmla="*/ 4034 h 10000"/>
                  <a:gd name="connsiteX1825" fmla="*/ 3092 w 10785"/>
                  <a:gd name="connsiteY1825" fmla="*/ 4060 h 10000"/>
                  <a:gd name="connsiteX1826" fmla="*/ 3092 w 10785"/>
                  <a:gd name="connsiteY1826" fmla="*/ 4077 h 10000"/>
                  <a:gd name="connsiteX1827" fmla="*/ 3097 w 10785"/>
                  <a:gd name="connsiteY1827" fmla="*/ 4103 h 10000"/>
                  <a:gd name="connsiteX1828" fmla="*/ 3101 w 10785"/>
                  <a:gd name="connsiteY1828" fmla="*/ 4162 h 10000"/>
                  <a:gd name="connsiteX1829" fmla="*/ 3097 w 10785"/>
                  <a:gd name="connsiteY1829" fmla="*/ 4222 h 10000"/>
                  <a:gd name="connsiteX1830" fmla="*/ 3041 w 10785"/>
                  <a:gd name="connsiteY1830" fmla="*/ 4325 h 10000"/>
                  <a:gd name="connsiteX1831" fmla="*/ 3037 w 10785"/>
                  <a:gd name="connsiteY1831" fmla="*/ 4419 h 10000"/>
                  <a:gd name="connsiteX1832" fmla="*/ 3018 w 10785"/>
                  <a:gd name="connsiteY1832" fmla="*/ 4470 h 10000"/>
                  <a:gd name="connsiteX1833" fmla="*/ 2991 w 10785"/>
                  <a:gd name="connsiteY1833" fmla="*/ 4513 h 10000"/>
                  <a:gd name="connsiteX1834" fmla="*/ 2977 w 10785"/>
                  <a:gd name="connsiteY1834" fmla="*/ 4530 h 10000"/>
                  <a:gd name="connsiteX1835" fmla="*/ 2945 w 10785"/>
                  <a:gd name="connsiteY1835" fmla="*/ 4556 h 10000"/>
                  <a:gd name="connsiteX1836" fmla="*/ 2935 w 10785"/>
                  <a:gd name="connsiteY1836" fmla="*/ 4581 h 10000"/>
                  <a:gd name="connsiteX1837" fmla="*/ 2949 w 10785"/>
                  <a:gd name="connsiteY1837" fmla="*/ 4624 h 10000"/>
                  <a:gd name="connsiteX1838" fmla="*/ 2945 w 10785"/>
                  <a:gd name="connsiteY1838" fmla="*/ 4658 h 10000"/>
                  <a:gd name="connsiteX1839" fmla="*/ 2922 w 10785"/>
                  <a:gd name="connsiteY1839" fmla="*/ 4667 h 10000"/>
                  <a:gd name="connsiteX1840" fmla="*/ 2876 w 10785"/>
                  <a:gd name="connsiteY1840" fmla="*/ 4632 h 10000"/>
                  <a:gd name="connsiteX1841" fmla="*/ 2857 w 10785"/>
                  <a:gd name="connsiteY1841" fmla="*/ 4632 h 10000"/>
                  <a:gd name="connsiteX1842" fmla="*/ 2820 w 10785"/>
                  <a:gd name="connsiteY1842" fmla="*/ 4641 h 10000"/>
                  <a:gd name="connsiteX1843" fmla="*/ 2797 w 10785"/>
                  <a:gd name="connsiteY1843" fmla="*/ 4632 h 10000"/>
                  <a:gd name="connsiteX1844" fmla="*/ 2788 w 10785"/>
                  <a:gd name="connsiteY1844" fmla="*/ 4624 h 10000"/>
                  <a:gd name="connsiteX1845" fmla="*/ 2788 w 10785"/>
                  <a:gd name="connsiteY1845" fmla="*/ 4598 h 10000"/>
                  <a:gd name="connsiteX1846" fmla="*/ 2797 w 10785"/>
                  <a:gd name="connsiteY1846" fmla="*/ 4581 h 10000"/>
                  <a:gd name="connsiteX1847" fmla="*/ 2788 w 10785"/>
                  <a:gd name="connsiteY1847" fmla="*/ 4530 h 10000"/>
                  <a:gd name="connsiteX1848" fmla="*/ 2774 w 10785"/>
                  <a:gd name="connsiteY1848" fmla="*/ 4530 h 10000"/>
                  <a:gd name="connsiteX1849" fmla="*/ 2770 w 10785"/>
                  <a:gd name="connsiteY1849" fmla="*/ 4513 h 10000"/>
                  <a:gd name="connsiteX1850" fmla="*/ 2774 w 10785"/>
                  <a:gd name="connsiteY1850" fmla="*/ 4513 h 10000"/>
                  <a:gd name="connsiteX1851" fmla="*/ 2788 w 10785"/>
                  <a:gd name="connsiteY1851" fmla="*/ 4496 h 10000"/>
                  <a:gd name="connsiteX1852" fmla="*/ 2802 w 10785"/>
                  <a:gd name="connsiteY1852" fmla="*/ 4513 h 10000"/>
                  <a:gd name="connsiteX1853" fmla="*/ 2811 w 10785"/>
                  <a:gd name="connsiteY1853" fmla="*/ 4530 h 10000"/>
                  <a:gd name="connsiteX1854" fmla="*/ 2820 w 10785"/>
                  <a:gd name="connsiteY1854" fmla="*/ 4521 h 10000"/>
                  <a:gd name="connsiteX1855" fmla="*/ 2829 w 10785"/>
                  <a:gd name="connsiteY1855" fmla="*/ 4513 h 10000"/>
                  <a:gd name="connsiteX1856" fmla="*/ 2843 w 10785"/>
                  <a:gd name="connsiteY1856" fmla="*/ 4513 h 10000"/>
                  <a:gd name="connsiteX1857" fmla="*/ 2848 w 10785"/>
                  <a:gd name="connsiteY1857" fmla="*/ 4470 h 10000"/>
                  <a:gd name="connsiteX1858" fmla="*/ 2862 w 10785"/>
                  <a:gd name="connsiteY1858" fmla="*/ 4487 h 10000"/>
                  <a:gd name="connsiteX1859" fmla="*/ 2876 w 10785"/>
                  <a:gd name="connsiteY1859" fmla="*/ 4470 h 10000"/>
                  <a:gd name="connsiteX1860" fmla="*/ 2880 w 10785"/>
                  <a:gd name="connsiteY1860" fmla="*/ 4462 h 10000"/>
                  <a:gd name="connsiteX1861" fmla="*/ 2889 w 10785"/>
                  <a:gd name="connsiteY1861" fmla="*/ 4444 h 10000"/>
                  <a:gd name="connsiteX1862" fmla="*/ 2894 w 10785"/>
                  <a:gd name="connsiteY1862" fmla="*/ 4462 h 10000"/>
                  <a:gd name="connsiteX1863" fmla="*/ 2917 w 10785"/>
                  <a:gd name="connsiteY1863" fmla="*/ 4444 h 10000"/>
                  <a:gd name="connsiteX1864" fmla="*/ 2922 w 10785"/>
                  <a:gd name="connsiteY1864" fmla="*/ 4436 h 10000"/>
                  <a:gd name="connsiteX1865" fmla="*/ 2917 w 10785"/>
                  <a:gd name="connsiteY1865" fmla="*/ 4410 h 10000"/>
                  <a:gd name="connsiteX1866" fmla="*/ 2894 w 10785"/>
                  <a:gd name="connsiteY1866" fmla="*/ 4410 h 10000"/>
                  <a:gd name="connsiteX1867" fmla="*/ 2889 w 10785"/>
                  <a:gd name="connsiteY1867" fmla="*/ 4419 h 10000"/>
                  <a:gd name="connsiteX1868" fmla="*/ 2876 w 10785"/>
                  <a:gd name="connsiteY1868" fmla="*/ 4410 h 10000"/>
                  <a:gd name="connsiteX1869" fmla="*/ 2880 w 10785"/>
                  <a:gd name="connsiteY1869" fmla="*/ 4376 h 10000"/>
                  <a:gd name="connsiteX1870" fmla="*/ 2903 w 10785"/>
                  <a:gd name="connsiteY1870" fmla="*/ 4393 h 10000"/>
                  <a:gd name="connsiteX1871" fmla="*/ 2931 w 10785"/>
                  <a:gd name="connsiteY1871" fmla="*/ 4393 h 10000"/>
                  <a:gd name="connsiteX1872" fmla="*/ 2931 w 10785"/>
                  <a:gd name="connsiteY1872" fmla="*/ 4385 h 10000"/>
                  <a:gd name="connsiteX1873" fmla="*/ 2931 w 10785"/>
                  <a:gd name="connsiteY1873" fmla="*/ 4350 h 10000"/>
                  <a:gd name="connsiteX1874" fmla="*/ 2945 w 10785"/>
                  <a:gd name="connsiteY1874" fmla="*/ 4350 h 10000"/>
                  <a:gd name="connsiteX1875" fmla="*/ 2949 w 10785"/>
                  <a:gd name="connsiteY1875" fmla="*/ 4325 h 10000"/>
                  <a:gd name="connsiteX1876" fmla="*/ 2963 w 10785"/>
                  <a:gd name="connsiteY1876" fmla="*/ 4256 h 10000"/>
                  <a:gd name="connsiteX1877" fmla="*/ 2982 w 10785"/>
                  <a:gd name="connsiteY1877" fmla="*/ 4239 h 10000"/>
                  <a:gd name="connsiteX1878" fmla="*/ 2991 w 10785"/>
                  <a:gd name="connsiteY1878" fmla="*/ 4214 h 10000"/>
                  <a:gd name="connsiteX1879" fmla="*/ 2991 w 10785"/>
                  <a:gd name="connsiteY1879" fmla="*/ 4197 h 10000"/>
                  <a:gd name="connsiteX1880" fmla="*/ 2995 w 10785"/>
                  <a:gd name="connsiteY1880" fmla="*/ 4171 h 10000"/>
                  <a:gd name="connsiteX1881" fmla="*/ 2991 w 10785"/>
                  <a:gd name="connsiteY1881" fmla="*/ 4077 h 10000"/>
                  <a:gd name="connsiteX1882" fmla="*/ 2995 w 10785"/>
                  <a:gd name="connsiteY1882" fmla="*/ 4034 h 10000"/>
                  <a:gd name="connsiteX1883" fmla="*/ 3018 w 10785"/>
                  <a:gd name="connsiteY1883" fmla="*/ 3983 h 10000"/>
                  <a:gd name="connsiteX1884" fmla="*/ 3018 w 10785"/>
                  <a:gd name="connsiteY1884" fmla="*/ 3915 h 10000"/>
                  <a:gd name="connsiteX1885" fmla="*/ 2949 w 10785"/>
                  <a:gd name="connsiteY1885" fmla="*/ 3778 h 10000"/>
                  <a:gd name="connsiteX1886" fmla="*/ 2954 w 10785"/>
                  <a:gd name="connsiteY1886" fmla="*/ 3675 h 10000"/>
                  <a:gd name="connsiteX1887" fmla="*/ 2954 w 10785"/>
                  <a:gd name="connsiteY1887" fmla="*/ 3650 h 10000"/>
                  <a:gd name="connsiteX1888" fmla="*/ 2963 w 10785"/>
                  <a:gd name="connsiteY1888" fmla="*/ 3624 h 10000"/>
                  <a:gd name="connsiteX1889" fmla="*/ 2954 w 10785"/>
                  <a:gd name="connsiteY1889" fmla="*/ 3564 h 10000"/>
                  <a:gd name="connsiteX1890" fmla="*/ 2963 w 10785"/>
                  <a:gd name="connsiteY1890" fmla="*/ 3538 h 10000"/>
                  <a:gd name="connsiteX1891" fmla="*/ 2963 w 10785"/>
                  <a:gd name="connsiteY1891" fmla="*/ 3487 h 10000"/>
                  <a:gd name="connsiteX1892" fmla="*/ 2963 w 10785"/>
                  <a:gd name="connsiteY1892" fmla="*/ 3479 h 10000"/>
                  <a:gd name="connsiteX1893" fmla="*/ 2963 w 10785"/>
                  <a:gd name="connsiteY1893" fmla="*/ 3462 h 10000"/>
                  <a:gd name="connsiteX1894" fmla="*/ 2954 w 10785"/>
                  <a:gd name="connsiteY1894" fmla="*/ 3453 h 10000"/>
                  <a:gd name="connsiteX1895" fmla="*/ 2954 w 10785"/>
                  <a:gd name="connsiteY1895" fmla="*/ 3444 h 10000"/>
                  <a:gd name="connsiteX1896" fmla="*/ 2954 w 10785"/>
                  <a:gd name="connsiteY1896" fmla="*/ 3402 h 10000"/>
                  <a:gd name="connsiteX1897" fmla="*/ 2954 w 10785"/>
                  <a:gd name="connsiteY1897" fmla="*/ 3393 h 10000"/>
                  <a:gd name="connsiteX1898" fmla="*/ 2949 w 10785"/>
                  <a:gd name="connsiteY1898" fmla="*/ 3376 h 10000"/>
                  <a:gd name="connsiteX1899" fmla="*/ 2949 w 10785"/>
                  <a:gd name="connsiteY1899" fmla="*/ 3342 h 10000"/>
                  <a:gd name="connsiteX1900" fmla="*/ 2949 w 10785"/>
                  <a:gd name="connsiteY1900" fmla="*/ 3316 h 10000"/>
                  <a:gd name="connsiteX1901" fmla="*/ 2968 w 10785"/>
                  <a:gd name="connsiteY1901" fmla="*/ 3291 h 10000"/>
                  <a:gd name="connsiteX1902" fmla="*/ 2963 w 10785"/>
                  <a:gd name="connsiteY1902" fmla="*/ 3205 h 10000"/>
                  <a:gd name="connsiteX1903" fmla="*/ 2968 w 10785"/>
                  <a:gd name="connsiteY1903" fmla="*/ 3171 h 10000"/>
                  <a:gd name="connsiteX1904" fmla="*/ 2968 w 10785"/>
                  <a:gd name="connsiteY1904" fmla="*/ 3128 h 10000"/>
                  <a:gd name="connsiteX1905" fmla="*/ 2954 w 10785"/>
                  <a:gd name="connsiteY1905" fmla="*/ 3051 h 10000"/>
                  <a:gd name="connsiteX1906" fmla="*/ 2954 w 10785"/>
                  <a:gd name="connsiteY1906" fmla="*/ 3009 h 10000"/>
                  <a:gd name="connsiteX1907" fmla="*/ 2922 w 10785"/>
                  <a:gd name="connsiteY1907" fmla="*/ 2940 h 10000"/>
                  <a:gd name="connsiteX1908" fmla="*/ 2903 w 10785"/>
                  <a:gd name="connsiteY1908" fmla="*/ 2880 h 10000"/>
                  <a:gd name="connsiteX1909" fmla="*/ 2903 w 10785"/>
                  <a:gd name="connsiteY1909" fmla="*/ 2855 h 10000"/>
                  <a:gd name="connsiteX1910" fmla="*/ 2908 w 10785"/>
                  <a:gd name="connsiteY1910" fmla="*/ 2846 h 10000"/>
                  <a:gd name="connsiteX1911" fmla="*/ 2931 w 10785"/>
                  <a:gd name="connsiteY1911" fmla="*/ 2821 h 10000"/>
                  <a:gd name="connsiteX1912" fmla="*/ 2931 w 10785"/>
                  <a:gd name="connsiteY1912" fmla="*/ 2803 h 10000"/>
                  <a:gd name="connsiteX1913" fmla="*/ 2935 w 10785"/>
                  <a:gd name="connsiteY1913" fmla="*/ 2786 h 10000"/>
                  <a:gd name="connsiteX1914" fmla="*/ 2935 w 10785"/>
                  <a:gd name="connsiteY1914" fmla="*/ 2744 h 10000"/>
                  <a:gd name="connsiteX1915" fmla="*/ 2963 w 10785"/>
                  <a:gd name="connsiteY1915" fmla="*/ 2607 h 10000"/>
                  <a:gd name="connsiteX1916" fmla="*/ 2963 w 10785"/>
                  <a:gd name="connsiteY1916" fmla="*/ 2419 h 10000"/>
                  <a:gd name="connsiteX1917" fmla="*/ 2954 w 10785"/>
                  <a:gd name="connsiteY1917" fmla="*/ 2410 h 10000"/>
                  <a:gd name="connsiteX1918" fmla="*/ 2963 w 10785"/>
                  <a:gd name="connsiteY1918" fmla="*/ 2393 h 10000"/>
                  <a:gd name="connsiteX1919" fmla="*/ 2908 w 10785"/>
                  <a:gd name="connsiteY1919" fmla="*/ 2359 h 10000"/>
                  <a:gd name="connsiteX1920" fmla="*/ 2889 w 10785"/>
                  <a:gd name="connsiteY1920" fmla="*/ 2325 h 10000"/>
                  <a:gd name="connsiteX1921" fmla="*/ 2788 w 10785"/>
                  <a:gd name="connsiteY1921" fmla="*/ 2333 h 10000"/>
                  <a:gd name="connsiteX1922" fmla="*/ 2774 w 10785"/>
                  <a:gd name="connsiteY1922" fmla="*/ 2325 h 10000"/>
                  <a:gd name="connsiteX1923" fmla="*/ 2783 w 10785"/>
                  <a:gd name="connsiteY1923" fmla="*/ 2308 h 10000"/>
                  <a:gd name="connsiteX1924" fmla="*/ 2747 w 10785"/>
                  <a:gd name="connsiteY1924" fmla="*/ 2308 h 10000"/>
                  <a:gd name="connsiteX1925" fmla="*/ 2742 w 10785"/>
                  <a:gd name="connsiteY1925" fmla="*/ 2333 h 10000"/>
                  <a:gd name="connsiteX1926" fmla="*/ 2682 w 10785"/>
                  <a:gd name="connsiteY1926" fmla="*/ 2769 h 10000"/>
                  <a:gd name="connsiteX1927" fmla="*/ 2613 w 10785"/>
                  <a:gd name="connsiteY1927" fmla="*/ 2940 h 10000"/>
                  <a:gd name="connsiteX1928" fmla="*/ 2581 w 10785"/>
                  <a:gd name="connsiteY1928" fmla="*/ 2966 h 10000"/>
                  <a:gd name="connsiteX1929" fmla="*/ 2576 w 10785"/>
                  <a:gd name="connsiteY1929" fmla="*/ 3051 h 10000"/>
                  <a:gd name="connsiteX1930" fmla="*/ 2581 w 10785"/>
                  <a:gd name="connsiteY1930" fmla="*/ 3051 h 10000"/>
                  <a:gd name="connsiteX1931" fmla="*/ 2594 w 10785"/>
                  <a:gd name="connsiteY1931" fmla="*/ 3017 h 10000"/>
                  <a:gd name="connsiteX1932" fmla="*/ 2594 w 10785"/>
                  <a:gd name="connsiteY1932" fmla="*/ 3034 h 10000"/>
                  <a:gd name="connsiteX1933" fmla="*/ 2594 w 10785"/>
                  <a:gd name="connsiteY1933" fmla="*/ 3051 h 10000"/>
                  <a:gd name="connsiteX1934" fmla="*/ 2590 w 10785"/>
                  <a:gd name="connsiteY1934" fmla="*/ 3077 h 10000"/>
                  <a:gd name="connsiteX1935" fmla="*/ 2567 w 10785"/>
                  <a:gd name="connsiteY1935" fmla="*/ 3103 h 10000"/>
                  <a:gd name="connsiteX1936" fmla="*/ 2562 w 10785"/>
                  <a:gd name="connsiteY1936" fmla="*/ 3145 h 10000"/>
                  <a:gd name="connsiteX1937" fmla="*/ 2567 w 10785"/>
                  <a:gd name="connsiteY1937" fmla="*/ 3179 h 10000"/>
                  <a:gd name="connsiteX1938" fmla="*/ 2590 w 10785"/>
                  <a:gd name="connsiteY1938" fmla="*/ 3171 h 10000"/>
                  <a:gd name="connsiteX1939" fmla="*/ 2594 w 10785"/>
                  <a:gd name="connsiteY1939" fmla="*/ 3145 h 10000"/>
                  <a:gd name="connsiteX1940" fmla="*/ 2613 w 10785"/>
                  <a:gd name="connsiteY1940" fmla="*/ 3154 h 10000"/>
                  <a:gd name="connsiteX1941" fmla="*/ 2622 w 10785"/>
                  <a:gd name="connsiteY1941" fmla="*/ 3179 h 10000"/>
                  <a:gd name="connsiteX1942" fmla="*/ 2613 w 10785"/>
                  <a:gd name="connsiteY1942" fmla="*/ 3214 h 10000"/>
                  <a:gd name="connsiteX1943" fmla="*/ 2613 w 10785"/>
                  <a:gd name="connsiteY1943" fmla="*/ 3308 h 10000"/>
                  <a:gd name="connsiteX1944" fmla="*/ 2608 w 10785"/>
                  <a:gd name="connsiteY1944" fmla="*/ 3325 h 10000"/>
                  <a:gd name="connsiteX1945" fmla="*/ 2608 w 10785"/>
                  <a:gd name="connsiteY1945" fmla="*/ 3376 h 10000"/>
                  <a:gd name="connsiteX1946" fmla="*/ 2613 w 10785"/>
                  <a:gd name="connsiteY1946" fmla="*/ 3419 h 10000"/>
                  <a:gd name="connsiteX1947" fmla="*/ 2608 w 10785"/>
                  <a:gd name="connsiteY1947" fmla="*/ 3444 h 10000"/>
                  <a:gd name="connsiteX1948" fmla="*/ 2594 w 10785"/>
                  <a:gd name="connsiteY1948" fmla="*/ 3444 h 10000"/>
                  <a:gd name="connsiteX1949" fmla="*/ 2590 w 10785"/>
                  <a:gd name="connsiteY1949" fmla="*/ 3427 h 10000"/>
                  <a:gd name="connsiteX1950" fmla="*/ 2581 w 10785"/>
                  <a:gd name="connsiteY1950" fmla="*/ 3564 h 10000"/>
                  <a:gd name="connsiteX1951" fmla="*/ 2594 w 10785"/>
                  <a:gd name="connsiteY1951" fmla="*/ 3598 h 10000"/>
                  <a:gd name="connsiteX1952" fmla="*/ 2594 w 10785"/>
                  <a:gd name="connsiteY1952" fmla="*/ 3581 h 10000"/>
                  <a:gd name="connsiteX1953" fmla="*/ 2608 w 10785"/>
                  <a:gd name="connsiteY1953" fmla="*/ 3556 h 10000"/>
                  <a:gd name="connsiteX1954" fmla="*/ 2650 w 10785"/>
                  <a:gd name="connsiteY1954" fmla="*/ 3615 h 10000"/>
                  <a:gd name="connsiteX1955" fmla="*/ 2664 w 10785"/>
                  <a:gd name="connsiteY1955" fmla="*/ 3615 h 10000"/>
                  <a:gd name="connsiteX1956" fmla="*/ 2668 w 10785"/>
                  <a:gd name="connsiteY1956" fmla="*/ 3615 h 10000"/>
                  <a:gd name="connsiteX1957" fmla="*/ 2664 w 10785"/>
                  <a:gd name="connsiteY1957" fmla="*/ 3667 h 10000"/>
                  <a:gd name="connsiteX1958" fmla="*/ 2687 w 10785"/>
                  <a:gd name="connsiteY1958" fmla="*/ 3786 h 10000"/>
                  <a:gd name="connsiteX1959" fmla="*/ 2710 w 10785"/>
                  <a:gd name="connsiteY1959" fmla="*/ 3812 h 10000"/>
                  <a:gd name="connsiteX1960" fmla="*/ 2724 w 10785"/>
                  <a:gd name="connsiteY1960" fmla="*/ 3812 h 10000"/>
                  <a:gd name="connsiteX1961" fmla="*/ 2724 w 10785"/>
                  <a:gd name="connsiteY1961" fmla="*/ 3829 h 10000"/>
                  <a:gd name="connsiteX1962" fmla="*/ 2737 w 10785"/>
                  <a:gd name="connsiteY1962" fmla="*/ 3838 h 10000"/>
                  <a:gd name="connsiteX1963" fmla="*/ 2714 w 10785"/>
                  <a:gd name="connsiteY1963" fmla="*/ 3872 h 10000"/>
                  <a:gd name="connsiteX1964" fmla="*/ 2696 w 10785"/>
                  <a:gd name="connsiteY1964" fmla="*/ 4026 h 10000"/>
                  <a:gd name="connsiteX1965" fmla="*/ 2673 w 10785"/>
                  <a:gd name="connsiteY1965" fmla="*/ 4051 h 10000"/>
                  <a:gd name="connsiteX1966" fmla="*/ 2668 w 10785"/>
                  <a:gd name="connsiteY1966" fmla="*/ 4034 h 10000"/>
                  <a:gd name="connsiteX1967" fmla="*/ 2673 w 10785"/>
                  <a:gd name="connsiteY1967" fmla="*/ 4000 h 10000"/>
                  <a:gd name="connsiteX1968" fmla="*/ 2664 w 10785"/>
                  <a:gd name="connsiteY1968" fmla="*/ 3974 h 10000"/>
                  <a:gd name="connsiteX1969" fmla="*/ 2636 w 10785"/>
                  <a:gd name="connsiteY1969" fmla="*/ 3949 h 10000"/>
                  <a:gd name="connsiteX1970" fmla="*/ 2581 w 10785"/>
                  <a:gd name="connsiteY1970" fmla="*/ 3838 h 10000"/>
                  <a:gd name="connsiteX1971" fmla="*/ 2562 w 10785"/>
                  <a:gd name="connsiteY1971" fmla="*/ 3829 h 10000"/>
                  <a:gd name="connsiteX1972" fmla="*/ 2535 w 10785"/>
                  <a:gd name="connsiteY1972" fmla="*/ 3778 h 10000"/>
                  <a:gd name="connsiteX1973" fmla="*/ 2502 w 10785"/>
                  <a:gd name="connsiteY1973" fmla="*/ 3761 h 10000"/>
                  <a:gd name="connsiteX1974" fmla="*/ 2502 w 10785"/>
                  <a:gd name="connsiteY1974" fmla="*/ 3735 h 10000"/>
                  <a:gd name="connsiteX1975" fmla="*/ 2516 w 10785"/>
                  <a:gd name="connsiteY1975" fmla="*/ 3735 h 10000"/>
                  <a:gd name="connsiteX1976" fmla="*/ 2507 w 10785"/>
                  <a:gd name="connsiteY1976" fmla="*/ 3726 h 10000"/>
                  <a:gd name="connsiteX1977" fmla="*/ 2488 w 10785"/>
                  <a:gd name="connsiteY1977" fmla="*/ 3726 h 10000"/>
                  <a:gd name="connsiteX1978" fmla="*/ 2461 w 10785"/>
                  <a:gd name="connsiteY1978" fmla="*/ 3692 h 10000"/>
                  <a:gd name="connsiteX1979" fmla="*/ 2442 w 10785"/>
                  <a:gd name="connsiteY1979" fmla="*/ 3675 h 10000"/>
                  <a:gd name="connsiteX1980" fmla="*/ 2406 w 10785"/>
                  <a:gd name="connsiteY1980" fmla="*/ 3598 h 10000"/>
                  <a:gd name="connsiteX1981" fmla="*/ 2346 w 10785"/>
                  <a:gd name="connsiteY1981" fmla="*/ 3564 h 10000"/>
                  <a:gd name="connsiteX1982" fmla="*/ 2341 w 10785"/>
                  <a:gd name="connsiteY1982" fmla="*/ 3564 h 10000"/>
                  <a:gd name="connsiteX1983" fmla="*/ 2313 w 10785"/>
                  <a:gd name="connsiteY1983" fmla="*/ 3530 h 10000"/>
                  <a:gd name="connsiteX1984" fmla="*/ 2235 w 10785"/>
                  <a:gd name="connsiteY1984" fmla="*/ 3530 h 10000"/>
                  <a:gd name="connsiteX1985" fmla="*/ 2226 w 10785"/>
                  <a:gd name="connsiteY1985" fmla="*/ 3513 h 10000"/>
                  <a:gd name="connsiteX1986" fmla="*/ 2207 w 10785"/>
                  <a:gd name="connsiteY1986" fmla="*/ 3504 h 10000"/>
                  <a:gd name="connsiteX1987" fmla="*/ 2194 w 10785"/>
                  <a:gd name="connsiteY1987" fmla="*/ 3504 h 10000"/>
                  <a:gd name="connsiteX1988" fmla="*/ 2189 w 10785"/>
                  <a:gd name="connsiteY1988" fmla="*/ 3504 h 10000"/>
                  <a:gd name="connsiteX1989" fmla="*/ 2189 w 10785"/>
                  <a:gd name="connsiteY1989" fmla="*/ 3530 h 10000"/>
                  <a:gd name="connsiteX1990" fmla="*/ 2180 w 10785"/>
                  <a:gd name="connsiteY1990" fmla="*/ 3538 h 10000"/>
                  <a:gd name="connsiteX1991" fmla="*/ 2152 w 10785"/>
                  <a:gd name="connsiteY1991" fmla="*/ 3581 h 10000"/>
                  <a:gd name="connsiteX1992" fmla="*/ 2161 w 10785"/>
                  <a:gd name="connsiteY1992" fmla="*/ 3598 h 10000"/>
                  <a:gd name="connsiteX1993" fmla="*/ 2194 w 10785"/>
                  <a:gd name="connsiteY1993" fmla="*/ 3752 h 10000"/>
                  <a:gd name="connsiteX1994" fmla="*/ 2194 w 10785"/>
                  <a:gd name="connsiteY1994" fmla="*/ 3735 h 10000"/>
                  <a:gd name="connsiteX1995" fmla="*/ 2198 w 10785"/>
                  <a:gd name="connsiteY1995" fmla="*/ 3735 h 10000"/>
                  <a:gd name="connsiteX1996" fmla="*/ 2189 w 10785"/>
                  <a:gd name="connsiteY1996" fmla="*/ 3838 h 10000"/>
                  <a:gd name="connsiteX1997" fmla="*/ 2166 w 10785"/>
                  <a:gd name="connsiteY1997" fmla="*/ 3889 h 10000"/>
                  <a:gd name="connsiteX1998" fmla="*/ 2124 w 10785"/>
                  <a:gd name="connsiteY1998" fmla="*/ 3889 h 10000"/>
                  <a:gd name="connsiteX1999" fmla="*/ 2124 w 10785"/>
                  <a:gd name="connsiteY1999" fmla="*/ 3923 h 10000"/>
                  <a:gd name="connsiteX2000" fmla="*/ 2134 w 10785"/>
                  <a:gd name="connsiteY2000" fmla="*/ 3940 h 10000"/>
                  <a:gd name="connsiteX2001" fmla="*/ 2134 w 10785"/>
                  <a:gd name="connsiteY2001" fmla="*/ 3966 h 10000"/>
                  <a:gd name="connsiteX2002" fmla="*/ 2120 w 10785"/>
                  <a:gd name="connsiteY2002" fmla="*/ 4000 h 10000"/>
                  <a:gd name="connsiteX2003" fmla="*/ 2106 w 10785"/>
                  <a:gd name="connsiteY2003" fmla="*/ 4009 h 10000"/>
                  <a:gd name="connsiteX2004" fmla="*/ 2088 w 10785"/>
                  <a:gd name="connsiteY2004" fmla="*/ 4000 h 10000"/>
                  <a:gd name="connsiteX2005" fmla="*/ 2074 w 10785"/>
                  <a:gd name="connsiteY2005" fmla="*/ 3974 h 10000"/>
                  <a:gd name="connsiteX2006" fmla="*/ 2074 w 10785"/>
                  <a:gd name="connsiteY2006" fmla="*/ 3940 h 10000"/>
                  <a:gd name="connsiteX2007" fmla="*/ 2078 w 10785"/>
                  <a:gd name="connsiteY2007" fmla="*/ 3915 h 10000"/>
                  <a:gd name="connsiteX2008" fmla="*/ 2088 w 10785"/>
                  <a:gd name="connsiteY2008" fmla="*/ 3889 h 10000"/>
                  <a:gd name="connsiteX2009" fmla="*/ 2101 w 10785"/>
                  <a:gd name="connsiteY2009" fmla="*/ 3872 h 10000"/>
                  <a:gd name="connsiteX2010" fmla="*/ 2074 w 10785"/>
                  <a:gd name="connsiteY2010" fmla="*/ 3812 h 10000"/>
                  <a:gd name="connsiteX2011" fmla="*/ 2074 w 10785"/>
                  <a:gd name="connsiteY2011" fmla="*/ 3786 h 10000"/>
                  <a:gd name="connsiteX2012" fmla="*/ 2060 w 10785"/>
                  <a:gd name="connsiteY2012" fmla="*/ 3786 h 10000"/>
                  <a:gd name="connsiteX2013" fmla="*/ 2014 w 10785"/>
                  <a:gd name="connsiteY2013" fmla="*/ 3829 h 10000"/>
                  <a:gd name="connsiteX2014" fmla="*/ 2000 w 10785"/>
                  <a:gd name="connsiteY2014" fmla="*/ 3863 h 10000"/>
                  <a:gd name="connsiteX2015" fmla="*/ 1986 w 10785"/>
                  <a:gd name="connsiteY2015" fmla="*/ 3872 h 10000"/>
                  <a:gd name="connsiteX2016" fmla="*/ 1959 w 10785"/>
                  <a:gd name="connsiteY2016" fmla="*/ 3940 h 10000"/>
                  <a:gd name="connsiteX2017" fmla="*/ 1945 w 10785"/>
                  <a:gd name="connsiteY2017" fmla="*/ 3949 h 10000"/>
                  <a:gd name="connsiteX2018" fmla="*/ 1940 w 10785"/>
                  <a:gd name="connsiteY2018" fmla="*/ 3923 h 10000"/>
                  <a:gd name="connsiteX2019" fmla="*/ 1917 w 10785"/>
                  <a:gd name="connsiteY2019" fmla="*/ 3915 h 10000"/>
                  <a:gd name="connsiteX2020" fmla="*/ 1899 w 10785"/>
                  <a:gd name="connsiteY2020" fmla="*/ 3923 h 10000"/>
                  <a:gd name="connsiteX2021" fmla="*/ 1880 w 10785"/>
                  <a:gd name="connsiteY2021" fmla="*/ 3915 h 10000"/>
                  <a:gd name="connsiteX2022" fmla="*/ 1853 w 10785"/>
                  <a:gd name="connsiteY2022" fmla="*/ 3940 h 10000"/>
                  <a:gd name="connsiteX2023" fmla="*/ 1839 w 10785"/>
                  <a:gd name="connsiteY2023" fmla="*/ 3940 h 10000"/>
                  <a:gd name="connsiteX2024" fmla="*/ 1806 w 10785"/>
                  <a:gd name="connsiteY2024" fmla="*/ 3983 h 10000"/>
                  <a:gd name="connsiteX2025" fmla="*/ 1806 w 10785"/>
                  <a:gd name="connsiteY2025" fmla="*/ 4000 h 10000"/>
                  <a:gd name="connsiteX2026" fmla="*/ 1797 w 10785"/>
                  <a:gd name="connsiteY2026" fmla="*/ 4077 h 10000"/>
                  <a:gd name="connsiteX2027" fmla="*/ 1783 w 10785"/>
                  <a:gd name="connsiteY2027" fmla="*/ 4077 h 10000"/>
                  <a:gd name="connsiteX2028" fmla="*/ 1779 w 10785"/>
                  <a:gd name="connsiteY2028" fmla="*/ 4051 h 10000"/>
                  <a:gd name="connsiteX2029" fmla="*/ 1765 w 10785"/>
                  <a:gd name="connsiteY2029" fmla="*/ 4026 h 10000"/>
                  <a:gd name="connsiteX2030" fmla="*/ 1751 w 10785"/>
                  <a:gd name="connsiteY2030" fmla="*/ 4051 h 10000"/>
                  <a:gd name="connsiteX2031" fmla="*/ 1737 w 10785"/>
                  <a:gd name="connsiteY2031" fmla="*/ 4009 h 10000"/>
                  <a:gd name="connsiteX2032" fmla="*/ 1737 w 10785"/>
                  <a:gd name="connsiteY2032" fmla="*/ 3966 h 10000"/>
                  <a:gd name="connsiteX2033" fmla="*/ 1733 w 10785"/>
                  <a:gd name="connsiteY2033" fmla="*/ 3940 h 10000"/>
                  <a:gd name="connsiteX2034" fmla="*/ 1733 w 10785"/>
                  <a:gd name="connsiteY2034" fmla="*/ 3923 h 10000"/>
                  <a:gd name="connsiteX2035" fmla="*/ 1747 w 10785"/>
                  <a:gd name="connsiteY2035" fmla="*/ 3889 h 10000"/>
                  <a:gd name="connsiteX2036" fmla="*/ 1747 w 10785"/>
                  <a:gd name="connsiteY2036" fmla="*/ 3863 h 10000"/>
                  <a:gd name="connsiteX2037" fmla="*/ 1737 w 10785"/>
                  <a:gd name="connsiteY2037" fmla="*/ 3838 h 10000"/>
                  <a:gd name="connsiteX2038" fmla="*/ 1733 w 10785"/>
                  <a:gd name="connsiteY2038" fmla="*/ 3829 h 10000"/>
                  <a:gd name="connsiteX2039" fmla="*/ 1733 w 10785"/>
                  <a:gd name="connsiteY2039" fmla="*/ 3846 h 10000"/>
                  <a:gd name="connsiteX2040" fmla="*/ 1724 w 10785"/>
                  <a:gd name="connsiteY2040" fmla="*/ 3846 h 10000"/>
                  <a:gd name="connsiteX2041" fmla="*/ 1724 w 10785"/>
                  <a:gd name="connsiteY2041" fmla="*/ 3829 h 10000"/>
                  <a:gd name="connsiteX2042" fmla="*/ 1737 w 10785"/>
                  <a:gd name="connsiteY2042" fmla="*/ 3812 h 10000"/>
                  <a:gd name="connsiteX2043" fmla="*/ 1765 w 10785"/>
                  <a:gd name="connsiteY2043" fmla="*/ 3812 h 10000"/>
                  <a:gd name="connsiteX2044" fmla="*/ 1779 w 10785"/>
                  <a:gd name="connsiteY2044" fmla="*/ 3786 h 10000"/>
                  <a:gd name="connsiteX2045" fmla="*/ 1779 w 10785"/>
                  <a:gd name="connsiteY2045" fmla="*/ 3786 h 10000"/>
                  <a:gd name="connsiteX2046" fmla="*/ 1751 w 10785"/>
                  <a:gd name="connsiteY2046" fmla="*/ 3803 h 10000"/>
                  <a:gd name="connsiteX2047" fmla="*/ 1747 w 10785"/>
                  <a:gd name="connsiteY2047" fmla="*/ 3803 h 10000"/>
                  <a:gd name="connsiteX2048" fmla="*/ 1724 w 10785"/>
                  <a:gd name="connsiteY2048" fmla="*/ 3803 h 10000"/>
                  <a:gd name="connsiteX2049" fmla="*/ 1700 w 10785"/>
                  <a:gd name="connsiteY2049" fmla="*/ 3829 h 10000"/>
                  <a:gd name="connsiteX2050" fmla="*/ 1705 w 10785"/>
                  <a:gd name="connsiteY2050" fmla="*/ 3846 h 10000"/>
                  <a:gd name="connsiteX2051" fmla="*/ 1691 w 10785"/>
                  <a:gd name="connsiteY2051" fmla="*/ 3846 h 10000"/>
                  <a:gd name="connsiteX2052" fmla="*/ 1691 w 10785"/>
                  <a:gd name="connsiteY2052" fmla="*/ 3863 h 10000"/>
                  <a:gd name="connsiteX2053" fmla="*/ 1691 w 10785"/>
                  <a:gd name="connsiteY2053" fmla="*/ 3915 h 10000"/>
                  <a:gd name="connsiteX2054" fmla="*/ 1677 w 10785"/>
                  <a:gd name="connsiteY2054" fmla="*/ 3923 h 10000"/>
                  <a:gd name="connsiteX2055" fmla="*/ 1673 w 10785"/>
                  <a:gd name="connsiteY2055" fmla="*/ 3915 h 10000"/>
                  <a:gd name="connsiteX2056" fmla="*/ 1664 w 10785"/>
                  <a:gd name="connsiteY2056" fmla="*/ 3889 h 10000"/>
                  <a:gd name="connsiteX2057" fmla="*/ 1673 w 10785"/>
                  <a:gd name="connsiteY2057" fmla="*/ 3872 h 10000"/>
                  <a:gd name="connsiteX2058" fmla="*/ 1664 w 10785"/>
                  <a:gd name="connsiteY2058" fmla="*/ 3872 h 10000"/>
                  <a:gd name="connsiteX2059" fmla="*/ 1636 w 10785"/>
                  <a:gd name="connsiteY2059" fmla="*/ 3923 h 10000"/>
                  <a:gd name="connsiteX2060" fmla="*/ 1645 w 10785"/>
                  <a:gd name="connsiteY2060" fmla="*/ 3923 h 10000"/>
                  <a:gd name="connsiteX2061" fmla="*/ 1650 w 10785"/>
                  <a:gd name="connsiteY2061" fmla="*/ 3949 h 10000"/>
                  <a:gd name="connsiteX2062" fmla="*/ 1650 w 10785"/>
                  <a:gd name="connsiteY2062" fmla="*/ 3983 h 10000"/>
                  <a:gd name="connsiteX2063" fmla="*/ 1636 w 10785"/>
                  <a:gd name="connsiteY2063" fmla="*/ 4000 h 10000"/>
                  <a:gd name="connsiteX2064" fmla="*/ 1631 w 10785"/>
                  <a:gd name="connsiteY2064" fmla="*/ 4009 h 10000"/>
                  <a:gd name="connsiteX2065" fmla="*/ 1618 w 10785"/>
                  <a:gd name="connsiteY2065" fmla="*/ 3949 h 10000"/>
                  <a:gd name="connsiteX2066" fmla="*/ 1585 w 10785"/>
                  <a:gd name="connsiteY2066" fmla="*/ 3966 h 10000"/>
                  <a:gd name="connsiteX2067" fmla="*/ 1590 w 10785"/>
                  <a:gd name="connsiteY2067" fmla="*/ 3974 h 10000"/>
                  <a:gd name="connsiteX2068" fmla="*/ 1544 w 10785"/>
                  <a:gd name="connsiteY2068" fmla="*/ 4009 h 10000"/>
                  <a:gd name="connsiteX2069" fmla="*/ 1539 w 10785"/>
                  <a:gd name="connsiteY2069" fmla="*/ 4009 h 10000"/>
                  <a:gd name="connsiteX2070" fmla="*/ 1410 w 10785"/>
                  <a:gd name="connsiteY2070" fmla="*/ 4188 h 10000"/>
                  <a:gd name="connsiteX2071" fmla="*/ 1406 w 10785"/>
                  <a:gd name="connsiteY2071" fmla="*/ 4171 h 10000"/>
                  <a:gd name="connsiteX2072" fmla="*/ 1396 w 10785"/>
                  <a:gd name="connsiteY2072" fmla="*/ 4214 h 10000"/>
                  <a:gd name="connsiteX2073" fmla="*/ 1406 w 10785"/>
                  <a:gd name="connsiteY2073" fmla="*/ 4222 h 10000"/>
                  <a:gd name="connsiteX2074" fmla="*/ 1392 w 10785"/>
                  <a:gd name="connsiteY2074" fmla="*/ 4239 h 10000"/>
                  <a:gd name="connsiteX2075" fmla="*/ 1369 w 10785"/>
                  <a:gd name="connsiteY2075" fmla="*/ 4248 h 10000"/>
                  <a:gd name="connsiteX2076" fmla="*/ 1355 w 10785"/>
                  <a:gd name="connsiteY2076" fmla="*/ 4256 h 10000"/>
                  <a:gd name="connsiteX2077" fmla="*/ 1350 w 10785"/>
                  <a:gd name="connsiteY2077" fmla="*/ 4248 h 10000"/>
                  <a:gd name="connsiteX2078" fmla="*/ 1332 w 10785"/>
                  <a:gd name="connsiteY2078" fmla="*/ 4376 h 10000"/>
                  <a:gd name="connsiteX2079" fmla="*/ 1332 w 10785"/>
                  <a:gd name="connsiteY2079" fmla="*/ 4436 h 10000"/>
                  <a:gd name="connsiteX2080" fmla="*/ 1323 w 10785"/>
                  <a:gd name="connsiteY2080" fmla="*/ 4462 h 10000"/>
                  <a:gd name="connsiteX2081" fmla="*/ 1304 w 10785"/>
                  <a:gd name="connsiteY2081" fmla="*/ 4487 h 10000"/>
                  <a:gd name="connsiteX2082" fmla="*/ 1290 w 10785"/>
                  <a:gd name="connsiteY2082" fmla="*/ 4470 h 10000"/>
                  <a:gd name="connsiteX2083" fmla="*/ 1263 w 10785"/>
                  <a:gd name="connsiteY2083" fmla="*/ 4496 h 10000"/>
                  <a:gd name="connsiteX2084" fmla="*/ 1258 w 10785"/>
                  <a:gd name="connsiteY2084" fmla="*/ 4547 h 10000"/>
                  <a:gd name="connsiteX2085" fmla="*/ 1249 w 10785"/>
                  <a:gd name="connsiteY2085" fmla="*/ 4487 h 10000"/>
                  <a:gd name="connsiteX2086" fmla="*/ 1235 w 10785"/>
                  <a:gd name="connsiteY2086" fmla="*/ 4496 h 10000"/>
                  <a:gd name="connsiteX2087" fmla="*/ 1221 w 10785"/>
                  <a:gd name="connsiteY2087" fmla="*/ 4496 h 10000"/>
                  <a:gd name="connsiteX2088" fmla="*/ 1217 w 10785"/>
                  <a:gd name="connsiteY2088" fmla="*/ 4487 h 10000"/>
                  <a:gd name="connsiteX2089" fmla="*/ 1198 w 10785"/>
                  <a:gd name="connsiteY2089" fmla="*/ 4410 h 10000"/>
                  <a:gd name="connsiteX2090" fmla="*/ 1157 w 10785"/>
                  <a:gd name="connsiteY2090" fmla="*/ 4333 h 10000"/>
                  <a:gd name="connsiteX2091" fmla="*/ 1147 w 10785"/>
                  <a:gd name="connsiteY2091" fmla="*/ 4299 h 10000"/>
                  <a:gd name="connsiteX2092" fmla="*/ 1147 w 10785"/>
                  <a:gd name="connsiteY2092" fmla="*/ 4274 h 10000"/>
                  <a:gd name="connsiteX2093" fmla="*/ 1161 w 10785"/>
                  <a:gd name="connsiteY2093" fmla="*/ 4256 h 10000"/>
                  <a:gd name="connsiteX2094" fmla="*/ 1171 w 10785"/>
                  <a:gd name="connsiteY2094" fmla="*/ 4248 h 10000"/>
                  <a:gd name="connsiteX2095" fmla="*/ 1175 w 10785"/>
                  <a:gd name="connsiteY2095" fmla="*/ 4214 h 10000"/>
                  <a:gd name="connsiteX2096" fmla="*/ 1263 w 10785"/>
                  <a:gd name="connsiteY2096" fmla="*/ 4171 h 10000"/>
                  <a:gd name="connsiteX2097" fmla="*/ 1249 w 10785"/>
                  <a:gd name="connsiteY2097" fmla="*/ 4137 h 10000"/>
                  <a:gd name="connsiteX2098" fmla="*/ 1244 w 10785"/>
                  <a:gd name="connsiteY2098" fmla="*/ 4060 h 10000"/>
                  <a:gd name="connsiteX2099" fmla="*/ 1230 w 10785"/>
                  <a:gd name="connsiteY2099" fmla="*/ 4077 h 10000"/>
                  <a:gd name="connsiteX2100" fmla="*/ 1221 w 10785"/>
                  <a:gd name="connsiteY2100" fmla="*/ 4026 h 10000"/>
                  <a:gd name="connsiteX2101" fmla="*/ 1217 w 10785"/>
                  <a:gd name="connsiteY2101" fmla="*/ 4026 h 10000"/>
                  <a:gd name="connsiteX2102" fmla="*/ 1212 w 10785"/>
                  <a:gd name="connsiteY2102" fmla="*/ 3983 h 10000"/>
                  <a:gd name="connsiteX2103" fmla="*/ 1203 w 10785"/>
                  <a:gd name="connsiteY2103" fmla="*/ 3966 h 10000"/>
                  <a:gd name="connsiteX2104" fmla="*/ 1171 w 10785"/>
                  <a:gd name="connsiteY2104" fmla="*/ 3949 h 10000"/>
                  <a:gd name="connsiteX2105" fmla="*/ 1111 w 10785"/>
                  <a:gd name="connsiteY2105" fmla="*/ 3940 h 10000"/>
                  <a:gd name="connsiteX2106" fmla="*/ 1097 w 10785"/>
                  <a:gd name="connsiteY2106" fmla="*/ 3949 h 10000"/>
                  <a:gd name="connsiteX2107" fmla="*/ 1037 w 10785"/>
                  <a:gd name="connsiteY2107" fmla="*/ 3897 h 10000"/>
                  <a:gd name="connsiteX2108" fmla="*/ 1041 w 10785"/>
                  <a:gd name="connsiteY2108" fmla="*/ 3923 h 10000"/>
                  <a:gd name="connsiteX2109" fmla="*/ 1097 w 10785"/>
                  <a:gd name="connsiteY2109" fmla="*/ 4009 h 10000"/>
                  <a:gd name="connsiteX2110" fmla="*/ 1097 w 10785"/>
                  <a:gd name="connsiteY2110" fmla="*/ 4120 h 10000"/>
                  <a:gd name="connsiteX2111" fmla="*/ 1097 w 10785"/>
                  <a:gd name="connsiteY2111" fmla="*/ 4162 h 10000"/>
                  <a:gd name="connsiteX2112" fmla="*/ 1097 w 10785"/>
                  <a:gd name="connsiteY2112" fmla="*/ 4197 h 10000"/>
                  <a:gd name="connsiteX2113" fmla="*/ 1074 w 10785"/>
                  <a:gd name="connsiteY2113" fmla="*/ 4333 h 10000"/>
                  <a:gd name="connsiteX2114" fmla="*/ 1074 w 10785"/>
                  <a:gd name="connsiteY2114" fmla="*/ 4376 h 10000"/>
                  <a:gd name="connsiteX2115" fmla="*/ 1083 w 10785"/>
                  <a:gd name="connsiteY2115" fmla="*/ 4385 h 10000"/>
                  <a:gd name="connsiteX2116" fmla="*/ 1097 w 10785"/>
                  <a:gd name="connsiteY2116" fmla="*/ 4385 h 10000"/>
                  <a:gd name="connsiteX2117" fmla="*/ 1111 w 10785"/>
                  <a:gd name="connsiteY2117" fmla="*/ 4410 h 10000"/>
                  <a:gd name="connsiteX2118" fmla="*/ 1124 w 10785"/>
                  <a:gd name="connsiteY2118" fmla="*/ 4444 h 10000"/>
                  <a:gd name="connsiteX2119" fmla="*/ 1124 w 10785"/>
                  <a:gd name="connsiteY2119" fmla="*/ 4470 h 10000"/>
                  <a:gd name="connsiteX2120" fmla="*/ 1115 w 10785"/>
                  <a:gd name="connsiteY2120" fmla="*/ 4513 h 10000"/>
                  <a:gd name="connsiteX2121" fmla="*/ 1115 w 10785"/>
                  <a:gd name="connsiteY2121" fmla="*/ 4530 h 10000"/>
                  <a:gd name="connsiteX2122" fmla="*/ 1115 w 10785"/>
                  <a:gd name="connsiteY2122" fmla="*/ 4573 h 10000"/>
                  <a:gd name="connsiteX2123" fmla="*/ 1101 w 10785"/>
                  <a:gd name="connsiteY2123" fmla="*/ 4607 h 10000"/>
                  <a:gd name="connsiteX2124" fmla="*/ 1097 w 10785"/>
                  <a:gd name="connsiteY2124" fmla="*/ 4658 h 10000"/>
                  <a:gd name="connsiteX2125" fmla="*/ 1101 w 10785"/>
                  <a:gd name="connsiteY2125" fmla="*/ 4692 h 10000"/>
                  <a:gd name="connsiteX2126" fmla="*/ 1097 w 10785"/>
                  <a:gd name="connsiteY2126" fmla="*/ 4778 h 10000"/>
                  <a:gd name="connsiteX2127" fmla="*/ 1083 w 10785"/>
                  <a:gd name="connsiteY2127" fmla="*/ 4744 h 10000"/>
                  <a:gd name="connsiteX2128" fmla="*/ 1083 w 10785"/>
                  <a:gd name="connsiteY2128" fmla="*/ 4718 h 10000"/>
                  <a:gd name="connsiteX2129" fmla="*/ 1074 w 10785"/>
                  <a:gd name="connsiteY2129" fmla="*/ 4692 h 10000"/>
                  <a:gd name="connsiteX2130" fmla="*/ 1065 w 10785"/>
                  <a:gd name="connsiteY2130" fmla="*/ 4692 h 10000"/>
                  <a:gd name="connsiteX2131" fmla="*/ 1051 w 10785"/>
                  <a:gd name="connsiteY2131" fmla="*/ 4718 h 10000"/>
                  <a:gd name="connsiteX2132" fmla="*/ 1055 w 10785"/>
                  <a:gd name="connsiteY2132" fmla="*/ 4692 h 10000"/>
                  <a:gd name="connsiteX2133" fmla="*/ 1055 w 10785"/>
                  <a:gd name="connsiteY2133" fmla="*/ 4667 h 10000"/>
                  <a:gd name="connsiteX2134" fmla="*/ 1028 w 10785"/>
                  <a:gd name="connsiteY2134" fmla="*/ 4624 h 10000"/>
                  <a:gd name="connsiteX2135" fmla="*/ 1005 w 10785"/>
                  <a:gd name="connsiteY2135" fmla="*/ 4624 h 10000"/>
                  <a:gd name="connsiteX2136" fmla="*/ 977 w 10785"/>
                  <a:gd name="connsiteY2136" fmla="*/ 4581 h 10000"/>
                  <a:gd name="connsiteX2137" fmla="*/ 963 w 10785"/>
                  <a:gd name="connsiteY2137" fmla="*/ 4607 h 10000"/>
                  <a:gd name="connsiteX2138" fmla="*/ 963 w 10785"/>
                  <a:gd name="connsiteY2138" fmla="*/ 4632 h 10000"/>
                  <a:gd name="connsiteX2139" fmla="*/ 917 w 10785"/>
                  <a:gd name="connsiteY2139" fmla="*/ 4718 h 10000"/>
                  <a:gd name="connsiteX2140" fmla="*/ 889 w 10785"/>
                  <a:gd name="connsiteY2140" fmla="*/ 4744 h 10000"/>
                  <a:gd name="connsiteX2141" fmla="*/ 880 w 10785"/>
                  <a:gd name="connsiteY2141" fmla="*/ 4744 h 10000"/>
                  <a:gd name="connsiteX2142" fmla="*/ 862 w 10785"/>
                  <a:gd name="connsiteY2142" fmla="*/ 4769 h 10000"/>
                  <a:gd name="connsiteX2143" fmla="*/ 857 w 10785"/>
                  <a:gd name="connsiteY2143" fmla="*/ 4795 h 10000"/>
                  <a:gd name="connsiteX2144" fmla="*/ 829 w 10785"/>
                  <a:gd name="connsiteY2144" fmla="*/ 4846 h 10000"/>
                  <a:gd name="connsiteX2145" fmla="*/ 816 w 10785"/>
                  <a:gd name="connsiteY2145" fmla="*/ 4855 h 10000"/>
                  <a:gd name="connsiteX2146" fmla="*/ 816 w 10785"/>
                  <a:gd name="connsiteY2146" fmla="*/ 4940 h 10000"/>
                  <a:gd name="connsiteX2147" fmla="*/ 880 w 10785"/>
                  <a:gd name="connsiteY2147" fmla="*/ 5179 h 10000"/>
                  <a:gd name="connsiteX2148" fmla="*/ 880 w 10785"/>
                  <a:gd name="connsiteY2148" fmla="*/ 5188 h 10000"/>
                  <a:gd name="connsiteX2149" fmla="*/ 862 w 10785"/>
                  <a:gd name="connsiteY2149" fmla="*/ 5171 h 10000"/>
                  <a:gd name="connsiteX2150" fmla="*/ 857 w 10785"/>
                  <a:gd name="connsiteY2150" fmla="*/ 5171 h 10000"/>
                  <a:gd name="connsiteX2151" fmla="*/ 820 w 10785"/>
                  <a:gd name="connsiteY2151" fmla="*/ 5145 h 10000"/>
                  <a:gd name="connsiteX2152" fmla="*/ 820 w 10785"/>
                  <a:gd name="connsiteY2152" fmla="*/ 5154 h 10000"/>
                  <a:gd name="connsiteX2153" fmla="*/ 816 w 10785"/>
                  <a:gd name="connsiteY2153" fmla="*/ 5171 h 10000"/>
                  <a:gd name="connsiteX2154" fmla="*/ 783 w 10785"/>
                  <a:gd name="connsiteY2154" fmla="*/ 5145 h 10000"/>
                  <a:gd name="connsiteX2155" fmla="*/ 756 w 10785"/>
                  <a:gd name="connsiteY2155" fmla="*/ 5103 h 10000"/>
                  <a:gd name="connsiteX2156" fmla="*/ 742 w 10785"/>
                  <a:gd name="connsiteY2156" fmla="*/ 5103 h 10000"/>
                  <a:gd name="connsiteX2157" fmla="*/ 728 w 10785"/>
                  <a:gd name="connsiteY2157" fmla="*/ 5094 h 10000"/>
                  <a:gd name="connsiteX2158" fmla="*/ 710 w 10785"/>
                  <a:gd name="connsiteY2158" fmla="*/ 5120 h 10000"/>
                  <a:gd name="connsiteX2159" fmla="*/ 700 w 10785"/>
                  <a:gd name="connsiteY2159" fmla="*/ 5145 h 10000"/>
                  <a:gd name="connsiteX2160" fmla="*/ 696 w 10785"/>
                  <a:gd name="connsiteY2160" fmla="*/ 5103 h 10000"/>
                  <a:gd name="connsiteX2161" fmla="*/ 714 w 10785"/>
                  <a:gd name="connsiteY2161" fmla="*/ 5077 h 10000"/>
                  <a:gd name="connsiteX2162" fmla="*/ 682 w 10785"/>
                  <a:gd name="connsiteY2162" fmla="*/ 5068 h 10000"/>
                  <a:gd name="connsiteX2163" fmla="*/ 673 w 10785"/>
                  <a:gd name="connsiteY2163" fmla="*/ 5034 h 10000"/>
                  <a:gd name="connsiteX2164" fmla="*/ 636 w 10785"/>
                  <a:gd name="connsiteY2164" fmla="*/ 4991 h 10000"/>
                  <a:gd name="connsiteX2165" fmla="*/ 622 w 10785"/>
                  <a:gd name="connsiteY2165" fmla="*/ 4983 h 10000"/>
                  <a:gd name="connsiteX2166" fmla="*/ 622 w 10785"/>
                  <a:gd name="connsiteY2166" fmla="*/ 5034 h 10000"/>
                  <a:gd name="connsiteX2167" fmla="*/ 608 w 10785"/>
                  <a:gd name="connsiteY2167" fmla="*/ 5051 h 10000"/>
                  <a:gd name="connsiteX2168" fmla="*/ 594 w 10785"/>
                  <a:gd name="connsiteY2168" fmla="*/ 5068 h 10000"/>
                  <a:gd name="connsiteX2169" fmla="*/ 608 w 10785"/>
                  <a:gd name="connsiteY2169" fmla="*/ 5120 h 10000"/>
                  <a:gd name="connsiteX2170" fmla="*/ 613 w 10785"/>
                  <a:gd name="connsiteY2170" fmla="*/ 5128 h 10000"/>
                  <a:gd name="connsiteX2171" fmla="*/ 627 w 10785"/>
                  <a:gd name="connsiteY2171" fmla="*/ 5179 h 10000"/>
                  <a:gd name="connsiteX2172" fmla="*/ 650 w 10785"/>
                  <a:gd name="connsiteY2172" fmla="*/ 5214 h 10000"/>
                  <a:gd name="connsiteX2173" fmla="*/ 687 w 10785"/>
                  <a:gd name="connsiteY2173" fmla="*/ 5188 h 10000"/>
                  <a:gd name="connsiteX2174" fmla="*/ 700 w 10785"/>
                  <a:gd name="connsiteY2174" fmla="*/ 5325 h 10000"/>
                  <a:gd name="connsiteX2175" fmla="*/ 710 w 10785"/>
                  <a:gd name="connsiteY2175" fmla="*/ 5350 h 10000"/>
                  <a:gd name="connsiteX2176" fmla="*/ 687 w 10785"/>
                  <a:gd name="connsiteY2176" fmla="*/ 5325 h 10000"/>
                  <a:gd name="connsiteX2177" fmla="*/ 668 w 10785"/>
                  <a:gd name="connsiteY2177" fmla="*/ 5350 h 10000"/>
                  <a:gd name="connsiteX2178" fmla="*/ 668 w 10785"/>
                  <a:gd name="connsiteY2178" fmla="*/ 5368 h 10000"/>
                  <a:gd name="connsiteX2179" fmla="*/ 668 w 10785"/>
                  <a:gd name="connsiteY2179" fmla="*/ 5376 h 10000"/>
                  <a:gd name="connsiteX2180" fmla="*/ 581 w 10785"/>
                  <a:gd name="connsiteY2180" fmla="*/ 5316 h 10000"/>
                  <a:gd name="connsiteX2181" fmla="*/ 567 w 10785"/>
                  <a:gd name="connsiteY2181" fmla="*/ 5265 h 10000"/>
                  <a:gd name="connsiteX2182" fmla="*/ 562 w 10785"/>
                  <a:gd name="connsiteY2182" fmla="*/ 5256 h 10000"/>
                  <a:gd name="connsiteX2183" fmla="*/ 548 w 10785"/>
                  <a:gd name="connsiteY2183" fmla="*/ 5231 h 10000"/>
                  <a:gd name="connsiteX2184" fmla="*/ 535 w 10785"/>
                  <a:gd name="connsiteY2184" fmla="*/ 5214 h 10000"/>
                  <a:gd name="connsiteX2185" fmla="*/ 525 w 10785"/>
                  <a:gd name="connsiteY2185" fmla="*/ 5231 h 10000"/>
                  <a:gd name="connsiteX2186" fmla="*/ 521 w 10785"/>
                  <a:gd name="connsiteY2186" fmla="*/ 5231 h 10000"/>
                  <a:gd name="connsiteX2187" fmla="*/ 493 w 10785"/>
                  <a:gd name="connsiteY2187" fmla="*/ 5205 h 10000"/>
                  <a:gd name="connsiteX2188" fmla="*/ 488 w 10785"/>
                  <a:gd name="connsiteY2188" fmla="*/ 5179 h 10000"/>
                  <a:gd name="connsiteX2189" fmla="*/ 475 w 10785"/>
                  <a:gd name="connsiteY2189" fmla="*/ 5188 h 10000"/>
                  <a:gd name="connsiteX2190" fmla="*/ 475 w 10785"/>
                  <a:gd name="connsiteY2190" fmla="*/ 5171 h 10000"/>
                  <a:gd name="connsiteX2191" fmla="*/ 488 w 10785"/>
                  <a:gd name="connsiteY2191" fmla="*/ 5154 h 10000"/>
                  <a:gd name="connsiteX2192" fmla="*/ 488 w 10785"/>
                  <a:gd name="connsiteY2192" fmla="*/ 5068 h 10000"/>
                  <a:gd name="connsiteX2193" fmla="*/ 475 w 10785"/>
                  <a:gd name="connsiteY2193" fmla="*/ 5051 h 10000"/>
                  <a:gd name="connsiteX2194" fmla="*/ 475 w 10785"/>
                  <a:gd name="connsiteY2194" fmla="*/ 5017 h 10000"/>
                  <a:gd name="connsiteX2195" fmla="*/ 452 w 10785"/>
                  <a:gd name="connsiteY2195" fmla="*/ 4932 h 10000"/>
                  <a:gd name="connsiteX2196" fmla="*/ 461 w 10785"/>
                  <a:gd name="connsiteY2196" fmla="*/ 4915 h 10000"/>
                  <a:gd name="connsiteX2197" fmla="*/ 475 w 10785"/>
                  <a:gd name="connsiteY2197" fmla="*/ 4906 h 10000"/>
                  <a:gd name="connsiteX2198" fmla="*/ 479 w 10785"/>
                  <a:gd name="connsiteY2198" fmla="*/ 4803 h 10000"/>
                  <a:gd name="connsiteX2199" fmla="*/ 479 w 10785"/>
                  <a:gd name="connsiteY2199" fmla="*/ 4778 h 10000"/>
                  <a:gd name="connsiteX2200" fmla="*/ 475 w 10785"/>
                  <a:gd name="connsiteY2200" fmla="*/ 4761 h 10000"/>
                  <a:gd name="connsiteX2201" fmla="*/ 465 w 10785"/>
                  <a:gd name="connsiteY2201" fmla="*/ 4718 h 10000"/>
                  <a:gd name="connsiteX2202" fmla="*/ 461 w 10785"/>
                  <a:gd name="connsiteY2202" fmla="*/ 4709 h 10000"/>
                  <a:gd name="connsiteX2203" fmla="*/ 442 w 10785"/>
                  <a:gd name="connsiteY2203" fmla="*/ 4692 h 10000"/>
                  <a:gd name="connsiteX2204" fmla="*/ 433 w 10785"/>
                  <a:gd name="connsiteY2204" fmla="*/ 4667 h 10000"/>
                  <a:gd name="connsiteX2205" fmla="*/ 419 w 10785"/>
                  <a:gd name="connsiteY2205" fmla="*/ 4667 h 10000"/>
                  <a:gd name="connsiteX2206" fmla="*/ 401 w 10785"/>
                  <a:gd name="connsiteY2206" fmla="*/ 4658 h 10000"/>
                  <a:gd name="connsiteX2207" fmla="*/ 401 w 10785"/>
                  <a:gd name="connsiteY2207" fmla="*/ 4624 h 10000"/>
                  <a:gd name="connsiteX2208" fmla="*/ 401 w 10785"/>
                  <a:gd name="connsiteY2208" fmla="*/ 4607 h 10000"/>
                  <a:gd name="connsiteX2209" fmla="*/ 378 w 10785"/>
                  <a:gd name="connsiteY2209" fmla="*/ 4607 h 10000"/>
                  <a:gd name="connsiteX2210" fmla="*/ 341 w 10785"/>
                  <a:gd name="connsiteY2210" fmla="*/ 4530 h 10000"/>
                  <a:gd name="connsiteX2211" fmla="*/ 346 w 10785"/>
                  <a:gd name="connsiteY2211" fmla="*/ 4521 h 10000"/>
                  <a:gd name="connsiteX2212" fmla="*/ 332 w 10785"/>
                  <a:gd name="connsiteY2212" fmla="*/ 4487 h 10000"/>
                  <a:gd name="connsiteX2213" fmla="*/ 327 w 10785"/>
                  <a:gd name="connsiteY2213" fmla="*/ 4462 h 10000"/>
                  <a:gd name="connsiteX2214" fmla="*/ 313 w 10785"/>
                  <a:gd name="connsiteY2214" fmla="*/ 4436 h 10000"/>
                  <a:gd name="connsiteX2215" fmla="*/ 300 w 10785"/>
                  <a:gd name="connsiteY2215" fmla="*/ 4419 h 10000"/>
                  <a:gd name="connsiteX2216" fmla="*/ 309 w 10785"/>
                  <a:gd name="connsiteY2216" fmla="*/ 4393 h 10000"/>
                  <a:gd name="connsiteX2217" fmla="*/ 332 w 10785"/>
                  <a:gd name="connsiteY2217" fmla="*/ 4385 h 10000"/>
                  <a:gd name="connsiteX2218" fmla="*/ 355 w 10785"/>
                  <a:gd name="connsiteY2218" fmla="*/ 4419 h 10000"/>
                  <a:gd name="connsiteX2219" fmla="*/ 355 w 10785"/>
                  <a:gd name="connsiteY2219" fmla="*/ 4444 h 10000"/>
                  <a:gd name="connsiteX2220" fmla="*/ 369 w 10785"/>
                  <a:gd name="connsiteY2220" fmla="*/ 4470 h 10000"/>
                  <a:gd name="connsiteX2221" fmla="*/ 401 w 10785"/>
                  <a:gd name="connsiteY2221" fmla="*/ 4521 h 10000"/>
                  <a:gd name="connsiteX2222" fmla="*/ 406 w 10785"/>
                  <a:gd name="connsiteY2222" fmla="*/ 4513 h 10000"/>
                  <a:gd name="connsiteX2223" fmla="*/ 406 w 10785"/>
                  <a:gd name="connsiteY2223" fmla="*/ 4496 h 10000"/>
                  <a:gd name="connsiteX2224" fmla="*/ 419 w 10785"/>
                  <a:gd name="connsiteY2224" fmla="*/ 4521 h 10000"/>
                  <a:gd name="connsiteX2225" fmla="*/ 429 w 10785"/>
                  <a:gd name="connsiteY2225" fmla="*/ 4530 h 10000"/>
                  <a:gd name="connsiteX2226" fmla="*/ 433 w 10785"/>
                  <a:gd name="connsiteY2226" fmla="*/ 4521 h 10000"/>
                  <a:gd name="connsiteX2227" fmla="*/ 442 w 10785"/>
                  <a:gd name="connsiteY2227" fmla="*/ 4530 h 10000"/>
                  <a:gd name="connsiteX2228" fmla="*/ 447 w 10785"/>
                  <a:gd name="connsiteY2228" fmla="*/ 4521 h 10000"/>
                  <a:gd name="connsiteX2229" fmla="*/ 452 w 10785"/>
                  <a:gd name="connsiteY2229" fmla="*/ 4521 h 10000"/>
                  <a:gd name="connsiteX2230" fmla="*/ 461 w 10785"/>
                  <a:gd name="connsiteY2230" fmla="*/ 4573 h 10000"/>
                  <a:gd name="connsiteX2231" fmla="*/ 479 w 10785"/>
                  <a:gd name="connsiteY2231" fmla="*/ 4556 h 10000"/>
                  <a:gd name="connsiteX2232" fmla="*/ 502 w 10785"/>
                  <a:gd name="connsiteY2232" fmla="*/ 4573 h 10000"/>
                  <a:gd name="connsiteX2233" fmla="*/ 507 w 10785"/>
                  <a:gd name="connsiteY2233" fmla="*/ 4598 h 10000"/>
                  <a:gd name="connsiteX2234" fmla="*/ 525 w 10785"/>
                  <a:gd name="connsiteY2234" fmla="*/ 4598 h 10000"/>
                  <a:gd name="connsiteX2235" fmla="*/ 535 w 10785"/>
                  <a:gd name="connsiteY2235" fmla="*/ 4624 h 10000"/>
                  <a:gd name="connsiteX2236" fmla="*/ 594 w 10785"/>
                  <a:gd name="connsiteY2236" fmla="*/ 4658 h 10000"/>
                  <a:gd name="connsiteX2237" fmla="*/ 627 w 10785"/>
                  <a:gd name="connsiteY2237" fmla="*/ 4658 h 10000"/>
                  <a:gd name="connsiteX2238" fmla="*/ 654 w 10785"/>
                  <a:gd name="connsiteY2238" fmla="*/ 4684 h 10000"/>
                  <a:gd name="connsiteX2239" fmla="*/ 668 w 10785"/>
                  <a:gd name="connsiteY2239" fmla="*/ 4709 h 10000"/>
                  <a:gd name="connsiteX2240" fmla="*/ 747 w 10785"/>
                  <a:gd name="connsiteY2240" fmla="*/ 4718 h 10000"/>
                  <a:gd name="connsiteX2241" fmla="*/ 760 w 10785"/>
                  <a:gd name="connsiteY2241" fmla="*/ 4709 h 10000"/>
                  <a:gd name="connsiteX2242" fmla="*/ 774 w 10785"/>
                  <a:gd name="connsiteY2242" fmla="*/ 4692 h 10000"/>
                  <a:gd name="connsiteX2243" fmla="*/ 829 w 10785"/>
                  <a:gd name="connsiteY2243" fmla="*/ 4658 h 10000"/>
                  <a:gd name="connsiteX2244" fmla="*/ 903 w 10785"/>
                  <a:gd name="connsiteY2244" fmla="*/ 4496 h 10000"/>
                  <a:gd name="connsiteX2245" fmla="*/ 917 w 10785"/>
                  <a:gd name="connsiteY2245" fmla="*/ 4385 h 10000"/>
                  <a:gd name="connsiteX2246" fmla="*/ 903 w 10785"/>
                  <a:gd name="connsiteY2246" fmla="*/ 4376 h 10000"/>
                  <a:gd name="connsiteX2247" fmla="*/ 903 w 10785"/>
                  <a:gd name="connsiteY2247" fmla="*/ 4376 h 10000"/>
                  <a:gd name="connsiteX2248" fmla="*/ 889 w 10785"/>
                  <a:gd name="connsiteY2248" fmla="*/ 4239 h 10000"/>
                  <a:gd name="connsiteX2249" fmla="*/ 880 w 10785"/>
                  <a:gd name="connsiteY2249" fmla="*/ 4214 h 10000"/>
                  <a:gd name="connsiteX2250" fmla="*/ 862 w 10785"/>
                  <a:gd name="connsiteY2250" fmla="*/ 4188 h 10000"/>
                  <a:gd name="connsiteX2251" fmla="*/ 857 w 10785"/>
                  <a:gd name="connsiteY2251" fmla="*/ 4197 h 10000"/>
                  <a:gd name="connsiteX2252" fmla="*/ 848 w 10785"/>
                  <a:gd name="connsiteY2252" fmla="*/ 4188 h 10000"/>
                  <a:gd name="connsiteX2253" fmla="*/ 848 w 10785"/>
                  <a:gd name="connsiteY2253" fmla="*/ 4162 h 10000"/>
                  <a:gd name="connsiteX2254" fmla="*/ 829 w 10785"/>
                  <a:gd name="connsiteY2254" fmla="*/ 4120 h 10000"/>
                  <a:gd name="connsiteX2255" fmla="*/ 820 w 10785"/>
                  <a:gd name="connsiteY2255" fmla="*/ 4103 h 10000"/>
                  <a:gd name="connsiteX2256" fmla="*/ 806 w 10785"/>
                  <a:gd name="connsiteY2256" fmla="*/ 4077 h 10000"/>
                  <a:gd name="connsiteX2257" fmla="*/ 816 w 10785"/>
                  <a:gd name="connsiteY2257" fmla="*/ 4111 h 10000"/>
                  <a:gd name="connsiteX2258" fmla="*/ 802 w 10785"/>
                  <a:gd name="connsiteY2258" fmla="*/ 4111 h 10000"/>
                  <a:gd name="connsiteX2259" fmla="*/ 770 w 10785"/>
                  <a:gd name="connsiteY2259" fmla="*/ 4060 h 10000"/>
                  <a:gd name="connsiteX2260" fmla="*/ 760 w 10785"/>
                  <a:gd name="connsiteY2260" fmla="*/ 4077 h 10000"/>
                  <a:gd name="connsiteX2261" fmla="*/ 760 w 10785"/>
                  <a:gd name="connsiteY2261" fmla="*/ 4060 h 10000"/>
                  <a:gd name="connsiteX2262" fmla="*/ 756 w 10785"/>
                  <a:gd name="connsiteY2262" fmla="*/ 4034 h 10000"/>
                  <a:gd name="connsiteX2263" fmla="*/ 742 w 10785"/>
                  <a:gd name="connsiteY2263" fmla="*/ 4000 h 10000"/>
                  <a:gd name="connsiteX2264" fmla="*/ 747 w 10785"/>
                  <a:gd name="connsiteY2264" fmla="*/ 4034 h 10000"/>
                  <a:gd name="connsiteX2265" fmla="*/ 724 w 10785"/>
                  <a:gd name="connsiteY2265" fmla="*/ 4026 h 10000"/>
                  <a:gd name="connsiteX2266" fmla="*/ 714 w 10785"/>
                  <a:gd name="connsiteY2266" fmla="*/ 4000 h 10000"/>
                  <a:gd name="connsiteX2267" fmla="*/ 714 w 10785"/>
                  <a:gd name="connsiteY2267" fmla="*/ 3983 h 10000"/>
                  <a:gd name="connsiteX2268" fmla="*/ 553 w 10785"/>
                  <a:gd name="connsiteY2268" fmla="*/ 3726 h 10000"/>
                  <a:gd name="connsiteX2269" fmla="*/ 507 w 10785"/>
                  <a:gd name="connsiteY2269" fmla="*/ 3718 h 10000"/>
                  <a:gd name="connsiteX2270" fmla="*/ 516 w 10785"/>
                  <a:gd name="connsiteY2270" fmla="*/ 3726 h 10000"/>
                  <a:gd name="connsiteX2271" fmla="*/ 507 w 10785"/>
                  <a:gd name="connsiteY2271" fmla="*/ 3735 h 10000"/>
                  <a:gd name="connsiteX2272" fmla="*/ 502 w 10785"/>
                  <a:gd name="connsiteY2272" fmla="*/ 3735 h 10000"/>
                  <a:gd name="connsiteX2273" fmla="*/ 419 w 10785"/>
                  <a:gd name="connsiteY2273" fmla="*/ 3675 h 10000"/>
                  <a:gd name="connsiteX2274" fmla="*/ 419 w 10785"/>
                  <a:gd name="connsiteY2274" fmla="*/ 3692 h 10000"/>
                  <a:gd name="connsiteX2275" fmla="*/ 401 w 10785"/>
                  <a:gd name="connsiteY2275" fmla="*/ 3701 h 10000"/>
                  <a:gd name="connsiteX2276" fmla="*/ 387 w 10785"/>
                  <a:gd name="connsiteY2276" fmla="*/ 3718 h 10000"/>
                  <a:gd name="connsiteX2277" fmla="*/ 387 w 10785"/>
                  <a:gd name="connsiteY2277" fmla="*/ 3692 h 10000"/>
                  <a:gd name="connsiteX2278" fmla="*/ 378 w 10785"/>
                  <a:gd name="connsiteY2278" fmla="*/ 3675 h 10000"/>
                  <a:gd name="connsiteX2279" fmla="*/ 378 w 10785"/>
                  <a:gd name="connsiteY2279" fmla="*/ 3650 h 10000"/>
                  <a:gd name="connsiteX2280" fmla="*/ 378 w 10785"/>
                  <a:gd name="connsiteY2280" fmla="*/ 3650 h 10000"/>
                  <a:gd name="connsiteX2281" fmla="*/ 355 w 10785"/>
                  <a:gd name="connsiteY2281" fmla="*/ 3675 h 10000"/>
                  <a:gd name="connsiteX2282" fmla="*/ 359 w 10785"/>
                  <a:gd name="connsiteY2282" fmla="*/ 3641 h 10000"/>
                  <a:gd name="connsiteX2283" fmla="*/ 346 w 10785"/>
                  <a:gd name="connsiteY2283" fmla="*/ 3650 h 10000"/>
                  <a:gd name="connsiteX2284" fmla="*/ 355 w 10785"/>
                  <a:gd name="connsiteY2284" fmla="*/ 3624 h 10000"/>
                  <a:gd name="connsiteX2285" fmla="*/ 346 w 10785"/>
                  <a:gd name="connsiteY2285" fmla="*/ 3624 h 10000"/>
                  <a:gd name="connsiteX2286" fmla="*/ 341 w 10785"/>
                  <a:gd name="connsiteY2286" fmla="*/ 3624 h 10000"/>
                  <a:gd name="connsiteX2287" fmla="*/ 318 w 10785"/>
                  <a:gd name="connsiteY2287" fmla="*/ 3641 h 10000"/>
                  <a:gd name="connsiteX2288" fmla="*/ 327 w 10785"/>
                  <a:gd name="connsiteY2288" fmla="*/ 3624 h 10000"/>
                  <a:gd name="connsiteX2289" fmla="*/ 318 w 10785"/>
                  <a:gd name="connsiteY2289" fmla="*/ 3615 h 10000"/>
                  <a:gd name="connsiteX2290" fmla="*/ 318 w 10785"/>
                  <a:gd name="connsiteY2290" fmla="*/ 3598 h 10000"/>
                  <a:gd name="connsiteX2291" fmla="*/ 300 w 10785"/>
                  <a:gd name="connsiteY2291" fmla="*/ 3598 h 10000"/>
                  <a:gd name="connsiteX2292" fmla="*/ 309 w 10785"/>
                  <a:gd name="connsiteY2292" fmla="*/ 3538 h 10000"/>
                  <a:gd name="connsiteX2293" fmla="*/ 313 w 10785"/>
                  <a:gd name="connsiteY2293" fmla="*/ 3564 h 10000"/>
                  <a:gd name="connsiteX2294" fmla="*/ 318 w 10785"/>
                  <a:gd name="connsiteY2294" fmla="*/ 3581 h 10000"/>
                  <a:gd name="connsiteX2295" fmla="*/ 327 w 10785"/>
                  <a:gd name="connsiteY2295" fmla="*/ 3564 h 10000"/>
                  <a:gd name="connsiteX2296" fmla="*/ 332 w 10785"/>
                  <a:gd name="connsiteY2296" fmla="*/ 3590 h 10000"/>
                  <a:gd name="connsiteX2297" fmla="*/ 346 w 10785"/>
                  <a:gd name="connsiteY2297" fmla="*/ 3590 h 10000"/>
                  <a:gd name="connsiteX2298" fmla="*/ 355 w 10785"/>
                  <a:gd name="connsiteY2298" fmla="*/ 3590 h 10000"/>
                  <a:gd name="connsiteX2299" fmla="*/ 369 w 10785"/>
                  <a:gd name="connsiteY2299" fmla="*/ 3556 h 10000"/>
                  <a:gd name="connsiteX2300" fmla="*/ 369 w 10785"/>
                  <a:gd name="connsiteY2300" fmla="*/ 3538 h 10000"/>
                  <a:gd name="connsiteX2301" fmla="*/ 346 w 10785"/>
                  <a:gd name="connsiteY2301" fmla="*/ 3513 h 10000"/>
                  <a:gd name="connsiteX2302" fmla="*/ 341 w 10785"/>
                  <a:gd name="connsiteY2302" fmla="*/ 3530 h 10000"/>
                  <a:gd name="connsiteX2303" fmla="*/ 327 w 10785"/>
                  <a:gd name="connsiteY2303" fmla="*/ 3513 h 10000"/>
                  <a:gd name="connsiteX2304" fmla="*/ 327 w 10785"/>
                  <a:gd name="connsiteY2304" fmla="*/ 3504 h 10000"/>
                  <a:gd name="connsiteX2305" fmla="*/ 295 w 10785"/>
                  <a:gd name="connsiteY2305" fmla="*/ 3462 h 10000"/>
                  <a:gd name="connsiteX2306" fmla="*/ 300 w 10785"/>
                  <a:gd name="connsiteY2306" fmla="*/ 3479 h 10000"/>
                  <a:gd name="connsiteX2307" fmla="*/ 295 w 10785"/>
                  <a:gd name="connsiteY2307" fmla="*/ 3513 h 10000"/>
                  <a:gd name="connsiteX2308" fmla="*/ 286 w 10785"/>
                  <a:gd name="connsiteY2308" fmla="*/ 3513 h 10000"/>
                  <a:gd name="connsiteX2309" fmla="*/ 281 w 10785"/>
                  <a:gd name="connsiteY2309" fmla="*/ 3513 h 10000"/>
                  <a:gd name="connsiteX2310" fmla="*/ 281 w 10785"/>
                  <a:gd name="connsiteY2310" fmla="*/ 3530 h 10000"/>
                  <a:gd name="connsiteX2311" fmla="*/ 281 w 10785"/>
                  <a:gd name="connsiteY2311" fmla="*/ 3556 h 10000"/>
                  <a:gd name="connsiteX2312" fmla="*/ 272 w 10785"/>
                  <a:gd name="connsiteY2312" fmla="*/ 3564 h 10000"/>
                  <a:gd name="connsiteX2313" fmla="*/ 267 w 10785"/>
                  <a:gd name="connsiteY2313" fmla="*/ 3564 h 10000"/>
                  <a:gd name="connsiteX2314" fmla="*/ 253 w 10785"/>
                  <a:gd name="connsiteY2314" fmla="*/ 3538 h 10000"/>
                  <a:gd name="connsiteX2315" fmla="*/ 226 w 10785"/>
                  <a:gd name="connsiteY2315" fmla="*/ 3513 h 10000"/>
                  <a:gd name="connsiteX2316" fmla="*/ 226 w 10785"/>
                  <a:gd name="connsiteY2316" fmla="*/ 3530 h 10000"/>
                  <a:gd name="connsiteX2317" fmla="*/ 226 w 10785"/>
                  <a:gd name="connsiteY2317" fmla="*/ 3530 h 10000"/>
                  <a:gd name="connsiteX2318" fmla="*/ 226 w 10785"/>
                  <a:gd name="connsiteY2318" fmla="*/ 3530 h 10000"/>
                  <a:gd name="connsiteX2319" fmla="*/ 226 w 10785"/>
                  <a:gd name="connsiteY2319" fmla="*/ 3556 h 10000"/>
                  <a:gd name="connsiteX2320" fmla="*/ 221 w 10785"/>
                  <a:gd name="connsiteY2320" fmla="*/ 3598 h 10000"/>
                  <a:gd name="connsiteX2321" fmla="*/ 207 w 10785"/>
                  <a:gd name="connsiteY2321" fmla="*/ 3598 h 10000"/>
                  <a:gd name="connsiteX2322" fmla="*/ 180 w 10785"/>
                  <a:gd name="connsiteY2322" fmla="*/ 3581 h 10000"/>
                  <a:gd name="connsiteX2323" fmla="*/ 171 w 10785"/>
                  <a:gd name="connsiteY2323" fmla="*/ 3641 h 10000"/>
                  <a:gd name="connsiteX2324" fmla="*/ 166 w 10785"/>
                  <a:gd name="connsiteY2324" fmla="*/ 3650 h 10000"/>
                  <a:gd name="connsiteX2325" fmla="*/ 124 w 10785"/>
                  <a:gd name="connsiteY2325" fmla="*/ 3701 h 10000"/>
                  <a:gd name="connsiteX2326" fmla="*/ 124 w 10785"/>
                  <a:gd name="connsiteY2326" fmla="*/ 3718 h 10000"/>
                  <a:gd name="connsiteX2327" fmla="*/ 120 w 10785"/>
                  <a:gd name="connsiteY2327" fmla="*/ 3735 h 10000"/>
                  <a:gd name="connsiteX2328" fmla="*/ 120 w 10785"/>
                  <a:gd name="connsiteY2328" fmla="*/ 3735 h 10000"/>
                  <a:gd name="connsiteX2329" fmla="*/ 111 w 10785"/>
                  <a:gd name="connsiteY2329" fmla="*/ 3761 h 10000"/>
                  <a:gd name="connsiteX2330" fmla="*/ 106 w 10785"/>
                  <a:gd name="connsiteY2330" fmla="*/ 3761 h 10000"/>
                  <a:gd name="connsiteX2331" fmla="*/ 106 w 10785"/>
                  <a:gd name="connsiteY2331" fmla="*/ 3761 h 10000"/>
                  <a:gd name="connsiteX2332" fmla="*/ 74 w 10785"/>
                  <a:gd name="connsiteY2332" fmla="*/ 3829 h 10000"/>
                  <a:gd name="connsiteX2333" fmla="*/ 78 w 10785"/>
                  <a:gd name="connsiteY2333" fmla="*/ 3838 h 10000"/>
                  <a:gd name="connsiteX2334" fmla="*/ 88 w 10785"/>
                  <a:gd name="connsiteY2334" fmla="*/ 3846 h 10000"/>
                  <a:gd name="connsiteX2335" fmla="*/ 65 w 10785"/>
                  <a:gd name="connsiteY2335" fmla="*/ 3923 h 10000"/>
                  <a:gd name="connsiteX2336" fmla="*/ 78 w 10785"/>
                  <a:gd name="connsiteY2336" fmla="*/ 4026 h 10000"/>
                  <a:gd name="connsiteX2337" fmla="*/ 88 w 10785"/>
                  <a:gd name="connsiteY2337" fmla="*/ 4051 h 10000"/>
                  <a:gd name="connsiteX2338" fmla="*/ 92 w 10785"/>
                  <a:gd name="connsiteY2338" fmla="*/ 4060 h 10000"/>
                  <a:gd name="connsiteX2339" fmla="*/ 111 w 10785"/>
                  <a:gd name="connsiteY2339" fmla="*/ 4060 h 10000"/>
                  <a:gd name="connsiteX2340" fmla="*/ 124 w 10785"/>
                  <a:gd name="connsiteY2340" fmla="*/ 4085 h 10000"/>
                  <a:gd name="connsiteX2341" fmla="*/ 166 w 10785"/>
                  <a:gd name="connsiteY2341" fmla="*/ 4197 h 10000"/>
                  <a:gd name="connsiteX2342" fmla="*/ 166 w 10785"/>
                  <a:gd name="connsiteY2342" fmla="*/ 4248 h 10000"/>
                  <a:gd name="connsiteX2343" fmla="*/ 120 w 10785"/>
                  <a:gd name="connsiteY2343" fmla="*/ 4462 h 10000"/>
                  <a:gd name="connsiteX2344" fmla="*/ 120 w 10785"/>
                  <a:gd name="connsiteY2344" fmla="*/ 4513 h 10000"/>
                  <a:gd name="connsiteX2345" fmla="*/ 180 w 10785"/>
                  <a:gd name="connsiteY2345" fmla="*/ 4829 h 10000"/>
                  <a:gd name="connsiteX2346" fmla="*/ 161 w 10785"/>
                  <a:gd name="connsiteY2346" fmla="*/ 4855 h 10000"/>
                  <a:gd name="connsiteX2347" fmla="*/ 152 w 10785"/>
                  <a:gd name="connsiteY2347" fmla="*/ 4940 h 10000"/>
                  <a:gd name="connsiteX2348" fmla="*/ 161 w 10785"/>
                  <a:gd name="connsiteY2348" fmla="*/ 4966 h 10000"/>
                  <a:gd name="connsiteX2349" fmla="*/ 161 w 10785"/>
                  <a:gd name="connsiteY2349" fmla="*/ 5009 h 10000"/>
                  <a:gd name="connsiteX2350" fmla="*/ 152 w 10785"/>
                  <a:gd name="connsiteY2350" fmla="*/ 5034 h 10000"/>
                  <a:gd name="connsiteX2351" fmla="*/ 152 w 10785"/>
                  <a:gd name="connsiteY2351" fmla="*/ 5077 h 10000"/>
                  <a:gd name="connsiteX2352" fmla="*/ 171 w 10785"/>
                  <a:gd name="connsiteY2352" fmla="*/ 5094 h 10000"/>
                  <a:gd name="connsiteX2353" fmla="*/ 180 w 10785"/>
                  <a:gd name="connsiteY2353" fmla="*/ 5128 h 10000"/>
                  <a:gd name="connsiteX2354" fmla="*/ 180 w 10785"/>
                  <a:gd name="connsiteY2354" fmla="*/ 5171 h 10000"/>
                  <a:gd name="connsiteX2355" fmla="*/ 184 w 10785"/>
                  <a:gd name="connsiteY2355" fmla="*/ 5205 h 10000"/>
                  <a:gd name="connsiteX2356" fmla="*/ 207 w 10785"/>
                  <a:gd name="connsiteY2356" fmla="*/ 5239 h 10000"/>
                  <a:gd name="connsiteX2357" fmla="*/ 207 w 10785"/>
                  <a:gd name="connsiteY2357" fmla="*/ 5282 h 10000"/>
                  <a:gd name="connsiteX2358" fmla="*/ 180 w 10785"/>
                  <a:gd name="connsiteY2358" fmla="*/ 5393 h 10000"/>
                  <a:gd name="connsiteX2359" fmla="*/ 194 w 10785"/>
                  <a:gd name="connsiteY2359" fmla="*/ 5427 h 10000"/>
                  <a:gd name="connsiteX2360" fmla="*/ 198 w 10785"/>
                  <a:gd name="connsiteY2360" fmla="*/ 5462 h 10000"/>
                  <a:gd name="connsiteX2361" fmla="*/ 235 w 10785"/>
                  <a:gd name="connsiteY2361" fmla="*/ 5513 h 10000"/>
                  <a:gd name="connsiteX2362" fmla="*/ 240 w 10785"/>
                  <a:gd name="connsiteY2362" fmla="*/ 5556 h 10000"/>
                  <a:gd name="connsiteX2363" fmla="*/ 253 w 10785"/>
                  <a:gd name="connsiteY2363" fmla="*/ 5590 h 10000"/>
                  <a:gd name="connsiteX2364" fmla="*/ 258 w 10785"/>
                  <a:gd name="connsiteY2364" fmla="*/ 5573 h 10000"/>
                  <a:gd name="connsiteX2365" fmla="*/ 258 w 10785"/>
                  <a:gd name="connsiteY2365" fmla="*/ 5667 h 10000"/>
                  <a:gd name="connsiteX2366" fmla="*/ 14 w 10785"/>
                  <a:gd name="connsiteY2366" fmla="*/ 6214 h 10000"/>
                  <a:gd name="connsiteX2367" fmla="*/ 14 w 10785"/>
                  <a:gd name="connsiteY2367" fmla="*/ 6214 h 10000"/>
                  <a:gd name="connsiteX2368" fmla="*/ 37 w 10785"/>
                  <a:gd name="connsiteY2368" fmla="*/ 6214 h 10000"/>
                  <a:gd name="connsiteX2369" fmla="*/ 51 w 10785"/>
                  <a:gd name="connsiteY2369" fmla="*/ 6188 h 10000"/>
                  <a:gd name="connsiteX2370" fmla="*/ 78 w 10785"/>
                  <a:gd name="connsiteY2370" fmla="*/ 6162 h 10000"/>
                  <a:gd name="connsiteX2371" fmla="*/ 78 w 10785"/>
                  <a:gd name="connsiteY2371" fmla="*/ 6188 h 10000"/>
                  <a:gd name="connsiteX2372" fmla="*/ 74 w 10785"/>
                  <a:gd name="connsiteY2372" fmla="*/ 6197 h 10000"/>
                  <a:gd name="connsiteX2373" fmla="*/ 74 w 10785"/>
                  <a:gd name="connsiteY2373" fmla="*/ 6231 h 10000"/>
                  <a:gd name="connsiteX2374" fmla="*/ 74 w 10785"/>
                  <a:gd name="connsiteY2374" fmla="*/ 6214 h 10000"/>
                  <a:gd name="connsiteX2375" fmla="*/ 65 w 10785"/>
                  <a:gd name="connsiteY2375" fmla="*/ 6214 h 10000"/>
                  <a:gd name="connsiteX2376" fmla="*/ 65 w 10785"/>
                  <a:gd name="connsiteY2376" fmla="*/ 6248 h 10000"/>
                  <a:gd name="connsiteX2377" fmla="*/ 74 w 10785"/>
                  <a:gd name="connsiteY2377" fmla="*/ 6256 h 10000"/>
                  <a:gd name="connsiteX2378" fmla="*/ 78 w 10785"/>
                  <a:gd name="connsiteY2378" fmla="*/ 6256 h 10000"/>
                  <a:gd name="connsiteX2379" fmla="*/ 106 w 10785"/>
                  <a:gd name="connsiteY2379" fmla="*/ 6308 h 10000"/>
                  <a:gd name="connsiteX2380" fmla="*/ 138 w 10785"/>
                  <a:gd name="connsiteY2380" fmla="*/ 6299 h 10000"/>
                  <a:gd name="connsiteX2381" fmla="*/ 152 w 10785"/>
                  <a:gd name="connsiteY2381" fmla="*/ 6299 h 10000"/>
                  <a:gd name="connsiteX2382" fmla="*/ 166 w 10785"/>
                  <a:gd name="connsiteY2382" fmla="*/ 6325 h 10000"/>
                  <a:gd name="connsiteX2383" fmla="*/ 166 w 10785"/>
                  <a:gd name="connsiteY2383" fmla="*/ 6333 h 10000"/>
                  <a:gd name="connsiteX2384" fmla="*/ 171 w 10785"/>
                  <a:gd name="connsiteY2384" fmla="*/ 6350 h 10000"/>
                  <a:gd name="connsiteX2385" fmla="*/ 180 w 10785"/>
                  <a:gd name="connsiteY2385" fmla="*/ 6350 h 10000"/>
                  <a:gd name="connsiteX2386" fmla="*/ 180 w 10785"/>
                  <a:gd name="connsiteY2386" fmla="*/ 6359 h 10000"/>
                  <a:gd name="connsiteX2387" fmla="*/ 171 w 10785"/>
                  <a:gd name="connsiteY2387" fmla="*/ 6368 h 10000"/>
                  <a:gd name="connsiteX2388" fmla="*/ 106 w 10785"/>
                  <a:gd name="connsiteY2388" fmla="*/ 6350 h 10000"/>
                  <a:gd name="connsiteX2389" fmla="*/ 101 w 10785"/>
                  <a:gd name="connsiteY2389" fmla="*/ 6359 h 10000"/>
                  <a:gd name="connsiteX2390" fmla="*/ 101 w 10785"/>
                  <a:gd name="connsiteY2390" fmla="*/ 6385 h 10000"/>
                  <a:gd name="connsiteX2391" fmla="*/ 78 w 10785"/>
                  <a:gd name="connsiteY2391" fmla="*/ 6393 h 10000"/>
                  <a:gd name="connsiteX2392" fmla="*/ 74 w 10785"/>
                  <a:gd name="connsiteY2392" fmla="*/ 6385 h 10000"/>
                  <a:gd name="connsiteX2393" fmla="*/ 65 w 10785"/>
                  <a:gd name="connsiteY2393" fmla="*/ 6393 h 10000"/>
                  <a:gd name="connsiteX2394" fmla="*/ 60 w 10785"/>
                  <a:gd name="connsiteY2394" fmla="*/ 6419 h 10000"/>
                  <a:gd name="connsiteX2395" fmla="*/ 51 w 10785"/>
                  <a:gd name="connsiteY2395" fmla="*/ 6419 h 10000"/>
                  <a:gd name="connsiteX2396" fmla="*/ 46 w 10785"/>
                  <a:gd name="connsiteY2396" fmla="*/ 6410 h 10000"/>
                  <a:gd name="connsiteX2397" fmla="*/ 37 w 10785"/>
                  <a:gd name="connsiteY2397" fmla="*/ 6393 h 10000"/>
                  <a:gd name="connsiteX2398" fmla="*/ 32 w 10785"/>
                  <a:gd name="connsiteY2398" fmla="*/ 6419 h 10000"/>
                  <a:gd name="connsiteX2399" fmla="*/ 37 w 10785"/>
                  <a:gd name="connsiteY2399" fmla="*/ 6462 h 10000"/>
                  <a:gd name="connsiteX2400" fmla="*/ 46 w 10785"/>
                  <a:gd name="connsiteY2400" fmla="*/ 6462 h 10000"/>
                  <a:gd name="connsiteX2401" fmla="*/ 51 w 10785"/>
                  <a:gd name="connsiteY2401" fmla="*/ 6470 h 10000"/>
                  <a:gd name="connsiteX2402" fmla="*/ 51 w 10785"/>
                  <a:gd name="connsiteY2402" fmla="*/ 6496 h 10000"/>
                  <a:gd name="connsiteX2403" fmla="*/ 51 w 10785"/>
                  <a:gd name="connsiteY2403" fmla="*/ 6504 h 10000"/>
                  <a:gd name="connsiteX2404" fmla="*/ 37 w 10785"/>
                  <a:gd name="connsiteY2404" fmla="*/ 6530 h 10000"/>
                  <a:gd name="connsiteX2405" fmla="*/ 18 w 10785"/>
                  <a:gd name="connsiteY2405" fmla="*/ 6598 h 10000"/>
                  <a:gd name="connsiteX2406" fmla="*/ 28 w 10785"/>
                  <a:gd name="connsiteY2406" fmla="*/ 6632 h 10000"/>
                  <a:gd name="connsiteX2407" fmla="*/ 18 w 10785"/>
                  <a:gd name="connsiteY2407" fmla="*/ 6667 h 10000"/>
                  <a:gd name="connsiteX2408" fmla="*/ 28 w 10785"/>
                  <a:gd name="connsiteY2408" fmla="*/ 6692 h 10000"/>
                  <a:gd name="connsiteX2409" fmla="*/ 28 w 10785"/>
                  <a:gd name="connsiteY2409" fmla="*/ 6709 h 10000"/>
                  <a:gd name="connsiteX2410" fmla="*/ 18 w 10785"/>
                  <a:gd name="connsiteY2410" fmla="*/ 6718 h 10000"/>
                  <a:gd name="connsiteX2411" fmla="*/ 5 w 10785"/>
                  <a:gd name="connsiteY2411" fmla="*/ 6744 h 10000"/>
                  <a:gd name="connsiteX2412" fmla="*/ 0 w 10785"/>
                  <a:gd name="connsiteY2412" fmla="*/ 6769 h 10000"/>
                  <a:gd name="connsiteX2413" fmla="*/ 5 w 10785"/>
                  <a:gd name="connsiteY2413" fmla="*/ 6778 h 10000"/>
                  <a:gd name="connsiteX2414" fmla="*/ 32 w 10785"/>
                  <a:gd name="connsiteY2414" fmla="*/ 6778 h 10000"/>
                  <a:gd name="connsiteX2415" fmla="*/ 46 w 10785"/>
                  <a:gd name="connsiteY2415" fmla="*/ 6821 h 10000"/>
                  <a:gd name="connsiteX2416" fmla="*/ 46 w 10785"/>
                  <a:gd name="connsiteY2416" fmla="*/ 6855 h 10000"/>
                  <a:gd name="connsiteX2417" fmla="*/ 32 w 10785"/>
                  <a:gd name="connsiteY2417" fmla="*/ 6855 h 10000"/>
                  <a:gd name="connsiteX2418" fmla="*/ 14 w 10785"/>
                  <a:gd name="connsiteY2418" fmla="*/ 6821 h 10000"/>
                  <a:gd name="connsiteX2419" fmla="*/ 14 w 10785"/>
                  <a:gd name="connsiteY2419" fmla="*/ 6846 h 10000"/>
                  <a:gd name="connsiteX2420" fmla="*/ 0 w 10785"/>
                  <a:gd name="connsiteY2420" fmla="*/ 6897 h 10000"/>
                  <a:gd name="connsiteX2421" fmla="*/ 0 w 10785"/>
                  <a:gd name="connsiteY2421" fmla="*/ 6915 h 10000"/>
                  <a:gd name="connsiteX2422" fmla="*/ 5 w 10785"/>
                  <a:gd name="connsiteY2422" fmla="*/ 6932 h 10000"/>
                  <a:gd name="connsiteX2423" fmla="*/ 14 w 10785"/>
                  <a:gd name="connsiteY2423" fmla="*/ 6940 h 10000"/>
                  <a:gd name="connsiteX2424" fmla="*/ 18 w 10785"/>
                  <a:gd name="connsiteY2424" fmla="*/ 6957 h 10000"/>
                  <a:gd name="connsiteX2425" fmla="*/ 28 w 10785"/>
                  <a:gd name="connsiteY2425" fmla="*/ 6966 h 10000"/>
                  <a:gd name="connsiteX2426" fmla="*/ 28 w 10785"/>
                  <a:gd name="connsiteY2426" fmla="*/ 6983 h 10000"/>
                  <a:gd name="connsiteX2427" fmla="*/ 18 w 10785"/>
                  <a:gd name="connsiteY2427" fmla="*/ 7051 h 10000"/>
                  <a:gd name="connsiteX2428" fmla="*/ 28 w 10785"/>
                  <a:gd name="connsiteY2428" fmla="*/ 7068 h 10000"/>
                  <a:gd name="connsiteX2429" fmla="*/ 32 w 10785"/>
                  <a:gd name="connsiteY2429" fmla="*/ 7068 h 10000"/>
                  <a:gd name="connsiteX2430" fmla="*/ 32 w 10785"/>
                  <a:gd name="connsiteY2430" fmla="*/ 7094 h 10000"/>
                  <a:gd name="connsiteX2431" fmla="*/ 60 w 10785"/>
                  <a:gd name="connsiteY2431" fmla="*/ 7162 h 10000"/>
                  <a:gd name="connsiteX2432" fmla="*/ 60 w 10785"/>
                  <a:gd name="connsiteY2432" fmla="*/ 7231 h 10000"/>
                  <a:gd name="connsiteX2433" fmla="*/ 60 w 10785"/>
                  <a:gd name="connsiteY2433" fmla="*/ 7239 h 10000"/>
                  <a:gd name="connsiteX2434" fmla="*/ 78 w 10785"/>
                  <a:gd name="connsiteY2434" fmla="*/ 7239 h 10000"/>
                  <a:gd name="connsiteX2435" fmla="*/ 88 w 10785"/>
                  <a:gd name="connsiteY2435" fmla="*/ 7239 h 10000"/>
                  <a:gd name="connsiteX2436" fmla="*/ 92 w 10785"/>
                  <a:gd name="connsiteY2436" fmla="*/ 7256 h 10000"/>
                  <a:gd name="connsiteX2437" fmla="*/ 111 w 10785"/>
                  <a:gd name="connsiteY2437" fmla="*/ 7256 h 10000"/>
                  <a:gd name="connsiteX2438" fmla="*/ 120 w 10785"/>
                  <a:gd name="connsiteY2438" fmla="*/ 7256 h 10000"/>
                  <a:gd name="connsiteX2439" fmla="*/ 134 w 10785"/>
                  <a:gd name="connsiteY2439" fmla="*/ 7282 h 10000"/>
                  <a:gd name="connsiteX2440" fmla="*/ 134 w 10785"/>
                  <a:gd name="connsiteY2440" fmla="*/ 7316 h 10000"/>
                  <a:gd name="connsiteX2441" fmla="*/ 152 w 10785"/>
                  <a:gd name="connsiteY2441" fmla="*/ 7299 h 10000"/>
                  <a:gd name="connsiteX2442" fmla="*/ 161 w 10785"/>
                  <a:gd name="connsiteY2442" fmla="*/ 7299 h 10000"/>
                  <a:gd name="connsiteX2443" fmla="*/ 166 w 10785"/>
                  <a:gd name="connsiteY2443" fmla="*/ 7291 h 10000"/>
                  <a:gd name="connsiteX2444" fmla="*/ 194 w 10785"/>
                  <a:gd name="connsiteY2444" fmla="*/ 7291 h 10000"/>
                  <a:gd name="connsiteX2445" fmla="*/ 207 w 10785"/>
                  <a:gd name="connsiteY2445" fmla="*/ 7299 h 10000"/>
                  <a:gd name="connsiteX2446" fmla="*/ 221 w 10785"/>
                  <a:gd name="connsiteY2446" fmla="*/ 7342 h 10000"/>
                  <a:gd name="connsiteX2447" fmla="*/ 235 w 10785"/>
                  <a:gd name="connsiteY2447" fmla="*/ 7342 h 10000"/>
                  <a:gd name="connsiteX2448" fmla="*/ 235 w 10785"/>
                  <a:gd name="connsiteY2448" fmla="*/ 7368 h 10000"/>
                  <a:gd name="connsiteX2449" fmla="*/ 226 w 10785"/>
                  <a:gd name="connsiteY2449" fmla="*/ 7393 h 10000"/>
                  <a:gd name="connsiteX2450" fmla="*/ 226 w 10785"/>
                  <a:gd name="connsiteY2450" fmla="*/ 7402 h 10000"/>
                  <a:gd name="connsiteX2451" fmla="*/ 235 w 10785"/>
                  <a:gd name="connsiteY2451" fmla="*/ 7419 h 10000"/>
                  <a:gd name="connsiteX2452" fmla="*/ 240 w 10785"/>
                  <a:gd name="connsiteY2452" fmla="*/ 7436 h 10000"/>
                  <a:gd name="connsiteX2453" fmla="*/ 235 w 10785"/>
                  <a:gd name="connsiteY2453" fmla="*/ 7462 h 10000"/>
                  <a:gd name="connsiteX2454" fmla="*/ 226 w 10785"/>
                  <a:gd name="connsiteY2454" fmla="*/ 7479 h 10000"/>
                  <a:gd name="connsiteX2455" fmla="*/ 226 w 10785"/>
                  <a:gd name="connsiteY2455" fmla="*/ 7504 h 10000"/>
                  <a:gd name="connsiteX2456" fmla="*/ 226 w 10785"/>
                  <a:gd name="connsiteY2456" fmla="*/ 7513 h 10000"/>
                  <a:gd name="connsiteX2457" fmla="*/ 240 w 10785"/>
                  <a:gd name="connsiteY2457" fmla="*/ 7538 h 10000"/>
                  <a:gd name="connsiteX2458" fmla="*/ 267 w 10785"/>
                  <a:gd name="connsiteY2458" fmla="*/ 7641 h 10000"/>
                  <a:gd name="connsiteX2459" fmla="*/ 281 w 10785"/>
                  <a:gd name="connsiteY2459" fmla="*/ 7667 h 10000"/>
                  <a:gd name="connsiteX2460" fmla="*/ 286 w 10785"/>
                  <a:gd name="connsiteY2460" fmla="*/ 7675 h 10000"/>
                  <a:gd name="connsiteX2461" fmla="*/ 286 w 10785"/>
                  <a:gd name="connsiteY2461" fmla="*/ 7692 h 10000"/>
                  <a:gd name="connsiteX2462" fmla="*/ 286 w 10785"/>
                  <a:gd name="connsiteY2462" fmla="*/ 7709 h 10000"/>
                  <a:gd name="connsiteX2463" fmla="*/ 295 w 10785"/>
                  <a:gd name="connsiteY2463" fmla="*/ 7726 h 10000"/>
                  <a:gd name="connsiteX2464" fmla="*/ 318 w 10785"/>
                  <a:gd name="connsiteY2464" fmla="*/ 7709 h 10000"/>
                  <a:gd name="connsiteX2465" fmla="*/ 327 w 10785"/>
                  <a:gd name="connsiteY2465" fmla="*/ 7726 h 10000"/>
                  <a:gd name="connsiteX2466" fmla="*/ 341 w 10785"/>
                  <a:gd name="connsiteY2466" fmla="*/ 7735 h 10000"/>
                  <a:gd name="connsiteX2467" fmla="*/ 332 w 10785"/>
                  <a:gd name="connsiteY2467" fmla="*/ 7752 h 10000"/>
                  <a:gd name="connsiteX2468" fmla="*/ 341 w 10785"/>
                  <a:gd name="connsiteY2468" fmla="*/ 7761 h 10000"/>
                  <a:gd name="connsiteX2469" fmla="*/ 355 w 10785"/>
                  <a:gd name="connsiteY2469" fmla="*/ 7761 h 10000"/>
                  <a:gd name="connsiteX2470" fmla="*/ 355 w 10785"/>
                  <a:gd name="connsiteY2470" fmla="*/ 7803 h 10000"/>
                  <a:gd name="connsiteX2471" fmla="*/ 313 w 10785"/>
                  <a:gd name="connsiteY2471" fmla="*/ 7846 h 10000"/>
                  <a:gd name="connsiteX2472" fmla="*/ 295 w 10785"/>
                  <a:gd name="connsiteY2472" fmla="*/ 7846 h 10000"/>
                  <a:gd name="connsiteX2473" fmla="*/ 281 w 10785"/>
                  <a:gd name="connsiteY2473" fmla="*/ 7821 h 10000"/>
                  <a:gd name="connsiteX2474" fmla="*/ 272 w 10785"/>
                  <a:gd name="connsiteY2474" fmla="*/ 7821 h 10000"/>
                  <a:gd name="connsiteX2475" fmla="*/ 267 w 10785"/>
                  <a:gd name="connsiteY2475" fmla="*/ 7838 h 10000"/>
                  <a:gd name="connsiteX2476" fmla="*/ 258 w 10785"/>
                  <a:gd name="connsiteY2476" fmla="*/ 7846 h 10000"/>
                  <a:gd name="connsiteX2477" fmla="*/ 253 w 10785"/>
                  <a:gd name="connsiteY2477" fmla="*/ 7863 h 10000"/>
                  <a:gd name="connsiteX2478" fmla="*/ 253 w 10785"/>
                  <a:gd name="connsiteY2478" fmla="*/ 7872 h 10000"/>
                  <a:gd name="connsiteX2479" fmla="*/ 267 w 10785"/>
                  <a:gd name="connsiteY2479" fmla="*/ 7897 h 10000"/>
                  <a:gd name="connsiteX2480" fmla="*/ 272 w 10785"/>
                  <a:gd name="connsiteY2480" fmla="*/ 7915 h 10000"/>
                  <a:gd name="connsiteX2481" fmla="*/ 267 w 10785"/>
                  <a:gd name="connsiteY2481" fmla="*/ 7940 h 10000"/>
                  <a:gd name="connsiteX2482" fmla="*/ 272 w 10785"/>
                  <a:gd name="connsiteY2482" fmla="*/ 7949 h 10000"/>
                  <a:gd name="connsiteX2483" fmla="*/ 272 w 10785"/>
                  <a:gd name="connsiteY2483" fmla="*/ 7957 h 10000"/>
                  <a:gd name="connsiteX2484" fmla="*/ 281 w 10785"/>
                  <a:gd name="connsiteY2484" fmla="*/ 7974 h 10000"/>
                  <a:gd name="connsiteX2485" fmla="*/ 286 w 10785"/>
                  <a:gd name="connsiteY2485" fmla="*/ 7983 h 10000"/>
                  <a:gd name="connsiteX2486" fmla="*/ 281 w 10785"/>
                  <a:gd name="connsiteY2486" fmla="*/ 8009 h 10000"/>
                  <a:gd name="connsiteX2487" fmla="*/ 286 w 10785"/>
                  <a:gd name="connsiteY2487" fmla="*/ 8060 h 10000"/>
                  <a:gd name="connsiteX2488" fmla="*/ 286 w 10785"/>
                  <a:gd name="connsiteY2488" fmla="*/ 8060 h 10000"/>
                  <a:gd name="connsiteX2489" fmla="*/ 295 w 10785"/>
                  <a:gd name="connsiteY2489" fmla="*/ 8077 h 10000"/>
                  <a:gd name="connsiteX2490" fmla="*/ 309 w 10785"/>
                  <a:gd name="connsiteY2490" fmla="*/ 8077 h 10000"/>
                  <a:gd name="connsiteX2491" fmla="*/ 313 w 10785"/>
                  <a:gd name="connsiteY2491" fmla="*/ 8060 h 10000"/>
                  <a:gd name="connsiteX2492" fmla="*/ 318 w 10785"/>
                  <a:gd name="connsiteY2492" fmla="*/ 8051 h 10000"/>
                  <a:gd name="connsiteX2493" fmla="*/ 318 w 10785"/>
                  <a:gd name="connsiteY2493" fmla="*/ 8034 h 10000"/>
                  <a:gd name="connsiteX2494" fmla="*/ 332 w 10785"/>
                  <a:gd name="connsiteY2494" fmla="*/ 8026 h 10000"/>
                  <a:gd name="connsiteX2495" fmla="*/ 359 w 10785"/>
                  <a:gd name="connsiteY2495" fmla="*/ 8034 h 10000"/>
                  <a:gd name="connsiteX2496" fmla="*/ 378 w 10785"/>
                  <a:gd name="connsiteY2496" fmla="*/ 8026 h 10000"/>
                  <a:gd name="connsiteX2497" fmla="*/ 401 w 10785"/>
                  <a:gd name="connsiteY2497" fmla="*/ 8026 h 10000"/>
                  <a:gd name="connsiteX2498" fmla="*/ 419 w 10785"/>
                  <a:gd name="connsiteY2498" fmla="*/ 8009 h 10000"/>
                  <a:gd name="connsiteX2499" fmla="*/ 433 w 10785"/>
                  <a:gd name="connsiteY2499" fmla="*/ 8034 h 10000"/>
                  <a:gd name="connsiteX2500" fmla="*/ 442 w 10785"/>
                  <a:gd name="connsiteY2500" fmla="*/ 8060 h 10000"/>
                  <a:gd name="connsiteX2501" fmla="*/ 442 w 10785"/>
                  <a:gd name="connsiteY2501" fmla="*/ 8077 h 10000"/>
                  <a:gd name="connsiteX2502" fmla="*/ 461 w 10785"/>
                  <a:gd name="connsiteY2502" fmla="*/ 8111 h 10000"/>
                  <a:gd name="connsiteX2503" fmla="*/ 461 w 10785"/>
                  <a:gd name="connsiteY2503" fmla="*/ 8137 h 10000"/>
                  <a:gd name="connsiteX2504" fmla="*/ 447 w 10785"/>
                  <a:gd name="connsiteY2504" fmla="*/ 8145 h 10000"/>
                  <a:gd name="connsiteX2505" fmla="*/ 442 w 10785"/>
                  <a:gd name="connsiteY2505" fmla="*/ 8145 h 10000"/>
                  <a:gd name="connsiteX2506" fmla="*/ 442 w 10785"/>
                  <a:gd name="connsiteY2506" fmla="*/ 8162 h 10000"/>
                  <a:gd name="connsiteX2507" fmla="*/ 442 w 10785"/>
                  <a:gd name="connsiteY2507" fmla="*/ 8171 h 10000"/>
                  <a:gd name="connsiteX2508" fmla="*/ 447 w 10785"/>
                  <a:gd name="connsiteY2508" fmla="*/ 8214 h 10000"/>
                  <a:gd name="connsiteX2509" fmla="*/ 465 w 10785"/>
                  <a:gd name="connsiteY2509" fmla="*/ 8231 h 10000"/>
                  <a:gd name="connsiteX2510" fmla="*/ 488 w 10785"/>
                  <a:gd name="connsiteY2510" fmla="*/ 8231 h 10000"/>
                  <a:gd name="connsiteX2511" fmla="*/ 493 w 10785"/>
                  <a:gd name="connsiteY2511" fmla="*/ 8231 h 10000"/>
                  <a:gd name="connsiteX2512" fmla="*/ 502 w 10785"/>
                  <a:gd name="connsiteY2512" fmla="*/ 8231 h 10000"/>
                  <a:gd name="connsiteX2513" fmla="*/ 507 w 10785"/>
                  <a:gd name="connsiteY2513" fmla="*/ 8248 h 10000"/>
                  <a:gd name="connsiteX2514" fmla="*/ 521 w 10785"/>
                  <a:gd name="connsiteY2514" fmla="*/ 8274 h 10000"/>
                  <a:gd name="connsiteX2515" fmla="*/ 525 w 10785"/>
                  <a:gd name="connsiteY2515" fmla="*/ 8333 h 10000"/>
                  <a:gd name="connsiteX2516" fmla="*/ 525 w 10785"/>
                  <a:gd name="connsiteY2516" fmla="*/ 8359 h 10000"/>
                  <a:gd name="connsiteX2517" fmla="*/ 525 w 10785"/>
                  <a:gd name="connsiteY2517" fmla="*/ 8368 h 10000"/>
                  <a:gd name="connsiteX2518" fmla="*/ 548 w 10785"/>
                  <a:gd name="connsiteY2518" fmla="*/ 8393 h 10000"/>
                  <a:gd name="connsiteX2519" fmla="*/ 553 w 10785"/>
                  <a:gd name="connsiteY2519" fmla="*/ 8385 h 10000"/>
                  <a:gd name="connsiteX2520" fmla="*/ 562 w 10785"/>
                  <a:gd name="connsiteY2520" fmla="*/ 8385 h 10000"/>
                  <a:gd name="connsiteX2521" fmla="*/ 576 w 10785"/>
                  <a:gd name="connsiteY2521" fmla="*/ 8385 h 10000"/>
                  <a:gd name="connsiteX2522" fmla="*/ 585 w 10785"/>
                  <a:gd name="connsiteY2522" fmla="*/ 8410 h 10000"/>
                  <a:gd name="connsiteX2523" fmla="*/ 594 w 10785"/>
                  <a:gd name="connsiteY2523" fmla="*/ 8410 h 10000"/>
                  <a:gd name="connsiteX2524" fmla="*/ 608 w 10785"/>
                  <a:gd name="connsiteY2524" fmla="*/ 8410 h 10000"/>
                  <a:gd name="connsiteX2525" fmla="*/ 654 w 10785"/>
                  <a:gd name="connsiteY2525" fmla="*/ 8385 h 10000"/>
                  <a:gd name="connsiteX2526" fmla="*/ 659 w 10785"/>
                  <a:gd name="connsiteY2526" fmla="*/ 8385 h 10000"/>
                  <a:gd name="connsiteX2527" fmla="*/ 696 w 10785"/>
                  <a:gd name="connsiteY2527" fmla="*/ 8470 h 10000"/>
                  <a:gd name="connsiteX2528" fmla="*/ 700 w 10785"/>
                  <a:gd name="connsiteY2528" fmla="*/ 8470 h 10000"/>
                  <a:gd name="connsiteX2529" fmla="*/ 710 w 10785"/>
                  <a:gd name="connsiteY2529" fmla="*/ 8462 h 10000"/>
                  <a:gd name="connsiteX2530" fmla="*/ 714 w 10785"/>
                  <a:gd name="connsiteY2530" fmla="*/ 8462 h 10000"/>
                  <a:gd name="connsiteX2531" fmla="*/ 724 w 10785"/>
                  <a:gd name="connsiteY2531" fmla="*/ 8470 h 10000"/>
                  <a:gd name="connsiteX2532" fmla="*/ 733 w 10785"/>
                  <a:gd name="connsiteY2532" fmla="*/ 8470 h 10000"/>
                  <a:gd name="connsiteX2533" fmla="*/ 742 w 10785"/>
                  <a:gd name="connsiteY2533" fmla="*/ 8487 h 10000"/>
                  <a:gd name="connsiteX2534" fmla="*/ 747 w 10785"/>
                  <a:gd name="connsiteY2534" fmla="*/ 8496 h 10000"/>
                  <a:gd name="connsiteX2535" fmla="*/ 770 w 10785"/>
                  <a:gd name="connsiteY2535" fmla="*/ 8496 h 10000"/>
                  <a:gd name="connsiteX2536" fmla="*/ 783 w 10785"/>
                  <a:gd name="connsiteY2536" fmla="*/ 8521 h 10000"/>
                  <a:gd name="connsiteX2537" fmla="*/ 797 w 10785"/>
                  <a:gd name="connsiteY2537" fmla="*/ 8521 h 10000"/>
                  <a:gd name="connsiteX2538" fmla="*/ 806 w 10785"/>
                  <a:gd name="connsiteY2538" fmla="*/ 8530 h 10000"/>
                  <a:gd name="connsiteX2539" fmla="*/ 829 w 10785"/>
                  <a:gd name="connsiteY2539" fmla="*/ 8547 h 10000"/>
                  <a:gd name="connsiteX2540" fmla="*/ 834 w 10785"/>
                  <a:gd name="connsiteY2540" fmla="*/ 8556 h 10000"/>
                  <a:gd name="connsiteX2541" fmla="*/ 829 w 10785"/>
                  <a:gd name="connsiteY2541" fmla="*/ 8556 h 10000"/>
                  <a:gd name="connsiteX2542" fmla="*/ 834 w 10785"/>
                  <a:gd name="connsiteY2542" fmla="*/ 8607 h 10000"/>
                  <a:gd name="connsiteX2543" fmla="*/ 829 w 10785"/>
                  <a:gd name="connsiteY2543" fmla="*/ 8641 h 10000"/>
                  <a:gd name="connsiteX2544" fmla="*/ 806 w 10785"/>
                  <a:gd name="connsiteY2544" fmla="*/ 8658 h 10000"/>
                  <a:gd name="connsiteX2545" fmla="*/ 816 w 10785"/>
                  <a:gd name="connsiteY2545" fmla="*/ 8667 h 10000"/>
                  <a:gd name="connsiteX2546" fmla="*/ 820 w 10785"/>
                  <a:gd name="connsiteY2546" fmla="*/ 8667 h 10000"/>
                  <a:gd name="connsiteX2547" fmla="*/ 829 w 10785"/>
                  <a:gd name="connsiteY2547" fmla="*/ 8684 h 10000"/>
                  <a:gd name="connsiteX2548" fmla="*/ 806 w 10785"/>
                  <a:gd name="connsiteY2548" fmla="*/ 8692 h 10000"/>
                  <a:gd name="connsiteX2549" fmla="*/ 802 w 10785"/>
                  <a:gd name="connsiteY2549" fmla="*/ 8709 h 10000"/>
                  <a:gd name="connsiteX2550" fmla="*/ 802 w 10785"/>
                  <a:gd name="connsiteY2550" fmla="*/ 8735 h 10000"/>
                  <a:gd name="connsiteX2551" fmla="*/ 806 w 10785"/>
                  <a:gd name="connsiteY2551" fmla="*/ 8744 h 10000"/>
                  <a:gd name="connsiteX2552" fmla="*/ 816 w 10785"/>
                  <a:gd name="connsiteY2552" fmla="*/ 8752 h 10000"/>
                  <a:gd name="connsiteX2553" fmla="*/ 806 w 10785"/>
                  <a:gd name="connsiteY2553" fmla="*/ 8778 h 10000"/>
                  <a:gd name="connsiteX2554" fmla="*/ 820 w 10785"/>
                  <a:gd name="connsiteY2554" fmla="*/ 8778 h 10000"/>
                  <a:gd name="connsiteX2555" fmla="*/ 806 w 10785"/>
                  <a:gd name="connsiteY2555" fmla="*/ 8880 h 10000"/>
                  <a:gd name="connsiteX2556" fmla="*/ 797 w 10785"/>
                  <a:gd name="connsiteY2556" fmla="*/ 8880 h 10000"/>
                  <a:gd name="connsiteX2557" fmla="*/ 783 w 10785"/>
                  <a:gd name="connsiteY2557" fmla="*/ 8872 h 10000"/>
                  <a:gd name="connsiteX2558" fmla="*/ 770 w 10785"/>
                  <a:gd name="connsiteY2558" fmla="*/ 8880 h 10000"/>
                  <a:gd name="connsiteX2559" fmla="*/ 756 w 10785"/>
                  <a:gd name="connsiteY2559" fmla="*/ 8855 h 10000"/>
                  <a:gd name="connsiteX2560" fmla="*/ 733 w 10785"/>
                  <a:gd name="connsiteY2560" fmla="*/ 8906 h 10000"/>
                  <a:gd name="connsiteX2561" fmla="*/ 714 w 10785"/>
                  <a:gd name="connsiteY2561" fmla="*/ 8915 h 10000"/>
                  <a:gd name="connsiteX2562" fmla="*/ 710 w 10785"/>
                  <a:gd name="connsiteY2562" fmla="*/ 8940 h 10000"/>
                  <a:gd name="connsiteX2563" fmla="*/ 710 w 10785"/>
                  <a:gd name="connsiteY2563" fmla="*/ 9009 h 10000"/>
                  <a:gd name="connsiteX2564" fmla="*/ 728 w 10785"/>
                  <a:gd name="connsiteY2564" fmla="*/ 8991 h 10000"/>
                  <a:gd name="connsiteX2565" fmla="*/ 733 w 10785"/>
                  <a:gd name="connsiteY2565" fmla="*/ 8991 h 10000"/>
                  <a:gd name="connsiteX2566" fmla="*/ 747 w 10785"/>
                  <a:gd name="connsiteY2566" fmla="*/ 8983 h 10000"/>
                  <a:gd name="connsiteX2567" fmla="*/ 760 w 10785"/>
                  <a:gd name="connsiteY2567" fmla="*/ 8983 h 10000"/>
                  <a:gd name="connsiteX2568" fmla="*/ 770 w 10785"/>
                  <a:gd name="connsiteY2568" fmla="*/ 8983 h 10000"/>
                  <a:gd name="connsiteX2569" fmla="*/ 770 w 10785"/>
                  <a:gd name="connsiteY2569" fmla="*/ 8991 h 10000"/>
                  <a:gd name="connsiteX2570" fmla="*/ 783 w 10785"/>
                  <a:gd name="connsiteY2570" fmla="*/ 8991 h 10000"/>
                  <a:gd name="connsiteX2571" fmla="*/ 783 w 10785"/>
                  <a:gd name="connsiteY2571" fmla="*/ 9009 h 10000"/>
                  <a:gd name="connsiteX2572" fmla="*/ 783 w 10785"/>
                  <a:gd name="connsiteY2572" fmla="*/ 9017 h 10000"/>
                  <a:gd name="connsiteX2573" fmla="*/ 770 w 10785"/>
                  <a:gd name="connsiteY2573" fmla="*/ 9017 h 10000"/>
                  <a:gd name="connsiteX2574" fmla="*/ 724 w 10785"/>
                  <a:gd name="connsiteY2574" fmla="*/ 9051 h 10000"/>
                  <a:gd name="connsiteX2575" fmla="*/ 724 w 10785"/>
                  <a:gd name="connsiteY2575" fmla="*/ 9068 h 10000"/>
                  <a:gd name="connsiteX2576" fmla="*/ 728 w 10785"/>
                  <a:gd name="connsiteY2576" fmla="*/ 9077 h 10000"/>
                  <a:gd name="connsiteX2577" fmla="*/ 724 w 10785"/>
                  <a:gd name="connsiteY2577" fmla="*/ 9077 h 10000"/>
                  <a:gd name="connsiteX2578" fmla="*/ 710 w 10785"/>
                  <a:gd name="connsiteY2578" fmla="*/ 9077 h 10000"/>
                  <a:gd name="connsiteX2579" fmla="*/ 682 w 10785"/>
                  <a:gd name="connsiteY2579" fmla="*/ 9077 h 10000"/>
                  <a:gd name="connsiteX2580" fmla="*/ 673 w 10785"/>
                  <a:gd name="connsiteY2580" fmla="*/ 9103 h 10000"/>
                  <a:gd name="connsiteX2581" fmla="*/ 687 w 10785"/>
                  <a:gd name="connsiteY2581" fmla="*/ 9128 h 10000"/>
                  <a:gd name="connsiteX2582" fmla="*/ 700 w 10785"/>
                  <a:gd name="connsiteY2582" fmla="*/ 9128 h 10000"/>
                  <a:gd name="connsiteX2583" fmla="*/ 728 w 10785"/>
                  <a:gd name="connsiteY2583" fmla="*/ 9179 h 10000"/>
                  <a:gd name="connsiteX2584" fmla="*/ 724 w 10785"/>
                  <a:gd name="connsiteY2584" fmla="*/ 9188 h 10000"/>
                  <a:gd name="connsiteX2585" fmla="*/ 710 w 10785"/>
                  <a:gd name="connsiteY2585" fmla="*/ 9179 h 10000"/>
                  <a:gd name="connsiteX2586" fmla="*/ 700 w 10785"/>
                  <a:gd name="connsiteY2586" fmla="*/ 9205 h 10000"/>
                  <a:gd name="connsiteX2587" fmla="*/ 696 w 10785"/>
                  <a:gd name="connsiteY2587" fmla="*/ 9205 h 10000"/>
                  <a:gd name="connsiteX2588" fmla="*/ 654 w 10785"/>
                  <a:gd name="connsiteY2588" fmla="*/ 9299 h 10000"/>
                  <a:gd name="connsiteX2589" fmla="*/ 622 w 10785"/>
                  <a:gd name="connsiteY2589" fmla="*/ 9299 h 10000"/>
                  <a:gd name="connsiteX2590" fmla="*/ 613 w 10785"/>
                  <a:gd name="connsiteY2590" fmla="*/ 9316 h 10000"/>
                  <a:gd name="connsiteX2591" fmla="*/ 613 w 10785"/>
                  <a:gd name="connsiteY2591" fmla="*/ 9325 h 10000"/>
                  <a:gd name="connsiteX2592" fmla="*/ 608 w 10785"/>
                  <a:gd name="connsiteY2592" fmla="*/ 9342 h 10000"/>
                  <a:gd name="connsiteX2593" fmla="*/ 636 w 10785"/>
                  <a:gd name="connsiteY2593" fmla="*/ 9376 h 10000"/>
                  <a:gd name="connsiteX2594" fmla="*/ 641 w 10785"/>
                  <a:gd name="connsiteY2594" fmla="*/ 9402 h 10000"/>
                  <a:gd name="connsiteX2595" fmla="*/ 654 w 10785"/>
                  <a:gd name="connsiteY2595" fmla="*/ 9427 h 10000"/>
                  <a:gd name="connsiteX2596" fmla="*/ 668 w 10785"/>
                  <a:gd name="connsiteY2596" fmla="*/ 9427 h 10000"/>
                  <a:gd name="connsiteX2597" fmla="*/ 668 w 10785"/>
                  <a:gd name="connsiteY2597" fmla="*/ 9427 h 10000"/>
                  <a:gd name="connsiteX2598" fmla="*/ 774 w 10785"/>
                  <a:gd name="connsiteY2598" fmla="*/ 9547 h 10000"/>
                  <a:gd name="connsiteX2599" fmla="*/ 797 w 10785"/>
                  <a:gd name="connsiteY2599" fmla="*/ 9598 h 10000"/>
                  <a:gd name="connsiteX2600" fmla="*/ 802 w 10785"/>
                  <a:gd name="connsiteY2600" fmla="*/ 9598 h 10000"/>
                  <a:gd name="connsiteX2601" fmla="*/ 816 w 10785"/>
                  <a:gd name="connsiteY2601" fmla="*/ 9624 h 10000"/>
                  <a:gd name="connsiteX2602" fmla="*/ 843 w 10785"/>
                  <a:gd name="connsiteY2602" fmla="*/ 9615 h 10000"/>
                  <a:gd name="connsiteX2603" fmla="*/ 857 w 10785"/>
                  <a:gd name="connsiteY2603" fmla="*/ 9624 h 10000"/>
                  <a:gd name="connsiteX2604" fmla="*/ 862 w 10785"/>
                  <a:gd name="connsiteY2604" fmla="*/ 9615 h 10000"/>
                  <a:gd name="connsiteX2605" fmla="*/ 880 w 10785"/>
                  <a:gd name="connsiteY2605" fmla="*/ 9624 h 10000"/>
                  <a:gd name="connsiteX2606" fmla="*/ 889 w 10785"/>
                  <a:gd name="connsiteY2606" fmla="*/ 9641 h 10000"/>
                  <a:gd name="connsiteX2607" fmla="*/ 935 w 10785"/>
                  <a:gd name="connsiteY2607" fmla="*/ 9675 h 10000"/>
                  <a:gd name="connsiteX2608" fmla="*/ 977 w 10785"/>
                  <a:gd name="connsiteY2608" fmla="*/ 9667 h 10000"/>
                  <a:gd name="connsiteX2609" fmla="*/ 995 w 10785"/>
                  <a:gd name="connsiteY2609" fmla="*/ 9675 h 10000"/>
                  <a:gd name="connsiteX2610" fmla="*/ 1014 w 10785"/>
                  <a:gd name="connsiteY2610" fmla="*/ 9675 h 10000"/>
                  <a:gd name="connsiteX2611" fmla="*/ 1069 w 10785"/>
                  <a:gd name="connsiteY2611" fmla="*/ 9752 h 10000"/>
                  <a:gd name="connsiteX2612" fmla="*/ 1074 w 10785"/>
                  <a:gd name="connsiteY2612" fmla="*/ 9761 h 10000"/>
                  <a:gd name="connsiteX2613" fmla="*/ 1083 w 10785"/>
                  <a:gd name="connsiteY2613" fmla="*/ 9778 h 10000"/>
                  <a:gd name="connsiteX2614" fmla="*/ 1115 w 10785"/>
                  <a:gd name="connsiteY2614" fmla="*/ 9752 h 10000"/>
                  <a:gd name="connsiteX2615" fmla="*/ 1129 w 10785"/>
                  <a:gd name="connsiteY2615" fmla="*/ 9752 h 10000"/>
                  <a:gd name="connsiteX2616" fmla="*/ 1138 w 10785"/>
                  <a:gd name="connsiteY2616" fmla="*/ 9761 h 10000"/>
                  <a:gd name="connsiteX2617" fmla="*/ 1143 w 10785"/>
                  <a:gd name="connsiteY2617" fmla="*/ 9752 h 10000"/>
                  <a:gd name="connsiteX2618" fmla="*/ 1161 w 10785"/>
                  <a:gd name="connsiteY2618" fmla="*/ 9761 h 10000"/>
                  <a:gd name="connsiteX2619" fmla="*/ 1171 w 10785"/>
                  <a:gd name="connsiteY2619" fmla="*/ 9778 h 10000"/>
                  <a:gd name="connsiteX2620" fmla="*/ 1175 w 10785"/>
                  <a:gd name="connsiteY2620" fmla="*/ 9778 h 10000"/>
                  <a:gd name="connsiteX2621" fmla="*/ 1189 w 10785"/>
                  <a:gd name="connsiteY2621" fmla="*/ 9778 h 10000"/>
                  <a:gd name="connsiteX2622" fmla="*/ 1198 w 10785"/>
                  <a:gd name="connsiteY2622" fmla="*/ 9786 h 10000"/>
                  <a:gd name="connsiteX2623" fmla="*/ 1203 w 10785"/>
                  <a:gd name="connsiteY2623" fmla="*/ 9803 h 10000"/>
                  <a:gd name="connsiteX2624" fmla="*/ 1198 w 10785"/>
                  <a:gd name="connsiteY2624" fmla="*/ 9838 h 10000"/>
                  <a:gd name="connsiteX2625" fmla="*/ 1212 w 10785"/>
                  <a:gd name="connsiteY2625" fmla="*/ 9863 h 10000"/>
                  <a:gd name="connsiteX2626" fmla="*/ 1230 w 10785"/>
                  <a:gd name="connsiteY2626" fmla="*/ 9872 h 10000"/>
                  <a:gd name="connsiteX2627" fmla="*/ 1249 w 10785"/>
                  <a:gd name="connsiteY2627" fmla="*/ 9897 h 10000"/>
                  <a:gd name="connsiteX2628" fmla="*/ 1263 w 10785"/>
                  <a:gd name="connsiteY2628" fmla="*/ 9897 h 10000"/>
                  <a:gd name="connsiteX2629" fmla="*/ 1276 w 10785"/>
                  <a:gd name="connsiteY2629" fmla="*/ 9923 h 10000"/>
                  <a:gd name="connsiteX2630" fmla="*/ 1281 w 10785"/>
                  <a:gd name="connsiteY2630" fmla="*/ 9949 h 10000"/>
                  <a:gd name="connsiteX2631" fmla="*/ 1290 w 10785"/>
                  <a:gd name="connsiteY2631" fmla="*/ 9949 h 10000"/>
                  <a:gd name="connsiteX2632" fmla="*/ 1295 w 10785"/>
                  <a:gd name="connsiteY2632" fmla="*/ 10000 h 10000"/>
                  <a:gd name="connsiteX2633" fmla="*/ 1332 w 10785"/>
                  <a:gd name="connsiteY2633" fmla="*/ 10000 h 10000"/>
                  <a:gd name="connsiteX2634" fmla="*/ 1336 w 10785"/>
                  <a:gd name="connsiteY2634" fmla="*/ 10000 h 10000"/>
                  <a:gd name="connsiteX2635" fmla="*/ 1346 w 10785"/>
                  <a:gd name="connsiteY2635" fmla="*/ 9983 h 10000"/>
                  <a:gd name="connsiteX2636" fmla="*/ 1350 w 10785"/>
                  <a:gd name="connsiteY2636" fmla="*/ 9949 h 10000"/>
                  <a:gd name="connsiteX2637" fmla="*/ 1369 w 10785"/>
                  <a:gd name="connsiteY2637" fmla="*/ 9940 h 10000"/>
                  <a:gd name="connsiteX2638" fmla="*/ 1378 w 10785"/>
                  <a:gd name="connsiteY2638" fmla="*/ 9897 h 10000"/>
                  <a:gd name="connsiteX2639" fmla="*/ 1369 w 10785"/>
                  <a:gd name="connsiteY2639" fmla="*/ 9889 h 10000"/>
                  <a:gd name="connsiteX2640" fmla="*/ 1318 w 10785"/>
                  <a:gd name="connsiteY2640" fmla="*/ 9701 h 10000"/>
                  <a:gd name="connsiteX2641" fmla="*/ 1318 w 10785"/>
                  <a:gd name="connsiteY2641" fmla="*/ 9650 h 10000"/>
                  <a:gd name="connsiteX2642" fmla="*/ 1323 w 10785"/>
                  <a:gd name="connsiteY2642" fmla="*/ 9590 h 10000"/>
                  <a:gd name="connsiteX2643" fmla="*/ 1323 w 10785"/>
                  <a:gd name="connsiteY2643" fmla="*/ 9564 h 10000"/>
                  <a:gd name="connsiteX2644" fmla="*/ 1309 w 10785"/>
                  <a:gd name="connsiteY2644" fmla="*/ 9598 h 10000"/>
                  <a:gd name="connsiteX2645" fmla="*/ 1309 w 10785"/>
                  <a:gd name="connsiteY2645" fmla="*/ 9590 h 10000"/>
                  <a:gd name="connsiteX2646" fmla="*/ 1304 w 10785"/>
                  <a:gd name="connsiteY2646" fmla="*/ 9547 h 10000"/>
                  <a:gd name="connsiteX2647" fmla="*/ 1276 w 10785"/>
                  <a:gd name="connsiteY2647" fmla="*/ 9479 h 10000"/>
                  <a:gd name="connsiteX2648" fmla="*/ 1263 w 10785"/>
                  <a:gd name="connsiteY2648" fmla="*/ 9479 h 10000"/>
                  <a:gd name="connsiteX2649" fmla="*/ 1263 w 10785"/>
                  <a:gd name="connsiteY2649" fmla="*/ 9453 h 10000"/>
                  <a:gd name="connsiteX2650" fmla="*/ 1272 w 10785"/>
                  <a:gd name="connsiteY2650" fmla="*/ 9410 h 10000"/>
                  <a:gd name="connsiteX2651" fmla="*/ 1272 w 10785"/>
                  <a:gd name="connsiteY2651" fmla="*/ 9393 h 10000"/>
                  <a:gd name="connsiteX2652" fmla="*/ 1281 w 10785"/>
                  <a:gd name="connsiteY2652" fmla="*/ 9368 h 10000"/>
                  <a:gd name="connsiteX2653" fmla="*/ 1281 w 10785"/>
                  <a:gd name="connsiteY2653" fmla="*/ 9368 h 10000"/>
                  <a:gd name="connsiteX2654" fmla="*/ 1290 w 10785"/>
                  <a:gd name="connsiteY2654" fmla="*/ 9368 h 10000"/>
                  <a:gd name="connsiteX2655" fmla="*/ 1290 w 10785"/>
                  <a:gd name="connsiteY2655" fmla="*/ 9342 h 10000"/>
                  <a:gd name="connsiteX2656" fmla="*/ 1304 w 10785"/>
                  <a:gd name="connsiteY2656" fmla="*/ 9325 h 10000"/>
                  <a:gd name="connsiteX2657" fmla="*/ 1309 w 10785"/>
                  <a:gd name="connsiteY2657" fmla="*/ 9239 h 10000"/>
                  <a:gd name="connsiteX2658" fmla="*/ 1318 w 10785"/>
                  <a:gd name="connsiteY2658" fmla="*/ 9256 h 10000"/>
                  <a:gd name="connsiteX2659" fmla="*/ 1323 w 10785"/>
                  <a:gd name="connsiteY2659" fmla="*/ 9179 h 10000"/>
                  <a:gd name="connsiteX2660" fmla="*/ 1309 w 10785"/>
                  <a:gd name="connsiteY2660" fmla="*/ 9145 h 10000"/>
                  <a:gd name="connsiteX2661" fmla="*/ 1336 w 10785"/>
                  <a:gd name="connsiteY2661" fmla="*/ 9154 h 10000"/>
                  <a:gd name="connsiteX2662" fmla="*/ 1336 w 10785"/>
                  <a:gd name="connsiteY2662" fmla="*/ 9162 h 10000"/>
                  <a:gd name="connsiteX2663" fmla="*/ 1350 w 10785"/>
                  <a:gd name="connsiteY2663" fmla="*/ 9231 h 10000"/>
                  <a:gd name="connsiteX2664" fmla="*/ 1355 w 10785"/>
                  <a:gd name="connsiteY2664" fmla="*/ 9231 h 10000"/>
                  <a:gd name="connsiteX2665" fmla="*/ 1364 w 10785"/>
                  <a:gd name="connsiteY2665" fmla="*/ 9214 h 10000"/>
                  <a:gd name="connsiteX2666" fmla="*/ 1369 w 10785"/>
                  <a:gd name="connsiteY2666" fmla="*/ 9214 h 10000"/>
                  <a:gd name="connsiteX2667" fmla="*/ 1382 w 10785"/>
                  <a:gd name="connsiteY2667" fmla="*/ 9154 h 10000"/>
                  <a:gd name="connsiteX2668" fmla="*/ 1396 w 10785"/>
                  <a:gd name="connsiteY2668" fmla="*/ 9154 h 10000"/>
                  <a:gd name="connsiteX2669" fmla="*/ 1382 w 10785"/>
                  <a:gd name="connsiteY2669" fmla="*/ 9145 h 10000"/>
                  <a:gd name="connsiteX2670" fmla="*/ 1382 w 10785"/>
                  <a:gd name="connsiteY2670" fmla="*/ 9128 h 10000"/>
                  <a:gd name="connsiteX2671" fmla="*/ 1369 w 10785"/>
                  <a:gd name="connsiteY2671" fmla="*/ 9128 h 10000"/>
                  <a:gd name="connsiteX2672" fmla="*/ 1364 w 10785"/>
                  <a:gd name="connsiteY2672" fmla="*/ 9128 h 10000"/>
                  <a:gd name="connsiteX2673" fmla="*/ 1355 w 10785"/>
                  <a:gd name="connsiteY2673" fmla="*/ 9120 h 10000"/>
                  <a:gd name="connsiteX2674" fmla="*/ 1350 w 10785"/>
                  <a:gd name="connsiteY2674" fmla="*/ 9103 h 10000"/>
                  <a:gd name="connsiteX2675" fmla="*/ 1355 w 10785"/>
                  <a:gd name="connsiteY2675" fmla="*/ 9094 h 10000"/>
                  <a:gd name="connsiteX2676" fmla="*/ 1355 w 10785"/>
                  <a:gd name="connsiteY2676" fmla="*/ 9068 h 10000"/>
                  <a:gd name="connsiteX2677" fmla="*/ 1369 w 10785"/>
                  <a:gd name="connsiteY2677" fmla="*/ 9068 h 10000"/>
                  <a:gd name="connsiteX2678" fmla="*/ 1378 w 10785"/>
                  <a:gd name="connsiteY2678" fmla="*/ 9077 h 10000"/>
                  <a:gd name="connsiteX2679" fmla="*/ 1396 w 10785"/>
                  <a:gd name="connsiteY2679" fmla="*/ 9068 h 10000"/>
                  <a:gd name="connsiteX2680" fmla="*/ 1382 w 10785"/>
                  <a:gd name="connsiteY2680" fmla="*/ 8940 h 10000"/>
                  <a:gd name="connsiteX2681" fmla="*/ 1378 w 10785"/>
                  <a:gd name="connsiteY2681" fmla="*/ 8940 h 10000"/>
                  <a:gd name="connsiteX2682" fmla="*/ 1364 w 10785"/>
                  <a:gd name="connsiteY2682" fmla="*/ 8889 h 10000"/>
                  <a:gd name="connsiteX2683" fmla="*/ 1355 w 10785"/>
                  <a:gd name="connsiteY2683" fmla="*/ 8880 h 10000"/>
                  <a:gd name="connsiteX2684" fmla="*/ 1323 w 10785"/>
                  <a:gd name="connsiteY2684" fmla="*/ 8880 h 10000"/>
                  <a:gd name="connsiteX2685" fmla="*/ 1309 w 10785"/>
                  <a:gd name="connsiteY2685" fmla="*/ 8880 h 10000"/>
                  <a:gd name="connsiteX2686" fmla="*/ 1309 w 10785"/>
                  <a:gd name="connsiteY2686" fmla="*/ 8889 h 10000"/>
                  <a:gd name="connsiteX2687" fmla="*/ 1295 w 10785"/>
                  <a:gd name="connsiteY2687" fmla="*/ 8872 h 10000"/>
                  <a:gd name="connsiteX2688" fmla="*/ 1290 w 10785"/>
                  <a:gd name="connsiteY2688" fmla="*/ 8855 h 10000"/>
                  <a:gd name="connsiteX2689" fmla="*/ 1290 w 10785"/>
                  <a:gd name="connsiteY2689" fmla="*/ 8829 h 10000"/>
                  <a:gd name="connsiteX2690" fmla="*/ 1290 w 10785"/>
                  <a:gd name="connsiteY2690" fmla="*/ 8821 h 10000"/>
                  <a:gd name="connsiteX2691" fmla="*/ 1290 w 10785"/>
                  <a:gd name="connsiteY2691" fmla="*/ 8803 h 10000"/>
                  <a:gd name="connsiteX2692" fmla="*/ 1281 w 10785"/>
                  <a:gd name="connsiteY2692" fmla="*/ 8795 h 10000"/>
                  <a:gd name="connsiteX2693" fmla="*/ 1249 w 10785"/>
                  <a:gd name="connsiteY2693" fmla="*/ 8769 h 10000"/>
                  <a:gd name="connsiteX2694" fmla="*/ 1263 w 10785"/>
                  <a:gd name="connsiteY2694" fmla="*/ 8667 h 10000"/>
                  <a:gd name="connsiteX2695" fmla="*/ 1281 w 10785"/>
                  <a:gd name="connsiteY2695" fmla="*/ 8658 h 10000"/>
                  <a:gd name="connsiteX2696" fmla="*/ 1290 w 10785"/>
                  <a:gd name="connsiteY2696" fmla="*/ 8632 h 10000"/>
                  <a:gd name="connsiteX2697" fmla="*/ 1281 w 10785"/>
                  <a:gd name="connsiteY2697" fmla="*/ 8615 h 10000"/>
                  <a:gd name="connsiteX2698" fmla="*/ 1272 w 10785"/>
                  <a:gd name="connsiteY2698" fmla="*/ 8598 h 10000"/>
                  <a:gd name="connsiteX2699" fmla="*/ 1281 w 10785"/>
                  <a:gd name="connsiteY2699" fmla="*/ 8496 h 10000"/>
                  <a:gd name="connsiteX2700" fmla="*/ 1295 w 10785"/>
                  <a:gd name="connsiteY2700" fmla="*/ 8470 h 10000"/>
                  <a:gd name="connsiteX2701" fmla="*/ 1304 w 10785"/>
                  <a:gd name="connsiteY2701" fmla="*/ 8462 h 10000"/>
                  <a:gd name="connsiteX2702" fmla="*/ 1304 w 10785"/>
                  <a:gd name="connsiteY2702" fmla="*/ 8444 h 10000"/>
                  <a:gd name="connsiteX2703" fmla="*/ 1304 w 10785"/>
                  <a:gd name="connsiteY2703" fmla="*/ 8419 h 10000"/>
                  <a:gd name="connsiteX2704" fmla="*/ 1304 w 10785"/>
                  <a:gd name="connsiteY2704" fmla="*/ 8410 h 10000"/>
                  <a:gd name="connsiteX2705" fmla="*/ 1309 w 10785"/>
                  <a:gd name="connsiteY2705" fmla="*/ 8393 h 10000"/>
                  <a:gd name="connsiteX2706" fmla="*/ 1318 w 10785"/>
                  <a:gd name="connsiteY2706" fmla="*/ 8385 h 10000"/>
                  <a:gd name="connsiteX2707" fmla="*/ 1323 w 10785"/>
                  <a:gd name="connsiteY2707" fmla="*/ 8385 h 10000"/>
                  <a:gd name="connsiteX2708" fmla="*/ 1332 w 10785"/>
                  <a:gd name="connsiteY2708" fmla="*/ 8410 h 10000"/>
                  <a:gd name="connsiteX2709" fmla="*/ 1346 w 10785"/>
                  <a:gd name="connsiteY2709" fmla="*/ 8419 h 10000"/>
                  <a:gd name="connsiteX2710" fmla="*/ 1364 w 10785"/>
                  <a:gd name="connsiteY2710" fmla="*/ 8504 h 10000"/>
                  <a:gd name="connsiteX2711" fmla="*/ 1369 w 10785"/>
                  <a:gd name="connsiteY2711" fmla="*/ 8521 h 10000"/>
                  <a:gd name="connsiteX2712" fmla="*/ 1406 w 10785"/>
                  <a:gd name="connsiteY2712" fmla="*/ 8470 h 10000"/>
                  <a:gd name="connsiteX2713" fmla="*/ 1382 w 10785"/>
                  <a:gd name="connsiteY2713" fmla="*/ 8359 h 10000"/>
                  <a:gd name="connsiteX2714" fmla="*/ 1392 w 10785"/>
                  <a:gd name="connsiteY2714" fmla="*/ 8359 h 10000"/>
                  <a:gd name="connsiteX2715" fmla="*/ 1438 w 10785"/>
                  <a:gd name="connsiteY2715" fmla="*/ 8308 h 10000"/>
                  <a:gd name="connsiteX2716" fmla="*/ 1442 w 10785"/>
                  <a:gd name="connsiteY2716" fmla="*/ 8299 h 10000"/>
                  <a:gd name="connsiteX2717" fmla="*/ 1442 w 10785"/>
                  <a:gd name="connsiteY2717" fmla="*/ 8256 h 10000"/>
                  <a:gd name="connsiteX2718" fmla="*/ 1452 w 10785"/>
                  <a:gd name="connsiteY2718" fmla="*/ 8256 h 10000"/>
                  <a:gd name="connsiteX2719" fmla="*/ 1456 w 10785"/>
                  <a:gd name="connsiteY2719" fmla="*/ 8256 h 10000"/>
                  <a:gd name="connsiteX2720" fmla="*/ 1470 w 10785"/>
                  <a:gd name="connsiteY2720" fmla="*/ 8248 h 10000"/>
                  <a:gd name="connsiteX2721" fmla="*/ 1479 w 10785"/>
                  <a:gd name="connsiteY2721" fmla="*/ 8231 h 10000"/>
                  <a:gd name="connsiteX2722" fmla="*/ 1493 w 10785"/>
                  <a:gd name="connsiteY2722" fmla="*/ 8222 h 10000"/>
                  <a:gd name="connsiteX2723" fmla="*/ 1498 w 10785"/>
                  <a:gd name="connsiteY2723" fmla="*/ 8214 h 10000"/>
                  <a:gd name="connsiteX2724" fmla="*/ 1502 w 10785"/>
                  <a:gd name="connsiteY2724" fmla="*/ 8197 h 10000"/>
                  <a:gd name="connsiteX2725" fmla="*/ 1512 w 10785"/>
                  <a:gd name="connsiteY2725" fmla="*/ 8188 h 10000"/>
                  <a:gd name="connsiteX2726" fmla="*/ 1516 w 10785"/>
                  <a:gd name="connsiteY2726" fmla="*/ 8171 h 10000"/>
                  <a:gd name="connsiteX2727" fmla="*/ 1525 w 10785"/>
                  <a:gd name="connsiteY2727" fmla="*/ 8162 h 10000"/>
                  <a:gd name="connsiteX2728" fmla="*/ 1539 w 10785"/>
                  <a:gd name="connsiteY2728" fmla="*/ 8145 h 10000"/>
                  <a:gd name="connsiteX2729" fmla="*/ 1558 w 10785"/>
                  <a:gd name="connsiteY2729" fmla="*/ 8145 h 10000"/>
                  <a:gd name="connsiteX2730" fmla="*/ 1562 w 10785"/>
                  <a:gd name="connsiteY2730" fmla="*/ 8188 h 10000"/>
                  <a:gd name="connsiteX2731" fmla="*/ 1585 w 10785"/>
                  <a:gd name="connsiteY2731" fmla="*/ 8171 h 10000"/>
                  <a:gd name="connsiteX2732" fmla="*/ 1590 w 10785"/>
                  <a:gd name="connsiteY2732" fmla="*/ 8188 h 10000"/>
                  <a:gd name="connsiteX2733" fmla="*/ 1599 w 10785"/>
                  <a:gd name="connsiteY2733" fmla="*/ 8171 h 10000"/>
                  <a:gd name="connsiteX2734" fmla="*/ 1599 w 10785"/>
                  <a:gd name="connsiteY2734" fmla="*/ 8162 h 10000"/>
                  <a:gd name="connsiteX2735" fmla="*/ 1604 w 10785"/>
                  <a:gd name="connsiteY2735" fmla="*/ 8137 h 10000"/>
                  <a:gd name="connsiteX2736" fmla="*/ 1618 w 10785"/>
                  <a:gd name="connsiteY2736" fmla="*/ 8145 h 10000"/>
                  <a:gd name="connsiteX2737" fmla="*/ 1627 w 10785"/>
                  <a:gd name="connsiteY2737" fmla="*/ 8137 h 10000"/>
                  <a:gd name="connsiteX2738" fmla="*/ 1631 w 10785"/>
                  <a:gd name="connsiteY2738" fmla="*/ 8137 h 10000"/>
                  <a:gd name="connsiteX2739" fmla="*/ 1636 w 10785"/>
                  <a:gd name="connsiteY2739" fmla="*/ 8171 h 10000"/>
                  <a:gd name="connsiteX2740" fmla="*/ 1645 w 10785"/>
                  <a:gd name="connsiteY2740" fmla="*/ 8188 h 10000"/>
                  <a:gd name="connsiteX2741" fmla="*/ 1664 w 10785"/>
                  <a:gd name="connsiteY2741" fmla="*/ 8171 h 10000"/>
                  <a:gd name="connsiteX2742" fmla="*/ 1673 w 10785"/>
                  <a:gd name="connsiteY2742" fmla="*/ 8188 h 10000"/>
                  <a:gd name="connsiteX2743" fmla="*/ 1691 w 10785"/>
                  <a:gd name="connsiteY2743" fmla="*/ 8171 h 10000"/>
                  <a:gd name="connsiteX2744" fmla="*/ 1705 w 10785"/>
                  <a:gd name="connsiteY2744" fmla="*/ 8171 h 10000"/>
                  <a:gd name="connsiteX2745" fmla="*/ 1719 w 10785"/>
                  <a:gd name="connsiteY2745" fmla="*/ 8197 h 10000"/>
                  <a:gd name="connsiteX2746" fmla="*/ 1724 w 10785"/>
                  <a:gd name="connsiteY2746" fmla="*/ 8231 h 10000"/>
                  <a:gd name="connsiteX2747" fmla="*/ 1751 w 10785"/>
                  <a:gd name="connsiteY2747" fmla="*/ 8256 h 10000"/>
                  <a:gd name="connsiteX2748" fmla="*/ 1751 w 10785"/>
                  <a:gd name="connsiteY2748" fmla="*/ 8274 h 10000"/>
                  <a:gd name="connsiteX2749" fmla="*/ 1760 w 10785"/>
                  <a:gd name="connsiteY2749" fmla="*/ 8282 h 10000"/>
                  <a:gd name="connsiteX2750" fmla="*/ 1770 w 10785"/>
                  <a:gd name="connsiteY2750" fmla="*/ 8325 h 10000"/>
                  <a:gd name="connsiteX2751" fmla="*/ 1770 w 10785"/>
                  <a:gd name="connsiteY2751" fmla="*/ 8350 h 10000"/>
                  <a:gd name="connsiteX2752" fmla="*/ 1779 w 10785"/>
                  <a:gd name="connsiteY2752" fmla="*/ 8368 h 10000"/>
                  <a:gd name="connsiteX2753" fmla="*/ 1783 w 10785"/>
                  <a:gd name="connsiteY2753" fmla="*/ 8359 h 10000"/>
                  <a:gd name="connsiteX2754" fmla="*/ 1783 w 10785"/>
                  <a:gd name="connsiteY2754" fmla="*/ 8308 h 10000"/>
                  <a:gd name="connsiteX2755" fmla="*/ 1779 w 10785"/>
                  <a:gd name="connsiteY2755" fmla="*/ 8299 h 10000"/>
                  <a:gd name="connsiteX2756" fmla="*/ 1783 w 10785"/>
                  <a:gd name="connsiteY2756" fmla="*/ 8282 h 10000"/>
                  <a:gd name="connsiteX2757" fmla="*/ 1797 w 10785"/>
                  <a:gd name="connsiteY2757" fmla="*/ 8274 h 10000"/>
                  <a:gd name="connsiteX2758" fmla="*/ 1797 w 10785"/>
                  <a:gd name="connsiteY2758" fmla="*/ 8299 h 10000"/>
                  <a:gd name="connsiteX2759" fmla="*/ 1806 w 10785"/>
                  <a:gd name="connsiteY2759" fmla="*/ 8308 h 10000"/>
                  <a:gd name="connsiteX2760" fmla="*/ 1811 w 10785"/>
                  <a:gd name="connsiteY2760" fmla="*/ 8325 h 10000"/>
                  <a:gd name="connsiteX2761" fmla="*/ 1820 w 10785"/>
                  <a:gd name="connsiteY2761" fmla="*/ 8333 h 10000"/>
                  <a:gd name="connsiteX2762" fmla="*/ 1853 w 10785"/>
                  <a:gd name="connsiteY2762" fmla="*/ 8359 h 10000"/>
                  <a:gd name="connsiteX2763" fmla="*/ 1866 w 10785"/>
                  <a:gd name="connsiteY2763" fmla="*/ 8359 h 10000"/>
                  <a:gd name="connsiteX2764" fmla="*/ 1885 w 10785"/>
                  <a:gd name="connsiteY2764" fmla="*/ 8325 h 10000"/>
                  <a:gd name="connsiteX2765" fmla="*/ 1885 w 10785"/>
                  <a:gd name="connsiteY2765" fmla="*/ 8308 h 10000"/>
                  <a:gd name="connsiteX2766" fmla="*/ 1894 w 10785"/>
                  <a:gd name="connsiteY2766" fmla="*/ 8299 h 10000"/>
                  <a:gd name="connsiteX2767" fmla="*/ 1899 w 10785"/>
                  <a:gd name="connsiteY2767" fmla="*/ 8282 h 10000"/>
                  <a:gd name="connsiteX2768" fmla="*/ 1912 w 10785"/>
                  <a:gd name="connsiteY2768" fmla="*/ 8282 h 10000"/>
                  <a:gd name="connsiteX2769" fmla="*/ 1917 w 10785"/>
                  <a:gd name="connsiteY2769" fmla="*/ 8299 h 10000"/>
                  <a:gd name="connsiteX2770" fmla="*/ 1917 w 10785"/>
                  <a:gd name="connsiteY2770" fmla="*/ 8274 h 10000"/>
                  <a:gd name="connsiteX2771" fmla="*/ 1940 w 10785"/>
                  <a:gd name="connsiteY2771" fmla="*/ 8282 h 10000"/>
                  <a:gd name="connsiteX2772" fmla="*/ 1945 w 10785"/>
                  <a:gd name="connsiteY2772" fmla="*/ 8274 h 10000"/>
                  <a:gd name="connsiteX2773" fmla="*/ 1972 w 10785"/>
                  <a:gd name="connsiteY2773" fmla="*/ 8308 h 10000"/>
                  <a:gd name="connsiteX2774" fmla="*/ 1986 w 10785"/>
                  <a:gd name="connsiteY2774" fmla="*/ 8282 h 10000"/>
                  <a:gd name="connsiteX2775" fmla="*/ 1991 w 10785"/>
                  <a:gd name="connsiteY2775" fmla="*/ 8274 h 10000"/>
                  <a:gd name="connsiteX2776" fmla="*/ 2014 w 10785"/>
                  <a:gd name="connsiteY2776" fmla="*/ 8274 h 10000"/>
                  <a:gd name="connsiteX2777" fmla="*/ 2018 w 10785"/>
                  <a:gd name="connsiteY2777" fmla="*/ 8256 h 10000"/>
                  <a:gd name="connsiteX2778" fmla="*/ 2041 w 10785"/>
                  <a:gd name="connsiteY2778" fmla="*/ 8274 h 10000"/>
                  <a:gd name="connsiteX2779" fmla="*/ 2046 w 10785"/>
                  <a:gd name="connsiteY2779" fmla="*/ 8282 h 10000"/>
                  <a:gd name="connsiteX2780" fmla="*/ 2046 w 10785"/>
                  <a:gd name="connsiteY2780" fmla="*/ 8325 h 10000"/>
                  <a:gd name="connsiteX2781" fmla="*/ 2060 w 10785"/>
                  <a:gd name="connsiteY2781" fmla="*/ 8350 h 10000"/>
                  <a:gd name="connsiteX2782" fmla="*/ 2078 w 10785"/>
                  <a:gd name="connsiteY2782" fmla="*/ 8350 h 10000"/>
                  <a:gd name="connsiteX2783" fmla="*/ 2092 w 10785"/>
                  <a:gd name="connsiteY2783" fmla="*/ 8350 h 10000"/>
                  <a:gd name="connsiteX2784" fmla="*/ 2092 w 10785"/>
                  <a:gd name="connsiteY2784" fmla="*/ 8350 h 10000"/>
                  <a:gd name="connsiteX2785" fmla="*/ 2101 w 10785"/>
                  <a:gd name="connsiteY2785" fmla="*/ 8368 h 10000"/>
                  <a:gd name="connsiteX2786" fmla="*/ 2120 w 10785"/>
                  <a:gd name="connsiteY2786" fmla="*/ 8368 h 10000"/>
                  <a:gd name="connsiteX2787" fmla="*/ 2124 w 10785"/>
                  <a:gd name="connsiteY2787" fmla="*/ 8359 h 10000"/>
                  <a:gd name="connsiteX2788" fmla="*/ 2138 w 10785"/>
                  <a:gd name="connsiteY2788" fmla="*/ 8325 h 10000"/>
                  <a:gd name="connsiteX2789" fmla="*/ 2147 w 10785"/>
                  <a:gd name="connsiteY2789" fmla="*/ 8325 h 10000"/>
                  <a:gd name="connsiteX2790" fmla="*/ 2161 w 10785"/>
                  <a:gd name="connsiteY2790" fmla="*/ 8350 h 10000"/>
                  <a:gd name="connsiteX2791" fmla="*/ 2198 w 10785"/>
                  <a:gd name="connsiteY2791" fmla="*/ 8350 h 10000"/>
                  <a:gd name="connsiteX2792" fmla="*/ 2207 w 10785"/>
                  <a:gd name="connsiteY2792" fmla="*/ 8333 h 10000"/>
                  <a:gd name="connsiteX2793" fmla="*/ 2226 w 10785"/>
                  <a:gd name="connsiteY2793" fmla="*/ 8325 h 10000"/>
                  <a:gd name="connsiteX2794" fmla="*/ 2249 w 10785"/>
                  <a:gd name="connsiteY2794" fmla="*/ 8222 h 10000"/>
                  <a:gd name="connsiteX2795" fmla="*/ 2235 w 10785"/>
                  <a:gd name="connsiteY2795" fmla="*/ 8197 h 10000"/>
                  <a:gd name="connsiteX2796" fmla="*/ 2198 w 10785"/>
                  <a:gd name="connsiteY2796" fmla="*/ 8197 h 10000"/>
                  <a:gd name="connsiteX2797" fmla="*/ 2189 w 10785"/>
                  <a:gd name="connsiteY2797" fmla="*/ 8171 h 10000"/>
                  <a:gd name="connsiteX2798" fmla="*/ 2161 w 10785"/>
                  <a:gd name="connsiteY2798" fmla="*/ 8145 h 10000"/>
                  <a:gd name="connsiteX2799" fmla="*/ 2161 w 10785"/>
                  <a:gd name="connsiteY2799" fmla="*/ 8137 h 10000"/>
                  <a:gd name="connsiteX2800" fmla="*/ 2152 w 10785"/>
                  <a:gd name="connsiteY2800" fmla="*/ 8120 h 10000"/>
                  <a:gd name="connsiteX2801" fmla="*/ 2138 w 10785"/>
                  <a:gd name="connsiteY2801" fmla="*/ 8111 h 10000"/>
                  <a:gd name="connsiteX2802" fmla="*/ 2138 w 10785"/>
                  <a:gd name="connsiteY2802" fmla="*/ 8094 h 10000"/>
                  <a:gd name="connsiteX2803" fmla="*/ 2147 w 10785"/>
                  <a:gd name="connsiteY2803" fmla="*/ 8085 h 10000"/>
                  <a:gd name="connsiteX2804" fmla="*/ 2161 w 10785"/>
                  <a:gd name="connsiteY2804" fmla="*/ 8060 h 10000"/>
                  <a:gd name="connsiteX2805" fmla="*/ 2198 w 10785"/>
                  <a:gd name="connsiteY2805" fmla="*/ 8034 h 10000"/>
                  <a:gd name="connsiteX2806" fmla="*/ 2198 w 10785"/>
                  <a:gd name="connsiteY2806" fmla="*/ 8026 h 10000"/>
                  <a:gd name="connsiteX2807" fmla="*/ 2198 w 10785"/>
                  <a:gd name="connsiteY2807" fmla="*/ 8000 h 10000"/>
                  <a:gd name="connsiteX2808" fmla="*/ 2180 w 10785"/>
                  <a:gd name="connsiteY2808" fmla="*/ 7940 h 10000"/>
                  <a:gd name="connsiteX2809" fmla="*/ 2189 w 10785"/>
                  <a:gd name="connsiteY2809" fmla="*/ 7940 h 10000"/>
                  <a:gd name="connsiteX2810" fmla="*/ 2198 w 10785"/>
                  <a:gd name="connsiteY2810" fmla="*/ 7923 h 10000"/>
                  <a:gd name="connsiteX2811" fmla="*/ 2198 w 10785"/>
                  <a:gd name="connsiteY2811" fmla="*/ 7897 h 10000"/>
                  <a:gd name="connsiteX2812" fmla="*/ 2207 w 10785"/>
                  <a:gd name="connsiteY2812" fmla="*/ 7889 h 10000"/>
                  <a:gd name="connsiteX2813" fmla="*/ 2221 w 10785"/>
                  <a:gd name="connsiteY2813" fmla="*/ 7889 h 10000"/>
                  <a:gd name="connsiteX2814" fmla="*/ 2226 w 10785"/>
                  <a:gd name="connsiteY2814" fmla="*/ 7897 h 10000"/>
                  <a:gd name="connsiteX2815" fmla="*/ 2235 w 10785"/>
                  <a:gd name="connsiteY2815" fmla="*/ 7889 h 10000"/>
                  <a:gd name="connsiteX2816" fmla="*/ 2249 w 10785"/>
                  <a:gd name="connsiteY2816" fmla="*/ 7897 h 10000"/>
                  <a:gd name="connsiteX2817" fmla="*/ 2267 w 10785"/>
                  <a:gd name="connsiteY2817" fmla="*/ 7897 h 10000"/>
                  <a:gd name="connsiteX2818" fmla="*/ 2272 w 10785"/>
                  <a:gd name="connsiteY2818" fmla="*/ 7889 h 10000"/>
                  <a:gd name="connsiteX2819" fmla="*/ 2281 w 10785"/>
                  <a:gd name="connsiteY2819" fmla="*/ 7872 h 10000"/>
                  <a:gd name="connsiteX2820" fmla="*/ 2272 w 10785"/>
                  <a:gd name="connsiteY2820" fmla="*/ 7846 h 10000"/>
                  <a:gd name="connsiteX2821" fmla="*/ 2253 w 10785"/>
                  <a:gd name="connsiteY2821" fmla="*/ 7838 h 10000"/>
                  <a:gd name="connsiteX2822" fmla="*/ 2221 w 10785"/>
                  <a:gd name="connsiteY2822" fmla="*/ 7821 h 10000"/>
                  <a:gd name="connsiteX2823" fmla="*/ 2212 w 10785"/>
                  <a:gd name="connsiteY2823" fmla="*/ 7812 h 10000"/>
                  <a:gd name="connsiteX2824" fmla="*/ 2212 w 10785"/>
                  <a:gd name="connsiteY2824" fmla="*/ 7803 h 10000"/>
                  <a:gd name="connsiteX2825" fmla="*/ 2221 w 10785"/>
                  <a:gd name="connsiteY2825" fmla="*/ 7803 h 10000"/>
                  <a:gd name="connsiteX2826" fmla="*/ 2235 w 10785"/>
                  <a:gd name="connsiteY2826" fmla="*/ 7786 h 10000"/>
                  <a:gd name="connsiteX2827" fmla="*/ 2240 w 10785"/>
                  <a:gd name="connsiteY2827" fmla="*/ 7778 h 10000"/>
                  <a:gd name="connsiteX2828" fmla="*/ 2226 w 10785"/>
                  <a:gd name="connsiteY2828" fmla="*/ 7761 h 10000"/>
                  <a:gd name="connsiteX2829" fmla="*/ 2221 w 10785"/>
                  <a:gd name="connsiteY2829" fmla="*/ 7778 h 10000"/>
                  <a:gd name="connsiteX2830" fmla="*/ 2198 w 10785"/>
                  <a:gd name="connsiteY2830" fmla="*/ 7778 h 10000"/>
                  <a:gd name="connsiteX2831" fmla="*/ 2198 w 10785"/>
                  <a:gd name="connsiteY2831" fmla="*/ 7752 h 10000"/>
                  <a:gd name="connsiteX2832" fmla="*/ 2207 w 10785"/>
                  <a:gd name="connsiteY2832" fmla="*/ 7735 h 10000"/>
                  <a:gd name="connsiteX2833" fmla="*/ 2212 w 10785"/>
                  <a:gd name="connsiteY2833" fmla="*/ 7726 h 10000"/>
                  <a:gd name="connsiteX2834" fmla="*/ 2198 w 10785"/>
                  <a:gd name="connsiteY2834" fmla="*/ 7692 h 10000"/>
                  <a:gd name="connsiteX2835" fmla="*/ 2221 w 10785"/>
                  <a:gd name="connsiteY2835" fmla="*/ 7692 h 10000"/>
                  <a:gd name="connsiteX2836" fmla="*/ 2221 w 10785"/>
                  <a:gd name="connsiteY2836" fmla="*/ 7675 h 10000"/>
                  <a:gd name="connsiteX2837" fmla="*/ 2235 w 10785"/>
                  <a:gd name="connsiteY2837" fmla="*/ 7675 h 10000"/>
                  <a:gd name="connsiteX2838" fmla="*/ 2240 w 10785"/>
                  <a:gd name="connsiteY2838" fmla="*/ 7692 h 10000"/>
                  <a:gd name="connsiteX2839" fmla="*/ 2249 w 10785"/>
                  <a:gd name="connsiteY2839" fmla="*/ 7692 h 10000"/>
                  <a:gd name="connsiteX2840" fmla="*/ 2258 w 10785"/>
                  <a:gd name="connsiteY2840" fmla="*/ 7692 h 10000"/>
                  <a:gd name="connsiteX2841" fmla="*/ 2267 w 10785"/>
                  <a:gd name="connsiteY2841" fmla="*/ 7692 h 10000"/>
                  <a:gd name="connsiteX2842" fmla="*/ 2295 w 10785"/>
                  <a:gd name="connsiteY2842" fmla="*/ 7692 h 10000"/>
                  <a:gd name="connsiteX2843" fmla="*/ 2300 w 10785"/>
                  <a:gd name="connsiteY2843" fmla="*/ 7701 h 10000"/>
                  <a:gd name="connsiteX2844" fmla="*/ 2313 w 10785"/>
                  <a:gd name="connsiteY2844" fmla="*/ 7675 h 10000"/>
                  <a:gd name="connsiteX2845" fmla="*/ 2323 w 10785"/>
                  <a:gd name="connsiteY2845" fmla="*/ 7675 h 10000"/>
                  <a:gd name="connsiteX2846" fmla="*/ 2341 w 10785"/>
                  <a:gd name="connsiteY2846" fmla="*/ 7675 h 10000"/>
                  <a:gd name="connsiteX2847" fmla="*/ 2346 w 10785"/>
                  <a:gd name="connsiteY2847" fmla="*/ 7667 h 10000"/>
                  <a:gd name="connsiteX2848" fmla="*/ 2359 w 10785"/>
                  <a:gd name="connsiteY2848" fmla="*/ 7650 h 10000"/>
                  <a:gd name="connsiteX2849" fmla="*/ 2373 w 10785"/>
                  <a:gd name="connsiteY2849" fmla="*/ 7624 h 10000"/>
                  <a:gd name="connsiteX2850" fmla="*/ 2382 w 10785"/>
                  <a:gd name="connsiteY2850" fmla="*/ 7641 h 10000"/>
                  <a:gd name="connsiteX2851" fmla="*/ 2396 w 10785"/>
                  <a:gd name="connsiteY2851" fmla="*/ 7650 h 10000"/>
                  <a:gd name="connsiteX2852" fmla="*/ 2401 w 10785"/>
                  <a:gd name="connsiteY2852" fmla="*/ 7650 h 10000"/>
                  <a:gd name="connsiteX2853" fmla="*/ 2401 w 10785"/>
                  <a:gd name="connsiteY2853" fmla="*/ 7624 h 10000"/>
                  <a:gd name="connsiteX2854" fmla="*/ 2419 w 10785"/>
                  <a:gd name="connsiteY2854" fmla="*/ 7624 h 10000"/>
                  <a:gd name="connsiteX2855" fmla="*/ 2433 w 10785"/>
                  <a:gd name="connsiteY2855" fmla="*/ 7615 h 10000"/>
                  <a:gd name="connsiteX2856" fmla="*/ 2442 w 10785"/>
                  <a:gd name="connsiteY2856" fmla="*/ 7615 h 10000"/>
                  <a:gd name="connsiteX2857" fmla="*/ 2447 w 10785"/>
                  <a:gd name="connsiteY2857" fmla="*/ 7598 h 10000"/>
                  <a:gd name="connsiteX2858" fmla="*/ 2461 w 10785"/>
                  <a:gd name="connsiteY2858" fmla="*/ 7598 h 10000"/>
                  <a:gd name="connsiteX2859" fmla="*/ 2465 w 10785"/>
                  <a:gd name="connsiteY2859" fmla="*/ 7615 h 10000"/>
                  <a:gd name="connsiteX2860" fmla="*/ 2479 w 10785"/>
                  <a:gd name="connsiteY2860" fmla="*/ 7564 h 10000"/>
                  <a:gd name="connsiteX2861" fmla="*/ 2488 w 10785"/>
                  <a:gd name="connsiteY2861" fmla="*/ 7556 h 10000"/>
                  <a:gd name="connsiteX2862" fmla="*/ 2493 w 10785"/>
                  <a:gd name="connsiteY2862" fmla="*/ 7556 h 10000"/>
                  <a:gd name="connsiteX2863" fmla="*/ 2507 w 10785"/>
                  <a:gd name="connsiteY2863" fmla="*/ 7556 h 10000"/>
                  <a:gd name="connsiteX2864" fmla="*/ 2530 w 10785"/>
                  <a:gd name="connsiteY2864" fmla="*/ 7538 h 10000"/>
                  <a:gd name="connsiteX2865" fmla="*/ 2530 w 10785"/>
                  <a:gd name="connsiteY2865" fmla="*/ 7556 h 10000"/>
                  <a:gd name="connsiteX2866" fmla="*/ 2641 w 10785"/>
                  <a:gd name="connsiteY2866" fmla="*/ 7504 h 10000"/>
                  <a:gd name="connsiteX2867" fmla="*/ 2654 w 10785"/>
                  <a:gd name="connsiteY2867" fmla="*/ 7487 h 10000"/>
                  <a:gd name="connsiteX2868" fmla="*/ 2664 w 10785"/>
                  <a:gd name="connsiteY2868" fmla="*/ 7487 h 10000"/>
                  <a:gd name="connsiteX2869" fmla="*/ 2668 w 10785"/>
                  <a:gd name="connsiteY2869" fmla="*/ 7479 h 10000"/>
                  <a:gd name="connsiteX2870" fmla="*/ 2673 w 10785"/>
                  <a:gd name="connsiteY2870" fmla="*/ 7462 h 10000"/>
                  <a:gd name="connsiteX2871" fmla="*/ 2673 w 10785"/>
                  <a:gd name="connsiteY2871" fmla="*/ 7427 h 10000"/>
                  <a:gd name="connsiteX2872" fmla="*/ 2687 w 10785"/>
                  <a:gd name="connsiteY2872" fmla="*/ 7436 h 10000"/>
                  <a:gd name="connsiteX2873" fmla="*/ 2696 w 10785"/>
                  <a:gd name="connsiteY2873" fmla="*/ 7427 h 10000"/>
                  <a:gd name="connsiteX2874" fmla="*/ 2700 w 10785"/>
                  <a:gd name="connsiteY2874" fmla="*/ 7419 h 10000"/>
                  <a:gd name="connsiteX2875" fmla="*/ 2710 w 10785"/>
                  <a:gd name="connsiteY2875" fmla="*/ 7402 h 10000"/>
                  <a:gd name="connsiteX2876" fmla="*/ 2724 w 10785"/>
                  <a:gd name="connsiteY2876" fmla="*/ 7402 h 10000"/>
                  <a:gd name="connsiteX2877" fmla="*/ 2724 w 10785"/>
                  <a:gd name="connsiteY2877" fmla="*/ 7393 h 10000"/>
                  <a:gd name="connsiteX2878" fmla="*/ 2737 w 10785"/>
                  <a:gd name="connsiteY2878" fmla="*/ 7393 h 10000"/>
                  <a:gd name="connsiteX2879" fmla="*/ 2742 w 10785"/>
                  <a:gd name="connsiteY2879" fmla="*/ 7402 h 10000"/>
                  <a:gd name="connsiteX2880" fmla="*/ 2747 w 10785"/>
                  <a:gd name="connsiteY2880" fmla="*/ 7402 h 10000"/>
                  <a:gd name="connsiteX2881" fmla="*/ 2760 w 10785"/>
                  <a:gd name="connsiteY2881" fmla="*/ 7402 h 10000"/>
                  <a:gd name="connsiteX2882" fmla="*/ 2770 w 10785"/>
                  <a:gd name="connsiteY2882" fmla="*/ 7402 h 10000"/>
                  <a:gd name="connsiteX2883" fmla="*/ 2774 w 10785"/>
                  <a:gd name="connsiteY2883" fmla="*/ 7402 h 10000"/>
                  <a:gd name="connsiteX2884" fmla="*/ 2783 w 10785"/>
                  <a:gd name="connsiteY2884" fmla="*/ 7419 h 10000"/>
                  <a:gd name="connsiteX2885" fmla="*/ 2802 w 10785"/>
                  <a:gd name="connsiteY2885" fmla="*/ 7436 h 10000"/>
                  <a:gd name="connsiteX2886" fmla="*/ 2816 w 10785"/>
                  <a:gd name="connsiteY2886" fmla="*/ 7419 h 10000"/>
                  <a:gd name="connsiteX2887" fmla="*/ 2834 w 10785"/>
                  <a:gd name="connsiteY2887" fmla="*/ 7419 h 10000"/>
                  <a:gd name="connsiteX2888" fmla="*/ 2843 w 10785"/>
                  <a:gd name="connsiteY2888" fmla="*/ 7419 h 10000"/>
                  <a:gd name="connsiteX2889" fmla="*/ 2848 w 10785"/>
                  <a:gd name="connsiteY2889" fmla="*/ 7436 h 10000"/>
                  <a:gd name="connsiteX2890" fmla="*/ 2857 w 10785"/>
                  <a:gd name="connsiteY2890" fmla="*/ 7453 h 10000"/>
                  <a:gd name="connsiteX2891" fmla="*/ 2857 w 10785"/>
                  <a:gd name="connsiteY2891" fmla="*/ 7504 h 10000"/>
                  <a:gd name="connsiteX2892" fmla="*/ 2862 w 10785"/>
                  <a:gd name="connsiteY2892" fmla="*/ 7530 h 10000"/>
                  <a:gd name="connsiteX2893" fmla="*/ 2876 w 10785"/>
                  <a:gd name="connsiteY2893" fmla="*/ 7538 h 10000"/>
                  <a:gd name="connsiteX2894" fmla="*/ 2871 w 10785"/>
                  <a:gd name="connsiteY2894" fmla="*/ 7564 h 10000"/>
                  <a:gd name="connsiteX2895" fmla="*/ 2871 w 10785"/>
                  <a:gd name="connsiteY2895" fmla="*/ 7598 h 10000"/>
                  <a:gd name="connsiteX2896" fmla="*/ 2857 w 10785"/>
                  <a:gd name="connsiteY2896" fmla="*/ 7624 h 10000"/>
                  <a:gd name="connsiteX2897" fmla="*/ 2862 w 10785"/>
                  <a:gd name="connsiteY2897" fmla="*/ 7641 h 10000"/>
                  <a:gd name="connsiteX2898" fmla="*/ 2871 w 10785"/>
                  <a:gd name="connsiteY2898" fmla="*/ 7667 h 10000"/>
                  <a:gd name="connsiteX2899" fmla="*/ 2880 w 10785"/>
                  <a:gd name="connsiteY2899" fmla="*/ 7650 h 10000"/>
                  <a:gd name="connsiteX2900" fmla="*/ 2894 w 10785"/>
                  <a:gd name="connsiteY2900" fmla="*/ 7667 h 10000"/>
                  <a:gd name="connsiteX2901" fmla="*/ 2903 w 10785"/>
                  <a:gd name="connsiteY2901" fmla="*/ 7667 h 10000"/>
                  <a:gd name="connsiteX2902" fmla="*/ 2908 w 10785"/>
                  <a:gd name="connsiteY2902" fmla="*/ 7641 h 10000"/>
                  <a:gd name="connsiteX2903" fmla="*/ 2917 w 10785"/>
                  <a:gd name="connsiteY2903" fmla="*/ 7641 h 10000"/>
                  <a:gd name="connsiteX2904" fmla="*/ 2922 w 10785"/>
                  <a:gd name="connsiteY2904" fmla="*/ 7641 h 10000"/>
                  <a:gd name="connsiteX2905" fmla="*/ 2931 w 10785"/>
                  <a:gd name="connsiteY2905" fmla="*/ 7615 h 10000"/>
                  <a:gd name="connsiteX2906" fmla="*/ 2935 w 10785"/>
                  <a:gd name="connsiteY2906" fmla="*/ 7615 h 10000"/>
                  <a:gd name="connsiteX2907" fmla="*/ 2945 w 10785"/>
                  <a:gd name="connsiteY2907" fmla="*/ 7650 h 10000"/>
                  <a:gd name="connsiteX2908" fmla="*/ 2949 w 10785"/>
                  <a:gd name="connsiteY2908" fmla="*/ 7667 h 10000"/>
                  <a:gd name="connsiteX2909" fmla="*/ 2949 w 10785"/>
                  <a:gd name="connsiteY2909" fmla="*/ 7675 h 10000"/>
                  <a:gd name="connsiteX2910" fmla="*/ 2945 w 10785"/>
                  <a:gd name="connsiteY2910" fmla="*/ 7692 h 10000"/>
                  <a:gd name="connsiteX2911" fmla="*/ 2963 w 10785"/>
                  <a:gd name="connsiteY2911" fmla="*/ 7701 h 10000"/>
                  <a:gd name="connsiteX2912" fmla="*/ 2963 w 10785"/>
                  <a:gd name="connsiteY2912" fmla="*/ 7675 h 10000"/>
                  <a:gd name="connsiteX2913" fmla="*/ 2954 w 10785"/>
                  <a:gd name="connsiteY2913" fmla="*/ 7667 h 10000"/>
                  <a:gd name="connsiteX2914" fmla="*/ 2963 w 10785"/>
                  <a:gd name="connsiteY2914" fmla="*/ 7667 h 10000"/>
                  <a:gd name="connsiteX2915" fmla="*/ 2982 w 10785"/>
                  <a:gd name="connsiteY2915" fmla="*/ 7667 h 10000"/>
                  <a:gd name="connsiteX2916" fmla="*/ 2991 w 10785"/>
                  <a:gd name="connsiteY2916" fmla="*/ 7675 h 10000"/>
                  <a:gd name="connsiteX2917" fmla="*/ 2995 w 10785"/>
                  <a:gd name="connsiteY2917" fmla="*/ 7692 h 10000"/>
                  <a:gd name="connsiteX2918" fmla="*/ 3009 w 10785"/>
                  <a:gd name="connsiteY2918" fmla="*/ 7701 h 10000"/>
                  <a:gd name="connsiteX2919" fmla="*/ 3018 w 10785"/>
                  <a:gd name="connsiteY2919" fmla="*/ 7701 h 10000"/>
                  <a:gd name="connsiteX2920" fmla="*/ 3023 w 10785"/>
                  <a:gd name="connsiteY2920" fmla="*/ 7692 h 10000"/>
                  <a:gd name="connsiteX2921" fmla="*/ 3028 w 10785"/>
                  <a:gd name="connsiteY2921" fmla="*/ 7675 h 10000"/>
                  <a:gd name="connsiteX2922" fmla="*/ 3037 w 10785"/>
                  <a:gd name="connsiteY2922" fmla="*/ 7692 h 10000"/>
                  <a:gd name="connsiteX2923" fmla="*/ 3028 w 10785"/>
                  <a:gd name="connsiteY2923" fmla="*/ 7709 h 10000"/>
                  <a:gd name="connsiteX2924" fmla="*/ 3023 w 10785"/>
                  <a:gd name="connsiteY2924" fmla="*/ 7709 h 10000"/>
                  <a:gd name="connsiteX2925" fmla="*/ 3018 w 10785"/>
                  <a:gd name="connsiteY2925" fmla="*/ 7726 h 10000"/>
                  <a:gd name="connsiteX2926" fmla="*/ 3009 w 10785"/>
                  <a:gd name="connsiteY2926" fmla="*/ 7735 h 10000"/>
                  <a:gd name="connsiteX2927" fmla="*/ 3009 w 10785"/>
                  <a:gd name="connsiteY2927" fmla="*/ 7761 h 10000"/>
                  <a:gd name="connsiteX2928" fmla="*/ 3009 w 10785"/>
                  <a:gd name="connsiteY2928" fmla="*/ 7778 h 10000"/>
                  <a:gd name="connsiteX2929" fmla="*/ 3018 w 10785"/>
                  <a:gd name="connsiteY2929" fmla="*/ 7786 h 10000"/>
                  <a:gd name="connsiteX2930" fmla="*/ 3023 w 10785"/>
                  <a:gd name="connsiteY2930" fmla="*/ 7786 h 10000"/>
                  <a:gd name="connsiteX2931" fmla="*/ 3028 w 10785"/>
                  <a:gd name="connsiteY2931" fmla="*/ 7778 h 10000"/>
                  <a:gd name="connsiteX2932" fmla="*/ 3051 w 10785"/>
                  <a:gd name="connsiteY2932" fmla="*/ 7761 h 10000"/>
                  <a:gd name="connsiteX2933" fmla="*/ 3055 w 10785"/>
                  <a:gd name="connsiteY2933" fmla="*/ 7778 h 10000"/>
                  <a:gd name="connsiteX2934" fmla="*/ 3065 w 10785"/>
                  <a:gd name="connsiteY2934" fmla="*/ 7761 h 10000"/>
                  <a:gd name="connsiteX2935" fmla="*/ 3069 w 10785"/>
                  <a:gd name="connsiteY2935" fmla="*/ 7786 h 10000"/>
                  <a:gd name="connsiteX2936" fmla="*/ 3083 w 10785"/>
                  <a:gd name="connsiteY2936" fmla="*/ 7786 h 10000"/>
                  <a:gd name="connsiteX2937" fmla="*/ 3078 w 10785"/>
                  <a:gd name="connsiteY2937" fmla="*/ 7761 h 10000"/>
                  <a:gd name="connsiteX2938" fmla="*/ 3083 w 10785"/>
                  <a:gd name="connsiteY2938" fmla="*/ 7752 h 10000"/>
                  <a:gd name="connsiteX2939" fmla="*/ 3097 w 10785"/>
                  <a:gd name="connsiteY2939" fmla="*/ 7752 h 10000"/>
                  <a:gd name="connsiteX2940" fmla="*/ 3111 w 10785"/>
                  <a:gd name="connsiteY2940" fmla="*/ 7726 h 10000"/>
                  <a:gd name="connsiteX2941" fmla="*/ 3124 w 10785"/>
                  <a:gd name="connsiteY2941" fmla="*/ 7709 h 10000"/>
                  <a:gd name="connsiteX2942" fmla="*/ 3143 w 10785"/>
                  <a:gd name="connsiteY2942" fmla="*/ 7692 h 10000"/>
                  <a:gd name="connsiteX2943" fmla="*/ 3152 w 10785"/>
                  <a:gd name="connsiteY2943" fmla="*/ 7667 h 10000"/>
                  <a:gd name="connsiteX2944" fmla="*/ 3157 w 10785"/>
                  <a:gd name="connsiteY2944" fmla="*/ 7650 h 10000"/>
                  <a:gd name="connsiteX2945" fmla="*/ 3161 w 10785"/>
                  <a:gd name="connsiteY2945" fmla="*/ 7650 h 10000"/>
                  <a:gd name="connsiteX2946" fmla="*/ 3189 w 10785"/>
                  <a:gd name="connsiteY2946" fmla="*/ 7641 h 10000"/>
                  <a:gd name="connsiteX2947" fmla="*/ 3198 w 10785"/>
                  <a:gd name="connsiteY2947" fmla="*/ 7624 h 10000"/>
                  <a:gd name="connsiteX2948" fmla="*/ 3217 w 10785"/>
                  <a:gd name="connsiteY2948" fmla="*/ 7615 h 10000"/>
                  <a:gd name="connsiteX2949" fmla="*/ 3235 w 10785"/>
                  <a:gd name="connsiteY2949" fmla="*/ 7598 h 10000"/>
                  <a:gd name="connsiteX2950" fmla="*/ 3235 w 10785"/>
                  <a:gd name="connsiteY2950" fmla="*/ 7615 h 10000"/>
                  <a:gd name="connsiteX2951" fmla="*/ 3235 w 10785"/>
                  <a:gd name="connsiteY2951" fmla="*/ 7641 h 10000"/>
                  <a:gd name="connsiteX2952" fmla="*/ 3235 w 10785"/>
                  <a:gd name="connsiteY2952" fmla="*/ 7650 h 10000"/>
                  <a:gd name="connsiteX2953" fmla="*/ 3226 w 10785"/>
                  <a:gd name="connsiteY2953" fmla="*/ 7650 h 10000"/>
                  <a:gd name="connsiteX2954" fmla="*/ 3217 w 10785"/>
                  <a:gd name="connsiteY2954" fmla="*/ 7650 h 10000"/>
                  <a:gd name="connsiteX2955" fmla="*/ 3212 w 10785"/>
                  <a:gd name="connsiteY2955" fmla="*/ 7675 h 10000"/>
                  <a:gd name="connsiteX2956" fmla="*/ 3212 w 10785"/>
                  <a:gd name="connsiteY2956"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334 w 10785"/>
                  <a:gd name="connsiteY731" fmla="*/ 4810 h 10000"/>
                  <a:gd name="connsiteX732" fmla="*/ 10691 w 10785"/>
                  <a:gd name="connsiteY732" fmla="*/ 5255 h 10000"/>
                  <a:gd name="connsiteX733" fmla="*/ 10619 w 10785"/>
                  <a:gd name="connsiteY733" fmla="*/ 4708 h 10000"/>
                  <a:gd name="connsiteX734" fmla="*/ 10785 w 10785"/>
                  <a:gd name="connsiteY734" fmla="*/ 4708 h 10000"/>
                  <a:gd name="connsiteX735" fmla="*/ 10689 w 10785"/>
                  <a:gd name="connsiteY735" fmla="*/ 4467 h 10000"/>
                  <a:gd name="connsiteX736" fmla="*/ 10354 w 10785"/>
                  <a:gd name="connsiteY736" fmla="*/ 4302 h 10000"/>
                  <a:gd name="connsiteX737" fmla="*/ 9912 w 10785"/>
                  <a:gd name="connsiteY737" fmla="*/ 3675 h 10000"/>
                  <a:gd name="connsiteX738" fmla="*/ 9903 w 10785"/>
                  <a:gd name="connsiteY738" fmla="*/ 3667 h 10000"/>
                  <a:gd name="connsiteX739" fmla="*/ 9894 w 10785"/>
                  <a:gd name="connsiteY739" fmla="*/ 3641 h 10000"/>
                  <a:gd name="connsiteX740" fmla="*/ 9889 w 10785"/>
                  <a:gd name="connsiteY740" fmla="*/ 3650 h 10000"/>
                  <a:gd name="connsiteX741" fmla="*/ 9848 w 10785"/>
                  <a:gd name="connsiteY741" fmla="*/ 3598 h 10000"/>
                  <a:gd name="connsiteX742" fmla="*/ 9829 w 10785"/>
                  <a:gd name="connsiteY742" fmla="*/ 3581 h 10000"/>
                  <a:gd name="connsiteX743" fmla="*/ 9820 w 10785"/>
                  <a:gd name="connsiteY743" fmla="*/ 3581 h 10000"/>
                  <a:gd name="connsiteX744" fmla="*/ 9793 w 10785"/>
                  <a:gd name="connsiteY744" fmla="*/ 3556 h 10000"/>
                  <a:gd name="connsiteX745" fmla="*/ 9779 w 10785"/>
                  <a:gd name="connsiteY745" fmla="*/ 3556 h 10000"/>
                  <a:gd name="connsiteX746" fmla="*/ 9747 w 10785"/>
                  <a:gd name="connsiteY746" fmla="*/ 3487 h 10000"/>
                  <a:gd name="connsiteX747" fmla="*/ 9668 w 10785"/>
                  <a:gd name="connsiteY747" fmla="*/ 3479 h 10000"/>
                  <a:gd name="connsiteX748" fmla="*/ 9659 w 10785"/>
                  <a:gd name="connsiteY748" fmla="*/ 3487 h 10000"/>
                  <a:gd name="connsiteX749" fmla="*/ 9645 w 10785"/>
                  <a:gd name="connsiteY749" fmla="*/ 3504 h 10000"/>
                  <a:gd name="connsiteX750" fmla="*/ 9631 w 10785"/>
                  <a:gd name="connsiteY750" fmla="*/ 3487 h 10000"/>
                  <a:gd name="connsiteX751" fmla="*/ 9613 w 10785"/>
                  <a:gd name="connsiteY751" fmla="*/ 3479 h 10000"/>
                  <a:gd name="connsiteX752" fmla="*/ 9599 w 10785"/>
                  <a:gd name="connsiteY752" fmla="*/ 3479 h 10000"/>
                  <a:gd name="connsiteX753" fmla="*/ 9571 w 10785"/>
                  <a:gd name="connsiteY753" fmla="*/ 3479 h 10000"/>
                  <a:gd name="connsiteX754" fmla="*/ 9562 w 10785"/>
                  <a:gd name="connsiteY754" fmla="*/ 3487 h 10000"/>
                  <a:gd name="connsiteX755" fmla="*/ 9539 w 10785"/>
                  <a:gd name="connsiteY755" fmla="*/ 3487 h 10000"/>
                  <a:gd name="connsiteX756" fmla="*/ 9507 w 10785"/>
                  <a:gd name="connsiteY756" fmla="*/ 3453 h 10000"/>
                  <a:gd name="connsiteX757" fmla="*/ 9498 w 10785"/>
                  <a:gd name="connsiteY757" fmla="*/ 3453 h 10000"/>
                  <a:gd name="connsiteX758" fmla="*/ 9387 w 10785"/>
                  <a:gd name="connsiteY758" fmla="*/ 3419 h 10000"/>
                  <a:gd name="connsiteX759" fmla="*/ 9373 w 10785"/>
                  <a:gd name="connsiteY759" fmla="*/ 3427 h 10000"/>
                  <a:gd name="connsiteX760" fmla="*/ 9373 w 10785"/>
                  <a:gd name="connsiteY760" fmla="*/ 3462 h 10000"/>
                  <a:gd name="connsiteX761" fmla="*/ 9378 w 10785"/>
                  <a:gd name="connsiteY761" fmla="*/ 3479 h 10000"/>
                  <a:gd name="connsiteX762" fmla="*/ 9378 w 10785"/>
                  <a:gd name="connsiteY762" fmla="*/ 3530 h 10000"/>
                  <a:gd name="connsiteX763" fmla="*/ 9355 w 10785"/>
                  <a:gd name="connsiteY763" fmla="*/ 3538 h 10000"/>
                  <a:gd name="connsiteX764" fmla="*/ 9355 w 10785"/>
                  <a:gd name="connsiteY764" fmla="*/ 3581 h 10000"/>
                  <a:gd name="connsiteX765" fmla="*/ 9387 w 10785"/>
                  <a:gd name="connsiteY765" fmla="*/ 3590 h 10000"/>
                  <a:gd name="connsiteX766" fmla="*/ 9401 w 10785"/>
                  <a:gd name="connsiteY766" fmla="*/ 3667 h 10000"/>
                  <a:gd name="connsiteX767" fmla="*/ 9406 w 10785"/>
                  <a:gd name="connsiteY767" fmla="*/ 3675 h 10000"/>
                  <a:gd name="connsiteX768" fmla="*/ 9406 w 10785"/>
                  <a:gd name="connsiteY768" fmla="*/ 3701 h 10000"/>
                  <a:gd name="connsiteX769" fmla="*/ 9415 w 10785"/>
                  <a:gd name="connsiteY769" fmla="*/ 3752 h 10000"/>
                  <a:gd name="connsiteX770" fmla="*/ 9373 w 10785"/>
                  <a:gd name="connsiteY770" fmla="*/ 3838 h 10000"/>
                  <a:gd name="connsiteX771" fmla="*/ 9355 w 10785"/>
                  <a:gd name="connsiteY771" fmla="*/ 3863 h 10000"/>
                  <a:gd name="connsiteX772" fmla="*/ 9327 w 10785"/>
                  <a:gd name="connsiteY772" fmla="*/ 3863 h 10000"/>
                  <a:gd name="connsiteX773" fmla="*/ 9313 w 10785"/>
                  <a:gd name="connsiteY773" fmla="*/ 3846 h 10000"/>
                  <a:gd name="connsiteX774" fmla="*/ 9300 w 10785"/>
                  <a:gd name="connsiteY774" fmla="*/ 3778 h 10000"/>
                  <a:gd name="connsiteX775" fmla="*/ 9281 w 10785"/>
                  <a:gd name="connsiteY775" fmla="*/ 3752 h 10000"/>
                  <a:gd name="connsiteX776" fmla="*/ 9281 w 10785"/>
                  <a:gd name="connsiteY776" fmla="*/ 3735 h 10000"/>
                  <a:gd name="connsiteX777" fmla="*/ 9267 w 10785"/>
                  <a:gd name="connsiteY777" fmla="*/ 3726 h 10000"/>
                  <a:gd name="connsiteX778" fmla="*/ 9240 w 10785"/>
                  <a:gd name="connsiteY778" fmla="*/ 3726 h 10000"/>
                  <a:gd name="connsiteX779" fmla="*/ 9230 w 10785"/>
                  <a:gd name="connsiteY779" fmla="*/ 3718 h 10000"/>
                  <a:gd name="connsiteX780" fmla="*/ 9226 w 10785"/>
                  <a:gd name="connsiteY780" fmla="*/ 3590 h 10000"/>
                  <a:gd name="connsiteX781" fmla="*/ 9207 w 10785"/>
                  <a:gd name="connsiteY781" fmla="*/ 3581 h 10000"/>
                  <a:gd name="connsiteX782" fmla="*/ 9207 w 10785"/>
                  <a:gd name="connsiteY782" fmla="*/ 3556 h 10000"/>
                  <a:gd name="connsiteX783" fmla="*/ 9217 w 10785"/>
                  <a:gd name="connsiteY783" fmla="*/ 3538 h 10000"/>
                  <a:gd name="connsiteX784" fmla="*/ 9212 w 10785"/>
                  <a:gd name="connsiteY784" fmla="*/ 3538 h 10000"/>
                  <a:gd name="connsiteX785" fmla="*/ 9198 w 10785"/>
                  <a:gd name="connsiteY785" fmla="*/ 3513 h 10000"/>
                  <a:gd name="connsiteX786" fmla="*/ 9194 w 10785"/>
                  <a:gd name="connsiteY786" fmla="*/ 3530 h 10000"/>
                  <a:gd name="connsiteX787" fmla="*/ 9143 w 10785"/>
                  <a:gd name="connsiteY787" fmla="*/ 3615 h 10000"/>
                  <a:gd name="connsiteX788" fmla="*/ 9138 w 10785"/>
                  <a:gd name="connsiteY788" fmla="*/ 3615 h 10000"/>
                  <a:gd name="connsiteX789" fmla="*/ 9134 w 10785"/>
                  <a:gd name="connsiteY789" fmla="*/ 3615 h 10000"/>
                  <a:gd name="connsiteX790" fmla="*/ 9106 w 10785"/>
                  <a:gd name="connsiteY790" fmla="*/ 3615 h 10000"/>
                  <a:gd name="connsiteX791" fmla="*/ 9078 w 10785"/>
                  <a:gd name="connsiteY791" fmla="*/ 3590 h 10000"/>
                  <a:gd name="connsiteX792" fmla="*/ 9037 w 10785"/>
                  <a:gd name="connsiteY792" fmla="*/ 3581 h 10000"/>
                  <a:gd name="connsiteX793" fmla="*/ 9023 w 10785"/>
                  <a:gd name="connsiteY793" fmla="*/ 3590 h 10000"/>
                  <a:gd name="connsiteX794" fmla="*/ 9018 w 10785"/>
                  <a:gd name="connsiteY794" fmla="*/ 3590 h 10000"/>
                  <a:gd name="connsiteX795" fmla="*/ 9018 w 10785"/>
                  <a:gd name="connsiteY795" fmla="*/ 3590 h 10000"/>
                  <a:gd name="connsiteX796" fmla="*/ 8991 w 10785"/>
                  <a:gd name="connsiteY796" fmla="*/ 3590 h 10000"/>
                  <a:gd name="connsiteX797" fmla="*/ 8972 w 10785"/>
                  <a:gd name="connsiteY797" fmla="*/ 3581 h 10000"/>
                  <a:gd name="connsiteX798" fmla="*/ 8959 w 10785"/>
                  <a:gd name="connsiteY798" fmla="*/ 3513 h 10000"/>
                  <a:gd name="connsiteX799" fmla="*/ 8931 w 10785"/>
                  <a:gd name="connsiteY799" fmla="*/ 3538 h 10000"/>
                  <a:gd name="connsiteX800" fmla="*/ 8889 w 10785"/>
                  <a:gd name="connsiteY800" fmla="*/ 3538 h 10000"/>
                  <a:gd name="connsiteX801" fmla="*/ 8871 w 10785"/>
                  <a:gd name="connsiteY801" fmla="*/ 3556 h 10000"/>
                  <a:gd name="connsiteX802" fmla="*/ 8857 w 10785"/>
                  <a:gd name="connsiteY802" fmla="*/ 3538 h 10000"/>
                  <a:gd name="connsiteX803" fmla="*/ 8843 w 10785"/>
                  <a:gd name="connsiteY803" fmla="*/ 3538 h 10000"/>
                  <a:gd name="connsiteX804" fmla="*/ 8839 w 10785"/>
                  <a:gd name="connsiteY804" fmla="*/ 3556 h 10000"/>
                  <a:gd name="connsiteX805" fmla="*/ 8839 w 10785"/>
                  <a:gd name="connsiteY805" fmla="*/ 3581 h 10000"/>
                  <a:gd name="connsiteX806" fmla="*/ 8825 w 10785"/>
                  <a:gd name="connsiteY806" fmla="*/ 3564 h 10000"/>
                  <a:gd name="connsiteX807" fmla="*/ 8825 w 10785"/>
                  <a:gd name="connsiteY807" fmla="*/ 3615 h 10000"/>
                  <a:gd name="connsiteX808" fmla="*/ 8802 w 10785"/>
                  <a:gd name="connsiteY808" fmla="*/ 3598 h 10000"/>
                  <a:gd name="connsiteX809" fmla="*/ 8797 w 10785"/>
                  <a:gd name="connsiteY809" fmla="*/ 3641 h 10000"/>
                  <a:gd name="connsiteX810" fmla="*/ 8783 w 10785"/>
                  <a:gd name="connsiteY810" fmla="*/ 3667 h 10000"/>
                  <a:gd name="connsiteX811" fmla="*/ 8779 w 10785"/>
                  <a:gd name="connsiteY811" fmla="*/ 3650 h 10000"/>
                  <a:gd name="connsiteX812" fmla="*/ 8779 w 10785"/>
                  <a:gd name="connsiteY812" fmla="*/ 3615 h 10000"/>
                  <a:gd name="connsiteX813" fmla="*/ 8770 w 10785"/>
                  <a:gd name="connsiteY813" fmla="*/ 3590 h 10000"/>
                  <a:gd name="connsiteX814" fmla="*/ 8765 w 10785"/>
                  <a:gd name="connsiteY814" fmla="*/ 3598 h 10000"/>
                  <a:gd name="connsiteX815" fmla="*/ 8756 w 10785"/>
                  <a:gd name="connsiteY815" fmla="*/ 3590 h 10000"/>
                  <a:gd name="connsiteX816" fmla="*/ 8737 w 10785"/>
                  <a:gd name="connsiteY816" fmla="*/ 3556 h 10000"/>
                  <a:gd name="connsiteX817" fmla="*/ 8724 w 10785"/>
                  <a:gd name="connsiteY817" fmla="*/ 3538 h 10000"/>
                  <a:gd name="connsiteX818" fmla="*/ 8696 w 10785"/>
                  <a:gd name="connsiteY818" fmla="*/ 3538 h 10000"/>
                  <a:gd name="connsiteX819" fmla="*/ 8691 w 10785"/>
                  <a:gd name="connsiteY819" fmla="*/ 3513 h 10000"/>
                  <a:gd name="connsiteX820" fmla="*/ 8668 w 10785"/>
                  <a:gd name="connsiteY820" fmla="*/ 3504 h 10000"/>
                  <a:gd name="connsiteX821" fmla="*/ 8668 w 10785"/>
                  <a:gd name="connsiteY821" fmla="*/ 3487 h 10000"/>
                  <a:gd name="connsiteX822" fmla="*/ 8691 w 10785"/>
                  <a:gd name="connsiteY822" fmla="*/ 3350 h 10000"/>
                  <a:gd name="connsiteX823" fmla="*/ 8691 w 10785"/>
                  <a:gd name="connsiteY823" fmla="*/ 3291 h 10000"/>
                  <a:gd name="connsiteX824" fmla="*/ 8677 w 10785"/>
                  <a:gd name="connsiteY824" fmla="*/ 3239 h 10000"/>
                  <a:gd name="connsiteX825" fmla="*/ 8677 w 10785"/>
                  <a:gd name="connsiteY825" fmla="*/ 3231 h 10000"/>
                  <a:gd name="connsiteX826" fmla="*/ 8636 w 10785"/>
                  <a:gd name="connsiteY826" fmla="*/ 3128 h 10000"/>
                  <a:gd name="connsiteX827" fmla="*/ 8622 w 10785"/>
                  <a:gd name="connsiteY827" fmla="*/ 3120 h 10000"/>
                  <a:gd name="connsiteX828" fmla="*/ 8618 w 10785"/>
                  <a:gd name="connsiteY828" fmla="*/ 3094 h 10000"/>
                  <a:gd name="connsiteX829" fmla="*/ 8594 w 10785"/>
                  <a:gd name="connsiteY829" fmla="*/ 3077 h 10000"/>
                  <a:gd name="connsiteX830" fmla="*/ 8548 w 10785"/>
                  <a:gd name="connsiteY830" fmla="*/ 3077 h 10000"/>
                  <a:gd name="connsiteX831" fmla="*/ 8535 w 10785"/>
                  <a:gd name="connsiteY831" fmla="*/ 3068 h 10000"/>
                  <a:gd name="connsiteX832" fmla="*/ 8429 w 10785"/>
                  <a:gd name="connsiteY832" fmla="*/ 3077 h 10000"/>
                  <a:gd name="connsiteX833" fmla="*/ 8424 w 10785"/>
                  <a:gd name="connsiteY833" fmla="*/ 3077 h 10000"/>
                  <a:gd name="connsiteX834" fmla="*/ 8396 w 10785"/>
                  <a:gd name="connsiteY834" fmla="*/ 3077 h 10000"/>
                  <a:gd name="connsiteX835" fmla="*/ 8387 w 10785"/>
                  <a:gd name="connsiteY835" fmla="*/ 3094 h 10000"/>
                  <a:gd name="connsiteX836" fmla="*/ 8378 w 10785"/>
                  <a:gd name="connsiteY836" fmla="*/ 3094 h 10000"/>
                  <a:gd name="connsiteX837" fmla="*/ 8341 w 10785"/>
                  <a:gd name="connsiteY837" fmla="*/ 3077 h 10000"/>
                  <a:gd name="connsiteX838" fmla="*/ 8336 w 10785"/>
                  <a:gd name="connsiteY838" fmla="*/ 3077 h 10000"/>
                  <a:gd name="connsiteX839" fmla="*/ 8327 w 10785"/>
                  <a:gd name="connsiteY839" fmla="*/ 3103 h 10000"/>
                  <a:gd name="connsiteX840" fmla="*/ 8309 w 10785"/>
                  <a:gd name="connsiteY840" fmla="*/ 3120 h 10000"/>
                  <a:gd name="connsiteX841" fmla="*/ 8304 w 10785"/>
                  <a:gd name="connsiteY841" fmla="*/ 3103 h 10000"/>
                  <a:gd name="connsiteX842" fmla="*/ 8276 w 10785"/>
                  <a:gd name="connsiteY842" fmla="*/ 3103 h 10000"/>
                  <a:gd name="connsiteX843" fmla="*/ 8267 w 10785"/>
                  <a:gd name="connsiteY843" fmla="*/ 3120 h 10000"/>
                  <a:gd name="connsiteX844" fmla="*/ 8253 w 10785"/>
                  <a:gd name="connsiteY844" fmla="*/ 3103 h 10000"/>
                  <a:gd name="connsiteX845" fmla="*/ 8230 w 10785"/>
                  <a:gd name="connsiteY845" fmla="*/ 3128 h 10000"/>
                  <a:gd name="connsiteX846" fmla="*/ 8217 w 10785"/>
                  <a:gd name="connsiteY846" fmla="*/ 3128 h 10000"/>
                  <a:gd name="connsiteX847" fmla="*/ 8203 w 10785"/>
                  <a:gd name="connsiteY847" fmla="*/ 3154 h 10000"/>
                  <a:gd name="connsiteX848" fmla="*/ 8175 w 10785"/>
                  <a:gd name="connsiteY848" fmla="*/ 3094 h 10000"/>
                  <a:gd name="connsiteX849" fmla="*/ 8161 w 10785"/>
                  <a:gd name="connsiteY849" fmla="*/ 3094 h 10000"/>
                  <a:gd name="connsiteX850" fmla="*/ 8157 w 10785"/>
                  <a:gd name="connsiteY850" fmla="*/ 3077 h 10000"/>
                  <a:gd name="connsiteX851" fmla="*/ 8180 w 10785"/>
                  <a:gd name="connsiteY851" fmla="*/ 3068 h 10000"/>
                  <a:gd name="connsiteX852" fmla="*/ 8189 w 10785"/>
                  <a:gd name="connsiteY852" fmla="*/ 3043 h 10000"/>
                  <a:gd name="connsiteX853" fmla="*/ 8189 w 10785"/>
                  <a:gd name="connsiteY853" fmla="*/ 3017 h 10000"/>
                  <a:gd name="connsiteX854" fmla="*/ 8147 w 10785"/>
                  <a:gd name="connsiteY854" fmla="*/ 2940 h 10000"/>
                  <a:gd name="connsiteX855" fmla="*/ 8143 w 10785"/>
                  <a:gd name="connsiteY855" fmla="*/ 2915 h 10000"/>
                  <a:gd name="connsiteX856" fmla="*/ 8143 w 10785"/>
                  <a:gd name="connsiteY856" fmla="*/ 2906 h 10000"/>
                  <a:gd name="connsiteX857" fmla="*/ 8097 w 10785"/>
                  <a:gd name="connsiteY857" fmla="*/ 2932 h 10000"/>
                  <a:gd name="connsiteX858" fmla="*/ 8083 w 10785"/>
                  <a:gd name="connsiteY858" fmla="*/ 2932 h 10000"/>
                  <a:gd name="connsiteX859" fmla="*/ 8074 w 10785"/>
                  <a:gd name="connsiteY859" fmla="*/ 2906 h 10000"/>
                  <a:gd name="connsiteX860" fmla="*/ 8074 w 10785"/>
                  <a:gd name="connsiteY860" fmla="*/ 2897 h 10000"/>
                  <a:gd name="connsiteX861" fmla="*/ 8055 w 10785"/>
                  <a:gd name="connsiteY861" fmla="*/ 2872 h 10000"/>
                  <a:gd name="connsiteX862" fmla="*/ 8046 w 10785"/>
                  <a:gd name="connsiteY862" fmla="*/ 2829 h 10000"/>
                  <a:gd name="connsiteX863" fmla="*/ 8041 w 10785"/>
                  <a:gd name="connsiteY863" fmla="*/ 2829 h 10000"/>
                  <a:gd name="connsiteX864" fmla="*/ 8023 w 10785"/>
                  <a:gd name="connsiteY864" fmla="*/ 2803 h 10000"/>
                  <a:gd name="connsiteX865" fmla="*/ 8014 w 10785"/>
                  <a:gd name="connsiteY865" fmla="*/ 2829 h 10000"/>
                  <a:gd name="connsiteX866" fmla="*/ 8000 w 10785"/>
                  <a:gd name="connsiteY866" fmla="*/ 2829 h 10000"/>
                  <a:gd name="connsiteX867" fmla="*/ 7995 w 10785"/>
                  <a:gd name="connsiteY867" fmla="*/ 2821 h 10000"/>
                  <a:gd name="connsiteX868" fmla="*/ 7972 w 10785"/>
                  <a:gd name="connsiteY868" fmla="*/ 2803 h 10000"/>
                  <a:gd name="connsiteX869" fmla="*/ 7968 w 10785"/>
                  <a:gd name="connsiteY869" fmla="*/ 2821 h 10000"/>
                  <a:gd name="connsiteX870" fmla="*/ 7968 w 10785"/>
                  <a:gd name="connsiteY870" fmla="*/ 2803 h 10000"/>
                  <a:gd name="connsiteX871" fmla="*/ 7995 w 10785"/>
                  <a:gd name="connsiteY871" fmla="*/ 2735 h 10000"/>
                  <a:gd name="connsiteX872" fmla="*/ 8000 w 10785"/>
                  <a:gd name="connsiteY872" fmla="*/ 2735 h 10000"/>
                  <a:gd name="connsiteX873" fmla="*/ 8014 w 10785"/>
                  <a:gd name="connsiteY873" fmla="*/ 2744 h 10000"/>
                  <a:gd name="connsiteX874" fmla="*/ 8023 w 10785"/>
                  <a:gd name="connsiteY874" fmla="*/ 2769 h 10000"/>
                  <a:gd name="connsiteX875" fmla="*/ 8032 w 10785"/>
                  <a:gd name="connsiteY875" fmla="*/ 2744 h 10000"/>
                  <a:gd name="connsiteX876" fmla="*/ 8032 w 10785"/>
                  <a:gd name="connsiteY876" fmla="*/ 2709 h 10000"/>
                  <a:gd name="connsiteX877" fmla="*/ 8023 w 10785"/>
                  <a:gd name="connsiteY877" fmla="*/ 2632 h 10000"/>
                  <a:gd name="connsiteX878" fmla="*/ 7986 w 10785"/>
                  <a:gd name="connsiteY878" fmla="*/ 2581 h 10000"/>
                  <a:gd name="connsiteX879" fmla="*/ 7968 w 10785"/>
                  <a:gd name="connsiteY879" fmla="*/ 2581 h 10000"/>
                  <a:gd name="connsiteX880" fmla="*/ 7963 w 10785"/>
                  <a:gd name="connsiteY880" fmla="*/ 2556 h 10000"/>
                  <a:gd name="connsiteX881" fmla="*/ 7935 w 10785"/>
                  <a:gd name="connsiteY881" fmla="*/ 2547 h 10000"/>
                  <a:gd name="connsiteX882" fmla="*/ 7912 w 10785"/>
                  <a:gd name="connsiteY882" fmla="*/ 2547 h 10000"/>
                  <a:gd name="connsiteX883" fmla="*/ 7912 w 10785"/>
                  <a:gd name="connsiteY883" fmla="*/ 2556 h 10000"/>
                  <a:gd name="connsiteX884" fmla="*/ 7908 w 10785"/>
                  <a:gd name="connsiteY884" fmla="*/ 2547 h 10000"/>
                  <a:gd name="connsiteX885" fmla="*/ 7862 w 10785"/>
                  <a:gd name="connsiteY885" fmla="*/ 2547 h 10000"/>
                  <a:gd name="connsiteX886" fmla="*/ 7848 w 10785"/>
                  <a:gd name="connsiteY886" fmla="*/ 2556 h 10000"/>
                  <a:gd name="connsiteX887" fmla="*/ 7820 w 10785"/>
                  <a:gd name="connsiteY887" fmla="*/ 2547 h 10000"/>
                  <a:gd name="connsiteX888" fmla="*/ 7806 w 10785"/>
                  <a:gd name="connsiteY888" fmla="*/ 2513 h 10000"/>
                  <a:gd name="connsiteX889" fmla="*/ 7788 w 10785"/>
                  <a:gd name="connsiteY889" fmla="*/ 2513 h 10000"/>
                  <a:gd name="connsiteX890" fmla="*/ 7760 w 10785"/>
                  <a:gd name="connsiteY890" fmla="*/ 2470 h 10000"/>
                  <a:gd name="connsiteX891" fmla="*/ 7751 w 10785"/>
                  <a:gd name="connsiteY891" fmla="*/ 2470 h 10000"/>
                  <a:gd name="connsiteX892" fmla="*/ 7705 w 10785"/>
                  <a:gd name="connsiteY892" fmla="*/ 2462 h 10000"/>
                  <a:gd name="connsiteX893" fmla="*/ 7673 w 10785"/>
                  <a:gd name="connsiteY893" fmla="*/ 2419 h 10000"/>
                  <a:gd name="connsiteX894" fmla="*/ 7627 w 10785"/>
                  <a:gd name="connsiteY894" fmla="*/ 2419 h 10000"/>
                  <a:gd name="connsiteX895" fmla="*/ 7613 w 10785"/>
                  <a:gd name="connsiteY895" fmla="*/ 2410 h 10000"/>
                  <a:gd name="connsiteX896" fmla="*/ 7493 w 10785"/>
                  <a:gd name="connsiteY896" fmla="*/ 2393 h 10000"/>
                  <a:gd name="connsiteX897" fmla="*/ 7479 w 10785"/>
                  <a:gd name="connsiteY897" fmla="*/ 2385 h 10000"/>
                  <a:gd name="connsiteX898" fmla="*/ 7479 w 10785"/>
                  <a:gd name="connsiteY898" fmla="*/ 2376 h 10000"/>
                  <a:gd name="connsiteX899" fmla="*/ 7465 w 10785"/>
                  <a:gd name="connsiteY899" fmla="*/ 2359 h 10000"/>
                  <a:gd name="connsiteX900" fmla="*/ 7447 w 10785"/>
                  <a:gd name="connsiteY900" fmla="*/ 2350 h 10000"/>
                  <a:gd name="connsiteX901" fmla="*/ 7433 w 10785"/>
                  <a:gd name="connsiteY901" fmla="*/ 2376 h 10000"/>
                  <a:gd name="connsiteX902" fmla="*/ 7433 w 10785"/>
                  <a:gd name="connsiteY902" fmla="*/ 2385 h 10000"/>
                  <a:gd name="connsiteX903" fmla="*/ 7447 w 10785"/>
                  <a:gd name="connsiteY903" fmla="*/ 2410 h 10000"/>
                  <a:gd name="connsiteX904" fmla="*/ 7447 w 10785"/>
                  <a:gd name="connsiteY904" fmla="*/ 2436 h 10000"/>
                  <a:gd name="connsiteX905" fmla="*/ 7452 w 10785"/>
                  <a:gd name="connsiteY905" fmla="*/ 2462 h 10000"/>
                  <a:gd name="connsiteX906" fmla="*/ 7447 w 10785"/>
                  <a:gd name="connsiteY906" fmla="*/ 2470 h 10000"/>
                  <a:gd name="connsiteX907" fmla="*/ 7424 w 10785"/>
                  <a:gd name="connsiteY907" fmla="*/ 2513 h 10000"/>
                  <a:gd name="connsiteX908" fmla="*/ 7419 w 10785"/>
                  <a:gd name="connsiteY908" fmla="*/ 2556 h 10000"/>
                  <a:gd name="connsiteX909" fmla="*/ 7406 w 10785"/>
                  <a:gd name="connsiteY909" fmla="*/ 2624 h 10000"/>
                  <a:gd name="connsiteX910" fmla="*/ 7392 w 10785"/>
                  <a:gd name="connsiteY910" fmla="*/ 2624 h 10000"/>
                  <a:gd name="connsiteX911" fmla="*/ 7373 w 10785"/>
                  <a:gd name="connsiteY911" fmla="*/ 2650 h 10000"/>
                  <a:gd name="connsiteX912" fmla="*/ 7364 w 10785"/>
                  <a:gd name="connsiteY912" fmla="*/ 2684 h 10000"/>
                  <a:gd name="connsiteX913" fmla="*/ 7364 w 10785"/>
                  <a:gd name="connsiteY913" fmla="*/ 2692 h 10000"/>
                  <a:gd name="connsiteX914" fmla="*/ 7373 w 10785"/>
                  <a:gd name="connsiteY914" fmla="*/ 2718 h 10000"/>
                  <a:gd name="connsiteX915" fmla="*/ 7373 w 10785"/>
                  <a:gd name="connsiteY915" fmla="*/ 2744 h 10000"/>
                  <a:gd name="connsiteX916" fmla="*/ 7359 w 10785"/>
                  <a:gd name="connsiteY916" fmla="*/ 2744 h 10000"/>
                  <a:gd name="connsiteX917" fmla="*/ 7359 w 10785"/>
                  <a:gd name="connsiteY917" fmla="*/ 2795 h 10000"/>
                  <a:gd name="connsiteX918" fmla="*/ 7364 w 10785"/>
                  <a:gd name="connsiteY918" fmla="*/ 2821 h 10000"/>
                  <a:gd name="connsiteX919" fmla="*/ 7378 w 10785"/>
                  <a:gd name="connsiteY919" fmla="*/ 2846 h 10000"/>
                  <a:gd name="connsiteX920" fmla="*/ 7378 w 10785"/>
                  <a:gd name="connsiteY920" fmla="*/ 2855 h 10000"/>
                  <a:gd name="connsiteX921" fmla="*/ 7378 w 10785"/>
                  <a:gd name="connsiteY921" fmla="*/ 2880 h 10000"/>
                  <a:gd name="connsiteX922" fmla="*/ 7378 w 10785"/>
                  <a:gd name="connsiteY922" fmla="*/ 2906 h 10000"/>
                  <a:gd name="connsiteX923" fmla="*/ 7364 w 10785"/>
                  <a:gd name="connsiteY923" fmla="*/ 2906 h 10000"/>
                  <a:gd name="connsiteX924" fmla="*/ 7346 w 10785"/>
                  <a:gd name="connsiteY924" fmla="*/ 2880 h 10000"/>
                  <a:gd name="connsiteX925" fmla="*/ 7332 w 10785"/>
                  <a:gd name="connsiteY925" fmla="*/ 2915 h 10000"/>
                  <a:gd name="connsiteX926" fmla="*/ 7318 w 10785"/>
                  <a:gd name="connsiteY926" fmla="*/ 2906 h 10000"/>
                  <a:gd name="connsiteX927" fmla="*/ 7313 w 10785"/>
                  <a:gd name="connsiteY927" fmla="*/ 2915 h 10000"/>
                  <a:gd name="connsiteX928" fmla="*/ 7313 w 10785"/>
                  <a:gd name="connsiteY928" fmla="*/ 2906 h 10000"/>
                  <a:gd name="connsiteX929" fmla="*/ 7286 w 10785"/>
                  <a:gd name="connsiteY929" fmla="*/ 2940 h 10000"/>
                  <a:gd name="connsiteX930" fmla="*/ 7276 w 10785"/>
                  <a:gd name="connsiteY930" fmla="*/ 2966 h 10000"/>
                  <a:gd name="connsiteX931" fmla="*/ 7272 w 10785"/>
                  <a:gd name="connsiteY931" fmla="*/ 2983 h 10000"/>
                  <a:gd name="connsiteX932" fmla="*/ 7267 w 10785"/>
                  <a:gd name="connsiteY932" fmla="*/ 3009 h 10000"/>
                  <a:gd name="connsiteX933" fmla="*/ 7253 w 10785"/>
                  <a:gd name="connsiteY933" fmla="*/ 3009 h 10000"/>
                  <a:gd name="connsiteX934" fmla="*/ 7244 w 10785"/>
                  <a:gd name="connsiteY934" fmla="*/ 3017 h 10000"/>
                  <a:gd name="connsiteX935" fmla="*/ 7240 w 10785"/>
                  <a:gd name="connsiteY935" fmla="*/ 3009 h 10000"/>
                  <a:gd name="connsiteX936" fmla="*/ 7230 w 10785"/>
                  <a:gd name="connsiteY936" fmla="*/ 2991 h 10000"/>
                  <a:gd name="connsiteX937" fmla="*/ 7226 w 10785"/>
                  <a:gd name="connsiteY937" fmla="*/ 2983 h 10000"/>
                  <a:gd name="connsiteX938" fmla="*/ 7226 w 10785"/>
                  <a:gd name="connsiteY938" fmla="*/ 2966 h 10000"/>
                  <a:gd name="connsiteX939" fmla="*/ 7212 w 10785"/>
                  <a:gd name="connsiteY939" fmla="*/ 2957 h 10000"/>
                  <a:gd name="connsiteX940" fmla="*/ 7212 w 10785"/>
                  <a:gd name="connsiteY940" fmla="*/ 2932 h 10000"/>
                  <a:gd name="connsiteX941" fmla="*/ 7198 w 10785"/>
                  <a:gd name="connsiteY941" fmla="*/ 2915 h 10000"/>
                  <a:gd name="connsiteX942" fmla="*/ 7194 w 10785"/>
                  <a:gd name="connsiteY942" fmla="*/ 2915 h 10000"/>
                  <a:gd name="connsiteX943" fmla="*/ 7157 w 10785"/>
                  <a:gd name="connsiteY943" fmla="*/ 2880 h 10000"/>
                  <a:gd name="connsiteX944" fmla="*/ 7138 w 10785"/>
                  <a:gd name="connsiteY944" fmla="*/ 2880 h 10000"/>
                  <a:gd name="connsiteX945" fmla="*/ 7120 w 10785"/>
                  <a:gd name="connsiteY945" fmla="*/ 2872 h 10000"/>
                  <a:gd name="connsiteX946" fmla="*/ 7111 w 10785"/>
                  <a:gd name="connsiteY946" fmla="*/ 2846 h 10000"/>
                  <a:gd name="connsiteX947" fmla="*/ 7106 w 10785"/>
                  <a:gd name="connsiteY947" fmla="*/ 2846 h 10000"/>
                  <a:gd name="connsiteX948" fmla="*/ 7092 w 10785"/>
                  <a:gd name="connsiteY948" fmla="*/ 2829 h 10000"/>
                  <a:gd name="connsiteX949" fmla="*/ 7051 w 10785"/>
                  <a:gd name="connsiteY949" fmla="*/ 2829 h 10000"/>
                  <a:gd name="connsiteX950" fmla="*/ 7037 w 10785"/>
                  <a:gd name="connsiteY950" fmla="*/ 2880 h 10000"/>
                  <a:gd name="connsiteX951" fmla="*/ 7037 w 10785"/>
                  <a:gd name="connsiteY951" fmla="*/ 2906 h 10000"/>
                  <a:gd name="connsiteX952" fmla="*/ 7037 w 10785"/>
                  <a:gd name="connsiteY952" fmla="*/ 2932 h 10000"/>
                  <a:gd name="connsiteX953" fmla="*/ 7037 w 10785"/>
                  <a:gd name="connsiteY953" fmla="*/ 2940 h 10000"/>
                  <a:gd name="connsiteX954" fmla="*/ 7023 w 10785"/>
                  <a:gd name="connsiteY954" fmla="*/ 2906 h 10000"/>
                  <a:gd name="connsiteX955" fmla="*/ 7023 w 10785"/>
                  <a:gd name="connsiteY955" fmla="*/ 2915 h 10000"/>
                  <a:gd name="connsiteX956" fmla="*/ 6991 w 10785"/>
                  <a:gd name="connsiteY956" fmla="*/ 2906 h 10000"/>
                  <a:gd name="connsiteX957" fmla="*/ 6977 w 10785"/>
                  <a:gd name="connsiteY957" fmla="*/ 2915 h 10000"/>
                  <a:gd name="connsiteX958" fmla="*/ 6963 w 10785"/>
                  <a:gd name="connsiteY958" fmla="*/ 2915 h 10000"/>
                  <a:gd name="connsiteX959" fmla="*/ 6949 w 10785"/>
                  <a:gd name="connsiteY959" fmla="*/ 2872 h 10000"/>
                  <a:gd name="connsiteX960" fmla="*/ 6935 w 10785"/>
                  <a:gd name="connsiteY960" fmla="*/ 2855 h 10000"/>
                  <a:gd name="connsiteX961" fmla="*/ 6922 w 10785"/>
                  <a:gd name="connsiteY961" fmla="*/ 2803 h 10000"/>
                  <a:gd name="connsiteX962" fmla="*/ 6917 w 10785"/>
                  <a:gd name="connsiteY962" fmla="*/ 2786 h 10000"/>
                  <a:gd name="connsiteX963" fmla="*/ 6903 w 10785"/>
                  <a:gd name="connsiteY963" fmla="*/ 2709 h 10000"/>
                  <a:gd name="connsiteX964" fmla="*/ 6903 w 10785"/>
                  <a:gd name="connsiteY964" fmla="*/ 2692 h 10000"/>
                  <a:gd name="connsiteX965" fmla="*/ 6899 w 10785"/>
                  <a:gd name="connsiteY965" fmla="*/ 2709 h 10000"/>
                  <a:gd name="connsiteX966" fmla="*/ 6857 w 10785"/>
                  <a:gd name="connsiteY966" fmla="*/ 2872 h 10000"/>
                  <a:gd name="connsiteX967" fmla="*/ 6857 w 10785"/>
                  <a:gd name="connsiteY967" fmla="*/ 3009 h 10000"/>
                  <a:gd name="connsiteX968" fmla="*/ 6848 w 10785"/>
                  <a:gd name="connsiteY968" fmla="*/ 3017 h 10000"/>
                  <a:gd name="connsiteX969" fmla="*/ 6839 w 10785"/>
                  <a:gd name="connsiteY969" fmla="*/ 3068 h 10000"/>
                  <a:gd name="connsiteX970" fmla="*/ 6829 w 10785"/>
                  <a:gd name="connsiteY970" fmla="*/ 3077 h 10000"/>
                  <a:gd name="connsiteX971" fmla="*/ 6829 w 10785"/>
                  <a:gd name="connsiteY971" fmla="*/ 3128 h 10000"/>
                  <a:gd name="connsiteX972" fmla="*/ 6816 w 10785"/>
                  <a:gd name="connsiteY972" fmla="*/ 3154 h 10000"/>
                  <a:gd name="connsiteX973" fmla="*/ 6811 w 10785"/>
                  <a:gd name="connsiteY973" fmla="*/ 3179 h 10000"/>
                  <a:gd name="connsiteX974" fmla="*/ 6797 w 10785"/>
                  <a:gd name="connsiteY974" fmla="*/ 3171 h 10000"/>
                  <a:gd name="connsiteX975" fmla="*/ 6783 w 10785"/>
                  <a:gd name="connsiteY975" fmla="*/ 3103 h 10000"/>
                  <a:gd name="connsiteX976" fmla="*/ 6779 w 10785"/>
                  <a:gd name="connsiteY976" fmla="*/ 3094 h 10000"/>
                  <a:gd name="connsiteX977" fmla="*/ 6779 w 10785"/>
                  <a:gd name="connsiteY977" fmla="*/ 3120 h 10000"/>
                  <a:gd name="connsiteX978" fmla="*/ 6770 w 10785"/>
                  <a:gd name="connsiteY978" fmla="*/ 3128 h 10000"/>
                  <a:gd name="connsiteX979" fmla="*/ 6765 w 10785"/>
                  <a:gd name="connsiteY979" fmla="*/ 3103 h 10000"/>
                  <a:gd name="connsiteX980" fmla="*/ 6756 w 10785"/>
                  <a:gd name="connsiteY980" fmla="*/ 3103 h 10000"/>
                  <a:gd name="connsiteX981" fmla="*/ 6742 w 10785"/>
                  <a:gd name="connsiteY981" fmla="*/ 3103 h 10000"/>
                  <a:gd name="connsiteX982" fmla="*/ 6737 w 10785"/>
                  <a:gd name="connsiteY982" fmla="*/ 3077 h 10000"/>
                  <a:gd name="connsiteX983" fmla="*/ 6737 w 10785"/>
                  <a:gd name="connsiteY983" fmla="*/ 3068 h 10000"/>
                  <a:gd name="connsiteX984" fmla="*/ 6728 w 10785"/>
                  <a:gd name="connsiteY984" fmla="*/ 3043 h 10000"/>
                  <a:gd name="connsiteX985" fmla="*/ 6724 w 10785"/>
                  <a:gd name="connsiteY985" fmla="*/ 3051 h 10000"/>
                  <a:gd name="connsiteX986" fmla="*/ 6714 w 10785"/>
                  <a:gd name="connsiteY986" fmla="*/ 3043 h 10000"/>
                  <a:gd name="connsiteX987" fmla="*/ 6710 w 10785"/>
                  <a:gd name="connsiteY987" fmla="*/ 3034 h 10000"/>
                  <a:gd name="connsiteX988" fmla="*/ 6705 w 10785"/>
                  <a:gd name="connsiteY988" fmla="*/ 2983 h 10000"/>
                  <a:gd name="connsiteX989" fmla="*/ 6696 w 10785"/>
                  <a:gd name="connsiteY989" fmla="*/ 2966 h 10000"/>
                  <a:gd name="connsiteX990" fmla="*/ 6691 w 10785"/>
                  <a:gd name="connsiteY990" fmla="*/ 2983 h 10000"/>
                  <a:gd name="connsiteX991" fmla="*/ 6677 w 10785"/>
                  <a:gd name="connsiteY991" fmla="*/ 2897 h 10000"/>
                  <a:gd name="connsiteX992" fmla="*/ 6677 w 10785"/>
                  <a:gd name="connsiteY992" fmla="*/ 2897 h 10000"/>
                  <a:gd name="connsiteX993" fmla="*/ 6677 w 10785"/>
                  <a:gd name="connsiteY993" fmla="*/ 2872 h 10000"/>
                  <a:gd name="connsiteX994" fmla="*/ 6668 w 10785"/>
                  <a:gd name="connsiteY994" fmla="*/ 2821 h 10000"/>
                  <a:gd name="connsiteX995" fmla="*/ 6664 w 10785"/>
                  <a:gd name="connsiteY995" fmla="*/ 2829 h 10000"/>
                  <a:gd name="connsiteX996" fmla="*/ 6654 w 10785"/>
                  <a:gd name="connsiteY996" fmla="*/ 2846 h 10000"/>
                  <a:gd name="connsiteX997" fmla="*/ 6650 w 10785"/>
                  <a:gd name="connsiteY997" fmla="*/ 2829 h 10000"/>
                  <a:gd name="connsiteX998" fmla="*/ 6650 w 10785"/>
                  <a:gd name="connsiteY998" fmla="*/ 2803 h 10000"/>
                  <a:gd name="connsiteX999" fmla="*/ 6650 w 10785"/>
                  <a:gd name="connsiteY999" fmla="*/ 2795 h 10000"/>
                  <a:gd name="connsiteX1000" fmla="*/ 6641 w 10785"/>
                  <a:gd name="connsiteY1000" fmla="*/ 2786 h 10000"/>
                  <a:gd name="connsiteX1001" fmla="*/ 6636 w 10785"/>
                  <a:gd name="connsiteY1001" fmla="*/ 2735 h 10000"/>
                  <a:gd name="connsiteX1002" fmla="*/ 6664 w 10785"/>
                  <a:gd name="connsiteY1002" fmla="*/ 2667 h 10000"/>
                  <a:gd name="connsiteX1003" fmla="*/ 6668 w 10785"/>
                  <a:gd name="connsiteY1003" fmla="*/ 2684 h 10000"/>
                  <a:gd name="connsiteX1004" fmla="*/ 6677 w 10785"/>
                  <a:gd name="connsiteY1004" fmla="*/ 2667 h 10000"/>
                  <a:gd name="connsiteX1005" fmla="*/ 6668 w 10785"/>
                  <a:gd name="connsiteY1005" fmla="*/ 2667 h 10000"/>
                  <a:gd name="connsiteX1006" fmla="*/ 6668 w 10785"/>
                  <a:gd name="connsiteY1006" fmla="*/ 2650 h 10000"/>
                  <a:gd name="connsiteX1007" fmla="*/ 6682 w 10785"/>
                  <a:gd name="connsiteY1007" fmla="*/ 2650 h 10000"/>
                  <a:gd name="connsiteX1008" fmla="*/ 6691 w 10785"/>
                  <a:gd name="connsiteY1008" fmla="*/ 2624 h 10000"/>
                  <a:gd name="connsiteX1009" fmla="*/ 6682 w 10785"/>
                  <a:gd name="connsiteY1009" fmla="*/ 2632 h 10000"/>
                  <a:gd name="connsiteX1010" fmla="*/ 6682 w 10785"/>
                  <a:gd name="connsiteY1010" fmla="*/ 2624 h 10000"/>
                  <a:gd name="connsiteX1011" fmla="*/ 6691 w 10785"/>
                  <a:gd name="connsiteY1011" fmla="*/ 2607 h 10000"/>
                  <a:gd name="connsiteX1012" fmla="*/ 6691 w 10785"/>
                  <a:gd name="connsiteY1012" fmla="*/ 2598 h 10000"/>
                  <a:gd name="connsiteX1013" fmla="*/ 6691 w 10785"/>
                  <a:gd name="connsiteY1013" fmla="*/ 2581 h 10000"/>
                  <a:gd name="connsiteX1014" fmla="*/ 6696 w 10785"/>
                  <a:gd name="connsiteY1014" fmla="*/ 2530 h 10000"/>
                  <a:gd name="connsiteX1015" fmla="*/ 6677 w 10785"/>
                  <a:gd name="connsiteY1015" fmla="*/ 2513 h 10000"/>
                  <a:gd name="connsiteX1016" fmla="*/ 6677 w 10785"/>
                  <a:gd name="connsiteY1016" fmla="*/ 2496 h 10000"/>
                  <a:gd name="connsiteX1017" fmla="*/ 6682 w 10785"/>
                  <a:gd name="connsiteY1017" fmla="*/ 2470 h 10000"/>
                  <a:gd name="connsiteX1018" fmla="*/ 6668 w 10785"/>
                  <a:gd name="connsiteY1018" fmla="*/ 2462 h 10000"/>
                  <a:gd name="connsiteX1019" fmla="*/ 6677 w 10785"/>
                  <a:gd name="connsiteY1019" fmla="*/ 2436 h 10000"/>
                  <a:gd name="connsiteX1020" fmla="*/ 6682 w 10785"/>
                  <a:gd name="connsiteY1020" fmla="*/ 2419 h 10000"/>
                  <a:gd name="connsiteX1021" fmla="*/ 6682 w 10785"/>
                  <a:gd name="connsiteY1021" fmla="*/ 2393 h 10000"/>
                  <a:gd name="connsiteX1022" fmla="*/ 6682 w 10785"/>
                  <a:gd name="connsiteY1022" fmla="*/ 2385 h 10000"/>
                  <a:gd name="connsiteX1023" fmla="*/ 6682 w 10785"/>
                  <a:gd name="connsiteY1023" fmla="*/ 2385 h 10000"/>
                  <a:gd name="connsiteX1024" fmla="*/ 6677 w 10785"/>
                  <a:gd name="connsiteY1024" fmla="*/ 2376 h 10000"/>
                  <a:gd name="connsiteX1025" fmla="*/ 6682 w 10785"/>
                  <a:gd name="connsiteY1025" fmla="*/ 2359 h 10000"/>
                  <a:gd name="connsiteX1026" fmla="*/ 6677 w 10785"/>
                  <a:gd name="connsiteY1026" fmla="*/ 2333 h 10000"/>
                  <a:gd name="connsiteX1027" fmla="*/ 6691 w 10785"/>
                  <a:gd name="connsiteY1027" fmla="*/ 2333 h 10000"/>
                  <a:gd name="connsiteX1028" fmla="*/ 6691 w 10785"/>
                  <a:gd name="connsiteY1028" fmla="*/ 2325 h 10000"/>
                  <a:gd name="connsiteX1029" fmla="*/ 6691 w 10785"/>
                  <a:gd name="connsiteY1029" fmla="*/ 2308 h 10000"/>
                  <a:gd name="connsiteX1030" fmla="*/ 6691 w 10785"/>
                  <a:gd name="connsiteY1030" fmla="*/ 2299 h 10000"/>
                  <a:gd name="connsiteX1031" fmla="*/ 6691 w 10785"/>
                  <a:gd name="connsiteY1031" fmla="*/ 2282 h 10000"/>
                  <a:gd name="connsiteX1032" fmla="*/ 6691 w 10785"/>
                  <a:gd name="connsiteY1032" fmla="*/ 2274 h 10000"/>
                  <a:gd name="connsiteX1033" fmla="*/ 6668 w 10785"/>
                  <a:gd name="connsiteY1033" fmla="*/ 2248 h 10000"/>
                  <a:gd name="connsiteX1034" fmla="*/ 6664 w 10785"/>
                  <a:gd name="connsiteY1034" fmla="*/ 2222 h 10000"/>
                  <a:gd name="connsiteX1035" fmla="*/ 6654 w 10785"/>
                  <a:gd name="connsiteY1035" fmla="*/ 2214 h 10000"/>
                  <a:gd name="connsiteX1036" fmla="*/ 6654 w 10785"/>
                  <a:gd name="connsiteY1036" fmla="*/ 2188 h 10000"/>
                  <a:gd name="connsiteX1037" fmla="*/ 6622 w 10785"/>
                  <a:gd name="connsiteY1037" fmla="*/ 2162 h 10000"/>
                  <a:gd name="connsiteX1038" fmla="*/ 6631 w 10785"/>
                  <a:gd name="connsiteY1038" fmla="*/ 2145 h 10000"/>
                  <a:gd name="connsiteX1039" fmla="*/ 6622 w 10785"/>
                  <a:gd name="connsiteY1039" fmla="*/ 2120 h 10000"/>
                  <a:gd name="connsiteX1040" fmla="*/ 6608 w 10785"/>
                  <a:gd name="connsiteY1040" fmla="*/ 2120 h 10000"/>
                  <a:gd name="connsiteX1041" fmla="*/ 6604 w 10785"/>
                  <a:gd name="connsiteY1041" fmla="*/ 2111 h 10000"/>
                  <a:gd name="connsiteX1042" fmla="*/ 6608 w 10785"/>
                  <a:gd name="connsiteY1042" fmla="*/ 2111 h 10000"/>
                  <a:gd name="connsiteX1043" fmla="*/ 6604 w 10785"/>
                  <a:gd name="connsiteY1043" fmla="*/ 2085 h 10000"/>
                  <a:gd name="connsiteX1044" fmla="*/ 6581 w 10785"/>
                  <a:gd name="connsiteY1044" fmla="*/ 2077 h 10000"/>
                  <a:gd name="connsiteX1045" fmla="*/ 6571 w 10785"/>
                  <a:gd name="connsiteY1045" fmla="*/ 2085 h 10000"/>
                  <a:gd name="connsiteX1046" fmla="*/ 6548 w 10785"/>
                  <a:gd name="connsiteY1046" fmla="*/ 2077 h 10000"/>
                  <a:gd name="connsiteX1047" fmla="*/ 6530 w 10785"/>
                  <a:gd name="connsiteY1047" fmla="*/ 2060 h 10000"/>
                  <a:gd name="connsiteX1048" fmla="*/ 6521 w 10785"/>
                  <a:gd name="connsiteY1048" fmla="*/ 2060 h 10000"/>
                  <a:gd name="connsiteX1049" fmla="*/ 6521 w 10785"/>
                  <a:gd name="connsiteY1049" fmla="*/ 2085 h 10000"/>
                  <a:gd name="connsiteX1050" fmla="*/ 6516 w 10785"/>
                  <a:gd name="connsiteY1050" fmla="*/ 2085 h 10000"/>
                  <a:gd name="connsiteX1051" fmla="*/ 6502 w 10785"/>
                  <a:gd name="connsiteY1051" fmla="*/ 2111 h 10000"/>
                  <a:gd name="connsiteX1052" fmla="*/ 6498 w 10785"/>
                  <a:gd name="connsiteY1052" fmla="*/ 2111 h 10000"/>
                  <a:gd name="connsiteX1053" fmla="*/ 6498 w 10785"/>
                  <a:gd name="connsiteY1053" fmla="*/ 2103 h 10000"/>
                  <a:gd name="connsiteX1054" fmla="*/ 6475 w 10785"/>
                  <a:gd name="connsiteY1054" fmla="*/ 2051 h 10000"/>
                  <a:gd name="connsiteX1055" fmla="*/ 6470 w 10785"/>
                  <a:gd name="connsiteY1055" fmla="*/ 2060 h 10000"/>
                  <a:gd name="connsiteX1056" fmla="*/ 6456 w 10785"/>
                  <a:gd name="connsiteY1056" fmla="*/ 2051 h 10000"/>
                  <a:gd name="connsiteX1057" fmla="*/ 6447 w 10785"/>
                  <a:gd name="connsiteY1057" fmla="*/ 2051 h 10000"/>
                  <a:gd name="connsiteX1058" fmla="*/ 6433 w 10785"/>
                  <a:gd name="connsiteY1058" fmla="*/ 2026 h 10000"/>
                  <a:gd name="connsiteX1059" fmla="*/ 6433 w 10785"/>
                  <a:gd name="connsiteY1059" fmla="*/ 2034 h 10000"/>
                  <a:gd name="connsiteX1060" fmla="*/ 6429 w 10785"/>
                  <a:gd name="connsiteY1060" fmla="*/ 2026 h 10000"/>
                  <a:gd name="connsiteX1061" fmla="*/ 6424 w 10785"/>
                  <a:gd name="connsiteY1061" fmla="*/ 2034 h 10000"/>
                  <a:gd name="connsiteX1062" fmla="*/ 6410 w 10785"/>
                  <a:gd name="connsiteY1062" fmla="*/ 2026 h 10000"/>
                  <a:gd name="connsiteX1063" fmla="*/ 6410 w 10785"/>
                  <a:gd name="connsiteY1063" fmla="*/ 1991 h 10000"/>
                  <a:gd name="connsiteX1064" fmla="*/ 6401 w 10785"/>
                  <a:gd name="connsiteY1064" fmla="*/ 1991 h 10000"/>
                  <a:gd name="connsiteX1065" fmla="*/ 6396 w 10785"/>
                  <a:gd name="connsiteY1065" fmla="*/ 2000 h 10000"/>
                  <a:gd name="connsiteX1066" fmla="*/ 6382 w 10785"/>
                  <a:gd name="connsiteY1066" fmla="*/ 1966 h 10000"/>
                  <a:gd name="connsiteX1067" fmla="*/ 6373 w 10785"/>
                  <a:gd name="connsiteY1067" fmla="*/ 1974 h 10000"/>
                  <a:gd name="connsiteX1068" fmla="*/ 6369 w 10785"/>
                  <a:gd name="connsiteY1068" fmla="*/ 1966 h 10000"/>
                  <a:gd name="connsiteX1069" fmla="*/ 6341 w 10785"/>
                  <a:gd name="connsiteY1069" fmla="*/ 1949 h 10000"/>
                  <a:gd name="connsiteX1070" fmla="*/ 6327 w 10785"/>
                  <a:gd name="connsiteY1070" fmla="*/ 1923 h 10000"/>
                  <a:gd name="connsiteX1071" fmla="*/ 6323 w 10785"/>
                  <a:gd name="connsiteY1071" fmla="*/ 1923 h 10000"/>
                  <a:gd name="connsiteX1072" fmla="*/ 6323 w 10785"/>
                  <a:gd name="connsiteY1072" fmla="*/ 1966 h 10000"/>
                  <a:gd name="connsiteX1073" fmla="*/ 6323 w 10785"/>
                  <a:gd name="connsiteY1073" fmla="*/ 1991 h 10000"/>
                  <a:gd name="connsiteX1074" fmla="*/ 6313 w 10785"/>
                  <a:gd name="connsiteY1074" fmla="*/ 1991 h 10000"/>
                  <a:gd name="connsiteX1075" fmla="*/ 6300 w 10785"/>
                  <a:gd name="connsiteY1075" fmla="*/ 1991 h 10000"/>
                  <a:gd name="connsiteX1076" fmla="*/ 6290 w 10785"/>
                  <a:gd name="connsiteY1076" fmla="*/ 1949 h 10000"/>
                  <a:gd name="connsiteX1077" fmla="*/ 6276 w 10785"/>
                  <a:gd name="connsiteY1077" fmla="*/ 2103 h 10000"/>
                  <a:gd name="connsiteX1078" fmla="*/ 6281 w 10785"/>
                  <a:gd name="connsiteY1078" fmla="*/ 2103 h 10000"/>
                  <a:gd name="connsiteX1079" fmla="*/ 6276 w 10785"/>
                  <a:gd name="connsiteY1079" fmla="*/ 2111 h 10000"/>
                  <a:gd name="connsiteX1080" fmla="*/ 6276 w 10785"/>
                  <a:gd name="connsiteY1080" fmla="*/ 2120 h 10000"/>
                  <a:gd name="connsiteX1081" fmla="*/ 6295 w 10785"/>
                  <a:gd name="connsiteY1081" fmla="*/ 2239 h 10000"/>
                  <a:gd name="connsiteX1082" fmla="*/ 6290 w 10785"/>
                  <a:gd name="connsiteY1082" fmla="*/ 2248 h 10000"/>
                  <a:gd name="connsiteX1083" fmla="*/ 6281 w 10785"/>
                  <a:gd name="connsiteY1083" fmla="*/ 2274 h 10000"/>
                  <a:gd name="connsiteX1084" fmla="*/ 6249 w 10785"/>
                  <a:gd name="connsiteY1084" fmla="*/ 2274 h 10000"/>
                  <a:gd name="connsiteX1085" fmla="*/ 6226 w 10785"/>
                  <a:gd name="connsiteY1085" fmla="*/ 2308 h 10000"/>
                  <a:gd name="connsiteX1086" fmla="*/ 6221 w 10785"/>
                  <a:gd name="connsiteY1086" fmla="*/ 2299 h 10000"/>
                  <a:gd name="connsiteX1087" fmla="*/ 6221 w 10785"/>
                  <a:gd name="connsiteY1087" fmla="*/ 2308 h 10000"/>
                  <a:gd name="connsiteX1088" fmla="*/ 6217 w 10785"/>
                  <a:gd name="connsiteY1088" fmla="*/ 2299 h 10000"/>
                  <a:gd name="connsiteX1089" fmla="*/ 6194 w 10785"/>
                  <a:gd name="connsiteY1089" fmla="*/ 2308 h 10000"/>
                  <a:gd name="connsiteX1090" fmla="*/ 6180 w 10785"/>
                  <a:gd name="connsiteY1090" fmla="*/ 2299 h 10000"/>
                  <a:gd name="connsiteX1091" fmla="*/ 6143 w 10785"/>
                  <a:gd name="connsiteY1091" fmla="*/ 2308 h 10000"/>
                  <a:gd name="connsiteX1092" fmla="*/ 6134 w 10785"/>
                  <a:gd name="connsiteY1092" fmla="*/ 2325 h 10000"/>
                  <a:gd name="connsiteX1093" fmla="*/ 6115 w 10785"/>
                  <a:gd name="connsiteY1093" fmla="*/ 2282 h 10000"/>
                  <a:gd name="connsiteX1094" fmla="*/ 6069 w 10785"/>
                  <a:gd name="connsiteY1094" fmla="*/ 2274 h 10000"/>
                  <a:gd name="connsiteX1095" fmla="*/ 6069 w 10785"/>
                  <a:gd name="connsiteY1095" fmla="*/ 2282 h 10000"/>
                  <a:gd name="connsiteX1096" fmla="*/ 6060 w 10785"/>
                  <a:gd name="connsiteY1096" fmla="*/ 2299 h 10000"/>
                  <a:gd name="connsiteX1097" fmla="*/ 5972 w 10785"/>
                  <a:gd name="connsiteY1097" fmla="*/ 2214 h 10000"/>
                  <a:gd name="connsiteX1098" fmla="*/ 5968 w 10785"/>
                  <a:gd name="connsiteY1098" fmla="*/ 2197 h 10000"/>
                  <a:gd name="connsiteX1099" fmla="*/ 5968 w 10785"/>
                  <a:gd name="connsiteY1099" fmla="*/ 2171 h 10000"/>
                  <a:gd name="connsiteX1100" fmla="*/ 5968 w 10785"/>
                  <a:gd name="connsiteY1100" fmla="*/ 2162 h 10000"/>
                  <a:gd name="connsiteX1101" fmla="*/ 5968 w 10785"/>
                  <a:gd name="connsiteY1101" fmla="*/ 2120 h 10000"/>
                  <a:gd name="connsiteX1102" fmla="*/ 5968 w 10785"/>
                  <a:gd name="connsiteY1102" fmla="*/ 2111 h 10000"/>
                  <a:gd name="connsiteX1103" fmla="*/ 5972 w 10785"/>
                  <a:gd name="connsiteY1103" fmla="*/ 2103 h 10000"/>
                  <a:gd name="connsiteX1104" fmla="*/ 5986 w 10785"/>
                  <a:gd name="connsiteY1104" fmla="*/ 2103 h 10000"/>
                  <a:gd name="connsiteX1105" fmla="*/ 5986 w 10785"/>
                  <a:gd name="connsiteY1105" fmla="*/ 2085 h 10000"/>
                  <a:gd name="connsiteX1106" fmla="*/ 5995 w 10785"/>
                  <a:gd name="connsiteY1106" fmla="*/ 2085 h 10000"/>
                  <a:gd name="connsiteX1107" fmla="*/ 5995 w 10785"/>
                  <a:gd name="connsiteY1107" fmla="*/ 2077 h 10000"/>
                  <a:gd name="connsiteX1108" fmla="*/ 5986 w 10785"/>
                  <a:gd name="connsiteY1108" fmla="*/ 2060 h 10000"/>
                  <a:gd name="connsiteX1109" fmla="*/ 5954 w 10785"/>
                  <a:gd name="connsiteY1109" fmla="*/ 2060 h 10000"/>
                  <a:gd name="connsiteX1110" fmla="*/ 5940 w 10785"/>
                  <a:gd name="connsiteY1110" fmla="*/ 2051 h 10000"/>
                  <a:gd name="connsiteX1111" fmla="*/ 5922 w 10785"/>
                  <a:gd name="connsiteY1111" fmla="*/ 2060 h 10000"/>
                  <a:gd name="connsiteX1112" fmla="*/ 5885 w 10785"/>
                  <a:gd name="connsiteY1112" fmla="*/ 2051 h 10000"/>
                  <a:gd name="connsiteX1113" fmla="*/ 5876 w 10785"/>
                  <a:gd name="connsiteY1113" fmla="*/ 2026 h 10000"/>
                  <a:gd name="connsiteX1114" fmla="*/ 5862 w 10785"/>
                  <a:gd name="connsiteY1114" fmla="*/ 2026 h 10000"/>
                  <a:gd name="connsiteX1115" fmla="*/ 5848 w 10785"/>
                  <a:gd name="connsiteY1115" fmla="*/ 2026 h 10000"/>
                  <a:gd name="connsiteX1116" fmla="*/ 5825 w 10785"/>
                  <a:gd name="connsiteY1116" fmla="*/ 2026 h 10000"/>
                  <a:gd name="connsiteX1117" fmla="*/ 5788 w 10785"/>
                  <a:gd name="connsiteY1117" fmla="*/ 1991 h 10000"/>
                  <a:gd name="connsiteX1118" fmla="*/ 5760 w 10785"/>
                  <a:gd name="connsiteY1118" fmla="*/ 2000 h 10000"/>
                  <a:gd name="connsiteX1119" fmla="*/ 5760 w 10785"/>
                  <a:gd name="connsiteY1119" fmla="*/ 2026 h 10000"/>
                  <a:gd name="connsiteX1120" fmla="*/ 5714 w 10785"/>
                  <a:gd name="connsiteY1120" fmla="*/ 2051 h 10000"/>
                  <a:gd name="connsiteX1121" fmla="*/ 5687 w 10785"/>
                  <a:gd name="connsiteY1121" fmla="*/ 2034 h 10000"/>
                  <a:gd name="connsiteX1122" fmla="*/ 5645 w 10785"/>
                  <a:gd name="connsiteY1122" fmla="*/ 2077 h 10000"/>
                  <a:gd name="connsiteX1123" fmla="*/ 5664 w 10785"/>
                  <a:gd name="connsiteY1123" fmla="*/ 2120 h 10000"/>
                  <a:gd name="connsiteX1124" fmla="*/ 5664 w 10785"/>
                  <a:gd name="connsiteY1124" fmla="*/ 2162 h 10000"/>
                  <a:gd name="connsiteX1125" fmla="*/ 5631 w 10785"/>
                  <a:gd name="connsiteY1125" fmla="*/ 2197 h 10000"/>
                  <a:gd name="connsiteX1126" fmla="*/ 5618 w 10785"/>
                  <a:gd name="connsiteY1126" fmla="*/ 2188 h 10000"/>
                  <a:gd name="connsiteX1127" fmla="*/ 5618 w 10785"/>
                  <a:gd name="connsiteY1127" fmla="*/ 2171 h 10000"/>
                  <a:gd name="connsiteX1128" fmla="*/ 5641 w 10785"/>
                  <a:gd name="connsiteY1128" fmla="*/ 2171 h 10000"/>
                  <a:gd name="connsiteX1129" fmla="*/ 5641 w 10785"/>
                  <a:gd name="connsiteY1129" fmla="*/ 2162 h 10000"/>
                  <a:gd name="connsiteX1130" fmla="*/ 5627 w 10785"/>
                  <a:gd name="connsiteY1130" fmla="*/ 2145 h 10000"/>
                  <a:gd name="connsiteX1131" fmla="*/ 5627 w 10785"/>
                  <a:gd name="connsiteY1131" fmla="*/ 2120 h 10000"/>
                  <a:gd name="connsiteX1132" fmla="*/ 5618 w 10785"/>
                  <a:gd name="connsiteY1132" fmla="*/ 2111 h 10000"/>
                  <a:gd name="connsiteX1133" fmla="*/ 5631 w 10785"/>
                  <a:gd name="connsiteY1133" fmla="*/ 2051 h 10000"/>
                  <a:gd name="connsiteX1134" fmla="*/ 5631 w 10785"/>
                  <a:gd name="connsiteY1134" fmla="*/ 2026 h 10000"/>
                  <a:gd name="connsiteX1135" fmla="*/ 5627 w 10785"/>
                  <a:gd name="connsiteY1135" fmla="*/ 1991 h 10000"/>
                  <a:gd name="connsiteX1136" fmla="*/ 5618 w 10785"/>
                  <a:gd name="connsiteY1136" fmla="*/ 1974 h 10000"/>
                  <a:gd name="connsiteX1137" fmla="*/ 5618 w 10785"/>
                  <a:gd name="connsiteY1137" fmla="*/ 1940 h 10000"/>
                  <a:gd name="connsiteX1138" fmla="*/ 5594 w 10785"/>
                  <a:gd name="connsiteY1138" fmla="*/ 1855 h 10000"/>
                  <a:gd name="connsiteX1139" fmla="*/ 5599 w 10785"/>
                  <a:gd name="connsiteY1139" fmla="*/ 1915 h 10000"/>
                  <a:gd name="connsiteX1140" fmla="*/ 5599 w 10785"/>
                  <a:gd name="connsiteY1140" fmla="*/ 1949 h 10000"/>
                  <a:gd name="connsiteX1141" fmla="*/ 5594 w 10785"/>
                  <a:gd name="connsiteY1141" fmla="*/ 1991 h 10000"/>
                  <a:gd name="connsiteX1142" fmla="*/ 5571 w 10785"/>
                  <a:gd name="connsiteY1142" fmla="*/ 2000 h 10000"/>
                  <a:gd name="connsiteX1143" fmla="*/ 5530 w 10785"/>
                  <a:gd name="connsiteY1143" fmla="*/ 1991 h 10000"/>
                  <a:gd name="connsiteX1144" fmla="*/ 5525 w 10785"/>
                  <a:gd name="connsiteY1144" fmla="*/ 2000 h 10000"/>
                  <a:gd name="connsiteX1145" fmla="*/ 5521 w 10785"/>
                  <a:gd name="connsiteY1145" fmla="*/ 1991 h 10000"/>
                  <a:gd name="connsiteX1146" fmla="*/ 5498 w 10785"/>
                  <a:gd name="connsiteY1146" fmla="*/ 1949 h 10000"/>
                  <a:gd name="connsiteX1147" fmla="*/ 5493 w 10785"/>
                  <a:gd name="connsiteY1147" fmla="*/ 1889 h 10000"/>
                  <a:gd name="connsiteX1148" fmla="*/ 5493 w 10785"/>
                  <a:gd name="connsiteY1148" fmla="*/ 1863 h 10000"/>
                  <a:gd name="connsiteX1149" fmla="*/ 5498 w 10785"/>
                  <a:gd name="connsiteY1149" fmla="*/ 1889 h 10000"/>
                  <a:gd name="connsiteX1150" fmla="*/ 5512 w 10785"/>
                  <a:gd name="connsiteY1150" fmla="*/ 1855 h 10000"/>
                  <a:gd name="connsiteX1151" fmla="*/ 5512 w 10785"/>
                  <a:gd name="connsiteY1151" fmla="*/ 1838 h 10000"/>
                  <a:gd name="connsiteX1152" fmla="*/ 5479 w 10785"/>
                  <a:gd name="connsiteY1152" fmla="*/ 1855 h 10000"/>
                  <a:gd name="connsiteX1153" fmla="*/ 5470 w 10785"/>
                  <a:gd name="connsiteY1153" fmla="*/ 1872 h 10000"/>
                  <a:gd name="connsiteX1154" fmla="*/ 5470 w 10785"/>
                  <a:gd name="connsiteY1154" fmla="*/ 1889 h 10000"/>
                  <a:gd name="connsiteX1155" fmla="*/ 5465 w 10785"/>
                  <a:gd name="connsiteY1155" fmla="*/ 1897 h 10000"/>
                  <a:gd name="connsiteX1156" fmla="*/ 5456 w 10785"/>
                  <a:gd name="connsiteY1156" fmla="*/ 1872 h 10000"/>
                  <a:gd name="connsiteX1157" fmla="*/ 5447 w 10785"/>
                  <a:gd name="connsiteY1157" fmla="*/ 1872 h 10000"/>
                  <a:gd name="connsiteX1158" fmla="*/ 5433 w 10785"/>
                  <a:gd name="connsiteY1158" fmla="*/ 1855 h 10000"/>
                  <a:gd name="connsiteX1159" fmla="*/ 5396 w 10785"/>
                  <a:gd name="connsiteY1159" fmla="*/ 1863 h 10000"/>
                  <a:gd name="connsiteX1160" fmla="*/ 5396 w 10785"/>
                  <a:gd name="connsiteY1160" fmla="*/ 1897 h 10000"/>
                  <a:gd name="connsiteX1161" fmla="*/ 5378 w 10785"/>
                  <a:gd name="connsiteY1161" fmla="*/ 1949 h 10000"/>
                  <a:gd name="connsiteX1162" fmla="*/ 5378 w 10785"/>
                  <a:gd name="connsiteY1162" fmla="*/ 1966 h 10000"/>
                  <a:gd name="connsiteX1163" fmla="*/ 5392 w 10785"/>
                  <a:gd name="connsiteY1163" fmla="*/ 2026 h 10000"/>
                  <a:gd name="connsiteX1164" fmla="*/ 5396 w 10785"/>
                  <a:gd name="connsiteY1164" fmla="*/ 2026 h 10000"/>
                  <a:gd name="connsiteX1165" fmla="*/ 5392 w 10785"/>
                  <a:gd name="connsiteY1165" fmla="*/ 2009 h 10000"/>
                  <a:gd name="connsiteX1166" fmla="*/ 5392 w 10785"/>
                  <a:gd name="connsiteY1166" fmla="*/ 2000 h 10000"/>
                  <a:gd name="connsiteX1167" fmla="*/ 5396 w 10785"/>
                  <a:gd name="connsiteY1167" fmla="*/ 2009 h 10000"/>
                  <a:gd name="connsiteX1168" fmla="*/ 5424 w 10785"/>
                  <a:gd name="connsiteY1168" fmla="*/ 2009 h 10000"/>
                  <a:gd name="connsiteX1169" fmla="*/ 5433 w 10785"/>
                  <a:gd name="connsiteY1169" fmla="*/ 1991 h 10000"/>
                  <a:gd name="connsiteX1170" fmla="*/ 5447 w 10785"/>
                  <a:gd name="connsiteY1170" fmla="*/ 1974 h 10000"/>
                  <a:gd name="connsiteX1171" fmla="*/ 5452 w 10785"/>
                  <a:gd name="connsiteY1171" fmla="*/ 1966 h 10000"/>
                  <a:gd name="connsiteX1172" fmla="*/ 5456 w 10785"/>
                  <a:gd name="connsiteY1172" fmla="*/ 1966 h 10000"/>
                  <a:gd name="connsiteX1173" fmla="*/ 5465 w 10785"/>
                  <a:gd name="connsiteY1173" fmla="*/ 2009 h 10000"/>
                  <a:gd name="connsiteX1174" fmla="*/ 5433 w 10785"/>
                  <a:gd name="connsiteY1174" fmla="*/ 2034 h 10000"/>
                  <a:gd name="connsiteX1175" fmla="*/ 5424 w 10785"/>
                  <a:gd name="connsiteY1175" fmla="*/ 2060 h 10000"/>
                  <a:gd name="connsiteX1176" fmla="*/ 5419 w 10785"/>
                  <a:gd name="connsiteY1176" fmla="*/ 2060 h 10000"/>
                  <a:gd name="connsiteX1177" fmla="*/ 5392 w 10785"/>
                  <a:gd name="connsiteY1177" fmla="*/ 2111 h 10000"/>
                  <a:gd name="connsiteX1178" fmla="*/ 5378 w 10785"/>
                  <a:gd name="connsiteY1178" fmla="*/ 2111 h 10000"/>
                  <a:gd name="connsiteX1179" fmla="*/ 5350 w 10785"/>
                  <a:gd name="connsiteY1179" fmla="*/ 2060 h 10000"/>
                  <a:gd name="connsiteX1180" fmla="*/ 5373 w 10785"/>
                  <a:gd name="connsiteY1180" fmla="*/ 2111 h 10000"/>
                  <a:gd name="connsiteX1181" fmla="*/ 5364 w 10785"/>
                  <a:gd name="connsiteY1181" fmla="*/ 2111 h 10000"/>
                  <a:gd name="connsiteX1182" fmla="*/ 5359 w 10785"/>
                  <a:gd name="connsiteY1182" fmla="*/ 2103 h 10000"/>
                  <a:gd name="connsiteX1183" fmla="*/ 5359 w 10785"/>
                  <a:gd name="connsiteY1183" fmla="*/ 2120 h 10000"/>
                  <a:gd name="connsiteX1184" fmla="*/ 5359 w 10785"/>
                  <a:gd name="connsiteY1184" fmla="*/ 2137 h 10000"/>
                  <a:gd name="connsiteX1185" fmla="*/ 5313 w 10785"/>
                  <a:gd name="connsiteY1185" fmla="*/ 2162 h 10000"/>
                  <a:gd name="connsiteX1186" fmla="*/ 5300 w 10785"/>
                  <a:gd name="connsiteY1186" fmla="*/ 2162 h 10000"/>
                  <a:gd name="connsiteX1187" fmla="*/ 5300 w 10785"/>
                  <a:gd name="connsiteY1187" fmla="*/ 2171 h 10000"/>
                  <a:gd name="connsiteX1188" fmla="*/ 5300 w 10785"/>
                  <a:gd name="connsiteY1188" fmla="*/ 2197 h 10000"/>
                  <a:gd name="connsiteX1189" fmla="*/ 5276 w 10785"/>
                  <a:gd name="connsiteY1189" fmla="*/ 2188 h 10000"/>
                  <a:gd name="connsiteX1190" fmla="*/ 5249 w 10785"/>
                  <a:gd name="connsiteY1190" fmla="*/ 2222 h 10000"/>
                  <a:gd name="connsiteX1191" fmla="*/ 5249 w 10785"/>
                  <a:gd name="connsiteY1191" fmla="*/ 2222 h 10000"/>
                  <a:gd name="connsiteX1192" fmla="*/ 5217 w 10785"/>
                  <a:gd name="connsiteY1192" fmla="*/ 2214 h 10000"/>
                  <a:gd name="connsiteX1193" fmla="*/ 5203 w 10785"/>
                  <a:gd name="connsiteY1193" fmla="*/ 2239 h 10000"/>
                  <a:gd name="connsiteX1194" fmla="*/ 5171 w 10785"/>
                  <a:gd name="connsiteY1194" fmla="*/ 2214 h 10000"/>
                  <a:gd name="connsiteX1195" fmla="*/ 5157 w 10785"/>
                  <a:gd name="connsiteY1195" fmla="*/ 2239 h 10000"/>
                  <a:gd name="connsiteX1196" fmla="*/ 5166 w 10785"/>
                  <a:gd name="connsiteY1196" fmla="*/ 2256 h 10000"/>
                  <a:gd name="connsiteX1197" fmla="*/ 5171 w 10785"/>
                  <a:gd name="connsiteY1197" fmla="*/ 2308 h 10000"/>
                  <a:gd name="connsiteX1198" fmla="*/ 5212 w 10785"/>
                  <a:gd name="connsiteY1198" fmla="*/ 2350 h 10000"/>
                  <a:gd name="connsiteX1199" fmla="*/ 5203 w 10785"/>
                  <a:gd name="connsiteY1199" fmla="*/ 2350 h 10000"/>
                  <a:gd name="connsiteX1200" fmla="*/ 5166 w 10785"/>
                  <a:gd name="connsiteY1200" fmla="*/ 2325 h 10000"/>
                  <a:gd name="connsiteX1201" fmla="*/ 5152 w 10785"/>
                  <a:gd name="connsiteY1201" fmla="*/ 2308 h 10000"/>
                  <a:gd name="connsiteX1202" fmla="*/ 5143 w 10785"/>
                  <a:gd name="connsiteY1202" fmla="*/ 2333 h 10000"/>
                  <a:gd name="connsiteX1203" fmla="*/ 5138 w 10785"/>
                  <a:gd name="connsiteY1203" fmla="*/ 2333 h 10000"/>
                  <a:gd name="connsiteX1204" fmla="*/ 5124 w 10785"/>
                  <a:gd name="connsiteY1204" fmla="*/ 2376 h 10000"/>
                  <a:gd name="connsiteX1205" fmla="*/ 5115 w 10785"/>
                  <a:gd name="connsiteY1205" fmla="*/ 2385 h 10000"/>
                  <a:gd name="connsiteX1206" fmla="*/ 5106 w 10785"/>
                  <a:gd name="connsiteY1206" fmla="*/ 2385 h 10000"/>
                  <a:gd name="connsiteX1207" fmla="*/ 5055 w 10785"/>
                  <a:gd name="connsiteY1207" fmla="*/ 2470 h 10000"/>
                  <a:gd name="connsiteX1208" fmla="*/ 5065 w 10785"/>
                  <a:gd name="connsiteY1208" fmla="*/ 2462 h 10000"/>
                  <a:gd name="connsiteX1209" fmla="*/ 5055 w 10785"/>
                  <a:gd name="connsiteY1209" fmla="*/ 2444 h 10000"/>
                  <a:gd name="connsiteX1210" fmla="*/ 5041 w 10785"/>
                  <a:gd name="connsiteY1210" fmla="*/ 2462 h 10000"/>
                  <a:gd name="connsiteX1211" fmla="*/ 5037 w 10785"/>
                  <a:gd name="connsiteY1211" fmla="*/ 2470 h 10000"/>
                  <a:gd name="connsiteX1212" fmla="*/ 5032 w 10785"/>
                  <a:gd name="connsiteY1212" fmla="*/ 2470 h 10000"/>
                  <a:gd name="connsiteX1213" fmla="*/ 5032 w 10785"/>
                  <a:gd name="connsiteY1213" fmla="*/ 2444 h 10000"/>
                  <a:gd name="connsiteX1214" fmla="*/ 5055 w 10785"/>
                  <a:gd name="connsiteY1214" fmla="*/ 2410 h 10000"/>
                  <a:gd name="connsiteX1215" fmla="*/ 5065 w 10785"/>
                  <a:gd name="connsiteY1215" fmla="*/ 2393 h 10000"/>
                  <a:gd name="connsiteX1216" fmla="*/ 5069 w 10785"/>
                  <a:gd name="connsiteY1216" fmla="*/ 2385 h 10000"/>
                  <a:gd name="connsiteX1217" fmla="*/ 5083 w 10785"/>
                  <a:gd name="connsiteY1217" fmla="*/ 2376 h 10000"/>
                  <a:gd name="connsiteX1218" fmla="*/ 5097 w 10785"/>
                  <a:gd name="connsiteY1218" fmla="*/ 2376 h 10000"/>
                  <a:gd name="connsiteX1219" fmla="*/ 5124 w 10785"/>
                  <a:gd name="connsiteY1219" fmla="*/ 2325 h 10000"/>
                  <a:gd name="connsiteX1220" fmla="*/ 5143 w 10785"/>
                  <a:gd name="connsiteY1220" fmla="*/ 2248 h 10000"/>
                  <a:gd name="connsiteX1221" fmla="*/ 5152 w 10785"/>
                  <a:gd name="connsiteY1221" fmla="*/ 2239 h 10000"/>
                  <a:gd name="connsiteX1222" fmla="*/ 5166 w 10785"/>
                  <a:gd name="connsiteY1222" fmla="*/ 2162 h 10000"/>
                  <a:gd name="connsiteX1223" fmla="*/ 5171 w 10785"/>
                  <a:gd name="connsiteY1223" fmla="*/ 2171 h 10000"/>
                  <a:gd name="connsiteX1224" fmla="*/ 5198 w 10785"/>
                  <a:gd name="connsiteY1224" fmla="*/ 2145 h 10000"/>
                  <a:gd name="connsiteX1225" fmla="*/ 5203 w 10785"/>
                  <a:gd name="connsiteY1225" fmla="*/ 2111 h 10000"/>
                  <a:gd name="connsiteX1226" fmla="*/ 5217 w 10785"/>
                  <a:gd name="connsiteY1226" fmla="*/ 2060 h 10000"/>
                  <a:gd name="connsiteX1227" fmla="*/ 5226 w 10785"/>
                  <a:gd name="connsiteY1227" fmla="*/ 2026 h 10000"/>
                  <a:gd name="connsiteX1228" fmla="*/ 5286 w 10785"/>
                  <a:gd name="connsiteY1228" fmla="*/ 2026 h 10000"/>
                  <a:gd name="connsiteX1229" fmla="*/ 5290 w 10785"/>
                  <a:gd name="connsiteY1229" fmla="*/ 2034 h 10000"/>
                  <a:gd name="connsiteX1230" fmla="*/ 5323 w 10785"/>
                  <a:gd name="connsiteY1230" fmla="*/ 1923 h 10000"/>
                  <a:gd name="connsiteX1231" fmla="*/ 5323 w 10785"/>
                  <a:gd name="connsiteY1231" fmla="*/ 1889 h 10000"/>
                  <a:gd name="connsiteX1232" fmla="*/ 5359 w 10785"/>
                  <a:gd name="connsiteY1232" fmla="*/ 1829 h 10000"/>
                  <a:gd name="connsiteX1233" fmla="*/ 5378 w 10785"/>
                  <a:gd name="connsiteY1233" fmla="*/ 1812 h 10000"/>
                  <a:gd name="connsiteX1234" fmla="*/ 5406 w 10785"/>
                  <a:gd name="connsiteY1234" fmla="*/ 1752 h 10000"/>
                  <a:gd name="connsiteX1235" fmla="*/ 5410 w 10785"/>
                  <a:gd name="connsiteY1235" fmla="*/ 1718 h 10000"/>
                  <a:gd name="connsiteX1236" fmla="*/ 5438 w 10785"/>
                  <a:gd name="connsiteY1236" fmla="*/ 1667 h 10000"/>
                  <a:gd name="connsiteX1237" fmla="*/ 5438 w 10785"/>
                  <a:gd name="connsiteY1237" fmla="*/ 1650 h 10000"/>
                  <a:gd name="connsiteX1238" fmla="*/ 5438 w 10785"/>
                  <a:gd name="connsiteY1238" fmla="*/ 1641 h 10000"/>
                  <a:gd name="connsiteX1239" fmla="*/ 5452 w 10785"/>
                  <a:gd name="connsiteY1239" fmla="*/ 1641 h 10000"/>
                  <a:gd name="connsiteX1240" fmla="*/ 5456 w 10785"/>
                  <a:gd name="connsiteY1240" fmla="*/ 1615 h 10000"/>
                  <a:gd name="connsiteX1241" fmla="*/ 5456 w 10785"/>
                  <a:gd name="connsiteY1241" fmla="*/ 1615 h 10000"/>
                  <a:gd name="connsiteX1242" fmla="*/ 5465 w 10785"/>
                  <a:gd name="connsiteY1242" fmla="*/ 1598 h 10000"/>
                  <a:gd name="connsiteX1243" fmla="*/ 5465 w 10785"/>
                  <a:gd name="connsiteY1243" fmla="*/ 1615 h 10000"/>
                  <a:gd name="connsiteX1244" fmla="*/ 5479 w 10785"/>
                  <a:gd name="connsiteY1244" fmla="*/ 1598 h 10000"/>
                  <a:gd name="connsiteX1245" fmla="*/ 5484 w 10785"/>
                  <a:gd name="connsiteY1245" fmla="*/ 1581 h 10000"/>
                  <a:gd name="connsiteX1246" fmla="*/ 5493 w 10785"/>
                  <a:gd name="connsiteY1246" fmla="*/ 1581 h 10000"/>
                  <a:gd name="connsiteX1247" fmla="*/ 5512 w 10785"/>
                  <a:gd name="connsiteY1247" fmla="*/ 1538 h 10000"/>
                  <a:gd name="connsiteX1248" fmla="*/ 5530 w 10785"/>
                  <a:gd name="connsiteY1248" fmla="*/ 1564 h 10000"/>
                  <a:gd name="connsiteX1249" fmla="*/ 5530 w 10785"/>
                  <a:gd name="connsiteY1249" fmla="*/ 1538 h 10000"/>
                  <a:gd name="connsiteX1250" fmla="*/ 5539 w 10785"/>
                  <a:gd name="connsiteY1250" fmla="*/ 1530 h 10000"/>
                  <a:gd name="connsiteX1251" fmla="*/ 5530 w 10785"/>
                  <a:gd name="connsiteY1251" fmla="*/ 1504 h 10000"/>
                  <a:gd name="connsiteX1252" fmla="*/ 5567 w 10785"/>
                  <a:gd name="connsiteY1252" fmla="*/ 1479 h 10000"/>
                  <a:gd name="connsiteX1253" fmla="*/ 5553 w 10785"/>
                  <a:gd name="connsiteY1253" fmla="*/ 1479 h 10000"/>
                  <a:gd name="connsiteX1254" fmla="*/ 5553 w 10785"/>
                  <a:gd name="connsiteY1254" fmla="*/ 1453 h 10000"/>
                  <a:gd name="connsiteX1255" fmla="*/ 5581 w 10785"/>
                  <a:gd name="connsiteY1255" fmla="*/ 1444 h 10000"/>
                  <a:gd name="connsiteX1256" fmla="*/ 5581 w 10785"/>
                  <a:gd name="connsiteY1256" fmla="*/ 1453 h 10000"/>
                  <a:gd name="connsiteX1257" fmla="*/ 5585 w 10785"/>
                  <a:gd name="connsiteY1257" fmla="*/ 1444 h 10000"/>
                  <a:gd name="connsiteX1258" fmla="*/ 5594 w 10785"/>
                  <a:gd name="connsiteY1258" fmla="*/ 1427 h 10000"/>
                  <a:gd name="connsiteX1259" fmla="*/ 5599 w 10785"/>
                  <a:gd name="connsiteY1259" fmla="*/ 1419 h 10000"/>
                  <a:gd name="connsiteX1260" fmla="*/ 5594 w 10785"/>
                  <a:gd name="connsiteY1260" fmla="*/ 1402 h 10000"/>
                  <a:gd name="connsiteX1261" fmla="*/ 5604 w 10785"/>
                  <a:gd name="connsiteY1261" fmla="*/ 1393 h 10000"/>
                  <a:gd name="connsiteX1262" fmla="*/ 5618 w 10785"/>
                  <a:gd name="connsiteY1262" fmla="*/ 1393 h 10000"/>
                  <a:gd name="connsiteX1263" fmla="*/ 5627 w 10785"/>
                  <a:gd name="connsiteY1263" fmla="*/ 1368 h 10000"/>
                  <a:gd name="connsiteX1264" fmla="*/ 5627 w 10785"/>
                  <a:gd name="connsiteY1264" fmla="*/ 1325 h 10000"/>
                  <a:gd name="connsiteX1265" fmla="*/ 5645 w 10785"/>
                  <a:gd name="connsiteY1265" fmla="*/ 1291 h 10000"/>
                  <a:gd name="connsiteX1266" fmla="*/ 5645 w 10785"/>
                  <a:gd name="connsiteY1266" fmla="*/ 1282 h 10000"/>
                  <a:gd name="connsiteX1267" fmla="*/ 5654 w 10785"/>
                  <a:gd name="connsiteY1267" fmla="*/ 1265 h 10000"/>
                  <a:gd name="connsiteX1268" fmla="*/ 5654 w 10785"/>
                  <a:gd name="connsiteY1268" fmla="*/ 1214 h 10000"/>
                  <a:gd name="connsiteX1269" fmla="*/ 5654 w 10785"/>
                  <a:gd name="connsiteY1269" fmla="*/ 1214 h 10000"/>
                  <a:gd name="connsiteX1270" fmla="*/ 5645 w 10785"/>
                  <a:gd name="connsiteY1270" fmla="*/ 1197 h 10000"/>
                  <a:gd name="connsiteX1271" fmla="*/ 5659 w 10785"/>
                  <a:gd name="connsiteY1271" fmla="*/ 1197 h 10000"/>
                  <a:gd name="connsiteX1272" fmla="*/ 5654 w 10785"/>
                  <a:gd name="connsiteY1272" fmla="*/ 1154 h 10000"/>
                  <a:gd name="connsiteX1273" fmla="*/ 5641 w 10785"/>
                  <a:gd name="connsiteY1273" fmla="*/ 1154 h 10000"/>
                  <a:gd name="connsiteX1274" fmla="*/ 5627 w 10785"/>
                  <a:gd name="connsiteY1274" fmla="*/ 1128 h 10000"/>
                  <a:gd name="connsiteX1275" fmla="*/ 5618 w 10785"/>
                  <a:gd name="connsiteY1275" fmla="*/ 1094 h 10000"/>
                  <a:gd name="connsiteX1276" fmla="*/ 5613 w 10785"/>
                  <a:gd name="connsiteY1276" fmla="*/ 1094 h 10000"/>
                  <a:gd name="connsiteX1277" fmla="*/ 5604 w 10785"/>
                  <a:gd name="connsiteY1277" fmla="*/ 1120 h 10000"/>
                  <a:gd name="connsiteX1278" fmla="*/ 5604 w 10785"/>
                  <a:gd name="connsiteY1278" fmla="*/ 1128 h 10000"/>
                  <a:gd name="connsiteX1279" fmla="*/ 5599 w 10785"/>
                  <a:gd name="connsiteY1279" fmla="*/ 1103 h 10000"/>
                  <a:gd name="connsiteX1280" fmla="*/ 5599 w 10785"/>
                  <a:gd name="connsiteY1280" fmla="*/ 1103 h 10000"/>
                  <a:gd name="connsiteX1281" fmla="*/ 5594 w 10785"/>
                  <a:gd name="connsiteY1281" fmla="*/ 1068 h 10000"/>
                  <a:gd name="connsiteX1282" fmla="*/ 5594 w 10785"/>
                  <a:gd name="connsiteY1282" fmla="*/ 1060 h 10000"/>
                  <a:gd name="connsiteX1283" fmla="*/ 5581 w 10785"/>
                  <a:gd name="connsiteY1283" fmla="*/ 1034 h 10000"/>
                  <a:gd name="connsiteX1284" fmla="*/ 5571 w 10785"/>
                  <a:gd name="connsiteY1284" fmla="*/ 1009 h 10000"/>
                  <a:gd name="connsiteX1285" fmla="*/ 5571 w 10785"/>
                  <a:gd name="connsiteY1285" fmla="*/ 991 h 10000"/>
                  <a:gd name="connsiteX1286" fmla="*/ 5585 w 10785"/>
                  <a:gd name="connsiteY1286" fmla="*/ 1009 h 10000"/>
                  <a:gd name="connsiteX1287" fmla="*/ 5604 w 10785"/>
                  <a:gd name="connsiteY1287" fmla="*/ 1043 h 10000"/>
                  <a:gd name="connsiteX1288" fmla="*/ 5641 w 10785"/>
                  <a:gd name="connsiteY1288" fmla="*/ 1094 h 10000"/>
                  <a:gd name="connsiteX1289" fmla="*/ 5631 w 10785"/>
                  <a:gd name="connsiteY1289" fmla="*/ 1128 h 10000"/>
                  <a:gd name="connsiteX1290" fmla="*/ 5641 w 10785"/>
                  <a:gd name="connsiteY1290" fmla="*/ 1128 h 10000"/>
                  <a:gd name="connsiteX1291" fmla="*/ 5659 w 10785"/>
                  <a:gd name="connsiteY1291" fmla="*/ 1017 h 10000"/>
                  <a:gd name="connsiteX1292" fmla="*/ 5659 w 10785"/>
                  <a:gd name="connsiteY1292" fmla="*/ 983 h 10000"/>
                  <a:gd name="connsiteX1293" fmla="*/ 5659 w 10785"/>
                  <a:gd name="connsiteY1293" fmla="*/ 957 h 10000"/>
                  <a:gd name="connsiteX1294" fmla="*/ 5654 w 10785"/>
                  <a:gd name="connsiteY1294" fmla="*/ 966 h 10000"/>
                  <a:gd name="connsiteX1295" fmla="*/ 5641 w 10785"/>
                  <a:gd name="connsiteY1295" fmla="*/ 957 h 10000"/>
                  <a:gd name="connsiteX1296" fmla="*/ 5631 w 10785"/>
                  <a:gd name="connsiteY1296" fmla="*/ 897 h 10000"/>
                  <a:gd name="connsiteX1297" fmla="*/ 5641 w 10785"/>
                  <a:gd name="connsiteY1297" fmla="*/ 872 h 10000"/>
                  <a:gd name="connsiteX1298" fmla="*/ 5618 w 10785"/>
                  <a:gd name="connsiteY1298" fmla="*/ 803 h 10000"/>
                  <a:gd name="connsiteX1299" fmla="*/ 5604 w 10785"/>
                  <a:gd name="connsiteY1299" fmla="*/ 821 h 10000"/>
                  <a:gd name="connsiteX1300" fmla="*/ 5613 w 10785"/>
                  <a:gd name="connsiteY1300" fmla="*/ 846 h 10000"/>
                  <a:gd name="connsiteX1301" fmla="*/ 5604 w 10785"/>
                  <a:gd name="connsiteY1301" fmla="*/ 855 h 10000"/>
                  <a:gd name="connsiteX1302" fmla="*/ 5599 w 10785"/>
                  <a:gd name="connsiteY1302" fmla="*/ 880 h 10000"/>
                  <a:gd name="connsiteX1303" fmla="*/ 5594 w 10785"/>
                  <a:gd name="connsiteY1303" fmla="*/ 880 h 10000"/>
                  <a:gd name="connsiteX1304" fmla="*/ 5585 w 10785"/>
                  <a:gd name="connsiteY1304" fmla="*/ 829 h 10000"/>
                  <a:gd name="connsiteX1305" fmla="*/ 5571 w 10785"/>
                  <a:gd name="connsiteY1305" fmla="*/ 803 h 10000"/>
                  <a:gd name="connsiteX1306" fmla="*/ 5585 w 10785"/>
                  <a:gd name="connsiteY1306" fmla="*/ 795 h 10000"/>
                  <a:gd name="connsiteX1307" fmla="*/ 5585 w 10785"/>
                  <a:gd name="connsiteY1307" fmla="*/ 761 h 10000"/>
                  <a:gd name="connsiteX1308" fmla="*/ 5558 w 10785"/>
                  <a:gd name="connsiteY1308" fmla="*/ 709 h 10000"/>
                  <a:gd name="connsiteX1309" fmla="*/ 5544 w 10785"/>
                  <a:gd name="connsiteY1309" fmla="*/ 709 h 10000"/>
                  <a:gd name="connsiteX1310" fmla="*/ 5544 w 10785"/>
                  <a:gd name="connsiteY1310" fmla="*/ 684 h 10000"/>
                  <a:gd name="connsiteX1311" fmla="*/ 5525 w 10785"/>
                  <a:gd name="connsiteY1311" fmla="*/ 632 h 10000"/>
                  <a:gd name="connsiteX1312" fmla="*/ 5507 w 10785"/>
                  <a:gd name="connsiteY1312" fmla="*/ 607 h 10000"/>
                  <a:gd name="connsiteX1313" fmla="*/ 5512 w 10785"/>
                  <a:gd name="connsiteY1313" fmla="*/ 598 h 10000"/>
                  <a:gd name="connsiteX1314" fmla="*/ 5507 w 10785"/>
                  <a:gd name="connsiteY1314" fmla="*/ 581 h 10000"/>
                  <a:gd name="connsiteX1315" fmla="*/ 5493 w 10785"/>
                  <a:gd name="connsiteY1315" fmla="*/ 573 h 10000"/>
                  <a:gd name="connsiteX1316" fmla="*/ 5484 w 10785"/>
                  <a:gd name="connsiteY1316" fmla="*/ 581 h 10000"/>
                  <a:gd name="connsiteX1317" fmla="*/ 5484 w 10785"/>
                  <a:gd name="connsiteY1317" fmla="*/ 573 h 10000"/>
                  <a:gd name="connsiteX1318" fmla="*/ 5484 w 10785"/>
                  <a:gd name="connsiteY1318" fmla="*/ 547 h 10000"/>
                  <a:gd name="connsiteX1319" fmla="*/ 5465 w 10785"/>
                  <a:gd name="connsiteY1319" fmla="*/ 556 h 10000"/>
                  <a:gd name="connsiteX1320" fmla="*/ 5433 w 10785"/>
                  <a:gd name="connsiteY1320" fmla="*/ 547 h 10000"/>
                  <a:gd name="connsiteX1321" fmla="*/ 5410 w 10785"/>
                  <a:gd name="connsiteY1321" fmla="*/ 573 h 10000"/>
                  <a:gd name="connsiteX1322" fmla="*/ 5406 w 10785"/>
                  <a:gd name="connsiteY1322" fmla="*/ 573 h 10000"/>
                  <a:gd name="connsiteX1323" fmla="*/ 5392 w 10785"/>
                  <a:gd name="connsiteY1323" fmla="*/ 573 h 10000"/>
                  <a:gd name="connsiteX1324" fmla="*/ 5364 w 10785"/>
                  <a:gd name="connsiteY1324" fmla="*/ 530 h 10000"/>
                  <a:gd name="connsiteX1325" fmla="*/ 5350 w 10785"/>
                  <a:gd name="connsiteY1325" fmla="*/ 556 h 10000"/>
                  <a:gd name="connsiteX1326" fmla="*/ 5346 w 10785"/>
                  <a:gd name="connsiteY1326" fmla="*/ 556 h 10000"/>
                  <a:gd name="connsiteX1327" fmla="*/ 5313 w 10785"/>
                  <a:gd name="connsiteY1327" fmla="*/ 573 h 10000"/>
                  <a:gd name="connsiteX1328" fmla="*/ 5304 w 10785"/>
                  <a:gd name="connsiteY1328" fmla="*/ 556 h 10000"/>
                  <a:gd name="connsiteX1329" fmla="*/ 5290 w 10785"/>
                  <a:gd name="connsiteY1329" fmla="*/ 573 h 10000"/>
                  <a:gd name="connsiteX1330" fmla="*/ 5290 w 10785"/>
                  <a:gd name="connsiteY1330" fmla="*/ 556 h 10000"/>
                  <a:gd name="connsiteX1331" fmla="*/ 5300 w 10785"/>
                  <a:gd name="connsiteY1331" fmla="*/ 547 h 10000"/>
                  <a:gd name="connsiteX1332" fmla="*/ 5300 w 10785"/>
                  <a:gd name="connsiteY1332" fmla="*/ 530 h 10000"/>
                  <a:gd name="connsiteX1333" fmla="*/ 5290 w 10785"/>
                  <a:gd name="connsiteY1333" fmla="*/ 530 h 10000"/>
                  <a:gd name="connsiteX1334" fmla="*/ 5286 w 10785"/>
                  <a:gd name="connsiteY1334" fmla="*/ 547 h 10000"/>
                  <a:gd name="connsiteX1335" fmla="*/ 5272 w 10785"/>
                  <a:gd name="connsiteY1335" fmla="*/ 556 h 10000"/>
                  <a:gd name="connsiteX1336" fmla="*/ 5272 w 10785"/>
                  <a:gd name="connsiteY1336" fmla="*/ 598 h 10000"/>
                  <a:gd name="connsiteX1337" fmla="*/ 5276 w 10785"/>
                  <a:gd name="connsiteY1337" fmla="*/ 581 h 10000"/>
                  <a:gd name="connsiteX1338" fmla="*/ 5272 w 10785"/>
                  <a:gd name="connsiteY1338" fmla="*/ 607 h 10000"/>
                  <a:gd name="connsiteX1339" fmla="*/ 5263 w 10785"/>
                  <a:gd name="connsiteY1339" fmla="*/ 607 h 10000"/>
                  <a:gd name="connsiteX1340" fmla="*/ 5263 w 10785"/>
                  <a:gd name="connsiteY1340" fmla="*/ 632 h 10000"/>
                  <a:gd name="connsiteX1341" fmla="*/ 5258 w 10785"/>
                  <a:gd name="connsiteY1341" fmla="*/ 658 h 10000"/>
                  <a:gd name="connsiteX1342" fmla="*/ 5244 w 10785"/>
                  <a:gd name="connsiteY1342" fmla="*/ 667 h 10000"/>
                  <a:gd name="connsiteX1343" fmla="*/ 5240 w 10785"/>
                  <a:gd name="connsiteY1343" fmla="*/ 658 h 10000"/>
                  <a:gd name="connsiteX1344" fmla="*/ 5240 w 10785"/>
                  <a:gd name="connsiteY1344" fmla="*/ 684 h 10000"/>
                  <a:gd name="connsiteX1345" fmla="*/ 5212 w 10785"/>
                  <a:gd name="connsiteY1345" fmla="*/ 684 h 10000"/>
                  <a:gd name="connsiteX1346" fmla="*/ 5198 w 10785"/>
                  <a:gd name="connsiteY1346" fmla="*/ 692 h 10000"/>
                  <a:gd name="connsiteX1347" fmla="*/ 5184 w 10785"/>
                  <a:gd name="connsiteY1347" fmla="*/ 684 h 10000"/>
                  <a:gd name="connsiteX1348" fmla="*/ 5157 w 10785"/>
                  <a:gd name="connsiteY1348" fmla="*/ 684 h 10000"/>
                  <a:gd name="connsiteX1349" fmla="*/ 5157 w 10785"/>
                  <a:gd name="connsiteY1349" fmla="*/ 667 h 10000"/>
                  <a:gd name="connsiteX1350" fmla="*/ 5157 w 10785"/>
                  <a:gd name="connsiteY1350" fmla="*/ 667 h 10000"/>
                  <a:gd name="connsiteX1351" fmla="*/ 5180 w 10785"/>
                  <a:gd name="connsiteY1351" fmla="*/ 650 h 10000"/>
                  <a:gd name="connsiteX1352" fmla="*/ 5184 w 10785"/>
                  <a:gd name="connsiteY1352" fmla="*/ 658 h 10000"/>
                  <a:gd name="connsiteX1353" fmla="*/ 5203 w 10785"/>
                  <a:gd name="connsiteY1353" fmla="*/ 547 h 10000"/>
                  <a:gd name="connsiteX1354" fmla="*/ 5226 w 10785"/>
                  <a:gd name="connsiteY1354" fmla="*/ 530 h 10000"/>
                  <a:gd name="connsiteX1355" fmla="*/ 5230 w 10785"/>
                  <a:gd name="connsiteY1355" fmla="*/ 487 h 10000"/>
                  <a:gd name="connsiteX1356" fmla="*/ 5230 w 10785"/>
                  <a:gd name="connsiteY1356" fmla="*/ 487 h 10000"/>
                  <a:gd name="connsiteX1357" fmla="*/ 5226 w 10785"/>
                  <a:gd name="connsiteY1357" fmla="*/ 462 h 10000"/>
                  <a:gd name="connsiteX1358" fmla="*/ 5226 w 10785"/>
                  <a:gd name="connsiteY1358" fmla="*/ 462 h 10000"/>
                  <a:gd name="connsiteX1359" fmla="*/ 5240 w 10785"/>
                  <a:gd name="connsiteY1359" fmla="*/ 462 h 10000"/>
                  <a:gd name="connsiteX1360" fmla="*/ 5240 w 10785"/>
                  <a:gd name="connsiteY1360" fmla="*/ 444 h 10000"/>
                  <a:gd name="connsiteX1361" fmla="*/ 5230 w 10785"/>
                  <a:gd name="connsiteY1361" fmla="*/ 436 h 10000"/>
                  <a:gd name="connsiteX1362" fmla="*/ 5230 w 10785"/>
                  <a:gd name="connsiteY1362" fmla="*/ 419 h 10000"/>
                  <a:gd name="connsiteX1363" fmla="*/ 5230 w 10785"/>
                  <a:gd name="connsiteY1363" fmla="*/ 410 h 10000"/>
                  <a:gd name="connsiteX1364" fmla="*/ 5198 w 10785"/>
                  <a:gd name="connsiteY1364" fmla="*/ 402 h 10000"/>
                  <a:gd name="connsiteX1365" fmla="*/ 5189 w 10785"/>
                  <a:gd name="connsiteY1365" fmla="*/ 402 h 10000"/>
                  <a:gd name="connsiteX1366" fmla="*/ 5184 w 10785"/>
                  <a:gd name="connsiteY1366" fmla="*/ 376 h 10000"/>
                  <a:gd name="connsiteX1367" fmla="*/ 5180 w 10785"/>
                  <a:gd name="connsiteY1367" fmla="*/ 376 h 10000"/>
                  <a:gd name="connsiteX1368" fmla="*/ 5166 w 10785"/>
                  <a:gd name="connsiteY1368" fmla="*/ 376 h 10000"/>
                  <a:gd name="connsiteX1369" fmla="*/ 5157 w 10785"/>
                  <a:gd name="connsiteY1369" fmla="*/ 385 h 10000"/>
                  <a:gd name="connsiteX1370" fmla="*/ 5152 w 10785"/>
                  <a:gd name="connsiteY1370" fmla="*/ 376 h 10000"/>
                  <a:gd name="connsiteX1371" fmla="*/ 5129 w 10785"/>
                  <a:gd name="connsiteY1371" fmla="*/ 385 h 10000"/>
                  <a:gd name="connsiteX1372" fmla="*/ 5129 w 10785"/>
                  <a:gd name="connsiteY1372" fmla="*/ 350 h 10000"/>
                  <a:gd name="connsiteX1373" fmla="*/ 5129 w 10785"/>
                  <a:gd name="connsiteY1373" fmla="*/ 325 h 10000"/>
                  <a:gd name="connsiteX1374" fmla="*/ 5124 w 10785"/>
                  <a:gd name="connsiteY1374" fmla="*/ 359 h 10000"/>
                  <a:gd name="connsiteX1375" fmla="*/ 5106 w 10785"/>
                  <a:gd name="connsiteY1375" fmla="*/ 359 h 10000"/>
                  <a:gd name="connsiteX1376" fmla="*/ 5037 w 10785"/>
                  <a:gd name="connsiteY1376" fmla="*/ 419 h 10000"/>
                  <a:gd name="connsiteX1377" fmla="*/ 5051 w 10785"/>
                  <a:gd name="connsiteY1377" fmla="*/ 385 h 10000"/>
                  <a:gd name="connsiteX1378" fmla="*/ 5055 w 10785"/>
                  <a:gd name="connsiteY1378" fmla="*/ 376 h 10000"/>
                  <a:gd name="connsiteX1379" fmla="*/ 5092 w 10785"/>
                  <a:gd name="connsiteY1379" fmla="*/ 282 h 10000"/>
                  <a:gd name="connsiteX1380" fmla="*/ 5106 w 10785"/>
                  <a:gd name="connsiteY1380" fmla="*/ 265 h 10000"/>
                  <a:gd name="connsiteX1381" fmla="*/ 5115 w 10785"/>
                  <a:gd name="connsiteY1381" fmla="*/ 265 h 10000"/>
                  <a:gd name="connsiteX1382" fmla="*/ 5124 w 10785"/>
                  <a:gd name="connsiteY1382" fmla="*/ 222 h 10000"/>
                  <a:gd name="connsiteX1383" fmla="*/ 5124 w 10785"/>
                  <a:gd name="connsiteY1383" fmla="*/ 214 h 10000"/>
                  <a:gd name="connsiteX1384" fmla="*/ 5143 w 10785"/>
                  <a:gd name="connsiteY1384" fmla="*/ 197 h 10000"/>
                  <a:gd name="connsiteX1385" fmla="*/ 5152 w 10785"/>
                  <a:gd name="connsiteY1385" fmla="*/ 214 h 10000"/>
                  <a:gd name="connsiteX1386" fmla="*/ 5143 w 10785"/>
                  <a:gd name="connsiteY1386" fmla="*/ 188 h 10000"/>
                  <a:gd name="connsiteX1387" fmla="*/ 5129 w 10785"/>
                  <a:gd name="connsiteY1387" fmla="*/ 103 h 10000"/>
                  <a:gd name="connsiteX1388" fmla="*/ 5115 w 10785"/>
                  <a:gd name="connsiteY1388" fmla="*/ 85 h 10000"/>
                  <a:gd name="connsiteX1389" fmla="*/ 5111 w 10785"/>
                  <a:gd name="connsiteY1389" fmla="*/ 111 h 10000"/>
                  <a:gd name="connsiteX1390" fmla="*/ 5092 w 10785"/>
                  <a:gd name="connsiteY1390" fmla="*/ 103 h 10000"/>
                  <a:gd name="connsiteX1391" fmla="*/ 5069 w 10785"/>
                  <a:gd name="connsiteY1391" fmla="*/ 77 h 10000"/>
                  <a:gd name="connsiteX1392" fmla="*/ 5051 w 10785"/>
                  <a:gd name="connsiteY1392" fmla="*/ 26 h 10000"/>
                  <a:gd name="connsiteX1393" fmla="*/ 5041 w 10785"/>
                  <a:gd name="connsiteY1393" fmla="*/ 34 h 10000"/>
                  <a:gd name="connsiteX1394" fmla="*/ 5037 w 10785"/>
                  <a:gd name="connsiteY1394" fmla="*/ 34 h 10000"/>
                  <a:gd name="connsiteX1395" fmla="*/ 5037 w 10785"/>
                  <a:gd name="connsiteY1395" fmla="*/ 26 h 10000"/>
                  <a:gd name="connsiteX1396" fmla="*/ 5037 w 10785"/>
                  <a:gd name="connsiteY1396" fmla="*/ 9 h 10000"/>
                  <a:gd name="connsiteX1397" fmla="*/ 5023 w 10785"/>
                  <a:gd name="connsiteY1397" fmla="*/ 0 h 10000"/>
                  <a:gd name="connsiteX1398" fmla="*/ 5009 w 10785"/>
                  <a:gd name="connsiteY1398" fmla="*/ 9 h 10000"/>
                  <a:gd name="connsiteX1399" fmla="*/ 4995 w 10785"/>
                  <a:gd name="connsiteY1399" fmla="*/ 34 h 10000"/>
                  <a:gd name="connsiteX1400" fmla="*/ 4991 w 10785"/>
                  <a:gd name="connsiteY1400" fmla="*/ 60 h 10000"/>
                  <a:gd name="connsiteX1401" fmla="*/ 4982 w 10785"/>
                  <a:gd name="connsiteY1401" fmla="*/ 60 h 10000"/>
                  <a:gd name="connsiteX1402" fmla="*/ 4949 w 10785"/>
                  <a:gd name="connsiteY1402" fmla="*/ 51 h 10000"/>
                  <a:gd name="connsiteX1403" fmla="*/ 4949 w 10785"/>
                  <a:gd name="connsiteY1403" fmla="*/ 85 h 10000"/>
                  <a:gd name="connsiteX1404" fmla="*/ 4903 w 10785"/>
                  <a:gd name="connsiteY1404" fmla="*/ 197 h 10000"/>
                  <a:gd name="connsiteX1405" fmla="*/ 4899 w 10785"/>
                  <a:gd name="connsiteY1405" fmla="*/ 239 h 10000"/>
                  <a:gd name="connsiteX1406" fmla="*/ 4871 w 10785"/>
                  <a:gd name="connsiteY1406" fmla="*/ 274 h 10000"/>
                  <a:gd name="connsiteX1407" fmla="*/ 4871 w 10785"/>
                  <a:gd name="connsiteY1407" fmla="*/ 282 h 10000"/>
                  <a:gd name="connsiteX1408" fmla="*/ 4834 w 10785"/>
                  <a:gd name="connsiteY1408" fmla="*/ 376 h 10000"/>
                  <a:gd name="connsiteX1409" fmla="*/ 4829 w 10785"/>
                  <a:gd name="connsiteY1409" fmla="*/ 402 h 10000"/>
                  <a:gd name="connsiteX1410" fmla="*/ 4834 w 10785"/>
                  <a:gd name="connsiteY1410" fmla="*/ 410 h 10000"/>
                  <a:gd name="connsiteX1411" fmla="*/ 4829 w 10785"/>
                  <a:gd name="connsiteY1411" fmla="*/ 436 h 10000"/>
                  <a:gd name="connsiteX1412" fmla="*/ 4825 w 10785"/>
                  <a:gd name="connsiteY1412" fmla="*/ 436 h 10000"/>
                  <a:gd name="connsiteX1413" fmla="*/ 4825 w 10785"/>
                  <a:gd name="connsiteY1413" fmla="*/ 444 h 10000"/>
                  <a:gd name="connsiteX1414" fmla="*/ 4811 w 10785"/>
                  <a:gd name="connsiteY1414" fmla="*/ 496 h 10000"/>
                  <a:gd name="connsiteX1415" fmla="*/ 4811 w 10785"/>
                  <a:gd name="connsiteY1415" fmla="*/ 496 h 10000"/>
                  <a:gd name="connsiteX1416" fmla="*/ 4811 w 10785"/>
                  <a:gd name="connsiteY1416" fmla="*/ 521 h 10000"/>
                  <a:gd name="connsiteX1417" fmla="*/ 4816 w 10785"/>
                  <a:gd name="connsiteY1417" fmla="*/ 530 h 10000"/>
                  <a:gd name="connsiteX1418" fmla="*/ 4834 w 10785"/>
                  <a:gd name="connsiteY1418" fmla="*/ 547 h 10000"/>
                  <a:gd name="connsiteX1419" fmla="*/ 4834 w 10785"/>
                  <a:gd name="connsiteY1419" fmla="*/ 581 h 10000"/>
                  <a:gd name="connsiteX1420" fmla="*/ 4843 w 10785"/>
                  <a:gd name="connsiteY1420" fmla="*/ 581 h 10000"/>
                  <a:gd name="connsiteX1421" fmla="*/ 4843 w 10785"/>
                  <a:gd name="connsiteY1421" fmla="*/ 598 h 10000"/>
                  <a:gd name="connsiteX1422" fmla="*/ 4829 w 10785"/>
                  <a:gd name="connsiteY1422" fmla="*/ 598 h 10000"/>
                  <a:gd name="connsiteX1423" fmla="*/ 4829 w 10785"/>
                  <a:gd name="connsiteY1423" fmla="*/ 573 h 10000"/>
                  <a:gd name="connsiteX1424" fmla="*/ 4829 w 10785"/>
                  <a:gd name="connsiteY1424" fmla="*/ 632 h 10000"/>
                  <a:gd name="connsiteX1425" fmla="*/ 4829 w 10785"/>
                  <a:gd name="connsiteY1425" fmla="*/ 632 h 10000"/>
                  <a:gd name="connsiteX1426" fmla="*/ 4829 w 10785"/>
                  <a:gd name="connsiteY1426" fmla="*/ 650 h 10000"/>
                  <a:gd name="connsiteX1427" fmla="*/ 4774 w 10785"/>
                  <a:gd name="connsiteY1427" fmla="*/ 684 h 10000"/>
                  <a:gd name="connsiteX1428" fmla="*/ 4756 w 10785"/>
                  <a:gd name="connsiteY1428" fmla="*/ 684 h 10000"/>
                  <a:gd name="connsiteX1429" fmla="*/ 4737 w 10785"/>
                  <a:gd name="connsiteY1429" fmla="*/ 692 h 10000"/>
                  <a:gd name="connsiteX1430" fmla="*/ 4677 w 10785"/>
                  <a:gd name="connsiteY1430" fmla="*/ 667 h 10000"/>
                  <a:gd name="connsiteX1431" fmla="*/ 4682 w 10785"/>
                  <a:gd name="connsiteY1431" fmla="*/ 692 h 10000"/>
                  <a:gd name="connsiteX1432" fmla="*/ 4682 w 10785"/>
                  <a:gd name="connsiteY1432" fmla="*/ 709 h 10000"/>
                  <a:gd name="connsiteX1433" fmla="*/ 4691 w 10785"/>
                  <a:gd name="connsiteY1433" fmla="*/ 718 h 10000"/>
                  <a:gd name="connsiteX1434" fmla="*/ 4691 w 10785"/>
                  <a:gd name="connsiteY1434" fmla="*/ 744 h 10000"/>
                  <a:gd name="connsiteX1435" fmla="*/ 4700 w 10785"/>
                  <a:gd name="connsiteY1435" fmla="*/ 744 h 10000"/>
                  <a:gd name="connsiteX1436" fmla="*/ 4714 w 10785"/>
                  <a:gd name="connsiteY1436" fmla="*/ 769 h 10000"/>
                  <a:gd name="connsiteX1437" fmla="*/ 4710 w 10785"/>
                  <a:gd name="connsiteY1437" fmla="*/ 786 h 10000"/>
                  <a:gd name="connsiteX1438" fmla="*/ 4737 w 10785"/>
                  <a:gd name="connsiteY1438" fmla="*/ 786 h 10000"/>
                  <a:gd name="connsiteX1439" fmla="*/ 4742 w 10785"/>
                  <a:gd name="connsiteY1439" fmla="*/ 795 h 10000"/>
                  <a:gd name="connsiteX1440" fmla="*/ 4742 w 10785"/>
                  <a:gd name="connsiteY1440" fmla="*/ 803 h 10000"/>
                  <a:gd name="connsiteX1441" fmla="*/ 4737 w 10785"/>
                  <a:gd name="connsiteY1441" fmla="*/ 846 h 10000"/>
                  <a:gd name="connsiteX1442" fmla="*/ 4737 w 10785"/>
                  <a:gd name="connsiteY1442" fmla="*/ 880 h 10000"/>
                  <a:gd name="connsiteX1443" fmla="*/ 4737 w 10785"/>
                  <a:gd name="connsiteY1443" fmla="*/ 906 h 10000"/>
                  <a:gd name="connsiteX1444" fmla="*/ 4724 w 10785"/>
                  <a:gd name="connsiteY1444" fmla="*/ 897 h 10000"/>
                  <a:gd name="connsiteX1445" fmla="*/ 4724 w 10785"/>
                  <a:gd name="connsiteY1445" fmla="*/ 872 h 10000"/>
                  <a:gd name="connsiteX1446" fmla="*/ 4714 w 10785"/>
                  <a:gd name="connsiteY1446" fmla="*/ 855 h 10000"/>
                  <a:gd name="connsiteX1447" fmla="*/ 4691 w 10785"/>
                  <a:gd name="connsiteY1447" fmla="*/ 846 h 10000"/>
                  <a:gd name="connsiteX1448" fmla="*/ 4691 w 10785"/>
                  <a:gd name="connsiteY1448" fmla="*/ 846 h 10000"/>
                  <a:gd name="connsiteX1449" fmla="*/ 4696 w 10785"/>
                  <a:gd name="connsiteY1449" fmla="*/ 821 h 10000"/>
                  <a:gd name="connsiteX1450" fmla="*/ 4691 w 10785"/>
                  <a:gd name="connsiteY1450" fmla="*/ 803 h 10000"/>
                  <a:gd name="connsiteX1451" fmla="*/ 4668 w 10785"/>
                  <a:gd name="connsiteY1451" fmla="*/ 821 h 10000"/>
                  <a:gd name="connsiteX1452" fmla="*/ 4668 w 10785"/>
                  <a:gd name="connsiteY1452" fmla="*/ 786 h 10000"/>
                  <a:gd name="connsiteX1453" fmla="*/ 4664 w 10785"/>
                  <a:gd name="connsiteY1453" fmla="*/ 786 h 10000"/>
                  <a:gd name="connsiteX1454" fmla="*/ 4622 w 10785"/>
                  <a:gd name="connsiteY1454" fmla="*/ 846 h 10000"/>
                  <a:gd name="connsiteX1455" fmla="*/ 4627 w 10785"/>
                  <a:gd name="connsiteY1455" fmla="*/ 872 h 10000"/>
                  <a:gd name="connsiteX1456" fmla="*/ 4622 w 10785"/>
                  <a:gd name="connsiteY1456" fmla="*/ 880 h 10000"/>
                  <a:gd name="connsiteX1457" fmla="*/ 4622 w 10785"/>
                  <a:gd name="connsiteY1457" fmla="*/ 880 h 10000"/>
                  <a:gd name="connsiteX1458" fmla="*/ 4618 w 10785"/>
                  <a:gd name="connsiteY1458" fmla="*/ 872 h 10000"/>
                  <a:gd name="connsiteX1459" fmla="*/ 4604 w 10785"/>
                  <a:gd name="connsiteY1459" fmla="*/ 880 h 10000"/>
                  <a:gd name="connsiteX1460" fmla="*/ 4594 w 10785"/>
                  <a:gd name="connsiteY1460" fmla="*/ 906 h 10000"/>
                  <a:gd name="connsiteX1461" fmla="*/ 4604 w 10785"/>
                  <a:gd name="connsiteY1461" fmla="*/ 906 h 10000"/>
                  <a:gd name="connsiteX1462" fmla="*/ 4608 w 10785"/>
                  <a:gd name="connsiteY1462" fmla="*/ 906 h 10000"/>
                  <a:gd name="connsiteX1463" fmla="*/ 4608 w 10785"/>
                  <a:gd name="connsiteY1463" fmla="*/ 932 h 10000"/>
                  <a:gd name="connsiteX1464" fmla="*/ 4604 w 10785"/>
                  <a:gd name="connsiteY1464" fmla="*/ 932 h 10000"/>
                  <a:gd name="connsiteX1465" fmla="*/ 4590 w 10785"/>
                  <a:gd name="connsiteY1465" fmla="*/ 932 h 10000"/>
                  <a:gd name="connsiteX1466" fmla="*/ 4567 w 10785"/>
                  <a:gd name="connsiteY1466" fmla="*/ 957 h 10000"/>
                  <a:gd name="connsiteX1467" fmla="*/ 4567 w 10785"/>
                  <a:gd name="connsiteY1467" fmla="*/ 932 h 10000"/>
                  <a:gd name="connsiteX1468" fmla="*/ 4567 w 10785"/>
                  <a:gd name="connsiteY1468" fmla="*/ 923 h 10000"/>
                  <a:gd name="connsiteX1469" fmla="*/ 4562 w 10785"/>
                  <a:gd name="connsiteY1469" fmla="*/ 932 h 10000"/>
                  <a:gd name="connsiteX1470" fmla="*/ 4548 w 10785"/>
                  <a:gd name="connsiteY1470" fmla="*/ 957 h 10000"/>
                  <a:gd name="connsiteX1471" fmla="*/ 4544 w 10785"/>
                  <a:gd name="connsiteY1471" fmla="*/ 957 h 10000"/>
                  <a:gd name="connsiteX1472" fmla="*/ 4521 w 10785"/>
                  <a:gd name="connsiteY1472" fmla="*/ 983 h 10000"/>
                  <a:gd name="connsiteX1473" fmla="*/ 4521 w 10785"/>
                  <a:gd name="connsiteY1473" fmla="*/ 983 h 10000"/>
                  <a:gd name="connsiteX1474" fmla="*/ 4530 w 10785"/>
                  <a:gd name="connsiteY1474" fmla="*/ 957 h 10000"/>
                  <a:gd name="connsiteX1475" fmla="*/ 4535 w 10785"/>
                  <a:gd name="connsiteY1475" fmla="*/ 932 h 10000"/>
                  <a:gd name="connsiteX1476" fmla="*/ 4521 w 10785"/>
                  <a:gd name="connsiteY1476" fmla="*/ 932 h 10000"/>
                  <a:gd name="connsiteX1477" fmla="*/ 4516 w 10785"/>
                  <a:gd name="connsiteY1477" fmla="*/ 923 h 10000"/>
                  <a:gd name="connsiteX1478" fmla="*/ 4516 w 10785"/>
                  <a:gd name="connsiteY1478" fmla="*/ 932 h 10000"/>
                  <a:gd name="connsiteX1479" fmla="*/ 4488 w 10785"/>
                  <a:gd name="connsiteY1479" fmla="*/ 940 h 10000"/>
                  <a:gd name="connsiteX1480" fmla="*/ 4484 w 10785"/>
                  <a:gd name="connsiteY1480" fmla="*/ 983 h 10000"/>
                  <a:gd name="connsiteX1481" fmla="*/ 4470 w 10785"/>
                  <a:gd name="connsiteY1481" fmla="*/ 983 h 10000"/>
                  <a:gd name="connsiteX1482" fmla="*/ 4470 w 10785"/>
                  <a:gd name="connsiteY1482" fmla="*/ 966 h 10000"/>
                  <a:gd name="connsiteX1483" fmla="*/ 4488 w 10785"/>
                  <a:gd name="connsiteY1483" fmla="*/ 923 h 10000"/>
                  <a:gd name="connsiteX1484" fmla="*/ 4493 w 10785"/>
                  <a:gd name="connsiteY1484" fmla="*/ 880 h 10000"/>
                  <a:gd name="connsiteX1485" fmla="*/ 4475 w 10785"/>
                  <a:gd name="connsiteY1485" fmla="*/ 846 h 10000"/>
                  <a:gd name="connsiteX1486" fmla="*/ 4442 w 10785"/>
                  <a:gd name="connsiteY1486" fmla="*/ 855 h 10000"/>
                  <a:gd name="connsiteX1487" fmla="*/ 4433 w 10785"/>
                  <a:gd name="connsiteY1487" fmla="*/ 855 h 10000"/>
                  <a:gd name="connsiteX1488" fmla="*/ 4433 w 10785"/>
                  <a:gd name="connsiteY1488" fmla="*/ 880 h 10000"/>
                  <a:gd name="connsiteX1489" fmla="*/ 4401 w 10785"/>
                  <a:gd name="connsiteY1489" fmla="*/ 855 h 10000"/>
                  <a:gd name="connsiteX1490" fmla="*/ 4396 w 10785"/>
                  <a:gd name="connsiteY1490" fmla="*/ 872 h 10000"/>
                  <a:gd name="connsiteX1491" fmla="*/ 4382 w 10785"/>
                  <a:gd name="connsiteY1491" fmla="*/ 897 h 10000"/>
                  <a:gd name="connsiteX1492" fmla="*/ 4373 w 10785"/>
                  <a:gd name="connsiteY1492" fmla="*/ 872 h 10000"/>
                  <a:gd name="connsiteX1493" fmla="*/ 4341 w 10785"/>
                  <a:gd name="connsiteY1493" fmla="*/ 872 h 10000"/>
                  <a:gd name="connsiteX1494" fmla="*/ 4336 w 10785"/>
                  <a:gd name="connsiteY1494" fmla="*/ 880 h 10000"/>
                  <a:gd name="connsiteX1495" fmla="*/ 4346 w 10785"/>
                  <a:gd name="connsiteY1495" fmla="*/ 897 h 10000"/>
                  <a:gd name="connsiteX1496" fmla="*/ 4346 w 10785"/>
                  <a:gd name="connsiteY1496" fmla="*/ 897 h 10000"/>
                  <a:gd name="connsiteX1497" fmla="*/ 4313 w 10785"/>
                  <a:gd name="connsiteY1497" fmla="*/ 906 h 10000"/>
                  <a:gd name="connsiteX1498" fmla="*/ 4313 w 10785"/>
                  <a:gd name="connsiteY1498" fmla="*/ 906 h 10000"/>
                  <a:gd name="connsiteX1499" fmla="*/ 4313 w 10785"/>
                  <a:gd name="connsiteY1499" fmla="*/ 880 h 10000"/>
                  <a:gd name="connsiteX1500" fmla="*/ 4309 w 10785"/>
                  <a:gd name="connsiteY1500" fmla="*/ 897 h 10000"/>
                  <a:gd name="connsiteX1501" fmla="*/ 4295 w 10785"/>
                  <a:gd name="connsiteY1501" fmla="*/ 923 h 10000"/>
                  <a:gd name="connsiteX1502" fmla="*/ 4286 w 10785"/>
                  <a:gd name="connsiteY1502" fmla="*/ 897 h 10000"/>
                  <a:gd name="connsiteX1503" fmla="*/ 4281 w 10785"/>
                  <a:gd name="connsiteY1503" fmla="*/ 906 h 10000"/>
                  <a:gd name="connsiteX1504" fmla="*/ 4281 w 10785"/>
                  <a:gd name="connsiteY1504" fmla="*/ 940 h 10000"/>
                  <a:gd name="connsiteX1505" fmla="*/ 4286 w 10785"/>
                  <a:gd name="connsiteY1505" fmla="*/ 957 h 10000"/>
                  <a:gd name="connsiteX1506" fmla="*/ 4309 w 10785"/>
                  <a:gd name="connsiteY1506" fmla="*/ 932 h 10000"/>
                  <a:gd name="connsiteX1507" fmla="*/ 4313 w 10785"/>
                  <a:gd name="connsiteY1507" fmla="*/ 957 h 10000"/>
                  <a:gd name="connsiteX1508" fmla="*/ 4313 w 10785"/>
                  <a:gd name="connsiteY1508" fmla="*/ 966 h 10000"/>
                  <a:gd name="connsiteX1509" fmla="*/ 4323 w 10785"/>
                  <a:gd name="connsiteY1509" fmla="*/ 966 h 10000"/>
                  <a:gd name="connsiteX1510" fmla="*/ 4323 w 10785"/>
                  <a:gd name="connsiteY1510" fmla="*/ 940 h 10000"/>
                  <a:gd name="connsiteX1511" fmla="*/ 4327 w 10785"/>
                  <a:gd name="connsiteY1511" fmla="*/ 940 h 10000"/>
                  <a:gd name="connsiteX1512" fmla="*/ 4327 w 10785"/>
                  <a:gd name="connsiteY1512" fmla="*/ 957 h 10000"/>
                  <a:gd name="connsiteX1513" fmla="*/ 4327 w 10785"/>
                  <a:gd name="connsiteY1513" fmla="*/ 966 h 10000"/>
                  <a:gd name="connsiteX1514" fmla="*/ 4323 w 10785"/>
                  <a:gd name="connsiteY1514" fmla="*/ 991 h 10000"/>
                  <a:gd name="connsiteX1515" fmla="*/ 4207 w 10785"/>
                  <a:gd name="connsiteY1515" fmla="*/ 1060 h 10000"/>
                  <a:gd name="connsiteX1516" fmla="*/ 4207 w 10785"/>
                  <a:gd name="connsiteY1516" fmla="*/ 1060 h 10000"/>
                  <a:gd name="connsiteX1517" fmla="*/ 4203 w 10785"/>
                  <a:gd name="connsiteY1517" fmla="*/ 1068 h 10000"/>
                  <a:gd name="connsiteX1518" fmla="*/ 4203 w 10785"/>
                  <a:gd name="connsiteY1518" fmla="*/ 1094 h 10000"/>
                  <a:gd name="connsiteX1519" fmla="*/ 4203 w 10785"/>
                  <a:gd name="connsiteY1519" fmla="*/ 1094 h 10000"/>
                  <a:gd name="connsiteX1520" fmla="*/ 4189 w 10785"/>
                  <a:gd name="connsiteY1520" fmla="*/ 1094 h 10000"/>
                  <a:gd name="connsiteX1521" fmla="*/ 4166 w 10785"/>
                  <a:gd name="connsiteY1521" fmla="*/ 1103 h 10000"/>
                  <a:gd name="connsiteX1522" fmla="*/ 4152 w 10785"/>
                  <a:gd name="connsiteY1522" fmla="*/ 1094 h 10000"/>
                  <a:gd name="connsiteX1523" fmla="*/ 4134 w 10785"/>
                  <a:gd name="connsiteY1523" fmla="*/ 1120 h 10000"/>
                  <a:gd name="connsiteX1524" fmla="*/ 4106 w 10785"/>
                  <a:gd name="connsiteY1524" fmla="*/ 1120 h 10000"/>
                  <a:gd name="connsiteX1525" fmla="*/ 4092 w 10785"/>
                  <a:gd name="connsiteY1525" fmla="*/ 1154 h 10000"/>
                  <a:gd name="connsiteX1526" fmla="*/ 4106 w 10785"/>
                  <a:gd name="connsiteY1526" fmla="*/ 1171 h 10000"/>
                  <a:gd name="connsiteX1527" fmla="*/ 4078 w 10785"/>
                  <a:gd name="connsiteY1527" fmla="*/ 1179 h 10000"/>
                  <a:gd name="connsiteX1528" fmla="*/ 4065 w 10785"/>
                  <a:gd name="connsiteY1528" fmla="*/ 1205 h 10000"/>
                  <a:gd name="connsiteX1529" fmla="*/ 4046 w 10785"/>
                  <a:gd name="connsiteY1529" fmla="*/ 1179 h 10000"/>
                  <a:gd name="connsiteX1530" fmla="*/ 4041 w 10785"/>
                  <a:gd name="connsiteY1530" fmla="*/ 1197 h 10000"/>
                  <a:gd name="connsiteX1531" fmla="*/ 4028 w 10785"/>
                  <a:gd name="connsiteY1531" fmla="*/ 1205 h 10000"/>
                  <a:gd name="connsiteX1532" fmla="*/ 4028 w 10785"/>
                  <a:gd name="connsiteY1532" fmla="*/ 1205 h 10000"/>
                  <a:gd name="connsiteX1533" fmla="*/ 4032 w 10785"/>
                  <a:gd name="connsiteY1533" fmla="*/ 1205 h 10000"/>
                  <a:gd name="connsiteX1534" fmla="*/ 4032 w 10785"/>
                  <a:gd name="connsiteY1534" fmla="*/ 1231 h 10000"/>
                  <a:gd name="connsiteX1535" fmla="*/ 4014 w 10785"/>
                  <a:gd name="connsiteY1535" fmla="*/ 1239 h 10000"/>
                  <a:gd name="connsiteX1536" fmla="*/ 4014 w 10785"/>
                  <a:gd name="connsiteY1536" fmla="*/ 1256 h 10000"/>
                  <a:gd name="connsiteX1537" fmla="*/ 4000 w 10785"/>
                  <a:gd name="connsiteY1537" fmla="*/ 1265 h 10000"/>
                  <a:gd name="connsiteX1538" fmla="*/ 3986 w 10785"/>
                  <a:gd name="connsiteY1538" fmla="*/ 1308 h 10000"/>
                  <a:gd name="connsiteX1539" fmla="*/ 3972 w 10785"/>
                  <a:gd name="connsiteY1539" fmla="*/ 1316 h 10000"/>
                  <a:gd name="connsiteX1540" fmla="*/ 3972 w 10785"/>
                  <a:gd name="connsiteY1540" fmla="*/ 1325 h 10000"/>
                  <a:gd name="connsiteX1541" fmla="*/ 3972 w 10785"/>
                  <a:gd name="connsiteY1541" fmla="*/ 1342 h 10000"/>
                  <a:gd name="connsiteX1542" fmla="*/ 3968 w 10785"/>
                  <a:gd name="connsiteY1542" fmla="*/ 1350 h 10000"/>
                  <a:gd name="connsiteX1543" fmla="*/ 3954 w 10785"/>
                  <a:gd name="connsiteY1543" fmla="*/ 1368 h 10000"/>
                  <a:gd name="connsiteX1544" fmla="*/ 3945 w 10785"/>
                  <a:gd name="connsiteY1544" fmla="*/ 1350 h 10000"/>
                  <a:gd name="connsiteX1545" fmla="*/ 3908 w 10785"/>
                  <a:gd name="connsiteY1545" fmla="*/ 1342 h 10000"/>
                  <a:gd name="connsiteX1546" fmla="*/ 3894 w 10785"/>
                  <a:gd name="connsiteY1546" fmla="*/ 1368 h 10000"/>
                  <a:gd name="connsiteX1547" fmla="*/ 3922 w 10785"/>
                  <a:gd name="connsiteY1547" fmla="*/ 1393 h 10000"/>
                  <a:gd name="connsiteX1548" fmla="*/ 3945 w 10785"/>
                  <a:gd name="connsiteY1548" fmla="*/ 1393 h 10000"/>
                  <a:gd name="connsiteX1549" fmla="*/ 3940 w 10785"/>
                  <a:gd name="connsiteY1549" fmla="*/ 1419 h 10000"/>
                  <a:gd name="connsiteX1550" fmla="*/ 3931 w 10785"/>
                  <a:gd name="connsiteY1550" fmla="*/ 1427 h 10000"/>
                  <a:gd name="connsiteX1551" fmla="*/ 3926 w 10785"/>
                  <a:gd name="connsiteY1551" fmla="*/ 1427 h 10000"/>
                  <a:gd name="connsiteX1552" fmla="*/ 3922 w 10785"/>
                  <a:gd name="connsiteY1552" fmla="*/ 1419 h 10000"/>
                  <a:gd name="connsiteX1553" fmla="*/ 3912 w 10785"/>
                  <a:gd name="connsiteY1553" fmla="*/ 1427 h 10000"/>
                  <a:gd name="connsiteX1554" fmla="*/ 3912 w 10785"/>
                  <a:gd name="connsiteY1554" fmla="*/ 1444 h 10000"/>
                  <a:gd name="connsiteX1555" fmla="*/ 3894 w 10785"/>
                  <a:gd name="connsiteY1555" fmla="*/ 1513 h 10000"/>
                  <a:gd name="connsiteX1556" fmla="*/ 3885 w 10785"/>
                  <a:gd name="connsiteY1556" fmla="*/ 1513 h 10000"/>
                  <a:gd name="connsiteX1557" fmla="*/ 3880 w 10785"/>
                  <a:gd name="connsiteY1557" fmla="*/ 1538 h 10000"/>
                  <a:gd name="connsiteX1558" fmla="*/ 3885 w 10785"/>
                  <a:gd name="connsiteY1558" fmla="*/ 1564 h 10000"/>
                  <a:gd name="connsiteX1559" fmla="*/ 3880 w 10785"/>
                  <a:gd name="connsiteY1559" fmla="*/ 1581 h 10000"/>
                  <a:gd name="connsiteX1560" fmla="*/ 3871 w 10785"/>
                  <a:gd name="connsiteY1560" fmla="*/ 1538 h 10000"/>
                  <a:gd name="connsiteX1561" fmla="*/ 3853 w 10785"/>
                  <a:gd name="connsiteY1561" fmla="*/ 1530 h 10000"/>
                  <a:gd name="connsiteX1562" fmla="*/ 3853 w 10785"/>
                  <a:gd name="connsiteY1562" fmla="*/ 1504 h 10000"/>
                  <a:gd name="connsiteX1563" fmla="*/ 3834 w 10785"/>
                  <a:gd name="connsiteY1563" fmla="*/ 1487 h 10000"/>
                  <a:gd name="connsiteX1564" fmla="*/ 3834 w 10785"/>
                  <a:gd name="connsiteY1564" fmla="*/ 1487 h 10000"/>
                  <a:gd name="connsiteX1565" fmla="*/ 3839 w 10785"/>
                  <a:gd name="connsiteY1565" fmla="*/ 1513 h 10000"/>
                  <a:gd name="connsiteX1566" fmla="*/ 3820 w 10785"/>
                  <a:gd name="connsiteY1566" fmla="*/ 1538 h 10000"/>
                  <a:gd name="connsiteX1567" fmla="*/ 3820 w 10785"/>
                  <a:gd name="connsiteY1567" fmla="*/ 1556 h 10000"/>
                  <a:gd name="connsiteX1568" fmla="*/ 3820 w 10785"/>
                  <a:gd name="connsiteY1568" fmla="*/ 1564 h 10000"/>
                  <a:gd name="connsiteX1569" fmla="*/ 3820 w 10785"/>
                  <a:gd name="connsiteY1569" fmla="*/ 1581 h 10000"/>
                  <a:gd name="connsiteX1570" fmla="*/ 3853 w 10785"/>
                  <a:gd name="connsiteY1570" fmla="*/ 1581 h 10000"/>
                  <a:gd name="connsiteX1571" fmla="*/ 3857 w 10785"/>
                  <a:gd name="connsiteY1571" fmla="*/ 1598 h 10000"/>
                  <a:gd name="connsiteX1572" fmla="*/ 3880 w 10785"/>
                  <a:gd name="connsiteY1572" fmla="*/ 1615 h 10000"/>
                  <a:gd name="connsiteX1573" fmla="*/ 3871 w 10785"/>
                  <a:gd name="connsiteY1573" fmla="*/ 1615 h 10000"/>
                  <a:gd name="connsiteX1574" fmla="*/ 3871 w 10785"/>
                  <a:gd name="connsiteY1574" fmla="*/ 1641 h 10000"/>
                  <a:gd name="connsiteX1575" fmla="*/ 3880 w 10785"/>
                  <a:gd name="connsiteY1575" fmla="*/ 1641 h 10000"/>
                  <a:gd name="connsiteX1576" fmla="*/ 3871 w 10785"/>
                  <a:gd name="connsiteY1576" fmla="*/ 1650 h 10000"/>
                  <a:gd name="connsiteX1577" fmla="*/ 3857 w 10785"/>
                  <a:gd name="connsiteY1577" fmla="*/ 1650 h 10000"/>
                  <a:gd name="connsiteX1578" fmla="*/ 3853 w 10785"/>
                  <a:gd name="connsiteY1578" fmla="*/ 1650 h 10000"/>
                  <a:gd name="connsiteX1579" fmla="*/ 3839 w 10785"/>
                  <a:gd name="connsiteY1579" fmla="*/ 1667 h 10000"/>
                  <a:gd name="connsiteX1580" fmla="*/ 3848 w 10785"/>
                  <a:gd name="connsiteY1580" fmla="*/ 1692 h 10000"/>
                  <a:gd name="connsiteX1581" fmla="*/ 3834 w 10785"/>
                  <a:gd name="connsiteY1581" fmla="*/ 1692 h 10000"/>
                  <a:gd name="connsiteX1582" fmla="*/ 3825 w 10785"/>
                  <a:gd name="connsiteY1582" fmla="*/ 1692 h 10000"/>
                  <a:gd name="connsiteX1583" fmla="*/ 3825 w 10785"/>
                  <a:gd name="connsiteY1583" fmla="*/ 1718 h 10000"/>
                  <a:gd name="connsiteX1584" fmla="*/ 3839 w 10785"/>
                  <a:gd name="connsiteY1584" fmla="*/ 1726 h 10000"/>
                  <a:gd name="connsiteX1585" fmla="*/ 3880 w 10785"/>
                  <a:gd name="connsiteY1585" fmla="*/ 1752 h 10000"/>
                  <a:gd name="connsiteX1586" fmla="*/ 3894 w 10785"/>
                  <a:gd name="connsiteY1586" fmla="*/ 1829 h 10000"/>
                  <a:gd name="connsiteX1587" fmla="*/ 3899 w 10785"/>
                  <a:gd name="connsiteY1587" fmla="*/ 1838 h 10000"/>
                  <a:gd name="connsiteX1588" fmla="*/ 3894 w 10785"/>
                  <a:gd name="connsiteY1588" fmla="*/ 1855 h 10000"/>
                  <a:gd name="connsiteX1589" fmla="*/ 3880 w 10785"/>
                  <a:gd name="connsiteY1589" fmla="*/ 1838 h 10000"/>
                  <a:gd name="connsiteX1590" fmla="*/ 3880 w 10785"/>
                  <a:gd name="connsiteY1590" fmla="*/ 1855 h 10000"/>
                  <a:gd name="connsiteX1591" fmla="*/ 3880 w 10785"/>
                  <a:gd name="connsiteY1591" fmla="*/ 1863 h 10000"/>
                  <a:gd name="connsiteX1592" fmla="*/ 3871 w 10785"/>
                  <a:gd name="connsiteY1592" fmla="*/ 1872 h 10000"/>
                  <a:gd name="connsiteX1593" fmla="*/ 3880 w 10785"/>
                  <a:gd name="connsiteY1593" fmla="*/ 1889 h 10000"/>
                  <a:gd name="connsiteX1594" fmla="*/ 3885 w 10785"/>
                  <a:gd name="connsiteY1594" fmla="*/ 1889 h 10000"/>
                  <a:gd name="connsiteX1595" fmla="*/ 3880 w 10785"/>
                  <a:gd name="connsiteY1595" fmla="*/ 1897 h 10000"/>
                  <a:gd name="connsiteX1596" fmla="*/ 3871 w 10785"/>
                  <a:gd name="connsiteY1596" fmla="*/ 1915 h 10000"/>
                  <a:gd name="connsiteX1597" fmla="*/ 3848 w 10785"/>
                  <a:gd name="connsiteY1597" fmla="*/ 1923 h 10000"/>
                  <a:gd name="connsiteX1598" fmla="*/ 3825 w 10785"/>
                  <a:gd name="connsiteY1598" fmla="*/ 1940 h 10000"/>
                  <a:gd name="connsiteX1599" fmla="*/ 3811 w 10785"/>
                  <a:gd name="connsiteY1599" fmla="*/ 1940 h 10000"/>
                  <a:gd name="connsiteX1600" fmla="*/ 3806 w 10785"/>
                  <a:gd name="connsiteY1600" fmla="*/ 1949 h 10000"/>
                  <a:gd name="connsiteX1601" fmla="*/ 3797 w 10785"/>
                  <a:gd name="connsiteY1601" fmla="*/ 1966 h 10000"/>
                  <a:gd name="connsiteX1602" fmla="*/ 3788 w 10785"/>
                  <a:gd name="connsiteY1602" fmla="*/ 1991 h 10000"/>
                  <a:gd name="connsiteX1603" fmla="*/ 3765 w 10785"/>
                  <a:gd name="connsiteY1603" fmla="*/ 1974 h 10000"/>
                  <a:gd name="connsiteX1604" fmla="*/ 3760 w 10785"/>
                  <a:gd name="connsiteY1604" fmla="*/ 1966 h 10000"/>
                  <a:gd name="connsiteX1605" fmla="*/ 3760 w 10785"/>
                  <a:gd name="connsiteY1605" fmla="*/ 1966 h 10000"/>
                  <a:gd name="connsiteX1606" fmla="*/ 3631 w 10785"/>
                  <a:gd name="connsiteY1606" fmla="*/ 2009 h 10000"/>
                  <a:gd name="connsiteX1607" fmla="*/ 3618 w 10785"/>
                  <a:gd name="connsiteY1607" fmla="*/ 2000 h 10000"/>
                  <a:gd name="connsiteX1608" fmla="*/ 3599 w 10785"/>
                  <a:gd name="connsiteY1608" fmla="*/ 2009 h 10000"/>
                  <a:gd name="connsiteX1609" fmla="*/ 3571 w 10785"/>
                  <a:gd name="connsiteY1609" fmla="*/ 2000 h 10000"/>
                  <a:gd name="connsiteX1610" fmla="*/ 3530 w 10785"/>
                  <a:gd name="connsiteY1610" fmla="*/ 2026 h 10000"/>
                  <a:gd name="connsiteX1611" fmla="*/ 3530 w 10785"/>
                  <a:gd name="connsiteY1611" fmla="*/ 2034 h 10000"/>
                  <a:gd name="connsiteX1612" fmla="*/ 3525 w 10785"/>
                  <a:gd name="connsiteY1612" fmla="*/ 2051 h 10000"/>
                  <a:gd name="connsiteX1613" fmla="*/ 3512 w 10785"/>
                  <a:gd name="connsiteY1613" fmla="*/ 2034 h 10000"/>
                  <a:gd name="connsiteX1614" fmla="*/ 3507 w 10785"/>
                  <a:gd name="connsiteY1614" fmla="*/ 2034 h 10000"/>
                  <a:gd name="connsiteX1615" fmla="*/ 3498 w 10785"/>
                  <a:gd name="connsiteY1615" fmla="*/ 2051 h 10000"/>
                  <a:gd name="connsiteX1616" fmla="*/ 3484 w 10785"/>
                  <a:gd name="connsiteY1616" fmla="*/ 2060 h 10000"/>
                  <a:gd name="connsiteX1617" fmla="*/ 3484 w 10785"/>
                  <a:gd name="connsiteY1617" fmla="*/ 2085 h 10000"/>
                  <a:gd name="connsiteX1618" fmla="*/ 3484 w 10785"/>
                  <a:gd name="connsiteY1618" fmla="*/ 2103 h 10000"/>
                  <a:gd name="connsiteX1619" fmla="*/ 3493 w 10785"/>
                  <a:gd name="connsiteY1619" fmla="*/ 2103 h 10000"/>
                  <a:gd name="connsiteX1620" fmla="*/ 3493 w 10785"/>
                  <a:gd name="connsiteY1620" fmla="*/ 2085 h 10000"/>
                  <a:gd name="connsiteX1621" fmla="*/ 3498 w 10785"/>
                  <a:gd name="connsiteY1621" fmla="*/ 2085 h 10000"/>
                  <a:gd name="connsiteX1622" fmla="*/ 3498 w 10785"/>
                  <a:gd name="connsiteY1622" fmla="*/ 2111 h 10000"/>
                  <a:gd name="connsiteX1623" fmla="*/ 3484 w 10785"/>
                  <a:gd name="connsiteY1623" fmla="*/ 2120 h 10000"/>
                  <a:gd name="connsiteX1624" fmla="*/ 3484 w 10785"/>
                  <a:gd name="connsiteY1624" fmla="*/ 2145 h 10000"/>
                  <a:gd name="connsiteX1625" fmla="*/ 3470 w 10785"/>
                  <a:gd name="connsiteY1625" fmla="*/ 2137 h 10000"/>
                  <a:gd name="connsiteX1626" fmla="*/ 3465 w 10785"/>
                  <a:gd name="connsiteY1626" fmla="*/ 2145 h 10000"/>
                  <a:gd name="connsiteX1627" fmla="*/ 3470 w 10785"/>
                  <a:gd name="connsiteY1627" fmla="*/ 2171 h 10000"/>
                  <a:gd name="connsiteX1628" fmla="*/ 3484 w 10785"/>
                  <a:gd name="connsiteY1628" fmla="*/ 2171 h 10000"/>
                  <a:gd name="connsiteX1629" fmla="*/ 3484 w 10785"/>
                  <a:gd name="connsiteY1629" fmla="*/ 2197 h 10000"/>
                  <a:gd name="connsiteX1630" fmla="*/ 3465 w 10785"/>
                  <a:gd name="connsiteY1630" fmla="*/ 2214 h 10000"/>
                  <a:gd name="connsiteX1631" fmla="*/ 3493 w 10785"/>
                  <a:gd name="connsiteY1631" fmla="*/ 2248 h 10000"/>
                  <a:gd name="connsiteX1632" fmla="*/ 3484 w 10785"/>
                  <a:gd name="connsiteY1632" fmla="*/ 2256 h 10000"/>
                  <a:gd name="connsiteX1633" fmla="*/ 3498 w 10785"/>
                  <a:gd name="connsiteY1633" fmla="*/ 2274 h 10000"/>
                  <a:gd name="connsiteX1634" fmla="*/ 3498 w 10785"/>
                  <a:gd name="connsiteY1634" fmla="*/ 2256 h 10000"/>
                  <a:gd name="connsiteX1635" fmla="*/ 3507 w 10785"/>
                  <a:gd name="connsiteY1635" fmla="*/ 2308 h 10000"/>
                  <a:gd name="connsiteX1636" fmla="*/ 3512 w 10785"/>
                  <a:gd name="connsiteY1636" fmla="*/ 2325 h 10000"/>
                  <a:gd name="connsiteX1637" fmla="*/ 3507 w 10785"/>
                  <a:gd name="connsiteY1637" fmla="*/ 2333 h 10000"/>
                  <a:gd name="connsiteX1638" fmla="*/ 3507 w 10785"/>
                  <a:gd name="connsiteY1638" fmla="*/ 2359 h 10000"/>
                  <a:gd name="connsiteX1639" fmla="*/ 3507 w 10785"/>
                  <a:gd name="connsiteY1639" fmla="*/ 2376 h 10000"/>
                  <a:gd name="connsiteX1640" fmla="*/ 3498 w 10785"/>
                  <a:gd name="connsiteY1640" fmla="*/ 2410 h 10000"/>
                  <a:gd name="connsiteX1641" fmla="*/ 3498 w 10785"/>
                  <a:gd name="connsiteY1641" fmla="*/ 2436 h 10000"/>
                  <a:gd name="connsiteX1642" fmla="*/ 3507 w 10785"/>
                  <a:gd name="connsiteY1642" fmla="*/ 2462 h 10000"/>
                  <a:gd name="connsiteX1643" fmla="*/ 3507 w 10785"/>
                  <a:gd name="connsiteY1643" fmla="*/ 2496 h 10000"/>
                  <a:gd name="connsiteX1644" fmla="*/ 3512 w 10785"/>
                  <a:gd name="connsiteY1644" fmla="*/ 2521 h 10000"/>
                  <a:gd name="connsiteX1645" fmla="*/ 3525 w 10785"/>
                  <a:gd name="connsiteY1645" fmla="*/ 2556 h 10000"/>
                  <a:gd name="connsiteX1646" fmla="*/ 3571 w 10785"/>
                  <a:gd name="connsiteY1646" fmla="*/ 2573 h 10000"/>
                  <a:gd name="connsiteX1647" fmla="*/ 3590 w 10785"/>
                  <a:gd name="connsiteY1647" fmla="*/ 2598 h 10000"/>
                  <a:gd name="connsiteX1648" fmla="*/ 3599 w 10785"/>
                  <a:gd name="connsiteY1648" fmla="*/ 2598 h 10000"/>
                  <a:gd name="connsiteX1649" fmla="*/ 3604 w 10785"/>
                  <a:gd name="connsiteY1649" fmla="*/ 2632 h 10000"/>
                  <a:gd name="connsiteX1650" fmla="*/ 3599 w 10785"/>
                  <a:gd name="connsiteY1650" fmla="*/ 2658 h 10000"/>
                  <a:gd name="connsiteX1651" fmla="*/ 3590 w 10785"/>
                  <a:gd name="connsiteY1651" fmla="*/ 2667 h 10000"/>
                  <a:gd name="connsiteX1652" fmla="*/ 3604 w 10785"/>
                  <a:gd name="connsiteY1652" fmla="*/ 2667 h 10000"/>
                  <a:gd name="connsiteX1653" fmla="*/ 3613 w 10785"/>
                  <a:gd name="connsiteY1653" fmla="*/ 2692 h 10000"/>
                  <a:gd name="connsiteX1654" fmla="*/ 3627 w 10785"/>
                  <a:gd name="connsiteY1654" fmla="*/ 2735 h 10000"/>
                  <a:gd name="connsiteX1655" fmla="*/ 3631 w 10785"/>
                  <a:gd name="connsiteY1655" fmla="*/ 2744 h 10000"/>
                  <a:gd name="connsiteX1656" fmla="*/ 3659 w 10785"/>
                  <a:gd name="connsiteY1656" fmla="*/ 2761 h 10000"/>
                  <a:gd name="connsiteX1657" fmla="*/ 3673 w 10785"/>
                  <a:gd name="connsiteY1657" fmla="*/ 2769 h 10000"/>
                  <a:gd name="connsiteX1658" fmla="*/ 3673 w 10785"/>
                  <a:gd name="connsiteY1658" fmla="*/ 2761 h 10000"/>
                  <a:gd name="connsiteX1659" fmla="*/ 3687 w 10785"/>
                  <a:gd name="connsiteY1659" fmla="*/ 2829 h 10000"/>
                  <a:gd name="connsiteX1660" fmla="*/ 3677 w 10785"/>
                  <a:gd name="connsiteY1660" fmla="*/ 2897 h 10000"/>
                  <a:gd name="connsiteX1661" fmla="*/ 3673 w 10785"/>
                  <a:gd name="connsiteY1661" fmla="*/ 2915 h 10000"/>
                  <a:gd name="connsiteX1662" fmla="*/ 3664 w 10785"/>
                  <a:gd name="connsiteY1662" fmla="*/ 2957 h 10000"/>
                  <a:gd name="connsiteX1663" fmla="*/ 3659 w 10785"/>
                  <a:gd name="connsiteY1663" fmla="*/ 2983 h 10000"/>
                  <a:gd name="connsiteX1664" fmla="*/ 3664 w 10785"/>
                  <a:gd name="connsiteY1664" fmla="*/ 3017 h 10000"/>
                  <a:gd name="connsiteX1665" fmla="*/ 3659 w 10785"/>
                  <a:gd name="connsiteY1665" fmla="*/ 3043 h 10000"/>
                  <a:gd name="connsiteX1666" fmla="*/ 3677 w 10785"/>
                  <a:gd name="connsiteY1666" fmla="*/ 3094 h 10000"/>
                  <a:gd name="connsiteX1667" fmla="*/ 3691 w 10785"/>
                  <a:gd name="connsiteY1667" fmla="*/ 3282 h 10000"/>
                  <a:gd name="connsiteX1668" fmla="*/ 3691 w 10785"/>
                  <a:gd name="connsiteY1668" fmla="*/ 3308 h 10000"/>
                  <a:gd name="connsiteX1669" fmla="*/ 3677 w 10785"/>
                  <a:gd name="connsiteY1669" fmla="*/ 3342 h 10000"/>
                  <a:gd name="connsiteX1670" fmla="*/ 3664 w 10785"/>
                  <a:gd name="connsiteY1670" fmla="*/ 3342 h 10000"/>
                  <a:gd name="connsiteX1671" fmla="*/ 3650 w 10785"/>
                  <a:gd name="connsiteY1671" fmla="*/ 3342 h 10000"/>
                  <a:gd name="connsiteX1672" fmla="*/ 3650 w 10785"/>
                  <a:gd name="connsiteY1672" fmla="*/ 3350 h 10000"/>
                  <a:gd name="connsiteX1673" fmla="*/ 3659 w 10785"/>
                  <a:gd name="connsiteY1673" fmla="*/ 3402 h 10000"/>
                  <a:gd name="connsiteX1674" fmla="*/ 3659 w 10785"/>
                  <a:gd name="connsiteY1674" fmla="*/ 3419 h 10000"/>
                  <a:gd name="connsiteX1675" fmla="*/ 3631 w 10785"/>
                  <a:gd name="connsiteY1675" fmla="*/ 3402 h 10000"/>
                  <a:gd name="connsiteX1676" fmla="*/ 3604 w 10785"/>
                  <a:gd name="connsiteY1676" fmla="*/ 3393 h 10000"/>
                  <a:gd name="connsiteX1677" fmla="*/ 3599 w 10785"/>
                  <a:gd name="connsiteY1677" fmla="*/ 3368 h 10000"/>
                  <a:gd name="connsiteX1678" fmla="*/ 3590 w 10785"/>
                  <a:gd name="connsiteY1678" fmla="*/ 3239 h 10000"/>
                  <a:gd name="connsiteX1679" fmla="*/ 3599 w 10785"/>
                  <a:gd name="connsiteY1679" fmla="*/ 3179 h 10000"/>
                  <a:gd name="connsiteX1680" fmla="*/ 3599 w 10785"/>
                  <a:gd name="connsiteY1680" fmla="*/ 3171 h 10000"/>
                  <a:gd name="connsiteX1681" fmla="*/ 3599 w 10785"/>
                  <a:gd name="connsiteY1681" fmla="*/ 3009 h 10000"/>
                  <a:gd name="connsiteX1682" fmla="*/ 3604 w 10785"/>
                  <a:gd name="connsiteY1682" fmla="*/ 2983 h 10000"/>
                  <a:gd name="connsiteX1683" fmla="*/ 3645 w 10785"/>
                  <a:gd name="connsiteY1683" fmla="*/ 2932 h 10000"/>
                  <a:gd name="connsiteX1684" fmla="*/ 3650 w 10785"/>
                  <a:gd name="connsiteY1684" fmla="*/ 2872 h 10000"/>
                  <a:gd name="connsiteX1685" fmla="*/ 3659 w 10785"/>
                  <a:gd name="connsiteY1685" fmla="*/ 2855 h 10000"/>
                  <a:gd name="connsiteX1686" fmla="*/ 3659 w 10785"/>
                  <a:gd name="connsiteY1686" fmla="*/ 2821 h 10000"/>
                  <a:gd name="connsiteX1687" fmla="*/ 3631 w 10785"/>
                  <a:gd name="connsiteY1687" fmla="*/ 2795 h 10000"/>
                  <a:gd name="connsiteX1688" fmla="*/ 3567 w 10785"/>
                  <a:gd name="connsiteY1688" fmla="*/ 2821 h 10000"/>
                  <a:gd name="connsiteX1689" fmla="*/ 3544 w 10785"/>
                  <a:gd name="connsiteY1689" fmla="*/ 2795 h 10000"/>
                  <a:gd name="connsiteX1690" fmla="*/ 3530 w 10785"/>
                  <a:gd name="connsiteY1690" fmla="*/ 2769 h 10000"/>
                  <a:gd name="connsiteX1691" fmla="*/ 3530 w 10785"/>
                  <a:gd name="connsiteY1691" fmla="*/ 2786 h 10000"/>
                  <a:gd name="connsiteX1692" fmla="*/ 3498 w 10785"/>
                  <a:gd name="connsiteY1692" fmla="*/ 2692 h 10000"/>
                  <a:gd name="connsiteX1693" fmla="*/ 3498 w 10785"/>
                  <a:gd name="connsiteY1693" fmla="*/ 2667 h 10000"/>
                  <a:gd name="connsiteX1694" fmla="*/ 3442 w 10785"/>
                  <a:gd name="connsiteY1694" fmla="*/ 2607 h 10000"/>
                  <a:gd name="connsiteX1695" fmla="*/ 3433 w 10785"/>
                  <a:gd name="connsiteY1695" fmla="*/ 2581 h 10000"/>
                  <a:gd name="connsiteX1696" fmla="*/ 3396 w 10785"/>
                  <a:gd name="connsiteY1696" fmla="*/ 2556 h 10000"/>
                  <a:gd name="connsiteX1697" fmla="*/ 3318 w 10785"/>
                  <a:gd name="connsiteY1697" fmla="*/ 2556 h 10000"/>
                  <a:gd name="connsiteX1698" fmla="*/ 3304 w 10785"/>
                  <a:gd name="connsiteY1698" fmla="*/ 2607 h 10000"/>
                  <a:gd name="connsiteX1699" fmla="*/ 3276 w 10785"/>
                  <a:gd name="connsiteY1699" fmla="*/ 2632 h 10000"/>
                  <a:gd name="connsiteX1700" fmla="*/ 3272 w 10785"/>
                  <a:gd name="connsiteY1700" fmla="*/ 2667 h 10000"/>
                  <a:gd name="connsiteX1701" fmla="*/ 3304 w 10785"/>
                  <a:gd name="connsiteY1701" fmla="*/ 2667 h 10000"/>
                  <a:gd name="connsiteX1702" fmla="*/ 3323 w 10785"/>
                  <a:gd name="connsiteY1702" fmla="*/ 2692 h 10000"/>
                  <a:gd name="connsiteX1703" fmla="*/ 3318 w 10785"/>
                  <a:gd name="connsiteY1703" fmla="*/ 2735 h 10000"/>
                  <a:gd name="connsiteX1704" fmla="*/ 3304 w 10785"/>
                  <a:gd name="connsiteY1704" fmla="*/ 2761 h 10000"/>
                  <a:gd name="connsiteX1705" fmla="*/ 3276 w 10785"/>
                  <a:gd name="connsiteY1705" fmla="*/ 2769 h 10000"/>
                  <a:gd name="connsiteX1706" fmla="*/ 3263 w 10785"/>
                  <a:gd name="connsiteY1706" fmla="*/ 2795 h 10000"/>
                  <a:gd name="connsiteX1707" fmla="*/ 3235 w 10785"/>
                  <a:gd name="connsiteY1707" fmla="*/ 2803 h 10000"/>
                  <a:gd name="connsiteX1708" fmla="*/ 3235 w 10785"/>
                  <a:gd name="connsiteY1708" fmla="*/ 2786 h 10000"/>
                  <a:gd name="connsiteX1709" fmla="*/ 3212 w 10785"/>
                  <a:gd name="connsiteY1709" fmla="*/ 2709 h 10000"/>
                  <a:gd name="connsiteX1710" fmla="*/ 3198 w 10785"/>
                  <a:gd name="connsiteY1710" fmla="*/ 2709 h 10000"/>
                  <a:gd name="connsiteX1711" fmla="*/ 3184 w 10785"/>
                  <a:gd name="connsiteY1711" fmla="*/ 2735 h 10000"/>
                  <a:gd name="connsiteX1712" fmla="*/ 3189 w 10785"/>
                  <a:gd name="connsiteY1712" fmla="*/ 2761 h 10000"/>
                  <a:gd name="connsiteX1713" fmla="*/ 3203 w 10785"/>
                  <a:gd name="connsiteY1713" fmla="*/ 2855 h 10000"/>
                  <a:gd name="connsiteX1714" fmla="*/ 3212 w 10785"/>
                  <a:gd name="connsiteY1714" fmla="*/ 2872 h 10000"/>
                  <a:gd name="connsiteX1715" fmla="*/ 3235 w 10785"/>
                  <a:gd name="connsiteY1715" fmla="*/ 2906 h 10000"/>
                  <a:gd name="connsiteX1716" fmla="*/ 3258 w 10785"/>
                  <a:gd name="connsiteY1716" fmla="*/ 2915 h 10000"/>
                  <a:gd name="connsiteX1717" fmla="*/ 3272 w 10785"/>
                  <a:gd name="connsiteY1717" fmla="*/ 2957 h 10000"/>
                  <a:gd name="connsiteX1718" fmla="*/ 3276 w 10785"/>
                  <a:gd name="connsiteY1718" fmla="*/ 2957 h 10000"/>
                  <a:gd name="connsiteX1719" fmla="*/ 3286 w 10785"/>
                  <a:gd name="connsiteY1719" fmla="*/ 2966 h 10000"/>
                  <a:gd name="connsiteX1720" fmla="*/ 3300 w 10785"/>
                  <a:gd name="connsiteY1720" fmla="*/ 2957 h 10000"/>
                  <a:gd name="connsiteX1721" fmla="*/ 3309 w 10785"/>
                  <a:gd name="connsiteY1721" fmla="*/ 2932 h 10000"/>
                  <a:gd name="connsiteX1722" fmla="*/ 3304 w 10785"/>
                  <a:gd name="connsiteY1722" fmla="*/ 2966 h 10000"/>
                  <a:gd name="connsiteX1723" fmla="*/ 3309 w 10785"/>
                  <a:gd name="connsiteY1723" fmla="*/ 2983 h 10000"/>
                  <a:gd name="connsiteX1724" fmla="*/ 3323 w 10785"/>
                  <a:gd name="connsiteY1724" fmla="*/ 2966 h 10000"/>
                  <a:gd name="connsiteX1725" fmla="*/ 3323 w 10785"/>
                  <a:gd name="connsiteY1725" fmla="*/ 3043 h 10000"/>
                  <a:gd name="connsiteX1726" fmla="*/ 3346 w 10785"/>
                  <a:gd name="connsiteY1726" fmla="*/ 3068 h 10000"/>
                  <a:gd name="connsiteX1727" fmla="*/ 3346 w 10785"/>
                  <a:gd name="connsiteY1727" fmla="*/ 3094 h 10000"/>
                  <a:gd name="connsiteX1728" fmla="*/ 3323 w 10785"/>
                  <a:gd name="connsiteY1728" fmla="*/ 3094 h 10000"/>
                  <a:gd name="connsiteX1729" fmla="*/ 3309 w 10785"/>
                  <a:gd name="connsiteY1729" fmla="*/ 3077 h 10000"/>
                  <a:gd name="connsiteX1730" fmla="*/ 3304 w 10785"/>
                  <a:gd name="connsiteY1730" fmla="*/ 3051 h 10000"/>
                  <a:gd name="connsiteX1731" fmla="*/ 3300 w 10785"/>
                  <a:gd name="connsiteY1731" fmla="*/ 3043 h 10000"/>
                  <a:gd name="connsiteX1732" fmla="*/ 3286 w 10785"/>
                  <a:gd name="connsiteY1732" fmla="*/ 3017 h 10000"/>
                  <a:gd name="connsiteX1733" fmla="*/ 3152 w 10785"/>
                  <a:gd name="connsiteY1733" fmla="*/ 2966 h 10000"/>
                  <a:gd name="connsiteX1734" fmla="*/ 3129 w 10785"/>
                  <a:gd name="connsiteY1734" fmla="*/ 2915 h 10000"/>
                  <a:gd name="connsiteX1735" fmla="*/ 3129 w 10785"/>
                  <a:gd name="connsiteY1735" fmla="*/ 2906 h 10000"/>
                  <a:gd name="connsiteX1736" fmla="*/ 3152 w 10785"/>
                  <a:gd name="connsiteY1736" fmla="*/ 2906 h 10000"/>
                  <a:gd name="connsiteX1737" fmla="*/ 3152 w 10785"/>
                  <a:gd name="connsiteY1737" fmla="*/ 2846 h 10000"/>
                  <a:gd name="connsiteX1738" fmla="*/ 3138 w 10785"/>
                  <a:gd name="connsiteY1738" fmla="*/ 2795 h 10000"/>
                  <a:gd name="connsiteX1739" fmla="*/ 3138 w 10785"/>
                  <a:gd name="connsiteY1739" fmla="*/ 2769 h 10000"/>
                  <a:gd name="connsiteX1740" fmla="*/ 3143 w 10785"/>
                  <a:gd name="connsiteY1740" fmla="*/ 2718 h 10000"/>
                  <a:gd name="connsiteX1741" fmla="*/ 3129 w 10785"/>
                  <a:gd name="connsiteY1741" fmla="*/ 2692 h 10000"/>
                  <a:gd name="connsiteX1742" fmla="*/ 3143 w 10785"/>
                  <a:gd name="connsiteY1742" fmla="*/ 2667 h 10000"/>
                  <a:gd name="connsiteX1743" fmla="*/ 3157 w 10785"/>
                  <a:gd name="connsiteY1743" fmla="*/ 2581 h 10000"/>
                  <a:gd name="connsiteX1744" fmla="*/ 3143 w 10785"/>
                  <a:gd name="connsiteY1744" fmla="*/ 2496 h 10000"/>
                  <a:gd name="connsiteX1745" fmla="*/ 3157 w 10785"/>
                  <a:gd name="connsiteY1745" fmla="*/ 2487 h 10000"/>
                  <a:gd name="connsiteX1746" fmla="*/ 3143 w 10785"/>
                  <a:gd name="connsiteY1746" fmla="*/ 2444 h 10000"/>
                  <a:gd name="connsiteX1747" fmla="*/ 3143 w 10785"/>
                  <a:gd name="connsiteY1747" fmla="*/ 2419 h 10000"/>
                  <a:gd name="connsiteX1748" fmla="*/ 3143 w 10785"/>
                  <a:gd name="connsiteY1748" fmla="*/ 2410 h 10000"/>
                  <a:gd name="connsiteX1749" fmla="*/ 3124 w 10785"/>
                  <a:gd name="connsiteY1749" fmla="*/ 2376 h 10000"/>
                  <a:gd name="connsiteX1750" fmla="*/ 3115 w 10785"/>
                  <a:gd name="connsiteY1750" fmla="*/ 2350 h 10000"/>
                  <a:gd name="connsiteX1751" fmla="*/ 3101 w 10785"/>
                  <a:gd name="connsiteY1751" fmla="*/ 2359 h 10000"/>
                  <a:gd name="connsiteX1752" fmla="*/ 3115 w 10785"/>
                  <a:gd name="connsiteY1752" fmla="*/ 2581 h 10000"/>
                  <a:gd name="connsiteX1753" fmla="*/ 3111 w 10785"/>
                  <a:gd name="connsiteY1753" fmla="*/ 2624 h 10000"/>
                  <a:gd name="connsiteX1754" fmla="*/ 3009 w 10785"/>
                  <a:gd name="connsiteY1754" fmla="*/ 2761 h 10000"/>
                  <a:gd name="connsiteX1755" fmla="*/ 3009 w 10785"/>
                  <a:gd name="connsiteY1755" fmla="*/ 2803 h 10000"/>
                  <a:gd name="connsiteX1756" fmla="*/ 3005 w 10785"/>
                  <a:gd name="connsiteY1756" fmla="*/ 2829 h 10000"/>
                  <a:gd name="connsiteX1757" fmla="*/ 2982 w 10785"/>
                  <a:gd name="connsiteY1757" fmla="*/ 2872 h 10000"/>
                  <a:gd name="connsiteX1758" fmla="*/ 2982 w 10785"/>
                  <a:gd name="connsiteY1758" fmla="*/ 2880 h 10000"/>
                  <a:gd name="connsiteX1759" fmla="*/ 3037 w 10785"/>
                  <a:gd name="connsiteY1759" fmla="*/ 3034 h 10000"/>
                  <a:gd name="connsiteX1760" fmla="*/ 3041 w 10785"/>
                  <a:gd name="connsiteY1760" fmla="*/ 3103 h 10000"/>
                  <a:gd name="connsiteX1761" fmla="*/ 3069 w 10785"/>
                  <a:gd name="connsiteY1761" fmla="*/ 3188 h 10000"/>
                  <a:gd name="connsiteX1762" fmla="*/ 3055 w 10785"/>
                  <a:gd name="connsiteY1762" fmla="*/ 3325 h 10000"/>
                  <a:gd name="connsiteX1763" fmla="*/ 3037 w 10785"/>
                  <a:gd name="connsiteY1763" fmla="*/ 3368 h 10000"/>
                  <a:gd name="connsiteX1764" fmla="*/ 3037 w 10785"/>
                  <a:gd name="connsiteY1764" fmla="*/ 3444 h 10000"/>
                  <a:gd name="connsiteX1765" fmla="*/ 3028 w 10785"/>
                  <a:gd name="connsiteY1765" fmla="*/ 3453 h 10000"/>
                  <a:gd name="connsiteX1766" fmla="*/ 3023 w 10785"/>
                  <a:gd name="connsiteY1766" fmla="*/ 3530 h 10000"/>
                  <a:gd name="connsiteX1767" fmla="*/ 3051 w 10785"/>
                  <a:gd name="connsiteY1767" fmla="*/ 3624 h 10000"/>
                  <a:gd name="connsiteX1768" fmla="*/ 3037 w 10785"/>
                  <a:gd name="connsiteY1768" fmla="*/ 3718 h 10000"/>
                  <a:gd name="connsiteX1769" fmla="*/ 3041 w 10785"/>
                  <a:gd name="connsiteY1769" fmla="*/ 3752 h 10000"/>
                  <a:gd name="connsiteX1770" fmla="*/ 3055 w 10785"/>
                  <a:gd name="connsiteY1770" fmla="*/ 3761 h 10000"/>
                  <a:gd name="connsiteX1771" fmla="*/ 3078 w 10785"/>
                  <a:gd name="connsiteY1771" fmla="*/ 3752 h 10000"/>
                  <a:gd name="connsiteX1772" fmla="*/ 3092 w 10785"/>
                  <a:gd name="connsiteY1772" fmla="*/ 3752 h 10000"/>
                  <a:gd name="connsiteX1773" fmla="*/ 3129 w 10785"/>
                  <a:gd name="connsiteY1773" fmla="*/ 3761 h 10000"/>
                  <a:gd name="connsiteX1774" fmla="*/ 3129 w 10785"/>
                  <a:gd name="connsiteY1774" fmla="*/ 3735 h 10000"/>
                  <a:gd name="connsiteX1775" fmla="*/ 3157 w 10785"/>
                  <a:gd name="connsiteY1775" fmla="*/ 3718 h 10000"/>
                  <a:gd name="connsiteX1776" fmla="*/ 3184 w 10785"/>
                  <a:gd name="connsiteY1776" fmla="*/ 3718 h 10000"/>
                  <a:gd name="connsiteX1777" fmla="*/ 3290 w 10785"/>
                  <a:gd name="connsiteY1777" fmla="*/ 3838 h 10000"/>
                  <a:gd name="connsiteX1778" fmla="*/ 3300 w 10785"/>
                  <a:gd name="connsiteY1778" fmla="*/ 3846 h 10000"/>
                  <a:gd name="connsiteX1779" fmla="*/ 3300 w 10785"/>
                  <a:gd name="connsiteY1779" fmla="*/ 3915 h 10000"/>
                  <a:gd name="connsiteX1780" fmla="*/ 3318 w 10785"/>
                  <a:gd name="connsiteY1780" fmla="*/ 4000 h 10000"/>
                  <a:gd name="connsiteX1781" fmla="*/ 3323 w 10785"/>
                  <a:gd name="connsiteY1781" fmla="*/ 4000 h 10000"/>
                  <a:gd name="connsiteX1782" fmla="*/ 3323 w 10785"/>
                  <a:gd name="connsiteY1782" fmla="*/ 4034 h 10000"/>
                  <a:gd name="connsiteX1783" fmla="*/ 3318 w 10785"/>
                  <a:gd name="connsiteY1783" fmla="*/ 4051 h 10000"/>
                  <a:gd name="connsiteX1784" fmla="*/ 3300 w 10785"/>
                  <a:gd name="connsiteY1784" fmla="*/ 4051 h 10000"/>
                  <a:gd name="connsiteX1785" fmla="*/ 3290 w 10785"/>
                  <a:gd name="connsiteY1785" fmla="*/ 4077 h 10000"/>
                  <a:gd name="connsiteX1786" fmla="*/ 3286 w 10785"/>
                  <a:gd name="connsiteY1786" fmla="*/ 4103 h 10000"/>
                  <a:gd name="connsiteX1787" fmla="*/ 3286 w 10785"/>
                  <a:gd name="connsiteY1787" fmla="*/ 4197 h 10000"/>
                  <a:gd name="connsiteX1788" fmla="*/ 3290 w 10785"/>
                  <a:gd name="connsiteY1788" fmla="*/ 4214 h 10000"/>
                  <a:gd name="connsiteX1789" fmla="*/ 3304 w 10785"/>
                  <a:gd name="connsiteY1789" fmla="*/ 4214 h 10000"/>
                  <a:gd name="connsiteX1790" fmla="*/ 3323 w 10785"/>
                  <a:gd name="connsiteY1790" fmla="*/ 4239 h 10000"/>
                  <a:gd name="connsiteX1791" fmla="*/ 3350 w 10785"/>
                  <a:gd name="connsiteY1791" fmla="*/ 4222 h 10000"/>
                  <a:gd name="connsiteX1792" fmla="*/ 3369 w 10785"/>
                  <a:gd name="connsiteY1792" fmla="*/ 4256 h 10000"/>
                  <a:gd name="connsiteX1793" fmla="*/ 3369 w 10785"/>
                  <a:gd name="connsiteY1793" fmla="*/ 4256 h 10000"/>
                  <a:gd name="connsiteX1794" fmla="*/ 3336 w 10785"/>
                  <a:gd name="connsiteY1794" fmla="*/ 4274 h 10000"/>
                  <a:gd name="connsiteX1795" fmla="*/ 3323 w 10785"/>
                  <a:gd name="connsiteY1795" fmla="*/ 4274 h 10000"/>
                  <a:gd name="connsiteX1796" fmla="*/ 3290 w 10785"/>
                  <a:gd name="connsiteY1796" fmla="*/ 4274 h 10000"/>
                  <a:gd name="connsiteX1797" fmla="*/ 3286 w 10785"/>
                  <a:gd name="connsiteY1797" fmla="*/ 4239 h 10000"/>
                  <a:gd name="connsiteX1798" fmla="*/ 3263 w 10785"/>
                  <a:gd name="connsiteY1798" fmla="*/ 4214 h 10000"/>
                  <a:gd name="connsiteX1799" fmla="*/ 3258 w 10785"/>
                  <a:gd name="connsiteY1799" fmla="*/ 4188 h 10000"/>
                  <a:gd name="connsiteX1800" fmla="*/ 3263 w 10785"/>
                  <a:gd name="connsiteY1800" fmla="*/ 4171 h 10000"/>
                  <a:gd name="connsiteX1801" fmla="*/ 3263 w 10785"/>
                  <a:gd name="connsiteY1801" fmla="*/ 4103 h 10000"/>
                  <a:gd name="connsiteX1802" fmla="*/ 3276 w 10785"/>
                  <a:gd name="connsiteY1802" fmla="*/ 4060 h 10000"/>
                  <a:gd name="connsiteX1803" fmla="*/ 3272 w 10785"/>
                  <a:gd name="connsiteY1803" fmla="*/ 4051 h 10000"/>
                  <a:gd name="connsiteX1804" fmla="*/ 3263 w 10785"/>
                  <a:gd name="connsiteY1804" fmla="*/ 4051 h 10000"/>
                  <a:gd name="connsiteX1805" fmla="*/ 3263 w 10785"/>
                  <a:gd name="connsiteY1805" fmla="*/ 4034 h 10000"/>
                  <a:gd name="connsiteX1806" fmla="*/ 3263 w 10785"/>
                  <a:gd name="connsiteY1806" fmla="*/ 4000 h 10000"/>
                  <a:gd name="connsiteX1807" fmla="*/ 3272 w 10785"/>
                  <a:gd name="connsiteY1807" fmla="*/ 4000 h 10000"/>
                  <a:gd name="connsiteX1808" fmla="*/ 3272 w 10785"/>
                  <a:gd name="connsiteY1808" fmla="*/ 3974 h 10000"/>
                  <a:gd name="connsiteX1809" fmla="*/ 3272 w 10785"/>
                  <a:gd name="connsiteY1809" fmla="*/ 3966 h 10000"/>
                  <a:gd name="connsiteX1810" fmla="*/ 3272 w 10785"/>
                  <a:gd name="connsiteY1810" fmla="*/ 3949 h 10000"/>
                  <a:gd name="connsiteX1811" fmla="*/ 3258 w 10785"/>
                  <a:gd name="connsiteY1811" fmla="*/ 3923 h 10000"/>
                  <a:gd name="connsiteX1812" fmla="*/ 3249 w 10785"/>
                  <a:gd name="connsiteY1812" fmla="*/ 3915 h 10000"/>
                  <a:gd name="connsiteX1813" fmla="*/ 3244 w 10785"/>
                  <a:gd name="connsiteY1813" fmla="*/ 3897 h 10000"/>
                  <a:gd name="connsiteX1814" fmla="*/ 3230 w 10785"/>
                  <a:gd name="connsiteY1814" fmla="*/ 3889 h 10000"/>
                  <a:gd name="connsiteX1815" fmla="*/ 3230 w 10785"/>
                  <a:gd name="connsiteY1815" fmla="*/ 3863 h 10000"/>
                  <a:gd name="connsiteX1816" fmla="*/ 3230 w 10785"/>
                  <a:gd name="connsiteY1816" fmla="*/ 3838 h 10000"/>
                  <a:gd name="connsiteX1817" fmla="*/ 3226 w 10785"/>
                  <a:gd name="connsiteY1817" fmla="*/ 3803 h 10000"/>
                  <a:gd name="connsiteX1818" fmla="*/ 3138 w 10785"/>
                  <a:gd name="connsiteY1818" fmla="*/ 3838 h 10000"/>
                  <a:gd name="connsiteX1819" fmla="*/ 3078 w 10785"/>
                  <a:gd name="connsiteY1819" fmla="*/ 3889 h 10000"/>
                  <a:gd name="connsiteX1820" fmla="*/ 3078 w 10785"/>
                  <a:gd name="connsiteY1820" fmla="*/ 3940 h 10000"/>
                  <a:gd name="connsiteX1821" fmla="*/ 3069 w 10785"/>
                  <a:gd name="connsiteY1821" fmla="*/ 3983 h 10000"/>
                  <a:gd name="connsiteX1822" fmla="*/ 3069 w 10785"/>
                  <a:gd name="connsiteY1822" fmla="*/ 4009 h 10000"/>
                  <a:gd name="connsiteX1823" fmla="*/ 3078 w 10785"/>
                  <a:gd name="connsiteY1823" fmla="*/ 4026 h 10000"/>
                  <a:gd name="connsiteX1824" fmla="*/ 3083 w 10785"/>
                  <a:gd name="connsiteY1824" fmla="*/ 4034 h 10000"/>
                  <a:gd name="connsiteX1825" fmla="*/ 3092 w 10785"/>
                  <a:gd name="connsiteY1825" fmla="*/ 4060 h 10000"/>
                  <a:gd name="connsiteX1826" fmla="*/ 3092 w 10785"/>
                  <a:gd name="connsiteY1826" fmla="*/ 4077 h 10000"/>
                  <a:gd name="connsiteX1827" fmla="*/ 3097 w 10785"/>
                  <a:gd name="connsiteY1827" fmla="*/ 4103 h 10000"/>
                  <a:gd name="connsiteX1828" fmla="*/ 3101 w 10785"/>
                  <a:gd name="connsiteY1828" fmla="*/ 4162 h 10000"/>
                  <a:gd name="connsiteX1829" fmla="*/ 3097 w 10785"/>
                  <a:gd name="connsiteY1829" fmla="*/ 4222 h 10000"/>
                  <a:gd name="connsiteX1830" fmla="*/ 3041 w 10785"/>
                  <a:gd name="connsiteY1830" fmla="*/ 4325 h 10000"/>
                  <a:gd name="connsiteX1831" fmla="*/ 3037 w 10785"/>
                  <a:gd name="connsiteY1831" fmla="*/ 4419 h 10000"/>
                  <a:gd name="connsiteX1832" fmla="*/ 3018 w 10785"/>
                  <a:gd name="connsiteY1832" fmla="*/ 4470 h 10000"/>
                  <a:gd name="connsiteX1833" fmla="*/ 2991 w 10785"/>
                  <a:gd name="connsiteY1833" fmla="*/ 4513 h 10000"/>
                  <a:gd name="connsiteX1834" fmla="*/ 2977 w 10785"/>
                  <a:gd name="connsiteY1834" fmla="*/ 4530 h 10000"/>
                  <a:gd name="connsiteX1835" fmla="*/ 2945 w 10785"/>
                  <a:gd name="connsiteY1835" fmla="*/ 4556 h 10000"/>
                  <a:gd name="connsiteX1836" fmla="*/ 2935 w 10785"/>
                  <a:gd name="connsiteY1836" fmla="*/ 4581 h 10000"/>
                  <a:gd name="connsiteX1837" fmla="*/ 2949 w 10785"/>
                  <a:gd name="connsiteY1837" fmla="*/ 4624 h 10000"/>
                  <a:gd name="connsiteX1838" fmla="*/ 2945 w 10785"/>
                  <a:gd name="connsiteY1838" fmla="*/ 4658 h 10000"/>
                  <a:gd name="connsiteX1839" fmla="*/ 2922 w 10785"/>
                  <a:gd name="connsiteY1839" fmla="*/ 4667 h 10000"/>
                  <a:gd name="connsiteX1840" fmla="*/ 2876 w 10785"/>
                  <a:gd name="connsiteY1840" fmla="*/ 4632 h 10000"/>
                  <a:gd name="connsiteX1841" fmla="*/ 2857 w 10785"/>
                  <a:gd name="connsiteY1841" fmla="*/ 4632 h 10000"/>
                  <a:gd name="connsiteX1842" fmla="*/ 2820 w 10785"/>
                  <a:gd name="connsiteY1842" fmla="*/ 4641 h 10000"/>
                  <a:gd name="connsiteX1843" fmla="*/ 2797 w 10785"/>
                  <a:gd name="connsiteY1843" fmla="*/ 4632 h 10000"/>
                  <a:gd name="connsiteX1844" fmla="*/ 2788 w 10785"/>
                  <a:gd name="connsiteY1844" fmla="*/ 4624 h 10000"/>
                  <a:gd name="connsiteX1845" fmla="*/ 2788 w 10785"/>
                  <a:gd name="connsiteY1845" fmla="*/ 4598 h 10000"/>
                  <a:gd name="connsiteX1846" fmla="*/ 2797 w 10785"/>
                  <a:gd name="connsiteY1846" fmla="*/ 4581 h 10000"/>
                  <a:gd name="connsiteX1847" fmla="*/ 2788 w 10785"/>
                  <a:gd name="connsiteY1847" fmla="*/ 4530 h 10000"/>
                  <a:gd name="connsiteX1848" fmla="*/ 2774 w 10785"/>
                  <a:gd name="connsiteY1848" fmla="*/ 4530 h 10000"/>
                  <a:gd name="connsiteX1849" fmla="*/ 2770 w 10785"/>
                  <a:gd name="connsiteY1849" fmla="*/ 4513 h 10000"/>
                  <a:gd name="connsiteX1850" fmla="*/ 2774 w 10785"/>
                  <a:gd name="connsiteY1850" fmla="*/ 4513 h 10000"/>
                  <a:gd name="connsiteX1851" fmla="*/ 2788 w 10785"/>
                  <a:gd name="connsiteY1851" fmla="*/ 4496 h 10000"/>
                  <a:gd name="connsiteX1852" fmla="*/ 2802 w 10785"/>
                  <a:gd name="connsiteY1852" fmla="*/ 4513 h 10000"/>
                  <a:gd name="connsiteX1853" fmla="*/ 2811 w 10785"/>
                  <a:gd name="connsiteY1853" fmla="*/ 4530 h 10000"/>
                  <a:gd name="connsiteX1854" fmla="*/ 2820 w 10785"/>
                  <a:gd name="connsiteY1854" fmla="*/ 4521 h 10000"/>
                  <a:gd name="connsiteX1855" fmla="*/ 2829 w 10785"/>
                  <a:gd name="connsiteY1855" fmla="*/ 4513 h 10000"/>
                  <a:gd name="connsiteX1856" fmla="*/ 2843 w 10785"/>
                  <a:gd name="connsiteY1856" fmla="*/ 4513 h 10000"/>
                  <a:gd name="connsiteX1857" fmla="*/ 2848 w 10785"/>
                  <a:gd name="connsiteY1857" fmla="*/ 4470 h 10000"/>
                  <a:gd name="connsiteX1858" fmla="*/ 2862 w 10785"/>
                  <a:gd name="connsiteY1858" fmla="*/ 4487 h 10000"/>
                  <a:gd name="connsiteX1859" fmla="*/ 2876 w 10785"/>
                  <a:gd name="connsiteY1859" fmla="*/ 4470 h 10000"/>
                  <a:gd name="connsiteX1860" fmla="*/ 2880 w 10785"/>
                  <a:gd name="connsiteY1860" fmla="*/ 4462 h 10000"/>
                  <a:gd name="connsiteX1861" fmla="*/ 2889 w 10785"/>
                  <a:gd name="connsiteY1861" fmla="*/ 4444 h 10000"/>
                  <a:gd name="connsiteX1862" fmla="*/ 2894 w 10785"/>
                  <a:gd name="connsiteY1862" fmla="*/ 4462 h 10000"/>
                  <a:gd name="connsiteX1863" fmla="*/ 2917 w 10785"/>
                  <a:gd name="connsiteY1863" fmla="*/ 4444 h 10000"/>
                  <a:gd name="connsiteX1864" fmla="*/ 2922 w 10785"/>
                  <a:gd name="connsiteY1864" fmla="*/ 4436 h 10000"/>
                  <a:gd name="connsiteX1865" fmla="*/ 2917 w 10785"/>
                  <a:gd name="connsiteY1865" fmla="*/ 4410 h 10000"/>
                  <a:gd name="connsiteX1866" fmla="*/ 2894 w 10785"/>
                  <a:gd name="connsiteY1866" fmla="*/ 4410 h 10000"/>
                  <a:gd name="connsiteX1867" fmla="*/ 2889 w 10785"/>
                  <a:gd name="connsiteY1867" fmla="*/ 4419 h 10000"/>
                  <a:gd name="connsiteX1868" fmla="*/ 2876 w 10785"/>
                  <a:gd name="connsiteY1868" fmla="*/ 4410 h 10000"/>
                  <a:gd name="connsiteX1869" fmla="*/ 2880 w 10785"/>
                  <a:gd name="connsiteY1869" fmla="*/ 4376 h 10000"/>
                  <a:gd name="connsiteX1870" fmla="*/ 2903 w 10785"/>
                  <a:gd name="connsiteY1870" fmla="*/ 4393 h 10000"/>
                  <a:gd name="connsiteX1871" fmla="*/ 2931 w 10785"/>
                  <a:gd name="connsiteY1871" fmla="*/ 4393 h 10000"/>
                  <a:gd name="connsiteX1872" fmla="*/ 2931 w 10785"/>
                  <a:gd name="connsiteY1872" fmla="*/ 4385 h 10000"/>
                  <a:gd name="connsiteX1873" fmla="*/ 2931 w 10785"/>
                  <a:gd name="connsiteY1873" fmla="*/ 4350 h 10000"/>
                  <a:gd name="connsiteX1874" fmla="*/ 2945 w 10785"/>
                  <a:gd name="connsiteY1874" fmla="*/ 4350 h 10000"/>
                  <a:gd name="connsiteX1875" fmla="*/ 2949 w 10785"/>
                  <a:gd name="connsiteY1875" fmla="*/ 4325 h 10000"/>
                  <a:gd name="connsiteX1876" fmla="*/ 2963 w 10785"/>
                  <a:gd name="connsiteY1876" fmla="*/ 4256 h 10000"/>
                  <a:gd name="connsiteX1877" fmla="*/ 2982 w 10785"/>
                  <a:gd name="connsiteY1877" fmla="*/ 4239 h 10000"/>
                  <a:gd name="connsiteX1878" fmla="*/ 2991 w 10785"/>
                  <a:gd name="connsiteY1878" fmla="*/ 4214 h 10000"/>
                  <a:gd name="connsiteX1879" fmla="*/ 2991 w 10785"/>
                  <a:gd name="connsiteY1879" fmla="*/ 4197 h 10000"/>
                  <a:gd name="connsiteX1880" fmla="*/ 2995 w 10785"/>
                  <a:gd name="connsiteY1880" fmla="*/ 4171 h 10000"/>
                  <a:gd name="connsiteX1881" fmla="*/ 2991 w 10785"/>
                  <a:gd name="connsiteY1881" fmla="*/ 4077 h 10000"/>
                  <a:gd name="connsiteX1882" fmla="*/ 2995 w 10785"/>
                  <a:gd name="connsiteY1882" fmla="*/ 4034 h 10000"/>
                  <a:gd name="connsiteX1883" fmla="*/ 3018 w 10785"/>
                  <a:gd name="connsiteY1883" fmla="*/ 3983 h 10000"/>
                  <a:gd name="connsiteX1884" fmla="*/ 3018 w 10785"/>
                  <a:gd name="connsiteY1884" fmla="*/ 3915 h 10000"/>
                  <a:gd name="connsiteX1885" fmla="*/ 2949 w 10785"/>
                  <a:gd name="connsiteY1885" fmla="*/ 3778 h 10000"/>
                  <a:gd name="connsiteX1886" fmla="*/ 2954 w 10785"/>
                  <a:gd name="connsiteY1886" fmla="*/ 3675 h 10000"/>
                  <a:gd name="connsiteX1887" fmla="*/ 2954 w 10785"/>
                  <a:gd name="connsiteY1887" fmla="*/ 3650 h 10000"/>
                  <a:gd name="connsiteX1888" fmla="*/ 2963 w 10785"/>
                  <a:gd name="connsiteY1888" fmla="*/ 3624 h 10000"/>
                  <a:gd name="connsiteX1889" fmla="*/ 2954 w 10785"/>
                  <a:gd name="connsiteY1889" fmla="*/ 3564 h 10000"/>
                  <a:gd name="connsiteX1890" fmla="*/ 2963 w 10785"/>
                  <a:gd name="connsiteY1890" fmla="*/ 3538 h 10000"/>
                  <a:gd name="connsiteX1891" fmla="*/ 2963 w 10785"/>
                  <a:gd name="connsiteY1891" fmla="*/ 3487 h 10000"/>
                  <a:gd name="connsiteX1892" fmla="*/ 2963 w 10785"/>
                  <a:gd name="connsiteY1892" fmla="*/ 3479 h 10000"/>
                  <a:gd name="connsiteX1893" fmla="*/ 2963 w 10785"/>
                  <a:gd name="connsiteY1893" fmla="*/ 3462 h 10000"/>
                  <a:gd name="connsiteX1894" fmla="*/ 2954 w 10785"/>
                  <a:gd name="connsiteY1894" fmla="*/ 3453 h 10000"/>
                  <a:gd name="connsiteX1895" fmla="*/ 2954 w 10785"/>
                  <a:gd name="connsiteY1895" fmla="*/ 3444 h 10000"/>
                  <a:gd name="connsiteX1896" fmla="*/ 2954 w 10785"/>
                  <a:gd name="connsiteY1896" fmla="*/ 3402 h 10000"/>
                  <a:gd name="connsiteX1897" fmla="*/ 2954 w 10785"/>
                  <a:gd name="connsiteY1897" fmla="*/ 3393 h 10000"/>
                  <a:gd name="connsiteX1898" fmla="*/ 2949 w 10785"/>
                  <a:gd name="connsiteY1898" fmla="*/ 3376 h 10000"/>
                  <a:gd name="connsiteX1899" fmla="*/ 2949 w 10785"/>
                  <a:gd name="connsiteY1899" fmla="*/ 3342 h 10000"/>
                  <a:gd name="connsiteX1900" fmla="*/ 2949 w 10785"/>
                  <a:gd name="connsiteY1900" fmla="*/ 3316 h 10000"/>
                  <a:gd name="connsiteX1901" fmla="*/ 2968 w 10785"/>
                  <a:gd name="connsiteY1901" fmla="*/ 3291 h 10000"/>
                  <a:gd name="connsiteX1902" fmla="*/ 2963 w 10785"/>
                  <a:gd name="connsiteY1902" fmla="*/ 3205 h 10000"/>
                  <a:gd name="connsiteX1903" fmla="*/ 2968 w 10785"/>
                  <a:gd name="connsiteY1903" fmla="*/ 3171 h 10000"/>
                  <a:gd name="connsiteX1904" fmla="*/ 2968 w 10785"/>
                  <a:gd name="connsiteY1904" fmla="*/ 3128 h 10000"/>
                  <a:gd name="connsiteX1905" fmla="*/ 2954 w 10785"/>
                  <a:gd name="connsiteY1905" fmla="*/ 3051 h 10000"/>
                  <a:gd name="connsiteX1906" fmla="*/ 2954 w 10785"/>
                  <a:gd name="connsiteY1906" fmla="*/ 3009 h 10000"/>
                  <a:gd name="connsiteX1907" fmla="*/ 2922 w 10785"/>
                  <a:gd name="connsiteY1907" fmla="*/ 2940 h 10000"/>
                  <a:gd name="connsiteX1908" fmla="*/ 2903 w 10785"/>
                  <a:gd name="connsiteY1908" fmla="*/ 2880 h 10000"/>
                  <a:gd name="connsiteX1909" fmla="*/ 2903 w 10785"/>
                  <a:gd name="connsiteY1909" fmla="*/ 2855 h 10000"/>
                  <a:gd name="connsiteX1910" fmla="*/ 2908 w 10785"/>
                  <a:gd name="connsiteY1910" fmla="*/ 2846 h 10000"/>
                  <a:gd name="connsiteX1911" fmla="*/ 2931 w 10785"/>
                  <a:gd name="connsiteY1911" fmla="*/ 2821 h 10000"/>
                  <a:gd name="connsiteX1912" fmla="*/ 2931 w 10785"/>
                  <a:gd name="connsiteY1912" fmla="*/ 2803 h 10000"/>
                  <a:gd name="connsiteX1913" fmla="*/ 2935 w 10785"/>
                  <a:gd name="connsiteY1913" fmla="*/ 2786 h 10000"/>
                  <a:gd name="connsiteX1914" fmla="*/ 2935 w 10785"/>
                  <a:gd name="connsiteY1914" fmla="*/ 2744 h 10000"/>
                  <a:gd name="connsiteX1915" fmla="*/ 2963 w 10785"/>
                  <a:gd name="connsiteY1915" fmla="*/ 2607 h 10000"/>
                  <a:gd name="connsiteX1916" fmla="*/ 2963 w 10785"/>
                  <a:gd name="connsiteY1916" fmla="*/ 2419 h 10000"/>
                  <a:gd name="connsiteX1917" fmla="*/ 2954 w 10785"/>
                  <a:gd name="connsiteY1917" fmla="*/ 2410 h 10000"/>
                  <a:gd name="connsiteX1918" fmla="*/ 2963 w 10785"/>
                  <a:gd name="connsiteY1918" fmla="*/ 2393 h 10000"/>
                  <a:gd name="connsiteX1919" fmla="*/ 2908 w 10785"/>
                  <a:gd name="connsiteY1919" fmla="*/ 2359 h 10000"/>
                  <a:gd name="connsiteX1920" fmla="*/ 2889 w 10785"/>
                  <a:gd name="connsiteY1920" fmla="*/ 2325 h 10000"/>
                  <a:gd name="connsiteX1921" fmla="*/ 2788 w 10785"/>
                  <a:gd name="connsiteY1921" fmla="*/ 2333 h 10000"/>
                  <a:gd name="connsiteX1922" fmla="*/ 2774 w 10785"/>
                  <a:gd name="connsiteY1922" fmla="*/ 2325 h 10000"/>
                  <a:gd name="connsiteX1923" fmla="*/ 2783 w 10785"/>
                  <a:gd name="connsiteY1923" fmla="*/ 2308 h 10000"/>
                  <a:gd name="connsiteX1924" fmla="*/ 2747 w 10785"/>
                  <a:gd name="connsiteY1924" fmla="*/ 2308 h 10000"/>
                  <a:gd name="connsiteX1925" fmla="*/ 2742 w 10785"/>
                  <a:gd name="connsiteY1925" fmla="*/ 2333 h 10000"/>
                  <a:gd name="connsiteX1926" fmla="*/ 2682 w 10785"/>
                  <a:gd name="connsiteY1926" fmla="*/ 2769 h 10000"/>
                  <a:gd name="connsiteX1927" fmla="*/ 2613 w 10785"/>
                  <a:gd name="connsiteY1927" fmla="*/ 2940 h 10000"/>
                  <a:gd name="connsiteX1928" fmla="*/ 2581 w 10785"/>
                  <a:gd name="connsiteY1928" fmla="*/ 2966 h 10000"/>
                  <a:gd name="connsiteX1929" fmla="*/ 2576 w 10785"/>
                  <a:gd name="connsiteY1929" fmla="*/ 3051 h 10000"/>
                  <a:gd name="connsiteX1930" fmla="*/ 2581 w 10785"/>
                  <a:gd name="connsiteY1930" fmla="*/ 3051 h 10000"/>
                  <a:gd name="connsiteX1931" fmla="*/ 2594 w 10785"/>
                  <a:gd name="connsiteY1931" fmla="*/ 3017 h 10000"/>
                  <a:gd name="connsiteX1932" fmla="*/ 2594 w 10785"/>
                  <a:gd name="connsiteY1932" fmla="*/ 3034 h 10000"/>
                  <a:gd name="connsiteX1933" fmla="*/ 2594 w 10785"/>
                  <a:gd name="connsiteY1933" fmla="*/ 3051 h 10000"/>
                  <a:gd name="connsiteX1934" fmla="*/ 2590 w 10785"/>
                  <a:gd name="connsiteY1934" fmla="*/ 3077 h 10000"/>
                  <a:gd name="connsiteX1935" fmla="*/ 2567 w 10785"/>
                  <a:gd name="connsiteY1935" fmla="*/ 3103 h 10000"/>
                  <a:gd name="connsiteX1936" fmla="*/ 2562 w 10785"/>
                  <a:gd name="connsiteY1936" fmla="*/ 3145 h 10000"/>
                  <a:gd name="connsiteX1937" fmla="*/ 2567 w 10785"/>
                  <a:gd name="connsiteY1937" fmla="*/ 3179 h 10000"/>
                  <a:gd name="connsiteX1938" fmla="*/ 2590 w 10785"/>
                  <a:gd name="connsiteY1938" fmla="*/ 3171 h 10000"/>
                  <a:gd name="connsiteX1939" fmla="*/ 2594 w 10785"/>
                  <a:gd name="connsiteY1939" fmla="*/ 3145 h 10000"/>
                  <a:gd name="connsiteX1940" fmla="*/ 2613 w 10785"/>
                  <a:gd name="connsiteY1940" fmla="*/ 3154 h 10000"/>
                  <a:gd name="connsiteX1941" fmla="*/ 2622 w 10785"/>
                  <a:gd name="connsiteY1941" fmla="*/ 3179 h 10000"/>
                  <a:gd name="connsiteX1942" fmla="*/ 2613 w 10785"/>
                  <a:gd name="connsiteY1942" fmla="*/ 3214 h 10000"/>
                  <a:gd name="connsiteX1943" fmla="*/ 2613 w 10785"/>
                  <a:gd name="connsiteY1943" fmla="*/ 3308 h 10000"/>
                  <a:gd name="connsiteX1944" fmla="*/ 2608 w 10785"/>
                  <a:gd name="connsiteY1944" fmla="*/ 3325 h 10000"/>
                  <a:gd name="connsiteX1945" fmla="*/ 2608 w 10785"/>
                  <a:gd name="connsiteY1945" fmla="*/ 3376 h 10000"/>
                  <a:gd name="connsiteX1946" fmla="*/ 2613 w 10785"/>
                  <a:gd name="connsiteY1946" fmla="*/ 3419 h 10000"/>
                  <a:gd name="connsiteX1947" fmla="*/ 2608 w 10785"/>
                  <a:gd name="connsiteY1947" fmla="*/ 3444 h 10000"/>
                  <a:gd name="connsiteX1948" fmla="*/ 2594 w 10785"/>
                  <a:gd name="connsiteY1948" fmla="*/ 3444 h 10000"/>
                  <a:gd name="connsiteX1949" fmla="*/ 2590 w 10785"/>
                  <a:gd name="connsiteY1949" fmla="*/ 3427 h 10000"/>
                  <a:gd name="connsiteX1950" fmla="*/ 2581 w 10785"/>
                  <a:gd name="connsiteY1950" fmla="*/ 3564 h 10000"/>
                  <a:gd name="connsiteX1951" fmla="*/ 2594 w 10785"/>
                  <a:gd name="connsiteY1951" fmla="*/ 3598 h 10000"/>
                  <a:gd name="connsiteX1952" fmla="*/ 2594 w 10785"/>
                  <a:gd name="connsiteY1952" fmla="*/ 3581 h 10000"/>
                  <a:gd name="connsiteX1953" fmla="*/ 2608 w 10785"/>
                  <a:gd name="connsiteY1953" fmla="*/ 3556 h 10000"/>
                  <a:gd name="connsiteX1954" fmla="*/ 2650 w 10785"/>
                  <a:gd name="connsiteY1954" fmla="*/ 3615 h 10000"/>
                  <a:gd name="connsiteX1955" fmla="*/ 2664 w 10785"/>
                  <a:gd name="connsiteY1955" fmla="*/ 3615 h 10000"/>
                  <a:gd name="connsiteX1956" fmla="*/ 2668 w 10785"/>
                  <a:gd name="connsiteY1956" fmla="*/ 3615 h 10000"/>
                  <a:gd name="connsiteX1957" fmla="*/ 2664 w 10785"/>
                  <a:gd name="connsiteY1957" fmla="*/ 3667 h 10000"/>
                  <a:gd name="connsiteX1958" fmla="*/ 2687 w 10785"/>
                  <a:gd name="connsiteY1958" fmla="*/ 3786 h 10000"/>
                  <a:gd name="connsiteX1959" fmla="*/ 2710 w 10785"/>
                  <a:gd name="connsiteY1959" fmla="*/ 3812 h 10000"/>
                  <a:gd name="connsiteX1960" fmla="*/ 2724 w 10785"/>
                  <a:gd name="connsiteY1960" fmla="*/ 3812 h 10000"/>
                  <a:gd name="connsiteX1961" fmla="*/ 2724 w 10785"/>
                  <a:gd name="connsiteY1961" fmla="*/ 3829 h 10000"/>
                  <a:gd name="connsiteX1962" fmla="*/ 2737 w 10785"/>
                  <a:gd name="connsiteY1962" fmla="*/ 3838 h 10000"/>
                  <a:gd name="connsiteX1963" fmla="*/ 2714 w 10785"/>
                  <a:gd name="connsiteY1963" fmla="*/ 3872 h 10000"/>
                  <a:gd name="connsiteX1964" fmla="*/ 2696 w 10785"/>
                  <a:gd name="connsiteY1964" fmla="*/ 4026 h 10000"/>
                  <a:gd name="connsiteX1965" fmla="*/ 2673 w 10785"/>
                  <a:gd name="connsiteY1965" fmla="*/ 4051 h 10000"/>
                  <a:gd name="connsiteX1966" fmla="*/ 2668 w 10785"/>
                  <a:gd name="connsiteY1966" fmla="*/ 4034 h 10000"/>
                  <a:gd name="connsiteX1967" fmla="*/ 2673 w 10785"/>
                  <a:gd name="connsiteY1967" fmla="*/ 4000 h 10000"/>
                  <a:gd name="connsiteX1968" fmla="*/ 2664 w 10785"/>
                  <a:gd name="connsiteY1968" fmla="*/ 3974 h 10000"/>
                  <a:gd name="connsiteX1969" fmla="*/ 2636 w 10785"/>
                  <a:gd name="connsiteY1969" fmla="*/ 3949 h 10000"/>
                  <a:gd name="connsiteX1970" fmla="*/ 2581 w 10785"/>
                  <a:gd name="connsiteY1970" fmla="*/ 3838 h 10000"/>
                  <a:gd name="connsiteX1971" fmla="*/ 2562 w 10785"/>
                  <a:gd name="connsiteY1971" fmla="*/ 3829 h 10000"/>
                  <a:gd name="connsiteX1972" fmla="*/ 2535 w 10785"/>
                  <a:gd name="connsiteY1972" fmla="*/ 3778 h 10000"/>
                  <a:gd name="connsiteX1973" fmla="*/ 2502 w 10785"/>
                  <a:gd name="connsiteY1973" fmla="*/ 3761 h 10000"/>
                  <a:gd name="connsiteX1974" fmla="*/ 2502 w 10785"/>
                  <a:gd name="connsiteY1974" fmla="*/ 3735 h 10000"/>
                  <a:gd name="connsiteX1975" fmla="*/ 2516 w 10785"/>
                  <a:gd name="connsiteY1975" fmla="*/ 3735 h 10000"/>
                  <a:gd name="connsiteX1976" fmla="*/ 2507 w 10785"/>
                  <a:gd name="connsiteY1976" fmla="*/ 3726 h 10000"/>
                  <a:gd name="connsiteX1977" fmla="*/ 2488 w 10785"/>
                  <a:gd name="connsiteY1977" fmla="*/ 3726 h 10000"/>
                  <a:gd name="connsiteX1978" fmla="*/ 2461 w 10785"/>
                  <a:gd name="connsiteY1978" fmla="*/ 3692 h 10000"/>
                  <a:gd name="connsiteX1979" fmla="*/ 2442 w 10785"/>
                  <a:gd name="connsiteY1979" fmla="*/ 3675 h 10000"/>
                  <a:gd name="connsiteX1980" fmla="*/ 2406 w 10785"/>
                  <a:gd name="connsiteY1980" fmla="*/ 3598 h 10000"/>
                  <a:gd name="connsiteX1981" fmla="*/ 2346 w 10785"/>
                  <a:gd name="connsiteY1981" fmla="*/ 3564 h 10000"/>
                  <a:gd name="connsiteX1982" fmla="*/ 2341 w 10785"/>
                  <a:gd name="connsiteY1982" fmla="*/ 3564 h 10000"/>
                  <a:gd name="connsiteX1983" fmla="*/ 2313 w 10785"/>
                  <a:gd name="connsiteY1983" fmla="*/ 3530 h 10000"/>
                  <a:gd name="connsiteX1984" fmla="*/ 2235 w 10785"/>
                  <a:gd name="connsiteY1984" fmla="*/ 3530 h 10000"/>
                  <a:gd name="connsiteX1985" fmla="*/ 2226 w 10785"/>
                  <a:gd name="connsiteY1985" fmla="*/ 3513 h 10000"/>
                  <a:gd name="connsiteX1986" fmla="*/ 2207 w 10785"/>
                  <a:gd name="connsiteY1986" fmla="*/ 3504 h 10000"/>
                  <a:gd name="connsiteX1987" fmla="*/ 2194 w 10785"/>
                  <a:gd name="connsiteY1987" fmla="*/ 3504 h 10000"/>
                  <a:gd name="connsiteX1988" fmla="*/ 2189 w 10785"/>
                  <a:gd name="connsiteY1988" fmla="*/ 3504 h 10000"/>
                  <a:gd name="connsiteX1989" fmla="*/ 2189 w 10785"/>
                  <a:gd name="connsiteY1989" fmla="*/ 3530 h 10000"/>
                  <a:gd name="connsiteX1990" fmla="*/ 2180 w 10785"/>
                  <a:gd name="connsiteY1990" fmla="*/ 3538 h 10000"/>
                  <a:gd name="connsiteX1991" fmla="*/ 2152 w 10785"/>
                  <a:gd name="connsiteY1991" fmla="*/ 3581 h 10000"/>
                  <a:gd name="connsiteX1992" fmla="*/ 2161 w 10785"/>
                  <a:gd name="connsiteY1992" fmla="*/ 3598 h 10000"/>
                  <a:gd name="connsiteX1993" fmla="*/ 2194 w 10785"/>
                  <a:gd name="connsiteY1993" fmla="*/ 3752 h 10000"/>
                  <a:gd name="connsiteX1994" fmla="*/ 2194 w 10785"/>
                  <a:gd name="connsiteY1994" fmla="*/ 3735 h 10000"/>
                  <a:gd name="connsiteX1995" fmla="*/ 2198 w 10785"/>
                  <a:gd name="connsiteY1995" fmla="*/ 3735 h 10000"/>
                  <a:gd name="connsiteX1996" fmla="*/ 2189 w 10785"/>
                  <a:gd name="connsiteY1996" fmla="*/ 3838 h 10000"/>
                  <a:gd name="connsiteX1997" fmla="*/ 2166 w 10785"/>
                  <a:gd name="connsiteY1997" fmla="*/ 3889 h 10000"/>
                  <a:gd name="connsiteX1998" fmla="*/ 2124 w 10785"/>
                  <a:gd name="connsiteY1998" fmla="*/ 3889 h 10000"/>
                  <a:gd name="connsiteX1999" fmla="*/ 2124 w 10785"/>
                  <a:gd name="connsiteY1999" fmla="*/ 3923 h 10000"/>
                  <a:gd name="connsiteX2000" fmla="*/ 2134 w 10785"/>
                  <a:gd name="connsiteY2000" fmla="*/ 3940 h 10000"/>
                  <a:gd name="connsiteX2001" fmla="*/ 2134 w 10785"/>
                  <a:gd name="connsiteY2001" fmla="*/ 3966 h 10000"/>
                  <a:gd name="connsiteX2002" fmla="*/ 2120 w 10785"/>
                  <a:gd name="connsiteY2002" fmla="*/ 4000 h 10000"/>
                  <a:gd name="connsiteX2003" fmla="*/ 2106 w 10785"/>
                  <a:gd name="connsiteY2003" fmla="*/ 4009 h 10000"/>
                  <a:gd name="connsiteX2004" fmla="*/ 2088 w 10785"/>
                  <a:gd name="connsiteY2004" fmla="*/ 4000 h 10000"/>
                  <a:gd name="connsiteX2005" fmla="*/ 2074 w 10785"/>
                  <a:gd name="connsiteY2005" fmla="*/ 3974 h 10000"/>
                  <a:gd name="connsiteX2006" fmla="*/ 2074 w 10785"/>
                  <a:gd name="connsiteY2006" fmla="*/ 3940 h 10000"/>
                  <a:gd name="connsiteX2007" fmla="*/ 2078 w 10785"/>
                  <a:gd name="connsiteY2007" fmla="*/ 3915 h 10000"/>
                  <a:gd name="connsiteX2008" fmla="*/ 2088 w 10785"/>
                  <a:gd name="connsiteY2008" fmla="*/ 3889 h 10000"/>
                  <a:gd name="connsiteX2009" fmla="*/ 2101 w 10785"/>
                  <a:gd name="connsiteY2009" fmla="*/ 3872 h 10000"/>
                  <a:gd name="connsiteX2010" fmla="*/ 2074 w 10785"/>
                  <a:gd name="connsiteY2010" fmla="*/ 3812 h 10000"/>
                  <a:gd name="connsiteX2011" fmla="*/ 2074 w 10785"/>
                  <a:gd name="connsiteY2011" fmla="*/ 3786 h 10000"/>
                  <a:gd name="connsiteX2012" fmla="*/ 2060 w 10785"/>
                  <a:gd name="connsiteY2012" fmla="*/ 3786 h 10000"/>
                  <a:gd name="connsiteX2013" fmla="*/ 2014 w 10785"/>
                  <a:gd name="connsiteY2013" fmla="*/ 3829 h 10000"/>
                  <a:gd name="connsiteX2014" fmla="*/ 2000 w 10785"/>
                  <a:gd name="connsiteY2014" fmla="*/ 3863 h 10000"/>
                  <a:gd name="connsiteX2015" fmla="*/ 1986 w 10785"/>
                  <a:gd name="connsiteY2015" fmla="*/ 3872 h 10000"/>
                  <a:gd name="connsiteX2016" fmla="*/ 1959 w 10785"/>
                  <a:gd name="connsiteY2016" fmla="*/ 3940 h 10000"/>
                  <a:gd name="connsiteX2017" fmla="*/ 1945 w 10785"/>
                  <a:gd name="connsiteY2017" fmla="*/ 3949 h 10000"/>
                  <a:gd name="connsiteX2018" fmla="*/ 1940 w 10785"/>
                  <a:gd name="connsiteY2018" fmla="*/ 3923 h 10000"/>
                  <a:gd name="connsiteX2019" fmla="*/ 1917 w 10785"/>
                  <a:gd name="connsiteY2019" fmla="*/ 3915 h 10000"/>
                  <a:gd name="connsiteX2020" fmla="*/ 1899 w 10785"/>
                  <a:gd name="connsiteY2020" fmla="*/ 3923 h 10000"/>
                  <a:gd name="connsiteX2021" fmla="*/ 1880 w 10785"/>
                  <a:gd name="connsiteY2021" fmla="*/ 3915 h 10000"/>
                  <a:gd name="connsiteX2022" fmla="*/ 1853 w 10785"/>
                  <a:gd name="connsiteY2022" fmla="*/ 3940 h 10000"/>
                  <a:gd name="connsiteX2023" fmla="*/ 1839 w 10785"/>
                  <a:gd name="connsiteY2023" fmla="*/ 3940 h 10000"/>
                  <a:gd name="connsiteX2024" fmla="*/ 1806 w 10785"/>
                  <a:gd name="connsiteY2024" fmla="*/ 3983 h 10000"/>
                  <a:gd name="connsiteX2025" fmla="*/ 1806 w 10785"/>
                  <a:gd name="connsiteY2025" fmla="*/ 4000 h 10000"/>
                  <a:gd name="connsiteX2026" fmla="*/ 1797 w 10785"/>
                  <a:gd name="connsiteY2026" fmla="*/ 4077 h 10000"/>
                  <a:gd name="connsiteX2027" fmla="*/ 1783 w 10785"/>
                  <a:gd name="connsiteY2027" fmla="*/ 4077 h 10000"/>
                  <a:gd name="connsiteX2028" fmla="*/ 1779 w 10785"/>
                  <a:gd name="connsiteY2028" fmla="*/ 4051 h 10000"/>
                  <a:gd name="connsiteX2029" fmla="*/ 1765 w 10785"/>
                  <a:gd name="connsiteY2029" fmla="*/ 4026 h 10000"/>
                  <a:gd name="connsiteX2030" fmla="*/ 1751 w 10785"/>
                  <a:gd name="connsiteY2030" fmla="*/ 4051 h 10000"/>
                  <a:gd name="connsiteX2031" fmla="*/ 1737 w 10785"/>
                  <a:gd name="connsiteY2031" fmla="*/ 4009 h 10000"/>
                  <a:gd name="connsiteX2032" fmla="*/ 1737 w 10785"/>
                  <a:gd name="connsiteY2032" fmla="*/ 3966 h 10000"/>
                  <a:gd name="connsiteX2033" fmla="*/ 1733 w 10785"/>
                  <a:gd name="connsiteY2033" fmla="*/ 3940 h 10000"/>
                  <a:gd name="connsiteX2034" fmla="*/ 1733 w 10785"/>
                  <a:gd name="connsiteY2034" fmla="*/ 3923 h 10000"/>
                  <a:gd name="connsiteX2035" fmla="*/ 1747 w 10785"/>
                  <a:gd name="connsiteY2035" fmla="*/ 3889 h 10000"/>
                  <a:gd name="connsiteX2036" fmla="*/ 1747 w 10785"/>
                  <a:gd name="connsiteY2036" fmla="*/ 3863 h 10000"/>
                  <a:gd name="connsiteX2037" fmla="*/ 1737 w 10785"/>
                  <a:gd name="connsiteY2037" fmla="*/ 3838 h 10000"/>
                  <a:gd name="connsiteX2038" fmla="*/ 1733 w 10785"/>
                  <a:gd name="connsiteY2038" fmla="*/ 3829 h 10000"/>
                  <a:gd name="connsiteX2039" fmla="*/ 1733 w 10785"/>
                  <a:gd name="connsiteY2039" fmla="*/ 3846 h 10000"/>
                  <a:gd name="connsiteX2040" fmla="*/ 1724 w 10785"/>
                  <a:gd name="connsiteY2040" fmla="*/ 3846 h 10000"/>
                  <a:gd name="connsiteX2041" fmla="*/ 1724 w 10785"/>
                  <a:gd name="connsiteY2041" fmla="*/ 3829 h 10000"/>
                  <a:gd name="connsiteX2042" fmla="*/ 1737 w 10785"/>
                  <a:gd name="connsiteY2042" fmla="*/ 3812 h 10000"/>
                  <a:gd name="connsiteX2043" fmla="*/ 1765 w 10785"/>
                  <a:gd name="connsiteY2043" fmla="*/ 3812 h 10000"/>
                  <a:gd name="connsiteX2044" fmla="*/ 1779 w 10785"/>
                  <a:gd name="connsiteY2044" fmla="*/ 3786 h 10000"/>
                  <a:gd name="connsiteX2045" fmla="*/ 1779 w 10785"/>
                  <a:gd name="connsiteY2045" fmla="*/ 3786 h 10000"/>
                  <a:gd name="connsiteX2046" fmla="*/ 1751 w 10785"/>
                  <a:gd name="connsiteY2046" fmla="*/ 3803 h 10000"/>
                  <a:gd name="connsiteX2047" fmla="*/ 1747 w 10785"/>
                  <a:gd name="connsiteY2047" fmla="*/ 3803 h 10000"/>
                  <a:gd name="connsiteX2048" fmla="*/ 1724 w 10785"/>
                  <a:gd name="connsiteY2048" fmla="*/ 3803 h 10000"/>
                  <a:gd name="connsiteX2049" fmla="*/ 1700 w 10785"/>
                  <a:gd name="connsiteY2049" fmla="*/ 3829 h 10000"/>
                  <a:gd name="connsiteX2050" fmla="*/ 1705 w 10785"/>
                  <a:gd name="connsiteY2050" fmla="*/ 3846 h 10000"/>
                  <a:gd name="connsiteX2051" fmla="*/ 1691 w 10785"/>
                  <a:gd name="connsiteY2051" fmla="*/ 3846 h 10000"/>
                  <a:gd name="connsiteX2052" fmla="*/ 1691 w 10785"/>
                  <a:gd name="connsiteY2052" fmla="*/ 3863 h 10000"/>
                  <a:gd name="connsiteX2053" fmla="*/ 1691 w 10785"/>
                  <a:gd name="connsiteY2053" fmla="*/ 3915 h 10000"/>
                  <a:gd name="connsiteX2054" fmla="*/ 1677 w 10785"/>
                  <a:gd name="connsiteY2054" fmla="*/ 3923 h 10000"/>
                  <a:gd name="connsiteX2055" fmla="*/ 1673 w 10785"/>
                  <a:gd name="connsiteY2055" fmla="*/ 3915 h 10000"/>
                  <a:gd name="connsiteX2056" fmla="*/ 1664 w 10785"/>
                  <a:gd name="connsiteY2056" fmla="*/ 3889 h 10000"/>
                  <a:gd name="connsiteX2057" fmla="*/ 1673 w 10785"/>
                  <a:gd name="connsiteY2057" fmla="*/ 3872 h 10000"/>
                  <a:gd name="connsiteX2058" fmla="*/ 1664 w 10785"/>
                  <a:gd name="connsiteY2058" fmla="*/ 3872 h 10000"/>
                  <a:gd name="connsiteX2059" fmla="*/ 1636 w 10785"/>
                  <a:gd name="connsiteY2059" fmla="*/ 3923 h 10000"/>
                  <a:gd name="connsiteX2060" fmla="*/ 1645 w 10785"/>
                  <a:gd name="connsiteY2060" fmla="*/ 3923 h 10000"/>
                  <a:gd name="connsiteX2061" fmla="*/ 1650 w 10785"/>
                  <a:gd name="connsiteY2061" fmla="*/ 3949 h 10000"/>
                  <a:gd name="connsiteX2062" fmla="*/ 1650 w 10785"/>
                  <a:gd name="connsiteY2062" fmla="*/ 3983 h 10000"/>
                  <a:gd name="connsiteX2063" fmla="*/ 1636 w 10785"/>
                  <a:gd name="connsiteY2063" fmla="*/ 4000 h 10000"/>
                  <a:gd name="connsiteX2064" fmla="*/ 1631 w 10785"/>
                  <a:gd name="connsiteY2064" fmla="*/ 4009 h 10000"/>
                  <a:gd name="connsiteX2065" fmla="*/ 1618 w 10785"/>
                  <a:gd name="connsiteY2065" fmla="*/ 3949 h 10000"/>
                  <a:gd name="connsiteX2066" fmla="*/ 1585 w 10785"/>
                  <a:gd name="connsiteY2066" fmla="*/ 3966 h 10000"/>
                  <a:gd name="connsiteX2067" fmla="*/ 1590 w 10785"/>
                  <a:gd name="connsiteY2067" fmla="*/ 3974 h 10000"/>
                  <a:gd name="connsiteX2068" fmla="*/ 1544 w 10785"/>
                  <a:gd name="connsiteY2068" fmla="*/ 4009 h 10000"/>
                  <a:gd name="connsiteX2069" fmla="*/ 1539 w 10785"/>
                  <a:gd name="connsiteY2069" fmla="*/ 4009 h 10000"/>
                  <a:gd name="connsiteX2070" fmla="*/ 1410 w 10785"/>
                  <a:gd name="connsiteY2070" fmla="*/ 4188 h 10000"/>
                  <a:gd name="connsiteX2071" fmla="*/ 1406 w 10785"/>
                  <a:gd name="connsiteY2071" fmla="*/ 4171 h 10000"/>
                  <a:gd name="connsiteX2072" fmla="*/ 1396 w 10785"/>
                  <a:gd name="connsiteY2072" fmla="*/ 4214 h 10000"/>
                  <a:gd name="connsiteX2073" fmla="*/ 1406 w 10785"/>
                  <a:gd name="connsiteY2073" fmla="*/ 4222 h 10000"/>
                  <a:gd name="connsiteX2074" fmla="*/ 1392 w 10785"/>
                  <a:gd name="connsiteY2074" fmla="*/ 4239 h 10000"/>
                  <a:gd name="connsiteX2075" fmla="*/ 1369 w 10785"/>
                  <a:gd name="connsiteY2075" fmla="*/ 4248 h 10000"/>
                  <a:gd name="connsiteX2076" fmla="*/ 1355 w 10785"/>
                  <a:gd name="connsiteY2076" fmla="*/ 4256 h 10000"/>
                  <a:gd name="connsiteX2077" fmla="*/ 1350 w 10785"/>
                  <a:gd name="connsiteY2077" fmla="*/ 4248 h 10000"/>
                  <a:gd name="connsiteX2078" fmla="*/ 1332 w 10785"/>
                  <a:gd name="connsiteY2078" fmla="*/ 4376 h 10000"/>
                  <a:gd name="connsiteX2079" fmla="*/ 1332 w 10785"/>
                  <a:gd name="connsiteY2079" fmla="*/ 4436 h 10000"/>
                  <a:gd name="connsiteX2080" fmla="*/ 1323 w 10785"/>
                  <a:gd name="connsiteY2080" fmla="*/ 4462 h 10000"/>
                  <a:gd name="connsiteX2081" fmla="*/ 1304 w 10785"/>
                  <a:gd name="connsiteY2081" fmla="*/ 4487 h 10000"/>
                  <a:gd name="connsiteX2082" fmla="*/ 1290 w 10785"/>
                  <a:gd name="connsiteY2082" fmla="*/ 4470 h 10000"/>
                  <a:gd name="connsiteX2083" fmla="*/ 1263 w 10785"/>
                  <a:gd name="connsiteY2083" fmla="*/ 4496 h 10000"/>
                  <a:gd name="connsiteX2084" fmla="*/ 1258 w 10785"/>
                  <a:gd name="connsiteY2084" fmla="*/ 4547 h 10000"/>
                  <a:gd name="connsiteX2085" fmla="*/ 1249 w 10785"/>
                  <a:gd name="connsiteY2085" fmla="*/ 4487 h 10000"/>
                  <a:gd name="connsiteX2086" fmla="*/ 1235 w 10785"/>
                  <a:gd name="connsiteY2086" fmla="*/ 4496 h 10000"/>
                  <a:gd name="connsiteX2087" fmla="*/ 1221 w 10785"/>
                  <a:gd name="connsiteY2087" fmla="*/ 4496 h 10000"/>
                  <a:gd name="connsiteX2088" fmla="*/ 1217 w 10785"/>
                  <a:gd name="connsiteY2088" fmla="*/ 4487 h 10000"/>
                  <a:gd name="connsiteX2089" fmla="*/ 1198 w 10785"/>
                  <a:gd name="connsiteY2089" fmla="*/ 4410 h 10000"/>
                  <a:gd name="connsiteX2090" fmla="*/ 1157 w 10785"/>
                  <a:gd name="connsiteY2090" fmla="*/ 4333 h 10000"/>
                  <a:gd name="connsiteX2091" fmla="*/ 1147 w 10785"/>
                  <a:gd name="connsiteY2091" fmla="*/ 4299 h 10000"/>
                  <a:gd name="connsiteX2092" fmla="*/ 1147 w 10785"/>
                  <a:gd name="connsiteY2092" fmla="*/ 4274 h 10000"/>
                  <a:gd name="connsiteX2093" fmla="*/ 1161 w 10785"/>
                  <a:gd name="connsiteY2093" fmla="*/ 4256 h 10000"/>
                  <a:gd name="connsiteX2094" fmla="*/ 1171 w 10785"/>
                  <a:gd name="connsiteY2094" fmla="*/ 4248 h 10000"/>
                  <a:gd name="connsiteX2095" fmla="*/ 1175 w 10785"/>
                  <a:gd name="connsiteY2095" fmla="*/ 4214 h 10000"/>
                  <a:gd name="connsiteX2096" fmla="*/ 1263 w 10785"/>
                  <a:gd name="connsiteY2096" fmla="*/ 4171 h 10000"/>
                  <a:gd name="connsiteX2097" fmla="*/ 1249 w 10785"/>
                  <a:gd name="connsiteY2097" fmla="*/ 4137 h 10000"/>
                  <a:gd name="connsiteX2098" fmla="*/ 1244 w 10785"/>
                  <a:gd name="connsiteY2098" fmla="*/ 4060 h 10000"/>
                  <a:gd name="connsiteX2099" fmla="*/ 1230 w 10785"/>
                  <a:gd name="connsiteY2099" fmla="*/ 4077 h 10000"/>
                  <a:gd name="connsiteX2100" fmla="*/ 1221 w 10785"/>
                  <a:gd name="connsiteY2100" fmla="*/ 4026 h 10000"/>
                  <a:gd name="connsiteX2101" fmla="*/ 1217 w 10785"/>
                  <a:gd name="connsiteY2101" fmla="*/ 4026 h 10000"/>
                  <a:gd name="connsiteX2102" fmla="*/ 1212 w 10785"/>
                  <a:gd name="connsiteY2102" fmla="*/ 3983 h 10000"/>
                  <a:gd name="connsiteX2103" fmla="*/ 1203 w 10785"/>
                  <a:gd name="connsiteY2103" fmla="*/ 3966 h 10000"/>
                  <a:gd name="connsiteX2104" fmla="*/ 1171 w 10785"/>
                  <a:gd name="connsiteY2104" fmla="*/ 3949 h 10000"/>
                  <a:gd name="connsiteX2105" fmla="*/ 1111 w 10785"/>
                  <a:gd name="connsiteY2105" fmla="*/ 3940 h 10000"/>
                  <a:gd name="connsiteX2106" fmla="*/ 1097 w 10785"/>
                  <a:gd name="connsiteY2106" fmla="*/ 3949 h 10000"/>
                  <a:gd name="connsiteX2107" fmla="*/ 1037 w 10785"/>
                  <a:gd name="connsiteY2107" fmla="*/ 3897 h 10000"/>
                  <a:gd name="connsiteX2108" fmla="*/ 1041 w 10785"/>
                  <a:gd name="connsiteY2108" fmla="*/ 3923 h 10000"/>
                  <a:gd name="connsiteX2109" fmla="*/ 1097 w 10785"/>
                  <a:gd name="connsiteY2109" fmla="*/ 4009 h 10000"/>
                  <a:gd name="connsiteX2110" fmla="*/ 1097 w 10785"/>
                  <a:gd name="connsiteY2110" fmla="*/ 4120 h 10000"/>
                  <a:gd name="connsiteX2111" fmla="*/ 1097 w 10785"/>
                  <a:gd name="connsiteY2111" fmla="*/ 4162 h 10000"/>
                  <a:gd name="connsiteX2112" fmla="*/ 1097 w 10785"/>
                  <a:gd name="connsiteY2112" fmla="*/ 4197 h 10000"/>
                  <a:gd name="connsiteX2113" fmla="*/ 1074 w 10785"/>
                  <a:gd name="connsiteY2113" fmla="*/ 4333 h 10000"/>
                  <a:gd name="connsiteX2114" fmla="*/ 1074 w 10785"/>
                  <a:gd name="connsiteY2114" fmla="*/ 4376 h 10000"/>
                  <a:gd name="connsiteX2115" fmla="*/ 1083 w 10785"/>
                  <a:gd name="connsiteY2115" fmla="*/ 4385 h 10000"/>
                  <a:gd name="connsiteX2116" fmla="*/ 1097 w 10785"/>
                  <a:gd name="connsiteY2116" fmla="*/ 4385 h 10000"/>
                  <a:gd name="connsiteX2117" fmla="*/ 1111 w 10785"/>
                  <a:gd name="connsiteY2117" fmla="*/ 4410 h 10000"/>
                  <a:gd name="connsiteX2118" fmla="*/ 1124 w 10785"/>
                  <a:gd name="connsiteY2118" fmla="*/ 4444 h 10000"/>
                  <a:gd name="connsiteX2119" fmla="*/ 1124 w 10785"/>
                  <a:gd name="connsiteY2119" fmla="*/ 4470 h 10000"/>
                  <a:gd name="connsiteX2120" fmla="*/ 1115 w 10785"/>
                  <a:gd name="connsiteY2120" fmla="*/ 4513 h 10000"/>
                  <a:gd name="connsiteX2121" fmla="*/ 1115 w 10785"/>
                  <a:gd name="connsiteY2121" fmla="*/ 4530 h 10000"/>
                  <a:gd name="connsiteX2122" fmla="*/ 1115 w 10785"/>
                  <a:gd name="connsiteY2122" fmla="*/ 4573 h 10000"/>
                  <a:gd name="connsiteX2123" fmla="*/ 1101 w 10785"/>
                  <a:gd name="connsiteY2123" fmla="*/ 4607 h 10000"/>
                  <a:gd name="connsiteX2124" fmla="*/ 1097 w 10785"/>
                  <a:gd name="connsiteY2124" fmla="*/ 4658 h 10000"/>
                  <a:gd name="connsiteX2125" fmla="*/ 1101 w 10785"/>
                  <a:gd name="connsiteY2125" fmla="*/ 4692 h 10000"/>
                  <a:gd name="connsiteX2126" fmla="*/ 1097 w 10785"/>
                  <a:gd name="connsiteY2126" fmla="*/ 4778 h 10000"/>
                  <a:gd name="connsiteX2127" fmla="*/ 1083 w 10785"/>
                  <a:gd name="connsiteY2127" fmla="*/ 4744 h 10000"/>
                  <a:gd name="connsiteX2128" fmla="*/ 1083 w 10785"/>
                  <a:gd name="connsiteY2128" fmla="*/ 4718 h 10000"/>
                  <a:gd name="connsiteX2129" fmla="*/ 1074 w 10785"/>
                  <a:gd name="connsiteY2129" fmla="*/ 4692 h 10000"/>
                  <a:gd name="connsiteX2130" fmla="*/ 1065 w 10785"/>
                  <a:gd name="connsiteY2130" fmla="*/ 4692 h 10000"/>
                  <a:gd name="connsiteX2131" fmla="*/ 1051 w 10785"/>
                  <a:gd name="connsiteY2131" fmla="*/ 4718 h 10000"/>
                  <a:gd name="connsiteX2132" fmla="*/ 1055 w 10785"/>
                  <a:gd name="connsiteY2132" fmla="*/ 4692 h 10000"/>
                  <a:gd name="connsiteX2133" fmla="*/ 1055 w 10785"/>
                  <a:gd name="connsiteY2133" fmla="*/ 4667 h 10000"/>
                  <a:gd name="connsiteX2134" fmla="*/ 1028 w 10785"/>
                  <a:gd name="connsiteY2134" fmla="*/ 4624 h 10000"/>
                  <a:gd name="connsiteX2135" fmla="*/ 1005 w 10785"/>
                  <a:gd name="connsiteY2135" fmla="*/ 4624 h 10000"/>
                  <a:gd name="connsiteX2136" fmla="*/ 977 w 10785"/>
                  <a:gd name="connsiteY2136" fmla="*/ 4581 h 10000"/>
                  <a:gd name="connsiteX2137" fmla="*/ 963 w 10785"/>
                  <a:gd name="connsiteY2137" fmla="*/ 4607 h 10000"/>
                  <a:gd name="connsiteX2138" fmla="*/ 963 w 10785"/>
                  <a:gd name="connsiteY2138" fmla="*/ 4632 h 10000"/>
                  <a:gd name="connsiteX2139" fmla="*/ 917 w 10785"/>
                  <a:gd name="connsiteY2139" fmla="*/ 4718 h 10000"/>
                  <a:gd name="connsiteX2140" fmla="*/ 889 w 10785"/>
                  <a:gd name="connsiteY2140" fmla="*/ 4744 h 10000"/>
                  <a:gd name="connsiteX2141" fmla="*/ 880 w 10785"/>
                  <a:gd name="connsiteY2141" fmla="*/ 4744 h 10000"/>
                  <a:gd name="connsiteX2142" fmla="*/ 862 w 10785"/>
                  <a:gd name="connsiteY2142" fmla="*/ 4769 h 10000"/>
                  <a:gd name="connsiteX2143" fmla="*/ 857 w 10785"/>
                  <a:gd name="connsiteY2143" fmla="*/ 4795 h 10000"/>
                  <a:gd name="connsiteX2144" fmla="*/ 829 w 10785"/>
                  <a:gd name="connsiteY2144" fmla="*/ 4846 h 10000"/>
                  <a:gd name="connsiteX2145" fmla="*/ 816 w 10785"/>
                  <a:gd name="connsiteY2145" fmla="*/ 4855 h 10000"/>
                  <a:gd name="connsiteX2146" fmla="*/ 816 w 10785"/>
                  <a:gd name="connsiteY2146" fmla="*/ 4940 h 10000"/>
                  <a:gd name="connsiteX2147" fmla="*/ 880 w 10785"/>
                  <a:gd name="connsiteY2147" fmla="*/ 5179 h 10000"/>
                  <a:gd name="connsiteX2148" fmla="*/ 880 w 10785"/>
                  <a:gd name="connsiteY2148" fmla="*/ 5188 h 10000"/>
                  <a:gd name="connsiteX2149" fmla="*/ 862 w 10785"/>
                  <a:gd name="connsiteY2149" fmla="*/ 5171 h 10000"/>
                  <a:gd name="connsiteX2150" fmla="*/ 857 w 10785"/>
                  <a:gd name="connsiteY2150" fmla="*/ 5171 h 10000"/>
                  <a:gd name="connsiteX2151" fmla="*/ 820 w 10785"/>
                  <a:gd name="connsiteY2151" fmla="*/ 5145 h 10000"/>
                  <a:gd name="connsiteX2152" fmla="*/ 820 w 10785"/>
                  <a:gd name="connsiteY2152" fmla="*/ 5154 h 10000"/>
                  <a:gd name="connsiteX2153" fmla="*/ 816 w 10785"/>
                  <a:gd name="connsiteY2153" fmla="*/ 5171 h 10000"/>
                  <a:gd name="connsiteX2154" fmla="*/ 783 w 10785"/>
                  <a:gd name="connsiteY2154" fmla="*/ 5145 h 10000"/>
                  <a:gd name="connsiteX2155" fmla="*/ 756 w 10785"/>
                  <a:gd name="connsiteY2155" fmla="*/ 5103 h 10000"/>
                  <a:gd name="connsiteX2156" fmla="*/ 742 w 10785"/>
                  <a:gd name="connsiteY2156" fmla="*/ 5103 h 10000"/>
                  <a:gd name="connsiteX2157" fmla="*/ 728 w 10785"/>
                  <a:gd name="connsiteY2157" fmla="*/ 5094 h 10000"/>
                  <a:gd name="connsiteX2158" fmla="*/ 710 w 10785"/>
                  <a:gd name="connsiteY2158" fmla="*/ 5120 h 10000"/>
                  <a:gd name="connsiteX2159" fmla="*/ 700 w 10785"/>
                  <a:gd name="connsiteY2159" fmla="*/ 5145 h 10000"/>
                  <a:gd name="connsiteX2160" fmla="*/ 696 w 10785"/>
                  <a:gd name="connsiteY2160" fmla="*/ 5103 h 10000"/>
                  <a:gd name="connsiteX2161" fmla="*/ 714 w 10785"/>
                  <a:gd name="connsiteY2161" fmla="*/ 5077 h 10000"/>
                  <a:gd name="connsiteX2162" fmla="*/ 682 w 10785"/>
                  <a:gd name="connsiteY2162" fmla="*/ 5068 h 10000"/>
                  <a:gd name="connsiteX2163" fmla="*/ 673 w 10785"/>
                  <a:gd name="connsiteY2163" fmla="*/ 5034 h 10000"/>
                  <a:gd name="connsiteX2164" fmla="*/ 636 w 10785"/>
                  <a:gd name="connsiteY2164" fmla="*/ 4991 h 10000"/>
                  <a:gd name="connsiteX2165" fmla="*/ 622 w 10785"/>
                  <a:gd name="connsiteY2165" fmla="*/ 4983 h 10000"/>
                  <a:gd name="connsiteX2166" fmla="*/ 622 w 10785"/>
                  <a:gd name="connsiteY2166" fmla="*/ 5034 h 10000"/>
                  <a:gd name="connsiteX2167" fmla="*/ 608 w 10785"/>
                  <a:gd name="connsiteY2167" fmla="*/ 5051 h 10000"/>
                  <a:gd name="connsiteX2168" fmla="*/ 594 w 10785"/>
                  <a:gd name="connsiteY2168" fmla="*/ 5068 h 10000"/>
                  <a:gd name="connsiteX2169" fmla="*/ 608 w 10785"/>
                  <a:gd name="connsiteY2169" fmla="*/ 5120 h 10000"/>
                  <a:gd name="connsiteX2170" fmla="*/ 613 w 10785"/>
                  <a:gd name="connsiteY2170" fmla="*/ 5128 h 10000"/>
                  <a:gd name="connsiteX2171" fmla="*/ 627 w 10785"/>
                  <a:gd name="connsiteY2171" fmla="*/ 5179 h 10000"/>
                  <a:gd name="connsiteX2172" fmla="*/ 650 w 10785"/>
                  <a:gd name="connsiteY2172" fmla="*/ 5214 h 10000"/>
                  <a:gd name="connsiteX2173" fmla="*/ 687 w 10785"/>
                  <a:gd name="connsiteY2173" fmla="*/ 5188 h 10000"/>
                  <a:gd name="connsiteX2174" fmla="*/ 700 w 10785"/>
                  <a:gd name="connsiteY2174" fmla="*/ 5325 h 10000"/>
                  <a:gd name="connsiteX2175" fmla="*/ 710 w 10785"/>
                  <a:gd name="connsiteY2175" fmla="*/ 5350 h 10000"/>
                  <a:gd name="connsiteX2176" fmla="*/ 687 w 10785"/>
                  <a:gd name="connsiteY2176" fmla="*/ 5325 h 10000"/>
                  <a:gd name="connsiteX2177" fmla="*/ 668 w 10785"/>
                  <a:gd name="connsiteY2177" fmla="*/ 5350 h 10000"/>
                  <a:gd name="connsiteX2178" fmla="*/ 668 w 10785"/>
                  <a:gd name="connsiteY2178" fmla="*/ 5368 h 10000"/>
                  <a:gd name="connsiteX2179" fmla="*/ 668 w 10785"/>
                  <a:gd name="connsiteY2179" fmla="*/ 5376 h 10000"/>
                  <a:gd name="connsiteX2180" fmla="*/ 581 w 10785"/>
                  <a:gd name="connsiteY2180" fmla="*/ 5316 h 10000"/>
                  <a:gd name="connsiteX2181" fmla="*/ 567 w 10785"/>
                  <a:gd name="connsiteY2181" fmla="*/ 5265 h 10000"/>
                  <a:gd name="connsiteX2182" fmla="*/ 562 w 10785"/>
                  <a:gd name="connsiteY2182" fmla="*/ 5256 h 10000"/>
                  <a:gd name="connsiteX2183" fmla="*/ 548 w 10785"/>
                  <a:gd name="connsiteY2183" fmla="*/ 5231 h 10000"/>
                  <a:gd name="connsiteX2184" fmla="*/ 535 w 10785"/>
                  <a:gd name="connsiteY2184" fmla="*/ 5214 h 10000"/>
                  <a:gd name="connsiteX2185" fmla="*/ 525 w 10785"/>
                  <a:gd name="connsiteY2185" fmla="*/ 5231 h 10000"/>
                  <a:gd name="connsiteX2186" fmla="*/ 521 w 10785"/>
                  <a:gd name="connsiteY2186" fmla="*/ 5231 h 10000"/>
                  <a:gd name="connsiteX2187" fmla="*/ 493 w 10785"/>
                  <a:gd name="connsiteY2187" fmla="*/ 5205 h 10000"/>
                  <a:gd name="connsiteX2188" fmla="*/ 488 w 10785"/>
                  <a:gd name="connsiteY2188" fmla="*/ 5179 h 10000"/>
                  <a:gd name="connsiteX2189" fmla="*/ 475 w 10785"/>
                  <a:gd name="connsiteY2189" fmla="*/ 5188 h 10000"/>
                  <a:gd name="connsiteX2190" fmla="*/ 475 w 10785"/>
                  <a:gd name="connsiteY2190" fmla="*/ 5171 h 10000"/>
                  <a:gd name="connsiteX2191" fmla="*/ 488 w 10785"/>
                  <a:gd name="connsiteY2191" fmla="*/ 5154 h 10000"/>
                  <a:gd name="connsiteX2192" fmla="*/ 488 w 10785"/>
                  <a:gd name="connsiteY2192" fmla="*/ 5068 h 10000"/>
                  <a:gd name="connsiteX2193" fmla="*/ 475 w 10785"/>
                  <a:gd name="connsiteY2193" fmla="*/ 5051 h 10000"/>
                  <a:gd name="connsiteX2194" fmla="*/ 475 w 10785"/>
                  <a:gd name="connsiteY2194" fmla="*/ 5017 h 10000"/>
                  <a:gd name="connsiteX2195" fmla="*/ 452 w 10785"/>
                  <a:gd name="connsiteY2195" fmla="*/ 4932 h 10000"/>
                  <a:gd name="connsiteX2196" fmla="*/ 461 w 10785"/>
                  <a:gd name="connsiteY2196" fmla="*/ 4915 h 10000"/>
                  <a:gd name="connsiteX2197" fmla="*/ 475 w 10785"/>
                  <a:gd name="connsiteY2197" fmla="*/ 4906 h 10000"/>
                  <a:gd name="connsiteX2198" fmla="*/ 479 w 10785"/>
                  <a:gd name="connsiteY2198" fmla="*/ 4803 h 10000"/>
                  <a:gd name="connsiteX2199" fmla="*/ 479 w 10785"/>
                  <a:gd name="connsiteY2199" fmla="*/ 4778 h 10000"/>
                  <a:gd name="connsiteX2200" fmla="*/ 475 w 10785"/>
                  <a:gd name="connsiteY2200" fmla="*/ 4761 h 10000"/>
                  <a:gd name="connsiteX2201" fmla="*/ 465 w 10785"/>
                  <a:gd name="connsiteY2201" fmla="*/ 4718 h 10000"/>
                  <a:gd name="connsiteX2202" fmla="*/ 461 w 10785"/>
                  <a:gd name="connsiteY2202" fmla="*/ 4709 h 10000"/>
                  <a:gd name="connsiteX2203" fmla="*/ 442 w 10785"/>
                  <a:gd name="connsiteY2203" fmla="*/ 4692 h 10000"/>
                  <a:gd name="connsiteX2204" fmla="*/ 433 w 10785"/>
                  <a:gd name="connsiteY2204" fmla="*/ 4667 h 10000"/>
                  <a:gd name="connsiteX2205" fmla="*/ 419 w 10785"/>
                  <a:gd name="connsiteY2205" fmla="*/ 4667 h 10000"/>
                  <a:gd name="connsiteX2206" fmla="*/ 401 w 10785"/>
                  <a:gd name="connsiteY2206" fmla="*/ 4658 h 10000"/>
                  <a:gd name="connsiteX2207" fmla="*/ 401 w 10785"/>
                  <a:gd name="connsiteY2207" fmla="*/ 4624 h 10000"/>
                  <a:gd name="connsiteX2208" fmla="*/ 401 w 10785"/>
                  <a:gd name="connsiteY2208" fmla="*/ 4607 h 10000"/>
                  <a:gd name="connsiteX2209" fmla="*/ 378 w 10785"/>
                  <a:gd name="connsiteY2209" fmla="*/ 4607 h 10000"/>
                  <a:gd name="connsiteX2210" fmla="*/ 341 w 10785"/>
                  <a:gd name="connsiteY2210" fmla="*/ 4530 h 10000"/>
                  <a:gd name="connsiteX2211" fmla="*/ 346 w 10785"/>
                  <a:gd name="connsiteY2211" fmla="*/ 4521 h 10000"/>
                  <a:gd name="connsiteX2212" fmla="*/ 332 w 10785"/>
                  <a:gd name="connsiteY2212" fmla="*/ 4487 h 10000"/>
                  <a:gd name="connsiteX2213" fmla="*/ 327 w 10785"/>
                  <a:gd name="connsiteY2213" fmla="*/ 4462 h 10000"/>
                  <a:gd name="connsiteX2214" fmla="*/ 313 w 10785"/>
                  <a:gd name="connsiteY2214" fmla="*/ 4436 h 10000"/>
                  <a:gd name="connsiteX2215" fmla="*/ 300 w 10785"/>
                  <a:gd name="connsiteY2215" fmla="*/ 4419 h 10000"/>
                  <a:gd name="connsiteX2216" fmla="*/ 309 w 10785"/>
                  <a:gd name="connsiteY2216" fmla="*/ 4393 h 10000"/>
                  <a:gd name="connsiteX2217" fmla="*/ 332 w 10785"/>
                  <a:gd name="connsiteY2217" fmla="*/ 4385 h 10000"/>
                  <a:gd name="connsiteX2218" fmla="*/ 355 w 10785"/>
                  <a:gd name="connsiteY2218" fmla="*/ 4419 h 10000"/>
                  <a:gd name="connsiteX2219" fmla="*/ 355 w 10785"/>
                  <a:gd name="connsiteY2219" fmla="*/ 4444 h 10000"/>
                  <a:gd name="connsiteX2220" fmla="*/ 369 w 10785"/>
                  <a:gd name="connsiteY2220" fmla="*/ 4470 h 10000"/>
                  <a:gd name="connsiteX2221" fmla="*/ 401 w 10785"/>
                  <a:gd name="connsiteY2221" fmla="*/ 4521 h 10000"/>
                  <a:gd name="connsiteX2222" fmla="*/ 406 w 10785"/>
                  <a:gd name="connsiteY2222" fmla="*/ 4513 h 10000"/>
                  <a:gd name="connsiteX2223" fmla="*/ 406 w 10785"/>
                  <a:gd name="connsiteY2223" fmla="*/ 4496 h 10000"/>
                  <a:gd name="connsiteX2224" fmla="*/ 419 w 10785"/>
                  <a:gd name="connsiteY2224" fmla="*/ 4521 h 10000"/>
                  <a:gd name="connsiteX2225" fmla="*/ 429 w 10785"/>
                  <a:gd name="connsiteY2225" fmla="*/ 4530 h 10000"/>
                  <a:gd name="connsiteX2226" fmla="*/ 433 w 10785"/>
                  <a:gd name="connsiteY2226" fmla="*/ 4521 h 10000"/>
                  <a:gd name="connsiteX2227" fmla="*/ 442 w 10785"/>
                  <a:gd name="connsiteY2227" fmla="*/ 4530 h 10000"/>
                  <a:gd name="connsiteX2228" fmla="*/ 447 w 10785"/>
                  <a:gd name="connsiteY2228" fmla="*/ 4521 h 10000"/>
                  <a:gd name="connsiteX2229" fmla="*/ 452 w 10785"/>
                  <a:gd name="connsiteY2229" fmla="*/ 4521 h 10000"/>
                  <a:gd name="connsiteX2230" fmla="*/ 461 w 10785"/>
                  <a:gd name="connsiteY2230" fmla="*/ 4573 h 10000"/>
                  <a:gd name="connsiteX2231" fmla="*/ 479 w 10785"/>
                  <a:gd name="connsiteY2231" fmla="*/ 4556 h 10000"/>
                  <a:gd name="connsiteX2232" fmla="*/ 502 w 10785"/>
                  <a:gd name="connsiteY2232" fmla="*/ 4573 h 10000"/>
                  <a:gd name="connsiteX2233" fmla="*/ 507 w 10785"/>
                  <a:gd name="connsiteY2233" fmla="*/ 4598 h 10000"/>
                  <a:gd name="connsiteX2234" fmla="*/ 525 w 10785"/>
                  <a:gd name="connsiteY2234" fmla="*/ 4598 h 10000"/>
                  <a:gd name="connsiteX2235" fmla="*/ 535 w 10785"/>
                  <a:gd name="connsiteY2235" fmla="*/ 4624 h 10000"/>
                  <a:gd name="connsiteX2236" fmla="*/ 594 w 10785"/>
                  <a:gd name="connsiteY2236" fmla="*/ 4658 h 10000"/>
                  <a:gd name="connsiteX2237" fmla="*/ 627 w 10785"/>
                  <a:gd name="connsiteY2237" fmla="*/ 4658 h 10000"/>
                  <a:gd name="connsiteX2238" fmla="*/ 654 w 10785"/>
                  <a:gd name="connsiteY2238" fmla="*/ 4684 h 10000"/>
                  <a:gd name="connsiteX2239" fmla="*/ 668 w 10785"/>
                  <a:gd name="connsiteY2239" fmla="*/ 4709 h 10000"/>
                  <a:gd name="connsiteX2240" fmla="*/ 747 w 10785"/>
                  <a:gd name="connsiteY2240" fmla="*/ 4718 h 10000"/>
                  <a:gd name="connsiteX2241" fmla="*/ 760 w 10785"/>
                  <a:gd name="connsiteY2241" fmla="*/ 4709 h 10000"/>
                  <a:gd name="connsiteX2242" fmla="*/ 774 w 10785"/>
                  <a:gd name="connsiteY2242" fmla="*/ 4692 h 10000"/>
                  <a:gd name="connsiteX2243" fmla="*/ 829 w 10785"/>
                  <a:gd name="connsiteY2243" fmla="*/ 4658 h 10000"/>
                  <a:gd name="connsiteX2244" fmla="*/ 903 w 10785"/>
                  <a:gd name="connsiteY2244" fmla="*/ 4496 h 10000"/>
                  <a:gd name="connsiteX2245" fmla="*/ 917 w 10785"/>
                  <a:gd name="connsiteY2245" fmla="*/ 4385 h 10000"/>
                  <a:gd name="connsiteX2246" fmla="*/ 903 w 10785"/>
                  <a:gd name="connsiteY2246" fmla="*/ 4376 h 10000"/>
                  <a:gd name="connsiteX2247" fmla="*/ 903 w 10785"/>
                  <a:gd name="connsiteY2247" fmla="*/ 4376 h 10000"/>
                  <a:gd name="connsiteX2248" fmla="*/ 889 w 10785"/>
                  <a:gd name="connsiteY2248" fmla="*/ 4239 h 10000"/>
                  <a:gd name="connsiteX2249" fmla="*/ 880 w 10785"/>
                  <a:gd name="connsiteY2249" fmla="*/ 4214 h 10000"/>
                  <a:gd name="connsiteX2250" fmla="*/ 862 w 10785"/>
                  <a:gd name="connsiteY2250" fmla="*/ 4188 h 10000"/>
                  <a:gd name="connsiteX2251" fmla="*/ 857 w 10785"/>
                  <a:gd name="connsiteY2251" fmla="*/ 4197 h 10000"/>
                  <a:gd name="connsiteX2252" fmla="*/ 848 w 10785"/>
                  <a:gd name="connsiteY2252" fmla="*/ 4188 h 10000"/>
                  <a:gd name="connsiteX2253" fmla="*/ 848 w 10785"/>
                  <a:gd name="connsiteY2253" fmla="*/ 4162 h 10000"/>
                  <a:gd name="connsiteX2254" fmla="*/ 829 w 10785"/>
                  <a:gd name="connsiteY2254" fmla="*/ 4120 h 10000"/>
                  <a:gd name="connsiteX2255" fmla="*/ 820 w 10785"/>
                  <a:gd name="connsiteY2255" fmla="*/ 4103 h 10000"/>
                  <a:gd name="connsiteX2256" fmla="*/ 806 w 10785"/>
                  <a:gd name="connsiteY2256" fmla="*/ 4077 h 10000"/>
                  <a:gd name="connsiteX2257" fmla="*/ 816 w 10785"/>
                  <a:gd name="connsiteY2257" fmla="*/ 4111 h 10000"/>
                  <a:gd name="connsiteX2258" fmla="*/ 802 w 10785"/>
                  <a:gd name="connsiteY2258" fmla="*/ 4111 h 10000"/>
                  <a:gd name="connsiteX2259" fmla="*/ 770 w 10785"/>
                  <a:gd name="connsiteY2259" fmla="*/ 4060 h 10000"/>
                  <a:gd name="connsiteX2260" fmla="*/ 760 w 10785"/>
                  <a:gd name="connsiteY2260" fmla="*/ 4077 h 10000"/>
                  <a:gd name="connsiteX2261" fmla="*/ 760 w 10785"/>
                  <a:gd name="connsiteY2261" fmla="*/ 4060 h 10000"/>
                  <a:gd name="connsiteX2262" fmla="*/ 756 w 10785"/>
                  <a:gd name="connsiteY2262" fmla="*/ 4034 h 10000"/>
                  <a:gd name="connsiteX2263" fmla="*/ 742 w 10785"/>
                  <a:gd name="connsiteY2263" fmla="*/ 4000 h 10000"/>
                  <a:gd name="connsiteX2264" fmla="*/ 747 w 10785"/>
                  <a:gd name="connsiteY2264" fmla="*/ 4034 h 10000"/>
                  <a:gd name="connsiteX2265" fmla="*/ 724 w 10785"/>
                  <a:gd name="connsiteY2265" fmla="*/ 4026 h 10000"/>
                  <a:gd name="connsiteX2266" fmla="*/ 714 w 10785"/>
                  <a:gd name="connsiteY2266" fmla="*/ 4000 h 10000"/>
                  <a:gd name="connsiteX2267" fmla="*/ 714 w 10785"/>
                  <a:gd name="connsiteY2267" fmla="*/ 3983 h 10000"/>
                  <a:gd name="connsiteX2268" fmla="*/ 553 w 10785"/>
                  <a:gd name="connsiteY2268" fmla="*/ 3726 h 10000"/>
                  <a:gd name="connsiteX2269" fmla="*/ 507 w 10785"/>
                  <a:gd name="connsiteY2269" fmla="*/ 3718 h 10000"/>
                  <a:gd name="connsiteX2270" fmla="*/ 516 w 10785"/>
                  <a:gd name="connsiteY2270" fmla="*/ 3726 h 10000"/>
                  <a:gd name="connsiteX2271" fmla="*/ 507 w 10785"/>
                  <a:gd name="connsiteY2271" fmla="*/ 3735 h 10000"/>
                  <a:gd name="connsiteX2272" fmla="*/ 502 w 10785"/>
                  <a:gd name="connsiteY2272" fmla="*/ 3735 h 10000"/>
                  <a:gd name="connsiteX2273" fmla="*/ 419 w 10785"/>
                  <a:gd name="connsiteY2273" fmla="*/ 3675 h 10000"/>
                  <a:gd name="connsiteX2274" fmla="*/ 419 w 10785"/>
                  <a:gd name="connsiteY2274" fmla="*/ 3692 h 10000"/>
                  <a:gd name="connsiteX2275" fmla="*/ 401 w 10785"/>
                  <a:gd name="connsiteY2275" fmla="*/ 3701 h 10000"/>
                  <a:gd name="connsiteX2276" fmla="*/ 387 w 10785"/>
                  <a:gd name="connsiteY2276" fmla="*/ 3718 h 10000"/>
                  <a:gd name="connsiteX2277" fmla="*/ 387 w 10785"/>
                  <a:gd name="connsiteY2277" fmla="*/ 3692 h 10000"/>
                  <a:gd name="connsiteX2278" fmla="*/ 378 w 10785"/>
                  <a:gd name="connsiteY2278" fmla="*/ 3675 h 10000"/>
                  <a:gd name="connsiteX2279" fmla="*/ 378 w 10785"/>
                  <a:gd name="connsiteY2279" fmla="*/ 3650 h 10000"/>
                  <a:gd name="connsiteX2280" fmla="*/ 378 w 10785"/>
                  <a:gd name="connsiteY2280" fmla="*/ 3650 h 10000"/>
                  <a:gd name="connsiteX2281" fmla="*/ 355 w 10785"/>
                  <a:gd name="connsiteY2281" fmla="*/ 3675 h 10000"/>
                  <a:gd name="connsiteX2282" fmla="*/ 359 w 10785"/>
                  <a:gd name="connsiteY2282" fmla="*/ 3641 h 10000"/>
                  <a:gd name="connsiteX2283" fmla="*/ 346 w 10785"/>
                  <a:gd name="connsiteY2283" fmla="*/ 3650 h 10000"/>
                  <a:gd name="connsiteX2284" fmla="*/ 355 w 10785"/>
                  <a:gd name="connsiteY2284" fmla="*/ 3624 h 10000"/>
                  <a:gd name="connsiteX2285" fmla="*/ 346 w 10785"/>
                  <a:gd name="connsiteY2285" fmla="*/ 3624 h 10000"/>
                  <a:gd name="connsiteX2286" fmla="*/ 341 w 10785"/>
                  <a:gd name="connsiteY2286" fmla="*/ 3624 h 10000"/>
                  <a:gd name="connsiteX2287" fmla="*/ 318 w 10785"/>
                  <a:gd name="connsiteY2287" fmla="*/ 3641 h 10000"/>
                  <a:gd name="connsiteX2288" fmla="*/ 327 w 10785"/>
                  <a:gd name="connsiteY2288" fmla="*/ 3624 h 10000"/>
                  <a:gd name="connsiteX2289" fmla="*/ 318 w 10785"/>
                  <a:gd name="connsiteY2289" fmla="*/ 3615 h 10000"/>
                  <a:gd name="connsiteX2290" fmla="*/ 318 w 10785"/>
                  <a:gd name="connsiteY2290" fmla="*/ 3598 h 10000"/>
                  <a:gd name="connsiteX2291" fmla="*/ 300 w 10785"/>
                  <a:gd name="connsiteY2291" fmla="*/ 3598 h 10000"/>
                  <a:gd name="connsiteX2292" fmla="*/ 309 w 10785"/>
                  <a:gd name="connsiteY2292" fmla="*/ 3538 h 10000"/>
                  <a:gd name="connsiteX2293" fmla="*/ 313 w 10785"/>
                  <a:gd name="connsiteY2293" fmla="*/ 3564 h 10000"/>
                  <a:gd name="connsiteX2294" fmla="*/ 318 w 10785"/>
                  <a:gd name="connsiteY2294" fmla="*/ 3581 h 10000"/>
                  <a:gd name="connsiteX2295" fmla="*/ 327 w 10785"/>
                  <a:gd name="connsiteY2295" fmla="*/ 3564 h 10000"/>
                  <a:gd name="connsiteX2296" fmla="*/ 332 w 10785"/>
                  <a:gd name="connsiteY2296" fmla="*/ 3590 h 10000"/>
                  <a:gd name="connsiteX2297" fmla="*/ 346 w 10785"/>
                  <a:gd name="connsiteY2297" fmla="*/ 3590 h 10000"/>
                  <a:gd name="connsiteX2298" fmla="*/ 355 w 10785"/>
                  <a:gd name="connsiteY2298" fmla="*/ 3590 h 10000"/>
                  <a:gd name="connsiteX2299" fmla="*/ 369 w 10785"/>
                  <a:gd name="connsiteY2299" fmla="*/ 3556 h 10000"/>
                  <a:gd name="connsiteX2300" fmla="*/ 369 w 10785"/>
                  <a:gd name="connsiteY2300" fmla="*/ 3538 h 10000"/>
                  <a:gd name="connsiteX2301" fmla="*/ 346 w 10785"/>
                  <a:gd name="connsiteY2301" fmla="*/ 3513 h 10000"/>
                  <a:gd name="connsiteX2302" fmla="*/ 341 w 10785"/>
                  <a:gd name="connsiteY2302" fmla="*/ 3530 h 10000"/>
                  <a:gd name="connsiteX2303" fmla="*/ 327 w 10785"/>
                  <a:gd name="connsiteY2303" fmla="*/ 3513 h 10000"/>
                  <a:gd name="connsiteX2304" fmla="*/ 327 w 10785"/>
                  <a:gd name="connsiteY2304" fmla="*/ 3504 h 10000"/>
                  <a:gd name="connsiteX2305" fmla="*/ 295 w 10785"/>
                  <a:gd name="connsiteY2305" fmla="*/ 3462 h 10000"/>
                  <a:gd name="connsiteX2306" fmla="*/ 300 w 10785"/>
                  <a:gd name="connsiteY2306" fmla="*/ 3479 h 10000"/>
                  <a:gd name="connsiteX2307" fmla="*/ 295 w 10785"/>
                  <a:gd name="connsiteY2307" fmla="*/ 3513 h 10000"/>
                  <a:gd name="connsiteX2308" fmla="*/ 286 w 10785"/>
                  <a:gd name="connsiteY2308" fmla="*/ 3513 h 10000"/>
                  <a:gd name="connsiteX2309" fmla="*/ 281 w 10785"/>
                  <a:gd name="connsiteY2309" fmla="*/ 3513 h 10000"/>
                  <a:gd name="connsiteX2310" fmla="*/ 281 w 10785"/>
                  <a:gd name="connsiteY2310" fmla="*/ 3530 h 10000"/>
                  <a:gd name="connsiteX2311" fmla="*/ 281 w 10785"/>
                  <a:gd name="connsiteY2311" fmla="*/ 3556 h 10000"/>
                  <a:gd name="connsiteX2312" fmla="*/ 272 w 10785"/>
                  <a:gd name="connsiteY2312" fmla="*/ 3564 h 10000"/>
                  <a:gd name="connsiteX2313" fmla="*/ 267 w 10785"/>
                  <a:gd name="connsiteY2313" fmla="*/ 3564 h 10000"/>
                  <a:gd name="connsiteX2314" fmla="*/ 253 w 10785"/>
                  <a:gd name="connsiteY2314" fmla="*/ 3538 h 10000"/>
                  <a:gd name="connsiteX2315" fmla="*/ 226 w 10785"/>
                  <a:gd name="connsiteY2315" fmla="*/ 3513 h 10000"/>
                  <a:gd name="connsiteX2316" fmla="*/ 226 w 10785"/>
                  <a:gd name="connsiteY2316" fmla="*/ 3530 h 10000"/>
                  <a:gd name="connsiteX2317" fmla="*/ 226 w 10785"/>
                  <a:gd name="connsiteY2317" fmla="*/ 3530 h 10000"/>
                  <a:gd name="connsiteX2318" fmla="*/ 226 w 10785"/>
                  <a:gd name="connsiteY2318" fmla="*/ 3530 h 10000"/>
                  <a:gd name="connsiteX2319" fmla="*/ 226 w 10785"/>
                  <a:gd name="connsiteY2319" fmla="*/ 3556 h 10000"/>
                  <a:gd name="connsiteX2320" fmla="*/ 221 w 10785"/>
                  <a:gd name="connsiteY2320" fmla="*/ 3598 h 10000"/>
                  <a:gd name="connsiteX2321" fmla="*/ 207 w 10785"/>
                  <a:gd name="connsiteY2321" fmla="*/ 3598 h 10000"/>
                  <a:gd name="connsiteX2322" fmla="*/ 180 w 10785"/>
                  <a:gd name="connsiteY2322" fmla="*/ 3581 h 10000"/>
                  <a:gd name="connsiteX2323" fmla="*/ 171 w 10785"/>
                  <a:gd name="connsiteY2323" fmla="*/ 3641 h 10000"/>
                  <a:gd name="connsiteX2324" fmla="*/ 166 w 10785"/>
                  <a:gd name="connsiteY2324" fmla="*/ 3650 h 10000"/>
                  <a:gd name="connsiteX2325" fmla="*/ 124 w 10785"/>
                  <a:gd name="connsiteY2325" fmla="*/ 3701 h 10000"/>
                  <a:gd name="connsiteX2326" fmla="*/ 124 w 10785"/>
                  <a:gd name="connsiteY2326" fmla="*/ 3718 h 10000"/>
                  <a:gd name="connsiteX2327" fmla="*/ 120 w 10785"/>
                  <a:gd name="connsiteY2327" fmla="*/ 3735 h 10000"/>
                  <a:gd name="connsiteX2328" fmla="*/ 120 w 10785"/>
                  <a:gd name="connsiteY2328" fmla="*/ 3735 h 10000"/>
                  <a:gd name="connsiteX2329" fmla="*/ 111 w 10785"/>
                  <a:gd name="connsiteY2329" fmla="*/ 3761 h 10000"/>
                  <a:gd name="connsiteX2330" fmla="*/ 106 w 10785"/>
                  <a:gd name="connsiteY2330" fmla="*/ 3761 h 10000"/>
                  <a:gd name="connsiteX2331" fmla="*/ 106 w 10785"/>
                  <a:gd name="connsiteY2331" fmla="*/ 3761 h 10000"/>
                  <a:gd name="connsiteX2332" fmla="*/ 74 w 10785"/>
                  <a:gd name="connsiteY2332" fmla="*/ 3829 h 10000"/>
                  <a:gd name="connsiteX2333" fmla="*/ 78 w 10785"/>
                  <a:gd name="connsiteY2333" fmla="*/ 3838 h 10000"/>
                  <a:gd name="connsiteX2334" fmla="*/ 88 w 10785"/>
                  <a:gd name="connsiteY2334" fmla="*/ 3846 h 10000"/>
                  <a:gd name="connsiteX2335" fmla="*/ 65 w 10785"/>
                  <a:gd name="connsiteY2335" fmla="*/ 3923 h 10000"/>
                  <a:gd name="connsiteX2336" fmla="*/ 78 w 10785"/>
                  <a:gd name="connsiteY2336" fmla="*/ 4026 h 10000"/>
                  <a:gd name="connsiteX2337" fmla="*/ 88 w 10785"/>
                  <a:gd name="connsiteY2337" fmla="*/ 4051 h 10000"/>
                  <a:gd name="connsiteX2338" fmla="*/ 92 w 10785"/>
                  <a:gd name="connsiteY2338" fmla="*/ 4060 h 10000"/>
                  <a:gd name="connsiteX2339" fmla="*/ 111 w 10785"/>
                  <a:gd name="connsiteY2339" fmla="*/ 4060 h 10000"/>
                  <a:gd name="connsiteX2340" fmla="*/ 124 w 10785"/>
                  <a:gd name="connsiteY2340" fmla="*/ 4085 h 10000"/>
                  <a:gd name="connsiteX2341" fmla="*/ 166 w 10785"/>
                  <a:gd name="connsiteY2341" fmla="*/ 4197 h 10000"/>
                  <a:gd name="connsiteX2342" fmla="*/ 166 w 10785"/>
                  <a:gd name="connsiteY2342" fmla="*/ 4248 h 10000"/>
                  <a:gd name="connsiteX2343" fmla="*/ 120 w 10785"/>
                  <a:gd name="connsiteY2343" fmla="*/ 4462 h 10000"/>
                  <a:gd name="connsiteX2344" fmla="*/ 120 w 10785"/>
                  <a:gd name="connsiteY2344" fmla="*/ 4513 h 10000"/>
                  <a:gd name="connsiteX2345" fmla="*/ 180 w 10785"/>
                  <a:gd name="connsiteY2345" fmla="*/ 4829 h 10000"/>
                  <a:gd name="connsiteX2346" fmla="*/ 161 w 10785"/>
                  <a:gd name="connsiteY2346" fmla="*/ 4855 h 10000"/>
                  <a:gd name="connsiteX2347" fmla="*/ 152 w 10785"/>
                  <a:gd name="connsiteY2347" fmla="*/ 4940 h 10000"/>
                  <a:gd name="connsiteX2348" fmla="*/ 161 w 10785"/>
                  <a:gd name="connsiteY2348" fmla="*/ 4966 h 10000"/>
                  <a:gd name="connsiteX2349" fmla="*/ 161 w 10785"/>
                  <a:gd name="connsiteY2349" fmla="*/ 5009 h 10000"/>
                  <a:gd name="connsiteX2350" fmla="*/ 152 w 10785"/>
                  <a:gd name="connsiteY2350" fmla="*/ 5034 h 10000"/>
                  <a:gd name="connsiteX2351" fmla="*/ 152 w 10785"/>
                  <a:gd name="connsiteY2351" fmla="*/ 5077 h 10000"/>
                  <a:gd name="connsiteX2352" fmla="*/ 171 w 10785"/>
                  <a:gd name="connsiteY2352" fmla="*/ 5094 h 10000"/>
                  <a:gd name="connsiteX2353" fmla="*/ 180 w 10785"/>
                  <a:gd name="connsiteY2353" fmla="*/ 5128 h 10000"/>
                  <a:gd name="connsiteX2354" fmla="*/ 180 w 10785"/>
                  <a:gd name="connsiteY2354" fmla="*/ 5171 h 10000"/>
                  <a:gd name="connsiteX2355" fmla="*/ 184 w 10785"/>
                  <a:gd name="connsiteY2355" fmla="*/ 5205 h 10000"/>
                  <a:gd name="connsiteX2356" fmla="*/ 207 w 10785"/>
                  <a:gd name="connsiteY2356" fmla="*/ 5239 h 10000"/>
                  <a:gd name="connsiteX2357" fmla="*/ 207 w 10785"/>
                  <a:gd name="connsiteY2357" fmla="*/ 5282 h 10000"/>
                  <a:gd name="connsiteX2358" fmla="*/ 180 w 10785"/>
                  <a:gd name="connsiteY2358" fmla="*/ 5393 h 10000"/>
                  <a:gd name="connsiteX2359" fmla="*/ 194 w 10785"/>
                  <a:gd name="connsiteY2359" fmla="*/ 5427 h 10000"/>
                  <a:gd name="connsiteX2360" fmla="*/ 198 w 10785"/>
                  <a:gd name="connsiteY2360" fmla="*/ 5462 h 10000"/>
                  <a:gd name="connsiteX2361" fmla="*/ 235 w 10785"/>
                  <a:gd name="connsiteY2361" fmla="*/ 5513 h 10000"/>
                  <a:gd name="connsiteX2362" fmla="*/ 240 w 10785"/>
                  <a:gd name="connsiteY2362" fmla="*/ 5556 h 10000"/>
                  <a:gd name="connsiteX2363" fmla="*/ 253 w 10785"/>
                  <a:gd name="connsiteY2363" fmla="*/ 5590 h 10000"/>
                  <a:gd name="connsiteX2364" fmla="*/ 258 w 10785"/>
                  <a:gd name="connsiteY2364" fmla="*/ 5573 h 10000"/>
                  <a:gd name="connsiteX2365" fmla="*/ 258 w 10785"/>
                  <a:gd name="connsiteY2365" fmla="*/ 5667 h 10000"/>
                  <a:gd name="connsiteX2366" fmla="*/ 14 w 10785"/>
                  <a:gd name="connsiteY2366" fmla="*/ 6214 h 10000"/>
                  <a:gd name="connsiteX2367" fmla="*/ 14 w 10785"/>
                  <a:gd name="connsiteY2367" fmla="*/ 6214 h 10000"/>
                  <a:gd name="connsiteX2368" fmla="*/ 37 w 10785"/>
                  <a:gd name="connsiteY2368" fmla="*/ 6214 h 10000"/>
                  <a:gd name="connsiteX2369" fmla="*/ 51 w 10785"/>
                  <a:gd name="connsiteY2369" fmla="*/ 6188 h 10000"/>
                  <a:gd name="connsiteX2370" fmla="*/ 78 w 10785"/>
                  <a:gd name="connsiteY2370" fmla="*/ 6162 h 10000"/>
                  <a:gd name="connsiteX2371" fmla="*/ 78 w 10785"/>
                  <a:gd name="connsiteY2371" fmla="*/ 6188 h 10000"/>
                  <a:gd name="connsiteX2372" fmla="*/ 74 w 10785"/>
                  <a:gd name="connsiteY2372" fmla="*/ 6197 h 10000"/>
                  <a:gd name="connsiteX2373" fmla="*/ 74 w 10785"/>
                  <a:gd name="connsiteY2373" fmla="*/ 6231 h 10000"/>
                  <a:gd name="connsiteX2374" fmla="*/ 74 w 10785"/>
                  <a:gd name="connsiteY2374" fmla="*/ 6214 h 10000"/>
                  <a:gd name="connsiteX2375" fmla="*/ 65 w 10785"/>
                  <a:gd name="connsiteY2375" fmla="*/ 6214 h 10000"/>
                  <a:gd name="connsiteX2376" fmla="*/ 65 w 10785"/>
                  <a:gd name="connsiteY2376" fmla="*/ 6248 h 10000"/>
                  <a:gd name="connsiteX2377" fmla="*/ 74 w 10785"/>
                  <a:gd name="connsiteY2377" fmla="*/ 6256 h 10000"/>
                  <a:gd name="connsiteX2378" fmla="*/ 78 w 10785"/>
                  <a:gd name="connsiteY2378" fmla="*/ 6256 h 10000"/>
                  <a:gd name="connsiteX2379" fmla="*/ 106 w 10785"/>
                  <a:gd name="connsiteY2379" fmla="*/ 6308 h 10000"/>
                  <a:gd name="connsiteX2380" fmla="*/ 138 w 10785"/>
                  <a:gd name="connsiteY2380" fmla="*/ 6299 h 10000"/>
                  <a:gd name="connsiteX2381" fmla="*/ 152 w 10785"/>
                  <a:gd name="connsiteY2381" fmla="*/ 6299 h 10000"/>
                  <a:gd name="connsiteX2382" fmla="*/ 166 w 10785"/>
                  <a:gd name="connsiteY2382" fmla="*/ 6325 h 10000"/>
                  <a:gd name="connsiteX2383" fmla="*/ 166 w 10785"/>
                  <a:gd name="connsiteY2383" fmla="*/ 6333 h 10000"/>
                  <a:gd name="connsiteX2384" fmla="*/ 171 w 10785"/>
                  <a:gd name="connsiteY2384" fmla="*/ 6350 h 10000"/>
                  <a:gd name="connsiteX2385" fmla="*/ 180 w 10785"/>
                  <a:gd name="connsiteY2385" fmla="*/ 6350 h 10000"/>
                  <a:gd name="connsiteX2386" fmla="*/ 180 w 10785"/>
                  <a:gd name="connsiteY2386" fmla="*/ 6359 h 10000"/>
                  <a:gd name="connsiteX2387" fmla="*/ 171 w 10785"/>
                  <a:gd name="connsiteY2387" fmla="*/ 6368 h 10000"/>
                  <a:gd name="connsiteX2388" fmla="*/ 106 w 10785"/>
                  <a:gd name="connsiteY2388" fmla="*/ 6350 h 10000"/>
                  <a:gd name="connsiteX2389" fmla="*/ 101 w 10785"/>
                  <a:gd name="connsiteY2389" fmla="*/ 6359 h 10000"/>
                  <a:gd name="connsiteX2390" fmla="*/ 101 w 10785"/>
                  <a:gd name="connsiteY2390" fmla="*/ 6385 h 10000"/>
                  <a:gd name="connsiteX2391" fmla="*/ 78 w 10785"/>
                  <a:gd name="connsiteY2391" fmla="*/ 6393 h 10000"/>
                  <a:gd name="connsiteX2392" fmla="*/ 74 w 10785"/>
                  <a:gd name="connsiteY2392" fmla="*/ 6385 h 10000"/>
                  <a:gd name="connsiteX2393" fmla="*/ 65 w 10785"/>
                  <a:gd name="connsiteY2393" fmla="*/ 6393 h 10000"/>
                  <a:gd name="connsiteX2394" fmla="*/ 60 w 10785"/>
                  <a:gd name="connsiteY2394" fmla="*/ 6419 h 10000"/>
                  <a:gd name="connsiteX2395" fmla="*/ 51 w 10785"/>
                  <a:gd name="connsiteY2395" fmla="*/ 6419 h 10000"/>
                  <a:gd name="connsiteX2396" fmla="*/ 46 w 10785"/>
                  <a:gd name="connsiteY2396" fmla="*/ 6410 h 10000"/>
                  <a:gd name="connsiteX2397" fmla="*/ 37 w 10785"/>
                  <a:gd name="connsiteY2397" fmla="*/ 6393 h 10000"/>
                  <a:gd name="connsiteX2398" fmla="*/ 32 w 10785"/>
                  <a:gd name="connsiteY2398" fmla="*/ 6419 h 10000"/>
                  <a:gd name="connsiteX2399" fmla="*/ 37 w 10785"/>
                  <a:gd name="connsiteY2399" fmla="*/ 6462 h 10000"/>
                  <a:gd name="connsiteX2400" fmla="*/ 46 w 10785"/>
                  <a:gd name="connsiteY2400" fmla="*/ 6462 h 10000"/>
                  <a:gd name="connsiteX2401" fmla="*/ 51 w 10785"/>
                  <a:gd name="connsiteY2401" fmla="*/ 6470 h 10000"/>
                  <a:gd name="connsiteX2402" fmla="*/ 51 w 10785"/>
                  <a:gd name="connsiteY2402" fmla="*/ 6496 h 10000"/>
                  <a:gd name="connsiteX2403" fmla="*/ 51 w 10785"/>
                  <a:gd name="connsiteY2403" fmla="*/ 6504 h 10000"/>
                  <a:gd name="connsiteX2404" fmla="*/ 37 w 10785"/>
                  <a:gd name="connsiteY2404" fmla="*/ 6530 h 10000"/>
                  <a:gd name="connsiteX2405" fmla="*/ 18 w 10785"/>
                  <a:gd name="connsiteY2405" fmla="*/ 6598 h 10000"/>
                  <a:gd name="connsiteX2406" fmla="*/ 28 w 10785"/>
                  <a:gd name="connsiteY2406" fmla="*/ 6632 h 10000"/>
                  <a:gd name="connsiteX2407" fmla="*/ 18 w 10785"/>
                  <a:gd name="connsiteY2407" fmla="*/ 6667 h 10000"/>
                  <a:gd name="connsiteX2408" fmla="*/ 28 w 10785"/>
                  <a:gd name="connsiteY2408" fmla="*/ 6692 h 10000"/>
                  <a:gd name="connsiteX2409" fmla="*/ 28 w 10785"/>
                  <a:gd name="connsiteY2409" fmla="*/ 6709 h 10000"/>
                  <a:gd name="connsiteX2410" fmla="*/ 18 w 10785"/>
                  <a:gd name="connsiteY2410" fmla="*/ 6718 h 10000"/>
                  <a:gd name="connsiteX2411" fmla="*/ 5 w 10785"/>
                  <a:gd name="connsiteY2411" fmla="*/ 6744 h 10000"/>
                  <a:gd name="connsiteX2412" fmla="*/ 0 w 10785"/>
                  <a:gd name="connsiteY2412" fmla="*/ 6769 h 10000"/>
                  <a:gd name="connsiteX2413" fmla="*/ 5 w 10785"/>
                  <a:gd name="connsiteY2413" fmla="*/ 6778 h 10000"/>
                  <a:gd name="connsiteX2414" fmla="*/ 32 w 10785"/>
                  <a:gd name="connsiteY2414" fmla="*/ 6778 h 10000"/>
                  <a:gd name="connsiteX2415" fmla="*/ 46 w 10785"/>
                  <a:gd name="connsiteY2415" fmla="*/ 6821 h 10000"/>
                  <a:gd name="connsiteX2416" fmla="*/ 46 w 10785"/>
                  <a:gd name="connsiteY2416" fmla="*/ 6855 h 10000"/>
                  <a:gd name="connsiteX2417" fmla="*/ 32 w 10785"/>
                  <a:gd name="connsiteY2417" fmla="*/ 6855 h 10000"/>
                  <a:gd name="connsiteX2418" fmla="*/ 14 w 10785"/>
                  <a:gd name="connsiteY2418" fmla="*/ 6821 h 10000"/>
                  <a:gd name="connsiteX2419" fmla="*/ 14 w 10785"/>
                  <a:gd name="connsiteY2419" fmla="*/ 6846 h 10000"/>
                  <a:gd name="connsiteX2420" fmla="*/ 0 w 10785"/>
                  <a:gd name="connsiteY2420" fmla="*/ 6897 h 10000"/>
                  <a:gd name="connsiteX2421" fmla="*/ 0 w 10785"/>
                  <a:gd name="connsiteY2421" fmla="*/ 6915 h 10000"/>
                  <a:gd name="connsiteX2422" fmla="*/ 5 w 10785"/>
                  <a:gd name="connsiteY2422" fmla="*/ 6932 h 10000"/>
                  <a:gd name="connsiteX2423" fmla="*/ 14 w 10785"/>
                  <a:gd name="connsiteY2423" fmla="*/ 6940 h 10000"/>
                  <a:gd name="connsiteX2424" fmla="*/ 18 w 10785"/>
                  <a:gd name="connsiteY2424" fmla="*/ 6957 h 10000"/>
                  <a:gd name="connsiteX2425" fmla="*/ 28 w 10785"/>
                  <a:gd name="connsiteY2425" fmla="*/ 6966 h 10000"/>
                  <a:gd name="connsiteX2426" fmla="*/ 28 w 10785"/>
                  <a:gd name="connsiteY2426" fmla="*/ 6983 h 10000"/>
                  <a:gd name="connsiteX2427" fmla="*/ 18 w 10785"/>
                  <a:gd name="connsiteY2427" fmla="*/ 7051 h 10000"/>
                  <a:gd name="connsiteX2428" fmla="*/ 28 w 10785"/>
                  <a:gd name="connsiteY2428" fmla="*/ 7068 h 10000"/>
                  <a:gd name="connsiteX2429" fmla="*/ 32 w 10785"/>
                  <a:gd name="connsiteY2429" fmla="*/ 7068 h 10000"/>
                  <a:gd name="connsiteX2430" fmla="*/ 32 w 10785"/>
                  <a:gd name="connsiteY2430" fmla="*/ 7094 h 10000"/>
                  <a:gd name="connsiteX2431" fmla="*/ 60 w 10785"/>
                  <a:gd name="connsiteY2431" fmla="*/ 7162 h 10000"/>
                  <a:gd name="connsiteX2432" fmla="*/ 60 w 10785"/>
                  <a:gd name="connsiteY2432" fmla="*/ 7231 h 10000"/>
                  <a:gd name="connsiteX2433" fmla="*/ 60 w 10785"/>
                  <a:gd name="connsiteY2433" fmla="*/ 7239 h 10000"/>
                  <a:gd name="connsiteX2434" fmla="*/ 78 w 10785"/>
                  <a:gd name="connsiteY2434" fmla="*/ 7239 h 10000"/>
                  <a:gd name="connsiteX2435" fmla="*/ 88 w 10785"/>
                  <a:gd name="connsiteY2435" fmla="*/ 7239 h 10000"/>
                  <a:gd name="connsiteX2436" fmla="*/ 92 w 10785"/>
                  <a:gd name="connsiteY2436" fmla="*/ 7256 h 10000"/>
                  <a:gd name="connsiteX2437" fmla="*/ 111 w 10785"/>
                  <a:gd name="connsiteY2437" fmla="*/ 7256 h 10000"/>
                  <a:gd name="connsiteX2438" fmla="*/ 120 w 10785"/>
                  <a:gd name="connsiteY2438" fmla="*/ 7256 h 10000"/>
                  <a:gd name="connsiteX2439" fmla="*/ 134 w 10785"/>
                  <a:gd name="connsiteY2439" fmla="*/ 7282 h 10000"/>
                  <a:gd name="connsiteX2440" fmla="*/ 134 w 10785"/>
                  <a:gd name="connsiteY2440" fmla="*/ 7316 h 10000"/>
                  <a:gd name="connsiteX2441" fmla="*/ 152 w 10785"/>
                  <a:gd name="connsiteY2441" fmla="*/ 7299 h 10000"/>
                  <a:gd name="connsiteX2442" fmla="*/ 161 w 10785"/>
                  <a:gd name="connsiteY2442" fmla="*/ 7299 h 10000"/>
                  <a:gd name="connsiteX2443" fmla="*/ 166 w 10785"/>
                  <a:gd name="connsiteY2443" fmla="*/ 7291 h 10000"/>
                  <a:gd name="connsiteX2444" fmla="*/ 194 w 10785"/>
                  <a:gd name="connsiteY2444" fmla="*/ 7291 h 10000"/>
                  <a:gd name="connsiteX2445" fmla="*/ 207 w 10785"/>
                  <a:gd name="connsiteY2445" fmla="*/ 7299 h 10000"/>
                  <a:gd name="connsiteX2446" fmla="*/ 221 w 10785"/>
                  <a:gd name="connsiteY2446" fmla="*/ 7342 h 10000"/>
                  <a:gd name="connsiteX2447" fmla="*/ 235 w 10785"/>
                  <a:gd name="connsiteY2447" fmla="*/ 7342 h 10000"/>
                  <a:gd name="connsiteX2448" fmla="*/ 235 w 10785"/>
                  <a:gd name="connsiteY2448" fmla="*/ 7368 h 10000"/>
                  <a:gd name="connsiteX2449" fmla="*/ 226 w 10785"/>
                  <a:gd name="connsiteY2449" fmla="*/ 7393 h 10000"/>
                  <a:gd name="connsiteX2450" fmla="*/ 226 w 10785"/>
                  <a:gd name="connsiteY2450" fmla="*/ 7402 h 10000"/>
                  <a:gd name="connsiteX2451" fmla="*/ 235 w 10785"/>
                  <a:gd name="connsiteY2451" fmla="*/ 7419 h 10000"/>
                  <a:gd name="connsiteX2452" fmla="*/ 240 w 10785"/>
                  <a:gd name="connsiteY2452" fmla="*/ 7436 h 10000"/>
                  <a:gd name="connsiteX2453" fmla="*/ 235 w 10785"/>
                  <a:gd name="connsiteY2453" fmla="*/ 7462 h 10000"/>
                  <a:gd name="connsiteX2454" fmla="*/ 226 w 10785"/>
                  <a:gd name="connsiteY2454" fmla="*/ 7479 h 10000"/>
                  <a:gd name="connsiteX2455" fmla="*/ 226 w 10785"/>
                  <a:gd name="connsiteY2455" fmla="*/ 7504 h 10000"/>
                  <a:gd name="connsiteX2456" fmla="*/ 226 w 10785"/>
                  <a:gd name="connsiteY2456" fmla="*/ 7513 h 10000"/>
                  <a:gd name="connsiteX2457" fmla="*/ 240 w 10785"/>
                  <a:gd name="connsiteY2457" fmla="*/ 7538 h 10000"/>
                  <a:gd name="connsiteX2458" fmla="*/ 267 w 10785"/>
                  <a:gd name="connsiteY2458" fmla="*/ 7641 h 10000"/>
                  <a:gd name="connsiteX2459" fmla="*/ 281 w 10785"/>
                  <a:gd name="connsiteY2459" fmla="*/ 7667 h 10000"/>
                  <a:gd name="connsiteX2460" fmla="*/ 286 w 10785"/>
                  <a:gd name="connsiteY2460" fmla="*/ 7675 h 10000"/>
                  <a:gd name="connsiteX2461" fmla="*/ 286 w 10785"/>
                  <a:gd name="connsiteY2461" fmla="*/ 7692 h 10000"/>
                  <a:gd name="connsiteX2462" fmla="*/ 286 w 10785"/>
                  <a:gd name="connsiteY2462" fmla="*/ 7709 h 10000"/>
                  <a:gd name="connsiteX2463" fmla="*/ 295 w 10785"/>
                  <a:gd name="connsiteY2463" fmla="*/ 7726 h 10000"/>
                  <a:gd name="connsiteX2464" fmla="*/ 318 w 10785"/>
                  <a:gd name="connsiteY2464" fmla="*/ 7709 h 10000"/>
                  <a:gd name="connsiteX2465" fmla="*/ 327 w 10785"/>
                  <a:gd name="connsiteY2465" fmla="*/ 7726 h 10000"/>
                  <a:gd name="connsiteX2466" fmla="*/ 341 w 10785"/>
                  <a:gd name="connsiteY2466" fmla="*/ 7735 h 10000"/>
                  <a:gd name="connsiteX2467" fmla="*/ 332 w 10785"/>
                  <a:gd name="connsiteY2467" fmla="*/ 7752 h 10000"/>
                  <a:gd name="connsiteX2468" fmla="*/ 341 w 10785"/>
                  <a:gd name="connsiteY2468" fmla="*/ 7761 h 10000"/>
                  <a:gd name="connsiteX2469" fmla="*/ 355 w 10785"/>
                  <a:gd name="connsiteY2469" fmla="*/ 7761 h 10000"/>
                  <a:gd name="connsiteX2470" fmla="*/ 355 w 10785"/>
                  <a:gd name="connsiteY2470" fmla="*/ 7803 h 10000"/>
                  <a:gd name="connsiteX2471" fmla="*/ 313 w 10785"/>
                  <a:gd name="connsiteY2471" fmla="*/ 7846 h 10000"/>
                  <a:gd name="connsiteX2472" fmla="*/ 295 w 10785"/>
                  <a:gd name="connsiteY2472" fmla="*/ 7846 h 10000"/>
                  <a:gd name="connsiteX2473" fmla="*/ 281 w 10785"/>
                  <a:gd name="connsiteY2473" fmla="*/ 7821 h 10000"/>
                  <a:gd name="connsiteX2474" fmla="*/ 272 w 10785"/>
                  <a:gd name="connsiteY2474" fmla="*/ 7821 h 10000"/>
                  <a:gd name="connsiteX2475" fmla="*/ 267 w 10785"/>
                  <a:gd name="connsiteY2475" fmla="*/ 7838 h 10000"/>
                  <a:gd name="connsiteX2476" fmla="*/ 258 w 10785"/>
                  <a:gd name="connsiteY2476" fmla="*/ 7846 h 10000"/>
                  <a:gd name="connsiteX2477" fmla="*/ 253 w 10785"/>
                  <a:gd name="connsiteY2477" fmla="*/ 7863 h 10000"/>
                  <a:gd name="connsiteX2478" fmla="*/ 253 w 10785"/>
                  <a:gd name="connsiteY2478" fmla="*/ 7872 h 10000"/>
                  <a:gd name="connsiteX2479" fmla="*/ 267 w 10785"/>
                  <a:gd name="connsiteY2479" fmla="*/ 7897 h 10000"/>
                  <a:gd name="connsiteX2480" fmla="*/ 272 w 10785"/>
                  <a:gd name="connsiteY2480" fmla="*/ 7915 h 10000"/>
                  <a:gd name="connsiteX2481" fmla="*/ 267 w 10785"/>
                  <a:gd name="connsiteY2481" fmla="*/ 7940 h 10000"/>
                  <a:gd name="connsiteX2482" fmla="*/ 272 w 10785"/>
                  <a:gd name="connsiteY2482" fmla="*/ 7949 h 10000"/>
                  <a:gd name="connsiteX2483" fmla="*/ 272 w 10785"/>
                  <a:gd name="connsiteY2483" fmla="*/ 7957 h 10000"/>
                  <a:gd name="connsiteX2484" fmla="*/ 281 w 10785"/>
                  <a:gd name="connsiteY2484" fmla="*/ 7974 h 10000"/>
                  <a:gd name="connsiteX2485" fmla="*/ 286 w 10785"/>
                  <a:gd name="connsiteY2485" fmla="*/ 7983 h 10000"/>
                  <a:gd name="connsiteX2486" fmla="*/ 281 w 10785"/>
                  <a:gd name="connsiteY2486" fmla="*/ 8009 h 10000"/>
                  <a:gd name="connsiteX2487" fmla="*/ 286 w 10785"/>
                  <a:gd name="connsiteY2487" fmla="*/ 8060 h 10000"/>
                  <a:gd name="connsiteX2488" fmla="*/ 286 w 10785"/>
                  <a:gd name="connsiteY2488" fmla="*/ 8060 h 10000"/>
                  <a:gd name="connsiteX2489" fmla="*/ 295 w 10785"/>
                  <a:gd name="connsiteY2489" fmla="*/ 8077 h 10000"/>
                  <a:gd name="connsiteX2490" fmla="*/ 309 w 10785"/>
                  <a:gd name="connsiteY2490" fmla="*/ 8077 h 10000"/>
                  <a:gd name="connsiteX2491" fmla="*/ 313 w 10785"/>
                  <a:gd name="connsiteY2491" fmla="*/ 8060 h 10000"/>
                  <a:gd name="connsiteX2492" fmla="*/ 318 w 10785"/>
                  <a:gd name="connsiteY2492" fmla="*/ 8051 h 10000"/>
                  <a:gd name="connsiteX2493" fmla="*/ 318 w 10785"/>
                  <a:gd name="connsiteY2493" fmla="*/ 8034 h 10000"/>
                  <a:gd name="connsiteX2494" fmla="*/ 332 w 10785"/>
                  <a:gd name="connsiteY2494" fmla="*/ 8026 h 10000"/>
                  <a:gd name="connsiteX2495" fmla="*/ 359 w 10785"/>
                  <a:gd name="connsiteY2495" fmla="*/ 8034 h 10000"/>
                  <a:gd name="connsiteX2496" fmla="*/ 378 w 10785"/>
                  <a:gd name="connsiteY2496" fmla="*/ 8026 h 10000"/>
                  <a:gd name="connsiteX2497" fmla="*/ 401 w 10785"/>
                  <a:gd name="connsiteY2497" fmla="*/ 8026 h 10000"/>
                  <a:gd name="connsiteX2498" fmla="*/ 419 w 10785"/>
                  <a:gd name="connsiteY2498" fmla="*/ 8009 h 10000"/>
                  <a:gd name="connsiteX2499" fmla="*/ 433 w 10785"/>
                  <a:gd name="connsiteY2499" fmla="*/ 8034 h 10000"/>
                  <a:gd name="connsiteX2500" fmla="*/ 442 w 10785"/>
                  <a:gd name="connsiteY2500" fmla="*/ 8060 h 10000"/>
                  <a:gd name="connsiteX2501" fmla="*/ 442 w 10785"/>
                  <a:gd name="connsiteY2501" fmla="*/ 8077 h 10000"/>
                  <a:gd name="connsiteX2502" fmla="*/ 461 w 10785"/>
                  <a:gd name="connsiteY2502" fmla="*/ 8111 h 10000"/>
                  <a:gd name="connsiteX2503" fmla="*/ 461 w 10785"/>
                  <a:gd name="connsiteY2503" fmla="*/ 8137 h 10000"/>
                  <a:gd name="connsiteX2504" fmla="*/ 447 w 10785"/>
                  <a:gd name="connsiteY2504" fmla="*/ 8145 h 10000"/>
                  <a:gd name="connsiteX2505" fmla="*/ 442 w 10785"/>
                  <a:gd name="connsiteY2505" fmla="*/ 8145 h 10000"/>
                  <a:gd name="connsiteX2506" fmla="*/ 442 w 10785"/>
                  <a:gd name="connsiteY2506" fmla="*/ 8162 h 10000"/>
                  <a:gd name="connsiteX2507" fmla="*/ 442 w 10785"/>
                  <a:gd name="connsiteY2507" fmla="*/ 8171 h 10000"/>
                  <a:gd name="connsiteX2508" fmla="*/ 447 w 10785"/>
                  <a:gd name="connsiteY2508" fmla="*/ 8214 h 10000"/>
                  <a:gd name="connsiteX2509" fmla="*/ 465 w 10785"/>
                  <a:gd name="connsiteY2509" fmla="*/ 8231 h 10000"/>
                  <a:gd name="connsiteX2510" fmla="*/ 488 w 10785"/>
                  <a:gd name="connsiteY2510" fmla="*/ 8231 h 10000"/>
                  <a:gd name="connsiteX2511" fmla="*/ 493 w 10785"/>
                  <a:gd name="connsiteY2511" fmla="*/ 8231 h 10000"/>
                  <a:gd name="connsiteX2512" fmla="*/ 502 w 10785"/>
                  <a:gd name="connsiteY2512" fmla="*/ 8231 h 10000"/>
                  <a:gd name="connsiteX2513" fmla="*/ 507 w 10785"/>
                  <a:gd name="connsiteY2513" fmla="*/ 8248 h 10000"/>
                  <a:gd name="connsiteX2514" fmla="*/ 521 w 10785"/>
                  <a:gd name="connsiteY2514" fmla="*/ 8274 h 10000"/>
                  <a:gd name="connsiteX2515" fmla="*/ 525 w 10785"/>
                  <a:gd name="connsiteY2515" fmla="*/ 8333 h 10000"/>
                  <a:gd name="connsiteX2516" fmla="*/ 525 w 10785"/>
                  <a:gd name="connsiteY2516" fmla="*/ 8359 h 10000"/>
                  <a:gd name="connsiteX2517" fmla="*/ 525 w 10785"/>
                  <a:gd name="connsiteY2517" fmla="*/ 8368 h 10000"/>
                  <a:gd name="connsiteX2518" fmla="*/ 548 w 10785"/>
                  <a:gd name="connsiteY2518" fmla="*/ 8393 h 10000"/>
                  <a:gd name="connsiteX2519" fmla="*/ 553 w 10785"/>
                  <a:gd name="connsiteY2519" fmla="*/ 8385 h 10000"/>
                  <a:gd name="connsiteX2520" fmla="*/ 562 w 10785"/>
                  <a:gd name="connsiteY2520" fmla="*/ 8385 h 10000"/>
                  <a:gd name="connsiteX2521" fmla="*/ 576 w 10785"/>
                  <a:gd name="connsiteY2521" fmla="*/ 8385 h 10000"/>
                  <a:gd name="connsiteX2522" fmla="*/ 585 w 10785"/>
                  <a:gd name="connsiteY2522" fmla="*/ 8410 h 10000"/>
                  <a:gd name="connsiteX2523" fmla="*/ 594 w 10785"/>
                  <a:gd name="connsiteY2523" fmla="*/ 8410 h 10000"/>
                  <a:gd name="connsiteX2524" fmla="*/ 608 w 10785"/>
                  <a:gd name="connsiteY2524" fmla="*/ 8410 h 10000"/>
                  <a:gd name="connsiteX2525" fmla="*/ 654 w 10785"/>
                  <a:gd name="connsiteY2525" fmla="*/ 8385 h 10000"/>
                  <a:gd name="connsiteX2526" fmla="*/ 659 w 10785"/>
                  <a:gd name="connsiteY2526" fmla="*/ 8385 h 10000"/>
                  <a:gd name="connsiteX2527" fmla="*/ 696 w 10785"/>
                  <a:gd name="connsiteY2527" fmla="*/ 8470 h 10000"/>
                  <a:gd name="connsiteX2528" fmla="*/ 700 w 10785"/>
                  <a:gd name="connsiteY2528" fmla="*/ 8470 h 10000"/>
                  <a:gd name="connsiteX2529" fmla="*/ 710 w 10785"/>
                  <a:gd name="connsiteY2529" fmla="*/ 8462 h 10000"/>
                  <a:gd name="connsiteX2530" fmla="*/ 714 w 10785"/>
                  <a:gd name="connsiteY2530" fmla="*/ 8462 h 10000"/>
                  <a:gd name="connsiteX2531" fmla="*/ 724 w 10785"/>
                  <a:gd name="connsiteY2531" fmla="*/ 8470 h 10000"/>
                  <a:gd name="connsiteX2532" fmla="*/ 733 w 10785"/>
                  <a:gd name="connsiteY2532" fmla="*/ 8470 h 10000"/>
                  <a:gd name="connsiteX2533" fmla="*/ 742 w 10785"/>
                  <a:gd name="connsiteY2533" fmla="*/ 8487 h 10000"/>
                  <a:gd name="connsiteX2534" fmla="*/ 747 w 10785"/>
                  <a:gd name="connsiteY2534" fmla="*/ 8496 h 10000"/>
                  <a:gd name="connsiteX2535" fmla="*/ 770 w 10785"/>
                  <a:gd name="connsiteY2535" fmla="*/ 8496 h 10000"/>
                  <a:gd name="connsiteX2536" fmla="*/ 783 w 10785"/>
                  <a:gd name="connsiteY2536" fmla="*/ 8521 h 10000"/>
                  <a:gd name="connsiteX2537" fmla="*/ 797 w 10785"/>
                  <a:gd name="connsiteY2537" fmla="*/ 8521 h 10000"/>
                  <a:gd name="connsiteX2538" fmla="*/ 806 w 10785"/>
                  <a:gd name="connsiteY2538" fmla="*/ 8530 h 10000"/>
                  <a:gd name="connsiteX2539" fmla="*/ 829 w 10785"/>
                  <a:gd name="connsiteY2539" fmla="*/ 8547 h 10000"/>
                  <a:gd name="connsiteX2540" fmla="*/ 834 w 10785"/>
                  <a:gd name="connsiteY2540" fmla="*/ 8556 h 10000"/>
                  <a:gd name="connsiteX2541" fmla="*/ 829 w 10785"/>
                  <a:gd name="connsiteY2541" fmla="*/ 8556 h 10000"/>
                  <a:gd name="connsiteX2542" fmla="*/ 834 w 10785"/>
                  <a:gd name="connsiteY2542" fmla="*/ 8607 h 10000"/>
                  <a:gd name="connsiteX2543" fmla="*/ 829 w 10785"/>
                  <a:gd name="connsiteY2543" fmla="*/ 8641 h 10000"/>
                  <a:gd name="connsiteX2544" fmla="*/ 806 w 10785"/>
                  <a:gd name="connsiteY2544" fmla="*/ 8658 h 10000"/>
                  <a:gd name="connsiteX2545" fmla="*/ 816 w 10785"/>
                  <a:gd name="connsiteY2545" fmla="*/ 8667 h 10000"/>
                  <a:gd name="connsiteX2546" fmla="*/ 820 w 10785"/>
                  <a:gd name="connsiteY2546" fmla="*/ 8667 h 10000"/>
                  <a:gd name="connsiteX2547" fmla="*/ 829 w 10785"/>
                  <a:gd name="connsiteY2547" fmla="*/ 8684 h 10000"/>
                  <a:gd name="connsiteX2548" fmla="*/ 806 w 10785"/>
                  <a:gd name="connsiteY2548" fmla="*/ 8692 h 10000"/>
                  <a:gd name="connsiteX2549" fmla="*/ 802 w 10785"/>
                  <a:gd name="connsiteY2549" fmla="*/ 8709 h 10000"/>
                  <a:gd name="connsiteX2550" fmla="*/ 802 w 10785"/>
                  <a:gd name="connsiteY2550" fmla="*/ 8735 h 10000"/>
                  <a:gd name="connsiteX2551" fmla="*/ 806 w 10785"/>
                  <a:gd name="connsiteY2551" fmla="*/ 8744 h 10000"/>
                  <a:gd name="connsiteX2552" fmla="*/ 816 w 10785"/>
                  <a:gd name="connsiteY2552" fmla="*/ 8752 h 10000"/>
                  <a:gd name="connsiteX2553" fmla="*/ 806 w 10785"/>
                  <a:gd name="connsiteY2553" fmla="*/ 8778 h 10000"/>
                  <a:gd name="connsiteX2554" fmla="*/ 820 w 10785"/>
                  <a:gd name="connsiteY2554" fmla="*/ 8778 h 10000"/>
                  <a:gd name="connsiteX2555" fmla="*/ 806 w 10785"/>
                  <a:gd name="connsiteY2555" fmla="*/ 8880 h 10000"/>
                  <a:gd name="connsiteX2556" fmla="*/ 797 w 10785"/>
                  <a:gd name="connsiteY2556" fmla="*/ 8880 h 10000"/>
                  <a:gd name="connsiteX2557" fmla="*/ 783 w 10785"/>
                  <a:gd name="connsiteY2557" fmla="*/ 8872 h 10000"/>
                  <a:gd name="connsiteX2558" fmla="*/ 770 w 10785"/>
                  <a:gd name="connsiteY2558" fmla="*/ 8880 h 10000"/>
                  <a:gd name="connsiteX2559" fmla="*/ 756 w 10785"/>
                  <a:gd name="connsiteY2559" fmla="*/ 8855 h 10000"/>
                  <a:gd name="connsiteX2560" fmla="*/ 733 w 10785"/>
                  <a:gd name="connsiteY2560" fmla="*/ 8906 h 10000"/>
                  <a:gd name="connsiteX2561" fmla="*/ 714 w 10785"/>
                  <a:gd name="connsiteY2561" fmla="*/ 8915 h 10000"/>
                  <a:gd name="connsiteX2562" fmla="*/ 710 w 10785"/>
                  <a:gd name="connsiteY2562" fmla="*/ 8940 h 10000"/>
                  <a:gd name="connsiteX2563" fmla="*/ 710 w 10785"/>
                  <a:gd name="connsiteY2563" fmla="*/ 9009 h 10000"/>
                  <a:gd name="connsiteX2564" fmla="*/ 728 w 10785"/>
                  <a:gd name="connsiteY2564" fmla="*/ 8991 h 10000"/>
                  <a:gd name="connsiteX2565" fmla="*/ 733 w 10785"/>
                  <a:gd name="connsiteY2565" fmla="*/ 8991 h 10000"/>
                  <a:gd name="connsiteX2566" fmla="*/ 747 w 10785"/>
                  <a:gd name="connsiteY2566" fmla="*/ 8983 h 10000"/>
                  <a:gd name="connsiteX2567" fmla="*/ 760 w 10785"/>
                  <a:gd name="connsiteY2567" fmla="*/ 8983 h 10000"/>
                  <a:gd name="connsiteX2568" fmla="*/ 770 w 10785"/>
                  <a:gd name="connsiteY2568" fmla="*/ 8983 h 10000"/>
                  <a:gd name="connsiteX2569" fmla="*/ 770 w 10785"/>
                  <a:gd name="connsiteY2569" fmla="*/ 8991 h 10000"/>
                  <a:gd name="connsiteX2570" fmla="*/ 783 w 10785"/>
                  <a:gd name="connsiteY2570" fmla="*/ 8991 h 10000"/>
                  <a:gd name="connsiteX2571" fmla="*/ 783 w 10785"/>
                  <a:gd name="connsiteY2571" fmla="*/ 9009 h 10000"/>
                  <a:gd name="connsiteX2572" fmla="*/ 783 w 10785"/>
                  <a:gd name="connsiteY2572" fmla="*/ 9017 h 10000"/>
                  <a:gd name="connsiteX2573" fmla="*/ 770 w 10785"/>
                  <a:gd name="connsiteY2573" fmla="*/ 9017 h 10000"/>
                  <a:gd name="connsiteX2574" fmla="*/ 724 w 10785"/>
                  <a:gd name="connsiteY2574" fmla="*/ 9051 h 10000"/>
                  <a:gd name="connsiteX2575" fmla="*/ 724 w 10785"/>
                  <a:gd name="connsiteY2575" fmla="*/ 9068 h 10000"/>
                  <a:gd name="connsiteX2576" fmla="*/ 728 w 10785"/>
                  <a:gd name="connsiteY2576" fmla="*/ 9077 h 10000"/>
                  <a:gd name="connsiteX2577" fmla="*/ 724 w 10785"/>
                  <a:gd name="connsiteY2577" fmla="*/ 9077 h 10000"/>
                  <a:gd name="connsiteX2578" fmla="*/ 710 w 10785"/>
                  <a:gd name="connsiteY2578" fmla="*/ 9077 h 10000"/>
                  <a:gd name="connsiteX2579" fmla="*/ 682 w 10785"/>
                  <a:gd name="connsiteY2579" fmla="*/ 9077 h 10000"/>
                  <a:gd name="connsiteX2580" fmla="*/ 673 w 10785"/>
                  <a:gd name="connsiteY2580" fmla="*/ 9103 h 10000"/>
                  <a:gd name="connsiteX2581" fmla="*/ 687 w 10785"/>
                  <a:gd name="connsiteY2581" fmla="*/ 9128 h 10000"/>
                  <a:gd name="connsiteX2582" fmla="*/ 700 w 10785"/>
                  <a:gd name="connsiteY2582" fmla="*/ 9128 h 10000"/>
                  <a:gd name="connsiteX2583" fmla="*/ 728 w 10785"/>
                  <a:gd name="connsiteY2583" fmla="*/ 9179 h 10000"/>
                  <a:gd name="connsiteX2584" fmla="*/ 724 w 10785"/>
                  <a:gd name="connsiteY2584" fmla="*/ 9188 h 10000"/>
                  <a:gd name="connsiteX2585" fmla="*/ 710 w 10785"/>
                  <a:gd name="connsiteY2585" fmla="*/ 9179 h 10000"/>
                  <a:gd name="connsiteX2586" fmla="*/ 700 w 10785"/>
                  <a:gd name="connsiteY2586" fmla="*/ 9205 h 10000"/>
                  <a:gd name="connsiteX2587" fmla="*/ 696 w 10785"/>
                  <a:gd name="connsiteY2587" fmla="*/ 9205 h 10000"/>
                  <a:gd name="connsiteX2588" fmla="*/ 654 w 10785"/>
                  <a:gd name="connsiteY2588" fmla="*/ 9299 h 10000"/>
                  <a:gd name="connsiteX2589" fmla="*/ 622 w 10785"/>
                  <a:gd name="connsiteY2589" fmla="*/ 9299 h 10000"/>
                  <a:gd name="connsiteX2590" fmla="*/ 613 w 10785"/>
                  <a:gd name="connsiteY2590" fmla="*/ 9316 h 10000"/>
                  <a:gd name="connsiteX2591" fmla="*/ 613 w 10785"/>
                  <a:gd name="connsiteY2591" fmla="*/ 9325 h 10000"/>
                  <a:gd name="connsiteX2592" fmla="*/ 608 w 10785"/>
                  <a:gd name="connsiteY2592" fmla="*/ 9342 h 10000"/>
                  <a:gd name="connsiteX2593" fmla="*/ 636 w 10785"/>
                  <a:gd name="connsiteY2593" fmla="*/ 9376 h 10000"/>
                  <a:gd name="connsiteX2594" fmla="*/ 641 w 10785"/>
                  <a:gd name="connsiteY2594" fmla="*/ 9402 h 10000"/>
                  <a:gd name="connsiteX2595" fmla="*/ 654 w 10785"/>
                  <a:gd name="connsiteY2595" fmla="*/ 9427 h 10000"/>
                  <a:gd name="connsiteX2596" fmla="*/ 668 w 10785"/>
                  <a:gd name="connsiteY2596" fmla="*/ 9427 h 10000"/>
                  <a:gd name="connsiteX2597" fmla="*/ 668 w 10785"/>
                  <a:gd name="connsiteY2597" fmla="*/ 9427 h 10000"/>
                  <a:gd name="connsiteX2598" fmla="*/ 774 w 10785"/>
                  <a:gd name="connsiteY2598" fmla="*/ 9547 h 10000"/>
                  <a:gd name="connsiteX2599" fmla="*/ 797 w 10785"/>
                  <a:gd name="connsiteY2599" fmla="*/ 9598 h 10000"/>
                  <a:gd name="connsiteX2600" fmla="*/ 802 w 10785"/>
                  <a:gd name="connsiteY2600" fmla="*/ 9598 h 10000"/>
                  <a:gd name="connsiteX2601" fmla="*/ 816 w 10785"/>
                  <a:gd name="connsiteY2601" fmla="*/ 9624 h 10000"/>
                  <a:gd name="connsiteX2602" fmla="*/ 843 w 10785"/>
                  <a:gd name="connsiteY2602" fmla="*/ 9615 h 10000"/>
                  <a:gd name="connsiteX2603" fmla="*/ 857 w 10785"/>
                  <a:gd name="connsiteY2603" fmla="*/ 9624 h 10000"/>
                  <a:gd name="connsiteX2604" fmla="*/ 862 w 10785"/>
                  <a:gd name="connsiteY2604" fmla="*/ 9615 h 10000"/>
                  <a:gd name="connsiteX2605" fmla="*/ 880 w 10785"/>
                  <a:gd name="connsiteY2605" fmla="*/ 9624 h 10000"/>
                  <a:gd name="connsiteX2606" fmla="*/ 889 w 10785"/>
                  <a:gd name="connsiteY2606" fmla="*/ 9641 h 10000"/>
                  <a:gd name="connsiteX2607" fmla="*/ 935 w 10785"/>
                  <a:gd name="connsiteY2607" fmla="*/ 9675 h 10000"/>
                  <a:gd name="connsiteX2608" fmla="*/ 977 w 10785"/>
                  <a:gd name="connsiteY2608" fmla="*/ 9667 h 10000"/>
                  <a:gd name="connsiteX2609" fmla="*/ 995 w 10785"/>
                  <a:gd name="connsiteY2609" fmla="*/ 9675 h 10000"/>
                  <a:gd name="connsiteX2610" fmla="*/ 1014 w 10785"/>
                  <a:gd name="connsiteY2610" fmla="*/ 9675 h 10000"/>
                  <a:gd name="connsiteX2611" fmla="*/ 1069 w 10785"/>
                  <a:gd name="connsiteY2611" fmla="*/ 9752 h 10000"/>
                  <a:gd name="connsiteX2612" fmla="*/ 1074 w 10785"/>
                  <a:gd name="connsiteY2612" fmla="*/ 9761 h 10000"/>
                  <a:gd name="connsiteX2613" fmla="*/ 1083 w 10785"/>
                  <a:gd name="connsiteY2613" fmla="*/ 9778 h 10000"/>
                  <a:gd name="connsiteX2614" fmla="*/ 1115 w 10785"/>
                  <a:gd name="connsiteY2614" fmla="*/ 9752 h 10000"/>
                  <a:gd name="connsiteX2615" fmla="*/ 1129 w 10785"/>
                  <a:gd name="connsiteY2615" fmla="*/ 9752 h 10000"/>
                  <a:gd name="connsiteX2616" fmla="*/ 1138 w 10785"/>
                  <a:gd name="connsiteY2616" fmla="*/ 9761 h 10000"/>
                  <a:gd name="connsiteX2617" fmla="*/ 1143 w 10785"/>
                  <a:gd name="connsiteY2617" fmla="*/ 9752 h 10000"/>
                  <a:gd name="connsiteX2618" fmla="*/ 1161 w 10785"/>
                  <a:gd name="connsiteY2618" fmla="*/ 9761 h 10000"/>
                  <a:gd name="connsiteX2619" fmla="*/ 1171 w 10785"/>
                  <a:gd name="connsiteY2619" fmla="*/ 9778 h 10000"/>
                  <a:gd name="connsiteX2620" fmla="*/ 1175 w 10785"/>
                  <a:gd name="connsiteY2620" fmla="*/ 9778 h 10000"/>
                  <a:gd name="connsiteX2621" fmla="*/ 1189 w 10785"/>
                  <a:gd name="connsiteY2621" fmla="*/ 9778 h 10000"/>
                  <a:gd name="connsiteX2622" fmla="*/ 1198 w 10785"/>
                  <a:gd name="connsiteY2622" fmla="*/ 9786 h 10000"/>
                  <a:gd name="connsiteX2623" fmla="*/ 1203 w 10785"/>
                  <a:gd name="connsiteY2623" fmla="*/ 9803 h 10000"/>
                  <a:gd name="connsiteX2624" fmla="*/ 1198 w 10785"/>
                  <a:gd name="connsiteY2624" fmla="*/ 9838 h 10000"/>
                  <a:gd name="connsiteX2625" fmla="*/ 1212 w 10785"/>
                  <a:gd name="connsiteY2625" fmla="*/ 9863 h 10000"/>
                  <a:gd name="connsiteX2626" fmla="*/ 1230 w 10785"/>
                  <a:gd name="connsiteY2626" fmla="*/ 9872 h 10000"/>
                  <a:gd name="connsiteX2627" fmla="*/ 1249 w 10785"/>
                  <a:gd name="connsiteY2627" fmla="*/ 9897 h 10000"/>
                  <a:gd name="connsiteX2628" fmla="*/ 1263 w 10785"/>
                  <a:gd name="connsiteY2628" fmla="*/ 9897 h 10000"/>
                  <a:gd name="connsiteX2629" fmla="*/ 1276 w 10785"/>
                  <a:gd name="connsiteY2629" fmla="*/ 9923 h 10000"/>
                  <a:gd name="connsiteX2630" fmla="*/ 1281 w 10785"/>
                  <a:gd name="connsiteY2630" fmla="*/ 9949 h 10000"/>
                  <a:gd name="connsiteX2631" fmla="*/ 1290 w 10785"/>
                  <a:gd name="connsiteY2631" fmla="*/ 9949 h 10000"/>
                  <a:gd name="connsiteX2632" fmla="*/ 1295 w 10785"/>
                  <a:gd name="connsiteY2632" fmla="*/ 10000 h 10000"/>
                  <a:gd name="connsiteX2633" fmla="*/ 1332 w 10785"/>
                  <a:gd name="connsiteY2633" fmla="*/ 10000 h 10000"/>
                  <a:gd name="connsiteX2634" fmla="*/ 1336 w 10785"/>
                  <a:gd name="connsiteY2634" fmla="*/ 10000 h 10000"/>
                  <a:gd name="connsiteX2635" fmla="*/ 1346 w 10785"/>
                  <a:gd name="connsiteY2635" fmla="*/ 9983 h 10000"/>
                  <a:gd name="connsiteX2636" fmla="*/ 1350 w 10785"/>
                  <a:gd name="connsiteY2636" fmla="*/ 9949 h 10000"/>
                  <a:gd name="connsiteX2637" fmla="*/ 1369 w 10785"/>
                  <a:gd name="connsiteY2637" fmla="*/ 9940 h 10000"/>
                  <a:gd name="connsiteX2638" fmla="*/ 1378 w 10785"/>
                  <a:gd name="connsiteY2638" fmla="*/ 9897 h 10000"/>
                  <a:gd name="connsiteX2639" fmla="*/ 1369 w 10785"/>
                  <a:gd name="connsiteY2639" fmla="*/ 9889 h 10000"/>
                  <a:gd name="connsiteX2640" fmla="*/ 1318 w 10785"/>
                  <a:gd name="connsiteY2640" fmla="*/ 9701 h 10000"/>
                  <a:gd name="connsiteX2641" fmla="*/ 1318 w 10785"/>
                  <a:gd name="connsiteY2641" fmla="*/ 9650 h 10000"/>
                  <a:gd name="connsiteX2642" fmla="*/ 1323 w 10785"/>
                  <a:gd name="connsiteY2642" fmla="*/ 9590 h 10000"/>
                  <a:gd name="connsiteX2643" fmla="*/ 1323 w 10785"/>
                  <a:gd name="connsiteY2643" fmla="*/ 9564 h 10000"/>
                  <a:gd name="connsiteX2644" fmla="*/ 1309 w 10785"/>
                  <a:gd name="connsiteY2644" fmla="*/ 9598 h 10000"/>
                  <a:gd name="connsiteX2645" fmla="*/ 1309 w 10785"/>
                  <a:gd name="connsiteY2645" fmla="*/ 9590 h 10000"/>
                  <a:gd name="connsiteX2646" fmla="*/ 1304 w 10785"/>
                  <a:gd name="connsiteY2646" fmla="*/ 9547 h 10000"/>
                  <a:gd name="connsiteX2647" fmla="*/ 1276 w 10785"/>
                  <a:gd name="connsiteY2647" fmla="*/ 9479 h 10000"/>
                  <a:gd name="connsiteX2648" fmla="*/ 1263 w 10785"/>
                  <a:gd name="connsiteY2648" fmla="*/ 9479 h 10000"/>
                  <a:gd name="connsiteX2649" fmla="*/ 1263 w 10785"/>
                  <a:gd name="connsiteY2649" fmla="*/ 9453 h 10000"/>
                  <a:gd name="connsiteX2650" fmla="*/ 1272 w 10785"/>
                  <a:gd name="connsiteY2650" fmla="*/ 9410 h 10000"/>
                  <a:gd name="connsiteX2651" fmla="*/ 1272 w 10785"/>
                  <a:gd name="connsiteY2651" fmla="*/ 9393 h 10000"/>
                  <a:gd name="connsiteX2652" fmla="*/ 1281 w 10785"/>
                  <a:gd name="connsiteY2652" fmla="*/ 9368 h 10000"/>
                  <a:gd name="connsiteX2653" fmla="*/ 1281 w 10785"/>
                  <a:gd name="connsiteY2653" fmla="*/ 9368 h 10000"/>
                  <a:gd name="connsiteX2654" fmla="*/ 1290 w 10785"/>
                  <a:gd name="connsiteY2654" fmla="*/ 9368 h 10000"/>
                  <a:gd name="connsiteX2655" fmla="*/ 1290 w 10785"/>
                  <a:gd name="connsiteY2655" fmla="*/ 9342 h 10000"/>
                  <a:gd name="connsiteX2656" fmla="*/ 1304 w 10785"/>
                  <a:gd name="connsiteY2656" fmla="*/ 9325 h 10000"/>
                  <a:gd name="connsiteX2657" fmla="*/ 1309 w 10785"/>
                  <a:gd name="connsiteY2657" fmla="*/ 9239 h 10000"/>
                  <a:gd name="connsiteX2658" fmla="*/ 1318 w 10785"/>
                  <a:gd name="connsiteY2658" fmla="*/ 9256 h 10000"/>
                  <a:gd name="connsiteX2659" fmla="*/ 1323 w 10785"/>
                  <a:gd name="connsiteY2659" fmla="*/ 9179 h 10000"/>
                  <a:gd name="connsiteX2660" fmla="*/ 1309 w 10785"/>
                  <a:gd name="connsiteY2660" fmla="*/ 9145 h 10000"/>
                  <a:gd name="connsiteX2661" fmla="*/ 1336 w 10785"/>
                  <a:gd name="connsiteY2661" fmla="*/ 9154 h 10000"/>
                  <a:gd name="connsiteX2662" fmla="*/ 1336 w 10785"/>
                  <a:gd name="connsiteY2662" fmla="*/ 9162 h 10000"/>
                  <a:gd name="connsiteX2663" fmla="*/ 1350 w 10785"/>
                  <a:gd name="connsiteY2663" fmla="*/ 9231 h 10000"/>
                  <a:gd name="connsiteX2664" fmla="*/ 1355 w 10785"/>
                  <a:gd name="connsiteY2664" fmla="*/ 9231 h 10000"/>
                  <a:gd name="connsiteX2665" fmla="*/ 1364 w 10785"/>
                  <a:gd name="connsiteY2665" fmla="*/ 9214 h 10000"/>
                  <a:gd name="connsiteX2666" fmla="*/ 1369 w 10785"/>
                  <a:gd name="connsiteY2666" fmla="*/ 9214 h 10000"/>
                  <a:gd name="connsiteX2667" fmla="*/ 1382 w 10785"/>
                  <a:gd name="connsiteY2667" fmla="*/ 9154 h 10000"/>
                  <a:gd name="connsiteX2668" fmla="*/ 1396 w 10785"/>
                  <a:gd name="connsiteY2668" fmla="*/ 9154 h 10000"/>
                  <a:gd name="connsiteX2669" fmla="*/ 1382 w 10785"/>
                  <a:gd name="connsiteY2669" fmla="*/ 9145 h 10000"/>
                  <a:gd name="connsiteX2670" fmla="*/ 1382 w 10785"/>
                  <a:gd name="connsiteY2670" fmla="*/ 9128 h 10000"/>
                  <a:gd name="connsiteX2671" fmla="*/ 1369 w 10785"/>
                  <a:gd name="connsiteY2671" fmla="*/ 9128 h 10000"/>
                  <a:gd name="connsiteX2672" fmla="*/ 1364 w 10785"/>
                  <a:gd name="connsiteY2672" fmla="*/ 9128 h 10000"/>
                  <a:gd name="connsiteX2673" fmla="*/ 1355 w 10785"/>
                  <a:gd name="connsiteY2673" fmla="*/ 9120 h 10000"/>
                  <a:gd name="connsiteX2674" fmla="*/ 1350 w 10785"/>
                  <a:gd name="connsiteY2674" fmla="*/ 9103 h 10000"/>
                  <a:gd name="connsiteX2675" fmla="*/ 1355 w 10785"/>
                  <a:gd name="connsiteY2675" fmla="*/ 9094 h 10000"/>
                  <a:gd name="connsiteX2676" fmla="*/ 1355 w 10785"/>
                  <a:gd name="connsiteY2676" fmla="*/ 9068 h 10000"/>
                  <a:gd name="connsiteX2677" fmla="*/ 1369 w 10785"/>
                  <a:gd name="connsiteY2677" fmla="*/ 9068 h 10000"/>
                  <a:gd name="connsiteX2678" fmla="*/ 1378 w 10785"/>
                  <a:gd name="connsiteY2678" fmla="*/ 9077 h 10000"/>
                  <a:gd name="connsiteX2679" fmla="*/ 1396 w 10785"/>
                  <a:gd name="connsiteY2679" fmla="*/ 9068 h 10000"/>
                  <a:gd name="connsiteX2680" fmla="*/ 1382 w 10785"/>
                  <a:gd name="connsiteY2680" fmla="*/ 8940 h 10000"/>
                  <a:gd name="connsiteX2681" fmla="*/ 1378 w 10785"/>
                  <a:gd name="connsiteY2681" fmla="*/ 8940 h 10000"/>
                  <a:gd name="connsiteX2682" fmla="*/ 1364 w 10785"/>
                  <a:gd name="connsiteY2682" fmla="*/ 8889 h 10000"/>
                  <a:gd name="connsiteX2683" fmla="*/ 1355 w 10785"/>
                  <a:gd name="connsiteY2683" fmla="*/ 8880 h 10000"/>
                  <a:gd name="connsiteX2684" fmla="*/ 1323 w 10785"/>
                  <a:gd name="connsiteY2684" fmla="*/ 8880 h 10000"/>
                  <a:gd name="connsiteX2685" fmla="*/ 1309 w 10785"/>
                  <a:gd name="connsiteY2685" fmla="*/ 8880 h 10000"/>
                  <a:gd name="connsiteX2686" fmla="*/ 1309 w 10785"/>
                  <a:gd name="connsiteY2686" fmla="*/ 8889 h 10000"/>
                  <a:gd name="connsiteX2687" fmla="*/ 1295 w 10785"/>
                  <a:gd name="connsiteY2687" fmla="*/ 8872 h 10000"/>
                  <a:gd name="connsiteX2688" fmla="*/ 1290 w 10785"/>
                  <a:gd name="connsiteY2688" fmla="*/ 8855 h 10000"/>
                  <a:gd name="connsiteX2689" fmla="*/ 1290 w 10785"/>
                  <a:gd name="connsiteY2689" fmla="*/ 8829 h 10000"/>
                  <a:gd name="connsiteX2690" fmla="*/ 1290 w 10785"/>
                  <a:gd name="connsiteY2690" fmla="*/ 8821 h 10000"/>
                  <a:gd name="connsiteX2691" fmla="*/ 1290 w 10785"/>
                  <a:gd name="connsiteY2691" fmla="*/ 8803 h 10000"/>
                  <a:gd name="connsiteX2692" fmla="*/ 1281 w 10785"/>
                  <a:gd name="connsiteY2692" fmla="*/ 8795 h 10000"/>
                  <a:gd name="connsiteX2693" fmla="*/ 1249 w 10785"/>
                  <a:gd name="connsiteY2693" fmla="*/ 8769 h 10000"/>
                  <a:gd name="connsiteX2694" fmla="*/ 1263 w 10785"/>
                  <a:gd name="connsiteY2694" fmla="*/ 8667 h 10000"/>
                  <a:gd name="connsiteX2695" fmla="*/ 1281 w 10785"/>
                  <a:gd name="connsiteY2695" fmla="*/ 8658 h 10000"/>
                  <a:gd name="connsiteX2696" fmla="*/ 1290 w 10785"/>
                  <a:gd name="connsiteY2696" fmla="*/ 8632 h 10000"/>
                  <a:gd name="connsiteX2697" fmla="*/ 1281 w 10785"/>
                  <a:gd name="connsiteY2697" fmla="*/ 8615 h 10000"/>
                  <a:gd name="connsiteX2698" fmla="*/ 1272 w 10785"/>
                  <a:gd name="connsiteY2698" fmla="*/ 8598 h 10000"/>
                  <a:gd name="connsiteX2699" fmla="*/ 1281 w 10785"/>
                  <a:gd name="connsiteY2699" fmla="*/ 8496 h 10000"/>
                  <a:gd name="connsiteX2700" fmla="*/ 1295 w 10785"/>
                  <a:gd name="connsiteY2700" fmla="*/ 8470 h 10000"/>
                  <a:gd name="connsiteX2701" fmla="*/ 1304 w 10785"/>
                  <a:gd name="connsiteY2701" fmla="*/ 8462 h 10000"/>
                  <a:gd name="connsiteX2702" fmla="*/ 1304 w 10785"/>
                  <a:gd name="connsiteY2702" fmla="*/ 8444 h 10000"/>
                  <a:gd name="connsiteX2703" fmla="*/ 1304 w 10785"/>
                  <a:gd name="connsiteY2703" fmla="*/ 8419 h 10000"/>
                  <a:gd name="connsiteX2704" fmla="*/ 1304 w 10785"/>
                  <a:gd name="connsiteY2704" fmla="*/ 8410 h 10000"/>
                  <a:gd name="connsiteX2705" fmla="*/ 1309 w 10785"/>
                  <a:gd name="connsiteY2705" fmla="*/ 8393 h 10000"/>
                  <a:gd name="connsiteX2706" fmla="*/ 1318 w 10785"/>
                  <a:gd name="connsiteY2706" fmla="*/ 8385 h 10000"/>
                  <a:gd name="connsiteX2707" fmla="*/ 1323 w 10785"/>
                  <a:gd name="connsiteY2707" fmla="*/ 8385 h 10000"/>
                  <a:gd name="connsiteX2708" fmla="*/ 1332 w 10785"/>
                  <a:gd name="connsiteY2708" fmla="*/ 8410 h 10000"/>
                  <a:gd name="connsiteX2709" fmla="*/ 1346 w 10785"/>
                  <a:gd name="connsiteY2709" fmla="*/ 8419 h 10000"/>
                  <a:gd name="connsiteX2710" fmla="*/ 1364 w 10785"/>
                  <a:gd name="connsiteY2710" fmla="*/ 8504 h 10000"/>
                  <a:gd name="connsiteX2711" fmla="*/ 1369 w 10785"/>
                  <a:gd name="connsiteY2711" fmla="*/ 8521 h 10000"/>
                  <a:gd name="connsiteX2712" fmla="*/ 1406 w 10785"/>
                  <a:gd name="connsiteY2712" fmla="*/ 8470 h 10000"/>
                  <a:gd name="connsiteX2713" fmla="*/ 1382 w 10785"/>
                  <a:gd name="connsiteY2713" fmla="*/ 8359 h 10000"/>
                  <a:gd name="connsiteX2714" fmla="*/ 1392 w 10785"/>
                  <a:gd name="connsiteY2714" fmla="*/ 8359 h 10000"/>
                  <a:gd name="connsiteX2715" fmla="*/ 1438 w 10785"/>
                  <a:gd name="connsiteY2715" fmla="*/ 8308 h 10000"/>
                  <a:gd name="connsiteX2716" fmla="*/ 1442 w 10785"/>
                  <a:gd name="connsiteY2716" fmla="*/ 8299 h 10000"/>
                  <a:gd name="connsiteX2717" fmla="*/ 1442 w 10785"/>
                  <a:gd name="connsiteY2717" fmla="*/ 8256 h 10000"/>
                  <a:gd name="connsiteX2718" fmla="*/ 1452 w 10785"/>
                  <a:gd name="connsiteY2718" fmla="*/ 8256 h 10000"/>
                  <a:gd name="connsiteX2719" fmla="*/ 1456 w 10785"/>
                  <a:gd name="connsiteY2719" fmla="*/ 8256 h 10000"/>
                  <a:gd name="connsiteX2720" fmla="*/ 1470 w 10785"/>
                  <a:gd name="connsiteY2720" fmla="*/ 8248 h 10000"/>
                  <a:gd name="connsiteX2721" fmla="*/ 1479 w 10785"/>
                  <a:gd name="connsiteY2721" fmla="*/ 8231 h 10000"/>
                  <a:gd name="connsiteX2722" fmla="*/ 1493 w 10785"/>
                  <a:gd name="connsiteY2722" fmla="*/ 8222 h 10000"/>
                  <a:gd name="connsiteX2723" fmla="*/ 1498 w 10785"/>
                  <a:gd name="connsiteY2723" fmla="*/ 8214 h 10000"/>
                  <a:gd name="connsiteX2724" fmla="*/ 1502 w 10785"/>
                  <a:gd name="connsiteY2724" fmla="*/ 8197 h 10000"/>
                  <a:gd name="connsiteX2725" fmla="*/ 1512 w 10785"/>
                  <a:gd name="connsiteY2725" fmla="*/ 8188 h 10000"/>
                  <a:gd name="connsiteX2726" fmla="*/ 1516 w 10785"/>
                  <a:gd name="connsiteY2726" fmla="*/ 8171 h 10000"/>
                  <a:gd name="connsiteX2727" fmla="*/ 1525 w 10785"/>
                  <a:gd name="connsiteY2727" fmla="*/ 8162 h 10000"/>
                  <a:gd name="connsiteX2728" fmla="*/ 1539 w 10785"/>
                  <a:gd name="connsiteY2728" fmla="*/ 8145 h 10000"/>
                  <a:gd name="connsiteX2729" fmla="*/ 1558 w 10785"/>
                  <a:gd name="connsiteY2729" fmla="*/ 8145 h 10000"/>
                  <a:gd name="connsiteX2730" fmla="*/ 1562 w 10785"/>
                  <a:gd name="connsiteY2730" fmla="*/ 8188 h 10000"/>
                  <a:gd name="connsiteX2731" fmla="*/ 1585 w 10785"/>
                  <a:gd name="connsiteY2731" fmla="*/ 8171 h 10000"/>
                  <a:gd name="connsiteX2732" fmla="*/ 1590 w 10785"/>
                  <a:gd name="connsiteY2732" fmla="*/ 8188 h 10000"/>
                  <a:gd name="connsiteX2733" fmla="*/ 1599 w 10785"/>
                  <a:gd name="connsiteY2733" fmla="*/ 8171 h 10000"/>
                  <a:gd name="connsiteX2734" fmla="*/ 1599 w 10785"/>
                  <a:gd name="connsiteY2734" fmla="*/ 8162 h 10000"/>
                  <a:gd name="connsiteX2735" fmla="*/ 1604 w 10785"/>
                  <a:gd name="connsiteY2735" fmla="*/ 8137 h 10000"/>
                  <a:gd name="connsiteX2736" fmla="*/ 1618 w 10785"/>
                  <a:gd name="connsiteY2736" fmla="*/ 8145 h 10000"/>
                  <a:gd name="connsiteX2737" fmla="*/ 1627 w 10785"/>
                  <a:gd name="connsiteY2737" fmla="*/ 8137 h 10000"/>
                  <a:gd name="connsiteX2738" fmla="*/ 1631 w 10785"/>
                  <a:gd name="connsiteY2738" fmla="*/ 8137 h 10000"/>
                  <a:gd name="connsiteX2739" fmla="*/ 1636 w 10785"/>
                  <a:gd name="connsiteY2739" fmla="*/ 8171 h 10000"/>
                  <a:gd name="connsiteX2740" fmla="*/ 1645 w 10785"/>
                  <a:gd name="connsiteY2740" fmla="*/ 8188 h 10000"/>
                  <a:gd name="connsiteX2741" fmla="*/ 1664 w 10785"/>
                  <a:gd name="connsiteY2741" fmla="*/ 8171 h 10000"/>
                  <a:gd name="connsiteX2742" fmla="*/ 1673 w 10785"/>
                  <a:gd name="connsiteY2742" fmla="*/ 8188 h 10000"/>
                  <a:gd name="connsiteX2743" fmla="*/ 1691 w 10785"/>
                  <a:gd name="connsiteY2743" fmla="*/ 8171 h 10000"/>
                  <a:gd name="connsiteX2744" fmla="*/ 1705 w 10785"/>
                  <a:gd name="connsiteY2744" fmla="*/ 8171 h 10000"/>
                  <a:gd name="connsiteX2745" fmla="*/ 1719 w 10785"/>
                  <a:gd name="connsiteY2745" fmla="*/ 8197 h 10000"/>
                  <a:gd name="connsiteX2746" fmla="*/ 1724 w 10785"/>
                  <a:gd name="connsiteY2746" fmla="*/ 8231 h 10000"/>
                  <a:gd name="connsiteX2747" fmla="*/ 1751 w 10785"/>
                  <a:gd name="connsiteY2747" fmla="*/ 8256 h 10000"/>
                  <a:gd name="connsiteX2748" fmla="*/ 1751 w 10785"/>
                  <a:gd name="connsiteY2748" fmla="*/ 8274 h 10000"/>
                  <a:gd name="connsiteX2749" fmla="*/ 1760 w 10785"/>
                  <a:gd name="connsiteY2749" fmla="*/ 8282 h 10000"/>
                  <a:gd name="connsiteX2750" fmla="*/ 1770 w 10785"/>
                  <a:gd name="connsiteY2750" fmla="*/ 8325 h 10000"/>
                  <a:gd name="connsiteX2751" fmla="*/ 1770 w 10785"/>
                  <a:gd name="connsiteY2751" fmla="*/ 8350 h 10000"/>
                  <a:gd name="connsiteX2752" fmla="*/ 1779 w 10785"/>
                  <a:gd name="connsiteY2752" fmla="*/ 8368 h 10000"/>
                  <a:gd name="connsiteX2753" fmla="*/ 1783 w 10785"/>
                  <a:gd name="connsiteY2753" fmla="*/ 8359 h 10000"/>
                  <a:gd name="connsiteX2754" fmla="*/ 1783 w 10785"/>
                  <a:gd name="connsiteY2754" fmla="*/ 8308 h 10000"/>
                  <a:gd name="connsiteX2755" fmla="*/ 1779 w 10785"/>
                  <a:gd name="connsiteY2755" fmla="*/ 8299 h 10000"/>
                  <a:gd name="connsiteX2756" fmla="*/ 1783 w 10785"/>
                  <a:gd name="connsiteY2756" fmla="*/ 8282 h 10000"/>
                  <a:gd name="connsiteX2757" fmla="*/ 1797 w 10785"/>
                  <a:gd name="connsiteY2757" fmla="*/ 8274 h 10000"/>
                  <a:gd name="connsiteX2758" fmla="*/ 1797 w 10785"/>
                  <a:gd name="connsiteY2758" fmla="*/ 8299 h 10000"/>
                  <a:gd name="connsiteX2759" fmla="*/ 1806 w 10785"/>
                  <a:gd name="connsiteY2759" fmla="*/ 8308 h 10000"/>
                  <a:gd name="connsiteX2760" fmla="*/ 1811 w 10785"/>
                  <a:gd name="connsiteY2760" fmla="*/ 8325 h 10000"/>
                  <a:gd name="connsiteX2761" fmla="*/ 1820 w 10785"/>
                  <a:gd name="connsiteY2761" fmla="*/ 8333 h 10000"/>
                  <a:gd name="connsiteX2762" fmla="*/ 1853 w 10785"/>
                  <a:gd name="connsiteY2762" fmla="*/ 8359 h 10000"/>
                  <a:gd name="connsiteX2763" fmla="*/ 1866 w 10785"/>
                  <a:gd name="connsiteY2763" fmla="*/ 8359 h 10000"/>
                  <a:gd name="connsiteX2764" fmla="*/ 1885 w 10785"/>
                  <a:gd name="connsiteY2764" fmla="*/ 8325 h 10000"/>
                  <a:gd name="connsiteX2765" fmla="*/ 1885 w 10785"/>
                  <a:gd name="connsiteY2765" fmla="*/ 8308 h 10000"/>
                  <a:gd name="connsiteX2766" fmla="*/ 1894 w 10785"/>
                  <a:gd name="connsiteY2766" fmla="*/ 8299 h 10000"/>
                  <a:gd name="connsiteX2767" fmla="*/ 1899 w 10785"/>
                  <a:gd name="connsiteY2767" fmla="*/ 8282 h 10000"/>
                  <a:gd name="connsiteX2768" fmla="*/ 1912 w 10785"/>
                  <a:gd name="connsiteY2768" fmla="*/ 8282 h 10000"/>
                  <a:gd name="connsiteX2769" fmla="*/ 1917 w 10785"/>
                  <a:gd name="connsiteY2769" fmla="*/ 8299 h 10000"/>
                  <a:gd name="connsiteX2770" fmla="*/ 1917 w 10785"/>
                  <a:gd name="connsiteY2770" fmla="*/ 8274 h 10000"/>
                  <a:gd name="connsiteX2771" fmla="*/ 1940 w 10785"/>
                  <a:gd name="connsiteY2771" fmla="*/ 8282 h 10000"/>
                  <a:gd name="connsiteX2772" fmla="*/ 1945 w 10785"/>
                  <a:gd name="connsiteY2772" fmla="*/ 8274 h 10000"/>
                  <a:gd name="connsiteX2773" fmla="*/ 1972 w 10785"/>
                  <a:gd name="connsiteY2773" fmla="*/ 8308 h 10000"/>
                  <a:gd name="connsiteX2774" fmla="*/ 1986 w 10785"/>
                  <a:gd name="connsiteY2774" fmla="*/ 8282 h 10000"/>
                  <a:gd name="connsiteX2775" fmla="*/ 1991 w 10785"/>
                  <a:gd name="connsiteY2775" fmla="*/ 8274 h 10000"/>
                  <a:gd name="connsiteX2776" fmla="*/ 2014 w 10785"/>
                  <a:gd name="connsiteY2776" fmla="*/ 8274 h 10000"/>
                  <a:gd name="connsiteX2777" fmla="*/ 2018 w 10785"/>
                  <a:gd name="connsiteY2777" fmla="*/ 8256 h 10000"/>
                  <a:gd name="connsiteX2778" fmla="*/ 2041 w 10785"/>
                  <a:gd name="connsiteY2778" fmla="*/ 8274 h 10000"/>
                  <a:gd name="connsiteX2779" fmla="*/ 2046 w 10785"/>
                  <a:gd name="connsiteY2779" fmla="*/ 8282 h 10000"/>
                  <a:gd name="connsiteX2780" fmla="*/ 2046 w 10785"/>
                  <a:gd name="connsiteY2780" fmla="*/ 8325 h 10000"/>
                  <a:gd name="connsiteX2781" fmla="*/ 2060 w 10785"/>
                  <a:gd name="connsiteY2781" fmla="*/ 8350 h 10000"/>
                  <a:gd name="connsiteX2782" fmla="*/ 2078 w 10785"/>
                  <a:gd name="connsiteY2782" fmla="*/ 8350 h 10000"/>
                  <a:gd name="connsiteX2783" fmla="*/ 2092 w 10785"/>
                  <a:gd name="connsiteY2783" fmla="*/ 8350 h 10000"/>
                  <a:gd name="connsiteX2784" fmla="*/ 2092 w 10785"/>
                  <a:gd name="connsiteY2784" fmla="*/ 8350 h 10000"/>
                  <a:gd name="connsiteX2785" fmla="*/ 2101 w 10785"/>
                  <a:gd name="connsiteY2785" fmla="*/ 8368 h 10000"/>
                  <a:gd name="connsiteX2786" fmla="*/ 2120 w 10785"/>
                  <a:gd name="connsiteY2786" fmla="*/ 8368 h 10000"/>
                  <a:gd name="connsiteX2787" fmla="*/ 2124 w 10785"/>
                  <a:gd name="connsiteY2787" fmla="*/ 8359 h 10000"/>
                  <a:gd name="connsiteX2788" fmla="*/ 2138 w 10785"/>
                  <a:gd name="connsiteY2788" fmla="*/ 8325 h 10000"/>
                  <a:gd name="connsiteX2789" fmla="*/ 2147 w 10785"/>
                  <a:gd name="connsiteY2789" fmla="*/ 8325 h 10000"/>
                  <a:gd name="connsiteX2790" fmla="*/ 2161 w 10785"/>
                  <a:gd name="connsiteY2790" fmla="*/ 8350 h 10000"/>
                  <a:gd name="connsiteX2791" fmla="*/ 2198 w 10785"/>
                  <a:gd name="connsiteY2791" fmla="*/ 8350 h 10000"/>
                  <a:gd name="connsiteX2792" fmla="*/ 2207 w 10785"/>
                  <a:gd name="connsiteY2792" fmla="*/ 8333 h 10000"/>
                  <a:gd name="connsiteX2793" fmla="*/ 2226 w 10785"/>
                  <a:gd name="connsiteY2793" fmla="*/ 8325 h 10000"/>
                  <a:gd name="connsiteX2794" fmla="*/ 2249 w 10785"/>
                  <a:gd name="connsiteY2794" fmla="*/ 8222 h 10000"/>
                  <a:gd name="connsiteX2795" fmla="*/ 2235 w 10785"/>
                  <a:gd name="connsiteY2795" fmla="*/ 8197 h 10000"/>
                  <a:gd name="connsiteX2796" fmla="*/ 2198 w 10785"/>
                  <a:gd name="connsiteY2796" fmla="*/ 8197 h 10000"/>
                  <a:gd name="connsiteX2797" fmla="*/ 2189 w 10785"/>
                  <a:gd name="connsiteY2797" fmla="*/ 8171 h 10000"/>
                  <a:gd name="connsiteX2798" fmla="*/ 2161 w 10785"/>
                  <a:gd name="connsiteY2798" fmla="*/ 8145 h 10000"/>
                  <a:gd name="connsiteX2799" fmla="*/ 2161 w 10785"/>
                  <a:gd name="connsiteY2799" fmla="*/ 8137 h 10000"/>
                  <a:gd name="connsiteX2800" fmla="*/ 2152 w 10785"/>
                  <a:gd name="connsiteY2800" fmla="*/ 8120 h 10000"/>
                  <a:gd name="connsiteX2801" fmla="*/ 2138 w 10785"/>
                  <a:gd name="connsiteY2801" fmla="*/ 8111 h 10000"/>
                  <a:gd name="connsiteX2802" fmla="*/ 2138 w 10785"/>
                  <a:gd name="connsiteY2802" fmla="*/ 8094 h 10000"/>
                  <a:gd name="connsiteX2803" fmla="*/ 2147 w 10785"/>
                  <a:gd name="connsiteY2803" fmla="*/ 8085 h 10000"/>
                  <a:gd name="connsiteX2804" fmla="*/ 2161 w 10785"/>
                  <a:gd name="connsiteY2804" fmla="*/ 8060 h 10000"/>
                  <a:gd name="connsiteX2805" fmla="*/ 2198 w 10785"/>
                  <a:gd name="connsiteY2805" fmla="*/ 8034 h 10000"/>
                  <a:gd name="connsiteX2806" fmla="*/ 2198 w 10785"/>
                  <a:gd name="connsiteY2806" fmla="*/ 8026 h 10000"/>
                  <a:gd name="connsiteX2807" fmla="*/ 2198 w 10785"/>
                  <a:gd name="connsiteY2807" fmla="*/ 8000 h 10000"/>
                  <a:gd name="connsiteX2808" fmla="*/ 2180 w 10785"/>
                  <a:gd name="connsiteY2808" fmla="*/ 7940 h 10000"/>
                  <a:gd name="connsiteX2809" fmla="*/ 2189 w 10785"/>
                  <a:gd name="connsiteY2809" fmla="*/ 7940 h 10000"/>
                  <a:gd name="connsiteX2810" fmla="*/ 2198 w 10785"/>
                  <a:gd name="connsiteY2810" fmla="*/ 7923 h 10000"/>
                  <a:gd name="connsiteX2811" fmla="*/ 2198 w 10785"/>
                  <a:gd name="connsiteY2811" fmla="*/ 7897 h 10000"/>
                  <a:gd name="connsiteX2812" fmla="*/ 2207 w 10785"/>
                  <a:gd name="connsiteY2812" fmla="*/ 7889 h 10000"/>
                  <a:gd name="connsiteX2813" fmla="*/ 2221 w 10785"/>
                  <a:gd name="connsiteY2813" fmla="*/ 7889 h 10000"/>
                  <a:gd name="connsiteX2814" fmla="*/ 2226 w 10785"/>
                  <a:gd name="connsiteY2814" fmla="*/ 7897 h 10000"/>
                  <a:gd name="connsiteX2815" fmla="*/ 2235 w 10785"/>
                  <a:gd name="connsiteY2815" fmla="*/ 7889 h 10000"/>
                  <a:gd name="connsiteX2816" fmla="*/ 2249 w 10785"/>
                  <a:gd name="connsiteY2816" fmla="*/ 7897 h 10000"/>
                  <a:gd name="connsiteX2817" fmla="*/ 2267 w 10785"/>
                  <a:gd name="connsiteY2817" fmla="*/ 7897 h 10000"/>
                  <a:gd name="connsiteX2818" fmla="*/ 2272 w 10785"/>
                  <a:gd name="connsiteY2818" fmla="*/ 7889 h 10000"/>
                  <a:gd name="connsiteX2819" fmla="*/ 2281 w 10785"/>
                  <a:gd name="connsiteY2819" fmla="*/ 7872 h 10000"/>
                  <a:gd name="connsiteX2820" fmla="*/ 2272 w 10785"/>
                  <a:gd name="connsiteY2820" fmla="*/ 7846 h 10000"/>
                  <a:gd name="connsiteX2821" fmla="*/ 2253 w 10785"/>
                  <a:gd name="connsiteY2821" fmla="*/ 7838 h 10000"/>
                  <a:gd name="connsiteX2822" fmla="*/ 2221 w 10785"/>
                  <a:gd name="connsiteY2822" fmla="*/ 7821 h 10000"/>
                  <a:gd name="connsiteX2823" fmla="*/ 2212 w 10785"/>
                  <a:gd name="connsiteY2823" fmla="*/ 7812 h 10000"/>
                  <a:gd name="connsiteX2824" fmla="*/ 2212 w 10785"/>
                  <a:gd name="connsiteY2824" fmla="*/ 7803 h 10000"/>
                  <a:gd name="connsiteX2825" fmla="*/ 2221 w 10785"/>
                  <a:gd name="connsiteY2825" fmla="*/ 7803 h 10000"/>
                  <a:gd name="connsiteX2826" fmla="*/ 2235 w 10785"/>
                  <a:gd name="connsiteY2826" fmla="*/ 7786 h 10000"/>
                  <a:gd name="connsiteX2827" fmla="*/ 2240 w 10785"/>
                  <a:gd name="connsiteY2827" fmla="*/ 7778 h 10000"/>
                  <a:gd name="connsiteX2828" fmla="*/ 2226 w 10785"/>
                  <a:gd name="connsiteY2828" fmla="*/ 7761 h 10000"/>
                  <a:gd name="connsiteX2829" fmla="*/ 2221 w 10785"/>
                  <a:gd name="connsiteY2829" fmla="*/ 7778 h 10000"/>
                  <a:gd name="connsiteX2830" fmla="*/ 2198 w 10785"/>
                  <a:gd name="connsiteY2830" fmla="*/ 7778 h 10000"/>
                  <a:gd name="connsiteX2831" fmla="*/ 2198 w 10785"/>
                  <a:gd name="connsiteY2831" fmla="*/ 7752 h 10000"/>
                  <a:gd name="connsiteX2832" fmla="*/ 2207 w 10785"/>
                  <a:gd name="connsiteY2832" fmla="*/ 7735 h 10000"/>
                  <a:gd name="connsiteX2833" fmla="*/ 2212 w 10785"/>
                  <a:gd name="connsiteY2833" fmla="*/ 7726 h 10000"/>
                  <a:gd name="connsiteX2834" fmla="*/ 2198 w 10785"/>
                  <a:gd name="connsiteY2834" fmla="*/ 7692 h 10000"/>
                  <a:gd name="connsiteX2835" fmla="*/ 2221 w 10785"/>
                  <a:gd name="connsiteY2835" fmla="*/ 7692 h 10000"/>
                  <a:gd name="connsiteX2836" fmla="*/ 2221 w 10785"/>
                  <a:gd name="connsiteY2836" fmla="*/ 7675 h 10000"/>
                  <a:gd name="connsiteX2837" fmla="*/ 2235 w 10785"/>
                  <a:gd name="connsiteY2837" fmla="*/ 7675 h 10000"/>
                  <a:gd name="connsiteX2838" fmla="*/ 2240 w 10785"/>
                  <a:gd name="connsiteY2838" fmla="*/ 7692 h 10000"/>
                  <a:gd name="connsiteX2839" fmla="*/ 2249 w 10785"/>
                  <a:gd name="connsiteY2839" fmla="*/ 7692 h 10000"/>
                  <a:gd name="connsiteX2840" fmla="*/ 2258 w 10785"/>
                  <a:gd name="connsiteY2840" fmla="*/ 7692 h 10000"/>
                  <a:gd name="connsiteX2841" fmla="*/ 2267 w 10785"/>
                  <a:gd name="connsiteY2841" fmla="*/ 7692 h 10000"/>
                  <a:gd name="connsiteX2842" fmla="*/ 2295 w 10785"/>
                  <a:gd name="connsiteY2842" fmla="*/ 7692 h 10000"/>
                  <a:gd name="connsiteX2843" fmla="*/ 2300 w 10785"/>
                  <a:gd name="connsiteY2843" fmla="*/ 7701 h 10000"/>
                  <a:gd name="connsiteX2844" fmla="*/ 2313 w 10785"/>
                  <a:gd name="connsiteY2844" fmla="*/ 7675 h 10000"/>
                  <a:gd name="connsiteX2845" fmla="*/ 2323 w 10785"/>
                  <a:gd name="connsiteY2845" fmla="*/ 7675 h 10000"/>
                  <a:gd name="connsiteX2846" fmla="*/ 2341 w 10785"/>
                  <a:gd name="connsiteY2846" fmla="*/ 7675 h 10000"/>
                  <a:gd name="connsiteX2847" fmla="*/ 2346 w 10785"/>
                  <a:gd name="connsiteY2847" fmla="*/ 7667 h 10000"/>
                  <a:gd name="connsiteX2848" fmla="*/ 2359 w 10785"/>
                  <a:gd name="connsiteY2848" fmla="*/ 7650 h 10000"/>
                  <a:gd name="connsiteX2849" fmla="*/ 2373 w 10785"/>
                  <a:gd name="connsiteY2849" fmla="*/ 7624 h 10000"/>
                  <a:gd name="connsiteX2850" fmla="*/ 2382 w 10785"/>
                  <a:gd name="connsiteY2850" fmla="*/ 7641 h 10000"/>
                  <a:gd name="connsiteX2851" fmla="*/ 2396 w 10785"/>
                  <a:gd name="connsiteY2851" fmla="*/ 7650 h 10000"/>
                  <a:gd name="connsiteX2852" fmla="*/ 2401 w 10785"/>
                  <a:gd name="connsiteY2852" fmla="*/ 7650 h 10000"/>
                  <a:gd name="connsiteX2853" fmla="*/ 2401 w 10785"/>
                  <a:gd name="connsiteY2853" fmla="*/ 7624 h 10000"/>
                  <a:gd name="connsiteX2854" fmla="*/ 2419 w 10785"/>
                  <a:gd name="connsiteY2854" fmla="*/ 7624 h 10000"/>
                  <a:gd name="connsiteX2855" fmla="*/ 2433 w 10785"/>
                  <a:gd name="connsiteY2855" fmla="*/ 7615 h 10000"/>
                  <a:gd name="connsiteX2856" fmla="*/ 2442 w 10785"/>
                  <a:gd name="connsiteY2856" fmla="*/ 7615 h 10000"/>
                  <a:gd name="connsiteX2857" fmla="*/ 2447 w 10785"/>
                  <a:gd name="connsiteY2857" fmla="*/ 7598 h 10000"/>
                  <a:gd name="connsiteX2858" fmla="*/ 2461 w 10785"/>
                  <a:gd name="connsiteY2858" fmla="*/ 7598 h 10000"/>
                  <a:gd name="connsiteX2859" fmla="*/ 2465 w 10785"/>
                  <a:gd name="connsiteY2859" fmla="*/ 7615 h 10000"/>
                  <a:gd name="connsiteX2860" fmla="*/ 2479 w 10785"/>
                  <a:gd name="connsiteY2860" fmla="*/ 7564 h 10000"/>
                  <a:gd name="connsiteX2861" fmla="*/ 2488 w 10785"/>
                  <a:gd name="connsiteY2861" fmla="*/ 7556 h 10000"/>
                  <a:gd name="connsiteX2862" fmla="*/ 2493 w 10785"/>
                  <a:gd name="connsiteY2862" fmla="*/ 7556 h 10000"/>
                  <a:gd name="connsiteX2863" fmla="*/ 2507 w 10785"/>
                  <a:gd name="connsiteY2863" fmla="*/ 7556 h 10000"/>
                  <a:gd name="connsiteX2864" fmla="*/ 2530 w 10785"/>
                  <a:gd name="connsiteY2864" fmla="*/ 7538 h 10000"/>
                  <a:gd name="connsiteX2865" fmla="*/ 2530 w 10785"/>
                  <a:gd name="connsiteY2865" fmla="*/ 7556 h 10000"/>
                  <a:gd name="connsiteX2866" fmla="*/ 2641 w 10785"/>
                  <a:gd name="connsiteY2866" fmla="*/ 7504 h 10000"/>
                  <a:gd name="connsiteX2867" fmla="*/ 2654 w 10785"/>
                  <a:gd name="connsiteY2867" fmla="*/ 7487 h 10000"/>
                  <a:gd name="connsiteX2868" fmla="*/ 2664 w 10785"/>
                  <a:gd name="connsiteY2868" fmla="*/ 7487 h 10000"/>
                  <a:gd name="connsiteX2869" fmla="*/ 2668 w 10785"/>
                  <a:gd name="connsiteY2869" fmla="*/ 7479 h 10000"/>
                  <a:gd name="connsiteX2870" fmla="*/ 2673 w 10785"/>
                  <a:gd name="connsiteY2870" fmla="*/ 7462 h 10000"/>
                  <a:gd name="connsiteX2871" fmla="*/ 2673 w 10785"/>
                  <a:gd name="connsiteY2871" fmla="*/ 7427 h 10000"/>
                  <a:gd name="connsiteX2872" fmla="*/ 2687 w 10785"/>
                  <a:gd name="connsiteY2872" fmla="*/ 7436 h 10000"/>
                  <a:gd name="connsiteX2873" fmla="*/ 2696 w 10785"/>
                  <a:gd name="connsiteY2873" fmla="*/ 7427 h 10000"/>
                  <a:gd name="connsiteX2874" fmla="*/ 2700 w 10785"/>
                  <a:gd name="connsiteY2874" fmla="*/ 7419 h 10000"/>
                  <a:gd name="connsiteX2875" fmla="*/ 2710 w 10785"/>
                  <a:gd name="connsiteY2875" fmla="*/ 7402 h 10000"/>
                  <a:gd name="connsiteX2876" fmla="*/ 2724 w 10785"/>
                  <a:gd name="connsiteY2876" fmla="*/ 7402 h 10000"/>
                  <a:gd name="connsiteX2877" fmla="*/ 2724 w 10785"/>
                  <a:gd name="connsiteY2877" fmla="*/ 7393 h 10000"/>
                  <a:gd name="connsiteX2878" fmla="*/ 2737 w 10785"/>
                  <a:gd name="connsiteY2878" fmla="*/ 7393 h 10000"/>
                  <a:gd name="connsiteX2879" fmla="*/ 2742 w 10785"/>
                  <a:gd name="connsiteY2879" fmla="*/ 7402 h 10000"/>
                  <a:gd name="connsiteX2880" fmla="*/ 2747 w 10785"/>
                  <a:gd name="connsiteY2880" fmla="*/ 7402 h 10000"/>
                  <a:gd name="connsiteX2881" fmla="*/ 2760 w 10785"/>
                  <a:gd name="connsiteY2881" fmla="*/ 7402 h 10000"/>
                  <a:gd name="connsiteX2882" fmla="*/ 2770 w 10785"/>
                  <a:gd name="connsiteY2882" fmla="*/ 7402 h 10000"/>
                  <a:gd name="connsiteX2883" fmla="*/ 2774 w 10785"/>
                  <a:gd name="connsiteY2883" fmla="*/ 7402 h 10000"/>
                  <a:gd name="connsiteX2884" fmla="*/ 2783 w 10785"/>
                  <a:gd name="connsiteY2884" fmla="*/ 7419 h 10000"/>
                  <a:gd name="connsiteX2885" fmla="*/ 2802 w 10785"/>
                  <a:gd name="connsiteY2885" fmla="*/ 7436 h 10000"/>
                  <a:gd name="connsiteX2886" fmla="*/ 2816 w 10785"/>
                  <a:gd name="connsiteY2886" fmla="*/ 7419 h 10000"/>
                  <a:gd name="connsiteX2887" fmla="*/ 2834 w 10785"/>
                  <a:gd name="connsiteY2887" fmla="*/ 7419 h 10000"/>
                  <a:gd name="connsiteX2888" fmla="*/ 2843 w 10785"/>
                  <a:gd name="connsiteY2888" fmla="*/ 7419 h 10000"/>
                  <a:gd name="connsiteX2889" fmla="*/ 2848 w 10785"/>
                  <a:gd name="connsiteY2889" fmla="*/ 7436 h 10000"/>
                  <a:gd name="connsiteX2890" fmla="*/ 2857 w 10785"/>
                  <a:gd name="connsiteY2890" fmla="*/ 7453 h 10000"/>
                  <a:gd name="connsiteX2891" fmla="*/ 2857 w 10785"/>
                  <a:gd name="connsiteY2891" fmla="*/ 7504 h 10000"/>
                  <a:gd name="connsiteX2892" fmla="*/ 2862 w 10785"/>
                  <a:gd name="connsiteY2892" fmla="*/ 7530 h 10000"/>
                  <a:gd name="connsiteX2893" fmla="*/ 2876 w 10785"/>
                  <a:gd name="connsiteY2893" fmla="*/ 7538 h 10000"/>
                  <a:gd name="connsiteX2894" fmla="*/ 2871 w 10785"/>
                  <a:gd name="connsiteY2894" fmla="*/ 7564 h 10000"/>
                  <a:gd name="connsiteX2895" fmla="*/ 2871 w 10785"/>
                  <a:gd name="connsiteY2895" fmla="*/ 7598 h 10000"/>
                  <a:gd name="connsiteX2896" fmla="*/ 2857 w 10785"/>
                  <a:gd name="connsiteY2896" fmla="*/ 7624 h 10000"/>
                  <a:gd name="connsiteX2897" fmla="*/ 2862 w 10785"/>
                  <a:gd name="connsiteY2897" fmla="*/ 7641 h 10000"/>
                  <a:gd name="connsiteX2898" fmla="*/ 2871 w 10785"/>
                  <a:gd name="connsiteY2898" fmla="*/ 7667 h 10000"/>
                  <a:gd name="connsiteX2899" fmla="*/ 2880 w 10785"/>
                  <a:gd name="connsiteY2899" fmla="*/ 7650 h 10000"/>
                  <a:gd name="connsiteX2900" fmla="*/ 2894 w 10785"/>
                  <a:gd name="connsiteY2900" fmla="*/ 7667 h 10000"/>
                  <a:gd name="connsiteX2901" fmla="*/ 2903 w 10785"/>
                  <a:gd name="connsiteY2901" fmla="*/ 7667 h 10000"/>
                  <a:gd name="connsiteX2902" fmla="*/ 2908 w 10785"/>
                  <a:gd name="connsiteY2902" fmla="*/ 7641 h 10000"/>
                  <a:gd name="connsiteX2903" fmla="*/ 2917 w 10785"/>
                  <a:gd name="connsiteY2903" fmla="*/ 7641 h 10000"/>
                  <a:gd name="connsiteX2904" fmla="*/ 2922 w 10785"/>
                  <a:gd name="connsiteY2904" fmla="*/ 7641 h 10000"/>
                  <a:gd name="connsiteX2905" fmla="*/ 2931 w 10785"/>
                  <a:gd name="connsiteY2905" fmla="*/ 7615 h 10000"/>
                  <a:gd name="connsiteX2906" fmla="*/ 2935 w 10785"/>
                  <a:gd name="connsiteY2906" fmla="*/ 7615 h 10000"/>
                  <a:gd name="connsiteX2907" fmla="*/ 2945 w 10785"/>
                  <a:gd name="connsiteY2907" fmla="*/ 7650 h 10000"/>
                  <a:gd name="connsiteX2908" fmla="*/ 2949 w 10785"/>
                  <a:gd name="connsiteY2908" fmla="*/ 7667 h 10000"/>
                  <a:gd name="connsiteX2909" fmla="*/ 2949 w 10785"/>
                  <a:gd name="connsiteY2909" fmla="*/ 7675 h 10000"/>
                  <a:gd name="connsiteX2910" fmla="*/ 2945 w 10785"/>
                  <a:gd name="connsiteY2910" fmla="*/ 7692 h 10000"/>
                  <a:gd name="connsiteX2911" fmla="*/ 2963 w 10785"/>
                  <a:gd name="connsiteY2911" fmla="*/ 7701 h 10000"/>
                  <a:gd name="connsiteX2912" fmla="*/ 2963 w 10785"/>
                  <a:gd name="connsiteY2912" fmla="*/ 7675 h 10000"/>
                  <a:gd name="connsiteX2913" fmla="*/ 2954 w 10785"/>
                  <a:gd name="connsiteY2913" fmla="*/ 7667 h 10000"/>
                  <a:gd name="connsiteX2914" fmla="*/ 2963 w 10785"/>
                  <a:gd name="connsiteY2914" fmla="*/ 7667 h 10000"/>
                  <a:gd name="connsiteX2915" fmla="*/ 2982 w 10785"/>
                  <a:gd name="connsiteY2915" fmla="*/ 7667 h 10000"/>
                  <a:gd name="connsiteX2916" fmla="*/ 2991 w 10785"/>
                  <a:gd name="connsiteY2916" fmla="*/ 7675 h 10000"/>
                  <a:gd name="connsiteX2917" fmla="*/ 2995 w 10785"/>
                  <a:gd name="connsiteY2917" fmla="*/ 7692 h 10000"/>
                  <a:gd name="connsiteX2918" fmla="*/ 3009 w 10785"/>
                  <a:gd name="connsiteY2918" fmla="*/ 7701 h 10000"/>
                  <a:gd name="connsiteX2919" fmla="*/ 3018 w 10785"/>
                  <a:gd name="connsiteY2919" fmla="*/ 7701 h 10000"/>
                  <a:gd name="connsiteX2920" fmla="*/ 3023 w 10785"/>
                  <a:gd name="connsiteY2920" fmla="*/ 7692 h 10000"/>
                  <a:gd name="connsiteX2921" fmla="*/ 3028 w 10785"/>
                  <a:gd name="connsiteY2921" fmla="*/ 7675 h 10000"/>
                  <a:gd name="connsiteX2922" fmla="*/ 3037 w 10785"/>
                  <a:gd name="connsiteY2922" fmla="*/ 7692 h 10000"/>
                  <a:gd name="connsiteX2923" fmla="*/ 3028 w 10785"/>
                  <a:gd name="connsiteY2923" fmla="*/ 7709 h 10000"/>
                  <a:gd name="connsiteX2924" fmla="*/ 3023 w 10785"/>
                  <a:gd name="connsiteY2924" fmla="*/ 7709 h 10000"/>
                  <a:gd name="connsiteX2925" fmla="*/ 3018 w 10785"/>
                  <a:gd name="connsiteY2925" fmla="*/ 7726 h 10000"/>
                  <a:gd name="connsiteX2926" fmla="*/ 3009 w 10785"/>
                  <a:gd name="connsiteY2926" fmla="*/ 7735 h 10000"/>
                  <a:gd name="connsiteX2927" fmla="*/ 3009 w 10785"/>
                  <a:gd name="connsiteY2927" fmla="*/ 7761 h 10000"/>
                  <a:gd name="connsiteX2928" fmla="*/ 3009 w 10785"/>
                  <a:gd name="connsiteY2928" fmla="*/ 7778 h 10000"/>
                  <a:gd name="connsiteX2929" fmla="*/ 3018 w 10785"/>
                  <a:gd name="connsiteY2929" fmla="*/ 7786 h 10000"/>
                  <a:gd name="connsiteX2930" fmla="*/ 3023 w 10785"/>
                  <a:gd name="connsiteY2930" fmla="*/ 7786 h 10000"/>
                  <a:gd name="connsiteX2931" fmla="*/ 3028 w 10785"/>
                  <a:gd name="connsiteY2931" fmla="*/ 7778 h 10000"/>
                  <a:gd name="connsiteX2932" fmla="*/ 3051 w 10785"/>
                  <a:gd name="connsiteY2932" fmla="*/ 7761 h 10000"/>
                  <a:gd name="connsiteX2933" fmla="*/ 3055 w 10785"/>
                  <a:gd name="connsiteY2933" fmla="*/ 7778 h 10000"/>
                  <a:gd name="connsiteX2934" fmla="*/ 3065 w 10785"/>
                  <a:gd name="connsiteY2934" fmla="*/ 7761 h 10000"/>
                  <a:gd name="connsiteX2935" fmla="*/ 3069 w 10785"/>
                  <a:gd name="connsiteY2935" fmla="*/ 7786 h 10000"/>
                  <a:gd name="connsiteX2936" fmla="*/ 3083 w 10785"/>
                  <a:gd name="connsiteY2936" fmla="*/ 7786 h 10000"/>
                  <a:gd name="connsiteX2937" fmla="*/ 3078 w 10785"/>
                  <a:gd name="connsiteY2937" fmla="*/ 7761 h 10000"/>
                  <a:gd name="connsiteX2938" fmla="*/ 3083 w 10785"/>
                  <a:gd name="connsiteY2938" fmla="*/ 7752 h 10000"/>
                  <a:gd name="connsiteX2939" fmla="*/ 3097 w 10785"/>
                  <a:gd name="connsiteY2939" fmla="*/ 7752 h 10000"/>
                  <a:gd name="connsiteX2940" fmla="*/ 3111 w 10785"/>
                  <a:gd name="connsiteY2940" fmla="*/ 7726 h 10000"/>
                  <a:gd name="connsiteX2941" fmla="*/ 3124 w 10785"/>
                  <a:gd name="connsiteY2941" fmla="*/ 7709 h 10000"/>
                  <a:gd name="connsiteX2942" fmla="*/ 3143 w 10785"/>
                  <a:gd name="connsiteY2942" fmla="*/ 7692 h 10000"/>
                  <a:gd name="connsiteX2943" fmla="*/ 3152 w 10785"/>
                  <a:gd name="connsiteY2943" fmla="*/ 7667 h 10000"/>
                  <a:gd name="connsiteX2944" fmla="*/ 3157 w 10785"/>
                  <a:gd name="connsiteY2944" fmla="*/ 7650 h 10000"/>
                  <a:gd name="connsiteX2945" fmla="*/ 3161 w 10785"/>
                  <a:gd name="connsiteY2945" fmla="*/ 7650 h 10000"/>
                  <a:gd name="connsiteX2946" fmla="*/ 3189 w 10785"/>
                  <a:gd name="connsiteY2946" fmla="*/ 7641 h 10000"/>
                  <a:gd name="connsiteX2947" fmla="*/ 3198 w 10785"/>
                  <a:gd name="connsiteY2947" fmla="*/ 7624 h 10000"/>
                  <a:gd name="connsiteX2948" fmla="*/ 3217 w 10785"/>
                  <a:gd name="connsiteY2948" fmla="*/ 7615 h 10000"/>
                  <a:gd name="connsiteX2949" fmla="*/ 3235 w 10785"/>
                  <a:gd name="connsiteY2949" fmla="*/ 7598 h 10000"/>
                  <a:gd name="connsiteX2950" fmla="*/ 3235 w 10785"/>
                  <a:gd name="connsiteY2950" fmla="*/ 7615 h 10000"/>
                  <a:gd name="connsiteX2951" fmla="*/ 3235 w 10785"/>
                  <a:gd name="connsiteY2951" fmla="*/ 7641 h 10000"/>
                  <a:gd name="connsiteX2952" fmla="*/ 3235 w 10785"/>
                  <a:gd name="connsiteY2952" fmla="*/ 7650 h 10000"/>
                  <a:gd name="connsiteX2953" fmla="*/ 3226 w 10785"/>
                  <a:gd name="connsiteY2953" fmla="*/ 7650 h 10000"/>
                  <a:gd name="connsiteX2954" fmla="*/ 3217 w 10785"/>
                  <a:gd name="connsiteY2954" fmla="*/ 7650 h 10000"/>
                  <a:gd name="connsiteX2955" fmla="*/ 3212 w 10785"/>
                  <a:gd name="connsiteY2955" fmla="*/ 7675 h 10000"/>
                  <a:gd name="connsiteX2956" fmla="*/ 3212 w 10785"/>
                  <a:gd name="connsiteY2956"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334 w 10785"/>
                  <a:gd name="connsiteY731" fmla="*/ 4810 h 10000"/>
                  <a:gd name="connsiteX732" fmla="*/ 10422 w 10785"/>
                  <a:gd name="connsiteY732" fmla="*/ 5051 h 10000"/>
                  <a:gd name="connsiteX733" fmla="*/ 10691 w 10785"/>
                  <a:gd name="connsiteY733" fmla="*/ 5255 h 10000"/>
                  <a:gd name="connsiteX734" fmla="*/ 10619 w 10785"/>
                  <a:gd name="connsiteY734" fmla="*/ 4708 h 10000"/>
                  <a:gd name="connsiteX735" fmla="*/ 10785 w 10785"/>
                  <a:gd name="connsiteY735" fmla="*/ 4708 h 10000"/>
                  <a:gd name="connsiteX736" fmla="*/ 10689 w 10785"/>
                  <a:gd name="connsiteY736" fmla="*/ 4467 h 10000"/>
                  <a:gd name="connsiteX737" fmla="*/ 10354 w 10785"/>
                  <a:gd name="connsiteY737" fmla="*/ 4302 h 10000"/>
                  <a:gd name="connsiteX738" fmla="*/ 9912 w 10785"/>
                  <a:gd name="connsiteY738" fmla="*/ 3675 h 10000"/>
                  <a:gd name="connsiteX739" fmla="*/ 9903 w 10785"/>
                  <a:gd name="connsiteY739" fmla="*/ 3667 h 10000"/>
                  <a:gd name="connsiteX740" fmla="*/ 9894 w 10785"/>
                  <a:gd name="connsiteY740" fmla="*/ 3641 h 10000"/>
                  <a:gd name="connsiteX741" fmla="*/ 9889 w 10785"/>
                  <a:gd name="connsiteY741" fmla="*/ 3650 h 10000"/>
                  <a:gd name="connsiteX742" fmla="*/ 9848 w 10785"/>
                  <a:gd name="connsiteY742" fmla="*/ 3598 h 10000"/>
                  <a:gd name="connsiteX743" fmla="*/ 9829 w 10785"/>
                  <a:gd name="connsiteY743" fmla="*/ 3581 h 10000"/>
                  <a:gd name="connsiteX744" fmla="*/ 9820 w 10785"/>
                  <a:gd name="connsiteY744" fmla="*/ 3581 h 10000"/>
                  <a:gd name="connsiteX745" fmla="*/ 9793 w 10785"/>
                  <a:gd name="connsiteY745" fmla="*/ 3556 h 10000"/>
                  <a:gd name="connsiteX746" fmla="*/ 9779 w 10785"/>
                  <a:gd name="connsiteY746" fmla="*/ 3556 h 10000"/>
                  <a:gd name="connsiteX747" fmla="*/ 9747 w 10785"/>
                  <a:gd name="connsiteY747" fmla="*/ 3487 h 10000"/>
                  <a:gd name="connsiteX748" fmla="*/ 9668 w 10785"/>
                  <a:gd name="connsiteY748" fmla="*/ 3479 h 10000"/>
                  <a:gd name="connsiteX749" fmla="*/ 9659 w 10785"/>
                  <a:gd name="connsiteY749" fmla="*/ 3487 h 10000"/>
                  <a:gd name="connsiteX750" fmla="*/ 9645 w 10785"/>
                  <a:gd name="connsiteY750" fmla="*/ 3504 h 10000"/>
                  <a:gd name="connsiteX751" fmla="*/ 9631 w 10785"/>
                  <a:gd name="connsiteY751" fmla="*/ 3487 h 10000"/>
                  <a:gd name="connsiteX752" fmla="*/ 9613 w 10785"/>
                  <a:gd name="connsiteY752" fmla="*/ 3479 h 10000"/>
                  <a:gd name="connsiteX753" fmla="*/ 9599 w 10785"/>
                  <a:gd name="connsiteY753" fmla="*/ 3479 h 10000"/>
                  <a:gd name="connsiteX754" fmla="*/ 9571 w 10785"/>
                  <a:gd name="connsiteY754" fmla="*/ 3479 h 10000"/>
                  <a:gd name="connsiteX755" fmla="*/ 9562 w 10785"/>
                  <a:gd name="connsiteY755" fmla="*/ 3487 h 10000"/>
                  <a:gd name="connsiteX756" fmla="*/ 9539 w 10785"/>
                  <a:gd name="connsiteY756" fmla="*/ 3487 h 10000"/>
                  <a:gd name="connsiteX757" fmla="*/ 9507 w 10785"/>
                  <a:gd name="connsiteY757" fmla="*/ 3453 h 10000"/>
                  <a:gd name="connsiteX758" fmla="*/ 9498 w 10785"/>
                  <a:gd name="connsiteY758" fmla="*/ 3453 h 10000"/>
                  <a:gd name="connsiteX759" fmla="*/ 9387 w 10785"/>
                  <a:gd name="connsiteY759" fmla="*/ 3419 h 10000"/>
                  <a:gd name="connsiteX760" fmla="*/ 9373 w 10785"/>
                  <a:gd name="connsiteY760" fmla="*/ 3427 h 10000"/>
                  <a:gd name="connsiteX761" fmla="*/ 9373 w 10785"/>
                  <a:gd name="connsiteY761" fmla="*/ 3462 h 10000"/>
                  <a:gd name="connsiteX762" fmla="*/ 9378 w 10785"/>
                  <a:gd name="connsiteY762" fmla="*/ 3479 h 10000"/>
                  <a:gd name="connsiteX763" fmla="*/ 9378 w 10785"/>
                  <a:gd name="connsiteY763" fmla="*/ 3530 h 10000"/>
                  <a:gd name="connsiteX764" fmla="*/ 9355 w 10785"/>
                  <a:gd name="connsiteY764" fmla="*/ 3538 h 10000"/>
                  <a:gd name="connsiteX765" fmla="*/ 9355 w 10785"/>
                  <a:gd name="connsiteY765" fmla="*/ 3581 h 10000"/>
                  <a:gd name="connsiteX766" fmla="*/ 9387 w 10785"/>
                  <a:gd name="connsiteY766" fmla="*/ 3590 h 10000"/>
                  <a:gd name="connsiteX767" fmla="*/ 9401 w 10785"/>
                  <a:gd name="connsiteY767" fmla="*/ 3667 h 10000"/>
                  <a:gd name="connsiteX768" fmla="*/ 9406 w 10785"/>
                  <a:gd name="connsiteY768" fmla="*/ 3675 h 10000"/>
                  <a:gd name="connsiteX769" fmla="*/ 9406 w 10785"/>
                  <a:gd name="connsiteY769" fmla="*/ 3701 h 10000"/>
                  <a:gd name="connsiteX770" fmla="*/ 9415 w 10785"/>
                  <a:gd name="connsiteY770" fmla="*/ 3752 h 10000"/>
                  <a:gd name="connsiteX771" fmla="*/ 9373 w 10785"/>
                  <a:gd name="connsiteY771" fmla="*/ 3838 h 10000"/>
                  <a:gd name="connsiteX772" fmla="*/ 9355 w 10785"/>
                  <a:gd name="connsiteY772" fmla="*/ 3863 h 10000"/>
                  <a:gd name="connsiteX773" fmla="*/ 9327 w 10785"/>
                  <a:gd name="connsiteY773" fmla="*/ 3863 h 10000"/>
                  <a:gd name="connsiteX774" fmla="*/ 9313 w 10785"/>
                  <a:gd name="connsiteY774" fmla="*/ 3846 h 10000"/>
                  <a:gd name="connsiteX775" fmla="*/ 9300 w 10785"/>
                  <a:gd name="connsiteY775" fmla="*/ 3778 h 10000"/>
                  <a:gd name="connsiteX776" fmla="*/ 9281 w 10785"/>
                  <a:gd name="connsiteY776" fmla="*/ 3752 h 10000"/>
                  <a:gd name="connsiteX777" fmla="*/ 9281 w 10785"/>
                  <a:gd name="connsiteY777" fmla="*/ 3735 h 10000"/>
                  <a:gd name="connsiteX778" fmla="*/ 9267 w 10785"/>
                  <a:gd name="connsiteY778" fmla="*/ 3726 h 10000"/>
                  <a:gd name="connsiteX779" fmla="*/ 9240 w 10785"/>
                  <a:gd name="connsiteY779" fmla="*/ 3726 h 10000"/>
                  <a:gd name="connsiteX780" fmla="*/ 9230 w 10785"/>
                  <a:gd name="connsiteY780" fmla="*/ 3718 h 10000"/>
                  <a:gd name="connsiteX781" fmla="*/ 9226 w 10785"/>
                  <a:gd name="connsiteY781" fmla="*/ 3590 h 10000"/>
                  <a:gd name="connsiteX782" fmla="*/ 9207 w 10785"/>
                  <a:gd name="connsiteY782" fmla="*/ 3581 h 10000"/>
                  <a:gd name="connsiteX783" fmla="*/ 9207 w 10785"/>
                  <a:gd name="connsiteY783" fmla="*/ 3556 h 10000"/>
                  <a:gd name="connsiteX784" fmla="*/ 9217 w 10785"/>
                  <a:gd name="connsiteY784" fmla="*/ 3538 h 10000"/>
                  <a:gd name="connsiteX785" fmla="*/ 9212 w 10785"/>
                  <a:gd name="connsiteY785" fmla="*/ 3538 h 10000"/>
                  <a:gd name="connsiteX786" fmla="*/ 9198 w 10785"/>
                  <a:gd name="connsiteY786" fmla="*/ 3513 h 10000"/>
                  <a:gd name="connsiteX787" fmla="*/ 9194 w 10785"/>
                  <a:gd name="connsiteY787" fmla="*/ 3530 h 10000"/>
                  <a:gd name="connsiteX788" fmla="*/ 9143 w 10785"/>
                  <a:gd name="connsiteY788" fmla="*/ 3615 h 10000"/>
                  <a:gd name="connsiteX789" fmla="*/ 9138 w 10785"/>
                  <a:gd name="connsiteY789" fmla="*/ 3615 h 10000"/>
                  <a:gd name="connsiteX790" fmla="*/ 9134 w 10785"/>
                  <a:gd name="connsiteY790" fmla="*/ 3615 h 10000"/>
                  <a:gd name="connsiteX791" fmla="*/ 9106 w 10785"/>
                  <a:gd name="connsiteY791" fmla="*/ 3615 h 10000"/>
                  <a:gd name="connsiteX792" fmla="*/ 9078 w 10785"/>
                  <a:gd name="connsiteY792" fmla="*/ 3590 h 10000"/>
                  <a:gd name="connsiteX793" fmla="*/ 9037 w 10785"/>
                  <a:gd name="connsiteY793" fmla="*/ 3581 h 10000"/>
                  <a:gd name="connsiteX794" fmla="*/ 9023 w 10785"/>
                  <a:gd name="connsiteY794" fmla="*/ 3590 h 10000"/>
                  <a:gd name="connsiteX795" fmla="*/ 9018 w 10785"/>
                  <a:gd name="connsiteY795" fmla="*/ 3590 h 10000"/>
                  <a:gd name="connsiteX796" fmla="*/ 9018 w 10785"/>
                  <a:gd name="connsiteY796" fmla="*/ 3590 h 10000"/>
                  <a:gd name="connsiteX797" fmla="*/ 8991 w 10785"/>
                  <a:gd name="connsiteY797" fmla="*/ 3590 h 10000"/>
                  <a:gd name="connsiteX798" fmla="*/ 8972 w 10785"/>
                  <a:gd name="connsiteY798" fmla="*/ 3581 h 10000"/>
                  <a:gd name="connsiteX799" fmla="*/ 8959 w 10785"/>
                  <a:gd name="connsiteY799" fmla="*/ 3513 h 10000"/>
                  <a:gd name="connsiteX800" fmla="*/ 8931 w 10785"/>
                  <a:gd name="connsiteY800" fmla="*/ 3538 h 10000"/>
                  <a:gd name="connsiteX801" fmla="*/ 8889 w 10785"/>
                  <a:gd name="connsiteY801" fmla="*/ 3538 h 10000"/>
                  <a:gd name="connsiteX802" fmla="*/ 8871 w 10785"/>
                  <a:gd name="connsiteY802" fmla="*/ 3556 h 10000"/>
                  <a:gd name="connsiteX803" fmla="*/ 8857 w 10785"/>
                  <a:gd name="connsiteY803" fmla="*/ 3538 h 10000"/>
                  <a:gd name="connsiteX804" fmla="*/ 8843 w 10785"/>
                  <a:gd name="connsiteY804" fmla="*/ 3538 h 10000"/>
                  <a:gd name="connsiteX805" fmla="*/ 8839 w 10785"/>
                  <a:gd name="connsiteY805" fmla="*/ 3556 h 10000"/>
                  <a:gd name="connsiteX806" fmla="*/ 8839 w 10785"/>
                  <a:gd name="connsiteY806" fmla="*/ 3581 h 10000"/>
                  <a:gd name="connsiteX807" fmla="*/ 8825 w 10785"/>
                  <a:gd name="connsiteY807" fmla="*/ 3564 h 10000"/>
                  <a:gd name="connsiteX808" fmla="*/ 8825 w 10785"/>
                  <a:gd name="connsiteY808" fmla="*/ 3615 h 10000"/>
                  <a:gd name="connsiteX809" fmla="*/ 8802 w 10785"/>
                  <a:gd name="connsiteY809" fmla="*/ 3598 h 10000"/>
                  <a:gd name="connsiteX810" fmla="*/ 8797 w 10785"/>
                  <a:gd name="connsiteY810" fmla="*/ 3641 h 10000"/>
                  <a:gd name="connsiteX811" fmla="*/ 8783 w 10785"/>
                  <a:gd name="connsiteY811" fmla="*/ 3667 h 10000"/>
                  <a:gd name="connsiteX812" fmla="*/ 8779 w 10785"/>
                  <a:gd name="connsiteY812" fmla="*/ 3650 h 10000"/>
                  <a:gd name="connsiteX813" fmla="*/ 8779 w 10785"/>
                  <a:gd name="connsiteY813" fmla="*/ 3615 h 10000"/>
                  <a:gd name="connsiteX814" fmla="*/ 8770 w 10785"/>
                  <a:gd name="connsiteY814" fmla="*/ 3590 h 10000"/>
                  <a:gd name="connsiteX815" fmla="*/ 8765 w 10785"/>
                  <a:gd name="connsiteY815" fmla="*/ 3598 h 10000"/>
                  <a:gd name="connsiteX816" fmla="*/ 8756 w 10785"/>
                  <a:gd name="connsiteY816" fmla="*/ 3590 h 10000"/>
                  <a:gd name="connsiteX817" fmla="*/ 8737 w 10785"/>
                  <a:gd name="connsiteY817" fmla="*/ 3556 h 10000"/>
                  <a:gd name="connsiteX818" fmla="*/ 8724 w 10785"/>
                  <a:gd name="connsiteY818" fmla="*/ 3538 h 10000"/>
                  <a:gd name="connsiteX819" fmla="*/ 8696 w 10785"/>
                  <a:gd name="connsiteY819" fmla="*/ 3538 h 10000"/>
                  <a:gd name="connsiteX820" fmla="*/ 8691 w 10785"/>
                  <a:gd name="connsiteY820" fmla="*/ 3513 h 10000"/>
                  <a:gd name="connsiteX821" fmla="*/ 8668 w 10785"/>
                  <a:gd name="connsiteY821" fmla="*/ 3504 h 10000"/>
                  <a:gd name="connsiteX822" fmla="*/ 8668 w 10785"/>
                  <a:gd name="connsiteY822" fmla="*/ 3487 h 10000"/>
                  <a:gd name="connsiteX823" fmla="*/ 8691 w 10785"/>
                  <a:gd name="connsiteY823" fmla="*/ 3350 h 10000"/>
                  <a:gd name="connsiteX824" fmla="*/ 8691 w 10785"/>
                  <a:gd name="connsiteY824" fmla="*/ 3291 h 10000"/>
                  <a:gd name="connsiteX825" fmla="*/ 8677 w 10785"/>
                  <a:gd name="connsiteY825" fmla="*/ 3239 h 10000"/>
                  <a:gd name="connsiteX826" fmla="*/ 8677 w 10785"/>
                  <a:gd name="connsiteY826" fmla="*/ 3231 h 10000"/>
                  <a:gd name="connsiteX827" fmla="*/ 8636 w 10785"/>
                  <a:gd name="connsiteY827" fmla="*/ 3128 h 10000"/>
                  <a:gd name="connsiteX828" fmla="*/ 8622 w 10785"/>
                  <a:gd name="connsiteY828" fmla="*/ 3120 h 10000"/>
                  <a:gd name="connsiteX829" fmla="*/ 8618 w 10785"/>
                  <a:gd name="connsiteY829" fmla="*/ 3094 h 10000"/>
                  <a:gd name="connsiteX830" fmla="*/ 8594 w 10785"/>
                  <a:gd name="connsiteY830" fmla="*/ 3077 h 10000"/>
                  <a:gd name="connsiteX831" fmla="*/ 8548 w 10785"/>
                  <a:gd name="connsiteY831" fmla="*/ 3077 h 10000"/>
                  <a:gd name="connsiteX832" fmla="*/ 8535 w 10785"/>
                  <a:gd name="connsiteY832" fmla="*/ 3068 h 10000"/>
                  <a:gd name="connsiteX833" fmla="*/ 8429 w 10785"/>
                  <a:gd name="connsiteY833" fmla="*/ 3077 h 10000"/>
                  <a:gd name="connsiteX834" fmla="*/ 8424 w 10785"/>
                  <a:gd name="connsiteY834" fmla="*/ 3077 h 10000"/>
                  <a:gd name="connsiteX835" fmla="*/ 8396 w 10785"/>
                  <a:gd name="connsiteY835" fmla="*/ 3077 h 10000"/>
                  <a:gd name="connsiteX836" fmla="*/ 8387 w 10785"/>
                  <a:gd name="connsiteY836" fmla="*/ 3094 h 10000"/>
                  <a:gd name="connsiteX837" fmla="*/ 8378 w 10785"/>
                  <a:gd name="connsiteY837" fmla="*/ 3094 h 10000"/>
                  <a:gd name="connsiteX838" fmla="*/ 8341 w 10785"/>
                  <a:gd name="connsiteY838" fmla="*/ 3077 h 10000"/>
                  <a:gd name="connsiteX839" fmla="*/ 8336 w 10785"/>
                  <a:gd name="connsiteY839" fmla="*/ 3077 h 10000"/>
                  <a:gd name="connsiteX840" fmla="*/ 8327 w 10785"/>
                  <a:gd name="connsiteY840" fmla="*/ 3103 h 10000"/>
                  <a:gd name="connsiteX841" fmla="*/ 8309 w 10785"/>
                  <a:gd name="connsiteY841" fmla="*/ 3120 h 10000"/>
                  <a:gd name="connsiteX842" fmla="*/ 8304 w 10785"/>
                  <a:gd name="connsiteY842" fmla="*/ 3103 h 10000"/>
                  <a:gd name="connsiteX843" fmla="*/ 8276 w 10785"/>
                  <a:gd name="connsiteY843" fmla="*/ 3103 h 10000"/>
                  <a:gd name="connsiteX844" fmla="*/ 8267 w 10785"/>
                  <a:gd name="connsiteY844" fmla="*/ 3120 h 10000"/>
                  <a:gd name="connsiteX845" fmla="*/ 8253 w 10785"/>
                  <a:gd name="connsiteY845" fmla="*/ 3103 h 10000"/>
                  <a:gd name="connsiteX846" fmla="*/ 8230 w 10785"/>
                  <a:gd name="connsiteY846" fmla="*/ 3128 h 10000"/>
                  <a:gd name="connsiteX847" fmla="*/ 8217 w 10785"/>
                  <a:gd name="connsiteY847" fmla="*/ 3128 h 10000"/>
                  <a:gd name="connsiteX848" fmla="*/ 8203 w 10785"/>
                  <a:gd name="connsiteY848" fmla="*/ 3154 h 10000"/>
                  <a:gd name="connsiteX849" fmla="*/ 8175 w 10785"/>
                  <a:gd name="connsiteY849" fmla="*/ 3094 h 10000"/>
                  <a:gd name="connsiteX850" fmla="*/ 8161 w 10785"/>
                  <a:gd name="connsiteY850" fmla="*/ 3094 h 10000"/>
                  <a:gd name="connsiteX851" fmla="*/ 8157 w 10785"/>
                  <a:gd name="connsiteY851" fmla="*/ 3077 h 10000"/>
                  <a:gd name="connsiteX852" fmla="*/ 8180 w 10785"/>
                  <a:gd name="connsiteY852" fmla="*/ 3068 h 10000"/>
                  <a:gd name="connsiteX853" fmla="*/ 8189 w 10785"/>
                  <a:gd name="connsiteY853" fmla="*/ 3043 h 10000"/>
                  <a:gd name="connsiteX854" fmla="*/ 8189 w 10785"/>
                  <a:gd name="connsiteY854" fmla="*/ 3017 h 10000"/>
                  <a:gd name="connsiteX855" fmla="*/ 8147 w 10785"/>
                  <a:gd name="connsiteY855" fmla="*/ 2940 h 10000"/>
                  <a:gd name="connsiteX856" fmla="*/ 8143 w 10785"/>
                  <a:gd name="connsiteY856" fmla="*/ 2915 h 10000"/>
                  <a:gd name="connsiteX857" fmla="*/ 8143 w 10785"/>
                  <a:gd name="connsiteY857" fmla="*/ 2906 h 10000"/>
                  <a:gd name="connsiteX858" fmla="*/ 8097 w 10785"/>
                  <a:gd name="connsiteY858" fmla="*/ 2932 h 10000"/>
                  <a:gd name="connsiteX859" fmla="*/ 8083 w 10785"/>
                  <a:gd name="connsiteY859" fmla="*/ 2932 h 10000"/>
                  <a:gd name="connsiteX860" fmla="*/ 8074 w 10785"/>
                  <a:gd name="connsiteY860" fmla="*/ 2906 h 10000"/>
                  <a:gd name="connsiteX861" fmla="*/ 8074 w 10785"/>
                  <a:gd name="connsiteY861" fmla="*/ 2897 h 10000"/>
                  <a:gd name="connsiteX862" fmla="*/ 8055 w 10785"/>
                  <a:gd name="connsiteY862" fmla="*/ 2872 h 10000"/>
                  <a:gd name="connsiteX863" fmla="*/ 8046 w 10785"/>
                  <a:gd name="connsiteY863" fmla="*/ 2829 h 10000"/>
                  <a:gd name="connsiteX864" fmla="*/ 8041 w 10785"/>
                  <a:gd name="connsiteY864" fmla="*/ 2829 h 10000"/>
                  <a:gd name="connsiteX865" fmla="*/ 8023 w 10785"/>
                  <a:gd name="connsiteY865" fmla="*/ 2803 h 10000"/>
                  <a:gd name="connsiteX866" fmla="*/ 8014 w 10785"/>
                  <a:gd name="connsiteY866" fmla="*/ 2829 h 10000"/>
                  <a:gd name="connsiteX867" fmla="*/ 8000 w 10785"/>
                  <a:gd name="connsiteY867" fmla="*/ 2829 h 10000"/>
                  <a:gd name="connsiteX868" fmla="*/ 7995 w 10785"/>
                  <a:gd name="connsiteY868" fmla="*/ 2821 h 10000"/>
                  <a:gd name="connsiteX869" fmla="*/ 7972 w 10785"/>
                  <a:gd name="connsiteY869" fmla="*/ 2803 h 10000"/>
                  <a:gd name="connsiteX870" fmla="*/ 7968 w 10785"/>
                  <a:gd name="connsiteY870" fmla="*/ 2821 h 10000"/>
                  <a:gd name="connsiteX871" fmla="*/ 7968 w 10785"/>
                  <a:gd name="connsiteY871" fmla="*/ 2803 h 10000"/>
                  <a:gd name="connsiteX872" fmla="*/ 7995 w 10785"/>
                  <a:gd name="connsiteY872" fmla="*/ 2735 h 10000"/>
                  <a:gd name="connsiteX873" fmla="*/ 8000 w 10785"/>
                  <a:gd name="connsiteY873" fmla="*/ 2735 h 10000"/>
                  <a:gd name="connsiteX874" fmla="*/ 8014 w 10785"/>
                  <a:gd name="connsiteY874" fmla="*/ 2744 h 10000"/>
                  <a:gd name="connsiteX875" fmla="*/ 8023 w 10785"/>
                  <a:gd name="connsiteY875" fmla="*/ 2769 h 10000"/>
                  <a:gd name="connsiteX876" fmla="*/ 8032 w 10785"/>
                  <a:gd name="connsiteY876" fmla="*/ 2744 h 10000"/>
                  <a:gd name="connsiteX877" fmla="*/ 8032 w 10785"/>
                  <a:gd name="connsiteY877" fmla="*/ 2709 h 10000"/>
                  <a:gd name="connsiteX878" fmla="*/ 8023 w 10785"/>
                  <a:gd name="connsiteY878" fmla="*/ 2632 h 10000"/>
                  <a:gd name="connsiteX879" fmla="*/ 7986 w 10785"/>
                  <a:gd name="connsiteY879" fmla="*/ 2581 h 10000"/>
                  <a:gd name="connsiteX880" fmla="*/ 7968 w 10785"/>
                  <a:gd name="connsiteY880" fmla="*/ 2581 h 10000"/>
                  <a:gd name="connsiteX881" fmla="*/ 7963 w 10785"/>
                  <a:gd name="connsiteY881" fmla="*/ 2556 h 10000"/>
                  <a:gd name="connsiteX882" fmla="*/ 7935 w 10785"/>
                  <a:gd name="connsiteY882" fmla="*/ 2547 h 10000"/>
                  <a:gd name="connsiteX883" fmla="*/ 7912 w 10785"/>
                  <a:gd name="connsiteY883" fmla="*/ 2547 h 10000"/>
                  <a:gd name="connsiteX884" fmla="*/ 7912 w 10785"/>
                  <a:gd name="connsiteY884" fmla="*/ 2556 h 10000"/>
                  <a:gd name="connsiteX885" fmla="*/ 7908 w 10785"/>
                  <a:gd name="connsiteY885" fmla="*/ 2547 h 10000"/>
                  <a:gd name="connsiteX886" fmla="*/ 7862 w 10785"/>
                  <a:gd name="connsiteY886" fmla="*/ 2547 h 10000"/>
                  <a:gd name="connsiteX887" fmla="*/ 7848 w 10785"/>
                  <a:gd name="connsiteY887" fmla="*/ 2556 h 10000"/>
                  <a:gd name="connsiteX888" fmla="*/ 7820 w 10785"/>
                  <a:gd name="connsiteY888" fmla="*/ 2547 h 10000"/>
                  <a:gd name="connsiteX889" fmla="*/ 7806 w 10785"/>
                  <a:gd name="connsiteY889" fmla="*/ 2513 h 10000"/>
                  <a:gd name="connsiteX890" fmla="*/ 7788 w 10785"/>
                  <a:gd name="connsiteY890" fmla="*/ 2513 h 10000"/>
                  <a:gd name="connsiteX891" fmla="*/ 7760 w 10785"/>
                  <a:gd name="connsiteY891" fmla="*/ 2470 h 10000"/>
                  <a:gd name="connsiteX892" fmla="*/ 7751 w 10785"/>
                  <a:gd name="connsiteY892" fmla="*/ 2470 h 10000"/>
                  <a:gd name="connsiteX893" fmla="*/ 7705 w 10785"/>
                  <a:gd name="connsiteY893" fmla="*/ 2462 h 10000"/>
                  <a:gd name="connsiteX894" fmla="*/ 7673 w 10785"/>
                  <a:gd name="connsiteY894" fmla="*/ 2419 h 10000"/>
                  <a:gd name="connsiteX895" fmla="*/ 7627 w 10785"/>
                  <a:gd name="connsiteY895" fmla="*/ 2419 h 10000"/>
                  <a:gd name="connsiteX896" fmla="*/ 7613 w 10785"/>
                  <a:gd name="connsiteY896" fmla="*/ 2410 h 10000"/>
                  <a:gd name="connsiteX897" fmla="*/ 7493 w 10785"/>
                  <a:gd name="connsiteY897" fmla="*/ 2393 h 10000"/>
                  <a:gd name="connsiteX898" fmla="*/ 7479 w 10785"/>
                  <a:gd name="connsiteY898" fmla="*/ 2385 h 10000"/>
                  <a:gd name="connsiteX899" fmla="*/ 7479 w 10785"/>
                  <a:gd name="connsiteY899" fmla="*/ 2376 h 10000"/>
                  <a:gd name="connsiteX900" fmla="*/ 7465 w 10785"/>
                  <a:gd name="connsiteY900" fmla="*/ 2359 h 10000"/>
                  <a:gd name="connsiteX901" fmla="*/ 7447 w 10785"/>
                  <a:gd name="connsiteY901" fmla="*/ 2350 h 10000"/>
                  <a:gd name="connsiteX902" fmla="*/ 7433 w 10785"/>
                  <a:gd name="connsiteY902" fmla="*/ 2376 h 10000"/>
                  <a:gd name="connsiteX903" fmla="*/ 7433 w 10785"/>
                  <a:gd name="connsiteY903" fmla="*/ 2385 h 10000"/>
                  <a:gd name="connsiteX904" fmla="*/ 7447 w 10785"/>
                  <a:gd name="connsiteY904" fmla="*/ 2410 h 10000"/>
                  <a:gd name="connsiteX905" fmla="*/ 7447 w 10785"/>
                  <a:gd name="connsiteY905" fmla="*/ 2436 h 10000"/>
                  <a:gd name="connsiteX906" fmla="*/ 7452 w 10785"/>
                  <a:gd name="connsiteY906" fmla="*/ 2462 h 10000"/>
                  <a:gd name="connsiteX907" fmla="*/ 7447 w 10785"/>
                  <a:gd name="connsiteY907" fmla="*/ 2470 h 10000"/>
                  <a:gd name="connsiteX908" fmla="*/ 7424 w 10785"/>
                  <a:gd name="connsiteY908" fmla="*/ 2513 h 10000"/>
                  <a:gd name="connsiteX909" fmla="*/ 7419 w 10785"/>
                  <a:gd name="connsiteY909" fmla="*/ 2556 h 10000"/>
                  <a:gd name="connsiteX910" fmla="*/ 7406 w 10785"/>
                  <a:gd name="connsiteY910" fmla="*/ 2624 h 10000"/>
                  <a:gd name="connsiteX911" fmla="*/ 7392 w 10785"/>
                  <a:gd name="connsiteY911" fmla="*/ 2624 h 10000"/>
                  <a:gd name="connsiteX912" fmla="*/ 7373 w 10785"/>
                  <a:gd name="connsiteY912" fmla="*/ 2650 h 10000"/>
                  <a:gd name="connsiteX913" fmla="*/ 7364 w 10785"/>
                  <a:gd name="connsiteY913" fmla="*/ 2684 h 10000"/>
                  <a:gd name="connsiteX914" fmla="*/ 7364 w 10785"/>
                  <a:gd name="connsiteY914" fmla="*/ 2692 h 10000"/>
                  <a:gd name="connsiteX915" fmla="*/ 7373 w 10785"/>
                  <a:gd name="connsiteY915" fmla="*/ 2718 h 10000"/>
                  <a:gd name="connsiteX916" fmla="*/ 7373 w 10785"/>
                  <a:gd name="connsiteY916" fmla="*/ 2744 h 10000"/>
                  <a:gd name="connsiteX917" fmla="*/ 7359 w 10785"/>
                  <a:gd name="connsiteY917" fmla="*/ 2744 h 10000"/>
                  <a:gd name="connsiteX918" fmla="*/ 7359 w 10785"/>
                  <a:gd name="connsiteY918" fmla="*/ 2795 h 10000"/>
                  <a:gd name="connsiteX919" fmla="*/ 7364 w 10785"/>
                  <a:gd name="connsiteY919" fmla="*/ 2821 h 10000"/>
                  <a:gd name="connsiteX920" fmla="*/ 7378 w 10785"/>
                  <a:gd name="connsiteY920" fmla="*/ 2846 h 10000"/>
                  <a:gd name="connsiteX921" fmla="*/ 7378 w 10785"/>
                  <a:gd name="connsiteY921" fmla="*/ 2855 h 10000"/>
                  <a:gd name="connsiteX922" fmla="*/ 7378 w 10785"/>
                  <a:gd name="connsiteY922" fmla="*/ 2880 h 10000"/>
                  <a:gd name="connsiteX923" fmla="*/ 7378 w 10785"/>
                  <a:gd name="connsiteY923" fmla="*/ 2906 h 10000"/>
                  <a:gd name="connsiteX924" fmla="*/ 7364 w 10785"/>
                  <a:gd name="connsiteY924" fmla="*/ 2906 h 10000"/>
                  <a:gd name="connsiteX925" fmla="*/ 7346 w 10785"/>
                  <a:gd name="connsiteY925" fmla="*/ 2880 h 10000"/>
                  <a:gd name="connsiteX926" fmla="*/ 7332 w 10785"/>
                  <a:gd name="connsiteY926" fmla="*/ 2915 h 10000"/>
                  <a:gd name="connsiteX927" fmla="*/ 7318 w 10785"/>
                  <a:gd name="connsiteY927" fmla="*/ 2906 h 10000"/>
                  <a:gd name="connsiteX928" fmla="*/ 7313 w 10785"/>
                  <a:gd name="connsiteY928" fmla="*/ 2915 h 10000"/>
                  <a:gd name="connsiteX929" fmla="*/ 7313 w 10785"/>
                  <a:gd name="connsiteY929" fmla="*/ 2906 h 10000"/>
                  <a:gd name="connsiteX930" fmla="*/ 7286 w 10785"/>
                  <a:gd name="connsiteY930" fmla="*/ 2940 h 10000"/>
                  <a:gd name="connsiteX931" fmla="*/ 7276 w 10785"/>
                  <a:gd name="connsiteY931" fmla="*/ 2966 h 10000"/>
                  <a:gd name="connsiteX932" fmla="*/ 7272 w 10785"/>
                  <a:gd name="connsiteY932" fmla="*/ 2983 h 10000"/>
                  <a:gd name="connsiteX933" fmla="*/ 7267 w 10785"/>
                  <a:gd name="connsiteY933" fmla="*/ 3009 h 10000"/>
                  <a:gd name="connsiteX934" fmla="*/ 7253 w 10785"/>
                  <a:gd name="connsiteY934" fmla="*/ 3009 h 10000"/>
                  <a:gd name="connsiteX935" fmla="*/ 7244 w 10785"/>
                  <a:gd name="connsiteY935" fmla="*/ 3017 h 10000"/>
                  <a:gd name="connsiteX936" fmla="*/ 7240 w 10785"/>
                  <a:gd name="connsiteY936" fmla="*/ 3009 h 10000"/>
                  <a:gd name="connsiteX937" fmla="*/ 7230 w 10785"/>
                  <a:gd name="connsiteY937" fmla="*/ 2991 h 10000"/>
                  <a:gd name="connsiteX938" fmla="*/ 7226 w 10785"/>
                  <a:gd name="connsiteY938" fmla="*/ 2983 h 10000"/>
                  <a:gd name="connsiteX939" fmla="*/ 7226 w 10785"/>
                  <a:gd name="connsiteY939" fmla="*/ 2966 h 10000"/>
                  <a:gd name="connsiteX940" fmla="*/ 7212 w 10785"/>
                  <a:gd name="connsiteY940" fmla="*/ 2957 h 10000"/>
                  <a:gd name="connsiteX941" fmla="*/ 7212 w 10785"/>
                  <a:gd name="connsiteY941" fmla="*/ 2932 h 10000"/>
                  <a:gd name="connsiteX942" fmla="*/ 7198 w 10785"/>
                  <a:gd name="connsiteY942" fmla="*/ 2915 h 10000"/>
                  <a:gd name="connsiteX943" fmla="*/ 7194 w 10785"/>
                  <a:gd name="connsiteY943" fmla="*/ 2915 h 10000"/>
                  <a:gd name="connsiteX944" fmla="*/ 7157 w 10785"/>
                  <a:gd name="connsiteY944" fmla="*/ 2880 h 10000"/>
                  <a:gd name="connsiteX945" fmla="*/ 7138 w 10785"/>
                  <a:gd name="connsiteY945" fmla="*/ 2880 h 10000"/>
                  <a:gd name="connsiteX946" fmla="*/ 7120 w 10785"/>
                  <a:gd name="connsiteY946" fmla="*/ 2872 h 10000"/>
                  <a:gd name="connsiteX947" fmla="*/ 7111 w 10785"/>
                  <a:gd name="connsiteY947" fmla="*/ 2846 h 10000"/>
                  <a:gd name="connsiteX948" fmla="*/ 7106 w 10785"/>
                  <a:gd name="connsiteY948" fmla="*/ 2846 h 10000"/>
                  <a:gd name="connsiteX949" fmla="*/ 7092 w 10785"/>
                  <a:gd name="connsiteY949" fmla="*/ 2829 h 10000"/>
                  <a:gd name="connsiteX950" fmla="*/ 7051 w 10785"/>
                  <a:gd name="connsiteY950" fmla="*/ 2829 h 10000"/>
                  <a:gd name="connsiteX951" fmla="*/ 7037 w 10785"/>
                  <a:gd name="connsiteY951" fmla="*/ 2880 h 10000"/>
                  <a:gd name="connsiteX952" fmla="*/ 7037 w 10785"/>
                  <a:gd name="connsiteY952" fmla="*/ 2906 h 10000"/>
                  <a:gd name="connsiteX953" fmla="*/ 7037 w 10785"/>
                  <a:gd name="connsiteY953" fmla="*/ 2932 h 10000"/>
                  <a:gd name="connsiteX954" fmla="*/ 7037 w 10785"/>
                  <a:gd name="connsiteY954" fmla="*/ 2940 h 10000"/>
                  <a:gd name="connsiteX955" fmla="*/ 7023 w 10785"/>
                  <a:gd name="connsiteY955" fmla="*/ 2906 h 10000"/>
                  <a:gd name="connsiteX956" fmla="*/ 7023 w 10785"/>
                  <a:gd name="connsiteY956" fmla="*/ 2915 h 10000"/>
                  <a:gd name="connsiteX957" fmla="*/ 6991 w 10785"/>
                  <a:gd name="connsiteY957" fmla="*/ 2906 h 10000"/>
                  <a:gd name="connsiteX958" fmla="*/ 6977 w 10785"/>
                  <a:gd name="connsiteY958" fmla="*/ 2915 h 10000"/>
                  <a:gd name="connsiteX959" fmla="*/ 6963 w 10785"/>
                  <a:gd name="connsiteY959" fmla="*/ 2915 h 10000"/>
                  <a:gd name="connsiteX960" fmla="*/ 6949 w 10785"/>
                  <a:gd name="connsiteY960" fmla="*/ 2872 h 10000"/>
                  <a:gd name="connsiteX961" fmla="*/ 6935 w 10785"/>
                  <a:gd name="connsiteY961" fmla="*/ 2855 h 10000"/>
                  <a:gd name="connsiteX962" fmla="*/ 6922 w 10785"/>
                  <a:gd name="connsiteY962" fmla="*/ 2803 h 10000"/>
                  <a:gd name="connsiteX963" fmla="*/ 6917 w 10785"/>
                  <a:gd name="connsiteY963" fmla="*/ 2786 h 10000"/>
                  <a:gd name="connsiteX964" fmla="*/ 6903 w 10785"/>
                  <a:gd name="connsiteY964" fmla="*/ 2709 h 10000"/>
                  <a:gd name="connsiteX965" fmla="*/ 6903 w 10785"/>
                  <a:gd name="connsiteY965" fmla="*/ 2692 h 10000"/>
                  <a:gd name="connsiteX966" fmla="*/ 6899 w 10785"/>
                  <a:gd name="connsiteY966" fmla="*/ 2709 h 10000"/>
                  <a:gd name="connsiteX967" fmla="*/ 6857 w 10785"/>
                  <a:gd name="connsiteY967" fmla="*/ 2872 h 10000"/>
                  <a:gd name="connsiteX968" fmla="*/ 6857 w 10785"/>
                  <a:gd name="connsiteY968" fmla="*/ 3009 h 10000"/>
                  <a:gd name="connsiteX969" fmla="*/ 6848 w 10785"/>
                  <a:gd name="connsiteY969" fmla="*/ 3017 h 10000"/>
                  <a:gd name="connsiteX970" fmla="*/ 6839 w 10785"/>
                  <a:gd name="connsiteY970" fmla="*/ 3068 h 10000"/>
                  <a:gd name="connsiteX971" fmla="*/ 6829 w 10785"/>
                  <a:gd name="connsiteY971" fmla="*/ 3077 h 10000"/>
                  <a:gd name="connsiteX972" fmla="*/ 6829 w 10785"/>
                  <a:gd name="connsiteY972" fmla="*/ 3128 h 10000"/>
                  <a:gd name="connsiteX973" fmla="*/ 6816 w 10785"/>
                  <a:gd name="connsiteY973" fmla="*/ 3154 h 10000"/>
                  <a:gd name="connsiteX974" fmla="*/ 6811 w 10785"/>
                  <a:gd name="connsiteY974" fmla="*/ 3179 h 10000"/>
                  <a:gd name="connsiteX975" fmla="*/ 6797 w 10785"/>
                  <a:gd name="connsiteY975" fmla="*/ 3171 h 10000"/>
                  <a:gd name="connsiteX976" fmla="*/ 6783 w 10785"/>
                  <a:gd name="connsiteY976" fmla="*/ 3103 h 10000"/>
                  <a:gd name="connsiteX977" fmla="*/ 6779 w 10785"/>
                  <a:gd name="connsiteY977" fmla="*/ 3094 h 10000"/>
                  <a:gd name="connsiteX978" fmla="*/ 6779 w 10785"/>
                  <a:gd name="connsiteY978" fmla="*/ 3120 h 10000"/>
                  <a:gd name="connsiteX979" fmla="*/ 6770 w 10785"/>
                  <a:gd name="connsiteY979" fmla="*/ 3128 h 10000"/>
                  <a:gd name="connsiteX980" fmla="*/ 6765 w 10785"/>
                  <a:gd name="connsiteY980" fmla="*/ 3103 h 10000"/>
                  <a:gd name="connsiteX981" fmla="*/ 6756 w 10785"/>
                  <a:gd name="connsiteY981" fmla="*/ 3103 h 10000"/>
                  <a:gd name="connsiteX982" fmla="*/ 6742 w 10785"/>
                  <a:gd name="connsiteY982" fmla="*/ 3103 h 10000"/>
                  <a:gd name="connsiteX983" fmla="*/ 6737 w 10785"/>
                  <a:gd name="connsiteY983" fmla="*/ 3077 h 10000"/>
                  <a:gd name="connsiteX984" fmla="*/ 6737 w 10785"/>
                  <a:gd name="connsiteY984" fmla="*/ 3068 h 10000"/>
                  <a:gd name="connsiteX985" fmla="*/ 6728 w 10785"/>
                  <a:gd name="connsiteY985" fmla="*/ 3043 h 10000"/>
                  <a:gd name="connsiteX986" fmla="*/ 6724 w 10785"/>
                  <a:gd name="connsiteY986" fmla="*/ 3051 h 10000"/>
                  <a:gd name="connsiteX987" fmla="*/ 6714 w 10785"/>
                  <a:gd name="connsiteY987" fmla="*/ 3043 h 10000"/>
                  <a:gd name="connsiteX988" fmla="*/ 6710 w 10785"/>
                  <a:gd name="connsiteY988" fmla="*/ 3034 h 10000"/>
                  <a:gd name="connsiteX989" fmla="*/ 6705 w 10785"/>
                  <a:gd name="connsiteY989" fmla="*/ 2983 h 10000"/>
                  <a:gd name="connsiteX990" fmla="*/ 6696 w 10785"/>
                  <a:gd name="connsiteY990" fmla="*/ 2966 h 10000"/>
                  <a:gd name="connsiteX991" fmla="*/ 6691 w 10785"/>
                  <a:gd name="connsiteY991" fmla="*/ 2983 h 10000"/>
                  <a:gd name="connsiteX992" fmla="*/ 6677 w 10785"/>
                  <a:gd name="connsiteY992" fmla="*/ 2897 h 10000"/>
                  <a:gd name="connsiteX993" fmla="*/ 6677 w 10785"/>
                  <a:gd name="connsiteY993" fmla="*/ 2897 h 10000"/>
                  <a:gd name="connsiteX994" fmla="*/ 6677 w 10785"/>
                  <a:gd name="connsiteY994" fmla="*/ 2872 h 10000"/>
                  <a:gd name="connsiteX995" fmla="*/ 6668 w 10785"/>
                  <a:gd name="connsiteY995" fmla="*/ 2821 h 10000"/>
                  <a:gd name="connsiteX996" fmla="*/ 6664 w 10785"/>
                  <a:gd name="connsiteY996" fmla="*/ 2829 h 10000"/>
                  <a:gd name="connsiteX997" fmla="*/ 6654 w 10785"/>
                  <a:gd name="connsiteY997" fmla="*/ 2846 h 10000"/>
                  <a:gd name="connsiteX998" fmla="*/ 6650 w 10785"/>
                  <a:gd name="connsiteY998" fmla="*/ 2829 h 10000"/>
                  <a:gd name="connsiteX999" fmla="*/ 6650 w 10785"/>
                  <a:gd name="connsiteY999" fmla="*/ 2803 h 10000"/>
                  <a:gd name="connsiteX1000" fmla="*/ 6650 w 10785"/>
                  <a:gd name="connsiteY1000" fmla="*/ 2795 h 10000"/>
                  <a:gd name="connsiteX1001" fmla="*/ 6641 w 10785"/>
                  <a:gd name="connsiteY1001" fmla="*/ 2786 h 10000"/>
                  <a:gd name="connsiteX1002" fmla="*/ 6636 w 10785"/>
                  <a:gd name="connsiteY1002" fmla="*/ 2735 h 10000"/>
                  <a:gd name="connsiteX1003" fmla="*/ 6664 w 10785"/>
                  <a:gd name="connsiteY1003" fmla="*/ 2667 h 10000"/>
                  <a:gd name="connsiteX1004" fmla="*/ 6668 w 10785"/>
                  <a:gd name="connsiteY1004" fmla="*/ 2684 h 10000"/>
                  <a:gd name="connsiteX1005" fmla="*/ 6677 w 10785"/>
                  <a:gd name="connsiteY1005" fmla="*/ 2667 h 10000"/>
                  <a:gd name="connsiteX1006" fmla="*/ 6668 w 10785"/>
                  <a:gd name="connsiteY1006" fmla="*/ 2667 h 10000"/>
                  <a:gd name="connsiteX1007" fmla="*/ 6668 w 10785"/>
                  <a:gd name="connsiteY1007" fmla="*/ 2650 h 10000"/>
                  <a:gd name="connsiteX1008" fmla="*/ 6682 w 10785"/>
                  <a:gd name="connsiteY1008" fmla="*/ 2650 h 10000"/>
                  <a:gd name="connsiteX1009" fmla="*/ 6691 w 10785"/>
                  <a:gd name="connsiteY1009" fmla="*/ 2624 h 10000"/>
                  <a:gd name="connsiteX1010" fmla="*/ 6682 w 10785"/>
                  <a:gd name="connsiteY1010" fmla="*/ 2632 h 10000"/>
                  <a:gd name="connsiteX1011" fmla="*/ 6682 w 10785"/>
                  <a:gd name="connsiteY1011" fmla="*/ 2624 h 10000"/>
                  <a:gd name="connsiteX1012" fmla="*/ 6691 w 10785"/>
                  <a:gd name="connsiteY1012" fmla="*/ 2607 h 10000"/>
                  <a:gd name="connsiteX1013" fmla="*/ 6691 w 10785"/>
                  <a:gd name="connsiteY1013" fmla="*/ 2598 h 10000"/>
                  <a:gd name="connsiteX1014" fmla="*/ 6691 w 10785"/>
                  <a:gd name="connsiteY1014" fmla="*/ 2581 h 10000"/>
                  <a:gd name="connsiteX1015" fmla="*/ 6696 w 10785"/>
                  <a:gd name="connsiteY1015" fmla="*/ 2530 h 10000"/>
                  <a:gd name="connsiteX1016" fmla="*/ 6677 w 10785"/>
                  <a:gd name="connsiteY1016" fmla="*/ 2513 h 10000"/>
                  <a:gd name="connsiteX1017" fmla="*/ 6677 w 10785"/>
                  <a:gd name="connsiteY1017" fmla="*/ 2496 h 10000"/>
                  <a:gd name="connsiteX1018" fmla="*/ 6682 w 10785"/>
                  <a:gd name="connsiteY1018" fmla="*/ 2470 h 10000"/>
                  <a:gd name="connsiteX1019" fmla="*/ 6668 w 10785"/>
                  <a:gd name="connsiteY1019" fmla="*/ 2462 h 10000"/>
                  <a:gd name="connsiteX1020" fmla="*/ 6677 w 10785"/>
                  <a:gd name="connsiteY1020" fmla="*/ 2436 h 10000"/>
                  <a:gd name="connsiteX1021" fmla="*/ 6682 w 10785"/>
                  <a:gd name="connsiteY1021" fmla="*/ 2419 h 10000"/>
                  <a:gd name="connsiteX1022" fmla="*/ 6682 w 10785"/>
                  <a:gd name="connsiteY1022" fmla="*/ 2393 h 10000"/>
                  <a:gd name="connsiteX1023" fmla="*/ 6682 w 10785"/>
                  <a:gd name="connsiteY1023" fmla="*/ 2385 h 10000"/>
                  <a:gd name="connsiteX1024" fmla="*/ 6682 w 10785"/>
                  <a:gd name="connsiteY1024" fmla="*/ 2385 h 10000"/>
                  <a:gd name="connsiteX1025" fmla="*/ 6677 w 10785"/>
                  <a:gd name="connsiteY1025" fmla="*/ 2376 h 10000"/>
                  <a:gd name="connsiteX1026" fmla="*/ 6682 w 10785"/>
                  <a:gd name="connsiteY1026" fmla="*/ 2359 h 10000"/>
                  <a:gd name="connsiteX1027" fmla="*/ 6677 w 10785"/>
                  <a:gd name="connsiteY1027" fmla="*/ 2333 h 10000"/>
                  <a:gd name="connsiteX1028" fmla="*/ 6691 w 10785"/>
                  <a:gd name="connsiteY1028" fmla="*/ 2333 h 10000"/>
                  <a:gd name="connsiteX1029" fmla="*/ 6691 w 10785"/>
                  <a:gd name="connsiteY1029" fmla="*/ 2325 h 10000"/>
                  <a:gd name="connsiteX1030" fmla="*/ 6691 w 10785"/>
                  <a:gd name="connsiteY1030" fmla="*/ 2308 h 10000"/>
                  <a:gd name="connsiteX1031" fmla="*/ 6691 w 10785"/>
                  <a:gd name="connsiteY1031" fmla="*/ 2299 h 10000"/>
                  <a:gd name="connsiteX1032" fmla="*/ 6691 w 10785"/>
                  <a:gd name="connsiteY1032" fmla="*/ 2282 h 10000"/>
                  <a:gd name="connsiteX1033" fmla="*/ 6691 w 10785"/>
                  <a:gd name="connsiteY1033" fmla="*/ 2274 h 10000"/>
                  <a:gd name="connsiteX1034" fmla="*/ 6668 w 10785"/>
                  <a:gd name="connsiteY1034" fmla="*/ 2248 h 10000"/>
                  <a:gd name="connsiteX1035" fmla="*/ 6664 w 10785"/>
                  <a:gd name="connsiteY1035" fmla="*/ 2222 h 10000"/>
                  <a:gd name="connsiteX1036" fmla="*/ 6654 w 10785"/>
                  <a:gd name="connsiteY1036" fmla="*/ 2214 h 10000"/>
                  <a:gd name="connsiteX1037" fmla="*/ 6654 w 10785"/>
                  <a:gd name="connsiteY1037" fmla="*/ 2188 h 10000"/>
                  <a:gd name="connsiteX1038" fmla="*/ 6622 w 10785"/>
                  <a:gd name="connsiteY1038" fmla="*/ 2162 h 10000"/>
                  <a:gd name="connsiteX1039" fmla="*/ 6631 w 10785"/>
                  <a:gd name="connsiteY1039" fmla="*/ 2145 h 10000"/>
                  <a:gd name="connsiteX1040" fmla="*/ 6622 w 10785"/>
                  <a:gd name="connsiteY1040" fmla="*/ 2120 h 10000"/>
                  <a:gd name="connsiteX1041" fmla="*/ 6608 w 10785"/>
                  <a:gd name="connsiteY1041" fmla="*/ 2120 h 10000"/>
                  <a:gd name="connsiteX1042" fmla="*/ 6604 w 10785"/>
                  <a:gd name="connsiteY1042" fmla="*/ 2111 h 10000"/>
                  <a:gd name="connsiteX1043" fmla="*/ 6608 w 10785"/>
                  <a:gd name="connsiteY1043" fmla="*/ 2111 h 10000"/>
                  <a:gd name="connsiteX1044" fmla="*/ 6604 w 10785"/>
                  <a:gd name="connsiteY1044" fmla="*/ 2085 h 10000"/>
                  <a:gd name="connsiteX1045" fmla="*/ 6581 w 10785"/>
                  <a:gd name="connsiteY1045" fmla="*/ 2077 h 10000"/>
                  <a:gd name="connsiteX1046" fmla="*/ 6571 w 10785"/>
                  <a:gd name="connsiteY1046" fmla="*/ 2085 h 10000"/>
                  <a:gd name="connsiteX1047" fmla="*/ 6548 w 10785"/>
                  <a:gd name="connsiteY1047" fmla="*/ 2077 h 10000"/>
                  <a:gd name="connsiteX1048" fmla="*/ 6530 w 10785"/>
                  <a:gd name="connsiteY1048" fmla="*/ 2060 h 10000"/>
                  <a:gd name="connsiteX1049" fmla="*/ 6521 w 10785"/>
                  <a:gd name="connsiteY1049" fmla="*/ 2060 h 10000"/>
                  <a:gd name="connsiteX1050" fmla="*/ 6521 w 10785"/>
                  <a:gd name="connsiteY1050" fmla="*/ 2085 h 10000"/>
                  <a:gd name="connsiteX1051" fmla="*/ 6516 w 10785"/>
                  <a:gd name="connsiteY1051" fmla="*/ 2085 h 10000"/>
                  <a:gd name="connsiteX1052" fmla="*/ 6502 w 10785"/>
                  <a:gd name="connsiteY1052" fmla="*/ 2111 h 10000"/>
                  <a:gd name="connsiteX1053" fmla="*/ 6498 w 10785"/>
                  <a:gd name="connsiteY1053" fmla="*/ 2111 h 10000"/>
                  <a:gd name="connsiteX1054" fmla="*/ 6498 w 10785"/>
                  <a:gd name="connsiteY1054" fmla="*/ 2103 h 10000"/>
                  <a:gd name="connsiteX1055" fmla="*/ 6475 w 10785"/>
                  <a:gd name="connsiteY1055" fmla="*/ 2051 h 10000"/>
                  <a:gd name="connsiteX1056" fmla="*/ 6470 w 10785"/>
                  <a:gd name="connsiteY1056" fmla="*/ 2060 h 10000"/>
                  <a:gd name="connsiteX1057" fmla="*/ 6456 w 10785"/>
                  <a:gd name="connsiteY1057" fmla="*/ 2051 h 10000"/>
                  <a:gd name="connsiteX1058" fmla="*/ 6447 w 10785"/>
                  <a:gd name="connsiteY1058" fmla="*/ 2051 h 10000"/>
                  <a:gd name="connsiteX1059" fmla="*/ 6433 w 10785"/>
                  <a:gd name="connsiteY1059" fmla="*/ 2026 h 10000"/>
                  <a:gd name="connsiteX1060" fmla="*/ 6433 w 10785"/>
                  <a:gd name="connsiteY1060" fmla="*/ 2034 h 10000"/>
                  <a:gd name="connsiteX1061" fmla="*/ 6429 w 10785"/>
                  <a:gd name="connsiteY1061" fmla="*/ 2026 h 10000"/>
                  <a:gd name="connsiteX1062" fmla="*/ 6424 w 10785"/>
                  <a:gd name="connsiteY1062" fmla="*/ 2034 h 10000"/>
                  <a:gd name="connsiteX1063" fmla="*/ 6410 w 10785"/>
                  <a:gd name="connsiteY1063" fmla="*/ 2026 h 10000"/>
                  <a:gd name="connsiteX1064" fmla="*/ 6410 w 10785"/>
                  <a:gd name="connsiteY1064" fmla="*/ 1991 h 10000"/>
                  <a:gd name="connsiteX1065" fmla="*/ 6401 w 10785"/>
                  <a:gd name="connsiteY1065" fmla="*/ 1991 h 10000"/>
                  <a:gd name="connsiteX1066" fmla="*/ 6396 w 10785"/>
                  <a:gd name="connsiteY1066" fmla="*/ 2000 h 10000"/>
                  <a:gd name="connsiteX1067" fmla="*/ 6382 w 10785"/>
                  <a:gd name="connsiteY1067" fmla="*/ 1966 h 10000"/>
                  <a:gd name="connsiteX1068" fmla="*/ 6373 w 10785"/>
                  <a:gd name="connsiteY1068" fmla="*/ 1974 h 10000"/>
                  <a:gd name="connsiteX1069" fmla="*/ 6369 w 10785"/>
                  <a:gd name="connsiteY1069" fmla="*/ 1966 h 10000"/>
                  <a:gd name="connsiteX1070" fmla="*/ 6341 w 10785"/>
                  <a:gd name="connsiteY1070" fmla="*/ 1949 h 10000"/>
                  <a:gd name="connsiteX1071" fmla="*/ 6327 w 10785"/>
                  <a:gd name="connsiteY1071" fmla="*/ 1923 h 10000"/>
                  <a:gd name="connsiteX1072" fmla="*/ 6323 w 10785"/>
                  <a:gd name="connsiteY1072" fmla="*/ 1923 h 10000"/>
                  <a:gd name="connsiteX1073" fmla="*/ 6323 w 10785"/>
                  <a:gd name="connsiteY1073" fmla="*/ 1966 h 10000"/>
                  <a:gd name="connsiteX1074" fmla="*/ 6323 w 10785"/>
                  <a:gd name="connsiteY1074" fmla="*/ 1991 h 10000"/>
                  <a:gd name="connsiteX1075" fmla="*/ 6313 w 10785"/>
                  <a:gd name="connsiteY1075" fmla="*/ 1991 h 10000"/>
                  <a:gd name="connsiteX1076" fmla="*/ 6300 w 10785"/>
                  <a:gd name="connsiteY1076" fmla="*/ 1991 h 10000"/>
                  <a:gd name="connsiteX1077" fmla="*/ 6290 w 10785"/>
                  <a:gd name="connsiteY1077" fmla="*/ 1949 h 10000"/>
                  <a:gd name="connsiteX1078" fmla="*/ 6276 w 10785"/>
                  <a:gd name="connsiteY1078" fmla="*/ 2103 h 10000"/>
                  <a:gd name="connsiteX1079" fmla="*/ 6281 w 10785"/>
                  <a:gd name="connsiteY1079" fmla="*/ 2103 h 10000"/>
                  <a:gd name="connsiteX1080" fmla="*/ 6276 w 10785"/>
                  <a:gd name="connsiteY1080" fmla="*/ 2111 h 10000"/>
                  <a:gd name="connsiteX1081" fmla="*/ 6276 w 10785"/>
                  <a:gd name="connsiteY1081" fmla="*/ 2120 h 10000"/>
                  <a:gd name="connsiteX1082" fmla="*/ 6295 w 10785"/>
                  <a:gd name="connsiteY1082" fmla="*/ 2239 h 10000"/>
                  <a:gd name="connsiteX1083" fmla="*/ 6290 w 10785"/>
                  <a:gd name="connsiteY1083" fmla="*/ 2248 h 10000"/>
                  <a:gd name="connsiteX1084" fmla="*/ 6281 w 10785"/>
                  <a:gd name="connsiteY1084" fmla="*/ 2274 h 10000"/>
                  <a:gd name="connsiteX1085" fmla="*/ 6249 w 10785"/>
                  <a:gd name="connsiteY1085" fmla="*/ 2274 h 10000"/>
                  <a:gd name="connsiteX1086" fmla="*/ 6226 w 10785"/>
                  <a:gd name="connsiteY1086" fmla="*/ 2308 h 10000"/>
                  <a:gd name="connsiteX1087" fmla="*/ 6221 w 10785"/>
                  <a:gd name="connsiteY1087" fmla="*/ 2299 h 10000"/>
                  <a:gd name="connsiteX1088" fmla="*/ 6221 w 10785"/>
                  <a:gd name="connsiteY1088" fmla="*/ 2308 h 10000"/>
                  <a:gd name="connsiteX1089" fmla="*/ 6217 w 10785"/>
                  <a:gd name="connsiteY1089" fmla="*/ 2299 h 10000"/>
                  <a:gd name="connsiteX1090" fmla="*/ 6194 w 10785"/>
                  <a:gd name="connsiteY1090" fmla="*/ 2308 h 10000"/>
                  <a:gd name="connsiteX1091" fmla="*/ 6180 w 10785"/>
                  <a:gd name="connsiteY1091" fmla="*/ 2299 h 10000"/>
                  <a:gd name="connsiteX1092" fmla="*/ 6143 w 10785"/>
                  <a:gd name="connsiteY1092" fmla="*/ 2308 h 10000"/>
                  <a:gd name="connsiteX1093" fmla="*/ 6134 w 10785"/>
                  <a:gd name="connsiteY1093" fmla="*/ 2325 h 10000"/>
                  <a:gd name="connsiteX1094" fmla="*/ 6115 w 10785"/>
                  <a:gd name="connsiteY1094" fmla="*/ 2282 h 10000"/>
                  <a:gd name="connsiteX1095" fmla="*/ 6069 w 10785"/>
                  <a:gd name="connsiteY1095" fmla="*/ 2274 h 10000"/>
                  <a:gd name="connsiteX1096" fmla="*/ 6069 w 10785"/>
                  <a:gd name="connsiteY1096" fmla="*/ 2282 h 10000"/>
                  <a:gd name="connsiteX1097" fmla="*/ 6060 w 10785"/>
                  <a:gd name="connsiteY1097" fmla="*/ 2299 h 10000"/>
                  <a:gd name="connsiteX1098" fmla="*/ 5972 w 10785"/>
                  <a:gd name="connsiteY1098" fmla="*/ 2214 h 10000"/>
                  <a:gd name="connsiteX1099" fmla="*/ 5968 w 10785"/>
                  <a:gd name="connsiteY1099" fmla="*/ 2197 h 10000"/>
                  <a:gd name="connsiteX1100" fmla="*/ 5968 w 10785"/>
                  <a:gd name="connsiteY1100" fmla="*/ 2171 h 10000"/>
                  <a:gd name="connsiteX1101" fmla="*/ 5968 w 10785"/>
                  <a:gd name="connsiteY1101" fmla="*/ 2162 h 10000"/>
                  <a:gd name="connsiteX1102" fmla="*/ 5968 w 10785"/>
                  <a:gd name="connsiteY1102" fmla="*/ 2120 h 10000"/>
                  <a:gd name="connsiteX1103" fmla="*/ 5968 w 10785"/>
                  <a:gd name="connsiteY1103" fmla="*/ 2111 h 10000"/>
                  <a:gd name="connsiteX1104" fmla="*/ 5972 w 10785"/>
                  <a:gd name="connsiteY1104" fmla="*/ 2103 h 10000"/>
                  <a:gd name="connsiteX1105" fmla="*/ 5986 w 10785"/>
                  <a:gd name="connsiteY1105" fmla="*/ 2103 h 10000"/>
                  <a:gd name="connsiteX1106" fmla="*/ 5986 w 10785"/>
                  <a:gd name="connsiteY1106" fmla="*/ 2085 h 10000"/>
                  <a:gd name="connsiteX1107" fmla="*/ 5995 w 10785"/>
                  <a:gd name="connsiteY1107" fmla="*/ 2085 h 10000"/>
                  <a:gd name="connsiteX1108" fmla="*/ 5995 w 10785"/>
                  <a:gd name="connsiteY1108" fmla="*/ 2077 h 10000"/>
                  <a:gd name="connsiteX1109" fmla="*/ 5986 w 10785"/>
                  <a:gd name="connsiteY1109" fmla="*/ 2060 h 10000"/>
                  <a:gd name="connsiteX1110" fmla="*/ 5954 w 10785"/>
                  <a:gd name="connsiteY1110" fmla="*/ 2060 h 10000"/>
                  <a:gd name="connsiteX1111" fmla="*/ 5940 w 10785"/>
                  <a:gd name="connsiteY1111" fmla="*/ 2051 h 10000"/>
                  <a:gd name="connsiteX1112" fmla="*/ 5922 w 10785"/>
                  <a:gd name="connsiteY1112" fmla="*/ 2060 h 10000"/>
                  <a:gd name="connsiteX1113" fmla="*/ 5885 w 10785"/>
                  <a:gd name="connsiteY1113" fmla="*/ 2051 h 10000"/>
                  <a:gd name="connsiteX1114" fmla="*/ 5876 w 10785"/>
                  <a:gd name="connsiteY1114" fmla="*/ 2026 h 10000"/>
                  <a:gd name="connsiteX1115" fmla="*/ 5862 w 10785"/>
                  <a:gd name="connsiteY1115" fmla="*/ 2026 h 10000"/>
                  <a:gd name="connsiteX1116" fmla="*/ 5848 w 10785"/>
                  <a:gd name="connsiteY1116" fmla="*/ 2026 h 10000"/>
                  <a:gd name="connsiteX1117" fmla="*/ 5825 w 10785"/>
                  <a:gd name="connsiteY1117" fmla="*/ 2026 h 10000"/>
                  <a:gd name="connsiteX1118" fmla="*/ 5788 w 10785"/>
                  <a:gd name="connsiteY1118" fmla="*/ 1991 h 10000"/>
                  <a:gd name="connsiteX1119" fmla="*/ 5760 w 10785"/>
                  <a:gd name="connsiteY1119" fmla="*/ 2000 h 10000"/>
                  <a:gd name="connsiteX1120" fmla="*/ 5760 w 10785"/>
                  <a:gd name="connsiteY1120" fmla="*/ 2026 h 10000"/>
                  <a:gd name="connsiteX1121" fmla="*/ 5714 w 10785"/>
                  <a:gd name="connsiteY1121" fmla="*/ 2051 h 10000"/>
                  <a:gd name="connsiteX1122" fmla="*/ 5687 w 10785"/>
                  <a:gd name="connsiteY1122" fmla="*/ 2034 h 10000"/>
                  <a:gd name="connsiteX1123" fmla="*/ 5645 w 10785"/>
                  <a:gd name="connsiteY1123" fmla="*/ 2077 h 10000"/>
                  <a:gd name="connsiteX1124" fmla="*/ 5664 w 10785"/>
                  <a:gd name="connsiteY1124" fmla="*/ 2120 h 10000"/>
                  <a:gd name="connsiteX1125" fmla="*/ 5664 w 10785"/>
                  <a:gd name="connsiteY1125" fmla="*/ 2162 h 10000"/>
                  <a:gd name="connsiteX1126" fmla="*/ 5631 w 10785"/>
                  <a:gd name="connsiteY1126" fmla="*/ 2197 h 10000"/>
                  <a:gd name="connsiteX1127" fmla="*/ 5618 w 10785"/>
                  <a:gd name="connsiteY1127" fmla="*/ 2188 h 10000"/>
                  <a:gd name="connsiteX1128" fmla="*/ 5618 w 10785"/>
                  <a:gd name="connsiteY1128" fmla="*/ 2171 h 10000"/>
                  <a:gd name="connsiteX1129" fmla="*/ 5641 w 10785"/>
                  <a:gd name="connsiteY1129" fmla="*/ 2171 h 10000"/>
                  <a:gd name="connsiteX1130" fmla="*/ 5641 w 10785"/>
                  <a:gd name="connsiteY1130" fmla="*/ 2162 h 10000"/>
                  <a:gd name="connsiteX1131" fmla="*/ 5627 w 10785"/>
                  <a:gd name="connsiteY1131" fmla="*/ 2145 h 10000"/>
                  <a:gd name="connsiteX1132" fmla="*/ 5627 w 10785"/>
                  <a:gd name="connsiteY1132" fmla="*/ 2120 h 10000"/>
                  <a:gd name="connsiteX1133" fmla="*/ 5618 w 10785"/>
                  <a:gd name="connsiteY1133" fmla="*/ 2111 h 10000"/>
                  <a:gd name="connsiteX1134" fmla="*/ 5631 w 10785"/>
                  <a:gd name="connsiteY1134" fmla="*/ 2051 h 10000"/>
                  <a:gd name="connsiteX1135" fmla="*/ 5631 w 10785"/>
                  <a:gd name="connsiteY1135" fmla="*/ 2026 h 10000"/>
                  <a:gd name="connsiteX1136" fmla="*/ 5627 w 10785"/>
                  <a:gd name="connsiteY1136" fmla="*/ 1991 h 10000"/>
                  <a:gd name="connsiteX1137" fmla="*/ 5618 w 10785"/>
                  <a:gd name="connsiteY1137" fmla="*/ 1974 h 10000"/>
                  <a:gd name="connsiteX1138" fmla="*/ 5618 w 10785"/>
                  <a:gd name="connsiteY1138" fmla="*/ 1940 h 10000"/>
                  <a:gd name="connsiteX1139" fmla="*/ 5594 w 10785"/>
                  <a:gd name="connsiteY1139" fmla="*/ 1855 h 10000"/>
                  <a:gd name="connsiteX1140" fmla="*/ 5599 w 10785"/>
                  <a:gd name="connsiteY1140" fmla="*/ 1915 h 10000"/>
                  <a:gd name="connsiteX1141" fmla="*/ 5599 w 10785"/>
                  <a:gd name="connsiteY1141" fmla="*/ 1949 h 10000"/>
                  <a:gd name="connsiteX1142" fmla="*/ 5594 w 10785"/>
                  <a:gd name="connsiteY1142" fmla="*/ 1991 h 10000"/>
                  <a:gd name="connsiteX1143" fmla="*/ 5571 w 10785"/>
                  <a:gd name="connsiteY1143" fmla="*/ 2000 h 10000"/>
                  <a:gd name="connsiteX1144" fmla="*/ 5530 w 10785"/>
                  <a:gd name="connsiteY1144" fmla="*/ 1991 h 10000"/>
                  <a:gd name="connsiteX1145" fmla="*/ 5525 w 10785"/>
                  <a:gd name="connsiteY1145" fmla="*/ 2000 h 10000"/>
                  <a:gd name="connsiteX1146" fmla="*/ 5521 w 10785"/>
                  <a:gd name="connsiteY1146" fmla="*/ 1991 h 10000"/>
                  <a:gd name="connsiteX1147" fmla="*/ 5498 w 10785"/>
                  <a:gd name="connsiteY1147" fmla="*/ 1949 h 10000"/>
                  <a:gd name="connsiteX1148" fmla="*/ 5493 w 10785"/>
                  <a:gd name="connsiteY1148" fmla="*/ 1889 h 10000"/>
                  <a:gd name="connsiteX1149" fmla="*/ 5493 w 10785"/>
                  <a:gd name="connsiteY1149" fmla="*/ 1863 h 10000"/>
                  <a:gd name="connsiteX1150" fmla="*/ 5498 w 10785"/>
                  <a:gd name="connsiteY1150" fmla="*/ 1889 h 10000"/>
                  <a:gd name="connsiteX1151" fmla="*/ 5512 w 10785"/>
                  <a:gd name="connsiteY1151" fmla="*/ 1855 h 10000"/>
                  <a:gd name="connsiteX1152" fmla="*/ 5512 w 10785"/>
                  <a:gd name="connsiteY1152" fmla="*/ 1838 h 10000"/>
                  <a:gd name="connsiteX1153" fmla="*/ 5479 w 10785"/>
                  <a:gd name="connsiteY1153" fmla="*/ 1855 h 10000"/>
                  <a:gd name="connsiteX1154" fmla="*/ 5470 w 10785"/>
                  <a:gd name="connsiteY1154" fmla="*/ 1872 h 10000"/>
                  <a:gd name="connsiteX1155" fmla="*/ 5470 w 10785"/>
                  <a:gd name="connsiteY1155" fmla="*/ 1889 h 10000"/>
                  <a:gd name="connsiteX1156" fmla="*/ 5465 w 10785"/>
                  <a:gd name="connsiteY1156" fmla="*/ 1897 h 10000"/>
                  <a:gd name="connsiteX1157" fmla="*/ 5456 w 10785"/>
                  <a:gd name="connsiteY1157" fmla="*/ 1872 h 10000"/>
                  <a:gd name="connsiteX1158" fmla="*/ 5447 w 10785"/>
                  <a:gd name="connsiteY1158" fmla="*/ 1872 h 10000"/>
                  <a:gd name="connsiteX1159" fmla="*/ 5433 w 10785"/>
                  <a:gd name="connsiteY1159" fmla="*/ 1855 h 10000"/>
                  <a:gd name="connsiteX1160" fmla="*/ 5396 w 10785"/>
                  <a:gd name="connsiteY1160" fmla="*/ 1863 h 10000"/>
                  <a:gd name="connsiteX1161" fmla="*/ 5396 w 10785"/>
                  <a:gd name="connsiteY1161" fmla="*/ 1897 h 10000"/>
                  <a:gd name="connsiteX1162" fmla="*/ 5378 w 10785"/>
                  <a:gd name="connsiteY1162" fmla="*/ 1949 h 10000"/>
                  <a:gd name="connsiteX1163" fmla="*/ 5378 w 10785"/>
                  <a:gd name="connsiteY1163" fmla="*/ 1966 h 10000"/>
                  <a:gd name="connsiteX1164" fmla="*/ 5392 w 10785"/>
                  <a:gd name="connsiteY1164" fmla="*/ 2026 h 10000"/>
                  <a:gd name="connsiteX1165" fmla="*/ 5396 w 10785"/>
                  <a:gd name="connsiteY1165" fmla="*/ 2026 h 10000"/>
                  <a:gd name="connsiteX1166" fmla="*/ 5392 w 10785"/>
                  <a:gd name="connsiteY1166" fmla="*/ 2009 h 10000"/>
                  <a:gd name="connsiteX1167" fmla="*/ 5392 w 10785"/>
                  <a:gd name="connsiteY1167" fmla="*/ 2000 h 10000"/>
                  <a:gd name="connsiteX1168" fmla="*/ 5396 w 10785"/>
                  <a:gd name="connsiteY1168" fmla="*/ 2009 h 10000"/>
                  <a:gd name="connsiteX1169" fmla="*/ 5424 w 10785"/>
                  <a:gd name="connsiteY1169" fmla="*/ 2009 h 10000"/>
                  <a:gd name="connsiteX1170" fmla="*/ 5433 w 10785"/>
                  <a:gd name="connsiteY1170" fmla="*/ 1991 h 10000"/>
                  <a:gd name="connsiteX1171" fmla="*/ 5447 w 10785"/>
                  <a:gd name="connsiteY1171" fmla="*/ 1974 h 10000"/>
                  <a:gd name="connsiteX1172" fmla="*/ 5452 w 10785"/>
                  <a:gd name="connsiteY1172" fmla="*/ 1966 h 10000"/>
                  <a:gd name="connsiteX1173" fmla="*/ 5456 w 10785"/>
                  <a:gd name="connsiteY1173" fmla="*/ 1966 h 10000"/>
                  <a:gd name="connsiteX1174" fmla="*/ 5465 w 10785"/>
                  <a:gd name="connsiteY1174" fmla="*/ 2009 h 10000"/>
                  <a:gd name="connsiteX1175" fmla="*/ 5433 w 10785"/>
                  <a:gd name="connsiteY1175" fmla="*/ 2034 h 10000"/>
                  <a:gd name="connsiteX1176" fmla="*/ 5424 w 10785"/>
                  <a:gd name="connsiteY1176" fmla="*/ 2060 h 10000"/>
                  <a:gd name="connsiteX1177" fmla="*/ 5419 w 10785"/>
                  <a:gd name="connsiteY1177" fmla="*/ 2060 h 10000"/>
                  <a:gd name="connsiteX1178" fmla="*/ 5392 w 10785"/>
                  <a:gd name="connsiteY1178" fmla="*/ 2111 h 10000"/>
                  <a:gd name="connsiteX1179" fmla="*/ 5378 w 10785"/>
                  <a:gd name="connsiteY1179" fmla="*/ 2111 h 10000"/>
                  <a:gd name="connsiteX1180" fmla="*/ 5350 w 10785"/>
                  <a:gd name="connsiteY1180" fmla="*/ 2060 h 10000"/>
                  <a:gd name="connsiteX1181" fmla="*/ 5373 w 10785"/>
                  <a:gd name="connsiteY1181" fmla="*/ 2111 h 10000"/>
                  <a:gd name="connsiteX1182" fmla="*/ 5364 w 10785"/>
                  <a:gd name="connsiteY1182" fmla="*/ 2111 h 10000"/>
                  <a:gd name="connsiteX1183" fmla="*/ 5359 w 10785"/>
                  <a:gd name="connsiteY1183" fmla="*/ 2103 h 10000"/>
                  <a:gd name="connsiteX1184" fmla="*/ 5359 w 10785"/>
                  <a:gd name="connsiteY1184" fmla="*/ 2120 h 10000"/>
                  <a:gd name="connsiteX1185" fmla="*/ 5359 w 10785"/>
                  <a:gd name="connsiteY1185" fmla="*/ 2137 h 10000"/>
                  <a:gd name="connsiteX1186" fmla="*/ 5313 w 10785"/>
                  <a:gd name="connsiteY1186" fmla="*/ 2162 h 10000"/>
                  <a:gd name="connsiteX1187" fmla="*/ 5300 w 10785"/>
                  <a:gd name="connsiteY1187" fmla="*/ 2162 h 10000"/>
                  <a:gd name="connsiteX1188" fmla="*/ 5300 w 10785"/>
                  <a:gd name="connsiteY1188" fmla="*/ 2171 h 10000"/>
                  <a:gd name="connsiteX1189" fmla="*/ 5300 w 10785"/>
                  <a:gd name="connsiteY1189" fmla="*/ 2197 h 10000"/>
                  <a:gd name="connsiteX1190" fmla="*/ 5276 w 10785"/>
                  <a:gd name="connsiteY1190" fmla="*/ 2188 h 10000"/>
                  <a:gd name="connsiteX1191" fmla="*/ 5249 w 10785"/>
                  <a:gd name="connsiteY1191" fmla="*/ 2222 h 10000"/>
                  <a:gd name="connsiteX1192" fmla="*/ 5249 w 10785"/>
                  <a:gd name="connsiteY1192" fmla="*/ 2222 h 10000"/>
                  <a:gd name="connsiteX1193" fmla="*/ 5217 w 10785"/>
                  <a:gd name="connsiteY1193" fmla="*/ 2214 h 10000"/>
                  <a:gd name="connsiteX1194" fmla="*/ 5203 w 10785"/>
                  <a:gd name="connsiteY1194" fmla="*/ 2239 h 10000"/>
                  <a:gd name="connsiteX1195" fmla="*/ 5171 w 10785"/>
                  <a:gd name="connsiteY1195" fmla="*/ 2214 h 10000"/>
                  <a:gd name="connsiteX1196" fmla="*/ 5157 w 10785"/>
                  <a:gd name="connsiteY1196" fmla="*/ 2239 h 10000"/>
                  <a:gd name="connsiteX1197" fmla="*/ 5166 w 10785"/>
                  <a:gd name="connsiteY1197" fmla="*/ 2256 h 10000"/>
                  <a:gd name="connsiteX1198" fmla="*/ 5171 w 10785"/>
                  <a:gd name="connsiteY1198" fmla="*/ 2308 h 10000"/>
                  <a:gd name="connsiteX1199" fmla="*/ 5212 w 10785"/>
                  <a:gd name="connsiteY1199" fmla="*/ 2350 h 10000"/>
                  <a:gd name="connsiteX1200" fmla="*/ 5203 w 10785"/>
                  <a:gd name="connsiteY1200" fmla="*/ 2350 h 10000"/>
                  <a:gd name="connsiteX1201" fmla="*/ 5166 w 10785"/>
                  <a:gd name="connsiteY1201" fmla="*/ 2325 h 10000"/>
                  <a:gd name="connsiteX1202" fmla="*/ 5152 w 10785"/>
                  <a:gd name="connsiteY1202" fmla="*/ 2308 h 10000"/>
                  <a:gd name="connsiteX1203" fmla="*/ 5143 w 10785"/>
                  <a:gd name="connsiteY1203" fmla="*/ 2333 h 10000"/>
                  <a:gd name="connsiteX1204" fmla="*/ 5138 w 10785"/>
                  <a:gd name="connsiteY1204" fmla="*/ 2333 h 10000"/>
                  <a:gd name="connsiteX1205" fmla="*/ 5124 w 10785"/>
                  <a:gd name="connsiteY1205" fmla="*/ 2376 h 10000"/>
                  <a:gd name="connsiteX1206" fmla="*/ 5115 w 10785"/>
                  <a:gd name="connsiteY1206" fmla="*/ 2385 h 10000"/>
                  <a:gd name="connsiteX1207" fmla="*/ 5106 w 10785"/>
                  <a:gd name="connsiteY1207" fmla="*/ 2385 h 10000"/>
                  <a:gd name="connsiteX1208" fmla="*/ 5055 w 10785"/>
                  <a:gd name="connsiteY1208" fmla="*/ 2470 h 10000"/>
                  <a:gd name="connsiteX1209" fmla="*/ 5065 w 10785"/>
                  <a:gd name="connsiteY1209" fmla="*/ 2462 h 10000"/>
                  <a:gd name="connsiteX1210" fmla="*/ 5055 w 10785"/>
                  <a:gd name="connsiteY1210" fmla="*/ 2444 h 10000"/>
                  <a:gd name="connsiteX1211" fmla="*/ 5041 w 10785"/>
                  <a:gd name="connsiteY1211" fmla="*/ 2462 h 10000"/>
                  <a:gd name="connsiteX1212" fmla="*/ 5037 w 10785"/>
                  <a:gd name="connsiteY1212" fmla="*/ 2470 h 10000"/>
                  <a:gd name="connsiteX1213" fmla="*/ 5032 w 10785"/>
                  <a:gd name="connsiteY1213" fmla="*/ 2470 h 10000"/>
                  <a:gd name="connsiteX1214" fmla="*/ 5032 w 10785"/>
                  <a:gd name="connsiteY1214" fmla="*/ 2444 h 10000"/>
                  <a:gd name="connsiteX1215" fmla="*/ 5055 w 10785"/>
                  <a:gd name="connsiteY1215" fmla="*/ 2410 h 10000"/>
                  <a:gd name="connsiteX1216" fmla="*/ 5065 w 10785"/>
                  <a:gd name="connsiteY1216" fmla="*/ 2393 h 10000"/>
                  <a:gd name="connsiteX1217" fmla="*/ 5069 w 10785"/>
                  <a:gd name="connsiteY1217" fmla="*/ 2385 h 10000"/>
                  <a:gd name="connsiteX1218" fmla="*/ 5083 w 10785"/>
                  <a:gd name="connsiteY1218" fmla="*/ 2376 h 10000"/>
                  <a:gd name="connsiteX1219" fmla="*/ 5097 w 10785"/>
                  <a:gd name="connsiteY1219" fmla="*/ 2376 h 10000"/>
                  <a:gd name="connsiteX1220" fmla="*/ 5124 w 10785"/>
                  <a:gd name="connsiteY1220" fmla="*/ 2325 h 10000"/>
                  <a:gd name="connsiteX1221" fmla="*/ 5143 w 10785"/>
                  <a:gd name="connsiteY1221" fmla="*/ 2248 h 10000"/>
                  <a:gd name="connsiteX1222" fmla="*/ 5152 w 10785"/>
                  <a:gd name="connsiteY1222" fmla="*/ 2239 h 10000"/>
                  <a:gd name="connsiteX1223" fmla="*/ 5166 w 10785"/>
                  <a:gd name="connsiteY1223" fmla="*/ 2162 h 10000"/>
                  <a:gd name="connsiteX1224" fmla="*/ 5171 w 10785"/>
                  <a:gd name="connsiteY1224" fmla="*/ 2171 h 10000"/>
                  <a:gd name="connsiteX1225" fmla="*/ 5198 w 10785"/>
                  <a:gd name="connsiteY1225" fmla="*/ 2145 h 10000"/>
                  <a:gd name="connsiteX1226" fmla="*/ 5203 w 10785"/>
                  <a:gd name="connsiteY1226" fmla="*/ 2111 h 10000"/>
                  <a:gd name="connsiteX1227" fmla="*/ 5217 w 10785"/>
                  <a:gd name="connsiteY1227" fmla="*/ 2060 h 10000"/>
                  <a:gd name="connsiteX1228" fmla="*/ 5226 w 10785"/>
                  <a:gd name="connsiteY1228" fmla="*/ 2026 h 10000"/>
                  <a:gd name="connsiteX1229" fmla="*/ 5286 w 10785"/>
                  <a:gd name="connsiteY1229" fmla="*/ 2026 h 10000"/>
                  <a:gd name="connsiteX1230" fmla="*/ 5290 w 10785"/>
                  <a:gd name="connsiteY1230" fmla="*/ 2034 h 10000"/>
                  <a:gd name="connsiteX1231" fmla="*/ 5323 w 10785"/>
                  <a:gd name="connsiteY1231" fmla="*/ 1923 h 10000"/>
                  <a:gd name="connsiteX1232" fmla="*/ 5323 w 10785"/>
                  <a:gd name="connsiteY1232" fmla="*/ 1889 h 10000"/>
                  <a:gd name="connsiteX1233" fmla="*/ 5359 w 10785"/>
                  <a:gd name="connsiteY1233" fmla="*/ 1829 h 10000"/>
                  <a:gd name="connsiteX1234" fmla="*/ 5378 w 10785"/>
                  <a:gd name="connsiteY1234" fmla="*/ 1812 h 10000"/>
                  <a:gd name="connsiteX1235" fmla="*/ 5406 w 10785"/>
                  <a:gd name="connsiteY1235" fmla="*/ 1752 h 10000"/>
                  <a:gd name="connsiteX1236" fmla="*/ 5410 w 10785"/>
                  <a:gd name="connsiteY1236" fmla="*/ 1718 h 10000"/>
                  <a:gd name="connsiteX1237" fmla="*/ 5438 w 10785"/>
                  <a:gd name="connsiteY1237" fmla="*/ 1667 h 10000"/>
                  <a:gd name="connsiteX1238" fmla="*/ 5438 w 10785"/>
                  <a:gd name="connsiteY1238" fmla="*/ 1650 h 10000"/>
                  <a:gd name="connsiteX1239" fmla="*/ 5438 w 10785"/>
                  <a:gd name="connsiteY1239" fmla="*/ 1641 h 10000"/>
                  <a:gd name="connsiteX1240" fmla="*/ 5452 w 10785"/>
                  <a:gd name="connsiteY1240" fmla="*/ 1641 h 10000"/>
                  <a:gd name="connsiteX1241" fmla="*/ 5456 w 10785"/>
                  <a:gd name="connsiteY1241" fmla="*/ 1615 h 10000"/>
                  <a:gd name="connsiteX1242" fmla="*/ 5456 w 10785"/>
                  <a:gd name="connsiteY1242" fmla="*/ 1615 h 10000"/>
                  <a:gd name="connsiteX1243" fmla="*/ 5465 w 10785"/>
                  <a:gd name="connsiteY1243" fmla="*/ 1598 h 10000"/>
                  <a:gd name="connsiteX1244" fmla="*/ 5465 w 10785"/>
                  <a:gd name="connsiteY1244" fmla="*/ 1615 h 10000"/>
                  <a:gd name="connsiteX1245" fmla="*/ 5479 w 10785"/>
                  <a:gd name="connsiteY1245" fmla="*/ 1598 h 10000"/>
                  <a:gd name="connsiteX1246" fmla="*/ 5484 w 10785"/>
                  <a:gd name="connsiteY1246" fmla="*/ 1581 h 10000"/>
                  <a:gd name="connsiteX1247" fmla="*/ 5493 w 10785"/>
                  <a:gd name="connsiteY1247" fmla="*/ 1581 h 10000"/>
                  <a:gd name="connsiteX1248" fmla="*/ 5512 w 10785"/>
                  <a:gd name="connsiteY1248" fmla="*/ 1538 h 10000"/>
                  <a:gd name="connsiteX1249" fmla="*/ 5530 w 10785"/>
                  <a:gd name="connsiteY1249" fmla="*/ 1564 h 10000"/>
                  <a:gd name="connsiteX1250" fmla="*/ 5530 w 10785"/>
                  <a:gd name="connsiteY1250" fmla="*/ 1538 h 10000"/>
                  <a:gd name="connsiteX1251" fmla="*/ 5539 w 10785"/>
                  <a:gd name="connsiteY1251" fmla="*/ 1530 h 10000"/>
                  <a:gd name="connsiteX1252" fmla="*/ 5530 w 10785"/>
                  <a:gd name="connsiteY1252" fmla="*/ 1504 h 10000"/>
                  <a:gd name="connsiteX1253" fmla="*/ 5567 w 10785"/>
                  <a:gd name="connsiteY1253" fmla="*/ 1479 h 10000"/>
                  <a:gd name="connsiteX1254" fmla="*/ 5553 w 10785"/>
                  <a:gd name="connsiteY1254" fmla="*/ 1479 h 10000"/>
                  <a:gd name="connsiteX1255" fmla="*/ 5553 w 10785"/>
                  <a:gd name="connsiteY1255" fmla="*/ 1453 h 10000"/>
                  <a:gd name="connsiteX1256" fmla="*/ 5581 w 10785"/>
                  <a:gd name="connsiteY1256" fmla="*/ 1444 h 10000"/>
                  <a:gd name="connsiteX1257" fmla="*/ 5581 w 10785"/>
                  <a:gd name="connsiteY1257" fmla="*/ 1453 h 10000"/>
                  <a:gd name="connsiteX1258" fmla="*/ 5585 w 10785"/>
                  <a:gd name="connsiteY1258" fmla="*/ 1444 h 10000"/>
                  <a:gd name="connsiteX1259" fmla="*/ 5594 w 10785"/>
                  <a:gd name="connsiteY1259" fmla="*/ 1427 h 10000"/>
                  <a:gd name="connsiteX1260" fmla="*/ 5599 w 10785"/>
                  <a:gd name="connsiteY1260" fmla="*/ 1419 h 10000"/>
                  <a:gd name="connsiteX1261" fmla="*/ 5594 w 10785"/>
                  <a:gd name="connsiteY1261" fmla="*/ 1402 h 10000"/>
                  <a:gd name="connsiteX1262" fmla="*/ 5604 w 10785"/>
                  <a:gd name="connsiteY1262" fmla="*/ 1393 h 10000"/>
                  <a:gd name="connsiteX1263" fmla="*/ 5618 w 10785"/>
                  <a:gd name="connsiteY1263" fmla="*/ 1393 h 10000"/>
                  <a:gd name="connsiteX1264" fmla="*/ 5627 w 10785"/>
                  <a:gd name="connsiteY1264" fmla="*/ 1368 h 10000"/>
                  <a:gd name="connsiteX1265" fmla="*/ 5627 w 10785"/>
                  <a:gd name="connsiteY1265" fmla="*/ 1325 h 10000"/>
                  <a:gd name="connsiteX1266" fmla="*/ 5645 w 10785"/>
                  <a:gd name="connsiteY1266" fmla="*/ 1291 h 10000"/>
                  <a:gd name="connsiteX1267" fmla="*/ 5645 w 10785"/>
                  <a:gd name="connsiteY1267" fmla="*/ 1282 h 10000"/>
                  <a:gd name="connsiteX1268" fmla="*/ 5654 w 10785"/>
                  <a:gd name="connsiteY1268" fmla="*/ 1265 h 10000"/>
                  <a:gd name="connsiteX1269" fmla="*/ 5654 w 10785"/>
                  <a:gd name="connsiteY1269" fmla="*/ 1214 h 10000"/>
                  <a:gd name="connsiteX1270" fmla="*/ 5654 w 10785"/>
                  <a:gd name="connsiteY1270" fmla="*/ 1214 h 10000"/>
                  <a:gd name="connsiteX1271" fmla="*/ 5645 w 10785"/>
                  <a:gd name="connsiteY1271" fmla="*/ 1197 h 10000"/>
                  <a:gd name="connsiteX1272" fmla="*/ 5659 w 10785"/>
                  <a:gd name="connsiteY1272" fmla="*/ 1197 h 10000"/>
                  <a:gd name="connsiteX1273" fmla="*/ 5654 w 10785"/>
                  <a:gd name="connsiteY1273" fmla="*/ 1154 h 10000"/>
                  <a:gd name="connsiteX1274" fmla="*/ 5641 w 10785"/>
                  <a:gd name="connsiteY1274" fmla="*/ 1154 h 10000"/>
                  <a:gd name="connsiteX1275" fmla="*/ 5627 w 10785"/>
                  <a:gd name="connsiteY1275" fmla="*/ 1128 h 10000"/>
                  <a:gd name="connsiteX1276" fmla="*/ 5618 w 10785"/>
                  <a:gd name="connsiteY1276" fmla="*/ 1094 h 10000"/>
                  <a:gd name="connsiteX1277" fmla="*/ 5613 w 10785"/>
                  <a:gd name="connsiteY1277" fmla="*/ 1094 h 10000"/>
                  <a:gd name="connsiteX1278" fmla="*/ 5604 w 10785"/>
                  <a:gd name="connsiteY1278" fmla="*/ 1120 h 10000"/>
                  <a:gd name="connsiteX1279" fmla="*/ 5604 w 10785"/>
                  <a:gd name="connsiteY1279" fmla="*/ 1128 h 10000"/>
                  <a:gd name="connsiteX1280" fmla="*/ 5599 w 10785"/>
                  <a:gd name="connsiteY1280" fmla="*/ 1103 h 10000"/>
                  <a:gd name="connsiteX1281" fmla="*/ 5599 w 10785"/>
                  <a:gd name="connsiteY1281" fmla="*/ 1103 h 10000"/>
                  <a:gd name="connsiteX1282" fmla="*/ 5594 w 10785"/>
                  <a:gd name="connsiteY1282" fmla="*/ 1068 h 10000"/>
                  <a:gd name="connsiteX1283" fmla="*/ 5594 w 10785"/>
                  <a:gd name="connsiteY1283" fmla="*/ 1060 h 10000"/>
                  <a:gd name="connsiteX1284" fmla="*/ 5581 w 10785"/>
                  <a:gd name="connsiteY1284" fmla="*/ 1034 h 10000"/>
                  <a:gd name="connsiteX1285" fmla="*/ 5571 w 10785"/>
                  <a:gd name="connsiteY1285" fmla="*/ 1009 h 10000"/>
                  <a:gd name="connsiteX1286" fmla="*/ 5571 w 10785"/>
                  <a:gd name="connsiteY1286" fmla="*/ 991 h 10000"/>
                  <a:gd name="connsiteX1287" fmla="*/ 5585 w 10785"/>
                  <a:gd name="connsiteY1287" fmla="*/ 1009 h 10000"/>
                  <a:gd name="connsiteX1288" fmla="*/ 5604 w 10785"/>
                  <a:gd name="connsiteY1288" fmla="*/ 1043 h 10000"/>
                  <a:gd name="connsiteX1289" fmla="*/ 5641 w 10785"/>
                  <a:gd name="connsiteY1289" fmla="*/ 1094 h 10000"/>
                  <a:gd name="connsiteX1290" fmla="*/ 5631 w 10785"/>
                  <a:gd name="connsiteY1290" fmla="*/ 1128 h 10000"/>
                  <a:gd name="connsiteX1291" fmla="*/ 5641 w 10785"/>
                  <a:gd name="connsiteY1291" fmla="*/ 1128 h 10000"/>
                  <a:gd name="connsiteX1292" fmla="*/ 5659 w 10785"/>
                  <a:gd name="connsiteY1292" fmla="*/ 1017 h 10000"/>
                  <a:gd name="connsiteX1293" fmla="*/ 5659 w 10785"/>
                  <a:gd name="connsiteY1293" fmla="*/ 983 h 10000"/>
                  <a:gd name="connsiteX1294" fmla="*/ 5659 w 10785"/>
                  <a:gd name="connsiteY1294" fmla="*/ 957 h 10000"/>
                  <a:gd name="connsiteX1295" fmla="*/ 5654 w 10785"/>
                  <a:gd name="connsiteY1295" fmla="*/ 966 h 10000"/>
                  <a:gd name="connsiteX1296" fmla="*/ 5641 w 10785"/>
                  <a:gd name="connsiteY1296" fmla="*/ 957 h 10000"/>
                  <a:gd name="connsiteX1297" fmla="*/ 5631 w 10785"/>
                  <a:gd name="connsiteY1297" fmla="*/ 897 h 10000"/>
                  <a:gd name="connsiteX1298" fmla="*/ 5641 w 10785"/>
                  <a:gd name="connsiteY1298" fmla="*/ 872 h 10000"/>
                  <a:gd name="connsiteX1299" fmla="*/ 5618 w 10785"/>
                  <a:gd name="connsiteY1299" fmla="*/ 803 h 10000"/>
                  <a:gd name="connsiteX1300" fmla="*/ 5604 w 10785"/>
                  <a:gd name="connsiteY1300" fmla="*/ 821 h 10000"/>
                  <a:gd name="connsiteX1301" fmla="*/ 5613 w 10785"/>
                  <a:gd name="connsiteY1301" fmla="*/ 846 h 10000"/>
                  <a:gd name="connsiteX1302" fmla="*/ 5604 w 10785"/>
                  <a:gd name="connsiteY1302" fmla="*/ 855 h 10000"/>
                  <a:gd name="connsiteX1303" fmla="*/ 5599 w 10785"/>
                  <a:gd name="connsiteY1303" fmla="*/ 880 h 10000"/>
                  <a:gd name="connsiteX1304" fmla="*/ 5594 w 10785"/>
                  <a:gd name="connsiteY1304" fmla="*/ 880 h 10000"/>
                  <a:gd name="connsiteX1305" fmla="*/ 5585 w 10785"/>
                  <a:gd name="connsiteY1305" fmla="*/ 829 h 10000"/>
                  <a:gd name="connsiteX1306" fmla="*/ 5571 w 10785"/>
                  <a:gd name="connsiteY1306" fmla="*/ 803 h 10000"/>
                  <a:gd name="connsiteX1307" fmla="*/ 5585 w 10785"/>
                  <a:gd name="connsiteY1307" fmla="*/ 795 h 10000"/>
                  <a:gd name="connsiteX1308" fmla="*/ 5585 w 10785"/>
                  <a:gd name="connsiteY1308" fmla="*/ 761 h 10000"/>
                  <a:gd name="connsiteX1309" fmla="*/ 5558 w 10785"/>
                  <a:gd name="connsiteY1309" fmla="*/ 709 h 10000"/>
                  <a:gd name="connsiteX1310" fmla="*/ 5544 w 10785"/>
                  <a:gd name="connsiteY1310" fmla="*/ 709 h 10000"/>
                  <a:gd name="connsiteX1311" fmla="*/ 5544 w 10785"/>
                  <a:gd name="connsiteY1311" fmla="*/ 684 h 10000"/>
                  <a:gd name="connsiteX1312" fmla="*/ 5525 w 10785"/>
                  <a:gd name="connsiteY1312" fmla="*/ 632 h 10000"/>
                  <a:gd name="connsiteX1313" fmla="*/ 5507 w 10785"/>
                  <a:gd name="connsiteY1313" fmla="*/ 607 h 10000"/>
                  <a:gd name="connsiteX1314" fmla="*/ 5512 w 10785"/>
                  <a:gd name="connsiteY1314" fmla="*/ 598 h 10000"/>
                  <a:gd name="connsiteX1315" fmla="*/ 5507 w 10785"/>
                  <a:gd name="connsiteY1315" fmla="*/ 581 h 10000"/>
                  <a:gd name="connsiteX1316" fmla="*/ 5493 w 10785"/>
                  <a:gd name="connsiteY1316" fmla="*/ 573 h 10000"/>
                  <a:gd name="connsiteX1317" fmla="*/ 5484 w 10785"/>
                  <a:gd name="connsiteY1317" fmla="*/ 581 h 10000"/>
                  <a:gd name="connsiteX1318" fmla="*/ 5484 w 10785"/>
                  <a:gd name="connsiteY1318" fmla="*/ 573 h 10000"/>
                  <a:gd name="connsiteX1319" fmla="*/ 5484 w 10785"/>
                  <a:gd name="connsiteY1319" fmla="*/ 547 h 10000"/>
                  <a:gd name="connsiteX1320" fmla="*/ 5465 w 10785"/>
                  <a:gd name="connsiteY1320" fmla="*/ 556 h 10000"/>
                  <a:gd name="connsiteX1321" fmla="*/ 5433 w 10785"/>
                  <a:gd name="connsiteY1321" fmla="*/ 547 h 10000"/>
                  <a:gd name="connsiteX1322" fmla="*/ 5410 w 10785"/>
                  <a:gd name="connsiteY1322" fmla="*/ 573 h 10000"/>
                  <a:gd name="connsiteX1323" fmla="*/ 5406 w 10785"/>
                  <a:gd name="connsiteY1323" fmla="*/ 573 h 10000"/>
                  <a:gd name="connsiteX1324" fmla="*/ 5392 w 10785"/>
                  <a:gd name="connsiteY1324" fmla="*/ 573 h 10000"/>
                  <a:gd name="connsiteX1325" fmla="*/ 5364 w 10785"/>
                  <a:gd name="connsiteY1325" fmla="*/ 530 h 10000"/>
                  <a:gd name="connsiteX1326" fmla="*/ 5350 w 10785"/>
                  <a:gd name="connsiteY1326" fmla="*/ 556 h 10000"/>
                  <a:gd name="connsiteX1327" fmla="*/ 5346 w 10785"/>
                  <a:gd name="connsiteY1327" fmla="*/ 556 h 10000"/>
                  <a:gd name="connsiteX1328" fmla="*/ 5313 w 10785"/>
                  <a:gd name="connsiteY1328" fmla="*/ 573 h 10000"/>
                  <a:gd name="connsiteX1329" fmla="*/ 5304 w 10785"/>
                  <a:gd name="connsiteY1329" fmla="*/ 556 h 10000"/>
                  <a:gd name="connsiteX1330" fmla="*/ 5290 w 10785"/>
                  <a:gd name="connsiteY1330" fmla="*/ 573 h 10000"/>
                  <a:gd name="connsiteX1331" fmla="*/ 5290 w 10785"/>
                  <a:gd name="connsiteY1331" fmla="*/ 556 h 10000"/>
                  <a:gd name="connsiteX1332" fmla="*/ 5300 w 10785"/>
                  <a:gd name="connsiteY1332" fmla="*/ 547 h 10000"/>
                  <a:gd name="connsiteX1333" fmla="*/ 5300 w 10785"/>
                  <a:gd name="connsiteY1333" fmla="*/ 530 h 10000"/>
                  <a:gd name="connsiteX1334" fmla="*/ 5290 w 10785"/>
                  <a:gd name="connsiteY1334" fmla="*/ 530 h 10000"/>
                  <a:gd name="connsiteX1335" fmla="*/ 5286 w 10785"/>
                  <a:gd name="connsiteY1335" fmla="*/ 547 h 10000"/>
                  <a:gd name="connsiteX1336" fmla="*/ 5272 w 10785"/>
                  <a:gd name="connsiteY1336" fmla="*/ 556 h 10000"/>
                  <a:gd name="connsiteX1337" fmla="*/ 5272 w 10785"/>
                  <a:gd name="connsiteY1337" fmla="*/ 598 h 10000"/>
                  <a:gd name="connsiteX1338" fmla="*/ 5276 w 10785"/>
                  <a:gd name="connsiteY1338" fmla="*/ 581 h 10000"/>
                  <a:gd name="connsiteX1339" fmla="*/ 5272 w 10785"/>
                  <a:gd name="connsiteY1339" fmla="*/ 607 h 10000"/>
                  <a:gd name="connsiteX1340" fmla="*/ 5263 w 10785"/>
                  <a:gd name="connsiteY1340" fmla="*/ 607 h 10000"/>
                  <a:gd name="connsiteX1341" fmla="*/ 5263 w 10785"/>
                  <a:gd name="connsiteY1341" fmla="*/ 632 h 10000"/>
                  <a:gd name="connsiteX1342" fmla="*/ 5258 w 10785"/>
                  <a:gd name="connsiteY1342" fmla="*/ 658 h 10000"/>
                  <a:gd name="connsiteX1343" fmla="*/ 5244 w 10785"/>
                  <a:gd name="connsiteY1343" fmla="*/ 667 h 10000"/>
                  <a:gd name="connsiteX1344" fmla="*/ 5240 w 10785"/>
                  <a:gd name="connsiteY1344" fmla="*/ 658 h 10000"/>
                  <a:gd name="connsiteX1345" fmla="*/ 5240 w 10785"/>
                  <a:gd name="connsiteY1345" fmla="*/ 684 h 10000"/>
                  <a:gd name="connsiteX1346" fmla="*/ 5212 w 10785"/>
                  <a:gd name="connsiteY1346" fmla="*/ 684 h 10000"/>
                  <a:gd name="connsiteX1347" fmla="*/ 5198 w 10785"/>
                  <a:gd name="connsiteY1347" fmla="*/ 692 h 10000"/>
                  <a:gd name="connsiteX1348" fmla="*/ 5184 w 10785"/>
                  <a:gd name="connsiteY1348" fmla="*/ 684 h 10000"/>
                  <a:gd name="connsiteX1349" fmla="*/ 5157 w 10785"/>
                  <a:gd name="connsiteY1349" fmla="*/ 684 h 10000"/>
                  <a:gd name="connsiteX1350" fmla="*/ 5157 w 10785"/>
                  <a:gd name="connsiteY1350" fmla="*/ 667 h 10000"/>
                  <a:gd name="connsiteX1351" fmla="*/ 5157 w 10785"/>
                  <a:gd name="connsiteY1351" fmla="*/ 667 h 10000"/>
                  <a:gd name="connsiteX1352" fmla="*/ 5180 w 10785"/>
                  <a:gd name="connsiteY1352" fmla="*/ 650 h 10000"/>
                  <a:gd name="connsiteX1353" fmla="*/ 5184 w 10785"/>
                  <a:gd name="connsiteY1353" fmla="*/ 658 h 10000"/>
                  <a:gd name="connsiteX1354" fmla="*/ 5203 w 10785"/>
                  <a:gd name="connsiteY1354" fmla="*/ 547 h 10000"/>
                  <a:gd name="connsiteX1355" fmla="*/ 5226 w 10785"/>
                  <a:gd name="connsiteY1355" fmla="*/ 530 h 10000"/>
                  <a:gd name="connsiteX1356" fmla="*/ 5230 w 10785"/>
                  <a:gd name="connsiteY1356" fmla="*/ 487 h 10000"/>
                  <a:gd name="connsiteX1357" fmla="*/ 5230 w 10785"/>
                  <a:gd name="connsiteY1357" fmla="*/ 487 h 10000"/>
                  <a:gd name="connsiteX1358" fmla="*/ 5226 w 10785"/>
                  <a:gd name="connsiteY1358" fmla="*/ 462 h 10000"/>
                  <a:gd name="connsiteX1359" fmla="*/ 5226 w 10785"/>
                  <a:gd name="connsiteY1359" fmla="*/ 462 h 10000"/>
                  <a:gd name="connsiteX1360" fmla="*/ 5240 w 10785"/>
                  <a:gd name="connsiteY1360" fmla="*/ 462 h 10000"/>
                  <a:gd name="connsiteX1361" fmla="*/ 5240 w 10785"/>
                  <a:gd name="connsiteY1361" fmla="*/ 444 h 10000"/>
                  <a:gd name="connsiteX1362" fmla="*/ 5230 w 10785"/>
                  <a:gd name="connsiteY1362" fmla="*/ 436 h 10000"/>
                  <a:gd name="connsiteX1363" fmla="*/ 5230 w 10785"/>
                  <a:gd name="connsiteY1363" fmla="*/ 419 h 10000"/>
                  <a:gd name="connsiteX1364" fmla="*/ 5230 w 10785"/>
                  <a:gd name="connsiteY1364" fmla="*/ 410 h 10000"/>
                  <a:gd name="connsiteX1365" fmla="*/ 5198 w 10785"/>
                  <a:gd name="connsiteY1365" fmla="*/ 402 h 10000"/>
                  <a:gd name="connsiteX1366" fmla="*/ 5189 w 10785"/>
                  <a:gd name="connsiteY1366" fmla="*/ 402 h 10000"/>
                  <a:gd name="connsiteX1367" fmla="*/ 5184 w 10785"/>
                  <a:gd name="connsiteY1367" fmla="*/ 376 h 10000"/>
                  <a:gd name="connsiteX1368" fmla="*/ 5180 w 10785"/>
                  <a:gd name="connsiteY1368" fmla="*/ 376 h 10000"/>
                  <a:gd name="connsiteX1369" fmla="*/ 5166 w 10785"/>
                  <a:gd name="connsiteY1369" fmla="*/ 376 h 10000"/>
                  <a:gd name="connsiteX1370" fmla="*/ 5157 w 10785"/>
                  <a:gd name="connsiteY1370" fmla="*/ 385 h 10000"/>
                  <a:gd name="connsiteX1371" fmla="*/ 5152 w 10785"/>
                  <a:gd name="connsiteY1371" fmla="*/ 376 h 10000"/>
                  <a:gd name="connsiteX1372" fmla="*/ 5129 w 10785"/>
                  <a:gd name="connsiteY1372" fmla="*/ 385 h 10000"/>
                  <a:gd name="connsiteX1373" fmla="*/ 5129 w 10785"/>
                  <a:gd name="connsiteY1373" fmla="*/ 350 h 10000"/>
                  <a:gd name="connsiteX1374" fmla="*/ 5129 w 10785"/>
                  <a:gd name="connsiteY1374" fmla="*/ 325 h 10000"/>
                  <a:gd name="connsiteX1375" fmla="*/ 5124 w 10785"/>
                  <a:gd name="connsiteY1375" fmla="*/ 359 h 10000"/>
                  <a:gd name="connsiteX1376" fmla="*/ 5106 w 10785"/>
                  <a:gd name="connsiteY1376" fmla="*/ 359 h 10000"/>
                  <a:gd name="connsiteX1377" fmla="*/ 5037 w 10785"/>
                  <a:gd name="connsiteY1377" fmla="*/ 419 h 10000"/>
                  <a:gd name="connsiteX1378" fmla="*/ 5051 w 10785"/>
                  <a:gd name="connsiteY1378" fmla="*/ 385 h 10000"/>
                  <a:gd name="connsiteX1379" fmla="*/ 5055 w 10785"/>
                  <a:gd name="connsiteY1379" fmla="*/ 376 h 10000"/>
                  <a:gd name="connsiteX1380" fmla="*/ 5092 w 10785"/>
                  <a:gd name="connsiteY1380" fmla="*/ 282 h 10000"/>
                  <a:gd name="connsiteX1381" fmla="*/ 5106 w 10785"/>
                  <a:gd name="connsiteY1381" fmla="*/ 265 h 10000"/>
                  <a:gd name="connsiteX1382" fmla="*/ 5115 w 10785"/>
                  <a:gd name="connsiteY1382" fmla="*/ 265 h 10000"/>
                  <a:gd name="connsiteX1383" fmla="*/ 5124 w 10785"/>
                  <a:gd name="connsiteY1383" fmla="*/ 222 h 10000"/>
                  <a:gd name="connsiteX1384" fmla="*/ 5124 w 10785"/>
                  <a:gd name="connsiteY1384" fmla="*/ 214 h 10000"/>
                  <a:gd name="connsiteX1385" fmla="*/ 5143 w 10785"/>
                  <a:gd name="connsiteY1385" fmla="*/ 197 h 10000"/>
                  <a:gd name="connsiteX1386" fmla="*/ 5152 w 10785"/>
                  <a:gd name="connsiteY1386" fmla="*/ 214 h 10000"/>
                  <a:gd name="connsiteX1387" fmla="*/ 5143 w 10785"/>
                  <a:gd name="connsiteY1387" fmla="*/ 188 h 10000"/>
                  <a:gd name="connsiteX1388" fmla="*/ 5129 w 10785"/>
                  <a:gd name="connsiteY1388" fmla="*/ 103 h 10000"/>
                  <a:gd name="connsiteX1389" fmla="*/ 5115 w 10785"/>
                  <a:gd name="connsiteY1389" fmla="*/ 85 h 10000"/>
                  <a:gd name="connsiteX1390" fmla="*/ 5111 w 10785"/>
                  <a:gd name="connsiteY1390" fmla="*/ 111 h 10000"/>
                  <a:gd name="connsiteX1391" fmla="*/ 5092 w 10785"/>
                  <a:gd name="connsiteY1391" fmla="*/ 103 h 10000"/>
                  <a:gd name="connsiteX1392" fmla="*/ 5069 w 10785"/>
                  <a:gd name="connsiteY1392" fmla="*/ 77 h 10000"/>
                  <a:gd name="connsiteX1393" fmla="*/ 5051 w 10785"/>
                  <a:gd name="connsiteY1393" fmla="*/ 26 h 10000"/>
                  <a:gd name="connsiteX1394" fmla="*/ 5041 w 10785"/>
                  <a:gd name="connsiteY1394" fmla="*/ 34 h 10000"/>
                  <a:gd name="connsiteX1395" fmla="*/ 5037 w 10785"/>
                  <a:gd name="connsiteY1395" fmla="*/ 34 h 10000"/>
                  <a:gd name="connsiteX1396" fmla="*/ 5037 w 10785"/>
                  <a:gd name="connsiteY1396" fmla="*/ 26 h 10000"/>
                  <a:gd name="connsiteX1397" fmla="*/ 5037 w 10785"/>
                  <a:gd name="connsiteY1397" fmla="*/ 9 h 10000"/>
                  <a:gd name="connsiteX1398" fmla="*/ 5023 w 10785"/>
                  <a:gd name="connsiteY1398" fmla="*/ 0 h 10000"/>
                  <a:gd name="connsiteX1399" fmla="*/ 5009 w 10785"/>
                  <a:gd name="connsiteY1399" fmla="*/ 9 h 10000"/>
                  <a:gd name="connsiteX1400" fmla="*/ 4995 w 10785"/>
                  <a:gd name="connsiteY1400" fmla="*/ 34 h 10000"/>
                  <a:gd name="connsiteX1401" fmla="*/ 4991 w 10785"/>
                  <a:gd name="connsiteY1401" fmla="*/ 60 h 10000"/>
                  <a:gd name="connsiteX1402" fmla="*/ 4982 w 10785"/>
                  <a:gd name="connsiteY1402" fmla="*/ 60 h 10000"/>
                  <a:gd name="connsiteX1403" fmla="*/ 4949 w 10785"/>
                  <a:gd name="connsiteY1403" fmla="*/ 51 h 10000"/>
                  <a:gd name="connsiteX1404" fmla="*/ 4949 w 10785"/>
                  <a:gd name="connsiteY1404" fmla="*/ 85 h 10000"/>
                  <a:gd name="connsiteX1405" fmla="*/ 4903 w 10785"/>
                  <a:gd name="connsiteY1405" fmla="*/ 197 h 10000"/>
                  <a:gd name="connsiteX1406" fmla="*/ 4899 w 10785"/>
                  <a:gd name="connsiteY1406" fmla="*/ 239 h 10000"/>
                  <a:gd name="connsiteX1407" fmla="*/ 4871 w 10785"/>
                  <a:gd name="connsiteY1407" fmla="*/ 274 h 10000"/>
                  <a:gd name="connsiteX1408" fmla="*/ 4871 w 10785"/>
                  <a:gd name="connsiteY1408" fmla="*/ 282 h 10000"/>
                  <a:gd name="connsiteX1409" fmla="*/ 4834 w 10785"/>
                  <a:gd name="connsiteY1409" fmla="*/ 376 h 10000"/>
                  <a:gd name="connsiteX1410" fmla="*/ 4829 w 10785"/>
                  <a:gd name="connsiteY1410" fmla="*/ 402 h 10000"/>
                  <a:gd name="connsiteX1411" fmla="*/ 4834 w 10785"/>
                  <a:gd name="connsiteY1411" fmla="*/ 410 h 10000"/>
                  <a:gd name="connsiteX1412" fmla="*/ 4829 w 10785"/>
                  <a:gd name="connsiteY1412" fmla="*/ 436 h 10000"/>
                  <a:gd name="connsiteX1413" fmla="*/ 4825 w 10785"/>
                  <a:gd name="connsiteY1413" fmla="*/ 436 h 10000"/>
                  <a:gd name="connsiteX1414" fmla="*/ 4825 w 10785"/>
                  <a:gd name="connsiteY1414" fmla="*/ 444 h 10000"/>
                  <a:gd name="connsiteX1415" fmla="*/ 4811 w 10785"/>
                  <a:gd name="connsiteY1415" fmla="*/ 496 h 10000"/>
                  <a:gd name="connsiteX1416" fmla="*/ 4811 w 10785"/>
                  <a:gd name="connsiteY1416" fmla="*/ 496 h 10000"/>
                  <a:gd name="connsiteX1417" fmla="*/ 4811 w 10785"/>
                  <a:gd name="connsiteY1417" fmla="*/ 521 h 10000"/>
                  <a:gd name="connsiteX1418" fmla="*/ 4816 w 10785"/>
                  <a:gd name="connsiteY1418" fmla="*/ 530 h 10000"/>
                  <a:gd name="connsiteX1419" fmla="*/ 4834 w 10785"/>
                  <a:gd name="connsiteY1419" fmla="*/ 547 h 10000"/>
                  <a:gd name="connsiteX1420" fmla="*/ 4834 w 10785"/>
                  <a:gd name="connsiteY1420" fmla="*/ 581 h 10000"/>
                  <a:gd name="connsiteX1421" fmla="*/ 4843 w 10785"/>
                  <a:gd name="connsiteY1421" fmla="*/ 581 h 10000"/>
                  <a:gd name="connsiteX1422" fmla="*/ 4843 w 10785"/>
                  <a:gd name="connsiteY1422" fmla="*/ 598 h 10000"/>
                  <a:gd name="connsiteX1423" fmla="*/ 4829 w 10785"/>
                  <a:gd name="connsiteY1423" fmla="*/ 598 h 10000"/>
                  <a:gd name="connsiteX1424" fmla="*/ 4829 w 10785"/>
                  <a:gd name="connsiteY1424" fmla="*/ 573 h 10000"/>
                  <a:gd name="connsiteX1425" fmla="*/ 4829 w 10785"/>
                  <a:gd name="connsiteY1425" fmla="*/ 632 h 10000"/>
                  <a:gd name="connsiteX1426" fmla="*/ 4829 w 10785"/>
                  <a:gd name="connsiteY1426" fmla="*/ 632 h 10000"/>
                  <a:gd name="connsiteX1427" fmla="*/ 4829 w 10785"/>
                  <a:gd name="connsiteY1427" fmla="*/ 650 h 10000"/>
                  <a:gd name="connsiteX1428" fmla="*/ 4774 w 10785"/>
                  <a:gd name="connsiteY1428" fmla="*/ 684 h 10000"/>
                  <a:gd name="connsiteX1429" fmla="*/ 4756 w 10785"/>
                  <a:gd name="connsiteY1429" fmla="*/ 684 h 10000"/>
                  <a:gd name="connsiteX1430" fmla="*/ 4737 w 10785"/>
                  <a:gd name="connsiteY1430" fmla="*/ 692 h 10000"/>
                  <a:gd name="connsiteX1431" fmla="*/ 4677 w 10785"/>
                  <a:gd name="connsiteY1431" fmla="*/ 667 h 10000"/>
                  <a:gd name="connsiteX1432" fmla="*/ 4682 w 10785"/>
                  <a:gd name="connsiteY1432" fmla="*/ 692 h 10000"/>
                  <a:gd name="connsiteX1433" fmla="*/ 4682 w 10785"/>
                  <a:gd name="connsiteY1433" fmla="*/ 709 h 10000"/>
                  <a:gd name="connsiteX1434" fmla="*/ 4691 w 10785"/>
                  <a:gd name="connsiteY1434" fmla="*/ 718 h 10000"/>
                  <a:gd name="connsiteX1435" fmla="*/ 4691 w 10785"/>
                  <a:gd name="connsiteY1435" fmla="*/ 744 h 10000"/>
                  <a:gd name="connsiteX1436" fmla="*/ 4700 w 10785"/>
                  <a:gd name="connsiteY1436" fmla="*/ 744 h 10000"/>
                  <a:gd name="connsiteX1437" fmla="*/ 4714 w 10785"/>
                  <a:gd name="connsiteY1437" fmla="*/ 769 h 10000"/>
                  <a:gd name="connsiteX1438" fmla="*/ 4710 w 10785"/>
                  <a:gd name="connsiteY1438" fmla="*/ 786 h 10000"/>
                  <a:gd name="connsiteX1439" fmla="*/ 4737 w 10785"/>
                  <a:gd name="connsiteY1439" fmla="*/ 786 h 10000"/>
                  <a:gd name="connsiteX1440" fmla="*/ 4742 w 10785"/>
                  <a:gd name="connsiteY1440" fmla="*/ 795 h 10000"/>
                  <a:gd name="connsiteX1441" fmla="*/ 4742 w 10785"/>
                  <a:gd name="connsiteY1441" fmla="*/ 803 h 10000"/>
                  <a:gd name="connsiteX1442" fmla="*/ 4737 w 10785"/>
                  <a:gd name="connsiteY1442" fmla="*/ 846 h 10000"/>
                  <a:gd name="connsiteX1443" fmla="*/ 4737 w 10785"/>
                  <a:gd name="connsiteY1443" fmla="*/ 880 h 10000"/>
                  <a:gd name="connsiteX1444" fmla="*/ 4737 w 10785"/>
                  <a:gd name="connsiteY1444" fmla="*/ 906 h 10000"/>
                  <a:gd name="connsiteX1445" fmla="*/ 4724 w 10785"/>
                  <a:gd name="connsiteY1445" fmla="*/ 897 h 10000"/>
                  <a:gd name="connsiteX1446" fmla="*/ 4724 w 10785"/>
                  <a:gd name="connsiteY1446" fmla="*/ 872 h 10000"/>
                  <a:gd name="connsiteX1447" fmla="*/ 4714 w 10785"/>
                  <a:gd name="connsiteY1447" fmla="*/ 855 h 10000"/>
                  <a:gd name="connsiteX1448" fmla="*/ 4691 w 10785"/>
                  <a:gd name="connsiteY1448" fmla="*/ 846 h 10000"/>
                  <a:gd name="connsiteX1449" fmla="*/ 4691 w 10785"/>
                  <a:gd name="connsiteY1449" fmla="*/ 846 h 10000"/>
                  <a:gd name="connsiteX1450" fmla="*/ 4696 w 10785"/>
                  <a:gd name="connsiteY1450" fmla="*/ 821 h 10000"/>
                  <a:gd name="connsiteX1451" fmla="*/ 4691 w 10785"/>
                  <a:gd name="connsiteY1451" fmla="*/ 803 h 10000"/>
                  <a:gd name="connsiteX1452" fmla="*/ 4668 w 10785"/>
                  <a:gd name="connsiteY1452" fmla="*/ 821 h 10000"/>
                  <a:gd name="connsiteX1453" fmla="*/ 4668 w 10785"/>
                  <a:gd name="connsiteY1453" fmla="*/ 786 h 10000"/>
                  <a:gd name="connsiteX1454" fmla="*/ 4664 w 10785"/>
                  <a:gd name="connsiteY1454" fmla="*/ 786 h 10000"/>
                  <a:gd name="connsiteX1455" fmla="*/ 4622 w 10785"/>
                  <a:gd name="connsiteY1455" fmla="*/ 846 h 10000"/>
                  <a:gd name="connsiteX1456" fmla="*/ 4627 w 10785"/>
                  <a:gd name="connsiteY1456" fmla="*/ 872 h 10000"/>
                  <a:gd name="connsiteX1457" fmla="*/ 4622 w 10785"/>
                  <a:gd name="connsiteY1457" fmla="*/ 880 h 10000"/>
                  <a:gd name="connsiteX1458" fmla="*/ 4622 w 10785"/>
                  <a:gd name="connsiteY1458" fmla="*/ 880 h 10000"/>
                  <a:gd name="connsiteX1459" fmla="*/ 4618 w 10785"/>
                  <a:gd name="connsiteY1459" fmla="*/ 872 h 10000"/>
                  <a:gd name="connsiteX1460" fmla="*/ 4604 w 10785"/>
                  <a:gd name="connsiteY1460" fmla="*/ 880 h 10000"/>
                  <a:gd name="connsiteX1461" fmla="*/ 4594 w 10785"/>
                  <a:gd name="connsiteY1461" fmla="*/ 906 h 10000"/>
                  <a:gd name="connsiteX1462" fmla="*/ 4604 w 10785"/>
                  <a:gd name="connsiteY1462" fmla="*/ 906 h 10000"/>
                  <a:gd name="connsiteX1463" fmla="*/ 4608 w 10785"/>
                  <a:gd name="connsiteY1463" fmla="*/ 906 h 10000"/>
                  <a:gd name="connsiteX1464" fmla="*/ 4608 w 10785"/>
                  <a:gd name="connsiteY1464" fmla="*/ 932 h 10000"/>
                  <a:gd name="connsiteX1465" fmla="*/ 4604 w 10785"/>
                  <a:gd name="connsiteY1465" fmla="*/ 932 h 10000"/>
                  <a:gd name="connsiteX1466" fmla="*/ 4590 w 10785"/>
                  <a:gd name="connsiteY1466" fmla="*/ 932 h 10000"/>
                  <a:gd name="connsiteX1467" fmla="*/ 4567 w 10785"/>
                  <a:gd name="connsiteY1467" fmla="*/ 957 h 10000"/>
                  <a:gd name="connsiteX1468" fmla="*/ 4567 w 10785"/>
                  <a:gd name="connsiteY1468" fmla="*/ 932 h 10000"/>
                  <a:gd name="connsiteX1469" fmla="*/ 4567 w 10785"/>
                  <a:gd name="connsiteY1469" fmla="*/ 923 h 10000"/>
                  <a:gd name="connsiteX1470" fmla="*/ 4562 w 10785"/>
                  <a:gd name="connsiteY1470" fmla="*/ 932 h 10000"/>
                  <a:gd name="connsiteX1471" fmla="*/ 4548 w 10785"/>
                  <a:gd name="connsiteY1471" fmla="*/ 957 h 10000"/>
                  <a:gd name="connsiteX1472" fmla="*/ 4544 w 10785"/>
                  <a:gd name="connsiteY1472" fmla="*/ 957 h 10000"/>
                  <a:gd name="connsiteX1473" fmla="*/ 4521 w 10785"/>
                  <a:gd name="connsiteY1473" fmla="*/ 983 h 10000"/>
                  <a:gd name="connsiteX1474" fmla="*/ 4521 w 10785"/>
                  <a:gd name="connsiteY1474" fmla="*/ 983 h 10000"/>
                  <a:gd name="connsiteX1475" fmla="*/ 4530 w 10785"/>
                  <a:gd name="connsiteY1475" fmla="*/ 957 h 10000"/>
                  <a:gd name="connsiteX1476" fmla="*/ 4535 w 10785"/>
                  <a:gd name="connsiteY1476" fmla="*/ 932 h 10000"/>
                  <a:gd name="connsiteX1477" fmla="*/ 4521 w 10785"/>
                  <a:gd name="connsiteY1477" fmla="*/ 932 h 10000"/>
                  <a:gd name="connsiteX1478" fmla="*/ 4516 w 10785"/>
                  <a:gd name="connsiteY1478" fmla="*/ 923 h 10000"/>
                  <a:gd name="connsiteX1479" fmla="*/ 4516 w 10785"/>
                  <a:gd name="connsiteY1479" fmla="*/ 932 h 10000"/>
                  <a:gd name="connsiteX1480" fmla="*/ 4488 w 10785"/>
                  <a:gd name="connsiteY1480" fmla="*/ 940 h 10000"/>
                  <a:gd name="connsiteX1481" fmla="*/ 4484 w 10785"/>
                  <a:gd name="connsiteY1481" fmla="*/ 983 h 10000"/>
                  <a:gd name="connsiteX1482" fmla="*/ 4470 w 10785"/>
                  <a:gd name="connsiteY1482" fmla="*/ 983 h 10000"/>
                  <a:gd name="connsiteX1483" fmla="*/ 4470 w 10785"/>
                  <a:gd name="connsiteY1483" fmla="*/ 966 h 10000"/>
                  <a:gd name="connsiteX1484" fmla="*/ 4488 w 10785"/>
                  <a:gd name="connsiteY1484" fmla="*/ 923 h 10000"/>
                  <a:gd name="connsiteX1485" fmla="*/ 4493 w 10785"/>
                  <a:gd name="connsiteY1485" fmla="*/ 880 h 10000"/>
                  <a:gd name="connsiteX1486" fmla="*/ 4475 w 10785"/>
                  <a:gd name="connsiteY1486" fmla="*/ 846 h 10000"/>
                  <a:gd name="connsiteX1487" fmla="*/ 4442 w 10785"/>
                  <a:gd name="connsiteY1487" fmla="*/ 855 h 10000"/>
                  <a:gd name="connsiteX1488" fmla="*/ 4433 w 10785"/>
                  <a:gd name="connsiteY1488" fmla="*/ 855 h 10000"/>
                  <a:gd name="connsiteX1489" fmla="*/ 4433 w 10785"/>
                  <a:gd name="connsiteY1489" fmla="*/ 880 h 10000"/>
                  <a:gd name="connsiteX1490" fmla="*/ 4401 w 10785"/>
                  <a:gd name="connsiteY1490" fmla="*/ 855 h 10000"/>
                  <a:gd name="connsiteX1491" fmla="*/ 4396 w 10785"/>
                  <a:gd name="connsiteY1491" fmla="*/ 872 h 10000"/>
                  <a:gd name="connsiteX1492" fmla="*/ 4382 w 10785"/>
                  <a:gd name="connsiteY1492" fmla="*/ 897 h 10000"/>
                  <a:gd name="connsiteX1493" fmla="*/ 4373 w 10785"/>
                  <a:gd name="connsiteY1493" fmla="*/ 872 h 10000"/>
                  <a:gd name="connsiteX1494" fmla="*/ 4341 w 10785"/>
                  <a:gd name="connsiteY1494" fmla="*/ 872 h 10000"/>
                  <a:gd name="connsiteX1495" fmla="*/ 4336 w 10785"/>
                  <a:gd name="connsiteY1495" fmla="*/ 880 h 10000"/>
                  <a:gd name="connsiteX1496" fmla="*/ 4346 w 10785"/>
                  <a:gd name="connsiteY1496" fmla="*/ 897 h 10000"/>
                  <a:gd name="connsiteX1497" fmla="*/ 4346 w 10785"/>
                  <a:gd name="connsiteY1497" fmla="*/ 897 h 10000"/>
                  <a:gd name="connsiteX1498" fmla="*/ 4313 w 10785"/>
                  <a:gd name="connsiteY1498" fmla="*/ 906 h 10000"/>
                  <a:gd name="connsiteX1499" fmla="*/ 4313 w 10785"/>
                  <a:gd name="connsiteY1499" fmla="*/ 906 h 10000"/>
                  <a:gd name="connsiteX1500" fmla="*/ 4313 w 10785"/>
                  <a:gd name="connsiteY1500" fmla="*/ 880 h 10000"/>
                  <a:gd name="connsiteX1501" fmla="*/ 4309 w 10785"/>
                  <a:gd name="connsiteY1501" fmla="*/ 897 h 10000"/>
                  <a:gd name="connsiteX1502" fmla="*/ 4295 w 10785"/>
                  <a:gd name="connsiteY1502" fmla="*/ 923 h 10000"/>
                  <a:gd name="connsiteX1503" fmla="*/ 4286 w 10785"/>
                  <a:gd name="connsiteY1503" fmla="*/ 897 h 10000"/>
                  <a:gd name="connsiteX1504" fmla="*/ 4281 w 10785"/>
                  <a:gd name="connsiteY1504" fmla="*/ 906 h 10000"/>
                  <a:gd name="connsiteX1505" fmla="*/ 4281 w 10785"/>
                  <a:gd name="connsiteY1505" fmla="*/ 940 h 10000"/>
                  <a:gd name="connsiteX1506" fmla="*/ 4286 w 10785"/>
                  <a:gd name="connsiteY1506" fmla="*/ 957 h 10000"/>
                  <a:gd name="connsiteX1507" fmla="*/ 4309 w 10785"/>
                  <a:gd name="connsiteY1507" fmla="*/ 932 h 10000"/>
                  <a:gd name="connsiteX1508" fmla="*/ 4313 w 10785"/>
                  <a:gd name="connsiteY1508" fmla="*/ 957 h 10000"/>
                  <a:gd name="connsiteX1509" fmla="*/ 4313 w 10785"/>
                  <a:gd name="connsiteY1509" fmla="*/ 966 h 10000"/>
                  <a:gd name="connsiteX1510" fmla="*/ 4323 w 10785"/>
                  <a:gd name="connsiteY1510" fmla="*/ 966 h 10000"/>
                  <a:gd name="connsiteX1511" fmla="*/ 4323 w 10785"/>
                  <a:gd name="connsiteY1511" fmla="*/ 940 h 10000"/>
                  <a:gd name="connsiteX1512" fmla="*/ 4327 w 10785"/>
                  <a:gd name="connsiteY1512" fmla="*/ 940 h 10000"/>
                  <a:gd name="connsiteX1513" fmla="*/ 4327 w 10785"/>
                  <a:gd name="connsiteY1513" fmla="*/ 957 h 10000"/>
                  <a:gd name="connsiteX1514" fmla="*/ 4327 w 10785"/>
                  <a:gd name="connsiteY1514" fmla="*/ 966 h 10000"/>
                  <a:gd name="connsiteX1515" fmla="*/ 4323 w 10785"/>
                  <a:gd name="connsiteY1515" fmla="*/ 991 h 10000"/>
                  <a:gd name="connsiteX1516" fmla="*/ 4207 w 10785"/>
                  <a:gd name="connsiteY1516" fmla="*/ 1060 h 10000"/>
                  <a:gd name="connsiteX1517" fmla="*/ 4207 w 10785"/>
                  <a:gd name="connsiteY1517" fmla="*/ 1060 h 10000"/>
                  <a:gd name="connsiteX1518" fmla="*/ 4203 w 10785"/>
                  <a:gd name="connsiteY1518" fmla="*/ 1068 h 10000"/>
                  <a:gd name="connsiteX1519" fmla="*/ 4203 w 10785"/>
                  <a:gd name="connsiteY1519" fmla="*/ 1094 h 10000"/>
                  <a:gd name="connsiteX1520" fmla="*/ 4203 w 10785"/>
                  <a:gd name="connsiteY1520" fmla="*/ 1094 h 10000"/>
                  <a:gd name="connsiteX1521" fmla="*/ 4189 w 10785"/>
                  <a:gd name="connsiteY1521" fmla="*/ 1094 h 10000"/>
                  <a:gd name="connsiteX1522" fmla="*/ 4166 w 10785"/>
                  <a:gd name="connsiteY1522" fmla="*/ 1103 h 10000"/>
                  <a:gd name="connsiteX1523" fmla="*/ 4152 w 10785"/>
                  <a:gd name="connsiteY1523" fmla="*/ 1094 h 10000"/>
                  <a:gd name="connsiteX1524" fmla="*/ 4134 w 10785"/>
                  <a:gd name="connsiteY1524" fmla="*/ 1120 h 10000"/>
                  <a:gd name="connsiteX1525" fmla="*/ 4106 w 10785"/>
                  <a:gd name="connsiteY1525" fmla="*/ 1120 h 10000"/>
                  <a:gd name="connsiteX1526" fmla="*/ 4092 w 10785"/>
                  <a:gd name="connsiteY1526" fmla="*/ 1154 h 10000"/>
                  <a:gd name="connsiteX1527" fmla="*/ 4106 w 10785"/>
                  <a:gd name="connsiteY1527" fmla="*/ 1171 h 10000"/>
                  <a:gd name="connsiteX1528" fmla="*/ 4078 w 10785"/>
                  <a:gd name="connsiteY1528" fmla="*/ 1179 h 10000"/>
                  <a:gd name="connsiteX1529" fmla="*/ 4065 w 10785"/>
                  <a:gd name="connsiteY1529" fmla="*/ 1205 h 10000"/>
                  <a:gd name="connsiteX1530" fmla="*/ 4046 w 10785"/>
                  <a:gd name="connsiteY1530" fmla="*/ 1179 h 10000"/>
                  <a:gd name="connsiteX1531" fmla="*/ 4041 w 10785"/>
                  <a:gd name="connsiteY1531" fmla="*/ 1197 h 10000"/>
                  <a:gd name="connsiteX1532" fmla="*/ 4028 w 10785"/>
                  <a:gd name="connsiteY1532" fmla="*/ 1205 h 10000"/>
                  <a:gd name="connsiteX1533" fmla="*/ 4028 w 10785"/>
                  <a:gd name="connsiteY1533" fmla="*/ 1205 h 10000"/>
                  <a:gd name="connsiteX1534" fmla="*/ 4032 w 10785"/>
                  <a:gd name="connsiteY1534" fmla="*/ 1205 h 10000"/>
                  <a:gd name="connsiteX1535" fmla="*/ 4032 w 10785"/>
                  <a:gd name="connsiteY1535" fmla="*/ 1231 h 10000"/>
                  <a:gd name="connsiteX1536" fmla="*/ 4014 w 10785"/>
                  <a:gd name="connsiteY1536" fmla="*/ 1239 h 10000"/>
                  <a:gd name="connsiteX1537" fmla="*/ 4014 w 10785"/>
                  <a:gd name="connsiteY1537" fmla="*/ 1256 h 10000"/>
                  <a:gd name="connsiteX1538" fmla="*/ 4000 w 10785"/>
                  <a:gd name="connsiteY1538" fmla="*/ 1265 h 10000"/>
                  <a:gd name="connsiteX1539" fmla="*/ 3986 w 10785"/>
                  <a:gd name="connsiteY1539" fmla="*/ 1308 h 10000"/>
                  <a:gd name="connsiteX1540" fmla="*/ 3972 w 10785"/>
                  <a:gd name="connsiteY1540" fmla="*/ 1316 h 10000"/>
                  <a:gd name="connsiteX1541" fmla="*/ 3972 w 10785"/>
                  <a:gd name="connsiteY1541" fmla="*/ 1325 h 10000"/>
                  <a:gd name="connsiteX1542" fmla="*/ 3972 w 10785"/>
                  <a:gd name="connsiteY1542" fmla="*/ 1342 h 10000"/>
                  <a:gd name="connsiteX1543" fmla="*/ 3968 w 10785"/>
                  <a:gd name="connsiteY1543" fmla="*/ 1350 h 10000"/>
                  <a:gd name="connsiteX1544" fmla="*/ 3954 w 10785"/>
                  <a:gd name="connsiteY1544" fmla="*/ 1368 h 10000"/>
                  <a:gd name="connsiteX1545" fmla="*/ 3945 w 10785"/>
                  <a:gd name="connsiteY1545" fmla="*/ 1350 h 10000"/>
                  <a:gd name="connsiteX1546" fmla="*/ 3908 w 10785"/>
                  <a:gd name="connsiteY1546" fmla="*/ 1342 h 10000"/>
                  <a:gd name="connsiteX1547" fmla="*/ 3894 w 10785"/>
                  <a:gd name="connsiteY1547" fmla="*/ 1368 h 10000"/>
                  <a:gd name="connsiteX1548" fmla="*/ 3922 w 10785"/>
                  <a:gd name="connsiteY1548" fmla="*/ 1393 h 10000"/>
                  <a:gd name="connsiteX1549" fmla="*/ 3945 w 10785"/>
                  <a:gd name="connsiteY1549" fmla="*/ 1393 h 10000"/>
                  <a:gd name="connsiteX1550" fmla="*/ 3940 w 10785"/>
                  <a:gd name="connsiteY1550" fmla="*/ 1419 h 10000"/>
                  <a:gd name="connsiteX1551" fmla="*/ 3931 w 10785"/>
                  <a:gd name="connsiteY1551" fmla="*/ 1427 h 10000"/>
                  <a:gd name="connsiteX1552" fmla="*/ 3926 w 10785"/>
                  <a:gd name="connsiteY1552" fmla="*/ 1427 h 10000"/>
                  <a:gd name="connsiteX1553" fmla="*/ 3922 w 10785"/>
                  <a:gd name="connsiteY1553" fmla="*/ 1419 h 10000"/>
                  <a:gd name="connsiteX1554" fmla="*/ 3912 w 10785"/>
                  <a:gd name="connsiteY1554" fmla="*/ 1427 h 10000"/>
                  <a:gd name="connsiteX1555" fmla="*/ 3912 w 10785"/>
                  <a:gd name="connsiteY1555" fmla="*/ 1444 h 10000"/>
                  <a:gd name="connsiteX1556" fmla="*/ 3894 w 10785"/>
                  <a:gd name="connsiteY1556" fmla="*/ 1513 h 10000"/>
                  <a:gd name="connsiteX1557" fmla="*/ 3885 w 10785"/>
                  <a:gd name="connsiteY1557" fmla="*/ 1513 h 10000"/>
                  <a:gd name="connsiteX1558" fmla="*/ 3880 w 10785"/>
                  <a:gd name="connsiteY1558" fmla="*/ 1538 h 10000"/>
                  <a:gd name="connsiteX1559" fmla="*/ 3885 w 10785"/>
                  <a:gd name="connsiteY1559" fmla="*/ 1564 h 10000"/>
                  <a:gd name="connsiteX1560" fmla="*/ 3880 w 10785"/>
                  <a:gd name="connsiteY1560" fmla="*/ 1581 h 10000"/>
                  <a:gd name="connsiteX1561" fmla="*/ 3871 w 10785"/>
                  <a:gd name="connsiteY1561" fmla="*/ 1538 h 10000"/>
                  <a:gd name="connsiteX1562" fmla="*/ 3853 w 10785"/>
                  <a:gd name="connsiteY1562" fmla="*/ 1530 h 10000"/>
                  <a:gd name="connsiteX1563" fmla="*/ 3853 w 10785"/>
                  <a:gd name="connsiteY1563" fmla="*/ 1504 h 10000"/>
                  <a:gd name="connsiteX1564" fmla="*/ 3834 w 10785"/>
                  <a:gd name="connsiteY1564" fmla="*/ 1487 h 10000"/>
                  <a:gd name="connsiteX1565" fmla="*/ 3834 w 10785"/>
                  <a:gd name="connsiteY1565" fmla="*/ 1487 h 10000"/>
                  <a:gd name="connsiteX1566" fmla="*/ 3839 w 10785"/>
                  <a:gd name="connsiteY1566" fmla="*/ 1513 h 10000"/>
                  <a:gd name="connsiteX1567" fmla="*/ 3820 w 10785"/>
                  <a:gd name="connsiteY1567" fmla="*/ 1538 h 10000"/>
                  <a:gd name="connsiteX1568" fmla="*/ 3820 w 10785"/>
                  <a:gd name="connsiteY1568" fmla="*/ 1556 h 10000"/>
                  <a:gd name="connsiteX1569" fmla="*/ 3820 w 10785"/>
                  <a:gd name="connsiteY1569" fmla="*/ 1564 h 10000"/>
                  <a:gd name="connsiteX1570" fmla="*/ 3820 w 10785"/>
                  <a:gd name="connsiteY1570" fmla="*/ 1581 h 10000"/>
                  <a:gd name="connsiteX1571" fmla="*/ 3853 w 10785"/>
                  <a:gd name="connsiteY1571" fmla="*/ 1581 h 10000"/>
                  <a:gd name="connsiteX1572" fmla="*/ 3857 w 10785"/>
                  <a:gd name="connsiteY1572" fmla="*/ 1598 h 10000"/>
                  <a:gd name="connsiteX1573" fmla="*/ 3880 w 10785"/>
                  <a:gd name="connsiteY1573" fmla="*/ 1615 h 10000"/>
                  <a:gd name="connsiteX1574" fmla="*/ 3871 w 10785"/>
                  <a:gd name="connsiteY1574" fmla="*/ 1615 h 10000"/>
                  <a:gd name="connsiteX1575" fmla="*/ 3871 w 10785"/>
                  <a:gd name="connsiteY1575" fmla="*/ 1641 h 10000"/>
                  <a:gd name="connsiteX1576" fmla="*/ 3880 w 10785"/>
                  <a:gd name="connsiteY1576" fmla="*/ 1641 h 10000"/>
                  <a:gd name="connsiteX1577" fmla="*/ 3871 w 10785"/>
                  <a:gd name="connsiteY1577" fmla="*/ 1650 h 10000"/>
                  <a:gd name="connsiteX1578" fmla="*/ 3857 w 10785"/>
                  <a:gd name="connsiteY1578" fmla="*/ 1650 h 10000"/>
                  <a:gd name="connsiteX1579" fmla="*/ 3853 w 10785"/>
                  <a:gd name="connsiteY1579" fmla="*/ 1650 h 10000"/>
                  <a:gd name="connsiteX1580" fmla="*/ 3839 w 10785"/>
                  <a:gd name="connsiteY1580" fmla="*/ 1667 h 10000"/>
                  <a:gd name="connsiteX1581" fmla="*/ 3848 w 10785"/>
                  <a:gd name="connsiteY1581" fmla="*/ 1692 h 10000"/>
                  <a:gd name="connsiteX1582" fmla="*/ 3834 w 10785"/>
                  <a:gd name="connsiteY1582" fmla="*/ 1692 h 10000"/>
                  <a:gd name="connsiteX1583" fmla="*/ 3825 w 10785"/>
                  <a:gd name="connsiteY1583" fmla="*/ 1692 h 10000"/>
                  <a:gd name="connsiteX1584" fmla="*/ 3825 w 10785"/>
                  <a:gd name="connsiteY1584" fmla="*/ 1718 h 10000"/>
                  <a:gd name="connsiteX1585" fmla="*/ 3839 w 10785"/>
                  <a:gd name="connsiteY1585" fmla="*/ 1726 h 10000"/>
                  <a:gd name="connsiteX1586" fmla="*/ 3880 w 10785"/>
                  <a:gd name="connsiteY1586" fmla="*/ 1752 h 10000"/>
                  <a:gd name="connsiteX1587" fmla="*/ 3894 w 10785"/>
                  <a:gd name="connsiteY1587" fmla="*/ 1829 h 10000"/>
                  <a:gd name="connsiteX1588" fmla="*/ 3899 w 10785"/>
                  <a:gd name="connsiteY1588" fmla="*/ 1838 h 10000"/>
                  <a:gd name="connsiteX1589" fmla="*/ 3894 w 10785"/>
                  <a:gd name="connsiteY1589" fmla="*/ 1855 h 10000"/>
                  <a:gd name="connsiteX1590" fmla="*/ 3880 w 10785"/>
                  <a:gd name="connsiteY1590" fmla="*/ 1838 h 10000"/>
                  <a:gd name="connsiteX1591" fmla="*/ 3880 w 10785"/>
                  <a:gd name="connsiteY1591" fmla="*/ 1855 h 10000"/>
                  <a:gd name="connsiteX1592" fmla="*/ 3880 w 10785"/>
                  <a:gd name="connsiteY1592" fmla="*/ 1863 h 10000"/>
                  <a:gd name="connsiteX1593" fmla="*/ 3871 w 10785"/>
                  <a:gd name="connsiteY1593" fmla="*/ 1872 h 10000"/>
                  <a:gd name="connsiteX1594" fmla="*/ 3880 w 10785"/>
                  <a:gd name="connsiteY1594" fmla="*/ 1889 h 10000"/>
                  <a:gd name="connsiteX1595" fmla="*/ 3885 w 10785"/>
                  <a:gd name="connsiteY1595" fmla="*/ 1889 h 10000"/>
                  <a:gd name="connsiteX1596" fmla="*/ 3880 w 10785"/>
                  <a:gd name="connsiteY1596" fmla="*/ 1897 h 10000"/>
                  <a:gd name="connsiteX1597" fmla="*/ 3871 w 10785"/>
                  <a:gd name="connsiteY1597" fmla="*/ 1915 h 10000"/>
                  <a:gd name="connsiteX1598" fmla="*/ 3848 w 10785"/>
                  <a:gd name="connsiteY1598" fmla="*/ 1923 h 10000"/>
                  <a:gd name="connsiteX1599" fmla="*/ 3825 w 10785"/>
                  <a:gd name="connsiteY1599" fmla="*/ 1940 h 10000"/>
                  <a:gd name="connsiteX1600" fmla="*/ 3811 w 10785"/>
                  <a:gd name="connsiteY1600" fmla="*/ 1940 h 10000"/>
                  <a:gd name="connsiteX1601" fmla="*/ 3806 w 10785"/>
                  <a:gd name="connsiteY1601" fmla="*/ 1949 h 10000"/>
                  <a:gd name="connsiteX1602" fmla="*/ 3797 w 10785"/>
                  <a:gd name="connsiteY1602" fmla="*/ 1966 h 10000"/>
                  <a:gd name="connsiteX1603" fmla="*/ 3788 w 10785"/>
                  <a:gd name="connsiteY1603" fmla="*/ 1991 h 10000"/>
                  <a:gd name="connsiteX1604" fmla="*/ 3765 w 10785"/>
                  <a:gd name="connsiteY1604" fmla="*/ 1974 h 10000"/>
                  <a:gd name="connsiteX1605" fmla="*/ 3760 w 10785"/>
                  <a:gd name="connsiteY1605" fmla="*/ 1966 h 10000"/>
                  <a:gd name="connsiteX1606" fmla="*/ 3760 w 10785"/>
                  <a:gd name="connsiteY1606" fmla="*/ 1966 h 10000"/>
                  <a:gd name="connsiteX1607" fmla="*/ 3631 w 10785"/>
                  <a:gd name="connsiteY1607" fmla="*/ 2009 h 10000"/>
                  <a:gd name="connsiteX1608" fmla="*/ 3618 w 10785"/>
                  <a:gd name="connsiteY1608" fmla="*/ 2000 h 10000"/>
                  <a:gd name="connsiteX1609" fmla="*/ 3599 w 10785"/>
                  <a:gd name="connsiteY1609" fmla="*/ 2009 h 10000"/>
                  <a:gd name="connsiteX1610" fmla="*/ 3571 w 10785"/>
                  <a:gd name="connsiteY1610" fmla="*/ 2000 h 10000"/>
                  <a:gd name="connsiteX1611" fmla="*/ 3530 w 10785"/>
                  <a:gd name="connsiteY1611" fmla="*/ 2026 h 10000"/>
                  <a:gd name="connsiteX1612" fmla="*/ 3530 w 10785"/>
                  <a:gd name="connsiteY1612" fmla="*/ 2034 h 10000"/>
                  <a:gd name="connsiteX1613" fmla="*/ 3525 w 10785"/>
                  <a:gd name="connsiteY1613" fmla="*/ 2051 h 10000"/>
                  <a:gd name="connsiteX1614" fmla="*/ 3512 w 10785"/>
                  <a:gd name="connsiteY1614" fmla="*/ 2034 h 10000"/>
                  <a:gd name="connsiteX1615" fmla="*/ 3507 w 10785"/>
                  <a:gd name="connsiteY1615" fmla="*/ 2034 h 10000"/>
                  <a:gd name="connsiteX1616" fmla="*/ 3498 w 10785"/>
                  <a:gd name="connsiteY1616" fmla="*/ 2051 h 10000"/>
                  <a:gd name="connsiteX1617" fmla="*/ 3484 w 10785"/>
                  <a:gd name="connsiteY1617" fmla="*/ 2060 h 10000"/>
                  <a:gd name="connsiteX1618" fmla="*/ 3484 w 10785"/>
                  <a:gd name="connsiteY1618" fmla="*/ 2085 h 10000"/>
                  <a:gd name="connsiteX1619" fmla="*/ 3484 w 10785"/>
                  <a:gd name="connsiteY1619" fmla="*/ 2103 h 10000"/>
                  <a:gd name="connsiteX1620" fmla="*/ 3493 w 10785"/>
                  <a:gd name="connsiteY1620" fmla="*/ 2103 h 10000"/>
                  <a:gd name="connsiteX1621" fmla="*/ 3493 w 10785"/>
                  <a:gd name="connsiteY1621" fmla="*/ 2085 h 10000"/>
                  <a:gd name="connsiteX1622" fmla="*/ 3498 w 10785"/>
                  <a:gd name="connsiteY1622" fmla="*/ 2085 h 10000"/>
                  <a:gd name="connsiteX1623" fmla="*/ 3498 w 10785"/>
                  <a:gd name="connsiteY1623" fmla="*/ 2111 h 10000"/>
                  <a:gd name="connsiteX1624" fmla="*/ 3484 w 10785"/>
                  <a:gd name="connsiteY1624" fmla="*/ 2120 h 10000"/>
                  <a:gd name="connsiteX1625" fmla="*/ 3484 w 10785"/>
                  <a:gd name="connsiteY1625" fmla="*/ 2145 h 10000"/>
                  <a:gd name="connsiteX1626" fmla="*/ 3470 w 10785"/>
                  <a:gd name="connsiteY1626" fmla="*/ 2137 h 10000"/>
                  <a:gd name="connsiteX1627" fmla="*/ 3465 w 10785"/>
                  <a:gd name="connsiteY1627" fmla="*/ 2145 h 10000"/>
                  <a:gd name="connsiteX1628" fmla="*/ 3470 w 10785"/>
                  <a:gd name="connsiteY1628" fmla="*/ 2171 h 10000"/>
                  <a:gd name="connsiteX1629" fmla="*/ 3484 w 10785"/>
                  <a:gd name="connsiteY1629" fmla="*/ 2171 h 10000"/>
                  <a:gd name="connsiteX1630" fmla="*/ 3484 w 10785"/>
                  <a:gd name="connsiteY1630" fmla="*/ 2197 h 10000"/>
                  <a:gd name="connsiteX1631" fmla="*/ 3465 w 10785"/>
                  <a:gd name="connsiteY1631" fmla="*/ 2214 h 10000"/>
                  <a:gd name="connsiteX1632" fmla="*/ 3493 w 10785"/>
                  <a:gd name="connsiteY1632" fmla="*/ 2248 h 10000"/>
                  <a:gd name="connsiteX1633" fmla="*/ 3484 w 10785"/>
                  <a:gd name="connsiteY1633" fmla="*/ 2256 h 10000"/>
                  <a:gd name="connsiteX1634" fmla="*/ 3498 w 10785"/>
                  <a:gd name="connsiteY1634" fmla="*/ 2274 h 10000"/>
                  <a:gd name="connsiteX1635" fmla="*/ 3498 w 10785"/>
                  <a:gd name="connsiteY1635" fmla="*/ 2256 h 10000"/>
                  <a:gd name="connsiteX1636" fmla="*/ 3507 w 10785"/>
                  <a:gd name="connsiteY1636" fmla="*/ 2308 h 10000"/>
                  <a:gd name="connsiteX1637" fmla="*/ 3512 w 10785"/>
                  <a:gd name="connsiteY1637" fmla="*/ 2325 h 10000"/>
                  <a:gd name="connsiteX1638" fmla="*/ 3507 w 10785"/>
                  <a:gd name="connsiteY1638" fmla="*/ 2333 h 10000"/>
                  <a:gd name="connsiteX1639" fmla="*/ 3507 w 10785"/>
                  <a:gd name="connsiteY1639" fmla="*/ 2359 h 10000"/>
                  <a:gd name="connsiteX1640" fmla="*/ 3507 w 10785"/>
                  <a:gd name="connsiteY1640" fmla="*/ 2376 h 10000"/>
                  <a:gd name="connsiteX1641" fmla="*/ 3498 w 10785"/>
                  <a:gd name="connsiteY1641" fmla="*/ 2410 h 10000"/>
                  <a:gd name="connsiteX1642" fmla="*/ 3498 w 10785"/>
                  <a:gd name="connsiteY1642" fmla="*/ 2436 h 10000"/>
                  <a:gd name="connsiteX1643" fmla="*/ 3507 w 10785"/>
                  <a:gd name="connsiteY1643" fmla="*/ 2462 h 10000"/>
                  <a:gd name="connsiteX1644" fmla="*/ 3507 w 10785"/>
                  <a:gd name="connsiteY1644" fmla="*/ 2496 h 10000"/>
                  <a:gd name="connsiteX1645" fmla="*/ 3512 w 10785"/>
                  <a:gd name="connsiteY1645" fmla="*/ 2521 h 10000"/>
                  <a:gd name="connsiteX1646" fmla="*/ 3525 w 10785"/>
                  <a:gd name="connsiteY1646" fmla="*/ 2556 h 10000"/>
                  <a:gd name="connsiteX1647" fmla="*/ 3571 w 10785"/>
                  <a:gd name="connsiteY1647" fmla="*/ 2573 h 10000"/>
                  <a:gd name="connsiteX1648" fmla="*/ 3590 w 10785"/>
                  <a:gd name="connsiteY1648" fmla="*/ 2598 h 10000"/>
                  <a:gd name="connsiteX1649" fmla="*/ 3599 w 10785"/>
                  <a:gd name="connsiteY1649" fmla="*/ 2598 h 10000"/>
                  <a:gd name="connsiteX1650" fmla="*/ 3604 w 10785"/>
                  <a:gd name="connsiteY1650" fmla="*/ 2632 h 10000"/>
                  <a:gd name="connsiteX1651" fmla="*/ 3599 w 10785"/>
                  <a:gd name="connsiteY1651" fmla="*/ 2658 h 10000"/>
                  <a:gd name="connsiteX1652" fmla="*/ 3590 w 10785"/>
                  <a:gd name="connsiteY1652" fmla="*/ 2667 h 10000"/>
                  <a:gd name="connsiteX1653" fmla="*/ 3604 w 10785"/>
                  <a:gd name="connsiteY1653" fmla="*/ 2667 h 10000"/>
                  <a:gd name="connsiteX1654" fmla="*/ 3613 w 10785"/>
                  <a:gd name="connsiteY1654" fmla="*/ 2692 h 10000"/>
                  <a:gd name="connsiteX1655" fmla="*/ 3627 w 10785"/>
                  <a:gd name="connsiteY1655" fmla="*/ 2735 h 10000"/>
                  <a:gd name="connsiteX1656" fmla="*/ 3631 w 10785"/>
                  <a:gd name="connsiteY1656" fmla="*/ 2744 h 10000"/>
                  <a:gd name="connsiteX1657" fmla="*/ 3659 w 10785"/>
                  <a:gd name="connsiteY1657" fmla="*/ 2761 h 10000"/>
                  <a:gd name="connsiteX1658" fmla="*/ 3673 w 10785"/>
                  <a:gd name="connsiteY1658" fmla="*/ 2769 h 10000"/>
                  <a:gd name="connsiteX1659" fmla="*/ 3673 w 10785"/>
                  <a:gd name="connsiteY1659" fmla="*/ 2761 h 10000"/>
                  <a:gd name="connsiteX1660" fmla="*/ 3687 w 10785"/>
                  <a:gd name="connsiteY1660" fmla="*/ 2829 h 10000"/>
                  <a:gd name="connsiteX1661" fmla="*/ 3677 w 10785"/>
                  <a:gd name="connsiteY1661" fmla="*/ 2897 h 10000"/>
                  <a:gd name="connsiteX1662" fmla="*/ 3673 w 10785"/>
                  <a:gd name="connsiteY1662" fmla="*/ 2915 h 10000"/>
                  <a:gd name="connsiteX1663" fmla="*/ 3664 w 10785"/>
                  <a:gd name="connsiteY1663" fmla="*/ 2957 h 10000"/>
                  <a:gd name="connsiteX1664" fmla="*/ 3659 w 10785"/>
                  <a:gd name="connsiteY1664" fmla="*/ 2983 h 10000"/>
                  <a:gd name="connsiteX1665" fmla="*/ 3664 w 10785"/>
                  <a:gd name="connsiteY1665" fmla="*/ 3017 h 10000"/>
                  <a:gd name="connsiteX1666" fmla="*/ 3659 w 10785"/>
                  <a:gd name="connsiteY1666" fmla="*/ 3043 h 10000"/>
                  <a:gd name="connsiteX1667" fmla="*/ 3677 w 10785"/>
                  <a:gd name="connsiteY1667" fmla="*/ 3094 h 10000"/>
                  <a:gd name="connsiteX1668" fmla="*/ 3691 w 10785"/>
                  <a:gd name="connsiteY1668" fmla="*/ 3282 h 10000"/>
                  <a:gd name="connsiteX1669" fmla="*/ 3691 w 10785"/>
                  <a:gd name="connsiteY1669" fmla="*/ 3308 h 10000"/>
                  <a:gd name="connsiteX1670" fmla="*/ 3677 w 10785"/>
                  <a:gd name="connsiteY1670" fmla="*/ 3342 h 10000"/>
                  <a:gd name="connsiteX1671" fmla="*/ 3664 w 10785"/>
                  <a:gd name="connsiteY1671" fmla="*/ 3342 h 10000"/>
                  <a:gd name="connsiteX1672" fmla="*/ 3650 w 10785"/>
                  <a:gd name="connsiteY1672" fmla="*/ 3342 h 10000"/>
                  <a:gd name="connsiteX1673" fmla="*/ 3650 w 10785"/>
                  <a:gd name="connsiteY1673" fmla="*/ 3350 h 10000"/>
                  <a:gd name="connsiteX1674" fmla="*/ 3659 w 10785"/>
                  <a:gd name="connsiteY1674" fmla="*/ 3402 h 10000"/>
                  <a:gd name="connsiteX1675" fmla="*/ 3659 w 10785"/>
                  <a:gd name="connsiteY1675" fmla="*/ 3419 h 10000"/>
                  <a:gd name="connsiteX1676" fmla="*/ 3631 w 10785"/>
                  <a:gd name="connsiteY1676" fmla="*/ 3402 h 10000"/>
                  <a:gd name="connsiteX1677" fmla="*/ 3604 w 10785"/>
                  <a:gd name="connsiteY1677" fmla="*/ 3393 h 10000"/>
                  <a:gd name="connsiteX1678" fmla="*/ 3599 w 10785"/>
                  <a:gd name="connsiteY1678" fmla="*/ 3368 h 10000"/>
                  <a:gd name="connsiteX1679" fmla="*/ 3590 w 10785"/>
                  <a:gd name="connsiteY1679" fmla="*/ 3239 h 10000"/>
                  <a:gd name="connsiteX1680" fmla="*/ 3599 w 10785"/>
                  <a:gd name="connsiteY1680" fmla="*/ 3179 h 10000"/>
                  <a:gd name="connsiteX1681" fmla="*/ 3599 w 10785"/>
                  <a:gd name="connsiteY1681" fmla="*/ 3171 h 10000"/>
                  <a:gd name="connsiteX1682" fmla="*/ 3599 w 10785"/>
                  <a:gd name="connsiteY1682" fmla="*/ 3009 h 10000"/>
                  <a:gd name="connsiteX1683" fmla="*/ 3604 w 10785"/>
                  <a:gd name="connsiteY1683" fmla="*/ 2983 h 10000"/>
                  <a:gd name="connsiteX1684" fmla="*/ 3645 w 10785"/>
                  <a:gd name="connsiteY1684" fmla="*/ 2932 h 10000"/>
                  <a:gd name="connsiteX1685" fmla="*/ 3650 w 10785"/>
                  <a:gd name="connsiteY1685" fmla="*/ 2872 h 10000"/>
                  <a:gd name="connsiteX1686" fmla="*/ 3659 w 10785"/>
                  <a:gd name="connsiteY1686" fmla="*/ 2855 h 10000"/>
                  <a:gd name="connsiteX1687" fmla="*/ 3659 w 10785"/>
                  <a:gd name="connsiteY1687" fmla="*/ 2821 h 10000"/>
                  <a:gd name="connsiteX1688" fmla="*/ 3631 w 10785"/>
                  <a:gd name="connsiteY1688" fmla="*/ 2795 h 10000"/>
                  <a:gd name="connsiteX1689" fmla="*/ 3567 w 10785"/>
                  <a:gd name="connsiteY1689" fmla="*/ 2821 h 10000"/>
                  <a:gd name="connsiteX1690" fmla="*/ 3544 w 10785"/>
                  <a:gd name="connsiteY1690" fmla="*/ 2795 h 10000"/>
                  <a:gd name="connsiteX1691" fmla="*/ 3530 w 10785"/>
                  <a:gd name="connsiteY1691" fmla="*/ 2769 h 10000"/>
                  <a:gd name="connsiteX1692" fmla="*/ 3530 w 10785"/>
                  <a:gd name="connsiteY1692" fmla="*/ 2786 h 10000"/>
                  <a:gd name="connsiteX1693" fmla="*/ 3498 w 10785"/>
                  <a:gd name="connsiteY1693" fmla="*/ 2692 h 10000"/>
                  <a:gd name="connsiteX1694" fmla="*/ 3498 w 10785"/>
                  <a:gd name="connsiteY1694" fmla="*/ 2667 h 10000"/>
                  <a:gd name="connsiteX1695" fmla="*/ 3442 w 10785"/>
                  <a:gd name="connsiteY1695" fmla="*/ 2607 h 10000"/>
                  <a:gd name="connsiteX1696" fmla="*/ 3433 w 10785"/>
                  <a:gd name="connsiteY1696" fmla="*/ 2581 h 10000"/>
                  <a:gd name="connsiteX1697" fmla="*/ 3396 w 10785"/>
                  <a:gd name="connsiteY1697" fmla="*/ 2556 h 10000"/>
                  <a:gd name="connsiteX1698" fmla="*/ 3318 w 10785"/>
                  <a:gd name="connsiteY1698" fmla="*/ 2556 h 10000"/>
                  <a:gd name="connsiteX1699" fmla="*/ 3304 w 10785"/>
                  <a:gd name="connsiteY1699" fmla="*/ 2607 h 10000"/>
                  <a:gd name="connsiteX1700" fmla="*/ 3276 w 10785"/>
                  <a:gd name="connsiteY1700" fmla="*/ 2632 h 10000"/>
                  <a:gd name="connsiteX1701" fmla="*/ 3272 w 10785"/>
                  <a:gd name="connsiteY1701" fmla="*/ 2667 h 10000"/>
                  <a:gd name="connsiteX1702" fmla="*/ 3304 w 10785"/>
                  <a:gd name="connsiteY1702" fmla="*/ 2667 h 10000"/>
                  <a:gd name="connsiteX1703" fmla="*/ 3323 w 10785"/>
                  <a:gd name="connsiteY1703" fmla="*/ 2692 h 10000"/>
                  <a:gd name="connsiteX1704" fmla="*/ 3318 w 10785"/>
                  <a:gd name="connsiteY1704" fmla="*/ 2735 h 10000"/>
                  <a:gd name="connsiteX1705" fmla="*/ 3304 w 10785"/>
                  <a:gd name="connsiteY1705" fmla="*/ 2761 h 10000"/>
                  <a:gd name="connsiteX1706" fmla="*/ 3276 w 10785"/>
                  <a:gd name="connsiteY1706" fmla="*/ 2769 h 10000"/>
                  <a:gd name="connsiteX1707" fmla="*/ 3263 w 10785"/>
                  <a:gd name="connsiteY1707" fmla="*/ 2795 h 10000"/>
                  <a:gd name="connsiteX1708" fmla="*/ 3235 w 10785"/>
                  <a:gd name="connsiteY1708" fmla="*/ 2803 h 10000"/>
                  <a:gd name="connsiteX1709" fmla="*/ 3235 w 10785"/>
                  <a:gd name="connsiteY1709" fmla="*/ 2786 h 10000"/>
                  <a:gd name="connsiteX1710" fmla="*/ 3212 w 10785"/>
                  <a:gd name="connsiteY1710" fmla="*/ 2709 h 10000"/>
                  <a:gd name="connsiteX1711" fmla="*/ 3198 w 10785"/>
                  <a:gd name="connsiteY1711" fmla="*/ 2709 h 10000"/>
                  <a:gd name="connsiteX1712" fmla="*/ 3184 w 10785"/>
                  <a:gd name="connsiteY1712" fmla="*/ 2735 h 10000"/>
                  <a:gd name="connsiteX1713" fmla="*/ 3189 w 10785"/>
                  <a:gd name="connsiteY1713" fmla="*/ 2761 h 10000"/>
                  <a:gd name="connsiteX1714" fmla="*/ 3203 w 10785"/>
                  <a:gd name="connsiteY1714" fmla="*/ 2855 h 10000"/>
                  <a:gd name="connsiteX1715" fmla="*/ 3212 w 10785"/>
                  <a:gd name="connsiteY1715" fmla="*/ 2872 h 10000"/>
                  <a:gd name="connsiteX1716" fmla="*/ 3235 w 10785"/>
                  <a:gd name="connsiteY1716" fmla="*/ 2906 h 10000"/>
                  <a:gd name="connsiteX1717" fmla="*/ 3258 w 10785"/>
                  <a:gd name="connsiteY1717" fmla="*/ 2915 h 10000"/>
                  <a:gd name="connsiteX1718" fmla="*/ 3272 w 10785"/>
                  <a:gd name="connsiteY1718" fmla="*/ 2957 h 10000"/>
                  <a:gd name="connsiteX1719" fmla="*/ 3276 w 10785"/>
                  <a:gd name="connsiteY1719" fmla="*/ 2957 h 10000"/>
                  <a:gd name="connsiteX1720" fmla="*/ 3286 w 10785"/>
                  <a:gd name="connsiteY1720" fmla="*/ 2966 h 10000"/>
                  <a:gd name="connsiteX1721" fmla="*/ 3300 w 10785"/>
                  <a:gd name="connsiteY1721" fmla="*/ 2957 h 10000"/>
                  <a:gd name="connsiteX1722" fmla="*/ 3309 w 10785"/>
                  <a:gd name="connsiteY1722" fmla="*/ 2932 h 10000"/>
                  <a:gd name="connsiteX1723" fmla="*/ 3304 w 10785"/>
                  <a:gd name="connsiteY1723" fmla="*/ 2966 h 10000"/>
                  <a:gd name="connsiteX1724" fmla="*/ 3309 w 10785"/>
                  <a:gd name="connsiteY1724" fmla="*/ 2983 h 10000"/>
                  <a:gd name="connsiteX1725" fmla="*/ 3323 w 10785"/>
                  <a:gd name="connsiteY1725" fmla="*/ 2966 h 10000"/>
                  <a:gd name="connsiteX1726" fmla="*/ 3323 w 10785"/>
                  <a:gd name="connsiteY1726" fmla="*/ 3043 h 10000"/>
                  <a:gd name="connsiteX1727" fmla="*/ 3346 w 10785"/>
                  <a:gd name="connsiteY1727" fmla="*/ 3068 h 10000"/>
                  <a:gd name="connsiteX1728" fmla="*/ 3346 w 10785"/>
                  <a:gd name="connsiteY1728" fmla="*/ 3094 h 10000"/>
                  <a:gd name="connsiteX1729" fmla="*/ 3323 w 10785"/>
                  <a:gd name="connsiteY1729" fmla="*/ 3094 h 10000"/>
                  <a:gd name="connsiteX1730" fmla="*/ 3309 w 10785"/>
                  <a:gd name="connsiteY1730" fmla="*/ 3077 h 10000"/>
                  <a:gd name="connsiteX1731" fmla="*/ 3304 w 10785"/>
                  <a:gd name="connsiteY1731" fmla="*/ 3051 h 10000"/>
                  <a:gd name="connsiteX1732" fmla="*/ 3300 w 10785"/>
                  <a:gd name="connsiteY1732" fmla="*/ 3043 h 10000"/>
                  <a:gd name="connsiteX1733" fmla="*/ 3286 w 10785"/>
                  <a:gd name="connsiteY1733" fmla="*/ 3017 h 10000"/>
                  <a:gd name="connsiteX1734" fmla="*/ 3152 w 10785"/>
                  <a:gd name="connsiteY1734" fmla="*/ 2966 h 10000"/>
                  <a:gd name="connsiteX1735" fmla="*/ 3129 w 10785"/>
                  <a:gd name="connsiteY1735" fmla="*/ 2915 h 10000"/>
                  <a:gd name="connsiteX1736" fmla="*/ 3129 w 10785"/>
                  <a:gd name="connsiteY1736" fmla="*/ 2906 h 10000"/>
                  <a:gd name="connsiteX1737" fmla="*/ 3152 w 10785"/>
                  <a:gd name="connsiteY1737" fmla="*/ 2906 h 10000"/>
                  <a:gd name="connsiteX1738" fmla="*/ 3152 w 10785"/>
                  <a:gd name="connsiteY1738" fmla="*/ 2846 h 10000"/>
                  <a:gd name="connsiteX1739" fmla="*/ 3138 w 10785"/>
                  <a:gd name="connsiteY1739" fmla="*/ 2795 h 10000"/>
                  <a:gd name="connsiteX1740" fmla="*/ 3138 w 10785"/>
                  <a:gd name="connsiteY1740" fmla="*/ 2769 h 10000"/>
                  <a:gd name="connsiteX1741" fmla="*/ 3143 w 10785"/>
                  <a:gd name="connsiteY1741" fmla="*/ 2718 h 10000"/>
                  <a:gd name="connsiteX1742" fmla="*/ 3129 w 10785"/>
                  <a:gd name="connsiteY1742" fmla="*/ 2692 h 10000"/>
                  <a:gd name="connsiteX1743" fmla="*/ 3143 w 10785"/>
                  <a:gd name="connsiteY1743" fmla="*/ 2667 h 10000"/>
                  <a:gd name="connsiteX1744" fmla="*/ 3157 w 10785"/>
                  <a:gd name="connsiteY1744" fmla="*/ 2581 h 10000"/>
                  <a:gd name="connsiteX1745" fmla="*/ 3143 w 10785"/>
                  <a:gd name="connsiteY1745" fmla="*/ 2496 h 10000"/>
                  <a:gd name="connsiteX1746" fmla="*/ 3157 w 10785"/>
                  <a:gd name="connsiteY1746" fmla="*/ 2487 h 10000"/>
                  <a:gd name="connsiteX1747" fmla="*/ 3143 w 10785"/>
                  <a:gd name="connsiteY1747" fmla="*/ 2444 h 10000"/>
                  <a:gd name="connsiteX1748" fmla="*/ 3143 w 10785"/>
                  <a:gd name="connsiteY1748" fmla="*/ 2419 h 10000"/>
                  <a:gd name="connsiteX1749" fmla="*/ 3143 w 10785"/>
                  <a:gd name="connsiteY1749" fmla="*/ 2410 h 10000"/>
                  <a:gd name="connsiteX1750" fmla="*/ 3124 w 10785"/>
                  <a:gd name="connsiteY1750" fmla="*/ 2376 h 10000"/>
                  <a:gd name="connsiteX1751" fmla="*/ 3115 w 10785"/>
                  <a:gd name="connsiteY1751" fmla="*/ 2350 h 10000"/>
                  <a:gd name="connsiteX1752" fmla="*/ 3101 w 10785"/>
                  <a:gd name="connsiteY1752" fmla="*/ 2359 h 10000"/>
                  <a:gd name="connsiteX1753" fmla="*/ 3115 w 10785"/>
                  <a:gd name="connsiteY1753" fmla="*/ 2581 h 10000"/>
                  <a:gd name="connsiteX1754" fmla="*/ 3111 w 10785"/>
                  <a:gd name="connsiteY1754" fmla="*/ 2624 h 10000"/>
                  <a:gd name="connsiteX1755" fmla="*/ 3009 w 10785"/>
                  <a:gd name="connsiteY1755" fmla="*/ 2761 h 10000"/>
                  <a:gd name="connsiteX1756" fmla="*/ 3009 w 10785"/>
                  <a:gd name="connsiteY1756" fmla="*/ 2803 h 10000"/>
                  <a:gd name="connsiteX1757" fmla="*/ 3005 w 10785"/>
                  <a:gd name="connsiteY1757" fmla="*/ 2829 h 10000"/>
                  <a:gd name="connsiteX1758" fmla="*/ 2982 w 10785"/>
                  <a:gd name="connsiteY1758" fmla="*/ 2872 h 10000"/>
                  <a:gd name="connsiteX1759" fmla="*/ 2982 w 10785"/>
                  <a:gd name="connsiteY1759" fmla="*/ 2880 h 10000"/>
                  <a:gd name="connsiteX1760" fmla="*/ 3037 w 10785"/>
                  <a:gd name="connsiteY1760" fmla="*/ 3034 h 10000"/>
                  <a:gd name="connsiteX1761" fmla="*/ 3041 w 10785"/>
                  <a:gd name="connsiteY1761" fmla="*/ 3103 h 10000"/>
                  <a:gd name="connsiteX1762" fmla="*/ 3069 w 10785"/>
                  <a:gd name="connsiteY1762" fmla="*/ 3188 h 10000"/>
                  <a:gd name="connsiteX1763" fmla="*/ 3055 w 10785"/>
                  <a:gd name="connsiteY1763" fmla="*/ 3325 h 10000"/>
                  <a:gd name="connsiteX1764" fmla="*/ 3037 w 10785"/>
                  <a:gd name="connsiteY1764" fmla="*/ 3368 h 10000"/>
                  <a:gd name="connsiteX1765" fmla="*/ 3037 w 10785"/>
                  <a:gd name="connsiteY1765" fmla="*/ 3444 h 10000"/>
                  <a:gd name="connsiteX1766" fmla="*/ 3028 w 10785"/>
                  <a:gd name="connsiteY1766" fmla="*/ 3453 h 10000"/>
                  <a:gd name="connsiteX1767" fmla="*/ 3023 w 10785"/>
                  <a:gd name="connsiteY1767" fmla="*/ 3530 h 10000"/>
                  <a:gd name="connsiteX1768" fmla="*/ 3051 w 10785"/>
                  <a:gd name="connsiteY1768" fmla="*/ 3624 h 10000"/>
                  <a:gd name="connsiteX1769" fmla="*/ 3037 w 10785"/>
                  <a:gd name="connsiteY1769" fmla="*/ 3718 h 10000"/>
                  <a:gd name="connsiteX1770" fmla="*/ 3041 w 10785"/>
                  <a:gd name="connsiteY1770" fmla="*/ 3752 h 10000"/>
                  <a:gd name="connsiteX1771" fmla="*/ 3055 w 10785"/>
                  <a:gd name="connsiteY1771" fmla="*/ 3761 h 10000"/>
                  <a:gd name="connsiteX1772" fmla="*/ 3078 w 10785"/>
                  <a:gd name="connsiteY1772" fmla="*/ 3752 h 10000"/>
                  <a:gd name="connsiteX1773" fmla="*/ 3092 w 10785"/>
                  <a:gd name="connsiteY1773" fmla="*/ 3752 h 10000"/>
                  <a:gd name="connsiteX1774" fmla="*/ 3129 w 10785"/>
                  <a:gd name="connsiteY1774" fmla="*/ 3761 h 10000"/>
                  <a:gd name="connsiteX1775" fmla="*/ 3129 w 10785"/>
                  <a:gd name="connsiteY1775" fmla="*/ 3735 h 10000"/>
                  <a:gd name="connsiteX1776" fmla="*/ 3157 w 10785"/>
                  <a:gd name="connsiteY1776" fmla="*/ 3718 h 10000"/>
                  <a:gd name="connsiteX1777" fmla="*/ 3184 w 10785"/>
                  <a:gd name="connsiteY1777" fmla="*/ 3718 h 10000"/>
                  <a:gd name="connsiteX1778" fmla="*/ 3290 w 10785"/>
                  <a:gd name="connsiteY1778" fmla="*/ 3838 h 10000"/>
                  <a:gd name="connsiteX1779" fmla="*/ 3300 w 10785"/>
                  <a:gd name="connsiteY1779" fmla="*/ 3846 h 10000"/>
                  <a:gd name="connsiteX1780" fmla="*/ 3300 w 10785"/>
                  <a:gd name="connsiteY1780" fmla="*/ 3915 h 10000"/>
                  <a:gd name="connsiteX1781" fmla="*/ 3318 w 10785"/>
                  <a:gd name="connsiteY1781" fmla="*/ 4000 h 10000"/>
                  <a:gd name="connsiteX1782" fmla="*/ 3323 w 10785"/>
                  <a:gd name="connsiteY1782" fmla="*/ 4000 h 10000"/>
                  <a:gd name="connsiteX1783" fmla="*/ 3323 w 10785"/>
                  <a:gd name="connsiteY1783" fmla="*/ 4034 h 10000"/>
                  <a:gd name="connsiteX1784" fmla="*/ 3318 w 10785"/>
                  <a:gd name="connsiteY1784" fmla="*/ 4051 h 10000"/>
                  <a:gd name="connsiteX1785" fmla="*/ 3300 w 10785"/>
                  <a:gd name="connsiteY1785" fmla="*/ 4051 h 10000"/>
                  <a:gd name="connsiteX1786" fmla="*/ 3290 w 10785"/>
                  <a:gd name="connsiteY1786" fmla="*/ 4077 h 10000"/>
                  <a:gd name="connsiteX1787" fmla="*/ 3286 w 10785"/>
                  <a:gd name="connsiteY1787" fmla="*/ 4103 h 10000"/>
                  <a:gd name="connsiteX1788" fmla="*/ 3286 w 10785"/>
                  <a:gd name="connsiteY1788" fmla="*/ 4197 h 10000"/>
                  <a:gd name="connsiteX1789" fmla="*/ 3290 w 10785"/>
                  <a:gd name="connsiteY1789" fmla="*/ 4214 h 10000"/>
                  <a:gd name="connsiteX1790" fmla="*/ 3304 w 10785"/>
                  <a:gd name="connsiteY1790" fmla="*/ 4214 h 10000"/>
                  <a:gd name="connsiteX1791" fmla="*/ 3323 w 10785"/>
                  <a:gd name="connsiteY1791" fmla="*/ 4239 h 10000"/>
                  <a:gd name="connsiteX1792" fmla="*/ 3350 w 10785"/>
                  <a:gd name="connsiteY1792" fmla="*/ 4222 h 10000"/>
                  <a:gd name="connsiteX1793" fmla="*/ 3369 w 10785"/>
                  <a:gd name="connsiteY1793" fmla="*/ 4256 h 10000"/>
                  <a:gd name="connsiteX1794" fmla="*/ 3369 w 10785"/>
                  <a:gd name="connsiteY1794" fmla="*/ 4256 h 10000"/>
                  <a:gd name="connsiteX1795" fmla="*/ 3336 w 10785"/>
                  <a:gd name="connsiteY1795" fmla="*/ 4274 h 10000"/>
                  <a:gd name="connsiteX1796" fmla="*/ 3323 w 10785"/>
                  <a:gd name="connsiteY1796" fmla="*/ 4274 h 10000"/>
                  <a:gd name="connsiteX1797" fmla="*/ 3290 w 10785"/>
                  <a:gd name="connsiteY1797" fmla="*/ 4274 h 10000"/>
                  <a:gd name="connsiteX1798" fmla="*/ 3286 w 10785"/>
                  <a:gd name="connsiteY1798" fmla="*/ 4239 h 10000"/>
                  <a:gd name="connsiteX1799" fmla="*/ 3263 w 10785"/>
                  <a:gd name="connsiteY1799" fmla="*/ 4214 h 10000"/>
                  <a:gd name="connsiteX1800" fmla="*/ 3258 w 10785"/>
                  <a:gd name="connsiteY1800" fmla="*/ 4188 h 10000"/>
                  <a:gd name="connsiteX1801" fmla="*/ 3263 w 10785"/>
                  <a:gd name="connsiteY1801" fmla="*/ 4171 h 10000"/>
                  <a:gd name="connsiteX1802" fmla="*/ 3263 w 10785"/>
                  <a:gd name="connsiteY1802" fmla="*/ 4103 h 10000"/>
                  <a:gd name="connsiteX1803" fmla="*/ 3276 w 10785"/>
                  <a:gd name="connsiteY1803" fmla="*/ 4060 h 10000"/>
                  <a:gd name="connsiteX1804" fmla="*/ 3272 w 10785"/>
                  <a:gd name="connsiteY1804" fmla="*/ 4051 h 10000"/>
                  <a:gd name="connsiteX1805" fmla="*/ 3263 w 10785"/>
                  <a:gd name="connsiteY1805" fmla="*/ 4051 h 10000"/>
                  <a:gd name="connsiteX1806" fmla="*/ 3263 w 10785"/>
                  <a:gd name="connsiteY1806" fmla="*/ 4034 h 10000"/>
                  <a:gd name="connsiteX1807" fmla="*/ 3263 w 10785"/>
                  <a:gd name="connsiteY1807" fmla="*/ 4000 h 10000"/>
                  <a:gd name="connsiteX1808" fmla="*/ 3272 w 10785"/>
                  <a:gd name="connsiteY1808" fmla="*/ 4000 h 10000"/>
                  <a:gd name="connsiteX1809" fmla="*/ 3272 w 10785"/>
                  <a:gd name="connsiteY1809" fmla="*/ 3974 h 10000"/>
                  <a:gd name="connsiteX1810" fmla="*/ 3272 w 10785"/>
                  <a:gd name="connsiteY1810" fmla="*/ 3966 h 10000"/>
                  <a:gd name="connsiteX1811" fmla="*/ 3272 w 10785"/>
                  <a:gd name="connsiteY1811" fmla="*/ 3949 h 10000"/>
                  <a:gd name="connsiteX1812" fmla="*/ 3258 w 10785"/>
                  <a:gd name="connsiteY1812" fmla="*/ 3923 h 10000"/>
                  <a:gd name="connsiteX1813" fmla="*/ 3249 w 10785"/>
                  <a:gd name="connsiteY1813" fmla="*/ 3915 h 10000"/>
                  <a:gd name="connsiteX1814" fmla="*/ 3244 w 10785"/>
                  <a:gd name="connsiteY1814" fmla="*/ 3897 h 10000"/>
                  <a:gd name="connsiteX1815" fmla="*/ 3230 w 10785"/>
                  <a:gd name="connsiteY1815" fmla="*/ 3889 h 10000"/>
                  <a:gd name="connsiteX1816" fmla="*/ 3230 w 10785"/>
                  <a:gd name="connsiteY1816" fmla="*/ 3863 h 10000"/>
                  <a:gd name="connsiteX1817" fmla="*/ 3230 w 10785"/>
                  <a:gd name="connsiteY1817" fmla="*/ 3838 h 10000"/>
                  <a:gd name="connsiteX1818" fmla="*/ 3226 w 10785"/>
                  <a:gd name="connsiteY1818" fmla="*/ 3803 h 10000"/>
                  <a:gd name="connsiteX1819" fmla="*/ 3138 w 10785"/>
                  <a:gd name="connsiteY1819" fmla="*/ 3838 h 10000"/>
                  <a:gd name="connsiteX1820" fmla="*/ 3078 w 10785"/>
                  <a:gd name="connsiteY1820" fmla="*/ 3889 h 10000"/>
                  <a:gd name="connsiteX1821" fmla="*/ 3078 w 10785"/>
                  <a:gd name="connsiteY1821" fmla="*/ 3940 h 10000"/>
                  <a:gd name="connsiteX1822" fmla="*/ 3069 w 10785"/>
                  <a:gd name="connsiteY1822" fmla="*/ 3983 h 10000"/>
                  <a:gd name="connsiteX1823" fmla="*/ 3069 w 10785"/>
                  <a:gd name="connsiteY1823" fmla="*/ 4009 h 10000"/>
                  <a:gd name="connsiteX1824" fmla="*/ 3078 w 10785"/>
                  <a:gd name="connsiteY1824" fmla="*/ 4026 h 10000"/>
                  <a:gd name="connsiteX1825" fmla="*/ 3083 w 10785"/>
                  <a:gd name="connsiteY1825" fmla="*/ 4034 h 10000"/>
                  <a:gd name="connsiteX1826" fmla="*/ 3092 w 10785"/>
                  <a:gd name="connsiteY1826" fmla="*/ 4060 h 10000"/>
                  <a:gd name="connsiteX1827" fmla="*/ 3092 w 10785"/>
                  <a:gd name="connsiteY1827" fmla="*/ 4077 h 10000"/>
                  <a:gd name="connsiteX1828" fmla="*/ 3097 w 10785"/>
                  <a:gd name="connsiteY1828" fmla="*/ 4103 h 10000"/>
                  <a:gd name="connsiteX1829" fmla="*/ 3101 w 10785"/>
                  <a:gd name="connsiteY1829" fmla="*/ 4162 h 10000"/>
                  <a:gd name="connsiteX1830" fmla="*/ 3097 w 10785"/>
                  <a:gd name="connsiteY1830" fmla="*/ 4222 h 10000"/>
                  <a:gd name="connsiteX1831" fmla="*/ 3041 w 10785"/>
                  <a:gd name="connsiteY1831" fmla="*/ 4325 h 10000"/>
                  <a:gd name="connsiteX1832" fmla="*/ 3037 w 10785"/>
                  <a:gd name="connsiteY1832" fmla="*/ 4419 h 10000"/>
                  <a:gd name="connsiteX1833" fmla="*/ 3018 w 10785"/>
                  <a:gd name="connsiteY1833" fmla="*/ 4470 h 10000"/>
                  <a:gd name="connsiteX1834" fmla="*/ 2991 w 10785"/>
                  <a:gd name="connsiteY1834" fmla="*/ 4513 h 10000"/>
                  <a:gd name="connsiteX1835" fmla="*/ 2977 w 10785"/>
                  <a:gd name="connsiteY1835" fmla="*/ 4530 h 10000"/>
                  <a:gd name="connsiteX1836" fmla="*/ 2945 w 10785"/>
                  <a:gd name="connsiteY1836" fmla="*/ 4556 h 10000"/>
                  <a:gd name="connsiteX1837" fmla="*/ 2935 w 10785"/>
                  <a:gd name="connsiteY1837" fmla="*/ 4581 h 10000"/>
                  <a:gd name="connsiteX1838" fmla="*/ 2949 w 10785"/>
                  <a:gd name="connsiteY1838" fmla="*/ 4624 h 10000"/>
                  <a:gd name="connsiteX1839" fmla="*/ 2945 w 10785"/>
                  <a:gd name="connsiteY1839" fmla="*/ 4658 h 10000"/>
                  <a:gd name="connsiteX1840" fmla="*/ 2922 w 10785"/>
                  <a:gd name="connsiteY1840" fmla="*/ 4667 h 10000"/>
                  <a:gd name="connsiteX1841" fmla="*/ 2876 w 10785"/>
                  <a:gd name="connsiteY1841" fmla="*/ 4632 h 10000"/>
                  <a:gd name="connsiteX1842" fmla="*/ 2857 w 10785"/>
                  <a:gd name="connsiteY1842" fmla="*/ 4632 h 10000"/>
                  <a:gd name="connsiteX1843" fmla="*/ 2820 w 10785"/>
                  <a:gd name="connsiteY1843" fmla="*/ 4641 h 10000"/>
                  <a:gd name="connsiteX1844" fmla="*/ 2797 w 10785"/>
                  <a:gd name="connsiteY1844" fmla="*/ 4632 h 10000"/>
                  <a:gd name="connsiteX1845" fmla="*/ 2788 w 10785"/>
                  <a:gd name="connsiteY1845" fmla="*/ 4624 h 10000"/>
                  <a:gd name="connsiteX1846" fmla="*/ 2788 w 10785"/>
                  <a:gd name="connsiteY1846" fmla="*/ 4598 h 10000"/>
                  <a:gd name="connsiteX1847" fmla="*/ 2797 w 10785"/>
                  <a:gd name="connsiteY1847" fmla="*/ 4581 h 10000"/>
                  <a:gd name="connsiteX1848" fmla="*/ 2788 w 10785"/>
                  <a:gd name="connsiteY1848" fmla="*/ 4530 h 10000"/>
                  <a:gd name="connsiteX1849" fmla="*/ 2774 w 10785"/>
                  <a:gd name="connsiteY1849" fmla="*/ 4530 h 10000"/>
                  <a:gd name="connsiteX1850" fmla="*/ 2770 w 10785"/>
                  <a:gd name="connsiteY1850" fmla="*/ 4513 h 10000"/>
                  <a:gd name="connsiteX1851" fmla="*/ 2774 w 10785"/>
                  <a:gd name="connsiteY1851" fmla="*/ 4513 h 10000"/>
                  <a:gd name="connsiteX1852" fmla="*/ 2788 w 10785"/>
                  <a:gd name="connsiteY1852" fmla="*/ 4496 h 10000"/>
                  <a:gd name="connsiteX1853" fmla="*/ 2802 w 10785"/>
                  <a:gd name="connsiteY1853" fmla="*/ 4513 h 10000"/>
                  <a:gd name="connsiteX1854" fmla="*/ 2811 w 10785"/>
                  <a:gd name="connsiteY1854" fmla="*/ 4530 h 10000"/>
                  <a:gd name="connsiteX1855" fmla="*/ 2820 w 10785"/>
                  <a:gd name="connsiteY1855" fmla="*/ 4521 h 10000"/>
                  <a:gd name="connsiteX1856" fmla="*/ 2829 w 10785"/>
                  <a:gd name="connsiteY1856" fmla="*/ 4513 h 10000"/>
                  <a:gd name="connsiteX1857" fmla="*/ 2843 w 10785"/>
                  <a:gd name="connsiteY1857" fmla="*/ 4513 h 10000"/>
                  <a:gd name="connsiteX1858" fmla="*/ 2848 w 10785"/>
                  <a:gd name="connsiteY1858" fmla="*/ 4470 h 10000"/>
                  <a:gd name="connsiteX1859" fmla="*/ 2862 w 10785"/>
                  <a:gd name="connsiteY1859" fmla="*/ 4487 h 10000"/>
                  <a:gd name="connsiteX1860" fmla="*/ 2876 w 10785"/>
                  <a:gd name="connsiteY1860" fmla="*/ 4470 h 10000"/>
                  <a:gd name="connsiteX1861" fmla="*/ 2880 w 10785"/>
                  <a:gd name="connsiteY1861" fmla="*/ 4462 h 10000"/>
                  <a:gd name="connsiteX1862" fmla="*/ 2889 w 10785"/>
                  <a:gd name="connsiteY1862" fmla="*/ 4444 h 10000"/>
                  <a:gd name="connsiteX1863" fmla="*/ 2894 w 10785"/>
                  <a:gd name="connsiteY1863" fmla="*/ 4462 h 10000"/>
                  <a:gd name="connsiteX1864" fmla="*/ 2917 w 10785"/>
                  <a:gd name="connsiteY1864" fmla="*/ 4444 h 10000"/>
                  <a:gd name="connsiteX1865" fmla="*/ 2922 w 10785"/>
                  <a:gd name="connsiteY1865" fmla="*/ 4436 h 10000"/>
                  <a:gd name="connsiteX1866" fmla="*/ 2917 w 10785"/>
                  <a:gd name="connsiteY1866" fmla="*/ 4410 h 10000"/>
                  <a:gd name="connsiteX1867" fmla="*/ 2894 w 10785"/>
                  <a:gd name="connsiteY1867" fmla="*/ 4410 h 10000"/>
                  <a:gd name="connsiteX1868" fmla="*/ 2889 w 10785"/>
                  <a:gd name="connsiteY1868" fmla="*/ 4419 h 10000"/>
                  <a:gd name="connsiteX1869" fmla="*/ 2876 w 10785"/>
                  <a:gd name="connsiteY1869" fmla="*/ 4410 h 10000"/>
                  <a:gd name="connsiteX1870" fmla="*/ 2880 w 10785"/>
                  <a:gd name="connsiteY1870" fmla="*/ 4376 h 10000"/>
                  <a:gd name="connsiteX1871" fmla="*/ 2903 w 10785"/>
                  <a:gd name="connsiteY1871" fmla="*/ 4393 h 10000"/>
                  <a:gd name="connsiteX1872" fmla="*/ 2931 w 10785"/>
                  <a:gd name="connsiteY1872" fmla="*/ 4393 h 10000"/>
                  <a:gd name="connsiteX1873" fmla="*/ 2931 w 10785"/>
                  <a:gd name="connsiteY1873" fmla="*/ 4385 h 10000"/>
                  <a:gd name="connsiteX1874" fmla="*/ 2931 w 10785"/>
                  <a:gd name="connsiteY1874" fmla="*/ 4350 h 10000"/>
                  <a:gd name="connsiteX1875" fmla="*/ 2945 w 10785"/>
                  <a:gd name="connsiteY1875" fmla="*/ 4350 h 10000"/>
                  <a:gd name="connsiteX1876" fmla="*/ 2949 w 10785"/>
                  <a:gd name="connsiteY1876" fmla="*/ 4325 h 10000"/>
                  <a:gd name="connsiteX1877" fmla="*/ 2963 w 10785"/>
                  <a:gd name="connsiteY1877" fmla="*/ 4256 h 10000"/>
                  <a:gd name="connsiteX1878" fmla="*/ 2982 w 10785"/>
                  <a:gd name="connsiteY1878" fmla="*/ 4239 h 10000"/>
                  <a:gd name="connsiteX1879" fmla="*/ 2991 w 10785"/>
                  <a:gd name="connsiteY1879" fmla="*/ 4214 h 10000"/>
                  <a:gd name="connsiteX1880" fmla="*/ 2991 w 10785"/>
                  <a:gd name="connsiteY1880" fmla="*/ 4197 h 10000"/>
                  <a:gd name="connsiteX1881" fmla="*/ 2995 w 10785"/>
                  <a:gd name="connsiteY1881" fmla="*/ 4171 h 10000"/>
                  <a:gd name="connsiteX1882" fmla="*/ 2991 w 10785"/>
                  <a:gd name="connsiteY1882" fmla="*/ 4077 h 10000"/>
                  <a:gd name="connsiteX1883" fmla="*/ 2995 w 10785"/>
                  <a:gd name="connsiteY1883" fmla="*/ 4034 h 10000"/>
                  <a:gd name="connsiteX1884" fmla="*/ 3018 w 10785"/>
                  <a:gd name="connsiteY1884" fmla="*/ 3983 h 10000"/>
                  <a:gd name="connsiteX1885" fmla="*/ 3018 w 10785"/>
                  <a:gd name="connsiteY1885" fmla="*/ 3915 h 10000"/>
                  <a:gd name="connsiteX1886" fmla="*/ 2949 w 10785"/>
                  <a:gd name="connsiteY1886" fmla="*/ 3778 h 10000"/>
                  <a:gd name="connsiteX1887" fmla="*/ 2954 w 10785"/>
                  <a:gd name="connsiteY1887" fmla="*/ 3675 h 10000"/>
                  <a:gd name="connsiteX1888" fmla="*/ 2954 w 10785"/>
                  <a:gd name="connsiteY1888" fmla="*/ 3650 h 10000"/>
                  <a:gd name="connsiteX1889" fmla="*/ 2963 w 10785"/>
                  <a:gd name="connsiteY1889" fmla="*/ 3624 h 10000"/>
                  <a:gd name="connsiteX1890" fmla="*/ 2954 w 10785"/>
                  <a:gd name="connsiteY1890" fmla="*/ 3564 h 10000"/>
                  <a:gd name="connsiteX1891" fmla="*/ 2963 w 10785"/>
                  <a:gd name="connsiteY1891" fmla="*/ 3538 h 10000"/>
                  <a:gd name="connsiteX1892" fmla="*/ 2963 w 10785"/>
                  <a:gd name="connsiteY1892" fmla="*/ 3487 h 10000"/>
                  <a:gd name="connsiteX1893" fmla="*/ 2963 w 10785"/>
                  <a:gd name="connsiteY1893" fmla="*/ 3479 h 10000"/>
                  <a:gd name="connsiteX1894" fmla="*/ 2963 w 10785"/>
                  <a:gd name="connsiteY1894" fmla="*/ 3462 h 10000"/>
                  <a:gd name="connsiteX1895" fmla="*/ 2954 w 10785"/>
                  <a:gd name="connsiteY1895" fmla="*/ 3453 h 10000"/>
                  <a:gd name="connsiteX1896" fmla="*/ 2954 w 10785"/>
                  <a:gd name="connsiteY1896" fmla="*/ 3444 h 10000"/>
                  <a:gd name="connsiteX1897" fmla="*/ 2954 w 10785"/>
                  <a:gd name="connsiteY1897" fmla="*/ 3402 h 10000"/>
                  <a:gd name="connsiteX1898" fmla="*/ 2954 w 10785"/>
                  <a:gd name="connsiteY1898" fmla="*/ 3393 h 10000"/>
                  <a:gd name="connsiteX1899" fmla="*/ 2949 w 10785"/>
                  <a:gd name="connsiteY1899" fmla="*/ 3376 h 10000"/>
                  <a:gd name="connsiteX1900" fmla="*/ 2949 w 10785"/>
                  <a:gd name="connsiteY1900" fmla="*/ 3342 h 10000"/>
                  <a:gd name="connsiteX1901" fmla="*/ 2949 w 10785"/>
                  <a:gd name="connsiteY1901" fmla="*/ 3316 h 10000"/>
                  <a:gd name="connsiteX1902" fmla="*/ 2968 w 10785"/>
                  <a:gd name="connsiteY1902" fmla="*/ 3291 h 10000"/>
                  <a:gd name="connsiteX1903" fmla="*/ 2963 w 10785"/>
                  <a:gd name="connsiteY1903" fmla="*/ 3205 h 10000"/>
                  <a:gd name="connsiteX1904" fmla="*/ 2968 w 10785"/>
                  <a:gd name="connsiteY1904" fmla="*/ 3171 h 10000"/>
                  <a:gd name="connsiteX1905" fmla="*/ 2968 w 10785"/>
                  <a:gd name="connsiteY1905" fmla="*/ 3128 h 10000"/>
                  <a:gd name="connsiteX1906" fmla="*/ 2954 w 10785"/>
                  <a:gd name="connsiteY1906" fmla="*/ 3051 h 10000"/>
                  <a:gd name="connsiteX1907" fmla="*/ 2954 w 10785"/>
                  <a:gd name="connsiteY1907" fmla="*/ 3009 h 10000"/>
                  <a:gd name="connsiteX1908" fmla="*/ 2922 w 10785"/>
                  <a:gd name="connsiteY1908" fmla="*/ 2940 h 10000"/>
                  <a:gd name="connsiteX1909" fmla="*/ 2903 w 10785"/>
                  <a:gd name="connsiteY1909" fmla="*/ 2880 h 10000"/>
                  <a:gd name="connsiteX1910" fmla="*/ 2903 w 10785"/>
                  <a:gd name="connsiteY1910" fmla="*/ 2855 h 10000"/>
                  <a:gd name="connsiteX1911" fmla="*/ 2908 w 10785"/>
                  <a:gd name="connsiteY1911" fmla="*/ 2846 h 10000"/>
                  <a:gd name="connsiteX1912" fmla="*/ 2931 w 10785"/>
                  <a:gd name="connsiteY1912" fmla="*/ 2821 h 10000"/>
                  <a:gd name="connsiteX1913" fmla="*/ 2931 w 10785"/>
                  <a:gd name="connsiteY1913" fmla="*/ 2803 h 10000"/>
                  <a:gd name="connsiteX1914" fmla="*/ 2935 w 10785"/>
                  <a:gd name="connsiteY1914" fmla="*/ 2786 h 10000"/>
                  <a:gd name="connsiteX1915" fmla="*/ 2935 w 10785"/>
                  <a:gd name="connsiteY1915" fmla="*/ 2744 h 10000"/>
                  <a:gd name="connsiteX1916" fmla="*/ 2963 w 10785"/>
                  <a:gd name="connsiteY1916" fmla="*/ 2607 h 10000"/>
                  <a:gd name="connsiteX1917" fmla="*/ 2963 w 10785"/>
                  <a:gd name="connsiteY1917" fmla="*/ 2419 h 10000"/>
                  <a:gd name="connsiteX1918" fmla="*/ 2954 w 10785"/>
                  <a:gd name="connsiteY1918" fmla="*/ 2410 h 10000"/>
                  <a:gd name="connsiteX1919" fmla="*/ 2963 w 10785"/>
                  <a:gd name="connsiteY1919" fmla="*/ 2393 h 10000"/>
                  <a:gd name="connsiteX1920" fmla="*/ 2908 w 10785"/>
                  <a:gd name="connsiteY1920" fmla="*/ 2359 h 10000"/>
                  <a:gd name="connsiteX1921" fmla="*/ 2889 w 10785"/>
                  <a:gd name="connsiteY1921" fmla="*/ 2325 h 10000"/>
                  <a:gd name="connsiteX1922" fmla="*/ 2788 w 10785"/>
                  <a:gd name="connsiteY1922" fmla="*/ 2333 h 10000"/>
                  <a:gd name="connsiteX1923" fmla="*/ 2774 w 10785"/>
                  <a:gd name="connsiteY1923" fmla="*/ 2325 h 10000"/>
                  <a:gd name="connsiteX1924" fmla="*/ 2783 w 10785"/>
                  <a:gd name="connsiteY1924" fmla="*/ 2308 h 10000"/>
                  <a:gd name="connsiteX1925" fmla="*/ 2747 w 10785"/>
                  <a:gd name="connsiteY1925" fmla="*/ 2308 h 10000"/>
                  <a:gd name="connsiteX1926" fmla="*/ 2742 w 10785"/>
                  <a:gd name="connsiteY1926" fmla="*/ 2333 h 10000"/>
                  <a:gd name="connsiteX1927" fmla="*/ 2682 w 10785"/>
                  <a:gd name="connsiteY1927" fmla="*/ 2769 h 10000"/>
                  <a:gd name="connsiteX1928" fmla="*/ 2613 w 10785"/>
                  <a:gd name="connsiteY1928" fmla="*/ 2940 h 10000"/>
                  <a:gd name="connsiteX1929" fmla="*/ 2581 w 10785"/>
                  <a:gd name="connsiteY1929" fmla="*/ 2966 h 10000"/>
                  <a:gd name="connsiteX1930" fmla="*/ 2576 w 10785"/>
                  <a:gd name="connsiteY1930" fmla="*/ 3051 h 10000"/>
                  <a:gd name="connsiteX1931" fmla="*/ 2581 w 10785"/>
                  <a:gd name="connsiteY1931" fmla="*/ 3051 h 10000"/>
                  <a:gd name="connsiteX1932" fmla="*/ 2594 w 10785"/>
                  <a:gd name="connsiteY1932" fmla="*/ 3017 h 10000"/>
                  <a:gd name="connsiteX1933" fmla="*/ 2594 w 10785"/>
                  <a:gd name="connsiteY1933" fmla="*/ 3034 h 10000"/>
                  <a:gd name="connsiteX1934" fmla="*/ 2594 w 10785"/>
                  <a:gd name="connsiteY1934" fmla="*/ 3051 h 10000"/>
                  <a:gd name="connsiteX1935" fmla="*/ 2590 w 10785"/>
                  <a:gd name="connsiteY1935" fmla="*/ 3077 h 10000"/>
                  <a:gd name="connsiteX1936" fmla="*/ 2567 w 10785"/>
                  <a:gd name="connsiteY1936" fmla="*/ 3103 h 10000"/>
                  <a:gd name="connsiteX1937" fmla="*/ 2562 w 10785"/>
                  <a:gd name="connsiteY1937" fmla="*/ 3145 h 10000"/>
                  <a:gd name="connsiteX1938" fmla="*/ 2567 w 10785"/>
                  <a:gd name="connsiteY1938" fmla="*/ 3179 h 10000"/>
                  <a:gd name="connsiteX1939" fmla="*/ 2590 w 10785"/>
                  <a:gd name="connsiteY1939" fmla="*/ 3171 h 10000"/>
                  <a:gd name="connsiteX1940" fmla="*/ 2594 w 10785"/>
                  <a:gd name="connsiteY1940" fmla="*/ 3145 h 10000"/>
                  <a:gd name="connsiteX1941" fmla="*/ 2613 w 10785"/>
                  <a:gd name="connsiteY1941" fmla="*/ 3154 h 10000"/>
                  <a:gd name="connsiteX1942" fmla="*/ 2622 w 10785"/>
                  <a:gd name="connsiteY1942" fmla="*/ 3179 h 10000"/>
                  <a:gd name="connsiteX1943" fmla="*/ 2613 w 10785"/>
                  <a:gd name="connsiteY1943" fmla="*/ 3214 h 10000"/>
                  <a:gd name="connsiteX1944" fmla="*/ 2613 w 10785"/>
                  <a:gd name="connsiteY1944" fmla="*/ 3308 h 10000"/>
                  <a:gd name="connsiteX1945" fmla="*/ 2608 w 10785"/>
                  <a:gd name="connsiteY1945" fmla="*/ 3325 h 10000"/>
                  <a:gd name="connsiteX1946" fmla="*/ 2608 w 10785"/>
                  <a:gd name="connsiteY1946" fmla="*/ 3376 h 10000"/>
                  <a:gd name="connsiteX1947" fmla="*/ 2613 w 10785"/>
                  <a:gd name="connsiteY1947" fmla="*/ 3419 h 10000"/>
                  <a:gd name="connsiteX1948" fmla="*/ 2608 w 10785"/>
                  <a:gd name="connsiteY1948" fmla="*/ 3444 h 10000"/>
                  <a:gd name="connsiteX1949" fmla="*/ 2594 w 10785"/>
                  <a:gd name="connsiteY1949" fmla="*/ 3444 h 10000"/>
                  <a:gd name="connsiteX1950" fmla="*/ 2590 w 10785"/>
                  <a:gd name="connsiteY1950" fmla="*/ 3427 h 10000"/>
                  <a:gd name="connsiteX1951" fmla="*/ 2581 w 10785"/>
                  <a:gd name="connsiteY1951" fmla="*/ 3564 h 10000"/>
                  <a:gd name="connsiteX1952" fmla="*/ 2594 w 10785"/>
                  <a:gd name="connsiteY1952" fmla="*/ 3598 h 10000"/>
                  <a:gd name="connsiteX1953" fmla="*/ 2594 w 10785"/>
                  <a:gd name="connsiteY1953" fmla="*/ 3581 h 10000"/>
                  <a:gd name="connsiteX1954" fmla="*/ 2608 w 10785"/>
                  <a:gd name="connsiteY1954" fmla="*/ 3556 h 10000"/>
                  <a:gd name="connsiteX1955" fmla="*/ 2650 w 10785"/>
                  <a:gd name="connsiteY1955" fmla="*/ 3615 h 10000"/>
                  <a:gd name="connsiteX1956" fmla="*/ 2664 w 10785"/>
                  <a:gd name="connsiteY1956" fmla="*/ 3615 h 10000"/>
                  <a:gd name="connsiteX1957" fmla="*/ 2668 w 10785"/>
                  <a:gd name="connsiteY1957" fmla="*/ 3615 h 10000"/>
                  <a:gd name="connsiteX1958" fmla="*/ 2664 w 10785"/>
                  <a:gd name="connsiteY1958" fmla="*/ 3667 h 10000"/>
                  <a:gd name="connsiteX1959" fmla="*/ 2687 w 10785"/>
                  <a:gd name="connsiteY1959" fmla="*/ 3786 h 10000"/>
                  <a:gd name="connsiteX1960" fmla="*/ 2710 w 10785"/>
                  <a:gd name="connsiteY1960" fmla="*/ 3812 h 10000"/>
                  <a:gd name="connsiteX1961" fmla="*/ 2724 w 10785"/>
                  <a:gd name="connsiteY1961" fmla="*/ 3812 h 10000"/>
                  <a:gd name="connsiteX1962" fmla="*/ 2724 w 10785"/>
                  <a:gd name="connsiteY1962" fmla="*/ 3829 h 10000"/>
                  <a:gd name="connsiteX1963" fmla="*/ 2737 w 10785"/>
                  <a:gd name="connsiteY1963" fmla="*/ 3838 h 10000"/>
                  <a:gd name="connsiteX1964" fmla="*/ 2714 w 10785"/>
                  <a:gd name="connsiteY1964" fmla="*/ 3872 h 10000"/>
                  <a:gd name="connsiteX1965" fmla="*/ 2696 w 10785"/>
                  <a:gd name="connsiteY1965" fmla="*/ 4026 h 10000"/>
                  <a:gd name="connsiteX1966" fmla="*/ 2673 w 10785"/>
                  <a:gd name="connsiteY1966" fmla="*/ 4051 h 10000"/>
                  <a:gd name="connsiteX1967" fmla="*/ 2668 w 10785"/>
                  <a:gd name="connsiteY1967" fmla="*/ 4034 h 10000"/>
                  <a:gd name="connsiteX1968" fmla="*/ 2673 w 10785"/>
                  <a:gd name="connsiteY1968" fmla="*/ 4000 h 10000"/>
                  <a:gd name="connsiteX1969" fmla="*/ 2664 w 10785"/>
                  <a:gd name="connsiteY1969" fmla="*/ 3974 h 10000"/>
                  <a:gd name="connsiteX1970" fmla="*/ 2636 w 10785"/>
                  <a:gd name="connsiteY1970" fmla="*/ 3949 h 10000"/>
                  <a:gd name="connsiteX1971" fmla="*/ 2581 w 10785"/>
                  <a:gd name="connsiteY1971" fmla="*/ 3838 h 10000"/>
                  <a:gd name="connsiteX1972" fmla="*/ 2562 w 10785"/>
                  <a:gd name="connsiteY1972" fmla="*/ 3829 h 10000"/>
                  <a:gd name="connsiteX1973" fmla="*/ 2535 w 10785"/>
                  <a:gd name="connsiteY1973" fmla="*/ 3778 h 10000"/>
                  <a:gd name="connsiteX1974" fmla="*/ 2502 w 10785"/>
                  <a:gd name="connsiteY1974" fmla="*/ 3761 h 10000"/>
                  <a:gd name="connsiteX1975" fmla="*/ 2502 w 10785"/>
                  <a:gd name="connsiteY1975" fmla="*/ 3735 h 10000"/>
                  <a:gd name="connsiteX1976" fmla="*/ 2516 w 10785"/>
                  <a:gd name="connsiteY1976" fmla="*/ 3735 h 10000"/>
                  <a:gd name="connsiteX1977" fmla="*/ 2507 w 10785"/>
                  <a:gd name="connsiteY1977" fmla="*/ 3726 h 10000"/>
                  <a:gd name="connsiteX1978" fmla="*/ 2488 w 10785"/>
                  <a:gd name="connsiteY1978" fmla="*/ 3726 h 10000"/>
                  <a:gd name="connsiteX1979" fmla="*/ 2461 w 10785"/>
                  <a:gd name="connsiteY1979" fmla="*/ 3692 h 10000"/>
                  <a:gd name="connsiteX1980" fmla="*/ 2442 w 10785"/>
                  <a:gd name="connsiteY1980" fmla="*/ 3675 h 10000"/>
                  <a:gd name="connsiteX1981" fmla="*/ 2406 w 10785"/>
                  <a:gd name="connsiteY1981" fmla="*/ 3598 h 10000"/>
                  <a:gd name="connsiteX1982" fmla="*/ 2346 w 10785"/>
                  <a:gd name="connsiteY1982" fmla="*/ 3564 h 10000"/>
                  <a:gd name="connsiteX1983" fmla="*/ 2341 w 10785"/>
                  <a:gd name="connsiteY1983" fmla="*/ 3564 h 10000"/>
                  <a:gd name="connsiteX1984" fmla="*/ 2313 w 10785"/>
                  <a:gd name="connsiteY1984" fmla="*/ 3530 h 10000"/>
                  <a:gd name="connsiteX1985" fmla="*/ 2235 w 10785"/>
                  <a:gd name="connsiteY1985" fmla="*/ 3530 h 10000"/>
                  <a:gd name="connsiteX1986" fmla="*/ 2226 w 10785"/>
                  <a:gd name="connsiteY1986" fmla="*/ 3513 h 10000"/>
                  <a:gd name="connsiteX1987" fmla="*/ 2207 w 10785"/>
                  <a:gd name="connsiteY1987" fmla="*/ 3504 h 10000"/>
                  <a:gd name="connsiteX1988" fmla="*/ 2194 w 10785"/>
                  <a:gd name="connsiteY1988" fmla="*/ 3504 h 10000"/>
                  <a:gd name="connsiteX1989" fmla="*/ 2189 w 10785"/>
                  <a:gd name="connsiteY1989" fmla="*/ 3504 h 10000"/>
                  <a:gd name="connsiteX1990" fmla="*/ 2189 w 10785"/>
                  <a:gd name="connsiteY1990" fmla="*/ 3530 h 10000"/>
                  <a:gd name="connsiteX1991" fmla="*/ 2180 w 10785"/>
                  <a:gd name="connsiteY1991" fmla="*/ 3538 h 10000"/>
                  <a:gd name="connsiteX1992" fmla="*/ 2152 w 10785"/>
                  <a:gd name="connsiteY1992" fmla="*/ 3581 h 10000"/>
                  <a:gd name="connsiteX1993" fmla="*/ 2161 w 10785"/>
                  <a:gd name="connsiteY1993" fmla="*/ 3598 h 10000"/>
                  <a:gd name="connsiteX1994" fmla="*/ 2194 w 10785"/>
                  <a:gd name="connsiteY1994" fmla="*/ 3752 h 10000"/>
                  <a:gd name="connsiteX1995" fmla="*/ 2194 w 10785"/>
                  <a:gd name="connsiteY1995" fmla="*/ 3735 h 10000"/>
                  <a:gd name="connsiteX1996" fmla="*/ 2198 w 10785"/>
                  <a:gd name="connsiteY1996" fmla="*/ 3735 h 10000"/>
                  <a:gd name="connsiteX1997" fmla="*/ 2189 w 10785"/>
                  <a:gd name="connsiteY1997" fmla="*/ 3838 h 10000"/>
                  <a:gd name="connsiteX1998" fmla="*/ 2166 w 10785"/>
                  <a:gd name="connsiteY1998" fmla="*/ 3889 h 10000"/>
                  <a:gd name="connsiteX1999" fmla="*/ 2124 w 10785"/>
                  <a:gd name="connsiteY1999" fmla="*/ 3889 h 10000"/>
                  <a:gd name="connsiteX2000" fmla="*/ 2124 w 10785"/>
                  <a:gd name="connsiteY2000" fmla="*/ 3923 h 10000"/>
                  <a:gd name="connsiteX2001" fmla="*/ 2134 w 10785"/>
                  <a:gd name="connsiteY2001" fmla="*/ 3940 h 10000"/>
                  <a:gd name="connsiteX2002" fmla="*/ 2134 w 10785"/>
                  <a:gd name="connsiteY2002" fmla="*/ 3966 h 10000"/>
                  <a:gd name="connsiteX2003" fmla="*/ 2120 w 10785"/>
                  <a:gd name="connsiteY2003" fmla="*/ 4000 h 10000"/>
                  <a:gd name="connsiteX2004" fmla="*/ 2106 w 10785"/>
                  <a:gd name="connsiteY2004" fmla="*/ 4009 h 10000"/>
                  <a:gd name="connsiteX2005" fmla="*/ 2088 w 10785"/>
                  <a:gd name="connsiteY2005" fmla="*/ 4000 h 10000"/>
                  <a:gd name="connsiteX2006" fmla="*/ 2074 w 10785"/>
                  <a:gd name="connsiteY2006" fmla="*/ 3974 h 10000"/>
                  <a:gd name="connsiteX2007" fmla="*/ 2074 w 10785"/>
                  <a:gd name="connsiteY2007" fmla="*/ 3940 h 10000"/>
                  <a:gd name="connsiteX2008" fmla="*/ 2078 w 10785"/>
                  <a:gd name="connsiteY2008" fmla="*/ 3915 h 10000"/>
                  <a:gd name="connsiteX2009" fmla="*/ 2088 w 10785"/>
                  <a:gd name="connsiteY2009" fmla="*/ 3889 h 10000"/>
                  <a:gd name="connsiteX2010" fmla="*/ 2101 w 10785"/>
                  <a:gd name="connsiteY2010" fmla="*/ 3872 h 10000"/>
                  <a:gd name="connsiteX2011" fmla="*/ 2074 w 10785"/>
                  <a:gd name="connsiteY2011" fmla="*/ 3812 h 10000"/>
                  <a:gd name="connsiteX2012" fmla="*/ 2074 w 10785"/>
                  <a:gd name="connsiteY2012" fmla="*/ 3786 h 10000"/>
                  <a:gd name="connsiteX2013" fmla="*/ 2060 w 10785"/>
                  <a:gd name="connsiteY2013" fmla="*/ 3786 h 10000"/>
                  <a:gd name="connsiteX2014" fmla="*/ 2014 w 10785"/>
                  <a:gd name="connsiteY2014" fmla="*/ 3829 h 10000"/>
                  <a:gd name="connsiteX2015" fmla="*/ 2000 w 10785"/>
                  <a:gd name="connsiteY2015" fmla="*/ 3863 h 10000"/>
                  <a:gd name="connsiteX2016" fmla="*/ 1986 w 10785"/>
                  <a:gd name="connsiteY2016" fmla="*/ 3872 h 10000"/>
                  <a:gd name="connsiteX2017" fmla="*/ 1959 w 10785"/>
                  <a:gd name="connsiteY2017" fmla="*/ 3940 h 10000"/>
                  <a:gd name="connsiteX2018" fmla="*/ 1945 w 10785"/>
                  <a:gd name="connsiteY2018" fmla="*/ 3949 h 10000"/>
                  <a:gd name="connsiteX2019" fmla="*/ 1940 w 10785"/>
                  <a:gd name="connsiteY2019" fmla="*/ 3923 h 10000"/>
                  <a:gd name="connsiteX2020" fmla="*/ 1917 w 10785"/>
                  <a:gd name="connsiteY2020" fmla="*/ 3915 h 10000"/>
                  <a:gd name="connsiteX2021" fmla="*/ 1899 w 10785"/>
                  <a:gd name="connsiteY2021" fmla="*/ 3923 h 10000"/>
                  <a:gd name="connsiteX2022" fmla="*/ 1880 w 10785"/>
                  <a:gd name="connsiteY2022" fmla="*/ 3915 h 10000"/>
                  <a:gd name="connsiteX2023" fmla="*/ 1853 w 10785"/>
                  <a:gd name="connsiteY2023" fmla="*/ 3940 h 10000"/>
                  <a:gd name="connsiteX2024" fmla="*/ 1839 w 10785"/>
                  <a:gd name="connsiteY2024" fmla="*/ 3940 h 10000"/>
                  <a:gd name="connsiteX2025" fmla="*/ 1806 w 10785"/>
                  <a:gd name="connsiteY2025" fmla="*/ 3983 h 10000"/>
                  <a:gd name="connsiteX2026" fmla="*/ 1806 w 10785"/>
                  <a:gd name="connsiteY2026" fmla="*/ 4000 h 10000"/>
                  <a:gd name="connsiteX2027" fmla="*/ 1797 w 10785"/>
                  <a:gd name="connsiteY2027" fmla="*/ 4077 h 10000"/>
                  <a:gd name="connsiteX2028" fmla="*/ 1783 w 10785"/>
                  <a:gd name="connsiteY2028" fmla="*/ 4077 h 10000"/>
                  <a:gd name="connsiteX2029" fmla="*/ 1779 w 10785"/>
                  <a:gd name="connsiteY2029" fmla="*/ 4051 h 10000"/>
                  <a:gd name="connsiteX2030" fmla="*/ 1765 w 10785"/>
                  <a:gd name="connsiteY2030" fmla="*/ 4026 h 10000"/>
                  <a:gd name="connsiteX2031" fmla="*/ 1751 w 10785"/>
                  <a:gd name="connsiteY2031" fmla="*/ 4051 h 10000"/>
                  <a:gd name="connsiteX2032" fmla="*/ 1737 w 10785"/>
                  <a:gd name="connsiteY2032" fmla="*/ 4009 h 10000"/>
                  <a:gd name="connsiteX2033" fmla="*/ 1737 w 10785"/>
                  <a:gd name="connsiteY2033" fmla="*/ 3966 h 10000"/>
                  <a:gd name="connsiteX2034" fmla="*/ 1733 w 10785"/>
                  <a:gd name="connsiteY2034" fmla="*/ 3940 h 10000"/>
                  <a:gd name="connsiteX2035" fmla="*/ 1733 w 10785"/>
                  <a:gd name="connsiteY2035" fmla="*/ 3923 h 10000"/>
                  <a:gd name="connsiteX2036" fmla="*/ 1747 w 10785"/>
                  <a:gd name="connsiteY2036" fmla="*/ 3889 h 10000"/>
                  <a:gd name="connsiteX2037" fmla="*/ 1747 w 10785"/>
                  <a:gd name="connsiteY2037" fmla="*/ 3863 h 10000"/>
                  <a:gd name="connsiteX2038" fmla="*/ 1737 w 10785"/>
                  <a:gd name="connsiteY2038" fmla="*/ 3838 h 10000"/>
                  <a:gd name="connsiteX2039" fmla="*/ 1733 w 10785"/>
                  <a:gd name="connsiteY2039" fmla="*/ 3829 h 10000"/>
                  <a:gd name="connsiteX2040" fmla="*/ 1733 w 10785"/>
                  <a:gd name="connsiteY2040" fmla="*/ 3846 h 10000"/>
                  <a:gd name="connsiteX2041" fmla="*/ 1724 w 10785"/>
                  <a:gd name="connsiteY2041" fmla="*/ 3846 h 10000"/>
                  <a:gd name="connsiteX2042" fmla="*/ 1724 w 10785"/>
                  <a:gd name="connsiteY2042" fmla="*/ 3829 h 10000"/>
                  <a:gd name="connsiteX2043" fmla="*/ 1737 w 10785"/>
                  <a:gd name="connsiteY2043" fmla="*/ 3812 h 10000"/>
                  <a:gd name="connsiteX2044" fmla="*/ 1765 w 10785"/>
                  <a:gd name="connsiteY2044" fmla="*/ 3812 h 10000"/>
                  <a:gd name="connsiteX2045" fmla="*/ 1779 w 10785"/>
                  <a:gd name="connsiteY2045" fmla="*/ 3786 h 10000"/>
                  <a:gd name="connsiteX2046" fmla="*/ 1779 w 10785"/>
                  <a:gd name="connsiteY2046" fmla="*/ 3786 h 10000"/>
                  <a:gd name="connsiteX2047" fmla="*/ 1751 w 10785"/>
                  <a:gd name="connsiteY2047" fmla="*/ 3803 h 10000"/>
                  <a:gd name="connsiteX2048" fmla="*/ 1747 w 10785"/>
                  <a:gd name="connsiteY2048" fmla="*/ 3803 h 10000"/>
                  <a:gd name="connsiteX2049" fmla="*/ 1724 w 10785"/>
                  <a:gd name="connsiteY2049" fmla="*/ 3803 h 10000"/>
                  <a:gd name="connsiteX2050" fmla="*/ 1700 w 10785"/>
                  <a:gd name="connsiteY2050" fmla="*/ 3829 h 10000"/>
                  <a:gd name="connsiteX2051" fmla="*/ 1705 w 10785"/>
                  <a:gd name="connsiteY2051" fmla="*/ 3846 h 10000"/>
                  <a:gd name="connsiteX2052" fmla="*/ 1691 w 10785"/>
                  <a:gd name="connsiteY2052" fmla="*/ 3846 h 10000"/>
                  <a:gd name="connsiteX2053" fmla="*/ 1691 w 10785"/>
                  <a:gd name="connsiteY2053" fmla="*/ 3863 h 10000"/>
                  <a:gd name="connsiteX2054" fmla="*/ 1691 w 10785"/>
                  <a:gd name="connsiteY2054" fmla="*/ 3915 h 10000"/>
                  <a:gd name="connsiteX2055" fmla="*/ 1677 w 10785"/>
                  <a:gd name="connsiteY2055" fmla="*/ 3923 h 10000"/>
                  <a:gd name="connsiteX2056" fmla="*/ 1673 w 10785"/>
                  <a:gd name="connsiteY2056" fmla="*/ 3915 h 10000"/>
                  <a:gd name="connsiteX2057" fmla="*/ 1664 w 10785"/>
                  <a:gd name="connsiteY2057" fmla="*/ 3889 h 10000"/>
                  <a:gd name="connsiteX2058" fmla="*/ 1673 w 10785"/>
                  <a:gd name="connsiteY2058" fmla="*/ 3872 h 10000"/>
                  <a:gd name="connsiteX2059" fmla="*/ 1664 w 10785"/>
                  <a:gd name="connsiteY2059" fmla="*/ 3872 h 10000"/>
                  <a:gd name="connsiteX2060" fmla="*/ 1636 w 10785"/>
                  <a:gd name="connsiteY2060" fmla="*/ 3923 h 10000"/>
                  <a:gd name="connsiteX2061" fmla="*/ 1645 w 10785"/>
                  <a:gd name="connsiteY2061" fmla="*/ 3923 h 10000"/>
                  <a:gd name="connsiteX2062" fmla="*/ 1650 w 10785"/>
                  <a:gd name="connsiteY2062" fmla="*/ 3949 h 10000"/>
                  <a:gd name="connsiteX2063" fmla="*/ 1650 w 10785"/>
                  <a:gd name="connsiteY2063" fmla="*/ 3983 h 10000"/>
                  <a:gd name="connsiteX2064" fmla="*/ 1636 w 10785"/>
                  <a:gd name="connsiteY2064" fmla="*/ 4000 h 10000"/>
                  <a:gd name="connsiteX2065" fmla="*/ 1631 w 10785"/>
                  <a:gd name="connsiteY2065" fmla="*/ 4009 h 10000"/>
                  <a:gd name="connsiteX2066" fmla="*/ 1618 w 10785"/>
                  <a:gd name="connsiteY2066" fmla="*/ 3949 h 10000"/>
                  <a:gd name="connsiteX2067" fmla="*/ 1585 w 10785"/>
                  <a:gd name="connsiteY2067" fmla="*/ 3966 h 10000"/>
                  <a:gd name="connsiteX2068" fmla="*/ 1590 w 10785"/>
                  <a:gd name="connsiteY2068" fmla="*/ 3974 h 10000"/>
                  <a:gd name="connsiteX2069" fmla="*/ 1544 w 10785"/>
                  <a:gd name="connsiteY2069" fmla="*/ 4009 h 10000"/>
                  <a:gd name="connsiteX2070" fmla="*/ 1539 w 10785"/>
                  <a:gd name="connsiteY2070" fmla="*/ 4009 h 10000"/>
                  <a:gd name="connsiteX2071" fmla="*/ 1410 w 10785"/>
                  <a:gd name="connsiteY2071" fmla="*/ 4188 h 10000"/>
                  <a:gd name="connsiteX2072" fmla="*/ 1406 w 10785"/>
                  <a:gd name="connsiteY2072" fmla="*/ 4171 h 10000"/>
                  <a:gd name="connsiteX2073" fmla="*/ 1396 w 10785"/>
                  <a:gd name="connsiteY2073" fmla="*/ 4214 h 10000"/>
                  <a:gd name="connsiteX2074" fmla="*/ 1406 w 10785"/>
                  <a:gd name="connsiteY2074" fmla="*/ 4222 h 10000"/>
                  <a:gd name="connsiteX2075" fmla="*/ 1392 w 10785"/>
                  <a:gd name="connsiteY2075" fmla="*/ 4239 h 10000"/>
                  <a:gd name="connsiteX2076" fmla="*/ 1369 w 10785"/>
                  <a:gd name="connsiteY2076" fmla="*/ 4248 h 10000"/>
                  <a:gd name="connsiteX2077" fmla="*/ 1355 w 10785"/>
                  <a:gd name="connsiteY2077" fmla="*/ 4256 h 10000"/>
                  <a:gd name="connsiteX2078" fmla="*/ 1350 w 10785"/>
                  <a:gd name="connsiteY2078" fmla="*/ 4248 h 10000"/>
                  <a:gd name="connsiteX2079" fmla="*/ 1332 w 10785"/>
                  <a:gd name="connsiteY2079" fmla="*/ 4376 h 10000"/>
                  <a:gd name="connsiteX2080" fmla="*/ 1332 w 10785"/>
                  <a:gd name="connsiteY2080" fmla="*/ 4436 h 10000"/>
                  <a:gd name="connsiteX2081" fmla="*/ 1323 w 10785"/>
                  <a:gd name="connsiteY2081" fmla="*/ 4462 h 10000"/>
                  <a:gd name="connsiteX2082" fmla="*/ 1304 w 10785"/>
                  <a:gd name="connsiteY2082" fmla="*/ 4487 h 10000"/>
                  <a:gd name="connsiteX2083" fmla="*/ 1290 w 10785"/>
                  <a:gd name="connsiteY2083" fmla="*/ 4470 h 10000"/>
                  <a:gd name="connsiteX2084" fmla="*/ 1263 w 10785"/>
                  <a:gd name="connsiteY2084" fmla="*/ 4496 h 10000"/>
                  <a:gd name="connsiteX2085" fmla="*/ 1258 w 10785"/>
                  <a:gd name="connsiteY2085" fmla="*/ 4547 h 10000"/>
                  <a:gd name="connsiteX2086" fmla="*/ 1249 w 10785"/>
                  <a:gd name="connsiteY2086" fmla="*/ 4487 h 10000"/>
                  <a:gd name="connsiteX2087" fmla="*/ 1235 w 10785"/>
                  <a:gd name="connsiteY2087" fmla="*/ 4496 h 10000"/>
                  <a:gd name="connsiteX2088" fmla="*/ 1221 w 10785"/>
                  <a:gd name="connsiteY2088" fmla="*/ 4496 h 10000"/>
                  <a:gd name="connsiteX2089" fmla="*/ 1217 w 10785"/>
                  <a:gd name="connsiteY2089" fmla="*/ 4487 h 10000"/>
                  <a:gd name="connsiteX2090" fmla="*/ 1198 w 10785"/>
                  <a:gd name="connsiteY2090" fmla="*/ 4410 h 10000"/>
                  <a:gd name="connsiteX2091" fmla="*/ 1157 w 10785"/>
                  <a:gd name="connsiteY2091" fmla="*/ 4333 h 10000"/>
                  <a:gd name="connsiteX2092" fmla="*/ 1147 w 10785"/>
                  <a:gd name="connsiteY2092" fmla="*/ 4299 h 10000"/>
                  <a:gd name="connsiteX2093" fmla="*/ 1147 w 10785"/>
                  <a:gd name="connsiteY2093" fmla="*/ 4274 h 10000"/>
                  <a:gd name="connsiteX2094" fmla="*/ 1161 w 10785"/>
                  <a:gd name="connsiteY2094" fmla="*/ 4256 h 10000"/>
                  <a:gd name="connsiteX2095" fmla="*/ 1171 w 10785"/>
                  <a:gd name="connsiteY2095" fmla="*/ 4248 h 10000"/>
                  <a:gd name="connsiteX2096" fmla="*/ 1175 w 10785"/>
                  <a:gd name="connsiteY2096" fmla="*/ 4214 h 10000"/>
                  <a:gd name="connsiteX2097" fmla="*/ 1263 w 10785"/>
                  <a:gd name="connsiteY2097" fmla="*/ 4171 h 10000"/>
                  <a:gd name="connsiteX2098" fmla="*/ 1249 w 10785"/>
                  <a:gd name="connsiteY2098" fmla="*/ 4137 h 10000"/>
                  <a:gd name="connsiteX2099" fmla="*/ 1244 w 10785"/>
                  <a:gd name="connsiteY2099" fmla="*/ 4060 h 10000"/>
                  <a:gd name="connsiteX2100" fmla="*/ 1230 w 10785"/>
                  <a:gd name="connsiteY2100" fmla="*/ 4077 h 10000"/>
                  <a:gd name="connsiteX2101" fmla="*/ 1221 w 10785"/>
                  <a:gd name="connsiteY2101" fmla="*/ 4026 h 10000"/>
                  <a:gd name="connsiteX2102" fmla="*/ 1217 w 10785"/>
                  <a:gd name="connsiteY2102" fmla="*/ 4026 h 10000"/>
                  <a:gd name="connsiteX2103" fmla="*/ 1212 w 10785"/>
                  <a:gd name="connsiteY2103" fmla="*/ 3983 h 10000"/>
                  <a:gd name="connsiteX2104" fmla="*/ 1203 w 10785"/>
                  <a:gd name="connsiteY2104" fmla="*/ 3966 h 10000"/>
                  <a:gd name="connsiteX2105" fmla="*/ 1171 w 10785"/>
                  <a:gd name="connsiteY2105" fmla="*/ 3949 h 10000"/>
                  <a:gd name="connsiteX2106" fmla="*/ 1111 w 10785"/>
                  <a:gd name="connsiteY2106" fmla="*/ 3940 h 10000"/>
                  <a:gd name="connsiteX2107" fmla="*/ 1097 w 10785"/>
                  <a:gd name="connsiteY2107" fmla="*/ 3949 h 10000"/>
                  <a:gd name="connsiteX2108" fmla="*/ 1037 w 10785"/>
                  <a:gd name="connsiteY2108" fmla="*/ 3897 h 10000"/>
                  <a:gd name="connsiteX2109" fmla="*/ 1041 w 10785"/>
                  <a:gd name="connsiteY2109" fmla="*/ 3923 h 10000"/>
                  <a:gd name="connsiteX2110" fmla="*/ 1097 w 10785"/>
                  <a:gd name="connsiteY2110" fmla="*/ 4009 h 10000"/>
                  <a:gd name="connsiteX2111" fmla="*/ 1097 w 10785"/>
                  <a:gd name="connsiteY2111" fmla="*/ 4120 h 10000"/>
                  <a:gd name="connsiteX2112" fmla="*/ 1097 w 10785"/>
                  <a:gd name="connsiteY2112" fmla="*/ 4162 h 10000"/>
                  <a:gd name="connsiteX2113" fmla="*/ 1097 w 10785"/>
                  <a:gd name="connsiteY2113" fmla="*/ 4197 h 10000"/>
                  <a:gd name="connsiteX2114" fmla="*/ 1074 w 10785"/>
                  <a:gd name="connsiteY2114" fmla="*/ 4333 h 10000"/>
                  <a:gd name="connsiteX2115" fmla="*/ 1074 w 10785"/>
                  <a:gd name="connsiteY2115" fmla="*/ 4376 h 10000"/>
                  <a:gd name="connsiteX2116" fmla="*/ 1083 w 10785"/>
                  <a:gd name="connsiteY2116" fmla="*/ 4385 h 10000"/>
                  <a:gd name="connsiteX2117" fmla="*/ 1097 w 10785"/>
                  <a:gd name="connsiteY2117" fmla="*/ 4385 h 10000"/>
                  <a:gd name="connsiteX2118" fmla="*/ 1111 w 10785"/>
                  <a:gd name="connsiteY2118" fmla="*/ 4410 h 10000"/>
                  <a:gd name="connsiteX2119" fmla="*/ 1124 w 10785"/>
                  <a:gd name="connsiteY2119" fmla="*/ 4444 h 10000"/>
                  <a:gd name="connsiteX2120" fmla="*/ 1124 w 10785"/>
                  <a:gd name="connsiteY2120" fmla="*/ 4470 h 10000"/>
                  <a:gd name="connsiteX2121" fmla="*/ 1115 w 10785"/>
                  <a:gd name="connsiteY2121" fmla="*/ 4513 h 10000"/>
                  <a:gd name="connsiteX2122" fmla="*/ 1115 w 10785"/>
                  <a:gd name="connsiteY2122" fmla="*/ 4530 h 10000"/>
                  <a:gd name="connsiteX2123" fmla="*/ 1115 w 10785"/>
                  <a:gd name="connsiteY2123" fmla="*/ 4573 h 10000"/>
                  <a:gd name="connsiteX2124" fmla="*/ 1101 w 10785"/>
                  <a:gd name="connsiteY2124" fmla="*/ 4607 h 10000"/>
                  <a:gd name="connsiteX2125" fmla="*/ 1097 w 10785"/>
                  <a:gd name="connsiteY2125" fmla="*/ 4658 h 10000"/>
                  <a:gd name="connsiteX2126" fmla="*/ 1101 w 10785"/>
                  <a:gd name="connsiteY2126" fmla="*/ 4692 h 10000"/>
                  <a:gd name="connsiteX2127" fmla="*/ 1097 w 10785"/>
                  <a:gd name="connsiteY2127" fmla="*/ 4778 h 10000"/>
                  <a:gd name="connsiteX2128" fmla="*/ 1083 w 10785"/>
                  <a:gd name="connsiteY2128" fmla="*/ 4744 h 10000"/>
                  <a:gd name="connsiteX2129" fmla="*/ 1083 w 10785"/>
                  <a:gd name="connsiteY2129" fmla="*/ 4718 h 10000"/>
                  <a:gd name="connsiteX2130" fmla="*/ 1074 w 10785"/>
                  <a:gd name="connsiteY2130" fmla="*/ 4692 h 10000"/>
                  <a:gd name="connsiteX2131" fmla="*/ 1065 w 10785"/>
                  <a:gd name="connsiteY2131" fmla="*/ 4692 h 10000"/>
                  <a:gd name="connsiteX2132" fmla="*/ 1051 w 10785"/>
                  <a:gd name="connsiteY2132" fmla="*/ 4718 h 10000"/>
                  <a:gd name="connsiteX2133" fmla="*/ 1055 w 10785"/>
                  <a:gd name="connsiteY2133" fmla="*/ 4692 h 10000"/>
                  <a:gd name="connsiteX2134" fmla="*/ 1055 w 10785"/>
                  <a:gd name="connsiteY2134" fmla="*/ 4667 h 10000"/>
                  <a:gd name="connsiteX2135" fmla="*/ 1028 w 10785"/>
                  <a:gd name="connsiteY2135" fmla="*/ 4624 h 10000"/>
                  <a:gd name="connsiteX2136" fmla="*/ 1005 w 10785"/>
                  <a:gd name="connsiteY2136" fmla="*/ 4624 h 10000"/>
                  <a:gd name="connsiteX2137" fmla="*/ 977 w 10785"/>
                  <a:gd name="connsiteY2137" fmla="*/ 4581 h 10000"/>
                  <a:gd name="connsiteX2138" fmla="*/ 963 w 10785"/>
                  <a:gd name="connsiteY2138" fmla="*/ 4607 h 10000"/>
                  <a:gd name="connsiteX2139" fmla="*/ 963 w 10785"/>
                  <a:gd name="connsiteY2139" fmla="*/ 4632 h 10000"/>
                  <a:gd name="connsiteX2140" fmla="*/ 917 w 10785"/>
                  <a:gd name="connsiteY2140" fmla="*/ 4718 h 10000"/>
                  <a:gd name="connsiteX2141" fmla="*/ 889 w 10785"/>
                  <a:gd name="connsiteY2141" fmla="*/ 4744 h 10000"/>
                  <a:gd name="connsiteX2142" fmla="*/ 880 w 10785"/>
                  <a:gd name="connsiteY2142" fmla="*/ 4744 h 10000"/>
                  <a:gd name="connsiteX2143" fmla="*/ 862 w 10785"/>
                  <a:gd name="connsiteY2143" fmla="*/ 4769 h 10000"/>
                  <a:gd name="connsiteX2144" fmla="*/ 857 w 10785"/>
                  <a:gd name="connsiteY2144" fmla="*/ 4795 h 10000"/>
                  <a:gd name="connsiteX2145" fmla="*/ 829 w 10785"/>
                  <a:gd name="connsiteY2145" fmla="*/ 4846 h 10000"/>
                  <a:gd name="connsiteX2146" fmla="*/ 816 w 10785"/>
                  <a:gd name="connsiteY2146" fmla="*/ 4855 h 10000"/>
                  <a:gd name="connsiteX2147" fmla="*/ 816 w 10785"/>
                  <a:gd name="connsiteY2147" fmla="*/ 4940 h 10000"/>
                  <a:gd name="connsiteX2148" fmla="*/ 880 w 10785"/>
                  <a:gd name="connsiteY2148" fmla="*/ 5179 h 10000"/>
                  <a:gd name="connsiteX2149" fmla="*/ 880 w 10785"/>
                  <a:gd name="connsiteY2149" fmla="*/ 5188 h 10000"/>
                  <a:gd name="connsiteX2150" fmla="*/ 862 w 10785"/>
                  <a:gd name="connsiteY2150" fmla="*/ 5171 h 10000"/>
                  <a:gd name="connsiteX2151" fmla="*/ 857 w 10785"/>
                  <a:gd name="connsiteY2151" fmla="*/ 5171 h 10000"/>
                  <a:gd name="connsiteX2152" fmla="*/ 820 w 10785"/>
                  <a:gd name="connsiteY2152" fmla="*/ 5145 h 10000"/>
                  <a:gd name="connsiteX2153" fmla="*/ 820 w 10785"/>
                  <a:gd name="connsiteY2153" fmla="*/ 5154 h 10000"/>
                  <a:gd name="connsiteX2154" fmla="*/ 816 w 10785"/>
                  <a:gd name="connsiteY2154" fmla="*/ 5171 h 10000"/>
                  <a:gd name="connsiteX2155" fmla="*/ 783 w 10785"/>
                  <a:gd name="connsiteY2155" fmla="*/ 5145 h 10000"/>
                  <a:gd name="connsiteX2156" fmla="*/ 756 w 10785"/>
                  <a:gd name="connsiteY2156" fmla="*/ 5103 h 10000"/>
                  <a:gd name="connsiteX2157" fmla="*/ 742 w 10785"/>
                  <a:gd name="connsiteY2157" fmla="*/ 5103 h 10000"/>
                  <a:gd name="connsiteX2158" fmla="*/ 728 w 10785"/>
                  <a:gd name="connsiteY2158" fmla="*/ 5094 h 10000"/>
                  <a:gd name="connsiteX2159" fmla="*/ 710 w 10785"/>
                  <a:gd name="connsiteY2159" fmla="*/ 5120 h 10000"/>
                  <a:gd name="connsiteX2160" fmla="*/ 700 w 10785"/>
                  <a:gd name="connsiteY2160" fmla="*/ 5145 h 10000"/>
                  <a:gd name="connsiteX2161" fmla="*/ 696 w 10785"/>
                  <a:gd name="connsiteY2161" fmla="*/ 5103 h 10000"/>
                  <a:gd name="connsiteX2162" fmla="*/ 714 w 10785"/>
                  <a:gd name="connsiteY2162" fmla="*/ 5077 h 10000"/>
                  <a:gd name="connsiteX2163" fmla="*/ 682 w 10785"/>
                  <a:gd name="connsiteY2163" fmla="*/ 5068 h 10000"/>
                  <a:gd name="connsiteX2164" fmla="*/ 673 w 10785"/>
                  <a:gd name="connsiteY2164" fmla="*/ 5034 h 10000"/>
                  <a:gd name="connsiteX2165" fmla="*/ 636 w 10785"/>
                  <a:gd name="connsiteY2165" fmla="*/ 4991 h 10000"/>
                  <a:gd name="connsiteX2166" fmla="*/ 622 w 10785"/>
                  <a:gd name="connsiteY2166" fmla="*/ 4983 h 10000"/>
                  <a:gd name="connsiteX2167" fmla="*/ 622 w 10785"/>
                  <a:gd name="connsiteY2167" fmla="*/ 5034 h 10000"/>
                  <a:gd name="connsiteX2168" fmla="*/ 608 w 10785"/>
                  <a:gd name="connsiteY2168" fmla="*/ 5051 h 10000"/>
                  <a:gd name="connsiteX2169" fmla="*/ 594 w 10785"/>
                  <a:gd name="connsiteY2169" fmla="*/ 5068 h 10000"/>
                  <a:gd name="connsiteX2170" fmla="*/ 608 w 10785"/>
                  <a:gd name="connsiteY2170" fmla="*/ 5120 h 10000"/>
                  <a:gd name="connsiteX2171" fmla="*/ 613 w 10785"/>
                  <a:gd name="connsiteY2171" fmla="*/ 5128 h 10000"/>
                  <a:gd name="connsiteX2172" fmla="*/ 627 w 10785"/>
                  <a:gd name="connsiteY2172" fmla="*/ 5179 h 10000"/>
                  <a:gd name="connsiteX2173" fmla="*/ 650 w 10785"/>
                  <a:gd name="connsiteY2173" fmla="*/ 5214 h 10000"/>
                  <a:gd name="connsiteX2174" fmla="*/ 687 w 10785"/>
                  <a:gd name="connsiteY2174" fmla="*/ 5188 h 10000"/>
                  <a:gd name="connsiteX2175" fmla="*/ 700 w 10785"/>
                  <a:gd name="connsiteY2175" fmla="*/ 5325 h 10000"/>
                  <a:gd name="connsiteX2176" fmla="*/ 710 w 10785"/>
                  <a:gd name="connsiteY2176" fmla="*/ 5350 h 10000"/>
                  <a:gd name="connsiteX2177" fmla="*/ 687 w 10785"/>
                  <a:gd name="connsiteY2177" fmla="*/ 5325 h 10000"/>
                  <a:gd name="connsiteX2178" fmla="*/ 668 w 10785"/>
                  <a:gd name="connsiteY2178" fmla="*/ 5350 h 10000"/>
                  <a:gd name="connsiteX2179" fmla="*/ 668 w 10785"/>
                  <a:gd name="connsiteY2179" fmla="*/ 5368 h 10000"/>
                  <a:gd name="connsiteX2180" fmla="*/ 668 w 10785"/>
                  <a:gd name="connsiteY2180" fmla="*/ 5376 h 10000"/>
                  <a:gd name="connsiteX2181" fmla="*/ 581 w 10785"/>
                  <a:gd name="connsiteY2181" fmla="*/ 5316 h 10000"/>
                  <a:gd name="connsiteX2182" fmla="*/ 567 w 10785"/>
                  <a:gd name="connsiteY2182" fmla="*/ 5265 h 10000"/>
                  <a:gd name="connsiteX2183" fmla="*/ 562 w 10785"/>
                  <a:gd name="connsiteY2183" fmla="*/ 5256 h 10000"/>
                  <a:gd name="connsiteX2184" fmla="*/ 548 w 10785"/>
                  <a:gd name="connsiteY2184" fmla="*/ 5231 h 10000"/>
                  <a:gd name="connsiteX2185" fmla="*/ 535 w 10785"/>
                  <a:gd name="connsiteY2185" fmla="*/ 5214 h 10000"/>
                  <a:gd name="connsiteX2186" fmla="*/ 525 w 10785"/>
                  <a:gd name="connsiteY2186" fmla="*/ 5231 h 10000"/>
                  <a:gd name="connsiteX2187" fmla="*/ 521 w 10785"/>
                  <a:gd name="connsiteY2187" fmla="*/ 5231 h 10000"/>
                  <a:gd name="connsiteX2188" fmla="*/ 493 w 10785"/>
                  <a:gd name="connsiteY2188" fmla="*/ 5205 h 10000"/>
                  <a:gd name="connsiteX2189" fmla="*/ 488 w 10785"/>
                  <a:gd name="connsiteY2189" fmla="*/ 5179 h 10000"/>
                  <a:gd name="connsiteX2190" fmla="*/ 475 w 10785"/>
                  <a:gd name="connsiteY2190" fmla="*/ 5188 h 10000"/>
                  <a:gd name="connsiteX2191" fmla="*/ 475 w 10785"/>
                  <a:gd name="connsiteY2191" fmla="*/ 5171 h 10000"/>
                  <a:gd name="connsiteX2192" fmla="*/ 488 w 10785"/>
                  <a:gd name="connsiteY2192" fmla="*/ 5154 h 10000"/>
                  <a:gd name="connsiteX2193" fmla="*/ 488 w 10785"/>
                  <a:gd name="connsiteY2193" fmla="*/ 5068 h 10000"/>
                  <a:gd name="connsiteX2194" fmla="*/ 475 w 10785"/>
                  <a:gd name="connsiteY2194" fmla="*/ 5051 h 10000"/>
                  <a:gd name="connsiteX2195" fmla="*/ 475 w 10785"/>
                  <a:gd name="connsiteY2195" fmla="*/ 5017 h 10000"/>
                  <a:gd name="connsiteX2196" fmla="*/ 452 w 10785"/>
                  <a:gd name="connsiteY2196" fmla="*/ 4932 h 10000"/>
                  <a:gd name="connsiteX2197" fmla="*/ 461 w 10785"/>
                  <a:gd name="connsiteY2197" fmla="*/ 4915 h 10000"/>
                  <a:gd name="connsiteX2198" fmla="*/ 475 w 10785"/>
                  <a:gd name="connsiteY2198" fmla="*/ 4906 h 10000"/>
                  <a:gd name="connsiteX2199" fmla="*/ 479 w 10785"/>
                  <a:gd name="connsiteY2199" fmla="*/ 4803 h 10000"/>
                  <a:gd name="connsiteX2200" fmla="*/ 479 w 10785"/>
                  <a:gd name="connsiteY2200" fmla="*/ 4778 h 10000"/>
                  <a:gd name="connsiteX2201" fmla="*/ 475 w 10785"/>
                  <a:gd name="connsiteY2201" fmla="*/ 4761 h 10000"/>
                  <a:gd name="connsiteX2202" fmla="*/ 465 w 10785"/>
                  <a:gd name="connsiteY2202" fmla="*/ 4718 h 10000"/>
                  <a:gd name="connsiteX2203" fmla="*/ 461 w 10785"/>
                  <a:gd name="connsiteY2203" fmla="*/ 4709 h 10000"/>
                  <a:gd name="connsiteX2204" fmla="*/ 442 w 10785"/>
                  <a:gd name="connsiteY2204" fmla="*/ 4692 h 10000"/>
                  <a:gd name="connsiteX2205" fmla="*/ 433 w 10785"/>
                  <a:gd name="connsiteY2205" fmla="*/ 4667 h 10000"/>
                  <a:gd name="connsiteX2206" fmla="*/ 419 w 10785"/>
                  <a:gd name="connsiteY2206" fmla="*/ 4667 h 10000"/>
                  <a:gd name="connsiteX2207" fmla="*/ 401 w 10785"/>
                  <a:gd name="connsiteY2207" fmla="*/ 4658 h 10000"/>
                  <a:gd name="connsiteX2208" fmla="*/ 401 w 10785"/>
                  <a:gd name="connsiteY2208" fmla="*/ 4624 h 10000"/>
                  <a:gd name="connsiteX2209" fmla="*/ 401 w 10785"/>
                  <a:gd name="connsiteY2209" fmla="*/ 4607 h 10000"/>
                  <a:gd name="connsiteX2210" fmla="*/ 378 w 10785"/>
                  <a:gd name="connsiteY2210" fmla="*/ 4607 h 10000"/>
                  <a:gd name="connsiteX2211" fmla="*/ 341 w 10785"/>
                  <a:gd name="connsiteY2211" fmla="*/ 4530 h 10000"/>
                  <a:gd name="connsiteX2212" fmla="*/ 346 w 10785"/>
                  <a:gd name="connsiteY2212" fmla="*/ 4521 h 10000"/>
                  <a:gd name="connsiteX2213" fmla="*/ 332 w 10785"/>
                  <a:gd name="connsiteY2213" fmla="*/ 4487 h 10000"/>
                  <a:gd name="connsiteX2214" fmla="*/ 327 w 10785"/>
                  <a:gd name="connsiteY2214" fmla="*/ 4462 h 10000"/>
                  <a:gd name="connsiteX2215" fmla="*/ 313 w 10785"/>
                  <a:gd name="connsiteY2215" fmla="*/ 4436 h 10000"/>
                  <a:gd name="connsiteX2216" fmla="*/ 300 w 10785"/>
                  <a:gd name="connsiteY2216" fmla="*/ 4419 h 10000"/>
                  <a:gd name="connsiteX2217" fmla="*/ 309 w 10785"/>
                  <a:gd name="connsiteY2217" fmla="*/ 4393 h 10000"/>
                  <a:gd name="connsiteX2218" fmla="*/ 332 w 10785"/>
                  <a:gd name="connsiteY2218" fmla="*/ 4385 h 10000"/>
                  <a:gd name="connsiteX2219" fmla="*/ 355 w 10785"/>
                  <a:gd name="connsiteY2219" fmla="*/ 4419 h 10000"/>
                  <a:gd name="connsiteX2220" fmla="*/ 355 w 10785"/>
                  <a:gd name="connsiteY2220" fmla="*/ 4444 h 10000"/>
                  <a:gd name="connsiteX2221" fmla="*/ 369 w 10785"/>
                  <a:gd name="connsiteY2221" fmla="*/ 4470 h 10000"/>
                  <a:gd name="connsiteX2222" fmla="*/ 401 w 10785"/>
                  <a:gd name="connsiteY2222" fmla="*/ 4521 h 10000"/>
                  <a:gd name="connsiteX2223" fmla="*/ 406 w 10785"/>
                  <a:gd name="connsiteY2223" fmla="*/ 4513 h 10000"/>
                  <a:gd name="connsiteX2224" fmla="*/ 406 w 10785"/>
                  <a:gd name="connsiteY2224" fmla="*/ 4496 h 10000"/>
                  <a:gd name="connsiteX2225" fmla="*/ 419 w 10785"/>
                  <a:gd name="connsiteY2225" fmla="*/ 4521 h 10000"/>
                  <a:gd name="connsiteX2226" fmla="*/ 429 w 10785"/>
                  <a:gd name="connsiteY2226" fmla="*/ 4530 h 10000"/>
                  <a:gd name="connsiteX2227" fmla="*/ 433 w 10785"/>
                  <a:gd name="connsiteY2227" fmla="*/ 4521 h 10000"/>
                  <a:gd name="connsiteX2228" fmla="*/ 442 w 10785"/>
                  <a:gd name="connsiteY2228" fmla="*/ 4530 h 10000"/>
                  <a:gd name="connsiteX2229" fmla="*/ 447 w 10785"/>
                  <a:gd name="connsiteY2229" fmla="*/ 4521 h 10000"/>
                  <a:gd name="connsiteX2230" fmla="*/ 452 w 10785"/>
                  <a:gd name="connsiteY2230" fmla="*/ 4521 h 10000"/>
                  <a:gd name="connsiteX2231" fmla="*/ 461 w 10785"/>
                  <a:gd name="connsiteY2231" fmla="*/ 4573 h 10000"/>
                  <a:gd name="connsiteX2232" fmla="*/ 479 w 10785"/>
                  <a:gd name="connsiteY2232" fmla="*/ 4556 h 10000"/>
                  <a:gd name="connsiteX2233" fmla="*/ 502 w 10785"/>
                  <a:gd name="connsiteY2233" fmla="*/ 4573 h 10000"/>
                  <a:gd name="connsiteX2234" fmla="*/ 507 w 10785"/>
                  <a:gd name="connsiteY2234" fmla="*/ 4598 h 10000"/>
                  <a:gd name="connsiteX2235" fmla="*/ 525 w 10785"/>
                  <a:gd name="connsiteY2235" fmla="*/ 4598 h 10000"/>
                  <a:gd name="connsiteX2236" fmla="*/ 535 w 10785"/>
                  <a:gd name="connsiteY2236" fmla="*/ 4624 h 10000"/>
                  <a:gd name="connsiteX2237" fmla="*/ 594 w 10785"/>
                  <a:gd name="connsiteY2237" fmla="*/ 4658 h 10000"/>
                  <a:gd name="connsiteX2238" fmla="*/ 627 w 10785"/>
                  <a:gd name="connsiteY2238" fmla="*/ 4658 h 10000"/>
                  <a:gd name="connsiteX2239" fmla="*/ 654 w 10785"/>
                  <a:gd name="connsiteY2239" fmla="*/ 4684 h 10000"/>
                  <a:gd name="connsiteX2240" fmla="*/ 668 w 10785"/>
                  <a:gd name="connsiteY2240" fmla="*/ 4709 h 10000"/>
                  <a:gd name="connsiteX2241" fmla="*/ 747 w 10785"/>
                  <a:gd name="connsiteY2241" fmla="*/ 4718 h 10000"/>
                  <a:gd name="connsiteX2242" fmla="*/ 760 w 10785"/>
                  <a:gd name="connsiteY2242" fmla="*/ 4709 h 10000"/>
                  <a:gd name="connsiteX2243" fmla="*/ 774 w 10785"/>
                  <a:gd name="connsiteY2243" fmla="*/ 4692 h 10000"/>
                  <a:gd name="connsiteX2244" fmla="*/ 829 w 10785"/>
                  <a:gd name="connsiteY2244" fmla="*/ 4658 h 10000"/>
                  <a:gd name="connsiteX2245" fmla="*/ 903 w 10785"/>
                  <a:gd name="connsiteY2245" fmla="*/ 4496 h 10000"/>
                  <a:gd name="connsiteX2246" fmla="*/ 917 w 10785"/>
                  <a:gd name="connsiteY2246" fmla="*/ 4385 h 10000"/>
                  <a:gd name="connsiteX2247" fmla="*/ 903 w 10785"/>
                  <a:gd name="connsiteY2247" fmla="*/ 4376 h 10000"/>
                  <a:gd name="connsiteX2248" fmla="*/ 903 w 10785"/>
                  <a:gd name="connsiteY2248" fmla="*/ 4376 h 10000"/>
                  <a:gd name="connsiteX2249" fmla="*/ 889 w 10785"/>
                  <a:gd name="connsiteY2249" fmla="*/ 4239 h 10000"/>
                  <a:gd name="connsiteX2250" fmla="*/ 880 w 10785"/>
                  <a:gd name="connsiteY2250" fmla="*/ 4214 h 10000"/>
                  <a:gd name="connsiteX2251" fmla="*/ 862 w 10785"/>
                  <a:gd name="connsiteY2251" fmla="*/ 4188 h 10000"/>
                  <a:gd name="connsiteX2252" fmla="*/ 857 w 10785"/>
                  <a:gd name="connsiteY2252" fmla="*/ 4197 h 10000"/>
                  <a:gd name="connsiteX2253" fmla="*/ 848 w 10785"/>
                  <a:gd name="connsiteY2253" fmla="*/ 4188 h 10000"/>
                  <a:gd name="connsiteX2254" fmla="*/ 848 w 10785"/>
                  <a:gd name="connsiteY2254" fmla="*/ 4162 h 10000"/>
                  <a:gd name="connsiteX2255" fmla="*/ 829 w 10785"/>
                  <a:gd name="connsiteY2255" fmla="*/ 4120 h 10000"/>
                  <a:gd name="connsiteX2256" fmla="*/ 820 w 10785"/>
                  <a:gd name="connsiteY2256" fmla="*/ 4103 h 10000"/>
                  <a:gd name="connsiteX2257" fmla="*/ 806 w 10785"/>
                  <a:gd name="connsiteY2257" fmla="*/ 4077 h 10000"/>
                  <a:gd name="connsiteX2258" fmla="*/ 816 w 10785"/>
                  <a:gd name="connsiteY2258" fmla="*/ 4111 h 10000"/>
                  <a:gd name="connsiteX2259" fmla="*/ 802 w 10785"/>
                  <a:gd name="connsiteY2259" fmla="*/ 4111 h 10000"/>
                  <a:gd name="connsiteX2260" fmla="*/ 770 w 10785"/>
                  <a:gd name="connsiteY2260" fmla="*/ 4060 h 10000"/>
                  <a:gd name="connsiteX2261" fmla="*/ 760 w 10785"/>
                  <a:gd name="connsiteY2261" fmla="*/ 4077 h 10000"/>
                  <a:gd name="connsiteX2262" fmla="*/ 760 w 10785"/>
                  <a:gd name="connsiteY2262" fmla="*/ 4060 h 10000"/>
                  <a:gd name="connsiteX2263" fmla="*/ 756 w 10785"/>
                  <a:gd name="connsiteY2263" fmla="*/ 4034 h 10000"/>
                  <a:gd name="connsiteX2264" fmla="*/ 742 w 10785"/>
                  <a:gd name="connsiteY2264" fmla="*/ 4000 h 10000"/>
                  <a:gd name="connsiteX2265" fmla="*/ 747 w 10785"/>
                  <a:gd name="connsiteY2265" fmla="*/ 4034 h 10000"/>
                  <a:gd name="connsiteX2266" fmla="*/ 724 w 10785"/>
                  <a:gd name="connsiteY2266" fmla="*/ 4026 h 10000"/>
                  <a:gd name="connsiteX2267" fmla="*/ 714 w 10785"/>
                  <a:gd name="connsiteY2267" fmla="*/ 4000 h 10000"/>
                  <a:gd name="connsiteX2268" fmla="*/ 714 w 10785"/>
                  <a:gd name="connsiteY2268" fmla="*/ 3983 h 10000"/>
                  <a:gd name="connsiteX2269" fmla="*/ 553 w 10785"/>
                  <a:gd name="connsiteY2269" fmla="*/ 3726 h 10000"/>
                  <a:gd name="connsiteX2270" fmla="*/ 507 w 10785"/>
                  <a:gd name="connsiteY2270" fmla="*/ 3718 h 10000"/>
                  <a:gd name="connsiteX2271" fmla="*/ 516 w 10785"/>
                  <a:gd name="connsiteY2271" fmla="*/ 3726 h 10000"/>
                  <a:gd name="connsiteX2272" fmla="*/ 507 w 10785"/>
                  <a:gd name="connsiteY2272" fmla="*/ 3735 h 10000"/>
                  <a:gd name="connsiteX2273" fmla="*/ 502 w 10785"/>
                  <a:gd name="connsiteY2273" fmla="*/ 3735 h 10000"/>
                  <a:gd name="connsiteX2274" fmla="*/ 419 w 10785"/>
                  <a:gd name="connsiteY2274" fmla="*/ 3675 h 10000"/>
                  <a:gd name="connsiteX2275" fmla="*/ 419 w 10785"/>
                  <a:gd name="connsiteY2275" fmla="*/ 3692 h 10000"/>
                  <a:gd name="connsiteX2276" fmla="*/ 401 w 10785"/>
                  <a:gd name="connsiteY2276" fmla="*/ 3701 h 10000"/>
                  <a:gd name="connsiteX2277" fmla="*/ 387 w 10785"/>
                  <a:gd name="connsiteY2277" fmla="*/ 3718 h 10000"/>
                  <a:gd name="connsiteX2278" fmla="*/ 387 w 10785"/>
                  <a:gd name="connsiteY2278" fmla="*/ 3692 h 10000"/>
                  <a:gd name="connsiteX2279" fmla="*/ 378 w 10785"/>
                  <a:gd name="connsiteY2279" fmla="*/ 3675 h 10000"/>
                  <a:gd name="connsiteX2280" fmla="*/ 378 w 10785"/>
                  <a:gd name="connsiteY2280" fmla="*/ 3650 h 10000"/>
                  <a:gd name="connsiteX2281" fmla="*/ 378 w 10785"/>
                  <a:gd name="connsiteY2281" fmla="*/ 3650 h 10000"/>
                  <a:gd name="connsiteX2282" fmla="*/ 355 w 10785"/>
                  <a:gd name="connsiteY2282" fmla="*/ 3675 h 10000"/>
                  <a:gd name="connsiteX2283" fmla="*/ 359 w 10785"/>
                  <a:gd name="connsiteY2283" fmla="*/ 3641 h 10000"/>
                  <a:gd name="connsiteX2284" fmla="*/ 346 w 10785"/>
                  <a:gd name="connsiteY2284" fmla="*/ 3650 h 10000"/>
                  <a:gd name="connsiteX2285" fmla="*/ 355 w 10785"/>
                  <a:gd name="connsiteY2285" fmla="*/ 3624 h 10000"/>
                  <a:gd name="connsiteX2286" fmla="*/ 346 w 10785"/>
                  <a:gd name="connsiteY2286" fmla="*/ 3624 h 10000"/>
                  <a:gd name="connsiteX2287" fmla="*/ 341 w 10785"/>
                  <a:gd name="connsiteY2287" fmla="*/ 3624 h 10000"/>
                  <a:gd name="connsiteX2288" fmla="*/ 318 w 10785"/>
                  <a:gd name="connsiteY2288" fmla="*/ 3641 h 10000"/>
                  <a:gd name="connsiteX2289" fmla="*/ 327 w 10785"/>
                  <a:gd name="connsiteY2289" fmla="*/ 3624 h 10000"/>
                  <a:gd name="connsiteX2290" fmla="*/ 318 w 10785"/>
                  <a:gd name="connsiteY2290" fmla="*/ 3615 h 10000"/>
                  <a:gd name="connsiteX2291" fmla="*/ 318 w 10785"/>
                  <a:gd name="connsiteY2291" fmla="*/ 3598 h 10000"/>
                  <a:gd name="connsiteX2292" fmla="*/ 300 w 10785"/>
                  <a:gd name="connsiteY2292" fmla="*/ 3598 h 10000"/>
                  <a:gd name="connsiteX2293" fmla="*/ 309 w 10785"/>
                  <a:gd name="connsiteY2293" fmla="*/ 3538 h 10000"/>
                  <a:gd name="connsiteX2294" fmla="*/ 313 w 10785"/>
                  <a:gd name="connsiteY2294" fmla="*/ 3564 h 10000"/>
                  <a:gd name="connsiteX2295" fmla="*/ 318 w 10785"/>
                  <a:gd name="connsiteY2295" fmla="*/ 3581 h 10000"/>
                  <a:gd name="connsiteX2296" fmla="*/ 327 w 10785"/>
                  <a:gd name="connsiteY2296" fmla="*/ 3564 h 10000"/>
                  <a:gd name="connsiteX2297" fmla="*/ 332 w 10785"/>
                  <a:gd name="connsiteY2297" fmla="*/ 3590 h 10000"/>
                  <a:gd name="connsiteX2298" fmla="*/ 346 w 10785"/>
                  <a:gd name="connsiteY2298" fmla="*/ 3590 h 10000"/>
                  <a:gd name="connsiteX2299" fmla="*/ 355 w 10785"/>
                  <a:gd name="connsiteY2299" fmla="*/ 3590 h 10000"/>
                  <a:gd name="connsiteX2300" fmla="*/ 369 w 10785"/>
                  <a:gd name="connsiteY2300" fmla="*/ 3556 h 10000"/>
                  <a:gd name="connsiteX2301" fmla="*/ 369 w 10785"/>
                  <a:gd name="connsiteY2301" fmla="*/ 3538 h 10000"/>
                  <a:gd name="connsiteX2302" fmla="*/ 346 w 10785"/>
                  <a:gd name="connsiteY2302" fmla="*/ 3513 h 10000"/>
                  <a:gd name="connsiteX2303" fmla="*/ 341 w 10785"/>
                  <a:gd name="connsiteY2303" fmla="*/ 3530 h 10000"/>
                  <a:gd name="connsiteX2304" fmla="*/ 327 w 10785"/>
                  <a:gd name="connsiteY2304" fmla="*/ 3513 h 10000"/>
                  <a:gd name="connsiteX2305" fmla="*/ 327 w 10785"/>
                  <a:gd name="connsiteY2305" fmla="*/ 3504 h 10000"/>
                  <a:gd name="connsiteX2306" fmla="*/ 295 w 10785"/>
                  <a:gd name="connsiteY2306" fmla="*/ 3462 h 10000"/>
                  <a:gd name="connsiteX2307" fmla="*/ 300 w 10785"/>
                  <a:gd name="connsiteY2307" fmla="*/ 3479 h 10000"/>
                  <a:gd name="connsiteX2308" fmla="*/ 295 w 10785"/>
                  <a:gd name="connsiteY2308" fmla="*/ 3513 h 10000"/>
                  <a:gd name="connsiteX2309" fmla="*/ 286 w 10785"/>
                  <a:gd name="connsiteY2309" fmla="*/ 3513 h 10000"/>
                  <a:gd name="connsiteX2310" fmla="*/ 281 w 10785"/>
                  <a:gd name="connsiteY2310" fmla="*/ 3513 h 10000"/>
                  <a:gd name="connsiteX2311" fmla="*/ 281 w 10785"/>
                  <a:gd name="connsiteY2311" fmla="*/ 3530 h 10000"/>
                  <a:gd name="connsiteX2312" fmla="*/ 281 w 10785"/>
                  <a:gd name="connsiteY2312" fmla="*/ 3556 h 10000"/>
                  <a:gd name="connsiteX2313" fmla="*/ 272 w 10785"/>
                  <a:gd name="connsiteY2313" fmla="*/ 3564 h 10000"/>
                  <a:gd name="connsiteX2314" fmla="*/ 267 w 10785"/>
                  <a:gd name="connsiteY2314" fmla="*/ 3564 h 10000"/>
                  <a:gd name="connsiteX2315" fmla="*/ 253 w 10785"/>
                  <a:gd name="connsiteY2315" fmla="*/ 3538 h 10000"/>
                  <a:gd name="connsiteX2316" fmla="*/ 226 w 10785"/>
                  <a:gd name="connsiteY2316" fmla="*/ 3513 h 10000"/>
                  <a:gd name="connsiteX2317" fmla="*/ 226 w 10785"/>
                  <a:gd name="connsiteY2317" fmla="*/ 3530 h 10000"/>
                  <a:gd name="connsiteX2318" fmla="*/ 226 w 10785"/>
                  <a:gd name="connsiteY2318" fmla="*/ 3530 h 10000"/>
                  <a:gd name="connsiteX2319" fmla="*/ 226 w 10785"/>
                  <a:gd name="connsiteY2319" fmla="*/ 3530 h 10000"/>
                  <a:gd name="connsiteX2320" fmla="*/ 226 w 10785"/>
                  <a:gd name="connsiteY2320" fmla="*/ 3556 h 10000"/>
                  <a:gd name="connsiteX2321" fmla="*/ 221 w 10785"/>
                  <a:gd name="connsiteY2321" fmla="*/ 3598 h 10000"/>
                  <a:gd name="connsiteX2322" fmla="*/ 207 w 10785"/>
                  <a:gd name="connsiteY2322" fmla="*/ 3598 h 10000"/>
                  <a:gd name="connsiteX2323" fmla="*/ 180 w 10785"/>
                  <a:gd name="connsiteY2323" fmla="*/ 3581 h 10000"/>
                  <a:gd name="connsiteX2324" fmla="*/ 171 w 10785"/>
                  <a:gd name="connsiteY2324" fmla="*/ 3641 h 10000"/>
                  <a:gd name="connsiteX2325" fmla="*/ 166 w 10785"/>
                  <a:gd name="connsiteY2325" fmla="*/ 3650 h 10000"/>
                  <a:gd name="connsiteX2326" fmla="*/ 124 w 10785"/>
                  <a:gd name="connsiteY2326" fmla="*/ 3701 h 10000"/>
                  <a:gd name="connsiteX2327" fmla="*/ 124 w 10785"/>
                  <a:gd name="connsiteY2327" fmla="*/ 3718 h 10000"/>
                  <a:gd name="connsiteX2328" fmla="*/ 120 w 10785"/>
                  <a:gd name="connsiteY2328" fmla="*/ 3735 h 10000"/>
                  <a:gd name="connsiteX2329" fmla="*/ 120 w 10785"/>
                  <a:gd name="connsiteY2329" fmla="*/ 3735 h 10000"/>
                  <a:gd name="connsiteX2330" fmla="*/ 111 w 10785"/>
                  <a:gd name="connsiteY2330" fmla="*/ 3761 h 10000"/>
                  <a:gd name="connsiteX2331" fmla="*/ 106 w 10785"/>
                  <a:gd name="connsiteY2331" fmla="*/ 3761 h 10000"/>
                  <a:gd name="connsiteX2332" fmla="*/ 106 w 10785"/>
                  <a:gd name="connsiteY2332" fmla="*/ 3761 h 10000"/>
                  <a:gd name="connsiteX2333" fmla="*/ 74 w 10785"/>
                  <a:gd name="connsiteY2333" fmla="*/ 3829 h 10000"/>
                  <a:gd name="connsiteX2334" fmla="*/ 78 w 10785"/>
                  <a:gd name="connsiteY2334" fmla="*/ 3838 h 10000"/>
                  <a:gd name="connsiteX2335" fmla="*/ 88 w 10785"/>
                  <a:gd name="connsiteY2335" fmla="*/ 3846 h 10000"/>
                  <a:gd name="connsiteX2336" fmla="*/ 65 w 10785"/>
                  <a:gd name="connsiteY2336" fmla="*/ 3923 h 10000"/>
                  <a:gd name="connsiteX2337" fmla="*/ 78 w 10785"/>
                  <a:gd name="connsiteY2337" fmla="*/ 4026 h 10000"/>
                  <a:gd name="connsiteX2338" fmla="*/ 88 w 10785"/>
                  <a:gd name="connsiteY2338" fmla="*/ 4051 h 10000"/>
                  <a:gd name="connsiteX2339" fmla="*/ 92 w 10785"/>
                  <a:gd name="connsiteY2339" fmla="*/ 4060 h 10000"/>
                  <a:gd name="connsiteX2340" fmla="*/ 111 w 10785"/>
                  <a:gd name="connsiteY2340" fmla="*/ 4060 h 10000"/>
                  <a:gd name="connsiteX2341" fmla="*/ 124 w 10785"/>
                  <a:gd name="connsiteY2341" fmla="*/ 4085 h 10000"/>
                  <a:gd name="connsiteX2342" fmla="*/ 166 w 10785"/>
                  <a:gd name="connsiteY2342" fmla="*/ 4197 h 10000"/>
                  <a:gd name="connsiteX2343" fmla="*/ 166 w 10785"/>
                  <a:gd name="connsiteY2343" fmla="*/ 4248 h 10000"/>
                  <a:gd name="connsiteX2344" fmla="*/ 120 w 10785"/>
                  <a:gd name="connsiteY2344" fmla="*/ 4462 h 10000"/>
                  <a:gd name="connsiteX2345" fmla="*/ 120 w 10785"/>
                  <a:gd name="connsiteY2345" fmla="*/ 4513 h 10000"/>
                  <a:gd name="connsiteX2346" fmla="*/ 180 w 10785"/>
                  <a:gd name="connsiteY2346" fmla="*/ 4829 h 10000"/>
                  <a:gd name="connsiteX2347" fmla="*/ 161 w 10785"/>
                  <a:gd name="connsiteY2347" fmla="*/ 4855 h 10000"/>
                  <a:gd name="connsiteX2348" fmla="*/ 152 w 10785"/>
                  <a:gd name="connsiteY2348" fmla="*/ 4940 h 10000"/>
                  <a:gd name="connsiteX2349" fmla="*/ 161 w 10785"/>
                  <a:gd name="connsiteY2349" fmla="*/ 4966 h 10000"/>
                  <a:gd name="connsiteX2350" fmla="*/ 161 w 10785"/>
                  <a:gd name="connsiteY2350" fmla="*/ 5009 h 10000"/>
                  <a:gd name="connsiteX2351" fmla="*/ 152 w 10785"/>
                  <a:gd name="connsiteY2351" fmla="*/ 5034 h 10000"/>
                  <a:gd name="connsiteX2352" fmla="*/ 152 w 10785"/>
                  <a:gd name="connsiteY2352" fmla="*/ 5077 h 10000"/>
                  <a:gd name="connsiteX2353" fmla="*/ 171 w 10785"/>
                  <a:gd name="connsiteY2353" fmla="*/ 5094 h 10000"/>
                  <a:gd name="connsiteX2354" fmla="*/ 180 w 10785"/>
                  <a:gd name="connsiteY2354" fmla="*/ 5128 h 10000"/>
                  <a:gd name="connsiteX2355" fmla="*/ 180 w 10785"/>
                  <a:gd name="connsiteY2355" fmla="*/ 5171 h 10000"/>
                  <a:gd name="connsiteX2356" fmla="*/ 184 w 10785"/>
                  <a:gd name="connsiteY2356" fmla="*/ 5205 h 10000"/>
                  <a:gd name="connsiteX2357" fmla="*/ 207 w 10785"/>
                  <a:gd name="connsiteY2357" fmla="*/ 5239 h 10000"/>
                  <a:gd name="connsiteX2358" fmla="*/ 207 w 10785"/>
                  <a:gd name="connsiteY2358" fmla="*/ 5282 h 10000"/>
                  <a:gd name="connsiteX2359" fmla="*/ 180 w 10785"/>
                  <a:gd name="connsiteY2359" fmla="*/ 5393 h 10000"/>
                  <a:gd name="connsiteX2360" fmla="*/ 194 w 10785"/>
                  <a:gd name="connsiteY2360" fmla="*/ 5427 h 10000"/>
                  <a:gd name="connsiteX2361" fmla="*/ 198 w 10785"/>
                  <a:gd name="connsiteY2361" fmla="*/ 5462 h 10000"/>
                  <a:gd name="connsiteX2362" fmla="*/ 235 w 10785"/>
                  <a:gd name="connsiteY2362" fmla="*/ 5513 h 10000"/>
                  <a:gd name="connsiteX2363" fmla="*/ 240 w 10785"/>
                  <a:gd name="connsiteY2363" fmla="*/ 5556 h 10000"/>
                  <a:gd name="connsiteX2364" fmla="*/ 253 w 10785"/>
                  <a:gd name="connsiteY2364" fmla="*/ 5590 h 10000"/>
                  <a:gd name="connsiteX2365" fmla="*/ 258 w 10785"/>
                  <a:gd name="connsiteY2365" fmla="*/ 5573 h 10000"/>
                  <a:gd name="connsiteX2366" fmla="*/ 258 w 10785"/>
                  <a:gd name="connsiteY2366" fmla="*/ 5667 h 10000"/>
                  <a:gd name="connsiteX2367" fmla="*/ 14 w 10785"/>
                  <a:gd name="connsiteY2367" fmla="*/ 6214 h 10000"/>
                  <a:gd name="connsiteX2368" fmla="*/ 14 w 10785"/>
                  <a:gd name="connsiteY2368" fmla="*/ 6214 h 10000"/>
                  <a:gd name="connsiteX2369" fmla="*/ 37 w 10785"/>
                  <a:gd name="connsiteY2369" fmla="*/ 6214 h 10000"/>
                  <a:gd name="connsiteX2370" fmla="*/ 51 w 10785"/>
                  <a:gd name="connsiteY2370" fmla="*/ 6188 h 10000"/>
                  <a:gd name="connsiteX2371" fmla="*/ 78 w 10785"/>
                  <a:gd name="connsiteY2371" fmla="*/ 6162 h 10000"/>
                  <a:gd name="connsiteX2372" fmla="*/ 78 w 10785"/>
                  <a:gd name="connsiteY2372" fmla="*/ 6188 h 10000"/>
                  <a:gd name="connsiteX2373" fmla="*/ 74 w 10785"/>
                  <a:gd name="connsiteY2373" fmla="*/ 6197 h 10000"/>
                  <a:gd name="connsiteX2374" fmla="*/ 74 w 10785"/>
                  <a:gd name="connsiteY2374" fmla="*/ 6231 h 10000"/>
                  <a:gd name="connsiteX2375" fmla="*/ 74 w 10785"/>
                  <a:gd name="connsiteY2375" fmla="*/ 6214 h 10000"/>
                  <a:gd name="connsiteX2376" fmla="*/ 65 w 10785"/>
                  <a:gd name="connsiteY2376" fmla="*/ 6214 h 10000"/>
                  <a:gd name="connsiteX2377" fmla="*/ 65 w 10785"/>
                  <a:gd name="connsiteY2377" fmla="*/ 6248 h 10000"/>
                  <a:gd name="connsiteX2378" fmla="*/ 74 w 10785"/>
                  <a:gd name="connsiteY2378" fmla="*/ 6256 h 10000"/>
                  <a:gd name="connsiteX2379" fmla="*/ 78 w 10785"/>
                  <a:gd name="connsiteY2379" fmla="*/ 6256 h 10000"/>
                  <a:gd name="connsiteX2380" fmla="*/ 106 w 10785"/>
                  <a:gd name="connsiteY2380" fmla="*/ 6308 h 10000"/>
                  <a:gd name="connsiteX2381" fmla="*/ 138 w 10785"/>
                  <a:gd name="connsiteY2381" fmla="*/ 6299 h 10000"/>
                  <a:gd name="connsiteX2382" fmla="*/ 152 w 10785"/>
                  <a:gd name="connsiteY2382" fmla="*/ 6299 h 10000"/>
                  <a:gd name="connsiteX2383" fmla="*/ 166 w 10785"/>
                  <a:gd name="connsiteY2383" fmla="*/ 6325 h 10000"/>
                  <a:gd name="connsiteX2384" fmla="*/ 166 w 10785"/>
                  <a:gd name="connsiteY2384" fmla="*/ 6333 h 10000"/>
                  <a:gd name="connsiteX2385" fmla="*/ 171 w 10785"/>
                  <a:gd name="connsiteY2385" fmla="*/ 6350 h 10000"/>
                  <a:gd name="connsiteX2386" fmla="*/ 180 w 10785"/>
                  <a:gd name="connsiteY2386" fmla="*/ 6350 h 10000"/>
                  <a:gd name="connsiteX2387" fmla="*/ 180 w 10785"/>
                  <a:gd name="connsiteY2387" fmla="*/ 6359 h 10000"/>
                  <a:gd name="connsiteX2388" fmla="*/ 171 w 10785"/>
                  <a:gd name="connsiteY2388" fmla="*/ 6368 h 10000"/>
                  <a:gd name="connsiteX2389" fmla="*/ 106 w 10785"/>
                  <a:gd name="connsiteY2389" fmla="*/ 6350 h 10000"/>
                  <a:gd name="connsiteX2390" fmla="*/ 101 w 10785"/>
                  <a:gd name="connsiteY2390" fmla="*/ 6359 h 10000"/>
                  <a:gd name="connsiteX2391" fmla="*/ 101 w 10785"/>
                  <a:gd name="connsiteY2391" fmla="*/ 6385 h 10000"/>
                  <a:gd name="connsiteX2392" fmla="*/ 78 w 10785"/>
                  <a:gd name="connsiteY2392" fmla="*/ 6393 h 10000"/>
                  <a:gd name="connsiteX2393" fmla="*/ 74 w 10785"/>
                  <a:gd name="connsiteY2393" fmla="*/ 6385 h 10000"/>
                  <a:gd name="connsiteX2394" fmla="*/ 65 w 10785"/>
                  <a:gd name="connsiteY2394" fmla="*/ 6393 h 10000"/>
                  <a:gd name="connsiteX2395" fmla="*/ 60 w 10785"/>
                  <a:gd name="connsiteY2395" fmla="*/ 6419 h 10000"/>
                  <a:gd name="connsiteX2396" fmla="*/ 51 w 10785"/>
                  <a:gd name="connsiteY2396" fmla="*/ 6419 h 10000"/>
                  <a:gd name="connsiteX2397" fmla="*/ 46 w 10785"/>
                  <a:gd name="connsiteY2397" fmla="*/ 6410 h 10000"/>
                  <a:gd name="connsiteX2398" fmla="*/ 37 w 10785"/>
                  <a:gd name="connsiteY2398" fmla="*/ 6393 h 10000"/>
                  <a:gd name="connsiteX2399" fmla="*/ 32 w 10785"/>
                  <a:gd name="connsiteY2399" fmla="*/ 6419 h 10000"/>
                  <a:gd name="connsiteX2400" fmla="*/ 37 w 10785"/>
                  <a:gd name="connsiteY2400" fmla="*/ 6462 h 10000"/>
                  <a:gd name="connsiteX2401" fmla="*/ 46 w 10785"/>
                  <a:gd name="connsiteY2401" fmla="*/ 6462 h 10000"/>
                  <a:gd name="connsiteX2402" fmla="*/ 51 w 10785"/>
                  <a:gd name="connsiteY2402" fmla="*/ 6470 h 10000"/>
                  <a:gd name="connsiteX2403" fmla="*/ 51 w 10785"/>
                  <a:gd name="connsiteY2403" fmla="*/ 6496 h 10000"/>
                  <a:gd name="connsiteX2404" fmla="*/ 51 w 10785"/>
                  <a:gd name="connsiteY2404" fmla="*/ 6504 h 10000"/>
                  <a:gd name="connsiteX2405" fmla="*/ 37 w 10785"/>
                  <a:gd name="connsiteY2405" fmla="*/ 6530 h 10000"/>
                  <a:gd name="connsiteX2406" fmla="*/ 18 w 10785"/>
                  <a:gd name="connsiteY2406" fmla="*/ 6598 h 10000"/>
                  <a:gd name="connsiteX2407" fmla="*/ 28 w 10785"/>
                  <a:gd name="connsiteY2407" fmla="*/ 6632 h 10000"/>
                  <a:gd name="connsiteX2408" fmla="*/ 18 w 10785"/>
                  <a:gd name="connsiteY2408" fmla="*/ 6667 h 10000"/>
                  <a:gd name="connsiteX2409" fmla="*/ 28 w 10785"/>
                  <a:gd name="connsiteY2409" fmla="*/ 6692 h 10000"/>
                  <a:gd name="connsiteX2410" fmla="*/ 28 w 10785"/>
                  <a:gd name="connsiteY2410" fmla="*/ 6709 h 10000"/>
                  <a:gd name="connsiteX2411" fmla="*/ 18 w 10785"/>
                  <a:gd name="connsiteY2411" fmla="*/ 6718 h 10000"/>
                  <a:gd name="connsiteX2412" fmla="*/ 5 w 10785"/>
                  <a:gd name="connsiteY2412" fmla="*/ 6744 h 10000"/>
                  <a:gd name="connsiteX2413" fmla="*/ 0 w 10785"/>
                  <a:gd name="connsiteY2413" fmla="*/ 6769 h 10000"/>
                  <a:gd name="connsiteX2414" fmla="*/ 5 w 10785"/>
                  <a:gd name="connsiteY2414" fmla="*/ 6778 h 10000"/>
                  <a:gd name="connsiteX2415" fmla="*/ 32 w 10785"/>
                  <a:gd name="connsiteY2415" fmla="*/ 6778 h 10000"/>
                  <a:gd name="connsiteX2416" fmla="*/ 46 w 10785"/>
                  <a:gd name="connsiteY2416" fmla="*/ 6821 h 10000"/>
                  <a:gd name="connsiteX2417" fmla="*/ 46 w 10785"/>
                  <a:gd name="connsiteY2417" fmla="*/ 6855 h 10000"/>
                  <a:gd name="connsiteX2418" fmla="*/ 32 w 10785"/>
                  <a:gd name="connsiteY2418" fmla="*/ 6855 h 10000"/>
                  <a:gd name="connsiteX2419" fmla="*/ 14 w 10785"/>
                  <a:gd name="connsiteY2419" fmla="*/ 6821 h 10000"/>
                  <a:gd name="connsiteX2420" fmla="*/ 14 w 10785"/>
                  <a:gd name="connsiteY2420" fmla="*/ 6846 h 10000"/>
                  <a:gd name="connsiteX2421" fmla="*/ 0 w 10785"/>
                  <a:gd name="connsiteY2421" fmla="*/ 6897 h 10000"/>
                  <a:gd name="connsiteX2422" fmla="*/ 0 w 10785"/>
                  <a:gd name="connsiteY2422" fmla="*/ 6915 h 10000"/>
                  <a:gd name="connsiteX2423" fmla="*/ 5 w 10785"/>
                  <a:gd name="connsiteY2423" fmla="*/ 6932 h 10000"/>
                  <a:gd name="connsiteX2424" fmla="*/ 14 w 10785"/>
                  <a:gd name="connsiteY2424" fmla="*/ 6940 h 10000"/>
                  <a:gd name="connsiteX2425" fmla="*/ 18 w 10785"/>
                  <a:gd name="connsiteY2425" fmla="*/ 6957 h 10000"/>
                  <a:gd name="connsiteX2426" fmla="*/ 28 w 10785"/>
                  <a:gd name="connsiteY2426" fmla="*/ 6966 h 10000"/>
                  <a:gd name="connsiteX2427" fmla="*/ 28 w 10785"/>
                  <a:gd name="connsiteY2427" fmla="*/ 6983 h 10000"/>
                  <a:gd name="connsiteX2428" fmla="*/ 18 w 10785"/>
                  <a:gd name="connsiteY2428" fmla="*/ 7051 h 10000"/>
                  <a:gd name="connsiteX2429" fmla="*/ 28 w 10785"/>
                  <a:gd name="connsiteY2429" fmla="*/ 7068 h 10000"/>
                  <a:gd name="connsiteX2430" fmla="*/ 32 w 10785"/>
                  <a:gd name="connsiteY2430" fmla="*/ 7068 h 10000"/>
                  <a:gd name="connsiteX2431" fmla="*/ 32 w 10785"/>
                  <a:gd name="connsiteY2431" fmla="*/ 7094 h 10000"/>
                  <a:gd name="connsiteX2432" fmla="*/ 60 w 10785"/>
                  <a:gd name="connsiteY2432" fmla="*/ 7162 h 10000"/>
                  <a:gd name="connsiteX2433" fmla="*/ 60 w 10785"/>
                  <a:gd name="connsiteY2433" fmla="*/ 7231 h 10000"/>
                  <a:gd name="connsiteX2434" fmla="*/ 60 w 10785"/>
                  <a:gd name="connsiteY2434" fmla="*/ 7239 h 10000"/>
                  <a:gd name="connsiteX2435" fmla="*/ 78 w 10785"/>
                  <a:gd name="connsiteY2435" fmla="*/ 7239 h 10000"/>
                  <a:gd name="connsiteX2436" fmla="*/ 88 w 10785"/>
                  <a:gd name="connsiteY2436" fmla="*/ 7239 h 10000"/>
                  <a:gd name="connsiteX2437" fmla="*/ 92 w 10785"/>
                  <a:gd name="connsiteY2437" fmla="*/ 7256 h 10000"/>
                  <a:gd name="connsiteX2438" fmla="*/ 111 w 10785"/>
                  <a:gd name="connsiteY2438" fmla="*/ 7256 h 10000"/>
                  <a:gd name="connsiteX2439" fmla="*/ 120 w 10785"/>
                  <a:gd name="connsiteY2439" fmla="*/ 7256 h 10000"/>
                  <a:gd name="connsiteX2440" fmla="*/ 134 w 10785"/>
                  <a:gd name="connsiteY2440" fmla="*/ 7282 h 10000"/>
                  <a:gd name="connsiteX2441" fmla="*/ 134 w 10785"/>
                  <a:gd name="connsiteY2441" fmla="*/ 7316 h 10000"/>
                  <a:gd name="connsiteX2442" fmla="*/ 152 w 10785"/>
                  <a:gd name="connsiteY2442" fmla="*/ 7299 h 10000"/>
                  <a:gd name="connsiteX2443" fmla="*/ 161 w 10785"/>
                  <a:gd name="connsiteY2443" fmla="*/ 7299 h 10000"/>
                  <a:gd name="connsiteX2444" fmla="*/ 166 w 10785"/>
                  <a:gd name="connsiteY2444" fmla="*/ 7291 h 10000"/>
                  <a:gd name="connsiteX2445" fmla="*/ 194 w 10785"/>
                  <a:gd name="connsiteY2445" fmla="*/ 7291 h 10000"/>
                  <a:gd name="connsiteX2446" fmla="*/ 207 w 10785"/>
                  <a:gd name="connsiteY2446" fmla="*/ 7299 h 10000"/>
                  <a:gd name="connsiteX2447" fmla="*/ 221 w 10785"/>
                  <a:gd name="connsiteY2447" fmla="*/ 7342 h 10000"/>
                  <a:gd name="connsiteX2448" fmla="*/ 235 w 10785"/>
                  <a:gd name="connsiteY2448" fmla="*/ 7342 h 10000"/>
                  <a:gd name="connsiteX2449" fmla="*/ 235 w 10785"/>
                  <a:gd name="connsiteY2449" fmla="*/ 7368 h 10000"/>
                  <a:gd name="connsiteX2450" fmla="*/ 226 w 10785"/>
                  <a:gd name="connsiteY2450" fmla="*/ 7393 h 10000"/>
                  <a:gd name="connsiteX2451" fmla="*/ 226 w 10785"/>
                  <a:gd name="connsiteY2451" fmla="*/ 7402 h 10000"/>
                  <a:gd name="connsiteX2452" fmla="*/ 235 w 10785"/>
                  <a:gd name="connsiteY2452" fmla="*/ 7419 h 10000"/>
                  <a:gd name="connsiteX2453" fmla="*/ 240 w 10785"/>
                  <a:gd name="connsiteY2453" fmla="*/ 7436 h 10000"/>
                  <a:gd name="connsiteX2454" fmla="*/ 235 w 10785"/>
                  <a:gd name="connsiteY2454" fmla="*/ 7462 h 10000"/>
                  <a:gd name="connsiteX2455" fmla="*/ 226 w 10785"/>
                  <a:gd name="connsiteY2455" fmla="*/ 7479 h 10000"/>
                  <a:gd name="connsiteX2456" fmla="*/ 226 w 10785"/>
                  <a:gd name="connsiteY2456" fmla="*/ 7504 h 10000"/>
                  <a:gd name="connsiteX2457" fmla="*/ 226 w 10785"/>
                  <a:gd name="connsiteY2457" fmla="*/ 7513 h 10000"/>
                  <a:gd name="connsiteX2458" fmla="*/ 240 w 10785"/>
                  <a:gd name="connsiteY2458" fmla="*/ 7538 h 10000"/>
                  <a:gd name="connsiteX2459" fmla="*/ 267 w 10785"/>
                  <a:gd name="connsiteY2459" fmla="*/ 7641 h 10000"/>
                  <a:gd name="connsiteX2460" fmla="*/ 281 w 10785"/>
                  <a:gd name="connsiteY2460" fmla="*/ 7667 h 10000"/>
                  <a:gd name="connsiteX2461" fmla="*/ 286 w 10785"/>
                  <a:gd name="connsiteY2461" fmla="*/ 7675 h 10000"/>
                  <a:gd name="connsiteX2462" fmla="*/ 286 w 10785"/>
                  <a:gd name="connsiteY2462" fmla="*/ 7692 h 10000"/>
                  <a:gd name="connsiteX2463" fmla="*/ 286 w 10785"/>
                  <a:gd name="connsiteY2463" fmla="*/ 7709 h 10000"/>
                  <a:gd name="connsiteX2464" fmla="*/ 295 w 10785"/>
                  <a:gd name="connsiteY2464" fmla="*/ 7726 h 10000"/>
                  <a:gd name="connsiteX2465" fmla="*/ 318 w 10785"/>
                  <a:gd name="connsiteY2465" fmla="*/ 7709 h 10000"/>
                  <a:gd name="connsiteX2466" fmla="*/ 327 w 10785"/>
                  <a:gd name="connsiteY2466" fmla="*/ 7726 h 10000"/>
                  <a:gd name="connsiteX2467" fmla="*/ 341 w 10785"/>
                  <a:gd name="connsiteY2467" fmla="*/ 7735 h 10000"/>
                  <a:gd name="connsiteX2468" fmla="*/ 332 w 10785"/>
                  <a:gd name="connsiteY2468" fmla="*/ 7752 h 10000"/>
                  <a:gd name="connsiteX2469" fmla="*/ 341 w 10785"/>
                  <a:gd name="connsiteY2469" fmla="*/ 7761 h 10000"/>
                  <a:gd name="connsiteX2470" fmla="*/ 355 w 10785"/>
                  <a:gd name="connsiteY2470" fmla="*/ 7761 h 10000"/>
                  <a:gd name="connsiteX2471" fmla="*/ 355 w 10785"/>
                  <a:gd name="connsiteY2471" fmla="*/ 7803 h 10000"/>
                  <a:gd name="connsiteX2472" fmla="*/ 313 w 10785"/>
                  <a:gd name="connsiteY2472" fmla="*/ 7846 h 10000"/>
                  <a:gd name="connsiteX2473" fmla="*/ 295 w 10785"/>
                  <a:gd name="connsiteY2473" fmla="*/ 7846 h 10000"/>
                  <a:gd name="connsiteX2474" fmla="*/ 281 w 10785"/>
                  <a:gd name="connsiteY2474" fmla="*/ 7821 h 10000"/>
                  <a:gd name="connsiteX2475" fmla="*/ 272 w 10785"/>
                  <a:gd name="connsiteY2475" fmla="*/ 7821 h 10000"/>
                  <a:gd name="connsiteX2476" fmla="*/ 267 w 10785"/>
                  <a:gd name="connsiteY2476" fmla="*/ 7838 h 10000"/>
                  <a:gd name="connsiteX2477" fmla="*/ 258 w 10785"/>
                  <a:gd name="connsiteY2477" fmla="*/ 7846 h 10000"/>
                  <a:gd name="connsiteX2478" fmla="*/ 253 w 10785"/>
                  <a:gd name="connsiteY2478" fmla="*/ 7863 h 10000"/>
                  <a:gd name="connsiteX2479" fmla="*/ 253 w 10785"/>
                  <a:gd name="connsiteY2479" fmla="*/ 7872 h 10000"/>
                  <a:gd name="connsiteX2480" fmla="*/ 267 w 10785"/>
                  <a:gd name="connsiteY2480" fmla="*/ 7897 h 10000"/>
                  <a:gd name="connsiteX2481" fmla="*/ 272 w 10785"/>
                  <a:gd name="connsiteY2481" fmla="*/ 7915 h 10000"/>
                  <a:gd name="connsiteX2482" fmla="*/ 267 w 10785"/>
                  <a:gd name="connsiteY2482" fmla="*/ 7940 h 10000"/>
                  <a:gd name="connsiteX2483" fmla="*/ 272 w 10785"/>
                  <a:gd name="connsiteY2483" fmla="*/ 7949 h 10000"/>
                  <a:gd name="connsiteX2484" fmla="*/ 272 w 10785"/>
                  <a:gd name="connsiteY2484" fmla="*/ 7957 h 10000"/>
                  <a:gd name="connsiteX2485" fmla="*/ 281 w 10785"/>
                  <a:gd name="connsiteY2485" fmla="*/ 7974 h 10000"/>
                  <a:gd name="connsiteX2486" fmla="*/ 286 w 10785"/>
                  <a:gd name="connsiteY2486" fmla="*/ 7983 h 10000"/>
                  <a:gd name="connsiteX2487" fmla="*/ 281 w 10785"/>
                  <a:gd name="connsiteY2487" fmla="*/ 8009 h 10000"/>
                  <a:gd name="connsiteX2488" fmla="*/ 286 w 10785"/>
                  <a:gd name="connsiteY2488" fmla="*/ 8060 h 10000"/>
                  <a:gd name="connsiteX2489" fmla="*/ 286 w 10785"/>
                  <a:gd name="connsiteY2489" fmla="*/ 8060 h 10000"/>
                  <a:gd name="connsiteX2490" fmla="*/ 295 w 10785"/>
                  <a:gd name="connsiteY2490" fmla="*/ 8077 h 10000"/>
                  <a:gd name="connsiteX2491" fmla="*/ 309 w 10785"/>
                  <a:gd name="connsiteY2491" fmla="*/ 8077 h 10000"/>
                  <a:gd name="connsiteX2492" fmla="*/ 313 w 10785"/>
                  <a:gd name="connsiteY2492" fmla="*/ 8060 h 10000"/>
                  <a:gd name="connsiteX2493" fmla="*/ 318 w 10785"/>
                  <a:gd name="connsiteY2493" fmla="*/ 8051 h 10000"/>
                  <a:gd name="connsiteX2494" fmla="*/ 318 w 10785"/>
                  <a:gd name="connsiteY2494" fmla="*/ 8034 h 10000"/>
                  <a:gd name="connsiteX2495" fmla="*/ 332 w 10785"/>
                  <a:gd name="connsiteY2495" fmla="*/ 8026 h 10000"/>
                  <a:gd name="connsiteX2496" fmla="*/ 359 w 10785"/>
                  <a:gd name="connsiteY2496" fmla="*/ 8034 h 10000"/>
                  <a:gd name="connsiteX2497" fmla="*/ 378 w 10785"/>
                  <a:gd name="connsiteY2497" fmla="*/ 8026 h 10000"/>
                  <a:gd name="connsiteX2498" fmla="*/ 401 w 10785"/>
                  <a:gd name="connsiteY2498" fmla="*/ 8026 h 10000"/>
                  <a:gd name="connsiteX2499" fmla="*/ 419 w 10785"/>
                  <a:gd name="connsiteY2499" fmla="*/ 8009 h 10000"/>
                  <a:gd name="connsiteX2500" fmla="*/ 433 w 10785"/>
                  <a:gd name="connsiteY2500" fmla="*/ 8034 h 10000"/>
                  <a:gd name="connsiteX2501" fmla="*/ 442 w 10785"/>
                  <a:gd name="connsiteY2501" fmla="*/ 8060 h 10000"/>
                  <a:gd name="connsiteX2502" fmla="*/ 442 w 10785"/>
                  <a:gd name="connsiteY2502" fmla="*/ 8077 h 10000"/>
                  <a:gd name="connsiteX2503" fmla="*/ 461 w 10785"/>
                  <a:gd name="connsiteY2503" fmla="*/ 8111 h 10000"/>
                  <a:gd name="connsiteX2504" fmla="*/ 461 w 10785"/>
                  <a:gd name="connsiteY2504" fmla="*/ 8137 h 10000"/>
                  <a:gd name="connsiteX2505" fmla="*/ 447 w 10785"/>
                  <a:gd name="connsiteY2505" fmla="*/ 8145 h 10000"/>
                  <a:gd name="connsiteX2506" fmla="*/ 442 w 10785"/>
                  <a:gd name="connsiteY2506" fmla="*/ 8145 h 10000"/>
                  <a:gd name="connsiteX2507" fmla="*/ 442 w 10785"/>
                  <a:gd name="connsiteY2507" fmla="*/ 8162 h 10000"/>
                  <a:gd name="connsiteX2508" fmla="*/ 442 w 10785"/>
                  <a:gd name="connsiteY2508" fmla="*/ 8171 h 10000"/>
                  <a:gd name="connsiteX2509" fmla="*/ 447 w 10785"/>
                  <a:gd name="connsiteY2509" fmla="*/ 8214 h 10000"/>
                  <a:gd name="connsiteX2510" fmla="*/ 465 w 10785"/>
                  <a:gd name="connsiteY2510" fmla="*/ 8231 h 10000"/>
                  <a:gd name="connsiteX2511" fmla="*/ 488 w 10785"/>
                  <a:gd name="connsiteY2511" fmla="*/ 8231 h 10000"/>
                  <a:gd name="connsiteX2512" fmla="*/ 493 w 10785"/>
                  <a:gd name="connsiteY2512" fmla="*/ 8231 h 10000"/>
                  <a:gd name="connsiteX2513" fmla="*/ 502 w 10785"/>
                  <a:gd name="connsiteY2513" fmla="*/ 8231 h 10000"/>
                  <a:gd name="connsiteX2514" fmla="*/ 507 w 10785"/>
                  <a:gd name="connsiteY2514" fmla="*/ 8248 h 10000"/>
                  <a:gd name="connsiteX2515" fmla="*/ 521 w 10785"/>
                  <a:gd name="connsiteY2515" fmla="*/ 8274 h 10000"/>
                  <a:gd name="connsiteX2516" fmla="*/ 525 w 10785"/>
                  <a:gd name="connsiteY2516" fmla="*/ 8333 h 10000"/>
                  <a:gd name="connsiteX2517" fmla="*/ 525 w 10785"/>
                  <a:gd name="connsiteY2517" fmla="*/ 8359 h 10000"/>
                  <a:gd name="connsiteX2518" fmla="*/ 525 w 10785"/>
                  <a:gd name="connsiteY2518" fmla="*/ 8368 h 10000"/>
                  <a:gd name="connsiteX2519" fmla="*/ 548 w 10785"/>
                  <a:gd name="connsiteY2519" fmla="*/ 8393 h 10000"/>
                  <a:gd name="connsiteX2520" fmla="*/ 553 w 10785"/>
                  <a:gd name="connsiteY2520" fmla="*/ 8385 h 10000"/>
                  <a:gd name="connsiteX2521" fmla="*/ 562 w 10785"/>
                  <a:gd name="connsiteY2521" fmla="*/ 8385 h 10000"/>
                  <a:gd name="connsiteX2522" fmla="*/ 576 w 10785"/>
                  <a:gd name="connsiteY2522" fmla="*/ 8385 h 10000"/>
                  <a:gd name="connsiteX2523" fmla="*/ 585 w 10785"/>
                  <a:gd name="connsiteY2523" fmla="*/ 8410 h 10000"/>
                  <a:gd name="connsiteX2524" fmla="*/ 594 w 10785"/>
                  <a:gd name="connsiteY2524" fmla="*/ 8410 h 10000"/>
                  <a:gd name="connsiteX2525" fmla="*/ 608 w 10785"/>
                  <a:gd name="connsiteY2525" fmla="*/ 8410 h 10000"/>
                  <a:gd name="connsiteX2526" fmla="*/ 654 w 10785"/>
                  <a:gd name="connsiteY2526" fmla="*/ 8385 h 10000"/>
                  <a:gd name="connsiteX2527" fmla="*/ 659 w 10785"/>
                  <a:gd name="connsiteY2527" fmla="*/ 8385 h 10000"/>
                  <a:gd name="connsiteX2528" fmla="*/ 696 w 10785"/>
                  <a:gd name="connsiteY2528" fmla="*/ 8470 h 10000"/>
                  <a:gd name="connsiteX2529" fmla="*/ 700 w 10785"/>
                  <a:gd name="connsiteY2529" fmla="*/ 8470 h 10000"/>
                  <a:gd name="connsiteX2530" fmla="*/ 710 w 10785"/>
                  <a:gd name="connsiteY2530" fmla="*/ 8462 h 10000"/>
                  <a:gd name="connsiteX2531" fmla="*/ 714 w 10785"/>
                  <a:gd name="connsiteY2531" fmla="*/ 8462 h 10000"/>
                  <a:gd name="connsiteX2532" fmla="*/ 724 w 10785"/>
                  <a:gd name="connsiteY2532" fmla="*/ 8470 h 10000"/>
                  <a:gd name="connsiteX2533" fmla="*/ 733 w 10785"/>
                  <a:gd name="connsiteY2533" fmla="*/ 8470 h 10000"/>
                  <a:gd name="connsiteX2534" fmla="*/ 742 w 10785"/>
                  <a:gd name="connsiteY2534" fmla="*/ 8487 h 10000"/>
                  <a:gd name="connsiteX2535" fmla="*/ 747 w 10785"/>
                  <a:gd name="connsiteY2535" fmla="*/ 8496 h 10000"/>
                  <a:gd name="connsiteX2536" fmla="*/ 770 w 10785"/>
                  <a:gd name="connsiteY2536" fmla="*/ 8496 h 10000"/>
                  <a:gd name="connsiteX2537" fmla="*/ 783 w 10785"/>
                  <a:gd name="connsiteY2537" fmla="*/ 8521 h 10000"/>
                  <a:gd name="connsiteX2538" fmla="*/ 797 w 10785"/>
                  <a:gd name="connsiteY2538" fmla="*/ 8521 h 10000"/>
                  <a:gd name="connsiteX2539" fmla="*/ 806 w 10785"/>
                  <a:gd name="connsiteY2539" fmla="*/ 8530 h 10000"/>
                  <a:gd name="connsiteX2540" fmla="*/ 829 w 10785"/>
                  <a:gd name="connsiteY2540" fmla="*/ 8547 h 10000"/>
                  <a:gd name="connsiteX2541" fmla="*/ 834 w 10785"/>
                  <a:gd name="connsiteY2541" fmla="*/ 8556 h 10000"/>
                  <a:gd name="connsiteX2542" fmla="*/ 829 w 10785"/>
                  <a:gd name="connsiteY2542" fmla="*/ 8556 h 10000"/>
                  <a:gd name="connsiteX2543" fmla="*/ 834 w 10785"/>
                  <a:gd name="connsiteY2543" fmla="*/ 8607 h 10000"/>
                  <a:gd name="connsiteX2544" fmla="*/ 829 w 10785"/>
                  <a:gd name="connsiteY2544" fmla="*/ 8641 h 10000"/>
                  <a:gd name="connsiteX2545" fmla="*/ 806 w 10785"/>
                  <a:gd name="connsiteY2545" fmla="*/ 8658 h 10000"/>
                  <a:gd name="connsiteX2546" fmla="*/ 816 w 10785"/>
                  <a:gd name="connsiteY2546" fmla="*/ 8667 h 10000"/>
                  <a:gd name="connsiteX2547" fmla="*/ 820 w 10785"/>
                  <a:gd name="connsiteY2547" fmla="*/ 8667 h 10000"/>
                  <a:gd name="connsiteX2548" fmla="*/ 829 w 10785"/>
                  <a:gd name="connsiteY2548" fmla="*/ 8684 h 10000"/>
                  <a:gd name="connsiteX2549" fmla="*/ 806 w 10785"/>
                  <a:gd name="connsiteY2549" fmla="*/ 8692 h 10000"/>
                  <a:gd name="connsiteX2550" fmla="*/ 802 w 10785"/>
                  <a:gd name="connsiteY2550" fmla="*/ 8709 h 10000"/>
                  <a:gd name="connsiteX2551" fmla="*/ 802 w 10785"/>
                  <a:gd name="connsiteY2551" fmla="*/ 8735 h 10000"/>
                  <a:gd name="connsiteX2552" fmla="*/ 806 w 10785"/>
                  <a:gd name="connsiteY2552" fmla="*/ 8744 h 10000"/>
                  <a:gd name="connsiteX2553" fmla="*/ 816 w 10785"/>
                  <a:gd name="connsiteY2553" fmla="*/ 8752 h 10000"/>
                  <a:gd name="connsiteX2554" fmla="*/ 806 w 10785"/>
                  <a:gd name="connsiteY2554" fmla="*/ 8778 h 10000"/>
                  <a:gd name="connsiteX2555" fmla="*/ 820 w 10785"/>
                  <a:gd name="connsiteY2555" fmla="*/ 8778 h 10000"/>
                  <a:gd name="connsiteX2556" fmla="*/ 806 w 10785"/>
                  <a:gd name="connsiteY2556" fmla="*/ 8880 h 10000"/>
                  <a:gd name="connsiteX2557" fmla="*/ 797 w 10785"/>
                  <a:gd name="connsiteY2557" fmla="*/ 8880 h 10000"/>
                  <a:gd name="connsiteX2558" fmla="*/ 783 w 10785"/>
                  <a:gd name="connsiteY2558" fmla="*/ 8872 h 10000"/>
                  <a:gd name="connsiteX2559" fmla="*/ 770 w 10785"/>
                  <a:gd name="connsiteY2559" fmla="*/ 8880 h 10000"/>
                  <a:gd name="connsiteX2560" fmla="*/ 756 w 10785"/>
                  <a:gd name="connsiteY2560" fmla="*/ 8855 h 10000"/>
                  <a:gd name="connsiteX2561" fmla="*/ 733 w 10785"/>
                  <a:gd name="connsiteY2561" fmla="*/ 8906 h 10000"/>
                  <a:gd name="connsiteX2562" fmla="*/ 714 w 10785"/>
                  <a:gd name="connsiteY2562" fmla="*/ 8915 h 10000"/>
                  <a:gd name="connsiteX2563" fmla="*/ 710 w 10785"/>
                  <a:gd name="connsiteY2563" fmla="*/ 8940 h 10000"/>
                  <a:gd name="connsiteX2564" fmla="*/ 710 w 10785"/>
                  <a:gd name="connsiteY2564" fmla="*/ 9009 h 10000"/>
                  <a:gd name="connsiteX2565" fmla="*/ 728 w 10785"/>
                  <a:gd name="connsiteY2565" fmla="*/ 8991 h 10000"/>
                  <a:gd name="connsiteX2566" fmla="*/ 733 w 10785"/>
                  <a:gd name="connsiteY2566" fmla="*/ 8991 h 10000"/>
                  <a:gd name="connsiteX2567" fmla="*/ 747 w 10785"/>
                  <a:gd name="connsiteY2567" fmla="*/ 8983 h 10000"/>
                  <a:gd name="connsiteX2568" fmla="*/ 760 w 10785"/>
                  <a:gd name="connsiteY2568" fmla="*/ 8983 h 10000"/>
                  <a:gd name="connsiteX2569" fmla="*/ 770 w 10785"/>
                  <a:gd name="connsiteY2569" fmla="*/ 8983 h 10000"/>
                  <a:gd name="connsiteX2570" fmla="*/ 770 w 10785"/>
                  <a:gd name="connsiteY2570" fmla="*/ 8991 h 10000"/>
                  <a:gd name="connsiteX2571" fmla="*/ 783 w 10785"/>
                  <a:gd name="connsiteY2571" fmla="*/ 8991 h 10000"/>
                  <a:gd name="connsiteX2572" fmla="*/ 783 w 10785"/>
                  <a:gd name="connsiteY2572" fmla="*/ 9009 h 10000"/>
                  <a:gd name="connsiteX2573" fmla="*/ 783 w 10785"/>
                  <a:gd name="connsiteY2573" fmla="*/ 9017 h 10000"/>
                  <a:gd name="connsiteX2574" fmla="*/ 770 w 10785"/>
                  <a:gd name="connsiteY2574" fmla="*/ 9017 h 10000"/>
                  <a:gd name="connsiteX2575" fmla="*/ 724 w 10785"/>
                  <a:gd name="connsiteY2575" fmla="*/ 9051 h 10000"/>
                  <a:gd name="connsiteX2576" fmla="*/ 724 w 10785"/>
                  <a:gd name="connsiteY2576" fmla="*/ 9068 h 10000"/>
                  <a:gd name="connsiteX2577" fmla="*/ 728 w 10785"/>
                  <a:gd name="connsiteY2577" fmla="*/ 9077 h 10000"/>
                  <a:gd name="connsiteX2578" fmla="*/ 724 w 10785"/>
                  <a:gd name="connsiteY2578" fmla="*/ 9077 h 10000"/>
                  <a:gd name="connsiteX2579" fmla="*/ 710 w 10785"/>
                  <a:gd name="connsiteY2579" fmla="*/ 9077 h 10000"/>
                  <a:gd name="connsiteX2580" fmla="*/ 682 w 10785"/>
                  <a:gd name="connsiteY2580" fmla="*/ 9077 h 10000"/>
                  <a:gd name="connsiteX2581" fmla="*/ 673 w 10785"/>
                  <a:gd name="connsiteY2581" fmla="*/ 9103 h 10000"/>
                  <a:gd name="connsiteX2582" fmla="*/ 687 w 10785"/>
                  <a:gd name="connsiteY2582" fmla="*/ 9128 h 10000"/>
                  <a:gd name="connsiteX2583" fmla="*/ 700 w 10785"/>
                  <a:gd name="connsiteY2583" fmla="*/ 9128 h 10000"/>
                  <a:gd name="connsiteX2584" fmla="*/ 728 w 10785"/>
                  <a:gd name="connsiteY2584" fmla="*/ 9179 h 10000"/>
                  <a:gd name="connsiteX2585" fmla="*/ 724 w 10785"/>
                  <a:gd name="connsiteY2585" fmla="*/ 9188 h 10000"/>
                  <a:gd name="connsiteX2586" fmla="*/ 710 w 10785"/>
                  <a:gd name="connsiteY2586" fmla="*/ 9179 h 10000"/>
                  <a:gd name="connsiteX2587" fmla="*/ 700 w 10785"/>
                  <a:gd name="connsiteY2587" fmla="*/ 9205 h 10000"/>
                  <a:gd name="connsiteX2588" fmla="*/ 696 w 10785"/>
                  <a:gd name="connsiteY2588" fmla="*/ 9205 h 10000"/>
                  <a:gd name="connsiteX2589" fmla="*/ 654 w 10785"/>
                  <a:gd name="connsiteY2589" fmla="*/ 9299 h 10000"/>
                  <a:gd name="connsiteX2590" fmla="*/ 622 w 10785"/>
                  <a:gd name="connsiteY2590" fmla="*/ 9299 h 10000"/>
                  <a:gd name="connsiteX2591" fmla="*/ 613 w 10785"/>
                  <a:gd name="connsiteY2591" fmla="*/ 9316 h 10000"/>
                  <a:gd name="connsiteX2592" fmla="*/ 613 w 10785"/>
                  <a:gd name="connsiteY2592" fmla="*/ 9325 h 10000"/>
                  <a:gd name="connsiteX2593" fmla="*/ 608 w 10785"/>
                  <a:gd name="connsiteY2593" fmla="*/ 9342 h 10000"/>
                  <a:gd name="connsiteX2594" fmla="*/ 636 w 10785"/>
                  <a:gd name="connsiteY2594" fmla="*/ 9376 h 10000"/>
                  <a:gd name="connsiteX2595" fmla="*/ 641 w 10785"/>
                  <a:gd name="connsiteY2595" fmla="*/ 9402 h 10000"/>
                  <a:gd name="connsiteX2596" fmla="*/ 654 w 10785"/>
                  <a:gd name="connsiteY2596" fmla="*/ 9427 h 10000"/>
                  <a:gd name="connsiteX2597" fmla="*/ 668 w 10785"/>
                  <a:gd name="connsiteY2597" fmla="*/ 9427 h 10000"/>
                  <a:gd name="connsiteX2598" fmla="*/ 668 w 10785"/>
                  <a:gd name="connsiteY2598" fmla="*/ 9427 h 10000"/>
                  <a:gd name="connsiteX2599" fmla="*/ 774 w 10785"/>
                  <a:gd name="connsiteY2599" fmla="*/ 9547 h 10000"/>
                  <a:gd name="connsiteX2600" fmla="*/ 797 w 10785"/>
                  <a:gd name="connsiteY2600" fmla="*/ 9598 h 10000"/>
                  <a:gd name="connsiteX2601" fmla="*/ 802 w 10785"/>
                  <a:gd name="connsiteY2601" fmla="*/ 9598 h 10000"/>
                  <a:gd name="connsiteX2602" fmla="*/ 816 w 10785"/>
                  <a:gd name="connsiteY2602" fmla="*/ 9624 h 10000"/>
                  <a:gd name="connsiteX2603" fmla="*/ 843 w 10785"/>
                  <a:gd name="connsiteY2603" fmla="*/ 9615 h 10000"/>
                  <a:gd name="connsiteX2604" fmla="*/ 857 w 10785"/>
                  <a:gd name="connsiteY2604" fmla="*/ 9624 h 10000"/>
                  <a:gd name="connsiteX2605" fmla="*/ 862 w 10785"/>
                  <a:gd name="connsiteY2605" fmla="*/ 9615 h 10000"/>
                  <a:gd name="connsiteX2606" fmla="*/ 880 w 10785"/>
                  <a:gd name="connsiteY2606" fmla="*/ 9624 h 10000"/>
                  <a:gd name="connsiteX2607" fmla="*/ 889 w 10785"/>
                  <a:gd name="connsiteY2607" fmla="*/ 9641 h 10000"/>
                  <a:gd name="connsiteX2608" fmla="*/ 935 w 10785"/>
                  <a:gd name="connsiteY2608" fmla="*/ 9675 h 10000"/>
                  <a:gd name="connsiteX2609" fmla="*/ 977 w 10785"/>
                  <a:gd name="connsiteY2609" fmla="*/ 9667 h 10000"/>
                  <a:gd name="connsiteX2610" fmla="*/ 995 w 10785"/>
                  <a:gd name="connsiteY2610" fmla="*/ 9675 h 10000"/>
                  <a:gd name="connsiteX2611" fmla="*/ 1014 w 10785"/>
                  <a:gd name="connsiteY2611" fmla="*/ 9675 h 10000"/>
                  <a:gd name="connsiteX2612" fmla="*/ 1069 w 10785"/>
                  <a:gd name="connsiteY2612" fmla="*/ 9752 h 10000"/>
                  <a:gd name="connsiteX2613" fmla="*/ 1074 w 10785"/>
                  <a:gd name="connsiteY2613" fmla="*/ 9761 h 10000"/>
                  <a:gd name="connsiteX2614" fmla="*/ 1083 w 10785"/>
                  <a:gd name="connsiteY2614" fmla="*/ 9778 h 10000"/>
                  <a:gd name="connsiteX2615" fmla="*/ 1115 w 10785"/>
                  <a:gd name="connsiteY2615" fmla="*/ 9752 h 10000"/>
                  <a:gd name="connsiteX2616" fmla="*/ 1129 w 10785"/>
                  <a:gd name="connsiteY2616" fmla="*/ 9752 h 10000"/>
                  <a:gd name="connsiteX2617" fmla="*/ 1138 w 10785"/>
                  <a:gd name="connsiteY2617" fmla="*/ 9761 h 10000"/>
                  <a:gd name="connsiteX2618" fmla="*/ 1143 w 10785"/>
                  <a:gd name="connsiteY2618" fmla="*/ 9752 h 10000"/>
                  <a:gd name="connsiteX2619" fmla="*/ 1161 w 10785"/>
                  <a:gd name="connsiteY2619" fmla="*/ 9761 h 10000"/>
                  <a:gd name="connsiteX2620" fmla="*/ 1171 w 10785"/>
                  <a:gd name="connsiteY2620" fmla="*/ 9778 h 10000"/>
                  <a:gd name="connsiteX2621" fmla="*/ 1175 w 10785"/>
                  <a:gd name="connsiteY2621" fmla="*/ 9778 h 10000"/>
                  <a:gd name="connsiteX2622" fmla="*/ 1189 w 10785"/>
                  <a:gd name="connsiteY2622" fmla="*/ 9778 h 10000"/>
                  <a:gd name="connsiteX2623" fmla="*/ 1198 w 10785"/>
                  <a:gd name="connsiteY2623" fmla="*/ 9786 h 10000"/>
                  <a:gd name="connsiteX2624" fmla="*/ 1203 w 10785"/>
                  <a:gd name="connsiteY2624" fmla="*/ 9803 h 10000"/>
                  <a:gd name="connsiteX2625" fmla="*/ 1198 w 10785"/>
                  <a:gd name="connsiteY2625" fmla="*/ 9838 h 10000"/>
                  <a:gd name="connsiteX2626" fmla="*/ 1212 w 10785"/>
                  <a:gd name="connsiteY2626" fmla="*/ 9863 h 10000"/>
                  <a:gd name="connsiteX2627" fmla="*/ 1230 w 10785"/>
                  <a:gd name="connsiteY2627" fmla="*/ 9872 h 10000"/>
                  <a:gd name="connsiteX2628" fmla="*/ 1249 w 10785"/>
                  <a:gd name="connsiteY2628" fmla="*/ 9897 h 10000"/>
                  <a:gd name="connsiteX2629" fmla="*/ 1263 w 10785"/>
                  <a:gd name="connsiteY2629" fmla="*/ 9897 h 10000"/>
                  <a:gd name="connsiteX2630" fmla="*/ 1276 w 10785"/>
                  <a:gd name="connsiteY2630" fmla="*/ 9923 h 10000"/>
                  <a:gd name="connsiteX2631" fmla="*/ 1281 w 10785"/>
                  <a:gd name="connsiteY2631" fmla="*/ 9949 h 10000"/>
                  <a:gd name="connsiteX2632" fmla="*/ 1290 w 10785"/>
                  <a:gd name="connsiteY2632" fmla="*/ 9949 h 10000"/>
                  <a:gd name="connsiteX2633" fmla="*/ 1295 w 10785"/>
                  <a:gd name="connsiteY2633" fmla="*/ 10000 h 10000"/>
                  <a:gd name="connsiteX2634" fmla="*/ 1332 w 10785"/>
                  <a:gd name="connsiteY2634" fmla="*/ 10000 h 10000"/>
                  <a:gd name="connsiteX2635" fmla="*/ 1336 w 10785"/>
                  <a:gd name="connsiteY2635" fmla="*/ 10000 h 10000"/>
                  <a:gd name="connsiteX2636" fmla="*/ 1346 w 10785"/>
                  <a:gd name="connsiteY2636" fmla="*/ 9983 h 10000"/>
                  <a:gd name="connsiteX2637" fmla="*/ 1350 w 10785"/>
                  <a:gd name="connsiteY2637" fmla="*/ 9949 h 10000"/>
                  <a:gd name="connsiteX2638" fmla="*/ 1369 w 10785"/>
                  <a:gd name="connsiteY2638" fmla="*/ 9940 h 10000"/>
                  <a:gd name="connsiteX2639" fmla="*/ 1378 w 10785"/>
                  <a:gd name="connsiteY2639" fmla="*/ 9897 h 10000"/>
                  <a:gd name="connsiteX2640" fmla="*/ 1369 w 10785"/>
                  <a:gd name="connsiteY2640" fmla="*/ 9889 h 10000"/>
                  <a:gd name="connsiteX2641" fmla="*/ 1318 w 10785"/>
                  <a:gd name="connsiteY2641" fmla="*/ 9701 h 10000"/>
                  <a:gd name="connsiteX2642" fmla="*/ 1318 w 10785"/>
                  <a:gd name="connsiteY2642" fmla="*/ 9650 h 10000"/>
                  <a:gd name="connsiteX2643" fmla="*/ 1323 w 10785"/>
                  <a:gd name="connsiteY2643" fmla="*/ 9590 h 10000"/>
                  <a:gd name="connsiteX2644" fmla="*/ 1323 w 10785"/>
                  <a:gd name="connsiteY2644" fmla="*/ 9564 h 10000"/>
                  <a:gd name="connsiteX2645" fmla="*/ 1309 w 10785"/>
                  <a:gd name="connsiteY2645" fmla="*/ 9598 h 10000"/>
                  <a:gd name="connsiteX2646" fmla="*/ 1309 w 10785"/>
                  <a:gd name="connsiteY2646" fmla="*/ 9590 h 10000"/>
                  <a:gd name="connsiteX2647" fmla="*/ 1304 w 10785"/>
                  <a:gd name="connsiteY2647" fmla="*/ 9547 h 10000"/>
                  <a:gd name="connsiteX2648" fmla="*/ 1276 w 10785"/>
                  <a:gd name="connsiteY2648" fmla="*/ 9479 h 10000"/>
                  <a:gd name="connsiteX2649" fmla="*/ 1263 w 10785"/>
                  <a:gd name="connsiteY2649" fmla="*/ 9479 h 10000"/>
                  <a:gd name="connsiteX2650" fmla="*/ 1263 w 10785"/>
                  <a:gd name="connsiteY2650" fmla="*/ 9453 h 10000"/>
                  <a:gd name="connsiteX2651" fmla="*/ 1272 w 10785"/>
                  <a:gd name="connsiteY2651" fmla="*/ 9410 h 10000"/>
                  <a:gd name="connsiteX2652" fmla="*/ 1272 w 10785"/>
                  <a:gd name="connsiteY2652" fmla="*/ 9393 h 10000"/>
                  <a:gd name="connsiteX2653" fmla="*/ 1281 w 10785"/>
                  <a:gd name="connsiteY2653" fmla="*/ 9368 h 10000"/>
                  <a:gd name="connsiteX2654" fmla="*/ 1281 w 10785"/>
                  <a:gd name="connsiteY2654" fmla="*/ 9368 h 10000"/>
                  <a:gd name="connsiteX2655" fmla="*/ 1290 w 10785"/>
                  <a:gd name="connsiteY2655" fmla="*/ 9368 h 10000"/>
                  <a:gd name="connsiteX2656" fmla="*/ 1290 w 10785"/>
                  <a:gd name="connsiteY2656" fmla="*/ 9342 h 10000"/>
                  <a:gd name="connsiteX2657" fmla="*/ 1304 w 10785"/>
                  <a:gd name="connsiteY2657" fmla="*/ 9325 h 10000"/>
                  <a:gd name="connsiteX2658" fmla="*/ 1309 w 10785"/>
                  <a:gd name="connsiteY2658" fmla="*/ 9239 h 10000"/>
                  <a:gd name="connsiteX2659" fmla="*/ 1318 w 10785"/>
                  <a:gd name="connsiteY2659" fmla="*/ 9256 h 10000"/>
                  <a:gd name="connsiteX2660" fmla="*/ 1323 w 10785"/>
                  <a:gd name="connsiteY2660" fmla="*/ 9179 h 10000"/>
                  <a:gd name="connsiteX2661" fmla="*/ 1309 w 10785"/>
                  <a:gd name="connsiteY2661" fmla="*/ 9145 h 10000"/>
                  <a:gd name="connsiteX2662" fmla="*/ 1336 w 10785"/>
                  <a:gd name="connsiteY2662" fmla="*/ 9154 h 10000"/>
                  <a:gd name="connsiteX2663" fmla="*/ 1336 w 10785"/>
                  <a:gd name="connsiteY2663" fmla="*/ 9162 h 10000"/>
                  <a:gd name="connsiteX2664" fmla="*/ 1350 w 10785"/>
                  <a:gd name="connsiteY2664" fmla="*/ 9231 h 10000"/>
                  <a:gd name="connsiteX2665" fmla="*/ 1355 w 10785"/>
                  <a:gd name="connsiteY2665" fmla="*/ 9231 h 10000"/>
                  <a:gd name="connsiteX2666" fmla="*/ 1364 w 10785"/>
                  <a:gd name="connsiteY2666" fmla="*/ 9214 h 10000"/>
                  <a:gd name="connsiteX2667" fmla="*/ 1369 w 10785"/>
                  <a:gd name="connsiteY2667" fmla="*/ 9214 h 10000"/>
                  <a:gd name="connsiteX2668" fmla="*/ 1382 w 10785"/>
                  <a:gd name="connsiteY2668" fmla="*/ 9154 h 10000"/>
                  <a:gd name="connsiteX2669" fmla="*/ 1396 w 10785"/>
                  <a:gd name="connsiteY2669" fmla="*/ 9154 h 10000"/>
                  <a:gd name="connsiteX2670" fmla="*/ 1382 w 10785"/>
                  <a:gd name="connsiteY2670" fmla="*/ 9145 h 10000"/>
                  <a:gd name="connsiteX2671" fmla="*/ 1382 w 10785"/>
                  <a:gd name="connsiteY2671" fmla="*/ 9128 h 10000"/>
                  <a:gd name="connsiteX2672" fmla="*/ 1369 w 10785"/>
                  <a:gd name="connsiteY2672" fmla="*/ 9128 h 10000"/>
                  <a:gd name="connsiteX2673" fmla="*/ 1364 w 10785"/>
                  <a:gd name="connsiteY2673" fmla="*/ 9128 h 10000"/>
                  <a:gd name="connsiteX2674" fmla="*/ 1355 w 10785"/>
                  <a:gd name="connsiteY2674" fmla="*/ 9120 h 10000"/>
                  <a:gd name="connsiteX2675" fmla="*/ 1350 w 10785"/>
                  <a:gd name="connsiteY2675" fmla="*/ 9103 h 10000"/>
                  <a:gd name="connsiteX2676" fmla="*/ 1355 w 10785"/>
                  <a:gd name="connsiteY2676" fmla="*/ 9094 h 10000"/>
                  <a:gd name="connsiteX2677" fmla="*/ 1355 w 10785"/>
                  <a:gd name="connsiteY2677" fmla="*/ 9068 h 10000"/>
                  <a:gd name="connsiteX2678" fmla="*/ 1369 w 10785"/>
                  <a:gd name="connsiteY2678" fmla="*/ 9068 h 10000"/>
                  <a:gd name="connsiteX2679" fmla="*/ 1378 w 10785"/>
                  <a:gd name="connsiteY2679" fmla="*/ 9077 h 10000"/>
                  <a:gd name="connsiteX2680" fmla="*/ 1396 w 10785"/>
                  <a:gd name="connsiteY2680" fmla="*/ 9068 h 10000"/>
                  <a:gd name="connsiteX2681" fmla="*/ 1382 w 10785"/>
                  <a:gd name="connsiteY2681" fmla="*/ 8940 h 10000"/>
                  <a:gd name="connsiteX2682" fmla="*/ 1378 w 10785"/>
                  <a:gd name="connsiteY2682" fmla="*/ 8940 h 10000"/>
                  <a:gd name="connsiteX2683" fmla="*/ 1364 w 10785"/>
                  <a:gd name="connsiteY2683" fmla="*/ 8889 h 10000"/>
                  <a:gd name="connsiteX2684" fmla="*/ 1355 w 10785"/>
                  <a:gd name="connsiteY2684" fmla="*/ 8880 h 10000"/>
                  <a:gd name="connsiteX2685" fmla="*/ 1323 w 10785"/>
                  <a:gd name="connsiteY2685" fmla="*/ 8880 h 10000"/>
                  <a:gd name="connsiteX2686" fmla="*/ 1309 w 10785"/>
                  <a:gd name="connsiteY2686" fmla="*/ 8880 h 10000"/>
                  <a:gd name="connsiteX2687" fmla="*/ 1309 w 10785"/>
                  <a:gd name="connsiteY2687" fmla="*/ 8889 h 10000"/>
                  <a:gd name="connsiteX2688" fmla="*/ 1295 w 10785"/>
                  <a:gd name="connsiteY2688" fmla="*/ 8872 h 10000"/>
                  <a:gd name="connsiteX2689" fmla="*/ 1290 w 10785"/>
                  <a:gd name="connsiteY2689" fmla="*/ 8855 h 10000"/>
                  <a:gd name="connsiteX2690" fmla="*/ 1290 w 10785"/>
                  <a:gd name="connsiteY2690" fmla="*/ 8829 h 10000"/>
                  <a:gd name="connsiteX2691" fmla="*/ 1290 w 10785"/>
                  <a:gd name="connsiteY2691" fmla="*/ 8821 h 10000"/>
                  <a:gd name="connsiteX2692" fmla="*/ 1290 w 10785"/>
                  <a:gd name="connsiteY2692" fmla="*/ 8803 h 10000"/>
                  <a:gd name="connsiteX2693" fmla="*/ 1281 w 10785"/>
                  <a:gd name="connsiteY2693" fmla="*/ 8795 h 10000"/>
                  <a:gd name="connsiteX2694" fmla="*/ 1249 w 10785"/>
                  <a:gd name="connsiteY2694" fmla="*/ 8769 h 10000"/>
                  <a:gd name="connsiteX2695" fmla="*/ 1263 w 10785"/>
                  <a:gd name="connsiteY2695" fmla="*/ 8667 h 10000"/>
                  <a:gd name="connsiteX2696" fmla="*/ 1281 w 10785"/>
                  <a:gd name="connsiteY2696" fmla="*/ 8658 h 10000"/>
                  <a:gd name="connsiteX2697" fmla="*/ 1290 w 10785"/>
                  <a:gd name="connsiteY2697" fmla="*/ 8632 h 10000"/>
                  <a:gd name="connsiteX2698" fmla="*/ 1281 w 10785"/>
                  <a:gd name="connsiteY2698" fmla="*/ 8615 h 10000"/>
                  <a:gd name="connsiteX2699" fmla="*/ 1272 w 10785"/>
                  <a:gd name="connsiteY2699" fmla="*/ 8598 h 10000"/>
                  <a:gd name="connsiteX2700" fmla="*/ 1281 w 10785"/>
                  <a:gd name="connsiteY2700" fmla="*/ 8496 h 10000"/>
                  <a:gd name="connsiteX2701" fmla="*/ 1295 w 10785"/>
                  <a:gd name="connsiteY2701" fmla="*/ 8470 h 10000"/>
                  <a:gd name="connsiteX2702" fmla="*/ 1304 w 10785"/>
                  <a:gd name="connsiteY2702" fmla="*/ 8462 h 10000"/>
                  <a:gd name="connsiteX2703" fmla="*/ 1304 w 10785"/>
                  <a:gd name="connsiteY2703" fmla="*/ 8444 h 10000"/>
                  <a:gd name="connsiteX2704" fmla="*/ 1304 w 10785"/>
                  <a:gd name="connsiteY2704" fmla="*/ 8419 h 10000"/>
                  <a:gd name="connsiteX2705" fmla="*/ 1304 w 10785"/>
                  <a:gd name="connsiteY2705" fmla="*/ 8410 h 10000"/>
                  <a:gd name="connsiteX2706" fmla="*/ 1309 w 10785"/>
                  <a:gd name="connsiteY2706" fmla="*/ 8393 h 10000"/>
                  <a:gd name="connsiteX2707" fmla="*/ 1318 w 10785"/>
                  <a:gd name="connsiteY2707" fmla="*/ 8385 h 10000"/>
                  <a:gd name="connsiteX2708" fmla="*/ 1323 w 10785"/>
                  <a:gd name="connsiteY2708" fmla="*/ 8385 h 10000"/>
                  <a:gd name="connsiteX2709" fmla="*/ 1332 w 10785"/>
                  <a:gd name="connsiteY2709" fmla="*/ 8410 h 10000"/>
                  <a:gd name="connsiteX2710" fmla="*/ 1346 w 10785"/>
                  <a:gd name="connsiteY2710" fmla="*/ 8419 h 10000"/>
                  <a:gd name="connsiteX2711" fmla="*/ 1364 w 10785"/>
                  <a:gd name="connsiteY2711" fmla="*/ 8504 h 10000"/>
                  <a:gd name="connsiteX2712" fmla="*/ 1369 w 10785"/>
                  <a:gd name="connsiteY2712" fmla="*/ 8521 h 10000"/>
                  <a:gd name="connsiteX2713" fmla="*/ 1406 w 10785"/>
                  <a:gd name="connsiteY2713" fmla="*/ 8470 h 10000"/>
                  <a:gd name="connsiteX2714" fmla="*/ 1382 w 10785"/>
                  <a:gd name="connsiteY2714" fmla="*/ 8359 h 10000"/>
                  <a:gd name="connsiteX2715" fmla="*/ 1392 w 10785"/>
                  <a:gd name="connsiteY2715" fmla="*/ 8359 h 10000"/>
                  <a:gd name="connsiteX2716" fmla="*/ 1438 w 10785"/>
                  <a:gd name="connsiteY2716" fmla="*/ 8308 h 10000"/>
                  <a:gd name="connsiteX2717" fmla="*/ 1442 w 10785"/>
                  <a:gd name="connsiteY2717" fmla="*/ 8299 h 10000"/>
                  <a:gd name="connsiteX2718" fmla="*/ 1442 w 10785"/>
                  <a:gd name="connsiteY2718" fmla="*/ 8256 h 10000"/>
                  <a:gd name="connsiteX2719" fmla="*/ 1452 w 10785"/>
                  <a:gd name="connsiteY2719" fmla="*/ 8256 h 10000"/>
                  <a:gd name="connsiteX2720" fmla="*/ 1456 w 10785"/>
                  <a:gd name="connsiteY2720" fmla="*/ 8256 h 10000"/>
                  <a:gd name="connsiteX2721" fmla="*/ 1470 w 10785"/>
                  <a:gd name="connsiteY2721" fmla="*/ 8248 h 10000"/>
                  <a:gd name="connsiteX2722" fmla="*/ 1479 w 10785"/>
                  <a:gd name="connsiteY2722" fmla="*/ 8231 h 10000"/>
                  <a:gd name="connsiteX2723" fmla="*/ 1493 w 10785"/>
                  <a:gd name="connsiteY2723" fmla="*/ 8222 h 10000"/>
                  <a:gd name="connsiteX2724" fmla="*/ 1498 w 10785"/>
                  <a:gd name="connsiteY2724" fmla="*/ 8214 h 10000"/>
                  <a:gd name="connsiteX2725" fmla="*/ 1502 w 10785"/>
                  <a:gd name="connsiteY2725" fmla="*/ 8197 h 10000"/>
                  <a:gd name="connsiteX2726" fmla="*/ 1512 w 10785"/>
                  <a:gd name="connsiteY2726" fmla="*/ 8188 h 10000"/>
                  <a:gd name="connsiteX2727" fmla="*/ 1516 w 10785"/>
                  <a:gd name="connsiteY2727" fmla="*/ 8171 h 10000"/>
                  <a:gd name="connsiteX2728" fmla="*/ 1525 w 10785"/>
                  <a:gd name="connsiteY2728" fmla="*/ 8162 h 10000"/>
                  <a:gd name="connsiteX2729" fmla="*/ 1539 w 10785"/>
                  <a:gd name="connsiteY2729" fmla="*/ 8145 h 10000"/>
                  <a:gd name="connsiteX2730" fmla="*/ 1558 w 10785"/>
                  <a:gd name="connsiteY2730" fmla="*/ 8145 h 10000"/>
                  <a:gd name="connsiteX2731" fmla="*/ 1562 w 10785"/>
                  <a:gd name="connsiteY2731" fmla="*/ 8188 h 10000"/>
                  <a:gd name="connsiteX2732" fmla="*/ 1585 w 10785"/>
                  <a:gd name="connsiteY2732" fmla="*/ 8171 h 10000"/>
                  <a:gd name="connsiteX2733" fmla="*/ 1590 w 10785"/>
                  <a:gd name="connsiteY2733" fmla="*/ 8188 h 10000"/>
                  <a:gd name="connsiteX2734" fmla="*/ 1599 w 10785"/>
                  <a:gd name="connsiteY2734" fmla="*/ 8171 h 10000"/>
                  <a:gd name="connsiteX2735" fmla="*/ 1599 w 10785"/>
                  <a:gd name="connsiteY2735" fmla="*/ 8162 h 10000"/>
                  <a:gd name="connsiteX2736" fmla="*/ 1604 w 10785"/>
                  <a:gd name="connsiteY2736" fmla="*/ 8137 h 10000"/>
                  <a:gd name="connsiteX2737" fmla="*/ 1618 w 10785"/>
                  <a:gd name="connsiteY2737" fmla="*/ 8145 h 10000"/>
                  <a:gd name="connsiteX2738" fmla="*/ 1627 w 10785"/>
                  <a:gd name="connsiteY2738" fmla="*/ 8137 h 10000"/>
                  <a:gd name="connsiteX2739" fmla="*/ 1631 w 10785"/>
                  <a:gd name="connsiteY2739" fmla="*/ 8137 h 10000"/>
                  <a:gd name="connsiteX2740" fmla="*/ 1636 w 10785"/>
                  <a:gd name="connsiteY2740" fmla="*/ 8171 h 10000"/>
                  <a:gd name="connsiteX2741" fmla="*/ 1645 w 10785"/>
                  <a:gd name="connsiteY2741" fmla="*/ 8188 h 10000"/>
                  <a:gd name="connsiteX2742" fmla="*/ 1664 w 10785"/>
                  <a:gd name="connsiteY2742" fmla="*/ 8171 h 10000"/>
                  <a:gd name="connsiteX2743" fmla="*/ 1673 w 10785"/>
                  <a:gd name="connsiteY2743" fmla="*/ 8188 h 10000"/>
                  <a:gd name="connsiteX2744" fmla="*/ 1691 w 10785"/>
                  <a:gd name="connsiteY2744" fmla="*/ 8171 h 10000"/>
                  <a:gd name="connsiteX2745" fmla="*/ 1705 w 10785"/>
                  <a:gd name="connsiteY2745" fmla="*/ 8171 h 10000"/>
                  <a:gd name="connsiteX2746" fmla="*/ 1719 w 10785"/>
                  <a:gd name="connsiteY2746" fmla="*/ 8197 h 10000"/>
                  <a:gd name="connsiteX2747" fmla="*/ 1724 w 10785"/>
                  <a:gd name="connsiteY2747" fmla="*/ 8231 h 10000"/>
                  <a:gd name="connsiteX2748" fmla="*/ 1751 w 10785"/>
                  <a:gd name="connsiteY2748" fmla="*/ 8256 h 10000"/>
                  <a:gd name="connsiteX2749" fmla="*/ 1751 w 10785"/>
                  <a:gd name="connsiteY2749" fmla="*/ 8274 h 10000"/>
                  <a:gd name="connsiteX2750" fmla="*/ 1760 w 10785"/>
                  <a:gd name="connsiteY2750" fmla="*/ 8282 h 10000"/>
                  <a:gd name="connsiteX2751" fmla="*/ 1770 w 10785"/>
                  <a:gd name="connsiteY2751" fmla="*/ 8325 h 10000"/>
                  <a:gd name="connsiteX2752" fmla="*/ 1770 w 10785"/>
                  <a:gd name="connsiteY2752" fmla="*/ 8350 h 10000"/>
                  <a:gd name="connsiteX2753" fmla="*/ 1779 w 10785"/>
                  <a:gd name="connsiteY2753" fmla="*/ 8368 h 10000"/>
                  <a:gd name="connsiteX2754" fmla="*/ 1783 w 10785"/>
                  <a:gd name="connsiteY2754" fmla="*/ 8359 h 10000"/>
                  <a:gd name="connsiteX2755" fmla="*/ 1783 w 10785"/>
                  <a:gd name="connsiteY2755" fmla="*/ 8308 h 10000"/>
                  <a:gd name="connsiteX2756" fmla="*/ 1779 w 10785"/>
                  <a:gd name="connsiteY2756" fmla="*/ 8299 h 10000"/>
                  <a:gd name="connsiteX2757" fmla="*/ 1783 w 10785"/>
                  <a:gd name="connsiteY2757" fmla="*/ 8282 h 10000"/>
                  <a:gd name="connsiteX2758" fmla="*/ 1797 w 10785"/>
                  <a:gd name="connsiteY2758" fmla="*/ 8274 h 10000"/>
                  <a:gd name="connsiteX2759" fmla="*/ 1797 w 10785"/>
                  <a:gd name="connsiteY2759" fmla="*/ 8299 h 10000"/>
                  <a:gd name="connsiteX2760" fmla="*/ 1806 w 10785"/>
                  <a:gd name="connsiteY2760" fmla="*/ 8308 h 10000"/>
                  <a:gd name="connsiteX2761" fmla="*/ 1811 w 10785"/>
                  <a:gd name="connsiteY2761" fmla="*/ 8325 h 10000"/>
                  <a:gd name="connsiteX2762" fmla="*/ 1820 w 10785"/>
                  <a:gd name="connsiteY2762" fmla="*/ 8333 h 10000"/>
                  <a:gd name="connsiteX2763" fmla="*/ 1853 w 10785"/>
                  <a:gd name="connsiteY2763" fmla="*/ 8359 h 10000"/>
                  <a:gd name="connsiteX2764" fmla="*/ 1866 w 10785"/>
                  <a:gd name="connsiteY2764" fmla="*/ 8359 h 10000"/>
                  <a:gd name="connsiteX2765" fmla="*/ 1885 w 10785"/>
                  <a:gd name="connsiteY2765" fmla="*/ 8325 h 10000"/>
                  <a:gd name="connsiteX2766" fmla="*/ 1885 w 10785"/>
                  <a:gd name="connsiteY2766" fmla="*/ 8308 h 10000"/>
                  <a:gd name="connsiteX2767" fmla="*/ 1894 w 10785"/>
                  <a:gd name="connsiteY2767" fmla="*/ 8299 h 10000"/>
                  <a:gd name="connsiteX2768" fmla="*/ 1899 w 10785"/>
                  <a:gd name="connsiteY2768" fmla="*/ 8282 h 10000"/>
                  <a:gd name="connsiteX2769" fmla="*/ 1912 w 10785"/>
                  <a:gd name="connsiteY2769" fmla="*/ 8282 h 10000"/>
                  <a:gd name="connsiteX2770" fmla="*/ 1917 w 10785"/>
                  <a:gd name="connsiteY2770" fmla="*/ 8299 h 10000"/>
                  <a:gd name="connsiteX2771" fmla="*/ 1917 w 10785"/>
                  <a:gd name="connsiteY2771" fmla="*/ 8274 h 10000"/>
                  <a:gd name="connsiteX2772" fmla="*/ 1940 w 10785"/>
                  <a:gd name="connsiteY2772" fmla="*/ 8282 h 10000"/>
                  <a:gd name="connsiteX2773" fmla="*/ 1945 w 10785"/>
                  <a:gd name="connsiteY2773" fmla="*/ 8274 h 10000"/>
                  <a:gd name="connsiteX2774" fmla="*/ 1972 w 10785"/>
                  <a:gd name="connsiteY2774" fmla="*/ 8308 h 10000"/>
                  <a:gd name="connsiteX2775" fmla="*/ 1986 w 10785"/>
                  <a:gd name="connsiteY2775" fmla="*/ 8282 h 10000"/>
                  <a:gd name="connsiteX2776" fmla="*/ 1991 w 10785"/>
                  <a:gd name="connsiteY2776" fmla="*/ 8274 h 10000"/>
                  <a:gd name="connsiteX2777" fmla="*/ 2014 w 10785"/>
                  <a:gd name="connsiteY2777" fmla="*/ 8274 h 10000"/>
                  <a:gd name="connsiteX2778" fmla="*/ 2018 w 10785"/>
                  <a:gd name="connsiteY2778" fmla="*/ 8256 h 10000"/>
                  <a:gd name="connsiteX2779" fmla="*/ 2041 w 10785"/>
                  <a:gd name="connsiteY2779" fmla="*/ 8274 h 10000"/>
                  <a:gd name="connsiteX2780" fmla="*/ 2046 w 10785"/>
                  <a:gd name="connsiteY2780" fmla="*/ 8282 h 10000"/>
                  <a:gd name="connsiteX2781" fmla="*/ 2046 w 10785"/>
                  <a:gd name="connsiteY2781" fmla="*/ 8325 h 10000"/>
                  <a:gd name="connsiteX2782" fmla="*/ 2060 w 10785"/>
                  <a:gd name="connsiteY2782" fmla="*/ 8350 h 10000"/>
                  <a:gd name="connsiteX2783" fmla="*/ 2078 w 10785"/>
                  <a:gd name="connsiteY2783" fmla="*/ 8350 h 10000"/>
                  <a:gd name="connsiteX2784" fmla="*/ 2092 w 10785"/>
                  <a:gd name="connsiteY2784" fmla="*/ 8350 h 10000"/>
                  <a:gd name="connsiteX2785" fmla="*/ 2092 w 10785"/>
                  <a:gd name="connsiteY2785" fmla="*/ 8350 h 10000"/>
                  <a:gd name="connsiteX2786" fmla="*/ 2101 w 10785"/>
                  <a:gd name="connsiteY2786" fmla="*/ 8368 h 10000"/>
                  <a:gd name="connsiteX2787" fmla="*/ 2120 w 10785"/>
                  <a:gd name="connsiteY2787" fmla="*/ 8368 h 10000"/>
                  <a:gd name="connsiteX2788" fmla="*/ 2124 w 10785"/>
                  <a:gd name="connsiteY2788" fmla="*/ 8359 h 10000"/>
                  <a:gd name="connsiteX2789" fmla="*/ 2138 w 10785"/>
                  <a:gd name="connsiteY2789" fmla="*/ 8325 h 10000"/>
                  <a:gd name="connsiteX2790" fmla="*/ 2147 w 10785"/>
                  <a:gd name="connsiteY2790" fmla="*/ 8325 h 10000"/>
                  <a:gd name="connsiteX2791" fmla="*/ 2161 w 10785"/>
                  <a:gd name="connsiteY2791" fmla="*/ 8350 h 10000"/>
                  <a:gd name="connsiteX2792" fmla="*/ 2198 w 10785"/>
                  <a:gd name="connsiteY2792" fmla="*/ 8350 h 10000"/>
                  <a:gd name="connsiteX2793" fmla="*/ 2207 w 10785"/>
                  <a:gd name="connsiteY2793" fmla="*/ 8333 h 10000"/>
                  <a:gd name="connsiteX2794" fmla="*/ 2226 w 10785"/>
                  <a:gd name="connsiteY2794" fmla="*/ 8325 h 10000"/>
                  <a:gd name="connsiteX2795" fmla="*/ 2249 w 10785"/>
                  <a:gd name="connsiteY2795" fmla="*/ 8222 h 10000"/>
                  <a:gd name="connsiteX2796" fmla="*/ 2235 w 10785"/>
                  <a:gd name="connsiteY2796" fmla="*/ 8197 h 10000"/>
                  <a:gd name="connsiteX2797" fmla="*/ 2198 w 10785"/>
                  <a:gd name="connsiteY2797" fmla="*/ 8197 h 10000"/>
                  <a:gd name="connsiteX2798" fmla="*/ 2189 w 10785"/>
                  <a:gd name="connsiteY2798" fmla="*/ 8171 h 10000"/>
                  <a:gd name="connsiteX2799" fmla="*/ 2161 w 10785"/>
                  <a:gd name="connsiteY2799" fmla="*/ 8145 h 10000"/>
                  <a:gd name="connsiteX2800" fmla="*/ 2161 w 10785"/>
                  <a:gd name="connsiteY2800" fmla="*/ 8137 h 10000"/>
                  <a:gd name="connsiteX2801" fmla="*/ 2152 w 10785"/>
                  <a:gd name="connsiteY2801" fmla="*/ 8120 h 10000"/>
                  <a:gd name="connsiteX2802" fmla="*/ 2138 w 10785"/>
                  <a:gd name="connsiteY2802" fmla="*/ 8111 h 10000"/>
                  <a:gd name="connsiteX2803" fmla="*/ 2138 w 10785"/>
                  <a:gd name="connsiteY2803" fmla="*/ 8094 h 10000"/>
                  <a:gd name="connsiteX2804" fmla="*/ 2147 w 10785"/>
                  <a:gd name="connsiteY2804" fmla="*/ 8085 h 10000"/>
                  <a:gd name="connsiteX2805" fmla="*/ 2161 w 10785"/>
                  <a:gd name="connsiteY2805" fmla="*/ 8060 h 10000"/>
                  <a:gd name="connsiteX2806" fmla="*/ 2198 w 10785"/>
                  <a:gd name="connsiteY2806" fmla="*/ 8034 h 10000"/>
                  <a:gd name="connsiteX2807" fmla="*/ 2198 w 10785"/>
                  <a:gd name="connsiteY2807" fmla="*/ 8026 h 10000"/>
                  <a:gd name="connsiteX2808" fmla="*/ 2198 w 10785"/>
                  <a:gd name="connsiteY2808" fmla="*/ 8000 h 10000"/>
                  <a:gd name="connsiteX2809" fmla="*/ 2180 w 10785"/>
                  <a:gd name="connsiteY2809" fmla="*/ 7940 h 10000"/>
                  <a:gd name="connsiteX2810" fmla="*/ 2189 w 10785"/>
                  <a:gd name="connsiteY2810" fmla="*/ 7940 h 10000"/>
                  <a:gd name="connsiteX2811" fmla="*/ 2198 w 10785"/>
                  <a:gd name="connsiteY2811" fmla="*/ 7923 h 10000"/>
                  <a:gd name="connsiteX2812" fmla="*/ 2198 w 10785"/>
                  <a:gd name="connsiteY2812" fmla="*/ 7897 h 10000"/>
                  <a:gd name="connsiteX2813" fmla="*/ 2207 w 10785"/>
                  <a:gd name="connsiteY2813" fmla="*/ 7889 h 10000"/>
                  <a:gd name="connsiteX2814" fmla="*/ 2221 w 10785"/>
                  <a:gd name="connsiteY2814" fmla="*/ 7889 h 10000"/>
                  <a:gd name="connsiteX2815" fmla="*/ 2226 w 10785"/>
                  <a:gd name="connsiteY2815" fmla="*/ 7897 h 10000"/>
                  <a:gd name="connsiteX2816" fmla="*/ 2235 w 10785"/>
                  <a:gd name="connsiteY2816" fmla="*/ 7889 h 10000"/>
                  <a:gd name="connsiteX2817" fmla="*/ 2249 w 10785"/>
                  <a:gd name="connsiteY2817" fmla="*/ 7897 h 10000"/>
                  <a:gd name="connsiteX2818" fmla="*/ 2267 w 10785"/>
                  <a:gd name="connsiteY2818" fmla="*/ 7897 h 10000"/>
                  <a:gd name="connsiteX2819" fmla="*/ 2272 w 10785"/>
                  <a:gd name="connsiteY2819" fmla="*/ 7889 h 10000"/>
                  <a:gd name="connsiteX2820" fmla="*/ 2281 w 10785"/>
                  <a:gd name="connsiteY2820" fmla="*/ 7872 h 10000"/>
                  <a:gd name="connsiteX2821" fmla="*/ 2272 w 10785"/>
                  <a:gd name="connsiteY2821" fmla="*/ 7846 h 10000"/>
                  <a:gd name="connsiteX2822" fmla="*/ 2253 w 10785"/>
                  <a:gd name="connsiteY2822" fmla="*/ 7838 h 10000"/>
                  <a:gd name="connsiteX2823" fmla="*/ 2221 w 10785"/>
                  <a:gd name="connsiteY2823" fmla="*/ 7821 h 10000"/>
                  <a:gd name="connsiteX2824" fmla="*/ 2212 w 10785"/>
                  <a:gd name="connsiteY2824" fmla="*/ 7812 h 10000"/>
                  <a:gd name="connsiteX2825" fmla="*/ 2212 w 10785"/>
                  <a:gd name="connsiteY2825" fmla="*/ 7803 h 10000"/>
                  <a:gd name="connsiteX2826" fmla="*/ 2221 w 10785"/>
                  <a:gd name="connsiteY2826" fmla="*/ 7803 h 10000"/>
                  <a:gd name="connsiteX2827" fmla="*/ 2235 w 10785"/>
                  <a:gd name="connsiteY2827" fmla="*/ 7786 h 10000"/>
                  <a:gd name="connsiteX2828" fmla="*/ 2240 w 10785"/>
                  <a:gd name="connsiteY2828" fmla="*/ 7778 h 10000"/>
                  <a:gd name="connsiteX2829" fmla="*/ 2226 w 10785"/>
                  <a:gd name="connsiteY2829" fmla="*/ 7761 h 10000"/>
                  <a:gd name="connsiteX2830" fmla="*/ 2221 w 10785"/>
                  <a:gd name="connsiteY2830" fmla="*/ 7778 h 10000"/>
                  <a:gd name="connsiteX2831" fmla="*/ 2198 w 10785"/>
                  <a:gd name="connsiteY2831" fmla="*/ 7778 h 10000"/>
                  <a:gd name="connsiteX2832" fmla="*/ 2198 w 10785"/>
                  <a:gd name="connsiteY2832" fmla="*/ 7752 h 10000"/>
                  <a:gd name="connsiteX2833" fmla="*/ 2207 w 10785"/>
                  <a:gd name="connsiteY2833" fmla="*/ 7735 h 10000"/>
                  <a:gd name="connsiteX2834" fmla="*/ 2212 w 10785"/>
                  <a:gd name="connsiteY2834" fmla="*/ 7726 h 10000"/>
                  <a:gd name="connsiteX2835" fmla="*/ 2198 w 10785"/>
                  <a:gd name="connsiteY2835" fmla="*/ 7692 h 10000"/>
                  <a:gd name="connsiteX2836" fmla="*/ 2221 w 10785"/>
                  <a:gd name="connsiteY2836" fmla="*/ 7692 h 10000"/>
                  <a:gd name="connsiteX2837" fmla="*/ 2221 w 10785"/>
                  <a:gd name="connsiteY2837" fmla="*/ 7675 h 10000"/>
                  <a:gd name="connsiteX2838" fmla="*/ 2235 w 10785"/>
                  <a:gd name="connsiteY2838" fmla="*/ 7675 h 10000"/>
                  <a:gd name="connsiteX2839" fmla="*/ 2240 w 10785"/>
                  <a:gd name="connsiteY2839" fmla="*/ 7692 h 10000"/>
                  <a:gd name="connsiteX2840" fmla="*/ 2249 w 10785"/>
                  <a:gd name="connsiteY2840" fmla="*/ 7692 h 10000"/>
                  <a:gd name="connsiteX2841" fmla="*/ 2258 w 10785"/>
                  <a:gd name="connsiteY2841" fmla="*/ 7692 h 10000"/>
                  <a:gd name="connsiteX2842" fmla="*/ 2267 w 10785"/>
                  <a:gd name="connsiteY2842" fmla="*/ 7692 h 10000"/>
                  <a:gd name="connsiteX2843" fmla="*/ 2295 w 10785"/>
                  <a:gd name="connsiteY2843" fmla="*/ 7692 h 10000"/>
                  <a:gd name="connsiteX2844" fmla="*/ 2300 w 10785"/>
                  <a:gd name="connsiteY2844" fmla="*/ 7701 h 10000"/>
                  <a:gd name="connsiteX2845" fmla="*/ 2313 w 10785"/>
                  <a:gd name="connsiteY2845" fmla="*/ 7675 h 10000"/>
                  <a:gd name="connsiteX2846" fmla="*/ 2323 w 10785"/>
                  <a:gd name="connsiteY2846" fmla="*/ 7675 h 10000"/>
                  <a:gd name="connsiteX2847" fmla="*/ 2341 w 10785"/>
                  <a:gd name="connsiteY2847" fmla="*/ 7675 h 10000"/>
                  <a:gd name="connsiteX2848" fmla="*/ 2346 w 10785"/>
                  <a:gd name="connsiteY2848" fmla="*/ 7667 h 10000"/>
                  <a:gd name="connsiteX2849" fmla="*/ 2359 w 10785"/>
                  <a:gd name="connsiteY2849" fmla="*/ 7650 h 10000"/>
                  <a:gd name="connsiteX2850" fmla="*/ 2373 w 10785"/>
                  <a:gd name="connsiteY2850" fmla="*/ 7624 h 10000"/>
                  <a:gd name="connsiteX2851" fmla="*/ 2382 w 10785"/>
                  <a:gd name="connsiteY2851" fmla="*/ 7641 h 10000"/>
                  <a:gd name="connsiteX2852" fmla="*/ 2396 w 10785"/>
                  <a:gd name="connsiteY2852" fmla="*/ 7650 h 10000"/>
                  <a:gd name="connsiteX2853" fmla="*/ 2401 w 10785"/>
                  <a:gd name="connsiteY2853" fmla="*/ 7650 h 10000"/>
                  <a:gd name="connsiteX2854" fmla="*/ 2401 w 10785"/>
                  <a:gd name="connsiteY2854" fmla="*/ 7624 h 10000"/>
                  <a:gd name="connsiteX2855" fmla="*/ 2419 w 10785"/>
                  <a:gd name="connsiteY2855" fmla="*/ 7624 h 10000"/>
                  <a:gd name="connsiteX2856" fmla="*/ 2433 w 10785"/>
                  <a:gd name="connsiteY2856" fmla="*/ 7615 h 10000"/>
                  <a:gd name="connsiteX2857" fmla="*/ 2442 w 10785"/>
                  <a:gd name="connsiteY2857" fmla="*/ 7615 h 10000"/>
                  <a:gd name="connsiteX2858" fmla="*/ 2447 w 10785"/>
                  <a:gd name="connsiteY2858" fmla="*/ 7598 h 10000"/>
                  <a:gd name="connsiteX2859" fmla="*/ 2461 w 10785"/>
                  <a:gd name="connsiteY2859" fmla="*/ 7598 h 10000"/>
                  <a:gd name="connsiteX2860" fmla="*/ 2465 w 10785"/>
                  <a:gd name="connsiteY2860" fmla="*/ 7615 h 10000"/>
                  <a:gd name="connsiteX2861" fmla="*/ 2479 w 10785"/>
                  <a:gd name="connsiteY2861" fmla="*/ 7564 h 10000"/>
                  <a:gd name="connsiteX2862" fmla="*/ 2488 w 10785"/>
                  <a:gd name="connsiteY2862" fmla="*/ 7556 h 10000"/>
                  <a:gd name="connsiteX2863" fmla="*/ 2493 w 10785"/>
                  <a:gd name="connsiteY2863" fmla="*/ 7556 h 10000"/>
                  <a:gd name="connsiteX2864" fmla="*/ 2507 w 10785"/>
                  <a:gd name="connsiteY2864" fmla="*/ 7556 h 10000"/>
                  <a:gd name="connsiteX2865" fmla="*/ 2530 w 10785"/>
                  <a:gd name="connsiteY2865" fmla="*/ 7538 h 10000"/>
                  <a:gd name="connsiteX2866" fmla="*/ 2530 w 10785"/>
                  <a:gd name="connsiteY2866" fmla="*/ 7556 h 10000"/>
                  <a:gd name="connsiteX2867" fmla="*/ 2641 w 10785"/>
                  <a:gd name="connsiteY2867" fmla="*/ 7504 h 10000"/>
                  <a:gd name="connsiteX2868" fmla="*/ 2654 w 10785"/>
                  <a:gd name="connsiteY2868" fmla="*/ 7487 h 10000"/>
                  <a:gd name="connsiteX2869" fmla="*/ 2664 w 10785"/>
                  <a:gd name="connsiteY2869" fmla="*/ 7487 h 10000"/>
                  <a:gd name="connsiteX2870" fmla="*/ 2668 w 10785"/>
                  <a:gd name="connsiteY2870" fmla="*/ 7479 h 10000"/>
                  <a:gd name="connsiteX2871" fmla="*/ 2673 w 10785"/>
                  <a:gd name="connsiteY2871" fmla="*/ 7462 h 10000"/>
                  <a:gd name="connsiteX2872" fmla="*/ 2673 w 10785"/>
                  <a:gd name="connsiteY2872" fmla="*/ 7427 h 10000"/>
                  <a:gd name="connsiteX2873" fmla="*/ 2687 w 10785"/>
                  <a:gd name="connsiteY2873" fmla="*/ 7436 h 10000"/>
                  <a:gd name="connsiteX2874" fmla="*/ 2696 w 10785"/>
                  <a:gd name="connsiteY2874" fmla="*/ 7427 h 10000"/>
                  <a:gd name="connsiteX2875" fmla="*/ 2700 w 10785"/>
                  <a:gd name="connsiteY2875" fmla="*/ 7419 h 10000"/>
                  <a:gd name="connsiteX2876" fmla="*/ 2710 w 10785"/>
                  <a:gd name="connsiteY2876" fmla="*/ 7402 h 10000"/>
                  <a:gd name="connsiteX2877" fmla="*/ 2724 w 10785"/>
                  <a:gd name="connsiteY2877" fmla="*/ 7402 h 10000"/>
                  <a:gd name="connsiteX2878" fmla="*/ 2724 w 10785"/>
                  <a:gd name="connsiteY2878" fmla="*/ 7393 h 10000"/>
                  <a:gd name="connsiteX2879" fmla="*/ 2737 w 10785"/>
                  <a:gd name="connsiteY2879" fmla="*/ 7393 h 10000"/>
                  <a:gd name="connsiteX2880" fmla="*/ 2742 w 10785"/>
                  <a:gd name="connsiteY2880" fmla="*/ 7402 h 10000"/>
                  <a:gd name="connsiteX2881" fmla="*/ 2747 w 10785"/>
                  <a:gd name="connsiteY2881" fmla="*/ 7402 h 10000"/>
                  <a:gd name="connsiteX2882" fmla="*/ 2760 w 10785"/>
                  <a:gd name="connsiteY2882" fmla="*/ 7402 h 10000"/>
                  <a:gd name="connsiteX2883" fmla="*/ 2770 w 10785"/>
                  <a:gd name="connsiteY2883" fmla="*/ 7402 h 10000"/>
                  <a:gd name="connsiteX2884" fmla="*/ 2774 w 10785"/>
                  <a:gd name="connsiteY2884" fmla="*/ 7402 h 10000"/>
                  <a:gd name="connsiteX2885" fmla="*/ 2783 w 10785"/>
                  <a:gd name="connsiteY2885" fmla="*/ 7419 h 10000"/>
                  <a:gd name="connsiteX2886" fmla="*/ 2802 w 10785"/>
                  <a:gd name="connsiteY2886" fmla="*/ 7436 h 10000"/>
                  <a:gd name="connsiteX2887" fmla="*/ 2816 w 10785"/>
                  <a:gd name="connsiteY2887" fmla="*/ 7419 h 10000"/>
                  <a:gd name="connsiteX2888" fmla="*/ 2834 w 10785"/>
                  <a:gd name="connsiteY2888" fmla="*/ 7419 h 10000"/>
                  <a:gd name="connsiteX2889" fmla="*/ 2843 w 10785"/>
                  <a:gd name="connsiteY2889" fmla="*/ 7419 h 10000"/>
                  <a:gd name="connsiteX2890" fmla="*/ 2848 w 10785"/>
                  <a:gd name="connsiteY2890" fmla="*/ 7436 h 10000"/>
                  <a:gd name="connsiteX2891" fmla="*/ 2857 w 10785"/>
                  <a:gd name="connsiteY2891" fmla="*/ 7453 h 10000"/>
                  <a:gd name="connsiteX2892" fmla="*/ 2857 w 10785"/>
                  <a:gd name="connsiteY2892" fmla="*/ 7504 h 10000"/>
                  <a:gd name="connsiteX2893" fmla="*/ 2862 w 10785"/>
                  <a:gd name="connsiteY2893" fmla="*/ 7530 h 10000"/>
                  <a:gd name="connsiteX2894" fmla="*/ 2876 w 10785"/>
                  <a:gd name="connsiteY2894" fmla="*/ 7538 h 10000"/>
                  <a:gd name="connsiteX2895" fmla="*/ 2871 w 10785"/>
                  <a:gd name="connsiteY2895" fmla="*/ 7564 h 10000"/>
                  <a:gd name="connsiteX2896" fmla="*/ 2871 w 10785"/>
                  <a:gd name="connsiteY2896" fmla="*/ 7598 h 10000"/>
                  <a:gd name="connsiteX2897" fmla="*/ 2857 w 10785"/>
                  <a:gd name="connsiteY2897" fmla="*/ 7624 h 10000"/>
                  <a:gd name="connsiteX2898" fmla="*/ 2862 w 10785"/>
                  <a:gd name="connsiteY2898" fmla="*/ 7641 h 10000"/>
                  <a:gd name="connsiteX2899" fmla="*/ 2871 w 10785"/>
                  <a:gd name="connsiteY2899" fmla="*/ 7667 h 10000"/>
                  <a:gd name="connsiteX2900" fmla="*/ 2880 w 10785"/>
                  <a:gd name="connsiteY2900" fmla="*/ 7650 h 10000"/>
                  <a:gd name="connsiteX2901" fmla="*/ 2894 w 10785"/>
                  <a:gd name="connsiteY2901" fmla="*/ 7667 h 10000"/>
                  <a:gd name="connsiteX2902" fmla="*/ 2903 w 10785"/>
                  <a:gd name="connsiteY2902" fmla="*/ 7667 h 10000"/>
                  <a:gd name="connsiteX2903" fmla="*/ 2908 w 10785"/>
                  <a:gd name="connsiteY2903" fmla="*/ 7641 h 10000"/>
                  <a:gd name="connsiteX2904" fmla="*/ 2917 w 10785"/>
                  <a:gd name="connsiteY2904" fmla="*/ 7641 h 10000"/>
                  <a:gd name="connsiteX2905" fmla="*/ 2922 w 10785"/>
                  <a:gd name="connsiteY2905" fmla="*/ 7641 h 10000"/>
                  <a:gd name="connsiteX2906" fmla="*/ 2931 w 10785"/>
                  <a:gd name="connsiteY2906" fmla="*/ 7615 h 10000"/>
                  <a:gd name="connsiteX2907" fmla="*/ 2935 w 10785"/>
                  <a:gd name="connsiteY2907" fmla="*/ 7615 h 10000"/>
                  <a:gd name="connsiteX2908" fmla="*/ 2945 w 10785"/>
                  <a:gd name="connsiteY2908" fmla="*/ 7650 h 10000"/>
                  <a:gd name="connsiteX2909" fmla="*/ 2949 w 10785"/>
                  <a:gd name="connsiteY2909" fmla="*/ 7667 h 10000"/>
                  <a:gd name="connsiteX2910" fmla="*/ 2949 w 10785"/>
                  <a:gd name="connsiteY2910" fmla="*/ 7675 h 10000"/>
                  <a:gd name="connsiteX2911" fmla="*/ 2945 w 10785"/>
                  <a:gd name="connsiteY2911" fmla="*/ 7692 h 10000"/>
                  <a:gd name="connsiteX2912" fmla="*/ 2963 w 10785"/>
                  <a:gd name="connsiteY2912" fmla="*/ 7701 h 10000"/>
                  <a:gd name="connsiteX2913" fmla="*/ 2963 w 10785"/>
                  <a:gd name="connsiteY2913" fmla="*/ 7675 h 10000"/>
                  <a:gd name="connsiteX2914" fmla="*/ 2954 w 10785"/>
                  <a:gd name="connsiteY2914" fmla="*/ 7667 h 10000"/>
                  <a:gd name="connsiteX2915" fmla="*/ 2963 w 10785"/>
                  <a:gd name="connsiteY2915" fmla="*/ 7667 h 10000"/>
                  <a:gd name="connsiteX2916" fmla="*/ 2982 w 10785"/>
                  <a:gd name="connsiteY2916" fmla="*/ 7667 h 10000"/>
                  <a:gd name="connsiteX2917" fmla="*/ 2991 w 10785"/>
                  <a:gd name="connsiteY2917" fmla="*/ 7675 h 10000"/>
                  <a:gd name="connsiteX2918" fmla="*/ 2995 w 10785"/>
                  <a:gd name="connsiteY2918" fmla="*/ 7692 h 10000"/>
                  <a:gd name="connsiteX2919" fmla="*/ 3009 w 10785"/>
                  <a:gd name="connsiteY2919" fmla="*/ 7701 h 10000"/>
                  <a:gd name="connsiteX2920" fmla="*/ 3018 w 10785"/>
                  <a:gd name="connsiteY2920" fmla="*/ 7701 h 10000"/>
                  <a:gd name="connsiteX2921" fmla="*/ 3023 w 10785"/>
                  <a:gd name="connsiteY2921" fmla="*/ 7692 h 10000"/>
                  <a:gd name="connsiteX2922" fmla="*/ 3028 w 10785"/>
                  <a:gd name="connsiteY2922" fmla="*/ 7675 h 10000"/>
                  <a:gd name="connsiteX2923" fmla="*/ 3037 w 10785"/>
                  <a:gd name="connsiteY2923" fmla="*/ 7692 h 10000"/>
                  <a:gd name="connsiteX2924" fmla="*/ 3028 w 10785"/>
                  <a:gd name="connsiteY2924" fmla="*/ 7709 h 10000"/>
                  <a:gd name="connsiteX2925" fmla="*/ 3023 w 10785"/>
                  <a:gd name="connsiteY2925" fmla="*/ 7709 h 10000"/>
                  <a:gd name="connsiteX2926" fmla="*/ 3018 w 10785"/>
                  <a:gd name="connsiteY2926" fmla="*/ 7726 h 10000"/>
                  <a:gd name="connsiteX2927" fmla="*/ 3009 w 10785"/>
                  <a:gd name="connsiteY2927" fmla="*/ 7735 h 10000"/>
                  <a:gd name="connsiteX2928" fmla="*/ 3009 w 10785"/>
                  <a:gd name="connsiteY2928" fmla="*/ 7761 h 10000"/>
                  <a:gd name="connsiteX2929" fmla="*/ 3009 w 10785"/>
                  <a:gd name="connsiteY2929" fmla="*/ 7778 h 10000"/>
                  <a:gd name="connsiteX2930" fmla="*/ 3018 w 10785"/>
                  <a:gd name="connsiteY2930" fmla="*/ 7786 h 10000"/>
                  <a:gd name="connsiteX2931" fmla="*/ 3023 w 10785"/>
                  <a:gd name="connsiteY2931" fmla="*/ 7786 h 10000"/>
                  <a:gd name="connsiteX2932" fmla="*/ 3028 w 10785"/>
                  <a:gd name="connsiteY2932" fmla="*/ 7778 h 10000"/>
                  <a:gd name="connsiteX2933" fmla="*/ 3051 w 10785"/>
                  <a:gd name="connsiteY2933" fmla="*/ 7761 h 10000"/>
                  <a:gd name="connsiteX2934" fmla="*/ 3055 w 10785"/>
                  <a:gd name="connsiteY2934" fmla="*/ 7778 h 10000"/>
                  <a:gd name="connsiteX2935" fmla="*/ 3065 w 10785"/>
                  <a:gd name="connsiteY2935" fmla="*/ 7761 h 10000"/>
                  <a:gd name="connsiteX2936" fmla="*/ 3069 w 10785"/>
                  <a:gd name="connsiteY2936" fmla="*/ 7786 h 10000"/>
                  <a:gd name="connsiteX2937" fmla="*/ 3083 w 10785"/>
                  <a:gd name="connsiteY2937" fmla="*/ 7786 h 10000"/>
                  <a:gd name="connsiteX2938" fmla="*/ 3078 w 10785"/>
                  <a:gd name="connsiteY2938" fmla="*/ 7761 h 10000"/>
                  <a:gd name="connsiteX2939" fmla="*/ 3083 w 10785"/>
                  <a:gd name="connsiteY2939" fmla="*/ 7752 h 10000"/>
                  <a:gd name="connsiteX2940" fmla="*/ 3097 w 10785"/>
                  <a:gd name="connsiteY2940" fmla="*/ 7752 h 10000"/>
                  <a:gd name="connsiteX2941" fmla="*/ 3111 w 10785"/>
                  <a:gd name="connsiteY2941" fmla="*/ 7726 h 10000"/>
                  <a:gd name="connsiteX2942" fmla="*/ 3124 w 10785"/>
                  <a:gd name="connsiteY2942" fmla="*/ 7709 h 10000"/>
                  <a:gd name="connsiteX2943" fmla="*/ 3143 w 10785"/>
                  <a:gd name="connsiteY2943" fmla="*/ 7692 h 10000"/>
                  <a:gd name="connsiteX2944" fmla="*/ 3152 w 10785"/>
                  <a:gd name="connsiteY2944" fmla="*/ 7667 h 10000"/>
                  <a:gd name="connsiteX2945" fmla="*/ 3157 w 10785"/>
                  <a:gd name="connsiteY2945" fmla="*/ 7650 h 10000"/>
                  <a:gd name="connsiteX2946" fmla="*/ 3161 w 10785"/>
                  <a:gd name="connsiteY2946" fmla="*/ 7650 h 10000"/>
                  <a:gd name="connsiteX2947" fmla="*/ 3189 w 10785"/>
                  <a:gd name="connsiteY2947" fmla="*/ 7641 h 10000"/>
                  <a:gd name="connsiteX2948" fmla="*/ 3198 w 10785"/>
                  <a:gd name="connsiteY2948" fmla="*/ 7624 h 10000"/>
                  <a:gd name="connsiteX2949" fmla="*/ 3217 w 10785"/>
                  <a:gd name="connsiteY2949" fmla="*/ 7615 h 10000"/>
                  <a:gd name="connsiteX2950" fmla="*/ 3235 w 10785"/>
                  <a:gd name="connsiteY2950" fmla="*/ 7598 h 10000"/>
                  <a:gd name="connsiteX2951" fmla="*/ 3235 w 10785"/>
                  <a:gd name="connsiteY2951" fmla="*/ 7615 h 10000"/>
                  <a:gd name="connsiteX2952" fmla="*/ 3235 w 10785"/>
                  <a:gd name="connsiteY2952" fmla="*/ 7641 h 10000"/>
                  <a:gd name="connsiteX2953" fmla="*/ 3235 w 10785"/>
                  <a:gd name="connsiteY2953" fmla="*/ 7650 h 10000"/>
                  <a:gd name="connsiteX2954" fmla="*/ 3226 w 10785"/>
                  <a:gd name="connsiteY2954" fmla="*/ 7650 h 10000"/>
                  <a:gd name="connsiteX2955" fmla="*/ 3217 w 10785"/>
                  <a:gd name="connsiteY2955" fmla="*/ 7650 h 10000"/>
                  <a:gd name="connsiteX2956" fmla="*/ 3212 w 10785"/>
                  <a:gd name="connsiteY2956" fmla="*/ 7675 h 10000"/>
                  <a:gd name="connsiteX2957" fmla="*/ 3212 w 10785"/>
                  <a:gd name="connsiteY2957"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334 w 10785"/>
                  <a:gd name="connsiteY731" fmla="*/ 4810 h 10000"/>
                  <a:gd name="connsiteX732" fmla="*/ 10422 w 10785"/>
                  <a:gd name="connsiteY732" fmla="*/ 5051 h 10000"/>
                  <a:gd name="connsiteX733" fmla="*/ 10691 w 10785"/>
                  <a:gd name="connsiteY733" fmla="*/ 5255 h 10000"/>
                  <a:gd name="connsiteX734" fmla="*/ 10619 w 10785"/>
                  <a:gd name="connsiteY734" fmla="*/ 4708 h 10000"/>
                  <a:gd name="connsiteX735" fmla="*/ 10785 w 10785"/>
                  <a:gd name="connsiteY735" fmla="*/ 4708 h 10000"/>
                  <a:gd name="connsiteX736" fmla="*/ 10689 w 10785"/>
                  <a:gd name="connsiteY736" fmla="*/ 4467 h 10000"/>
                  <a:gd name="connsiteX737" fmla="*/ 10354 w 10785"/>
                  <a:gd name="connsiteY737" fmla="*/ 4302 h 10000"/>
                  <a:gd name="connsiteX738" fmla="*/ 9912 w 10785"/>
                  <a:gd name="connsiteY738" fmla="*/ 3675 h 10000"/>
                  <a:gd name="connsiteX739" fmla="*/ 9903 w 10785"/>
                  <a:gd name="connsiteY739" fmla="*/ 3667 h 10000"/>
                  <a:gd name="connsiteX740" fmla="*/ 9894 w 10785"/>
                  <a:gd name="connsiteY740" fmla="*/ 3641 h 10000"/>
                  <a:gd name="connsiteX741" fmla="*/ 9889 w 10785"/>
                  <a:gd name="connsiteY741" fmla="*/ 3650 h 10000"/>
                  <a:gd name="connsiteX742" fmla="*/ 9848 w 10785"/>
                  <a:gd name="connsiteY742" fmla="*/ 3598 h 10000"/>
                  <a:gd name="connsiteX743" fmla="*/ 9829 w 10785"/>
                  <a:gd name="connsiteY743" fmla="*/ 3581 h 10000"/>
                  <a:gd name="connsiteX744" fmla="*/ 9820 w 10785"/>
                  <a:gd name="connsiteY744" fmla="*/ 3581 h 10000"/>
                  <a:gd name="connsiteX745" fmla="*/ 9793 w 10785"/>
                  <a:gd name="connsiteY745" fmla="*/ 3556 h 10000"/>
                  <a:gd name="connsiteX746" fmla="*/ 9779 w 10785"/>
                  <a:gd name="connsiteY746" fmla="*/ 3556 h 10000"/>
                  <a:gd name="connsiteX747" fmla="*/ 9747 w 10785"/>
                  <a:gd name="connsiteY747" fmla="*/ 3487 h 10000"/>
                  <a:gd name="connsiteX748" fmla="*/ 9668 w 10785"/>
                  <a:gd name="connsiteY748" fmla="*/ 3479 h 10000"/>
                  <a:gd name="connsiteX749" fmla="*/ 9659 w 10785"/>
                  <a:gd name="connsiteY749" fmla="*/ 3487 h 10000"/>
                  <a:gd name="connsiteX750" fmla="*/ 9645 w 10785"/>
                  <a:gd name="connsiteY750" fmla="*/ 3504 h 10000"/>
                  <a:gd name="connsiteX751" fmla="*/ 9631 w 10785"/>
                  <a:gd name="connsiteY751" fmla="*/ 3487 h 10000"/>
                  <a:gd name="connsiteX752" fmla="*/ 9613 w 10785"/>
                  <a:gd name="connsiteY752" fmla="*/ 3479 h 10000"/>
                  <a:gd name="connsiteX753" fmla="*/ 9599 w 10785"/>
                  <a:gd name="connsiteY753" fmla="*/ 3479 h 10000"/>
                  <a:gd name="connsiteX754" fmla="*/ 9571 w 10785"/>
                  <a:gd name="connsiteY754" fmla="*/ 3479 h 10000"/>
                  <a:gd name="connsiteX755" fmla="*/ 9562 w 10785"/>
                  <a:gd name="connsiteY755" fmla="*/ 3487 h 10000"/>
                  <a:gd name="connsiteX756" fmla="*/ 9539 w 10785"/>
                  <a:gd name="connsiteY756" fmla="*/ 3487 h 10000"/>
                  <a:gd name="connsiteX757" fmla="*/ 9507 w 10785"/>
                  <a:gd name="connsiteY757" fmla="*/ 3453 h 10000"/>
                  <a:gd name="connsiteX758" fmla="*/ 9498 w 10785"/>
                  <a:gd name="connsiteY758" fmla="*/ 3453 h 10000"/>
                  <a:gd name="connsiteX759" fmla="*/ 9387 w 10785"/>
                  <a:gd name="connsiteY759" fmla="*/ 3419 h 10000"/>
                  <a:gd name="connsiteX760" fmla="*/ 9373 w 10785"/>
                  <a:gd name="connsiteY760" fmla="*/ 3427 h 10000"/>
                  <a:gd name="connsiteX761" fmla="*/ 9373 w 10785"/>
                  <a:gd name="connsiteY761" fmla="*/ 3462 h 10000"/>
                  <a:gd name="connsiteX762" fmla="*/ 9378 w 10785"/>
                  <a:gd name="connsiteY762" fmla="*/ 3479 h 10000"/>
                  <a:gd name="connsiteX763" fmla="*/ 9378 w 10785"/>
                  <a:gd name="connsiteY763" fmla="*/ 3530 h 10000"/>
                  <a:gd name="connsiteX764" fmla="*/ 9355 w 10785"/>
                  <a:gd name="connsiteY764" fmla="*/ 3538 h 10000"/>
                  <a:gd name="connsiteX765" fmla="*/ 9355 w 10785"/>
                  <a:gd name="connsiteY765" fmla="*/ 3581 h 10000"/>
                  <a:gd name="connsiteX766" fmla="*/ 9387 w 10785"/>
                  <a:gd name="connsiteY766" fmla="*/ 3590 h 10000"/>
                  <a:gd name="connsiteX767" fmla="*/ 9401 w 10785"/>
                  <a:gd name="connsiteY767" fmla="*/ 3667 h 10000"/>
                  <a:gd name="connsiteX768" fmla="*/ 9406 w 10785"/>
                  <a:gd name="connsiteY768" fmla="*/ 3675 h 10000"/>
                  <a:gd name="connsiteX769" fmla="*/ 9406 w 10785"/>
                  <a:gd name="connsiteY769" fmla="*/ 3701 h 10000"/>
                  <a:gd name="connsiteX770" fmla="*/ 9415 w 10785"/>
                  <a:gd name="connsiteY770" fmla="*/ 3752 h 10000"/>
                  <a:gd name="connsiteX771" fmla="*/ 9373 w 10785"/>
                  <a:gd name="connsiteY771" fmla="*/ 3838 h 10000"/>
                  <a:gd name="connsiteX772" fmla="*/ 9355 w 10785"/>
                  <a:gd name="connsiteY772" fmla="*/ 3863 h 10000"/>
                  <a:gd name="connsiteX773" fmla="*/ 9327 w 10785"/>
                  <a:gd name="connsiteY773" fmla="*/ 3863 h 10000"/>
                  <a:gd name="connsiteX774" fmla="*/ 9313 w 10785"/>
                  <a:gd name="connsiteY774" fmla="*/ 3846 h 10000"/>
                  <a:gd name="connsiteX775" fmla="*/ 9300 w 10785"/>
                  <a:gd name="connsiteY775" fmla="*/ 3778 h 10000"/>
                  <a:gd name="connsiteX776" fmla="*/ 9281 w 10785"/>
                  <a:gd name="connsiteY776" fmla="*/ 3752 h 10000"/>
                  <a:gd name="connsiteX777" fmla="*/ 9281 w 10785"/>
                  <a:gd name="connsiteY777" fmla="*/ 3735 h 10000"/>
                  <a:gd name="connsiteX778" fmla="*/ 9267 w 10785"/>
                  <a:gd name="connsiteY778" fmla="*/ 3726 h 10000"/>
                  <a:gd name="connsiteX779" fmla="*/ 9240 w 10785"/>
                  <a:gd name="connsiteY779" fmla="*/ 3726 h 10000"/>
                  <a:gd name="connsiteX780" fmla="*/ 9230 w 10785"/>
                  <a:gd name="connsiteY780" fmla="*/ 3718 h 10000"/>
                  <a:gd name="connsiteX781" fmla="*/ 9226 w 10785"/>
                  <a:gd name="connsiteY781" fmla="*/ 3590 h 10000"/>
                  <a:gd name="connsiteX782" fmla="*/ 9207 w 10785"/>
                  <a:gd name="connsiteY782" fmla="*/ 3581 h 10000"/>
                  <a:gd name="connsiteX783" fmla="*/ 9207 w 10785"/>
                  <a:gd name="connsiteY783" fmla="*/ 3556 h 10000"/>
                  <a:gd name="connsiteX784" fmla="*/ 9217 w 10785"/>
                  <a:gd name="connsiteY784" fmla="*/ 3538 h 10000"/>
                  <a:gd name="connsiteX785" fmla="*/ 9212 w 10785"/>
                  <a:gd name="connsiteY785" fmla="*/ 3538 h 10000"/>
                  <a:gd name="connsiteX786" fmla="*/ 9198 w 10785"/>
                  <a:gd name="connsiteY786" fmla="*/ 3513 h 10000"/>
                  <a:gd name="connsiteX787" fmla="*/ 9194 w 10785"/>
                  <a:gd name="connsiteY787" fmla="*/ 3530 h 10000"/>
                  <a:gd name="connsiteX788" fmla="*/ 9143 w 10785"/>
                  <a:gd name="connsiteY788" fmla="*/ 3615 h 10000"/>
                  <a:gd name="connsiteX789" fmla="*/ 9138 w 10785"/>
                  <a:gd name="connsiteY789" fmla="*/ 3615 h 10000"/>
                  <a:gd name="connsiteX790" fmla="*/ 9134 w 10785"/>
                  <a:gd name="connsiteY790" fmla="*/ 3615 h 10000"/>
                  <a:gd name="connsiteX791" fmla="*/ 9106 w 10785"/>
                  <a:gd name="connsiteY791" fmla="*/ 3615 h 10000"/>
                  <a:gd name="connsiteX792" fmla="*/ 9078 w 10785"/>
                  <a:gd name="connsiteY792" fmla="*/ 3590 h 10000"/>
                  <a:gd name="connsiteX793" fmla="*/ 9037 w 10785"/>
                  <a:gd name="connsiteY793" fmla="*/ 3581 h 10000"/>
                  <a:gd name="connsiteX794" fmla="*/ 9023 w 10785"/>
                  <a:gd name="connsiteY794" fmla="*/ 3590 h 10000"/>
                  <a:gd name="connsiteX795" fmla="*/ 9018 w 10785"/>
                  <a:gd name="connsiteY795" fmla="*/ 3590 h 10000"/>
                  <a:gd name="connsiteX796" fmla="*/ 9018 w 10785"/>
                  <a:gd name="connsiteY796" fmla="*/ 3590 h 10000"/>
                  <a:gd name="connsiteX797" fmla="*/ 8991 w 10785"/>
                  <a:gd name="connsiteY797" fmla="*/ 3590 h 10000"/>
                  <a:gd name="connsiteX798" fmla="*/ 8972 w 10785"/>
                  <a:gd name="connsiteY798" fmla="*/ 3581 h 10000"/>
                  <a:gd name="connsiteX799" fmla="*/ 8959 w 10785"/>
                  <a:gd name="connsiteY799" fmla="*/ 3513 h 10000"/>
                  <a:gd name="connsiteX800" fmla="*/ 8931 w 10785"/>
                  <a:gd name="connsiteY800" fmla="*/ 3538 h 10000"/>
                  <a:gd name="connsiteX801" fmla="*/ 8889 w 10785"/>
                  <a:gd name="connsiteY801" fmla="*/ 3538 h 10000"/>
                  <a:gd name="connsiteX802" fmla="*/ 8871 w 10785"/>
                  <a:gd name="connsiteY802" fmla="*/ 3556 h 10000"/>
                  <a:gd name="connsiteX803" fmla="*/ 8857 w 10785"/>
                  <a:gd name="connsiteY803" fmla="*/ 3538 h 10000"/>
                  <a:gd name="connsiteX804" fmla="*/ 8843 w 10785"/>
                  <a:gd name="connsiteY804" fmla="*/ 3538 h 10000"/>
                  <a:gd name="connsiteX805" fmla="*/ 8839 w 10785"/>
                  <a:gd name="connsiteY805" fmla="*/ 3556 h 10000"/>
                  <a:gd name="connsiteX806" fmla="*/ 8839 w 10785"/>
                  <a:gd name="connsiteY806" fmla="*/ 3581 h 10000"/>
                  <a:gd name="connsiteX807" fmla="*/ 8825 w 10785"/>
                  <a:gd name="connsiteY807" fmla="*/ 3564 h 10000"/>
                  <a:gd name="connsiteX808" fmla="*/ 8825 w 10785"/>
                  <a:gd name="connsiteY808" fmla="*/ 3615 h 10000"/>
                  <a:gd name="connsiteX809" fmla="*/ 8802 w 10785"/>
                  <a:gd name="connsiteY809" fmla="*/ 3598 h 10000"/>
                  <a:gd name="connsiteX810" fmla="*/ 8797 w 10785"/>
                  <a:gd name="connsiteY810" fmla="*/ 3641 h 10000"/>
                  <a:gd name="connsiteX811" fmla="*/ 8783 w 10785"/>
                  <a:gd name="connsiteY811" fmla="*/ 3667 h 10000"/>
                  <a:gd name="connsiteX812" fmla="*/ 8779 w 10785"/>
                  <a:gd name="connsiteY812" fmla="*/ 3650 h 10000"/>
                  <a:gd name="connsiteX813" fmla="*/ 8779 w 10785"/>
                  <a:gd name="connsiteY813" fmla="*/ 3615 h 10000"/>
                  <a:gd name="connsiteX814" fmla="*/ 8770 w 10785"/>
                  <a:gd name="connsiteY814" fmla="*/ 3590 h 10000"/>
                  <a:gd name="connsiteX815" fmla="*/ 8765 w 10785"/>
                  <a:gd name="connsiteY815" fmla="*/ 3598 h 10000"/>
                  <a:gd name="connsiteX816" fmla="*/ 8756 w 10785"/>
                  <a:gd name="connsiteY816" fmla="*/ 3590 h 10000"/>
                  <a:gd name="connsiteX817" fmla="*/ 8737 w 10785"/>
                  <a:gd name="connsiteY817" fmla="*/ 3556 h 10000"/>
                  <a:gd name="connsiteX818" fmla="*/ 8724 w 10785"/>
                  <a:gd name="connsiteY818" fmla="*/ 3538 h 10000"/>
                  <a:gd name="connsiteX819" fmla="*/ 8696 w 10785"/>
                  <a:gd name="connsiteY819" fmla="*/ 3538 h 10000"/>
                  <a:gd name="connsiteX820" fmla="*/ 8691 w 10785"/>
                  <a:gd name="connsiteY820" fmla="*/ 3513 h 10000"/>
                  <a:gd name="connsiteX821" fmla="*/ 8668 w 10785"/>
                  <a:gd name="connsiteY821" fmla="*/ 3504 h 10000"/>
                  <a:gd name="connsiteX822" fmla="*/ 8668 w 10785"/>
                  <a:gd name="connsiteY822" fmla="*/ 3487 h 10000"/>
                  <a:gd name="connsiteX823" fmla="*/ 8691 w 10785"/>
                  <a:gd name="connsiteY823" fmla="*/ 3350 h 10000"/>
                  <a:gd name="connsiteX824" fmla="*/ 8691 w 10785"/>
                  <a:gd name="connsiteY824" fmla="*/ 3291 h 10000"/>
                  <a:gd name="connsiteX825" fmla="*/ 8677 w 10785"/>
                  <a:gd name="connsiteY825" fmla="*/ 3239 h 10000"/>
                  <a:gd name="connsiteX826" fmla="*/ 8677 w 10785"/>
                  <a:gd name="connsiteY826" fmla="*/ 3231 h 10000"/>
                  <a:gd name="connsiteX827" fmla="*/ 8636 w 10785"/>
                  <a:gd name="connsiteY827" fmla="*/ 3128 h 10000"/>
                  <a:gd name="connsiteX828" fmla="*/ 8622 w 10785"/>
                  <a:gd name="connsiteY828" fmla="*/ 3120 h 10000"/>
                  <a:gd name="connsiteX829" fmla="*/ 8618 w 10785"/>
                  <a:gd name="connsiteY829" fmla="*/ 3094 h 10000"/>
                  <a:gd name="connsiteX830" fmla="*/ 8594 w 10785"/>
                  <a:gd name="connsiteY830" fmla="*/ 3077 h 10000"/>
                  <a:gd name="connsiteX831" fmla="*/ 8548 w 10785"/>
                  <a:gd name="connsiteY831" fmla="*/ 3077 h 10000"/>
                  <a:gd name="connsiteX832" fmla="*/ 8535 w 10785"/>
                  <a:gd name="connsiteY832" fmla="*/ 3068 h 10000"/>
                  <a:gd name="connsiteX833" fmla="*/ 8429 w 10785"/>
                  <a:gd name="connsiteY833" fmla="*/ 3077 h 10000"/>
                  <a:gd name="connsiteX834" fmla="*/ 8424 w 10785"/>
                  <a:gd name="connsiteY834" fmla="*/ 3077 h 10000"/>
                  <a:gd name="connsiteX835" fmla="*/ 8396 w 10785"/>
                  <a:gd name="connsiteY835" fmla="*/ 3077 h 10000"/>
                  <a:gd name="connsiteX836" fmla="*/ 8387 w 10785"/>
                  <a:gd name="connsiteY836" fmla="*/ 3094 h 10000"/>
                  <a:gd name="connsiteX837" fmla="*/ 8378 w 10785"/>
                  <a:gd name="connsiteY837" fmla="*/ 3094 h 10000"/>
                  <a:gd name="connsiteX838" fmla="*/ 8341 w 10785"/>
                  <a:gd name="connsiteY838" fmla="*/ 3077 h 10000"/>
                  <a:gd name="connsiteX839" fmla="*/ 8336 w 10785"/>
                  <a:gd name="connsiteY839" fmla="*/ 3077 h 10000"/>
                  <a:gd name="connsiteX840" fmla="*/ 8327 w 10785"/>
                  <a:gd name="connsiteY840" fmla="*/ 3103 h 10000"/>
                  <a:gd name="connsiteX841" fmla="*/ 8309 w 10785"/>
                  <a:gd name="connsiteY841" fmla="*/ 3120 h 10000"/>
                  <a:gd name="connsiteX842" fmla="*/ 8304 w 10785"/>
                  <a:gd name="connsiteY842" fmla="*/ 3103 h 10000"/>
                  <a:gd name="connsiteX843" fmla="*/ 8276 w 10785"/>
                  <a:gd name="connsiteY843" fmla="*/ 3103 h 10000"/>
                  <a:gd name="connsiteX844" fmla="*/ 8267 w 10785"/>
                  <a:gd name="connsiteY844" fmla="*/ 3120 h 10000"/>
                  <a:gd name="connsiteX845" fmla="*/ 8253 w 10785"/>
                  <a:gd name="connsiteY845" fmla="*/ 3103 h 10000"/>
                  <a:gd name="connsiteX846" fmla="*/ 8230 w 10785"/>
                  <a:gd name="connsiteY846" fmla="*/ 3128 h 10000"/>
                  <a:gd name="connsiteX847" fmla="*/ 8217 w 10785"/>
                  <a:gd name="connsiteY847" fmla="*/ 3128 h 10000"/>
                  <a:gd name="connsiteX848" fmla="*/ 8203 w 10785"/>
                  <a:gd name="connsiteY848" fmla="*/ 3154 h 10000"/>
                  <a:gd name="connsiteX849" fmla="*/ 8175 w 10785"/>
                  <a:gd name="connsiteY849" fmla="*/ 3094 h 10000"/>
                  <a:gd name="connsiteX850" fmla="*/ 8161 w 10785"/>
                  <a:gd name="connsiteY850" fmla="*/ 3094 h 10000"/>
                  <a:gd name="connsiteX851" fmla="*/ 8157 w 10785"/>
                  <a:gd name="connsiteY851" fmla="*/ 3077 h 10000"/>
                  <a:gd name="connsiteX852" fmla="*/ 8180 w 10785"/>
                  <a:gd name="connsiteY852" fmla="*/ 3068 h 10000"/>
                  <a:gd name="connsiteX853" fmla="*/ 8189 w 10785"/>
                  <a:gd name="connsiteY853" fmla="*/ 3043 h 10000"/>
                  <a:gd name="connsiteX854" fmla="*/ 8189 w 10785"/>
                  <a:gd name="connsiteY854" fmla="*/ 3017 h 10000"/>
                  <a:gd name="connsiteX855" fmla="*/ 8147 w 10785"/>
                  <a:gd name="connsiteY855" fmla="*/ 2940 h 10000"/>
                  <a:gd name="connsiteX856" fmla="*/ 8143 w 10785"/>
                  <a:gd name="connsiteY856" fmla="*/ 2915 h 10000"/>
                  <a:gd name="connsiteX857" fmla="*/ 8143 w 10785"/>
                  <a:gd name="connsiteY857" fmla="*/ 2906 h 10000"/>
                  <a:gd name="connsiteX858" fmla="*/ 8097 w 10785"/>
                  <a:gd name="connsiteY858" fmla="*/ 2932 h 10000"/>
                  <a:gd name="connsiteX859" fmla="*/ 8083 w 10785"/>
                  <a:gd name="connsiteY859" fmla="*/ 2932 h 10000"/>
                  <a:gd name="connsiteX860" fmla="*/ 8074 w 10785"/>
                  <a:gd name="connsiteY860" fmla="*/ 2906 h 10000"/>
                  <a:gd name="connsiteX861" fmla="*/ 8074 w 10785"/>
                  <a:gd name="connsiteY861" fmla="*/ 2897 h 10000"/>
                  <a:gd name="connsiteX862" fmla="*/ 8055 w 10785"/>
                  <a:gd name="connsiteY862" fmla="*/ 2872 h 10000"/>
                  <a:gd name="connsiteX863" fmla="*/ 8046 w 10785"/>
                  <a:gd name="connsiteY863" fmla="*/ 2829 h 10000"/>
                  <a:gd name="connsiteX864" fmla="*/ 8041 w 10785"/>
                  <a:gd name="connsiteY864" fmla="*/ 2829 h 10000"/>
                  <a:gd name="connsiteX865" fmla="*/ 8023 w 10785"/>
                  <a:gd name="connsiteY865" fmla="*/ 2803 h 10000"/>
                  <a:gd name="connsiteX866" fmla="*/ 8014 w 10785"/>
                  <a:gd name="connsiteY866" fmla="*/ 2829 h 10000"/>
                  <a:gd name="connsiteX867" fmla="*/ 8000 w 10785"/>
                  <a:gd name="connsiteY867" fmla="*/ 2829 h 10000"/>
                  <a:gd name="connsiteX868" fmla="*/ 7995 w 10785"/>
                  <a:gd name="connsiteY868" fmla="*/ 2821 h 10000"/>
                  <a:gd name="connsiteX869" fmla="*/ 7972 w 10785"/>
                  <a:gd name="connsiteY869" fmla="*/ 2803 h 10000"/>
                  <a:gd name="connsiteX870" fmla="*/ 7968 w 10785"/>
                  <a:gd name="connsiteY870" fmla="*/ 2821 h 10000"/>
                  <a:gd name="connsiteX871" fmla="*/ 7968 w 10785"/>
                  <a:gd name="connsiteY871" fmla="*/ 2803 h 10000"/>
                  <a:gd name="connsiteX872" fmla="*/ 7995 w 10785"/>
                  <a:gd name="connsiteY872" fmla="*/ 2735 h 10000"/>
                  <a:gd name="connsiteX873" fmla="*/ 8000 w 10785"/>
                  <a:gd name="connsiteY873" fmla="*/ 2735 h 10000"/>
                  <a:gd name="connsiteX874" fmla="*/ 8014 w 10785"/>
                  <a:gd name="connsiteY874" fmla="*/ 2744 h 10000"/>
                  <a:gd name="connsiteX875" fmla="*/ 8023 w 10785"/>
                  <a:gd name="connsiteY875" fmla="*/ 2769 h 10000"/>
                  <a:gd name="connsiteX876" fmla="*/ 8032 w 10785"/>
                  <a:gd name="connsiteY876" fmla="*/ 2744 h 10000"/>
                  <a:gd name="connsiteX877" fmla="*/ 8032 w 10785"/>
                  <a:gd name="connsiteY877" fmla="*/ 2709 h 10000"/>
                  <a:gd name="connsiteX878" fmla="*/ 8023 w 10785"/>
                  <a:gd name="connsiteY878" fmla="*/ 2632 h 10000"/>
                  <a:gd name="connsiteX879" fmla="*/ 7986 w 10785"/>
                  <a:gd name="connsiteY879" fmla="*/ 2581 h 10000"/>
                  <a:gd name="connsiteX880" fmla="*/ 7968 w 10785"/>
                  <a:gd name="connsiteY880" fmla="*/ 2581 h 10000"/>
                  <a:gd name="connsiteX881" fmla="*/ 7963 w 10785"/>
                  <a:gd name="connsiteY881" fmla="*/ 2556 h 10000"/>
                  <a:gd name="connsiteX882" fmla="*/ 7935 w 10785"/>
                  <a:gd name="connsiteY882" fmla="*/ 2547 h 10000"/>
                  <a:gd name="connsiteX883" fmla="*/ 7912 w 10785"/>
                  <a:gd name="connsiteY883" fmla="*/ 2547 h 10000"/>
                  <a:gd name="connsiteX884" fmla="*/ 7912 w 10785"/>
                  <a:gd name="connsiteY884" fmla="*/ 2556 h 10000"/>
                  <a:gd name="connsiteX885" fmla="*/ 7908 w 10785"/>
                  <a:gd name="connsiteY885" fmla="*/ 2547 h 10000"/>
                  <a:gd name="connsiteX886" fmla="*/ 7862 w 10785"/>
                  <a:gd name="connsiteY886" fmla="*/ 2547 h 10000"/>
                  <a:gd name="connsiteX887" fmla="*/ 7848 w 10785"/>
                  <a:gd name="connsiteY887" fmla="*/ 2556 h 10000"/>
                  <a:gd name="connsiteX888" fmla="*/ 7820 w 10785"/>
                  <a:gd name="connsiteY888" fmla="*/ 2547 h 10000"/>
                  <a:gd name="connsiteX889" fmla="*/ 7806 w 10785"/>
                  <a:gd name="connsiteY889" fmla="*/ 2513 h 10000"/>
                  <a:gd name="connsiteX890" fmla="*/ 7788 w 10785"/>
                  <a:gd name="connsiteY890" fmla="*/ 2513 h 10000"/>
                  <a:gd name="connsiteX891" fmla="*/ 7760 w 10785"/>
                  <a:gd name="connsiteY891" fmla="*/ 2470 h 10000"/>
                  <a:gd name="connsiteX892" fmla="*/ 7751 w 10785"/>
                  <a:gd name="connsiteY892" fmla="*/ 2470 h 10000"/>
                  <a:gd name="connsiteX893" fmla="*/ 7705 w 10785"/>
                  <a:gd name="connsiteY893" fmla="*/ 2462 h 10000"/>
                  <a:gd name="connsiteX894" fmla="*/ 7673 w 10785"/>
                  <a:gd name="connsiteY894" fmla="*/ 2419 h 10000"/>
                  <a:gd name="connsiteX895" fmla="*/ 7627 w 10785"/>
                  <a:gd name="connsiteY895" fmla="*/ 2419 h 10000"/>
                  <a:gd name="connsiteX896" fmla="*/ 7613 w 10785"/>
                  <a:gd name="connsiteY896" fmla="*/ 2410 h 10000"/>
                  <a:gd name="connsiteX897" fmla="*/ 7493 w 10785"/>
                  <a:gd name="connsiteY897" fmla="*/ 2393 h 10000"/>
                  <a:gd name="connsiteX898" fmla="*/ 7479 w 10785"/>
                  <a:gd name="connsiteY898" fmla="*/ 2385 h 10000"/>
                  <a:gd name="connsiteX899" fmla="*/ 7479 w 10785"/>
                  <a:gd name="connsiteY899" fmla="*/ 2376 h 10000"/>
                  <a:gd name="connsiteX900" fmla="*/ 7465 w 10785"/>
                  <a:gd name="connsiteY900" fmla="*/ 2359 h 10000"/>
                  <a:gd name="connsiteX901" fmla="*/ 7447 w 10785"/>
                  <a:gd name="connsiteY901" fmla="*/ 2350 h 10000"/>
                  <a:gd name="connsiteX902" fmla="*/ 7433 w 10785"/>
                  <a:gd name="connsiteY902" fmla="*/ 2376 h 10000"/>
                  <a:gd name="connsiteX903" fmla="*/ 7433 w 10785"/>
                  <a:gd name="connsiteY903" fmla="*/ 2385 h 10000"/>
                  <a:gd name="connsiteX904" fmla="*/ 7447 w 10785"/>
                  <a:gd name="connsiteY904" fmla="*/ 2410 h 10000"/>
                  <a:gd name="connsiteX905" fmla="*/ 7447 w 10785"/>
                  <a:gd name="connsiteY905" fmla="*/ 2436 h 10000"/>
                  <a:gd name="connsiteX906" fmla="*/ 7452 w 10785"/>
                  <a:gd name="connsiteY906" fmla="*/ 2462 h 10000"/>
                  <a:gd name="connsiteX907" fmla="*/ 7447 w 10785"/>
                  <a:gd name="connsiteY907" fmla="*/ 2470 h 10000"/>
                  <a:gd name="connsiteX908" fmla="*/ 7424 w 10785"/>
                  <a:gd name="connsiteY908" fmla="*/ 2513 h 10000"/>
                  <a:gd name="connsiteX909" fmla="*/ 7419 w 10785"/>
                  <a:gd name="connsiteY909" fmla="*/ 2556 h 10000"/>
                  <a:gd name="connsiteX910" fmla="*/ 7406 w 10785"/>
                  <a:gd name="connsiteY910" fmla="*/ 2624 h 10000"/>
                  <a:gd name="connsiteX911" fmla="*/ 7392 w 10785"/>
                  <a:gd name="connsiteY911" fmla="*/ 2624 h 10000"/>
                  <a:gd name="connsiteX912" fmla="*/ 7373 w 10785"/>
                  <a:gd name="connsiteY912" fmla="*/ 2650 h 10000"/>
                  <a:gd name="connsiteX913" fmla="*/ 7364 w 10785"/>
                  <a:gd name="connsiteY913" fmla="*/ 2684 h 10000"/>
                  <a:gd name="connsiteX914" fmla="*/ 7364 w 10785"/>
                  <a:gd name="connsiteY914" fmla="*/ 2692 h 10000"/>
                  <a:gd name="connsiteX915" fmla="*/ 7373 w 10785"/>
                  <a:gd name="connsiteY915" fmla="*/ 2718 h 10000"/>
                  <a:gd name="connsiteX916" fmla="*/ 7373 w 10785"/>
                  <a:gd name="connsiteY916" fmla="*/ 2744 h 10000"/>
                  <a:gd name="connsiteX917" fmla="*/ 7359 w 10785"/>
                  <a:gd name="connsiteY917" fmla="*/ 2744 h 10000"/>
                  <a:gd name="connsiteX918" fmla="*/ 7359 w 10785"/>
                  <a:gd name="connsiteY918" fmla="*/ 2795 h 10000"/>
                  <a:gd name="connsiteX919" fmla="*/ 7364 w 10785"/>
                  <a:gd name="connsiteY919" fmla="*/ 2821 h 10000"/>
                  <a:gd name="connsiteX920" fmla="*/ 7378 w 10785"/>
                  <a:gd name="connsiteY920" fmla="*/ 2846 h 10000"/>
                  <a:gd name="connsiteX921" fmla="*/ 7378 w 10785"/>
                  <a:gd name="connsiteY921" fmla="*/ 2855 h 10000"/>
                  <a:gd name="connsiteX922" fmla="*/ 7378 w 10785"/>
                  <a:gd name="connsiteY922" fmla="*/ 2880 h 10000"/>
                  <a:gd name="connsiteX923" fmla="*/ 7378 w 10785"/>
                  <a:gd name="connsiteY923" fmla="*/ 2906 h 10000"/>
                  <a:gd name="connsiteX924" fmla="*/ 7364 w 10785"/>
                  <a:gd name="connsiteY924" fmla="*/ 2906 h 10000"/>
                  <a:gd name="connsiteX925" fmla="*/ 7346 w 10785"/>
                  <a:gd name="connsiteY925" fmla="*/ 2880 h 10000"/>
                  <a:gd name="connsiteX926" fmla="*/ 7332 w 10785"/>
                  <a:gd name="connsiteY926" fmla="*/ 2915 h 10000"/>
                  <a:gd name="connsiteX927" fmla="*/ 7318 w 10785"/>
                  <a:gd name="connsiteY927" fmla="*/ 2906 h 10000"/>
                  <a:gd name="connsiteX928" fmla="*/ 7313 w 10785"/>
                  <a:gd name="connsiteY928" fmla="*/ 2915 h 10000"/>
                  <a:gd name="connsiteX929" fmla="*/ 7313 w 10785"/>
                  <a:gd name="connsiteY929" fmla="*/ 2906 h 10000"/>
                  <a:gd name="connsiteX930" fmla="*/ 7286 w 10785"/>
                  <a:gd name="connsiteY930" fmla="*/ 2940 h 10000"/>
                  <a:gd name="connsiteX931" fmla="*/ 7276 w 10785"/>
                  <a:gd name="connsiteY931" fmla="*/ 2966 h 10000"/>
                  <a:gd name="connsiteX932" fmla="*/ 7272 w 10785"/>
                  <a:gd name="connsiteY932" fmla="*/ 2983 h 10000"/>
                  <a:gd name="connsiteX933" fmla="*/ 7267 w 10785"/>
                  <a:gd name="connsiteY933" fmla="*/ 3009 h 10000"/>
                  <a:gd name="connsiteX934" fmla="*/ 7253 w 10785"/>
                  <a:gd name="connsiteY934" fmla="*/ 3009 h 10000"/>
                  <a:gd name="connsiteX935" fmla="*/ 7244 w 10785"/>
                  <a:gd name="connsiteY935" fmla="*/ 3017 h 10000"/>
                  <a:gd name="connsiteX936" fmla="*/ 7240 w 10785"/>
                  <a:gd name="connsiteY936" fmla="*/ 3009 h 10000"/>
                  <a:gd name="connsiteX937" fmla="*/ 7230 w 10785"/>
                  <a:gd name="connsiteY937" fmla="*/ 2991 h 10000"/>
                  <a:gd name="connsiteX938" fmla="*/ 7226 w 10785"/>
                  <a:gd name="connsiteY938" fmla="*/ 2983 h 10000"/>
                  <a:gd name="connsiteX939" fmla="*/ 7226 w 10785"/>
                  <a:gd name="connsiteY939" fmla="*/ 2966 h 10000"/>
                  <a:gd name="connsiteX940" fmla="*/ 7212 w 10785"/>
                  <a:gd name="connsiteY940" fmla="*/ 2957 h 10000"/>
                  <a:gd name="connsiteX941" fmla="*/ 7212 w 10785"/>
                  <a:gd name="connsiteY941" fmla="*/ 2932 h 10000"/>
                  <a:gd name="connsiteX942" fmla="*/ 7198 w 10785"/>
                  <a:gd name="connsiteY942" fmla="*/ 2915 h 10000"/>
                  <a:gd name="connsiteX943" fmla="*/ 7194 w 10785"/>
                  <a:gd name="connsiteY943" fmla="*/ 2915 h 10000"/>
                  <a:gd name="connsiteX944" fmla="*/ 7157 w 10785"/>
                  <a:gd name="connsiteY944" fmla="*/ 2880 h 10000"/>
                  <a:gd name="connsiteX945" fmla="*/ 7138 w 10785"/>
                  <a:gd name="connsiteY945" fmla="*/ 2880 h 10000"/>
                  <a:gd name="connsiteX946" fmla="*/ 7120 w 10785"/>
                  <a:gd name="connsiteY946" fmla="*/ 2872 h 10000"/>
                  <a:gd name="connsiteX947" fmla="*/ 7111 w 10785"/>
                  <a:gd name="connsiteY947" fmla="*/ 2846 h 10000"/>
                  <a:gd name="connsiteX948" fmla="*/ 7106 w 10785"/>
                  <a:gd name="connsiteY948" fmla="*/ 2846 h 10000"/>
                  <a:gd name="connsiteX949" fmla="*/ 7092 w 10785"/>
                  <a:gd name="connsiteY949" fmla="*/ 2829 h 10000"/>
                  <a:gd name="connsiteX950" fmla="*/ 7051 w 10785"/>
                  <a:gd name="connsiteY950" fmla="*/ 2829 h 10000"/>
                  <a:gd name="connsiteX951" fmla="*/ 7037 w 10785"/>
                  <a:gd name="connsiteY951" fmla="*/ 2880 h 10000"/>
                  <a:gd name="connsiteX952" fmla="*/ 7037 w 10785"/>
                  <a:gd name="connsiteY952" fmla="*/ 2906 h 10000"/>
                  <a:gd name="connsiteX953" fmla="*/ 7037 w 10785"/>
                  <a:gd name="connsiteY953" fmla="*/ 2932 h 10000"/>
                  <a:gd name="connsiteX954" fmla="*/ 7037 w 10785"/>
                  <a:gd name="connsiteY954" fmla="*/ 2940 h 10000"/>
                  <a:gd name="connsiteX955" fmla="*/ 7023 w 10785"/>
                  <a:gd name="connsiteY955" fmla="*/ 2906 h 10000"/>
                  <a:gd name="connsiteX956" fmla="*/ 7023 w 10785"/>
                  <a:gd name="connsiteY956" fmla="*/ 2915 h 10000"/>
                  <a:gd name="connsiteX957" fmla="*/ 6991 w 10785"/>
                  <a:gd name="connsiteY957" fmla="*/ 2906 h 10000"/>
                  <a:gd name="connsiteX958" fmla="*/ 6977 w 10785"/>
                  <a:gd name="connsiteY958" fmla="*/ 2915 h 10000"/>
                  <a:gd name="connsiteX959" fmla="*/ 6963 w 10785"/>
                  <a:gd name="connsiteY959" fmla="*/ 2915 h 10000"/>
                  <a:gd name="connsiteX960" fmla="*/ 6949 w 10785"/>
                  <a:gd name="connsiteY960" fmla="*/ 2872 h 10000"/>
                  <a:gd name="connsiteX961" fmla="*/ 6935 w 10785"/>
                  <a:gd name="connsiteY961" fmla="*/ 2855 h 10000"/>
                  <a:gd name="connsiteX962" fmla="*/ 6922 w 10785"/>
                  <a:gd name="connsiteY962" fmla="*/ 2803 h 10000"/>
                  <a:gd name="connsiteX963" fmla="*/ 6917 w 10785"/>
                  <a:gd name="connsiteY963" fmla="*/ 2786 h 10000"/>
                  <a:gd name="connsiteX964" fmla="*/ 6903 w 10785"/>
                  <a:gd name="connsiteY964" fmla="*/ 2709 h 10000"/>
                  <a:gd name="connsiteX965" fmla="*/ 6903 w 10785"/>
                  <a:gd name="connsiteY965" fmla="*/ 2692 h 10000"/>
                  <a:gd name="connsiteX966" fmla="*/ 6899 w 10785"/>
                  <a:gd name="connsiteY966" fmla="*/ 2709 h 10000"/>
                  <a:gd name="connsiteX967" fmla="*/ 6857 w 10785"/>
                  <a:gd name="connsiteY967" fmla="*/ 2872 h 10000"/>
                  <a:gd name="connsiteX968" fmla="*/ 6857 w 10785"/>
                  <a:gd name="connsiteY968" fmla="*/ 3009 h 10000"/>
                  <a:gd name="connsiteX969" fmla="*/ 6848 w 10785"/>
                  <a:gd name="connsiteY969" fmla="*/ 3017 h 10000"/>
                  <a:gd name="connsiteX970" fmla="*/ 6839 w 10785"/>
                  <a:gd name="connsiteY970" fmla="*/ 3068 h 10000"/>
                  <a:gd name="connsiteX971" fmla="*/ 6829 w 10785"/>
                  <a:gd name="connsiteY971" fmla="*/ 3077 h 10000"/>
                  <a:gd name="connsiteX972" fmla="*/ 6829 w 10785"/>
                  <a:gd name="connsiteY972" fmla="*/ 3128 h 10000"/>
                  <a:gd name="connsiteX973" fmla="*/ 6816 w 10785"/>
                  <a:gd name="connsiteY973" fmla="*/ 3154 h 10000"/>
                  <a:gd name="connsiteX974" fmla="*/ 6811 w 10785"/>
                  <a:gd name="connsiteY974" fmla="*/ 3179 h 10000"/>
                  <a:gd name="connsiteX975" fmla="*/ 6797 w 10785"/>
                  <a:gd name="connsiteY975" fmla="*/ 3171 h 10000"/>
                  <a:gd name="connsiteX976" fmla="*/ 6783 w 10785"/>
                  <a:gd name="connsiteY976" fmla="*/ 3103 h 10000"/>
                  <a:gd name="connsiteX977" fmla="*/ 6779 w 10785"/>
                  <a:gd name="connsiteY977" fmla="*/ 3094 h 10000"/>
                  <a:gd name="connsiteX978" fmla="*/ 6779 w 10785"/>
                  <a:gd name="connsiteY978" fmla="*/ 3120 h 10000"/>
                  <a:gd name="connsiteX979" fmla="*/ 6770 w 10785"/>
                  <a:gd name="connsiteY979" fmla="*/ 3128 h 10000"/>
                  <a:gd name="connsiteX980" fmla="*/ 6765 w 10785"/>
                  <a:gd name="connsiteY980" fmla="*/ 3103 h 10000"/>
                  <a:gd name="connsiteX981" fmla="*/ 6756 w 10785"/>
                  <a:gd name="connsiteY981" fmla="*/ 3103 h 10000"/>
                  <a:gd name="connsiteX982" fmla="*/ 6742 w 10785"/>
                  <a:gd name="connsiteY982" fmla="*/ 3103 h 10000"/>
                  <a:gd name="connsiteX983" fmla="*/ 6737 w 10785"/>
                  <a:gd name="connsiteY983" fmla="*/ 3077 h 10000"/>
                  <a:gd name="connsiteX984" fmla="*/ 6737 w 10785"/>
                  <a:gd name="connsiteY984" fmla="*/ 3068 h 10000"/>
                  <a:gd name="connsiteX985" fmla="*/ 6728 w 10785"/>
                  <a:gd name="connsiteY985" fmla="*/ 3043 h 10000"/>
                  <a:gd name="connsiteX986" fmla="*/ 6724 w 10785"/>
                  <a:gd name="connsiteY986" fmla="*/ 3051 h 10000"/>
                  <a:gd name="connsiteX987" fmla="*/ 6714 w 10785"/>
                  <a:gd name="connsiteY987" fmla="*/ 3043 h 10000"/>
                  <a:gd name="connsiteX988" fmla="*/ 6710 w 10785"/>
                  <a:gd name="connsiteY988" fmla="*/ 3034 h 10000"/>
                  <a:gd name="connsiteX989" fmla="*/ 6705 w 10785"/>
                  <a:gd name="connsiteY989" fmla="*/ 2983 h 10000"/>
                  <a:gd name="connsiteX990" fmla="*/ 6696 w 10785"/>
                  <a:gd name="connsiteY990" fmla="*/ 2966 h 10000"/>
                  <a:gd name="connsiteX991" fmla="*/ 6691 w 10785"/>
                  <a:gd name="connsiteY991" fmla="*/ 2983 h 10000"/>
                  <a:gd name="connsiteX992" fmla="*/ 6677 w 10785"/>
                  <a:gd name="connsiteY992" fmla="*/ 2897 h 10000"/>
                  <a:gd name="connsiteX993" fmla="*/ 6677 w 10785"/>
                  <a:gd name="connsiteY993" fmla="*/ 2897 h 10000"/>
                  <a:gd name="connsiteX994" fmla="*/ 6677 w 10785"/>
                  <a:gd name="connsiteY994" fmla="*/ 2872 h 10000"/>
                  <a:gd name="connsiteX995" fmla="*/ 6668 w 10785"/>
                  <a:gd name="connsiteY995" fmla="*/ 2821 h 10000"/>
                  <a:gd name="connsiteX996" fmla="*/ 6664 w 10785"/>
                  <a:gd name="connsiteY996" fmla="*/ 2829 h 10000"/>
                  <a:gd name="connsiteX997" fmla="*/ 6654 w 10785"/>
                  <a:gd name="connsiteY997" fmla="*/ 2846 h 10000"/>
                  <a:gd name="connsiteX998" fmla="*/ 6650 w 10785"/>
                  <a:gd name="connsiteY998" fmla="*/ 2829 h 10000"/>
                  <a:gd name="connsiteX999" fmla="*/ 6650 w 10785"/>
                  <a:gd name="connsiteY999" fmla="*/ 2803 h 10000"/>
                  <a:gd name="connsiteX1000" fmla="*/ 6650 w 10785"/>
                  <a:gd name="connsiteY1000" fmla="*/ 2795 h 10000"/>
                  <a:gd name="connsiteX1001" fmla="*/ 6641 w 10785"/>
                  <a:gd name="connsiteY1001" fmla="*/ 2786 h 10000"/>
                  <a:gd name="connsiteX1002" fmla="*/ 6636 w 10785"/>
                  <a:gd name="connsiteY1002" fmla="*/ 2735 h 10000"/>
                  <a:gd name="connsiteX1003" fmla="*/ 6664 w 10785"/>
                  <a:gd name="connsiteY1003" fmla="*/ 2667 h 10000"/>
                  <a:gd name="connsiteX1004" fmla="*/ 6668 w 10785"/>
                  <a:gd name="connsiteY1004" fmla="*/ 2684 h 10000"/>
                  <a:gd name="connsiteX1005" fmla="*/ 6677 w 10785"/>
                  <a:gd name="connsiteY1005" fmla="*/ 2667 h 10000"/>
                  <a:gd name="connsiteX1006" fmla="*/ 6668 w 10785"/>
                  <a:gd name="connsiteY1006" fmla="*/ 2667 h 10000"/>
                  <a:gd name="connsiteX1007" fmla="*/ 6668 w 10785"/>
                  <a:gd name="connsiteY1007" fmla="*/ 2650 h 10000"/>
                  <a:gd name="connsiteX1008" fmla="*/ 6682 w 10785"/>
                  <a:gd name="connsiteY1008" fmla="*/ 2650 h 10000"/>
                  <a:gd name="connsiteX1009" fmla="*/ 6691 w 10785"/>
                  <a:gd name="connsiteY1009" fmla="*/ 2624 h 10000"/>
                  <a:gd name="connsiteX1010" fmla="*/ 6682 w 10785"/>
                  <a:gd name="connsiteY1010" fmla="*/ 2632 h 10000"/>
                  <a:gd name="connsiteX1011" fmla="*/ 6682 w 10785"/>
                  <a:gd name="connsiteY1011" fmla="*/ 2624 h 10000"/>
                  <a:gd name="connsiteX1012" fmla="*/ 6691 w 10785"/>
                  <a:gd name="connsiteY1012" fmla="*/ 2607 h 10000"/>
                  <a:gd name="connsiteX1013" fmla="*/ 6691 w 10785"/>
                  <a:gd name="connsiteY1013" fmla="*/ 2598 h 10000"/>
                  <a:gd name="connsiteX1014" fmla="*/ 6691 w 10785"/>
                  <a:gd name="connsiteY1014" fmla="*/ 2581 h 10000"/>
                  <a:gd name="connsiteX1015" fmla="*/ 6696 w 10785"/>
                  <a:gd name="connsiteY1015" fmla="*/ 2530 h 10000"/>
                  <a:gd name="connsiteX1016" fmla="*/ 6677 w 10785"/>
                  <a:gd name="connsiteY1016" fmla="*/ 2513 h 10000"/>
                  <a:gd name="connsiteX1017" fmla="*/ 6677 w 10785"/>
                  <a:gd name="connsiteY1017" fmla="*/ 2496 h 10000"/>
                  <a:gd name="connsiteX1018" fmla="*/ 6682 w 10785"/>
                  <a:gd name="connsiteY1018" fmla="*/ 2470 h 10000"/>
                  <a:gd name="connsiteX1019" fmla="*/ 6668 w 10785"/>
                  <a:gd name="connsiteY1019" fmla="*/ 2462 h 10000"/>
                  <a:gd name="connsiteX1020" fmla="*/ 6677 w 10785"/>
                  <a:gd name="connsiteY1020" fmla="*/ 2436 h 10000"/>
                  <a:gd name="connsiteX1021" fmla="*/ 6682 w 10785"/>
                  <a:gd name="connsiteY1021" fmla="*/ 2419 h 10000"/>
                  <a:gd name="connsiteX1022" fmla="*/ 6682 w 10785"/>
                  <a:gd name="connsiteY1022" fmla="*/ 2393 h 10000"/>
                  <a:gd name="connsiteX1023" fmla="*/ 6682 w 10785"/>
                  <a:gd name="connsiteY1023" fmla="*/ 2385 h 10000"/>
                  <a:gd name="connsiteX1024" fmla="*/ 6682 w 10785"/>
                  <a:gd name="connsiteY1024" fmla="*/ 2385 h 10000"/>
                  <a:gd name="connsiteX1025" fmla="*/ 6677 w 10785"/>
                  <a:gd name="connsiteY1025" fmla="*/ 2376 h 10000"/>
                  <a:gd name="connsiteX1026" fmla="*/ 6682 w 10785"/>
                  <a:gd name="connsiteY1026" fmla="*/ 2359 h 10000"/>
                  <a:gd name="connsiteX1027" fmla="*/ 6677 w 10785"/>
                  <a:gd name="connsiteY1027" fmla="*/ 2333 h 10000"/>
                  <a:gd name="connsiteX1028" fmla="*/ 6691 w 10785"/>
                  <a:gd name="connsiteY1028" fmla="*/ 2333 h 10000"/>
                  <a:gd name="connsiteX1029" fmla="*/ 6691 w 10785"/>
                  <a:gd name="connsiteY1029" fmla="*/ 2325 h 10000"/>
                  <a:gd name="connsiteX1030" fmla="*/ 6691 w 10785"/>
                  <a:gd name="connsiteY1030" fmla="*/ 2308 h 10000"/>
                  <a:gd name="connsiteX1031" fmla="*/ 6691 w 10785"/>
                  <a:gd name="connsiteY1031" fmla="*/ 2299 h 10000"/>
                  <a:gd name="connsiteX1032" fmla="*/ 6691 w 10785"/>
                  <a:gd name="connsiteY1032" fmla="*/ 2282 h 10000"/>
                  <a:gd name="connsiteX1033" fmla="*/ 6691 w 10785"/>
                  <a:gd name="connsiteY1033" fmla="*/ 2274 h 10000"/>
                  <a:gd name="connsiteX1034" fmla="*/ 6668 w 10785"/>
                  <a:gd name="connsiteY1034" fmla="*/ 2248 h 10000"/>
                  <a:gd name="connsiteX1035" fmla="*/ 6664 w 10785"/>
                  <a:gd name="connsiteY1035" fmla="*/ 2222 h 10000"/>
                  <a:gd name="connsiteX1036" fmla="*/ 6654 w 10785"/>
                  <a:gd name="connsiteY1036" fmla="*/ 2214 h 10000"/>
                  <a:gd name="connsiteX1037" fmla="*/ 6654 w 10785"/>
                  <a:gd name="connsiteY1037" fmla="*/ 2188 h 10000"/>
                  <a:gd name="connsiteX1038" fmla="*/ 6622 w 10785"/>
                  <a:gd name="connsiteY1038" fmla="*/ 2162 h 10000"/>
                  <a:gd name="connsiteX1039" fmla="*/ 6631 w 10785"/>
                  <a:gd name="connsiteY1039" fmla="*/ 2145 h 10000"/>
                  <a:gd name="connsiteX1040" fmla="*/ 6622 w 10785"/>
                  <a:gd name="connsiteY1040" fmla="*/ 2120 h 10000"/>
                  <a:gd name="connsiteX1041" fmla="*/ 6608 w 10785"/>
                  <a:gd name="connsiteY1041" fmla="*/ 2120 h 10000"/>
                  <a:gd name="connsiteX1042" fmla="*/ 6604 w 10785"/>
                  <a:gd name="connsiteY1042" fmla="*/ 2111 h 10000"/>
                  <a:gd name="connsiteX1043" fmla="*/ 6608 w 10785"/>
                  <a:gd name="connsiteY1043" fmla="*/ 2111 h 10000"/>
                  <a:gd name="connsiteX1044" fmla="*/ 6604 w 10785"/>
                  <a:gd name="connsiteY1044" fmla="*/ 2085 h 10000"/>
                  <a:gd name="connsiteX1045" fmla="*/ 6581 w 10785"/>
                  <a:gd name="connsiteY1045" fmla="*/ 2077 h 10000"/>
                  <a:gd name="connsiteX1046" fmla="*/ 6571 w 10785"/>
                  <a:gd name="connsiteY1046" fmla="*/ 2085 h 10000"/>
                  <a:gd name="connsiteX1047" fmla="*/ 6548 w 10785"/>
                  <a:gd name="connsiteY1047" fmla="*/ 2077 h 10000"/>
                  <a:gd name="connsiteX1048" fmla="*/ 6530 w 10785"/>
                  <a:gd name="connsiteY1048" fmla="*/ 2060 h 10000"/>
                  <a:gd name="connsiteX1049" fmla="*/ 6521 w 10785"/>
                  <a:gd name="connsiteY1049" fmla="*/ 2060 h 10000"/>
                  <a:gd name="connsiteX1050" fmla="*/ 6521 w 10785"/>
                  <a:gd name="connsiteY1050" fmla="*/ 2085 h 10000"/>
                  <a:gd name="connsiteX1051" fmla="*/ 6516 w 10785"/>
                  <a:gd name="connsiteY1051" fmla="*/ 2085 h 10000"/>
                  <a:gd name="connsiteX1052" fmla="*/ 6502 w 10785"/>
                  <a:gd name="connsiteY1052" fmla="*/ 2111 h 10000"/>
                  <a:gd name="connsiteX1053" fmla="*/ 6498 w 10785"/>
                  <a:gd name="connsiteY1053" fmla="*/ 2111 h 10000"/>
                  <a:gd name="connsiteX1054" fmla="*/ 6498 w 10785"/>
                  <a:gd name="connsiteY1054" fmla="*/ 2103 h 10000"/>
                  <a:gd name="connsiteX1055" fmla="*/ 6475 w 10785"/>
                  <a:gd name="connsiteY1055" fmla="*/ 2051 h 10000"/>
                  <a:gd name="connsiteX1056" fmla="*/ 6470 w 10785"/>
                  <a:gd name="connsiteY1056" fmla="*/ 2060 h 10000"/>
                  <a:gd name="connsiteX1057" fmla="*/ 6456 w 10785"/>
                  <a:gd name="connsiteY1057" fmla="*/ 2051 h 10000"/>
                  <a:gd name="connsiteX1058" fmla="*/ 6447 w 10785"/>
                  <a:gd name="connsiteY1058" fmla="*/ 2051 h 10000"/>
                  <a:gd name="connsiteX1059" fmla="*/ 6433 w 10785"/>
                  <a:gd name="connsiteY1059" fmla="*/ 2026 h 10000"/>
                  <a:gd name="connsiteX1060" fmla="*/ 6433 w 10785"/>
                  <a:gd name="connsiteY1060" fmla="*/ 2034 h 10000"/>
                  <a:gd name="connsiteX1061" fmla="*/ 6429 w 10785"/>
                  <a:gd name="connsiteY1061" fmla="*/ 2026 h 10000"/>
                  <a:gd name="connsiteX1062" fmla="*/ 6424 w 10785"/>
                  <a:gd name="connsiteY1062" fmla="*/ 2034 h 10000"/>
                  <a:gd name="connsiteX1063" fmla="*/ 6410 w 10785"/>
                  <a:gd name="connsiteY1063" fmla="*/ 2026 h 10000"/>
                  <a:gd name="connsiteX1064" fmla="*/ 6410 w 10785"/>
                  <a:gd name="connsiteY1064" fmla="*/ 1991 h 10000"/>
                  <a:gd name="connsiteX1065" fmla="*/ 6401 w 10785"/>
                  <a:gd name="connsiteY1065" fmla="*/ 1991 h 10000"/>
                  <a:gd name="connsiteX1066" fmla="*/ 6396 w 10785"/>
                  <a:gd name="connsiteY1066" fmla="*/ 2000 h 10000"/>
                  <a:gd name="connsiteX1067" fmla="*/ 6382 w 10785"/>
                  <a:gd name="connsiteY1067" fmla="*/ 1966 h 10000"/>
                  <a:gd name="connsiteX1068" fmla="*/ 6373 w 10785"/>
                  <a:gd name="connsiteY1068" fmla="*/ 1974 h 10000"/>
                  <a:gd name="connsiteX1069" fmla="*/ 6369 w 10785"/>
                  <a:gd name="connsiteY1069" fmla="*/ 1966 h 10000"/>
                  <a:gd name="connsiteX1070" fmla="*/ 6341 w 10785"/>
                  <a:gd name="connsiteY1070" fmla="*/ 1949 h 10000"/>
                  <a:gd name="connsiteX1071" fmla="*/ 6327 w 10785"/>
                  <a:gd name="connsiteY1071" fmla="*/ 1923 h 10000"/>
                  <a:gd name="connsiteX1072" fmla="*/ 6323 w 10785"/>
                  <a:gd name="connsiteY1072" fmla="*/ 1923 h 10000"/>
                  <a:gd name="connsiteX1073" fmla="*/ 6323 w 10785"/>
                  <a:gd name="connsiteY1073" fmla="*/ 1966 h 10000"/>
                  <a:gd name="connsiteX1074" fmla="*/ 6323 w 10785"/>
                  <a:gd name="connsiteY1074" fmla="*/ 1991 h 10000"/>
                  <a:gd name="connsiteX1075" fmla="*/ 6313 w 10785"/>
                  <a:gd name="connsiteY1075" fmla="*/ 1991 h 10000"/>
                  <a:gd name="connsiteX1076" fmla="*/ 6300 w 10785"/>
                  <a:gd name="connsiteY1076" fmla="*/ 1991 h 10000"/>
                  <a:gd name="connsiteX1077" fmla="*/ 6290 w 10785"/>
                  <a:gd name="connsiteY1077" fmla="*/ 1949 h 10000"/>
                  <a:gd name="connsiteX1078" fmla="*/ 6276 w 10785"/>
                  <a:gd name="connsiteY1078" fmla="*/ 2103 h 10000"/>
                  <a:gd name="connsiteX1079" fmla="*/ 6281 w 10785"/>
                  <a:gd name="connsiteY1079" fmla="*/ 2103 h 10000"/>
                  <a:gd name="connsiteX1080" fmla="*/ 6276 w 10785"/>
                  <a:gd name="connsiteY1080" fmla="*/ 2111 h 10000"/>
                  <a:gd name="connsiteX1081" fmla="*/ 6276 w 10785"/>
                  <a:gd name="connsiteY1081" fmla="*/ 2120 h 10000"/>
                  <a:gd name="connsiteX1082" fmla="*/ 6295 w 10785"/>
                  <a:gd name="connsiteY1082" fmla="*/ 2239 h 10000"/>
                  <a:gd name="connsiteX1083" fmla="*/ 6290 w 10785"/>
                  <a:gd name="connsiteY1083" fmla="*/ 2248 h 10000"/>
                  <a:gd name="connsiteX1084" fmla="*/ 6281 w 10785"/>
                  <a:gd name="connsiteY1084" fmla="*/ 2274 h 10000"/>
                  <a:gd name="connsiteX1085" fmla="*/ 6249 w 10785"/>
                  <a:gd name="connsiteY1085" fmla="*/ 2274 h 10000"/>
                  <a:gd name="connsiteX1086" fmla="*/ 6226 w 10785"/>
                  <a:gd name="connsiteY1086" fmla="*/ 2308 h 10000"/>
                  <a:gd name="connsiteX1087" fmla="*/ 6221 w 10785"/>
                  <a:gd name="connsiteY1087" fmla="*/ 2299 h 10000"/>
                  <a:gd name="connsiteX1088" fmla="*/ 6221 w 10785"/>
                  <a:gd name="connsiteY1088" fmla="*/ 2308 h 10000"/>
                  <a:gd name="connsiteX1089" fmla="*/ 6217 w 10785"/>
                  <a:gd name="connsiteY1089" fmla="*/ 2299 h 10000"/>
                  <a:gd name="connsiteX1090" fmla="*/ 6194 w 10785"/>
                  <a:gd name="connsiteY1090" fmla="*/ 2308 h 10000"/>
                  <a:gd name="connsiteX1091" fmla="*/ 6180 w 10785"/>
                  <a:gd name="connsiteY1091" fmla="*/ 2299 h 10000"/>
                  <a:gd name="connsiteX1092" fmla="*/ 6143 w 10785"/>
                  <a:gd name="connsiteY1092" fmla="*/ 2308 h 10000"/>
                  <a:gd name="connsiteX1093" fmla="*/ 6134 w 10785"/>
                  <a:gd name="connsiteY1093" fmla="*/ 2325 h 10000"/>
                  <a:gd name="connsiteX1094" fmla="*/ 6115 w 10785"/>
                  <a:gd name="connsiteY1094" fmla="*/ 2282 h 10000"/>
                  <a:gd name="connsiteX1095" fmla="*/ 6069 w 10785"/>
                  <a:gd name="connsiteY1095" fmla="*/ 2274 h 10000"/>
                  <a:gd name="connsiteX1096" fmla="*/ 6069 w 10785"/>
                  <a:gd name="connsiteY1096" fmla="*/ 2282 h 10000"/>
                  <a:gd name="connsiteX1097" fmla="*/ 6060 w 10785"/>
                  <a:gd name="connsiteY1097" fmla="*/ 2299 h 10000"/>
                  <a:gd name="connsiteX1098" fmla="*/ 5972 w 10785"/>
                  <a:gd name="connsiteY1098" fmla="*/ 2214 h 10000"/>
                  <a:gd name="connsiteX1099" fmla="*/ 5968 w 10785"/>
                  <a:gd name="connsiteY1099" fmla="*/ 2197 h 10000"/>
                  <a:gd name="connsiteX1100" fmla="*/ 5968 w 10785"/>
                  <a:gd name="connsiteY1100" fmla="*/ 2171 h 10000"/>
                  <a:gd name="connsiteX1101" fmla="*/ 5968 w 10785"/>
                  <a:gd name="connsiteY1101" fmla="*/ 2162 h 10000"/>
                  <a:gd name="connsiteX1102" fmla="*/ 5968 w 10785"/>
                  <a:gd name="connsiteY1102" fmla="*/ 2120 h 10000"/>
                  <a:gd name="connsiteX1103" fmla="*/ 5968 w 10785"/>
                  <a:gd name="connsiteY1103" fmla="*/ 2111 h 10000"/>
                  <a:gd name="connsiteX1104" fmla="*/ 5972 w 10785"/>
                  <a:gd name="connsiteY1104" fmla="*/ 2103 h 10000"/>
                  <a:gd name="connsiteX1105" fmla="*/ 5986 w 10785"/>
                  <a:gd name="connsiteY1105" fmla="*/ 2103 h 10000"/>
                  <a:gd name="connsiteX1106" fmla="*/ 5986 w 10785"/>
                  <a:gd name="connsiteY1106" fmla="*/ 2085 h 10000"/>
                  <a:gd name="connsiteX1107" fmla="*/ 5995 w 10785"/>
                  <a:gd name="connsiteY1107" fmla="*/ 2085 h 10000"/>
                  <a:gd name="connsiteX1108" fmla="*/ 5995 w 10785"/>
                  <a:gd name="connsiteY1108" fmla="*/ 2077 h 10000"/>
                  <a:gd name="connsiteX1109" fmla="*/ 5986 w 10785"/>
                  <a:gd name="connsiteY1109" fmla="*/ 2060 h 10000"/>
                  <a:gd name="connsiteX1110" fmla="*/ 5954 w 10785"/>
                  <a:gd name="connsiteY1110" fmla="*/ 2060 h 10000"/>
                  <a:gd name="connsiteX1111" fmla="*/ 5940 w 10785"/>
                  <a:gd name="connsiteY1111" fmla="*/ 2051 h 10000"/>
                  <a:gd name="connsiteX1112" fmla="*/ 5922 w 10785"/>
                  <a:gd name="connsiteY1112" fmla="*/ 2060 h 10000"/>
                  <a:gd name="connsiteX1113" fmla="*/ 5885 w 10785"/>
                  <a:gd name="connsiteY1113" fmla="*/ 2051 h 10000"/>
                  <a:gd name="connsiteX1114" fmla="*/ 5876 w 10785"/>
                  <a:gd name="connsiteY1114" fmla="*/ 2026 h 10000"/>
                  <a:gd name="connsiteX1115" fmla="*/ 5862 w 10785"/>
                  <a:gd name="connsiteY1115" fmla="*/ 2026 h 10000"/>
                  <a:gd name="connsiteX1116" fmla="*/ 5848 w 10785"/>
                  <a:gd name="connsiteY1116" fmla="*/ 2026 h 10000"/>
                  <a:gd name="connsiteX1117" fmla="*/ 5825 w 10785"/>
                  <a:gd name="connsiteY1117" fmla="*/ 2026 h 10000"/>
                  <a:gd name="connsiteX1118" fmla="*/ 5788 w 10785"/>
                  <a:gd name="connsiteY1118" fmla="*/ 1991 h 10000"/>
                  <a:gd name="connsiteX1119" fmla="*/ 5760 w 10785"/>
                  <a:gd name="connsiteY1119" fmla="*/ 2000 h 10000"/>
                  <a:gd name="connsiteX1120" fmla="*/ 5760 w 10785"/>
                  <a:gd name="connsiteY1120" fmla="*/ 2026 h 10000"/>
                  <a:gd name="connsiteX1121" fmla="*/ 5714 w 10785"/>
                  <a:gd name="connsiteY1121" fmla="*/ 2051 h 10000"/>
                  <a:gd name="connsiteX1122" fmla="*/ 5687 w 10785"/>
                  <a:gd name="connsiteY1122" fmla="*/ 2034 h 10000"/>
                  <a:gd name="connsiteX1123" fmla="*/ 5645 w 10785"/>
                  <a:gd name="connsiteY1123" fmla="*/ 2077 h 10000"/>
                  <a:gd name="connsiteX1124" fmla="*/ 5664 w 10785"/>
                  <a:gd name="connsiteY1124" fmla="*/ 2120 h 10000"/>
                  <a:gd name="connsiteX1125" fmla="*/ 5664 w 10785"/>
                  <a:gd name="connsiteY1125" fmla="*/ 2162 h 10000"/>
                  <a:gd name="connsiteX1126" fmla="*/ 5631 w 10785"/>
                  <a:gd name="connsiteY1126" fmla="*/ 2197 h 10000"/>
                  <a:gd name="connsiteX1127" fmla="*/ 5618 w 10785"/>
                  <a:gd name="connsiteY1127" fmla="*/ 2188 h 10000"/>
                  <a:gd name="connsiteX1128" fmla="*/ 5618 w 10785"/>
                  <a:gd name="connsiteY1128" fmla="*/ 2171 h 10000"/>
                  <a:gd name="connsiteX1129" fmla="*/ 5641 w 10785"/>
                  <a:gd name="connsiteY1129" fmla="*/ 2171 h 10000"/>
                  <a:gd name="connsiteX1130" fmla="*/ 5641 w 10785"/>
                  <a:gd name="connsiteY1130" fmla="*/ 2162 h 10000"/>
                  <a:gd name="connsiteX1131" fmla="*/ 5627 w 10785"/>
                  <a:gd name="connsiteY1131" fmla="*/ 2145 h 10000"/>
                  <a:gd name="connsiteX1132" fmla="*/ 5627 w 10785"/>
                  <a:gd name="connsiteY1132" fmla="*/ 2120 h 10000"/>
                  <a:gd name="connsiteX1133" fmla="*/ 5618 w 10785"/>
                  <a:gd name="connsiteY1133" fmla="*/ 2111 h 10000"/>
                  <a:gd name="connsiteX1134" fmla="*/ 5631 w 10785"/>
                  <a:gd name="connsiteY1134" fmla="*/ 2051 h 10000"/>
                  <a:gd name="connsiteX1135" fmla="*/ 5631 w 10785"/>
                  <a:gd name="connsiteY1135" fmla="*/ 2026 h 10000"/>
                  <a:gd name="connsiteX1136" fmla="*/ 5627 w 10785"/>
                  <a:gd name="connsiteY1136" fmla="*/ 1991 h 10000"/>
                  <a:gd name="connsiteX1137" fmla="*/ 5618 w 10785"/>
                  <a:gd name="connsiteY1137" fmla="*/ 1974 h 10000"/>
                  <a:gd name="connsiteX1138" fmla="*/ 5618 w 10785"/>
                  <a:gd name="connsiteY1138" fmla="*/ 1940 h 10000"/>
                  <a:gd name="connsiteX1139" fmla="*/ 5594 w 10785"/>
                  <a:gd name="connsiteY1139" fmla="*/ 1855 h 10000"/>
                  <a:gd name="connsiteX1140" fmla="*/ 5599 w 10785"/>
                  <a:gd name="connsiteY1140" fmla="*/ 1915 h 10000"/>
                  <a:gd name="connsiteX1141" fmla="*/ 5599 w 10785"/>
                  <a:gd name="connsiteY1141" fmla="*/ 1949 h 10000"/>
                  <a:gd name="connsiteX1142" fmla="*/ 5594 w 10785"/>
                  <a:gd name="connsiteY1142" fmla="*/ 1991 h 10000"/>
                  <a:gd name="connsiteX1143" fmla="*/ 5571 w 10785"/>
                  <a:gd name="connsiteY1143" fmla="*/ 2000 h 10000"/>
                  <a:gd name="connsiteX1144" fmla="*/ 5530 w 10785"/>
                  <a:gd name="connsiteY1144" fmla="*/ 1991 h 10000"/>
                  <a:gd name="connsiteX1145" fmla="*/ 5525 w 10785"/>
                  <a:gd name="connsiteY1145" fmla="*/ 2000 h 10000"/>
                  <a:gd name="connsiteX1146" fmla="*/ 5521 w 10785"/>
                  <a:gd name="connsiteY1146" fmla="*/ 1991 h 10000"/>
                  <a:gd name="connsiteX1147" fmla="*/ 5498 w 10785"/>
                  <a:gd name="connsiteY1147" fmla="*/ 1949 h 10000"/>
                  <a:gd name="connsiteX1148" fmla="*/ 5493 w 10785"/>
                  <a:gd name="connsiteY1148" fmla="*/ 1889 h 10000"/>
                  <a:gd name="connsiteX1149" fmla="*/ 5493 w 10785"/>
                  <a:gd name="connsiteY1149" fmla="*/ 1863 h 10000"/>
                  <a:gd name="connsiteX1150" fmla="*/ 5498 w 10785"/>
                  <a:gd name="connsiteY1150" fmla="*/ 1889 h 10000"/>
                  <a:gd name="connsiteX1151" fmla="*/ 5512 w 10785"/>
                  <a:gd name="connsiteY1151" fmla="*/ 1855 h 10000"/>
                  <a:gd name="connsiteX1152" fmla="*/ 5512 w 10785"/>
                  <a:gd name="connsiteY1152" fmla="*/ 1838 h 10000"/>
                  <a:gd name="connsiteX1153" fmla="*/ 5479 w 10785"/>
                  <a:gd name="connsiteY1153" fmla="*/ 1855 h 10000"/>
                  <a:gd name="connsiteX1154" fmla="*/ 5470 w 10785"/>
                  <a:gd name="connsiteY1154" fmla="*/ 1872 h 10000"/>
                  <a:gd name="connsiteX1155" fmla="*/ 5470 w 10785"/>
                  <a:gd name="connsiteY1155" fmla="*/ 1889 h 10000"/>
                  <a:gd name="connsiteX1156" fmla="*/ 5465 w 10785"/>
                  <a:gd name="connsiteY1156" fmla="*/ 1897 h 10000"/>
                  <a:gd name="connsiteX1157" fmla="*/ 5456 w 10785"/>
                  <a:gd name="connsiteY1157" fmla="*/ 1872 h 10000"/>
                  <a:gd name="connsiteX1158" fmla="*/ 5447 w 10785"/>
                  <a:gd name="connsiteY1158" fmla="*/ 1872 h 10000"/>
                  <a:gd name="connsiteX1159" fmla="*/ 5433 w 10785"/>
                  <a:gd name="connsiteY1159" fmla="*/ 1855 h 10000"/>
                  <a:gd name="connsiteX1160" fmla="*/ 5396 w 10785"/>
                  <a:gd name="connsiteY1160" fmla="*/ 1863 h 10000"/>
                  <a:gd name="connsiteX1161" fmla="*/ 5396 w 10785"/>
                  <a:gd name="connsiteY1161" fmla="*/ 1897 h 10000"/>
                  <a:gd name="connsiteX1162" fmla="*/ 5378 w 10785"/>
                  <a:gd name="connsiteY1162" fmla="*/ 1949 h 10000"/>
                  <a:gd name="connsiteX1163" fmla="*/ 5378 w 10785"/>
                  <a:gd name="connsiteY1163" fmla="*/ 1966 h 10000"/>
                  <a:gd name="connsiteX1164" fmla="*/ 5392 w 10785"/>
                  <a:gd name="connsiteY1164" fmla="*/ 2026 h 10000"/>
                  <a:gd name="connsiteX1165" fmla="*/ 5396 w 10785"/>
                  <a:gd name="connsiteY1165" fmla="*/ 2026 h 10000"/>
                  <a:gd name="connsiteX1166" fmla="*/ 5392 w 10785"/>
                  <a:gd name="connsiteY1166" fmla="*/ 2009 h 10000"/>
                  <a:gd name="connsiteX1167" fmla="*/ 5392 w 10785"/>
                  <a:gd name="connsiteY1167" fmla="*/ 2000 h 10000"/>
                  <a:gd name="connsiteX1168" fmla="*/ 5396 w 10785"/>
                  <a:gd name="connsiteY1168" fmla="*/ 2009 h 10000"/>
                  <a:gd name="connsiteX1169" fmla="*/ 5424 w 10785"/>
                  <a:gd name="connsiteY1169" fmla="*/ 2009 h 10000"/>
                  <a:gd name="connsiteX1170" fmla="*/ 5433 w 10785"/>
                  <a:gd name="connsiteY1170" fmla="*/ 1991 h 10000"/>
                  <a:gd name="connsiteX1171" fmla="*/ 5447 w 10785"/>
                  <a:gd name="connsiteY1171" fmla="*/ 1974 h 10000"/>
                  <a:gd name="connsiteX1172" fmla="*/ 5452 w 10785"/>
                  <a:gd name="connsiteY1172" fmla="*/ 1966 h 10000"/>
                  <a:gd name="connsiteX1173" fmla="*/ 5456 w 10785"/>
                  <a:gd name="connsiteY1173" fmla="*/ 1966 h 10000"/>
                  <a:gd name="connsiteX1174" fmla="*/ 5465 w 10785"/>
                  <a:gd name="connsiteY1174" fmla="*/ 2009 h 10000"/>
                  <a:gd name="connsiteX1175" fmla="*/ 5433 w 10785"/>
                  <a:gd name="connsiteY1175" fmla="*/ 2034 h 10000"/>
                  <a:gd name="connsiteX1176" fmla="*/ 5424 w 10785"/>
                  <a:gd name="connsiteY1176" fmla="*/ 2060 h 10000"/>
                  <a:gd name="connsiteX1177" fmla="*/ 5419 w 10785"/>
                  <a:gd name="connsiteY1177" fmla="*/ 2060 h 10000"/>
                  <a:gd name="connsiteX1178" fmla="*/ 5392 w 10785"/>
                  <a:gd name="connsiteY1178" fmla="*/ 2111 h 10000"/>
                  <a:gd name="connsiteX1179" fmla="*/ 5378 w 10785"/>
                  <a:gd name="connsiteY1179" fmla="*/ 2111 h 10000"/>
                  <a:gd name="connsiteX1180" fmla="*/ 5350 w 10785"/>
                  <a:gd name="connsiteY1180" fmla="*/ 2060 h 10000"/>
                  <a:gd name="connsiteX1181" fmla="*/ 5373 w 10785"/>
                  <a:gd name="connsiteY1181" fmla="*/ 2111 h 10000"/>
                  <a:gd name="connsiteX1182" fmla="*/ 5364 w 10785"/>
                  <a:gd name="connsiteY1182" fmla="*/ 2111 h 10000"/>
                  <a:gd name="connsiteX1183" fmla="*/ 5359 w 10785"/>
                  <a:gd name="connsiteY1183" fmla="*/ 2103 h 10000"/>
                  <a:gd name="connsiteX1184" fmla="*/ 5359 w 10785"/>
                  <a:gd name="connsiteY1184" fmla="*/ 2120 h 10000"/>
                  <a:gd name="connsiteX1185" fmla="*/ 5359 w 10785"/>
                  <a:gd name="connsiteY1185" fmla="*/ 2137 h 10000"/>
                  <a:gd name="connsiteX1186" fmla="*/ 5313 w 10785"/>
                  <a:gd name="connsiteY1186" fmla="*/ 2162 h 10000"/>
                  <a:gd name="connsiteX1187" fmla="*/ 5300 w 10785"/>
                  <a:gd name="connsiteY1187" fmla="*/ 2162 h 10000"/>
                  <a:gd name="connsiteX1188" fmla="*/ 5300 w 10785"/>
                  <a:gd name="connsiteY1188" fmla="*/ 2171 h 10000"/>
                  <a:gd name="connsiteX1189" fmla="*/ 5300 w 10785"/>
                  <a:gd name="connsiteY1189" fmla="*/ 2197 h 10000"/>
                  <a:gd name="connsiteX1190" fmla="*/ 5276 w 10785"/>
                  <a:gd name="connsiteY1190" fmla="*/ 2188 h 10000"/>
                  <a:gd name="connsiteX1191" fmla="*/ 5249 w 10785"/>
                  <a:gd name="connsiteY1191" fmla="*/ 2222 h 10000"/>
                  <a:gd name="connsiteX1192" fmla="*/ 5249 w 10785"/>
                  <a:gd name="connsiteY1192" fmla="*/ 2222 h 10000"/>
                  <a:gd name="connsiteX1193" fmla="*/ 5217 w 10785"/>
                  <a:gd name="connsiteY1193" fmla="*/ 2214 h 10000"/>
                  <a:gd name="connsiteX1194" fmla="*/ 5203 w 10785"/>
                  <a:gd name="connsiteY1194" fmla="*/ 2239 h 10000"/>
                  <a:gd name="connsiteX1195" fmla="*/ 5171 w 10785"/>
                  <a:gd name="connsiteY1195" fmla="*/ 2214 h 10000"/>
                  <a:gd name="connsiteX1196" fmla="*/ 5157 w 10785"/>
                  <a:gd name="connsiteY1196" fmla="*/ 2239 h 10000"/>
                  <a:gd name="connsiteX1197" fmla="*/ 5166 w 10785"/>
                  <a:gd name="connsiteY1197" fmla="*/ 2256 h 10000"/>
                  <a:gd name="connsiteX1198" fmla="*/ 5171 w 10785"/>
                  <a:gd name="connsiteY1198" fmla="*/ 2308 h 10000"/>
                  <a:gd name="connsiteX1199" fmla="*/ 5212 w 10785"/>
                  <a:gd name="connsiteY1199" fmla="*/ 2350 h 10000"/>
                  <a:gd name="connsiteX1200" fmla="*/ 5203 w 10785"/>
                  <a:gd name="connsiteY1200" fmla="*/ 2350 h 10000"/>
                  <a:gd name="connsiteX1201" fmla="*/ 5166 w 10785"/>
                  <a:gd name="connsiteY1201" fmla="*/ 2325 h 10000"/>
                  <a:gd name="connsiteX1202" fmla="*/ 5152 w 10785"/>
                  <a:gd name="connsiteY1202" fmla="*/ 2308 h 10000"/>
                  <a:gd name="connsiteX1203" fmla="*/ 5143 w 10785"/>
                  <a:gd name="connsiteY1203" fmla="*/ 2333 h 10000"/>
                  <a:gd name="connsiteX1204" fmla="*/ 5138 w 10785"/>
                  <a:gd name="connsiteY1204" fmla="*/ 2333 h 10000"/>
                  <a:gd name="connsiteX1205" fmla="*/ 5124 w 10785"/>
                  <a:gd name="connsiteY1205" fmla="*/ 2376 h 10000"/>
                  <a:gd name="connsiteX1206" fmla="*/ 5115 w 10785"/>
                  <a:gd name="connsiteY1206" fmla="*/ 2385 h 10000"/>
                  <a:gd name="connsiteX1207" fmla="*/ 5106 w 10785"/>
                  <a:gd name="connsiteY1207" fmla="*/ 2385 h 10000"/>
                  <a:gd name="connsiteX1208" fmla="*/ 5055 w 10785"/>
                  <a:gd name="connsiteY1208" fmla="*/ 2470 h 10000"/>
                  <a:gd name="connsiteX1209" fmla="*/ 5065 w 10785"/>
                  <a:gd name="connsiteY1209" fmla="*/ 2462 h 10000"/>
                  <a:gd name="connsiteX1210" fmla="*/ 5055 w 10785"/>
                  <a:gd name="connsiteY1210" fmla="*/ 2444 h 10000"/>
                  <a:gd name="connsiteX1211" fmla="*/ 5041 w 10785"/>
                  <a:gd name="connsiteY1211" fmla="*/ 2462 h 10000"/>
                  <a:gd name="connsiteX1212" fmla="*/ 5037 w 10785"/>
                  <a:gd name="connsiteY1212" fmla="*/ 2470 h 10000"/>
                  <a:gd name="connsiteX1213" fmla="*/ 5032 w 10785"/>
                  <a:gd name="connsiteY1213" fmla="*/ 2470 h 10000"/>
                  <a:gd name="connsiteX1214" fmla="*/ 5032 w 10785"/>
                  <a:gd name="connsiteY1214" fmla="*/ 2444 h 10000"/>
                  <a:gd name="connsiteX1215" fmla="*/ 5055 w 10785"/>
                  <a:gd name="connsiteY1215" fmla="*/ 2410 h 10000"/>
                  <a:gd name="connsiteX1216" fmla="*/ 5065 w 10785"/>
                  <a:gd name="connsiteY1216" fmla="*/ 2393 h 10000"/>
                  <a:gd name="connsiteX1217" fmla="*/ 5069 w 10785"/>
                  <a:gd name="connsiteY1217" fmla="*/ 2385 h 10000"/>
                  <a:gd name="connsiteX1218" fmla="*/ 5083 w 10785"/>
                  <a:gd name="connsiteY1218" fmla="*/ 2376 h 10000"/>
                  <a:gd name="connsiteX1219" fmla="*/ 5097 w 10785"/>
                  <a:gd name="connsiteY1219" fmla="*/ 2376 h 10000"/>
                  <a:gd name="connsiteX1220" fmla="*/ 5124 w 10785"/>
                  <a:gd name="connsiteY1220" fmla="*/ 2325 h 10000"/>
                  <a:gd name="connsiteX1221" fmla="*/ 5143 w 10785"/>
                  <a:gd name="connsiteY1221" fmla="*/ 2248 h 10000"/>
                  <a:gd name="connsiteX1222" fmla="*/ 5152 w 10785"/>
                  <a:gd name="connsiteY1222" fmla="*/ 2239 h 10000"/>
                  <a:gd name="connsiteX1223" fmla="*/ 5166 w 10785"/>
                  <a:gd name="connsiteY1223" fmla="*/ 2162 h 10000"/>
                  <a:gd name="connsiteX1224" fmla="*/ 5171 w 10785"/>
                  <a:gd name="connsiteY1224" fmla="*/ 2171 h 10000"/>
                  <a:gd name="connsiteX1225" fmla="*/ 5198 w 10785"/>
                  <a:gd name="connsiteY1225" fmla="*/ 2145 h 10000"/>
                  <a:gd name="connsiteX1226" fmla="*/ 5203 w 10785"/>
                  <a:gd name="connsiteY1226" fmla="*/ 2111 h 10000"/>
                  <a:gd name="connsiteX1227" fmla="*/ 5217 w 10785"/>
                  <a:gd name="connsiteY1227" fmla="*/ 2060 h 10000"/>
                  <a:gd name="connsiteX1228" fmla="*/ 5226 w 10785"/>
                  <a:gd name="connsiteY1228" fmla="*/ 2026 h 10000"/>
                  <a:gd name="connsiteX1229" fmla="*/ 5286 w 10785"/>
                  <a:gd name="connsiteY1229" fmla="*/ 2026 h 10000"/>
                  <a:gd name="connsiteX1230" fmla="*/ 5290 w 10785"/>
                  <a:gd name="connsiteY1230" fmla="*/ 2034 h 10000"/>
                  <a:gd name="connsiteX1231" fmla="*/ 5323 w 10785"/>
                  <a:gd name="connsiteY1231" fmla="*/ 1923 h 10000"/>
                  <a:gd name="connsiteX1232" fmla="*/ 5323 w 10785"/>
                  <a:gd name="connsiteY1232" fmla="*/ 1889 h 10000"/>
                  <a:gd name="connsiteX1233" fmla="*/ 5359 w 10785"/>
                  <a:gd name="connsiteY1233" fmla="*/ 1829 h 10000"/>
                  <a:gd name="connsiteX1234" fmla="*/ 5378 w 10785"/>
                  <a:gd name="connsiteY1234" fmla="*/ 1812 h 10000"/>
                  <a:gd name="connsiteX1235" fmla="*/ 5406 w 10785"/>
                  <a:gd name="connsiteY1235" fmla="*/ 1752 h 10000"/>
                  <a:gd name="connsiteX1236" fmla="*/ 5410 w 10785"/>
                  <a:gd name="connsiteY1236" fmla="*/ 1718 h 10000"/>
                  <a:gd name="connsiteX1237" fmla="*/ 5438 w 10785"/>
                  <a:gd name="connsiteY1237" fmla="*/ 1667 h 10000"/>
                  <a:gd name="connsiteX1238" fmla="*/ 5438 w 10785"/>
                  <a:gd name="connsiteY1238" fmla="*/ 1650 h 10000"/>
                  <a:gd name="connsiteX1239" fmla="*/ 5438 w 10785"/>
                  <a:gd name="connsiteY1239" fmla="*/ 1641 h 10000"/>
                  <a:gd name="connsiteX1240" fmla="*/ 5452 w 10785"/>
                  <a:gd name="connsiteY1240" fmla="*/ 1641 h 10000"/>
                  <a:gd name="connsiteX1241" fmla="*/ 5456 w 10785"/>
                  <a:gd name="connsiteY1241" fmla="*/ 1615 h 10000"/>
                  <a:gd name="connsiteX1242" fmla="*/ 5456 w 10785"/>
                  <a:gd name="connsiteY1242" fmla="*/ 1615 h 10000"/>
                  <a:gd name="connsiteX1243" fmla="*/ 5465 w 10785"/>
                  <a:gd name="connsiteY1243" fmla="*/ 1598 h 10000"/>
                  <a:gd name="connsiteX1244" fmla="*/ 5465 w 10785"/>
                  <a:gd name="connsiteY1244" fmla="*/ 1615 h 10000"/>
                  <a:gd name="connsiteX1245" fmla="*/ 5479 w 10785"/>
                  <a:gd name="connsiteY1245" fmla="*/ 1598 h 10000"/>
                  <a:gd name="connsiteX1246" fmla="*/ 5484 w 10785"/>
                  <a:gd name="connsiteY1246" fmla="*/ 1581 h 10000"/>
                  <a:gd name="connsiteX1247" fmla="*/ 5493 w 10785"/>
                  <a:gd name="connsiteY1247" fmla="*/ 1581 h 10000"/>
                  <a:gd name="connsiteX1248" fmla="*/ 5512 w 10785"/>
                  <a:gd name="connsiteY1248" fmla="*/ 1538 h 10000"/>
                  <a:gd name="connsiteX1249" fmla="*/ 5530 w 10785"/>
                  <a:gd name="connsiteY1249" fmla="*/ 1564 h 10000"/>
                  <a:gd name="connsiteX1250" fmla="*/ 5530 w 10785"/>
                  <a:gd name="connsiteY1250" fmla="*/ 1538 h 10000"/>
                  <a:gd name="connsiteX1251" fmla="*/ 5539 w 10785"/>
                  <a:gd name="connsiteY1251" fmla="*/ 1530 h 10000"/>
                  <a:gd name="connsiteX1252" fmla="*/ 5530 w 10785"/>
                  <a:gd name="connsiteY1252" fmla="*/ 1504 h 10000"/>
                  <a:gd name="connsiteX1253" fmla="*/ 5567 w 10785"/>
                  <a:gd name="connsiteY1253" fmla="*/ 1479 h 10000"/>
                  <a:gd name="connsiteX1254" fmla="*/ 5553 w 10785"/>
                  <a:gd name="connsiteY1254" fmla="*/ 1479 h 10000"/>
                  <a:gd name="connsiteX1255" fmla="*/ 5553 w 10785"/>
                  <a:gd name="connsiteY1255" fmla="*/ 1453 h 10000"/>
                  <a:gd name="connsiteX1256" fmla="*/ 5581 w 10785"/>
                  <a:gd name="connsiteY1256" fmla="*/ 1444 h 10000"/>
                  <a:gd name="connsiteX1257" fmla="*/ 5581 w 10785"/>
                  <a:gd name="connsiteY1257" fmla="*/ 1453 h 10000"/>
                  <a:gd name="connsiteX1258" fmla="*/ 5585 w 10785"/>
                  <a:gd name="connsiteY1258" fmla="*/ 1444 h 10000"/>
                  <a:gd name="connsiteX1259" fmla="*/ 5594 w 10785"/>
                  <a:gd name="connsiteY1259" fmla="*/ 1427 h 10000"/>
                  <a:gd name="connsiteX1260" fmla="*/ 5599 w 10785"/>
                  <a:gd name="connsiteY1260" fmla="*/ 1419 h 10000"/>
                  <a:gd name="connsiteX1261" fmla="*/ 5594 w 10785"/>
                  <a:gd name="connsiteY1261" fmla="*/ 1402 h 10000"/>
                  <a:gd name="connsiteX1262" fmla="*/ 5604 w 10785"/>
                  <a:gd name="connsiteY1262" fmla="*/ 1393 h 10000"/>
                  <a:gd name="connsiteX1263" fmla="*/ 5618 w 10785"/>
                  <a:gd name="connsiteY1263" fmla="*/ 1393 h 10000"/>
                  <a:gd name="connsiteX1264" fmla="*/ 5627 w 10785"/>
                  <a:gd name="connsiteY1264" fmla="*/ 1368 h 10000"/>
                  <a:gd name="connsiteX1265" fmla="*/ 5627 w 10785"/>
                  <a:gd name="connsiteY1265" fmla="*/ 1325 h 10000"/>
                  <a:gd name="connsiteX1266" fmla="*/ 5645 w 10785"/>
                  <a:gd name="connsiteY1266" fmla="*/ 1291 h 10000"/>
                  <a:gd name="connsiteX1267" fmla="*/ 5645 w 10785"/>
                  <a:gd name="connsiteY1267" fmla="*/ 1282 h 10000"/>
                  <a:gd name="connsiteX1268" fmla="*/ 5654 w 10785"/>
                  <a:gd name="connsiteY1268" fmla="*/ 1265 h 10000"/>
                  <a:gd name="connsiteX1269" fmla="*/ 5654 w 10785"/>
                  <a:gd name="connsiteY1269" fmla="*/ 1214 h 10000"/>
                  <a:gd name="connsiteX1270" fmla="*/ 5654 w 10785"/>
                  <a:gd name="connsiteY1270" fmla="*/ 1214 h 10000"/>
                  <a:gd name="connsiteX1271" fmla="*/ 5645 w 10785"/>
                  <a:gd name="connsiteY1271" fmla="*/ 1197 h 10000"/>
                  <a:gd name="connsiteX1272" fmla="*/ 5659 w 10785"/>
                  <a:gd name="connsiteY1272" fmla="*/ 1197 h 10000"/>
                  <a:gd name="connsiteX1273" fmla="*/ 5654 w 10785"/>
                  <a:gd name="connsiteY1273" fmla="*/ 1154 h 10000"/>
                  <a:gd name="connsiteX1274" fmla="*/ 5641 w 10785"/>
                  <a:gd name="connsiteY1274" fmla="*/ 1154 h 10000"/>
                  <a:gd name="connsiteX1275" fmla="*/ 5627 w 10785"/>
                  <a:gd name="connsiteY1275" fmla="*/ 1128 h 10000"/>
                  <a:gd name="connsiteX1276" fmla="*/ 5618 w 10785"/>
                  <a:gd name="connsiteY1276" fmla="*/ 1094 h 10000"/>
                  <a:gd name="connsiteX1277" fmla="*/ 5613 w 10785"/>
                  <a:gd name="connsiteY1277" fmla="*/ 1094 h 10000"/>
                  <a:gd name="connsiteX1278" fmla="*/ 5604 w 10785"/>
                  <a:gd name="connsiteY1278" fmla="*/ 1120 h 10000"/>
                  <a:gd name="connsiteX1279" fmla="*/ 5604 w 10785"/>
                  <a:gd name="connsiteY1279" fmla="*/ 1128 h 10000"/>
                  <a:gd name="connsiteX1280" fmla="*/ 5599 w 10785"/>
                  <a:gd name="connsiteY1280" fmla="*/ 1103 h 10000"/>
                  <a:gd name="connsiteX1281" fmla="*/ 5599 w 10785"/>
                  <a:gd name="connsiteY1281" fmla="*/ 1103 h 10000"/>
                  <a:gd name="connsiteX1282" fmla="*/ 5594 w 10785"/>
                  <a:gd name="connsiteY1282" fmla="*/ 1068 h 10000"/>
                  <a:gd name="connsiteX1283" fmla="*/ 5594 w 10785"/>
                  <a:gd name="connsiteY1283" fmla="*/ 1060 h 10000"/>
                  <a:gd name="connsiteX1284" fmla="*/ 5581 w 10785"/>
                  <a:gd name="connsiteY1284" fmla="*/ 1034 h 10000"/>
                  <a:gd name="connsiteX1285" fmla="*/ 5571 w 10785"/>
                  <a:gd name="connsiteY1285" fmla="*/ 1009 h 10000"/>
                  <a:gd name="connsiteX1286" fmla="*/ 5571 w 10785"/>
                  <a:gd name="connsiteY1286" fmla="*/ 991 h 10000"/>
                  <a:gd name="connsiteX1287" fmla="*/ 5585 w 10785"/>
                  <a:gd name="connsiteY1287" fmla="*/ 1009 h 10000"/>
                  <a:gd name="connsiteX1288" fmla="*/ 5604 w 10785"/>
                  <a:gd name="connsiteY1288" fmla="*/ 1043 h 10000"/>
                  <a:gd name="connsiteX1289" fmla="*/ 5641 w 10785"/>
                  <a:gd name="connsiteY1289" fmla="*/ 1094 h 10000"/>
                  <a:gd name="connsiteX1290" fmla="*/ 5631 w 10785"/>
                  <a:gd name="connsiteY1290" fmla="*/ 1128 h 10000"/>
                  <a:gd name="connsiteX1291" fmla="*/ 5641 w 10785"/>
                  <a:gd name="connsiteY1291" fmla="*/ 1128 h 10000"/>
                  <a:gd name="connsiteX1292" fmla="*/ 5659 w 10785"/>
                  <a:gd name="connsiteY1292" fmla="*/ 1017 h 10000"/>
                  <a:gd name="connsiteX1293" fmla="*/ 5659 w 10785"/>
                  <a:gd name="connsiteY1293" fmla="*/ 983 h 10000"/>
                  <a:gd name="connsiteX1294" fmla="*/ 5659 w 10785"/>
                  <a:gd name="connsiteY1294" fmla="*/ 957 h 10000"/>
                  <a:gd name="connsiteX1295" fmla="*/ 5654 w 10785"/>
                  <a:gd name="connsiteY1295" fmla="*/ 966 h 10000"/>
                  <a:gd name="connsiteX1296" fmla="*/ 5641 w 10785"/>
                  <a:gd name="connsiteY1296" fmla="*/ 957 h 10000"/>
                  <a:gd name="connsiteX1297" fmla="*/ 5631 w 10785"/>
                  <a:gd name="connsiteY1297" fmla="*/ 897 h 10000"/>
                  <a:gd name="connsiteX1298" fmla="*/ 5641 w 10785"/>
                  <a:gd name="connsiteY1298" fmla="*/ 872 h 10000"/>
                  <a:gd name="connsiteX1299" fmla="*/ 5618 w 10785"/>
                  <a:gd name="connsiteY1299" fmla="*/ 803 h 10000"/>
                  <a:gd name="connsiteX1300" fmla="*/ 5604 w 10785"/>
                  <a:gd name="connsiteY1300" fmla="*/ 821 h 10000"/>
                  <a:gd name="connsiteX1301" fmla="*/ 5613 w 10785"/>
                  <a:gd name="connsiteY1301" fmla="*/ 846 h 10000"/>
                  <a:gd name="connsiteX1302" fmla="*/ 5604 w 10785"/>
                  <a:gd name="connsiteY1302" fmla="*/ 855 h 10000"/>
                  <a:gd name="connsiteX1303" fmla="*/ 5599 w 10785"/>
                  <a:gd name="connsiteY1303" fmla="*/ 880 h 10000"/>
                  <a:gd name="connsiteX1304" fmla="*/ 5594 w 10785"/>
                  <a:gd name="connsiteY1304" fmla="*/ 880 h 10000"/>
                  <a:gd name="connsiteX1305" fmla="*/ 5585 w 10785"/>
                  <a:gd name="connsiteY1305" fmla="*/ 829 h 10000"/>
                  <a:gd name="connsiteX1306" fmla="*/ 5571 w 10785"/>
                  <a:gd name="connsiteY1306" fmla="*/ 803 h 10000"/>
                  <a:gd name="connsiteX1307" fmla="*/ 5585 w 10785"/>
                  <a:gd name="connsiteY1307" fmla="*/ 795 h 10000"/>
                  <a:gd name="connsiteX1308" fmla="*/ 5585 w 10785"/>
                  <a:gd name="connsiteY1308" fmla="*/ 761 h 10000"/>
                  <a:gd name="connsiteX1309" fmla="*/ 5558 w 10785"/>
                  <a:gd name="connsiteY1309" fmla="*/ 709 h 10000"/>
                  <a:gd name="connsiteX1310" fmla="*/ 5544 w 10785"/>
                  <a:gd name="connsiteY1310" fmla="*/ 709 h 10000"/>
                  <a:gd name="connsiteX1311" fmla="*/ 5544 w 10785"/>
                  <a:gd name="connsiteY1311" fmla="*/ 684 h 10000"/>
                  <a:gd name="connsiteX1312" fmla="*/ 5525 w 10785"/>
                  <a:gd name="connsiteY1312" fmla="*/ 632 h 10000"/>
                  <a:gd name="connsiteX1313" fmla="*/ 5507 w 10785"/>
                  <a:gd name="connsiteY1313" fmla="*/ 607 h 10000"/>
                  <a:gd name="connsiteX1314" fmla="*/ 5512 w 10785"/>
                  <a:gd name="connsiteY1314" fmla="*/ 598 h 10000"/>
                  <a:gd name="connsiteX1315" fmla="*/ 5507 w 10785"/>
                  <a:gd name="connsiteY1315" fmla="*/ 581 h 10000"/>
                  <a:gd name="connsiteX1316" fmla="*/ 5493 w 10785"/>
                  <a:gd name="connsiteY1316" fmla="*/ 573 h 10000"/>
                  <a:gd name="connsiteX1317" fmla="*/ 5484 w 10785"/>
                  <a:gd name="connsiteY1317" fmla="*/ 581 h 10000"/>
                  <a:gd name="connsiteX1318" fmla="*/ 5484 w 10785"/>
                  <a:gd name="connsiteY1318" fmla="*/ 573 h 10000"/>
                  <a:gd name="connsiteX1319" fmla="*/ 5484 w 10785"/>
                  <a:gd name="connsiteY1319" fmla="*/ 547 h 10000"/>
                  <a:gd name="connsiteX1320" fmla="*/ 5465 w 10785"/>
                  <a:gd name="connsiteY1320" fmla="*/ 556 h 10000"/>
                  <a:gd name="connsiteX1321" fmla="*/ 5433 w 10785"/>
                  <a:gd name="connsiteY1321" fmla="*/ 547 h 10000"/>
                  <a:gd name="connsiteX1322" fmla="*/ 5410 w 10785"/>
                  <a:gd name="connsiteY1322" fmla="*/ 573 h 10000"/>
                  <a:gd name="connsiteX1323" fmla="*/ 5406 w 10785"/>
                  <a:gd name="connsiteY1323" fmla="*/ 573 h 10000"/>
                  <a:gd name="connsiteX1324" fmla="*/ 5392 w 10785"/>
                  <a:gd name="connsiteY1324" fmla="*/ 573 h 10000"/>
                  <a:gd name="connsiteX1325" fmla="*/ 5364 w 10785"/>
                  <a:gd name="connsiteY1325" fmla="*/ 530 h 10000"/>
                  <a:gd name="connsiteX1326" fmla="*/ 5350 w 10785"/>
                  <a:gd name="connsiteY1326" fmla="*/ 556 h 10000"/>
                  <a:gd name="connsiteX1327" fmla="*/ 5346 w 10785"/>
                  <a:gd name="connsiteY1327" fmla="*/ 556 h 10000"/>
                  <a:gd name="connsiteX1328" fmla="*/ 5313 w 10785"/>
                  <a:gd name="connsiteY1328" fmla="*/ 573 h 10000"/>
                  <a:gd name="connsiteX1329" fmla="*/ 5304 w 10785"/>
                  <a:gd name="connsiteY1329" fmla="*/ 556 h 10000"/>
                  <a:gd name="connsiteX1330" fmla="*/ 5290 w 10785"/>
                  <a:gd name="connsiteY1330" fmla="*/ 573 h 10000"/>
                  <a:gd name="connsiteX1331" fmla="*/ 5290 w 10785"/>
                  <a:gd name="connsiteY1331" fmla="*/ 556 h 10000"/>
                  <a:gd name="connsiteX1332" fmla="*/ 5300 w 10785"/>
                  <a:gd name="connsiteY1332" fmla="*/ 547 h 10000"/>
                  <a:gd name="connsiteX1333" fmla="*/ 5300 w 10785"/>
                  <a:gd name="connsiteY1333" fmla="*/ 530 h 10000"/>
                  <a:gd name="connsiteX1334" fmla="*/ 5290 w 10785"/>
                  <a:gd name="connsiteY1334" fmla="*/ 530 h 10000"/>
                  <a:gd name="connsiteX1335" fmla="*/ 5286 w 10785"/>
                  <a:gd name="connsiteY1335" fmla="*/ 547 h 10000"/>
                  <a:gd name="connsiteX1336" fmla="*/ 5272 w 10785"/>
                  <a:gd name="connsiteY1336" fmla="*/ 556 h 10000"/>
                  <a:gd name="connsiteX1337" fmla="*/ 5272 w 10785"/>
                  <a:gd name="connsiteY1337" fmla="*/ 598 h 10000"/>
                  <a:gd name="connsiteX1338" fmla="*/ 5276 w 10785"/>
                  <a:gd name="connsiteY1338" fmla="*/ 581 h 10000"/>
                  <a:gd name="connsiteX1339" fmla="*/ 5272 w 10785"/>
                  <a:gd name="connsiteY1339" fmla="*/ 607 h 10000"/>
                  <a:gd name="connsiteX1340" fmla="*/ 5263 w 10785"/>
                  <a:gd name="connsiteY1340" fmla="*/ 607 h 10000"/>
                  <a:gd name="connsiteX1341" fmla="*/ 5263 w 10785"/>
                  <a:gd name="connsiteY1341" fmla="*/ 632 h 10000"/>
                  <a:gd name="connsiteX1342" fmla="*/ 5258 w 10785"/>
                  <a:gd name="connsiteY1342" fmla="*/ 658 h 10000"/>
                  <a:gd name="connsiteX1343" fmla="*/ 5244 w 10785"/>
                  <a:gd name="connsiteY1343" fmla="*/ 667 h 10000"/>
                  <a:gd name="connsiteX1344" fmla="*/ 5240 w 10785"/>
                  <a:gd name="connsiteY1344" fmla="*/ 658 h 10000"/>
                  <a:gd name="connsiteX1345" fmla="*/ 5240 w 10785"/>
                  <a:gd name="connsiteY1345" fmla="*/ 684 h 10000"/>
                  <a:gd name="connsiteX1346" fmla="*/ 5212 w 10785"/>
                  <a:gd name="connsiteY1346" fmla="*/ 684 h 10000"/>
                  <a:gd name="connsiteX1347" fmla="*/ 5198 w 10785"/>
                  <a:gd name="connsiteY1347" fmla="*/ 692 h 10000"/>
                  <a:gd name="connsiteX1348" fmla="*/ 5184 w 10785"/>
                  <a:gd name="connsiteY1348" fmla="*/ 684 h 10000"/>
                  <a:gd name="connsiteX1349" fmla="*/ 5157 w 10785"/>
                  <a:gd name="connsiteY1349" fmla="*/ 684 h 10000"/>
                  <a:gd name="connsiteX1350" fmla="*/ 5157 w 10785"/>
                  <a:gd name="connsiteY1350" fmla="*/ 667 h 10000"/>
                  <a:gd name="connsiteX1351" fmla="*/ 5157 w 10785"/>
                  <a:gd name="connsiteY1351" fmla="*/ 667 h 10000"/>
                  <a:gd name="connsiteX1352" fmla="*/ 5180 w 10785"/>
                  <a:gd name="connsiteY1352" fmla="*/ 650 h 10000"/>
                  <a:gd name="connsiteX1353" fmla="*/ 5184 w 10785"/>
                  <a:gd name="connsiteY1353" fmla="*/ 658 h 10000"/>
                  <a:gd name="connsiteX1354" fmla="*/ 5203 w 10785"/>
                  <a:gd name="connsiteY1354" fmla="*/ 547 h 10000"/>
                  <a:gd name="connsiteX1355" fmla="*/ 5226 w 10785"/>
                  <a:gd name="connsiteY1355" fmla="*/ 530 h 10000"/>
                  <a:gd name="connsiteX1356" fmla="*/ 5230 w 10785"/>
                  <a:gd name="connsiteY1356" fmla="*/ 487 h 10000"/>
                  <a:gd name="connsiteX1357" fmla="*/ 5230 w 10785"/>
                  <a:gd name="connsiteY1357" fmla="*/ 487 h 10000"/>
                  <a:gd name="connsiteX1358" fmla="*/ 5226 w 10785"/>
                  <a:gd name="connsiteY1358" fmla="*/ 462 h 10000"/>
                  <a:gd name="connsiteX1359" fmla="*/ 5226 w 10785"/>
                  <a:gd name="connsiteY1359" fmla="*/ 462 h 10000"/>
                  <a:gd name="connsiteX1360" fmla="*/ 5240 w 10785"/>
                  <a:gd name="connsiteY1360" fmla="*/ 462 h 10000"/>
                  <a:gd name="connsiteX1361" fmla="*/ 5240 w 10785"/>
                  <a:gd name="connsiteY1361" fmla="*/ 444 h 10000"/>
                  <a:gd name="connsiteX1362" fmla="*/ 5230 w 10785"/>
                  <a:gd name="connsiteY1362" fmla="*/ 436 h 10000"/>
                  <a:gd name="connsiteX1363" fmla="*/ 5230 w 10785"/>
                  <a:gd name="connsiteY1363" fmla="*/ 419 h 10000"/>
                  <a:gd name="connsiteX1364" fmla="*/ 5230 w 10785"/>
                  <a:gd name="connsiteY1364" fmla="*/ 410 h 10000"/>
                  <a:gd name="connsiteX1365" fmla="*/ 5198 w 10785"/>
                  <a:gd name="connsiteY1365" fmla="*/ 402 h 10000"/>
                  <a:gd name="connsiteX1366" fmla="*/ 5189 w 10785"/>
                  <a:gd name="connsiteY1366" fmla="*/ 402 h 10000"/>
                  <a:gd name="connsiteX1367" fmla="*/ 5184 w 10785"/>
                  <a:gd name="connsiteY1367" fmla="*/ 376 h 10000"/>
                  <a:gd name="connsiteX1368" fmla="*/ 5180 w 10785"/>
                  <a:gd name="connsiteY1368" fmla="*/ 376 h 10000"/>
                  <a:gd name="connsiteX1369" fmla="*/ 5166 w 10785"/>
                  <a:gd name="connsiteY1369" fmla="*/ 376 h 10000"/>
                  <a:gd name="connsiteX1370" fmla="*/ 5157 w 10785"/>
                  <a:gd name="connsiteY1370" fmla="*/ 385 h 10000"/>
                  <a:gd name="connsiteX1371" fmla="*/ 5152 w 10785"/>
                  <a:gd name="connsiteY1371" fmla="*/ 376 h 10000"/>
                  <a:gd name="connsiteX1372" fmla="*/ 5129 w 10785"/>
                  <a:gd name="connsiteY1372" fmla="*/ 385 h 10000"/>
                  <a:gd name="connsiteX1373" fmla="*/ 5129 w 10785"/>
                  <a:gd name="connsiteY1373" fmla="*/ 350 h 10000"/>
                  <a:gd name="connsiteX1374" fmla="*/ 5129 w 10785"/>
                  <a:gd name="connsiteY1374" fmla="*/ 325 h 10000"/>
                  <a:gd name="connsiteX1375" fmla="*/ 5124 w 10785"/>
                  <a:gd name="connsiteY1375" fmla="*/ 359 h 10000"/>
                  <a:gd name="connsiteX1376" fmla="*/ 5106 w 10785"/>
                  <a:gd name="connsiteY1376" fmla="*/ 359 h 10000"/>
                  <a:gd name="connsiteX1377" fmla="*/ 5037 w 10785"/>
                  <a:gd name="connsiteY1377" fmla="*/ 419 h 10000"/>
                  <a:gd name="connsiteX1378" fmla="*/ 5051 w 10785"/>
                  <a:gd name="connsiteY1378" fmla="*/ 385 h 10000"/>
                  <a:gd name="connsiteX1379" fmla="*/ 5055 w 10785"/>
                  <a:gd name="connsiteY1379" fmla="*/ 376 h 10000"/>
                  <a:gd name="connsiteX1380" fmla="*/ 5092 w 10785"/>
                  <a:gd name="connsiteY1380" fmla="*/ 282 h 10000"/>
                  <a:gd name="connsiteX1381" fmla="*/ 5106 w 10785"/>
                  <a:gd name="connsiteY1381" fmla="*/ 265 h 10000"/>
                  <a:gd name="connsiteX1382" fmla="*/ 5115 w 10785"/>
                  <a:gd name="connsiteY1382" fmla="*/ 265 h 10000"/>
                  <a:gd name="connsiteX1383" fmla="*/ 5124 w 10785"/>
                  <a:gd name="connsiteY1383" fmla="*/ 222 h 10000"/>
                  <a:gd name="connsiteX1384" fmla="*/ 5124 w 10785"/>
                  <a:gd name="connsiteY1384" fmla="*/ 214 h 10000"/>
                  <a:gd name="connsiteX1385" fmla="*/ 5143 w 10785"/>
                  <a:gd name="connsiteY1385" fmla="*/ 197 h 10000"/>
                  <a:gd name="connsiteX1386" fmla="*/ 5152 w 10785"/>
                  <a:gd name="connsiteY1386" fmla="*/ 214 h 10000"/>
                  <a:gd name="connsiteX1387" fmla="*/ 5143 w 10785"/>
                  <a:gd name="connsiteY1387" fmla="*/ 188 h 10000"/>
                  <a:gd name="connsiteX1388" fmla="*/ 5129 w 10785"/>
                  <a:gd name="connsiteY1388" fmla="*/ 103 h 10000"/>
                  <a:gd name="connsiteX1389" fmla="*/ 5115 w 10785"/>
                  <a:gd name="connsiteY1389" fmla="*/ 85 h 10000"/>
                  <a:gd name="connsiteX1390" fmla="*/ 5111 w 10785"/>
                  <a:gd name="connsiteY1390" fmla="*/ 111 h 10000"/>
                  <a:gd name="connsiteX1391" fmla="*/ 5092 w 10785"/>
                  <a:gd name="connsiteY1391" fmla="*/ 103 h 10000"/>
                  <a:gd name="connsiteX1392" fmla="*/ 5069 w 10785"/>
                  <a:gd name="connsiteY1392" fmla="*/ 77 h 10000"/>
                  <a:gd name="connsiteX1393" fmla="*/ 5051 w 10785"/>
                  <a:gd name="connsiteY1393" fmla="*/ 26 h 10000"/>
                  <a:gd name="connsiteX1394" fmla="*/ 5041 w 10785"/>
                  <a:gd name="connsiteY1394" fmla="*/ 34 h 10000"/>
                  <a:gd name="connsiteX1395" fmla="*/ 5037 w 10785"/>
                  <a:gd name="connsiteY1395" fmla="*/ 34 h 10000"/>
                  <a:gd name="connsiteX1396" fmla="*/ 5037 w 10785"/>
                  <a:gd name="connsiteY1396" fmla="*/ 26 h 10000"/>
                  <a:gd name="connsiteX1397" fmla="*/ 5037 w 10785"/>
                  <a:gd name="connsiteY1397" fmla="*/ 9 h 10000"/>
                  <a:gd name="connsiteX1398" fmla="*/ 5023 w 10785"/>
                  <a:gd name="connsiteY1398" fmla="*/ 0 h 10000"/>
                  <a:gd name="connsiteX1399" fmla="*/ 5009 w 10785"/>
                  <a:gd name="connsiteY1399" fmla="*/ 9 h 10000"/>
                  <a:gd name="connsiteX1400" fmla="*/ 4995 w 10785"/>
                  <a:gd name="connsiteY1400" fmla="*/ 34 h 10000"/>
                  <a:gd name="connsiteX1401" fmla="*/ 4991 w 10785"/>
                  <a:gd name="connsiteY1401" fmla="*/ 60 h 10000"/>
                  <a:gd name="connsiteX1402" fmla="*/ 4982 w 10785"/>
                  <a:gd name="connsiteY1402" fmla="*/ 60 h 10000"/>
                  <a:gd name="connsiteX1403" fmla="*/ 4949 w 10785"/>
                  <a:gd name="connsiteY1403" fmla="*/ 51 h 10000"/>
                  <a:gd name="connsiteX1404" fmla="*/ 4949 w 10785"/>
                  <a:gd name="connsiteY1404" fmla="*/ 85 h 10000"/>
                  <a:gd name="connsiteX1405" fmla="*/ 4903 w 10785"/>
                  <a:gd name="connsiteY1405" fmla="*/ 197 h 10000"/>
                  <a:gd name="connsiteX1406" fmla="*/ 4899 w 10785"/>
                  <a:gd name="connsiteY1406" fmla="*/ 239 h 10000"/>
                  <a:gd name="connsiteX1407" fmla="*/ 4871 w 10785"/>
                  <a:gd name="connsiteY1407" fmla="*/ 274 h 10000"/>
                  <a:gd name="connsiteX1408" fmla="*/ 4871 w 10785"/>
                  <a:gd name="connsiteY1408" fmla="*/ 282 h 10000"/>
                  <a:gd name="connsiteX1409" fmla="*/ 4834 w 10785"/>
                  <a:gd name="connsiteY1409" fmla="*/ 376 h 10000"/>
                  <a:gd name="connsiteX1410" fmla="*/ 4829 w 10785"/>
                  <a:gd name="connsiteY1410" fmla="*/ 402 h 10000"/>
                  <a:gd name="connsiteX1411" fmla="*/ 4834 w 10785"/>
                  <a:gd name="connsiteY1411" fmla="*/ 410 h 10000"/>
                  <a:gd name="connsiteX1412" fmla="*/ 4829 w 10785"/>
                  <a:gd name="connsiteY1412" fmla="*/ 436 h 10000"/>
                  <a:gd name="connsiteX1413" fmla="*/ 4825 w 10785"/>
                  <a:gd name="connsiteY1413" fmla="*/ 436 h 10000"/>
                  <a:gd name="connsiteX1414" fmla="*/ 4825 w 10785"/>
                  <a:gd name="connsiteY1414" fmla="*/ 444 h 10000"/>
                  <a:gd name="connsiteX1415" fmla="*/ 4811 w 10785"/>
                  <a:gd name="connsiteY1415" fmla="*/ 496 h 10000"/>
                  <a:gd name="connsiteX1416" fmla="*/ 4811 w 10785"/>
                  <a:gd name="connsiteY1416" fmla="*/ 496 h 10000"/>
                  <a:gd name="connsiteX1417" fmla="*/ 4811 w 10785"/>
                  <a:gd name="connsiteY1417" fmla="*/ 521 h 10000"/>
                  <a:gd name="connsiteX1418" fmla="*/ 4816 w 10785"/>
                  <a:gd name="connsiteY1418" fmla="*/ 530 h 10000"/>
                  <a:gd name="connsiteX1419" fmla="*/ 4834 w 10785"/>
                  <a:gd name="connsiteY1419" fmla="*/ 547 h 10000"/>
                  <a:gd name="connsiteX1420" fmla="*/ 4834 w 10785"/>
                  <a:gd name="connsiteY1420" fmla="*/ 581 h 10000"/>
                  <a:gd name="connsiteX1421" fmla="*/ 4843 w 10785"/>
                  <a:gd name="connsiteY1421" fmla="*/ 581 h 10000"/>
                  <a:gd name="connsiteX1422" fmla="*/ 4843 w 10785"/>
                  <a:gd name="connsiteY1422" fmla="*/ 598 h 10000"/>
                  <a:gd name="connsiteX1423" fmla="*/ 4829 w 10785"/>
                  <a:gd name="connsiteY1423" fmla="*/ 598 h 10000"/>
                  <a:gd name="connsiteX1424" fmla="*/ 4829 w 10785"/>
                  <a:gd name="connsiteY1424" fmla="*/ 573 h 10000"/>
                  <a:gd name="connsiteX1425" fmla="*/ 4829 w 10785"/>
                  <a:gd name="connsiteY1425" fmla="*/ 632 h 10000"/>
                  <a:gd name="connsiteX1426" fmla="*/ 4829 w 10785"/>
                  <a:gd name="connsiteY1426" fmla="*/ 632 h 10000"/>
                  <a:gd name="connsiteX1427" fmla="*/ 4829 w 10785"/>
                  <a:gd name="connsiteY1427" fmla="*/ 650 h 10000"/>
                  <a:gd name="connsiteX1428" fmla="*/ 4774 w 10785"/>
                  <a:gd name="connsiteY1428" fmla="*/ 684 h 10000"/>
                  <a:gd name="connsiteX1429" fmla="*/ 4756 w 10785"/>
                  <a:gd name="connsiteY1429" fmla="*/ 684 h 10000"/>
                  <a:gd name="connsiteX1430" fmla="*/ 4737 w 10785"/>
                  <a:gd name="connsiteY1430" fmla="*/ 692 h 10000"/>
                  <a:gd name="connsiteX1431" fmla="*/ 4677 w 10785"/>
                  <a:gd name="connsiteY1431" fmla="*/ 667 h 10000"/>
                  <a:gd name="connsiteX1432" fmla="*/ 4682 w 10785"/>
                  <a:gd name="connsiteY1432" fmla="*/ 692 h 10000"/>
                  <a:gd name="connsiteX1433" fmla="*/ 4682 w 10785"/>
                  <a:gd name="connsiteY1433" fmla="*/ 709 h 10000"/>
                  <a:gd name="connsiteX1434" fmla="*/ 4691 w 10785"/>
                  <a:gd name="connsiteY1434" fmla="*/ 718 h 10000"/>
                  <a:gd name="connsiteX1435" fmla="*/ 4691 w 10785"/>
                  <a:gd name="connsiteY1435" fmla="*/ 744 h 10000"/>
                  <a:gd name="connsiteX1436" fmla="*/ 4700 w 10785"/>
                  <a:gd name="connsiteY1436" fmla="*/ 744 h 10000"/>
                  <a:gd name="connsiteX1437" fmla="*/ 4714 w 10785"/>
                  <a:gd name="connsiteY1437" fmla="*/ 769 h 10000"/>
                  <a:gd name="connsiteX1438" fmla="*/ 4710 w 10785"/>
                  <a:gd name="connsiteY1438" fmla="*/ 786 h 10000"/>
                  <a:gd name="connsiteX1439" fmla="*/ 4737 w 10785"/>
                  <a:gd name="connsiteY1439" fmla="*/ 786 h 10000"/>
                  <a:gd name="connsiteX1440" fmla="*/ 4742 w 10785"/>
                  <a:gd name="connsiteY1440" fmla="*/ 795 h 10000"/>
                  <a:gd name="connsiteX1441" fmla="*/ 4742 w 10785"/>
                  <a:gd name="connsiteY1441" fmla="*/ 803 h 10000"/>
                  <a:gd name="connsiteX1442" fmla="*/ 4737 w 10785"/>
                  <a:gd name="connsiteY1442" fmla="*/ 846 h 10000"/>
                  <a:gd name="connsiteX1443" fmla="*/ 4737 w 10785"/>
                  <a:gd name="connsiteY1443" fmla="*/ 880 h 10000"/>
                  <a:gd name="connsiteX1444" fmla="*/ 4737 w 10785"/>
                  <a:gd name="connsiteY1444" fmla="*/ 906 h 10000"/>
                  <a:gd name="connsiteX1445" fmla="*/ 4724 w 10785"/>
                  <a:gd name="connsiteY1445" fmla="*/ 897 h 10000"/>
                  <a:gd name="connsiteX1446" fmla="*/ 4724 w 10785"/>
                  <a:gd name="connsiteY1446" fmla="*/ 872 h 10000"/>
                  <a:gd name="connsiteX1447" fmla="*/ 4714 w 10785"/>
                  <a:gd name="connsiteY1447" fmla="*/ 855 h 10000"/>
                  <a:gd name="connsiteX1448" fmla="*/ 4691 w 10785"/>
                  <a:gd name="connsiteY1448" fmla="*/ 846 h 10000"/>
                  <a:gd name="connsiteX1449" fmla="*/ 4691 w 10785"/>
                  <a:gd name="connsiteY1449" fmla="*/ 846 h 10000"/>
                  <a:gd name="connsiteX1450" fmla="*/ 4696 w 10785"/>
                  <a:gd name="connsiteY1450" fmla="*/ 821 h 10000"/>
                  <a:gd name="connsiteX1451" fmla="*/ 4691 w 10785"/>
                  <a:gd name="connsiteY1451" fmla="*/ 803 h 10000"/>
                  <a:gd name="connsiteX1452" fmla="*/ 4668 w 10785"/>
                  <a:gd name="connsiteY1452" fmla="*/ 821 h 10000"/>
                  <a:gd name="connsiteX1453" fmla="*/ 4668 w 10785"/>
                  <a:gd name="connsiteY1453" fmla="*/ 786 h 10000"/>
                  <a:gd name="connsiteX1454" fmla="*/ 4664 w 10785"/>
                  <a:gd name="connsiteY1454" fmla="*/ 786 h 10000"/>
                  <a:gd name="connsiteX1455" fmla="*/ 4622 w 10785"/>
                  <a:gd name="connsiteY1455" fmla="*/ 846 h 10000"/>
                  <a:gd name="connsiteX1456" fmla="*/ 4627 w 10785"/>
                  <a:gd name="connsiteY1456" fmla="*/ 872 h 10000"/>
                  <a:gd name="connsiteX1457" fmla="*/ 4622 w 10785"/>
                  <a:gd name="connsiteY1457" fmla="*/ 880 h 10000"/>
                  <a:gd name="connsiteX1458" fmla="*/ 4622 w 10785"/>
                  <a:gd name="connsiteY1458" fmla="*/ 880 h 10000"/>
                  <a:gd name="connsiteX1459" fmla="*/ 4618 w 10785"/>
                  <a:gd name="connsiteY1459" fmla="*/ 872 h 10000"/>
                  <a:gd name="connsiteX1460" fmla="*/ 4604 w 10785"/>
                  <a:gd name="connsiteY1460" fmla="*/ 880 h 10000"/>
                  <a:gd name="connsiteX1461" fmla="*/ 4594 w 10785"/>
                  <a:gd name="connsiteY1461" fmla="*/ 906 h 10000"/>
                  <a:gd name="connsiteX1462" fmla="*/ 4604 w 10785"/>
                  <a:gd name="connsiteY1462" fmla="*/ 906 h 10000"/>
                  <a:gd name="connsiteX1463" fmla="*/ 4608 w 10785"/>
                  <a:gd name="connsiteY1463" fmla="*/ 906 h 10000"/>
                  <a:gd name="connsiteX1464" fmla="*/ 4608 w 10785"/>
                  <a:gd name="connsiteY1464" fmla="*/ 932 h 10000"/>
                  <a:gd name="connsiteX1465" fmla="*/ 4604 w 10785"/>
                  <a:gd name="connsiteY1465" fmla="*/ 932 h 10000"/>
                  <a:gd name="connsiteX1466" fmla="*/ 4590 w 10785"/>
                  <a:gd name="connsiteY1466" fmla="*/ 932 h 10000"/>
                  <a:gd name="connsiteX1467" fmla="*/ 4567 w 10785"/>
                  <a:gd name="connsiteY1467" fmla="*/ 957 h 10000"/>
                  <a:gd name="connsiteX1468" fmla="*/ 4567 w 10785"/>
                  <a:gd name="connsiteY1468" fmla="*/ 932 h 10000"/>
                  <a:gd name="connsiteX1469" fmla="*/ 4567 w 10785"/>
                  <a:gd name="connsiteY1469" fmla="*/ 923 h 10000"/>
                  <a:gd name="connsiteX1470" fmla="*/ 4562 w 10785"/>
                  <a:gd name="connsiteY1470" fmla="*/ 932 h 10000"/>
                  <a:gd name="connsiteX1471" fmla="*/ 4548 w 10785"/>
                  <a:gd name="connsiteY1471" fmla="*/ 957 h 10000"/>
                  <a:gd name="connsiteX1472" fmla="*/ 4544 w 10785"/>
                  <a:gd name="connsiteY1472" fmla="*/ 957 h 10000"/>
                  <a:gd name="connsiteX1473" fmla="*/ 4521 w 10785"/>
                  <a:gd name="connsiteY1473" fmla="*/ 983 h 10000"/>
                  <a:gd name="connsiteX1474" fmla="*/ 4521 w 10785"/>
                  <a:gd name="connsiteY1474" fmla="*/ 983 h 10000"/>
                  <a:gd name="connsiteX1475" fmla="*/ 4530 w 10785"/>
                  <a:gd name="connsiteY1475" fmla="*/ 957 h 10000"/>
                  <a:gd name="connsiteX1476" fmla="*/ 4535 w 10785"/>
                  <a:gd name="connsiteY1476" fmla="*/ 932 h 10000"/>
                  <a:gd name="connsiteX1477" fmla="*/ 4521 w 10785"/>
                  <a:gd name="connsiteY1477" fmla="*/ 932 h 10000"/>
                  <a:gd name="connsiteX1478" fmla="*/ 4516 w 10785"/>
                  <a:gd name="connsiteY1478" fmla="*/ 923 h 10000"/>
                  <a:gd name="connsiteX1479" fmla="*/ 4516 w 10785"/>
                  <a:gd name="connsiteY1479" fmla="*/ 932 h 10000"/>
                  <a:gd name="connsiteX1480" fmla="*/ 4488 w 10785"/>
                  <a:gd name="connsiteY1480" fmla="*/ 940 h 10000"/>
                  <a:gd name="connsiteX1481" fmla="*/ 4484 w 10785"/>
                  <a:gd name="connsiteY1481" fmla="*/ 983 h 10000"/>
                  <a:gd name="connsiteX1482" fmla="*/ 4470 w 10785"/>
                  <a:gd name="connsiteY1482" fmla="*/ 983 h 10000"/>
                  <a:gd name="connsiteX1483" fmla="*/ 4470 w 10785"/>
                  <a:gd name="connsiteY1483" fmla="*/ 966 h 10000"/>
                  <a:gd name="connsiteX1484" fmla="*/ 4488 w 10785"/>
                  <a:gd name="connsiteY1484" fmla="*/ 923 h 10000"/>
                  <a:gd name="connsiteX1485" fmla="*/ 4493 w 10785"/>
                  <a:gd name="connsiteY1485" fmla="*/ 880 h 10000"/>
                  <a:gd name="connsiteX1486" fmla="*/ 4475 w 10785"/>
                  <a:gd name="connsiteY1486" fmla="*/ 846 h 10000"/>
                  <a:gd name="connsiteX1487" fmla="*/ 4442 w 10785"/>
                  <a:gd name="connsiteY1487" fmla="*/ 855 h 10000"/>
                  <a:gd name="connsiteX1488" fmla="*/ 4433 w 10785"/>
                  <a:gd name="connsiteY1488" fmla="*/ 855 h 10000"/>
                  <a:gd name="connsiteX1489" fmla="*/ 4433 w 10785"/>
                  <a:gd name="connsiteY1489" fmla="*/ 880 h 10000"/>
                  <a:gd name="connsiteX1490" fmla="*/ 4401 w 10785"/>
                  <a:gd name="connsiteY1490" fmla="*/ 855 h 10000"/>
                  <a:gd name="connsiteX1491" fmla="*/ 4396 w 10785"/>
                  <a:gd name="connsiteY1491" fmla="*/ 872 h 10000"/>
                  <a:gd name="connsiteX1492" fmla="*/ 4382 w 10785"/>
                  <a:gd name="connsiteY1492" fmla="*/ 897 h 10000"/>
                  <a:gd name="connsiteX1493" fmla="*/ 4373 w 10785"/>
                  <a:gd name="connsiteY1493" fmla="*/ 872 h 10000"/>
                  <a:gd name="connsiteX1494" fmla="*/ 4341 w 10785"/>
                  <a:gd name="connsiteY1494" fmla="*/ 872 h 10000"/>
                  <a:gd name="connsiteX1495" fmla="*/ 4336 w 10785"/>
                  <a:gd name="connsiteY1495" fmla="*/ 880 h 10000"/>
                  <a:gd name="connsiteX1496" fmla="*/ 4346 w 10785"/>
                  <a:gd name="connsiteY1496" fmla="*/ 897 h 10000"/>
                  <a:gd name="connsiteX1497" fmla="*/ 4346 w 10785"/>
                  <a:gd name="connsiteY1497" fmla="*/ 897 h 10000"/>
                  <a:gd name="connsiteX1498" fmla="*/ 4313 w 10785"/>
                  <a:gd name="connsiteY1498" fmla="*/ 906 h 10000"/>
                  <a:gd name="connsiteX1499" fmla="*/ 4313 w 10785"/>
                  <a:gd name="connsiteY1499" fmla="*/ 906 h 10000"/>
                  <a:gd name="connsiteX1500" fmla="*/ 4313 w 10785"/>
                  <a:gd name="connsiteY1500" fmla="*/ 880 h 10000"/>
                  <a:gd name="connsiteX1501" fmla="*/ 4309 w 10785"/>
                  <a:gd name="connsiteY1501" fmla="*/ 897 h 10000"/>
                  <a:gd name="connsiteX1502" fmla="*/ 4295 w 10785"/>
                  <a:gd name="connsiteY1502" fmla="*/ 923 h 10000"/>
                  <a:gd name="connsiteX1503" fmla="*/ 4286 w 10785"/>
                  <a:gd name="connsiteY1503" fmla="*/ 897 h 10000"/>
                  <a:gd name="connsiteX1504" fmla="*/ 4281 w 10785"/>
                  <a:gd name="connsiteY1504" fmla="*/ 906 h 10000"/>
                  <a:gd name="connsiteX1505" fmla="*/ 4281 w 10785"/>
                  <a:gd name="connsiteY1505" fmla="*/ 940 h 10000"/>
                  <a:gd name="connsiteX1506" fmla="*/ 4286 w 10785"/>
                  <a:gd name="connsiteY1506" fmla="*/ 957 h 10000"/>
                  <a:gd name="connsiteX1507" fmla="*/ 4309 w 10785"/>
                  <a:gd name="connsiteY1507" fmla="*/ 932 h 10000"/>
                  <a:gd name="connsiteX1508" fmla="*/ 4313 w 10785"/>
                  <a:gd name="connsiteY1508" fmla="*/ 957 h 10000"/>
                  <a:gd name="connsiteX1509" fmla="*/ 4313 w 10785"/>
                  <a:gd name="connsiteY1509" fmla="*/ 966 h 10000"/>
                  <a:gd name="connsiteX1510" fmla="*/ 4323 w 10785"/>
                  <a:gd name="connsiteY1510" fmla="*/ 966 h 10000"/>
                  <a:gd name="connsiteX1511" fmla="*/ 4323 w 10785"/>
                  <a:gd name="connsiteY1511" fmla="*/ 940 h 10000"/>
                  <a:gd name="connsiteX1512" fmla="*/ 4327 w 10785"/>
                  <a:gd name="connsiteY1512" fmla="*/ 940 h 10000"/>
                  <a:gd name="connsiteX1513" fmla="*/ 4327 w 10785"/>
                  <a:gd name="connsiteY1513" fmla="*/ 957 h 10000"/>
                  <a:gd name="connsiteX1514" fmla="*/ 4327 w 10785"/>
                  <a:gd name="connsiteY1514" fmla="*/ 966 h 10000"/>
                  <a:gd name="connsiteX1515" fmla="*/ 4323 w 10785"/>
                  <a:gd name="connsiteY1515" fmla="*/ 991 h 10000"/>
                  <a:gd name="connsiteX1516" fmla="*/ 4207 w 10785"/>
                  <a:gd name="connsiteY1516" fmla="*/ 1060 h 10000"/>
                  <a:gd name="connsiteX1517" fmla="*/ 4207 w 10785"/>
                  <a:gd name="connsiteY1517" fmla="*/ 1060 h 10000"/>
                  <a:gd name="connsiteX1518" fmla="*/ 4203 w 10785"/>
                  <a:gd name="connsiteY1518" fmla="*/ 1068 h 10000"/>
                  <a:gd name="connsiteX1519" fmla="*/ 4203 w 10785"/>
                  <a:gd name="connsiteY1519" fmla="*/ 1094 h 10000"/>
                  <a:gd name="connsiteX1520" fmla="*/ 4203 w 10785"/>
                  <a:gd name="connsiteY1520" fmla="*/ 1094 h 10000"/>
                  <a:gd name="connsiteX1521" fmla="*/ 4189 w 10785"/>
                  <a:gd name="connsiteY1521" fmla="*/ 1094 h 10000"/>
                  <a:gd name="connsiteX1522" fmla="*/ 4166 w 10785"/>
                  <a:gd name="connsiteY1522" fmla="*/ 1103 h 10000"/>
                  <a:gd name="connsiteX1523" fmla="*/ 4152 w 10785"/>
                  <a:gd name="connsiteY1523" fmla="*/ 1094 h 10000"/>
                  <a:gd name="connsiteX1524" fmla="*/ 4134 w 10785"/>
                  <a:gd name="connsiteY1524" fmla="*/ 1120 h 10000"/>
                  <a:gd name="connsiteX1525" fmla="*/ 4106 w 10785"/>
                  <a:gd name="connsiteY1525" fmla="*/ 1120 h 10000"/>
                  <a:gd name="connsiteX1526" fmla="*/ 4092 w 10785"/>
                  <a:gd name="connsiteY1526" fmla="*/ 1154 h 10000"/>
                  <a:gd name="connsiteX1527" fmla="*/ 4106 w 10785"/>
                  <a:gd name="connsiteY1527" fmla="*/ 1171 h 10000"/>
                  <a:gd name="connsiteX1528" fmla="*/ 4078 w 10785"/>
                  <a:gd name="connsiteY1528" fmla="*/ 1179 h 10000"/>
                  <a:gd name="connsiteX1529" fmla="*/ 4065 w 10785"/>
                  <a:gd name="connsiteY1529" fmla="*/ 1205 h 10000"/>
                  <a:gd name="connsiteX1530" fmla="*/ 4046 w 10785"/>
                  <a:gd name="connsiteY1530" fmla="*/ 1179 h 10000"/>
                  <a:gd name="connsiteX1531" fmla="*/ 4041 w 10785"/>
                  <a:gd name="connsiteY1531" fmla="*/ 1197 h 10000"/>
                  <a:gd name="connsiteX1532" fmla="*/ 4028 w 10785"/>
                  <a:gd name="connsiteY1532" fmla="*/ 1205 h 10000"/>
                  <a:gd name="connsiteX1533" fmla="*/ 4028 w 10785"/>
                  <a:gd name="connsiteY1533" fmla="*/ 1205 h 10000"/>
                  <a:gd name="connsiteX1534" fmla="*/ 4032 w 10785"/>
                  <a:gd name="connsiteY1534" fmla="*/ 1205 h 10000"/>
                  <a:gd name="connsiteX1535" fmla="*/ 4032 w 10785"/>
                  <a:gd name="connsiteY1535" fmla="*/ 1231 h 10000"/>
                  <a:gd name="connsiteX1536" fmla="*/ 4014 w 10785"/>
                  <a:gd name="connsiteY1536" fmla="*/ 1239 h 10000"/>
                  <a:gd name="connsiteX1537" fmla="*/ 4014 w 10785"/>
                  <a:gd name="connsiteY1537" fmla="*/ 1256 h 10000"/>
                  <a:gd name="connsiteX1538" fmla="*/ 4000 w 10785"/>
                  <a:gd name="connsiteY1538" fmla="*/ 1265 h 10000"/>
                  <a:gd name="connsiteX1539" fmla="*/ 3986 w 10785"/>
                  <a:gd name="connsiteY1539" fmla="*/ 1308 h 10000"/>
                  <a:gd name="connsiteX1540" fmla="*/ 3972 w 10785"/>
                  <a:gd name="connsiteY1540" fmla="*/ 1316 h 10000"/>
                  <a:gd name="connsiteX1541" fmla="*/ 3972 w 10785"/>
                  <a:gd name="connsiteY1541" fmla="*/ 1325 h 10000"/>
                  <a:gd name="connsiteX1542" fmla="*/ 3972 w 10785"/>
                  <a:gd name="connsiteY1542" fmla="*/ 1342 h 10000"/>
                  <a:gd name="connsiteX1543" fmla="*/ 3968 w 10785"/>
                  <a:gd name="connsiteY1543" fmla="*/ 1350 h 10000"/>
                  <a:gd name="connsiteX1544" fmla="*/ 3954 w 10785"/>
                  <a:gd name="connsiteY1544" fmla="*/ 1368 h 10000"/>
                  <a:gd name="connsiteX1545" fmla="*/ 3945 w 10785"/>
                  <a:gd name="connsiteY1545" fmla="*/ 1350 h 10000"/>
                  <a:gd name="connsiteX1546" fmla="*/ 3908 w 10785"/>
                  <a:gd name="connsiteY1546" fmla="*/ 1342 h 10000"/>
                  <a:gd name="connsiteX1547" fmla="*/ 3894 w 10785"/>
                  <a:gd name="connsiteY1547" fmla="*/ 1368 h 10000"/>
                  <a:gd name="connsiteX1548" fmla="*/ 3922 w 10785"/>
                  <a:gd name="connsiteY1548" fmla="*/ 1393 h 10000"/>
                  <a:gd name="connsiteX1549" fmla="*/ 3945 w 10785"/>
                  <a:gd name="connsiteY1549" fmla="*/ 1393 h 10000"/>
                  <a:gd name="connsiteX1550" fmla="*/ 3940 w 10785"/>
                  <a:gd name="connsiteY1550" fmla="*/ 1419 h 10000"/>
                  <a:gd name="connsiteX1551" fmla="*/ 3931 w 10785"/>
                  <a:gd name="connsiteY1551" fmla="*/ 1427 h 10000"/>
                  <a:gd name="connsiteX1552" fmla="*/ 3926 w 10785"/>
                  <a:gd name="connsiteY1552" fmla="*/ 1427 h 10000"/>
                  <a:gd name="connsiteX1553" fmla="*/ 3922 w 10785"/>
                  <a:gd name="connsiteY1553" fmla="*/ 1419 h 10000"/>
                  <a:gd name="connsiteX1554" fmla="*/ 3912 w 10785"/>
                  <a:gd name="connsiteY1554" fmla="*/ 1427 h 10000"/>
                  <a:gd name="connsiteX1555" fmla="*/ 3912 w 10785"/>
                  <a:gd name="connsiteY1555" fmla="*/ 1444 h 10000"/>
                  <a:gd name="connsiteX1556" fmla="*/ 3894 w 10785"/>
                  <a:gd name="connsiteY1556" fmla="*/ 1513 h 10000"/>
                  <a:gd name="connsiteX1557" fmla="*/ 3885 w 10785"/>
                  <a:gd name="connsiteY1557" fmla="*/ 1513 h 10000"/>
                  <a:gd name="connsiteX1558" fmla="*/ 3880 w 10785"/>
                  <a:gd name="connsiteY1558" fmla="*/ 1538 h 10000"/>
                  <a:gd name="connsiteX1559" fmla="*/ 3885 w 10785"/>
                  <a:gd name="connsiteY1559" fmla="*/ 1564 h 10000"/>
                  <a:gd name="connsiteX1560" fmla="*/ 3880 w 10785"/>
                  <a:gd name="connsiteY1560" fmla="*/ 1581 h 10000"/>
                  <a:gd name="connsiteX1561" fmla="*/ 3871 w 10785"/>
                  <a:gd name="connsiteY1561" fmla="*/ 1538 h 10000"/>
                  <a:gd name="connsiteX1562" fmla="*/ 3853 w 10785"/>
                  <a:gd name="connsiteY1562" fmla="*/ 1530 h 10000"/>
                  <a:gd name="connsiteX1563" fmla="*/ 3853 w 10785"/>
                  <a:gd name="connsiteY1563" fmla="*/ 1504 h 10000"/>
                  <a:gd name="connsiteX1564" fmla="*/ 3834 w 10785"/>
                  <a:gd name="connsiteY1564" fmla="*/ 1487 h 10000"/>
                  <a:gd name="connsiteX1565" fmla="*/ 3834 w 10785"/>
                  <a:gd name="connsiteY1565" fmla="*/ 1487 h 10000"/>
                  <a:gd name="connsiteX1566" fmla="*/ 3839 w 10785"/>
                  <a:gd name="connsiteY1566" fmla="*/ 1513 h 10000"/>
                  <a:gd name="connsiteX1567" fmla="*/ 3820 w 10785"/>
                  <a:gd name="connsiteY1567" fmla="*/ 1538 h 10000"/>
                  <a:gd name="connsiteX1568" fmla="*/ 3820 w 10785"/>
                  <a:gd name="connsiteY1568" fmla="*/ 1556 h 10000"/>
                  <a:gd name="connsiteX1569" fmla="*/ 3820 w 10785"/>
                  <a:gd name="connsiteY1569" fmla="*/ 1564 h 10000"/>
                  <a:gd name="connsiteX1570" fmla="*/ 3820 w 10785"/>
                  <a:gd name="connsiteY1570" fmla="*/ 1581 h 10000"/>
                  <a:gd name="connsiteX1571" fmla="*/ 3853 w 10785"/>
                  <a:gd name="connsiteY1571" fmla="*/ 1581 h 10000"/>
                  <a:gd name="connsiteX1572" fmla="*/ 3857 w 10785"/>
                  <a:gd name="connsiteY1572" fmla="*/ 1598 h 10000"/>
                  <a:gd name="connsiteX1573" fmla="*/ 3880 w 10785"/>
                  <a:gd name="connsiteY1573" fmla="*/ 1615 h 10000"/>
                  <a:gd name="connsiteX1574" fmla="*/ 3871 w 10785"/>
                  <a:gd name="connsiteY1574" fmla="*/ 1615 h 10000"/>
                  <a:gd name="connsiteX1575" fmla="*/ 3871 w 10785"/>
                  <a:gd name="connsiteY1575" fmla="*/ 1641 h 10000"/>
                  <a:gd name="connsiteX1576" fmla="*/ 3880 w 10785"/>
                  <a:gd name="connsiteY1576" fmla="*/ 1641 h 10000"/>
                  <a:gd name="connsiteX1577" fmla="*/ 3871 w 10785"/>
                  <a:gd name="connsiteY1577" fmla="*/ 1650 h 10000"/>
                  <a:gd name="connsiteX1578" fmla="*/ 3857 w 10785"/>
                  <a:gd name="connsiteY1578" fmla="*/ 1650 h 10000"/>
                  <a:gd name="connsiteX1579" fmla="*/ 3853 w 10785"/>
                  <a:gd name="connsiteY1579" fmla="*/ 1650 h 10000"/>
                  <a:gd name="connsiteX1580" fmla="*/ 3839 w 10785"/>
                  <a:gd name="connsiteY1580" fmla="*/ 1667 h 10000"/>
                  <a:gd name="connsiteX1581" fmla="*/ 3848 w 10785"/>
                  <a:gd name="connsiteY1581" fmla="*/ 1692 h 10000"/>
                  <a:gd name="connsiteX1582" fmla="*/ 3834 w 10785"/>
                  <a:gd name="connsiteY1582" fmla="*/ 1692 h 10000"/>
                  <a:gd name="connsiteX1583" fmla="*/ 3825 w 10785"/>
                  <a:gd name="connsiteY1583" fmla="*/ 1692 h 10000"/>
                  <a:gd name="connsiteX1584" fmla="*/ 3825 w 10785"/>
                  <a:gd name="connsiteY1584" fmla="*/ 1718 h 10000"/>
                  <a:gd name="connsiteX1585" fmla="*/ 3839 w 10785"/>
                  <a:gd name="connsiteY1585" fmla="*/ 1726 h 10000"/>
                  <a:gd name="connsiteX1586" fmla="*/ 3880 w 10785"/>
                  <a:gd name="connsiteY1586" fmla="*/ 1752 h 10000"/>
                  <a:gd name="connsiteX1587" fmla="*/ 3894 w 10785"/>
                  <a:gd name="connsiteY1587" fmla="*/ 1829 h 10000"/>
                  <a:gd name="connsiteX1588" fmla="*/ 3899 w 10785"/>
                  <a:gd name="connsiteY1588" fmla="*/ 1838 h 10000"/>
                  <a:gd name="connsiteX1589" fmla="*/ 3894 w 10785"/>
                  <a:gd name="connsiteY1589" fmla="*/ 1855 h 10000"/>
                  <a:gd name="connsiteX1590" fmla="*/ 3880 w 10785"/>
                  <a:gd name="connsiteY1590" fmla="*/ 1838 h 10000"/>
                  <a:gd name="connsiteX1591" fmla="*/ 3880 w 10785"/>
                  <a:gd name="connsiteY1591" fmla="*/ 1855 h 10000"/>
                  <a:gd name="connsiteX1592" fmla="*/ 3880 w 10785"/>
                  <a:gd name="connsiteY1592" fmla="*/ 1863 h 10000"/>
                  <a:gd name="connsiteX1593" fmla="*/ 3871 w 10785"/>
                  <a:gd name="connsiteY1593" fmla="*/ 1872 h 10000"/>
                  <a:gd name="connsiteX1594" fmla="*/ 3880 w 10785"/>
                  <a:gd name="connsiteY1594" fmla="*/ 1889 h 10000"/>
                  <a:gd name="connsiteX1595" fmla="*/ 3885 w 10785"/>
                  <a:gd name="connsiteY1595" fmla="*/ 1889 h 10000"/>
                  <a:gd name="connsiteX1596" fmla="*/ 3880 w 10785"/>
                  <a:gd name="connsiteY1596" fmla="*/ 1897 h 10000"/>
                  <a:gd name="connsiteX1597" fmla="*/ 3871 w 10785"/>
                  <a:gd name="connsiteY1597" fmla="*/ 1915 h 10000"/>
                  <a:gd name="connsiteX1598" fmla="*/ 3848 w 10785"/>
                  <a:gd name="connsiteY1598" fmla="*/ 1923 h 10000"/>
                  <a:gd name="connsiteX1599" fmla="*/ 3825 w 10785"/>
                  <a:gd name="connsiteY1599" fmla="*/ 1940 h 10000"/>
                  <a:gd name="connsiteX1600" fmla="*/ 3811 w 10785"/>
                  <a:gd name="connsiteY1600" fmla="*/ 1940 h 10000"/>
                  <a:gd name="connsiteX1601" fmla="*/ 3806 w 10785"/>
                  <a:gd name="connsiteY1601" fmla="*/ 1949 h 10000"/>
                  <a:gd name="connsiteX1602" fmla="*/ 3797 w 10785"/>
                  <a:gd name="connsiteY1602" fmla="*/ 1966 h 10000"/>
                  <a:gd name="connsiteX1603" fmla="*/ 3788 w 10785"/>
                  <a:gd name="connsiteY1603" fmla="*/ 1991 h 10000"/>
                  <a:gd name="connsiteX1604" fmla="*/ 3765 w 10785"/>
                  <a:gd name="connsiteY1604" fmla="*/ 1974 h 10000"/>
                  <a:gd name="connsiteX1605" fmla="*/ 3760 w 10785"/>
                  <a:gd name="connsiteY1605" fmla="*/ 1966 h 10000"/>
                  <a:gd name="connsiteX1606" fmla="*/ 3760 w 10785"/>
                  <a:gd name="connsiteY1606" fmla="*/ 1966 h 10000"/>
                  <a:gd name="connsiteX1607" fmla="*/ 3631 w 10785"/>
                  <a:gd name="connsiteY1607" fmla="*/ 2009 h 10000"/>
                  <a:gd name="connsiteX1608" fmla="*/ 3618 w 10785"/>
                  <a:gd name="connsiteY1608" fmla="*/ 2000 h 10000"/>
                  <a:gd name="connsiteX1609" fmla="*/ 3599 w 10785"/>
                  <a:gd name="connsiteY1609" fmla="*/ 2009 h 10000"/>
                  <a:gd name="connsiteX1610" fmla="*/ 3571 w 10785"/>
                  <a:gd name="connsiteY1610" fmla="*/ 2000 h 10000"/>
                  <a:gd name="connsiteX1611" fmla="*/ 3530 w 10785"/>
                  <a:gd name="connsiteY1611" fmla="*/ 2026 h 10000"/>
                  <a:gd name="connsiteX1612" fmla="*/ 3530 w 10785"/>
                  <a:gd name="connsiteY1612" fmla="*/ 2034 h 10000"/>
                  <a:gd name="connsiteX1613" fmla="*/ 3525 w 10785"/>
                  <a:gd name="connsiteY1613" fmla="*/ 2051 h 10000"/>
                  <a:gd name="connsiteX1614" fmla="*/ 3512 w 10785"/>
                  <a:gd name="connsiteY1614" fmla="*/ 2034 h 10000"/>
                  <a:gd name="connsiteX1615" fmla="*/ 3507 w 10785"/>
                  <a:gd name="connsiteY1615" fmla="*/ 2034 h 10000"/>
                  <a:gd name="connsiteX1616" fmla="*/ 3498 w 10785"/>
                  <a:gd name="connsiteY1616" fmla="*/ 2051 h 10000"/>
                  <a:gd name="connsiteX1617" fmla="*/ 3484 w 10785"/>
                  <a:gd name="connsiteY1617" fmla="*/ 2060 h 10000"/>
                  <a:gd name="connsiteX1618" fmla="*/ 3484 w 10785"/>
                  <a:gd name="connsiteY1618" fmla="*/ 2085 h 10000"/>
                  <a:gd name="connsiteX1619" fmla="*/ 3484 w 10785"/>
                  <a:gd name="connsiteY1619" fmla="*/ 2103 h 10000"/>
                  <a:gd name="connsiteX1620" fmla="*/ 3493 w 10785"/>
                  <a:gd name="connsiteY1620" fmla="*/ 2103 h 10000"/>
                  <a:gd name="connsiteX1621" fmla="*/ 3493 w 10785"/>
                  <a:gd name="connsiteY1621" fmla="*/ 2085 h 10000"/>
                  <a:gd name="connsiteX1622" fmla="*/ 3498 w 10785"/>
                  <a:gd name="connsiteY1622" fmla="*/ 2085 h 10000"/>
                  <a:gd name="connsiteX1623" fmla="*/ 3498 w 10785"/>
                  <a:gd name="connsiteY1623" fmla="*/ 2111 h 10000"/>
                  <a:gd name="connsiteX1624" fmla="*/ 3484 w 10785"/>
                  <a:gd name="connsiteY1624" fmla="*/ 2120 h 10000"/>
                  <a:gd name="connsiteX1625" fmla="*/ 3484 w 10785"/>
                  <a:gd name="connsiteY1625" fmla="*/ 2145 h 10000"/>
                  <a:gd name="connsiteX1626" fmla="*/ 3470 w 10785"/>
                  <a:gd name="connsiteY1626" fmla="*/ 2137 h 10000"/>
                  <a:gd name="connsiteX1627" fmla="*/ 3465 w 10785"/>
                  <a:gd name="connsiteY1627" fmla="*/ 2145 h 10000"/>
                  <a:gd name="connsiteX1628" fmla="*/ 3470 w 10785"/>
                  <a:gd name="connsiteY1628" fmla="*/ 2171 h 10000"/>
                  <a:gd name="connsiteX1629" fmla="*/ 3484 w 10785"/>
                  <a:gd name="connsiteY1629" fmla="*/ 2171 h 10000"/>
                  <a:gd name="connsiteX1630" fmla="*/ 3484 w 10785"/>
                  <a:gd name="connsiteY1630" fmla="*/ 2197 h 10000"/>
                  <a:gd name="connsiteX1631" fmla="*/ 3465 w 10785"/>
                  <a:gd name="connsiteY1631" fmla="*/ 2214 h 10000"/>
                  <a:gd name="connsiteX1632" fmla="*/ 3493 w 10785"/>
                  <a:gd name="connsiteY1632" fmla="*/ 2248 h 10000"/>
                  <a:gd name="connsiteX1633" fmla="*/ 3484 w 10785"/>
                  <a:gd name="connsiteY1633" fmla="*/ 2256 h 10000"/>
                  <a:gd name="connsiteX1634" fmla="*/ 3498 w 10785"/>
                  <a:gd name="connsiteY1634" fmla="*/ 2274 h 10000"/>
                  <a:gd name="connsiteX1635" fmla="*/ 3498 w 10785"/>
                  <a:gd name="connsiteY1635" fmla="*/ 2256 h 10000"/>
                  <a:gd name="connsiteX1636" fmla="*/ 3507 w 10785"/>
                  <a:gd name="connsiteY1636" fmla="*/ 2308 h 10000"/>
                  <a:gd name="connsiteX1637" fmla="*/ 3512 w 10785"/>
                  <a:gd name="connsiteY1637" fmla="*/ 2325 h 10000"/>
                  <a:gd name="connsiteX1638" fmla="*/ 3507 w 10785"/>
                  <a:gd name="connsiteY1638" fmla="*/ 2333 h 10000"/>
                  <a:gd name="connsiteX1639" fmla="*/ 3507 w 10785"/>
                  <a:gd name="connsiteY1639" fmla="*/ 2359 h 10000"/>
                  <a:gd name="connsiteX1640" fmla="*/ 3507 w 10785"/>
                  <a:gd name="connsiteY1640" fmla="*/ 2376 h 10000"/>
                  <a:gd name="connsiteX1641" fmla="*/ 3498 w 10785"/>
                  <a:gd name="connsiteY1641" fmla="*/ 2410 h 10000"/>
                  <a:gd name="connsiteX1642" fmla="*/ 3498 w 10785"/>
                  <a:gd name="connsiteY1642" fmla="*/ 2436 h 10000"/>
                  <a:gd name="connsiteX1643" fmla="*/ 3507 w 10785"/>
                  <a:gd name="connsiteY1643" fmla="*/ 2462 h 10000"/>
                  <a:gd name="connsiteX1644" fmla="*/ 3507 w 10785"/>
                  <a:gd name="connsiteY1644" fmla="*/ 2496 h 10000"/>
                  <a:gd name="connsiteX1645" fmla="*/ 3512 w 10785"/>
                  <a:gd name="connsiteY1645" fmla="*/ 2521 h 10000"/>
                  <a:gd name="connsiteX1646" fmla="*/ 3525 w 10785"/>
                  <a:gd name="connsiteY1646" fmla="*/ 2556 h 10000"/>
                  <a:gd name="connsiteX1647" fmla="*/ 3571 w 10785"/>
                  <a:gd name="connsiteY1647" fmla="*/ 2573 h 10000"/>
                  <a:gd name="connsiteX1648" fmla="*/ 3590 w 10785"/>
                  <a:gd name="connsiteY1648" fmla="*/ 2598 h 10000"/>
                  <a:gd name="connsiteX1649" fmla="*/ 3599 w 10785"/>
                  <a:gd name="connsiteY1649" fmla="*/ 2598 h 10000"/>
                  <a:gd name="connsiteX1650" fmla="*/ 3604 w 10785"/>
                  <a:gd name="connsiteY1650" fmla="*/ 2632 h 10000"/>
                  <a:gd name="connsiteX1651" fmla="*/ 3599 w 10785"/>
                  <a:gd name="connsiteY1651" fmla="*/ 2658 h 10000"/>
                  <a:gd name="connsiteX1652" fmla="*/ 3590 w 10785"/>
                  <a:gd name="connsiteY1652" fmla="*/ 2667 h 10000"/>
                  <a:gd name="connsiteX1653" fmla="*/ 3604 w 10785"/>
                  <a:gd name="connsiteY1653" fmla="*/ 2667 h 10000"/>
                  <a:gd name="connsiteX1654" fmla="*/ 3613 w 10785"/>
                  <a:gd name="connsiteY1654" fmla="*/ 2692 h 10000"/>
                  <a:gd name="connsiteX1655" fmla="*/ 3627 w 10785"/>
                  <a:gd name="connsiteY1655" fmla="*/ 2735 h 10000"/>
                  <a:gd name="connsiteX1656" fmla="*/ 3631 w 10785"/>
                  <a:gd name="connsiteY1656" fmla="*/ 2744 h 10000"/>
                  <a:gd name="connsiteX1657" fmla="*/ 3659 w 10785"/>
                  <a:gd name="connsiteY1657" fmla="*/ 2761 h 10000"/>
                  <a:gd name="connsiteX1658" fmla="*/ 3673 w 10785"/>
                  <a:gd name="connsiteY1658" fmla="*/ 2769 h 10000"/>
                  <a:gd name="connsiteX1659" fmla="*/ 3673 w 10785"/>
                  <a:gd name="connsiteY1659" fmla="*/ 2761 h 10000"/>
                  <a:gd name="connsiteX1660" fmla="*/ 3687 w 10785"/>
                  <a:gd name="connsiteY1660" fmla="*/ 2829 h 10000"/>
                  <a:gd name="connsiteX1661" fmla="*/ 3677 w 10785"/>
                  <a:gd name="connsiteY1661" fmla="*/ 2897 h 10000"/>
                  <a:gd name="connsiteX1662" fmla="*/ 3673 w 10785"/>
                  <a:gd name="connsiteY1662" fmla="*/ 2915 h 10000"/>
                  <a:gd name="connsiteX1663" fmla="*/ 3664 w 10785"/>
                  <a:gd name="connsiteY1663" fmla="*/ 2957 h 10000"/>
                  <a:gd name="connsiteX1664" fmla="*/ 3659 w 10785"/>
                  <a:gd name="connsiteY1664" fmla="*/ 2983 h 10000"/>
                  <a:gd name="connsiteX1665" fmla="*/ 3664 w 10785"/>
                  <a:gd name="connsiteY1665" fmla="*/ 3017 h 10000"/>
                  <a:gd name="connsiteX1666" fmla="*/ 3659 w 10785"/>
                  <a:gd name="connsiteY1666" fmla="*/ 3043 h 10000"/>
                  <a:gd name="connsiteX1667" fmla="*/ 3677 w 10785"/>
                  <a:gd name="connsiteY1667" fmla="*/ 3094 h 10000"/>
                  <a:gd name="connsiteX1668" fmla="*/ 3691 w 10785"/>
                  <a:gd name="connsiteY1668" fmla="*/ 3282 h 10000"/>
                  <a:gd name="connsiteX1669" fmla="*/ 3691 w 10785"/>
                  <a:gd name="connsiteY1669" fmla="*/ 3308 h 10000"/>
                  <a:gd name="connsiteX1670" fmla="*/ 3677 w 10785"/>
                  <a:gd name="connsiteY1670" fmla="*/ 3342 h 10000"/>
                  <a:gd name="connsiteX1671" fmla="*/ 3664 w 10785"/>
                  <a:gd name="connsiteY1671" fmla="*/ 3342 h 10000"/>
                  <a:gd name="connsiteX1672" fmla="*/ 3650 w 10785"/>
                  <a:gd name="connsiteY1672" fmla="*/ 3342 h 10000"/>
                  <a:gd name="connsiteX1673" fmla="*/ 3650 w 10785"/>
                  <a:gd name="connsiteY1673" fmla="*/ 3350 h 10000"/>
                  <a:gd name="connsiteX1674" fmla="*/ 3659 w 10785"/>
                  <a:gd name="connsiteY1674" fmla="*/ 3402 h 10000"/>
                  <a:gd name="connsiteX1675" fmla="*/ 3659 w 10785"/>
                  <a:gd name="connsiteY1675" fmla="*/ 3419 h 10000"/>
                  <a:gd name="connsiteX1676" fmla="*/ 3631 w 10785"/>
                  <a:gd name="connsiteY1676" fmla="*/ 3402 h 10000"/>
                  <a:gd name="connsiteX1677" fmla="*/ 3604 w 10785"/>
                  <a:gd name="connsiteY1677" fmla="*/ 3393 h 10000"/>
                  <a:gd name="connsiteX1678" fmla="*/ 3599 w 10785"/>
                  <a:gd name="connsiteY1678" fmla="*/ 3368 h 10000"/>
                  <a:gd name="connsiteX1679" fmla="*/ 3590 w 10785"/>
                  <a:gd name="connsiteY1679" fmla="*/ 3239 h 10000"/>
                  <a:gd name="connsiteX1680" fmla="*/ 3599 w 10785"/>
                  <a:gd name="connsiteY1680" fmla="*/ 3179 h 10000"/>
                  <a:gd name="connsiteX1681" fmla="*/ 3599 w 10785"/>
                  <a:gd name="connsiteY1681" fmla="*/ 3171 h 10000"/>
                  <a:gd name="connsiteX1682" fmla="*/ 3599 w 10785"/>
                  <a:gd name="connsiteY1682" fmla="*/ 3009 h 10000"/>
                  <a:gd name="connsiteX1683" fmla="*/ 3604 w 10785"/>
                  <a:gd name="connsiteY1683" fmla="*/ 2983 h 10000"/>
                  <a:gd name="connsiteX1684" fmla="*/ 3645 w 10785"/>
                  <a:gd name="connsiteY1684" fmla="*/ 2932 h 10000"/>
                  <a:gd name="connsiteX1685" fmla="*/ 3650 w 10785"/>
                  <a:gd name="connsiteY1685" fmla="*/ 2872 h 10000"/>
                  <a:gd name="connsiteX1686" fmla="*/ 3659 w 10785"/>
                  <a:gd name="connsiteY1686" fmla="*/ 2855 h 10000"/>
                  <a:gd name="connsiteX1687" fmla="*/ 3659 w 10785"/>
                  <a:gd name="connsiteY1687" fmla="*/ 2821 h 10000"/>
                  <a:gd name="connsiteX1688" fmla="*/ 3631 w 10785"/>
                  <a:gd name="connsiteY1688" fmla="*/ 2795 h 10000"/>
                  <a:gd name="connsiteX1689" fmla="*/ 3567 w 10785"/>
                  <a:gd name="connsiteY1689" fmla="*/ 2821 h 10000"/>
                  <a:gd name="connsiteX1690" fmla="*/ 3544 w 10785"/>
                  <a:gd name="connsiteY1690" fmla="*/ 2795 h 10000"/>
                  <a:gd name="connsiteX1691" fmla="*/ 3530 w 10785"/>
                  <a:gd name="connsiteY1691" fmla="*/ 2769 h 10000"/>
                  <a:gd name="connsiteX1692" fmla="*/ 3530 w 10785"/>
                  <a:gd name="connsiteY1692" fmla="*/ 2786 h 10000"/>
                  <a:gd name="connsiteX1693" fmla="*/ 3498 w 10785"/>
                  <a:gd name="connsiteY1693" fmla="*/ 2692 h 10000"/>
                  <a:gd name="connsiteX1694" fmla="*/ 3498 w 10785"/>
                  <a:gd name="connsiteY1694" fmla="*/ 2667 h 10000"/>
                  <a:gd name="connsiteX1695" fmla="*/ 3442 w 10785"/>
                  <a:gd name="connsiteY1695" fmla="*/ 2607 h 10000"/>
                  <a:gd name="connsiteX1696" fmla="*/ 3433 w 10785"/>
                  <a:gd name="connsiteY1696" fmla="*/ 2581 h 10000"/>
                  <a:gd name="connsiteX1697" fmla="*/ 3396 w 10785"/>
                  <a:gd name="connsiteY1697" fmla="*/ 2556 h 10000"/>
                  <a:gd name="connsiteX1698" fmla="*/ 3318 w 10785"/>
                  <a:gd name="connsiteY1698" fmla="*/ 2556 h 10000"/>
                  <a:gd name="connsiteX1699" fmla="*/ 3304 w 10785"/>
                  <a:gd name="connsiteY1699" fmla="*/ 2607 h 10000"/>
                  <a:gd name="connsiteX1700" fmla="*/ 3276 w 10785"/>
                  <a:gd name="connsiteY1700" fmla="*/ 2632 h 10000"/>
                  <a:gd name="connsiteX1701" fmla="*/ 3272 w 10785"/>
                  <a:gd name="connsiteY1701" fmla="*/ 2667 h 10000"/>
                  <a:gd name="connsiteX1702" fmla="*/ 3304 w 10785"/>
                  <a:gd name="connsiteY1702" fmla="*/ 2667 h 10000"/>
                  <a:gd name="connsiteX1703" fmla="*/ 3323 w 10785"/>
                  <a:gd name="connsiteY1703" fmla="*/ 2692 h 10000"/>
                  <a:gd name="connsiteX1704" fmla="*/ 3318 w 10785"/>
                  <a:gd name="connsiteY1704" fmla="*/ 2735 h 10000"/>
                  <a:gd name="connsiteX1705" fmla="*/ 3304 w 10785"/>
                  <a:gd name="connsiteY1705" fmla="*/ 2761 h 10000"/>
                  <a:gd name="connsiteX1706" fmla="*/ 3276 w 10785"/>
                  <a:gd name="connsiteY1706" fmla="*/ 2769 h 10000"/>
                  <a:gd name="connsiteX1707" fmla="*/ 3263 w 10785"/>
                  <a:gd name="connsiteY1707" fmla="*/ 2795 h 10000"/>
                  <a:gd name="connsiteX1708" fmla="*/ 3235 w 10785"/>
                  <a:gd name="connsiteY1708" fmla="*/ 2803 h 10000"/>
                  <a:gd name="connsiteX1709" fmla="*/ 3235 w 10785"/>
                  <a:gd name="connsiteY1709" fmla="*/ 2786 h 10000"/>
                  <a:gd name="connsiteX1710" fmla="*/ 3212 w 10785"/>
                  <a:gd name="connsiteY1710" fmla="*/ 2709 h 10000"/>
                  <a:gd name="connsiteX1711" fmla="*/ 3198 w 10785"/>
                  <a:gd name="connsiteY1711" fmla="*/ 2709 h 10000"/>
                  <a:gd name="connsiteX1712" fmla="*/ 3184 w 10785"/>
                  <a:gd name="connsiteY1712" fmla="*/ 2735 h 10000"/>
                  <a:gd name="connsiteX1713" fmla="*/ 3189 w 10785"/>
                  <a:gd name="connsiteY1713" fmla="*/ 2761 h 10000"/>
                  <a:gd name="connsiteX1714" fmla="*/ 3203 w 10785"/>
                  <a:gd name="connsiteY1714" fmla="*/ 2855 h 10000"/>
                  <a:gd name="connsiteX1715" fmla="*/ 3212 w 10785"/>
                  <a:gd name="connsiteY1715" fmla="*/ 2872 h 10000"/>
                  <a:gd name="connsiteX1716" fmla="*/ 3235 w 10785"/>
                  <a:gd name="connsiteY1716" fmla="*/ 2906 h 10000"/>
                  <a:gd name="connsiteX1717" fmla="*/ 3258 w 10785"/>
                  <a:gd name="connsiteY1717" fmla="*/ 2915 h 10000"/>
                  <a:gd name="connsiteX1718" fmla="*/ 3272 w 10785"/>
                  <a:gd name="connsiteY1718" fmla="*/ 2957 h 10000"/>
                  <a:gd name="connsiteX1719" fmla="*/ 3276 w 10785"/>
                  <a:gd name="connsiteY1719" fmla="*/ 2957 h 10000"/>
                  <a:gd name="connsiteX1720" fmla="*/ 3286 w 10785"/>
                  <a:gd name="connsiteY1720" fmla="*/ 2966 h 10000"/>
                  <a:gd name="connsiteX1721" fmla="*/ 3300 w 10785"/>
                  <a:gd name="connsiteY1721" fmla="*/ 2957 h 10000"/>
                  <a:gd name="connsiteX1722" fmla="*/ 3309 w 10785"/>
                  <a:gd name="connsiteY1722" fmla="*/ 2932 h 10000"/>
                  <a:gd name="connsiteX1723" fmla="*/ 3304 w 10785"/>
                  <a:gd name="connsiteY1723" fmla="*/ 2966 h 10000"/>
                  <a:gd name="connsiteX1724" fmla="*/ 3309 w 10785"/>
                  <a:gd name="connsiteY1724" fmla="*/ 2983 h 10000"/>
                  <a:gd name="connsiteX1725" fmla="*/ 3323 w 10785"/>
                  <a:gd name="connsiteY1725" fmla="*/ 2966 h 10000"/>
                  <a:gd name="connsiteX1726" fmla="*/ 3323 w 10785"/>
                  <a:gd name="connsiteY1726" fmla="*/ 3043 h 10000"/>
                  <a:gd name="connsiteX1727" fmla="*/ 3346 w 10785"/>
                  <a:gd name="connsiteY1727" fmla="*/ 3068 h 10000"/>
                  <a:gd name="connsiteX1728" fmla="*/ 3346 w 10785"/>
                  <a:gd name="connsiteY1728" fmla="*/ 3094 h 10000"/>
                  <a:gd name="connsiteX1729" fmla="*/ 3323 w 10785"/>
                  <a:gd name="connsiteY1729" fmla="*/ 3094 h 10000"/>
                  <a:gd name="connsiteX1730" fmla="*/ 3309 w 10785"/>
                  <a:gd name="connsiteY1730" fmla="*/ 3077 h 10000"/>
                  <a:gd name="connsiteX1731" fmla="*/ 3304 w 10785"/>
                  <a:gd name="connsiteY1731" fmla="*/ 3051 h 10000"/>
                  <a:gd name="connsiteX1732" fmla="*/ 3300 w 10785"/>
                  <a:gd name="connsiteY1732" fmla="*/ 3043 h 10000"/>
                  <a:gd name="connsiteX1733" fmla="*/ 3286 w 10785"/>
                  <a:gd name="connsiteY1733" fmla="*/ 3017 h 10000"/>
                  <a:gd name="connsiteX1734" fmla="*/ 3152 w 10785"/>
                  <a:gd name="connsiteY1734" fmla="*/ 2966 h 10000"/>
                  <a:gd name="connsiteX1735" fmla="*/ 3129 w 10785"/>
                  <a:gd name="connsiteY1735" fmla="*/ 2915 h 10000"/>
                  <a:gd name="connsiteX1736" fmla="*/ 3129 w 10785"/>
                  <a:gd name="connsiteY1736" fmla="*/ 2906 h 10000"/>
                  <a:gd name="connsiteX1737" fmla="*/ 3152 w 10785"/>
                  <a:gd name="connsiteY1737" fmla="*/ 2906 h 10000"/>
                  <a:gd name="connsiteX1738" fmla="*/ 3152 w 10785"/>
                  <a:gd name="connsiteY1738" fmla="*/ 2846 h 10000"/>
                  <a:gd name="connsiteX1739" fmla="*/ 3138 w 10785"/>
                  <a:gd name="connsiteY1739" fmla="*/ 2795 h 10000"/>
                  <a:gd name="connsiteX1740" fmla="*/ 3138 w 10785"/>
                  <a:gd name="connsiteY1740" fmla="*/ 2769 h 10000"/>
                  <a:gd name="connsiteX1741" fmla="*/ 3143 w 10785"/>
                  <a:gd name="connsiteY1741" fmla="*/ 2718 h 10000"/>
                  <a:gd name="connsiteX1742" fmla="*/ 3129 w 10785"/>
                  <a:gd name="connsiteY1742" fmla="*/ 2692 h 10000"/>
                  <a:gd name="connsiteX1743" fmla="*/ 3143 w 10785"/>
                  <a:gd name="connsiteY1743" fmla="*/ 2667 h 10000"/>
                  <a:gd name="connsiteX1744" fmla="*/ 3157 w 10785"/>
                  <a:gd name="connsiteY1744" fmla="*/ 2581 h 10000"/>
                  <a:gd name="connsiteX1745" fmla="*/ 3143 w 10785"/>
                  <a:gd name="connsiteY1745" fmla="*/ 2496 h 10000"/>
                  <a:gd name="connsiteX1746" fmla="*/ 3157 w 10785"/>
                  <a:gd name="connsiteY1746" fmla="*/ 2487 h 10000"/>
                  <a:gd name="connsiteX1747" fmla="*/ 3143 w 10785"/>
                  <a:gd name="connsiteY1747" fmla="*/ 2444 h 10000"/>
                  <a:gd name="connsiteX1748" fmla="*/ 3143 w 10785"/>
                  <a:gd name="connsiteY1748" fmla="*/ 2419 h 10000"/>
                  <a:gd name="connsiteX1749" fmla="*/ 3143 w 10785"/>
                  <a:gd name="connsiteY1749" fmla="*/ 2410 h 10000"/>
                  <a:gd name="connsiteX1750" fmla="*/ 3124 w 10785"/>
                  <a:gd name="connsiteY1750" fmla="*/ 2376 h 10000"/>
                  <a:gd name="connsiteX1751" fmla="*/ 3115 w 10785"/>
                  <a:gd name="connsiteY1751" fmla="*/ 2350 h 10000"/>
                  <a:gd name="connsiteX1752" fmla="*/ 3101 w 10785"/>
                  <a:gd name="connsiteY1752" fmla="*/ 2359 h 10000"/>
                  <a:gd name="connsiteX1753" fmla="*/ 3115 w 10785"/>
                  <a:gd name="connsiteY1753" fmla="*/ 2581 h 10000"/>
                  <a:gd name="connsiteX1754" fmla="*/ 3111 w 10785"/>
                  <a:gd name="connsiteY1754" fmla="*/ 2624 h 10000"/>
                  <a:gd name="connsiteX1755" fmla="*/ 3009 w 10785"/>
                  <a:gd name="connsiteY1755" fmla="*/ 2761 h 10000"/>
                  <a:gd name="connsiteX1756" fmla="*/ 3009 w 10785"/>
                  <a:gd name="connsiteY1756" fmla="*/ 2803 h 10000"/>
                  <a:gd name="connsiteX1757" fmla="*/ 3005 w 10785"/>
                  <a:gd name="connsiteY1757" fmla="*/ 2829 h 10000"/>
                  <a:gd name="connsiteX1758" fmla="*/ 2982 w 10785"/>
                  <a:gd name="connsiteY1758" fmla="*/ 2872 h 10000"/>
                  <a:gd name="connsiteX1759" fmla="*/ 2982 w 10785"/>
                  <a:gd name="connsiteY1759" fmla="*/ 2880 h 10000"/>
                  <a:gd name="connsiteX1760" fmla="*/ 3037 w 10785"/>
                  <a:gd name="connsiteY1760" fmla="*/ 3034 h 10000"/>
                  <a:gd name="connsiteX1761" fmla="*/ 3041 w 10785"/>
                  <a:gd name="connsiteY1761" fmla="*/ 3103 h 10000"/>
                  <a:gd name="connsiteX1762" fmla="*/ 3069 w 10785"/>
                  <a:gd name="connsiteY1762" fmla="*/ 3188 h 10000"/>
                  <a:gd name="connsiteX1763" fmla="*/ 3055 w 10785"/>
                  <a:gd name="connsiteY1763" fmla="*/ 3325 h 10000"/>
                  <a:gd name="connsiteX1764" fmla="*/ 3037 w 10785"/>
                  <a:gd name="connsiteY1764" fmla="*/ 3368 h 10000"/>
                  <a:gd name="connsiteX1765" fmla="*/ 3037 w 10785"/>
                  <a:gd name="connsiteY1765" fmla="*/ 3444 h 10000"/>
                  <a:gd name="connsiteX1766" fmla="*/ 3028 w 10785"/>
                  <a:gd name="connsiteY1766" fmla="*/ 3453 h 10000"/>
                  <a:gd name="connsiteX1767" fmla="*/ 3023 w 10785"/>
                  <a:gd name="connsiteY1767" fmla="*/ 3530 h 10000"/>
                  <a:gd name="connsiteX1768" fmla="*/ 3051 w 10785"/>
                  <a:gd name="connsiteY1768" fmla="*/ 3624 h 10000"/>
                  <a:gd name="connsiteX1769" fmla="*/ 3037 w 10785"/>
                  <a:gd name="connsiteY1769" fmla="*/ 3718 h 10000"/>
                  <a:gd name="connsiteX1770" fmla="*/ 3041 w 10785"/>
                  <a:gd name="connsiteY1770" fmla="*/ 3752 h 10000"/>
                  <a:gd name="connsiteX1771" fmla="*/ 3055 w 10785"/>
                  <a:gd name="connsiteY1771" fmla="*/ 3761 h 10000"/>
                  <a:gd name="connsiteX1772" fmla="*/ 3078 w 10785"/>
                  <a:gd name="connsiteY1772" fmla="*/ 3752 h 10000"/>
                  <a:gd name="connsiteX1773" fmla="*/ 3092 w 10785"/>
                  <a:gd name="connsiteY1773" fmla="*/ 3752 h 10000"/>
                  <a:gd name="connsiteX1774" fmla="*/ 3129 w 10785"/>
                  <a:gd name="connsiteY1774" fmla="*/ 3761 h 10000"/>
                  <a:gd name="connsiteX1775" fmla="*/ 3129 w 10785"/>
                  <a:gd name="connsiteY1775" fmla="*/ 3735 h 10000"/>
                  <a:gd name="connsiteX1776" fmla="*/ 3157 w 10785"/>
                  <a:gd name="connsiteY1776" fmla="*/ 3718 h 10000"/>
                  <a:gd name="connsiteX1777" fmla="*/ 3184 w 10785"/>
                  <a:gd name="connsiteY1777" fmla="*/ 3718 h 10000"/>
                  <a:gd name="connsiteX1778" fmla="*/ 3290 w 10785"/>
                  <a:gd name="connsiteY1778" fmla="*/ 3838 h 10000"/>
                  <a:gd name="connsiteX1779" fmla="*/ 3300 w 10785"/>
                  <a:gd name="connsiteY1779" fmla="*/ 3846 h 10000"/>
                  <a:gd name="connsiteX1780" fmla="*/ 3300 w 10785"/>
                  <a:gd name="connsiteY1780" fmla="*/ 3915 h 10000"/>
                  <a:gd name="connsiteX1781" fmla="*/ 3318 w 10785"/>
                  <a:gd name="connsiteY1781" fmla="*/ 4000 h 10000"/>
                  <a:gd name="connsiteX1782" fmla="*/ 3323 w 10785"/>
                  <a:gd name="connsiteY1782" fmla="*/ 4000 h 10000"/>
                  <a:gd name="connsiteX1783" fmla="*/ 3323 w 10785"/>
                  <a:gd name="connsiteY1783" fmla="*/ 4034 h 10000"/>
                  <a:gd name="connsiteX1784" fmla="*/ 3318 w 10785"/>
                  <a:gd name="connsiteY1784" fmla="*/ 4051 h 10000"/>
                  <a:gd name="connsiteX1785" fmla="*/ 3300 w 10785"/>
                  <a:gd name="connsiteY1785" fmla="*/ 4051 h 10000"/>
                  <a:gd name="connsiteX1786" fmla="*/ 3290 w 10785"/>
                  <a:gd name="connsiteY1786" fmla="*/ 4077 h 10000"/>
                  <a:gd name="connsiteX1787" fmla="*/ 3286 w 10785"/>
                  <a:gd name="connsiteY1787" fmla="*/ 4103 h 10000"/>
                  <a:gd name="connsiteX1788" fmla="*/ 3286 w 10785"/>
                  <a:gd name="connsiteY1788" fmla="*/ 4197 h 10000"/>
                  <a:gd name="connsiteX1789" fmla="*/ 3290 w 10785"/>
                  <a:gd name="connsiteY1789" fmla="*/ 4214 h 10000"/>
                  <a:gd name="connsiteX1790" fmla="*/ 3304 w 10785"/>
                  <a:gd name="connsiteY1790" fmla="*/ 4214 h 10000"/>
                  <a:gd name="connsiteX1791" fmla="*/ 3323 w 10785"/>
                  <a:gd name="connsiteY1791" fmla="*/ 4239 h 10000"/>
                  <a:gd name="connsiteX1792" fmla="*/ 3350 w 10785"/>
                  <a:gd name="connsiteY1792" fmla="*/ 4222 h 10000"/>
                  <a:gd name="connsiteX1793" fmla="*/ 3369 w 10785"/>
                  <a:gd name="connsiteY1793" fmla="*/ 4256 h 10000"/>
                  <a:gd name="connsiteX1794" fmla="*/ 3369 w 10785"/>
                  <a:gd name="connsiteY1794" fmla="*/ 4256 h 10000"/>
                  <a:gd name="connsiteX1795" fmla="*/ 3336 w 10785"/>
                  <a:gd name="connsiteY1795" fmla="*/ 4274 h 10000"/>
                  <a:gd name="connsiteX1796" fmla="*/ 3323 w 10785"/>
                  <a:gd name="connsiteY1796" fmla="*/ 4274 h 10000"/>
                  <a:gd name="connsiteX1797" fmla="*/ 3290 w 10785"/>
                  <a:gd name="connsiteY1797" fmla="*/ 4274 h 10000"/>
                  <a:gd name="connsiteX1798" fmla="*/ 3286 w 10785"/>
                  <a:gd name="connsiteY1798" fmla="*/ 4239 h 10000"/>
                  <a:gd name="connsiteX1799" fmla="*/ 3263 w 10785"/>
                  <a:gd name="connsiteY1799" fmla="*/ 4214 h 10000"/>
                  <a:gd name="connsiteX1800" fmla="*/ 3258 w 10785"/>
                  <a:gd name="connsiteY1800" fmla="*/ 4188 h 10000"/>
                  <a:gd name="connsiteX1801" fmla="*/ 3263 w 10785"/>
                  <a:gd name="connsiteY1801" fmla="*/ 4171 h 10000"/>
                  <a:gd name="connsiteX1802" fmla="*/ 3263 w 10785"/>
                  <a:gd name="connsiteY1802" fmla="*/ 4103 h 10000"/>
                  <a:gd name="connsiteX1803" fmla="*/ 3276 w 10785"/>
                  <a:gd name="connsiteY1803" fmla="*/ 4060 h 10000"/>
                  <a:gd name="connsiteX1804" fmla="*/ 3272 w 10785"/>
                  <a:gd name="connsiteY1804" fmla="*/ 4051 h 10000"/>
                  <a:gd name="connsiteX1805" fmla="*/ 3263 w 10785"/>
                  <a:gd name="connsiteY1805" fmla="*/ 4051 h 10000"/>
                  <a:gd name="connsiteX1806" fmla="*/ 3263 w 10785"/>
                  <a:gd name="connsiteY1806" fmla="*/ 4034 h 10000"/>
                  <a:gd name="connsiteX1807" fmla="*/ 3263 w 10785"/>
                  <a:gd name="connsiteY1807" fmla="*/ 4000 h 10000"/>
                  <a:gd name="connsiteX1808" fmla="*/ 3272 w 10785"/>
                  <a:gd name="connsiteY1808" fmla="*/ 4000 h 10000"/>
                  <a:gd name="connsiteX1809" fmla="*/ 3272 w 10785"/>
                  <a:gd name="connsiteY1809" fmla="*/ 3974 h 10000"/>
                  <a:gd name="connsiteX1810" fmla="*/ 3272 w 10785"/>
                  <a:gd name="connsiteY1810" fmla="*/ 3966 h 10000"/>
                  <a:gd name="connsiteX1811" fmla="*/ 3272 w 10785"/>
                  <a:gd name="connsiteY1811" fmla="*/ 3949 h 10000"/>
                  <a:gd name="connsiteX1812" fmla="*/ 3258 w 10785"/>
                  <a:gd name="connsiteY1812" fmla="*/ 3923 h 10000"/>
                  <a:gd name="connsiteX1813" fmla="*/ 3249 w 10785"/>
                  <a:gd name="connsiteY1813" fmla="*/ 3915 h 10000"/>
                  <a:gd name="connsiteX1814" fmla="*/ 3244 w 10785"/>
                  <a:gd name="connsiteY1814" fmla="*/ 3897 h 10000"/>
                  <a:gd name="connsiteX1815" fmla="*/ 3230 w 10785"/>
                  <a:gd name="connsiteY1815" fmla="*/ 3889 h 10000"/>
                  <a:gd name="connsiteX1816" fmla="*/ 3230 w 10785"/>
                  <a:gd name="connsiteY1816" fmla="*/ 3863 h 10000"/>
                  <a:gd name="connsiteX1817" fmla="*/ 3230 w 10785"/>
                  <a:gd name="connsiteY1817" fmla="*/ 3838 h 10000"/>
                  <a:gd name="connsiteX1818" fmla="*/ 3226 w 10785"/>
                  <a:gd name="connsiteY1818" fmla="*/ 3803 h 10000"/>
                  <a:gd name="connsiteX1819" fmla="*/ 3138 w 10785"/>
                  <a:gd name="connsiteY1819" fmla="*/ 3838 h 10000"/>
                  <a:gd name="connsiteX1820" fmla="*/ 3078 w 10785"/>
                  <a:gd name="connsiteY1820" fmla="*/ 3889 h 10000"/>
                  <a:gd name="connsiteX1821" fmla="*/ 3078 w 10785"/>
                  <a:gd name="connsiteY1821" fmla="*/ 3940 h 10000"/>
                  <a:gd name="connsiteX1822" fmla="*/ 3069 w 10785"/>
                  <a:gd name="connsiteY1822" fmla="*/ 3983 h 10000"/>
                  <a:gd name="connsiteX1823" fmla="*/ 3069 w 10785"/>
                  <a:gd name="connsiteY1823" fmla="*/ 4009 h 10000"/>
                  <a:gd name="connsiteX1824" fmla="*/ 3078 w 10785"/>
                  <a:gd name="connsiteY1824" fmla="*/ 4026 h 10000"/>
                  <a:gd name="connsiteX1825" fmla="*/ 3083 w 10785"/>
                  <a:gd name="connsiteY1825" fmla="*/ 4034 h 10000"/>
                  <a:gd name="connsiteX1826" fmla="*/ 3092 w 10785"/>
                  <a:gd name="connsiteY1826" fmla="*/ 4060 h 10000"/>
                  <a:gd name="connsiteX1827" fmla="*/ 3092 w 10785"/>
                  <a:gd name="connsiteY1827" fmla="*/ 4077 h 10000"/>
                  <a:gd name="connsiteX1828" fmla="*/ 3097 w 10785"/>
                  <a:gd name="connsiteY1828" fmla="*/ 4103 h 10000"/>
                  <a:gd name="connsiteX1829" fmla="*/ 3101 w 10785"/>
                  <a:gd name="connsiteY1829" fmla="*/ 4162 h 10000"/>
                  <a:gd name="connsiteX1830" fmla="*/ 3097 w 10785"/>
                  <a:gd name="connsiteY1830" fmla="*/ 4222 h 10000"/>
                  <a:gd name="connsiteX1831" fmla="*/ 3041 w 10785"/>
                  <a:gd name="connsiteY1831" fmla="*/ 4325 h 10000"/>
                  <a:gd name="connsiteX1832" fmla="*/ 3037 w 10785"/>
                  <a:gd name="connsiteY1832" fmla="*/ 4419 h 10000"/>
                  <a:gd name="connsiteX1833" fmla="*/ 3018 w 10785"/>
                  <a:gd name="connsiteY1833" fmla="*/ 4470 h 10000"/>
                  <a:gd name="connsiteX1834" fmla="*/ 2991 w 10785"/>
                  <a:gd name="connsiteY1834" fmla="*/ 4513 h 10000"/>
                  <a:gd name="connsiteX1835" fmla="*/ 2977 w 10785"/>
                  <a:gd name="connsiteY1835" fmla="*/ 4530 h 10000"/>
                  <a:gd name="connsiteX1836" fmla="*/ 2945 w 10785"/>
                  <a:gd name="connsiteY1836" fmla="*/ 4556 h 10000"/>
                  <a:gd name="connsiteX1837" fmla="*/ 2935 w 10785"/>
                  <a:gd name="connsiteY1837" fmla="*/ 4581 h 10000"/>
                  <a:gd name="connsiteX1838" fmla="*/ 2949 w 10785"/>
                  <a:gd name="connsiteY1838" fmla="*/ 4624 h 10000"/>
                  <a:gd name="connsiteX1839" fmla="*/ 2945 w 10785"/>
                  <a:gd name="connsiteY1839" fmla="*/ 4658 h 10000"/>
                  <a:gd name="connsiteX1840" fmla="*/ 2922 w 10785"/>
                  <a:gd name="connsiteY1840" fmla="*/ 4667 h 10000"/>
                  <a:gd name="connsiteX1841" fmla="*/ 2876 w 10785"/>
                  <a:gd name="connsiteY1841" fmla="*/ 4632 h 10000"/>
                  <a:gd name="connsiteX1842" fmla="*/ 2857 w 10785"/>
                  <a:gd name="connsiteY1842" fmla="*/ 4632 h 10000"/>
                  <a:gd name="connsiteX1843" fmla="*/ 2820 w 10785"/>
                  <a:gd name="connsiteY1843" fmla="*/ 4641 h 10000"/>
                  <a:gd name="connsiteX1844" fmla="*/ 2797 w 10785"/>
                  <a:gd name="connsiteY1844" fmla="*/ 4632 h 10000"/>
                  <a:gd name="connsiteX1845" fmla="*/ 2788 w 10785"/>
                  <a:gd name="connsiteY1845" fmla="*/ 4624 h 10000"/>
                  <a:gd name="connsiteX1846" fmla="*/ 2788 w 10785"/>
                  <a:gd name="connsiteY1846" fmla="*/ 4598 h 10000"/>
                  <a:gd name="connsiteX1847" fmla="*/ 2797 w 10785"/>
                  <a:gd name="connsiteY1847" fmla="*/ 4581 h 10000"/>
                  <a:gd name="connsiteX1848" fmla="*/ 2788 w 10785"/>
                  <a:gd name="connsiteY1848" fmla="*/ 4530 h 10000"/>
                  <a:gd name="connsiteX1849" fmla="*/ 2774 w 10785"/>
                  <a:gd name="connsiteY1849" fmla="*/ 4530 h 10000"/>
                  <a:gd name="connsiteX1850" fmla="*/ 2770 w 10785"/>
                  <a:gd name="connsiteY1850" fmla="*/ 4513 h 10000"/>
                  <a:gd name="connsiteX1851" fmla="*/ 2774 w 10785"/>
                  <a:gd name="connsiteY1851" fmla="*/ 4513 h 10000"/>
                  <a:gd name="connsiteX1852" fmla="*/ 2788 w 10785"/>
                  <a:gd name="connsiteY1852" fmla="*/ 4496 h 10000"/>
                  <a:gd name="connsiteX1853" fmla="*/ 2802 w 10785"/>
                  <a:gd name="connsiteY1853" fmla="*/ 4513 h 10000"/>
                  <a:gd name="connsiteX1854" fmla="*/ 2811 w 10785"/>
                  <a:gd name="connsiteY1854" fmla="*/ 4530 h 10000"/>
                  <a:gd name="connsiteX1855" fmla="*/ 2820 w 10785"/>
                  <a:gd name="connsiteY1855" fmla="*/ 4521 h 10000"/>
                  <a:gd name="connsiteX1856" fmla="*/ 2829 w 10785"/>
                  <a:gd name="connsiteY1856" fmla="*/ 4513 h 10000"/>
                  <a:gd name="connsiteX1857" fmla="*/ 2843 w 10785"/>
                  <a:gd name="connsiteY1857" fmla="*/ 4513 h 10000"/>
                  <a:gd name="connsiteX1858" fmla="*/ 2848 w 10785"/>
                  <a:gd name="connsiteY1858" fmla="*/ 4470 h 10000"/>
                  <a:gd name="connsiteX1859" fmla="*/ 2862 w 10785"/>
                  <a:gd name="connsiteY1859" fmla="*/ 4487 h 10000"/>
                  <a:gd name="connsiteX1860" fmla="*/ 2876 w 10785"/>
                  <a:gd name="connsiteY1860" fmla="*/ 4470 h 10000"/>
                  <a:gd name="connsiteX1861" fmla="*/ 2880 w 10785"/>
                  <a:gd name="connsiteY1861" fmla="*/ 4462 h 10000"/>
                  <a:gd name="connsiteX1862" fmla="*/ 2889 w 10785"/>
                  <a:gd name="connsiteY1862" fmla="*/ 4444 h 10000"/>
                  <a:gd name="connsiteX1863" fmla="*/ 2894 w 10785"/>
                  <a:gd name="connsiteY1863" fmla="*/ 4462 h 10000"/>
                  <a:gd name="connsiteX1864" fmla="*/ 2917 w 10785"/>
                  <a:gd name="connsiteY1864" fmla="*/ 4444 h 10000"/>
                  <a:gd name="connsiteX1865" fmla="*/ 2922 w 10785"/>
                  <a:gd name="connsiteY1865" fmla="*/ 4436 h 10000"/>
                  <a:gd name="connsiteX1866" fmla="*/ 2917 w 10785"/>
                  <a:gd name="connsiteY1866" fmla="*/ 4410 h 10000"/>
                  <a:gd name="connsiteX1867" fmla="*/ 2894 w 10785"/>
                  <a:gd name="connsiteY1867" fmla="*/ 4410 h 10000"/>
                  <a:gd name="connsiteX1868" fmla="*/ 2889 w 10785"/>
                  <a:gd name="connsiteY1868" fmla="*/ 4419 h 10000"/>
                  <a:gd name="connsiteX1869" fmla="*/ 2876 w 10785"/>
                  <a:gd name="connsiteY1869" fmla="*/ 4410 h 10000"/>
                  <a:gd name="connsiteX1870" fmla="*/ 2880 w 10785"/>
                  <a:gd name="connsiteY1870" fmla="*/ 4376 h 10000"/>
                  <a:gd name="connsiteX1871" fmla="*/ 2903 w 10785"/>
                  <a:gd name="connsiteY1871" fmla="*/ 4393 h 10000"/>
                  <a:gd name="connsiteX1872" fmla="*/ 2931 w 10785"/>
                  <a:gd name="connsiteY1872" fmla="*/ 4393 h 10000"/>
                  <a:gd name="connsiteX1873" fmla="*/ 2931 w 10785"/>
                  <a:gd name="connsiteY1873" fmla="*/ 4385 h 10000"/>
                  <a:gd name="connsiteX1874" fmla="*/ 2931 w 10785"/>
                  <a:gd name="connsiteY1874" fmla="*/ 4350 h 10000"/>
                  <a:gd name="connsiteX1875" fmla="*/ 2945 w 10785"/>
                  <a:gd name="connsiteY1875" fmla="*/ 4350 h 10000"/>
                  <a:gd name="connsiteX1876" fmla="*/ 2949 w 10785"/>
                  <a:gd name="connsiteY1876" fmla="*/ 4325 h 10000"/>
                  <a:gd name="connsiteX1877" fmla="*/ 2963 w 10785"/>
                  <a:gd name="connsiteY1877" fmla="*/ 4256 h 10000"/>
                  <a:gd name="connsiteX1878" fmla="*/ 2982 w 10785"/>
                  <a:gd name="connsiteY1878" fmla="*/ 4239 h 10000"/>
                  <a:gd name="connsiteX1879" fmla="*/ 2991 w 10785"/>
                  <a:gd name="connsiteY1879" fmla="*/ 4214 h 10000"/>
                  <a:gd name="connsiteX1880" fmla="*/ 2991 w 10785"/>
                  <a:gd name="connsiteY1880" fmla="*/ 4197 h 10000"/>
                  <a:gd name="connsiteX1881" fmla="*/ 2995 w 10785"/>
                  <a:gd name="connsiteY1881" fmla="*/ 4171 h 10000"/>
                  <a:gd name="connsiteX1882" fmla="*/ 2991 w 10785"/>
                  <a:gd name="connsiteY1882" fmla="*/ 4077 h 10000"/>
                  <a:gd name="connsiteX1883" fmla="*/ 2995 w 10785"/>
                  <a:gd name="connsiteY1883" fmla="*/ 4034 h 10000"/>
                  <a:gd name="connsiteX1884" fmla="*/ 3018 w 10785"/>
                  <a:gd name="connsiteY1884" fmla="*/ 3983 h 10000"/>
                  <a:gd name="connsiteX1885" fmla="*/ 3018 w 10785"/>
                  <a:gd name="connsiteY1885" fmla="*/ 3915 h 10000"/>
                  <a:gd name="connsiteX1886" fmla="*/ 2949 w 10785"/>
                  <a:gd name="connsiteY1886" fmla="*/ 3778 h 10000"/>
                  <a:gd name="connsiteX1887" fmla="*/ 2954 w 10785"/>
                  <a:gd name="connsiteY1887" fmla="*/ 3675 h 10000"/>
                  <a:gd name="connsiteX1888" fmla="*/ 2954 w 10785"/>
                  <a:gd name="connsiteY1888" fmla="*/ 3650 h 10000"/>
                  <a:gd name="connsiteX1889" fmla="*/ 2963 w 10785"/>
                  <a:gd name="connsiteY1889" fmla="*/ 3624 h 10000"/>
                  <a:gd name="connsiteX1890" fmla="*/ 2954 w 10785"/>
                  <a:gd name="connsiteY1890" fmla="*/ 3564 h 10000"/>
                  <a:gd name="connsiteX1891" fmla="*/ 2963 w 10785"/>
                  <a:gd name="connsiteY1891" fmla="*/ 3538 h 10000"/>
                  <a:gd name="connsiteX1892" fmla="*/ 2963 w 10785"/>
                  <a:gd name="connsiteY1892" fmla="*/ 3487 h 10000"/>
                  <a:gd name="connsiteX1893" fmla="*/ 2963 w 10785"/>
                  <a:gd name="connsiteY1893" fmla="*/ 3479 h 10000"/>
                  <a:gd name="connsiteX1894" fmla="*/ 2963 w 10785"/>
                  <a:gd name="connsiteY1894" fmla="*/ 3462 h 10000"/>
                  <a:gd name="connsiteX1895" fmla="*/ 2954 w 10785"/>
                  <a:gd name="connsiteY1895" fmla="*/ 3453 h 10000"/>
                  <a:gd name="connsiteX1896" fmla="*/ 2954 w 10785"/>
                  <a:gd name="connsiteY1896" fmla="*/ 3444 h 10000"/>
                  <a:gd name="connsiteX1897" fmla="*/ 2954 w 10785"/>
                  <a:gd name="connsiteY1897" fmla="*/ 3402 h 10000"/>
                  <a:gd name="connsiteX1898" fmla="*/ 2954 w 10785"/>
                  <a:gd name="connsiteY1898" fmla="*/ 3393 h 10000"/>
                  <a:gd name="connsiteX1899" fmla="*/ 2949 w 10785"/>
                  <a:gd name="connsiteY1899" fmla="*/ 3376 h 10000"/>
                  <a:gd name="connsiteX1900" fmla="*/ 2949 w 10785"/>
                  <a:gd name="connsiteY1900" fmla="*/ 3342 h 10000"/>
                  <a:gd name="connsiteX1901" fmla="*/ 2949 w 10785"/>
                  <a:gd name="connsiteY1901" fmla="*/ 3316 h 10000"/>
                  <a:gd name="connsiteX1902" fmla="*/ 2968 w 10785"/>
                  <a:gd name="connsiteY1902" fmla="*/ 3291 h 10000"/>
                  <a:gd name="connsiteX1903" fmla="*/ 2963 w 10785"/>
                  <a:gd name="connsiteY1903" fmla="*/ 3205 h 10000"/>
                  <a:gd name="connsiteX1904" fmla="*/ 2968 w 10785"/>
                  <a:gd name="connsiteY1904" fmla="*/ 3171 h 10000"/>
                  <a:gd name="connsiteX1905" fmla="*/ 2968 w 10785"/>
                  <a:gd name="connsiteY1905" fmla="*/ 3128 h 10000"/>
                  <a:gd name="connsiteX1906" fmla="*/ 2954 w 10785"/>
                  <a:gd name="connsiteY1906" fmla="*/ 3051 h 10000"/>
                  <a:gd name="connsiteX1907" fmla="*/ 2954 w 10785"/>
                  <a:gd name="connsiteY1907" fmla="*/ 3009 h 10000"/>
                  <a:gd name="connsiteX1908" fmla="*/ 2922 w 10785"/>
                  <a:gd name="connsiteY1908" fmla="*/ 2940 h 10000"/>
                  <a:gd name="connsiteX1909" fmla="*/ 2903 w 10785"/>
                  <a:gd name="connsiteY1909" fmla="*/ 2880 h 10000"/>
                  <a:gd name="connsiteX1910" fmla="*/ 2903 w 10785"/>
                  <a:gd name="connsiteY1910" fmla="*/ 2855 h 10000"/>
                  <a:gd name="connsiteX1911" fmla="*/ 2908 w 10785"/>
                  <a:gd name="connsiteY1911" fmla="*/ 2846 h 10000"/>
                  <a:gd name="connsiteX1912" fmla="*/ 2931 w 10785"/>
                  <a:gd name="connsiteY1912" fmla="*/ 2821 h 10000"/>
                  <a:gd name="connsiteX1913" fmla="*/ 2931 w 10785"/>
                  <a:gd name="connsiteY1913" fmla="*/ 2803 h 10000"/>
                  <a:gd name="connsiteX1914" fmla="*/ 2935 w 10785"/>
                  <a:gd name="connsiteY1914" fmla="*/ 2786 h 10000"/>
                  <a:gd name="connsiteX1915" fmla="*/ 2935 w 10785"/>
                  <a:gd name="connsiteY1915" fmla="*/ 2744 h 10000"/>
                  <a:gd name="connsiteX1916" fmla="*/ 2963 w 10785"/>
                  <a:gd name="connsiteY1916" fmla="*/ 2607 h 10000"/>
                  <a:gd name="connsiteX1917" fmla="*/ 2963 w 10785"/>
                  <a:gd name="connsiteY1917" fmla="*/ 2419 h 10000"/>
                  <a:gd name="connsiteX1918" fmla="*/ 2954 w 10785"/>
                  <a:gd name="connsiteY1918" fmla="*/ 2410 h 10000"/>
                  <a:gd name="connsiteX1919" fmla="*/ 2963 w 10785"/>
                  <a:gd name="connsiteY1919" fmla="*/ 2393 h 10000"/>
                  <a:gd name="connsiteX1920" fmla="*/ 2908 w 10785"/>
                  <a:gd name="connsiteY1920" fmla="*/ 2359 h 10000"/>
                  <a:gd name="connsiteX1921" fmla="*/ 2889 w 10785"/>
                  <a:gd name="connsiteY1921" fmla="*/ 2325 h 10000"/>
                  <a:gd name="connsiteX1922" fmla="*/ 2788 w 10785"/>
                  <a:gd name="connsiteY1922" fmla="*/ 2333 h 10000"/>
                  <a:gd name="connsiteX1923" fmla="*/ 2774 w 10785"/>
                  <a:gd name="connsiteY1923" fmla="*/ 2325 h 10000"/>
                  <a:gd name="connsiteX1924" fmla="*/ 2783 w 10785"/>
                  <a:gd name="connsiteY1924" fmla="*/ 2308 h 10000"/>
                  <a:gd name="connsiteX1925" fmla="*/ 2747 w 10785"/>
                  <a:gd name="connsiteY1925" fmla="*/ 2308 h 10000"/>
                  <a:gd name="connsiteX1926" fmla="*/ 2742 w 10785"/>
                  <a:gd name="connsiteY1926" fmla="*/ 2333 h 10000"/>
                  <a:gd name="connsiteX1927" fmla="*/ 2682 w 10785"/>
                  <a:gd name="connsiteY1927" fmla="*/ 2769 h 10000"/>
                  <a:gd name="connsiteX1928" fmla="*/ 2613 w 10785"/>
                  <a:gd name="connsiteY1928" fmla="*/ 2940 h 10000"/>
                  <a:gd name="connsiteX1929" fmla="*/ 2581 w 10785"/>
                  <a:gd name="connsiteY1929" fmla="*/ 2966 h 10000"/>
                  <a:gd name="connsiteX1930" fmla="*/ 2576 w 10785"/>
                  <a:gd name="connsiteY1930" fmla="*/ 3051 h 10000"/>
                  <a:gd name="connsiteX1931" fmla="*/ 2581 w 10785"/>
                  <a:gd name="connsiteY1931" fmla="*/ 3051 h 10000"/>
                  <a:gd name="connsiteX1932" fmla="*/ 2594 w 10785"/>
                  <a:gd name="connsiteY1932" fmla="*/ 3017 h 10000"/>
                  <a:gd name="connsiteX1933" fmla="*/ 2594 w 10785"/>
                  <a:gd name="connsiteY1933" fmla="*/ 3034 h 10000"/>
                  <a:gd name="connsiteX1934" fmla="*/ 2594 w 10785"/>
                  <a:gd name="connsiteY1934" fmla="*/ 3051 h 10000"/>
                  <a:gd name="connsiteX1935" fmla="*/ 2590 w 10785"/>
                  <a:gd name="connsiteY1935" fmla="*/ 3077 h 10000"/>
                  <a:gd name="connsiteX1936" fmla="*/ 2567 w 10785"/>
                  <a:gd name="connsiteY1936" fmla="*/ 3103 h 10000"/>
                  <a:gd name="connsiteX1937" fmla="*/ 2562 w 10785"/>
                  <a:gd name="connsiteY1937" fmla="*/ 3145 h 10000"/>
                  <a:gd name="connsiteX1938" fmla="*/ 2567 w 10785"/>
                  <a:gd name="connsiteY1938" fmla="*/ 3179 h 10000"/>
                  <a:gd name="connsiteX1939" fmla="*/ 2590 w 10785"/>
                  <a:gd name="connsiteY1939" fmla="*/ 3171 h 10000"/>
                  <a:gd name="connsiteX1940" fmla="*/ 2594 w 10785"/>
                  <a:gd name="connsiteY1940" fmla="*/ 3145 h 10000"/>
                  <a:gd name="connsiteX1941" fmla="*/ 2613 w 10785"/>
                  <a:gd name="connsiteY1941" fmla="*/ 3154 h 10000"/>
                  <a:gd name="connsiteX1942" fmla="*/ 2622 w 10785"/>
                  <a:gd name="connsiteY1942" fmla="*/ 3179 h 10000"/>
                  <a:gd name="connsiteX1943" fmla="*/ 2613 w 10785"/>
                  <a:gd name="connsiteY1943" fmla="*/ 3214 h 10000"/>
                  <a:gd name="connsiteX1944" fmla="*/ 2613 w 10785"/>
                  <a:gd name="connsiteY1944" fmla="*/ 3308 h 10000"/>
                  <a:gd name="connsiteX1945" fmla="*/ 2608 w 10785"/>
                  <a:gd name="connsiteY1945" fmla="*/ 3325 h 10000"/>
                  <a:gd name="connsiteX1946" fmla="*/ 2608 w 10785"/>
                  <a:gd name="connsiteY1946" fmla="*/ 3376 h 10000"/>
                  <a:gd name="connsiteX1947" fmla="*/ 2613 w 10785"/>
                  <a:gd name="connsiteY1947" fmla="*/ 3419 h 10000"/>
                  <a:gd name="connsiteX1948" fmla="*/ 2608 w 10785"/>
                  <a:gd name="connsiteY1948" fmla="*/ 3444 h 10000"/>
                  <a:gd name="connsiteX1949" fmla="*/ 2594 w 10785"/>
                  <a:gd name="connsiteY1949" fmla="*/ 3444 h 10000"/>
                  <a:gd name="connsiteX1950" fmla="*/ 2590 w 10785"/>
                  <a:gd name="connsiteY1950" fmla="*/ 3427 h 10000"/>
                  <a:gd name="connsiteX1951" fmla="*/ 2581 w 10785"/>
                  <a:gd name="connsiteY1951" fmla="*/ 3564 h 10000"/>
                  <a:gd name="connsiteX1952" fmla="*/ 2594 w 10785"/>
                  <a:gd name="connsiteY1952" fmla="*/ 3598 h 10000"/>
                  <a:gd name="connsiteX1953" fmla="*/ 2594 w 10785"/>
                  <a:gd name="connsiteY1953" fmla="*/ 3581 h 10000"/>
                  <a:gd name="connsiteX1954" fmla="*/ 2608 w 10785"/>
                  <a:gd name="connsiteY1954" fmla="*/ 3556 h 10000"/>
                  <a:gd name="connsiteX1955" fmla="*/ 2650 w 10785"/>
                  <a:gd name="connsiteY1955" fmla="*/ 3615 h 10000"/>
                  <a:gd name="connsiteX1956" fmla="*/ 2664 w 10785"/>
                  <a:gd name="connsiteY1956" fmla="*/ 3615 h 10000"/>
                  <a:gd name="connsiteX1957" fmla="*/ 2668 w 10785"/>
                  <a:gd name="connsiteY1957" fmla="*/ 3615 h 10000"/>
                  <a:gd name="connsiteX1958" fmla="*/ 2664 w 10785"/>
                  <a:gd name="connsiteY1958" fmla="*/ 3667 h 10000"/>
                  <a:gd name="connsiteX1959" fmla="*/ 2687 w 10785"/>
                  <a:gd name="connsiteY1959" fmla="*/ 3786 h 10000"/>
                  <a:gd name="connsiteX1960" fmla="*/ 2710 w 10785"/>
                  <a:gd name="connsiteY1960" fmla="*/ 3812 h 10000"/>
                  <a:gd name="connsiteX1961" fmla="*/ 2724 w 10785"/>
                  <a:gd name="connsiteY1961" fmla="*/ 3812 h 10000"/>
                  <a:gd name="connsiteX1962" fmla="*/ 2724 w 10785"/>
                  <a:gd name="connsiteY1962" fmla="*/ 3829 h 10000"/>
                  <a:gd name="connsiteX1963" fmla="*/ 2737 w 10785"/>
                  <a:gd name="connsiteY1963" fmla="*/ 3838 h 10000"/>
                  <a:gd name="connsiteX1964" fmla="*/ 2714 w 10785"/>
                  <a:gd name="connsiteY1964" fmla="*/ 3872 h 10000"/>
                  <a:gd name="connsiteX1965" fmla="*/ 2696 w 10785"/>
                  <a:gd name="connsiteY1965" fmla="*/ 4026 h 10000"/>
                  <a:gd name="connsiteX1966" fmla="*/ 2673 w 10785"/>
                  <a:gd name="connsiteY1966" fmla="*/ 4051 h 10000"/>
                  <a:gd name="connsiteX1967" fmla="*/ 2668 w 10785"/>
                  <a:gd name="connsiteY1967" fmla="*/ 4034 h 10000"/>
                  <a:gd name="connsiteX1968" fmla="*/ 2673 w 10785"/>
                  <a:gd name="connsiteY1968" fmla="*/ 4000 h 10000"/>
                  <a:gd name="connsiteX1969" fmla="*/ 2664 w 10785"/>
                  <a:gd name="connsiteY1969" fmla="*/ 3974 h 10000"/>
                  <a:gd name="connsiteX1970" fmla="*/ 2636 w 10785"/>
                  <a:gd name="connsiteY1970" fmla="*/ 3949 h 10000"/>
                  <a:gd name="connsiteX1971" fmla="*/ 2581 w 10785"/>
                  <a:gd name="connsiteY1971" fmla="*/ 3838 h 10000"/>
                  <a:gd name="connsiteX1972" fmla="*/ 2562 w 10785"/>
                  <a:gd name="connsiteY1972" fmla="*/ 3829 h 10000"/>
                  <a:gd name="connsiteX1973" fmla="*/ 2535 w 10785"/>
                  <a:gd name="connsiteY1973" fmla="*/ 3778 h 10000"/>
                  <a:gd name="connsiteX1974" fmla="*/ 2502 w 10785"/>
                  <a:gd name="connsiteY1974" fmla="*/ 3761 h 10000"/>
                  <a:gd name="connsiteX1975" fmla="*/ 2502 w 10785"/>
                  <a:gd name="connsiteY1975" fmla="*/ 3735 h 10000"/>
                  <a:gd name="connsiteX1976" fmla="*/ 2516 w 10785"/>
                  <a:gd name="connsiteY1976" fmla="*/ 3735 h 10000"/>
                  <a:gd name="connsiteX1977" fmla="*/ 2507 w 10785"/>
                  <a:gd name="connsiteY1977" fmla="*/ 3726 h 10000"/>
                  <a:gd name="connsiteX1978" fmla="*/ 2488 w 10785"/>
                  <a:gd name="connsiteY1978" fmla="*/ 3726 h 10000"/>
                  <a:gd name="connsiteX1979" fmla="*/ 2461 w 10785"/>
                  <a:gd name="connsiteY1979" fmla="*/ 3692 h 10000"/>
                  <a:gd name="connsiteX1980" fmla="*/ 2442 w 10785"/>
                  <a:gd name="connsiteY1980" fmla="*/ 3675 h 10000"/>
                  <a:gd name="connsiteX1981" fmla="*/ 2406 w 10785"/>
                  <a:gd name="connsiteY1981" fmla="*/ 3598 h 10000"/>
                  <a:gd name="connsiteX1982" fmla="*/ 2346 w 10785"/>
                  <a:gd name="connsiteY1982" fmla="*/ 3564 h 10000"/>
                  <a:gd name="connsiteX1983" fmla="*/ 2341 w 10785"/>
                  <a:gd name="connsiteY1983" fmla="*/ 3564 h 10000"/>
                  <a:gd name="connsiteX1984" fmla="*/ 2313 w 10785"/>
                  <a:gd name="connsiteY1984" fmla="*/ 3530 h 10000"/>
                  <a:gd name="connsiteX1985" fmla="*/ 2235 w 10785"/>
                  <a:gd name="connsiteY1985" fmla="*/ 3530 h 10000"/>
                  <a:gd name="connsiteX1986" fmla="*/ 2226 w 10785"/>
                  <a:gd name="connsiteY1986" fmla="*/ 3513 h 10000"/>
                  <a:gd name="connsiteX1987" fmla="*/ 2207 w 10785"/>
                  <a:gd name="connsiteY1987" fmla="*/ 3504 h 10000"/>
                  <a:gd name="connsiteX1988" fmla="*/ 2194 w 10785"/>
                  <a:gd name="connsiteY1988" fmla="*/ 3504 h 10000"/>
                  <a:gd name="connsiteX1989" fmla="*/ 2189 w 10785"/>
                  <a:gd name="connsiteY1989" fmla="*/ 3504 h 10000"/>
                  <a:gd name="connsiteX1990" fmla="*/ 2189 w 10785"/>
                  <a:gd name="connsiteY1990" fmla="*/ 3530 h 10000"/>
                  <a:gd name="connsiteX1991" fmla="*/ 2180 w 10785"/>
                  <a:gd name="connsiteY1991" fmla="*/ 3538 h 10000"/>
                  <a:gd name="connsiteX1992" fmla="*/ 2152 w 10785"/>
                  <a:gd name="connsiteY1992" fmla="*/ 3581 h 10000"/>
                  <a:gd name="connsiteX1993" fmla="*/ 2161 w 10785"/>
                  <a:gd name="connsiteY1993" fmla="*/ 3598 h 10000"/>
                  <a:gd name="connsiteX1994" fmla="*/ 2194 w 10785"/>
                  <a:gd name="connsiteY1994" fmla="*/ 3752 h 10000"/>
                  <a:gd name="connsiteX1995" fmla="*/ 2194 w 10785"/>
                  <a:gd name="connsiteY1995" fmla="*/ 3735 h 10000"/>
                  <a:gd name="connsiteX1996" fmla="*/ 2198 w 10785"/>
                  <a:gd name="connsiteY1996" fmla="*/ 3735 h 10000"/>
                  <a:gd name="connsiteX1997" fmla="*/ 2189 w 10785"/>
                  <a:gd name="connsiteY1997" fmla="*/ 3838 h 10000"/>
                  <a:gd name="connsiteX1998" fmla="*/ 2166 w 10785"/>
                  <a:gd name="connsiteY1998" fmla="*/ 3889 h 10000"/>
                  <a:gd name="connsiteX1999" fmla="*/ 2124 w 10785"/>
                  <a:gd name="connsiteY1999" fmla="*/ 3889 h 10000"/>
                  <a:gd name="connsiteX2000" fmla="*/ 2124 w 10785"/>
                  <a:gd name="connsiteY2000" fmla="*/ 3923 h 10000"/>
                  <a:gd name="connsiteX2001" fmla="*/ 2134 w 10785"/>
                  <a:gd name="connsiteY2001" fmla="*/ 3940 h 10000"/>
                  <a:gd name="connsiteX2002" fmla="*/ 2134 w 10785"/>
                  <a:gd name="connsiteY2002" fmla="*/ 3966 h 10000"/>
                  <a:gd name="connsiteX2003" fmla="*/ 2120 w 10785"/>
                  <a:gd name="connsiteY2003" fmla="*/ 4000 h 10000"/>
                  <a:gd name="connsiteX2004" fmla="*/ 2106 w 10785"/>
                  <a:gd name="connsiteY2004" fmla="*/ 4009 h 10000"/>
                  <a:gd name="connsiteX2005" fmla="*/ 2088 w 10785"/>
                  <a:gd name="connsiteY2005" fmla="*/ 4000 h 10000"/>
                  <a:gd name="connsiteX2006" fmla="*/ 2074 w 10785"/>
                  <a:gd name="connsiteY2006" fmla="*/ 3974 h 10000"/>
                  <a:gd name="connsiteX2007" fmla="*/ 2074 w 10785"/>
                  <a:gd name="connsiteY2007" fmla="*/ 3940 h 10000"/>
                  <a:gd name="connsiteX2008" fmla="*/ 2078 w 10785"/>
                  <a:gd name="connsiteY2008" fmla="*/ 3915 h 10000"/>
                  <a:gd name="connsiteX2009" fmla="*/ 2088 w 10785"/>
                  <a:gd name="connsiteY2009" fmla="*/ 3889 h 10000"/>
                  <a:gd name="connsiteX2010" fmla="*/ 2101 w 10785"/>
                  <a:gd name="connsiteY2010" fmla="*/ 3872 h 10000"/>
                  <a:gd name="connsiteX2011" fmla="*/ 2074 w 10785"/>
                  <a:gd name="connsiteY2011" fmla="*/ 3812 h 10000"/>
                  <a:gd name="connsiteX2012" fmla="*/ 2074 w 10785"/>
                  <a:gd name="connsiteY2012" fmla="*/ 3786 h 10000"/>
                  <a:gd name="connsiteX2013" fmla="*/ 2060 w 10785"/>
                  <a:gd name="connsiteY2013" fmla="*/ 3786 h 10000"/>
                  <a:gd name="connsiteX2014" fmla="*/ 2014 w 10785"/>
                  <a:gd name="connsiteY2014" fmla="*/ 3829 h 10000"/>
                  <a:gd name="connsiteX2015" fmla="*/ 2000 w 10785"/>
                  <a:gd name="connsiteY2015" fmla="*/ 3863 h 10000"/>
                  <a:gd name="connsiteX2016" fmla="*/ 1986 w 10785"/>
                  <a:gd name="connsiteY2016" fmla="*/ 3872 h 10000"/>
                  <a:gd name="connsiteX2017" fmla="*/ 1959 w 10785"/>
                  <a:gd name="connsiteY2017" fmla="*/ 3940 h 10000"/>
                  <a:gd name="connsiteX2018" fmla="*/ 1945 w 10785"/>
                  <a:gd name="connsiteY2018" fmla="*/ 3949 h 10000"/>
                  <a:gd name="connsiteX2019" fmla="*/ 1940 w 10785"/>
                  <a:gd name="connsiteY2019" fmla="*/ 3923 h 10000"/>
                  <a:gd name="connsiteX2020" fmla="*/ 1917 w 10785"/>
                  <a:gd name="connsiteY2020" fmla="*/ 3915 h 10000"/>
                  <a:gd name="connsiteX2021" fmla="*/ 1899 w 10785"/>
                  <a:gd name="connsiteY2021" fmla="*/ 3923 h 10000"/>
                  <a:gd name="connsiteX2022" fmla="*/ 1880 w 10785"/>
                  <a:gd name="connsiteY2022" fmla="*/ 3915 h 10000"/>
                  <a:gd name="connsiteX2023" fmla="*/ 1853 w 10785"/>
                  <a:gd name="connsiteY2023" fmla="*/ 3940 h 10000"/>
                  <a:gd name="connsiteX2024" fmla="*/ 1839 w 10785"/>
                  <a:gd name="connsiteY2024" fmla="*/ 3940 h 10000"/>
                  <a:gd name="connsiteX2025" fmla="*/ 1806 w 10785"/>
                  <a:gd name="connsiteY2025" fmla="*/ 3983 h 10000"/>
                  <a:gd name="connsiteX2026" fmla="*/ 1806 w 10785"/>
                  <a:gd name="connsiteY2026" fmla="*/ 4000 h 10000"/>
                  <a:gd name="connsiteX2027" fmla="*/ 1797 w 10785"/>
                  <a:gd name="connsiteY2027" fmla="*/ 4077 h 10000"/>
                  <a:gd name="connsiteX2028" fmla="*/ 1783 w 10785"/>
                  <a:gd name="connsiteY2028" fmla="*/ 4077 h 10000"/>
                  <a:gd name="connsiteX2029" fmla="*/ 1779 w 10785"/>
                  <a:gd name="connsiteY2029" fmla="*/ 4051 h 10000"/>
                  <a:gd name="connsiteX2030" fmla="*/ 1765 w 10785"/>
                  <a:gd name="connsiteY2030" fmla="*/ 4026 h 10000"/>
                  <a:gd name="connsiteX2031" fmla="*/ 1751 w 10785"/>
                  <a:gd name="connsiteY2031" fmla="*/ 4051 h 10000"/>
                  <a:gd name="connsiteX2032" fmla="*/ 1737 w 10785"/>
                  <a:gd name="connsiteY2032" fmla="*/ 4009 h 10000"/>
                  <a:gd name="connsiteX2033" fmla="*/ 1737 w 10785"/>
                  <a:gd name="connsiteY2033" fmla="*/ 3966 h 10000"/>
                  <a:gd name="connsiteX2034" fmla="*/ 1733 w 10785"/>
                  <a:gd name="connsiteY2034" fmla="*/ 3940 h 10000"/>
                  <a:gd name="connsiteX2035" fmla="*/ 1733 w 10785"/>
                  <a:gd name="connsiteY2035" fmla="*/ 3923 h 10000"/>
                  <a:gd name="connsiteX2036" fmla="*/ 1747 w 10785"/>
                  <a:gd name="connsiteY2036" fmla="*/ 3889 h 10000"/>
                  <a:gd name="connsiteX2037" fmla="*/ 1747 w 10785"/>
                  <a:gd name="connsiteY2037" fmla="*/ 3863 h 10000"/>
                  <a:gd name="connsiteX2038" fmla="*/ 1737 w 10785"/>
                  <a:gd name="connsiteY2038" fmla="*/ 3838 h 10000"/>
                  <a:gd name="connsiteX2039" fmla="*/ 1733 w 10785"/>
                  <a:gd name="connsiteY2039" fmla="*/ 3829 h 10000"/>
                  <a:gd name="connsiteX2040" fmla="*/ 1733 w 10785"/>
                  <a:gd name="connsiteY2040" fmla="*/ 3846 h 10000"/>
                  <a:gd name="connsiteX2041" fmla="*/ 1724 w 10785"/>
                  <a:gd name="connsiteY2041" fmla="*/ 3846 h 10000"/>
                  <a:gd name="connsiteX2042" fmla="*/ 1724 w 10785"/>
                  <a:gd name="connsiteY2042" fmla="*/ 3829 h 10000"/>
                  <a:gd name="connsiteX2043" fmla="*/ 1737 w 10785"/>
                  <a:gd name="connsiteY2043" fmla="*/ 3812 h 10000"/>
                  <a:gd name="connsiteX2044" fmla="*/ 1765 w 10785"/>
                  <a:gd name="connsiteY2044" fmla="*/ 3812 h 10000"/>
                  <a:gd name="connsiteX2045" fmla="*/ 1779 w 10785"/>
                  <a:gd name="connsiteY2045" fmla="*/ 3786 h 10000"/>
                  <a:gd name="connsiteX2046" fmla="*/ 1779 w 10785"/>
                  <a:gd name="connsiteY2046" fmla="*/ 3786 h 10000"/>
                  <a:gd name="connsiteX2047" fmla="*/ 1751 w 10785"/>
                  <a:gd name="connsiteY2047" fmla="*/ 3803 h 10000"/>
                  <a:gd name="connsiteX2048" fmla="*/ 1747 w 10785"/>
                  <a:gd name="connsiteY2048" fmla="*/ 3803 h 10000"/>
                  <a:gd name="connsiteX2049" fmla="*/ 1724 w 10785"/>
                  <a:gd name="connsiteY2049" fmla="*/ 3803 h 10000"/>
                  <a:gd name="connsiteX2050" fmla="*/ 1700 w 10785"/>
                  <a:gd name="connsiteY2050" fmla="*/ 3829 h 10000"/>
                  <a:gd name="connsiteX2051" fmla="*/ 1705 w 10785"/>
                  <a:gd name="connsiteY2051" fmla="*/ 3846 h 10000"/>
                  <a:gd name="connsiteX2052" fmla="*/ 1691 w 10785"/>
                  <a:gd name="connsiteY2052" fmla="*/ 3846 h 10000"/>
                  <a:gd name="connsiteX2053" fmla="*/ 1691 w 10785"/>
                  <a:gd name="connsiteY2053" fmla="*/ 3863 h 10000"/>
                  <a:gd name="connsiteX2054" fmla="*/ 1691 w 10785"/>
                  <a:gd name="connsiteY2054" fmla="*/ 3915 h 10000"/>
                  <a:gd name="connsiteX2055" fmla="*/ 1677 w 10785"/>
                  <a:gd name="connsiteY2055" fmla="*/ 3923 h 10000"/>
                  <a:gd name="connsiteX2056" fmla="*/ 1673 w 10785"/>
                  <a:gd name="connsiteY2056" fmla="*/ 3915 h 10000"/>
                  <a:gd name="connsiteX2057" fmla="*/ 1664 w 10785"/>
                  <a:gd name="connsiteY2057" fmla="*/ 3889 h 10000"/>
                  <a:gd name="connsiteX2058" fmla="*/ 1673 w 10785"/>
                  <a:gd name="connsiteY2058" fmla="*/ 3872 h 10000"/>
                  <a:gd name="connsiteX2059" fmla="*/ 1664 w 10785"/>
                  <a:gd name="connsiteY2059" fmla="*/ 3872 h 10000"/>
                  <a:gd name="connsiteX2060" fmla="*/ 1636 w 10785"/>
                  <a:gd name="connsiteY2060" fmla="*/ 3923 h 10000"/>
                  <a:gd name="connsiteX2061" fmla="*/ 1645 w 10785"/>
                  <a:gd name="connsiteY2061" fmla="*/ 3923 h 10000"/>
                  <a:gd name="connsiteX2062" fmla="*/ 1650 w 10785"/>
                  <a:gd name="connsiteY2062" fmla="*/ 3949 h 10000"/>
                  <a:gd name="connsiteX2063" fmla="*/ 1650 w 10785"/>
                  <a:gd name="connsiteY2063" fmla="*/ 3983 h 10000"/>
                  <a:gd name="connsiteX2064" fmla="*/ 1636 w 10785"/>
                  <a:gd name="connsiteY2064" fmla="*/ 4000 h 10000"/>
                  <a:gd name="connsiteX2065" fmla="*/ 1631 w 10785"/>
                  <a:gd name="connsiteY2065" fmla="*/ 4009 h 10000"/>
                  <a:gd name="connsiteX2066" fmla="*/ 1618 w 10785"/>
                  <a:gd name="connsiteY2066" fmla="*/ 3949 h 10000"/>
                  <a:gd name="connsiteX2067" fmla="*/ 1585 w 10785"/>
                  <a:gd name="connsiteY2067" fmla="*/ 3966 h 10000"/>
                  <a:gd name="connsiteX2068" fmla="*/ 1590 w 10785"/>
                  <a:gd name="connsiteY2068" fmla="*/ 3974 h 10000"/>
                  <a:gd name="connsiteX2069" fmla="*/ 1544 w 10785"/>
                  <a:gd name="connsiteY2069" fmla="*/ 4009 h 10000"/>
                  <a:gd name="connsiteX2070" fmla="*/ 1539 w 10785"/>
                  <a:gd name="connsiteY2070" fmla="*/ 4009 h 10000"/>
                  <a:gd name="connsiteX2071" fmla="*/ 1410 w 10785"/>
                  <a:gd name="connsiteY2071" fmla="*/ 4188 h 10000"/>
                  <a:gd name="connsiteX2072" fmla="*/ 1406 w 10785"/>
                  <a:gd name="connsiteY2072" fmla="*/ 4171 h 10000"/>
                  <a:gd name="connsiteX2073" fmla="*/ 1396 w 10785"/>
                  <a:gd name="connsiteY2073" fmla="*/ 4214 h 10000"/>
                  <a:gd name="connsiteX2074" fmla="*/ 1406 w 10785"/>
                  <a:gd name="connsiteY2074" fmla="*/ 4222 h 10000"/>
                  <a:gd name="connsiteX2075" fmla="*/ 1392 w 10785"/>
                  <a:gd name="connsiteY2075" fmla="*/ 4239 h 10000"/>
                  <a:gd name="connsiteX2076" fmla="*/ 1369 w 10785"/>
                  <a:gd name="connsiteY2076" fmla="*/ 4248 h 10000"/>
                  <a:gd name="connsiteX2077" fmla="*/ 1355 w 10785"/>
                  <a:gd name="connsiteY2077" fmla="*/ 4256 h 10000"/>
                  <a:gd name="connsiteX2078" fmla="*/ 1350 w 10785"/>
                  <a:gd name="connsiteY2078" fmla="*/ 4248 h 10000"/>
                  <a:gd name="connsiteX2079" fmla="*/ 1332 w 10785"/>
                  <a:gd name="connsiteY2079" fmla="*/ 4376 h 10000"/>
                  <a:gd name="connsiteX2080" fmla="*/ 1332 w 10785"/>
                  <a:gd name="connsiteY2080" fmla="*/ 4436 h 10000"/>
                  <a:gd name="connsiteX2081" fmla="*/ 1323 w 10785"/>
                  <a:gd name="connsiteY2081" fmla="*/ 4462 h 10000"/>
                  <a:gd name="connsiteX2082" fmla="*/ 1304 w 10785"/>
                  <a:gd name="connsiteY2082" fmla="*/ 4487 h 10000"/>
                  <a:gd name="connsiteX2083" fmla="*/ 1290 w 10785"/>
                  <a:gd name="connsiteY2083" fmla="*/ 4470 h 10000"/>
                  <a:gd name="connsiteX2084" fmla="*/ 1263 w 10785"/>
                  <a:gd name="connsiteY2084" fmla="*/ 4496 h 10000"/>
                  <a:gd name="connsiteX2085" fmla="*/ 1258 w 10785"/>
                  <a:gd name="connsiteY2085" fmla="*/ 4547 h 10000"/>
                  <a:gd name="connsiteX2086" fmla="*/ 1249 w 10785"/>
                  <a:gd name="connsiteY2086" fmla="*/ 4487 h 10000"/>
                  <a:gd name="connsiteX2087" fmla="*/ 1235 w 10785"/>
                  <a:gd name="connsiteY2087" fmla="*/ 4496 h 10000"/>
                  <a:gd name="connsiteX2088" fmla="*/ 1221 w 10785"/>
                  <a:gd name="connsiteY2088" fmla="*/ 4496 h 10000"/>
                  <a:gd name="connsiteX2089" fmla="*/ 1217 w 10785"/>
                  <a:gd name="connsiteY2089" fmla="*/ 4487 h 10000"/>
                  <a:gd name="connsiteX2090" fmla="*/ 1198 w 10785"/>
                  <a:gd name="connsiteY2090" fmla="*/ 4410 h 10000"/>
                  <a:gd name="connsiteX2091" fmla="*/ 1157 w 10785"/>
                  <a:gd name="connsiteY2091" fmla="*/ 4333 h 10000"/>
                  <a:gd name="connsiteX2092" fmla="*/ 1147 w 10785"/>
                  <a:gd name="connsiteY2092" fmla="*/ 4299 h 10000"/>
                  <a:gd name="connsiteX2093" fmla="*/ 1147 w 10785"/>
                  <a:gd name="connsiteY2093" fmla="*/ 4274 h 10000"/>
                  <a:gd name="connsiteX2094" fmla="*/ 1161 w 10785"/>
                  <a:gd name="connsiteY2094" fmla="*/ 4256 h 10000"/>
                  <a:gd name="connsiteX2095" fmla="*/ 1171 w 10785"/>
                  <a:gd name="connsiteY2095" fmla="*/ 4248 h 10000"/>
                  <a:gd name="connsiteX2096" fmla="*/ 1175 w 10785"/>
                  <a:gd name="connsiteY2096" fmla="*/ 4214 h 10000"/>
                  <a:gd name="connsiteX2097" fmla="*/ 1263 w 10785"/>
                  <a:gd name="connsiteY2097" fmla="*/ 4171 h 10000"/>
                  <a:gd name="connsiteX2098" fmla="*/ 1249 w 10785"/>
                  <a:gd name="connsiteY2098" fmla="*/ 4137 h 10000"/>
                  <a:gd name="connsiteX2099" fmla="*/ 1244 w 10785"/>
                  <a:gd name="connsiteY2099" fmla="*/ 4060 h 10000"/>
                  <a:gd name="connsiteX2100" fmla="*/ 1230 w 10785"/>
                  <a:gd name="connsiteY2100" fmla="*/ 4077 h 10000"/>
                  <a:gd name="connsiteX2101" fmla="*/ 1221 w 10785"/>
                  <a:gd name="connsiteY2101" fmla="*/ 4026 h 10000"/>
                  <a:gd name="connsiteX2102" fmla="*/ 1217 w 10785"/>
                  <a:gd name="connsiteY2102" fmla="*/ 4026 h 10000"/>
                  <a:gd name="connsiteX2103" fmla="*/ 1212 w 10785"/>
                  <a:gd name="connsiteY2103" fmla="*/ 3983 h 10000"/>
                  <a:gd name="connsiteX2104" fmla="*/ 1203 w 10785"/>
                  <a:gd name="connsiteY2104" fmla="*/ 3966 h 10000"/>
                  <a:gd name="connsiteX2105" fmla="*/ 1171 w 10785"/>
                  <a:gd name="connsiteY2105" fmla="*/ 3949 h 10000"/>
                  <a:gd name="connsiteX2106" fmla="*/ 1111 w 10785"/>
                  <a:gd name="connsiteY2106" fmla="*/ 3940 h 10000"/>
                  <a:gd name="connsiteX2107" fmla="*/ 1097 w 10785"/>
                  <a:gd name="connsiteY2107" fmla="*/ 3949 h 10000"/>
                  <a:gd name="connsiteX2108" fmla="*/ 1037 w 10785"/>
                  <a:gd name="connsiteY2108" fmla="*/ 3897 h 10000"/>
                  <a:gd name="connsiteX2109" fmla="*/ 1041 w 10785"/>
                  <a:gd name="connsiteY2109" fmla="*/ 3923 h 10000"/>
                  <a:gd name="connsiteX2110" fmla="*/ 1097 w 10785"/>
                  <a:gd name="connsiteY2110" fmla="*/ 4009 h 10000"/>
                  <a:gd name="connsiteX2111" fmla="*/ 1097 w 10785"/>
                  <a:gd name="connsiteY2111" fmla="*/ 4120 h 10000"/>
                  <a:gd name="connsiteX2112" fmla="*/ 1097 w 10785"/>
                  <a:gd name="connsiteY2112" fmla="*/ 4162 h 10000"/>
                  <a:gd name="connsiteX2113" fmla="*/ 1097 w 10785"/>
                  <a:gd name="connsiteY2113" fmla="*/ 4197 h 10000"/>
                  <a:gd name="connsiteX2114" fmla="*/ 1074 w 10785"/>
                  <a:gd name="connsiteY2114" fmla="*/ 4333 h 10000"/>
                  <a:gd name="connsiteX2115" fmla="*/ 1074 w 10785"/>
                  <a:gd name="connsiteY2115" fmla="*/ 4376 h 10000"/>
                  <a:gd name="connsiteX2116" fmla="*/ 1083 w 10785"/>
                  <a:gd name="connsiteY2116" fmla="*/ 4385 h 10000"/>
                  <a:gd name="connsiteX2117" fmla="*/ 1097 w 10785"/>
                  <a:gd name="connsiteY2117" fmla="*/ 4385 h 10000"/>
                  <a:gd name="connsiteX2118" fmla="*/ 1111 w 10785"/>
                  <a:gd name="connsiteY2118" fmla="*/ 4410 h 10000"/>
                  <a:gd name="connsiteX2119" fmla="*/ 1124 w 10785"/>
                  <a:gd name="connsiteY2119" fmla="*/ 4444 h 10000"/>
                  <a:gd name="connsiteX2120" fmla="*/ 1124 w 10785"/>
                  <a:gd name="connsiteY2120" fmla="*/ 4470 h 10000"/>
                  <a:gd name="connsiteX2121" fmla="*/ 1115 w 10785"/>
                  <a:gd name="connsiteY2121" fmla="*/ 4513 h 10000"/>
                  <a:gd name="connsiteX2122" fmla="*/ 1115 w 10785"/>
                  <a:gd name="connsiteY2122" fmla="*/ 4530 h 10000"/>
                  <a:gd name="connsiteX2123" fmla="*/ 1115 w 10785"/>
                  <a:gd name="connsiteY2123" fmla="*/ 4573 h 10000"/>
                  <a:gd name="connsiteX2124" fmla="*/ 1101 w 10785"/>
                  <a:gd name="connsiteY2124" fmla="*/ 4607 h 10000"/>
                  <a:gd name="connsiteX2125" fmla="*/ 1097 w 10785"/>
                  <a:gd name="connsiteY2125" fmla="*/ 4658 h 10000"/>
                  <a:gd name="connsiteX2126" fmla="*/ 1101 w 10785"/>
                  <a:gd name="connsiteY2126" fmla="*/ 4692 h 10000"/>
                  <a:gd name="connsiteX2127" fmla="*/ 1097 w 10785"/>
                  <a:gd name="connsiteY2127" fmla="*/ 4778 h 10000"/>
                  <a:gd name="connsiteX2128" fmla="*/ 1083 w 10785"/>
                  <a:gd name="connsiteY2128" fmla="*/ 4744 h 10000"/>
                  <a:gd name="connsiteX2129" fmla="*/ 1083 w 10785"/>
                  <a:gd name="connsiteY2129" fmla="*/ 4718 h 10000"/>
                  <a:gd name="connsiteX2130" fmla="*/ 1074 w 10785"/>
                  <a:gd name="connsiteY2130" fmla="*/ 4692 h 10000"/>
                  <a:gd name="connsiteX2131" fmla="*/ 1065 w 10785"/>
                  <a:gd name="connsiteY2131" fmla="*/ 4692 h 10000"/>
                  <a:gd name="connsiteX2132" fmla="*/ 1051 w 10785"/>
                  <a:gd name="connsiteY2132" fmla="*/ 4718 h 10000"/>
                  <a:gd name="connsiteX2133" fmla="*/ 1055 w 10785"/>
                  <a:gd name="connsiteY2133" fmla="*/ 4692 h 10000"/>
                  <a:gd name="connsiteX2134" fmla="*/ 1055 w 10785"/>
                  <a:gd name="connsiteY2134" fmla="*/ 4667 h 10000"/>
                  <a:gd name="connsiteX2135" fmla="*/ 1028 w 10785"/>
                  <a:gd name="connsiteY2135" fmla="*/ 4624 h 10000"/>
                  <a:gd name="connsiteX2136" fmla="*/ 1005 w 10785"/>
                  <a:gd name="connsiteY2136" fmla="*/ 4624 h 10000"/>
                  <a:gd name="connsiteX2137" fmla="*/ 977 w 10785"/>
                  <a:gd name="connsiteY2137" fmla="*/ 4581 h 10000"/>
                  <a:gd name="connsiteX2138" fmla="*/ 963 w 10785"/>
                  <a:gd name="connsiteY2138" fmla="*/ 4607 h 10000"/>
                  <a:gd name="connsiteX2139" fmla="*/ 963 w 10785"/>
                  <a:gd name="connsiteY2139" fmla="*/ 4632 h 10000"/>
                  <a:gd name="connsiteX2140" fmla="*/ 917 w 10785"/>
                  <a:gd name="connsiteY2140" fmla="*/ 4718 h 10000"/>
                  <a:gd name="connsiteX2141" fmla="*/ 889 w 10785"/>
                  <a:gd name="connsiteY2141" fmla="*/ 4744 h 10000"/>
                  <a:gd name="connsiteX2142" fmla="*/ 880 w 10785"/>
                  <a:gd name="connsiteY2142" fmla="*/ 4744 h 10000"/>
                  <a:gd name="connsiteX2143" fmla="*/ 862 w 10785"/>
                  <a:gd name="connsiteY2143" fmla="*/ 4769 h 10000"/>
                  <a:gd name="connsiteX2144" fmla="*/ 857 w 10785"/>
                  <a:gd name="connsiteY2144" fmla="*/ 4795 h 10000"/>
                  <a:gd name="connsiteX2145" fmla="*/ 829 w 10785"/>
                  <a:gd name="connsiteY2145" fmla="*/ 4846 h 10000"/>
                  <a:gd name="connsiteX2146" fmla="*/ 816 w 10785"/>
                  <a:gd name="connsiteY2146" fmla="*/ 4855 h 10000"/>
                  <a:gd name="connsiteX2147" fmla="*/ 816 w 10785"/>
                  <a:gd name="connsiteY2147" fmla="*/ 4940 h 10000"/>
                  <a:gd name="connsiteX2148" fmla="*/ 880 w 10785"/>
                  <a:gd name="connsiteY2148" fmla="*/ 5179 h 10000"/>
                  <a:gd name="connsiteX2149" fmla="*/ 880 w 10785"/>
                  <a:gd name="connsiteY2149" fmla="*/ 5188 h 10000"/>
                  <a:gd name="connsiteX2150" fmla="*/ 862 w 10785"/>
                  <a:gd name="connsiteY2150" fmla="*/ 5171 h 10000"/>
                  <a:gd name="connsiteX2151" fmla="*/ 857 w 10785"/>
                  <a:gd name="connsiteY2151" fmla="*/ 5171 h 10000"/>
                  <a:gd name="connsiteX2152" fmla="*/ 820 w 10785"/>
                  <a:gd name="connsiteY2152" fmla="*/ 5145 h 10000"/>
                  <a:gd name="connsiteX2153" fmla="*/ 820 w 10785"/>
                  <a:gd name="connsiteY2153" fmla="*/ 5154 h 10000"/>
                  <a:gd name="connsiteX2154" fmla="*/ 816 w 10785"/>
                  <a:gd name="connsiteY2154" fmla="*/ 5171 h 10000"/>
                  <a:gd name="connsiteX2155" fmla="*/ 783 w 10785"/>
                  <a:gd name="connsiteY2155" fmla="*/ 5145 h 10000"/>
                  <a:gd name="connsiteX2156" fmla="*/ 756 w 10785"/>
                  <a:gd name="connsiteY2156" fmla="*/ 5103 h 10000"/>
                  <a:gd name="connsiteX2157" fmla="*/ 742 w 10785"/>
                  <a:gd name="connsiteY2157" fmla="*/ 5103 h 10000"/>
                  <a:gd name="connsiteX2158" fmla="*/ 728 w 10785"/>
                  <a:gd name="connsiteY2158" fmla="*/ 5094 h 10000"/>
                  <a:gd name="connsiteX2159" fmla="*/ 710 w 10785"/>
                  <a:gd name="connsiteY2159" fmla="*/ 5120 h 10000"/>
                  <a:gd name="connsiteX2160" fmla="*/ 700 w 10785"/>
                  <a:gd name="connsiteY2160" fmla="*/ 5145 h 10000"/>
                  <a:gd name="connsiteX2161" fmla="*/ 696 w 10785"/>
                  <a:gd name="connsiteY2161" fmla="*/ 5103 h 10000"/>
                  <a:gd name="connsiteX2162" fmla="*/ 714 w 10785"/>
                  <a:gd name="connsiteY2162" fmla="*/ 5077 h 10000"/>
                  <a:gd name="connsiteX2163" fmla="*/ 682 w 10785"/>
                  <a:gd name="connsiteY2163" fmla="*/ 5068 h 10000"/>
                  <a:gd name="connsiteX2164" fmla="*/ 673 w 10785"/>
                  <a:gd name="connsiteY2164" fmla="*/ 5034 h 10000"/>
                  <a:gd name="connsiteX2165" fmla="*/ 636 w 10785"/>
                  <a:gd name="connsiteY2165" fmla="*/ 4991 h 10000"/>
                  <a:gd name="connsiteX2166" fmla="*/ 622 w 10785"/>
                  <a:gd name="connsiteY2166" fmla="*/ 4983 h 10000"/>
                  <a:gd name="connsiteX2167" fmla="*/ 622 w 10785"/>
                  <a:gd name="connsiteY2167" fmla="*/ 5034 h 10000"/>
                  <a:gd name="connsiteX2168" fmla="*/ 608 w 10785"/>
                  <a:gd name="connsiteY2168" fmla="*/ 5051 h 10000"/>
                  <a:gd name="connsiteX2169" fmla="*/ 594 w 10785"/>
                  <a:gd name="connsiteY2169" fmla="*/ 5068 h 10000"/>
                  <a:gd name="connsiteX2170" fmla="*/ 608 w 10785"/>
                  <a:gd name="connsiteY2170" fmla="*/ 5120 h 10000"/>
                  <a:gd name="connsiteX2171" fmla="*/ 613 w 10785"/>
                  <a:gd name="connsiteY2171" fmla="*/ 5128 h 10000"/>
                  <a:gd name="connsiteX2172" fmla="*/ 627 w 10785"/>
                  <a:gd name="connsiteY2172" fmla="*/ 5179 h 10000"/>
                  <a:gd name="connsiteX2173" fmla="*/ 650 w 10785"/>
                  <a:gd name="connsiteY2173" fmla="*/ 5214 h 10000"/>
                  <a:gd name="connsiteX2174" fmla="*/ 687 w 10785"/>
                  <a:gd name="connsiteY2174" fmla="*/ 5188 h 10000"/>
                  <a:gd name="connsiteX2175" fmla="*/ 700 w 10785"/>
                  <a:gd name="connsiteY2175" fmla="*/ 5325 h 10000"/>
                  <a:gd name="connsiteX2176" fmla="*/ 710 w 10785"/>
                  <a:gd name="connsiteY2176" fmla="*/ 5350 h 10000"/>
                  <a:gd name="connsiteX2177" fmla="*/ 687 w 10785"/>
                  <a:gd name="connsiteY2177" fmla="*/ 5325 h 10000"/>
                  <a:gd name="connsiteX2178" fmla="*/ 668 w 10785"/>
                  <a:gd name="connsiteY2178" fmla="*/ 5350 h 10000"/>
                  <a:gd name="connsiteX2179" fmla="*/ 668 w 10785"/>
                  <a:gd name="connsiteY2179" fmla="*/ 5368 h 10000"/>
                  <a:gd name="connsiteX2180" fmla="*/ 668 w 10785"/>
                  <a:gd name="connsiteY2180" fmla="*/ 5376 h 10000"/>
                  <a:gd name="connsiteX2181" fmla="*/ 581 w 10785"/>
                  <a:gd name="connsiteY2181" fmla="*/ 5316 h 10000"/>
                  <a:gd name="connsiteX2182" fmla="*/ 567 w 10785"/>
                  <a:gd name="connsiteY2182" fmla="*/ 5265 h 10000"/>
                  <a:gd name="connsiteX2183" fmla="*/ 562 w 10785"/>
                  <a:gd name="connsiteY2183" fmla="*/ 5256 h 10000"/>
                  <a:gd name="connsiteX2184" fmla="*/ 548 w 10785"/>
                  <a:gd name="connsiteY2184" fmla="*/ 5231 h 10000"/>
                  <a:gd name="connsiteX2185" fmla="*/ 535 w 10785"/>
                  <a:gd name="connsiteY2185" fmla="*/ 5214 h 10000"/>
                  <a:gd name="connsiteX2186" fmla="*/ 525 w 10785"/>
                  <a:gd name="connsiteY2186" fmla="*/ 5231 h 10000"/>
                  <a:gd name="connsiteX2187" fmla="*/ 521 w 10785"/>
                  <a:gd name="connsiteY2187" fmla="*/ 5231 h 10000"/>
                  <a:gd name="connsiteX2188" fmla="*/ 493 w 10785"/>
                  <a:gd name="connsiteY2188" fmla="*/ 5205 h 10000"/>
                  <a:gd name="connsiteX2189" fmla="*/ 488 w 10785"/>
                  <a:gd name="connsiteY2189" fmla="*/ 5179 h 10000"/>
                  <a:gd name="connsiteX2190" fmla="*/ 475 w 10785"/>
                  <a:gd name="connsiteY2190" fmla="*/ 5188 h 10000"/>
                  <a:gd name="connsiteX2191" fmla="*/ 475 w 10785"/>
                  <a:gd name="connsiteY2191" fmla="*/ 5171 h 10000"/>
                  <a:gd name="connsiteX2192" fmla="*/ 488 w 10785"/>
                  <a:gd name="connsiteY2192" fmla="*/ 5154 h 10000"/>
                  <a:gd name="connsiteX2193" fmla="*/ 488 w 10785"/>
                  <a:gd name="connsiteY2193" fmla="*/ 5068 h 10000"/>
                  <a:gd name="connsiteX2194" fmla="*/ 475 w 10785"/>
                  <a:gd name="connsiteY2194" fmla="*/ 5051 h 10000"/>
                  <a:gd name="connsiteX2195" fmla="*/ 475 w 10785"/>
                  <a:gd name="connsiteY2195" fmla="*/ 5017 h 10000"/>
                  <a:gd name="connsiteX2196" fmla="*/ 452 w 10785"/>
                  <a:gd name="connsiteY2196" fmla="*/ 4932 h 10000"/>
                  <a:gd name="connsiteX2197" fmla="*/ 461 w 10785"/>
                  <a:gd name="connsiteY2197" fmla="*/ 4915 h 10000"/>
                  <a:gd name="connsiteX2198" fmla="*/ 475 w 10785"/>
                  <a:gd name="connsiteY2198" fmla="*/ 4906 h 10000"/>
                  <a:gd name="connsiteX2199" fmla="*/ 479 w 10785"/>
                  <a:gd name="connsiteY2199" fmla="*/ 4803 h 10000"/>
                  <a:gd name="connsiteX2200" fmla="*/ 479 w 10785"/>
                  <a:gd name="connsiteY2200" fmla="*/ 4778 h 10000"/>
                  <a:gd name="connsiteX2201" fmla="*/ 475 w 10785"/>
                  <a:gd name="connsiteY2201" fmla="*/ 4761 h 10000"/>
                  <a:gd name="connsiteX2202" fmla="*/ 465 w 10785"/>
                  <a:gd name="connsiteY2202" fmla="*/ 4718 h 10000"/>
                  <a:gd name="connsiteX2203" fmla="*/ 461 w 10785"/>
                  <a:gd name="connsiteY2203" fmla="*/ 4709 h 10000"/>
                  <a:gd name="connsiteX2204" fmla="*/ 442 w 10785"/>
                  <a:gd name="connsiteY2204" fmla="*/ 4692 h 10000"/>
                  <a:gd name="connsiteX2205" fmla="*/ 433 w 10785"/>
                  <a:gd name="connsiteY2205" fmla="*/ 4667 h 10000"/>
                  <a:gd name="connsiteX2206" fmla="*/ 419 w 10785"/>
                  <a:gd name="connsiteY2206" fmla="*/ 4667 h 10000"/>
                  <a:gd name="connsiteX2207" fmla="*/ 401 w 10785"/>
                  <a:gd name="connsiteY2207" fmla="*/ 4658 h 10000"/>
                  <a:gd name="connsiteX2208" fmla="*/ 401 w 10785"/>
                  <a:gd name="connsiteY2208" fmla="*/ 4624 h 10000"/>
                  <a:gd name="connsiteX2209" fmla="*/ 401 w 10785"/>
                  <a:gd name="connsiteY2209" fmla="*/ 4607 h 10000"/>
                  <a:gd name="connsiteX2210" fmla="*/ 378 w 10785"/>
                  <a:gd name="connsiteY2210" fmla="*/ 4607 h 10000"/>
                  <a:gd name="connsiteX2211" fmla="*/ 341 w 10785"/>
                  <a:gd name="connsiteY2211" fmla="*/ 4530 h 10000"/>
                  <a:gd name="connsiteX2212" fmla="*/ 346 w 10785"/>
                  <a:gd name="connsiteY2212" fmla="*/ 4521 h 10000"/>
                  <a:gd name="connsiteX2213" fmla="*/ 332 w 10785"/>
                  <a:gd name="connsiteY2213" fmla="*/ 4487 h 10000"/>
                  <a:gd name="connsiteX2214" fmla="*/ 327 w 10785"/>
                  <a:gd name="connsiteY2214" fmla="*/ 4462 h 10000"/>
                  <a:gd name="connsiteX2215" fmla="*/ 313 w 10785"/>
                  <a:gd name="connsiteY2215" fmla="*/ 4436 h 10000"/>
                  <a:gd name="connsiteX2216" fmla="*/ 300 w 10785"/>
                  <a:gd name="connsiteY2216" fmla="*/ 4419 h 10000"/>
                  <a:gd name="connsiteX2217" fmla="*/ 309 w 10785"/>
                  <a:gd name="connsiteY2217" fmla="*/ 4393 h 10000"/>
                  <a:gd name="connsiteX2218" fmla="*/ 332 w 10785"/>
                  <a:gd name="connsiteY2218" fmla="*/ 4385 h 10000"/>
                  <a:gd name="connsiteX2219" fmla="*/ 355 w 10785"/>
                  <a:gd name="connsiteY2219" fmla="*/ 4419 h 10000"/>
                  <a:gd name="connsiteX2220" fmla="*/ 355 w 10785"/>
                  <a:gd name="connsiteY2220" fmla="*/ 4444 h 10000"/>
                  <a:gd name="connsiteX2221" fmla="*/ 369 w 10785"/>
                  <a:gd name="connsiteY2221" fmla="*/ 4470 h 10000"/>
                  <a:gd name="connsiteX2222" fmla="*/ 401 w 10785"/>
                  <a:gd name="connsiteY2222" fmla="*/ 4521 h 10000"/>
                  <a:gd name="connsiteX2223" fmla="*/ 406 w 10785"/>
                  <a:gd name="connsiteY2223" fmla="*/ 4513 h 10000"/>
                  <a:gd name="connsiteX2224" fmla="*/ 406 w 10785"/>
                  <a:gd name="connsiteY2224" fmla="*/ 4496 h 10000"/>
                  <a:gd name="connsiteX2225" fmla="*/ 419 w 10785"/>
                  <a:gd name="connsiteY2225" fmla="*/ 4521 h 10000"/>
                  <a:gd name="connsiteX2226" fmla="*/ 429 w 10785"/>
                  <a:gd name="connsiteY2226" fmla="*/ 4530 h 10000"/>
                  <a:gd name="connsiteX2227" fmla="*/ 433 w 10785"/>
                  <a:gd name="connsiteY2227" fmla="*/ 4521 h 10000"/>
                  <a:gd name="connsiteX2228" fmla="*/ 442 w 10785"/>
                  <a:gd name="connsiteY2228" fmla="*/ 4530 h 10000"/>
                  <a:gd name="connsiteX2229" fmla="*/ 447 w 10785"/>
                  <a:gd name="connsiteY2229" fmla="*/ 4521 h 10000"/>
                  <a:gd name="connsiteX2230" fmla="*/ 452 w 10785"/>
                  <a:gd name="connsiteY2230" fmla="*/ 4521 h 10000"/>
                  <a:gd name="connsiteX2231" fmla="*/ 461 w 10785"/>
                  <a:gd name="connsiteY2231" fmla="*/ 4573 h 10000"/>
                  <a:gd name="connsiteX2232" fmla="*/ 479 w 10785"/>
                  <a:gd name="connsiteY2232" fmla="*/ 4556 h 10000"/>
                  <a:gd name="connsiteX2233" fmla="*/ 502 w 10785"/>
                  <a:gd name="connsiteY2233" fmla="*/ 4573 h 10000"/>
                  <a:gd name="connsiteX2234" fmla="*/ 507 w 10785"/>
                  <a:gd name="connsiteY2234" fmla="*/ 4598 h 10000"/>
                  <a:gd name="connsiteX2235" fmla="*/ 525 w 10785"/>
                  <a:gd name="connsiteY2235" fmla="*/ 4598 h 10000"/>
                  <a:gd name="connsiteX2236" fmla="*/ 535 w 10785"/>
                  <a:gd name="connsiteY2236" fmla="*/ 4624 h 10000"/>
                  <a:gd name="connsiteX2237" fmla="*/ 594 w 10785"/>
                  <a:gd name="connsiteY2237" fmla="*/ 4658 h 10000"/>
                  <a:gd name="connsiteX2238" fmla="*/ 627 w 10785"/>
                  <a:gd name="connsiteY2238" fmla="*/ 4658 h 10000"/>
                  <a:gd name="connsiteX2239" fmla="*/ 654 w 10785"/>
                  <a:gd name="connsiteY2239" fmla="*/ 4684 h 10000"/>
                  <a:gd name="connsiteX2240" fmla="*/ 668 w 10785"/>
                  <a:gd name="connsiteY2240" fmla="*/ 4709 h 10000"/>
                  <a:gd name="connsiteX2241" fmla="*/ 747 w 10785"/>
                  <a:gd name="connsiteY2241" fmla="*/ 4718 h 10000"/>
                  <a:gd name="connsiteX2242" fmla="*/ 760 w 10785"/>
                  <a:gd name="connsiteY2242" fmla="*/ 4709 h 10000"/>
                  <a:gd name="connsiteX2243" fmla="*/ 774 w 10785"/>
                  <a:gd name="connsiteY2243" fmla="*/ 4692 h 10000"/>
                  <a:gd name="connsiteX2244" fmla="*/ 829 w 10785"/>
                  <a:gd name="connsiteY2244" fmla="*/ 4658 h 10000"/>
                  <a:gd name="connsiteX2245" fmla="*/ 903 w 10785"/>
                  <a:gd name="connsiteY2245" fmla="*/ 4496 h 10000"/>
                  <a:gd name="connsiteX2246" fmla="*/ 917 w 10785"/>
                  <a:gd name="connsiteY2246" fmla="*/ 4385 h 10000"/>
                  <a:gd name="connsiteX2247" fmla="*/ 903 w 10785"/>
                  <a:gd name="connsiteY2247" fmla="*/ 4376 h 10000"/>
                  <a:gd name="connsiteX2248" fmla="*/ 903 w 10785"/>
                  <a:gd name="connsiteY2248" fmla="*/ 4376 h 10000"/>
                  <a:gd name="connsiteX2249" fmla="*/ 889 w 10785"/>
                  <a:gd name="connsiteY2249" fmla="*/ 4239 h 10000"/>
                  <a:gd name="connsiteX2250" fmla="*/ 880 w 10785"/>
                  <a:gd name="connsiteY2250" fmla="*/ 4214 h 10000"/>
                  <a:gd name="connsiteX2251" fmla="*/ 862 w 10785"/>
                  <a:gd name="connsiteY2251" fmla="*/ 4188 h 10000"/>
                  <a:gd name="connsiteX2252" fmla="*/ 857 w 10785"/>
                  <a:gd name="connsiteY2252" fmla="*/ 4197 h 10000"/>
                  <a:gd name="connsiteX2253" fmla="*/ 848 w 10785"/>
                  <a:gd name="connsiteY2253" fmla="*/ 4188 h 10000"/>
                  <a:gd name="connsiteX2254" fmla="*/ 848 w 10785"/>
                  <a:gd name="connsiteY2254" fmla="*/ 4162 h 10000"/>
                  <a:gd name="connsiteX2255" fmla="*/ 829 w 10785"/>
                  <a:gd name="connsiteY2255" fmla="*/ 4120 h 10000"/>
                  <a:gd name="connsiteX2256" fmla="*/ 820 w 10785"/>
                  <a:gd name="connsiteY2256" fmla="*/ 4103 h 10000"/>
                  <a:gd name="connsiteX2257" fmla="*/ 806 w 10785"/>
                  <a:gd name="connsiteY2257" fmla="*/ 4077 h 10000"/>
                  <a:gd name="connsiteX2258" fmla="*/ 816 w 10785"/>
                  <a:gd name="connsiteY2258" fmla="*/ 4111 h 10000"/>
                  <a:gd name="connsiteX2259" fmla="*/ 802 w 10785"/>
                  <a:gd name="connsiteY2259" fmla="*/ 4111 h 10000"/>
                  <a:gd name="connsiteX2260" fmla="*/ 770 w 10785"/>
                  <a:gd name="connsiteY2260" fmla="*/ 4060 h 10000"/>
                  <a:gd name="connsiteX2261" fmla="*/ 760 w 10785"/>
                  <a:gd name="connsiteY2261" fmla="*/ 4077 h 10000"/>
                  <a:gd name="connsiteX2262" fmla="*/ 760 w 10785"/>
                  <a:gd name="connsiteY2262" fmla="*/ 4060 h 10000"/>
                  <a:gd name="connsiteX2263" fmla="*/ 756 w 10785"/>
                  <a:gd name="connsiteY2263" fmla="*/ 4034 h 10000"/>
                  <a:gd name="connsiteX2264" fmla="*/ 742 w 10785"/>
                  <a:gd name="connsiteY2264" fmla="*/ 4000 h 10000"/>
                  <a:gd name="connsiteX2265" fmla="*/ 747 w 10785"/>
                  <a:gd name="connsiteY2265" fmla="*/ 4034 h 10000"/>
                  <a:gd name="connsiteX2266" fmla="*/ 724 w 10785"/>
                  <a:gd name="connsiteY2266" fmla="*/ 4026 h 10000"/>
                  <a:gd name="connsiteX2267" fmla="*/ 714 w 10785"/>
                  <a:gd name="connsiteY2267" fmla="*/ 4000 h 10000"/>
                  <a:gd name="connsiteX2268" fmla="*/ 714 w 10785"/>
                  <a:gd name="connsiteY2268" fmla="*/ 3983 h 10000"/>
                  <a:gd name="connsiteX2269" fmla="*/ 553 w 10785"/>
                  <a:gd name="connsiteY2269" fmla="*/ 3726 h 10000"/>
                  <a:gd name="connsiteX2270" fmla="*/ 507 w 10785"/>
                  <a:gd name="connsiteY2270" fmla="*/ 3718 h 10000"/>
                  <a:gd name="connsiteX2271" fmla="*/ 516 w 10785"/>
                  <a:gd name="connsiteY2271" fmla="*/ 3726 h 10000"/>
                  <a:gd name="connsiteX2272" fmla="*/ 507 w 10785"/>
                  <a:gd name="connsiteY2272" fmla="*/ 3735 h 10000"/>
                  <a:gd name="connsiteX2273" fmla="*/ 502 w 10785"/>
                  <a:gd name="connsiteY2273" fmla="*/ 3735 h 10000"/>
                  <a:gd name="connsiteX2274" fmla="*/ 419 w 10785"/>
                  <a:gd name="connsiteY2274" fmla="*/ 3675 h 10000"/>
                  <a:gd name="connsiteX2275" fmla="*/ 419 w 10785"/>
                  <a:gd name="connsiteY2275" fmla="*/ 3692 h 10000"/>
                  <a:gd name="connsiteX2276" fmla="*/ 401 w 10785"/>
                  <a:gd name="connsiteY2276" fmla="*/ 3701 h 10000"/>
                  <a:gd name="connsiteX2277" fmla="*/ 387 w 10785"/>
                  <a:gd name="connsiteY2277" fmla="*/ 3718 h 10000"/>
                  <a:gd name="connsiteX2278" fmla="*/ 387 w 10785"/>
                  <a:gd name="connsiteY2278" fmla="*/ 3692 h 10000"/>
                  <a:gd name="connsiteX2279" fmla="*/ 378 w 10785"/>
                  <a:gd name="connsiteY2279" fmla="*/ 3675 h 10000"/>
                  <a:gd name="connsiteX2280" fmla="*/ 378 w 10785"/>
                  <a:gd name="connsiteY2280" fmla="*/ 3650 h 10000"/>
                  <a:gd name="connsiteX2281" fmla="*/ 378 w 10785"/>
                  <a:gd name="connsiteY2281" fmla="*/ 3650 h 10000"/>
                  <a:gd name="connsiteX2282" fmla="*/ 355 w 10785"/>
                  <a:gd name="connsiteY2282" fmla="*/ 3675 h 10000"/>
                  <a:gd name="connsiteX2283" fmla="*/ 359 w 10785"/>
                  <a:gd name="connsiteY2283" fmla="*/ 3641 h 10000"/>
                  <a:gd name="connsiteX2284" fmla="*/ 346 w 10785"/>
                  <a:gd name="connsiteY2284" fmla="*/ 3650 h 10000"/>
                  <a:gd name="connsiteX2285" fmla="*/ 355 w 10785"/>
                  <a:gd name="connsiteY2285" fmla="*/ 3624 h 10000"/>
                  <a:gd name="connsiteX2286" fmla="*/ 346 w 10785"/>
                  <a:gd name="connsiteY2286" fmla="*/ 3624 h 10000"/>
                  <a:gd name="connsiteX2287" fmla="*/ 341 w 10785"/>
                  <a:gd name="connsiteY2287" fmla="*/ 3624 h 10000"/>
                  <a:gd name="connsiteX2288" fmla="*/ 318 w 10785"/>
                  <a:gd name="connsiteY2288" fmla="*/ 3641 h 10000"/>
                  <a:gd name="connsiteX2289" fmla="*/ 327 w 10785"/>
                  <a:gd name="connsiteY2289" fmla="*/ 3624 h 10000"/>
                  <a:gd name="connsiteX2290" fmla="*/ 318 w 10785"/>
                  <a:gd name="connsiteY2290" fmla="*/ 3615 h 10000"/>
                  <a:gd name="connsiteX2291" fmla="*/ 318 w 10785"/>
                  <a:gd name="connsiteY2291" fmla="*/ 3598 h 10000"/>
                  <a:gd name="connsiteX2292" fmla="*/ 300 w 10785"/>
                  <a:gd name="connsiteY2292" fmla="*/ 3598 h 10000"/>
                  <a:gd name="connsiteX2293" fmla="*/ 309 w 10785"/>
                  <a:gd name="connsiteY2293" fmla="*/ 3538 h 10000"/>
                  <a:gd name="connsiteX2294" fmla="*/ 313 w 10785"/>
                  <a:gd name="connsiteY2294" fmla="*/ 3564 h 10000"/>
                  <a:gd name="connsiteX2295" fmla="*/ 318 w 10785"/>
                  <a:gd name="connsiteY2295" fmla="*/ 3581 h 10000"/>
                  <a:gd name="connsiteX2296" fmla="*/ 327 w 10785"/>
                  <a:gd name="connsiteY2296" fmla="*/ 3564 h 10000"/>
                  <a:gd name="connsiteX2297" fmla="*/ 332 w 10785"/>
                  <a:gd name="connsiteY2297" fmla="*/ 3590 h 10000"/>
                  <a:gd name="connsiteX2298" fmla="*/ 346 w 10785"/>
                  <a:gd name="connsiteY2298" fmla="*/ 3590 h 10000"/>
                  <a:gd name="connsiteX2299" fmla="*/ 355 w 10785"/>
                  <a:gd name="connsiteY2299" fmla="*/ 3590 h 10000"/>
                  <a:gd name="connsiteX2300" fmla="*/ 369 w 10785"/>
                  <a:gd name="connsiteY2300" fmla="*/ 3556 h 10000"/>
                  <a:gd name="connsiteX2301" fmla="*/ 369 w 10785"/>
                  <a:gd name="connsiteY2301" fmla="*/ 3538 h 10000"/>
                  <a:gd name="connsiteX2302" fmla="*/ 346 w 10785"/>
                  <a:gd name="connsiteY2302" fmla="*/ 3513 h 10000"/>
                  <a:gd name="connsiteX2303" fmla="*/ 341 w 10785"/>
                  <a:gd name="connsiteY2303" fmla="*/ 3530 h 10000"/>
                  <a:gd name="connsiteX2304" fmla="*/ 327 w 10785"/>
                  <a:gd name="connsiteY2304" fmla="*/ 3513 h 10000"/>
                  <a:gd name="connsiteX2305" fmla="*/ 327 w 10785"/>
                  <a:gd name="connsiteY2305" fmla="*/ 3504 h 10000"/>
                  <a:gd name="connsiteX2306" fmla="*/ 295 w 10785"/>
                  <a:gd name="connsiteY2306" fmla="*/ 3462 h 10000"/>
                  <a:gd name="connsiteX2307" fmla="*/ 300 w 10785"/>
                  <a:gd name="connsiteY2307" fmla="*/ 3479 h 10000"/>
                  <a:gd name="connsiteX2308" fmla="*/ 295 w 10785"/>
                  <a:gd name="connsiteY2308" fmla="*/ 3513 h 10000"/>
                  <a:gd name="connsiteX2309" fmla="*/ 286 w 10785"/>
                  <a:gd name="connsiteY2309" fmla="*/ 3513 h 10000"/>
                  <a:gd name="connsiteX2310" fmla="*/ 281 w 10785"/>
                  <a:gd name="connsiteY2310" fmla="*/ 3513 h 10000"/>
                  <a:gd name="connsiteX2311" fmla="*/ 281 w 10785"/>
                  <a:gd name="connsiteY2311" fmla="*/ 3530 h 10000"/>
                  <a:gd name="connsiteX2312" fmla="*/ 281 w 10785"/>
                  <a:gd name="connsiteY2312" fmla="*/ 3556 h 10000"/>
                  <a:gd name="connsiteX2313" fmla="*/ 272 w 10785"/>
                  <a:gd name="connsiteY2313" fmla="*/ 3564 h 10000"/>
                  <a:gd name="connsiteX2314" fmla="*/ 267 w 10785"/>
                  <a:gd name="connsiteY2314" fmla="*/ 3564 h 10000"/>
                  <a:gd name="connsiteX2315" fmla="*/ 253 w 10785"/>
                  <a:gd name="connsiteY2315" fmla="*/ 3538 h 10000"/>
                  <a:gd name="connsiteX2316" fmla="*/ 226 w 10785"/>
                  <a:gd name="connsiteY2316" fmla="*/ 3513 h 10000"/>
                  <a:gd name="connsiteX2317" fmla="*/ 226 w 10785"/>
                  <a:gd name="connsiteY2317" fmla="*/ 3530 h 10000"/>
                  <a:gd name="connsiteX2318" fmla="*/ 226 w 10785"/>
                  <a:gd name="connsiteY2318" fmla="*/ 3530 h 10000"/>
                  <a:gd name="connsiteX2319" fmla="*/ 226 w 10785"/>
                  <a:gd name="connsiteY2319" fmla="*/ 3530 h 10000"/>
                  <a:gd name="connsiteX2320" fmla="*/ 226 w 10785"/>
                  <a:gd name="connsiteY2320" fmla="*/ 3556 h 10000"/>
                  <a:gd name="connsiteX2321" fmla="*/ 221 w 10785"/>
                  <a:gd name="connsiteY2321" fmla="*/ 3598 h 10000"/>
                  <a:gd name="connsiteX2322" fmla="*/ 207 w 10785"/>
                  <a:gd name="connsiteY2322" fmla="*/ 3598 h 10000"/>
                  <a:gd name="connsiteX2323" fmla="*/ 180 w 10785"/>
                  <a:gd name="connsiteY2323" fmla="*/ 3581 h 10000"/>
                  <a:gd name="connsiteX2324" fmla="*/ 171 w 10785"/>
                  <a:gd name="connsiteY2324" fmla="*/ 3641 h 10000"/>
                  <a:gd name="connsiteX2325" fmla="*/ 166 w 10785"/>
                  <a:gd name="connsiteY2325" fmla="*/ 3650 h 10000"/>
                  <a:gd name="connsiteX2326" fmla="*/ 124 w 10785"/>
                  <a:gd name="connsiteY2326" fmla="*/ 3701 h 10000"/>
                  <a:gd name="connsiteX2327" fmla="*/ 124 w 10785"/>
                  <a:gd name="connsiteY2327" fmla="*/ 3718 h 10000"/>
                  <a:gd name="connsiteX2328" fmla="*/ 120 w 10785"/>
                  <a:gd name="connsiteY2328" fmla="*/ 3735 h 10000"/>
                  <a:gd name="connsiteX2329" fmla="*/ 120 w 10785"/>
                  <a:gd name="connsiteY2329" fmla="*/ 3735 h 10000"/>
                  <a:gd name="connsiteX2330" fmla="*/ 111 w 10785"/>
                  <a:gd name="connsiteY2330" fmla="*/ 3761 h 10000"/>
                  <a:gd name="connsiteX2331" fmla="*/ 106 w 10785"/>
                  <a:gd name="connsiteY2331" fmla="*/ 3761 h 10000"/>
                  <a:gd name="connsiteX2332" fmla="*/ 106 w 10785"/>
                  <a:gd name="connsiteY2332" fmla="*/ 3761 h 10000"/>
                  <a:gd name="connsiteX2333" fmla="*/ 74 w 10785"/>
                  <a:gd name="connsiteY2333" fmla="*/ 3829 h 10000"/>
                  <a:gd name="connsiteX2334" fmla="*/ 78 w 10785"/>
                  <a:gd name="connsiteY2334" fmla="*/ 3838 h 10000"/>
                  <a:gd name="connsiteX2335" fmla="*/ 88 w 10785"/>
                  <a:gd name="connsiteY2335" fmla="*/ 3846 h 10000"/>
                  <a:gd name="connsiteX2336" fmla="*/ 65 w 10785"/>
                  <a:gd name="connsiteY2336" fmla="*/ 3923 h 10000"/>
                  <a:gd name="connsiteX2337" fmla="*/ 78 w 10785"/>
                  <a:gd name="connsiteY2337" fmla="*/ 4026 h 10000"/>
                  <a:gd name="connsiteX2338" fmla="*/ 88 w 10785"/>
                  <a:gd name="connsiteY2338" fmla="*/ 4051 h 10000"/>
                  <a:gd name="connsiteX2339" fmla="*/ 92 w 10785"/>
                  <a:gd name="connsiteY2339" fmla="*/ 4060 h 10000"/>
                  <a:gd name="connsiteX2340" fmla="*/ 111 w 10785"/>
                  <a:gd name="connsiteY2340" fmla="*/ 4060 h 10000"/>
                  <a:gd name="connsiteX2341" fmla="*/ 124 w 10785"/>
                  <a:gd name="connsiteY2341" fmla="*/ 4085 h 10000"/>
                  <a:gd name="connsiteX2342" fmla="*/ 166 w 10785"/>
                  <a:gd name="connsiteY2342" fmla="*/ 4197 h 10000"/>
                  <a:gd name="connsiteX2343" fmla="*/ 166 w 10785"/>
                  <a:gd name="connsiteY2343" fmla="*/ 4248 h 10000"/>
                  <a:gd name="connsiteX2344" fmla="*/ 120 w 10785"/>
                  <a:gd name="connsiteY2344" fmla="*/ 4462 h 10000"/>
                  <a:gd name="connsiteX2345" fmla="*/ 120 w 10785"/>
                  <a:gd name="connsiteY2345" fmla="*/ 4513 h 10000"/>
                  <a:gd name="connsiteX2346" fmla="*/ 180 w 10785"/>
                  <a:gd name="connsiteY2346" fmla="*/ 4829 h 10000"/>
                  <a:gd name="connsiteX2347" fmla="*/ 161 w 10785"/>
                  <a:gd name="connsiteY2347" fmla="*/ 4855 h 10000"/>
                  <a:gd name="connsiteX2348" fmla="*/ 152 w 10785"/>
                  <a:gd name="connsiteY2348" fmla="*/ 4940 h 10000"/>
                  <a:gd name="connsiteX2349" fmla="*/ 161 w 10785"/>
                  <a:gd name="connsiteY2349" fmla="*/ 4966 h 10000"/>
                  <a:gd name="connsiteX2350" fmla="*/ 161 w 10785"/>
                  <a:gd name="connsiteY2350" fmla="*/ 5009 h 10000"/>
                  <a:gd name="connsiteX2351" fmla="*/ 152 w 10785"/>
                  <a:gd name="connsiteY2351" fmla="*/ 5034 h 10000"/>
                  <a:gd name="connsiteX2352" fmla="*/ 152 w 10785"/>
                  <a:gd name="connsiteY2352" fmla="*/ 5077 h 10000"/>
                  <a:gd name="connsiteX2353" fmla="*/ 171 w 10785"/>
                  <a:gd name="connsiteY2353" fmla="*/ 5094 h 10000"/>
                  <a:gd name="connsiteX2354" fmla="*/ 180 w 10785"/>
                  <a:gd name="connsiteY2354" fmla="*/ 5128 h 10000"/>
                  <a:gd name="connsiteX2355" fmla="*/ 180 w 10785"/>
                  <a:gd name="connsiteY2355" fmla="*/ 5171 h 10000"/>
                  <a:gd name="connsiteX2356" fmla="*/ 184 w 10785"/>
                  <a:gd name="connsiteY2356" fmla="*/ 5205 h 10000"/>
                  <a:gd name="connsiteX2357" fmla="*/ 207 w 10785"/>
                  <a:gd name="connsiteY2357" fmla="*/ 5239 h 10000"/>
                  <a:gd name="connsiteX2358" fmla="*/ 207 w 10785"/>
                  <a:gd name="connsiteY2358" fmla="*/ 5282 h 10000"/>
                  <a:gd name="connsiteX2359" fmla="*/ 180 w 10785"/>
                  <a:gd name="connsiteY2359" fmla="*/ 5393 h 10000"/>
                  <a:gd name="connsiteX2360" fmla="*/ 194 w 10785"/>
                  <a:gd name="connsiteY2360" fmla="*/ 5427 h 10000"/>
                  <a:gd name="connsiteX2361" fmla="*/ 198 w 10785"/>
                  <a:gd name="connsiteY2361" fmla="*/ 5462 h 10000"/>
                  <a:gd name="connsiteX2362" fmla="*/ 235 w 10785"/>
                  <a:gd name="connsiteY2362" fmla="*/ 5513 h 10000"/>
                  <a:gd name="connsiteX2363" fmla="*/ 240 w 10785"/>
                  <a:gd name="connsiteY2363" fmla="*/ 5556 h 10000"/>
                  <a:gd name="connsiteX2364" fmla="*/ 253 w 10785"/>
                  <a:gd name="connsiteY2364" fmla="*/ 5590 h 10000"/>
                  <a:gd name="connsiteX2365" fmla="*/ 258 w 10785"/>
                  <a:gd name="connsiteY2365" fmla="*/ 5573 h 10000"/>
                  <a:gd name="connsiteX2366" fmla="*/ 258 w 10785"/>
                  <a:gd name="connsiteY2366" fmla="*/ 5667 h 10000"/>
                  <a:gd name="connsiteX2367" fmla="*/ 14 w 10785"/>
                  <a:gd name="connsiteY2367" fmla="*/ 6214 h 10000"/>
                  <a:gd name="connsiteX2368" fmla="*/ 14 w 10785"/>
                  <a:gd name="connsiteY2368" fmla="*/ 6214 h 10000"/>
                  <a:gd name="connsiteX2369" fmla="*/ 37 w 10785"/>
                  <a:gd name="connsiteY2369" fmla="*/ 6214 h 10000"/>
                  <a:gd name="connsiteX2370" fmla="*/ 51 w 10785"/>
                  <a:gd name="connsiteY2370" fmla="*/ 6188 h 10000"/>
                  <a:gd name="connsiteX2371" fmla="*/ 78 w 10785"/>
                  <a:gd name="connsiteY2371" fmla="*/ 6162 h 10000"/>
                  <a:gd name="connsiteX2372" fmla="*/ 78 w 10785"/>
                  <a:gd name="connsiteY2372" fmla="*/ 6188 h 10000"/>
                  <a:gd name="connsiteX2373" fmla="*/ 74 w 10785"/>
                  <a:gd name="connsiteY2373" fmla="*/ 6197 h 10000"/>
                  <a:gd name="connsiteX2374" fmla="*/ 74 w 10785"/>
                  <a:gd name="connsiteY2374" fmla="*/ 6231 h 10000"/>
                  <a:gd name="connsiteX2375" fmla="*/ 74 w 10785"/>
                  <a:gd name="connsiteY2375" fmla="*/ 6214 h 10000"/>
                  <a:gd name="connsiteX2376" fmla="*/ 65 w 10785"/>
                  <a:gd name="connsiteY2376" fmla="*/ 6214 h 10000"/>
                  <a:gd name="connsiteX2377" fmla="*/ 65 w 10785"/>
                  <a:gd name="connsiteY2377" fmla="*/ 6248 h 10000"/>
                  <a:gd name="connsiteX2378" fmla="*/ 74 w 10785"/>
                  <a:gd name="connsiteY2378" fmla="*/ 6256 h 10000"/>
                  <a:gd name="connsiteX2379" fmla="*/ 78 w 10785"/>
                  <a:gd name="connsiteY2379" fmla="*/ 6256 h 10000"/>
                  <a:gd name="connsiteX2380" fmla="*/ 106 w 10785"/>
                  <a:gd name="connsiteY2380" fmla="*/ 6308 h 10000"/>
                  <a:gd name="connsiteX2381" fmla="*/ 138 w 10785"/>
                  <a:gd name="connsiteY2381" fmla="*/ 6299 h 10000"/>
                  <a:gd name="connsiteX2382" fmla="*/ 152 w 10785"/>
                  <a:gd name="connsiteY2382" fmla="*/ 6299 h 10000"/>
                  <a:gd name="connsiteX2383" fmla="*/ 166 w 10785"/>
                  <a:gd name="connsiteY2383" fmla="*/ 6325 h 10000"/>
                  <a:gd name="connsiteX2384" fmla="*/ 166 w 10785"/>
                  <a:gd name="connsiteY2384" fmla="*/ 6333 h 10000"/>
                  <a:gd name="connsiteX2385" fmla="*/ 171 w 10785"/>
                  <a:gd name="connsiteY2385" fmla="*/ 6350 h 10000"/>
                  <a:gd name="connsiteX2386" fmla="*/ 180 w 10785"/>
                  <a:gd name="connsiteY2386" fmla="*/ 6350 h 10000"/>
                  <a:gd name="connsiteX2387" fmla="*/ 180 w 10785"/>
                  <a:gd name="connsiteY2387" fmla="*/ 6359 h 10000"/>
                  <a:gd name="connsiteX2388" fmla="*/ 171 w 10785"/>
                  <a:gd name="connsiteY2388" fmla="*/ 6368 h 10000"/>
                  <a:gd name="connsiteX2389" fmla="*/ 106 w 10785"/>
                  <a:gd name="connsiteY2389" fmla="*/ 6350 h 10000"/>
                  <a:gd name="connsiteX2390" fmla="*/ 101 w 10785"/>
                  <a:gd name="connsiteY2390" fmla="*/ 6359 h 10000"/>
                  <a:gd name="connsiteX2391" fmla="*/ 101 w 10785"/>
                  <a:gd name="connsiteY2391" fmla="*/ 6385 h 10000"/>
                  <a:gd name="connsiteX2392" fmla="*/ 78 w 10785"/>
                  <a:gd name="connsiteY2392" fmla="*/ 6393 h 10000"/>
                  <a:gd name="connsiteX2393" fmla="*/ 74 w 10785"/>
                  <a:gd name="connsiteY2393" fmla="*/ 6385 h 10000"/>
                  <a:gd name="connsiteX2394" fmla="*/ 65 w 10785"/>
                  <a:gd name="connsiteY2394" fmla="*/ 6393 h 10000"/>
                  <a:gd name="connsiteX2395" fmla="*/ 60 w 10785"/>
                  <a:gd name="connsiteY2395" fmla="*/ 6419 h 10000"/>
                  <a:gd name="connsiteX2396" fmla="*/ 51 w 10785"/>
                  <a:gd name="connsiteY2396" fmla="*/ 6419 h 10000"/>
                  <a:gd name="connsiteX2397" fmla="*/ 46 w 10785"/>
                  <a:gd name="connsiteY2397" fmla="*/ 6410 h 10000"/>
                  <a:gd name="connsiteX2398" fmla="*/ 37 w 10785"/>
                  <a:gd name="connsiteY2398" fmla="*/ 6393 h 10000"/>
                  <a:gd name="connsiteX2399" fmla="*/ 32 w 10785"/>
                  <a:gd name="connsiteY2399" fmla="*/ 6419 h 10000"/>
                  <a:gd name="connsiteX2400" fmla="*/ 37 w 10785"/>
                  <a:gd name="connsiteY2400" fmla="*/ 6462 h 10000"/>
                  <a:gd name="connsiteX2401" fmla="*/ 46 w 10785"/>
                  <a:gd name="connsiteY2401" fmla="*/ 6462 h 10000"/>
                  <a:gd name="connsiteX2402" fmla="*/ 51 w 10785"/>
                  <a:gd name="connsiteY2402" fmla="*/ 6470 h 10000"/>
                  <a:gd name="connsiteX2403" fmla="*/ 51 w 10785"/>
                  <a:gd name="connsiteY2403" fmla="*/ 6496 h 10000"/>
                  <a:gd name="connsiteX2404" fmla="*/ 51 w 10785"/>
                  <a:gd name="connsiteY2404" fmla="*/ 6504 h 10000"/>
                  <a:gd name="connsiteX2405" fmla="*/ 37 w 10785"/>
                  <a:gd name="connsiteY2405" fmla="*/ 6530 h 10000"/>
                  <a:gd name="connsiteX2406" fmla="*/ 18 w 10785"/>
                  <a:gd name="connsiteY2406" fmla="*/ 6598 h 10000"/>
                  <a:gd name="connsiteX2407" fmla="*/ 28 w 10785"/>
                  <a:gd name="connsiteY2407" fmla="*/ 6632 h 10000"/>
                  <a:gd name="connsiteX2408" fmla="*/ 18 w 10785"/>
                  <a:gd name="connsiteY2408" fmla="*/ 6667 h 10000"/>
                  <a:gd name="connsiteX2409" fmla="*/ 28 w 10785"/>
                  <a:gd name="connsiteY2409" fmla="*/ 6692 h 10000"/>
                  <a:gd name="connsiteX2410" fmla="*/ 28 w 10785"/>
                  <a:gd name="connsiteY2410" fmla="*/ 6709 h 10000"/>
                  <a:gd name="connsiteX2411" fmla="*/ 18 w 10785"/>
                  <a:gd name="connsiteY2411" fmla="*/ 6718 h 10000"/>
                  <a:gd name="connsiteX2412" fmla="*/ 5 w 10785"/>
                  <a:gd name="connsiteY2412" fmla="*/ 6744 h 10000"/>
                  <a:gd name="connsiteX2413" fmla="*/ 0 w 10785"/>
                  <a:gd name="connsiteY2413" fmla="*/ 6769 h 10000"/>
                  <a:gd name="connsiteX2414" fmla="*/ 5 w 10785"/>
                  <a:gd name="connsiteY2414" fmla="*/ 6778 h 10000"/>
                  <a:gd name="connsiteX2415" fmla="*/ 32 w 10785"/>
                  <a:gd name="connsiteY2415" fmla="*/ 6778 h 10000"/>
                  <a:gd name="connsiteX2416" fmla="*/ 46 w 10785"/>
                  <a:gd name="connsiteY2416" fmla="*/ 6821 h 10000"/>
                  <a:gd name="connsiteX2417" fmla="*/ 46 w 10785"/>
                  <a:gd name="connsiteY2417" fmla="*/ 6855 h 10000"/>
                  <a:gd name="connsiteX2418" fmla="*/ 32 w 10785"/>
                  <a:gd name="connsiteY2418" fmla="*/ 6855 h 10000"/>
                  <a:gd name="connsiteX2419" fmla="*/ 14 w 10785"/>
                  <a:gd name="connsiteY2419" fmla="*/ 6821 h 10000"/>
                  <a:gd name="connsiteX2420" fmla="*/ 14 w 10785"/>
                  <a:gd name="connsiteY2420" fmla="*/ 6846 h 10000"/>
                  <a:gd name="connsiteX2421" fmla="*/ 0 w 10785"/>
                  <a:gd name="connsiteY2421" fmla="*/ 6897 h 10000"/>
                  <a:gd name="connsiteX2422" fmla="*/ 0 w 10785"/>
                  <a:gd name="connsiteY2422" fmla="*/ 6915 h 10000"/>
                  <a:gd name="connsiteX2423" fmla="*/ 5 w 10785"/>
                  <a:gd name="connsiteY2423" fmla="*/ 6932 h 10000"/>
                  <a:gd name="connsiteX2424" fmla="*/ 14 w 10785"/>
                  <a:gd name="connsiteY2424" fmla="*/ 6940 h 10000"/>
                  <a:gd name="connsiteX2425" fmla="*/ 18 w 10785"/>
                  <a:gd name="connsiteY2425" fmla="*/ 6957 h 10000"/>
                  <a:gd name="connsiteX2426" fmla="*/ 28 w 10785"/>
                  <a:gd name="connsiteY2426" fmla="*/ 6966 h 10000"/>
                  <a:gd name="connsiteX2427" fmla="*/ 28 w 10785"/>
                  <a:gd name="connsiteY2427" fmla="*/ 6983 h 10000"/>
                  <a:gd name="connsiteX2428" fmla="*/ 18 w 10785"/>
                  <a:gd name="connsiteY2428" fmla="*/ 7051 h 10000"/>
                  <a:gd name="connsiteX2429" fmla="*/ 28 w 10785"/>
                  <a:gd name="connsiteY2429" fmla="*/ 7068 h 10000"/>
                  <a:gd name="connsiteX2430" fmla="*/ 32 w 10785"/>
                  <a:gd name="connsiteY2430" fmla="*/ 7068 h 10000"/>
                  <a:gd name="connsiteX2431" fmla="*/ 32 w 10785"/>
                  <a:gd name="connsiteY2431" fmla="*/ 7094 h 10000"/>
                  <a:gd name="connsiteX2432" fmla="*/ 60 w 10785"/>
                  <a:gd name="connsiteY2432" fmla="*/ 7162 h 10000"/>
                  <a:gd name="connsiteX2433" fmla="*/ 60 w 10785"/>
                  <a:gd name="connsiteY2433" fmla="*/ 7231 h 10000"/>
                  <a:gd name="connsiteX2434" fmla="*/ 60 w 10785"/>
                  <a:gd name="connsiteY2434" fmla="*/ 7239 h 10000"/>
                  <a:gd name="connsiteX2435" fmla="*/ 78 w 10785"/>
                  <a:gd name="connsiteY2435" fmla="*/ 7239 h 10000"/>
                  <a:gd name="connsiteX2436" fmla="*/ 88 w 10785"/>
                  <a:gd name="connsiteY2436" fmla="*/ 7239 h 10000"/>
                  <a:gd name="connsiteX2437" fmla="*/ 92 w 10785"/>
                  <a:gd name="connsiteY2437" fmla="*/ 7256 h 10000"/>
                  <a:gd name="connsiteX2438" fmla="*/ 111 w 10785"/>
                  <a:gd name="connsiteY2438" fmla="*/ 7256 h 10000"/>
                  <a:gd name="connsiteX2439" fmla="*/ 120 w 10785"/>
                  <a:gd name="connsiteY2439" fmla="*/ 7256 h 10000"/>
                  <a:gd name="connsiteX2440" fmla="*/ 134 w 10785"/>
                  <a:gd name="connsiteY2440" fmla="*/ 7282 h 10000"/>
                  <a:gd name="connsiteX2441" fmla="*/ 134 w 10785"/>
                  <a:gd name="connsiteY2441" fmla="*/ 7316 h 10000"/>
                  <a:gd name="connsiteX2442" fmla="*/ 152 w 10785"/>
                  <a:gd name="connsiteY2442" fmla="*/ 7299 h 10000"/>
                  <a:gd name="connsiteX2443" fmla="*/ 161 w 10785"/>
                  <a:gd name="connsiteY2443" fmla="*/ 7299 h 10000"/>
                  <a:gd name="connsiteX2444" fmla="*/ 166 w 10785"/>
                  <a:gd name="connsiteY2444" fmla="*/ 7291 h 10000"/>
                  <a:gd name="connsiteX2445" fmla="*/ 194 w 10785"/>
                  <a:gd name="connsiteY2445" fmla="*/ 7291 h 10000"/>
                  <a:gd name="connsiteX2446" fmla="*/ 207 w 10785"/>
                  <a:gd name="connsiteY2446" fmla="*/ 7299 h 10000"/>
                  <a:gd name="connsiteX2447" fmla="*/ 221 w 10785"/>
                  <a:gd name="connsiteY2447" fmla="*/ 7342 h 10000"/>
                  <a:gd name="connsiteX2448" fmla="*/ 235 w 10785"/>
                  <a:gd name="connsiteY2448" fmla="*/ 7342 h 10000"/>
                  <a:gd name="connsiteX2449" fmla="*/ 235 w 10785"/>
                  <a:gd name="connsiteY2449" fmla="*/ 7368 h 10000"/>
                  <a:gd name="connsiteX2450" fmla="*/ 226 w 10785"/>
                  <a:gd name="connsiteY2450" fmla="*/ 7393 h 10000"/>
                  <a:gd name="connsiteX2451" fmla="*/ 226 w 10785"/>
                  <a:gd name="connsiteY2451" fmla="*/ 7402 h 10000"/>
                  <a:gd name="connsiteX2452" fmla="*/ 235 w 10785"/>
                  <a:gd name="connsiteY2452" fmla="*/ 7419 h 10000"/>
                  <a:gd name="connsiteX2453" fmla="*/ 240 w 10785"/>
                  <a:gd name="connsiteY2453" fmla="*/ 7436 h 10000"/>
                  <a:gd name="connsiteX2454" fmla="*/ 235 w 10785"/>
                  <a:gd name="connsiteY2454" fmla="*/ 7462 h 10000"/>
                  <a:gd name="connsiteX2455" fmla="*/ 226 w 10785"/>
                  <a:gd name="connsiteY2455" fmla="*/ 7479 h 10000"/>
                  <a:gd name="connsiteX2456" fmla="*/ 226 w 10785"/>
                  <a:gd name="connsiteY2456" fmla="*/ 7504 h 10000"/>
                  <a:gd name="connsiteX2457" fmla="*/ 226 w 10785"/>
                  <a:gd name="connsiteY2457" fmla="*/ 7513 h 10000"/>
                  <a:gd name="connsiteX2458" fmla="*/ 240 w 10785"/>
                  <a:gd name="connsiteY2458" fmla="*/ 7538 h 10000"/>
                  <a:gd name="connsiteX2459" fmla="*/ 267 w 10785"/>
                  <a:gd name="connsiteY2459" fmla="*/ 7641 h 10000"/>
                  <a:gd name="connsiteX2460" fmla="*/ 281 w 10785"/>
                  <a:gd name="connsiteY2460" fmla="*/ 7667 h 10000"/>
                  <a:gd name="connsiteX2461" fmla="*/ 286 w 10785"/>
                  <a:gd name="connsiteY2461" fmla="*/ 7675 h 10000"/>
                  <a:gd name="connsiteX2462" fmla="*/ 286 w 10785"/>
                  <a:gd name="connsiteY2462" fmla="*/ 7692 h 10000"/>
                  <a:gd name="connsiteX2463" fmla="*/ 286 w 10785"/>
                  <a:gd name="connsiteY2463" fmla="*/ 7709 h 10000"/>
                  <a:gd name="connsiteX2464" fmla="*/ 295 w 10785"/>
                  <a:gd name="connsiteY2464" fmla="*/ 7726 h 10000"/>
                  <a:gd name="connsiteX2465" fmla="*/ 318 w 10785"/>
                  <a:gd name="connsiteY2465" fmla="*/ 7709 h 10000"/>
                  <a:gd name="connsiteX2466" fmla="*/ 327 w 10785"/>
                  <a:gd name="connsiteY2466" fmla="*/ 7726 h 10000"/>
                  <a:gd name="connsiteX2467" fmla="*/ 341 w 10785"/>
                  <a:gd name="connsiteY2467" fmla="*/ 7735 h 10000"/>
                  <a:gd name="connsiteX2468" fmla="*/ 332 w 10785"/>
                  <a:gd name="connsiteY2468" fmla="*/ 7752 h 10000"/>
                  <a:gd name="connsiteX2469" fmla="*/ 341 w 10785"/>
                  <a:gd name="connsiteY2469" fmla="*/ 7761 h 10000"/>
                  <a:gd name="connsiteX2470" fmla="*/ 355 w 10785"/>
                  <a:gd name="connsiteY2470" fmla="*/ 7761 h 10000"/>
                  <a:gd name="connsiteX2471" fmla="*/ 355 w 10785"/>
                  <a:gd name="connsiteY2471" fmla="*/ 7803 h 10000"/>
                  <a:gd name="connsiteX2472" fmla="*/ 313 w 10785"/>
                  <a:gd name="connsiteY2472" fmla="*/ 7846 h 10000"/>
                  <a:gd name="connsiteX2473" fmla="*/ 295 w 10785"/>
                  <a:gd name="connsiteY2473" fmla="*/ 7846 h 10000"/>
                  <a:gd name="connsiteX2474" fmla="*/ 281 w 10785"/>
                  <a:gd name="connsiteY2474" fmla="*/ 7821 h 10000"/>
                  <a:gd name="connsiteX2475" fmla="*/ 272 w 10785"/>
                  <a:gd name="connsiteY2475" fmla="*/ 7821 h 10000"/>
                  <a:gd name="connsiteX2476" fmla="*/ 267 w 10785"/>
                  <a:gd name="connsiteY2476" fmla="*/ 7838 h 10000"/>
                  <a:gd name="connsiteX2477" fmla="*/ 258 w 10785"/>
                  <a:gd name="connsiteY2477" fmla="*/ 7846 h 10000"/>
                  <a:gd name="connsiteX2478" fmla="*/ 253 w 10785"/>
                  <a:gd name="connsiteY2478" fmla="*/ 7863 h 10000"/>
                  <a:gd name="connsiteX2479" fmla="*/ 253 w 10785"/>
                  <a:gd name="connsiteY2479" fmla="*/ 7872 h 10000"/>
                  <a:gd name="connsiteX2480" fmla="*/ 267 w 10785"/>
                  <a:gd name="connsiteY2480" fmla="*/ 7897 h 10000"/>
                  <a:gd name="connsiteX2481" fmla="*/ 272 w 10785"/>
                  <a:gd name="connsiteY2481" fmla="*/ 7915 h 10000"/>
                  <a:gd name="connsiteX2482" fmla="*/ 267 w 10785"/>
                  <a:gd name="connsiteY2482" fmla="*/ 7940 h 10000"/>
                  <a:gd name="connsiteX2483" fmla="*/ 272 w 10785"/>
                  <a:gd name="connsiteY2483" fmla="*/ 7949 h 10000"/>
                  <a:gd name="connsiteX2484" fmla="*/ 272 w 10785"/>
                  <a:gd name="connsiteY2484" fmla="*/ 7957 h 10000"/>
                  <a:gd name="connsiteX2485" fmla="*/ 281 w 10785"/>
                  <a:gd name="connsiteY2485" fmla="*/ 7974 h 10000"/>
                  <a:gd name="connsiteX2486" fmla="*/ 286 w 10785"/>
                  <a:gd name="connsiteY2486" fmla="*/ 7983 h 10000"/>
                  <a:gd name="connsiteX2487" fmla="*/ 281 w 10785"/>
                  <a:gd name="connsiteY2487" fmla="*/ 8009 h 10000"/>
                  <a:gd name="connsiteX2488" fmla="*/ 286 w 10785"/>
                  <a:gd name="connsiteY2488" fmla="*/ 8060 h 10000"/>
                  <a:gd name="connsiteX2489" fmla="*/ 286 w 10785"/>
                  <a:gd name="connsiteY2489" fmla="*/ 8060 h 10000"/>
                  <a:gd name="connsiteX2490" fmla="*/ 295 w 10785"/>
                  <a:gd name="connsiteY2490" fmla="*/ 8077 h 10000"/>
                  <a:gd name="connsiteX2491" fmla="*/ 309 w 10785"/>
                  <a:gd name="connsiteY2491" fmla="*/ 8077 h 10000"/>
                  <a:gd name="connsiteX2492" fmla="*/ 313 w 10785"/>
                  <a:gd name="connsiteY2492" fmla="*/ 8060 h 10000"/>
                  <a:gd name="connsiteX2493" fmla="*/ 318 w 10785"/>
                  <a:gd name="connsiteY2493" fmla="*/ 8051 h 10000"/>
                  <a:gd name="connsiteX2494" fmla="*/ 318 w 10785"/>
                  <a:gd name="connsiteY2494" fmla="*/ 8034 h 10000"/>
                  <a:gd name="connsiteX2495" fmla="*/ 332 w 10785"/>
                  <a:gd name="connsiteY2495" fmla="*/ 8026 h 10000"/>
                  <a:gd name="connsiteX2496" fmla="*/ 359 w 10785"/>
                  <a:gd name="connsiteY2496" fmla="*/ 8034 h 10000"/>
                  <a:gd name="connsiteX2497" fmla="*/ 378 w 10785"/>
                  <a:gd name="connsiteY2497" fmla="*/ 8026 h 10000"/>
                  <a:gd name="connsiteX2498" fmla="*/ 401 w 10785"/>
                  <a:gd name="connsiteY2498" fmla="*/ 8026 h 10000"/>
                  <a:gd name="connsiteX2499" fmla="*/ 419 w 10785"/>
                  <a:gd name="connsiteY2499" fmla="*/ 8009 h 10000"/>
                  <a:gd name="connsiteX2500" fmla="*/ 433 w 10785"/>
                  <a:gd name="connsiteY2500" fmla="*/ 8034 h 10000"/>
                  <a:gd name="connsiteX2501" fmla="*/ 442 w 10785"/>
                  <a:gd name="connsiteY2501" fmla="*/ 8060 h 10000"/>
                  <a:gd name="connsiteX2502" fmla="*/ 442 w 10785"/>
                  <a:gd name="connsiteY2502" fmla="*/ 8077 h 10000"/>
                  <a:gd name="connsiteX2503" fmla="*/ 461 w 10785"/>
                  <a:gd name="connsiteY2503" fmla="*/ 8111 h 10000"/>
                  <a:gd name="connsiteX2504" fmla="*/ 461 w 10785"/>
                  <a:gd name="connsiteY2504" fmla="*/ 8137 h 10000"/>
                  <a:gd name="connsiteX2505" fmla="*/ 447 w 10785"/>
                  <a:gd name="connsiteY2505" fmla="*/ 8145 h 10000"/>
                  <a:gd name="connsiteX2506" fmla="*/ 442 w 10785"/>
                  <a:gd name="connsiteY2506" fmla="*/ 8145 h 10000"/>
                  <a:gd name="connsiteX2507" fmla="*/ 442 w 10785"/>
                  <a:gd name="connsiteY2507" fmla="*/ 8162 h 10000"/>
                  <a:gd name="connsiteX2508" fmla="*/ 442 w 10785"/>
                  <a:gd name="connsiteY2508" fmla="*/ 8171 h 10000"/>
                  <a:gd name="connsiteX2509" fmla="*/ 447 w 10785"/>
                  <a:gd name="connsiteY2509" fmla="*/ 8214 h 10000"/>
                  <a:gd name="connsiteX2510" fmla="*/ 465 w 10785"/>
                  <a:gd name="connsiteY2510" fmla="*/ 8231 h 10000"/>
                  <a:gd name="connsiteX2511" fmla="*/ 488 w 10785"/>
                  <a:gd name="connsiteY2511" fmla="*/ 8231 h 10000"/>
                  <a:gd name="connsiteX2512" fmla="*/ 493 w 10785"/>
                  <a:gd name="connsiteY2512" fmla="*/ 8231 h 10000"/>
                  <a:gd name="connsiteX2513" fmla="*/ 502 w 10785"/>
                  <a:gd name="connsiteY2513" fmla="*/ 8231 h 10000"/>
                  <a:gd name="connsiteX2514" fmla="*/ 507 w 10785"/>
                  <a:gd name="connsiteY2514" fmla="*/ 8248 h 10000"/>
                  <a:gd name="connsiteX2515" fmla="*/ 521 w 10785"/>
                  <a:gd name="connsiteY2515" fmla="*/ 8274 h 10000"/>
                  <a:gd name="connsiteX2516" fmla="*/ 525 w 10785"/>
                  <a:gd name="connsiteY2516" fmla="*/ 8333 h 10000"/>
                  <a:gd name="connsiteX2517" fmla="*/ 525 w 10785"/>
                  <a:gd name="connsiteY2517" fmla="*/ 8359 h 10000"/>
                  <a:gd name="connsiteX2518" fmla="*/ 525 w 10785"/>
                  <a:gd name="connsiteY2518" fmla="*/ 8368 h 10000"/>
                  <a:gd name="connsiteX2519" fmla="*/ 548 w 10785"/>
                  <a:gd name="connsiteY2519" fmla="*/ 8393 h 10000"/>
                  <a:gd name="connsiteX2520" fmla="*/ 553 w 10785"/>
                  <a:gd name="connsiteY2520" fmla="*/ 8385 h 10000"/>
                  <a:gd name="connsiteX2521" fmla="*/ 562 w 10785"/>
                  <a:gd name="connsiteY2521" fmla="*/ 8385 h 10000"/>
                  <a:gd name="connsiteX2522" fmla="*/ 576 w 10785"/>
                  <a:gd name="connsiteY2522" fmla="*/ 8385 h 10000"/>
                  <a:gd name="connsiteX2523" fmla="*/ 585 w 10785"/>
                  <a:gd name="connsiteY2523" fmla="*/ 8410 h 10000"/>
                  <a:gd name="connsiteX2524" fmla="*/ 594 w 10785"/>
                  <a:gd name="connsiteY2524" fmla="*/ 8410 h 10000"/>
                  <a:gd name="connsiteX2525" fmla="*/ 608 w 10785"/>
                  <a:gd name="connsiteY2525" fmla="*/ 8410 h 10000"/>
                  <a:gd name="connsiteX2526" fmla="*/ 654 w 10785"/>
                  <a:gd name="connsiteY2526" fmla="*/ 8385 h 10000"/>
                  <a:gd name="connsiteX2527" fmla="*/ 659 w 10785"/>
                  <a:gd name="connsiteY2527" fmla="*/ 8385 h 10000"/>
                  <a:gd name="connsiteX2528" fmla="*/ 696 w 10785"/>
                  <a:gd name="connsiteY2528" fmla="*/ 8470 h 10000"/>
                  <a:gd name="connsiteX2529" fmla="*/ 700 w 10785"/>
                  <a:gd name="connsiteY2529" fmla="*/ 8470 h 10000"/>
                  <a:gd name="connsiteX2530" fmla="*/ 710 w 10785"/>
                  <a:gd name="connsiteY2530" fmla="*/ 8462 h 10000"/>
                  <a:gd name="connsiteX2531" fmla="*/ 714 w 10785"/>
                  <a:gd name="connsiteY2531" fmla="*/ 8462 h 10000"/>
                  <a:gd name="connsiteX2532" fmla="*/ 724 w 10785"/>
                  <a:gd name="connsiteY2532" fmla="*/ 8470 h 10000"/>
                  <a:gd name="connsiteX2533" fmla="*/ 733 w 10785"/>
                  <a:gd name="connsiteY2533" fmla="*/ 8470 h 10000"/>
                  <a:gd name="connsiteX2534" fmla="*/ 742 w 10785"/>
                  <a:gd name="connsiteY2534" fmla="*/ 8487 h 10000"/>
                  <a:gd name="connsiteX2535" fmla="*/ 747 w 10785"/>
                  <a:gd name="connsiteY2535" fmla="*/ 8496 h 10000"/>
                  <a:gd name="connsiteX2536" fmla="*/ 770 w 10785"/>
                  <a:gd name="connsiteY2536" fmla="*/ 8496 h 10000"/>
                  <a:gd name="connsiteX2537" fmla="*/ 783 w 10785"/>
                  <a:gd name="connsiteY2537" fmla="*/ 8521 h 10000"/>
                  <a:gd name="connsiteX2538" fmla="*/ 797 w 10785"/>
                  <a:gd name="connsiteY2538" fmla="*/ 8521 h 10000"/>
                  <a:gd name="connsiteX2539" fmla="*/ 806 w 10785"/>
                  <a:gd name="connsiteY2539" fmla="*/ 8530 h 10000"/>
                  <a:gd name="connsiteX2540" fmla="*/ 829 w 10785"/>
                  <a:gd name="connsiteY2540" fmla="*/ 8547 h 10000"/>
                  <a:gd name="connsiteX2541" fmla="*/ 834 w 10785"/>
                  <a:gd name="connsiteY2541" fmla="*/ 8556 h 10000"/>
                  <a:gd name="connsiteX2542" fmla="*/ 829 w 10785"/>
                  <a:gd name="connsiteY2542" fmla="*/ 8556 h 10000"/>
                  <a:gd name="connsiteX2543" fmla="*/ 834 w 10785"/>
                  <a:gd name="connsiteY2543" fmla="*/ 8607 h 10000"/>
                  <a:gd name="connsiteX2544" fmla="*/ 829 w 10785"/>
                  <a:gd name="connsiteY2544" fmla="*/ 8641 h 10000"/>
                  <a:gd name="connsiteX2545" fmla="*/ 806 w 10785"/>
                  <a:gd name="connsiteY2545" fmla="*/ 8658 h 10000"/>
                  <a:gd name="connsiteX2546" fmla="*/ 816 w 10785"/>
                  <a:gd name="connsiteY2546" fmla="*/ 8667 h 10000"/>
                  <a:gd name="connsiteX2547" fmla="*/ 820 w 10785"/>
                  <a:gd name="connsiteY2547" fmla="*/ 8667 h 10000"/>
                  <a:gd name="connsiteX2548" fmla="*/ 829 w 10785"/>
                  <a:gd name="connsiteY2548" fmla="*/ 8684 h 10000"/>
                  <a:gd name="connsiteX2549" fmla="*/ 806 w 10785"/>
                  <a:gd name="connsiteY2549" fmla="*/ 8692 h 10000"/>
                  <a:gd name="connsiteX2550" fmla="*/ 802 w 10785"/>
                  <a:gd name="connsiteY2550" fmla="*/ 8709 h 10000"/>
                  <a:gd name="connsiteX2551" fmla="*/ 802 w 10785"/>
                  <a:gd name="connsiteY2551" fmla="*/ 8735 h 10000"/>
                  <a:gd name="connsiteX2552" fmla="*/ 806 w 10785"/>
                  <a:gd name="connsiteY2552" fmla="*/ 8744 h 10000"/>
                  <a:gd name="connsiteX2553" fmla="*/ 816 w 10785"/>
                  <a:gd name="connsiteY2553" fmla="*/ 8752 h 10000"/>
                  <a:gd name="connsiteX2554" fmla="*/ 806 w 10785"/>
                  <a:gd name="connsiteY2554" fmla="*/ 8778 h 10000"/>
                  <a:gd name="connsiteX2555" fmla="*/ 820 w 10785"/>
                  <a:gd name="connsiteY2555" fmla="*/ 8778 h 10000"/>
                  <a:gd name="connsiteX2556" fmla="*/ 806 w 10785"/>
                  <a:gd name="connsiteY2556" fmla="*/ 8880 h 10000"/>
                  <a:gd name="connsiteX2557" fmla="*/ 797 w 10785"/>
                  <a:gd name="connsiteY2557" fmla="*/ 8880 h 10000"/>
                  <a:gd name="connsiteX2558" fmla="*/ 783 w 10785"/>
                  <a:gd name="connsiteY2558" fmla="*/ 8872 h 10000"/>
                  <a:gd name="connsiteX2559" fmla="*/ 770 w 10785"/>
                  <a:gd name="connsiteY2559" fmla="*/ 8880 h 10000"/>
                  <a:gd name="connsiteX2560" fmla="*/ 756 w 10785"/>
                  <a:gd name="connsiteY2560" fmla="*/ 8855 h 10000"/>
                  <a:gd name="connsiteX2561" fmla="*/ 733 w 10785"/>
                  <a:gd name="connsiteY2561" fmla="*/ 8906 h 10000"/>
                  <a:gd name="connsiteX2562" fmla="*/ 714 w 10785"/>
                  <a:gd name="connsiteY2562" fmla="*/ 8915 h 10000"/>
                  <a:gd name="connsiteX2563" fmla="*/ 710 w 10785"/>
                  <a:gd name="connsiteY2563" fmla="*/ 8940 h 10000"/>
                  <a:gd name="connsiteX2564" fmla="*/ 710 w 10785"/>
                  <a:gd name="connsiteY2564" fmla="*/ 9009 h 10000"/>
                  <a:gd name="connsiteX2565" fmla="*/ 728 w 10785"/>
                  <a:gd name="connsiteY2565" fmla="*/ 8991 h 10000"/>
                  <a:gd name="connsiteX2566" fmla="*/ 733 w 10785"/>
                  <a:gd name="connsiteY2566" fmla="*/ 8991 h 10000"/>
                  <a:gd name="connsiteX2567" fmla="*/ 747 w 10785"/>
                  <a:gd name="connsiteY2567" fmla="*/ 8983 h 10000"/>
                  <a:gd name="connsiteX2568" fmla="*/ 760 w 10785"/>
                  <a:gd name="connsiteY2568" fmla="*/ 8983 h 10000"/>
                  <a:gd name="connsiteX2569" fmla="*/ 770 w 10785"/>
                  <a:gd name="connsiteY2569" fmla="*/ 8983 h 10000"/>
                  <a:gd name="connsiteX2570" fmla="*/ 770 w 10785"/>
                  <a:gd name="connsiteY2570" fmla="*/ 8991 h 10000"/>
                  <a:gd name="connsiteX2571" fmla="*/ 783 w 10785"/>
                  <a:gd name="connsiteY2571" fmla="*/ 8991 h 10000"/>
                  <a:gd name="connsiteX2572" fmla="*/ 783 w 10785"/>
                  <a:gd name="connsiteY2572" fmla="*/ 9009 h 10000"/>
                  <a:gd name="connsiteX2573" fmla="*/ 783 w 10785"/>
                  <a:gd name="connsiteY2573" fmla="*/ 9017 h 10000"/>
                  <a:gd name="connsiteX2574" fmla="*/ 770 w 10785"/>
                  <a:gd name="connsiteY2574" fmla="*/ 9017 h 10000"/>
                  <a:gd name="connsiteX2575" fmla="*/ 724 w 10785"/>
                  <a:gd name="connsiteY2575" fmla="*/ 9051 h 10000"/>
                  <a:gd name="connsiteX2576" fmla="*/ 724 w 10785"/>
                  <a:gd name="connsiteY2576" fmla="*/ 9068 h 10000"/>
                  <a:gd name="connsiteX2577" fmla="*/ 728 w 10785"/>
                  <a:gd name="connsiteY2577" fmla="*/ 9077 h 10000"/>
                  <a:gd name="connsiteX2578" fmla="*/ 724 w 10785"/>
                  <a:gd name="connsiteY2578" fmla="*/ 9077 h 10000"/>
                  <a:gd name="connsiteX2579" fmla="*/ 710 w 10785"/>
                  <a:gd name="connsiteY2579" fmla="*/ 9077 h 10000"/>
                  <a:gd name="connsiteX2580" fmla="*/ 682 w 10785"/>
                  <a:gd name="connsiteY2580" fmla="*/ 9077 h 10000"/>
                  <a:gd name="connsiteX2581" fmla="*/ 673 w 10785"/>
                  <a:gd name="connsiteY2581" fmla="*/ 9103 h 10000"/>
                  <a:gd name="connsiteX2582" fmla="*/ 687 w 10785"/>
                  <a:gd name="connsiteY2582" fmla="*/ 9128 h 10000"/>
                  <a:gd name="connsiteX2583" fmla="*/ 700 w 10785"/>
                  <a:gd name="connsiteY2583" fmla="*/ 9128 h 10000"/>
                  <a:gd name="connsiteX2584" fmla="*/ 728 w 10785"/>
                  <a:gd name="connsiteY2584" fmla="*/ 9179 h 10000"/>
                  <a:gd name="connsiteX2585" fmla="*/ 724 w 10785"/>
                  <a:gd name="connsiteY2585" fmla="*/ 9188 h 10000"/>
                  <a:gd name="connsiteX2586" fmla="*/ 710 w 10785"/>
                  <a:gd name="connsiteY2586" fmla="*/ 9179 h 10000"/>
                  <a:gd name="connsiteX2587" fmla="*/ 700 w 10785"/>
                  <a:gd name="connsiteY2587" fmla="*/ 9205 h 10000"/>
                  <a:gd name="connsiteX2588" fmla="*/ 696 w 10785"/>
                  <a:gd name="connsiteY2588" fmla="*/ 9205 h 10000"/>
                  <a:gd name="connsiteX2589" fmla="*/ 654 w 10785"/>
                  <a:gd name="connsiteY2589" fmla="*/ 9299 h 10000"/>
                  <a:gd name="connsiteX2590" fmla="*/ 622 w 10785"/>
                  <a:gd name="connsiteY2590" fmla="*/ 9299 h 10000"/>
                  <a:gd name="connsiteX2591" fmla="*/ 613 w 10785"/>
                  <a:gd name="connsiteY2591" fmla="*/ 9316 h 10000"/>
                  <a:gd name="connsiteX2592" fmla="*/ 613 w 10785"/>
                  <a:gd name="connsiteY2592" fmla="*/ 9325 h 10000"/>
                  <a:gd name="connsiteX2593" fmla="*/ 608 w 10785"/>
                  <a:gd name="connsiteY2593" fmla="*/ 9342 h 10000"/>
                  <a:gd name="connsiteX2594" fmla="*/ 636 w 10785"/>
                  <a:gd name="connsiteY2594" fmla="*/ 9376 h 10000"/>
                  <a:gd name="connsiteX2595" fmla="*/ 641 w 10785"/>
                  <a:gd name="connsiteY2595" fmla="*/ 9402 h 10000"/>
                  <a:gd name="connsiteX2596" fmla="*/ 654 w 10785"/>
                  <a:gd name="connsiteY2596" fmla="*/ 9427 h 10000"/>
                  <a:gd name="connsiteX2597" fmla="*/ 668 w 10785"/>
                  <a:gd name="connsiteY2597" fmla="*/ 9427 h 10000"/>
                  <a:gd name="connsiteX2598" fmla="*/ 668 w 10785"/>
                  <a:gd name="connsiteY2598" fmla="*/ 9427 h 10000"/>
                  <a:gd name="connsiteX2599" fmla="*/ 774 w 10785"/>
                  <a:gd name="connsiteY2599" fmla="*/ 9547 h 10000"/>
                  <a:gd name="connsiteX2600" fmla="*/ 797 w 10785"/>
                  <a:gd name="connsiteY2600" fmla="*/ 9598 h 10000"/>
                  <a:gd name="connsiteX2601" fmla="*/ 802 w 10785"/>
                  <a:gd name="connsiteY2601" fmla="*/ 9598 h 10000"/>
                  <a:gd name="connsiteX2602" fmla="*/ 816 w 10785"/>
                  <a:gd name="connsiteY2602" fmla="*/ 9624 h 10000"/>
                  <a:gd name="connsiteX2603" fmla="*/ 843 w 10785"/>
                  <a:gd name="connsiteY2603" fmla="*/ 9615 h 10000"/>
                  <a:gd name="connsiteX2604" fmla="*/ 857 w 10785"/>
                  <a:gd name="connsiteY2604" fmla="*/ 9624 h 10000"/>
                  <a:gd name="connsiteX2605" fmla="*/ 862 w 10785"/>
                  <a:gd name="connsiteY2605" fmla="*/ 9615 h 10000"/>
                  <a:gd name="connsiteX2606" fmla="*/ 880 w 10785"/>
                  <a:gd name="connsiteY2606" fmla="*/ 9624 h 10000"/>
                  <a:gd name="connsiteX2607" fmla="*/ 889 w 10785"/>
                  <a:gd name="connsiteY2607" fmla="*/ 9641 h 10000"/>
                  <a:gd name="connsiteX2608" fmla="*/ 935 w 10785"/>
                  <a:gd name="connsiteY2608" fmla="*/ 9675 h 10000"/>
                  <a:gd name="connsiteX2609" fmla="*/ 977 w 10785"/>
                  <a:gd name="connsiteY2609" fmla="*/ 9667 h 10000"/>
                  <a:gd name="connsiteX2610" fmla="*/ 995 w 10785"/>
                  <a:gd name="connsiteY2610" fmla="*/ 9675 h 10000"/>
                  <a:gd name="connsiteX2611" fmla="*/ 1014 w 10785"/>
                  <a:gd name="connsiteY2611" fmla="*/ 9675 h 10000"/>
                  <a:gd name="connsiteX2612" fmla="*/ 1069 w 10785"/>
                  <a:gd name="connsiteY2612" fmla="*/ 9752 h 10000"/>
                  <a:gd name="connsiteX2613" fmla="*/ 1074 w 10785"/>
                  <a:gd name="connsiteY2613" fmla="*/ 9761 h 10000"/>
                  <a:gd name="connsiteX2614" fmla="*/ 1083 w 10785"/>
                  <a:gd name="connsiteY2614" fmla="*/ 9778 h 10000"/>
                  <a:gd name="connsiteX2615" fmla="*/ 1115 w 10785"/>
                  <a:gd name="connsiteY2615" fmla="*/ 9752 h 10000"/>
                  <a:gd name="connsiteX2616" fmla="*/ 1129 w 10785"/>
                  <a:gd name="connsiteY2616" fmla="*/ 9752 h 10000"/>
                  <a:gd name="connsiteX2617" fmla="*/ 1138 w 10785"/>
                  <a:gd name="connsiteY2617" fmla="*/ 9761 h 10000"/>
                  <a:gd name="connsiteX2618" fmla="*/ 1143 w 10785"/>
                  <a:gd name="connsiteY2618" fmla="*/ 9752 h 10000"/>
                  <a:gd name="connsiteX2619" fmla="*/ 1161 w 10785"/>
                  <a:gd name="connsiteY2619" fmla="*/ 9761 h 10000"/>
                  <a:gd name="connsiteX2620" fmla="*/ 1171 w 10785"/>
                  <a:gd name="connsiteY2620" fmla="*/ 9778 h 10000"/>
                  <a:gd name="connsiteX2621" fmla="*/ 1175 w 10785"/>
                  <a:gd name="connsiteY2621" fmla="*/ 9778 h 10000"/>
                  <a:gd name="connsiteX2622" fmla="*/ 1189 w 10785"/>
                  <a:gd name="connsiteY2622" fmla="*/ 9778 h 10000"/>
                  <a:gd name="connsiteX2623" fmla="*/ 1198 w 10785"/>
                  <a:gd name="connsiteY2623" fmla="*/ 9786 h 10000"/>
                  <a:gd name="connsiteX2624" fmla="*/ 1203 w 10785"/>
                  <a:gd name="connsiteY2624" fmla="*/ 9803 h 10000"/>
                  <a:gd name="connsiteX2625" fmla="*/ 1198 w 10785"/>
                  <a:gd name="connsiteY2625" fmla="*/ 9838 h 10000"/>
                  <a:gd name="connsiteX2626" fmla="*/ 1212 w 10785"/>
                  <a:gd name="connsiteY2626" fmla="*/ 9863 h 10000"/>
                  <a:gd name="connsiteX2627" fmla="*/ 1230 w 10785"/>
                  <a:gd name="connsiteY2627" fmla="*/ 9872 h 10000"/>
                  <a:gd name="connsiteX2628" fmla="*/ 1249 w 10785"/>
                  <a:gd name="connsiteY2628" fmla="*/ 9897 h 10000"/>
                  <a:gd name="connsiteX2629" fmla="*/ 1263 w 10785"/>
                  <a:gd name="connsiteY2629" fmla="*/ 9897 h 10000"/>
                  <a:gd name="connsiteX2630" fmla="*/ 1276 w 10785"/>
                  <a:gd name="connsiteY2630" fmla="*/ 9923 h 10000"/>
                  <a:gd name="connsiteX2631" fmla="*/ 1281 w 10785"/>
                  <a:gd name="connsiteY2631" fmla="*/ 9949 h 10000"/>
                  <a:gd name="connsiteX2632" fmla="*/ 1290 w 10785"/>
                  <a:gd name="connsiteY2632" fmla="*/ 9949 h 10000"/>
                  <a:gd name="connsiteX2633" fmla="*/ 1295 w 10785"/>
                  <a:gd name="connsiteY2633" fmla="*/ 10000 h 10000"/>
                  <a:gd name="connsiteX2634" fmla="*/ 1332 w 10785"/>
                  <a:gd name="connsiteY2634" fmla="*/ 10000 h 10000"/>
                  <a:gd name="connsiteX2635" fmla="*/ 1336 w 10785"/>
                  <a:gd name="connsiteY2635" fmla="*/ 10000 h 10000"/>
                  <a:gd name="connsiteX2636" fmla="*/ 1346 w 10785"/>
                  <a:gd name="connsiteY2636" fmla="*/ 9983 h 10000"/>
                  <a:gd name="connsiteX2637" fmla="*/ 1350 w 10785"/>
                  <a:gd name="connsiteY2637" fmla="*/ 9949 h 10000"/>
                  <a:gd name="connsiteX2638" fmla="*/ 1369 w 10785"/>
                  <a:gd name="connsiteY2638" fmla="*/ 9940 h 10000"/>
                  <a:gd name="connsiteX2639" fmla="*/ 1378 w 10785"/>
                  <a:gd name="connsiteY2639" fmla="*/ 9897 h 10000"/>
                  <a:gd name="connsiteX2640" fmla="*/ 1369 w 10785"/>
                  <a:gd name="connsiteY2640" fmla="*/ 9889 h 10000"/>
                  <a:gd name="connsiteX2641" fmla="*/ 1318 w 10785"/>
                  <a:gd name="connsiteY2641" fmla="*/ 9701 h 10000"/>
                  <a:gd name="connsiteX2642" fmla="*/ 1318 w 10785"/>
                  <a:gd name="connsiteY2642" fmla="*/ 9650 h 10000"/>
                  <a:gd name="connsiteX2643" fmla="*/ 1323 w 10785"/>
                  <a:gd name="connsiteY2643" fmla="*/ 9590 h 10000"/>
                  <a:gd name="connsiteX2644" fmla="*/ 1323 w 10785"/>
                  <a:gd name="connsiteY2644" fmla="*/ 9564 h 10000"/>
                  <a:gd name="connsiteX2645" fmla="*/ 1309 w 10785"/>
                  <a:gd name="connsiteY2645" fmla="*/ 9598 h 10000"/>
                  <a:gd name="connsiteX2646" fmla="*/ 1309 w 10785"/>
                  <a:gd name="connsiteY2646" fmla="*/ 9590 h 10000"/>
                  <a:gd name="connsiteX2647" fmla="*/ 1304 w 10785"/>
                  <a:gd name="connsiteY2647" fmla="*/ 9547 h 10000"/>
                  <a:gd name="connsiteX2648" fmla="*/ 1276 w 10785"/>
                  <a:gd name="connsiteY2648" fmla="*/ 9479 h 10000"/>
                  <a:gd name="connsiteX2649" fmla="*/ 1263 w 10785"/>
                  <a:gd name="connsiteY2649" fmla="*/ 9479 h 10000"/>
                  <a:gd name="connsiteX2650" fmla="*/ 1263 w 10785"/>
                  <a:gd name="connsiteY2650" fmla="*/ 9453 h 10000"/>
                  <a:gd name="connsiteX2651" fmla="*/ 1272 w 10785"/>
                  <a:gd name="connsiteY2651" fmla="*/ 9410 h 10000"/>
                  <a:gd name="connsiteX2652" fmla="*/ 1272 w 10785"/>
                  <a:gd name="connsiteY2652" fmla="*/ 9393 h 10000"/>
                  <a:gd name="connsiteX2653" fmla="*/ 1281 w 10785"/>
                  <a:gd name="connsiteY2653" fmla="*/ 9368 h 10000"/>
                  <a:gd name="connsiteX2654" fmla="*/ 1281 w 10785"/>
                  <a:gd name="connsiteY2654" fmla="*/ 9368 h 10000"/>
                  <a:gd name="connsiteX2655" fmla="*/ 1290 w 10785"/>
                  <a:gd name="connsiteY2655" fmla="*/ 9368 h 10000"/>
                  <a:gd name="connsiteX2656" fmla="*/ 1290 w 10785"/>
                  <a:gd name="connsiteY2656" fmla="*/ 9342 h 10000"/>
                  <a:gd name="connsiteX2657" fmla="*/ 1304 w 10785"/>
                  <a:gd name="connsiteY2657" fmla="*/ 9325 h 10000"/>
                  <a:gd name="connsiteX2658" fmla="*/ 1309 w 10785"/>
                  <a:gd name="connsiteY2658" fmla="*/ 9239 h 10000"/>
                  <a:gd name="connsiteX2659" fmla="*/ 1318 w 10785"/>
                  <a:gd name="connsiteY2659" fmla="*/ 9256 h 10000"/>
                  <a:gd name="connsiteX2660" fmla="*/ 1323 w 10785"/>
                  <a:gd name="connsiteY2660" fmla="*/ 9179 h 10000"/>
                  <a:gd name="connsiteX2661" fmla="*/ 1309 w 10785"/>
                  <a:gd name="connsiteY2661" fmla="*/ 9145 h 10000"/>
                  <a:gd name="connsiteX2662" fmla="*/ 1336 w 10785"/>
                  <a:gd name="connsiteY2662" fmla="*/ 9154 h 10000"/>
                  <a:gd name="connsiteX2663" fmla="*/ 1336 w 10785"/>
                  <a:gd name="connsiteY2663" fmla="*/ 9162 h 10000"/>
                  <a:gd name="connsiteX2664" fmla="*/ 1350 w 10785"/>
                  <a:gd name="connsiteY2664" fmla="*/ 9231 h 10000"/>
                  <a:gd name="connsiteX2665" fmla="*/ 1355 w 10785"/>
                  <a:gd name="connsiteY2665" fmla="*/ 9231 h 10000"/>
                  <a:gd name="connsiteX2666" fmla="*/ 1364 w 10785"/>
                  <a:gd name="connsiteY2666" fmla="*/ 9214 h 10000"/>
                  <a:gd name="connsiteX2667" fmla="*/ 1369 w 10785"/>
                  <a:gd name="connsiteY2667" fmla="*/ 9214 h 10000"/>
                  <a:gd name="connsiteX2668" fmla="*/ 1382 w 10785"/>
                  <a:gd name="connsiteY2668" fmla="*/ 9154 h 10000"/>
                  <a:gd name="connsiteX2669" fmla="*/ 1396 w 10785"/>
                  <a:gd name="connsiteY2669" fmla="*/ 9154 h 10000"/>
                  <a:gd name="connsiteX2670" fmla="*/ 1382 w 10785"/>
                  <a:gd name="connsiteY2670" fmla="*/ 9145 h 10000"/>
                  <a:gd name="connsiteX2671" fmla="*/ 1382 w 10785"/>
                  <a:gd name="connsiteY2671" fmla="*/ 9128 h 10000"/>
                  <a:gd name="connsiteX2672" fmla="*/ 1369 w 10785"/>
                  <a:gd name="connsiteY2672" fmla="*/ 9128 h 10000"/>
                  <a:gd name="connsiteX2673" fmla="*/ 1364 w 10785"/>
                  <a:gd name="connsiteY2673" fmla="*/ 9128 h 10000"/>
                  <a:gd name="connsiteX2674" fmla="*/ 1355 w 10785"/>
                  <a:gd name="connsiteY2674" fmla="*/ 9120 h 10000"/>
                  <a:gd name="connsiteX2675" fmla="*/ 1350 w 10785"/>
                  <a:gd name="connsiteY2675" fmla="*/ 9103 h 10000"/>
                  <a:gd name="connsiteX2676" fmla="*/ 1355 w 10785"/>
                  <a:gd name="connsiteY2676" fmla="*/ 9094 h 10000"/>
                  <a:gd name="connsiteX2677" fmla="*/ 1355 w 10785"/>
                  <a:gd name="connsiteY2677" fmla="*/ 9068 h 10000"/>
                  <a:gd name="connsiteX2678" fmla="*/ 1369 w 10785"/>
                  <a:gd name="connsiteY2678" fmla="*/ 9068 h 10000"/>
                  <a:gd name="connsiteX2679" fmla="*/ 1378 w 10785"/>
                  <a:gd name="connsiteY2679" fmla="*/ 9077 h 10000"/>
                  <a:gd name="connsiteX2680" fmla="*/ 1396 w 10785"/>
                  <a:gd name="connsiteY2680" fmla="*/ 9068 h 10000"/>
                  <a:gd name="connsiteX2681" fmla="*/ 1382 w 10785"/>
                  <a:gd name="connsiteY2681" fmla="*/ 8940 h 10000"/>
                  <a:gd name="connsiteX2682" fmla="*/ 1378 w 10785"/>
                  <a:gd name="connsiteY2682" fmla="*/ 8940 h 10000"/>
                  <a:gd name="connsiteX2683" fmla="*/ 1364 w 10785"/>
                  <a:gd name="connsiteY2683" fmla="*/ 8889 h 10000"/>
                  <a:gd name="connsiteX2684" fmla="*/ 1355 w 10785"/>
                  <a:gd name="connsiteY2684" fmla="*/ 8880 h 10000"/>
                  <a:gd name="connsiteX2685" fmla="*/ 1323 w 10785"/>
                  <a:gd name="connsiteY2685" fmla="*/ 8880 h 10000"/>
                  <a:gd name="connsiteX2686" fmla="*/ 1309 w 10785"/>
                  <a:gd name="connsiteY2686" fmla="*/ 8880 h 10000"/>
                  <a:gd name="connsiteX2687" fmla="*/ 1309 w 10785"/>
                  <a:gd name="connsiteY2687" fmla="*/ 8889 h 10000"/>
                  <a:gd name="connsiteX2688" fmla="*/ 1295 w 10785"/>
                  <a:gd name="connsiteY2688" fmla="*/ 8872 h 10000"/>
                  <a:gd name="connsiteX2689" fmla="*/ 1290 w 10785"/>
                  <a:gd name="connsiteY2689" fmla="*/ 8855 h 10000"/>
                  <a:gd name="connsiteX2690" fmla="*/ 1290 w 10785"/>
                  <a:gd name="connsiteY2690" fmla="*/ 8829 h 10000"/>
                  <a:gd name="connsiteX2691" fmla="*/ 1290 w 10785"/>
                  <a:gd name="connsiteY2691" fmla="*/ 8821 h 10000"/>
                  <a:gd name="connsiteX2692" fmla="*/ 1290 w 10785"/>
                  <a:gd name="connsiteY2692" fmla="*/ 8803 h 10000"/>
                  <a:gd name="connsiteX2693" fmla="*/ 1281 w 10785"/>
                  <a:gd name="connsiteY2693" fmla="*/ 8795 h 10000"/>
                  <a:gd name="connsiteX2694" fmla="*/ 1249 w 10785"/>
                  <a:gd name="connsiteY2694" fmla="*/ 8769 h 10000"/>
                  <a:gd name="connsiteX2695" fmla="*/ 1263 w 10785"/>
                  <a:gd name="connsiteY2695" fmla="*/ 8667 h 10000"/>
                  <a:gd name="connsiteX2696" fmla="*/ 1281 w 10785"/>
                  <a:gd name="connsiteY2696" fmla="*/ 8658 h 10000"/>
                  <a:gd name="connsiteX2697" fmla="*/ 1290 w 10785"/>
                  <a:gd name="connsiteY2697" fmla="*/ 8632 h 10000"/>
                  <a:gd name="connsiteX2698" fmla="*/ 1281 w 10785"/>
                  <a:gd name="connsiteY2698" fmla="*/ 8615 h 10000"/>
                  <a:gd name="connsiteX2699" fmla="*/ 1272 w 10785"/>
                  <a:gd name="connsiteY2699" fmla="*/ 8598 h 10000"/>
                  <a:gd name="connsiteX2700" fmla="*/ 1281 w 10785"/>
                  <a:gd name="connsiteY2700" fmla="*/ 8496 h 10000"/>
                  <a:gd name="connsiteX2701" fmla="*/ 1295 w 10785"/>
                  <a:gd name="connsiteY2701" fmla="*/ 8470 h 10000"/>
                  <a:gd name="connsiteX2702" fmla="*/ 1304 w 10785"/>
                  <a:gd name="connsiteY2702" fmla="*/ 8462 h 10000"/>
                  <a:gd name="connsiteX2703" fmla="*/ 1304 w 10785"/>
                  <a:gd name="connsiteY2703" fmla="*/ 8444 h 10000"/>
                  <a:gd name="connsiteX2704" fmla="*/ 1304 w 10785"/>
                  <a:gd name="connsiteY2704" fmla="*/ 8419 h 10000"/>
                  <a:gd name="connsiteX2705" fmla="*/ 1304 w 10785"/>
                  <a:gd name="connsiteY2705" fmla="*/ 8410 h 10000"/>
                  <a:gd name="connsiteX2706" fmla="*/ 1309 w 10785"/>
                  <a:gd name="connsiteY2706" fmla="*/ 8393 h 10000"/>
                  <a:gd name="connsiteX2707" fmla="*/ 1318 w 10785"/>
                  <a:gd name="connsiteY2707" fmla="*/ 8385 h 10000"/>
                  <a:gd name="connsiteX2708" fmla="*/ 1323 w 10785"/>
                  <a:gd name="connsiteY2708" fmla="*/ 8385 h 10000"/>
                  <a:gd name="connsiteX2709" fmla="*/ 1332 w 10785"/>
                  <a:gd name="connsiteY2709" fmla="*/ 8410 h 10000"/>
                  <a:gd name="connsiteX2710" fmla="*/ 1346 w 10785"/>
                  <a:gd name="connsiteY2710" fmla="*/ 8419 h 10000"/>
                  <a:gd name="connsiteX2711" fmla="*/ 1364 w 10785"/>
                  <a:gd name="connsiteY2711" fmla="*/ 8504 h 10000"/>
                  <a:gd name="connsiteX2712" fmla="*/ 1369 w 10785"/>
                  <a:gd name="connsiteY2712" fmla="*/ 8521 h 10000"/>
                  <a:gd name="connsiteX2713" fmla="*/ 1406 w 10785"/>
                  <a:gd name="connsiteY2713" fmla="*/ 8470 h 10000"/>
                  <a:gd name="connsiteX2714" fmla="*/ 1382 w 10785"/>
                  <a:gd name="connsiteY2714" fmla="*/ 8359 h 10000"/>
                  <a:gd name="connsiteX2715" fmla="*/ 1392 w 10785"/>
                  <a:gd name="connsiteY2715" fmla="*/ 8359 h 10000"/>
                  <a:gd name="connsiteX2716" fmla="*/ 1438 w 10785"/>
                  <a:gd name="connsiteY2716" fmla="*/ 8308 h 10000"/>
                  <a:gd name="connsiteX2717" fmla="*/ 1442 w 10785"/>
                  <a:gd name="connsiteY2717" fmla="*/ 8299 h 10000"/>
                  <a:gd name="connsiteX2718" fmla="*/ 1442 w 10785"/>
                  <a:gd name="connsiteY2718" fmla="*/ 8256 h 10000"/>
                  <a:gd name="connsiteX2719" fmla="*/ 1452 w 10785"/>
                  <a:gd name="connsiteY2719" fmla="*/ 8256 h 10000"/>
                  <a:gd name="connsiteX2720" fmla="*/ 1456 w 10785"/>
                  <a:gd name="connsiteY2720" fmla="*/ 8256 h 10000"/>
                  <a:gd name="connsiteX2721" fmla="*/ 1470 w 10785"/>
                  <a:gd name="connsiteY2721" fmla="*/ 8248 h 10000"/>
                  <a:gd name="connsiteX2722" fmla="*/ 1479 w 10785"/>
                  <a:gd name="connsiteY2722" fmla="*/ 8231 h 10000"/>
                  <a:gd name="connsiteX2723" fmla="*/ 1493 w 10785"/>
                  <a:gd name="connsiteY2723" fmla="*/ 8222 h 10000"/>
                  <a:gd name="connsiteX2724" fmla="*/ 1498 w 10785"/>
                  <a:gd name="connsiteY2724" fmla="*/ 8214 h 10000"/>
                  <a:gd name="connsiteX2725" fmla="*/ 1502 w 10785"/>
                  <a:gd name="connsiteY2725" fmla="*/ 8197 h 10000"/>
                  <a:gd name="connsiteX2726" fmla="*/ 1512 w 10785"/>
                  <a:gd name="connsiteY2726" fmla="*/ 8188 h 10000"/>
                  <a:gd name="connsiteX2727" fmla="*/ 1516 w 10785"/>
                  <a:gd name="connsiteY2727" fmla="*/ 8171 h 10000"/>
                  <a:gd name="connsiteX2728" fmla="*/ 1525 w 10785"/>
                  <a:gd name="connsiteY2728" fmla="*/ 8162 h 10000"/>
                  <a:gd name="connsiteX2729" fmla="*/ 1539 w 10785"/>
                  <a:gd name="connsiteY2729" fmla="*/ 8145 h 10000"/>
                  <a:gd name="connsiteX2730" fmla="*/ 1558 w 10785"/>
                  <a:gd name="connsiteY2730" fmla="*/ 8145 h 10000"/>
                  <a:gd name="connsiteX2731" fmla="*/ 1562 w 10785"/>
                  <a:gd name="connsiteY2731" fmla="*/ 8188 h 10000"/>
                  <a:gd name="connsiteX2732" fmla="*/ 1585 w 10785"/>
                  <a:gd name="connsiteY2732" fmla="*/ 8171 h 10000"/>
                  <a:gd name="connsiteX2733" fmla="*/ 1590 w 10785"/>
                  <a:gd name="connsiteY2733" fmla="*/ 8188 h 10000"/>
                  <a:gd name="connsiteX2734" fmla="*/ 1599 w 10785"/>
                  <a:gd name="connsiteY2734" fmla="*/ 8171 h 10000"/>
                  <a:gd name="connsiteX2735" fmla="*/ 1599 w 10785"/>
                  <a:gd name="connsiteY2735" fmla="*/ 8162 h 10000"/>
                  <a:gd name="connsiteX2736" fmla="*/ 1604 w 10785"/>
                  <a:gd name="connsiteY2736" fmla="*/ 8137 h 10000"/>
                  <a:gd name="connsiteX2737" fmla="*/ 1618 w 10785"/>
                  <a:gd name="connsiteY2737" fmla="*/ 8145 h 10000"/>
                  <a:gd name="connsiteX2738" fmla="*/ 1627 w 10785"/>
                  <a:gd name="connsiteY2738" fmla="*/ 8137 h 10000"/>
                  <a:gd name="connsiteX2739" fmla="*/ 1631 w 10785"/>
                  <a:gd name="connsiteY2739" fmla="*/ 8137 h 10000"/>
                  <a:gd name="connsiteX2740" fmla="*/ 1636 w 10785"/>
                  <a:gd name="connsiteY2740" fmla="*/ 8171 h 10000"/>
                  <a:gd name="connsiteX2741" fmla="*/ 1645 w 10785"/>
                  <a:gd name="connsiteY2741" fmla="*/ 8188 h 10000"/>
                  <a:gd name="connsiteX2742" fmla="*/ 1664 w 10785"/>
                  <a:gd name="connsiteY2742" fmla="*/ 8171 h 10000"/>
                  <a:gd name="connsiteX2743" fmla="*/ 1673 w 10785"/>
                  <a:gd name="connsiteY2743" fmla="*/ 8188 h 10000"/>
                  <a:gd name="connsiteX2744" fmla="*/ 1691 w 10785"/>
                  <a:gd name="connsiteY2744" fmla="*/ 8171 h 10000"/>
                  <a:gd name="connsiteX2745" fmla="*/ 1705 w 10785"/>
                  <a:gd name="connsiteY2745" fmla="*/ 8171 h 10000"/>
                  <a:gd name="connsiteX2746" fmla="*/ 1719 w 10785"/>
                  <a:gd name="connsiteY2746" fmla="*/ 8197 h 10000"/>
                  <a:gd name="connsiteX2747" fmla="*/ 1724 w 10785"/>
                  <a:gd name="connsiteY2747" fmla="*/ 8231 h 10000"/>
                  <a:gd name="connsiteX2748" fmla="*/ 1751 w 10785"/>
                  <a:gd name="connsiteY2748" fmla="*/ 8256 h 10000"/>
                  <a:gd name="connsiteX2749" fmla="*/ 1751 w 10785"/>
                  <a:gd name="connsiteY2749" fmla="*/ 8274 h 10000"/>
                  <a:gd name="connsiteX2750" fmla="*/ 1760 w 10785"/>
                  <a:gd name="connsiteY2750" fmla="*/ 8282 h 10000"/>
                  <a:gd name="connsiteX2751" fmla="*/ 1770 w 10785"/>
                  <a:gd name="connsiteY2751" fmla="*/ 8325 h 10000"/>
                  <a:gd name="connsiteX2752" fmla="*/ 1770 w 10785"/>
                  <a:gd name="connsiteY2752" fmla="*/ 8350 h 10000"/>
                  <a:gd name="connsiteX2753" fmla="*/ 1779 w 10785"/>
                  <a:gd name="connsiteY2753" fmla="*/ 8368 h 10000"/>
                  <a:gd name="connsiteX2754" fmla="*/ 1783 w 10785"/>
                  <a:gd name="connsiteY2754" fmla="*/ 8359 h 10000"/>
                  <a:gd name="connsiteX2755" fmla="*/ 1783 w 10785"/>
                  <a:gd name="connsiteY2755" fmla="*/ 8308 h 10000"/>
                  <a:gd name="connsiteX2756" fmla="*/ 1779 w 10785"/>
                  <a:gd name="connsiteY2756" fmla="*/ 8299 h 10000"/>
                  <a:gd name="connsiteX2757" fmla="*/ 1783 w 10785"/>
                  <a:gd name="connsiteY2757" fmla="*/ 8282 h 10000"/>
                  <a:gd name="connsiteX2758" fmla="*/ 1797 w 10785"/>
                  <a:gd name="connsiteY2758" fmla="*/ 8274 h 10000"/>
                  <a:gd name="connsiteX2759" fmla="*/ 1797 w 10785"/>
                  <a:gd name="connsiteY2759" fmla="*/ 8299 h 10000"/>
                  <a:gd name="connsiteX2760" fmla="*/ 1806 w 10785"/>
                  <a:gd name="connsiteY2760" fmla="*/ 8308 h 10000"/>
                  <a:gd name="connsiteX2761" fmla="*/ 1811 w 10785"/>
                  <a:gd name="connsiteY2761" fmla="*/ 8325 h 10000"/>
                  <a:gd name="connsiteX2762" fmla="*/ 1820 w 10785"/>
                  <a:gd name="connsiteY2762" fmla="*/ 8333 h 10000"/>
                  <a:gd name="connsiteX2763" fmla="*/ 1853 w 10785"/>
                  <a:gd name="connsiteY2763" fmla="*/ 8359 h 10000"/>
                  <a:gd name="connsiteX2764" fmla="*/ 1866 w 10785"/>
                  <a:gd name="connsiteY2764" fmla="*/ 8359 h 10000"/>
                  <a:gd name="connsiteX2765" fmla="*/ 1885 w 10785"/>
                  <a:gd name="connsiteY2765" fmla="*/ 8325 h 10000"/>
                  <a:gd name="connsiteX2766" fmla="*/ 1885 w 10785"/>
                  <a:gd name="connsiteY2766" fmla="*/ 8308 h 10000"/>
                  <a:gd name="connsiteX2767" fmla="*/ 1894 w 10785"/>
                  <a:gd name="connsiteY2767" fmla="*/ 8299 h 10000"/>
                  <a:gd name="connsiteX2768" fmla="*/ 1899 w 10785"/>
                  <a:gd name="connsiteY2768" fmla="*/ 8282 h 10000"/>
                  <a:gd name="connsiteX2769" fmla="*/ 1912 w 10785"/>
                  <a:gd name="connsiteY2769" fmla="*/ 8282 h 10000"/>
                  <a:gd name="connsiteX2770" fmla="*/ 1917 w 10785"/>
                  <a:gd name="connsiteY2770" fmla="*/ 8299 h 10000"/>
                  <a:gd name="connsiteX2771" fmla="*/ 1917 w 10785"/>
                  <a:gd name="connsiteY2771" fmla="*/ 8274 h 10000"/>
                  <a:gd name="connsiteX2772" fmla="*/ 1940 w 10785"/>
                  <a:gd name="connsiteY2772" fmla="*/ 8282 h 10000"/>
                  <a:gd name="connsiteX2773" fmla="*/ 1945 w 10785"/>
                  <a:gd name="connsiteY2773" fmla="*/ 8274 h 10000"/>
                  <a:gd name="connsiteX2774" fmla="*/ 1972 w 10785"/>
                  <a:gd name="connsiteY2774" fmla="*/ 8308 h 10000"/>
                  <a:gd name="connsiteX2775" fmla="*/ 1986 w 10785"/>
                  <a:gd name="connsiteY2775" fmla="*/ 8282 h 10000"/>
                  <a:gd name="connsiteX2776" fmla="*/ 1991 w 10785"/>
                  <a:gd name="connsiteY2776" fmla="*/ 8274 h 10000"/>
                  <a:gd name="connsiteX2777" fmla="*/ 2014 w 10785"/>
                  <a:gd name="connsiteY2777" fmla="*/ 8274 h 10000"/>
                  <a:gd name="connsiteX2778" fmla="*/ 2018 w 10785"/>
                  <a:gd name="connsiteY2778" fmla="*/ 8256 h 10000"/>
                  <a:gd name="connsiteX2779" fmla="*/ 2041 w 10785"/>
                  <a:gd name="connsiteY2779" fmla="*/ 8274 h 10000"/>
                  <a:gd name="connsiteX2780" fmla="*/ 2046 w 10785"/>
                  <a:gd name="connsiteY2780" fmla="*/ 8282 h 10000"/>
                  <a:gd name="connsiteX2781" fmla="*/ 2046 w 10785"/>
                  <a:gd name="connsiteY2781" fmla="*/ 8325 h 10000"/>
                  <a:gd name="connsiteX2782" fmla="*/ 2060 w 10785"/>
                  <a:gd name="connsiteY2782" fmla="*/ 8350 h 10000"/>
                  <a:gd name="connsiteX2783" fmla="*/ 2078 w 10785"/>
                  <a:gd name="connsiteY2783" fmla="*/ 8350 h 10000"/>
                  <a:gd name="connsiteX2784" fmla="*/ 2092 w 10785"/>
                  <a:gd name="connsiteY2784" fmla="*/ 8350 h 10000"/>
                  <a:gd name="connsiteX2785" fmla="*/ 2092 w 10785"/>
                  <a:gd name="connsiteY2785" fmla="*/ 8350 h 10000"/>
                  <a:gd name="connsiteX2786" fmla="*/ 2101 w 10785"/>
                  <a:gd name="connsiteY2786" fmla="*/ 8368 h 10000"/>
                  <a:gd name="connsiteX2787" fmla="*/ 2120 w 10785"/>
                  <a:gd name="connsiteY2787" fmla="*/ 8368 h 10000"/>
                  <a:gd name="connsiteX2788" fmla="*/ 2124 w 10785"/>
                  <a:gd name="connsiteY2788" fmla="*/ 8359 h 10000"/>
                  <a:gd name="connsiteX2789" fmla="*/ 2138 w 10785"/>
                  <a:gd name="connsiteY2789" fmla="*/ 8325 h 10000"/>
                  <a:gd name="connsiteX2790" fmla="*/ 2147 w 10785"/>
                  <a:gd name="connsiteY2790" fmla="*/ 8325 h 10000"/>
                  <a:gd name="connsiteX2791" fmla="*/ 2161 w 10785"/>
                  <a:gd name="connsiteY2791" fmla="*/ 8350 h 10000"/>
                  <a:gd name="connsiteX2792" fmla="*/ 2198 w 10785"/>
                  <a:gd name="connsiteY2792" fmla="*/ 8350 h 10000"/>
                  <a:gd name="connsiteX2793" fmla="*/ 2207 w 10785"/>
                  <a:gd name="connsiteY2793" fmla="*/ 8333 h 10000"/>
                  <a:gd name="connsiteX2794" fmla="*/ 2226 w 10785"/>
                  <a:gd name="connsiteY2794" fmla="*/ 8325 h 10000"/>
                  <a:gd name="connsiteX2795" fmla="*/ 2249 w 10785"/>
                  <a:gd name="connsiteY2795" fmla="*/ 8222 h 10000"/>
                  <a:gd name="connsiteX2796" fmla="*/ 2235 w 10785"/>
                  <a:gd name="connsiteY2796" fmla="*/ 8197 h 10000"/>
                  <a:gd name="connsiteX2797" fmla="*/ 2198 w 10785"/>
                  <a:gd name="connsiteY2797" fmla="*/ 8197 h 10000"/>
                  <a:gd name="connsiteX2798" fmla="*/ 2189 w 10785"/>
                  <a:gd name="connsiteY2798" fmla="*/ 8171 h 10000"/>
                  <a:gd name="connsiteX2799" fmla="*/ 2161 w 10785"/>
                  <a:gd name="connsiteY2799" fmla="*/ 8145 h 10000"/>
                  <a:gd name="connsiteX2800" fmla="*/ 2161 w 10785"/>
                  <a:gd name="connsiteY2800" fmla="*/ 8137 h 10000"/>
                  <a:gd name="connsiteX2801" fmla="*/ 2152 w 10785"/>
                  <a:gd name="connsiteY2801" fmla="*/ 8120 h 10000"/>
                  <a:gd name="connsiteX2802" fmla="*/ 2138 w 10785"/>
                  <a:gd name="connsiteY2802" fmla="*/ 8111 h 10000"/>
                  <a:gd name="connsiteX2803" fmla="*/ 2138 w 10785"/>
                  <a:gd name="connsiteY2803" fmla="*/ 8094 h 10000"/>
                  <a:gd name="connsiteX2804" fmla="*/ 2147 w 10785"/>
                  <a:gd name="connsiteY2804" fmla="*/ 8085 h 10000"/>
                  <a:gd name="connsiteX2805" fmla="*/ 2161 w 10785"/>
                  <a:gd name="connsiteY2805" fmla="*/ 8060 h 10000"/>
                  <a:gd name="connsiteX2806" fmla="*/ 2198 w 10785"/>
                  <a:gd name="connsiteY2806" fmla="*/ 8034 h 10000"/>
                  <a:gd name="connsiteX2807" fmla="*/ 2198 w 10785"/>
                  <a:gd name="connsiteY2807" fmla="*/ 8026 h 10000"/>
                  <a:gd name="connsiteX2808" fmla="*/ 2198 w 10785"/>
                  <a:gd name="connsiteY2808" fmla="*/ 8000 h 10000"/>
                  <a:gd name="connsiteX2809" fmla="*/ 2180 w 10785"/>
                  <a:gd name="connsiteY2809" fmla="*/ 7940 h 10000"/>
                  <a:gd name="connsiteX2810" fmla="*/ 2189 w 10785"/>
                  <a:gd name="connsiteY2810" fmla="*/ 7940 h 10000"/>
                  <a:gd name="connsiteX2811" fmla="*/ 2198 w 10785"/>
                  <a:gd name="connsiteY2811" fmla="*/ 7923 h 10000"/>
                  <a:gd name="connsiteX2812" fmla="*/ 2198 w 10785"/>
                  <a:gd name="connsiteY2812" fmla="*/ 7897 h 10000"/>
                  <a:gd name="connsiteX2813" fmla="*/ 2207 w 10785"/>
                  <a:gd name="connsiteY2813" fmla="*/ 7889 h 10000"/>
                  <a:gd name="connsiteX2814" fmla="*/ 2221 w 10785"/>
                  <a:gd name="connsiteY2814" fmla="*/ 7889 h 10000"/>
                  <a:gd name="connsiteX2815" fmla="*/ 2226 w 10785"/>
                  <a:gd name="connsiteY2815" fmla="*/ 7897 h 10000"/>
                  <a:gd name="connsiteX2816" fmla="*/ 2235 w 10785"/>
                  <a:gd name="connsiteY2816" fmla="*/ 7889 h 10000"/>
                  <a:gd name="connsiteX2817" fmla="*/ 2249 w 10785"/>
                  <a:gd name="connsiteY2817" fmla="*/ 7897 h 10000"/>
                  <a:gd name="connsiteX2818" fmla="*/ 2267 w 10785"/>
                  <a:gd name="connsiteY2818" fmla="*/ 7897 h 10000"/>
                  <a:gd name="connsiteX2819" fmla="*/ 2272 w 10785"/>
                  <a:gd name="connsiteY2819" fmla="*/ 7889 h 10000"/>
                  <a:gd name="connsiteX2820" fmla="*/ 2281 w 10785"/>
                  <a:gd name="connsiteY2820" fmla="*/ 7872 h 10000"/>
                  <a:gd name="connsiteX2821" fmla="*/ 2272 w 10785"/>
                  <a:gd name="connsiteY2821" fmla="*/ 7846 h 10000"/>
                  <a:gd name="connsiteX2822" fmla="*/ 2253 w 10785"/>
                  <a:gd name="connsiteY2822" fmla="*/ 7838 h 10000"/>
                  <a:gd name="connsiteX2823" fmla="*/ 2221 w 10785"/>
                  <a:gd name="connsiteY2823" fmla="*/ 7821 h 10000"/>
                  <a:gd name="connsiteX2824" fmla="*/ 2212 w 10785"/>
                  <a:gd name="connsiteY2824" fmla="*/ 7812 h 10000"/>
                  <a:gd name="connsiteX2825" fmla="*/ 2212 w 10785"/>
                  <a:gd name="connsiteY2825" fmla="*/ 7803 h 10000"/>
                  <a:gd name="connsiteX2826" fmla="*/ 2221 w 10785"/>
                  <a:gd name="connsiteY2826" fmla="*/ 7803 h 10000"/>
                  <a:gd name="connsiteX2827" fmla="*/ 2235 w 10785"/>
                  <a:gd name="connsiteY2827" fmla="*/ 7786 h 10000"/>
                  <a:gd name="connsiteX2828" fmla="*/ 2240 w 10785"/>
                  <a:gd name="connsiteY2828" fmla="*/ 7778 h 10000"/>
                  <a:gd name="connsiteX2829" fmla="*/ 2226 w 10785"/>
                  <a:gd name="connsiteY2829" fmla="*/ 7761 h 10000"/>
                  <a:gd name="connsiteX2830" fmla="*/ 2221 w 10785"/>
                  <a:gd name="connsiteY2830" fmla="*/ 7778 h 10000"/>
                  <a:gd name="connsiteX2831" fmla="*/ 2198 w 10785"/>
                  <a:gd name="connsiteY2831" fmla="*/ 7778 h 10000"/>
                  <a:gd name="connsiteX2832" fmla="*/ 2198 w 10785"/>
                  <a:gd name="connsiteY2832" fmla="*/ 7752 h 10000"/>
                  <a:gd name="connsiteX2833" fmla="*/ 2207 w 10785"/>
                  <a:gd name="connsiteY2833" fmla="*/ 7735 h 10000"/>
                  <a:gd name="connsiteX2834" fmla="*/ 2212 w 10785"/>
                  <a:gd name="connsiteY2834" fmla="*/ 7726 h 10000"/>
                  <a:gd name="connsiteX2835" fmla="*/ 2198 w 10785"/>
                  <a:gd name="connsiteY2835" fmla="*/ 7692 h 10000"/>
                  <a:gd name="connsiteX2836" fmla="*/ 2221 w 10785"/>
                  <a:gd name="connsiteY2836" fmla="*/ 7692 h 10000"/>
                  <a:gd name="connsiteX2837" fmla="*/ 2221 w 10785"/>
                  <a:gd name="connsiteY2837" fmla="*/ 7675 h 10000"/>
                  <a:gd name="connsiteX2838" fmla="*/ 2235 w 10785"/>
                  <a:gd name="connsiteY2838" fmla="*/ 7675 h 10000"/>
                  <a:gd name="connsiteX2839" fmla="*/ 2240 w 10785"/>
                  <a:gd name="connsiteY2839" fmla="*/ 7692 h 10000"/>
                  <a:gd name="connsiteX2840" fmla="*/ 2249 w 10785"/>
                  <a:gd name="connsiteY2840" fmla="*/ 7692 h 10000"/>
                  <a:gd name="connsiteX2841" fmla="*/ 2258 w 10785"/>
                  <a:gd name="connsiteY2841" fmla="*/ 7692 h 10000"/>
                  <a:gd name="connsiteX2842" fmla="*/ 2267 w 10785"/>
                  <a:gd name="connsiteY2842" fmla="*/ 7692 h 10000"/>
                  <a:gd name="connsiteX2843" fmla="*/ 2295 w 10785"/>
                  <a:gd name="connsiteY2843" fmla="*/ 7692 h 10000"/>
                  <a:gd name="connsiteX2844" fmla="*/ 2300 w 10785"/>
                  <a:gd name="connsiteY2844" fmla="*/ 7701 h 10000"/>
                  <a:gd name="connsiteX2845" fmla="*/ 2313 w 10785"/>
                  <a:gd name="connsiteY2845" fmla="*/ 7675 h 10000"/>
                  <a:gd name="connsiteX2846" fmla="*/ 2323 w 10785"/>
                  <a:gd name="connsiteY2846" fmla="*/ 7675 h 10000"/>
                  <a:gd name="connsiteX2847" fmla="*/ 2341 w 10785"/>
                  <a:gd name="connsiteY2847" fmla="*/ 7675 h 10000"/>
                  <a:gd name="connsiteX2848" fmla="*/ 2346 w 10785"/>
                  <a:gd name="connsiteY2848" fmla="*/ 7667 h 10000"/>
                  <a:gd name="connsiteX2849" fmla="*/ 2359 w 10785"/>
                  <a:gd name="connsiteY2849" fmla="*/ 7650 h 10000"/>
                  <a:gd name="connsiteX2850" fmla="*/ 2373 w 10785"/>
                  <a:gd name="connsiteY2850" fmla="*/ 7624 h 10000"/>
                  <a:gd name="connsiteX2851" fmla="*/ 2382 w 10785"/>
                  <a:gd name="connsiteY2851" fmla="*/ 7641 h 10000"/>
                  <a:gd name="connsiteX2852" fmla="*/ 2396 w 10785"/>
                  <a:gd name="connsiteY2852" fmla="*/ 7650 h 10000"/>
                  <a:gd name="connsiteX2853" fmla="*/ 2401 w 10785"/>
                  <a:gd name="connsiteY2853" fmla="*/ 7650 h 10000"/>
                  <a:gd name="connsiteX2854" fmla="*/ 2401 w 10785"/>
                  <a:gd name="connsiteY2854" fmla="*/ 7624 h 10000"/>
                  <a:gd name="connsiteX2855" fmla="*/ 2419 w 10785"/>
                  <a:gd name="connsiteY2855" fmla="*/ 7624 h 10000"/>
                  <a:gd name="connsiteX2856" fmla="*/ 2433 w 10785"/>
                  <a:gd name="connsiteY2856" fmla="*/ 7615 h 10000"/>
                  <a:gd name="connsiteX2857" fmla="*/ 2442 w 10785"/>
                  <a:gd name="connsiteY2857" fmla="*/ 7615 h 10000"/>
                  <a:gd name="connsiteX2858" fmla="*/ 2447 w 10785"/>
                  <a:gd name="connsiteY2858" fmla="*/ 7598 h 10000"/>
                  <a:gd name="connsiteX2859" fmla="*/ 2461 w 10785"/>
                  <a:gd name="connsiteY2859" fmla="*/ 7598 h 10000"/>
                  <a:gd name="connsiteX2860" fmla="*/ 2465 w 10785"/>
                  <a:gd name="connsiteY2860" fmla="*/ 7615 h 10000"/>
                  <a:gd name="connsiteX2861" fmla="*/ 2479 w 10785"/>
                  <a:gd name="connsiteY2861" fmla="*/ 7564 h 10000"/>
                  <a:gd name="connsiteX2862" fmla="*/ 2488 w 10785"/>
                  <a:gd name="connsiteY2862" fmla="*/ 7556 h 10000"/>
                  <a:gd name="connsiteX2863" fmla="*/ 2493 w 10785"/>
                  <a:gd name="connsiteY2863" fmla="*/ 7556 h 10000"/>
                  <a:gd name="connsiteX2864" fmla="*/ 2507 w 10785"/>
                  <a:gd name="connsiteY2864" fmla="*/ 7556 h 10000"/>
                  <a:gd name="connsiteX2865" fmla="*/ 2530 w 10785"/>
                  <a:gd name="connsiteY2865" fmla="*/ 7538 h 10000"/>
                  <a:gd name="connsiteX2866" fmla="*/ 2530 w 10785"/>
                  <a:gd name="connsiteY2866" fmla="*/ 7556 h 10000"/>
                  <a:gd name="connsiteX2867" fmla="*/ 2641 w 10785"/>
                  <a:gd name="connsiteY2867" fmla="*/ 7504 h 10000"/>
                  <a:gd name="connsiteX2868" fmla="*/ 2654 w 10785"/>
                  <a:gd name="connsiteY2868" fmla="*/ 7487 h 10000"/>
                  <a:gd name="connsiteX2869" fmla="*/ 2664 w 10785"/>
                  <a:gd name="connsiteY2869" fmla="*/ 7487 h 10000"/>
                  <a:gd name="connsiteX2870" fmla="*/ 2668 w 10785"/>
                  <a:gd name="connsiteY2870" fmla="*/ 7479 h 10000"/>
                  <a:gd name="connsiteX2871" fmla="*/ 2673 w 10785"/>
                  <a:gd name="connsiteY2871" fmla="*/ 7462 h 10000"/>
                  <a:gd name="connsiteX2872" fmla="*/ 2673 w 10785"/>
                  <a:gd name="connsiteY2872" fmla="*/ 7427 h 10000"/>
                  <a:gd name="connsiteX2873" fmla="*/ 2687 w 10785"/>
                  <a:gd name="connsiteY2873" fmla="*/ 7436 h 10000"/>
                  <a:gd name="connsiteX2874" fmla="*/ 2696 w 10785"/>
                  <a:gd name="connsiteY2874" fmla="*/ 7427 h 10000"/>
                  <a:gd name="connsiteX2875" fmla="*/ 2700 w 10785"/>
                  <a:gd name="connsiteY2875" fmla="*/ 7419 h 10000"/>
                  <a:gd name="connsiteX2876" fmla="*/ 2710 w 10785"/>
                  <a:gd name="connsiteY2876" fmla="*/ 7402 h 10000"/>
                  <a:gd name="connsiteX2877" fmla="*/ 2724 w 10785"/>
                  <a:gd name="connsiteY2877" fmla="*/ 7402 h 10000"/>
                  <a:gd name="connsiteX2878" fmla="*/ 2724 w 10785"/>
                  <a:gd name="connsiteY2878" fmla="*/ 7393 h 10000"/>
                  <a:gd name="connsiteX2879" fmla="*/ 2737 w 10785"/>
                  <a:gd name="connsiteY2879" fmla="*/ 7393 h 10000"/>
                  <a:gd name="connsiteX2880" fmla="*/ 2742 w 10785"/>
                  <a:gd name="connsiteY2880" fmla="*/ 7402 h 10000"/>
                  <a:gd name="connsiteX2881" fmla="*/ 2747 w 10785"/>
                  <a:gd name="connsiteY2881" fmla="*/ 7402 h 10000"/>
                  <a:gd name="connsiteX2882" fmla="*/ 2760 w 10785"/>
                  <a:gd name="connsiteY2882" fmla="*/ 7402 h 10000"/>
                  <a:gd name="connsiteX2883" fmla="*/ 2770 w 10785"/>
                  <a:gd name="connsiteY2883" fmla="*/ 7402 h 10000"/>
                  <a:gd name="connsiteX2884" fmla="*/ 2774 w 10785"/>
                  <a:gd name="connsiteY2884" fmla="*/ 7402 h 10000"/>
                  <a:gd name="connsiteX2885" fmla="*/ 2783 w 10785"/>
                  <a:gd name="connsiteY2885" fmla="*/ 7419 h 10000"/>
                  <a:gd name="connsiteX2886" fmla="*/ 2802 w 10785"/>
                  <a:gd name="connsiteY2886" fmla="*/ 7436 h 10000"/>
                  <a:gd name="connsiteX2887" fmla="*/ 2816 w 10785"/>
                  <a:gd name="connsiteY2887" fmla="*/ 7419 h 10000"/>
                  <a:gd name="connsiteX2888" fmla="*/ 2834 w 10785"/>
                  <a:gd name="connsiteY2888" fmla="*/ 7419 h 10000"/>
                  <a:gd name="connsiteX2889" fmla="*/ 2843 w 10785"/>
                  <a:gd name="connsiteY2889" fmla="*/ 7419 h 10000"/>
                  <a:gd name="connsiteX2890" fmla="*/ 2848 w 10785"/>
                  <a:gd name="connsiteY2890" fmla="*/ 7436 h 10000"/>
                  <a:gd name="connsiteX2891" fmla="*/ 2857 w 10785"/>
                  <a:gd name="connsiteY2891" fmla="*/ 7453 h 10000"/>
                  <a:gd name="connsiteX2892" fmla="*/ 2857 w 10785"/>
                  <a:gd name="connsiteY2892" fmla="*/ 7504 h 10000"/>
                  <a:gd name="connsiteX2893" fmla="*/ 2862 w 10785"/>
                  <a:gd name="connsiteY2893" fmla="*/ 7530 h 10000"/>
                  <a:gd name="connsiteX2894" fmla="*/ 2876 w 10785"/>
                  <a:gd name="connsiteY2894" fmla="*/ 7538 h 10000"/>
                  <a:gd name="connsiteX2895" fmla="*/ 2871 w 10785"/>
                  <a:gd name="connsiteY2895" fmla="*/ 7564 h 10000"/>
                  <a:gd name="connsiteX2896" fmla="*/ 2871 w 10785"/>
                  <a:gd name="connsiteY2896" fmla="*/ 7598 h 10000"/>
                  <a:gd name="connsiteX2897" fmla="*/ 2857 w 10785"/>
                  <a:gd name="connsiteY2897" fmla="*/ 7624 h 10000"/>
                  <a:gd name="connsiteX2898" fmla="*/ 2862 w 10785"/>
                  <a:gd name="connsiteY2898" fmla="*/ 7641 h 10000"/>
                  <a:gd name="connsiteX2899" fmla="*/ 2871 w 10785"/>
                  <a:gd name="connsiteY2899" fmla="*/ 7667 h 10000"/>
                  <a:gd name="connsiteX2900" fmla="*/ 2880 w 10785"/>
                  <a:gd name="connsiteY2900" fmla="*/ 7650 h 10000"/>
                  <a:gd name="connsiteX2901" fmla="*/ 2894 w 10785"/>
                  <a:gd name="connsiteY2901" fmla="*/ 7667 h 10000"/>
                  <a:gd name="connsiteX2902" fmla="*/ 2903 w 10785"/>
                  <a:gd name="connsiteY2902" fmla="*/ 7667 h 10000"/>
                  <a:gd name="connsiteX2903" fmla="*/ 2908 w 10785"/>
                  <a:gd name="connsiteY2903" fmla="*/ 7641 h 10000"/>
                  <a:gd name="connsiteX2904" fmla="*/ 2917 w 10785"/>
                  <a:gd name="connsiteY2904" fmla="*/ 7641 h 10000"/>
                  <a:gd name="connsiteX2905" fmla="*/ 2922 w 10785"/>
                  <a:gd name="connsiteY2905" fmla="*/ 7641 h 10000"/>
                  <a:gd name="connsiteX2906" fmla="*/ 2931 w 10785"/>
                  <a:gd name="connsiteY2906" fmla="*/ 7615 h 10000"/>
                  <a:gd name="connsiteX2907" fmla="*/ 2935 w 10785"/>
                  <a:gd name="connsiteY2907" fmla="*/ 7615 h 10000"/>
                  <a:gd name="connsiteX2908" fmla="*/ 2945 w 10785"/>
                  <a:gd name="connsiteY2908" fmla="*/ 7650 h 10000"/>
                  <a:gd name="connsiteX2909" fmla="*/ 2949 w 10785"/>
                  <a:gd name="connsiteY2909" fmla="*/ 7667 h 10000"/>
                  <a:gd name="connsiteX2910" fmla="*/ 2949 w 10785"/>
                  <a:gd name="connsiteY2910" fmla="*/ 7675 h 10000"/>
                  <a:gd name="connsiteX2911" fmla="*/ 2945 w 10785"/>
                  <a:gd name="connsiteY2911" fmla="*/ 7692 h 10000"/>
                  <a:gd name="connsiteX2912" fmla="*/ 2963 w 10785"/>
                  <a:gd name="connsiteY2912" fmla="*/ 7701 h 10000"/>
                  <a:gd name="connsiteX2913" fmla="*/ 2963 w 10785"/>
                  <a:gd name="connsiteY2913" fmla="*/ 7675 h 10000"/>
                  <a:gd name="connsiteX2914" fmla="*/ 2954 w 10785"/>
                  <a:gd name="connsiteY2914" fmla="*/ 7667 h 10000"/>
                  <a:gd name="connsiteX2915" fmla="*/ 2963 w 10785"/>
                  <a:gd name="connsiteY2915" fmla="*/ 7667 h 10000"/>
                  <a:gd name="connsiteX2916" fmla="*/ 2982 w 10785"/>
                  <a:gd name="connsiteY2916" fmla="*/ 7667 h 10000"/>
                  <a:gd name="connsiteX2917" fmla="*/ 2991 w 10785"/>
                  <a:gd name="connsiteY2917" fmla="*/ 7675 h 10000"/>
                  <a:gd name="connsiteX2918" fmla="*/ 2995 w 10785"/>
                  <a:gd name="connsiteY2918" fmla="*/ 7692 h 10000"/>
                  <a:gd name="connsiteX2919" fmla="*/ 3009 w 10785"/>
                  <a:gd name="connsiteY2919" fmla="*/ 7701 h 10000"/>
                  <a:gd name="connsiteX2920" fmla="*/ 3018 w 10785"/>
                  <a:gd name="connsiteY2920" fmla="*/ 7701 h 10000"/>
                  <a:gd name="connsiteX2921" fmla="*/ 3023 w 10785"/>
                  <a:gd name="connsiteY2921" fmla="*/ 7692 h 10000"/>
                  <a:gd name="connsiteX2922" fmla="*/ 3028 w 10785"/>
                  <a:gd name="connsiteY2922" fmla="*/ 7675 h 10000"/>
                  <a:gd name="connsiteX2923" fmla="*/ 3037 w 10785"/>
                  <a:gd name="connsiteY2923" fmla="*/ 7692 h 10000"/>
                  <a:gd name="connsiteX2924" fmla="*/ 3028 w 10785"/>
                  <a:gd name="connsiteY2924" fmla="*/ 7709 h 10000"/>
                  <a:gd name="connsiteX2925" fmla="*/ 3023 w 10785"/>
                  <a:gd name="connsiteY2925" fmla="*/ 7709 h 10000"/>
                  <a:gd name="connsiteX2926" fmla="*/ 3018 w 10785"/>
                  <a:gd name="connsiteY2926" fmla="*/ 7726 h 10000"/>
                  <a:gd name="connsiteX2927" fmla="*/ 3009 w 10785"/>
                  <a:gd name="connsiteY2927" fmla="*/ 7735 h 10000"/>
                  <a:gd name="connsiteX2928" fmla="*/ 3009 w 10785"/>
                  <a:gd name="connsiteY2928" fmla="*/ 7761 h 10000"/>
                  <a:gd name="connsiteX2929" fmla="*/ 3009 w 10785"/>
                  <a:gd name="connsiteY2929" fmla="*/ 7778 h 10000"/>
                  <a:gd name="connsiteX2930" fmla="*/ 3018 w 10785"/>
                  <a:gd name="connsiteY2930" fmla="*/ 7786 h 10000"/>
                  <a:gd name="connsiteX2931" fmla="*/ 3023 w 10785"/>
                  <a:gd name="connsiteY2931" fmla="*/ 7786 h 10000"/>
                  <a:gd name="connsiteX2932" fmla="*/ 3028 w 10785"/>
                  <a:gd name="connsiteY2932" fmla="*/ 7778 h 10000"/>
                  <a:gd name="connsiteX2933" fmla="*/ 3051 w 10785"/>
                  <a:gd name="connsiteY2933" fmla="*/ 7761 h 10000"/>
                  <a:gd name="connsiteX2934" fmla="*/ 3055 w 10785"/>
                  <a:gd name="connsiteY2934" fmla="*/ 7778 h 10000"/>
                  <a:gd name="connsiteX2935" fmla="*/ 3065 w 10785"/>
                  <a:gd name="connsiteY2935" fmla="*/ 7761 h 10000"/>
                  <a:gd name="connsiteX2936" fmla="*/ 3069 w 10785"/>
                  <a:gd name="connsiteY2936" fmla="*/ 7786 h 10000"/>
                  <a:gd name="connsiteX2937" fmla="*/ 3083 w 10785"/>
                  <a:gd name="connsiteY2937" fmla="*/ 7786 h 10000"/>
                  <a:gd name="connsiteX2938" fmla="*/ 3078 w 10785"/>
                  <a:gd name="connsiteY2938" fmla="*/ 7761 h 10000"/>
                  <a:gd name="connsiteX2939" fmla="*/ 3083 w 10785"/>
                  <a:gd name="connsiteY2939" fmla="*/ 7752 h 10000"/>
                  <a:gd name="connsiteX2940" fmla="*/ 3097 w 10785"/>
                  <a:gd name="connsiteY2940" fmla="*/ 7752 h 10000"/>
                  <a:gd name="connsiteX2941" fmla="*/ 3111 w 10785"/>
                  <a:gd name="connsiteY2941" fmla="*/ 7726 h 10000"/>
                  <a:gd name="connsiteX2942" fmla="*/ 3124 w 10785"/>
                  <a:gd name="connsiteY2942" fmla="*/ 7709 h 10000"/>
                  <a:gd name="connsiteX2943" fmla="*/ 3143 w 10785"/>
                  <a:gd name="connsiteY2943" fmla="*/ 7692 h 10000"/>
                  <a:gd name="connsiteX2944" fmla="*/ 3152 w 10785"/>
                  <a:gd name="connsiteY2944" fmla="*/ 7667 h 10000"/>
                  <a:gd name="connsiteX2945" fmla="*/ 3157 w 10785"/>
                  <a:gd name="connsiteY2945" fmla="*/ 7650 h 10000"/>
                  <a:gd name="connsiteX2946" fmla="*/ 3161 w 10785"/>
                  <a:gd name="connsiteY2946" fmla="*/ 7650 h 10000"/>
                  <a:gd name="connsiteX2947" fmla="*/ 3189 w 10785"/>
                  <a:gd name="connsiteY2947" fmla="*/ 7641 h 10000"/>
                  <a:gd name="connsiteX2948" fmla="*/ 3198 w 10785"/>
                  <a:gd name="connsiteY2948" fmla="*/ 7624 h 10000"/>
                  <a:gd name="connsiteX2949" fmla="*/ 3217 w 10785"/>
                  <a:gd name="connsiteY2949" fmla="*/ 7615 h 10000"/>
                  <a:gd name="connsiteX2950" fmla="*/ 3235 w 10785"/>
                  <a:gd name="connsiteY2950" fmla="*/ 7598 h 10000"/>
                  <a:gd name="connsiteX2951" fmla="*/ 3235 w 10785"/>
                  <a:gd name="connsiteY2951" fmla="*/ 7615 h 10000"/>
                  <a:gd name="connsiteX2952" fmla="*/ 3235 w 10785"/>
                  <a:gd name="connsiteY2952" fmla="*/ 7641 h 10000"/>
                  <a:gd name="connsiteX2953" fmla="*/ 3235 w 10785"/>
                  <a:gd name="connsiteY2953" fmla="*/ 7650 h 10000"/>
                  <a:gd name="connsiteX2954" fmla="*/ 3226 w 10785"/>
                  <a:gd name="connsiteY2954" fmla="*/ 7650 h 10000"/>
                  <a:gd name="connsiteX2955" fmla="*/ 3217 w 10785"/>
                  <a:gd name="connsiteY2955" fmla="*/ 7650 h 10000"/>
                  <a:gd name="connsiteX2956" fmla="*/ 3212 w 10785"/>
                  <a:gd name="connsiteY2956" fmla="*/ 7675 h 10000"/>
                  <a:gd name="connsiteX2957" fmla="*/ 3212 w 10785"/>
                  <a:gd name="connsiteY2957"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334 w 10785"/>
                  <a:gd name="connsiteY731" fmla="*/ 4810 h 10000"/>
                  <a:gd name="connsiteX732" fmla="*/ 10422 w 10785"/>
                  <a:gd name="connsiteY732" fmla="*/ 5051 h 10000"/>
                  <a:gd name="connsiteX733" fmla="*/ 10691 w 10785"/>
                  <a:gd name="connsiteY733" fmla="*/ 5255 h 10000"/>
                  <a:gd name="connsiteX734" fmla="*/ 10619 w 10785"/>
                  <a:gd name="connsiteY734" fmla="*/ 4708 h 10000"/>
                  <a:gd name="connsiteX735" fmla="*/ 10785 w 10785"/>
                  <a:gd name="connsiteY735" fmla="*/ 4708 h 10000"/>
                  <a:gd name="connsiteX736" fmla="*/ 10689 w 10785"/>
                  <a:gd name="connsiteY736" fmla="*/ 4467 h 10000"/>
                  <a:gd name="connsiteX737" fmla="*/ 10354 w 10785"/>
                  <a:gd name="connsiteY737" fmla="*/ 4302 h 10000"/>
                  <a:gd name="connsiteX738" fmla="*/ 9912 w 10785"/>
                  <a:gd name="connsiteY738" fmla="*/ 3675 h 10000"/>
                  <a:gd name="connsiteX739" fmla="*/ 9903 w 10785"/>
                  <a:gd name="connsiteY739" fmla="*/ 3667 h 10000"/>
                  <a:gd name="connsiteX740" fmla="*/ 9894 w 10785"/>
                  <a:gd name="connsiteY740" fmla="*/ 3641 h 10000"/>
                  <a:gd name="connsiteX741" fmla="*/ 9889 w 10785"/>
                  <a:gd name="connsiteY741" fmla="*/ 3650 h 10000"/>
                  <a:gd name="connsiteX742" fmla="*/ 9848 w 10785"/>
                  <a:gd name="connsiteY742" fmla="*/ 3598 h 10000"/>
                  <a:gd name="connsiteX743" fmla="*/ 9829 w 10785"/>
                  <a:gd name="connsiteY743" fmla="*/ 3581 h 10000"/>
                  <a:gd name="connsiteX744" fmla="*/ 9820 w 10785"/>
                  <a:gd name="connsiteY744" fmla="*/ 3581 h 10000"/>
                  <a:gd name="connsiteX745" fmla="*/ 9793 w 10785"/>
                  <a:gd name="connsiteY745" fmla="*/ 3556 h 10000"/>
                  <a:gd name="connsiteX746" fmla="*/ 9779 w 10785"/>
                  <a:gd name="connsiteY746" fmla="*/ 3556 h 10000"/>
                  <a:gd name="connsiteX747" fmla="*/ 9747 w 10785"/>
                  <a:gd name="connsiteY747" fmla="*/ 3487 h 10000"/>
                  <a:gd name="connsiteX748" fmla="*/ 9668 w 10785"/>
                  <a:gd name="connsiteY748" fmla="*/ 3479 h 10000"/>
                  <a:gd name="connsiteX749" fmla="*/ 9659 w 10785"/>
                  <a:gd name="connsiteY749" fmla="*/ 3487 h 10000"/>
                  <a:gd name="connsiteX750" fmla="*/ 9645 w 10785"/>
                  <a:gd name="connsiteY750" fmla="*/ 3504 h 10000"/>
                  <a:gd name="connsiteX751" fmla="*/ 9631 w 10785"/>
                  <a:gd name="connsiteY751" fmla="*/ 3487 h 10000"/>
                  <a:gd name="connsiteX752" fmla="*/ 9613 w 10785"/>
                  <a:gd name="connsiteY752" fmla="*/ 3479 h 10000"/>
                  <a:gd name="connsiteX753" fmla="*/ 9599 w 10785"/>
                  <a:gd name="connsiteY753" fmla="*/ 3479 h 10000"/>
                  <a:gd name="connsiteX754" fmla="*/ 9571 w 10785"/>
                  <a:gd name="connsiteY754" fmla="*/ 3479 h 10000"/>
                  <a:gd name="connsiteX755" fmla="*/ 9562 w 10785"/>
                  <a:gd name="connsiteY755" fmla="*/ 3487 h 10000"/>
                  <a:gd name="connsiteX756" fmla="*/ 9539 w 10785"/>
                  <a:gd name="connsiteY756" fmla="*/ 3487 h 10000"/>
                  <a:gd name="connsiteX757" fmla="*/ 9507 w 10785"/>
                  <a:gd name="connsiteY757" fmla="*/ 3453 h 10000"/>
                  <a:gd name="connsiteX758" fmla="*/ 9498 w 10785"/>
                  <a:gd name="connsiteY758" fmla="*/ 3453 h 10000"/>
                  <a:gd name="connsiteX759" fmla="*/ 9387 w 10785"/>
                  <a:gd name="connsiteY759" fmla="*/ 3419 h 10000"/>
                  <a:gd name="connsiteX760" fmla="*/ 9373 w 10785"/>
                  <a:gd name="connsiteY760" fmla="*/ 3427 h 10000"/>
                  <a:gd name="connsiteX761" fmla="*/ 9373 w 10785"/>
                  <a:gd name="connsiteY761" fmla="*/ 3462 h 10000"/>
                  <a:gd name="connsiteX762" fmla="*/ 9378 w 10785"/>
                  <a:gd name="connsiteY762" fmla="*/ 3479 h 10000"/>
                  <a:gd name="connsiteX763" fmla="*/ 9378 w 10785"/>
                  <a:gd name="connsiteY763" fmla="*/ 3530 h 10000"/>
                  <a:gd name="connsiteX764" fmla="*/ 9355 w 10785"/>
                  <a:gd name="connsiteY764" fmla="*/ 3538 h 10000"/>
                  <a:gd name="connsiteX765" fmla="*/ 9355 w 10785"/>
                  <a:gd name="connsiteY765" fmla="*/ 3581 h 10000"/>
                  <a:gd name="connsiteX766" fmla="*/ 9387 w 10785"/>
                  <a:gd name="connsiteY766" fmla="*/ 3590 h 10000"/>
                  <a:gd name="connsiteX767" fmla="*/ 9401 w 10785"/>
                  <a:gd name="connsiteY767" fmla="*/ 3667 h 10000"/>
                  <a:gd name="connsiteX768" fmla="*/ 9406 w 10785"/>
                  <a:gd name="connsiteY768" fmla="*/ 3675 h 10000"/>
                  <a:gd name="connsiteX769" fmla="*/ 9406 w 10785"/>
                  <a:gd name="connsiteY769" fmla="*/ 3701 h 10000"/>
                  <a:gd name="connsiteX770" fmla="*/ 9415 w 10785"/>
                  <a:gd name="connsiteY770" fmla="*/ 3752 h 10000"/>
                  <a:gd name="connsiteX771" fmla="*/ 9373 w 10785"/>
                  <a:gd name="connsiteY771" fmla="*/ 3838 h 10000"/>
                  <a:gd name="connsiteX772" fmla="*/ 9355 w 10785"/>
                  <a:gd name="connsiteY772" fmla="*/ 3863 h 10000"/>
                  <a:gd name="connsiteX773" fmla="*/ 9327 w 10785"/>
                  <a:gd name="connsiteY773" fmla="*/ 3863 h 10000"/>
                  <a:gd name="connsiteX774" fmla="*/ 9313 w 10785"/>
                  <a:gd name="connsiteY774" fmla="*/ 3846 h 10000"/>
                  <a:gd name="connsiteX775" fmla="*/ 9300 w 10785"/>
                  <a:gd name="connsiteY775" fmla="*/ 3778 h 10000"/>
                  <a:gd name="connsiteX776" fmla="*/ 9281 w 10785"/>
                  <a:gd name="connsiteY776" fmla="*/ 3752 h 10000"/>
                  <a:gd name="connsiteX777" fmla="*/ 9281 w 10785"/>
                  <a:gd name="connsiteY777" fmla="*/ 3735 h 10000"/>
                  <a:gd name="connsiteX778" fmla="*/ 9267 w 10785"/>
                  <a:gd name="connsiteY778" fmla="*/ 3726 h 10000"/>
                  <a:gd name="connsiteX779" fmla="*/ 9240 w 10785"/>
                  <a:gd name="connsiteY779" fmla="*/ 3726 h 10000"/>
                  <a:gd name="connsiteX780" fmla="*/ 9230 w 10785"/>
                  <a:gd name="connsiteY780" fmla="*/ 3718 h 10000"/>
                  <a:gd name="connsiteX781" fmla="*/ 9226 w 10785"/>
                  <a:gd name="connsiteY781" fmla="*/ 3590 h 10000"/>
                  <a:gd name="connsiteX782" fmla="*/ 9207 w 10785"/>
                  <a:gd name="connsiteY782" fmla="*/ 3581 h 10000"/>
                  <a:gd name="connsiteX783" fmla="*/ 9207 w 10785"/>
                  <a:gd name="connsiteY783" fmla="*/ 3556 h 10000"/>
                  <a:gd name="connsiteX784" fmla="*/ 9217 w 10785"/>
                  <a:gd name="connsiteY784" fmla="*/ 3538 h 10000"/>
                  <a:gd name="connsiteX785" fmla="*/ 9212 w 10785"/>
                  <a:gd name="connsiteY785" fmla="*/ 3538 h 10000"/>
                  <a:gd name="connsiteX786" fmla="*/ 9198 w 10785"/>
                  <a:gd name="connsiteY786" fmla="*/ 3513 h 10000"/>
                  <a:gd name="connsiteX787" fmla="*/ 9194 w 10785"/>
                  <a:gd name="connsiteY787" fmla="*/ 3530 h 10000"/>
                  <a:gd name="connsiteX788" fmla="*/ 9143 w 10785"/>
                  <a:gd name="connsiteY788" fmla="*/ 3615 h 10000"/>
                  <a:gd name="connsiteX789" fmla="*/ 9138 w 10785"/>
                  <a:gd name="connsiteY789" fmla="*/ 3615 h 10000"/>
                  <a:gd name="connsiteX790" fmla="*/ 9134 w 10785"/>
                  <a:gd name="connsiteY790" fmla="*/ 3615 h 10000"/>
                  <a:gd name="connsiteX791" fmla="*/ 9106 w 10785"/>
                  <a:gd name="connsiteY791" fmla="*/ 3615 h 10000"/>
                  <a:gd name="connsiteX792" fmla="*/ 9078 w 10785"/>
                  <a:gd name="connsiteY792" fmla="*/ 3590 h 10000"/>
                  <a:gd name="connsiteX793" fmla="*/ 9037 w 10785"/>
                  <a:gd name="connsiteY793" fmla="*/ 3581 h 10000"/>
                  <a:gd name="connsiteX794" fmla="*/ 9023 w 10785"/>
                  <a:gd name="connsiteY794" fmla="*/ 3590 h 10000"/>
                  <a:gd name="connsiteX795" fmla="*/ 9018 w 10785"/>
                  <a:gd name="connsiteY795" fmla="*/ 3590 h 10000"/>
                  <a:gd name="connsiteX796" fmla="*/ 9018 w 10785"/>
                  <a:gd name="connsiteY796" fmla="*/ 3590 h 10000"/>
                  <a:gd name="connsiteX797" fmla="*/ 8991 w 10785"/>
                  <a:gd name="connsiteY797" fmla="*/ 3590 h 10000"/>
                  <a:gd name="connsiteX798" fmla="*/ 8972 w 10785"/>
                  <a:gd name="connsiteY798" fmla="*/ 3581 h 10000"/>
                  <a:gd name="connsiteX799" fmla="*/ 8959 w 10785"/>
                  <a:gd name="connsiteY799" fmla="*/ 3513 h 10000"/>
                  <a:gd name="connsiteX800" fmla="*/ 8931 w 10785"/>
                  <a:gd name="connsiteY800" fmla="*/ 3538 h 10000"/>
                  <a:gd name="connsiteX801" fmla="*/ 8889 w 10785"/>
                  <a:gd name="connsiteY801" fmla="*/ 3538 h 10000"/>
                  <a:gd name="connsiteX802" fmla="*/ 8871 w 10785"/>
                  <a:gd name="connsiteY802" fmla="*/ 3556 h 10000"/>
                  <a:gd name="connsiteX803" fmla="*/ 8857 w 10785"/>
                  <a:gd name="connsiteY803" fmla="*/ 3538 h 10000"/>
                  <a:gd name="connsiteX804" fmla="*/ 8843 w 10785"/>
                  <a:gd name="connsiteY804" fmla="*/ 3538 h 10000"/>
                  <a:gd name="connsiteX805" fmla="*/ 8839 w 10785"/>
                  <a:gd name="connsiteY805" fmla="*/ 3556 h 10000"/>
                  <a:gd name="connsiteX806" fmla="*/ 8839 w 10785"/>
                  <a:gd name="connsiteY806" fmla="*/ 3581 h 10000"/>
                  <a:gd name="connsiteX807" fmla="*/ 8825 w 10785"/>
                  <a:gd name="connsiteY807" fmla="*/ 3564 h 10000"/>
                  <a:gd name="connsiteX808" fmla="*/ 8825 w 10785"/>
                  <a:gd name="connsiteY808" fmla="*/ 3615 h 10000"/>
                  <a:gd name="connsiteX809" fmla="*/ 8802 w 10785"/>
                  <a:gd name="connsiteY809" fmla="*/ 3598 h 10000"/>
                  <a:gd name="connsiteX810" fmla="*/ 8797 w 10785"/>
                  <a:gd name="connsiteY810" fmla="*/ 3641 h 10000"/>
                  <a:gd name="connsiteX811" fmla="*/ 8783 w 10785"/>
                  <a:gd name="connsiteY811" fmla="*/ 3667 h 10000"/>
                  <a:gd name="connsiteX812" fmla="*/ 8779 w 10785"/>
                  <a:gd name="connsiteY812" fmla="*/ 3650 h 10000"/>
                  <a:gd name="connsiteX813" fmla="*/ 8779 w 10785"/>
                  <a:gd name="connsiteY813" fmla="*/ 3615 h 10000"/>
                  <a:gd name="connsiteX814" fmla="*/ 8770 w 10785"/>
                  <a:gd name="connsiteY814" fmla="*/ 3590 h 10000"/>
                  <a:gd name="connsiteX815" fmla="*/ 8765 w 10785"/>
                  <a:gd name="connsiteY815" fmla="*/ 3598 h 10000"/>
                  <a:gd name="connsiteX816" fmla="*/ 8756 w 10785"/>
                  <a:gd name="connsiteY816" fmla="*/ 3590 h 10000"/>
                  <a:gd name="connsiteX817" fmla="*/ 8737 w 10785"/>
                  <a:gd name="connsiteY817" fmla="*/ 3556 h 10000"/>
                  <a:gd name="connsiteX818" fmla="*/ 8724 w 10785"/>
                  <a:gd name="connsiteY818" fmla="*/ 3538 h 10000"/>
                  <a:gd name="connsiteX819" fmla="*/ 8696 w 10785"/>
                  <a:gd name="connsiteY819" fmla="*/ 3538 h 10000"/>
                  <a:gd name="connsiteX820" fmla="*/ 8691 w 10785"/>
                  <a:gd name="connsiteY820" fmla="*/ 3513 h 10000"/>
                  <a:gd name="connsiteX821" fmla="*/ 8668 w 10785"/>
                  <a:gd name="connsiteY821" fmla="*/ 3504 h 10000"/>
                  <a:gd name="connsiteX822" fmla="*/ 8668 w 10785"/>
                  <a:gd name="connsiteY822" fmla="*/ 3487 h 10000"/>
                  <a:gd name="connsiteX823" fmla="*/ 8691 w 10785"/>
                  <a:gd name="connsiteY823" fmla="*/ 3350 h 10000"/>
                  <a:gd name="connsiteX824" fmla="*/ 8691 w 10785"/>
                  <a:gd name="connsiteY824" fmla="*/ 3291 h 10000"/>
                  <a:gd name="connsiteX825" fmla="*/ 8677 w 10785"/>
                  <a:gd name="connsiteY825" fmla="*/ 3239 h 10000"/>
                  <a:gd name="connsiteX826" fmla="*/ 8677 w 10785"/>
                  <a:gd name="connsiteY826" fmla="*/ 3231 h 10000"/>
                  <a:gd name="connsiteX827" fmla="*/ 8636 w 10785"/>
                  <a:gd name="connsiteY827" fmla="*/ 3128 h 10000"/>
                  <a:gd name="connsiteX828" fmla="*/ 8622 w 10785"/>
                  <a:gd name="connsiteY828" fmla="*/ 3120 h 10000"/>
                  <a:gd name="connsiteX829" fmla="*/ 8618 w 10785"/>
                  <a:gd name="connsiteY829" fmla="*/ 3094 h 10000"/>
                  <a:gd name="connsiteX830" fmla="*/ 8594 w 10785"/>
                  <a:gd name="connsiteY830" fmla="*/ 3077 h 10000"/>
                  <a:gd name="connsiteX831" fmla="*/ 8548 w 10785"/>
                  <a:gd name="connsiteY831" fmla="*/ 3077 h 10000"/>
                  <a:gd name="connsiteX832" fmla="*/ 8535 w 10785"/>
                  <a:gd name="connsiteY832" fmla="*/ 3068 h 10000"/>
                  <a:gd name="connsiteX833" fmla="*/ 8429 w 10785"/>
                  <a:gd name="connsiteY833" fmla="*/ 3077 h 10000"/>
                  <a:gd name="connsiteX834" fmla="*/ 8424 w 10785"/>
                  <a:gd name="connsiteY834" fmla="*/ 3077 h 10000"/>
                  <a:gd name="connsiteX835" fmla="*/ 8396 w 10785"/>
                  <a:gd name="connsiteY835" fmla="*/ 3077 h 10000"/>
                  <a:gd name="connsiteX836" fmla="*/ 8387 w 10785"/>
                  <a:gd name="connsiteY836" fmla="*/ 3094 h 10000"/>
                  <a:gd name="connsiteX837" fmla="*/ 8378 w 10785"/>
                  <a:gd name="connsiteY837" fmla="*/ 3094 h 10000"/>
                  <a:gd name="connsiteX838" fmla="*/ 8341 w 10785"/>
                  <a:gd name="connsiteY838" fmla="*/ 3077 h 10000"/>
                  <a:gd name="connsiteX839" fmla="*/ 8336 w 10785"/>
                  <a:gd name="connsiteY839" fmla="*/ 3077 h 10000"/>
                  <a:gd name="connsiteX840" fmla="*/ 8327 w 10785"/>
                  <a:gd name="connsiteY840" fmla="*/ 3103 h 10000"/>
                  <a:gd name="connsiteX841" fmla="*/ 8309 w 10785"/>
                  <a:gd name="connsiteY841" fmla="*/ 3120 h 10000"/>
                  <a:gd name="connsiteX842" fmla="*/ 8304 w 10785"/>
                  <a:gd name="connsiteY842" fmla="*/ 3103 h 10000"/>
                  <a:gd name="connsiteX843" fmla="*/ 8276 w 10785"/>
                  <a:gd name="connsiteY843" fmla="*/ 3103 h 10000"/>
                  <a:gd name="connsiteX844" fmla="*/ 8267 w 10785"/>
                  <a:gd name="connsiteY844" fmla="*/ 3120 h 10000"/>
                  <a:gd name="connsiteX845" fmla="*/ 8253 w 10785"/>
                  <a:gd name="connsiteY845" fmla="*/ 3103 h 10000"/>
                  <a:gd name="connsiteX846" fmla="*/ 8230 w 10785"/>
                  <a:gd name="connsiteY846" fmla="*/ 3128 h 10000"/>
                  <a:gd name="connsiteX847" fmla="*/ 8217 w 10785"/>
                  <a:gd name="connsiteY847" fmla="*/ 3128 h 10000"/>
                  <a:gd name="connsiteX848" fmla="*/ 8203 w 10785"/>
                  <a:gd name="connsiteY848" fmla="*/ 3154 h 10000"/>
                  <a:gd name="connsiteX849" fmla="*/ 8175 w 10785"/>
                  <a:gd name="connsiteY849" fmla="*/ 3094 h 10000"/>
                  <a:gd name="connsiteX850" fmla="*/ 8161 w 10785"/>
                  <a:gd name="connsiteY850" fmla="*/ 3094 h 10000"/>
                  <a:gd name="connsiteX851" fmla="*/ 8157 w 10785"/>
                  <a:gd name="connsiteY851" fmla="*/ 3077 h 10000"/>
                  <a:gd name="connsiteX852" fmla="*/ 8180 w 10785"/>
                  <a:gd name="connsiteY852" fmla="*/ 3068 h 10000"/>
                  <a:gd name="connsiteX853" fmla="*/ 8189 w 10785"/>
                  <a:gd name="connsiteY853" fmla="*/ 3043 h 10000"/>
                  <a:gd name="connsiteX854" fmla="*/ 8189 w 10785"/>
                  <a:gd name="connsiteY854" fmla="*/ 3017 h 10000"/>
                  <a:gd name="connsiteX855" fmla="*/ 8147 w 10785"/>
                  <a:gd name="connsiteY855" fmla="*/ 2940 h 10000"/>
                  <a:gd name="connsiteX856" fmla="*/ 8143 w 10785"/>
                  <a:gd name="connsiteY856" fmla="*/ 2915 h 10000"/>
                  <a:gd name="connsiteX857" fmla="*/ 8143 w 10785"/>
                  <a:gd name="connsiteY857" fmla="*/ 2906 h 10000"/>
                  <a:gd name="connsiteX858" fmla="*/ 8097 w 10785"/>
                  <a:gd name="connsiteY858" fmla="*/ 2932 h 10000"/>
                  <a:gd name="connsiteX859" fmla="*/ 8083 w 10785"/>
                  <a:gd name="connsiteY859" fmla="*/ 2932 h 10000"/>
                  <a:gd name="connsiteX860" fmla="*/ 8074 w 10785"/>
                  <a:gd name="connsiteY860" fmla="*/ 2906 h 10000"/>
                  <a:gd name="connsiteX861" fmla="*/ 8074 w 10785"/>
                  <a:gd name="connsiteY861" fmla="*/ 2897 h 10000"/>
                  <a:gd name="connsiteX862" fmla="*/ 8055 w 10785"/>
                  <a:gd name="connsiteY862" fmla="*/ 2872 h 10000"/>
                  <a:gd name="connsiteX863" fmla="*/ 8046 w 10785"/>
                  <a:gd name="connsiteY863" fmla="*/ 2829 h 10000"/>
                  <a:gd name="connsiteX864" fmla="*/ 8041 w 10785"/>
                  <a:gd name="connsiteY864" fmla="*/ 2829 h 10000"/>
                  <a:gd name="connsiteX865" fmla="*/ 8023 w 10785"/>
                  <a:gd name="connsiteY865" fmla="*/ 2803 h 10000"/>
                  <a:gd name="connsiteX866" fmla="*/ 8014 w 10785"/>
                  <a:gd name="connsiteY866" fmla="*/ 2829 h 10000"/>
                  <a:gd name="connsiteX867" fmla="*/ 8000 w 10785"/>
                  <a:gd name="connsiteY867" fmla="*/ 2829 h 10000"/>
                  <a:gd name="connsiteX868" fmla="*/ 7995 w 10785"/>
                  <a:gd name="connsiteY868" fmla="*/ 2821 h 10000"/>
                  <a:gd name="connsiteX869" fmla="*/ 7972 w 10785"/>
                  <a:gd name="connsiteY869" fmla="*/ 2803 h 10000"/>
                  <a:gd name="connsiteX870" fmla="*/ 7968 w 10785"/>
                  <a:gd name="connsiteY870" fmla="*/ 2821 h 10000"/>
                  <a:gd name="connsiteX871" fmla="*/ 7968 w 10785"/>
                  <a:gd name="connsiteY871" fmla="*/ 2803 h 10000"/>
                  <a:gd name="connsiteX872" fmla="*/ 7995 w 10785"/>
                  <a:gd name="connsiteY872" fmla="*/ 2735 h 10000"/>
                  <a:gd name="connsiteX873" fmla="*/ 8000 w 10785"/>
                  <a:gd name="connsiteY873" fmla="*/ 2735 h 10000"/>
                  <a:gd name="connsiteX874" fmla="*/ 8014 w 10785"/>
                  <a:gd name="connsiteY874" fmla="*/ 2744 h 10000"/>
                  <a:gd name="connsiteX875" fmla="*/ 8023 w 10785"/>
                  <a:gd name="connsiteY875" fmla="*/ 2769 h 10000"/>
                  <a:gd name="connsiteX876" fmla="*/ 8032 w 10785"/>
                  <a:gd name="connsiteY876" fmla="*/ 2744 h 10000"/>
                  <a:gd name="connsiteX877" fmla="*/ 8032 w 10785"/>
                  <a:gd name="connsiteY877" fmla="*/ 2709 h 10000"/>
                  <a:gd name="connsiteX878" fmla="*/ 8023 w 10785"/>
                  <a:gd name="connsiteY878" fmla="*/ 2632 h 10000"/>
                  <a:gd name="connsiteX879" fmla="*/ 7986 w 10785"/>
                  <a:gd name="connsiteY879" fmla="*/ 2581 h 10000"/>
                  <a:gd name="connsiteX880" fmla="*/ 7968 w 10785"/>
                  <a:gd name="connsiteY880" fmla="*/ 2581 h 10000"/>
                  <a:gd name="connsiteX881" fmla="*/ 7963 w 10785"/>
                  <a:gd name="connsiteY881" fmla="*/ 2556 h 10000"/>
                  <a:gd name="connsiteX882" fmla="*/ 7935 w 10785"/>
                  <a:gd name="connsiteY882" fmla="*/ 2547 h 10000"/>
                  <a:gd name="connsiteX883" fmla="*/ 7912 w 10785"/>
                  <a:gd name="connsiteY883" fmla="*/ 2547 h 10000"/>
                  <a:gd name="connsiteX884" fmla="*/ 7912 w 10785"/>
                  <a:gd name="connsiteY884" fmla="*/ 2556 h 10000"/>
                  <a:gd name="connsiteX885" fmla="*/ 7908 w 10785"/>
                  <a:gd name="connsiteY885" fmla="*/ 2547 h 10000"/>
                  <a:gd name="connsiteX886" fmla="*/ 7862 w 10785"/>
                  <a:gd name="connsiteY886" fmla="*/ 2547 h 10000"/>
                  <a:gd name="connsiteX887" fmla="*/ 7848 w 10785"/>
                  <a:gd name="connsiteY887" fmla="*/ 2556 h 10000"/>
                  <a:gd name="connsiteX888" fmla="*/ 7820 w 10785"/>
                  <a:gd name="connsiteY888" fmla="*/ 2547 h 10000"/>
                  <a:gd name="connsiteX889" fmla="*/ 7806 w 10785"/>
                  <a:gd name="connsiteY889" fmla="*/ 2513 h 10000"/>
                  <a:gd name="connsiteX890" fmla="*/ 7788 w 10785"/>
                  <a:gd name="connsiteY890" fmla="*/ 2513 h 10000"/>
                  <a:gd name="connsiteX891" fmla="*/ 7760 w 10785"/>
                  <a:gd name="connsiteY891" fmla="*/ 2470 h 10000"/>
                  <a:gd name="connsiteX892" fmla="*/ 7751 w 10785"/>
                  <a:gd name="connsiteY892" fmla="*/ 2470 h 10000"/>
                  <a:gd name="connsiteX893" fmla="*/ 7705 w 10785"/>
                  <a:gd name="connsiteY893" fmla="*/ 2462 h 10000"/>
                  <a:gd name="connsiteX894" fmla="*/ 7673 w 10785"/>
                  <a:gd name="connsiteY894" fmla="*/ 2419 h 10000"/>
                  <a:gd name="connsiteX895" fmla="*/ 7627 w 10785"/>
                  <a:gd name="connsiteY895" fmla="*/ 2419 h 10000"/>
                  <a:gd name="connsiteX896" fmla="*/ 7613 w 10785"/>
                  <a:gd name="connsiteY896" fmla="*/ 2410 h 10000"/>
                  <a:gd name="connsiteX897" fmla="*/ 7493 w 10785"/>
                  <a:gd name="connsiteY897" fmla="*/ 2393 h 10000"/>
                  <a:gd name="connsiteX898" fmla="*/ 7479 w 10785"/>
                  <a:gd name="connsiteY898" fmla="*/ 2385 h 10000"/>
                  <a:gd name="connsiteX899" fmla="*/ 7479 w 10785"/>
                  <a:gd name="connsiteY899" fmla="*/ 2376 h 10000"/>
                  <a:gd name="connsiteX900" fmla="*/ 7465 w 10785"/>
                  <a:gd name="connsiteY900" fmla="*/ 2359 h 10000"/>
                  <a:gd name="connsiteX901" fmla="*/ 7447 w 10785"/>
                  <a:gd name="connsiteY901" fmla="*/ 2350 h 10000"/>
                  <a:gd name="connsiteX902" fmla="*/ 7433 w 10785"/>
                  <a:gd name="connsiteY902" fmla="*/ 2376 h 10000"/>
                  <a:gd name="connsiteX903" fmla="*/ 7433 w 10785"/>
                  <a:gd name="connsiteY903" fmla="*/ 2385 h 10000"/>
                  <a:gd name="connsiteX904" fmla="*/ 7447 w 10785"/>
                  <a:gd name="connsiteY904" fmla="*/ 2410 h 10000"/>
                  <a:gd name="connsiteX905" fmla="*/ 7447 w 10785"/>
                  <a:gd name="connsiteY905" fmla="*/ 2436 h 10000"/>
                  <a:gd name="connsiteX906" fmla="*/ 7452 w 10785"/>
                  <a:gd name="connsiteY906" fmla="*/ 2462 h 10000"/>
                  <a:gd name="connsiteX907" fmla="*/ 7447 w 10785"/>
                  <a:gd name="connsiteY907" fmla="*/ 2470 h 10000"/>
                  <a:gd name="connsiteX908" fmla="*/ 7424 w 10785"/>
                  <a:gd name="connsiteY908" fmla="*/ 2513 h 10000"/>
                  <a:gd name="connsiteX909" fmla="*/ 7419 w 10785"/>
                  <a:gd name="connsiteY909" fmla="*/ 2556 h 10000"/>
                  <a:gd name="connsiteX910" fmla="*/ 7406 w 10785"/>
                  <a:gd name="connsiteY910" fmla="*/ 2624 h 10000"/>
                  <a:gd name="connsiteX911" fmla="*/ 7392 w 10785"/>
                  <a:gd name="connsiteY911" fmla="*/ 2624 h 10000"/>
                  <a:gd name="connsiteX912" fmla="*/ 7373 w 10785"/>
                  <a:gd name="connsiteY912" fmla="*/ 2650 h 10000"/>
                  <a:gd name="connsiteX913" fmla="*/ 7364 w 10785"/>
                  <a:gd name="connsiteY913" fmla="*/ 2684 h 10000"/>
                  <a:gd name="connsiteX914" fmla="*/ 7364 w 10785"/>
                  <a:gd name="connsiteY914" fmla="*/ 2692 h 10000"/>
                  <a:gd name="connsiteX915" fmla="*/ 7373 w 10785"/>
                  <a:gd name="connsiteY915" fmla="*/ 2718 h 10000"/>
                  <a:gd name="connsiteX916" fmla="*/ 7373 w 10785"/>
                  <a:gd name="connsiteY916" fmla="*/ 2744 h 10000"/>
                  <a:gd name="connsiteX917" fmla="*/ 7359 w 10785"/>
                  <a:gd name="connsiteY917" fmla="*/ 2744 h 10000"/>
                  <a:gd name="connsiteX918" fmla="*/ 7359 w 10785"/>
                  <a:gd name="connsiteY918" fmla="*/ 2795 h 10000"/>
                  <a:gd name="connsiteX919" fmla="*/ 7364 w 10785"/>
                  <a:gd name="connsiteY919" fmla="*/ 2821 h 10000"/>
                  <a:gd name="connsiteX920" fmla="*/ 7378 w 10785"/>
                  <a:gd name="connsiteY920" fmla="*/ 2846 h 10000"/>
                  <a:gd name="connsiteX921" fmla="*/ 7378 w 10785"/>
                  <a:gd name="connsiteY921" fmla="*/ 2855 h 10000"/>
                  <a:gd name="connsiteX922" fmla="*/ 7378 w 10785"/>
                  <a:gd name="connsiteY922" fmla="*/ 2880 h 10000"/>
                  <a:gd name="connsiteX923" fmla="*/ 7378 w 10785"/>
                  <a:gd name="connsiteY923" fmla="*/ 2906 h 10000"/>
                  <a:gd name="connsiteX924" fmla="*/ 7364 w 10785"/>
                  <a:gd name="connsiteY924" fmla="*/ 2906 h 10000"/>
                  <a:gd name="connsiteX925" fmla="*/ 7346 w 10785"/>
                  <a:gd name="connsiteY925" fmla="*/ 2880 h 10000"/>
                  <a:gd name="connsiteX926" fmla="*/ 7332 w 10785"/>
                  <a:gd name="connsiteY926" fmla="*/ 2915 h 10000"/>
                  <a:gd name="connsiteX927" fmla="*/ 7318 w 10785"/>
                  <a:gd name="connsiteY927" fmla="*/ 2906 h 10000"/>
                  <a:gd name="connsiteX928" fmla="*/ 7313 w 10785"/>
                  <a:gd name="connsiteY928" fmla="*/ 2915 h 10000"/>
                  <a:gd name="connsiteX929" fmla="*/ 7313 w 10785"/>
                  <a:gd name="connsiteY929" fmla="*/ 2906 h 10000"/>
                  <a:gd name="connsiteX930" fmla="*/ 7286 w 10785"/>
                  <a:gd name="connsiteY930" fmla="*/ 2940 h 10000"/>
                  <a:gd name="connsiteX931" fmla="*/ 7276 w 10785"/>
                  <a:gd name="connsiteY931" fmla="*/ 2966 h 10000"/>
                  <a:gd name="connsiteX932" fmla="*/ 7272 w 10785"/>
                  <a:gd name="connsiteY932" fmla="*/ 2983 h 10000"/>
                  <a:gd name="connsiteX933" fmla="*/ 7267 w 10785"/>
                  <a:gd name="connsiteY933" fmla="*/ 3009 h 10000"/>
                  <a:gd name="connsiteX934" fmla="*/ 7253 w 10785"/>
                  <a:gd name="connsiteY934" fmla="*/ 3009 h 10000"/>
                  <a:gd name="connsiteX935" fmla="*/ 7244 w 10785"/>
                  <a:gd name="connsiteY935" fmla="*/ 3017 h 10000"/>
                  <a:gd name="connsiteX936" fmla="*/ 7240 w 10785"/>
                  <a:gd name="connsiteY936" fmla="*/ 3009 h 10000"/>
                  <a:gd name="connsiteX937" fmla="*/ 7230 w 10785"/>
                  <a:gd name="connsiteY937" fmla="*/ 2991 h 10000"/>
                  <a:gd name="connsiteX938" fmla="*/ 7226 w 10785"/>
                  <a:gd name="connsiteY938" fmla="*/ 2983 h 10000"/>
                  <a:gd name="connsiteX939" fmla="*/ 7226 w 10785"/>
                  <a:gd name="connsiteY939" fmla="*/ 2966 h 10000"/>
                  <a:gd name="connsiteX940" fmla="*/ 7212 w 10785"/>
                  <a:gd name="connsiteY940" fmla="*/ 2957 h 10000"/>
                  <a:gd name="connsiteX941" fmla="*/ 7212 w 10785"/>
                  <a:gd name="connsiteY941" fmla="*/ 2932 h 10000"/>
                  <a:gd name="connsiteX942" fmla="*/ 7198 w 10785"/>
                  <a:gd name="connsiteY942" fmla="*/ 2915 h 10000"/>
                  <a:gd name="connsiteX943" fmla="*/ 7194 w 10785"/>
                  <a:gd name="connsiteY943" fmla="*/ 2915 h 10000"/>
                  <a:gd name="connsiteX944" fmla="*/ 7157 w 10785"/>
                  <a:gd name="connsiteY944" fmla="*/ 2880 h 10000"/>
                  <a:gd name="connsiteX945" fmla="*/ 7138 w 10785"/>
                  <a:gd name="connsiteY945" fmla="*/ 2880 h 10000"/>
                  <a:gd name="connsiteX946" fmla="*/ 7120 w 10785"/>
                  <a:gd name="connsiteY946" fmla="*/ 2872 h 10000"/>
                  <a:gd name="connsiteX947" fmla="*/ 7111 w 10785"/>
                  <a:gd name="connsiteY947" fmla="*/ 2846 h 10000"/>
                  <a:gd name="connsiteX948" fmla="*/ 7106 w 10785"/>
                  <a:gd name="connsiteY948" fmla="*/ 2846 h 10000"/>
                  <a:gd name="connsiteX949" fmla="*/ 7092 w 10785"/>
                  <a:gd name="connsiteY949" fmla="*/ 2829 h 10000"/>
                  <a:gd name="connsiteX950" fmla="*/ 7051 w 10785"/>
                  <a:gd name="connsiteY950" fmla="*/ 2829 h 10000"/>
                  <a:gd name="connsiteX951" fmla="*/ 7037 w 10785"/>
                  <a:gd name="connsiteY951" fmla="*/ 2880 h 10000"/>
                  <a:gd name="connsiteX952" fmla="*/ 7037 w 10785"/>
                  <a:gd name="connsiteY952" fmla="*/ 2906 h 10000"/>
                  <a:gd name="connsiteX953" fmla="*/ 7037 w 10785"/>
                  <a:gd name="connsiteY953" fmla="*/ 2932 h 10000"/>
                  <a:gd name="connsiteX954" fmla="*/ 7037 w 10785"/>
                  <a:gd name="connsiteY954" fmla="*/ 2940 h 10000"/>
                  <a:gd name="connsiteX955" fmla="*/ 7023 w 10785"/>
                  <a:gd name="connsiteY955" fmla="*/ 2906 h 10000"/>
                  <a:gd name="connsiteX956" fmla="*/ 7023 w 10785"/>
                  <a:gd name="connsiteY956" fmla="*/ 2915 h 10000"/>
                  <a:gd name="connsiteX957" fmla="*/ 6991 w 10785"/>
                  <a:gd name="connsiteY957" fmla="*/ 2906 h 10000"/>
                  <a:gd name="connsiteX958" fmla="*/ 6977 w 10785"/>
                  <a:gd name="connsiteY958" fmla="*/ 2915 h 10000"/>
                  <a:gd name="connsiteX959" fmla="*/ 6963 w 10785"/>
                  <a:gd name="connsiteY959" fmla="*/ 2915 h 10000"/>
                  <a:gd name="connsiteX960" fmla="*/ 6949 w 10785"/>
                  <a:gd name="connsiteY960" fmla="*/ 2872 h 10000"/>
                  <a:gd name="connsiteX961" fmla="*/ 6935 w 10785"/>
                  <a:gd name="connsiteY961" fmla="*/ 2855 h 10000"/>
                  <a:gd name="connsiteX962" fmla="*/ 6922 w 10785"/>
                  <a:gd name="connsiteY962" fmla="*/ 2803 h 10000"/>
                  <a:gd name="connsiteX963" fmla="*/ 6917 w 10785"/>
                  <a:gd name="connsiteY963" fmla="*/ 2786 h 10000"/>
                  <a:gd name="connsiteX964" fmla="*/ 6903 w 10785"/>
                  <a:gd name="connsiteY964" fmla="*/ 2709 h 10000"/>
                  <a:gd name="connsiteX965" fmla="*/ 6903 w 10785"/>
                  <a:gd name="connsiteY965" fmla="*/ 2692 h 10000"/>
                  <a:gd name="connsiteX966" fmla="*/ 6899 w 10785"/>
                  <a:gd name="connsiteY966" fmla="*/ 2709 h 10000"/>
                  <a:gd name="connsiteX967" fmla="*/ 6857 w 10785"/>
                  <a:gd name="connsiteY967" fmla="*/ 2872 h 10000"/>
                  <a:gd name="connsiteX968" fmla="*/ 6857 w 10785"/>
                  <a:gd name="connsiteY968" fmla="*/ 3009 h 10000"/>
                  <a:gd name="connsiteX969" fmla="*/ 6848 w 10785"/>
                  <a:gd name="connsiteY969" fmla="*/ 3017 h 10000"/>
                  <a:gd name="connsiteX970" fmla="*/ 6839 w 10785"/>
                  <a:gd name="connsiteY970" fmla="*/ 3068 h 10000"/>
                  <a:gd name="connsiteX971" fmla="*/ 6829 w 10785"/>
                  <a:gd name="connsiteY971" fmla="*/ 3077 h 10000"/>
                  <a:gd name="connsiteX972" fmla="*/ 6829 w 10785"/>
                  <a:gd name="connsiteY972" fmla="*/ 3128 h 10000"/>
                  <a:gd name="connsiteX973" fmla="*/ 6816 w 10785"/>
                  <a:gd name="connsiteY973" fmla="*/ 3154 h 10000"/>
                  <a:gd name="connsiteX974" fmla="*/ 6811 w 10785"/>
                  <a:gd name="connsiteY974" fmla="*/ 3179 h 10000"/>
                  <a:gd name="connsiteX975" fmla="*/ 6797 w 10785"/>
                  <a:gd name="connsiteY975" fmla="*/ 3171 h 10000"/>
                  <a:gd name="connsiteX976" fmla="*/ 6783 w 10785"/>
                  <a:gd name="connsiteY976" fmla="*/ 3103 h 10000"/>
                  <a:gd name="connsiteX977" fmla="*/ 6779 w 10785"/>
                  <a:gd name="connsiteY977" fmla="*/ 3094 h 10000"/>
                  <a:gd name="connsiteX978" fmla="*/ 6779 w 10785"/>
                  <a:gd name="connsiteY978" fmla="*/ 3120 h 10000"/>
                  <a:gd name="connsiteX979" fmla="*/ 6770 w 10785"/>
                  <a:gd name="connsiteY979" fmla="*/ 3128 h 10000"/>
                  <a:gd name="connsiteX980" fmla="*/ 6765 w 10785"/>
                  <a:gd name="connsiteY980" fmla="*/ 3103 h 10000"/>
                  <a:gd name="connsiteX981" fmla="*/ 6756 w 10785"/>
                  <a:gd name="connsiteY981" fmla="*/ 3103 h 10000"/>
                  <a:gd name="connsiteX982" fmla="*/ 6742 w 10785"/>
                  <a:gd name="connsiteY982" fmla="*/ 3103 h 10000"/>
                  <a:gd name="connsiteX983" fmla="*/ 6737 w 10785"/>
                  <a:gd name="connsiteY983" fmla="*/ 3077 h 10000"/>
                  <a:gd name="connsiteX984" fmla="*/ 6737 w 10785"/>
                  <a:gd name="connsiteY984" fmla="*/ 3068 h 10000"/>
                  <a:gd name="connsiteX985" fmla="*/ 6728 w 10785"/>
                  <a:gd name="connsiteY985" fmla="*/ 3043 h 10000"/>
                  <a:gd name="connsiteX986" fmla="*/ 6724 w 10785"/>
                  <a:gd name="connsiteY986" fmla="*/ 3051 h 10000"/>
                  <a:gd name="connsiteX987" fmla="*/ 6714 w 10785"/>
                  <a:gd name="connsiteY987" fmla="*/ 3043 h 10000"/>
                  <a:gd name="connsiteX988" fmla="*/ 6710 w 10785"/>
                  <a:gd name="connsiteY988" fmla="*/ 3034 h 10000"/>
                  <a:gd name="connsiteX989" fmla="*/ 6705 w 10785"/>
                  <a:gd name="connsiteY989" fmla="*/ 2983 h 10000"/>
                  <a:gd name="connsiteX990" fmla="*/ 6696 w 10785"/>
                  <a:gd name="connsiteY990" fmla="*/ 2966 h 10000"/>
                  <a:gd name="connsiteX991" fmla="*/ 6691 w 10785"/>
                  <a:gd name="connsiteY991" fmla="*/ 2983 h 10000"/>
                  <a:gd name="connsiteX992" fmla="*/ 6677 w 10785"/>
                  <a:gd name="connsiteY992" fmla="*/ 2897 h 10000"/>
                  <a:gd name="connsiteX993" fmla="*/ 6677 w 10785"/>
                  <a:gd name="connsiteY993" fmla="*/ 2897 h 10000"/>
                  <a:gd name="connsiteX994" fmla="*/ 6677 w 10785"/>
                  <a:gd name="connsiteY994" fmla="*/ 2872 h 10000"/>
                  <a:gd name="connsiteX995" fmla="*/ 6668 w 10785"/>
                  <a:gd name="connsiteY995" fmla="*/ 2821 h 10000"/>
                  <a:gd name="connsiteX996" fmla="*/ 6664 w 10785"/>
                  <a:gd name="connsiteY996" fmla="*/ 2829 h 10000"/>
                  <a:gd name="connsiteX997" fmla="*/ 6654 w 10785"/>
                  <a:gd name="connsiteY997" fmla="*/ 2846 h 10000"/>
                  <a:gd name="connsiteX998" fmla="*/ 6650 w 10785"/>
                  <a:gd name="connsiteY998" fmla="*/ 2829 h 10000"/>
                  <a:gd name="connsiteX999" fmla="*/ 6650 w 10785"/>
                  <a:gd name="connsiteY999" fmla="*/ 2803 h 10000"/>
                  <a:gd name="connsiteX1000" fmla="*/ 6650 w 10785"/>
                  <a:gd name="connsiteY1000" fmla="*/ 2795 h 10000"/>
                  <a:gd name="connsiteX1001" fmla="*/ 6641 w 10785"/>
                  <a:gd name="connsiteY1001" fmla="*/ 2786 h 10000"/>
                  <a:gd name="connsiteX1002" fmla="*/ 6636 w 10785"/>
                  <a:gd name="connsiteY1002" fmla="*/ 2735 h 10000"/>
                  <a:gd name="connsiteX1003" fmla="*/ 6664 w 10785"/>
                  <a:gd name="connsiteY1003" fmla="*/ 2667 h 10000"/>
                  <a:gd name="connsiteX1004" fmla="*/ 6668 w 10785"/>
                  <a:gd name="connsiteY1004" fmla="*/ 2684 h 10000"/>
                  <a:gd name="connsiteX1005" fmla="*/ 6677 w 10785"/>
                  <a:gd name="connsiteY1005" fmla="*/ 2667 h 10000"/>
                  <a:gd name="connsiteX1006" fmla="*/ 6668 w 10785"/>
                  <a:gd name="connsiteY1006" fmla="*/ 2667 h 10000"/>
                  <a:gd name="connsiteX1007" fmla="*/ 6668 w 10785"/>
                  <a:gd name="connsiteY1007" fmla="*/ 2650 h 10000"/>
                  <a:gd name="connsiteX1008" fmla="*/ 6682 w 10785"/>
                  <a:gd name="connsiteY1008" fmla="*/ 2650 h 10000"/>
                  <a:gd name="connsiteX1009" fmla="*/ 6691 w 10785"/>
                  <a:gd name="connsiteY1009" fmla="*/ 2624 h 10000"/>
                  <a:gd name="connsiteX1010" fmla="*/ 6682 w 10785"/>
                  <a:gd name="connsiteY1010" fmla="*/ 2632 h 10000"/>
                  <a:gd name="connsiteX1011" fmla="*/ 6682 w 10785"/>
                  <a:gd name="connsiteY1011" fmla="*/ 2624 h 10000"/>
                  <a:gd name="connsiteX1012" fmla="*/ 6691 w 10785"/>
                  <a:gd name="connsiteY1012" fmla="*/ 2607 h 10000"/>
                  <a:gd name="connsiteX1013" fmla="*/ 6691 w 10785"/>
                  <a:gd name="connsiteY1013" fmla="*/ 2598 h 10000"/>
                  <a:gd name="connsiteX1014" fmla="*/ 6691 w 10785"/>
                  <a:gd name="connsiteY1014" fmla="*/ 2581 h 10000"/>
                  <a:gd name="connsiteX1015" fmla="*/ 6696 w 10785"/>
                  <a:gd name="connsiteY1015" fmla="*/ 2530 h 10000"/>
                  <a:gd name="connsiteX1016" fmla="*/ 6677 w 10785"/>
                  <a:gd name="connsiteY1016" fmla="*/ 2513 h 10000"/>
                  <a:gd name="connsiteX1017" fmla="*/ 6677 w 10785"/>
                  <a:gd name="connsiteY1017" fmla="*/ 2496 h 10000"/>
                  <a:gd name="connsiteX1018" fmla="*/ 6682 w 10785"/>
                  <a:gd name="connsiteY1018" fmla="*/ 2470 h 10000"/>
                  <a:gd name="connsiteX1019" fmla="*/ 6668 w 10785"/>
                  <a:gd name="connsiteY1019" fmla="*/ 2462 h 10000"/>
                  <a:gd name="connsiteX1020" fmla="*/ 6677 w 10785"/>
                  <a:gd name="connsiteY1020" fmla="*/ 2436 h 10000"/>
                  <a:gd name="connsiteX1021" fmla="*/ 6682 w 10785"/>
                  <a:gd name="connsiteY1021" fmla="*/ 2419 h 10000"/>
                  <a:gd name="connsiteX1022" fmla="*/ 6682 w 10785"/>
                  <a:gd name="connsiteY1022" fmla="*/ 2393 h 10000"/>
                  <a:gd name="connsiteX1023" fmla="*/ 6682 w 10785"/>
                  <a:gd name="connsiteY1023" fmla="*/ 2385 h 10000"/>
                  <a:gd name="connsiteX1024" fmla="*/ 6682 w 10785"/>
                  <a:gd name="connsiteY1024" fmla="*/ 2385 h 10000"/>
                  <a:gd name="connsiteX1025" fmla="*/ 6677 w 10785"/>
                  <a:gd name="connsiteY1025" fmla="*/ 2376 h 10000"/>
                  <a:gd name="connsiteX1026" fmla="*/ 6682 w 10785"/>
                  <a:gd name="connsiteY1026" fmla="*/ 2359 h 10000"/>
                  <a:gd name="connsiteX1027" fmla="*/ 6677 w 10785"/>
                  <a:gd name="connsiteY1027" fmla="*/ 2333 h 10000"/>
                  <a:gd name="connsiteX1028" fmla="*/ 6691 w 10785"/>
                  <a:gd name="connsiteY1028" fmla="*/ 2333 h 10000"/>
                  <a:gd name="connsiteX1029" fmla="*/ 6691 w 10785"/>
                  <a:gd name="connsiteY1029" fmla="*/ 2325 h 10000"/>
                  <a:gd name="connsiteX1030" fmla="*/ 6691 w 10785"/>
                  <a:gd name="connsiteY1030" fmla="*/ 2308 h 10000"/>
                  <a:gd name="connsiteX1031" fmla="*/ 6691 w 10785"/>
                  <a:gd name="connsiteY1031" fmla="*/ 2299 h 10000"/>
                  <a:gd name="connsiteX1032" fmla="*/ 6691 w 10785"/>
                  <a:gd name="connsiteY1032" fmla="*/ 2282 h 10000"/>
                  <a:gd name="connsiteX1033" fmla="*/ 6691 w 10785"/>
                  <a:gd name="connsiteY1033" fmla="*/ 2274 h 10000"/>
                  <a:gd name="connsiteX1034" fmla="*/ 6668 w 10785"/>
                  <a:gd name="connsiteY1034" fmla="*/ 2248 h 10000"/>
                  <a:gd name="connsiteX1035" fmla="*/ 6664 w 10785"/>
                  <a:gd name="connsiteY1035" fmla="*/ 2222 h 10000"/>
                  <a:gd name="connsiteX1036" fmla="*/ 6654 w 10785"/>
                  <a:gd name="connsiteY1036" fmla="*/ 2214 h 10000"/>
                  <a:gd name="connsiteX1037" fmla="*/ 6654 w 10785"/>
                  <a:gd name="connsiteY1037" fmla="*/ 2188 h 10000"/>
                  <a:gd name="connsiteX1038" fmla="*/ 6622 w 10785"/>
                  <a:gd name="connsiteY1038" fmla="*/ 2162 h 10000"/>
                  <a:gd name="connsiteX1039" fmla="*/ 6631 w 10785"/>
                  <a:gd name="connsiteY1039" fmla="*/ 2145 h 10000"/>
                  <a:gd name="connsiteX1040" fmla="*/ 6622 w 10785"/>
                  <a:gd name="connsiteY1040" fmla="*/ 2120 h 10000"/>
                  <a:gd name="connsiteX1041" fmla="*/ 6608 w 10785"/>
                  <a:gd name="connsiteY1041" fmla="*/ 2120 h 10000"/>
                  <a:gd name="connsiteX1042" fmla="*/ 6604 w 10785"/>
                  <a:gd name="connsiteY1042" fmla="*/ 2111 h 10000"/>
                  <a:gd name="connsiteX1043" fmla="*/ 6608 w 10785"/>
                  <a:gd name="connsiteY1043" fmla="*/ 2111 h 10000"/>
                  <a:gd name="connsiteX1044" fmla="*/ 6604 w 10785"/>
                  <a:gd name="connsiteY1044" fmla="*/ 2085 h 10000"/>
                  <a:gd name="connsiteX1045" fmla="*/ 6581 w 10785"/>
                  <a:gd name="connsiteY1045" fmla="*/ 2077 h 10000"/>
                  <a:gd name="connsiteX1046" fmla="*/ 6571 w 10785"/>
                  <a:gd name="connsiteY1046" fmla="*/ 2085 h 10000"/>
                  <a:gd name="connsiteX1047" fmla="*/ 6548 w 10785"/>
                  <a:gd name="connsiteY1047" fmla="*/ 2077 h 10000"/>
                  <a:gd name="connsiteX1048" fmla="*/ 6530 w 10785"/>
                  <a:gd name="connsiteY1048" fmla="*/ 2060 h 10000"/>
                  <a:gd name="connsiteX1049" fmla="*/ 6521 w 10785"/>
                  <a:gd name="connsiteY1049" fmla="*/ 2060 h 10000"/>
                  <a:gd name="connsiteX1050" fmla="*/ 6521 w 10785"/>
                  <a:gd name="connsiteY1050" fmla="*/ 2085 h 10000"/>
                  <a:gd name="connsiteX1051" fmla="*/ 6516 w 10785"/>
                  <a:gd name="connsiteY1051" fmla="*/ 2085 h 10000"/>
                  <a:gd name="connsiteX1052" fmla="*/ 6502 w 10785"/>
                  <a:gd name="connsiteY1052" fmla="*/ 2111 h 10000"/>
                  <a:gd name="connsiteX1053" fmla="*/ 6498 w 10785"/>
                  <a:gd name="connsiteY1053" fmla="*/ 2111 h 10000"/>
                  <a:gd name="connsiteX1054" fmla="*/ 6498 w 10785"/>
                  <a:gd name="connsiteY1054" fmla="*/ 2103 h 10000"/>
                  <a:gd name="connsiteX1055" fmla="*/ 6475 w 10785"/>
                  <a:gd name="connsiteY1055" fmla="*/ 2051 h 10000"/>
                  <a:gd name="connsiteX1056" fmla="*/ 6470 w 10785"/>
                  <a:gd name="connsiteY1056" fmla="*/ 2060 h 10000"/>
                  <a:gd name="connsiteX1057" fmla="*/ 6456 w 10785"/>
                  <a:gd name="connsiteY1057" fmla="*/ 2051 h 10000"/>
                  <a:gd name="connsiteX1058" fmla="*/ 6447 w 10785"/>
                  <a:gd name="connsiteY1058" fmla="*/ 2051 h 10000"/>
                  <a:gd name="connsiteX1059" fmla="*/ 6433 w 10785"/>
                  <a:gd name="connsiteY1059" fmla="*/ 2026 h 10000"/>
                  <a:gd name="connsiteX1060" fmla="*/ 6433 w 10785"/>
                  <a:gd name="connsiteY1060" fmla="*/ 2034 h 10000"/>
                  <a:gd name="connsiteX1061" fmla="*/ 6429 w 10785"/>
                  <a:gd name="connsiteY1061" fmla="*/ 2026 h 10000"/>
                  <a:gd name="connsiteX1062" fmla="*/ 6424 w 10785"/>
                  <a:gd name="connsiteY1062" fmla="*/ 2034 h 10000"/>
                  <a:gd name="connsiteX1063" fmla="*/ 6410 w 10785"/>
                  <a:gd name="connsiteY1063" fmla="*/ 2026 h 10000"/>
                  <a:gd name="connsiteX1064" fmla="*/ 6410 w 10785"/>
                  <a:gd name="connsiteY1064" fmla="*/ 1991 h 10000"/>
                  <a:gd name="connsiteX1065" fmla="*/ 6401 w 10785"/>
                  <a:gd name="connsiteY1065" fmla="*/ 1991 h 10000"/>
                  <a:gd name="connsiteX1066" fmla="*/ 6396 w 10785"/>
                  <a:gd name="connsiteY1066" fmla="*/ 2000 h 10000"/>
                  <a:gd name="connsiteX1067" fmla="*/ 6382 w 10785"/>
                  <a:gd name="connsiteY1067" fmla="*/ 1966 h 10000"/>
                  <a:gd name="connsiteX1068" fmla="*/ 6373 w 10785"/>
                  <a:gd name="connsiteY1068" fmla="*/ 1974 h 10000"/>
                  <a:gd name="connsiteX1069" fmla="*/ 6369 w 10785"/>
                  <a:gd name="connsiteY1069" fmla="*/ 1966 h 10000"/>
                  <a:gd name="connsiteX1070" fmla="*/ 6341 w 10785"/>
                  <a:gd name="connsiteY1070" fmla="*/ 1949 h 10000"/>
                  <a:gd name="connsiteX1071" fmla="*/ 6327 w 10785"/>
                  <a:gd name="connsiteY1071" fmla="*/ 1923 h 10000"/>
                  <a:gd name="connsiteX1072" fmla="*/ 6323 w 10785"/>
                  <a:gd name="connsiteY1072" fmla="*/ 1923 h 10000"/>
                  <a:gd name="connsiteX1073" fmla="*/ 6323 w 10785"/>
                  <a:gd name="connsiteY1073" fmla="*/ 1966 h 10000"/>
                  <a:gd name="connsiteX1074" fmla="*/ 6323 w 10785"/>
                  <a:gd name="connsiteY1074" fmla="*/ 1991 h 10000"/>
                  <a:gd name="connsiteX1075" fmla="*/ 6313 w 10785"/>
                  <a:gd name="connsiteY1075" fmla="*/ 1991 h 10000"/>
                  <a:gd name="connsiteX1076" fmla="*/ 6300 w 10785"/>
                  <a:gd name="connsiteY1076" fmla="*/ 1991 h 10000"/>
                  <a:gd name="connsiteX1077" fmla="*/ 6290 w 10785"/>
                  <a:gd name="connsiteY1077" fmla="*/ 1949 h 10000"/>
                  <a:gd name="connsiteX1078" fmla="*/ 6276 w 10785"/>
                  <a:gd name="connsiteY1078" fmla="*/ 2103 h 10000"/>
                  <a:gd name="connsiteX1079" fmla="*/ 6281 w 10785"/>
                  <a:gd name="connsiteY1079" fmla="*/ 2103 h 10000"/>
                  <a:gd name="connsiteX1080" fmla="*/ 6276 w 10785"/>
                  <a:gd name="connsiteY1080" fmla="*/ 2111 h 10000"/>
                  <a:gd name="connsiteX1081" fmla="*/ 6276 w 10785"/>
                  <a:gd name="connsiteY1081" fmla="*/ 2120 h 10000"/>
                  <a:gd name="connsiteX1082" fmla="*/ 6295 w 10785"/>
                  <a:gd name="connsiteY1082" fmla="*/ 2239 h 10000"/>
                  <a:gd name="connsiteX1083" fmla="*/ 6290 w 10785"/>
                  <a:gd name="connsiteY1083" fmla="*/ 2248 h 10000"/>
                  <a:gd name="connsiteX1084" fmla="*/ 6281 w 10785"/>
                  <a:gd name="connsiteY1084" fmla="*/ 2274 h 10000"/>
                  <a:gd name="connsiteX1085" fmla="*/ 6249 w 10785"/>
                  <a:gd name="connsiteY1085" fmla="*/ 2274 h 10000"/>
                  <a:gd name="connsiteX1086" fmla="*/ 6226 w 10785"/>
                  <a:gd name="connsiteY1086" fmla="*/ 2308 h 10000"/>
                  <a:gd name="connsiteX1087" fmla="*/ 6221 w 10785"/>
                  <a:gd name="connsiteY1087" fmla="*/ 2299 h 10000"/>
                  <a:gd name="connsiteX1088" fmla="*/ 6221 w 10785"/>
                  <a:gd name="connsiteY1088" fmla="*/ 2308 h 10000"/>
                  <a:gd name="connsiteX1089" fmla="*/ 6217 w 10785"/>
                  <a:gd name="connsiteY1089" fmla="*/ 2299 h 10000"/>
                  <a:gd name="connsiteX1090" fmla="*/ 6194 w 10785"/>
                  <a:gd name="connsiteY1090" fmla="*/ 2308 h 10000"/>
                  <a:gd name="connsiteX1091" fmla="*/ 6180 w 10785"/>
                  <a:gd name="connsiteY1091" fmla="*/ 2299 h 10000"/>
                  <a:gd name="connsiteX1092" fmla="*/ 6143 w 10785"/>
                  <a:gd name="connsiteY1092" fmla="*/ 2308 h 10000"/>
                  <a:gd name="connsiteX1093" fmla="*/ 6134 w 10785"/>
                  <a:gd name="connsiteY1093" fmla="*/ 2325 h 10000"/>
                  <a:gd name="connsiteX1094" fmla="*/ 6115 w 10785"/>
                  <a:gd name="connsiteY1094" fmla="*/ 2282 h 10000"/>
                  <a:gd name="connsiteX1095" fmla="*/ 6069 w 10785"/>
                  <a:gd name="connsiteY1095" fmla="*/ 2274 h 10000"/>
                  <a:gd name="connsiteX1096" fmla="*/ 6069 w 10785"/>
                  <a:gd name="connsiteY1096" fmla="*/ 2282 h 10000"/>
                  <a:gd name="connsiteX1097" fmla="*/ 6060 w 10785"/>
                  <a:gd name="connsiteY1097" fmla="*/ 2299 h 10000"/>
                  <a:gd name="connsiteX1098" fmla="*/ 5972 w 10785"/>
                  <a:gd name="connsiteY1098" fmla="*/ 2214 h 10000"/>
                  <a:gd name="connsiteX1099" fmla="*/ 5968 w 10785"/>
                  <a:gd name="connsiteY1099" fmla="*/ 2197 h 10000"/>
                  <a:gd name="connsiteX1100" fmla="*/ 5968 w 10785"/>
                  <a:gd name="connsiteY1100" fmla="*/ 2171 h 10000"/>
                  <a:gd name="connsiteX1101" fmla="*/ 5968 w 10785"/>
                  <a:gd name="connsiteY1101" fmla="*/ 2162 h 10000"/>
                  <a:gd name="connsiteX1102" fmla="*/ 5968 w 10785"/>
                  <a:gd name="connsiteY1102" fmla="*/ 2120 h 10000"/>
                  <a:gd name="connsiteX1103" fmla="*/ 5968 w 10785"/>
                  <a:gd name="connsiteY1103" fmla="*/ 2111 h 10000"/>
                  <a:gd name="connsiteX1104" fmla="*/ 5972 w 10785"/>
                  <a:gd name="connsiteY1104" fmla="*/ 2103 h 10000"/>
                  <a:gd name="connsiteX1105" fmla="*/ 5986 w 10785"/>
                  <a:gd name="connsiteY1105" fmla="*/ 2103 h 10000"/>
                  <a:gd name="connsiteX1106" fmla="*/ 5986 w 10785"/>
                  <a:gd name="connsiteY1106" fmla="*/ 2085 h 10000"/>
                  <a:gd name="connsiteX1107" fmla="*/ 5995 w 10785"/>
                  <a:gd name="connsiteY1107" fmla="*/ 2085 h 10000"/>
                  <a:gd name="connsiteX1108" fmla="*/ 5995 w 10785"/>
                  <a:gd name="connsiteY1108" fmla="*/ 2077 h 10000"/>
                  <a:gd name="connsiteX1109" fmla="*/ 5986 w 10785"/>
                  <a:gd name="connsiteY1109" fmla="*/ 2060 h 10000"/>
                  <a:gd name="connsiteX1110" fmla="*/ 5954 w 10785"/>
                  <a:gd name="connsiteY1110" fmla="*/ 2060 h 10000"/>
                  <a:gd name="connsiteX1111" fmla="*/ 5940 w 10785"/>
                  <a:gd name="connsiteY1111" fmla="*/ 2051 h 10000"/>
                  <a:gd name="connsiteX1112" fmla="*/ 5922 w 10785"/>
                  <a:gd name="connsiteY1112" fmla="*/ 2060 h 10000"/>
                  <a:gd name="connsiteX1113" fmla="*/ 5885 w 10785"/>
                  <a:gd name="connsiteY1113" fmla="*/ 2051 h 10000"/>
                  <a:gd name="connsiteX1114" fmla="*/ 5876 w 10785"/>
                  <a:gd name="connsiteY1114" fmla="*/ 2026 h 10000"/>
                  <a:gd name="connsiteX1115" fmla="*/ 5862 w 10785"/>
                  <a:gd name="connsiteY1115" fmla="*/ 2026 h 10000"/>
                  <a:gd name="connsiteX1116" fmla="*/ 5848 w 10785"/>
                  <a:gd name="connsiteY1116" fmla="*/ 2026 h 10000"/>
                  <a:gd name="connsiteX1117" fmla="*/ 5825 w 10785"/>
                  <a:gd name="connsiteY1117" fmla="*/ 2026 h 10000"/>
                  <a:gd name="connsiteX1118" fmla="*/ 5788 w 10785"/>
                  <a:gd name="connsiteY1118" fmla="*/ 1991 h 10000"/>
                  <a:gd name="connsiteX1119" fmla="*/ 5760 w 10785"/>
                  <a:gd name="connsiteY1119" fmla="*/ 2000 h 10000"/>
                  <a:gd name="connsiteX1120" fmla="*/ 5760 w 10785"/>
                  <a:gd name="connsiteY1120" fmla="*/ 2026 h 10000"/>
                  <a:gd name="connsiteX1121" fmla="*/ 5714 w 10785"/>
                  <a:gd name="connsiteY1121" fmla="*/ 2051 h 10000"/>
                  <a:gd name="connsiteX1122" fmla="*/ 5687 w 10785"/>
                  <a:gd name="connsiteY1122" fmla="*/ 2034 h 10000"/>
                  <a:gd name="connsiteX1123" fmla="*/ 5645 w 10785"/>
                  <a:gd name="connsiteY1123" fmla="*/ 2077 h 10000"/>
                  <a:gd name="connsiteX1124" fmla="*/ 5664 w 10785"/>
                  <a:gd name="connsiteY1124" fmla="*/ 2120 h 10000"/>
                  <a:gd name="connsiteX1125" fmla="*/ 5664 w 10785"/>
                  <a:gd name="connsiteY1125" fmla="*/ 2162 h 10000"/>
                  <a:gd name="connsiteX1126" fmla="*/ 5631 w 10785"/>
                  <a:gd name="connsiteY1126" fmla="*/ 2197 h 10000"/>
                  <a:gd name="connsiteX1127" fmla="*/ 5618 w 10785"/>
                  <a:gd name="connsiteY1127" fmla="*/ 2188 h 10000"/>
                  <a:gd name="connsiteX1128" fmla="*/ 5618 w 10785"/>
                  <a:gd name="connsiteY1128" fmla="*/ 2171 h 10000"/>
                  <a:gd name="connsiteX1129" fmla="*/ 5641 w 10785"/>
                  <a:gd name="connsiteY1129" fmla="*/ 2171 h 10000"/>
                  <a:gd name="connsiteX1130" fmla="*/ 5641 w 10785"/>
                  <a:gd name="connsiteY1130" fmla="*/ 2162 h 10000"/>
                  <a:gd name="connsiteX1131" fmla="*/ 5627 w 10785"/>
                  <a:gd name="connsiteY1131" fmla="*/ 2145 h 10000"/>
                  <a:gd name="connsiteX1132" fmla="*/ 5627 w 10785"/>
                  <a:gd name="connsiteY1132" fmla="*/ 2120 h 10000"/>
                  <a:gd name="connsiteX1133" fmla="*/ 5618 w 10785"/>
                  <a:gd name="connsiteY1133" fmla="*/ 2111 h 10000"/>
                  <a:gd name="connsiteX1134" fmla="*/ 5631 w 10785"/>
                  <a:gd name="connsiteY1134" fmla="*/ 2051 h 10000"/>
                  <a:gd name="connsiteX1135" fmla="*/ 5631 w 10785"/>
                  <a:gd name="connsiteY1135" fmla="*/ 2026 h 10000"/>
                  <a:gd name="connsiteX1136" fmla="*/ 5627 w 10785"/>
                  <a:gd name="connsiteY1136" fmla="*/ 1991 h 10000"/>
                  <a:gd name="connsiteX1137" fmla="*/ 5618 w 10785"/>
                  <a:gd name="connsiteY1137" fmla="*/ 1974 h 10000"/>
                  <a:gd name="connsiteX1138" fmla="*/ 5618 w 10785"/>
                  <a:gd name="connsiteY1138" fmla="*/ 1940 h 10000"/>
                  <a:gd name="connsiteX1139" fmla="*/ 5594 w 10785"/>
                  <a:gd name="connsiteY1139" fmla="*/ 1855 h 10000"/>
                  <a:gd name="connsiteX1140" fmla="*/ 5599 w 10785"/>
                  <a:gd name="connsiteY1140" fmla="*/ 1915 h 10000"/>
                  <a:gd name="connsiteX1141" fmla="*/ 5599 w 10785"/>
                  <a:gd name="connsiteY1141" fmla="*/ 1949 h 10000"/>
                  <a:gd name="connsiteX1142" fmla="*/ 5594 w 10785"/>
                  <a:gd name="connsiteY1142" fmla="*/ 1991 h 10000"/>
                  <a:gd name="connsiteX1143" fmla="*/ 5571 w 10785"/>
                  <a:gd name="connsiteY1143" fmla="*/ 2000 h 10000"/>
                  <a:gd name="connsiteX1144" fmla="*/ 5530 w 10785"/>
                  <a:gd name="connsiteY1144" fmla="*/ 1991 h 10000"/>
                  <a:gd name="connsiteX1145" fmla="*/ 5525 w 10785"/>
                  <a:gd name="connsiteY1145" fmla="*/ 2000 h 10000"/>
                  <a:gd name="connsiteX1146" fmla="*/ 5521 w 10785"/>
                  <a:gd name="connsiteY1146" fmla="*/ 1991 h 10000"/>
                  <a:gd name="connsiteX1147" fmla="*/ 5498 w 10785"/>
                  <a:gd name="connsiteY1147" fmla="*/ 1949 h 10000"/>
                  <a:gd name="connsiteX1148" fmla="*/ 5493 w 10785"/>
                  <a:gd name="connsiteY1148" fmla="*/ 1889 h 10000"/>
                  <a:gd name="connsiteX1149" fmla="*/ 5493 w 10785"/>
                  <a:gd name="connsiteY1149" fmla="*/ 1863 h 10000"/>
                  <a:gd name="connsiteX1150" fmla="*/ 5498 w 10785"/>
                  <a:gd name="connsiteY1150" fmla="*/ 1889 h 10000"/>
                  <a:gd name="connsiteX1151" fmla="*/ 5512 w 10785"/>
                  <a:gd name="connsiteY1151" fmla="*/ 1855 h 10000"/>
                  <a:gd name="connsiteX1152" fmla="*/ 5512 w 10785"/>
                  <a:gd name="connsiteY1152" fmla="*/ 1838 h 10000"/>
                  <a:gd name="connsiteX1153" fmla="*/ 5479 w 10785"/>
                  <a:gd name="connsiteY1153" fmla="*/ 1855 h 10000"/>
                  <a:gd name="connsiteX1154" fmla="*/ 5470 w 10785"/>
                  <a:gd name="connsiteY1154" fmla="*/ 1872 h 10000"/>
                  <a:gd name="connsiteX1155" fmla="*/ 5470 w 10785"/>
                  <a:gd name="connsiteY1155" fmla="*/ 1889 h 10000"/>
                  <a:gd name="connsiteX1156" fmla="*/ 5465 w 10785"/>
                  <a:gd name="connsiteY1156" fmla="*/ 1897 h 10000"/>
                  <a:gd name="connsiteX1157" fmla="*/ 5456 w 10785"/>
                  <a:gd name="connsiteY1157" fmla="*/ 1872 h 10000"/>
                  <a:gd name="connsiteX1158" fmla="*/ 5447 w 10785"/>
                  <a:gd name="connsiteY1158" fmla="*/ 1872 h 10000"/>
                  <a:gd name="connsiteX1159" fmla="*/ 5433 w 10785"/>
                  <a:gd name="connsiteY1159" fmla="*/ 1855 h 10000"/>
                  <a:gd name="connsiteX1160" fmla="*/ 5396 w 10785"/>
                  <a:gd name="connsiteY1160" fmla="*/ 1863 h 10000"/>
                  <a:gd name="connsiteX1161" fmla="*/ 5396 w 10785"/>
                  <a:gd name="connsiteY1161" fmla="*/ 1897 h 10000"/>
                  <a:gd name="connsiteX1162" fmla="*/ 5378 w 10785"/>
                  <a:gd name="connsiteY1162" fmla="*/ 1949 h 10000"/>
                  <a:gd name="connsiteX1163" fmla="*/ 5378 w 10785"/>
                  <a:gd name="connsiteY1163" fmla="*/ 1966 h 10000"/>
                  <a:gd name="connsiteX1164" fmla="*/ 5392 w 10785"/>
                  <a:gd name="connsiteY1164" fmla="*/ 2026 h 10000"/>
                  <a:gd name="connsiteX1165" fmla="*/ 5396 w 10785"/>
                  <a:gd name="connsiteY1165" fmla="*/ 2026 h 10000"/>
                  <a:gd name="connsiteX1166" fmla="*/ 5392 w 10785"/>
                  <a:gd name="connsiteY1166" fmla="*/ 2009 h 10000"/>
                  <a:gd name="connsiteX1167" fmla="*/ 5392 w 10785"/>
                  <a:gd name="connsiteY1167" fmla="*/ 2000 h 10000"/>
                  <a:gd name="connsiteX1168" fmla="*/ 5396 w 10785"/>
                  <a:gd name="connsiteY1168" fmla="*/ 2009 h 10000"/>
                  <a:gd name="connsiteX1169" fmla="*/ 5424 w 10785"/>
                  <a:gd name="connsiteY1169" fmla="*/ 2009 h 10000"/>
                  <a:gd name="connsiteX1170" fmla="*/ 5433 w 10785"/>
                  <a:gd name="connsiteY1170" fmla="*/ 1991 h 10000"/>
                  <a:gd name="connsiteX1171" fmla="*/ 5447 w 10785"/>
                  <a:gd name="connsiteY1171" fmla="*/ 1974 h 10000"/>
                  <a:gd name="connsiteX1172" fmla="*/ 5452 w 10785"/>
                  <a:gd name="connsiteY1172" fmla="*/ 1966 h 10000"/>
                  <a:gd name="connsiteX1173" fmla="*/ 5456 w 10785"/>
                  <a:gd name="connsiteY1173" fmla="*/ 1966 h 10000"/>
                  <a:gd name="connsiteX1174" fmla="*/ 5465 w 10785"/>
                  <a:gd name="connsiteY1174" fmla="*/ 2009 h 10000"/>
                  <a:gd name="connsiteX1175" fmla="*/ 5433 w 10785"/>
                  <a:gd name="connsiteY1175" fmla="*/ 2034 h 10000"/>
                  <a:gd name="connsiteX1176" fmla="*/ 5424 w 10785"/>
                  <a:gd name="connsiteY1176" fmla="*/ 2060 h 10000"/>
                  <a:gd name="connsiteX1177" fmla="*/ 5419 w 10785"/>
                  <a:gd name="connsiteY1177" fmla="*/ 2060 h 10000"/>
                  <a:gd name="connsiteX1178" fmla="*/ 5392 w 10785"/>
                  <a:gd name="connsiteY1178" fmla="*/ 2111 h 10000"/>
                  <a:gd name="connsiteX1179" fmla="*/ 5378 w 10785"/>
                  <a:gd name="connsiteY1179" fmla="*/ 2111 h 10000"/>
                  <a:gd name="connsiteX1180" fmla="*/ 5350 w 10785"/>
                  <a:gd name="connsiteY1180" fmla="*/ 2060 h 10000"/>
                  <a:gd name="connsiteX1181" fmla="*/ 5373 w 10785"/>
                  <a:gd name="connsiteY1181" fmla="*/ 2111 h 10000"/>
                  <a:gd name="connsiteX1182" fmla="*/ 5364 w 10785"/>
                  <a:gd name="connsiteY1182" fmla="*/ 2111 h 10000"/>
                  <a:gd name="connsiteX1183" fmla="*/ 5359 w 10785"/>
                  <a:gd name="connsiteY1183" fmla="*/ 2103 h 10000"/>
                  <a:gd name="connsiteX1184" fmla="*/ 5359 w 10785"/>
                  <a:gd name="connsiteY1184" fmla="*/ 2120 h 10000"/>
                  <a:gd name="connsiteX1185" fmla="*/ 5359 w 10785"/>
                  <a:gd name="connsiteY1185" fmla="*/ 2137 h 10000"/>
                  <a:gd name="connsiteX1186" fmla="*/ 5313 w 10785"/>
                  <a:gd name="connsiteY1186" fmla="*/ 2162 h 10000"/>
                  <a:gd name="connsiteX1187" fmla="*/ 5300 w 10785"/>
                  <a:gd name="connsiteY1187" fmla="*/ 2162 h 10000"/>
                  <a:gd name="connsiteX1188" fmla="*/ 5300 w 10785"/>
                  <a:gd name="connsiteY1188" fmla="*/ 2171 h 10000"/>
                  <a:gd name="connsiteX1189" fmla="*/ 5300 w 10785"/>
                  <a:gd name="connsiteY1189" fmla="*/ 2197 h 10000"/>
                  <a:gd name="connsiteX1190" fmla="*/ 5276 w 10785"/>
                  <a:gd name="connsiteY1190" fmla="*/ 2188 h 10000"/>
                  <a:gd name="connsiteX1191" fmla="*/ 5249 w 10785"/>
                  <a:gd name="connsiteY1191" fmla="*/ 2222 h 10000"/>
                  <a:gd name="connsiteX1192" fmla="*/ 5249 w 10785"/>
                  <a:gd name="connsiteY1192" fmla="*/ 2222 h 10000"/>
                  <a:gd name="connsiteX1193" fmla="*/ 5217 w 10785"/>
                  <a:gd name="connsiteY1193" fmla="*/ 2214 h 10000"/>
                  <a:gd name="connsiteX1194" fmla="*/ 5203 w 10785"/>
                  <a:gd name="connsiteY1194" fmla="*/ 2239 h 10000"/>
                  <a:gd name="connsiteX1195" fmla="*/ 5171 w 10785"/>
                  <a:gd name="connsiteY1195" fmla="*/ 2214 h 10000"/>
                  <a:gd name="connsiteX1196" fmla="*/ 5157 w 10785"/>
                  <a:gd name="connsiteY1196" fmla="*/ 2239 h 10000"/>
                  <a:gd name="connsiteX1197" fmla="*/ 5166 w 10785"/>
                  <a:gd name="connsiteY1197" fmla="*/ 2256 h 10000"/>
                  <a:gd name="connsiteX1198" fmla="*/ 5171 w 10785"/>
                  <a:gd name="connsiteY1198" fmla="*/ 2308 h 10000"/>
                  <a:gd name="connsiteX1199" fmla="*/ 5212 w 10785"/>
                  <a:gd name="connsiteY1199" fmla="*/ 2350 h 10000"/>
                  <a:gd name="connsiteX1200" fmla="*/ 5203 w 10785"/>
                  <a:gd name="connsiteY1200" fmla="*/ 2350 h 10000"/>
                  <a:gd name="connsiteX1201" fmla="*/ 5166 w 10785"/>
                  <a:gd name="connsiteY1201" fmla="*/ 2325 h 10000"/>
                  <a:gd name="connsiteX1202" fmla="*/ 5152 w 10785"/>
                  <a:gd name="connsiteY1202" fmla="*/ 2308 h 10000"/>
                  <a:gd name="connsiteX1203" fmla="*/ 5143 w 10785"/>
                  <a:gd name="connsiteY1203" fmla="*/ 2333 h 10000"/>
                  <a:gd name="connsiteX1204" fmla="*/ 5138 w 10785"/>
                  <a:gd name="connsiteY1204" fmla="*/ 2333 h 10000"/>
                  <a:gd name="connsiteX1205" fmla="*/ 5124 w 10785"/>
                  <a:gd name="connsiteY1205" fmla="*/ 2376 h 10000"/>
                  <a:gd name="connsiteX1206" fmla="*/ 5115 w 10785"/>
                  <a:gd name="connsiteY1206" fmla="*/ 2385 h 10000"/>
                  <a:gd name="connsiteX1207" fmla="*/ 5106 w 10785"/>
                  <a:gd name="connsiteY1207" fmla="*/ 2385 h 10000"/>
                  <a:gd name="connsiteX1208" fmla="*/ 5055 w 10785"/>
                  <a:gd name="connsiteY1208" fmla="*/ 2470 h 10000"/>
                  <a:gd name="connsiteX1209" fmla="*/ 5065 w 10785"/>
                  <a:gd name="connsiteY1209" fmla="*/ 2462 h 10000"/>
                  <a:gd name="connsiteX1210" fmla="*/ 5055 w 10785"/>
                  <a:gd name="connsiteY1210" fmla="*/ 2444 h 10000"/>
                  <a:gd name="connsiteX1211" fmla="*/ 5041 w 10785"/>
                  <a:gd name="connsiteY1211" fmla="*/ 2462 h 10000"/>
                  <a:gd name="connsiteX1212" fmla="*/ 5037 w 10785"/>
                  <a:gd name="connsiteY1212" fmla="*/ 2470 h 10000"/>
                  <a:gd name="connsiteX1213" fmla="*/ 5032 w 10785"/>
                  <a:gd name="connsiteY1213" fmla="*/ 2470 h 10000"/>
                  <a:gd name="connsiteX1214" fmla="*/ 5032 w 10785"/>
                  <a:gd name="connsiteY1214" fmla="*/ 2444 h 10000"/>
                  <a:gd name="connsiteX1215" fmla="*/ 5055 w 10785"/>
                  <a:gd name="connsiteY1215" fmla="*/ 2410 h 10000"/>
                  <a:gd name="connsiteX1216" fmla="*/ 5065 w 10785"/>
                  <a:gd name="connsiteY1216" fmla="*/ 2393 h 10000"/>
                  <a:gd name="connsiteX1217" fmla="*/ 5069 w 10785"/>
                  <a:gd name="connsiteY1217" fmla="*/ 2385 h 10000"/>
                  <a:gd name="connsiteX1218" fmla="*/ 5083 w 10785"/>
                  <a:gd name="connsiteY1218" fmla="*/ 2376 h 10000"/>
                  <a:gd name="connsiteX1219" fmla="*/ 5097 w 10785"/>
                  <a:gd name="connsiteY1219" fmla="*/ 2376 h 10000"/>
                  <a:gd name="connsiteX1220" fmla="*/ 5124 w 10785"/>
                  <a:gd name="connsiteY1220" fmla="*/ 2325 h 10000"/>
                  <a:gd name="connsiteX1221" fmla="*/ 5143 w 10785"/>
                  <a:gd name="connsiteY1221" fmla="*/ 2248 h 10000"/>
                  <a:gd name="connsiteX1222" fmla="*/ 5152 w 10785"/>
                  <a:gd name="connsiteY1222" fmla="*/ 2239 h 10000"/>
                  <a:gd name="connsiteX1223" fmla="*/ 5166 w 10785"/>
                  <a:gd name="connsiteY1223" fmla="*/ 2162 h 10000"/>
                  <a:gd name="connsiteX1224" fmla="*/ 5171 w 10785"/>
                  <a:gd name="connsiteY1224" fmla="*/ 2171 h 10000"/>
                  <a:gd name="connsiteX1225" fmla="*/ 5198 w 10785"/>
                  <a:gd name="connsiteY1225" fmla="*/ 2145 h 10000"/>
                  <a:gd name="connsiteX1226" fmla="*/ 5203 w 10785"/>
                  <a:gd name="connsiteY1226" fmla="*/ 2111 h 10000"/>
                  <a:gd name="connsiteX1227" fmla="*/ 5217 w 10785"/>
                  <a:gd name="connsiteY1227" fmla="*/ 2060 h 10000"/>
                  <a:gd name="connsiteX1228" fmla="*/ 5226 w 10785"/>
                  <a:gd name="connsiteY1228" fmla="*/ 2026 h 10000"/>
                  <a:gd name="connsiteX1229" fmla="*/ 5286 w 10785"/>
                  <a:gd name="connsiteY1229" fmla="*/ 2026 h 10000"/>
                  <a:gd name="connsiteX1230" fmla="*/ 5290 w 10785"/>
                  <a:gd name="connsiteY1230" fmla="*/ 2034 h 10000"/>
                  <a:gd name="connsiteX1231" fmla="*/ 5323 w 10785"/>
                  <a:gd name="connsiteY1231" fmla="*/ 1923 h 10000"/>
                  <a:gd name="connsiteX1232" fmla="*/ 5323 w 10785"/>
                  <a:gd name="connsiteY1232" fmla="*/ 1889 h 10000"/>
                  <a:gd name="connsiteX1233" fmla="*/ 5359 w 10785"/>
                  <a:gd name="connsiteY1233" fmla="*/ 1829 h 10000"/>
                  <a:gd name="connsiteX1234" fmla="*/ 5378 w 10785"/>
                  <a:gd name="connsiteY1234" fmla="*/ 1812 h 10000"/>
                  <a:gd name="connsiteX1235" fmla="*/ 5406 w 10785"/>
                  <a:gd name="connsiteY1235" fmla="*/ 1752 h 10000"/>
                  <a:gd name="connsiteX1236" fmla="*/ 5410 w 10785"/>
                  <a:gd name="connsiteY1236" fmla="*/ 1718 h 10000"/>
                  <a:gd name="connsiteX1237" fmla="*/ 5438 w 10785"/>
                  <a:gd name="connsiteY1237" fmla="*/ 1667 h 10000"/>
                  <a:gd name="connsiteX1238" fmla="*/ 5438 w 10785"/>
                  <a:gd name="connsiteY1238" fmla="*/ 1650 h 10000"/>
                  <a:gd name="connsiteX1239" fmla="*/ 5438 w 10785"/>
                  <a:gd name="connsiteY1239" fmla="*/ 1641 h 10000"/>
                  <a:gd name="connsiteX1240" fmla="*/ 5452 w 10785"/>
                  <a:gd name="connsiteY1240" fmla="*/ 1641 h 10000"/>
                  <a:gd name="connsiteX1241" fmla="*/ 5456 w 10785"/>
                  <a:gd name="connsiteY1241" fmla="*/ 1615 h 10000"/>
                  <a:gd name="connsiteX1242" fmla="*/ 5456 w 10785"/>
                  <a:gd name="connsiteY1242" fmla="*/ 1615 h 10000"/>
                  <a:gd name="connsiteX1243" fmla="*/ 5465 w 10785"/>
                  <a:gd name="connsiteY1243" fmla="*/ 1598 h 10000"/>
                  <a:gd name="connsiteX1244" fmla="*/ 5465 w 10785"/>
                  <a:gd name="connsiteY1244" fmla="*/ 1615 h 10000"/>
                  <a:gd name="connsiteX1245" fmla="*/ 5479 w 10785"/>
                  <a:gd name="connsiteY1245" fmla="*/ 1598 h 10000"/>
                  <a:gd name="connsiteX1246" fmla="*/ 5484 w 10785"/>
                  <a:gd name="connsiteY1246" fmla="*/ 1581 h 10000"/>
                  <a:gd name="connsiteX1247" fmla="*/ 5493 w 10785"/>
                  <a:gd name="connsiteY1247" fmla="*/ 1581 h 10000"/>
                  <a:gd name="connsiteX1248" fmla="*/ 5512 w 10785"/>
                  <a:gd name="connsiteY1248" fmla="*/ 1538 h 10000"/>
                  <a:gd name="connsiteX1249" fmla="*/ 5530 w 10785"/>
                  <a:gd name="connsiteY1249" fmla="*/ 1564 h 10000"/>
                  <a:gd name="connsiteX1250" fmla="*/ 5530 w 10785"/>
                  <a:gd name="connsiteY1250" fmla="*/ 1538 h 10000"/>
                  <a:gd name="connsiteX1251" fmla="*/ 5539 w 10785"/>
                  <a:gd name="connsiteY1251" fmla="*/ 1530 h 10000"/>
                  <a:gd name="connsiteX1252" fmla="*/ 5530 w 10785"/>
                  <a:gd name="connsiteY1252" fmla="*/ 1504 h 10000"/>
                  <a:gd name="connsiteX1253" fmla="*/ 5567 w 10785"/>
                  <a:gd name="connsiteY1253" fmla="*/ 1479 h 10000"/>
                  <a:gd name="connsiteX1254" fmla="*/ 5553 w 10785"/>
                  <a:gd name="connsiteY1254" fmla="*/ 1479 h 10000"/>
                  <a:gd name="connsiteX1255" fmla="*/ 5553 w 10785"/>
                  <a:gd name="connsiteY1255" fmla="*/ 1453 h 10000"/>
                  <a:gd name="connsiteX1256" fmla="*/ 5581 w 10785"/>
                  <a:gd name="connsiteY1256" fmla="*/ 1444 h 10000"/>
                  <a:gd name="connsiteX1257" fmla="*/ 5581 w 10785"/>
                  <a:gd name="connsiteY1257" fmla="*/ 1453 h 10000"/>
                  <a:gd name="connsiteX1258" fmla="*/ 5585 w 10785"/>
                  <a:gd name="connsiteY1258" fmla="*/ 1444 h 10000"/>
                  <a:gd name="connsiteX1259" fmla="*/ 5594 w 10785"/>
                  <a:gd name="connsiteY1259" fmla="*/ 1427 h 10000"/>
                  <a:gd name="connsiteX1260" fmla="*/ 5599 w 10785"/>
                  <a:gd name="connsiteY1260" fmla="*/ 1419 h 10000"/>
                  <a:gd name="connsiteX1261" fmla="*/ 5594 w 10785"/>
                  <a:gd name="connsiteY1261" fmla="*/ 1402 h 10000"/>
                  <a:gd name="connsiteX1262" fmla="*/ 5604 w 10785"/>
                  <a:gd name="connsiteY1262" fmla="*/ 1393 h 10000"/>
                  <a:gd name="connsiteX1263" fmla="*/ 5618 w 10785"/>
                  <a:gd name="connsiteY1263" fmla="*/ 1393 h 10000"/>
                  <a:gd name="connsiteX1264" fmla="*/ 5627 w 10785"/>
                  <a:gd name="connsiteY1264" fmla="*/ 1368 h 10000"/>
                  <a:gd name="connsiteX1265" fmla="*/ 5627 w 10785"/>
                  <a:gd name="connsiteY1265" fmla="*/ 1325 h 10000"/>
                  <a:gd name="connsiteX1266" fmla="*/ 5645 w 10785"/>
                  <a:gd name="connsiteY1266" fmla="*/ 1291 h 10000"/>
                  <a:gd name="connsiteX1267" fmla="*/ 5645 w 10785"/>
                  <a:gd name="connsiteY1267" fmla="*/ 1282 h 10000"/>
                  <a:gd name="connsiteX1268" fmla="*/ 5654 w 10785"/>
                  <a:gd name="connsiteY1268" fmla="*/ 1265 h 10000"/>
                  <a:gd name="connsiteX1269" fmla="*/ 5654 w 10785"/>
                  <a:gd name="connsiteY1269" fmla="*/ 1214 h 10000"/>
                  <a:gd name="connsiteX1270" fmla="*/ 5654 w 10785"/>
                  <a:gd name="connsiteY1270" fmla="*/ 1214 h 10000"/>
                  <a:gd name="connsiteX1271" fmla="*/ 5645 w 10785"/>
                  <a:gd name="connsiteY1271" fmla="*/ 1197 h 10000"/>
                  <a:gd name="connsiteX1272" fmla="*/ 5659 w 10785"/>
                  <a:gd name="connsiteY1272" fmla="*/ 1197 h 10000"/>
                  <a:gd name="connsiteX1273" fmla="*/ 5654 w 10785"/>
                  <a:gd name="connsiteY1273" fmla="*/ 1154 h 10000"/>
                  <a:gd name="connsiteX1274" fmla="*/ 5641 w 10785"/>
                  <a:gd name="connsiteY1274" fmla="*/ 1154 h 10000"/>
                  <a:gd name="connsiteX1275" fmla="*/ 5627 w 10785"/>
                  <a:gd name="connsiteY1275" fmla="*/ 1128 h 10000"/>
                  <a:gd name="connsiteX1276" fmla="*/ 5618 w 10785"/>
                  <a:gd name="connsiteY1276" fmla="*/ 1094 h 10000"/>
                  <a:gd name="connsiteX1277" fmla="*/ 5613 w 10785"/>
                  <a:gd name="connsiteY1277" fmla="*/ 1094 h 10000"/>
                  <a:gd name="connsiteX1278" fmla="*/ 5604 w 10785"/>
                  <a:gd name="connsiteY1278" fmla="*/ 1120 h 10000"/>
                  <a:gd name="connsiteX1279" fmla="*/ 5604 w 10785"/>
                  <a:gd name="connsiteY1279" fmla="*/ 1128 h 10000"/>
                  <a:gd name="connsiteX1280" fmla="*/ 5599 w 10785"/>
                  <a:gd name="connsiteY1280" fmla="*/ 1103 h 10000"/>
                  <a:gd name="connsiteX1281" fmla="*/ 5599 w 10785"/>
                  <a:gd name="connsiteY1281" fmla="*/ 1103 h 10000"/>
                  <a:gd name="connsiteX1282" fmla="*/ 5594 w 10785"/>
                  <a:gd name="connsiteY1282" fmla="*/ 1068 h 10000"/>
                  <a:gd name="connsiteX1283" fmla="*/ 5594 w 10785"/>
                  <a:gd name="connsiteY1283" fmla="*/ 1060 h 10000"/>
                  <a:gd name="connsiteX1284" fmla="*/ 5581 w 10785"/>
                  <a:gd name="connsiteY1284" fmla="*/ 1034 h 10000"/>
                  <a:gd name="connsiteX1285" fmla="*/ 5571 w 10785"/>
                  <a:gd name="connsiteY1285" fmla="*/ 1009 h 10000"/>
                  <a:gd name="connsiteX1286" fmla="*/ 5571 w 10785"/>
                  <a:gd name="connsiteY1286" fmla="*/ 991 h 10000"/>
                  <a:gd name="connsiteX1287" fmla="*/ 5585 w 10785"/>
                  <a:gd name="connsiteY1287" fmla="*/ 1009 h 10000"/>
                  <a:gd name="connsiteX1288" fmla="*/ 5604 w 10785"/>
                  <a:gd name="connsiteY1288" fmla="*/ 1043 h 10000"/>
                  <a:gd name="connsiteX1289" fmla="*/ 5641 w 10785"/>
                  <a:gd name="connsiteY1289" fmla="*/ 1094 h 10000"/>
                  <a:gd name="connsiteX1290" fmla="*/ 5631 w 10785"/>
                  <a:gd name="connsiteY1290" fmla="*/ 1128 h 10000"/>
                  <a:gd name="connsiteX1291" fmla="*/ 5641 w 10785"/>
                  <a:gd name="connsiteY1291" fmla="*/ 1128 h 10000"/>
                  <a:gd name="connsiteX1292" fmla="*/ 5659 w 10785"/>
                  <a:gd name="connsiteY1292" fmla="*/ 1017 h 10000"/>
                  <a:gd name="connsiteX1293" fmla="*/ 5659 w 10785"/>
                  <a:gd name="connsiteY1293" fmla="*/ 983 h 10000"/>
                  <a:gd name="connsiteX1294" fmla="*/ 5659 w 10785"/>
                  <a:gd name="connsiteY1294" fmla="*/ 957 h 10000"/>
                  <a:gd name="connsiteX1295" fmla="*/ 5654 w 10785"/>
                  <a:gd name="connsiteY1295" fmla="*/ 966 h 10000"/>
                  <a:gd name="connsiteX1296" fmla="*/ 5641 w 10785"/>
                  <a:gd name="connsiteY1296" fmla="*/ 957 h 10000"/>
                  <a:gd name="connsiteX1297" fmla="*/ 5631 w 10785"/>
                  <a:gd name="connsiteY1297" fmla="*/ 897 h 10000"/>
                  <a:gd name="connsiteX1298" fmla="*/ 5641 w 10785"/>
                  <a:gd name="connsiteY1298" fmla="*/ 872 h 10000"/>
                  <a:gd name="connsiteX1299" fmla="*/ 5618 w 10785"/>
                  <a:gd name="connsiteY1299" fmla="*/ 803 h 10000"/>
                  <a:gd name="connsiteX1300" fmla="*/ 5604 w 10785"/>
                  <a:gd name="connsiteY1300" fmla="*/ 821 h 10000"/>
                  <a:gd name="connsiteX1301" fmla="*/ 5613 w 10785"/>
                  <a:gd name="connsiteY1301" fmla="*/ 846 h 10000"/>
                  <a:gd name="connsiteX1302" fmla="*/ 5604 w 10785"/>
                  <a:gd name="connsiteY1302" fmla="*/ 855 h 10000"/>
                  <a:gd name="connsiteX1303" fmla="*/ 5599 w 10785"/>
                  <a:gd name="connsiteY1303" fmla="*/ 880 h 10000"/>
                  <a:gd name="connsiteX1304" fmla="*/ 5594 w 10785"/>
                  <a:gd name="connsiteY1304" fmla="*/ 880 h 10000"/>
                  <a:gd name="connsiteX1305" fmla="*/ 5585 w 10785"/>
                  <a:gd name="connsiteY1305" fmla="*/ 829 h 10000"/>
                  <a:gd name="connsiteX1306" fmla="*/ 5571 w 10785"/>
                  <a:gd name="connsiteY1306" fmla="*/ 803 h 10000"/>
                  <a:gd name="connsiteX1307" fmla="*/ 5585 w 10785"/>
                  <a:gd name="connsiteY1307" fmla="*/ 795 h 10000"/>
                  <a:gd name="connsiteX1308" fmla="*/ 5585 w 10785"/>
                  <a:gd name="connsiteY1308" fmla="*/ 761 h 10000"/>
                  <a:gd name="connsiteX1309" fmla="*/ 5558 w 10785"/>
                  <a:gd name="connsiteY1309" fmla="*/ 709 h 10000"/>
                  <a:gd name="connsiteX1310" fmla="*/ 5544 w 10785"/>
                  <a:gd name="connsiteY1310" fmla="*/ 709 h 10000"/>
                  <a:gd name="connsiteX1311" fmla="*/ 5544 w 10785"/>
                  <a:gd name="connsiteY1311" fmla="*/ 684 h 10000"/>
                  <a:gd name="connsiteX1312" fmla="*/ 5525 w 10785"/>
                  <a:gd name="connsiteY1312" fmla="*/ 632 h 10000"/>
                  <a:gd name="connsiteX1313" fmla="*/ 5507 w 10785"/>
                  <a:gd name="connsiteY1313" fmla="*/ 607 h 10000"/>
                  <a:gd name="connsiteX1314" fmla="*/ 5512 w 10785"/>
                  <a:gd name="connsiteY1314" fmla="*/ 598 h 10000"/>
                  <a:gd name="connsiteX1315" fmla="*/ 5507 w 10785"/>
                  <a:gd name="connsiteY1315" fmla="*/ 581 h 10000"/>
                  <a:gd name="connsiteX1316" fmla="*/ 5493 w 10785"/>
                  <a:gd name="connsiteY1316" fmla="*/ 573 h 10000"/>
                  <a:gd name="connsiteX1317" fmla="*/ 5484 w 10785"/>
                  <a:gd name="connsiteY1317" fmla="*/ 581 h 10000"/>
                  <a:gd name="connsiteX1318" fmla="*/ 5484 w 10785"/>
                  <a:gd name="connsiteY1318" fmla="*/ 573 h 10000"/>
                  <a:gd name="connsiteX1319" fmla="*/ 5484 w 10785"/>
                  <a:gd name="connsiteY1319" fmla="*/ 547 h 10000"/>
                  <a:gd name="connsiteX1320" fmla="*/ 5465 w 10785"/>
                  <a:gd name="connsiteY1320" fmla="*/ 556 h 10000"/>
                  <a:gd name="connsiteX1321" fmla="*/ 5433 w 10785"/>
                  <a:gd name="connsiteY1321" fmla="*/ 547 h 10000"/>
                  <a:gd name="connsiteX1322" fmla="*/ 5410 w 10785"/>
                  <a:gd name="connsiteY1322" fmla="*/ 573 h 10000"/>
                  <a:gd name="connsiteX1323" fmla="*/ 5406 w 10785"/>
                  <a:gd name="connsiteY1323" fmla="*/ 573 h 10000"/>
                  <a:gd name="connsiteX1324" fmla="*/ 5392 w 10785"/>
                  <a:gd name="connsiteY1324" fmla="*/ 573 h 10000"/>
                  <a:gd name="connsiteX1325" fmla="*/ 5364 w 10785"/>
                  <a:gd name="connsiteY1325" fmla="*/ 530 h 10000"/>
                  <a:gd name="connsiteX1326" fmla="*/ 5350 w 10785"/>
                  <a:gd name="connsiteY1326" fmla="*/ 556 h 10000"/>
                  <a:gd name="connsiteX1327" fmla="*/ 5346 w 10785"/>
                  <a:gd name="connsiteY1327" fmla="*/ 556 h 10000"/>
                  <a:gd name="connsiteX1328" fmla="*/ 5313 w 10785"/>
                  <a:gd name="connsiteY1328" fmla="*/ 573 h 10000"/>
                  <a:gd name="connsiteX1329" fmla="*/ 5304 w 10785"/>
                  <a:gd name="connsiteY1329" fmla="*/ 556 h 10000"/>
                  <a:gd name="connsiteX1330" fmla="*/ 5290 w 10785"/>
                  <a:gd name="connsiteY1330" fmla="*/ 573 h 10000"/>
                  <a:gd name="connsiteX1331" fmla="*/ 5290 w 10785"/>
                  <a:gd name="connsiteY1331" fmla="*/ 556 h 10000"/>
                  <a:gd name="connsiteX1332" fmla="*/ 5300 w 10785"/>
                  <a:gd name="connsiteY1332" fmla="*/ 547 h 10000"/>
                  <a:gd name="connsiteX1333" fmla="*/ 5300 w 10785"/>
                  <a:gd name="connsiteY1333" fmla="*/ 530 h 10000"/>
                  <a:gd name="connsiteX1334" fmla="*/ 5290 w 10785"/>
                  <a:gd name="connsiteY1334" fmla="*/ 530 h 10000"/>
                  <a:gd name="connsiteX1335" fmla="*/ 5286 w 10785"/>
                  <a:gd name="connsiteY1335" fmla="*/ 547 h 10000"/>
                  <a:gd name="connsiteX1336" fmla="*/ 5272 w 10785"/>
                  <a:gd name="connsiteY1336" fmla="*/ 556 h 10000"/>
                  <a:gd name="connsiteX1337" fmla="*/ 5272 w 10785"/>
                  <a:gd name="connsiteY1337" fmla="*/ 598 h 10000"/>
                  <a:gd name="connsiteX1338" fmla="*/ 5276 w 10785"/>
                  <a:gd name="connsiteY1338" fmla="*/ 581 h 10000"/>
                  <a:gd name="connsiteX1339" fmla="*/ 5272 w 10785"/>
                  <a:gd name="connsiteY1339" fmla="*/ 607 h 10000"/>
                  <a:gd name="connsiteX1340" fmla="*/ 5263 w 10785"/>
                  <a:gd name="connsiteY1340" fmla="*/ 607 h 10000"/>
                  <a:gd name="connsiteX1341" fmla="*/ 5263 w 10785"/>
                  <a:gd name="connsiteY1341" fmla="*/ 632 h 10000"/>
                  <a:gd name="connsiteX1342" fmla="*/ 5258 w 10785"/>
                  <a:gd name="connsiteY1342" fmla="*/ 658 h 10000"/>
                  <a:gd name="connsiteX1343" fmla="*/ 5244 w 10785"/>
                  <a:gd name="connsiteY1343" fmla="*/ 667 h 10000"/>
                  <a:gd name="connsiteX1344" fmla="*/ 5240 w 10785"/>
                  <a:gd name="connsiteY1344" fmla="*/ 658 h 10000"/>
                  <a:gd name="connsiteX1345" fmla="*/ 5240 w 10785"/>
                  <a:gd name="connsiteY1345" fmla="*/ 684 h 10000"/>
                  <a:gd name="connsiteX1346" fmla="*/ 5212 w 10785"/>
                  <a:gd name="connsiteY1346" fmla="*/ 684 h 10000"/>
                  <a:gd name="connsiteX1347" fmla="*/ 5198 w 10785"/>
                  <a:gd name="connsiteY1347" fmla="*/ 692 h 10000"/>
                  <a:gd name="connsiteX1348" fmla="*/ 5184 w 10785"/>
                  <a:gd name="connsiteY1348" fmla="*/ 684 h 10000"/>
                  <a:gd name="connsiteX1349" fmla="*/ 5157 w 10785"/>
                  <a:gd name="connsiteY1349" fmla="*/ 684 h 10000"/>
                  <a:gd name="connsiteX1350" fmla="*/ 5157 w 10785"/>
                  <a:gd name="connsiteY1350" fmla="*/ 667 h 10000"/>
                  <a:gd name="connsiteX1351" fmla="*/ 5157 w 10785"/>
                  <a:gd name="connsiteY1351" fmla="*/ 667 h 10000"/>
                  <a:gd name="connsiteX1352" fmla="*/ 5180 w 10785"/>
                  <a:gd name="connsiteY1352" fmla="*/ 650 h 10000"/>
                  <a:gd name="connsiteX1353" fmla="*/ 5184 w 10785"/>
                  <a:gd name="connsiteY1353" fmla="*/ 658 h 10000"/>
                  <a:gd name="connsiteX1354" fmla="*/ 5203 w 10785"/>
                  <a:gd name="connsiteY1354" fmla="*/ 547 h 10000"/>
                  <a:gd name="connsiteX1355" fmla="*/ 5226 w 10785"/>
                  <a:gd name="connsiteY1355" fmla="*/ 530 h 10000"/>
                  <a:gd name="connsiteX1356" fmla="*/ 5230 w 10785"/>
                  <a:gd name="connsiteY1356" fmla="*/ 487 h 10000"/>
                  <a:gd name="connsiteX1357" fmla="*/ 5230 w 10785"/>
                  <a:gd name="connsiteY1357" fmla="*/ 487 h 10000"/>
                  <a:gd name="connsiteX1358" fmla="*/ 5226 w 10785"/>
                  <a:gd name="connsiteY1358" fmla="*/ 462 h 10000"/>
                  <a:gd name="connsiteX1359" fmla="*/ 5226 w 10785"/>
                  <a:gd name="connsiteY1359" fmla="*/ 462 h 10000"/>
                  <a:gd name="connsiteX1360" fmla="*/ 5240 w 10785"/>
                  <a:gd name="connsiteY1360" fmla="*/ 462 h 10000"/>
                  <a:gd name="connsiteX1361" fmla="*/ 5240 w 10785"/>
                  <a:gd name="connsiteY1361" fmla="*/ 444 h 10000"/>
                  <a:gd name="connsiteX1362" fmla="*/ 5230 w 10785"/>
                  <a:gd name="connsiteY1362" fmla="*/ 436 h 10000"/>
                  <a:gd name="connsiteX1363" fmla="*/ 5230 w 10785"/>
                  <a:gd name="connsiteY1363" fmla="*/ 419 h 10000"/>
                  <a:gd name="connsiteX1364" fmla="*/ 5230 w 10785"/>
                  <a:gd name="connsiteY1364" fmla="*/ 410 h 10000"/>
                  <a:gd name="connsiteX1365" fmla="*/ 5198 w 10785"/>
                  <a:gd name="connsiteY1365" fmla="*/ 402 h 10000"/>
                  <a:gd name="connsiteX1366" fmla="*/ 5189 w 10785"/>
                  <a:gd name="connsiteY1366" fmla="*/ 402 h 10000"/>
                  <a:gd name="connsiteX1367" fmla="*/ 5184 w 10785"/>
                  <a:gd name="connsiteY1367" fmla="*/ 376 h 10000"/>
                  <a:gd name="connsiteX1368" fmla="*/ 5180 w 10785"/>
                  <a:gd name="connsiteY1368" fmla="*/ 376 h 10000"/>
                  <a:gd name="connsiteX1369" fmla="*/ 5166 w 10785"/>
                  <a:gd name="connsiteY1369" fmla="*/ 376 h 10000"/>
                  <a:gd name="connsiteX1370" fmla="*/ 5157 w 10785"/>
                  <a:gd name="connsiteY1370" fmla="*/ 385 h 10000"/>
                  <a:gd name="connsiteX1371" fmla="*/ 5152 w 10785"/>
                  <a:gd name="connsiteY1371" fmla="*/ 376 h 10000"/>
                  <a:gd name="connsiteX1372" fmla="*/ 5129 w 10785"/>
                  <a:gd name="connsiteY1372" fmla="*/ 385 h 10000"/>
                  <a:gd name="connsiteX1373" fmla="*/ 5129 w 10785"/>
                  <a:gd name="connsiteY1373" fmla="*/ 350 h 10000"/>
                  <a:gd name="connsiteX1374" fmla="*/ 5129 w 10785"/>
                  <a:gd name="connsiteY1374" fmla="*/ 325 h 10000"/>
                  <a:gd name="connsiteX1375" fmla="*/ 5124 w 10785"/>
                  <a:gd name="connsiteY1375" fmla="*/ 359 h 10000"/>
                  <a:gd name="connsiteX1376" fmla="*/ 5106 w 10785"/>
                  <a:gd name="connsiteY1376" fmla="*/ 359 h 10000"/>
                  <a:gd name="connsiteX1377" fmla="*/ 5037 w 10785"/>
                  <a:gd name="connsiteY1377" fmla="*/ 419 h 10000"/>
                  <a:gd name="connsiteX1378" fmla="*/ 5051 w 10785"/>
                  <a:gd name="connsiteY1378" fmla="*/ 385 h 10000"/>
                  <a:gd name="connsiteX1379" fmla="*/ 5055 w 10785"/>
                  <a:gd name="connsiteY1379" fmla="*/ 376 h 10000"/>
                  <a:gd name="connsiteX1380" fmla="*/ 5092 w 10785"/>
                  <a:gd name="connsiteY1380" fmla="*/ 282 h 10000"/>
                  <a:gd name="connsiteX1381" fmla="*/ 5106 w 10785"/>
                  <a:gd name="connsiteY1381" fmla="*/ 265 h 10000"/>
                  <a:gd name="connsiteX1382" fmla="*/ 5115 w 10785"/>
                  <a:gd name="connsiteY1382" fmla="*/ 265 h 10000"/>
                  <a:gd name="connsiteX1383" fmla="*/ 5124 w 10785"/>
                  <a:gd name="connsiteY1383" fmla="*/ 222 h 10000"/>
                  <a:gd name="connsiteX1384" fmla="*/ 5124 w 10785"/>
                  <a:gd name="connsiteY1384" fmla="*/ 214 h 10000"/>
                  <a:gd name="connsiteX1385" fmla="*/ 5143 w 10785"/>
                  <a:gd name="connsiteY1385" fmla="*/ 197 h 10000"/>
                  <a:gd name="connsiteX1386" fmla="*/ 5152 w 10785"/>
                  <a:gd name="connsiteY1386" fmla="*/ 214 h 10000"/>
                  <a:gd name="connsiteX1387" fmla="*/ 5143 w 10785"/>
                  <a:gd name="connsiteY1387" fmla="*/ 188 h 10000"/>
                  <a:gd name="connsiteX1388" fmla="*/ 5129 w 10785"/>
                  <a:gd name="connsiteY1388" fmla="*/ 103 h 10000"/>
                  <a:gd name="connsiteX1389" fmla="*/ 5115 w 10785"/>
                  <a:gd name="connsiteY1389" fmla="*/ 85 h 10000"/>
                  <a:gd name="connsiteX1390" fmla="*/ 5111 w 10785"/>
                  <a:gd name="connsiteY1390" fmla="*/ 111 h 10000"/>
                  <a:gd name="connsiteX1391" fmla="*/ 5092 w 10785"/>
                  <a:gd name="connsiteY1391" fmla="*/ 103 h 10000"/>
                  <a:gd name="connsiteX1392" fmla="*/ 5069 w 10785"/>
                  <a:gd name="connsiteY1392" fmla="*/ 77 h 10000"/>
                  <a:gd name="connsiteX1393" fmla="*/ 5051 w 10785"/>
                  <a:gd name="connsiteY1393" fmla="*/ 26 h 10000"/>
                  <a:gd name="connsiteX1394" fmla="*/ 5041 w 10785"/>
                  <a:gd name="connsiteY1394" fmla="*/ 34 h 10000"/>
                  <a:gd name="connsiteX1395" fmla="*/ 5037 w 10785"/>
                  <a:gd name="connsiteY1395" fmla="*/ 34 h 10000"/>
                  <a:gd name="connsiteX1396" fmla="*/ 5037 w 10785"/>
                  <a:gd name="connsiteY1396" fmla="*/ 26 h 10000"/>
                  <a:gd name="connsiteX1397" fmla="*/ 5037 w 10785"/>
                  <a:gd name="connsiteY1397" fmla="*/ 9 h 10000"/>
                  <a:gd name="connsiteX1398" fmla="*/ 5023 w 10785"/>
                  <a:gd name="connsiteY1398" fmla="*/ 0 h 10000"/>
                  <a:gd name="connsiteX1399" fmla="*/ 5009 w 10785"/>
                  <a:gd name="connsiteY1399" fmla="*/ 9 h 10000"/>
                  <a:gd name="connsiteX1400" fmla="*/ 4995 w 10785"/>
                  <a:gd name="connsiteY1400" fmla="*/ 34 h 10000"/>
                  <a:gd name="connsiteX1401" fmla="*/ 4991 w 10785"/>
                  <a:gd name="connsiteY1401" fmla="*/ 60 h 10000"/>
                  <a:gd name="connsiteX1402" fmla="*/ 4982 w 10785"/>
                  <a:gd name="connsiteY1402" fmla="*/ 60 h 10000"/>
                  <a:gd name="connsiteX1403" fmla="*/ 4949 w 10785"/>
                  <a:gd name="connsiteY1403" fmla="*/ 51 h 10000"/>
                  <a:gd name="connsiteX1404" fmla="*/ 4949 w 10785"/>
                  <a:gd name="connsiteY1404" fmla="*/ 85 h 10000"/>
                  <a:gd name="connsiteX1405" fmla="*/ 4903 w 10785"/>
                  <a:gd name="connsiteY1405" fmla="*/ 197 h 10000"/>
                  <a:gd name="connsiteX1406" fmla="*/ 4899 w 10785"/>
                  <a:gd name="connsiteY1406" fmla="*/ 239 h 10000"/>
                  <a:gd name="connsiteX1407" fmla="*/ 4871 w 10785"/>
                  <a:gd name="connsiteY1407" fmla="*/ 274 h 10000"/>
                  <a:gd name="connsiteX1408" fmla="*/ 4871 w 10785"/>
                  <a:gd name="connsiteY1408" fmla="*/ 282 h 10000"/>
                  <a:gd name="connsiteX1409" fmla="*/ 4834 w 10785"/>
                  <a:gd name="connsiteY1409" fmla="*/ 376 h 10000"/>
                  <a:gd name="connsiteX1410" fmla="*/ 4829 w 10785"/>
                  <a:gd name="connsiteY1410" fmla="*/ 402 h 10000"/>
                  <a:gd name="connsiteX1411" fmla="*/ 4834 w 10785"/>
                  <a:gd name="connsiteY1411" fmla="*/ 410 h 10000"/>
                  <a:gd name="connsiteX1412" fmla="*/ 4829 w 10785"/>
                  <a:gd name="connsiteY1412" fmla="*/ 436 h 10000"/>
                  <a:gd name="connsiteX1413" fmla="*/ 4825 w 10785"/>
                  <a:gd name="connsiteY1413" fmla="*/ 436 h 10000"/>
                  <a:gd name="connsiteX1414" fmla="*/ 4825 w 10785"/>
                  <a:gd name="connsiteY1414" fmla="*/ 444 h 10000"/>
                  <a:gd name="connsiteX1415" fmla="*/ 4811 w 10785"/>
                  <a:gd name="connsiteY1415" fmla="*/ 496 h 10000"/>
                  <a:gd name="connsiteX1416" fmla="*/ 4811 w 10785"/>
                  <a:gd name="connsiteY1416" fmla="*/ 496 h 10000"/>
                  <a:gd name="connsiteX1417" fmla="*/ 4811 w 10785"/>
                  <a:gd name="connsiteY1417" fmla="*/ 521 h 10000"/>
                  <a:gd name="connsiteX1418" fmla="*/ 4816 w 10785"/>
                  <a:gd name="connsiteY1418" fmla="*/ 530 h 10000"/>
                  <a:gd name="connsiteX1419" fmla="*/ 4834 w 10785"/>
                  <a:gd name="connsiteY1419" fmla="*/ 547 h 10000"/>
                  <a:gd name="connsiteX1420" fmla="*/ 4834 w 10785"/>
                  <a:gd name="connsiteY1420" fmla="*/ 581 h 10000"/>
                  <a:gd name="connsiteX1421" fmla="*/ 4843 w 10785"/>
                  <a:gd name="connsiteY1421" fmla="*/ 581 h 10000"/>
                  <a:gd name="connsiteX1422" fmla="*/ 4843 w 10785"/>
                  <a:gd name="connsiteY1422" fmla="*/ 598 h 10000"/>
                  <a:gd name="connsiteX1423" fmla="*/ 4829 w 10785"/>
                  <a:gd name="connsiteY1423" fmla="*/ 598 h 10000"/>
                  <a:gd name="connsiteX1424" fmla="*/ 4829 w 10785"/>
                  <a:gd name="connsiteY1424" fmla="*/ 573 h 10000"/>
                  <a:gd name="connsiteX1425" fmla="*/ 4829 w 10785"/>
                  <a:gd name="connsiteY1425" fmla="*/ 632 h 10000"/>
                  <a:gd name="connsiteX1426" fmla="*/ 4829 w 10785"/>
                  <a:gd name="connsiteY1426" fmla="*/ 632 h 10000"/>
                  <a:gd name="connsiteX1427" fmla="*/ 4829 w 10785"/>
                  <a:gd name="connsiteY1427" fmla="*/ 650 h 10000"/>
                  <a:gd name="connsiteX1428" fmla="*/ 4774 w 10785"/>
                  <a:gd name="connsiteY1428" fmla="*/ 684 h 10000"/>
                  <a:gd name="connsiteX1429" fmla="*/ 4756 w 10785"/>
                  <a:gd name="connsiteY1429" fmla="*/ 684 h 10000"/>
                  <a:gd name="connsiteX1430" fmla="*/ 4737 w 10785"/>
                  <a:gd name="connsiteY1430" fmla="*/ 692 h 10000"/>
                  <a:gd name="connsiteX1431" fmla="*/ 4677 w 10785"/>
                  <a:gd name="connsiteY1431" fmla="*/ 667 h 10000"/>
                  <a:gd name="connsiteX1432" fmla="*/ 4682 w 10785"/>
                  <a:gd name="connsiteY1432" fmla="*/ 692 h 10000"/>
                  <a:gd name="connsiteX1433" fmla="*/ 4682 w 10785"/>
                  <a:gd name="connsiteY1433" fmla="*/ 709 h 10000"/>
                  <a:gd name="connsiteX1434" fmla="*/ 4691 w 10785"/>
                  <a:gd name="connsiteY1434" fmla="*/ 718 h 10000"/>
                  <a:gd name="connsiteX1435" fmla="*/ 4691 w 10785"/>
                  <a:gd name="connsiteY1435" fmla="*/ 744 h 10000"/>
                  <a:gd name="connsiteX1436" fmla="*/ 4700 w 10785"/>
                  <a:gd name="connsiteY1436" fmla="*/ 744 h 10000"/>
                  <a:gd name="connsiteX1437" fmla="*/ 4714 w 10785"/>
                  <a:gd name="connsiteY1437" fmla="*/ 769 h 10000"/>
                  <a:gd name="connsiteX1438" fmla="*/ 4710 w 10785"/>
                  <a:gd name="connsiteY1438" fmla="*/ 786 h 10000"/>
                  <a:gd name="connsiteX1439" fmla="*/ 4737 w 10785"/>
                  <a:gd name="connsiteY1439" fmla="*/ 786 h 10000"/>
                  <a:gd name="connsiteX1440" fmla="*/ 4742 w 10785"/>
                  <a:gd name="connsiteY1440" fmla="*/ 795 h 10000"/>
                  <a:gd name="connsiteX1441" fmla="*/ 4742 w 10785"/>
                  <a:gd name="connsiteY1441" fmla="*/ 803 h 10000"/>
                  <a:gd name="connsiteX1442" fmla="*/ 4737 w 10785"/>
                  <a:gd name="connsiteY1442" fmla="*/ 846 h 10000"/>
                  <a:gd name="connsiteX1443" fmla="*/ 4737 w 10785"/>
                  <a:gd name="connsiteY1443" fmla="*/ 880 h 10000"/>
                  <a:gd name="connsiteX1444" fmla="*/ 4737 w 10785"/>
                  <a:gd name="connsiteY1444" fmla="*/ 906 h 10000"/>
                  <a:gd name="connsiteX1445" fmla="*/ 4724 w 10785"/>
                  <a:gd name="connsiteY1445" fmla="*/ 897 h 10000"/>
                  <a:gd name="connsiteX1446" fmla="*/ 4724 w 10785"/>
                  <a:gd name="connsiteY1446" fmla="*/ 872 h 10000"/>
                  <a:gd name="connsiteX1447" fmla="*/ 4714 w 10785"/>
                  <a:gd name="connsiteY1447" fmla="*/ 855 h 10000"/>
                  <a:gd name="connsiteX1448" fmla="*/ 4691 w 10785"/>
                  <a:gd name="connsiteY1448" fmla="*/ 846 h 10000"/>
                  <a:gd name="connsiteX1449" fmla="*/ 4691 w 10785"/>
                  <a:gd name="connsiteY1449" fmla="*/ 846 h 10000"/>
                  <a:gd name="connsiteX1450" fmla="*/ 4696 w 10785"/>
                  <a:gd name="connsiteY1450" fmla="*/ 821 h 10000"/>
                  <a:gd name="connsiteX1451" fmla="*/ 4691 w 10785"/>
                  <a:gd name="connsiteY1451" fmla="*/ 803 h 10000"/>
                  <a:gd name="connsiteX1452" fmla="*/ 4668 w 10785"/>
                  <a:gd name="connsiteY1452" fmla="*/ 821 h 10000"/>
                  <a:gd name="connsiteX1453" fmla="*/ 4668 w 10785"/>
                  <a:gd name="connsiteY1453" fmla="*/ 786 h 10000"/>
                  <a:gd name="connsiteX1454" fmla="*/ 4664 w 10785"/>
                  <a:gd name="connsiteY1454" fmla="*/ 786 h 10000"/>
                  <a:gd name="connsiteX1455" fmla="*/ 4622 w 10785"/>
                  <a:gd name="connsiteY1455" fmla="*/ 846 h 10000"/>
                  <a:gd name="connsiteX1456" fmla="*/ 4627 w 10785"/>
                  <a:gd name="connsiteY1456" fmla="*/ 872 h 10000"/>
                  <a:gd name="connsiteX1457" fmla="*/ 4622 w 10785"/>
                  <a:gd name="connsiteY1457" fmla="*/ 880 h 10000"/>
                  <a:gd name="connsiteX1458" fmla="*/ 4622 w 10785"/>
                  <a:gd name="connsiteY1458" fmla="*/ 880 h 10000"/>
                  <a:gd name="connsiteX1459" fmla="*/ 4618 w 10785"/>
                  <a:gd name="connsiteY1459" fmla="*/ 872 h 10000"/>
                  <a:gd name="connsiteX1460" fmla="*/ 4604 w 10785"/>
                  <a:gd name="connsiteY1460" fmla="*/ 880 h 10000"/>
                  <a:gd name="connsiteX1461" fmla="*/ 4594 w 10785"/>
                  <a:gd name="connsiteY1461" fmla="*/ 906 h 10000"/>
                  <a:gd name="connsiteX1462" fmla="*/ 4604 w 10785"/>
                  <a:gd name="connsiteY1462" fmla="*/ 906 h 10000"/>
                  <a:gd name="connsiteX1463" fmla="*/ 4608 w 10785"/>
                  <a:gd name="connsiteY1463" fmla="*/ 906 h 10000"/>
                  <a:gd name="connsiteX1464" fmla="*/ 4608 w 10785"/>
                  <a:gd name="connsiteY1464" fmla="*/ 932 h 10000"/>
                  <a:gd name="connsiteX1465" fmla="*/ 4604 w 10785"/>
                  <a:gd name="connsiteY1465" fmla="*/ 932 h 10000"/>
                  <a:gd name="connsiteX1466" fmla="*/ 4590 w 10785"/>
                  <a:gd name="connsiteY1466" fmla="*/ 932 h 10000"/>
                  <a:gd name="connsiteX1467" fmla="*/ 4567 w 10785"/>
                  <a:gd name="connsiteY1467" fmla="*/ 957 h 10000"/>
                  <a:gd name="connsiteX1468" fmla="*/ 4567 w 10785"/>
                  <a:gd name="connsiteY1468" fmla="*/ 932 h 10000"/>
                  <a:gd name="connsiteX1469" fmla="*/ 4567 w 10785"/>
                  <a:gd name="connsiteY1469" fmla="*/ 923 h 10000"/>
                  <a:gd name="connsiteX1470" fmla="*/ 4562 w 10785"/>
                  <a:gd name="connsiteY1470" fmla="*/ 932 h 10000"/>
                  <a:gd name="connsiteX1471" fmla="*/ 4548 w 10785"/>
                  <a:gd name="connsiteY1471" fmla="*/ 957 h 10000"/>
                  <a:gd name="connsiteX1472" fmla="*/ 4544 w 10785"/>
                  <a:gd name="connsiteY1472" fmla="*/ 957 h 10000"/>
                  <a:gd name="connsiteX1473" fmla="*/ 4521 w 10785"/>
                  <a:gd name="connsiteY1473" fmla="*/ 983 h 10000"/>
                  <a:gd name="connsiteX1474" fmla="*/ 4521 w 10785"/>
                  <a:gd name="connsiteY1474" fmla="*/ 983 h 10000"/>
                  <a:gd name="connsiteX1475" fmla="*/ 4530 w 10785"/>
                  <a:gd name="connsiteY1475" fmla="*/ 957 h 10000"/>
                  <a:gd name="connsiteX1476" fmla="*/ 4535 w 10785"/>
                  <a:gd name="connsiteY1476" fmla="*/ 932 h 10000"/>
                  <a:gd name="connsiteX1477" fmla="*/ 4521 w 10785"/>
                  <a:gd name="connsiteY1477" fmla="*/ 932 h 10000"/>
                  <a:gd name="connsiteX1478" fmla="*/ 4516 w 10785"/>
                  <a:gd name="connsiteY1478" fmla="*/ 923 h 10000"/>
                  <a:gd name="connsiteX1479" fmla="*/ 4516 w 10785"/>
                  <a:gd name="connsiteY1479" fmla="*/ 932 h 10000"/>
                  <a:gd name="connsiteX1480" fmla="*/ 4488 w 10785"/>
                  <a:gd name="connsiteY1480" fmla="*/ 940 h 10000"/>
                  <a:gd name="connsiteX1481" fmla="*/ 4484 w 10785"/>
                  <a:gd name="connsiteY1481" fmla="*/ 983 h 10000"/>
                  <a:gd name="connsiteX1482" fmla="*/ 4470 w 10785"/>
                  <a:gd name="connsiteY1482" fmla="*/ 983 h 10000"/>
                  <a:gd name="connsiteX1483" fmla="*/ 4470 w 10785"/>
                  <a:gd name="connsiteY1483" fmla="*/ 966 h 10000"/>
                  <a:gd name="connsiteX1484" fmla="*/ 4488 w 10785"/>
                  <a:gd name="connsiteY1484" fmla="*/ 923 h 10000"/>
                  <a:gd name="connsiteX1485" fmla="*/ 4493 w 10785"/>
                  <a:gd name="connsiteY1485" fmla="*/ 880 h 10000"/>
                  <a:gd name="connsiteX1486" fmla="*/ 4475 w 10785"/>
                  <a:gd name="connsiteY1486" fmla="*/ 846 h 10000"/>
                  <a:gd name="connsiteX1487" fmla="*/ 4442 w 10785"/>
                  <a:gd name="connsiteY1487" fmla="*/ 855 h 10000"/>
                  <a:gd name="connsiteX1488" fmla="*/ 4433 w 10785"/>
                  <a:gd name="connsiteY1488" fmla="*/ 855 h 10000"/>
                  <a:gd name="connsiteX1489" fmla="*/ 4433 w 10785"/>
                  <a:gd name="connsiteY1489" fmla="*/ 880 h 10000"/>
                  <a:gd name="connsiteX1490" fmla="*/ 4401 w 10785"/>
                  <a:gd name="connsiteY1490" fmla="*/ 855 h 10000"/>
                  <a:gd name="connsiteX1491" fmla="*/ 4396 w 10785"/>
                  <a:gd name="connsiteY1491" fmla="*/ 872 h 10000"/>
                  <a:gd name="connsiteX1492" fmla="*/ 4382 w 10785"/>
                  <a:gd name="connsiteY1492" fmla="*/ 897 h 10000"/>
                  <a:gd name="connsiteX1493" fmla="*/ 4373 w 10785"/>
                  <a:gd name="connsiteY1493" fmla="*/ 872 h 10000"/>
                  <a:gd name="connsiteX1494" fmla="*/ 4341 w 10785"/>
                  <a:gd name="connsiteY1494" fmla="*/ 872 h 10000"/>
                  <a:gd name="connsiteX1495" fmla="*/ 4336 w 10785"/>
                  <a:gd name="connsiteY1495" fmla="*/ 880 h 10000"/>
                  <a:gd name="connsiteX1496" fmla="*/ 4346 w 10785"/>
                  <a:gd name="connsiteY1496" fmla="*/ 897 h 10000"/>
                  <a:gd name="connsiteX1497" fmla="*/ 4346 w 10785"/>
                  <a:gd name="connsiteY1497" fmla="*/ 897 h 10000"/>
                  <a:gd name="connsiteX1498" fmla="*/ 4313 w 10785"/>
                  <a:gd name="connsiteY1498" fmla="*/ 906 h 10000"/>
                  <a:gd name="connsiteX1499" fmla="*/ 4313 w 10785"/>
                  <a:gd name="connsiteY1499" fmla="*/ 906 h 10000"/>
                  <a:gd name="connsiteX1500" fmla="*/ 4313 w 10785"/>
                  <a:gd name="connsiteY1500" fmla="*/ 880 h 10000"/>
                  <a:gd name="connsiteX1501" fmla="*/ 4309 w 10785"/>
                  <a:gd name="connsiteY1501" fmla="*/ 897 h 10000"/>
                  <a:gd name="connsiteX1502" fmla="*/ 4295 w 10785"/>
                  <a:gd name="connsiteY1502" fmla="*/ 923 h 10000"/>
                  <a:gd name="connsiteX1503" fmla="*/ 4286 w 10785"/>
                  <a:gd name="connsiteY1503" fmla="*/ 897 h 10000"/>
                  <a:gd name="connsiteX1504" fmla="*/ 4281 w 10785"/>
                  <a:gd name="connsiteY1504" fmla="*/ 906 h 10000"/>
                  <a:gd name="connsiteX1505" fmla="*/ 4281 w 10785"/>
                  <a:gd name="connsiteY1505" fmla="*/ 940 h 10000"/>
                  <a:gd name="connsiteX1506" fmla="*/ 4286 w 10785"/>
                  <a:gd name="connsiteY1506" fmla="*/ 957 h 10000"/>
                  <a:gd name="connsiteX1507" fmla="*/ 4309 w 10785"/>
                  <a:gd name="connsiteY1507" fmla="*/ 932 h 10000"/>
                  <a:gd name="connsiteX1508" fmla="*/ 4313 w 10785"/>
                  <a:gd name="connsiteY1508" fmla="*/ 957 h 10000"/>
                  <a:gd name="connsiteX1509" fmla="*/ 4313 w 10785"/>
                  <a:gd name="connsiteY1509" fmla="*/ 966 h 10000"/>
                  <a:gd name="connsiteX1510" fmla="*/ 4323 w 10785"/>
                  <a:gd name="connsiteY1510" fmla="*/ 966 h 10000"/>
                  <a:gd name="connsiteX1511" fmla="*/ 4323 w 10785"/>
                  <a:gd name="connsiteY1511" fmla="*/ 940 h 10000"/>
                  <a:gd name="connsiteX1512" fmla="*/ 4327 w 10785"/>
                  <a:gd name="connsiteY1512" fmla="*/ 940 h 10000"/>
                  <a:gd name="connsiteX1513" fmla="*/ 4327 w 10785"/>
                  <a:gd name="connsiteY1513" fmla="*/ 957 h 10000"/>
                  <a:gd name="connsiteX1514" fmla="*/ 4327 w 10785"/>
                  <a:gd name="connsiteY1514" fmla="*/ 966 h 10000"/>
                  <a:gd name="connsiteX1515" fmla="*/ 4323 w 10785"/>
                  <a:gd name="connsiteY1515" fmla="*/ 991 h 10000"/>
                  <a:gd name="connsiteX1516" fmla="*/ 4207 w 10785"/>
                  <a:gd name="connsiteY1516" fmla="*/ 1060 h 10000"/>
                  <a:gd name="connsiteX1517" fmla="*/ 4207 w 10785"/>
                  <a:gd name="connsiteY1517" fmla="*/ 1060 h 10000"/>
                  <a:gd name="connsiteX1518" fmla="*/ 4203 w 10785"/>
                  <a:gd name="connsiteY1518" fmla="*/ 1068 h 10000"/>
                  <a:gd name="connsiteX1519" fmla="*/ 4203 w 10785"/>
                  <a:gd name="connsiteY1519" fmla="*/ 1094 h 10000"/>
                  <a:gd name="connsiteX1520" fmla="*/ 4203 w 10785"/>
                  <a:gd name="connsiteY1520" fmla="*/ 1094 h 10000"/>
                  <a:gd name="connsiteX1521" fmla="*/ 4189 w 10785"/>
                  <a:gd name="connsiteY1521" fmla="*/ 1094 h 10000"/>
                  <a:gd name="connsiteX1522" fmla="*/ 4166 w 10785"/>
                  <a:gd name="connsiteY1522" fmla="*/ 1103 h 10000"/>
                  <a:gd name="connsiteX1523" fmla="*/ 4152 w 10785"/>
                  <a:gd name="connsiteY1523" fmla="*/ 1094 h 10000"/>
                  <a:gd name="connsiteX1524" fmla="*/ 4134 w 10785"/>
                  <a:gd name="connsiteY1524" fmla="*/ 1120 h 10000"/>
                  <a:gd name="connsiteX1525" fmla="*/ 4106 w 10785"/>
                  <a:gd name="connsiteY1525" fmla="*/ 1120 h 10000"/>
                  <a:gd name="connsiteX1526" fmla="*/ 4092 w 10785"/>
                  <a:gd name="connsiteY1526" fmla="*/ 1154 h 10000"/>
                  <a:gd name="connsiteX1527" fmla="*/ 4106 w 10785"/>
                  <a:gd name="connsiteY1527" fmla="*/ 1171 h 10000"/>
                  <a:gd name="connsiteX1528" fmla="*/ 4078 w 10785"/>
                  <a:gd name="connsiteY1528" fmla="*/ 1179 h 10000"/>
                  <a:gd name="connsiteX1529" fmla="*/ 4065 w 10785"/>
                  <a:gd name="connsiteY1529" fmla="*/ 1205 h 10000"/>
                  <a:gd name="connsiteX1530" fmla="*/ 4046 w 10785"/>
                  <a:gd name="connsiteY1530" fmla="*/ 1179 h 10000"/>
                  <a:gd name="connsiteX1531" fmla="*/ 4041 w 10785"/>
                  <a:gd name="connsiteY1531" fmla="*/ 1197 h 10000"/>
                  <a:gd name="connsiteX1532" fmla="*/ 4028 w 10785"/>
                  <a:gd name="connsiteY1532" fmla="*/ 1205 h 10000"/>
                  <a:gd name="connsiteX1533" fmla="*/ 4028 w 10785"/>
                  <a:gd name="connsiteY1533" fmla="*/ 1205 h 10000"/>
                  <a:gd name="connsiteX1534" fmla="*/ 4032 w 10785"/>
                  <a:gd name="connsiteY1534" fmla="*/ 1205 h 10000"/>
                  <a:gd name="connsiteX1535" fmla="*/ 4032 w 10785"/>
                  <a:gd name="connsiteY1535" fmla="*/ 1231 h 10000"/>
                  <a:gd name="connsiteX1536" fmla="*/ 4014 w 10785"/>
                  <a:gd name="connsiteY1536" fmla="*/ 1239 h 10000"/>
                  <a:gd name="connsiteX1537" fmla="*/ 4014 w 10785"/>
                  <a:gd name="connsiteY1537" fmla="*/ 1256 h 10000"/>
                  <a:gd name="connsiteX1538" fmla="*/ 4000 w 10785"/>
                  <a:gd name="connsiteY1538" fmla="*/ 1265 h 10000"/>
                  <a:gd name="connsiteX1539" fmla="*/ 3986 w 10785"/>
                  <a:gd name="connsiteY1539" fmla="*/ 1308 h 10000"/>
                  <a:gd name="connsiteX1540" fmla="*/ 3972 w 10785"/>
                  <a:gd name="connsiteY1540" fmla="*/ 1316 h 10000"/>
                  <a:gd name="connsiteX1541" fmla="*/ 3972 w 10785"/>
                  <a:gd name="connsiteY1541" fmla="*/ 1325 h 10000"/>
                  <a:gd name="connsiteX1542" fmla="*/ 3972 w 10785"/>
                  <a:gd name="connsiteY1542" fmla="*/ 1342 h 10000"/>
                  <a:gd name="connsiteX1543" fmla="*/ 3968 w 10785"/>
                  <a:gd name="connsiteY1543" fmla="*/ 1350 h 10000"/>
                  <a:gd name="connsiteX1544" fmla="*/ 3954 w 10785"/>
                  <a:gd name="connsiteY1544" fmla="*/ 1368 h 10000"/>
                  <a:gd name="connsiteX1545" fmla="*/ 3945 w 10785"/>
                  <a:gd name="connsiteY1545" fmla="*/ 1350 h 10000"/>
                  <a:gd name="connsiteX1546" fmla="*/ 3908 w 10785"/>
                  <a:gd name="connsiteY1546" fmla="*/ 1342 h 10000"/>
                  <a:gd name="connsiteX1547" fmla="*/ 3894 w 10785"/>
                  <a:gd name="connsiteY1547" fmla="*/ 1368 h 10000"/>
                  <a:gd name="connsiteX1548" fmla="*/ 3922 w 10785"/>
                  <a:gd name="connsiteY1548" fmla="*/ 1393 h 10000"/>
                  <a:gd name="connsiteX1549" fmla="*/ 3945 w 10785"/>
                  <a:gd name="connsiteY1549" fmla="*/ 1393 h 10000"/>
                  <a:gd name="connsiteX1550" fmla="*/ 3940 w 10785"/>
                  <a:gd name="connsiteY1550" fmla="*/ 1419 h 10000"/>
                  <a:gd name="connsiteX1551" fmla="*/ 3931 w 10785"/>
                  <a:gd name="connsiteY1551" fmla="*/ 1427 h 10000"/>
                  <a:gd name="connsiteX1552" fmla="*/ 3926 w 10785"/>
                  <a:gd name="connsiteY1552" fmla="*/ 1427 h 10000"/>
                  <a:gd name="connsiteX1553" fmla="*/ 3922 w 10785"/>
                  <a:gd name="connsiteY1553" fmla="*/ 1419 h 10000"/>
                  <a:gd name="connsiteX1554" fmla="*/ 3912 w 10785"/>
                  <a:gd name="connsiteY1554" fmla="*/ 1427 h 10000"/>
                  <a:gd name="connsiteX1555" fmla="*/ 3912 w 10785"/>
                  <a:gd name="connsiteY1555" fmla="*/ 1444 h 10000"/>
                  <a:gd name="connsiteX1556" fmla="*/ 3894 w 10785"/>
                  <a:gd name="connsiteY1556" fmla="*/ 1513 h 10000"/>
                  <a:gd name="connsiteX1557" fmla="*/ 3885 w 10785"/>
                  <a:gd name="connsiteY1557" fmla="*/ 1513 h 10000"/>
                  <a:gd name="connsiteX1558" fmla="*/ 3880 w 10785"/>
                  <a:gd name="connsiteY1558" fmla="*/ 1538 h 10000"/>
                  <a:gd name="connsiteX1559" fmla="*/ 3885 w 10785"/>
                  <a:gd name="connsiteY1559" fmla="*/ 1564 h 10000"/>
                  <a:gd name="connsiteX1560" fmla="*/ 3880 w 10785"/>
                  <a:gd name="connsiteY1560" fmla="*/ 1581 h 10000"/>
                  <a:gd name="connsiteX1561" fmla="*/ 3871 w 10785"/>
                  <a:gd name="connsiteY1561" fmla="*/ 1538 h 10000"/>
                  <a:gd name="connsiteX1562" fmla="*/ 3853 w 10785"/>
                  <a:gd name="connsiteY1562" fmla="*/ 1530 h 10000"/>
                  <a:gd name="connsiteX1563" fmla="*/ 3853 w 10785"/>
                  <a:gd name="connsiteY1563" fmla="*/ 1504 h 10000"/>
                  <a:gd name="connsiteX1564" fmla="*/ 3834 w 10785"/>
                  <a:gd name="connsiteY1564" fmla="*/ 1487 h 10000"/>
                  <a:gd name="connsiteX1565" fmla="*/ 3834 w 10785"/>
                  <a:gd name="connsiteY1565" fmla="*/ 1487 h 10000"/>
                  <a:gd name="connsiteX1566" fmla="*/ 3839 w 10785"/>
                  <a:gd name="connsiteY1566" fmla="*/ 1513 h 10000"/>
                  <a:gd name="connsiteX1567" fmla="*/ 3820 w 10785"/>
                  <a:gd name="connsiteY1567" fmla="*/ 1538 h 10000"/>
                  <a:gd name="connsiteX1568" fmla="*/ 3820 w 10785"/>
                  <a:gd name="connsiteY1568" fmla="*/ 1556 h 10000"/>
                  <a:gd name="connsiteX1569" fmla="*/ 3820 w 10785"/>
                  <a:gd name="connsiteY1569" fmla="*/ 1564 h 10000"/>
                  <a:gd name="connsiteX1570" fmla="*/ 3820 w 10785"/>
                  <a:gd name="connsiteY1570" fmla="*/ 1581 h 10000"/>
                  <a:gd name="connsiteX1571" fmla="*/ 3853 w 10785"/>
                  <a:gd name="connsiteY1571" fmla="*/ 1581 h 10000"/>
                  <a:gd name="connsiteX1572" fmla="*/ 3857 w 10785"/>
                  <a:gd name="connsiteY1572" fmla="*/ 1598 h 10000"/>
                  <a:gd name="connsiteX1573" fmla="*/ 3880 w 10785"/>
                  <a:gd name="connsiteY1573" fmla="*/ 1615 h 10000"/>
                  <a:gd name="connsiteX1574" fmla="*/ 3871 w 10785"/>
                  <a:gd name="connsiteY1574" fmla="*/ 1615 h 10000"/>
                  <a:gd name="connsiteX1575" fmla="*/ 3871 w 10785"/>
                  <a:gd name="connsiteY1575" fmla="*/ 1641 h 10000"/>
                  <a:gd name="connsiteX1576" fmla="*/ 3880 w 10785"/>
                  <a:gd name="connsiteY1576" fmla="*/ 1641 h 10000"/>
                  <a:gd name="connsiteX1577" fmla="*/ 3871 w 10785"/>
                  <a:gd name="connsiteY1577" fmla="*/ 1650 h 10000"/>
                  <a:gd name="connsiteX1578" fmla="*/ 3857 w 10785"/>
                  <a:gd name="connsiteY1578" fmla="*/ 1650 h 10000"/>
                  <a:gd name="connsiteX1579" fmla="*/ 3853 w 10785"/>
                  <a:gd name="connsiteY1579" fmla="*/ 1650 h 10000"/>
                  <a:gd name="connsiteX1580" fmla="*/ 3839 w 10785"/>
                  <a:gd name="connsiteY1580" fmla="*/ 1667 h 10000"/>
                  <a:gd name="connsiteX1581" fmla="*/ 3848 w 10785"/>
                  <a:gd name="connsiteY1581" fmla="*/ 1692 h 10000"/>
                  <a:gd name="connsiteX1582" fmla="*/ 3834 w 10785"/>
                  <a:gd name="connsiteY1582" fmla="*/ 1692 h 10000"/>
                  <a:gd name="connsiteX1583" fmla="*/ 3825 w 10785"/>
                  <a:gd name="connsiteY1583" fmla="*/ 1692 h 10000"/>
                  <a:gd name="connsiteX1584" fmla="*/ 3825 w 10785"/>
                  <a:gd name="connsiteY1584" fmla="*/ 1718 h 10000"/>
                  <a:gd name="connsiteX1585" fmla="*/ 3839 w 10785"/>
                  <a:gd name="connsiteY1585" fmla="*/ 1726 h 10000"/>
                  <a:gd name="connsiteX1586" fmla="*/ 3880 w 10785"/>
                  <a:gd name="connsiteY1586" fmla="*/ 1752 h 10000"/>
                  <a:gd name="connsiteX1587" fmla="*/ 3894 w 10785"/>
                  <a:gd name="connsiteY1587" fmla="*/ 1829 h 10000"/>
                  <a:gd name="connsiteX1588" fmla="*/ 3899 w 10785"/>
                  <a:gd name="connsiteY1588" fmla="*/ 1838 h 10000"/>
                  <a:gd name="connsiteX1589" fmla="*/ 3894 w 10785"/>
                  <a:gd name="connsiteY1589" fmla="*/ 1855 h 10000"/>
                  <a:gd name="connsiteX1590" fmla="*/ 3880 w 10785"/>
                  <a:gd name="connsiteY1590" fmla="*/ 1838 h 10000"/>
                  <a:gd name="connsiteX1591" fmla="*/ 3880 w 10785"/>
                  <a:gd name="connsiteY1591" fmla="*/ 1855 h 10000"/>
                  <a:gd name="connsiteX1592" fmla="*/ 3880 w 10785"/>
                  <a:gd name="connsiteY1592" fmla="*/ 1863 h 10000"/>
                  <a:gd name="connsiteX1593" fmla="*/ 3871 w 10785"/>
                  <a:gd name="connsiteY1593" fmla="*/ 1872 h 10000"/>
                  <a:gd name="connsiteX1594" fmla="*/ 3880 w 10785"/>
                  <a:gd name="connsiteY1594" fmla="*/ 1889 h 10000"/>
                  <a:gd name="connsiteX1595" fmla="*/ 3885 w 10785"/>
                  <a:gd name="connsiteY1595" fmla="*/ 1889 h 10000"/>
                  <a:gd name="connsiteX1596" fmla="*/ 3880 w 10785"/>
                  <a:gd name="connsiteY1596" fmla="*/ 1897 h 10000"/>
                  <a:gd name="connsiteX1597" fmla="*/ 3871 w 10785"/>
                  <a:gd name="connsiteY1597" fmla="*/ 1915 h 10000"/>
                  <a:gd name="connsiteX1598" fmla="*/ 3848 w 10785"/>
                  <a:gd name="connsiteY1598" fmla="*/ 1923 h 10000"/>
                  <a:gd name="connsiteX1599" fmla="*/ 3825 w 10785"/>
                  <a:gd name="connsiteY1599" fmla="*/ 1940 h 10000"/>
                  <a:gd name="connsiteX1600" fmla="*/ 3811 w 10785"/>
                  <a:gd name="connsiteY1600" fmla="*/ 1940 h 10000"/>
                  <a:gd name="connsiteX1601" fmla="*/ 3806 w 10785"/>
                  <a:gd name="connsiteY1601" fmla="*/ 1949 h 10000"/>
                  <a:gd name="connsiteX1602" fmla="*/ 3797 w 10785"/>
                  <a:gd name="connsiteY1602" fmla="*/ 1966 h 10000"/>
                  <a:gd name="connsiteX1603" fmla="*/ 3788 w 10785"/>
                  <a:gd name="connsiteY1603" fmla="*/ 1991 h 10000"/>
                  <a:gd name="connsiteX1604" fmla="*/ 3765 w 10785"/>
                  <a:gd name="connsiteY1604" fmla="*/ 1974 h 10000"/>
                  <a:gd name="connsiteX1605" fmla="*/ 3760 w 10785"/>
                  <a:gd name="connsiteY1605" fmla="*/ 1966 h 10000"/>
                  <a:gd name="connsiteX1606" fmla="*/ 3760 w 10785"/>
                  <a:gd name="connsiteY1606" fmla="*/ 1966 h 10000"/>
                  <a:gd name="connsiteX1607" fmla="*/ 3631 w 10785"/>
                  <a:gd name="connsiteY1607" fmla="*/ 2009 h 10000"/>
                  <a:gd name="connsiteX1608" fmla="*/ 3618 w 10785"/>
                  <a:gd name="connsiteY1608" fmla="*/ 2000 h 10000"/>
                  <a:gd name="connsiteX1609" fmla="*/ 3599 w 10785"/>
                  <a:gd name="connsiteY1609" fmla="*/ 2009 h 10000"/>
                  <a:gd name="connsiteX1610" fmla="*/ 3571 w 10785"/>
                  <a:gd name="connsiteY1610" fmla="*/ 2000 h 10000"/>
                  <a:gd name="connsiteX1611" fmla="*/ 3530 w 10785"/>
                  <a:gd name="connsiteY1611" fmla="*/ 2026 h 10000"/>
                  <a:gd name="connsiteX1612" fmla="*/ 3530 w 10785"/>
                  <a:gd name="connsiteY1612" fmla="*/ 2034 h 10000"/>
                  <a:gd name="connsiteX1613" fmla="*/ 3525 w 10785"/>
                  <a:gd name="connsiteY1613" fmla="*/ 2051 h 10000"/>
                  <a:gd name="connsiteX1614" fmla="*/ 3512 w 10785"/>
                  <a:gd name="connsiteY1614" fmla="*/ 2034 h 10000"/>
                  <a:gd name="connsiteX1615" fmla="*/ 3507 w 10785"/>
                  <a:gd name="connsiteY1615" fmla="*/ 2034 h 10000"/>
                  <a:gd name="connsiteX1616" fmla="*/ 3498 w 10785"/>
                  <a:gd name="connsiteY1616" fmla="*/ 2051 h 10000"/>
                  <a:gd name="connsiteX1617" fmla="*/ 3484 w 10785"/>
                  <a:gd name="connsiteY1617" fmla="*/ 2060 h 10000"/>
                  <a:gd name="connsiteX1618" fmla="*/ 3484 w 10785"/>
                  <a:gd name="connsiteY1618" fmla="*/ 2085 h 10000"/>
                  <a:gd name="connsiteX1619" fmla="*/ 3484 w 10785"/>
                  <a:gd name="connsiteY1619" fmla="*/ 2103 h 10000"/>
                  <a:gd name="connsiteX1620" fmla="*/ 3493 w 10785"/>
                  <a:gd name="connsiteY1620" fmla="*/ 2103 h 10000"/>
                  <a:gd name="connsiteX1621" fmla="*/ 3493 w 10785"/>
                  <a:gd name="connsiteY1621" fmla="*/ 2085 h 10000"/>
                  <a:gd name="connsiteX1622" fmla="*/ 3498 w 10785"/>
                  <a:gd name="connsiteY1622" fmla="*/ 2085 h 10000"/>
                  <a:gd name="connsiteX1623" fmla="*/ 3498 w 10785"/>
                  <a:gd name="connsiteY1623" fmla="*/ 2111 h 10000"/>
                  <a:gd name="connsiteX1624" fmla="*/ 3484 w 10785"/>
                  <a:gd name="connsiteY1624" fmla="*/ 2120 h 10000"/>
                  <a:gd name="connsiteX1625" fmla="*/ 3484 w 10785"/>
                  <a:gd name="connsiteY1625" fmla="*/ 2145 h 10000"/>
                  <a:gd name="connsiteX1626" fmla="*/ 3470 w 10785"/>
                  <a:gd name="connsiteY1626" fmla="*/ 2137 h 10000"/>
                  <a:gd name="connsiteX1627" fmla="*/ 3465 w 10785"/>
                  <a:gd name="connsiteY1627" fmla="*/ 2145 h 10000"/>
                  <a:gd name="connsiteX1628" fmla="*/ 3470 w 10785"/>
                  <a:gd name="connsiteY1628" fmla="*/ 2171 h 10000"/>
                  <a:gd name="connsiteX1629" fmla="*/ 3484 w 10785"/>
                  <a:gd name="connsiteY1629" fmla="*/ 2171 h 10000"/>
                  <a:gd name="connsiteX1630" fmla="*/ 3484 w 10785"/>
                  <a:gd name="connsiteY1630" fmla="*/ 2197 h 10000"/>
                  <a:gd name="connsiteX1631" fmla="*/ 3465 w 10785"/>
                  <a:gd name="connsiteY1631" fmla="*/ 2214 h 10000"/>
                  <a:gd name="connsiteX1632" fmla="*/ 3493 w 10785"/>
                  <a:gd name="connsiteY1632" fmla="*/ 2248 h 10000"/>
                  <a:gd name="connsiteX1633" fmla="*/ 3484 w 10785"/>
                  <a:gd name="connsiteY1633" fmla="*/ 2256 h 10000"/>
                  <a:gd name="connsiteX1634" fmla="*/ 3498 w 10785"/>
                  <a:gd name="connsiteY1634" fmla="*/ 2274 h 10000"/>
                  <a:gd name="connsiteX1635" fmla="*/ 3498 w 10785"/>
                  <a:gd name="connsiteY1635" fmla="*/ 2256 h 10000"/>
                  <a:gd name="connsiteX1636" fmla="*/ 3507 w 10785"/>
                  <a:gd name="connsiteY1636" fmla="*/ 2308 h 10000"/>
                  <a:gd name="connsiteX1637" fmla="*/ 3512 w 10785"/>
                  <a:gd name="connsiteY1637" fmla="*/ 2325 h 10000"/>
                  <a:gd name="connsiteX1638" fmla="*/ 3507 w 10785"/>
                  <a:gd name="connsiteY1638" fmla="*/ 2333 h 10000"/>
                  <a:gd name="connsiteX1639" fmla="*/ 3507 w 10785"/>
                  <a:gd name="connsiteY1639" fmla="*/ 2359 h 10000"/>
                  <a:gd name="connsiteX1640" fmla="*/ 3507 w 10785"/>
                  <a:gd name="connsiteY1640" fmla="*/ 2376 h 10000"/>
                  <a:gd name="connsiteX1641" fmla="*/ 3498 w 10785"/>
                  <a:gd name="connsiteY1641" fmla="*/ 2410 h 10000"/>
                  <a:gd name="connsiteX1642" fmla="*/ 3498 w 10785"/>
                  <a:gd name="connsiteY1642" fmla="*/ 2436 h 10000"/>
                  <a:gd name="connsiteX1643" fmla="*/ 3507 w 10785"/>
                  <a:gd name="connsiteY1643" fmla="*/ 2462 h 10000"/>
                  <a:gd name="connsiteX1644" fmla="*/ 3507 w 10785"/>
                  <a:gd name="connsiteY1644" fmla="*/ 2496 h 10000"/>
                  <a:gd name="connsiteX1645" fmla="*/ 3512 w 10785"/>
                  <a:gd name="connsiteY1645" fmla="*/ 2521 h 10000"/>
                  <a:gd name="connsiteX1646" fmla="*/ 3525 w 10785"/>
                  <a:gd name="connsiteY1646" fmla="*/ 2556 h 10000"/>
                  <a:gd name="connsiteX1647" fmla="*/ 3571 w 10785"/>
                  <a:gd name="connsiteY1647" fmla="*/ 2573 h 10000"/>
                  <a:gd name="connsiteX1648" fmla="*/ 3590 w 10785"/>
                  <a:gd name="connsiteY1648" fmla="*/ 2598 h 10000"/>
                  <a:gd name="connsiteX1649" fmla="*/ 3599 w 10785"/>
                  <a:gd name="connsiteY1649" fmla="*/ 2598 h 10000"/>
                  <a:gd name="connsiteX1650" fmla="*/ 3604 w 10785"/>
                  <a:gd name="connsiteY1650" fmla="*/ 2632 h 10000"/>
                  <a:gd name="connsiteX1651" fmla="*/ 3599 w 10785"/>
                  <a:gd name="connsiteY1651" fmla="*/ 2658 h 10000"/>
                  <a:gd name="connsiteX1652" fmla="*/ 3590 w 10785"/>
                  <a:gd name="connsiteY1652" fmla="*/ 2667 h 10000"/>
                  <a:gd name="connsiteX1653" fmla="*/ 3604 w 10785"/>
                  <a:gd name="connsiteY1653" fmla="*/ 2667 h 10000"/>
                  <a:gd name="connsiteX1654" fmla="*/ 3613 w 10785"/>
                  <a:gd name="connsiteY1654" fmla="*/ 2692 h 10000"/>
                  <a:gd name="connsiteX1655" fmla="*/ 3627 w 10785"/>
                  <a:gd name="connsiteY1655" fmla="*/ 2735 h 10000"/>
                  <a:gd name="connsiteX1656" fmla="*/ 3631 w 10785"/>
                  <a:gd name="connsiteY1656" fmla="*/ 2744 h 10000"/>
                  <a:gd name="connsiteX1657" fmla="*/ 3659 w 10785"/>
                  <a:gd name="connsiteY1657" fmla="*/ 2761 h 10000"/>
                  <a:gd name="connsiteX1658" fmla="*/ 3673 w 10785"/>
                  <a:gd name="connsiteY1658" fmla="*/ 2769 h 10000"/>
                  <a:gd name="connsiteX1659" fmla="*/ 3673 w 10785"/>
                  <a:gd name="connsiteY1659" fmla="*/ 2761 h 10000"/>
                  <a:gd name="connsiteX1660" fmla="*/ 3687 w 10785"/>
                  <a:gd name="connsiteY1660" fmla="*/ 2829 h 10000"/>
                  <a:gd name="connsiteX1661" fmla="*/ 3677 w 10785"/>
                  <a:gd name="connsiteY1661" fmla="*/ 2897 h 10000"/>
                  <a:gd name="connsiteX1662" fmla="*/ 3673 w 10785"/>
                  <a:gd name="connsiteY1662" fmla="*/ 2915 h 10000"/>
                  <a:gd name="connsiteX1663" fmla="*/ 3664 w 10785"/>
                  <a:gd name="connsiteY1663" fmla="*/ 2957 h 10000"/>
                  <a:gd name="connsiteX1664" fmla="*/ 3659 w 10785"/>
                  <a:gd name="connsiteY1664" fmla="*/ 2983 h 10000"/>
                  <a:gd name="connsiteX1665" fmla="*/ 3664 w 10785"/>
                  <a:gd name="connsiteY1665" fmla="*/ 3017 h 10000"/>
                  <a:gd name="connsiteX1666" fmla="*/ 3659 w 10785"/>
                  <a:gd name="connsiteY1666" fmla="*/ 3043 h 10000"/>
                  <a:gd name="connsiteX1667" fmla="*/ 3677 w 10785"/>
                  <a:gd name="connsiteY1667" fmla="*/ 3094 h 10000"/>
                  <a:gd name="connsiteX1668" fmla="*/ 3691 w 10785"/>
                  <a:gd name="connsiteY1668" fmla="*/ 3282 h 10000"/>
                  <a:gd name="connsiteX1669" fmla="*/ 3691 w 10785"/>
                  <a:gd name="connsiteY1669" fmla="*/ 3308 h 10000"/>
                  <a:gd name="connsiteX1670" fmla="*/ 3677 w 10785"/>
                  <a:gd name="connsiteY1670" fmla="*/ 3342 h 10000"/>
                  <a:gd name="connsiteX1671" fmla="*/ 3664 w 10785"/>
                  <a:gd name="connsiteY1671" fmla="*/ 3342 h 10000"/>
                  <a:gd name="connsiteX1672" fmla="*/ 3650 w 10785"/>
                  <a:gd name="connsiteY1672" fmla="*/ 3342 h 10000"/>
                  <a:gd name="connsiteX1673" fmla="*/ 3650 w 10785"/>
                  <a:gd name="connsiteY1673" fmla="*/ 3350 h 10000"/>
                  <a:gd name="connsiteX1674" fmla="*/ 3659 w 10785"/>
                  <a:gd name="connsiteY1674" fmla="*/ 3402 h 10000"/>
                  <a:gd name="connsiteX1675" fmla="*/ 3659 w 10785"/>
                  <a:gd name="connsiteY1675" fmla="*/ 3419 h 10000"/>
                  <a:gd name="connsiteX1676" fmla="*/ 3631 w 10785"/>
                  <a:gd name="connsiteY1676" fmla="*/ 3402 h 10000"/>
                  <a:gd name="connsiteX1677" fmla="*/ 3604 w 10785"/>
                  <a:gd name="connsiteY1677" fmla="*/ 3393 h 10000"/>
                  <a:gd name="connsiteX1678" fmla="*/ 3599 w 10785"/>
                  <a:gd name="connsiteY1678" fmla="*/ 3368 h 10000"/>
                  <a:gd name="connsiteX1679" fmla="*/ 3590 w 10785"/>
                  <a:gd name="connsiteY1679" fmla="*/ 3239 h 10000"/>
                  <a:gd name="connsiteX1680" fmla="*/ 3599 w 10785"/>
                  <a:gd name="connsiteY1680" fmla="*/ 3179 h 10000"/>
                  <a:gd name="connsiteX1681" fmla="*/ 3599 w 10785"/>
                  <a:gd name="connsiteY1681" fmla="*/ 3171 h 10000"/>
                  <a:gd name="connsiteX1682" fmla="*/ 3599 w 10785"/>
                  <a:gd name="connsiteY1682" fmla="*/ 3009 h 10000"/>
                  <a:gd name="connsiteX1683" fmla="*/ 3604 w 10785"/>
                  <a:gd name="connsiteY1683" fmla="*/ 2983 h 10000"/>
                  <a:gd name="connsiteX1684" fmla="*/ 3645 w 10785"/>
                  <a:gd name="connsiteY1684" fmla="*/ 2932 h 10000"/>
                  <a:gd name="connsiteX1685" fmla="*/ 3650 w 10785"/>
                  <a:gd name="connsiteY1685" fmla="*/ 2872 h 10000"/>
                  <a:gd name="connsiteX1686" fmla="*/ 3659 w 10785"/>
                  <a:gd name="connsiteY1686" fmla="*/ 2855 h 10000"/>
                  <a:gd name="connsiteX1687" fmla="*/ 3659 w 10785"/>
                  <a:gd name="connsiteY1687" fmla="*/ 2821 h 10000"/>
                  <a:gd name="connsiteX1688" fmla="*/ 3631 w 10785"/>
                  <a:gd name="connsiteY1688" fmla="*/ 2795 h 10000"/>
                  <a:gd name="connsiteX1689" fmla="*/ 3567 w 10785"/>
                  <a:gd name="connsiteY1689" fmla="*/ 2821 h 10000"/>
                  <a:gd name="connsiteX1690" fmla="*/ 3544 w 10785"/>
                  <a:gd name="connsiteY1690" fmla="*/ 2795 h 10000"/>
                  <a:gd name="connsiteX1691" fmla="*/ 3530 w 10785"/>
                  <a:gd name="connsiteY1691" fmla="*/ 2769 h 10000"/>
                  <a:gd name="connsiteX1692" fmla="*/ 3530 w 10785"/>
                  <a:gd name="connsiteY1692" fmla="*/ 2786 h 10000"/>
                  <a:gd name="connsiteX1693" fmla="*/ 3498 w 10785"/>
                  <a:gd name="connsiteY1693" fmla="*/ 2692 h 10000"/>
                  <a:gd name="connsiteX1694" fmla="*/ 3498 w 10785"/>
                  <a:gd name="connsiteY1694" fmla="*/ 2667 h 10000"/>
                  <a:gd name="connsiteX1695" fmla="*/ 3442 w 10785"/>
                  <a:gd name="connsiteY1695" fmla="*/ 2607 h 10000"/>
                  <a:gd name="connsiteX1696" fmla="*/ 3433 w 10785"/>
                  <a:gd name="connsiteY1696" fmla="*/ 2581 h 10000"/>
                  <a:gd name="connsiteX1697" fmla="*/ 3396 w 10785"/>
                  <a:gd name="connsiteY1697" fmla="*/ 2556 h 10000"/>
                  <a:gd name="connsiteX1698" fmla="*/ 3318 w 10785"/>
                  <a:gd name="connsiteY1698" fmla="*/ 2556 h 10000"/>
                  <a:gd name="connsiteX1699" fmla="*/ 3304 w 10785"/>
                  <a:gd name="connsiteY1699" fmla="*/ 2607 h 10000"/>
                  <a:gd name="connsiteX1700" fmla="*/ 3276 w 10785"/>
                  <a:gd name="connsiteY1700" fmla="*/ 2632 h 10000"/>
                  <a:gd name="connsiteX1701" fmla="*/ 3272 w 10785"/>
                  <a:gd name="connsiteY1701" fmla="*/ 2667 h 10000"/>
                  <a:gd name="connsiteX1702" fmla="*/ 3304 w 10785"/>
                  <a:gd name="connsiteY1702" fmla="*/ 2667 h 10000"/>
                  <a:gd name="connsiteX1703" fmla="*/ 3323 w 10785"/>
                  <a:gd name="connsiteY1703" fmla="*/ 2692 h 10000"/>
                  <a:gd name="connsiteX1704" fmla="*/ 3318 w 10785"/>
                  <a:gd name="connsiteY1704" fmla="*/ 2735 h 10000"/>
                  <a:gd name="connsiteX1705" fmla="*/ 3304 w 10785"/>
                  <a:gd name="connsiteY1705" fmla="*/ 2761 h 10000"/>
                  <a:gd name="connsiteX1706" fmla="*/ 3276 w 10785"/>
                  <a:gd name="connsiteY1706" fmla="*/ 2769 h 10000"/>
                  <a:gd name="connsiteX1707" fmla="*/ 3263 w 10785"/>
                  <a:gd name="connsiteY1707" fmla="*/ 2795 h 10000"/>
                  <a:gd name="connsiteX1708" fmla="*/ 3235 w 10785"/>
                  <a:gd name="connsiteY1708" fmla="*/ 2803 h 10000"/>
                  <a:gd name="connsiteX1709" fmla="*/ 3235 w 10785"/>
                  <a:gd name="connsiteY1709" fmla="*/ 2786 h 10000"/>
                  <a:gd name="connsiteX1710" fmla="*/ 3212 w 10785"/>
                  <a:gd name="connsiteY1710" fmla="*/ 2709 h 10000"/>
                  <a:gd name="connsiteX1711" fmla="*/ 3198 w 10785"/>
                  <a:gd name="connsiteY1711" fmla="*/ 2709 h 10000"/>
                  <a:gd name="connsiteX1712" fmla="*/ 3184 w 10785"/>
                  <a:gd name="connsiteY1712" fmla="*/ 2735 h 10000"/>
                  <a:gd name="connsiteX1713" fmla="*/ 3189 w 10785"/>
                  <a:gd name="connsiteY1713" fmla="*/ 2761 h 10000"/>
                  <a:gd name="connsiteX1714" fmla="*/ 3203 w 10785"/>
                  <a:gd name="connsiteY1714" fmla="*/ 2855 h 10000"/>
                  <a:gd name="connsiteX1715" fmla="*/ 3212 w 10785"/>
                  <a:gd name="connsiteY1715" fmla="*/ 2872 h 10000"/>
                  <a:gd name="connsiteX1716" fmla="*/ 3235 w 10785"/>
                  <a:gd name="connsiteY1716" fmla="*/ 2906 h 10000"/>
                  <a:gd name="connsiteX1717" fmla="*/ 3258 w 10785"/>
                  <a:gd name="connsiteY1717" fmla="*/ 2915 h 10000"/>
                  <a:gd name="connsiteX1718" fmla="*/ 3272 w 10785"/>
                  <a:gd name="connsiteY1718" fmla="*/ 2957 h 10000"/>
                  <a:gd name="connsiteX1719" fmla="*/ 3276 w 10785"/>
                  <a:gd name="connsiteY1719" fmla="*/ 2957 h 10000"/>
                  <a:gd name="connsiteX1720" fmla="*/ 3286 w 10785"/>
                  <a:gd name="connsiteY1720" fmla="*/ 2966 h 10000"/>
                  <a:gd name="connsiteX1721" fmla="*/ 3300 w 10785"/>
                  <a:gd name="connsiteY1721" fmla="*/ 2957 h 10000"/>
                  <a:gd name="connsiteX1722" fmla="*/ 3309 w 10785"/>
                  <a:gd name="connsiteY1722" fmla="*/ 2932 h 10000"/>
                  <a:gd name="connsiteX1723" fmla="*/ 3304 w 10785"/>
                  <a:gd name="connsiteY1723" fmla="*/ 2966 h 10000"/>
                  <a:gd name="connsiteX1724" fmla="*/ 3309 w 10785"/>
                  <a:gd name="connsiteY1724" fmla="*/ 2983 h 10000"/>
                  <a:gd name="connsiteX1725" fmla="*/ 3323 w 10785"/>
                  <a:gd name="connsiteY1725" fmla="*/ 2966 h 10000"/>
                  <a:gd name="connsiteX1726" fmla="*/ 3323 w 10785"/>
                  <a:gd name="connsiteY1726" fmla="*/ 3043 h 10000"/>
                  <a:gd name="connsiteX1727" fmla="*/ 3346 w 10785"/>
                  <a:gd name="connsiteY1727" fmla="*/ 3068 h 10000"/>
                  <a:gd name="connsiteX1728" fmla="*/ 3346 w 10785"/>
                  <a:gd name="connsiteY1728" fmla="*/ 3094 h 10000"/>
                  <a:gd name="connsiteX1729" fmla="*/ 3323 w 10785"/>
                  <a:gd name="connsiteY1729" fmla="*/ 3094 h 10000"/>
                  <a:gd name="connsiteX1730" fmla="*/ 3309 w 10785"/>
                  <a:gd name="connsiteY1730" fmla="*/ 3077 h 10000"/>
                  <a:gd name="connsiteX1731" fmla="*/ 3304 w 10785"/>
                  <a:gd name="connsiteY1731" fmla="*/ 3051 h 10000"/>
                  <a:gd name="connsiteX1732" fmla="*/ 3300 w 10785"/>
                  <a:gd name="connsiteY1732" fmla="*/ 3043 h 10000"/>
                  <a:gd name="connsiteX1733" fmla="*/ 3286 w 10785"/>
                  <a:gd name="connsiteY1733" fmla="*/ 3017 h 10000"/>
                  <a:gd name="connsiteX1734" fmla="*/ 3152 w 10785"/>
                  <a:gd name="connsiteY1734" fmla="*/ 2966 h 10000"/>
                  <a:gd name="connsiteX1735" fmla="*/ 3129 w 10785"/>
                  <a:gd name="connsiteY1735" fmla="*/ 2915 h 10000"/>
                  <a:gd name="connsiteX1736" fmla="*/ 3129 w 10785"/>
                  <a:gd name="connsiteY1736" fmla="*/ 2906 h 10000"/>
                  <a:gd name="connsiteX1737" fmla="*/ 3152 w 10785"/>
                  <a:gd name="connsiteY1737" fmla="*/ 2906 h 10000"/>
                  <a:gd name="connsiteX1738" fmla="*/ 3152 w 10785"/>
                  <a:gd name="connsiteY1738" fmla="*/ 2846 h 10000"/>
                  <a:gd name="connsiteX1739" fmla="*/ 3138 w 10785"/>
                  <a:gd name="connsiteY1739" fmla="*/ 2795 h 10000"/>
                  <a:gd name="connsiteX1740" fmla="*/ 3138 w 10785"/>
                  <a:gd name="connsiteY1740" fmla="*/ 2769 h 10000"/>
                  <a:gd name="connsiteX1741" fmla="*/ 3143 w 10785"/>
                  <a:gd name="connsiteY1741" fmla="*/ 2718 h 10000"/>
                  <a:gd name="connsiteX1742" fmla="*/ 3129 w 10785"/>
                  <a:gd name="connsiteY1742" fmla="*/ 2692 h 10000"/>
                  <a:gd name="connsiteX1743" fmla="*/ 3143 w 10785"/>
                  <a:gd name="connsiteY1743" fmla="*/ 2667 h 10000"/>
                  <a:gd name="connsiteX1744" fmla="*/ 3157 w 10785"/>
                  <a:gd name="connsiteY1744" fmla="*/ 2581 h 10000"/>
                  <a:gd name="connsiteX1745" fmla="*/ 3143 w 10785"/>
                  <a:gd name="connsiteY1745" fmla="*/ 2496 h 10000"/>
                  <a:gd name="connsiteX1746" fmla="*/ 3157 w 10785"/>
                  <a:gd name="connsiteY1746" fmla="*/ 2487 h 10000"/>
                  <a:gd name="connsiteX1747" fmla="*/ 3143 w 10785"/>
                  <a:gd name="connsiteY1747" fmla="*/ 2444 h 10000"/>
                  <a:gd name="connsiteX1748" fmla="*/ 3143 w 10785"/>
                  <a:gd name="connsiteY1748" fmla="*/ 2419 h 10000"/>
                  <a:gd name="connsiteX1749" fmla="*/ 3143 w 10785"/>
                  <a:gd name="connsiteY1749" fmla="*/ 2410 h 10000"/>
                  <a:gd name="connsiteX1750" fmla="*/ 3124 w 10785"/>
                  <a:gd name="connsiteY1750" fmla="*/ 2376 h 10000"/>
                  <a:gd name="connsiteX1751" fmla="*/ 3115 w 10785"/>
                  <a:gd name="connsiteY1751" fmla="*/ 2350 h 10000"/>
                  <a:gd name="connsiteX1752" fmla="*/ 3101 w 10785"/>
                  <a:gd name="connsiteY1752" fmla="*/ 2359 h 10000"/>
                  <a:gd name="connsiteX1753" fmla="*/ 3115 w 10785"/>
                  <a:gd name="connsiteY1753" fmla="*/ 2581 h 10000"/>
                  <a:gd name="connsiteX1754" fmla="*/ 3111 w 10785"/>
                  <a:gd name="connsiteY1754" fmla="*/ 2624 h 10000"/>
                  <a:gd name="connsiteX1755" fmla="*/ 3009 w 10785"/>
                  <a:gd name="connsiteY1755" fmla="*/ 2761 h 10000"/>
                  <a:gd name="connsiteX1756" fmla="*/ 3009 w 10785"/>
                  <a:gd name="connsiteY1756" fmla="*/ 2803 h 10000"/>
                  <a:gd name="connsiteX1757" fmla="*/ 3005 w 10785"/>
                  <a:gd name="connsiteY1757" fmla="*/ 2829 h 10000"/>
                  <a:gd name="connsiteX1758" fmla="*/ 2982 w 10785"/>
                  <a:gd name="connsiteY1758" fmla="*/ 2872 h 10000"/>
                  <a:gd name="connsiteX1759" fmla="*/ 2982 w 10785"/>
                  <a:gd name="connsiteY1759" fmla="*/ 2880 h 10000"/>
                  <a:gd name="connsiteX1760" fmla="*/ 3037 w 10785"/>
                  <a:gd name="connsiteY1760" fmla="*/ 3034 h 10000"/>
                  <a:gd name="connsiteX1761" fmla="*/ 3041 w 10785"/>
                  <a:gd name="connsiteY1761" fmla="*/ 3103 h 10000"/>
                  <a:gd name="connsiteX1762" fmla="*/ 3069 w 10785"/>
                  <a:gd name="connsiteY1762" fmla="*/ 3188 h 10000"/>
                  <a:gd name="connsiteX1763" fmla="*/ 3055 w 10785"/>
                  <a:gd name="connsiteY1763" fmla="*/ 3325 h 10000"/>
                  <a:gd name="connsiteX1764" fmla="*/ 3037 w 10785"/>
                  <a:gd name="connsiteY1764" fmla="*/ 3368 h 10000"/>
                  <a:gd name="connsiteX1765" fmla="*/ 3037 w 10785"/>
                  <a:gd name="connsiteY1765" fmla="*/ 3444 h 10000"/>
                  <a:gd name="connsiteX1766" fmla="*/ 3028 w 10785"/>
                  <a:gd name="connsiteY1766" fmla="*/ 3453 h 10000"/>
                  <a:gd name="connsiteX1767" fmla="*/ 3023 w 10785"/>
                  <a:gd name="connsiteY1767" fmla="*/ 3530 h 10000"/>
                  <a:gd name="connsiteX1768" fmla="*/ 3051 w 10785"/>
                  <a:gd name="connsiteY1768" fmla="*/ 3624 h 10000"/>
                  <a:gd name="connsiteX1769" fmla="*/ 3037 w 10785"/>
                  <a:gd name="connsiteY1769" fmla="*/ 3718 h 10000"/>
                  <a:gd name="connsiteX1770" fmla="*/ 3041 w 10785"/>
                  <a:gd name="connsiteY1770" fmla="*/ 3752 h 10000"/>
                  <a:gd name="connsiteX1771" fmla="*/ 3055 w 10785"/>
                  <a:gd name="connsiteY1771" fmla="*/ 3761 h 10000"/>
                  <a:gd name="connsiteX1772" fmla="*/ 3078 w 10785"/>
                  <a:gd name="connsiteY1772" fmla="*/ 3752 h 10000"/>
                  <a:gd name="connsiteX1773" fmla="*/ 3092 w 10785"/>
                  <a:gd name="connsiteY1773" fmla="*/ 3752 h 10000"/>
                  <a:gd name="connsiteX1774" fmla="*/ 3129 w 10785"/>
                  <a:gd name="connsiteY1774" fmla="*/ 3761 h 10000"/>
                  <a:gd name="connsiteX1775" fmla="*/ 3129 w 10785"/>
                  <a:gd name="connsiteY1775" fmla="*/ 3735 h 10000"/>
                  <a:gd name="connsiteX1776" fmla="*/ 3157 w 10785"/>
                  <a:gd name="connsiteY1776" fmla="*/ 3718 h 10000"/>
                  <a:gd name="connsiteX1777" fmla="*/ 3184 w 10785"/>
                  <a:gd name="connsiteY1777" fmla="*/ 3718 h 10000"/>
                  <a:gd name="connsiteX1778" fmla="*/ 3290 w 10785"/>
                  <a:gd name="connsiteY1778" fmla="*/ 3838 h 10000"/>
                  <a:gd name="connsiteX1779" fmla="*/ 3300 w 10785"/>
                  <a:gd name="connsiteY1779" fmla="*/ 3846 h 10000"/>
                  <a:gd name="connsiteX1780" fmla="*/ 3300 w 10785"/>
                  <a:gd name="connsiteY1780" fmla="*/ 3915 h 10000"/>
                  <a:gd name="connsiteX1781" fmla="*/ 3318 w 10785"/>
                  <a:gd name="connsiteY1781" fmla="*/ 4000 h 10000"/>
                  <a:gd name="connsiteX1782" fmla="*/ 3323 w 10785"/>
                  <a:gd name="connsiteY1782" fmla="*/ 4000 h 10000"/>
                  <a:gd name="connsiteX1783" fmla="*/ 3323 w 10785"/>
                  <a:gd name="connsiteY1783" fmla="*/ 4034 h 10000"/>
                  <a:gd name="connsiteX1784" fmla="*/ 3318 w 10785"/>
                  <a:gd name="connsiteY1784" fmla="*/ 4051 h 10000"/>
                  <a:gd name="connsiteX1785" fmla="*/ 3300 w 10785"/>
                  <a:gd name="connsiteY1785" fmla="*/ 4051 h 10000"/>
                  <a:gd name="connsiteX1786" fmla="*/ 3290 w 10785"/>
                  <a:gd name="connsiteY1786" fmla="*/ 4077 h 10000"/>
                  <a:gd name="connsiteX1787" fmla="*/ 3286 w 10785"/>
                  <a:gd name="connsiteY1787" fmla="*/ 4103 h 10000"/>
                  <a:gd name="connsiteX1788" fmla="*/ 3286 w 10785"/>
                  <a:gd name="connsiteY1788" fmla="*/ 4197 h 10000"/>
                  <a:gd name="connsiteX1789" fmla="*/ 3290 w 10785"/>
                  <a:gd name="connsiteY1789" fmla="*/ 4214 h 10000"/>
                  <a:gd name="connsiteX1790" fmla="*/ 3304 w 10785"/>
                  <a:gd name="connsiteY1790" fmla="*/ 4214 h 10000"/>
                  <a:gd name="connsiteX1791" fmla="*/ 3323 w 10785"/>
                  <a:gd name="connsiteY1791" fmla="*/ 4239 h 10000"/>
                  <a:gd name="connsiteX1792" fmla="*/ 3350 w 10785"/>
                  <a:gd name="connsiteY1792" fmla="*/ 4222 h 10000"/>
                  <a:gd name="connsiteX1793" fmla="*/ 3369 w 10785"/>
                  <a:gd name="connsiteY1793" fmla="*/ 4256 h 10000"/>
                  <a:gd name="connsiteX1794" fmla="*/ 3369 w 10785"/>
                  <a:gd name="connsiteY1794" fmla="*/ 4256 h 10000"/>
                  <a:gd name="connsiteX1795" fmla="*/ 3336 w 10785"/>
                  <a:gd name="connsiteY1795" fmla="*/ 4274 h 10000"/>
                  <a:gd name="connsiteX1796" fmla="*/ 3323 w 10785"/>
                  <a:gd name="connsiteY1796" fmla="*/ 4274 h 10000"/>
                  <a:gd name="connsiteX1797" fmla="*/ 3290 w 10785"/>
                  <a:gd name="connsiteY1797" fmla="*/ 4274 h 10000"/>
                  <a:gd name="connsiteX1798" fmla="*/ 3286 w 10785"/>
                  <a:gd name="connsiteY1798" fmla="*/ 4239 h 10000"/>
                  <a:gd name="connsiteX1799" fmla="*/ 3263 w 10785"/>
                  <a:gd name="connsiteY1799" fmla="*/ 4214 h 10000"/>
                  <a:gd name="connsiteX1800" fmla="*/ 3258 w 10785"/>
                  <a:gd name="connsiteY1800" fmla="*/ 4188 h 10000"/>
                  <a:gd name="connsiteX1801" fmla="*/ 3263 w 10785"/>
                  <a:gd name="connsiteY1801" fmla="*/ 4171 h 10000"/>
                  <a:gd name="connsiteX1802" fmla="*/ 3263 w 10785"/>
                  <a:gd name="connsiteY1802" fmla="*/ 4103 h 10000"/>
                  <a:gd name="connsiteX1803" fmla="*/ 3276 w 10785"/>
                  <a:gd name="connsiteY1803" fmla="*/ 4060 h 10000"/>
                  <a:gd name="connsiteX1804" fmla="*/ 3272 w 10785"/>
                  <a:gd name="connsiteY1804" fmla="*/ 4051 h 10000"/>
                  <a:gd name="connsiteX1805" fmla="*/ 3263 w 10785"/>
                  <a:gd name="connsiteY1805" fmla="*/ 4051 h 10000"/>
                  <a:gd name="connsiteX1806" fmla="*/ 3263 w 10785"/>
                  <a:gd name="connsiteY1806" fmla="*/ 4034 h 10000"/>
                  <a:gd name="connsiteX1807" fmla="*/ 3263 w 10785"/>
                  <a:gd name="connsiteY1807" fmla="*/ 4000 h 10000"/>
                  <a:gd name="connsiteX1808" fmla="*/ 3272 w 10785"/>
                  <a:gd name="connsiteY1808" fmla="*/ 4000 h 10000"/>
                  <a:gd name="connsiteX1809" fmla="*/ 3272 w 10785"/>
                  <a:gd name="connsiteY1809" fmla="*/ 3974 h 10000"/>
                  <a:gd name="connsiteX1810" fmla="*/ 3272 w 10785"/>
                  <a:gd name="connsiteY1810" fmla="*/ 3966 h 10000"/>
                  <a:gd name="connsiteX1811" fmla="*/ 3272 w 10785"/>
                  <a:gd name="connsiteY1811" fmla="*/ 3949 h 10000"/>
                  <a:gd name="connsiteX1812" fmla="*/ 3258 w 10785"/>
                  <a:gd name="connsiteY1812" fmla="*/ 3923 h 10000"/>
                  <a:gd name="connsiteX1813" fmla="*/ 3249 w 10785"/>
                  <a:gd name="connsiteY1813" fmla="*/ 3915 h 10000"/>
                  <a:gd name="connsiteX1814" fmla="*/ 3244 w 10785"/>
                  <a:gd name="connsiteY1814" fmla="*/ 3897 h 10000"/>
                  <a:gd name="connsiteX1815" fmla="*/ 3230 w 10785"/>
                  <a:gd name="connsiteY1815" fmla="*/ 3889 h 10000"/>
                  <a:gd name="connsiteX1816" fmla="*/ 3230 w 10785"/>
                  <a:gd name="connsiteY1816" fmla="*/ 3863 h 10000"/>
                  <a:gd name="connsiteX1817" fmla="*/ 3230 w 10785"/>
                  <a:gd name="connsiteY1817" fmla="*/ 3838 h 10000"/>
                  <a:gd name="connsiteX1818" fmla="*/ 3226 w 10785"/>
                  <a:gd name="connsiteY1818" fmla="*/ 3803 h 10000"/>
                  <a:gd name="connsiteX1819" fmla="*/ 3138 w 10785"/>
                  <a:gd name="connsiteY1819" fmla="*/ 3838 h 10000"/>
                  <a:gd name="connsiteX1820" fmla="*/ 3078 w 10785"/>
                  <a:gd name="connsiteY1820" fmla="*/ 3889 h 10000"/>
                  <a:gd name="connsiteX1821" fmla="*/ 3078 w 10785"/>
                  <a:gd name="connsiteY1821" fmla="*/ 3940 h 10000"/>
                  <a:gd name="connsiteX1822" fmla="*/ 3069 w 10785"/>
                  <a:gd name="connsiteY1822" fmla="*/ 3983 h 10000"/>
                  <a:gd name="connsiteX1823" fmla="*/ 3069 w 10785"/>
                  <a:gd name="connsiteY1823" fmla="*/ 4009 h 10000"/>
                  <a:gd name="connsiteX1824" fmla="*/ 3078 w 10785"/>
                  <a:gd name="connsiteY1824" fmla="*/ 4026 h 10000"/>
                  <a:gd name="connsiteX1825" fmla="*/ 3083 w 10785"/>
                  <a:gd name="connsiteY1825" fmla="*/ 4034 h 10000"/>
                  <a:gd name="connsiteX1826" fmla="*/ 3092 w 10785"/>
                  <a:gd name="connsiteY1826" fmla="*/ 4060 h 10000"/>
                  <a:gd name="connsiteX1827" fmla="*/ 3092 w 10785"/>
                  <a:gd name="connsiteY1827" fmla="*/ 4077 h 10000"/>
                  <a:gd name="connsiteX1828" fmla="*/ 3097 w 10785"/>
                  <a:gd name="connsiteY1828" fmla="*/ 4103 h 10000"/>
                  <a:gd name="connsiteX1829" fmla="*/ 3101 w 10785"/>
                  <a:gd name="connsiteY1829" fmla="*/ 4162 h 10000"/>
                  <a:gd name="connsiteX1830" fmla="*/ 3097 w 10785"/>
                  <a:gd name="connsiteY1830" fmla="*/ 4222 h 10000"/>
                  <a:gd name="connsiteX1831" fmla="*/ 3041 w 10785"/>
                  <a:gd name="connsiteY1831" fmla="*/ 4325 h 10000"/>
                  <a:gd name="connsiteX1832" fmla="*/ 3037 w 10785"/>
                  <a:gd name="connsiteY1832" fmla="*/ 4419 h 10000"/>
                  <a:gd name="connsiteX1833" fmla="*/ 3018 w 10785"/>
                  <a:gd name="connsiteY1833" fmla="*/ 4470 h 10000"/>
                  <a:gd name="connsiteX1834" fmla="*/ 2991 w 10785"/>
                  <a:gd name="connsiteY1834" fmla="*/ 4513 h 10000"/>
                  <a:gd name="connsiteX1835" fmla="*/ 2977 w 10785"/>
                  <a:gd name="connsiteY1835" fmla="*/ 4530 h 10000"/>
                  <a:gd name="connsiteX1836" fmla="*/ 2945 w 10785"/>
                  <a:gd name="connsiteY1836" fmla="*/ 4556 h 10000"/>
                  <a:gd name="connsiteX1837" fmla="*/ 2935 w 10785"/>
                  <a:gd name="connsiteY1837" fmla="*/ 4581 h 10000"/>
                  <a:gd name="connsiteX1838" fmla="*/ 2949 w 10785"/>
                  <a:gd name="connsiteY1838" fmla="*/ 4624 h 10000"/>
                  <a:gd name="connsiteX1839" fmla="*/ 2945 w 10785"/>
                  <a:gd name="connsiteY1839" fmla="*/ 4658 h 10000"/>
                  <a:gd name="connsiteX1840" fmla="*/ 2922 w 10785"/>
                  <a:gd name="connsiteY1840" fmla="*/ 4667 h 10000"/>
                  <a:gd name="connsiteX1841" fmla="*/ 2876 w 10785"/>
                  <a:gd name="connsiteY1841" fmla="*/ 4632 h 10000"/>
                  <a:gd name="connsiteX1842" fmla="*/ 2857 w 10785"/>
                  <a:gd name="connsiteY1842" fmla="*/ 4632 h 10000"/>
                  <a:gd name="connsiteX1843" fmla="*/ 2820 w 10785"/>
                  <a:gd name="connsiteY1843" fmla="*/ 4641 h 10000"/>
                  <a:gd name="connsiteX1844" fmla="*/ 2797 w 10785"/>
                  <a:gd name="connsiteY1844" fmla="*/ 4632 h 10000"/>
                  <a:gd name="connsiteX1845" fmla="*/ 2788 w 10785"/>
                  <a:gd name="connsiteY1845" fmla="*/ 4624 h 10000"/>
                  <a:gd name="connsiteX1846" fmla="*/ 2788 w 10785"/>
                  <a:gd name="connsiteY1846" fmla="*/ 4598 h 10000"/>
                  <a:gd name="connsiteX1847" fmla="*/ 2797 w 10785"/>
                  <a:gd name="connsiteY1847" fmla="*/ 4581 h 10000"/>
                  <a:gd name="connsiteX1848" fmla="*/ 2788 w 10785"/>
                  <a:gd name="connsiteY1848" fmla="*/ 4530 h 10000"/>
                  <a:gd name="connsiteX1849" fmla="*/ 2774 w 10785"/>
                  <a:gd name="connsiteY1849" fmla="*/ 4530 h 10000"/>
                  <a:gd name="connsiteX1850" fmla="*/ 2770 w 10785"/>
                  <a:gd name="connsiteY1850" fmla="*/ 4513 h 10000"/>
                  <a:gd name="connsiteX1851" fmla="*/ 2774 w 10785"/>
                  <a:gd name="connsiteY1851" fmla="*/ 4513 h 10000"/>
                  <a:gd name="connsiteX1852" fmla="*/ 2788 w 10785"/>
                  <a:gd name="connsiteY1852" fmla="*/ 4496 h 10000"/>
                  <a:gd name="connsiteX1853" fmla="*/ 2802 w 10785"/>
                  <a:gd name="connsiteY1853" fmla="*/ 4513 h 10000"/>
                  <a:gd name="connsiteX1854" fmla="*/ 2811 w 10785"/>
                  <a:gd name="connsiteY1854" fmla="*/ 4530 h 10000"/>
                  <a:gd name="connsiteX1855" fmla="*/ 2820 w 10785"/>
                  <a:gd name="connsiteY1855" fmla="*/ 4521 h 10000"/>
                  <a:gd name="connsiteX1856" fmla="*/ 2829 w 10785"/>
                  <a:gd name="connsiteY1856" fmla="*/ 4513 h 10000"/>
                  <a:gd name="connsiteX1857" fmla="*/ 2843 w 10785"/>
                  <a:gd name="connsiteY1857" fmla="*/ 4513 h 10000"/>
                  <a:gd name="connsiteX1858" fmla="*/ 2848 w 10785"/>
                  <a:gd name="connsiteY1858" fmla="*/ 4470 h 10000"/>
                  <a:gd name="connsiteX1859" fmla="*/ 2862 w 10785"/>
                  <a:gd name="connsiteY1859" fmla="*/ 4487 h 10000"/>
                  <a:gd name="connsiteX1860" fmla="*/ 2876 w 10785"/>
                  <a:gd name="connsiteY1860" fmla="*/ 4470 h 10000"/>
                  <a:gd name="connsiteX1861" fmla="*/ 2880 w 10785"/>
                  <a:gd name="connsiteY1861" fmla="*/ 4462 h 10000"/>
                  <a:gd name="connsiteX1862" fmla="*/ 2889 w 10785"/>
                  <a:gd name="connsiteY1862" fmla="*/ 4444 h 10000"/>
                  <a:gd name="connsiteX1863" fmla="*/ 2894 w 10785"/>
                  <a:gd name="connsiteY1863" fmla="*/ 4462 h 10000"/>
                  <a:gd name="connsiteX1864" fmla="*/ 2917 w 10785"/>
                  <a:gd name="connsiteY1864" fmla="*/ 4444 h 10000"/>
                  <a:gd name="connsiteX1865" fmla="*/ 2922 w 10785"/>
                  <a:gd name="connsiteY1865" fmla="*/ 4436 h 10000"/>
                  <a:gd name="connsiteX1866" fmla="*/ 2917 w 10785"/>
                  <a:gd name="connsiteY1866" fmla="*/ 4410 h 10000"/>
                  <a:gd name="connsiteX1867" fmla="*/ 2894 w 10785"/>
                  <a:gd name="connsiteY1867" fmla="*/ 4410 h 10000"/>
                  <a:gd name="connsiteX1868" fmla="*/ 2889 w 10785"/>
                  <a:gd name="connsiteY1868" fmla="*/ 4419 h 10000"/>
                  <a:gd name="connsiteX1869" fmla="*/ 2876 w 10785"/>
                  <a:gd name="connsiteY1869" fmla="*/ 4410 h 10000"/>
                  <a:gd name="connsiteX1870" fmla="*/ 2880 w 10785"/>
                  <a:gd name="connsiteY1870" fmla="*/ 4376 h 10000"/>
                  <a:gd name="connsiteX1871" fmla="*/ 2903 w 10785"/>
                  <a:gd name="connsiteY1871" fmla="*/ 4393 h 10000"/>
                  <a:gd name="connsiteX1872" fmla="*/ 2931 w 10785"/>
                  <a:gd name="connsiteY1872" fmla="*/ 4393 h 10000"/>
                  <a:gd name="connsiteX1873" fmla="*/ 2931 w 10785"/>
                  <a:gd name="connsiteY1873" fmla="*/ 4385 h 10000"/>
                  <a:gd name="connsiteX1874" fmla="*/ 2931 w 10785"/>
                  <a:gd name="connsiteY1874" fmla="*/ 4350 h 10000"/>
                  <a:gd name="connsiteX1875" fmla="*/ 2945 w 10785"/>
                  <a:gd name="connsiteY1875" fmla="*/ 4350 h 10000"/>
                  <a:gd name="connsiteX1876" fmla="*/ 2949 w 10785"/>
                  <a:gd name="connsiteY1876" fmla="*/ 4325 h 10000"/>
                  <a:gd name="connsiteX1877" fmla="*/ 2963 w 10785"/>
                  <a:gd name="connsiteY1877" fmla="*/ 4256 h 10000"/>
                  <a:gd name="connsiteX1878" fmla="*/ 2982 w 10785"/>
                  <a:gd name="connsiteY1878" fmla="*/ 4239 h 10000"/>
                  <a:gd name="connsiteX1879" fmla="*/ 2991 w 10785"/>
                  <a:gd name="connsiteY1879" fmla="*/ 4214 h 10000"/>
                  <a:gd name="connsiteX1880" fmla="*/ 2991 w 10785"/>
                  <a:gd name="connsiteY1880" fmla="*/ 4197 h 10000"/>
                  <a:gd name="connsiteX1881" fmla="*/ 2995 w 10785"/>
                  <a:gd name="connsiteY1881" fmla="*/ 4171 h 10000"/>
                  <a:gd name="connsiteX1882" fmla="*/ 2991 w 10785"/>
                  <a:gd name="connsiteY1882" fmla="*/ 4077 h 10000"/>
                  <a:gd name="connsiteX1883" fmla="*/ 2995 w 10785"/>
                  <a:gd name="connsiteY1883" fmla="*/ 4034 h 10000"/>
                  <a:gd name="connsiteX1884" fmla="*/ 3018 w 10785"/>
                  <a:gd name="connsiteY1884" fmla="*/ 3983 h 10000"/>
                  <a:gd name="connsiteX1885" fmla="*/ 3018 w 10785"/>
                  <a:gd name="connsiteY1885" fmla="*/ 3915 h 10000"/>
                  <a:gd name="connsiteX1886" fmla="*/ 2949 w 10785"/>
                  <a:gd name="connsiteY1886" fmla="*/ 3778 h 10000"/>
                  <a:gd name="connsiteX1887" fmla="*/ 2954 w 10785"/>
                  <a:gd name="connsiteY1887" fmla="*/ 3675 h 10000"/>
                  <a:gd name="connsiteX1888" fmla="*/ 2954 w 10785"/>
                  <a:gd name="connsiteY1888" fmla="*/ 3650 h 10000"/>
                  <a:gd name="connsiteX1889" fmla="*/ 2963 w 10785"/>
                  <a:gd name="connsiteY1889" fmla="*/ 3624 h 10000"/>
                  <a:gd name="connsiteX1890" fmla="*/ 2954 w 10785"/>
                  <a:gd name="connsiteY1890" fmla="*/ 3564 h 10000"/>
                  <a:gd name="connsiteX1891" fmla="*/ 2963 w 10785"/>
                  <a:gd name="connsiteY1891" fmla="*/ 3538 h 10000"/>
                  <a:gd name="connsiteX1892" fmla="*/ 2963 w 10785"/>
                  <a:gd name="connsiteY1892" fmla="*/ 3487 h 10000"/>
                  <a:gd name="connsiteX1893" fmla="*/ 2963 w 10785"/>
                  <a:gd name="connsiteY1893" fmla="*/ 3479 h 10000"/>
                  <a:gd name="connsiteX1894" fmla="*/ 2963 w 10785"/>
                  <a:gd name="connsiteY1894" fmla="*/ 3462 h 10000"/>
                  <a:gd name="connsiteX1895" fmla="*/ 2954 w 10785"/>
                  <a:gd name="connsiteY1895" fmla="*/ 3453 h 10000"/>
                  <a:gd name="connsiteX1896" fmla="*/ 2954 w 10785"/>
                  <a:gd name="connsiteY1896" fmla="*/ 3444 h 10000"/>
                  <a:gd name="connsiteX1897" fmla="*/ 2954 w 10785"/>
                  <a:gd name="connsiteY1897" fmla="*/ 3402 h 10000"/>
                  <a:gd name="connsiteX1898" fmla="*/ 2954 w 10785"/>
                  <a:gd name="connsiteY1898" fmla="*/ 3393 h 10000"/>
                  <a:gd name="connsiteX1899" fmla="*/ 2949 w 10785"/>
                  <a:gd name="connsiteY1899" fmla="*/ 3376 h 10000"/>
                  <a:gd name="connsiteX1900" fmla="*/ 2949 w 10785"/>
                  <a:gd name="connsiteY1900" fmla="*/ 3342 h 10000"/>
                  <a:gd name="connsiteX1901" fmla="*/ 2949 w 10785"/>
                  <a:gd name="connsiteY1901" fmla="*/ 3316 h 10000"/>
                  <a:gd name="connsiteX1902" fmla="*/ 2968 w 10785"/>
                  <a:gd name="connsiteY1902" fmla="*/ 3291 h 10000"/>
                  <a:gd name="connsiteX1903" fmla="*/ 2963 w 10785"/>
                  <a:gd name="connsiteY1903" fmla="*/ 3205 h 10000"/>
                  <a:gd name="connsiteX1904" fmla="*/ 2968 w 10785"/>
                  <a:gd name="connsiteY1904" fmla="*/ 3171 h 10000"/>
                  <a:gd name="connsiteX1905" fmla="*/ 2968 w 10785"/>
                  <a:gd name="connsiteY1905" fmla="*/ 3128 h 10000"/>
                  <a:gd name="connsiteX1906" fmla="*/ 2954 w 10785"/>
                  <a:gd name="connsiteY1906" fmla="*/ 3051 h 10000"/>
                  <a:gd name="connsiteX1907" fmla="*/ 2954 w 10785"/>
                  <a:gd name="connsiteY1907" fmla="*/ 3009 h 10000"/>
                  <a:gd name="connsiteX1908" fmla="*/ 2922 w 10785"/>
                  <a:gd name="connsiteY1908" fmla="*/ 2940 h 10000"/>
                  <a:gd name="connsiteX1909" fmla="*/ 2903 w 10785"/>
                  <a:gd name="connsiteY1909" fmla="*/ 2880 h 10000"/>
                  <a:gd name="connsiteX1910" fmla="*/ 2903 w 10785"/>
                  <a:gd name="connsiteY1910" fmla="*/ 2855 h 10000"/>
                  <a:gd name="connsiteX1911" fmla="*/ 2908 w 10785"/>
                  <a:gd name="connsiteY1911" fmla="*/ 2846 h 10000"/>
                  <a:gd name="connsiteX1912" fmla="*/ 2931 w 10785"/>
                  <a:gd name="connsiteY1912" fmla="*/ 2821 h 10000"/>
                  <a:gd name="connsiteX1913" fmla="*/ 2931 w 10785"/>
                  <a:gd name="connsiteY1913" fmla="*/ 2803 h 10000"/>
                  <a:gd name="connsiteX1914" fmla="*/ 2935 w 10785"/>
                  <a:gd name="connsiteY1914" fmla="*/ 2786 h 10000"/>
                  <a:gd name="connsiteX1915" fmla="*/ 2935 w 10785"/>
                  <a:gd name="connsiteY1915" fmla="*/ 2744 h 10000"/>
                  <a:gd name="connsiteX1916" fmla="*/ 2963 w 10785"/>
                  <a:gd name="connsiteY1916" fmla="*/ 2607 h 10000"/>
                  <a:gd name="connsiteX1917" fmla="*/ 2963 w 10785"/>
                  <a:gd name="connsiteY1917" fmla="*/ 2419 h 10000"/>
                  <a:gd name="connsiteX1918" fmla="*/ 2954 w 10785"/>
                  <a:gd name="connsiteY1918" fmla="*/ 2410 h 10000"/>
                  <a:gd name="connsiteX1919" fmla="*/ 2963 w 10785"/>
                  <a:gd name="connsiteY1919" fmla="*/ 2393 h 10000"/>
                  <a:gd name="connsiteX1920" fmla="*/ 2908 w 10785"/>
                  <a:gd name="connsiteY1920" fmla="*/ 2359 h 10000"/>
                  <a:gd name="connsiteX1921" fmla="*/ 2889 w 10785"/>
                  <a:gd name="connsiteY1921" fmla="*/ 2325 h 10000"/>
                  <a:gd name="connsiteX1922" fmla="*/ 2788 w 10785"/>
                  <a:gd name="connsiteY1922" fmla="*/ 2333 h 10000"/>
                  <a:gd name="connsiteX1923" fmla="*/ 2774 w 10785"/>
                  <a:gd name="connsiteY1923" fmla="*/ 2325 h 10000"/>
                  <a:gd name="connsiteX1924" fmla="*/ 2783 w 10785"/>
                  <a:gd name="connsiteY1924" fmla="*/ 2308 h 10000"/>
                  <a:gd name="connsiteX1925" fmla="*/ 2747 w 10785"/>
                  <a:gd name="connsiteY1925" fmla="*/ 2308 h 10000"/>
                  <a:gd name="connsiteX1926" fmla="*/ 2742 w 10785"/>
                  <a:gd name="connsiteY1926" fmla="*/ 2333 h 10000"/>
                  <a:gd name="connsiteX1927" fmla="*/ 2682 w 10785"/>
                  <a:gd name="connsiteY1927" fmla="*/ 2769 h 10000"/>
                  <a:gd name="connsiteX1928" fmla="*/ 2613 w 10785"/>
                  <a:gd name="connsiteY1928" fmla="*/ 2940 h 10000"/>
                  <a:gd name="connsiteX1929" fmla="*/ 2581 w 10785"/>
                  <a:gd name="connsiteY1929" fmla="*/ 2966 h 10000"/>
                  <a:gd name="connsiteX1930" fmla="*/ 2576 w 10785"/>
                  <a:gd name="connsiteY1930" fmla="*/ 3051 h 10000"/>
                  <a:gd name="connsiteX1931" fmla="*/ 2581 w 10785"/>
                  <a:gd name="connsiteY1931" fmla="*/ 3051 h 10000"/>
                  <a:gd name="connsiteX1932" fmla="*/ 2594 w 10785"/>
                  <a:gd name="connsiteY1932" fmla="*/ 3017 h 10000"/>
                  <a:gd name="connsiteX1933" fmla="*/ 2594 w 10785"/>
                  <a:gd name="connsiteY1933" fmla="*/ 3034 h 10000"/>
                  <a:gd name="connsiteX1934" fmla="*/ 2594 w 10785"/>
                  <a:gd name="connsiteY1934" fmla="*/ 3051 h 10000"/>
                  <a:gd name="connsiteX1935" fmla="*/ 2590 w 10785"/>
                  <a:gd name="connsiteY1935" fmla="*/ 3077 h 10000"/>
                  <a:gd name="connsiteX1936" fmla="*/ 2567 w 10785"/>
                  <a:gd name="connsiteY1936" fmla="*/ 3103 h 10000"/>
                  <a:gd name="connsiteX1937" fmla="*/ 2562 w 10785"/>
                  <a:gd name="connsiteY1937" fmla="*/ 3145 h 10000"/>
                  <a:gd name="connsiteX1938" fmla="*/ 2567 w 10785"/>
                  <a:gd name="connsiteY1938" fmla="*/ 3179 h 10000"/>
                  <a:gd name="connsiteX1939" fmla="*/ 2590 w 10785"/>
                  <a:gd name="connsiteY1939" fmla="*/ 3171 h 10000"/>
                  <a:gd name="connsiteX1940" fmla="*/ 2594 w 10785"/>
                  <a:gd name="connsiteY1940" fmla="*/ 3145 h 10000"/>
                  <a:gd name="connsiteX1941" fmla="*/ 2613 w 10785"/>
                  <a:gd name="connsiteY1941" fmla="*/ 3154 h 10000"/>
                  <a:gd name="connsiteX1942" fmla="*/ 2622 w 10785"/>
                  <a:gd name="connsiteY1942" fmla="*/ 3179 h 10000"/>
                  <a:gd name="connsiteX1943" fmla="*/ 2613 w 10785"/>
                  <a:gd name="connsiteY1943" fmla="*/ 3214 h 10000"/>
                  <a:gd name="connsiteX1944" fmla="*/ 2613 w 10785"/>
                  <a:gd name="connsiteY1944" fmla="*/ 3308 h 10000"/>
                  <a:gd name="connsiteX1945" fmla="*/ 2608 w 10785"/>
                  <a:gd name="connsiteY1945" fmla="*/ 3325 h 10000"/>
                  <a:gd name="connsiteX1946" fmla="*/ 2608 w 10785"/>
                  <a:gd name="connsiteY1946" fmla="*/ 3376 h 10000"/>
                  <a:gd name="connsiteX1947" fmla="*/ 2613 w 10785"/>
                  <a:gd name="connsiteY1947" fmla="*/ 3419 h 10000"/>
                  <a:gd name="connsiteX1948" fmla="*/ 2608 w 10785"/>
                  <a:gd name="connsiteY1948" fmla="*/ 3444 h 10000"/>
                  <a:gd name="connsiteX1949" fmla="*/ 2594 w 10785"/>
                  <a:gd name="connsiteY1949" fmla="*/ 3444 h 10000"/>
                  <a:gd name="connsiteX1950" fmla="*/ 2590 w 10785"/>
                  <a:gd name="connsiteY1950" fmla="*/ 3427 h 10000"/>
                  <a:gd name="connsiteX1951" fmla="*/ 2581 w 10785"/>
                  <a:gd name="connsiteY1951" fmla="*/ 3564 h 10000"/>
                  <a:gd name="connsiteX1952" fmla="*/ 2594 w 10785"/>
                  <a:gd name="connsiteY1952" fmla="*/ 3598 h 10000"/>
                  <a:gd name="connsiteX1953" fmla="*/ 2594 w 10785"/>
                  <a:gd name="connsiteY1953" fmla="*/ 3581 h 10000"/>
                  <a:gd name="connsiteX1954" fmla="*/ 2608 w 10785"/>
                  <a:gd name="connsiteY1954" fmla="*/ 3556 h 10000"/>
                  <a:gd name="connsiteX1955" fmla="*/ 2650 w 10785"/>
                  <a:gd name="connsiteY1955" fmla="*/ 3615 h 10000"/>
                  <a:gd name="connsiteX1956" fmla="*/ 2664 w 10785"/>
                  <a:gd name="connsiteY1956" fmla="*/ 3615 h 10000"/>
                  <a:gd name="connsiteX1957" fmla="*/ 2668 w 10785"/>
                  <a:gd name="connsiteY1957" fmla="*/ 3615 h 10000"/>
                  <a:gd name="connsiteX1958" fmla="*/ 2664 w 10785"/>
                  <a:gd name="connsiteY1958" fmla="*/ 3667 h 10000"/>
                  <a:gd name="connsiteX1959" fmla="*/ 2687 w 10785"/>
                  <a:gd name="connsiteY1959" fmla="*/ 3786 h 10000"/>
                  <a:gd name="connsiteX1960" fmla="*/ 2710 w 10785"/>
                  <a:gd name="connsiteY1960" fmla="*/ 3812 h 10000"/>
                  <a:gd name="connsiteX1961" fmla="*/ 2724 w 10785"/>
                  <a:gd name="connsiteY1961" fmla="*/ 3812 h 10000"/>
                  <a:gd name="connsiteX1962" fmla="*/ 2724 w 10785"/>
                  <a:gd name="connsiteY1962" fmla="*/ 3829 h 10000"/>
                  <a:gd name="connsiteX1963" fmla="*/ 2737 w 10785"/>
                  <a:gd name="connsiteY1963" fmla="*/ 3838 h 10000"/>
                  <a:gd name="connsiteX1964" fmla="*/ 2714 w 10785"/>
                  <a:gd name="connsiteY1964" fmla="*/ 3872 h 10000"/>
                  <a:gd name="connsiteX1965" fmla="*/ 2696 w 10785"/>
                  <a:gd name="connsiteY1965" fmla="*/ 4026 h 10000"/>
                  <a:gd name="connsiteX1966" fmla="*/ 2673 w 10785"/>
                  <a:gd name="connsiteY1966" fmla="*/ 4051 h 10000"/>
                  <a:gd name="connsiteX1967" fmla="*/ 2668 w 10785"/>
                  <a:gd name="connsiteY1967" fmla="*/ 4034 h 10000"/>
                  <a:gd name="connsiteX1968" fmla="*/ 2673 w 10785"/>
                  <a:gd name="connsiteY1968" fmla="*/ 4000 h 10000"/>
                  <a:gd name="connsiteX1969" fmla="*/ 2664 w 10785"/>
                  <a:gd name="connsiteY1969" fmla="*/ 3974 h 10000"/>
                  <a:gd name="connsiteX1970" fmla="*/ 2636 w 10785"/>
                  <a:gd name="connsiteY1970" fmla="*/ 3949 h 10000"/>
                  <a:gd name="connsiteX1971" fmla="*/ 2581 w 10785"/>
                  <a:gd name="connsiteY1971" fmla="*/ 3838 h 10000"/>
                  <a:gd name="connsiteX1972" fmla="*/ 2562 w 10785"/>
                  <a:gd name="connsiteY1972" fmla="*/ 3829 h 10000"/>
                  <a:gd name="connsiteX1973" fmla="*/ 2535 w 10785"/>
                  <a:gd name="connsiteY1973" fmla="*/ 3778 h 10000"/>
                  <a:gd name="connsiteX1974" fmla="*/ 2502 w 10785"/>
                  <a:gd name="connsiteY1974" fmla="*/ 3761 h 10000"/>
                  <a:gd name="connsiteX1975" fmla="*/ 2502 w 10785"/>
                  <a:gd name="connsiteY1975" fmla="*/ 3735 h 10000"/>
                  <a:gd name="connsiteX1976" fmla="*/ 2516 w 10785"/>
                  <a:gd name="connsiteY1976" fmla="*/ 3735 h 10000"/>
                  <a:gd name="connsiteX1977" fmla="*/ 2507 w 10785"/>
                  <a:gd name="connsiteY1977" fmla="*/ 3726 h 10000"/>
                  <a:gd name="connsiteX1978" fmla="*/ 2488 w 10785"/>
                  <a:gd name="connsiteY1978" fmla="*/ 3726 h 10000"/>
                  <a:gd name="connsiteX1979" fmla="*/ 2461 w 10785"/>
                  <a:gd name="connsiteY1979" fmla="*/ 3692 h 10000"/>
                  <a:gd name="connsiteX1980" fmla="*/ 2442 w 10785"/>
                  <a:gd name="connsiteY1980" fmla="*/ 3675 h 10000"/>
                  <a:gd name="connsiteX1981" fmla="*/ 2406 w 10785"/>
                  <a:gd name="connsiteY1981" fmla="*/ 3598 h 10000"/>
                  <a:gd name="connsiteX1982" fmla="*/ 2346 w 10785"/>
                  <a:gd name="connsiteY1982" fmla="*/ 3564 h 10000"/>
                  <a:gd name="connsiteX1983" fmla="*/ 2341 w 10785"/>
                  <a:gd name="connsiteY1983" fmla="*/ 3564 h 10000"/>
                  <a:gd name="connsiteX1984" fmla="*/ 2313 w 10785"/>
                  <a:gd name="connsiteY1984" fmla="*/ 3530 h 10000"/>
                  <a:gd name="connsiteX1985" fmla="*/ 2235 w 10785"/>
                  <a:gd name="connsiteY1985" fmla="*/ 3530 h 10000"/>
                  <a:gd name="connsiteX1986" fmla="*/ 2226 w 10785"/>
                  <a:gd name="connsiteY1986" fmla="*/ 3513 h 10000"/>
                  <a:gd name="connsiteX1987" fmla="*/ 2207 w 10785"/>
                  <a:gd name="connsiteY1987" fmla="*/ 3504 h 10000"/>
                  <a:gd name="connsiteX1988" fmla="*/ 2194 w 10785"/>
                  <a:gd name="connsiteY1988" fmla="*/ 3504 h 10000"/>
                  <a:gd name="connsiteX1989" fmla="*/ 2189 w 10785"/>
                  <a:gd name="connsiteY1989" fmla="*/ 3504 h 10000"/>
                  <a:gd name="connsiteX1990" fmla="*/ 2189 w 10785"/>
                  <a:gd name="connsiteY1990" fmla="*/ 3530 h 10000"/>
                  <a:gd name="connsiteX1991" fmla="*/ 2180 w 10785"/>
                  <a:gd name="connsiteY1991" fmla="*/ 3538 h 10000"/>
                  <a:gd name="connsiteX1992" fmla="*/ 2152 w 10785"/>
                  <a:gd name="connsiteY1992" fmla="*/ 3581 h 10000"/>
                  <a:gd name="connsiteX1993" fmla="*/ 2161 w 10785"/>
                  <a:gd name="connsiteY1993" fmla="*/ 3598 h 10000"/>
                  <a:gd name="connsiteX1994" fmla="*/ 2194 w 10785"/>
                  <a:gd name="connsiteY1994" fmla="*/ 3752 h 10000"/>
                  <a:gd name="connsiteX1995" fmla="*/ 2194 w 10785"/>
                  <a:gd name="connsiteY1995" fmla="*/ 3735 h 10000"/>
                  <a:gd name="connsiteX1996" fmla="*/ 2198 w 10785"/>
                  <a:gd name="connsiteY1996" fmla="*/ 3735 h 10000"/>
                  <a:gd name="connsiteX1997" fmla="*/ 2189 w 10785"/>
                  <a:gd name="connsiteY1997" fmla="*/ 3838 h 10000"/>
                  <a:gd name="connsiteX1998" fmla="*/ 2166 w 10785"/>
                  <a:gd name="connsiteY1998" fmla="*/ 3889 h 10000"/>
                  <a:gd name="connsiteX1999" fmla="*/ 2124 w 10785"/>
                  <a:gd name="connsiteY1999" fmla="*/ 3889 h 10000"/>
                  <a:gd name="connsiteX2000" fmla="*/ 2124 w 10785"/>
                  <a:gd name="connsiteY2000" fmla="*/ 3923 h 10000"/>
                  <a:gd name="connsiteX2001" fmla="*/ 2134 w 10785"/>
                  <a:gd name="connsiteY2001" fmla="*/ 3940 h 10000"/>
                  <a:gd name="connsiteX2002" fmla="*/ 2134 w 10785"/>
                  <a:gd name="connsiteY2002" fmla="*/ 3966 h 10000"/>
                  <a:gd name="connsiteX2003" fmla="*/ 2120 w 10785"/>
                  <a:gd name="connsiteY2003" fmla="*/ 4000 h 10000"/>
                  <a:gd name="connsiteX2004" fmla="*/ 2106 w 10785"/>
                  <a:gd name="connsiteY2004" fmla="*/ 4009 h 10000"/>
                  <a:gd name="connsiteX2005" fmla="*/ 2088 w 10785"/>
                  <a:gd name="connsiteY2005" fmla="*/ 4000 h 10000"/>
                  <a:gd name="connsiteX2006" fmla="*/ 2074 w 10785"/>
                  <a:gd name="connsiteY2006" fmla="*/ 3974 h 10000"/>
                  <a:gd name="connsiteX2007" fmla="*/ 2074 w 10785"/>
                  <a:gd name="connsiteY2007" fmla="*/ 3940 h 10000"/>
                  <a:gd name="connsiteX2008" fmla="*/ 2078 w 10785"/>
                  <a:gd name="connsiteY2008" fmla="*/ 3915 h 10000"/>
                  <a:gd name="connsiteX2009" fmla="*/ 2088 w 10785"/>
                  <a:gd name="connsiteY2009" fmla="*/ 3889 h 10000"/>
                  <a:gd name="connsiteX2010" fmla="*/ 2101 w 10785"/>
                  <a:gd name="connsiteY2010" fmla="*/ 3872 h 10000"/>
                  <a:gd name="connsiteX2011" fmla="*/ 2074 w 10785"/>
                  <a:gd name="connsiteY2011" fmla="*/ 3812 h 10000"/>
                  <a:gd name="connsiteX2012" fmla="*/ 2074 w 10785"/>
                  <a:gd name="connsiteY2012" fmla="*/ 3786 h 10000"/>
                  <a:gd name="connsiteX2013" fmla="*/ 2060 w 10785"/>
                  <a:gd name="connsiteY2013" fmla="*/ 3786 h 10000"/>
                  <a:gd name="connsiteX2014" fmla="*/ 2014 w 10785"/>
                  <a:gd name="connsiteY2014" fmla="*/ 3829 h 10000"/>
                  <a:gd name="connsiteX2015" fmla="*/ 2000 w 10785"/>
                  <a:gd name="connsiteY2015" fmla="*/ 3863 h 10000"/>
                  <a:gd name="connsiteX2016" fmla="*/ 1986 w 10785"/>
                  <a:gd name="connsiteY2016" fmla="*/ 3872 h 10000"/>
                  <a:gd name="connsiteX2017" fmla="*/ 1959 w 10785"/>
                  <a:gd name="connsiteY2017" fmla="*/ 3940 h 10000"/>
                  <a:gd name="connsiteX2018" fmla="*/ 1945 w 10785"/>
                  <a:gd name="connsiteY2018" fmla="*/ 3949 h 10000"/>
                  <a:gd name="connsiteX2019" fmla="*/ 1940 w 10785"/>
                  <a:gd name="connsiteY2019" fmla="*/ 3923 h 10000"/>
                  <a:gd name="connsiteX2020" fmla="*/ 1917 w 10785"/>
                  <a:gd name="connsiteY2020" fmla="*/ 3915 h 10000"/>
                  <a:gd name="connsiteX2021" fmla="*/ 1899 w 10785"/>
                  <a:gd name="connsiteY2021" fmla="*/ 3923 h 10000"/>
                  <a:gd name="connsiteX2022" fmla="*/ 1880 w 10785"/>
                  <a:gd name="connsiteY2022" fmla="*/ 3915 h 10000"/>
                  <a:gd name="connsiteX2023" fmla="*/ 1853 w 10785"/>
                  <a:gd name="connsiteY2023" fmla="*/ 3940 h 10000"/>
                  <a:gd name="connsiteX2024" fmla="*/ 1839 w 10785"/>
                  <a:gd name="connsiteY2024" fmla="*/ 3940 h 10000"/>
                  <a:gd name="connsiteX2025" fmla="*/ 1806 w 10785"/>
                  <a:gd name="connsiteY2025" fmla="*/ 3983 h 10000"/>
                  <a:gd name="connsiteX2026" fmla="*/ 1806 w 10785"/>
                  <a:gd name="connsiteY2026" fmla="*/ 4000 h 10000"/>
                  <a:gd name="connsiteX2027" fmla="*/ 1797 w 10785"/>
                  <a:gd name="connsiteY2027" fmla="*/ 4077 h 10000"/>
                  <a:gd name="connsiteX2028" fmla="*/ 1783 w 10785"/>
                  <a:gd name="connsiteY2028" fmla="*/ 4077 h 10000"/>
                  <a:gd name="connsiteX2029" fmla="*/ 1779 w 10785"/>
                  <a:gd name="connsiteY2029" fmla="*/ 4051 h 10000"/>
                  <a:gd name="connsiteX2030" fmla="*/ 1765 w 10785"/>
                  <a:gd name="connsiteY2030" fmla="*/ 4026 h 10000"/>
                  <a:gd name="connsiteX2031" fmla="*/ 1751 w 10785"/>
                  <a:gd name="connsiteY2031" fmla="*/ 4051 h 10000"/>
                  <a:gd name="connsiteX2032" fmla="*/ 1737 w 10785"/>
                  <a:gd name="connsiteY2032" fmla="*/ 4009 h 10000"/>
                  <a:gd name="connsiteX2033" fmla="*/ 1737 w 10785"/>
                  <a:gd name="connsiteY2033" fmla="*/ 3966 h 10000"/>
                  <a:gd name="connsiteX2034" fmla="*/ 1733 w 10785"/>
                  <a:gd name="connsiteY2034" fmla="*/ 3940 h 10000"/>
                  <a:gd name="connsiteX2035" fmla="*/ 1733 w 10785"/>
                  <a:gd name="connsiteY2035" fmla="*/ 3923 h 10000"/>
                  <a:gd name="connsiteX2036" fmla="*/ 1747 w 10785"/>
                  <a:gd name="connsiteY2036" fmla="*/ 3889 h 10000"/>
                  <a:gd name="connsiteX2037" fmla="*/ 1747 w 10785"/>
                  <a:gd name="connsiteY2037" fmla="*/ 3863 h 10000"/>
                  <a:gd name="connsiteX2038" fmla="*/ 1737 w 10785"/>
                  <a:gd name="connsiteY2038" fmla="*/ 3838 h 10000"/>
                  <a:gd name="connsiteX2039" fmla="*/ 1733 w 10785"/>
                  <a:gd name="connsiteY2039" fmla="*/ 3829 h 10000"/>
                  <a:gd name="connsiteX2040" fmla="*/ 1733 w 10785"/>
                  <a:gd name="connsiteY2040" fmla="*/ 3846 h 10000"/>
                  <a:gd name="connsiteX2041" fmla="*/ 1724 w 10785"/>
                  <a:gd name="connsiteY2041" fmla="*/ 3846 h 10000"/>
                  <a:gd name="connsiteX2042" fmla="*/ 1724 w 10785"/>
                  <a:gd name="connsiteY2042" fmla="*/ 3829 h 10000"/>
                  <a:gd name="connsiteX2043" fmla="*/ 1737 w 10785"/>
                  <a:gd name="connsiteY2043" fmla="*/ 3812 h 10000"/>
                  <a:gd name="connsiteX2044" fmla="*/ 1765 w 10785"/>
                  <a:gd name="connsiteY2044" fmla="*/ 3812 h 10000"/>
                  <a:gd name="connsiteX2045" fmla="*/ 1779 w 10785"/>
                  <a:gd name="connsiteY2045" fmla="*/ 3786 h 10000"/>
                  <a:gd name="connsiteX2046" fmla="*/ 1779 w 10785"/>
                  <a:gd name="connsiteY2046" fmla="*/ 3786 h 10000"/>
                  <a:gd name="connsiteX2047" fmla="*/ 1751 w 10785"/>
                  <a:gd name="connsiteY2047" fmla="*/ 3803 h 10000"/>
                  <a:gd name="connsiteX2048" fmla="*/ 1747 w 10785"/>
                  <a:gd name="connsiteY2048" fmla="*/ 3803 h 10000"/>
                  <a:gd name="connsiteX2049" fmla="*/ 1724 w 10785"/>
                  <a:gd name="connsiteY2049" fmla="*/ 3803 h 10000"/>
                  <a:gd name="connsiteX2050" fmla="*/ 1700 w 10785"/>
                  <a:gd name="connsiteY2050" fmla="*/ 3829 h 10000"/>
                  <a:gd name="connsiteX2051" fmla="*/ 1705 w 10785"/>
                  <a:gd name="connsiteY2051" fmla="*/ 3846 h 10000"/>
                  <a:gd name="connsiteX2052" fmla="*/ 1691 w 10785"/>
                  <a:gd name="connsiteY2052" fmla="*/ 3846 h 10000"/>
                  <a:gd name="connsiteX2053" fmla="*/ 1691 w 10785"/>
                  <a:gd name="connsiteY2053" fmla="*/ 3863 h 10000"/>
                  <a:gd name="connsiteX2054" fmla="*/ 1691 w 10785"/>
                  <a:gd name="connsiteY2054" fmla="*/ 3915 h 10000"/>
                  <a:gd name="connsiteX2055" fmla="*/ 1677 w 10785"/>
                  <a:gd name="connsiteY2055" fmla="*/ 3923 h 10000"/>
                  <a:gd name="connsiteX2056" fmla="*/ 1673 w 10785"/>
                  <a:gd name="connsiteY2056" fmla="*/ 3915 h 10000"/>
                  <a:gd name="connsiteX2057" fmla="*/ 1664 w 10785"/>
                  <a:gd name="connsiteY2057" fmla="*/ 3889 h 10000"/>
                  <a:gd name="connsiteX2058" fmla="*/ 1673 w 10785"/>
                  <a:gd name="connsiteY2058" fmla="*/ 3872 h 10000"/>
                  <a:gd name="connsiteX2059" fmla="*/ 1664 w 10785"/>
                  <a:gd name="connsiteY2059" fmla="*/ 3872 h 10000"/>
                  <a:gd name="connsiteX2060" fmla="*/ 1636 w 10785"/>
                  <a:gd name="connsiteY2060" fmla="*/ 3923 h 10000"/>
                  <a:gd name="connsiteX2061" fmla="*/ 1645 w 10785"/>
                  <a:gd name="connsiteY2061" fmla="*/ 3923 h 10000"/>
                  <a:gd name="connsiteX2062" fmla="*/ 1650 w 10785"/>
                  <a:gd name="connsiteY2062" fmla="*/ 3949 h 10000"/>
                  <a:gd name="connsiteX2063" fmla="*/ 1650 w 10785"/>
                  <a:gd name="connsiteY2063" fmla="*/ 3983 h 10000"/>
                  <a:gd name="connsiteX2064" fmla="*/ 1636 w 10785"/>
                  <a:gd name="connsiteY2064" fmla="*/ 4000 h 10000"/>
                  <a:gd name="connsiteX2065" fmla="*/ 1631 w 10785"/>
                  <a:gd name="connsiteY2065" fmla="*/ 4009 h 10000"/>
                  <a:gd name="connsiteX2066" fmla="*/ 1618 w 10785"/>
                  <a:gd name="connsiteY2066" fmla="*/ 3949 h 10000"/>
                  <a:gd name="connsiteX2067" fmla="*/ 1585 w 10785"/>
                  <a:gd name="connsiteY2067" fmla="*/ 3966 h 10000"/>
                  <a:gd name="connsiteX2068" fmla="*/ 1590 w 10785"/>
                  <a:gd name="connsiteY2068" fmla="*/ 3974 h 10000"/>
                  <a:gd name="connsiteX2069" fmla="*/ 1544 w 10785"/>
                  <a:gd name="connsiteY2069" fmla="*/ 4009 h 10000"/>
                  <a:gd name="connsiteX2070" fmla="*/ 1539 w 10785"/>
                  <a:gd name="connsiteY2070" fmla="*/ 4009 h 10000"/>
                  <a:gd name="connsiteX2071" fmla="*/ 1410 w 10785"/>
                  <a:gd name="connsiteY2071" fmla="*/ 4188 h 10000"/>
                  <a:gd name="connsiteX2072" fmla="*/ 1406 w 10785"/>
                  <a:gd name="connsiteY2072" fmla="*/ 4171 h 10000"/>
                  <a:gd name="connsiteX2073" fmla="*/ 1396 w 10785"/>
                  <a:gd name="connsiteY2073" fmla="*/ 4214 h 10000"/>
                  <a:gd name="connsiteX2074" fmla="*/ 1406 w 10785"/>
                  <a:gd name="connsiteY2074" fmla="*/ 4222 h 10000"/>
                  <a:gd name="connsiteX2075" fmla="*/ 1392 w 10785"/>
                  <a:gd name="connsiteY2075" fmla="*/ 4239 h 10000"/>
                  <a:gd name="connsiteX2076" fmla="*/ 1369 w 10785"/>
                  <a:gd name="connsiteY2076" fmla="*/ 4248 h 10000"/>
                  <a:gd name="connsiteX2077" fmla="*/ 1355 w 10785"/>
                  <a:gd name="connsiteY2077" fmla="*/ 4256 h 10000"/>
                  <a:gd name="connsiteX2078" fmla="*/ 1350 w 10785"/>
                  <a:gd name="connsiteY2078" fmla="*/ 4248 h 10000"/>
                  <a:gd name="connsiteX2079" fmla="*/ 1332 w 10785"/>
                  <a:gd name="connsiteY2079" fmla="*/ 4376 h 10000"/>
                  <a:gd name="connsiteX2080" fmla="*/ 1332 w 10785"/>
                  <a:gd name="connsiteY2080" fmla="*/ 4436 h 10000"/>
                  <a:gd name="connsiteX2081" fmla="*/ 1323 w 10785"/>
                  <a:gd name="connsiteY2081" fmla="*/ 4462 h 10000"/>
                  <a:gd name="connsiteX2082" fmla="*/ 1304 w 10785"/>
                  <a:gd name="connsiteY2082" fmla="*/ 4487 h 10000"/>
                  <a:gd name="connsiteX2083" fmla="*/ 1290 w 10785"/>
                  <a:gd name="connsiteY2083" fmla="*/ 4470 h 10000"/>
                  <a:gd name="connsiteX2084" fmla="*/ 1263 w 10785"/>
                  <a:gd name="connsiteY2084" fmla="*/ 4496 h 10000"/>
                  <a:gd name="connsiteX2085" fmla="*/ 1258 w 10785"/>
                  <a:gd name="connsiteY2085" fmla="*/ 4547 h 10000"/>
                  <a:gd name="connsiteX2086" fmla="*/ 1249 w 10785"/>
                  <a:gd name="connsiteY2086" fmla="*/ 4487 h 10000"/>
                  <a:gd name="connsiteX2087" fmla="*/ 1235 w 10785"/>
                  <a:gd name="connsiteY2087" fmla="*/ 4496 h 10000"/>
                  <a:gd name="connsiteX2088" fmla="*/ 1221 w 10785"/>
                  <a:gd name="connsiteY2088" fmla="*/ 4496 h 10000"/>
                  <a:gd name="connsiteX2089" fmla="*/ 1217 w 10785"/>
                  <a:gd name="connsiteY2089" fmla="*/ 4487 h 10000"/>
                  <a:gd name="connsiteX2090" fmla="*/ 1198 w 10785"/>
                  <a:gd name="connsiteY2090" fmla="*/ 4410 h 10000"/>
                  <a:gd name="connsiteX2091" fmla="*/ 1157 w 10785"/>
                  <a:gd name="connsiteY2091" fmla="*/ 4333 h 10000"/>
                  <a:gd name="connsiteX2092" fmla="*/ 1147 w 10785"/>
                  <a:gd name="connsiteY2092" fmla="*/ 4299 h 10000"/>
                  <a:gd name="connsiteX2093" fmla="*/ 1147 w 10785"/>
                  <a:gd name="connsiteY2093" fmla="*/ 4274 h 10000"/>
                  <a:gd name="connsiteX2094" fmla="*/ 1161 w 10785"/>
                  <a:gd name="connsiteY2094" fmla="*/ 4256 h 10000"/>
                  <a:gd name="connsiteX2095" fmla="*/ 1171 w 10785"/>
                  <a:gd name="connsiteY2095" fmla="*/ 4248 h 10000"/>
                  <a:gd name="connsiteX2096" fmla="*/ 1175 w 10785"/>
                  <a:gd name="connsiteY2096" fmla="*/ 4214 h 10000"/>
                  <a:gd name="connsiteX2097" fmla="*/ 1263 w 10785"/>
                  <a:gd name="connsiteY2097" fmla="*/ 4171 h 10000"/>
                  <a:gd name="connsiteX2098" fmla="*/ 1249 w 10785"/>
                  <a:gd name="connsiteY2098" fmla="*/ 4137 h 10000"/>
                  <a:gd name="connsiteX2099" fmla="*/ 1244 w 10785"/>
                  <a:gd name="connsiteY2099" fmla="*/ 4060 h 10000"/>
                  <a:gd name="connsiteX2100" fmla="*/ 1230 w 10785"/>
                  <a:gd name="connsiteY2100" fmla="*/ 4077 h 10000"/>
                  <a:gd name="connsiteX2101" fmla="*/ 1221 w 10785"/>
                  <a:gd name="connsiteY2101" fmla="*/ 4026 h 10000"/>
                  <a:gd name="connsiteX2102" fmla="*/ 1217 w 10785"/>
                  <a:gd name="connsiteY2102" fmla="*/ 4026 h 10000"/>
                  <a:gd name="connsiteX2103" fmla="*/ 1212 w 10785"/>
                  <a:gd name="connsiteY2103" fmla="*/ 3983 h 10000"/>
                  <a:gd name="connsiteX2104" fmla="*/ 1203 w 10785"/>
                  <a:gd name="connsiteY2104" fmla="*/ 3966 h 10000"/>
                  <a:gd name="connsiteX2105" fmla="*/ 1171 w 10785"/>
                  <a:gd name="connsiteY2105" fmla="*/ 3949 h 10000"/>
                  <a:gd name="connsiteX2106" fmla="*/ 1111 w 10785"/>
                  <a:gd name="connsiteY2106" fmla="*/ 3940 h 10000"/>
                  <a:gd name="connsiteX2107" fmla="*/ 1097 w 10785"/>
                  <a:gd name="connsiteY2107" fmla="*/ 3949 h 10000"/>
                  <a:gd name="connsiteX2108" fmla="*/ 1037 w 10785"/>
                  <a:gd name="connsiteY2108" fmla="*/ 3897 h 10000"/>
                  <a:gd name="connsiteX2109" fmla="*/ 1041 w 10785"/>
                  <a:gd name="connsiteY2109" fmla="*/ 3923 h 10000"/>
                  <a:gd name="connsiteX2110" fmla="*/ 1097 w 10785"/>
                  <a:gd name="connsiteY2110" fmla="*/ 4009 h 10000"/>
                  <a:gd name="connsiteX2111" fmla="*/ 1097 w 10785"/>
                  <a:gd name="connsiteY2111" fmla="*/ 4120 h 10000"/>
                  <a:gd name="connsiteX2112" fmla="*/ 1097 w 10785"/>
                  <a:gd name="connsiteY2112" fmla="*/ 4162 h 10000"/>
                  <a:gd name="connsiteX2113" fmla="*/ 1097 w 10785"/>
                  <a:gd name="connsiteY2113" fmla="*/ 4197 h 10000"/>
                  <a:gd name="connsiteX2114" fmla="*/ 1074 w 10785"/>
                  <a:gd name="connsiteY2114" fmla="*/ 4333 h 10000"/>
                  <a:gd name="connsiteX2115" fmla="*/ 1074 w 10785"/>
                  <a:gd name="connsiteY2115" fmla="*/ 4376 h 10000"/>
                  <a:gd name="connsiteX2116" fmla="*/ 1083 w 10785"/>
                  <a:gd name="connsiteY2116" fmla="*/ 4385 h 10000"/>
                  <a:gd name="connsiteX2117" fmla="*/ 1097 w 10785"/>
                  <a:gd name="connsiteY2117" fmla="*/ 4385 h 10000"/>
                  <a:gd name="connsiteX2118" fmla="*/ 1111 w 10785"/>
                  <a:gd name="connsiteY2118" fmla="*/ 4410 h 10000"/>
                  <a:gd name="connsiteX2119" fmla="*/ 1124 w 10785"/>
                  <a:gd name="connsiteY2119" fmla="*/ 4444 h 10000"/>
                  <a:gd name="connsiteX2120" fmla="*/ 1124 w 10785"/>
                  <a:gd name="connsiteY2120" fmla="*/ 4470 h 10000"/>
                  <a:gd name="connsiteX2121" fmla="*/ 1115 w 10785"/>
                  <a:gd name="connsiteY2121" fmla="*/ 4513 h 10000"/>
                  <a:gd name="connsiteX2122" fmla="*/ 1115 w 10785"/>
                  <a:gd name="connsiteY2122" fmla="*/ 4530 h 10000"/>
                  <a:gd name="connsiteX2123" fmla="*/ 1115 w 10785"/>
                  <a:gd name="connsiteY2123" fmla="*/ 4573 h 10000"/>
                  <a:gd name="connsiteX2124" fmla="*/ 1101 w 10785"/>
                  <a:gd name="connsiteY2124" fmla="*/ 4607 h 10000"/>
                  <a:gd name="connsiteX2125" fmla="*/ 1097 w 10785"/>
                  <a:gd name="connsiteY2125" fmla="*/ 4658 h 10000"/>
                  <a:gd name="connsiteX2126" fmla="*/ 1101 w 10785"/>
                  <a:gd name="connsiteY2126" fmla="*/ 4692 h 10000"/>
                  <a:gd name="connsiteX2127" fmla="*/ 1097 w 10785"/>
                  <a:gd name="connsiteY2127" fmla="*/ 4778 h 10000"/>
                  <a:gd name="connsiteX2128" fmla="*/ 1083 w 10785"/>
                  <a:gd name="connsiteY2128" fmla="*/ 4744 h 10000"/>
                  <a:gd name="connsiteX2129" fmla="*/ 1083 w 10785"/>
                  <a:gd name="connsiteY2129" fmla="*/ 4718 h 10000"/>
                  <a:gd name="connsiteX2130" fmla="*/ 1074 w 10785"/>
                  <a:gd name="connsiteY2130" fmla="*/ 4692 h 10000"/>
                  <a:gd name="connsiteX2131" fmla="*/ 1065 w 10785"/>
                  <a:gd name="connsiteY2131" fmla="*/ 4692 h 10000"/>
                  <a:gd name="connsiteX2132" fmla="*/ 1051 w 10785"/>
                  <a:gd name="connsiteY2132" fmla="*/ 4718 h 10000"/>
                  <a:gd name="connsiteX2133" fmla="*/ 1055 w 10785"/>
                  <a:gd name="connsiteY2133" fmla="*/ 4692 h 10000"/>
                  <a:gd name="connsiteX2134" fmla="*/ 1055 w 10785"/>
                  <a:gd name="connsiteY2134" fmla="*/ 4667 h 10000"/>
                  <a:gd name="connsiteX2135" fmla="*/ 1028 w 10785"/>
                  <a:gd name="connsiteY2135" fmla="*/ 4624 h 10000"/>
                  <a:gd name="connsiteX2136" fmla="*/ 1005 w 10785"/>
                  <a:gd name="connsiteY2136" fmla="*/ 4624 h 10000"/>
                  <a:gd name="connsiteX2137" fmla="*/ 977 w 10785"/>
                  <a:gd name="connsiteY2137" fmla="*/ 4581 h 10000"/>
                  <a:gd name="connsiteX2138" fmla="*/ 963 w 10785"/>
                  <a:gd name="connsiteY2138" fmla="*/ 4607 h 10000"/>
                  <a:gd name="connsiteX2139" fmla="*/ 963 w 10785"/>
                  <a:gd name="connsiteY2139" fmla="*/ 4632 h 10000"/>
                  <a:gd name="connsiteX2140" fmla="*/ 917 w 10785"/>
                  <a:gd name="connsiteY2140" fmla="*/ 4718 h 10000"/>
                  <a:gd name="connsiteX2141" fmla="*/ 889 w 10785"/>
                  <a:gd name="connsiteY2141" fmla="*/ 4744 h 10000"/>
                  <a:gd name="connsiteX2142" fmla="*/ 880 w 10785"/>
                  <a:gd name="connsiteY2142" fmla="*/ 4744 h 10000"/>
                  <a:gd name="connsiteX2143" fmla="*/ 862 w 10785"/>
                  <a:gd name="connsiteY2143" fmla="*/ 4769 h 10000"/>
                  <a:gd name="connsiteX2144" fmla="*/ 857 w 10785"/>
                  <a:gd name="connsiteY2144" fmla="*/ 4795 h 10000"/>
                  <a:gd name="connsiteX2145" fmla="*/ 829 w 10785"/>
                  <a:gd name="connsiteY2145" fmla="*/ 4846 h 10000"/>
                  <a:gd name="connsiteX2146" fmla="*/ 816 w 10785"/>
                  <a:gd name="connsiteY2146" fmla="*/ 4855 h 10000"/>
                  <a:gd name="connsiteX2147" fmla="*/ 816 w 10785"/>
                  <a:gd name="connsiteY2147" fmla="*/ 4940 h 10000"/>
                  <a:gd name="connsiteX2148" fmla="*/ 880 w 10785"/>
                  <a:gd name="connsiteY2148" fmla="*/ 5179 h 10000"/>
                  <a:gd name="connsiteX2149" fmla="*/ 880 w 10785"/>
                  <a:gd name="connsiteY2149" fmla="*/ 5188 h 10000"/>
                  <a:gd name="connsiteX2150" fmla="*/ 862 w 10785"/>
                  <a:gd name="connsiteY2150" fmla="*/ 5171 h 10000"/>
                  <a:gd name="connsiteX2151" fmla="*/ 857 w 10785"/>
                  <a:gd name="connsiteY2151" fmla="*/ 5171 h 10000"/>
                  <a:gd name="connsiteX2152" fmla="*/ 820 w 10785"/>
                  <a:gd name="connsiteY2152" fmla="*/ 5145 h 10000"/>
                  <a:gd name="connsiteX2153" fmla="*/ 820 w 10785"/>
                  <a:gd name="connsiteY2153" fmla="*/ 5154 h 10000"/>
                  <a:gd name="connsiteX2154" fmla="*/ 816 w 10785"/>
                  <a:gd name="connsiteY2154" fmla="*/ 5171 h 10000"/>
                  <a:gd name="connsiteX2155" fmla="*/ 783 w 10785"/>
                  <a:gd name="connsiteY2155" fmla="*/ 5145 h 10000"/>
                  <a:gd name="connsiteX2156" fmla="*/ 756 w 10785"/>
                  <a:gd name="connsiteY2156" fmla="*/ 5103 h 10000"/>
                  <a:gd name="connsiteX2157" fmla="*/ 742 w 10785"/>
                  <a:gd name="connsiteY2157" fmla="*/ 5103 h 10000"/>
                  <a:gd name="connsiteX2158" fmla="*/ 728 w 10785"/>
                  <a:gd name="connsiteY2158" fmla="*/ 5094 h 10000"/>
                  <a:gd name="connsiteX2159" fmla="*/ 710 w 10785"/>
                  <a:gd name="connsiteY2159" fmla="*/ 5120 h 10000"/>
                  <a:gd name="connsiteX2160" fmla="*/ 700 w 10785"/>
                  <a:gd name="connsiteY2160" fmla="*/ 5145 h 10000"/>
                  <a:gd name="connsiteX2161" fmla="*/ 696 w 10785"/>
                  <a:gd name="connsiteY2161" fmla="*/ 5103 h 10000"/>
                  <a:gd name="connsiteX2162" fmla="*/ 714 w 10785"/>
                  <a:gd name="connsiteY2162" fmla="*/ 5077 h 10000"/>
                  <a:gd name="connsiteX2163" fmla="*/ 682 w 10785"/>
                  <a:gd name="connsiteY2163" fmla="*/ 5068 h 10000"/>
                  <a:gd name="connsiteX2164" fmla="*/ 673 w 10785"/>
                  <a:gd name="connsiteY2164" fmla="*/ 5034 h 10000"/>
                  <a:gd name="connsiteX2165" fmla="*/ 636 w 10785"/>
                  <a:gd name="connsiteY2165" fmla="*/ 4991 h 10000"/>
                  <a:gd name="connsiteX2166" fmla="*/ 622 w 10785"/>
                  <a:gd name="connsiteY2166" fmla="*/ 4983 h 10000"/>
                  <a:gd name="connsiteX2167" fmla="*/ 622 w 10785"/>
                  <a:gd name="connsiteY2167" fmla="*/ 5034 h 10000"/>
                  <a:gd name="connsiteX2168" fmla="*/ 608 w 10785"/>
                  <a:gd name="connsiteY2168" fmla="*/ 5051 h 10000"/>
                  <a:gd name="connsiteX2169" fmla="*/ 594 w 10785"/>
                  <a:gd name="connsiteY2169" fmla="*/ 5068 h 10000"/>
                  <a:gd name="connsiteX2170" fmla="*/ 608 w 10785"/>
                  <a:gd name="connsiteY2170" fmla="*/ 5120 h 10000"/>
                  <a:gd name="connsiteX2171" fmla="*/ 613 w 10785"/>
                  <a:gd name="connsiteY2171" fmla="*/ 5128 h 10000"/>
                  <a:gd name="connsiteX2172" fmla="*/ 627 w 10785"/>
                  <a:gd name="connsiteY2172" fmla="*/ 5179 h 10000"/>
                  <a:gd name="connsiteX2173" fmla="*/ 650 w 10785"/>
                  <a:gd name="connsiteY2173" fmla="*/ 5214 h 10000"/>
                  <a:gd name="connsiteX2174" fmla="*/ 687 w 10785"/>
                  <a:gd name="connsiteY2174" fmla="*/ 5188 h 10000"/>
                  <a:gd name="connsiteX2175" fmla="*/ 700 w 10785"/>
                  <a:gd name="connsiteY2175" fmla="*/ 5325 h 10000"/>
                  <a:gd name="connsiteX2176" fmla="*/ 710 w 10785"/>
                  <a:gd name="connsiteY2176" fmla="*/ 5350 h 10000"/>
                  <a:gd name="connsiteX2177" fmla="*/ 687 w 10785"/>
                  <a:gd name="connsiteY2177" fmla="*/ 5325 h 10000"/>
                  <a:gd name="connsiteX2178" fmla="*/ 668 w 10785"/>
                  <a:gd name="connsiteY2178" fmla="*/ 5350 h 10000"/>
                  <a:gd name="connsiteX2179" fmla="*/ 668 w 10785"/>
                  <a:gd name="connsiteY2179" fmla="*/ 5368 h 10000"/>
                  <a:gd name="connsiteX2180" fmla="*/ 668 w 10785"/>
                  <a:gd name="connsiteY2180" fmla="*/ 5376 h 10000"/>
                  <a:gd name="connsiteX2181" fmla="*/ 581 w 10785"/>
                  <a:gd name="connsiteY2181" fmla="*/ 5316 h 10000"/>
                  <a:gd name="connsiteX2182" fmla="*/ 567 w 10785"/>
                  <a:gd name="connsiteY2182" fmla="*/ 5265 h 10000"/>
                  <a:gd name="connsiteX2183" fmla="*/ 562 w 10785"/>
                  <a:gd name="connsiteY2183" fmla="*/ 5256 h 10000"/>
                  <a:gd name="connsiteX2184" fmla="*/ 548 w 10785"/>
                  <a:gd name="connsiteY2184" fmla="*/ 5231 h 10000"/>
                  <a:gd name="connsiteX2185" fmla="*/ 535 w 10785"/>
                  <a:gd name="connsiteY2185" fmla="*/ 5214 h 10000"/>
                  <a:gd name="connsiteX2186" fmla="*/ 525 w 10785"/>
                  <a:gd name="connsiteY2186" fmla="*/ 5231 h 10000"/>
                  <a:gd name="connsiteX2187" fmla="*/ 521 w 10785"/>
                  <a:gd name="connsiteY2187" fmla="*/ 5231 h 10000"/>
                  <a:gd name="connsiteX2188" fmla="*/ 493 w 10785"/>
                  <a:gd name="connsiteY2188" fmla="*/ 5205 h 10000"/>
                  <a:gd name="connsiteX2189" fmla="*/ 488 w 10785"/>
                  <a:gd name="connsiteY2189" fmla="*/ 5179 h 10000"/>
                  <a:gd name="connsiteX2190" fmla="*/ 475 w 10785"/>
                  <a:gd name="connsiteY2190" fmla="*/ 5188 h 10000"/>
                  <a:gd name="connsiteX2191" fmla="*/ 475 w 10785"/>
                  <a:gd name="connsiteY2191" fmla="*/ 5171 h 10000"/>
                  <a:gd name="connsiteX2192" fmla="*/ 488 w 10785"/>
                  <a:gd name="connsiteY2192" fmla="*/ 5154 h 10000"/>
                  <a:gd name="connsiteX2193" fmla="*/ 488 w 10785"/>
                  <a:gd name="connsiteY2193" fmla="*/ 5068 h 10000"/>
                  <a:gd name="connsiteX2194" fmla="*/ 475 w 10785"/>
                  <a:gd name="connsiteY2194" fmla="*/ 5051 h 10000"/>
                  <a:gd name="connsiteX2195" fmla="*/ 475 w 10785"/>
                  <a:gd name="connsiteY2195" fmla="*/ 5017 h 10000"/>
                  <a:gd name="connsiteX2196" fmla="*/ 452 w 10785"/>
                  <a:gd name="connsiteY2196" fmla="*/ 4932 h 10000"/>
                  <a:gd name="connsiteX2197" fmla="*/ 461 w 10785"/>
                  <a:gd name="connsiteY2197" fmla="*/ 4915 h 10000"/>
                  <a:gd name="connsiteX2198" fmla="*/ 475 w 10785"/>
                  <a:gd name="connsiteY2198" fmla="*/ 4906 h 10000"/>
                  <a:gd name="connsiteX2199" fmla="*/ 479 w 10785"/>
                  <a:gd name="connsiteY2199" fmla="*/ 4803 h 10000"/>
                  <a:gd name="connsiteX2200" fmla="*/ 479 w 10785"/>
                  <a:gd name="connsiteY2200" fmla="*/ 4778 h 10000"/>
                  <a:gd name="connsiteX2201" fmla="*/ 475 w 10785"/>
                  <a:gd name="connsiteY2201" fmla="*/ 4761 h 10000"/>
                  <a:gd name="connsiteX2202" fmla="*/ 465 w 10785"/>
                  <a:gd name="connsiteY2202" fmla="*/ 4718 h 10000"/>
                  <a:gd name="connsiteX2203" fmla="*/ 461 w 10785"/>
                  <a:gd name="connsiteY2203" fmla="*/ 4709 h 10000"/>
                  <a:gd name="connsiteX2204" fmla="*/ 442 w 10785"/>
                  <a:gd name="connsiteY2204" fmla="*/ 4692 h 10000"/>
                  <a:gd name="connsiteX2205" fmla="*/ 433 w 10785"/>
                  <a:gd name="connsiteY2205" fmla="*/ 4667 h 10000"/>
                  <a:gd name="connsiteX2206" fmla="*/ 419 w 10785"/>
                  <a:gd name="connsiteY2206" fmla="*/ 4667 h 10000"/>
                  <a:gd name="connsiteX2207" fmla="*/ 401 w 10785"/>
                  <a:gd name="connsiteY2207" fmla="*/ 4658 h 10000"/>
                  <a:gd name="connsiteX2208" fmla="*/ 401 w 10785"/>
                  <a:gd name="connsiteY2208" fmla="*/ 4624 h 10000"/>
                  <a:gd name="connsiteX2209" fmla="*/ 401 w 10785"/>
                  <a:gd name="connsiteY2209" fmla="*/ 4607 h 10000"/>
                  <a:gd name="connsiteX2210" fmla="*/ 378 w 10785"/>
                  <a:gd name="connsiteY2210" fmla="*/ 4607 h 10000"/>
                  <a:gd name="connsiteX2211" fmla="*/ 341 w 10785"/>
                  <a:gd name="connsiteY2211" fmla="*/ 4530 h 10000"/>
                  <a:gd name="connsiteX2212" fmla="*/ 346 w 10785"/>
                  <a:gd name="connsiteY2212" fmla="*/ 4521 h 10000"/>
                  <a:gd name="connsiteX2213" fmla="*/ 332 w 10785"/>
                  <a:gd name="connsiteY2213" fmla="*/ 4487 h 10000"/>
                  <a:gd name="connsiteX2214" fmla="*/ 327 w 10785"/>
                  <a:gd name="connsiteY2214" fmla="*/ 4462 h 10000"/>
                  <a:gd name="connsiteX2215" fmla="*/ 313 w 10785"/>
                  <a:gd name="connsiteY2215" fmla="*/ 4436 h 10000"/>
                  <a:gd name="connsiteX2216" fmla="*/ 300 w 10785"/>
                  <a:gd name="connsiteY2216" fmla="*/ 4419 h 10000"/>
                  <a:gd name="connsiteX2217" fmla="*/ 309 w 10785"/>
                  <a:gd name="connsiteY2217" fmla="*/ 4393 h 10000"/>
                  <a:gd name="connsiteX2218" fmla="*/ 332 w 10785"/>
                  <a:gd name="connsiteY2218" fmla="*/ 4385 h 10000"/>
                  <a:gd name="connsiteX2219" fmla="*/ 355 w 10785"/>
                  <a:gd name="connsiteY2219" fmla="*/ 4419 h 10000"/>
                  <a:gd name="connsiteX2220" fmla="*/ 355 w 10785"/>
                  <a:gd name="connsiteY2220" fmla="*/ 4444 h 10000"/>
                  <a:gd name="connsiteX2221" fmla="*/ 369 w 10785"/>
                  <a:gd name="connsiteY2221" fmla="*/ 4470 h 10000"/>
                  <a:gd name="connsiteX2222" fmla="*/ 401 w 10785"/>
                  <a:gd name="connsiteY2222" fmla="*/ 4521 h 10000"/>
                  <a:gd name="connsiteX2223" fmla="*/ 406 w 10785"/>
                  <a:gd name="connsiteY2223" fmla="*/ 4513 h 10000"/>
                  <a:gd name="connsiteX2224" fmla="*/ 406 w 10785"/>
                  <a:gd name="connsiteY2224" fmla="*/ 4496 h 10000"/>
                  <a:gd name="connsiteX2225" fmla="*/ 419 w 10785"/>
                  <a:gd name="connsiteY2225" fmla="*/ 4521 h 10000"/>
                  <a:gd name="connsiteX2226" fmla="*/ 429 w 10785"/>
                  <a:gd name="connsiteY2226" fmla="*/ 4530 h 10000"/>
                  <a:gd name="connsiteX2227" fmla="*/ 433 w 10785"/>
                  <a:gd name="connsiteY2227" fmla="*/ 4521 h 10000"/>
                  <a:gd name="connsiteX2228" fmla="*/ 442 w 10785"/>
                  <a:gd name="connsiteY2228" fmla="*/ 4530 h 10000"/>
                  <a:gd name="connsiteX2229" fmla="*/ 447 w 10785"/>
                  <a:gd name="connsiteY2229" fmla="*/ 4521 h 10000"/>
                  <a:gd name="connsiteX2230" fmla="*/ 452 w 10785"/>
                  <a:gd name="connsiteY2230" fmla="*/ 4521 h 10000"/>
                  <a:gd name="connsiteX2231" fmla="*/ 461 w 10785"/>
                  <a:gd name="connsiteY2231" fmla="*/ 4573 h 10000"/>
                  <a:gd name="connsiteX2232" fmla="*/ 479 w 10785"/>
                  <a:gd name="connsiteY2232" fmla="*/ 4556 h 10000"/>
                  <a:gd name="connsiteX2233" fmla="*/ 502 w 10785"/>
                  <a:gd name="connsiteY2233" fmla="*/ 4573 h 10000"/>
                  <a:gd name="connsiteX2234" fmla="*/ 507 w 10785"/>
                  <a:gd name="connsiteY2234" fmla="*/ 4598 h 10000"/>
                  <a:gd name="connsiteX2235" fmla="*/ 525 w 10785"/>
                  <a:gd name="connsiteY2235" fmla="*/ 4598 h 10000"/>
                  <a:gd name="connsiteX2236" fmla="*/ 535 w 10785"/>
                  <a:gd name="connsiteY2236" fmla="*/ 4624 h 10000"/>
                  <a:gd name="connsiteX2237" fmla="*/ 594 w 10785"/>
                  <a:gd name="connsiteY2237" fmla="*/ 4658 h 10000"/>
                  <a:gd name="connsiteX2238" fmla="*/ 627 w 10785"/>
                  <a:gd name="connsiteY2238" fmla="*/ 4658 h 10000"/>
                  <a:gd name="connsiteX2239" fmla="*/ 654 w 10785"/>
                  <a:gd name="connsiteY2239" fmla="*/ 4684 h 10000"/>
                  <a:gd name="connsiteX2240" fmla="*/ 668 w 10785"/>
                  <a:gd name="connsiteY2240" fmla="*/ 4709 h 10000"/>
                  <a:gd name="connsiteX2241" fmla="*/ 747 w 10785"/>
                  <a:gd name="connsiteY2241" fmla="*/ 4718 h 10000"/>
                  <a:gd name="connsiteX2242" fmla="*/ 760 w 10785"/>
                  <a:gd name="connsiteY2242" fmla="*/ 4709 h 10000"/>
                  <a:gd name="connsiteX2243" fmla="*/ 774 w 10785"/>
                  <a:gd name="connsiteY2243" fmla="*/ 4692 h 10000"/>
                  <a:gd name="connsiteX2244" fmla="*/ 829 w 10785"/>
                  <a:gd name="connsiteY2244" fmla="*/ 4658 h 10000"/>
                  <a:gd name="connsiteX2245" fmla="*/ 903 w 10785"/>
                  <a:gd name="connsiteY2245" fmla="*/ 4496 h 10000"/>
                  <a:gd name="connsiteX2246" fmla="*/ 917 w 10785"/>
                  <a:gd name="connsiteY2246" fmla="*/ 4385 h 10000"/>
                  <a:gd name="connsiteX2247" fmla="*/ 903 w 10785"/>
                  <a:gd name="connsiteY2247" fmla="*/ 4376 h 10000"/>
                  <a:gd name="connsiteX2248" fmla="*/ 903 w 10785"/>
                  <a:gd name="connsiteY2248" fmla="*/ 4376 h 10000"/>
                  <a:gd name="connsiteX2249" fmla="*/ 889 w 10785"/>
                  <a:gd name="connsiteY2249" fmla="*/ 4239 h 10000"/>
                  <a:gd name="connsiteX2250" fmla="*/ 880 w 10785"/>
                  <a:gd name="connsiteY2250" fmla="*/ 4214 h 10000"/>
                  <a:gd name="connsiteX2251" fmla="*/ 862 w 10785"/>
                  <a:gd name="connsiteY2251" fmla="*/ 4188 h 10000"/>
                  <a:gd name="connsiteX2252" fmla="*/ 857 w 10785"/>
                  <a:gd name="connsiteY2252" fmla="*/ 4197 h 10000"/>
                  <a:gd name="connsiteX2253" fmla="*/ 848 w 10785"/>
                  <a:gd name="connsiteY2253" fmla="*/ 4188 h 10000"/>
                  <a:gd name="connsiteX2254" fmla="*/ 848 w 10785"/>
                  <a:gd name="connsiteY2254" fmla="*/ 4162 h 10000"/>
                  <a:gd name="connsiteX2255" fmla="*/ 829 w 10785"/>
                  <a:gd name="connsiteY2255" fmla="*/ 4120 h 10000"/>
                  <a:gd name="connsiteX2256" fmla="*/ 820 w 10785"/>
                  <a:gd name="connsiteY2256" fmla="*/ 4103 h 10000"/>
                  <a:gd name="connsiteX2257" fmla="*/ 806 w 10785"/>
                  <a:gd name="connsiteY2257" fmla="*/ 4077 h 10000"/>
                  <a:gd name="connsiteX2258" fmla="*/ 816 w 10785"/>
                  <a:gd name="connsiteY2258" fmla="*/ 4111 h 10000"/>
                  <a:gd name="connsiteX2259" fmla="*/ 802 w 10785"/>
                  <a:gd name="connsiteY2259" fmla="*/ 4111 h 10000"/>
                  <a:gd name="connsiteX2260" fmla="*/ 770 w 10785"/>
                  <a:gd name="connsiteY2260" fmla="*/ 4060 h 10000"/>
                  <a:gd name="connsiteX2261" fmla="*/ 760 w 10785"/>
                  <a:gd name="connsiteY2261" fmla="*/ 4077 h 10000"/>
                  <a:gd name="connsiteX2262" fmla="*/ 760 w 10785"/>
                  <a:gd name="connsiteY2262" fmla="*/ 4060 h 10000"/>
                  <a:gd name="connsiteX2263" fmla="*/ 756 w 10785"/>
                  <a:gd name="connsiteY2263" fmla="*/ 4034 h 10000"/>
                  <a:gd name="connsiteX2264" fmla="*/ 742 w 10785"/>
                  <a:gd name="connsiteY2264" fmla="*/ 4000 h 10000"/>
                  <a:gd name="connsiteX2265" fmla="*/ 747 w 10785"/>
                  <a:gd name="connsiteY2265" fmla="*/ 4034 h 10000"/>
                  <a:gd name="connsiteX2266" fmla="*/ 724 w 10785"/>
                  <a:gd name="connsiteY2266" fmla="*/ 4026 h 10000"/>
                  <a:gd name="connsiteX2267" fmla="*/ 714 w 10785"/>
                  <a:gd name="connsiteY2267" fmla="*/ 4000 h 10000"/>
                  <a:gd name="connsiteX2268" fmla="*/ 714 w 10785"/>
                  <a:gd name="connsiteY2268" fmla="*/ 3983 h 10000"/>
                  <a:gd name="connsiteX2269" fmla="*/ 553 w 10785"/>
                  <a:gd name="connsiteY2269" fmla="*/ 3726 h 10000"/>
                  <a:gd name="connsiteX2270" fmla="*/ 507 w 10785"/>
                  <a:gd name="connsiteY2270" fmla="*/ 3718 h 10000"/>
                  <a:gd name="connsiteX2271" fmla="*/ 516 w 10785"/>
                  <a:gd name="connsiteY2271" fmla="*/ 3726 h 10000"/>
                  <a:gd name="connsiteX2272" fmla="*/ 507 w 10785"/>
                  <a:gd name="connsiteY2272" fmla="*/ 3735 h 10000"/>
                  <a:gd name="connsiteX2273" fmla="*/ 502 w 10785"/>
                  <a:gd name="connsiteY2273" fmla="*/ 3735 h 10000"/>
                  <a:gd name="connsiteX2274" fmla="*/ 419 w 10785"/>
                  <a:gd name="connsiteY2274" fmla="*/ 3675 h 10000"/>
                  <a:gd name="connsiteX2275" fmla="*/ 419 w 10785"/>
                  <a:gd name="connsiteY2275" fmla="*/ 3692 h 10000"/>
                  <a:gd name="connsiteX2276" fmla="*/ 401 w 10785"/>
                  <a:gd name="connsiteY2276" fmla="*/ 3701 h 10000"/>
                  <a:gd name="connsiteX2277" fmla="*/ 387 w 10785"/>
                  <a:gd name="connsiteY2277" fmla="*/ 3718 h 10000"/>
                  <a:gd name="connsiteX2278" fmla="*/ 387 w 10785"/>
                  <a:gd name="connsiteY2278" fmla="*/ 3692 h 10000"/>
                  <a:gd name="connsiteX2279" fmla="*/ 378 w 10785"/>
                  <a:gd name="connsiteY2279" fmla="*/ 3675 h 10000"/>
                  <a:gd name="connsiteX2280" fmla="*/ 378 w 10785"/>
                  <a:gd name="connsiteY2280" fmla="*/ 3650 h 10000"/>
                  <a:gd name="connsiteX2281" fmla="*/ 378 w 10785"/>
                  <a:gd name="connsiteY2281" fmla="*/ 3650 h 10000"/>
                  <a:gd name="connsiteX2282" fmla="*/ 355 w 10785"/>
                  <a:gd name="connsiteY2282" fmla="*/ 3675 h 10000"/>
                  <a:gd name="connsiteX2283" fmla="*/ 359 w 10785"/>
                  <a:gd name="connsiteY2283" fmla="*/ 3641 h 10000"/>
                  <a:gd name="connsiteX2284" fmla="*/ 346 w 10785"/>
                  <a:gd name="connsiteY2284" fmla="*/ 3650 h 10000"/>
                  <a:gd name="connsiteX2285" fmla="*/ 355 w 10785"/>
                  <a:gd name="connsiteY2285" fmla="*/ 3624 h 10000"/>
                  <a:gd name="connsiteX2286" fmla="*/ 346 w 10785"/>
                  <a:gd name="connsiteY2286" fmla="*/ 3624 h 10000"/>
                  <a:gd name="connsiteX2287" fmla="*/ 341 w 10785"/>
                  <a:gd name="connsiteY2287" fmla="*/ 3624 h 10000"/>
                  <a:gd name="connsiteX2288" fmla="*/ 318 w 10785"/>
                  <a:gd name="connsiteY2288" fmla="*/ 3641 h 10000"/>
                  <a:gd name="connsiteX2289" fmla="*/ 327 w 10785"/>
                  <a:gd name="connsiteY2289" fmla="*/ 3624 h 10000"/>
                  <a:gd name="connsiteX2290" fmla="*/ 318 w 10785"/>
                  <a:gd name="connsiteY2290" fmla="*/ 3615 h 10000"/>
                  <a:gd name="connsiteX2291" fmla="*/ 318 w 10785"/>
                  <a:gd name="connsiteY2291" fmla="*/ 3598 h 10000"/>
                  <a:gd name="connsiteX2292" fmla="*/ 300 w 10785"/>
                  <a:gd name="connsiteY2292" fmla="*/ 3598 h 10000"/>
                  <a:gd name="connsiteX2293" fmla="*/ 309 w 10785"/>
                  <a:gd name="connsiteY2293" fmla="*/ 3538 h 10000"/>
                  <a:gd name="connsiteX2294" fmla="*/ 313 w 10785"/>
                  <a:gd name="connsiteY2294" fmla="*/ 3564 h 10000"/>
                  <a:gd name="connsiteX2295" fmla="*/ 318 w 10785"/>
                  <a:gd name="connsiteY2295" fmla="*/ 3581 h 10000"/>
                  <a:gd name="connsiteX2296" fmla="*/ 327 w 10785"/>
                  <a:gd name="connsiteY2296" fmla="*/ 3564 h 10000"/>
                  <a:gd name="connsiteX2297" fmla="*/ 332 w 10785"/>
                  <a:gd name="connsiteY2297" fmla="*/ 3590 h 10000"/>
                  <a:gd name="connsiteX2298" fmla="*/ 346 w 10785"/>
                  <a:gd name="connsiteY2298" fmla="*/ 3590 h 10000"/>
                  <a:gd name="connsiteX2299" fmla="*/ 355 w 10785"/>
                  <a:gd name="connsiteY2299" fmla="*/ 3590 h 10000"/>
                  <a:gd name="connsiteX2300" fmla="*/ 369 w 10785"/>
                  <a:gd name="connsiteY2300" fmla="*/ 3556 h 10000"/>
                  <a:gd name="connsiteX2301" fmla="*/ 369 w 10785"/>
                  <a:gd name="connsiteY2301" fmla="*/ 3538 h 10000"/>
                  <a:gd name="connsiteX2302" fmla="*/ 346 w 10785"/>
                  <a:gd name="connsiteY2302" fmla="*/ 3513 h 10000"/>
                  <a:gd name="connsiteX2303" fmla="*/ 341 w 10785"/>
                  <a:gd name="connsiteY2303" fmla="*/ 3530 h 10000"/>
                  <a:gd name="connsiteX2304" fmla="*/ 327 w 10785"/>
                  <a:gd name="connsiteY2304" fmla="*/ 3513 h 10000"/>
                  <a:gd name="connsiteX2305" fmla="*/ 327 w 10785"/>
                  <a:gd name="connsiteY2305" fmla="*/ 3504 h 10000"/>
                  <a:gd name="connsiteX2306" fmla="*/ 295 w 10785"/>
                  <a:gd name="connsiteY2306" fmla="*/ 3462 h 10000"/>
                  <a:gd name="connsiteX2307" fmla="*/ 300 w 10785"/>
                  <a:gd name="connsiteY2307" fmla="*/ 3479 h 10000"/>
                  <a:gd name="connsiteX2308" fmla="*/ 295 w 10785"/>
                  <a:gd name="connsiteY2308" fmla="*/ 3513 h 10000"/>
                  <a:gd name="connsiteX2309" fmla="*/ 286 w 10785"/>
                  <a:gd name="connsiteY2309" fmla="*/ 3513 h 10000"/>
                  <a:gd name="connsiteX2310" fmla="*/ 281 w 10785"/>
                  <a:gd name="connsiteY2310" fmla="*/ 3513 h 10000"/>
                  <a:gd name="connsiteX2311" fmla="*/ 281 w 10785"/>
                  <a:gd name="connsiteY2311" fmla="*/ 3530 h 10000"/>
                  <a:gd name="connsiteX2312" fmla="*/ 281 w 10785"/>
                  <a:gd name="connsiteY2312" fmla="*/ 3556 h 10000"/>
                  <a:gd name="connsiteX2313" fmla="*/ 272 w 10785"/>
                  <a:gd name="connsiteY2313" fmla="*/ 3564 h 10000"/>
                  <a:gd name="connsiteX2314" fmla="*/ 267 w 10785"/>
                  <a:gd name="connsiteY2314" fmla="*/ 3564 h 10000"/>
                  <a:gd name="connsiteX2315" fmla="*/ 253 w 10785"/>
                  <a:gd name="connsiteY2315" fmla="*/ 3538 h 10000"/>
                  <a:gd name="connsiteX2316" fmla="*/ 226 w 10785"/>
                  <a:gd name="connsiteY2316" fmla="*/ 3513 h 10000"/>
                  <a:gd name="connsiteX2317" fmla="*/ 226 w 10785"/>
                  <a:gd name="connsiteY2317" fmla="*/ 3530 h 10000"/>
                  <a:gd name="connsiteX2318" fmla="*/ 226 w 10785"/>
                  <a:gd name="connsiteY2318" fmla="*/ 3530 h 10000"/>
                  <a:gd name="connsiteX2319" fmla="*/ 226 w 10785"/>
                  <a:gd name="connsiteY2319" fmla="*/ 3530 h 10000"/>
                  <a:gd name="connsiteX2320" fmla="*/ 226 w 10785"/>
                  <a:gd name="connsiteY2320" fmla="*/ 3556 h 10000"/>
                  <a:gd name="connsiteX2321" fmla="*/ 221 w 10785"/>
                  <a:gd name="connsiteY2321" fmla="*/ 3598 h 10000"/>
                  <a:gd name="connsiteX2322" fmla="*/ 207 w 10785"/>
                  <a:gd name="connsiteY2322" fmla="*/ 3598 h 10000"/>
                  <a:gd name="connsiteX2323" fmla="*/ 180 w 10785"/>
                  <a:gd name="connsiteY2323" fmla="*/ 3581 h 10000"/>
                  <a:gd name="connsiteX2324" fmla="*/ 171 w 10785"/>
                  <a:gd name="connsiteY2324" fmla="*/ 3641 h 10000"/>
                  <a:gd name="connsiteX2325" fmla="*/ 166 w 10785"/>
                  <a:gd name="connsiteY2325" fmla="*/ 3650 h 10000"/>
                  <a:gd name="connsiteX2326" fmla="*/ 124 w 10785"/>
                  <a:gd name="connsiteY2326" fmla="*/ 3701 h 10000"/>
                  <a:gd name="connsiteX2327" fmla="*/ 124 w 10785"/>
                  <a:gd name="connsiteY2327" fmla="*/ 3718 h 10000"/>
                  <a:gd name="connsiteX2328" fmla="*/ 120 w 10785"/>
                  <a:gd name="connsiteY2328" fmla="*/ 3735 h 10000"/>
                  <a:gd name="connsiteX2329" fmla="*/ 120 w 10785"/>
                  <a:gd name="connsiteY2329" fmla="*/ 3735 h 10000"/>
                  <a:gd name="connsiteX2330" fmla="*/ 111 w 10785"/>
                  <a:gd name="connsiteY2330" fmla="*/ 3761 h 10000"/>
                  <a:gd name="connsiteX2331" fmla="*/ 106 w 10785"/>
                  <a:gd name="connsiteY2331" fmla="*/ 3761 h 10000"/>
                  <a:gd name="connsiteX2332" fmla="*/ 106 w 10785"/>
                  <a:gd name="connsiteY2332" fmla="*/ 3761 h 10000"/>
                  <a:gd name="connsiteX2333" fmla="*/ 74 w 10785"/>
                  <a:gd name="connsiteY2333" fmla="*/ 3829 h 10000"/>
                  <a:gd name="connsiteX2334" fmla="*/ 78 w 10785"/>
                  <a:gd name="connsiteY2334" fmla="*/ 3838 h 10000"/>
                  <a:gd name="connsiteX2335" fmla="*/ 88 w 10785"/>
                  <a:gd name="connsiteY2335" fmla="*/ 3846 h 10000"/>
                  <a:gd name="connsiteX2336" fmla="*/ 65 w 10785"/>
                  <a:gd name="connsiteY2336" fmla="*/ 3923 h 10000"/>
                  <a:gd name="connsiteX2337" fmla="*/ 78 w 10785"/>
                  <a:gd name="connsiteY2337" fmla="*/ 4026 h 10000"/>
                  <a:gd name="connsiteX2338" fmla="*/ 88 w 10785"/>
                  <a:gd name="connsiteY2338" fmla="*/ 4051 h 10000"/>
                  <a:gd name="connsiteX2339" fmla="*/ 92 w 10785"/>
                  <a:gd name="connsiteY2339" fmla="*/ 4060 h 10000"/>
                  <a:gd name="connsiteX2340" fmla="*/ 111 w 10785"/>
                  <a:gd name="connsiteY2340" fmla="*/ 4060 h 10000"/>
                  <a:gd name="connsiteX2341" fmla="*/ 124 w 10785"/>
                  <a:gd name="connsiteY2341" fmla="*/ 4085 h 10000"/>
                  <a:gd name="connsiteX2342" fmla="*/ 166 w 10785"/>
                  <a:gd name="connsiteY2342" fmla="*/ 4197 h 10000"/>
                  <a:gd name="connsiteX2343" fmla="*/ 166 w 10785"/>
                  <a:gd name="connsiteY2343" fmla="*/ 4248 h 10000"/>
                  <a:gd name="connsiteX2344" fmla="*/ 120 w 10785"/>
                  <a:gd name="connsiteY2344" fmla="*/ 4462 h 10000"/>
                  <a:gd name="connsiteX2345" fmla="*/ 120 w 10785"/>
                  <a:gd name="connsiteY2345" fmla="*/ 4513 h 10000"/>
                  <a:gd name="connsiteX2346" fmla="*/ 180 w 10785"/>
                  <a:gd name="connsiteY2346" fmla="*/ 4829 h 10000"/>
                  <a:gd name="connsiteX2347" fmla="*/ 161 w 10785"/>
                  <a:gd name="connsiteY2347" fmla="*/ 4855 h 10000"/>
                  <a:gd name="connsiteX2348" fmla="*/ 152 w 10785"/>
                  <a:gd name="connsiteY2348" fmla="*/ 4940 h 10000"/>
                  <a:gd name="connsiteX2349" fmla="*/ 161 w 10785"/>
                  <a:gd name="connsiteY2349" fmla="*/ 4966 h 10000"/>
                  <a:gd name="connsiteX2350" fmla="*/ 161 w 10785"/>
                  <a:gd name="connsiteY2350" fmla="*/ 5009 h 10000"/>
                  <a:gd name="connsiteX2351" fmla="*/ 152 w 10785"/>
                  <a:gd name="connsiteY2351" fmla="*/ 5034 h 10000"/>
                  <a:gd name="connsiteX2352" fmla="*/ 152 w 10785"/>
                  <a:gd name="connsiteY2352" fmla="*/ 5077 h 10000"/>
                  <a:gd name="connsiteX2353" fmla="*/ 171 w 10785"/>
                  <a:gd name="connsiteY2353" fmla="*/ 5094 h 10000"/>
                  <a:gd name="connsiteX2354" fmla="*/ 180 w 10785"/>
                  <a:gd name="connsiteY2354" fmla="*/ 5128 h 10000"/>
                  <a:gd name="connsiteX2355" fmla="*/ 180 w 10785"/>
                  <a:gd name="connsiteY2355" fmla="*/ 5171 h 10000"/>
                  <a:gd name="connsiteX2356" fmla="*/ 184 w 10785"/>
                  <a:gd name="connsiteY2356" fmla="*/ 5205 h 10000"/>
                  <a:gd name="connsiteX2357" fmla="*/ 207 w 10785"/>
                  <a:gd name="connsiteY2357" fmla="*/ 5239 h 10000"/>
                  <a:gd name="connsiteX2358" fmla="*/ 207 w 10785"/>
                  <a:gd name="connsiteY2358" fmla="*/ 5282 h 10000"/>
                  <a:gd name="connsiteX2359" fmla="*/ 180 w 10785"/>
                  <a:gd name="connsiteY2359" fmla="*/ 5393 h 10000"/>
                  <a:gd name="connsiteX2360" fmla="*/ 194 w 10785"/>
                  <a:gd name="connsiteY2360" fmla="*/ 5427 h 10000"/>
                  <a:gd name="connsiteX2361" fmla="*/ 198 w 10785"/>
                  <a:gd name="connsiteY2361" fmla="*/ 5462 h 10000"/>
                  <a:gd name="connsiteX2362" fmla="*/ 235 w 10785"/>
                  <a:gd name="connsiteY2362" fmla="*/ 5513 h 10000"/>
                  <a:gd name="connsiteX2363" fmla="*/ 240 w 10785"/>
                  <a:gd name="connsiteY2363" fmla="*/ 5556 h 10000"/>
                  <a:gd name="connsiteX2364" fmla="*/ 253 w 10785"/>
                  <a:gd name="connsiteY2364" fmla="*/ 5590 h 10000"/>
                  <a:gd name="connsiteX2365" fmla="*/ 258 w 10785"/>
                  <a:gd name="connsiteY2365" fmla="*/ 5573 h 10000"/>
                  <a:gd name="connsiteX2366" fmla="*/ 258 w 10785"/>
                  <a:gd name="connsiteY2366" fmla="*/ 5667 h 10000"/>
                  <a:gd name="connsiteX2367" fmla="*/ 14 w 10785"/>
                  <a:gd name="connsiteY2367" fmla="*/ 6214 h 10000"/>
                  <a:gd name="connsiteX2368" fmla="*/ 14 w 10785"/>
                  <a:gd name="connsiteY2368" fmla="*/ 6214 h 10000"/>
                  <a:gd name="connsiteX2369" fmla="*/ 37 w 10785"/>
                  <a:gd name="connsiteY2369" fmla="*/ 6214 h 10000"/>
                  <a:gd name="connsiteX2370" fmla="*/ 51 w 10785"/>
                  <a:gd name="connsiteY2370" fmla="*/ 6188 h 10000"/>
                  <a:gd name="connsiteX2371" fmla="*/ 78 w 10785"/>
                  <a:gd name="connsiteY2371" fmla="*/ 6162 h 10000"/>
                  <a:gd name="connsiteX2372" fmla="*/ 78 w 10785"/>
                  <a:gd name="connsiteY2372" fmla="*/ 6188 h 10000"/>
                  <a:gd name="connsiteX2373" fmla="*/ 74 w 10785"/>
                  <a:gd name="connsiteY2373" fmla="*/ 6197 h 10000"/>
                  <a:gd name="connsiteX2374" fmla="*/ 74 w 10785"/>
                  <a:gd name="connsiteY2374" fmla="*/ 6231 h 10000"/>
                  <a:gd name="connsiteX2375" fmla="*/ 74 w 10785"/>
                  <a:gd name="connsiteY2375" fmla="*/ 6214 h 10000"/>
                  <a:gd name="connsiteX2376" fmla="*/ 65 w 10785"/>
                  <a:gd name="connsiteY2376" fmla="*/ 6214 h 10000"/>
                  <a:gd name="connsiteX2377" fmla="*/ 65 w 10785"/>
                  <a:gd name="connsiteY2377" fmla="*/ 6248 h 10000"/>
                  <a:gd name="connsiteX2378" fmla="*/ 74 w 10785"/>
                  <a:gd name="connsiteY2378" fmla="*/ 6256 h 10000"/>
                  <a:gd name="connsiteX2379" fmla="*/ 78 w 10785"/>
                  <a:gd name="connsiteY2379" fmla="*/ 6256 h 10000"/>
                  <a:gd name="connsiteX2380" fmla="*/ 106 w 10785"/>
                  <a:gd name="connsiteY2380" fmla="*/ 6308 h 10000"/>
                  <a:gd name="connsiteX2381" fmla="*/ 138 w 10785"/>
                  <a:gd name="connsiteY2381" fmla="*/ 6299 h 10000"/>
                  <a:gd name="connsiteX2382" fmla="*/ 152 w 10785"/>
                  <a:gd name="connsiteY2382" fmla="*/ 6299 h 10000"/>
                  <a:gd name="connsiteX2383" fmla="*/ 166 w 10785"/>
                  <a:gd name="connsiteY2383" fmla="*/ 6325 h 10000"/>
                  <a:gd name="connsiteX2384" fmla="*/ 166 w 10785"/>
                  <a:gd name="connsiteY2384" fmla="*/ 6333 h 10000"/>
                  <a:gd name="connsiteX2385" fmla="*/ 171 w 10785"/>
                  <a:gd name="connsiteY2385" fmla="*/ 6350 h 10000"/>
                  <a:gd name="connsiteX2386" fmla="*/ 180 w 10785"/>
                  <a:gd name="connsiteY2386" fmla="*/ 6350 h 10000"/>
                  <a:gd name="connsiteX2387" fmla="*/ 180 w 10785"/>
                  <a:gd name="connsiteY2387" fmla="*/ 6359 h 10000"/>
                  <a:gd name="connsiteX2388" fmla="*/ 171 w 10785"/>
                  <a:gd name="connsiteY2388" fmla="*/ 6368 h 10000"/>
                  <a:gd name="connsiteX2389" fmla="*/ 106 w 10785"/>
                  <a:gd name="connsiteY2389" fmla="*/ 6350 h 10000"/>
                  <a:gd name="connsiteX2390" fmla="*/ 101 w 10785"/>
                  <a:gd name="connsiteY2390" fmla="*/ 6359 h 10000"/>
                  <a:gd name="connsiteX2391" fmla="*/ 101 w 10785"/>
                  <a:gd name="connsiteY2391" fmla="*/ 6385 h 10000"/>
                  <a:gd name="connsiteX2392" fmla="*/ 78 w 10785"/>
                  <a:gd name="connsiteY2392" fmla="*/ 6393 h 10000"/>
                  <a:gd name="connsiteX2393" fmla="*/ 74 w 10785"/>
                  <a:gd name="connsiteY2393" fmla="*/ 6385 h 10000"/>
                  <a:gd name="connsiteX2394" fmla="*/ 65 w 10785"/>
                  <a:gd name="connsiteY2394" fmla="*/ 6393 h 10000"/>
                  <a:gd name="connsiteX2395" fmla="*/ 60 w 10785"/>
                  <a:gd name="connsiteY2395" fmla="*/ 6419 h 10000"/>
                  <a:gd name="connsiteX2396" fmla="*/ 51 w 10785"/>
                  <a:gd name="connsiteY2396" fmla="*/ 6419 h 10000"/>
                  <a:gd name="connsiteX2397" fmla="*/ 46 w 10785"/>
                  <a:gd name="connsiteY2397" fmla="*/ 6410 h 10000"/>
                  <a:gd name="connsiteX2398" fmla="*/ 37 w 10785"/>
                  <a:gd name="connsiteY2398" fmla="*/ 6393 h 10000"/>
                  <a:gd name="connsiteX2399" fmla="*/ 32 w 10785"/>
                  <a:gd name="connsiteY2399" fmla="*/ 6419 h 10000"/>
                  <a:gd name="connsiteX2400" fmla="*/ 37 w 10785"/>
                  <a:gd name="connsiteY2400" fmla="*/ 6462 h 10000"/>
                  <a:gd name="connsiteX2401" fmla="*/ 46 w 10785"/>
                  <a:gd name="connsiteY2401" fmla="*/ 6462 h 10000"/>
                  <a:gd name="connsiteX2402" fmla="*/ 51 w 10785"/>
                  <a:gd name="connsiteY2402" fmla="*/ 6470 h 10000"/>
                  <a:gd name="connsiteX2403" fmla="*/ 51 w 10785"/>
                  <a:gd name="connsiteY2403" fmla="*/ 6496 h 10000"/>
                  <a:gd name="connsiteX2404" fmla="*/ 51 w 10785"/>
                  <a:gd name="connsiteY2404" fmla="*/ 6504 h 10000"/>
                  <a:gd name="connsiteX2405" fmla="*/ 37 w 10785"/>
                  <a:gd name="connsiteY2405" fmla="*/ 6530 h 10000"/>
                  <a:gd name="connsiteX2406" fmla="*/ 18 w 10785"/>
                  <a:gd name="connsiteY2406" fmla="*/ 6598 h 10000"/>
                  <a:gd name="connsiteX2407" fmla="*/ 28 w 10785"/>
                  <a:gd name="connsiteY2407" fmla="*/ 6632 h 10000"/>
                  <a:gd name="connsiteX2408" fmla="*/ 18 w 10785"/>
                  <a:gd name="connsiteY2408" fmla="*/ 6667 h 10000"/>
                  <a:gd name="connsiteX2409" fmla="*/ 28 w 10785"/>
                  <a:gd name="connsiteY2409" fmla="*/ 6692 h 10000"/>
                  <a:gd name="connsiteX2410" fmla="*/ 28 w 10785"/>
                  <a:gd name="connsiteY2410" fmla="*/ 6709 h 10000"/>
                  <a:gd name="connsiteX2411" fmla="*/ 18 w 10785"/>
                  <a:gd name="connsiteY2411" fmla="*/ 6718 h 10000"/>
                  <a:gd name="connsiteX2412" fmla="*/ 5 w 10785"/>
                  <a:gd name="connsiteY2412" fmla="*/ 6744 h 10000"/>
                  <a:gd name="connsiteX2413" fmla="*/ 0 w 10785"/>
                  <a:gd name="connsiteY2413" fmla="*/ 6769 h 10000"/>
                  <a:gd name="connsiteX2414" fmla="*/ 5 w 10785"/>
                  <a:gd name="connsiteY2414" fmla="*/ 6778 h 10000"/>
                  <a:gd name="connsiteX2415" fmla="*/ 32 w 10785"/>
                  <a:gd name="connsiteY2415" fmla="*/ 6778 h 10000"/>
                  <a:gd name="connsiteX2416" fmla="*/ 46 w 10785"/>
                  <a:gd name="connsiteY2416" fmla="*/ 6821 h 10000"/>
                  <a:gd name="connsiteX2417" fmla="*/ 46 w 10785"/>
                  <a:gd name="connsiteY2417" fmla="*/ 6855 h 10000"/>
                  <a:gd name="connsiteX2418" fmla="*/ 32 w 10785"/>
                  <a:gd name="connsiteY2418" fmla="*/ 6855 h 10000"/>
                  <a:gd name="connsiteX2419" fmla="*/ 14 w 10785"/>
                  <a:gd name="connsiteY2419" fmla="*/ 6821 h 10000"/>
                  <a:gd name="connsiteX2420" fmla="*/ 14 w 10785"/>
                  <a:gd name="connsiteY2420" fmla="*/ 6846 h 10000"/>
                  <a:gd name="connsiteX2421" fmla="*/ 0 w 10785"/>
                  <a:gd name="connsiteY2421" fmla="*/ 6897 h 10000"/>
                  <a:gd name="connsiteX2422" fmla="*/ 0 w 10785"/>
                  <a:gd name="connsiteY2422" fmla="*/ 6915 h 10000"/>
                  <a:gd name="connsiteX2423" fmla="*/ 5 w 10785"/>
                  <a:gd name="connsiteY2423" fmla="*/ 6932 h 10000"/>
                  <a:gd name="connsiteX2424" fmla="*/ 14 w 10785"/>
                  <a:gd name="connsiteY2424" fmla="*/ 6940 h 10000"/>
                  <a:gd name="connsiteX2425" fmla="*/ 18 w 10785"/>
                  <a:gd name="connsiteY2425" fmla="*/ 6957 h 10000"/>
                  <a:gd name="connsiteX2426" fmla="*/ 28 w 10785"/>
                  <a:gd name="connsiteY2426" fmla="*/ 6966 h 10000"/>
                  <a:gd name="connsiteX2427" fmla="*/ 28 w 10785"/>
                  <a:gd name="connsiteY2427" fmla="*/ 6983 h 10000"/>
                  <a:gd name="connsiteX2428" fmla="*/ 18 w 10785"/>
                  <a:gd name="connsiteY2428" fmla="*/ 7051 h 10000"/>
                  <a:gd name="connsiteX2429" fmla="*/ 28 w 10785"/>
                  <a:gd name="connsiteY2429" fmla="*/ 7068 h 10000"/>
                  <a:gd name="connsiteX2430" fmla="*/ 32 w 10785"/>
                  <a:gd name="connsiteY2430" fmla="*/ 7068 h 10000"/>
                  <a:gd name="connsiteX2431" fmla="*/ 32 w 10785"/>
                  <a:gd name="connsiteY2431" fmla="*/ 7094 h 10000"/>
                  <a:gd name="connsiteX2432" fmla="*/ 60 w 10785"/>
                  <a:gd name="connsiteY2432" fmla="*/ 7162 h 10000"/>
                  <a:gd name="connsiteX2433" fmla="*/ 60 w 10785"/>
                  <a:gd name="connsiteY2433" fmla="*/ 7231 h 10000"/>
                  <a:gd name="connsiteX2434" fmla="*/ 60 w 10785"/>
                  <a:gd name="connsiteY2434" fmla="*/ 7239 h 10000"/>
                  <a:gd name="connsiteX2435" fmla="*/ 78 w 10785"/>
                  <a:gd name="connsiteY2435" fmla="*/ 7239 h 10000"/>
                  <a:gd name="connsiteX2436" fmla="*/ 88 w 10785"/>
                  <a:gd name="connsiteY2436" fmla="*/ 7239 h 10000"/>
                  <a:gd name="connsiteX2437" fmla="*/ 92 w 10785"/>
                  <a:gd name="connsiteY2437" fmla="*/ 7256 h 10000"/>
                  <a:gd name="connsiteX2438" fmla="*/ 111 w 10785"/>
                  <a:gd name="connsiteY2438" fmla="*/ 7256 h 10000"/>
                  <a:gd name="connsiteX2439" fmla="*/ 120 w 10785"/>
                  <a:gd name="connsiteY2439" fmla="*/ 7256 h 10000"/>
                  <a:gd name="connsiteX2440" fmla="*/ 134 w 10785"/>
                  <a:gd name="connsiteY2440" fmla="*/ 7282 h 10000"/>
                  <a:gd name="connsiteX2441" fmla="*/ 134 w 10785"/>
                  <a:gd name="connsiteY2441" fmla="*/ 7316 h 10000"/>
                  <a:gd name="connsiteX2442" fmla="*/ 152 w 10785"/>
                  <a:gd name="connsiteY2442" fmla="*/ 7299 h 10000"/>
                  <a:gd name="connsiteX2443" fmla="*/ 161 w 10785"/>
                  <a:gd name="connsiteY2443" fmla="*/ 7299 h 10000"/>
                  <a:gd name="connsiteX2444" fmla="*/ 166 w 10785"/>
                  <a:gd name="connsiteY2444" fmla="*/ 7291 h 10000"/>
                  <a:gd name="connsiteX2445" fmla="*/ 194 w 10785"/>
                  <a:gd name="connsiteY2445" fmla="*/ 7291 h 10000"/>
                  <a:gd name="connsiteX2446" fmla="*/ 207 w 10785"/>
                  <a:gd name="connsiteY2446" fmla="*/ 7299 h 10000"/>
                  <a:gd name="connsiteX2447" fmla="*/ 221 w 10785"/>
                  <a:gd name="connsiteY2447" fmla="*/ 7342 h 10000"/>
                  <a:gd name="connsiteX2448" fmla="*/ 235 w 10785"/>
                  <a:gd name="connsiteY2448" fmla="*/ 7342 h 10000"/>
                  <a:gd name="connsiteX2449" fmla="*/ 235 w 10785"/>
                  <a:gd name="connsiteY2449" fmla="*/ 7368 h 10000"/>
                  <a:gd name="connsiteX2450" fmla="*/ 226 w 10785"/>
                  <a:gd name="connsiteY2450" fmla="*/ 7393 h 10000"/>
                  <a:gd name="connsiteX2451" fmla="*/ 226 w 10785"/>
                  <a:gd name="connsiteY2451" fmla="*/ 7402 h 10000"/>
                  <a:gd name="connsiteX2452" fmla="*/ 235 w 10785"/>
                  <a:gd name="connsiteY2452" fmla="*/ 7419 h 10000"/>
                  <a:gd name="connsiteX2453" fmla="*/ 240 w 10785"/>
                  <a:gd name="connsiteY2453" fmla="*/ 7436 h 10000"/>
                  <a:gd name="connsiteX2454" fmla="*/ 235 w 10785"/>
                  <a:gd name="connsiteY2454" fmla="*/ 7462 h 10000"/>
                  <a:gd name="connsiteX2455" fmla="*/ 226 w 10785"/>
                  <a:gd name="connsiteY2455" fmla="*/ 7479 h 10000"/>
                  <a:gd name="connsiteX2456" fmla="*/ 226 w 10785"/>
                  <a:gd name="connsiteY2456" fmla="*/ 7504 h 10000"/>
                  <a:gd name="connsiteX2457" fmla="*/ 226 w 10785"/>
                  <a:gd name="connsiteY2457" fmla="*/ 7513 h 10000"/>
                  <a:gd name="connsiteX2458" fmla="*/ 240 w 10785"/>
                  <a:gd name="connsiteY2458" fmla="*/ 7538 h 10000"/>
                  <a:gd name="connsiteX2459" fmla="*/ 267 w 10785"/>
                  <a:gd name="connsiteY2459" fmla="*/ 7641 h 10000"/>
                  <a:gd name="connsiteX2460" fmla="*/ 281 w 10785"/>
                  <a:gd name="connsiteY2460" fmla="*/ 7667 h 10000"/>
                  <a:gd name="connsiteX2461" fmla="*/ 286 w 10785"/>
                  <a:gd name="connsiteY2461" fmla="*/ 7675 h 10000"/>
                  <a:gd name="connsiteX2462" fmla="*/ 286 w 10785"/>
                  <a:gd name="connsiteY2462" fmla="*/ 7692 h 10000"/>
                  <a:gd name="connsiteX2463" fmla="*/ 286 w 10785"/>
                  <a:gd name="connsiteY2463" fmla="*/ 7709 h 10000"/>
                  <a:gd name="connsiteX2464" fmla="*/ 295 w 10785"/>
                  <a:gd name="connsiteY2464" fmla="*/ 7726 h 10000"/>
                  <a:gd name="connsiteX2465" fmla="*/ 318 w 10785"/>
                  <a:gd name="connsiteY2465" fmla="*/ 7709 h 10000"/>
                  <a:gd name="connsiteX2466" fmla="*/ 327 w 10785"/>
                  <a:gd name="connsiteY2466" fmla="*/ 7726 h 10000"/>
                  <a:gd name="connsiteX2467" fmla="*/ 341 w 10785"/>
                  <a:gd name="connsiteY2467" fmla="*/ 7735 h 10000"/>
                  <a:gd name="connsiteX2468" fmla="*/ 332 w 10785"/>
                  <a:gd name="connsiteY2468" fmla="*/ 7752 h 10000"/>
                  <a:gd name="connsiteX2469" fmla="*/ 341 w 10785"/>
                  <a:gd name="connsiteY2469" fmla="*/ 7761 h 10000"/>
                  <a:gd name="connsiteX2470" fmla="*/ 355 w 10785"/>
                  <a:gd name="connsiteY2470" fmla="*/ 7761 h 10000"/>
                  <a:gd name="connsiteX2471" fmla="*/ 355 w 10785"/>
                  <a:gd name="connsiteY2471" fmla="*/ 7803 h 10000"/>
                  <a:gd name="connsiteX2472" fmla="*/ 313 w 10785"/>
                  <a:gd name="connsiteY2472" fmla="*/ 7846 h 10000"/>
                  <a:gd name="connsiteX2473" fmla="*/ 295 w 10785"/>
                  <a:gd name="connsiteY2473" fmla="*/ 7846 h 10000"/>
                  <a:gd name="connsiteX2474" fmla="*/ 281 w 10785"/>
                  <a:gd name="connsiteY2474" fmla="*/ 7821 h 10000"/>
                  <a:gd name="connsiteX2475" fmla="*/ 272 w 10785"/>
                  <a:gd name="connsiteY2475" fmla="*/ 7821 h 10000"/>
                  <a:gd name="connsiteX2476" fmla="*/ 267 w 10785"/>
                  <a:gd name="connsiteY2476" fmla="*/ 7838 h 10000"/>
                  <a:gd name="connsiteX2477" fmla="*/ 258 w 10785"/>
                  <a:gd name="connsiteY2477" fmla="*/ 7846 h 10000"/>
                  <a:gd name="connsiteX2478" fmla="*/ 253 w 10785"/>
                  <a:gd name="connsiteY2478" fmla="*/ 7863 h 10000"/>
                  <a:gd name="connsiteX2479" fmla="*/ 253 w 10785"/>
                  <a:gd name="connsiteY2479" fmla="*/ 7872 h 10000"/>
                  <a:gd name="connsiteX2480" fmla="*/ 267 w 10785"/>
                  <a:gd name="connsiteY2480" fmla="*/ 7897 h 10000"/>
                  <a:gd name="connsiteX2481" fmla="*/ 272 w 10785"/>
                  <a:gd name="connsiteY2481" fmla="*/ 7915 h 10000"/>
                  <a:gd name="connsiteX2482" fmla="*/ 267 w 10785"/>
                  <a:gd name="connsiteY2482" fmla="*/ 7940 h 10000"/>
                  <a:gd name="connsiteX2483" fmla="*/ 272 w 10785"/>
                  <a:gd name="connsiteY2483" fmla="*/ 7949 h 10000"/>
                  <a:gd name="connsiteX2484" fmla="*/ 272 w 10785"/>
                  <a:gd name="connsiteY2484" fmla="*/ 7957 h 10000"/>
                  <a:gd name="connsiteX2485" fmla="*/ 281 w 10785"/>
                  <a:gd name="connsiteY2485" fmla="*/ 7974 h 10000"/>
                  <a:gd name="connsiteX2486" fmla="*/ 286 w 10785"/>
                  <a:gd name="connsiteY2486" fmla="*/ 7983 h 10000"/>
                  <a:gd name="connsiteX2487" fmla="*/ 281 w 10785"/>
                  <a:gd name="connsiteY2487" fmla="*/ 8009 h 10000"/>
                  <a:gd name="connsiteX2488" fmla="*/ 286 w 10785"/>
                  <a:gd name="connsiteY2488" fmla="*/ 8060 h 10000"/>
                  <a:gd name="connsiteX2489" fmla="*/ 286 w 10785"/>
                  <a:gd name="connsiteY2489" fmla="*/ 8060 h 10000"/>
                  <a:gd name="connsiteX2490" fmla="*/ 295 w 10785"/>
                  <a:gd name="connsiteY2490" fmla="*/ 8077 h 10000"/>
                  <a:gd name="connsiteX2491" fmla="*/ 309 w 10785"/>
                  <a:gd name="connsiteY2491" fmla="*/ 8077 h 10000"/>
                  <a:gd name="connsiteX2492" fmla="*/ 313 w 10785"/>
                  <a:gd name="connsiteY2492" fmla="*/ 8060 h 10000"/>
                  <a:gd name="connsiteX2493" fmla="*/ 318 w 10785"/>
                  <a:gd name="connsiteY2493" fmla="*/ 8051 h 10000"/>
                  <a:gd name="connsiteX2494" fmla="*/ 318 w 10785"/>
                  <a:gd name="connsiteY2494" fmla="*/ 8034 h 10000"/>
                  <a:gd name="connsiteX2495" fmla="*/ 332 w 10785"/>
                  <a:gd name="connsiteY2495" fmla="*/ 8026 h 10000"/>
                  <a:gd name="connsiteX2496" fmla="*/ 359 w 10785"/>
                  <a:gd name="connsiteY2496" fmla="*/ 8034 h 10000"/>
                  <a:gd name="connsiteX2497" fmla="*/ 378 w 10785"/>
                  <a:gd name="connsiteY2497" fmla="*/ 8026 h 10000"/>
                  <a:gd name="connsiteX2498" fmla="*/ 401 w 10785"/>
                  <a:gd name="connsiteY2498" fmla="*/ 8026 h 10000"/>
                  <a:gd name="connsiteX2499" fmla="*/ 419 w 10785"/>
                  <a:gd name="connsiteY2499" fmla="*/ 8009 h 10000"/>
                  <a:gd name="connsiteX2500" fmla="*/ 433 w 10785"/>
                  <a:gd name="connsiteY2500" fmla="*/ 8034 h 10000"/>
                  <a:gd name="connsiteX2501" fmla="*/ 442 w 10785"/>
                  <a:gd name="connsiteY2501" fmla="*/ 8060 h 10000"/>
                  <a:gd name="connsiteX2502" fmla="*/ 442 w 10785"/>
                  <a:gd name="connsiteY2502" fmla="*/ 8077 h 10000"/>
                  <a:gd name="connsiteX2503" fmla="*/ 461 w 10785"/>
                  <a:gd name="connsiteY2503" fmla="*/ 8111 h 10000"/>
                  <a:gd name="connsiteX2504" fmla="*/ 461 w 10785"/>
                  <a:gd name="connsiteY2504" fmla="*/ 8137 h 10000"/>
                  <a:gd name="connsiteX2505" fmla="*/ 447 w 10785"/>
                  <a:gd name="connsiteY2505" fmla="*/ 8145 h 10000"/>
                  <a:gd name="connsiteX2506" fmla="*/ 442 w 10785"/>
                  <a:gd name="connsiteY2506" fmla="*/ 8145 h 10000"/>
                  <a:gd name="connsiteX2507" fmla="*/ 442 w 10785"/>
                  <a:gd name="connsiteY2507" fmla="*/ 8162 h 10000"/>
                  <a:gd name="connsiteX2508" fmla="*/ 442 w 10785"/>
                  <a:gd name="connsiteY2508" fmla="*/ 8171 h 10000"/>
                  <a:gd name="connsiteX2509" fmla="*/ 447 w 10785"/>
                  <a:gd name="connsiteY2509" fmla="*/ 8214 h 10000"/>
                  <a:gd name="connsiteX2510" fmla="*/ 465 w 10785"/>
                  <a:gd name="connsiteY2510" fmla="*/ 8231 h 10000"/>
                  <a:gd name="connsiteX2511" fmla="*/ 488 w 10785"/>
                  <a:gd name="connsiteY2511" fmla="*/ 8231 h 10000"/>
                  <a:gd name="connsiteX2512" fmla="*/ 493 w 10785"/>
                  <a:gd name="connsiteY2512" fmla="*/ 8231 h 10000"/>
                  <a:gd name="connsiteX2513" fmla="*/ 502 w 10785"/>
                  <a:gd name="connsiteY2513" fmla="*/ 8231 h 10000"/>
                  <a:gd name="connsiteX2514" fmla="*/ 507 w 10785"/>
                  <a:gd name="connsiteY2514" fmla="*/ 8248 h 10000"/>
                  <a:gd name="connsiteX2515" fmla="*/ 521 w 10785"/>
                  <a:gd name="connsiteY2515" fmla="*/ 8274 h 10000"/>
                  <a:gd name="connsiteX2516" fmla="*/ 525 w 10785"/>
                  <a:gd name="connsiteY2516" fmla="*/ 8333 h 10000"/>
                  <a:gd name="connsiteX2517" fmla="*/ 525 w 10785"/>
                  <a:gd name="connsiteY2517" fmla="*/ 8359 h 10000"/>
                  <a:gd name="connsiteX2518" fmla="*/ 525 w 10785"/>
                  <a:gd name="connsiteY2518" fmla="*/ 8368 h 10000"/>
                  <a:gd name="connsiteX2519" fmla="*/ 548 w 10785"/>
                  <a:gd name="connsiteY2519" fmla="*/ 8393 h 10000"/>
                  <a:gd name="connsiteX2520" fmla="*/ 553 w 10785"/>
                  <a:gd name="connsiteY2520" fmla="*/ 8385 h 10000"/>
                  <a:gd name="connsiteX2521" fmla="*/ 562 w 10785"/>
                  <a:gd name="connsiteY2521" fmla="*/ 8385 h 10000"/>
                  <a:gd name="connsiteX2522" fmla="*/ 576 w 10785"/>
                  <a:gd name="connsiteY2522" fmla="*/ 8385 h 10000"/>
                  <a:gd name="connsiteX2523" fmla="*/ 585 w 10785"/>
                  <a:gd name="connsiteY2523" fmla="*/ 8410 h 10000"/>
                  <a:gd name="connsiteX2524" fmla="*/ 594 w 10785"/>
                  <a:gd name="connsiteY2524" fmla="*/ 8410 h 10000"/>
                  <a:gd name="connsiteX2525" fmla="*/ 608 w 10785"/>
                  <a:gd name="connsiteY2525" fmla="*/ 8410 h 10000"/>
                  <a:gd name="connsiteX2526" fmla="*/ 654 w 10785"/>
                  <a:gd name="connsiteY2526" fmla="*/ 8385 h 10000"/>
                  <a:gd name="connsiteX2527" fmla="*/ 659 w 10785"/>
                  <a:gd name="connsiteY2527" fmla="*/ 8385 h 10000"/>
                  <a:gd name="connsiteX2528" fmla="*/ 696 w 10785"/>
                  <a:gd name="connsiteY2528" fmla="*/ 8470 h 10000"/>
                  <a:gd name="connsiteX2529" fmla="*/ 700 w 10785"/>
                  <a:gd name="connsiteY2529" fmla="*/ 8470 h 10000"/>
                  <a:gd name="connsiteX2530" fmla="*/ 710 w 10785"/>
                  <a:gd name="connsiteY2530" fmla="*/ 8462 h 10000"/>
                  <a:gd name="connsiteX2531" fmla="*/ 714 w 10785"/>
                  <a:gd name="connsiteY2531" fmla="*/ 8462 h 10000"/>
                  <a:gd name="connsiteX2532" fmla="*/ 724 w 10785"/>
                  <a:gd name="connsiteY2532" fmla="*/ 8470 h 10000"/>
                  <a:gd name="connsiteX2533" fmla="*/ 733 w 10785"/>
                  <a:gd name="connsiteY2533" fmla="*/ 8470 h 10000"/>
                  <a:gd name="connsiteX2534" fmla="*/ 742 w 10785"/>
                  <a:gd name="connsiteY2534" fmla="*/ 8487 h 10000"/>
                  <a:gd name="connsiteX2535" fmla="*/ 747 w 10785"/>
                  <a:gd name="connsiteY2535" fmla="*/ 8496 h 10000"/>
                  <a:gd name="connsiteX2536" fmla="*/ 770 w 10785"/>
                  <a:gd name="connsiteY2536" fmla="*/ 8496 h 10000"/>
                  <a:gd name="connsiteX2537" fmla="*/ 783 w 10785"/>
                  <a:gd name="connsiteY2537" fmla="*/ 8521 h 10000"/>
                  <a:gd name="connsiteX2538" fmla="*/ 797 w 10785"/>
                  <a:gd name="connsiteY2538" fmla="*/ 8521 h 10000"/>
                  <a:gd name="connsiteX2539" fmla="*/ 806 w 10785"/>
                  <a:gd name="connsiteY2539" fmla="*/ 8530 h 10000"/>
                  <a:gd name="connsiteX2540" fmla="*/ 829 w 10785"/>
                  <a:gd name="connsiteY2540" fmla="*/ 8547 h 10000"/>
                  <a:gd name="connsiteX2541" fmla="*/ 834 w 10785"/>
                  <a:gd name="connsiteY2541" fmla="*/ 8556 h 10000"/>
                  <a:gd name="connsiteX2542" fmla="*/ 829 w 10785"/>
                  <a:gd name="connsiteY2542" fmla="*/ 8556 h 10000"/>
                  <a:gd name="connsiteX2543" fmla="*/ 834 w 10785"/>
                  <a:gd name="connsiteY2543" fmla="*/ 8607 h 10000"/>
                  <a:gd name="connsiteX2544" fmla="*/ 829 w 10785"/>
                  <a:gd name="connsiteY2544" fmla="*/ 8641 h 10000"/>
                  <a:gd name="connsiteX2545" fmla="*/ 806 w 10785"/>
                  <a:gd name="connsiteY2545" fmla="*/ 8658 h 10000"/>
                  <a:gd name="connsiteX2546" fmla="*/ 816 w 10785"/>
                  <a:gd name="connsiteY2546" fmla="*/ 8667 h 10000"/>
                  <a:gd name="connsiteX2547" fmla="*/ 820 w 10785"/>
                  <a:gd name="connsiteY2547" fmla="*/ 8667 h 10000"/>
                  <a:gd name="connsiteX2548" fmla="*/ 829 w 10785"/>
                  <a:gd name="connsiteY2548" fmla="*/ 8684 h 10000"/>
                  <a:gd name="connsiteX2549" fmla="*/ 806 w 10785"/>
                  <a:gd name="connsiteY2549" fmla="*/ 8692 h 10000"/>
                  <a:gd name="connsiteX2550" fmla="*/ 802 w 10785"/>
                  <a:gd name="connsiteY2550" fmla="*/ 8709 h 10000"/>
                  <a:gd name="connsiteX2551" fmla="*/ 802 w 10785"/>
                  <a:gd name="connsiteY2551" fmla="*/ 8735 h 10000"/>
                  <a:gd name="connsiteX2552" fmla="*/ 806 w 10785"/>
                  <a:gd name="connsiteY2552" fmla="*/ 8744 h 10000"/>
                  <a:gd name="connsiteX2553" fmla="*/ 816 w 10785"/>
                  <a:gd name="connsiteY2553" fmla="*/ 8752 h 10000"/>
                  <a:gd name="connsiteX2554" fmla="*/ 806 w 10785"/>
                  <a:gd name="connsiteY2554" fmla="*/ 8778 h 10000"/>
                  <a:gd name="connsiteX2555" fmla="*/ 820 w 10785"/>
                  <a:gd name="connsiteY2555" fmla="*/ 8778 h 10000"/>
                  <a:gd name="connsiteX2556" fmla="*/ 806 w 10785"/>
                  <a:gd name="connsiteY2556" fmla="*/ 8880 h 10000"/>
                  <a:gd name="connsiteX2557" fmla="*/ 797 w 10785"/>
                  <a:gd name="connsiteY2557" fmla="*/ 8880 h 10000"/>
                  <a:gd name="connsiteX2558" fmla="*/ 783 w 10785"/>
                  <a:gd name="connsiteY2558" fmla="*/ 8872 h 10000"/>
                  <a:gd name="connsiteX2559" fmla="*/ 770 w 10785"/>
                  <a:gd name="connsiteY2559" fmla="*/ 8880 h 10000"/>
                  <a:gd name="connsiteX2560" fmla="*/ 756 w 10785"/>
                  <a:gd name="connsiteY2560" fmla="*/ 8855 h 10000"/>
                  <a:gd name="connsiteX2561" fmla="*/ 733 w 10785"/>
                  <a:gd name="connsiteY2561" fmla="*/ 8906 h 10000"/>
                  <a:gd name="connsiteX2562" fmla="*/ 714 w 10785"/>
                  <a:gd name="connsiteY2562" fmla="*/ 8915 h 10000"/>
                  <a:gd name="connsiteX2563" fmla="*/ 710 w 10785"/>
                  <a:gd name="connsiteY2563" fmla="*/ 8940 h 10000"/>
                  <a:gd name="connsiteX2564" fmla="*/ 710 w 10785"/>
                  <a:gd name="connsiteY2564" fmla="*/ 9009 h 10000"/>
                  <a:gd name="connsiteX2565" fmla="*/ 728 w 10785"/>
                  <a:gd name="connsiteY2565" fmla="*/ 8991 h 10000"/>
                  <a:gd name="connsiteX2566" fmla="*/ 733 w 10785"/>
                  <a:gd name="connsiteY2566" fmla="*/ 8991 h 10000"/>
                  <a:gd name="connsiteX2567" fmla="*/ 747 w 10785"/>
                  <a:gd name="connsiteY2567" fmla="*/ 8983 h 10000"/>
                  <a:gd name="connsiteX2568" fmla="*/ 760 w 10785"/>
                  <a:gd name="connsiteY2568" fmla="*/ 8983 h 10000"/>
                  <a:gd name="connsiteX2569" fmla="*/ 770 w 10785"/>
                  <a:gd name="connsiteY2569" fmla="*/ 8983 h 10000"/>
                  <a:gd name="connsiteX2570" fmla="*/ 770 w 10785"/>
                  <a:gd name="connsiteY2570" fmla="*/ 8991 h 10000"/>
                  <a:gd name="connsiteX2571" fmla="*/ 783 w 10785"/>
                  <a:gd name="connsiteY2571" fmla="*/ 8991 h 10000"/>
                  <a:gd name="connsiteX2572" fmla="*/ 783 w 10785"/>
                  <a:gd name="connsiteY2572" fmla="*/ 9009 h 10000"/>
                  <a:gd name="connsiteX2573" fmla="*/ 783 w 10785"/>
                  <a:gd name="connsiteY2573" fmla="*/ 9017 h 10000"/>
                  <a:gd name="connsiteX2574" fmla="*/ 770 w 10785"/>
                  <a:gd name="connsiteY2574" fmla="*/ 9017 h 10000"/>
                  <a:gd name="connsiteX2575" fmla="*/ 724 w 10785"/>
                  <a:gd name="connsiteY2575" fmla="*/ 9051 h 10000"/>
                  <a:gd name="connsiteX2576" fmla="*/ 724 w 10785"/>
                  <a:gd name="connsiteY2576" fmla="*/ 9068 h 10000"/>
                  <a:gd name="connsiteX2577" fmla="*/ 728 w 10785"/>
                  <a:gd name="connsiteY2577" fmla="*/ 9077 h 10000"/>
                  <a:gd name="connsiteX2578" fmla="*/ 724 w 10785"/>
                  <a:gd name="connsiteY2578" fmla="*/ 9077 h 10000"/>
                  <a:gd name="connsiteX2579" fmla="*/ 710 w 10785"/>
                  <a:gd name="connsiteY2579" fmla="*/ 9077 h 10000"/>
                  <a:gd name="connsiteX2580" fmla="*/ 682 w 10785"/>
                  <a:gd name="connsiteY2580" fmla="*/ 9077 h 10000"/>
                  <a:gd name="connsiteX2581" fmla="*/ 673 w 10785"/>
                  <a:gd name="connsiteY2581" fmla="*/ 9103 h 10000"/>
                  <a:gd name="connsiteX2582" fmla="*/ 687 w 10785"/>
                  <a:gd name="connsiteY2582" fmla="*/ 9128 h 10000"/>
                  <a:gd name="connsiteX2583" fmla="*/ 700 w 10785"/>
                  <a:gd name="connsiteY2583" fmla="*/ 9128 h 10000"/>
                  <a:gd name="connsiteX2584" fmla="*/ 728 w 10785"/>
                  <a:gd name="connsiteY2584" fmla="*/ 9179 h 10000"/>
                  <a:gd name="connsiteX2585" fmla="*/ 724 w 10785"/>
                  <a:gd name="connsiteY2585" fmla="*/ 9188 h 10000"/>
                  <a:gd name="connsiteX2586" fmla="*/ 710 w 10785"/>
                  <a:gd name="connsiteY2586" fmla="*/ 9179 h 10000"/>
                  <a:gd name="connsiteX2587" fmla="*/ 700 w 10785"/>
                  <a:gd name="connsiteY2587" fmla="*/ 9205 h 10000"/>
                  <a:gd name="connsiteX2588" fmla="*/ 696 w 10785"/>
                  <a:gd name="connsiteY2588" fmla="*/ 9205 h 10000"/>
                  <a:gd name="connsiteX2589" fmla="*/ 654 w 10785"/>
                  <a:gd name="connsiteY2589" fmla="*/ 9299 h 10000"/>
                  <a:gd name="connsiteX2590" fmla="*/ 622 w 10785"/>
                  <a:gd name="connsiteY2590" fmla="*/ 9299 h 10000"/>
                  <a:gd name="connsiteX2591" fmla="*/ 613 w 10785"/>
                  <a:gd name="connsiteY2591" fmla="*/ 9316 h 10000"/>
                  <a:gd name="connsiteX2592" fmla="*/ 613 w 10785"/>
                  <a:gd name="connsiteY2592" fmla="*/ 9325 h 10000"/>
                  <a:gd name="connsiteX2593" fmla="*/ 608 w 10785"/>
                  <a:gd name="connsiteY2593" fmla="*/ 9342 h 10000"/>
                  <a:gd name="connsiteX2594" fmla="*/ 636 w 10785"/>
                  <a:gd name="connsiteY2594" fmla="*/ 9376 h 10000"/>
                  <a:gd name="connsiteX2595" fmla="*/ 641 w 10785"/>
                  <a:gd name="connsiteY2595" fmla="*/ 9402 h 10000"/>
                  <a:gd name="connsiteX2596" fmla="*/ 654 w 10785"/>
                  <a:gd name="connsiteY2596" fmla="*/ 9427 h 10000"/>
                  <a:gd name="connsiteX2597" fmla="*/ 668 w 10785"/>
                  <a:gd name="connsiteY2597" fmla="*/ 9427 h 10000"/>
                  <a:gd name="connsiteX2598" fmla="*/ 668 w 10785"/>
                  <a:gd name="connsiteY2598" fmla="*/ 9427 h 10000"/>
                  <a:gd name="connsiteX2599" fmla="*/ 774 w 10785"/>
                  <a:gd name="connsiteY2599" fmla="*/ 9547 h 10000"/>
                  <a:gd name="connsiteX2600" fmla="*/ 797 w 10785"/>
                  <a:gd name="connsiteY2600" fmla="*/ 9598 h 10000"/>
                  <a:gd name="connsiteX2601" fmla="*/ 802 w 10785"/>
                  <a:gd name="connsiteY2601" fmla="*/ 9598 h 10000"/>
                  <a:gd name="connsiteX2602" fmla="*/ 816 w 10785"/>
                  <a:gd name="connsiteY2602" fmla="*/ 9624 h 10000"/>
                  <a:gd name="connsiteX2603" fmla="*/ 843 w 10785"/>
                  <a:gd name="connsiteY2603" fmla="*/ 9615 h 10000"/>
                  <a:gd name="connsiteX2604" fmla="*/ 857 w 10785"/>
                  <a:gd name="connsiteY2604" fmla="*/ 9624 h 10000"/>
                  <a:gd name="connsiteX2605" fmla="*/ 862 w 10785"/>
                  <a:gd name="connsiteY2605" fmla="*/ 9615 h 10000"/>
                  <a:gd name="connsiteX2606" fmla="*/ 880 w 10785"/>
                  <a:gd name="connsiteY2606" fmla="*/ 9624 h 10000"/>
                  <a:gd name="connsiteX2607" fmla="*/ 889 w 10785"/>
                  <a:gd name="connsiteY2607" fmla="*/ 9641 h 10000"/>
                  <a:gd name="connsiteX2608" fmla="*/ 935 w 10785"/>
                  <a:gd name="connsiteY2608" fmla="*/ 9675 h 10000"/>
                  <a:gd name="connsiteX2609" fmla="*/ 977 w 10785"/>
                  <a:gd name="connsiteY2609" fmla="*/ 9667 h 10000"/>
                  <a:gd name="connsiteX2610" fmla="*/ 995 w 10785"/>
                  <a:gd name="connsiteY2610" fmla="*/ 9675 h 10000"/>
                  <a:gd name="connsiteX2611" fmla="*/ 1014 w 10785"/>
                  <a:gd name="connsiteY2611" fmla="*/ 9675 h 10000"/>
                  <a:gd name="connsiteX2612" fmla="*/ 1069 w 10785"/>
                  <a:gd name="connsiteY2612" fmla="*/ 9752 h 10000"/>
                  <a:gd name="connsiteX2613" fmla="*/ 1074 w 10785"/>
                  <a:gd name="connsiteY2613" fmla="*/ 9761 h 10000"/>
                  <a:gd name="connsiteX2614" fmla="*/ 1083 w 10785"/>
                  <a:gd name="connsiteY2614" fmla="*/ 9778 h 10000"/>
                  <a:gd name="connsiteX2615" fmla="*/ 1115 w 10785"/>
                  <a:gd name="connsiteY2615" fmla="*/ 9752 h 10000"/>
                  <a:gd name="connsiteX2616" fmla="*/ 1129 w 10785"/>
                  <a:gd name="connsiteY2616" fmla="*/ 9752 h 10000"/>
                  <a:gd name="connsiteX2617" fmla="*/ 1138 w 10785"/>
                  <a:gd name="connsiteY2617" fmla="*/ 9761 h 10000"/>
                  <a:gd name="connsiteX2618" fmla="*/ 1143 w 10785"/>
                  <a:gd name="connsiteY2618" fmla="*/ 9752 h 10000"/>
                  <a:gd name="connsiteX2619" fmla="*/ 1161 w 10785"/>
                  <a:gd name="connsiteY2619" fmla="*/ 9761 h 10000"/>
                  <a:gd name="connsiteX2620" fmla="*/ 1171 w 10785"/>
                  <a:gd name="connsiteY2620" fmla="*/ 9778 h 10000"/>
                  <a:gd name="connsiteX2621" fmla="*/ 1175 w 10785"/>
                  <a:gd name="connsiteY2621" fmla="*/ 9778 h 10000"/>
                  <a:gd name="connsiteX2622" fmla="*/ 1189 w 10785"/>
                  <a:gd name="connsiteY2622" fmla="*/ 9778 h 10000"/>
                  <a:gd name="connsiteX2623" fmla="*/ 1198 w 10785"/>
                  <a:gd name="connsiteY2623" fmla="*/ 9786 h 10000"/>
                  <a:gd name="connsiteX2624" fmla="*/ 1203 w 10785"/>
                  <a:gd name="connsiteY2624" fmla="*/ 9803 h 10000"/>
                  <a:gd name="connsiteX2625" fmla="*/ 1198 w 10785"/>
                  <a:gd name="connsiteY2625" fmla="*/ 9838 h 10000"/>
                  <a:gd name="connsiteX2626" fmla="*/ 1212 w 10785"/>
                  <a:gd name="connsiteY2626" fmla="*/ 9863 h 10000"/>
                  <a:gd name="connsiteX2627" fmla="*/ 1230 w 10785"/>
                  <a:gd name="connsiteY2627" fmla="*/ 9872 h 10000"/>
                  <a:gd name="connsiteX2628" fmla="*/ 1249 w 10785"/>
                  <a:gd name="connsiteY2628" fmla="*/ 9897 h 10000"/>
                  <a:gd name="connsiteX2629" fmla="*/ 1263 w 10785"/>
                  <a:gd name="connsiteY2629" fmla="*/ 9897 h 10000"/>
                  <a:gd name="connsiteX2630" fmla="*/ 1276 w 10785"/>
                  <a:gd name="connsiteY2630" fmla="*/ 9923 h 10000"/>
                  <a:gd name="connsiteX2631" fmla="*/ 1281 w 10785"/>
                  <a:gd name="connsiteY2631" fmla="*/ 9949 h 10000"/>
                  <a:gd name="connsiteX2632" fmla="*/ 1290 w 10785"/>
                  <a:gd name="connsiteY2632" fmla="*/ 9949 h 10000"/>
                  <a:gd name="connsiteX2633" fmla="*/ 1295 w 10785"/>
                  <a:gd name="connsiteY2633" fmla="*/ 10000 h 10000"/>
                  <a:gd name="connsiteX2634" fmla="*/ 1332 w 10785"/>
                  <a:gd name="connsiteY2634" fmla="*/ 10000 h 10000"/>
                  <a:gd name="connsiteX2635" fmla="*/ 1336 w 10785"/>
                  <a:gd name="connsiteY2635" fmla="*/ 10000 h 10000"/>
                  <a:gd name="connsiteX2636" fmla="*/ 1346 w 10785"/>
                  <a:gd name="connsiteY2636" fmla="*/ 9983 h 10000"/>
                  <a:gd name="connsiteX2637" fmla="*/ 1350 w 10785"/>
                  <a:gd name="connsiteY2637" fmla="*/ 9949 h 10000"/>
                  <a:gd name="connsiteX2638" fmla="*/ 1369 w 10785"/>
                  <a:gd name="connsiteY2638" fmla="*/ 9940 h 10000"/>
                  <a:gd name="connsiteX2639" fmla="*/ 1378 w 10785"/>
                  <a:gd name="connsiteY2639" fmla="*/ 9897 h 10000"/>
                  <a:gd name="connsiteX2640" fmla="*/ 1369 w 10785"/>
                  <a:gd name="connsiteY2640" fmla="*/ 9889 h 10000"/>
                  <a:gd name="connsiteX2641" fmla="*/ 1318 w 10785"/>
                  <a:gd name="connsiteY2641" fmla="*/ 9701 h 10000"/>
                  <a:gd name="connsiteX2642" fmla="*/ 1318 w 10785"/>
                  <a:gd name="connsiteY2642" fmla="*/ 9650 h 10000"/>
                  <a:gd name="connsiteX2643" fmla="*/ 1323 w 10785"/>
                  <a:gd name="connsiteY2643" fmla="*/ 9590 h 10000"/>
                  <a:gd name="connsiteX2644" fmla="*/ 1323 w 10785"/>
                  <a:gd name="connsiteY2644" fmla="*/ 9564 h 10000"/>
                  <a:gd name="connsiteX2645" fmla="*/ 1309 w 10785"/>
                  <a:gd name="connsiteY2645" fmla="*/ 9598 h 10000"/>
                  <a:gd name="connsiteX2646" fmla="*/ 1309 w 10785"/>
                  <a:gd name="connsiteY2646" fmla="*/ 9590 h 10000"/>
                  <a:gd name="connsiteX2647" fmla="*/ 1304 w 10785"/>
                  <a:gd name="connsiteY2647" fmla="*/ 9547 h 10000"/>
                  <a:gd name="connsiteX2648" fmla="*/ 1276 w 10785"/>
                  <a:gd name="connsiteY2648" fmla="*/ 9479 h 10000"/>
                  <a:gd name="connsiteX2649" fmla="*/ 1263 w 10785"/>
                  <a:gd name="connsiteY2649" fmla="*/ 9479 h 10000"/>
                  <a:gd name="connsiteX2650" fmla="*/ 1263 w 10785"/>
                  <a:gd name="connsiteY2650" fmla="*/ 9453 h 10000"/>
                  <a:gd name="connsiteX2651" fmla="*/ 1272 w 10785"/>
                  <a:gd name="connsiteY2651" fmla="*/ 9410 h 10000"/>
                  <a:gd name="connsiteX2652" fmla="*/ 1272 w 10785"/>
                  <a:gd name="connsiteY2652" fmla="*/ 9393 h 10000"/>
                  <a:gd name="connsiteX2653" fmla="*/ 1281 w 10785"/>
                  <a:gd name="connsiteY2653" fmla="*/ 9368 h 10000"/>
                  <a:gd name="connsiteX2654" fmla="*/ 1281 w 10785"/>
                  <a:gd name="connsiteY2654" fmla="*/ 9368 h 10000"/>
                  <a:gd name="connsiteX2655" fmla="*/ 1290 w 10785"/>
                  <a:gd name="connsiteY2655" fmla="*/ 9368 h 10000"/>
                  <a:gd name="connsiteX2656" fmla="*/ 1290 w 10785"/>
                  <a:gd name="connsiteY2656" fmla="*/ 9342 h 10000"/>
                  <a:gd name="connsiteX2657" fmla="*/ 1304 w 10785"/>
                  <a:gd name="connsiteY2657" fmla="*/ 9325 h 10000"/>
                  <a:gd name="connsiteX2658" fmla="*/ 1309 w 10785"/>
                  <a:gd name="connsiteY2658" fmla="*/ 9239 h 10000"/>
                  <a:gd name="connsiteX2659" fmla="*/ 1318 w 10785"/>
                  <a:gd name="connsiteY2659" fmla="*/ 9256 h 10000"/>
                  <a:gd name="connsiteX2660" fmla="*/ 1323 w 10785"/>
                  <a:gd name="connsiteY2660" fmla="*/ 9179 h 10000"/>
                  <a:gd name="connsiteX2661" fmla="*/ 1309 w 10785"/>
                  <a:gd name="connsiteY2661" fmla="*/ 9145 h 10000"/>
                  <a:gd name="connsiteX2662" fmla="*/ 1336 w 10785"/>
                  <a:gd name="connsiteY2662" fmla="*/ 9154 h 10000"/>
                  <a:gd name="connsiteX2663" fmla="*/ 1336 w 10785"/>
                  <a:gd name="connsiteY2663" fmla="*/ 9162 h 10000"/>
                  <a:gd name="connsiteX2664" fmla="*/ 1350 w 10785"/>
                  <a:gd name="connsiteY2664" fmla="*/ 9231 h 10000"/>
                  <a:gd name="connsiteX2665" fmla="*/ 1355 w 10785"/>
                  <a:gd name="connsiteY2665" fmla="*/ 9231 h 10000"/>
                  <a:gd name="connsiteX2666" fmla="*/ 1364 w 10785"/>
                  <a:gd name="connsiteY2666" fmla="*/ 9214 h 10000"/>
                  <a:gd name="connsiteX2667" fmla="*/ 1369 w 10785"/>
                  <a:gd name="connsiteY2667" fmla="*/ 9214 h 10000"/>
                  <a:gd name="connsiteX2668" fmla="*/ 1382 w 10785"/>
                  <a:gd name="connsiteY2668" fmla="*/ 9154 h 10000"/>
                  <a:gd name="connsiteX2669" fmla="*/ 1396 w 10785"/>
                  <a:gd name="connsiteY2669" fmla="*/ 9154 h 10000"/>
                  <a:gd name="connsiteX2670" fmla="*/ 1382 w 10785"/>
                  <a:gd name="connsiteY2670" fmla="*/ 9145 h 10000"/>
                  <a:gd name="connsiteX2671" fmla="*/ 1382 w 10785"/>
                  <a:gd name="connsiteY2671" fmla="*/ 9128 h 10000"/>
                  <a:gd name="connsiteX2672" fmla="*/ 1369 w 10785"/>
                  <a:gd name="connsiteY2672" fmla="*/ 9128 h 10000"/>
                  <a:gd name="connsiteX2673" fmla="*/ 1364 w 10785"/>
                  <a:gd name="connsiteY2673" fmla="*/ 9128 h 10000"/>
                  <a:gd name="connsiteX2674" fmla="*/ 1355 w 10785"/>
                  <a:gd name="connsiteY2674" fmla="*/ 9120 h 10000"/>
                  <a:gd name="connsiteX2675" fmla="*/ 1350 w 10785"/>
                  <a:gd name="connsiteY2675" fmla="*/ 9103 h 10000"/>
                  <a:gd name="connsiteX2676" fmla="*/ 1355 w 10785"/>
                  <a:gd name="connsiteY2676" fmla="*/ 9094 h 10000"/>
                  <a:gd name="connsiteX2677" fmla="*/ 1355 w 10785"/>
                  <a:gd name="connsiteY2677" fmla="*/ 9068 h 10000"/>
                  <a:gd name="connsiteX2678" fmla="*/ 1369 w 10785"/>
                  <a:gd name="connsiteY2678" fmla="*/ 9068 h 10000"/>
                  <a:gd name="connsiteX2679" fmla="*/ 1378 w 10785"/>
                  <a:gd name="connsiteY2679" fmla="*/ 9077 h 10000"/>
                  <a:gd name="connsiteX2680" fmla="*/ 1396 w 10785"/>
                  <a:gd name="connsiteY2680" fmla="*/ 9068 h 10000"/>
                  <a:gd name="connsiteX2681" fmla="*/ 1382 w 10785"/>
                  <a:gd name="connsiteY2681" fmla="*/ 8940 h 10000"/>
                  <a:gd name="connsiteX2682" fmla="*/ 1378 w 10785"/>
                  <a:gd name="connsiteY2682" fmla="*/ 8940 h 10000"/>
                  <a:gd name="connsiteX2683" fmla="*/ 1364 w 10785"/>
                  <a:gd name="connsiteY2683" fmla="*/ 8889 h 10000"/>
                  <a:gd name="connsiteX2684" fmla="*/ 1355 w 10785"/>
                  <a:gd name="connsiteY2684" fmla="*/ 8880 h 10000"/>
                  <a:gd name="connsiteX2685" fmla="*/ 1323 w 10785"/>
                  <a:gd name="connsiteY2685" fmla="*/ 8880 h 10000"/>
                  <a:gd name="connsiteX2686" fmla="*/ 1309 w 10785"/>
                  <a:gd name="connsiteY2686" fmla="*/ 8880 h 10000"/>
                  <a:gd name="connsiteX2687" fmla="*/ 1309 w 10785"/>
                  <a:gd name="connsiteY2687" fmla="*/ 8889 h 10000"/>
                  <a:gd name="connsiteX2688" fmla="*/ 1295 w 10785"/>
                  <a:gd name="connsiteY2688" fmla="*/ 8872 h 10000"/>
                  <a:gd name="connsiteX2689" fmla="*/ 1290 w 10785"/>
                  <a:gd name="connsiteY2689" fmla="*/ 8855 h 10000"/>
                  <a:gd name="connsiteX2690" fmla="*/ 1290 w 10785"/>
                  <a:gd name="connsiteY2690" fmla="*/ 8829 h 10000"/>
                  <a:gd name="connsiteX2691" fmla="*/ 1290 w 10785"/>
                  <a:gd name="connsiteY2691" fmla="*/ 8821 h 10000"/>
                  <a:gd name="connsiteX2692" fmla="*/ 1290 w 10785"/>
                  <a:gd name="connsiteY2692" fmla="*/ 8803 h 10000"/>
                  <a:gd name="connsiteX2693" fmla="*/ 1281 w 10785"/>
                  <a:gd name="connsiteY2693" fmla="*/ 8795 h 10000"/>
                  <a:gd name="connsiteX2694" fmla="*/ 1249 w 10785"/>
                  <a:gd name="connsiteY2694" fmla="*/ 8769 h 10000"/>
                  <a:gd name="connsiteX2695" fmla="*/ 1263 w 10785"/>
                  <a:gd name="connsiteY2695" fmla="*/ 8667 h 10000"/>
                  <a:gd name="connsiteX2696" fmla="*/ 1281 w 10785"/>
                  <a:gd name="connsiteY2696" fmla="*/ 8658 h 10000"/>
                  <a:gd name="connsiteX2697" fmla="*/ 1290 w 10785"/>
                  <a:gd name="connsiteY2697" fmla="*/ 8632 h 10000"/>
                  <a:gd name="connsiteX2698" fmla="*/ 1281 w 10785"/>
                  <a:gd name="connsiteY2698" fmla="*/ 8615 h 10000"/>
                  <a:gd name="connsiteX2699" fmla="*/ 1272 w 10785"/>
                  <a:gd name="connsiteY2699" fmla="*/ 8598 h 10000"/>
                  <a:gd name="connsiteX2700" fmla="*/ 1281 w 10785"/>
                  <a:gd name="connsiteY2700" fmla="*/ 8496 h 10000"/>
                  <a:gd name="connsiteX2701" fmla="*/ 1295 w 10785"/>
                  <a:gd name="connsiteY2701" fmla="*/ 8470 h 10000"/>
                  <a:gd name="connsiteX2702" fmla="*/ 1304 w 10785"/>
                  <a:gd name="connsiteY2702" fmla="*/ 8462 h 10000"/>
                  <a:gd name="connsiteX2703" fmla="*/ 1304 w 10785"/>
                  <a:gd name="connsiteY2703" fmla="*/ 8444 h 10000"/>
                  <a:gd name="connsiteX2704" fmla="*/ 1304 w 10785"/>
                  <a:gd name="connsiteY2704" fmla="*/ 8419 h 10000"/>
                  <a:gd name="connsiteX2705" fmla="*/ 1304 w 10785"/>
                  <a:gd name="connsiteY2705" fmla="*/ 8410 h 10000"/>
                  <a:gd name="connsiteX2706" fmla="*/ 1309 w 10785"/>
                  <a:gd name="connsiteY2706" fmla="*/ 8393 h 10000"/>
                  <a:gd name="connsiteX2707" fmla="*/ 1318 w 10785"/>
                  <a:gd name="connsiteY2707" fmla="*/ 8385 h 10000"/>
                  <a:gd name="connsiteX2708" fmla="*/ 1323 w 10785"/>
                  <a:gd name="connsiteY2708" fmla="*/ 8385 h 10000"/>
                  <a:gd name="connsiteX2709" fmla="*/ 1332 w 10785"/>
                  <a:gd name="connsiteY2709" fmla="*/ 8410 h 10000"/>
                  <a:gd name="connsiteX2710" fmla="*/ 1346 w 10785"/>
                  <a:gd name="connsiteY2710" fmla="*/ 8419 h 10000"/>
                  <a:gd name="connsiteX2711" fmla="*/ 1364 w 10785"/>
                  <a:gd name="connsiteY2711" fmla="*/ 8504 h 10000"/>
                  <a:gd name="connsiteX2712" fmla="*/ 1369 w 10785"/>
                  <a:gd name="connsiteY2712" fmla="*/ 8521 h 10000"/>
                  <a:gd name="connsiteX2713" fmla="*/ 1406 w 10785"/>
                  <a:gd name="connsiteY2713" fmla="*/ 8470 h 10000"/>
                  <a:gd name="connsiteX2714" fmla="*/ 1382 w 10785"/>
                  <a:gd name="connsiteY2714" fmla="*/ 8359 h 10000"/>
                  <a:gd name="connsiteX2715" fmla="*/ 1392 w 10785"/>
                  <a:gd name="connsiteY2715" fmla="*/ 8359 h 10000"/>
                  <a:gd name="connsiteX2716" fmla="*/ 1438 w 10785"/>
                  <a:gd name="connsiteY2716" fmla="*/ 8308 h 10000"/>
                  <a:gd name="connsiteX2717" fmla="*/ 1442 w 10785"/>
                  <a:gd name="connsiteY2717" fmla="*/ 8299 h 10000"/>
                  <a:gd name="connsiteX2718" fmla="*/ 1442 w 10785"/>
                  <a:gd name="connsiteY2718" fmla="*/ 8256 h 10000"/>
                  <a:gd name="connsiteX2719" fmla="*/ 1452 w 10785"/>
                  <a:gd name="connsiteY2719" fmla="*/ 8256 h 10000"/>
                  <a:gd name="connsiteX2720" fmla="*/ 1456 w 10785"/>
                  <a:gd name="connsiteY2720" fmla="*/ 8256 h 10000"/>
                  <a:gd name="connsiteX2721" fmla="*/ 1470 w 10785"/>
                  <a:gd name="connsiteY2721" fmla="*/ 8248 h 10000"/>
                  <a:gd name="connsiteX2722" fmla="*/ 1479 w 10785"/>
                  <a:gd name="connsiteY2722" fmla="*/ 8231 h 10000"/>
                  <a:gd name="connsiteX2723" fmla="*/ 1493 w 10785"/>
                  <a:gd name="connsiteY2723" fmla="*/ 8222 h 10000"/>
                  <a:gd name="connsiteX2724" fmla="*/ 1498 w 10785"/>
                  <a:gd name="connsiteY2724" fmla="*/ 8214 h 10000"/>
                  <a:gd name="connsiteX2725" fmla="*/ 1502 w 10785"/>
                  <a:gd name="connsiteY2725" fmla="*/ 8197 h 10000"/>
                  <a:gd name="connsiteX2726" fmla="*/ 1512 w 10785"/>
                  <a:gd name="connsiteY2726" fmla="*/ 8188 h 10000"/>
                  <a:gd name="connsiteX2727" fmla="*/ 1516 w 10785"/>
                  <a:gd name="connsiteY2727" fmla="*/ 8171 h 10000"/>
                  <a:gd name="connsiteX2728" fmla="*/ 1525 w 10785"/>
                  <a:gd name="connsiteY2728" fmla="*/ 8162 h 10000"/>
                  <a:gd name="connsiteX2729" fmla="*/ 1539 w 10785"/>
                  <a:gd name="connsiteY2729" fmla="*/ 8145 h 10000"/>
                  <a:gd name="connsiteX2730" fmla="*/ 1558 w 10785"/>
                  <a:gd name="connsiteY2730" fmla="*/ 8145 h 10000"/>
                  <a:gd name="connsiteX2731" fmla="*/ 1562 w 10785"/>
                  <a:gd name="connsiteY2731" fmla="*/ 8188 h 10000"/>
                  <a:gd name="connsiteX2732" fmla="*/ 1585 w 10785"/>
                  <a:gd name="connsiteY2732" fmla="*/ 8171 h 10000"/>
                  <a:gd name="connsiteX2733" fmla="*/ 1590 w 10785"/>
                  <a:gd name="connsiteY2733" fmla="*/ 8188 h 10000"/>
                  <a:gd name="connsiteX2734" fmla="*/ 1599 w 10785"/>
                  <a:gd name="connsiteY2734" fmla="*/ 8171 h 10000"/>
                  <a:gd name="connsiteX2735" fmla="*/ 1599 w 10785"/>
                  <a:gd name="connsiteY2735" fmla="*/ 8162 h 10000"/>
                  <a:gd name="connsiteX2736" fmla="*/ 1604 w 10785"/>
                  <a:gd name="connsiteY2736" fmla="*/ 8137 h 10000"/>
                  <a:gd name="connsiteX2737" fmla="*/ 1618 w 10785"/>
                  <a:gd name="connsiteY2737" fmla="*/ 8145 h 10000"/>
                  <a:gd name="connsiteX2738" fmla="*/ 1627 w 10785"/>
                  <a:gd name="connsiteY2738" fmla="*/ 8137 h 10000"/>
                  <a:gd name="connsiteX2739" fmla="*/ 1631 w 10785"/>
                  <a:gd name="connsiteY2739" fmla="*/ 8137 h 10000"/>
                  <a:gd name="connsiteX2740" fmla="*/ 1636 w 10785"/>
                  <a:gd name="connsiteY2740" fmla="*/ 8171 h 10000"/>
                  <a:gd name="connsiteX2741" fmla="*/ 1645 w 10785"/>
                  <a:gd name="connsiteY2741" fmla="*/ 8188 h 10000"/>
                  <a:gd name="connsiteX2742" fmla="*/ 1664 w 10785"/>
                  <a:gd name="connsiteY2742" fmla="*/ 8171 h 10000"/>
                  <a:gd name="connsiteX2743" fmla="*/ 1673 w 10785"/>
                  <a:gd name="connsiteY2743" fmla="*/ 8188 h 10000"/>
                  <a:gd name="connsiteX2744" fmla="*/ 1691 w 10785"/>
                  <a:gd name="connsiteY2744" fmla="*/ 8171 h 10000"/>
                  <a:gd name="connsiteX2745" fmla="*/ 1705 w 10785"/>
                  <a:gd name="connsiteY2745" fmla="*/ 8171 h 10000"/>
                  <a:gd name="connsiteX2746" fmla="*/ 1719 w 10785"/>
                  <a:gd name="connsiteY2746" fmla="*/ 8197 h 10000"/>
                  <a:gd name="connsiteX2747" fmla="*/ 1724 w 10785"/>
                  <a:gd name="connsiteY2747" fmla="*/ 8231 h 10000"/>
                  <a:gd name="connsiteX2748" fmla="*/ 1751 w 10785"/>
                  <a:gd name="connsiteY2748" fmla="*/ 8256 h 10000"/>
                  <a:gd name="connsiteX2749" fmla="*/ 1751 w 10785"/>
                  <a:gd name="connsiteY2749" fmla="*/ 8274 h 10000"/>
                  <a:gd name="connsiteX2750" fmla="*/ 1760 w 10785"/>
                  <a:gd name="connsiteY2750" fmla="*/ 8282 h 10000"/>
                  <a:gd name="connsiteX2751" fmla="*/ 1770 w 10785"/>
                  <a:gd name="connsiteY2751" fmla="*/ 8325 h 10000"/>
                  <a:gd name="connsiteX2752" fmla="*/ 1770 w 10785"/>
                  <a:gd name="connsiteY2752" fmla="*/ 8350 h 10000"/>
                  <a:gd name="connsiteX2753" fmla="*/ 1779 w 10785"/>
                  <a:gd name="connsiteY2753" fmla="*/ 8368 h 10000"/>
                  <a:gd name="connsiteX2754" fmla="*/ 1783 w 10785"/>
                  <a:gd name="connsiteY2754" fmla="*/ 8359 h 10000"/>
                  <a:gd name="connsiteX2755" fmla="*/ 1783 w 10785"/>
                  <a:gd name="connsiteY2755" fmla="*/ 8308 h 10000"/>
                  <a:gd name="connsiteX2756" fmla="*/ 1779 w 10785"/>
                  <a:gd name="connsiteY2756" fmla="*/ 8299 h 10000"/>
                  <a:gd name="connsiteX2757" fmla="*/ 1783 w 10785"/>
                  <a:gd name="connsiteY2757" fmla="*/ 8282 h 10000"/>
                  <a:gd name="connsiteX2758" fmla="*/ 1797 w 10785"/>
                  <a:gd name="connsiteY2758" fmla="*/ 8274 h 10000"/>
                  <a:gd name="connsiteX2759" fmla="*/ 1797 w 10785"/>
                  <a:gd name="connsiteY2759" fmla="*/ 8299 h 10000"/>
                  <a:gd name="connsiteX2760" fmla="*/ 1806 w 10785"/>
                  <a:gd name="connsiteY2760" fmla="*/ 8308 h 10000"/>
                  <a:gd name="connsiteX2761" fmla="*/ 1811 w 10785"/>
                  <a:gd name="connsiteY2761" fmla="*/ 8325 h 10000"/>
                  <a:gd name="connsiteX2762" fmla="*/ 1820 w 10785"/>
                  <a:gd name="connsiteY2762" fmla="*/ 8333 h 10000"/>
                  <a:gd name="connsiteX2763" fmla="*/ 1853 w 10785"/>
                  <a:gd name="connsiteY2763" fmla="*/ 8359 h 10000"/>
                  <a:gd name="connsiteX2764" fmla="*/ 1866 w 10785"/>
                  <a:gd name="connsiteY2764" fmla="*/ 8359 h 10000"/>
                  <a:gd name="connsiteX2765" fmla="*/ 1885 w 10785"/>
                  <a:gd name="connsiteY2765" fmla="*/ 8325 h 10000"/>
                  <a:gd name="connsiteX2766" fmla="*/ 1885 w 10785"/>
                  <a:gd name="connsiteY2766" fmla="*/ 8308 h 10000"/>
                  <a:gd name="connsiteX2767" fmla="*/ 1894 w 10785"/>
                  <a:gd name="connsiteY2767" fmla="*/ 8299 h 10000"/>
                  <a:gd name="connsiteX2768" fmla="*/ 1899 w 10785"/>
                  <a:gd name="connsiteY2768" fmla="*/ 8282 h 10000"/>
                  <a:gd name="connsiteX2769" fmla="*/ 1912 w 10785"/>
                  <a:gd name="connsiteY2769" fmla="*/ 8282 h 10000"/>
                  <a:gd name="connsiteX2770" fmla="*/ 1917 w 10785"/>
                  <a:gd name="connsiteY2770" fmla="*/ 8299 h 10000"/>
                  <a:gd name="connsiteX2771" fmla="*/ 1917 w 10785"/>
                  <a:gd name="connsiteY2771" fmla="*/ 8274 h 10000"/>
                  <a:gd name="connsiteX2772" fmla="*/ 1940 w 10785"/>
                  <a:gd name="connsiteY2772" fmla="*/ 8282 h 10000"/>
                  <a:gd name="connsiteX2773" fmla="*/ 1945 w 10785"/>
                  <a:gd name="connsiteY2773" fmla="*/ 8274 h 10000"/>
                  <a:gd name="connsiteX2774" fmla="*/ 1972 w 10785"/>
                  <a:gd name="connsiteY2774" fmla="*/ 8308 h 10000"/>
                  <a:gd name="connsiteX2775" fmla="*/ 1986 w 10785"/>
                  <a:gd name="connsiteY2775" fmla="*/ 8282 h 10000"/>
                  <a:gd name="connsiteX2776" fmla="*/ 1991 w 10785"/>
                  <a:gd name="connsiteY2776" fmla="*/ 8274 h 10000"/>
                  <a:gd name="connsiteX2777" fmla="*/ 2014 w 10785"/>
                  <a:gd name="connsiteY2777" fmla="*/ 8274 h 10000"/>
                  <a:gd name="connsiteX2778" fmla="*/ 2018 w 10785"/>
                  <a:gd name="connsiteY2778" fmla="*/ 8256 h 10000"/>
                  <a:gd name="connsiteX2779" fmla="*/ 2041 w 10785"/>
                  <a:gd name="connsiteY2779" fmla="*/ 8274 h 10000"/>
                  <a:gd name="connsiteX2780" fmla="*/ 2046 w 10785"/>
                  <a:gd name="connsiteY2780" fmla="*/ 8282 h 10000"/>
                  <a:gd name="connsiteX2781" fmla="*/ 2046 w 10785"/>
                  <a:gd name="connsiteY2781" fmla="*/ 8325 h 10000"/>
                  <a:gd name="connsiteX2782" fmla="*/ 2060 w 10785"/>
                  <a:gd name="connsiteY2782" fmla="*/ 8350 h 10000"/>
                  <a:gd name="connsiteX2783" fmla="*/ 2078 w 10785"/>
                  <a:gd name="connsiteY2783" fmla="*/ 8350 h 10000"/>
                  <a:gd name="connsiteX2784" fmla="*/ 2092 w 10785"/>
                  <a:gd name="connsiteY2784" fmla="*/ 8350 h 10000"/>
                  <a:gd name="connsiteX2785" fmla="*/ 2092 w 10785"/>
                  <a:gd name="connsiteY2785" fmla="*/ 8350 h 10000"/>
                  <a:gd name="connsiteX2786" fmla="*/ 2101 w 10785"/>
                  <a:gd name="connsiteY2786" fmla="*/ 8368 h 10000"/>
                  <a:gd name="connsiteX2787" fmla="*/ 2120 w 10785"/>
                  <a:gd name="connsiteY2787" fmla="*/ 8368 h 10000"/>
                  <a:gd name="connsiteX2788" fmla="*/ 2124 w 10785"/>
                  <a:gd name="connsiteY2788" fmla="*/ 8359 h 10000"/>
                  <a:gd name="connsiteX2789" fmla="*/ 2138 w 10785"/>
                  <a:gd name="connsiteY2789" fmla="*/ 8325 h 10000"/>
                  <a:gd name="connsiteX2790" fmla="*/ 2147 w 10785"/>
                  <a:gd name="connsiteY2790" fmla="*/ 8325 h 10000"/>
                  <a:gd name="connsiteX2791" fmla="*/ 2161 w 10785"/>
                  <a:gd name="connsiteY2791" fmla="*/ 8350 h 10000"/>
                  <a:gd name="connsiteX2792" fmla="*/ 2198 w 10785"/>
                  <a:gd name="connsiteY2792" fmla="*/ 8350 h 10000"/>
                  <a:gd name="connsiteX2793" fmla="*/ 2207 w 10785"/>
                  <a:gd name="connsiteY2793" fmla="*/ 8333 h 10000"/>
                  <a:gd name="connsiteX2794" fmla="*/ 2226 w 10785"/>
                  <a:gd name="connsiteY2794" fmla="*/ 8325 h 10000"/>
                  <a:gd name="connsiteX2795" fmla="*/ 2249 w 10785"/>
                  <a:gd name="connsiteY2795" fmla="*/ 8222 h 10000"/>
                  <a:gd name="connsiteX2796" fmla="*/ 2235 w 10785"/>
                  <a:gd name="connsiteY2796" fmla="*/ 8197 h 10000"/>
                  <a:gd name="connsiteX2797" fmla="*/ 2198 w 10785"/>
                  <a:gd name="connsiteY2797" fmla="*/ 8197 h 10000"/>
                  <a:gd name="connsiteX2798" fmla="*/ 2189 w 10785"/>
                  <a:gd name="connsiteY2798" fmla="*/ 8171 h 10000"/>
                  <a:gd name="connsiteX2799" fmla="*/ 2161 w 10785"/>
                  <a:gd name="connsiteY2799" fmla="*/ 8145 h 10000"/>
                  <a:gd name="connsiteX2800" fmla="*/ 2161 w 10785"/>
                  <a:gd name="connsiteY2800" fmla="*/ 8137 h 10000"/>
                  <a:gd name="connsiteX2801" fmla="*/ 2152 w 10785"/>
                  <a:gd name="connsiteY2801" fmla="*/ 8120 h 10000"/>
                  <a:gd name="connsiteX2802" fmla="*/ 2138 w 10785"/>
                  <a:gd name="connsiteY2802" fmla="*/ 8111 h 10000"/>
                  <a:gd name="connsiteX2803" fmla="*/ 2138 w 10785"/>
                  <a:gd name="connsiteY2803" fmla="*/ 8094 h 10000"/>
                  <a:gd name="connsiteX2804" fmla="*/ 2147 w 10785"/>
                  <a:gd name="connsiteY2804" fmla="*/ 8085 h 10000"/>
                  <a:gd name="connsiteX2805" fmla="*/ 2161 w 10785"/>
                  <a:gd name="connsiteY2805" fmla="*/ 8060 h 10000"/>
                  <a:gd name="connsiteX2806" fmla="*/ 2198 w 10785"/>
                  <a:gd name="connsiteY2806" fmla="*/ 8034 h 10000"/>
                  <a:gd name="connsiteX2807" fmla="*/ 2198 w 10785"/>
                  <a:gd name="connsiteY2807" fmla="*/ 8026 h 10000"/>
                  <a:gd name="connsiteX2808" fmla="*/ 2198 w 10785"/>
                  <a:gd name="connsiteY2808" fmla="*/ 8000 h 10000"/>
                  <a:gd name="connsiteX2809" fmla="*/ 2180 w 10785"/>
                  <a:gd name="connsiteY2809" fmla="*/ 7940 h 10000"/>
                  <a:gd name="connsiteX2810" fmla="*/ 2189 w 10785"/>
                  <a:gd name="connsiteY2810" fmla="*/ 7940 h 10000"/>
                  <a:gd name="connsiteX2811" fmla="*/ 2198 w 10785"/>
                  <a:gd name="connsiteY2811" fmla="*/ 7923 h 10000"/>
                  <a:gd name="connsiteX2812" fmla="*/ 2198 w 10785"/>
                  <a:gd name="connsiteY2812" fmla="*/ 7897 h 10000"/>
                  <a:gd name="connsiteX2813" fmla="*/ 2207 w 10785"/>
                  <a:gd name="connsiteY2813" fmla="*/ 7889 h 10000"/>
                  <a:gd name="connsiteX2814" fmla="*/ 2221 w 10785"/>
                  <a:gd name="connsiteY2814" fmla="*/ 7889 h 10000"/>
                  <a:gd name="connsiteX2815" fmla="*/ 2226 w 10785"/>
                  <a:gd name="connsiteY2815" fmla="*/ 7897 h 10000"/>
                  <a:gd name="connsiteX2816" fmla="*/ 2235 w 10785"/>
                  <a:gd name="connsiteY2816" fmla="*/ 7889 h 10000"/>
                  <a:gd name="connsiteX2817" fmla="*/ 2249 w 10785"/>
                  <a:gd name="connsiteY2817" fmla="*/ 7897 h 10000"/>
                  <a:gd name="connsiteX2818" fmla="*/ 2267 w 10785"/>
                  <a:gd name="connsiteY2818" fmla="*/ 7897 h 10000"/>
                  <a:gd name="connsiteX2819" fmla="*/ 2272 w 10785"/>
                  <a:gd name="connsiteY2819" fmla="*/ 7889 h 10000"/>
                  <a:gd name="connsiteX2820" fmla="*/ 2281 w 10785"/>
                  <a:gd name="connsiteY2820" fmla="*/ 7872 h 10000"/>
                  <a:gd name="connsiteX2821" fmla="*/ 2272 w 10785"/>
                  <a:gd name="connsiteY2821" fmla="*/ 7846 h 10000"/>
                  <a:gd name="connsiteX2822" fmla="*/ 2253 w 10785"/>
                  <a:gd name="connsiteY2822" fmla="*/ 7838 h 10000"/>
                  <a:gd name="connsiteX2823" fmla="*/ 2221 w 10785"/>
                  <a:gd name="connsiteY2823" fmla="*/ 7821 h 10000"/>
                  <a:gd name="connsiteX2824" fmla="*/ 2212 w 10785"/>
                  <a:gd name="connsiteY2824" fmla="*/ 7812 h 10000"/>
                  <a:gd name="connsiteX2825" fmla="*/ 2212 w 10785"/>
                  <a:gd name="connsiteY2825" fmla="*/ 7803 h 10000"/>
                  <a:gd name="connsiteX2826" fmla="*/ 2221 w 10785"/>
                  <a:gd name="connsiteY2826" fmla="*/ 7803 h 10000"/>
                  <a:gd name="connsiteX2827" fmla="*/ 2235 w 10785"/>
                  <a:gd name="connsiteY2827" fmla="*/ 7786 h 10000"/>
                  <a:gd name="connsiteX2828" fmla="*/ 2240 w 10785"/>
                  <a:gd name="connsiteY2828" fmla="*/ 7778 h 10000"/>
                  <a:gd name="connsiteX2829" fmla="*/ 2226 w 10785"/>
                  <a:gd name="connsiteY2829" fmla="*/ 7761 h 10000"/>
                  <a:gd name="connsiteX2830" fmla="*/ 2221 w 10785"/>
                  <a:gd name="connsiteY2830" fmla="*/ 7778 h 10000"/>
                  <a:gd name="connsiteX2831" fmla="*/ 2198 w 10785"/>
                  <a:gd name="connsiteY2831" fmla="*/ 7778 h 10000"/>
                  <a:gd name="connsiteX2832" fmla="*/ 2198 w 10785"/>
                  <a:gd name="connsiteY2832" fmla="*/ 7752 h 10000"/>
                  <a:gd name="connsiteX2833" fmla="*/ 2207 w 10785"/>
                  <a:gd name="connsiteY2833" fmla="*/ 7735 h 10000"/>
                  <a:gd name="connsiteX2834" fmla="*/ 2212 w 10785"/>
                  <a:gd name="connsiteY2834" fmla="*/ 7726 h 10000"/>
                  <a:gd name="connsiteX2835" fmla="*/ 2198 w 10785"/>
                  <a:gd name="connsiteY2835" fmla="*/ 7692 h 10000"/>
                  <a:gd name="connsiteX2836" fmla="*/ 2221 w 10785"/>
                  <a:gd name="connsiteY2836" fmla="*/ 7692 h 10000"/>
                  <a:gd name="connsiteX2837" fmla="*/ 2221 w 10785"/>
                  <a:gd name="connsiteY2837" fmla="*/ 7675 h 10000"/>
                  <a:gd name="connsiteX2838" fmla="*/ 2235 w 10785"/>
                  <a:gd name="connsiteY2838" fmla="*/ 7675 h 10000"/>
                  <a:gd name="connsiteX2839" fmla="*/ 2240 w 10785"/>
                  <a:gd name="connsiteY2839" fmla="*/ 7692 h 10000"/>
                  <a:gd name="connsiteX2840" fmla="*/ 2249 w 10785"/>
                  <a:gd name="connsiteY2840" fmla="*/ 7692 h 10000"/>
                  <a:gd name="connsiteX2841" fmla="*/ 2258 w 10785"/>
                  <a:gd name="connsiteY2841" fmla="*/ 7692 h 10000"/>
                  <a:gd name="connsiteX2842" fmla="*/ 2267 w 10785"/>
                  <a:gd name="connsiteY2842" fmla="*/ 7692 h 10000"/>
                  <a:gd name="connsiteX2843" fmla="*/ 2295 w 10785"/>
                  <a:gd name="connsiteY2843" fmla="*/ 7692 h 10000"/>
                  <a:gd name="connsiteX2844" fmla="*/ 2300 w 10785"/>
                  <a:gd name="connsiteY2844" fmla="*/ 7701 h 10000"/>
                  <a:gd name="connsiteX2845" fmla="*/ 2313 w 10785"/>
                  <a:gd name="connsiteY2845" fmla="*/ 7675 h 10000"/>
                  <a:gd name="connsiteX2846" fmla="*/ 2323 w 10785"/>
                  <a:gd name="connsiteY2846" fmla="*/ 7675 h 10000"/>
                  <a:gd name="connsiteX2847" fmla="*/ 2341 w 10785"/>
                  <a:gd name="connsiteY2847" fmla="*/ 7675 h 10000"/>
                  <a:gd name="connsiteX2848" fmla="*/ 2346 w 10785"/>
                  <a:gd name="connsiteY2848" fmla="*/ 7667 h 10000"/>
                  <a:gd name="connsiteX2849" fmla="*/ 2359 w 10785"/>
                  <a:gd name="connsiteY2849" fmla="*/ 7650 h 10000"/>
                  <a:gd name="connsiteX2850" fmla="*/ 2373 w 10785"/>
                  <a:gd name="connsiteY2850" fmla="*/ 7624 h 10000"/>
                  <a:gd name="connsiteX2851" fmla="*/ 2382 w 10785"/>
                  <a:gd name="connsiteY2851" fmla="*/ 7641 h 10000"/>
                  <a:gd name="connsiteX2852" fmla="*/ 2396 w 10785"/>
                  <a:gd name="connsiteY2852" fmla="*/ 7650 h 10000"/>
                  <a:gd name="connsiteX2853" fmla="*/ 2401 w 10785"/>
                  <a:gd name="connsiteY2853" fmla="*/ 7650 h 10000"/>
                  <a:gd name="connsiteX2854" fmla="*/ 2401 w 10785"/>
                  <a:gd name="connsiteY2854" fmla="*/ 7624 h 10000"/>
                  <a:gd name="connsiteX2855" fmla="*/ 2419 w 10785"/>
                  <a:gd name="connsiteY2855" fmla="*/ 7624 h 10000"/>
                  <a:gd name="connsiteX2856" fmla="*/ 2433 w 10785"/>
                  <a:gd name="connsiteY2856" fmla="*/ 7615 h 10000"/>
                  <a:gd name="connsiteX2857" fmla="*/ 2442 w 10785"/>
                  <a:gd name="connsiteY2857" fmla="*/ 7615 h 10000"/>
                  <a:gd name="connsiteX2858" fmla="*/ 2447 w 10785"/>
                  <a:gd name="connsiteY2858" fmla="*/ 7598 h 10000"/>
                  <a:gd name="connsiteX2859" fmla="*/ 2461 w 10785"/>
                  <a:gd name="connsiteY2859" fmla="*/ 7598 h 10000"/>
                  <a:gd name="connsiteX2860" fmla="*/ 2465 w 10785"/>
                  <a:gd name="connsiteY2860" fmla="*/ 7615 h 10000"/>
                  <a:gd name="connsiteX2861" fmla="*/ 2479 w 10785"/>
                  <a:gd name="connsiteY2861" fmla="*/ 7564 h 10000"/>
                  <a:gd name="connsiteX2862" fmla="*/ 2488 w 10785"/>
                  <a:gd name="connsiteY2862" fmla="*/ 7556 h 10000"/>
                  <a:gd name="connsiteX2863" fmla="*/ 2493 w 10785"/>
                  <a:gd name="connsiteY2863" fmla="*/ 7556 h 10000"/>
                  <a:gd name="connsiteX2864" fmla="*/ 2507 w 10785"/>
                  <a:gd name="connsiteY2864" fmla="*/ 7556 h 10000"/>
                  <a:gd name="connsiteX2865" fmla="*/ 2530 w 10785"/>
                  <a:gd name="connsiteY2865" fmla="*/ 7538 h 10000"/>
                  <a:gd name="connsiteX2866" fmla="*/ 2530 w 10785"/>
                  <a:gd name="connsiteY2866" fmla="*/ 7556 h 10000"/>
                  <a:gd name="connsiteX2867" fmla="*/ 2641 w 10785"/>
                  <a:gd name="connsiteY2867" fmla="*/ 7504 h 10000"/>
                  <a:gd name="connsiteX2868" fmla="*/ 2654 w 10785"/>
                  <a:gd name="connsiteY2868" fmla="*/ 7487 h 10000"/>
                  <a:gd name="connsiteX2869" fmla="*/ 2664 w 10785"/>
                  <a:gd name="connsiteY2869" fmla="*/ 7487 h 10000"/>
                  <a:gd name="connsiteX2870" fmla="*/ 2668 w 10785"/>
                  <a:gd name="connsiteY2870" fmla="*/ 7479 h 10000"/>
                  <a:gd name="connsiteX2871" fmla="*/ 2673 w 10785"/>
                  <a:gd name="connsiteY2871" fmla="*/ 7462 h 10000"/>
                  <a:gd name="connsiteX2872" fmla="*/ 2673 w 10785"/>
                  <a:gd name="connsiteY2872" fmla="*/ 7427 h 10000"/>
                  <a:gd name="connsiteX2873" fmla="*/ 2687 w 10785"/>
                  <a:gd name="connsiteY2873" fmla="*/ 7436 h 10000"/>
                  <a:gd name="connsiteX2874" fmla="*/ 2696 w 10785"/>
                  <a:gd name="connsiteY2874" fmla="*/ 7427 h 10000"/>
                  <a:gd name="connsiteX2875" fmla="*/ 2700 w 10785"/>
                  <a:gd name="connsiteY2875" fmla="*/ 7419 h 10000"/>
                  <a:gd name="connsiteX2876" fmla="*/ 2710 w 10785"/>
                  <a:gd name="connsiteY2876" fmla="*/ 7402 h 10000"/>
                  <a:gd name="connsiteX2877" fmla="*/ 2724 w 10785"/>
                  <a:gd name="connsiteY2877" fmla="*/ 7402 h 10000"/>
                  <a:gd name="connsiteX2878" fmla="*/ 2724 w 10785"/>
                  <a:gd name="connsiteY2878" fmla="*/ 7393 h 10000"/>
                  <a:gd name="connsiteX2879" fmla="*/ 2737 w 10785"/>
                  <a:gd name="connsiteY2879" fmla="*/ 7393 h 10000"/>
                  <a:gd name="connsiteX2880" fmla="*/ 2742 w 10785"/>
                  <a:gd name="connsiteY2880" fmla="*/ 7402 h 10000"/>
                  <a:gd name="connsiteX2881" fmla="*/ 2747 w 10785"/>
                  <a:gd name="connsiteY2881" fmla="*/ 7402 h 10000"/>
                  <a:gd name="connsiteX2882" fmla="*/ 2760 w 10785"/>
                  <a:gd name="connsiteY2882" fmla="*/ 7402 h 10000"/>
                  <a:gd name="connsiteX2883" fmla="*/ 2770 w 10785"/>
                  <a:gd name="connsiteY2883" fmla="*/ 7402 h 10000"/>
                  <a:gd name="connsiteX2884" fmla="*/ 2774 w 10785"/>
                  <a:gd name="connsiteY2884" fmla="*/ 7402 h 10000"/>
                  <a:gd name="connsiteX2885" fmla="*/ 2783 w 10785"/>
                  <a:gd name="connsiteY2885" fmla="*/ 7419 h 10000"/>
                  <a:gd name="connsiteX2886" fmla="*/ 2802 w 10785"/>
                  <a:gd name="connsiteY2886" fmla="*/ 7436 h 10000"/>
                  <a:gd name="connsiteX2887" fmla="*/ 2816 w 10785"/>
                  <a:gd name="connsiteY2887" fmla="*/ 7419 h 10000"/>
                  <a:gd name="connsiteX2888" fmla="*/ 2834 w 10785"/>
                  <a:gd name="connsiteY2888" fmla="*/ 7419 h 10000"/>
                  <a:gd name="connsiteX2889" fmla="*/ 2843 w 10785"/>
                  <a:gd name="connsiteY2889" fmla="*/ 7419 h 10000"/>
                  <a:gd name="connsiteX2890" fmla="*/ 2848 w 10785"/>
                  <a:gd name="connsiteY2890" fmla="*/ 7436 h 10000"/>
                  <a:gd name="connsiteX2891" fmla="*/ 2857 w 10785"/>
                  <a:gd name="connsiteY2891" fmla="*/ 7453 h 10000"/>
                  <a:gd name="connsiteX2892" fmla="*/ 2857 w 10785"/>
                  <a:gd name="connsiteY2892" fmla="*/ 7504 h 10000"/>
                  <a:gd name="connsiteX2893" fmla="*/ 2862 w 10785"/>
                  <a:gd name="connsiteY2893" fmla="*/ 7530 h 10000"/>
                  <a:gd name="connsiteX2894" fmla="*/ 2876 w 10785"/>
                  <a:gd name="connsiteY2894" fmla="*/ 7538 h 10000"/>
                  <a:gd name="connsiteX2895" fmla="*/ 2871 w 10785"/>
                  <a:gd name="connsiteY2895" fmla="*/ 7564 h 10000"/>
                  <a:gd name="connsiteX2896" fmla="*/ 2871 w 10785"/>
                  <a:gd name="connsiteY2896" fmla="*/ 7598 h 10000"/>
                  <a:gd name="connsiteX2897" fmla="*/ 2857 w 10785"/>
                  <a:gd name="connsiteY2897" fmla="*/ 7624 h 10000"/>
                  <a:gd name="connsiteX2898" fmla="*/ 2862 w 10785"/>
                  <a:gd name="connsiteY2898" fmla="*/ 7641 h 10000"/>
                  <a:gd name="connsiteX2899" fmla="*/ 2871 w 10785"/>
                  <a:gd name="connsiteY2899" fmla="*/ 7667 h 10000"/>
                  <a:gd name="connsiteX2900" fmla="*/ 2880 w 10785"/>
                  <a:gd name="connsiteY2900" fmla="*/ 7650 h 10000"/>
                  <a:gd name="connsiteX2901" fmla="*/ 2894 w 10785"/>
                  <a:gd name="connsiteY2901" fmla="*/ 7667 h 10000"/>
                  <a:gd name="connsiteX2902" fmla="*/ 2903 w 10785"/>
                  <a:gd name="connsiteY2902" fmla="*/ 7667 h 10000"/>
                  <a:gd name="connsiteX2903" fmla="*/ 2908 w 10785"/>
                  <a:gd name="connsiteY2903" fmla="*/ 7641 h 10000"/>
                  <a:gd name="connsiteX2904" fmla="*/ 2917 w 10785"/>
                  <a:gd name="connsiteY2904" fmla="*/ 7641 h 10000"/>
                  <a:gd name="connsiteX2905" fmla="*/ 2922 w 10785"/>
                  <a:gd name="connsiteY2905" fmla="*/ 7641 h 10000"/>
                  <a:gd name="connsiteX2906" fmla="*/ 2931 w 10785"/>
                  <a:gd name="connsiteY2906" fmla="*/ 7615 h 10000"/>
                  <a:gd name="connsiteX2907" fmla="*/ 2935 w 10785"/>
                  <a:gd name="connsiteY2907" fmla="*/ 7615 h 10000"/>
                  <a:gd name="connsiteX2908" fmla="*/ 2945 w 10785"/>
                  <a:gd name="connsiteY2908" fmla="*/ 7650 h 10000"/>
                  <a:gd name="connsiteX2909" fmla="*/ 2949 w 10785"/>
                  <a:gd name="connsiteY2909" fmla="*/ 7667 h 10000"/>
                  <a:gd name="connsiteX2910" fmla="*/ 2949 w 10785"/>
                  <a:gd name="connsiteY2910" fmla="*/ 7675 h 10000"/>
                  <a:gd name="connsiteX2911" fmla="*/ 2945 w 10785"/>
                  <a:gd name="connsiteY2911" fmla="*/ 7692 h 10000"/>
                  <a:gd name="connsiteX2912" fmla="*/ 2963 w 10785"/>
                  <a:gd name="connsiteY2912" fmla="*/ 7701 h 10000"/>
                  <a:gd name="connsiteX2913" fmla="*/ 2963 w 10785"/>
                  <a:gd name="connsiteY2913" fmla="*/ 7675 h 10000"/>
                  <a:gd name="connsiteX2914" fmla="*/ 2954 w 10785"/>
                  <a:gd name="connsiteY2914" fmla="*/ 7667 h 10000"/>
                  <a:gd name="connsiteX2915" fmla="*/ 2963 w 10785"/>
                  <a:gd name="connsiteY2915" fmla="*/ 7667 h 10000"/>
                  <a:gd name="connsiteX2916" fmla="*/ 2982 w 10785"/>
                  <a:gd name="connsiteY2916" fmla="*/ 7667 h 10000"/>
                  <a:gd name="connsiteX2917" fmla="*/ 2991 w 10785"/>
                  <a:gd name="connsiteY2917" fmla="*/ 7675 h 10000"/>
                  <a:gd name="connsiteX2918" fmla="*/ 2995 w 10785"/>
                  <a:gd name="connsiteY2918" fmla="*/ 7692 h 10000"/>
                  <a:gd name="connsiteX2919" fmla="*/ 3009 w 10785"/>
                  <a:gd name="connsiteY2919" fmla="*/ 7701 h 10000"/>
                  <a:gd name="connsiteX2920" fmla="*/ 3018 w 10785"/>
                  <a:gd name="connsiteY2920" fmla="*/ 7701 h 10000"/>
                  <a:gd name="connsiteX2921" fmla="*/ 3023 w 10785"/>
                  <a:gd name="connsiteY2921" fmla="*/ 7692 h 10000"/>
                  <a:gd name="connsiteX2922" fmla="*/ 3028 w 10785"/>
                  <a:gd name="connsiteY2922" fmla="*/ 7675 h 10000"/>
                  <a:gd name="connsiteX2923" fmla="*/ 3037 w 10785"/>
                  <a:gd name="connsiteY2923" fmla="*/ 7692 h 10000"/>
                  <a:gd name="connsiteX2924" fmla="*/ 3028 w 10785"/>
                  <a:gd name="connsiteY2924" fmla="*/ 7709 h 10000"/>
                  <a:gd name="connsiteX2925" fmla="*/ 3023 w 10785"/>
                  <a:gd name="connsiteY2925" fmla="*/ 7709 h 10000"/>
                  <a:gd name="connsiteX2926" fmla="*/ 3018 w 10785"/>
                  <a:gd name="connsiteY2926" fmla="*/ 7726 h 10000"/>
                  <a:gd name="connsiteX2927" fmla="*/ 3009 w 10785"/>
                  <a:gd name="connsiteY2927" fmla="*/ 7735 h 10000"/>
                  <a:gd name="connsiteX2928" fmla="*/ 3009 w 10785"/>
                  <a:gd name="connsiteY2928" fmla="*/ 7761 h 10000"/>
                  <a:gd name="connsiteX2929" fmla="*/ 3009 w 10785"/>
                  <a:gd name="connsiteY2929" fmla="*/ 7778 h 10000"/>
                  <a:gd name="connsiteX2930" fmla="*/ 3018 w 10785"/>
                  <a:gd name="connsiteY2930" fmla="*/ 7786 h 10000"/>
                  <a:gd name="connsiteX2931" fmla="*/ 3023 w 10785"/>
                  <a:gd name="connsiteY2931" fmla="*/ 7786 h 10000"/>
                  <a:gd name="connsiteX2932" fmla="*/ 3028 w 10785"/>
                  <a:gd name="connsiteY2932" fmla="*/ 7778 h 10000"/>
                  <a:gd name="connsiteX2933" fmla="*/ 3051 w 10785"/>
                  <a:gd name="connsiteY2933" fmla="*/ 7761 h 10000"/>
                  <a:gd name="connsiteX2934" fmla="*/ 3055 w 10785"/>
                  <a:gd name="connsiteY2934" fmla="*/ 7778 h 10000"/>
                  <a:gd name="connsiteX2935" fmla="*/ 3065 w 10785"/>
                  <a:gd name="connsiteY2935" fmla="*/ 7761 h 10000"/>
                  <a:gd name="connsiteX2936" fmla="*/ 3069 w 10785"/>
                  <a:gd name="connsiteY2936" fmla="*/ 7786 h 10000"/>
                  <a:gd name="connsiteX2937" fmla="*/ 3083 w 10785"/>
                  <a:gd name="connsiteY2937" fmla="*/ 7786 h 10000"/>
                  <a:gd name="connsiteX2938" fmla="*/ 3078 w 10785"/>
                  <a:gd name="connsiteY2938" fmla="*/ 7761 h 10000"/>
                  <a:gd name="connsiteX2939" fmla="*/ 3083 w 10785"/>
                  <a:gd name="connsiteY2939" fmla="*/ 7752 h 10000"/>
                  <a:gd name="connsiteX2940" fmla="*/ 3097 w 10785"/>
                  <a:gd name="connsiteY2940" fmla="*/ 7752 h 10000"/>
                  <a:gd name="connsiteX2941" fmla="*/ 3111 w 10785"/>
                  <a:gd name="connsiteY2941" fmla="*/ 7726 h 10000"/>
                  <a:gd name="connsiteX2942" fmla="*/ 3124 w 10785"/>
                  <a:gd name="connsiteY2942" fmla="*/ 7709 h 10000"/>
                  <a:gd name="connsiteX2943" fmla="*/ 3143 w 10785"/>
                  <a:gd name="connsiteY2943" fmla="*/ 7692 h 10000"/>
                  <a:gd name="connsiteX2944" fmla="*/ 3152 w 10785"/>
                  <a:gd name="connsiteY2944" fmla="*/ 7667 h 10000"/>
                  <a:gd name="connsiteX2945" fmla="*/ 3157 w 10785"/>
                  <a:gd name="connsiteY2945" fmla="*/ 7650 h 10000"/>
                  <a:gd name="connsiteX2946" fmla="*/ 3161 w 10785"/>
                  <a:gd name="connsiteY2946" fmla="*/ 7650 h 10000"/>
                  <a:gd name="connsiteX2947" fmla="*/ 3189 w 10785"/>
                  <a:gd name="connsiteY2947" fmla="*/ 7641 h 10000"/>
                  <a:gd name="connsiteX2948" fmla="*/ 3198 w 10785"/>
                  <a:gd name="connsiteY2948" fmla="*/ 7624 h 10000"/>
                  <a:gd name="connsiteX2949" fmla="*/ 3217 w 10785"/>
                  <a:gd name="connsiteY2949" fmla="*/ 7615 h 10000"/>
                  <a:gd name="connsiteX2950" fmla="*/ 3235 w 10785"/>
                  <a:gd name="connsiteY2950" fmla="*/ 7598 h 10000"/>
                  <a:gd name="connsiteX2951" fmla="*/ 3235 w 10785"/>
                  <a:gd name="connsiteY2951" fmla="*/ 7615 h 10000"/>
                  <a:gd name="connsiteX2952" fmla="*/ 3235 w 10785"/>
                  <a:gd name="connsiteY2952" fmla="*/ 7641 h 10000"/>
                  <a:gd name="connsiteX2953" fmla="*/ 3235 w 10785"/>
                  <a:gd name="connsiteY2953" fmla="*/ 7650 h 10000"/>
                  <a:gd name="connsiteX2954" fmla="*/ 3226 w 10785"/>
                  <a:gd name="connsiteY2954" fmla="*/ 7650 h 10000"/>
                  <a:gd name="connsiteX2955" fmla="*/ 3217 w 10785"/>
                  <a:gd name="connsiteY2955" fmla="*/ 7650 h 10000"/>
                  <a:gd name="connsiteX2956" fmla="*/ 3212 w 10785"/>
                  <a:gd name="connsiteY2956" fmla="*/ 7675 h 10000"/>
                  <a:gd name="connsiteX2957" fmla="*/ 3212 w 10785"/>
                  <a:gd name="connsiteY2957"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220 w 10785"/>
                  <a:gd name="connsiteY731" fmla="*/ 4873 h 10000"/>
                  <a:gd name="connsiteX732" fmla="*/ 10334 w 10785"/>
                  <a:gd name="connsiteY732" fmla="*/ 4810 h 10000"/>
                  <a:gd name="connsiteX733" fmla="*/ 10422 w 10785"/>
                  <a:gd name="connsiteY733" fmla="*/ 5051 h 10000"/>
                  <a:gd name="connsiteX734" fmla="*/ 10691 w 10785"/>
                  <a:gd name="connsiteY734" fmla="*/ 5255 h 10000"/>
                  <a:gd name="connsiteX735" fmla="*/ 10619 w 10785"/>
                  <a:gd name="connsiteY735" fmla="*/ 4708 h 10000"/>
                  <a:gd name="connsiteX736" fmla="*/ 10785 w 10785"/>
                  <a:gd name="connsiteY736" fmla="*/ 4708 h 10000"/>
                  <a:gd name="connsiteX737" fmla="*/ 10689 w 10785"/>
                  <a:gd name="connsiteY737" fmla="*/ 4467 h 10000"/>
                  <a:gd name="connsiteX738" fmla="*/ 10354 w 10785"/>
                  <a:gd name="connsiteY738" fmla="*/ 4302 h 10000"/>
                  <a:gd name="connsiteX739" fmla="*/ 9912 w 10785"/>
                  <a:gd name="connsiteY739" fmla="*/ 3675 h 10000"/>
                  <a:gd name="connsiteX740" fmla="*/ 9903 w 10785"/>
                  <a:gd name="connsiteY740" fmla="*/ 3667 h 10000"/>
                  <a:gd name="connsiteX741" fmla="*/ 9894 w 10785"/>
                  <a:gd name="connsiteY741" fmla="*/ 3641 h 10000"/>
                  <a:gd name="connsiteX742" fmla="*/ 9889 w 10785"/>
                  <a:gd name="connsiteY742" fmla="*/ 3650 h 10000"/>
                  <a:gd name="connsiteX743" fmla="*/ 9848 w 10785"/>
                  <a:gd name="connsiteY743" fmla="*/ 3598 h 10000"/>
                  <a:gd name="connsiteX744" fmla="*/ 9829 w 10785"/>
                  <a:gd name="connsiteY744" fmla="*/ 3581 h 10000"/>
                  <a:gd name="connsiteX745" fmla="*/ 9820 w 10785"/>
                  <a:gd name="connsiteY745" fmla="*/ 3581 h 10000"/>
                  <a:gd name="connsiteX746" fmla="*/ 9793 w 10785"/>
                  <a:gd name="connsiteY746" fmla="*/ 3556 h 10000"/>
                  <a:gd name="connsiteX747" fmla="*/ 9779 w 10785"/>
                  <a:gd name="connsiteY747" fmla="*/ 3556 h 10000"/>
                  <a:gd name="connsiteX748" fmla="*/ 9747 w 10785"/>
                  <a:gd name="connsiteY748" fmla="*/ 3487 h 10000"/>
                  <a:gd name="connsiteX749" fmla="*/ 9668 w 10785"/>
                  <a:gd name="connsiteY749" fmla="*/ 3479 h 10000"/>
                  <a:gd name="connsiteX750" fmla="*/ 9659 w 10785"/>
                  <a:gd name="connsiteY750" fmla="*/ 3487 h 10000"/>
                  <a:gd name="connsiteX751" fmla="*/ 9645 w 10785"/>
                  <a:gd name="connsiteY751" fmla="*/ 3504 h 10000"/>
                  <a:gd name="connsiteX752" fmla="*/ 9631 w 10785"/>
                  <a:gd name="connsiteY752" fmla="*/ 3487 h 10000"/>
                  <a:gd name="connsiteX753" fmla="*/ 9613 w 10785"/>
                  <a:gd name="connsiteY753" fmla="*/ 3479 h 10000"/>
                  <a:gd name="connsiteX754" fmla="*/ 9599 w 10785"/>
                  <a:gd name="connsiteY754" fmla="*/ 3479 h 10000"/>
                  <a:gd name="connsiteX755" fmla="*/ 9571 w 10785"/>
                  <a:gd name="connsiteY755" fmla="*/ 3479 h 10000"/>
                  <a:gd name="connsiteX756" fmla="*/ 9562 w 10785"/>
                  <a:gd name="connsiteY756" fmla="*/ 3487 h 10000"/>
                  <a:gd name="connsiteX757" fmla="*/ 9539 w 10785"/>
                  <a:gd name="connsiteY757" fmla="*/ 3487 h 10000"/>
                  <a:gd name="connsiteX758" fmla="*/ 9507 w 10785"/>
                  <a:gd name="connsiteY758" fmla="*/ 3453 h 10000"/>
                  <a:gd name="connsiteX759" fmla="*/ 9498 w 10785"/>
                  <a:gd name="connsiteY759" fmla="*/ 3453 h 10000"/>
                  <a:gd name="connsiteX760" fmla="*/ 9387 w 10785"/>
                  <a:gd name="connsiteY760" fmla="*/ 3419 h 10000"/>
                  <a:gd name="connsiteX761" fmla="*/ 9373 w 10785"/>
                  <a:gd name="connsiteY761" fmla="*/ 3427 h 10000"/>
                  <a:gd name="connsiteX762" fmla="*/ 9373 w 10785"/>
                  <a:gd name="connsiteY762" fmla="*/ 3462 h 10000"/>
                  <a:gd name="connsiteX763" fmla="*/ 9378 w 10785"/>
                  <a:gd name="connsiteY763" fmla="*/ 3479 h 10000"/>
                  <a:gd name="connsiteX764" fmla="*/ 9378 w 10785"/>
                  <a:gd name="connsiteY764" fmla="*/ 3530 h 10000"/>
                  <a:gd name="connsiteX765" fmla="*/ 9355 w 10785"/>
                  <a:gd name="connsiteY765" fmla="*/ 3538 h 10000"/>
                  <a:gd name="connsiteX766" fmla="*/ 9355 w 10785"/>
                  <a:gd name="connsiteY766" fmla="*/ 3581 h 10000"/>
                  <a:gd name="connsiteX767" fmla="*/ 9387 w 10785"/>
                  <a:gd name="connsiteY767" fmla="*/ 3590 h 10000"/>
                  <a:gd name="connsiteX768" fmla="*/ 9401 w 10785"/>
                  <a:gd name="connsiteY768" fmla="*/ 3667 h 10000"/>
                  <a:gd name="connsiteX769" fmla="*/ 9406 w 10785"/>
                  <a:gd name="connsiteY769" fmla="*/ 3675 h 10000"/>
                  <a:gd name="connsiteX770" fmla="*/ 9406 w 10785"/>
                  <a:gd name="connsiteY770" fmla="*/ 3701 h 10000"/>
                  <a:gd name="connsiteX771" fmla="*/ 9415 w 10785"/>
                  <a:gd name="connsiteY771" fmla="*/ 3752 h 10000"/>
                  <a:gd name="connsiteX772" fmla="*/ 9373 w 10785"/>
                  <a:gd name="connsiteY772" fmla="*/ 3838 h 10000"/>
                  <a:gd name="connsiteX773" fmla="*/ 9355 w 10785"/>
                  <a:gd name="connsiteY773" fmla="*/ 3863 h 10000"/>
                  <a:gd name="connsiteX774" fmla="*/ 9327 w 10785"/>
                  <a:gd name="connsiteY774" fmla="*/ 3863 h 10000"/>
                  <a:gd name="connsiteX775" fmla="*/ 9313 w 10785"/>
                  <a:gd name="connsiteY775" fmla="*/ 3846 h 10000"/>
                  <a:gd name="connsiteX776" fmla="*/ 9300 w 10785"/>
                  <a:gd name="connsiteY776" fmla="*/ 3778 h 10000"/>
                  <a:gd name="connsiteX777" fmla="*/ 9281 w 10785"/>
                  <a:gd name="connsiteY777" fmla="*/ 3752 h 10000"/>
                  <a:gd name="connsiteX778" fmla="*/ 9281 w 10785"/>
                  <a:gd name="connsiteY778" fmla="*/ 3735 h 10000"/>
                  <a:gd name="connsiteX779" fmla="*/ 9267 w 10785"/>
                  <a:gd name="connsiteY779" fmla="*/ 3726 h 10000"/>
                  <a:gd name="connsiteX780" fmla="*/ 9240 w 10785"/>
                  <a:gd name="connsiteY780" fmla="*/ 3726 h 10000"/>
                  <a:gd name="connsiteX781" fmla="*/ 9230 w 10785"/>
                  <a:gd name="connsiteY781" fmla="*/ 3718 h 10000"/>
                  <a:gd name="connsiteX782" fmla="*/ 9226 w 10785"/>
                  <a:gd name="connsiteY782" fmla="*/ 3590 h 10000"/>
                  <a:gd name="connsiteX783" fmla="*/ 9207 w 10785"/>
                  <a:gd name="connsiteY783" fmla="*/ 3581 h 10000"/>
                  <a:gd name="connsiteX784" fmla="*/ 9207 w 10785"/>
                  <a:gd name="connsiteY784" fmla="*/ 3556 h 10000"/>
                  <a:gd name="connsiteX785" fmla="*/ 9217 w 10785"/>
                  <a:gd name="connsiteY785" fmla="*/ 3538 h 10000"/>
                  <a:gd name="connsiteX786" fmla="*/ 9212 w 10785"/>
                  <a:gd name="connsiteY786" fmla="*/ 3538 h 10000"/>
                  <a:gd name="connsiteX787" fmla="*/ 9198 w 10785"/>
                  <a:gd name="connsiteY787" fmla="*/ 3513 h 10000"/>
                  <a:gd name="connsiteX788" fmla="*/ 9194 w 10785"/>
                  <a:gd name="connsiteY788" fmla="*/ 3530 h 10000"/>
                  <a:gd name="connsiteX789" fmla="*/ 9143 w 10785"/>
                  <a:gd name="connsiteY789" fmla="*/ 3615 h 10000"/>
                  <a:gd name="connsiteX790" fmla="*/ 9138 w 10785"/>
                  <a:gd name="connsiteY790" fmla="*/ 3615 h 10000"/>
                  <a:gd name="connsiteX791" fmla="*/ 9134 w 10785"/>
                  <a:gd name="connsiteY791" fmla="*/ 3615 h 10000"/>
                  <a:gd name="connsiteX792" fmla="*/ 9106 w 10785"/>
                  <a:gd name="connsiteY792" fmla="*/ 3615 h 10000"/>
                  <a:gd name="connsiteX793" fmla="*/ 9078 w 10785"/>
                  <a:gd name="connsiteY793" fmla="*/ 3590 h 10000"/>
                  <a:gd name="connsiteX794" fmla="*/ 9037 w 10785"/>
                  <a:gd name="connsiteY794" fmla="*/ 3581 h 10000"/>
                  <a:gd name="connsiteX795" fmla="*/ 9023 w 10785"/>
                  <a:gd name="connsiteY795" fmla="*/ 3590 h 10000"/>
                  <a:gd name="connsiteX796" fmla="*/ 9018 w 10785"/>
                  <a:gd name="connsiteY796" fmla="*/ 3590 h 10000"/>
                  <a:gd name="connsiteX797" fmla="*/ 9018 w 10785"/>
                  <a:gd name="connsiteY797" fmla="*/ 3590 h 10000"/>
                  <a:gd name="connsiteX798" fmla="*/ 8991 w 10785"/>
                  <a:gd name="connsiteY798" fmla="*/ 3590 h 10000"/>
                  <a:gd name="connsiteX799" fmla="*/ 8972 w 10785"/>
                  <a:gd name="connsiteY799" fmla="*/ 3581 h 10000"/>
                  <a:gd name="connsiteX800" fmla="*/ 8959 w 10785"/>
                  <a:gd name="connsiteY800" fmla="*/ 3513 h 10000"/>
                  <a:gd name="connsiteX801" fmla="*/ 8931 w 10785"/>
                  <a:gd name="connsiteY801" fmla="*/ 3538 h 10000"/>
                  <a:gd name="connsiteX802" fmla="*/ 8889 w 10785"/>
                  <a:gd name="connsiteY802" fmla="*/ 3538 h 10000"/>
                  <a:gd name="connsiteX803" fmla="*/ 8871 w 10785"/>
                  <a:gd name="connsiteY803" fmla="*/ 3556 h 10000"/>
                  <a:gd name="connsiteX804" fmla="*/ 8857 w 10785"/>
                  <a:gd name="connsiteY804" fmla="*/ 3538 h 10000"/>
                  <a:gd name="connsiteX805" fmla="*/ 8843 w 10785"/>
                  <a:gd name="connsiteY805" fmla="*/ 3538 h 10000"/>
                  <a:gd name="connsiteX806" fmla="*/ 8839 w 10785"/>
                  <a:gd name="connsiteY806" fmla="*/ 3556 h 10000"/>
                  <a:gd name="connsiteX807" fmla="*/ 8839 w 10785"/>
                  <a:gd name="connsiteY807" fmla="*/ 3581 h 10000"/>
                  <a:gd name="connsiteX808" fmla="*/ 8825 w 10785"/>
                  <a:gd name="connsiteY808" fmla="*/ 3564 h 10000"/>
                  <a:gd name="connsiteX809" fmla="*/ 8825 w 10785"/>
                  <a:gd name="connsiteY809" fmla="*/ 3615 h 10000"/>
                  <a:gd name="connsiteX810" fmla="*/ 8802 w 10785"/>
                  <a:gd name="connsiteY810" fmla="*/ 3598 h 10000"/>
                  <a:gd name="connsiteX811" fmla="*/ 8797 w 10785"/>
                  <a:gd name="connsiteY811" fmla="*/ 3641 h 10000"/>
                  <a:gd name="connsiteX812" fmla="*/ 8783 w 10785"/>
                  <a:gd name="connsiteY812" fmla="*/ 3667 h 10000"/>
                  <a:gd name="connsiteX813" fmla="*/ 8779 w 10785"/>
                  <a:gd name="connsiteY813" fmla="*/ 3650 h 10000"/>
                  <a:gd name="connsiteX814" fmla="*/ 8779 w 10785"/>
                  <a:gd name="connsiteY814" fmla="*/ 3615 h 10000"/>
                  <a:gd name="connsiteX815" fmla="*/ 8770 w 10785"/>
                  <a:gd name="connsiteY815" fmla="*/ 3590 h 10000"/>
                  <a:gd name="connsiteX816" fmla="*/ 8765 w 10785"/>
                  <a:gd name="connsiteY816" fmla="*/ 3598 h 10000"/>
                  <a:gd name="connsiteX817" fmla="*/ 8756 w 10785"/>
                  <a:gd name="connsiteY817" fmla="*/ 3590 h 10000"/>
                  <a:gd name="connsiteX818" fmla="*/ 8737 w 10785"/>
                  <a:gd name="connsiteY818" fmla="*/ 3556 h 10000"/>
                  <a:gd name="connsiteX819" fmla="*/ 8724 w 10785"/>
                  <a:gd name="connsiteY819" fmla="*/ 3538 h 10000"/>
                  <a:gd name="connsiteX820" fmla="*/ 8696 w 10785"/>
                  <a:gd name="connsiteY820" fmla="*/ 3538 h 10000"/>
                  <a:gd name="connsiteX821" fmla="*/ 8691 w 10785"/>
                  <a:gd name="connsiteY821" fmla="*/ 3513 h 10000"/>
                  <a:gd name="connsiteX822" fmla="*/ 8668 w 10785"/>
                  <a:gd name="connsiteY822" fmla="*/ 3504 h 10000"/>
                  <a:gd name="connsiteX823" fmla="*/ 8668 w 10785"/>
                  <a:gd name="connsiteY823" fmla="*/ 3487 h 10000"/>
                  <a:gd name="connsiteX824" fmla="*/ 8691 w 10785"/>
                  <a:gd name="connsiteY824" fmla="*/ 3350 h 10000"/>
                  <a:gd name="connsiteX825" fmla="*/ 8691 w 10785"/>
                  <a:gd name="connsiteY825" fmla="*/ 3291 h 10000"/>
                  <a:gd name="connsiteX826" fmla="*/ 8677 w 10785"/>
                  <a:gd name="connsiteY826" fmla="*/ 3239 h 10000"/>
                  <a:gd name="connsiteX827" fmla="*/ 8677 w 10785"/>
                  <a:gd name="connsiteY827" fmla="*/ 3231 h 10000"/>
                  <a:gd name="connsiteX828" fmla="*/ 8636 w 10785"/>
                  <a:gd name="connsiteY828" fmla="*/ 3128 h 10000"/>
                  <a:gd name="connsiteX829" fmla="*/ 8622 w 10785"/>
                  <a:gd name="connsiteY829" fmla="*/ 3120 h 10000"/>
                  <a:gd name="connsiteX830" fmla="*/ 8618 w 10785"/>
                  <a:gd name="connsiteY830" fmla="*/ 3094 h 10000"/>
                  <a:gd name="connsiteX831" fmla="*/ 8594 w 10785"/>
                  <a:gd name="connsiteY831" fmla="*/ 3077 h 10000"/>
                  <a:gd name="connsiteX832" fmla="*/ 8548 w 10785"/>
                  <a:gd name="connsiteY832" fmla="*/ 3077 h 10000"/>
                  <a:gd name="connsiteX833" fmla="*/ 8535 w 10785"/>
                  <a:gd name="connsiteY833" fmla="*/ 3068 h 10000"/>
                  <a:gd name="connsiteX834" fmla="*/ 8429 w 10785"/>
                  <a:gd name="connsiteY834" fmla="*/ 3077 h 10000"/>
                  <a:gd name="connsiteX835" fmla="*/ 8424 w 10785"/>
                  <a:gd name="connsiteY835" fmla="*/ 3077 h 10000"/>
                  <a:gd name="connsiteX836" fmla="*/ 8396 w 10785"/>
                  <a:gd name="connsiteY836" fmla="*/ 3077 h 10000"/>
                  <a:gd name="connsiteX837" fmla="*/ 8387 w 10785"/>
                  <a:gd name="connsiteY837" fmla="*/ 3094 h 10000"/>
                  <a:gd name="connsiteX838" fmla="*/ 8378 w 10785"/>
                  <a:gd name="connsiteY838" fmla="*/ 3094 h 10000"/>
                  <a:gd name="connsiteX839" fmla="*/ 8341 w 10785"/>
                  <a:gd name="connsiteY839" fmla="*/ 3077 h 10000"/>
                  <a:gd name="connsiteX840" fmla="*/ 8336 w 10785"/>
                  <a:gd name="connsiteY840" fmla="*/ 3077 h 10000"/>
                  <a:gd name="connsiteX841" fmla="*/ 8327 w 10785"/>
                  <a:gd name="connsiteY841" fmla="*/ 3103 h 10000"/>
                  <a:gd name="connsiteX842" fmla="*/ 8309 w 10785"/>
                  <a:gd name="connsiteY842" fmla="*/ 3120 h 10000"/>
                  <a:gd name="connsiteX843" fmla="*/ 8304 w 10785"/>
                  <a:gd name="connsiteY843" fmla="*/ 3103 h 10000"/>
                  <a:gd name="connsiteX844" fmla="*/ 8276 w 10785"/>
                  <a:gd name="connsiteY844" fmla="*/ 3103 h 10000"/>
                  <a:gd name="connsiteX845" fmla="*/ 8267 w 10785"/>
                  <a:gd name="connsiteY845" fmla="*/ 3120 h 10000"/>
                  <a:gd name="connsiteX846" fmla="*/ 8253 w 10785"/>
                  <a:gd name="connsiteY846" fmla="*/ 3103 h 10000"/>
                  <a:gd name="connsiteX847" fmla="*/ 8230 w 10785"/>
                  <a:gd name="connsiteY847" fmla="*/ 3128 h 10000"/>
                  <a:gd name="connsiteX848" fmla="*/ 8217 w 10785"/>
                  <a:gd name="connsiteY848" fmla="*/ 3128 h 10000"/>
                  <a:gd name="connsiteX849" fmla="*/ 8203 w 10785"/>
                  <a:gd name="connsiteY849" fmla="*/ 3154 h 10000"/>
                  <a:gd name="connsiteX850" fmla="*/ 8175 w 10785"/>
                  <a:gd name="connsiteY850" fmla="*/ 3094 h 10000"/>
                  <a:gd name="connsiteX851" fmla="*/ 8161 w 10785"/>
                  <a:gd name="connsiteY851" fmla="*/ 3094 h 10000"/>
                  <a:gd name="connsiteX852" fmla="*/ 8157 w 10785"/>
                  <a:gd name="connsiteY852" fmla="*/ 3077 h 10000"/>
                  <a:gd name="connsiteX853" fmla="*/ 8180 w 10785"/>
                  <a:gd name="connsiteY853" fmla="*/ 3068 h 10000"/>
                  <a:gd name="connsiteX854" fmla="*/ 8189 w 10785"/>
                  <a:gd name="connsiteY854" fmla="*/ 3043 h 10000"/>
                  <a:gd name="connsiteX855" fmla="*/ 8189 w 10785"/>
                  <a:gd name="connsiteY855" fmla="*/ 3017 h 10000"/>
                  <a:gd name="connsiteX856" fmla="*/ 8147 w 10785"/>
                  <a:gd name="connsiteY856" fmla="*/ 2940 h 10000"/>
                  <a:gd name="connsiteX857" fmla="*/ 8143 w 10785"/>
                  <a:gd name="connsiteY857" fmla="*/ 2915 h 10000"/>
                  <a:gd name="connsiteX858" fmla="*/ 8143 w 10785"/>
                  <a:gd name="connsiteY858" fmla="*/ 2906 h 10000"/>
                  <a:gd name="connsiteX859" fmla="*/ 8097 w 10785"/>
                  <a:gd name="connsiteY859" fmla="*/ 2932 h 10000"/>
                  <a:gd name="connsiteX860" fmla="*/ 8083 w 10785"/>
                  <a:gd name="connsiteY860" fmla="*/ 2932 h 10000"/>
                  <a:gd name="connsiteX861" fmla="*/ 8074 w 10785"/>
                  <a:gd name="connsiteY861" fmla="*/ 2906 h 10000"/>
                  <a:gd name="connsiteX862" fmla="*/ 8074 w 10785"/>
                  <a:gd name="connsiteY862" fmla="*/ 2897 h 10000"/>
                  <a:gd name="connsiteX863" fmla="*/ 8055 w 10785"/>
                  <a:gd name="connsiteY863" fmla="*/ 2872 h 10000"/>
                  <a:gd name="connsiteX864" fmla="*/ 8046 w 10785"/>
                  <a:gd name="connsiteY864" fmla="*/ 2829 h 10000"/>
                  <a:gd name="connsiteX865" fmla="*/ 8041 w 10785"/>
                  <a:gd name="connsiteY865" fmla="*/ 2829 h 10000"/>
                  <a:gd name="connsiteX866" fmla="*/ 8023 w 10785"/>
                  <a:gd name="connsiteY866" fmla="*/ 2803 h 10000"/>
                  <a:gd name="connsiteX867" fmla="*/ 8014 w 10785"/>
                  <a:gd name="connsiteY867" fmla="*/ 2829 h 10000"/>
                  <a:gd name="connsiteX868" fmla="*/ 8000 w 10785"/>
                  <a:gd name="connsiteY868" fmla="*/ 2829 h 10000"/>
                  <a:gd name="connsiteX869" fmla="*/ 7995 w 10785"/>
                  <a:gd name="connsiteY869" fmla="*/ 2821 h 10000"/>
                  <a:gd name="connsiteX870" fmla="*/ 7972 w 10785"/>
                  <a:gd name="connsiteY870" fmla="*/ 2803 h 10000"/>
                  <a:gd name="connsiteX871" fmla="*/ 7968 w 10785"/>
                  <a:gd name="connsiteY871" fmla="*/ 2821 h 10000"/>
                  <a:gd name="connsiteX872" fmla="*/ 7968 w 10785"/>
                  <a:gd name="connsiteY872" fmla="*/ 2803 h 10000"/>
                  <a:gd name="connsiteX873" fmla="*/ 7995 w 10785"/>
                  <a:gd name="connsiteY873" fmla="*/ 2735 h 10000"/>
                  <a:gd name="connsiteX874" fmla="*/ 8000 w 10785"/>
                  <a:gd name="connsiteY874" fmla="*/ 2735 h 10000"/>
                  <a:gd name="connsiteX875" fmla="*/ 8014 w 10785"/>
                  <a:gd name="connsiteY875" fmla="*/ 2744 h 10000"/>
                  <a:gd name="connsiteX876" fmla="*/ 8023 w 10785"/>
                  <a:gd name="connsiteY876" fmla="*/ 2769 h 10000"/>
                  <a:gd name="connsiteX877" fmla="*/ 8032 w 10785"/>
                  <a:gd name="connsiteY877" fmla="*/ 2744 h 10000"/>
                  <a:gd name="connsiteX878" fmla="*/ 8032 w 10785"/>
                  <a:gd name="connsiteY878" fmla="*/ 2709 h 10000"/>
                  <a:gd name="connsiteX879" fmla="*/ 8023 w 10785"/>
                  <a:gd name="connsiteY879" fmla="*/ 2632 h 10000"/>
                  <a:gd name="connsiteX880" fmla="*/ 7986 w 10785"/>
                  <a:gd name="connsiteY880" fmla="*/ 2581 h 10000"/>
                  <a:gd name="connsiteX881" fmla="*/ 7968 w 10785"/>
                  <a:gd name="connsiteY881" fmla="*/ 2581 h 10000"/>
                  <a:gd name="connsiteX882" fmla="*/ 7963 w 10785"/>
                  <a:gd name="connsiteY882" fmla="*/ 2556 h 10000"/>
                  <a:gd name="connsiteX883" fmla="*/ 7935 w 10785"/>
                  <a:gd name="connsiteY883" fmla="*/ 2547 h 10000"/>
                  <a:gd name="connsiteX884" fmla="*/ 7912 w 10785"/>
                  <a:gd name="connsiteY884" fmla="*/ 2547 h 10000"/>
                  <a:gd name="connsiteX885" fmla="*/ 7912 w 10785"/>
                  <a:gd name="connsiteY885" fmla="*/ 2556 h 10000"/>
                  <a:gd name="connsiteX886" fmla="*/ 7908 w 10785"/>
                  <a:gd name="connsiteY886" fmla="*/ 2547 h 10000"/>
                  <a:gd name="connsiteX887" fmla="*/ 7862 w 10785"/>
                  <a:gd name="connsiteY887" fmla="*/ 2547 h 10000"/>
                  <a:gd name="connsiteX888" fmla="*/ 7848 w 10785"/>
                  <a:gd name="connsiteY888" fmla="*/ 2556 h 10000"/>
                  <a:gd name="connsiteX889" fmla="*/ 7820 w 10785"/>
                  <a:gd name="connsiteY889" fmla="*/ 2547 h 10000"/>
                  <a:gd name="connsiteX890" fmla="*/ 7806 w 10785"/>
                  <a:gd name="connsiteY890" fmla="*/ 2513 h 10000"/>
                  <a:gd name="connsiteX891" fmla="*/ 7788 w 10785"/>
                  <a:gd name="connsiteY891" fmla="*/ 2513 h 10000"/>
                  <a:gd name="connsiteX892" fmla="*/ 7760 w 10785"/>
                  <a:gd name="connsiteY892" fmla="*/ 2470 h 10000"/>
                  <a:gd name="connsiteX893" fmla="*/ 7751 w 10785"/>
                  <a:gd name="connsiteY893" fmla="*/ 2470 h 10000"/>
                  <a:gd name="connsiteX894" fmla="*/ 7705 w 10785"/>
                  <a:gd name="connsiteY894" fmla="*/ 2462 h 10000"/>
                  <a:gd name="connsiteX895" fmla="*/ 7673 w 10785"/>
                  <a:gd name="connsiteY895" fmla="*/ 2419 h 10000"/>
                  <a:gd name="connsiteX896" fmla="*/ 7627 w 10785"/>
                  <a:gd name="connsiteY896" fmla="*/ 2419 h 10000"/>
                  <a:gd name="connsiteX897" fmla="*/ 7613 w 10785"/>
                  <a:gd name="connsiteY897" fmla="*/ 2410 h 10000"/>
                  <a:gd name="connsiteX898" fmla="*/ 7493 w 10785"/>
                  <a:gd name="connsiteY898" fmla="*/ 2393 h 10000"/>
                  <a:gd name="connsiteX899" fmla="*/ 7479 w 10785"/>
                  <a:gd name="connsiteY899" fmla="*/ 2385 h 10000"/>
                  <a:gd name="connsiteX900" fmla="*/ 7479 w 10785"/>
                  <a:gd name="connsiteY900" fmla="*/ 2376 h 10000"/>
                  <a:gd name="connsiteX901" fmla="*/ 7465 w 10785"/>
                  <a:gd name="connsiteY901" fmla="*/ 2359 h 10000"/>
                  <a:gd name="connsiteX902" fmla="*/ 7447 w 10785"/>
                  <a:gd name="connsiteY902" fmla="*/ 2350 h 10000"/>
                  <a:gd name="connsiteX903" fmla="*/ 7433 w 10785"/>
                  <a:gd name="connsiteY903" fmla="*/ 2376 h 10000"/>
                  <a:gd name="connsiteX904" fmla="*/ 7433 w 10785"/>
                  <a:gd name="connsiteY904" fmla="*/ 2385 h 10000"/>
                  <a:gd name="connsiteX905" fmla="*/ 7447 w 10785"/>
                  <a:gd name="connsiteY905" fmla="*/ 2410 h 10000"/>
                  <a:gd name="connsiteX906" fmla="*/ 7447 w 10785"/>
                  <a:gd name="connsiteY906" fmla="*/ 2436 h 10000"/>
                  <a:gd name="connsiteX907" fmla="*/ 7452 w 10785"/>
                  <a:gd name="connsiteY907" fmla="*/ 2462 h 10000"/>
                  <a:gd name="connsiteX908" fmla="*/ 7447 w 10785"/>
                  <a:gd name="connsiteY908" fmla="*/ 2470 h 10000"/>
                  <a:gd name="connsiteX909" fmla="*/ 7424 w 10785"/>
                  <a:gd name="connsiteY909" fmla="*/ 2513 h 10000"/>
                  <a:gd name="connsiteX910" fmla="*/ 7419 w 10785"/>
                  <a:gd name="connsiteY910" fmla="*/ 2556 h 10000"/>
                  <a:gd name="connsiteX911" fmla="*/ 7406 w 10785"/>
                  <a:gd name="connsiteY911" fmla="*/ 2624 h 10000"/>
                  <a:gd name="connsiteX912" fmla="*/ 7392 w 10785"/>
                  <a:gd name="connsiteY912" fmla="*/ 2624 h 10000"/>
                  <a:gd name="connsiteX913" fmla="*/ 7373 w 10785"/>
                  <a:gd name="connsiteY913" fmla="*/ 2650 h 10000"/>
                  <a:gd name="connsiteX914" fmla="*/ 7364 w 10785"/>
                  <a:gd name="connsiteY914" fmla="*/ 2684 h 10000"/>
                  <a:gd name="connsiteX915" fmla="*/ 7364 w 10785"/>
                  <a:gd name="connsiteY915" fmla="*/ 2692 h 10000"/>
                  <a:gd name="connsiteX916" fmla="*/ 7373 w 10785"/>
                  <a:gd name="connsiteY916" fmla="*/ 2718 h 10000"/>
                  <a:gd name="connsiteX917" fmla="*/ 7373 w 10785"/>
                  <a:gd name="connsiteY917" fmla="*/ 2744 h 10000"/>
                  <a:gd name="connsiteX918" fmla="*/ 7359 w 10785"/>
                  <a:gd name="connsiteY918" fmla="*/ 2744 h 10000"/>
                  <a:gd name="connsiteX919" fmla="*/ 7359 w 10785"/>
                  <a:gd name="connsiteY919" fmla="*/ 2795 h 10000"/>
                  <a:gd name="connsiteX920" fmla="*/ 7364 w 10785"/>
                  <a:gd name="connsiteY920" fmla="*/ 2821 h 10000"/>
                  <a:gd name="connsiteX921" fmla="*/ 7378 w 10785"/>
                  <a:gd name="connsiteY921" fmla="*/ 2846 h 10000"/>
                  <a:gd name="connsiteX922" fmla="*/ 7378 w 10785"/>
                  <a:gd name="connsiteY922" fmla="*/ 2855 h 10000"/>
                  <a:gd name="connsiteX923" fmla="*/ 7378 w 10785"/>
                  <a:gd name="connsiteY923" fmla="*/ 2880 h 10000"/>
                  <a:gd name="connsiteX924" fmla="*/ 7378 w 10785"/>
                  <a:gd name="connsiteY924" fmla="*/ 2906 h 10000"/>
                  <a:gd name="connsiteX925" fmla="*/ 7364 w 10785"/>
                  <a:gd name="connsiteY925" fmla="*/ 2906 h 10000"/>
                  <a:gd name="connsiteX926" fmla="*/ 7346 w 10785"/>
                  <a:gd name="connsiteY926" fmla="*/ 2880 h 10000"/>
                  <a:gd name="connsiteX927" fmla="*/ 7332 w 10785"/>
                  <a:gd name="connsiteY927" fmla="*/ 2915 h 10000"/>
                  <a:gd name="connsiteX928" fmla="*/ 7318 w 10785"/>
                  <a:gd name="connsiteY928" fmla="*/ 2906 h 10000"/>
                  <a:gd name="connsiteX929" fmla="*/ 7313 w 10785"/>
                  <a:gd name="connsiteY929" fmla="*/ 2915 h 10000"/>
                  <a:gd name="connsiteX930" fmla="*/ 7313 w 10785"/>
                  <a:gd name="connsiteY930" fmla="*/ 2906 h 10000"/>
                  <a:gd name="connsiteX931" fmla="*/ 7286 w 10785"/>
                  <a:gd name="connsiteY931" fmla="*/ 2940 h 10000"/>
                  <a:gd name="connsiteX932" fmla="*/ 7276 w 10785"/>
                  <a:gd name="connsiteY932" fmla="*/ 2966 h 10000"/>
                  <a:gd name="connsiteX933" fmla="*/ 7272 w 10785"/>
                  <a:gd name="connsiteY933" fmla="*/ 2983 h 10000"/>
                  <a:gd name="connsiteX934" fmla="*/ 7267 w 10785"/>
                  <a:gd name="connsiteY934" fmla="*/ 3009 h 10000"/>
                  <a:gd name="connsiteX935" fmla="*/ 7253 w 10785"/>
                  <a:gd name="connsiteY935" fmla="*/ 3009 h 10000"/>
                  <a:gd name="connsiteX936" fmla="*/ 7244 w 10785"/>
                  <a:gd name="connsiteY936" fmla="*/ 3017 h 10000"/>
                  <a:gd name="connsiteX937" fmla="*/ 7240 w 10785"/>
                  <a:gd name="connsiteY937" fmla="*/ 3009 h 10000"/>
                  <a:gd name="connsiteX938" fmla="*/ 7230 w 10785"/>
                  <a:gd name="connsiteY938" fmla="*/ 2991 h 10000"/>
                  <a:gd name="connsiteX939" fmla="*/ 7226 w 10785"/>
                  <a:gd name="connsiteY939" fmla="*/ 2983 h 10000"/>
                  <a:gd name="connsiteX940" fmla="*/ 7226 w 10785"/>
                  <a:gd name="connsiteY940" fmla="*/ 2966 h 10000"/>
                  <a:gd name="connsiteX941" fmla="*/ 7212 w 10785"/>
                  <a:gd name="connsiteY941" fmla="*/ 2957 h 10000"/>
                  <a:gd name="connsiteX942" fmla="*/ 7212 w 10785"/>
                  <a:gd name="connsiteY942" fmla="*/ 2932 h 10000"/>
                  <a:gd name="connsiteX943" fmla="*/ 7198 w 10785"/>
                  <a:gd name="connsiteY943" fmla="*/ 2915 h 10000"/>
                  <a:gd name="connsiteX944" fmla="*/ 7194 w 10785"/>
                  <a:gd name="connsiteY944" fmla="*/ 2915 h 10000"/>
                  <a:gd name="connsiteX945" fmla="*/ 7157 w 10785"/>
                  <a:gd name="connsiteY945" fmla="*/ 2880 h 10000"/>
                  <a:gd name="connsiteX946" fmla="*/ 7138 w 10785"/>
                  <a:gd name="connsiteY946" fmla="*/ 2880 h 10000"/>
                  <a:gd name="connsiteX947" fmla="*/ 7120 w 10785"/>
                  <a:gd name="connsiteY947" fmla="*/ 2872 h 10000"/>
                  <a:gd name="connsiteX948" fmla="*/ 7111 w 10785"/>
                  <a:gd name="connsiteY948" fmla="*/ 2846 h 10000"/>
                  <a:gd name="connsiteX949" fmla="*/ 7106 w 10785"/>
                  <a:gd name="connsiteY949" fmla="*/ 2846 h 10000"/>
                  <a:gd name="connsiteX950" fmla="*/ 7092 w 10785"/>
                  <a:gd name="connsiteY950" fmla="*/ 2829 h 10000"/>
                  <a:gd name="connsiteX951" fmla="*/ 7051 w 10785"/>
                  <a:gd name="connsiteY951" fmla="*/ 2829 h 10000"/>
                  <a:gd name="connsiteX952" fmla="*/ 7037 w 10785"/>
                  <a:gd name="connsiteY952" fmla="*/ 2880 h 10000"/>
                  <a:gd name="connsiteX953" fmla="*/ 7037 w 10785"/>
                  <a:gd name="connsiteY953" fmla="*/ 2906 h 10000"/>
                  <a:gd name="connsiteX954" fmla="*/ 7037 w 10785"/>
                  <a:gd name="connsiteY954" fmla="*/ 2932 h 10000"/>
                  <a:gd name="connsiteX955" fmla="*/ 7037 w 10785"/>
                  <a:gd name="connsiteY955" fmla="*/ 2940 h 10000"/>
                  <a:gd name="connsiteX956" fmla="*/ 7023 w 10785"/>
                  <a:gd name="connsiteY956" fmla="*/ 2906 h 10000"/>
                  <a:gd name="connsiteX957" fmla="*/ 7023 w 10785"/>
                  <a:gd name="connsiteY957" fmla="*/ 2915 h 10000"/>
                  <a:gd name="connsiteX958" fmla="*/ 6991 w 10785"/>
                  <a:gd name="connsiteY958" fmla="*/ 2906 h 10000"/>
                  <a:gd name="connsiteX959" fmla="*/ 6977 w 10785"/>
                  <a:gd name="connsiteY959" fmla="*/ 2915 h 10000"/>
                  <a:gd name="connsiteX960" fmla="*/ 6963 w 10785"/>
                  <a:gd name="connsiteY960" fmla="*/ 2915 h 10000"/>
                  <a:gd name="connsiteX961" fmla="*/ 6949 w 10785"/>
                  <a:gd name="connsiteY961" fmla="*/ 2872 h 10000"/>
                  <a:gd name="connsiteX962" fmla="*/ 6935 w 10785"/>
                  <a:gd name="connsiteY962" fmla="*/ 2855 h 10000"/>
                  <a:gd name="connsiteX963" fmla="*/ 6922 w 10785"/>
                  <a:gd name="connsiteY963" fmla="*/ 2803 h 10000"/>
                  <a:gd name="connsiteX964" fmla="*/ 6917 w 10785"/>
                  <a:gd name="connsiteY964" fmla="*/ 2786 h 10000"/>
                  <a:gd name="connsiteX965" fmla="*/ 6903 w 10785"/>
                  <a:gd name="connsiteY965" fmla="*/ 2709 h 10000"/>
                  <a:gd name="connsiteX966" fmla="*/ 6903 w 10785"/>
                  <a:gd name="connsiteY966" fmla="*/ 2692 h 10000"/>
                  <a:gd name="connsiteX967" fmla="*/ 6899 w 10785"/>
                  <a:gd name="connsiteY967" fmla="*/ 2709 h 10000"/>
                  <a:gd name="connsiteX968" fmla="*/ 6857 w 10785"/>
                  <a:gd name="connsiteY968" fmla="*/ 2872 h 10000"/>
                  <a:gd name="connsiteX969" fmla="*/ 6857 w 10785"/>
                  <a:gd name="connsiteY969" fmla="*/ 3009 h 10000"/>
                  <a:gd name="connsiteX970" fmla="*/ 6848 w 10785"/>
                  <a:gd name="connsiteY970" fmla="*/ 3017 h 10000"/>
                  <a:gd name="connsiteX971" fmla="*/ 6839 w 10785"/>
                  <a:gd name="connsiteY971" fmla="*/ 3068 h 10000"/>
                  <a:gd name="connsiteX972" fmla="*/ 6829 w 10785"/>
                  <a:gd name="connsiteY972" fmla="*/ 3077 h 10000"/>
                  <a:gd name="connsiteX973" fmla="*/ 6829 w 10785"/>
                  <a:gd name="connsiteY973" fmla="*/ 3128 h 10000"/>
                  <a:gd name="connsiteX974" fmla="*/ 6816 w 10785"/>
                  <a:gd name="connsiteY974" fmla="*/ 3154 h 10000"/>
                  <a:gd name="connsiteX975" fmla="*/ 6811 w 10785"/>
                  <a:gd name="connsiteY975" fmla="*/ 3179 h 10000"/>
                  <a:gd name="connsiteX976" fmla="*/ 6797 w 10785"/>
                  <a:gd name="connsiteY976" fmla="*/ 3171 h 10000"/>
                  <a:gd name="connsiteX977" fmla="*/ 6783 w 10785"/>
                  <a:gd name="connsiteY977" fmla="*/ 3103 h 10000"/>
                  <a:gd name="connsiteX978" fmla="*/ 6779 w 10785"/>
                  <a:gd name="connsiteY978" fmla="*/ 3094 h 10000"/>
                  <a:gd name="connsiteX979" fmla="*/ 6779 w 10785"/>
                  <a:gd name="connsiteY979" fmla="*/ 3120 h 10000"/>
                  <a:gd name="connsiteX980" fmla="*/ 6770 w 10785"/>
                  <a:gd name="connsiteY980" fmla="*/ 3128 h 10000"/>
                  <a:gd name="connsiteX981" fmla="*/ 6765 w 10785"/>
                  <a:gd name="connsiteY981" fmla="*/ 3103 h 10000"/>
                  <a:gd name="connsiteX982" fmla="*/ 6756 w 10785"/>
                  <a:gd name="connsiteY982" fmla="*/ 3103 h 10000"/>
                  <a:gd name="connsiteX983" fmla="*/ 6742 w 10785"/>
                  <a:gd name="connsiteY983" fmla="*/ 3103 h 10000"/>
                  <a:gd name="connsiteX984" fmla="*/ 6737 w 10785"/>
                  <a:gd name="connsiteY984" fmla="*/ 3077 h 10000"/>
                  <a:gd name="connsiteX985" fmla="*/ 6737 w 10785"/>
                  <a:gd name="connsiteY985" fmla="*/ 3068 h 10000"/>
                  <a:gd name="connsiteX986" fmla="*/ 6728 w 10785"/>
                  <a:gd name="connsiteY986" fmla="*/ 3043 h 10000"/>
                  <a:gd name="connsiteX987" fmla="*/ 6724 w 10785"/>
                  <a:gd name="connsiteY987" fmla="*/ 3051 h 10000"/>
                  <a:gd name="connsiteX988" fmla="*/ 6714 w 10785"/>
                  <a:gd name="connsiteY988" fmla="*/ 3043 h 10000"/>
                  <a:gd name="connsiteX989" fmla="*/ 6710 w 10785"/>
                  <a:gd name="connsiteY989" fmla="*/ 3034 h 10000"/>
                  <a:gd name="connsiteX990" fmla="*/ 6705 w 10785"/>
                  <a:gd name="connsiteY990" fmla="*/ 2983 h 10000"/>
                  <a:gd name="connsiteX991" fmla="*/ 6696 w 10785"/>
                  <a:gd name="connsiteY991" fmla="*/ 2966 h 10000"/>
                  <a:gd name="connsiteX992" fmla="*/ 6691 w 10785"/>
                  <a:gd name="connsiteY992" fmla="*/ 2983 h 10000"/>
                  <a:gd name="connsiteX993" fmla="*/ 6677 w 10785"/>
                  <a:gd name="connsiteY993" fmla="*/ 2897 h 10000"/>
                  <a:gd name="connsiteX994" fmla="*/ 6677 w 10785"/>
                  <a:gd name="connsiteY994" fmla="*/ 2897 h 10000"/>
                  <a:gd name="connsiteX995" fmla="*/ 6677 w 10785"/>
                  <a:gd name="connsiteY995" fmla="*/ 2872 h 10000"/>
                  <a:gd name="connsiteX996" fmla="*/ 6668 w 10785"/>
                  <a:gd name="connsiteY996" fmla="*/ 2821 h 10000"/>
                  <a:gd name="connsiteX997" fmla="*/ 6664 w 10785"/>
                  <a:gd name="connsiteY997" fmla="*/ 2829 h 10000"/>
                  <a:gd name="connsiteX998" fmla="*/ 6654 w 10785"/>
                  <a:gd name="connsiteY998" fmla="*/ 2846 h 10000"/>
                  <a:gd name="connsiteX999" fmla="*/ 6650 w 10785"/>
                  <a:gd name="connsiteY999" fmla="*/ 2829 h 10000"/>
                  <a:gd name="connsiteX1000" fmla="*/ 6650 w 10785"/>
                  <a:gd name="connsiteY1000" fmla="*/ 2803 h 10000"/>
                  <a:gd name="connsiteX1001" fmla="*/ 6650 w 10785"/>
                  <a:gd name="connsiteY1001" fmla="*/ 2795 h 10000"/>
                  <a:gd name="connsiteX1002" fmla="*/ 6641 w 10785"/>
                  <a:gd name="connsiteY1002" fmla="*/ 2786 h 10000"/>
                  <a:gd name="connsiteX1003" fmla="*/ 6636 w 10785"/>
                  <a:gd name="connsiteY1003" fmla="*/ 2735 h 10000"/>
                  <a:gd name="connsiteX1004" fmla="*/ 6664 w 10785"/>
                  <a:gd name="connsiteY1004" fmla="*/ 2667 h 10000"/>
                  <a:gd name="connsiteX1005" fmla="*/ 6668 w 10785"/>
                  <a:gd name="connsiteY1005" fmla="*/ 2684 h 10000"/>
                  <a:gd name="connsiteX1006" fmla="*/ 6677 w 10785"/>
                  <a:gd name="connsiteY1006" fmla="*/ 2667 h 10000"/>
                  <a:gd name="connsiteX1007" fmla="*/ 6668 w 10785"/>
                  <a:gd name="connsiteY1007" fmla="*/ 2667 h 10000"/>
                  <a:gd name="connsiteX1008" fmla="*/ 6668 w 10785"/>
                  <a:gd name="connsiteY1008" fmla="*/ 2650 h 10000"/>
                  <a:gd name="connsiteX1009" fmla="*/ 6682 w 10785"/>
                  <a:gd name="connsiteY1009" fmla="*/ 2650 h 10000"/>
                  <a:gd name="connsiteX1010" fmla="*/ 6691 w 10785"/>
                  <a:gd name="connsiteY1010" fmla="*/ 2624 h 10000"/>
                  <a:gd name="connsiteX1011" fmla="*/ 6682 w 10785"/>
                  <a:gd name="connsiteY1011" fmla="*/ 2632 h 10000"/>
                  <a:gd name="connsiteX1012" fmla="*/ 6682 w 10785"/>
                  <a:gd name="connsiteY1012" fmla="*/ 2624 h 10000"/>
                  <a:gd name="connsiteX1013" fmla="*/ 6691 w 10785"/>
                  <a:gd name="connsiteY1013" fmla="*/ 2607 h 10000"/>
                  <a:gd name="connsiteX1014" fmla="*/ 6691 w 10785"/>
                  <a:gd name="connsiteY1014" fmla="*/ 2598 h 10000"/>
                  <a:gd name="connsiteX1015" fmla="*/ 6691 w 10785"/>
                  <a:gd name="connsiteY1015" fmla="*/ 2581 h 10000"/>
                  <a:gd name="connsiteX1016" fmla="*/ 6696 w 10785"/>
                  <a:gd name="connsiteY1016" fmla="*/ 2530 h 10000"/>
                  <a:gd name="connsiteX1017" fmla="*/ 6677 w 10785"/>
                  <a:gd name="connsiteY1017" fmla="*/ 2513 h 10000"/>
                  <a:gd name="connsiteX1018" fmla="*/ 6677 w 10785"/>
                  <a:gd name="connsiteY1018" fmla="*/ 2496 h 10000"/>
                  <a:gd name="connsiteX1019" fmla="*/ 6682 w 10785"/>
                  <a:gd name="connsiteY1019" fmla="*/ 2470 h 10000"/>
                  <a:gd name="connsiteX1020" fmla="*/ 6668 w 10785"/>
                  <a:gd name="connsiteY1020" fmla="*/ 2462 h 10000"/>
                  <a:gd name="connsiteX1021" fmla="*/ 6677 w 10785"/>
                  <a:gd name="connsiteY1021" fmla="*/ 2436 h 10000"/>
                  <a:gd name="connsiteX1022" fmla="*/ 6682 w 10785"/>
                  <a:gd name="connsiteY1022" fmla="*/ 2419 h 10000"/>
                  <a:gd name="connsiteX1023" fmla="*/ 6682 w 10785"/>
                  <a:gd name="connsiteY1023" fmla="*/ 2393 h 10000"/>
                  <a:gd name="connsiteX1024" fmla="*/ 6682 w 10785"/>
                  <a:gd name="connsiteY1024" fmla="*/ 2385 h 10000"/>
                  <a:gd name="connsiteX1025" fmla="*/ 6682 w 10785"/>
                  <a:gd name="connsiteY1025" fmla="*/ 2385 h 10000"/>
                  <a:gd name="connsiteX1026" fmla="*/ 6677 w 10785"/>
                  <a:gd name="connsiteY1026" fmla="*/ 2376 h 10000"/>
                  <a:gd name="connsiteX1027" fmla="*/ 6682 w 10785"/>
                  <a:gd name="connsiteY1027" fmla="*/ 2359 h 10000"/>
                  <a:gd name="connsiteX1028" fmla="*/ 6677 w 10785"/>
                  <a:gd name="connsiteY1028" fmla="*/ 2333 h 10000"/>
                  <a:gd name="connsiteX1029" fmla="*/ 6691 w 10785"/>
                  <a:gd name="connsiteY1029" fmla="*/ 2333 h 10000"/>
                  <a:gd name="connsiteX1030" fmla="*/ 6691 w 10785"/>
                  <a:gd name="connsiteY1030" fmla="*/ 2325 h 10000"/>
                  <a:gd name="connsiteX1031" fmla="*/ 6691 w 10785"/>
                  <a:gd name="connsiteY1031" fmla="*/ 2308 h 10000"/>
                  <a:gd name="connsiteX1032" fmla="*/ 6691 w 10785"/>
                  <a:gd name="connsiteY1032" fmla="*/ 2299 h 10000"/>
                  <a:gd name="connsiteX1033" fmla="*/ 6691 w 10785"/>
                  <a:gd name="connsiteY1033" fmla="*/ 2282 h 10000"/>
                  <a:gd name="connsiteX1034" fmla="*/ 6691 w 10785"/>
                  <a:gd name="connsiteY1034" fmla="*/ 2274 h 10000"/>
                  <a:gd name="connsiteX1035" fmla="*/ 6668 w 10785"/>
                  <a:gd name="connsiteY1035" fmla="*/ 2248 h 10000"/>
                  <a:gd name="connsiteX1036" fmla="*/ 6664 w 10785"/>
                  <a:gd name="connsiteY1036" fmla="*/ 2222 h 10000"/>
                  <a:gd name="connsiteX1037" fmla="*/ 6654 w 10785"/>
                  <a:gd name="connsiteY1037" fmla="*/ 2214 h 10000"/>
                  <a:gd name="connsiteX1038" fmla="*/ 6654 w 10785"/>
                  <a:gd name="connsiteY1038" fmla="*/ 2188 h 10000"/>
                  <a:gd name="connsiteX1039" fmla="*/ 6622 w 10785"/>
                  <a:gd name="connsiteY1039" fmla="*/ 2162 h 10000"/>
                  <a:gd name="connsiteX1040" fmla="*/ 6631 w 10785"/>
                  <a:gd name="connsiteY1040" fmla="*/ 2145 h 10000"/>
                  <a:gd name="connsiteX1041" fmla="*/ 6622 w 10785"/>
                  <a:gd name="connsiteY1041" fmla="*/ 2120 h 10000"/>
                  <a:gd name="connsiteX1042" fmla="*/ 6608 w 10785"/>
                  <a:gd name="connsiteY1042" fmla="*/ 2120 h 10000"/>
                  <a:gd name="connsiteX1043" fmla="*/ 6604 w 10785"/>
                  <a:gd name="connsiteY1043" fmla="*/ 2111 h 10000"/>
                  <a:gd name="connsiteX1044" fmla="*/ 6608 w 10785"/>
                  <a:gd name="connsiteY1044" fmla="*/ 2111 h 10000"/>
                  <a:gd name="connsiteX1045" fmla="*/ 6604 w 10785"/>
                  <a:gd name="connsiteY1045" fmla="*/ 2085 h 10000"/>
                  <a:gd name="connsiteX1046" fmla="*/ 6581 w 10785"/>
                  <a:gd name="connsiteY1046" fmla="*/ 2077 h 10000"/>
                  <a:gd name="connsiteX1047" fmla="*/ 6571 w 10785"/>
                  <a:gd name="connsiteY1047" fmla="*/ 2085 h 10000"/>
                  <a:gd name="connsiteX1048" fmla="*/ 6548 w 10785"/>
                  <a:gd name="connsiteY1048" fmla="*/ 2077 h 10000"/>
                  <a:gd name="connsiteX1049" fmla="*/ 6530 w 10785"/>
                  <a:gd name="connsiteY1049" fmla="*/ 2060 h 10000"/>
                  <a:gd name="connsiteX1050" fmla="*/ 6521 w 10785"/>
                  <a:gd name="connsiteY1050" fmla="*/ 2060 h 10000"/>
                  <a:gd name="connsiteX1051" fmla="*/ 6521 w 10785"/>
                  <a:gd name="connsiteY1051" fmla="*/ 2085 h 10000"/>
                  <a:gd name="connsiteX1052" fmla="*/ 6516 w 10785"/>
                  <a:gd name="connsiteY1052" fmla="*/ 2085 h 10000"/>
                  <a:gd name="connsiteX1053" fmla="*/ 6502 w 10785"/>
                  <a:gd name="connsiteY1053" fmla="*/ 2111 h 10000"/>
                  <a:gd name="connsiteX1054" fmla="*/ 6498 w 10785"/>
                  <a:gd name="connsiteY1054" fmla="*/ 2111 h 10000"/>
                  <a:gd name="connsiteX1055" fmla="*/ 6498 w 10785"/>
                  <a:gd name="connsiteY1055" fmla="*/ 2103 h 10000"/>
                  <a:gd name="connsiteX1056" fmla="*/ 6475 w 10785"/>
                  <a:gd name="connsiteY1056" fmla="*/ 2051 h 10000"/>
                  <a:gd name="connsiteX1057" fmla="*/ 6470 w 10785"/>
                  <a:gd name="connsiteY1057" fmla="*/ 2060 h 10000"/>
                  <a:gd name="connsiteX1058" fmla="*/ 6456 w 10785"/>
                  <a:gd name="connsiteY1058" fmla="*/ 2051 h 10000"/>
                  <a:gd name="connsiteX1059" fmla="*/ 6447 w 10785"/>
                  <a:gd name="connsiteY1059" fmla="*/ 2051 h 10000"/>
                  <a:gd name="connsiteX1060" fmla="*/ 6433 w 10785"/>
                  <a:gd name="connsiteY1060" fmla="*/ 2026 h 10000"/>
                  <a:gd name="connsiteX1061" fmla="*/ 6433 w 10785"/>
                  <a:gd name="connsiteY1061" fmla="*/ 2034 h 10000"/>
                  <a:gd name="connsiteX1062" fmla="*/ 6429 w 10785"/>
                  <a:gd name="connsiteY1062" fmla="*/ 2026 h 10000"/>
                  <a:gd name="connsiteX1063" fmla="*/ 6424 w 10785"/>
                  <a:gd name="connsiteY1063" fmla="*/ 2034 h 10000"/>
                  <a:gd name="connsiteX1064" fmla="*/ 6410 w 10785"/>
                  <a:gd name="connsiteY1064" fmla="*/ 2026 h 10000"/>
                  <a:gd name="connsiteX1065" fmla="*/ 6410 w 10785"/>
                  <a:gd name="connsiteY1065" fmla="*/ 1991 h 10000"/>
                  <a:gd name="connsiteX1066" fmla="*/ 6401 w 10785"/>
                  <a:gd name="connsiteY1066" fmla="*/ 1991 h 10000"/>
                  <a:gd name="connsiteX1067" fmla="*/ 6396 w 10785"/>
                  <a:gd name="connsiteY1067" fmla="*/ 2000 h 10000"/>
                  <a:gd name="connsiteX1068" fmla="*/ 6382 w 10785"/>
                  <a:gd name="connsiteY1068" fmla="*/ 1966 h 10000"/>
                  <a:gd name="connsiteX1069" fmla="*/ 6373 w 10785"/>
                  <a:gd name="connsiteY1069" fmla="*/ 1974 h 10000"/>
                  <a:gd name="connsiteX1070" fmla="*/ 6369 w 10785"/>
                  <a:gd name="connsiteY1070" fmla="*/ 1966 h 10000"/>
                  <a:gd name="connsiteX1071" fmla="*/ 6341 w 10785"/>
                  <a:gd name="connsiteY1071" fmla="*/ 1949 h 10000"/>
                  <a:gd name="connsiteX1072" fmla="*/ 6327 w 10785"/>
                  <a:gd name="connsiteY1072" fmla="*/ 1923 h 10000"/>
                  <a:gd name="connsiteX1073" fmla="*/ 6323 w 10785"/>
                  <a:gd name="connsiteY1073" fmla="*/ 1923 h 10000"/>
                  <a:gd name="connsiteX1074" fmla="*/ 6323 w 10785"/>
                  <a:gd name="connsiteY1074" fmla="*/ 1966 h 10000"/>
                  <a:gd name="connsiteX1075" fmla="*/ 6323 w 10785"/>
                  <a:gd name="connsiteY1075" fmla="*/ 1991 h 10000"/>
                  <a:gd name="connsiteX1076" fmla="*/ 6313 w 10785"/>
                  <a:gd name="connsiteY1076" fmla="*/ 1991 h 10000"/>
                  <a:gd name="connsiteX1077" fmla="*/ 6300 w 10785"/>
                  <a:gd name="connsiteY1077" fmla="*/ 1991 h 10000"/>
                  <a:gd name="connsiteX1078" fmla="*/ 6290 w 10785"/>
                  <a:gd name="connsiteY1078" fmla="*/ 1949 h 10000"/>
                  <a:gd name="connsiteX1079" fmla="*/ 6276 w 10785"/>
                  <a:gd name="connsiteY1079" fmla="*/ 2103 h 10000"/>
                  <a:gd name="connsiteX1080" fmla="*/ 6281 w 10785"/>
                  <a:gd name="connsiteY1080" fmla="*/ 2103 h 10000"/>
                  <a:gd name="connsiteX1081" fmla="*/ 6276 w 10785"/>
                  <a:gd name="connsiteY1081" fmla="*/ 2111 h 10000"/>
                  <a:gd name="connsiteX1082" fmla="*/ 6276 w 10785"/>
                  <a:gd name="connsiteY1082" fmla="*/ 2120 h 10000"/>
                  <a:gd name="connsiteX1083" fmla="*/ 6295 w 10785"/>
                  <a:gd name="connsiteY1083" fmla="*/ 2239 h 10000"/>
                  <a:gd name="connsiteX1084" fmla="*/ 6290 w 10785"/>
                  <a:gd name="connsiteY1084" fmla="*/ 2248 h 10000"/>
                  <a:gd name="connsiteX1085" fmla="*/ 6281 w 10785"/>
                  <a:gd name="connsiteY1085" fmla="*/ 2274 h 10000"/>
                  <a:gd name="connsiteX1086" fmla="*/ 6249 w 10785"/>
                  <a:gd name="connsiteY1086" fmla="*/ 2274 h 10000"/>
                  <a:gd name="connsiteX1087" fmla="*/ 6226 w 10785"/>
                  <a:gd name="connsiteY1087" fmla="*/ 2308 h 10000"/>
                  <a:gd name="connsiteX1088" fmla="*/ 6221 w 10785"/>
                  <a:gd name="connsiteY1088" fmla="*/ 2299 h 10000"/>
                  <a:gd name="connsiteX1089" fmla="*/ 6221 w 10785"/>
                  <a:gd name="connsiteY1089" fmla="*/ 2308 h 10000"/>
                  <a:gd name="connsiteX1090" fmla="*/ 6217 w 10785"/>
                  <a:gd name="connsiteY1090" fmla="*/ 2299 h 10000"/>
                  <a:gd name="connsiteX1091" fmla="*/ 6194 w 10785"/>
                  <a:gd name="connsiteY1091" fmla="*/ 2308 h 10000"/>
                  <a:gd name="connsiteX1092" fmla="*/ 6180 w 10785"/>
                  <a:gd name="connsiteY1092" fmla="*/ 2299 h 10000"/>
                  <a:gd name="connsiteX1093" fmla="*/ 6143 w 10785"/>
                  <a:gd name="connsiteY1093" fmla="*/ 2308 h 10000"/>
                  <a:gd name="connsiteX1094" fmla="*/ 6134 w 10785"/>
                  <a:gd name="connsiteY1094" fmla="*/ 2325 h 10000"/>
                  <a:gd name="connsiteX1095" fmla="*/ 6115 w 10785"/>
                  <a:gd name="connsiteY1095" fmla="*/ 2282 h 10000"/>
                  <a:gd name="connsiteX1096" fmla="*/ 6069 w 10785"/>
                  <a:gd name="connsiteY1096" fmla="*/ 2274 h 10000"/>
                  <a:gd name="connsiteX1097" fmla="*/ 6069 w 10785"/>
                  <a:gd name="connsiteY1097" fmla="*/ 2282 h 10000"/>
                  <a:gd name="connsiteX1098" fmla="*/ 6060 w 10785"/>
                  <a:gd name="connsiteY1098" fmla="*/ 2299 h 10000"/>
                  <a:gd name="connsiteX1099" fmla="*/ 5972 w 10785"/>
                  <a:gd name="connsiteY1099" fmla="*/ 2214 h 10000"/>
                  <a:gd name="connsiteX1100" fmla="*/ 5968 w 10785"/>
                  <a:gd name="connsiteY1100" fmla="*/ 2197 h 10000"/>
                  <a:gd name="connsiteX1101" fmla="*/ 5968 w 10785"/>
                  <a:gd name="connsiteY1101" fmla="*/ 2171 h 10000"/>
                  <a:gd name="connsiteX1102" fmla="*/ 5968 w 10785"/>
                  <a:gd name="connsiteY1102" fmla="*/ 2162 h 10000"/>
                  <a:gd name="connsiteX1103" fmla="*/ 5968 w 10785"/>
                  <a:gd name="connsiteY1103" fmla="*/ 2120 h 10000"/>
                  <a:gd name="connsiteX1104" fmla="*/ 5968 w 10785"/>
                  <a:gd name="connsiteY1104" fmla="*/ 2111 h 10000"/>
                  <a:gd name="connsiteX1105" fmla="*/ 5972 w 10785"/>
                  <a:gd name="connsiteY1105" fmla="*/ 2103 h 10000"/>
                  <a:gd name="connsiteX1106" fmla="*/ 5986 w 10785"/>
                  <a:gd name="connsiteY1106" fmla="*/ 2103 h 10000"/>
                  <a:gd name="connsiteX1107" fmla="*/ 5986 w 10785"/>
                  <a:gd name="connsiteY1107" fmla="*/ 2085 h 10000"/>
                  <a:gd name="connsiteX1108" fmla="*/ 5995 w 10785"/>
                  <a:gd name="connsiteY1108" fmla="*/ 2085 h 10000"/>
                  <a:gd name="connsiteX1109" fmla="*/ 5995 w 10785"/>
                  <a:gd name="connsiteY1109" fmla="*/ 2077 h 10000"/>
                  <a:gd name="connsiteX1110" fmla="*/ 5986 w 10785"/>
                  <a:gd name="connsiteY1110" fmla="*/ 2060 h 10000"/>
                  <a:gd name="connsiteX1111" fmla="*/ 5954 w 10785"/>
                  <a:gd name="connsiteY1111" fmla="*/ 2060 h 10000"/>
                  <a:gd name="connsiteX1112" fmla="*/ 5940 w 10785"/>
                  <a:gd name="connsiteY1112" fmla="*/ 2051 h 10000"/>
                  <a:gd name="connsiteX1113" fmla="*/ 5922 w 10785"/>
                  <a:gd name="connsiteY1113" fmla="*/ 2060 h 10000"/>
                  <a:gd name="connsiteX1114" fmla="*/ 5885 w 10785"/>
                  <a:gd name="connsiteY1114" fmla="*/ 2051 h 10000"/>
                  <a:gd name="connsiteX1115" fmla="*/ 5876 w 10785"/>
                  <a:gd name="connsiteY1115" fmla="*/ 2026 h 10000"/>
                  <a:gd name="connsiteX1116" fmla="*/ 5862 w 10785"/>
                  <a:gd name="connsiteY1116" fmla="*/ 2026 h 10000"/>
                  <a:gd name="connsiteX1117" fmla="*/ 5848 w 10785"/>
                  <a:gd name="connsiteY1117" fmla="*/ 2026 h 10000"/>
                  <a:gd name="connsiteX1118" fmla="*/ 5825 w 10785"/>
                  <a:gd name="connsiteY1118" fmla="*/ 2026 h 10000"/>
                  <a:gd name="connsiteX1119" fmla="*/ 5788 w 10785"/>
                  <a:gd name="connsiteY1119" fmla="*/ 1991 h 10000"/>
                  <a:gd name="connsiteX1120" fmla="*/ 5760 w 10785"/>
                  <a:gd name="connsiteY1120" fmla="*/ 2000 h 10000"/>
                  <a:gd name="connsiteX1121" fmla="*/ 5760 w 10785"/>
                  <a:gd name="connsiteY1121" fmla="*/ 2026 h 10000"/>
                  <a:gd name="connsiteX1122" fmla="*/ 5714 w 10785"/>
                  <a:gd name="connsiteY1122" fmla="*/ 2051 h 10000"/>
                  <a:gd name="connsiteX1123" fmla="*/ 5687 w 10785"/>
                  <a:gd name="connsiteY1123" fmla="*/ 2034 h 10000"/>
                  <a:gd name="connsiteX1124" fmla="*/ 5645 w 10785"/>
                  <a:gd name="connsiteY1124" fmla="*/ 2077 h 10000"/>
                  <a:gd name="connsiteX1125" fmla="*/ 5664 w 10785"/>
                  <a:gd name="connsiteY1125" fmla="*/ 2120 h 10000"/>
                  <a:gd name="connsiteX1126" fmla="*/ 5664 w 10785"/>
                  <a:gd name="connsiteY1126" fmla="*/ 2162 h 10000"/>
                  <a:gd name="connsiteX1127" fmla="*/ 5631 w 10785"/>
                  <a:gd name="connsiteY1127" fmla="*/ 2197 h 10000"/>
                  <a:gd name="connsiteX1128" fmla="*/ 5618 w 10785"/>
                  <a:gd name="connsiteY1128" fmla="*/ 2188 h 10000"/>
                  <a:gd name="connsiteX1129" fmla="*/ 5618 w 10785"/>
                  <a:gd name="connsiteY1129" fmla="*/ 2171 h 10000"/>
                  <a:gd name="connsiteX1130" fmla="*/ 5641 w 10785"/>
                  <a:gd name="connsiteY1130" fmla="*/ 2171 h 10000"/>
                  <a:gd name="connsiteX1131" fmla="*/ 5641 w 10785"/>
                  <a:gd name="connsiteY1131" fmla="*/ 2162 h 10000"/>
                  <a:gd name="connsiteX1132" fmla="*/ 5627 w 10785"/>
                  <a:gd name="connsiteY1132" fmla="*/ 2145 h 10000"/>
                  <a:gd name="connsiteX1133" fmla="*/ 5627 w 10785"/>
                  <a:gd name="connsiteY1133" fmla="*/ 2120 h 10000"/>
                  <a:gd name="connsiteX1134" fmla="*/ 5618 w 10785"/>
                  <a:gd name="connsiteY1134" fmla="*/ 2111 h 10000"/>
                  <a:gd name="connsiteX1135" fmla="*/ 5631 w 10785"/>
                  <a:gd name="connsiteY1135" fmla="*/ 2051 h 10000"/>
                  <a:gd name="connsiteX1136" fmla="*/ 5631 w 10785"/>
                  <a:gd name="connsiteY1136" fmla="*/ 2026 h 10000"/>
                  <a:gd name="connsiteX1137" fmla="*/ 5627 w 10785"/>
                  <a:gd name="connsiteY1137" fmla="*/ 1991 h 10000"/>
                  <a:gd name="connsiteX1138" fmla="*/ 5618 w 10785"/>
                  <a:gd name="connsiteY1138" fmla="*/ 1974 h 10000"/>
                  <a:gd name="connsiteX1139" fmla="*/ 5618 w 10785"/>
                  <a:gd name="connsiteY1139" fmla="*/ 1940 h 10000"/>
                  <a:gd name="connsiteX1140" fmla="*/ 5594 w 10785"/>
                  <a:gd name="connsiteY1140" fmla="*/ 1855 h 10000"/>
                  <a:gd name="connsiteX1141" fmla="*/ 5599 w 10785"/>
                  <a:gd name="connsiteY1141" fmla="*/ 1915 h 10000"/>
                  <a:gd name="connsiteX1142" fmla="*/ 5599 w 10785"/>
                  <a:gd name="connsiteY1142" fmla="*/ 1949 h 10000"/>
                  <a:gd name="connsiteX1143" fmla="*/ 5594 w 10785"/>
                  <a:gd name="connsiteY1143" fmla="*/ 1991 h 10000"/>
                  <a:gd name="connsiteX1144" fmla="*/ 5571 w 10785"/>
                  <a:gd name="connsiteY1144" fmla="*/ 2000 h 10000"/>
                  <a:gd name="connsiteX1145" fmla="*/ 5530 w 10785"/>
                  <a:gd name="connsiteY1145" fmla="*/ 1991 h 10000"/>
                  <a:gd name="connsiteX1146" fmla="*/ 5525 w 10785"/>
                  <a:gd name="connsiteY1146" fmla="*/ 2000 h 10000"/>
                  <a:gd name="connsiteX1147" fmla="*/ 5521 w 10785"/>
                  <a:gd name="connsiteY1147" fmla="*/ 1991 h 10000"/>
                  <a:gd name="connsiteX1148" fmla="*/ 5498 w 10785"/>
                  <a:gd name="connsiteY1148" fmla="*/ 1949 h 10000"/>
                  <a:gd name="connsiteX1149" fmla="*/ 5493 w 10785"/>
                  <a:gd name="connsiteY1149" fmla="*/ 1889 h 10000"/>
                  <a:gd name="connsiteX1150" fmla="*/ 5493 w 10785"/>
                  <a:gd name="connsiteY1150" fmla="*/ 1863 h 10000"/>
                  <a:gd name="connsiteX1151" fmla="*/ 5498 w 10785"/>
                  <a:gd name="connsiteY1151" fmla="*/ 1889 h 10000"/>
                  <a:gd name="connsiteX1152" fmla="*/ 5512 w 10785"/>
                  <a:gd name="connsiteY1152" fmla="*/ 1855 h 10000"/>
                  <a:gd name="connsiteX1153" fmla="*/ 5512 w 10785"/>
                  <a:gd name="connsiteY1153" fmla="*/ 1838 h 10000"/>
                  <a:gd name="connsiteX1154" fmla="*/ 5479 w 10785"/>
                  <a:gd name="connsiteY1154" fmla="*/ 1855 h 10000"/>
                  <a:gd name="connsiteX1155" fmla="*/ 5470 w 10785"/>
                  <a:gd name="connsiteY1155" fmla="*/ 1872 h 10000"/>
                  <a:gd name="connsiteX1156" fmla="*/ 5470 w 10785"/>
                  <a:gd name="connsiteY1156" fmla="*/ 1889 h 10000"/>
                  <a:gd name="connsiteX1157" fmla="*/ 5465 w 10785"/>
                  <a:gd name="connsiteY1157" fmla="*/ 1897 h 10000"/>
                  <a:gd name="connsiteX1158" fmla="*/ 5456 w 10785"/>
                  <a:gd name="connsiteY1158" fmla="*/ 1872 h 10000"/>
                  <a:gd name="connsiteX1159" fmla="*/ 5447 w 10785"/>
                  <a:gd name="connsiteY1159" fmla="*/ 1872 h 10000"/>
                  <a:gd name="connsiteX1160" fmla="*/ 5433 w 10785"/>
                  <a:gd name="connsiteY1160" fmla="*/ 1855 h 10000"/>
                  <a:gd name="connsiteX1161" fmla="*/ 5396 w 10785"/>
                  <a:gd name="connsiteY1161" fmla="*/ 1863 h 10000"/>
                  <a:gd name="connsiteX1162" fmla="*/ 5396 w 10785"/>
                  <a:gd name="connsiteY1162" fmla="*/ 1897 h 10000"/>
                  <a:gd name="connsiteX1163" fmla="*/ 5378 w 10785"/>
                  <a:gd name="connsiteY1163" fmla="*/ 1949 h 10000"/>
                  <a:gd name="connsiteX1164" fmla="*/ 5378 w 10785"/>
                  <a:gd name="connsiteY1164" fmla="*/ 1966 h 10000"/>
                  <a:gd name="connsiteX1165" fmla="*/ 5392 w 10785"/>
                  <a:gd name="connsiteY1165" fmla="*/ 2026 h 10000"/>
                  <a:gd name="connsiteX1166" fmla="*/ 5396 w 10785"/>
                  <a:gd name="connsiteY1166" fmla="*/ 2026 h 10000"/>
                  <a:gd name="connsiteX1167" fmla="*/ 5392 w 10785"/>
                  <a:gd name="connsiteY1167" fmla="*/ 2009 h 10000"/>
                  <a:gd name="connsiteX1168" fmla="*/ 5392 w 10785"/>
                  <a:gd name="connsiteY1168" fmla="*/ 2000 h 10000"/>
                  <a:gd name="connsiteX1169" fmla="*/ 5396 w 10785"/>
                  <a:gd name="connsiteY1169" fmla="*/ 2009 h 10000"/>
                  <a:gd name="connsiteX1170" fmla="*/ 5424 w 10785"/>
                  <a:gd name="connsiteY1170" fmla="*/ 2009 h 10000"/>
                  <a:gd name="connsiteX1171" fmla="*/ 5433 w 10785"/>
                  <a:gd name="connsiteY1171" fmla="*/ 1991 h 10000"/>
                  <a:gd name="connsiteX1172" fmla="*/ 5447 w 10785"/>
                  <a:gd name="connsiteY1172" fmla="*/ 1974 h 10000"/>
                  <a:gd name="connsiteX1173" fmla="*/ 5452 w 10785"/>
                  <a:gd name="connsiteY1173" fmla="*/ 1966 h 10000"/>
                  <a:gd name="connsiteX1174" fmla="*/ 5456 w 10785"/>
                  <a:gd name="connsiteY1174" fmla="*/ 1966 h 10000"/>
                  <a:gd name="connsiteX1175" fmla="*/ 5465 w 10785"/>
                  <a:gd name="connsiteY1175" fmla="*/ 2009 h 10000"/>
                  <a:gd name="connsiteX1176" fmla="*/ 5433 w 10785"/>
                  <a:gd name="connsiteY1176" fmla="*/ 2034 h 10000"/>
                  <a:gd name="connsiteX1177" fmla="*/ 5424 w 10785"/>
                  <a:gd name="connsiteY1177" fmla="*/ 2060 h 10000"/>
                  <a:gd name="connsiteX1178" fmla="*/ 5419 w 10785"/>
                  <a:gd name="connsiteY1178" fmla="*/ 2060 h 10000"/>
                  <a:gd name="connsiteX1179" fmla="*/ 5392 w 10785"/>
                  <a:gd name="connsiteY1179" fmla="*/ 2111 h 10000"/>
                  <a:gd name="connsiteX1180" fmla="*/ 5378 w 10785"/>
                  <a:gd name="connsiteY1180" fmla="*/ 2111 h 10000"/>
                  <a:gd name="connsiteX1181" fmla="*/ 5350 w 10785"/>
                  <a:gd name="connsiteY1181" fmla="*/ 2060 h 10000"/>
                  <a:gd name="connsiteX1182" fmla="*/ 5373 w 10785"/>
                  <a:gd name="connsiteY1182" fmla="*/ 2111 h 10000"/>
                  <a:gd name="connsiteX1183" fmla="*/ 5364 w 10785"/>
                  <a:gd name="connsiteY1183" fmla="*/ 2111 h 10000"/>
                  <a:gd name="connsiteX1184" fmla="*/ 5359 w 10785"/>
                  <a:gd name="connsiteY1184" fmla="*/ 2103 h 10000"/>
                  <a:gd name="connsiteX1185" fmla="*/ 5359 w 10785"/>
                  <a:gd name="connsiteY1185" fmla="*/ 2120 h 10000"/>
                  <a:gd name="connsiteX1186" fmla="*/ 5359 w 10785"/>
                  <a:gd name="connsiteY1186" fmla="*/ 2137 h 10000"/>
                  <a:gd name="connsiteX1187" fmla="*/ 5313 w 10785"/>
                  <a:gd name="connsiteY1187" fmla="*/ 2162 h 10000"/>
                  <a:gd name="connsiteX1188" fmla="*/ 5300 w 10785"/>
                  <a:gd name="connsiteY1188" fmla="*/ 2162 h 10000"/>
                  <a:gd name="connsiteX1189" fmla="*/ 5300 w 10785"/>
                  <a:gd name="connsiteY1189" fmla="*/ 2171 h 10000"/>
                  <a:gd name="connsiteX1190" fmla="*/ 5300 w 10785"/>
                  <a:gd name="connsiteY1190" fmla="*/ 2197 h 10000"/>
                  <a:gd name="connsiteX1191" fmla="*/ 5276 w 10785"/>
                  <a:gd name="connsiteY1191" fmla="*/ 2188 h 10000"/>
                  <a:gd name="connsiteX1192" fmla="*/ 5249 w 10785"/>
                  <a:gd name="connsiteY1192" fmla="*/ 2222 h 10000"/>
                  <a:gd name="connsiteX1193" fmla="*/ 5249 w 10785"/>
                  <a:gd name="connsiteY1193" fmla="*/ 2222 h 10000"/>
                  <a:gd name="connsiteX1194" fmla="*/ 5217 w 10785"/>
                  <a:gd name="connsiteY1194" fmla="*/ 2214 h 10000"/>
                  <a:gd name="connsiteX1195" fmla="*/ 5203 w 10785"/>
                  <a:gd name="connsiteY1195" fmla="*/ 2239 h 10000"/>
                  <a:gd name="connsiteX1196" fmla="*/ 5171 w 10785"/>
                  <a:gd name="connsiteY1196" fmla="*/ 2214 h 10000"/>
                  <a:gd name="connsiteX1197" fmla="*/ 5157 w 10785"/>
                  <a:gd name="connsiteY1197" fmla="*/ 2239 h 10000"/>
                  <a:gd name="connsiteX1198" fmla="*/ 5166 w 10785"/>
                  <a:gd name="connsiteY1198" fmla="*/ 2256 h 10000"/>
                  <a:gd name="connsiteX1199" fmla="*/ 5171 w 10785"/>
                  <a:gd name="connsiteY1199" fmla="*/ 2308 h 10000"/>
                  <a:gd name="connsiteX1200" fmla="*/ 5212 w 10785"/>
                  <a:gd name="connsiteY1200" fmla="*/ 2350 h 10000"/>
                  <a:gd name="connsiteX1201" fmla="*/ 5203 w 10785"/>
                  <a:gd name="connsiteY1201" fmla="*/ 2350 h 10000"/>
                  <a:gd name="connsiteX1202" fmla="*/ 5166 w 10785"/>
                  <a:gd name="connsiteY1202" fmla="*/ 2325 h 10000"/>
                  <a:gd name="connsiteX1203" fmla="*/ 5152 w 10785"/>
                  <a:gd name="connsiteY1203" fmla="*/ 2308 h 10000"/>
                  <a:gd name="connsiteX1204" fmla="*/ 5143 w 10785"/>
                  <a:gd name="connsiteY1204" fmla="*/ 2333 h 10000"/>
                  <a:gd name="connsiteX1205" fmla="*/ 5138 w 10785"/>
                  <a:gd name="connsiteY1205" fmla="*/ 2333 h 10000"/>
                  <a:gd name="connsiteX1206" fmla="*/ 5124 w 10785"/>
                  <a:gd name="connsiteY1206" fmla="*/ 2376 h 10000"/>
                  <a:gd name="connsiteX1207" fmla="*/ 5115 w 10785"/>
                  <a:gd name="connsiteY1207" fmla="*/ 2385 h 10000"/>
                  <a:gd name="connsiteX1208" fmla="*/ 5106 w 10785"/>
                  <a:gd name="connsiteY1208" fmla="*/ 2385 h 10000"/>
                  <a:gd name="connsiteX1209" fmla="*/ 5055 w 10785"/>
                  <a:gd name="connsiteY1209" fmla="*/ 2470 h 10000"/>
                  <a:gd name="connsiteX1210" fmla="*/ 5065 w 10785"/>
                  <a:gd name="connsiteY1210" fmla="*/ 2462 h 10000"/>
                  <a:gd name="connsiteX1211" fmla="*/ 5055 w 10785"/>
                  <a:gd name="connsiteY1211" fmla="*/ 2444 h 10000"/>
                  <a:gd name="connsiteX1212" fmla="*/ 5041 w 10785"/>
                  <a:gd name="connsiteY1212" fmla="*/ 2462 h 10000"/>
                  <a:gd name="connsiteX1213" fmla="*/ 5037 w 10785"/>
                  <a:gd name="connsiteY1213" fmla="*/ 2470 h 10000"/>
                  <a:gd name="connsiteX1214" fmla="*/ 5032 w 10785"/>
                  <a:gd name="connsiteY1214" fmla="*/ 2470 h 10000"/>
                  <a:gd name="connsiteX1215" fmla="*/ 5032 w 10785"/>
                  <a:gd name="connsiteY1215" fmla="*/ 2444 h 10000"/>
                  <a:gd name="connsiteX1216" fmla="*/ 5055 w 10785"/>
                  <a:gd name="connsiteY1216" fmla="*/ 2410 h 10000"/>
                  <a:gd name="connsiteX1217" fmla="*/ 5065 w 10785"/>
                  <a:gd name="connsiteY1217" fmla="*/ 2393 h 10000"/>
                  <a:gd name="connsiteX1218" fmla="*/ 5069 w 10785"/>
                  <a:gd name="connsiteY1218" fmla="*/ 2385 h 10000"/>
                  <a:gd name="connsiteX1219" fmla="*/ 5083 w 10785"/>
                  <a:gd name="connsiteY1219" fmla="*/ 2376 h 10000"/>
                  <a:gd name="connsiteX1220" fmla="*/ 5097 w 10785"/>
                  <a:gd name="connsiteY1220" fmla="*/ 2376 h 10000"/>
                  <a:gd name="connsiteX1221" fmla="*/ 5124 w 10785"/>
                  <a:gd name="connsiteY1221" fmla="*/ 2325 h 10000"/>
                  <a:gd name="connsiteX1222" fmla="*/ 5143 w 10785"/>
                  <a:gd name="connsiteY1222" fmla="*/ 2248 h 10000"/>
                  <a:gd name="connsiteX1223" fmla="*/ 5152 w 10785"/>
                  <a:gd name="connsiteY1223" fmla="*/ 2239 h 10000"/>
                  <a:gd name="connsiteX1224" fmla="*/ 5166 w 10785"/>
                  <a:gd name="connsiteY1224" fmla="*/ 2162 h 10000"/>
                  <a:gd name="connsiteX1225" fmla="*/ 5171 w 10785"/>
                  <a:gd name="connsiteY1225" fmla="*/ 2171 h 10000"/>
                  <a:gd name="connsiteX1226" fmla="*/ 5198 w 10785"/>
                  <a:gd name="connsiteY1226" fmla="*/ 2145 h 10000"/>
                  <a:gd name="connsiteX1227" fmla="*/ 5203 w 10785"/>
                  <a:gd name="connsiteY1227" fmla="*/ 2111 h 10000"/>
                  <a:gd name="connsiteX1228" fmla="*/ 5217 w 10785"/>
                  <a:gd name="connsiteY1228" fmla="*/ 2060 h 10000"/>
                  <a:gd name="connsiteX1229" fmla="*/ 5226 w 10785"/>
                  <a:gd name="connsiteY1229" fmla="*/ 2026 h 10000"/>
                  <a:gd name="connsiteX1230" fmla="*/ 5286 w 10785"/>
                  <a:gd name="connsiteY1230" fmla="*/ 2026 h 10000"/>
                  <a:gd name="connsiteX1231" fmla="*/ 5290 w 10785"/>
                  <a:gd name="connsiteY1231" fmla="*/ 2034 h 10000"/>
                  <a:gd name="connsiteX1232" fmla="*/ 5323 w 10785"/>
                  <a:gd name="connsiteY1232" fmla="*/ 1923 h 10000"/>
                  <a:gd name="connsiteX1233" fmla="*/ 5323 w 10785"/>
                  <a:gd name="connsiteY1233" fmla="*/ 1889 h 10000"/>
                  <a:gd name="connsiteX1234" fmla="*/ 5359 w 10785"/>
                  <a:gd name="connsiteY1234" fmla="*/ 1829 h 10000"/>
                  <a:gd name="connsiteX1235" fmla="*/ 5378 w 10785"/>
                  <a:gd name="connsiteY1235" fmla="*/ 1812 h 10000"/>
                  <a:gd name="connsiteX1236" fmla="*/ 5406 w 10785"/>
                  <a:gd name="connsiteY1236" fmla="*/ 1752 h 10000"/>
                  <a:gd name="connsiteX1237" fmla="*/ 5410 w 10785"/>
                  <a:gd name="connsiteY1237" fmla="*/ 1718 h 10000"/>
                  <a:gd name="connsiteX1238" fmla="*/ 5438 w 10785"/>
                  <a:gd name="connsiteY1238" fmla="*/ 1667 h 10000"/>
                  <a:gd name="connsiteX1239" fmla="*/ 5438 w 10785"/>
                  <a:gd name="connsiteY1239" fmla="*/ 1650 h 10000"/>
                  <a:gd name="connsiteX1240" fmla="*/ 5438 w 10785"/>
                  <a:gd name="connsiteY1240" fmla="*/ 1641 h 10000"/>
                  <a:gd name="connsiteX1241" fmla="*/ 5452 w 10785"/>
                  <a:gd name="connsiteY1241" fmla="*/ 1641 h 10000"/>
                  <a:gd name="connsiteX1242" fmla="*/ 5456 w 10785"/>
                  <a:gd name="connsiteY1242" fmla="*/ 1615 h 10000"/>
                  <a:gd name="connsiteX1243" fmla="*/ 5456 w 10785"/>
                  <a:gd name="connsiteY1243" fmla="*/ 1615 h 10000"/>
                  <a:gd name="connsiteX1244" fmla="*/ 5465 w 10785"/>
                  <a:gd name="connsiteY1244" fmla="*/ 1598 h 10000"/>
                  <a:gd name="connsiteX1245" fmla="*/ 5465 w 10785"/>
                  <a:gd name="connsiteY1245" fmla="*/ 1615 h 10000"/>
                  <a:gd name="connsiteX1246" fmla="*/ 5479 w 10785"/>
                  <a:gd name="connsiteY1246" fmla="*/ 1598 h 10000"/>
                  <a:gd name="connsiteX1247" fmla="*/ 5484 w 10785"/>
                  <a:gd name="connsiteY1247" fmla="*/ 1581 h 10000"/>
                  <a:gd name="connsiteX1248" fmla="*/ 5493 w 10785"/>
                  <a:gd name="connsiteY1248" fmla="*/ 1581 h 10000"/>
                  <a:gd name="connsiteX1249" fmla="*/ 5512 w 10785"/>
                  <a:gd name="connsiteY1249" fmla="*/ 1538 h 10000"/>
                  <a:gd name="connsiteX1250" fmla="*/ 5530 w 10785"/>
                  <a:gd name="connsiteY1250" fmla="*/ 1564 h 10000"/>
                  <a:gd name="connsiteX1251" fmla="*/ 5530 w 10785"/>
                  <a:gd name="connsiteY1251" fmla="*/ 1538 h 10000"/>
                  <a:gd name="connsiteX1252" fmla="*/ 5539 w 10785"/>
                  <a:gd name="connsiteY1252" fmla="*/ 1530 h 10000"/>
                  <a:gd name="connsiteX1253" fmla="*/ 5530 w 10785"/>
                  <a:gd name="connsiteY1253" fmla="*/ 1504 h 10000"/>
                  <a:gd name="connsiteX1254" fmla="*/ 5567 w 10785"/>
                  <a:gd name="connsiteY1254" fmla="*/ 1479 h 10000"/>
                  <a:gd name="connsiteX1255" fmla="*/ 5553 w 10785"/>
                  <a:gd name="connsiteY1255" fmla="*/ 1479 h 10000"/>
                  <a:gd name="connsiteX1256" fmla="*/ 5553 w 10785"/>
                  <a:gd name="connsiteY1256" fmla="*/ 1453 h 10000"/>
                  <a:gd name="connsiteX1257" fmla="*/ 5581 w 10785"/>
                  <a:gd name="connsiteY1257" fmla="*/ 1444 h 10000"/>
                  <a:gd name="connsiteX1258" fmla="*/ 5581 w 10785"/>
                  <a:gd name="connsiteY1258" fmla="*/ 1453 h 10000"/>
                  <a:gd name="connsiteX1259" fmla="*/ 5585 w 10785"/>
                  <a:gd name="connsiteY1259" fmla="*/ 1444 h 10000"/>
                  <a:gd name="connsiteX1260" fmla="*/ 5594 w 10785"/>
                  <a:gd name="connsiteY1260" fmla="*/ 1427 h 10000"/>
                  <a:gd name="connsiteX1261" fmla="*/ 5599 w 10785"/>
                  <a:gd name="connsiteY1261" fmla="*/ 1419 h 10000"/>
                  <a:gd name="connsiteX1262" fmla="*/ 5594 w 10785"/>
                  <a:gd name="connsiteY1262" fmla="*/ 1402 h 10000"/>
                  <a:gd name="connsiteX1263" fmla="*/ 5604 w 10785"/>
                  <a:gd name="connsiteY1263" fmla="*/ 1393 h 10000"/>
                  <a:gd name="connsiteX1264" fmla="*/ 5618 w 10785"/>
                  <a:gd name="connsiteY1264" fmla="*/ 1393 h 10000"/>
                  <a:gd name="connsiteX1265" fmla="*/ 5627 w 10785"/>
                  <a:gd name="connsiteY1265" fmla="*/ 1368 h 10000"/>
                  <a:gd name="connsiteX1266" fmla="*/ 5627 w 10785"/>
                  <a:gd name="connsiteY1266" fmla="*/ 1325 h 10000"/>
                  <a:gd name="connsiteX1267" fmla="*/ 5645 w 10785"/>
                  <a:gd name="connsiteY1267" fmla="*/ 1291 h 10000"/>
                  <a:gd name="connsiteX1268" fmla="*/ 5645 w 10785"/>
                  <a:gd name="connsiteY1268" fmla="*/ 1282 h 10000"/>
                  <a:gd name="connsiteX1269" fmla="*/ 5654 w 10785"/>
                  <a:gd name="connsiteY1269" fmla="*/ 1265 h 10000"/>
                  <a:gd name="connsiteX1270" fmla="*/ 5654 w 10785"/>
                  <a:gd name="connsiteY1270" fmla="*/ 1214 h 10000"/>
                  <a:gd name="connsiteX1271" fmla="*/ 5654 w 10785"/>
                  <a:gd name="connsiteY1271" fmla="*/ 1214 h 10000"/>
                  <a:gd name="connsiteX1272" fmla="*/ 5645 w 10785"/>
                  <a:gd name="connsiteY1272" fmla="*/ 1197 h 10000"/>
                  <a:gd name="connsiteX1273" fmla="*/ 5659 w 10785"/>
                  <a:gd name="connsiteY1273" fmla="*/ 1197 h 10000"/>
                  <a:gd name="connsiteX1274" fmla="*/ 5654 w 10785"/>
                  <a:gd name="connsiteY1274" fmla="*/ 1154 h 10000"/>
                  <a:gd name="connsiteX1275" fmla="*/ 5641 w 10785"/>
                  <a:gd name="connsiteY1275" fmla="*/ 1154 h 10000"/>
                  <a:gd name="connsiteX1276" fmla="*/ 5627 w 10785"/>
                  <a:gd name="connsiteY1276" fmla="*/ 1128 h 10000"/>
                  <a:gd name="connsiteX1277" fmla="*/ 5618 w 10785"/>
                  <a:gd name="connsiteY1277" fmla="*/ 1094 h 10000"/>
                  <a:gd name="connsiteX1278" fmla="*/ 5613 w 10785"/>
                  <a:gd name="connsiteY1278" fmla="*/ 1094 h 10000"/>
                  <a:gd name="connsiteX1279" fmla="*/ 5604 w 10785"/>
                  <a:gd name="connsiteY1279" fmla="*/ 1120 h 10000"/>
                  <a:gd name="connsiteX1280" fmla="*/ 5604 w 10785"/>
                  <a:gd name="connsiteY1280" fmla="*/ 1128 h 10000"/>
                  <a:gd name="connsiteX1281" fmla="*/ 5599 w 10785"/>
                  <a:gd name="connsiteY1281" fmla="*/ 1103 h 10000"/>
                  <a:gd name="connsiteX1282" fmla="*/ 5599 w 10785"/>
                  <a:gd name="connsiteY1282" fmla="*/ 1103 h 10000"/>
                  <a:gd name="connsiteX1283" fmla="*/ 5594 w 10785"/>
                  <a:gd name="connsiteY1283" fmla="*/ 1068 h 10000"/>
                  <a:gd name="connsiteX1284" fmla="*/ 5594 w 10785"/>
                  <a:gd name="connsiteY1284" fmla="*/ 1060 h 10000"/>
                  <a:gd name="connsiteX1285" fmla="*/ 5581 w 10785"/>
                  <a:gd name="connsiteY1285" fmla="*/ 1034 h 10000"/>
                  <a:gd name="connsiteX1286" fmla="*/ 5571 w 10785"/>
                  <a:gd name="connsiteY1286" fmla="*/ 1009 h 10000"/>
                  <a:gd name="connsiteX1287" fmla="*/ 5571 w 10785"/>
                  <a:gd name="connsiteY1287" fmla="*/ 991 h 10000"/>
                  <a:gd name="connsiteX1288" fmla="*/ 5585 w 10785"/>
                  <a:gd name="connsiteY1288" fmla="*/ 1009 h 10000"/>
                  <a:gd name="connsiteX1289" fmla="*/ 5604 w 10785"/>
                  <a:gd name="connsiteY1289" fmla="*/ 1043 h 10000"/>
                  <a:gd name="connsiteX1290" fmla="*/ 5641 w 10785"/>
                  <a:gd name="connsiteY1290" fmla="*/ 1094 h 10000"/>
                  <a:gd name="connsiteX1291" fmla="*/ 5631 w 10785"/>
                  <a:gd name="connsiteY1291" fmla="*/ 1128 h 10000"/>
                  <a:gd name="connsiteX1292" fmla="*/ 5641 w 10785"/>
                  <a:gd name="connsiteY1292" fmla="*/ 1128 h 10000"/>
                  <a:gd name="connsiteX1293" fmla="*/ 5659 w 10785"/>
                  <a:gd name="connsiteY1293" fmla="*/ 1017 h 10000"/>
                  <a:gd name="connsiteX1294" fmla="*/ 5659 w 10785"/>
                  <a:gd name="connsiteY1294" fmla="*/ 983 h 10000"/>
                  <a:gd name="connsiteX1295" fmla="*/ 5659 w 10785"/>
                  <a:gd name="connsiteY1295" fmla="*/ 957 h 10000"/>
                  <a:gd name="connsiteX1296" fmla="*/ 5654 w 10785"/>
                  <a:gd name="connsiteY1296" fmla="*/ 966 h 10000"/>
                  <a:gd name="connsiteX1297" fmla="*/ 5641 w 10785"/>
                  <a:gd name="connsiteY1297" fmla="*/ 957 h 10000"/>
                  <a:gd name="connsiteX1298" fmla="*/ 5631 w 10785"/>
                  <a:gd name="connsiteY1298" fmla="*/ 897 h 10000"/>
                  <a:gd name="connsiteX1299" fmla="*/ 5641 w 10785"/>
                  <a:gd name="connsiteY1299" fmla="*/ 872 h 10000"/>
                  <a:gd name="connsiteX1300" fmla="*/ 5618 w 10785"/>
                  <a:gd name="connsiteY1300" fmla="*/ 803 h 10000"/>
                  <a:gd name="connsiteX1301" fmla="*/ 5604 w 10785"/>
                  <a:gd name="connsiteY1301" fmla="*/ 821 h 10000"/>
                  <a:gd name="connsiteX1302" fmla="*/ 5613 w 10785"/>
                  <a:gd name="connsiteY1302" fmla="*/ 846 h 10000"/>
                  <a:gd name="connsiteX1303" fmla="*/ 5604 w 10785"/>
                  <a:gd name="connsiteY1303" fmla="*/ 855 h 10000"/>
                  <a:gd name="connsiteX1304" fmla="*/ 5599 w 10785"/>
                  <a:gd name="connsiteY1304" fmla="*/ 880 h 10000"/>
                  <a:gd name="connsiteX1305" fmla="*/ 5594 w 10785"/>
                  <a:gd name="connsiteY1305" fmla="*/ 880 h 10000"/>
                  <a:gd name="connsiteX1306" fmla="*/ 5585 w 10785"/>
                  <a:gd name="connsiteY1306" fmla="*/ 829 h 10000"/>
                  <a:gd name="connsiteX1307" fmla="*/ 5571 w 10785"/>
                  <a:gd name="connsiteY1307" fmla="*/ 803 h 10000"/>
                  <a:gd name="connsiteX1308" fmla="*/ 5585 w 10785"/>
                  <a:gd name="connsiteY1308" fmla="*/ 795 h 10000"/>
                  <a:gd name="connsiteX1309" fmla="*/ 5585 w 10785"/>
                  <a:gd name="connsiteY1309" fmla="*/ 761 h 10000"/>
                  <a:gd name="connsiteX1310" fmla="*/ 5558 w 10785"/>
                  <a:gd name="connsiteY1310" fmla="*/ 709 h 10000"/>
                  <a:gd name="connsiteX1311" fmla="*/ 5544 w 10785"/>
                  <a:gd name="connsiteY1311" fmla="*/ 709 h 10000"/>
                  <a:gd name="connsiteX1312" fmla="*/ 5544 w 10785"/>
                  <a:gd name="connsiteY1312" fmla="*/ 684 h 10000"/>
                  <a:gd name="connsiteX1313" fmla="*/ 5525 w 10785"/>
                  <a:gd name="connsiteY1313" fmla="*/ 632 h 10000"/>
                  <a:gd name="connsiteX1314" fmla="*/ 5507 w 10785"/>
                  <a:gd name="connsiteY1314" fmla="*/ 607 h 10000"/>
                  <a:gd name="connsiteX1315" fmla="*/ 5512 w 10785"/>
                  <a:gd name="connsiteY1315" fmla="*/ 598 h 10000"/>
                  <a:gd name="connsiteX1316" fmla="*/ 5507 w 10785"/>
                  <a:gd name="connsiteY1316" fmla="*/ 581 h 10000"/>
                  <a:gd name="connsiteX1317" fmla="*/ 5493 w 10785"/>
                  <a:gd name="connsiteY1317" fmla="*/ 573 h 10000"/>
                  <a:gd name="connsiteX1318" fmla="*/ 5484 w 10785"/>
                  <a:gd name="connsiteY1318" fmla="*/ 581 h 10000"/>
                  <a:gd name="connsiteX1319" fmla="*/ 5484 w 10785"/>
                  <a:gd name="connsiteY1319" fmla="*/ 573 h 10000"/>
                  <a:gd name="connsiteX1320" fmla="*/ 5484 w 10785"/>
                  <a:gd name="connsiteY1320" fmla="*/ 547 h 10000"/>
                  <a:gd name="connsiteX1321" fmla="*/ 5465 w 10785"/>
                  <a:gd name="connsiteY1321" fmla="*/ 556 h 10000"/>
                  <a:gd name="connsiteX1322" fmla="*/ 5433 w 10785"/>
                  <a:gd name="connsiteY1322" fmla="*/ 547 h 10000"/>
                  <a:gd name="connsiteX1323" fmla="*/ 5410 w 10785"/>
                  <a:gd name="connsiteY1323" fmla="*/ 573 h 10000"/>
                  <a:gd name="connsiteX1324" fmla="*/ 5406 w 10785"/>
                  <a:gd name="connsiteY1324" fmla="*/ 573 h 10000"/>
                  <a:gd name="connsiteX1325" fmla="*/ 5392 w 10785"/>
                  <a:gd name="connsiteY1325" fmla="*/ 573 h 10000"/>
                  <a:gd name="connsiteX1326" fmla="*/ 5364 w 10785"/>
                  <a:gd name="connsiteY1326" fmla="*/ 530 h 10000"/>
                  <a:gd name="connsiteX1327" fmla="*/ 5350 w 10785"/>
                  <a:gd name="connsiteY1327" fmla="*/ 556 h 10000"/>
                  <a:gd name="connsiteX1328" fmla="*/ 5346 w 10785"/>
                  <a:gd name="connsiteY1328" fmla="*/ 556 h 10000"/>
                  <a:gd name="connsiteX1329" fmla="*/ 5313 w 10785"/>
                  <a:gd name="connsiteY1329" fmla="*/ 573 h 10000"/>
                  <a:gd name="connsiteX1330" fmla="*/ 5304 w 10785"/>
                  <a:gd name="connsiteY1330" fmla="*/ 556 h 10000"/>
                  <a:gd name="connsiteX1331" fmla="*/ 5290 w 10785"/>
                  <a:gd name="connsiteY1331" fmla="*/ 573 h 10000"/>
                  <a:gd name="connsiteX1332" fmla="*/ 5290 w 10785"/>
                  <a:gd name="connsiteY1332" fmla="*/ 556 h 10000"/>
                  <a:gd name="connsiteX1333" fmla="*/ 5300 w 10785"/>
                  <a:gd name="connsiteY1333" fmla="*/ 547 h 10000"/>
                  <a:gd name="connsiteX1334" fmla="*/ 5300 w 10785"/>
                  <a:gd name="connsiteY1334" fmla="*/ 530 h 10000"/>
                  <a:gd name="connsiteX1335" fmla="*/ 5290 w 10785"/>
                  <a:gd name="connsiteY1335" fmla="*/ 530 h 10000"/>
                  <a:gd name="connsiteX1336" fmla="*/ 5286 w 10785"/>
                  <a:gd name="connsiteY1336" fmla="*/ 547 h 10000"/>
                  <a:gd name="connsiteX1337" fmla="*/ 5272 w 10785"/>
                  <a:gd name="connsiteY1337" fmla="*/ 556 h 10000"/>
                  <a:gd name="connsiteX1338" fmla="*/ 5272 w 10785"/>
                  <a:gd name="connsiteY1338" fmla="*/ 598 h 10000"/>
                  <a:gd name="connsiteX1339" fmla="*/ 5276 w 10785"/>
                  <a:gd name="connsiteY1339" fmla="*/ 581 h 10000"/>
                  <a:gd name="connsiteX1340" fmla="*/ 5272 w 10785"/>
                  <a:gd name="connsiteY1340" fmla="*/ 607 h 10000"/>
                  <a:gd name="connsiteX1341" fmla="*/ 5263 w 10785"/>
                  <a:gd name="connsiteY1341" fmla="*/ 607 h 10000"/>
                  <a:gd name="connsiteX1342" fmla="*/ 5263 w 10785"/>
                  <a:gd name="connsiteY1342" fmla="*/ 632 h 10000"/>
                  <a:gd name="connsiteX1343" fmla="*/ 5258 w 10785"/>
                  <a:gd name="connsiteY1343" fmla="*/ 658 h 10000"/>
                  <a:gd name="connsiteX1344" fmla="*/ 5244 w 10785"/>
                  <a:gd name="connsiteY1344" fmla="*/ 667 h 10000"/>
                  <a:gd name="connsiteX1345" fmla="*/ 5240 w 10785"/>
                  <a:gd name="connsiteY1345" fmla="*/ 658 h 10000"/>
                  <a:gd name="connsiteX1346" fmla="*/ 5240 w 10785"/>
                  <a:gd name="connsiteY1346" fmla="*/ 684 h 10000"/>
                  <a:gd name="connsiteX1347" fmla="*/ 5212 w 10785"/>
                  <a:gd name="connsiteY1347" fmla="*/ 684 h 10000"/>
                  <a:gd name="connsiteX1348" fmla="*/ 5198 w 10785"/>
                  <a:gd name="connsiteY1348" fmla="*/ 692 h 10000"/>
                  <a:gd name="connsiteX1349" fmla="*/ 5184 w 10785"/>
                  <a:gd name="connsiteY1349" fmla="*/ 684 h 10000"/>
                  <a:gd name="connsiteX1350" fmla="*/ 5157 w 10785"/>
                  <a:gd name="connsiteY1350" fmla="*/ 684 h 10000"/>
                  <a:gd name="connsiteX1351" fmla="*/ 5157 w 10785"/>
                  <a:gd name="connsiteY1351" fmla="*/ 667 h 10000"/>
                  <a:gd name="connsiteX1352" fmla="*/ 5157 w 10785"/>
                  <a:gd name="connsiteY1352" fmla="*/ 667 h 10000"/>
                  <a:gd name="connsiteX1353" fmla="*/ 5180 w 10785"/>
                  <a:gd name="connsiteY1353" fmla="*/ 650 h 10000"/>
                  <a:gd name="connsiteX1354" fmla="*/ 5184 w 10785"/>
                  <a:gd name="connsiteY1354" fmla="*/ 658 h 10000"/>
                  <a:gd name="connsiteX1355" fmla="*/ 5203 w 10785"/>
                  <a:gd name="connsiteY1355" fmla="*/ 547 h 10000"/>
                  <a:gd name="connsiteX1356" fmla="*/ 5226 w 10785"/>
                  <a:gd name="connsiteY1356" fmla="*/ 530 h 10000"/>
                  <a:gd name="connsiteX1357" fmla="*/ 5230 w 10785"/>
                  <a:gd name="connsiteY1357" fmla="*/ 487 h 10000"/>
                  <a:gd name="connsiteX1358" fmla="*/ 5230 w 10785"/>
                  <a:gd name="connsiteY1358" fmla="*/ 487 h 10000"/>
                  <a:gd name="connsiteX1359" fmla="*/ 5226 w 10785"/>
                  <a:gd name="connsiteY1359" fmla="*/ 462 h 10000"/>
                  <a:gd name="connsiteX1360" fmla="*/ 5226 w 10785"/>
                  <a:gd name="connsiteY1360" fmla="*/ 462 h 10000"/>
                  <a:gd name="connsiteX1361" fmla="*/ 5240 w 10785"/>
                  <a:gd name="connsiteY1361" fmla="*/ 462 h 10000"/>
                  <a:gd name="connsiteX1362" fmla="*/ 5240 w 10785"/>
                  <a:gd name="connsiteY1362" fmla="*/ 444 h 10000"/>
                  <a:gd name="connsiteX1363" fmla="*/ 5230 w 10785"/>
                  <a:gd name="connsiteY1363" fmla="*/ 436 h 10000"/>
                  <a:gd name="connsiteX1364" fmla="*/ 5230 w 10785"/>
                  <a:gd name="connsiteY1364" fmla="*/ 419 h 10000"/>
                  <a:gd name="connsiteX1365" fmla="*/ 5230 w 10785"/>
                  <a:gd name="connsiteY1365" fmla="*/ 410 h 10000"/>
                  <a:gd name="connsiteX1366" fmla="*/ 5198 w 10785"/>
                  <a:gd name="connsiteY1366" fmla="*/ 402 h 10000"/>
                  <a:gd name="connsiteX1367" fmla="*/ 5189 w 10785"/>
                  <a:gd name="connsiteY1367" fmla="*/ 402 h 10000"/>
                  <a:gd name="connsiteX1368" fmla="*/ 5184 w 10785"/>
                  <a:gd name="connsiteY1368" fmla="*/ 376 h 10000"/>
                  <a:gd name="connsiteX1369" fmla="*/ 5180 w 10785"/>
                  <a:gd name="connsiteY1369" fmla="*/ 376 h 10000"/>
                  <a:gd name="connsiteX1370" fmla="*/ 5166 w 10785"/>
                  <a:gd name="connsiteY1370" fmla="*/ 376 h 10000"/>
                  <a:gd name="connsiteX1371" fmla="*/ 5157 w 10785"/>
                  <a:gd name="connsiteY1371" fmla="*/ 385 h 10000"/>
                  <a:gd name="connsiteX1372" fmla="*/ 5152 w 10785"/>
                  <a:gd name="connsiteY1372" fmla="*/ 376 h 10000"/>
                  <a:gd name="connsiteX1373" fmla="*/ 5129 w 10785"/>
                  <a:gd name="connsiteY1373" fmla="*/ 385 h 10000"/>
                  <a:gd name="connsiteX1374" fmla="*/ 5129 w 10785"/>
                  <a:gd name="connsiteY1374" fmla="*/ 350 h 10000"/>
                  <a:gd name="connsiteX1375" fmla="*/ 5129 w 10785"/>
                  <a:gd name="connsiteY1375" fmla="*/ 325 h 10000"/>
                  <a:gd name="connsiteX1376" fmla="*/ 5124 w 10785"/>
                  <a:gd name="connsiteY1376" fmla="*/ 359 h 10000"/>
                  <a:gd name="connsiteX1377" fmla="*/ 5106 w 10785"/>
                  <a:gd name="connsiteY1377" fmla="*/ 359 h 10000"/>
                  <a:gd name="connsiteX1378" fmla="*/ 5037 w 10785"/>
                  <a:gd name="connsiteY1378" fmla="*/ 419 h 10000"/>
                  <a:gd name="connsiteX1379" fmla="*/ 5051 w 10785"/>
                  <a:gd name="connsiteY1379" fmla="*/ 385 h 10000"/>
                  <a:gd name="connsiteX1380" fmla="*/ 5055 w 10785"/>
                  <a:gd name="connsiteY1380" fmla="*/ 376 h 10000"/>
                  <a:gd name="connsiteX1381" fmla="*/ 5092 w 10785"/>
                  <a:gd name="connsiteY1381" fmla="*/ 282 h 10000"/>
                  <a:gd name="connsiteX1382" fmla="*/ 5106 w 10785"/>
                  <a:gd name="connsiteY1382" fmla="*/ 265 h 10000"/>
                  <a:gd name="connsiteX1383" fmla="*/ 5115 w 10785"/>
                  <a:gd name="connsiteY1383" fmla="*/ 265 h 10000"/>
                  <a:gd name="connsiteX1384" fmla="*/ 5124 w 10785"/>
                  <a:gd name="connsiteY1384" fmla="*/ 222 h 10000"/>
                  <a:gd name="connsiteX1385" fmla="*/ 5124 w 10785"/>
                  <a:gd name="connsiteY1385" fmla="*/ 214 h 10000"/>
                  <a:gd name="connsiteX1386" fmla="*/ 5143 w 10785"/>
                  <a:gd name="connsiteY1386" fmla="*/ 197 h 10000"/>
                  <a:gd name="connsiteX1387" fmla="*/ 5152 w 10785"/>
                  <a:gd name="connsiteY1387" fmla="*/ 214 h 10000"/>
                  <a:gd name="connsiteX1388" fmla="*/ 5143 w 10785"/>
                  <a:gd name="connsiteY1388" fmla="*/ 188 h 10000"/>
                  <a:gd name="connsiteX1389" fmla="*/ 5129 w 10785"/>
                  <a:gd name="connsiteY1389" fmla="*/ 103 h 10000"/>
                  <a:gd name="connsiteX1390" fmla="*/ 5115 w 10785"/>
                  <a:gd name="connsiteY1390" fmla="*/ 85 h 10000"/>
                  <a:gd name="connsiteX1391" fmla="*/ 5111 w 10785"/>
                  <a:gd name="connsiteY1391" fmla="*/ 111 h 10000"/>
                  <a:gd name="connsiteX1392" fmla="*/ 5092 w 10785"/>
                  <a:gd name="connsiteY1392" fmla="*/ 103 h 10000"/>
                  <a:gd name="connsiteX1393" fmla="*/ 5069 w 10785"/>
                  <a:gd name="connsiteY1393" fmla="*/ 77 h 10000"/>
                  <a:gd name="connsiteX1394" fmla="*/ 5051 w 10785"/>
                  <a:gd name="connsiteY1394" fmla="*/ 26 h 10000"/>
                  <a:gd name="connsiteX1395" fmla="*/ 5041 w 10785"/>
                  <a:gd name="connsiteY1395" fmla="*/ 34 h 10000"/>
                  <a:gd name="connsiteX1396" fmla="*/ 5037 w 10785"/>
                  <a:gd name="connsiteY1396" fmla="*/ 34 h 10000"/>
                  <a:gd name="connsiteX1397" fmla="*/ 5037 w 10785"/>
                  <a:gd name="connsiteY1397" fmla="*/ 26 h 10000"/>
                  <a:gd name="connsiteX1398" fmla="*/ 5037 w 10785"/>
                  <a:gd name="connsiteY1398" fmla="*/ 9 h 10000"/>
                  <a:gd name="connsiteX1399" fmla="*/ 5023 w 10785"/>
                  <a:gd name="connsiteY1399" fmla="*/ 0 h 10000"/>
                  <a:gd name="connsiteX1400" fmla="*/ 5009 w 10785"/>
                  <a:gd name="connsiteY1400" fmla="*/ 9 h 10000"/>
                  <a:gd name="connsiteX1401" fmla="*/ 4995 w 10785"/>
                  <a:gd name="connsiteY1401" fmla="*/ 34 h 10000"/>
                  <a:gd name="connsiteX1402" fmla="*/ 4991 w 10785"/>
                  <a:gd name="connsiteY1402" fmla="*/ 60 h 10000"/>
                  <a:gd name="connsiteX1403" fmla="*/ 4982 w 10785"/>
                  <a:gd name="connsiteY1403" fmla="*/ 60 h 10000"/>
                  <a:gd name="connsiteX1404" fmla="*/ 4949 w 10785"/>
                  <a:gd name="connsiteY1404" fmla="*/ 51 h 10000"/>
                  <a:gd name="connsiteX1405" fmla="*/ 4949 w 10785"/>
                  <a:gd name="connsiteY1405" fmla="*/ 85 h 10000"/>
                  <a:gd name="connsiteX1406" fmla="*/ 4903 w 10785"/>
                  <a:gd name="connsiteY1406" fmla="*/ 197 h 10000"/>
                  <a:gd name="connsiteX1407" fmla="*/ 4899 w 10785"/>
                  <a:gd name="connsiteY1407" fmla="*/ 239 h 10000"/>
                  <a:gd name="connsiteX1408" fmla="*/ 4871 w 10785"/>
                  <a:gd name="connsiteY1408" fmla="*/ 274 h 10000"/>
                  <a:gd name="connsiteX1409" fmla="*/ 4871 w 10785"/>
                  <a:gd name="connsiteY1409" fmla="*/ 282 h 10000"/>
                  <a:gd name="connsiteX1410" fmla="*/ 4834 w 10785"/>
                  <a:gd name="connsiteY1410" fmla="*/ 376 h 10000"/>
                  <a:gd name="connsiteX1411" fmla="*/ 4829 w 10785"/>
                  <a:gd name="connsiteY1411" fmla="*/ 402 h 10000"/>
                  <a:gd name="connsiteX1412" fmla="*/ 4834 w 10785"/>
                  <a:gd name="connsiteY1412" fmla="*/ 410 h 10000"/>
                  <a:gd name="connsiteX1413" fmla="*/ 4829 w 10785"/>
                  <a:gd name="connsiteY1413" fmla="*/ 436 h 10000"/>
                  <a:gd name="connsiteX1414" fmla="*/ 4825 w 10785"/>
                  <a:gd name="connsiteY1414" fmla="*/ 436 h 10000"/>
                  <a:gd name="connsiteX1415" fmla="*/ 4825 w 10785"/>
                  <a:gd name="connsiteY1415" fmla="*/ 444 h 10000"/>
                  <a:gd name="connsiteX1416" fmla="*/ 4811 w 10785"/>
                  <a:gd name="connsiteY1416" fmla="*/ 496 h 10000"/>
                  <a:gd name="connsiteX1417" fmla="*/ 4811 w 10785"/>
                  <a:gd name="connsiteY1417" fmla="*/ 496 h 10000"/>
                  <a:gd name="connsiteX1418" fmla="*/ 4811 w 10785"/>
                  <a:gd name="connsiteY1418" fmla="*/ 521 h 10000"/>
                  <a:gd name="connsiteX1419" fmla="*/ 4816 w 10785"/>
                  <a:gd name="connsiteY1419" fmla="*/ 530 h 10000"/>
                  <a:gd name="connsiteX1420" fmla="*/ 4834 w 10785"/>
                  <a:gd name="connsiteY1420" fmla="*/ 547 h 10000"/>
                  <a:gd name="connsiteX1421" fmla="*/ 4834 w 10785"/>
                  <a:gd name="connsiteY1421" fmla="*/ 581 h 10000"/>
                  <a:gd name="connsiteX1422" fmla="*/ 4843 w 10785"/>
                  <a:gd name="connsiteY1422" fmla="*/ 581 h 10000"/>
                  <a:gd name="connsiteX1423" fmla="*/ 4843 w 10785"/>
                  <a:gd name="connsiteY1423" fmla="*/ 598 h 10000"/>
                  <a:gd name="connsiteX1424" fmla="*/ 4829 w 10785"/>
                  <a:gd name="connsiteY1424" fmla="*/ 598 h 10000"/>
                  <a:gd name="connsiteX1425" fmla="*/ 4829 w 10785"/>
                  <a:gd name="connsiteY1425" fmla="*/ 573 h 10000"/>
                  <a:gd name="connsiteX1426" fmla="*/ 4829 w 10785"/>
                  <a:gd name="connsiteY1426" fmla="*/ 632 h 10000"/>
                  <a:gd name="connsiteX1427" fmla="*/ 4829 w 10785"/>
                  <a:gd name="connsiteY1427" fmla="*/ 632 h 10000"/>
                  <a:gd name="connsiteX1428" fmla="*/ 4829 w 10785"/>
                  <a:gd name="connsiteY1428" fmla="*/ 650 h 10000"/>
                  <a:gd name="connsiteX1429" fmla="*/ 4774 w 10785"/>
                  <a:gd name="connsiteY1429" fmla="*/ 684 h 10000"/>
                  <a:gd name="connsiteX1430" fmla="*/ 4756 w 10785"/>
                  <a:gd name="connsiteY1430" fmla="*/ 684 h 10000"/>
                  <a:gd name="connsiteX1431" fmla="*/ 4737 w 10785"/>
                  <a:gd name="connsiteY1431" fmla="*/ 692 h 10000"/>
                  <a:gd name="connsiteX1432" fmla="*/ 4677 w 10785"/>
                  <a:gd name="connsiteY1432" fmla="*/ 667 h 10000"/>
                  <a:gd name="connsiteX1433" fmla="*/ 4682 w 10785"/>
                  <a:gd name="connsiteY1433" fmla="*/ 692 h 10000"/>
                  <a:gd name="connsiteX1434" fmla="*/ 4682 w 10785"/>
                  <a:gd name="connsiteY1434" fmla="*/ 709 h 10000"/>
                  <a:gd name="connsiteX1435" fmla="*/ 4691 w 10785"/>
                  <a:gd name="connsiteY1435" fmla="*/ 718 h 10000"/>
                  <a:gd name="connsiteX1436" fmla="*/ 4691 w 10785"/>
                  <a:gd name="connsiteY1436" fmla="*/ 744 h 10000"/>
                  <a:gd name="connsiteX1437" fmla="*/ 4700 w 10785"/>
                  <a:gd name="connsiteY1437" fmla="*/ 744 h 10000"/>
                  <a:gd name="connsiteX1438" fmla="*/ 4714 w 10785"/>
                  <a:gd name="connsiteY1438" fmla="*/ 769 h 10000"/>
                  <a:gd name="connsiteX1439" fmla="*/ 4710 w 10785"/>
                  <a:gd name="connsiteY1439" fmla="*/ 786 h 10000"/>
                  <a:gd name="connsiteX1440" fmla="*/ 4737 w 10785"/>
                  <a:gd name="connsiteY1440" fmla="*/ 786 h 10000"/>
                  <a:gd name="connsiteX1441" fmla="*/ 4742 w 10785"/>
                  <a:gd name="connsiteY1441" fmla="*/ 795 h 10000"/>
                  <a:gd name="connsiteX1442" fmla="*/ 4742 w 10785"/>
                  <a:gd name="connsiteY1442" fmla="*/ 803 h 10000"/>
                  <a:gd name="connsiteX1443" fmla="*/ 4737 w 10785"/>
                  <a:gd name="connsiteY1443" fmla="*/ 846 h 10000"/>
                  <a:gd name="connsiteX1444" fmla="*/ 4737 w 10785"/>
                  <a:gd name="connsiteY1444" fmla="*/ 880 h 10000"/>
                  <a:gd name="connsiteX1445" fmla="*/ 4737 w 10785"/>
                  <a:gd name="connsiteY1445" fmla="*/ 906 h 10000"/>
                  <a:gd name="connsiteX1446" fmla="*/ 4724 w 10785"/>
                  <a:gd name="connsiteY1446" fmla="*/ 897 h 10000"/>
                  <a:gd name="connsiteX1447" fmla="*/ 4724 w 10785"/>
                  <a:gd name="connsiteY1447" fmla="*/ 872 h 10000"/>
                  <a:gd name="connsiteX1448" fmla="*/ 4714 w 10785"/>
                  <a:gd name="connsiteY1448" fmla="*/ 855 h 10000"/>
                  <a:gd name="connsiteX1449" fmla="*/ 4691 w 10785"/>
                  <a:gd name="connsiteY1449" fmla="*/ 846 h 10000"/>
                  <a:gd name="connsiteX1450" fmla="*/ 4691 w 10785"/>
                  <a:gd name="connsiteY1450" fmla="*/ 846 h 10000"/>
                  <a:gd name="connsiteX1451" fmla="*/ 4696 w 10785"/>
                  <a:gd name="connsiteY1451" fmla="*/ 821 h 10000"/>
                  <a:gd name="connsiteX1452" fmla="*/ 4691 w 10785"/>
                  <a:gd name="connsiteY1452" fmla="*/ 803 h 10000"/>
                  <a:gd name="connsiteX1453" fmla="*/ 4668 w 10785"/>
                  <a:gd name="connsiteY1453" fmla="*/ 821 h 10000"/>
                  <a:gd name="connsiteX1454" fmla="*/ 4668 w 10785"/>
                  <a:gd name="connsiteY1454" fmla="*/ 786 h 10000"/>
                  <a:gd name="connsiteX1455" fmla="*/ 4664 w 10785"/>
                  <a:gd name="connsiteY1455" fmla="*/ 786 h 10000"/>
                  <a:gd name="connsiteX1456" fmla="*/ 4622 w 10785"/>
                  <a:gd name="connsiteY1456" fmla="*/ 846 h 10000"/>
                  <a:gd name="connsiteX1457" fmla="*/ 4627 w 10785"/>
                  <a:gd name="connsiteY1457" fmla="*/ 872 h 10000"/>
                  <a:gd name="connsiteX1458" fmla="*/ 4622 w 10785"/>
                  <a:gd name="connsiteY1458" fmla="*/ 880 h 10000"/>
                  <a:gd name="connsiteX1459" fmla="*/ 4622 w 10785"/>
                  <a:gd name="connsiteY1459" fmla="*/ 880 h 10000"/>
                  <a:gd name="connsiteX1460" fmla="*/ 4618 w 10785"/>
                  <a:gd name="connsiteY1460" fmla="*/ 872 h 10000"/>
                  <a:gd name="connsiteX1461" fmla="*/ 4604 w 10785"/>
                  <a:gd name="connsiteY1461" fmla="*/ 880 h 10000"/>
                  <a:gd name="connsiteX1462" fmla="*/ 4594 w 10785"/>
                  <a:gd name="connsiteY1462" fmla="*/ 906 h 10000"/>
                  <a:gd name="connsiteX1463" fmla="*/ 4604 w 10785"/>
                  <a:gd name="connsiteY1463" fmla="*/ 906 h 10000"/>
                  <a:gd name="connsiteX1464" fmla="*/ 4608 w 10785"/>
                  <a:gd name="connsiteY1464" fmla="*/ 906 h 10000"/>
                  <a:gd name="connsiteX1465" fmla="*/ 4608 w 10785"/>
                  <a:gd name="connsiteY1465" fmla="*/ 932 h 10000"/>
                  <a:gd name="connsiteX1466" fmla="*/ 4604 w 10785"/>
                  <a:gd name="connsiteY1466" fmla="*/ 932 h 10000"/>
                  <a:gd name="connsiteX1467" fmla="*/ 4590 w 10785"/>
                  <a:gd name="connsiteY1467" fmla="*/ 932 h 10000"/>
                  <a:gd name="connsiteX1468" fmla="*/ 4567 w 10785"/>
                  <a:gd name="connsiteY1468" fmla="*/ 957 h 10000"/>
                  <a:gd name="connsiteX1469" fmla="*/ 4567 w 10785"/>
                  <a:gd name="connsiteY1469" fmla="*/ 932 h 10000"/>
                  <a:gd name="connsiteX1470" fmla="*/ 4567 w 10785"/>
                  <a:gd name="connsiteY1470" fmla="*/ 923 h 10000"/>
                  <a:gd name="connsiteX1471" fmla="*/ 4562 w 10785"/>
                  <a:gd name="connsiteY1471" fmla="*/ 932 h 10000"/>
                  <a:gd name="connsiteX1472" fmla="*/ 4548 w 10785"/>
                  <a:gd name="connsiteY1472" fmla="*/ 957 h 10000"/>
                  <a:gd name="connsiteX1473" fmla="*/ 4544 w 10785"/>
                  <a:gd name="connsiteY1473" fmla="*/ 957 h 10000"/>
                  <a:gd name="connsiteX1474" fmla="*/ 4521 w 10785"/>
                  <a:gd name="connsiteY1474" fmla="*/ 983 h 10000"/>
                  <a:gd name="connsiteX1475" fmla="*/ 4521 w 10785"/>
                  <a:gd name="connsiteY1475" fmla="*/ 983 h 10000"/>
                  <a:gd name="connsiteX1476" fmla="*/ 4530 w 10785"/>
                  <a:gd name="connsiteY1476" fmla="*/ 957 h 10000"/>
                  <a:gd name="connsiteX1477" fmla="*/ 4535 w 10785"/>
                  <a:gd name="connsiteY1477" fmla="*/ 932 h 10000"/>
                  <a:gd name="connsiteX1478" fmla="*/ 4521 w 10785"/>
                  <a:gd name="connsiteY1478" fmla="*/ 932 h 10000"/>
                  <a:gd name="connsiteX1479" fmla="*/ 4516 w 10785"/>
                  <a:gd name="connsiteY1479" fmla="*/ 923 h 10000"/>
                  <a:gd name="connsiteX1480" fmla="*/ 4516 w 10785"/>
                  <a:gd name="connsiteY1480" fmla="*/ 932 h 10000"/>
                  <a:gd name="connsiteX1481" fmla="*/ 4488 w 10785"/>
                  <a:gd name="connsiteY1481" fmla="*/ 940 h 10000"/>
                  <a:gd name="connsiteX1482" fmla="*/ 4484 w 10785"/>
                  <a:gd name="connsiteY1482" fmla="*/ 983 h 10000"/>
                  <a:gd name="connsiteX1483" fmla="*/ 4470 w 10785"/>
                  <a:gd name="connsiteY1483" fmla="*/ 983 h 10000"/>
                  <a:gd name="connsiteX1484" fmla="*/ 4470 w 10785"/>
                  <a:gd name="connsiteY1484" fmla="*/ 966 h 10000"/>
                  <a:gd name="connsiteX1485" fmla="*/ 4488 w 10785"/>
                  <a:gd name="connsiteY1485" fmla="*/ 923 h 10000"/>
                  <a:gd name="connsiteX1486" fmla="*/ 4493 w 10785"/>
                  <a:gd name="connsiteY1486" fmla="*/ 880 h 10000"/>
                  <a:gd name="connsiteX1487" fmla="*/ 4475 w 10785"/>
                  <a:gd name="connsiteY1487" fmla="*/ 846 h 10000"/>
                  <a:gd name="connsiteX1488" fmla="*/ 4442 w 10785"/>
                  <a:gd name="connsiteY1488" fmla="*/ 855 h 10000"/>
                  <a:gd name="connsiteX1489" fmla="*/ 4433 w 10785"/>
                  <a:gd name="connsiteY1489" fmla="*/ 855 h 10000"/>
                  <a:gd name="connsiteX1490" fmla="*/ 4433 w 10785"/>
                  <a:gd name="connsiteY1490" fmla="*/ 880 h 10000"/>
                  <a:gd name="connsiteX1491" fmla="*/ 4401 w 10785"/>
                  <a:gd name="connsiteY1491" fmla="*/ 855 h 10000"/>
                  <a:gd name="connsiteX1492" fmla="*/ 4396 w 10785"/>
                  <a:gd name="connsiteY1492" fmla="*/ 872 h 10000"/>
                  <a:gd name="connsiteX1493" fmla="*/ 4382 w 10785"/>
                  <a:gd name="connsiteY1493" fmla="*/ 897 h 10000"/>
                  <a:gd name="connsiteX1494" fmla="*/ 4373 w 10785"/>
                  <a:gd name="connsiteY1494" fmla="*/ 872 h 10000"/>
                  <a:gd name="connsiteX1495" fmla="*/ 4341 w 10785"/>
                  <a:gd name="connsiteY1495" fmla="*/ 872 h 10000"/>
                  <a:gd name="connsiteX1496" fmla="*/ 4336 w 10785"/>
                  <a:gd name="connsiteY1496" fmla="*/ 880 h 10000"/>
                  <a:gd name="connsiteX1497" fmla="*/ 4346 w 10785"/>
                  <a:gd name="connsiteY1497" fmla="*/ 897 h 10000"/>
                  <a:gd name="connsiteX1498" fmla="*/ 4346 w 10785"/>
                  <a:gd name="connsiteY1498" fmla="*/ 897 h 10000"/>
                  <a:gd name="connsiteX1499" fmla="*/ 4313 w 10785"/>
                  <a:gd name="connsiteY1499" fmla="*/ 906 h 10000"/>
                  <a:gd name="connsiteX1500" fmla="*/ 4313 w 10785"/>
                  <a:gd name="connsiteY1500" fmla="*/ 906 h 10000"/>
                  <a:gd name="connsiteX1501" fmla="*/ 4313 w 10785"/>
                  <a:gd name="connsiteY1501" fmla="*/ 880 h 10000"/>
                  <a:gd name="connsiteX1502" fmla="*/ 4309 w 10785"/>
                  <a:gd name="connsiteY1502" fmla="*/ 897 h 10000"/>
                  <a:gd name="connsiteX1503" fmla="*/ 4295 w 10785"/>
                  <a:gd name="connsiteY1503" fmla="*/ 923 h 10000"/>
                  <a:gd name="connsiteX1504" fmla="*/ 4286 w 10785"/>
                  <a:gd name="connsiteY1504" fmla="*/ 897 h 10000"/>
                  <a:gd name="connsiteX1505" fmla="*/ 4281 w 10785"/>
                  <a:gd name="connsiteY1505" fmla="*/ 906 h 10000"/>
                  <a:gd name="connsiteX1506" fmla="*/ 4281 w 10785"/>
                  <a:gd name="connsiteY1506" fmla="*/ 940 h 10000"/>
                  <a:gd name="connsiteX1507" fmla="*/ 4286 w 10785"/>
                  <a:gd name="connsiteY1507" fmla="*/ 957 h 10000"/>
                  <a:gd name="connsiteX1508" fmla="*/ 4309 w 10785"/>
                  <a:gd name="connsiteY1508" fmla="*/ 932 h 10000"/>
                  <a:gd name="connsiteX1509" fmla="*/ 4313 w 10785"/>
                  <a:gd name="connsiteY1509" fmla="*/ 957 h 10000"/>
                  <a:gd name="connsiteX1510" fmla="*/ 4313 w 10785"/>
                  <a:gd name="connsiteY1510" fmla="*/ 966 h 10000"/>
                  <a:gd name="connsiteX1511" fmla="*/ 4323 w 10785"/>
                  <a:gd name="connsiteY1511" fmla="*/ 966 h 10000"/>
                  <a:gd name="connsiteX1512" fmla="*/ 4323 w 10785"/>
                  <a:gd name="connsiteY1512" fmla="*/ 940 h 10000"/>
                  <a:gd name="connsiteX1513" fmla="*/ 4327 w 10785"/>
                  <a:gd name="connsiteY1513" fmla="*/ 940 h 10000"/>
                  <a:gd name="connsiteX1514" fmla="*/ 4327 w 10785"/>
                  <a:gd name="connsiteY1514" fmla="*/ 957 h 10000"/>
                  <a:gd name="connsiteX1515" fmla="*/ 4327 w 10785"/>
                  <a:gd name="connsiteY1515" fmla="*/ 966 h 10000"/>
                  <a:gd name="connsiteX1516" fmla="*/ 4323 w 10785"/>
                  <a:gd name="connsiteY1516" fmla="*/ 991 h 10000"/>
                  <a:gd name="connsiteX1517" fmla="*/ 4207 w 10785"/>
                  <a:gd name="connsiteY1517" fmla="*/ 1060 h 10000"/>
                  <a:gd name="connsiteX1518" fmla="*/ 4207 w 10785"/>
                  <a:gd name="connsiteY1518" fmla="*/ 1060 h 10000"/>
                  <a:gd name="connsiteX1519" fmla="*/ 4203 w 10785"/>
                  <a:gd name="connsiteY1519" fmla="*/ 1068 h 10000"/>
                  <a:gd name="connsiteX1520" fmla="*/ 4203 w 10785"/>
                  <a:gd name="connsiteY1520" fmla="*/ 1094 h 10000"/>
                  <a:gd name="connsiteX1521" fmla="*/ 4203 w 10785"/>
                  <a:gd name="connsiteY1521" fmla="*/ 1094 h 10000"/>
                  <a:gd name="connsiteX1522" fmla="*/ 4189 w 10785"/>
                  <a:gd name="connsiteY1522" fmla="*/ 1094 h 10000"/>
                  <a:gd name="connsiteX1523" fmla="*/ 4166 w 10785"/>
                  <a:gd name="connsiteY1523" fmla="*/ 1103 h 10000"/>
                  <a:gd name="connsiteX1524" fmla="*/ 4152 w 10785"/>
                  <a:gd name="connsiteY1524" fmla="*/ 1094 h 10000"/>
                  <a:gd name="connsiteX1525" fmla="*/ 4134 w 10785"/>
                  <a:gd name="connsiteY1525" fmla="*/ 1120 h 10000"/>
                  <a:gd name="connsiteX1526" fmla="*/ 4106 w 10785"/>
                  <a:gd name="connsiteY1526" fmla="*/ 1120 h 10000"/>
                  <a:gd name="connsiteX1527" fmla="*/ 4092 w 10785"/>
                  <a:gd name="connsiteY1527" fmla="*/ 1154 h 10000"/>
                  <a:gd name="connsiteX1528" fmla="*/ 4106 w 10785"/>
                  <a:gd name="connsiteY1528" fmla="*/ 1171 h 10000"/>
                  <a:gd name="connsiteX1529" fmla="*/ 4078 w 10785"/>
                  <a:gd name="connsiteY1529" fmla="*/ 1179 h 10000"/>
                  <a:gd name="connsiteX1530" fmla="*/ 4065 w 10785"/>
                  <a:gd name="connsiteY1530" fmla="*/ 1205 h 10000"/>
                  <a:gd name="connsiteX1531" fmla="*/ 4046 w 10785"/>
                  <a:gd name="connsiteY1531" fmla="*/ 1179 h 10000"/>
                  <a:gd name="connsiteX1532" fmla="*/ 4041 w 10785"/>
                  <a:gd name="connsiteY1532" fmla="*/ 1197 h 10000"/>
                  <a:gd name="connsiteX1533" fmla="*/ 4028 w 10785"/>
                  <a:gd name="connsiteY1533" fmla="*/ 1205 h 10000"/>
                  <a:gd name="connsiteX1534" fmla="*/ 4028 w 10785"/>
                  <a:gd name="connsiteY1534" fmla="*/ 1205 h 10000"/>
                  <a:gd name="connsiteX1535" fmla="*/ 4032 w 10785"/>
                  <a:gd name="connsiteY1535" fmla="*/ 1205 h 10000"/>
                  <a:gd name="connsiteX1536" fmla="*/ 4032 w 10785"/>
                  <a:gd name="connsiteY1536" fmla="*/ 1231 h 10000"/>
                  <a:gd name="connsiteX1537" fmla="*/ 4014 w 10785"/>
                  <a:gd name="connsiteY1537" fmla="*/ 1239 h 10000"/>
                  <a:gd name="connsiteX1538" fmla="*/ 4014 w 10785"/>
                  <a:gd name="connsiteY1538" fmla="*/ 1256 h 10000"/>
                  <a:gd name="connsiteX1539" fmla="*/ 4000 w 10785"/>
                  <a:gd name="connsiteY1539" fmla="*/ 1265 h 10000"/>
                  <a:gd name="connsiteX1540" fmla="*/ 3986 w 10785"/>
                  <a:gd name="connsiteY1540" fmla="*/ 1308 h 10000"/>
                  <a:gd name="connsiteX1541" fmla="*/ 3972 w 10785"/>
                  <a:gd name="connsiteY1541" fmla="*/ 1316 h 10000"/>
                  <a:gd name="connsiteX1542" fmla="*/ 3972 w 10785"/>
                  <a:gd name="connsiteY1542" fmla="*/ 1325 h 10000"/>
                  <a:gd name="connsiteX1543" fmla="*/ 3972 w 10785"/>
                  <a:gd name="connsiteY1543" fmla="*/ 1342 h 10000"/>
                  <a:gd name="connsiteX1544" fmla="*/ 3968 w 10785"/>
                  <a:gd name="connsiteY1544" fmla="*/ 1350 h 10000"/>
                  <a:gd name="connsiteX1545" fmla="*/ 3954 w 10785"/>
                  <a:gd name="connsiteY1545" fmla="*/ 1368 h 10000"/>
                  <a:gd name="connsiteX1546" fmla="*/ 3945 w 10785"/>
                  <a:gd name="connsiteY1546" fmla="*/ 1350 h 10000"/>
                  <a:gd name="connsiteX1547" fmla="*/ 3908 w 10785"/>
                  <a:gd name="connsiteY1547" fmla="*/ 1342 h 10000"/>
                  <a:gd name="connsiteX1548" fmla="*/ 3894 w 10785"/>
                  <a:gd name="connsiteY1548" fmla="*/ 1368 h 10000"/>
                  <a:gd name="connsiteX1549" fmla="*/ 3922 w 10785"/>
                  <a:gd name="connsiteY1549" fmla="*/ 1393 h 10000"/>
                  <a:gd name="connsiteX1550" fmla="*/ 3945 w 10785"/>
                  <a:gd name="connsiteY1550" fmla="*/ 1393 h 10000"/>
                  <a:gd name="connsiteX1551" fmla="*/ 3940 w 10785"/>
                  <a:gd name="connsiteY1551" fmla="*/ 1419 h 10000"/>
                  <a:gd name="connsiteX1552" fmla="*/ 3931 w 10785"/>
                  <a:gd name="connsiteY1552" fmla="*/ 1427 h 10000"/>
                  <a:gd name="connsiteX1553" fmla="*/ 3926 w 10785"/>
                  <a:gd name="connsiteY1553" fmla="*/ 1427 h 10000"/>
                  <a:gd name="connsiteX1554" fmla="*/ 3922 w 10785"/>
                  <a:gd name="connsiteY1554" fmla="*/ 1419 h 10000"/>
                  <a:gd name="connsiteX1555" fmla="*/ 3912 w 10785"/>
                  <a:gd name="connsiteY1555" fmla="*/ 1427 h 10000"/>
                  <a:gd name="connsiteX1556" fmla="*/ 3912 w 10785"/>
                  <a:gd name="connsiteY1556" fmla="*/ 1444 h 10000"/>
                  <a:gd name="connsiteX1557" fmla="*/ 3894 w 10785"/>
                  <a:gd name="connsiteY1557" fmla="*/ 1513 h 10000"/>
                  <a:gd name="connsiteX1558" fmla="*/ 3885 w 10785"/>
                  <a:gd name="connsiteY1558" fmla="*/ 1513 h 10000"/>
                  <a:gd name="connsiteX1559" fmla="*/ 3880 w 10785"/>
                  <a:gd name="connsiteY1559" fmla="*/ 1538 h 10000"/>
                  <a:gd name="connsiteX1560" fmla="*/ 3885 w 10785"/>
                  <a:gd name="connsiteY1560" fmla="*/ 1564 h 10000"/>
                  <a:gd name="connsiteX1561" fmla="*/ 3880 w 10785"/>
                  <a:gd name="connsiteY1561" fmla="*/ 1581 h 10000"/>
                  <a:gd name="connsiteX1562" fmla="*/ 3871 w 10785"/>
                  <a:gd name="connsiteY1562" fmla="*/ 1538 h 10000"/>
                  <a:gd name="connsiteX1563" fmla="*/ 3853 w 10785"/>
                  <a:gd name="connsiteY1563" fmla="*/ 1530 h 10000"/>
                  <a:gd name="connsiteX1564" fmla="*/ 3853 w 10785"/>
                  <a:gd name="connsiteY1564" fmla="*/ 1504 h 10000"/>
                  <a:gd name="connsiteX1565" fmla="*/ 3834 w 10785"/>
                  <a:gd name="connsiteY1565" fmla="*/ 1487 h 10000"/>
                  <a:gd name="connsiteX1566" fmla="*/ 3834 w 10785"/>
                  <a:gd name="connsiteY1566" fmla="*/ 1487 h 10000"/>
                  <a:gd name="connsiteX1567" fmla="*/ 3839 w 10785"/>
                  <a:gd name="connsiteY1567" fmla="*/ 1513 h 10000"/>
                  <a:gd name="connsiteX1568" fmla="*/ 3820 w 10785"/>
                  <a:gd name="connsiteY1568" fmla="*/ 1538 h 10000"/>
                  <a:gd name="connsiteX1569" fmla="*/ 3820 w 10785"/>
                  <a:gd name="connsiteY1569" fmla="*/ 1556 h 10000"/>
                  <a:gd name="connsiteX1570" fmla="*/ 3820 w 10785"/>
                  <a:gd name="connsiteY1570" fmla="*/ 1564 h 10000"/>
                  <a:gd name="connsiteX1571" fmla="*/ 3820 w 10785"/>
                  <a:gd name="connsiteY1571" fmla="*/ 1581 h 10000"/>
                  <a:gd name="connsiteX1572" fmla="*/ 3853 w 10785"/>
                  <a:gd name="connsiteY1572" fmla="*/ 1581 h 10000"/>
                  <a:gd name="connsiteX1573" fmla="*/ 3857 w 10785"/>
                  <a:gd name="connsiteY1573" fmla="*/ 1598 h 10000"/>
                  <a:gd name="connsiteX1574" fmla="*/ 3880 w 10785"/>
                  <a:gd name="connsiteY1574" fmla="*/ 1615 h 10000"/>
                  <a:gd name="connsiteX1575" fmla="*/ 3871 w 10785"/>
                  <a:gd name="connsiteY1575" fmla="*/ 1615 h 10000"/>
                  <a:gd name="connsiteX1576" fmla="*/ 3871 w 10785"/>
                  <a:gd name="connsiteY1576" fmla="*/ 1641 h 10000"/>
                  <a:gd name="connsiteX1577" fmla="*/ 3880 w 10785"/>
                  <a:gd name="connsiteY1577" fmla="*/ 1641 h 10000"/>
                  <a:gd name="connsiteX1578" fmla="*/ 3871 w 10785"/>
                  <a:gd name="connsiteY1578" fmla="*/ 1650 h 10000"/>
                  <a:gd name="connsiteX1579" fmla="*/ 3857 w 10785"/>
                  <a:gd name="connsiteY1579" fmla="*/ 1650 h 10000"/>
                  <a:gd name="connsiteX1580" fmla="*/ 3853 w 10785"/>
                  <a:gd name="connsiteY1580" fmla="*/ 1650 h 10000"/>
                  <a:gd name="connsiteX1581" fmla="*/ 3839 w 10785"/>
                  <a:gd name="connsiteY1581" fmla="*/ 1667 h 10000"/>
                  <a:gd name="connsiteX1582" fmla="*/ 3848 w 10785"/>
                  <a:gd name="connsiteY1582" fmla="*/ 1692 h 10000"/>
                  <a:gd name="connsiteX1583" fmla="*/ 3834 w 10785"/>
                  <a:gd name="connsiteY1583" fmla="*/ 1692 h 10000"/>
                  <a:gd name="connsiteX1584" fmla="*/ 3825 w 10785"/>
                  <a:gd name="connsiteY1584" fmla="*/ 1692 h 10000"/>
                  <a:gd name="connsiteX1585" fmla="*/ 3825 w 10785"/>
                  <a:gd name="connsiteY1585" fmla="*/ 1718 h 10000"/>
                  <a:gd name="connsiteX1586" fmla="*/ 3839 w 10785"/>
                  <a:gd name="connsiteY1586" fmla="*/ 1726 h 10000"/>
                  <a:gd name="connsiteX1587" fmla="*/ 3880 w 10785"/>
                  <a:gd name="connsiteY1587" fmla="*/ 1752 h 10000"/>
                  <a:gd name="connsiteX1588" fmla="*/ 3894 w 10785"/>
                  <a:gd name="connsiteY1588" fmla="*/ 1829 h 10000"/>
                  <a:gd name="connsiteX1589" fmla="*/ 3899 w 10785"/>
                  <a:gd name="connsiteY1589" fmla="*/ 1838 h 10000"/>
                  <a:gd name="connsiteX1590" fmla="*/ 3894 w 10785"/>
                  <a:gd name="connsiteY1590" fmla="*/ 1855 h 10000"/>
                  <a:gd name="connsiteX1591" fmla="*/ 3880 w 10785"/>
                  <a:gd name="connsiteY1591" fmla="*/ 1838 h 10000"/>
                  <a:gd name="connsiteX1592" fmla="*/ 3880 w 10785"/>
                  <a:gd name="connsiteY1592" fmla="*/ 1855 h 10000"/>
                  <a:gd name="connsiteX1593" fmla="*/ 3880 w 10785"/>
                  <a:gd name="connsiteY1593" fmla="*/ 1863 h 10000"/>
                  <a:gd name="connsiteX1594" fmla="*/ 3871 w 10785"/>
                  <a:gd name="connsiteY1594" fmla="*/ 1872 h 10000"/>
                  <a:gd name="connsiteX1595" fmla="*/ 3880 w 10785"/>
                  <a:gd name="connsiteY1595" fmla="*/ 1889 h 10000"/>
                  <a:gd name="connsiteX1596" fmla="*/ 3885 w 10785"/>
                  <a:gd name="connsiteY1596" fmla="*/ 1889 h 10000"/>
                  <a:gd name="connsiteX1597" fmla="*/ 3880 w 10785"/>
                  <a:gd name="connsiteY1597" fmla="*/ 1897 h 10000"/>
                  <a:gd name="connsiteX1598" fmla="*/ 3871 w 10785"/>
                  <a:gd name="connsiteY1598" fmla="*/ 1915 h 10000"/>
                  <a:gd name="connsiteX1599" fmla="*/ 3848 w 10785"/>
                  <a:gd name="connsiteY1599" fmla="*/ 1923 h 10000"/>
                  <a:gd name="connsiteX1600" fmla="*/ 3825 w 10785"/>
                  <a:gd name="connsiteY1600" fmla="*/ 1940 h 10000"/>
                  <a:gd name="connsiteX1601" fmla="*/ 3811 w 10785"/>
                  <a:gd name="connsiteY1601" fmla="*/ 1940 h 10000"/>
                  <a:gd name="connsiteX1602" fmla="*/ 3806 w 10785"/>
                  <a:gd name="connsiteY1602" fmla="*/ 1949 h 10000"/>
                  <a:gd name="connsiteX1603" fmla="*/ 3797 w 10785"/>
                  <a:gd name="connsiteY1603" fmla="*/ 1966 h 10000"/>
                  <a:gd name="connsiteX1604" fmla="*/ 3788 w 10785"/>
                  <a:gd name="connsiteY1604" fmla="*/ 1991 h 10000"/>
                  <a:gd name="connsiteX1605" fmla="*/ 3765 w 10785"/>
                  <a:gd name="connsiteY1605" fmla="*/ 1974 h 10000"/>
                  <a:gd name="connsiteX1606" fmla="*/ 3760 w 10785"/>
                  <a:gd name="connsiteY1606" fmla="*/ 1966 h 10000"/>
                  <a:gd name="connsiteX1607" fmla="*/ 3760 w 10785"/>
                  <a:gd name="connsiteY1607" fmla="*/ 1966 h 10000"/>
                  <a:gd name="connsiteX1608" fmla="*/ 3631 w 10785"/>
                  <a:gd name="connsiteY1608" fmla="*/ 2009 h 10000"/>
                  <a:gd name="connsiteX1609" fmla="*/ 3618 w 10785"/>
                  <a:gd name="connsiteY1609" fmla="*/ 2000 h 10000"/>
                  <a:gd name="connsiteX1610" fmla="*/ 3599 w 10785"/>
                  <a:gd name="connsiteY1610" fmla="*/ 2009 h 10000"/>
                  <a:gd name="connsiteX1611" fmla="*/ 3571 w 10785"/>
                  <a:gd name="connsiteY1611" fmla="*/ 2000 h 10000"/>
                  <a:gd name="connsiteX1612" fmla="*/ 3530 w 10785"/>
                  <a:gd name="connsiteY1612" fmla="*/ 2026 h 10000"/>
                  <a:gd name="connsiteX1613" fmla="*/ 3530 w 10785"/>
                  <a:gd name="connsiteY1613" fmla="*/ 2034 h 10000"/>
                  <a:gd name="connsiteX1614" fmla="*/ 3525 w 10785"/>
                  <a:gd name="connsiteY1614" fmla="*/ 2051 h 10000"/>
                  <a:gd name="connsiteX1615" fmla="*/ 3512 w 10785"/>
                  <a:gd name="connsiteY1615" fmla="*/ 2034 h 10000"/>
                  <a:gd name="connsiteX1616" fmla="*/ 3507 w 10785"/>
                  <a:gd name="connsiteY1616" fmla="*/ 2034 h 10000"/>
                  <a:gd name="connsiteX1617" fmla="*/ 3498 w 10785"/>
                  <a:gd name="connsiteY1617" fmla="*/ 2051 h 10000"/>
                  <a:gd name="connsiteX1618" fmla="*/ 3484 w 10785"/>
                  <a:gd name="connsiteY1618" fmla="*/ 2060 h 10000"/>
                  <a:gd name="connsiteX1619" fmla="*/ 3484 w 10785"/>
                  <a:gd name="connsiteY1619" fmla="*/ 2085 h 10000"/>
                  <a:gd name="connsiteX1620" fmla="*/ 3484 w 10785"/>
                  <a:gd name="connsiteY1620" fmla="*/ 2103 h 10000"/>
                  <a:gd name="connsiteX1621" fmla="*/ 3493 w 10785"/>
                  <a:gd name="connsiteY1621" fmla="*/ 2103 h 10000"/>
                  <a:gd name="connsiteX1622" fmla="*/ 3493 w 10785"/>
                  <a:gd name="connsiteY1622" fmla="*/ 2085 h 10000"/>
                  <a:gd name="connsiteX1623" fmla="*/ 3498 w 10785"/>
                  <a:gd name="connsiteY1623" fmla="*/ 2085 h 10000"/>
                  <a:gd name="connsiteX1624" fmla="*/ 3498 w 10785"/>
                  <a:gd name="connsiteY1624" fmla="*/ 2111 h 10000"/>
                  <a:gd name="connsiteX1625" fmla="*/ 3484 w 10785"/>
                  <a:gd name="connsiteY1625" fmla="*/ 2120 h 10000"/>
                  <a:gd name="connsiteX1626" fmla="*/ 3484 w 10785"/>
                  <a:gd name="connsiteY1626" fmla="*/ 2145 h 10000"/>
                  <a:gd name="connsiteX1627" fmla="*/ 3470 w 10785"/>
                  <a:gd name="connsiteY1627" fmla="*/ 2137 h 10000"/>
                  <a:gd name="connsiteX1628" fmla="*/ 3465 w 10785"/>
                  <a:gd name="connsiteY1628" fmla="*/ 2145 h 10000"/>
                  <a:gd name="connsiteX1629" fmla="*/ 3470 w 10785"/>
                  <a:gd name="connsiteY1629" fmla="*/ 2171 h 10000"/>
                  <a:gd name="connsiteX1630" fmla="*/ 3484 w 10785"/>
                  <a:gd name="connsiteY1630" fmla="*/ 2171 h 10000"/>
                  <a:gd name="connsiteX1631" fmla="*/ 3484 w 10785"/>
                  <a:gd name="connsiteY1631" fmla="*/ 2197 h 10000"/>
                  <a:gd name="connsiteX1632" fmla="*/ 3465 w 10785"/>
                  <a:gd name="connsiteY1632" fmla="*/ 2214 h 10000"/>
                  <a:gd name="connsiteX1633" fmla="*/ 3493 w 10785"/>
                  <a:gd name="connsiteY1633" fmla="*/ 2248 h 10000"/>
                  <a:gd name="connsiteX1634" fmla="*/ 3484 w 10785"/>
                  <a:gd name="connsiteY1634" fmla="*/ 2256 h 10000"/>
                  <a:gd name="connsiteX1635" fmla="*/ 3498 w 10785"/>
                  <a:gd name="connsiteY1635" fmla="*/ 2274 h 10000"/>
                  <a:gd name="connsiteX1636" fmla="*/ 3498 w 10785"/>
                  <a:gd name="connsiteY1636" fmla="*/ 2256 h 10000"/>
                  <a:gd name="connsiteX1637" fmla="*/ 3507 w 10785"/>
                  <a:gd name="connsiteY1637" fmla="*/ 2308 h 10000"/>
                  <a:gd name="connsiteX1638" fmla="*/ 3512 w 10785"/>
                  <a:gd name="connsiteY1638" fmla="*/ 2325 h 10000"/>
                  <a:gd name="connsiteX1639" fmla="*/ 3507 w 10785"/>
                  <a:gd name="connsiteY1639" fmla="*/ 2333 h 10000"/>
                  <a:gd name="connsiteX1640" fmla="*/ 3507 w 10785"/>
                  <a:gd name="connsiteY1640" fmla="*/ 2359 h 10000"/>
                  <a:gd name="connsiteX1641" fmla="*/ 3507 w 10785"/>
                  <a:gd name="connsiteY1641" fmla="*/ 2376 h 10000"/>
                  <a:gd name="connsiteX1642" fmla="*/ 3498 w 10785"/>
                  <a:gd name="connsiteY1642" fmla="*/ 2410 h 10000"/>
                  <a:gd name="connsiteX1643" fmla="*/ 3498 w 10785"/>
                  <a:gd name="connsiteY1643" fmla="*/ 2436 h 10000"/>
                  <a:gd name="connsiteX1644" fmla="*/ 3507 w 10785"/>
                  <a:gd name="connsiteY1644" fmla="*/ 2462 h 10000"/>
                  <a:gd name="connsiteX1645" fmla="*/ 3507 w 10785"/>
                  <a:gd name="connsiteY1645" fmla="*/ 2496 h 10000"/>
                  <a:gd name="connsiteX1646" fmla="*/ 3512 w 10785"/>
                  <a:gd name="connsiteY1646" fmla="*/ 2521 h 10000"/>
                  <a:gd name="connsiteX1647" fmla="*/ 3525 w 10785"/>
                  <a:gd name="connsiteY1647" fmla="*/ 2556 h 10000"/>
                  <a:gd name="connsiteX1648" fmla="*/ 3571 w 10785"/>
                  <a:gd name="connsiteY1648" fmla="*/ 2573 h 10000"/>
                  <a:gd name="connsiteX1649" fmla="*/ 3590 w 10785"/>
                  <a:gd name="connsiteY1649" fmla="*/ 2598 h 10000"/>
                  <a:gd name="connsiteX1650" fmla="*/ 3599 w 10785"/>
                  <a:gd name="connsiteY1650" fmla="*/ 2598 h 10000"/>
                  <a:gd name="connsiteX1651" fmla="*/ 3604 w 10785"/>
                  <a:gd name="connsiteY1651" fmla="*/ 2632 h 10000"/>
                  <a:gd name="connsiteX1652" fmla="*/ 3599 w 10785"/>
                  <a:gd name="connsiteY1652" fmla="*/ 2658 h 10000"/>
                  <a:gd name="connsiteX1653" fmla="*/ 3590 w 10785"/>
                  <a:gd name="connsiteY1653" fmla="*/ 2667 h 10000"/>
                  <a:gd name="connsiteX1654" fmla="*/ 3604 w 10785"/>
                  <a:gd name="connsiteY1654" fmla="*/ 2667 h 10000"/>
                  <a:gd name="connsiteX1655" fmla="*/ 3613 w 10785"/>
                  <a:gd name="connsiteY1655" fmla="*/ 2692 h 10000"/>
                  <a:gd name="connsiteX1656" fmla="*/ 3627 w 10785"/>
                  <a:gd name="connsiteY1656" fmla="*/ 2735 h 10000"/>
                  <a:gd name="connsiteX1657" fmla="*/ 3631 w 10785"/>
                  <a:gd name="connsiteY1657" fmla="*/ 2744 h 10000"/>
                  <a:gd name="connsiteX1658" fmla="*/ 3659 w 10785"/>
                  <a:gd name="connsiteY1658" fmla="*/ 2761 h 10000"/>
                  <a:gd name="connsiteX1659" fmla="*/ 3673 w 10785"/>
                  <a:gd name="connsiteY1659" fmla="*/ 2769 h 10000"/>
                  <a:gd name="connsiteX1660" fmla="*/ 3673 w 10785"/>
                  <a:gd name="connsiteY1660" fmla="*/ 2761 h 10000"/>
                  <a:gd name="connsiteX1661" fmla="*/ 3687 w 10785"/>
                  <a:gd name="connsiteY1661" fmla="*/ 2829 h 10000"/>
                  <a:gd name="connsiteX1662" fmla="*/ 3677 w 10785"/>
                  <a:gd name="connsiteY1662" fmla="*/ 2897 h 10000"/>
                  <a:gd name="connsiteX1663" fmla="*/ 3673 w 10785"/>
                  <a:gd name="connsiteY1663" fmla="*/ 2915 h 10000"/>
                  <a:gd name="connsiteX1664" fmla="*/ 3664 w 10785"/>
                  <a:gd name="connsiteY1664" fmla="*/ 2957 h 10000"/>
                  <a:gd name="connsiteX1665" fmla="*/ 3659 w 10785"/>
                  <a:gd name="connsiteY1665" fmla="*/ 2983 h 10000"/>
                  <a:gd name="connsiteX1666" fmla="*/ 3664 w 10785"/>
                  <a:gd name="connsiteY1666" fmla="*/ 3017 h 10000"/>
                  <a:gd name="connsiteX1667" fmla="*/ 3659 w 10785"/>
                  <a:gd name="connsiteY1667" fmla="*/ 3043 h 10000"/>
                  <a:gd name="connsiteX1668" fmla="*/ 3677 w 10785"/>
                  <a:gd name="connsiteY1668" fmla="*/ 3094 h 10000"/>
                  <a:gd name="connsiteX1669" fmla="*/ 3691 w 10785"/>
                  <a:gd name="connsiteY1669" fmla="*/ 3282 h 10000"/>
                  <a:gd name="connsiteX1670" fmla="*/ 3691 w 10785"/>
                  <a:gd name="connsiteY1670" fmla="*/ 3308 h 10000"/>
                  <a:gd name="connsiteX1671" fmla="*/ 3677 w 10785"/>
                  <a:gd name="connsiteY1671" fmla="*/ 3342 h 10000"/>
                  <a:gd name="connsiteX1672" fmla="*/ 3664 w 10785"/>
                  <a:gd name="connsiteY1672" fmla="*/ 3342 h 10000"/>
                  <a:gd name="connsiteX1673" fmla="*/ 3650 w 10785"/>
                  <a:gd name="connsiteY1673" fmla="*/ 3342 h 10000"/>
                  <a:gd name="connsiteX1674" fmla="*/ 3650 w 10785"/>
                  <a:gd name="connsiteY1674" fmla="*/ 3350 h 10000"/>
                  <a:gd name="connsiteX1675" fmla="*/ 3659 w 10785"/>
                  <a:gd name="connsiteY1675" fmla="*/ 3402 h 10000"/>
                  <a:gd name="connsiteX1676" fmla="*/ 3659 w 10785"/>
                  <a:gd name="connsiteY1676" fmla="*/ 3419 h 10000"/>
                  <a:gd name="connsiteX1677" fmla="*/ 3631 w 10785"/>
                  <a:gd name="connsiteY1677" fmla="*/ 3402 h 10000"/>
                  <a:gd name="connsiteX1678" fmla="*/ 3604 w 10785"/>
                  <a:gd name="connsiteY1678" fmla="*/ 3393 h 10000"/>
                  <a:gd name="connsiteX1679" fmla="*/ 3599 w 10785"/>
                  <a:gd name="connsiteY1679" fmla="*/ 3368 h 10000"/>
                  <a:gd name="connsiteX1680" fmla="*/ 3590 w 10785"/>
                  <a:gd name="connsiteY1680" fmla="*/ 3239 h 10000"/>
                  <a:gd name="connsiteX1681" fmla="*/ 3599 w 10785"/>
                  <a:gd name="connsiteY1681" fmla="*/ 3179 h 10000"/>
                  <a:gd name="connsiteX1682" fmla="*/ 3599 w 10785"/>
                  <a:gd name="connsiteY1682" fmla="*/ 3171 h 10000"/>
                  <a:gd name="connsiteX1683" fmla="*/ 3599 w 10785"/>
                  <a:gd name="connsiteY1683" fmla="*/ 3009 h 10000"/>
                  <a:gd name="connsiteX1684" fmla="*/ 3604 w 10785"/>
                  <a:gd name="connsiteY1684" fmla="*/ 2983 h 10000"/>
                  <a:gd name="connsiteX1685" fmla="*/ 3645 w 10785"/>
                  <a:gd name="connsiteY1685" fmla="*/ 2932 h 10000"/>
                  <a:gd name="connsiteX1686" fmla="*/ 3650 w 10785"/>
                  <a:gd name="connsiteY1686" fmla="*/ 2872 h 10000"/>
                  <a:gd name="connsiteX1687" fmla="*/ 3659 w 10785"/>
                  <a:gd name="connsiteY1687" fmla="*/ 2855 h 10000"/>
                  <a:gd name="connsiteX1688" fmla="*/ 3659 w 10785"/>
                  <a:gd name="connsiteY1688" fmla="*/ 2821 h 10000"/>
                  <a:gd name="connsiteX1689" fmla="*/ 3631 w 10785"/>
                  <a:gd name="connsiteY1689" fmla="*/ 2795 h 10000"/>
                  <a:gd name="connsiteX1690" fmla="*/ 3567 w 10785"/>
                  <a:gd name="connsiteY1690" fmla="*/ 2821 h 10000"/>
                  <a:gd name="connsiteX1691" fmla="*/ 3544 w 10785"/>
                  <a:gd name="connsiteY1691" fmla="*/ 2795 h 10000"/>
                  <a:gd name="connsiteX1692" fmla="*/ 3530 w 10785"/>
                  <a:gd name="connsiteY1692" fmla="*/ 2769 h 10000"/>
                  <a:gd name="connsiteX1693" fmla="*/ 3530 w 10785"/>
                  <a:gd name="connsiteY1693" fmla="*/ 2786 h 10000"/>
                  <a:gd name="connsiteX1694" fmla="*/ 3498 w 10785"/>
                  <a:gd name="connsiteY1694" fmla="*/ 2692 h 10000"/>
                  <a:gd name="connsiteX1695" fmla="*/ 3498 w 10785"/>
                  <a:gd name="connsiteY1695" fmla="*/ 2667 h 10000"/>
                  <a:gd name="connsiteX1696" fmla="*/ 3442 w 10785"/>
                  <a:gd name="connsiteY1696" fmla="*/ 2607 h 10000"/>
                  <a:gd name="connsiteX1697" fmla="*/ 3433 w 10785"/>
                  <a:gd name="connsiteY1697" fmla="*/ 2581 h 10000"/>
                  <a:gd name="connsiteX1698" fmla="*/ 3396 w 10785"/>
                  <a:gd name="connsiteY1698" fmla="*/ 2556 h 10000"/>
                  <a:gd name="connsiteX1699" fmla="*/ 3318 w 10785"/>
                  <a:gd name="connsiteY1699" fmla="*/ 2556 h 10000"/>
                  <a:gd name="connsiteX1700" fmla="*/ 3304 w 10785"/>
                  <a:gd name="connsiteY1700" fmla="*/ 2607 h 10000"/>
                  <a:gd name="connsiteX1701" fmla="*/ 3276 w 10785"/>
                  <a:gd name="connsiteY1701" fmla="*/ 2632 h 10000"/>
                  <a:gd name="connsiteX1702" fmla="*/ 3272 w 10785"/>
                  <a:gd name="connsiteY1702" fmla="*/ 2667 h 10000"/>
                  <a:gd name="connsiteX1703" fmla="*/ 3304 w 10785"/>
                  <a:gd name="connsiteY1703" fmla="*/ 2667 h 10000"/>
                  <a:gd name="connsiteX1704" fmla="*/ 3323 w 10785"/>
                  <a:gd name="connsiteY1704" fmla="*/ 2692 h 10000"/>
                  <a:gd name="connsiteX1705" fmla="*/ 3318 w 10785"/>
                  <a:gd name="connsiteY1705" fmla="*/ 2735 h 10000"/>
                  <a:gd name="connsiteX1706" fmla="*/ 3304 w 10785"/>
                  <a:gd name="connsiteY1706" fmla="*/ 2761 h 10000"/>
                  <a:gd name="connsiteX1707" fmla="*/ 3276 w 10785"/>
                  <a:gd name="connsiteY1707" fmla="*/ 2769 h 10000"/>
                  <a:gd name="connsiteX1708" fmla="*/ 3263 w 10785"/>
                  <a:gd name="connsiteY1708" fmla="*/ 2795 h 10000"/>
                  <a:gd name="connsiteX1709" fmla="*/ 3235 w 10785"/>
                  <a:gd name="connsiteY1709" fmla="*/ 2803 h 10000"/>
                  <a:gd name="connsiteX1710" fmla="*/ 3235 w 10785"/>
                  <a:gd name="connsiteY1710" fmla="*/ 2786 h 10000"/>
                  <a:gd name="connsiteX1711" fmla="*/ 3212 w 10785"/>
                  <a:gd name="connsiteY1711" fmla="*/ 2709 h 10000"/>
                  <a:gd name="connsiteX1712" fmla="*/ 3198 w 10785"/>
                  <a:gd name="connsiteY1712" fmla="*/ 2709 h 10000"/>
                  <a:gd name="connsiteX1713" fmla="*/ 3184 w 10785"/>
                  <a:gd name="connsiteY1713" fmla="*/ 2735 h 10000"/>
                  <a:gd name="connsiteX1714" fmla="*/ 3189 w 10785"/>
                  <a:gd name="connsiteY1714" fmla="*/ 2761 h 10000"/>
                  <a:gd name="connsiteX1715" fmla="*/ 3203 w 10785"/>
                  <a:gd name="connsiteY1715" fmla="*/ 2855 h 10000"/>
                  <a:gd name="connsiteX1716" fmla="*/ 3212 w 10785"/>
                  <a:gd name="connsiteY1716" fmla="*/ 2872 h 10000"/>
                  <a:gd name="connsiteX1717" fmla="*/ 3235 w 10785"/>
                  <a:gd name="connsiteY1717" fmla="*/ 2906 h 10000"/>
                  <a:gd name="connsiteX1718" fmla="*/ 3258 w 10785"/>
                  <a:gd name="connsiteY1718" fmla="*/ 2915 h 10000"/>
                  <a:gd name="connsiteX1719" fmla="*/ 3272 w 10785"/>
                  <a:gd name="connsiteY1719" fmla="*/ 2957 h 10000"/>
                  <a:gd name="connsiteX1720" fmla="*/ 3276 w 10785"/>
                  <a:gd name="connsiteY1720" fmla="*/ 2957 h 10000"/>
                  <a:gd name="connsiteX1721" fmla="*/ 3286 w 10785"/>
                  <a:gd name="connsiteY1721" fmla="*/ 2966 h 10000"/>
                  <a:gd name="connsiteX1722" fmla="*/ 3300 w 10785"/>
                  <a:gd name="connsiteY1722" fmla="*/ 2957 h 10000"/>
                  <a:gd name="connsiteX1723" fmla="*/ 3309 w 10785"/>
                  <a:gd name="connsiteY1723" fmla="*/ 2932 h 10000"/>
                  <a:gd name="connsiteX1724" fmla="*/ 3304 w 10785"/>
                  <a:gd name="connsiteY1724" fmla="*/ 2966 h 10000"/>
                  <a:gd name="connsiteX1725" fmla="*/ 3309 w 10785"/>
                  <a:gd name="connsiteY1725" fmla="*/ 2983 h 10000"/>
                  <a:gd name="connsiteX1726" fmla="*/ 3323 w 10785"/>
                  <a:gd name="connsiteY1726" fmla="*/ 2966 h 10000"/>
                  <a:gd name="connsiteX1727" fmla="*/ 3323 w 10785"/>
                  <a:gd name="connsiteY1727" fmla="*/ 3043 h 10000"/>
                  <a:gd name="connsiteX1728" fmla="*/ 3346 w 10785"/>
                  <a:gd name="connsiteY1728" fmla="*/ 3068 h 10000"/>
                  <a:gd name="connsiteX1729" fmla="*/ 3346 w 10785"/>
                  <a:gd name="connsiteY1729" fmla="*/ 3094 h 10000"/>
                  <a:gd name="connsiteX1730" fmla="*/ 3323 w 10785"/>
                  <a:gd name="connsiteY1730" fmla="*/ 3094 h 10000"/>
                  <a:gd name="connsiteX1731" fmla="*/ 3309 w 10785"/>
                  <a:gd name="connsiteY1731" fmla="*/ 3077 h 10000"/>
                  <a:gd name="connsiteX1732" fmla="*/ 3304 w 10785"/>
                  <a:gd name="connsiteY1732" fmla="*/ 3051 h 10000"/>
                  <a:gd name="connsiteX1733" fmla="*/ 3300 w 10785"/>
                  <a:gd name="connsiteY1733" fmla="*/ 3043 h 10000"/>
                  <a:gd name="connsiteX1734" fmla="*/ 3286 w 10785"/>
                  <a:gd name="connsiteY1734" fmla="*/ 3017 h 10000"/>
                  <a:gd name="connsiteX1735" fmla="*/ 3152 w 10785"/>
                  <a:gd name="connsiteY1735" fmla="*/ 2966 h 10000"/>
                  <a:gd name="connsiteX1736" fmla="*/ 3129 w 10785"/>
                  <a:gd name="connsiteY1736" fmla="*/ 2915 h 10000"/>
                  <a:gd name="connsiteX1737" fmla="*/ 3129 w 10785"/>
                  <a:gd name="connsiteY1737" fmla="*/ 2906 h 10000"/>
                  <a:gd name="connsiteX1738" fmla="*/ 3152 w 10785"/>
                  <a:gd name="connsiteY1738" fmla="*/ 2906 h 10000"/>
                  <a:gd name="connsiteX1739" fmla="*/ 3152 w 10785"/>
                  <a:gd name="connsiteY1739" fmla="*/ 2846 h 10000"/>
                  <a:gd name="connsiteX1740" fmla="*/ 3138 w 10785"/>
                  <a:gd name="connsiteY1740" fmla="*/ 2795 h 10000"/>
                  <a:gd name="connsiteX1741" fmla="*/ 3138 w 10785"/>
                  <a:gd name="connsiteY1741" fmla="*/ 2769 h 10000"/>
                  <a:gd name="connsiteX1742" fmla="*/ 3143 w 10785"/>
                  <a:gd name="connsiteY1742" fmla="*/ 2718 h 10000"/>
                  <a:gd name="connsiteX1743" fmla="*/ 3129 w 10785"/>
                  <a:gd name="connsiteY1743" fmla="*/ 2692 h 10000"/>
                  <a:gd name="connsiteX1744" fmla="*/ 3143 w 10785"/>
                  <a:gd name="connsiteY1744" fmla="*/ 2667 h 10000"/>
                  <a:gd name="connsiteX1745" fmla="*/ 3157 w 10785"/>
                  <a:gd name="connsiteY1745" fmla="*/ 2581 h 10000"/>
                  <a:gd name="connsiteX1746" fmla="*/ 3143 w 10785"/>
                  <a:gd name="connsiteY1746" fmla="*/ 2496 h 10000"/>
                  <a:gd name="connsiteX1747" fmla="*/ 3157 w 10785"/>
                  <a:gd name="connsiteY1747" fmla="*/ 2487 h 10000"/>
                  <a:gd name="connsiteX1748" fmla="*/ 3143 w 10785"/>
                  <a:gd name="connsiteY1748" fmla="*/ 2444 h 10000"/>
                  <a:gd name="connsiteX1749" fmla="*/ 3143 w 10785"/>
                  <a:gd name="connsiteY1749" fmla="*/ 2419 h 10000"/>
                  <a:gd name="connsiteX1750" fmla="*/ 3143 w 10785"/>
                  <a:gd name="connsiteY1750" fmla="*/ 2410 h 10000"/>
                  <a:gd name="connsiteX1751" fmla="*/ 3124 w 10785"/>
                  <a:gd name="connsiteY1751" fmla="*/ 2376 h 10000"/>
                  <a:gd name="connsiteX1752" fmla="*/ 3115 w 10785"/>
                  <a:gd name="connsiteY1752" fmla="*/ 2350 h 10000"/>
                  <a:gd name="connsiteX1753" fmla="*/ 3101 w 10785"/>
                  <a:gd name="connsiteY1753" fmla="*/ 2359 h 10000"/>
                  <a:gd name="connsiteX1754" fmla="*/ 3115 w 10785"/>
                  <a:gd name="connsiteY1754" fmla="*/ 2581 h 10000"/>
                  <a:gd name="connsiteX1755" fmla="*/ 3111 w 10785"/>
                  <a:gd name="connsiteY1755" fmla="*/ 2624 h 10000"/>
                  <a:gd name="connsiteX1756" fmla="*/ 3009 w 10785"/>
                  <a:gd name="connsiteY1756" fmla="*/ 2761 h 10000"/>
                  <a:gd name="connsiteX1757" fmla="*/ 3009 w 10785"/>
                  <a:gd name="connsiteY1757" fmla="*/ 2803 h 10000"/>
                  <a:gd name="connsiteX1758" fmla="*/ 3005 w 10785"/>
                  <a:gd name="connsiteY1758" fmla="*/ 2829 h 10000"/>
                  <a:gd name="connsiteX1759" fmla="*/ 2982 w 10785"/>
                  <a:gd name="connsiteY1759" fmla="*/ 2872 h 10000"/>
                  <a:gd name="connsiteX1760" fmla="*/ 2982 w 10785"/>
                  <a:gd name="connsiteY1760" fmla="*/ 2880 h 10000"/>
                  <a:gd name="connsiteX1761" fmla="*/ 3037 w 10785"/>
                  <a:gd name="connsiteY1761" fmla="*/ 3034 h 10000"/>
                  <a:gd name="connsiteX1762" fmla="*/ 3041 w 10785"/>
                  <a:gd name="connsiteY1762" fmla="*/ 3103 h 10000"/>
                  <a:gd name="connsiteX1763" fmla="*/ 3069 w 10785"/>
                  <a:gd name="connsiteY1763" fmla="*/ 3188 h 10000"/>
                  <a:gd name="connsiteX1764" fmla="*/ 3055 w 10785"/>
                  <a:gd name="connsiteY1764" fmla="*/ 3325 h 10000"/>
                  <a:gd name="connsiteX1765" fmla="*/ 3037 w 10785"/>
                  <a:gd name="connsiteY1765" fmla="*/ 3368 h 10000"/>
                  <a:gd name="connsiteX1766" fmla="*/ 3037 w 10785"/>
                  <a:gd name="connsiteY1766" fmla="*/ 3444 h 10000"/>
                  <a:gd name="connsiteX1767" fmla="*/ 3028 w 10785"/>
                  <a:gd name="connsiteY1767" fmla="*/ 3453 h 10000"/>
                  <a:gd name="connsiteX1768" fmla="*/ 3023 w 10785"/>
                  <a:gd name="connsiteY1768" fmla="*/ 3530 h 10000"/>
                  <a:gd name="connsiteX1769" fmla="*/ 3051 w 10785"/>
                  <a:gd name="connsiteY1769" fmla="*/ 3624 h 10000"/>
                  <a:gd name="connsiteX1770" fmla="*/ 3037 w 10785"/>
                  <a:gd name="connsiteY1770" fmla="*/ 3718 h 10000"/>
                  <a:gd name="connsiteX1771" fmla="*/ 3041 w 10785"/>
                  <a:gd name="connsiteY1771" fmla="*/ 3752 h 10000"/>
                  <a:gd name="connsiteX1772" fmla="*/ 3055 w 10785"/>
                  <a:gd name="connsiteY1772" fmla="*/ 3761 h 10000"/>
                  <a:gd name="connsiteX1773" fmla="*/ 3078 w 10785"/>
                  <a:gd name="connsiteY1773" fmla="*/ 3752 h 10000"/>
                  <a:gd name="connsiteX1774" fmla="*/ 3092 w 10785"/>
                  <a:gd name="connsiteY1774" fmla="*/ 3752 h 10000"/>
                  <a:gd name="connsiteX1775" fmla="*/ 3129 w 10785"/>
                  <a:gd name="connsiteY1775" fmla="*/ 3761 h 10000"/>
                  <a:gd name="connsiteX1776" fmla="*/ 3129 w 10785"/>
                  <a:gd name="connsiteY1776" fmla="*/ 3735 h 10000"/>
                  <a:gd name="connsiteX1777" fmla="*/ 3157 w 10785"/>
                  <a:gd name="connsiteY1777" fmla="*/ 3718 h 10000"/>
                  <a:gd name="connsiteX1778" fmla="*/ 3184 w 10785"/>
                  <a:gd name="connsiteY1778" fmla="*/ 3718 h 10000"/>
                  <a:gd name="connsiteX1779" fmla="*/ 3290 w 10785"/>
                  <a:gd name="connsiteY1779" fmla="*/ 3838 h 10000"/>
                  <a:gd name="connsiteX1780" fmla="*/ 3300 w 10785"/>
                  <a:gd name="connsiteY1780" fmla="*/ 3846 h 10000"/>
                  <a:gd name="connsiteX1781" fmla="*/ 3300 w 10785"/>
                  <a:gd name="connsiteY1781" fmla="*/ 3915 h 10000"/>
                  <a:gd name="connsiteX1782" fmla="*/ 3318 w 10785"/>
                  <a:gd name="connsiteY1782" fmla="*/ 4000 h 10000"/>
                  <a:gd name="connsiteX1783" fmla="*/ 3323 w 10785"/>
                  <a:gd name="connsiteY1783" fmla="*/ 4000 h 10000"/>
                  <a:gd name="connsiteX1784" fmla="*/ 3323 w 10785"/>
                  <a:gd name="connsiteY1784" fmla="*/ 4034 h 10000"/>
                  <a:gd name="connsiteX1785" fmla="*/ 3318 w 10785"/>
                  <a:gd name="connsiteY1785" fmla="*/ 4051 h 10000"/>
                  <a:gd name="connsiteX1786" fmla="*/ 3300 w 10785"/>
                  <a:gd name="connsiteY1786" fmla="*/ 4051 h 10000"/>
                  <a:gd name="connsiteX1787" fmla="*/ 3290 w 10785"/>
                  <a:gd name="connsiteY1787" fmla="*/ 4077 h 10000"/>
                  <a:gd name="connsiteX1788" fmla="*/ 3286 w 10785"/>
                  <a:gd name="connsiteY1788" fmla="*/ 4103 h 10000"/>
                  <a:gd name="connsiteX1789" fmla="*/ 3286 w 10785"/>
                  <a:gd name="connsiteY1789" fmla="*/ 4197 h 10000"/>
                  <a:gd name="connsiteX1790" fmla="*/ 3290 w 10785"/>
                  <a:gd name="connsiteY1790" fmla="*/ 4214 h 10000"/>
                  <a:gd name="connsiteX1791" fmla="*/ 3304 w 10785"/>
                  <a:gd name="connsiteY1791" fmla="*/ 4214 h 10000"/>
                  <a:gd name="connsiteX1792" fmla="*/ 3323 w 10785"/>
                  <a:gd name="connsiteY1792" fmla="*/ 4239 h 10000"/>
                  <a:gd name="connsiteX1793" fmla="*/ 3350 w 10785"/>
                  <a:gd name="connsiteY1793" fmla="*/ 4222 h 10000"/>
                  <a:gd name="connsiteX1794" fmla="*/ 3369 w 10785"/>
                  <a:gd name="connsiteY1794" fmla="*/ 4256 h 10000"/>
                  <a:gd name="connsiteX1795" fmla="*/ 3369 w 10785"/>
                  <a:gd name="connsiteY1795" fmla="*/ 4256 h 10000"/>
                  <a:gd name="connsiteX1796" fmla="*/ 3336 w 10785"/>
                  <a:gd name="connsiteY1796" fmla="*/ 4274 h 10000"/>
                  <a:gd name="connsiteX1797" fmla="*/ 3323 w 10785"/>
                  <a:gd name="connsiteY1797" fmla="*/ 4274 h 10000"/>
                  <a:gd name="connsiteX1798" fmla="*/ 3290 w 10785"/>
                  <a:gd name="connsiteY1798" fmla="*/ 4274 h 10000"/>
                  <a:gd name="connsiteX1799" fmla="*/ 3286 w 10785"/>
                  <a:gd name="connsiteY1799" fmla="*/ 4239 h 10000"/>
                  <a:gd name="connsiteX1800" fmla="*/ 3263 w 10785"/>
                  <a:gd name="connsiteY1800" fmla="*/ 4214 h 10000"/>
                  <a:gd name="connsiteX1801" fmla="*/ 3258 w 10785"/>
                  <a:gd name="connsiteY1801" fmla="*/ 4188 h 10000"/>
                  <a:gd name="connsiteX1802" fmla="*/ 3263 w 10785"/>
                  <a:gd name="connsiteY1802" fmla="*/ 4171 h 10000"/>
                  <a:gd name="connsiteX1803" fmla="*/ 3263 w 10785"/>
                  <a:gd name="connsiteY1803" fmla="*/ 4103 h 10000"/>
                  <a:gd name="connsiteX1804" fmla="*/ 3276 w 10785"/>
                  <a:gd name="connsiteY1804" fmla="*/ 4060 h 10000"/>
                  <a:gd name="connsiteX1805" fmla="*/ 3272 w 10785"/>
                  <a:gd name="connsiteY1805" fmla="*/ 4051 h 10000"/>
                  <a:gd name="connsiteX1806" fmla="*/ 3263 w 10785"/>
                  <a:gd name="connsiteY1806" fmla="*/ 4051 h 10000"/>
                  <a:gd name="connsiteX1807" fmla="*/ 3263 w 10785"/>
                  <a:gd name="connsiteY1807" fmla="*/ 4034 h 10000"/>
                  <a:gd name="connsiteX1808" fmla="*/ 3263 w 10785"/>
                  <a:gd name="connsiteY1808" fmla="*/ 4000 h 10000"/>
                  <a:gd name="connsiteX1809" fmla="*/ 3272 w 10785"/>
                  <a:gd name="connsiteY1809" fmla="*/ 4000 h 10000"/>
                  <a:gd name="connsiteX1810" fmla="*/ 3272 w 10785"/>
                  <a:gd name="connsiteY1810" fmla="*/ 3974 h 10000"/>
                  <a:gd name="connsiteX1811" fmla="*/ 3272 w 10785"/>
                  <a:gd name="connsiteY1811" fmla="*/ 3966 h 10000"/>
                  <a:gd name="connsiteX1812" fmla="*/ 3272 w 10785"/>
                  <a:gd name="connsiteY1812" fmla="*/ 3949 h 10000"/>
                  <a:gd name="connsiteX1813" fmla="*/ 3258 w 10785"/>
                  <a:gd name="connsiteY1813" fmla="*/ 3923 h 10000"/>
                  <a:gd name="connsiteX1814" fmla="*/ 3249 w 10785"/>
                  <a:gd name="connsiteY1814" fmla="*/ 3915 h 10000"/>
                  <a:gd name="connsiteX1815" fmla="*/ 3244 w 10785"/>
                  <a:gd name="connsiteY1815" fmla="*/ 3897 h 10000"/>
                  <a:gd name="connsiteX1816" fmla="*/ 3230 w 10785"/>
                  <a:gd name="connsiteY1816" fmla="*/ 3889 h 10000"/>
                  <a:gd name="connsiteX1817" fmla="*/ 3230 w 10785"/>
                  <a:gd name="connsiteY1817" fmla="*/ 3863 h 10000"/>
                  <a:gd name="connsiteX1818" fmla="*/ 3230 w 10785"/>
                  <a:gd name="connsiteY1818" fmla="*/ 3838 h 10000"/>
                  <a:gd name="connsiteX1819" fmla="*/ 3226 w 10785"/>
                  <a:gd name="connsiteY1819" fmla="*/ 3803 h 10000"/>
                  <a:gd name="connsiteX1820" fmla="*/ 3138 w 10785"/>
                  <a:gd name="connsiteY1820" fmla="*/ 3838 h 10000"/>
                  <a:gd name="connsiteX1821" fmla="*/ 3078 w 10785"/>
                  <a:gd name="connsiteY1821" fmla="*/ 3889 h 10000"/>
                  <a:gd name="connsiteX1822" fmla="*/ 3078 w 10785"/>
                  <a:gd name="connsiteY1822" fmla="*/ 3940 h 10000"/>
                  <a:gd name="connsiteX1823" fmla="*/ 3069 w 10785"/>
                  <a:gd name="connsiteY1823" fmla="*/ 3983 h 10000"/>
                  <a:gd name="connsiteX1824" fmla="*/ 3069 w 10785"/>
                  <a:gd name="connsiteY1824" fmla="*/ 4009 h 10000"/>
                  <a:gd name="connsiteX1825" fmla="*/ 3078 w 10785"/>
                  <a:gd name="connsiteY1825" fmla="*/ 4026 h 10000"/>
                  <a:gd name="connsiteX1826" fmla="*/ 3083 w 10785"/>
                  <a:gd name="connsiteY1826" fmla="*/ 4034 h 10000"/>
                  <a:gd name="connsiteX1827" fmla="*/ 3092 w 10785"/>
                  <a:gd name="connsiteY1827" fmla="*/ 4060 h 10000"/>
                  <a:gd name="connsiteX1828" fmla="*/ 3092 w 10785"/>
                  <a:gd name="connsiteY1828" fmla="*/ 4077 h 10000"/>
                  <a:gd name="connsiteX1829" fmla="*/ 3097 w 10785"/>
                  <a:gd name="connsiteY1829" fmla="*/ 4103 h 10000"/>
                  <a:gd name="connsiteX1830" fmla="*/ 3101 w 10785"/>
                  <a:gd name="connsiteY1830" fmla="*/ 4162 h 10000"/>
                  <a:gd name="connsiteX1831" fmla="*/ 3097 w 10785"/>
                  <a:gd name="connsiteY1831" fmla="*/ 4222 h 10000"/>
                  <a:gd name="connsiteX1832" fmla="*/ 3041 w 10785"/>
                  <a:gd name="connsiteY1832" fmla="*/ 4325 h 10000"/>
                  <a:gd name="connsiteX1833" fmla="*/ 3037 w 10785"/>
                  <a:gd name="connsiteY1833" fmla="*/ 4419 h 10000"/>
                  <a:gd name="connsiteX1834" fmla="*/ 3018 w 10785"/>
                  <a:gd name="connsiteY1834" fmla="*/ 4470 h 10000"/>
                  <a:gd name="connsiteX1835" fmla="*/ 2991 w 10785"/>
                  <a:gd name="connsiteY1835" fmla="*/ 4513 h 10000"/>
                  <a:gd name="connsiteX1836" fmla="*/ 2977 w 10785"/>
                  <a:gd name="connsiteY1836" fmla="*/ 4530 h 10000"/>
                  <a:gd name="connsiteX1837" fmla="*/ 2945 w 10785"/>
                  <a:gd name="connsiteY1837" fmla="*/ 4556 h 10000"/>
                  <a:gd name="connsiteX1838" fmla="*/ 2935 w 10785"/>
                  <a:gd name="connsiteY1838" fmla="*/ 4581 h 10000"/>
                  <a:gd name="connsiteX1839" fmla="*/ 2949 w 10785"/>
                  <a:gd name="connsiteY1839" fmla="*/ 4624 h 10000"/>
                  <a:gd name="connsiteX1840" fmla="*/ 2945 w 10785"/>
                  <a:gd name="connsiteY1840" fmla="*/ 4658 h 10000"/>
                  <a:gd name="connsiteX1841" fmla="*/ 2922 w 10785"/>
                  <a:gd name="connsiteY1841" fmla="*/ 4667 h 10000"/>
                  <a:gd name="connsiteX1842" fmla="*/ 2876 w 10785"/>
                  <a:gd name="connsiteY1842" fmla="*/ 4632 h 10000"/>
                  <a:gd name="connsiteX1843" fmla="*/ 2857 w 10785"/>
                  <a:gd name="connsiteY1843" fmla="*/ 4632 h 10000"/>
                  <a:gd name="connsiteX1844" fmla="*/ 2820 w 10785"/>
                  <a:gd name="connsiteY1844" fmla="*/ 4641 h 10000"/>
                  <a:gd name="connsiteX1845" fmla="*/ 2797 w 10785"/>
                  <a:gd name="connsiteY1845" fmla="*/ 4632 h 10000"/>
                  <a:gd name="connsiteX1846" fmla="*/ 2788 w 10785"/>
                  <a:gd name="connsiteY1846" fmla="*/ 4624 h 10000"/>
                  <a:gd name="connsiteX1847" fmla="*/ 2788 w 10785"/>
                  <a:gd name="connsiteY1847" fmla="*/ 4598 h 10000"/>
                  <a:gd name="connsiteX1848" fmla="*/ 2797 w 10785"/>
                  <a:gd name="connsiteY1848" fmla="*/ 4581 h 10000"/>
                  <a:gd name="connsiteX1849" fmla="*/ 2788 w 10785"/>
                  <a:gd name="connsiteY1849" fmla="*/ 4530 h 10000"/>
                  <a:gd name="connsiteX1850" fmla="*/ 2774 w 10785"/>
                  <a:gd name="connsiteY1850" fmla="*/ 4530 h 10000"/>
                  <a:gd name="connsiteX1851" fmla="*/ 2770 w 10785"/>
                  <a:gd name="connsiteY1851" fmla="*/ 4513 h 10000"/>
                  <a:gd name="connsiteX1852" fmla="*/ 2774 w 10785"/>
                  <a:gd name="connsiteY1852" fmla="*/ 4513 h 10000"/>
                  <a:gd name="connsiteX1853" fmla="*/ 2788 w 10785"/>
                  <a:gd name="connsiteY1853" fmla="*/ 4496 h 10000"/>
                  <a:gd name="connsiteX1854" fmla="*/ 2802 w 10785"/>
                  <a:gd name="connsiteY1854" fmla="*/ 4513 h 10000"/>
                  <a:gd name="connsiteX1855" fmla="*/ 2811 w 10785"/>
                  <a:gd name="connsiteY1855" fmla="*/ 4530 h 10000"/>
                  <a:gd name="connsiteX1856" fmla="*/ 2820 w 10785"/>
                  <a:gd name="connsiteY1856" fmla="*/ 4521 h 10000"/>
                  <a:gd name="connsiteX1857" fmla="*/ 2829 w 10785"/>
                  <a:gd name="connsiteY1857" fmla="*/ 4513 h 10000"/>
                  <a:gd name="connsiteX1858" fmla="*/ 2843 w 10785"/>
                  <a:gd name="connsiteY1858" fmla="*/ 4513 h 10000"/>
                  <a:gd name="connsiteX1859" fmla="*/ 2848 w 10785"/>
                  <a:gd name="connsiteY1859" fmla="*/ 4470 h 10000"/>
                  <a:gd name="connsiteX1860" fmla="*/ 2862 w 10785"/>
                  <a:gd name="connsiteY1860" fmla="*/ 4487 h 10000"/>
                  <a:gd name="connsiteX1861" fmla="*/ 2876 w 10785"/>
                  <a:gd name="connsiteY1861" fmla="*/ 4470 h 10000"/>
                  <a:gd name="connsiteX1862" fmla="*/ 2880 w 10785"/>
                  <a:gd name="connsiteY1862" fmla="*/ 4462 h 10000"/>
                  <a:gd name="connsiteX1863" fmla="*/ 2889 w 10785"/>
                  <a:gd name="connsiteY1863" fmla="*/ 4444 h 10000"/>
                  <a:gd name="connsiteX1864" fmla="*/ 2894 w 10785"/>
                  <a:gd name="connsiteY1864" fmla="*/ 4462 h 10000"/>
                  <a:gd name="connsiteX1865" fmla="*/ 2917 w 10785"/>
                  <a:gd name="connsiteY1865" fmla="*/ 4444 h 10000"/>
                  <a:gd name="connsiteX1866" fmla="*/ 2922 w 10785"/>
                  <a:gd name="connsiteY1866" fmla="*/ 4436 h 10000"/>
                  <a:gd name="connsiteX1867" fmla="*/ 2917 w 10785"/>
                  <a:gd name="connsiteY1867" fmla="*/ 4410 h 10000"/>
                  <a:gd name="connsiteX1868" fmla="*/ 2894 w 10785"/>
                  <a:gd name="connsiteY1868" fmla="*/ 4410 h 10000"/>
                  <a:gd name="connsiteX1869" fmla="*/ 2889 w 10785"/>
                  <a:gd name="connsiteY1869" fmla="*/ 4419 h 10000"/>
                  <a:gd name="connsiteX1870" fmla="*/ 2876 w 10785"/>
                  <a:gd name="connsiteY1870" fmla="*/ 4410 h 10000"/>
                  <a:gd name="connsiteX1871" fmla="*/ 2880 w 10785"/>
                  <a:gd name="connsiteY1871" fmla="*/ 4376 h 10000"/>
                  <a:gd name="connsiteX1872" fmla="*/ 2903 w 10785"/>
                  <a:gd name="connsiteY1872" fmla="*/ 4393 h 10000"/>
                  <a:gd name="connsiteX1873" fmla="*/ 2931 w 10785"/>
                  <a:gd name="connsiteY1873" fmla="*/ 4393 h 10000"/>
                  <a:gd name="connsiteX1874" fmla="*/ 2931 w 10785"/>
                  <a:gd name="connsiteY1874" fmla="*/ 4385 h 10000"/>
                  <a:gd name="connsiteX1875" fmla="*/ 2931 w 10785"/>
                  <a:gd name="connsiteY1875" fmla="*/ 4350 h 10000"/>
                  <a:gd name="connsiteX1876" fmla="*/ 2945 w 10785"/>
                  <a:gd name="connsiteY1876" fmla="*/ 4350 h 10000"/>
                  <a:gd name="connsiteX1877" fmla="*/ 2949 w 10785"/>
                  <a:gd name="connsiteY1877" fmla="*/ 4325 h 10000"/>
                  <a:gd name="connsiteX1878" fmla="*/ 2963 w 10785"/>
                  <a:gd name="connsiteY1878" fmla="*/ 4256 h 10000"/>
                  <a:gd name="connsiteX1879" fmla="*/ 2982 w 10785"/>
                  <a:gd name="connsiteY1879" fmla="*/ 4239 h 10000"/>
                  <a:gd name="connsiteX1880" fmla="*/ 2991 w 10785"/>
                  <a:gd name="connsiteY1880" fmla="*/ 4214 h 10000"/>
                  <a:gd name="connsiteX1881" fmla="*/ 2991 w 10785"/>
                  <a:gd name="connsiteY1881" fmla="*/ 4197 h 10000"/>
                  <a:gd name="connsiteX1882" fmla="*/ 2995 w 10785"/>
                  <a:gd name="connsiteY1882" fmla="*/ 4171 h 10000"/>
                  <a:gd name="connsiteX1883" fmla="*/ 2991 w 10785"/>
                  <a:gd name="connsiteY1883" fmla="*/ 4077 h 10000"/>
                  <a:gd name="connsiteX1884" fmla="*/ 2995 w 10785"/>
                  <a:gd name="connsiteY1884" fmla="*/ 4034 h 10000"/>
                  <a:gd name="connsiteX1885" fmla="*/ 3018 w 10785"/>
                  <a:gd name="connsiteY1885" fmla="*/ 3983 h 10000"/>
                  <a:gd name="connsiteX1886" fmla="*/ 3018 w 10785"/>
                  <a:gd name="connsiteY1886" fmla="*/ 3915 h 10000"/>
                  <a:gd name="connsiteX1887" fmla="*/ 2949 w 10785"/>
                  <a:gd name="connsiteY1887" fmla="*/ 3778 h 10000"/>
                  <a:gd name="connsiteX1888" fmla="*/ 2954 w 10785"/>
                  <a:gd name="connsiteY1888" fmla="*/ 3675 h 10000"/>
                  <a:gd name="connsiteX1889" fmla="*/ 2954 w 10785"/>
                  <a:gd name="connsiteY1889" fmla="*/ 3650 h 10000"/>
                  <a:gd name="connsiteX1890" fmla="*/ 2963 w 10785"/>
                  <a:gd name="connsiteY1890" fmla="*/ 3624 h 10000"/>
                  <a:gd name="connsiteX1891" fmla="*/ 2954 w 10785"/>
                  <a:gd name="connsiteY1891" fmla="*/ 3564 h 10000"/>
                  <a:gd name="connsiteX1892" fmla="*/ 2963 w 10785"/>
                  <a:gd name="connsiteY1892" fmla="*/ 3538 h 10000"/>
                  <a:gd name="connsiteX1893" fmla="*/ 2963 w 10785"/>
                  <a:gd name="connsiteY1893" fmla="*/ 3487 h 10000"/>
                  <a:gd name="connsiteX1894" fmla="*/ 2963 w 10785"/>
                  <a:gd name="connsiteY1894" fmla="*/ 3479 h 10000"/>
                  <a:gd name="connsiteX1895" fmla="*/ 2963 w 10785"/>
                  <a:gd name="connsiteY1895" fmla="*/ 3462 h 10000"/>
                  <a:gd name="connsiteX1896" fmla="*/ 2954 w 10785"/>
                  <a:gd name="connsiteY1896" fmla="*/ 3453 h 10000"/>
                  <a:gd name="connsiteX1897" fmla="*/ 2954 w 10785"/>
                  <a:gd name="connsiteY1897" fmla="*/ 3444 h 10000"/>
                  <a:gd name="connsiteX1898" fmla="*/ 2954 w 10785"/>
                  <a:gd name="connsiteY1898" fmla="*/ 3402 h 10000"/>
                  <a:gd name="connsiteX1899" fmla="*/ 2954 w 10785"/>
                  <a:gd name="connsiteY1899" fmla="*/ 3393 h 10000"/>
                  <a:gd name="connsiteX1900" fmla="*/ 2949 w 10785"/>
                  <a:gd name="connsiteY1900" fmla="*/ 3376 h 10000"/>
                  <a:gd name="connsiteX1901" fmla="*/ 2949 w 10785"/>
                  <a:gd name="connsiteY1901" fmla="*/ 3342 h 10000"/>
                  <a:gd name="connsiteX1902" fmla="*/ 2949 w 10785"/>
                  <a:gd name="connsiteY1902" fmla="*/ 3316 h 10000"/>
                  <a:gd name="connsiteX1903" fmla="*/ 2968 w 10785"/>
                  <a:gd name="connsiteY1903" fmla="*/ 3291 h 10000"/>
                  <a:gd name="connsiteX1904" fmla="*/ 2963 w 10785"/>
                  <a:gd name="connsiteY1904" fmla="*/ 3205 h 10000"/>
                  <a:gd name="connsiteX1905" fmla="*/ 2968 w 10785"/>
                  <a:gd name="connsiteY1905" fmla="*/ 3171 h 10000"/>
                  <a:gd name="connsiteX1906" fmla="*/ 2968 w 10785"/>
                  <a:gd name="connsiteY1906" fmla="*/ 3128 h 10000"/>
                  <a:gd name="connsiteX1907" fmla="*/ 2954 w 10785"/>
                  <a:gd name="connsiteY1907" fmla="*/ 3051 h 10000"/>
                  <a:gd name="connsiteX1908" fmla="*/ 2954 w 10785"/>
                  <a:gd name="connsiteY1908" fmla="*/ 3009 h 10000"/>
                  <a:gd name="connsiteX1909" fmla="*/ 2922 w 10785"/>
                  <a:gd name="connsiteY1909" fmla="*/ 2940 h 10000"/>
                  <a:gd name="connsiteX1910" fmla="*/ 2903 w 10785"/>
                  <a:gd name="connsiteY1910" fmla="*/ 2880 h 10000"/>
                  <a:gd name="connsiteX1911" fmla="*/ 2903 w 10785"/>
                  <a:gd name="connsiteY1911" fmla="*/ 2855 h 10000"/>
                  <a:gd name="connsiteX1912" fmla="*/ 2908 w 10785"/>
                  <a:gd name="connsiteY1912" fmla="*/ 2846 h 10000"/>
                  <a:gd name="connsiteX1913" fmla="*/ 2931 w 10785"/>
                  <a:gd name="connsiteY1913" fmla="*/ 2821 h 10000"/>
                  <a:gd name="connsiteX1914" fmla="*/ 2931 w 10785"/>
                  <a:gd name="connsiteY1914" fmla="*/ 2803 h 10000"/>
                  <a:gd name="connsiteX1915" fmla="*/ 2935 w 10785"/>
                  <a:gd name="connsiteY1915" fmla="*/ 2786 h 10000"/>
                  <a:gd name="connsiteX1916" fmla="*/ 2935 w 10785"/>
                  <a:gd name="connsiteY1916" fmla="*/ 2744 h 10000"/>
                  <a:gd name="connsiteX1917" fmla="*/ 2963 w 10785"/>
                  <a:gd name="connsiteY1917" fmla="*/ 2607 h 10000"/>
                  <a:gd name="connsiteX1918" fmla="*/ 2963 w 10785"/>
                  <a:gd name="connsiteY1918" fmla="*/ 2419 h 10000"/>
                  <a:gd name="connsiteX1919" fmla="*/ 2954 w 10785"/>
                  <a:gd name="connsiteY1919" fmla="*/ 2410 h 10000"/>
                  <a:gd name="connsiteX1920" fmla="*/ 2963 w 10785"/>
                  <a:gd name="connsiteY1920" fmla="*/ 2393 h 10000"/>
                  <a:gd name="connsiteX1921" fmla="*/ 2908 w 10785"/>
                  <a:gd name="connsiteY1921" fmla="*/ 2359 h 10000"/>
                  <a:gd name="connsiteX1922" fmla="*/ 2889 w 10785"/>
                  <a:gd name="connsiteY1922" fmla="*/ 2325 h 10000"/>
                  <a:gd name="connsiteX1923" fmla="*/ 2788 w 10785"/>
                  <a:gd name="connsiteY1923" fmla="*/ 2333 h 10000"/>
                  <a:gd name="connsiteX1924" fmla="*/ 2774 w 10785"/>
                  <a:gd name="connsiteY1924" fmla="*/ 2325 h 10000"/>
                  <a:gd name="connsiteX1925" fmla="*/ 2783 w 10785"/>
                  <a:gd name="connsiteY1925" fmla="*/ 2308 h 10000"/>
                  <a:gd name="connsiteX1926" fmla="*/ 2747 w 10785"/>
                  <a:gd name="connsiteY1926" fmla="*/ 2308 h 10000"/>
                  <a:gd name="connsiteX1927" fmla="*/ 2742 w 10785"/>
                  <a:gd name="connsiteY1927" fmla="*/ 2333 h 10000"/>
                  <a:gd name="connsiteX1928" fmla="*/ 2682 w 10785"/>
                  <a:gd name="connsiteY1928" fmla="*/ 2769 h 10000"/>
                  <a:gd name="connsiteX1929" fmla="*/ 2613 w 10785"/>
                  <a:gd name="connsiteY1929" fmla="*/ 2940 h 10000"/>
                  <a:gd name="connsiteX1930" fmla="*/ 2581 w 10785"/>
                  <a:gd name="connsiteY1930" fmla="*/ 2966 h 10000"/>
                  <a:gd name="connsiteX1931" fmla="*/ 2576 w 10785"/>
                  <a:gd name="connsiteY1931" fmla="*/ 3051 h 10000"/>
                  <a:gd name="connsiteX1932" fmla="*/ 2581 w 10785"/>
                  <a:gd name="connsiteY1932" fmla="*/ 3051 h 10000"/>
                  <a:gd name="connsiteX1933" fmla="*/ 2594 w 10785"/>
                  <a:gd name="connsiteY1933" fmla="*/ 3017 h 10000"/>
                  <a:gd name="connsiteX1934" fmla="*/ 2594 w 10785"/>
                  <a:gd name="connsiteY1934" fmla="*/ 3034 h 10000"/>
                  <a:gd name="connsiteX1935" fmla="*/ 2594 w 10785"/>
                  <a:gd name="connsiteY1935" fmla="*/ 3051 h 10000"/>
                  <a:gd name="connsiteX1936" fmla="*/ 2590 w 10785"/>
                  <a:gd name="connsiteY1936" fmla="*/ 3077 h 10000"/>
                  <a:gd name="connsiteX1937" fmla="*/ 2567 w 10785"/>
                  <a:gd name="connsiteY1937" fmla="*/ 3103 h 10000"/>
                  <a:gd name="connsiteX1938" fmla="*/ 2562 w 10785"/>
                  <a:gd name="connsiteY1938" fmla="*/ 3145 h 10000"/>
                  <a:gd name="connsiteX1939" fmla="*/ 2567 w 10785"/>
                  <a:gd name="connsiteY1939" fmla="*/ 3179 h 10000"/>
                  <a:gd name="connsiteX1940" fmla="*/ 2590 w 10785"/>
                  <a:gd name="connsiteY1940" fmla="*/ 3171 h 10000"/>
                  <a:gd name="connsiteX1941" fmla="*/ 2594 w 10785"/>
                  <a:gd name="connsiteY1941" fmla="*/ 3145 h 10000"/>
                  <a:gd name="connsiteX1942" fmla="*/ 2613 w 10785"/>
                  <a:gd name="connsiteY1942" fmla="*/ 3154 h 10000"/>
                  <a:gd name="connsiteX1943" fmla="*/ 2622 w 10785"/>
                  <a:gd name="connsiteY1943" fmla="*/ 3179 h 10000"/>
                  <a:gd name="connsiteX1944" fmla="*/ 2613 w 10785"/>
                  <a:gd name="connsiteY1944" fmla="*/ 3214 h 10000"/>
                  <a:gd name="connsiteX1945" fmla="*/ 2613 w 10785"/>
                  <a:gd name="connsiteY1945" fmla="*/ 3308 h 10000"/>
                  <a:gd name="connsiteX1946" fmla="*/ 2608 w 10785"/>
                  <a:gd name="connsiteY1946" fmla="*/ 3325 h 10000"/>
                  <a:gd name="connsiteX1947" fmla="*/ 2608 w 10785"/>
                  <a:gd name="connsiteY1947" fmla="*/ 3376 h 10000"/>
                  <a:gd name="connsiteX1948" fmla="*/ 2613 w 10785"/>
                  <a:gd name="connsiteY1948" fmla="*/ 3419 h 10000"/>
                  <a:gd name="connsiteX1949" fmla="*/ 2608 w 10785"/>
                  <a:gd name="connsiteY1949" fmla="*/ 3444 h 10000"/>
                  <a:gd name="connsiteX1950" fmla="*/ 2594 w 10785"/>
                  <a:gd name="connsiteY1950" fmla="*/ 3444 h 10000"/>
                  <a:gd name="connsiteX1951" fmla="*/ 2590 w 10785"/>
                  <a:gd name="connsiteY1951" fmla="*/ 3427 h 10000"/>
                  <a:gd name="connsiteX1952" fmla="*/ 2581 w 10785"/>
                  <a:gd name="connsiteY1952" fmla="*/ 3564 h 10000"/>
                  <a:gd name="connsiteX1953" fmla="*/ 2594 w 10785"/>
                  <a:gd name="connsiteY1953" fmla="*/ 3598 h 10000"/>
                  <a:gd name="connsiteX1954" fmla="*/ 2594 w 10785"/>
                  <a:gd name="connsiteY1954" fmla="*/ 3581 h 10000"/>
                  <a:gd name="connsiteX1955" fmla="*/ 2608 w 10785"/>
                  <a:gd name="connsiteY1955" fmla="*/ 3556 h 10000"/>
                  <a:gd name="connsiteX1956" fmla="*/ 2650 w 10785"/>
                  <a:gd name="connsiteY1956" fmla="*/ 3615 h 10000"/>
                  <a:gd name="connsiteX1957" fmla="*/ 2664 w 10785"/>
                  <a:gd name="connsiteY1957" fmla="*/ 3615 h 10000"/>
                  <a:gd name="connsiteX1958" fmla="*/ 2668 w 10785"/>
                  <a:gd name="connsiteY1958" fmla="*/ 3615 h 10000"/>
                  <a:gd name="connsiteX1959" fmla="*/ 2664 w 10785"/>
                  <a:gd name="connsiteY1959" fmla="*/ 3667 h 10000"/>
                  <a:gd name="connsiteX1960" fmla="*/ 2687 w 10785"/>
                  <a:gd name="connsiteY1960" fmla="*/ 3786 h 10000"/>
                  <a:gd name="connsiteX1961" fmla="*/ 2710 w 10785"/>
                  <a:gd name="connsiteY1961" fmla="*/ 3812 h 10000"/>
                  <a:gd name="connsiteX1962" fmla="*/ 2724 w 10785"/>
                  <a:gd name="connsiteY1962" fmla="*/ 3812 h 10000"/>
                  <a:gd name="connsiteX1963" fmla="*/ 2724 w 10785"/>
                  <a:gd name="connsiteY1963" fmla="*/ 3829 h 10000"/>
                  <a:gd name="connsiteX1964" fmla="*/ 2737 w 10785"/>
                  <a:gd name="connsiteY1964" fmla="*/ 3838 h 10000"/>
                  <a:gd name="connsiteX1965" fmla="*/ 2714 w 10785"/>
                  <a:gd name="connsiteY1965" fmla="*/ 3872 h 10000"/>
                  <a:gd name="connsiteX1966" fmla="*/ 2696 w 10785"/>
                  <a:gd name="connsiteY1966" fmla="*/ 4026 h 10000"/>
                  <a:gd name="connsiteX1967" fmla="*/ 2673 w 10785"/>
                  <a:gd name="connsiteY1967" fmla="*/ 4051 h 10000"/>
                  <a:gd name="connsiteX1968" fmla="*/ 2668 w 10785"/>
                  <a:gd name="connsiteY1968" fmla="*/ 4034 h 10000"/>
                  <a:gd name="connsiteX1969" fmla="*/ 2673 w 10785"/>
                  <a:gd name="connsiteY1969" fmla="*/ 4000 h 10000"/>
                  <a:gd name="connsiteX1970" fmla="*/ 2664 w 10785"/>
                  <a:gd name="connsiteY1970" fmla="*/ 3974 h 10000"/>
                  <a:gd name="connsiteX1971" fmla="*/ 2636 w 10785"/>
                  <a:gd name="connsiteY1971" fmla="*/ 3949 h 10000"/>
                  <a:gd name="connsiteX1972" fmla="*/ 2581 w 10785"/>
                  <a:gd name="connsiteY1972" fmla="*/ 3838 h 10000"/>
                  <a:gd name="connsiteX1973" fmla="*/ 2562 w 10785"/>
                  <a:gd name="connsiteY1973" fmla="*/ 3829 h 10000"/>
                  <a:gd name="connsiteX1974" fmla="*/ 2535 w 10785"/>
                  <a:gd name="connsiteY1974" fmla="*/ 3778 h 10000"/>
                  <a:gd name="connsiteX1975" fmla="*/ 2502 w 10785"/>
                  <a:gd name="connsiteY1975" fmla="*/ 3761 h 10000"/>
                  <a:gd name="connsiteX1976" fmla="*/ 2502 w 10785"/>
                  <a:gd name="connsiteY1976" fmla="*/ 3735 h 10000"/>
                  <a:gd name="connsiteX1977" fmla="*/ 2516 w 10785"/>
                  <a:gd name="connsiteY1977" fmla="*/ 3735 h 10000"/>
                  <a:gd name="connsiteX1978" fmla="*/ 2507 w 10785"/>
                  <a:gd name="connsiteY1978" fmla="*/ 3726 h 10000"/>
                  <a:gd name="connsiteX1979" fmla="*/ 2488 w 10785"/>
                  <a:gd name="connsiteY1979" fmla="*/ 3726 h 10000"/>
                  <a:gd name="connsiteX1980" fmla="*/ 2461 w 10785"/>
                  <a:gd name="connsiteY1980" fmla="*/ 3692 h 10000"/>
                  <a:gd name="connsiteX1981" fmla="*/ 2442 w 10785"/>
                  <a:gd name="connsiteY1981" fmla="*/ 3675 h 10000"/>
                  <a:gd name="connsiteX1982" fmla="*/ 2406 w 10785"/>
                  <a:gd name="connsiteY1982" fmla="*/ 3598 h 10000"/>
                  <a:gd name="connsiteX1983" fmla="*/ 2346 w 10785"/>
                  <a:gd name="connsiteY1983" fmla="*/ 3564 h 10000"/>
                  <a:gd name="connsiteX1984" fmla="*/ 2341 w 10785"/>
                  <a:gd name="connsiteY1984" fmla="*/ 3564 h 10000"/>
                  <a:gd name="connsiteX1985" fmla="*/ 2313 w 10785"/>
                  <a:gd name="connsiteY1985" fmla="*/ 3530 h 10000"/>
                  <a:gd name="connsiteX1986" fmla="*/ 2235 w 10785"/>
                  <a:gd name="connsiteY1986" fmla="*/ 3530 h 10000"/>
                  <a:gd name="connsiteX1987" fmla="*/ 2226 w 10785"/>
                  <a:gd name="connsiteY1987" fmla="*/ 3513 h 10000"/>
                  <a:gd name="connsiteX1988" fmla="*/ 2207 w 10785"/>
                  <a:gd name="connsiteY1988" fmla="*/ 3504 h 10000"/>
                  <a:gd name="connsiteX1989" fmla="*/ 2194 w 10785"/>
                  <a:gd name="connsiteY1989" fmla="*/ 3504 h 10000"/>
                  <a:gd name="connsiteX1990" fmla="*/ 2189 w 10785"/>
                  <a:gd name="connsiteY1990" fmla="*/ 3504 h 10000"/>
                  <a:gd name="connsiteX1991" fmla="*/ 2189 w 10785"/>
                  <a:gd name="connsiteY1991" fmla="*/ 3530 h 10000"/>
                  <a:gd name="connsiteX1992" fmla="*/ 2180 w 10785"/>
                  <a:gd name="connsiteY1992" fmla="*/ 3538 h 10000"/>
                  <a:gd name="connsiteX1993" fmla="*/ 2152 w 10785"/>
                  <a:gd name="connsiteY1993" fmla="*/ 3581 h 10000"/>
                  <a:gd name="connsiteX1994" fmla="*/ 2161 w 10785"/>
                  <a:gd name="connsiteY1994" fmla="*/ 3598 h 10000"/>
                  <a:gd name="connsiteX1995" fmla="*/ 2194 w 10785"/>
                  <a:gd name="connsiteY1995" fmla="*/ 3752 h 10000"/>
                  <a:gd name="connsiteX1996" fmla="*/ 2194 w 10785"/>
                  <a:gd name="connsiteY1996" fmla="*/ 3735 h 10000"/>
                  <a:gd name="connsiteX1997" fmla="*/ 2198 w 10785"/>
                  <a:gd name="connsiteY1997" fmla="*/ 3735 h 10000"/>
                  <a:gd name="connsiteX1998" fmla="*/ 2189 w 10785"/>
                  <a:gd name="connsiteY1998" fmla="*/ 3838 h 10000"/>
                  <a:gd name="connsiteX1999" fmla="*/ 2166 w 10785"/>
                  <a:gd name="connsiteY1999" fmla="*/ 3889 h 10000"/>
                  <a:gd name="connsiteX2000" fmla="*/ 2124 w 10785"/>
                  <a:gd name="connsiteY2000" fmla="*/ 3889 h 10000"/>
                  <a:gd name="connsiteX2001" fmla="*/ 2124 w 10785"/>
                  <a:gd name="connsiteY2001" fmla="*/ 3923 h 10000"/>
                  <a:gd name="connsiteX2002" fmla="*/ 2134 w 10785"/>
                  <a:gd name="connsiteY2002" fmla="*/ 3940 h 10000"/>
                  <a:gd name="connsiteX2003" fmla="*/ 2134 w 10785"/>
                  <a:gd name="connsiteY2003" fmla="*/ 3966 h 10000"/>
                  <a:gd name="connsiteX2004" fmla="*/ 2120 w 10785"/>
                  <a:gd name="connsiteY2004" fmla="*/ 4000 h 10000"/>
                  <a:gd name="connsiteX2005" fmla="*/ 2106 w 10785"/>
                  <a:gd name="connsiteY2005" fmla="*/ 4009 h 10000"/>
                  <a:gd name="connsiteX2006" fmla="*/ 2088 w 10785"/>
                  <a:gd name="connsiteY2006" fmla="*/ 4000 h 10000"/>
                  <a:gd name="connsiteX2007" fmla="*/ 2074 w 10785"/>
                  <a:gd name="connsiteY2007" fmla="*/ 3974 h 10000"/>
                  <a:gd name="connsiteX2008" fmla="*/ 2074 w 10785"/>
                  <a:gd name="connsiteY2008" fmla="*/ 3940 h 10000"/>
                  <a:gd name="connsiteX2009" fmla="*/ 2078 w 10785"/>
                  <a:gd name="connsiteY2009" fmla="*/ 3915 h 10000"/>
                  <a:gd name="connsiteX2010" fmla="*/ 2088 w 10785"/>
                  <a:gd name="connsiteY2010" fmla="*/ 3889 h 10000"/>
                  <a:gd name="connsiteX2011" fmla="*/ 2101 w 10785"/>
                  <a:gd name="connsiteY2011" fmla="*/ 3872 h 10000"/>
                  <a:gd name="connsiteX2012" fmla="*/ 2074 w 10785"/>
                  <a:gd name="connsiteY2012" fmla="*/ 3812 h 10000"/>
                  <a:gd name="connsiteX2013" fmla="*/ 2074 w 10785"/>
                  <a:gd name="connsiteY2013" fmla="*/ 3786 h 10000"/>
                  <a:gd name="connsiteX2014" fmla="*/ 2060 w 10785"/>
                  <a:gd name="connsiteY2014" fmla="*/ 3786 h 10000"/>
                  <a:gd name="connsiteX2015" fmla="*/ 2014 w 10785"/>
                  <a:gd name="connsiteY2015" fmla="*/ 3829 h 10000"/>
                  <a:gd name="connsiteX2016" fmla="*/ 2000 w 10785"/>
                  <a:gd name="connsiteY2016" fmla="*/ 3863 h 10000"/>
                  <a:gd name="connsiteX2017" fmla="*/ 1986 w 10785"/>
                  <a:gd name="connsiteY2017" fmla="*/ 3872 h 10000"/>
                  <a:gd name="connsiteX2018" fmla="*/ 1959 w 10785"/>
                  <a:gd name="connsiteY2018" fmla="*/ 3940 h 10000"/>
                  <a:gd name="connsiteX2019" fmla="*/ 1945 w 10785"/>
                  <a:gd name="connsiteY2019" fmla="*/ 3949 h 10000"/>
                  <a:gd name="connsiteX2020" fmla="*/ 1940 w 10785"/>
                  <a:gd name="connsiteY2020" fmla="*/ 3923 h 10000"/>
                  <a:gd name="connsiteX2021" fmla="*/ 1917 w 10785"/>
                  <a:gd name="connsiteY2021" fmla="*/ 3915 h 10000"/>
                  <a:gd name="connsiteX2022" fmla="*/ 1899 w 10785"/>
                  <a:gd name="connsiteY2022" fmla="*/ 3923 h 10000"/>
                  <a:gd name="connsiteX2023" fmla="*/ 1880 w 10785"/>
                  <a:gd name="connsiteY2023" fmla="*/ 3915 h 10000"/>
                  <a:gd name="connsiteX2024" fmla="*/ 1853 w 10785"/>
                  <a:gd name="connsiteY2024" fmla="*/ 3940 h 10000"/>
                  <a:gd name="connsiteX2025" fmla="*/ 1839 w 10785"/>
                  <a:gd name="connsiteY2025" fmla="*/ 3940 h 10000"/>
                  <a:gd name="connsiteX2026" fmla="*/ 1806 w 10785"/>
                  <a:gd name="connsiteY2026" fmla="*/ 3983 h 10000"/>
                  <a:gd name="connsiteX2027" fmla="*/ 1806 w 10785"/>
                  <a:gd name="connsiteY2027" fmla="*/ 4000 h 10000"/>
                  <a:gd name="connsiteX2028" fmla="*/ 1797 w 10785"/>
                  <a:gd name="connsiteY2028" fmla="*/ 4077 h 10000"/>
                  <a:gd name="connsiteX2029" fmla="*/ 1783 w 10785"/>
                  <a:gd name="connsiteY2029" fmla="*/ 4077 h 10000"/>
                  <a:gd name="connsiteX2030" fmla="*/ 1779 w 10785"/>
                  <a:gd name="connsiteY2030" fmla="*/ 4051 h 10000"/>
                  <a:gd name="connsiteX2031" fmla="*/ 1765 w 10785"/>
                  <a:gd name="connsiteY2031" fmla="*/ 4026 h 10000"/>
                  <a:gd name="connsiteX2032" fmla="*/ 1751 w 10785"/>
                  <a:gd name="connsiteY2032" fmla="*/ 4051 h 10000"/>
                  <a:gd name="connsiteX2033" fmla="*/ 1737 w 10785"/>
                  <a:gd name="connsiteY2033" fmla="*/ 4009 h 10000"/>
                  <a:gd name="connsiteX2034" fmla="*/ 1737 w 10785"/>
                  <a:gd name="connsiteY2034" fmla="*/ 3966 h 10000"/>
                  <a:gd name="connsiteX2035" fmla="*/ 1733 w 10785"/>
                  <a:gd name="connsiteY2035" fmla="*/ 3940 h 10000"/>
                  <a:gd name="connsiteX2036" fmla="*/ 1733 w 10785"/>
                  <a:gd name="connsiteY2036" fmla="*/ 3923 h 10000"/>
                  <a:gd name="connsiteX2037" fmla="*/ 1747 w 10785"/>
                  <a:gd name="connsiteY2037" fmla="*/ 3889 h 10000"/>
                  <a:gd name="connsiteX2038" fmla="*/ 1747 w 10785"/>
                  <a:gd name="connsiteY2038" fmla="*/ 3863 h 10000"/>
                  <a:gd name="connsiteX2039" fmla="*/ 1737 w 10785"/>
                  <a:gd name="connsiteY2039" fmla="*/ 3838 h 10000"/>
                  <a:gd name="connsiteX2040" fmla="*/ 1733 w 10785"/>
                  <a:gd name="connsiteY2040" fmla="*/ 3829 h 10000"/>
                  <a:gd name="connsiteX2041" fmla="*/ 1733 w 10785"/>
                  <a:gd name="connsiteY2041" fmla="*/ 3846 h 10000"/>
                  <a:gd name="connsiteX2042" fmla="*/ 1724 w 10785"/>
                  <a:gd name="connsiteY2042" fmla="*/ 3846 h 10000"/>
                  <a:gd name="connsiteX2043" fmla="*/ 1724 w 10785"/>
                  <a:gd name="connsiteY2043" fmla="*/ 3829 h 10000"/>
                  <a:gd name="connsiteX2044" fmla="*/ 1737 w 10785"/>
                  <a:gd name="connsiteY2044" fmla="*/ 3812 h 10000"/>
                  <a:gd name="connsiteX2045" fmla="*/ 1765 w 10785"/>
                  <a:gd name="connsiteY2045" fmla="*/ 3812 h 10000"/>
                  <a:gd name="connsiteX2046" fmla="*/ 1779 w 10785"/>
                  <a:gd name="connsiteY2046" fmla="*/ 3786 h 10000"/>
                  <a:gd name="connsiteX2047" fmla="*/ 1779 w 10785"/>
                  <a:gd name="connsiteY2047" fmla="*/ 3786 h 10000"/>
                  <a:gd name="connsiteX2048" fmla="*/ 1751 w 10785"/>
                  <a:gd name="connsiteY2048" fmla="*/ 3803 h 10000"/>
                  <a:gd name="connsiteX2049" fmla="*/ 1747 w 10785"/>
                  <a:gd name="connsiteY2049" fmla="*/ 3803 h 10000"/>
                  <a:gd name="connsiteX2050" fmla="*/ 1724 w 10785"/>
                  <a:gd name="connsiteY2050" fmla="*/ 3803 h 10000"/>
                  <a:gd name="connsiteX2051" fmla="*/ 1700 w 10785"/>
                  <a:gd name="connsiteY2051" fmla="*/ 3829 h 10000"/>
                  <a:gd name="connsiteX2052" fmla="*/ 1705 w 10785"/>
                  <a:gd name="connsiteY2052" fmla="*/ 3846 h 10000"/>
                  <a:gd name="connsiteX2053" fmla="*/ 1691 w 10785"/>
                  <a:gd name="connsiteY2053" fmla="*/ 3846 h 10000"/>
                  <a:gd name="connsiteX2054" fmla="*/ 1691 w 10785"/>
                  <a:gd name="connsiteY2054" fmla="*/ 3863 h 10000"/>
                  <a:gd name="connsiteX2055" fmla="*/ 1691 w 10785"/>
                  <a:gd name="connsiteY2055" fmla="*/ 3915 h 10000"/>
                  <a:gd name="connsiteX2056" fmla="*/ 1677 w 10785"/>
                  <a:gd name="connsiteY2056" fmla="*/ 3923 h 10000"/>
                  <a:gd name="connsiteX2057" fmla="*/ 1673 w 10785"/>
                  <a:gd name="connsiteY2057" fmla="*/ 3915 h 10000"/>
                  <a:gd name="connsiteX2058" fmla="*/ 1664 w 10785"/>
                  <a:gd name="connsiteY2058" fmla="*/ 3889 h 10000"/>
                  <a:gd name="connsiteX2059" fmla="*/ 1673 w 10785"/>
                  <a:gd name="connsiteY2059" fmla="*/ 3872 h 10000"/>
                  <a:gd name="connsiteX2060" fmla="*/ 1664 w 10785"/>
                  <a:gd name="connsiteY2060" fmla="*/ 3872 h 10000"/>
                  <a:gd name="connsiteX2061" fmla="*/ 1636 w 10785"/>
                  <a:gd name="connsiteY2061" fmla="*/ 3923 h 10000"/>
                  <a:gd name="connsiteX2062" fmla="*/ 1645 w 10785"/>
                  <a:gd name="connsiteY2062" fmla="*/ 3923 h 10000"/>
                  <a:gd name="connsiteX2063" fmla="*/ 1650 w 10785"/>
                  <a:gd name="connsiteY2063" fmla="*/ 3949 h 10000"/>
                  <a:gd name="connsiteX2064" fmla="*/ 1650 w 10785"/>
                  <a:gd name="connsiteY2064" fmla="*/ 3983 h 10000"/>
                  <a:gd name="connsiteX2065" fmla="*/ 1636 w 10785"/>
                  <a:gd name="connsiteY2065" fmla="*/ 4000 h 10000"/>
                  <a:gd name="connsiteX2066" fmla="*/ 1631 w 10785"/>
                  <a:gd name="connsiteY2066" fmla="*/ 4009 h 10000"/>
                  <a:gd name="connsiteX2067" fmla="*/ 1618 w 10785"/>
                  <a:gd name="connsiteY2067" fmla="*/ 3949 h 10000"/>
                  <a:gd name="connsiteX2068" fmla="*/ 1585 w 10785"/>
                  <a:gd name="connsiteY2068" fmla="*/ 3966 h 10000"/>
                  <a:gd name="connsiteX2069" fmla="*/ 1590 w 10785"/>
                  <a:gd name="connsiteY2069" fmla="*/ 3974 h 10000"/>
                  <a:gd name="connsiteX2070" fmla="*/ 1544 w 10785"/>
                  <a:gd name="connsiteY2070" fmla="*/ 4009 h 10000"/>
                  <a:gd name="connsiteX2071" fmla="*/ 1539 w 10785"/>
                  <a:gd name="connsiteY2071" fmla="*/ 4009 h 10000"/>
                  <a:gd name="connsiteX2072" fmla="*/ 1410 w 10785"/>
                  <a:gd name="connsiteY2072" fmla="*/ 4188 h 10000"/>
                  <a:gd name="connsiteX2073" fmla="*/ 1406 w 10785"/>
                  <a:gd name="connsiteY2073" fmla="*/ 4171 h 10000"/>
                  <a:gd name="connsiteX2074" fmla="*/ 1396 w 10785"/>
                  <a:gd name="connsiteY2074" fmla="*/ 4214 h 10000"/>
                  <a:gd name="connsiteX2075" fmla="*/ 1406 w 10785"/>
                  <a:gd name="connsiteY2075" fmla="*/ 4222 h 10000"/>
                  <a:gd name="connsiteX2076" fmla="*/ 1392 w 10785"/>
                  <a:gd name="connsiteY2076" fmla="*/ 4239 h 10000"/>
                  <a:gd name="connsiteX2077" fmla="*/ 1369 w 10785"/>
                  <a:gd name="connsiteY2077" fmla="*/ 4248 h 10000"/>
                  <a:gd name="connsiteX2078" fmla="*/ 1355 w 10785"/>
                  <a:gd name="connsiteY2078" fmla="*/ 4256 h 10000"/>
                  <a:gd name="connsiteX2079" fmla="*/ 1350 w 10785"/>
                  <a:gd name="connsiteY2079" fmla="*/ 4248 h 10000"/>
                  <a:gd name="connsiteX2080" fmla="*/ 1332 w 10785"/>
                  <a:gd name="connsiteY2080" fmla="*/ 4376 h 10000"/>
                  <a:gd name="connsiteX2081" fmla="*/ 1332 w 10785"/>
                  <a:gd name="connsiteY2081" fmla="*/ 4436 h 10000"/>
                  <a:gd name="connsiteX2082" fmla="*/ 1323 w 10785"/>
                  <a:gd name="connsiteY2082" fmla="*/ 4462 h 10000"/>
                  <a:gd name="connsiteX2083" fmla="*/ 1304 w 10785"/>
                  <a:gd name="connsiteY2083" fmla="*/ 4487 h 10000"/>
                  <a:gd name="connsiteX2084" fmla="*/ 1290 w 10785"/>
                  <a:gd name="connsiteY2084" fmla="*/ 4470 h 10000"/>
                  <a:gd name="connsiteX2085" fmla="*/ 1263 w 10785"/>
                  <a:gd name="connsiteY2085" fmla="*/ 4496 h 10000"/>
                  <a:gd name="connsiteX2086" fmla="*/ 1258 w 10785"/>
                  <a:gd name="connsiteY2086" fmla="*/ 4547 h 10000"/>
                  <a:gd name="connsiteX2087" fmla="*/ 1249 w 10785"/>
                  <a:gd name="connsiteY2087" fmla="*/ 4487 h 10000"/>
                  <a:gd name="connsiteX2088" fmla="*/ 1235 w 10785"/>
                  <a:gd name="connsiteY2088" fmla="*/ 4496 h 10000"/>
                  <a:gd name="connsiteX2089" fmla="*/ 1221 w 10785"/>
                  <a:gd name="connsiteY2089" fmla="*/ 4496 h 10000"/>
                  <a:gd name="connsiteX2090" fmla="*/ 1217 w 10785"/>
                  <a:gd name="connsiteY2090" fmla="*/ 4487 h 10000"/>
                  <a:gd name="connsiteX2091" fmla="*/ 1198 w 10785"/>
                  <a:gd name="connsiteY2091" fmla="*/ 4410 h 10000"/>
                  <a:gd name="connsiteX2092" fmla="*/ 1157 w 10785"/>
                  <a:gd name="connsiteY2092" fmla="*/ 4333 h 10000"/>
                  <a:gd name="connsiteX2093" fmla="*/ 1147 w 10785"/>
                  <a:gd name="connsiteY2093" fmla="*/ 4299 h 10000"/>
                  <a:gd name="connsiteX2094" fmla="*/ 1147 w 10785"/>
                  <a:gd name="connsiteY2094" fmla="*/ 4274 h 10000"/>
                  <a:gd name="connsiteX2095" fmla="*/ 1161 w 10785"/>
                  <a:gd name="connsiteY2095" fmla="*/ 4256 h 10000"/>
                  <a:gd name="connsiteX2096" fmla="*/ 1171 w 10785"/>
                  <a:gd name="connsiteY2096" fmla="*/ 4248 h 10000"/>
                  <a:gd name="connsiteX2097" fmla="*/ 1175 w 10785"/>
                  <a:gd name="connsiteY2097" fmla="*/ 4214 h 10000"/>
                  <a:gd name="connsiteX2098" fmla="*/ 1263 w 10785"/>
                  <a:gd name="connsiteY2098" fmla="*/ 4171 h 10000"/>
                  <a:gd name="connsiteX2099" fmla="*/ 1249 w 10785"/>
                  <a:gd name="connsiteY2099" fmla="*/ 4137 h 10000"/>
                  <a:gd name="connsiteX2100" fmla="*/ 1244 w 10785"/>
                  <a:gd name="connsiteY2100" fmla="*/ 4060 h 10000"/>
                  <a:gd name="connsiteX2101" fmla="*/ 1230 w 10785"/>
                  <a:gd name="connsiteY2101" fmla="*/ 4077 h 10000"/>
                  <a:gd name="connsiteX2102" fmla="*/ 1221 w 10785"/>
                  <a:gd name="connsiteY2102" fmla="*/ 4026 h 10000"/>
                  <a:gd name="connsiteX2103" fmla="*/ 1217 w 10785"/>
                  <a:gd name="connsiteY2103" fmla="*/ 4026 h 10000"/>
                  <a:gd name="connsiteX2104" fmla="*/ 1212 w 10785"/>
                  <a:gd name="connsiteY2104" fmla="*/ 3983 h 10000"/>
                  <a:gd name="connsiteX2105" fmla="*/ 1203 w 10785"/>
                  <a:gd name="connsiteY2105" fmla="*/ 3966 h 10000"/>
                  <a:gd name="connsiteX2106" fmla="*/ 1171 w 10785"/>
                  <a:gd name="connsiteY2106" fmla="*/ 3949 h 10000"/>
                  <a:gd name="connsiteX2107" fmla="*/ 1111 w 10785"/>
                  <a:gd name="connsiteY2107" fmla="*/ 3940 h 10000"/>
                  <a:gd name="connsiteX2108" fmla="*/ 1097 w 10785"/>
                  <a:gd name="connsiteY2108" fmla="*/ 3949 h 10000"/>
                  <a:gd name="connsiteX2109" fmla="*/ 1037 w 10785"/>
                  <a:gd name="connsiteY2109" fmla="*/ 3897 h 10000"/>
                  <a:gd name="connsiteX2110" fmla="*/ 1041 w 10785"/>
                  <a:gd name="connsiteY2110" fmla="*/ 3923 h 10000"/>
                  <a:gd name="connsiteX2111" fmla="*/ 1097 w 10785"/>
                  <a:gd name="connsiteY2111" fmla="*/ 4009 h 10000"/>
                  <a:gd name="connsiteX2112" fmla="*/ 1097 w 10785"/>
                  <a:gd name="connsiteY2112" fmla="*/ 4120 h 10000"/>
                  <a:gd name="connsiteX2113" fmla="*/ 1097 w 10785"/>
                  <a:gd name="connsiteY2113" fmla="*/ 4162 h 10000"/>
                  <a:gd name="connsiteX2114" fmla="*/ 1097 w 10785"/>
                  <a:gd name="connsiteY2114" fmla="*/ 4197 h 10000"/>
                  <a:gd name="connsiteX2115" fmla="*/ 1074 w 10785"/>
                  <a:gd name="connsiteY2115" fmla="*/ 4333 h 10000"/>
                  <a:gd name="connsiteX2116" fmla="*/ 1074 w 10785"/>
                  <a:gd name="connsiteY2116" fmla="*/ 4376 h 10000"/>
                  <a:gd name="connsiteX2117" fmla="*/ 1083 w 10785"/>
                  <a:gd name="connsiteY2117" fmla="*/ 4385 h 10000"/>
                  <a:gd name="connsiteX2118" fmla="*/ 1097 w 10785"/>
                  <a:gd name="connsiteY2118" fmla="*/ 4385 h 10000"/>
                  <a:gd name="connsiteX2119" fmla="*/ 1111 w 10785"/>
                  <a:gd name="connsiteY2119" fmla="*/ 4410 h 10000"/>
                  <a:gd name="connsiteX2120" fmla="*/ 1124 w 10785"/>
                  <a:gd name="connsiteY2120" fmla="*/ 4444 h 10000"/>
                  <a:gd name="connsiteX2121" fmla="*/ 1124 w 10785"/>
                  <a:gd name="connsiteY2121" fmla="*/ 4470 h 10000"/>
                  <a:gd name="connsiteX2122" fmla="*/ 1115 w 10785"/>
                  <a:gd name="connsiteY2122" fmla="*/ 4513 h 10000"/>
                  <a:gd name="connsiteX2123" fmla="*/ 1115 w 10785"/>
                  <a:gd name="connsiteY2123" fmla="*/ 4530 h 10000"/>
                  <a:gd name="connsiteX2124" fmla="*/ 1115 w 10785"/>
                  <a:gd name="connsiteY2124" fmla="*/ 4573 h 10000"/>
                  <a:gd name="connsiteX2125" fmla="*/ 1101 w 10785"/>
                  <a:gd name="connsiteY2125" fmla="*/ 4607 h 10000"/>
                  <a:gd name="connsiteX2126" fmla="*/ 1097 w 10785"/>
                  <a:gd name="connsiteY2126" fmla="*/ 4658 h 10000"/>
                  <a:gd name="connsiteX2127" fmla="*/ 1101 w 10785"/>
                  <a:gd name="connsiteY2127" fmla="*/ 4692 h 10000"/>
                  <a:gd name="connsiteX2128" fmla="*/ 1097 w 10785"/>
                  <a:gd name="connsiteY2128" fmla="*/ 4778 h 10000"/>
                  <a:gd name="connsiteX2129" fmla="*/ 1083 w 10785"/>
                  <a:gd name="connsiteY2129" fmla="*/ 4744 h 10000"/>
                  <a:gd name="connsiteX2130" fmla="*/ 1083 w 10785"/>
                  <a:gd name="connsiteY2130" fmla="*/ 4718 h 10000"/>
                  <a:gd name="connsiteX2131" fmla="*/ 1074 w 10785"/>
                  <a:gd name="connsiteY2131" fmla="*/ 4692 h 10000"/>
                  <a:gd name="connsiteX2132" fmla="*/ 1065 w 10785"/>
                  <a:gd name="connsiteY2132" fmla="*/ 4692 h 10000"/>
                  <a:gd name="connsiteX2133" fmla="*/ 1051 w 10785"/>
                  <a:gd name="connsiteY2133" fmla="*/ 4718 h 10000"/>
                  <a:gd name="connsiteX2134" fmla="*/ 1055 w 10785"/>
                  <a:gd name="connsiteY2134" fmla="*/ 4692 h 10000"/>
                  <a:gd name="connsiteX2135" fmla="*/ 1055 w 10785"/>
                  <a:gd name="connsiteY2135" fmla="*/ 4667 h 10000"/>
                  <a:gd name="connsiteX2136" fmla="*/ 1028 w 10785"/>
                  <a:gd name="connsiteY2136" fmla="*/ 4624 h 10000"/>
                  <a:gd name="connsiteX2137" fmla="*/ 1005 w 10785"/>
                  <a:gd name="connsiteY2137" fmla="*/ 4624 h 10000"/>
                  <a:gd name="connsiteX2138" fmla="*/ 977 w 10785"/>
                  <a:gd name="connsiteY2138" fmla="*/ 4581 h 10000"/>
                  <a:gd name="connsiteX2139" fmla="*/ 963 w 10785"/>
                  <a:gd name="connsiteY2139" fmla="*/ 4607 h 10000"/>
                  <a:gd name="connsiteX2140" fmla="*/ 963 w 10785"/>
                  <a:gd name="connsiteY2140" fmla="*/ 4632 h 10000"/>
                  <a:gd name="connsiteX2141" fmla="*/ 917 w 10785"/>
                  <a:gd name="connsiteY2141" fmla="*/ 4718 h 10000"/>
                  <a:gd name="connsiteX2142" fmla="*/ 889 w 10785"/>
                  <a:gd name="connsiteY2142" fmla="*/ 4744 h 10000"/>
                  <a:gd name="connsiteX2143" fmla="*/ 880 w 10785"/>
                  <a:gd name="connsiteY2143" fmla="*/ 4744 h 10000"/>
                  <a:gd name="connsiteX2144" fmla="*/ 862 w 10785"/>
                  <a:gd name="connsiteY2144" fmla="*/ 4769 h 10000"/>
                  <a:gd name="connsiteX2145" fmla="*/ 857 w 10785"/>
                  <a:gd name="connsiteY2145" fmla="*/ 4795 h 10000"/>
                  <a:gd name="connsiteX2146" fmla="*/ 829 w 10785"/>
                  <a:gd name="connsiteY2146" fmla="*/ 4846 h 10000"/>
                  <a:gd name="connsiteX2147" fmla="*/ 816 w 10785"/>
                  <a:gd name="connsiteY2147" fmla="*/ 4855 h 10000"/>
                  <a:gd name="connsiteX2148" fmla="*/ 816 w 10785"/>
                  <a:gd name="connsiteY2148" fmla="*/ 4940 h 10000"/>
                  <a:gd name="connsiteX2149" fmla="*/ 880 w 10785"/>
                  <a:gd name="connsiteY2149" fmla="*/ 5179 h 10000"/>
                  <a:gd name="connsiteX2150" fmla="*/ 880 w 10785"/>
                  <a:gd name="connsiteY2150" fmla="*/ 5188 h 10000"/>
                  <a:gd name="connsiteX2151" fmla="*/ 862 w 10785"/>
                  <a:gd name="connsiteY2151" fmla="*/ 5171 h 10000"/>
                  <a:gd name="connsiteX2152" fmla="*/ 857 w 10785"/>
                  <a:gd name="connsiteY2152" fmla="*/ 5171 h 10000"/>
                  <a:gd name="connsiteX2153" fmla="*/ 820 w 10785"/>
                  <a:gd name="connsiteY2153" fmla="*/ 5145 h 10000"/>
                  <a:gd name="connsiteX2154" fmla="*/ 820 w 10785"/>
                  <a:gd name="connsiteY2154" fmla="*/ 5154 h 10000"/>
                  <a:gd name="connsiteX2155" fmla="*/ 816 w 10785"/>
                  <a:gd name="connsiteY2155" fmla="*/ 5171 h 10000"/>
                  <a:gd name="connsiteX2156" fmla="*/ 783 w 10785"/>
                  <a:gd name="connsiteY2156" fmla="*/ 5145 h 10000"/>
                  <a:gd name="connsiteX2157" fmla="*/ 756 w 10785"/>
                  <a:gd name="connsiteY2157" fmla="*/ 5103 h 10000"/>
                  <a:gd name="connsiteX2158" fmla="*/ 742 w 10785"/>
                  <a:gd name="connsiteY2158" fmla="*/ 5103 h 10000"/>
                  <a:gd name="connsiteX2159" fmla="*/ 728 w 10785"/>
                  <a:gd name="connsiteY2159" fmla="*/ 5094 h 10000"/>
                  <a:gd name="connsiteX2160" fmla="*/ 710 w 10785"/>
                  <a:gd name="connsiteY2160" fmla="*/ 5120 h 10000"/>
                  <a:gd name="connsiteX2161" fmla="*/ 700 w 10785"/>
                  <a:gd name="connsiteY2161" fmla="*/ 5145 h 10000"/>
                  <a:gd name="connsiteX2162" fmla="*/ 696 w 10785"/>
                  <a:gd name="connsiteY2162" fmla="*/ 5103 h 10000"/>
                  <a:gd name="connsiteX2163" fmla="*/ 714 w 10785"/>
                  <a:gd name="connsiteY2163" fmla="*/ 5077 h 10000"/>
                  <a:gd name="connsiteX2164" fmla="*/ 682 w 10785"/>
                  <a:gd name="connsiteY2164" fmla="*/ 5068 h 10000"/>
                  <a:gd name="connsiteX2165" fmla="*/ 673 w 10785"/>
                  <a:gd name="connsiteY2165" fmla="*/ 5034 h 10000"/>
                  <a:gd name="connsiteX2166" fmla="*/ 636 w 10785"/>
                  <a:gd name="connsiteY2166" fmla="*/ 4991 h 10000"/>
                  <a:gd name="connsiteX2167" fmla="*/ 622 w 10785"/>
                  <a:gd name="connsiteY2167" fmla="*/ 4983 h 10000"/>
                  <a:gd name="connsiteX2168" fmla="*/ 622 w 10785"/>
                  <a:gd name="connsiteY2168" fmla="*/ 5034 h 10000"/>
                  <a:gd name="connsiteX2169" fmla="*/ 608 w 10785"/>
                  <a:gd name="connsiteY2169" fmla="*/ 5051 h 10000"/>
                  <a:gd name="connsiteX2170" fmla="*/ 594 w 10785"/>
                  <a:gd name="connsiteY2170" fmla="*/ 5068 h 10000"/>
                  <a:gd name="connsiteX2171" fmla="*/ 608 w 10785"/>
                  <a:gd name="connsiteY2171" fmla="*/ 5120 h 10000"/>
                  <a:gd name="connsiteX2172" fmla="*/ 613 w 10785"/>
                  <a:gd name="connsiteY2172" fmla="*/ 5128 h 10000"/>
                  <a:gd name="connsiteX2173" fmla="*/ 627 w 10785"/>
                  <a:gd name="connsiteY2173" fmla="*/ 5179 h 10000"/>
                  <a:gd name="connsiteX2174" fmla="*/ 650 w 10785"/>
                  <a:gd name="connsiteY2174" fmla="*/ 5214 h 10000"/>
                  <a:gd name="connsiteX2175" fmla="*/ 687 w 10785"/>
                  <a:gd name="connsiteY2175" fmla="*/ 5188 h 10000"/>
                  <a:gd name="connsiteX2176" fmla="*/ 700 w 10785"/>
                  <a:gd name="connsiteY2176" fmla="*/ 5325 h 10000"/>
                  <a:gd name="connsiteX2177" fmla="*/ 710 w 10785"/>
                  <a:gd name="connsiteY2177" fmla="*/ 5350 h 10000"/>
                  <a:gd name="connsiteX2178" fmla="*/ 687 w 10785"/>
                  <a:gd name="connsiteY2178" fmla="*/ 5325 h 10000"/>
                  <a:gd name="connsiteX2179" fmla="*/ 668 w 10785"/>
                  <a:gd name="connsiteY2179" fmla="*/ 5350 h 10000"/>
                  <a:gd name="connsiteX2180" fmla="*/ 668 w 10785"/>
                  <a:gd name="connsiteY2180" fmla="*/ 5368 h 10000"/>
                  <a:gd name="connsiteX2181" fmla="*/ 668 w 10785"/>
                  <a:gd name="connsiteY2181" fmla="*/ 5376 h 10000"/>
                  <a:gd name="connsiteX2182" fmla="*/ 581 w 10785"/>
                  <a:gd name="connsiteY2182" fmla="*/ 5316 h 10000"/>
                  <a:gd name="connsiteX2183" fmla="*/ 567 w 10785"/>
                  <a:gd name="connsiteY2183" fmla="*/ 5265 h 10000"/>
                  <a:gd name="connsiteX2184" fmla="*/ 562 w 10785"/>
                  <a:gd name="connsiteY2184" fmla="*/ 5256 h 10000"/>
                  <a:gd name="connsiteX2185" fmla="*/ 548 w 10785"/>
                  <a:gd name="connsiteY2185" fmla="*/ 5231 h 10000"/>
                  <a:gd name="connsiteX2186" fmla="*/ 535 w 10785"/>
                  <a:gd name="connsiteY2186" fmla="*/ 5214 h 10000"/>
                  <a:gd name="connsiteX2187" fmla="*/ 525 w 10785"/>
                  <a:gd name="connsiteY2187" fmla="*/ 5231 h 10000"/>
                  <a:gd name="connsiteX2188" fmla="*/ 521 w 10785"/>
                  <a:gd name="connsiteY2188" fmla="*/ 5231 h 10000"/>
                  <a:gd name="connsiteX2189" fmla="*/ 493 w 10785"/>
                  <a:gd name="connsiteY2189" fmla="*/ 5205 h 10000"/>
                  <a:gd name="connsiteX2190" fmla="*/ 488 w 10785"/>
                  <a:gd name="connsiteY2190" fmla="*/ 5179 h 10000"/>
                  <a:gd name="connsiteX2191" fmla="*/ 475 w 10785"/>
                  <a:gd name="connsiteY2191" fmla="*/ 5188 h 10000"/>
                  <a:gd name="connsiteX2192" fmla="*/ 475 w 10785"/>
                  <a:gd name="connsiteY2192" fmla="*/ 5171 h 10000"/>
                  <a:gd name="connsiteX2193" fmla="*/ 488 w 10785"/>
                  <a:gd name="connsiteY2193" fmla="*/ 5154 h 10000"/>
                  <a:gd name="connsiteX2194" fmla="*/ 488 w 10785"/>
                  <a:gd name="connsiteY2194" fmla="*/ 5068 h 10000"/>
                  <a:gd name="connsiteX2195" fmla="*/ 475 w 10785"/>
                  <a:gd name="connsiteY2195" fmla="*/ 5051 h 10000"/>
                  <a:gd name="connsiteX2196" fmla="*/ 475 w 10785"/>
                  <a:gd name="connsiteY2196" fmla="*/ 5017 h 10000"/>
                  <a:gd name="connsiteX2197" fmla="*/ 452 w 10785"/>
                  <a:gd name="connsiteY2197" fmla="*/ 4932 h 10000"/>
                  <a:gd name="connsiteX2198" fmla="*/ 461 w 10785"/>
                  <a:gd name="connsiteY2198" fmla="*/ 4915 h 10000"/>
                  <a:gd name="connsiteX2199" fmla="*/ 475 w 10785"/>
                  <a:gd name="connsiteY2199" fmla="*/ 4906 h 10000"/>
                  <a:gd name="connsiteX2200" fmla="*/ 479 w 10785"/>
                  <a:gd name="connsiteY2200" fmla="*/ 4803 h 10000"/>
                  <a:gd name="connsiteX2201" fmla="*/ 479 w 10785"/>
                  <a:gd name="connsiteY2201" fmla="*/ 4778 h 10000"/>
                  <a:gd name="connsiteX2202" fmla="*/ 475 w 10785"/>
                  <a:gd name="connsiteY2202" fmla="*/ 4761 h 10000"/>
                  <a:gd name="connsiteX2203" fmla="*/ 465 w 10785"/>
                  <a:gd name="connsiteY2203" fmla="*/ 4718 h 10000"/>
                  <a:gd name="connsiteX2204" fmla="*/ 461 w 10785"/>
                  <a:gd name="connsiteY2204" fmla="*/ 4709 h 10000"/>
                  <a:gd name="connsiteX2205" fmla="*/ 442 w 10785"/>
                  <a:gd name="connsiteY2205" fmla="*/ 4692 h 10000"/>
                  <a:gd name="connsiteX2206" fmla="*/ 433 w 10785"/>
                  <a:gd name="connsiteY2206" fmla="*/ 4667 h 10000"/>
                  <a:gd name="connsiteX2207" fmla="*/ 419 w 10785"/>
                  <a:gd name="connsiteY2207" fmla="*/ 4667 h 10000"/>
                  <a:gd name="connsiteX2208" fmla="*/ 401 w 10785"/>
                  <a:gd name="connsiteY2208" fmla="*/ 4658 h 10000"/>
                  <a:gd name="connsiteX2209" fmla="*/ 401 w 10785"/>
                  <a:gd name="connsiteY2209" fmla="*/ 4624 h 10000"/>
                  <a:gd name="connsiteX2210" fmla="*/ 401 w 10785"/>
                  <a:gd name="connsiteY2210" fmla="*/ 4607 h 10000"/>
                  <a:gd name="connsiteX2211" fmla="*/ 378 w 10785"/>
                  <a:gd name="connsiteY2211" fmla="*/ 4607 h 10000"/>
                  <a:gd name="connsiteX2212" fmla="*/ 341 w 10785"/>
                  <a:gd name="connsiteY2212" fmla="*/ 4530 h 10000"/>
                  <a:gd name="connsiteX2213" fmla="*/ 346 w 10785"/>
                  <a:gd name="connsiteY2213" fmla="*/ 4521 h 10000"/>
                  <a:gd name="connsiteX2214" fmla="*/ 332 w 10785"/>
                  <a:gd name="connsiteY2214" fmla="*/ 4487 h 10000"/>
                  <a:gd name="connsiteX2215" fmla="*/ 327 w 10785"/>
                  <a:gd name="connsiteY2215" fmla="*/ 4462 h 10000"/>
                  <a:gd name="connsiteX2216" fmla="*/ 313 w 10785"/>
                  <a:gd name="connsiteY2216" fmla="*/ 4436 h 10000"/>
                  <a:gd name="connsiteX2217" fmla="*/ 300 w 10785"/>
                  <a:gd name="connsiteY2217" fmla="*/ 4419 h 10000"/>
                  <a:gd name="connsiteX2218" fmla="*/ 309 w 10785"/>
                  <a:gd name="connsiteY2218" fmla="*/ 4393 h 10000"/>
                  <a:gd name="connsiteX2219" fmla="*/ 332 w 10785"/>
                  <a:gd name="connsiteY2219" fmla="*/ 4385 h 10000"/>
                  <a:gd name="connsiteX2220" fmla="*/ 355 w 10785"/>
                  <a:gd name="connsiteY2220" fmla="*/ 4419 h 10000"/>
                  <a:gd name="connsiteX2221" fmla="*/ 355 w 10785"/>
                  <a:gd name="connsiteY2221" fmla="*/ 4444 h 10000"/>
                  <a:gd name="connsiteX2222" fmla="*/ 369 w 10785"/>
                  <a:gd name="connsiteY2222" fmla="*/ 4470 h 10000"/>
                  <a:gd name="connsiteX2223" fmla="*/ 401 w 10785"/>
                  <a:gd name="connsiteY2223" fmla="*/ 4521 h 10000"/>
                  <a:gd name="connsiteX2224" fmla="*/ 406 w 10785"/>
                  <a:gd name="connsiteY2224" fmla="*/ 4513 h 10000"/>
                  <a:gd name="connsiteX2225" fmla="*/ 406 w 10785"/>
                  <a:gd name="connsiteY2225" fmla="*/ 4496 h 10000"/>
                  <a:gd name="connsiteX2226" fmla="*/ 419 w 10785"/>
                  <a:gd name="connsiteY2226" fmla="*/ 4521 h 10000"/>
                  <a:gd name="connsiteX2227" fmla="*/ 429 w 10785"/>
                  <a:gd name="connsiteY2227" fmla="*/ 4530 h 10000"/>
                  <a:gd name="connsiteX2228" fmla="*/ 433 w 10785"/>
                  <a:gd name="connsiteY2228" fmla="*/ 4521 h 10000"/>
                  <a:gd name="connsiteX2229" fmla="*/ 442 w 10785"/>
                  <a:gd name="connsiteY2229" fmla="*/ 4530 h 10000"/>
                  <a:gd name="connsiteX2230" fmla="*/ 447 w 10785"/>
                  <a:gd name="connsiteY2230" fmla="*/ 4521 h 10000"/>
                  <a:gd name="connsiteX2231" fmla="*/ 452 w 10785"/>
                  <a:gd name="connsiteY2231" fmla="*/ 4521 h 10000"/>
                  <a:gd name="connsiteX2232" fmla="*/ 461 w 10785"/>
                  <a:gd name="connsiteY2232" fmla="*/ 4573 h 10000"/>
                  <a:gd name="connsiteX2233" fmla="*/ 479 w 10785"/>
                  <a:gd name="connsiteY2233" fmla="*/ 4556 h 10000"/>
                  <a:gd name="connsiteX2234" fmla="*/ 502 w 10785"/>
                  <a:gd name="connsiteY2234" fmla="*/ 4573 h 10000"/>
                  <a:gd name="connsiteX2235" fmla="*/ 507 w 10785"/>
                  <a:gd name="connsiteY2235" fmla="*/ 4598 h 10000"/>
                  <a:gd name="connsiteX2236" fmla="*/ 525 w 10785"/>
                  <a:gd name="connsiteY2236" fmla="*/ 4598 h 10000"/>
                  <a:gd name="connsiteX2237" fmla="*/ 535 w 10785"/>
                  <a:gd name="connsiteY2237" fmla="*/ 4624 h 10000"/>
                  <a:gd name="connsiteX2238" fmla="*/ 594 w 10785"/>
                  <a:gd name="connsiteY2238" fmla="*/ 4658 h 10000"/>
                  <a:gd name="connsiteX2239" fmla="*/ 627 w 10785"/>
                  <a:gd name="connsiteY2239" fmla="*/ 4658 h 10000"/>
                  <a:gd name="connsiteX2240" fmla="*/ 654 w 10785"/>
                  <a:gd name="connsiteY2240" fmla="*/ 4684 h 10000"/>
                  <a:gd name="connsiteX2241" fmla="*/ 668 w 10785"/>
                  <a:gd name="connsiteY2241" fmla="*/ 4709 h 10000"/>
                  <a:gd name="connsiteX2242" fmla="*/ 747 w 10785"/>
                  <a:gd name="connsiteY2242" fmla="*/ 4718 h 10000"/>
                  <a:gd name="connsiteX2243" fmla="*/ 760 w 10785"/>
                  <a:gd name="connsiteY2243" fmla="*/ 4709 h 10000"/>
                  <a:gd name="connsiteX2244" fmla="*/ 774 w 10785"/>
                  <a:gd name="connsiteY2244" fmla="*/ 4692 h 10000"/>
                  <a:gd name="connsiteX2245" fmla="*/ 829 w 10785"/>
                  <a:gd name="connsiteY2245" fmla="*/ 4658 h 10000"/>
                  <a:gd name="connsiteX2246" fmla="*/ 903 w 10785"/>
                  <a:gd name="connsiteY2246" fmla="*/ 4496 h 10000"/>
                  <a:gd name="connsiteX2247" fmla="*/ 917 w 10785"/>
                  <a:gd name="connsiteY2247" fmla="*/ 4385 h 10000"/>
                  <a:gd name="connsiteX2248" fmla="*/ 903 w 10785"/>
                  <a:gd name="connsiteY2248" fmla="*/ 4376 h 10000"/>
                  <a:gd name="connsiteX2249" fmla="*/ 903 w 10785"/>
                  <a:gd name="connsiteY2249" fmla="*/ 4376 h 10000"/>
                  <a:gd name="connsiteX2250" fmla="*/ 889 w 10785"/>
                  <a:gd name="connsiteY2250" fmla="*/ 4239 h 10000"/>
                  <a:gd name="connsiteX2251" fmla="*/ 880 w 10785"/>
                  <a:gd name="connsiteY2251" fmla="*/ 4214 h 10000"/>
                  <a:gd name="connsiteX2252" fmla="*/ 862 w 10785"/>
                  <a:gd name="connsiteY2252" fmla="*/ 4188 h 10000"/>
                  <a:gd name="connsiteX2253" fmla="*/ 857 w 10785"/>
                  <a:gd name="connsiteY2253" fmla="*/ 4197 h 10000"/>
                  <a:gd name="connsiteX2254" fmla="*/ 848 w 10785"/>
                  <a:gd name="connsiteY2254" fmla="*/ 4188 h 10000"/>
                  <a:gd name="connsiteX2255" fmla="*/ 848 w 10785"/>
                  <a:gd name="connsiteY2255" fmla="*/ 4162 h 10000"/>
                  <a:gd name="connsiteX2256" fmla="*/ 829 w 10785"/>
                  <a:gd name="connsiteY2256" fmla="*/ 4120 h 10000"/>
                  <a:gd name="connsiteX2257" fmla="*/ 820 w 10785"/>
                  <a:gd name="connsiteY2257" fmla="*/ 4103 h 10000"/>
                  <a:gd name="connsiteX2258" fmla="*/ 806 w 10785"/>
                  <a:gd name="connsiteY2258" fmla="*/ 4077 h 10000"/>
                  <a:gd name="connsiteX2259" fmla="*/ 816 w 10785"/>
                  <a:gd name="connsiteY2259" fmla="*/ 4111 h 10000"/>
                  <a:gd name="connsiteX2260" fmla="*/ 802 w 10785"/>
                  <a:gd name="connsiteY2260" fmla="*/ 4111 h 10000"/>
                  <a:gd name="connsiteX2261" fmla="*/ 770 w 10785"/>
                  <a:gd name="connsiteY2261" fmla="*/ 4060 h 10000"/>
                  <a:gd name="connsiteX2262" fmla="*/ 760 w 10785"/>
                  <a:gd name="connsiteY2262" fmla="*/ 4077 h 10000"/>
                  <a:gd name="connsiteX2263" fmla="*/ 760 w 10785"/>
                  <a:gd name="connsiteY2263" fmla="*/ 4060 h 10000"/>
                  <a:gd name="connsiteX2264" fmla="*/ 756 w 10785"/>
                  <a:gd name="connsiteY2264" fmla="*/ 4034 h 10000"/>
                  <a:gd name="connsiteX2265" fmla="*/ 742 w 10785"/>
                  <a:gd name="connsiteY2265" fmla="*/ 4000 h 10000"/>
                  <a:gd name="connsiteX2266" fmla="*/ 747 w 10785"/>
                  <a:gd name="connsiteY2266" fmla="*/ 4034 h 10000"/>
                  <a:gd name="connsiteX2267" fmla="*/ 724 w 10785"/>
                  <a:gd name="connsiteY2267" fmla="*/ 4026 h 10000"/>
                  <a:gd name="connsiteX2268" fmla="*/ 714 w 10785"/>
                  <a:gd name="connsiteY2268" fmla="*/ 4000 h 10000"/>
                  <a:gd name="connsiteX2269" fmla="*/ 714 w 10785"/>
                  <a:gd name="connsiteY2269" fmla="*/ 3983 h 10000"/>
                  <a:gd name="connsiteX2270" fmla="*/ 553 w 10785"/>
                  <a:gd name="connsiteY2270" fmla="*/ 3726 h 10000"/>
                  <a:gd name="connsiteX2271" fmla="*/ 507 w 10785"/>
                  <a:gd name="connsiteY2271" fmla="*/ 3718 h 10000"/>
                  <a:gd name="connsiteX2272" fmla="*/ 516 w 10785"/>
                  <a:gd name="connsiteY2272" fmla="*/ 3726 h 10000"/>
                  <a:gd name="connsiteX2273" fmla="*/ 507 w 10785"/>
                  <a:gd name="connsiteY2273" fmla="*/ 3735 h 10000"/>
                  <a:gd name="connsiteX2274" fmla="*/ 502 w 10785"/>
                  <a:gd name="connsiteY2274" fmla="*/ 3735 h 10000"/>
                  <a:gd name="connsiteX2275" fmla="*/ 419 w 10785"/>
                  <a:gd name="connsiteY2275" fmla="*/ 3675 h 10000"/>
                  <a:gd name="connsiteX2276" fmla="*/ 419 w 10785"/>
                  <a:gd name="connsiteY2276" fmla="*/ 3692 h 10000"/>
                  <a:gd name="connsiteX2277" fmla="*/ 401 w 10785"/>
                  <a:gd name="connsiteY2277" fmla="*/ 3701 h 10000"/>
                  <a:gd name="connsiteX2278" fmla="*/ 387 w 10785"/>
                  <a:gd name="connsiteY2278" fmla="*/ 3718 h 10000"/>
                  <a:gd name="connsiteX2279" fmla="*/ 387 w 10785"/>
                  <a:gd name="connsiteY2279" fmla="*/ 3692 h 10000"/>
                  <a:gd name="connsiteX2280" fmla="*/ 378 w 10785"/>
                  <a:gd name="connsiteY2280" fmla="*/ 3675 h 10000"/>
                  <a:gd name="connsiteX2281" fmla="*/ 378 w 10785"/>
                  <a:gd name="connsiteY2281" fmla="*/ 3650 h 10000"/>
                  <a:gd name="connsiteX2282" fmla="*/ 378 w 10785"/>
                  <a:gd name="connsiteY2282" fmla="*/ 3650 h 10000"/>
                  <a:gd name="connsiteX2283" fmla="*/ 355 w 10785"/>
                  <a:gd name="connsiteY2283" fmla="*/ 3675 h 10000"/>
                  <a:gd name="connsiteX2284" fmla="*/ 359 w 10785"/>
                  <a:gd name="connsiteY2284" fmla="*/ 3641 h 10000"/>
                  <a:gd name="connsiteX2285" fmla="*/ 346 w 10785"/>
                  <a:gd name="connsiteY2285" fmla="*/ 3650 h 10000"/>
                  <a:gd name="connsiteX2286" fmla="*/ 355 w 10785"/>
                  <a:gd name="connsiteY2286" fmla="*/ 3624 h 10000"/>
                  <a:gd name="connsiteX2287" fmla="*/ 346 w 10785"/>
                  <a:gd name="connsiteY2287" fmla="*/ 3624 h 10000"/>
                  <a:gd name="connsiteX2288" fmla="*/ 341 w 10785"/>
                  <a:gd name="connsiteY2288" fmla="*/ 3624 h 10000"/>
                  <a:gd name="connsiteX2289" fmla="*/ 318 w 10785"/>
                  <a:gd name="connsiteY2289" fmla="*/ 3641 h 10000"/>
                  <a:gd name="connsiteX2290" fmla="*/ 327 w 10785"/>
                  <a:gd name="connsiteY2290" fmla="*/ 3624 h 10000"/>
                  <a:gd name="connsiteX2291" fmla="*/ 318 w 10785"/>
                  <a:gd name="connsiteY2291" fmla="*/ 3615 h 10000"/>
                  <a:gd name="connsiteX2292" fmla="*/ 318 w 10785"/>
                  <a:gd name="connsiteY2292" fmla="*/ 3598 h 10000"/>
                  <a:gd name="connsiteX2293" fmla="*/ 300 w 10785"/>
                  <a:gd name="connsiteY2293" fmla="*/ 3598 h 10000"/>
                  <a:gd name="connsiteX2294" fmla="*/ 309 w 10785"/>
                  <a:gd name="connsiteY2294" fmla="*/ 3538 h 10000"/>
                  <a:gd name="connsiteX2295" fmla="*/ 313 w 10785"/>
                  <a:gd name="connsiteY2295" fmla="*/ 3564 h 10000"/>
                  <a:gd name="connsiteX2296" fmla="*/ 318 w 10785"/>
                  <a:gd name="connsiteY2296" fmla="*/ 3581 h 10000"/>
                  <a:gd name="connsiteX2297" fmla="*/ 327 w 10785"/>
                  <a:gd name="connsiteY2297" fmla="*/ 3564 h 10000"/>
                  <a:gd name="connsiteX2298" fmla="*/ 332 w 10785"/>
                  <a:gd name="connsiteY2298" fmla="*/ 3590 h 10000"/>
                  <a:gd name="connsiteX2299" fmla="*/ 346 w 10785"/>
                  <a:gd name="connsiteY2299" fmla="*/ 3590 h 10000"/>
                  <a:gd name="connsiteX2300" fmla="*/ 355 w 10785"/>
                  <a:gd name="connsiteY2300" fmla="*/ 3590 h 10000"/>
                  <a:gd name="connsiteX2301" fmla="*/ 369 w 10785"/>
                  <a:gd name="connsiteY2301" fmla="*/ 3556 h 10000"/>
                  <a:gd name="connsiteX2302" fmla="*/ 369 w 10785"/>
                  <a:gd name="connsiteY2302" fmla="*/ 3538 h 10000"/>
                  <a:gd name="connsiteX2303" fmla="*/ 346 w 10785"/>
                  <a:gd name="connsiteY2303" fmla="*/ 3513 h 10000"/>
                  <a:gd name="connsiteX2304" fmla="*/ 341 w 10785"/>
                  <a:gd name="connsiteY2304" fmla="*/ 3530 h 10000"/>
                  <a:gd name="connsiteX2305" fmla="*/ 327 w 10785"/>
                  <a:gd name="connsiteY2305" fmla="*/ 3513 h 10000"/>
                  <a:gd name="connsiteX2306" fmla="*/ 327 w 10785"/>
                  <a:gd name="connsiteY2306" fmla="*/ 3504 h 10000"/>
                  <a:gd name="connsiteX2307" fmla="*/ 295 w 10785"/>
                  <a:gd name="connsiteY2307" fmla="*/ 3462 h 10000"/>
                  <a:gd name="connsiteX2308" fmla="*/ 300 w 10785"/>
                  <a:gd name="connsiteY2308" fmla="*/ 3479 h 10000"/>
                  <a:gd name="connsiteX2309" fmla="*/ 295 w 10785"/>
                  <a:gd name="connsiteY2309" fmla="*/ 3513 h 10000"/>
                  <a:gd name="connsiteX2310" fmla="*/ 286 w 10785"/>
                  <a:gd name="connsiteY2310" fmla="*/ 3513 h 10000"/>
                  <a:gd name="connsiteX2311" fmla="*/ 281 w 10785"/>
                  <a:gd name="connsiteY2311" fmla="*/ 3513 h 10000"/>
                  <a:gd name="connsiteX2312" fmla="*/ 281 w 10785"/>
                  <a:gd name="connsiteY2312" fmla="*/ 3530 h 10000"/>
                  <a:gd name="connsiteX2313" fmla="*/ 281 w 10785"/>
                  <a:gd name="connsiteY2313" fmla="*/ 3556 h 10000"/>
                  <a:gd name="connsiteX2314" fmla="*/ 272 w 10785"/>
                  <a:gd name="connsiteY2314" fmla="*/ 3564 h 10000"/>
                  <a:gd name="connsiteX2315" fmla="*/ 267 w 10785"/>
                  <a:gd name="connsiteY2315" fmla="*/ 3564 h 10000"/>
                  <a:gd name="connsiteX2316" fmla="*/ 253 w 10785"/>
                  <a:gd name="connsiteY2316" fmla="*/ 3538 h 10000"/>
                  <a:gd name="connsiteX2317" fmla="*/ 226 w 10785"/>
                  <a:gd name="connsiteY2317" fmla="*/ 3513 h 10000"/>
                  <a:gd name="connsiteX2318" fmla="*/ 226 w 10785"/>
                  <a:gd name="connsiteY2318" fmla="*/ 3530 h 10000"/>
                  <a:gd name="connsiteX2319" fmla="*/ 226 w 10785"/>
                  <a:gd name="connsiteY2319" fmla="*/ 3530 h 10000"/>
                  <a:gd name="connsiteX2320" fmla="*/ 226 w 10785"/>
                  <a:gd name="connsiteY2320" fmla="*/ 3530 h 10000"/>
                  <a:gd name="connsiteX2321" fmla="*/ 226 w 10785"/>
                  <a:gd name="connsiteY2321" fmla="*/ 3556 h 10000"/>
                  <a:gd name="connsiteX2322" fmla="*/ 221 w 10785"/>
                  <a:gd name="connsiteY2322" fmla="*/ 3598 h 10000"/>
                  <a:gd name="connsiteX2323" fmla="*/ 207 w 10785"/>
                  <a:gd name="connsiteY2323" fmla="*/ 3598 h 10000"/>
                  <a:gd name="connsiteX2324" fmla="*/ 180 w 10785"/>
                  <a:gd name="connsiteY2324" fmla="*/ 3581 h 10000"/>
                  <a:gd name="connsiteX2325" fmla="*/ 171 w 10785"/>
                  <a:gd name="connsiteY2325" fmla="*/ 3641 h 10000"/>
                  <a:gd name="connsiteX2326" fmla="*/ 166 w 10785"/>
                  <a:gd name="connsiteY2326" fmla="*/ 3650 h 10000"/>
                  <a:gd name="connsiteX2327" fmla="*/ 124 w 10785"/>
                  <a:gd name="connsiteY2327" fmla="*/ 3701 h 10000"/>
                  <a:gd name="connsiteX2328" fmla="*/ 124 w 10785"/>
                  <a:gd name="connsiteY2328" fmla="*/ 3718 h 10000"/>
                  <a:gd name="connsiteX2329" fmla="*/ 120 w 10785"/>
                  <a:gd name="connsiteY2329" fmla="*/ 3735 h 10000"/>
                  <a:gd name="connsiteX2330" fmla="*/ 120 w 10785"/>
                  <a:gd name="connsiteY2330" fmla="*/ 3735 h 10000"/>
                  <a:gd name="connsiteX2331" fmla="*/ 111 w 10785"/>
                  <a:gd name="connsiteY2331" fmla="*/ 3761 h 10000"/>
                  <a:gd name="connsiteX2332" fmla="*/ 106 w 10785"/>
                  <a:gd name="connsiteY2332" fmla="*/ 3761 h 10000"/>
                  <a:gd name="connsiteX2333" fmla="*/ 106 w 10785"/>
                  <a:gd name="connsiteY2333" fmla="*/ 3761 h 10000"/>
                  <a:gd name="connsiteX2334" fmla="*/ 74 w 10785"/>
                  <a:gd name="connsiteY2334" fmla="*/ 3829 h 10000"/>
                  <a:gd name="connsiteX2335" fmla="*/ 78 w 10785"/>
                  <a:gd name="connsiteY2335" fmla="*/ 3838 h 10000"/>
                  <a:gd name="connsiteX2336" fmla="*/ 88 w 10785"/>
                  <a:gd name="connsiteY2336" fmla="*/ 3846 h 10000"/>
                  <a:gd name="connsiteX2337" fmla="*/ 65 w 10785"/>
                  <a:gd name="connsiteY2337" fmla="*/ 3923 h 10000"/>
                  <a:gd name="connsiteX2338" fmla="*/ 78 w 10785"/>
                  <a:gd name="connsiteY2338" fmla="*/ 4026 h 10000"/>
                  <a:gd name="connsiteX2339" fmla="*/ 88 w 10785"/>
                  <a:gd name="connsiteY2339" fmla="*/ 4051 h 10000"/>
                  <a:gd name="connsiteX2340" fmla="*/ 92 w 10785"/>
                  <a:gd name="connsiteY2340" fmla="*/ 4060 h 10000"/>
                  <a:gd name="connsiteX2341" fmla="*/ 111 w 10785"/>
                  <a:gd name="connsiteY2341" fmla="*/ 4060 h 10000"/>
                  <a:gd name="connsiteX2342" fmla="*/ 124 w 10785"/>
                  <a:gd name="connsiteY2342" fmla="*/ 4085 h 10000"/>
                  <a:gd name="connsiteX2343" fmla="*/ 166 w 10785"/>
                  <a:gd name="connsiteY2343" fmla="*/ 4197 h 10000"/>
                  <a:gd name="connsiteX2344" fmla="*/ 166 w 10785"/>
                  <a:gd name="connsiteY2344" fmla="*/ 4248 h 10000"/>
                  <a:gd name="connsiteX2345" fmla="*/ 120 w 10785"/>
                  <a:gd name="connsiteY2345" fmla="*/ 4462 h 10000"/>
                  <a:gd name="connsiteX2346" fmla="*/ 120 w 10785"/>
                  <a:gd name="connsiteY2346" fmla="*/ 4513 h 10000"/>
                  <a:gd name="connsiteX2347" fmla="*/ 180 w 10785"/>
                  <a:gd name="connsiteY2347" fmla="*/ 4829 h 10000"/>
                  <a:gd name="connsiteX2348" fmla="*/ 161 w 10785"/>
                  <a:gd name="connsiteY2348" fmla="*/ 4855 h 10000"/>
                  <a:gd name="connsiteX2349" fmla="*/ 152 w 10785"/>
                  <a:gd name="connsiteY2349" fmla="*/ 4940 h 10000"/>
                  <a:gd name="connsiteX2350" fmla="*/ 161 w 10785"/>
                  <a:gd name="connsiteY2350" fmla="*/ 4966 h 10000"/>
                  <a:gd name="connsiteX2351" fmla="*/ 161 w 10785"/>
                  <a:gd name="connsiteY2351" fmla="*/ 5009 h 10000"/>
                  <a:gd name="connsiteX2352" fmla="*/ 152 w 10785"/>
                  <a:gd name="connsiteY2352" fmla="*/ 5034 h 10000"/>
                  <a:gd name="connsiteX2353" fmla="*/ 152 w 10785"/>
                  <a:gd name="connsiteY2353" fmla="*/ 5077 h 10000"/>
                  <a:gd name="connsiteX2354" fmla="*/ 171 w 10785"/>
                  <a:gd name="connsiteY2354" fmla="*/ 5094 h 10000"/>
                  <a:gd name="connsiteX2355" fmla="*/ 180 w 10785"/>
                  <a:gd name="connsiteY2355" fmla="*/ 5128 h 10000"/>
                  <a:gd name="connsiteX2356" fmla="*/ 180 w 10785"/>
                  <a:gd name="connsiteY2356" fmla="*/ 5171 h 10000"/>
                  <a:gd name="connsiteX2357" fmla="*/ 184 w 10785"/>
                  <a:gd name="connsiteY2357" fmla="*/ 5205 h 10000"/>
                  <a:gd name="connsiteX2358" fmla="*/ 207 w 10785"/>
                  <a:gd name="connsiteY2358" fmla="*/ 5239 h 10000"/>
                  <a:gd name="connsiteX2359" fmla="*/ 207 w 10785"/>
                  <a:gd name="connsiteY2359" fmla="*/ 5282 h 10000"/>
                  <a:gd name="connsiteX2360" fmla="*/ 180 w 10785"/>
                  <a:gd name="connsiteY2360" fmla="*/ 5393 h 10000"/>
                  <a:gd name="connsiteX2361" fmla="*/ 194 w 10785"/>
                  <a:gd name="connsiteY2361" fmla="*/ 5427 h 10000"/>
                  <a:gd name="connsiteX2362" fmla="*/ 198 w 10785"/>
                  <a:gd name="connsiteY2362" fmla="*/ 5462 h 10000"/>
                  <a:gd name="connsiteX2363" fmla="*/ 235 w 10785"/>
                  <a:gd name="connsiteY2363" fmla="*/ 5513 h 10000"/>
                  <a:gd name="connsiteX2364" fmla="*/ 240 w 10785"/>
                  <a:gd name="connsiteY2364" fmla="*/ 5556 h 10000"/>
                  <a:gd name="connsiteX2365" fmla="*/ 253 w 10785"/>
                  <a:gd name="connsiteY2365" fmla="*/ 5590 h 10000"/>
                  <a:gd name="connsiteX2366" fmla="*/ 258 w 10785"/>
                  <a:gd name="connsiteY2366" fmla="*/ 5573 h 10000"/>
                  <a:gd name="connsiteX2367" fmla="*/ 258 w 10785"/>
                  <a:gd name="connsiteY2367" fmla="*/ 5667 h 10000"/>
                  <a:gd name="connsiteX2368" fmla="*/ 14 w 10785"/>
                  <a:gd name="connsiteY2368" fmla="*/ 6214 h 10000"/>
                  <a:gd name="connsiteX2369" fmla="*/ 14 w 10785"/>
                  <a:gd name="connsiteY2369" fmla="*/ 6214 h 10000"/>
                  <a:gd name="connsiteX2370" fmla="*/ 37 w 10785"/>
                  <a:gd name="connsiteY2370" fmla="*/ 6214 h 10000"/>
                  <a:gd name="connsiteX2371" fmla="*/ 51 w 10785"/>
                  <a:gd name="connsiteY2371" fmla="*/ 6188 h 10000"/>
                  <a:gd name="connsiteX2372" fmla="*/ 78 w 10785"/>
                  <a:gd name="connsiteY2372" fmla="*/ 6162 h 10000"/>
                  <a:gd name="connsiteX2373" fmla="*/ 78 w 10785"/>
                  <a:gd name="connsiteY2373" fmla="*/ 6188 h 10000"/>
                  <a:gd name="connsiteX2374" fmla="*/ 74 w 10785"/>
                  <a:gd name="connsiteY2374" fmla="*/ 6197 h 10000"/>
                  <a:gd name="connsiteX2375" fmla="*/ 74 w 10785"/>
                  <a:gd name="connsiteY2375" fmla="*/ 6231 h 10000"/>
                  <a:gd name="connsiteX2376" fmla="*/ 74 w 10785"/>
                  <a:gd name="connsiteY2376" fmla="*/ 6214 h 10000"/>
                  <a:gd name="connsiteX2377" fmla="*/ 65 w 10785"/>
                  <a:gd name="connsiteY2377" fmla="*/ 6214 h 10000"/>
                  <a:gd name="connsiteX2378" fmla="*/ 65 w 10785"/>
                  <a:gd name="connsiteY2378" fmla="*/ 6248 h 10000"/>
                  <a:gd name="connsiteX2379" fmla="*/ 74 w 10785"/>
                  <a:gd name="connsiteY2379" fmla="*/ 6256 h 10000"/>
                  <a:gd name="connsiteX2380" fmla="*/ 78 w 10785"/>
                  <a:gd name="connsiteY2380" fmla="*/ 6256 h 10000"/>
                  <a:gd name="connsiteX2381" fmla="*/ 106 w 10785"/>
                  <a:gd name="connsiteY2381" fmla="*/ 6308 h 10000"/>
                  <a:gd name="connsiteX2382" fmla="*/ 138 w 10785"/>
                  <a:gd name="connsiteY2382" fmla="*/ 6299 h 10000"/>
                  <a:gd name="connsiteX2383" fmla="*/ 152 w 10785"/>
                  <a:gd name="connsiteY2383" fmla="*/ 6299 h 10000"/>
                  <a:gd name="connsiteX2384" fmla="*/ 166 w 10785"/>
                  <a:gd name="connsiteY2384" fmla="*/ 6325 h 10000"/>
                  <a:gd name="connsiteX2385" fmla="*/ 166 w 10785"/>
                  <a:gd name="connsiteY2385" fmla="*/ 6333 h 10000"/>
                  <a:gd name="connsiteX2386" fmla="*/ 171 w 10785"/>
                  <a:gd name="connsiteY2386" fmla="*/ 6350 h 10000"/>
                  <a:gd name="connsiteX2387" fmla="*/ 180 w 10785"/>
                  <a:gd name="connsiteY2387" fmla="*/ 6350 h 10000"/>
                  <a:gd name="connsiteX2388" fmla="*/ 180 w 10785"/>
                  <a:gd name="connsiteY2388" fmla="*/ 6359 h 10000"/>
                  <a:gd name="connsiteX2389" fmla="*/ 171 w 10785"/>
                  <a:gd name="connsiteY2389" fmla="*/ 6368 h 10000"/>
                  <a:gd name="connsiteX2390" fmla="*/ 106 w 10785"/>
                  <a:gd name="connsiteY2390" fmla="*/ 6350 h 10000"/>
                  <a:gd name="connsiteX2391" fmla="*/ 101 w 10785"/>
                  <a:gd name="connsiteY2391" fmla="*/ 6359 h 10000"/>
                  <a:gd name="connsiteX2392" fmla="*/ 101 w 10785"/>
                  <a:gd name="connsiteY2392" fmla="*/ 6385 h 10000"/>
                  <a:gd name="connsiteX2393" fmla="*/ 78 w 10785"/>
                  <a:gd name="connsiteY2393" fmla="*/ 6393 h 10000"/>
                  <a:gd name="connsiteX2394" fmla="*/ 74 w 10785"/>
                  <a:gd name="connsiteY2394" fmla="*/ 6385 h 10000"/>
                  <a:gd name="connsiteX2395" fmla="*/ 65 w 10785"/>
                  <a:gd name="connsiteY2395" fmla="*/ 6393 h 10000"/>
                  <a:gd name="connsiteX2396" fmla="*/ 60 w 10785"/>
                  <a:gd name="connsiteY2396" fmla="*/ 6419 h 10000"/>
                  <a:gd name="connsiteX2397" fmla="*/ 51 w 10785"/>
                  <a:gd name="connsiteY2397" fmla="*/ 6419 h 10000"/>
                  <a:gd name="connsiteX2398" fmla="*/ 46 w 10785"/>
                  <a:gd name="connsiteY2398" fmla="*/ 6410 h 10000"/>
                  <a:gd name="connsiteX2399" fmla="*/ 37 w 10785"/>
                  <a:gd name="connsiteY2399" fmla="*/ 6393 h 10000"/>
                  <a:gd name="connsiteX2400" fmla="*/ 32 w 10785"/>
                  <a:gd name="connsiteY2400" fmla="*/ 6419 h 10000"/>
                  <a:gd name="connsiteX2401" fmla="*/ 37 w 10785"/>
                  <a:gd name="connsiteY2401" fmla="*/ 6462 h 10000"/>
                  <a:gd name="connsiteX2402" fmla="*/ 46 w 10785"/>
                  <a:gd name="connsiteY2402" fmla="*/ 6462 h 10000"/>
                  <a:gd name="connsiteX2403" fmla="*/ 51 w 10785"/>
                  <a:gd name="connsiteY2403" fmla="*/ 6470 h 10000"/>
                  <a:gd name="connsiteX2404" fmla="*/ 51 w 10785"/>
                  <a:gd name="connsiteY2404" fmla="*/ 6496 h 10000"/>
                  <a:gd name="connsiteX2405" fmla="*/ 51 w 10785"/>
                  <a:gd name="connsiteY2405" fmla="*/ 6504 h 10000"/>
                  <a:gd name="connsiteX2406" fmla="*/ 37 w 10785"/>
                  <a:gd name="connsiteY2406" fmla="*/ 6530 h 10000"/>
                  <a:gd name="connsiteX2407" fmla="*/ 18 w 10785"/>
                  <a:gd name="connsiteY2407" fmla="*/ 6598 h 10000"/>
                  <a:gd name="connsiteX2408" fmla="*/ 28 w 10785"/>
                  <a:gd name="connsiteY2408" fmla="*/ 6632 h 10000"/>
                  <a:gd name="connsiteX2409" fmla="*/ 18 w 10785"/>
                  <a:gd name="connsiteY2409" fmla="*/ 6667 h 10000"/>
                  <a:gd name="connsiteX2410" fmla="*/ 28 w 10785"/>
                  <a:gd name="connsiteY2410" fmla="*/ 6692 h 10000"/>
                  <a:gd name="connsiteX2411" fmla="*/ 28 w 10785"/>
                  <a:gd name="connsiteY2411" fmla="*/ 6709 h 10000"/>
                  <a:gd name="connsiteX2412" fmla="*/ 18 w 10785"/>
                  <a:gd name="connsiteY2412" fmla="*/ 6718 h 10000"/>
                  <a:gd name="connsiteX2413" fmla="*/ 5 w 10785"/>
                  <a:gd name="connsiteY2413" fmla="*/ 6744 h 10000"/>
                  <a:gd name="connsiteX2414" fmla="*/ 0 w 10785"/>
                  <a:gd name="connsiteY2414" fmla="*/ 6769 h 10000"/>
                  <a:gd name="connsiteX2415" fmla="*/ 5 w 10785"/>
                  <a:gd name="connsiteY2415" fmla="*/ 6778 h 10000"/>
                  <a:gd name="connsiteX2416" fmla="*/ 32 w 10785"/>
                  <a:gd name="connsiteY2416" fmla="*/ 6778 h 10000"/>
                  <a:gd name="connsiteX2417" fmla="*/ 46 w 10785"/>
                  <a:gd name="connsiteY2417" fmla="*/ 6821 h 10000"/>
                  <a:gd name="connsiteX2418" fmla="*/ 46 w 10785"/>
                  <a:gd name="connsiteY2418" fmla="*/ 6855 h 10000"/>
                  <a:gd name="connsiteX2419" fmla="*/ 32 w 10785"/>
                  <a:gd name="connsiteY2419" fmla="*/ 6855 h 10000"/>
                  <a:gd name="connsiteX2420" fmla="*/ 14 w 10785"/>
                  <a:gd name="connsiteY2420" fmla="*/ 6821 h 10000"/>
                  <a:gd name="connsiteX2421" fmla="*/ 14 w 10785"/>
                  <a:gd name="connsiteY2421" fmla="*/ 6846 h 10000"/>
                  <a:gd name="connsiteX2422" fmla="*/ 0 w 10785"/>
                  <a:gd name="connsiteY2422" fmla="*/ 6897 h 10000"/>
                  <a:gd name="connsiteX2423" fmla="*/ 0 w 10785"/>
                  <a:gd name="connsiteY2423" fmla="*/ 6915 h 10000"/>
                  <a:gd name="connsiteX2424" fmla="*/ 5 w 10785"/>
                  <a:gd name="connsiteY2424" fmla="*/ 6932 h 10000"/>
                  <a:gd name="connsiteX2425" fmla="*/ 14 w 10785"/>
                  <a:gd name="connsiteY2425" fmla="*/ 6940 h 10000"/>
                  <a:gd name="connsiteX2426" fmla="*/ 18 w 10785"/>
                  <a:gd name="connsiteY2426" fmla="*/ 6957 h 10000"/>
                  <a:gd name="connsiteX2427" fmla="*/ 28 w 10785"/>
                  <a:gd name="connsiteY2427" fmla="*/ 6966 h 10000"/>
                  <a:gd name="connsiteX2428" fmla="*/ 28 w 10785"/>
                  <a:gd name="connsiteY2428" fmla="*/ 6983 h 10000"/>
                  <a:gd name="connsiteX2429" fmla="*/ 18 w 10785"/>
                  <a:gd name="connsiteY2429" fmla="*/ 7051 h 10000"/>
                  <a:gd name="connsiteX2430" fmla="*/ 28 w 10785"/>
                  <a:gd name="connsiteY2430" fmla="*/ 7068 h 10000"/>
                  <a:gd name="connsiteX2431" fmla="*/ 32 w 10785"/>
                  <a:gd name="connsiteY2431" fmla="*/ 7068 h 10000"/>
                  <a:gd name="connsiteX2432" fmla="*/ 32 w 10785"/>
                  <a:gd name="connsiteY2432" fmla="*/ 7094 h 10000"/>
                  <a:gd name="connsiteX2433" fmla="*/ 60 w 10785"/>
                  <a:gd name="connsiteY2433" fmla="*/ 7162 h 10000"/>
                  <a:gd name="connsiteX2434" fmla="*/ 60 w 10785"/>
                  <a:gd name="connsiteY2434" fmla="*/ 7231 h 10000"/>
                  <a:gd name="connsiteX2435" fmla="*/ 60 w 10785"/>
                  <a:gd name="connsiteY2435" fmla="*/ 7239 h 10000"/>
                  <a:gd name="connsiteX2436" fmla="*/ 78 w 10785"/>
                  <a:gd name="connsiteY2436" fmla="*/ 7239 h 10000"/>
                  <a:gd name="connsiteX2437" fmla="*/ 88 w 10785"/>
                  <a:gd name="connsiteY2437" fmla="*/ 7239 h 10000"/>
                  <a:gd name="connsiteX2438" fmla="*/ 92 w 10785"/>
                  <a:gd name="connsiteY2438" fmla="*/ 7256 h 10000"/>
                  <a:gd name="connsiteX2439" fmla="*/ 111 w 10785"/>
                  <a:gd name="connsiteY2439" fmla="*/ 7256 h 10000"/>
                  <a:gd name="connsiteX2440" fmla="*/ 120 w 10785"/>
                  <a:gd name="connsiteY2440" fmla="*/ 7256 h 10000"/>
                  <a:gd name="connsiteX2441" fmla="*/ 134 w 10785"/>
                  <a:gd name="connsiteY2441" fmla="*/ 7282 h 10000"/>
                  <a:gd name="connsiteX2442" fmla="*/ 134 w 10785"/>
                  <a:gd name="connsiteY2442" fmla="*/ 7316 h 10000"/>
                  <a:gd name="connsiteX2443" fmla="*/ 152 w 10785"/>
                  <a:gd name="connsiteY2443" fmla="*/ 7299 h 10000"/>
                  <a:gd name="connsiteX2444" fmla="*/ 161 w 10785"/>
                  <a:gd name="connsiteY2444" fmla="*/ 7299 h 10000"/>
                  <a:gd name="connsiteX2445" fmla="*/ 166 w 10785"/>
                  <a:gd name="connsiteY2445" fmla="*/ 7291 h 10000"/>
                  <a:gd name="connsiteX2446" fmla="*/ 194 w 10785"/>
                  <a:gd name="connsiteY2446" fmla="*/ 7291 h 10000"/>
                  <a:gd name="connsiteX2447" fmla="*/ 207 w 10785"/>
                  <a:gd name="connsiteY2447" fmla="*/ 7299 h 10000"/>
                  <a:gd name="connsiteX2448" fmla="*/ 221 w 10785"/>
                  <a:gd name="connsiteY2448" fmla="*/ 7342 h 10000"/>
                  <a:gd name="connsiteX2449" fmla="*/ 235 w 10785"/>
                  <a:gd name="connsiteY2449" fmla="*/ 7342 h 10000"/>
                  <a:gd name="connsiteX2450" fmla="*/ 235 w 10785"/>
                  <a:gd name="connsiteY2450" fmla="*/ 7368 h 10000"/>
                  <a:gd name="connsiteX2451" fmla="*/ 226 w 10785"/>
                  <a:gd name="connsiteY2451" fmla="*/ 7393 h 10000"/>
                  <a:gd name="connsiteX2452" fmla="*/ 226 w 10785"/>
                  <a:gd name="connsiteY2452" fmla="*/ 7402 h 10000"/>
                  <a:gd name="connsiteX2453" fmla="*/ 235 w 10785"/>
                  <a:gd name="connsiteY2453" fmla="*/ 7419 h 10000"/>
                  <a:gd name="connsiteX2454" fmla="*/ 240 w 10785"/>
                  <a:gd name="connsiteY2454" fmla="*/ 7436 h 10000"/>
                  <a:gd name="connsiteX2455" fmla="*/ 235 w 10785"/>
                  <a:gd name="connsiteY2455" fmla="*/ 7462 h 10000"/>
                  <a:gd name="connsiteX2456" fmla="*/ 226 w 10785"/>
                  <a:gd name="connsiteY2456" fmla="*/ 7479 h 10000"/>
                  <a:gd name="connsiteX2457" fmla="*/ 226 w 10785"/>
                  <a:gd name="connsiteY2457" fmla="*/ 7504 h 10000"/>
                  <a:gd name="connsiteX2458" fmla="*/ 226 w 10785"/>
                  <a:gd name="connsiteY2458" fmla="*/ 7513 h 10000"/>
                  <a:gd name="connsiteX2459" fmla="*/ 240 w 10785"/>
                  <a:gd name="connsiteY2459" fmla="*/ 7538 h 10000"/>
                  <a:gd name="connsiteX2460" fmla="*/ 267 w 10785"/>
                  <a:gd name="connsiteY2460" fmla="*/ 7641 h 10000"/>
                  <a:gd name="connsiteX2461" fmla="*/ 281 w 10785"/>
                  <a:gd name="connsiteY2461" fmla="*/ 7667 h 10000"/>
                  <a:gd name="connsiteX2462" fmla="*/ 286 w 10785"/>
                  <a:gd name="connsiteY2462" fmla="*/ 7675 h 10000"/>
                  <a:gd name="connsiteX2463" fmla="*/ 286 w 10785"/>
                  <a:gd name="connsiteY2463" fmla="*/ 7692 h 10000"/>
                  <a:gd name="connsiteX2464" fmla="*/ 286 w 10785"/>
                  <a:gd name="connsiteY2464" fmla="*/ 7709 h 10000"/>
                  <a:gd name="connsiteX2465" fmla="*/ 295 w 10785"/>
                  <a:gd name="connsiteY2465" fmla="*/ 7726 h 10000"/>
                  <a:gd name="connsiteX2466" fmla="*/ 318 w 10785"/>
                  <a:gd name="connsiteY2466" fmla="*/ 7709 h 10000"/>
                  <a:gd name="connsiteX2467" fmla="*/ 327 w 10785"/>
                  <a:gd name="connsiteY2467" fmla="*/ 7726 h 10000"/>
                  <a:gd name="connsiteX2468" fmla="*/ 341 w 10785"/>
                  <a:gd name="connsiteY2468" fmla="*/ 7735 h 10000"/>
                  <a:gd name="connsiteX2469" fmla="*/ 332 w 10785"/>
                  <a:gd name="connsiteY2469" fmla="*/ 7752 h 10000"/>
                  <a:gd name="connsiteX2470" fmla="*/ 341 w 10785"/>
                  <a:gd name="connsiteY2470" fmla="*/ 7761 h 10000"/>
                  <a:gd name="connsiteX2471" fmla="*/ 355 w 10785"/>
                  <a:gd name="connsiteY2471" fmla="*/ 7761 h 10000"/>
                  <a:gd name="connsiteX2472" fmla="*/ 355 w 10785"/>
                  <a:gd name="connsiteY2472" fmla="*/ 7803 h 10000"/>
                  <a:gd name="connsiteX2473" fmla="*/ 313 w 10785"/>
                  <a:gd name="connsiteY2473" fmla="*/ 7846 h 10000"/>
                  <a:gd name="connsiteX2474" fmla="*/ 295 w 10785"/>
                  <a:gd name="connsiteY2474" fmla="*/ 7846 h 10000"/>
                  <a:gd name="connsiteX2475" fmla="*/ 281 w 10785"/>
                  <a:gd name="connsiteY2475" fmla="*/ 7821 h 10000"/>
                  <a:gd name="connsiteX2476" fmla="*/ 272 w 10785"/>
                  <a:gd name="connsiteY2476" fmla="*/ 7821 h 10000"/>
                  <a:gd name="connsiteX2477" fmla="*/ 267 w 10785"/>
                  <a:gd name="connsiteY2477" fmla="*/ 7838 h 10000"/>
                  <a:gd name="connsiteX2478" fmla="*/ 258 w 10785"/>
                  <a:gd name="connsiteY2478" fmla="*/ 7846 h 10000"/>
                  <a:gd name="connsiteX2479" fmla="*/ 253 w 10785"/>
                  <a:gd name="connsiteY2479" fmla="*/ 7863 h 10000"/>
                  <a:gd name="connsiteX2480" fmla="*/ 253 w 10785"/>
                  <a:gd name="connsiteY2480" fmla="*/ 7872 h 10000"/>
                  <a:gd name="connsiteX2481" fmla="*/ 267 w 10785"/>
                  <a:gd name="connsiteY2481" fmla="*/ 7897 h 10000"/>
                  <a:gd name="connsiteX2482" fmla="*/ 272 w 10785"/>
                  <a:gd name="connsiteY2482" fmla="*/ 7915 h 10000"/>
                  <a:gd name="connsiteX2483" fmla="*/ 267 w 10785"/>
                  <a:gd name="connsiteY2483" fmla="*/ 7940 h 10000"/>
                  <a:gd name="connsiteX2484" fmla="*/ 272 w 10785"/>
                  <a:gd name="connsiteY2484" fmla="*/ 7949 h 10000"/>
                  <a:gd name="connsiteX2485" fmla="*/ 272 w 10785"/>
                  <a:gd name="connsiteY2485" fmla="*/ 7957 h 10000"/>
                  <a:gd name="connsiteX2486" fmla="*/ 281 w 10785"/>
                  <a:gd name="connsiteY2486" fmla="*/ 7974 h 10000"/>
                  <a:gd name="connsiteX2487" fmla="*/ 286 w 10785"/>
                  <a:gd name="connsiteY2487" fmla="*/ 7983 h 10000"/>
                  <a:gd name="connsiteX2488" fmla="*/ 281 w 10785"/>
                  <a:gd name="connsiteY2488" fmla="*/ 8009 h 10000"/>
                  <a:gd name="connsiteX2489" fmla="*/ 286 w 10785"/>
                  <a:gd name="connsiteY2489" fmla="*/ 8060 h 10000"/>
                  <a:gd name="connsiteX2490" fmla="*/ 286 w 10785"/>
                  <a:gd name="connsiteY2490" fmla="*/ 8060 h 10000"/>
                  <a:gd name="connsiteX2491" fmla="*/ 295 w 10785"/>
                  <a:gd name="connsiteY2491" fmla="*/ 8077 h 10000"/>
                  <a:gd name="connsiteX2492" fmla="*/ 309 w 10785"/>
                  <a:gd name="connsiteY2492" fmla="*/ 8077 h 10000"/>
                  <a:gd name="connsiteX2493" fmla="*/ 313 w 10785"/>
                  <a:gd name="connsiteY2493" fmla="*/ 8060 h 10000"/>
                  <a:gd name="connsiteX2494" fmla="*/ 318 w 10785"/>
                  <a:gd name="connsiteY2494" fmla="*/ 8051 h 10000"/>
                  <a:gd name="connsiteX2495" fmla="*/ 318 w 10785"/>
                  <a:gd name="connsiteY2495" fmla="*/ 8034 h 10000"/>
                  <a:gd name="connsiteX2496" fmla="*/ 332 w 10785"/>
                  <a:gd name="connsiteY2496" fmla="*/ 8026 h 10000"/>
                  <a:gd name="connsiteX2497" fmla="*/ 359 w 10785"/>
                  <a:gd name="connsiteY2497" fmla="*/ 8034 h 10000"/>
                  <a:gd name="connsiteX2498" fmla="*/ 378 w 10785"/>
                  <a:gd name="connsiteY2498" fmla="*/ 8026 h 10000"/>
                  <a:gd name="connsiteX2499" fmla="*/ 401 w 10785"/>
                  <a:gd name="connsiteY2499" fmla="*/ 8026 h 10000"/>
                  <a:gd name="connsiteX2500" fmla="*/ 419 w 10785"/>
                  <a:gd name="connsiteY2500" fmla="*/ 8009 h 10000"/>
                  <a:gd name="connsiteX2501" fmla="*/ 433 w 10785"/>
                  <a:gd name="connsiteY2501" fmla="*/ 8034 h 10000"/>
                  <a:gd name="connsiteX2502" fmla="*/ 442 w 10785"/>
                  <a:gd name="connsiteY2502" fmla="*/ 8060 h 10000"/>
                  <a:gd name="connsiteX2503" fmla="*/ 442 w 10785"/>
                  <a:gd name="connsiteY2503" fmla="*/ 8077 h 10000"/>
                  <a:gd name="connsiteX2504" fmla="*/ 461 w 10785"/>
                  <a:gd name="connsiteY2504" fmla="*/ 8111 h 10000"/>
                  <a:gd name="connsiteX2505" fmla="*/ 461 w 10785"/>
                  <a:gd name="connsiteY2505" fmla="*/ 8137 h 10000"/>
                  <a:gd name="connsiteX2506" fmla="*/ 447 w 10785"/>
                  <a:gd name="connsiteY2506" fmla="*/ 8145 h 10000"/>
                  <a:gd name="connsiteX2507" fmla="*/ 442 w 10785"/>
                  <a:gd name="connsiteY2507" fmla="*/ 8145 h 10000"/>
                  <a:gd name="connsiteX2508" fmla="*/ 442 w 10785"/>
                  <a:gd name="connsiteY2508" fmla="*/ 8162 h 10000"/>
                  <a:gd name="connsiteX2509" fmla="*/ 442 w 10785"/>
                  <a:gd name="connsiteY2509" fmla="*/ 8171 h 10000"/>
                  <a:gd name="connsiteX2510" fmla="*/ 447 w 10785"/>
                  <a:gd name="connsiteY2510" fmla="*/ 8214 h 10000"/>
                  <a:gd name="connsiteX2511" fmla="*/ 465 w 10785"/>
                  <a:gd name="connsiteY2511" fmla="*/ 8231 h 10000"/>
                  <a:gd name="connsiteX2512" fmla="*/ 488 w 10785"/>
                  <a:gd name="connsiteY2512" fmla="*/ 8231 h 10000"/>
                  <a:gd name="connsiteX2513" fmla="*/ 493 w 10785"/>
                  <a:gd name="connsiteY2513" fmla="*/ 8231 h 10000"/>
                  <a:gd name="connsiteX2514" fmla="*/ 502 w 10785"/>
                  <a:gd name="connsiteY2514" fmla="*/ 8231 h 10000"/>
                  <a:gd name="connsiteX2515" fmla="*/ 507 w 10785"/>
                  <a:gd name="connsiteY2515" fmla="*/ 8248 h 10000"/>
                  <a:gd name="connsiteX2516" fmla="*/ 521 w 10785"/>
                  <a:gd name="connsiteY2516" fmla="*/ 8274 h 10000"/>
                  <a:gd name="connsiteX2517" fmla="*/ 525 w 10785"/>
                  <a:gd name="connsiteY2517" fmla="*/ 8333 h 10000"/>
                  <a:gd name="connsiteX2518" fmla="*/ 525 w 10785"/>
                  <a:gd name="connsiteY2518" fmla="*/ 8359 h 10000"/>
                  <a:gd name="connsiteX2519" fmla="*/ 525 w 10785"/>
                  <a:gd name="connsiteY2519" fmla="*/ 8368 h 10000"/>
                  <a:gd name="connsiteX2520" fmla="*/ 548 w 10785"/>
                  <a:gd name="connsiteY2520" fmla="*/ 8393 h 10000"/>
                  <a:gd name="connsiteX2521" fmla="*/ 553 w 10785"/>
                  <a:gd name="connsiteY2521" fmla="*/ 8385 h 10000"/>
                  <a:gd name="connsiteX2522" fmla="*/ 562 w 10785"/>
                  <a:gd name="connsiteY2522" fmla="*/ 8385 h 10000"/>
                  <a:gd name="connsiteX2523" fmla="*/ 576 w 10785"/>
                  <a:gd name="connsiteY2523" fmla="*/ 8385 h 10000"/>
                  <a:gd name="connsiteX2524" fmla="*/ 585 w 10785"/>
                  <a:gd name="connsiteY2524" fmla="*/ 8410 h 10000"/>
                  <a:gd name="connsiteX2525" fmla="*/ 594 w 10785"/>
                  <a:gd name="connsiteY2525" fmla="*/ 8410 h 10000"/>
                  <a:gd name="connsiteX2526" fmla="*/ 608 w 10785"/>
                  <a:gd name="connsiteY2526" fmla="*/ 8410 h 10000"/>
                  <a:gd name="connsiteX2527" fmla="*/ 654 w 10785"/>
                  <a:gd name="connsiteY2527" fmla="*/ 8385 h 10000"/>
                  <a:gd name="connsiteX2528" fmla="*/ 659 w 10785"/>
                  <a:gd name="connsiteY2528" fmla="*/ 8385 h 10000"/>
                  <a:gd name="connsiteX2529" fmla="*/ 696 w 10785"/>
                  <a:gd name="connsiteY2529" fmla="*/ 8470 h 10000"/>
                  <a:gd name="connsiteX2530" fmla="*/ 700 w 10785"/>
                  <a:gd name="connsiteY2530" fmla="*/ 8470 h 10000"/>
                  <a:gd name="connsiteX2531" fmla="*/ 710 w 10785"/>
                  <a:gd name="connsiteY2531" fmla="*/ 8462 h 10000"/>
                  <a:gd name="connsiteX2532" fmla="*/ 714 w 10785"/>
                  <a:gd name="connsiteY2532" fmla="*/ 8462 h 10000"/>
                  <a:gd name="connsiteX2533" fmla="*/ 724 w 10785"/>
                  <a:gd name="connsiteY2533" fmla="*/ 8470 h 10000"/>
                  <a:gd name="connsiteX2534" fmla="*/ 733 w 10785"/>
                  <a:gd name="connsiteY2534" fmla="*/ 8470 h 10000"/>
                  <a:gd name="connsiteX2535" fmla="*/ 742 w 10785"/>
                  <a:gd name="connsiteY2535" fmla="*/ 8487 h 10000"/>
                  <a:gd name="connsiteX2536" fmla="*/ 747 w 10785"/>
                  <a:gd name="connsiteY2536" fmla="*/ 8496 h 10000"/>
                  <a:gd name="connsiteX2537" fmla="*/ 770 w 10785"/>
                  <a:gd name="connsiteY2537" fmla="*/ 8496 h 10000"/>
                  <a:gd name="connsiteX2538" fmla="*/ 783 w 10785"/>
                  <a:gd name="connsiteY2538" fmla="*/ 8521 h 10000"/>
                  <a:gd name="connsiteX2539" fmla="*/ 797 w 10785"/>
                  <a:gd name="connsiteY2539" fmla="*/ 8521 h 10000"/>
                  <a:gd name="connsiteX2540" fmla="*/ 806 w 10785"/>
                  <a:gd name="connsiteY2540" fmla="*/ 8530 h 10000"/>
                  <a:gd name="connsiteX2541" fmla="*/ 829 w 10785"/>
                  <a:gd name="connsiteY2541" fmla="*/ 8547 h 10000"/>
                  <a:gd name="connsiteX2542" fmla="*/ 834 w 10785"/>
                  <a:gd name="connsiteY2542" fmla="*/ 8556 h 10000"/>
                  <a:gd name="connsiteX2543" fmla="*/ 829 w 10785"/>
                  <a:gd name="connsiteY2543" fmla="*/ 8556 h 10000"/>
                  <a:gd name="connsiteX2544" fmla="*/ 834 w 10785"/>
                  <a:gd name="connsiteY2544" fmla="*/ 8607 h 10000"/>
                  <a:gd name="connsiteX2545" fmla="*/ 829 w 10785"/>
                  <a:gd name="connsiteY2545" fmla="*/ 8641 h 10000"/>
                  <a:gd name="connsiteX2546" fmla="*/ 806 w 10785"/>
                  <a:gd name="connsiteY2546" fmla="*/ 8658 h 10000"/>
                  <a:gd name="connsiteX2547" fmla="*/ 816 w 10785"/>
                  <a:gd name="connsiteY2547" fmla="*/ 8667 h 10000"/>
                  <a:gd name="connsiteX2548" fmla="*/ 820 w 10785"/>
                  <a:gd name="connsiteY2548" fmla="*/ 8667 h 10000"/>
                  <a:gd name="connsiteX2549" fmla="*/ 829 w 10785"/>
                  <a:gd name="connsiteY2549" fmla="*/ 8684 h 10000"/>
                  <a:gd name="connsiteX2550" fmla="*/ 806 w 10785"/>
                  <a:gd name="connsiteY2550" fmla="*/ 8692 h 10000"/>
                  <a:gd name="connsiteX2551" fmla="*/ 802 w 10785"/>
                  <a:gd name="connsiteY2551" fmla="*/ 8709 h 10000"/>
                  <a:gd name="connsiteX2552" fmla="*/ 802 w 10785"/>
                  <a:gd name="connsiteY2552" fmla="*/ 8735 h 10000"/>
                  <a:gd name="connsiteX2553" fmla="*/ 806 w 10785"/>
                  <a:gd name="connsiteY2553" fmla="*/ 8744 h 10000"/>
                  <a:gd name="connsiteX2554" fmla="*/ 816 w 10785"/>
                  <a:gd name="connsiteY2554" fmla="*/ 8752 h 10000"/>
                  <a:gd name="connsiteX2555" fmla="*/ 806 w 10785"/>
                  <a:gd name="connsiteY2555" fmla="*/ 8778 h 10000"/>
                  <a:gd name="connsiteX2556" fmla="*/ 820 w 10785"/>
                  <a:gd name="connsiteY2556" fmla="*/ 8778 h 10000"/>
                  <a:gd name="connsiteX2557" fmla="*/ 806 w 10785"/>
                  <a:gd name="connsiteY2557" fmla="*/ 8880 h 10000"/>
                  <a:gd name="connsiteX2558" fmla="*/ 797 w 10785"/>
                  <a:gd name="connsiteY2558" fmla="*/ 8880 h 10000"/>
                  <a:gd name="connsiteX2559" fmla="*/ 783 w 10785"/>
                  <a:gd name="connsiteY2559" fmla="*/ 8872 h 10000"/>
                  <a:gd name="connsiteX2560" fmla="*/ 770 w 10785"/>
                  <a:gd name="connsiteY2560" fmla="*/ 8880 h 10000"/>
                  <a:gd name="connsiteX2561" fmla="*/ 756 w 10785"/>
                  <a:gd name="connsiteY2561" fmla="*/ 8855 h 10000"/>
                  <a:gd name="connsiteX2562" fmla="*/ 733 w 10785"/>
                  <a:gd name="connsiteY2562" fmla="*/ 8906 h 10000"/>
                  <a:gd name="connsiteX2563" fmla="*/ 714 w 10785"/>
                  <a:gd name="connsiteY2563" fmla="*/ 8915 h 10000"/>
                  <a:gd name="connsiteX2564" fmla="*/ 710 w 10785"/>
                  <a:gd name="connsiteY2564" fmla="*/ 8940 h 10000"/>
                  <a:gd name="connsiteX2565" fmla="*/ 710 w 10785"/>
                  <a:gd name="connsiteY2565" fmla="*/ 9009 h 10000"/>
                  <a:gd name="connsiteX2566" fmla="*/ 728 w 10785"/>
                  <a:gd name="connsiteY2566" fmla="*/ 8991 h 10000"/>
                  <a:gd name="connsiteX2567" fmla="*/ 733 w 10785"/>
                  <a:gd name="connsiteY2567" fmla="*/ 8991 h 10000"/>
                  <a:gd name="connsiteX2568" fmla="*/ 747 w 10785"/>
                  <a:gd name="connsiteY2568" fmla="*/ 8983 h 10000"/>
                  <a:gd name="connsiteX2569" fmla="*/ 760 w 10785"/>
                  <a:gd name="connsiteY2569" fmla="*/ 8983 h 10000"/>
                  <a:gd name="connsiteX2570" fmla="*/ 770 w 10785"/>
                  <a:gd name="connsiteY2570" fmla="*/ 8983 h 10000"/>
                  <a:gd name="connsiteX2571" fmla="*/ 770 w 10785"/>
                  <a:gd name="connsiteY2571" fmla="*/ 8991 h 10000"/>
                  <a:gd name="connsiteX2572" fmla="*/ 783 w 10785"/>
                  <a:gd name="connsiteY2572" fmla="*/ 8991 h 10000"/>
                  <a:gd name="connsiteX2573" fmla="*/ 783 w 10785"/>
                  <a:gd name="connsiteY2573" fmla="*/ 9009 h 10000"/>
                  <a:gd name="connsiteX2574" fmla="*/ 783 w 10785"/>
                  <a:gd name="connsiteY2574" fmla="*/ 9017 h 10000"/>
                  <a:gd name="connsiteX2575" fmla="*/ 770 w 10785"/>
                  <a:gd name="connsiteY2575" fmla="*/ 9017 h 10000"/>
                  <a:gd name="connsiteX2576" fmla="*/ 724 w 10785"/>
                  <a:gd name="connsiteY2576" fmla="*/ 9051 h 10000"/>
                  <a:gd name="connsiteX2577" fmla="*/ 724 w 10785"/>
                  <a:gd name="connsiteY2577" fmla="*/ 9068 h 10000"/>
                  <a:gd name="connsiteX2578" fmla="*/ 728 w 10785"/>
                  <a:gd name="connsiteY2578" fmla="*/ 9077 h 10000"/>
                  <a:gd name="connsiteX2579" fmla="*/ 724 w 10785"/>
                  <a:gd name="connsiteY2579" fmla="*/ 9077 h 10000"/>
                  <a:gd name="connsiteX2580" fmla="*/ 710 w 10785"/>
                  <a:gd name="connsiteY2580" fmla="*/ 9077 h 10000"/>
                  <a:gd name="connsiteX2581" fmla="*/ 682 w 10785"/>
                  <a:gd name="connsiteY2581" fmla="*/ 9077 h 10000"/>
                  <a:gd name="connsiteX2582" fmla="*/ 673 w 10785"/>
                  <a:gd name="connsiteY2582" fmla="*/ 9103 h 10000"/>
                  <a:gd name="connsiteX2583" fmla="*/ 687 w 10785"/>
                  <a:gd name="connsiteY2583" fmla="*/ 9128 h 10000"/>
                  <a:gd name="connsiteX2584" fmla="*/ 700 w 10785"/>
                  <a:gd name="connsiteY2584" fmla="*/ 9128 h 10000"/>
                  <a:gd name="connsiteX2585" fmla="*/ 728 w 10785"/>
                  <a:gd name="connsiteY2585" fmla="*/ 9179 h 10000"/>
                  <a:gd name="connsiteX2586" fmla="*/ 724 w 10785"/>
                  <a:gd name="connsiteY2586" fmla="*/ 9188 h 10000"/>
                  <a:gd name="connsiteX2587" fmla="*/ 710 w 10785"/>
                  <a:gd name="connsiteY2587" fmla="*/ 9179 h 10000"/>
                  <a:gd name="connsiteX2588" fmla="*/ 700 w 10785"/>
                  <a:gd name="connsiteY2588" fmla="*/ 9205 h 10000"/>
                  <a:gd name="connsiteX2589" fmla="*/ 696 w 10785"/>
                  <a:gd name="connsiteY2589" fmla="*/ 9205 h 10000"/>
                  <a:gd name="connsiteX2590" fmla="*/ 654 w 10785"/>
                  <a:gd name="connsiteY2590" fmla="*/ 9299 h 10000"/>
                  <a:gd name="connsiteX2591" fmla="*/ 622 w 10785"/>
                  <a:gd name="connsiteY2591" fmla="*/ 9299 h 10000"/>
                  <a:gd name="connsiteX2592" fmla="*/ 613 w 10785"/>
                  <a:gd name="connsiteY2592" fmla="*/ 9316 h 10000"/>
                  <a:gd name="connsiteX2593" fmla="*/ 613 w 10785"/>
                  <a:gd name="connsiteY2593" fmla="*/ 9325 h 10000"/>
                  <a:gd name="connsiteX2594" fmla="*/ 608 w 10785"/>
                  <a:gd name="connsiteY2594" fmla="*/ 9342 h 10000"/>
                  <a:gd name="connsiteX2595" fmla="*/ 636 w 10785"/>
                  <a:gd name="connsiteY2595" fmla="*/ 9376 h 10000"/>
                  <a:gd name="connsiteX2596" fmla="*/ 641 w 10785"/>
                  <a:gd name="connsiteY2596" fmla="*/ 9402 h 10000"/>
                  <a:gd name="connsiteX2597" fmla="*/ 654 w 10785"/>
                  <a:gd name="connsiteY2597" fmla="*/ 9427 h 10000"/>
                  <a:gd name="connsiteX2598" fmla="*/ 668 w 10785"/>
                  <a:gd name="connsiteY2598" fmla="*/ 9427 h 10000"/>
                  <a:gd name="connsiteX2599" fmla="*/ 668 w 10785"/>
                  <a:gd name="connsiteY2599" fmla="*/ 9427 h 10000"/>
                  <a:gd name="connsiteX2600" fmla="*/ 774 w 10785"/>
                  <a:gd name="connsiteY2600" fmla="*/ 9547 h 10000"/>
                  <a:gd name="connsiteX2601" fmla="*/ 797 w 10785"/>
                  <a:gd name="connsiteY2601" fmla="*/ 9598 h 10000"/>
                  <a:gd name="connsiteX2602" fmla="*/ 802 w 10785"/>
                  <a:gd name="connsiteY2602" fmla="*/ 9598 h 10000"/>
                  <a:gd name="connsiteX2603" fmla="*/ 816 w 10785"/>
                  <a:gd name="connsiteY2603" fmla="*/ 9624 h 10000"/>
                  <a:gd name="connsiteX2604" fmla="*/ 843 w 10785"/>
                  <a:gd name="connsiteY2604" fmla="*/ 9615 h 10000"/>
                  <a:gd name="connsiteX2605" fmla="*/ 857 w 10785"/>
                  <a:gd name="connsiteY2605" fmla="*/ 9624 h 10000"/>
                  <a:gd name="connsiteX2606" fmla="*/ 862 w 10785"/>
                  <a:gd name="connsiteY2606" fmla="*/ 9615 h 10000"/>
                  <a:gd name="connsiteX2607" fmla="*/ 880 w 10785"/>
                  <a:gd name="connsiteY2607" fmla="*/ 9624 h 10000"/>
                  <a:gd name="connsiteX2608" fmla="*/ 889 w 10785"/>
                  <a:gd name="connsiteY2608" fmla="*/ 9641 h 10000"/>
                  <a:gd name="connsiteX2609" fmla="*/ 935 w 10785"/>
                  <a:gd name="connsiteY2609" fmla="*/ 9675 h 10000"/>
                  <a:gd name="connsiteX2610" fmla="*/ 977 w 10785"/>
                  <a:gd name="connsiteY2610" fmla="*/ 9667 h 10000"/>
                  <a:gd name="connsiteX2611" fmla="*/ 995 w 10785"/>
                  <a:gd name="connsiteY2611" fmla="*/ 9675 h 10000"/>
                  <a:gd name="connsiteX2612" fmla="*/ 1014 w 10785"/>
                  <a:gd name="connsiteY2612" fmla="*/ 9675 h 10000"/>
                  <a:gd name="connsiteX2613" fmla="*/ 1069 w 10785"/>
                  <a:gd name="connsiteY2613" fmla="*/ 9752 h 10000"/>
                  <a:gd name="connsiteX2614" fmla="*/ 1074 w 10785"/>
                  <a:gd name="connsiteY2614" fmla="*/ 9761 h 10000"/>
                  <a:gd name="connsiteX2615" fmla="*/ 1083 w 10785"/>
                  <a:gd name="connsiteY2615" fmla="*/ 9778 h 10000"/>
                  <a:gd name="connsiteX2616" fmla="*/ 1115 w 10785"/>
                  <a:gd name="connsiteY2616" fmla="*/ 9752 h 10000"/>
                  <a:gd name="connsiteX2617" fmla="*/ 1129 w 10785"/>
                  <a:gd name="connsiteY2617" fmla="*/ 9752 h 10000"/>
                  <a:gd name="connsiteX2618" fmla="*/ 1138 w 10785"/>
                  <a:gd name="connsiteY2618" fmla="*/ 9761 h 10000"/>
                  <a:gd name="connsiteX2619" fmla="*/ 1143 w 10785"/>
                  <a:gd name="connsiteY2619" fmla="*/ 9752 h 10000"/>
                  <a:gd name="connsiteX2620" fmla="*/ 1161 w 10785"/>
                  <a:gd name="connsiteY2620" fmla="*/ 9761 h 10000"/>
                  <a:gd name="connsiteX2621" fmla="*/ 1171 w 10785"/>
                  <a:gd name="connsiteY2621" fmla="*/ 9778 h 10000"/>
                  <a:gd name="connsiteX2622" fmla="*/ 1175 w 10785"/>
                  <a:gd name="connsiteY2622" fmla="*/ 9778 h 10000"/>
                  <a:gd name="connsiteX2623" fmla="*/ 1189 w 10785"/>
                  <a:gd name="connsiteY2623" fmla="*/ 9778 h 10000"/>
                  <a:gd name="connsiteX2624" fmla="*/ 1198 w 10785"/>
                  <a:gd name="connsiteY2624" fmla="*/ 9786 h 10000"/>
                  <a:gd name="connsiteX2625" fmla="*/ 1203 w 10785"/>
                  <a:gd name="connsiteY2625" fmla="*/ 9803 h 10000"/>
                  <a:gd name="connsiteX2626" fmla="*/ 1198 w 10785"/>
                  <a:gd name="connsiteY2626" fmla="*/ 9838 h 10000"/>
                  <a:gd name="connsiteX2627" fmla="*/ 1212 w 10785"/>
                  <a:gd name="connsiteY2627" fmla="*/ 9863 h 10000"/>
                  <a:gd name="connsiteX2628" fmla="*/ 1230 w 10785"/>
                  <a:gd name="connsiteY2628" fmla="*/ 9872 h 10000"/>
                  <a:gd name="connsiteX2629" fmla="*/ 1249 w 10785"/>
                  <a:gd name="connsiteY2629" fmla="*/ 9897 h 10000"/>
                  <a:gd name="connsiteX2630" fmla="*/ 1263 w 10785"/>
                  <a:gd name="connsiteY2630" fmla="*/ 9897 h 10000"/>
                  <a:gd name="connsiteX2631" fmla="*/ 1276 w 10785"/>
                  <a:gd name="connsiteY2631" fmla="*/ 9923 h 10000"/>
                  <a:gd name="connsiteX2632" fmla="*/ 1281 w 10785"/>
                  <a:gd name="connsiteY2632" fmla="*/ 9949 h 10000"/>
                  <a:gd name="connsiteX2633" fmla="*/ 1290 w 10785"/>
                  <a:gd name="connsiteY2633" fmla="*/ 9949 h 10000"/>
                  <a:gd name="connsiteX2634" fmla="*/ 1295 w 10785"/>
                  <a:gd name="connsiteY2634" fmla="*/ 10000 h 10000"/>
                  <a:gd name="connsiteX2635" fmla="*/ 1332 w 10785"/>
                  <a:gd name="connsiteY2635" fmla="*/ 10000 h 10000"/>
                  <a:gd name="connsiteX2636" fmla="*/ 1336 w 10785"/>
                  <a:gd name="connsiteY2636" fmla="*/ 10000 h 10000"/>
                  <a:gd name="connsiteX2637" fmla="*/ 1346 w 10785"/>
                  <a:gd name="connsiteY2637" fmla="*/ 9983 h 10000"/>
                  <a:gd name="connsiteX2638" fmla="*/ 1350 w 10785"/>
                  <a:gd name="connsiteY2638" fmla="*/ 9949 h 10000"/>
                  <a:gd name="connsiteX2639" fmla="*/ 1369 w 10785"/>
                  <a:gd name="connsiteY2639" fmla="*/ 9940 h 10000"/>
                  <a:gd name="connsiteX2640" fmla="*/ 1378 w 10785"/>
                  <a:gd name="connsiteY2640" fmla="*/ 9897 h 10000"/>
                  <a:gd name="connsiteX2641" fmla="*/ 1369 w 10785"/>
                  <a:gd name="connsiteY2641" fmla="*/ 9889 h 10000"/>
                  <a:gd name="connsiteX2642" fmla="*/ 1318 w 10785"/>
                  <a:gd name="connsiteY2642" fmla="*/ 9701 h 10000"/>
                  <a:gd name="connsiteX2643" fmla="*/ 1318 w 10785"/>
                  <a:gd name="connsiteY2643" fmla="*/ 9650 h 10000"/>
                  <a:gd name="connsiteX2644" fmla="*/ 1323 w 10785"/>
                  <a:gd name="connsiteY2644" fmla="*/ 9590 h 10000"/>
                  <a:gd name="connsiteX2645" fmla="*/ 1323 w 10785"/>
                  <a:gd name="connsiteY2645" fmla="*/ 9564 h 10000"/>
                  <a:gd name="connsiteX2646" fmla="*/ 1309 w 10785"/>
                  <a:gd name="connsiteY2646" fmla="*/ 9598 h 10000"/>
                  <a:gd name="connsiteX2647" fmla="*/ 1309 w 10785"/>
                  <a:gd name="connsiteY2647" fmla="*/ 9590 h 10000"/>
                  <a:gd name="connsiteX2648" fmla="*/ 1304 w 10785"/>
                  <a:gd name="connsiteY2648" fmla="*/ 9547 h 10000"/>
                  <a:gd name="connsiteX2649" fmla="*/ 1276 w 10785"/>
                  <a:gd name="connsiteY2649" fmla="*/ 9479 h 10000"/>
                  <a:gd name="connsiteX2650" fmla="*/ 1263 w 10785"/>
                  <a:gd name="connsiteY2650" fmla="*/ 9479 h 10000"/>
                  <a:gd name="connsiteX2651" fmla="*/ 1263 w 10785"/>
                  <a:gd name="connsiteY2651" fmla="*/ 9453 h 10000"/>
                  <a:gd name="connsiteX2652" fmla="*/ 1272 w 10785"/>
                  <a:gd name="connsiteY2652" fmla="*/ 9410 h 10000"/>
                  <a:gd name="connsiteX2653" fmla="*/ 1272 w 10785"/>
                  <a:gd name="connsiteY2653" fmla="*/ 9393 h 10000"/>
                  <a:gd name="connsiteX2654" fmla="*/ 1281 w 10785"/>
                  <a:gd name="connsiteY2654" fmla="*/ 9368 h 10000"/>
                  <a:gd name="connsiteX2655" fmla="*/ 1281 w 10785"/>
                  <a:gd name="connsiteY2655" fmla="*/ 9368 h 10000"/>
                  <a:gd name="connsiteX2656" fmla="*/ 1290 w 10785"/>
                  <a:gd name="connsiteY2656" fmla="*/ 9368 h 10000"/>
                  <a:gd name="connsiteX2657" fmla="*/ 1290 w 10785"/>
                  <a:gd name="connsiteY2657" fmla="*/ 9342 h 10000"/>
                  <a:gd name="connsiteX2658" fmla="*/ 1304 w 10785"/>
                  <a:gd name="connsiteY2658" fmla="*/ 9325 h 10000"/>
                  <a:gd name="connsiteX2659" fmla="*/ 1309 w 10785"/>
                  <a:gd name="connsiteY2659" fmla="*/ 9239 h 10000"/>
                  <a:gd name="connsiteX2660" fmla="*/ 1318 w 10785"/>
                  <a:gd name="connsiteY2660" fmla="*/ 9256 h 10000"/>
                  <a:gd name="connsiteX2661" fmla="*/ 1323 w 10785"/>
                  <a:gd name="connsiteY2661" fmla="*/ 9179 h 10000"/>
                  <a:gd name="connsiteX2662" fmla="*/ 1309 w 10785"/>
                  <a:gd name="connsiteY2662" fmla="*/ 9145 h 10000"/>
                  <a:gd name="connsiteX2663" fmla="*/ 1336 w 10785"/>
                  <a:gd name="connsiteY2663" fmla="*/ 9154 h 10000"/>
                  <a:gd name="connsiteX2664" fmla="*/ 1336 w 10785"/>
                  <a:gd name="connsiteY2664" fmla="*/ 9162 h 10000"/>
                  <a:gd name="connsiteX2665" fmla="*/ 1350 w 10785"/>
                  <a:gd name="connsiteY2665" fmla="*/ 9231 h 10000"/>
                  <a:gd name="connsiteX2666" fmla="*/ 1355 w 10785"/>
                  <a:gd name="connsiteY2666" fmla="*/ 9231 h 10000"/>
                  <a:gd name="connsiteX2667" fmla="*/ 1364 w 10785"/>
                  <a:gd name="connsiteY2667" fmla="*/ 9214 h 10000"/>
                  <a:gd name="connsiteX2668" fmla="*/ 1369 w 10785"/>
                  <a:gd name="connsiteY2668" fmla="*/ 9214 h 10000"/>
                  <a:gd name="connsiteX2669" fmla="*/ 1382 w 10785"/>
                  <a:gd name="connsiteY2669" fmla="*/ 9154 h 10000"/>
                  <a:gd name="connsiteX2670" fmla="*/ 1396 w 10785"/>
                  <a:gd name="connsiteY2670" fmla="*/ 9154 h 10000"/>
                  <a:gd name="connsiteX2671" fmla="*/ 1382 w 10785"/>
                  <a:gd name="connsiteY2671" fmla="*/ 9145 h 10000"/>
                  <a:gd name="connsiteX2672" fmla="*/ 1382 w 10785"/>
                  <a:gd name="connsiteY2672" fmla="*/ 9128 h 10000"/>
                  <a:gd name="connsiteX2673" fmla="*/ 1369 w 10785"/>
                  <a:gd name="connsiteY2673" fmla="*/ 9128 h 10000"/>
                  <a:gd name="connsiteX2674" fmla="*/ 1364 w 10785"/>
                  <a:gd name="connsiteY2674" fmla="*/ 9128 h 10000"/>
                  <a:gd name="connsiteX2675" fmla="*/ 1355 w 10785"/>
                  <a:gd name="connsiteY2675" fmla="*/ 9120 h 10000"/>
                  <a:gd name="connsiteX2676" fmla="*/ 1350 w 10785"/>
                  <a:gd name="connsiteY2676" fmla="*/ 9103 h 10000"/>
                  <a:gd name="connsiteX2677" fmla="*/ 1355 w 10785"/>
                  <a:gd name="connsiteY2677" fmla="*/ 9094 h 10000"/>
                  <a:gd name="connsiteX2678" fmla="*/ 1355 w 10785"/>
                  <a:gd name="connsiteY2678" fmla="*/ 9068 h 10000"/>
                  <a:gd name="connsiteX2679" fmla="*/ 1369 w 10785"/>
                  <a:gd name="connsiteY2679" fmla="*/ 9068 h 10000"/>
                  <a:gd name="connsiteX2680" fmla="*/ 1378 w 10785"/>
                  <a:gd name="connsiteY2680" fmla="*/ 9077 h 10000"/>
                  <a:gd name="connsiteX2681" fmla="*/ 1396 w 10785"/>
                  <a:gd name="connsiteY2681" fmla="*/ 9068 h 10000"/>
                  <a:gd name="connsiteX2682" fmla="*/ 1382 w 10785"/>
                  <a:gd name="connsiteY2682" fmla="*/ 8940 h 10000"/>
                  <a:gd name="connsiteX2683" fmla="*/ 1378 w 10785"/>
                  <a:gd name="connsiteY2683" fmla="*/ 8940 h 10000"/>
                  <a:gd name="connsiteX2684" fmla="*/ 1364 w 10785"/>
                  <a:gd name="connsiteY2684" fmla="*/ 8889 h 10000"/>
                  <a:gd name="connsiteX2685" fmla="*/ 1355 w 10785"/>
                  <a:gd name="connsiteY2685" fmla="*/ 8880 h 10000"/>
                  <a:gd name="connsiteX2686" fmla="*/ 1323 w 10785"/>
                  <a:gd name="connsiteY2686" fmla="*/ 8880 h 10000"/>
                  <a:gd name="connsiteX2687" fmla="*/ 1309 w 10785"/>
                  <a:gd name="connsiteY2687" fmla="*/ 8880 h 10000"/>
                  <a:gd name="connsiteX2688" fmla="*/ 1309 w 10785"/>
                  <a:gd name="connsiteY2688" fmla="*/ 8889 h 10000"/>
                  <a:gd name="connsiteX2689" fmla="*/ 1295 w 10785"/>
                  <a:gd name="connsiteY2689" fmla="*/ 8872 h 10000"/>
                  <a:gd name="connsiteX2690" fmla="*/ 1290 w 10785"/>
                  <a:gd name="connsiteY2690" fmla="*/ 8855 h 10000"/>
                  <a:gd name="connsiteX2691" fmla="*/ 1290 w 10785"/>
                  <a:gd name="connsiteY2691" fmla="*/ 8829 h 10000"/>
                  <a:gd name="connsiteX2692" fmla="*/ 1290 w 10785"/>
                  <a:gd name="connsiteY2692" fmla="*/ 8821 h 10000"/>
                  <a:gd name="connsiteX2693" fmla="*/ 1290 w 10785"/>
                  <a:gd name="connsiteY2693" fmla="*/ 8803 h 10000"/>
                  <a:gd name="connsiteX2694" fmla="*/ 1281 w 10785"/>
                  <a:gd name="connsiteY2694" fmla="*/ 8795 h 10000"/>
                  <a:gd name="connsiteX2695" fmla="*/ 1249 w 10785"/>
                  <a:gd name="connsiteY2695" fmla="*/ 8769 h 10000"/>
                  <a:gd name="connsiteX2696" fmla="*/ 1263 w 10785"/>
                  <a:gd name="connsiteY2696" fmla="*/ 8667 h 10000"/>
                  <a:gd name="connsiteX2697" fmla="*/ 1281 w 10785"/>
                  <a:gd name="connsiteY2697" fmla="*/ 8658 h 10000"/>
                  <a:gd name="connsiteX2698" fmla="*/ 1290 w 10785"/>
                  <a:gd name="connsiteY2698" fmla="*/ 8632 h 10000"/>
                  <a:gd name="connsiteX2699" fmla="*/ 1281 w 10785"/>
                  <a:gd name="connsiteY2699" fmla="*/ 8615 h 10000"/>
                  <a:gd name="connsiteX2700" fmla="*/ 1272 w 10785"/>
                  <a:gd name="connsiteY2700" fmla="*/ 8598 h 10000"/>
                  <a:gd name="connsiteX2701" fmla="*/ 1281 w 10785"/>
                  <a:gd name="connsiteY2701" fmla="*/ 8496 h 10000"/>
                  <a:gd name="connsiteX2702" fmla="*/ 1295 w 10785"/>
                  <a:gd name="connsiteY2702" fmla="*/ 8470 h 10000"/>
                  <a:gd name="connsiteX2703" fmla="*/ 1304 w 10785"/>
                  <a:gd name="connsiteY2703" fmla="*/ 8462 h 10000"/>
                  <a:gd name="connsiteX2704" fmla="*/ 1304 w 10785"/>
                  <a:gd name="connsiteY2704" fmla="*/ 8444 h 10000"/>
                  <a:gd name="connsiteX2705" fmla="*/ 1304 w 10785"/>
                  <a:gd name="connsiteY2705" fmla="*/ 8419 h 10000"/>
                  <a:gd name="connsiteX2706" fmla="*/ 1304 w 10785"/>
                  <a:gd name="connsiteY2706" fmla="*/ 8410 h 10000"/>
                  <a:gd name="connsiteX2707" fmla="*/ 1309 w 10785"/>
                  <a:gd name="connsiteY2707" fmla="*/ 8393 h 10000"/>
                  <a:gd name="connsiteX2708" fmla="*/ 1318 w 10785"/>
                  <a:gd name="connsiteY2708" fmla="*/ 8385 h 10000"/>
                  <a:gd name="connsiteX2709" fmla="*/ 1323 w 10785"/>
                  <a:gd name="connsiteY2709" fmla="*/ 8385 h 10000"/>
                  <a:gd name="connsiteX2710" fmla="*/ 1332 w 10785"/>
                  <a:gd name="connsiteY2710" fmla="*/ 8410 h 10000"/>
                  <a:gd name="connsiteX2711" fmla="*/ 1346 w 10785"/>
                  <a:gd name="connsiteY2711" fmla="*/ 8419 h 10000"/>
                  <a:gd name="connsiteX2712" fmla="*/ 1364 w 10785"/>
                  <a:gd name="connsiteY2712" fmla="*/ 8504 h 10000"/>
                  <a:gd name="connsiteX2713" fmla="*/ 1369 w 10785"/>
                  <a:gd name="connsiteY2713" fmla="*/ 8521 h 10000"/>
                  <a:gd name="connsiteX2714" fmla="*/ 1406 w 10785"/>
                  <a:gd name="connsiteY2714" fmla="*/ 8470 h 10000"/>
                  <a:gd name="connsiteX2715" fmla="*/ 1382 w 10785"/>
                  <a:gd name="connsiteY2715" fmla="*/ 8359 h 10000"/>
                  <a:gd name="connsiteX2716" fmla="*/ 1392 w 10785"/>
                  <a:gd name="connsiteY2716" fmla="*/ 8359 h 10000"/>
                  <a:gd name="connsiteX2717" fmla="*/ 1438 w 10785"/>
                  <a:gd name="connsiteY2717" fmla="*/ 8308 h 10000"/>
                  <a:gd name="connsiteX2718" fmla="*/ 1442 w 10785"/>
                  <a:gd name="connsiteY2718" fmla="*/ 8299 h 10000"/>
                  <a:gd name="connsiteX2719" fmla="*/ 1442 w 10785"/>
                  <a:gd name="connsiteY2719" fmla="*/ 8256 h 10000"/>
                  <a:gd name="connsiteX2720" fmla="*/ 1452 w 10785"/>
                  <a:gd name="connsiteY2720" fmla="*/ 8256 h 10000"/>
                  <a:gd name="connsiteX2721" fmla="*/ 1456 w 10785"/>
                  <a:gd name="connsiteY2721" fmla="*/ 8256 h 10000"/>
                  <a:gd name="connsiteX2722" fmla="*/ 1470 w 10785"/>
                  <a:gd name="connsiteY2722" fmla="*/ 8248 h 10000"/>
                  <a:gd name="connsiteX2723" fmla="*/ 1479 w 10785"/>
                  <a:gd name="connsiteY2723" fmla="*/ 8231 h 10000"/>
                  <a:gd name="connsiteX2724" fmla="*/ 1493 w 10785"/>
                  <a:gd name="connsiteY2724" fmla="*/ 8222 h 10000"/>
                  <a:gd name="connsiteX2725" fmla="*/ 1498 w 10785"/>
                  <a:gd name="connsiteY2725" fmla="*/ 8214 h 10000"/>
                  <a:gd name="connsiteX2726" fmla="*/ 1502 w 10785"/>
                  <a:gd name="connsiteY2726" fmla="*/ 8197 h 10000"/>
                  <a:gd name="connsiteX2727" fmla="*/ 1512 w 10785"/>
                  <a:gd name="connsiteY2727" fmla="*/ 8188 h 10000"/>
                  <a:gd name="connsiteX2728" fmla="*/ 1516 w 10785"/>
                  <a:gd name="connsiteY2728" fmla="*/ 8171 h 10000"/>
                  <a:gd name="connsiteX2729" fmla="*/ 1525 w 10785"/>
                  <a:gd name="connsiteY2729" fmla="*/ 8162 h 10000"/>
                  <a:gd name="connsiteX2730" fmla="*/ 1539 w 10785"/>
                  <a:gd name="connsiteY2730" fmla="*/ 8145 h 10000"/>
                  <a:gd name="connsiteX2731" fmla="*/ 1558 w 10785"/>
                  <a:gd name="connsiteY2731" fmla="*/ 8145 h 10000"/>
                  <a:gd name="connsiteX2732" fmla="*/ 1562 w 10785"/>
                  <a:gd name="connsiteY2732" fmla="*/ 8188 h 10000"/>
                  <a:gd name="connsiteX2733" fmla="*/ 1585 w 10785"/>
                  <a:gd name="connsiteY2733" fmla="*/ 8171 h 10000"/>
                  <a:gd name="connsiteX2734" fmla="*/ 1590 w 10785"/>
                  <a:gd name="connsiteY2734" fmla="*/ 8188 h 10000"/>
                  <a:gd name="connsiteX2735" fmla="*/ 1599 w 10785"/>
                  <a:gd name="connsiteY2735" fmla="*/ 8171 h 10000"/>
                  <a:gd name="connsiteX2736" fmla="*/ 1599 w 10785"/>
                  <a:gd name="connsiteY2736" fmla="*/ 8162 h 10000"/>
                  <a:gd name="connsiteX2737" fmla="*/ 1604 w 10785"/>
                  <a:gd name="connsiteY2737" fmla="*/ 8137 h 10000"/>
                  <a:gd name="connsiteX2738" fmla="*/ 1618 w 10785"/>
                  <a:gd name="connsiteY2738" fmla="*/ 8145 h 10000"/>
                  <a:gd name="connsiteX2739" fmla="*/ 1627 w 10785"/>
                  <a:gd name="connsiteY2739" fmla="*/ 8137 h 10000"/>
                  <a:gd name="connsiteX2740" fmla="*/ 1631 w 10785"/>
                  <a:gd name="connsiteY2740" fmla="*/ 8137 h 10000"/>
                  <a:gd name="connsiteX2741" fmla="*/ 1636 w 10785"/>
                  <a:gd name="connsiteY2741" fmla="*/ 8171 h 10000"/>
                  <a:gd name="connsiteX2742" fmla="*/ 1645 w 10785"/>
                  <a:gd name="connsiteY2742" fmla="*/ 8188 h 10000"/>
                  <a:gd name="connsiteX2743" fmla="*/ 1664 w 10785"/>
                  <a:gd name="connsiteY2743" fmla="*/ 8171 h 10000"/>
                  <a:gd name="connsiteX2744" fmla="*/ 1673 w 10785"/>
                  <a:gd name="connsiteY2744" fmla="*/ 8188 h 10000"/>
                  <a:gd name="connsiteX2745" fmla="*/ 1691 w 10785"/>
                  <a:gd name="connsiteY2745" fmla="*/ 8171 h 10000"/>
                  <a:gd name="connsiteX2746" fmla="*/ 1705 w 10785"/>
                  <a:gd name="connsiteY2746" fmla="*/ 8171 h 10000"/>
                  <a:gd name="connsiteX2747" fmla="*/ 1719 w 10785"/>
                  <a:gd name="connsiteY2747" fmla="*/ 8197 h 10000"/>
                  <a:gd name="connsiteX2748" fmla="*/ 1724 w 10785"/>
                  <a:gd name="connsiteY2748" fmla="*/ 8231 h 10000"/>
                  <a:gd name="connsiteX2749" fmla="*/ 1751 w 10785"/>
                  <a:gd name="connsiteY2749" fmla="*/ 8256 h 10000"/>
                  <a:gd name="connsiteX2750" fmla="*/ 1751 w 10785"/>
                  <a:gd name="connsiteY2750" fmla="*/ 8274 h 10000"/>
                  <a:gd name="connsiteX2751" fmla="*/ 1760 w 10785"/>
                  <a:gd name="connsiteY2751" fmla="*/ 8282 h 10000"/>
                  <a:gd name="connsiteX2752" fmla="*/ 1770 w 10785"/>
                  <a:gd name="connsiteY2752" fmla="*/ 8325 h 10000"/>
                  <a:gd name="connsiteX2753" fmla="*/ 1770 w 10785"/>
                  <a:gd name="connsiteY2753" fmla="*/ 8350 h 10000"/>
                  <a:gd name="connsiteX2754" fmla="*/ 1779 w 10785"/>
                  <a:gd name="connsiteY2754" fmla="*/ 8368 h 10000"/>
                  <a:gd name="connsiteX2755" fmla="*/ 1783 w 10785"/>
                  <a:gd name="connsiteY2755" fmla="*/ 8359 h 10000"/>
                  <a:gd name="connsiteX2756" fmla="*/ 1783 w 10785"/>
                  <a:gd name="connsiteY2756" fmla="*/ 8308 h 10000"/>
                  <a:gd name="connsiteX2757" fmla="*/ 1779 w 10785"/>
                  <a:gd name="connsiteY2757" fmla="*/ 8299 h 10000"/>
                  <a:gd name="connsiteX2758" fmla="*/ 1783 w 10785"/>
                  <a:gd name="connsiteY2758" fmla="*/ 8282 h 10000"/>
                  <a:gd name="connsiteX2759" fmla="*/ 1797 w 10785"/>
                  <a:gd name="connsiteY2759" fmla="*/ 8274 h 10000"/>
                  <a:gd name="connsiteX2760" fmla="*/ 1797 w 10785"/>
                  <a:gd name="connsiteY2760" fmla="*/ 8299 h 10000"/>
                  <a:gd name="connsiteX2761" fmla="*/ 1806 w 10785"/>
                  <a:gd name="connsiteY2761" fmla="*/ 8308 h 10000"/>
                  <a:gd name="connsiteX2762" fmla="*/ 1811 w 10785"/>
                  <a:gd name="connsiteY2762" fmla="*/ 8325 h 10000"/>
                  <a:gd name="connsiteX2763" fmla="*/ 1820 w 10785"/>
                  <a:gd name="connsiteY2763" fmla="*/ 8333 h 10000"/>
                  <a:gd name="connsiteX2764" fmla="*/ 1853 w 10785"/>
                  <a:gd name="connsiteY2764" fmla="*/ 8359 h 10000"/>
                  <a:gd name="connsiteX2765" fmla="*/ 1866 w 10785"/>
                  <a:gd name="connsiteY2765" fmla="*/ 8359 h 10000"/>
                  <a:gd name="connsiteX2766" fmla="*/ 1885 w 10785"/>
                  <a:gd name="connsiteY2766" fmla="*/ 8325 h 10000"/>
                  <a:gd name="connsiteX2767" fmla="*/ 1885 w 10785"/>
                  <a:gd name="connsiteY2767" fmla="*/ 8308 h 10000"/>
                  <a:gd name="connsiteX2768" fmla="*/ 1894 w 10785"/>
                  <a:gd name="connsiteY2768" fmla="*/ 8299 h 10000"/>
                  <a:gd name="connsiteX2769" fmla="*/ 1899 w 10785"/>
                  <a:gd name="connsiteY2769" fmla="*/ 8282 h 10000"/>
                  <a:gd name="connsiteX2770" fmla="*/ 1912 w 10785"/>
                  <a:gd name="connsiteY2770" fmla="*/ 8282 h 10000"/>
                  <a:gd name="connsiteX2771" fmla="*/ 1917 w 10785"/>
                  <a:gd name="connsiteY2771" fmla="*/ 8299 h 10000"/>
                  <a:gd name="connsiteX2772" fmla="*/ 1917 w 10785"/>
                  <a:gd name="connsiteY2772" fmla="*/ 8274 h 10000"/>
                  <a:gd name="connsiteX2773" fmla="*/ 1940 w 10785"/>
                  <a:gd name="connsiteY2773" fmla="*/ 8282 h 10000"/>
                  <a:gd name="connsiteX2774" fmla="*/ 1945 w 10785"/>
                  <a:gd name="connsiteY2774" fmla="*/ 8274 h 10000"/>
                  <a:gd name="connsiteX2775" fmla="*/ 1972 w 10785"/>
                  <a:gd name="connsiteY2775" fmla="*/ 8308 h 10000"/>
                  <a:gd name="connsiteX2776" fmla="*/ 1986 w 10785"/>
                  <a:gd name="connsiteY2776" fmla="*/ 8282 h 10000"/>
                  <a:gd name="connsiteX2777" fmla="*/ 1991 w 10785"/>
                  <a:gd name="connsiteY2777" fmla="*/ 8274 h 10000"/>
                  <a:gd name="connsiteX2778" fmla="*/ 2014 w 10785"/>
                  <a:gd name="connsiteY2778" fmla="*/ 8274 h 10000"/>
                  <a:gd name="connsiteX2779" fmla="*/ 2018 w 10785"/>
                  <a:gd name="connsiteY2779" fmla="*/ 8256 h 10000"/>
                  <a:gd name="connsiteX2780" fmla="*/ 2041 w 10785"/>
                  <a:gd name="connsiteY2780" fmla="*/ 8274 h 10000"/>
                  <a:gd name="connsiteX2781" fmla="*/ 2046 w 10785"/>
                  <a:gd name="connsiteY2781" fmla="*/ 8282 h 10000"/>
                  <a:gd name="connsiteX2782" fmla="*/ 2046 w 10785"/>
                  <a:gd name="connsiteY2782" fmla="*/ 8325 h 10000"/>
                  <a:gd name="connsiteX2783" fmla="*/ 2060 w 10785"/>
                  <a:gd name="connsiteY2783" fmla="*/ 8350 h 10000"/>
                  <a:gd name="connsiteX2784" fmla="*/ 2078 w 10785"/>
                  <a:gd name="connsiteY2784" fmla="*/ 8350 h 10000"/>
                  <a:gd name="connsiteX2785" fmla="*/ 2092 w 10785"/>
                  <a:gd name="connsiteY2785" fmla="*/ 8350 h 10000"/>
                  <a:gd name="connsiteX2786" fmla="*/ 2092 w 10785"/>
                  <a:gd name="connsiteY2786" fmla="*/ 8350 h 10000"/>
                  <a:gd name="connsiteX2787" fmla="*/ 2101 w 10785"/>
                  <a:gd name="connsiteY2787" fmla="*/ 8368 h 10000"/>
                  <a:gd name="connsiteX2788" fmla="*/ 2120 w 10785"/>
                  <a:gd name="connsiteY2788" fmla="*/ 8368 h 10000"/>
                  <a:gd name="connsiteX2789" fmla="*/ 2124 w 10785"/>
                  <a:gd name="connsiteY2789" fmla="*/ 8359 h 10000"/>
                  <a:gd name="connsiteX2790" fmla="*/ 2138 w 10785"/>
                  <a:gd name="connsiteY2790" fmla="*/ 8325 h 10000"/>
                  <a:gd name="connsiteX2791" fmla="*/ 2147 w 10785"/>
                  <a:gd name="connsiteY2791" fmla="*/ 8325 h 10000"/>
                  <a:gd name="connsiteX2792" fmla="*/ 2161 w 10785"/>
                  <a:gd name="connsiteY2792" fmla="*/ 8350 h 10000"/>
                  <a:gd name="connsiteX2793" fmla="*/ 2198 w 10785"/>
                  <a:gd name="connsiteY2793" fmla="*/ 8350 h 10000"/>
                  <a:gd name="connsiteX2794" fmla="*/ 2207 w 10785"/>
                  <a:gd name="connsiteY2794" fmla="*/ 8333 h 10000"/>
                  <a:gd name="connsiteX2795" fmla="*/ 2226 w 10785"/>
                  <a:gd name="connsiteY2795" fmla="*/ 8325 h 10000"/>
                  <a:gd name="connsiteX2796" fmla="*/ 2249 w 10785"/>
                  <a:gd name="connsiteY2796" fmla="*/ 8222 h 10000"/>
                  <a:gd name="connsiteX2797" fmla="*/ 2235 w 10785"/>
                  <a:gd name="connsiteY2797" fmla="*/ 8197 h 10000"/>
                  <a:gd name="connsiteX2798" fmla="*/ 2198 w 10785"/>
                  <a:gd name="connsiteY2798" fmla="*/ 8197 h 10000"/>
                  <a:gd name="connsiteX2799" fmla="*/ 2189 w 10785"/>
                  <a:gd name="connsiteY2799" fmla="*/ 8171 h 10000"/>
                  <a:gd name="connsiteX2800" fmla="*/ 2161 w 10785"/>
                  <a:gd name="connsiteY2800" fmla="*/ 8145 h 10000"/>
                  <a:gd name="connsiteX2801" fmla="*/ 2161 w 10785"/>
                  <a:gd name="connsiteY2801" fmla="*/ 8137 h 10000"/>
                  <a:gd name="connsiteX2802" fmla="*/ 2152 w 10785"/>
                  <a:gd name="connsiteY2802" fmla="*/ 8120 h 10000"/>
                  <a:gd name="connsiteX2803" fmla="*/ 2138 w 10785"/>
                  <a:gd name="connsiteY2803" fmla="*/ 8111 h 10000"/>
                  <a:gd name="connsiteX2804" fmla="*/ 2138 w 10785"/>
                  <a:gd name="connsiteY2804" fmla="*/ 8094 h 10000"/>
                  <a:gd name="connsiteX2805" fmla="*/ 2147 w 10785"/>
                  <a:gd name="connsiteY2805" fmla="*/ 8085 h 10000"/>
                  <a:gd name="connsiteX2806" fmla="*/ 2161 w 10785"/>
                  <a:gd name="connsiteY2806" fmla="*/ 8060 h 10000"/>
                  <a:gd name="connsiteX2807" fmla="*/ 2198 w 10785"/>
                  <a:gd name="connsiteY2807" fmla="*/ 8034 h 10000"/>
                  <a:gd name="connsiteX2808" fmla="*/ 2198 w 10785"/>
                  <a:gd name="connsiteY2808" fmla="*/ 8026 h 10000"/>
                  <a:gd name="connsiteX2809" fmla="*/ 2198 w 10785"/>
                  <a:gd name="connsiteY2809" fmla="*/ 8000 h 10000"/>
                  <a:gd name="connsiteX2810" fmla="*/ 2180 w 10785"/>
                  <a:gd name="connsiteY2810" fmla="*/ 7940 h 10000"/>
                  <a:gd name="connsiteX2811" fmla="*/ 2189 w 10785"/>
                  <a:gd name="connsiteY2811" fmla="*/ 7940 h 10000"/>
                  <a:gd name="connsiteX2812" fmla="*/ 2198 w 10785"/>
                  <a:gd name="connsiteY2812" fmla="*/ 7923 h 10000"/>
                  <a:gd name="connsiteX2813" fmla="*/ 2198 w 10785"/>
                  <a:gd name="connsiteY2813" fmla="*/ 7897 h 10000"/>
                  <a:gd name="connsiteX2814" fmla="*/ 2207 w 10785"/>
                  <a:gd name="connsiteY2814" fmla="*/ 7889 h 10000"/>
                  <a:gd name="connsiteX2815" fmla="*/ 2221 w 10785"/>
                  <a:gd name="connsiteY2815" fmla="*/ 7889 h 10000"/>
                  <a:gd name="connsiteX2816" fmla="*/ 2226 w 10785"/>
                  <a:gd name="connsiteY2816" fmla="*/ 7897 h 10000"/>
                  <a:gd name="connsiteX2817" fmla="*/ 2235 w 10785"/>
                  <a:gd name="connsiteY2817" fmla="*/ 7889 h 10000"/>
                  <a:gd name="connsiteX2818" fmla="*/ 2249 w 10785"/>
                  <a:gd name="connsiteY2818" fmla="*/ 7897 h 10000"/>
                  <a:gd name="connsiteX2819" fmla="*/ 2267 w 10785"/>
                  <a:gd name="connsiteY2819" fmla="*/ 7897 h 10000"/>
                  <a:gd name="connsiteX2820" fmla="*/ 2272 w 10785"/>
                  <a:gd name="connsiteY2820" fmla="*/ 7889 h 10000"/>
                  <a:gd name="connsiteX2821" fmla="*/ 2281 w 10785"/>
                  <a:gd name="connsiteY2821" fmla="*/ 7872 h 10000"/>
                  <a:gd name="connsiteX2822" fmla="*/ 2272 w 10785"/>
                  <a:gd name="connsiteY2822" fmla="*/ 7846 h 10000"/>
                  <a:gd name="connsiteX2823" fmla="*/ 2253 w 10785"/>
                  <a:gd name="connsiteY2823" fmla="*/ 7838 h 10000"/>
                  <a:gd name="connsiteX2824" fmla="*/ 2221 w 10785"/>
                  <a:gd name="connsiteY2824" fmla="*/ 7821 h 10000"/>
                  <a:gd name="connsiteX2825" fmla="*/ 2212 w 10785"/>
                  <a:gd name="connsiteY2825" fmla="*/ 7812 h 10000"/>
                  <a:gd name="connsiteX2826" fmla="*/ 2212 w 10785"/>
                  <a:gd name="connsiteY2826" fmla="*/ 7803 h 10000"/>
                  <a:gd name="connsiteX2827" fmla="*/ 2221 w 10785"/>
                  <a:gd name="connsiteY2827" fmla="*/ 7803 h 10000"/>
                  <a:gd name="connsiteX2828" fmla="*/ 2235 w 10785"/>
                  <a:gd name="connsiteY2828" fmla="*/ 7786 h 10000"/>
                  <a:gd name="connsiteX2829" fmla="*/ 2240 w 10785"/>
                  <a:gd name="connsiteY2829" fmla="*/ 7778 h 10000"/>
                  <a:gd name="connsiteX2830" fmla="*/ 2226 w 10785"/>
                  <a:gd name="connsiteY2830" fmla="*/ 7761 h 10000"/>
                  <a:gd name="connsiteX2831" fmla="*/ 2221 w 10785"/>
                  <a:gd name="connsiteY2831" fmla="*/ 7778 h 10000"/>
                  <a:gd name="connsiteX2832" fmla="*/ 2198 w 10785"/>
                  <a:gd name="connsiteY2832" fmla="*/ 7778 h 10000"/>
                  <a:gd name="connsiteX2833" fmla="*/ 2198 w 10785"/>
                  <a:gd name="connsiteY2833" fmla="*/ 7752 h 10000"/>
                  <a:gd name="connsiteX2834" fmla="*/ 2207 w 10785"/>
                  <a:gd name="connsiteY2834" fmla="*/ 7735 h 10000"/>
                  <a:gd name="connsiteX2835" fmla="*/ 2212 w 10785"/>
                  <a:gd name="connsiteY2835" fmla="*/ 7726 h 10000"/>
                  <a:gd name="connsiteX2836" fmla="*/ 2198 w 10785"/>
                  <a:gd name="connsiteY2836" fmla="*/ 7692 h 10000"/>
                  <a:gd name="connsiteX2837" fmla="*/ 2221 w 10785"/>
                  <a:gd name="connsiteY2837" fmla="*/ 7692 h 10000"/>
                  <a:gd name="connsiteX2838" fmla="*/ 2221 w 10785"/>
                  <a:gd name="connsiteY2838" fmla="*/ 7675 h 10000"/>
                  <a:gd name="connsiteX2839" fmla="*/ 2235 w 10785"/>
                  <a:gd name="connsiteY2839" fmla="*/ 7675 h 10000"/>
                  <a:gd name="connsiteX2840" fmla="*/ 2240 w 10785"/>
                  <a:gd name="connsiteY2840" fmla="*/ 7692 h 10000"/>
                  <a:gd name="connsiteX2841" fmla="*/ 2249 w 10785"/>
                  <a:gd name="connsiteY2841" fmla="*/ 7692 h 10000"/>
                  <a:gd name="connsiteX2842" fmla="*/ 2258 w 10785"/>
                  <a:gd name="connsiteY2842" fmla="*/ 7692 h 10000"/>
                  <a:gd name="connsiteX2843" fmla="*/ 2267 w 10785"/>
                  <a:gd name="connsiteY2843" fmla="*/ 7692 h 10000"/>
                  <a:gd name="connsiteX2844" fmla="*/ 2295 w 10785"/>
                  <a:gd name="connsiteY2844" fmla="*/ 7692 h 10000"/>
                  <a:gd name="connsiteX2845" fmla="*/ 2300 w 10785"/>
                  <a:gd name="connsiteY2845" fmla="*/ 7701 h 10000"/>
                  <a:gd name="connsiteX2846" fmla="*/ 2313 w 10785"/>
                  <a:gd name="connsiteY2846" fmla="*/ 7675 h 10000"/>
                  <a:gd name="connsiteX2847" fmla="*/ 2323 w 10785"/>
                  <a:gd name="connsiteY2847" fmla="*/ 7675 h 10000"/>
                  <a:gd name="connsiteX2848" fmla="*/ 2341 w 10785"/>
                  <a:gd name="connsiteY2848" fmla="*/ 7675 h 10000"/>
                  <a:gd name="connsiteX2849" fmla="*/ 2346 w 10785"/>
                  <a:gd name="connsiteY2849" fmla="*/ 7667 h 10000"/>
                  <a:gd name="connsiteX2850" fmla="*/ 2359 w 10785"/>
                  <a:gd name="connsiteY2850" fmla="*/ 7650 h 10000"/>
                  <a:gd name="connsiteX2851" fmla="*/ 2373 w 10785"/>
                  <a:gd name="connsiteY2851" fmla="*/ 7624 h 10000"/>
                  <a:gd name="connsiteX2852" fmla="*/ 2382 w 10785"/>
                  <a:gd name="connsiteY2852" fmla="*/ 7641 h 10000"/>
                  <a:gd name="connsiteX2853" fmla="*/ 2396 w 10785"/>
                  <a:gd name="connsiteY2853" fmla="*/ 7650 h 10000"/>
                  <a:gd name="connsiteX2854" fmla="*/ 2401 w 10785"/>
                  <a:gd name="connsiteY2854" fmla="*/ 7650 h 10000"/>
                  <a:gd name="connsiteX2855" fmla="*/ 2401 w 10785"/>
                  <a:gd name="connsiteY2855" fmla="*/ 7624 h 10000"/>
                  <a:gd name="connsiteX2856" fmla="*/ 2419 w 10785"/>
                  <a:gd name="connsiteY2856" fmla="*/ 7624 h 10000"/>
                  <a:gd name="connsiteX2857" fmla="*/ 2433 w 10785"/>
                  <a:gd name="connsiteY2857" fmla="*/ 7615 h 10000"/>
                  <a:gd name="connsiteX2858" fmla="*/ 2442 w 10785"/>
                  <a:gd name="connsiteY2858" fmla="*/ 7615 h 10000"/>
                  <a:gd name="connsiteX2859" fmla="*/ 2447 w 10785"/>
                  <a:gd name="connsiteY2859" fmla="*/ 7598 h 10000"/>
                  <a:gd name="connsiteX2860" fmla="*/ 2461 w 10785"/>
                  <a:gd name="connsiteY2860" fmla="*/ 7598 h 10000"/>
                  <a:gd name="connsiteX2861" fmla="*/ 2465 w 10785"/>
                  <a:gd name="connsiteY2861" fmla="*/ 7615 h 10000"/>
                  <a:gd name="connsiteX2862" fmla="*/ 2479 w 10785"/>
                  <a:gd name="connsiteY2862" fmla="*/ 7564 h 10000"/>
                  <a:gd name="connsiteX2863" fmla="*/ 2488 w 10785"/>
                  <a:gd name="connsiteY2863" fmla="*/ 7556 h 10000"/>
                  <a:gd name="connsiteX2864" fmla="*/ 2493 w 10785"/>
                  <a:gd name="connsiteY2864" fmla="*/ 7556 h 10000"/>
                  <a:gd name="connsiteX2865" fmla="*/ 2507 w 10785"/>
                  <a:gd name="connsiteY2865" fmla="*/ 7556 h 10000"/>
                  <a:gd name="connsiteX2866" fmla="*/ 2530 w 10785"/>
                  <a:gd name="connsiteY2866" fmla="*/ 7538 h 10000"/>
                  <a:gd name="connsiteX2867" fmla="*/ 2530 w 10785"/>
                  <a:gd name="connsiteY2867" fmla="*/ 7556 h 10000"/>
                  <a:gd name="connsiteX2868" fmla="*/ 2641 w 10785"/>
                  <a:gd name="connsiteY2868" fmla="*/ 7504 h 10000"/>
                  <a:gd name="connsiteX2869" fmla="*/ 2654 w 10785"/>
                  <a:gd name="connsiteY2869" fmla="*/ 7487 h 10000"/>
                  <a:gd name="connsiteX2870" fmla="*/ 2664 w 10785"/>
                  <a:gd name="connsiteY2870" fmla="*/ 7487 h 10000"/>
                  <a:gd name="connsiteX2871" fmla="*/ 2668 w 10785"/>
                  <a:gd name="connsiteY2871" fmla="*/ 7479 h 10000"/>
                  <a:gd name="connsiteX2872" fmla="*/ 2673 w 10785"/>
                  <a:gd name="connsiteY2872" fmla="*/ 7462 h 10000"/>
                  <a:gd name="connsiteX2873" fmla="*/ 2673 w 10785"/>
                  <a:gd name="connsiteY2873" fmla="*/ 7427 h 10000"/>
                  <a:gd name="connsiteX2874" fmla="*/ 2687 w 10785"/>
                  <a:gd name="connsiteY2874" fmla="*/ 7436 h 10000"/>
                  <a:gd name="connsiteX2875" fmla="*/ 2696 w 10785"/>
                  <a:gd name="connsiteY2875" fmla="*/ 7427 h 10000"/>
                  <a:gd name="connsiteX2876" fmla="*/ 2700 w 10785"/>
                  <a:gd name="connsiteY2876" fmla="*/ 7419 h 10000"/>
                  <a:gd name="connsiteX2877" fmla="*/ 2710 w 10785"/>
                  <a:gd name="connsiteY2877" fmla="*/ 7402 h 10000"/>
                  <a:gd name="connsiteX2878" fmla="*/ 2724 w 10785"/>
                  <a:gd name="connsiteY2878" fmla="*/ 7402 h 10000"/>
                  <a:gd name="connsiteX2879" fmla="*/ 2724 w 10785"/>
                  <a:gd name="connsiteY2879" fmla="*/ 7393 h 10000"/>
                  <a:gd name="connsiteX2880" fmla="*/ 2737 w 10785"/>
                  <a:gd name="connsiteY2880" fmla="*/ 7393 h 10000"/>
                  <a:gd name="connsiteX2881" fmla="*/ 2742 w 10785"/>
                  <a:gd name="connsiteY2881" fmla="*/ 7402 h 10000"/>
                  <a:gd name="connsiteX2882" fmla="*/ 2747 w 10785"/>
                  <a:gd name="connsiteY2882" fmla="*/ 7402 h 10000"/>
                  <a:gd name="connsiteX2883" fmla="*/ 2760 w 10785"/>
                  <a:gd name="connsiteY2883" fmla="*/ 7402 h 10000"/>
                  <a:gd name="connsiteX2884" fmla="*/ 2770 w 10785"/>
                  <a:gd name="connsiteY2884" fmla="*/ 7402 h 10000"/>
                  <a:gd name="connsiteX2885" fmla="*/ 2774 w 10785"/>
                  <a:gd name="connsiteY2885" fmla="*/ 7402 h 10000"/>
                  <a:gd name="connsiteX2886" fmla="*/ 2783 w 10785"/>
                  <a:gd name="connsiteY2886" fmla="*/ 7419 h 10000"/>
                  <a:gd name="connsiteX2887" fmla="*/ 2802 w 10785"/>
                  <a:gd name="connsiteY2887" fmla="*/ 7436 h 10000"/>
                  <a:gd name="connsiteX2888" fmla="*/ 2816 w 10785"/>
                  <a:gd name="connsiteY2888" fmla="*/ 7419 h 10000"/>
                  <a:gd name="connsiteX2889" fmla="*/ 2834 w 10785"/>
                  <a:gd name="connsiteY2889" fmla="*/ 7419 h 10000"/>
                  <a:gd name="connsiteX2890" fmla="*/ 2843 w 10785"/>
                  <a:gd name="connsiteY2890" fmla="*/ 7419 h 10000"/>
                  <a:gd name="connsiteX2891" fmla="*/ 2848 w 10785"/>
                  <a:gd name="connsiteY2891" fmla="*/ 7436 h 10000"/>
                  <a:gd name="connsiteX2892" fmla="*/ 2857 w 10785"/>
                  <a:gd name="connsiteY2892" fmla="*/ 7453 h 10000"/>
                  <a:gd name="connsiteX2893" fmla="*/ 2857 w 10785"/>
                  <a:gd name="connsiteY2893" fmla="*/ 7504 h 10000"/>
                  <a:gd name="connsiteX2894" fmla="*/ 2862 w 10785"/>
                  <a:gd name="connsiteY2894" fmla="*/ 7530 h 10000"/>
                  <a:gd name="connsiteX2895" fmla="*/ 2876 w 10785"/>
                  <a:gd name="connsiteY2895" fmla="*/ 7538 h 10000"/>
                  <a:gd name="connsiteX2896" fmla="*/ 2871 w 10785"/>
                  <a:gd name="connsiteY2896" fmla="*/ 7564 h 10000"/>
                  <a:gd name="connsiteX2897" fmla="*/ 2871 w 10785"/>
                  <a:gd name="connsiteY2897" fmla="*/ 7598 h 10000"/>
                  <a:gd name="connsiteX2898" fmla="*/ 2857 w 10785"/>
                  <a:gd name="connsiteY2898" fmla="*/ 7624 h 10000"/>
                  <a:gd name="connsiteX2899" fmla="*/ 2862 w 10785"/>
                  <a:gd name="connsiteY2899" fmla="*/ 7641 h 10000"/>
                  <a:gd name="connsiteX2900" fmla="*/ 2871 w 10785"/>
                  <a:gd name="connsiteY2900" fmla="*/ 7667 h 10000"/>
                  <a:gd name="connsiteX2901" fmla="*/ 2880 w 10785"/>
                  <a:gd name="connsiteY2901" fmla="*/ 7650 h 10000"/>
                  <a:gd name="connsiteX2902" fmla="*/ 2894 w 10785"/>
                  <a:gd name="connsiteY2902" fmla="*/ 7667 h 10000"/>
                  <a:gd name="connsiteX2903" fmla="*/ 2903 w 10785"/>
                  <a:gd name="connsiteY2903" fmla="*/ 7667 h 10000"/>
                  <a:gd name="connsiteX2904" fmla="*/ 2908 w 10785"/>
                  <a:gd name="connsiteY2904" fmla="*/ 7641 h 10000"/>
                  <a:gd name="connsiteX2905" fmla="*/ 2917 w 10785"/>
                  <a:gd name="connsiteY2905" fmla="*/ 7641 h 10000"/>
                  <a:gd name="connsiteX2906" fmla="*/ 2922 w 10785"/>
                  <a:gd name="connsiteY2906" fmla="*/ 7641 h 10000"/>
                  <a:gd name="connsiteX2907" fmla="*/ 2931 w 10785"/>
                  <a:gd name="connsiteY2907" fmla="*/ 7615 h 10000"/>
                  <a:gd name="connsiteX2908" fmla="*/ 2935 w 10785"/>
                  <a:gd name="connsiteY2908" fmla="*/ 7615 h 10000"/>
                  <a:gd name="connsiteX2909" fmla="*/ 2945 w 10785"/>
                  <a:gd name="connsiteY2909" fmla="*/ 7650 h 10000"/>
                  <a:gd name="connsiteX2910" fmla="*/ 2949 w 10785"/>
                  <a:gd name="connsiteY2910" fmla="*/ 7667 h 10000"/>
                  <a:gd name="connsiteX2911" fmla="*/ 2949 w 10785"/>
                  <a:gd name="connsiteY2911" fmla="*/ 7675 h 10000"/>
                  <a:gd name="connsiteX2912" fmla="*/ 2945 w 10785"/>
                  <a:gd name="connsiteY2912" fmla="*/ 7692 h 10000"/>
                  <a:gd name="connsiteX2913" fmla="*/ 2963 w 10785"/>
                  <a:gd name="connsiteY2913" fmla="*/ 7701 h 10000"/>
                  <a:gd name="connsiteX2914" fmla="*/ 2963 w 10785"/>
                  <a:gd name="connsiteY2914" fmla="*/ 7675 h 10000"/>
                  <a:gd name="connsiteX2915" fmla="*/ 2954 w 10785"/>
                  <a:gd name="connsiteY2915" fmla="*/ 7667 h 10000"/>
                  <a:gd name="connsiteX2916" fmla="*/ 2963 w 10785"/>
                  <a:gd name="connsiteY2916" fmla="*/ 7667 h 10000"/>
                  <a:gd name="connsiteX2917" fmla="*/ 2982 w 10785"/>
                  <a:gd name="connsiteY2917" fmla="*/ 7667 h 10000"/>
                  <a:gd name="connsiteX2918" fmla="*/ 2991 w 10785"/>
                  <a:gd name="connsiteY2918" fmla="*/ 7675 h 10000"/>
                  <a:gd name="connsiteX2919" fmla="*/ 2995 w 10785"/>
                  <a:gd name="connsiteY2919" fmla="*/ 7692 h 10000"/>
                  <a:gd name="connsiteX2920" fmla="*/ 3009 w 10785"/>
                  <a:gd name="connsiteY2920" fmla="*/ 7701 h 10000"/>
                  <a:gd name="connsiteX2921" fmla="*/ 3018 w 10785"/>
                  <a:gd name="connsiteY2921" fmla="*/ 7701 h 10000"/>
                  <a:gd name="connsiteX2922" fmla="*/ 3023 w 10785"/>
                  <a:gd name="connsiteY2922" fmla="*/ 7692 h 10000"/>
                  <a:gd name="connsiteX2923" fmla="*/ 3028 w 10785"/>
                  <a:gd name="connsiteY2923" fmla="*/ 7675 h 10000"/>
                  <a:gd name="connsiteX2924" fmla="*/ 3037 w 10785"/>
                  <a:gd name="connsiteY2924" fmla="*/ 7692 h 10000"/>
                  <a:gd name="connsiteX2925" fmla="*/ 3028 w 10785"/>
                  <a:gd name="connsiteY2925" fmla="*/ 7709 h 10000"/>
                  <a:gd name="connsiteX2926" fmla="*/ 3023 w 10785"/>
                  <a:gd name="connsiteY2926" fmla="*/ 7709 h 10000"/>
                  <a:gd name="connsiteX2927" fmla="*/ 3018 w 10785"/>
                  <a:gd name="connsiteY2927" fmla="*/ 7726 h 10000"/>
                  <a:gd name="connsiteX2928" fmla="*/ 3009 w 10785"/>
                  <a:gd name="connsiteY2928" fmla="*/ 7735 h 10000"/>
                  <a:gd name="connsiteX2929" fmla="*/ 3009 w 10785"/>
                  <a:gd name="connsiteY2929" fmla="*/ 7761 h 10000"/>
                  <a:gd name="connsiteX2930" fmla="*/ 3009 w 10785"/>
                  <a:gd name="connsiteY2930" fmla="*/ 7778 h 10000"/>
                  <a:gd name="connsiteX2931" fmla="*/ 3018 w 10785"/>
                  <a:gd name="connsiteY2931" fmla="*/ 7786 h 10000"/>
                  <a:gd name="connsiteX2932" fmla="*/ 3023 w 10785"/>
                  <a:gd name="connsiteY2932" fmla="*/ 7786 h 10000"/>
                  <a:gd name="connsiteX2933" fmla="*/ 3028 w 10785"/>
                  <a:gd name="connsiteY2933" fmla="*/ 7778 h 10000"/>
                  <a:gd name="connsiteX2934" fmla="*/ 3051 w 10785"/>
                  <a:gd name="connsiteY2934" fmla="*/ 7761 h 10000"/>
                  <a:gd name="connsiteX2935" fmla="*/ 3055 w 10785"/>
                  <a:gd name="connsiteY2935" fmla="*/ 7778 h 10000"/>
                  <a:gd name="connsiteX2936" fmla="*/ 3065 w 10785"/>
                  <a:gd name="connsiteY2936" fmla="*/ 7761 h 10000"/>
                  <a:gd name="connsiteX2937" fmla="*/ 3069 w 10785"/>
                  <a:gd name="connsiteY2937" fmla="*/ 7786 h 10000"/>
                  <a:gd name="connsiteX2938" fmla="*/ 3083 w 10785"/>
                  <a:gd name="connsiteY2938" fmla="*/ 7786 h 10000"/>
                  <a:gd name="connsiteX2939" fmla="*/ 3078 w 10785"/>
                  <a:gd name="connsiteY2939" fmla="*/ 7761 h 10000"/>
                  <a:gd name="connsiteX2940" fmla="*/ 3083 w 10785"/>
                  <a:gd name="connsiteY2940" fmla="*/ 7752 h 10000"/>
                  <a:gd name="connsiteX2941" fmla="*/ 3097 w 10785"/>
                  <a:gd name="connsiteY2941" fmla="*/ 7752 h 10000"/>
                  <a:gd name="connsiteX2942" fmla="*/ 3111 w 10785"/>
                  <a:gd name="connsiteY2942" fmla="*/ 7726 h 10000"/>
                  <a:gd name="connsiteX2943" fmla="*/ 3124 w 10785"/>
                  <a:gd name="connsiteY2943" fmla="*/ 7709 h 10000"/>
                  <a:gd name="connsiteX2944" fmla="*/ 3143 w 10785"/>
                  <a:gd name="connsiteY2944" fmla="*/ 7692 h 10000"/>
                  <a:gd name="connsiteX2945" fmla="*/ 3152 w 10785"/>
                  <a:gd name="connsiteY2945" fmla="*/ 7667 h 10000"/>
                  <a:gd name="connsiteX2946" fmla="*/ 3157 w 10785"/>
                  <a:gd name="connsiteY2946" fmla="*/ 7650 h 10000"/>
                  <a:gd name="connsiteX2947" fmla="*/ 3161 w 10785"/>
                  <a:gd name="connsiteY2947" fmla="*/ 7650 h 10000"/>
                  <a:gd name="connsiteX2948" fmla="*/ 3189 w 10785"/>
                  <a:gd name="connsiteY2948" fmla="*/ 7641 h 10000"/>
                  <a:gd name="connsiteX2949" fmla="*/ 3198 w 10785"/>
                  <a:gd name="connsiteY2949" fmla="*/ 7624 h 10000"/>
                  <a:gd name="connsiteX2950" fmla="*/ 3217 w 10785"/>
                  <a:gd name="connsiteY2950" fmla="*/ 7615 h 10000"/>
                  <a:gd name="connsiteX2951" fmla="*/ 3235 w 10785"/>
                  <a:gd name="connsiteY2951" fmla="*/ 7598 h 10000"/>
                  <a:gd name="connsiteX2952" fmla="*/ 3235 w 10785"/>
                  <a:gd name="connsiteY2952" fmla="*/ 7615 h 10000"/>
                  <a:gd name="connsiteX2953" fmla="*/ 3235 w 10785"/>
                  <a:gd name="connsiteY2953" fmla="*/ 7641 h 10000"/>
                  <a:gd name="connsiteX2954" fmla="*/ 3235 w 10785"/>
                  <a:gd name="connsiteY2954" fmla="*/ 7650 h 10000"/>
                  <a:gd name="connsiteX2955" fmla="*/ 3226 w 10785"/>
                  <a:gd name="connsiteY2955" fmla="*/ 7650 h 10000"/>
                  <a:gd name="connsiteX2956" fmla="*/ 3217 w 10785"/>
                  <a:gd name="connsiteY2956" fmla="*/ 7650 h 10000"/>
                  <a:gd name="connsiteX2957" fmla="*/ 3212 w 10785"/>
                  <a:gd name="connsiteY2957" fmla="*/ 7675 h 10000"/>
                  <a:gd name="connsiteX2958" fmla="*/ 3212 w 10785"/>
                  <a:gd name="connsiteY2958"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233 w 10785"/>
                  <a:gd name="connsiteY731" fmla="*/ 4530 h 10000"/>
                  <a:gd name="connsiteX732" fmla="*/ 10334 w 10785"/>
                  <a:gd name="connsiteY732" fmla="*/ 4810 h 10000"/>
                  <a:gd name="connsiteX733" fmla="*/ 10422 w 10785"/>
                  <a:gd name="connsiteY733" fmla="*/ 5051 h 10000"/>
                  <a:gd name="connsiteX734" fmla="*/ 10691 w 10785"/>
                  <a:gd name="connsiteY734" fmla="*/ 5255 h 10000"/>
                  <a:gd name="connsiteX735" fmla="*/ 10619 w 10785"/>
                  <a:gd name="connsiteY735" fmla="*/ 4708 h 10000"/>
                  <a:gd name="connsiteX736" fmla="*/ 10785 w 10785"/>
                  <a:gd name="connsiteY736" fmla="*/ 4708 h 10000"/>
                  <a:gd name="connsiteX737" fmla="*/ 10689 w 10785"/>
                  <a:gd name="connsiteY737" fmla="*/ 4467 h 10000"/>
                  <a:gd name="connsiteX738" fmla="*/ 10354 w 10785"/>
                  <a:gd name="connsiteY738" fmla="*/ 4302 h 10000"/>
                  <a:gd name="connsiteX739" fmla="*/ 9912 w 10785"/>
                  <a:gd name="connsiteY739" fmla="*/ 3675 h 10000"/>
                  <a:gd name="connsiteX740" fmla="*/ 9903 w 10785"/>
                  <a:gd name="connsiteY740" fmla="*/ 3667 h 10000"/>
                  <a:gd name="connsiteX741" fmla="*/ 9894 w 10785"/>
                  <a:gd name="connsiteY741" fmla="*/ 3641 h 10000"/>
                  <a:gd name="connsiteX742" fmla="*/ 9889 w 10785"/>
                  <a:gd name="connsiteY742" fmla="*/ 3650 h 10000"/>
                  <a:gd name="connsiteX743" fmla="*/ 9848 w 10785"/>
                  <a:gd name="connsiteY743" fmla="*/ 3598 h 10000"/>
                  <a:gd name="connsiteX744" fmla="*/ 9829 w 10785"/>
                  <a:gd name="connsiteY744" fmla="*/ 3581 h 10000"/>
                  <a:gd name="connsiteX745" fmla="*/ 9820 w 10785"/>
                  <a:gd name="connsiteY745" fmla="*/ 3581 h 10000"/>
                  <a:gd name="connsiteX746" fmla="*/ 9793 w 10785"/>
                  <a:gd name="connsiteY746" fmla="*/ 3556 h 10000"/>
                  <a:gd name="connsiteX747" fmla="*/ 9779 w 10785"/>
                  <a:gd name="connsiteY747" fmla="*/ 3556 h 10000"/>
                  <a:gd name="connsiteX748" fmla="*/ 9747 w 10785"/>
                  <a:gd name="connsiteY748" fmla="*/ 3487 h 10000"/>
                  <a:gd name="connsiteX749" fmla="*/ 9668 w 10785"/>
                  <a:gd name="connsiteY749" fmla="*/ 3479 h 10000"/>
                  <a:gd name="connsiteX750" fmla="*/ 9659 w 10785"/>
                  <a:gd name="connsiteY750" fmla="*/ 3487 h 10000"/>
                  <a:gd name="connsiteX751" fmla="*/ 9645 w 10785"/>
                  <a:gd name="connsiteY751" fmla="*/ 3504 h 10000"/>
                  <a:gd name="connsiteX752" fmla="*/ 9631 w 10785"/>
                  <a:gd name="connsiteY752" fmla="*/ 3487 h 10000"/>
                  <a:gd name="connsiteX753" fmla="*/ 9613 w 10785"/>
                  <a:gd name="connsiteY753" fmla="*/ 3479 h 10000"/>
                  <a:gd name="connsiteX754" fmla="*/ 9599 w 10785"/>
                  <a:gd name="connsiteY754" fmla="*/ 3479 h 10000"/>
                  <a:gd name="connsiteX755" fmla="*/ 9571 w 10785"/>
                  <a:gd name="connsiteY755" fmla="*/ 3479 h 10000"/>
                  <a:gd name="connsiteX756" fmla="*/ 9562 w 10785"/>
                  <a:gd name="connsiteY756" fmla="*/ 3487 h 10000"/>
                  <a:gd name="connsiteX757" fmla="*/ 9539 w 10785"/>
                  <a:gd name="connsiteY757" fmla="*/ 3487 h 10000"/>
                  <a:gd name="connsiteX758" fmla="*/ 9507 w 10785"/>
                  <a:gd name="connsiteY758" fmla="*/ 3453 h 10000"/>
                  <a:gd name="connsiteX759" fmla="*/ 9498 w 10785"/>
                  <a:gd name="connsiteY759" fmla="*/ 3453 h 10000"/>
                  <a:gd name="connsiteX760" fmla="*/ 9387 w 10785"/>
                  <a:gd name="connsiteY760" fmla="*/ 3419 h 10000"/>
                  <a:gd name="connsiteX761" fmla="*/ 9373 w 10785"/>
                  <a:gd name="connsiteY761" fmla="*/ 3427 h 10000"/>
                  <a:gd name="connsiteX762" fmla="*/ 9373 w 10785"/>
                  <a:gd name="connsiteY762" fmla="*/ 3462 h 10000"/>
                  <a:gd name="connsiteX763" fmla="*/ 9378 w 10785"/>
                  <a:gd name="connsiteY763" fmla="*/ 3479 h 10000"/>
                  <a:gd name="connsiteX764" fmla="*/ 9378 w 10785"/>
                  <a:gd name="connsiteY764" fmla="*/ 3530 h 10000"/>
                  <a:gd name="connsiteX765" fmla="*/ 9355 w 10785"/>
                  <a:gd name="connsiteY765" fmla="*/ 3538 h 10000"/>
                  <a:gd name="connsiteX766" fmla="*/ 9355 w 10785"/>
                  <a:gd name="connsiteY766" fmla="*/ 3581 h 10000"/>
                  <a:gd name="connsiteX767" fmla="*/ 9387 w 10785"/>
                  <a:gd name="connsiteY767" fmla="*/ 3590 h 10000"/>
                  <a:gd name="connsiteX768" fmla="*/ 9401 w 10785"/>
                  <a:gd name="connsiteY768" fmla="*/ 3667 h 10000"/>
                  <a:gd name="connsiteX769" fmla="*/ 9406 w 10785"/>
                  <a:gd name="connsiteY769" fmla="*/ 3675 h 10000"/>
                  <a:gd name="connsiteX770" fmla="*/ 9406 w 10785"/>
                  <a:gd name="connsiteY770" fmla="*/ 3701 h 10000"/>
                  <a:gd name="connsiteX771" fmla="*/ 9415 w 10785"/>
                  <a:gd name="connsiteY771" fmla="*/ 3752 h 10000"/>
                  <a:gd name="connsiteX772" fmla="*/ 9373 w 10785"/>
                  <a:gd name="connsiteY772" fmla="*/ 3838 h 10000"/>
                  <a:gd name="connsiteX773" fmla="*/ 9355 w 10785"/>
                  <a:gd name="connsiteY773" fmla="*/ 3863 h 10000"/>
                  <a:gd name="connsiteX774" fmla="*/ 9327 w 10785"/>
                  <a:gd name="connsiteY774" fmla="*/ 3863 h 10000"/>
                  <a:gd name="connsiteX775" fmla="*/ 9313 w 10785"/>
                  <a:gd name="connsiteY775" fmla="*/ 3846 h 10000"/>
                  <a:gd name="connsiteX776" fmla="*/ 9300 w 10785"/>
                  <a:gd name="connsiteY776" fmla="*/ 3778 h 10000"/>
                  <a:gd name="connsiteX777" fmla="*/ 9281 w 10785"/>
                  <a:gd name="connsiteY777" fmla="*/ 3752 h 10000"/>
                  <a:gd name="connsiteX778" fmla="*/ 9281 w 10785"/>
                  <a:gd name="connsiteY778" fmla="*/ 3735 h 10000"/>
                  <a:gd name="connsiteX779" fmla="*/ 9267 w 10785"/>
                  <a:gd name="connsiteY779" fmla="*/ 3726 h 10000"/>
                  <a:gd name="connsiteX780" fmla="*/ 9240 w 10785"/>
                  <a:gd name="connsiteY780" fmla="*/ 3726 h 10000"/>
                  <a:gd name="connsiteX781" fmla="*/ 9230 w 10785"/>
                  <a:gd name="connsiteY781" fmla="*/ 3718 h 10000"/>
                  <a:gd name="connsiteX782" fmla="*/ 9226 w 10785"/>
                  <a:gd name="connsiteY782" fmla="*/ 3590 h 10000"/>
                  <a:gd name="connsiteX783" fmla="*/ 9207 w 10785"/>
                  <a:gd name="connsiteY783" fmla="*/ 3581 h 10000"/>
                  <a:gd name="connsiteX784" fmla="*/ 9207 w 10785"/>
                  <a:gd name="connsiteY784" fmla="*/ 3556 h 10000"/>
                  <a:gd name="connsiteX785" fmla="*/ 9217 w 10785"/>
                  <a:gd name="connsiteY785" fmla="*/ 3538 h 10000"/>
                  <a:gd name="connsiteX786" fmla="*/ 9212 w 10785"/>
                  <a:gd name="connsiteY786" fmla="*/ 3538 h 10000"/>
                  <a:gd name="connsiteX787" fmla="*/ 9198 w 10785"/>
                  <a:gd name="connsiteY787" fmla="*/ 3513 h 10000"/>
                  <a:gd name="connsiteX788" fmla="*/ 9194 w 10785"/>
                  <a:gd name="connsiteY788" fmla="*/ 3530 h 10000"/>
                  <a:gd name="connsiteX789" fmla="*/ 9143 w 10785"/>
                  <a:gd name="connsiteY789" fmla="*/ 3615 h 10000"/>
                  <a:gd name="connsiteX790" fmla="*/ 9138 w 10785"/>
                  <a:gd name="connsiteY790" fmla="*/ 3615 h 10000"/>
                  <a:gd name="connsiteX791" fmla="*/ 9134 w 10785"/>
                  <a:gd name="connsiteY791" fmla="*/ 3615 h 10000"/>
                  <a:gd name="connsiteX792" fmla="*/ 9106 w 10785"/>
                  <a:gd name="connsiteY792" fmla="*/ 3615 h 10000"/>
                  <a:gd name="connsiteX793" fmla="*/ 9078 w 10785"/>
                  <a:gd name="connsiteY793" fmla="*/ 3590 h 10000"/>
                  <a:gd name="connsiteX794" fmla="*/ 9037 w 10785"/>
                  <a:gd name="connsiteY794" fmla="*/ 3581 h 10000"/>
                  <a:gd name="connsiteX795" fmla="*/ 9023 w 10785"/>
                  <a:gd name="connsiteY795" fmla="*/ 3590 h 10000"/>
                  <a:gd name="connsiteX796" fmla="*/ 9018 w 10785"/>
                  <a:gd name="connsiteY796" fmla="*/ 3590 h 10000"/>
                  <a:gd name="connsiteX797" fmla="*/ 9018 w 10785"/>
                  <a:gd name="connsiteY797" fmla="*/ 3590 h 10000"/>
                  <a:gd name="connsiteX798" fmla="*/ 8991 w 10785"/>
                  <a:gd name="connsiteY798" fmla="*/ 3590 h 10000"/>
                  <a:gd name="connsiteX799" fmla="*/ 8972 w 10785"/>
                  <a:gd name="connsiteY799" fmla="*/ 3581 h 10000"/>
                  <a:gd name="connsiteX800" fmla="*/ 8959 w 10785"/>
                  <a:gd name="connsiteY800" fmla="*/ 3513 h 10000"/>
                  <a:gd name="connsiteX801" fmla="*/ 8931 w 10785"/>
                  <a:gd name="connsiteY801" fmla="*/ 3538 h 10000"/>
                  <a:gd name="connsiteX802" fmla="*/ 8889 w 10785"/>
                  <a:gd name="connsiteY802" fmla="*/ 3538 h 10000"/>
                  <a:gd name="connsiteX803" fmla="*/ 8871 w 10785"/>
                  <a:gd name="connsiteY803" fmla="*/ 3556 h 10000"/>
                  <a:gd name="connsiteX804" fmla="*/ 8857 w 10785"/>
                  <a:gd name="connsiteY804" fmla="*/ 3538 h 10000"/>
                  <a:gd name="connsiteX805" fmla="*/ 8843 w 10785"/>
                  <a:gd name="connsiteY805" fmla="*/ 3538 h 10000"/>
                  <a:gd name="connsiteX806" fmla="*/ 8839 w 10785"/>
                  <a:gd name="connsiteY806" fmla="*/ 3556 h 10000"/>
                  <a:gd name="connsiteX807" fmla="*/ 8839 w 10785"/>
                  <a:gd name="connsiteY807" fmla="*/ 3581 h 10000"/>
                  <a:gd name="connsiteX808" fmla="*/ 8825 w 10785"/>
                  <a:gd name="connsiteY808" fmla="*/ 3564 h 10000"/>
                  <a:gd name="connsiteX809" fmla="*/ 8825 w 10785"/>
                  <a:gd name="connsiteY809" fmla="*/ 3615 h 10000"/>
                  <a:gd name="connsiteX810" fmla="*/ 8802 w 10785"/>
                  <a:gd name="connsiteY810" fmla="*/ 3598 h 10000"/>
                  <a:gd name="connsiteX811" fmla="*/ 8797 w 10785"/>
                  <a:gd name="connsiteY811" fmla="*/ 3641 h 10000"/>
                  <a:gd name="connsiteX812" fmla="*/ 8783 w 10785"/>
                  <a:gd name="connsiteY812" fmla="*/ 3667 h 10000"/>
                  <a:gd name="connsiteX813" fmla="*/ 8779 w 10785"/>
                  <a:gd name="connsiteY813" fmla="*/ 3650 h 10000"/>
                  <a:gd name="connsiteX814" fmla="*/ 8779 w 10785"/>
                  <a:gd name="connsiteY814" fmla="*/ 3615 h 10000"/>
                  <a:gd name="connsiteX815" fmla="*/ 8770 w 10785"/>
                  <a:gd name="connsiteY815" fmla="*/ 3590 h 10000"/>
                  <a:gd name="connsiteX816" fmla="*/ 8765 w 10785"/>
                  <a:gd name="connsiteY816" fmla="*/ 3598 h 10000"/>
                  <a:gd name="connsiteX817" fmla="*/ 8756 w 10785"/>
                  <a:gd name="connsiteY817" fmla="*/ 3590 h 10000"/>
                  <a:gd name="connsiteX818" fmla="*/ 8737 w 10785"/>
                  <a:gd name="connsiteY818" fmla="*/ 3556 h 10000"/>
                  <a:gd name="connsiteX819" fmla="*/ 8724 w 10785"/>
                  <a:gd name="connsiteY819" fmla="*/ 3538 h 10000"/>
                  <a:gd name="connsiteX820" fmla="*/ 8696 w 10785"/>
                  <a:gd name="connsiteY820" fmla="*/ 3538 h 10000"/>
                  <a:gd name="connsiteX821" fmla="*/ 8691 w 10785"/>
                  <a:gd name="connsiteY821" fmla="*/ 3513 h 10000"/>
                  <a:gd name="connsiteX822" fmla="*/ 8668 w 10785"/>
                  <a:gd name="connsiteY822" fmla="*/ 3504 h 10000"/>
                  <a:gd name="connsiteX823" fmla="*/ 8668 w 10785"/>
                  <a:gd name="connsiteY823" fmla="*/ 3487 h 10000"/>
                  <a:gd name="connsiteX824" fmla="*/ 8691 w 10785"/>
                  <a:gd name="connsiteY824" fmla="*/ 3350 h 10000"/>
                  <a:gd name="connsiteX825" fmla="*/ 8691 w 10785"/>
                  <a:gd name="connsiteY825" fmla="*/ 3291 h 10000"/>
                  <a:gd name="connsiteX826" fmla="*/ 8677 w 10785"/>
                  <a:gd name="connsiteY826" fmla="*/ 3239 h 10000"/>
                  <a:gd name="connsiteX827" fmla="*/ 8677 w 10785"/>
                  <a:gd name="connsiteY827" fmla="*/ 3231 h 10000"/>
                  <a:gd name="connsiteX828" fmla="*/ 8636 w 10785"/>
                  <a:gd name="connsiteY828" fmla="*/ 3128 h 10000"/>
                  <a:gd name="connsiteX829" fmla="*/ 8622 w 10785"/>
                  <a:gd name="connsiteY829" fmla="*/ 3120 h 10000"/>
                  <a:gd name="connsiteX830" fmla="*/ 8618 w 10785"/>
                  <a:gd name="connsiteY830" fmla="*/ 3094 h 10000"/>
                  <a:gd name="connsiteX831" fmla="*/ 8594 w 10785"/>
                  <a:gd name="connsiteY831" fmla="*/ 3077 h 10000"/>
                  <a:gd name="connsiteX832" fmla="*/ 8548 w 10785"/>
                  <a:gd name="connsiteY832" fmla="*/ 3077 h 10000"/>
                  <a:gd name="connsiteX833" fmla="*/ 8535 w 10785"/>
                  <a:gd name="connsiteY833" fmla="*/ 3068 h 10000"/>
                  <a:gd name="connsiteX834" fmla="*/ 8429 w 10785"/>
                  <a:gd name="connsiteY834" fmla="*/ 3077 h 10000"/>
                  <a:gd name="connsiteX835" fmla="*/ 8424 w 10785"/>
                  <a:gd name="connsiteY835" fmla="*/ 3077 h 10000"/>
                  <a:gd name="connsiteX836" fmla="*/ 8396 w 10785"/>
                  <a:gd name="connsiteY836" fmla="*/ 3077 h 10000"/>
                  <a:gd name="connsiteX837" fmla="*/ 8387 w 10785"/>
                  <a:gd name="connsiteY837" fmla="*/ 3094 h 10000"/>
                  <a:gd name="connsiteX838" fmla="*/ 8378 w 10785"/>
                  <a:gd name="connsiteY838" fmla="*/ 3094 h 10000"/>
                  <a:gd name="connsiteX839" fmla="*/ 8341 w 10785"/>
                  <a:gd name="connsiteY839" fmla="*/ 3077 h 10000"/>
                  <a:gd name="connsiteX840" fmla="*/ 8336 w 10785"/>
                  <a:gd name="connsiteY840" fmla="*/ 3077 h 10000"/>
                  <a:gd name="connsiteX841" fmla="*/ 8327 w 10785"/>
                  <a:gd name="connsiteY841" fmla="*/ 3103 h 10000"/>
                  <a:gd name="connsiteX842" fmla="*/ 8309 w 10785"/>
                  <a:gd name="connsiteY842" fmla="*/ 3120 h 10000"/>
                  <a:gd name="connsiteX843" fmla="*/ 8304 w 10785"/>
                  <a:gd name="connsiteY843" fmla="*/ 3103 h 10000"/>
                  <a:gd name="connsiteX844" fmla="*/ 8276 w 10785"/>
                  <a:gd name="connsiteY844" fmla="*/ 3103 h 10000"/>
                  <a:gd name="connsiteX845" fmla="*/ 8267 w 10785"/>
                  <a:gd name="connsiteY845" fmla="*/ 3120 h 10000"/>
                  <a:gd name="connsiteX846" fmla="*/ 8253 w 10785"/>
                  <a:gd name="connsiteY846" fmla="*/ 3103 h 10000"/>
                  <a:gd name="connsiteX847" fmla="*/ 8230 w 10785"/>
                  <a:gd name="connsiteY847" fmla="*/ 3128 h 10000"/>
                  <a:gd name="connsiteX848" fmla="*/ 8217 w 10785"/>
                  <a:gd name="connsiteY848" fmla="*/ 3128 h 10000"/>
                  <a:gd name="connsiteX849" fmla="*/ 8203 w 10785"/>
                  <a:gd name="connsiteY849" fmla="*/ 3154 h 10000"/>
                  <a:gd name="connsiteX850" fmla="*/ 8175 w 10785"/>
                  <a:gd name="connsiteY850" fmla="*/ 3094 h 10000"/>
                  <a:gd name="connsiteX851" fmla="*/ 8161 w 10785"/>
                  <a:gd name="connsiteY851" fmla="*/ 3094 h 10000"/>
                  <a:gd name="connsiteX852" fmla="*/ 8157 w 10785"/>
                  <a:gd name="connsiteY852" fmla="*/ 3077 h 10000"/>
                  <a:gd name="connsiteX853" fmla="*/ 8180 w 10785"/>
                  <a:gd name="connsiteY853" fmla="*/ 3068 h 10000"/>
                  <a:gd name="connsiteX854" fmla="*/ 8189 w 10785"/>
                  <a:gd name="connsiteY854" fmla="*/ 3043 h 10000"/>
                  <a:gd name="connsiteX855" fmla="*/ 8189 w 10785"/>
                  <a:gd name="connsiteY855" fmla="*/ 3017 h 10000"/>
                  <a:gd name="connsiteX856" fmla="*/ 8147 w 10785"/>
                  <a:gd name="connsiteY856" fmla="*/ 2940 h 10000"/>
                  <a:gd name="connsiteX857" fmla="*/ 8143 w 10785"/>
                  <a:gd name="connsiteY857" fmla="*/ 2915 h 10000"/>
                  <a:gd name="connsiteX858" fmla="*/ 8143 w 10785"/>
                  <a:gd name="connsiteY858" fmla="*/ 2906 h 10000"/>
                  <a:gd name="connsiteX859" fmla="*/ 8097 w 10785"/>
                  <a:gd name="connsiteY859" fmla="*/ 2932 h 10000"/>
                  <a:gd name="connsiteX860" fmla="*/ 8083 w 10785"/>
                  <a:gd name="connsiteY860" fmla="*/ 2932 h 10000"/>
                  <a:gd name="connsiteX861" fmla="*/ 8074 w 10785"/>
                  <a:gd name="connsiteY861" fmla="*/ 2906 h 10000"/>
                  <a:gd name="connsiteX862" fmla="*/ 8074 w 10785"/>
                  <a:gd name="connsiteY862" fmla="*/ 2897 h 10000"/>
                  <a:gd name="connsiteX863" fmla="*/ 8055 w 10785"/>
                  <a:gd name="connsiteY863" fmla="*/ 2872 h 10000"/>
                  <a:gd name="connsiteX864" fmla="*/ 8046 w 10785"/>
                  <a:gd name="connsiteY864" fmla="*/ 2829 h 10000"/>
                  <a:gd name="connsiteX865" fmla="*/ 8041 w 10785"/>
                  <a:gd name="connsiteY865" fmla="*/ 2829 h 10000"/>
                  <a:gd name="connsiteX866" fmla="*/ 8023 w 10785"/>
                  <a:gd name="connsiteY866" fmla="*/ 2803 h 10000"/>
                  <a:gd name="connsiteX867" fmla="*/ 8014 w 10785"/>
                  <a:gd name="connsiteY867" fmla="*/ 2829 h 10000"/>
                  <a:gd name="connsiteX868" fmla="*/ 8000 w 10785"/>
                  <a:gd name="connsiteY868" fmla="*/ 2829 h 10000"/>
                  <a:gd name="connsiteX869" fmla="*/ 7995 w 10785"/>
                  <a:gd name="connsiteY869" fmla="*/ 2821 h 10000"/>
                  <a:gd name="connsiteX870" fmla="*/ 7972 w 10785"/>
                  <a:gd name="connsiteY870" fmla="*/ 2803 h 10000"/>
                  <a:gd name="connsiteX871" fmla="*/ 7968 w 10785"/>
                  <a:gd name="connsiteY871" fmla="*/ 2821 h 10000"/>
                  <a:gd name="connsiteX872" fmla="*/ 7968 w 10785"/>
                  <a:gd name="connsiteY872" fmla="*/ 2803 h 10000"/>
                  <a:gd name="connsiteX873" fmla="*/ 7995 w 10785"/>
                  <a:gd name="connsiteY873" fmla="*/ 2735 h 10000"/>
                  <a:gd name="connsiteX874" fmla="*/ 8000 w 10785"/>
                  <a:gd name="connsiteY874" fmla="*/ 2735 h 10000"/>
                  <a:gd name="connsiteX875" fmla="*/ 8014 w 10785"/>
                  <a:gd name="connsiteY875" fmla="*/ 2744 h 10000"/>
                  <a:gd name="connsiteX876" fmla="*/ 8023 w 10785"/>
                  <a:gd name="connsiteY876" fmla="*/ 2769 h 10000"/>
                  <a:gd name="connsiteX877" fmla="*/ 8032 w 10785"/>
                  <a:gd name="connsiteY877" fmla="*/ 2744 h 10000"/>
                  <a:gd name="connsiteX878" fmla="*/ 8032 w 10785"/>
                  <a:gd name="connsiteY878" fmla="*/ 2709 h 10000"/>
                  <a:gd name="connsiteX879" fmla="*/ 8023 w 10785"/>
                  <a:gd name="connsiteY879" fmla="*/ 2632 h 10000"/>
                  <a:gd name="connsiteX880" fmla="*/ 7986 w 10785"/>
                  <a:gd name="connsiteY880" fmla="*/ 2581 h 10000"/>
                  <a:gd name="connsiteX881" fmla="*/ 7968 w 10785"/>
                  <a:gd name="connsiteY881" fmla="*/ 2581 h 10000"/>
                  <a:gd name="connsiteX882" fmla="*/ 7963 w 10785"/>
                  <a:gd name="connsiteY882" fmla="*/ 2556 h 10000"/>
                  <a:gd name="connsiteX883" fmla="*/ 7935 w 10785"/>
                  <a:gd name="connsiteY883" fmla="*/ 2547 h 10000"/>
                  <a:gd name="connsiteX884" fmla="*/ 7912 w 10785"/>
                  <a:gd name="connsiteY884" fmla="*/ 2547 h 10000"/>
                  <a:gd name="connsiteX885" fmla="*/ 7912 w 10785"/>
                  <a:gd name="connsiteY885" fmla="*/ 2556 h 10000"/>
                  <a:gd name="connsiteX886" fmla="*/ 7908 w 10785"/>
                  <a:gd name="connsiteY886" fmla="*/ 2547 h 10000"/>
                  <a:gd name="connsiteX887" fmla="*/ 7862 w 10785"/>
                  <a:gd name="connsiteY887" fmla="*/ 2547 h 10000"/>
                  <a:gd name="connsiteX888" fmla="*/ 7848 w 10785"/>
                  <a:gd name="connsiteY888" fmla="*/ 2556 h 10000"/>
                  <a:gd name="connsiteX889" fmla="*/ 7820 w 10785"/>
                  <a:gd name="connsiteY889" fmla="*/ 2547 h 10000"/>
                  <a:gd name="connsiteX890" fmla="*/ 7806 w 10785"/>
                  <a:gd name="connsiteY890" fmla="*/ 2513 h 10000"/>
                  <a:gd name="connsiteX891" fmla="*/ 7788 w 10785"/>
                  <a:gd name="connsiteY891" fmla="*/ 2513 h 10000"/>
                  <a:gd name="connsiteX892" fmla="*/ 7760 w 10785"/>
                  <a:gd name="connsiteY892" fmla="*/ 2470 h 10000"/>
                  <a:gd name="connsiteX893" fmla="*/ 7751 w 10785"/>
                  <a:gd name="connsiteY893" fmla="*/ 2470 h 10000"/>
                  <a:gd name="connsiteX894" fmla="*/ 7705 w 10785"/>
                  <a:gd name="connsiteY894" fmla="*/ 2462 h 10000"/>
                  <a:gd name="connsiteX895" fmla="*/ 7673 w 10785"/>
                  <a:gd name="connsiteY895" fmla="*/ 2419 h 10000"/>
                  <a:gd name="connsiteX896" fmla="*/ 7627 w 10785"/>
                  <a:gd name="connsiteY896" fmla="*/ 2419 h 10000"/>
                  <a:gd name="connsiteX897" fmla="*/ 7613 w 10785"/>
                  <a:gd name="connsiteY897" fmla="*/ 2410 h 10000"/>
                  <a:gd name="connsiteX898" fmla="*/ 7493 w 10785"/>
                  <a:gd name="connsiteY898" fmla="*/ 2393 h 10000"/>
                  <a:gd name="connsiteX899" fmla="*/ 7479 w 10785"/>
                  <a:gd name="connsiteY899" fmla="*/ 2385 h 10000"/>
                  <a:gd name="connsiteX900" fmla="*/ 7479 w 10785"/>
                  <a:gd name="connsiteY900" fmla="*/ 2376 h 10000"/>
                  <a:gd name="connsiteX901" fmla="*/ 7465 w 10785"/>
                  <a:gd name="connsiteY901" fmla="*/ 2359 h 10000"/>
                  <a:gd name="connsiteX902" fmla="*/ 7447 w 10785"/>
                  <a:gd name="connsiteY902" fmla="*/ 2350 h 10000"/>
                  <a:gd name="connsiteX903" fmla="*/ 7433 w 10785"/>
                  <a:gd name="connsiteY903" fmla="*/ 2376 h 10000"/>
                  <a:gd name="connsiteX904" fmla="*/ 7433 w 10785"/>
                  <a:gd name="connsiteY904" fmla="*/ 2385 h 10000"/>
                  <a:gd name="connsiteX905" fmla="*/ 7447 w 10785"/>
                  <a:gd name="connsiteY905" fmla="*/ 2410 h 10000"/>
                  <a:gd name="connsiteX906" fmla="*/ 7447 w 10785"/>
                  <a:gd name="connsiteY906" fmla="*/ 2436 h 10000"/>
                  <a:gd name="connsiteX907" fmla="*/ 7452 w 10785"/>
                  <a:gd name="connsiteY907" fmla="*/ 2462 h 10000"/>
                  <a:gd name="connsiteX908" fmla="*/ 7447 w 10785"/>
                  <a:gd name="connsiteY908" fmla="*/ 2470 h 10000"/>
                  <a:gd name="connsiteX909" fmla="*/ 7424 w 10785"/>
                  <a:gd name="connsiteY909" fmla="*/ 2513 h 10000"/>
                  <a:gd name="connsiteX910" fmla="*/ 7419 w 10785"/>
                  <a:gd name="connsiteY910" fmla="*/ 2556 h 10000"/>
                  <a:gd name="connsiteX911" fmla="*/ 7406 w 10785"/>
                  <a:gd name="connsiteY911" fmla="*/ 2624 h 10000"/>
                  <a:gd name="connsiteX912" fmla="*/ 7392 w 10785"/>
                  <a:gd name="connsiteY912" fmla="*/ 2624 h 10000"/>
                  <a:gd name="connsiteX913" fmla="*/ 7373 w 10785"/>
                  <a:gd name="connsiteY913" fmla="*/ 2650 h 10000"/>
                  <a:gd name="connsiteX914" fmla="*/ 7364 w 10785"/>
                  <a:gd name="connsiteY914" fmla="*/ 2684 h 10000"/>
                  <a:gd name="connsiteX915" fmla="*/ 7364 w 10785"/>
                  <a:gd name="connsiteY915" fmla="*/ 2692 h 10000"/>
                  <a:gd name="connsiteX916" fmla="*/ 7373 w 10785"/>
                  <a:gd name="connsiteY916" fmla="*/ 2718 h 10000"/>
                  <a:gd name="connsiteX917" fmla="*/ 7373 w 10785"/>
                  <a:gd name="connsiteY917" fmla="*/ 2744 h 10000"/>
                  <a:gd name="connsiteX918" fmla="*/ 7359 w 10785"/>
                  <a:gd name="connsiteY918" fmla="*/ 2744 h 10000"/>
                  <a:gd name="connsiteX919" fmla="*/ 7359 w 10785"/>
                  <a:gd name="connsiteY919" fmla="*/ 2795 h 10000"/>
                  <a:gd name="connsiteX920" fmla="*/ 7364 w 10785"/>
                  <a:gd name="connsiteY920" fmla="*/ 2821 h 10000"/>
                  <a:gd name="connsiteX921" fmla="*/ 7378 w 10785"/>
                  <a:gd name="connsiteY921" fmla="*/ 2846 h 10000"/>
                  <a:gd name="connsiteX922" fmla="*/ 7378 w 10785"/>
                  <a:gd name="connsiteY922" fmla="*/ 2855 h 10000"/>
                  <a:gd name="connsiteX923" fmla="*/ 7378 w 10785"/>
                  <a:gd name="connsiteY923" fmla="*/ 2880 h 10000"/>
                  <a:gd name="connsiteX924" fmla="*/ 7378 w 10785"/>
                  <a:gd name="connsiteY924" fmla="*/ 2906 h 10000"/>
                  <a:gd name="connsiteX925" fmla="*/ 7364 w 10785"/>
                  <a:gd name="connsiteY925" fmla="*/ 2906 h 10000"/>
                  <a:gd name="connsiteX926" fmla="*/ 7346 w 10785"/>
                  <a:gd name="connsiteY926" fmla="*/ 2880 h 10000"/>
                  <a:gd name="connsiteX927" fmla="*/ 7332 w 10785"/>
                  <a:gd name="connsiteY927" fmla="*/ 2915 h 10000"/>
                  <a:gd name="connsiteX928" fmla="*/ 7318 w 10785"/>
                  <a:gd name="connsiteY928" fmla="*/ 2906 h 10000"/>
                  <a:gd name="connsiteX929" fmla="*/ 7313 w 10785"/>
                  <a:gd name="connsiteY929" fmla="*/ 2915 h 10000"/>
                  <a:gd name="connsiteX930" fmla="*/ 7313 w 10785"/>
                  <a:gd name="connsiteY930" fmla="*/ 2906 h 10000"/>
                  <a:gd name="connsiteX931" fmla="*/ 7286 w 10785"/>
                  <a:gd name="connsiteY931" fmla="*/ 2940 h 10000"/>
                  <a:gd name="connsiteX932" fmla="*/ 7276 w 10785"/>
                  <a:gd name="connsiteY932" fmla="*/ 2966 h 10000"/>
                  <a:gd name="connsiteX933" fmla="*/ 7272 w 10785"/>
                  <a:gd name="connsiteY933" fmla="*/ 2983 h 10000"/>
                  <a:gd name="connsiteX934" fmla="*/ 7267 w 10785"/>
                  <a:gd name="connsiteY934" fmla="*/ 3009 h 10000"/>
                  <a:gd name="connsiteX935" fmla="*/ 7253 w 10785"/>
                  <a:gd name="connsiteY935" fmla="*/ 3009 h 10000"/>
                  <a:gd name="connsiteX936" fmla="*/ 7244 w 10785"/>
                  <a:gd name="connsiteY936" fmla="*/ 3017 h 10000"/>
                  <a:gd name="connsiteX937" fmla="*/ 7240 w 10785"/>
                  <a:gd name="connsiteY937" fmla="*/ 3009 h 10000"/>
                  <a:gd name="connsiteX938" fmla="*/ 7230 w 10785"/>
                  <a:gd name="connsiteY938" fmla="*/ 2991 h 10000"/>
                  <a:gd name="connsiteX939" fmla="*/ 7226 w 10785"/>
                  <a:gd name="connsiteY939" fmla="*/ 2983 h 10000"/>
                  <a:gd name="connsiteX940" fmla="*/ 7226 w 10785"/>
                  <a:gd name="connsiteY940" fmla="*/ 2966 h 10000"/>
                  <a:gd name="connsiteX941" fmla="*/ 7212 w 10785"/>
                  <a:gd name="connsiteY941" fmla="*/ 2957 h 10000"/>
                  <a:gd name="connsiteX942" fmla="*/ 7212 w 10785"/>
                  <a:gd name="connsiteY942" fmla="*/ 2932 h 10000"/>
                  <a:gd name="connsiteX943" fmla="*/ 7198 w 10785"/>
                  <a:gd name="connsiteY943" fmla="*/ 2915 h 10000"/>
                  <a:gd name="connsiteX944" fmla="*/ 7194 w 10785"/>
                  <a:gd name="connsiteY944" fmla="*/ 2915 h 10000"/>
                  <a:gd name="connsiteX945" fmla="*/ 7157 w 10785"/>
                  <a:gd name="connsiteY945" fmla="*/ 2880 h 10000"/>
                  <a:gd name="connsiteX946" fmla="*/ 7138 w 10785"/>
                  <a:gd name="connsiteY946" fmla="*/ 2880 h 10000"/>
                  <a:gd name="connsiteX947" fmla="*/ 7120 w 10785"/>
                  <a:gd name="connsiteY947" fmla="*/ 2872 h 10000"/>
                  <a:gd name="connsiteX948" fmla="*/ 7111 w 10785"/>
                  <a:gd name="connsiteY948" fmla="*/ 2846 h 10000"/>
                  <a:gd name="connsiteX949" fmla="*/ 7106 w 10785"/>
                  <a:gd name="connsiteY949" fmla="*/ 2846 h 10000"/>
                  <a:gd name="connsiteX950" fmla="*/ 7092 w 10785"/>
                  <a:gd name="connsiteY950" fmla="*/ 2829 h 10000"/>
                  <a:gd name="connsiteX951" fmla="*/ 7051 w 10785"/>
                  <a:gd name="connsiteY951" fmla="*/ 2829 h 10000"/>
                  <a:gd name="connsiteX952" fmla="*/ 7037 w 10785"/>
                  <a:gd name="connsiteY952" fmla="*/ 2880 h 10000"/>
                  <a:gd name="connsiteX953" fmla="*/ 7037 w 10785"/>
                  <a:gd name="connsiteY953" fmla="*/ 2906 h 10000"/>
                  <a:gd name="connsiteX954" fmla="*/ 7037 w 10785"/>
                  <a:gd name="connsiteY954" fmla="*/ 2932 h 10000"/>
                  <a:gd name="connsiteX955" fmla="*/ 7037 w 10785"/>
                  <a:gd name="connsiteY955" fmla="*/ 2940 h 10000"/>
                  <a:gd name="connsiteX956" fmla="*/ 7023 w 10785"/>
                  <a:gd name="connsiteY956" fmla="*/ 2906 h 10000"/>
                  <a:gd name="connsiteX957" fmla="*/ 7023 w 10785"/>
                  <a:gd name="connsiteY957" fmla="*/ 2915 h 10000"/>
                  <a:gd name="connsiteX958" fmla="*/ 6991 w 10785"/>
                  <a:gd name="connsiteY958" fmla="*/ 2906 h 10000"/>
                  <a:gd name="connsiteX959" fmla="*/ 6977 w 10785"/>
                  <a:gd name="connsiteY959" fmla="*/ 2915 h 10000"/>
                  <a:gd name="connsiteX960" fmla="*/ 6963 w 10785"/>
                  <a:gd name="connsiteY960" fmla="*/ 2915 h 10000"/>
                  <a:gd name="connsiteX961" fmla="*/ 6949 w 10785"/>
                  <a:gd name="connsiteY961" fmla="*/ 2872 h 10000"/>
                  <a:gd name="connsiteX962" fmla="*/ 6935 w 10785"/>
                  <a:gd name="connsiteY962" fmla="*/ 2855 h 10000"/>
                  <a:gd name="connsiteX963" fmla="*/ 6922 w 10785"/>
                  <a:gd name="connsiteY963" fmla="*/ 2803 h 10000"/>
                  <a:gd name="connsiteX964" fmla="*/ 6917 w 10785"/>
                  <a:gd name="connsiteY964" fmla="*/ 2786 h 10000"/>
                  <a:gd name="connsiteX965" fmla="*/ 6903 w 10785"/>
                  <a:gd name="connsiteY965" fmla="*/ 2709 h 10000"/>
                  <a:gd name="connsiteX966" fmla="*/ 6903 w 10785"/>
                  <a:gd name="connsiteY966" fmla="*/ 2692 h 10000"/>
                  <a:gd name="connsiteX967" fmla="*/ 6899 w 10785"/>
                  <a:gd name="connsiteY967" fmla="*/ 2709 h 10000"/>
                  <a:gd name="connsiteX968" fmla="*/ 6857 w 10785"/>
                  <a:gd name="connsiteY968" fmla="*/ 2872 h 10000"/>
                  <a:gd name="connsiteX969" fmla="*/ 6857 w 10785"/>
                  <a:gd name="connsiteY969" fmla="*/ 3009 h 10000"/>
                  <a:gd name="connsiteX970" fmla="*/ 6848 w 10785"/>
                  <a:gd name="connsiteY970" fmla="*/ 3017 h 10000"/>
                  <a:gd name="connsiteX971" fmla="*/ 6839 w 10785"/>
                  <a:gd name="connsiteY971" fmla="*/ 3068 h 10000"/>
                  <a:gd name="connsiteX972" fmla="*/ 6829 w 10785"/>
                  <a:gd name="connsiteY972" fmla="*/ 3077 h 10000"/>
                  <a:gd name="connsiteX973" fmla="*/ 6829 w 10785"/>
                  <a:gd name="connsiteY973" fmla="*/ 3128 h 10000"/>
                  <a:gd name="connsiteX974" fmla="*/ 6816 w 10785"/>
                  <a:gd name="connsiteY974" fmla="*/ 3154 h 10000"/>
                  <a:gd name="connsiteX975" fmla="*/ 6811 w 10785"/>
                  <a:gd name="connsiteY975" fmla="*/ 3179 h 10000"/>
                  <a:gd name="connsiteX976" fmla="*/ 6797 w 10785"/>
                  <a:gd name="connsiteY976" fmla="*/ 3171 h 10000"/>
                  <a:gd name="connsiteX977" fmla="*/ 6783 w 10785"/>
                  <a:gd name="connsiteY977" fmla="*/ 3103 h 10000"/>
                  <a:gd name="connsiteX978" fmla="*/ 6779 w 10785"/>
                  <a:gd name="connsiteY978" fmla="*/ 3094 h 10000"/>
                  <a:gd name="connsiteX979" fmla="*/ 6779 w 10785"/>
                  <a:gd name="connsiteY979" fmla="*/ 3120 h 10000"/>
                  <a:gd name="connsiteX980" fmla="*/ 6770 w 10785"/>
                  <a:gd name="connsiteY980" fmla="*/ 3128 h 10000"/>
                  <a:gd name="connsiteX981" fmla="*/ 6765 w 10785"/>
                  <a:gd name="connsiteY981" fmla="*/ 3103 h 10000"/>
                  <a:gd name="connsiteX982" fmla="*/ 6756 w 10785"/>
                  <a:gd name="connsiteY982" fmla="*/ 3103 h 10000"/>
                  <a:gd name="connsiteX983" fmla="*/ 6742 w 10785"/>
                  <a:gd name="connsiteY983" fmla="*/ 3103 h 10000"/>
                  <a:gd name="connsiteX984" fmla="*/ 6737 w 10785"/>
                  <a:gd name="connsiteY984" fmla="*/ 3077 h 10000"/>
                  <a:gd name="connsiteX985" fmla="*/ 6737 w 10785"/>
                  <a:gd name="connsiteY985" fmla="*/ 3068 h 10000"/>
                  <a:gd name="connsiteX986" fmla="*/ 6728 w 10785"/>
                  <a:gd name="connsiteY986" fmla="*/ 3043 h 10000"/>
                  <a:gd name="connsiteX987" fmla="*/ 6724 w 10785"/>
                  <a:gd name="connsiteY987" fmla="*/ 3051 h 10000"/>
                  <a:gd name="connsiteX988" fmla="*/ 6714 w 10785"/>
                  <a:gd name="connsiteY988" fmla="*/ 3043 h 10000"/>
                  <a:gd name="connsiteX989" fmla="*/ 6710 w 10785"/>
                  <a:gd name="connsiteY989" fmla="*/ 3034 h 10000"/>
                  <a:gd name="connsiteX990" fmla="*/ 6705 w 10785"/>
                  <a:gd name="connsiteY990" fmla="*/ 2983 h 10000"/>
                  <a:gd name="connsiteX991" fmla="*/ 6696 w 10785"/>
                  <a:gd name="connsiteY991" fmla="*/ 2966 h 10000"/>
                  <a:gd name="connsiteX992" fmla="*/ 6691 w 10785"/>
                  <a:gd name="connsiteY992" fmla="*/ 2983 h 10000"/>
                  <a:gd name="connsiteX993" fmla="*/ 6677 w 10785"/>
                  <a:gd name="connsiteY993" fmla="*/ 2897 h 10000"/>
                  <a:gd name="connsiteX994" fmla="*/ 6677 w 10785"/>
                  <a:gd name="connsiteY994" fmla="*/ 2897 h 10000"/>
                  <a:gd name="connsiteX995" fmla="*/ 6677 w 10785"/>
                  <a:gd name="connsiteY995" fmla="*/ 2872 h 10000"/>
                  <a:gd name="connsiteX996" fmla="*/ 6668 w 10785"/>
                  <a:gd name="connsiteY996" fmla="*/ 2821 h 10000"/>
                  <a:gd name="connsiteX997" fmla="*/ 6664 w 10785"/>
                  <a:gd name="connsiteY997" fmla="*/ 2829 h 10000"/>
                  <a:gd name="connsiteX998" fmla="*/ 6654 w 10785"/>
                  <a:gd name="connsiteY998" fmla="*/ 2846 h 10000"/>
                  <a:gd name="connsiteX999" fmla="*/ 6650 w 10785"/>
                  <a:gd name="connsiteY999" fmla="*/ 2829 h 10000"/>
                  <a:gd name="connsiteX1000" fmla="*/ 6650 w 10785"/>
                  <a:gd name="connsiteY1000" fmla="*/ 2803 h 10000"/>
                  <a:gd name="connsiteX1001" fmla="*/ 6650 w 10785"/>
                  <a:gd name="connsiteY1001" fmla="*/ 2795 h 10000"/>
                  <a:gd name="connsiteX1002" fmla="*/ 6641 w 10785"/>
                  <a:gd name="connsiteY1002" fmla="*/ 2786 h 10000"/>
                  <a:gd name="connsiteX1003" fmla="*/ 6636 w 10785"/>
                  <a:gd name="connsiteY1003" fmla="*/ 2735 h 10000"/>
                  <a:gd name="connsiteX1004" fmla="*/ 6664 w 10785"/>
                  <a:gd name="connsiteY1004" fmla="*/ 2667 h 10000"/>
                  <a:gd name="connsiteX1005" fmla="*/ 6668 w 10785"/>
                  <a:gd name="connsiteY1005" fmla="*/ 2684 h 10000"/>
                  <a:gd name="connsiteX1006" fmla="*/ 6677 w 10785"/>
                  <a:gd name="connsiteY1006" fmla="*/ 2667 h 10000"/>
                  <a:gd name="connsiteX1007" fmla="*/ 6668 w 10785"/>
                  <a:gd name="connsiteY1007" fmla="*/ 2667 h 10000"/>
                  <a:gd name="connsiteX1008" fmla="*/ 6668 w 10785"/>
                  <a:gd name="connsiteY1008" fmla="*/ 2650 h 10000"/>
                  <a:gd name="connsiteX1009" fmla="*/ 6682 w 10785"/>
                  <a:gd name="connsiteY1009" fmla="*/ 2650 h 10000"/>
                  <a:gd name="connsiteX1010" fmla="*/ 6691 w 10785"/>
                  <a:gd name="connsiteY1010" fmla="*/ 2624 h 10000"/>
                  <a:gd name="connsiteX1011" fmla="*/ 6682 w 10785"/>
                  <a:gd name="connsiteY1011" fmla="*/ 2632 h 10000"/>
                  <a:gd name="connsiteX1012" fmla="*/ 6682 w 10785"/>
                  <a:gd name="connsiteY1012" fmla="*/ 2624 h 10000"/>
                  <a:gd name="connsiteX1013" fmla="*/ 6691 w 10785"/>
                  <a:gd name="connsiteY1013" fmla="*/ 2607 h 10000"/>
                  <a:gd name="connsiteX1014" fmla="*/ 6691 w 10785"/>
                  <a:gd name="connsiteY1014" fmla="*/ 2598 h 10000"/>
                  <a:gd name="connsiteX1015" fmla="*/ 6691 w 10785"/>
                  <a:gd name="connsiteY1015" fmla="*/ 2581 h 10000"/>
                  <a:gd name="connsiteX1016" fmla="*/ 6696 w 10785"/>
                  <a:gd name="connsiteY1016" fmla="*/ 2530 h 10000"/>
                  <a:gd name="connsiteX1017" fmla="*/ 6677 w 10785"/>
                  <a:gd name="connsiteY1017" fmla="*/ 2513 h 10000"/>
                  <a:gd name="connsiteX1018" fmla="*/ 6677 w 10785"/>
                  <a:gd name="connsiteY1018" fmla="*/ 2496 h 10000"/>
                  <a:gd name="connsiteX1019" fmla="*/ 6682 w 10785"/>
                  <a:gd name="connsiteY1019" fmla="*/ 2470 h 10000"/>
                  <a:gd name="connsiteX1020" fmla="*/ 6668 w 10785"/>
                  <a:gd name="connsiteY1020" fmla="*/ 2462 h 10000"/>
                  <a:gd name="connsiteX1021" fmla="*/ 6677 w 10785"/>
                  <a:gd name="connsiteY1021" fmla="*/ 2436 h 10000"/>
                  <a:gd name="connsiteX1022" fmla="*/ 6682 w 10785"/>
                  <a:gd name="connsiteY1022" fmla="*/ 2419 h 10000"/>
                  <a:gd name="connsiteX1023" fmla="*/ 6682 w 10785"/>
                  <a:gd name="connsiteY1023" fmla="*/ 2393 h 10000"/>
                  <a:gd name="connsiteX1024" fmla="*/ 6682 w 10785"/>
                  <a:gd name="connsiteY1024" fmla="*/ 2385 h 10000"/>
                  <a:gd name="connsiteX1025" fmla="*/ 6682 w 10785"/>
                  <a:gd name="connsiteY1025" fmla="*/ 2385 h 10000"/>
                  <a:gd name="connsiteX1026" fmla="*/ 6677 w 10785"/>
                  <a:gd name="connsiteY1026" fmla="*/ 2376 h 10000"/>
                  <a:gd name="connsiteX1027" fmla="*/ 6682 w 10785"/>
                  <a:gd name="connsiteY1027" fmla="*/ 2359 h 10000"/>
                  <a:gd name="connsiteX1028" fmla="*/ 6677 w 10785"/>
                  <a:gd name="connsiteY1028" fmla="*/ 2333 h 10000"/>
                  <a:gd name="connsiteX1029" fmla="*/ 6691 w 10785"/>
                  <a:gd name="connsiteY1029" fmla="*/ 2333 h 10000"/>
                  <a:gd name="connsiteX1030" fmla="*/ 6691 w 10785"/>
                  <a:gd name="connsiteY1030" fmla="*/ 2325 h 10000"/>
                  <a:gd name="connsiteX1031" fmla="*/ 6691 w 10785"/>
                  <a:gd name="connsiteY1031" fmla="*/ 2308 h 10000"/>
                  <a:gd name="connsiteX1032" fmla="*/ 6691 w 10785"/>
                  <a:gd name="connsiteY1032" fmla="*/ 2299 h 10000"/>
                  <a:gd name="connsiteX1033" fmla="*/ 6691 w 10785"/>
                  <a:gd name="connsiteY1033" fmla="*/ 2282 h 10000"/>
                  <a:gd name="connsiteX1034" fmla="*/ 6691 w 10785"/>
                  <a:gd name="connsiteY1034" fmla="*/ 2274 h 10000"/>
                  <a:gd name="connsiteX1035" fmla="*/ 6668 w 10785"/>
                  <a:gd name="connsiteY1035" fmla="*/ 2248 h 10000"/>
                  <a:gd name="connsiteX1036" fmla="*/ 6664 w 10785"/>
                  <a:gd name="connsiteY1036" fmla="*/ 2222 h 10000"/>
                  <a:gd name="connsiteX1037" fmla="*/ 6654 w 10785"/>
                  <a:gd name="connsiteY1037" fmla="*/ 2214 h 10000"/>
                  <a:gd name="connsiteX1038" fmla="*/ 6654 w 10785"/>
                  <a:gd name="connsiteY1038" fmla="*/ 2188 h 10000"/>
                  <a:gd name="connsiteX1039" fmla="*/ 6622 w 10785"/>
                  <a:gd name="connsiteY1039" fmla="*/ 2162 h 10000"/>
                  <a:gd name="connsiteX1040" fmla="*/ 6631 w 10785"/>
                  <a:gd name="connsiteY1040" fmla="*/ 2145 h 10000"/>
                  <a:gd name="connsiteX1041" fmla="*/ 6622 w 10785"/>
                  <a:gd name="connsiteY1041" fmla="*/ 2120 h 10000"/>
                  <a:gd name="connsiteX1042" fmla="*/ 6608 w 10785"/>
                  <a:gd name="connsiteY1042" fmla="*/ 2120 h 10000"/>
                  <a:gd name="connsiteX1043" fmla="*/ 6604 w 10785"/>
                  <a:gd name="connsiteY1043" fmla="*/ 2111 h 10000"/>
                  <a:gd name="connsiteX1044" fmla="*/ 6608 w 10785"/>
                  <a:gd name="connsiteY1044" fmla="*/ 2111 h 10000"/>
                  <a:gd name="connsiteX1045" fmla="*/ 6604 w 10785"/>
                  <a:gd name="connsiteY1045" fmla="*/ 2085 h 10000"/>
                  <a:gd name="connsiteX1046" fmla="*/ 6581 w 10785"/>
                  <a:gd name="connsiteY1046" fmla="*/ 2077 h 10000"/>
                  <a:gd name="connsiteX1047" fmla="*/ 6571 w 10785"/>
                  <a:gd name="connsiteY1047" fmla="*/ 2085 h 10000"/>
                  <a:gd name="connsiteX1048" fmla="*/ 6548 w 10785"/>
                  <a:gd name="connsiteY1048" fmla="*/ 2077 h 10000"/>
                  <a:gd name="connsiteX1049" fmla="*/ 6530 w 10785"/>
                  <a:gd name="connsiteY1049" fmla="*/ 2060 h 10000"/>
                  <a:gd name="connsiteX1050" fmla="*/ 6521 w 10785"/>
                  <a:gd name="connsiteY1050" fmla="*/ 2060 h 10000"/>
                  <a:gd name="connsiteX1051" fmla="*/ 6521 w 10785"/>
                  <a:gd name="connsiteY1051" fmla="*/ 2085 h 10000"/>
                  <a:gd name="connsiteX1052" fmla="*/ 6516 w 10785"/>
                  <a:gd name="connsiteY1052" fmla="*/ 2085 h 10000"/>
                  <a:gd name="connsiteX1053" fmla="*/ 6502 w 10785"/>
                  <a:gd name="connsiteY1053" fmla="*/ 2111 h 10000"/>
                  <a:gd name="connsiteX1054" fmla="*/ 6498 w 10785"/>
                  <a:gd name="connsiteY1054" fmla="*/ 2111 h 10000"/>
                  <a:gd name="connsiteX1055" fmla="*/ 6498 w 10785"/>
                  <a:gd name="connsiteY1055" fmla="*/ 2103 h 10000"/>
                  <a:gd name="connsiteX1056" fmla="*/ 6475 w 10785"/>
                  <a:gd name="connsiteY1056" fmla="*/ 2051 h 10000"/>
                  <a:gd name="connsiteX1057" fmla="*/ 6470 w 10785"/>
                  <a:gd name="connsiteY1057" fmla="*/ 2060 h 10000"/>
                  <a:gd name="connsiteX1058" fmla="*/ 6456 w 10785"/>
                  <a:gd name="connsiteY1058" fmla="*/ 2051 h 10000"/>
                  <a:gd name="connsiteX1059" fmla="*/ 6447 w 10785"/>
                  <a:gd name="connsiteY1059" fmla="*/ 2051 h 10000"/>
                  <a:gd name="connsiteX1060" fmla="*/ 6433 w 10785"/>
                  <a:gd name="connsiteY1060" fmla="*/ 2026 h 10000"/>
                  <a:gd name="connsiteX1061" fmla="*/ 6433 w 10785"/>
                  <a:gd name="connsiteY1061" fmla="*/ 2034 h 10000"/>
                  <a:gd name="connsiteX1062" fmla="*/ 6429 w 10785"/>
                  <a:gd name="connsiteY1062" fmla="*/ 2026 h 10000"/>
                  <a:gd name="connsiteX1063" fmla="*/ 6424 w 10785"/>
                  <a:gd name="connsiteY1063" fmla="*/ 2034 h 10000"/>
                  <a:gd name="connsiteX1064" fmla="*/ 6410 w 10785"/>
                  <a:gd name="connsiteY1064" fmla="*/ 2026 h 10000"/>
                  <a:gd name="connsiteX1065" fmla="*/ 6410 w 10785"/>
                  <a:gd name="connsiteY1065" fmla="*/ 1991 h 10000"/>
                  <a:gd name="connsiteX1066" fmla="*/ 6401 w 10785"/>
                  <a:gd name="connsiteY1066" fmla="*/ 1991 h 10000"/>
                  <a:gd name="connsiteX1067" fmla="*/ 6396 w 10785"/>
                  <a:gd name="connsiteY1067" fmla="*/ 2000 h 10000"/>
                  <a:gd name="connsiteX1068" fmla="*/ 6382 w 10785"/>
                  <a:gd name="connsiteY1068" fmla="*/ 1966 h 10000"/>
                  <a:gd name="connsiteX1069" fmla="*/ 6373 w 10785"/>
                  <a:gd name="connsiteY1069" fmla="*/ 1974 h 10000"/>
                  <a:gd name="connsiteX1070" fmla="*/ 6369 w 10785"/>
                  <a:gd name="connsiteY1070" fmla="*/ 1966 h 10000"/>
                  <a:gd name="connsiteX1071" fmla="*/ 6341 w 10785"/>
                  <a:gd name="connsiteY1071" fmla="*/ 1949 h 10000"/>
                  <a:gd name="connsiteX1072" fmla="*/ 6327 w 10785"/>
                  <a:gd name="connsiteY1072" fmla="*/ 1923 h 10000"/>
                  <a:gd name="connsiteX1073" fmla="*/ 6323 w 10785"/>
                  <a:gd name="connsiteY1073" fmla="*/ 1923 h 10000"/>
                  <a:gd name="connsiteX1074" fmla="*/ 6323 w 10785"/>
                  <a:gd name="connsiteY1074" fmla="*/ 1966 h 10000"/>
                  <a:gd name="connsiteX1075" fmla="*/ 6323 w 10785"/>
                  <a:gd name="connsiteY1075" fmla="*/ 1991 h 10000"/>
                  <a:gd name="connsiteX1076" fmla="*/ 6313 w 10785"/>
                  <a:gd name="connsiteY1076" fmla="*/ 1991 h 10000"/>
                  <a:gd name="connsiteX1077" fmla="*/ 6300 w 10785"/>
                  <a:gd name="connsiteY1077" fmla="*/ 1991 h 10000"/>
                  <a:gd name="connsiteX1078" fmla="*/ 6290 w 10785"/>
                  <a:gd name="connsiteY1078" fmla="*/ 1949 h 10000"/>
                  <a:gd name="connsiteX1079" fmla="*/ 6276 w 10785"/>
                  <a:gd name="connsiteY1079" fmla="*/ 2103 h 10000"/>
                  <a:gd name="connsiteX1080" fmla="*/ 6281 w 10785"/>
                  <a:gd name="connsiteY1080" fmla="*/ 2103 h 10000"/>
                  <a:gd name="connsiteX1081" fmla="*/ 6276 w 10785"/>
                  <a:gd name="connsiteY1081" fmla="*/ 2111 h 10000"/>
                  <a:gd name="connsiteX1082" fmla="*/ 6276 w 10785"/>
                  <a:gd name="connsiteY1082" fmla="*/ 2120 h 10000"/>
                  <a:gd name="connsiteX1083" fmla="*/ 6295 w 10785"/>
                  <a:gd name="connsiteY1083" fmla="*/ 2239 h 10000"/>
                  <a:gd name="connsiteX1084" fmla="*/ 6290 w 10785"/>
                  <a:gd name="connsiteY1084" fmla="*/ 2248 h 10000"/>
                  <a:gd name="connsiteX1085" fmla="*/ 6281 w 10785"/>
                  <a:gd name="connsiteY1085" fmla="*/ 2274 h 10000"/>
                  <a:gd name="connsiteX1086" fmla="*/ 6249 w 10785"/>
                  <a:gd name="connsiteY1086" fmla="*/ 2274 h 10000"/>
                  <a:gd name="connsiteX1087" fmla="*/ 6226 w 10785"/>
                  <a:gd name="connsiteY1087" fmla="*/ 2308 h 10000"/>
                  <a:gd name="connsiteX1088" fmla="*/ 6221 w 10785"/>
                  <a:gd name="connsiteY1088" fmla="*/ 2299 h 10000"/>
                  <a:gd name="connsiteX1089" fmla="*/ 6221 w 10785"/>
                  <a:gd name="connsiteY1089" fmla="*/ 2308 h 10000"/>
                  <a:gd name="connsiteX1090" fmla="*/ 6217 w 10785"/>
                  <a:gd name="connsiteY1090" fmla="*/ 2299 h 10000"/>
                  <a:gd name="connsiteX1091" fmla="*/ 6194 w 10785"/>
                  <a:gd name="connsiteY1091" fmla="*/ 2308 h 10000"/>
                  <a:gd name="connsiteX1092" fmla="*/ 6180 w 10785"/>
                  <a:gd name="connsiteY1092" fmla="*/ 2299 h 10000"/>
                  <a:gd name="connsiteX1093" fmla="*/ 6143 w 10785"/>
                  <a:gd name="connsiteY1093" fmla="*/ 2308 h 10000"/>
                  <a:gd name="connsiteX1094" fmla="*/ 6134 w 10785"/>
                  <a:gd name="connsiteY1094" fmla="*/ 2325 h 10000"/>
                  <a:gd name="connsiteX1095" fmla="*/ 6115 w 10785"/>
                  <a:gd name="connsiteY1095" fmla="*/ 2282 h 10000"/>
                  <a:gd name="connsiteX1096" fmla="*/ 6069 w 10785"/>
                  <a:gd name="connsiteY1096" fmla="*/ 2274 h 10000"/>
                  <a:gd name="connsiteX1097" fmla="*/ 6069 w 10785"/>
                  <a:gd name="connsiteY1097" fmla="*/ 2282 h 10000"/>
                  <a:gd name="connsiteX1098" fmla="*/ 6060 w 10785"/>
                  <a:gd name="connsiteY1098" fmla="*/ 2299 h 10000"/>
                  <a:gd name="connsiteX1099" fmla="*/ 5972 w 10785"/>
                  <a:gd name="connsiteY1099" fmla="*/ 2214 h 10000"/>
                  <a:gd name="connsiteX1100" fmla="*/ 5968 w 10785"/>
                  <a:gd name="connsiteY1100" fmla="*/ 2197 h 10000"/>
                  <a:gd name="connsiteX1101" fmla="*/ 5968 w 10785"/>
                  <a:gd name="connsiteY1101" fmla="*/ 2171 h 10000"/>
                  <a:gd name="connsiteX1102" fmla="*/ 5968 w 10785"/>
                  <a:gd name="connsiteY1102" fmla="*/ 2162 h 10000"/>
                  <a:gd name="connsiteX1103" fmla="*/ 5968 w 10785"/>
                  <a:gd name="connsiteY1103" fmla="*/ 2120 h 10000"/>
                  <a:gd name="connsiteX1104" fmla="*/ 5968 w 10785"/>
                  <a:gd name="connsiteY1104" fmla="*/ 2111 h 10000"/>
                  <a:gd name="connsiteX1105" fmla="*/ 5972 w 10785"/>
                  <a:gd name="connsiteY1105" fmla="*/ 2103 h 10000"/>
                  <a:gd name="connsiteX1106" fmla="*/ 5986 w 10785"/>
                  <a:gd name="connsiteY1106" fmla="*/ 2103 h 10000"/>
                  <a:gd name="connsiteX1107" fmla="*/ 5986 w 10785"/>
                  <a:gd name="connsiteY1107" fmla="*/ 2085 h 10000"/>
                  <a:gd name="connsiteX1108" fmla="*/ 5995 w 10785"/>
                  <a:gd name="connsiteY1108" fmla="*/ 2085 h 10000"/>
                  <a:gd name="connsiteX1109" fmla="*/ 5995 w 10785"/>
                  <a:gd name="connsiteY1109" fmla="*/ 2077 h 10000"/>
                  <a:gd name="connsiteX1110" fmla="*/ 5986 w 10785"/>
                  <a:gd name="connsiteY1110" fmla="*/ 2060 h 10000"/>
                  <a:gd name="connsiteX1111" fmla="*/ 5954 w 10785"/>
                  <a:gd name="connsiteY1111" fmla="*/ 2060 h 10000"/>
                  <a:gd name="connsiteX1112" fmla="*/ 5940 w 10785"/>
                  <a:gd name="connsiteY1112" fmla="*/ 2051 h 10000"/>
                  <a:gd name="connsiteX1113" fmla="*/ 5922 w 10785"/>
                  <a:gd name="connsiteY1113" fmla="*/ 2060 h 10000"/>
                  <a:gd name="connsiteX1114" fmla="*/ 5885 w 10785"/>
                  <a:gd name="connsiteY1114" fmla="*/ 2051 h 10000"/>
                  <a:gd name="connsiteX1115" fmla="*/ 5876 w 10785"/>
                  <a:gd name="connsiteY1115" fmla="*/ 2026 h 10000"/>
                  <a:gd name="connsiteX1116" fmla="*/ 5862 w 10785"/>
                  <a:gd name="connsiteY1116" fmla="*/ 2026 h 10000"/>
                  <a:gd name="connsiteX1117" fmla="*/ 5848 w 10785"/>
                  <a:gd name="connsiteY1117" fmla="*/ 2026 h 10000"/>
                  <a:gd name="connsiteX1118" fmla="*/ 5825 w 10785"/>
                  <a:gd name="connsiteY1118" fmla="*/ 2026 h 10000"/>
                  <a:gd name="connsiteX1119" fmla="*/ 5788 w 10785"/>
                  <a:gd name="connsiteY1119" fmla="*/ 1991 h 10000"/>
                  <a:gd name="connsiteX1120" fmla="*/ 5760 w 10785"/>
                  <a:gd name="connsiteY1120" fmla="*/ 2000 h 10000"/>
                  <a:gd name="connsiteX1121" fmla="*/ 5760 w 10785"/>
                  <a:gd name="connsiteY1121" fmla="*/ 2026 h 10000"/>
                  <a:gd name="connsiteX1122" fmla="*/ 5714 w 10785"/>
                  <a:gd name="connsiteY1122" fmla="*/ 2051 h 10000"/>
                  <a:gd name="connsiteX1123" fmla="*/ 5687 w 10785"/>
                  <a:gd name="connsiteY1123" fmla="*/ 2034 h 10000"/>
                  <a:gd name="connsiteX1124" fmla="*/ 5645 w 10785"/>
                  <a:gd name="connsiteY1124" fmla="*/ 2077 h 10000"/>
                  <a:gd name="connsiteX1125" fmla="*/ 5664 w 10785"/>
                  <a:gd name="connsiteY1125" fmla="*/ 2120 h 10000"/>
                  <a:gd name="connsiteX1126" fmla="*/ 5664 w 10785"/>
                  <a:gd name="connsiteY1126" fmla="*/ 2162 h 10000"/>
                  <a:gd name="connsiteX1127" fmla="*/ 5631 w 10785"/>
                  <a:gd name="connsiteY1127" fmla="*/ 2197 h 10000"/>
                  <a:gd name="connsiteX1128" fmla="*/ 5618 w 10785"/>
                  <a:gd name="connsiteY1128" fmla="*/ 2188 h 10000"/>
                  <a:gd name="connsiteX1129" fmla="*/ 5618 w 10785"/>
                  <a:gd name="connsiteY1129" fmla="*/ 2171 h 10000"/>
                  <a:gd name="connsiteX1130" fmla="*/ 5641 w 10785"/>
                  <a:gd name="connsiteY1130" fmla="*/ 2171 h 10000"/>
                  <a:gd name="connsiteX1131" fmla="*/ 5641 w 10785"/>
                  <a:gd name="connsiteY1131" fmla="*/ 2162 h 10000"/>
                  <a:gd name="connsiteX1132" fmla="*/ 5627 w 10785"/>
                  <a:gd name="connsiteY1132" fmla="*/ 2145 h 10000"/>
                  <a:gd name="connsiteX1133" fmla="*/ 5627 w 10785"/>
                  <a:gd name="connsiteY1133" fmla="*/ 2120 h 10000"/>
                  <a:gd name="connsiteX1134" fmla="*/ 5618 w 10785"/>
                  <a:gd name="connsiteY1134" fmla="*/ 2111 h 10000"/>
                  <a:gd name="connsiteX1135" fmla="*/ 5631 w 10785"/>
                  <a:gd name="connsiteY1135" fmla="*/ 2051 h 10000"/>
                  <a:gd name="connsiteX1136" fmla="*/ 5631 w 10785"/>
                  <a:gd name="connsiteY1136" fmla="*/ 2026 h 10000"/>
                  <a:gd name="connsiteX1137" fmla="*/ 5627 w 10785"/>
                  <a:gd name="connsiteY1137" fmla="*/ 1991 h 10000"/>
                  <a:gd name="connsiteX1138" fmla="*/ 5618 w 10785"/>
                  <a:gd name="connsiteY1138" fmla="*/ 1974 h 10000"/>
                  <a:gd name="connsiteX1139" fmla="*/ 5618 w 10785"/>
                  <a:gd name="connsiteY1139" fmla="*/ 1940 h 10000"/>
                  <a:gd name="connsiteX1140" fmla="*/ 5594 w 10785"/>
                  <a:gd name="connsiteY1140" fmla="*/ 1855 h 10000"/>
                  <a:gd name="connsiteX1141" fmla="*/ 5599 w 10785"/>
                  <a:gd name="connsiteY1141" fmla="*/ 1915 h 10000"/>
                  <a:gd name="connsiteX1142" fmla="*/ 5599 w 10785"/>
                  <a:gd name="connsiteY1142" fmla="*/ 1949 h 10000"/>
                  <a:gd name="connsiteX1143" fmla="*/ 5594 w 10785"/>
                  <a:gd name="connsiteY1143" fmla="*/ 1991 h 10000"/>
                  <a:gd name="connsiteX1144" fmla="*/ 5571 w 10785"/>
                  <a:gd name="connsiteY1144" fmla="*/ 2000 h 10000"/>
                  <a:gd name="connsiteX1145" fmla="*/ 5530 w 10785"/>
                  <a:gd name="connsiteY1145" fmla="*/ 1991 h 10000"/>
                  <a:gd name="connsiteX1146" fmla="*/ 5525 w 10785"/>
                  <a:gd name="connsiteY1146" fmla="*/ 2000 h 10000"/>
                  <a:gd name="connsiteX1147" fmla="*/ 5521 w 10785"/>
                  <a:gd name="connsiteY1147" fmla="*/ 1991 h 10000"/>
                  <a:gd name="connsiteX1148" fmla="*/ 5498 w 10785"/>
                  <a:gd name="connsiteY1148" fmla="*/ 1949 h 10000"/>
                  <a:gd name="connsiteX1149" fmla="*/ 5493 w 10785"/>
                  <a:gd name="connsiteY1149" fmla="*/ 1889 h 10000"/>
                  <a:gd name="connsiteX1150" fmla="*/ 5493 w 10785"/>
                  <a:gd name="connsiteY1150" fmla="*/ 1863 h 10000"/>
                  <a:gd name="connsiteX1151" fmla="*/ 5498 w 10785"/>
                  <a:gd name="connsiteY1151" fmla="*/ 1889 h 10000"/>
                  <a:gd name="connsiteX1152" fmla="*/ 5512 w 10785"/>
                  <a:gd name="connsiteY1152" fmla="*/ 1855 h 10000"/>
                  <a:gd name="connsiteX1153" fmla="*/ 5512 w 10785"/>
                  <a:gd name="connsiteY1153" fmla="*/ 1838 h 10000"/>
                  <a:gd name="connsiteX1154" fmla="*/ 5479 w 10785"/>
                  <a:gd name="connsiteY1154" fmla="*/ 1855 h 10000"/>
                  <a:gd name="connsiteX1155" fmla="*/ 5470 w 10785"/>
                  <a:gd name="connsiteY1155" fmla="*/ 1872 h 10000"/>
                  <a:gd name="connsiteX1156" fmla="*/ 5470 w 10785"/>
                  <a:gd name="connsiteY1156" fmla="*/ 1889 h 10000"/>
                  <a:gd name="connsiteX1157" fmla="*/ 5465 w 10785"/>
                  <a:gd name="connsiteY1157" fmla="*/ 1897 h 10000"/>
                  <a:gd name="connsiteX1158" fmla="*/ 5456 w 10785"/>
                  <a:gd name="connsiteY1158" fmla="*/ 1872 h 10000"/>
                  <a:gd name="connsiteX1159" fmla="*/ 5447 w 10785"/>
                  <a:gd name="connsiteY1159" fmla="*/ 1872 h 10000"/>
                  <a:gd name="connsiteX1160" fmla="*/ 5433 w 10785"/>
                  <a:gd name="connsiteY1160" fmla="*/ 1855 h 10000"/>
                  <a:gd name="connsiteX1161" fmla="*/ 5396 w 10785"/>
                  <a:gd name="connsiteY1161" fmla="*/ 1863 h 10000"/>
                  <a:gd name="connsiteX1162" fmla="*/ 5396 w 10785"/>
                  <a:gd name="connsiteY1162" fmla="*/ 1897 h 10000"/>
                  <a:gd name="connsiteX1163" fmla="*/ 5378 w 10785"/>
                  <a:gd name="connsiteY1163" fmla="*/ 1949 h 10000"/>
                  <a:gd name="connsiteX1164" fmla="*/ 5378 w 10785"/>
                  <a:gd name="connsiteY1164" fmla="*/ 1966 h 10000"/>
                  <a:gd name="connsiteX1165" fmla="*/ 5392 w 10785"/>
                  <a:gd name="connsiteY1165" fmla="*/ 2026 h 10000"/>
                  <a:gd name="connsiteX1166" fmla="*/ 5396 w 10785"/>
                  <a:gd name="connsiteY1166" fmla="*/ 2026 h 10000"/>
                  <a:gd name="connsiteX1167" fmla="*/ 5392 w 10785"/>
                  <a:gd name="connsiteY1167" fmla="*/ 2009 h 10000"/>
                  <a:gd name="connsiteX1168" fmla="*/ 5392 w 10785"/>
                  <a:gd name="connsiteY1168" fmla="*/ 2000 h 10000"/>
                  <a:gd name="connsiteX1169" fmla="*/ 5396 w 10785"/>
                  <a:gd name="connsiteY1169" fmla="*/ 2009 h 10000"/>
                  <a:gd name="connsiteX1170" fmla="*/ 5424 w 10785"/>
                  <a:gd name="connsiteY1170" fmla="*/ 2009 h 10000"/>
                  <a:gd name="connsiteX1171" fmla="*/ 5433 w 10785"/>
                  <a:gd name="connsiteY1171" fmla="*/ 1991 h 10000"/>
                  <a:gd name="connsiteX1172" fmla="*/ 5447 w 10785"/>
                  <a:gd name="connsiteY1172" fmla="*/ 1974 h 10000"/>
                  <a:gd name="connsiteX1173" fmla="*/ 5452 w 10785"/>
                  <a:gd name="connsiteY1173" fmla="*/ 1966 h 10000"/>
                  <a:gd name="connsiteX1174" fmla="*/ 5456 w 10785"/>
                  <a:gd name="connsiteY1174" fmla="*/ 1966 h 10000"/>
                  <a:gd name="connsiteX1175" fmla="*/ 5465 w 10785"/>
                  <a:gd name="connsiteY1175" fmla="*/ 2009 h 10000"/>
                  <a:gd name="connsiteX1176" fmla="*/ 5433 w 10785"/>
                  <a:gd name="connsiteY1176" fmla="*/ 2034 h 10000"/>
                  <a:gd name="connsiteX1177" fmla="*/ 5424 w 10785"/>
                  <a:gd name="connsiteY1177" fmla="*/ 2060 h 10000"/>
                  <a:gd name="connsiteX1178" fmla="*/ 5419 w 10785"/>
                  <a:gd name="connsiteY1178" fmla="*/ 2060 h 10000"/>
                  <a:gd name="connsiteX1179" fmla="*/ 5392 w 10785"/>
                  <a:gd name="connsiteY1179" fmla="*/ 2111 h 10000"/>
                  <a:gd name="connsiteX1180" fmla="*/ 5378 w 10785"/>
                  <a:gd name="connsiteY1180" fmla="*/ 2111 h 10000"/>
                  <a:gd name="connsiteX1181" fmla="*/ 5350 w 10785"/>
                  <a:gd name="connsiteY1181" fmla="*/ 2060 h 10000"/>
                  <a:gd name="connsiteX1182" fmla="*/ 5373 w 10785"/>
                  <a:gd name="connsiteY1182" fmla="*/ 2111 h 10000"/>
                  <a:gd name="connsiteX1183" fmla="*/ 5364 w 10785"/>
                  <a:gd name="connsiteY1183" fmla="*/ 2111 h 10000"/>
                  <a:gd name="connsiteX1184" fmla="*/ 5359 w 10785"/>
                  <a:gd name="connsiteY1184" fmla="*/ 2103 h 10000"/>
                  <a:gd name="connsiteX1185" fmla="*/ 5359 w 10785"/>
                  <a:gd name="connsiteY1185" fmla="*/ 2120 h 10000"/>
                  <a:gd name="connsiteX1186" fmla="*/ 5359 w 10785"/>
                  <a:gd name="connsiteY1186" fmla="*/ 2137 h 10000"/>
                  <a:gd name="connsiteX1187" fmla="*/ 5313 w 10785"/>
                  <a:gd name="connsiteY1187" fmla="*/ 2162 h 10000"/>
                  <a:gd name="connsiteX1188" fmla="*/ 5300 w 10785"/>
                  <a:gd name="connsiteY1188" fmla="*/ 2162 h 10000"/>
                  <a:gd name="connsiteX1189" fmla="*/ 5300 w 10785"/>
                  <a:gd name="connsiteY1189" fmla="*/ 2171 h 10000"/>
                  <a:gd name="connsiteX1190" fmla="*/ 5300 w 10785"/>
                  <a:gd name="connsiteY1190" fmla="*/ 2197 h 10000"/>
                  <a:gd name="connsiteX1191" fmla="*/ 5276 w 10785"/>
                  <a:gd name="connsiteY1191" fmla="*/ 2188 h 10000"/>
                  <a:gd name="connsiteX1192" fmla="*/ 5249 w 10785"/>
                  <a:gd name="connsiteY1192" fmla="*/ 2222 h 10000"/>
                  <a:gd name="connsiteX1193" fmla="*/ 5249 w 10785"/>
                  <a:gd name="connsiteY1193" fmla="*/ 2222 h 10000"/>
                  <a:gd name="connsiteX1194" fmla="*/ 5217 w 10785"/>
                  <a:gd name="connsiteY1194" fmla="*/ 2214 h 10000"/>
                  <a:gd name="connsiteX1195" fmla="*/ 5203 w 10785"/>
                  <a:gd name="connsiteY1195" fmla="*/ 2239 h 10000"/>
                  <a:gd name="connsiteX1196" fmla="*/ 5171 w 10785"/>
                  <a:gd name="connsiteY1196" fmla="*/ 2214 h 10000"/>
                  <a:gd name="connsiteX1197" fmla="*/ 5157 w 10785"/>
                  <a:gd name="connsiteY1197" fmla="*/ 2239 h 10000"/>
                  <a:gd name="connsiteX1198" fmla="*/ 5166 w 10785"/>
                  <a:gd name="connsiteY1198" fmla="*/ 2256 h 10000"/>
                  <a:gd name="connsiteX1199" fmla="*/ 5171 w 10785"/>
                  <a:gd name="connsiteY1199" fmla="*/ 2308 h 10000"/>
                  <a:gd name="connsiteX1200" fmla="*/ 5212 w 10785"/>
                  <a:gd name="connsiteY1200" fmla="*/ 2350 h 10000"/>
                  <a:gd name="connsiteX1201" fmla="*/ 5203 w 10785"/>
                  <a:gd name="connsiteY1201" fmla="*/ 2350 h 10000"/>
                  <a:gd name="connsiteX1202" fmla="*/ 5166 w 10785"/>
                  <a:gd name="connsiteY1202" fmla="*/ 2325 h 10000"/>
                  <a:gd name="connsiteX1203" fmla="*/ 5152 w 10785"/>
                  <a:gd name="connsiteY1203" fmla="*/ 2308 h 10000"/>
                  <a:gd name="connsiteX1204" fmla="*/ 5143 w 10785"/>
                  <a:gd name="connsiteY1204" fmla="*/ 2333 h 10000"/>
                  <a:gd name="connsiteX1205" fmla="*/ 5138 w 10785"/>
                  <a:gd name="connsiteY1205" fmla="*/ 2333 h 10000"/>
                  <a:gd name="connsiteX1206" fmla="*/ 5124 w 10785"/>
                  <a:gd name="connsiteY1206" fmla="*/ 2376 h 10000"/>
                  <a:gd name="connsiteX1207" fmla="*/ 5115 w 10785"/>
                  <a:gd name="connsiteY1207" fmla="*/ 2385 h 10000"/>
                  <a:gd name="connsiteX1208" fmla="*/ 5106 w 10785"/>
                  <a:gd name="connsiteY1208" fmla="*/ 2385 h 10000"/>
                  <a:gd name="connsiteX1209" fmla="*/ 5055 w 10785"/>
                  <a:gd name="connsiteY1209" fmla="*/ 2470 h 10000"/>
                  <a:gd name="connsiteX1210" fmla="*/ 5065 w 10785"/>
                  <a:gd name="connsiteY1210" fmla="*/ 2462 h 10000"/>
                  <a:gd name="connsiteX1211" fmla="*/ 5055 w 10785"/>
                  <a:gd name="connsiteY1211" fmla="*/ 2444 h 10000"/>
                  <a:gd name="connsiteX1212" fmla="*/ 5041 w 10785"/>
                  <a:gd name="connsiteY1212" fmla="*/ 2462 h 10000"/>
                  <a:gd name="connsiteX1213" fmla="*/ 5037 w 10785"/>
                  <a:gd name="connsiteY1213" fmla="*/ 2470 h 10000"/>
                  <a:gd name="connsiteX1214" fmla="*/ 5032 w 10785"/>
                  <a:gd name="connsiteY1214" fmla="*/ 2470 h 10000"/>
                  <a:gd name="connsiteX1215" fmla="*/ 5032 w 10785"/>
                  <a:gd name="connsiteY1215" fmla="*/ 2444 h 10000"/>
                  <a:gd name="connsiteX1216" fmla="*/ 5055 w 10785"/>
                  <a:gd name="connsiteY1216" fmla="*/ 2410 h 10000"/>
                  <a:gd name="connsiteX1217" fmla="*/ 5065 w 10785"/>
                  <a:gd name="connsiteY1217" fmla="*/ 2393 h 10000"/>
                  <a:gd name="connsiteX1218" fmla="*/ 5069 w 10785"/>
                  <a:gd name="connsiteY1218" fmla="*/ 2385 h 10000"/>
                  <a:gd name="connsiteX1219" fmla="*/ 5083 w 10785"/>
                  <a:gd name="connsiteY1219" fmla="*/ 2376 h 10000"/>
                  <a:gd name="connsiteX1220" fmla="*/ 5097 w 10785"/>
                  <a:gd name="connsiteY1220" fmla="*/ 2376 h 10000"/>
                  <a:gd name="connsiteX1221" fmla="*/ 5124 w 10785"/>
                  <a:gd name="connsiteY1221" fmla="*/ 2325 h 10000"/>
                  <a:gd name="connsiteX1222" fmla="*/ 5143 w 10785"/>
                  <a:gd name="connsiteY1222" fmla="*/ 2248 h 10000"/>
                  <a:gd name="connsiteX1223" fmla="*/ 5152 w 10785"/>
                  <a:gd name="connsiteY1223" fmla="*/ 2239 h 10000"/>
                  <a:gd name="connsiteX1224" fmla="*/ 5166 w 10785"/>
                  <a:gd name="connsiteY1224" fmla="*/ 2162 h 10000"/>
                  <a:gd name="connsiteX1225" fmla="*/ 5171 w 10785"/>
                  <a:gd name="connsiteY1225" fmla="*/ 2171 h 10000"/>
                  <a:gd name="connsiteX1226" fmla="*/ 5198 w 10785"/>
                  <a:gd name="connsiteY1226" fmla="*/ 2145 h 10000"/>
                  <a:gd name="connsiteX1227" fmla="*/ 5203 w 10785"/>
                  <a:gd name="connsiteY1227" fmla="*/ 2111 h 10000"/>
                  <a:gd name="connsiteX1228" fmla="*/ 5217 w 10785"/>
                  <a:gd name="connsiteY1228" fmla="*/ 2060 h 10000"/>
                  <a:gd name="connsiteX1229" fmla="*/ 5226 w 10785"/>
                  <a:gd name="connsiteY1229" fmla="*/ 2026 h 10000"/>
                  <a:gd name="connsiteX1230" fmla="*/ 5286 w 10785"/>
                  <a:gd name="connsiteY1230" fmla="*/ 2026 h 10000"/>
                  <a:gd name="connsiteX1231" fmla="*/ 5290 w 10785"/>
                  <a:gd name="connsiteY1231" fmla="*/ 2034 h 10000"/>
                  <a:gd name="connsiteX1232" fmla="*/ 5323 w 10785"/>
                  <a:gd name="connsiteY1232" fmla="*/ 1923 h 10000"/>
                  <a:gd name="connsiteX1233" fmla="*/ 5323 w 10785"/>
                  <a:gd name="connsiteY1233" fmla="*/ 1889 h 10000"/>
                  <a:gd name="connsiteX1234" fmla="*/ 5359 w 10785"/>
                  <a:gd name="connsiteY1234" fmla="*/ 1829 h 10000"/>
                  <a:gd name="connsiteX1235" fmla="*/ 5378 w 10785"/>
                  <a:gd name="connsiteY1235" fmla="*/ 1812 h 10000"/>
                  <a:gd name="connsiteX1236" fmla="*/ 5406 w 10785"/>
                  <a:gd name="connsiteY1236" fmla="*/ 1752 h 10000"/>
                  <a:gd name="connsiteX1237" fmla="*/ 5410 w 10785"/>
                  <a:gd name="connsiteY1237" fmla="*/ 1718 h 10000"/>
                  <a:gd name="connsiteX1238" fmla="*/ 5438 w 10785"/>
                  <a:gd name="connsiteY1238" fmla="*/ 1667 h 10000"/>
                  <a:gd name="connsiteX1239" fmla="*/ 5438 w 10785"/>
                  <a:gd name="connsiteY1239" fmla="*/ 1650 h 10000"/>
                  <a:gd name="connsiteX1240" fmla="*/ 5438 w 10785"/>
                  <a:gd name="connsiteY1240" fmla="*/ 1641 h 10000"/>
                  <a:gd name="connsiteX1241" fmla="*/ 5452 w 10785"/>
                  <a:gd name="connsiteY1241" fmla="*/ 1641 h 10000"/>
                  <a:gd name="connsiteX1242" fmla="*/ 5456 w 10785"/>
                  <a:gd name="connsiteY1242" fmla="*/ 1615 h 10000"/>
                  <a:gd name="connsiteX1243" fmla="*/ 5456 w 10785"/>
                  <a:gd name="connsiteY1243" fmla="*/ 1615 h 10000"/>
                  <a:gd name="connsiteX1244" fmla="*/ 5465 w 10785"/>
                  <a:gd name="connsiteY1244" fmla="*/ 1598 h 10000"/>
                  <a:gd name="connsiteX1245" fmla="*/ 5465 w 10785"/>
                  <a:gd name="connsiteY1245" fmla="*/ 1615 h 10000"/>
                  <a:gd name="connsiteX1246" fmla="*/ 5479 w 10785"/>
                  <a:gd name="connsiteY1246" fmla="*/ 1598 h 10000"/>
                  <a:gd name="connsiteX1247" fmla="*/ 5484 w 10785"/>
                  <a:gd name="connsiteY1247" fmla="*/ 1581 h 10000"/>
                  <a:gd name="connsiteX1248" fmla="*/ 5493 w 10785"/>
                  <a:gd name="connsiteY1248" fmla="*/ 1581 h 10000"/>
                  <a:gd name="connsiteX1249" fmla="*/ 5512 w 10785"/>
                  <a:gd name="connsiteY1249" fmla="*/ 1538 h 10000"/>
                  <a:gd name="connsiteX1250" fmla="*/ 5530 w 10785"/>
                  <a:gd name="connsiteY1250" fmla="*/ 1564 h 10000"/>
                  <a:gd name="connsiteX1251" fmla="*/ 5530 w 10785"/>
                  <a:gd name="connsiteY1251" fmla="*/ 1538 h 10000"/>
                  <a:gd name="connsiteX1252" fmla="*/ 5539 w 10785"/>
                  <a:gd name="connsiteY1252" fmla="*/ 1530 h 10000"/>
                  <a:gd name="connsiteX1253" fmla="*/ 5530 w 10785"/>
                  <a:gd name="connsiteY1253" fmla="*/ 1504 h 10000"/>
                  <a:gd name="connsiteX1254" fmla="*/ 5567 w 10785"/>
                  <a:gd name="connsiteY1254" fmla="*/ 1479 h 10000"/>
                  <a:gd name="connsiteX1255" fmla="*/ 5553 w 10785"/>
                  <a:gd name="connsiteY1255" fmla="*/ 1479 h 10000"/>
                  <a:gd name="connsiteX1256" fmla="*/ 5553 w 10785"/>
                  <a:gd name="connsiteY1256" fmla="*/ 1453 h 10000"/>
                  <a:gd name="connsiteX1257" fmla="*/ 5581 w 10785"/>
                  <a:gd name="connsiteY1257" fmla="*/ 1444 h 10000"/>
                  <a:gd name="connsiteX1258" fmla="*/ 5581 w 10785"/>
                  <a:gd name="connsiteY1258" fmla="*/ 1453 h 10000"/>
                  <a:gd name="connsiteX1259" fmla="*/ 5585 w 10785"/>
                  <a:gd name="connsiteY1259" fmla="*/ 1444 h 10000"/>
                  <a:gd name="connsiteX1260" fmla="*/ 5594 w 10785"/>
                  <a:gd name="connsiteY1260" fmla="*/ 1427 h 10000"/>
                  <a:gd name="connsiteX1261" fmla="*/ 5599 w 10785"/>
                  <a:gd name="connsiteY1261" fmla="*/ 1419 h 10000"/>
                  <a:gd name="connsiteX1262" fmla="*/ 5594 w 10785"/>
                  <a:gd name="connsiteY1262" fmla="*/ 1402 h 10000"/>
                  <a:gd name="connsiteX1263" fmla="*/ 5604 w 10785"/>
                  <a:gd name="connsiteY1263" fmla="*/ 1393 h 10000"/>
                  <a:gd name="connsiteX1264" fmla="*/ 5618 w 10785"/>
                  <a:gd name="connsiteY1264" fmla="*/ 1393 h 10000"/>
                  <a:gd name="connsiteX1265" fmla="*/ 5627 w 10785"/>
                  <a:gd name="connsiteY1265" fmla="*/ 1368 h 10000"/>
                  <a:gd name="connsiteX1266" fmla="*/ 5627 w 10785"/>
                  <a:gd name="connsiteY1266" fmla="*/ 1325 h 10000"/>
                  <a:gd name="connsiteX1267" fmla="*/ 5645 w 10785"/>
                  <a:gd name="connsiteY1267" fmla="*/ 1291 h 10000"/>
                  <a:gd name="connsiteX1268" fmla="*/ 5645 w 10785"/>
                  <a:gd name="connsiteY1268" fmla="*/ 1282 h 10000"/>
                  <a:gd name="connsiteX1269" fmla="*/ 5654 w 10785"/>
                  <a:gd name="connsiteY1269" fmla="*/ 1265 h 10000"/>
                  <a:gd name="connsiteX1270" fmla="*/ 5654 w 10785"/>
                  <a:gd name="connsiteY1270" fmla="*/ 1214 h 10000"/>
                  <a:gd name="connsiteX1271" fmla="*/ 5654 w 10785"/>
                  <a:gd name="connsiteY1271" fmla="*/ 1214 h 10000"/>
                  <a:gd name="connsiteX1272" fmla="*/ 5645 w 10785"/>
                  <a:gd name="connsiteY1272" fmla="*/ 1197 h 10000"/>
                  <a:gd name="connsiteX1273" fmla="*/ 5659 w 10785"/>
                  <a:gd name="connsiteY1273" fmla="*/ 1197 h 10000"/>
                  <a:gd name="connsiteX1274" fmla="*/ 5654 w 10785"/>
                  <a:gd name="connsiteY1274" fmla="*/ 1154 h 10000"/>
                  <a:gd name="connsiteX1275" fmla="*/ 5641 w 10785"/>
                  <a:gd name="connsiteY1275" fmla="*/ 1154 h 10000"/>
                  <a:gd name="connsiteX1276" fmla="*/ 5627 w 10785"/>
                  <a:gd name="connsiteY1276" fmla="*/ 1128 h 10000"/>
                  <a:gd name="connsiteX1277" fmla="*/ 5618 w 10785"/>
                  <a:gd name="connsiteY1277" fmla="*/ 1094 h 10000"/>
                  <a:gd name="connsiteX1278" fmla="*/ 5613 w 10785"/>
                  <a:gd name="connsiteY1278" fmla="*/ 1094 h 10000"/>
                  <a:gd name="connsiteX1279" fmla="*/ 5604 w 10785"/>
                  <a:gd name="connsiteY1279" fmla="*/ 1120 h 10000"/>
                  <a:gd name="connsiteX1280" fmla="*/ 5604 w 10785"/>
                  <a:gd name="connsiteY1280" fmla="*/ 1128 h 10000"/>
                  <a:gd name="connsiteX1281" fmla="*/ 5599 w 10785"/>
                  <a:gd name="connsiteY1281" fmla="*/ 1103 h 10000"/>
                  <a:gd name="connsiteX1282" fmla="*/ 5599 w 10785"/>
                  <a:gd name="connsiteY1282" fmla="*/ 1103 h 10000"/>
                  <a:gd name="connsiteX1283" fmla="*/ 5594 w 10785"/>
                  <a:gd name="connsiteY1283" fmla="*/ 1068 h 10000"/>
                  <a:gd name="connsiteX1284" fmla="*/ 5594 w 10785"/>
                  <a:gd name="connsiteY1284" fmla="*/ 1060 h 10000"/>
                  <a:gd name="connsiteX1285" fmla="*/ 5581 w 10785"/>
                  <a:gd name="connsiteY1285" fmla="*/ 1034 h 10000"/>
                  <a:gd name="connsiteX1286" fmla="*/ 5571 w 10785"/>
                  <a:gd name="connsiteY1286" fmla="*/ 1009 h 10000"/>
                  <a:gd name="connsiteX1287" fmla="*/ 5571 w 10785"/>
                  <a:gd name="connsiteY1287" fmla="*/ 991 h 10000"/>
                  <a:gd name="connsiteX1288" fmla="*/ 5585 w 10785"/>
                  <a:gd name="connsiteY1288" fmla="*/ 1009 h 10000"/>
                  <a:gd name="connsiteX1289" fmla="*/ 5604 w 10785"/>
                  <a:gd name="connsiteY1289" fmla="*/ 1043 h 10000"/>
                  <a:gd name="connsiteX1290" fmla="*/ 5641 w 10785"/>
                  <a:gd name="connsiteY1290" fmla="*/ 1094 h 10000"/>
                  <a:gd name="connsiteX1291" fmla="*/ 5631 w 10785"/>
                  <a:gd name="connsiteY1291" fmla="*/ 1128 h 10000"/>
                  <a:gd name="connsiteX1292" fmla="*/ 5641 w 10785"/>
                  <a:gd name="connsiteY1292" fmla="*/ 1128 h 10000"/>
                  <a:gd name="connsiteX1293" fmla="*/ 5659 w 10785"/>
                  <a:gd name="connsiteY1293" fmla="*/ 1017 h 10000"/>
                  <a:gd name="connsiteX1294" fmla="*/ 5659 w 10785"/>
                  <a:gd name="connsiteY1294" fmla="*/ 983 h 10000"/>
                  <a:gd name="connsiteX1295" fmla="*/ 5659 w 10785"/>
                  <a:gd name="connsiteY1295" fmla="*/ 957 h 10000"/>
                  <a:gd name="connsiteX1296" fmla="*/ 5654 w 10785"/>
                  <a:gd name="connsiteY1296" fmla="*/ 966 h 10000"/>
                  <a:gd name="connsiteX1297" fmla="*/ 5641 w 10785"/>
                  <a:gd name="connsiteY1297" fmla="*/ 957 h 10000"/>
                  <a:gd name="connsiteX1298" fmla="*/ 5631 w 10785"/>
                  <a:gd name="connsiteY1298" fmla="*/ 897 h 10000"/>
                  <a:gd name="connsiteX1299" fmla="*/ 5641 w 10785"/>
                  <a:gd name="connsiteY1299" fmla="*/ 872 h 10000"/>
                  <a:gd name="connsiteX1300" fmla="*/ 5618 w 10785"/>
                  <a:gd name="connsiteY1300" fmla="*/ 803 h 10000"/>
                  <a:gd name="connsiteX1301" fmla="*/ 5604 w 10785"/>
                  <a:gd name="connsiteY1301" fmla="*/ 821 h 10000"/>
                  <a:gd name="connsiteX1302" fmla="*/ 5613 w 10785"/>
                  <a:gd name="connsiteY1302" fmla="*/ 846 h 10000"/>
                  <a:gd name="connsiteX1303" fmla="*/ 5604 w 10785"/>
                  <a:gd name="connsiteY1303" fmla="*/ 855 h 10000"/>
                  <a:gd name="connsiteX1304" fmla="*/ 5599 w 10785"/>
                  <a:gd name="connsiteY1304" fmla="*/ 880 h 10000"/>
                  <a:gd name="connsiteX1305" fmla="*/ 5594 w 10785"/>
                  <a:gd name="connsiteY1305" fmla="*/ 880 h 10000"/>
                  <a:gd name="connsiteX1306" fmla="*/ 5585 w 10785"/>
                  <a:gd name="connsiteY1306" fmla="*/ 829 h 10000"/>
                  <a:gd name="connsiteX1307" fmla="*/ 5571 w 10785"/>
                  <a:gd name="connsiteY1307" fmla="*/ 803 h 10000"/>
                  <a:gd name="connsiteX1308" fmla="*/ 5585 w 10785"/>
                  <a:gd name="connsiteY1308" fmla="*/ 795 h 10000"/>
                  <a:gd name="connsiteX1309" fmla="*/ 5585 w 10785"/>
                  <a:gd name="connsiteY1309" fmla="*/ 761 h 10000"/>
                  <a:gd name="connsiteX1310" fmla="*/ 5558 w 10785"/>
                  <a:gd name="connsiteY1310" fmla="*/ 709 h 10000"/>
                  <a:gd name="connsiteX1311" fmla="*/ 5544 w 10785"/>
                  <a:gd name="connsiteY1311" fmla="*/ 709 h 10000"/>
                  <a:gd name="connsiteX1312" fmla="*/ 5544 w 10785"/>
                  <a:gd name="connsiteY1312" fmla="*/ 684 h 10000"/>
                  <a:gd name="connsiteX1313" fmla="*/ 5525 w 10785"/>
                  <a:gd name="connsiteY1313" fmla="*/ 632 h 10000"/>
                  <a:gd name="connsiteX1314" fmla="*/ 5507 w 10785"/>
                  <a:gd name="connsiteY1314" fmla="*/ 607 h 10000"/>
                  <a:gd name="connsiteX1315" fmla="*/ 5512 w 10785"/>
                  <a:gd name="connsiteY1315" fmla="*/ 598 h 10000"/>
                  <a:gd name="connsiteX1316" fmla="*/ 5507 w 10785"/>
                  <a:gd name="connsiteY1316" fmla="*/ 581 h 10000"/>
                  <a:gd name="connsiteX1317" fmla="*/ 5493 w 10785"/>
                  <a:gd name="connsiteY1317" fmla="*/ 573 h 10000"/>
                  <a:gd name="connsiteX1318" fmla="*/ 5484 w 10785"/>
                  <a:gd name="connsiteY1318" fmla="*/ 581 h 10000"/>
                  <a:gd name="connsiteX1319" fmla="*/ 5484 w 10785"/>
                  <a:gd name="connsiteY1319" fmla="*/ 573 h 10000"/>
                  <a:gd name="connsiteX1320" fmla="*/ 5484 w 10785"/>
                  <a:gd name="connsiteY1320" fmla="*/ 547 h 10000"/>
                  <a:gd name="connsiteX1321" fmla="*/ 5465 w 10785"/>
                  <a:gd name="connsiteY1321" fmla="*/ 556 h 10000"/>
                  <a:gd name="connsiteX1322" fmla="*/ 5433 w 10785"/>
                  <a:gd name="connsiteY1322" fmla="*/ 547 h 10000"/>
                  <a:gd name="connsiteX1323" fmla="*/ 5410 w 10785"/>
                  <a:gd name="connsiteY1323" fmla="*/ 573 h 10000"/>
                  <a:gd name="connsiteX1324" fmla="*/ 5406 w 10785"/>
                  <a:gd name="connsiteY1324" fmla="*/ 573 h 10000"/>
                  <a:gd name="connsiteX1325" fmla="*/ 5392 w 10785"/>
                  <a:gd name="connsiteY1325" fmla="*/ 573 h 10000"/>
                  <a:gd name="connsiteX1326" fmla="*/ 5364 w 10785"/>
                  <a:gd name="connsiteY1326" fmla="*/ 530 h 10000"/>
                  <a:gd name="connsiteX1327" fmla="*/ 5350 w 10785"/>
                  <a:gd name="connsiteY1327" fmla="*/ 556 h 10000"/>
                  <a:gd name="connsiteX1328" fmla="*/ 5346 w 10785"/>
                  <a:gd name="connsiteY1328" fmla="*/ 556 h 10000"/>
                  <a:gd name="connsiteX1329" fmla="*/ 5313 w 10785"/>
                  <a:gd name="connsiteY1329" fmla="*/ 573 h 10000"/>
                  <a:gd name="connsiteX1330" fmla="*/ 5304 w 10785"/>
                  <a:gd name="connsiteY1330" fmla="*/ 556 h 10000"/>
                  <a:gd name="connsiteX1331" fmla="*/ 5290 w 10785"/>
                  <a:gd name="connsiteY1331" fmla="*/ 573 h 10000"/>
                  <a:gd name="connsiteX1332" fmla="*/ 5290 w 10785"/>
                  <a:gd name="connsiteY1332" fmla="*/ 556 h 10000"/>
                  <a:gd name="connsiteX1333" fmla="*/ 5300 w 10785"/>
                  <a:gd name="connsiteY1333" fmla="*/ 547 h 10000"/>
                  <a:gd name="connsiteX1334" fmla="*/ 5300 w 10785"/>
                  <a:gd name="connsiteY1334" fmla="*/ 530 h 10000"/>
                  <a:gd name="connsiteX1335" fmla="*/ 5290 w 10785"/>
                  <a:gd name="connsiteY1335" fmla="*/ 530 h 10000"/>
                  <a:gd name="connsiteX1336" fmla="*/ 5286 w 10785"/>
                  <a:gd name="connsiteY1336" fmla="*/ 547 h 10000"/>
                  <a:gd name="connsiteX1337" fmla="*/ 5272 w 10785"/>
                  <a:gd name="connsiteY1337" fmla="*/ 556 h 10000"/>
                  <a:gd name="connsiteX1338" fmla="*/ 5272 w 10785"/>
                  <a:gd name="connsiteY1338" fmla="*/ 598 h 10000"/>
                  <a:gd name="connsiteX1339" fmla="*/ 5276 w 10785"/>
                  <a:gd name="connsiteY1339" fmla="*/ 581 h 10000"/>
                  <a:gd name="connsiteX1340" fmla="*/ 5272 w 10785"/>
                  <a:gd name="connsiteY1340" fmla="*/ 607 h 10000"/>
                  <a:gd name="connsiteX1341" fmla="*/ 5263 w 10785"/>
                  <a:gd name="connsiteY1341" fmla="*/ 607 h 10000"/>
                  <a:gd name="connsiteX1342" fmla="*/ 5263 w 10785"/>
                  <a:gd name="connsiteY1342" fmla="*/ 632 h 10000"/>
                  <a:gd name="connsiteX1343" fmla="*/ 5258 w 10785"/>
                  <a:gd name="connsiteY1343" fmla="*/ 658 h 10000"/>
                  <a:gd name="connsiteX1344" fmla="*/ 5244 w 10785"/>
                  <a:gd name="connsiteY1344" fmla="*/ 667 h 10000"/>
                  <a:gd name="connsiteX1345" fmla="*/ 5240 w 10785"/>
                  <a:gd name="connsiteY1345" fmla="*/ 658 h 10000"/>
                  <a:gd name="connsiteX1346" fmla="*/ 5240 w 10785"/>
                  <a:gd name="connsiteY1346" fmla="*/ 684 h 10000"/>
                  <a:gd name="connsiteX1347" fmla="*/ 5212 w 10785"/>
                  <a:gd name="connsiteY1347" fmla="*/ 684 h 10000"/>
                  <a:gd name="connsiteX1348" fmla="*/ 5198 w 10785"/>
                  <a:gd name="connsiteY1348" fmla="*/ 692 h 10000"/>
                  <a:gd name="connsiteX1349" fmla="*/ 5184 w 10785"/>
                  <a:gd name="connsiteY1349" fmla="*/ 684 h 10000"/>
                  <a:gd name="connsiteX1350" fmla="*/ 5157 w 10785"/>
                  <a:gd name="connsiteY1350" fmla="*/ 684 h 10000"/>
                  <a:gd name="connsiteX1351" fmla="*/ 5157 w 10785"/>
                  <a:gd name="connsiteY1351" fmla="*/ 667 h 10000"/>
                  <a:gd name="connsiteX1352" fmla="*/ 5157 w 10785"/>
                  <a:gd name="connsiteY1352" fmla="*/ 667 h 10000"/>
                  <a:gd name="connsiteX1353" fmla="*/ 5180 w 10785"/>
                  <a:gd name="connsiteY1353" fmla="*/ 650 h 10000"/>
                  <a:gd name="connsiteX1354" fmla="*/ 5184 w 10785"/>
                  <a:gd name="connsiteY1354" fmla="*/ 658 h 10000"/>
                  <a:gd name="connsiteX1355" fmla="*/ 5203 w 10785"/>
                  <a:gd name="connsiteY1355" fmla="*/ 547 h 10000"/>
                  <a:gd name="connsiteX1356" fmla="*/ 5226 w 10785"/>
                  <a:gd name="connsiteY1356" fmla="*/ 530 h 10000"/>
                  <a:gd name="connsiteX1357" fmla="*/ 5230 w 10785"/>
                  <a:gd name="connsiteY1357" fmla="*/ 487 h 10000"/>
                  <a:gd name="connsiteX1358" fmla="*/ 5230 w 10785"/>
                  <a:gd name="connsiteY1358" fmla="*/ 487 h 10000"/>
                  <a:gd name="connsiteX1359" fmla="*/ 5226 w 10785"/>
                  <a:gd name="connsiteY1359" fmla="*/ 462 h 10000"/>
                  <a:gd name="connsiteX1360" fmla="*/ 5226 w 10785"/>
                  <a:gd name="connsiteY1360" fmla="*/ 462 h 10000"/>
                  <a:gd name="connsiteX1361" fmla="*/ 5240 w 10785"/>
                  <a:gd name="connsiteY1361" fmla="*/ 462 h 10000"/>
                  <a:gd name="connsiteX1362" fmla="*/ 5240 w 10785"/>
                  <a:gd name="connsiteY1362" fmla="*/ 444 h 10000"/>
                  <a:gd name="connsiteX1363" fmla="*/ 5230 w 10785"/>
                  <a:gd name="connsiteY1363" fmla="*/ 436 h 10000"/>
                  <a:gd name="connsiteX1364" fmla="*/ 5230 w 10785"/>
                  <a:gd name="connsiteY1364" fmla="*/ 419 h 10000"/>
                  <a:gd name="connsiteX1365" fmla="*/ 5230 w 10785"/>
                  <a:gd name="connsiteY1365" fmla="*/ 410 h 10000"/>
                  <a:gd name="connsiteX1366" fmla="*/ 5198 w 10785"/>
                  <a:gd name="connsiteY1366" fmla="*/ 402 h 10000"/>
                  <a:gd name="connsiteX1367" fmla="*/ 5189 w 10785"/>
                  <a:gd name="connsiteY1367" fmla="*/ 402 h 10000"/>
                  <a:gd name="connsiteX1368" fmla="*/ 5184 w 10785"/>
                  <a:gd name="connsiteY1368" fmla="*/ 376 h 10000"/>
                  <a:gd name="connsiteX1369" fmla="*/ 5180 w 10785"/>
                  <a:gd name="connsiteY1369" fmla="*/ 376 h 10000"/>
                  <a:gd name="connsiteX1370" fmla="*/ 5166 w 10785"/>
                  <a:gd name="connsiteY1370" fmla="*/ 376 h 10000"/>
                  <a:gd name="connsiteX1371" fmla="*/ 5157 w 10785"/>
                  <a:gd name="connsiteY1371" fmla="*/ 385 h 10000"/>
                  <a:gd name="connsiteX1372" fmla="*/ 5152 w 10785"/>
                  <a:gd name="connsiteY1372" fmla="*/ 376 h 10000"/>
                  <a:gd name="connsiteX1373" fmla="*/ 5129 w 10785"/>
                  <a:gd name="connsiteY1373" fmla="*/ 385 h 10000"/>
                  <a:gd name="connsiteX1374" fmla="*/ 5129 w 10785"/>
                  <a:gd name="connsiteY1374" fmla="*/ 350 h 10000"/>
                  <a:gd name="connsiteX1375" fmla="*/ 5129 w 10785"/>
                  <a:gd name="connsiteY1375" fmla="*/ 325 h 10000"/>
                  <a:gd name="connsiteX1376" fmla="*/ 5124 w 10785"/>
                  <a:gd name="connsiteY1376" fmla="*/ 359 h 10000"/>
                  <a:gd name="connsiteX1377" fmla="*/ 5106 w 10785"/>
                  <a:gd name="connsiteY1377" fmla="*/ 359 h 10000"/>
                  <a:gd name="connsiteX1378" fmla="*/ 5037 w 10785"/>
                  <a:gd name="connsiteY1378" fmla="*/ 419 h 10000"/>
                  <a:gd name="connsiteX1379" fmla="*/ 5051 w 10785"/>
                  <a:gd name="connsiteY1379" fmla="*/ 385 h 10000"/>
                  <a:gd name="connsiteX1380" fmla="*/ 5055 w 10785"/>
                  <a:gd name="connsiteY1380" fmla="*/ 376 h 10000"/>
                  <a:gd name="connsiteX1381" fmla="*/ 5092 w 10785"/>
                  <a:gd name="connsiteY1381" fmla="*/ 282 h 10000"/>
                  <a:gd name="connsiteX1382" fmla="*/ 5106 w 10785"/>
                  <a:gd name="connsiteY1382" fmla="*/ 265 h 10000"/>
                  <a:gd name="connsiteX1383" fmla="*/ 5115 w 10785"/>
                  <a:gd name="connsiteY1383" fmla="*/ 265 h 10000"/>
                  <a:gd name="connsiteX1384" fmla="*/ 5124 w 10785"/>
                  <a:gd name="connsiteY1384" fmla="*/ 222 h 10000"/>
                  <a:gd name="connsiteX1385" fmla="*/ 5124 w 10785"/>
                  <a:gd name="connsiteY1385" fmla="*/ 214 h 10000"/>
                  <a:gd name="connsiteX1386" fmla="*/ 5143 w 10785"/>
                  <a:gd name="connsiteY1386" fmla="*/ 197 h 10000"/>
                  <a:gd name="connsiteX1387" fmla="*/ 5152 w 10785"/>
                  <a:gd name="connsiteY1387" fmla="*/ 214 h 10000"/>
                  <a:gd name="connsiteX1388" fmla="*/ 5143 w 10785"/>
                  <a:gd name="connsiteY1388" fmla="*/ 188 h 10000"/>
                  <a:gd name="connsiteX1389" fmla="*/ 5129 w 10785"/>
                  <a:gd name="connsiteY1389" fmla="*/ 103 h 10000"/>
                  <a:gd name="connsiteX1390" fmla="*/ 5115 w 10785"/>
                  <a:gd name="connsiteY1390" fmla="*/ 85 h 10000"/>
                  <a:gd name="connsiteX1391" fmla="*/ 5111 w 10785"/>
                  <a:gd name="connsiteY1391" fmla="*/ 111 h 10000"/>
                  <a:gd name="connsiteX1392" fmla="*/ 5092 w 10785"/>
                  <a:gd name="connsiteY1392" fmla="*/ 103 h 10000"/>
                  <a:gd name="connsiteX1393" fmla="*/ 5069 w 10785"/>
                  <a:gd name="connsiteY1393" fmla="*/ 77 h 10000"/>
                  <a:gd name="connsiteX1394" fmla="*/ 5051 w 10785"/>
                  <a:gd name="connsiteY1394" fmla="*/ 26 h 10000"/>
                  <a:gd name="connsiteX1395" fmla="*/ 5041 w 10785"/>
                  <a:gd name="connsiteY1395" fmla="*/ 34 h 10000"/>
                  <a:gd name="connsiteX1396" fmla="*/ 5037 w 10785"/>
                  <a:gd name="connsiteY1396" fmla="*/ 34 h 10000"/>
                  <a:gd name="connsiteX1397" fmla="*/ 5037 w 10785"/>
                  <a:gd name="connsiteY1397" fmla="*/ 26 h 10000"/>
                  <a:gd name="connsiteX1398" fmla="*/ 5037 w 10785"/>
                  <a:gd name="connsiteY1398" fmla="*/ 9 h 10000"/>
                  <a:gd name="connsiteX1399" fmla="*/ 5023 w 10785"/>
                  <a:gd name="connsiteY1399" fmla="*/ 0 h 10000"/>
                  <a:gd name="connsiteX1400" fmla="*/ 5009 w 10785"/>
                  <a:gd name="connsiteY1400" fmla="*/ 9 h 10000"/>
                  <a:gd name="connsiteX1401" fmla="*/ 4995 w 10785"/>
                  <a:gd name="connsiteY1401" fmla="*/ 34 h 10000"/>
                  <a:gd name="connsiteX1402" fmla="*/ 4991 w 10785"/>
                  <a:gd name="connsiteY1402" fmla="*/ 60 h 10000"/>
                  <a:gd name="connsiteX1403" fmla="*/ 4982 w 10785"/>
                  <a:gd name="connsiteY1403" fmla="*/ 60 h 10000"/>
                  <a:gd name="connsiteX1404" fmla="*/ 4949 w 10785"/>
                  <a:gd name="connsiteY1404" fmla="*/ 51 h 10000"/>
                  <a:gd name="connsiteX1405" fmla="*/ 4949 w 10785"/>
                  <a:gd name="connsiteY1405" fmla="*/ 85 h 10000"/>
                  <a:gd name="connsiteX1406" fmla="*/ 4903 w 10785"/>
                  <a:gd name="connsiteY1406" fmla="*/ 197 h 10000"/>
                  <a:gd name="connsiteX1407" fmla="*/ 4899 w 10785"/>
                  <a:gd name="connsiteY1407" fmla="*/ 239 h 10000"/>
                  <a:gd name="connsiteX1408" fmla="*/ 4871 w 10785"/>
                  <a:gd name="connsiteY1408" fmla="*/ 274 h 10000"/>
                  <a:gd name="connsiteX1409" fmla="*/ 4871 w 10785"/>
                  <a:gd name="connsiteY1409" fmla="*/ 282 h 10000"/>
                  <a:gd name="connsiteX1410" fmla="*/ 4834 w 10785"/>
                  <a:gd name="connsiteY1410" fmla="*/ 376 h 10000"/>
                  <a:gd name="connsiteX1411" fmla="*/ 4829 w 10785"/>
                  <a:gd name="connsiteY1411" fmla="*/ 402 h 10000"/>
                  <a:gd name="connsiteX1412" fmla="*/ 4834 w 10785"/>
                  <a:gd name="connsiteY1412" fmla="*/ 410 h 10000"/>
                  <a:gd name="connsiteX1413" fmla="*/ 4829 w 10785"/>
                  <a:gd name="connsiteY1413" fmla="*/ 436 h 10000"/>
                  <a:gd name="connsiteX1414" fmla="*/ 4825 w 10785"/>
                  <a:gd name="connsiteY1414" fmla="*/ 436 h 10000"/>
                  <a:gd name="connsiteX1415" fmla="*/ 4825 w 10785"/>
                  <a:gd name="connsiteY1415" fmla="*/ 444 h 10000"/>
                  <a:gd name="connsiteX1416" fmla="*/ 4811 w 10785"/>
                  <a:gd name="connsiteY1416" fmla="*/ 496 h 10000"/>
                  <a:gd name="connsiteX1417" fmla="*/ 4811 w 10785"/>
                  <a:gd name="connsiteY1417" fmla="*/ 496 h 10000"/>
                  <a:gd name="connsiteX1418" fmla="*/ 4811 w 10785"/>
                  <a:gd name="connsiteY1418" fmla="*/ 521 h 10000"/>
                  <a:gd name="connsiteX1419" fmla="*/ 4816 w 10785"/>
                  <a:gd name="connsiteY1419" fmla="*/ 530 h 10000"/>
                  <a:gd name="connsiteX1420" fmla="*/ 4834 w 10785"/>
                  <a:gd name="connsiteY1420" fmla="*/ 547 h 10000"/>
                  <a:gd name="connsiteX1421" fmla="*/ 4834 w 10785"/>
                  <a:gd name="connsiteY1421" fmla="*/ 581 h 10000"/>
                  <a:gd name="connsiteX1422" fmla="*/ 4843 w 10785"/>
                  <a:gd name="connsiteY1422" fmla="*/ 581 h 10000"/>
                  <a:gd name="connsiteX1423" fmla="*/ 4843 w 10785"/>
                  <a:gd name="connsiteY1423" fmla="*/ 598 h 10000"/>
                  <a:gd name="connsiteX1424" fmla="*/ 4829 w 10785"/>
                  <a:gd name="connsiteY1424" fmla="*/ 598 h 10000"/>
                  <a:gd name="connsiteX1425" fmla="*/ 4829 w 10785"/>
                  <a:gd name="connsiteY1425" fmla="*/ 573 h 10000"/>
                  <a:gd name="connsiteX1426" fmla="*/ 4829 w 10785"/>
                  <a:gd name="connsiteY1426" fmla="*/ 632 h 10000"/>
                  <a:gd name="connsiteX1427" fmla="*/ 4829 w 10785"/>
                  <a:gd name="connsiteY1427" fmla="*/ 632 h 10000"/>
                  <a:gd name="connsiteX1428" fmla="*/ 4829 w 10785"/>
                  <a:gd name="connsiteY1428" fmla="*/ 650 h 10000"/>
                  <a:gd name="connsiteX1429" fmla="*/ 4774 w 10785"/>
                  <a:gd name="connsiteY1429" fmla="*/ 684 h 10000"/>
                  <a:gd name="connsiteX1430" fmla="*/ 4756 w 10785"/>
                  <a:gd name="connsiteY1430" fmla="*/ 684 h 10000"/>
                  <a:gd name="connsiteX1431" fmla="*/ 4737 w 10785"/>
                  <a:gd name="connsiteY1431" fmla="*/ 692 h 10000"/>
                  <a:gd name="connsiteX1432" fmla="*/ 4677 w 10785"/>
                  <a:gd name="connsiteY1432" fmla="*/ 667 h 10000"/>
                  <a:gd name="connsiteX1433" fmla="*/ 4682 w 10785"/>
                  <a:gd name="connsiteY1433" fmla="*/ 692 h 10000"/>
                  <a:gd name="connsiteX1434" fmla="*/ 4682 w 10785"/>
                  <a:gd name="connsiteY1434" fmla="*/ 709 h 10000"/>
                  <a:gd name="connsiteX1435" fmla="*/ 4691 w 10785"/>
                  <a:gd name="connsiteY1435" fmla="*/ 718 h 10000"/>
                  <a:gd name="connsiteX1436" fmla="*/ 4691 w 10785"/>
                  <a:gd name="connsiteY1436" fmla="*/ 744 h 10000"/>
                  <a:gd name="connsiteX1437" fmla="*/ 4700 w 10785"/>
                  <a:gd name="connsiteY1437" fmla="*/ 744 h 10000"/>
                  <a:gd name="connsiteX1438" fmla="*/ 4714 w 10785"/>
                  <a:gd name="connsiteY1438" fmla="*/ 769 h 10000"/>
                  <a:gd name="connsiteX1439" fmla="*/ 4710 w 10785"/>
                  <a:gd name="connsiteY1439" fmla="*/ 786 h 10000"/>
                  <a:gd name="connsiteX1440" fmla="*/ 4737 w 10785"/>
                  <a:gd name="connsiteY1440" fmla="*/ 786 h 10000"/>
                  <a:gd name="connsiteX1441" fmla="*/ 4742 w 10785"/>
                  <a:gd name="connsiteY1441" fmla="*/ 795 h 10000"/>
                  <a:gd name="connsiteX1442" fmla="*/ 4742 w 10785"/>
                  <a:gd name="connsiteY1442" fmla="*/ 803 h 10000"/>
                  <a:gd name="connsiteX1443" fmla="*/ 4737 w 10785"/>
                  <a:gd name="connsiteY1443" fmla="*/ 846 h 10000"/>
                  <a:gd name="connsiteX1444" fmla="*/ 4737 w 10785"/>
                  <a:gd name="connsiteY1444" fmla="*/ 880 h 10000"/>
                  <a:gd name="connsiteX1445" fmla="*/ 4737 w 10785"/>
                  <a:gd name="connsiteY1445" fmla="*/ 906 h 10000"/>
                  <a:gd name="connsiteX1446" fmla="*/ 4724 w 10785"/>
                  <a:gd name="connsiteY1446" fmla="*/ 897 h 10000"/>
                  <a:gd name="connsiteX1447" fmla="*/ 4724 w 10785"/>
                  <a:gd name="connsiteY1447" fmla="*/ 872 h 10000"/>
                  <a:gd name="connsiteX1448" fmla="*/ 4714 w 10785"/>
                  <a:gd name="connsiteY1448" fmla="*/ 855 h 10000"/>
                  <a:gd name="connsiteX1449" fmla="*/ 4691 w 10785"/>
                  <a:gd name="connsiteY1449" fmla="*/ 846 h 10000"/>
                  <a:gd name="connsiteX1450" fmla="*/ 4691 w 10785"/>
                  <a:gd name="connsiteY1450" fmla="*/ 846 h 10000"/>
                  <a:gd name="connsiteX1451" fmla="*/ 4696 w 10785"/>
                  <a:gd name="connsiteY1451" fmla="*/ 821 h 10000"/>
                  <a:gd name="connsiteX1452" fmla="*/ 4691 w 10785"/>
                  <a:gd name="connsiteY1452" fmla="*/ 803 h 10000"/>
                  <a:gd name="connsiteX1453" fmla="*/ 4668 w 10785"/>
                  <a:gd name="connsiteY1453" fmla="*/ 821 h 10000"/>
                  <a:gd name="connsiteX1454" fmla="*/ 4668 w 10785"/>
                  <a:gd name="connsiteY1454" fmla="*/ 786 h 10000"/>
                  <a:gd name="connsiteX1455" fmla="*/ 4664 w 10785"/>
                  <a:gd name="connsiteY1455" fmla="*/ 786 h 10000"/>
                  <a:gd name="connsiteX1456" fmla="*/ 4622 w 10785"/>
                  <a:gd name="connsiteY1456" fmla="*/ 846 h 10000"/>
                  <a:gd name="connsiteX1457" fmla="*/ 4627 w 10785"/>
                  <a:gd name="connsiteY1457" fmla="*/ 872 h 10000"/>
                  <a:gd name="connsiteX1458" fmla="*/ 4622 w 10785"/>
                  <a:gd name="connsiteY1458" fmla="*/ 880 h 10000"/>
                  <a:gd name="connsiteX1459" fmla="*/ 4622 w 10785"/>
                  <a:gd name="connsiteY1459" fmla="*/ 880 h 10000"/>
                  <a:gd name="connsiteX1460" fmla="*/ 4618 w 10785"/>
                  <a:gd name="connsiteY1460" fmla="*/ 872 h 10000"/>
                  <a:gd name="connsiteX1461" fmla="*/ 4604 w 10785"/>
                  <a:gd name="connsiteY1461" fmla="*/ 880 h 10000"/>
                  <a:gd name="connsiteX1462" fmla="*/ 4594 w 10785"/>
                  <a:gd name="connsiteY1462" fmla="*/ 906 h 10000"/>
                  <a:gd name="connsiteX1463" fmla="*/ 4604 w 10785"/>
                  <a:gd name="connsiteY1463" fmla="*/ 906 h 10000"/>
                  <a:gd name="connsiteX1464" fmla="*/ 4608 w 10785"/>
                  <a:gd name="connsiteY1464" fmla="*/ 906 h 10000"/>
                  <a:gd name="connsiteX1465" fmla="*/ 4608 w 10785"/>
                  <a:gd name="connsiteY1465" fmla="*/ 932 h 10000"/>
                  <a:gd name="connsiteX1466" fmla="*/ 4604 w 10785"/>
                  <a:gd name="connsiteY1466" fmla="*/ 932 h 10000"/>
                  <a:gd name="connsiteX1467" fmla="*/ 4590 w 10785"/>
                  <a:gd name="connsiteY1467" fmla="*/ 932 h 10000"/>
                  <a:gd name="connsiteX1468" fmla="*/ 4567 w 10785"/>
                  <a:gd name="connsiteY1468" fmla="*/ 957 h 10000"/>
                  <a:gd name="connsiteX1469" fmla="*/ 4567 w 10785"/>
                  <a:gd name="connsiteY1469" fmla="*/ 932 h 10000"/>
                  <a:gd name="connsiteX1470" fmla="*/ 4567 w 10785"/>
                  <a:gd name="connsiteY1470" fmla="*/ 923 h 10000"/>
                  <a:gd name="connsiteX1471" fmla="*/ 4562 w 10785"/>
                  <a:gd name="connsiteY1471" fmla="*/ 932 h 10000"/>
                  <a:gd name="connsiteX1472" fmla="*/ 4548 w 10785"/>
                  <a:gd name="connsiteY1472" fmla="*/ 957 h 10000"/>
                  <a:gd name="connsiteX1473" fmla="*/ 4544 w 10785"/>
                  <a:gd name="connsiteY1473" fmla="*/ 957 h 10000"/>
                  <a:gd name="connsiteX1474" fmla="*/ 4521 w 10785"/>
                  <a:gd name="connsiteY1474" fmla="*/ 983 h 10000"/>
                  <a:gd name="connsiteX1475" fmla="*/ 4521 w 10785"/>
                  <a:gd name="connsiteY1475" fmla="*/ 983 h 10000"/>
                  <a:gd name="connsiteX1476" fmla="*/ 4530 w 10785"/>
                  <a:gd name="connsiteY1476" fmla="*/ 957 h 10000"/>
                  <a:gd name="connsiteX1477" fmla="*/ 4535 w 10785"/>
                  <a:gd name="connsiteY1477" fmla="*/ 932 h 10000"/>
                  <a:gd name="connsiteX1478" fmla="*/ 4521 w 10785"/>
                  <a:gd name="connsiteY1478" fmla="*/ 932 h 10000"/>
                  <a:gd name="connsiteX1479" fmla="*/ 4516 w 10785"/>
                  <a:gd name="connsiteY1479" fmla="*/ 923 h 10000"/>
                  <a:gd name="connsiteX1480" fmla="*/ 4516 w 10785"/>
                  <a:gd name="connsiteY1480" fmla="*/ 932 h 10000"/>
                  <a:gd name="connsiteX1481" fmla="*/ 4488 w 10785"/>
                  <a:gd name="connsiteY1481" fmla="*/ 940 h 10000"/>
                  <a:gd name="connsiteX1482" fmla="*/ 4484 w 10785"/>
                  <a:gd name="connsiteY1482" fmla="*/ 983 h 10000"/>
                  <a:gd name="connsiteX1483" fmla="*/ 4470 w 10785"/>
                  <a:gd name="connsiteY1483" fmla="*/ 983 h 10000"/>
                  <a:gd name="connsiteX1484" fmla="*/ 4470 w 10785"/>
                  <a:gd name="connsiteY1484" fmla="*/ 966 h 10000"/>
                  <a:gd name="connsiteX1485" fmla="*/ 4488 w 10785"/>
                  <a:gd name="connsiteY1485" fmla="*/ 923 h 10000"/>
                  <a:gd name="connsiteX1486" fmla="*/ 4493 w 10785"/>
                  <a:gd name="connsiteY1486" fmla="*/ 880 h 10000"/>
                  <a:gd name="connsiteX1487" fmla="*/ 4475 w 10785"/>
                  <a:gd name="connsiteY1487" fmla="*/ 846 h 10000"/>
                  <a:gd name="connsiteX1488" fmla="*/ 4442 w 10785"/>
                  <a:gd name="connsiteY1488" fmla="*/ 855 h 10000"/>
                  <a:gd name="connsiteX1489" fmla="*/ 4433 w 10785"/>
                  <a:gd name="connsiteY1489" fmla="*/ 855 h 10000"/>
                  <a:gd name="connsiteX1490" fmla="*/ 4433 w 10785"/>
                  <a:gd name="connsiteY1490" fmla="*/ 880 h 10000"/>
                  <a:gd name="connsiteX1491" fmla="*/ 4401 w 10785"/>
                  <a:gd name="connsiteY1491" fmla="*/ 855 h 10000"/>
                  <a:gd name="connsiteX1492" fmla="*/ 4396 w 10785"/>
                  <a:gd name="connsiteY1492" fmla="*/ 872 h 10000"/>
                  <a:gd name="connsiteX1493" fmla="*/ 4382 w 10785"/>
                  <a:gd name="connsiteY1493" fmla="*/ 897 h 10000"/>
                  <a:gd name="connsiteX1494" fmla="*/ 4373 w 10785"/>
                  <a:gd name="connsiteY1494" fmla="*/ 872 h 10000"/>
                  <a:gd name="connsiteX1495" fmla="*/ 4341 w 10785"/>
                  <a:gd name="connsiteY1495" fmla="*/ 872 h 10000"/>
                  <a:gd name="connsiteX1496" fmla="*/ 4336 w 10785"/>
                  <a:gd name="connsiteY1496" fmla="*/ 880 h 10000"/>
                  <a:gd name="connsiteX1497" fmla="*/ 4346 w 10785"/>
                  <a:gd name="connsiteY1497" fmla="*/ 897 h 10000"/>
                  <a:gd name="connsiteX1498" fmla="*/ 4346 w 10785"/>
                  <a:gd name="connsiteY1498" fmla="*/ 897 h 10000"/>
                  <a:gd name="connsiteX1499" fmla="*/ 4313 w 10785"/>
                  <a:gd name="connsiteY1499" fmla="*/ 906 h 10000"/>
                  <a:gd name="connsiteX1500" fmla="*/ 4313 w 10785"/>
                  <a:gd name="connsiteY1500" fmla="*/ 906 h 10000"/>
                  <a:gd name="connsiteX1501" fmla="*/ 4313 w 10785"/>
                  <a:gd name="connsiteY1501" fmla="*/ 880 h 10000"/>
                  <a:gd name="connsiteX1502" fmla="*/ 4309 w 10785"/>
                  <a:gd name="connsiteY1502" fmla="*/ 897 h 10000"/>
                  <a:gd name="connsiteX1503" fmla="*/ 4295 w 10785"/>
                  <a:gd name="connsiteY1503" fmla="*/ 923 h 10000"/>
                  <a:gd name="connsiteX1504" fmla="*/ 4286 w 10785"/>
                  <a:gd name="connsiteY1504" fmla="*/ 897 h 10000"/>
                  <a:gd name="connsiteX1505" fmla="*/ 4281 w 10785"/>
                  <a:gd name="connsiteY1505" fmla="*/ 906 h 10000"/>
                  <a:gd name="connsiteX1506" fmla="*/ 4281 w 10785"/>
                  <a:gd name="connsiteY1506" fmla="*/ 940 h 10000"/>
                  <a:gd name="connsiteX1507" fmla="*/ 4286 w 10785"/>
                  <a:gd name="connsiteY1507" fmla="*/ 957 h 10000"/>
                  <a:gd name="connsiteX1508" fmla="*/ 4309 w 10785"/>
                  <a:gd name="connsiteY1508" fmla="*/ 932 h 10000"/>
                  <a:gd name="connsiteX1509" fmla="*/ 4313 w 10785"/>
                  <a:gd name="connsiteY1509" fmla="*/ 957 h 10000"/>
                  <a:gd name="connsiteX1510" fmla="*/ 4313 w 10785"/>
                  <a:gd name="connsiteY1510" fmla="*/ 966 h 10000"/>
                  <a:gd name="connsiteX1511" fmla="*/ 4323 w 10785"/>
                  <a:gd name="connsiteY1511" fmla="*/ 966 h 10000"/>
                  <a:gd name="connsiteX1512" fmla="*/ 4323 w 10785"/>
                  <a:gd name="connsiteY1512" fmla="*/ 940 h 10000"/>
                  <a:gd name="connsiteX1513" fmla="*/ 4327 w 10785"/>
                  <a:gd name="connsiteY1513" fmla="*/ 940 h 10000"/>
                  <a:gd name="connsiteX1514" fmla="*/ 4327 w 10785"/>
                  <a:gd name="connsiteY1514" fmla="*/ 957 h 10000"/>
                  <a:gd name="connsiteX1515" fmla="*/ 4327 w 10785"/>
                  <a:gd name="connsiteY1515" fmla="*/ 966 h 10000"/>
                  <a:gd name="connsiteX1516" fmla="*/ 4323 w 10785"/>
                  <a:gd name="connsiteY1516" fmla="*/ 991 h 10000"/>
                  <a:gd name="connsiteX1517" fmla="*/ 4207 w 10785"/>
                  <a:gd name="connsiteY1517" fmla="*/ 1060 h 10000"/>
                  <a:gd name="connsiteX1518" fmla="*/ 4207 w 10785"/>
                  <a:gd name="connsiteY1518" fmla="*/ 1060 h 10000"/>
                  <a:gd name="connsiteX1519" fmla="*/ 4203 w 10785"/>
                  <a:gd name="connsiteY1519" fmla="*/ 1068 h 10000"/>
                  <a:gd name="connsiteX1520" fmla="*/ 4203 w 10785"/>
                  <a:gd name="connsiteY1520" fmla="*/ 1094 h 10000"/>
                  <a:gd name="connsiteX1521" fmla="*/ 4203 w 10785"/>
                  <a:gd name="connsiteY1521" fmla="*/ 1094 h 10000"/>
                  <a:gd name="connsiteX1522" fmla="*/ 4189 w 10785"/>
                  <a:gd name="connsiteY1522" fmla="*/ 1094 h 10000"/>
                  <a:gd name="connsiteX1523" fmla="*/ 4166 w 10785"/>
                  <a:gd name="connsiteY1523" fmla="*/ 1103 h 10000"/>
                  <a:gd name="connsiteX1524" fmla="*/ 4152 w 10785"/>
                  <a:gd name="connsiteY1524" fmla="*/ 1094 h 10000"/>
                  <a:gd name="connsiteX1525" fmla="*/ 4134 w 10785"/>
                  <a:gd name="connsiteY1525" fmla="*/ 1120 h 10000"/>
                  <a:gd name="connsiteX1526" fmla="*/ 4106 w 10785"/>
                  <a:gd name="connsiteY1526" fmla="*/ 1120 h 10000"/>
                  <a:gd name="connsiteX1527" fmla="*/ 4092 w 10785"/>
                  <a:gd name="connsiteY1527" fmla="*/ 1154 h 10000"/>
                  <a:gd name="connsiteX1528" fmla="*/ 4106 w 10785"/>
                  <a:gd name="connsiteY1528" fmla="*/ 1171 h 10000"/>
                  <a:gd name="connsiteX1529" fmla="*/ 4078 w 10785"/>
                  <a:gd name="connsiteY1529" fmla="*/ 1179 h 10000"/>
                  <a:gd name="connsiteX1530" fmla="*/ 4065 w 10785"/>
                  <a:gd name="connsiteY1530" fmla="*/ 1205 h 10000"/>
                  <a:gd name="connsiteX1531" fmla="*/ 4046 w 10785"/>
                  <a:gd name="connsiteY1531" fmla="*/ 1179 h 10000"/>
                  <a:gd name="connsiteX1532" fmla="*/ 4041 w 10785"/>
                  <a:gd name="connsiteY1532" fmla="*/ 1197 h 10000"/>
                  <a:gd name="connsiteX1533" fmla="*/ 4028 w 10785"/>
                  <a:gd name="connsiteY1533" fmla="*/ 1205 h 10000"/>
                  <a:gd name="connsiteX1534" fmla="*/ 4028 w 10785"/>
                  <a:gd name="connsiteY1534" fmla="*/ 1205 h 10000"/>
                  <a:gd name="connsiteX1535" fmla="*/ 4032 w 10785"/>
                  <a:gd name="connsiteY1535" fmla="*/ 1205 h 10000"/>
                  <a:gd name="connsiteX1536" fmla="*/ 4032 w 10785"/>
                  <a:gd name="connsiteY1536" fmla="*/ 1231 h 10000"/>
                  <a:gd name="connsiteX1537" fmla="*/ 4014 w 10785"/>
                  <a:gd name="connsiteY1537" fmla="*/ 1239 h 10000"/>
                  <a:gd name="connsiteX1538" fmla="*/ 4014 w 10785"/>
                  <a:gd name="connsiteY1538" fmla="*/ 1256 h 10000"/>
                  <a:gd name="connsiteX1539" fmla="*/ 4000 w 10785"/>
                  <a:gd name="connsiteY1539" fmla="*/ 1265 h 10000"/>
                  <a:gd name="connsiteX1540" fmla="*/ 3986 w 10785"/>
                  <a:gd name="connsiteY1540" fmla="*/ 1308 h 10000"/>
                  <a:gd name="connsiteX1541" fmla="*/ 3972 w 10785"/>
                  <a:gd name="connsiteY1541" fmla="*/ 1316 h 10000"/>
                  <a:gd name="connsiteX1542" fmla="*/ 3972 w 10785"/>
                  <a:gd name="connsiteY1542" fmla="*/ 1325 h 10000"/>
                  <a:gd name="connsiteX1543" fmla="*/ 3972 w 10785"/>
                  <a:gd name="connsiteY1543" fmla="*/ 1342 h 10000"/>
                  <a:gd name="connsiteX1544" fmla="*/ 3968 w 10785"/>
                  <a:gd name="connsiteY1544" fmla="*/ 1350 h 10000"/>
                  <a:gd name="connsiteX1545" fmla="*/ 3954 w 10785"/>
                  <a:gd name="connsiteY1545" fmla="*/ 1368 h 10000"/>
                  <a:gd name="connsiteX1546" fmla="*/ 3945 w 10785"/>
                  <a:gd name="connsiteY1546" fmla="*/ 1350 h 10000"/>
                  <a:gd name="connsiteX1547" fmla="*/ 3908 w 10785"/>
                  <a:gd name="connsiteY1547" fmla="*/ 1342 h 10000"/>
                  <a:gd name="connsiteX1548" fmla="*/ 3894 w 10785"/>
                  <a:gd name="connsiteY1548" fmla="*/ 1368 h 10000"/>
                  <a:gd name="connsiteX1549" fmla="*/ 3922 w 10785"/>
                  <a:gd name="connsiteY1549" fmla="*/ 1393 h 10000"/>
                  <a:gd name="connsiteX1550" fmla="*/ 3945 w 10785"/>
                  <a:gd name="connsiteY1550" fmla="*/ 1393 h 10000"/>
                  <a:gd name="connsiteX1551" fmla="*/ 3940 w 10785"/>
                  <a:gd name="connsiteY1551" fmla="*/ 1419 h 10000"/>
                  <a:gd name="connsiteX1552" fmla="*/ 3931 w 10785"/>
                  <a:gd name="connsiteY1552" fmla="*/ 1427 h 10000"/>
                  <a:gd name="connsiteX1553" fmla="*/ 3926 w 10785"/>
                  <a:gd name="connsiteY1553" fmla="*/ 1427 h 10000"/>
                  <a:gd name="connsiteX1554" fmla="*/ 3922 w 10785"/>
                  <a:gd name="connsiteY1554" fmla="*/ 1419 h 10000"/>
                  <a:gd name="connsiteX1555" fmla="*/ 3912 w 10785"/>
                  <a:gd name="connsiteY1555" fmla="*/ 1427 h 10000"/>
                  <a:gd name="connsiteX1556" fmla="*/ 3912 w 10785"/>
                  <a:gd name="connsiteY1556" fmla="*/ 1444 h 10000"/>
                  <a:gd name="connsiteX1557" fmla="*/ 3894 w 10785"/>
                  <a:gd name="connsiteY1557" fmla="*/ 1513 h 10000"/>
                  <a:gd name="connsiteX1558" fmla="*/ 3885 w 10785"/>
                  <a:gd name="connsiteY1558" fmla="*/ 1513 h 10000"/>
                  <a:gd name="connsiteX1559" fmla="*/ 3880 w 10785"/>
                  <a:gd name="connsiteY1559" fmla="*/ 1538 h 10000"/>
                  <a:gd name="connsiteX1560" fmla="*/ 3885 w 10785"/>
                  <a:gd name="connsiteY1560" fmla="*/ 1564 h 10000"/>
                  <a:gd name="connsiteX1561" fmla="*/ 3880 w 10785"/>
                  <a:gd name="connsiteY1561" fmla="*/ 1581 h 10000"/>
                  <a:gd name="connsiteX1562" fmla="*/ 3871 w 10785"/>
                  <a:gd name="connsiteY1562" fmla="*/ 1538 h 10000"/>
                  <a:gd name="connsiteX1563" fmla="*/ 3853 w 10785"/>
                  <a:gd name="connsiteY1563" fmla="*/ 1530 h 10000"/>
                  <a:gd name="connsiteX1564" fmla="*/ 3853 w 10785"/>
                  <a:gd name="connsiteY1564" fmla="*/ 1504 h 10000"/>
                  <a:gd name="connsiteX1565" fmla="*/ 3834 w 10785"/>
                  <a:gd name="connsiteY1565" fmla="*/ 1487 h 10000"/>
                  <a:gd name="connsiteX1566" fmla="*/ 3834 w 10785"/>
                  <a:gd name="connsiteY1566" fmla="*/ 1487 h 10000"/>
                  <a:gd name="connsiteX1567" fmla="*/ 3839 w 10785"/>
                  <a:gd name="connsiteY1567" fmla="*/ 1513 h 10000"/>
                  <a:gd name="connsiteX1568" fmla="*/ 3820 w 10785"/>
                  <a:gd name="connsiteY1568" fmla="*/ 1538 h 10000"/>
                  <a:gd name="connsiteX1569" fmla="*/ 3820 w 10785"/>
                  <a:gd name="connsiteY1569" fmla="*/ 1556 h 10000"/>
                  <a:gd name="connsiteX1570" fmla="*/ 3820 w 10785"/>
                  <a:gd name="connsiteY1570" fmla="*/ 1564 h 10000"/>
                  <a:gd name="connsiteX1571" fmla="*/ 3820 w 10785"/>
                  <a:gd name="connsiteY1571" fmla="*/ 1581 h 10000"/>
                  <a:gd name="connsiteX1572" fmla="*/ 3853 w 10785"/>
                  <a:gd name="connsiteY1572" fmla="*/ 1581 h 10000"/>
                  <a:gd name="connsiteX1573" fmla="*/ 3857 w 10785"/>
                  <a:gd name="connsiteY1573" fmla="*/ 1598 h 10000"/>
                  <a:gd name="connsiteX1574" fmla="*/ 3880 w 10785"/>
                  <a:gd name="connsiteY1574" fmla="*/ 1615 h 10000"/>
                  <a:gd name="connsiteX1575" fmla="*/ 3871 w 10785"/>
                  <a:gd name="connsiteY1575" fmla="*/ 1615 h 10000"/>
                  <a:gd name="connsiteX1576" fmla="*/ 3871 w 10785"/>
                  <a:gd name="connsiteY1576" fmla="*/ 1641 h 10000"/>
                  <a:gd name="connsiteX1577" fmla="*/ 3880 w 10785"/>
                  <a:gd name="connsiteY1577" fmla="*/ 1641 h 10000"/>
                  <a:gd name="connsiteX1578" fmla="*/ 3871 w 10785"/>
                  <a:gd name="connsiteY1578" fmla="*/ 1650 h 10000"/>
                  <a:gd name="connsiteX1579" fmla="*/ 3857 w 10785"/>
                  <a:gd name="connsiteY1579" fmla="*/ 1650 h 10000"/>
                  <a:gd name="connsiteX1580" fmla="*/ 3853 w 10785"/>
                  <a:gd name="connsiteY1580" fmla="*/ 1650 h 10000"/>
                  <a:gd name="connsiteX1581" fmla="*/ 3839 w 10785"/>
                  <a:gd name="connsiteY1581" fmla="*/ 1667 h 10000"/>
                  <a:gd name="connsiteX1582" fmla="*/ 3848 w 10785"/>
                  <a:gd name="connsiteY1582" fmla="*/ 1692 h 10000"/>
                  <a:gd name="connsiteX1583" fmla="*/ 3834 w 10785"/>
                  <a:gd name="connsiteY1583" fmla="*/ 1692 h 10000"/>
                  <a:gd name="connsiteX1584" fmla="*/ 3825 w 10785"/>
                  <a:gd name="connsiteY1584" fmla="*/ 1692 h 10000"/>
                  <a:gd name="connsiteX1585" fmla="*/ 3825 w 10785"/>
                  <a:gd name="connsiteY1585" fmla="*/ 1718 h 10000"/>
                  <a:gd name="connsiteX1586" fmla="*/ 3839 w 10785"/>
                  <a:gd name="connsiteY1586" fmla="*/ 1726 h 10000"/>
                  <a:gd name="connsiteX1587" fmla="*/ 3880 w 10785"/>
                  <a:gd name="connsiteY1587" fmla="*/ 1752 h 10000"/>
                  <a:gd name="connsiteX1588" fmla="*/ 3894 w 10785"/>
                  <a:gd name="connsiteY1588" fmla="*/ 1829 h 10000"/>
                  <a:gd name="connsiteX1589" fmla="*/ 3899 w 10785"/>
                  <a:gd name="connsiteY1589" fmla="*/ 1838 h 10000"/>
                  <a:gd name="connsiteX1590" fmla="*/ 3894 w 10785"/>
                  <a:gd name="connsiteY1590" fmla="*/ 1855 h 10000"/>
                  <a:gd name="connsiteX1591" fmla="*/ 3880 w 10785"/>
                  <a:gd name="connsiteY1591" fmla="*/ 1838 h 10000"/>
                  <a:gd name="connsiteX1592" fmla="*/ 3880 w 10785"/>
                  <a:gd name="connsiteY1592" fmla="*/ 1855 h 10000"/>
                  <a:gd name="connsiteX1593" fmla="*/ 3880 w 10785"/>
                  <a:gd name="connsiteY1593" fmla="*/ 1863 h 10000"/>
                  <a:gd name="connsiteX1594" fmla="*/ 3871 w 10785"/>
                  <a:gd name="connsiteY1594" fmla="*/ 1872 h 10000"/>
                  <a:gd name="connsiteX1595" fmla="*/ 3880 w 10785"/>
                  <a:gd name="connsiteY1595" fmla="*/ 1889 h 10000"/>
                  <a:gd name="connsiteX1596" fmla="*/ 3885 w 10785"/>
                  <a:gd name="connsiteY1596" fmla="*/ 1889 h 10000"/>
                  <a:gd name="connsiteX1597" fmla="*/ 3880 w 10785"/>
                  <a:gd name="connsiteY1597" fmla="*/ 1897 h 10000"/>
                  <a:gd name="connsiteX1598" fmla="*/ 3871 w 10785"/>
                  <a:gd name="connsiteY1598" fmla="*/ 1915 h 10000"/>
                  <a:gd name="connsiteX1599" fmla="*/ 3848 w 10785"/>
                  <a:gd name="connsiteY1599" fmla="*/ 1923 h 10000"/>
                  <a:gd name="connsiteX1600" fmla="*/ 3825 w 10785"/>
                  <a:gd name="connsiteY1600" fmla="*/ 1940 h 10000"/>
                  <a:gd name="connsiteX1601" fmla="*/ 3811 w 10785"/>
                  <a:gd name="connsiteY1601" fmla="*/ 1940 h 10000"/>
                  <a:gd name="connsiteX1602" fmla="*/ 3806 w 10785"/>
                  <a:gd name="connsiteY1602" fmla="*/ 1949 h 10000"/>
                  <a:gd name="connsiteX1603" fmla="*/ 3797 w 10785"/>
                  <a:gd name="connsiteY1603" fmla="*/ 1966 h 10000"/>
                  <a:gd name="connsiteX1604" fmla="*/ 3788 w 10785"/>
                  <a:gd name="connsiteY1604" fmla="*/ 1991 h 10000"/>
                  <a:gd name="connsiteX1605" fmla="*/ 3765 w 10785"/>
                  <a:gd name="connsiteY1605" fmla="*/ 1974 h 10000"/>
                  <a:gd name="connsiteX1606" fmla="*/ 3760 w 10785"/>
                  <a:gd name="connsiteY1606" fmla="*/ 1966 h 10000"/>
                  <a:gd name="connsiteX1607" fmla="*/ 3760 w 10785"/>
                  <a:gd name="connsiteY1607" fmla="*/ 1966 h 10000"/>
                  <a:gd name="connsiteX1608" fmla="*/ 3631 w 10785"/>
                  <a:gd name="connsiteY1608" fmla="*/ 2009 h 10000"/>
                  <a:gd name="connsiteX1609" fmla="*/ 3618 w 10785"/>
                  <a:gd name="connsiteY1609" fmla="*/ 2000 h 10000"/>
                  <a:gd name="connsiteX1610" fmla="*/ 3599 w 10785"/>
                  <a:gd name="connsiteY1610" fmla="*/ 2009 h 10000"/>
                  <a:gd name="connsiteX1611" fmla="*/ 3571 w 10785"/>
                  <a:gd name="connsiteY1611" fmla="*/ 2000 h 10000"/>
                  <a:gd name="connsiteX1612" fmla="*/ 3530 w 10785"/>
                  <a:gd name="connsiteY1612" fmla="*/ 2026 h 10000"/>
                  <a:gd name="connsiteX1613" fmla="*/ 3530 w 10785"/>
                  <a:gd name="connsiteY1613" fmla="*/ 2034 h 10000"/>
                  <a:gd name="connsiteX1614" fmla="*/ 3525 w 10785"/>
                  <a:gd name="connsiteY1614" fmla="*/ 2051 h 10000"/>
                  <a:gd name="connsiteX1615" fmla="*/ 3512 w 10785"/>
                  <a:gd name="connsiteY1615" fmla="*/ 2034 h 10000"/>
                  <a:gd name="connsiteX1616" fmla="*/ 3507 w 10785"/>
                  <a:gd name="connsiteY1616" fmla="*/ 2034 h 10000"/>
                  <a:gd name="connsiteX1617" fmla="*/ 3498 w 10785"/>
                  <a:gd name="connsiteY1617" fmla="*/ 2051 h 10000"/>
                  <a:gd name="connsiteX1618" fmla="*/ 3484 w 10785"/>
                  <a:gd name="connsiteY1618" fmla="*/ 2060 h 10000"/>
                  <a:gd name="connsiteX1619" fmla="*/ 3484 w 10785"/>
                  <a:gd name="connsiteY1619" fmla="*/ 2085 h 10000"/>
                  <a:gd name="connsiteX1620" fmla="*/ 3484 w 10785"/>
                  <a:gd name="connsiteY1620" fmla="*/ 2103 h 10000"/>
                  <a:gd name="connsiteX1621" fmla="*/ 3493 w 10785"/>
                  <a:gd name="connsiteY1621" fmla="*/ 2103 h 10000"/>
                  <a:gd name="connsiteX1622" fmla="*/ 3493 w 10785"/>
                  <a:gd name="connsiteY1622" fmla="*/ 2085 h 10000"/>
                  <a:gd name="connsiteX1623" fmla="*/ 3498 w 10785"/>
                  <a:gd name="connsiteY1623" fmla="*/ 2085 h 10000"/>
                  <a:gd name="connsiteX1624" fmla="*/ 3498 w 10785"/>
                  <a:gd name="connsiteY1624" fmla="*/ 2111 h 10000"/>
                  <a:gd name="connsiteX1625" fmla="*/ 3484 w 10785"/>
                  <a:gd name="connsiteY1625" fmla="*/ 2120 h 10000"/>
                  <a:gd name="connsiteX1626" fmla="*/ 3484 w 10785"/>
                  <a:gd name="connsiteY1626" fmla="*/ 2145 h 10000"/>
                  <a:gd name="connsiteX1627" fmla="*/ 3470 w 10785"/>
                  <a:gd name="connsiteY1627" fmla="*/ 2137 h 10000"/>
                  <a:gd name="connsiteX1628" fmla="*/ 3465 w 10785"/>
                  <a:gd name="connsiteY1628" fmla="*/ 2145 h 10000"/>
                  <a:gd name="connsiteX1629" fmla="*/ 3470 w 10785"/>
                  <a:gd name="connsiteY1629" fmla="*/ 2171 h 10000"/>
                  <a:gd name="connsiteX1630" fmla="*/ 3484 w 10785"/>
                  <a:gd name="connsiteY1630" fmla="*/ 2171 h 10000"/>
                  <a:gd name="connsiteX1631" fmla="*/ 3484 w 10785"/>
                  <a:gd name="connsiteY1631" fmla="*/ 2197 h 10000"/>
                  <a:gd name="connsiteX1632" fmla="*/ 3465 w 10785"/>
                  <a:gd name="connsiteY1632" fmla="*/ 2214 h 10000"/>
                  <a:gd name="connsiteX1633" fmla="*/ 3493 w 10785"/>
                  <a:gd name="connsiteY1633" fmla="*/ 2248 h 10000"/>
                  <a:gd name="connsiteX1634" fmla="*/ 3484 w 10785"/>
                  <a:gd name="connsiteY1634" fmla="*/ 2256 h 10000"/>
                  <a:gd name="connsiteX1635" fmla="*/ 3498 w 10785"/>
                  <a:gd name="connsiteY1635" fmla="*/ 2274 h 10000"/>
                  <a:gd name="connsiteX1636" fmla="*/ 3498 w 10785"/>
                  <a:gd name="connsiteY1636" fmla="*/ 2256 h 10000"/>
                  <a:gd name="connsiteX1637" fmla="*/ 3507 w 10785"/>
                  <a:gd name="connsiteY1637" fmla="*/ 2308 h 10000"/>
                  <a:gd name="connsiteX1638" fmla="*/ 3512 w 10785"/>
                  <a:gd name="connsiteY1638" fmla="*/ 2325 h 10000"/>
                  <a:gd name="connsiteX1639" fmla="*/ 3507 w 10785"/>
                  <a:gd name="connsiteY1639" fmla="*/ 2333 h 10000"/>
                  <a:gd name="connsiteX1640" fmla="*/ 3507 w 10785"/>
                  <a:gd name="connsiteY1640" fmla="*/ 2359 h 10000"/>
                  <a:gd name="connsiteX1641" fmla="*/ 3507 w 10785"/>
                  <a:gd name="connsiteY1641" fmla="*/ 2376 h 10000"/>
                  <a:gd name="connsiteX1642" fmla="*/ 3498 w 10785"/>
                  <a:gd name="connsiteY1642" fmla="*/ 2410 h 10000"/>
                  <a:gd name="connsiteX1643" fmla="*/ 3498 w 10785"/>
                  <a:gd name="connsiteY1643" fmla="*/ 2436 h 10000"/>
                  <a:gd name="connsiteX1644" fmla="*/ 3507 w 10785"/>
                  <a:gd name="connsiteY1644" fmla="*/ 2462 h 10000"/>
                  <a:gd name="connsiteX1645" fmla="*/ 3507 w 10785"/>
                  <a:gd name="connsiteY1645" fmla="*/ 2496 h 10000"/>
                  <a:gd name="connsiteX1646" fmla="*/ 3512 w 10785"/>
                  <a:gd name="connsiteY1646" fmla="*/ 2521 h 10000"/>
                  <a:gd name="connsiteX1647" fmla="*/ 3525 w 10785"/>
                  <a:gd name="connsiteY1647" fmla="*/ 2556 h 10000"/>
                  <a:gd name="connsiteX1648" fmla="*/ 3571 w 10785"/>
                  <a:gd name="connsiteY1648" fmla="*/ 2573 h 10000"/>
                  <a:gd name="connsiteX1649" fmla="*/ 3590 w 10785"/>
                  <a:gd name="connsiteY1649" fmla="*/ 2598 h 10000"/>
                  <a:gd name="connsiteX1650" fmla="*/ 3599 w 10785"/>
                  <a:gd name="connsiteY1650" fmla="*/ 2598 h 10000"/>
                  <a:gd name="connsiteX1651" fmla="*/ 3604 w 10785"/>
                  <a:gd name="connsiteY1651" fmla="*/ 2632 h 10000"/>
                  <a:gd name="connsiteX1652" fmla="*/ 3599 w 10785"/>
                  <a:gd name="connsiteY1652" fmla="*/ 2658 h 10000"/>
                  <a:gd name="connsiteX1653" fmla="*/ 3590 w 10785"/>
                  <a:gd name="connsiteY1653" fmla="*/ 2667 h 10000"/>
                  <a:gd name="connsiteX1654" fmla="*/ 3604 w 10785"/>
                  <a:gd name="connsiteY1654" fmla="*/ 2667 h 10000"/>
                  <a:gd name="connsiteX1655" fmla="*/ 3613 w 10785"/>
                  <a:gd name="connsiteY1655" fmla="*/ 2692 h 10000"/>
                  <a:gd name="connsiteX1656" fmla="*/ 3627 w 10785"/>
                  <a:gd name="connsiteY1656" fmla="*/ 2735 h 10000"/>
                  <a:gd name="connsiteX1657" fmla="*/ 3631 w 10785"/>
                  <a:gd name="connsiteY1657" fmla="*/ 2744 h 10000"/>
                  <a:gd name="connsiteX1658" fmla="*/ 3659 w 10785"/>
                  <a:gd name="connsiteY1658" fmla="*/ 2761 h 10000"/>
                  <a:gd name="connsiteX1659" fmla="*/ 3673 w 10785"/>
                  <a:gd name="connsiteY1659" fmla="*/ 2769 h 10000"/>
                  <a:gd name="connsiteX1660" fmla="*/ 3673 w 10785"/>
                  <a:gd name="connsiteY1660" fmla="*/ 2761 h 10000"/>
                  <a:gd name="connsiteX1661" fmla="*/ 3687 w 10785"/>
                  <a:gd name="connsiteY1661" fmla="*/ 2829 h 10000"/>
                  <a:gd name="connsiteX1662" fmla="*/ 3677 w 10785"/>
                  <a:gd name="connsiteY1662" fmla="*/ 2897 h 10000"/>
                  <a:gd name="connsiteX1663" fmla="*/ 3673 w 10785"/>
                  <a:gd name="connsiteY1663" fmla="*/ 2915 h 10000"/>
                  <a:gd name="connsiteX1664" fmla="*/ 3664 w 10785"/>
                  <a:gd name="connsiteY1664" fmla="*/ 2957 h 10000"/>
                  <a:gd name="connsiteX1665" fmla="*/ 3659 w 10785"/>
                  <a:gd name="connsiteY1665" fmla="*/ 2983 h 10000"/>
                  <a:gd name="connsiteX1666" fmla="*/ 3664 w 10785"/>
                  <a:gd name="connsiteY1666" fmla="*/ 3017 h 10000"/>
                  <a:gd name="connsiteX1667" fmla="*/ 3659 w 10785"/>
                  <a:gd name="connsiteY1667" fmla="*/ 3043 h 10000"/>
                  <a:gd name="connsiteX1668" fmla="*/ 3677 w 10785"/>
                  <a:gd name="connsiteY1668" fmla="*/ 3094 h 10000"/>
                  <a:gd name="connsiteX1669" fmla="*/ 3691 w 10785"/>
                  <a:gd name="connsiteY1669" fmla="*/ 3282 h 10000"/>
                  <a:gd name="connsiteX1670" fmla="*/ 3691 w 10785"/>
                  <a:gd name="connsiteY1670" fmla="*/ 3308 h 10000"/>
                  <a:gd name="connsiteX1671" fmla="*/ 3677 w 10785"/>
                  <a:gd name="connsiteY1671" fmla="*/ 3342 h 10000"/>
                  <a:gd name="connsiteX1672" fmla="*/ 3664 w 10785"/>
                  <a:gd name="connsiteY1672" fmla="*/ 3342 h 10000"/>
                  <a:gd name="connsiteX1673" fmla="*/ 3650 w 10785"/>
                  <a:gd name="connsiteY1673" fmla="*/ 3342 h 10000"/>
                  <a:gd name="connsiteX1674" fmla="*/ 3650 w 10785"/>
                  <a:gd name="connsiteY1674" fmla="*/ 3350 h 10000"/>
                  <a:gd name="connsiteX1675" fmla="*/ 3659 w 10785"/>
                  <a:gd name="connsiteY1675" fmla="*/ 3402 h 10000"/>
                  <a:gd name="connsiteX1676" fmla="*/ 3659 w 10785"/>
                  <a:gd name="connsiteY1676" fmla="*/ 3419 h 10000"/>
                  <a:gd name="connsiteX1677" fmla="*/ 3631 w 10785"/>
                  <a:gd name="connsiteY1677" fmla="*/ 3402 h 10000"/>
                  <a:gd name="connsiteX1678" fmla="*/ 3604 w 10785"/>
                  <a:gd name="connsiteY1678" fmla="*/ 3393 h 10000"/>
                  <a:gd name="connsiteX1679" fmla="*/ 3599 w 10785"/>
                  <a:gd name="connsiteY1679" fmla="*/ 3368 h 10000"/>
                  <a:gd name="connsiteX1680" fmla="*/ 3590 w 10785"/>
                  <a:gd name="connsiteY1680" fmla="*/ 3239 h 10000"/>
                  <a:gd name="connsiteX1681" fmla="*/ 3599 w 10785"/>
                  <a:gd name="connsiteY1681" fmla="*/ 3179 h 10000"/>
                  <a:gd name="connsiteX1682" fmla="*/ 3599 w 10785"/>
                  <a:gd name="connsiteY1682" fmla="*/ 3171 h 10000"/>
                  <a:gd name="connsiteX1683" fmla="*/ 3599 w 10785"/>
                  <a:gd name="connsiteY1683" fmla="*/ 3009 h 10000"/>
                  <a:gd name="connsiteX1684" fmla="*/ 3604 w 10785"/>
                  <a:gd name="connsiteY1684" fmla="*/ 2983 h 10000"/>
                  <a:gd name="connsiteX1685" fmla="*/ 3645 w 10785"/>
                  <a:gd name="connsiteY1685" fmla="*/ 2932 h 10000"/>
                  <a:gd name="connsiteX1686" fmla="*/ 3650 w 10785"/>
                  <a:gd name="connsiteY1686" fmla="*/ 2872 h 10000"/>
                  <a:gd name="connsiteX1687" fmla="*/ 3659 w 10785"/>
                  <a:gd name="connsiteY1687" fmla="*/ 2855 h 10000"/>
                  <a:gd name="connsiteX1688" fmla="*/ 3659 w 10785"/>
                  <a:gd name="connsiteY1688" fmla="*/ 2821 h 10000"/>
                  <a:gd name="connsiteX1689" fmla="*/ 3631 w 10785"/>
                  <a:gd name="connsiteY1689" fmla="*/ 2795 h 10000"/>
                  <a:gd name="connsiteX1690" fmla="*/ 3567 w 10785"/>
                  <a:gd name="connsiteY1690" fmla="*/ 2821 h 10000"/>
                  <a:gd name="connsiteX1691" fmla="*/ 3544 w 10785"/>
                  <a:gd name="connsiteY1691" fmla="*/ 2795 h 10000"/>
                  <a:gd name="connsiteX1692" fmla="*/ 3530 w 10785"/>
                  <a:gd name="connsiteY1692" fmla="*/ 2769 h 10000"/>
                  <a:gd name="connsiteX1693" fmla="*/ 3530 w 10785"/>
                  <a:gd name="connsiteY1693" fmla="*/ 2786 h 10000"/>
                  <a:gd name="connsiteX1694" fmla="*/ 3498 w 10785"/>
                  <a:gd name="connsiteY1694" fmla="*/ 2692 h 10000"/>
                  <a:gd name="connsiteX1695" fmla="*/ 3498 w 10785"/>
                  <a:gd name="connsiteY1695" fmla="*/ 2667 h 10000"/>
                  <a:gd name="connsiteX1696" fmla="*/ 3442 w 10785"/>
                  <a:gd name="connsiteY1696" fmla="*/ 2607 h 10000"/>
                  <a:gd name="connsiteX1697" fmla="*/ 3433 w 10785"/>
                  <a:gd name="connsiteY1697" fmla="*/ 2581 h 10000"/>
                  <a:gd name="connsiteX1698" fmla="*/ 3396 w 10785"/>
                  <a:gd name="connsiteY1698" fmla="*/ 2556 h 10000"/>
                  <a:gd name="connsiteX1699" fmla="*/ 3318 w 10785"/>
                  <a:gd name="connsiteY1699" fmla="*/ 2556 h 10000"/>
                  <a:gd name="connsiteX1700" fmla="*/ 3304 w 10785"/>
                  <a:gd name="connsiteY1700" fmla="*/ 2607 h 10000"/>
                  <a:gd name="connsiteX1701" fmla="*/ 3276 w 10785"/>
                  <a:gd name="connsiteY1701" fmla="*/ 2632 h 10000"/>
                  <a:gd name="connsiteX1702" fmla="*/ 3272 w 10785"/>
                  <a:gd name="connsiteY1702" fmla="*/ 2667 h 10000"/>
                  <a:gd name="connsiteX1703" fmla="*/ 3304 w 10785"/>
                  <a:gd name="connsiteY1703" fmla="*/ 2667 h 10000"/>
                  <a:gd name="connsiteX1704" fmla="*/ 3323 w 10785"/>
                  <a:gd name="connsiteY1704" fmla="*/ 2692 h 10000"/>
                  <a:gd name="connsiteX1705" fmla="*/ 3318 w 10785"/>
                  <a:gd name="connsiteY1705" fmla="*/ 2735 h 10000"/>
                  <a:gd name="connsiteX1706" fmla="*/ 3304 w 10785"/>
                  <a:gd name="connsiteY1706" fmla="*/ 2761 h 10000"/>
                  <a:gd name="connsiteX1707" fmla="*/ 3276 w 10785"/>
                  <a:gd name="connsiteY1707" fmla="*/ 2769 h 10000"/>
                  <a:gd name="connsiteX1708" fmla="*/ 3263 w 10785"/>
                  <a:gd name="connsiteY1708" fmla="*/ 2795 h 10000"/>
                  <a:gd name="connsiteX1709" fmla="*/ 3235 w 10785"/>
                  <a:gd name="connsiteY1709" fmla="*/ 2803 h 10000"/>
                  <a:gd name="connsiteX1710" fmla="*/ 3235 w 10785"/>
                  <a:gd name="connsiteY1710" fmla="*/ 2786 h 10000"/>
                  <a:gd name="connsiteX1711" fmla="*/ 3212 w 10785"/>
                  <a:gd name="connsiteY1711" fmla="*/ 2709 h 10000"/>
                  <a:gd name="connsiteX1712" fmla="*/ 3198 w 10785"/>
                  <a:gd name="connsiteY1712" fmla="*/ 2709 h 10000"/>
                  <a:gd name="connsiteX1713" fmla="*/ 3184 w 10785"/>
                  <a:gd name="connsiteY1713" fmla="*/ 2735 h 10000"/>
                  <a:gd name="connsiteX1714" fmla="*/ 3189 w 10785"/>
                  <a:gd name="connsiteY1714" fmla="*/ 2761 h 10000"/>
                  <a:gd name="connsiteX1715" fmla="*/ 3203 w 10785"/>
                  <a:gd name="connsiteY1715" fmla="*/ 2855 h 10000"/>
                  <a:gd name="connsiteX1716" fmla="*/ 3212 w 10785"/>
                  <a:gd name="connsiteY1716" fmla="*/ 2872 h 10000"/>
                  <a:gd name="connsiteX1717" fmla="*/ 3235 w 10785"/>
                  <a:gd name="connsiteY1717" fmla="*/ 2906 h 10000"/>
                  <a:gd name="connsiteX1718" fmla="*/ 3258 w 10785"/>
                  <a:gd name="connsiteY1718" fmla="*/ 2915 h 10000"/>
                  <a:gd name="connsiteX1719" fmla="*/ 3272 w 10785"/>
                  <a:gd name="connsiteY1719" fmla="*/ 2957 h 10000"/>
                  <a:gd name="connsiteX1720" fmla="*/ 3276 w 10785"/>
                  <a:gd name="connsiteY1720" fmla="*/ 2957 h 10000"/>
                  <a:gd name="connsiteX1721" fmla="*/ 3286 w 10785"/>
                  <a:gd name="connsiteY1721" fmla="*/ 2966 h 10000"/>
                  <a:gd name="connsiteX1722" fmla="*/ 3300 w 10785"/>
                  <a:gd name="connsiteY1722" fmla="*/ 2957 h 10000"/>
                  <a:gd name="connsiteX1723" fmla="*/ 3309 w 10785"/>
                  <a:gd name="connsiteY1723" fmla="*/ 2932 h 10000"/>
                  <a:gd name="connsiteX1724" fmla="*/ 3304 w 10785"/>
                  <a:gd name="connsiteY1724" fmla="*/ 2966 h 10000"/>
                  <a:gd name="connsiteX1725" fmla="*/ 3309 w 10785"/>
                  <a:gd name="connsiteY1725" fmla="*/ 2983 h 10000"/>
                  <a:gd name="connsiteX1726" fmla="*/ 3323 w 10785"/>
                  <a:gd name="connsiteY1726" fmla="*/ 2966 h 10000"/>
                  <a:gd name="connsiteX1727" fmla="*/ 3323 w 10785"/>
                  <a:gd name="connsiteY1727" fmla="*/ 3043 h 10000"/>
                  <a:gd name="connsiteX1728" fmla="*/ 3346 w 10785"/>
                  <a:gd name="connsiteY1728" fmla="*/ 3068 h 10000"/>
                  <a:gd name="connsiteX1729" fmla="*/ 3346 w 10785"/>
                  <a:gd name="connsiteY1729" fmla="*/ 3094 h 10000"/>
                  <a:gd name="connsiteX1730" fmla="*/ 3323 w 10785"/>
                  <a:gd name="connsiteY1730" fmla="*/ 3094 h 10000"/>
                  <a:gd name="connsiteX1731" fmla="*/ 3309 w 10785"/>
                  <a:gd name="connsiteY1731" fmla="*/ 3077 h 10000"/>
                  <a:gd name="connsiteX1732" fmla="*/ 3304 w 10785"/>
                  <a:gd name="connsiteY1732" fmla="*/ 3051 h 10000"/>
                  <a:gd name="connsiteX1733" fmla="*/ 3300 w 10785"/>
                  <a:gd name="connsiteY1733" fmla="*/ 3043 h 10000"/>
                  <a:gd name="connsiteX1734" fmla="*/ 3286 w 10785"/>
                  <a:gd name="connsiteY1734" fmla="*/ 3017 h 10000"/>
                  <a:gd name="connsiteX1735" fmla="*/ 3152 w 10785"/>
                  <a:gd name="connsiteY1735" fmla="*/ 2966 h 10000"/>
                  <a:gd name="connsiteX1736" fmla="*/ 3129 w 10785"/>
                  <a:gd name="connsiteY1736" fmla="*/ 2915 h 10000"/>
                  <a:gd name="connsiteX1737" fmla="*/ 3129 w 10785"/>
                  <a:gd name="connsiteY1737" fmla="*/ 2906 h 10000"/>
                  <a:gd name="connsiteX1738" fmla="*/ 3152 w 10785"/>
                  <a:gd name="connsiteY1738" fmla="*/ 2906 h 10000"/>
                  <a:gd name="connsiteX1739" fmla="*/ 3152 w 10785"/>
                  <a:gd name="connsiteY1739" fmla="*/ 2846 h 10000"/>
                  <a:gd name="connsiteX1740" fmla="*/ 3138 w 10785"/>
                  <a:gd name="connsiteY1740" fmla="*/ 2795 h 10000"/>
                  <a:gd name="connsiteX1741" fmla="*/ 3138 w 10785"/>
                  <a:gd name="connsiteY1741" fmla="*/ 2769 h 10000"/>
                  <a:gd name="connsiteX1742" fmla="*/ 3143 w 10785"/>
                  <a:gd name="connsiteY1742" fmla="*/ 2718 h 10000"/>
                  <a:gd name="connsiteX1743" fmla="*/ 3129 w 10785"/>
                  <a:gd name="connsiteY1743" fmla="*/ 2692 h 10000"/>
                  <a:gd name="connsiteX1744" fmla="*/ 3143 w 10785"/>
                  <a:gd name="connsiteY1744" fmla="*/ 2667 h 10000"/>
                  <a:gd name="connsiteX1745" fmla="*/ 3157 w 10785"/>
                  <a:gd name="connsiteY1745" fmla="*/ 2581 h 10000"/>
                  <a:gd name="connsiteX1746" fmla="*/ 3143 w 10785"/>
                  <a:gd name="connsiteY1746" fmla="*/ 2496 h 10000"/>
                  <a:gd name="connsiteX1747" fmla="*/ 3157 w 10785"/>
                  <a:gd name="connsiteY1747" fmla="*/ 2487 h 10000"/>
                  <a:gd name="connsiteX1748" fmla="*/ 3143 w 10785"/>
                  <a:gd name="connsiteY1748" fmla="*/ 2444 h 10000"/>
                  <a:gd name="connsiteX1749" fmla="*/ 3143 w 10785"/>
                  <a:gd name="connsiteY1749" fmla="*/ 2419 h 10000"/>
                  <a:gd name="connsiteX1750" fmla="*/ 3143 w 10785"/>
                  <a:gd name="connsiteY1750" fmla="*/ 2410 h 10000"/>
                  <a:gd name="connsiteX1751" fmla="*/ 3124 w 10785"/>
                  <a:gd name="connsiteY1751" fmla="*/ 2376 h 10000"/>
                  <a:gd name="connsiteX1752" fmla="*/ 3115 w 10785"/>
                  <a:gd name="connsiteY1752" fmla="*/ 2350 h 10000"/>
                  <a:gd name="connsiteX1753" fmla="*/ 3101 w 10785"/>
                  <a:gd name="connsiteY1753" fmla="*/ 2359 h 10000"/>
                  <a:gd name="connsiteX1754" fmla="*/ 3115 w 10785"/>
                  <a:gd name="connsiteY1754" fmla="*/ 2581 h 10000"/>
                  <a:gd name="connsiteX1755" fmla="*/ 3111 w 10785"/>
                  <a:gd name="connsiteY1755" fmla="*/ 2624 h 10000"/>
                  <a:gd name="connsiteX1756" fmla="*/ 3009 w 10785"/>
                  <a:gd name="connsiteY1756" fmla="*/ 2761 h 10000"/>
                  <a:gd name="connsiteX1757" fmla="*/ 3009 w 10785"/>
                  <a:gd name="connsiteY1757" fmla="*/ 2803 h 10000"/>
                  <a:gd name="connsiteX1758" fmla="*/ 3005 w 10785"/>
                  <a:gd name="connsiteY1758" fmla="*/ 2829 h 10000"/>
                  <a:gd name="connsiteX1759" fmla="*/ 2982 w 10785"/>
                  <a:gd name="connsiteY1759" fmla="*/ 2872 h 10000"/>
                  <a:gd name="connsiteX1760" fmla="*/ 2982 w 10785"/>
                  <a:gd name="connsiteY1760" fmla="*/ 2880 h 10000"/>
                  <a:gd name="connsiteX1761" fmla="*/ 3037 w 10785"/>
                  <a:gd name="connsiteY1761" fmla="*/ 3034 h 10000"/>
                  <a:gd name="connsiteX1762" fmla="*/ 3041 w 10785"/>
                  <a:gd name="connsiteY1762" fmla="*/ 3103 h 10000"/>
                  <a:gd name="connsiteX1763" fmla="*/ 3069 w 10785"/>
                  <a:gd name="connsiteY1763" fmla="*/ 3188 h 10000"/>
                  <a:gd name="connsiteX1764" fmla="*/ 3055 w 10785"/>
                  <a:gd name="connsiteY1764" fmla="*/ 3325 h 10000"/>
                  <a:gd name="connsiteX1765" fmla="*/ 3037 w 10785"/>
                  <a:gd name="connsiteY1765" fmla="*/ 3368 h 10000"/>
                  <a:gd name="connsiteX1766" fmla="*/ 3037 w 10785"/>
                  <a:gd name="connsiteY1766" fmla="*/ 3444 h 10000"/>
                  <a:gd name="connsiteX1767" fmla="*/ 3028 w 10785"/>
                  <a:gd name="connsiteY1767" fmla="*/ 3453 h 10000"/>
                  <a:gd name="connsiteX1768" fmla="*/ 3023 w 10785"/>
                  <a:gd name="connsiteY1768" fmla="*/ 3530 h 10000"/>
                  <a:gd name="connsiteX1769" fmla="*/ 3051 w 10785"/>
                  <a:gd name="connsiteY1769" fmla="*/ 3624 h 10000"/>
                  <a:gd name="connsiteX1770" fmla="*/ 3037 w 10785"/>
                  <a:gd name="connsiteY1770" fmla="*/ 3718 h 10000"/>
                  <a:gd name="connsiteX1771" fmla="*/ 3041 w 10785"/>
                  <a:gd name="connsiteY1771" fmla="*/ 3752 h 10000"/>
                  <a:gd name="connsiteX1772" fmla="*/ 3055 w 10785"/>
                  <a:gd name="connsiteY1772" fmla="*/ 3761 h 10000"/>
                  <a:gd name="connsiteX1773" fmla="*/ 3078 w 10785"/>
                  <a:gd name="connsiteY1773" fmla="*/ 3752 h 10000"/>
                  <a:gd name="connsiteX1774" fmla="*/ 3092 w 10785"/>
                  <a:gd name="connsiteY1774" fmla="*/ 3752 h 10000"/>
                  <a:gd name="connsiteX1775" fmla="*/ 3129 w 10785"/>
                  <a:gd name="connsiteY1775" fmla="*/ 3761 h 10000"/>
                  <a:gd name="connsiteX1776" fmla="*/ 3129 w 10785"/>
                  <a:gd name="connsiteY1776" fmla="*/ 3735 h 10000"/>
                  <a:gd name="connsiteX1777" fmla="*/ 3157 w 10785"/>
                  <a:gd name="connsiteY1777" fmla="*/ 3718 h 10000"/>
                  <a:gd name="connsiteX1778" fmla="*/ 3184 w 10785"/>
                  <a:gd name="connsiteY1778" fmla="*/ 3718 h 10000"/>
                  <a:gd name="connsiteX1779" fmla="*/ 3290 w 10785"/>
                  <a:gd name="connsiteY1779" fmla="*/ 3838 h 10000"/>
                  <a:gd name="connsiteX1780" fmla="*/ 3300 w 10785"/>
                  <a:gd name="connsiteY1780" fmla="*/ 3846 h 10000"/>
                  <a:gd name="connsiteX1781" fmla="*/ 3300 w 10785"/>
                  <a:gd name="connsiteY1781" fmla="*/ 3915 h 10000"/>
                  <a:gd name="connsiteX1782" fmla="*/ 3318 w 10785"/>
                  <a:gd name="connsiteY1782" fmla="*/ 4000 h 10000"/>
                  <a:gd name="connsiteX1783" fmla="*/ 3323 w 10785"/>
                  <a:gd name="connsiteY1783" fmla="*/ 4000 h 10000"/>
                  <a:gd name="connsiteX1784" fmla="*/ 3323 w 10785"/>
                  <a:gd name="connsiteY1784" fmla="*/ 4034 h 10000"/>
                  <a:gd name="connsiteX1785" fmla="*/ 3318 w 10785"/>
                  <a:gd name="connsiteY1785" fmla="*/ 4051 h 10000"/>
                  <a:gd name="connsiteX1786" fmla="*/ 3300 w 10785"/>
                  <a:gd name="connsiteY1786" fmla="*/ 4051 h 10000"/>
                  <a:gd name="connsiteX1787" fmla="*/ 3290 w 10785"/>
                  <a:gd name="connsiteY1787" fmla="*/ 4077 h 10000"/>
                  <a:gd name="connsiteX1788" fmla="*/ 3286 w 10785"/>
                  <a:gd name="connsiteY1788" fmla="*/ 4103 h 10000"/>
                  <a:gd name="connsiteX1789" fmla="*/ 3286 w 10785"/>
                  <a:gd name="connsiteY1789" fmla="*/ 4197 h 10000"/>
                  <a:gd name="connsiteX1790" fmla="*/ 3290 w 10785"/>
                  <a:gd name="connsiteY1790" fmla="*/ 4214 h 10000"/>
                  <a:gd name="connsiteX1791" fmla="*/ 3304 w 10785"/>
                  <a:gd name="connsiteY1791" fmla="*/ 4214 h 10000"/>
                  <a:gd name="connsiteX1792" fmla="*/ 3323 w 10785"/>
                  <a:gd name="connsiteY1792" fmla="*/ 4239 h 10000"/>
                  <a:gd name="connsiteX1793" fmla="*/ 3350 w 10785"/>
                  <a:gd name="connsiteY1793" fmla="*/ 4222 h 10000"/>
                  <a:gd name="connsiteX1794" fmla="*/ 3369 w 10785"/>
                  <a:gd name="connsiteY1794" fmla="*/ 4256 h 10000"/>
                  <a:gd name="connsiteX1795" fmla="*/ 3369 w 10785"/>
                  <a:gd name="connsiteY1795" fmla="*/ 4256 h 10000"/>
                  <a:gd name="connsiteX1796" fmla="*/ 3336 w 10785"/>
                  <a:gd name="connsiteY1796" fmla="*/ 4274 h 10000"/>
                  <a:gd name="connsiteX1797" fmla="*/ 3323 w 10785"/>
                  <a:gd name="connsiteY1797" fmla="*/ 4274 h 10000"/>
                  <a:gd name="connsiteX1798" fmla="*/ 3290 w 10785"/>
                  <a:gd name="connsiteY1798" fmla="*/ 4274 h 10000"/>
                  <a:gd name="connsiteX1799" fmla="*/ 3286 w 10785"/>
                  <a:gd name="connsiteY1799" fmla="*/ 4239 h 10000"/>
                  <a:gd name="connsiteX1800" fmla="*/ 3263 w 10785"/>
                  <a:gd name="connsiteY1800" fmla="*/ 4214 h 10000"/>
                  <a:gd name="connsiteX1801" fmla="*/ 3258 w 10785"/>
                  <a:gd name="connsiteY1801" fmla="*/ 4188 h 10000"/>
                  <a:gd name="connsiteX1802" fmla="*/ 3263 w 10785"/>
                  <a:gd name="connsiteY1802" fmla="*/ 4171 h 10000"/>
                  <a:gd name="connsiteX1803" fmla="*/ 3263 w 10785"/>
                  <a:gd name="connsiteY1803" fmla="*/ 4103 h 10000"/>
                  <a:gd name="connsiteX1804" fmla="*/ 3276 w 10785"/>
                  <a:gd name="connsiteY1804" fmla="*/ 4060 h 10000"/>
                  <a:gd name="connsiteX1805" fmla="*/ 3272 w 10785"/>
                  <a:gd name="connsiteY1805" fmla="*/ 4051 h 10000"/>
                  <a:gd name="connsiteX1806" fmla="*/ 3263 w 10785"/>
                  <a:gd name="connsiteY1806" fmla="*/ 4051 h 10000"/>
                  <a:gd name="connsiteX1807" fmla="*/ 3263 w 10785"/>
                  <a:gd name="connsiteY1807" fmla="*/ 4034 h 10000"/>
                  <a:gd name="connsiteX1808" fmla="*/ 3263 w 10785"/>
                  <a:gd name="connsiteY1808" fmla="*/ 4000 h 10000"/>
                  <a:gd name="connsiteX1809" fmla="*/ 3272 w 10785"/>
                  <a:gd name="connsiteY1809" fmla="*/ 4000 h 10000"/>
                  <a:gd name="connsiteX1810" fmla="*/ 3272 w 10785"/>
                  <a:gd name="connsiteY1810" fmla="*/ 3974 h 10000"/>
                  <a:gd name="connsiteX1811" fmla="*/ 3272 w 10785"/>
                  <a:gd name="connsiteY1811" fmla="*/ 3966 h 10000"/>
                  <a:gd name="connsiteX1812" fmla="*/ 3272 w 10785"/>
                  <a:gd name="connsiteY1812" fmla="*/ 3949 h 10000"/>
                  <a:gd name="connsiteX1813" fmla="*/ 3258 w 10785"/>
                  <a:gd name="connsiteY1813" fmla="*/ 3923 h 10000"/>
                  <a:gd name="connsiteX1814" fmla="*/ 3249 w 10785"/>
                  <a:gd name="connsiteY1814" fmla="*/ 3915 h 10000"/>
                  <a:gd name="connsiteX1815" fmla="*/ 3244 w 10785"/>
                  <a:gd name="connsiteY1815" fmla="*/ 3897 h 10000"/>
                  <a:gd name="connsiteX1816" fmla="*/ 3230 w 10785"/>
                  <a:gd name="connsiteY1816" fmla="*/ 3889 h 10000"/>
                  <a:gd name="connsiteX1817" fmla="*/ 3230 w 10785"/>
                  <a:gd name="connsiteY1817" fmla="*/ 3863 h 10000"/>
                  <a:gd name="connsiteX1818" fmla="*/ 3230 w 10785"/>
                  <a:gd name="connsiteY1818" fmla="*/ 3838 h 10000"/>
                  <a:gd name="connsiteX1819" fmla="*/ 3226 w 10785"/>
                  <a:gd name="connsiteY1819" fmla="*/ 3803 h 10000"/>
                  <a:gd name="connsiteX1820" fmla="*/ 3138 w 10785"/>
                  <a:gd name="connsiteY1820" fmla="*/ 3838 h 10000"/>
                  <a:gd name="connsiteX1821" fmla="*/ 3078 w 10785"/>
                  <a:gd name="connsiteY1821" fmla="*/ 3889 h 10000"/>
                  <a:gd name="connsiteX1822" fmla="*/ 3078 w 10785"/>
                  <a:gd name="connsiteY1822" fmla="*/ 3940 h 10000"/>
                  <a:gd name="connsiteX1823" fmla="*/ 3069 w 10785"/>
                  <a:gd name="connsiteY1823" fmla="*/ 3983 h 10000"/>
                  <a:gd name="connsiteX1824" fmla="*/ 3069 w 10785"/>
                  <a:gd name="connsiteY1824" fmla="*/ 4009 h 10000"/>
                  <a:gd name="connsiteX1825" fmla="*/ 3078 w 10785"/>
                  <a:gd name="connsiteY1825" fmla="*/ 4026 h 10000"/>
                  <a:gd name="connsiteX1826" fmla="*/ 3083 w 10785"/>
                  <a:gd name="connsiteY1826" fmla="*/ 4034 h 10000"/>
                  <a:gd name="connsiteX1827" fmla="*/ 3092 w 10785"/>
                  <a:gd name="connsiteY1827" fmla="*/ 4060 h 10000"/>
                  <a:gd name="connsiteX1828" fmla="*/ 3092 w 10785"/>
                  <a:gd name="connsiteY1828" fmla="*/ 4077 h 10000"/>
                  <a:gd name="connsiteX1829" fmla="*/ 3097 w 10785"/>
                  <a:gd name="connsiteY1829" fmla="*/ 4103 h 10000"/>
                  <a:gd name="connsiteX1830" fmla="*/ 3101 w 10785"/>
                  <a:gd name="connsiteY1830" fmla="*/ 4162 h 10000"/>
                  <a:gd name="connsiteX1831" fmla="*/ 3097 w 10785"/>
                  <a:gd name="connsiteY1831" fmla="*/ 4222 h 10000"/>
                  <a:gd name="connsiteX1832" fmla="*/ 3041 w 10785"/>
                  <a:gd name="connsiteY1832" fmla="*/ 4325 h 10000"/>
                  <a:gd name="connsiteX1833" fmla="*/ 3037 w 10785"/>
                  <a:gd name="connsiteY1833" fmla="*/ 4419 h 10000"/>
                  <a:gd name="connsiteX1834" fmla="*/ 3018 w 10785"/>
                  <a:gd name="connsiteY1834" fmla="*/ 4470 h 10000"/>
                  <a:gd name="connsiteX1835" fmla="*/ 2991 w 10785"/>
                  <a:gd name="connsiteY1835" fmla="*/ 4513 h 10000"/>
                  <a:gd name="connsiteX1836" fmla="*/ 2977 w 10785"/>
                  <a:gd name="connsiteY1836" fmla="*/ 4530 h 10000"/>
                  <a:gd name="connsiteX1837" fmla="*/ 2945 w 10785"/>
                  <a:gd name="connsiteY1837" fmla="*/ 4556 h 10000"/>
                  <a:gd name="connsiteX1838" fmla="*/ 2935 w 10785"/>
                  <a:gd name="connsiteY1838" fmla="*/ 4581 h 10000"/>
                  <a:gd name="connsiteX1839" fmla="*/ 2949 w 10785"/>
                  <a:gd name="connsiteY1839" fmla="*/ 4624 h 10000"/>
                  <a:gd name="connsiteX1840" fmla="*/ 2945 w 10785"/>
                  <a:gd name="connsiteY1840" fmla="*/ 4658 h 10000"/>
                  <a:gd name="connsiteX1841" fmla="*/ 2922 w 10785"/>
                  <a:gd name="connsiteY1841" fmla="*/ 4667 h 10000"/>
                  <a:gd name="connsiteX1842" fmla="*/ 2876 w 10785"/>
                  <a:gd name="connsiteY1842" fmla="*/ 4632 h 10000"/>
                  <a:gd name="connsiteX1843" fmla="*/ 2857 w 10785"/>
                  <a:gd name="connsiteY1843" fmla="*/ 4632 h 10000"/>
                  <a:gd name="connsiteX1844" fmla="*/ 2820 w 10785"/>
                  <a:gd name="connsiteY1844" fmla="*/ 4641 h 10000"/>
                  <a:gd name="connsiteX1845" fmla="*/ 2797 w 10785"/>
                  <a:gd name="connsiteY1845" fmla="*/ 4632 h 10000"/>
                  <a:gd name="connsiteX1846" fmla="*/ 2788 w 10785"/>
                  <a:gd name="connsiteY1846" fmla="*/ 4624 h 10000"/>
                  <a:gd name="connsiteX1847" fmla="*/ 2788 w 10785"/>
                  <a:gd name="connsiteY1847" fmla="*/ 4598 h 10000"/>
                  <a:gd name="connsiteX1848" fmla="*/ 2797 w 10785"/>
                  <a:gd name="connsiteY1848" fmla="*/ 4581 h 10000"/>
                  <a:gd name="connsiteX1849" fmla="*/ 2788 w 10785"/>
                  <a:gd name="connsiteY1849" fmla="*/ 4530 h 10000"/>
                  <a:gd name="connsiteX1850" fmla="*/ 2774 w 10785"/>
                  <a:gd name="connsiteY1850" fmla="*/ 4530 h 10000"/>
                  <a:gd name="connsiteX1851" fmla="*/ 2770 w 10785"/>
                  <a:gd name="connsiteY1851" fmla="*/ 4513 h 10000"/>
                  <a:gd name="connsiteX1852" fmla="*/ 2774 w 10785"/>
                  <a:gd name="connsiteY1852" fmla="*/ 4513 h 10000"/>
                  <a:gd name="connsiteX1853" fmla="*/ 2788 w 10785"/>
                  <a:gd name="connsiteY1853" fmla="*/ 4496 h 10000"/>
                  <a:gd name="connsiteX1854" fmla="*/ 2802 w 10785"/>
                  <a:gd name="connsiteY1854" fmla="*/ 4513 h 10000"/>
                  <a:gd name="connsiteX1855" fmla="*/ 2811 w 10785"/>
                  <a:gd name="connsiteY1855" fmla="*/ 4530 h 10000"/>
                  <a:gd name="connsiteX1856" fmla="*/ 2820 w 10785"/>
                  <a:gd name="connsiteY1856" fmla="*/ 4521 h 10000"/>
                  <a:gd name="connsiteX1857" fmla="*/ 2829 w 10785"/>
                  <a:gd name="connsiteY1857" fmla="*/ 4513 h 10000"/>
                  <a:gd name="connsiteX1858" fmla="*/ 2843 w 10785"/>
                  <a:gd name="connsiteY1858" fmla="*/ 4513 h 10000"/>
                  <a:gd name="connsiteX1859" fmla="*/ 2848 w 10785"/>
                  <a:gd name="connsiteY1859" fmla="*/ 4470 h 10000"/>
                  <a:gd name="connsiteX1860" fmla="*/ 2862 w 10785"/>
                  <a:gd name="connsiteY1860" fmla="*/ 4487 h 10000"/>
                  <a:gd name="connsiteX1861" fmla="*/ 2876 w 10785"/>
                  <a:gd name="connsiteY1861" fmla="*/ 4470 h 10000"/>
                  <a:gd name="connsiteX1862" fmla="*/ 2880 w 10785"/>
                  <a:gd name="connsiteY1862" fmla="*/ 4462 h 10000"/>
                  <a:gd name="connsiteX1863" fmla="*/ 2889 w 10785"/>
                  <a:gd name="connsiteY1863" fmla="*/ 4444 h 10000"/>
                  <a:gd name="connsiteX1864" fmla="*/ 2894 w 10785"/>
                  <a:gd name="connsiteY1864" fmla="*/ 4462 h 10000"/>
                  <a:gd name="connsiteX1865" fmla="*/ 2917 w 10785"/>
                  <a:gd name="connsiteY1865" fmla="*/ 4444 h 10000"/>
                  <a:gd name="connsiteX1866" fmla="*/ 2922 w 10785"/>
                  <a:gd name="connsiteY1866" fmla="*/ 4436 h 10000"/>
                  <a:gd name="connsiteX1867" fmla="*/ 2917 w 10785"/>
                  <a:gd name="connsiteY1867" fmla="*/ 4410 h 10000"/>
                  <a:gd name="connsiteX1868" fmla="*/ 2894 w 10785"/>
                  <a:gd name="connsiteY1868" fmla="*/ 4410 h 10000"/>
                  <a:gd name="connsiteX1869" fmla="*/ 2889 w 10785"/>
                  <a:gd name="connsiteY1869" fmla="*/ 4419 h 10000"/>
                  <a:gd name="connsiteX1870" fmla="*/ 2876 w 10785"/>
                  <a:gd name="connsiteY1870" fmla="*/ 4410 h 10000"/>
                  <a:gd name="connsiteX1871" fmla="*/ 2880 w 10785"/>
                  <a:gd name="connsiteY1871" fmla="*/ 4376 h 10000"/>
                  <a:gd name="connsiteX1872" fmla="*/ 2903 w 10785"/>
                  <a:gd name="connsiteY1872" fmla="*/ 4393 h 10000"/>
                  <a:gd name="connsiteX1873" fmla="*/ 2931 w 10785"/>
                  <a:gd name="connsiteY1873" fmla="*/ 4393 h 10000"/>
                  <a:gd name="connsiteX1874" fmla="*/ 2931 w 10785"/>
                  <a:gd name="connsiteY1874" fmla="*/ 4385 h 10000"/>
                  <a:gd name="connsiteX1875" fmla="*/ 2931 w 10785"/>
                  <a:gd name="connsiteY1875" fmla="*/ 4350 h 10000"/>
                  <a:gd name="connsiteX1876" fmla="*/ 2945 w 10785"/>
                  <a:gd name="connsiteY1876" fmla="*/ 4350 h 10000"/>
                  <a:gd name="connsiteX1877" fmla="*/ 2949 w 10785"/>
                  <a:gd name="connsiteY1877" fmla="*/ 4325 h 10000"/>
                  <a:gd name="connsiteX1878" fmla="*/ 2963 w 10785"/>
                  <a:gd name="connsiteY1878" fmla="*/ 4256 h 10000"/>
                  <a:gd name="connsiteX1879" fmla="*/ 2982 w 10785"/>
                  <a:gd name="connsiteY1879" fmla="*/ 4239 h 10000"/>
                  <a:gd name="connsiteX1880" fmla="*/ 2991 w 10785"/>
                  <a:gd name="connsiteY1880" fmla="*/ 4214 h 10000"/>
                  <a:gd name="connsiteX1881" fmla="*/ 2991 w 10785"/>
                  <a:gd name="connsiteY1881" fmla="*/ 4197 h 10000"/>
                  <a:gd name="connsiteX1882" fmla="*/ 2995 w 10785"/>
                  <a:gd name="connsiteY1882" fmla="*/ 4171 h 10000"/>
                  <a:gd name="connsiteX1883" fmla="*/ 2991 w 10785"/>
                  <a:gd name="connsiteY1883" fmla="*/ 4077 h 10000"/>
                  <a:gd name="connsiteX1884" fmla="*/ 2995 w 10785"/>
                  <a:gd name="connsiteY1884" fmla="*/ 4034 h 10000"/>
                  <a:gd name="connsiteX1885" fmla="*/ 3018 w 10785"/>
                  <a:gd name="connsiteY1885" fmla="*/ 3983 h 10000"/>
                  <a:gd name="connsiteX1886" fmla="*/ 3018 w 10785"/>
                  <a:gd name="connsiteY1886" fmla="*/ 3915 h 10000"/>
                  <a:gd name="connsiteX1887" fmla="*/ 2949 w 10785"/>
                  <a:gd name="connsiteY1887" fmla="*/ 3778 h 10000"/>
                  <a:gd name="connsiteX1888" fmla="*/ 2954 w 10785"/>
                  <a:gd name="connsiteY1888" fmla="*/ 3675 h 10000"/>
                  <a:gd name="connsiteX1889" fmla="*/ 2954 w 10785"/>
                  <a:gd name="connsiteY1889" fmla="*/ 3650 h 10000"/>
                  <a:gd name="connsiteX1890" fmla="*/ 2963 w 10785"/>
                  <a:gd name="connsiteY1890" fmla="*/ 3624 h 10000"/>
                  <a:gd name="connsiteX1891" fmla="*/ 2954 w 10785"/>
                  <a:gd name="connsiteY1891" fmla="*/ 3564 h 10000"/>
                  <a:gd name="connsiteX1892" fmla="*/ 2963 w 10785"/>
                  <a:gd name="connsiteY1892" fmla="*/ 3538 h 10000"/>
                  <a:gd name="connsiteX1893" fmla="*/ 2963 w 10785"/>
                  <a:gd name="connsiteY1893" fmla="*/ 3487 h 10000"/>
                  <a:gd name="connsiteX1894" fmla="*/ 2963 w 10785"/>
                  <a:gd name="connsiteY1894" fmla="*/ 3479 h 10000"/>
                  <a:gd name="connsiteX1895" fmla="*/ 2963 w 10785"/>
                  <a:gd name="connsiteY1895" fmla="*/ 3462 h 10000"/>
                  <a:gd name="connsiteX1896" fmla="*/ 2954 w 10785"/>
                  <a:gd name="connsiteY1896" fmla="*/ 3453 h 10000"/>
                  <a:gd name="connsiteX1897" fmla="*/ 2954 w 10785"/>
                  <a:gd name="connsiteY1897" fmla="*/ 3444 h 10000"/>
                  <a:gd name="connsiteX1898" fmla="*/ 2954 w 10785"/>
                  <a:gd name="connsiteY1898" fmla="*/ 3402 h 10000"/>
                  <a:gd name="connsiteX1899" fmla="*/ 2954 w 10785"/>
                  <a:gd name="connsiteY1899" fmla="*/ 3393 h 10000"/>
                  <a:gd name="connsiteX1900" fmla="*/ 2949 w 10785"/>
                  <a:gd name="connsiteY1900" fmla="*/ 3376 h 10000"/>
                  <a:gd name="connsiteX1901" fmla="*/ 2949 w 10785"/>
                  <a:gd name="connsiteY1901" fmla="*/ 3342 h 10000"/>
                  <a:gd name="connsiteX1902" fmla="*/ 2949 w 10785"/>
                  <a:gd name="connsiteY1902" fmla="*/ 3316 h 10000"/>
                  <a:gd name="connsiteX1903" fmla="*/ 2968 w 10785"/>
                  <a:gd name="connsiteY1903" fmla="*/ 3291 h 10000"/>
                  <a:gd name="connsiteX1904" fmla="*/ 2963 w 10785"/>
                  <a:gd name="connsiteY1904" fmla="*/ 3205 h 10000"/>
                  <a:gd name="connsiteX1905" fmla="*/ 2968 w 10785"/>
                  <a:gd name="connsiteY1905" fmla="*/ 3171 h 10000"/>
                  <a:gd name="connsiteX1906" fmla="*/ 2968 w 10785"/>
                  <a:gd name="connsiteY1906" fmla="*/ 3128 h 10000"/>
                  <a:gd name="connsiteX1907" fmla="*/ 2954 w 10785"/>
                  <a:gd name="connsiteY1907" fmla="*/ 3051 h 10000"/>
                  <a:gd name="connsiteX1908" fmla="*/ 2954 w 10785"/>
                  <a:gd name="connsiteY1908" fmla="*/ 3009 h 10000"/>
                  <a:gd name="connsiteX1909" fmla="*/ 2922 w 10785"/>
                  <a:gd name="connsiteY1909" fmla="*/ 2940 h 10000"/>
                  <a:gd name="connsiteX1910" fmla="*/ 2903 w 10785"/>
                  <a:gd name="connsiteY1910" fmla="*/ 2880 h 10000"/>
                  <a:gd name="connsiteX1911" fmla="*/ 2903 w 10785"/>
                  <a:gd name="connsiteY1911" fmla="*/ 2855 h 10000"/>
                  <a:gd name="connsiteX1912" fmla="*/ 2908 w 10785"/>
                  <a:gd name="connsiteY1912" fmla="*/ 2846 h 10000"/>
                  <a:gd name="connsiteX1913" fmla="*/ 2931 w 10785"/>
                  <a:gd name="connsiteY1913" fmla="*/ 2821 h 10000"/>
                  <a:gd name="connsiteX1914" fmla="*/ 2931 w 10785"/>
                  <a:gd name="connsiteY1914" fmla="*/ 2803 h 10000"/>
                  <a:gd name="connsiteX1915" fmla="*/ 2935 w 10785"/>
                  <a:gd name="connsiteY1915" fmla="*/ 2786 h 10000"/>
                  <a:gd name="connsiteX1916" fmla="*/ 2935 w 10785"/>
                  <a:gd name="connsiteY1916" fmla="*/ 2744 h 10000"/>
                  <a:gd name="connsiteX1917" fmla="*/ 2963 w 10785"/>
                  <a:gd name="connsiteY1917" fmla="*/ 2607 h 10000"/>
                  <a:gd name="connsiteX1918" fmla="*/ 2963 w 10785"/>
                  <a:gd name="connsiteY1918" fmla="*/ 2419 h 10000"/>
                  <a:gd name="connsiteX1919" fmla="*/ 2954 w 10785"/>
                  <a:gd name="connsiteY1919" fmla="*/ 2410 h 10000"/>
                  <a:gd name="connsiteX1920" fmla="*/ 2963 w 10785"/>
                  <a:gd name="connsiteY1920" fmla="*/ 2393 h 10000"/>
                  <a:gd name="connsiteX1921" fmla="*/ 2908 w 10785"/>
                  <a:gd name="connsiteY1921" fmla="*/ 2359 h 10000"/>
                  <a:gd name="connsiteX1922" fmla="*/ 2889 w 10785"/>
                  <a:gd name="connsiteY1922" fmla="*/ 2325 h 10000"/>
                  <a:gd name="connsiteX1923" fmla="*/ 2788 w 10785"/>
                  <a:gd name="connsiteY1923" fmla="*/ 2333 h 10000"/>
                  <a:gd name="connsiteX1924" fmla="*/ 2774 w 10785"/>
                  <a:gd name="connsiteY1924" fmla="*/ 2325 h 10000"/>
                  <a:gd name="connsiteX1925" fmla="*/ 2783 w 10785"/>
                  <a:gd name="connsiteY1925" fmla="*/ 2308 h 10000"/>
                  <a:gd name="connsiteX1926" fmla="*/ 2747 w 10785"/>
                  <a:gd name="connsiteY1926" fmla="*/ 2308 h 10000"/>
                  <a:gd name="connsiteX1927" fmla="*/ 2742 w 10785"/>
                  <a:gd name="connsiteY1927" fmla="*/ 2333 h 10000"/>
                  <a:gd name="connsiteX1928" fmla="*/ 2682 w 10785"/>
                  <a:gd name="connsiteY1928" fmla="*/ 2769 h 10000"/>
                  <a:gd name="connsiteX1929" fmla="*/ 2613 w 10785"/>
                  <a:gd name="connsiteY1929" fmla="*/ 2940 h 10000"/>
                  <a:gd name="connsiteX1930" fmla="*/ 2581 w 10785"/>
                  <a:gd name="connsiteY1930" fmla="*/ 2966 h 10000"/>
                  <a:gd name="connsiteX1931" fmla="*/ 2576 w 10785"/>
                  <a:gd name="connsiteY1931" fmla="*/ 3051 h 10000"/>
                  <a:gd name="connsiteX1932" fmla="*/ 2581 w 10785"/>
                  <a:gd name="connsiteY1932" fmla="*/ 3051 h 10000"/>
                  <a:gd name="connsiteX1933" fmla="*/ 2594 w 10785"/>
                  <a:gd name="connsiteY1933" fmla="*/ 3017 h 10000"/>
                  <a:gd name="connsiteX1934" fmla="*/ 2594 w 10785"/>
                  <a:gd name="connsiteY1934" fmla="*/ 3034 h 10000"/>
                  <a:gd name="connsiteX1935" fmla="*/ 2594 w 10785"/>
                  <a:gd name="connsiteY1935" fmla="*/ 3051 h 10000"/>
                  <a:gd name="connsiteX1936" fmla="*/ 2590 w 10785"/>
                  <a:gd name="connsiteY1936" fmla="*/ 3077 h 10000"/>
                  <a:gd name="connsiteX1937" fmla="*/ 2567 w 10785"/>
                  <a:gd name="connsiteY1937" fmla="*/ 3103 h 10000"/>
                  <a:gd name="connsiteX1938" fmla="*/ 2562 w 10785"/>
                  <a:gd name="connsiteY1938" fmla="*/ 3145 h 10000"/>
                  <a:gd name="connsiteX1939" fmla="*/ 2567 w 10785"/>
                  <a:gd name="connsiteY1939" fmla="*/ 3179 h 10000"/>
                  <a:gd name="connsiteX1940" fmla="*/ 2590 w 10785"/>
                  <a:gd name="connsiteY1940" fmla="*/ 3171 h 10000"/>
                  <a:gd name="connsiteX1941" fmla="*/ 2594 w 10785"/>
                  <a:gd name="connsiteY1941" fmla="*/ 3145 h 10000"/>
                  <a:gd name="connsiteX1942" fmla="*/ 2613 w 10785"/>
                  <a:gd name="connsiteY1942" fmla="*/ 3154 h 10000"/>
                  <a:gd name="connsiteX1943" fmla="*/ 2622 w 10785"/>
                  <a:gd name="connsiteY1943" fmla="*/ 3179 h 10000"/>
                  <a:gd name="connsiteX1944" fmla="*/ 2613 w 10785"/>
                  <a:gd name="connsiteY1944" fmla="*/ 3214 h 10000"/>
                  <a:gd name="connsiteX1945" fmla="*/ 2613 w 10785"/>
                  <a:gd name="connsiteY1945" fmla="*/ 3308 h 10000"/>
                  <a:gd name="connsiteX1946" fmla="*/ 2608 w 10785"/>
                  <a:gd name="connsiteY1946" fmla="*/ 3325 h 10000"/>
                  <a:gd name="connsiteX1947" fmla="*/ 2608 w 10785"/>
                  <a:gd name="connsiteY1947" fmla="*/ 3376 h 10000"/>
                  <a:gd name="connsiteX1948" fmla="*/ 2613 w 10785"/>
                  <a:gd name="connsiteY1948" fmla="*/ 3419 h 10000"/>
                  <a:gd name="connsiteX1949" fmla="*/ 2608 w 10785"/>
                  <a:gd name="connsiteY1949" fmla="*/ 3444 h 10000"/>
                  <a:gd name="connsiteX1950" fmla="*/ 2594 w 10785"/>
                  <a:gd name="connsiteY1950" fmla="*/ 3444 h 10000"/>
                  <a:gd name="connsiteX1951" fmla="*/ 2590 w 10785"/>
                  <a:gd name="connsiteY1951" fmla="*/ 3427 h 10000"/>
                  <a:gd name="connsiteX1952" fmla="*/ 2581 w 10785"/>
                  <a:gd name="connsiteY1952" fmla="*/ 3564 h 10000"/>
                  <a:gd name="connsiteX1953" fmla="*/ 2594 w 10785"/>
                  <a:gd name="connsiteY1953" fmla="*/ 3598 h 10000"/>
                  <a:gd name="connsiteX1954" fmla="*/ 2594 w 10785"/>
                  <a:gd name="connsiteY1954" fmla="*/ 3581 h 10000"/>
                  <a:gd name="connsiteX1955" fmla="*/ 2608 w 10785"/>
                  <a:gd name="connsiteY1955" fmla="*/ 3556 h 10000"/>
                  <a:gd name="connsiteX1956" fmla="*/ 2650 w 10785"/>
                  <a:gd name="connsiteY1956" fmla="*/ 3615 h 10000"/>
                  <a:gd name="connsiteX1957" fmla="*/ 2664 w 10785"/>
                  <a:gd name="connsiteY1957" fmla="*/ 3615 h 10000"/>
                  <a:gd name="connsiteX1958" fmla="*/ 2668 w 10785"/>
                  <a:gd name="connsiteY1958" fmla="*/ 3615 h 10000"/>
                  <a:gd name="connsiteX1959" fmla="*/ 2664 w 10785"/>
                  <a:gd name="connsiteY1959" fmla="*/ 3667 h 10000"/>
                  <a:gd name="connsiteX1960" fmla="*/ 2687 w 10785"/>
                  <a:gd name="connsiteY1960" fmla="*/ 3786 h 10000"/>
                  <a:gd name="connsiteX1961" fmla="*/ 2710 w 10785"/>
                  <a:gd name="connsiteY1961" fmla="*/ 3812 h 10000"/>
                  <a:gd name="connsiteX1962" fmla="*/ 2724 w 10785"/>
                  <a:gd name="connsiteY1962" fmla="*/ 3812 h 10000"/>
                  <a:gd name="connsiteX1963" fmla="*/ 2724 w 10785"/>
                  <a:gd name="connsiteY1963" fmla="*/ 3829 h 10000"/>
                  <a:gd name="connsiteX1964" fmla="*/ 2737 w 10785"/>
                  <a:gd name="connsiteY1964" fmla="*/ 3838 h 10000"/>
                  <a:gd name="connsiteX1965" fmla="*/ 2714 w 10785"/>
                  <a:gd name="connsiteY1965" fmla="*/ 3872 h 10000"/>
                  <a:gd name="connsiteX1966" fmla="*/ 2696 w 10785"/>
                  <a:gd name="connsiteY1966" fmla="*/ 4026 h 10000"/>
                  <a:gd name="connsiteX1967" fmla="*/ 2673 w 10785"/>
                  <a:gd name="connsiteY1967" fmla="*/ 4051 h 10000"/>
                  <a:gd name="connsiteX1968" fmla="*/ 2668 w 10785"/>
                  <a:gd name="connsiteY1968" fmla="*/ 4034 h 10000"/>
                  <a:gd name="connsiteX1969" fmla="*/ 2673 w 10785"/>
                  <a:gd name="connsiteY1969" fmla="*/ 4000 h 10000"/>
                  <a:gd name="connsiteX1970" fmla="*/ 2664 w 10785"/>
                  <a:gd name="connsiteY1970" fmla="*/ 3974 h 10000"/>
                  <a:gd name="connsiteX1971" fmla="*/ 2636 w 10785"/>
                  <a:gd name="connsiteY1971" fmla="*/ 3949 h 10000"/>
                  <a:gd name="connsiteX1972" fmla="*/ 2581 w 10785"/>
                  <a:gd name="connsiteY1972" fmla="*/ 3838 h 10000"/>
                  <a:gd name="connsiteX1973" fmla="*/ 2562 w 10785"/>
                  <a:gd name="connsiteY1973" fmla="*/ 3829 h 10000"/>
                  <a:gd name="connsiteX1974" fmla="*/ 2535 w 10785"/>
                  <a:gd name="connsiteY1974" fmla="*/ 3778 h 10000"/>
                  <a:gd name="connsiteX1975" fmla="*/ 2502 w 10785"/>
                  <a:gd name="connsiteY1975" fmla="*/ 3761 h 10000"/>
                  <a:gd name="connsiteX1976" fmla="*/ 2502 w 10785"/>
                  <a:gd name="connsiteY1976" fmla="*/ 3735 h 10000"/>
                  <a:gd name="connsiteX1977" fmla="*/ 2516 w 10785"/>
                  <a:gd name="connsiteY1977" fmla="*/ 3735 h 10000"/>
                  <a:gd name="connsiteX1978" fmla="*/ 2507 w 10785"/>
                  <a:gd name="connsiteY1978" fmla="*/ 3726 h 10000"/>
                  <a:gd name="connsiteX1979" fmla="*/ 2488 w 10785"/>
                  <a:gd name="connsiteY1979" fmla="*/ 3726 h 10000"/>
                  <a:gd name="connsiteX1980" fmla="*/ 2461 w 10785"/>
                  <a:gd name="connsiteY1980" fmla="*/ 3692 h 10000"/>
                  <a:gd name="connsiteX1981" fmla="*/ 2442 w 10785"/>
                  <a:gd name="connsiteY1981" fmla="*/ 3675 h 10000"/>
                  <a:gd name="connsiteX1982" fmla="*/ 2406 w 10785"/>
                  <a:gd name="connsiteY1982" fmla="*/ 3598 h 10000"/>
                  <a:gd name="connsiteX1983" fmla="*/ 2346 w 10785"/>
                  <a:gd name="connsiteY1983" fmla="*/ 3564 h 10000"/>
                  <a:gd name="connsiteX1984" fmla="*/ 2341 w 10785"/>
                  <a:gd name="connsiteY1984" fmla="*/ 3564 h 10000"/>
                  <a:gd name="connsiteX1985" fmla="*/ 2313 w 10785"/>
                  <a:gd name="connsiteY1985" fmla="*/ 3530 h 10000"/>
                  <a:gd name="connsiteX1986" fmla="*/ 2235 w 10785"/>
                  <a:gd name="connsiteY1986" fmla="*/ 3530 h 10000"/>
                  <a:gd name="connsiteX1987" fmla="*/ 2226 w 10785"/>
                  <a:gd name="connsiteY1987" fmla="*/ 3513 h 10000"/>
                  <a:gd name="connsiteX1988" fmla="*/ 2207 w 10785"/>
                  <a:gd name="connsiteY1988" fmla="*/ 3504 h 10000"/>
                  <a:gd name="connsiteX1989" fmla="*/ 2194 w 10785"/>
                  <a:gd name="connsiteY1989" fmla="*/ 3504 h 10000"/>
                  <a:gd name="connsiteX1990" fmla="*/ 2189 w 10785"/>
                  <a:gd name="connsiteY1990" fmla="*/ 3504 h 10000"/>
                  <a:gd name="connsiteX1991" fmla="*/ 2189 w 10785"/>
                  <a:gd name="connsiteY1991" fmla="*/ 3530 h 10000"/>
                  <a:gd name="connsiteX1992" fmla="*/ 2180 w 10785"/>
                  <a:gd name="connsiteY1992" fmla="*/ 3538 h 10000"/>
                  <a:gd name="connsiteX1993" fmla="*/ 2152 w 10785"/>
                  <a:gd name="connsiteY1993" fmla="*/ 3581 h 10000"/>
                  <a:gd name="connsiteX1994" fmla="*/ 2161 w 10785"/>
                  <a:gd name="connsiteY1994" fmla="*/ 3598 h 10000"/>
                  <a:gd name="connsiteX1995" fmla="*/ 2194 w 10785"/>
                  <a:gd name="connsiteY1995" fmla="*/ 3752 h 10000"/>
                  <a:gd name="connsiteX1996" fmla="*/ 2194 w 10785"/>
                  <a:gd name="connsiteY1996" fmla="*/ 3735 h 10000"/>
                  <a:gd name="connsiteX1997" fmla="*/ 2198 w 10785"/>
                  <a:gd name="connsiteY1997" fmla="*/ 3735 h 10000"/>
                  <a:gd name="connsiteX1998" fmla="*/ 2189 w 10785"/>
                  <a:gd name="connsiteY1998" fmla="*/ 3838 h 10000"/>
                  <a:gd name="connsiteX1999" fmla="*/ 2166 w 10785"/>
                  <a:gd name="connsiteY1999" fmla="*/ 3889 h 10000"/>
                  <a:gd name="connsiteX2000" fmla="*/ 2124 w 10785"/>
                  <a:gd name="connsiteY2000" fmla="*/ 3889 h 10000"/>
                  <a:gd name="connsiteX2001" fmla="*/ 2124 w 10785"/>
                  <a:gd name="connsiteY2001" fmla="*/ 3923 h 10000"/>
                  <a:gd name="connsiteX2002" fmla="*/ 2134 w 10785"/>
                  <a:gd name="connsiteY2002" fmla="*/ 3940 h 10000"/>
                  <a:gd name="connsiteX2003" fmla="*/ 2134 w 10785"/>
                  <a:gd name="connsiteY2003" fmla="*/ 3966 h 10000"/>
                  <a:gd name="connsiteX2004" fmla="*/ 2120 w 10785"/>
                  <a:gd name="connsiteY2004" fmla="*/ 4000 h 10000"/>
                  <a:gd name="connsiteX2005" fmla="*/ 2106 w 10785"/>
                  <a:gd name="connsiteY2005" fmla="*/ 4009 h 10000"/>
                  <a:gd name="connsiteX2006" fmla="*/ 2088 w 10785"/>
                  <a:gd name="connsiteY2006" fmla="*/ 4000 h 10000"/>
                  <a:gd name="connsiteX2007" fmla="*/ 2074 w 10785"/>
                  <a:gd name="connsiteY2007" fmla="*/ 3974 h 10000"/>
                  <a:gd name="connsiteX2008" fmla="*/ 2074 w 10785"/>
                  <a:gd name="connsiteY2008" fmla="*/ 3940 h 10000"/>
                  <a:gd name="connsiteX2009" fmla="*/ 2078 w 10785"/>
                  <a:gd name="connsiteY2009" fmla="*/ 3915 h 10000"/>
                  <a:gd name="connsiteX2010" fmla="*/ 2088 w 10785"/>
                  <a:gd name="connsiteY2010" fmla="*/ 3889 h 10000"/>
                  <a:gd name="connsiteX2011" fmla="*/ 2101 w 10785"/>
                  <a:gd name="connsiteY2011" fmla="*/ 3872 h 10000"/>
                  <a:gd name="connsiteX2012" fmla="*/ 2074 w 10785"/>
                  <a:gd name="connsiteY2012" fmla="*/ 3812 h 10000"/>
                  <a:gd name="connsiteX2013" fmla="*/ 2074 w 10785"/>
                  <a:gd name="connsiteY2013" fmla="*/ 3786 h 10000"/>
                  <a:gd name="connsiteX2014" fmla="*/ 2060 w 10785"/>
                  <a:gd name="connsiteY2014" fmla="*/ 3786 h 10000"/>
                  <a:gd name="connsiteX2015" fmla="*/ 2014 w 10785"/>
                  <a:gd name="connsiteY2015" fmla="*/ 3829 h 10000"/>
                  <a:gd name="connsiteX2016" fmla="*/ 2000 w 10785"/>
                  <a:gd name="connsiteY2016" fmla="*/ 3863 h 10000"/>
                  <a:gd name="connsiteX2017" fmla="*/ 1986 w 10785"/>
                  <a:gd name="connsiteY2017" fmla="*/ 3872 h 10000"/>
                  <a:gd name="connsiteX2018" fmla="*/ 1959 w 10785"/>
                  <a:gd name="connsiteY2018" fmla="*/ 3940 h 10000"/>
                  <a:gd name="connsiteX2019" fmla="*/ 1945 w 10785"/>
                  <a:gd name="connsiteY2019" fmla="*/ 3949 h 10000"/>
                  <a:gd name="connsiteX2020" fmla="*/ 1940 w 10785"/>
                  <a:gd name="connsiteY2020" fmla="*/ 3923 h 10000"/>
                  <a:gd name="connsiteX2021" fmla="*/ 1917 w 10785"/>
                  <a:gd name="connsiteY2021" fmla="*/ 3915 h 10000"/>
                  <a:gd name="connsiteX2022" fmla="*/ 1899 w 10785"/>
                  <a:gd name="connsiteY2022" fmla="*/ 3923 h 10000"/>
                  <a:gd name="connsiteX2023" fmla="*/ 1880 w 10785"/>
                  <a:gd name="connsiteY2023" fmla="*/ 3915 h 10000"/>
                  <a:gd name="connsiteX2024" fmla="*/ 1853 w 10785"/>
                  <a:gd name="connsiteY2024" fmla="*/ 3940 h 10000"/>
                  <a:gd name="connsiteX2025" fmla="*/ 1839 w 10785"/>
                  <a:gd name="connsiteY2025" fmla="*/ 3940 h 10000"/>
                  <a:gd name="connsiteX2026" fmla="*/ 1806 w 10785"/>
                  <a:gd name="connsiteY2026" fmla="*/ 3983 h 10000"/>
                  <a:gd name="connsiteX2027" fmla="*/ 1806 w 10785"/>
                  <a:gd name="connsiteY2027" fmla="*/ 4000 h 10000"/>
                  <a:gd name="connsiteX2028" fmla="*/ 1797 w 10785"/>
                  <a:gd name="connsiteY2028" fmla="*/ 4077 h 10000"/>
                  <a:gd name="connsiteX2029" fmla="*/ 1783 w 10785"/>
                  <a:gd name="connsiteY2029" fmla="*/ 4077 h 10000"/>
                  <a:gd name="connsiteX2030" fmla="*/ 1779 w 10785"/>
                  <a:gd name="connsiteY2030" fmla="*/ 4051 h 10000"/>
                  <a:gd name="connsiteX2031" fmla="*/ 1765 w 10785"/>
                  <a:gd name="connsiteY2031" fmla="*/ 4026 h 10000"/>
                  <a:gd name="connsiteX2032" fmla="*/ 1751 w 10785"/>
                  <a:gd name="connsiteY2032" fmla="*/ 4051 h 10000"/>
                  <a:gd name="connsiteX2033" fmla="*/ 1737 w 10785"/>
                  <a:gd name="connsiteY2033" fmla="*/ 4009 h 10000"/>
                  <a:gd name="connsiteX2034" fmla="*/ 1737 w 10785"/>
                  <a:gd name="connsiteY2034" fmla="*/ 3966 h 10000"/>
                  <a:gd name="connsiteX2035" fmla="*/ 1733 w 10785"/>
                  <a:gd name="connsiteY2035" fmla="*/ 3940 h 10000"/>
                  <a:gd name="connsiteX2036" fmla="*/ 1733 w 10785"/>
                  <a:gd name="connsiteY2036" fmla="*/ 3923 h 10000"/>
                  <a:gd name="connsiteX2037" fmla="*/ 1747 w 10785"/>
                  <a:gd name="connsiteY2037" fmla="*/ 3889 h 10000"/>
                  <a:gd name="connsiteX2038" fmla="*/ 1747 w 10785"/>
                  <a:gd name="connsiteY2038" fmla="*/ 3863 h 10000"/>
                  <a:gd name="connsiteX2039" fmla="*/ 1737 w 10785"/>
                  <a:gd name="connsiteY2039" fmla="*/ 3838 h 10000"/>
                  <a:gd name="connsiteX2040" fmla="*/ 1733 w 10785"/>
                  <a:gd name="connsiteY2040" fmla="*/ 3829 h 10000"/>
                  <a:gd name="connsiteX2041" fmla="*/ 1733 w 10785"/>
                  <a:gd name="connsiteY2041" fmla="*/ 3846 h 10000"/>
                  <a:gd name="connsiteX2042" fmla="*/ 1724 w 10785"/>
                  <a:gd name="connsiteY2042" fmla="*/ 3846 h 10000"/>
                  <a:gd name="connsiteX2043" fmla="*/ 1724 w 10785"/>
                  <a:gd name="connsiteY2043" fmla="*/ 3829 h 10000"/>
                  <a:gd name="connsiteX2044" fmla="*/ 1737 w 10785"/>
                  <a:gd name="connsiteY2044" fmla="*/ 3812 h 10000"/>
                  <a:gd name="connsiteX2045" fmla="*/ 1765 w 10785"/>
                  <a:gd name="connsiteY2045" fmla="*/ 3812 h 10000"/>
                  <a:gd name="connsiteX2046" fmla="*/ 1779 w 10785"/>
                  <a:gd name="connsiteY2046" fmla="*/ 3786 h 10000"/>
                  <a:gd name="connsiteX2047" fmla="*/ 1779 w 10785"/>
                  <a:gd name="connsiteY2047" fmla="*/ 3786 h 10000"/>
                  <a:gd name="connsiteX2048" fmla="*/ 1751 w 10785"/>
                  <a:gd name="connsiteY2048" fmla="*/ 3803 h 10000"/>
                  <a:gd name="connsiteX2049" fmla="*/ 1747 w 10785"/>
                  <a:gd name="connsiteY2049" fmla="*/ 3803 h 10000"/>
                  <a:gd name="connsiteX2050" fmla="*/ 1724 w 10785"/>
                  <a:gd name="connsiteY2050" fmla="*/ 3803 h 10000"/>
                  <a:gd name="connsiteX2051" fmla="*/ 1700 w 10785"/>
                  <a:gd name="connsiteY2051" fmla="*/ 3829 h 10000"/>
                  <a:gd name="connsiteX2052" fmla="*/ 1705 w 10785"/>
                  <a:gd name="connsiteY2052" fmla="*/ 3846 h 10000"/>
                  <a:gd name="connsiteX2053" fmla="*/ 1691 w 10785"/>
                  <a:gd name="connsiteY2053" fmla="*/ 3846 h 10000"/>
                  <a:gd name="connsiteX2054" fmla="*/ 1691 w 10785"/>
                  <a:gd name="connsiteY2054" fmla="*/ 3863 h 10000"/>
                  <a:gd name="connsiteX2055" fmla="*/ 1691 w 10785"/>
                  <a:gd name="connsiteY2055" fmla="*/ 3915 h 10000"/>
                  <a:gd name="connsiteX2056" fmla="*/ 1677 w 10785"/>
                  <a:gd name="connsiteY2056" fmla="*/ 3923 h 10000"/>
                  <a:gd name="connsiteX2057" fmla="*/ 1673 w 10785"/>
                  <a:gd name="connsiteY2057" fmla="*/ 3915 h 10000"/>
                  <a:gd name="connsiteX2058" fmla="*/ 1664 w 10785"/>
                  <a:gd name="connsiteY2058" fmla="*/ 3889 h 10000"/>
                  <a:gd name="connsiteX2059" fmla="*/ 1673 w 10785"/>
                  <a:gd name="connsiteY2059" fmla="*/ 3872 h 10000"/>
                  <a:gd name="connsiteX2060" fmla="*/ 1664 w 10785"/>
                  <a:gd name="connsiteY2060" fmla="*/ 3872 h 10000"/>
                  <a:gd name="connsiteX2061" fmla="*/ 1636 w 10785"/>
                  <a:gd name="connsiteY2061" fmla="*/ 3923 h 10000"/>
                  <a:gd name="connsiteX2062" fmla="*/ 1645 w 10785"/>
                  <a:gd name="connsiteY2062" fmla="*/ 3923 h 10000"/>
                  <a:gd name="connsiteX2063" fmla="*/ 1650 w 10785"/>
                  <a:gd name="connsiteY2063" fmla="*/ 3949 h 10000"/>
                  <a:gd name="connsiteX2064" fmla="*/ 1650 w 10785"/>
                  <a:gd name="connsiteY2064" fmla="*/ 3983 h 10000"/>
                  <a:gd name="connsiteX2065" fmla="*/ 1636 w 10785"/>
                  <a:gd name="connsiteY2065" fmla="*/ 4000 h 10000"/>
                  <a:gd name="connsiteX2066" fmla="*/ 1631 w 10785"/>
                  <a:gd name="connsiteY2066" fmla="*/ 4009 h 10000"/>
                  <a:gd name="connsiteX2067" fmla="*/ 1618 w 10785"/>
                  <a:gd name="connsiteY2067" fmla="*/ 3949 h 10000"/>
                  <a:gd name="connsiteX2068" fmla="*/ 1585 w 10785"/>
                  <a:gd name="connsiteY2068" fmla="*/ 3966 h 10000"/>
                  <a:gd name="connsiteX2069" fmla="*/ 1590 w 10785"/>
                  <a:gd name="connsiteY2069" fmla="*/ 3974 h 10000"/>
                  <a:gd name="connsiteX2070" fmla="*/ 1544 w 10785"/>
                  <a:gd name="connsiteY2070" fmla="*/ 4009 h 10000"/>
                  <a:gd name="connsiteX2071" fmla="*/ 1539 w 10785"/>
                  <a:gd name="connsiteY2071" fmla="*/ 4009 h 10000"/>
                  <a:gd name="connsiteX2072" fmla="*/ 1410 w 10785"/>
                  <a:gd name="connsiteY2072" fmla="*/ 4188 h 10000"/>
                  <a:gd name="connsiteX2073" fmla="*/ 1406 w 10785"/>
                  <a:gd name="connsiteY2073" fmla="*/ 4171 h 10000"/>
                  <a:gd name="connsiteX2074" fmla="*/ 1396 w 10785"/>
                  <a:gd name="connsiteY2074" fmla="*/ 4214 h 10000"/>
                  <a:gd name="connsiteX2075" fmla="*/ 1406 w 10785"/>
                  <a:gd name="connsiteY2075" fmla="*/ 4222 h 10000"/>
                  <a:gd name="connsiteX2076" fmla="*/ 1392 w 10785"/>
                  <a:gd name="connsiteY2076" fmla="*/ 4239 h 10000"/>
                  <a:gd name="connsiteX2077" fmla="*/ 1369 w 10785"/>
                  <a:gd name="connsiteY2077" fmla="*/ 4248 h 10000"/>
                  <a:gd name="connsiteX2078" fmla="*/ 1355 w 10785"/>
                  <a:gd name="connsiteY2078" fmla="*/ 4256 h 10000"/>
                  <a:gd name="connsiteX2079" fmla="*/ 1350 w 10785"/>
                  <a:gd name="connsiteY2079" fmla="*/ 4248 h 10000"/>
                  <a:gd name="connsiteX2080" fmla="*/ 1332 w 10785"/>
                  <a:gd name="connsiteY2080" fmla="*/ 4376 h 10000"/>
                  <a:gd name="connsiteX2081" fmla="*/ 1332 w 10785"/>
                  <a:gd name="connsiteY2081" fmla="*/ 4436 h 10000"/>
                  <a:gd name="connsiteX2082" fmla="*/ 1323 w 10785"/>
                  <a:gd name="connsiteY2082" fmla="*/ 4462 h 10000"/>
                  <a:gd name="connsiteX2083" fmla="*/ 1304 w 10785"/>
                  <a:gd name="connsiteY2083" fmla="*/ 4487 h 10000"/>
                  <a:gd name="connsiteX2084" fmla="*/ 1290 w 10785"/>
                  <a:gd name="connsiteY2084" fmla="*/ 4470 h 10000"/>
                  <a:gd name="connsiteX2085" fmla="*/ 1263 w 10785"/>
                  <a:gd name="connsiteY2085" fmla="*/ 4496 h 10000"/>
                  <a:gd name="connsiteX2086" fmla="*/ 1258 w 10785"/>
                  <a:gd name="connsiteY2086" fmla="*/ 4547 h 10000"/>
                  <a:gd name="connsiteX2087" fmla="*/ 1249 w 10785"/>
                  <a:gd name="connsiteY2087" fmla="*/ 4487 h 10000"/>
                  <a:gd name="connsiteX2088" fmla="*/ 1235 w 10785"/>
                  <a:gd name="connsiteY2088" fmla="*/ 4496 h 10000"/>
                  <a:gd name="connsiteX2089" fmla="*/ 1221 w 10785"/>
                  <a:gd name="connsiteY2089" fmla="*/ 4496 h 10000"/>
                  <a:gd name="connsiteX2090" fmla="*/ 1217 w 10785"/>
                  <a:gd name="connsiteY2090" fmla="*/ 4487 h 10000"/>
                  <a:gd name="connsiteX2091" fmla="*/ 1198 w 10785"/>
                  <a:gd name="connsiteY2091" fmla="*/ 4410 h 10000"/>
                  <a:gd name="connsiteX2092" fmla="*/ 1157 w 10785"/>
                  <a:gd name="connsiteY2092" fmla="*/ 4333 h 10000"/>
                  <a:gd name="connsiteX2093" fmla="*/ 1147 w 10785"/>
                  <a:gd name="connsiteY2093" fmla="*/ 4299 h 10000"/>
                  <a:gd name="connsiteX2094" fmla="*/ 1147 w 10785"/>
                  <a:gd name="connsiteY2094" fmla="*/ 4274 h 10000"/>
                  <a:gd name="connsiteX2095" fmla="*/ 1161 w 10785"/>
                  <a:gd name="connsiteY2095" fmla="*/ 4256 h 10000"/>
                  <a:gd name="connsiteX2096" fmla="*/ 1171 w 10785"/>
                  <a:gd name="connsiteY2096" fmla="*/ 4248 h 10000"/>
                  <a:gd name="connsiteX2097" fmla="*/ 1175 w 10785"/>
                  <a:gd name="connsiteY2097" fmla="*/ 4214 h 10000"/>
                  <a:gd name="connsiteX2098" fmla="*/ 1263 w 10785"/>
                  <a:gd name="connsiteY2098" fmla="*/ 4171 h 10000"/>
                  <a:gd name="connsiteX2099" fmla="*/ 1249 w 10785"/>
                  <a:gd name="connsiteY2099" fmla="*/ 4137 h 10000"/>
                  <a:gd name="connsiteX2100" fmla="*/ 1244 w 10785"/>
                  <a:gd name="connsiteY2100" fmla="*/ 4060 h 10000"/>
                  <a:gd name="connsiteX2101" fmla="*/ 1230 w 10785"/>
                  <a:gd name="connsiteY2101" fmla="*/ 4077 h 10000"/>
                  <a:gd name="connsiteX2102" fmla="*/ 1221 w 10785"/>
                  <a:gd name="connsiteY2102" fmla="*/ 4026 h 10000"/>
                  <a:gd name="connsiteX2103" fmla="*/ 1217 w 10785"/>
                  <a:gd name="connsiteY2103" fmla="*/ 4026 h 10000"/>
                  <a:gd name="connsiteX2104" fmla="*/ 1212 w 10785"/>
                  <a:gd name="connsiteY2104" fmla="*/ 3983 h 10000"/>
                  <a:gd name="connsiteX2105" fmla="*/ 1203 w 10785"/>
                  <a:gd name="connsiteY2105" fmla="*/ 3966 h 10000"/>
                  <a:gd name="connsiteX2106" fmla="*/ 1171 w 10785"/>
                  <a:gd name="connsiteY2106" fmla="*/ 3949 h 10000"/>
                  <a:gd name="connsiteX2107" fmla="*/ 1111 w 10785"/>
                  <a:gd name="connsiteY2107" fmla="*/ 3940 h 10000"/>
                  <a:gd name="connsiteX2108" fmla="*/ 1097 w 10785"/>
                  <a:gd name="connsiteY2108" fmla="*/ 3949 h 10000"/>
                  <a:gd name="connsiteX2109" fmla="*/ 1037 w 10785"/>
                  <a:gd name="connsiteY2109" fmla="*/ 3897 h 10000"/>
                  <a:gd name="connsiteX2110" fmla="*/ 1041 w 10785"/>
                  <a:gd name="connsiteY2110" fmla="*/ 3923 h 10000"/>
                  <a:gd name="connsiteX2111" fmla="*/ 1097 w 10785"/>
                  <a:gd name="connsiteY2111" fmla="*/ 4009 h 10000"/>
                  <a:gd name="connsiteX2112" fmla="*/ 1097 w 10785"/>
                  <a:gd name="connsiteY2112" fmla="*/ 4120 h 10000"/>
                  <a:gd name="connsiteX2113" fmla="*/ 1097 w 10785"/>
                  <a:gd name="connsiteY2113" fmla="*/ 4162 h 10000"/>
                  <a:gd name="connsiteX2114" fmla="*/ 1097 w 10785"/>
                  <a:gd name="connsiteY2114" fmla="*/ 4197 h 10000"/>
                  <a:gd name="connsiteX2115" fmla="*/ 1074 w 10785"/>
                  <a:gd name="connsiteY2115" fmla="*/ 4333 h 10000"/>
                  <a:gd name="connsiteX2116" fmla="*/ 1074 w 10785"/>
                  <a:gd name="connsiteY2116" fmla="*/ 4376 h 10000"/>
                  <a:gd name="connsiteX2117" fmla="*/ 1083 w 10785"/>
                  <a:gd name="connsiteY2117" fmla="*/ 4385 h 10000"/>
                  <a:gd name="connsiteX2118" fmla="*/ 1097 w 10785"/>
                  <a:gd name="connsiteY2118" fmla="*/ 4385 h 10000"/>
                  <a:gd name="connsiteX2119" fmla="*/ 1111 w 10785"/>
                  <a:gd name="connsiteY2119" fmla="*/ 4410 h 10000"/>
                  <a:gd name="connsiteX2120" fmla="*/ 1124 w 10785"/>
                  <a:gd name="connsiteY2120" fmla="*/ 4444 h 10000"/>
                  <a:gd name="connsiteX2121" fmla="*/ 1124 w 10785"/>
                  <a:gd name="connsiteY2121" fmla="*/ 4470 h 10000"/>
                  <a:gd name="connsiteX2122" fmla="*/ 1115 w 10785"/>
                  <a:gd name="connsiteY2122" fmla="*/ 4513 h 10000"/>
                  <a:gd name="connsiteX2123" fmla="*/ 1115 w 10785"/>
                  <a:gd name="connsiteY2123" fmla="*/ 4530 h 10000"/>
                  <a:gd name="connsiteX2124" fmla="*/ 1115 w 10785"/>
                  <a:gd name="connsiteY2124" fmla="*/ 4573 h 10000"/>
                  <a:gd name="connsiteX2125" fmla="*/ 1101 w 10785"/>
                  <a:gd name="connsiteY2125" fmla="*/ 4607 h 10000"/>
                  <a:gd name="connsiteX2126" fmla="*/ 1097 w 10785"/>
                  <a:gd name="connsiteY2126" fmla="*/ 4658 h 10000"/>
                  <a:gd name="connsiteX2127" fmla="*/ 1101 w 10785"/>
                  <a:gd name="connsiteY2127" fmla="*/ 4692 h 10000"/>
                  <a:gd name="connsiteX2128" fmla="*/ 1097 w 10785"/>
                  <a:gd name="connsiteY2128" fmla="*/ 4778 h 10000"/>
                  <a:gd name="connsiteX2129" fmla="*/ 1083 w 10785"/>
                  <a:gd name="connsiteY2129" fmla="*/ 4744 h 10000"/>
                  <a:gd name="connsiteX2130" fmla="*/ 1083 w 10785"/>
                  <a:gd name="connsiteY2130" fmla="*/ 4718 h 10000"/>
                  <a:gd name="connsiteX2131" fmla="*/ 1074 w 10785"/>
                  <a:gd name="connsiteY2131" fmla="*/ 4692 h 10000"/>
                  <a:gd name="connsiteX2132" fmla="*/ 1065 w 10785"/>
                  <a:gd name="connsiteY2132" fmla="*/ 4692 h 10000"/>
                  <a:gd name="connsiteX2133" fmla="*/ 1051 w 10785"/>
                  <a:gd name="connsiteY2133" fmla="*/ 4718 h 10000"/>
                  <a:gd name="connsiteX2134" fmla="*/ 1055 w 10785"/>
                  <a:gd name="connsiteY2134" fmla="*/ 4692 h 10000"/>
                  <a:gd name="connsiteX2135" fmla="*/ 1055 w 10785"/>
                  <a:gd name="connsiteY2135" fmla="*/ 4667 h 10000"/>
                  <a:gd name="connsiteX2136" fmla="*/ 1028 w 10785"/>
                  <a:gd name="connsiteY2136" fmla="*/ 4624 h 10000"/>
                  <a:gd name="connsiteX2137" fmla="*/ 1005 w 10785"/>
                  <a:gd name="connsiteY2137" fmla="*/ 4624 h 10000"/>
                  <a:gd name="connsiteX2138" fmla="*/ 977 w 10785"/>
                  <a:gd name="connsiteY2138" fmla="*/ 4581 h 10000"/>
                  <a:gd name="connsiteX2139" fmla="*/ 963 w 10785"/>
                  <a:gd name="connsiteY2139" fmla="*/ 4607 h 10000"/>
                  <a:gd name="connsiteX2140" fmla="*/ 963 w 10785"/>
                  <a:gd name="connsiteY2140" fmla="*/ 4632 h 10000"/>
                  <a:gd name="connsiteX2141" fmla="*/ 917 w 10785"/>
                  <a:gd name="connsiteY2141" fmla="*/ 4718 h 10000"/>
                  <a:gd name="connsiteX2142" fmla="*/ 889 w 10785"/>
                  <a:gd name="connsiteY2142" fmla="*/ 4744 h 10000"/>
                  <a:gd name="connsiteX2143" fmla="*/ 880 w 10785"/>
                  <a:gd name="connsiteY2143" fmla="*/ 4744 h 10000"/>
                  <a:gd name="connsiteX2144" fmla="*/ 862 w 10785"/>
                  <a:gd name="connsiteY2144" fmla="*/ 4769 h 10000"/>
                  <a:gd name="connsiteX2145" fmla="*/ 857 w 10785"/>
                  <a:gd name="connsiteY2145" fmla="*/ 4795 h 10000"/>
                  <a:gd name="connsiteX2146" fmla="*/ 829 w 10785"/>
                  <a:gd name="connsiteY2146" fmla="*/ 4846 h 10000"/>
                  <a:gd name="connsiteX2147" fmla="*/ 816 w 10785"/>
                  <a:gd name="connsiteY2147" fmla="*/ 4855 h 10000"/>
                  <a:gd name="connsiteX2148" fmla="*/ 816 w 10785"/>
                  <a:gd name="connsiteY2148" fmla="*/ 4940 h 10000"/>
                  <a:gd name="connsiteX2149" fmla="*/ 880 w 10785"/>
                  <a:gd name="connsiteY2149" fmla="*/ 5179 h 10000"/>
                  <a:gd name="connsiteX2150" fmla="*/ 880 w 10785"/>
                  <a:gd name="connsiteY2150" fmla="*/ 5188 h 10000"/>
                  <a:gd name="connsiteX2151" fmla="*/ 862 w 10785"/>
                  <a:gd name="connsiteY2151" fmla="*/ 5171 h 10000"/>
                  <a:gd name="connsiteX2152" fmla="*/ 857 w 10785"/>
                  <a:gd name="connsiteY2152" fmla="*/ 5171 h 10000"/>
                  <a:gd name="connsiteX2153" fmla="*/ 820 w 10785"/>
                  <a:gd name="connsiteY2153" fmla="*/ 5145 h 10000"/>
                  <a:gd name="connsiteX2154" fmla="*/ 820 w 10785"/>
                  <a:gd name="connsiteY2154" fmla="*/ 5154 h 10000"/>
                  <a:gd name="connsiteX2155" fmla="*/ 816 w 10785"/>
                  <a:gd name="connsiteY2155" fmla="*/ 5171 h 10000"/>
                  <a:gd name="connsiteX2156" fmla="*/ 783 w 10785"/>
                  <a:gd name="connsiteY2156" fmla="*/ 5145 h 10000"/>
                  <a:gd name="connsiteX2157" fmla="*/ 756 w 10785"/>
                  <a:gd name="connsiteY2157" fmla="*/ 5103 h 10000"/>
                  <a:gd name="connsiteX2158" fmla="*/ 742 w 10785"/>
                  <a:gd name="connsiteY2158" fmla="*/ 5103 h 10000"/>
                  <a:gd name="connsiteX2159" fmla="*/ 728 w 10785"/>
                  <a:gd name="connsiteY2159" fmla="*/ 5094 h 10000"/>
                  <a:gd name="connsiteX2160" fmla="*/ 710 w 10785"/>
                  <a:gd name="connsiteY2160" fmla="*/ 5120 h 10000"/>
                  <a:gd name="connsiteX2161" fmla="*/ 700 w 10785"/>
                  <a:gd name="connsiteY2161" fmla="*/ 5145 h 10000"/>
                  <a:gd name="connsiteX2162" fmla="*/ 696 w 10785"/>
                  <a:gd name="connsiteY2162" fmla="*/ 5103 h 10000"/>
                  <a:gd name="connsiteX2163" fmla="*/ 714 w 10785"/>
                  <a:gd name="connsiteY2163" fmla="*/ 5077 h 10000"/>
                  <a:gd name="connsiteX2164" fmla="*/ 682 w 10785"/>
                  <a:gd name="connsiteY2164" fmla="*/ 5068 h 10000"/>
                  <a:gd name="connsiteX2165" fmla="*/ 673 w 10785"/>
                  <a:gd name="connsiteY2165" fmla="*/ 5034 h 10000"/>
                  <a:gd name="connsiteX2166" fmla="*/ 636 w 10785"/>
                  <a:gd name="connsiteY2166" fmla="*/ 4991 h 10000"/>
                  <a:gd name="connsiteX2167" fmla="*/ 622 w 10785"/>
                  <a:gd name="connsiteY2167" fmla="*/ 4983 h 10000"/>
                  <a:gd name="connsiteX2168" fmla="*/ 622 w 10785"/>
                  <a:gd name="connsiteY2168" fmla="*/ 5034 h 10000"/>
                  <a:gd name="connsiteX2169" fmla="*/ 608 w 10785"/>
                  <a:gd name="connsiteY2169" fmla="*/ 5051 h 10000"/>
                  <a:gd name="connsiteX2170" fmla="*/ 594 w 10785"/>
                  <a:gd name="connsiteY2170" fmla="*/ 5068 h 10000"/>
                  <a:gd name="connsiteX2171" fmla="*/ 608 w 10785"/>
                  <a:gd name="connsiteY2171" fmla="*/ 5120 h 10000"/>
                  <a:gd name="connsiteX2172" fmla="*/ 613 w 10785"/>
                  <a:gd name="connsiteY2172" fmla="*/ 5128 h 10000"/>
                  <a:gd name="connsiteX2173" fmla="*/ 627 w 10785"/>
                  <a:gd name="connsiteY2173" fmla="*/ 5179 h 10000"/>
                  <a:gd name="connsiteX2174" fmla="*/ 650 w 10785"/>
                  <a:gd name="connsiteY2174" fmla="*/ 5214 h 10000"/>
                  <a:gd name="connsiteX2175" fmla="*/ 687 w 10785"/>
                  <a:gd name="connsiteY2175" fmla="*/ 5188 h 10000"/>
                  <a:gd name="connsiteX2176" fmla="*/ 700 w 10785"/>
                  <a:gd name="connsiteY2176" fmla="*/ 5325 h 10000"/>
                  <a:gd name="connsiteX2177" fmla="*/ 710 w 10785"/>
                  <a:gd name="connsiteY2177" fmla="*/ 5350 h 10000"/>
                  <a:gd name="connsiteX2178" fmla="*/ 687 w 10785"/>
                  <a:gd name="connsiteY2178" fmla="*/ 5325 h 10000"/>
                  <a:gd name="connsiteX2179" fmla="*/ 668 w 10785"/>
                  <a:gd name="connsiteY2179" fmla="*/ 5350 h 10000"/>
                  <a:gd name="connsiteX2180" fmla="*/ 668 w 10785"/>
                  <a:gd name="connsiteY2180" fmla="*/ 5368 h 10000"/>
                  <a:gd name="connsiteX2181" fmla="*/ 668 w 10785"/>
                  <a:gd name="connsiteY2181" fmla="*/ 5376 h 10000"/>
                  <a:gd name="connsiteX2182" fmla="*/ 581 w 10785"/>
                  <a:gd name="connsiteY2182" fmla="*/ 5316 h 10000"/>
                  <a:gd name="connsiteX2183" fmla="*/ 567 w 10785"/>
                  <a:gd name="connsiteY2183" fmla="*/ 5265 h 10000"/>
                  <a:gd name="connsiteX2184" fmla="*/ 562 w 10785"/>
                  <a:gd name="connsiteY2184" fmla="*/ 5256 h 10000"/>
                  <a:gd name="connsiteX2185" fmla="*/ 548 w 10785"/>
                  <a:gd name="connsiteY2185" fmla="*/ 5231 h 10000"/>
                  <a:gd name="connsiteX2186" fmla="*/ 535 w 10785"/>
                  <a:gd name="connsiteY2186" fmla="*/ 5214 h 10000"/>
                  <a:gd name="connsiteX2187" fmla="*/ 525 w 10785"/>
                  <a:gd name="connsiteY2187" fmla="*/ 5231 h 10000"/>
                  <a:gd name="connsiteX2188" fmla="*/ 521 w 10785"/>
                  <a:gd name="connsiteY2188" fmla="*/ 5231 h 10000"/>
                  <a:gd name="connsiteX2189" fmla="*/ 493 w 10785"/>
                  <a:gd name="connsiteY2189" fmla="*/ 5205 h 10000"/>
                  <a:gd name="connsiteX2190" fmla="*/ 488 w 10785"/>
                  <a:gd name="connsiteY2190" fmla="*/ 5179 h 10000"/>
                  <a:gd name="connsiteX2191" fmla="*/ 475 w 10785"/>
                  <a:gd name="connsiteY2191" fmla="*/ 5188 h 10000"/>
                  <a:gd name="connsiteX2192" fmla="*/ 475 w 10785"/>
                  <a:gd name="connsiteY2192" fmla="*/ 5171 h 10000"/>
                  <a:gd name="connsiteX2193" fmla="*/ 488 w 10785"/>
                  <a:gd name="connsiteY2193" fmla="*/ 5154 h 10000"/>
                  <a:gd name="connsiteX2194" fmla="*/ 488 w 10785"/>
                  <a:gd name="connsiteY2194" fmla="*/ 5068 h 10000"/>
                  <a:gd name="connsiteX2195" fmla="*/ 475 w 10785"/>
                  <a:gd name="connsiteY2195" fmla="*/ 5051 h 10000"/>
                  <a:gd name="connsiteX2196" fmla="*/ 475 w 10785"/>
                  <a:gd name="connsiteY2196" fmla="*/ 5017 h 10000"/>
                  <a:gd name="connsiteX2197" fmla="*/ 452 w 10785"/>
                  <a:gd name="connsiteY2197" fmla="*/ 4932 h 10000"/>
                  <a:gd name="connsiteX2198" fmla="*/ 461 w 10785"/>
                  <a:gd name="connsiteY2198" fmla="*/ 4915 h 10000"/>
                  <a:gd name="connsiteX2199" fmla="*/ 475 w 10785"/>
                  <a:gd name="connsiteY2199" fmla="*/ 4906 h 10000"/>
                  <a:gd name="connsiteX2200" fmla="*/ 479 w 10785"/>
                  <a:gd name="connsiteY2200" fmla="*/ 4803 h 10000"/>
                  <a:gd name="connsiteX2201" fmla="*/ 479 w 10785"/>
                  <a:gd name="connsiteY2201" fmla="*/ 4778 h 10000"/>
                  <a:gd name="connsiteX2202" fmla="*/ 475 w 10785"/>
                  <a:gd name="connsiteY2202" fmla="*/ 4761 h 10000"/>
                  <a:gd name="connsiteX2203" fmla="*/ 465 w 10785"/>
                  <a:gd name="connsiteY2203" fmla="*/ 4718 h 10000"/>
                  <a:gd name="connsiteX2204" fmla="*/ 461 w 10785"/>
                  <a:gd name="connsiteY2204" fmla="*/ 4709 h 10000"/>
                  <a:gd name="connsiteX2205" fmla="*/ 442 w 10785"/>
                  <a:gd name="connsiteY2205" fmla="*/ 4692 h 10000"/>
                  <a:gd name="connsiteX2206" fmla="*/ 433 w 10785"/>
                  <a:gd name="connsiteY2206" fmla="*/ 4667 h 10000"/>
                  <a:gd name="connsiteX2207" fmla="*/ 419 w 10785"/>
                  <a:gd name="connsiteY2207" fmla="*/ 4667 h 10000"/>
                  <a:gd name="connsiteX2208" fmla="*/ 401 w 10785"/>
                  <a:gd name="connsiteY2208" fmla="*/ 4658 h 10000"/>
                  <a:gd name="connsiteX2209" fmla="*/ 401 w 10785"/>
                  <a:gd name="connsiteY2209" fmla="*/ 4624 h 10000"/>
                  <a:gd name="connsiteX2210" fmla="*/ 401 w 10785"/>
                  <a:gd name="connsiteY2210" fmla="*/ 4607 h 10000"/>
                  <a:gd name="connsiteX2211" fmla="*/ 378 w 10785"/>
                  <a:gd name="connsiteY2211" fmla="*/ 4607 h 10000"/>
                  <a:gd name="connsiteX2212" fmla="*/ 341 w 10785"/>
                  <a:gd name="connsiteY2212" fmla="*/ 4530 h 10000"/>
                  <a:gd name="connsiteX2213" fmla="*/ 346 w 10785"/>
                  <a:gd name="connsiteY2213" fmla="*/ 4521 h 10000"/>
                  <a:gd name="connsiteX2214" fmla="*/ 332 w 10785"/>
                  <a:gd name="connsiteY2214" fmla="*/ 4487 h 10000"/>
                  <a:gd name="connsiteX2215" fmla="*/ 327 w 10785"/>
                  <a:gd name="connsiteY2215" fmla="*/ 4462 h 10000"/>
                  <a:gd name="connsiteX2216" fmla="*/ 313 w 10785"/>
                  <a:gd name="connsiteY2216" fmla="*/ 4436 h 10000"/>
                  <a:gd name="connsiteX2217" fmla="*/ 300 w 10785"/>
                  <a:gd name="connsiteY2217" fmla="*/ 4419 h 10000"/>
                  <a:gd name="connsiteX2218" fmla="*/ 309 w 10785"/>
                  <a:gd name="connsiteY2218" fmla="*/ 4393 h 10000"/>
                  <a:gd name="connsiteX2219" fmla="*/ 332 w 10785"/>
                  <a:gd name="connsiteY2219" fmla="*/ 4385 h 10000"/>
                  <a:gd name="connsiteX2220" fmla="*/ 355 w 10785"/>
                  <a:gd name="connsiteY2220" fmla="*/ 4419 h 10000"/>
                  <a:gd name="connsiteX2221" fmla="*/ 355 w 10785"/>
                  <a:gd name="connsiteY2221" fmla="*/ 4444 h 10000"/>
                  <a:gd name="connsiteX2222" fmla="*/ 369 w 10785"/>
                  <a:gd name="connsiteY2222" fmla="*/ 4470 h 10000"/>
                  <a:gd name="connsiteX2223" fmla="*/ 401 w 10785"/>
                  <a:gd name="connsiteY2223" fmla="*/ 4521 h 10000"/>
                  <a:gd name="connsiteX2224" fmla="*/ 406 w 10785"/>
                  <a:gd name="connsiteY2224" fmla="*/ 4513 h 10000"/>
                  <a:gd name="connsiteX2225" fmla="*/ 406 w 10785"/>
                  <a:gd name="connsiteY2225" fmla="*/ 4496 h 10000"/>
                  <a:gd name="connsiteX2226" fmla="*/ 419 w 10785"/>
                  <a:gd name="connsiteY2226" fmla="*/ 4521 h 10000"/>
                  <a:gd name="connsiteX2227" fmla="*/ 429 w 10785"/>
                  <a:gd name="connsiteY2227" fmla="*/ 4530 h 10000"/>
                  <a:gd name="connsiteX2228" fmla="*/ 433 w 10785"/>
                  <a:gd name="connsiteY2228" fmla="*/ 4521 h 10000"/>
                  <a:gd name="connsiteX2229" fmla="*/ 442 w 10785"/>
                  <a:gd name="connsiteY2229" fmla="*/ 4530 h 10000"/>
                  <a:gd name="connsiteX2230" fmla="*/ 447 w 10785"/>
                  <a:gd name="connsiteY2230" fmla="*/ 4521 h 10000"/>
                  <a:gd name="connsiteX2231" fmla="*/ 452 w 10785"/>
                  <a:gd name="connsiteY2231" fmla="*/ 4521 h 10000"/>
                  <a:gd name="connsiteX2232" fmla="*/ 461 w 10785"/>
                  <a:gd name="connsiteY2232" fmla="*/ 4573 h 10000"/>
                  <a:gd name="connsiteX2233" fmla="*/ 479 w 10785"/>
                  <a:gd name="connsiteY2233" fmla="*/ 4556 h 10000"/>
                  <a:gd name="connsiteX2234" fmla="*/ 502 w 10785"/>
                  <a:gd name="connsiteY2234" fmla="*/ 4573 h 10000"/>
                  <a:gd name="connsiteX2235" fmla="*/ 507 w 10785"/>
                  <a:gd name="connsiteY2235" fmla="*/ 4598 h 10000"/>
                  <a:gd name="connsiteX2236" fmla="*/ 525 w 10785"/>
                  <a:gd name="connsiteY2236" fmla="*/ 4598 h 10000"/>
                  <a:gd name="connsiteX2237" fmla="*/ 535 w 10785"/>
                  <a:gd name="connsiteY2237" fmla="*/ 4624 h 10000"/>
                  <a:gd name="connsiteX2238" fmla="*/ 594 w 10785"/>
                  <a:gd name="connsiteY2238" fmla="*/ 4658 h 10000"/>
                  <a:gd name="connsiteX2239" fmla="*/ 627 w 10785"/>
                  <a:gd name="connsiteY2239" fmla="*/ 4658 h 10000"/>
                  <a:gd name="connsiteX2240" fmla="*/ 654 w 10785"/>
                  <a:gd name="connsiteY2240" fmla="*/ 4684 h 10000"/>
                  <a:gd name="connsiteX2241" fmla="*/ 668 w 10785"/>
                  <a:gd name="connsiteY2241" fmla="*/ 4709 h 10000"/>
                  <a:gd name="connsiteX2242" fmla="*/ 747 w 10785"/>
                  <a:gd name="connsiteY2242" fmla="*/ 4718 h 10000"/>
                  <a:gd name="connsiteX2243" fmla="*/ 760 w 10785"/>
                  <a:gd name="connsiteY2243" fmla="*/ 4709 h 10000"/>
                  <a:gd name="connsiteX2244" fmla="*/ 774 w 10785"/>
                  <a:gd name="connsiteY2244" fmla="*/ 4692 h 10000"/>
                  <a:gd name="connsiteX2245" fmla="*/ 829 w 10785"/>
                  <a:gd name="connsiteY2245" fmla="*/ 4658 h 10000"/>
                  <a:gd name="connsiteX2246" fmla="*/ 903 w 10785"/>
                  <a:gd name="connsiteY2246" fmla="*/ 4496 h 10000"/>
                  <a:gd name="connsiteX2247" fmla="*/ 917 w 10785"/>
                  <a:gd name="connsiteY2247" fmla="*/ 4385 h 10000"/>
                  <a:gd name="connsiteX2248" fmla="*/ 903 w 10785"/>
                  <a:gd name="connsiteY2248" fmla="*/ 4376 h 10000"/>
                  <a:gd name="connsiteX2249" fmla="*/ 903 w 10785"/>
                  <a:gd name="connsiteY2249" fmla="*/ 4376 h 10000"/>
                  <a:gd name="connsiteX2250" fmla="*/ 889 w 10785"/>
                  <a:gd name="connsiteY2250" fmla="*/ 4239 h 10000"/>
                  <a:gd name="connsiteX2251" fmla="*/ 880 w 10785"/>
                  <a:gd name="connsiteY2251" fmla="*/ 4214 h 10000"/>
                  <a:gd name="connsiteX2252" fmla="*/ 862 w 10785"/>
                  <a:gd name="connsiteY2252" fmla="*/ 4188 h 10000"/>
                  <a:gd name="connsiteX2253" fmla="*/ 857 w 10785"/>
                  <a:gd name="connsiteY2253" fmla="*/ 4197 h 10000"/>
                  <a:gd name="connsiteX2254" fmla="*/ 848 w 10785"/>
                  <a:gd name="connsiteY2254" fmla="*/ 4188 h 10000"/>
                  <a:gd name="connsiteX2255" fmla="*/ 848 w 10785"/>
                  <a:gd name="connsiteY2255" fmla="*/ 4162 h 10000"/>
                  <a:gd name="connsiteX2256" fmla="*/ 829 w 10785"/>
                  <a:gd name="connsiteY2256" fmla="*/ 4120 h 10000"/>
                  <a:gd name="connsiteX2257" fmla="*/ 820 w 10785"/>
                  <a:gd name="connsiteY2257" fmla="*/ 4103 h 10000"/>
                  <a:gd name="connsiteX2258" fmla="*/ 806 w 10785"/>
                  <a:gd name="connsiteY2258" fmla="*/ 4077 h 10000"/>
                  <a:gd name="connsiteX2259" fmla="*/ 816 w 10785"/>
                  <a:gd name="connsiteY2259" fmla="*/ 4111 h 10000"/>
                  <a:gd name="connsiteX2260" fmla="*/ 802 w 10785"/>
                  <a:gd name="connsiteY2260" fmla="*/ 4111 h 10000"/>
                  <a:gd name="connsiteX2261" fmla="*/ 770 w 10785"/>
                  <a:gd name="connsiteY2261" fmla="*/ 4060 h 10000"/>
                  <a:gd name="connsiteX2262" fmla="*/ 760 w 10785"/>
                  <a:gd name="connsiteY2262" fmla="*/ 4077 h 10000"/>
                  <a:gd name="connsiteX2263" fmla="*/ 760 w 10785"/>
                  <a:gd name="connsiteY2263" fmla="*/ 4060 h 10000"/>
                  <a:gd name="connsiteX2264" fmla="*/ 756 w 10785"/>
                  <a:gd name="connsiteY2264" fmla="*/ 4034 h 10000"/>
                  <a:gd name="connsiteX2265" fmla="*/ 742 w 10785"/>
                  <a:gd name="connsiteY2265" fmla="*/ 4000 h 10000"/>
                  <a:gd name="connsiteX2266" fmla="*/ 747 w 10785"/>
                  <a:gd name="connsiteY2266" fmla="*/ 4034 h 10000"/>
                  <a:gd name="connsiteX2267" fmla="*/ 724 w 10785"/>
                  <a:gd name="connsiteY2267" fmla="*/ 4026 h 10000"/>
                  <a:gd name="connsiteX2268" fmla="*/ 714 w 10785"/>
                  <a:gd name="connsiteY2268" fmla="*/ 4000 h 10000"/>
                  <a:gd name="connsiteX2269" fmla="*/ 714 w 10785"/>
                  <a:gd name="connsiteY2269" fmla="*/ 3983 h 10000"/>
                  <a:gd name="connsiteX2270" fmla="*/ 553 w 10785"/>
                  <a:gd name="connsiteY2270" fmla="*/ 3726 h 10000"/>
                  <a:gd name="connsiteX2271" fmla="*/ 507 w 10785"/>
                  <a:gd name="connsiteY2271" fmla="*/ 3718 h 10000"/>
                  <a:gd name="connsiteX2272" fmla="*/ 516 w 10785"/>
                  <a:gd name="connsiteY2272" fmla="*/ 3726 h 10000"/>
                  <a:gd name="connsiteX2273" fmla="*/ 507 w 10785"/>
                  <a:gd name="connsiteY2273" fmla="*/ 3735 h 10000"/>
                  <a:gd name="connsiteX2274" fmla="*/ 502 w 10785"/>
                  <a:gd name="connsiteY2274" fmla="*/ 3735 h 10000"/>
                  <a:gd name="connsiteX2275" fmla="*/ 419 w 10785"/>
                  <a:gd name="connsiteY2275" fmla="*/ 3675 h 10000"/>
                  <a:gd name="connsiteX2276" fmla="*/ 419 w 10785"/>
                  <a:gd name="connsiteY2276" fmla="*/ 3692 h 10000"/>
                  <a:gd name="connsiteX2277" fmla="*/ 401 w 10785"/>
                  <a:gd name="connsiteY2277" fmla="*/ 3701 h 10000"/>
                  <a:gd name="connsiteX2278" fmla="*/ 387 w 10785"/>
                  <a:gd name="connsiteY2278" fmla="*/ 3718 h 10000"/>
                  <a:gd name="connsiteX2279" fmla="*/ 387 w 10785"/>
                  <a:gd name="connsiteY2279" fmla="*/ 3692 h 10000"/>
                  <a:gd name="connsiteX2280" fmla="*/ 378 w 10785"/>
                  <a:gd name="connsiteY2280" fmla="*/ 3675 h 10000"/>
                  <a:gd name="connsiteX2281" fmla="*/ 378 w 10785"/>
                  <a:gd name="connsiteY2281" fmla="*/ 3650 h 10000"/>
                  <a:gd name="connsiteX2282" fmla="*/ 378 w 10785"/>
                  <a:gd name="connsiteY2282" fmla="*/ 3650 h 10000"/>
                  <a:gd name="connsiteX2283" fmla="*/ 355 w 10785"/>
                  <a:gd name="connsiteY2283" fmla="*/ 3675 h 10000"/>
                  <a:gd name="connsiteX2284" fmla="*/ 359 w 10785"/>
                  <a:gd name="connsiteY2284" fmla="*/ 3641 h 10000"/>
                  <a:gd name="connsiteX2285" fmla="*/ 346 w 10785"/>
                  <a:gd name="connsiteY2285" fmla="*/ 3650 h 10000"/>
                  <a:gd name="connsiteX2286" fmla="*/ 355 w 10785"/>
                  <a:gd name="connsiteY2286" fmla="*/ 3624 h 10000"/>
                  <a:gd name="connsiteX2287" fmla="*/ 346 w 10785"/>
                  <a:gd name="connsiteY2287" fmla="*/ 3624 h 10000"/>
                  <a:gd name="connsiteX2288" fmla="*/ 341 w 10785"/>
                  <a:gd name="connsiteY2288" fmla="*/ 3624 h 10000"/>
                  <a:gd name="connsiteX2289" fmla="*/ 318 w 10785"/>
                  <a:gd name="connsiteY2289" fmla="*/ 3641 h 10000"/>
                  <a:gd name="connsiteX2290" fmla="*/ 327 w 10785"/>
                  <a:gd name="connsiteY2290" fmla="*/ 3624 h 10000"/>
                  <a:gd name="connsiteX2291" fmla="*/ 318 w 10785"/>
                  <a:gd name="connsiteY2291" fmla="*/ 3615 h 10000"/>
                  <a:gd name="connsiteX2292" fmla="*/ 318 w 10785"/>
                  <a:gd name="connsiteY2292" fmla="*/ 3598 h 10000"/>
                  <a:gd name="connsiteX2293" fmla="*/ 300 w 10785"/>
                  <a:gd name="connsiteY2293" fmla="*/ 3598 h 10000"/>
                  <a:gd name="connsiteX2294" fmla="*/ 309 w 10785"/>
                  <a:gd name="connsiteY2294" fmla="*/ 3538 h 10000"/>
                  <a:gd name="connsiteX2295" fmla="*/ 313 w 10785"/>
                  <a:gd name="connsiteY2295" fmla="*/ 3564 h 10000"/>
                  <a:gd name="connsiteX2296" fmla="*/ 318 w 10785"/>
                  <a:gd name="connsiteY2296" fmla="*/ 3581 h 10000"/>
                  <a:gd name="connsiteX2297" fmla="*/ 327 w 10785"/>
                  <a:gd name="connsiteY2297" fmla="*/ 3564 h 10000"/>
                  <a:gd name="connsiteX2298" fmla="*/ 332 w 10785"/>
                  <a:gd name="connsiteY2298" fmla="*/ 3590 h 10000"/>
                  <a:gd name="connsiteX2299" fmla="*/ 346 w 10785"/>
                  <a:gd name="connsiteY2299" fmla="*/ 3590 h 10000"/>
                  <a:gd name="connsiteX2300" fmla="*/ 355 w 10785"/>
                  <a:gd name="connsiteY2300" fmla="*/ 3590 h 10000"/>
                  <a:gd name="connsiteX2301" fmla="*/ 369 w 10785"/>
                  <a:gd name="connsiteY2301" fmla="*/ 3556 h 10000"/>
                  <a:gd name="connsiteX2302" fmla="*/ 369 w 10785"/>
                  <a:gd name="connsiteY2302" fmla="*/ 3538 h 10000"/>
                  <a:gd name="connsiteX2303" fmla="*/ 346 w 10785"/>
                  <a:gd name="connsiteY2303" fmla="*/ 3513 h 10000"/>
                  <a:gd name="connsiteX2304" fmla="*/ 341 w 10785"/>
                  <a:gd name="connsiteY2304" fmla="*/ 3530 h 10000"/>
                  <a:gd name="connsiteX2305" fmla="*/ 327 w 10785"/>
                  <a:gd name="connsiteY2305" fmla="*/ 3513 h 10000"/>
                  <a:gd name="connsiteX2306" fmla="*/ 327 w 10785"/>
                  <a:gd name="connsiteY2306" fmla="*/ 3504 h 10000"/>
                  <a:gd name="connsiteX2307" fmla="*/ 295 w 10785"/>
                  <a:gd name="connsiteY2307" fmla="*/ 3462 h 10000"/>
                  <a:gd name="connsiteX2308" fmla="*/ 300 w 10785"/>
                  <a:gd name="connsiteY2308" fmla="*/ 3479 h 10000"/>
                  <a:gd name="connsiteX2309" fmla="*/ 295 w 10785"/>
                  <a:gd name="connsiteY2309" fmla="*/ 3513 h 10000"/>
                  <a:gd name="connsiteX2310" fmla="*/ 286 w 10785"/>
                  <a:gd name="connsiteY2310" fmla="*/ 3513 h 10000"/>
                  <a:gd name="connsiteX2311" fmla="*/ 281 w 10785"/>
                  <a:gd name="connsiteY2311" fmla="*/ 3513 h 10000"/>
                  <a:gd name="connsiteX2312" fmla="*/ 281 w 10785"/>
                  <a:gd name="connsiteY2312" fmla="*/ 3530 h 10000"/>
                  <a:gd name="connsiteX2313" fmla="*/ 281 w 10785"/>
                  <a:gd name="connsiteY2313" fmla="*/ 3556 h 10000"/>
                  <a:gd name="connsiteX2314" fmla="*/ 272 w 10785"/>
                  <a:gd name="connsiteY2314" fmla="*/ 3564 h 10000"/>
                  <a:gd name="connsiteX2315" fmla="*/ 267 w 10785"/>
                  <a:gd name="connsiteY2315" fmla="*/ 3564 h 10000"/>
                  <a:gd name="connsiteX2316" fmla="*/ 253 w 10785"/>
                  <a:gd name="connsiteY2316" fmla="*/ 3538 h 10000"/>
                  <a:gd name="connsiteX2317" fmla="*/ 226 w 10785"/>
                  <a:gd name="connsiteY2317" fmla="*/ 3513 h 10000"/>
                  <a:gd name="connsiteX2318" fmla="*/ 226 w 10785"/>
                  <a:gd name="connsiteY2318" fmla="*/ 3530 h 10000"/>
                  <a:gd name="connsiteX2319" fmla="*/ 226 w 10785"/>
                  <a:gd name="connsiteY2319" fmla="*/ 3530 h 10000"/>
                  <a:gd name="connsiteX2320" fmla="*/ 226 w 10785"/>
                  <a:gd name="connsiteY2320" fmla="*/ 3530 h 10000"/>
                  <a:gd name="connsiteX2321" fmla="*/ 226 w 10785"/>
                  <a:gd name="connsiteY2321" fmla="*/ 3556 h 10000"/>
                  <a:gd name="connsiteX2322" fmla="*/ 221 w 10785"/>
                  <a:gd name="connsiteY2322" fmla="*/ 3598 h 10000"/>
                  <a:gd name="connsiteX2323" fmla="*/ 207 w 10785"/>
                  <a:gd name="connsiteY2323" fmla="*/ 3598 h 10000"/>
                  <a:gd name="connsiteX2324" fmla="*/ 180 w 10785"/>
                  <a:gd name="connsiteY2324" fmla="*/ 3581 h 10000"/>
                  <a:gd name="connsiteX2325" fmla="*/ 171 w 10785"/>
                  <a:gd name="connsiteY2325" fmla="*/ 3641 h 10000"/>
                  <a:gd name="connsiteX2326" fmla="*/ 166 w 10785"/>
                  <a:gd name="connsiteY2326" fmla="*/ 3650 h 10000"/>
                  <a:gd name="connsiteX2327" fmla="*/ 124 w 10785"/>
                  <a:gd name="connsiteY2327" fmla="*/ 3701 h 10000"/>
                  <a:gd name="connsiteX2328" fmla="*/ 124 w 10785"/>
                  <a:gd name="connsiteY2328" fmla="*/ 3718 h 10000"/>
                  <a:gd name="connsiteX2329" fmla="*/ 120 w 10785"/>
                  <a:gd name="connsiteY2329" fmla="*/ 3735 h 10000"/>
                  <a:gd name="connsiteX2330" fmla="*/ 120 w 10785"/>
                  <a:gd name="connsiteY2330" fmla="*/ 3735 h 10000"/>
                  <a:gd name="connsiteX2331" fmla="*/ 111 w 10785"/>
                  <a:gd name="connsiteY2331" fmla="*/ 3761 h 10000"/>
                  <a:gd name="connsiteX2332" fmla="*/ 106 w 10785"/>
                  <a:gd name="connsiteY2332" fmla="*/ 3761 h 10000"/>
                  <a:gd name="connsiteX2333" fmla="*/ 106 w 10785"/>
                  <a:gd name="connsiteY2333" fmla="*/ 3761 h 10000"/>
                  <a:gd name="connsiteX2334" fmla="*/ 74 w 10785"/>
                  <a:gd name="connsiteY2334" fmla="*/ 3829 h 10000"/>
                  <a:gd name="connsiteX2335" fmla="*/ 78 w 10785"/>
                  <a:gd name="connsiteY2335" fmla="*/ 3838 h 10000"/>
                  <a:gd name="connsiteX2336" fmla="*/ 88 w 10785"/>
                  <a:gd name="connsiteY2336" fmla="*/ 3846 h 10000"/>
                  <a:gd name="connsiteX2337" fmla="*/ 65 w 10785"/>
                  <a:gd name="connsiteY2337" fmla="*/ 3923 h 10000"/>
                  <a:gd name="connsiteX2338" fmla="*/ 78 w 10785"/>
                  <a:gd name="connsiteY2338" fmla="*/ 4026 h 10000"/>
                  <a:gd name="connsiteX2339" fmla="*/ 88 w 10785"/>
                  <a:gd name="connsiteY2339" fmla="*/ 4051 h 10000"/>
                  <a:gd name="connsiteX2340" fmla="*/ 92 w 10785"/>
                  <a:gd name="connsiteY2340" fmla="*/ 4060 h 10000"/>
                  <a:gd name="connsiteX2341" fmla="*/ 111 w 10785"/>
                  <a:gd name="connsiteY2341" fmla="*/ 4060 h 10000"/>
                  <a:gd name="connsiteX2342" fmla="*/ 124 w 10785"/>
                  <a:gd name="connsiteY2342" fmla="*/ 4085 h 10000"/>
                  <a:gd name="connsiteX2343" fmla="*/ 166 w 10785"/>
                  <a:gd name="connsiteY2343" fmla="*/ 4197 h 10000"/>
                  <a:gd name="connsiteX2344" fmla="*/ 166 w 10785"/>
                  <a:gd name="connsiteY2344" fmla="*/ 4248 h 10000"/>
                  <a:gd name="connsiteX2345" fmla="*/ 120 w 10785"/>
                  <a:gd name="connsiteY2345" fmla="*/ 4462 h 10000"/>
                  <a:gd name="connsiteX2346" fmla="*/ 120 w 10785"/>
                  <a:gd name="connsiteY2346" fmla="*/ 4513 h 10000"/>
                  <a:gd name="connsiteX2347" fmla="*/ 180 w 10785"/>
                  <a:gd name="connsiteY2347" fmla="*/ 4829 h 10000"/>
                  <a:gd name="connsiteX2348" fmla="*/ 161 w 10785"/>
                  <a:gd name="connsiteY2348" fmla="*/ 4855 h 10000"/>
                  <a:gd name="connsiteX2349" fmla="*/ 152 w 10785"/>
                  <a:gd name="connsiteY2349" fmla="*/ 4940 h 10000"/>
                  <a:gd name="connsiteX2350" fmla="*/ 161 w 10785"/>
                  <a:gd name="connsiteY2350" fmla="*/ 4966 h 10000"/>
                  <a:gd name="connsiteX2351" fmla="*/ 161 w 10785"/>
                  <a:gd name="connsiteY2351" fmla="*/ 5009 h 10000"/>
                  <a:gd name="connsiteX2352" fmla="*/ 152 w 10785"/>
                  <a:gd name="connsiteY2352" fmla="*/ 5034 h 10000"/>
                  <a:gd name="connsiteX2353" fmla="*/ 152 w 10785"/>
                  <a:gd name="connsiteY2353" fmla="*/ 5077 h 10000"/>
                  <a:gd name="connsiteX2354" fmla="*/ 171 w 10785"/>
                  <a:gd name="connsiteY2354" fmla="*/ 5094 h 10000"/>
                  <a:gd name="connsiteX2355" fmla="*/ 180 w 10785"/>
                  <a:gd name="connsiteY2355" fmla="*/ 5128 h 10000"/>
                  <a:gd name="connsiteX2356" fmla="*/ 180 w 10785"/>
                  <a:gd name="connsiteY2356" fmla="*/ 5171 h 10000"/>
                  <a:gd name="connsiteX2357" fmla="*/ 184 w 10785"/>
                  <a:gd name="connsiteY2357" fmla="*/ 5205 h 10000"/>
                  <a:gd name="connsiteX2358" fmla="*/ 207 w 10785"/>
                  <a:gd name="connsiteY2358" fmla="*/ 5239 h 10000"/>
                  <a:gd name="connsiteX2359" fmla="*/ 207 w 10785"/>
                  <a:gd name="connsiteY2359" fmla="*/ 5282 h 10000"/>
                  <a:gd name="connsiteX2360" fmla="*/ 180 w 10785"/>
                  <a:gd name="connsiteY2360" fmla="*/ 5393 h 10000"/>
                  <a:gd name="connsiteX2361" fmla="*/ 194 w 10785"/>
                  <a:gd name="connsiteY2361" fmla="*/ 5427 h 10000"/>
                  <a:gd name="connsiteX2362" fmla="*/ 198 w 10785"/>
                  <a:gd name="connsiteY2362" fmla="*/ 5462 h 10000"/>
                  <a:gd name="connsiteX2363" fmla="*/ 235 w 10785"/>
                  <a:gd name="connsiteY2363" fmla="*/ 5513 h 10000"/>
                  <a:gd name="connsiteX2364" fmla="*/ 240 w 10785"/>
                  <a:gd name="connsiteY2364" fmla="*/ 5556 h 10000"/>
                  <a:gd name="connsiteX2365" fmla="*/ 253 w 10785"/>
                  <a:gd name="connsiteY2365" fmla="*/ 5590 h 10000"/>
                  <a:gd name="connsiteX2366" fmla="*/ 258 w 10785"/>
                  <a:gd name="connsiteY2366" fmla="*/ 5573 h 10000"/>
                  <a:gd name="connsiteX2367" fmla="*/ 258 w 10785"/>
                  <a:gd name="connsiteY2367" fmla="*/ 5667 h 10000"/>
                  <a:gd name="connsiteX2368" fmla="*/ 14 w 10785"/>
                  <a:gd name="connsiteY2368" fmla="*/ 6214 h 10000"/>
                  <a:gd name="connsiteX2369" fmla="*/ 14 w 10785"/>
                  <a:gd name="connsiteY2369" fmla="*/ 6214 h 10000"/>
                  <a:gd name="connsiteX2370" fmla="*/ 37 w 10785"/>
                  <a:gd name="connsiteY2370" fmla="*/ 6214 h 10000"/>
                  <a:gd name="connsiteX2371" fmla="*/ 51 w 10785"/>
                  <a:gd name="connsiteY2371" fmla="*/ 6188 h 10000"/>
                  <a:gd name="connsiteX2372" fmla="*/ 78 w 10785"/>
                  <a:gd name="connsiteY2372" fmla="*/ 6162 h 10000"/>
                  <a:gd name="connsiteX2373" fmla="*/ 78 w 10785"/>
                  <a:gd name="connsiteY2373" fmla="*/ 6188 h 10000"/>
                  <a:gd name="connsiteX2374" fmla="*/ 74 w 10785"/>
                  <a:gd name="connsiteY2374" fmla="*/ 6197 h 10000"/>
                  <a:gd name="connsiteX2375" fmla="*/ 74 w 10785"/>
                  <a:gd name="connsiteY2375" fmla="*/ 6231 h 10000"/>
                  <a:gd name="connsiteX2376" fmla="*/ 74 w 10785"/>
                  <a:gd name="connsiteY2376" fmla="*/ 6214 h 10000"/>
                  <a:gd name="connsiteX2377" fmla="*/ 65 w 10785"/>
                  <a:gd name="connsiteY2377" fmla="*/ 6214 h 10000"/>
                  <a:gd name="connsiteX2378" fmla="*/ 65 w 10785"/>
                  <a:gd name="connsiteY2378" fmla="*/ 6248 h 10000"/>
                  <a:gd name="connsiteX2379" fmla="*/ 74 w 10785"/>
                  <a:gd name="connsiteY2379" fmla="*/ 6256 h 10000"/>
                  <a:gd name="connsiteX2380" fmla="*/ 78 w 10785"/>
                  <a:gd name="connsiteY2380" fmla="*/ 6256 h 10000"/>
                  <a:gd name="connsiteX2381" fmla="*/ 106 w 10785"/>
                  <a:gd name="connsiteY2381" fmla="*/ 6308 h 10000"/>
                  <a:gd name="connsiteX2382" fmla="*/ 138 w 10785"/>
                  <a:gd name="connsiteY2382" fmla="*/ 6299 h 10000"/>
                  <a:gd name="connsiteX2383" fmla="*/ 152 w 10785"/>
                  <a:gd name="connsiteY2383" fmla="*/ 6299 h 10000"/>
                  <a:gd name="connsiteX2384" fmla="*/ 166 w 10785"/>
                  <a:gd name="connsiteY2384" fmla="*/ 6325 h 10000"/>
                  <a:gd name="connsiteX2385" fmla="*/ 166 w 10785"/>
                  <a:gd name="connsiteY2385" fmla="*/ 6333 h 10000"/>
                  <a:gd name="connsiteX2386" fmla="*/ 171 w 10785"/>
                  <a:gd name="connsiteY2386" fmla="*/ 6350 h 10000"/>
                  <a:gd name="connsiteX2387" fmla="*/ 180 w 10785"/>
                  <a:gd name="connsiteY2387" fmla="*/ 6350 h 10000"/>
                  <a:gd name="connsiteX2388" fmla="*/ 180 w 10785"/>
                  <a:gd name="connsiteY2388" fmla="*/ 6359 h 10000"/>
                  <a:gd name="connsiteX2389" fmla="*/ 171 w 10785"/>
                  <a:gd name="connsiteY2389" fmla="*/ 6368 h 10000"/>
                  <a:gd name="connsiteX2390" fmla="*/ 106 w 10785"/>
                  <a:gd name="connsiteY2390" fmla="*/ 6350 h 10000"/>
                  <a:gd name="connsiteX2391" fmla="*/ 101 w 10785"/>
                  <a:gd name="connsiteY2391" fmla="*/ 6359 h 10000"/>
                  <a:gd name="connsiteX2392" fmla="*/ 101 w 10785"/>
                  <a:gd name="connsiteY2392" fmla="*/ 6385 h 10000"/>
                  <a:gd name="connsiteX2393" fmla="*/ 78 w 10785"/>
                  <a:gd name="connsiteY2393" fmla="*/ 6393 h 10000"/>
                  <a:gd name="connsiteX2394" fmla="*/ 74 w 10785"/>
                  <a:gd name="connsiteY2394" fmla="*/ 6385 h 10000"/>
                  <a:gd name="connsiteX2395" fmla="*/ 65 w 10785"/>
                  <a:gd name="connsiteY2395" fmla="*/ 6393 h 10000"/>
                  <a:gd name="connsiteX2396" fmla="*/ 60 w 10785"/>
                  <a:gd name="connsiteY2396" fmla="*/ 6419 h 10000"/>
                  <a:gd name="connsiteX2397" fmla="*/ 51 w 10785"/>
                  <a:gd name="connsiteY2397" fmla="*/ 6419 h 10000"/>
                  <a:gd name="connsiteX2398" fmla="*/ 46 w 10785"/>
                  <a:gd name="connsiteY2398" fmla="*/ 6410 h 10000"/>
                  <a:gd name="connsiteX2399" fmla="*/ 37 w 10785"/>
                  <a:gd name="connsiteY2399" fmla="*/ 6393 h 10000"/>
                  <a:gd name="connsiteX2400" fmla="*/ 32 w 10785"/>
                  <a:gd name="connsiteY2400" fmla="*/ 6419 h 10000"/>
                  <a:gd name="connsiteX2401" fmla="*/ 37 w 10785"/>
                  <a:gd name="connsiteY2401" fmla="*/ 6462 h 10000"/>
                  <a:gd name="connsiteX2402" fmla="*/ 46 w 10785"/>
                  <a:gd name="connsiteY2402" fmla="*/ 6462 h 10000"/>
                  <a:gd name="connsiteX2403" fmla="*/ 51 w 10785"/>
                  <a:gd name="connsiteY2403" fmla="*/ 6470 h 10000"/>
                  <a:gd name="connsiteX2404" fmla="*/ 51 w 10785"/>
                  <a:gd name="connsiteY2404" fmla="*/ 6496 h 10000"/>
                  <a:gd name="connsiteX2405" fmla="*/ 51 w 10785"/>
                  <a:gd name="connsiteY2405" fmla="*/ 6504 h 10000"/>
                  <a:gd name="connsiteX2406" fmla="*/ 37 w 10785"/>
                  <a:gd name="connsiteY2406" fmla="*/ 6530 h 10000"/>
                  <a:gd name="connsiteX2407" fmla="*/ 18 w 10785"/>
                  <a:gd name="connsiteY2407" fmla="*/ 6598 h 10000"/>
                  <a:gd name="connsiteX2408" fmla="*/ 28 w 10785"/>
                  <a:gd name="connsiteY2408" fmla="*/ 6632 h 10000"/>
                  <a:gd name="connsiteX2409" fmla="*/ 18 w 10785"/>
                  <a:gd name="connsiteY2409" fmla="*/ 6667 h 10000"/>
                  <a:gd name="connsiteX2410" fmla="*/ 28 w 10785"/>
                  <a:gd name="connsiteY2410" fmla="*/ 6692 h 10000"/>
                  <a:gd name="connsiteX2411" fmla="*/ 28 w 10785"/>
                  <a:gd name="connsiteY2411" fmla="*/ 6709 h 10000"/>
                  <a:gd name="connsiteX2412" fmla="*/ 18 w 10785"/>
                  <a:gd name="connsiteY2412" fmla="*/ 6718 h 10000"/>
                  <a:gd name="connsiteX2413" fmla="*/ 5 w 10785"/>
                  <a:gd name="connsiteY2413" fmla="*/ 6744 h 10000"/>
                  <a:gd name="connsiteX2414" fmla="*/ 0 w 10785"/>
                  <a:gd name="connsiteY2414" fmla="*/ 6769 h 10000"/>
                  <a:gd name="connsiteX2415" fmla="*/ 5 w 10785"/>
                  <a:gd name="connsiteY2415" fmla="*/ 6778 h 10000"/>
                  <a:gd name="connsiteX2416" fmla="*/ 32 w 10785"/>
                  <a:gd name="connsiteY2416" fmla="*/ 6778 h 10000"/>
                  <a:gd name="connsiteX2417" fmla="*/ 46 w 10785"/>
                  <a:gd name="connsiteY2417" fmla="*/ 6821 h 10000"/>
                  <a:gd name="connsiteX2418" fmla="*/ 46 w 10785"/>
                  <a:gd name="connsiteY2418" fmla="*/ 6855 h 10000"/>
                  <a:gd name="connsiteX2419" fmla="*/ 32 w 10785"/>
                  <a:gd name="connsiteY2419" fmla="*/ 6855 h 10000"/>
                  <a:gd name="connsiteX2420" fmla="*/ 14 w 10785"/>
                  <a:gd name="connsiteY2420" fmla="*/ 6821 h 10000"/>
                  <a:gd name="connsiteX2421" fmla="*/ 14 w 10785"/>
                  <a:gd name="connsiteY2421" fmla="*/ 6846 h 10000"/>
                  <a:gd name="connsiteX2422" fmla="*/ 0 w 10785"/>
                  <a:gd name="connsiteY2422" fmla="*/ 6897 h 10000"/>
                  <a:gd name="connsiteX2423" fmla="*/ 0 w 10785"/>
                  <a:gd name="connsiteY2423" fmla="*/ 6915 h 10000"/>
                  <a:gd name="connsiteX2424" fmla="*/ 5 w 10785"/>
                  <a:gd name="connsiteY2424" fmla="*/ 6932 h 10000"/>
                  <a:gd name="connsiteX2425" fmla="*/ 14 w 10785"/>
                  <a:gd name="connsiteY2425" fmla="*/ 6940 h 10000"/>
                  <a:gd name="connsiteX2426" fmla="*/ 18 w 10785"/>
                  <a:gd name="connsiteY2426" fmla="*/ 6957 h 10000"/>
                  <a:gd name="connsiteX2427" fmla="*/ 28 w 10785"/>
                  <a:gd name="connsiteY2427" fmla="*/ 6966 h 10000"/>
                  <a:gd name="connsiteX2428" fmla="*/ 28 w 10785"/>
                  <a:gd name="connsiteY2428" fmla="*/ 6983 h 10000"/>
                  <a:gd name="connsiteX2429" fmla="*/ 18 w 10785"/>
                  <a:gd name="connsiteY2429" fmla="*/ 7051 h 10000"/>
                  <a:gd name="connsiteX2430" fmla="*/ 28 w 10785"/>
                  <a:gd name="connsiteY2430" fmla="*/ 7068 h 10000"/>
                  <a:gd name="connsiteX2431" fmla="*/ 32 w 10785"/>
                  <a:gd name="connsiteY2431" fmla="*/ 7068 h 10000"/>
                  <a:gd name="connsiteX2432" fmla="*/ 32 w 10785"/>
                  <a:gd name="connsiteY2432" fmla="*/ 7094 h 10000"/>
                  <a:gd name="connsiteX2433" fmla="*/ 60 w 10785"/>
                  <a:gd name="connsiteY2433" fmla="*/ 7162 h 10000"/>
                  <a:gd name="connsiteX2434" fmla="*/ 60 w 10785"/>
                  <a:gd name="connsiteY2434" fmla="*/ 7231 h 10000"/>
                  <a:gd name="connsiteX2435" fmla="*/ 60 w 10785"/>
                  <a:gd name="connsiteY2435" fmla="*/ 7239 h 10000"/>
                  <a:gd name="connsiteX2436" fmla="*/ 78 w 10785"/>
                  <a:gd name="connsiteY2436" fmla="*/ 7239 h 10000"/>
                  <a:gd name="connsiteX2437" fmla="*/ 88 w 10785"/>
                  <a:gd name="connsiteY2437" fmla="*/ 7239 h 10000"/>
                  <a:gd name="connsiteX2438" fmla="*/ 92 w 10785"/>
                  <a:gd name="connsiteY2438" fmla="*/ 7256 h 10000"/>
                  <a:gd name="connsiteX2439" fmla="*/ 111 w 10785"/>
                  <a:gd name="connsiteY2439" fmla="*/ 7256 h 10000"/>
                  <a:gd name="connsiteX2440" fmla="*/ 120 w 10785"/>
                  <a:gd name="connsiteY2440" fmla="*/ 7256 h 10000"/>
                  <a:gd name="connsiteX2441" fmla="*/ 134 w 10785"/>
                  <a:gd name="connsiteY2441" fmla="*/ 7282 h 10000"/>
                  <a:gd name="connsiteX2442" fmla="*/ 134 w 10785"/>
                  <a:gd name="connsiteY2442" fmla="*/ 7316 h 10000"/>
                  <a:gd name="connsiteX2443" fmla="*/ 152 w 10785"/>
                  <a:gd name="connsiteY2443" fmla="*/ 7299 h 10000"/>
                  <a:gd name="connsiteX2444" fmla="*/ 161 w 10785"/>
                  <a:gd name="connsiteY2444" fmla="*/ 7299 h 10000"/>
                  <a:gd name="connsiteX2445" fmla="*/ 166 w 10785"/>
                  <a:gd name="connsiteY2445" fmla="*/ 7291 h 10000"/>
                  <a:gd name="connsiteX2446" fmla="*/ 194 w 10785"/>
                  <a:gd name="connsiteY2446" fmla="*/ 7291 h 10000"/>
                  <a:gd name="connsiteX2447" fmla="*/ 207 w 10785"/>
                  <a:gd name="connsiteY2447" fmla="*/ 7299 h 10000"/>
                  <a:gd name="connsiteX2448" fmla="*/ 221 w 10785"/>
                  <a:gd name="connsiteY2448" fmla="*/ 7342 h 10000"/>
                  <a:gd name="connsiteX2449" fmla="*/ 235 w 10785"/>
                  <a:gd name="connsiteY2449" fmla="*/ 7342 h 10000"/>
                  <a:gd name="connsiteX2450" fmla="*/ 235 w 10785"/>
                  <a:gd name="connsiteY2450" fmla="*/ 7368 h 10000"/>
                  <a:gd name="connsiteX2451" fmla="*/ 226 w 10785"/>
                  <a:gd name="connsiteY2451" fmla="*/ 7393 h 10000"/>
                  <a:gd name="connsiteX2452" fmla="*/ 226 w 10785"/>
                  <a:gd name="connsiteY2452" fmla="*/ 7402 h 10000"/>
                  <a:gd name="connsiteX2453" fmla="*/ 235 w 10785"/>
                  <a:gd name="connsiteY2453" fmla="*/ 7419 h 10000"/>
                  <a:gd name="connsiteX2454" fmla="*/ 240 w 10785"/>
                  <a:gd name="connsiteY2454" fmla="*/ 7436 h 10000"/>
                  <a:gd name="connsiteX2455" fmla="*/ 235 w 10785"/>
                  <a:gd name="connsiteY2455" fmla="*/ 7462 h 10000"/>
                  <a:gd name="connsiteX2456" fmla="*/ 226 w 10785"/>
                  <a:gd name="connsiteY2456" fmla="*/ 7479 h 10000"/>
                  <a:gd name="connsiteX2457" fmla="*/ 226 w 10785"/>
                  <a:gd name="connsiteY2457" fmla="*/ 7504 h 10000"/>
                  <a:gd name="connsiteX2458" fmla="*/ 226 w 10785"/>
                  <a:gd name="connsiteY2458" fmla="*/ 7513 h 10000"/>
                  <a:gd name="connsiteX2459" fmla="*/ 240 w 10785"/>
                  <a:gd name="connsiteY2459" fmla="*/ 7538 h 10000"/>
                  <a:gd name="connsiteX2460" fmla="*/ 267 w 10785"/>
                  <a:gd name="connsiteY2460" fmla="*/ 7641 h 10000"/>
                  <a:gd name="connsiteX2461" fmla="*/ 281 w 10785"/>
                  <a:gd name="connsiteY2461" fmla="*/ 7667 h 10000"/>
                  <a:gd name="connsiteX2462" fmla="*/ 286 w 10785"/>
                  <a:gd name="connsiteY2462" fmla="*/ 7675 h 10000"/>
                  <a:gd name="connsiteX2463" fmla="*/ 286 w 10785"/>
                  <a:gd name="connsiteY2463" fmla="*/ 7692 h 10000"/>
                  <a:gd name="connsiteX2464" fmla="*/ 286 w 10785"/>
                  <a:gd name="connsiteY2464" fmla="*/ 7709 h 10000"/>
                  <a:gd name="connsiteX2465" fmla="*/ 295 w 10785"/>
                  <a:gd name="connsiteY2465" fmla="*/ 7726 h 10000"/>
                  <a:gd name="connsiteX2466" fmla="*/ 318 w 10785"/>
                  <a:gd name="connsiteY2466" fmla="*/ 7709 h 10000"/>
                  <a:gd name="connsiteX2467" fmla="*/ 327 w 10785"/>
                  <a:gd name="connsiteY2467" fmla="*/ 7726 h 10000"/>
                  <a:gd name="connsiteX2468" fmla="*/ 341 w 10785"/>
                  <a:gd name="connsiteY2468" fmla="*/ 7735 h 10000"/>
                  <a:gd name="connsiteX2469" fmla="*/ 332 w 10785"/>
                  <a:gd name="connsiteY2469" fmla="*/ 7752 h 10000"/>
                  <a:gd name="connsiteX2470" fmla="*/ 341 w 10785"/>
                  <a:gd name="connsiteY2470" fmla="*/ 7761 h 10000"/>
                  <a:gd name="connsiteX2471" fmla="*/ 355 w 10785"/>
                  <a:gd name="connsiteY2471" fmla="*/ 7761 h 10000"/>
                  <a:gd name="connsiteX2472" fmla="*/ 355 w 10785"/>
                  <a:gd name="connsiteY2472" fmla="*/ 7803 h 10000"/>
                  <a:gd name="connsiteX2473" fmla="*/ 313 w 10785"/>
                  <a:gd name="connsiteY2473" fmla="*/ 7846 h 10000"/>
                  <a:gd name="connsiteX2474" fmla="*/ 295 w 10785"/>
                  <a:gd name="connsiteY2474" fmla="*/ 7846 h 10000"/>
                  <a:gd name="connsiteX2475" fmla="*/ 281 w 10785"/>
                  <a:gd name="connsiteY2475" fmla="*/ 7821 h 10000"/>
                  <a:gd name="connsiteX2476" fmla="*/ 272 w 10785"/>
                  <a:gd name="connsiteY2476" fmla="*/ 7821 h 10000"/>
                  <a:gd name="connsiteX2477" fmla="*/ 267 w 10785"/>
                  <a:gd name="connsiteY2477" fmla="*/ 7838 h 10000"/>
                  <a:gd name="connsiteX2478" fmla="*/ 258 w 10785"/>
                  <a:gd name="connsiteY2478" fmla="*/ 7846 h 10000"/>
                  <a:gd name="connsiteX2479" fmla="*/ 253 w 10785"/>
                  <a:gd name="connsiteY2479" fmla="*/ 7863 h 10000"/>
                  <a:gd name="connsiteX2480" fmla="*/ 253 w 10785"/>
                  <a:gd name="connsiteY2480" fmla="*/ 7872 h 10000"/>
                  <a:gd name="connsiteX2481" fmla="*/ 267 w 10785"/>
                  <a:gd name="connsiteY2481" fmla="*/ 7897 h 10000"/>
                  <a:gd name="connsiteX2482" fmla="*/ 272 w 10785"/>
                  <a:gd name="connsiteY2482" fmla="*/ 7915 h 10000"/>
                  <a:gd name="connsiteX2483" fmla="*/ 267 w 10785"/>
                  <a:gd name="connsiteY2483" fmla="*/ 7940 h 10000"/>
                  <a:gd name="connsiteX2484" fmla="*/ 272 w 10785"/>
                  <a:gd name="connsiteY2484" fmla="*/ 7949 h 10000"/>
                  <a:gd name="connsiteX2485" fmla="*/ 272 w 10785"/>
                  <a:gd name="connsiteY2485" fmla="*/ 7957 h 10000"/>
                  <a:gd name="connsiteX2486" fmla="*/ 281 w 10785"/>
                  <a:gd name="connsiteY2486" fmla="*/ 7974 h 10000"/>
                  <a:gd name="connsiteX2487" fmla="*/ 286 w 10785"/>
                  <a:gd name="connsiteY2487" fmla="*/ 7983 h 10000"/>
                  <a:gd name="connsiteX2488" fmla="*/ 281 w 10785"/>
                  <a:gd name="connsiteY2488" fmla="*/ 8009 h 10000"/>
                  <a:gd name="connsiteX2489" fmla="*/ 286 w 10785"/>
                  <a:gd name="connsiteY2489" fmla="*/ 8060 h 10000"/>
                  <a:gd name="connsiteX2490" fmla="*/ 286 w 10785"/>
                  <a:gd name="connsiteY2490" fmla="*/ 8060 h 10000"/>
                  <a:gd name="connsiteX2491" fmla="*/ 295 w 10785"/>
                  <a:gd name="connsiteY2491" fmla="*/ 8077 h 10000"/>
                  <a:gd name="connsiteX2492" fmla="*/ 309 w 10785"/>
                  <a:gd name="connsiteY2492" fmla="*/ 8077 h 10000"/>
                  <a:gd name="connsiteX2493" fmla="*/ 313 w 10785"/>
                  <a:gd name="connsiteY2493" fmla="*/ 8060 h 10000"/>
                  <a:gd name="connsiteX2494" fmla="*/ 318 w 10785"/>
                  <a:gd name="connsiteY2494" fmla="*/ 8051 h 10000"/>
                  <a:gd name="connsiteX2495" fmla="*/ 318 w 10785"/>
                  <a:gd name="connsiteY2495" fmla="*/ 8034 h 10000"/>
                  <a:gd name="connsiteX2496" fmla="*/ 332 w 10785"/>
                  <a:gd name="connsiteY2496" fmla="*/ 8026 h 10000"/>
                  <a:gd name="connsiteX2497" fmla="*/ 359 w 10785"/>
                  <a:gd name="connsiteY2497" fmla="*/ 8034 h 10000"/>
                  <a:gd name="connsiteX2498" fmla="*/ 378 w 10785"/>
                  <a:gd name="connsiteY2498" fmla="*/ 8026 h 10000"/>
                  <a:gd name="connsiteX2499" fmla="*/ 401 w 10785"/>
                  <a:gd name="connsiteY2499" fmla="*/ 8026 h 10000"/>
                  <a:gd name="connsiteX2500" fmla="*/ 419 w 10785"/>
                  <a:gd name="connsiteY2500" fmla="*/ 8009 h 10000"/>
                  <a:gd name="connsiteX2501" fmla="*/ 433 w 10785"/>
                  <a:gd name="connsiteY2501" fmla="*/ 8034 h 10000"/>
                  <a:gd name="connsiteX2502" fmla="*/ 442 w 10785"/>
                  <a:gd name="connsiteY2502" fmla="*/ 8060 h 10000"/>
                  <a:gd name="connsiteX2503" fmla="*/ 442 w 10785"/>
                  <a:gd name="connsiteY2503" fmla="*/ 8077 h 10000"/>
                  <a:gd name="connsiteX2504" fmla="*/ 461 w 10785"/>
                  <a:gd name="connsiteY2504" fmla="*/ 8111 h 10000"/>
                  <a:gd name="connsiteX2505" fmla="*/ 461 w 10785"/>
                  <a:gd name="connsiteY2505" fmla="*/ 8137 h 10000"/>
                  <a:gd name="connsiteX2506" fmla="*/ 447 w 10785"/>
                  <a:gd name="connsiteY2506" fmla="*/ 8145 h 10000"/>
                  <a:gd name="connsiteX2507" fmla="*/ 442 w 10785"/>
                  <a:gd name="connsiteY2507" fmla="*/ 8145 h 10000"/>
                  <a:gd name="connsiteX2508" fmla="*/ 442 w 10785"/>
                  <a:gd name="connsiteY2508" fmla="*/ 8162 h 10000"/>
                  <a:gd name="connsiteX2509" fmla="*/ 442 w 10785"/>
                  <a:gd name="connsiteY2509" fmla="*/ 8171 h 10000"/>
                  <a:gd name="connsiteX2510" fmla="*/ 447 w 10785"/>
                  <a:gd name="connsiteY2510" fmla="*/ 8214 h 10000"/>
                  <a:gd name="connsiteX2511" fmla="*/ 465 w 10785"/>
                  <a:gd name="connsiteY2511" fmla="*/ 8231 h 10000"/>
                  <a:gd name="connsiteX2512" fmla="*/ 488 w 10785"/>
                  <a:gd name="connsiteY2512" fmla="*/ 8231 h 10000"/>
                  <a:gd name="connsiteX2513" fmla="*/ 493 w 10785"/>
                  <a:gd name="connsiteY2513" fmla="*/ 8231 h 10000"/>
                  <a:gd name="connsiteX2514" fmla="*/ 502 w 10785"/>
                  <a:gd name="connsiteY2514" fmla="*/ 8231 h 10000"/>
                  <a:gd name="connsiteX2515" fmla="*/ 507 w 10785"/>
                  <a:gd name="connsiteY2515" fmla="*/ 8248 h 10000"/>
                  <a:gd name="connsiteX2516" fmla="*/ 521 w 10785"/>
                  <a:gd name="connsiteY2516" fmla="*/ 8274 h 10000"/>
                  <a:gd name="connsiteX2517" fmla="*/ 525 w 10785"/>
                  <a:gd name="connsiteY2517" fmla="*/ 8333 h 10000"/>
                  <a:gd name="connsiteX2518" fmla="*/ 525 w 10785"/>
                  <a:gd name="connsiteY2518" fmla="*/ 8359 h 10000"/>
                  <a:gd name="connsiteX2519" fmla="*/ 525 w 10785"/>
                  <a:gd name="connsiteY2519" fmla="*/ 8368 h 10000"/>
                  <a:gd name="connsiteX2520" fmla="*/ 548 w 10785"/>
                  <a:gd name="connsiteY2520" fmla="*/ 8393 h 10000"/>
                  <a:gd name="connsiteX2521" fmla="*/ 553 w 10785"/>
                  <a:gd name="connsiteY2521" fmla="*/ 8385 h 10000"/>
                  <a:gd name="connsiteX2522" fmla="*/ 562 w 10785"/>
                  <a:gd name="connsiteY2522" fmla="*/ 8385 h 10000"/>
                  <a:gd name="connsiteX2523" fmla="*/ 576 w 10785"/>
                  <a:gd name="connsiteY2523" fmla="*/ 8385 h 10000"/>
                  <a:gd name="connsiteX2524" fmla="*/ 585 w 10785"/>
                  <a:gd name="connsiteY2524" fmla="*/ 8410 h 10000"/>
                  <a:gd name="connsiteX2525" fmla="*/ 594 w 10785"/>
                  <a:gd name="connsiteY2525" fmla="*/ 8410 h 10000"/>
                  <a:gd name="connsiteX2526" fmla="*/ 608 w 10785"/>
                  <a:gd name="connsiteY2526" fmla="*/ 8410 h 10000"/>
                  <a:gd name="connsiteX2527" fmla="*/ 654 w 10785"/>
                  <a:gd name="connsiteY2527" fmla="*/ 8385 h 10000"/>
                  <a:gd name="connsiteX2528" fmla="*/ 659 w 10785"/>
                  <a:gd name="connsiteY2528" fmla="*/ 8385 h 10000"/>
                  <a:gd name="connsiteX2529" fmla="*/ 696 w 10785"/>
                  <a:gd name="connsiteY2529" fmla="*/ 8470 h 10000"/>
                  <a:gd name="connsiteX2530" fmla="*/ 700 w 10785"/>
                  <a:gd name="connsiteY2530" fmla="*/ 8470 h 10000"/>
                  <a:gd name="connsiteX2531" fmla="*/ 710 w 10785"/>
                  <a:gd name="connsiteY2531" fmla="*/ 8462 h 10000"/>
                  <a:gd name="connsiteX2532" fmla="*/ 714 w 10785"/>
                  <a:gd name="connsiteY2532" fmla="*/ 8462 h 10000"/>
                  <a:gd name="connsiteX2533" fmla="*/ 724 w 10785"/>
                  <a:gd name="connsiteY2533" fmla="*/ 8470 h 10000"/>
                  <a:gd name="connsiteX2534" fmla="*/ 733 w 10785"/>
                  <a:gd name="connsiteY2534" fmla="*/ 8470 h 10000"/>
                  <a:gd name="connsiteX2535" fmla="*/ 742 w 10785"/>
                  <a:gd name="connsiteY2535" fmla="*/ 8487 h 10000"/>
                  <a:gd name="connsiteX2536" fmla="*/ 747 w 10785"/>
                  <a:gd name="connsiteY2536" fmla="*/ 8496 h 10000"/>
                  <a:gd name="connsiteX2537" fmla="*/ 770 w 10785"/>
                  <a:gd name="connsiteY2537" fmla="*/ 8496 h 10000"/>
                  <a:gd name="connsiteX2538" fmla="*/ 783 w 10785"/>
                  <a:gd name="connsiteY2538" fmla="*/ 8521 h 10000"/>
                  <a:gd name="connsiteX2539" fmla="*/ 797 w 10785"/>
                  <a:gd name="connsiteY2539" fmla="*/ 8521 h 10000"/>
                  <a:gd name="connsiteX2540" fmla="*/ 806 w 10785"/>
                  <a:gd name="connsiteY2540" fmla="*/ 8530 h 10000"/>
                  <a:gd name="connsiteX2541" fmla="*/ 829 w 10785"/>
                  <a:gd name="connsiteY2541" fmla="*/ 8547 h 10000"/>
                  <a:gd name="connsiteX2542" fmla="*/ 834 w 10785"/>
                  <a:gd name="connsiteY2542" fmla="*/ 8556 h 10000"/>
                  <a:gd name="connsiteX2543" fmla="*/ 829 w 10785"/>
                  <a:gd name="connsiteY2543" fmla="*/ 8556 h 10000"/>
                  <a:gd name="connsiteX2544" fmla="*/ 834 w 10785"/>
                  <a:gd name="connsiteY2544" fmla="*/ 8607 h 10000"/>
                  <a:gd name="connsiteX2545" fmla="*/ 829 w 10785"/>
                  <a:gd name="connsiteY2545" fmla="*/ 8641 h 10000"/>
                  <a:gd name="connsiteX2546" fmla="*/ 806 w 10785"/>
                  <a:gd name="connsiteY2546" fmla="*/ 8658 h 10000"/>
                  <a:gd name="connsiteX2547" fmla="*/ 816 w 10785"/>
                  <a:gd name="connsiteY2547" fmla="*/ 8667 h 10000"/>
                  <a:gd name="connsiteX2548" fmla="*/ 820 w 10785"/>
                  <a:gd name="connsiteY2548" fmla="*/ 8667 h 10000"/>
                  <a:gd name="connsiteX2549" fmla="*/ 829 w 10785"/>
                  <a:gd name="connsiteY2549" fmla="*/ 8684 h 10000"/>
                  <a:gd name="connsiteX2550" fmla="*/ 806 w 10785"/>
                  <a:gd name="connsiteY2550" fmla="*/ 8692 h 10000"/>
                  <a:gd name="connsiteX2551" fmla="*/ 802 w 10785"/>
                  <a:gd name="connsiteY2551" fmla="*/ 8709 h 10000"/>
                  <a:gd name="connsiteX2552" fmla="*/ 802 w 10785"/>
                  <a:gd name="connsiteY2552" fmla="*/ 8735 h 10000"/>
                  <a:gd name="connsiteX2553" fmla="*/ 806 w 10785"/>
                  <a:gd name="connsiteY2553" fmla="*/ 8744 h 10000"/>
                  <a:gd name="connsiteX2554" fmla="*/ 816 w 10785"/>
                  <a:gd name="connsiteY2554" fmla="*/ 8752 h 10000"/>
                  <a:gd name="connsiteX2555" fmla="*/ 806 w 10785"/>
                  <a:gd name="connsiteY2555" fmla="*/ 8778 h 10000"/>
                  <a:gd name="connsiteX2556" fmla="*/ 820 w 10785"/>
                  <a:gd name="connsiteY2556" fmla="*/ 8778 h 10000"/>
                  <a:gd name="connsiteX2557" fmla="*/ 806 w 10785"/>
                  <a:gd name="connsiteY2557" fmla="*/ 8880 h 10000"/>
                  <a:gd name="connsiteX2558" fmla="*/ 797 w 10785"/>
                  <a:gd name="connsiteY2558" fmla="*/ 8880 h 10000"/>
                  <a:gd name="connsiteX2559" fmla="*/ 783 w 10785"/>
                  <a:gd name="connsiteY2559" fmla="*/ 8872 h 10000"/>
                  <a:gd name="connsiteX2560" fmla="*/ 770 w 10785"/>
                  <a:gd name="connsiteY2560" fmla="*/ 8880 h 10000"/>
                  <a:gd name="connsiteX2561" fmla="*/ 756 w 10785"/>
                  <a:gd name="connsiteY2561" fmla="*/ 8855 h 10000"/>
                  <a:gd name="connsiteX2562" fmla="*/ 733 w 10785"/>
                  <a:gd name="connsiteY2562" fmla="*/ 8906 h 10000"/>
                  <a:gd name="connsiteX2563" fmla="*/ 714 w 10785"/>
                  <a:gd name="connsiteY2563" fmla="*/ 8915 h 10000"/>
                  <a:gd name="connsiteX2564" fmla="*/ 710 w 10785"/>
                  <a:gd name="connsiteY2564" fmla="*/ 8940 h 10000"/>
                  <a:gd name="connsiteX2565" fmla="*/ 710 w 10785"/>
                  <a:gd name="connsiteY2565" fmla="*/ 9009 h 10000"/>
                  <a:gd name="connsiteX2566" fmla="*/ 728 w 10785"/>
                  <a:gd name="connsiteY2566" fmla="*/ 8991 h 10000"/>
                  <a:gd name="connsiteX2567" fmla="*/ 733 w 10785"/>
                  <a:gd name="connsiteY2567" fmla="*/ 8991 h 10000"/>
                  <a:gd name="connsiteX2568" fmla="*/ 747 w 10785"/>
                  <a:gd name="connsiteY2568" fmla="*/ 8983 h 10000"/>
                  <a:gd name="connsiteX2569" fmla="*/ 760 w 10785"/>
                  <a:gd name="connsiteY2569" fmla="*/ 8983 h 10000"/>
                  <a:gd name="connsiteX2570" fmla="*/ 770 w 10785"/>
                  <a:gd name="connsiteY2570" fmla="*/ 8983 h 10000"/>
                  <a:gd name="connsiteX2571" fmla="*/ 770 w 10785"/>
                  <a:gd name="connsiteY2571" fmla="*/ 8991 h 10000"/>
                  <a:gd name="connsiteX2572" fmla="*/ 783 w 10785"/>
                  <a:gd name="connsiteY2572" fmla="*/ 8991 h 10000"/>
                  <a:gd name="connsiteX2573" fmla="*/ 783 w 10785"/>
                  <a:gd name="connsiteY2573" fmla="*/ 9009 h 10000"/>
                  <a:gd name="connsiteX2574" fmla="*/ 783 w 10785"/>
                  <a:gd name="connsiteY2574" fmla="*/ 9017 h 10000"/>
                  <a:gd name="connsiteX2575" fmla="*/ 770 w 10785"/>
                  <a:gd name="connsiteY2575" fmla="*/ 9017 h 10000"/>
                  <a:gd name="connsiteX2576" fmla="*/ 724 w 10785"/>
                  <a:gd name="connsiteY2576" fmla="*/ 9051 h 10000"/>
                  <a:gd name="connsiteX2577" fmla="*/ 724 w 10785"/>
                  <a:gd name="connsiteY2577" fmla="*/ 9068 h 10000"/>
                  <a:gd name="connsiteX2578" fmla="*/ 728 w 10785"/>
                  <a:gd name="connsiteY2578" fmla="*/ 9077 h 10000"/>
                  <a:gd name="connsiteX2579" fmla="*/ 724 w 10785"/>
                  <a:gd name="connsiteY2579" fmla="*/ 9077 h 10000"/>
                  <a:gd name="connsiteX2580" fmla="*/ 710 w 10785"/>
                  <a:gd name="connsiteY2580" fmla="*/ 9077 h 10000"/>
                  <a:gd name="connsiteX2581" fmla="*/ 682 w 10785"/>
                  <a:gd name="connsiteY2581" fmla="*/ 9077 h 10000"/>
                  <a:gd name="connsiteX2582" fmla="*/ 673 w 10785"/>
                  <a:gd name="connsiteY2582" fmla="*/ 9103 h 10000"/>
                  <a:gd name="connsiteX2583" fmla="*/ 687 w 10785"/>
                  <a:gd name="connsiteY2583" fmla="*/ 9128 h 10000"/>
                  <a:gd name="connsiteX2584" fmla="*/ 700 w 10785"/>
                  <a:gd name="connsiteY2584" fmla="*/ 9128 h 10000"/>
                  <a:gd name="connsiteX2585" fmla="*/ 728 w 10785"/>
                  <a:gd name="connsiteY2585" fmla="*/ 9179 h 10000"/>
                  <a:gd name="connsiteX2586" fmla="*/ 724 w 10785"/>
                  <a:gd name="connsiteY2586" fmla="*/ 9188 h 10000"/>
                  <a:gd name="connsiteX2587" fmla="*/ 710 w 10785"/>
                  <a:gd name="connsiteY2587" fmla="*/ 9179 h 10000"/>
                  <a:gd name="connsiteX2588" fmla="*/ 700 w 10785"/>
                  <a:gd name="connsiteY2588" fmla="*/ 9205 h 10000"/>
                  <a:gd name="connsiteX2589" fmla="*/ 696 w 10785"/>
                  <a:gd name="connsiteY2589" fmla="*/ 9205 h 10000"/>
                  <a:gd name="connsiteX2590" fmla="*/ 654 w 10785"/>
                  <a:gd name="connsiteY2590" fmla="*/ 9299 h 10000"/>
                  <a:gd name="connsiteX2591" fmla="*/ 622 w 10785"/>
                  <a:gd name="connsiteY2591" fmla="*/ 9299 h 10000"/>
                  <a:gd name="connsiteX2592" fmla="*/ 613 w 10785"/>
                  <a:gd name="connsiteY2592" fmla="*/ 9316 h 10000"/>
                  <a:gd name="connsiteX2593" fmla="*/ 613 w 10785"/>
                  <a:gd name="connsiteY2593" fmla="*/ 9325 h 10000"/>
                  <a:gd name="connsiteX2594" fmla="*/ 608 w 10785"/>
                  <a:gd name="connsiteY2594" fmla="*/ 9342 h 10000"/>
                  <a:gd name="connsiteX2595" fmla="*/ 636 w 10785"/>
                  <a:gd name="connsiteY2595" fmla="*/ 9376 h 10000"/>
                  <a:gd name="connsiteX2596" fmla="*/ 641 w 10785"/>
                  <a:gd name="connsiteY2596" fmla="*/ 9402 h 10000"/>
                  <a:gd name="connsiteX2597" fmla="*/ 654 w 10785"/>
                  <a:gd name="connsiteY2597" fmla="*/ 9427 h 10000"/>
                  <a:gd name="connsiteX2598" fmla="*/ 668 w 10785"/>
                  <a:gd name="connsiteY2598" fmla="*/ 9427 h 10000"/>
                  <a:gd name="connsiteX2599" fmla="*/ 668 w 10785"/>
                  <a:gd name="connsiteY2599" fmla="*/ 9427 h 10000"/>
                  <a:gd name="connsiteX2600" fmla="*/ 774 w 10785"/>
                  <a:gd name="connsiteY2600" fmla="*/ 9547 h 10000"/>
                  <a:gd name="connsiteX2601" fmla="*/ 797 w 10785"/>
                  <a:gd name="connsiteY2601" fmla="*/ 9598 h 10000"/>
                  <a:gd name="connsiteX2602" fmla="*/ 802 w 10785"/>
                  <a:gd name="connsiteY2602" fmla="*/ 9598 h 10000"/>
                  <a:gd name="connsiteX2603" fmla="*/ 816 w 10785"/>
                  <a:gd name="connsiteY2603" fmla="*/ 9624 h 10000"/>
                  <a:gd name="connsiteX2604" fmla="*/ 843 w 10785"/>
                  <a:gd name="connsiteY2604" fmla="*/ 9615 h 10000"/>
                  <a:gd name="connsiteX2605" fmla="*/ 857 w 10785"/>
                  <a:gd name="connsiteY2605" fmla="*/ 9624 h 10000"/>
                  <a:gd name="connsiteX2606" fmla="*/ 862 w 10785"/>
                  <a:gd name="connsiteY2606" fmla="*/ 9615 h 10000"/>
                  <a:gd name="connsiteX2607" fmla="*/ 880 w 10785"/>
                  <a:gd name="connsiteY2607" fmla="*/ 9624 h 10000"/>
                  <a:gd name="connsiteX2608" fmla="*/ 889 w 10785"/>
                  <a:gd name="connsiteY2608" fmla="*/ 9641 h 10000"/>
                  <a:gd name="connsiteX2609" fmla="*/ 935 w 10785"/>
                  <a:gd name="connsiteY2609" fmla="*/ 9675 h 10000"/>
                  <a:gd name="connsiteX2610" fmla="*/ 977 w 10785"/>
                  <a:gd name="connsiteY2610" fmla="*/ 9667 h 10000"/>
                  <a:gd name="connsiteX2611" fmla="*/ 995 w 10785"/>
                  <a:gd name="connsiteY2611" fmla="*/ 9675 h 10000"/>
                  <a:gd name="connsiteX2612" fmla="*/ 1014 w 10785"/>
                  <a:gd name="connsiteY2612" fmla="*/ 9675 h 10000"/>
                  <a:gd name="connsiteX2613" fmla="*/ 1069 w 10785"/>
                  <a:gd name="connsiteY2613" fmla="*/ 9752 h 10000"/>
                  <a:gd name="connsiteX2614" fmla="*/ 1074 w 10785"/>
                  <a:gd name="connsiteY2614" fmla="*/ 9761 h 10000"/>
                  <a:gd name="connsiteX2615" fmla="*/ 1083 w 10785"/>
                  <a:gd name="connsiteY2615" fmla="*/ 9778 h 10000"/>
                  <a:gd name="connsiteX2616" fmla="*/ 1115 w 10785"/>
                  <a:gd name="connsiteY2616" fmla="*/ 9752 h 10000"/>
                  <a:gd name="connsiteX2617" fmla="*/ 1129 w 10785"/>
                  <a:gd name="connsiteY2617" fmla="*/ 9752 h 10000"/>
                  <a:gd name="connsiteX2618" fmla="*/ 1138 w 10785"/>
                  <a:gd name="connsiteY2618" fmla="*/ 9761 h 10000"/>
                  <a:gd name="connsiteX2619" fmla="*/ 1143 w 10785"/>
                  <a:gd name="connsiteY2619" fmla="*/ 9752 h 10000"/>
                  <a:gd name="connsiteX2620" fmla="*/ 1161 w 10785"/>
                  <a:gd name="connsiteY2620" fmla="*/ 9761 h 10000"/>
                  <a:gd name="connsiteX2621" fmla="*/ 1171 w 10785"/>
                  <a:gd name="connsiteY2621" fmla="*/ 9778 h 10000"/>
                  <a:gd name="connsiteX2622" fmla="*/ 1175 w 10785"/>
                  <a:gd name="connsiteY2622" fmla="*/ 9778 h 10000"/>
                  <a:gd name="connsiteX2623" fmla="*/ 1189 w 10785"/>
                  <a:gd name="connsiteY2623" fmla="*/ 9778 h 10000"/>
                  <a:gd name="connsiteX2624" fmla="*/ 1198 w 10785"/>
                  <a:gd name="connsiteY2624" fmla="*/ 9786 h 10000"/>
                  <a:gd name="connsiteX2625" fmla="*/ 1203 w 10785"/>
                  <a:gd name="connsiteY2625" fmla="*/ 9803 h 10000"/>
                  <a:gd name="connsiteX2626" fmla="*/ 1198 w 10785"/>
                  <a:gd name="connsiteY2626" fmla="*/ 9838 h 10000"/>
                  <a:gd name="connsiteX2627" fmla="*/ 1212 w 10785"/>
                  <a:gd name="connsiteY2627" fmla="*/ 9863 h 10000"/>
                  <a:gd name="connsiteX2628" fmla="*/ 1230 w 10785"/>
                  <a:gd name="connsiteY2628" fmla="*/ 9872 h 10000"/>
                  <a:gd name="connsiteX2629" fmla="*/ 1249 w 10785"/>
                  <a:gd name="connsiteY2629" fmla="*/ 9897 h 10000"/>
                  <a:gd name="connsiteX2630" fmla="*/ 1263 w 10785"/>
                  <a:gd name="connsiteY2630" fmla="*/ 9897 h 10000"/>
                  <a:gd name="connsiteX2631" fmla="*/ 1276 w 10785"/>
                  <a:gd name="connsiteY2631" fmla="*/ 9923 h 10000"/>
                  <a:gd name="connsiteX2632" fmla="*/ 1281 w 10785"/>
                  <a:gd name="connsiteY2632" fmla="*/ 9949 h 10000"/>
                  <a:gd name="connsiteX2633" fmla="*/ 1290 w 10785"/>
                  <a:gd name="connsiteY2633" fmla="*/ 9949 h 10000"/>
                  <a:gd name="connsiteX2634" fmla="*/ 1295 w 10785"/>
                  <a:gd name="connsiteY2634" fmla="*/ 10000 h 10000"/>
                  <a:gd name="connsiteX2635" fmla="*/ 1332 w 10785"/>
                  <a:gd name="connsiteY2635" fmla="*/ 10000 h 10000"/>
                  <a:gd name="connsiteX2636" fmla="*/ 1336 w 10785"/>
                  <a:gd name="connsiteY2636" fmla="*/ 10000 h 10000"/>
                  <a:gd name="connsiteX2637" fmla="*/ 1346 w 10785"/>
                  <a:gd name="connsiteY2637" fmla="*/ 9983 h 10000"/>
                  <a:gd name="connsiteX2638" fmla="*/ 1350 w 10785"/>
                  <a:gd name="connsiteY2638" fmla="*/ 9949 h 10000"/>
                  <a:gd name="connsiteX2639" fmla="*/ 1369 w 10785"/>
                  <a:gd name="connsiteY2639" fmla="*/ 9940 h 10000"/>
                  <a:gd name="connsiteX2640" fmla="*/ 1378 w 10785"/>
                  <a:gd name="connsiteY2640" fmla="*/ 9897 h 10000"/>
                  <a:gd name="connsiteX2641" fmla="*/ 1369 w 10785"/>
                  <a:gd name="connsiteY2641" fmla="*/ 9889 h 10000"/>
                  <a:gd name="connsiteX2642" fmla="*/ 1318 w 10785"/>
                  <a:gd name="connsiteY2642" fmla="*/ 9701 h 10000"/>
                  <a:gd name="connsiteX2643" fmla="*/ 1318 w 10785"/>
                  <a:gd name="connsiteY2643" fmla="*/ 9650 h 10000"/>
                  <a:gd name="connsiteX2644" fmla="*/ 1323 w 10785"/>
                  <a:gd name="connsiteY2644" fmla="*/ 9590 h 10000"/>
                  <a:gd name="connsiteX2645" fmla="*/ 1323 w 10785"/>
                  <a:gd name="connsiteY2645" fmla="*/ 9564 h 10000"/>
                  <a:gd name="connsiteX2646" fmla="*/ 1309 w 10785"/>
                  <a:gd name="connsiteY2646" fmla="*/ 9598 h 10000"/>
                  <a:gd name="connsiteX2647" fmla="*/ 1309 w 10785"/>
                  <a:gd name="connsiteY2647" fmla="*/ 9590 h 10000"/>
                  <a:gd name="connsiteX2648" fmla="*/ 1304 w 10785"/>
                  <a:gd name="connsiteY2648" fmla="*/ 9547 h 10000"/>
                  <a:gd name="connsiteX2649" fmla="*/ 1276 w 10785"/>
                  <a:gd name="connsiteY2649" fmla="*/ 9479 h 10000"/>
                  <a:gd name="connsiteX2650" fmla="*/ 1263 w 10785"/>
                  <a:gd name="connsiteY2650" fmla="*/ 9479 h 10000"/>
                  <a:gd name="connsiteX2651" fmla="*/ 1263 w 10785"/>
                  <a:gd name="connsiteY2651" fmla="*/ 9453 h 10000"/>
                  <a:gd name="connsiteX2652" fmla="*/ 1272 w 10785"/>
                  <a:gd name="connsiteY2652" fmla="*/ 9410 h 10000"/>
                  <a:gd name="connsiteX2653" fmla="*/ 1272 w 10785"/>
                  <a:gd name="connsiteY2653" fmla="*/ 9393 h 10000"/>
                  <a:gd name="connsiteX2654" fmla="*/ 1281 w 10785"/>
                  <a:gd name="connsiteY2654" fmla="*/ 9368 h 10000"/>
                  <a:gd name="connsiteX2655" fmla="*/ 1281 w 10785"/>
                  <a:gd name="connsiteY2655" fmla="*/ 9368 h 10000"/>
                  <a:gd name="connsiteX2656" fmla="*/ 1290 w 10785"/>
                  <a:gd name="connsiteY2656" fmla="*/ 9368 h 10000"/>
                  <a:gd name="connsiteX2657" fmla="*/ 1290 w 10785"/>
                  <a:gd name="connsiteY2657" fmla="*/ 9342 h 10000"/>
                  <a:gd name="connsiteX2658" fmla="*/ 1304 w 10785"/>
                  <a:gd name="connsiteY2658" fmla="*/ 9325 h 10000"/>
                  <a:gd name="connsiteX2659" fmla="*/ 1309 w 10785"/>
                  <a:gd name="connsiteY2659" fmla="*/ 9239 h 10000"/>
                  <a:gd name="connsiteX2660" fmla="*/ 1318 w 10785"/>
                  <a:gd name="connsiteY2660" fmla="*/ 9256 h 10000"/>
                  <a:gd name="connsiteX2661" fmla="*/ 1323 w 10785"/>
                  <a:gd name="connsiteY2661" fmla="*/ 9179 h 10000"/>
                  <a:gd name="connsiteX2662" fmla="*/ 1309 w 10785"/>
                  <a:gd name="connsiteY2662" fmla="*/ 9145 h 10000"/>
                  <a:gd name="connsiteX2663" fmla="*/ 1336 w 10785"/>
                  <a:gd name="connsiteY2663" fmla="*/ 9154 h 10000"/>
                  <a:gd name="connsiteX2664" fmla="*/ 1336 w 10785"/>
                  <a:gd name="connsiteY2664" fmla="*/ 9162 h 10000"/>
                  <a:gd name="connsiteX2665" fmla="*/ 1350 w 10785"/>
                  <a:gd name="connsiteY2665" fmla="*/ 9231 h 10000"/>
                  <a:gd name="connsiteX2666" fmla="*/ 1355 w 10785"/>
                  <a:gd name="connsiteY2666" fmla="*/ 9231 h 10000"/>
                  <a:gd name="connsiteX2667" fmla="*/ 1364 w 10785"/>
                  <a:gd name="connsiteY2667" fmla="*/ 9214 h 10000"/>
                  <a:gd name="connsiteX2668" fmla="*/ 1369 w 10785"/>
                  <a:gd name="connsiteY2668" fmla="*/ 9214 h 10000"/>
                  <a:gd name="connsiteX2669" fmla="*/ 1382 w 10785"/>
                  <a:gd name="connsiteY2669" fmla="*/ 9154 h 10000"/>
                  <a:gd name="connsiteX2670" fmla="*/ 1396 w 10785"/>
                  <a:gd name="connsiteY2670" fmla="*/ 9154 h 10000"/>
                  <a:gd name="connsiteX2671" fmla="*/ 1382 w 10785"/>
                  <a:gd name="connsiteY2671" fmla="*/ 9145 h 10000"/>
                  <a:gd name="connsiteX2672" fmla="*/ 1382 w 10785"/>
                  <a:gd name="connsiteY2672" fmla="*/ 9128 h 10000"/>
                  <a:gd name="connsiteX2673" fmla="*/ 1369 w 10785"/>
                  <a:gd name="connsiteY2673" fmla="*/ 9128 h 10000"/>
                  <a:gd name="connsiteX2674" fmla="*/ 1364 w 10785"/>
                  <a:gd name="connsiteY2674" fmla="*/ 9128 h 10000"/>
                  <a:gd name="connsiteX2675" fmla="*/ 1355 w 10785"/>
                  <a:gd name="connsiteY2675" fmla="*/ 9120 h 10000"/>
                  <a:gd name="connsiteX2676" fmla="*/ 1350 w 10785"/>
                  <a:gd name="connsiteY2676" fmla="*/ 9103 h 10000"/>
                  <a:gd name="connsiteX2677" fmla="*/ 1355 w 10785"/>
                  <a:gd name="connsiteY2677" fmla="*/ 9094 h 10000"/>
                  <a:gd name="connsiteX2678" fmla="*/ 1355 w 10785"/>
                  <a:gd name="connsiteY2678" fmla="*/ 9068 h 10000"/>
                  <a:gd name="connsiteX2679" fmla="*/ 1369 w 10785"/>
                  <a:gd name="connsiteY2679" fmla="*/ 9068 h 10000"/>
                  <a:gd name="connsiteX2680" fmla="*/ 1378 w 10785"/>
                  <a:gd name="connsiteY2680" fmla="*/ 9077 h 10000"/>
                  <a:gd name="connsiteX2681" fmla="*/ 1396 w 10785"/>
                  <a:gd name="connsiteY2681" fmla="*/ 9068 h 10000"/>
                  <a:gd name="connsiteX2682" fmla="*/ 1382 w 10785"/>
                  <a:gd name="connsiteY2682" fmla="*/ 8940 h 10000"/>
                  <a:gd name="connsiteX2683" fmla="*/ 1378 w 10785"/>
                  <a:gd name="connsiteY2683" fmla="*/ 8940 h 10000"/>
                  <a:gd name="connsiteX2684" fmla="*/ 1364 w 10785"/>
                  <a:gd name="connsiteY2684" fmla="*/ 8889 h 10000"/>
                  <a:gd name="connsiteX2685" fmla="*/ 1355 w 10785"/>
                  <a:gd name="connsiteY2685" fmla="*/ 8880 h 10000"/>
                  <a:gd name="connsiteX2686" fmla="*/ 1323 w 10785"/>
                  <a:gd name="connsiteY2686" fmla="*/ 8880 h 10000"/>
                  <a:gd name="connsiteX2687" fmla="*/ 1309 w 10785"/>
                  <a:gd name="connsiteY2687" fmla="*/ 8880 h 10000"/>
                  <a:gd name="connsiteX2688" fmla="*/ 1309 w 10785"/>
                  <a:gd name="connsiteY2688" fmla="*/ 8889 h 10000"/>
                  <a:gd name="connsiteX2689" fmla="*/ 1295 w 10785"/>
                  <a:gd name="connsiteY2689" fmla="*/ 8872 h 10000"/>
                  <a:gd name="connsiteX2690" fmla="*/ 1290 w 10785"/>
                  <a:gd name="connsiteY2690" fmla="*/ 8855 h 10000"/>
                  <a:gd name="connsiteX2691" fmla="*/ 1290 w 10785"/>
                  <a:gd name="connsiteY2691" fmla="*/ 8829 h 10000"/>
                  <a:gd name="connsiteX2692" fmla="*/ 1290 w 10785"/>
                  <a:gd name="connsiteY2692" fmla="*/ 8821 h 10000"/>
                  <a:gd name="connsiteX2693" fmla="*/ 1290 w 10785"/>
                  <a:gd name="connsiteY2693" fmla="*/ 8803 h 10000"/>
                  <a:gd name="connsiteX2694" fmla="*/ 1281 w 10785"/>
                  <a:gd name="connsiteY2694" fmla="*/ 8795 h 10000"/>
                  <a:gd name="connsiteX2695" fmla="*/ 1249 w 10785"/>
                  <a:gd name="connsiteY2695" fmla="*/ 8769 h 10000"/>
                  <a:gd name="connsiteX2696" fmla="*/ 1263 w 10785"/>
                  <a:gd name="connsiteY2696" fmla="*/ 8667 h 10000"/>
                  <a:gd name="connsiteX2697" fmla="*/ 1281 w 10785"/>
                  <a:gd name="connsiteY2697" fmla="*/ 8658 h 10000"/>
                  <a:gd name="connsiteX2698" fmla="*/ 1290 w 10785"/>
                  <a:gd name="connsiteY2698" fmla="*/ 8632 h 10000"/>
                  <a:gd name="connsiteX2699" fmla="*/ 1281 w 10785"/>
                  <a:gd name="connsiteY2699" fmla="*/ 8615 h 10000"/>
                  <a:gd name="connsiteX2700" fmla="*/ 1272 w 10785"/>
                  <a:gd name="connsiteY2700" fmla="*/ 8598 h 10000"/>
                  <a:gd name="connsiteX2701" fmla="*/ 1281 w 10785"/>
                  <a:gd name="connsiteY2701" fmla="*/ 8496 h 10000"/>
                  <a:gd name="connsiteX2702" fmla="*/ 1295 w 10785"/>
                  <a:gd name="connsiteY2702" fmla="*/ 8470 h 10000"/>
                  <a:gd name="connsiteX2703" fmla="*/ 1304 w 10785"/>
                  <a:gd name="connsiteY2703" fmla="*/ 8462 h 10000"/>
                  <a:gd name="connsiteX2704" fmla="*/ 1304 w 10785"/>
                  <a:gd name="connsiteY2704" fmla="*/ 8444 h 10000"/>
                  <a:gd name="connsiteX2705" fmla="*/ 1304 w 10785"/>
                  <a:gd name="connsiteY2705" fmla="*/ 8419 h 10000"/>
                  <a:gd name="connsiteX2706" fmla="*/ 1304 w 10785"/>
                  <a:gd name="connsiteY2706" fmla="*/ 8410 h 10000"/>
                  <a:gd name="connsiteX2707" fmla="*/ 1309 w 10785"/>
                  <a:gd name="connsiteY2707" fmla="*/ 8393 h 10000"/>
                  <a:gd name="connsiteX2708" fmla="*/ 1318 w 10785"/>
                  <a:gd name="connsiteY2708" fmla="*/ 8385 h 10000"/>
                  <a:gd name="connsiteX2709" fmla="*/ 1323 w 10785"/>
                  <a:gd name="connsiteY2709" fmla="*/ 8385 h 10000"/>
                  <a:gd name="connsiteX2710" fmla="*/ 1332 w 10785"/>
                  <a:gd name="connsiteY2710" fmla="*/ 8410 h 10000"/>
                  <a:gd name="connsiteX2711" fmla="*/ 1346 w 10785"/>
                  <a:gd name="connsiteY2711" fmla="*/ 8419 h 10000"/>
                  <a:gd name="connsiteX2712" fmla="*/ 1364 w 10785"/>
                  <a:gd name="connsiteY2712" fmla="*/ 8504 h 10000"/>
                  <a:gd name="connsiteX2713" fmla="*/ 1369 w 10785"/>
                  <a:gd name="connsiteY2713" fmla="*/ 8521 h 10000"/>
                  <a:gd name="connsiteX2714" fmla="*/ 1406 w 10785"/>
                  <a:gd name="connsiteY2714" fmla="*/ 8470 h 10000"/>
                  <a:gd name="connsiteX2715" fmla="*/ 1382 w 10785"/>
                  <a:gd name="connsiteY2715" fmla="*/ 8359 h 10000"/>
                  <a:gd name="connsiteX2716" fmla="*/ 1392 w 10785"/>
                  <a:gd name="connsiteY2716" fmla="*/ 8359 h 10000"/>
                  <a:gd name="connsiteX2717" fmla="*/ 1438 w 10785"/>
                  <a:gd name="connsiteY2717" fmla="*/ 8308 h 10000"/>
                  <a:gd name="connsiteX2718" fmla="*/ 1442 w 10785"/>
                  <a:gd name="connsiteY2718" fmla="*/ 8299 h 10000"/>
                  <a:gd name="connsiteX2719" fmla="*/ 1442 w 10785"/>
                  <a:gd name="connsiteY2719" fmla="*/ 8256 h 10000"/>
                  <a:gd name="connsiteX2720" fmla="*/ 1452 w 10785"/>
                  <a:gd name="connsiteY2720" fmla="*/ 8256 h 10000"/>
                  <a:gd name="connsiteX2721" fmla="*/ 1456 w 10785"/>
                  <a:gd name="connsiteY2721" fmla="*/ 8256 h 10000"/>
                  <a:gd name="connsiteX2722" fmla="*/ 1470 w 10785"/>
                  <a:gd name="connsiteY2722" fmla="*/ 8248 h 10000"/>
                  <a:gd name="connsiteX2723" fmla="*/ 1479 w 10785"/>
                  <a:gd name="connsiteY2723" fmla="*/ 8231 h 10000"/>
                  <a:gd name="connsiteX2724" fmla="*/ 1493 w 10785"/>
                  <a:gd name="connsiteY2724" fmla="*/ 8222 h 10000"/>
                  <a:gd name="connsiteX2725" fmla="*/ 1498 w 10785"/>
                  <a:gd name="connsiteY2725" fmla="*/ 8214 h 10000"/>
                  <a:gd name="connsiteX2726" fmla="*/ 1502 w 10785"/>
                  <a:gd name="connsiteY2726" fmla="*/ 8197 h 10000"/>
                  <a:gd name="connsiteX2727" fmla="*/ 1512 w 10785"/>
                  <a:gd name="connsiteY2727" fmla="*/ 8188 h 10000"/>
                  <a:gd name="connsiteX2728" fmla="*/ 1516 w 10785"/>
                  <a:gd name="connsiteY2728" fmla="*/ 8171 h 10000"/>
                  <a:gd name="connsiteX2729" fmla="*/ 1525 w 10785"/>
                  <a:gd name="connsiteY2729" fmla="*/ 8162 h 10000"/>
                  <a:gd name="connsiteX2730" fmla="*/ 1539 w 10785"/>
                  <a:gd name="connsiteY2730" fmla="*/ 8145 h 10000"/>
                  <a:gd name="connsiteX2731" fmla="*/ 1558 w 10785"/>
                  <a:gd name="connsiteY2731" fmla="*/ 8145 h 10000"/>
                  <a:gd name="connsiteX2732" fmla="*/ 1562 w 10785"/>
                  <a:gd name="connsiteY2732" fmla="*/ 8188 h 10000"/>
                  <a:gd name="connsiteX2733" fmla="*/ 1585 w 10785"/>
                  <a:gd name="connsiteY2733" fmla="*/ 8171 h 10000"/>
                  <a:gd name="connsiteX2734" fmla="*/ 1590 w 10785"/>
                  <a:gd name="connsiteY2734" fmla="*/ 8188 h 10000"/>
                  <a:gd name="connsiteX2735" fmla="*/ 1599 w 10785"/>
                  <a:gd name="connsiteY2735" fmla="*/ 8171 h 10000"/>
                  <a:gd name="connsiteX2736" fmla="*/ 1599 w 10785"/>
                  <a:gd name="connsiteY2736" fmla="*/ 8162 h 10000"/>
                  <a:gd name="connsiteX2737" fmla="*/ 1604 w 10785"/>
                  <a:gd name="connsiteY2737" fmla="*/ 8137 h 10000"/>
                  <a:gd name="connsiteX2738" fmla="*/ 1618 w 10785"/>
                  <a:gd name="connsiteY2738" fmla="*/ 8145 h 10000"/>
                  <a:gd name="connsiteX2739" fmla="*/ 1627 w 10785"/>
                  <a:gd name="connsiteY2739" fmla="*/ 8137 h 10000"/>
                  <a:gd name="connsiteX2740" fmla="*/ 1631 w 10785"/>
                  <a:gd name="connsiteY2740" fmla="*/ 8137 h 10000"/>
                  <a:gd name="connsiteX2741" fmla="*/ 1636 w 10785"/>
                  <a:gd name="connsiteY2741" fmla="*/ 8171 h 10000"/>
                  <a:gd name="connsiteX2742" fmla="*/ 1645 w 10785"/>
                  <a:gd name="connsiteY2742" fmla="*/ 8188 h 10000"/>
                  <a:gd name="connsiteX2743" fmla="*/ 1664 w 10785"/>
                  <a:gd name="connsiteY2743" fmla="*/ 8171 h 10000"/>
                  <a:gd name="connsiteX2744" fmla="*/ 1673 w 10785"/>
                  <a:gd name="connsiteY2744" fmla="*/ 8188 h 10000"/>
                  <a:gd name="connsiteX2745" fmla="*/ 1691 w 10785"/>
                  <a:gd name="connsiteY2745" fmla="*/ 8171 h 10000"/>
                  <a:gd name="connsiteX2746" fmla="*/ 1705 w 10785"/>
                  <a:gd name="connsiteY2746" fmla="*/ 8171 h 10000"/>
                  <a:gd name="connsiteX2747" fmla="*/ 1719 w 10785"/>
                  <a:gd name="connsiteY2747" fmla="*/ 8197 h 10000"/>
                  <a:gd name="connsiteX2748" fmla="*/ 1724 w 10785"/>
                  <a:gd name="connsiteY2748" fmla="*/ 8231 h 10000"/>
                  <a:gd name="connsiteX2749" fmla="*/ 1751 w 10785"/>
                  <a:gd name="connsiteY2749" fmla="*/ 8256 h 10000"/>
                  <a:gd name="connsiteX2750" fmla="*/ 1751 w 10785"/>
                  <a:gd name="connsiteY2750" fmla="*/ 8274 h 10000"/>
                  <a:gd name="connsiteX2751" fmla="*/ 1760 w 10785"/>
                  <a:gd name="connsiteY2751" fmla="*/ 8282 h 10000"/>
                  <a:gd name="connsiteX2752" fmla="*/ 1770 w 10785"/>
                  <a:gd name="connsiteY2752" fmla="*/ 8325 h 10000"/>
                  <a:gd name="connsiteX2753" fmla="*/ 1770 w 10785"/>
                  <a:gd name="connsiteY2753" fmla="*/ 8350 h 10000"/>
                  <a:gd name="connsiteX2754" fmla="*/ 1779 w 10785"/>
                  <a:gd name="connsiteY2754" fmla="*/ 8368 h 10000"/>
                  <a:gd name="connsiteX2755" fmla="*/ 1783 w 10785"/>
                  <a:gd name="connsiteY2755" fmla="*/ 8359 h 10000"/>
                  <a:gd name="connsiteX2756" fmla="*/ 1783 w 10785"/>
                  <a:gd name="connsiteY2756" fmla="*/ 8308 h 10000"/>
                  <a:gd name="connsiteX2757" fmla="*/ 1779 w 10785"/>
                  <a:gd name="connsiteY2757" fmla="*/ 8299 h 10000"/>
                  <a:gd name="connsiteX2758" fmla="*/ 1783 w 10785"/>
                  <a:gd name="connsiteY2758" fmla="*/ 8282 h 10000"/>
                  <a:gd name="connsiteX2759" fmla="*/ 1797 w 10785"/>
                  <a:gd name="connsiteY2759" fmla="*/ 8274 h 10000"/>
                  <a:gd name="connsiteX2760" fmla="*/ 1797 w 10785"/>
                  <a:gd name="connsiteY2760" fmla="*/ 8299 h 10000"/>
                  <a:gd name="connsiteX2761" fmla="*/ 1806 w 10785"/>
                  <a:gd name="connsiteY2761" fmla="*/ 8308 h 10000"/>
                  <a:gd name="connsiteX2762" fmla="*/ 1811 w 10785"/>
                  <a:gd name="connsiteY2762" fmla="*/ 8325 h 10000"/>
                  <a:gd name="connsiteX2763" fmla="*/ 1820 w 10785"/>
                  <a:gd name="connsiteY2763" fmla="*/ 8333 h 10000"/>
                  <a:gd name="connsiteX2764" fmla="*/ 1853 w 10785"/>
                  <a:gd name="connsiteY2764" fmla="*/ 8359 h 10000"/>
                  <a:gd name="connsiteX2765" fmla="*/ 1866 w 10785"/>
                  <a:gd name="connsiteY2765" fmla="*/ 8359 h 10000"/>
                  <a:gd name="connsiteX2766" fmla="*/ 1885 w 10785"/>
                  <a:gd name="connsiteY2766" fmla="*/ 8325 h 10000"/>
                  <a:gd name="connsiteX2767" fmla="*/ 1885 w 10785"/>
                  <a:gd name="connsiteY2767" fmla="*/ 8308 h 10000"/>
                  <a:gd name="connsiteX2768" fmla="*/ 1894 w 10785"/>
                  <a:gd name="connsiteY2768" fmla="*/ 8299 h 10000"/>
                  <a:gd name="connsiteX2769" fmla="*/ 1899 w 10785"/>
                  <a:gd name="connsiteY2769" fmla="*/ 8282 h 10000"/>
                  <a:gd name="connsiteX2770" fmla="*/ 1912 w 10785"/>
                  <a:gd name="connsiteY2770" fmla="*/ 8282 h 10000"/>
                  <a:gd name="connsiteX2771" fmla="*/ 1917 w 10785"/>
                  <a:gd name="connsiteY2771" fmla="*/ 8299 h 10000"/>
                  <a:gd name="connsiteX2772" fmla="*/ 1917 w 10785"/>
                  <a:gd name="connsiteY2772" fmla="*/ 8274 h 10000"/>
                  <a:gd name="connsiteX2773" fmla="*/ 1940 w 10785"/>
                  <a:gd name="connsiteY2773" fmla="*/ 8282 h 10000"/>
                  <a:gd name="connsiteX2774" fmla="*/ 1945 w 10785"/>
                  <a:gd name="connsiteY2774" fmla="*/ 8274 h 10000"/>
                  <a:gd name="connsiteX2775" fmla="*/ 1972 w 10785"/>
                  <a:gd name="connsiteY2775" fmla="*/ 8308 h 10000"/>
                  <a:gd name="connsiteX2776" fmla="*/ 1986 w 10785"/>
                  <a:gd name="connsiteY2776" fmla="*/ 8282 h 10000"/>
                  <a:gd name="connsiteX2777" fmla="*/ 1991 w 10785"/>
                  <a:gd name="connsiteY2777" fmla="*/ 8274 h 10000"/>
                  <a:gd name="connsiteX2778" fmla="*/ 2014 w 10785"/>
                  <a:gd name="connsiteY2778" fmla="*/ 8274 h 10000"/>
                  <a:gd name="connsiteX2779" fmla="*/ 2018 w 10785"/>
                  <a:gd name="connsiteY2779" fmla="*/ 8256 h 10000"/>
                  <a:gd name="connsiteX2780" fmla="*/ 2041 w 10785"/>
                  <a:gd name="connsiteY2780" fmla="*/ 8274 h 10000"/>
                  <a:gd name="connsiteX2781" fmla="*/ 2046 w 10785"/>
                  <a:gd name="connsiteY2781" fmla="*/ 8282 h 10000"/>
                  <a:gd name="connsiteX2782" fmla="*/ 2046 w 10785"/>
                  <a:gd name="connsiteY2782" fmla="*/ 8325 h 10000"/>
                  <a:gd name="connsiteX2783" fmla="*/ 2060 w 10785"/>
                  <a:gd name="connsiteY2783" fmla="*/ 8350 h 10000"/>
                  <a:gd name="connsiteX2784" fmla="*/ 2078 w 10785"/>
                  <a:gd name="connsiteY2784" fmla="*/ 8350 h 10000"/>
                  <a:gd name="connsiteX2785" fmla="*/ 2092 w 10785"/>
                  <a:gd name="connsiteY2785" fmla="*/ 8350 h 10000"/>
                  <a:gd name="connsiteX2786" fmla="*/ 2092 w 10785"/>
                  <a:gd name="connsiteY2786" fmla="*/ 8350 h 10000"/>
                  <a:gd name="connsiteX2787" fmla="*/ 2101 w 10785"/>
                  <a:gd name="connsiteY2787" fmla="*/ 8368 h 10000"/>
                  <a:gd name="connsiteX2788" fmla="*/ 2120 w 10785"/>
                  <a:gd name="connsiteY2788" fmla="*/ 8368 h 10000"/>
                  <a:gd name="connsiteX2789" fmla="*/ 2124 w 10785"/>
                  <a:gd name="connsiteY2789" fmla="*/ 8359 h 10000"/>
                  <a:gd name="connsiteX2790" fmla="*/ 2138 w 10785"/>
                  <a:gd name="connsiteY2790" fmla="*/ 8325 h 10000"/>
                  <a:gd name="connsiteX2791" fmla="*/ 2147 w 10785"/>
                  <a:gd name="connsiteY2791" fmla="*/ 8325 h 10000"/>
                  <a:gd name="connsiteX2792" fmla="*/ 2161 w 10785"/>
                  <a:gd name="connsiteY2792" fmla="*/ 8350 h 10000"/>
                  <a:gd name="connsiteX2793" fmla="*/ 2198 w 10785"/>
                  <a:gd name="connsiteY2793" fmla="*/ 8350 h 10000"/>
                  <a:gd name="connsiteX2794" fmla="*/ 2207 w 10785"/>
                  <a:gd name="connsiteY2794" fmla="*/ 8333 h 10000"/>
                  <a:gd name="connsiteX2795" fmla="*/ 2226 w 10785"/>
                  <a:gd name="connsiteY2795" fmla="*/ 8325 h 10000"/>
                  <a:gd name="connsiteX2796" fmla="*/ 2249 w 10785"/>
                  <a:gd name="connsiteY2796" fmla="*/ 8222 h 10000"/>
                  <a:gd name="connsiteX2797" fmla="*/ 2235 w 10785"/>
                  <a:gd name="connsiteY2797" fmla="*/ 8197 h 10000"/>
                  <a:gd name="connsiteX2798" fmla="*/ 2198 w 10785"/>
                  <a:gd name="connsiteY2798" fmla="*/ 8197 h 10000"/>
                  <a:gd name="connsiteX2799" fmla="*/ 2189 w 10785"/>
                  <a:gd name="connsiteY2799" fmla="*/ 8171 h 10000"/>
                  <a:gd name="connsiteX2800" fmla="*/ 2161 w 10785"/>
                  <a:gd name="connsiteY2800" fmla="*/ 8145 h 10000"/>
                  <a:gd name="connsiteX2801" fmla="*/ 2161 w 10785"/>
                  <a:gd name="connsiteY2801" fmla="*/ 8137 h 10000"/>
                  <a:gd name="connsiteX2802" fmla="*/ 2152 w 10785"/>
                  <a:gd name="connsiteY2802" fmla="*/ 8120 h 10000"/>
                  <a:gd name="connsiteX2803" fmla="*/ 2138 w 10785"/>
                  <a:gd name="connsiteY2803" fmla="*/ 8111 h 10000"/>
                  <a:gd name="connsiteX2804" fmla="*/ 2138 w 10785"/>
                  <a:gd name="connsiteY2804" fmla="*/ 8094 h 10000"/>
                  <a:gd name="connsiteX2805" fmla="*/ 2147 w 10785"/>
                  <a:gd name="connsiteY2805" fmla="*/ 8085 h 10000"/>
                  <a:gd name="connsiteX2806" fmla="*/ 2161 w 10785"/>
                  <a:gd name="connsiteY2806" fmla="*/ 8060 h 10000"/>
                  <a:gd name="connsiteX2807" fmla="*/ 2198 w 10785"/>
                  <a:gd name="connsiteY2807" fmla="*/ 8034 h 10000"/>
                  <a:gd name="connsiteX2808" fmla="*/ 2198 w 10785"/>
                  <a:gd name="connsiteY2808" fmla="*/ 8026 h 10000"/>
                  <a:gd name="connsiteX2809" fmla="*/ 2198 w 10785"/>
                  <a:gd name="connsiteY2809" fmla="*/ 8000 h 10000"/>
                  <a:gd name="connsiteX2810" fmla="*/ 2180 w 10785"/>
                  <a:gd name="connsiteY2810" fmla="*/ 7940 h 10000"/>
                  <a:gd name="connsiteX2811" fmla="*/ 2189 w 10785"/>
                  <a:gd name="connsiteY2811" fmla="*/ 7940 h 10000"/>
                  <a:gd name="connsiteX2812" fmla="*/ 2198 w 10785"/>
                  <a:gd name="connsiteY2812" fmla="*/ 7923 h 10000"/>
                  <a:gd name="connsiteX2813" fmla="*/ 2198 w 10785"/>
                  <a:gd name="connsiteY2813" fmla="*/ 7897 h 10000"/>
                  <a:gd name="connsiteX2814" fmla="*/ 2207 w 10785"/>
                  <a:gd name="connsiteY2814" fmla="*/ 7889 h 10000"/>
                  <a:gd name="connsiteX2815" fmla="*/ 2221 w 10785"/>
                  <a:gd name="connsiteY2815" fmla="*/ 7889 h 10000"/>
                  <a:gd name="connsiteX2816" fmla="*/ 2226 w 10785"/>
                  <a:gd name="connsiteY2816" fmla="*/ 7897 h 10000"/>
                  <a:gd name="connsiteX2817" fmla="*/ 2235 w 10785"/>
                  <a:gd name="connsiteY2817" fmla="*/ 7889 h 10000"/>
                  <a:gd name="connsiteX2818" fmla="*/ 2249 w 10785"/>
                  <a:gd name="connsiteY2818" fmla="*/ 7897 h 10000"/>
                  <a:gd name="connsiteX2819" fmla="*/ 2267 w 10785"/>
                  <a:gd name="connsiteY2819" fmla="*/ 7897 h 10000"/>
                  <a:gd name="connsiteX2820" fmla="*/ 2272 w 10785"/>
                  <a:gd name="connsiteY2820" fmla="*/ 7889 h 10000"/>
                  <a:gd name="connsiteX2821" fmla="*/ 2281 w 10785"/>
                  <a:gd name="connsiteY2821" fmla="*/ 7872 h 10000"/>
                  <a:gd name="connsiteX2822" fmla="*/ 2272 w 10785"/>
                  <a:gd name="connsiteY2822" fmla="*/ 7846 h 10000"/>
                  <a:gd name="connsiteX2823" fmla="*/ 2253 w 10785"/>
                  <a:gd name="connsiteY2823" fmla="*/ 7838 h 10000"/>
                  <a:gd name="connsiteX2824" fmla="*/ 2221 w 10785"/>
                  <a:gd name="connsiteY2824" fmla="*/ 7821 h 10000"/>
                  <a:gd name="connsiteX2825" fmla="*/ 2212 w 10785"/>
                  <a:gd name="connsiteY2825" fmla="*/ 7812 h 10000"/>
                  <a:gd name="connsiteX2826" fmla="*/ 2212 w 10785"/>
                  <a:gd name="connsiteY2826" fmla="*/ 7803 h 10000"/>
                  <a:gd name="connsiteX2827" fmla="*/ 2221 w 10785"/>
                  <a:gd name="connsiteY2827" fmla="*/ 7803 h 10000"/>
                  <a:gd name="connsiteX2828" fmla="*/ 2235 w 10785"/>
                  <a:gd name="connsiteY2828" fmla="*/ 7786 h 10000"/>
                  <a:gd name="connsiteX2829" fmla="*/ 2240 w 10785"/>
                  <a:gd name="connsiteY2829" fmla="*/ 7778 h 10000"/>
                  <a:gd name="connsiteX2830" fmla="*/ 2226 w 10785"/>
                  <a:gd name="connsiteY2830" fmla="*/ 7761 h 10000"/>
                  <a:gd name="connsiteX2831" fmla="*/ 2221 w 10785"/>
                  <a:gd name="connsiteY2831" fmla="*/ 7778 h 10000"/>
                  <a:gd name="connsiteX2832" fmla="*/ 2198 w 10785"/>
                  <a:gd name="connsiteY2832" fmla="*/ 7778 h 10000"/>
                  <a:gd name="connsiteX2833" fmla="*/ 2198 w 10785"/>
                  <a:gd name="connsiteY2833" fmla="*/ 7752 h 10000"/>
                  <a:gd name="connsiteX2834" fmla="*/ 2207 w 10785"/>
                  <a:gd name="connsiteY2834" fmla="*/ 7735 h 10000"/>
                  <a:gd name="connsiteX2835" fmla="*/ 2212 w 10785"/>
                  <a:gd name="connsiteY2835" fmla="*/ 7726 h 10000"/>
                  <a:gd name="connsiteX2836" fmla="*/ 2198 w 10785"/>
                  <a:gd name="connsiteY2836" fmla="*/ 7692 h 10000"/>
                  <a:gd name="connsiteX2837" fmla="*/ 2221 w 10785"/>
                  <a:gd name="connsiteY2837" fmla="*/ 7692 h 10000"/>
                  <a:gd name="connsiteX2838" fmla="*/ 2221 w 10785"/>
                  <a:gd name="connsiteY2838" fmla="*/ 7675 h 10000"/>
                  <a:gd name="connsiteX2839" fmla="*/ 2235 w 10785"/>
                  <a:gd name="connsiteY2839" fmla="*/ 7675 h 10000"/>
                  <a:gd name="connsiteX2840" fmla="*/ 2240 w 10785"/>
                  <a:gd name="connsiteY2840" fmla="*/ 7692 h 10000"/>
                  <a:gd name="connsiteX2841" fmla="*/ 2249 w 10785"/>
                  <a:gd name="connsiteY2841" fmla="*/ 7692 h 10000"/>
                  <a:gd name="connsiteX2842" fmla="*/ 2258 w 10785"/>
                  <a:gd name="connsiteY2842" fmla="*/ 7692 h 10000"/>
                  <a:gd name="connsiteX2843" fmla="*/ 2267 w 10785"/>
                  <a:gd name="connsiteY2843" fmla="*/ 7692 h 10000"/>
                  <a:gd name="connsiteX2844" fmla="*/ 2295 w 10785"/>
                  <a:gd name="connsiteY2844" fmla="*/ 7692 h 10000"/>
                  <a:gd name="connsiteX2845" fmla="*/ 2300 w 10785"/>
                  <a:gd name="connsiteY2845" fmla="*/ 7701 h 10000"/>
                  <a:gd name="connsiteX2846" fmla="*/ 2313 w 10785"/>
                  <a:gd name="connsiteY2846" fmla="*/ 7675 h 10000"/>
                  <a:gd name="connsiteX2847" fmla="*/ 2323 w 10785"/>
                  <a:gd name="connsiteY2847" fmla="*/ 7675 h 10000"/>
                  <a:gd name="connsiteX2848" fmla="*/ 2341 w 10785"/>
                  <a:gd name="connsiteY2848" fmla="*/ 7675 h 10000"/>
                  <a:gd name="connsiteX2849" fmla="*/ 2346 w 10785"/>
                  <a:gd name="connsiteY2849" fmla="*/ 7667 h 10000"/>
                  <a:gd name="connsiteX2850" fmla="*/ 2359 w 10785"/>
                  <a:gd name="connsiteY2850" fmla="*/ 7650 h 10000"/>
                  <a:gd name="connsiteX2851" fmla="*/ 2373 w 10785"/>
                  <a:gd name="connsiteY2851" fmla="*/ 7624 h 10000"/>
                  <a:gd name="connsiteX2852" fmla="*/ 2382 w 10785"/>
                  <a:gd name="connsiteY2852" fmla="*/ 7641 h 10000"/>
                  <a:gd name="connsiteX2853" fmla="*/ 2396 w 10785"/>
                  <a:gd name="connsiteY2853" fmla="*/ 7650 h 10000"/>
                  <a:gd name="connsiteX2854" fmla="*/ 2401 w 10785"/>
                  <a:gd name="connsiteY2854" fmla="*/ 7650 h 10000"/>
                  <a:gd name="connsiteX2855" fmla="*/ 2401 w 10785"/>
                  <a:gd name="connsiteY2855" fmla="*/ 7624 h 10000"/>
                  <a:gd name="connsiteX2856" fmla="*/ 2419 w 10785"/>
                  <a:gd name="connsiteY2856" fmla="*/ 7624 h 10000"/>
                  <a:gd name="connsiteX2857" fmla="*/ 2433 w 10785"/>
                  <a:gd name="connsiteY2857" fmla="*/ 7615 h 10000"/>
                  <a:gd name="connsiteX2858" fmla="*/ 2442 w 10785"/>
                  <a:gd name="connsiteY2858" fmla="*/ 7615 h 10000"/>
                  <a:gd name="connsiteX2859" fmla="*/ 2447 w 10785"/>
                  <a:gd name="connsiteY2859" fmla="*/ 7598 h 10000"/>
                  <a:gd name="connsiteX2860" fmla="*/ 2461 w 10785"/>
                  <a:gd name="connsiteY2860" fmla="*/ 7598 h 10000"/>
                  <a:gd name="connsiteX2861" fmla="*/ 2465 w 10785"/>
                  <a:gd name="connsiteY2861" fmla="*/ 7615 h 10000"/>
                  <a:gd name="connsiteX2862" fmla="*/ 2479 w 10785"/>
                  <a:gd name="connsiteY2862" fmla="*/ 7564 h 10000"/>
                  <a:gd name="connsiteX2863" fmla="*/ 2488 w 10785"/>
                  <a:gd name="connsiteY2863" fmla="*/ 7556 h 10000"/>
                  <a:gd name="connsiteX2864" fmla="*/ 2493 w 10785"/>
                  <a:gd name="connsiteY2864" fmla="*/ 7556 h 10000"/>
                  <a:gd name="connsiteX2865" fmla="*/ 2507 w 10785"/>
                  <a:gd name="connsiteY2865" fmla="*/ 7556 h 10000"/>
                  <a:gd name="connsiteX2866" fmla="*/ 2530 w 10785"/>
                  <a:gd name="connsiteY2866" fmla="*/ 7538 h 10000"/>
                  <a:gd name="connsiteX2867" fmla="*/ 2530 w 10785"/>
                  <a:gd name="connsiteY2867" fmla="*/ 7556 h 10000"/>
                  <a:gd name="connsiteX2868" fmla="*/ 2641 w 10785"/>
                  <a:gd name="connsiteY2868" fmla="*/ 7504 h 10000"/>
                  <a:gd name="connsiteX2869" fmla="*/ 2654 w 10785"/>
                  <a:gd name="connsiteY2869" fmla="*/ 7487 h 10000"/>
                  <a:gd name="connsiteX2870" fmla="*/ 2664 w 10785"/>
                  <a:gd name="connsiteY2870" fmla="*/ 7487 h 10000"/>
                  <a:gd name="connsiteX2871" fmla="*/ 2668 w 10785"/>
                  <a:gd name="connsiteY2871" fmla="*/ 7479 h 10000"/>
                  <a:gd name="connsiteX2872" fmla="*/ 2673 w 10785"/>
                  <a:gd name="connsiteY2872" fmla="*/ 7462 h 10000"/>
                  <a:gd name="connsiteX2873" fmla="*/ 2673 w 10785"/>
                  <a:gd name="connsiteY2873" fmla="*/ 7427 h 10000"/>
                  <a:gd name="connsiteX2874" fmla="*/ 2687 w 10785"/>
                  <a:gd name="connsiteY2874" fmla="*/ 7436 h 10000"/>
                  <a:gd name="connsiteX2875" fmla="*/ 2696 w 10785"/>
                  <a:gd name="connsiteY2875" fmla="*/ 7427 h 10000"/>
                  <a:gd name="connsiteX2876" fmla="*/ 2700 w 10785"/>
                  <a:gd name="connsiteY2876" fmla="*/ 7419 h 10000"/>
                  <a:gd name="connsiteX2877" fmla="*/ 2710 w 10785"/>
                  <a:gd name="connsiteY2877" fmla="*/ 7402 h 10000"/>
                  <a:gd name="connsiteX2878" fmla="*/ 2724 w 10785"/>
                  <a:gd name="connsiteY2878" fmla="*/ 7402 h 10000"/>
                  <a:gd name="connsiteX2879" fmla="*/ 2724 w 10785"/>
                  <a:gd name="connsiteY2879" fmla="*/ 7393 h 10000"/>
                  <a:gd name="connsiteX2880" fmla="*/ 2737 w 10785"/>
                  <a:gd name="connsiteY2880" fmla="*/ 7393 h 10000"/>
                  <a:gd name="connsiteX2881" fmla="*/ 2742 w 10785"/>
                  <a:gd name="connsiteY2881" fmla="*/ 7402 h 10000"/>
                  <a:gd name="connsiteX2882" fmla="*/ 2747 w 10785"/>
                  <a:gd name="connsiteY2882" fmla="*/ 7402 h 10000"/>
                  <a:gd name="connsiteX2883" fmla="*/ 2760 w 10785"/>
                  <a:gd name="connsiteY2883" fmla="*/ 7402 h 10000"/>
                  <a:gd name="connsiteX2884" fmla="*/ 2770 w 10785"/>
                  <a:gd name="connsiteY2884" fmla="*/ 7402 h 10000"/>
                  <a:gd name="connsiteX2885" fmla="*/ 2774 w 10785"/>
                  <a:gd name="connsiteY2885" fmla="*/ 7402 h 10000"/>
                  <a:gd name="connsiteX2886" fmla="*/ 2783 w 10785"/>
                  <a:gd name="connsiteY2886" fmla="*/ 7419 h 10000"/>
                  <a:gd name="connsiteX2887" fmla="*/ 2802 w 10785"/>
                  <a:gd name="connsiteY2887" fmla="*/ 7436 h 10000"/>
                  <a:gd name="connsiteX2888" fmla="*/ 2816 w 10785"/>
                  <a:gd name="connsiteY2888" fmla="*/ 7419 h 10000"/>
                  <a:gd name="connsiteX2889" fmla="*/ 2834 w 10785"/>
                  <a:gd name="connsiteY2889" fmla="*/ 7419 h 10000"/>
                  <a:gd name="connsiteX2890" fmla="*/ 2843 w 10785"/>
                  <a:gd name="connsiteY2890" fmla="*/ 7419 h 10000"/>
                  <a:gd name="connsiteX2891" fmla="*/ 2848 w 10785"/>
                  <a:gd name="connsiteY2891" fmla="*/ 7436 h 10000"/>
                  <a:gd name="connsiteX2892" fmla="*/ 2857 w 10785"/>
                  <a:gd name="connsiteY2892" fmla="*/ 7453 h 10000"/>
                  <a:gd name="connsiteX2893" fmla="*/ 2857 w 10785"/>
                  <a:gd name="connsiteY2893" fmla="*/ 7504 h 10000"/>
                  <a:gd name="connsiteX2894" fmla="*/ 2862 w 10785"/>
                  <a:gd name="connsiteY2894" fmla="*/ 7530 h 10000"/>
                  <a:gd name="connsiteX2895" fmla="*/ 2876 w 10785"/>
                  <a:gd name="connsiteY2895" fmla="*/ 7538 h 10000"/>
                  <a:gd name="connsiteX2896" fmla="*/ 2871 w 10785"/>
                  <a:gd name="connsiteY2896" fmla="*/ 7564 h 10000"/>
                  <a:gd name="connsiteX2897" fmla="*/ 2871 w 10785"/>
                  <a:gd name="connsiteY2897" fmla="*/ 7598 h 10000"/>
                  <a:gd name="connsiteX2898" fmla="*/ 2857 w 10785"/>
                  <a:gd name="connsiteY2898" fmla="*/ 7624 h 10000"/>
                  <a:gd name="connsiteX2899" fmla="*/ 2862 w 10785"/>
                  <a:gd name="connsiteY2899" fmla="*/ 7641 h 10000"/>
                  <a:gd name="connsiteX2900" fmla="*/ 2871 w 10785"/>
                  <a:gd name="connsiteY2900" fmla="*/ 7667 h 10000"/>
                  <a:gd name="connsiteX2901" fmla="*/ 2880 w 10785"/>
                  <a:gd name="connsiteY2901" fmla="*/ 7650 h 10000"/>
                  <a:gd name="connsiteX2902" fmla="*/ 2894 w 10785"/>
                  <a:gd name="connsiteY2902" fmla="*/ 7667 h 10000"/>
                  <a:gd name="connsiteX2903" fmla="*/ 2903 w 10785"/>
                  <a:gd name="connsiteY2903" fmla="*/ 7667 h 10000"/>
                  <a:gd name="connsiteX2904" fmla="*/ 2908 w 10785"/>
                  <a:gd name="connsiteY2904" fmla="*/ 7641 h 10000"/>
                  <a:gd name="connsiteX2905" fmla="*/ 2917 w 10785"/>
                  <a:gd name="connsiteY2905" fmla="*/ 7641 h 10000"/>
                  <a:gd name="connsiteX2906" fmla="*/ 2922 w 10785"/>
                  <a:gd name="connsiteY2906" fmla="*/ 7641 h 10000"/>
                  <a:gd name="connsiteX2907" fmla="*/ 2931 w 10785"/>
                  <a:gd name="connsiteY2907" fmla="*/ 7615 h 10000"/>
                  <a:gd name="connsiteX2908" fmla="*/ 2935 w 10785"/>
                  <a:gd name="connsiteY2908" fmla="*/ 7615 h 10000"/>
                  <a:gd name="connsiteX2909" fmla="*/ 2945 w 10785"/>
                  <a:gd name="connsiteY2909" fmla="*/ 7650 h 10000"/>
                  <a:gd name="connsiteX2910" fmla="*/ 2949 w 10785"/>
                  <a:gd name="connsiteY2910" fmla="*/ 7667 h 10000"/>
                  <a:gd name="connsiteX2911" fmla="*/ 2949 w 10785"/>
                  <a:gd name="connsiteY2911" fmla="*/ 7675 h 10000"/>
                  <a:gd name="connsiteX2912" fmla="*/ 2945 w 10785"/>
                  <a:gd name="connsiteY2912" fmla="*/ 7692 h 10000"/>
                  <a:gd name="connsiteX2913" fmla="*/ 2963 w 10785"/>
                  <a:gd name="connsiteY2913" fmla="*/ 7701 h 10000"/>
                  <a:gd name="connsiteX2914" fmla="*/ 2963 w 10785"/>
                  <a:gd name="connsiteY2914" fmla="*/ 7675 h 10000"/>
                  <a:gd name="connsiteX2915" fmla="*/ 2954 w 10785"/>
                  <a:gd name="connsiteY2915" fmla="*/ 7667 h 10000"/>
                  <a:gd name="connsiteX2916" fmla="*/ 2963 w 10785"/>
                  <a:gd name="connsiteY2916" fmla="*/ 7667 h 10000"/>
                  <a:gd name="connsiteX2917" fmla="*/ 2982 w 10785"/>
                  <a:gd name="connsiteY2917" fmla="*/ 7667 h 10000"/>
                  <a:gd name="connsiteX2918" fmla="*/ 2991 w 10785"/>
                  <a:gd name="connsiteY2918" fmla="*/ 7675 h 10000"/>
                  <a:gd name="connsiteX2919" fmla="*/ 2995 w 10785"/>
                  <a:gd name="connsiteY2919" fmla="*/ 7692 h 10000"/>
                  <a:gd name="connsiteX2920" fmla="*/ 3009 w 10785"/>
                  <a:gd name="connsiteY2920" fmla="*/ 7701 h 10000"/>
                  <a:gd name="connsiteX2921" fmla="*/ 3018 w 10785"/>
                  <a:gd name="connsiteY2921" fmla="*/ 7701 h 10000"/>
                  <a:gd name="connsiteX2922" fmla="*/ 3023 w 10785"/>
                  <a:gd name="connsiteY2922" fmla="*/ 7692 h 10000"/>
                  <a:gd name="connsiteX2923" fmla="*/ 3028 w 10785"/>
                  <a:gd name="connsiteY2923" fmla="*/ 7675 h 10000"/>
                  <a:gd name="connsiteX2924" fmla="*/ 3037 w 10785"/>
                  <a:gd name="connsiteY2924" fmla="*/ 7692 h 10000"/>
                  <a:gd name="connsiteX2925" fmla="*/ 3028 w 10785"/>
                  <a:gd name="connsiteY2925" fmla="*/ 7709 h 10000"/>
                  <a:gd name="connsiteX2926" fmla="*/ 3023 w 10785"/>
                  <a:gd name="connsiteY2926" fmla="*/ 7709 h 10000"/>
                  <a:gd name="connsiteX2927" fmla="*/ 3018 w 10785"/>
                  <a:gd name="connsiteY2927" fmla="*/ 7726 h 10000"/>
                  <a:gd name="connsiteX2928" fmla="*/ 3009 w 10785"/>
                  <a:gd name="connsiteY2928" fmla="*/ 7735 h 10000"/>
                  <a:gd name="connsiteX2929" fmla="*/ 3009 w 10785"/>
                  <a:gd name="connsiteY2929" fmla="*/ 7761 h 10000"/>
                  <a:gd name="connsiteX2930" fmla="*/ 3009 w 10785"/>
                  <a:gd name="connsiteY2930" fmla="*/ 7778 h 10000"/>
                  <a:gd name="connsiteX2931" fmla="*/ 3018 w 10785"/>
                  <a:gd name="connsiteY2931" fmla="*/ 7786 h 10000"/>
                  <a:gd name="connsiteX2932" fmla="*/ 3023 w 10785"/>
                  <a:gd name="connsiteY2932" fmla="*/ 7786 h 10000"/>
                  <a:gd name="connsiteX2933" fmla="*/ 3028 w 10785"/>
                  <a:gd name="connsiteY2933" fmla="*/ 7778 h 10000"/>
                  <a:gd name="connsiteX2934" fmla="*/ 3051 w 10785"/>
                  <a:gd name="connsiteY2934" fmla="*/ 7761 h 10000"/>
                  <a:gd name="connsiteX2935" fmla="*/ 3055 w 10785"/>
                  <a:gd name="connsiteY2935" fmla="*/ 7778 h 10000"/>
                  <a:gd name="connsiteX2936" fmla="*/ 3065 w 10785"/>
                  <a:gd name="connsiteY2936" fmla="*/ 7761 h 10000"/>
                  <a:gd name="connsiteX2937" fmla="*/ 3069 w 10785"/>
                  <a:gd name="connsiteY2937" fmla="*/ 7786 h 10000"/>
                  <a:gd name="connsiteX2938" fmla="*/ 3083 w 10785"/>
                  <a:gd name="connsiteY2938" fmla="*/ 7786 h 10000"/>
                  <a:gd name="connsiteX2939" fmla="*/ 3078 w 10785"/>
                  <a:gd name="connsiteY2939" fmla="*/ 7761 h 10000"/>
                  <a:gd name="connsiteX2940" fmla="*/ 3083 w 10785"/>
                  <a:gd name="connsiteY2940" fmla="*/ 7752 h 10000"/>
                  <a:gd name="connsiteX2941" fmla="*/ 3097 w 10785"/>
                  <a:gd name="connsiteY2941" fmla="*/ 7752 h 10000"/>
                  <a:gd name="connsiteX2942" fmla="*/ 3111 w 10785"/>
                  <a:gd name="connsiteY2942" fmla="*/ 7726 h 10000"/>
                  <a:gd name="connsiteX2943" fmla="*/ 3124 w 10785"/>
                  <a:gd name="connsiteY2943" fmla="*/ 7709 h 10000"/>
                  <a:gd name="connsiteX2944" fmla="*/ 3143 w 10785"/>
                  <a:gd name="connsiteY2944" fmla="*/ 7692 h 10000"/>
                  <a:gd name="connsiteX2945" fmla="*/ 3152 w 10785"/>
                  <a:gd name="connsiteY2945" fmla="*/ 7667 h 10000"/>
                  <a:gd name="connsiteX2946" fmla="*/ 3157 w 10785"/>
                  <a:gd name="connsiteY2946" fmla="*/ 7650 h 10000"/>
                  <a:gd name="connsiteX2947" fmla="*/ 3161 w 10785"/>
                  <a:gd name="connsiteY2947" fmla="*/ 7650 h 10000"/>
                  <a:gd name="connsiteX2948" fmla="*/ 3189 w 10785"/>
                  <a:gd name="connsiteY2948" fmla="*/ 7641 h 10000"/>
                  <a:gd name="connsiteX2949" fmla="*/ 3198 w 10785"/>
                  <a:gd name="connsiteY2949" fmla="*/ 7624 h 10000"/>
                  <a:gd name="connsiteX2950" fmla="*/ 3217 w 10785"/>
                  <a:gd name="connsiteY2950" fmla="*/ 7615 h 10000"/>
                  <a:gd name="connsiteX2951" fmla="*/ 3235 w 10785"/>
                  <a:gd name="connsiteY2951" fmla="*/ 7598 h 10000"/>
                  <a:gd name="connsiteX2952" fmla="*/ 3235 w 10785"/>
                  <a:gd name="connsiteY2952" fmla="*/ 7615 h 10000"/>
                  <a:gd name="connsiteX2953" fmla="*/ 3235 w 10785"/>
                  <a:gd name="connsiteY2953" fmla="*/ 7641 h 10000"/>
                  <a:gd name="connsiteX2954" fmla="*/ 3235 w 10785"/>
                  <a:gd name="connsiteY2954" fmla="*/ 7650 h 10000"/>
                  <a:gd name="connsiteX2955" fmla="*/ 3226 w 10785"/>
                  <a:gd name="connsiteY2955" fmla="*/ 7650 h 10000"/>
                  <a:gd name="connsiteX2956" fmla="*/ 3217 w 10785"/>
                  <a:gd name="connsiteY2956" fmla="*/ 7650 h 10000"/>
                  <a:gd name="connsiteX2957" fmla="*/ 3212 w 10785"/>
                  <a:gd name="connsiteY2957" fmla="*/ 7675 h 10000"/>
                  <a:gd name="connsiteX2958" fmla="*/ 3212 w 10785"/>
                  <a:gd name="connsiteY2958"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112 w 10785"/>
                  <a:gd name="connsiteY731" fmla="*/ 4797 h 10000"/>
                  <a:gd name="connsiteX732" fmla="*/ 10233 w 10785"/>
                  <a:gd name="connsiteY732" fmla="*/ 4530 h 10000"/>
                  <a:gd name="connsiteX733" fmla="*/ 10334 w 10785"/>
                  <a:gd name="connsiteY733" fmla="*/ 4810 h 10000"/>
                  <a:gd name="connsiteX734" fmla="*/ 10422 w 10785"/>
                  <a:gd name="connsiteY734" fmla="*/ 5051 h 10000"/>
                  <a:gd name="connsiteX735" fmla="*/ 10691 w 10785"/>
                  <a:gd name="connsiteY735" fmla="*/ 5255 h 10000"/>
                  <a:gd name="connsiteX736" fmla="*/ 10619 w 10785"/>
                  <a:gd name="connsiteY736" fmla="*/ 4708 h 10000"/>
                  <a:gd name="connsiteX737" fmla="*/ 10785 w 10785"/>
                  <a:gd name="connsiteY737" fmla="*/ 4708 h 10000"/>
                  <a:gd name="connsiteX738" fmla="*/ 10689 w 10785"/>
                  <a:gd name="connsiteY738" fmla="*/ 4467 h 10000"/>
                  <a:gd name="connsiteX739" fmla="*/ 10354 w 10785"/>
                  <a:gd name="connsiteY739" fmla="*/ 4302 h 10000"/>
                  <a:gd name="connsiteX740" fmla="*/ 9912 w 10785"/>
                  <a:gd name="connsiteY740" fmla="*/ 3675 h 10000"/>
                  <a:gd name="connsiteX741" fmla="*/ 9903 w 10785"/>
                  <a:gd name="connsiteY741" fmla="*/ 3667 h 10000"/>
                  <a:gd name="connsiteX742" fmla="*/ 9894 w 10785"/>
                  <a:gd name="connsiteY742" fmla="*/ 3641 h 10000"/>
                  <a:gd name="connsiteX743" fmla="*/ 9889 w 10785"/>
                  <a:gd name="connsiteY743" fmla="*/ 3650 h 10000"/>
                  <a:gd name="connsiteX744" fmla="*/ 9848 w 10785"/>
                  <a:gd name="connsiteY744" fmla="*/ 3598 h 10000"/>
                  <a:gd name="connsiteX745" fmla="*/ 9829 w 10785"/>
                  <a:gd name="connsiteY745" fmla="*/ 3581 h 10000"/>
                  <a:gd name="connsiteX746" fmla="*/ 9820 w 10785"/>
                  <a:gd name="connsiteY746" fmla="*/ 3581 h 10000"/>
                  <a:gd name="connsiteX747" fmla="*/ 9793 w 10785"/>
                  <a:gd name="connsiteY747" fmla="*/ 3556 h 10000"/>
                  <a:gd name="connsiteX748" fmla="*/ 9779 w 10785"/>
                  <a:gd name="connsiteY748" fmla="*/ 3556 h 10000"/>
                  <a:gd name="connsiteX749" fmla="*/ 9747 w 10785"/>
                  <a:gd name="connsiteY749" fmla="*/ 3487 h 10000"/>
                  <a:gd name="connsiteX750" fmla="*/ 9668 w 10785"/>
                  <a:gd name="connsiteY750" fmla="*/ 3479 h 10000"/>
                  <a:gd name="connsiteX751" fmla="*/ 9659 w 10785"/>
                  <a:gd name="connsiteY751" fmla="*/ 3487 h 10000"/>
                  <a:gd name="connsiteX752" fmla="*/ 9645 w 10785"/>
                  <a:gd name="connsiteY752" fmla="*/ 3504 h 10000"/>
                  <a:gd name="connsiteX753" fmla="*/ 9631 w 10785"/>
                  <a:gd name="connsiteY753" fmla="*/ 3487 h 10000"/>
                  <a:gd name="connsiteX754" fmla="*/ 9613 w 10785"/>
                  <a:gd name="connsiteY754" fmla="*/ 3479 h 10000"/>
                  <a:gd name="connsiteX755" fmla="*/ 9599 w 10785"/>
                  <a:gd name="connsiteY755" fmla="*/ 3479 h 10000"/>
                  <a:gd name="connsiteX756" fmla="*/ 9571 w 10785"/>
                  <a:gd name="connsiteY756" fmla="*/ 3479 h 10000"/>
                  <a:gd name="connsiteX757" fmla="*/ 9562 w 10785"/>
                  <a:gd name="connsiteY757" fmla="*/ 3487 h 10000"/>
                  <a:gd name="connsiteX758" fmla="*/ 9539 w 10785"/>
                  <a:gd name="connsiteY758" fmla="*/ 3487 h 10000"/>
                  <a:gd name="connsiteX759" fmla="*/ 9507 w 10785"/>
                  <a:gd name="connsiteY759" fmla="*/ 3453 h 10000"/>
                  <a:gd name="connsiteX760" fmla="*/ 9498 w 10785"/>
                  <a:gd name="connsiteY760" fmla="*/ 3453 h 10000"/>
                  <a:gd name="connsiteX761" fmla="*/ 9387 w 10785"/>
                  <a:gd name="connsiteY761" fmla="*/ 3419 h 10000"/>
                  <a:gd name="connsiteX762" fmla="*/ 9373 w 10785"/>
                  <a:gd name="connsiteY762" fmla="*/ 3427 h 10000"/>
                  <a:gd name="connsiteX763" fmla="*/ 9373 w 10785"/>
                  <a:gd name="connsiteY763" fmla="*/ 3462 h 10000"/>
                  <a:gd name="connsiteX764" fmla="*/ 9378 w 10785"/>
                  <a:gd name="connsiteY764" fmla="*/ 3479 h 10000"/>
                  <a:gd name="connsiteX765" fmla="*/ 9378 w 10785"/>
                  <a:gd name="connsiteY765" fmla="*/ 3530 h 10000"/>
                  <a:gd name="connsiteX766" fmla="*/ 9355 w 10785"/>
                  <a:gd name="connsiteY766" fmla="*/ 3538 h 10000"/>
                  <a:gd name="connsiteX767" fmla="*/ 9355 w 10785"/>
                  <a:gd name="connsiteY767" fmla="*/ 3581 h 10000"/>
                  <a:gd name="connsiteX768" fmla="*/ 9387 w 10785"/>
                  <a:gd name="connsiteY768" fmla="*/ 3590 h 10000"/>
                  <a:gd name="connsiteX769" fmla="*/ 9401 w 10785"/>
                  <a:gd name="connsiteY769" fmla="*/ 3667 h 10000"/>
                  <a:gd name="connsiteX770" fmla="*/ 9406 w 10785"/>
                  <a:gd name="connsiteY770" fmla="*/ 3675 h 10000"/>
                  <a:gd name="connsiteX771" fmla="*/ 9406 w 10785"/>
                  <a:gd name="connsiteY771" fmla="*/ 3701 h 10000"/>
                  <a:gd name="connsiteX772" fmla="*/ 9415 w 10785"/>
                  <a:gd name="connsiteY772" fmla="*/ 3752 h 10000"/>
                  <a:gd name="connsiteX773" fmla="*/ 9373 w 10785"/>
                  <a:gd name="connsiteY773" fmla="*/ 3838 h 10000"/>
                  <a:gd name="connsiteX774" fmla="*/ 9355 w 10785"/>
                  <a:gd name="connsiteY774" fmla="*/ 3863 h 10000"/>
                  <a:gd name="connsiteX775" fmla="*/ 9327 w 10785"/>
                  <a:gd name="connsiteY775" fmla="*/ 3863 h 10000"/>
                  <a:gd name="connsiteX776" fmla="*/ 9313 w 10785"/>
                  <a:gd name="connsiteY776" fmla="*/ 3846 h 10000"/>
                  <a:gd name="connsiteX777" fmla="*/ 9300 w 10785"/>
                  <a:gd name="connsiteY777" fmla="*/ 3778 h 10000"/>
                  <a:gd name="connsiteX778" fmla="*/ 9281 w 10785"/>
                  <a:gd name="connsiteY778" fmla="*/ 3752 h 10000"/>
                  <a:gd name="connsiteX779" fmla="*/ 9281 w 10785"/>
                  <a:gd name="connsiteY779" fmla="*/ 3735 h 10000"/>
                  <a:gd name="connsiteX780" fmla="*/ 9267 w 10785"/>
                  <a:gd name="connsiteY780" fmla="*/ 3726 h 10000"/>
                  <a:gd name="connsiteX781" fmla="*/ 9240 w 10785"/>
                  <a:gd name="connsiteY781" fmla="*/ 3726 h 10000"/>
                  <a:gd name="connsiteX782" fmla="*/ 9230 w 10785"/>
                  <a:gd name="connsiteY782" fmla="*/ 3718 h 10000"/>
                  <a:gd name="connsiteX783" fmla="*/ 9226 w 10785"/>
                  <a:gd name="connsiteY783" fmla="*/ 3590 h 10000"/>
                  <a:gd name="connsiteX784" fmla="*/ 9207 w 10785"/>
                  <a:gd name="connsiteY784" fmla="*/ 3581 h 10000"/>
                  <a:gd name="connsiteX785" fmla="*/ 9207 w 10785"/>
                  <a:gd name="connsiteY785" fmla="*/ 3556 h 10000"/>
                  <a:gd name="connsiteX786" fmla="*/ 9217 w 10785"/>
                  <a:gd name="connsiteY786" fmla="*/ 3538 h 10000"/>
                  <a:gd name="connsiteX787" fmla="*/ 9212 w 10785"/>
                  <a:gd name="connsiteY787" fmla="*/ 3538 h 10000"/>
                  <a:gd name="connsiteX788" fmla="*/ 9198 w 10785"/>
                  <a:gd name="connsiteY788" fmla="*/ 3513 h 10000"/>
                  <a:gd name="connsiteX789" fmla="*/ 9194 w 10785"/>
                  <a:gd name="connsiteY789" fmla="*/ 3530 h 10000"/>
                  <a:gd name="connsiteX790" fmla="*/ 9143 w 10785"/>
                  <a:gd name="connsiteY790" fmla="*/ 3615 h 10000"/>
                  <a:gd name="connsiteX791" fmla="*/ 9138 w 10785"/>
                  <a:gd name="connsiteY791" fmla="*/ 3615 h 10000"/>
                  <a:gd name="connsiteX792" fmla="*/ 9134 w 10785"/>
                  <a:gd name="connsiteY792" fmla="*/ 3615 h 10000"/>
                  <a:gd name="connsiteX793" fmla="*/ 9106 w 10785"/>
                  <a:gd name="connsiteY793" fmla="*/ 3615 h 10000"/>
                  <a:gd name="connsiteX794" fmla="*/ 9078 w 10785"/>
                  <a:gd name="connsiteY794" fmla="*/ 3590 h 10000"/>
                  <a:gd name="connsiteX795" fmla="*/ 9037 w 10785"/>
                  <a:gd name="connsiteY795" fmla="*/ 3581 h 10000"/>
                  <a:gd name="connsiteX796" fmla="*/ 9023 w 10785"/>
                  <a:gd name="connsiteY796" fmla="*/ 3590 h 10000"/>
                  <a:gd name="connsiteX797" fmla="*/ 9018 w 10785"/>
                  <a:gd name="connsiteY797" fmla="*/ 3590 h 10000"/>
                  <a:gd name="connsiteX798" fmla="*/ 9018 w 10785"/>
                  <a:gd name="connsiteY798" fmla="*/ 3590 h 10000"/>
                  <a:gd name="connsiteX799" fmla="*/ 8991 w 10785"/>
                  <a:gd name="connsiteY799" fmla="*/ 3590 h 10000"/>
                  <a:gd name="connsiteX800" fmla="*/ 8972 w 10785"/>
                  <a:gd name="connsiteY800" fmla="*/ 3581 h 10000"/>
                  <a:gd name="connsiteX801" fmla="*/ 8959 w 10785"/>
                  <a:gd name="connsiteY801" fmla="*/ 3513 h 10000"/>
                  <a:gd name="connsiteX802" fmla="*/ 8931 w 10785"/>
                  <a:gd name="connsiteY802" fmla="*/ 3538 h 10000"/>
                  <a:gd name="connsiteX803" fmla="*/ 8889 w 10785"/>
                  <a:gd name="connsiteY803" fmla="*/ 3538 h 10000"/>
                  <a:gd name="connsiteX804" fmla="*/ 8871 w 10785"/>
                  <a:gd name="connsiteY804" fmla="*/ 3556 h 10000"/>
                  <a:gd name="connsiteX805" fmla="*/ 8857 w 10785"/>
                  <a:gd name="connsiteY805" fmla="*/ 3538 h 10000"/>
                  <a:gd name="connsiteX806" fmla="*/ 8843 w 10785"/>
                  <a:gd name="connsiteY806" fmla="*/ 3538 h 10000"/>
                  <a:gd name="connsiteX807" fmla="*/ 8839 w 10785"/>
                  <a:gd name="connsiteY807" fmla="*/ 3556 h 10000"/>
                  <a:gd name="connsiteX808" fmla="*/ 8839 w 10785"/>
                  <a:gd name="connsiteY808" fmla="*/ 3581 h 10000"/>
                  <a:gd name="connsiteX809" fmla="*/ 8825 w 10785"/>
                  <a:gd name="connsiteY809" fmla="*/ 3564 h 10000"/>
                  <a:gd name="connsiteX810" fmla="*/ 8825 w 10785"/>
                  <a:gd name="connsiteY810" fmla="*/ 3615 h 10000"/>
                  <a:gd name="connsiteX811" fmla="*/ 8802 w 10785"/>
                  <a:gd name="connsiteY811" fmla="*/ 3598 h 10000"/>
                  <a:gd name="connsiteX812" fmla="*/ 8797 w 10785"/>
                  <a:gd name="connsiteY812" fmla="*/ 3641 h 10000"/>
                  <a:gd name="connsiteX813" fmla="*/ 8783 w 10785"/>
                  <a:gd name="connsiteY813" fmla="*/ 3667 h 10000"/>
                  <a:gd name="connsiteX814" fmla="*/ 8779 w 10785"/>
                  <a:gd name="connsiteY814" fmla="*/ 3650 h 10000"/>
                  <a:gd name="connsiteX815" fmla="*/ 8779 w 10785"/>
                  <a:gd name="connsiteY815" fmla="*/ 3615 h 10000"/>
                  <a:gd name="connsiteX816" fmla="*/ 8770 w 10785"/>
                  <a:gd name="connsiteY816" fmla="*/ 3590 h 10000"/>
                  <a:gd name="connsiteX817" fmla="*/ 8765 w 10785"/>
                  <a:gd name="connsiteY817" fmla="*/ 3598 h 10000"/>
                  <a:gd name="connsiteX818" fmla="*/ 8756 w 10785"/>
                  <a:gd name="connsiteY818" fmla="*/ 3590 h 10000"/>
                  <a:gd name="connsiteX819" fmla="*/ 8737 w 10785"/>
                  <a:gd name="connsiteY819" fmla="*/ 3556 h 10000"/>
                  <a:gd name="connsiteX820" fmla="*/ 8724 w 10785"/>
                  <a:gd name="connsiteY820" fmla="*/ 3538 h 10000"/>
                  <a:gd name="connsiteX821" fmla="*/ 8696 w 10785"/>
                  <a:gd name="connsiteY821" fmla="*/ 3538 h 10000"/>
                  <a:gd name="connsiteX822" fmla="*/ 8691 w 10785"/>
                  <a:gd name="connsiteY822" fmla="*/ 3513 h 10000"/>
                  <a:gd name="connsiteX823" fmla="*/ 8668 w 10785"/>
                  <a:gd name="connsiteY823" fmla="*/ 3504 h 10000"/>
                  <a:gd name="connsiteX824" fmla="*/ 8668 w 10785"/>
                  <a:gd name="connsiteY824" fmla="*/ 3487 h 10000"/>
                  <a:gd name="connsiteX825" fmla="*/ 8691 w 10785"/>
                  <a:gd name="connsiteY825" fmla="*/ 3350 h 10000"/>
                  <a:gd name="connsiteX826" fmla="*/ 8691 w 10785"/>
                  <a:gd name="connsiteY826" fmla="*/ 3291 h 10000"/>
                  <a:gd name="connsiteX827" fmla="*/ 8677 w 10785"/>
                  <a:gd name="connsiteY827" fmla="*/ 3239 h 10000"/>
                  <a:gd name="connsiteX828" fmla="*/ 8677 w 10785"/>
                  <a:gd name="connsiteY828" fmla="*/ 3231 h 10000"/>
                  <a:gd name="connsiteX829" fmla="*/ 8636 w 10785"/>
                  <a:gd name="connsiteY829" fmla="*/ 3128 h 10000"/>
                  <a:gd name="connsiteX830" fmla="*/ 8622 w 10785"/>
                  <a:gd name="connsiteY830" fmla="*/ 3120 h 10000"/>
                  <a:gd name="connsiteX831" fmla="*/ 8618 w 10785"/>
                  <a:gd name="connsiteY831" fmla="*/ 3094 h 10000"/>
                  <a:gd name="connsiteX832" fmla="*/ 8594 w 10785"/>
                  <a:gd name="connsiteY832" fmla="*/ 3077 h 10000"/>
                  <a:gd name="connsiteX833" fmla="*/ 8548 w 10785"/>
                  <a:gd name="connsiteY833" fmla="*/ 3077 h 10000"/>
                  <a:gd name="connsiteX834" fmla="*/ 8535 w 10785"/>
                  <a:gd name="connsiteY834" fmla="*/ 3068 h 10000"/>
                  <a:gd name="connsiteX835" fmla="*/ 8429 w 10785"/>
                  <a:gd name="connsiteY835" fmla="*/ 3077 h 10000"/>
                  <a:gd name="connsiteX836" fmla="*/ 8424 w 10785"/>
                  <a:gd name="connsiteY836" fmla="*/ 3077 h 10000"/>
                  <a:gd name="connsiteX837" fmla="*/ 8396 w 10785"/>
                  <a:gd name="connsiteY837" fmla="*/ 3077 h 10000"/>
                  <a:gd name="connsiteX838" fmla="*/ 8387 w 10785"/>
                  <a:gd name="connsiteY838" fmla="*/ 3094 h 10000"/>
                  <a:gd name="connsiteX839" fmla="*/ 8378 w 10785"/>
                  <a:gd name="connsiteY839" fmla="*/ 3094 h 10000"/>
                  <a:gd name="connsiteX840" fmla="*/ 8341 w 10785"/>
                  <a:gd name="connsiteY840" fmla="*/ 3077 h 10000"/>
                  <a:gd name="connsiteX841" fmla="*/ 8336 w 10785"/>
                  <a:gd name="connsiteY841" fmla="*/ 3077 h 10000"/>
                  <a:gd name="connsiteX842" fmla="*/ 8327 w 10785"/>
                  <a:gd name="connsiteY842" fmla="*/ 3103 h 10000"/>
                  <a:gd name="connsiteX843" fmla="*/ 8309 w 10785"/>
                  <a:gd name="connsiteY843" fmla="*/ 3120 h 10000"/>
                  <a:gd name="connsiteX844" fmla="*/ 8304 w 10785"/>
                  <a:gd name="connsiteY844" fmla="*/ 3103 h 10000"/>
                  <a:gd name="connsiteX845" fmla="*/ 8276 w 10785"/>
                  <a:gd name="connsiteY845" fmla="*/ 3103 h 10000"/>
                  <a:gd name="connsiteX846" fmla="*/ 8267 w 10785"/>
                  <a:gd name="connsiteY846" fmla="*/ 3120 h 10000"/>
                  <a:gd name="connsiteX847" fmla="*/ 8253 w 10785"/>
                  <a:gd name="connsiteY847" fmla="*/ 3103 h 10000"/>
                  <a:gd name="connsiteX848" fmla="*/ 8230 w 10785"/>
                  <a:gd name="connsiteY848" fmla="*/ 3128 h 10000"/>
                  <a:gd name="connsiteX849" fmla="*/ 8217 w 10785"/>
                  <a:gd name="connsiteY849" fmla="*/ 3128 h 10000"/>
                  <a:gd name="connsiteX850" fmla="*/ 8203 w 10785"/>
                  <a:gd name="connsiteY850" fmla="*/ 3154 h 10000"/>
                  <a:gd name="connsiteX851" fmla="*/ 8175 w 10785"/>
                  <a:gd name="connsiteY851" fmla="*/ 3094 h 10000"/>
                  <a:gd name="connsiteX852" fmla="*/ 8161 w 10785"/>
                  <a:gd name="connsiteY852" fmla="*/ 3094 h 10000"/>
                  <a:gd name="connsiteX853" fmla="*/ 8157 w 10785"/>
                  <a:gd name="connsiteY853" fmla="*/ 3077 h 10000"/>
                  <a:gd name="connsiteX854" fmla="*/ 8180 w 10785"/>
                  <a:gd name="connsiteY854" fmla="*/ 3068 h 10000"/>
                  <a:gd name="connsiteX855" fmla="*/ 8189 w 10785"/>
                  <a:gd name="connsiteY855" fmla="*/ 3043 h 10000"/>
                  <a:gd name="connsiteX856" fmla="*/ 8189 w 10785"/>
                  <a:gd name="connsiteY856" fmla="*/ 3017 h 10000"/>
                  <a:gd name="connsiteX857" fmla="*/ 8147 w 10785"/>
                  <a:gd name="connsiteY857" fmla="*/ 2940 h 10000"/>
                  <a:gd name="connsiteX858" fmla="*/ 8143 w 10785"/>
                  <a:gd name="connsiteY858" fmla="*/ 2915 h 10000"/>
                  <a:gd name="connsiteX859" fmla="*/ 8143 w 10785"/>
                  <a:gd name="connsiteY859" fmla="*/ 2906 h 10000"/>
                  <a:gd name="connsiteX860" fmla="*/ 8097 w 10785"/>
                  <a:gd name="connsiteY860" fmla="*/ 2932 h 10000"/>
                  <a:gd name="connsiteX861" fmla="*/ 8083 w 10785"/>
                  <a:gd name="connsiteY861" fmla="*/ 2932 h 10000"/>
                  <a:gd name="connsiteX862" fmla="*/ 8074 w 10785"/>
                  <a:gd name="connsiteY862" fmla="*/ 2906 h 10000"/>
                  <a:gd name="connsiteX863" fmla="*/ 8074 w 10785"/>
                  <a:gd name="connsiteY863" fmla="*/ 2897 h 10000"/>
                  <a:gd name="connsiteX864" fmla="*/ 8055 w 10785"/>
                  <a:gd name="connsiteY864" fmla="*/ 2872 h 10000"/>
                  <a:gd name="connsiteX865" fmla="*/ 8046 w 10785"/>
                  <a:gd name="connsiteY865" fmla="*/ 2829 h 10000"/>
                  <a:gd name="connsiteX866" fmla="*/ 8041 w 10785"/>
                  <a:gd name="connsiteY866" fmla="*/ 2829 h 10000"/>
                  <a:gd name="connsiteX867" fmla="*/ 8023 w 10785"/>
                  <a:gd name="connsiteY867" fmla="*/ 2803 h 10000"/>
                  <a:gd name="connsiteX868" fmla="*/ 8014 w 10785"/>
                  <a:gd name="connsiteY868" fmla="*/ 2829 h 10000"/>
                  <a:gd name="connsiteX869" fmla="*/ 8000 w 10785"/>
                  <a:gd name="connsiteY869" fmla="*/ 2829 h 10000"/>
                  <a:gd name="connsiteX870" fmla="*/ 7995 w 10785"/>
                  <a:gd name="connsiteY870" fmla="*/ 2821 h 10000"/>
                  <a:gd name="connsiteX871" fmla="*/ 7972 w 10785"/>
                  <a:gd name="connsiteY871" fmla="*/ 2803 h 10000"/>
                  <a:gd name="connsiteX872" fmla="*/ 7968 w 10785"/>
                  <a:gd name="connsiteY872" fmla="*/ 2821 h 10000"/>
                  <a:gd name="connsiteX873" fmla="*/ 7968 w 10785"/>
                  <a:gd name="connsiteY873" fmla="*/ 2803 h 10000"/>
                  <a:gd name="connsiteX874" fmla="*/ 7995 w 10785"/>
                  <a:gd name="connsiteY874" fmla="*/ 2735 h 10000"/>
                  <a:gd name="connsiteX875" fmla="*/ 8000 w 10785"/>
                  <a:gd name="connsiteY875" fmla="*/ 2735 h 10000"/>
                  <a:gd name="connsiteX876" fmla="*/ 8014 w 10785"/>
                  <a:gd name="connsiteY876" fmla="*/ 2744 h 10000"/>
                  <a:gd name="connsiteX877" fmla="*/ 8023 w 10785"/>
                  <a:gd name="connsiteY877" fmla="*/ 2769 h 10000"/>
                  <a:gd name="connsiteX878" fmla="*/ 8032 w 10785"/>
                  <a:gd name="connsiteY878" fmla="*/ 2744 h 10000"/>
                  <a:gd name="connsiteX879" fmla="*/ 8032 w 10785"/>
                  <a:gd name="connsiteY879" fmla="*/ 2709 h 10000"/>
                  <a:gd name="connsiteX880" fmla="*/ 8023 w 10785"/>
                  <a:gd name="connsiteY880" fmla="*/ 2632 h 10000"/>
                  <a:gd name="connsiteX881" fmla="*/ 7986 w 10785"/>
                  <a:gd name="connsiteY881" fmla="*/ 2581 h 10000"/>
                  <a:gd name="connsiteX882" fmla="*/ 7968 w 10785"/>
                  <a:gd name="connsiteY882" fmla="*/ 2581 h 10000"/>
                  <a:gd name="connsiteX883" fmla="*/ 7963 w 10785"/>
                  <a:gd name="connsiteY883" fmla="*/ 2556 h 10000"/>
                  <a:gd name="connsiteX884" fmla="*/ 7935 w 10785"/>
                  <a:gd name="connsiteY884" fmla="*/ 2547 h 10000"/>
                  <a:gd name="connsiteX885" fmla="*/ 7912 w 10785"/>
                  <a:gd name="connsiteY885" fmla="*/ 2547 h 10000"/>
                  <a:gd name="connsiteX886" fmla="*/ 7912 w 10785"/>
                  <a:gd name="connsiteY886" fmla="*/ 2556 h 10000"/>
                  <a:gd name="connsiteX887" fmla="*/ 7908 w 10785"/>
                  <a:gd name="connsiteY887" fmla="*/ 2547 h 10000"/>
                  <a:gd name="connsiteX888" fmla="*/ 7862 w 10785"/>
                  <a:gd name="connsiteY888" fmla="*/ 2547 h 10000"/>
                  <a:gd name="connsiteX889" fmla="*/ 7848 w 10785"/>
                  <a:gd name="connsiteY889" fmla="*/ 2556 h 10000"/>
                  <a:gd name="connsiteX890" fmla="*/ 7820 w 10785"/>
                  <a:gd name="connsiteY890" fmla="*/ 2547 h 10000"/>
                  <a:gd name="connsiteX891" fmla="*/ 7806 w 10785"/>
                  <a:gd name="connsiteY891" fmla="*/ 2513 h 10000"/>
                  <a:gd name="connsiteX892" fmla="*/ 7788 w 10785"/>
                  <a:gd name="connsiteY892" fmla="*/ 2513 h 10000"/>
                  <a:gd name="connsiteX893" fmla="*/ 7760 w 10785"/>
                  <a:gd name="connsiteY893" fmla="*/ 2470 h 10000"/>
                  <a:gd name="connsiteX894" fmla="*/ 7751 w 10785"/>
                  <a:gd name="connsiteY894" fmla="*/ 2470 h 10000"/>
                  <a:gd name="connsiteX895" fmla="*/ 7705 w 10785"/>
                  <a:gd name="connsiteY895" fmla="*/ 2462 h 10000"/>
                  <a:gd name="connsiteX896" fmla="*/ 7673 w 10785"/>
                  <a:gd name="connsiteY896" fmla="*/ 2419 h 10000"/>
                  <a:gd name="connsiteX897" fmla="*/ 7627 w 10785"/>
                  <a:gd name="connsiteY897" fmla="*/ 2419 h 10000"/>
                  <a:gd name="connsiteX898" fmla="*/ 7613 w 10785"/>
                  <a:gd name="connsiteY898" fmla="*/ 2410 h 10000"/>
                  <a:gd name="connsiteX899" fmla="*/ 7493 w 10785"/>
                  <a:gd name="connsiteY899" fmla="*/ 2393 h 10000"/>
                  <a:gd name="connsiteX900" fmla="*/ 7479 w 10785"/>
                  <a:gd name="connsiteY900" fmla="*/ 2385 h 10000"/>
                  <a:gd name="connsiteX901" fmla="*/ 7479 w 10785"/>
                  <a:gd name="connsiteY901" fmla="*/ 2376 h 10000"/>
                  <a:gd name="connsiteX902" fmla="*/ 7465 w 10785"/>
                  <a:gd name="connsiteY902" fmla="*/ 2359 h 10000"/>
                  <a:gd name="connsiteX903" fmla="*/ 7447 w 10785"/>
                  <a:gd name="connsiteY903" fmla="*/ 2350 h 10000"/>
                  <a:gd name="connsiteX904" fmla="*/ 7433 w 10785"/>
                  <a:gd name="connsiteY904" fmla="*/ 2376 h 10000"/>
                  <a:gd name="connsiteX905" fmla="*/ 7433 w 10785"/>
                  <a:gd name="connsiteY905" fmla="*/ 2385 h 10000"/>
                  <a:gd name="connsiteX906" fmla="*/ 7447 w 10785"/>
                  <a:gd name="connsiteY906" fmla="*/ 2410 h 10000"/>
                  <a:gd name="connsiteX907" fmla="*/ 7447 w 10785"/>
                  <a:gd name="connsiteY907" fmla="*/ 2436 h 10000"/>
                  <a:gd name="connsiteX908" fmla="*/ 7452 w 10785"/>
                  <a:gd name="connsiteY908" fmla="*/ 2462 h 10000"/>
                  <a:gd name="connsiteX909" fmla="*/ 7447 w 10785"/>
                  <a:gd name="connsiteY909" fmla="*/ 2470 h 10000"/>
                  <a:gd name="connsiteX910" fmla="*/ 7424 w 10785"/>
                  <a:gd name="connsiteY910" fmla="*/ 2513 h 10000"/>
                  <a:gd name="connsiteX911" fmla="*/ 7419 w 10785"/>
                  <a:gd name="connsiteY911" fmla="*/ 2556 h 10000"/>
                  <a:gd name="connsiteX912" fmla="*/ 7406 w 10785"/>
                  <a:gd name="connsiteY912" fmla="*/ 2624 h 10000"/>
                  <a:gd name="connsiteX913" fmla="*/ 7392 w 10785"/>
                  <a:gd name="connsiteY913" fmla="*/ 2624 h 10000"/>
                  <a:gd name="connsiteX914" fmla="*/ 7373 w 10785"/>
                  <a:gd name="connsiteY914" fmla="*/ 2650 h 10000"/>
                  <a:gd name="connsiteX915" fmla="*/ 7364 w 10785"/>
                  <a:gd name="connsiteY915" fmla="*/ 2684 h 10000"/>
                  <a:gd name="connsiteX916" fmla="*/ 7364 w 10785"/>
                  <a:gd name="connsiteY916" fmla="*/ 2692 h 10000"/>
                  <a:gd name="connsiteX917" fmla="*/ 7373 w 10785"/>
                  <a:gd name="connsiteY917" fmla="*/ 2718 h 10000"/>
                  <a:gd name="connsiteX918" fmla="*/ 7373 w 10785"/>
                  <a:gd name="connsiteY918" fmla="*/ 2744 h 10000"/>
                  <a:gd name="connsiteX919" fmla="*/ 7359 w 10785"/>
                  <a:gd name="connsiteY919" fmla="*/ 2744 h 10000"/>
                  <a:gd name="connsiteX920" fmla="*/ 7359 w 10785"/>
                  <a:gd name="connsiteY920" fmla="*/ 2795 h 10000"/>
                  <a:gd name="connsiteX921" fmla="*/ 7364 w 10785"/>
                  <a:gd name="connsiteY921" fmla="*/ 2821 h 10000"/>
                  <a:gd name="connsiteX922" fmla="*/ 7378 w 10785"/>
                  <a:gd name="connsiteY922" fmla="*/ 2846 h 10000"/>
                  <a:gd name="connsiteX923" fmla="*/ 7378 w 10785"/>
                  <a:gd name="connsiteY923" fmla="*/ 2855 h 10000"/>
                  <a:gd name="connsiteX924" fmla="*/ 7378 w 10785"/>
                  <a:gd name="connsiteY924" fmla="*/ 2880 h 10000"/>
                  <a:gd name="connsiteX925" fmla="*/ 7378 w 10785"/>
                  <a:gd name="connsiteY925" fmla="*/ 2906 h 10000"/>
                  <a:gd name="connsiteX926" fmla="*/ 7364 w 10785"/>
                  <a:gd name="connsiteY926" fmla="*/ 2906 h 10000"/>
                  <a:gd name="connsiteX927" fmla="*/ 7346 w 10785"/>
                  <a:gd name="connsiteY927" fmla="*/ 2880 h 10000"/>
                  <a:gd name="connsiteX928" fmla="*/ 7332 w 10785"/>
                  <a:gd name="connsiteY928" fmla="*/ 2915 h 10000"/>
                  <a:gd name="connsiteX929" fmla="*/ 7318 w 10785"/>
                  <a:gd name="connsiteY929" fmla="*/ 2906 h 10000"/>
                  <a:gd name="connsiteX930" fmla="*/ 7313 w 10785"/>
                  <a:gd name="connsiteY930" fmla="*/ 2915 h 10000"/>
                  <a:gd name="connsiteX931" fmla="*/ 7313 w 10785"/>
                  <a:gd name="connsiteY931" fmla="*/ 2906 h 10000"/>
                  <a:gd name="connsiteX932" fmla="*/ 7286 w 10785"/>
                  <a:gd name="connsiteY932" fmla="*/ 2940 h 10000"/>
                  <a:gd name="connsiteX933" fmla="*/ 7276 w 10785"/>
                  <a:gd name="connsiteY933" fmla="*/ 2966 h 10000"/>
                  <a:gd name="connsiteX934" fmla="*/ 7272 w 10785"/>
                  <a:gd name="connsiteY934" fmla="*/ 2983 h 10000"/>
                  <a:gd name="connsiteX935" fmla="*/ 7267 w 10785"/>
                  <a:gd name="connsiteY935" fmla="*/ 3009 h 10000"/>
                  <a:gd name="connsiteX936" fmla="*/ 7253 w 10785"/>
                  <a:gd name="connsiteY936" fmla="*/ 3009 h 10000"/>
                  <a:gd name="connsiteX937" fmla="*/ 7244 w 10785"/>
                  <a:gd name="connsiteY937" fmla="*/ 3017 h 10000"/>
                  <a:gd name="connsiteX938" fmla="*/ 7240 w 10785"/>
                  <a:gd name="connsiteY938" fmla="*/ 3009 h 10000"/>
                  <a:gd name="connsiteX939" fmla="*/ 7230 w 10785"/>
                  <a:gd name="connsiteY939" fmla="*/ 2991 h 10000"/>
                  <a:gd name="connsiteX940" fmla="*/ 7226 w 10785"/>
                  <a:gd name="connsiteY940" fmla="*/ 2983 h 10000"/>
                  <a:gd name="connsiteX941" fmla="*/ 7226 w 10785"/>
                  <a:gd name="connsiteY941" fmla="*/ 2966 h 10000"/>
                  <a:gd name="connsiteX942" fmla="*/ 7212 w 10785"/>
                  <a:gd name="connsiteY942" fmla="*/ 2957 h 10000"/>
                  <a:gd name="connsiteX943" fmla="*/ 7212 w 10785"/>
                  <a:gd name="connsiteY943" fmla="*/ 2932 h 10000"/>
                  <a:gd name="connsiteX944" fmla="*/ 7198 w 10785"/>
                  <a:gd name="connsiteY944" fmla="*/ 2915 h 10000"/>
                  <a:gd name="connsiteX945" fmla="*/ 7194 w 10785"/>
                  <a:gd name="connsiteY945" fmla="*/ 2915 h 10000"/>
                  <a:gd name="connsiteX946" fmla="*/ 7157 w 10785"/>
                  <a:gd name="connsiteY946" fmla="*/ 2880 h 10000"/>
                  <a:gd name="connsiteX947" fmla="*/ 7138 w 10785"/>
                  <a:gd name="connsiteY947" fmla="*/ 2880 h 10000"/>
                  <a:gd name="connsiteX948" fmla="*/ 7120 w 10785"/>
                  <a:gd name="connsiteY948" fmla="*/ 2872 h 10000"/>
                  <a:gd name="connsiteX949" fmla="*/ 7111 w 10785"/>
                  <a:gd name="connsiteY949" fmla="*/ 2846 h 10000"/>
                  <a:gd name="connsiteX950" fmla="*/ 7106 w 10785"/>
                  <a:gd name="connsiteY950" fmla="*/ 2846 h 10000"/>
                  <a:gd name="connsiteX951" fmla="*/ 7092 w 10785"/>
                  <a:gd name="connsiteY951" fmla="*/ 2829 h 10000"/>
                  <a:gd name="connsiteX952" fmla="*/ 7051 w 10785"/>
                  <a:gd name="connsiteY952" fmla="*/ 2829 h 10000"/>
                  <a:gd name="connsiteX953" fmla="*/ 7037 w 10785"/>
                  <a:gd name="connsiteY953" fmla="*/ 2880 h 10000"/>
                  <a:gd name="connsiteX954" fmla="*/ 7037 w 10785"/>
                  <a:gd name="connsiteY954" fmla="*/ 2906 h 10000"/>
                  <a:gd name="connsiteX955" fmla="*/ 7037 w 10785"/>
                  <a:gd name="connsiteY955" fmla="*/ 2932 h 10000"/>
                  <a:gd name="connsiteX956" fmla="*/ 7037 w 10785"/>
                  <a:gd name="connsiteY956" fmla="*/ 2940 h 10000"/>
                  <a:gd name="connsiteX957" fmla="*/ 7023 w 10785"/>
                  <a:gd name="connsiteY957" fmla="*/ 2906 h 10000"/>
                  <a:gd name="connsiteX958" fmla="*/ 7023 w 10785"/>
                  <a:gd name="connsiteY958" fmla="*/ 2915 h 10000"/>
                  <a:gd name="connsiteX959" fmla="*/ 6991 w 10785"/>
                  <a:gd name="connsiteY959" fmla="*/ 2906 h 10000"/>
                  <a:gd name="connsiteX960" fmla="*/ 6977 w 10785"/>
                  <a:gd name="connsiteY960" fmla="*/ 2915 h 10000"/>
                  <a:gd name="connsiteX961" fmla="*/ 6963 w 10785"/>
                  <a:gd name="connsiteY961" fmla="*/ 2915 h 10000"/>
                  <a:gd name="connsiteX962" fmla="*/ 6949 w 10785"/>
                  <a:gd name="connsiteY962" fmla="*/ 2872 h 10000"/>
                  <a:gd name="connsiteX963" fmla="*/ 6935 w 10785"/>
                  <a:gd name="connsiteY963" fmla="*/ 2855 h 10000"/>
                  <a:gd name="connsiteX964" fmla="*/ 6922 w 10785"/>
                  <a:gd name="connsiteY964" fmla="*/ 2803 h 10000"/>
                  <a:gd name="connsiteX965" fmla="*/ 6917 w 10785"/>
                  <a:gd name="connsiteY965" fmla="*/ 2786 h 10000"/>
                  <a:gd name="connsiteX966" fmla="*/ 6903 w 10785"/>
                  <a:gd name="connsiteY966" fmla="*/ 2709 h 10000"/>
                  <a:gd name="connsiteX967" fmla="*/ 6903 w 10785"/>
                  <a:gd name="connsiteY967" fmla="*/ 2692 h 10000"/>
                  <a:gd name="connsiteX968" fmla="*/ 6899 w 10785"/>
                  <a:gd name="connsiteY968" fmla="*/ 2709 h 10000"/>
                  <a:gd name="connsiteX969" fmla="*/ 6857 w 10785"/>
                  <a:gd name="connsiteY969" fmla="*/ 2872 h 10000"/>
                  <a:gd name="connsiteX970" fmla="*/ 6857 w 10785"/>
                  <a:gd name="connsiteY970" fmla="*/ 3009 h 10000"/>
                  <a:gd name="connsiteX971" fmla="*/ 6848 w 10785"/>
                  <a:gd name="connsiteY971" fmla="*/ 3017 h 10000"/>
                  <a:gd name="connsiteX972" fmla="*/ 6839 w 10785"/>
                  <a:gd name="connsiteY972" fmla="*/ 3068 h 10000"/>
                  <a:gd name="connsiteX973" fmla="*/ 6829 w 10785"/>
                  <a:gd name="connsiteY973" fmla="*/ 3077 h 10000"/>
                  <a:gd name="connsiteX974" fmla="*/ 6829 w 10785"/>
                  <a:gd name="connsiteY974" fmla="*/ 3128 h 10000"/>
                  <a:gd name="connsiteX975" fmla="*/ 6816 w 10785"/>
                  <a:gd name="connsiteY975" fmla="*/ 3154 h 10000"/>
                  <a:gd name="connsiteX976" fmla="*/ 6811 w 10785"/>
                  <a:gd name="connsiteY976" fmla="*/ 3179 h 10000"/>
                  <a:gd name="connsiteX977" fmla="*/ 6797 w 10785"/>
                  <a:gd name="connsiteY977" fmla="*/ 3171 h 10000"/>
                  <a:gd name="connsiteX978" fmla="*/ 6783 w 10785"/>
                  <a:gd name="connsiteY978" fmla="*/ 3103 h 10000"/>
                  <a:gd name="connsiteX979" fmla="*/ 6779 w 10785"/>
                  <a:gd name="connsiteY979" fmla="*/ 3094 h 10000"/>
                  <a:gd name="connsiteX980" fmla="*/ 6779 w 10785"/>
                  <a:gd name="connsiteY980" fmla="*/ 3120 h 10000"/>
                  <a:gd name="connsiteX981" fmla="*/ 6770 w 10785"/>
                  <a:gd name="connsiteY981" fmla="*/ 3128 h 10000"/>
                  <a:gd name="connsiteX982" fmla="*/ 6765 w 10785"/>
                  <a:gd name="connsiteY982" fmla="*/ 3103 h 10000"/>
                  <a:gd name="connsiteX983" fmla="*/ 6756 w 10785"/>
                  <a:gd name="connsiteY983" fmla="*/ 3103 h 10000"/>
                  <a:gd name="connsiteX984" fmla="*/ 6742 w 10785"/>
                  <a:gd name="connsiteY984" fmla="*/ 3103 h 10000"/>
                  <a:gd name="connsiteX985" fmla="*/ 6737 w 10785"/>
                  <a:gd name="connsiteY985" fmla="*/ 3077 h 10000"/>
                  <a:gd name="connsiteX986" fmla="*/ 6737 w 10785"/>
                  <a:gd name="connsiteY986" fmla="*/ 3068 h 10000"/>
                  <a:gd name="connsiteX987" fmla="*/ 6728 w 10785"/>
                  <a:gd name="connsiteY987" fmla="*/ 3043 h 10000"/>
                  <a:gd name="connsiteX988" fmla="*/ 6724 w 10785"/>
                  <a:gd name="connsiteY988" fmla="*/ 3051 h 10000"/>
                  <a:gd name="connsiteX989" fmla="*/ 6714 w 10785"/>
                  <a:gd name="connsiteY989" fmla="*/ 3043 h 10000"/>
                  <a:gd name="connsiteX990" fmla="*/ 6710 w 10785"/>
                  <a:gd name="connsiteY990" fmla="*/ 3034 h 10000"/>
                  <a:gd name="connsiteX991" fmla="*/ 6705 w 10785"/>
                  <a:gd name="connsiteY991" fmla="*/ 2983 h 10000"/>
                  <a:gd name="connsiteX992" fmla="*/ 6696 w 10785"/>
                  <a:gd name="connsiteY992" fmla="*/ 2966 h 10000"/>
                  <a:gd name="connsiteX993" fmla="*/ 6691 w 10785"/>
                  <a:gd name="connsiteY993" fmla="*/ 2983 h 10000"/>
                  <a:gd name="connsiteX994" fmla="*/ 6677 w 10785"/>
                  <a:gd name="connsiteY994" fmla="*/ 2897 h 10000"/>
                  <a:gd name="connsiteX995" fmla="*/ 6677 w 10785"/>
                  <a:gd name="connsiteY995" fmla="*/ 2897 h 10000"/>
                  <a:gd name="connsiteX996" fmla="*/ 6677 w 10785"/>
                  <a:gd name="connsiteY996" fmla="*/ 2872 h 10000"/>
                  <a:gd name="connsiteX997" fmla="*/ 6668 w 10785"/>
                  <a:gd name="connsiteY997" fmla="*/ 2821 h 10000"/>
                  <a:gd name="connsiteX998" fmla="*/ 6664 w 10785"/>
                  <a:gd name="connsiteY998" fmla="*/ 2829 h 10000"/>
                  <a:gd name="connsiteX999" fmla="*/ 6654 w 10785"/>
                  <a:gd name="connsiteY999" fmla="*/ 2846 h 10000"/>
                  <a:gd name="connsiteX1000" fmla="*/ 6650 w 10785"/>
                  <a:gd name="connsiteY1000" fmla="*/ 2829 h 10000"/>
                  <a:gd name="connsiteX1001" fmla="*/ 6650 w 10785"/>
                  <a:gd name="connsiteY1001" fmla="*/ 2803 h 10000"/>
                  <a:gd name="connsiteX1002" fmla="*/ 6650 w 10785"/>
                  <a:gd name="connsiteY1002" fmla="*/ 2795 h 10000"/>
                  <a:gd name="connsiteX1003" fmla="*/ 6641 w 10785"/>
                  <a:gd name="connsiteY1003" fmla="*/ 2786 h 10000"/>
                  <a:gd name="connsiteX1004" fmla="*/ 6636 w 10785"/>
                  <a:gd name="connsiteY1004" fmla="*/ 2735 h 10000"/>
                  <a:gd name="connsiteX1005" fmla="*/ 6664 w 10785"/>
                  <a:gd name="connsiteY1005" fmla="*/ 2667 h 10000"/>
                  <a:gd name="connsiteX1006" fmla="*/ 6668 w 10785"/>
                  <a:gd name="connsiteY1006" fmla="*/ 2684 h 10000"/>
                  <a:gd name="connsiteX1007" fmla="*/ 6677 w 10785"/>
                  <a:gd name="connsiteY1007" fmla="*/ 2667 h 10000"/>
                  <a:gd name="connsiteX1008" fmla="*/ 6668 w 10785"/>
                  <a:gd name="connsiteY1008" fmla="*/ 2667 h 10000"/>
                  <a:gd name="connsiteX1009" fmla="*/ 6668 w 10785"/>
                  <a:gd name="connsiteY1009" fmla="*/ 2650 h 10000"/>
                  <a:gd name="connsiteX1010" fmla="*/ 6682 w 10785"/>
                  <a:gd name="connsiteY1010" fmla="*/ 2650 h 10000"/>
                  <a:gd name="connsiteX1011" fmla="*/ 6691 w 10785"/>
                  <a:gd name="connsiteY1011" fmla="*/ 2624 h 10000"/>
                  <a:gd name="connsiteX1012" fmla="*/ 6682 w 10785"/>
                  <a:gd name="connsiteY1012" fmla="*/ 2632 h 10000"/>
                  <a:gd name="connsiteX1013" fmla="*/ 6682 w 10785"/>
                  <a:gd name="connsiteY1013" fmla="*/ 2624 h 10000"/>
                  <a:gd name="connsiteX1014" fmla="*/ 6691 w 10785"/>
                  <a:gd name="connsiteY1014" fmla="*/ 2607 h 10000"/>
                  <a:gd name="connsiteX1015" fmla="*/ 6691 w 10785"/>
                  <a:gd name="connsiteY1015" fmla="*/ 2598 h 10000"/>
                  <a:gd name="connsiteX1016" fmla="*/ 6691 w 10785"/>
                  <a:gd name="connsiteY1016" fmla="*/ 2581 h 10000"/>
                  <a:gd name="connsiteX1017" fmla="*/ 6696 w 10785"/>
                  <a:gd name="connsiteY1017" fmla="*/ 2530 h 10000"/>
                  <a:gd name="connsiteX1018" fmla="*/ 6677 w 10785"/>
                  <a:gd name="connsiteY1018" fmla="*/ 2513 h 10000"/>
                  <a:gd name="connsiteX1019" fmla="*/ 6677 w 10785"/>
                  <a:gd name="connsiteY1019" fmla="*/ 2496 h 10000"/>
                  <a:gd name="connsiteX1020" fmla="*/ 6682 w 10785"/>
                  <a:gd name="connsiteY1020" fmla="*/ 2470 h 10000"/>
                  <a:gd name="connsiteX1021" fmla="*/ 6668 w 10785"/>
                  <a:gd name="connsiteY1021" fmla="*/ 2462 h 10000"/>
                  <a:gd name="connsiteX1022" fmla="*/ 6677 w 10785"/>
                  <a:gd name="connsiteY1022" fmla="*/ 2436 h 10000"/>
                  <a:gd name="connsiteX1023" fmla="*/ 6682 w 10785"/>
                  <a:gd name="connsiteY1023" fmla="*/ 2419 h 10000"/>
                  <a:gd name="connsiteX1024" fmla="*/ 6682 w 10785"/>
                  <a:gd name="connsiteY1024" fmla="*/ 2393 h 10000"/>
                  <a:gd name="connsiteX1025" fmla="*/ 6682 w 10785"/>
                  <a:gd name="connsiteY1025" fmla="*/ 2385 h 10000"/>
                  <a:gd name="connsiteX1026" fmla="*/ 6682 w 10785"/>
                  <a:gd name="connsiteY1026" fmla="*/ 2385 h 10000"/>
                  <a:gd name="connsiteX1027" fmla="*/ 6677 w 10785"/>
                  <a:gd name="connsiteY1027" fmla="*/ 2376 h 10000"/>
                  <a:gd name="connsiteX1028" fmla="*/ 6682 w 10785"/>
                  <a:gd name="connsiteY1028" fmla="*/ 2359 h 10000"/>
                  <a:gd name="connsiteX1029" fmla="*/ 6677 w 10785"/>
                  <a:gd name="connsiteY1029" fmla="*/ 2333 h 10000"/>
                  <a:gd name="connsiteX1030" fmla="*/ 6691 w 10785"/>
                  <a:gd name="connsiteY1030" fmla="*/ 2333 h 10000"/>
                  <a:gd name="connsiteX1031" fmla="*/ 6691 w 10785"/>
                  <a:gd name="connsiteY1031" fmla="*/ 2325 h 10000"/>
                  <a:gd name="connsiteX1032" fmla="*/ 6691 w 10785"/>
                  <a:gd name="connsiteY1032" fmla="*/ 2308 h 10000"/>
                  <a:gd name="connsiteX1033" fmla="*/ 6691 w 10785"/>
                  <a:gd name="connsiteY1033" fmla="*/ 2299 h 10000"/>
                  <a:gd name="connsiteX1034" fmla="*/ 6691 w 10785"/>
                  <a:gd name="connsiteY1034" fmla="*/ 2282 h 10000"/>
                  <a:gd name="connsiteX1035" fmla="*/ 6691 w 10785"/>
                  <a:gd name="connsiteY1035" fmla="*/ 2274 h 10000"/>
                  <a:gd name="connsiteX1036" fmla="*/ 6668 w 10785"/>
                  <a:gd name="connsiteY1036" fmla="*/ 2248 h 10000"/>
                  <a:gd name="connsiteX1037" fmla="*/ 6664 w 10785"/>
                  <a:gd name="connsiteY1037" fmla="*/ 2222 h 10000"/>
                  <a:gd name="connsiteX1038" fmla="*/ 6654 w 10785"/>
                  <a:gd name="connsiteY1038" fmla="*/ 2214 h 10000"/>
                  <a:gd name="connsiteX1039" fmla="*/ 6654 w 10785"/>
                  <a:gd name="connsiteY1039" fmla="*/ 2188 h 10000"/>
                  <a:gd name="connsiteX1040" fmla="*/ 6622 w 10785"/>
                  <a:gd name="connsiteY1040" fmla="*/ 2162 h 10000"/>
                  <a:gd name="connsiteX1041" fmla="*/ 6631 w 10785"/>
                  <a:gd name="connsiteY1041" fmla="*/ 2145 h 10000"/>
                  <a:gd name="connsiteX1042" fmla="*/ 6622 w 10785"/>
                  <a:gd name="connsiteY1042" fmla="*/ 2120 h 10000"/>
                  <a:gd name="connsiteX1043" fmla="*/ 6608 w 10785"/>
                  <a:gd name="connsiteY1043" fmla="*/ 2120 h 10000"/>
                  <a:gd name="connsiteX1044" fmla="*/ 6604 w 10785"/>
                  <a:gd name="connsiteY1044" fmla="*/ 2111 h 10000"/>
                  <a:gd name="connsiteX1045" fmla="*/ 6608 w 10785"/>
                  <a:gd name="connsiteY1045" fmla="*/ 2111 h 10000"/>
                  <a:gd name="connsiteX1046" fmla="*/ 6604 w 10785"/>
                  <a:gd name="connsiteY1046" fmla="*/ 2085 h 10000"/>
                  <a:gd name="connsiteX1047" fmla="*/ 6581 w 10785"/>
                  <a:gd name="connsiteY1047" fmla="*/ 2077 h 10000"/>
                  <a:gd name="connsiteX1048" fmla="*/ 6571 w 10785"/>
                  <a:gd name="connsiteY1048" fmla="*/ 2085 h 10000"/>
                  <a:gd name="connsiteX1049" fmla="*/ 6548 w 10785"/>
                  <a:gd name="connsiteY1049" fmla="*/ 2077 h 10000"/>
                  <a:gd name="connsiteX1050" fmla="*/ 6530 w 10785"/>
                  <a:gd name="connsiteY1050" fmla="*/ 2060 h 10000"/>
                  <a:gd name="connsiteX1051" fmla="*/ 6521 w 10785"/>
                  <a:gd name="connsiteY1051" fmla="*/ 2060 h 10000"/>
                  <a:gd name="connsiteX1052" fmla="*/ 6521 w 10785"/>
                  <a:gd name="connsiteY1052" fmla="*/ 2085 h 10000"/>
                  <a:gd name="connsiteX1053" fmla="*/ 6516 w 10785"/>
                  <a:gd name="connsiteY1053" fmla="*/ 2085 h 10000"/>
                  <a:gd name="connsiteX1054" fmla="*/ 6502 w 10785"/>
                  <a:gd name="connsiteY1054" fmla="*/ 2111 h 10000"/>
                  <a:gd name="connsiteX1055" fmla="*/ 6498 w 10785"/>
                  <a:gd name="connsiteY1055" fmla="*/ 2111 h 10000"/>
                  <a:gd name="connsiteX1056" fmla="*/ 6498 w 10785"/>
                  <a:gd name="connsiteY1056" fmla="*/ 2103 h 10000"/>
                  <a:gd name="connsiteX1057" fmla="*/ 6475 w 10785"/>
                  <a:gd name="connsiteY1057" fmla="*/ 2051 h 10000"/>
                  <a:gd name="connsiteX1058" fmla="*/ 6470 w 10785"/>
                  <a:gd name="connsiteY1058" fmla="*/ 2060 h 10000"/>
                  <a:gd name="connsiteX1059" fmla="*/ 6456 w 10785"/>
                  <a:gd name="connsiteY1059" fmla="*/ 2051 h 10000"/>
                  <a:gd name="connsiteX1060" fmla="*/ 6447 w 10785"/>
                  <a:gd name="connsiteY1060" fmla="*/ 2051 h 10000"/>
                  <a:gd name="connsiteX1061" fmla="*/ 6433 w 10785"/>
                  <a:gd name="connsiteY1061" fmla="*/ 2026 h 10000"/>
                  <a:gd name="connsiteX1062" fmla="*/ 6433 w 10785"/>
                  <a:gd name="connsiteY1062" fmla="*/ 2034 h 10000"/>
                  <a:gd name="connsiteX1063" fmla="*/ 6429 w 10785"/>
                  <a:gd name="connsiteY1063" fmla="*/ 2026 h 10000"/>
                  <a:gd name="connsiteX1064" fmla="*/ 6424 w 10785"/>
                  <a:gd name="connsiteY1064" fmla="*/ 2034 h 10000"/>
                  <a:gd name="connsiteX1065" fmla="*/ 6410 w 10785"/>
                  <a:gd name="connsiteY1065" fmla="*/ 2026 h 10000"/>
                  <a:gd name="connsiteX1066" fmla="*/ 6410 w 10785"/>
                  <a:gd name="connsiteY1066" fmla="*/ 1991 h 10000"/>
                  <a:gd name="connsiteX1067" fmla="*/ 6401 w 10785"/>
                  <a:gd name="connsiteY1067" fmla="*/ 1991 h 10000"/>
                  <a:gd name="connsiteX1068" fmla="*/ 6396 w 10785"/>
                  <a:gd name="connsiteY1068" fmla="*/ 2000 h 10000"/>
                  <a:gd name="connsiteX1069" fmla="*/ 6382 w 10785"/>
                  <a:gd name="connsiteY1069" fmla="*/ 1966 h 10000"/>
                  <a:gd name="connsiteX1070" fmla="*/ 6373 w 10785"/>
                  <a:gd name="connsiteY1070" fmla="*/ 1974 h 10000"/>
                  <a:gd name="connsiteX1071" fmla="*/ 6369 w 10785"/>
                  <a:gd name="connsiteY1071" fmla="*/ 1966 h 10000"/>
                  <a:gd name="connsiteX1072" fmla="*/ 6341 w 10785"/>
                  <a:gd name="connsiteY1072" fmla="*/ 1949 h 10000"/>
                  <a:gd name="connsiteX1073" fmla="*/ 6327 w 10785"/>
                  <a:gd name="connsiteY1073" fmla="*/ 1923 h 10000"/>
                  <a:gd name="connsiteX1074" fmla="*/ 6323 w 10785"/>
                  <a:gd name="connsiteY1074" fmla="*/ 1923 h 10000"/>
                  <a:gd name="connsiteX1075" fmla="*/ 6323 w 10785"/>
                  <a:gd name="connsiteY1075" fmla="*/ 1966 h 10000"/>
                  <a:gd name="connsiteX1076" fmla="*/ 6323 w 10785"/>
                  <a:gd name="connsiteY1076" fmla="*/ 1991 h 10000"/>
                  <a:gd name="connsiteX1077" fmla="*/ 6313 w 10785"/>
                  <a:gd name="connsiteY1077" fmla="*/ 1991 h 10000"/>
                  <a:gd name="connsiteX1078" fmla="*/ 6300 w 10785"/>
                  <a:gd name="connsiteY1078" fmla="*/ 1991 h 10000"/>
                  <a:gd name="connsiteX1079" fmla="*/ 6290 w 10785"/>
                  <a:gd name="connsiteY1079" fmla="*/ 1949 h 10000"/>
                  <a:gd name="connsiteX1080" fmla="*/ 6276 w 10785"/>
                  <a:gd name="connsiteY1080" fmla="*/ 2103 h 10000"/>
                  <a:gd name="connsiteX1081" fmla="*/ 6281 w 10785"/>
                  <a:gd name="connsiteY1081" fmla="*/ 2103 h 10000"/>
                  <a:gd name="connsiteX1082" fmla="*/ 6276 w 10785"/>
                  <a:gd name="connsiteY1082" fmla="*/ 2111 h 10000"/>
                  <a:gd name="connsiteX1083" fmla="*/ 6276 w 10785"/>
                  <a:gd name="connsiteY1083" fmla="*/ 2120 h 10000"/>
                  <a:gd name="connsiteX1084" fmla="*/ 6295 w 10785"/>
                  <a:gd name="connsiteY1084" fmla="*/ 2239 h 10000"/>
                  <a:gd name="connsiteX1085" fmla="*/ 6290 w 10785"/>
                  <a:gd name="connsiteY1085" fmla="*/ 2248 h 10000"/>
                  <a:gd name="connsiteX1086" fmla="*/ 6281 w 10785"/>
                  <a:gd name="connsiteY1086" fmla="*/ 2274 h 10000"/>
                  <a:gd name="connsiteX1087" fmla="*/ 6249 w 10785"/>
                  <a:gd name="connsiteY1087" fmla="*/ 2274 h 10000"/>
                  <a:gd name="connsiteX1088" fmla="*/ 6226 w 10785"/>
                  <a:gd name="connsiteY1088" fmla="*/ 2308 h 10000"/>
                  <a:gd name="connsiteX1089" fmla="*/ 6221 w 10785"/>
                  <a:gd name="connsiteY1089" fmla="*/ 2299 h 10000"/>
                  <a:gd name="connsiteX1090" fmla="*/ 6221 w 10785"/>
                  <a:gd name="connsiteY1090" fmla="*/ 2308 h 10000"/>
                  <a:gd name="connsiteX1091" fmla="*/ 6217 w 10785"/>
                  <a:gd name="connsiteY1091" fmla="*/ 2299 h 10000"/>
                  <a:gd name="connsiteX1092" fmla="*/ 6194 w 10785"/>
                  <a:gd name="connsiteY1092" fmla="*/ 2308 h 10000"/>
                  <a:gd name="connsiteX1093" fmla="*/ 6180 w 10785"/>
                  <a:gd name="connsiteY1093" fmla="*/ 2299 h 10000"/>
                  <a:gd name="connsiteX1094" fmla="*/ 6143 w 10785"/>
                  <a:gd name="connsiteY1094" fmla="*/ 2308 h 10000"/>
                  <a:gd name="connsiteX1095" fmla="*/ 6134 w 10785"/>
                  <a:gd name="connsiteY1095" fmla="*/ 2325 h 10000"/>
                  <a:gd name="connsiteX1096" fmla="*/ 6115 w 10785"/>
                  <a:gd name="connsiteY1096" fmla="*/ 2282 h 10000"/>
                  <a:gd name="connsiteX1097" fmla="*/ 6069 w 10785"/>
                  <a:gd name="connsiteY1097" fmla="*/ 2274 h 10000"/>
                  <a:gd name="connsiteX1098" fmla="*/ 6069 w 10785"/>
                  <a:gd name="connsiteY1098" fmla="*/ 2282 h 10000"/>
                  <a:gd name="connsiteX1099" fmla="*/ 6060 w 10785"/>
                  <a:gd name="connsiteY1099" fmla="*/ 2299 h 10000"/>
                  <a:gd name="connsiteX1100" fmla="*/ 5972 w 10785"/>
                  <a:gd name="connsiteY1100" fmla="*/ 2214 h 10000"/>
                  <a:gd name="connsiteX1101" fmla="*/ 5968 w 10785"/>
                  <a:gd name="connsiteY1101" fmla="*/ 2197 h 10000"/>
                  <a:gd name="connsiteX1102" fmla="*/ 5968 w 10785"/>
                  <a:gd name="connsiteY1102" fmla="*/ 2171 h 10000"/>
                  <a:gd name="connsiteX1103" fmla="*/ 5968 w 10785"/>
                  <a:gd name="connsiteY1103" fmla="*/ 2162 h 10000"/>
                  <a:gd name="connsiteX1104" fmla="*/ 5968 w 10785"/>
                  <a:gd name="connsiteY1104" fmla="*/ 2120 h 10000"/>
                  <a:gd name="connsiteX1105" fmla="*/ 5968 w 10785"/>
                  <a:gd name="connsiteY1105" fmla="*/ 2111 h 10000"/>
                  <a:gd name="connsiteX1106" fmla="*/ 5972 w 10785"/>
                  <a:gd name="connsiteY1106" fmla="*/ 2103 h 10000"/>
                  <a:gd name="connsiteX1107" fmla="*/ 5986 w 10785"/>
                  <a:gd name="connsiteY1107" fmla="*/ 2103 h 10000"/>
                  <a:gd name="connsiteX1108" fmla="*/ 5986 w 10785"/>
                  <a:gd name="connsiteY1108" fmla="*/ 2085 h 10000"/>
                  <a:gd name="connsiteX1109" fmla="*/ 5995 w 10785"/>
                  <a:gd name="connsiteY1109" fmla="*/ 2085 h 10000"/>
                  <a:gd name="connsiteX1110" fmla="*/ 5995 w 10785"/>
                  <a:gd name="connsiteY1110" fmla="*/ 2077 h 10000"/>
                  <a:gd name="connsiteX1111" fmla="*/ 5986 w 10785"/>
                  <a:gd name="connsiteY1111" fmla="*/ 2060 h 10000"/>
                  <a:gd name="connsiteX1112" fmla="*/ 5954 w 10785"/>
                  <a:gd name="connsiteY1112" fmla="*/ 2060 h 10000"/>
                  <a:gd name="connsiteX1113" fmla="*/ 5940 w 10785"/>
                  <a:gd name="connsiteY1113" fmla="*/ 2051 h 10000"/>
                  <a:gd name="connsiteX1114" fmla="*/ 5922 w 10785"/>
                  <a:gd name="connsiteY1114" fmla="*/ 2060 h 10000"/>
                  <a:gd name="connsiteX1115" fmla="*/ 5885 w 10785"/>
                  <a:gd name="connsiteY1115" fmla="*/ 2051 h 10000"/>
                  <a:gd name="connsiteX1116" fmla="*/ 5876 w 10785"/>
                  <a:gd name="connsiteY1116" fmla="*/ 2026 h 10000"/>
                  <a:gd name="connsiteX1117" fmla="*/ 5862 w 10785"/>
                  <a:gd name="connsiteY1117" fmla="*/ 2026 h 10000"/>
                  <a:gd name="connsiteX1118" fmla="*/ 5848 w 10785"/>
                  <a:gd name="connsiteY1118" fmla="*/ 2026 h 10000"/>
                  <a:gd name="connsiteX1119" fmla="*/ 5825 w 10785"/>
                  <a:gd name="connsiteY1119" fmla="*/ 2026 h 10000"/>
                  <a:gd name="connsiteX1120" fmla="*/ 5788 w 10785"/>
                  <a:gd name="connsiteY1120" fmla="*/ 1991 h 10000"/>
                  <a:gd name="connsiteX1121" fmla="*/ 5760 w 10785"/>
                  <a:gd name="connsiteY1121" fmla="*/ 2000 h 10000"/>
                  <a:gd name="connsiteX1122" fmla="*/ 5760 w 10785"/>
                  <a:gd name="connsiteY1122" fmla="*/ 2026 h 10000"/>
                  <a:gd name="connsiteX1123" fmla="*/ 5714 w 10785"/>
                  <a:gd name="connsiteY1123" fmla="*/ 2051 h 10000"/>
                  <a:gd name="connsiteX1124" fmla="*/ 5687 w 10785"/>
                  <a:gd name="connsiteY1124" fmla="*/ 2034 h 10000"/>
                  <a:gd name="connsiteX1125" fmla="*/ 5645 w 10785"/>
                  <a:gd name="connsiteY1125" fmla="*/ 2077 h 10000"/>
                  <a:gd name="connsiteX1126" fmla="*/ 5664 w 10785"/>
                  <a:gd name="connsiteY1126" fmla="*/ 2120 h 10000"/>
                  <a:gd name="connsiteX1127" fmla="*/ 5664 w 10785"/>
                  <a:gd name="connsiteY1127" fmla="*/ 2162 h 10000"/>
                  <a:gd name="connsiteX1128" fmla="*/ 5631 w 10785"/>
                  <a:gd name="connsiteY1128" fmla="*/ 2197 h 10000"/>
                  <a:gd name="connsiteX1129" fmla="*/ 5618 w 10785"/>
                  <a:gd name="connsiteY1129" fmla="*/ 2188 h 10000"/>
                  <a:gd name="connsiteX1130" fmla="*/ 5618 w 10785"/>
                  <a:gd name="connsiteY1130" fmla="*/ 2171 h 10000"/>
                  <a:gd name="connsiteX1131" fmla="*/ 5641 w 10785"/>
                  <a:gd name="connsiteY1131" fmla="*/ 2171 h 10000"/>
                  <a:gd name="connsiteX1132" fmla="*/ 5641 w 10785"/>
                  <a:gd name="connsiteY1132" fmla="*/ 2162 h 10000"/>
                  <a:gd name="connsiteX1133" fmla="*/ 5627 w 10785"/>
                  <a:gd name="connsiteY1133" fmla="*/ 2145 h 10000"/>
                  <a:gd name="connsiteX1134" fmla="*/ 5627 w 10785"/>
                  <a:gd name="connsiteY1134" fmla="*/ 2120 h 10000"/>
                  <a:gd name="connsiteX1135" fmla="*/ 5618 w 10785"/>
                  <a:gd name="connsiteY1135" fmla="*/ 2111 h 10000"/>
                  <a:gd name="connsiteX1136" fmla="*/ 5631 w 10785"/>
                  <a:gd name="connsiteY1136" fmla="*/ 2051 h 10000"/>
                  <a:gd name="connsiteX1137" fmla="*/ 5631 w 10785"/>
                  <a:gd name="connsiteY1137" fmla="*/ 2026 h 10000"/>
                  <a:gd name="connsiteX1138" fmla="*/ 5627 w 10785"/>
                  <a:gd name="connsiteY1138" fmla="*/ 1991 h 10000"/>
                  <a:gd name="connsiteX1139" fmla="*/ 5618 w 10785"/>
                  <a:gd name="connsiteY1139" fmla="*/ 1974 h 10000"/>
                  <a:gd name="connsiteX1140" fmla="*/ 5618 w 10785"/>
                  <a:gd name="connsiteY1140" fmla="*/ 1940 h 10000"/>
                  <a:gd name="connsiteX1141" fmla="*/ 5594 w 10785"/>
                  <a:gd name="connsiteY1141" fmla="*/ 1855 h 10000"/>
                  <a:gd name="connsiteX1142" fmla="*/ 5599 w 10785"/>
                  <a:gd name="connsiteY1142" fmla="*/ 1915 h 10000"/>
                  <a:gd name="connsiteX1143" fmla="*/ 5599 w 10785"/>
                  <a:gd name="connsiteY1143" fmla="*/ 1949 h 10000"/>
                  <a:gd name="connsiteX1144" fmla="*/ 5594 w 10785"/>
                  <a:gd name="connsiteY1144" fmla="*/ 1991 h 10000"/>
                  <a:gd name="connsiteX1145" fmla="*/ 5571 w 10785"/>
                  <a:gd name="connsiteY1145" fmla="*/ 2000 h 10000"/>
                  <a:gd name="connsiteX1146" fmla="*/ 5530 w 10785"/>
                  <a:gd name="connsiteY1146" fmla="*/ 1991 h 10000"/>
                  <a:gd name="connsiteX1147" fmla="*/ 5525 w 10785"/>
                  <a:gd name="connsiteY1147" fmla="*/ 2000 h 10000"/>
                  <a:gd name="connsiteX1148" fmla="*/ 5521 w 10785"/>
                  <a:gd name="connsiteY1148" fmla="*/ 1991 h 10000"/>
                  <a:gd name="connsiteX1149" fmla="*/ 5498 w 10785"/>
                  <a:gd name="connsiteY1149" fmla="*/ 1949 h 10000"/>
                  <a:gd name="connsiteX1150" fmla="*/ 5493 w 10785"/>
                  <a:gd name="connsiteY1150" fmla="*/ 1889 h 10000"/>
                  <a:gd name="connsiteX1151" fmla="*/ 5493 w 10785"/>
                  <a:gd name="connsiteY1151" fmla="*/ 1863 h 10000"/>
                  <a:gd name="connsiteX1152" fmla="*/ 5498 w 10785"/>
                  <a:gd name="connsiteY1152" fmla="*/ 1889 h 10000"/>
                  <a:gd name="connsiteX1153" fmla="*/ 5512 w 10785"/>
                  <a:gd name="connsiteY1153" fmla="*/ 1855 h 10000"/>
                  <a:gd name="connsiteX1154" fmla="*/ 5512 w 10785"/>
                  <a:gd name="connsiteY1154" fmla="*/ 1838 h 10000"/>
                  <a:gd name="connsiteX1155" fmla="*/ 5479 w 10785"/>
                  <a:gd name="connsiteY1155" fmla="*/ 1855 h 10000"/>
                  <a:gd name="connsiteX1156" fmla="*/ 5470 w 10785"/>
                  <a:gd name="connsiteY1156" fmla="*/ 1872 h 10000"/>
                  <a:gd name="connsiteX1157" fmla="*/ 5470 w 10785"/>
                  <a:gd name="connsiteY1157" fmla="*/ 1889 h 10000"/>
                  <a:gd name="connsiteX1158" fmla="*/ 5465 w 10785"/>
                  <a:gd name="connsiteY1158" fmla="*/ 1897 h 10000"/>
                  <a:gd name="connsiteX1159" fmla="*/ 5456 w 10785"/>
                  <a:gd name="connsiteY1159" fmla="*/ 1872 h 10000"/>
                  <a:gd name="connsiteX1160" fmla="*/ 5447 w 10785"/>
                  <a:gd name="connsiteY1160" fmla="*/ 1872 h 10000"/>
                  <a:gd name="connsiteX1161" fmla="*/ 5433 w 10785"/>
                  <a:gd name="connsiteY1161" fmla="*/ 1855 h 10000"/>
                  <a:gd name="connsiteX1162" fmla="*/ 5396 w 10785"/>
                  <a:gd name="connsiteY1162" fmla="*/ 1863 h 10000"/>
                  <a:gd name="connsiteX1163" fmla="*/ 5396 w 10785"/>
                  <a:gd name="connsiteY1163" fmla="*/ 1897 h 10000"/>
                  <a:gd name="connsiteX1164" fmla="*/ 5378 w 10785"/>
                  <a:gd name="connsiteY1164" fmla="*/ 1949 h 10000"/>
                  <a:gd name="connsiteX1165" fmla="*/ 5378 w 10785"/>
                  <a:gd name="connsiteY1165" fmla="*/ 1966 h 10000"/>
                  <a:gd name="connsiteX1166" fmla="*/ 5392 w 10785"/>
                  <a:gd name="connsiteY1166" fmla="*/ 2026 h 10000"/>
                  <a:gd name="connsiteX1167" fmla="*/ 5396 w 10785"/>
                  <a:gd name="connsiteY1167" fmla="*/ 2026 h 10000"/>
                  <a:gd name="connsiteX1168" fmla="*/ 5392 w 10785"/>
                  <a:gd name="connsiteY1168" fmla="*/ 2009 h 10000"/>
                  <a:gd name="connsiteX1169" fmla="*/ 5392 w 10785"/>
                  <a:gd name="connsiteY1169" fmla="*/ 2000 h 10000"/>
                  <a:gd name="connsiteX1170" fmla="*/ 5396 w 10785"/>
                  <a:gd name="connsiteY1170" fmla="*/ 2009 h 10000"/>
                  <a:gd name="connsiteX1171" fmla="*/ 5424 w 10785"/>
                  <a:gd name="connsiteY1171" fmla="*/ 2009 h 10000"/>
                  <a:gd name="connsiteX1172" fmla="*/ 5433 w 10785"/>
                  <a:gd name="connsiteY1172" fmla="*/ 1991 h 10000"/>
                  <a:gd name="connsiteX1173" fmla="*/ 5447 w 10785"/>
                  <a:gd name="connsiteY1173" fmla="*/ 1974 h 10000"/>
                  <a:gd name="connsiteX1174" fmla="*/ 5452 w 10785"/>
                  <a:gd name="connsiteY1174" fmla="*/ 1966 h 10000"/>
                  <a:gd name="connsiteX1175" fmla="*/ 5456 w 10785"/>
                  <a:gd name="connsiteY1175" fmla="*/ 1966 h 10000"/>
                  <a:gd name="connsiteX1176" fmla="*/ 5465 w 10785"/>
                  <a:gd name="connsiteY1176" fmla="*/ 2009 h 10000"/>
                  <a:gd name="connsiteX1177" fmla="*/ 5433 w 10785"/>
                  <a:gd name="connsiteY1177" fmla="*/ 2034 h 10000"/>
                  <a:gd name="connsiteX1178" fmla="*/ 5424 w 10785"/>
                  <a:gd name="connsiteY1178" fmla="*/ 2060 h 10000"/>
                  <a:gd name="connsiteX1179" fmla="*/ 5419 w 10785"/>
                  <a:gd name="connsiteY1179" fmla="*/ 2060 h 10000"/>
                  <a:gd name="connsiteX1180" fmla="*/ 5392 w 10785"/>
                  <a:gd name="connsiteY1180" fmla="*/ 2111 h 10000"/>
                  <a:gd name="connsiteX1181" fmla="*/ 5378 w 10785"/>
                  <a:gd name="connsiteY1181" fmla="*/ 2111 h 10000"/>
                  <a:gd name="connsiteX1182" fmla="*/ 5350 w 10785"/>
                  <a:gd name="connsiteY1182" fmla="*/ 2060 h 10000"/>
                  <a:gd name="connsiteX1183" fmla="*/ 5373 w 10785"/>
                  <a:gd name="connsiteY1183" fmla="*/ 2111 h 10000"/>
                  <a:gd name="connsiteX1184" fmla="*/ 5364 w 10785"/>
                  <a:gd name="connsiteY1184" fmla="*/ 2111 h 10000"/>
                  <a:gd name="connsiteX1185" fmla="*/ 5359 w 10785"/>
                  <a:gd name="connsiteY1185" fmla="*/ 2103 h 10000"/>
                  <a:gd name="connsiteX1186" fmla="*/ 5359 w 10785"/>
                  <a:gd name="connsiteY1186" fmla="*/ 2120 h 10000"/>
                  <a:gd name="connsiteX1187" fmla="*/ 5359 w 10785"/>
                  <a:gd name="connsiteY1187" fmla="*/ 2137 h 10000"/>
                  <a:gd name="connsiteX1188" fmla="*/ 5313 w 10785"/>
                  <a:gd name="connsiteY1188" fmla="*/ 2162 h 10000"/>
                  <a:gd name="connsiteX1189" fmla="*/ 5300 w 10785"/>
                  <a:gd name="connsiteY1189" fmla="*/ 2162 h 10000"/>
                  <a:gd name="connsiteX1190" fmla="*/ 5300 w 10785"/>
                  <a:gd name="connsiteY1190" fmla="*/ 2171 h 10000"/>
                  <a:gd name="connsiteX1191" fmla="*/ 5300 w 10785"/>
                  <a:gd name="connsiteY1191" fmla="*/ 2197 h 10000"/>
                  <a:gd name="connsiteX1192" fmla="*/ 5276 w 10785"/>
                  <a:gd name="connsiteY1192" fmla="*/ 2188 h 10000"/>
                  <a:gd name="connsiteX1193" fmla="*/ 5249 w 10785"/>
                  <a:gd name="connsiteY1193" fmla="*/ 2222 h 10000"/>
                  <a:gd name="connsiteX1194" fmla="*/ 5249 w 10785"/>
                  <a:gd name="connsiteY1194" fmla="*/ 2222 h 10000"/>
                  <a:gd name="connsiteX1195" fmla="*/ 5217 w 10785"/>
                  <a:gd name="connsiteY1195" fmla="*/ 2214 h 10000"/>
                  <a:gd name="connsiteX1196" fmla="*/ 5203 w 10785"/>
                  <a:gd name="connsiteY1196" fmla="*/ 2239 h 10000"/>
                  <a:gd name="connsiteX1197" fmla="*/ 5171 w 10785"/>
                  <a:gd name="connsiteY1197" fmla="*/ 2214 h 10000"/>
                  <a:gd name="connsiteX1198" fmla="*/ 5157 w 10785"/>
                  <a:gd name="connsiteY1198" fmla="*/ 2239 h 10000"/>
                  <a:gd name="connsiteX1199" fmla="*/ 5166 w 10785"/>
                  <a:gd name="connsiteY1199" fmla="*/ 2256 h 10000"/>
                  <a:gd name="connsiteX1200" fmla="*/ 5171 w 10785"/>
                  <a:gd name="connsiteY1200" fmla="*/ 2308 h 10000"/>
                  <a:gd name="connsiteX1201" fmla="*/ 5212 w 10785"/>
                  <a:gd name="connsiteY1201" fmla="*/ 2350 h 10000"/>
                  <a:gd name="connsiteX1202" fmla="*/ 5203 w 10785"/>
                  <a:gd name="connsiteY1202" fmla="*/ 2350 h 10000"/>
                  <a:gd name="connsiteX1203" fmla="*/ 5166 w 10785"/>
                  <a:gd name="connsiteY1203" fmla="*/ 2325 h 10000"/>
                  <a:gd name="connsiteX1204" fmla="*/ 5152 w 10785"/>
                  <a:gd name="connsiteY1204" fmla="*/ 2308 h 10000"/>
                  <a:gd name="connsiteX1205" fmla="*/ 5143 w 10785"/>
                  <a:gd name="connsiteY1205" fmla="*/ 2333 h 10000"/>
                  <a:gd name="connsiteX1206" fmla="*/ 5138 w 10785"/>
                  <a:gd name="connsiteY1206" fmla="*/ 2333 h 10000"/>
                  <a:gd name="connsiteX1207" fmla="*/ 5124 w 10785"/>
                  <a:gd name="connsiteY1207" fmla="*/ 2376 h 10000"/>
                  <a:gd name="connsiteX1208" fmla="*/ 5115 w 10785"/>
                  <a:gd name="connsiteY1208" fmla="*/ 2385 h 10000"/>
                  <a:gd name="connsiteX1209" fmla="*/ 5106 w 10785"/>
                  <a:gd name="connsiteY1209" fmla="*/ 2385 h 10000"/>
                  <a:gd name="connsiteX1210" fmla="*/ 5055 w 10785"/>
                  <a:gd name="connsiteY1210" fmla="*/ 2470 h 10000"/>
                  <a:gd name="connsiteX1211" fmla="*/ 5065 w 10785"/>
                  <a:gd name="connsiteY1211" fmla="*/ 2462 h 10000"/>
                  <a:gd name="connsiteX1212" fmla="*/ 5055 w 10785"/>
                  <a:gd name="connsiteY1212" fmla="*/ 2444 h 10000"/>
                  <a:gd name="connsiteX1213" fmla="*/ 5041 w 10785"/>
                  <a:gd name="connsiteY1213" fmla="*/ 2462 h 10000"/>
                  <a:gd name="connsiteX1214" fmla="*/ 5037 w 10785"/>
                  <a:gd name="connsiteY1214" fmla="*/ 2470 h 10000"/>
                  <a:gd name="connsiteX1215" fmla="*/ 5032 w 10785"/>
                  <a:gd name="connsiteY1215" fmla="*/ 2470 h 10000"/>
                  <a:gd name="connsiteX1216" fmla="*/ 5032 w 10785"/>
                  <a:gd name="connsiteY1216" fmla="*/ 2444 h 10000"/>
                  <a:gd name="connsiteX1217" fmla="*/ 5055 w 10785"/>
                  <a:gd name="connsiteY1217" fmla="*/ 2410 h 10000"/>
                  <a:gd name="connsiteX1218" fmla="*/ 5065 w 10785"/>
                  <a:gd name="connsiteY1218" fmla="*/ 2393 h 10000"/>
                  <a:gd name="connsiteX1219" fmla="*/ 5069 w 10785"/>
                  <a:gd name="connsiteY1219" fmla="*/ 2385 h 10000"/>
                  <a:gd name="connsiteX1220" fmla="*/ 5083 w 10785"/>
                  <a:gd name="connsiteY1220" fmla="*/ 2376 h 10000"/>
                  <a:gd name="connsiteX1221" fmla="*/ 5097 w 10785"/>
                  <a:gd name="connsiteY1221" fmla="*/ 2376 h 10000"/>
                  <a:gd name="connsiteX1222" fmla="*/ 5124 w 10785"/>
                  <a:gd name="connsiteY1222" fmla="*/ 2325 h 10000"/>
                  <a:gd name="connsiteX1223" fmla="*/ 5143 w 10785"/>
                  <a:gd name="connsiteY1223" fmla="*/ 2248 h 10000"/>
                  <a:gd name="connsiteX1224" fmla="*/ 5152 w 10785"/>
                  <a:gd name="connsiteY1224" fmla="*/ 2239 h 10000"/>
                  <a:gd name="connsiteX1225" fmla="*/ 5166 w 10785"/>
                  <a:gd name="connsiteY1225" fmla="*/ 2162 h 10000"/>
                  <a:gd name="connsiteX1226" fmla="*/ 5171 w 10785"/>
                  <a:gd name="connsiteY1226" fmla="*/ 2171 h 10000"/>
                  <a:gd name="connsiteX1227" fmla="*/ 5198 w 10785"/>
                  <a:gd name="connsiteY1227" fmla="*/ 2145 h 10000"/>
                  <a:gd name="connsiteX1228" fmla="*/ 5203 w 10785"/>
                  <a:gd name="connsiteY1228" fmla="*/ 2111 h 10000"/>
                  <a:gd name="connsiteX1229" fmla="*/ 5217 w 10785"/>
                  <a:gd name="connsiteY1229" fmla="*/ 2060 h 10000"/>
                  <a:gd name="connsiteX1230" fmla="*/ 5226 w 10785"/>
                  <a:gd name="connsiteY1230" fmla="*/ 2026 h 10000"/>
                  <a:gd name="connsiteX1231" fmla="*/ 5286 w 10785"/>
                  <a:gd name="connsiteY1231" fmla="*/ 2026 h 10000"/>
                  <a:gd name="connsiteX1232" fmla="*/ 5290 w 10785"/>
                  <a:gd name="connsiteY1232" fmla="*/ 2034 h 10000"/>
                  <a:gd name="connsiteX1233" fmla="*/ 5323 w 10785"/>
                  <a:gd name="connsiteY1233" fmla="*/ 1923 h 10000"/>
                  <a:gd name="connsiteX1234" fmla="*/ 5323 w 10785"/>
                  <a:gd name="connsiteY1234" fmla="*/ 1889 h 10000"/>
                  <a:gd name="connsiteX1235" fmla="*/ 5359 w 10785"/>
                  <a:gd name="connsiteY1235" fmla="*/ 1829 h 10000"/>
                  <a:gd name="connsiteX1236" fmla="*/ 5378 w 10785"/>
                  <a:gd name="connsiteY1236" fmla="*/ 1812 h 10000"/>
                  <a:gd name="connsiteX1237" fmla="*/ 5406 w 10785"/>
                  <a:gd name="connsiteY1237" fmla="*/ 1752 h 10000"/>
                  <a:gd name="connsiteX1238" fmla="*/ 5410 w 10785"/>
                  <a:gd name="connsiteY1238" fmla="*/ 1718 h 10000"/>
                  <a:gd name="connsiteX1239" fmla="*/ 5438 w 10785"/>
                  <a:gd name="connsiteY1239" fmla="*/ 1667 h 10000"/>
                  <a:gd name="connsiteX1240" fmla="*/ 5438 w 10785"/>
                  <a:gd name="connsiteY1240" fmla="*/ 1650 h 10000"/>
                  <a:gd name="connsiteX1241" fmla="*/ 5438 w 10785"/>
                  <a:gd name="connsiteY1241" fmla="*/ 1641 h 10000"/>
                  <a:gd name="connsiteX1242" fmla="*/ 5452 w 10785"/>
                  <a:gd name="connsiteY1242" fmla="*/ 1641 h 10000"/>
                  <a:gd name="connsiteX1243" fmla="*/ 5456 w 10785"/>
                  <a:gd name="connsiteY1243" fmla="*/ 1615 h 10000"/>
                  <a:gd name="connsiteX1244" fmla="*/ 5456 w 10785"/>
                  <a:gd name="connsiteY1244" fmla="*/ 1615 h 10000"/>
                  <a:gd name="connsiteX1245" fmla="*/ 5465 w 10785"/>
                  <a:gd name="connsiteY1245" fmla="*/ 1598 h 10000"/>
                  <a:gd name="connsiteX1246" fmla="*/ 5465 w 10785"/>
                  <a:gd name="connsiteY1246" fmla="*/ 1615 h 10000"/>
                  <a:gd name="connsiteX1247" fmla="*/ 5479 w 10785"/>
                  <a:gd name="connsiteY1247" fmla="*/ 1598 h 10000"/>
                  <a:gd name="connsiteX1248" fmla="*/ 5484 w 10785"/>
                  <a:gd name="connsiteY1248" fmla="*/ 1581 h 10000"/>
                  <a:gd name="connsiteX1249" fmla="*/ 5493 w 10785"/>
                  <a:gd name="connsiteY1249" fmla="*/ 1581 h 10000"/>
                  <a:gd name="connsiteX1250" fmla="*/ 5512 w 10785"/>
                  <a:gd name="connsiteY1250" fmla="*/ 1538 h 10000"/>
                  <a:gd name="connsiteX1251" fmla="*/ 5530 w 10785"/>
                  <a:gd name="connsiteY1251" fmla="*/ 1564 h 10000"/>
                  <a:gd name="connsiteX1252" fmla="*/ 5530 w 10785"/>
                  <a:gd name="connsiteY1252" fmla="*/ 1538 h 10000"/>
                  <a:gd name="connsiteX1253" fmla="*/ 5539 w 10785"/>
                  <a:gd name="connsiteY1253" fmla="*/ 1530 h 10000"/>
                  <a:gd name="connsiteX1254" fmla="*/ 5530 w 10785"/>
                  <a:gd name="connsiteY1254" fmla="*/ 1504 h 10000"/>
                  <a:gd name="connsiteX1255" fmla="*/ 5567 w 10785"/>
                  <a:gd name="connsiteY1255" fmla="*/ 1479 h 10000"/>
                  <a:gd name="connsiteX1256" fmla="*/ 5553 w 10785"/>
                  <a:gd name="connsiteY1256" fmla="*/ 1479 h 10000"/>
                  <a:gd name="connsiteX1257" fmla="*/ 5553 w 10785"/>
                  <a:gd name="connsiteY1257" fmla="*/ 1453 h 10000"/>
                  <a:gd name="connsiteX1258" fmla="*/ 5581 w 10785"/>
                  <a:gd name="connsiteY1258" fmla="*/ 1444 h 10000"/>
                  <a:gd name="connsiteX1259" fmla="*/ 5581 w 10785"/>
                  <a:gd name="connsiteY1259" fmla="*/ 1453 h 10000"/>
                  <a:gd name="connsiteX1260" fmla="*/ 5585 w 10785"/>
                  <a:gd name="connsiteY1260" fmla="*/ 1444 h 10000"/>
                  <a:gd name="connsiteX1261" fmla="*/ 5594 w 10785"/>
                  <a:gd name="connsiteY1261" fmla="*/ 1427 h 10000"/>
                  <a:gd name="connsiteX1262" fmla="*/ 5599 w 10785"/>
                  <a:gd name="connsiteY1262" fmla="*/ 1419 h 10000"/>
                  <a:gd name="connsiteX1263" fmla="*/ 5594 w 10785"/>
                  <a:gd name="connsiteY1263" fmla="*/ 1402 h 10000"/>
                  <a:gd name="connsiteX1264" fmla="*/ 5604 w 10785"/>
                  <a:gd name="connsiteY1264" fmla="*/ 1393 h 10000"/>
                  <a:gd name="connsiteX1265" fmla="*/ 5618 w 10785"/>
                  <a:gd name="connsiteY1265" fmla="*/ 1393 h 10000"/>
                  <a:gd name="connsiteX1266" fmla="*/ 5627 w 10785"/>
                  <a:gd name="connsiteY1266" fmla="*/ 1368 h 10000"/>
                  <a:gd name="connsiteX1267" fmla="*/ 5627 w 10785"/>
                  <a:gd name="connsiteY1267" fmla="*/ 1325 h 10000"/>
                  <a:gd name="connsiteX1268" fmla="*/ 5645 w 10785"/>
                  <a:gd name="connsiteY1268" fmla="*/ 1291 h 10000"/>
                  <a:gd name="connsiteX1269" fmla="*/ 5645 w 10785"/>
                  <a:gd name="connsiteY1269" fmla="*/ 1282 h 10000"/>
                  <a:gd name="connsiteX1270" fmla="*/ 5654 w 10785"/>
                  <a:gd name="connsiteY1270" fmla="*/ 1265 h 10000"/>
                  <a:gd name="connsiteX1271" fmla="*/ 5654 w 10785"/>
                  <a:gd name="connsiteY1271" fmla="*/ 1214 h 10000"/>
                  <a:gd name="connsiteX1272" fmla="*/ 5654 w 10785"/>
                  <a:gd name="connsiteY1272" fmla="*/ 1214 h 10000"/>
                  <a:gd name="connsiteX1273" fmla="*/ 5645 w 10785"/>
                  <a:gd name="connsiteY1273" fmla="*/ 1197 h 10000"/>
                  <a:gd name="connsiteX1274" fmla="*/ 5659 w 10785"/>
                  <a:gd name="connsiteY1274" fmla="*/ 1197 h 10000"/>
                  <a:gd name="connsiteX1275" fmla="*/ 5654 w 10785"/>
                  <a:gd name="connsiteY1275" fmla="*/ 1154 h 10000"/>
                  <a:gd name="connsiteX1276" fmla="*/ 5641 w 10785"/>
                  <a:gd name="connsiteY1276" fmla="*/ 1154 h 10000"/>
                  <a:gd name="connsiteX1277" fmla="*/ 5627 w 10785"/>
                  <a:gd name="connsiteY1277" fmla="*/ 1128 h 10000"/>
                  <a:gd name="connsiteX1278" fmla="*/ 5618 w 10785"/>
                  <a:gd name="connsiteY1278" fmla="*/ 1094 h 10000"/>
                  <a:gd name="connsiteX1279" fmla="*/ 5613 w 10785"/>
                  <a:gd name="connsiteY1279" fmla="*/ 1094 h 10000"/>
                  <a:gd name="connsiteX1280" fmla="*/ 5604 w 10785"/>
                  <a:gd name="connsiteY1280" fmla="*/ 1120 h 10000"/>
                  <a:gd name="connsiteX1281" fmla="*/ 5604 w 10785"/>
                  <a:gd name="connsiteY1281" fmla="*/ 1128 h 10000"/>
                  <a:gd name="connsiteX1282" fmla="*/ 5599 w 10785"/>
                  <a:gd name="connsiteY1282" fmla="*/ 1103 h 10000"/>
                  <a:gd name="connsiteX1283" fmla="*/ 5599 w 10785"/>
                  <a:gd name="connsiteY1283" fmla="*/ 1103 h 10000"/>
                  <a:gd name="connsiteX1284" fmla="*/ 5594 w 10785"/>
                  <a:gd name="connsiteY1284" fmla="*/ 1068 h 10000"/>
                  <a:gd name="connsiteX1285" fmla="*/ 5594 w 10785"/>
                  <a:gd name="connsiteY1285" fmla="*/ 1060 h 10000"/>
                  <a:gd name="connsiteX1286" fmla="*/ 5581 w 10785"/>
                  <a:gd name="connsiteY1286" fmla="*/ 1034 h 10000"/>
                  <a:gd name="connsiteX1287" fmla="*/ 5571 w 10785"/>
                  <a:gd name="connsiteY1287" fmla="*/ 1009 h 10000"/>
                  <a:gd name="connsiteX1288" fmla="*/ 5571 w 10785"/>
                  <a:gd name="connsiteY1288" fmla="*/ 991 h 10000"/>
                  <a:gd name="connsiteX1289" fmla="*/ 5585 w 10785"/>
                  <a:gd name="connsiteY1289" fmla="*/ 1009 h 10000"/>
                  <a:gd name="connsiteX1290" fmla="*/ 5604 w 10785"/>
                  <a:gd name="connsiteY1290" fmla="*/ 1043 h 10000"/>
                  <a:gd name="connsiteX1291" fmla="*/ 5641 w 10785"/>
                  <a:gd name="connsiteY1291" fmla="*/ 1094 h 10000"/>
                  <a:gd name="connsiteX1292" fmla="*/ 5631 w 10785"/>
                  <a:gd name="connsiteY1292" fmla="*/ 1128 h 10000"/>
                  <a:gd name="connsiteX1293" fmla="*/ 5641 w 10785"/>
                  <a:gd name="connsiteY1293" fmla="*/ 1128 h 10000"/>
                  <a:gd name="connsiteX1294" fmla="*/ 5659 w 10785"/>
                  <a:gd name="connsiteY1294" fmla="*/ 1017 h 10000"/>
                  <a:gd name="connsiteX1295" fmla="*/ 5659 w 10785"/>
                  <a:gd name="connsiteY1295" fmla="*/ 983 h 10000"/>
                  <a:gd name="connsiteX1296" fmla="*/ 5659 w 10785"/>
                  <a:gd name="connsiteY1296" fmla="*/ 957 h 10000"/>
                  <a:gd name="connsiteX1297" fmla="*/ 5654 w 10785"/>
                  <a:gd name="connsiteY1297" fmla="*/ 966 h 10000"/>
                  <a:gd name="connsiteX1298" fmla="*/ 5641 w 10785"/>
                  <a:gd name="connsiteY1298" fmla="*/ 957 h 10000"/>
                  <a:gd name="connsiteX1299" fmla="*/ 5631 w 10785"/>
                  <a:gd name="connsiteY1299" fmla="*/ 897 h 10000"/>
                  <a:gd name="connsiteX1300" fmla="*/ 5641 w 10785"/>
                  <a:gd name="connsiteY1300" fmla="*/ 872 h 10000"/>
                  <a:gd name="connsiteX1301" fmla="*/ 5618 w 10785"/>
                  <a:gd name="connsiteY1301" fmla="*/ 803 h 10000"/>
                  <a:gd name="connsiteX1302" fmla="*/ 5604 w 10785"/>
                  <a:gd name="connsiteY1302" fmla="*/ 821 h 10000"/>
                  <a:gd name="connsiteX1303" fmla="*/ 5613 w 10785"/>
                  <a:gd name="connsiteY1303" fmla="*/ 846 h 10000"/>
                  <a:gd name="connsiteX1304" fmla="*/ 5604 w 10785"/>
                  <a:gd name="connsiteY1304" fmla="*/ 855 h 10000"/>
                  <a:gd name="connsiteX1305" fmla="*/ 5599 w 10785"/>
                  <a:gd name="connsiteY1305" fmla="*/ 880 h 10000"/>
                  <a:gd name="connsiteX1306" fmla="*/ 5594 w 10785"/>
                  <a:gd name="connsiteY1306" fmla="*/ 880 h 10000"/>
                  <a:gd name="connsiteX1307" fmla="*/ 5585 w 10785"/>
                  <a:gd name="connsiteY1307" fmla="*/ 829 h 10000"/>
                  <a:gd name="connsiteX1308" fmla="*/ 5571 w 10785"/>
                  <a:gd name="connsiteY1308" fmla="*/ 803 h 10000"/>
                  <a:gd name="connsiteX1309" fmla="*/ 5585 w 10785"/>
                  <a:gd name="connsiteY1309" fmla="*/ 795 h 10000"/>
                  <a:gd name="connsiteX1310" fmla="*/ 5585 w 10785"/>
                  <a:gd name="connsiteY1310" fmla="*/ 761 h 10000"/>
                  <a:gd name="connsiteX1311" fmla="*/ 5558 w 10785"/>
                  <a:gd name="connsiteY1311" fmla="*/ 709 h 10000"/>
                  <a:gd name="connsiteX1312" fmla="*/ 5544 w 10785"/>
                  <a:gd name="connsiteY1312" fmla="*/ 709 h 10000"/>
                  <a:gd name="connsiteX1313" fmla="*/ 5544 w 10785"/>
                  <a:gd name="connsiteY1313" fmla="*/ 684 h 10000"/>
                  <a:gd name="connsiteX1314" fmla="*/ 5525 w 10785"/>
                  <a:gd name="connsiteY1314" fmla="*/ 632 h 10000"/>
                  <a:gd name="connsiteX1315" fmla="*/ 5507 w 10785"/>
                  <a:gd name="connsiteY1315" fmla="*/ 607 h 10000"/>
                  <a:gd name="connsiteX1316" fmla="*/ 5512 w 10785"/>
                  <a:gd name="connsiteY1316" fmla="*/ 598 h 10000"/>
                  <a:gd name="connsiteX1317" fmla="*/ 5507 w 10785"/>
                  <a:gd name="connsiteY1317" fmla="*/ 581 h 10000"/>
                  <a:gd name="connsiteX1318" fmla="*/ 5493 w 10785"/>
                  <a:gd name="connsiteY1318" fmla="*/ 573 h 10000"/>
                  <a:gd name="connsiteX1319" fmla="*/ 5484 w 10785"/>
                  <a:gd name="connsiteY1319" fmla="*/ 581 h 10000"/>
                  <a:gd name="connsiteX1320" fmla="*/ 5484 w 10785"/>
                  <a:gd name="connsiteY1320" fmla="*/ 573 h 10000"/>
                  <a:gd name="connsiteX1321" fmla="*/ 5484 w 10785"/>
                  <a:gd name="connsiteY1321" fmla="*/ 547 h 10000"/>
                  <a:gd name="connsiteX1322" fmla="*/ 5465 w 10785"/>
                  <a:gd name="connsiteY1322" fmla="*/ 556 h 10000"/>
                  <a:gd name="connsiteX1323" fmla="*/ 5433 w 10785"/>
                  <a:gd name="connsiteY1323" fmla="*/ 547 h 10000"/>
                  <a:gd name="connsiteX1324" fmla="*/ 5410 w 10785"/>
                  <a:gd name="connsiteY1324" fmla="*/ 573 h 10000"/>
                  <a:gd name="connsiteX1325" fmla="*/ 5406 w 10785"/>
                  <a:gd name="connsiteY1325" fmla="*/ 573 h 10000"/>
                  <a:gd name="connsiteX1326" fmla="*/ 5392 w 10785"/>
                  <a:gd name="connsiteY1326" fmla="*/ 573 h 10000"/>
                  <a:gd name="connsiteX1327" fmla="*/ 5364 w 10785"/>
                  <a:gd name="connsiteY1327" fmla="*/ 530 h 10000"/>
                  <a:gd name="connsiteX1328" fmla="*/ 5350 w 10785"/>
                  <a:gd name="connsiteY1328" fmla="*/ 556 h 10000"/>
                  <a:gd name="connsiteX1329" fmla="*/ 5346 w 10785"/>
                  <a:gd name="connsiteY1329" fmla="*/ 556 h 10000"/>
                  <a:gd name="connsiteX1330" fmla="*/ 5313 w 10785"/>
                  <a:gd name="connsiteY1330" fmla="*/ 573 h 10000"/>
                  <a:gd name="connsiteX1331" fmla="*/ 5304 w 10785"/>
                  <a:gd name="connsiteY1331" fmla="*/ 556 h 10000"/>
                  <a:gd name="connsiteX1332" fmla="*/ 5290 w 10785"/>
                  <a:gd name="connsiteY1332" fmla="*/ 573 h 10000"/>
                  <a:gd name="connsiteX1333" fmla="*/ 5290 w 10785"/>
                  <a:gd name="connsiteY1333" fmla="*/ 556 h 10000"/>
                  <a:gd name="connsiteX1334" fmla="*/ 5300 w 10785"/>
                  <a:gd name="connsiteY1334" fmla="*/ 547 h 10000"/>
                  <a:gd name="connsiteX1335" fmla="*/ 5300 w 10785"/>
                  <a:gd name="connsiteY1335" fmla="*/ 530 h 10000"/>
                  <a:gd name="connsiteX1336" fmla="*/ 5290 w 10785"/>
                  <a:gd name="connsiteY1336" fmla="*/ 530 h 10000"/>
                  <a:gd name="connsiteX1337" fmla="*/ 5286 w 10785"/>
                  <a:gd name="connsiteY1337" fmla="*/ 547 h 10000"/>
                  <a:gd name="connsiteX1338" fmla="*/ 5272 w 10785"/>
                  <a:gd name="connsiteY1338" fmla="*/ 556 h 10000"/>
                  <a:gd name="connsiteX1339" fmla="*/ 5272 w 10785"/>
                  <a:gd name="connsiteY1339" fmla="*/ 598 h 10000"/>
                  <a:gd name="connsiteX1340" fmla="*/ 5276 w 10785"/>
                  <a:gd name="connsiteY1340" fmla="*/ 581 h 10000"/>
                  <a:gd name="connsiteX1341" fmla="*/ 5272 w 10785"/>
                  <a:gd name="connsiteY1341" fmla="*/ 607 h 10000"/>
                  <a:gd name="connsiteX1342" fmla="*/ 5263 w 10785"/>
                  <a:gd name="connsiteY1342" fmla="*/ 607 h 10000"/>
                  <a:gd name="connsiteX1343" fmla="*/ 5263 w 10785"/>
                  <a:gd name="connsiteY1343" fmla="*/ 632 h 10000"/>
                  <a:gd name="connsiteX1344" fmla="*/ 5258 w 10785"/>
                  <a:gd name="connsiteY1344" fmla="*/ 658 h 10000"/>
                  <a:gd name="connsiteX1345" fmla="*/ 5244 w 10785"/>
                  <a:gd name="connsiteY1345" fmla="*/ 667 h 10000"/>
                  <a:gd name="connsiteX1346" fmla="*/ 5240 w 10785"/>
                  <a:gd name="connsiteY1346" fmla="*/ 658 h 10000"/>
                  <a:gd name="connsiteX1347" fmla="*/ 5240 w 10785"/>
                  <a:gd name="connsiteY1347" fmla="*/ 684 h 10000"/>
                  <a:gd name="connsiteX1348" fmla="*/ 5212 w 10785"/>
                  <a:gd name="connsiteY1348" fmla="*/ 684 h 10000"/>
                  <a:gd name="connsiteX1349" fmla="*/ 5198 w 10785"/>
                  <a:gd name="connsiteY1349" fmla="*/ 692 h 10000"/>
                  <a:gd name="connsiteX1350" fmla="*/ 5184 w 10785"/>
                  <a:gd name="connsiteY1350" fmla="*/ 684 h 10000"/>
                  <a:gd name="connsiteX1351" fmla="*/ 5157 w 10785"/>
                  <a:gd name="connsiteY1351" fmla="*/ 684 h 10000"/>
                  <a:gd name="connsiteX1352" fmla="*/ 5157 w 10785"/>
                  <a:gd name="connsiteY1352" fmla="*/ 667 h 10000"/>
                  <a:gd name="connsiteX1353" fmla="*/ 5157 w 10785"/>
                  <a:gd name="connsiteY1353" fmla="*/ 667 h 10000"/>
                  <a:gd name="connsiteX1354" fmla="*/ 5180 w 10785"/>
                  <a:gd name="connsiteY1354" fmla="*/ 650 h 10000"/>
                  <a:gd name="connsiteX1355" fmla="*/ 5184 w 10785"/>
                  <a:gd name="connsiteY1355" fmla="*/ 658 h 10000"/>
                  <a:gd name="connsiteX1356" fmla="*/ 5203 w 10785"/>
                  <a:gd name="connsiteY1356" fmla="*/ 547 h 10000"/>
                  <a:gd name="connsiteX1357" fmla="*/ 5226 w 10785"/>
                  <a:gd name="connsiteY1357" fmla="*/ 530 h 10000"/>
                  <a:gd name="connsiteX1358" fmla="*/ 5230 w 10785"/>
                  <a:gd name="connsiteY1358" fmla="*/ 487 h 10000"/>
                  <a:gd name="connsiteX1359" fmla="*/ 5230 w 10785"/>
                  <a:gd name="connsiteY1359" fmla="*/ 487 h 10000"/>
                  <a:gd name="connsiteX1360" fmla="*/ 5226 w 10785"/>
                  <a:gd name="connsiteY1360" fmla="*/ 462 h 10000"/>
                  <a:gd name="connsiteX1361" fmla="*/ 5226 w 10785"/>
                  <a:gd name="connsiteY1361" fmla="*/ 462 h 10000"/>
                  <a:gd name="connsiteX1362" fmla="*/ 5240 w 10785"/>
                  <a:gd name="connsiteY1362" fmla="*/ 462 h 10000"/>
                  <a:gd name="connsiteX1363" fmla="*/ 5240 w 10785"/>
                  <a:gd name="connsiteY1363" fmla="*/ 444 h 10000"/>
                  <a:gd name="connsiteX1364" fmla="*/ 5230 w 10785"/>
                  <a:gd name="connsiteY1364" fmla="*/ 436 h 10000"/>
                  <a:gd name="connsiteX1365" fmla="*/ 5230 w 10785"/>
                  <a:gd name="connsiteY1365" fmla="*/ 419 h 10000"/>
                  <a:gd name="connsiteX1366" fmla="*/ 5230 w 10785"/>
                  <a:gd name="connsiteY1366" fmla="*/ 410 h 10000"/>
                  <a:gd name="connsiteX1367" fmla="*/ 5198 w 10785"/>
                  <a:gd name="connsiteY1367" fmla="*/ 402 h 10000"/>
                  <a:gd name="connsiteX1368" fmla="*/ 5189 w 10785"/>
                  <a:gd name="connsiteY1368" fmla="*/ 402 h 10000"/>
                  <a:gd name="connsiteX1369" fmla="*/ 5184 w 10785"/>
                  <a:gd name="connsiteY1369" fmla="*/ 376 h 10000"/>
                  <a:gd name="connsiteX1370" fmla="*/ 5180 w 10785"/>
                  <a:gd name="connsiteY1370" fmla="*/ 376 h 10000"/>
                  <a:gd name="connsiteX1371" fmla="*/ 5166 w 10785"/>
                  <a:gd name="connsiteY1371" fmla="*/ 376 h 10000"/>
                  <a:gd name="connsiteX1372" fmla="*/ 5157 w 10785"/>
                  <a:gd name="connsiteY1372" fmla="*/ 385 h 10000"/>
                  <a:gd name="connsiteX1373" fmla="*/ 5152 w 10785"/>
                  <a:gd name="connsiteY1373" fmla="*/ 376 h 10000"/>
                  <a:gd name="connsiteX1374" fmla="*/ 5129 w 10785"/>
                  <a:gd name="connsiteY1374" fmla="*/ 385 h 10000"/>
                  <a:gd name="connsiteX1375" fmla="*/ 5129 w 10785"/>
                  <a:gd name="connsiteY1375" fmla="*/ 350 h 10000"/>
                  <a:gd name="connsiteX1376" fmla="*/ 5129 w 10785"/>
                  <a:gd name="connsiteY1376" fmla="*/ 325 h 10000"/>
                  <a:gd name="connsiteX1377" fmla="*/ 5124 w 10785"/>
                  <a:gd name="connsiteY1377" fmla="*/ 359 h 10000"/>
                  <a:gd name="connsiteX1378" fmla="*/ 5106 w 10785"/>
                  <a:gd name="connsiteY1378" fmla="*/ 359 h 10000"/>
                  <a:gd name="connsiteX1379" fmla="*/ 5037 w 10785"/>
                  <a:gd name="connsiteY1379" fmla="*/ 419 h 10000"/>
                  <a:gd name="connsiteX1380" fmla="*/ 5051 w 10785"/>
                  <a:gd name="connsiteY1380" fmla="*/ 385 h 10000"/>
                  <a:gd name="connsiteX1381" fmla="*/ 5055 w 10785"/>
                  <a:gd name="connsiteY1381" fmla="*/ 376 h 10000"/>
                  <a:gd name="connsiteX1382" fmla="*/ 5092 w 10785"/>
                  <a:gd name="connsiteY1382" fmla="*/ 282 h 10000"/>
                  <a:gd name="connsiteX1383" fmla="*/ 5106 w 10785"/>
                  <a:gd name="connsiteY1383" fmla="*/ 265 h 10000"/>
                  <a:gd name="connsiteX1384" fmla="*/ 5115 w 10785"/>
                  <a:gd name="connsiteY1384" fmla="*/ 265 h 10000"/>
                  <a:gd name="connsiteX1385" fmla="*/ 5124 w 10785"/>
                  <a:gd name="connsiteY1385" fmla="*/ 222 h 10000"/>
                  <a:gd name="connsiteX1386" fmla="*/ 5124 w 10785"/>
                  <a:gd name="connsiteY1386" fmla="*/ 214 h 10000"/>
                  <a:gd name="connsiteX1387" fmla="*/ 5143 w 10785"/>
                  <a:gd name="connsiteY1387" fmla="*/ 197 h 10000"/>
                  <a:gd name="connsiteX1388" fmla="*/ 5152 w 10785"/>
                  <a:gd name="connsiteY1388" fmla="*/ 214 h 10000"/>
                  <a:gd name="connsiteX1389" fmla="*/ 5143 w 10785"/>
                  <a:gd name="connsiteY1389" fmla="*/ 188 h 10000"/>
                  <a:gd name="connsiteX1390" fmla="*/ 5129 w 10785"/>
                  <a:gd name="connsiteY1390" fmla="*/ 103 h 10000"/>
                  <a:gd name="connsiteX1391" fmla="*/ 5115 w 10785"/>
                  <a:gd name="connsiteY1391" fmla="*/ 85 h 10000"/>
                  <a:gd name="connsiteX1392" fmla="*/ 5111 w 10785"/>
                  <a:gd name="connsiteY1392" fmla="*/ 111 h 10000"/>
                  <a:gd name="connsiteX1393" fmla="*/ 5092 w 10785"/>
                  <a:gd name="connsiteY1393" fmla="*/ 103 h 10000"/>
                  <a:gd name="connsiteX1394" fmla="*/ 5069 w 10785"/>
                  <a:gd name="connsiteY1394" fmla="*/ 77 h 10000"/>
                  <a:gd name="connsiteX1395" fmla="*/ 5051 w 10785"/>
                  <a:gd name="connsiteY1395" fmla="*/ 26 h 10000"/>
                  <a:gd name="connsiteX1396" fmla="*/ 5041 w 10785"/>
                  <a:gd name="connsiteY1396" fmla="*/ 34 h 10000"/>
                  <a:gd name="connsiteX1397" fmla="*/ 5037 w 10785"/>
                  <a:gd name="connsiteY1397" fmla="*/ 34 h 10000"/>
                  <a:gd name="connsiteX1398" fmla="*/ 5037 w 10785"/>
                  <a:gd name="connsiteY1398" fmla="*/ 26 h 10000"/>
                  <a:gd name="connsiteX1399" fmla="*/ 5037 w 10785"/>
                  <a:gd name="connsiteY1399" fmla="*/ 9 h 10000"/>
                  <a:gd name="connsiteX1400" fmla="*/ 5023 w 10785"/>
                  <a:gd name="connsiteY1400" fmla="*/ 0 h 10000"/>
                  <a:gd name="connsiteX1401" fmla="*/ 5009 w 10785"/>
                  <a:gd name="connsiteY1401" fmla="*/ 9 h 10000"/>
                  <a:gd name="connsiteX1402" fmla="*/ 4995 w 10785"/>
                  <a:gd name="connsiteY1402" fmla="*/ 34 h 10000"/>
                  <a:gd name="connsiteX1403" fmla="*/ 4991 w 10785"/>
                  <a:gd name="connsiteY1403" fmla="*/ 60 h 10000"/>
                  <a:gd name="connsiteX1404" fmla="*/ 4982 w 10785"/>
                  <a:gd name="connsiteY1404" fmla="*/ 60 h 10000"/>
                  <a:gd name="connsiteX1405" fmla="*/ 4949 w 10785"/>
                  <a:gd name="connsiteY1405" fmla="*/ 51 h 10000"/>
                  <a:gd name="connsiteX1406" fmla="*/ 4949 w 10785"/>
                  <a:gd name="connsiteY1406" fmla="*/ 85 h 10000"/>
                  <a:gd name="connsiteX1407" fmla="*/ 4903 w 10785"/>
                  <a:gd name="connsiteY1407" fmla="*/ 197 h 10000"/>
                  <a:gd name="connsiteX1408" fmla="*/ 4899 w 10785"/>
                  <a:gd name="connsiteY1408" fmla="*/ 239 h 10000"/>
                  <a:gd name="connsiteX1409" fmla="*/ 4871 w 10785"/>
                  <a:gd name="connsiteY1409" fmla="*/ 274 h 10000"/>
                  <a:gd name="connsiteX1410" fmla="*/ 4871 w 10785"/>
                  <a:gd name="connsiteY1410" fmla="*/ 282 h 10000"/>
                  <a:gd name="connsiteX1411" fmla="*/ 4834 w 10785"/>
                  <a:gd name="connsiteY1411" fmla="*/ 376 h 10000"/>
                  <a:gd name="connsiteX1412" fmla="*/ 4829 w 10785"/>
                  <a:gd name="connsiteY1412" fmla="*/ 402 h 10000"/>
                  <a:gd name="connsiteX1413" fmla="*/ 4834 w 10785"/>
                  <a:gd name="connsiteY1413" fmla="*/ 410 h 10000"/>
                  <a:gd name="connsiteX1414" fmla="*/ 4829 w 10785"/>
                  <a:gd name="connsiteY1414" fmla="*/ 436 h 10000"/>
                  <a:gd name="connsiteX1415" fmla="*/ 4825 w 10785"/>
                  <a:gd name="connsiteY1415" fmla="*/ 436 h 10000"/>
                  <a:gd name="connsiteX1416" fmla="*/ 4825 w 10785"/>
                  <a:gd name="connsiteY1416" fmla="*/ 444 h 10000"/>
                  <a:gd name="connsiteX1417" fmla="*/ 4811 w 10785"/>
                  <a:gd name="connsiteY1417" fmla="*/ 496 h 10000"/>
                  <a:gd name="connsiteX1418" fmla="*/ 4811 w 10785"/>
                  <a:gd name="connsiteY1418" fmla="*/ 496 h 10000"/>
                  <a:gd name="connsiteX1419" fmla="*/ 4811 w 10785"/>
                  <a:gd name="connsiteY1419" fmla="*/ 521 h 10000"/>
                  <a:gd name="connsiteX1420" fmla="*/ 4816 w 10785"/>
                  <a:gd name="connsiteY1420" fmla="*/ 530 h 10000"/>
                  <a:gd name="connsiteX1421" fmla="*/ 4834 w 10785"/>
                  <a:gd name="connsiteY1421" fmla="*/ 547 h 10000"/>
                  <a:gd name="connsiteX1422" fmla="*/ 4834 w 10785"/>
                  <a:gd name="connsiteY1422" fmla="*/ 581 h 10000"/>
                  <a:gd name="connsiteX1423" fmla="*/ 4843 w 10785"/>
                  <a:gd name="connsiteY1423" fmla="*/ 581 h 10000"/>
                  <a:gd name="connsiteX1424" fmla="*/ 4843 w 10785"/>
                  <a:gd name="connsiteY1424" fmla="*/ 598 h 10000"/>
                  <a:gd name="connsiteX1425" fmla="*/ 4829 w 10785"/>
                  <a:gd name="connsiteY1425" fmla="*/ 598 h 10000"/>
                  <a:gd name="connsiteX1426" fmla="*/ 4829 w 10785"/>
                  <a:gd name="connsiteY1426" fmla="*/ 573 h 10000"/>
                  <a:gd name="connsiteX1427" fmla="*/ 4829 w 10785"/>
                  <a:gd name="connsiteY1427" fmla="*/ 632 h 10000"/>
                  <a:gd name="connsiteX1428" fmla="*/ 4829 w 10785"/>
                  <a:gd name="connsiteY1428" fmla="*/ 632 h 10000"/>
                  <a:gd name="connsiteX1429" fmla="*/ 4829 w 10785"/>
                  <a:gd name="connsiteY1429" fmla="*/ 650 h 10000"/>
                  <a:gd name="connsiteX1430" fmla="*/ 4774 w 10785"/>
                  <a:gd name="connsiteY1430" fmla="*/ 684 h 10000"/>
                  <a:gd name="connsiteX1431" fmla="*/ 4756 w 10785"/>
                  <a:gd name="connsiteY1431" fmla="*/ 684 h 10000"/>
                  <a:gd name="connsiteX1432" fmla="*/ 4737 w 10785"/>
                  <a:gd name="connsiteY1432" fmla="*/ 692 h 10000"/>
                  <a:gd name="connsiteX1433" fmla="*/ 4677 w 10785"/>
                  <a:gd name="connsiteY1433" fmla="*/ 667 h 10000"/>
                  <a:gd name="connsiteX1434" fmla="*/ 4682 w 10785"/>
                  <a:gd name="connsiteY1434" fmla="*/ 692 h 10000"/>
                  <a:gd name="connsiteX1435" fmla="*/ 4682 w 10785"/>
                  <a:gd name="connsiteY1435" fmla="*/ 709 h 10000"/>
                  <a:gd name="connsiteX1436" fmla="*/ 4691 w 10785"/>
                  <a:gd name="connsiteY1436" fmla="*/ 718 h 10000"/>
                  <a:gd name="connsiteX1437" fmla="*/ 4691 w 10785"/>
                  <a:gd name="connsiteY1437" fmla="*/ 744 h 10000"/>
                  <a:gd name="connsiteX1438" fmla="*/ 4700 w 10785"/>
                  <a:gd name="connsiteY1438" fmla="*/ 744 h 10000"/>
                  <a:gd name="connsiteX1439" fmla="*/ 4714 w 10785"/>
                  <a:gd name="connsiteY1439" fmla="*/ 769 h 10000"/>
                  <a:gd name="connsiteX1440" fmla="*/ 4710 w 10785"/>
                  <a:gd name="connsiteY1440" fmla="*/ 786 h 10000"/>
                  <a:gd name="connsiteX1441" fmla="*/ 4737 w 10785"/>
                  <a:gd name="connsiteY1441" fmla="*/ 786 h 10000"/>
                  <a:gd name="connsiteX1442" fmla="*/ 4742 w 10785"/>
                  <a:gd name="connsiteY1442" fmla="*/ 795 h 10000"/>
                  <a:gd name="connsiteX1443" fmla="*/ 4742 w 10785"/>
                  <a:gd name="connsiteY1443" fmla="*/ 803 h 10000"/>
                  <a:gd name="connsiteX1444" fmla="*/ 4737 w 10785"/>
                  <a:gd name="connsiteY1444" fmla="*/ 846 h 10000"/>
                  <a:gd name="connsiteX1445" fmla="*/ 4737 w 10785"/>
                  <a:gd name="connsiteY1445" fmla="*/ 880 h 10000"/>
                  <a:gd name="connsiteX1446" fmla="*/ 4737 w 10785"/>
                  <a:gd name="connsiteY1446" fmla="*/ 906 h 10000"/>
                  <a:gd name="connsiteX1447" fmla="*/ 4724 w 10785"/>
                  <a:gd name="connsiteY1447" fmla="*/ 897 h 10000"/>
                  <a:gd name="connsiteX1448" fmla="*/ 4724 w 10785"/>
                  <a:gd name="connsiteY1448" fmla="*/ 872 h 10000"/>
                  <a:gd name="connsiteX1449" fmla="*/ 4714 w 10785"/>
                  <a:gd name="connsiteY1449" fmla="*/ 855 h 10000"/>
                  <a:gd name="connsiteX1450" fmla="*/ 4691 w 10785"/>
                  <a:gd name="connsiteY1450" fmla="*/ 846 h 10000"/>
                  <a:gd name="connsiteX1451" fmla="*/ 4691 w 10785"/>
                  <a:gd name="connsiteY1451" fmla="*/ 846 h 10000"/>
                  <a:gd name="connsiteX1452" fmla="*/ 4696 w 10785"/>
                  <a:gd name="connsiteY1452" fmla="*/ 821 h 10000"/>
                  <a:gd name="connsiteX1453" fmla="*/ 4691 w 10785"/>
                  <a:gd name="connsiteY1453" fmla="*/ 803 h 10000"/>
                  <a:gd name="connsiteX1454" fmla="*/ 4668 w 10785"/>
                  <a:gd name="connsiteY1454" fmla="*/ 821 h 10000"/>
                  <a:gd name="connsiteX1455" fmla="*/ 4668 w 10785"/>
                  <a:gd name="connsiteY1455" fmla="*/ 786 h 10000"/>
                  <a:gd name="connsiteX1456" fmla="*/ 4664 w 10785"/>
                  <a:gd name="connsiteY1456" fmla="*/ 786 h 10000"/>
                  <a:gd name="connsiteX1457" fmla="*/ 4622 w 10785"/>
                  <a:gd name="connsiteY1457" fmla="*/ 846 h 10000"/>
                  <a:gd name="connsiteX1458" fmla="*/ 4627 w 10785"/>
                  <a:gd name="connsiteY1458" fmla="*/ 872 h 10000"/>
                  <a:gd name="connsiteX1459" fmla="*/ 4622 w 10785"/>
                  <a:gd name="connsiteY1459" fmla="*/ 880 h 10000"/>
                  <a:gd name="connsiteX1460" fmla="*/ 4622 w 10785"/>
                  <a:gd name="connsiteY1460" fmla="*/ 880 h 10000"/>
                  <a:gd name="connsiteX1461" fmla="*/ 4618 w 10785"/>
                  <a:gd name="connsiteY1461" fmla="*/ 872 h 10000"/>
                  <a:gd name="connsiteX1462" fmla="*/ 4604 w 10785"/>
                  <a:gd name="connsiteY1462" fmla="*/ 880 h 10000"/>
                  <a:gd name="connsiteX1463" fmla="*/ 4594 w 10785"/>
                  <a:gd name="connsiteY1463" fmla="*/ 906 h 10000"/>
                  <a:gd name="connsiteX1464" fmla="*/ 4604 w 10785"/>
                  <a:gd name="connsiteY1464" fmla="*/ 906 h 10000"/>
                  <a:gd name="connsiteX1465" fmla="*/ 4608 w 10785"/>
                  <a:gd name="connsiteY1465" fmla="*/ 906 h 10000"/>
                  <a:gd name="connsiteX1466" fmla="*/ 4608 w 10785"/>
                  <a:gd name="connsiteY1466" fmla="*/ 932 h 10000"/>
                  <a:gd name="connsiteX1467" fmla="*/ 4604 w 10785"/>
                  <a:gd name="connsiteY1467" fmla="*/ 932 h 10000"/>
                  <a:gd name="connsiteX1468" fmla="*/ 4590 w 10785"/>
                  <a:gd name="connsiteY1468" fmla="*/ 932 h 10000"/>
                  <a:gd name="connsiteX1469" fmla="*/ 4567 w 10785"/>
                  <a:gd name="connsiteY1469" fmla="*/ 957 h 10000"/>
                  <a:gd name="connsiteX1470" fmla="*/ 4567 w 10785"/>
                  <a:gd name="connsiteY1470" fmla="*/ 932 h 10000"/>
                  <a:gd name="connsiteX1471" fmla="*/ 4567 w 10785"/>
                  <a:gd name="connsiteY1471" fmla="*/ 923 h 10000"/>
                  <a:gd name="connsiteX1472" fmla="*/ 4562 w 10785"/>
                  <a:gd name="connsiteY1472" fmla="*/ 932 h 10000"/>
                  <a:gd name="connsiteX1473" fmla="*/ 4548 w 10785"/>
                  <a:gd name="connsiteY1473" fmla="*/ 957 h 10000"/>
                  <a:gd name="connsiteX1474" fmla="*/ 4544 w 10785"/>
                  <a:gd name="connsiteY1474" fmla="*/ 957 h 10000"/>
                  <a:gd name="connsiteX1475" fmla="*/ 4521 w 10785"/>
                  <a:gd name="connsiteY1475" fmla="*/ 983 h 10000"/>
                  <a:gd name="connsiteX1476" fmla="*/ 4521 w 10785"/>
                  <a:gd name="connsiteY1476" fmla="*/ 983 h 10000"/>
                  <a:gd name="connsiteX1477" fmla="*/ 4530 w 10785"/>
                  <a:gd name="connsiteY1477" fmla="*/ 957 h 10000"/>
                  <a:gd name="connsiteX1478" fmla="*/ 4535 w 10785"/>
                  <a:gd name="connsiteY1478" fmla="*/ 932 h 10000"/>
                  <a:gd name="connsiteX1479" fmla="*/ 4521 w 10785"/>
                  <a:gd name="connsiteY1479" fmla="*/ 932 h 10000"/>
                  <a:gd name="connsiteX1480" fmla="*/ 4516 w 10785"/>
                  <a:gd name="connsiteY1480" fmla="*/ 923 h 10000"/>
                  <a:gd name="connsiteX1481" fmla="*/ 4516 w 10785"/>
                  <a:gd name="connsiteY1481" fmla="*/ 932 h 10000"/>
                  <a:gd name="connsiteX1482" fmla="*/ 4488 w 10785"/>
                  <a:gd name="connsiteY1482" fmla="*/ 940 h 10000"/>
                  <a:gd name="connsiteX1483" fmla="*/ 4484 w 10785"/>
                  <a:gd name="connsiteY1483" fmla="*/ 983 h 10000"/>
                  <a:gd name="connsiteX1484" fmla="*/ 4470 w 10785"/>
                  <a:gd name="connsiteY1484" fmla="*/ 983 h 10000"/>
                  <a:gd name="connsiteX1485" fmla="*/ 4470 w 10785"/>
                  <a:gd name="connsiteY1485" fmla="*/ 966 h 10000"/>
                  <a:gd name="connsiteX1486" fmla="*/ 4488 w 10785"/>
                  <a:gd name="connsiteY1486" fmla="*/ 923 h 10000"/>
                  <a:gd name="connsiteX1487" fmla="*/ 4493 w 10785"/>
                  <a:gd name="connsiteY1487" fmla="*/ 880 h 10000"/>
                  <a:gd name="connsiteX1488" fmla="*/ 4475 w 10785"/>
                  <a:gd name="connsiteY1488" fmla="*/ 846 h 10000"/>
                  <a:gd name="connsiteX1489" fmla="*/ 4442 w 10785"/>
                  <a:gd name="connsiteY1489" fmla="*/ 855 h 10000"/>
                  <a:gd name="connsiteX1490" fmla="*/ 4433 w 10785"/>
                  <a:gd name="connsiteY1490" fmla="*/ 855 h 10000"/>
                  <a:gd name="connsiteX1491" fmla="*/ 4433 w 10785"/>
                  <a:gd name="connsiteY1491" fmla="*/ 880 h 10000"/>
                  <a:gd name="connsiteX1492" fmla="*/ 4401 w 10785"/>
                  <a:gd name="connsiteY1492" fmla="*/ 855 h 10000"/>
                  <a:gd name="connsiteX1493" fmla="*/ 4396 w 10785"/>
                  <a:gd name="connsiteY1493" fmla="*/ 872 h 10000"/>
                  <a:gd name="connsiteX1494" fmla="*/ 4382 w 10785"/>
                  <a:gd name="connsiteY1494" fmla="*/ 897 h 10000"/>
                  <a:gd name="connsiteX1495" fmla="*/ 4373 w 10785"/>
                  <a:gd name="connsiteY1495" fmla="*/ 872 h 10000"/>
                  <a:gd name="connsiteX1496" fmla="*/ 4341 w 10785"/>
                  <a:gd name="connsiteY1496" fmla="*/ 872 h 10000"/>
                  <a:gd name="connsiteX1497" fmla="*/ 4336 w 10785"/>
                  <a:gd name="connsiteY1497" fmla="*/ 880 h 10000"/>
                  <a:gd name="connsiteX1498" fmla="*/ 4346 w 10785"/>
                  <a:gd name="connsiteY1498" fmla="*/ 897 h 10000"/>
                  <a:gd name="connsiteX1499" fmla="*/ 4346 w 10785"/>
                  <a:gd name="connsiteY1499" fmla="*/ 897 h 10000"/>
                  <a:gd name="connsiteX1500" fmla="*/ 4313 w 10785"/>
                  <a:gd name="connsiteY1500" fmla="*/ 906 h 10000"/>
                  <a:gd name="connsiteX1501" fmla="*/ 4313 w 10785"/>
                  <a:gd name="connsiteY1501" fmla="*/ 906 h 10000"/>
                  <a:gd name="connsiteX1502" fmla="*/ 4313 w 10785"/>
                  <a:gd name="connsiteY1502" fmla="*/ 880 h 10000"/>
                  <a:gd name="connsiteX1503" fmla="*/ 4309 w 10785"/>
                  <a:gd name="connsiteY1503" fmla="*/ 897 h 10000"/>
                  <a:gd name="connsiteX1504" fmla="*/ 4295 w 10785"/>
                  <a:gd name="connsiteY1504" fmla="*/ 923 h 10000"/>
                  <a:gd name="connsiteX1505" fmla="*/ 4286 w 10785"/>
                  <a:gd name="connsiteY1505" fmla="*/ 897 h 10000"/>
                  <a:gd name="connsiteX1506" fmla="*/ 4281 w 10785"/>
                  <a:gd name="connsiteY1506" fmla="*/ 906 h 10000"/>
                  <a:gd name="connsiteX1507" fmla="*/ 4281 w 10785"/>
                  <a:gd name="connsiteY1507" fmla="*/ 940 h 10000"/>
                  <a:gd name="connsiteX1508" fmla="*/ 4286 w 10785"/>
                  <a:gd name="connsiteY1508" fmla="*/ 957 h 10000"/>
                  <a:gd name="connsiteX1509" fmla="*/ 4309 w 10785"/>
                  <a:gd name="connsiteY1509" fmla="*/ 932 h 10000"/>
                  <a:gd name="connsiteX1510" fmla="*/ 4313 w 10785"/>
                  <a:gd name="connsiteY1510" fmla="*/ 957 h 10000"/>
                  <a:gd name="connsiteX1511" fmla="*/ 4313 w 10785"/>
                  <a:gd name="connsiteY1511" fmla="*/ 966 h 10000"/>
                  <a:gd name="connsiteX1512" fmla="*/ 4323 w 10785"/>
                  <a:gd name="connsiteY1512" fmla="*/ 966 h 10000"/>
                  <a:gd name="connsiteX1513" fmla="*/ 4323 w 10785"/>
                  <a:gd name="connsiteY1513" fmla="*/ 940 h 10000"/>
                  <a:gd name="connsiteX1514" fmla="*/ 4327 w 10785"/>
                  <a:gd name="connsiteY1514" fmla="*/ 940 h 10000"/>
                  <a:gd name="connsiteX1515" fmla="*/ 4327 w 10785"/>
                  <a:gd name="connsiteY1515" fmla="*/ 957 h 10000"/>
                  <a:gd name="connsiteX1516" fmla="*/ 4327 w 10785"/>
                  <a:gd name="connsiteY1516" fmla="*/ 966 h 10000"/>
                  <a:gd name="connsiteX1517" fmla="*/ 4323 w 10785"/>
                  <a:gd name="connsiteY1517" fmla="*/ 991 h 10000"/>
                  <a:gd name="connsiteX1518" fmla="*/ 4207 w 10785"/>
                  <a:gd name="connsiteY1518" fmla="*/ 1060 h 10000"/>
                  <a:gd name="connsiteX1519" fmla="*/ 4207 w 10785"/>
                  <a:gd name="connsiteY1519" fmla="*/ 1060 h 10000"/>
                  <a:gd name="connsiteX1520" fmla="*/ 4203 w 10785"/>
                  <a:gd name="connsiteY1520" fmla="*/ 1068 h 10000"/>
                  <a:gd name="connsiteX1521" fmla="*/ 4203 w 10785"/>
                  <a:gd name="connsiteY1521" fmla="*/ 1094 h 10000"/>
                  <a:gd name="connsiteX1522" fmla="*/ 4203 w 10785"/>
                  <a:gd name="connsiteY1522" fmla="*/ 1094 h 10000"/>
                  <a:gd name="connsiteX1523" fmla="*/ 4189 w 10785"/>
                  <a:gd name="connsiteY1523" fmla="*/ 1094 h 10000"/>
                  <a:gd name="connsiteX1524" fmla="*/ 4166 w 10785"/>
                  <a:gd name="connsiteY1524" fmla="*/ 1103 h 10000"/>
                  <a:gd name="connsiteX1525" fmla="*/ 4152 w 10785"/>
                  <a:gd name="connsiteY1525" fmla="*/ 1094 h 10000"/>
                  <a:gd name="connsiteX1526" fmla="*/ 4134 w 10785"/>
                  <a:gd name="connsiteY1526" fmla="*/ 1120 h 10000"/>
                  <a:gd name="connsiteX1527" fmla="*/ 4106 w 10785"/>
                  <a:gd name="connsiteY1527" fmla="*/ 1120 h 10000"/>
                  <a:gd name="connsiteX1528" fmla="*/ 4092 w 10785"/>
                  <a:gd name="connsiteY1528" fmla="*/ 1154 h 10000"/>
                  <a:gd name="connsiteX1529" fmla="*/ 4106 w 10785"/>
                  <a:gd name="connsiteY1529" fmla="*/ 1171 h 10000"/>
                  <a:gd name="connsiteX1530" fmla="*/ 4078 w 10785"/>
                  <a:gd name="connsiteY1530" fmla="*/ 1179 h 10000"/>
                  <a:gd name="connsiteX1531" fmla="*/ 4065 w 10785"/>
                  <a:gd name="connsiteY1531" fmla="*/ 1205 h 10000"/>
                  <a:gd name="connsiteX1532" fmla="*/ 4046 w 10785"/>
                  <a:gd name="connsiteY1532" fmla="*/ 1179 h 10000"/>
                  <a:gd name="connsiteX1533" fmla="*/ 4041 w 10785"/>
                  <a:gd name="connsiteY1533" fmla="*/ 1197 h 10000"/>
                  <a:gd name="connsiteX1534" fmla="*/ 4028 w 10785"/>
                  <a:gd name="connsiteY1534" fmla="*/ 1205 h 10000"/>
                  <a:gd name="connsiteX1535" fmla="*/ 4028 w 10785"/>
                  <a:gd name="connsiteY1535" fmla="*/ 1205 h 10000"/>
                  <a:gd name="connsiteX1536" fmla="*/ 4032 w 10785"/>
                  <a:gd name="connsiteY1536" fmla="*/ 1205 h 10000"/>
                  <a:gd name="connsiteX1537" fmla="*/ 4032 w 10785"/>
                  <a:gd name="connsiteY1537" fmla="*/ 1231 h 10000"/>
                  <a:gd name="connsiteX1538" fmla="*/ 4014 w 10785"/>
                  <a:gd name="connsiteY1538" fmla="*/ 1239 h 10000"/>
                  <a:gd name="connsiteX1539" fmla="*/ 4014 w 10785"/>
                  <a:gd name="connsiteY1539" fmla="*/ 1256 h 10000"/>
                  <a:gd name="connsiteX1540" fmla="*/ 4000 w 10785"/>
                  <a:gd name="connsiteY1540" fmla="*/ 1265 h 10000"/>
                  <a:gd name="connsiteX1541" fmla="*/ 3986 w 10785"/>
                  <a:gd name="connsiteY1541" fmla="*/ 1308 h 10000"/>
                  <a:gd name="connsiteX1542" fmla="*/ 3972 w 10785"/>
                  <a:gd name="connsiteY1542" fmla="*/ 1316 h 10000"/>
                  <a:gd name="connsiteX1543" fmla="*/ 3972 w 10785"/>
                  <a:gd name="connsiteY1543" fmla="*/ 1325 h 10000"/>
                  <a:gd name="connsiteX1544" fmla="*/ 3972 w 10785"/>
                  <a:gd name="connsiteY1544" fmla="*/ 1342 h 10000"/>
                  <a:gd name="connsiteX1545" fmla="*/ 3968 w 10785"/>
                  <a:gd name="connsiteY1545" fmla="*/ 1350 h 10000"/>
                  <a:gd name="connsiteX1546" fmla="*/ 3954 w 10785"/>
                  <a:gd name="connsiteY1546" fmla="*/ 1368 h 10000"/>
                  <a:gd name="connsiteX1547" fmla="*/ 3945 w 10785"/>
                  <a:gd name="connsiteY1547" fmla="*/ 1350 h 10000"/>
                  <a:gd name="connsiteX1548" fmla="*/ 3908 w 10785"/>
                  <a:gd name="connsiteY1548" fmla="*/ 1342 h 10000"/>
                  <a:gd name="connsiteX1549" fmla="*/ 3894 w 10785"/>
                  <a:gd name="connsiteY1549" fmla="*/ 1368 h 10000"/>
                  <a:gd name="connsiteX1550" fmla="*/ 3922 w 10785"/>
                  <a:gd name="connsiteY1550" fmla="*/ 1393 h 10000"/>
                  <a:gd name="connsiteX1551" fmla="*/ 3945 w 10785"/>
                  <a:gd name="connsiteY1551" fmla="*/ 1393 h 10000"/>
                  <a:gd name="connsiteX1552" fmla="*/ 3940 w 10785"/>
                  <a:gd name="connsiteY1552" fmla="*/ 1419 h 10000"/>
                  <a:gd name="connsiteX1553" fmla="*/ 3931 w 10785"/>
                  <a:gd name="connsiteY1553" fmla="*/ 1427 h 10000"/>
                  <a:gd name="connsiteX1554" fmla="*/ 3926 w 10785"/>
                  <a:gd name="connsiteY1554" fmla="*/ 1427 h 10000"/>
                  <a:gd name="connsiteX1555" fmla="*/ 3922 w 10785"/>
                  <a:gd name="connsiteY1555" fmla="*/ 1419 h 10000"/>
                  <a:gd name="connsiteX1556" fmla="*/ 3912 w 10785"/>
                  <a:gd name="connsiteY1556" fmla="*/ 1427 h 10000"/>
                  <a:gd name="connsiteX1557" fmla="*/ 3912 w 10785"/>
                  <a:gd name="connsiteY1557" fmla="*/ 1444 h 10000"/>
                  <a:gd name="connsiteX1558" fmla="*/ 3894 w 10785"/>
                  <a:gd name="connsiteY1558" fmla="*/ 1513 h 10000"/>
                  <a:gd name="connsiteX1559" fmla="*/ 3885 w 10785"/>
                  <a:gd name="connsiteY1559" fmla="*/ 1513 h 10000"/>
                  <a:gd name="connsiteX1560" fmla="*/ 3880 w 10785"/>
                  <a:gd name="connsiteY1560" fmla="*/ 1538 h 10000"/>
                  <a:gd name="connsiteX1561" fmla="*/ 3885 w 10785"/>
                  <a:gd name="connsiteY1561" fmla="*/ 1564 h 10000"/>
                  <a:gd name="connsiteX1562" fmla="*/ 3880 w 10785"/>
                  <a:gd name="connsiteY1562" fmla="*/ 1581 h 10000"/>
                  <a:gd name="connsiteX1563" fmla="*/ 3871 w 10785"/>
                  <a:gd name="connsiteY1563" fmla="*/ 1538 h 10000"/>
                  <a:gd name="connsiteX1564" fmla="*/ 3853 w 10785"/>
                  <a:gd name="connsiteY1564" fmla="*/ 1530 h 10000"/>
                  <a:gd name="connsiteX1565" fmla="*/ 3853 w 10785"/>
                  <a:gd name="connsiteY1565" fmla="*/ 1504 h 10000"/>
                  <a:gd name="connsiteX1566" fmla="*/ 3834 w 10785"/>
                  <a:gd name="connsiteY1566" fmla="*/ 1487 h 10000"/>
                  <a:gd name="connsiteX1567" fmla="*/ 3834 w 10785"/>
                  <a:gd name="connsiteY1567" fmla="*/ 1487 h 10000"/>
                  <a:gd name="connsiteX1568" fmla="*/ 3839 w 10785"/>
                  <a:gd name="connsiteY1568" fmla="*/ 1513 h 10000"/>
                  <a:gd name="connsiteX1569" fmla="*/ 3820 w 10785"/>
                  <a:gd name="connsiteY1569" fmla="*/ 1538 h 10000"/>
                  <a:gd name="connsiteX1570" fmla="*/ 3820 w 10785"/>
                  <a:gd name="connsiteY1570" fmla="*/ 1556 h 10000"/>
                  <a:gd name="connsiteX1571" fmla="*/ 3820 w 10785"/>
                  <a:gd name="connsiteY1571" fmla="*/ 1564 h 10000"/>
                  <a:gd name="connsiteX1572" fmla="*/ 3820 w 10785"/>
                  <a:gd name="connsiteY1572" fmla="*/ 1581 h 10000"/>
                  <a:gd name="connsiteX1573" fmla="*/ 3853 w 10785"/>
                  <a:gd name="connsiteY1573" fmla="*/ 1581 h 10000"/>
                  <a:gd name="connsiteX1574" fmla="*/ 3857 w 10785"/>
                  <a:gd name="connsiteY1574" fmla="*/ 1598 h 10000"/>
                  <a:gd name="connsiteX1575" fmla="*/ 3880 w 10785"/>
                  <a:gd name="connsiteY1575" fmla="*/ 1615 h 10000"/>
                  <a:gd name="connsiteX1576" fmla="*/ 3871 w 10785"/>
                  <a:gd name="connsiteY1576" fmla="*/ 1615 h 10000"/>
                  <a:gd name="connsiteX1577" fmla="*/ 3871 w 10785"/>
                  <a:gd name="connsiteY1577" fmla="*/ 1641 h 10000"/>
                  <a:gd name="connsiteX1578" fmla="*/ 3880 w 10785"/>
                  <a:gd name="connsiteY1578" fmla="*/ 1641 h 10000"/>
                  <a:gd name="connsiteX1579" fmla="*/ 3871 w 10785"/>
                  <a:gd name="connsiteY1579" fmla="*/ 1650 h 10000"/>
                  <a:gd name="connsiteX1580" fmla="*/ 3857 w 10785"/>
                  <a:gd name="connsiteY1580" fmla="*/ 1650 h 10000"/>
                  <a:gd name="connsiteX1581" fmla="*/ 3853 w 10785"/>
                  <a:gd name="connsiteY1581" fmla="*/ 1650 h 10000"/>
                  <a:gd name="connsiteX1582" fmla="*/ 3839 w 10785"/>
                  <a:gd name="connsiteY1582" fmla="*/ 1667 h 10000"/>
                  <a:gd name="connsiteX1583" fmla="*/ 3848 w 10785"/>
                  <a:gd name="connsiteY1583" fmla="*/ 1692 h 10000"/>
                  <a:gd name="connsiteX1584" fmla="*/ 3834 w 10785"/>
                  <a:gd name="connsiteY1584" fmla="*/ 1692 h 10000"/>
                  <a:gd name="connsiteX1585" fmla="*/ 3825 w 10785"/>
                  <a:gd name="connsiteY1585" fmla="*/ 1692 h 10000"/>
                  <a:gd name="connsiteX1586" fmla="*/ 3825 w 10785"/>
                  <a:gd name="connsiteY1586" fmla="*/ 1718 h 10000"/>
                  <a:gd name="connsiteX1587" fmla="*/ 3839 w 10785"/>
                  <a:gd name="connsiteY1587" fmla="*/ 1726 h 10000"/>
                  <a:gd name="connsiteX1588" fmla="*/ 3880 w 10785"/>
                  <a:gd name="connsiteY1588" fmla="*/ 1752 h 10000"/>
                  <a:gd name="connsiteX1589" fmla="*/ 3894 w 10785"/>
                  <a:gd name="connsiteY1589" fmla="*/ 1829 h 10000"/>
                  <a:gd name="connsiteX1590" fmla="*/ 3899 w 10785"/>
                  <a:gd name="connsiteY1590" fmla="*/ 1838 h 10000"/>
                  <a:gd name="connsiteX1591" fmla="*/ 3894 w 10785"/>
                  <a:gd name="connsiteY1591" fmla="*/ 1855 h 10000"/>
                  <a:gd name="connsiteX1592" fmla="*/ 3880 w 10785"/>
                  <a:gd name="connsiteY1592" fmla="*/ 1838 h 10000"/>
                  <a:gd name="connsiteX1593" fmla="*/ 3880 w 10785"/>
                  <a:gd name="connsiteY1593" fmla="*/ 1855 h 10000"/>
                  <a:gd name="connsiteX1594" fmla="*/ 3880 w 10785"/>
                  <a:gd name="connsiteY1594" fmla="*/ 1863 h 10000"/>
                  <a:gd name="connsiteX1595" fmla="*/ 3871 w 10785"/>
                  <a:gd name="connsiteY1595" fmla="*/ 1872 h 10000"/>
                  <a:gd name="connsiteX1596" fmla="*/ 3880 w 10785"/>
                  <a:gd name="connsiteY1596" fmla="*/ 1889 h 10000"/>
                  <a:gd name="connsiteX1597" fmla="*/ 3885 w 10785"/>
                  <a:gd name="connsiteY1597" fmla="*/ 1889 h 10000"/>
                  <a:gd name="connsiteX1598" fmla="*/ 3880 w 10785"/>
                  <a:gd name="connsiteY1598" fmla="*/ 1897 h 10000"/>
                  <a:gd name="connsiteX1599" fmla="*/ 3871 w 10785"/>
                  <a:gd name="connsiteY1599" fmla="*/ 1915 h 10000"/>
                  <a:gd name="connsiteX1600" fmla="*/ 3848 w 10785"/>
                  <a:gd name="connsiteY1600" fmla="*/ 1923 h 10000"/>
                  <a:gd name="connsiteX1601" fmla="*/ 3825 w 10785"/>
                  <a:gd name="connsiteY1601" fmla="*/ 1940 h 10000"/>
                  <a:gd name="connsiteX1602" fmla="*/ 3811 w 10785"/>
                  <a:gd name="connsiteY1602" fmla="*/ 1940 h 10000"/>
                  <a:gd name="connsiteX1603" fmla="*/ 3806 w 10785"/>
                  <a:gd name="connsiteY1603" fmla="*/ 1949 h 10000"/>
                  <a:gd name="connsiteX1604" fmla="*/ 3797 w 10785"/>
                  <a:gd name="connsiteY1604" fmla="*/ 1966 h 10000"/>
                  <a:gd name="connsiteX1605" fmla="*/ 3788 w 10785"/>
                  <a:gd name="connsiteY1605" fmla="*/ 1991 h 10000"/>
                  <a:gd name="connsiteX1606" fmla="*/ 3765 w 10785"/>
                  <a:gd name="connsiteY1606" fmla="*/ 1974 h 10000"/>
                  <a:gd name="connsiteX1607" fmla="*/ 3760 w 10785"/>
                  <a:gd name="connsiteY1607" fmla="*/ 1966 h 10000"/>
                  <a:gd name="connsiteX1608" fmla="*/ 3760 w 10785"/>
                  <a:gd name="connsiteY1608" fmla="*/ 1966 h 10000"/>
                  <a:gd name="connsiteX1609" fmla="*/ 3631 w 10785"/>
                  <a:gd name="connsiteY1609" fmla="*/ 2009 h 10000"/>
                  <a:gd name="connsiteX1610" fmla="*/ 3618 w 10785"/>
                  <a:gd name="connsiteY1610" fmla="*/ 2000 h 10000"/>
                  <a:gd name="connsiteX1611" fmla="*/ 3599 w 10785"/>
                  <a:gd name="connsiteY1611" fmla="*/ 2009 h 10000"/>
                  <a:gd name="connsiteX1612" fmla="*/ 3571 w 10785"/>
                  <a:gd name="connsiteY1612" fmla="*/ 2000 h 10000"/>
                  <a:gd name="connsiteX1613" fmla="*/ 3530 w 10785"/>
                  <a:gd name="connsiteY1613" fmla="*/ 2026 h 10000"/>
                  <a:gd name="connsiteX1614" fmla="*/ 3530 w 10785"/>
                  <a:gd name="connsiteY1614" fmla="*/ 2034 h 10000"/>
                  <a:gd name="connsiteX1615" fmla="*/ 3525 w 10785"/>
                  <a:gd name="connsiteY1615" fmla="*/ 2051 h 10000"/>
                  <a:gd name="connsiteX1616" fmla="*/ 3512 w 10785"/>
                  <a:gd name="connsiteY1616" fmla="*/ 2034 h 10000"/>
                  <a:gd name="connsiteX1617" fmla="*/ 3507 w 10785"/>
                  <a:gd name="connsiteY1617" fmla="*/ 2034 h 10000"/>
                  <a:gd name="connsiteX1618" fmla="*/ 3498 w 10785"/>
                  <a:gd name="connsiteY1618" fmla="*/ 2051 h 10000"/>
                  <a:gd name="connsiteX1619" fmla="*/ 3484 w 10785"/>
                  <a:gd name="connsiteY1619" fmla="*/ 2060 h 10000"/>
                  <a:gd name="connsiteX1620" fmla="*/ 3484 w 10785"/>
                  <a:gd name="connsiteY1620" fmla="*/ 2085 h 10000"/>
                  <a:gd name="connsiteX1621" fmla="*/ 3484 w 10785"/>
                  <a:gd name="connsiteY1621" fmla="*/ 2103 h 10000"/>
                  <a:gd name="connsiteX1622" fmla="*/ 3493 w 10785"/>
                  <a:gd name="connsiteY1622" fmla="*/ 2103 h 10000"/>
                  <a:gd name="connsiteX1623" fmla="*/ 3493 w 10785"/>
                  <a:gd name="connsiteY1623" fmla="*/ 2085 h 10000"/>
                  <a:gd name="connsiteX1624" fmla="*/ 3498 w 10785"/>
                  <a:gd name="connsiteY1624" fmla="*/ 2085 h 10000"/>
                  <a:gd name="connsiteX1625" fmla="*/ 3498 w 10785"/>
                  <a:gd name="connsiteY1625" fmla="*/ 2111 h 10000"/>
                  <a:gd name="connsiteX1626" fmla="*/ 3484 w 10785"/>
                  <a:gd name="connsiteY1626" fmla="*/ 2120 h 10000"/>
                  <a:gd name="connsiteX1627" fmla="*/ 3484 w 10785"/>
                  <a:gd name="connsiteY1627" fmla="*/ 2145 h 10000"/>
                  <a:gd name="connsiteX1628" fmla="*/ 3470 w 10785"/>
                  <a:gd name="connsiteY1628" fmla="*/ 2137 h 10000"/>
                  <a:gd name="connsiteX1629" fmla="*/ 3465 w 10785"/>
                  <a:gd name="connsiteY1629" fmla="*/ 2145 h 10000"/>
                  <a:gd name="connsiteX1630" fmla="*/ 3470 w 10785"/>
                  <a:gd name="connsiteY1630" fmla="*/ 2171 h 10000"/>
                  <a:gd name="connsiteX1631" fmla="*/ 3484 w 10785"/>
                  <a:gd name="connsiteY1631" fmla="*/ 2171 h 10000"/>
                  <a:gd name="connsiteX1632" fmla="*/ 3484 w 10785"/>
                  <a:gd name="connsiteY1632" fmla="*/ 2197 h 10000"/>
                  <a:gd name="connsiteX1633" fmla="*/ 3465 w 10785"/>
                  <a:gd name="connsiteY1633" fmla="*/ 2214 h 10000"/>
                  <a:gd name="connsiteX1634" fmla="*/ 3493 w 10785"/>
                  <a:gd name="connsiteY1634" fmla="*/ 2248 h 10000"/>
                  <a:gd name="connsiteX1635" fmla="*/ 3484 w 10785"/>
                  <a:gd name="connsiteY1635" fmla="*/ 2256 h 10000"/>
                  <a:gd name="connsiteX1636" fmla="*/ 3498 w 10785"/>
                  <a:gd name="connsiteY1636" fmla="*/ 2274 h 10000"/>
                  <a:gd name="connsiteX1637" fmla="*/ 3498 w 10785"/>
                  <a:gd name="connsiteY1637" fmla="*/ 2256 h 10000"/>
                  <a:gd name="connsiteX1638" fmla="*/ 3507 w 10785"/>
                  <a:gd name="connsiteY1638" fmla="*/ 2308 h 10000"/>
                  <a:gd name="connsiteX1639" fmla="*/ 3512 w 10785"/>
                  <a:gd name="connsiteY1639" fmla="*/ 2325 h 10000"/>
                  <a:gd name="connsiteX1640" fmla="*/ 3507 w 10785"/>
                  <a:gd name="connsiteY1640" fmla="*/ 2333 h 10000"/>
                  <a:gd name="connsiteX1641" fmla="*/ 3507 w 10785"/>
                  <a:gd name="connsiteY1641" fmla="*/ 2359 h 10000"/>
                  <a:gd name="connsiteX1642" fmla="*/ 3507 w 10785"/>
                  <a:gd name="connsiteY1642" fmla="*/ 2376 h 10000"/>
                  <a:gd name="connsiteX1643" fmla="*/ 3498 w 10785"/>
                  <a:gd name="connsiteY1643" fmla="*/ 2410 h 10000"/>
                  <a:gd name="connsiteX1644" fmla="*/ 3498 w 10785"/>
                  <a:gd name="connsiteY1644" fmla="*/ 2436 h 10000"/>
                  <a:gd name="connsiteX1645" fmla="*/ 3507 w 10785"/>
                  <a:gd name="connsiteY1645" fmla="*/ 2462 h 10000"/>
                  <a:gd name="connsiteX1646" fmla="*/ 3507 w 10785"/>
                  <a:gd name="connsiteY1646" fmla="*/ 2496 h 10000"/>
                  <a:gd name="connsiteX1647" fmla="*/ 3512 w 10785"/>
                  <a:gd name="connsiteY1647" fmla="*/ 2521 h 10000"/>
                  <a:gd name="connsiteX1648" fmla="*/ 3525 w 10785"/>
                  <a:gd name="connsiteY1648" fmla="*/ 2556 h 10000"/>
                  <a:gd name="connsiteX1649" fmla="*/ 3571 w 10785"/>
                  <a:gd name="connsiteY1649" fmla="*/ 2573 h 10000"/>
                  <a:gd name="connsiteX1650" fmla="*/ 3590 w 10785"/>
                  <a:gd name="connsiteY1650" fmla="*/ 2598 h 10000"/>
                  <a:gd name="connsiteX1651" fmla="*/ 3599 w 10785"/>
                  <a:gd name="connsiteY1651" fmla="*/ 2598 h 10000"/>
                  <a:gd name="connsiteX1652" fmla="*/ 3604 w 10785"/>
                  <a:gd name="connsiteY1652" fmla="*/ 2632 h 10000"/>
                  <a:gd name="connsiteX1653" fmla="*/ 3599 w 10785"/>
                  <a:gd name="connsiteY1653" fmla="*/ 2658 h 10000"/>
                  <a:gd name="connsiteX1654" fmla="*/ 3590 w 10785"/>
                  <a:gd name="connsiteY1654" fmla="*/ 2667 h 10000"/>
                  <a:gd name="connsiteX1655" fmla="*/ 3604 w 10785"/>
                  <a:gd name="connsiteY1655" fmla="*/ 2667 h 10000"/>
                  <a:gd name="connsiteX1656" fmla="*/ 3613 w 10785"/>
                  <a:gd name="connsiteY1656" fmla="*/ 2692 h 10000"/>
                  <a:gd name="connsiteX1657" fmla="*/ 3627 w 10785"/>
                  <a:gd name="connsiteY1657" fmla="*/ 2735 h 10000"/>
                  <a:gd name="connsiteX1658" fmla="*/ 3631 w 10785"/>
                  <a:gd name="connsiteY1658" fmla="*/ 2744 h 10000"/>
                  <a:gd name="connsiteX1659" fmla="*/ 3659 w 10785"/>
                  <a:gd name="connsiteY1659" fmla="*/ 2761 h 10000"/>
                  <a:gd name="connsiteX1660" fmla="*/ 3673 w 10785"/>
                  <a:gd name="connsiteY1660" fmla="*/ 2769 h 10000"/>
                  <a:gd name="connsiteX1661" fmla="*/ 3673 w 10785"/>
                  <a:gd name="connsiteY1661" fmla="*/ 2761 h 10000"/>
                  <a:gd name="connsiteX1662" fmla="*/ 3687 w 10785"/>
                  <a:gd name="connsiteY1662" fmla="*/ 2829 h 10000"/>
                  <a:gd name="connsiteX1663" fmla="*/ 3677 w 10785"/>
                  <a:gd name="connsiteY1663" fmla="*/ 2897 h 10000"/>
                  <a:gd name="connsiteX1664" fmla="*/ 3673 w 10785"/>
                  <a:gd name="connsiteY1664" fmla="*/ 2915 h 10000"/>
                  <a:gd name="connsiteX1665" fmla="*/ 3664 w 10785"/>
                  <a:gd name="connsiteY1665" fmla="*/ 2957 h 10000"/>
                  <a:gd name="connsiteX1666" fmla="*/ 3659 w 10785"/>
                  <a:gd name="connsiteY1666" fmla="*/ 2983 h 10000"/>
                  <a:gd name="connsiteX1667" fmla="*/ 3664 w 10785"/>
                  <a:gd name="connsiteY1667" fmla="*/ 3017 h 10000"/>
                  <a:gd name="connsiteX1668" fmla="*/ 3659 w 10785"/>
                  <a:gd name="connsiteY1668" fmla="*/ 3043 h 10000"/>
                  <a:gd name="connsiteX1669" fmla="*/ 3677 w 10785"/>
                  <a:gd name="connsiteY1669" fmla="*/ 3094 h 10000"/>
                  <a:gd name="connsiteX1670" fmla="*/ 3691 w 10785"/>
                  <a:gd name="connsiteY1670" fmla="*/ 3282 h 10000"/>
                  <a:gd name="connsiteX1671" fmla="*/ 3691 w 10785"/>
                  <a:gd name="connsiteY1671" fmla="*/ 3308 h 10000"/>
                  <a:gd name="connsiteX1672" fmla="*/ 3677 w 10785"/>
                  <a:gd name="connsiteY1672" fmla="*/ 3342 h 10000"/>
                  <a:gd name="connsiteX1673" fmla="*/ 3664 w 10785"/>
                  <a:gd name="connsiteY1673" fmla="*/ 3342 h 10000"/>
                  <a:gd name="connsiteX1674" fmla="*/ 3650 w 10785"/>
                  <a:gd name="connsiteY1674" fmla="*/ 3342 h 10000"/>
                  <a:gd name="connsiteX1675" fmla="*/ 3650 w 10785"/>
                  <a:gd name="connsiteY1675" fmla="*/ 3350 h 10000"/>
                  <a:gd name="connsiteX1676" fmla="*/ 3659 w 10785"/>
                  <a:gd name="connsiteY1676" fmla="*/ 3402 h 10000"/>
                  <a:gd name="connsiteX1677" fmla="*/ 3659 w 10785"/>
                  <a:gd name="connsiteY1677" fmla="*/ 3419 h 10000"/>
                  <a:gd name="connsiteX1678" fmla="*/ 3631 w 10785"/>
                  <a:gd name="connsiteY1678" fmla="*/ 3402 h 10000"/>
                  <a:gd name="connsiteX1679" fmla="*/ 3604 w 10785"/>
                  <a:gd name="connsiteY1679" fmla="*/ 3393 h 10000"/>
                  <a:gd name="connsiteX1680" fmla="*/ 3599 w 10785"/>
                  <a:gd name="connsiteY1680" fmla="*/ 3368 h 10000"/>
                  <a:gd name="connsiteX1681" fmla="*/ 3590 w 10785"/>
                  <a:gd name="connsiteY1681" fmla="*/ 3239 h 10000"/>
                  <a:gd name="connsiteX1682" fmla="*/ 3599 w 10785"/>
                  <a:gd name="connsiteY1682" fmla="*/ 3179 h 10000"/>
                  <a:gd name="connsiteX1683" fmla="*/ 3599 w 10785"/>
                  <a:gd name="connsiteY1683" fmla="*/ 3171 h 10000"/>
                  <a:gd name="connsiteX1684" fmla="*/ 3599 w 10785"/>
                  <a:gd name="connsiteY1684" fmla="*/ 3009 h 10000"/>
                  <a:gd name="connsiteX1685" fmla="*/ 3604 w 10785"/>
                  <a:gd name="connsiteY1685" fmla="*/ 2983 h 10000"/>
                  <a:gd name="connsiteX1686" fmla="*/ 3645 w 10785"/>
                  <a:gd name="connsiteY1686" fmla="*/ 2932 h 10000"/>
                  <a:gd name="connsiteX1687" fmla="*/ 3650 w 10785"/>
                  <a:gd name="connsiteY1687" fmla="*/ 2872 h 10000"/>
                  <a:gd name="connsiteX1688" fmla="*/ 3659 w 10785"/>
                  <a:gd name="connsiteY1688" fmla="*/ 2855 h 10000"/>
                  <a:gd name="connsiteX1689" fmla="*/ 3659 w 10785"/>
                  <a:gd name="connsiteY1689" fmla="*/ 2821 h 10000"/>
                  <a:gd name="connsiteX1690" fmla="*/ 3631 w 10785"/>
                  <a:gd name="connsiteY1690" fmla="*/ 2795 h 10000"/>
                  <a:gd name="connsiteX1691" fmla="*/ 3567 w 10785"/>
                  <a:gd name="connsiteY1691" fmla="*/ 2821 h 10000"/>
                  <a:gd name="connsiteX1692" fmla="*/ 3544 w 10785"/>
                  <a:gd name="connsiteY1692" fmla="*/ 2795 h 10000"/>
                  <a:gd name="connsiteX1693" fmla="*/ 3530 w 10785"/>
                  <a:gd name="connsiteY1693" fmla="*/ 2769 h 10000"/>
                  <a:gd name="connsiteX1694" fmla="*/ 3530 w 10785"/>
                  <a:gd name="connsiteY1694" fmla="*/ 2786 h 10000"/>
                  <a:gd name="connsiteX1695" fmla="*/ 3498 w 10785"/>
                  <a:gd name="connsiteY1695" fmla="*/ 2692 h 10000"/>
                  <a:gd name="connsiteX1696" fmla="*/ 3498 w 10785"/>
                  <a:gd name="connsiteY1696" fmla="*/ 2667 h 10000"/>
                  <a:gd name="connsiteX1697" fmla="*/ 3442 w 10785"/>
                  <a:gd name="connsiteY1697" fmla="*/ 2607 h 10000"/>
                  <a:gd name="connsiteX1698" fmla="*/ 3433 w 10785"/>
                  <a:gd name="connsiteY1698" fmla="*/ 2581 h 10000"/>
                  <a:gd name="connsiteX1699" fmla="*/ 3396 w 10785"/>
                  <a:gd name="connsiteY1699" fmla="*/ 2556 h 10000"/>
                  <a:gd name="connsiteX1700" fmla="*/ 3318 w 10785"/>
                  <a:gd name="connsiteY1700" fmla="*/ 2556 h 10000"/>
                  <a:gd name="connsiteX1701" fmla="*/ 3304 w 10785"/>
                  <a:gd name="connsiteY1701" fmla="*/ 2607 h 10000"/>
                  <a:gd name="connsiteX1702" fmla="*/ 3276 w 10785"/>
                  <a:gd name="connsiteY1702" fmla="*/ 2632 h 10000"/>
                  <a:gd name="connsiteX1703" fmla="*/ 3272 w 10785"/>
                  <a:gd name="connsiteY1703" fmla="*/ 2667 h 10000"/>
                  <a:gd name="connsiteX1704" fmla="*/ 3304 w 10785"/>
                  <a:gd name="connsiteY1704" fmla="*/ 2667 h 10000"/>
                  <a:gd name="connsiteX1705" fmla="*/ 3323 w 10785"/>
                  <a:gd name="connsiteY1705" fmla="*/ 2692 h 10000"/>
                  <a:gd name="connsiteX1706" fmla="*/ 3318 w 10785"/>
                  <a:gd name="connsiteY1706" fmla="*/ 2735 h 10000"/>
                  <a:gd name="connsiteX1707" fmla="*/ 3304 w 10785"/>
                  <a:gd name="connsiteY1707" fmla="*/ 2761 h 10000"/>
                  <a:gd name="connsiteX1708" fmla="*/ 3276 w 10785"/>
                  <a:gd name="connsiteY1708" fmla="*/ 2769 h 10000"/>
                  <a:gd name="connsiteX1709" fmla="*/ 3263 w 10785"/>
                  <a:gd name="connsiteY1709" fmla="*/ 2795 h 10000"/>
                  <a:gd name="connsiteX1710" fmla="*/ 3235 w 10785"/>
                  <a:gd name="connsiteY1710" fmla="*/ 2803 h 10000"/>
                  <a:gd name="connsiteX1711" fmla="*/ 3235 w 10785"/>
                  <a:gd name="connsiteY1711" fmla="*/ 2786 h 10000"/>
                  <a:gd name="connsiteX1712" fmla="*/ 3212 w 10785"/>
                  <a:gd name="connsiteY1712" fmla="*/ 2709 h 10000"/>
                  <a:gd name="connsiteX1713" fmla="*/ 3198 w 10785"/>
                  <a:gd name="connsiteY1713" fmla="*/ 2709 h 10000"/>
                  <a:gd name="connsiteX1714" fmla="*/ 3184 w 10785"/>
                  <a:gd name="connsiteY1714" fmla="*/ 2735 h 10000"/>
                  <a:gd name="connsiteX1715" fmla="*/ 3189 w 10785"/>
                  <a:gd name="connsiteY1715" fmla="*/ 2761 h 10000"/>
                  <a:gd name="connsiteX1716" fmla="*/ 3203 w 10785"/>
                  <a:gd name="connsiteY1716" fmla="*/ 2855 h 10000"/>
                  <a:gd name="connsiteX1717" fmla="*/ 3212 w 10785"/>
                  <a:gd name="connsiteY1717" fmla="*/ 2872 h 10000"/>
                  <a:gd name="connsiteX1718" fmla="*/ 3235 w 10785"/>
                  <a:gd name="connsiteY1718" fmla="*/ 2906 h 10000"/>
                  <a:gd name="connsiteX1719" fmla="*/ 3258 w 10785"/>
                  <a:gd name="connsiteY1719" fmla="*/ 2915 h 10000"/>
                  <a:gd name="connsiteX1720" fmla="*/ 3272 w 10785"/>
                  <a:gd name="connsiteY1720" fmla="*/ 2957 h 10000"/>
                  <a:gd name="connsiteX1721" fmla="*/ 3276 w 10785"/>
                  <a:gd name="connsiteY1721" fmla="*/ 2957 h 10000"/>
                  <a:gd name="connsiteX1722" fmla="*/ 3286 w 10785"/>
                  <a:gd name="connsiteY1722" fmla="*/ 2966 h 10000"/>
                  <a:gd name="connsiteX1723" fmla="*/ 3300 w 10785"/>
                  <a:gd name="connsiteY1723" fmla="*/ 2957 h 10000"/>
                  <a:gd name="connsiteX1724" fmla="*/ 3309 w 10785"/>
                  <a:gd name="connsiteY1724" fmla="*/ 2932 h 10000"/>
                  <a:gd name="connsiteX1725" fmla="*/ 3304 w 10785"/>
                  <a:gd name="connsiteY1725" fmla="*/ 2966 h 10000"/>
                  <a:gd name="connsiteX1726" fmla="*/ 3309 w 10785"/>
                  <a:gd name="connsiteY1726" fmla="*/ 2983 h 10000"/>
                  <a:gd name="connsiteX1727" fmla="*/ 3323 w 10785"/>
                  <a:gd name="connsiteY1727" fmla="*/ 2966 h 10000"/>
                  <a:gd name="connsiteX1728" fmla="*/ 3323 w 10785"/>
                  <a:gd name="connsiteY1728" fmla="*/ 3043 h 10000"/>
                  <a:gd name="connsiteX1729" fmla="*/ 3346 w 10785"/>
                  <a:gd name="connsiteY1729" fmla="*/ 3068 h 10000"/>
                  <a:gd name="connsiteX1730" fmla="*/ 3346 w 10785"/>
                  <a:gd name="connsiteY1730" fmla="*/ 3094 h 10000"/>
                  <a:gd name="connsiteX1731" fmla="*/ 3323 w 10785"/>
                  <a:gd name="connsiteY1731" fmla="*/ 3094 h 10000"/>
                  <a:gd name="connsiteX1732" fmla="*/ 3309 w 10785"/>
                  <a:gd name="connsiteY1732" fmla="*/ 3077 h 10000"/>
                  <a:gd name="connsiteX1733" fmla="*/ 3304 w 10785"/>
                  <a:gd name="connsiteY1733" fmla="*/ 3051 h 10000"/>
                  <a:gd name="connsiteX1734" fmla="*/ 3300 w 10785"/>
                  <a:gd name="connsiteY1734" fmla="*/ 3043 h 10000"/>
                  <a:gd name="connsiteX1735" fmla="*/ 3286 w 10785"/>
                  <a:gd name="connsiteY1735" fmla="*/ 3017 h 10000"/>
                  <a:gd name="connsiteX1736" fmla="*/ 3152 w 10785"/>
                  <a:gd name="connsiteY1736" fmla="*/ 2966 h 10000"/>
                  <a:gd name="connsiteX1737" fmla="*/ 3129 w 10785"/>
                  <a:gd name="connsiteY1737" fmla="*/ 2915 h 10000"/>
                  <a:gd name="connsiteX1738" fmla="*/ 3129 w 10785"/>
                  <a:gd name="connsiteY1738" fmla="*/ 2906 h 10000"/>
                  <a:gd name="connsiteX1739" fmla="*/ 3152 w 10785"/>
                  <a:gd name="connsiteY1739" fmla="*/ 2906 h 10000"/>
                  <a:gd name="connsiteX1740" fmla="*/ 3152 w 10785"/>
                  <a:gd name="connsiteY1740" fmla="*/ 2846 h 10000"/>
                  <a:gd name="connsiteX1741" fmla="*/ 3138 w 10785"/>
                  <a:gd name="connsiteY1741" fmla="*/ 2795 h 10000"/>
                  <a:gd name="connsiteX1742" fmla="*/ 3138 w 10785"/>
                  <a:gd name="connsiteY1742" fmla="*/ 2769 h 10000"/>
                  <a:gd name="connsiteX1743" fmla="*/ 3143 w 10785"/>
                  <a:gd name="connsiteY1743" fmla="*/ 2718 h 10000"/>
                  <a:gd name="connsiteX1744" fmla="*/ 3129 w 10785"/>
                  <a:gd name="connsiteY1744" fmla="*/ 2692 h 10000"/>
                  <a:gd name="connsiteX1745" fmla="*/ 3143 w 10785"/>
                  <a:gd name="connsiteY1745" fmla="*/ 2667 h 10000"/>
                  <a:gd name="connsiteX1746" fmla="*/ 3157 w 10785"/>
                  <a:gd name="connsiteY1746" fmla="*/ 2581 h 10000"/>
                  <a:gd name="connsiteX1747" fmla="*/ 3143 w 10785"/>
                  <a:gd name="connsiteY1747" fmla="*/ 2496 h 10000"/>
                  <a:gd name="connsiteX1748" fmla="*/ 3157 w 10785"/>
                  <a:gd name="connsiteY1748" fmla="*/ 2487 h 10000"/>
                  <a:gd name="connsiteX1749" fmla="*/ 3143 w 10785"/>
                  <a:gd name="connsiteY1749" fmla="*/ 2444 h 10000"/>
                  <a:gd name="connsiteX1750" fmla="*/ 3143 w 10785"/>
                  <a:gd name="connsiteY1750" fmla="*/ 2419 h 10000"/>
                  <a:gd name="connsiteX1751" fmla="*/ 3143 w 10785"/>
                  <a:gd name="connsiteY1751" fmla="*/ 2410 h 10000"/>
                  <a:gd name="connsiteX1752" fmla="*/ 3124 w 10785"/>
                  <a:gd name="connsiteY1752" fmla="*/ 2376 h 10000"/>
                  <a:gd name="connsiteX1753" fmla="*/ 3115 w 10785"/>
                  <a:gd name="connsiteY1753" fmla="*/ 2350 h 10000"/>
                  <a:gd name="connsiteX1754" fmla="*/ 3101 w 10785"/>
                  <a:gd name="connsiteY1754" fmla="*/ 2359 h 10000"/>
                  <a:gd name="connsiteX1755" fmla="*/ 3115 w 10785"/>
                  <a:gd name="connsiteY1755" fmla="*/ 2581 h 10000"/>
                  <a:gd name="connsiteX1756" fmla="*/ 3111 w 10785"/>
                  <a:gd name="connsiteY1756" fmla="*/ 2624 h 10000"/>
                  <a:gd name="connsiteX1757" fmla="*/ 3009 w 10785"/>
                  <a:gd name="connsiteY1757" fmla="*/ 2761 h 10000"/>
                  <a:gd name="connsiteX1758" fmla="*/ 3009 w 10785"/>
                  <a:gd name="connsiteY1758" fmla="*/ 2803 h 10000"/>
                  <a:gd name="connsiteX1759" fmla="*/ 3005 w 10785"/>
                  <a:gd name="connsiteY1759" fmla="*/ 2829 h 10000"/>
                  <a:gd name="connsiteX1760" fmla="*/ 2982 w 10785"/>
                  <a:gd name="connsiteY1760" fmla="*/ 2872 h 10000"/>
                  <a:gd name="connsiteX1761" fmla="*/ 2982 w 10785"/>
                  <a:gd name="connsiteY1761" fmla="*/ 2880 h 10000"/>
                  <a:gd name="connsiteX1762" fmla="*/ 3037 w 10785"/>
                  <a:gd name="connsiteY1762" fmla="*/ 3034 h 10000"/>
                  <a:gd name="connsiteX1763" fmla="*/ 3041 w 10785"/>
                  <a:gd name="connsiteY1763" fmla="*/ 3103 h 10000"/>
                  <a:gd name="connsiteX1764" fmla="*/ 3069 w 10785"/>
                  <a:gd name="connsiteY1764" fmla="*/ 3188 h 10000"/>
                  <a:gd name="connsiteX1765" fmla="*/ 3055 w 10785"/>
                  <a:gd name="connsiteY1765" fmla="*/ 3325 h 10000"/>
                  <a:gd name="connsiteX1766" fmla="*/ 3037 w 10785"/>
                  <a:gd name="connsiteY1766" fmla="*/ 3368 h 10000"/>
                  <a:gd name="connsiteX1767" fmla="*/ 3037 w 10785"/>
                  <a:gd name="connsiteY1767" fmla="*/ 3444 h 10000"/>
                  <a:gd name="connsiteX1768" fmla="*/ 3028 w 10785"/>
                  <a:gd name="connsiteY1768" fmla="*/ 3453 h 10000"/>
                  <a:gd name="connsiteX1769" fmla="*/ 3023 w 10785"/>
                  <a:gd name="connsiteY1769" fmla="*/ 3530 h 10000"/>
                  <a:gd name="connsiteX1770" fmla="*/ 3051 w 10785"/>
                  <a:gd name="connsiteY1770" fmla="*/ 3624 h 10000"/>
                  <a:gd name="connsiteX1771" fmla="*/ 3037 w 10785"/>
                  <a:gd name="connsiteY1771" fmla="*/ 3718 h 10000"/>
                  <a:gd name="connsiteX1772" fmla="*/ 3041 w 10785"/>
                  <a:gd name="connsiteY1772" fmla="*/ 3752 h 10000"/>
                  <a:gd name="connsiteX1773" fmla="*/ 3055 w 10785"/>
                  <a:gd name="connsiteY1773" fmla="*/ 3761 h 10000"/>
                  <a:gd name="connsiteX1774" fmla="*/ 3078 w 10785"/>
                  <a:gd name="connsiteY1774" fmla="*/ 3752 h 10000"/>
                  <a:gd name="connsiteX1775" fmla="*/ 3092 w 10785"/>
                  <a:gd name="connsiteY1775" fmla="*/ 3752 h 10000"/>
                  <a:gd name="connsiteX1776" fmla="*/ 3129 w 10785"/>
                  <a:gd name="connsiteY1776" fmla="*/ 3761 h 10000"/>
                  <a:gd name="connsiteX1777" fmla="*/ 3129 w 10785"/>
                  <a:gd name="connsiteY1777" fmla="*/ 3735 h 10000"/>
                  <a:gd name="connsiteX1778" fmla="*/ 3157 w 10785"/>
                  <a:gd name="connsiteY1778" fmla="*/ 3718 h 10000"/>
                  <a:gd name="connsiteX1779" fmla="*/ 3184 w 10785"/>
                  <a:gd name="connsiteY1779" fmla="*/ 3718 h 10000"/>
                  <a:gd name="connsiteX1780" fmla="*/ 3290 w 10785"/>
                  <a:gd name="connsiteY1780" fmla="*/ 3838 h 10000"/>
                  <a:gd name="connsiteX1781" fmla="*/ 3300 w 10785"/>
                  <a:gd name="connsiteY1781" fmla="*/ 3846 h 10000"/>
                  <a:gd name="connsiteX1782" fmla="*/ 3300 w 10785"/>
                  <a:gd name="connsiteY1782" fmla="*/ 3915 h 10000"/>
                  <a:gd name="connsiteX1783" fmla="*/ 3318 w 10785"/>
                  <a:gd name="connsiteY1783" fmla="*/ 4000 h 10000"/>
                  <a:gd name="connsiteX1784" fmla="*/ 3323 w 10785"/>
                  <a:gd name="connsiteY1784" fmla="*/ 4000 h 10000"/>
                  <a:gd name="connsiteX1785" fmla="*/ 3323 w 10785"/>
                  <a:gd name="connsiteY1785" fmla="*/ 4034 h 10000"/>
                  <a:gd name="connsiteX1786" fmla="*/ 3318 w 10785"/>
                  <a:gd name="connsiteY1786" fmla="*/ 4051 h 10000"/>
                  <a:gd name="connsiteX1787" fmla="*/ 3300 w 10785"/>
                  <a:gd name="connsiteY1787" fmla="*/ 4051 h 10000"/>
                  <a:gd name="connsiteX1788" fmla="*/ 3290 w 10785"/>
                  <a:gd name="connsiteY1788" fmla="*/ 4077 h 10000"/>
                  <a:gd name="connsiteX1789" fmla="*/ 3286 w 10785"/>
                  <a:gd name="connsiteY1789" fmla="*/ 4103 h 10000"/>
                  <a:gd name="connsiteX1790" fmla="*/ 3286 w 10785"/>
                  <a:gd name="connsiteY1790" fmla="*/ 4197 h 10000"/>
                  <a:gd name="connsiteX1791" fmla="*/ 3290 w 10785"/>
                  <a:gd name="connsiteY1791" fmla="*/ 4214 h 10000"/>
                  <a:gd name="connsiteX1792" fmla="*/ 3304 w 10785"/>
                  <a:gd name="connsiteY1792" fmla="*/ 4214 h 10000"/>
                  <a:gd name="connsiteX1793" fmla="*/ 3323 w 10785"/>
                  <a:gd name="connsiteY1793" fmla="*/ 4239 h 10000"/>
                  <a:gd name="connsiteX1794" fmla="*/ 3350 w 10785"/>
                  <a:gd name="connsiteY1794" fmla="*/ 4222 h 10000"/>
                  <a:gd name="connsiteX1795" fmla="*/ 3369 w 10785"/>
                  <a:gd name="connsiteY1795" fmla="*/ 4256 h 10000"/>
                  <a:gd name="connsiteX1796" fmla="*/ 3369 w 10785"/>
                  <a:gd name="connsiteY1796" fmla="*/ 4256 h 10000"/>
                  <a:gd name="connsiteX1797" fmla="*/ 3336 w 10785"/>
                  <a:gd name="connsiteY1797" fmla="*/ 4274 h 10000"/>
                  <a:gd name="connsiteX1798" fmla="*/ 3323 w 10785"/>
                  <a:gd name="connsiteY1798" fmla="*/ 4274 h 10000"/>
                  <a:gd name="connsiteX1799" fmla="*/ 3290 w 10785"/>
                  <a:gd name="connsiteY1799" fmla="*/ 4274 h 10000"/>
                  <a:gd name="connsiteX1800" fmla="*/ 3286 w 10785"/>
                  <a:gd name="connsiteY1800" fmla="*/ 4239 h 10000"/>
                  <a:gd name="connsiteX1801" fmla="*/ 3263 w 10785"/>
                  <a:gd name="connsiteY1801" fmla="*/ 4214 h 10000"/>
                  <a:gd name="connsiteX1802" fmla="*/ 3258 w 10785"/>
                  <a:gd name="connsiteY1802" fmla="*/ 4188 h 10000"/>
                  <a:gd name="connsiteX1803" fmla="*/ 3263 w 10785"/>
                  <a:gd name="connsiteY1803" fmla="*/ 4171 h 10000"/>
                  <a:gd name="connsiteX1804" fmla="*/ 3263 w 10785"/>
                  <a:gd name="connsiteY1804" fmla="*/ 4103 h 10000"/>
                  <a:gd name="connsiteX1805" fmla="*/ 3276 w 10785"/>
                  <a:gd name="connsiteY1805" fmla="*/ 4060 h 10000"/>
                  <a:gd name="connsiteX1806" fmla="*/ 3272 w 10785"/>
                  <a:gd name="connsiteY1806" fmla="*/ 4051 h 10000"/>
                  <a:gd name="connsiteX1807" fmla="*/ 3263 w 10785"/>
                  <a:gd name="connsiteY1807" fmla="*/ 4051 h 10000"/>
                  <a:gd name="connsiteX1808" fmla="*/ 3263 w 10785"/>
                  <a:gd name="connsiteY1808" fmla="*/ 4034 h 10000"/>
                  <a:gd name="connsiteX1809" fmla="*/ 3263 w 10785"/>
                  <a:gd name="connsiteY1809" fmla="*/ 4000 h 10000"/>
                  <a:gd name="connsiteX1810" fmla="*/ 3272 w 10785"/>
                  <a:gd name="connsiteY1810" fmla="*/ 4000 h 10000"/>
                  <a:gd name="connsiteX1811" fmla="*/ 3272 w 10785"/>
                  <a:gd name="connsiteY1811" fmla="*/ 3974 h 10000"/>
                  <a:gd name="connsiteX1812" fmla="*/ 3272 w 10785"/>
                  <a:gd name="connsiteY1812" fmla="*/ 3966 h 10000"/>
                  <a:gd name="connsiteX1813" fmla="*/ 3272 w 10785"/>
                  <a:gd name="connsiteY1813" fmla="*/ 3949 h 10000"/>
                  <a:gd name="connsiteX1814" fmla="*/ 3258 w 10785"/>
                  <a:gd name="connsiteY1814" fmla="*/ 3923 h 10000"/>
                  <a:gd name="connsiteX1815" fmla="*/ 3249 w 10785"/>
                  <a:gd name="connsiteY1815" fmla="*/ 3915 h 10000"/>
                  <a:gd name="connsiteX1816" fmla="*/ 3244 w 10785"/>
                  <a:gd name="connsiteY1816" fmla="*/ 3897 h 10000"/>
                  <a:gd name="connsiteX1817" fmla="*/ 3230 w 10785"/>
                  <a:gd name="connsiteY1817" fmla="*/ 3889 h 10000"/>
                  <a:gd name="connsiteX1818" fmla="*/ 3230 w 10785"/>
                  <a:gd name="connsiteY1818" fmla="*/ 3863 h 10000"/>
                  <a:gd name="connsiteX1819" fmla="*/ 3230 w 10785"/>
                  <a:gd name="connsiteY1819" fmla="*/ 3838 h 10000"/>
                  <a:gd name="connsiteX1820" fmla="*/ 3226 w 10785"/>
                  <a:gd name="connsiteY1820" fmla="*/ 3803 h 10000"/>
                  <a:gd name="connsiteX1821" fmla="*/ 3138 w 10785"/>
                  <a:gd name="connsiteY1821" fmla="*/ 3838 h 10000"/>
                  <a:gd name="connsiteX1822" fmla="*/ 3078 w 10785"/>
                  <a:gd name="connsiteY1822" fmla="*/ 3889 h 10000"/>
                  <a:gd name="connsiteX1823" fmla="*/ 3078 w 10785"/>
                  <a:gd name="connsiteY1823" fmla="*/ 3940 h 10000"/>
                  <a:gd name="connsiteX1824" fmla="*/ 3069 w 10785"/>
                  <a:gd name="connsiteY1824" fmla="*/ 3983 h 10000"/>
                  <a:gd name="connsiteX1825" fmla="*/ 3069 w 10785"/>
                  <a:gd name="connsiteY1825" fmla="*/ 4009 h 10000"/>
                  <a:gd name="connsiteX1826" fmla="*/ 3078 w 10785"/>
                  <a:gd name="connsiteY1826" fmla="*/ 4026 h 10000"/>
                  <a:gd name="connsiteX1827" fmla="*/ 3083 w 10785"/>
                  <a:gd name="connsiteY1827" fmla="*/ 4034 h 10000"/>
                  <a:gd name="connsiteX1828" fmla="*/ 3092 w 10785"/>
                  <a:gd name="connsiteY1828" fmla="*/ 4060 h 10000"/>
                  <a:gd name="connsiteX1829" fmla="*/ 3092 w 10785"/>
                  <a:gd name="connsiteY1829" fmla="*/ 4077 h 10000"/>
                  <a:gd name="connsiteX1830" fmla="*/ 3097 w 10785"/>
                  <a:gd name="connsiteY1830" fmla="*/ 4103 h 10000"/>
                  <a:gd name="connsiteX1831" fmla="*/ 3101 w 10785"/>
                  <a:gd name="connsiteY1831" fmla="*/ 4162 h 10000"/>
                  <a:gd name="connsiteX1832" fmla="*/ 3097 w 10785"/>
                  <a:gd name="connsiteY1832" fmla="*/ 4222 h 10000"/>
                  <a:gd name="connsiteX1833" fmla="*/ 3041 w 10785"/>
                  <a:gd name="connsiteY1833" fmla="*/ 4325 h 10000"/>
                  <a:gd name="connsiteX1834" fmla="*/ 3037 w 10785"/>
                  <a:gd name="connsiteY1834" fmla="*/ 4419 h 10000"/>
                  <a:gd name="connsiteX1835" fmla="*/ 3018 w 10785"/>
                  <a:gd name="connsiteY1835" fmla="*/ 4470 h 10000"/>
                  <a:gd name="connsiteX1836" fmla="*/ 2991 w 10785"/>
                  <a:gd name="connsiteY1836" fmla="*/ 4513 h 10000"/>
                  <a:gd name="connsiteX1837" fmla="*/ 2977 w 10785"/>
                  <a:gd name="connsiteY1837" fmla="*/ 4530 h 10000"/>
                  <a:gd name="connsiteX1838" fmla="*/ 2945 w 10785"/>
                  <a:gd name="connsiteY1838" fmla="*/ 4556 h 10000"/>
                  <a:gd name="connsiteX1839" fmla="*/ 2935 w 10785"/>
                  <a:gd name="connsiteY1839" fmla="*/ 4581 h 10000"/>
                  <a:gd name="connsiteX1840" fmla="*/ 2949 w 10785"/>
                  <a:gd name="connsiteY1840" fmla="*/ 4624 h 10000"/>
                  <a:gd name="connsiteX1841" fmla="*/ 2945 w 10785"/>
                  <a:gd name="connsiteY1841" fmla="*/ 4658 h 10000"/>
                  <a:gd name="connsiteX1842" fmla="*/ 2922 w 10785"/>
                  <a:gd name="connsiteY1842" fmla="*/ 4667 h 10000"/>
                  <a:gd name="connsiteX1843" fmla="*/ 2876 w 10785"/>
                  <a:gd name="connsiteY1843" fmla="*/ 4632 h 10000"/>
                  <a:gd name="connsiteX1844" fmla="*/ 2857 w 10785"/>
                  <a:gd name="connsiteY1844" fmla="*/ 4632 h 10000"/>
                  <a:gd name="connsiteX1845" fmla="*/ 2820 w 10785"/>
                  <a:gd name="connsiteY1845" fmla="*/ 4641 h 10000"/>
                  <a:gd name="connsiteX1846" fmla="*/ 2797 w 10785"/>
                  <a:gd name="connsiteY1846" fmla="*/ 4632 h 10000"/>
                  <a:gd name="connsiteX1847" fmla="*/ 2788 w 10785"/>
                  <a:gd name="connsiteY1847" fmla="*/ 4624 h 10000"/>
                  <a:gd name="connsiteX1848" fmla="*/ 2788 w 10785"/>
                  <a:gd name="connsiteY1848" fmla="*/ 4598 h 10000"/>
                  <a:gd name="connsiteX1849" fmla="*/ 2797 w 10785"/>
                  <a:gd name="connsiteY1849" fmla="*/ 4581 h 10000"/>
                  <a:gd name="connsiteX1850" fmla="*/ 2788 w 10785"/>
                  <a:gd name="connsiteY1850" fmla="*/ 4530 h 10000"/>
                  <a:gd name="connsiteX1851" fmla="*/ 2774 w 10785"/>
                  <a:gd name="connsiteY1851" fmla="*/ 4530 h 10000"/>
                  <a:gd name="connsiteX1852" fmla="*/ 2770 w 10785"/>
                  <a:gd name="connsiteY1852" fmla="*/ 4513 h 10000"/>
                  <a:gd name="connsiteX1853" fmla="*/ 2774 w 10785"/>
                  <a:gd name="connsiteY1853" fmla="*/ 4513 h 10000"/>
                  <a:gd name="connsiteX1854" fmla="*/ 2788 w 10785"/>
                  <a:gd name="connsiteY1854" fmla="*/ 4496 h 10000"/>
                  <a:gd name="connsiteX1855" fmla="*/ 2802 w 10785"/>
                  <a:gd name="connsiteY1855" fmla="*/ 4513 h 10000"/>
                  <a:gd name="connsiteX1856" fmla="*/ 2811 w 10785"/>
                  <a:gd name="connsiteY1856" fmla="*/ 4530 h 10000"/>
                  <a:gd name="connsiteX1857" fmla="*/ 2820 w 10785"/>
                  <a:gd name="connsiteY1857" fmla="*/ 4521 h 10000"/>
                  <a:gd name="connsiteX1858" fmla="*/ 2829 w 10785"/>
                  <a:gd name="connsiteY1858" fmla="*/ 4513 h 10000"/>
                  <a:gd name="connsiteX1859" fmla="*/ 2843 w 10785"/>
                  <a:gd name="connsiteY1859" fmla="*/ 4513 h 10000"/>
                  <a:gd name="connsiteX1860" fmla="*/ 2848 w 10785"/>
                  <a:gd name="connsiteY1860" fmla="*/ 4470 h 10000"/>
                  <a:gd name="connsiteX1861" fmla="*/ 2862 w 10785"/>
                  <a:gd name="connsiteY1861" fmla="*/ 4487 h 10000"/>
                  <a:gd name="connsiteX1862" fmla="*/ 2876 w 10785"/>
                  <a:gd name="connsiteY1862" fmla="*/ 4470 h 10000"/>
                  <a:gd name="connsiteX1863" fmla="*/ 2880 w 10785"/>
                  <a:gd name="connsiteY1863" fmla="*/ 4462 h 10000"/>
                  <a:gd name="connsiteX1864" fmla="*/ 2889 w 10785"/>
                  <a:gd name="connsiteY1864" fmla="*/ 4444 h 10000"/>
                  <a:gd name="connsiteX1865" fmla="*/ 2894 w 10785"/>
                  <a:gd name="connsiteY1865" fmla="*/ 4462 h 10000"/>
                  <a:gd name="connsiteX1866" fmla="*/ 2917 w 10785"/>
                  <a:gd name="connsiteY1866" fmla="*/ 4444 h 10000"/>
                  <a:gd name="connsiteX1867" fmla="*/ 2922 w 10785"/>
                  <a:gd name="connsiteY1867" fmla="*/ 4436 h 10000"/>
                  <a:gd name="connsiteX1868" fmla="*/ 2917 w 10785"/>
                  <a:gd name="connsiteY1868" fmla="*/ 4410 h 10000"/>
                  <a:gd name="connsiteX1869" fmla="*/ 2894 w 10785"/>
                  <a:gd name="connsiteY1869" fmla="*/ 4410 h 10000"/>
                  <a:gd name="connsiteX1870" fmla="*/ 2889 w 10785"/>
                  <a:gd name="connsiteY1870" fmla="*/ 4419 h 10000"/>
                  <a:gd name="connsiteX1871" fmla="*/ 2876 w 10785"/>
                  <a:gd name="connsiteY1871" fmla="*/ 4410 h 10000"/>
                  <a:gd name="connsiteX1872" fmla="*/ 2880 w 10785"/>
                  <a:gd name="connsiteY1872" fmla="*/ 4376 h 10000"/>
                  <a:gd name="connsiteX1873" fmla="*/ 2903 w 10785"/>
                  <a:gd name="connsiteY1873" fmla="*/ 4393 h 10000"/>
                  <a:gd name="connsiteX1874" fmla="*/ 2931 w 10785"/>
                  <a:gd name="connsiteY1874" fmla="*/ 4393 h 10000"/>
                  <a:gd name="connsiteX1875" fmla="*/ 2931 w 10785"/>
                  <a:gd name="connsiteY1875" fmla="*/ 4385 h 10000"/>
                  <a:gd name="connsiteX1876" fmla="*/ 2931 w 10785"/>
                  <a:gd name="connsiteY1876" fmla="*/ 4350 h 10000"/>
                  <a:gd name="connsiteX1877" fmla="*/ 2945 w 10785"/>
                  <a:gd name="connsiteY1877" fmla="*/ 4350 h 10000"/>
                  <a:gd name="connsiteX1878" fmla="*/ 2949 w 10785"/>
                  <a:gd name="connsiteY1878" fmla="*/ 4325 h 10000"/>
                  <a:gd name="connsiteX1879" fmla="*/ 2963 w 10785"/>
                  <a:gd name="connsiteY1879" fmla="*/ 4256 h 10000"/>
                  <a:gd name="connsiteX1880" fmla="*/ 2982 w 10785"/>
                  <a:gd name="connsiteY1880" fmla="*/ 4239 h 10000"/>
                  <a:gd name="connsiteX1881" fmla="*/ 2991 w 10785"/>
                  <a:gd name="connsiteY1881" fmla="*/ 4214 h 10000"/>
                  <a:gd name="connsiteX1882" fmla="*/ 2991 w 10785"/>
                  <a:gd name="connsiteY1882" fmla="*/ 4197 h 10000"/>
                  <a:gd name="connsiteX1883" fmla="*/ 2995 w 10785"/>
                  <a:gd name="connsiteY1883" fmla="*/ 4171 h 10000"/>
                  <a:gd name="connsiteX1884" fmla="*/ 2991 w 10785"/>
                  <a:gd name="connsiteY1884" fmla="*/ 4077 h 10000"/>
                  <a:gd name="connsiteX1885" fmla="*/ 2995 w 10785"/>
                  <a:gd name="connsiteY1885" fmla="*/ 4034 h 10000"/>
                  <a:gd name="connsiteX1886" fmla="*/ 3018 w 10785"/>
                  <a:gd name="connsiteY1886" fmla="*/ 3983 h 10000"/>
                  <a:gd name="connsiteX1887" fmla="*/ 3018 w 10785"/>
                  <a:gd name="connsiteY1887" fmla="*/ 3915 h 10000"/>
                  <a:gd name="connsiteX1888" fmla="*/ 2949 w 10785"/>
                  <a:gd name="connsiteY1888" fmla="*/ 3778 h 10000"/>
                  <a:gd name="connsiteX1889" fmla="*/ 2954 w 10785"/>
                  <a:gd name="connsiteY1889" fmla="*/ 3675 h 10000"/>
                  <a:gd name="connsiteX1890" fmla="*/ 2954 w 10785"/>
                  <a:gd name="connsiteY1890" fmla="*/ 3650 h 10000"/>
                  <a:gd name="connsiteX1891" fmla="*/ 2963 w 10785"/>
                  <a:gd name="connsiteY1891" fmla="*/ 3624 h 10000"/>
                  <a:gd name="connsiteX1892" fmla="*/ 2954 w 10785"/>
                  <a:gd name="connsiteY1892" fmla="*/ 3564 h 10000"/>
                  <a:gd name="connsiteX1893" fmla="*/ 2963 w 10785"/>
                  <a:gd name="connsiteY1893" fmla="*/ 3538 h 10000"/>
                  <a:gd name="connsiteX1894" fmla="*/ 2963 w 10785"/>
                  <a:gd name="connsiteY1894" fmla="*/ 3487 h 10000"/>
                  <a:gd name="connsiteX1895" fmla="*/ 2963 w 10785"/>
                  <a:gd name="connsiteY1895" fmla="*/ 3479 h 10000"/>
                  <a:gd name="connsiteX1896" fmla="*/ 2963 w 10785"/>
                  <a:gd name="connsiteY1896" fmla="*/ 3462 h 10000"/>
                  <a:gd name="connsiteX1897" fmla="*/ 2954 w 10785"/>
                  <a:gd name="connsiteY1897" fmla="*/ 3453 h 10000"/>
                  <a:gd name="connsiteX1898" fmla="*/ 2954 w 10785"/>
                  <a:gd name="connsiteY1898" fmla="*/ 3444 h 10000"/>
                  <a:gd name="connsiteX1899" fmla="*/ 2954 w 10785"/>
                  <a:gd name="connsiteY1899" fmla="*/ 3402 h 10000"/>
                  <a:gd name="connsiteX1900" fmla="*/ 2954 w 10785"/>
                  <a:gd name="connsiteY1900" fmla="*/ 3393 h 10000"/>
                  <a:gd name="connsiteX1901" fmla="*/ 2949 w 10785"/>
                  <a:gd name="connsiteY1901" fmla="*/ 3376 h 10000"/>
                  <a:gd name="connsiteX1902" fmla="*/ 2949 w 10785"/>
                  <a:gd name="connsiteY1902" fmla="*/ 3342 h 10000"/>
                  <a:gd name="connsiteX1903" fmla="*/ 2949 w 10785"/>
                  <a:gd name="connsiteY1903" fmla="*/ 3316 h 10000"/>
                  <a:gd name="connsiteX1904" fmla="*/ 2968 w 10785"/>
                  <a:gd name="connsiteY1904" fmla="*/ 3291 h 10000"/>
                  <a:gd name="connsiteX1905" fmla="*/ 2963 w 10785"/>
                  <a:gd name="connsiteY1905" fmla="*/ 3205 h 10000"/>
                  <a:gd name="connsiteX1906" fmla="*/ 2968 w 10785"/>
                  <a:gd name="connsiteY1906" fmla="*/ 3171 h 10000"/>
                  <a:gd name="connsiteX1907" fmla="*/ 2968 w 10785"/>
                  <a:gd name="connsiteY1907" fmla="*/ 3128 h 10000"/>
                  <a:gd name="connsiteX1908" fmla="*/ 2954 w 10785"/>
                  <a:gd name="connsiteY1908" fmla="*/ 3051 h 10000"/>
                  <a:gd name="connsiteX1909" fmla="*/ 2954 w 10785"/>
                  <a:gd name="connsiteY1909" fmla="*/ 3009 h 10000"/>
                  <a:gd name="connsiteX1910" fmla="*/ 2922 w 10785"/>
                  <a:gd name="connsiteY1910" fmla="*/ 2940 h 10000"/>
                  <a:gd name="connsiteX1911" fmla="*/ 2903 w 10785"/>
                  <a:gd name="connsiteY1911" fmla="*/ 2880 h 10000"/>
                  <a:gd name="connsiteX1912" fmla="*/ 2903 w 10785"/>
                  <a:gd name="connsiteY1912" fmla="*/ 2855 h 10000"/>
                  <a:gd name="connsiteX1913" fmla="*/ 2908 w 10785"/>
                  <a:gd name="connsiteY1913" fmla="*/ 2846 h 10000"/>
                  <a:gd name="connsiteX1914" fmla="*/ 2931 w 10785"/>
                  <a:gd name="connsiteY1914" fmla="*/ 2821 h 10000"/>
                  <a:gd name="connsiteX1915" fmla="*/ 2931 w 10785"/>
                  <a:gd name="connsiteY1915" fmla="*/ 2803 h 10000"/>
                  <a:gd name="connsiteX1916" fmla="*/ 2935 w 10785"/>
                  <a:gd name="connsiteY1916" fmla="*/ 2786 h 10000"/>
                  <a:gd name="connsiteX1917" fmla="*/ 2935 w 10785"/>
                  <a:gd name="connsiteY1917" fmla="*/ 2744 h 10000"/>
                  <a:gd name="connsiteX1918" fmla="*/ 2963 w 10785"/>
                  <a:gd name="connsiteY1918" fmla="*/ 2607 h 10000"/>
                  <a:gd name="connsiteX1919" fmla="*/ 2963 w 10785"/>
                  <a:gd name="connsiteY1919" fmla="*/ 2419 h 10000"/>
                  <a:gd name="connsiteX1920" fmla="*/ 2954 w 10785"/>
                  <a:gd name="connsiteY1920" fmla="*/ 2410 h 10000"/>
                  <a:gd name="connsiteX1921" fmla="*/ 2963 w 10785"/>
                  <a:gd name="connsiteY1921" fmla="*/ 2393 h 10000"/>
                  <a:gd name="connsiteX1922" fmla="*/ 2908 w 10785"/>
                  <a:gd name="connsiteY1922" fmla="*/ 2359 h 10000"/>
                  <a:gd name="connsiteX1923" fmla="*/ 2889 w 10785"/>
                  <a:gd name="connsiteY1923" fmla="*/ 2325 h 10000"/>
                  <a:gd name="connsiteX1924" fmla="*/ 2788 w 10785"/>
                  <a:gd name="connsiteY1924" fmla="*/ 2333 h 10000"/>
                  <a:gd name="connsiteX1925" fmla="*/ 2774 w 10785"/>
                  <a:gd name="connsiteY1925" fmla="*/ 2325 h 10000"/>
                  <a:gd name="connsiteX1926" fmla="*/ 2783 w 10785"/>
                  <a:gd name="connsiteY1926" fmla="*/ 2308 h 10000"/>
                  <a:gd name="connsiteX1927" fmla="*/ 2747 w 10785"/>
                  <a:gd name="connsiteY1927" fmla="*/ 2308 h 10000"/>
                  <a:gd name="connsiteX1928" fmla="*/ 2742 w 10785"/>
                  <a:gd name="connsiteY1928" fmla="*/ 2333 h 10000"/>
                  <a:gd name="connsiteX1929" fmla="*/ 2682 w 10785"/>
                  <a:gd name="connsiteY1929" fmla="*/ 2769 h 10000"/>
                  <a:gd name="connsiteX1930" fmla="*/ 2613 w 10785"/>
                  <a:gd name="connsiteY1930" fmla="*/ 2940 h 10000"/>
                  <a:gd name="connsiteX1931" fmla="*/ 2581 w 10785"/>
                  <a:gd name="connsiteY1931" fmla="*/ 2966 h 10000"/>
                  <a:gd name="connsiteX1932" fmla="*/ 2576 w 10785"/>
                  <a:gd name="connsiteY1932" fmla="*/ 3051 h 10000"/>
                  <a:gd name="connsiteX1933" fmla="*/ 2581 w 10785"/>
                  <a:gd name="connsiteY1933" fmla="*/ 3051 h 10000"/>
                  <a:gd name="connsiteX1934" fmla="*/ 2594 w 10785"/>
                  <a:gd name="connsiteY1934" fmla="*/ 3017 h 10000"/>
                  <a:gd name="connsiteX1935" fmla="*/ 2594 w 10785"/>
                  <a:gd name="connsiteY1935" fmla="*/ 3034 h 10000"/>
                  <a:gd name="connsiteX1936" fmla="*/ 2594 w 10785"/>
                  <a:gd name="connsiteY1936" fmla="*/ 3051 h 10000"/>
                  <a:gd name="connsiteX1937" fmla="*/ 2590 w 10785"/>
                  <a:gd name="connsiteY1937" fmla="*/ 3077 h 10000"/>
                  <a:gd name="connsiteX1938" fmla="*/ 2567 w 10785"/>
                  <a:gd name="connsiteY1938" fmla="*/ 3103 h 10000"/>
                  <a:gd name="connsiteX1939" fmla="*/ 2562 w 10785"/>
                  <a:gd name="connsiteY1939" fmla="*/ 3145 h 10000"/>
                  <a:gd name="connsiteX1940" fmla="*/ 2567 w 10785"/>
                  <a:gd name="connsiteY1940" fmla="*/ 3179 h 10000"/>
                  <a:gd name="connsiteX1941" fmla="*/ 2590 w 10785"/>
                  <a:gd name="connsiteY1941" fmla="*/ 3171 h 10000"/>
                  <a:gd name="connsiteX1942" fmla="*/ 2594 w 10785"/>
                  <a:gd name="connsiteY1942" fmla="*/ 3145 h 10000"/>
                  <a:gd name="connsiteX1943" fmla="*/ 2613 w 10785"/>
                  <a:gd name="connsiteY1943" fmla="*/ 3154 h 10000"/>
                  <a:gd name="connsiteX1944" fmla="*/ 2622 w 10785"/>
                  <a:gd name="connsiteY1944" fmla="*/ 3179 h 10000"/>
                  <a:gd name="connsiteX1945" fmla="*/ 2613 w 10785"/>
                  <a:gd name="connsiteY1945" fmla="*/ 3214 h 10000"/>
                  <a:gd name="connsiteX1946" fmla="*/ 2613 w 10785"/>
                  <a:gd name="connsiteY1946" fmla="*/ 3308 h 10000"/>
                  <a:gd name="connsiteX1947" fmla="*/ 2608 w 10785"/>
                  <a:gd name="connsiteY1947" fmla="*/ 3325 h 10000"/>
                  <a:gd name="connsiteX1948" fmla="*/ 2608 w 10785"/>
                  <a:gd name="connsiteY1948" fmla="*/ 3376 h 10000"/>
                  <a:gd name="connsiteX1949" fmla="*/ 2613 w 10785"/>
                  <a:gd name="connsiteY1949" fmla="*/ 3419 h 10000"/>
                  <a:gd name="connsiteX1950" fmla="*/ 2608 w 10785"/>
                  <a:gd name="connsiteY1950" fmla="*/ 3444 h 10000"/>
                  <a:gd name="connsiteX1951" fmla="*/ 2594 w 10785"/>
                  <a:gd name="connsiteY1951" fmla="*/ 3444 h 10000"/>
                  <a:gd name="connsiteX1952" fmla="*/ 2590 w 10785"/>
                  <a:gd name="connsiteY1952" fmla="*/ 3427 h 10000"/>
                  <a:gd name="connsiteX1953" fmla="*/ 2581 w 10785"/>
                  <a:gd name="connsiteY1953" fmla="*/ 3564 h 10000"/>
                  <a:gd name="connsiteX1954" fmla="*/ 2594 w 10785"/>
                  <a:gd name="connsiteY1954" fmla="*/ 3598 h 10000"/>
                  <a:gd name="connsiteX1955" fmla="*/ 2594 w 10785"/>
                  <a:gd name="connsiteY1955" fmla="*/ 3581 h 10000"/>
                  <a:gd name="connsiteX1956" fmla="*/ 2608 w 10785"/>
                  <a:gd name="connsiteY1956" fmla="*/ 3556 h 10000"/>
                  <a:gd name="connsiteX1957" fmla="*/ 2650 w 10785"/>
                  <a:gd name="connsiteY1957" fmla="*/ 3615 h 10000"/>
                  <a:gd name="connsiteX1958" fmla="*/ 2664 w 10785"/>
                  <a:gd name="connsiteY1958" fmla="*/ 3615 h 10000"/>
                  <a:gd name="connsiteX1959" fmla="*/ 2668 w 10785"/>
                  <a:gd name="connsiteY1959" fmla="*/ 3615 h 10000"/>
                  <a:gd name="connsiteX1960" fmla="*/ 2664 w 10785"/>
                  <a:gd name="connsiteY1960" fmla="*/ 3667 h 10000"/>
                  <a:gd name="connsiteX1961" fmla="*/ 2687 w 10785"/>
                  <a:gd name="connsiteY1961" fmla="*/ 3786 h 10000"/>
                  <a:gd name="connsiteX1962" fmla="*/ 2710 w 10785"/>
                  <a:gd name="connsiteY1962" fmla="*/ 3812 h 10000"/>
                  <a:gd name="connsiteX1963" fmla="*/ 2724 w 10785"/>
                  <a:gd name="connsiteY1963" fmla="*/ 3812 h 10000"/>
                  <a:gd name="connsiteX1964" fmla="*/ 2724 w 10785"/>
                  <a:gd name="connsiteY1964" fmla="*/ 3829 h 10000"/>
                  <a:gd name="connsiteX1965" fmla="*/ 2737 w 10785"/>
                  <a:gd name="connsiteY1965" fmla="*/ 3838 h 10000"/>
                  <a:gd name="connsiteX1966" fmla="*/ 2714 w 10785"/>
                  <a:gd name="connsiteY1966" fmla="*/ 3872 h 10000"/>
                  <a:gd name="connsiteX1967" fmla="*/ 2696 w 10785"/>
                  <a:gd name="connsiteY1967" fmla="*/ 4026 h 10000"/>
                  <a:gd name="connsiteX1968" fmla="*/ 2673 w 10785"/>
                  <a:gd name="connsiteY1968" fmla="*/ 4051 h 10000"/>
                  <a:gd name="connsiteX1969" fmla="*/ 2668 w 10785"/>
                  <a:gd name="connsiteY1969" fmla="*/ 4034 h 10000"/>
                  <a:gd name="connsiteX1970" fmla="*/ 2673 w 10785"/>
                  <a:gd name="connsiteY1970" fmla="*/ 4000 h 10000"/>
                  <a:gd name="connsiteX1971" fmla="*/ 2664 w 10785"/>
                  <a:gd name="connsiteY1971" fmla="*/ 3974 h 10000"/>
                  <a:gd name="connsiteX1972" fmla="*/ 2636 w 10785"/>
                  <a:gd name="connsiteY1972" fmla="*/ 3949 h 10000"/>
                  <a:gd name="connsiteX1973" fmla="*/ 2581 w 10785"/>
                  <a:gd name="connsiteY1973" fmla="*/ 3838 h 10000"/>
                  <a:gd name="connsiteX1974" fmla="*/ 2562 w 10785"/>
                  <a:gd name="connsiteY1974" fmla="*/ 3829 h 10000"/>
                  <a:gd name="connsiteX1975" fmla="*/ 2535 w 10785"/>
                  <a:gd name="connsiteY1975" fmla="*/ 3778 h 10000"/>
                  <a:gd name="connsiteX1976" fmla="*/ 2502 w 10785"/>
                  <a:gd name="connsiteY1976" fmla="*/ 3761 h 10000"/>
                  <a:gd name="connsiteX1977" fmla="*/ 2502 w 10785"/>
                  <a:gd name="connsiteY1977" fmla="*/ 3735 h 10000"/>
                  <a:gd name="connsiteX1978" fmla="*/ 2516 w 10785"/>
                  <a:gd name="connsiteY1978" fmla="*/ 3735 h 10000"/>
                  <a:gd name="connsiteX1979" fmla="*/ 2507 w 10785"/>
                  <a:gd name="connsiteY1979" fmla="*/ 3726 h 10000"/>
                  <a:gd name="connsiteX1980" fmla="*/ 2488 w 10785"/>
                  <a:gd name="connsiteY1980" fmla="*/ 3726 h 10000"/>
                  <a:gd name="connsiteX1981" fmla="*/ 2461 w 10785"/>
                  <a:gd name="connsiteY1981" fmla="*/ 3692 h 10000"/>
                  <a:gd name="connsiteX1982" fmla="*/ 2442 w 10785"/>
                  <a:gd name="connsiteY1982" fmla="*/ 3675 h 10000"/>
                  <a:gd name="connsiteX1983" fmla="*/ 2406 w 10785"/>
                  <a:gd name="connsiteY1983" fmla="*/ 3598 h 10000"/>
                  <a:gd name="connsiteX1984" fmla="*/ 2346 w 10785"/>
                  <a:gd name="connsiteY1984" fmla="*/ 3564 h 10000"/>
                  <a:gd name="connsiteX1985" fmla="*/ 2341 w 10785"/>
                  <a:gd name="connsiteY1985" fmla="*/ 3564 h 10000"/>
                  <a:gd name="connsiteX1986" fmla="*/ 2313 w 10785"/>
                  <a:gd name="connsiteY1986" fmla="*/ 3530 h 10000"/>
                  <a:gd name="connsiteX1987" fmla="*/ 2235 w 10785"/>
                  <a:gd name="connsiteY1987" fmla="*/ 3530 h 10000"/>
                  <a:gd name="connsiteX1988" fmla="*/ 2226 w 10785"/>
                  <a:gd name="connsiteY1988" fmla="*/ 3513 h 10000"/>
                  <a:gd name="connsiteX1989" fmla="*/ 2207 w 10785"/>
                  <a:gd name="connsiteY1989" fmla="*/ 3504 h 10000"/>
                  <a:gd name="connsiteX1990" fmla="*/ 2194 w 10785"/>
                  <a:gd name="connsiteY1990" fmla="*/ 3504 h 10000"/>
                  <a:gd name="connsiteX1991" fmla="*/ 2189 w 10785"/>
                  <a:gd name="connsiteY1991" fmla="*/ 3504 h 10000"/>
                  <a:gd name="connsiteX1992" fmla="*/ 2189 w 10785"/>
                  <a:gd name="connsiteY1992" fmla="*/ 3530 h 10000"/>
                  <a:gd name="connsiteX1993" fmla="*/ 2180 w 10785"/>
                  <a:gd name="connsiteY1993" fmla="*/ 3538 h 10000"/>
                  <a:gd name="connsiteX1994" fmla="*/ 2152 w 10785"/>
                  <a:gd name="connsiteY1994" fmla="*/ 3581 h 10000"/>
                  <a:gd name="connsiteX1995" fmla="*/ 2161 w 10785"/>
                  <a:gd name="connsiteY1995" fmla="*/ 3598 h 10000"/>
                  <a:gd name="connsiteX1996" fmla="*/ 2194 w 10785"/>
                  <a:gd name="connsiteY1996" fmla="*/ 3752 h 10000"/>
                  <a:gd name="connsiteX1997" fmla="*/ 2194 w 10785"/>
                  <a:gd name="connsiteY1997" fmla="*/ 3735 h 10000"/>
                  <a:gd name="connsiteX1998" fmla="*/ 2198 w 10785"/>
                  <a:gd name="connsiteY1998" fmla="*/ 3735 h 10000"/>
                  <a:gd name="connsiteX1999" fmla="*/ 2189 w 10785"/>
                  <a:gd name="connsiteY1999" fmla="*/ 3838 h 10000"/>
                  <a:gd name="connsiteX2000" fmla="*/ 2166 w 10785"/>
                  <a:gd name="connsiteY2000" fmla="*/ 3889 h 10000"/>
                  <a:gd name="connsiteX2001" fmla="*/ 2124 w 10785"/>
                  <a:gd name="connsiteY2001" fmla="*/ 3889 h 10000"/>
                  <a:gd name="connsiteX2002" fmla="*/ 2124 w 10785"/>
                  <a:gd name="connsiteY2002" fmla="*/ 3923 h 10000"/>
                  <a:gd name="connsiteX2003" fmla="*/ 2134 w 10785"/>
                  <a:gd name="connsiteY2003" fmla="*/ 3940 h 10000"/>
                  <a:gd name="connsiteX2004" fmla="*/ 2134 w 10785"/>
                  <a:gd name="connsiteY2004" fmla="*/ 3966 h 10000"/>
                  <a:gd name="connsiteX2005" fmla="*/ 2120 w 10785"/>
                  <a:gd name="connsiteY2005" fmla="*/ 4000 h 10000"/>
                  <a:gd name="connsiteX2006" fmla="*/ 2106 w 10785"/>
                  <a:gd name="connsiteY2006" fmla="*/ 4009 h 10000"/>
                  <a:gd name="connsiteX2007" fmla="*/ 2088 w 10785"/>
                  <a:gd name="connsiteY2007" fmla="*/ 4000 h 10000"/>
                  <a:gd name="connsiteX2008" fmla="*/ 2074 w 10785"/>
                  <a:gd name="connsiteY2008" fmla="*/ 3974 h 10000"/>
                  <a:gd name="connsiteX2009" fmla="*/ 2074 w 10785"/>
                  <a:gd name="connsiteY2009" fmla="*/ 3940 h 10000"/>
                  <a:gd name="connsiteX2010" fmla="*/ 2078 w 10785"/>
                  <a:gd name="connsiteY2010" fmla="*/ 3915 h 10000"/>
                  <a:gd name="connsiteX2011" fmla="*/ 2088 w 10785"/>
                  <a:gd name="connsiteY2011" fmla="*/ 3889 h 10000"/>
                  <a:gd name="connsiteX2012" fmla="*/ 2101 w 10785"/>
                  <a:gd name="connsiteY2012" fmla="*/ 3872 h 10000"/>
                  <a:gd name="connsiteX2013" fmla="*/ 2074 w 10785"/>
                  <a:gd name="connsiteY2013" fmla="*/ 3812 h 10000"/>
                  <a:gd name="connsiteX2014" fmla="*/ 2074 w 10785"/>
                  <a:gd name="connsiteY2014" fmla="*/ 3786 h 10000"/>
                  <a:gd name="connsiteX2015" fmla="*/ 2060 w 10785"/>
                  <a:gd name="connsiteY2015" fmla="*/ 3786 h 10000"/>
                  <a:gd name="connsiteX2016" fmla="*/ 2014 w 10785"/>
                  <a:gd name="connsiteY2016" fmla="*/ 3829 h 10000"/>
                  <a:gd name="connsiteX2017" fmla="*/ 2000 w 10785"/>
                  <a:gd name="connsiteY2017" fmla="*/ 3863 h 10000"/>
                  <a:gd name="connsiteX2018" fmla="*/ 1986 w 10785"/>
                  <a:gd name="connsiteY2018" fmla="*/ 3872 h 10000"/>
                  <a:gd name="connsiteX2019" fmla="*/ 1959 w 10785"/>
                  <a:gd name="connsiteY2019" fmla="*/ 3940 h 10000"/>
                  <a:gd name="connsiteX2020" fmla="*/ 1945 w 10785"/>
                  <a:gd name="connsiteY2020" fmla="*/ 3949 h 10000"/>
                  <a:gd name="connsiteX2021" fmla="*/ 1940 w 10785"/>
                  <a:gd name="connsiteY2021" fmla="*/ 3923 h 10000"/>
                  <a:gd name="connsiteX2022" fmla="*/ 1917 w 10785"/>
                  <a:gd name="connsiteY2022" fmla="*/ 3915 h 10000"/>
                  <a:gd name="connsiteX2023" fmla="*/ 1899 w 10785"/>
                  <a:gd name="connsiteY2023" fmla="*/ 3923 h 10000"/>
                  <a:gd name="connsiteX2024" fmla="*/ 1880 w 10785"/>
                  <a:gd name="connsiteY2024" fmla="*/ 3915 h 10000"/>
                  <a:gd name="connsiteX2025" fmla="*/ 1853 w 10785"/>
                  <a:gd name="connsiteY2025" fmla="*/ 3940 h 10000"/>
                  <a:gd name="connsiteX2026" fmla="*/ 1839 w 10785"/>
                  <a:gd name="connsiteY2026" fmla="*/ 3940 h 10000"/>
                  <a:gd name="connsiteX2027" fmla="*/ 1806 w 10785"/>
                  <a:gd name="connsiteY2027" fmla="*/ 3983 h 10000"/>
                  <a:gd name="connsiteX2028" fmla="*/ 1806 w 10785"/>
                  <a:gd name="connsiteY2028" fmla="*/ 4000 h 10000"/>
                  <a:gd name="connsiteX2029" fmla="*/ 1797 w 10785"/>
                  <a:gd name="connsiteY2029" fmla="*/ 4077 h 10000"/>
                  <a:gd name="connsiteX2030" fmla="*/ 1783 w 10785"/>
                  <a:gd name="connsiteY2030" fmla="*/ 4077 h 10000"/>
                  <a:gd name="connsiteX2031" fmla="*/ 1779 w 10785"/>
                  <a:gd name="connsiteY2031" fmla="*/ 4051 h 10000"/>
                  <a:gd name="connsiteX2032" fmla="*/ 1765 w 10785"/>
                  <a:gd name="connsiteY2032" fmla="*/ 4026 h 10000"/>
                  <a:gd name="connsiteX2033" fmla="*/ 1751 w 10785"/>
                  <a:gd name="connsiteY2033" fmla="*/ 4051 h 10000"/>
                  <a:gd name="connsiteX2034" fmla="*/ 1737 w 10785"/>
                  <a:gd name="connsiteY2034" fmla="*/ 4009 h 10000"/>
                  <a:gd name="connsiteX2035" fmla="*/ 1737 w 10785"/>
                  <a:gd name="connsiteY2035" fmla="*/ 3966 h 10000"/>
                  <a:gd name="connsiteX2036" fmla="*/ 1733 w 10785"/>
                  <a:gd name="connsiteY2036" fmla="*/ 3940 h 10000"/>
                  <a:gd name="connsiteX2037" fmla="*/ 1733 w 10785"/>
                  <a:gd name="connsiteY2037" fmla="*/ 3923 h 10000"/>
                  <a:gd name="connsiteX2038" fmla="*/ 1747 w 10785"/>
                  <a:gd name="connsiteY2038" fmla="*/ 3889 h 10000"/>
                  <a:gd name="connsiteX2039" fmla="*/ 1747 w 10785"/>
                  <a:gd name="connsiteY2039" fmla="*/ 3863 h 10000"/>
                  <a:gd name="connsiteX2040" fmla="*/ 1737 w 10785"/>
                  <a:gd name="connsiteY2040" fmla="*/ 3838 h 10000"/>
                  <a:gd name="connsiteX2041" fmla="*/ 1733 w 10785"/>
                  <a:gd name="connsiteY2041" fmla="*/ 3829 h 10000"/>
                  <a:gd name="connsiteX2042" fmla="*/ 1733 w 10785"/>
                  <a:gd name="connsiteY2042" fmla="*/ 3846 h 10000"/>
                  <a:gd name="connsiteX2043" fmla="*/ 1724 w 10785"/>
                  <a:gd name="connsiteY2043" fmla="*/ 3846 h 10000"/>
                  <a:gd name="connsiteX2044" fmla="*/ 1724 w 10785"/>
                  <a:gd name="connsiteY2044" fmla="*/ 3829 h 10000"/>
                  <a:gd name="connsiteX2045" fmla="*/ 1737 w 10785"/>
                  <a:gd name="connsiteY2045" fmla="*/ 3812 h 10000"/>
                  <a:gd name="connsiteX2046" fmla="*/ 1765 w 10785"/>
                  <a:gd name="connsiteY2046" fmla="*/ 3812 h 10000"/>
                  <a:gd name="connsiteX2047" fmla="*/ 1779 w 10785"/>
                  <a:gd name="connsiteY2047" fmla="*/ 3786 h 10000"/>
                  <a:gd name="connsiteX2048" fmla="*/ 1779 w 10785"/>
                  <a:gd name="connsiteY2048" fmla="*/ 3786 h 10000"/>
                  <a:gd name="connsiteX2049" fmla="*/ 1751 w 10785"/>
                  <a:gd name="connsiteY2049" fmla="*/ 3803 h 10000"/>
                  <a:gd name="connsiteX2050" fmla="*/ 1747 w 10785"/>
                  <a:gd name="connsiteY2050" fmla="*/ 3803 h 10000"/>
                  <a:gd name="connsiteX2051" fmla="*/ 1724 w 10785"/>
                  <a:gd name="connsiteY2051" fmla="*/ 3803 h 10000"/>
                  <a:gd name="connsiteX2052" fmla="*/ 1700 w 10785"/>
                  <a:gd name="connsiteY2052" fmla="*/ 3829 h 10000"/>
                  <a:gd name="connsiteX2053" fmla="*/ 1705 w 10785"/>
                  <a:gd name="connsiteY2053" fmla="*/ 3846 h 10000"/>
                  <a:gd name="connsiteX2054" fmla="*/ 1691 w 10785"/>
                  <a:gd name="connsiteY2054" fmla="*/ 3846 h 10000"/>
                  <a:gd name="connsiteX2055" fmla="*/ 1691 w 10785"/>
                  <a:gd name="connsiteY2055" fmla="*/ 3863 h 10000"/>
                  <a:gd name="connsiteX2056" fmla="*/ 1691 w 10785"/>
                  <a:gd name="connsiteY2056" fmla="*/ 3915 h 10000"/>
                  <a:gd name="connsiteX2057" fmla="*/ 1677 w 10785"/>
                  <a:gd name="connsiteY2057" fmla="*/ 3923 h 10000"/>
                  <a:gd name="connsiteX2058" fmla="*/ 1673 w 10785"/>
                  <a:gd name="connsiteY2058" fmla="*/ 3915 h 10000"/>
                  <a:gd name="connsiteX2059" fmla="*/ 1664 w 10785"/>
                  <a:gd name="connsiteY2059" fmla="*/ 3889 h 10000"/>
                  <a:gd name="connsiteX2060" fmla="*/ 1673 w 10785"/>
                  <a:gd name="connsiteY2060" fmla="*/ 3872 h 10000"/>
                  <a:gd name="connsiteX2061" fmla="*/ 1664 w 10785"/>
                  <a:gd name="connsiteY2061" fmla="*/ 3872 h 10000"/>
                  <a:gd name="connsiteX2062" fmla="*/ 1636 w 10785"/>
                  <a:gd name="connsiteY2062" fmla="*/ 3923 h 10000"/>
                  <a:gd name="connsiteX2063" fmla="*/ 1645 w 10785"/>
                  <a:gd name="connsiteY2063" fmla="*/ 3923 h 10000"/>
                  <a:gd name="connsiteX2064" fmla="*/ 1650 w 10785"/>
                  <a:gd name="connsiteY2064" fmla="*/ 3949 h 10000"/>
                  <a:gd name="connsiteX2065" fmla="*/ 1650 w 10785"/>
                  <a:gd name="connsiteY2065" fmla="*/ 3983 h 10000"/>
                  <a:gd name="connsiteX2066" fmla="*/ 1636 w 10785"/>
                  <a:gd name="connsiteY2066" fmla="*/ 4000 h 10000"/>
                  <a:gd name="connsiteX2067" fmla="*/ 1631 w 10785"/>
                  <a:gd name="connsiteY2067" fmla="*/ 4009 h 10000"/>
                  <a:gd name="connsiteX2068" fmla="*/ 1618 w 10785"/>
                  <a:gd name="connsiteY2068" fmla="*/ 3949 h 10000"/>
                  <a:gd name="connsiteX2069" fmla="*/ 1585 w 10785"/>
                  <a:gd name="connsiteY2069" fmla="*/ 3966 h 10000"/>
                  <a:gd name="connsiteX2070" fmla="*/ 1590 w 10785"/>
                  <a:gd name="connsiteY2070" fmla="*/ 3974 h 10000"/>
                  <a:gd name="connsiteX2071" fmla="*/ 1544 w 10785"/>
                  <a:gd name="connsiteY2071" fmla="*/ 4009 h 10000"/>
                  <a:gd name="connsiteX2072" fmla="*/ 1539 w 10785"/>
                  <a:gd name="connsiteY2072" fmla="*/ 4009 h 10000"/>
                  <a:gd name="connsiteX2073" fmla="*/ 1410 w 10785"/>
                  <a:gd name="connsiteY2073" fmla="*/ 4188 h 10000"/>
                  <a:gd name="connsiteX2074" fmla="*/ 1406 w 10785"/>
                  <a:gd name="connsiteY2074" fmla="*/ 4171 h 10000"/>
                  <a:gd name="connsiteX2075" fmla="*/ 1396 w 10785"/>
                  <a:gd name="connsiteY2075" fmla="*/ 4214 h 10000"/>
                  <a:gd name="connsiteX2076" fmla="*/ 1406 w 10785"/>
                  <a:gd name="connsiteY2076" fmla="*/ 4222 h 10000"/>
                  <a:gd name="connsiteX2077" fmla="*/ 1392 w 10785"/>
                  <a:gd name="connsiteY2077" fmla="*/ 4239 h 10000"/>
                  <a:gd name="connsiteX2078" fmla="*/ 1369 w 10785"/>
                  <a:gd name="connsiteY2078" fmla="*/ 4248 h 10000"/>
                  <a:gd name="connsiteX2079" fmla="*/ 1355 w 10785"/>
                  <a:gd name="connsiteY2079" fmla="*/ 4256 h 10000"/>
                  <a:gd name="connsiteX2080" fmla="*/ 1350 w 10785"/>
                  <a:gd name="connsiteY2080" fmla="*/ 4248 h 10000"/>
                  <a:gd name="connsiteX2081" fmla="*/ 1332 w 10785"/>
                  <a:gd name="connsiteY2081" fmla="*/ 4376 h 10000"/>
                  <a:gd name="connsiteX2082" fmla="*/ 1332 w 10785"/>
                  <a:gd name="connsiteY2082" fmla="*/ 4436 h 10000"/>
                  <a:gd name="connsiteX2083" fmla="*/ 1323 w 10785"/>
                  <a:gd name="connsiteY2083" fmla="*/ 4462 h 10000"/>
                  <a:gd name="connsiteX2084" fmla="*/ 1304 w 10785"/>
                  <a:gd name="connsiteY2084" fmla="*/ 4487 h 10000"/>
                  <a:gd name="connsiteX2085" fmla="*/ 1290 w 10785"/>
                  <a:gd name="connsiteY2085" fmla="*/ 4470 h 10000"/>
                  <a:gd name="connsiteX2086" fmla="*/ 1263 w 10785"/>
                  <a:gd name="connsiteY2086" fmla="*/ 4496 h 10000"/>
                  <a:gd name="connsiteX2087" fmla="*/ 1258 w 10785"/>
                  <a:gd name="connsiteY2087" fmla="*/ 4547 h 10000"/>
                  <a:gd name="connsiteX2088" fmla="*/ 1249 w 10785"/>
                  <a:gd name="connsiteY2088" fmla="*/ 4487 h 10000"/>
                  <a:gd name="connsiteX2089" fmla="*/ 1235 w 10785"/>
                  <a:gd name="connsiteY2089" fmla="*/ 4496 h 10000"/>
                  <a:gd name="connsiteX2090" fmla="*/ 1221 w 10785"/>
                  <a:gd name="connsiteY2090" fmla="*/ 4496 h 10000"/>
                  <a:gd name="connsiteX2091" fmla="*/ 1217 w 10785"/>
                  <a:gd name="connsiteY2091" fmla="*/ 4487 h 10000"/>
                  <a:gd name="connsiteX2092" fmla="*/ 1198 w 10785"/>
                  <a:gd name="connsiteY2092" fmla="*/ 4410 h 10000"/>
                  <a:gd name="connsiteX2093" fmla="*/ 1157 w 10785"/>
                  <a:gd name="connsiteY2093" fmla="*/ 4333 h 10000"/>
                  <a:gd name="connsiteX2094" fmla="*/ 1147 w 10785"/>
                  <a:gd name="connsiteY2094" fmla="*/ 4299 h 10000"/>
                  <a:gd name="connsiteX2095" fmla="*/ 1147 w 10785"/>
                  <a:gd name="connsiteY2095" fmla="*/ 4274 h 10000"/>
                  <a:gd name="connsiteX2096" fmla="*/ 1161 w 10785"/>
                  <a:gd name="connsiteY2096" fmla="*/ 4256 h 10000"/>
                  <a:gd name="connsiteX2097" fmla="*/ 1171 w 10785"/>
                  <a:gd name="connsiteY2097" fmla="*/ 4248 h 10000"/>
                  <a:gd name="connsiteX2098" fmla="*/ 1175 w 10785"/>
                  <a:gd name="connsiteY2098" fmla="*/ 4214 h 10000"/>
                  <a:gd name="connsiteX2099" fmla="*/ 1263 w 10785"/>
                  <a:gd name="connsiteY2099" fmla="*/ 4171 h 10000"/>
                  <a:gd name="connsiteX2100" fmla="*/ 1249 w 10785"/>
                  <a:gd name="connsiteY2100" fmla="*/ 4137 h 10000"/>
                  <a:gd name="connsiteX2101" fmla="*/ 1244 w 10785"/>
                  <a:gd name="connsiteY2101" fmla="*/ 4060 h 10000"/>
                  <a:gd name="connsiteX2102" fmla="*/ 1230 w 10785"/>
                  <a:gd name="connsiteY2102" fmla="*/ 4077 h 10000"/>
                  <a:gd name="connsiteX2103" fmla="*/ 1221 w 10785"/>
                  <a:gd name="connsiteY2103" fmla="*/ 4026 h 10000"/>
                  <a:gd name="connsiteX2104" fmla="*/ 1217 w 10785"/>
                  <a:gd name="connsiteY2104" fmla="*/ 4026 h 10000"/>
                  <a:gd name="connsiteX2105" fmla="*/ 1212 w 10785"/>
                  <a:gd name="connsiteY2105" fmla="*/ 3983 h 10000"/>
                  <a:gd name="connsiteX2106" fmla="*/ 1203 w 10785"/>
                  <a:gd name="connsiteY2106" fmla="*/ 3966 h 10000"/>
                  <a:gd name="connsiteX2107" fmla="*/ 1171 w 10785"/>
                  <a:gd name="connsiteY2107" fmla="*/ 3949 h 10000"/>
                  <a:gd name="connsiteX2108" fmla="*/ 1111 w 10785"/>
                  <a:gd name="connsiteY2108" fmla="*/ 3940 h 10000"/>
                  <a:gd name="connsiteX2109" fmla="*/ 1097 w 10785"/>
                  <a:gd name="connsiteY2109" fmla="*/ 3949 h 10000"/>
                  <a:gd name="connsiteX2110" fmla="*/ 1037 w 10785"/>
                  <a:gd name="connsiteY2110" fmla="*/ 3897 h 10000"/>
                  <a:gd name="connsiteX2111" fmla="*/ 1041 w 10785"/>
                  <a:gd name="connsiteY2111" fmla="*/ 3923 h 10000"/>
                  <a:gd name="connsiteX2112" fmla="*/ 1097 w 10785"/>
                  <a:gd name="connsiteY2112" fmla="*/ 4009 h 10000"/>
                  <a:gd name="connsiteX2113" fmla="*/ 1097 w 10785"/>
                  <a:gd name="connsiteY2113" fmla="*/ 4120 h 10000"/>
                  <a:gd name="connsiteX2114" fmla="*/ 1097 w 10785"/>
                  <a:gd name="connsiteY2114" fmla="*/ 4162 h 10000"/>
                  <a:gd name="connsiteX2115" fmla="*/ 1097 w 10785"/>
                  <a:gd name="connsiteY2115" fmla="*/ 4197 h 10000"/>
                  <a:gd name="connsiteX2116" fmla="*/ 1074 w 10785"/>
                  <a:gd name="connsiteY2116" fmla="*/ 4333 h 10000"/>
                  <a:gd name="connsiteX2117" fmla="*/ 1074 w 10785"/>
                  <a:gd name="connsiteY2117" fmla="*/ 4376 h 10000"/>
                  <a:gd name="connsiteX2118" fmla="*/ 1083 w 10785"/>
                  <a:gd name="connsiteY2118" fmla="*/ 4385 h 10000"/>
                  <a:gd name="connsiteX2119" fmla="*/ 1097 w 10785"/>
                  <a:gd name="connsiteY2119" fmla="*/ 4385 h 10000"/>
                  <a:gd name="connsiteX2120" fmla="*/ 1111 w 10785"/>
                  <a:gd name="connsiteY2120" fmla="*/ 4410 h 10000"/>
                  <a:gd name="connsiteX2121" fmla="*/ 1124 w 10785"/>
                  <a:gd name="connsiteY2121" fmla="*/ 4444 h 10000"/>
                  <a:gd name="connsiteX2122" fmla="*/ 1124 w 10785"/>
                  <a:gd name="connsiteY2122" fmla="*/ 4470 h 10000"/>
                  <a:gd name="connsiteX2123" fmla="*/ 1115 w 10785"/>
                  <a:gd name="connsiteY2123" fmla="*/ 4513 h 10000"/>
                  <a:gd name="connsiteX2124" fmla="*/ 1115 w 10785"/>
                  <a:gd name="connsiteY2124" fmla="*/ 4530 h 10000"/>
                  <a:gd name="connsiteX2125" fmla="*/ 1115 w 10785"/>
                  <a:gd name="connsiteY2125" fmla="*/ 4573 h 10000"/>
                  <a:gd name="connsiteX2126" fmla="*/ 1101 w 10785"/>
                  <a:gd name="connsiteY2126" fmla="*/ 4607 h 10000"/>
                  <a:gd name="connsiteX2127" fmla="*/ 1097 w 10785"/>
                  <a:gd name="connsiteY2127" fmla="*/ 4658 h 10000"/>
                  <a:gd name="connsiteX2128" fmla="*/ 1101 w 10785"/>
                  <a:gd name="connsiteY2128" fmla="*/ 4692 h 10000"/>
                  <a:gd name="connsiteX2129" fmla="*/ 1097 w 10785"/>
                  <a:gd name="connsiteY2129" fmla="*/ 4778 h 10000"/>
                  <a:gd name="connsiteX2130" fmla="*/ 1083 w 10785"/>
                  <a:gd name="connsiteY2130" fmla="*/ 4744 h 10000"/>
                  <a:gd name="connsiteX2131" fmla="*/ 1083 w 10785"/>
                  <a:gd name="connsiteY2131" fmla="*/ 4718 h 10000"/>
                  <a:gd name="connsiteX2132" fmla="*/ 1074 w 10785"/>
                  <a:gd name="connsiteY2132" fmla="*/ 4692 h 10000"/>
                  <a:gd name="connsiteX2133" fmla="*/ 1065 w 10785"/>
                  <a:gd name="connsiteY2133" fmla="*/ 4692 h 10000"/>
                  <a:gd name="connsiteX2134" fmla="*/ 1051 w 10785"/>
                  <a:gd name="connsiteY2134" fmla="*/ 4718 h 10000"/>
                  <a:gd name="connsiteX2135" fmla="*/ 1055 w 10785"/>
                  <a:gd name="connsiteY2135" fmla="*/ 4692 h 10000"/>
                  <a:gd name="connsiteX2136" fmla="*/ 1055 w 10785"/>
                  <a:gd name="connsiteY2136" fmla="*/ 4667 h 10000"/>
                  <a:gd name="connsiteX2137" fmla="*/ 1028 w 10785"/>
                  <a:gd name="connsiteY2137" fmla="*/ 4624 h 10000"/>
                  <a:gd name="connsiteX2138" fmla="*/ 1005 w 10785"/>
                  <a:gd name="connsiteY2138" fmla="*/ 4624 h 10000"/>
                  <a:gd name="connsiteX2139" fmla="*/ 977 w 10785"/>
                  <a:gd name="connsiteY2139" fmla="*/ 4581 h 10000"/>
                  <a:gd name="connsiteX2140" fmla="*/ 963 w 10785"/>
                  <a:gd name="connsiteY2140" fmla="*/ 4607 h 10000"/>
                  <a:gd name="connsiteX2141" fmla="*/ 963 w 10785"/>
                  <a:gd name="connsiteY2141" fmla="*/ 4632 h 10000"/>
                  <a:gd name="connsiteX2142" fmla="*/ 917 w 10785"/>
                  <a:gd name="connsiteY2142" fmla="*/ 4718 h 10000"/>
                  <a:gd name="connsiteX2143" fmla="*/ 889 w 10785"/>
                  <a:gd name="connsiteY2143" fmla="*/ 4744 h 10000"/>
                  <a:gd name="connsiteX2144" fmla="*/ 880 w 10785"/>
                  <a:gd name="connsiteY2144" fmla="*/ 4744 h 10000"/>
                  <a:gd name="connsiteX2145" fmla="*/ 862 w 10785"/>
                  <a:gd name="connsiteY2145" fmla="*/ 4769 h 10000"/>
                  <a:gd name="connsiteX2146" fmla="*/ 857 w 10785"/>
                  <a:gd name="connsiteY2146" fmla="*/ 4795 h 10000"/>
                  <a:gd name="connsiteX2147" fmla="*/ 829 w 10785"/>
                  <a:gd name="connsiteY2147" fmla="*/ 4846 h 10000"/>
                  <a:gd name="connsiteX2148" fmla="*/ 816 w 10785"/>
                  <a:gd name="connsiteY2148" fmla="*/ 4855 h 10000"/>
                  <a:gd name="connsiteX2149" fmla="*/ 816 w 10785"/>
                  <a:gd name="connsiteY2149" fmla="*/ 4940 h 10000"/>
                  <a:gd name="connsiteX2150" fmla="*/ 880 w 10785"/>
                  <a:gd name="connsiteY2150" fmla="*/ 5179 h 10000"/>
                  <a:gd name="connsiteX2151" fmla="*/ 880 w 10785"/>
                  <a:gd name="connsiteY2151" fmla="*/ 5188 h 10000"/>
                  <a:gd name="connsiteX2152" fmla="*/ 862 w 10785"/>
                  <a:gd name="connsiteY2152" fmla="*/ 5171 h 10000"/>
                  <a:gd name="connsiteX2153" fmla="*/ 857 w 10785"/>
                  <a:gd name="connsiteY2153" fmla="*/ 5171 h 10000"/>
                  <a:gd name="connsiteX2154" fmla="*/ 820 w 10785"/>
                  <a:gd name="connsiteY2154" fmla="*/ 5145 h 10000"/>
                  <a:gd name="connsiteX2155" fmla="*/ 820 w 10785"/>
                  <a:gd name="connsiteY2155" fmla="*/ 5154 h 10000"/>
                  <a:gd name="connsiteX2156" fmla="*/ 816 w 10785"/>
                  <a:gd name="connsiteY2156" fmla="*/ 5171 h 10000"/>
                  <a:gd name="connsiteX2157" fmla="*/ 783 w 10785"/>
                  <a:gd name="connsiteY2157" fmla="*/ 5145 h 10000"/>
                  <a:gd name="connsiteX2158" fmla="*/ 756 w 10785"/>
                  <a:gd name="connsiteY2158" fmla="*/ 5103 h 10000"/>
                  <a:gd name="connsiteX2159" fmla="*/ 742 w 10785"/>
                  <a:gd name="connsiteY2159" fmla="*/ 5103 h 10000"/>
                  <a:gd name="connsiteX2160" fmla="*/ 728 w 10785"/>
                  <a:gd name="connsiteY2160" fmla="*/ 5094 h 10000"/>
                  <a:gd name="connsiteX2161" fmla="*/ 710 w 10785"/>
                  <a:gd name="connsiteY2161" fmla="*/ 5120 h 10000"/>
                  <a:gd name="connsiteX2162" fmla="*/ 700 w 10785"/>
                  <a:gd name="connsiteY2162" fmla="*/ 5145 h 10000"/>
                  <a:gd name="connsiteX2163" fmla="*/ 696 w 10785"/>
                  <a:gd name="connsiteY2163" fmla="*/ 5103 h 10000"/>
                  <a:gd name="connsiteX2164" fmla="*/ 714 w 10785"/>
                  <a:gd name="connsiteY2164" fmla="*/ 5077 h 10000"/>
                  <a:gd name="connsiteX2165" fmla="*/ 682 w 10785"/>
                  <a:gd name="connsiteY2165" fmla="*/ 5068 h 10000"/>
                  <a:gd name="connsiteX2166" fmla="*/ 673 w 10785"/>
                  <a:gd name="connsiteY2166" fmla="*/ 5034 h 10000"/>
                  <a:gd name="connsiteX2167" fmla="*/ 636 w 10785"/>
                  <a:gd name="connsiteY2167" fmla="*/ 4991 h 10000"/>
                  <a:gd name="connsiteX2168" fmla="*/ 622 w 10785"/>
                  <a:gd name="connsiteY2168" fmla="*/ 4983 h 10000"/>
                  <a:gd name="connsiteX2169" fmla="*/ 622 w 10785"/>
                  <a:gd name="connsiteY2169" fmla="*/ 5034 h 10000"/>
                  <a:gd name="connsiteX2170" fmla="*/ 608 w 10785"/>
                  <a:gd name="connsiteY2170" fmla="*/ 5051 h 10000"/>
                  <a:gd name="connsiteX2171" fmla="*/ 594 w 10785"/>
                  <a:gd name="connsiteY2171" fmla="*/ 5068 h 10000"/>
                  <a:gd name="connsiteX2172" fmla="*/ 608 w 10785"/>
                  <a:gd name="connsiteY2172" fmla="*/ 5120 h 10000"/>
                  <a:gd name="connsiteX2173" fmla="*/ 613 w 10785"/>
                  <a:gd name="connsiteY2173" fmla="*/ 5128 h 10000"/>
                  <a:gd name="connsiteX2174" fmla="*/ 627 w 10785"/>
                  <a:gd name="connsiteY2174" fmla="*/ 5179 h 10000"/>
                  <a:gd name="connsiteX2175" fmla="*/ 650 w 10785"/>
                  <a:gd name="connsiteY2175" fmla="*/ 5214 h 10000"/>
                  <a:gd name="connsiteX2176" fmla="*/ 687 w 10785"/>
                  <a:gd name="connsiteY2176" fmla="*/ 5188 h 10000"/>
                  <a:gd name="connsiteX2177" fmla="*/ 700 w 10785"/>
                  <a:gd name="connsiteY2177" fmla="*/ 5325 h 10000"/>
                  <a:gd name="connsiteX2178" fmla="*/ 710 w 10785"/>
                  <a:gd name="connsiteY2178" fmla="*/ 5350 h 10000"/>
                  <a:gd name="connsiteX2179" fmla="*/ 687 w 10785"/>
                  <a:gd name="connsiteY2179" fmla="*/ 5325 h 10000"/>
                  <a:gd name="connsiteX2180" fmla="*/ 668 w 10785"/>
                  <a:gd name="connsiteY2180" fmla="*/ 5350 h 10000"/>
                  <a:gd name="connsiteX2181" fmla="*/ 668 w 10785"/>
                  <a:gd name="connsiteY2181" fmla="*/ 5368 h 10000"/>
                  <a:gd name="connsiteX2182" fmla="*/ 668 w 10785"/>
                  <a:gd name="connsiteY2182" fmla="*/ 5376 h 10000"/>
                  <a:gd name="connsiteX2183" fmla="*/ 581 w 10785"/>
                  <a:gd name="connsiteY2183" fmla="*/ 5316 h 10000"/>
                  <a:gd name="connsiteX2184" fmla="*/ 567 w 10785"/>
                  <a:gd name="connsiteY2184" fmla="*/ 5265 h 10000"/>
                  <a:gd name="connsiteX2185" fmla="*/ 562 w 10785"/>
                  <a:gd name="connsiteY2185" fmla="*/ 5256 h 10000"/>
                  <a:gd name="connsiteX2186" fmla="*/ 548 w 10785"/>
                  <a:gd name="connsiteY2186" fmla="*/ 5231 h 10000"/>
                  <a:gd name="connsiteX2187" fmla="*/ 535 w 10785"/>
                  <a:gd name="connsiteY2187" fmla="*/ 5214 h 10000"/>
                  <a:gd name="connsiteX2188" fmla="*/ 525 w 10785"/>
                  <a:gd name="connsiteY2188" fmla="*/ 5231 h 10000"/>
                  <a:gd name="connsiteX2189" fmla="*/ 521 w 10785"/>
                  <a:gd name="connsiteY2189" fmla="*/ 5231 h 10000"/>
                  <a:gd name="connsiteX2190" fmla="*/ 493 w 10785"/>
                  <a:gd name="connsiteY2190" fmla="*/ 5205 h 10000"/>
                  <a:gd name="connsiteX2191" fmla="*/ 488 w 10785"/>
                  <a:gd name="connsiteY2191" fmla="*/ 5179 h 10000"/>
                  <a:gd name="connsiteX2192" fmla="*/ 475 w 10785"/>
                  <a:gd name="connsiteY2192" fmla="*/ 5188 h 10000"/>
                  <a:gd name="connsiteX2193" fmla="*/ 475 w 10785"/>
                  <a:gd name="connsiteY2193" fmla="*/ 5171 h 10000"/>
                  <a:gd name="connsiteX2194" fmla="*/ 488 w 10785"/>
                  <a:gd name="connsiteY2194" fmla="*/ 5154 h 10000"/>
                  <a:gd name="connsiteX2195" fmla="*/ 488 w 10785"/>
                  <a:gd name="connsiteY2195" fmla="*/ 5068 h 10000"/>
                  <a:gd name="connsiteX2196" fmla="*/ 475 w 10785"/>
                  <a:gd name="connsiteY2196" fmla="*/ 5051 h 10000"/>
                  <a:gd name="connsiteX2197" fmla="*/ 475 w 10785"/>
                  <a:gd name="connsiteY2197" fmla="*/ 5017 h 10000"/>
                  <a:gd name="connsiteX2198" fmla="*/ 452 w 10785"/>
                  <a:gd name="connsiteY2198" fmla="*/ 4932 h 10000"/>
                  <a:gd name="connsiteX2199" fmla="*/ 461 w 10785"/>
                  <a:gd name="connsiteY2199" fmla="*/ 4915 h 10000"/>
                  <a:gd name="connsiteX2200" fmla="*/ 475 w 10785"/>
                  <a:gd name="connsiteY2200" fmla="*/ 4906 h 10000"/>
                  <a:gd name="connsiteX2201" fmla="*/ 479 w 10785"/>
                  <a:gd name="connsiteY2201" fmla="*/ 4803 h 10000"/>
                  <a:gd name="connsiteX2202" fmla="*/ 479 w 10785"/>
                  <a:gd name="connsiteY2202" fmla="*/ 4778 h 10000"/>
                  <a:gd name="connsiteX2203" fmla="*/ 475 w 10785"/>
                  <a:gd name="connsiteY2203" fmla="*/ 4761 h 10000"/>
                  <a:gd name="connsiteX2204" fmla="*/ 465 w 10785"/>
                  <a:gd name="connsiteY2204" fmla="*/ 4718 h 10000"/>
                  <a:gd name="connsiteX2205" fmla="*/ 461 w 10785"/>
                  <a:gd name="connsiteY2205" fmla="*/ 4709 h 10000"/>
                  <a:gd name="connsiteX2206" fmla="*/ 442 w 10785"/>
                  <a:gd name="connsiteY2206" fmla="*/ 4692 h 10000"/>
                  <a:gd name="connsiteX2207" fmla="*/ 433 w 10785"/>
                  <a:gd name="connsiteY2207" fmla="*/ 4667 h 10000"/>
                  <a:gd name="connsiteX2208" fmla="*/ 419 w 10785"/>
                  <a:gd name="connsiteY2208" fmla="*/ 4667 h 10000"/>
                  <a:gd name="connsiteX2209" fmla="*/ 401 w 10785"/>
                  <a:gd name="connsiteY2209" fmla="*/ 4658 h 10000"/>
                  <a:gd name="connsiteX2210" fmla="*/ 401 w 10785"/>
                  <a:gd name="connsiteY2210" fmla="*/ 4624 h 10000"/>
                  <a:gd name="connsiteX2211" fmla="*/ 401 w 10785"/>
                  <a:gd name="connsiteY2211" fmla="*/ 4607 h 10000"/>
                  <a:gd name="connsiteX2212" fmla="*/ 378 w 10785"/>
                  <a:gd name="connsiteY2212" fmla="*/ 4607 h 10000"/>
                  <a:gd name="connsiteX2213" fmla="*/ 341 w 10785"/>
                  <a:gd name="connsiteY2213" fmla="*/ 4530 h 10000"/>
                  <a:gd name="connsiteX2214" fmla="*/ 346 w 10785"/>
                  <a:gd name="connsiteY2214" fmla="*/ 4521 h 10000"/>
                  <a:gd name="connsiteX2215" fmla="*/ 332 w 10785"/>
                  <a:gd name="connsiteY2215" fmla="*/ 4487 h 10000"/>
                  <a:gd name="connsiteX2216" fmla="*/ 327 w 10785"/>
                  <a:gd name="connsiteY2216" fmla="*/ 4462 h 10000"/>
                  <a:gd name="connsiteX2217" fmla="*/ 313 w 10785"/>
                  <a:gd name="connsiteY2217" fmla="*/ 4436 h 10000"/>
                  <a:gd name="connsiteX2218" fmla="*/ 300 w 10785"/>
                  <a:gd name="connsiteY2218" fmla="*/ 4419 h 10000"/>
                  <a:gd name="connsiteX2219" fmla="*/ 309 w 10785"/>
                  <a:gd name="connsiteY2219" fmla="*/ 4393 h 10000"/>
                  <a:gd name="connsiteX2220" fmla="*/ 332 w 10785"/>
                  <a:gd name="connsiteY2220" fmla="*/ 4385 h 10000"/>
                  <a:gd name="connsiteX2221" fmla="*/ 355 w 10785"/>
                  <a:gd name="connsiteY2221" fmla="*/ 4419 h 10000"/>
                  <a:gd name="connsiteX2222" fmla="*/ 355 w 10785"/>
                  <a:gd name="connsiteY2222" fmla="*/ 4444 h 10000"/>
                  <a:gd name="connsiteX2223" fmla="*/ 369 w 10785"/>
                  <a:gd name="connsiteY2223" fmla="*/ 4470 h 10000"/>
                  <a:gd name="connsiteX2224" fmla="*/ 401 w 10785"/>
                  <a:gd name="connsiteY2224" fmla="*/ 4521 h 10000"/>
                  <a:gd name="connsiteX2225" fmla="*/ 406 w 10785"/>
                  <a:gd name="connsiteY2225" fmla="*/ 4513 h 10000"/>
                  <a:gd name="connsiteX2226" fmla="*/ 406 w 10785"/>
                  <a:gd name="connsiteY2226" fmla="*/ 4496 h 10000"/>
                  <a:gd name="connsiteX2227" fmla="*/ 419 w 10785"/>
                  <a:gd name="connsiteY2227" fmla="*/ 4521 h 10000"/>
                  <a:gd name="connsiteX2228" fmla="*/ 429 w 10785"/>
                  <a:gd name="connsiteY2228" fmla="*/ 4530 h 10000"/>
                  <a:gd name="connsiteX2229" fmla="*/ 433 w 10785"/>
                  <a:gd name="connsiteY2229" fmla="*/ 4521 h 10000"/>
                  <a:gd name="connsiteX2230" fmla="*/ 442 w 10785"/>
                  <a:gd name="connsiteY2230" fmla="*/ 4530 h 10000"/>
                  <a:gd name="connsiteX2231" fmla="*/ 447 w 10785"/>
                  <a:gd name="connsiteY2231" fmla="*/ 4521 h 10000"/>
                  <a:gd name="connsiteX2232" fmla="*/ 452 w 10785"/>
                  <a:gd name="connsiteY2232" fmla="*/ 4521 h 10000"/>
                  <a:gd name="connsiteX2233" fmla="*/ 461 w 10785"/>
                  <a:gd name="connsiteY2233" fmla="*/ 4573 h 10000"/>
                  <a:gd name="connsiteX2234" fmla="*/ 479 w 10785"/>
                  <a:gd name="connsiteY2234" fmla="*/ 4556 h 10000"/>
                  <a:gd name="connsiteX2235" fmla="*/ 502 w 10785"/>
                  <a:gd name="connsiteY2235" fmla="*/ 4573 h 10000"/>
                  <a:gd name="connsiteX2236" fmla="*/ 507 w 10785"/>
                  <a:gd name="connsiteY2236" fmla="*/ 4598 h 10000"/>
                  <a:gd name="connsiteX2237" fmla="*/ 525 w 10785"/>
                  <a:gd name="connsiteY2237" fmla="*/ 4598 h 10000"/>
                  <a:gd name="connsiteX2238" fmla="*/ 535 w 10785"/>
                  <a:gd name="connsiteY2238" fmla="*/ 4624 h 10000"/>
                  <a:gd name="connsiteX2239" fmla="*/ 594 w 10785"/>
                  <a:gd name="connsiteY2239" fmla="*/ 4658 h 10000"/>
                  <a:gd name="connsiteX2240" fmla="*/ 627 w 10785"/>
                  <a:gd name="connsiteY2240" fmla="*/ 4658 h 10000"/>
                  <a:gd name="connsiteX2241" fmla="*/ 654 w 10785"/>
                  <a:gd name="connsiteY2241" fmla="*/ 4684 h 10000"/>
                  <a:gd name="connsiteX2242" fmla="*/ 668 w 10785"/>
                  <a:gd name="connsiteY2242" fmla="*/ 4709 h 10000"/>
                  <a:gd name="connsiteX2243" fmla="*/ 747 w 10785"/>
                  <a:gd name="connsiteY2243" fmla="*/ 4718 h 10000"/>
                  <a:gd name="connsiteX2244" fmla="*/ 760 w 10785"/>
                  <a:gd name="connsiteY2244" fmla="*/ 4709 h 10000"/>
                  <a:gd name="connsiteX2245" fmla="*/ 774 w 10785"/>
                  <a:gd name="connsiteY2245" fmla="*/ 4692 h 10000"/>
                  <a:gd name="connsiteX2246" fmla="*/ 829 w 10785"/>
                  <a:gd name="connsiteY2246" fmla="*/ 4658 h 10000"/>
                  <a:gd name="connsiteX2247" fmla="*/ 903 w 10785"/>
                  <a:gd name="connsiteY2247" fmla="*/ 4496 h 10000"/>
                  <a:gd name="connsiteX2248" fmla="*/ 917 w 10785"/>
                  <a:gd name="connsiteY2248" fmla="*/ 4385 h 10000"/>
                  <a:gd name="connsiteX2249" fmla="*/ 903 w 10785"/>
                  <a:gd name="connsiteY2249" fmla="*/ 4376 h 10000"/>
                  <a:gd name="connsiteX2250" fmla="*/ 903 w 10785"/>
                  <a:gd name="connsiteY2250" fmla="*/ 4376 h 10000"/>
                  <a:gd name="connsiteX2251" fmla="*/ 889 w 10785"/>
                  <a:gd name="connsiteY2251" fmla="*/ 4239 h 10000"/>
                  <a:gd name="connsiteX2252" fmla="*/ 880 w 10785"/>
                  <a:gd name="connsiteY2252" fmla="*/ 4214 h 10000"/>
                  <a:gd name="connsiteX2253" fmla="*/ 862 w 10785"/>
                  <a:gd name="connsiteY2253" fmla="*/ 4188 h 10000"/>
                  <a:gd name="connsiteX2254" fmla="*/ 857 w 10785"/>
                  <a:gd name="connsiteY2254" fmla="*/ 4197 h 10000"/>
                  <a:gd name="connsiteX2255" fmla="*/ 848 w 10785"/>
                  <a:gd name="connsiteY2255" fmla="*/ 4188 h 10000"/>
                  <a:gd name="connsiteX2256" fmla="*/ 848 w 10785"/>
                  <a:gd name="connsiteY2256" fmla="*/ 4162 h 10000"/>
                  <a:gd name="connsiteX2257" fmla="*/ 829 w 10785"/>
                  <a:gd name="connsiteY2257" fmla="*/ 4120 h 10000"/>
                  <a:gd name="connsiteX2258" fmla="*/ 820 w 10785"/>
                  <a:gd name="connsiteY2258" fmla="*/ 4103 h 10000"/>
                  <a:gd name="connsiteX2259" fmla="*/ 806 w 10785"/>
                  <a:gd name="connsiteY2259" fmla="*/ 4077 h 10000"/>
                  <a:gd name="connsiteX2260" fmla="*/ 816 w 10785"/>
                  <a:gd name="connsiteY2260" fmla="*/ 4111 h 10000"/>
                  <a:gd name="connsiteX2261" fmla="*/ 802 w 10785"/>
                  <a:gd name="connsiteY2261" fmla="*/ 4111 h 10000"/>
                  <a:gd name="connsiteX2262" fmla="*/ 770 w 10785"/>
                  <a:gd name="connsiteY2262" fmla="*/ 4060 h 10000"/>
                  <a:gd name="connsiteX2263" fmla="*/ 760 w 10785"/>
                  <a:gd name="connsiteY2263" fmla="*/ 4077 h 10000"/>
                  <a:gd name="connsiteX2264" fmla="*/ 760 w 10785"/>
                  <a:gd name="connsiteY2264" fmla="*/ 4060 h 10000"/>
                  <a:gd name="connsiteX2265" fmla="*/ 756 w 10785"/>
                  <a:gd name="connsiteY2265" fmla="*/ 4034 h 10000"/>
                  <a:gd name="connsiteX2266" fmla="*/ 742 w 10785"/>
                  <a:gd name="connsiteY2266" fmla="*/ 4000 h 10000"/>
                  <a:gd name="connsiteX2267" fmla="*/ 747 w 10785"/>
                  <a:gd name="connsiteY2267" fmla="*/ 4034 h 10000"/>
                  <a:gd name="connsiteX2268" fmla="*/ 724 w 10785"/>
                  <a:gd name="connsiteY2268" fmla="*/ 4026 h 10000"/>
                  <a:gd name="connsiteX2269" fmla="*/ 714 w 10785"/>
                  <a:gd name="connsiteY2269" fmla="*/ 4000 h 10000"/>
                  <a:gd name="connsiteX2270" fmla="*/ 714 w 10785"/>
                  <a:gd name="connsiteY2270" fmla="*/ 3983 h 10000"/>
                  <a:gd name="connsiteX2271" fmla="*/ 553 w 10785"/>
                  <a:gd name="connsiteY2271" fmla="*/ 3726 h 10000"/>
                  <a:gd name="connsiteX2272" fmla="*/ 507 w 10785"/>
                  <a:gd name="connsiteY2272" fmla="*/ 3718 h 10000"/>
                  <a:gd name="connsiteX2273" fmla="*/ 516 w 10785"/>
                  <a:gd name="connsiteY2273" fmla="*/ 3726 h 10000"/>
                  <a:gd name="connsiteX2274" fmla="*/ 507 w 10785"/>
                  <a:gd name="connsiteY2274" fmla="*/ 3735 h 10000"/>
                  <a:gd name="connsiteX2275" fmla="*/ 502 w 10785"/>
                  <a:gd name="connsiteY2275" fmla="*/ 3735 h 10000"/>
                  <a:gd name="connsiteX2276" fmla="*/ 419 w 10785"/>
                  <a:gd name="connsiteY2276" fmla="*/ 3675 h 10000"/>
                  <a:gd name="connsiteX2277" fmla="*/ 419 w 10785"/>
                  <a:gd name="connsiteY2277" fmla="*/ 3692 h 10000"/>
                  <a:gd name="connsiteX2278" fmla="*/ 401 w 10785"/>
                  <a:gd name="connsiteY2278" fmla="*/ 3701 h 10000"/>
                  <a:gd name="connsiteX2279" fmla="*/ 387 w 10785"/>
                  <a:gd name="connsiteY2279" fmla="*/ 3718 h 10000"/>
                  <a:gd name="connsiteX2280" fmla="*/ 387 w 10785"/>
                  <a:gd name="connsiteY2280" fmla="*/ 3692 h 10000"/>
                  <a:gd name="connsiteX2281" fmla="*/ 378 w 10785"/>
                  <a:gd name="connsiteY2281" fmla="*/ 3675 h 10000"/>
                  <a:gd name="connsiteX2282" fmla="*/ 378 w 10785"/>
                  <a:gd name="connsiteY2282" fmla="*/ 3650 h 10000"/>
                  <a:gd name="connsiteX2283" fmla="*/ 378 w 10785"/>
                  <a:gd name="connsiteY2283" fmla="*/ 3650 h 10000"/>
                  <a:gd name="connsiteX2284" fmla="*/ 355 w 10785"/>
                  <a:gd name="connsiteY2284" fmla="*/ 3675 h 10000"/>
                  <a:gd name="connsiteX2285" fmla="*/ 359 w 10785"/>
                  <a:gd name="connsiteY2285" fmla="*/ 3641 h 10000"/>
                  <a:gd name="connsiteX2286" fmla="*/ 346 w 10785"/>
                  <a:gd name="connsiteY2286" fmla="*/ 3650 h 10000"/>
                  <a:gd name="connsiteX2287" fmla="*/ 355 w 10785"/>
                  <a:gd name="connsiteY2287" fmla="*/ 3624 h 10000"/>
                  <a:gd name="connsiteX2288" fmla="*/ 346 w 10785"/>
                  <a:gd name="connsiteY2288" fmla="*/ 3624 h 10000"/>
                  <a:gd name="connsiteX2289" fmla="*/ 341 w 10785"/>
                  <a:gd name="connsiteY2289" fmla="*/ 3624 h 10000"/>
                  <a:gd name="connsiteX2290" fmla="*/ 318 w 10785"/>
                  <a:gd name="connsiteY2290" fmla="*/ 3641 h 10000"/>
                  <a:gd name="connsiteX2291" fmla="*/ 327 w 10785"/>
                  <a:gd name="connsiteY2291" fmla="*/ 3624 h 10000"/>
                  <a:gd name="connsiteX2292" fmla="*/ 318 w 10785"/>
                  <a:gd name="connsiteY2292" fmla="*/ 3615 h 10000"/>
                  <a:gd name="connsiteX2293" fmla="*/ 318 w 10785"/>
                  <a:gd name="connsiteY2293" fmla="*/ 3598 h 10000"/>
                  <a:gd name="connsiteX2294" fmla="*/ 300 w 10785"/>
                  <a:gd name="connsiteY2294" fmla="*/ 3598 h 10000"/>
                  <a:gd name="connsiteX2295" fmla="*/ 309 w 10785"/>
                  <a:gd name="connsiteY2295" fmla="*/ 3538 h 10000"/>
                  <a:gd name="connsiteX2296" fmla="*/ 313 w 10785"/>
                  <a:gd name="connsiteY2296" fmla="*/ 3564 h 10000"/>
                  <a:gd name="connsiteX2297" fmla="*/ 318 w 10785"/>
                  <a:gd name="connsiteY2297" fmla="*/ 3581 h 10000"/>
                  <a:gd name="connsiteX2298" fmla="*/ 327 w 10785"/>
                  <a:gd name="connsiteY2298" fmla="*/ 3564 h 10000"/>
                  <a:gd name="connsiteX2299" fmla="*/ 332 w 10785"/>
                  <a:gd name="connsiteY2299" fmla="*/ 3590 h 10000"/>
                  <a:gd name="connsiteX2300" fmla="*/ 346 w 10785"/>
                  <a:gd name="connsiteY2300" fmla="*/ 3590 h 10000"/>
                  <a:gd name="connsiteX2301" fmla="*/ 355 w 10785"/>
                  <a:gd name="connsiteY2301" fmla="*/ 3590 h 10000"/>
                  <a:gd name="connsiteX2302" fmla="*/ 369 w 10785"/>
                  <a:gd name="connsiteY2302" fmla="*/ 3556 h 10000"/>
                  <a:gd name="connsiteX2303" fmla="*/ 369 w 10785"/>
                  <a:gd name="connsiteY2303" fmla="*/ 3538 h 10000"/>
                  <a:gd name="connsiteX2304" fmla="*/ 346 w 10785"/>
                  <a:gd name="connsiteY2304" fmla="*/ 3513 h 10000"/>
                  <a:gd name="connsiteX2305" fmla="*/ 341 w 10785"/>
                  <a:gd name="connsiteY2305" fmla="*/ 3530 h 10000"/>
                  <a:gd name="connsiteX2306" fmla="*/ 327 w 10785"/>
                  <a:gd name="connsiteY2306" fmla="*/ 3513 h 10000"/>
                  <a:gd name="connsiteX2307" fmla="*/ 327 w 10785"/>
                  <a:gd name="connsiteY2307" fmla="*/ 3504 h 10000"/>
                  <a:gd name="connsiteX2308" fmla="*/ 295 w 10785"/>
                  <a:gd name="connsiteY2308" fmla="*/ 3462 h 10000"/>
                  <a:gd name="connsiteX2309" fmla="*/ 300 w 10785"/>
                  <a:gd name="connsiteY2309" fmla="*/ 3479 h 10000"/>
                  <a:gd name="connsiteX2310" fmla="*/ 295 w 10785"/>
                  <a:gd name="connsiteY2310" fmla="*/ 3513 h 10000"/>
                  <a:gd name="connsiteX2311" fmla="*/ 286 w 10785"/>
                  <a:gd name="connsiteY2311" fmla="*/ 3513 h 10000"/>
                  <a:gd name="connsiteX2312" fmla="*/ 281 w 10785"/>
                  <a:gd name="connsiteY2312" fmla="*/ 3513 h 10000"/>
                  <a:gd name="connsiteX2313" fmla="*/ 281 w 10785"/>
                  <a:gd name="connsiteY2313" fmla="*/ 3530 h 10000"/>
                  <a:gd name="connsiteX2314" fmla="*/ 281 w 10785"/>
                  <a:gd name="connsiteY2314" fmla="*/ 3556 h 10000"/>
                  <a:gd name="connsiteX2315" fmla="*/ 272 w 10785"/>
                  <a:gd name="connsiteY2315" fmla="*/ 3564 h 10000"/>
                  <a:gd name="connsiteX2316" fmla="*/ 267 w 10785"/>
                  <a:gd name="connsiteY2316" fmla="*/ 3564 h 10000"/>
                  <a:gd name="connsiteX2317" fmla="*/ 253 w 10785"/>
                  <a:gd name="connsiteY2317" fmla="*/ 3538 h 10000"/>
                  <a:gd name="connsiteX2318" fmla="*/ 226 w 10785"/>
                  <a:gd name="connsiteY2318" fmla="*/ 3513 h 10000"/>
                  <a:gd name="connsiteX2319" fmla="*/ 226 w 10785"/>
                  <a:gd name="connsiteY2319" fmla="*/ 3530 h 10000"/>
                  <a:gd name="connsiteX2320" fmla="*/ 226 w 10785"/>
                  <a:gd name="connsiteY2320" fmla="*/ 3530 h 10000"/>
                  <a:gd name="connsiteX2321" fmla="*/ 226 w 10785"/>
                  <a:gd name="connsiteY2321" fmla="*/ 3530 h 10000"/>
                  <a:gd name="connsiteX2322" fmla="*/ 226 w 10785"/>
                  <a:gd name="connsiteY2322" fmla="*/ 3556 h 10000"/>
                  <a:gd name="connsiteX2323" fmla="*/ 221 w 10785"/>
                  <a:gd name="connsiteY2323" fmla="*/ 3598 h 10000"/>
                  <a:gd name="connsiteX2324" fmla="*/ 207 w 10785"/>
                  <a:gd name="connsiteY2324" fmla="*/ 3598 h 10000"/>
                  <a:gd name="connsiteX2325" fmla="*/ 180 w 10785"/>
                  <a:gd name="connsiteY2325" fmla="*/ 3581 h 10000"/>
                  <a:gd name="connsiteX2326" fmla="*/ 171 w 10785"/>
                  <a:gd name="connsiteY2326" fmla="*/ 3641 h 10000"/>
                  <a:gd name="connsiteX2327" fmla="*/ 166 w 10785"/>
                  <a:gd name="connsiteY2327" fmla="*/ 3650 h 10000"/>
                  <a:gd name="connsiteX2328" fmla="*/ 124 w 10785"/>
                  <a:gd name="connsiteY2328" fmla="*/ 3701 h 10000"/>
                  <a:gd name="connsiteX2329" fmla="*/ 124 w 10785"/>
                  <a:gd name="connsiteY2329" fmla="*/ 3718 h 10000"/>
                  <a:gd name="connsiteX2330" fmla="*/ 120 w 10785"/>
                  <a:gd name="connsiteY2330" fmla="*/ 3735 h 10000"/>
                  <a:gd name="connsiteX2331" fmla="*/ 120 w 10785"/>
                  <a:gd name="connsiteY2331" fmla="*/ 3735 h 10000"/>
                  <a:gd name="connsiteX2332" fmla="*/ 111 w 10785"/>
                  <a:gd name="connsiteY2332" fmla="*/ 3761 h 10000"/>
                  <a:gd name="connsiteX2333" fmla="*/ 106 w 10785"/>
                  <a:gd name="connsiteY2333" fmla="*/ 3761 h 10000"/>
                  <a:gd name="connsiteX2334" fmla="*/ 106 w 10785"/>
                  <a:gd name="connsiteY2334" fmla="*/ 3761 h 10000"/>
                  <a:gd name="connsiteX2335" fmla="*/ 74 w 10785"/>
                  <a:gd name="connsiteY2335" fmla="*/ 3829 h 10000"/>
                  <a:gd name="connsiteX2336" fmla="*/ 78 w 10785"/>
                  <a:gd name="connsiteY2336" fmla="*/ 3838 h 10000"/>
                  <a:gd name="connsiteX2337" fmla="*/ 88 w 10785"/>
                  <a:gd name="connsiteY2337" fmla="*/ 3846 h 10000"/>
                  <a:gd name="connsiteX2338" fmla="*/ 65 w 10785"/>
                  <a:gd name="connsiteY2338" fmla="*/ 3923 h 10000"/>
                  <a:gd name="connsiteX2339" fmla="*/ 78 w 10785"/>
                  <a:gd name="connsiteY2339" fmla="*/ 4026 h 10000"/>
                  <a:gd name="connsiteX2340" fmla="*/ 88 w 10785"/>
                  <a:gd name="connsiteY2340" fmla="*/ 4051 h 10000"/>
                  <a:gd name="connsiteX2341" fmla="*/ 92 w 10785"/>
                  <a:gd name="connsiteY2341" fmla="*/ 4060 h 10000"/>
                  <a:gd name="connsiteX2342" fmla="*/ 111 w 10785"/>
                  <a:gd name="connsiteY2342" fmla="*/ 4060 h 10000"/>
                  <a:gd name="connsiteX2343" fmla="*/ 124 w 10785"/>
                  <a:gd name="connsiteY2343" fmla="*/ 4085 h 10000"/>
                  <a:gd name="connsiteX2344" fmla="*/ 166 w 10785"/>
                  <a:gd name="connsiteY2344" fmla="*/ 4197 h 10000"/>
                  <a:gd name="connsiteX2345" fmla="*/ 166 w 10785"/>
                  <a:gd name="connsiteY2345" fmla="*/ 4248 h 10000"/>
                  <a:gd name="connsiteX2346" fmla="*/ 120 w 10785"/>
                  <a:gd name="connsiteY2346" fmla="*/ 4462 h 10000"/>
                  <a:gd name="connsiteX2347" fmla="*/ 120 w 10785"/>
                  <a:gd name="connsiteY2347" fmla="*/ 4513 h 10000"/>
                  <a:gd name="connsiteX2348" fmla="*/ 180 w 10785"/>
                  <a:gd name="connsiteY2348" fmla="*/ 4829 h 10000"/>
                  <a:gd name="connsiteX2349" fmla="*/ 161 w 10785"/>
                  <a:gd name="connsiteY2349" fmla="*/ 4855 h 10000"/>
                  <a:gd name="connsiteX2350" fmla="*/ 152 w 10785"/>
                  <a:gd name="connsiteY2350" fmla="*/ 4940 h 10000"/>
                  <a:gd name="connsiteX2351" fmla="*/ 161 w 10785"/>
                  <a:gd name="connsiteY2351" fmla="*/ 4966 h 10000"/>
                  <a:gd name="connsiteX2352" fmla="*/ 161 w 10785"/>
                  <a:gd name="connsiteY2352" fmla="*/ 5009 h 10000"/>
                  <a:gd name="connsiteX2353" fmla="*/ 152 w 10785"/>
                  <a:gd name="connsiteY2353" fmla="*/ 5034 h 10000"/>
                  <a:gd name="connsiteX2354" fmla="*/ 152 w 10785"/>
                  <a:gd name="connsiteY2354" fmla="*/ 5077 h 10000"/>
                  <a:gd name="connsiteX2355" fmla="*/ 171 w 10785"/>
                  <a:gd name="connsiteY2355" fmla="*/ 5094 h 10000"/>
                  <a:gd name="connsiteX2356" fmla="*/ 180 w 10785"/>
                  <a:gd name="connsiteY2356" fmla="*/ 5128 h 10000"/>
                  <a:gd name="connsiteX2357" fmla="*/ 180 w 10785"/>
                  <a:gd name="connsiteY2357" fmla="*/ 5171 h 10000"/>
                  <a:gd name="connsiteX2358" fmla="*/ 184 w 10785"/>
                  <a:gd name="connsiteY2358" fmla="*/ 5205 h 10000"/>
                  <a:gd name="connsiteX2359" fmla="*/ 207 w 10785"/>
                  <a:gd name="connsiteY2359" fmla="*/ 5239 h 10000"/>
                  <a:gd name="connsiteX2360" fmla="*/ 207 w 10785"/>
                  <a:gd name="connsiteY2360" fmla="*/ 5282 h 10000"/>
                  <a:gd name="connsiteX2361" fmla="*/ 180 w 10785"/>
                  <a:gd name="connsiteY2361" fmla="*/ 5393 h 10000"/>
                  <a:gd name="connsiteX2362" fmla="*/ 194 w 10785"/>
                  <a:gd name="connsiteY2362" fmla="*/ 5427 h 10000"/>
                  <a:gd name="connsiteX2363" fmla="*/ 198 w 10785"/>
                  <a:gd name="connsiteY2363" fmla="*/ 5462 h 10000"/>
                  <a:gd name="connsiteX2364" fmla="*/ 235 w 10785"/>
                  <a:gd name="connsiteY2364" fmla="*/ 5513 h 10000"/>
                  <a:gd name="connsiteX2365" fmla="*/ 240 w 10785"/>
                  <a:gd name="connsiteY2365" fmla="*/ 5556 h 10000"/>
                  <a:gd name="connsiteX2366" fmla="*/ 253 w 10785"/>
                  <a:gd name="connsiteY2366" fmla="*/ 5590 h 10000"/>
                  <a:gd name="connsiteX2367" fmla="*/ 258 w 10785"/>
                  <a:gd name="connsiteY2367" fmla="*/ 5573 h 10000"/>
                  <a:gd name="connsiteX2368" fmla="*/ 258 w 10785"/>
                  <a:gd name="connsiteY2368" fmla="*/ 5667 h 10000"/>
                  <a:gd name="connsiteX2369" fmla="*/ 14 w 10785"/>
                  <a:gd name="connsiteY2369" fmla="*/ 6214 h 10000"/>
                  <a:gd name="connsiteX2370" fmla="*/ 14 w 10785"/>
                  <a:gd name="connsiteY2370" fmla="*/ 6214 h 10000"/>
                  <a:gd name="connsiteX2371" fmla="*/ 37 w 10785"/>
                  <a:gd name="connsiteY2371" fmla="*/ 6214 h 10000"/>
                  <a:gd name="connsiteX2372" fmla="*/ 51 w 10785"/>
                  <a:gd name="connsiteY2372" fmla="*/ 6188 h 10000"/>
                  <a:gd name="connsiteX2373" fmla="*/ 78 w 10785"/>
                  <a:gd name="connsiteY2373" fmla="*/ 6162 h 10000"/>
                  <a:gd name="connsiteX2374" fmla="*/ 78 w 10785"/>
                  <a:gd name="connsiteY2374" fmla="*/ 6188 h 10000"/>
                  <a:gd name="connsiteX2375" fmla="*/ 74 w 10785"/>
                  <a:gd name="connsiteY2375" fmla="*/ 6197 h 10000"/>
                  <a:gd name="connsiteX2376" fmla="*/ 74 w 10785"/>
                  <a:gd name="connsiteY2376" fmla="*/ 6231 h 10000"/>
                  <a:gd name="connsiteX2377" fmla="*/ 74 w 10785"/>
                  <a:gd name="connsiteY2377" fmla="*/ 6214 h 10000"/>
                  <a:gd name="connsiteX2378" fmla="*/ 65 w 10785"/>
                  <a:gd name="connsiteY2378" fmla="*/ 6214 h 10000"/>
                  <a:gd name="connsiteX2379" fmla="*/ 65 w 10785"/>
                  <a:gd name="connsiteY2379" fmla="*/ 6248 h 10000"/>
                  <a:gd name="connsiteX2380" fmla="*/ 74 w 10785"/>
                  <a:gd name="connsiteY2380" fmla="*/ 6256 h 10000"/>
                  <a:gd name="connsiteX2381" fmla="*/ 78 w 10785"/>
                  <a:gd name="connsiteY2381" fmla="*/ 6256 h 10000"/>
                  <a:gd name="connsiteX2382" fmla="*/ 106 w 10785"/>
                  <a:gd name="connsiteY2382" fmla="*/ 6308 h 10000"/>
                  <a:gd name="connsiteX2383" fmla="*/ 138 w 10785"/>
                  <a:gd name="connsiteY2383" fmla="*/ 6299 h 10000"/>
                  <a:gd name="connsiteX2384" fmla="*/ 152 w 10785"/>
                  <a:gd name="connsiteY2384" fmla="*/ 6299 h 10000"/>
                  <a:gd name="connsiteX2385" fmla="*/ 166 w 10785"/>
                  <a:gd name="connsiteY2385" fmla="*/ 6325 h 10000"/>
                  <a:gd name="connsiteX2386" fmla="*/ 166 w 10785"/>
                  <a:gd name="connsiteY2386" fmla="*/ 6333 h 10000"/>
                  <a:gd name="connsiteX2387" fmla="*/ 171 w 10785"/>
                  <a:gd name="connsiteY2387" fmla="*/ 6350 h 10000"/>
                  <a:gd name="connsiteX2388" fmla="*/ 180 w 10785"/>
                  <a:gd name="connsiteY2388" fmla="*/ 6350 h 10000"/>
                  <a:gd name="connsiteX2389" fmla="*/ 180 w 10785"/>
                  <a:gd name="connsiteY2389" fmla="*/ 6359 h 10000"/>
                  <a:gd name="connsiteX2390" fmla="*/ 171 w 10785"/>
                  <a:gd name="connsiteY2390" fmla="*/ 6368 h 10000"/>
                  <a:gd name="connsiteX2391" fmla="*/ 106 w 10785"/>
                  <a:gd name="connsiteY2391" fmla="*/ 6350 h 10000"/>
                  <a:gd name="connsiteX2392" fmla="*/ 101 w 10785"/>
                  <a:gd name="connsiteY2392" fmla="*/ 6359 h 10000"/>
                  <a:gd name="connsiteX2393" fmla="*/ 101 w 10785"/>
                  <a:gd name="connsiteY2393" fmla="*/ 6385 h 10000"/>
                  <a:gd name="connsiteX2394" fmla="*/ 78 w 10785"/>
                  <a:gd name="connsiteY2394" fmla="*/ 6393 h 10000"/>
                  <a:gd name="connsiteX2395" fmla="*/ 74 w 10785"/>
                  <a:gd name="connsiteY2395" fmla="*/ 6385 h 10000"/>
                  <a:gd name="connsiteX2396" fmla="*/ 65 w 10785"/>
                  <a:gd name="connsiteY2396" fmla="*/ 6393 h 10000"/>
                  <a:gd name="connsiteX2397" fmla="*/ 60 w 10785"/>
                  <a:gd name="connsiteY2397" fmla="*/ 6419 h 10000"/>
                  <a:gd name="connsiteX2398" fmla="*/ 51 w 10785"/>
                  <a:gd name="connsiteY2398" fmla="*/ 6419 h 10000"/>
                  <a:gd name="connsiteX2399" fmla="*/ 46 w 10785"/>
                  <a:gd name="connsiteY2399" fmla="*/ 6410 h 10000"/>
                  <a:gd name="connsiteX2400" fmla="*/ 37 w 10785"/>
                  <a:gd name="connsiteY2400" fmla="*/ 6393 h 10000"/>
                  <a:gd name="connsiteX2401" fmla="*/ 32 w 10785"/>
                  <a:gd name="connsiteY2401" fmla="*/ 6419 h 10000"/>
                  <a:gd name="connsiteX2402" fmla="*/ 37 w 10785"/>
                  <a:gd name="connsiteY2402" fmla="*/ 6462 h 10000"/>
                  <a:gd name="connsiteX2403" fmla="*/ 46 w 10785"/>
                  <a:gd name="connsiteY2403" fmla="*/ 6462 h 10000"/>
                  <a:gd name="connsiteX2404" fmla="*/ 51 w 10785"/>
                  <a:gd name="connsiteY2404" fmla="*/ 6470 h 10000"/>
                  <a:gd name="connsiteX2405" fmla="*/ 51 w 10785"/>
                  <a:gd name="connsiteY2405" fmla="*/ 6496 h 10000"/>
                  <a:gd name="connsiteX2406" fmla="*/ 51 w 10785"/>
                  <a:gd name="connsiteY2406" fmla="*/ 6504 h 10000"/>
                  <a:gd name="connsiteX2407" fmla="*/ 37 w 10785"/>
                  <a:gd name="connsiteY2407" fmla="*/ 6530 h 10000"/>
                  <a:gd name="connsiteX2408" fmla="*/ 18 w 10785"/>
                  <a:gd name="connsiteY2408" fmla="*/ 6598 h 10000"/>
                  <a:gd name="connsiteX2409" fmla="*/ 28 w 10785"/>
                  <a:gd name="connsiteY2409" fmla="*/ 6632 h 10000"/>
                  <a:gd name="connsiteX2410" fmla="*/ 18 w 10785"/>
                  <a:gd name="connsiteY2410" fmla="*/ 6667 h 10000"/>
                  <a:gd name="connsiteX2411" fmla="*/ 28 w 10785"/>
                  <a:gd name="connsiteY2411" fmla="*/ 6692 h 10000"/>
                  <a:gd name="connsiteX2412" fmla="*/ 28 w 10785"/>
                  <a:gd name="connsiteY2412" fmla="*/ 6709 h 10000"/>
                  <a:gd name="connsiteX2413" fmla="*/ 18 w 10785"/>
                  <a:gd name="connsiteY2413" fmla="*/ 6718 h 10000"/>
                  <a:gd name="connsiteX2414" fmla="*/ 5 w 10785"/>
                  <a:gd name="connsiteY2414" fmla="*/ 6744 h 10000"/>
                  <a:gd name="connsiteX2415" fmla="*/ 0 w 10785"/>
                  <a:gd name="connsiteY2415" fmla="*/ 6769 h 10000"/>
                  <a:gd name="connsiteX2416" fmla="*/ 5 w 10785"/>
                  <a:gd name="connsiteY2416" fmla="*/ 6778 h 10000"/>
                  <a:gd name="connsiteX2417" fmla="*/ 32 w 10785"/>
                  <a:gd name="connsiteY2417" fmla="*/ 6778 h 10000"/>
                  <a:gd name="connsiteX2418" fmla="*/ 46 w 10785"/>
                  <a:gd name="connsiteY2418" fmla="*/ 6821 h 10000"/>
                  <a:gd name="connsiteX2419" fmla="*/ 46 w 10785"/>
                  <a:gd name="connsiteY2419" fmla="*/ 6855 h 10000"/>
                  <a:gd name="connsiteX2420" fmla="*/ 32 w 10785"/>
                  <a:gd name="connsiteY2420" fmla="*/ 6855 h 10000"/>
                  <a:gd name="connsiteX2421" fmla="*/ 14 w 10785"/>
                  <a:gd name="connsiteY2421" fmla="*/ 6821 h 10000"/>
                  <a:gd name="connsiteX2422" fmla="*/ 14 w 10785"/>
                  <a:gd name="connsiteY2422" fmla="*/ 6846 h 10000"/>
                  <a:gd name="connsiteX2423" fmla="*/ 0 w 10785"/>
                  <a:gd name="connsiteY2423" fmla="*/ 6897 h 10000"/>
                  <a:gd name="connsiteX2424" fmla="*/ 0 w 10785"/>
                  <a:gd name="connsiteY2424" fmla="*/ 6915 h 10000"/>
                  <a:gd name="connsiteX2425" fmla="*/ 5 w 10785"/>
                  <a:gd name="connsiteY2425" fmla="*/ 6932 h 10000"/>
                  <a:gd name="connsiteX2426" fmla="*/ 14 w 10785"/>
                  <a:gd name="connsiteY2426" fmla="*/ 6940 h 10000"/>
                  <a:gd name="connsiteX2427" fmla="*/ 18 w 10785"/>
                  <a:gd name="connsiteY2427" fmla="*/ 6957 h 10000"/>
                  <a:gd name="connsiteX2428" fmla="*/ 28 w 10785"/>
                  <a:gd name="connsiteY2428" fmla="*/ 6966 h 10000"/>
                  <a:gd name="connsiteX2429" fmla="*/ 28 w 10785"/>
                  <a:gd name="connsiteY2429" fmla="*/ 6983 h 10000"/>
                  <a:gd name="connsiteX2430" fmla="*/ 18 w 10785"/>
                  <a:gd name="connsiteY2430" fmla="*/ 7051 h 10000"/>
                  <a:gd name="connsiteX2431" fmla="*/ 28 w 10785"/>
                  <a:gd name="connsiteY2431" fmla="*/ 7068 h 10000"/>
                  <a:gd name="connsiteX2432" fmla="*/ 32 w 10785"/>
                  <a:gd name="connsiteY2432" fmla="*/ 7068 h 10000"/>
                  <a:gd name="connsiteX2433" fmla="*/ 32 w 10785"/>
                  <a:gd name="connsiteY2433" fmla="*/ 7094 h 10000"/>
                  <a:gd name="connsiteX2434" fmla="*/ 60 w 10785"/>
                  <a:gd name="connsiteY2434" fmla="*/ 7162 h 10000"/>
                  <a:gd name="connsiteX2435" fmla="*/ 60 w 10785"/>
                  <a:gd name="connsiteY2435" fmla="*/ 7231 h 10000"/>
                  <a:gd name="connsiteX2436" fmla="*/ 60 w 10785"/>
                  <a:gd name="connsiteY2436" fmla="*/ 7239 h 10000"/>
                  <a:gd name="connsiteX2437" fmla="*/ 78 w 10785"/>
                  <a:gd name="connsiteY2437" fmla="*/ 7239 h 10000"/>
                  <a:gd name="connsiteX2438" fmla="*/ 88 w 10785"/>
                  <a:gd name="connsiteY2438" fmla="*/ 7239 h 10000"/>
                  <a:gd name="connsiteX2439" fmla="*/ 92 w 10785"/>
                  <a:gd name="connsiteY2439" fmla="*/ 7256 h 10000"/>
                  <a:gd name="connsiteX2440" fmla="*/ 111 w 10785"/>
                  <a:gd name="connsiteY2440" fmla="*/ 7256 h 10000"/>
                  <a:gd name="connsiteX2441" fmla="*/ 120 w 10785"/>
                  <a:gd name="connsiteY2441" fmla="*/ 7256 h 10000"/>
                  <a:gd name="connsiteX2442" fmla="*/ 134 w 10785"/>
                  <a:gd name="connsiteY2442" fmla="*/ 7282 h 10000"/>
                  <a:gd name="connsiteX2443" fmla="*/ 134 w 10785"/>
                  <a:gd name="connsiteY2443" fmla="*/ 7316 h 10000"/>
                  <a:gd name="connsiteX2444" fmla="*/ 152 w 10785"/>
                  <a:gd name="connsiteY2444" fmla="*/ 7299 h 10000"/>
                  <a:gd name="connsiteX2445" fmla="*/ 161 w 10785"/>
                  <a:gd name="connsiteY2445" fmla="*/ 7299 h 10000"/>
                  <a:gd name="connsiteX2446" fmla="*/ 166 w 10785"/>
                  <a:gd name="connsiteY2446" fmla="*/ 7291 h 10000"/>
                  <a:gd name="connsiteX2447" fmla="*/ 194 w 10785"/>
                  <a:gd name="connsiteY2447" fmla="*/ 7291 h 10000"/>
                  <a:gd name="connsiteX2448" fmla="*/ 207 w 10785"/>
                  <a:gd name="connsiteY2448" fmla="*/ 7299 h 10000"/>
                  <a:gd name="connsiteX2449" fmla="*/ 221 w 10785"/>
                  <a:gd name="connsiteY2449" fmla="*/ 7342 h 10000"/>
                  <a:gd name="connsiteX2450" fmla="*/ 235 w 10785"/>
                  <a:gd name="connsiteY2450" fmla="*/ 7342 h 10000"/>
                  <a:gd name="connsiteX2451" fmla="*/ 235 w 10785"/>
                  <a:gd name="connsiteY2451" fmla="*/ 7368 h 10000"/>
                  <a:gd name="connsiteX2452" fmla="*/ 226 w 10785"/>
                  <a:gd name="connsiteY2452" fmla="*/ 7393 h 10000"/>
                  <a:gd name="connsiteX2453" fmla="*/ 226 w 10785"/>
                  <a:gd name="connsiteY2453" fmla="*/ 7402 h 10000"/>
                  <a:gd name="connsiteX2454" fmla="*/ 235 w 10785"/>
                  <a:gd name="connsiteY2454" fmla="*/ 7419 h 10000"/>
                  <a:gd name="connsiteX2455" fmla="*/ 240 w 10785"/>
                  <a:gd name="connsiteY2455" fmla="*/ 7436 h 10000"/>
                  <a:gd name="connsiteX2456" fmla="*/ 235 w 10785"/>
                  <a:gd name="connsiteY2456" fmla="*/ 7462 h 10000"/>
                  <a:gd name="connsiteX2457" fmla="*/ 226 w 10785"/>
                  <a:gd name="connsiteY2457" fmla="*/ 7479 h 10000"/>
                  <a:gd name="connsiteX2458" fmla="*/ 226 w 10785"/>
                  <a:gd name="connsiteY2458" fmla="*/ 7504 h 10000"/>
                  <a:gd name="connsiteX2459" fmla="*/ 226 w 10785"/>
                  <a:gd name="connsiteY2459" fmla="*/ 7513 h 10000"/>
                  <a:gd name="connsiteX2460" fmla="*/ 240 w 10785"/>
                  <a:gd name="connsiteY2460" fmla="*/ 7538 h 10000"/>
                  <a:gd name="connsiteX2461" fmla="*/ 267 w 10785"/>
                  <a:gd name="connsiteY2461" fmla="*/ 7641 h 10000"/>
                  <a:gd name="connsiteX2462" fmla="*/ 281 w 10785"/>
                  <a:gd name="connsiteY2462" fmla="*/ 7667 h 10000"/>
                  <a:gd name="connsiteX2463" fmla="*/ 286 w 10785"/>
                  <a:gd name="connsiteY2463" fmla="*/ 7675 h 10000"/>
                  <a:gd name="connsiteX2464" fmla="*/ 286 w 10785"/>
                  <a:gd name="connsiteY2464" fmla="*/ 7692 h 10000"/>
                  <a:gd name="connsiteX2465" fmla="*/ 286 w 10785"/>
                  <a:gd name="connsiteY2465" fmla="*/ 7709 h 10000"/>
                  <a:gd name="connsiteX2466" fmla="*/ 295 w 10785"/>
                  <a:gd name="connsiteY2466" fmla="*/ 7726 h 10000"/>
                  <a:gd name="connsiteX2467" fmla="*/ 318 w 10785"/>
                  <a:gd name="connsiteY2467" fmla="*/ 7709 h 10000"/>
                  <a:gd name="connsiteX2468" fmla="*/ 327 w 10785"/>
                  <a:gd name="connsiteY2468" fmla="*/ 7726 h 10000"/>
                  <a:gd name="connsiteX2469" fmla="*/ 341 w 10785"/>
                  <a:gd name="connsiteY2469" fmla="*/ 7735 h 10000"/>
                  <a:gd name="connsiteX2470" fmla="*/ 332 w 10785"/>
                  <a:gd name="connsiteY2470" fmla="*/ 7752 h 10000"/>
                  <a:gd name="connsiteX2471" fmla="*/ 341 w 10785"/>
                  <a:gd name="connsiteY2471" fmla="*/ 7761 h 10000"/>
                  <a:gd name="connsiteX2472" fmla="*/ 355 w 10785"/>
                  <a:gd name="connsiteY2472" fmla="*/ 7761 h 10000"/>
                  <a:gd name="connsiteX2473" fmla="*/ 355 w 10785"/>
                  <a:gd name="connsiteY2473" fmla="*/ 7803 h 10000"/>
                  <a:gd name="connsiteX2474" fmla="*/ 313 w 10785"/>
                  <a:gd name="connsiteY2474" fmla="*/ 7846 h 10000"/>
                  <a:gd name="connsiteX2475" fmla="*/ 295 w 10785"/>
                  <a:gd name="connsiteY2475" fmla="*/ 7846 h 10000"/>
                  <a:gd name="connsiteX2476" fmla="*/ 281 w 10785"/>
                  <a:gd name="connsiteY2476" fmla="*/ 7821 h 10000"/>
                  <a:gd name="connsiteX2477" fmla="*/ 272 w 10785"/>
                  <a:gd name="connsiteY2477" fmla="*/ 7821 h 10000"/>
                  <a:gd name="connsiteX2478" fmla="*/ 267 w 10785"/>
                  <a:gd name="connsiteY2478" fmla="*/ 7838 h 10000"/>
                  <a:gd name="connsiteX2479" fmla="*/ 258 w 10785"/>
                  <a:gd name="connsiteY2479" fmla="*/ 7846 h 10000"/>
                  <a:gd name="connsiteX2480" fmla="*/ 253 w 10785"/>
                  <a:gd name="connsiteY2480" fmla="*/ 7863 h 10000"/>
                  <a:gd name="connsiteX2481" fmla="*/ 253 w 10785"/>
                  <a:gd name="connsiteY2481" fmla="*/ 7872 h 10000"/>
                  <a:gd name="connsiteX2482" fmla="*/ 267 w 10785"/>
                  <a:gd name="connsiteY2482" fmla="*/ 7897 h 10000"/>
                  <a:gd name="connsiteX2483" fmla="*/ 272 w 10785"/>
                  <a:gd name="connsiteY2483" fmla="*/ 7915 h 10000"/>
                  <a:gd name="connsiteX2484" fmla="*/ 267 w 10785"/>
                  <a:gd name="connsiteY2484" fmla="*/ 7940 h 10000"/>
                  <a:gd name="connsiteX2485" fmla="*/ 272 w 10785"/>
                  <a:gd name="connsiteY2485" fmla="*/ 7949 h 10000"/>
                  <a:gd name="connsiteX2486" fmla="*/ 272 w 10785"/>
                  <a:gd name="connsiteY2486" fmla="*/ 7957 h 10000"/>
                  <a:gd name="connsiteX2487" fmla="*/ 281 w 10785"/>
                  <a:gd name="connsiteY2487" fmla="*/ 7974 h 10000"/>
                  <a:gd name="connsiteX2488" fmla="*/ 286 w 10785"/>
                  <a:gd name="connsiteY2488" fmla="*/ 7983 h 10000"/>
                  <a:gd name="connsiteX2489" fmla="*/ 281 w 10785"/>
                  <a:gd name="connsiteY2489" fmla="*/ 8009 h 10000"/>
                  <a:gd name="connsiteX2490" fmla="*/ 286 w 10785"/>
                  <a:gd name="connsiteY2490" fmla="*/ 8060 h 10000"/>
                  <a:gd name="connsiteX2491" fmla="*/ 286 w 10785"/>
                  <a:gd name="connsiteY2491" fmla="*/ 8060 h 10000"/>
                  <a:gd name="connsiteX2492" fmla="*/ 295 w 10785"/>
                  <a:gd name="connsiteY2492" fmla="*/ 8077 h 10000"/>
                  <a:gd name="connsiteX2493" fmla="*/ 309 w 10785"/>
                  <a:gd name="connsiteY2493" fmla="*/ 8077 h 10000"/>
                  <a:gd name="connsiteX2494" fmla="*/ 313 w 10785"/>
                  <a:gd name="connsiteY2494" fmla="*/ 8060 h 10000"/>
                  <a:gd name="connsiteX2495" fmla="*/ 318 w 10785"/>
                  <a:gd name="connsiteY2495" fmla="*/ 8051 h 10000"/>
                  <a:gd name="connsiteX2496" fmla="*/ 318 w 10785"/>
                  <a:gd name="connsiteY2496" fmla="*/ 8034 h 10000"/>
                  <a:gd name="connsiteX2497" fmla="*/ 332 w 10785"/>
                  <a:gd name="connsiteY2497" fmla="*/ 8026 h 10000"/>
                  <a:gd name="connsiteX2498" fmla="*/ 359 w 10785"/>
                  <a:gd name="connsiteY2498" fmla="*/ 8034 h 10000"/>
                  <a:gd name="connsiteX2499" fmla="*/ 378 w 10785"/>
                  <a:gd name="connsiteY2499" fmla="*/ 8026 h 10000"/>
                  <a:gd name="connsiteX2500" fmla="*/ 401 w 10785"/>
                  <a:gd name="connsiteY2500" fmla="*/ 8026 h 10000"/>
                  <a:gd name="connsiteX2501" fmla="*/ 419 w 10785"/>
                  <a:gd name="connsiteY2501" fmla="*/ 8009 h 10000"/>
                  <a:gd name="connsiteX2502" fmla="*/ 433 w 10785"/>
                  <a:gd name="connsiteY2502" fmla="*/ 8034 h 10000"/>
                  <a:gd name="connsiteX2503" fmla="*/ 442 w 10785"/>
                  <a:gd name="connsiteY2503" fmla="*/ 8060 h 10000"/>
                  <a:gd name="connsiteX2504" fmla="*/ 442 w 10785"/>
                  <a:gd name="connsiteY2504" fmla="*/ 8077 h 10000"/>
                  <a:gd name="connsiteX2505" fmla="*/ 461 w 10785"/>
                  <a:gd name="connsiteY2505" fmla="*/ 8111 h 10000"/>
                  <a:gd name="connsiteX2506" fmla="*/ 461 w 10785"/>
                  <a:gd name="connsiteY2506" fmla="*/ 8137 h 10000"/>
                  <a:gd name="connsiteX2507" fmla="*/ 447 w 10785"/>
                  <a:gd name="connsiteY2507" fmla="*/ 8145 h 10000"/>
                  <a:gd name="connsiteX2508" fmla="*/ 442 w 10785"/>
                  <a:gd name="connsiteY2508" fmla="*/ 8145 h 10000"/>
                  <a:gd name="connsiteX2509" fmla="*/ 442 w 10785"/>
                  <a:gd name="connsiteY2509" fmla="*/ 8162 h 10000"/>
                  <a:gd name="connsiteX2510" fmla="*/ 442 w 10785"/>
                  <a:gd name="connsiteY2510" fmla="*/ 8171 h 10000"/>
                  <a:gd name="connsiteX2511" fmla="*/ 447 w 10785"/>
                  <a:gd name="connsiteY2511" fmla="*/ 8214 h 10000"/>
                  <a:gd name="connsiteX2512" fmla="*/ 465 w 10785"/>
                  <a:gd name="connsiteY2512" fmla="*/ 8231 h 10000"/>
                  <a:gd name="connsiteX2513" fmla="*/ 488 w 10785"/>
                  <a:gd name="connsiteY2513" fmla="*/ 8231 h 10000"/>
                  <a:gd name="connsiteX2514" fmla="*/ 493 w 10785"/>
                  <a:gd name="connsiteY2514" fmla="*/ 8231 h 10000"/>
                  <a:gd name="connsiteX2515" fmla="*/ 502 w 10785"/>
                  <a:gd name="connsiteY2515" fmla="*/ 8231 h 10000"/>
                  <a:gd name="connsiteX2516" fmla="*/ 507 w 10785"/>
                  <a:gd name="connsiteY2516" fmla="*/ 8248 h 10000"/>
                  <a:gd name="connsiteX2517" fmla="*/ 521 w 10785"/>
                  <a:gd name="connsiteY2517" fmla="*/ 8274 h 10000"/>
                  <a:gd name="connsiteX2518" fmla="*/ 525 w 10785"/>
                  <a:gd name="connsiteY2518" fmla="*/ 8333 h 10000"/>
                  <a:gd name="connsiteX2519" fmla="*/ 525 w 10785"/>
                  <a:gd name="connsiteY2519" fmla="*/ 8359 h 10000"/>
                  <a:gd name="connsiteX2520" fmla="*/ 525 w 10785"/>
                  <a:gd name="connsiteY2520" fmla="*/ 8368 h 10000"/>
                  <a:gd name="connsiteX2521" fmla="*/ 548 w 10785"/>
                  <a:gd name="connsiteY2521" fmla="*/ 8393 h 10000"/>
                  <a:gd name="connsiteX2522" fmla="*/ 553 w 10785"/>
                  <a:gd name="connsiteY2522" fmla="*/ 8385 h 10000"/>
                  <a:gd name="connsiteX2523" fmla="*/ 562 w 10785"/>
                  <a:gd name="connsiteY2523" fmla="*/ 8385 h 10000"/>
                  <a:gd name="connsiteX2524" fmla="*/ 576 w 10785"/>
                  <a:gd name="connsiteY2524" fmla="*/ 8385 h 10000"/>
                  <a:gd name="connsiteX2525" fmla="*/ 585 w 10785"/>
                  <a:gd name="connsiteY2525" fmla="*/ 8410 h 10000"/>
                  <a:gd name="connsiteX2526" fmla="*/ 594 w 10785"/>
                  <a:gd name="connsiteY2526" fmla="*/ 8410 h 10000"/>
                  <a:gd name="connsiteX2527" fmla="*/ 608 w 10785"/>
                  <a:gd name="connsiteY2527" fmla="*/ 8410 h 10000"/>
                  <a:gd name="connsiteX2528" fmla="*/ 654 w 10785"/>
                  <a:gd name="connsiteY2528" fmla="*/ 8385 h 10000"/>
                  <a:gd name="connsiteX2529" fmla="*/ 659 w 10785"/>
                  <a:gd name="connsiteY2529" fmla="*/ 8385 h 10000"/>
                  <a:gd name="connsiteX2530" fmla="*/ 696 w 10785"/>
                  <a:gd name="connsiteY2530" fmla="*/ 8470 h 10000"/>
                  <a:gd name="connsiteX2531" fmla="*/ 700 w 10785"/>
                  <a:gd name="connsiteY2531" fmla="*/ 8470 h 10000"/>
                  <a:gd name="connsiteX2532" fmla="*/ 710 w 10785"/>
                  <a:gd name="connsiteY2532" fmla="*/ 8462 h 10000"/>
                  <a:gd name="connsiteX2533" fmla="*/ 714 w 10785"/>
                  <a:gd name="connsiteY2533" fmla="*/ 8462 h 10000"/>
                  <a:gd name="connsiteX2534" fmla="*/ 724 w 10785"/>
                  <a:gd name="connsiteY2534" fmla="*/ 8470 h 10000"/>
                  <a:gd name="connsiteX2535" fmla="*/ 733 w 10785"/>
                  <a:gd name="connsiteY2535" fmla="*/ 8470 h 10000"/>
                  <a:gd name="connsiteX2536" fmla="*/ 742 w 10785"/>
                  <a:gd name="connsiteY2536" fmla="*/ 8487 h 10000"/>
                  <a:gd name="connsiteX2537" fmla="*/ 747 w 10785"/>
                  <a:gd name="connsiteY2537" fmla="*/ 8496 h 10000"/>
                  <a:gd name="connsiteX2538" fmla="*/ 770 w 10785"/>
                  <a:gd name="connsiteY2538" fmla="*/ 8496 h 10000"/>
                  <a:gd name="connsiteX2539" fmla="*/ 783 w 10785"/>
                  <a:gd name="connsiteY2539" fmla="*/ 8521 h 10000"/>
                  <a:gd name="connsiteX2540" fmla="*/ 797 w 10785"/>
                  <a:gd name="connsiteY2540" fmla="*/ 8521 h 10000"/>
                  <a:gd name="connsiteX2541" fmla="*/ 806 w 10785"/>
                  <a:gd name="connsiteY2541" fmla="*/ 8530 h 10000"/>
                  <a:gd name="connsiteX2542" fmla="*/ 829 w 10785"/>
                  <a:gd name="connsiteY2542" fmla="*/ 8547 h 10000"/>
                  <a:gd name="connsiteX2543" fmla="*/ 834 w 10785"/>
                  <a:gd name="connsiteY2543" fmla="*/ 8556 h 10000"/>
                  <a:gd name="connsiteX2544" fmla="*/ 829 w 10785"/>
                  <a:gd name="connsiteY2544" fmla="*/ 8556 h 10000"/>
                  <a:gd name="connsiteX2545" fmla="*/ 834 w 10785"/>
                  <a:gd name="connsiteY2545" fmla="*/ 8607 h 10000"/>
                  <a:gd name="connsiteX2546" fmla="*/ 829 w 10785"/>
                  <a:gd name="connsiteY2546" fmla="*/ 8641 h 10000"/>
                  <a:gd name="connsiteX2547" fmla="*/ 806 w 10785"/>
                  <a:gd name="connsiteY2547" fmla="*/ 8658 h 10000"/>
                  <a:gd name="connsiteX2548" fmla="*/ 816 w 10785"/>
                  <a:gd name="connsiteY2548" fmla="*/ 8667 h 10000"/>
                  <a:gd name="connsiteX2549" fmla="*/ 820 w 10785"/>
                  <a:gd name="connsiteY2549" fmla="*/ 8667 h 10000"/>
                  <a:gd name="connsiteX2550" fmla="*/ 829 w 10785"/>
                  <a:gd name="connsiteY2550" fmla="*/ 8684 h 10000"/>
                  <a:gd name="connsiteX2551" fmla="*/ 806 w 10785"/>
                  <a:gd name="connsiteY2551" fmla="*/ 8692 h 10000"/>
                  <a:gd name="connsiteX2552" fmla="*/ 802 w 10785"/>
                  <a:gd name="connsiteY2552" fmla="*/ 8709 h 10000"/>
                  <a:gd name="connsiteX2553" fmla="*/ 802 w 10785"/>
                  <a:gd name="connsiteY2553" fmla="*/ 8735 h 10000"/>
                  <a:gd name="connsiteX2554" fmla="*/ 806 w 10785"/>
                  <a:gd name="connsiteY2554" fmla="*/ 8744 h 10000"/>
                  <a:gd name="connsiteX2555" fmla="*/ 816 w 10785"/>
                  <a:gd name="connsiteY2555" fmla="*/ 8752 h 10000"/>
                  <a:gd name="connsiteX2556" fmla="*/ 806 w 10785"/>
                  <a:gd name="connsiteY2556" fmla="*/ 8778 h 10000"/>
                  <a:gd name="connsiteX2557" fmla="*/ 820 w 10785"/>
                  <a:gd name="connsiteY2557" fmla="*/ 8778 h 10000"/>
                  <a:gd name="connsiteX2558" fmla="*/ 806 w 10785"/>
                  <a:gd name="connsiteY2558" fmla="*/ 8880 h 10000"/>
                  <a:gd name="connsiteX2559" fmla="*/ 797 w 10785"/>
                  <a:gd name="connsiteY2559" fmla="*/ 8880 h 10000"/>
                  <a:gd name="connsiteX2560" fmla="*/ 783 w 10785"/>
                  <a:gd name="connsiteY2560" fmla="*/ 8872 h 10000"/>
                  <a:gd name="connsiteX2561" fmla="*/ 770 w 10785"/>
                  <a:gd name="connsiteY2561" fmla="*/ 8880 h 10000"/>
                  <a:gd name="connsiteX2562" fmla="*/ 756 w 10785"/>
                  <a:gd name="connsiteY2562" fmla="*/ 8855 h 10000"/>
                  <a:gd name="connsiteX2563" fmla="*/ 733 w 10785"/>
                  <a:gd name="connsiteY2563" fmla="*/ 8906 h 10000"/>
                  <a:gd name="connsiteX2564" fmla="*/ 714 w 10785"/>
                  <a:gd name="connsiteY2564" fmla="*/ 8915 h 10000"/>
                  <a:gd name="connsiteX2565" fmla="*/ 710 w 10785"/>
                  <a:gd name="connsiteY2565" fmla="*/ 8940 h 10000"/>
                  <a:gd name="connsiteX2566" fmla="*/ 710 w 10785"/>
                  <a:gd name="connsiteY2566" fmla="*/ 9009 h 10000"/>
                  <a:gd name="connsiteX2567" fmla="*/ 728 w 10785"/>
                  <a:gd name="connsiteY2567" fmla="*/ 8991 h 10000"/>
                  <a:gd name="connsiteX2568" fmla="*/ 733 w 10785"/>
                  <a:gd name="connsiteY2568" fmla="*/ 8991 h 10000"/>
                  <a:gd name="connsiteX2569" fmla="*/ 747 w 10785"/>
                  <a:gd name="connsiteY2569" fmla="*/ 8983 h 10000"/>
                  <a:gd name="connsiteX2570" fmla="*/ 760 w 10785"/>
                  <a:gd name="connsiteY2570" fmla="*/ 8983 h 10000"/>
                  <a:gd name="connsiteX2571" fmla="*/ 770 w 10785"/>
                  <a:gd name="connsiteY2571" fmla="*/ 8983 h 10000"/>
                  <a:gd name="connsiteX2572" fmla="*/ 770 w 10785"/>
                  <a:gd name="connsiteY2572" fmla="*/ 8991 h 10000"/>
                  <a:gd name="connsiteX2573" fmla="*/ 783 w 10785"/>
                  <a:gd name="connsiteY2573" fmla="*/ 8991 h 10000"/>
                  <a:gd name="connsiteX2574" fmla="*/ 783 w 10785"/>
                  <a:gd name="connsiteY2574" fmla="*/ 9009 h 10000"/>
                  <a:gd name="connsiteX2575" fmla="*/ 783 w 10785"/>
                  <a:gd name="connsiteY2575" fmla="*/ 9017 h 10000"/>
                  <a:gd name="connsiteX2576" fmla="*/ 770 w 10785"/>
                  <a:gd name="connsiteY2576" fmla="*/ 9017 h 10000"/>
                  <a:gd name="connsiteX2577" fmla="*/ 724 w 10785"/>
                  <a:gd name="connsiteY2577" fmla="*/ 9051 h 10000"/>
                  <a:gd name="connsiteX2578" fmla="*/ 724 w 10785"/>
                  <a:gd name="connsiteY2578" fmla="*/ 9068 h 10000"/>
                  <a:gd name="connsiteX2579" fmla="*/ 728 w 10785"/>
                  <a:gd name="connsiteY2579" fmla="*/ 9077 h 10000"/>
                  <a:gd name="connsiteX2580" fmla="*/ 724 w 10785"/>
                  <a:gd name="connsiteY2580" fmla="*/ 9077 h 10000"/>
                  <a:gd name="connsiteX2581" fmla="*/ 710 w 10785"/>
                  <a:gd name="connsiteY2581" fmla="*/ 9077 h 10000"/>
                  <a:gd name="connsiteX2582" fmla="*/ 682 w 10785"/>
                  <a:gd name="connsiteY2582" fmla="*/ 9077 h 10000"/>
                  <a:gd name="connsiteX2583" fmla="*/ 673 w 10785"/>
                  <a:gd name="connsiteY2583" fmla="*/ 9103 h 10000"/>
                  <a:gd name="connsiteX2584" fmla="*/ 687 w 10785"/>
                  <a:gd name="connsiteY2584" fmla="*/ 9128 h 10000"/>
                  <a:gd name="connsiteX2585" fmla="*/ 700 w 10785"/>
                  <a:gd name="connsiteY2585" fmla="*/ 9128 h 10000"/>
                  <a:gd name="connsiteX2586" fmla="*/ 728 w 10785"/>
                  <a:gd name="connsiteY2586" fmla="*/ 9179 h 10000"/>
                  <a:gd name="connsiteX2587" fmla="*/ 724 w 10785"/>
                  <a:gd name="connsiteY2587" fmla="*/ 9188 h 10000"/>
                  <a:gd name="connsiteX2588" fmla="*/ 710 w 10785"/>
                  <a:gd name="connsiteY2588" fmla="*/ 9179 h 10000"/>
                  <a:gd name="connsiteX2589" fmla="*/ 700 w 10785"/>
                  <a:gd name="connsiteY2589" fmla="*/ 9205 h 10000"/>
                  <a:gd name="connsiteX2590" fmla="*/ 696 w 10785"/>
                  <a:gd name="connsiteY2590" fmla="*/ 9205 h 10000"/>
                  <a:gd name="connsiteX2591" fmla="*/ 654 w 10785"/>
                  <a:gd name="connsiteY2591" fmla="*/ 9299 h 10000"/>
                  <a:gd name="connsiteX2592" fmla="*/ 622 w 10785"/>
                  <a:gd name="connsiteY2592" fmla="*/ 9299 h 10000"/>
                  <a:gd name="connsiteX2593" fmla="*/ 613 w 10785"/>
                  <a:gd name="connsiteY2593" fmla="*/ 9316 h 10000"/>
                  <a:gd name="connsiteX2594" fmla="*/ 613 w 10785"/>
                  <a:gd name="connsiteY2594" fmla="*/ 9325 h 10000"/>
                  <a:gd name="connsiteX2595" fmla="*/ 608 w 10785"/>
                  <a:gd name="connsiteY2595" fmla="*/ 9342 h 10000"/>
                  <a:gd name="connsiteX2596" fmla="*/ 636 w 10785"/>
                  <a:gd name="connsiteY2596" fmla="*/ 9376 h 10000"/>
                  <a:gd name="connsiteX2597" fmla="*/ 641 w 10785"/>
                  <a:gd name="connsiteY2597" fmla="*/ 9402 h 10000"/>
                  <a:gd name="connsiteX2598" fmla="*/ 654 w 10785"/>
                  <a:gd name="connsiteY2598" fmla="*/ 9427 h 10000"/>
                  <a:gd name="connsiteX2599" fmla="*/ 668 w 10785"/>
                  <a:gd name="connsiteY2599" fmla="*/ 9427 h 10000"/>
                  <a:gd name="connsiteX2600" fmla="*/ 668 w 10785"/>
                  <a:gd name="connsiteY2600" fmla="*/ 9427 h 10000"/>
                  <a:gd name="connsiteX2601" fmla="*/ 774 w 10785"/>
                  <a:gd name="connsiteY2601" fmla="*/ 9547 h 10000"/>
                  <a:gd name="connsiteX2602" fmla="*/ 797 w 10785"/>
                  <a:gd name="connsiteY2602" fmla="*/ 9598 h 10000"/>
                  <a:gd name="connsiteX2603" fmla="*/ 802 w 10785"/>
                  <a:gd name="connsiteY2603" fmla="*/ 9598 h 10000"/>
                  <a:gd name="connsiteX2604" fmla="*/ 816 w 10785"/>
                  <a:gd name="connsiteY2604" fmla="*/ 9624 h 10000"/>
                  <a:gd name="connsiteX2605" fmla="*/ 843 w 10785"/>
                  <a:gd name="connsiteY2605" fmla="*/ 9615 h 10000"/>
                  <a:gd name="connsiteX2606" fmla="*/ 857 w 10785"/>
                  <a:gd name="connsiteY2606" fmla="*/ 9624 h 10000"/>
                  <a:gd name="connsiteX2607" fmla="*/ 862 w 10785"/>
                  <a:gd name="connsiteY2607" fmla="*/ 9615 h 10000"/>
                  <a:gd name="connsiteX2608" fmla="*/ 880 w 10785"/>
                  <a:gd name="connsiteY2608" fmla="*/ 9624 h 10000"/>
                  <a:gd name="connsiteX2609" fmla="*/ 889 w 10785"/>
                  <a:gd name="connsiteY2609" fmla="*/ 9641 h 10000"/>
                  <a:gd name="connsiteX2610" fmla="*/ 935 w 10785"/>
                  <a:gd name="connsiteY2610" fmla="*/ 9675 h 10000"/>
                  <a:gd name="connsiteX2611" fmla="*/ 977 w 10785"/>
                  <a:gd name="connsiteY2611" fmla="*/ 9667 h 10000"/>
                  <a:gd name="connsiteX2612" fmla="*/ 995 w 10785"/>
                  <a:gd name="connsiteY2612" fmla="*/ 9675 h 10000"/>
                  <a:gd name="connsiteX2613" fmla="*/ 1014 w 10785"/>
                  <a:gd name="connsiteY2613" fmla="*/ 9675 h 10000"/>
                  <a:gd name="connsiteX2614" fmla="*/ 1069 w 10785"/>
                  <a:gd name="connsiteY2614" fmla="*/ 9752 h 10000"/>
                  <a:gd name="connsiteX2615" fmla="*/ 1074 w 10785"/>
                  <a:gd name="connsiteY2615" fmla="*/ 9761 h 10000"/>
                  <a:gd name="connsiteX2616" fmla="*/ 1083 w 10785"/>
                  <a:gd name="connsiteY2616" fmla="*/ 9778 h 10000"/>
                  <a:gd name="connsiteX2617" fmla="*/ 1115 w 10785"/>
                  <a:gd name="connsiteY2617" fmla="*/ 9752 h 10000"/>
                  <a:gd name="connsiteX2618" fmla="*/ 1129 w 10785"/>
                  <a:gd name="connsiteY2618" fmla="*/ 9752 h 10000"/>
                  <a:gd name="connsiteX2619" fmla="*/ 1138 w 10785"/>
                  <a:gd name="connsiteY2619" fmla="*/ 9761 h 10000"/>
                  <a:gd name="connsiteX2620" fmla="*/ 1143 w 10785"/>
                  <a:gd name="connsiteY2620" fmla="*/ 9752 h 10000"/>
                  <a:gd name="connsiteX2621" fmla="*/ 1161 w 10785"/>
                  <a:gd name="connsiteY2621" fmla="*/ 9761 h 10000"/>
                  <a:gd name="connsiteX2622" fmla="*/ 1171 w 10785"/>
                  <a:gd name="connsiteY2622" fmla="*/ 9778 h 10000"/>
                  <a:gd name="connsiteX2623" fmla="*/ 1175 w 10785"/>
                  <a:gd name="connsiteY2623" fmla="*/ 9778 h 10000"/>
                  <a:gd name="connsiteX2624" fmla="*/ 1189 w 10785"/>
                  <a:gd name="connsiteY2624" fmla="*/ 9778 h 10000"/>
                  <a:gd name="connsiteX2625" fmla="*/ 1198 w 10785"/>
                  <a:gd name="connsiteY2625" fmla="*/ 9786 h 10000"/>
                  <a:gd name="connsiteX2626" fmla="*/ 1203 w 10785"/>
                  <a:gd name="connsiteY2626" fmla="*/ 9803 h 10000"/>
                  <a:gd name="connsiteX2627" fmla="*/ 1198 w 10785"/>
                  <a:gd name="connsiteY2627" fmla="*/ 9838 h 10000"/>
                  <a:gd name="connsiteX2628" fmla="*/ 1212 w 10785"/>
                  <a:gd name="connsiteY2628" fmla="*/ 9863 h 10000"/>
                  <a:gd name="connsiteX2629" fmla="*/ 1230 w 10785"/>
                  <a:gd name="connsiteY2629" fmla="*/ 9872 h 10000"/>
                  <a:gd name="connsiteX2630" fmla="*/ 1249 w 10785"/>
                  <a:gd name="connsiteY2630" fmla="*/ 9897 h 10000"/>
                  <a:gd name="connsiteX2631" fmla="*/ 1263 w 10785"/>
                  <a:gd name="connsiteY2631" fmla="*/ 9897 h 10000"/>
                  <a:gd name="connsiteX2632" fmla="*/ 1276 w 10785"/>
                  <a:gd name="connsiteY2632" fmla="*/ 9923 h 10000"/>
                  <a:gd name="connsiteX2633" fmla="*/ 1281 w 10785"/>
                  <a:gd name="connsiteY2633" fmla="*/ 9949 h 10000"/>
                  <a:gd name="connsiteX2634" fmla="*/ 1290 w 10785"/>
                  <a:gd name="connsiteY2634" fmla="*/ 9949 h 10000"/>
                  <a:gd name="connsiteX2635" fmla="*/ 1295 w 10785"/>
                  <a:gd name="connsiteY2635" fmla="*/ 10000 h 10000"/>
                  <a:gd name="connsiteX2636" fmla="*/ 1332 w 10785"/>
                  <a:gd name="connsiteY2636" fmla="*/ 10000 h 10000"/>
                  <a:gd name="connsiteX2637" fmla="*/ 1336 w 10785"/>
                  <a:gd name="connsiteY2637" fmla="*/ 10000 h 10000"/>
                  <a:gd name="connsiteX2638" fmla="*/ 1346 w 10785"/>
                  <a:gd name="connsiteY2638" fmla="*/ 9983 h 10000"/>
                  <a:gd name="connsiteX2639" fmla="*/ 1350 w 10785"/>
                  <a:gd name="connsiteY2639" fmla="*/ 9949 h 10000"/>
                  <a:gd name="connsiteX2640" fmla="*/ 1369 w 10785"/>
                  <a:gd name="connsiteY2640" fmla="*/ 9940 h 10000"/>
                  <a:gd name="connsiteX2641" fmla="*/ 1378 w 10785"/>
                  <a:gd name="connsiteY2641" fmla="*/ 9897 h 10000"/>
                  <a:gd name="connsiteX2642" fmla="*/ 1369 w 10785"/>
                  <a:gd name="connsiteY2642" fmla="*/ 9889 h 10000"/>
                  <a:gd name="connsiteX2643" fmla="*/ 1318 w 10785"/>
                  <a:gd name="connsiteY2643" fmla="*/ 9701 h 10000"/>
                  <a:gd name="connsiteX2644" fmla="*/ 1318 w 10785"/>
                  <a:gd name="connsiteY2644" fmla="*/ 9650 h 10000"/>
                  <a:gd name="connsiteX2645" fmla="*/ 1323 w 10785"/>
                  <a:gd name="connsiteY2645" fmla="*/ 9590 h 10000"/>
                  <a:gd name="connsiteX2646" fmla="*/ 1323 w 10785"/>
                  <a:gd name="connsiteY2646" fmla="*/ 9564 h 10000"/>
                  <a:gd name="connsiteX2647" fmla="*/ 1309 w 10785"/>
                  <a:gd name="connsiteY2647" fmla="*/ 9598 h 10000"/>
                  <a:gd name="connsiteX2648" fmla="*/ 1309 w 10785"/>
                  <a:gd name="connsiteY2648" fmla="*/ 9590 h 10000"/>
                  <a:gd name="connsiteX2649" fmla="*/ 1304 w 10785"/>
                  <a:gd name="connsiteY2649" fmla="*/ 9547 h 10000"/>
                  <a:gd name="connsiteX2650" fmla="*/ 1276 w 10785"/>
                  <a:gd name="connsiteY2650" fmla="*/ 9479 h 10000"/>
                  <a:gd name="connsiteX2651" fmla="*/ 1263 w 10785"/>
                  <a:gd name="connsiteY2651" fmla="*/ 9479 h 10000"/>
                  <a:gd name="connsiteX2652" fmla="*/ 1263 w 10785"/>
                  <a:gd name="connsiteY2652" fmla="*/ 9453 h 10000"/>
                  <a:gd name="connsiteX2653" fmla="*/ 1272 w 10785"/>
                  <a:gd name="connsiteY2653" fmla="*/ 9410 h 10000"/>
                  <a:gd name="connsiteX2654" fmla="*/ 1272 w 10785"/>
                  <a:gd name="connsiteY2654" fmla="*/ 9393 h 10000"/>
                  <a:gd name="connsiteX2655" fmla="*/ 1281 w 10785"/>
                  <a:gd name="connsiteY2655" fmla="*/ 9368 h 10000"/>
                  <a:gd name="connsiteX2656" fmla="*/ 1281 w 10785"/>
                  <a:gd name="connsiteY2656" fmla="*/ 9368 h 10000"/>
                  <a:gd name="connsiteX2657" fmla="*/ 1290 w 10785"/>
                  <a:gd name="connsiteY2657" fmla="*/ 9368 h 10000"/>
                  <a:gd name="connsiteX2658" fmla="*/ 1290 w 10785"/>
                  <a:gd name="connsiteY2658" fmla="*/ 9342 h 10000"/>
                  <a:gd name="connsiteX2659" fmla="*/ 1304 w 10785"/>
                  <a:gd name="connsiteY2659" fmla="*/ 9325 h 10000"/>
                  <a:gd name="connsiteX2660" fmla="*/ 1309 w 10785"/>
                  <a:gd name="connsiteY2660" fmla="*/ 9239 h 10000"/>
                  <a:gd name="connsiteX2661" fmla="*/ 1318 w 10785"/>
                  <a:gd name="connsiteY2661" fmla="*/ 9256 h 10000"/>
                  <a:gd name="connsiteX2662" fmla="*/ 1323 w 10785"/>
                  <a:gd name="connsiteY2662" fmla="*/ 9179 h 10000"/>
                  <a:gd name="connsiteX2663" fmla="*/ 1309 w 10785"/>
                  <a:gd name="connsiteY2663" fmla="*/ 9145 h 10000"/>
                  <a:gd name="connsiteX2664" fmla="*/ 1336 w 10785"/>
                  <a:gd name="connsiteY2664" fmla="*/ 9154 h 10000"/>
                  <a:gd name="connsiteX2665" fmla="*/ 1336 w 10785"/>
                  <a:gd name="connsiteY2665" fmla="*/ 9162 h 10000"/>
                  <a:gd name="connsiteX2666" fmla="*/ 1350 w 10785"/>
                  <a:gd name="connsiteY2666" fmla="*/ 9231 h 10000"/>
                  <a:gd name="connsiteX2667" fmla="*/ 1355 w 10785"/>
                  <a:gd name="connsiteY2667" fmla="*/ 9231 h 10000"/>
                  <a:gd name="connsiteX2668" fmla="*/ 1364 w 10785"/>
                  <a:gd name="connsiteY2668" fmla="*/ 9214 h 10000"/>
                  <a:gd name="connsiteX2669" fmla="*/ 1369 w 10785"/>
                  <a:gd name="connsiteY2669" fmla="*/ 9214 h 10000"/>
                  <a:gd name="connsiteX2670" fmla="*/ 1382 w 10785"/>
                  <a:gd name="connsiteY2670" fmla="*/ 9154 h 10000"/>
                  <a:gd name="connsiteX2671" fmla="*/ 1396 w 10785"/>
                  <a:gd name="connsiteY2671" fmla="*/ 9154 h 10000"/>
                  <a:gd name="connsiteX2672" fmla="*/ 1382 w 10785"/>
                  <a:gd name="connsiteY2672" fmla="*/ 9145 h 10000"/>
                  <a:gd name="connsiteX2673" fmla="*/ 1382 w 10785"/>
                  <a:gd name="connsiteY2673" fmla="*/ 9128 h 10000"/>
                  <a:gd name="connsiteX2674" fmla="*/ 1369 w 10785"/>
                  <a:gd name="connsiteY2674" fmla="*/ 9128 h 10000"/>
                  <a:gd name="connsiteX2675" fmla="*/ 1364 w 10785"/>
                  <a:gd name="connsiteY2675" fmla="*/ 9128 h 10000"/>
                  <a:gd name="connsiteX2676" fmla="*/ 1355 w 10785"/>
                  <a:gd name="connsiteY2676" fmla="*/ 9120 h 10000"/>
                  <a:gd name="connsiteX2677" fmla="*/ 1350 w 10785"/>
                  <a:gd name="connsiteY2677" fmla="*/ 9103 h 10000"/>
                  <a:gd name="connsiteX2678" fmla="*/ 1355 w 10785"/>
                  <a:gd name="connsiteY2678" fmla="*/ 9094 h 10000"/>
                  <a:gd name="connsiteX2679" fmla="*/ 1355 w 10785"/>
                  <a:gd name="connsiteY2679" fmla="*/ 9068 h 10000"/>
                  <a:gd name="connsiteX2680" fmla="*/ 1369 w 10785"/>
                  <a:gd name="connsiteY2680" fmla="*/ 9068 h 10000"/>
                  <a:gd name="connsiteX2681" fmla="*/ 1378 w 10785"/>
                  <a:gd name="connsiteY2681" fmla="*/ 9077 h 10000"/>
                  <a:gd name="connsiteX2682" fmla="*/ 1396 w 10785"/>
                  <a:gd name="connsiteY2682" fmla="*/ 9068 h 10000"/>
                  <a:gd name="connsiteX2683" fmla="*/ 1382 w 10785"/>
                  <a:gd name="connsiteY2683" fmla="*/ 8940 h 10000"/>
                  <a:gd name="connsiteX2684" fmla="*/ 1378 w 10785"/>
                  <a:gd name="connsiteY2684" fmla="*/ 8940 h 10000"/>
                  <a:gd name="connsiteX2685" fmla="*/ 1364 w 10785"/>
                  <a:gd name="connsiteY2685" fmla="*/ 8889 h 10000"/>
                  <a:gd name="connsiteX2686" fmla="*/ 1355 w 10785"/>
                  <a:gd name="connsiteY2686" fmla="*/ 8880 h 10000"/>
                  <a:gd name="connsiteX2687" fmla="*/ 1323 w 10785"/>
                  <a:gd name="connsiteY2687" fmla="*/ 8880 h 10000"/>
                  <a:gd name="connsiteX2688" fmla="*/ 1309 w 10785"/>
                  <a:gd name="connsiteY2688" fmla="*/ 8880 h 10000"/>
                  <a:gd name="connsiteX2689" fmla="*/ 1309 w 10785"/>
                  <a:gd name="connsiteY2689" fmla="*/ 8889 h 10000"/>
                  <a:gd name="connsiteX2690" fmla="*/ 1295 w 10785"/>
                  <a:gd name="connsiteY2690" fmla="*/ 8872 h 10000"/>
                  <a:gd name="connsiteX2691" fmla="*/ 1290 w 10785"/>
                  <a:gd name="connsiteY2691" fmla="*/ 8855 h 10000"/>
                  <a:gd name="connsiteX2692" fmla="*/ 1290 w 10785"/>
                  <a:gd name="connsiteY2692" fmla="*/ 8829 h 10000"/>
                  <a:gd name="connsiteX2693" fmla="*/ 1290 w 10785"/>
                  <a:gd name="connsiteY2693" fmla="*/ 8821 h 10000"/>
                  <a:gd name="connsiteX2694" fmla="*/ 1290 w 10785"/>
                  <a:gd name="connsiteY2694" fmla="*/ 8803 h 10000"/>
                  <a:gd name="connsiteX2695" fmla="*/ 1281 w 10785"/>
                  <a:gd name="connsiteY2695" fmla="*/ 8795 h 10000"/>
                  <a:gd name="connsiteX2696" fmla="*/ 1249 w 10785"/>
                  <a:gd name="connsiteY2696" fmla="*/ 8769 h 10000"/>
                  <a:gd name="connsiteX2697" fmla="*/ 1263 w 10785"/>
                  <a:gd name="connsiteY2697" fmla="*/ 8667 h 10000"/>
                  <a:gd name="connsiteX2698" fmla="*/ 1281 w 10785"/>
                  <a:gd name="connsiteY2698" fmla="*/ 8658 h 10000"/>
                  <a:gd name="connsiteX2699" fmla="*/ 1290 w 10785"/>
                  <a:gd name="connsiteY2699" fmla="*/ 8632 h 10000"/>
                  <a:gd name="connsiteX2700" fmla="*/ 1281 w 10785"/>
                  <a:gd name="connsiteY2700" fmla="*/ 8615 h 10000"/>
                  <a:gd name="connsiteX2701" fmla="*/ 1272 w 10785"/>
                  <a:gd name="connsiteY2701" fmla="*/ 8598 h 10000"/>
                  <a:gd name="connsiteX2702" fmla="*/ 1281 w 10785"/>
                  <a:gd name="connsiteY2702" fmla="*/ 8496 h 10000"/>
                  <a:gd name="connsiteX2703" fmla="*/ 1295 w 10785"/>
                  <a:gd name="connsiteY2703" fmla="*/ 8470 h 10000"/>
                  <a:gd name="connsiteX2704" fmla="*/ 1304 w 10785"/>
                  <a:gd name="connsiteY2704" fmla="*/ 8462 h 10000"/>
                  <a:gd name="connsiteX2705" fmla="*/ 1304 w 10785"/>
                  <a:gd name="connsiteY2705" fmla="*/ 8444 h 10000"/>
                  <a:gd name="connsiteX2706" fmla="*/ 1304 w 10785"/>
                  <a:gd name="connsiteY2706" fmla="*/ 8419 h 10000"/>
                  <a:gd name="connsiteX2707" fmla="*/ 1304 w 10785"/>
                  <a:gd name="connsiteY2707" fmla="*/ 8410 h 10000"/>
                  <a:gd name="connsiteX2708" fmla="*/ 1309 w 10785"/>
                  <a:gd name="connsiteY2708" fmla="*/ 8393 h 10000"/>
                  <a:gd name="connsiteX2709" fmla="*/ 1318 w 10785"/>
                  <a:gd name="connsiteY2709" fmla="*/ 8385 h 10000"/>
                  <a:gd name="connsiteX2710" fmla="*/ 1323 w 10785"/>
                  <a:gd name="connsiteY2710" fmla="*/ 8385 h 10000"/>
                  <a:gd name="connsiteX2711" fmla="*/ 1332 w 10785"/>
                  <a:gd name="connsiteY2711" fmla="*/ 8410 h 10000"/>
                  <a:gd name="connsiteX2712" fmla="*/ 1346 w 10785"/>
                  <a:gd name="connsiteY2712" fmla="*/ 8419 h 10000"/>
                  <a:gd name="connsiteX2713" fmla="*/ 1364 w 10785"/>
                  <a:gd name="connsiteY2713" fmla="*/ 8504 h 10000"/>
                  <a:gd name="connsiteX2714" fmla="*/ 1369 w 10785"/>
                  <a:gd name="connsiteY2714" fmla="*/ 8521 h 10000"/>
                  <a:gd name="connsiteX2715" fmla="*/ 1406 w 10785"/>
                  <a:gd name="connsiteY2715" fmla="*/ 8470 h 10000"/>
                  <a:gd name="connsiteX2716" fmla="*/ 1382 w 10785"/>
                  <a:gd name="connsiteY2716" fmla="*/ 8359 h 10000"/>
                  <a:gd name="connsiteX2717" fmla="*/ 1392 w 10785"/>
                  <a:gd name="connsiteY2717" fmla="*/ 8359 h 10000"/>
                  <a:gd name="connsiteX2718" fmla="*/ 1438 w 10785"/>
                  <a:gd name="connsiteY2718" fmla="*/ 8308 h 10000"/>
                  <a:gd name="connsiteX2719" fmla="*/ 1442 w 10785"/>
                  <a:gd name="connsiteY2719" fmla="*/ 8299 h 10000"/>
                  <a:gd name="connsiteX2720" fmla="*/ 1442 w 10785"/>
                  <a:gd name="connsiteY2720" fmla="*/ 8256 h 10000"/>
                  <a:gd name="connsiteX2721" fmla="*/ 1452 w 10785"/>
                  <a:gd name="connsiteY2721" fmla="*/ 8256 h 10000"/>
                  <a:gd name="connsiteX2722" fmla="*/ 1456 w 10785"/>
                  <a:gd name="connsiteY2722" fmla="*/ 8256 h 10000"/>
                  <a:gd name="connsiteX2723" fmla="*/ 1470 w 10785"/>
                  <a:gd name="connsiteY2723" fmla="*/ 8248 h 10000"/>
                  <a:gd name="connsiteX2724" fmla="*/ 1479 w 10785"/>
                  <a:gd name="connsiteY2724" fmla="*/ 8231 h 10000"/>
                  <a:gd name="connsiteX2725" fmla="*/ 1493 w 10785"/>
                  <a:gd name="connsiteY2725" fmla="*/ 8222 h 10000"/>
                  <a:gd name="connsiteX2726" fmla="*/ 1498 w 10785"/>
                  <a:gd name="connsiteY2726" fmla="*/ 8214 h 10000"/>
                  <a:gd name="connsiteX2727" fmla="*/ 1502 w 10785"/>
                  <a:gd name="connsiteY2727" fmla="*/ 8197 h 10000"/>
                  <a:gd name="connsiteX2728" fmla="*/ 1512 w 10785"/>
                  <a:gd name="connsiteY2728" fmla="*/ 8188 h 10000"/>
                  <a:gd name="connsiteX2729" fmla="*/ 1516 w 10785"/>
                  <a:gd name="connsiteY2729" fmla="*/ 8171 h 10000"/>
                  <a:gd name="connsiteX2730" fmla="*/ 1525 w 10785"/>
                  <a:gd name="connsiteY2730" fmla="*/ 8162 h 10000"/>
                  <a:gd name="connsiteX2731" fmla="*/ 1539 w 10785"/>
                  <a:gd name="connsiteY2731" fmla="*/ 8145 h 10000"/>
                  <a:gd name="connsiteX2732" fmla="*/ 1558 w 10785"/>
                  <a:gd name="connsiteY2732" fmla="*/ 8145 h 10000"/>
                  <a:gd name="connsiteX2733" fmla="*/ 1562 w 10785"/>
                  <a:gd name="connsiteY2733" fmla="*/ 8188 h 10000"/>
                  <a:gd name="connsiteX2734" fmla="*/ 1585 w 10785"/>
                  <a:gd name="connsiteY2734" fmla="*/ 8171 h 10000"/>
                  <a:gd name="connsiteX2735" fmla="*/ 1590 w 10785"/>
                  <a:gd name="connsiteY2735" fmla="*/ 8188 h 10000"/>
                  <a:gd name="connsiteX2736" fmla="*/ 1599 w 10785"/>
                  <a:gd name="connsiteY2736" fmla="*/ 8171 h 10000"/>
                  <a:gd name="connsiteX2737" fmla="*/ 1599 w 10785"/>
                  <a:gd name="connsiteY2737" fmla="*/ 8162 h 10000"/>
                  <a:gd name="connsiteX2738" fmla="*/ 1604 w 10785"/>
                  <a:gd name="connsiteY2738" fmla="*/ 8137 h 10000"/>
                  <a:gd name="connsiteX2739" fmla="*/ 1618 w 10785"/>
                  <a:gd name="connsiteY2739" fmla="*/ 8145 h 10000"/>
                  <a:gd name="connsiteX2740" fmla="*/ 1627 w 10785"/>
                  <a:gd name="connsiteY2740" fmla="*/ 8137 h 10000"/>
                  <a:gd name="connsiteX2741" fmla="*/ 1631 w 10785"/>
                  <a:gd name="connsiteY2741" fmla="*/ 8137 h 10000"/>
                  <a:gd name="connsiteX2742" fmla="*/ 1636 w 10785"/>
                  <a:gd name="connsiteY2742" fmla="*/ 8171 h 10000"/>
                  <a:gd name="connsiteX2743" fmla="*/ 1645 w 10785"/>
                  <a:gd name="connsiteY2743" fmla="*/ 8188 h 10000"/>
                  <a:gd name="connsiteX2744" fmla="*/ 1664 w 10785"/>
                  <a:gd name="connsiteY2744" fmla="*/ 8171 h 10000"/>
                  <a:gd name="connsiteX2745" fmla="*/ 1673 w 10785"/>
                  <a:gd name="connsiteY2745" fmla="*/ 8188 h 10000"/>
                  <a:gd name="connsiteX2746" fmla="*/ 1691 w 10785"/>
                  <a:gd name="connsiteY2746" fmla="*/ 8171 h 10000"/>
                  <a:gd name="connsiteX2747" fmla="*/ 1705 w 10785"/>
                  <a:gd name="connsiteY2747" fmla="*/ 8171 h 10000"/>
                  <a:gd name="connsiteX2748" fmla="*/ 1719 w 10785"/>
                  <a:gd name="connsiteY2748" fmla="*/ 8197 h 10000"/>
                  <a:gd name="connsiteX2749" fmla="*/ 1724 w 10785"/>
                  <a:gd name="connsiteY2749" fmla="*/ 8231 h 10000"/>
                  <a:gd name="connsiteX2750" fmla="*/ 1751 w 10785"/>
                  <a:gd name="connsiteY2750" fmla="*/ 8256 h 10000"/>
                  <a:gd name="connsiteX2751" fmla="*/ 1751 w 10785"/>
                  <a:gd name="connsiteY2751" fmla="*/ 8274 h 10000"/>
                  <a:gd name="connsiteX2752" fmla="*/ 1760 w 10785"/>
                  <a:gd name="connsiteY2752" fmla="*/ 8282 h 10000"/>
                  <a:gd name="connsiteX2753" fmla="*/ 1770 w 10785"/>
                  <a:gd name="connsiteY2753" fmla="*/ 8325 h 10000"/>
                  <a:gd name="connsiteX2754" fmla="*/ 1770 w 10785"/>
                  <a:gd name="connsiteY2754" fmla="*/ 8350 h 10000"/>
                  <a:gd name="connsiteX2755" fmla="*/ 1779 w 10785"/>
                  <a:gd name="connsiteY2755" fmla="*/ 8368 h 10000"/>
                  <a:gd name="connsiteX2756" fmla="*/ 1783 w 10785"/>
                  <a:gd name="connsiteY2756" fmla="*/ 8359 h 10000"/>
                  <a:gd name="connsiteX2757" fmla="*/ 1783 w 10785"/>
                  <a:gd name="connsiteY2757" fmla="*/ 8308 h 10000"/>
                  <a:gd name="connsiteX2758" fmla="*/ 1779 w 10785"/>
                  <a:gd name="connsiteY2758" fmla="*/ 8299 h 10000"/>
                  <a:gd name="connsiteX2759" fmla="*/ 1783 w 10785"/>
                  <a:gd name="connsiteY2759" fmla="*/ 8282 h 10000"/>
                  <a:gd name="connsiteX2760" fmla="*/ 1797 w 10785"/>
                  <a:gd name="connsiteY2760" fmla="*/ 8274 h 10000"/>
                  <a:gd name="connsiteX2761" fmla="*/ 1797 w 10785"/>
                  <a:gd name="connsiteY2761" fmla="*/ 8299 h 10000"/>
                  <a:gd name="connsiteX2762" fmla="*/ 1806 w 10785"/>
                  <a:gd name="connsiteY2762" fmla="*/ 8308 h 10000"/>
                  <a:gd name="connsiteX2763" fmla="*/ 1811 w 10785"/>
                  <a:gd name="connsiteY2763" fmla="*/ 8325 h 10000"/>
                  <a:gd name="connsiteX2764" fmla="*/ 1820 w 10785"/>
                  <a:gd name="connsiteY2764" fmla="*/ 8333 h 10000"/>
                  <a:gd name="connsiteX2765" fmla="*/ 1853 w 10785"/>
                  <a:gd name="connsiteY2765" fmla="*/ 8359 h 10000"/>
                  <a:gd name="connsiteX2766" fmla="*/ 1866 w 10785"/>
                  <a:gd name="connsiteY2766" fmla="*/ 8359 h 10000"/>
                  <a:gd name="connsiteX2767" fmla="*/ 1885 w 10785"/>
                  <a:gd name="connsiteY2767" fmla="*/ 8325 h 10000"/>
                  <a:gd name="connsiteX2768" fmla="*/ 1885 w 10785"/>
                  <a:gd name="connsiteY2768" fmla="*/ 8308 h 10000"/>
                  <a:gd name="connsiteX2769" fmla="*/ 1894 w 10785"/>
                  <a:gd name="connsiteY2769" fmla="*/ 8299 h 10000"/>
                  <a:gd name="connsiteX2770" fmla="*/ 1899 w 10785"/>
                  <a:gd name="connsiteY2770" fmla="*/ 8282 h 10000"/>
                  <a:gd name="connsiteX2771" fmla="*/ 1912 w 10785"/>
                  <a:gd name="connsiteY2771" fmla="*/ 8282 h 10000"/>
                  <a:gd name="connsiteX2772" fmla="*/ 1917 w 10785"/>
                  <a:gd name="connsiteY2772" fmla="*/ 8299 h 10000"/>
                  <a:gd name="connsiteX2773" fmla="*/ 1917 w 10785"/>
                  <a:gd name="connsiteY2773" fmla="*/ 8274 h 10000"/>
                  <a:gd name="connsiteX2774" fmla="*/ 1940 w 10785"/>
                  <a:gd name="connsiteY2774" fmla="*/ 8282 h 10000"/>
                  <a:gd name="connsiteX2775" fmla="*/ 1945 w 10785"/>
                  <a:gd name="connsiteY2775" fmla="*/ 8274 h 10000"/>
                  <a:gd name="connsiteX2776" fmla="*/ 1972 w 10785"/>
                  <a:gd name="connsiteY2776" fmla="*/ 8308 h 10000"/>
                  <a:gd name="connsiteX2777" fmla="*/ 1986 w 10785"/>
                  <a:gd name="connsiteY2777" fmla="*/ 8282 h 10000"/>
                  <a:gd name="connsiteX2778" fmla="*/ 1991 w 10785"/>
                  <a:gd name="connsiteY2778" fmla="*/ 8274 h 10000"/>
                  <a:gd name="connsiteX2779" fmla="*/ 2014 w 10785"/>
                  <a:gd name="connsiteY2779" fmla="*/ 8274 h 10000"/>
                  <a:gd name="connsiteX2780" fmla="*/ 2018 w 10785"/>
                  <a:gd name="connsiteY2780" fmla="*/ 8256 h 10000"/>
                  <a:gd name="connsiteX2781" fmla="*/ 2041 w 10785"/>
                  <a:gd name="connsiteY2781" fmla="*/ 8274 h 10000"/>
                  <a:gd name="connsiteX2782" fmla="*/ 2046 w 10785"/>
                  <a:gd name="connsiteY2782" fmla="*/ 8282 h 10000"/>
                  <a:gd name="connsiteX2783" fmla="*/ 2046 w 10785"/>
                  <a:gd name="connsiteY2783" fmla="*/ 8325 h 10000"/>
                  <a:gd name="connsiteX2784" fmla="*/ 2060 w 10785"/>
                  <a:gd name="connsiteY2784" fmla="*/ 8350 h 10000"/>
                  <a:gd name="connsiteX2785" fmla="*/ 2078 w 10785"/>
                  <a:gd name="connsiteY2785" fmla="*/ 8350 h 10000"/>
                  <a:gd name="connsiteX2786" fmla="*/ 2092 w 10785"/>
                  <a:gd name="connsiteY2786" fmla="*/ 8350 h 10000"/>
                  <a:gd name="connsiteX2787" fmla="*/ 2092 w 10785"/>
                  <a:gd name="connsiteY2787" fmla="*/ 8350 h 10000"/>
                  <a:gd name="connsiteX2788" fmla="*/ 2101 w 10785"/>
                  <a:gd name="connsiteY2788" fmla="*/ 8368 h 10000"/>
                  <a:gd name="connsiteX2789" fmla="*/ 2120 w 10785"/>
                  <a:gd name="connsiteY2789" fmla="*/ 8368 h 10000"/>
                  <a:gd name="connsiteX2790" fmla="*/ 2124 w 10785"/>
                  <a:gd name="connsiteY2790" fmla="*/ 8359 h 10000"/>
                  <a:gd name="connsiteX2791" fmla="*/ 2138 w 10785"/>
                  <a:gd name="connsiteY2791" fmla="*/ 8325 h 10000"/>
                  <a:gd name="connsiteX2792" fmla="*/ 2147 w 10785"/>
                  <a:gd name="connsiteY2792" fmla="*/ 8325 h 10000"/>
                  <a:gd name="connsiteX2793" fmla="*/ 2161 w 10785"/>
                  <a:gd name="connsiteY2793" fmla="*/ 8350 h 10000"/>
                  <a:gd name="connsiteX2794" fmla="*/ 2198 w 10785"/>
                  <a:gd name="connsiteY2794" fmla="*/ 8350 h 10000"/>
                  <a:gd name="connsiteX2795" fmla="*/ 2207 w 10785"/>
                  <a:gd name="connsiteY2795" fmla="*/ 8333 h 10000"/>
                  <a:gd name="connsiteX2796" fmla="*/ 2226 w 10785"/>
                  <a:gd name="connsiteY2796" fmla="*/ 8325 h 10000"/>
                  <a:gd name="connsiteX2797" fmla="*/ 2249 w 10785"/>
                  <a:gd name="connsiteY2797" fmla="*/ 8222 h 10000"/>
                  <a:gd name="connsiteX2798" fmla="*/ 2235 w 10785"/>
                  <a:gd name="connsiteY2798" fmla="*/ 8197 h 10000"/>
                  <a:gd name="connsiteX2799" fmla="*/ 2198 w 10785"/>
                  <a:gd name="connsiteY2799" fmla="*/ 8197 h 10000"/>
                  <a:gd name="connsiteX2800" fmla="*/ 2189 w 10785"/>
                  <a:gd name="connsiteY2800" fmla="*/ 8171 h 10000"/>
                  <a:gd name="connsiteX2801" fmla="*/ 2161 w 10785"/>
                  <a:gd name="connsiteY2801" fmla="*/ 8145 h 10000"/>
                  <a:gd name="connsiteX2802" fmla="*/ 2161 w 10785"/>
                  <a:gd name="connsiteY2802" fmla="*/ 8137 h 10000"/>
                  <a:gd name="connsiteX2803" fmla="*/ 2152 w 10785"/>
                  <a:gd name="connsiteY2803" fmla="*/ 8120 h 10000"/>
                  <a:gd name="connsiteX2804" fmla="*/ 2138 w 10785"/>
                  <a:gd name="connsiteY2804" fmla="*/ 8111 h 10000"/>
                  <a:gd name="connsiteX2805" fmla="*/ 2138 w 10785"/>
                  <a:gd name="connsiteY2805" fmla="*/ 8094 h 10000"/>
                  <a:gd name="connsiteX2806" fmla="*/ 2147 w 10785"/>
                  <a:gd name="connsiteY2806" fmla="*/ 8085 h 10000"/>
                  <a:gd name="connsiteX2807" fmla="*/ 2161 w 10785"/>
                  <a:gd name="connsiteY2807" fmla="*/ 8060 h 10000"/>
                  <a:gd name="connsiteX2808" fmla="*/ 2198 w 10785"/>
                  <a:gd name="connsiteY2808" fmla="*/ 8034 h 10000"/>
                  <a:gd name="connsiteX2809" fmla="*/ 2198 w 10785"/>
                  <a:gd name="connsiteY2809" fmla="*/ 8026 h 10000"/>
                  <a:gd name="connsiteX2810" fmla="*/ 2198 w 10785"/>
                  <a:gd name="connsiteY2810" fmla="*/ 8000 h 10000"/>
                  <a:gd name="connsiteX2811" fmla="*/ 2180 w 10785"/>
                  <a:gd name="connsiteY2811" fmla="*/ 7940 h 10000"/>
                  <a:gd name="connsiteX2812" fmla="*/ 2189 w 10785"/>
                  <a:gd name="connsiteY2812" fmla="*/ 7940 h 10000"/>
                  <a:gd name="connsiteX2813" fmla="*/ 2198 w 10785"/>
                  <a:gd name="connsiteY2813" fmla="*/ 7923 h 10000"/>
                  <a:gd name="connsiteX2814" fmla="*/ 2198 w 10785"/>
                  <a:gd name="connsiteY2814" fmla="*/ 7897 h 10000"/>
                  <a:gd name="connsiteX2815" fmla="*/ 2207 w 10785"/>
                  <a:gd name="connsiteY2815" fmla="*/ 7889 h 10000"/>
                  <a:gd name="connsiteX2816" fmla="*/ 2221 w 10785"/>
                  <a:gd name="connsiteY2816" fmla="*/ 7889 h 10000"/>
                  <a:gd name="connsiteX2817" fmla="*/ 2226 w 10785"/>
                  <a:gd name="connsiteY2817" fmla="*/ 7897 h 10000"/>
                  <a:gd name="connsiteX2818" fmla="*/ 2235 w 10785"/>
                  <a:gd name="connsiteY2818" fmla="*/ 7889 h 10000"/>
                  <a:gd name="connsiteX2819" fmla="*/ 2249 w 10785"/>
                  <a:gd name="connsiteY2819" fmla="*/ 7897 h 10000"/>
                  <a:gd name="connsiteX2820" fmla="*/ 2267 w 10785"/>
                  <a:gd name="connsiteY2820" fmla="*/ 7897 h 10000"/>
                  <a:gd name="connsiteX2821" fmla="*/ 2272 w 10785"/>
                  <a:gd name="connsiteY2821" fmla="*/ 7889 h 10000"/>
                  <a:gd name="connsiteX2822" fmla="*/ 2281 w 10785"/>
                  <a:gd name="connsiteY2822" fmla="*/ 7872 h 10000"/>
                  <a:gd name="connsiteX2823" fmla="*/ 2272 w 10785"/>
                  <a:gd name="connsiteY2823" fmla="*/ 7846 h 10000"/>
                  <a:gd name="connsiteX2824" fmla="*/ 2253 w 10785"/>
                  <a:gd name="connsiteY2824" fmla="*/ 7838 h 10000"/>
                  <a:gd name="connsiteX2825" fmla="*/ 2221 w 10785"/>
                  <a:gd name="connsiteY2825" fmla="*/ 7821 h 10000"/>
                  <a:gd name="connsiteX2826" fmla="*/ 2212 w 10785"/>
                  <a:gd name="connsiteY2826" fmla="*/ 7812 h 10000"/>
                  <a:gd name="connsiteX2827" fmla="*/ 2212 w 10785"/>
                  <a:gd name="connsiteY2827" fmla="*/ 7803 h 10000"/>
                  <a:gd name="connsiteX2828" fmla="*/ 2221 w 10785"/>
                  <a:gd name="connsiteY2828" fmla="*/ 7803 h 10000"/>
                  <a:gd name="connsiteX2829" fmla="*/ 2235 w 10785"/>
                  <a:gd name="connsiteY2829" fmla="*/ 7786 h 10000"/>
                  <a:gd name="connsiteX2830" fmla="*/ 2240 w 10785"/>
                  <a:gd name="connsiteY2830" fmla="*/ 7778 h 10000"/>
                  <a:gd name="connsiteX2831" fmla="*/ 2226 w 10785"/>
                  <a:gd name="connsiteY2831" fmla="*/ 7761 h 10000"/>
                  <a:gd name="connsiteX2832" fmla="*/ 2221 w 10785"/>
                  <a:gd name="connsiteY2832" fmla="*/ 7778 h 10000"/>
                  <a:gd name="connsiteX2833" fmla="*/ 2198 w 10785"/>
                  <a:gd name="connsiteY2833" fmla="*/ 7778 h 10000"/>
                  <a:gd name="connsiteX2834" fmla="*/ 2198 w 10785"/>
                  <a:gd name="connsiteY2834" fmla="*/ 7752 h 10000"/>
                  <a:gd name="connsiteX2835" fmla="*/ 2207 w 10785"/>
                  <a:gd name="connsiteY2835" fmla="*/ 7735 h 10000"/>
                  <a:gd name="connsiteX2836" fmla="*/ 2212 w 10785"/>
                  <a:gd name="connsiteY2836" fmla="*/ 7726 h 10000"/>
                  <a:gd name="connsiteX2837" fmla="*/ 2198 w 10785"/>
                  <a:gd name="connsiteY2837" fmla="*/ 7692 h 10000"/>
                  <a:gd name="connsiteX2838" fmla="*/ 2221 w 10785"/>
                  <a:gd name="connsiteY2838" fmla="*/ 7692 h 10000"/>
                  <a:gd name="connsiteX2839" fmla="*/ 2221 w 10785"/>
                  <a:gd name="connsiteY2839" fmla="*/ 7675 h 10000"/>
                  <a:gd name="connsiteX2840" fmla="*/ 2235 w 10785"/>
                  <a:gd name="connsiteY2840" fmla="*/ 7675 h 10000"/>
                  <a:gd name="connsiteX2841" fmla="*/ 2240 w 10785"/>
                  <a:gd name="connsiteY2841" fmla="*/ 7692 h 10000"/>
                  <a:gd name="connsiteX2842" fmla="*/ 2249 w 10785"/>
                  <a:gd name="connsiteY2842" fmla="*/ 7692 h 10000"/>
                  <a:gd name="connsiteX2843" fmla="*/ 2258 w 10785"/>
                  <a:gd name="connsiteY2843" fmla="*/ 7692 h 10000"/>
                  <a:gd name="connsiteX2844" fmla="*/ 2267 w 10785"/>
                  <a:gd name="connsiteY2844" fmla="*/ 7692 h 10000"/>
                  <a:gd name="connsiteX2845" fmla="*/ 2295 w 10785"/>
                  <a:gd name="connsiteY2845" fmla="*/ 7692 h 10000"/>
                  <a:gd name="connsiteX2846" fmla="*/ 2300 w 10785"/>
                  <a:gd name="connsiteY2846" fmla="*/ 7701 h 10000"/>
                  <a:gd name="connsiteX2847" fmla="*/ 2313 w 10785"/>
                  <a:gd name="connsiteY2847" fmla="*/ 7675 h 10000"/>
                  <a:gd name="connsiteX2848" fmla="*/ 2323 w 10785"/>
                  <a:gd name="connsiteY2848" fmla="*/ 7675 h 10000"/>
                  <a:gd name="connsiteX2849" fmla="*/ 2341 w 10785"/>
                  <a:gd name="connsiteY2849" fmla="*/ 7675 h 10000"/>
                  <a:gd name="connsiteX2850" fmla="*/ 2346 w 10785"/>
                  <a:gd name="connsiteY2850" fmla="*/ 7667 h 10000"/>
                  <a:gd name="connsiteX2851" fmla="*/ 2359 w 10785"/>
                  <a:gd name="connsiteY2851" fmla="*/ 7650 h 10000"/>
                  <a:gd name="connsiteX2852" fmla="*/ 2373 w 10785"/>
                  <a:gd name="connsiteY2852" fmla="*/ 7624 h 10000"/>
                  <a:gd name="connsiteX2853" fmla="*/ 2382 w 10785"/>
                  <a:gd name="connsiteY2853" fmla="*/ 7641 h 10000"/>
                  <a:gd name="connsiteX2854" fmla="*/ 2396 w 10785"/>
                  <a:gd name="connsiteY2854" fmla="*/ 7650 h 10000"/>
                  <a:gd name="connsiteX2855" fmla="*/ 2401 w 10785"/>
                  <a:gd name="connsiteY2855" fmla="*/ 7650 h 10000"/>
                  <a:gd name="connsiteX2856" fmla="*/ 2401 w 10785"/>
                  <a:gd name="connsiteY2856" fmla="*/ 7624 h 10000"/>
                  <a:gd name="connsiteX2857" fmla="*/ 2419 w 10785"/>
                  <a:gd name="connsiteY2857" fmla="*/ 7624 h 10000"/>
                  <a:gd name="connsiteX2858" fmla="*/ 2433 w 10785"/>
                  <a:gd name="connsiteY2858" fmla="*/ 7615 h 10000"/>
                  <a:gd name="connsiteX2859" fmla="*/ 2442 w 10785"/>
                  <a:gd name="connsiteY2859" fmla="*/ 7615 h 10000"/>
                  <a:gd name="connsiteX2860" fmla="*/ 2447 w 10785"/>
                  <a:gd name="connsiteY2860" fmla="*/ 7598 h 10000"/>
                  <a:gd name="connsiteX2861" fmla="*/ 2461 w 10785"/>
                  <a:gd name="connsiteY2861" fmla="*/ 7598 h 10000"/>
                  <a:gd name="connsiteX2862" fmla="*/ 2465 w 10785"/>
                  <a:gd name="connsiteY2862" fmla="*/ 7615 h 10000"/>
                  <a:gd name="connsiteX2863" fmla="*/ 2479 w 10785"/>
                  <a:gd name="connsiteY2863" fmla="*/ 7564 h 10000"/>
                  <a:gd name="connsiteX2864" fmla="*/ 2488 w 10785"/>
                  <a:gd name="connsiteY2864" fmla="*/ 7556 h 10000"/>
                  <a:gd name="connsiteX2865" fmla="*/ 2493 w 10785"/>
                  <a:gd name="connsiteY2865" fmla="*/ 7556 h 10000"/>
                  <a:gd name="connsiteX2866" fmla="*/ 2507 w 10785"/>
                  <a:gd name="connsiteY2866" fmla="*/ 7556 h 10000"/>
                  <a:gd name="connsiteX2867" fmla="*/ 2530 w 10785"/>
                  <a:gd name="connsiteY2867" fmla="*/ 7538 h 10000"/>
                  <a:gd name="connsiteX2868" fmla="*/ 2530 w 10785"/>
                  <a:gd name="connsiteY2868" fmla="*/ 7556 h 10000"/>
                  <a:gd name="connsiteX2869" fmla="*/ 2641 w 10785"/>
                  <a:gd name="connsiteY2869" fmla="*/ 7504 h 10000"/>
                  <a:gd name="connsiteX2870" fmla="*/ 2654 w 10785"/>
                  <a:gd name="connsiteY2870" fmla="*/ 7487 h 10000"/>
                  <a:gd name="connsiteX2871" fmla="*/ 2664 w 10785"/>
                  <a:gd name="connsiteY2871" fmla="*/ 7487 h 10000"/>
                  <a:gd name="connsiteX2872" fmla="*/ 2668 w 10785"/>
                  <a:gd name="connsiteY2872" fmla="*/ 7479 h 10000"/>
                  <a:gd name="connsiteX2873" fmla="*/ 2673 w 10785"/>
                  <a:gd name="connsiteY2873" fmla="*/ 7462 h 10000"/>
                  <a:gd name="connsiteX2874" fmla="*/ 2673 w 10785"/>
                  <a:gd name="connsiteY2874" fmla="*/ 7427 h 10000"/>
                  <a:gd name="connsiteX2875" fmla="*/ 2687 w 10785"/>
                  <a:gd name="connsiteY2875" fmla="*/ 7436 h 10000"/>
                  <a:gd name="connsiteX2876" fmla="*/ 2696 w 10785"/>
                  <a:gd name="connsiteY2876" fmla="*/ 7427 h 10000"/>
                  <a:gd name="connsiteX2877" fmla="*/ 2700 w 10785"/>
                  <a:gd name="connsiteY2877" fmla="*/ 7419 h 10000"/>
                  <a:gd name="connsiteX2878" fmla="*/ 2710 w 10785"/>
                  <a:gd name="connsiteY2878" fmla="*/ 7402 h 10000"/>
                  <a:gd name="connsiteX2879" fmla="*/ 2724 w 10785"/>
                  <a:gd name="connsiteY2879" fmla="*/ 7402 h 10000"/>
                  <a:gd name="connsiteX2880" fmla="*/ 2724 w 10785"/>
                  <a:gd name="connsiteY2880" fmla="*/ 7393 h 10000"/>
                  <a:gd name="connsiteX2881" fmla="*/ 2737 w 10785"/>
                  <a:gd name="connsiteY2881" fmla="*/ 7393 h 10000"/>
                  <a:gd name="connsiteX2882" fmla="*/ 2742 w 10785"/>
                  <a:gd name="connsiteY2882" fmla="*/ 7402 h 10000"/>
                  <a:gd name="connsiteX2883" fmla="*/ 2747 w 10785"/>
                  <a:gd name="connsiteY2883" fmla="*/ 7402 h 10000"/>
                  <a:gd name="connsiteX2884" fmla="*/ 2760 w 10785"/>
                  <a:gd name="connsiteY2884" fmla="*/ 7402 h 10000"/>
                  <a:gd name="connsiteX2885" fmla="*/ 2770 w 10785"/>
                  <a:gd name="connsiteY2885" fmla="*/ 7402 h 10000"/>
                  <a:gd name="connsiteX2886" fmla="*/ 2774 w 10785"/>
                  <a:gd name="connsiteY2886" fmla="*/ 7402 h 10000"/>
                  <a:gd name="connsiteX2887" fmla="*/ 2783 w 10785"/>
                  <a:gd name="connsiteY2887" fmla="*/ 7419 h 10000"/>
                  <a:gd name="connsiteX2888" fmla="*/ 2802 w 10785"/>
                  <a:gd name="connsiteY2888" fmla="*/ 7436 h 10000"/>
                  <a:gd name="connsiteX2889" fmla="*/ 2816 w 10785"/>
                  <a:gd name="connsiteY2889" fmla="*/ 7419 h 10000"/>
                  <a:gd name="connsiteX2890" fmla="*/ 2834 w 10785"/>
                  <a:gd name="connsiteY2890" fmla="*/ 7419 h 10000"/>
                  <a:gd name="connsiteX2891" fmla="*/ 2843 w 10785"/>
                  <a:gd name="connsiteY2891" fmla="*/ 7419 h 10000"/>
                  <a:gd name="connsiteX2892" fmla="*/ 2848 w 10785"/>
                  <a:gd name="connsiteY2892" fmla="*/ 7436 h 10000"/>
                  <a:gd name="connsiteX2893" fmla="*/ 2857 w 10785"/>
                  <a:gd name="connsiteY2893" fmla="*/ 7453 h 10000"/>
                  <a:gd name="connsiteX2894" fmla="*/ 2857 w 10785"/>
                  <a:gd name="connsiteY2894" fmla="*/ 7504 h 10000"/>
                  <a:gd name="connsiteX2895" fmla="*/ 2862 w 10785"/>
                  <a:gd name="connsiteY2895" fmla="*/ 7530 h 10000"/>
                  <a:gd name="connsiteX2896" fmla="*/ 2876 w 10785"/>
                  <a:gd name="connsiteY2896" fmla="*/ 7538 h 10000"/>
                  <a:gd name="connsiteX2897" fmla="*/ 2871 w 10785"/>
                  <a:gd name="connsiteY2897" fmla="*/ 7564 h 10000"/>
                  <a:gd name="connsiteX2898" fmla="*/ 2871 w 10785"/>
                  <a:gd name="connsiteY2898" fmla="*/ 7598 h 10000"/>
                  <a:gd name="connsiteX2899" fmla="*/ 2857 w 10785"/>
                  <a:gd name="connsiteY2899" fmla="*/ 7624 h 10000"/>
                  <a:gd name="connsiteX2900" fmla="*/ 2862 w 10785"/>
                  <a:gd name="connsiteY2900" fmla="*/ 7641 h 10000"/>
                  <a:gd name="connsiteX2901" fmla="*/ 2871 w 10785"/>
                  <a:gd name="connsiteY2901" fmla="*/ 7667 h 10000"/>
                  <a:gd name="connsiteX2902" fmla="*/ 2880 w 10785"/>
                  <a:gd name="connsiteY2902" fmla="*/ 7650 h 10000"/>
                  <a:gd name="connsiteX2903" fmla="*/ 2894 w 10785"/>
                  <a:gd name="connsiteY2903" fmla="*/ 7667 h 10000"/>
                  <a:gd name="connsiteX2904" fmla="*/ 2903 w 10785"/>
                  <a:gd name="connsiteY2904" fmla="*/ 7667 h 10000"/>
                  <a:gd name="connsiteX2905" fmla="*/ 2908 w 10785"/>
                  <a:gd name="connsiteY2905" fmla="*/ 7641 h 10000"/>
                  <a:gd name="connsiteX2906" fmla="*/ 2917 w 10785"/>
                  <a:gd name="connsiteY2906" fmla="*/ 7641 h 10000"/>
                  <a:gd name="connsiteX2907" fmla="*/ 2922 w 10785"/>
                  <a:gd name="connsiteY2907" fmla="*/ 7641 h 10000"/>
                  <a:gd name="connsiteX2908" fmla="*/ 2931 w 10785"/>
                  <a:gd name="connsiteY2908" fmla="*/ 7615 h 10000"/>
                  <a:gd name="connsiteX2909" fmla="*/ 2935 w 10785"/>
                  <a:gd name="connsiteY2909" fmla="*/ 7615 h 10000"/>
                  <a:gd name="connsiteX2910" fmla="*/ 2945 w 10785"/>
                  <a:gd name="connsiteY2910" fmla="*/ 7650 h 10000"/>
                  <a:gd name="connsiteX2911" fmla="*/ 2949 w 10785"/>
                  <a:gd name="connsiteY2911" fmla="*/ 7667 h 10000"/>
                  <a:gd name="connsiteX2912" fmla="*/ 2949 w 10785"/>
                  <a:gd name="connsiteY2912" fmla="*/ 7675 h 10000"/>
                  <a:gd name="connsiteX2913" fmla="*/ 2945 w 10785"/>
                  <a:gd name="connsiteY2913" fmla="*/ 7692 h 10000"/>
                  <a:gd name="connsiteX2914" fmla="*/ 2963 w 10785"/>
                  <a:gd name="connsiteY2914" fmla="*/ 7701 h 10000"/>
                  <a:gd name="connsiteX2915" fmla="*/ 2963 w 10785"/>
                  <a:gd name="connsiteY2915" fmla="*/ 7675 h 10000"/>
                  <a:gd name="connsiteX2916" fmla="*/ 2954 w 10785"/>
                  <a:gd name="connsiteY2916" fmla="*/ 7667 h 10000"/>
                  <a:gd name="connsiteX2917" fmla="*/ 2963 w 10785"/>
                  <a:gd name="connsiteY2917" fmla="*/ 7667 h 10000"/>
                  <a:gd name="connsiteX2918" fmla="*/ 2982 w 10785"/>
                  <a:gd name="connsiteY2918" fmla="*/ 7667 h 10000"/>
                  <a:gd name="connsiteX2919" fmla="*/ 2991 w 10785"/>
                  <a:gd name="connsiteY2919" fmla="*/ 7675 h 10000"/>
                  <a:gd name="connsiteX2920" fmla="*/ 2995 w 10785"/>
                  <a:gd name="connsiteY2920" fmla="*/ 7692 h 10000"/>
                  <a:gd name="connsiteX2921" fmla="*/ 3009 w 10785"/>
                  <a:gd name="connsiteY2921" fmla="*/ 7701 h 10000"/>
                  <a:gd name="connsiteX2922" fmla="*/ 3018 w 10785"/>
                  <a:gd name="connsiteY2922" fmla="*/ 7701 h 10000"/>
                  <a:gd name="connsiteX2923" fmla="*/ 3023 w 10785"/>
                  <a:gd name="connsiteY2923" fmla="*/ 7692 h 10000"/>
                  <a:gd name="connsiteX2924" fmla="*/ 3028 w 10785"/>
                  <a:gd name="connsiteY2924" fmla="*/ 7675 h 10000"/>
                  <a:gd name="connsiteX2925" fmla="*/ 3037 w 10785"/>
                  <a:gd name="connsiteY2925" fmla="*/ 7692 h 10000"/>
                  <a:gd name="connsiteX2926" fmla="*/ 3028 w 10785"/>
                  <a:gd name="connsiteY2926" fmla="*/ 7709 h 10000"/>
                  <a:gd name="connsiteX2927" fmla="*/ 3023 w 10785"/>
                  <a:gd name="connsiteY2927" fmla="*/ 7709 h 10000"/>
                  <a:gd name="connsiteX2928" fmla="*/ 3018 w 10785"/>
                  <a:gd name="connsiteY2928" fmla="*/ 7726 h 10000"/>
                  <a:gd name="connsiteX2929" fmla="*/ 3009 w 10785"/>
                  <a:gd name="connsiteY2929" fmla="*/ 7735 h 10000"/>
                  <a:gd name="connsiteX2930" fmla="*/ 3009 w 10785"/>
                  <a:gd name="connsiteY2930" fmla="*/ 7761 h 10000"/>
                  <a:gd name="connsiteX2931" fmla="*/ 3009 w 10785"/>
                  <a:gd name="connsiteY2931" fmla="*/ 7778 h 10000"/>
                  <a:gd name="connsiteX2932" fmla="*/ 3018 w 10785"/>
                  <a:gd name="connsiteY2932" fmla="*/ 7786 h 10000"/>
                  <a:gd name="connsiteX2933" fmla="*/ 3023 w 10785"/>
                  <a:gd name="connsiteY2933" fmla="*/ 7786 h 10000"/>
                  <a:gd name="connsiteX2934" fmla="*/ 3028 w 10785"/>
                  <a:gd name="connsiteY2934" fmla="*/ 7778 h 10000"/>
                  <a:gd name="connsiteX2935" fmla="*/ 3051 w 10785"/>
                  <a:gd name="connsiteY2935" fmla="*/ 7761 h 10000"/>
                  <a:gd name="connsiteX2936" fmla="*/ 3055 w 10785"/>
                  <a:gd name="connsiteY2936" fmla="*/ 7778 h 10000"/>
                  <a:gd name="connsiteX2937" fmla="*/ 3065 w 10785"/>
                  <a:gd name="connsiteY2937" fmla="*/ 7761 h 10000"/>
                  <a:gd name="connsiteX2938" fmla="*/ 3069 w 10785"/>
                  <a:gd name="connsiteY2938" fmla="*/ 7786 h 10000"/>
                  <a:gd name="connsiteX2939" fmla="*/ 3083 w 10785"/>
                  <a:gd name="connsiteY2939" fmla="*/ 7786 h 10000"/>
                  <a:gd name="connsiteX2940" fmla="*/ 3078 w 10785"/>
                  <a:gd name="connsiteY2940" fmla="*/ 7761 h 10000"/>
                  <a:gd name="connsiteX2941" fmla="*/ 3083 w 10785"/>
                  <a:gd name="connsiteY2941" fmla="*/ 7752 h 10000"/>
                  <a:gd name="connsiteX2942" fmla="*/ 3097 w 10785"/>
                  <a:gd name="connsiteY2942" fmla="*/ 7752 h 10000"/>
                  <a:gd name="connsiteX2943" fmla="*/ 3111 w 10785"/>
                  <a:gd name="connsiteY2943" fmla="*/ 7726 h 10000"/>
                  <a:gd name="connsiteX2944" fmla="*/ 3124 w 10785"/>
                  <a:gd name="connsiteY2944" fmla="*/ 7709 h 10000"/>
                  <a:gd name="connsiteX2945" fmla="*/ 3143 w 10785"/>
                  <a:gd name="connsiteY2945" fmla="*/ 7692 h 10000"/>
                  <a:gd name="connsiteX2946" fmla="*/ 3152 w 10785"/>
                  <a:gd name="connsiteY2946" fmla="*/ 7667 h 10000"/>
                  <a:gd name="connsiteX2947" fmla="*/ 3157 w 10785"/>
                  <a:gd name="connsiteY2947" fmla="*/ 7650 h 10000"/>
                  <a:gd name="connsiteX2948" fmla="*/ 3161 w 10785"/>
                  <a:gd name="connsiteY2948" fmla="*/ 7650 h 10000"/>
                  <a:gd name="connsiteX2949" fmla="*/ 3189 w 10785"/>
                  <a:gd name="connsiteY2949" fmla="*/ 7641 h 10000"/>
                  <a:gd name="connsiteX2950" fmla="*/ 3198 w 10785"/>
                  <a:gd name="connsiteY2950" fmla="*/ 7624 h 10000"/>
                  <a:gd name="connsiteX2951" fmla="*/ 3217 w 10785"/>
                  <a:gd name="connsiteY2951" fmla="*/ 7615 h 10000"/>
                  <a:gd name="connsiteX2952" fmla="*/ 3235 w 10785"/>
                  <a:gd name="connsiteY2952" fmla="*/ 7598 h 10000"/>
                  <a:gd name="connsiteX2953" fmla="*/ 3235 w 10785"/>
                  <a:gd name="connsiteY2953" fmla="*/ 7615 h 10000"/>
                  <a:gd name="connsiteX2954" fmla="*/ 3235 w 10785"/>
                  <a:gd name="connsiteY2954" fmla="*/ 7641 h 10000"/>
                  <a:gd name="connsiteX2955" fmla="*/ 3235 w 10785"/>
                  <a:gd name="connsiteY2955" fmla="*/ 7650 h 10000"/>
                  <a:gd name="connsiteX2956" fmla="*/ 3226 w 10785"/>
                  <a:gd name="connsiteY2956" fmla="*/ 7650 h 10000"/>
                  <a:gd name="connsiteX2957" fmla="*/ 3217 w 10785"/>
                  <a:gd name="connsiteY2957" fmla="*/ 7650 h 10000"/>
                  <a:gd name="connsiteX2958" fmla="*/ 3212 w 10785"/>
                  <a:gd name="connsiteY2958" fmla="*/ 7675 h 10000"/>
                  <a:gd name="connsiteX2959" fmla="*/ 3212 w 10785"/>
                  <a:gd name="connsiteY2959"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139 w 10785"/>
                  <a:gd name="connsiteY731" fmla="*/ 4708 h 10000"/>
                  <a:gd name="connsiteX732" fmla="*/ 10233 w 10785"/>
                  <a:gd name="connsiteY732" fmla="*/ 4530 h 10000"/>
                  <a:gd name="connsiteX733" fmla="*/ 10334 w 10785"/>
                  <a:gd name="connsiteY733" fmla="*/ 4810 h 10000"/>
                  <a:gd name="connsiteX734" fmla="*/ 10422 w 10785"/>
                  <a:gd name="connsiteY734" fmla="*/ 5051 h 10000"/>
                  <a:gd name="connsiteX735" fmla="*/ 10691 w 10785"/>
                  <a:gd name="connsiteY735" fmla="*/ 5255 h 10000"/>
                  <a:gd name="connsiteX736" fmla="*/ 10619 w 10785"/>
                  <a:gd name="connsiteY736" fmla="*/ 4708 h 10000"/>
                  <a:gd name="connsiteX737" fmla="*/ 10785 w 10785"/>
                  <a:gd name="connsiteY737" fmla="*/ 4708 h 10000"/>
                  <a:gd name="connsiteX738" fmla="*/ 10689 w 10785"/>
                  <a:gd name="connsiteY738" fmla="*/ 4467 h 10000"/>
                  <a:gd name="connsiteX739" fmla="*/ 10354 w 10785"/>
                  <a:gd name="connsiteY739" fmla="*/ 4302 h 10000"/>
                  <a:gd name="connsiteX740" fmla="*/ 9912 w 10785"/>
                  <a:gd name="connsiteY740" fmla="*/ 3675 h 10000"/>
                  <a:gd name="connsiteX741" fmla="*/ 9903 w 10785"/>
                  <a:gd name="connsiteY741" fmla="*/ 3667 h 10000"/>
                  <a:gd name="connsiteX742" fmla="*/ 9894 w 10785"/>
                  <a:gd name="connsiteY742" fmla="*/ 3641 h 10000"/>
                  <a:gd name="connsiteX743" fmla="*/ 9889 w 10785"/>
                  <a:gd name="connsiteY743" fmla="*/ 3650 h 10000"/>
                  <a:gd name="connsiteX744" fmla="*/ 9848 w 10785"/>
                  <a:gd name="connsiteY744" fmla="*/ 3598 h 10000"/>
                  <a:gd name="connsiteX745" fmla="*/ 9829 w 10785"/>
                  <a:gd name="connsiteY745" fmla="*/ 3581 h 10000"/>
                  <a:gd name="connsiteX746" fmla="*/ 9820 w 10785"/>
                  <a:gd name="connsiteY746" fmla="*/ 3581 h 10000"/>
                  <a:gd name="connsiteX747" fmla="*/ 9793 w 10785"/>
                  <a:gd name="connsiteY747" fmla="*/ 3556 h 10000"/>
                  <a:gd name="connsiteX748" fmla="*/ 9779 w 10785"/>
                  <a:gd name="connsiteY748" fmla="*/ 3556 h 10000"/>
                  <a:gd name="connsiteX749" fmla="*/ 9747 w 10785"/>
                  <a:gd name="connsiteY749" fmla="*/ 3487 h 10000"/>
                  <a:gd name="connsiteX750" fmla="*/ 9668 w 10785"/>
                  <a:gd name="connsiteY750" fmla="*/ 3479 h 10000"/>
                  <a:gd name="connsiteX751" fmla="*/ 9659 w 10785"/>
                  <a:gd name="connsiteY751" fmla="*/ 3487 h 10000"/>
                  <a:gd name="connsiteX752" fmla="*/ 9645 w 10785"/>
                  <a:gd name="connsiteY752" fmla="*/ 3504 h 10000"/>
                  <a:gd name="connsiteX753" fmla="*/ 9631 w 10785"/>
                  <a:gd name="connsiteY753" fmla="*/ 3487 h 10000"/>
                  <a:gd name="connsiteX754" fmla="*/ 9613 w 10785"/>
                  <a:gd name="connsiteY754" fmla="*/ 3479 h 10000"/>
                  <a:gd name="connsiteX755" fmla="*/ 9599 w 10785"/>
                  <a:gd name="connsiteY755" fmla="*/ 3479 h 10000"/>
                  <a:gd name="connsiteX756" fmla="*/ 9571 w 10785"/>
                  <a:gd name="connsiteY756" fmla="*/ 3479 h 10000"/>
                  <a:gd name="connsiteX757" fmla="*/ 9562 w 10785"/>
                  <a:gd name="connsiteY757" fmla="*/ 3487 h 10000"/>
                  <a:gd name="connsiteX758" fmla="*/ 9539 w 10785"/>
                  <a:gd name="connsiteY758" fmla="*/ 3487 h 10000"/>
                  <a:gd name="connsiteX759" fmla="*/ 9507 w 10785"/>
                  <a:gd name="connsiteY759" fmla="*/ 3453 h 10000"/>
                  <a:gd name="connsiteX760" fmla="*/ 9498 w 10785"/>
                  <a:gd name="connsiteY760" fmla="*/ 3453 h 10000"/>
                  <a:gd name="connsiteX761" fmla="*/ 9387 w 10785"/>
                  <a:gd name="connsiteY761" fmla="*/ 3419 h 10000"/>
                  <a:gd name="connsiteX762" fmla="*/ 9373 w 10785"/>
                  <a:gd name="connsiteY762" fmla="*/ 3427 h 10000"/>
                  <a:gd name="connsiteX763" fmla="*/ 9373 w 10785"/>
                  <a:gd name="connsiteY763" fmla="*/ 3462 h 10000"/>
                  <a:gd name="connsiteX764" fmla="*/ 9378 w 10785"/>
                  <a:gd name="connsiteY764" fmla="*/ 3479 h 10000"/>
                  <a:gd name="connsiteX765" fmla="*/ 9378 w 10785"/>
                  <a:gd name="connsiteY765" fmla="*/ 3530 h 10000"/>
                  <a:gd name="connsiteX766" fmla="*/ 9355 w 10785"/>
                  <a:gd name="connsiteY766" fmla="*/ 3538 h 10000"/>
                  <a:gd name="connsiteX767" fmla="*/ 9355 w 10785"/>
                  <a:gd name="connsiteY767" fmla="*/ 3581 h 10000"/>
                  <a:gd name="connsiteX768" fmla="*/ 9387 w 10785"/>
                  <a:gd name="connsiteY768" fmla="*/ 3590 h 10000"/>
                  <a:gd name="connsiteX769" fmla="*/ 9401 w 10785"/>
                  <a:gd name="connsiteY769" fmla="*/ 3667 h 10000"/>
                  <a:gd name="connsiteX770" fmla="*/ 9406 w 10785"/>
                  <a:gd name="connsiteY770" fmla="*/ 3675 h 10000"/>
                  <a:gd name="connsiteX771" fmla="*/ 9406 w 10785"/>
                  <a:gd name="connsiteY771" fmla="*/ 3701 h 10000"/>
                  <a:gd name="connsiteX772" fmla="*/ 9415 w 10785"/>
                  <a:gd name="connsiteY772" fmla="*/ 3752 h 10000"/>
                  <a:gd name="connsiteX773" fmla="*/ 9373 w 10785"/>
                  <a:gd name="connsiteY773" fmla="*/ 3838 h 10000"/>
                  <a:gd name="connsiteX774" fmla="*/ 9355 w 10785"/>
                  <a:gd name="connsiteY774" fmla="*/ 3863 h 10000"/>
                  <a:gd name="connsiteX775" fmla="*/ 9327 w 10785"/>
                  <a:gd name="connsiteY775" fmla="*/ 3863 h 10000"/>
                  <a:gd name="connsiteX776" fmla="*/ 9313 w 10785"/>
                  <a:gd name="connsiteY776" fmla="*/ 3846 h 10000"/>
                  <a:gd name="connsiteX777" fmla="*/ 9300 w 10785"/>
                  <a:gd name="connsiteY777" fmla="*/ 3778 h 10000"/>
                  <a:gd name="connsiteX778" fmla="*/ 9281 w 10785"/>
                  <a:gd name="connsiteY778" fmla="*/ 3752 h 10000"/>
                  <a:gd name="connsiteX779" fmla="*/ 9281 w 10785"/>
                  <a:gd name="connsiteY779" fmla="*/ 3735 h 10000"/>
                  <a:gd name="connsiteX780" fmla="*/ 9267 w 10785"/>
                  <a:gd name="connsiteY780" fmla="*/ 3726 h 10000"/>
                  <a:gd name="connsiteX781" fmla="*/ 9240 w 10785"/>
                  <a:gd name="connsiteY781" fmla="*/ 3726 h 10000"/>
                  <a:gd name="connsiteX782" fmla="*/ 9230 w 10785"/>
                  <a:gd name="connsiteY782" fmla="*/ 3718 h 10000"/>
                  <a:gd name="connsiteX783" fmla="*/ 9226 w 10785"/>
                  <a:gd name="connsiteY783" fmla="*/ 3590 h 10000"/>
                  <a:gd name="connsiteX784" fmla="*/ 9207 w 10785"/>
                  <a:gd name="connsiteY784" fmla="*/ 3581 h 10000"/>
                  <a:gd name="connsiteX785" fmla="*/ 9207 w 10785"/>
                  <a:gd name="connsiteY785" fmla="*/ 3556 h 10000"/>
                  <a:gd name="connsiteX786" fmla="*/ 9217 w 10785"/>
                  <a:gd name="connsiteY786" fmla="*/ 3538 h 10000"/>
                  <a:gd name="connsiteX787" fmla="*/ 9212 w 10785"/>
                  <a:gd name="connsiteY787" fmla="*/ 3538 h 10000"/>
                  <a:gd name="connsiteX788" fmla="*/ 9198 w 10785"/>
                  <a:gd name="connsiteY788" fmla="*/ 3513 h 10000"/>
                  <a:gd name="connsiteX789" fmla="*/ 9194 w 10785"/>
                  <a:gd name="connsiteY789" fmla="*/ 3530 h 10000"/>
                  <a:gd name="connsiteX790" fmla="*/ 9143 w 10785"/>
                  <a:gd name="connsiteY790" fmla="*/ 3615 h 10000"/>
                  <a:gd name="connsiteX791" fmla="*/ 9138 w 10785"/>
                  <a:gd name="connsiteY791" fmla="*/ 3615 h 10000"/>
                  <a:gd name="connsiteX792" fmla="*/ 9134 w 10785"/>
                  <a:gd name="connsiteY792" fmla="*/ 3615 h 10000"/>
                  <a:gd name="connsiteX793" fmla="*/ 9106 w 10785"/>
                  <a:gd name="connsiteY793" fmla="*/ 3615 h 10000"/>
                  <a:gd name="connsiteX794" fmla="*/ 9078 w 10785"/>
                  <a:gd name="connsiteY794" fmla="*/ 3590 h 10000"/>
                  <a:gd name="connsiteX795" fmla="*/ 9037 w 10785"/>
                  <a:gd name="connsiteY795" fmla="*/ 3581 h 10000"/>
                  <a:gd name="connsiteX796" fmla="*/ 9023 w 10785"/>
                  <a:gd name="connsiteY796" fmla="*/ 3590 h 10000"/>
                  <a:gd name="connsiteX797" fmla="*/ 9018 w 10785"/>
                  <a:gd name="connsiteY797" fmla="*/ 3590 h 10000"/>
                  <a:gd name="connsiteX798" fmla="*/ 9018 w 10785"/>
                  <a:gd name="connsiteY798" fmla="*/ 3590 h 10000"/>
                  <a:gd name="connsiteX799" fmla="*/ 8991 w 10785"/>
                  <a:gd name="connsiteY799" fmla="*/ 3590 h 10000"/>
                  <a:gd name="connsiteX800" fmla="*/ 8972 w 10785"/>
                  <a:gd name="connsiteY800" fmla="*/ 3581 h 10000"/>
                  <a:gd name="connsiteX801" fmla="*/ 8959 w 10785"/>
                  <a:gd name="connsiteY801" fmla="*/ 3513 h 10000"/>
                  <a:gd name="connsiteX802" fmla="*/ 8931 w 10785"/>
                  <a:gd name="connsiteY802" fmla="*/ 3538 h 10000"/>
                  <a:gd name="connsiteX803" fmla="*/ 8889 w 10785"/>
                  <a:gd name="connsiteY803" fmla="*/ 3538 h 10000"/>
                  <a:gd name="connsiteX804" fmla="*/ 8871 w 10785"/>
                  <a:gd name="connsiteY804" fmla="*/ 3556 h 10000"/>
                  <a:gd name="connsiteX805" fmla="*/ 8857 w 10785"/>
                  <a:gd name="connsiteY805" fmla="*/ 3538 h 10000"/>
                  <a:gd name="connsiteX806" fmla="*/ 8843 w 10785"/>
                  <a:gd name="connsiteY806" fmla="*/ 3538 h 10000"/>
                  <a:gd name="connsiteX807" fmla="*/ 8839 w 10785"/>
                  <a:gd name="connsiteY807" fmla="*/ 3556 h 10000"/>
                  <a:gd name="connsiteX808" fmla="*/ 8839 w 10785"/>
                  <a:gd name="connsiteY808" fmla="*/ 3581 h 10000"/>
                  <a:gd name="connsiteX809" fmla="*/ 8825 w 10785"/>
                  <a:gd name="connsiteY809" fmla="*/ 3564 h 10000"/>
                  <a:gd name="connsiteX810" fmla="*/ 8825 w 10785"/>
                  <a:gd name="connsiteY810" fmla="*/ 3615 h 10000"/>
                  <a:gd name="connsiteX811" fmla="*/ 8802 w 10785"/>
                  <a:gd name="connsiteY811" fmla="*/ 3598 h 10000"/>
                  <a:gd name="connsiteX812" fmla="*/ 8797 w 10785"/>
                  <a:gd name="connsiteY812" fmla="*/ 3641 h 10000"/>
                  <a:gd name="connsiteX813" fmla="*/ 8783 w 10785"/>
                  <a:gd name="connsiteY813" fmla="*/ 3667 h 10000"/>
                  <a:gd name="connsiteX814" fmla="*/ 8779 w 10785"/>
                  <a:gd name="connsiteY814" fmla="*/ 3650 h 10000"/>
                  <a:gd name="connsiteX815" fmla="*/ 8779 w 10785"/>
                  <a:gd name="connsiteY815" fmla="*/ 3615 h 10000"/>
                  <a:gd name="connsiteX816" fmla="*/ 8770 w 10785"/>
                  <a:gd name="connsiteY816" fmla="*/ 3590 h 10000"/>
                  <a:gd name="connsiteX817" fmla="*/ 8765 w 10785"/>
                  <a:gd name="connsiteY817" fmla="*/ 3598 h 10000"/>
                  <a:gd name="connsiteX818" fmla="*/ 8756 w 10785"/>
                  <a:gd name="connsiteY818" fmla="*/ 3590 h 10000"/>
                  <a:gd name="connsiteX819" fmla="*/ 8737 w 10785"/>
                  <a:gd name="connsiteY819" fmla="*/ 3556 h 10000"/>
                  <a:gd name="connsiteX820" fmla="*/ 8724 w 10785"/>
                  <a:gd name="connsiteY820" fmla="*/ 3538 h 10000"/>
                  <a:gd name="connsiteX821" fmla="*/ 8696 w 10785"/>
                  <a:gd name="connsiteY821" fmla="*/ 3538 h 10000"/>
                  <a:gd name="connsiteX822" fmla="*/ 8691 w 10785"/>
                  <a:gd name="connsiteY822" fmla="*/ 3513 h 10000"/>
                  <a:gd name="connsiteX823" fmla="*/ 8668 w 10785"/>
                  <a:gd name="connsiteY823" fmla="*/ 3504 h 10000"/>
                  <a:gd name="connsiteX824" fmla="*/ 8668 w 10785"/>
                  <a:gd name="connsiteY824" fmla="*/ 3487 h 10000"/>
                  <a:gd name="connsiteX825" fmla="*/ 8691 w 10785"/>
                  <a:gd name="connsiteY825" fmla="*/ 3350 h 10000"/>
                  <a:gd name="connsiteX826" fmla="*/ 8691 w 10785"/>
                  <a:gd name="connsiteY826" fmla="*/ 3291 h 10000"/>
                  <a:gd name="connsiteX827" fmla="*/ 8677 w 10785"/>
                  <a:gd name="connsiteY827" fmla="*/ 3239 h 10000"/>
                  <a:gd name="connsiteX828" fmla="*/ 8677 w 10785"/>
                  <a:gd name="connsiteY828" fmla="*/ 3231 h 10000"/>
                  <a:gd name="connsiteX829" fmla="*/ 8636 w 10785"/>
                  <a:gd name="connsiteY829" fmla="*/ 3128 h 10000"/>
                  <a:gd name="connsiteX830" fmla="*/ 8622 w 10785"/>
                  <a:gd name="connsiteY830" fmla="*/ 3120 h 10000"/>
                  <a:gd name="connsiteX831" fmla="*/ 8618 w 10785"/>
                  <a:gd name="connsiteY831" fmla="*/ 3094 h 10000"/>
                  <a:gd name="connsiteX832" fmla="*/ 8594 w 10785"/>
                  <a:gd name="connsiteY832" fmla="*/ 3077 h 10000"/>
                  <a:gd name="connsiteX833" fmla="*/ 8548 w 10785"/>
                  <a:gd name="connsiteY833" fmla="*/ 3077 h 10000"/>
                  <a:gd name="connsiteX834" fmla="*/ 8535 w 10785"/>
                  <a:gd name="connsiteY834" fmla="*/ 3068 h 10000"/>
                  <a:gd name="connsiteX835" fmla="*/ 8429 w 10785"/>
                  <a:gd name="connsiteY835" fmla="*/ 3077 h 10000"/>
                  <a:gd name="connsiteX836" fmla="*/ 8424 w 10785"/>
                  <a:gd name="connsiteY836" fmla="*/ 3077 h 10000"/>
                  <a:gd name="connsiteX837" fmla="*/ 8396 w 10785"/>
                  <a:gd name="connsiteY837" fmla="*/ 3077 h 10000"/>
                  <a:gd name="connsiteX838" fmla="*/ 8387 w 10785"/>
                  <a:gd name="connsiteY838" fmla="*/ 3094 h 10000"/>
                  <a:gd name="connsiteX839" fmla="*/ 8378 w 10785"/>
                  <a:gd name="connsiteY839" fmla="*/ 3094 h 10000"/>
                  <a:gd name="connsiteX840" fmla="*/ 8341 w 10785"/>
                  <a:gd name="connsiteY840" fmla="*/ 3077 h 10000"/>
                  <a:gd name="connsiteX841" fmla="*/ 8336 w 10785"/>
                  <a:gd name="connsiteY841" fmla="*/ 3077 h 10000"/>
                  <a:gd name="connsiteX842" fmla="*/ 8327 w 10785"/>
                  <a:gd name="connsiteY842" fmla="*/ 3103 h 10000"/>
                  <a:gd name="connsiteX843" fmla="*/ 8309 w 10785"/>
                  <a:gd name="connsiteY843" fmla="*/ 3120 h 10000"/>
                  <a:gd name="connsiteX844" fmla="*/ 8304 w 10785"/>
                  <a:gd name="connsiteY844" fmla="*/ 3103 h 10000"/>
                  <a:gd name="connsiteX845" fmla="*/ 8276 w 10785"/>
                  <a:gd name="connsiteY845" fmla="*/ 3103 h 10000"/>
                  <a:gd name="connsiteX846" fmla="*/ 8267 w 10785"/>
                  <a:gd name="connsiteY846" fmla="*/ 3120 h 10000"/>
                  <a:gd name="connsiteX847" fmla="*/ 8253 w 10785"/>
                  <a:gd name="connsiteY847" fmla="*/ 3103 h 10000"/>
                  <a:gd name="connsiteX848" fmla="*/ 8230 w 10785"/>
                  <a:gd name="connsiteY848" fmla="*/ 3128 h 10000"/>
                  <a:gd name="connsiteX849" fmla="*/ 8217 w 10785"/>
                  <a:gd name="connsiteY849" fmla="*/ 3128 h 10000"/>
                  <a:gd name="connsiteX850" fmla="*/ 8203 w 10785"/>
                  <a:gd name="connsiteY850" fmla="*/ 3154 h 10000"/>
                  <a:gd name="connsiteX851" fmla="*/ 8175 w 10785"/>
                  <a:gd name="connsiteY851" fmla="*/ 3094 h 10000"/>
                  <a:gd name="connsiteX852" fmla="*/ 8161 w 10785"/>
                  <a:gd name="connsiteY852" fmla="*/ 3094 h 10000"/>
                  <a:gd name="connsiteX853" fmla="*/ 8157 w 10785"/>
                  <a:gd name="connsiteY853" fmla="*/ 3077 h 10000"/>
                  <a:gd name="connsiteX854" fmla="*/ 8180 w 10785"/>
                  <a:gd name="connsiteY854" fmla="*/ 3068 h 10000"/>
                  <a:gd name="connsiteX855" fmla="*/ 8189 w 10785"/>
                  <a:gd name="connsiteY855" fmla="*/ 3043 h 10000"/>
                  <a:gd name="connsiteX856" fmla="*/ 8189 w 10785"/>
                  <a:gd name="connsiteY856" fmla="*/ 3017 h 10000"/>
                  <a:gd name="connsiteX857" fmla="*/ 8147 w 10785"/>
                  <a:gd name="connsiteY857" fmla="*/ 2940 h 10000"/>
                  <a:gd name="connsiteX858" fmla="*/ 8143 w 10785"/>
                  <a:gd name="connsiteY858" fmla="*/ 2915 h 10000"/>
                  <a:gd name="connsiteX859" fmla="*/ 8143 w 10785"/>
                  <a:gd name="connsiteY859" fmla="*/ 2906 h 10000"/>
                  <a:gd name="connsiteX860" fmla="*/ 8097 w 10785"/>
                  <a:gd name="connsiteY860" fmla="*/ 2932 h 10000"/>
                  <a:gd name="connsiteX861" fmla="*/ 8083 w 10785"/>
                  <a:gd name="connsiteY861" fmla="*/ 2932 h 10000"/>
                  <a:gd name="connsiteX862" fmla="*/ 8074 w 10785"/>
                  <a:gd name="connsiteY862" fmla="*/ 2906 h 10000"/>
                  <a:gd name="connsiteX863" fmla="*/ 8074 w 10785"/>
                  <a:gd name="connsiteY863" fmla="*/ 2897 h 10000"/>
                  <a:gd name="connsiteX864" fmla="*/ 8055 w 10785"/>
                  <a:gd name="connsiteY864" fmla="*/ 2872 h 10000"/>
                  <a:gd name="connsiteX865" fmla="*/ 8046 w 10785"/>
                  <a:gd name="connsiteY865" fmla="*/ 2829 h 10000"/>
                  <a:gd name="connsiteX866" fmla="*/ 8041 w 10785"/>
                  <a:gd name="connsiteY866" fmla="*/ 2829 h 10000"/>
                  <a:gd name="connsiteX867" fmla="*/ 8023 w 10785"/>
                  <a:gd name="connsiteY867" fmla="*/ 2803 h 10000"/>
                  <a:gd name="connsiteX868" fmla="*/ 8014 w 10785"/>
                  <a:gd name="connsiteY868" fmla="*/ 2829 h 10000"/>
                  <a:gd name="connsiteX869" fmla="*/ 8000 w 10785"/>
                  <a:gd name="connsiteY869" fmla="*/ 2829 h 10000"/>
                  <a:gd name="connsiteX870" fmla="*/ 7995 w 10785"/>
                  <a:gd name="connsiteY870" fmla="*/ 2821 h 10000"/>
                  <a:gd name="connsiteX871" fmla="*/ 7972 w 10785"/>
                  <a:gd name="connsiteY871" fmla="*/ 2803 h 10000"/>
                  <a:gd name="connsiteX872" fmla="*/ 7968 w 10785"/>
                  <a:gd name="connsiteY872" fmla="*/ 2821 h 10000"/>
                  <a:gd name="connsiteX873" fmla="*/ 7968 w 10785"/>
                  <a:gd name="connsiteY873" fmla="*/ 2803 h 10000"/>
                  <a:gd name="connsiteX874" fmla="*/ 7995 w 10785"/>
                  <a:gd name="connsiteY874" fmla="*/ 2735 h 10000"/>
                  <a:gd name="connsiteX875" fmla="*/ 8000 w 10785"/>
                  <a:gd name="connsiteY875" fmla="*/ 2735 h 10000"/>
                  <a:gd name="connsiteX876" fmla="*/ 8014 w 10785"/>
                  <a:gd name="connsiteY876" fmla="*/ 2744 h 10000"/>
                  <a:gd name="connsiteX877" fmla="*/ 8023 w 10785"/>
                  <a:gd name="connsiteY877" fmla="*/ 2769 h 10000"/>
                  <a:gd name="connsiteX878" fmla="*/ 8032 w 10785"/>
                  <a:gd name="connsiteY878" fmla="*/ 2744 h 10000"/>
                  <a:gd name="connsiteX879" fmla="*/ 8032 w 10785"/>
                  <a:gd name="connsiteY879" fmla="*/ 2709 h 10000"/>
                  <a:gd name="connsiteX880" fmla="*/ 8023 w 10785"/>
                  <a:gd name="connsiteY880" fmla="*/ 2632 h 10000"/>
                  <a:gd name="connsiteX881" fmla="*/ 7986 w 10785"/>
                  <a:gd name="connsiteY881" fmla="*/ 2581 h 10000"/>
                  <a:gd name="connsiteX882" fmla="*/ 7968 w 10785"/>
                  <a:gd name="connsiteY882" fmla="*/ 2581 h 10000"/>
                  <a:gd name="connsiteX883" fmla="*/ 7963 w 10785"/>
                  <a:gd name="connsiteY883" fmla="*/ 2556 h 10000"/>
                  <a:gd name="connsiteX884" fmla="*/ 7935 w 10785"/>
                  <a:gd name="connsiteY884" fmla="*/ 2547 h 10000"/>
                  <a:gd name="connsiteX885" fmla="*/ 7912 w 10785"/>
                  <a:gd name="connsiteY885" fmla="*/ 2547 h 10000"/>
                  <a:gd name="connsiteX886" fmla="*/ 7912 w 10785"/>
                  <a:gd name="connsiteY886" fmla="*/ 2556 h 10000"/>
                  <a:gd name="connsiteX887" fmla="*/ 7908 w 10785"/>
                  <a:gd name="connsiteY887" fmla="*/ 2547 h 10000"/>
                  <a:gd name="connsiteX888" fmla="*/ 7862 w 10785"/>
                  <a:gd name="connsiteY888" fmla="*/ 2547 h 10000"/>
                  <a:gd name="connsiteX889" fmla="*/ 7848 w 10785"/>
                  <a:gd name="connsiteY889" fmla="*/ 2556 h 10000"/>
                  <a:gd name="connsiteX890" fmla="*/ 7820 w 10785"/>
                  <a:gd name="connsiteY890" fmla="*/ 2547 h 10000"/>
                  <a:gd name="connsiteX891" fmla="*/ 7806 w 10785"/>
                  <a:gd name="connsiteY891" fmla="*/ 2513 h 10000"/>
                  <a:gd name="connsiteX892" fmla="*/ 7788 w 10785"/>
                  <a:gd name="connsiteY892" fmla="*/ 2513 h 10000"/>
                  <a:gd name="connsiteX893" fmla="*/ 7760 w 10785"/>
                  <a:gd name="connsiteY893" fmla="*/ 2470 h 10000"/>
                  <a:gd name="connsiteX894" fmla="*/ 7751 w 10785"/>
                  <a:gd name="connsiteY894" fmla="*/ 2470 h 10000"/>
                  <a:gd name="connsiteX895" fmla="*/ 7705 w 10785"/>
                  <a:gd name="connsiteY895" fmla="*/ 2462 h 10000"/>
                  <a:gd name="connsiteX896" fmla="*/ 7673 w 10785"/>
                  <a:gd name="connsiteY896" fmla="*/ 2419 h 10000"/>
                  <a:gd name="connsiteX897" fmla="*/ 7627 w 10785"/>
                  <a:gd name="connsiteY897" fmla="*/ 2419 h 10000"/>
                  <a:gd name="connsiteX898" fmla="*/ 7613 w 10785"/>
                  <a:gd name="connsiteY898" fmla="*/ 2410 h 10000"/>
                  <a:gd name="connsiteX899" fmla="*/ 7493 w 10785"/>
                  <a:gd name="connsiteY899" fmla="*/ 2393 h 10000"/>
                  <a:gd name="connsiteX900" fmla="*/ 7479 w 10785"/>
                  <a:gd name="connsiteY900" fmla="*/ 2385 h 10000"/>
                  <a:gd name="connsiteX901" fmla="*/ 7479 w 10785"/>
                  <a:gd name="connsiteY901" fmla="*/ 2376 h 10000"/>
                  <a:gd name="connsiteX902" fmla="*/ 7465 w 10785"/>
                  <a:gd name="connsiteY902" fmla="*/ 2359 h 10000"/>
                  <a:gd name="connsiteX903" fmla="*/ 7447 w 10785"/>
                  <a:gd name="connsiteY903" fmla="*/ 2350 h 10000"/>
                  <a:gd name="connsiteX904" fmla="*/ 7433 w 10785"/>
                  <a:gd name="connsiteY904" fmla="*/ 2376 h 10000"/>
                  <a:gd name="connsiteX905" fmla="*/ 7433 w 10785"/>
                  <a:gd name="connsiteY905" fmla="*/ 2385 h 10000"/>
                  <a:gd name="connsiteX906" fmla="*/ 7447 w 10785"/>
                  <a:gd name="connsiteY906" fmla="*/ 2410 h 10000"/>
                  <a:gd name="connsiteX907" fmla="*/ 7447 w 10785"/>
                  <a:gd name="connsiteY907" fmla="*/ 2436 h 10000"/>
                  <a:gd name="connsiteX908" fmla="*/ 7452 w 10785"/>
                  <a:gd name="connsiteY908" fmla="*/ 2462 h 10000"/>
                  <a:gd name="connsiteX909" fmla="*/ 7447 w 10785"/>
                  <a:gd name="connsiteY909" fmla="*/ 2470 h 10000"/>
                  <a:gd name="connsiteX910" fmla="*/ 7424 w 10785"/>
                  <a:gd name="connsiteY910" fmla="*/ 2513 h 10000"/>
                  <a:gd name="connsiteX911" fmla="*/ 7419 w 10785"/>
                  <a:gd name="connsiteY911" fmla="*/ 2556 h 10000"/>
                  <a:gd name="connsiteX912" fmla="*/ 7406 w 10785"/>
                  <a:gd name="connsiteY912" fmla="*/ 2624 h 10000"/>
                  <a:gd name="connsiteX913" fmla="*/ 7392 w 10785"/>
                  <a:gd name="connsiteY913" fmla="*/ 2624 h 10000"/>
                  <a:gd name="connsiteX914" fmla="*/ 7373 w 10785"/>
                  <a:gd name="connsiteY914" fmla="*/ 2650 h 10000"/>
                  <a:gd name="connsiteX915" fmla="*/ 7364 w 10785"/>
                  <a:gd name="connsiteY915" fmla="*/ 2684 h 10000"/>
                  <a:gd name="connsiteX916" fmla="*/ 7364 w 10785"/>
                  <a:gd name="connsiteY916" fmla="*/ 2692 h 10000"/>
                  <a:gd name="connsiteX917" fmla="*/ 7373 w 10785"/>
                  <a:gd name="connsiteY917" fmla="*/ 2718 h 10000"/>
                  <a:gd name="connsiteX918" fmla="*/ 7373 w 10785"/>
                  <a:gd name="connsiteY918" fmla="*/ 2744 h 10000"/>
                  <a:gd name="connsiteX919" fmla="*/ 7359 w 10785"/>
                  <a:gd name="connsiteY919" fmla="*/ 2744 h 10000"/>
                  <a:gd name="connsiteX920" fmla="*/ 7359 w 10785"/>
                  <a:gd name="connsiteY920" fmla="*/ 2795 h 10000"/>
                  <a:gd name="connsiteX921" fmla="*/ 7364 w 10785"/>
                  <a:gd name="connsiteY921" fmla="*/ 2821 h 10000"/>
                  <a:gd name="connsiteX922" fmla="*/ 7378 w 10785"/>
                  <a:gd name="connsiteY922" fmla="*/ 2846 h 10000"/>
                  <a:gd name="connsiteX923" fmla="*/ 7378 w 10785"/>
                  <a:gd name="connsiteY923" fmla="*/ 2855 h 10000"/>
                  <a:gd name="connsiteX924" fmla="*/ 7378 w 10785"/>
                  <a:gd name="connsiteY924" fmla="*/ 2880 h 10000"/>
                  <a:gd name="connsiteX925" fmla="*/ 7378 w 10785"/>
                  <a:gd name="connsiteY925" fmla="*/ 2906 h 10000"/>
                  <a:gd name="connsiteX926" fmla="*/ 7364 w 10785"/>
                  <a:gd name="connsiteY926" fmla="*/ 2906 h 10000"/>
                  <a:gd name="connsiteX927" fmla="*/ 7346 w 10785"/>
                  <a:gd name="connsiteY927" fmla="*/ 2880 h 10000"/>
                  <a:gd name="connsiteX928" fmla="*/ 7332 w 10785"/>
                  <a:gd name="connsiteY928" fmla="*/ 2915 h 10000"/>
                  <a:gd name="connsiteX929" fmla="*/ 7318 w 10785"/>
                  <a:gd name="connsiteY929" fmla="*/ 2906 h 10000"/>
                  <a:gd name="connsiteX930" fmla="*/ 7313 w 10785"/>
                  <a:gd name="connsiteY930" fmla="*/ 2915 h 10000"/>
                  <a:gd name="connsiteX931" fmla="*/ 7313 w 10785"/>
                  <a:gd name="connsiteY931" fmla="*/ 2906 h 10000"/>
                  <a:gd name="connsiteX932" fmla="*/ 7286 w 10785"/>
                  <a:gd name="connsiteY932" fmla="*/ 2940 h 10000"/>
                  <a:gd name="connsiteX933" fmla="*/ 7276 w 10785"/>
                  <a:gd name="connsiteY933" fmla="*/ 2966 h 10000"/>
                  <a:gd name="connsiteX934" fmla="*/ 7272 w 10785"/>
                  <a:gd name="connsiteY934" fmla="*/ 2983 h 10000"/>
                  <a:gd name="connsiteX935" fmla="*/ 7267 w 10785"/>
                  <a:gd name="connsiteY935" fmla="*/ 3009 h 10000"/>
                  <a:gd name="connsiteX936" fmla="*/ 7253 w 10785"/>
                  <a:gd name="connsiteY936" fmla="*/ 3009 h 10000"/>
                  <a:gd name="connsiteX937" fmla="*/ 7244 w 10785"/>
                  <a:gd name="connsiteY937" fmla="*/ 3017 h 10000"/>
                  <a:gd name="connsiteX938" fmla="*/ 7240 w 10785"/>
                  <a:gd name="connsiteY938" fmla="*/ 3009 h 10000"/>
                  <a:gd name="connsiteX939" fmla="*/ 7230 w 10785"/>
                  <a:gd name="connsiteY939" fmla="*/ 2991 h 10000"/>
                  <a:gd name="connsiteX940" fmla="*/ 7226 w 10785"/>
                  <a:gd name="connsiteY940" fmla="*/ 2983 h 10000"/>
                  <a:gd name="connsiteX941" fmla="*/ 7226 w 10785"/>
                  <a:gd name="connsiteY941" fmla="*/ 2966 h 10000"/>
                  <a:gd name="connsiteX942" fmla="*/ 7212 w 10785"/>
                  <a:gd name="connsiteY942" fmla="*/ 2957 h 10000"/>
                  <a:gd name="connsiteX943" fmla="*/ 7212 w 10785"/>
                  <a:gd name="connsiteY943" fmla="*/ 2932 h 10000"/>
                  <a:gd name="connsiteX944" fmla="*/ 7198 w 10785"/>
                  <a:gd name="connsiteY944" fmla="*/ 2915 h 10000"/>
                  <a:gd name="connsiteX945" fmla="*/ 7194 w 10785"/>
                  <a:gd name="connsiteY945" fmla="*/ 2915 h 10000"/>
                  <a:gd name="connsiteX946" fmla="*/ 7157 w 10785"/>
                  <a:gd name="connsiteY946" fmla="*/ 2880 h 10000"/>
                  <a:gd name="connsiteX947" fmla="*/ 7138 w 10785"/>
                  <a:gd name="connsiteY947" fmla="*/ 2880 h 10000"/>
                  <a:gd name="connsiteX948" fmla="*/ 7120 w 10785"/>
                  <a:gd name="connsiteY948" fmla="*/ 2872 h 10000"/>
                  <a:gd name="connsiteX949" fmla="*/ 7111 w 10785"/>
                  <a:gd name="connsiteY949" fmla="*/ 2846 h 10000"/>
                  <a:gd name="connsiteX950" fmla="*/ 7106 w 10785"/>
                  <a:gd name="connsiteY950" fmla="*/ 2846 h 10000"/>
                  <a:gd name="connsiteX951" fmla="*/ 7092 w 10785"/>
                  <a:gd name="connsiteY951" fmla="*/ 2829 h 10000"/>
                  <a:gd name="connsiteX952" fmla="*/ 7051 w 10785"/>
                  <a:gd name="connsiteY952" fmla="*/ 2829 h 10000"/>
                  <a:gd name="connsiteX953" fmla="*/ 7037 w 10785"/>
                  <a:gd name="connsiteY953" fmla="*/ 2880 h 10000"/>
                  <a:gd name="connsiteX954" fmla="*/ 7037 w 10785"/>
                  <a:gd name="connsiteY954" fmla="*/ 2906 h 10000"/>
                  <a:gd name="connsiteX955" fmla="*/ 7037 w 10785"/>
                  <a:gd name="connsiteY955" fmla="*/ 2932 h 10000"/>
                  <a:gd name="connsiteX956" fmla="*/ 7037 w 10785"/>
                  <a:gd name="connsiteY956" fmla="*/ 2940 h 10000"/>
                  <a:gd name="connsiteX957" fmla="*/ 7023 w 10785"/>
                  <a:gd name="connsiteY957" fmla="*/ 2906 h 10000"/>
                  <a:gd name="connsiteX958" fmla="*/ 7023 w 10785"/>
                  <a:gd name="connsiteY958" fmla="*/ 2915 h 10000"/>
                  <a:gd name="connsiteX959" fmla="*/ 6991 w 10785"/>
                  <a:gd name="connsiteY959" fmla="*/ 2906 h 10000"/>
                  <a:gd name="connsiteX960" fmla="*/ 6977 w 10785"/>
                  <a:gd name="connsiteY960" fmla="*/ 2915 h 10000"/>
                  <a:gd name="connsiteX961" fmla="*/ 6963 w 10785"/>
                  <a:gd name="connsiteY961" fmla="*/ 2915 h 10000"/>
                  <a:gd name="connsiteX962" fmla="*/ 6949 w 10785"/>
                  <a:gd name="connsiteY962" fmla="*/ 2872 h 10000"/>
                  <a:gd name="connsiteX963" fmla="*/ 6935 w 10785"/>
                  <a:gd name="connsiteY963" fmla="*/ 2855 h 10000"/>
                  <a:gd name="connsiteX964" fmla="*/ 6922 w 10785"/>
                  <a:gd name="connsiteY964" fmla="*/ 2803 h 10000"/>
                  <a:gd name="connsiteX965" fmla="*/ 6917 w 10785"/>
                  <a:gd name="connsiteY965" fmla="*/ 2786 h 10000"/>
                  <a:gd name="connsiteX966" fmla="*/ 6903 w 10785"/>
                  <a:gd name="connsiteY966" fmla="*/ 2709 h 10000"/>
                  <a:gd name="connsiteX967" fmla="*/ 6903 w 10785"/>
                  <a:gd name="connsiteY967" fmla="*/ 2692 h 10000"/>
                  <a:gd name="connsiteX968" fmla="*/ 6899 w 10785"/>
                  <a:gd name="connsiteY968" fmla="*/ 2709 h 10000"/>
                  <a:gd name="connsiteX969" fmla="*/ 6857 w 10785"/>
                  <a:gd name="connsiteY969" fmla="*/ 2872 h 10000"/>
                  <a:gd name="connsiteX970" fmla="*/ 6857 w 10785"/>
                  <a:gd name="connsiteY970" fmla="*/ 3009 h 10000"/>
                  <a:gd name="connsiteX971" fmla="*/ 6848 w 10785"/>
                  <a:gd name="connsiteY971" fmla="*/ 3017 h 10000"/>
                  <a:gd name="connsiteX972" fmla="*/ 6839 w 10785"/>
                  <a:gd name="connsiteY972" fmla="*/ 3068 h 10000"/>
                  <a:gd name="connsiteX973" fmla="*/ 6829 w 10785"/>
                  <a:gd name="connsiteY973" fmla="*/ 3077 h 10000"/>
                  <a:gd name="connsiteX974" fmla="*/ 6829 w 10785"/>
                  <a:gd name="connsiteY974" fmla="*/ 3128 h 10000"/>
                  <a:gd name="connsiteX975" fmla="*/ 6816 w 10785"/>
                  <a:gd name="connsiteY975" fmla="*/ 3154 h 10000"/>
                  <a:gd name="connsiteX976" fmla="*/ 6811 w 10785"/>
                  <a:gd name="connsiteY976" fmla="*/ 3179 h 10000"/>
                  <a:gd name="connsiteX977" fmla="*/ 6797 w 10785"/>
                  <a:gd name="connsiteY977" fmla="*/ 3171 h 10000"/>
                  <a:gd name="connsiteX978" fmla="*/ 6783 w 10785"/>
                  <a:gd name="connsiteY978" fmla="*/ 3103 h 10000"/>
                  <a:gd name="connsiteX979" fmla="*/ 6779 w 10785"/>
                  <a:gd name="connsiteY979" fmla="*/ 3094 h 10000"/>
                  <a:gd name="connsiteX980" fmla="*/ 6779 w 10785"/>
                  <a:gd name="connsiteY980" fmla="*/ 3120 h 10000"/>
                  <a:gd name="connsiteX981" fmla="*/ 6770 w 10785"/>
                  <a:gd name="connsiteY981" fmla="*/ 3128 h 10000"/>
                  <a:gd name="connsiteX982" fmla="*/ 6765 w 10785"/>
                  <a:gd name="connsiteY982" fmla="*/ 3103 h 10000"/>
                  <a:gd name="connsiteX983" fmla="*/ 6756 w 10785"/>
                  <a:gd name="connsiteY983" fmla="*/ 3103 h 10000"/>
                  <a:gd name="connsiteX984" fmla="*/ 6742 w 10785"/>
                  <a:gd name="connsiteY984" fmla="*/ 3103 h 10000"/>
                  <a:gd name="connsiteX985" fmla="*/ 6737 w 10785"/>
                  <a:gd name="connsiteY985" fmla="*/ 3077 h 10000"/>
                  <a:gd name="connsiteX986" fmla="*/ 6737 w 10785"/>
                  <a:gd name="connsiteY986" fmla="*/ 3068 h 10000"/>
                  <a:gd name="connsiteX987" fmla="*/ 6728 w 10785"/>
                  <a:gd name="connsiteY987" fmla="*/ 3043 h 10000"/>
                  <a:gd name="connsiteX988" fmla="*/ 6724 w 10785"/>
                  <a:gd name="connsiteY988" fmla="*/ 3051 h 10000"/>
                  <a:gd name="connsiteX989" fmla="*/ 6714 w 10785"/>
                  <a:gd name="connsiteY989" fmla="*/ 3043 h 10000"/>
                  <a:gd name="connsiteX990" fmla="*/ 6710 w 10785"/>
                  <a:gd name="connsiteY990" fmla="*/ 3034 h 10000"/>
                  <a:gd name="connsiteX991" fmla="*/ 6705 w 10785"/>
                  <a:gd name="connsiteY991" fmla="*/ 2983 h 10000"/>
                  <a:gd name="connsiteX992" fmla="*/ 6696 w 10785"/>
                  <a:gd name="connsiteY992" fmla="*/ 2966 h 10000"/>
                  <a:gd name="connsiteX993" fmla="*/ 6691 w 10785"/>
                  <a:gd name="connsiteY993" fmla="*/ 2983 h 10000"/>
                  <a:gd name="connsiteX994" fmla="*/ 6677 w 10785"/>
                  <a:gd name="connsiteY994" fmla="*/ 2897 h 10000"/>
                  <a:gd name="connsiteX995" fmla="*/ 6677 w 10785"/>
                  <a:gd name="connsiteY995" fmla="*/ 2897 h 10000"/>
                  <a:gd name="connsiteX996" fmla="*/ 6677 w 10785"/>
                  <a:gd name="connsiteY996" fmla="*/ 2872 h 10000"/>
                  <a:gd name="connsiteX997" fmla="*/ 6668 w 10785"/>
                  <a:gd name="connsiteY997" fmla="*/ 2821 h 10000"/>
                  <a:gd name="connsiteX998" fmla="*/ 6664 w 10785"/>
                  <a:gd name="connsiteY998" fmla="*/ 2829 h 10000"/>
                  <a:gd name="connsiteX999" fmla="*/ 6654 w 10785"/>
                  <a:gd name="connsiteY999" fmla="*/ 2846 h 10000"/>
                  <a:gd name="connsiteX1000" fmla="*/ 6650 w 10785"/>
                  <a:gd name="connsiteY1000" fmla="*/ 2829 h 10000"/>
                  <a:gd name="connsiteX1001" fmla="*/ 6650 w 10785"/>
                  <a:gd name="connsiteY1001" fmla="*/ 2803 h 10000"/>
                  <a:gd name="connsiteX1002" fmla="*/ 6650 w 10785"/>
                  <a:gd name="connsiteY1002" fmla="*/ 2795 h 10000"/>
                  <a:gd name="connsiteX1003" fmla="*/ 6641 w 10785"/>
                  <a:gd name="connsiteY1003" fmla="*/ 2786 h 10000"/>
                  <a:gd name="connsiteX1004" fmla="*/ 6636 w 10785"/>
                  <a:gd name="connsiteY1004" fmla="*/ 2735 h 10000"/>
                  <a:gd name="connsiteX1005" fmla="*/ 6664 w 10785"/>
                  <a:gd name="connsiteY1005" fmla="*/ 2667 h 10000"/>
                  <a:gd name="connsiteX1006" fmla="*/ 6668 w 10785"/>
                  <a:gd name="connsiteY1006" fmla="*/ 2684 h 10000"/>
                  <a:gd name="connsiteX1007" fmla="*/ 6677 w 10785"/>
                  <a:gd name="connsiteY1007" fmla="*/ 2667 h 10000"/>
                  <a:gd name="connsiteX1008" fmla="*/ 6668 w 10785"/>
                  <a:gd name="connsiteY1008" fmla="*/ 2667 h 10000"/>
                  <a:gd name="connsiteX1009" fmla="*/ 6668 w 10785"/>
                  <a:gd name="connsiteY1009" fmla="*/ 2650 h 10000"/>
                  <a:gd name="connsiteX1010" fmla="*/ 6682 w 10785"/>
                  <a:gd name="connsiteY1010" fmla="*/ 2650 h 10000"/>
                  <a:gd name="connsiteX1011" fmla="*/ 6691 w 10785"/>
                  <a:gd name="connsiteY1011" fmla="*/ 2624 h 10000"/>
                  <a:gd name="connsiteX1012" fmla="*/ 6682 w 10785"/>
                  <a:gd name="connsiteY1012" fmla="*/ 2632 h 10000"/>
                  <a:gd name="connsiteX1013" fmla="*/ 6682 w 10785"/>
                  <a:gd name="connsiteY1013" fmla="*/ 2624 h 10000"/>
                  <a:gd name="connsiteX1014" fmla="*/ 6691 w 10785"/>
                  <a:gd name="connsiteY1014" fmla="*/ 2607 h 10000"/>
                  <a:gd name="connsiteX1015" fmla="*/ 6691 w 10785"/>
                  <a:gd name="connsiteY1015" fmla="*/ 2598 h 10000"/>
                  <a:gd name="connsiteX1016" fmla="*/ 6691 w 10785"/>
                  <a:gd name="connsiteY1016" fmla="*/ 2581 h 10000"/>
                  <a:gd name="connsiteX1017" fmla="*/ 6696 w 10785"/>
                  <a:gd name="connsiteY1017" fmla="*/ 2530 h 10000"/>
                  <a:gd name="connsiteX1018" fmla="*/ 6677 w 10785"/>
                  <a:gd name="connsiteY1018" fmla="*/ 2513 h 10000"/>
                  <a:gd name="connsiteX1019" fmla="*/ 6677 w 10785"/>
                  <a:gd name="connsiteY1019" fmla="*/ 2496 h 10000"/>
                  <a:gd name="connsiteX1020" fmla="*/ 6682 w 10785"/>
                  <a:gd name="connsiteY1020" fmla="*/ 2470 h 10000"/>
                  <a:gd name="connsiteX1021" fmla="*/ 6668 w 10785"/>
                  <a:gd name="connsiteY1021" fmla="*/ 2462 h 10000"/>
                  <a:gd name="connsiteX1022" fmla="*/ 6677 w 10785"/>
                  <a:gd name="connsiteY1022" fmla="*/ 2436 h 10000"/>
                  <a:gd name="connsiteX1023" fmla="*/ 6682 w 10785"/>
                  <a:gd name="connsiteY1023" fmla="*/ 2419 h 10000"/>
                  <a:gd name="connsiteX1024" fmla="*/ 6682 w 10785"/>
                  <a:gd name="connsiteY1024" fmla="*/ 2393 h 10000"/>
                  <a:gd name="connsiteX1025" fmla="*/ 6682 w 10785"/>
                  <a:gd name="connsiteY1025" fmla="*/ 2385 h 10000"/>
                  <a:gd name="connsiteX1026" fmla="*/ 6682 w 10785"/>
                  <a:gd name="connsiteY1026" fmla="*/ 2385 h 10000"/>
                  <a:gd name="connsiteX1027" fmla="*/ 6677 w 10785"/>
                  <a:gd name="connsiteY1027" fmla="*/ 2376 h 10000"/>
                  <a:gd name="connsiteX1028" fmla="*/ 6682 w 10785"/>
                  <a:gd name="connsiteY1028" fmla="*/ 2359 h 10000"/>
                  <a:gd name="connsiteX1029" fmla="*/ 6677 w 10785"/>
                  <a:gd name="connsiteY1029" fmla="*/ 2333 h 10000"/>
                  <a:gd name="connsiteX1030" fmla="*/ 6691 w 10785"/>
                  <a:gd name="connsiteY1030" fmla="*/ 2333 h 10000"/>
                  <a:gd name="connsiteX1031" fmla="*/ 6691 w 10785"/>
                  <a:gd name="connsiteY1031" fmla="*/ 2325 h 10000"/>
                  <a:gd name="connsiteX1032" fmla="*/ 6691 w 10785"/>
                  <a:gd name="connsiteY1032" fmla="*/ 2308 h 10000"/>
                  <a:gd name="connsiteX1033" fmla="*/ 6691 w 10785"/>
                  <a:gd name="connsiteY1033" fmla="*/ 2299 h 10000"/>
                  <a:gd name="connsiteX1034" fmla="*/ 6691 w 10785"/>
                  <a:gd name="connsiteY1034" fmla="*/ 2282 h 10000"/>
                  <a:gd name="connsiteX1035" fmla="*/ 6691 w 10785"/>
                  <a:gd name="connsiteY1035" fmla="*/ 2274 h 10000"/>
                  <a:gd name="connsiteX1036" fmla="*/ 6668 w 10785"/>
                  <a:gd name="connsiteY1036" fmla="*/ 2248 h 10000"/>
                  <a:gd name="connsiteX1037" fmla="*/ 6664 w 10785"/>
                  <a:gd name="connsiteY1037" fmla="*/ 2222 h 10000"/>
                  <a:gd name="connsiteX1038" fmla="*/ 6654 w 10785"/>
                  <a:gd name="connsiteY1038" fmla="*/ 2214 h 10000"/>
                  <a:gd name="connsiteX1039" fmla="*/ 6654 w 10785"/>
                  <a:gd name="connsiteY1039" fmla="*/ 2188 h 10000"/>
                  <a:gd name="connsiteX1040" fmla="*/ 6622 w 10785"/>
                  <a:gd name="connsiteY1040" fmla="*/ 2162 h 10000"/>
                  <a:gd name="connsiteX1041" fmla="*/ 6631 w 10785"/>
                  <a:gd name="connsiteY1041" fmla="*/ 2145 h 10000"/>
                  <a:gd name="connsiteX1042" fmla="*/ 6622 w 10785"/>
                  <a:gd name="connsiteY1042" fmla="*/ 2120 h 10000"/>
                  <a:gd name="connsiteX1043" fmla="*/ 6608 w 10785"/>
                  <a:gd name="connsiteY1043" fmla="*/ 2120 h 10000"/>
                  <a:gd name="connsiteX1044" fmla="*/ 6604 w 10785"/>
                  <a:gd name="connsiteY1044" fmla="*/ 2111 h 10000"/>
                  <a:gd name="connsiteX1045" fmla="*/ 6608 w 10785"/>
                  <a:gd name="connsiteY1045" fmla="*/ 2111 h 10000"/>
                  <a:gd name="connsiteX1046" fmla="*/ 6604 w 10785"/>
                  <a:gd name="connsiteY1046" fmla="*/ 2085 h 10000"/>
                  <a:gd name="connsiteX1047" fmla="*/ 6581 w 10785"/>
                  <a:gd name="connsiteY1047" fmla="*/ 2077 h 10000"/>
                  <a:gd name="connsiteX1048" fmla="*/ 6571 w 10785"/>
                  <a:gd name="connsiteY1048" fmla="*/ 2085 h 10000"/>
                  <a:gd name="connsiteX1049" fmla="*/ 6548 w 10785"/>
                  <a:gd name="connsiteY1049" fmla="*/ 2077 h 10000"/>
                  <a:gd name="connsiteX1050" fmla="*/ 6530 w 10785"/>
                  <a:gd name="connsiteY1050" fmla="*/ 2060 h 10000"/>
                  <a:gd name="connsiteX1051" fmla="*/ 6521 w 10785"/>
                  <a:gd name="connsiteY1051" fmla="*/ 2060 h 10000"/>
                  <a:gd name="connsiteX1052" fmla="*/ 6521 w 10785"/>
                  <a:gd name="connsiteY1052" fmla="*/ 2085 h 10000"/>
                  <a:gd name="connsiteX1053" fmla="*/ 6516 w 10785"/>
                  <a:gd name="connsiteY1053" fmla="*/ 2085 h 10000"/>
                  <a:gd name="connsiteX1054" fmla="*/ 6502 w 10785"/>
                  <a:gd name="connsiteY1054" fmla="*/ 2111 h 10000"/>
                  <a:gd name="connsiteX1055" fmla="*/ 6498 w 10785"/>
                  <a:gd name="connsiteY1055" fmla="*/ 2111 h 10000"/>
                  <a:gd name="connsiteX1056" fmla="*/ 6498 w 10785"/>
                  <a:gd name="connsiteY1056" fmla="*/ 2103 h 10000"/>
                  <a:gd name="connsiteX1057" fmla="*/ 6475 w 10785"/>
                  <a:gd name="connsiteY1057" fmla="*/ 2051 h 10000"/>
                  <a:gd name="connsiteX1058" fmla="*/ 6470 w 10785"/>
                  <a:gd name="connsiteY1058" fmla="*/ 2060 h 10000"/>
                  <a:gd name="connsiteX1059" fmla="*/ 6456 w 10785"/>
                  <a:gd name="connsiteY1059" fmla="*/ 2051 h 10000"/>
                  <a:gd name="connsiteX1060" fmla="*/ 6447 w 10785"/>
                  <a:gd name="connsiteY1060" fmla="*/ 2051 h 10000"/>
                  <a:gd name="connsiteX1061" fmla="*/ 6433 w 10785"/>
                  <a:gd name="connsiteY1061" fmla="*/ 2026 h 10000"/>
                  <a:gd name="connsiteX1062" fmla="*/ 6433 w 10785"/>
                  <a:gd name="connsiteY1062" fmla="*/ 2034 h 10000"/>
                  <a:gd name="connsiteX1063" fmla="*/ 6429 w 10785"/>
                  <a:gd name="connsiteY1063" fmla="*/ 2026 h 10000"/>
                  <a:gd name="connsiteX1064" fmla="*/ 6424 w 10785"/>
                  <a:gd name="connsiteY1064" fmla="*/ 2034 h 10000"/>
                  <a:gd name="connsiteX1065" fmla="*/ 6410 w 10785"/>
                  <a:gd name="connsiteY1065" fmla="*/ 2026 h 10000"/>
                  <a:gd name="connsiteX1066" fmla="*/ 6410 w 10785"/>
                  <a:gd name="connsiteY1066" fmla="*/ 1991 h 10000"/>
                  <a:gd name="connsiteX1067" fmla="*/ 6401 w 10785"/>
                  <a:gd name="connsiteY1067" fmla="*/ 1991 h 10000"/>
                  <a:gd name="connsiteX1068" fmla="*/ 6396 w 10785"/>
                  <a:gd name="connsiteY1068" fmla="*/ 2000 h 10000"/>
                  <a:gd name="connsiteX1069" fmla="*/ 6382 w 10785"/>
                  <a:gd name="connsiteY1069" fmla="*/ 1966 h 10000"/>
                  <a:gd name="connsiteX1070" fmla="*/ 6373 w 10785"/>
                  <a:gd name="connsiteY1070" fmla="*/ 1974 h 10000"/>
                  <a:gd name="connsiteX1071" fmla="*/ 6369 w 10785"/>
                  <a:gd name="connsiteY1071" fmla="*/ 1966 h 10000"/>
                  <a:gd name="connsiteX1072" fmla="*/ 6341 w 10785"/>
                  <a:gd name="connsiteY1072" fmla="*/ 1949 h 10000"/>
                  <a:gd name="connsiteX1073" fmla="*/ 6327 w 10785"/>
                  <a:gd name="connsiteY1073" fmla="*/ 1923 h 10000"/>
                  <a:gd name="connsiteX1074" fmla="*/ 6323 w 10785"/>
                  <a:gd name="connsiteY1074" fmla="*/ 1923 h 10000"/>
                  <a:gd name="connsiteX1075" fmla="*/ 6323 w 10785"/>
                  <a:gd name="connsiteY1075" fmla="*/ 1966 h 10000"/>
                  <a:gd name="connsiteX1076" fmla="*/ 6323 w 10785"/>
                  <a:gd name="connsiteY1076" fmla="*/ 1991 h 10000"/>
                  <a:gd name="connsiteX1077" fmla="*/ 6313 w 10785"/>
                  <a:gd name="connsiteY1077" fmla="*/ 1991 h 10000"/>
                  <a:gd name="connsiteX1078" fmla="*/ 6300 w 10785"/>
                  <a:gd name="connsiteY1078" fmla="*/ 1991 h 10000"/>
                  <a:gd name="connsiteX1079" fmla="*/ 6290 w 10785"/>
                  <a:gd name="connsiteY1079" fmla="*/ 1949 h 10000"/>
                  <a:gd name="connsiteX1080" fmla="*/ 6276 w 10785"/>
                  <a:gd name="connsiteY1080" fmla="*/ 2103 h 10000"/>
                  <a:gd name="connsiteX1081" fmla="*/ 6281 w 10785"/>
                  <a:gd name="connsiteY1081" fmla="*/ 2103 h 10000"/>
                  <a:gd name="connsiteX1082" fmla="*/ 6276 w 10785"/>
                  <a:gd name="connsiteY1082" fmla="*/ 2111 h 10000"/>
                  <a:gd name="connsiteX1083" fmla="*/ 6276 w 10785"/>
                  <a:gd name="connsiteY1083" fmla="*/ 2120 h 10000"/>
                  <a:gd name="connsiteX1084" fmla="*/ 6295 w 10785"/>
                  <a:gd name="connsiteY1084" fmla="*/ 2239 h 10000"/>
                  <a:gd name="connsiteX1085" fmla="*/ 6290 w 10785"/>
                  <a:gd name="connsiteY1085" fmla="*/ 2248 h 10000"/>
                  <a:gd name="connsiteX1086" fmla="*/ 6281 w 10785"/>
                  <a:gd name="connsiteY1086" fmla="*/ 2274 h 10000"/>
                  <a:gd name="connsiteX1087" fmla="*/ 6249 w 10785"/>
                  <a:gd name="connsiteY1087" fmla="*/ 2274 h 10000"/>
                  <a:gd name="connsiteX1088" fmla="*/ 6226 w 10785"/>
                  <a:gd name="connsiteY1088" fmla="*/ 2308 h 10000"/>
                  <a:gd name="connsiteX1089" fmla="*/ 6221 w 10785"/>
                  <a:gd name="connsiteY1089" fmla="*/ 2299 h 10000"/>
                  <a:gd name="connsiteX1090" fmla="*/ 6221 w 10785"/>
                  <a:gd name="connsiteY1090" fmla="*/ 2308 h 10000"/>
                  <a:gd name="connsiteX1091" fmla="*/ 6217 w 10785"/>
                  <a:gd name="connsiteY1091" fmla="*/ 2299 h 10000"/>
                  <a:gd name="connsiteX1092" fmla="*/ 6194 w 10785"/>
                  <a:gd name="connsiteY1092" fmla="*/ 2308 h 10000"/>
                  <a:gd name="connsiteX1093" fmla="*/ 6180 w 10785"/>
                  <a:gd name="connsiteY1093" fmla="*/ 2299 h 10000"/>
                  <a:gd name="connsiteX1094" fmla="*/ 6143 w 10785"/>
                  <a:gd name="connsiteY1094" fmla="*/ 2308 h 10000"/>
                  <a:gd name="connsiteX1095" fmla="*/ 6134 w 10785"/>
                  <a:gd name="connsiteY1095" fmla="*/ 2325 h 10000"/>
                  <a:gd name="connsiteX1096" fmla="*/ 6115 w 10785"/>
                  <a:gd name="connsiteY1096" fmla="*/ 2282 h 10000"/>
                  <a:gd name="connsiteX1097" fmla="*/ 6069 w 10785"/>
                  <a:gd name="connsiteY1097" fmla="*/ 2274 h 10000"/>
                  <a:gd name="connsiteX1098" fmla="*/ 6069 w 10785"/>
                  <a:gd name="connsiteY1098" fmla="*/ 2282 h 10000"/>
                  <a:gd name="connsiteX1099" fmla="*/ 6060 w 10785"/>
                  <a:gd name="connsiteY1099" fmla="*/ 2299 h 10000"/>
                  <a:gd name="connsiteX1100" fmla="*/ 5972 w 10785"/>
                  <a:gd name="connsiteY1100" fmla="*/ 2214 h 10000"/>
                  <a:gd name="connsiteX1101" fmla="*/ 5968 w 10785"/>
                  <a:gd name="connsiteY1101" fmla="*/ 2197 h 10000"/>
                  <a:gd name="connsiteX1102" fmla="*/ 5968 w 10785"/>
                  <a:gd name="connsiteY1102" fmla="*/ 2171 h 10000"/>
                  <a:gd name="connsiteX1103" fmla="*/ 5968 w 10785"/>
                  <a:gd name="connsiteY1103" fmla="*/ 2162 h 10000"/>
                  <a:gd name="connsiteX1104" fmla="*/ 5968 w 10785"/>
                  <a:gd name="connsiteY1104" fmla="*/ 2120 h 10000"/>
                  <a:gd name="connsiteX1105" fmla="*/ 5968 w 10785"/>
                  <a:gd name="connsiteY1105" fmla="*/ 2111 h 10000"/>
                  <a:gd name="connsiteX1106" fmla="*/ 5972 w 10785"/>
                  <a:gd name="connsiteY1106" fmla="*/ 2103 h 10000"/>
                  <a:gd name="connsiteX1107" fmla="*/ 5986 w 10785"/>
                  <a:gd name="connsiteY1107" fmla="*/ 2103 h 10000"/>
                  <a:gd name="connsiteX1108" fmla="*/ 5986 w 10785"/>
                  <a:gd name="connsiteY1108" fmla="*/ 2085 h 10000"/>
                  <a:gd name="connsiteX1109" fmla="*/ 5995 w 10785"/>
                  <a:gd name="connsiteY1109" fmla="*/ 2085 h 10000"/>
                  <a:gd name="connsiteX1110" fmla="*/ 5995 w 10785"/>
                  <a:gd name="connsiteY1110" fmla="*/ 2077 h 10000"/>
                  <a:gd name="connsiteX1111" fmla="*/ 5986 w 10785"/>
                  <a:gd name="connsiteY1111" fmla="*/ 2060 h 10000"/>
                  <a:gd name="connsiteX1112" fmla="*/ 5954 w 10785"/>
                  <a:gd name="connsiteY1112" fmla="*/ 2060 h 10000"/>
                  <a:gd name="connsiteX1113" fmla="*/ 5940 w 10785"/>
                  <a:gd name="connsiteY1113" fmla="*/ 2051 h 10000"/>
                  <a:gd name="connsiteX1114" fmla="*/ 5922 w 10785"/>
                  <a:gd name="connsiteY1114" fmla="*/ 2060 h 10000"/>
                  <a:gd name="connsiteX1115" fmla="*/ 5885 w 10785"/>
                  <a:gd name="connsiteY1115" fmla="*/ 2051 h 10000"/>
                  <a:gd name="connsiteX1116" fmla="*/ 5876 w 10785"/>
                  <a:gd name="connsiteY1116" fmla="*/ 2026 h 10000"/>
                  <a:gd name="connsiteX1117" fmla="*/ 5862 w 10785"/>
                  <a:gd name="connsiteY1117" fmla="*/ 2026 h 10000"/>
                  <a:gd name="connsiteX1118" fmla="*/ 5848 w 10785"/>
                  <a:gd name="connsiteY1118" fmla="*/ 2026 h 10000"/>
                  <a:gd name="connsiteX1119" fmla="*/ 5825 w 10785"/>
                  <a:gd name="connsiteY1119" fmla="*/ 2026 h 10000"/>
                  <a:gd name="connsiteX1120" fmla="*/ 5788 w 10785"/>
                  <a:gd name="connsiteY1120" fmla="*/ 1991 h 10000"/>
                  <a:gd name="connsiteX1121" fmla="*/ 5760 w 10785"/>
                  <a:gd name="connsiteY1121" fmla="*/ 2000 h 10000"/>
                  <a:gd name="connsiteX1122" fmla="*/ 5760 w 10785"/>
                  <a:gd name="connsiteY1122" fmla="*/ 2026 h 10000"/>
                  <a:gd name="connsiteX1123" fmla="*/ 5714 w 10785"/>
                  <a:gd name="connsiteY1123" fmla="*/ 2051 h 10000"/>
                  <a:gd name="connsiteX1124" fmla="*/ 5687 w 10785"/>
                  <a:gd name="connsiteY1124" fmla="*/ 2034 h 10000"/>
                  <a:gd name="connsiteX1125" fmla="*/ 5645 w 10785"/>
                  <a:gd name="connsiteY1125" fmla="*/ 2077 h 10000"/>
                  <a:gd name="connsiteX1126" fmla="*/ 5664 w 10785"/>
                  <a:gd name="connsiteY1126" fmla="*/ 2120 h 10000"/>
                  <a:gd name="connsiteX1127" fmla="*/ 5664 w 10785"/>
                  <a:gd name="connsiteY1127" fmla="*/ 2162 h 10000"/>
                  <a:gd name="connsiteX1128" fmla="*/ 5631 w 10785"/>
                  <a:gd name="connsiteY1128" fmla="*/ 2197 h 10000"/>
                  <a:gd name="connsiteX1129" fmla="*/ 5618 w 10785"/>
                  <a:gd name="connsiteY1129" fmla="*/ 2188 h 10000"/>
                  <a:gd name="connsiteX1130" fmla="*/ 5618 w 10785"/>
                  <a:gd name="connsiteY1130" fmla="*/ 2171 h 10000"/>
                  <a:gd name="connsiteX1131" fmla="*/ 5641 w 10785"/>
                  <a:gd name="connsiteY1131" fmla="*/ 2171 h 10000"/>
                  <a:gd name="connsiteX1132" fmla="*/ 5641 w 10785"/>
                  <a:gd name="connsiteY1132" fmla="*/ 2162 h 10000"/>
                  <a:gd name="connsiteX1133" fmla="*/ 5627 w 10785"/>
                  <a:gd name="connsiteY1133" fmla="*/ 2145 h 10000"/>
                  <a:gd name="connsiteX1134" fmla="*/ 5627 w 10785"/>
                  <a:gd name="connsiteY1134" fmla="*/ 2120 h 10000"/>
                  <a:gd name="connsiteX1135" fmla="*/ 5618 w 10785"/>
                  <a:gd name="connsiteY1135" fmla="*/ 2111 h 10000"/>
                  <a:gd name="connsiteX1136" fmla="*/ 5631 w 10785"/>
                  <a:gd name="connsiteY1136" fmla="*/ 2051 h 10000"/>
                  <a:gd name="connsiteX1137" fmla="*/ 5631 w 10785"/>
                  <a:gd name="connsiteY1137" fmla="*/ 2026 h 10000"/>
                  <a:gd name="connsiteX1138" fmla="*/ 5627 w 10785"/>
                  <a:gd name="connsiteY1138" fmla="*/ 1991 h 10000"/>
                  <a:gd name="connsiteX1139" fmla="*/ 5618 w 10785"/>
                  <a:gd name="connsiteY1139" fmla="*/ 1974 h 10000"/>
                  <a:gd name="connsiteX1140" fmla="*/ 5618 w 10785"/>
                  <a:gd name="connsiteY1140" fmla="*/ 1940 h 10000"/>
                  <a:gd name="connsiteX1141" fmla="*/ 5594 w 10785"/>
                  <a:gd name="connsiteY1141" fmla="*/ 1855 h 10000"/>
                  <a:gd name="connsiteX1142" fmla="*/ 5599 w 10785"/>
                  <a:gd name="connsiteY1142" fmla="*/ 1915 h 10000"/>
                  <a:gd name="connsiteX1143" fmla="*/ 5599 w 10785"/>
                  <a:gd name="connsiteY1143" fmla="*/ 1949 h 10000"/>
                  <a:gd name="connsiteX1144" fmla="*/ 5594 w 10785"/>
                  <a:gd name="connsiteY1144" fmla="*/ 1991 h 10000"/>
                  <a:gd name="connsiteX1145" fmla="*/ 5571 w 10785"/>
                  <a:gd name="connsiteY1145" fmla="*/ 2000 h 10000"/>
                  <a:gd name="connsiteX1146" fmla="*/ 5530 w 10785"/>
                  <a:gd name="connsiteY1146" fmla="*/ 1991 h 10000"/>
                  <a:gd name="connsiteX1147" fmla="*/ 5525 w 10785"/>
                  <a:gd name="connsiteY1147" fmla="*/ 2000 h 10000"/>
                  <a:gd name="connsiteX1148" fmla="*/ 5521 w 10785"/>
                  <a:gd name="connsiteY1148" fmla="*/ 1991 h 10000"/>
                  <a:gd name="connsiteX1149" fmla="*/ 5498 w 10785"/>
                  <a:gd name="connsiteY1149" fmla="*/ 1949 h 10000"/>
                  <a:gd name="connsiteX1150" fmla="*/ 5493 w 10785"/>
                  <a:gd name="connsiteY1150" fmla="*/ 1889 h 10000"/>
                  <a:gd name="connsiteX1151" fmla="*/ 5493 w 10785"/>
                  <a:gd name="connsiteY1151" fmla="*/ 1863 h 10000"/>
                  <a:gd name="connsiteX1152" fmla="*/ 5498 w 10785"/>
                  <a:gd name="connsiteY1152" fmla="*/ 1889 h 10000"/>
                  <a:gd name="connsiteX1153" fmla="*/ 5512 w 10785"/>
                  <a:gd name="connsiteY1153" fmla="*/ 1855 h 10000"/>
                  <a:gd name="connsiteX1154" fmla="*/ 5512 w 10785"/>
                  <a:gd name="connsiteY1154" fmla="*/ 1838 h 10000"/>
                  <a:gd name="connsiteX1155" fmla="*/ 5479 w 10785"/>
                  <a:gd name="connsiteY1155" fmla="*/ 1855 h 10000"/>
                  <a:gd name="connsiteX1156" fmla="*/ 5470 w 10785"/>
                  <a:gd name="connsiteY1156" fmla="*/ 1872 h 10000"/>
                  <a:gd name="connsiteX1157" fmla="*/ 5470 w 10785"/>
                  <a:gd name="connsiteY1157" fmla="*/ 1889 h 10000"/>
                  <a:gd name="connsiteX1158" fmla="*/ 5465 w 10785"/>
                  <a:gd name="connsiteY1158" fmla="*/ 1897 h 10000"/>
                  <a:gd name="connsiteX1159" fmla="*/ 5456 w 10785"/>
                  <a:gd name="connsiteY1159" fmla="*/ 1872 h 10000"/>
                  <a:gd name="connsiteX1160" fmla="*/ 5447 w 10785"/>
                  <a:gd name="connsiteY1160" fmla="*/ 1872 h 10000"/>
                  <a:gd name="connsiteX1161" fmla="*/ 5433 w 10785"/>
                  <a:gd name="connsiteY1161" fmla="*/ 1855 h 10000"/>
                  <a:gd name="connsiteX1162" fmla="*/ 5396 w 10785"/>
                  <a:gd name="connsiteY1162" fmla="*/ 1863 h 10000"/>
                  <a:gd name="connsiteX1163" fmla="*/ 5396 w 10785"/>
                  <a:gd name="connsiteY1163" fmla="*/ 1897 h 10000"/>
                  <a:gd name="connsiteX1164" fmla="*/ 5378 w 10785"/>
                  <a:gd name="connsiteY1164" fmla="*/ 1949 h 10000"/>
                  <a:gd name="connsiteX1165" fmla="*/ 5378 w 10785"/>
                  <a:gd name="connsiteY1165" fmla="*/ 1966 h 10000"/>
                  <a:gd name="connsiteX1166" fmla="*/ 5392 w 10785"/>
                  <a:gd name="connsiteY1166" fmla="*/ 2026 h 10000"/>
                  <a:gd name="connsiteX1167" fmla="*/ 5396 w 10785"/>
                  <a:gd name="connsiteY1167" fmla="*/ 2026 h 10000"/>
                  <a:gd name="connsiteX1168" fmla="*/ 5392 w 10785"/>
                  <a:gd name="connsiteY1168" fmla="*/ 2009 h 10000"/>
                  <a:gd name="connsiteX1169" fmla="*/ 5392 w 10785"/>
                  <a:gd name="connsiteY1169" fmla="*/ 2000 h 10000"/>
                  <a:gd name="connsiteX1170" fmla="*/ 5396 w 10785"/>
                  <a:gd name="connsiteY1170" fmla="*/ 2009 h 10000"/>
                  <a:gd name="connsiteX1171" fmla="*/ 5424 w 10785"/>
                  <a:gd name="connsiteY1171" fmla="*/ 2009 h 10000"/>
                  <a:gd name="connsiteX1172" fmla="*/ 5433 w 10785"/>
                  <a:gd name="connsiteY1172" fmla="*/ 1991 h 10000"/>
                  <a:gd name="connsiteX1173" fmla="*/ 5447 w 10785"/>
                  <a:gd name="connsiteY1173" fmla="*/ 1974 h 10000"/>
                  <a:gd name="connsiteX1174" fmla="*/ 5452 w 10785"/>
                  <a:gd name="connsiteY1174" fmla="*/ 1966 h 10000"/>
                  <a:gd name="connsiteX1175" fmla="*/ 5456 w 10785"/>
                  <a:gd name="connsiteY1175" fmla="*/ 1966 h 10000"/>
                  <a:gd name="connsiteX1176" fmla="*/ 5465 w 10785"/>
                  <a:gd name="connsiteY1176" fmla="*/ 2009 h 10000"/>
                  <a:gd name="connsiteX1177" fmla="*/ 5433 w 10785"/>
                  <a:gd name="connsiteY1177" fmla="*/ 2034 h 10000"/>
                  <a:gd name="connsiteX1178" fmla="*/ 5424 w 10785"/>
                  <a:gd name="connsiteY1178" fmla="*/ 2060 h 10000"/>
                  <a:gd name="connsiteX1179" fmla="*/ 5419 w 10785"/>
                  <a:gd name="connsiteY1179" fmla="*/ 2060 h 10000"/>
                  <a:gd name="connsiteX1180" fmla="*/ 5392 w 10785"/>
                  <a:gd name="connsiteY1180" fmla="*/ 2111 h 10000"/>
                  <a:gd name="connsiteX1181" fmla="*/ 5378 w 10785"/>
                  <a:gd name="connsiteY1181" fmla="*/ 2111 h 10000"/>
                  <a:gd name="connsiteX1182" fmla="*/ 5350 w 10785"/>
                  <a:gd name="connsiteY1182" fmla="*/ 2060 h 10000"/>
                  <a:gd name="connsiteX1183" fmla="*/ 5373 w 10785"/>
                  <a:gd name="connsiteY1183" fmla="*/ 2111 h 10000"/>
                  <a:gd name="connsiteX1184" fmla="*/ 5364 w 10785"/>
                  <a:gd name="connsiteY1184" fmla="*/ 2111 h 10000"/>
                  <a:gd name="connsiteX1185" fmla="*/ 5359 w 10785"/>
                  <a:gd name="connsiteY1185" fmla="*/ 2103 h 10000"/>
                  <a:gd name="connsiteX1186" fmla="*/ 5359 w 10785"/>
                  <a:gd name="connsiteY1186" fmla="*/ 2120 h 10000"/>
                  <a:gd name="connsiteX1187" fmla="*/ 5359 w 10785"/>
                  <a:gd name="connsiteY1187" fmla="*/ 2137 h 10000"/>
                  <a:gd name="connsiteX1188" fmla="*/ 5313 w 10785"/>
                  <a:gd name="connsiteY1188" fmla="*/ 2162 h 10000"/>
                  <a:gd name="connsiteX1189" fmla="*/ 5300 w 10785"/>
                  <a:gd name="connsiteY1189" fmla="*/ 2162 h 10000"/>
                  <a:gd name="connsiteX1190" fmla="*/ 5300 w 10785"/>
                  <a:gd name="connsiteY1190" fmla="*/ 2171 h 10000"/>
                  <a:gd name="connsiteX1191" fmla="*/ 5300 w 10785"/>
                  <a:gd name="connsiteY1191" fmla="*/ 2197 h 10000"/>
                  <a:gd name="connsiteX1192" fmla="*/ 5276 w 10785"/>
                  <a:gd name="connsiteY1192" fmla="*/ 2188 h 10000"/>
                  <a:gd name="connsiteX1193" fmla="*/ 5249 w 10785"/>
                  <a:gd name="connsiteY1193" fmla="*/ 2222 h 10000"/>
                  <a:gd name="connsiteX1194" fmla="*/ 5249 w 10785"/>
                  <a:gd name="connsiteY1194" fmla="*/ 2222 h 10000"/>
                  <a:gd name="connsiteX1195" fmla="*/ 5217 w 10785"/>
                  <a:gd name="connsiteY1195" fmla="*/ 2214 h 10000"/>
                  <a:gd name="connsiteX1196" fmla="*/ 5203 w 10785"/>
                  <a:gd name="connsiteY1196" fmla="*/ 2239 h 10000"/>
                  <a:gd name="connsiteX1197" fmla="*/ 5171 w 10785"/>
                  <a:gd name="connsiteY1197" fmla="*/ 2214 h 10000"/>
                  <a:gd name="connsiteX1198" fmla="*/ 5157 w 10785"/>
                  <a:gd name="connsiteY1198" fmla="*/ 2239 h 10000"/>
                  <a:gd name="connsiteX1199" fmla="*/ 5166 w 10785"/>
                  <a:gd name="connsiteY1199" fmla="*/ 2256 h 10000"/>
                  <a:gd name="connsiteX1200" fmla="*/ 5171 w 10785"/>
                  <a:gd name="connsiteY1200" fmla="*/ 2308 h 10000"/>
                  <a:gd name="connsiteX1201" fmla="*/ 5212 w 10785"/>
                  <a:gd name="connsiteY1201" fmla="*/ 2350 h 10000"/>
                  <a:gd name="connsiteX1202" fmla="*/ 5203 w 10785"/>
                  <a:gd name="connsiteY1202" fmla="*/ 2350 h 10000"/>
                  <a:gd name="connsiteX1203" fmla="*/ 5166 w 10785"/>
                  <a:gd name="connsiteY1203" fmla="*/ 2325 h 10000"/>
                  <a:gd name="connsiteX1204" fmla="*/ 5152 w 10785"/>
                  <a:gd name="connsiteY1204" fmla="*/ 2308 h 10000"/>
                  <a:gd name="connsiteX1205" fmla="*/ 5143 w 10785"/>
                  <a:gd name="connsiteY1205" fmla="*/ 2333 h 10000"/>
                  <a:gd name="connsiteX1206" fmla="*/ 5138 w 10785"/>
                  <a:gd name="connsiteY1206" fmla="*/ 2333 h 10000"/>
                  <a:gd name="connsiteX1207" fmla="*/ 5124 w 10785"/>
                  <a:gd name="connsiteY1207" fmla="*/ 2376 h 10000"/>
                  <a:gd name="connsiteX1208" fmla="*/ 5115 w 10785"/>
                  <a:gd name="connsiteY1208" fmla="*/ 2385 h 10000"/>
                  <a:gd name="connsiteX1209" fmla="*/ 5106 w 10785"/>
                  <a:gd name="connsiteY1209" fmla="*/ 2385 h 10000"/>
                  <a:gd name="connsiteX1210" fmla="*/ 5055 w 10785"/>
                  <a:gd name="connsiteY1210" fmla="*/ 2470 h 10000"/>
                  <a:gd name="connsiteX1211" fmla="*/ 5065 w 10785"/>
                  <a:gd name="connsiteY1211" fmla="*/ 2462 h 10000"/>
                  <a:gd name="connsiteX1212" fmla="*/ 5055 w 10785"/>
                  <a:gd name="connsiteY1212" fmla="*/ 2444 h 10000"/>
                  <a:gd name="connsiteX1213" fmla="*/ 5041 w 10785"/>
                  <a:gd name="connsiteY1213" fmla="*/ 2462 h 10000"/>
                  <a:gd name="connsiteX1214" fmla="*/ 5037 w 10785"/>
                  <a:gd name="connsiteY1214" fmla="*/ 2470 h 10000"/>
                  <a:gd name="connsiteX1215" fmla="*/ 5032 w 10785"/>
                  <a:gd name="connsiteY1215" fmla="*/ 2470 h 10000"/>
                  <a:gd name="connsiteX1216" fmla="*/ 5032 w 10785"/>
                  <a:gd name="connsiteY1216" fmla="*/ 2444 h 10000"/>
                  <a:gd name="connsiteX1217" fmla="*/ 5055 w 10785"/>
                  <a:gd name="connsiteY1217" fmla="*/ 2410 h 10000"/>
                  <a:gd name="connsiteX1218" fmla="*/ 5065 w 10785"/>
                  <a:gd name="connsiteY1218" fmla="*/ 2393 h 10000"/>
                  <a:gd name="connsiteX1219" fmla="*/ 5069 w 10785"/>
                  <a:gd name="connsiteY1219" fmla="*/ 2385 h 10000"/>
                  <a:gd name="connsiteX1220" fmla="*/ 5083 w 10785"/>
                  <a:gd name="connsiteY1220" fmla="*/ 2376 h 10000"/>
                  <a:gd name="connsiteX1221" fmla="*/ 5097 w 10785"/>
                  <a:gd name="connsiteY1221" fmla="*/ 2376 h 10000"/>
                  <a:gd name="connsiteX1222" fmla="*/ 5124 w 10785"/>
                  <a:gd name="connsiteY1222" fmla="*/ 2325 h 10000"/>
                  <a:gd name="connsiteX1223" fmla="*/ 5143 w 10785"/>
                  <a:gd name="connsiteY1223" fmla="*/ 2248 h 10000"/>
                  <a:gd name="connsiteX1224" fmla="*/ 5152 w 10785"/>
                  <a:gd name="connsiteY1224" fmla="*/ 2239 h 10000"/>
                  <a:gd name="connsiteX1225" fmla="*/ 5166 w 10785"/>
                  <a:gd name="connsiteY1225" fmla="*/ 2162 h 10000"/>
                  <a:gd name="connsiteX1226" fmla="*/ 5171 w 10785"/>
                  <a:gd name="connsiteY1226" fmla="*/ 2171 h 10000"/>
                  <a:gd name="connsiteX1227" fmla="*/ 5198 w 10785"/>
                  <a:gd name="connsiteY1227" fmla="*/ 2145 h 10000"/>
                  <a:gd name="connsiteX1228" fmla="*/ 5203 w 10785"/>
                  <a:gd name="connsiteY1228" fmla="*/ 2111 h 10000"/>
                  <a:gd name="connsiteX1229" fmla="*/ 5217 w 10785"/>
                  <a:gd name="connsiteY1229" fmla="*/ 2060 h 10000"/>
                  <a:gd name="connsiteX1230" fmla="*/ 5226 w 10785"/>
                  <a:gd name="connsiteY1230" fmla="*/ 2026 h 10000"/>
                  <a:gd name="connsiteX1231" fmla="*/ 5286 w 10785"/>
                  <a:gd name="connsiteY1231" fmla="*/ 2026 h 10000"/>
                  <a:gd name="connsiteX1232" fmla="*/ 5290 w 10785"/>
                  <a:gd name="connsiteY1232" fmla="*/ 2034 h 10000"/>
                  <a:gd name="connsiteX1233" fmla="*/ 5323 w 10785"/>
                  <a:gd name="connsiteY1233" fmla="*/ 1923 h 10000"/>
                  <a:gd name="connsiteX1234" fmla="*/ 5323 w 10785"/>
                  <a:gd name="connsiteY1234" fmla="*/ 1889 h 10000"/>
                  <a:gd name="connsiteX1235" fmla="*/ 5359 w 10785"/>
                  <a:gd name="connsiteY1235" fmla="*/ 1829 h 10000"/>
                  <a:gd name="connsiteX1236" fmla="*/ 5378 w 10785"/>
                  <a:gd name="connsiteY1236" fmla="*/ 1812 h 10000"/>
                  <a:gd name="connsiteX1237" fmla="*/ 5406 w 10785"/>
                  <a:gd name="connsiteY1237" fmla="*/ 1752 h 10000"/>
                  <a:gd name="connsiteX1238" fmla="*/ 5410 w 10785"/>
                  <a:gd name="connsiteY1238" fmla="*/ 1718 h 10000"/>
                  <a:gd name="connsiteX1239" fmla="*/ 5438 w 10785"/>
                  <a:gd name="connsiteY1239" fmla="*/ 1667 h 10000"/>
                  <a:gd name="connsiteX1240" fmla="*/ 5438 w 10785"/>
                  <a:gd name="connsiteY1240" fmla="*/ 1650 h 10000"/>
                  <a:gd name="connsiteX1241" fmla="*/ 5438 w 10785"/>
                  <a:gd name="connsiteY1241" fmla="*/ 1641 h 10000"/>
                  <a:gd name="connsiteX1242" fmla="*/ 5452 w 10785"/>
                  <a:gd name="connsiteY1242" fmla="*/ 1641 h 10000"/>
                  <a:gd name="connsiteX1243" fmla="*/ 5456 w 10785"/>
                  <a:gd name="connsiteY1243" fmla="*/ 1615 h 10000"/>
                  <a:gd name="connsiteX1244" fmla="*/ 5456 w 10785"/>
                  <a:gd name="connsiteY1244" fmla="*/ 1615 h 10000"/>
                  <a:gd name="connsiteX1245" fmla="*/ 5465 w 10785"/>
                  <a:gd name="connsiteY1245" fmla="*/ 1598 h 10000"/>
                  <a:gd name="connsiteX1246" fmla="*/ 5465 w 10785"/>
                  <a:gd name="connsiteY1246" fmla="*/ 1615 h 10000"/>
                  <a:gd name="connsiteX1247" fmla="*/ 5479 w 10785"/>
                  <a:gd name="connsiteY1247" fmla="*/ 1598 h 10000"/>
                  <a:gd name="connsiteX1248" fmla="*/ 5484 w 10785"/>
                  <a:gd name="connsiteY1248" fmla="*/ 1581 h 10000"/>
                  <a:gd name="connsiteX1249" fmla="*/ 5493 w 10785"/>
                  <a:gd name="connsiteY1249" fmla="*/ 1581 h 10000"/>
                  <a:gd name="connsiteX1250" fmla="*/ 5512 w 10785"/>
                  <a:gd name="connsiteY1250" fmla="*/ 1538 h 10000"/>
                  <a:gd name="connsiteX1251" fmla="*/ 5530 w 10785"/>
                  <a:gd name="connsiteY1251" fmla="*/ 1564 h 10000"/>
                  <a:gd name="connsiteX1252" fmla="*/ 5530 w 10785"/>
                  <a:gd name="connsiteY1252" fmla="*/ 1538 h 10000"/>
                  <a:gd name="connsiteX1253" fmla="*/ 5539 w 10785"/>
                  <a:gd name="connsiteY1253" fmla="*/ 1530 h 10000"/>
                  <a:gd name="connsiteX1254" fmla="*/ 5530 w 10785"/>
                  <a:gd name="connsiteY1254" fmla="*/ 1504 h 10000"/>
                  <a:gd name="connsiteX1255" fmla="*/ 5567 w 10785"/>
                  <a:gd name="connsiteY1255" fmla="*/ 1479 h 10000"/>
                  <a:gd name="connsiteX1256" fmla="*/ 5553 w 10785"/>
                  <a:gd name="connsiteY1256" fmla="*/ 1479 h 10000"/>
                  <a:gd name="connsiteX1257" fmla="*/ 5553 w 10785"/>
                  <a:gd name="connsiteY1257" fmla="*/ 1453 h 10000"/>
                  <a:gd name="connsiteX1258" fmla="*/ 5581 w 10785"/>
                  <a:gd name="connsiteY1258" fmla="*/ 1444 h 10000"/>
                  <a:gd name="connsiteX1259" fmla="*/ 5581 w 10785"/>
                  <a:gd name="connsiteY1259" fmla="*/ 1453 h 10000"/>
                  <a:gd name="connsiteX1260" fmla="*/ 5585 w 10785"/>
                  <a:gd name="connsiteY1260" fmla="*/ 1444 h 10000"/>
                  <a:gd name="connsiteX1261" fmla="*/ 5594 w 10785"/>
                  <a:gd name="connsiteY1261" fmla="*/ 1427 h 10000"/>
                  <a:gd name="connsiteX1262" fmla="*/ 5599 w 10785"/>
                  <a:gd name="connsiteY1262" fmla="*/ 1419 h 10000"/>
                  <a:gd name="connsiteX1263" fmla="*/ 5594 w 10785"/>
                  <a:gd name="connsiteY1263" fmla="*/ 1402 h 10000"/>
                  <a:gd name="connsiteX1264" fmla="*/ 5604 w 10785"/>
                  <a:gd name="connsiteY1264" fmla="*/ 1393 h 10000"/>
                  <a:gd name="connsiteX1265" fmla="*/ 5618 w 10785"/>
                  <a:gd name="connsiteY1265" fmla="*/ 1393 h 10000"/>
                  <a:gd name="connsiteX1266" fmla="*/ 5627 w 10785"/>
                  <a:gd name="connsiteY1266" fmla="*/ 1368 h 10000"/>
                  <a:gd name="connsiteX1267" fmla="*/ 5627 w 10785"/>
                  <a:gd name="connsiteY1267" fmla="*/ 1325 h 10000"/>
                  <a:gd name="connsiteX1268" fmla="*/ 5645 w 10785"/>
                  <a:gd name="connsiteY1268" fmla="*/ 1291 h 10000"/>
                  <a:gd name="connsiteX1269" fmla="*/ 5645 w 10785"/>
                  <a:gd name="connsiteY1269" fmla="*/ 1282 h 10000"/>
                  <a:gd name="connsiteX1270" fmla="*/ 5654 w 10785"/>
                  <a:gd name="connsiteY1270" fmla="*/ 1265 h 10000"/>
                  <a:gd name="connsiteX1271" fmla="*/ 5654 w 10785"/>
                  <a:gd name="connsiteY1271" fmla="*/ 1214 h 10000"/>
                  <a:gd name="connsiteX1272" fmla="*/ 5654 w 10785"/>
                  <a:gd name="connsiteY1272" fmla="*/ 1214 h 10000"/>
                  <a:gd name="connsiteX1273" fmla="*/ 5645 w 10785"/>
                  <a:gd name="connsiteY1273" fmla="*/ 1197 h 10000"/>
                  <a:gd name="connsiteX1274" fmla="*/ 5659 w 10785"/>
                  <a:gd name="connsiteY1274" fmla="*/ 1197 h 10000"/>
                  <a:gd name="connsiteX1275" fmla="*/ 5654 w 10785"/>
                  <a:gd name="connsiteY1275" fmla="*/ 1154 h 10000"/>
                  <a:gd name="connsiteX1276" fmla="*/ 5641 w 10785"/>
                  <a:gd name="connsiteY1276" fmla="*/ 1154 h 10000"/>
                  <a:gd name="connsiteX1277" fmla="*/ 5627 w 10785"/>
                  <a:gd name="connsiteY1277" fmla="*/ 1128 h 10000"/>
                  <a:gd name="connsiteX1278" fmla="*/ 5618 w 10785"/>
                  <a:gd name="connsiteY1278" fmla="*/ 1094 h 10000"/>
                  <a:gd name="connsiteX1279" fmla="*/ 5613 w 10785"/>
                  <a:gd name="connsiteY1279" fmla="*/ 1094 h 10000"/>
                  <a:gd name="connsiteX1280" fmla="*/ 5604 w 10785"/>
                  <a:gd name="connsiteY1280" fmla="*/ 1120 h 10000"/>
                  <a:gd name="connsiteX1281" fmla="*/ 5604 w 10785"/>
                  <a:gd name="connsiteY1281" fmla="*/ 1128 h 10000"/>
                  <a:gd name="connsiteX1282" fmla="*/ 5599 w 10785"/>
                  <a:gd name="connsiteY1282" fmla="*/ 1103 h 10000"/>
                  <a:gd name="connsiteX1283" fmla="*/ 5599 w 10785"/>
                  <a:gd name="connsiteY1283" fmla="*/ 1103 h 10000"/>
                  <a:gd name="connsiteX1284" fmla="*/ 5594 w 10785"/>
                  <a:gd name="connsiteY1284" fmla="*/ 1068 h 10000"/>
                  <a:gd name="connsiteX1285" fmla="*/ 5594 w 10785"/>
                  <a:gd name="connsiteY1285" fmla="*/ 1060 h 10000"/>
                  <a:gd name="connsiteX1286" fmla="*/ 5581 w 10785"/>
                  <a:gd name="connsiteY1286" fmla="*/ 1034 h 10000"/>
                  <a:gd name="connsiteX1287" fmla="*/ 5571 w 10785"/>
                  <a:gd name="connsiteY1287" fmla="*/ 1009 h 10000"/>
                  <a:gd name="connsiteX1288" fmla="*/ 5571 w 10785"/>
                  <a:gd name="connsiteY1288" fmla="*/ 991 h 10000"/>
                  <a:gd name="connsiteX1289" fmla="*/ 5585 w 10785"/>
                  <a:gd name="connsiteY1289" fmla="*/ 1009 h 10000"/>
                  <a:gd name="connsiteX1290" fmla="*/ 5604 w 10785"/>
                  <a:gd name="connsiteY1290" fmla="*/ 1043 h 10000"/>
                  <a:gd name="connsiteX1291" fmla="*/ 5641 w 10785"/>
                  <a:gd name="connsiteY1291" fmla="*/ 1094 h 10000"/>
                  <a:gd name="connsiteX1292" fmla="*/ 5631 w 10785"/>
                  <a:gd name="connsiteY1292" fmla="*/ 1128 h 10000"/>
                  <a:gd name="connsiteX1293" fmla="*/ 5641 w 10785"/>
                  <a:gd name="connsiteY1293" fmla="*/ 1128 h 10000"/>
                  <a:gd name="connsiteX1294" fmla="*/ 5659 w 10785"/>
                  <a:gd name="connsiteY1294" fmla="*/ 1017 h 10000"/>
                  <a:gd name="connsiteX1295" fmla="*/ 5659 w 10785"/>
                  <a:gd name="connsiteY1295" fmla="*/ 983 h 10000"/>
                  <a:gd name="connsiteX1296" fmla="*/ 5659 w 10785"/>
                  <a:gd name="connsiteY1296" fmla="*/ 957 h 10000"/>
                  <a:gd name="connsiteX1297" fmla="*/ 5654 w 10785"/>
                  <a:gd name="connsiteY1297" fmla="*/ 966 h 10000"/>
                  <a:gd name="connsiteX1298" fmla="*/ 5641 w 10785"/>
                  <a:gd name="connsiteY1298" fmla="*/ 957 h 10000"/>
                  <a:gd name="connsiteX1299" fmla="*/ 5631 w 10785"/>
                  <a:gd name="connsiteY1299" fmla="*/ 897 h 10000"/>
                  <a:gd name="connsiteX1300" fmla="*/ 5641 w 10785"/>
                  <a:gd name="connsiteY1300" fmla="*/ 872 h 10000"/>
                  <a:gd name="connsiteX1301" fmla="*/ 5618 w 10785"/>
                  <a:gd name="connsiteY1301" fmla="*/ 803 h 10000"/>
                  <a:gd name="connsiteX1302" fmla="*/ 5604 w 10785"/>
                  <a:gd name="connsiteY1302" fmla="*/ 821 h 10000"/>
                  <a:gd name="connsiteX1303" fmla="*/ 5613 w 10785"/>
                  <a:gd name="connsiteY1303" fmla="*/ 846 h 10000"/>
                  <a:gd name="connsiteX1304" fmla="*/ 5604 w 10785"/>
                  <a:gd name="connsiteY1304" fmla="*/ 855 h 10000"/>
                  <a:gd name="connsiteX1305" fmla="*/ 5599 w 10785"/>
                  <a:gd name="connsiteY1305" fmla="*/ 880 h 10000"/>
                  <a:gd name="connsiteX1306" fmla="*/ 5594 w 10785"/>
                  <a:gd name="connsiteY1306" fmla="*/ 880 h 10000"/>
                  <a:gd name="connsiteX1307" fmla="*/ 5585 w 10785"/>
                  <a:gd name="connsiteY1307" fmla="*/ 829 h 10000"/>
                  <a:gd name="connsiteX1308" fmla="*/ 5571 w 10785"/>
                  <a:gd name="connsiteY1308" fmla="*/ 803 h 10000"/>
                  <a:gd name="connsiteX1309" fmla="*/ 5585 w 10785"/>
                  <a:gd name="connsiteY1309" fmla="*/ 795 h 10000"/>
                  <a:gd name="connsiteX1310" fmla="*/ 5585 w 10785"/>
                  <a:gd name="connsiteY1310" fmla="*/ 761 h 10000"/>
                  <a:gd name="connsiteX1311" fmla="*/ 5558 w 10785"/>
                  <a:gd name="connsiteY1311" fmla="*/ 709 h 10000"/>
                  <a:gd name="connsiteX1312" fmla="*/ 5544 w 10785"/>
                  <a:gd name="connsiteY1312" fmla="*/ 709 h 10000"/>
                  <a:gd name="connsiteX1313" fmla="*/ 5544 w 10785"/>
                  <a:gd name="connsiteY1313" fmla="*/ 684 h 10000"/>
                  <a:gd name="connsiteX1314" fmla="*/ 5525 w 10785"/>
                  <a:gd name="connsiteY1314" fmla="*/ 632 h 10000"/>
                  <a:gd name="connsiteX1315" fmla="*/ 5507 w 10785"/>
                  <a:gd name="connsiteY1315" fmla="*/ 607 h 10000"/>
                  <a:gd name="connsiteX1316" fmla="*/ 5512 w 10785"/>
                  <a:gd name="connsiteY1316" fmla="*/ 598 h 10000"/>
                  <a:gd name="connsiteX1317" fmla="*/ 5507 w 10785"/>
                  <a:gd name="connsiteY1317" fmla="*/ 581 h 10000"/>
                  <a:gd name="connsiteX1318" fmla="*/ 5493 w 10785"/>
                  <a:gd name="connsiteY1318" fmla="*/ 573 h 10000"/>
                  <a:gd name="connsiteX1319" fmla="*/ 5484 w 10785"/>
                  <a:gd name="connsiteY1319" fmla="*/ 581 h 10000"/>
                  <a:gd name="connsiteX1320" fmla="*/ 5484 w 10785"/>
                  <a:gd name="connsiteY1320" fmla="*/ 573 h 10000"/>
                  <a:gd name="connsiteX1321" fmla="*/ 5484 w 10785"/>
                  <a:gd name="connsiteY1321" fmla="*/ 547 h 10000"/>
                  <a:gd name="connsiteX1322" fmla="*/ 5465 w 10785"/>
                  <a:gd name="connsiteY1322" fmla="*/ 556 h 10000"/>
                  <a:gd name="connsiteX1323" fmla="*/ 5433 w 10785"/>
                  <a:gd name="connsiteY1323" fmla="*/ 547 h 10000"/>
                  <a:gd name="connsiteX1324" fmla="*/ 5410 w 10785"/>
                  <a:gd name="connsiteY1324" fmla="*/ 573 h 10000"/>
                  <a:gd name="connsiteX1325" fmla="*/ 5406 w 10785"/>
                  <a:gd name="connsiteY1325" fmla="*/ 573 h 10000"/>
                  <a:gd name="connsiteX1326" fmla="*/ 5392 w 10785"/>
                  <a:gd name="connsiteY1326" fmla="*/ 573 h 10000"/>
                  <a:gd name="connsiteX1327" fmla="*/ 5364 w 10785"/>
                  <a:gd name="connsiteY1327" fmla="*/ 530 h 10000"/>
                  <a:gd name="connsiteX1328" fmla="*/ 5350 w 10785"/>
                  <a:gd name="connsiteY1328" fmla="*/ 556 h 10000"/>
                  <a:gd name="connsiteX1329" fmla="*/ 5346 w 10785"/>
                  <a:gd name="connsiteY1329" fmla="*/ 556 h 10000"/>
                  <a:gd name="connsiteX1330" fmla="*/ 5313 w 10785"/>
                  <a:gd name="connsiteY1330" fmla="*/ 573 h 10000"/>
                  <a:gd name="connsiteX1331" fmla="*/ 5304 w 10785"/>
                  <a:gd name="connsiteY1331" fmla="*/ 556 h 10000"/>
                  <a:gd name="connsiteX1332" fmla="*/ 5290 w 10785"/>
                  <a:gd name="connsiteY1332" fmla="*/ 573 h 10000"/>
                  <a:gd name="connsiteX1333" fmla="*/ 5290 w 10785"/>
                  <a:gd name="connsiteY1333" fmla="*/ 556 h 10000"/>
                  <a:gd name="connsiteX1334" fmla="*/ 5300 w 10785"/>
                  <a:gd name="connsiteY1334" fmla="*/ 547 h 10000"/>
                  <a:gd name="connsiteX1335" fmla="*/ 5300 w 10785"/>
                  <a:gd name="connsiteY1335" fmla="*/ 530 h 10000"/>
                  <a:gd name="connsiteX1336" fmla="*/ 5290 w 10785"/>
                  <a:gd name="connsiteY1336" fmla="*/ 530 h 10000"/>
                  <a:gd name="connsiteX1337" fmla="*/ 5286 w 10785"/>
                  <a:gd name="connsiteY1337" fmla="*/ 547 h 10000"/>
                  <a:gd name="connsiteX1338" fmla="*/ 5272 w 10785"/>
                  <a:gd name="connsiteY1338" fmla="*/ 556 h 10000"/>
                  <a:gd name="connsiteX1339" fmla="*/ 5272 w 10785"/>
                  <a:gd name="connsiteY1339" fmla="*/ 598 h 10000"/>
                  <a:gd name="connsiteX1340" fmla="*/ 5276 w 10785"/>
                  <a:gd name="connsiteY1340" fmla="*/ 581 h 10000"/>
                  <a:gd name="connsiteX1341" fmla="*/ 5272 w 10785"/>
                  <a:gd name="connsiteY1341" fmla="*/ 607 h 10000"/>
                  <a:gd name="connsiteX1342" fmla="*/ 5263 w 10785"/>
                  <a:gd name="connsiteY1342" fmla="*/ 607 h 10000"/>
                  <a:gd name="connsiteX1343" fmla="*/ 5263 w 10785"/>
                  <a:gd name="connsiteY1343" fmla="*/ 632 h 10000"/>
                  <a:gd name="connsiteX1344" fmla="*/ 5258 w 10785"/>
                  <a:gd name="connsiteY1344" fmla="*/ 658 h 10000"/>
                  <a:gd name="connsiteX1345" fmla="*/ 5244 w 10785"/>
                  <a:gd name="connsiteY1345" fmla="*/ 667 h 10000"/>
                  <a:gd name="connsiteX1346" fmla="*/ 5240 w 10785"/>
                  <a:gd name="connsiteY1346" fmla="*/ 658 h 10000"/>
                  <a:gd name="connsiteX1347" fmla="*/ 5240 w 10785"/>
                  <a:gd name="connsiteY1347" fmla="*/ 684 h 10000"/>
                  <a:gd name="connsiteX1348" fmla="*/ 5212 w 10785"/>
                  <a:gd name="connsiteY1348" fmla="*/ 684 h 10000"/>
                  <a:gd name="connsiteX1349" fmla="*/ 5198 w 10785"/>
                  <a:gd name="connsiteY1349" fmla="*/ 692 h 10000"/>
                  <a:gd name="connsiteX1350" fmla="*/ 5184 w 10785"/>
                  <a:gd name="connsiteY1350" fmla="*/ 684 h 10000"/>
                  <a:gd name="connsiteX1351" fmla="*/ 5157 w 10785"/>
                  <a:gd name="connsiteY1351" fmla="*/ 684 h 10000"/>
                  <a:gd name="connsiteX1352" fmla="*/ 5157 w 10785"/>
                  <a:gd name="connsiteY1352" fmla="*/ 667 h 10000"/>
                  <a:gd name="connsiteX1353" fmla="*/ 5157 w 10785"/>
                  <a:gd name="connsiteY1353" fmla="*/ 667 h 10000"/>
                  <a:gd name="connsiteX1354" fmla="*/ 5180 w 10785"/>
                  <a:gd name="connsiteY1354" fmla="*/ 650 h 10000"/>
                  <a:gd name="connsiteX1355" fmla="*/ 5184 w 10785"/>
                  <a:gd name="connsiteY1355" fmla="*/ 658 h 10000"/>
                  <a:gd name="connsiteX1356" fmla="*/ 5203 w 10785"/>
                  <a:gd name="connsiteY1356" fmla="*/ 547 h 10000"/>
                  <a:gd name="connsiteX1357" fmla="*/ 5226 w 10785"/>
                  <a:gd name="connsiteY1357" fmla="*/ 530 h 10000"/>
                  <a:gd name="connsiteX1358" fmla="*/ 5230 w 10785"/>
                  <a:gd name="connsiteY1358" fmla="*/ 487 h 10000"/>
                  <a:gd name="connsiteX1359" fmla="*/ 5230 w 10785"/>
                  <a:gd name="connsiteY1359" fmla="*/ 487 h 10000"/>
                  <a:gd name="connsiteX1360" fmla="*/ 5226 w 10785"/>
                  <a:gd name="connsiteY1360" fmla="*/ 462 h 10000"/>
                  <a:gd name="connsiteX1361" fmla="*/ 5226 w 10785"/>
                  <a:gd name="connsiteY1361" fmla="*/ 462 h 10000"/>
                  <a:gd name="connsiteX1362" fmla="*/ 5240 w 10785"/>
                  <a:gd name="connsiteY1362" fmla="*/ 462 h 10000"/>
                  <a:gd name="connsiteX1363" fmla="*/ 5240 w 10785"/>
                  <a:gd name="connsiteY1363" fmla="*/ 444 h 10000"/>
                  <a:gd name="connsiteX1364" fmla="*/ 5230 w 10785"/>
                  <a:gd name="connsiteY1364" fmla="*/ 436 h 10000"/>
                  <a:gd name="connsiteX1365" fmla="*/ 5230 w 10785"/>
                  <a:gd name="connsiteY1365" fmla="*/ 419 h 10000"/>
                  <a:gd name="connsiteX1366" fmla="*/ 5230 w 10785"/>
                  <a:gd name="connsiteY1366" fmla="*/ 410 h 10000"/>
                  <a:gd name="connsiteX1367" fmla="*/ 5198 w 10785"/>
                  <a:gd name="connsiteY1367" fmla="*/ 402 h 10000"/>
                  <a:gd name="connsiteX1368" fmla="*/ 5189 w 10785"/>
                  <a:gd name="connsiteY1368" fmla="*/ 402 h 10000"/>
                  <a:gd name="connsiteX1369" fmla="*/ 5184 w 10785"/>
                  <a:gd name="connsiteY1369" fmla="*/ 376 h 10000"/>
                  <a:gd name="connsiteX1370" fmla="*/ 5180 w 10785"/>
                  <a:gd name="connsiteY1370" fmla="*/ 376 h 10000"/>
                  <a:gd name="connsiteX1371" fmla="*/ 5166 w 10785"/>
                  <a:gd name="connsiteY1371" fmla="*/ 376 h 10000"/>
                  <a:gd name="connsiteX1372" fmla="*/ 5157 w 10785"/>
                  <a:gd name="connsiteY1372" fmla="*/ 385 h 10000"/>
                  <a:gd name="connsiteX1373" fmla="*/ 5152 w 10785"/>
                  <a:gd name="connsiteY1373" fmla="*/ 376 h 10000"/>
                  <a:gd name="connsiteX1374" fmla="*/ 5129 w 10785"/>
                  <a:gd name="connsiteY1374" fmla="*/ 385 h 10000"/>
                  <a:gd name="connsiteX1375" fmla="*/ 5129 w 10785"/>
                  <a:gd name="connsiteY1375" fmla="*/ 350 h 10000"/>
                  <a:gd name="connsiteX1376" fmla="*/ 5129 w 10785"/>
                  <a:gd name="connsiteY1376" fmla="*/ 325 h 10000"/>
                  <a:gd name="connsiteX1377" fmla="*/ 5124 w 10785"/>
                  <a:gd name="connsiteY1377" fmla="*/ 359 h 10000"/>
                  <a:gd name="connsiteX1378" fmla="*/ 5106 w 10785"/>
                  <a:gd name="connsiteY1378" fmla="*/ 359 h 10000"/>
                  <a:gd name="connsiteX1379" fmla="*/ 5037 w 10785"/>
                  <a:gd name="connsiteY1379" fmla="*/ 419 h 10000"/>
                  <a:gd name="connsiteX1380" fmla="*/ 5051 w 10785"/>
                  <a:gd name="connsiteY1380" fmla="*/ 385 h 10000"/>
                  <a:gd name="connsiteX1381" fmla="*/ 5055 w 10785"/>
                  <a:gd name="connsiteY1381" fmla="*/ 376 h 10000"/>
                  <a:gd name="connsiteX1382" fmla="*/ 5092 w 10785"/>
                  <a:gd name="connsiteY1382" fmla="*/ 282 h 10000"/>
                  <a:gd name="connsiteX1383" fmla="*/ 5106 w 10785"/>
                  <a:gd name="connsiteY1383" fmla="*/ 265 h 10000"/>
                  <a:gd name="connsiteX1384" fmla="*/ 5115 w 10785"/>
                  <a:gd name="connsiteY1384" fmla="*/ 265 h 10000"/>
                  <a:gd name="connsiteX1385" fmla="*/ 5124 w 10785"/>
                  <a:gd name="connsiteY1385" fmla="*/ 222 h 10000"/>
                  <a:gd name="connsiteX1386" fmla="*/ 5124 w 10785"/>
                  <a:gd name="connsiteY1386" fmla="*/ 214 h 10000"/>
                  <a:gd name="connsiteX1387" fmla="*/ 5143 w 10785"/>
                  <a:gd name="connsiteY1387" fmla="*/ 197 h 10000"/>
                  <a:gd name="connsiteX1388" fmla="*/ 5152 w 10785"/>
                  <a:gd name="connsiteY1388" fmla="*/ 214 h 10000"/>
                  <a:gd name="connsiteX1389" fmla="*/ 5143 w 10785"/>
                  <a:gd name="connsiteY1389" fmla="*/ 188 h 10000"/>
                  <a:gd name="connsiteX1390" fmla="*/ 5129 w 10785"/>
                  <a:gd name="connsiteY1390" fmla="*/ 103 h 10000"/>
                  <a:gd name="connsiteX1391" fmla="*/ 5115 w 10785"/>
                  <a:gd name="connsiteY1391" fmla="*/ 85 h 10000"/>
                  <a:gd name="connsiteX1392" fmla="*/ 5111 w 10785"/>
                  <a:gd name="connsiteY1392" fmla="*/ 111 h 10000"/>
                  <a:gd name="connsiteX1393" fmla="*/ 5092 w 10785"/>
                  <a:gd name="connsiteY1393" fmla="*/ 103 h 10000"/>
                  <a:gd name="connsiteX1394" fmla="*/ 5069 w 10785"/>
                  <a:gd name="connsiteY1394" fmla="*/ 77 h 10000"/>
                  <a:gd name="connsiteX1395" fmla="*/ 5051 w 10785"/>
                  <a:gd name="connsiteY1395" fmla="*/ 26 h 10000"/>
                  <a:gd name="connsiteX1396" fmla="*/ 5041 w 10785"/>
                  <a:gd name="connsiteY1396" fmla="*/ 34 h 10000"/>
                  <a:gd name="connsiteX1397" fmla="*/ 5037 w 10785"/>
                  <a:gd name="connsiteY1397" fmla="*/ 34 h 10000"/>
                  <a:gd name="connsiteX1398" fmla="*/ 5037 w 10785"/>
                  <a:gd name="connsiteY1398" fmla="*/ 26 h 10000"/>
                  <a:gd name="connsiteX1399" fmla="*/ 5037 w 10785"/>
                  <a:gd name="connsiteY1399" fmla="*/ 9 h 10000"/>
                  <a:gd name="connsiteX1400" fmla="*/ 5023 w 10785"/>
                  <a:gd name="connsiteY1400" fmla="*/ 0 h 10000"/>
                  <a:gd name="connsiteX1401" fmla="*/ 5009 w 10785"/>
                  <a:gd name="connsiteY1401" fmla="*/ 9 h 10000"/>
                  <a:gd name="connsiteX1402" fmla="*/ 4995 w 10785"/>
                  <a:gd name="connsiteY1402" fmla="*/ 34 h 10000"/>
                  <a:gd name="connsiteX1403" fmla="*/ 4991 w 10785"/>
                  <a:gd name="connsiteY1403" fmla="*/ 60 h 10000"/>
                  <a:gd name="connsiteX1404" fmla="*/ 4982 w 10785"/>
                  <a:gd name="connsiteY1404" fmla="*/ 60 h 10000"/>
                  <a:gd name="connsiteX1405" fmla="*/ 4949 w 10785"/>
                  <a:gd name="connsiteY1405" fmla="*/ 51 h 10000"/>
                  <a:gd name="connsiteX1406" fmla="*/ 4949 w 10785"/>
                  <a:gd name="connsiteY1406" fmla="*/ 85 h 10000"/>
                  <a:gd name="connsiteX1407" fmla="*/ 4903 w 10785"/>
                  <a:gd name="connsiteY1407" fmla="*/ 197 h 10000"/>
                  <a:gd name="connsiteX1408" fmla="*/ 4899 w 10785"/>
                  <a:gd name="connsiteY1408" fmla="*/ 239 h 10000"/>
                  <a:gd name="connsiteX1409" fmla="*/ 4871 w 10785"/>
                  <a:gd name="connsiteY1409" fmla="*/ 274 h 10000"/>
                  <a:gd name="connsiteX1410" fmla="*/ 4871 w 10785"/>
                  <a:gd name="connsiteY1410" fmla="*/ 282 h 10000"/>
                  <a:gd name="connsiteX1411" fmla="*/ 4834 w 10785"/>
                  <a:gd name="connsiteY1411" fmla="*/ 376 h 10000"/>
                  <a:gd name="connsiteX1412" fmla="*/ 4829 w 10785"/>
                  <a:gd name="connsiteY1412" fmla="*/ 402 h 10000"/>
                  <a:gd name="connsiteX1413" fmla="*/ 4834 w 10785"/>
                  <a:gd name="connsiteY1413" fmla="*/ 410 h 10000"/>
                  <a:gd name="connsiteX1414" fmla="*/ 4829 w 10785"/>
                  <a:gd name="connsiteY1414" fmla="*/ 436 h 10000"/>
                  <a:gd name="connsiteX1415" fmla="*/ 4825 w 10785"/>
                  <a:gd name="connsiteY1415" fmla="*/ 436 h 10000"/>
                  <a:gd name="connsiteX1416" fmla="*/ 4825 w 10785"/>
                  <a:gd name="connsiteY1416" fmla="*/ 444 h 10000"/>
                  <a:gd name="connsiteX1417" fmla="*/ 4811 w 10785"/>
                  <a:gd name="connsiteY1417" fmla="*/ 496 h 10000"/>
                  <a:gd name="connsiteX1418" fmla="*/ 4811 w 10785"/>
                  <a:gd name="connsiteY1418" fmla="*/ 496 h 10000"/>
                  <a:gd name="connsiteX1419" fmla="*/ 4811 w 10785"/>
                  <a:gd name="connsiteY1419" fmla="*/ 521 h 10000"/>
                  <a:gd name="connsiteX1420" fmla="*/ 4816 w 10785"/>
                  <a:gd name="connsiteY1420" fmla="*/ 530 h 10000"/>
                  <a:gd name="connsiteX1421" fmla="*/ 4834 w 10785"/>
                  <a:gd name="connsiteY1421" fmla="*/ 547 h 10000"/>
                  <a:gd name="connsiteX1422" fmla="*/ 4834 w 10785"/>
                  <a:gd name="connsiteY1422" fmla="*/ 581 h 10000"/>
                  <a:gd name="connsiteX1423" fmla="*/ 4843 w 10785"/>
                  <a:gd name="connsiteY1423" fmla="*/ 581 h 10000"/>
                  <a:gd name="connsiteX1424" fmla="*/ 4843 w 10785"/>
                  <a:gd name="connsiteY1424" fmla="*/ 598 h 10000"/>
                  <a:gd name="connsiteX1425" fmla="*/ 4829 w 10785"/>
                  <a:gd name="connsiteY1425" fmla="*/ 598 h 10000"/>
                  <a:gd name="connsiteX1426" fmla="*/ 4829 w 10785"/>
                  <a:gd name="connsiteY1426" fmla="*/ 573 h 10000"/>
                  <a:gd name="connsiteX1427" fmla="*/ 4829 w 10785"/>
                  <a:gd name="connsiteY1427" fmla="*/ 632 h 10000"/>
                  <a:gd name="connsiteX1428" fmla="*/ 4829 w 10785"/>
                  <a:gd name="connsiteY1428" fmla="*/ 632 h 10000"/>
                  <a:gd name="connsiteX1429" fmla="*/ 4829 w 10785"/>
                  <a:gd name="connsiteY1429" fmla="*/ 650 h 10000"/>
                  <a:gd name="connsiteX1430" fmla="*/ 4774 w 10785"/>
                  <a:gd name="connsiteY1430" fmla="*/ 684 h 10000"/>
                  <a:gd name="connsiteX1431" fmla="*/ 4756 w 10785"/>
                  <a:gd name="connsiteY1431" fmla="*/ 684 h 10000"/>
                  <a:gd name="connsiteX1432" fmla="*/ 4737 w 10785"/>
                  <a:gd name="connsiteY1432" fmla="*/ 692 h 10000"/>
                  <a:gd name="connsiteX1433" fmla="*/ 4677 w 10785"/>
                  <a:gd name="connsiteY1433" fmla="*/ 667 h 10000"/>
                  <a:gd name="connsiteX1434" fmla="*/ 4682 w 10785"/>
                  <a:gd name="connsiteY1434" fmla="*/ 692 h 10000"/>
                  <a:gd name="connsiteX1435" fmla="*/ 4682 w 10785"/>
                  <a:gd name="connsiteY1435" fmla="*/ 709 h 10000"/>
                  <a:gd name="connsiteX1436" fmla="*/ 4691 w 10785"/>
                  <a:gd name="connsiteY1436" fmla="*/ 718 h 10000"/>
                  <a:gd name="connsiteX1437" fmla="*/ 4691 w 10785"/>
                  <a:gd name="connsiteY1437" fmla="*/ 744 h 10000"/>
                  <a:gd name="connsiteX1438" fmla="*/ 4700 w 10785"/>
                  <a:gd name="connsiteY1438" fmla="*/ 744 h 10000"/>
                  <a:gd name="connsiteX1439" fmla="*/ 4714 w 10785"/>
                  <a:gd name="connsiteY1439" fmla="*/ 769 h 10000"/>
                  <a:gd name="connsiteX1440" fmla="*/ 4710 w 10785"/>
                  <a:gd name="connsiteY1440" fmla="*/ 786 h 10000"/>
                  <a:gd name="connsiteX1441" fmla="*/ 4737 w 10785"/>
                  <a:gd name="connsiteY1441" fmla="*/ 786 h 10000"/>
                  <a:gd name="connsiteX1442" fmla="*/ 4742 w 10785"/>
                  <a:gd name="connsiteY1442" fmla="*/ 795 h 10000"/>
                  <a:gd name="connsiteX1443" fmla="*/ 4742 w 10785"/>
                  <a:gd name="connsiteY1443" fmla="*/ 803 h 10000"/>
                  <a:gd name="connsiteX1444" fmla="*/ 4737 w 10785"/>
                  <a:gd name="connsiteY1444" fmla="*/ 846 h 10000"/>
                  <a:gd name="connsiteX1445" fmla="*/ 4737 w 10785"/>
                  <a:gd name="connsiteY1445" fmla="*/ 880 h 10000"/>
                  <a:gd name="connsiteX1446" fmla="*/ 4737 w 10785"/>
                  <a:gd name="connsiteY1446" fmla="*/ 906 h 10000"/>
                  <a:gd name="connsiteX1447" fmla="*/ 4724 w 10785"/>
                  <a:gd name="connsiteY1447" fmla="*/ 897 h 10000"/>
                  <a:gd name="connsiteX1448" fmla="*/ 4724 w 10785"/>
                  <a:gd name="connsiteY1448" fmla="*/ 872 h 10000"/>
                  <a:gd name="connsiteX1449" fmla="*/ 4714 w 10785"/>
                  <a:gd name="connsiteY1449" fmla="*/ 855 h 10000"/>
                  <a:gd name="connsiteX1450" fmla="*/ 4691 w 10785"/>
                  <a:gd name="connsiteY1450" fmla="*/ 846 h 10000"/>
                  <a:gd name="connsiteX1451" fmla="*/ 4691 w 10785"/>
                  <a:gd name="connsiteY1451" fmla="*/ 846 h 10000"/>
                  <a:gd name="connsiteX1452" fmla="*/ 4696 w 10785"/>
                  <a:gd name="connsiteY1452" fmla="*/ 821 h 10000"/>
                  <a:gd name="connsiteX1453" fmla="*/ 4691 w 10785"/>
                  <a:gd name="connsiteY1453" fmla="*/ 803 h 10000"/>
                  <a:gd name="connsiteX1454" fmla="*/ 4668 w 10785"/>
                  <a:gd name="connsiteY1454" fmla="*/ 821 h 10000"/>
                  <a:gd name="connsiteX1455" fmla="*/ 4668 w 10785"/>
                  <a:gd name="connsiteY1455" fmla="*/ 786 h 10000"/>
                  <a:gd name="connsiteX1456" fmla="*/ 4664 w 10785"/>
                  <a:gd name="connsiteY1456" fmla="*/ 786 h 10000"/>
                  <a:gd name="connsiteX1457" fmla="*/ 4622 w 10785"/>
                  <a:gd name="connsiteY1457" fmla="*/ 846 h 10000"/>
                  <a:gd name="connsiteX1458" fmla="*/ 4627 w 10785"/>
                  <a:gd name="connsiteY1458" fmla="*/ 872 h 10000"/>
                  <a:gd name="connsiteX1459" fmla="*/ 4622 w 10785"/>
                  <a:gd name="connsiteY1459" fmla="*/ 880 h 10000"/>
                  <a:gd name="connsiteX1460" fmla="*/ 4622 w 10785"/>
                  <a:gd name="connsiteY1460" fmla="*/ 880 h 10000"/>
                  <a:gd name="connsiteX1461" fmla="*/ 4618 w 10785"/>
                  <a:gd name="connsiteY1461" fmla="*/ 872 h 10000"/>
                  <a:gd name="connsiteX1462" fmla="*/ 4604 w 10785"/>
                  <a:gd name="connsiteY1462" fmla="*/ 880 h 10000"/>
                  <a:gd name="connsiteX1463" fmla="*/ 4594 w 10785"/>
                  <a:gd name="connsiteY1463" fmla="*/ 906 h 10000"/>
                  <a:gd name="connsiteX1464" fmla="*/ 4604 w 10785"/>
                  <a:gd name="connsiteY1464" fmla="*/ 906 h 10000"/>
                  <a:gd name="connsiteX1465" fmla="*/ 4608 w 10785"/>
                  <a:gd name="connsiteY1465" fmla="*/ 906 h 10000"/>
                  <a:gd name="connsiteX1466" fmla="*/ 4608 w 10785"/>
                  <a:gd name="connsiteY1466" fmla="*/ 932 h 10000"/>
                  <a:gd name="connsiteX1467" fmla="*/ 4604 w 10785"/>
                  <a:gd name="connsiteY1467" fmla="*/ 932 h 10000"/>
                  <a:gd name="connsiteX1468" fmla="*/ 4590 w 10785"/>
                  <a:gd name="connsiteY1468" fmla="*/ 932 h 10000"/>
                  <a:gd name="connsiteX1469" fmla="*/ 4567 w 10785"/>
                  <a:gd name="connsiteY1469" fmla="*/ 957 h 10000"/>
                  <a:gd name="connsiteX1470" fmla="*/ 4567 w 10785"/>
                  <a:gd name="connsiteY1470" fmla="*/ 932 h 10000"/>
                  <a:gd name="connsiteX1471" fmla="*/ 4567 w 10785"/>
                  <a:gd name="connsiteY1471" fmla="*/ 923 h 10000"/>
                  <a:gd name="connsiteX1472" fmla="*/ 4562 w 10785"/>
                  <a:gd name="connsiteY1472" fmla="*/ 932 h 10000"/>
                  <a:gd name="connsiteX1473" fmla="*/ 4548 w 10785"/>
                  <a:gd name="connsiteY1473" fmla="*/ 957 h 10000"/>
                  <a:gd name="connsiteX1474" fmla="*/ 4544 w 10785"/>
                  <a:gd name="connsiteY1474" fmla="*/ 957 h 10000"/>
                  <a:gd name="connsiteX1475" fmla="*/ 4521 w 10785"/>
                  <a:gd name="connsiteY1475" fmla="*/ 983 h 10000"/>
                  <a:gd name="connsiteX1476" fmla="*/ 4521 w 10785"/>
                  <a:gd name="connsiteY1476" fmla="*/ 983 h 10000"/>
                  <a:gd name="connsiteX1477" fmla="*/ 4530 w 10785"/>
                  <a:gd name="connsiteY1477" fmla="*/ 957 h 10000"/>
                  <a:gd name="connsiteX1478" fmla="*/ 4535 w 10785"/>
                  <a:gd name="connsiteY1478" fmla="*/ 932 h 10000"/>
                  <a:gd name="connsiteX1479" fmla="*/ 4521 w 10785"/>
                  <a:gd name="connsiteY1479" fmla="*/ 932 h 10000"/>
                  <a:gd name="connsiteX1480" fmla="*/ 4516 w 10785"/>
                  <a:gd name="connsiteY1480" fmla="*/ 923 h 10000"/>
                  <a:gd name="connsiteX1481" fmla="*/ 4516 w 10785"/>
                  <a:gd name="connsiteY1481" fmla="*/ 932 h 10000"/>
                  <a:gd name="connsiteX1482" fmla="*/ 4488 w 10785"/>
                  <a:gd name="connsiteY1482" fmla="*/ 940 h 10000"/>
                  <a:gd name="connsiteX1483" fmla="*/ 4484 w 10785"/>
                  <a:gd name="connsiteY1483" fmla="*/ 983 h 10000"/>
                  <a:gd name="connsiteX1484" fmla="*/ 4470 w 10785"/>
                  <a:gd name="connsiteY1484" fmla="*/ 983 h 10000"/>
                  <a:gd name="connsiteX1485" fmla="*/ 4470 w 10785"/>
                  <a:gd name="connsiteY1485" fmla="*/ 966 h 10000"/>
                  <a:gd name="connsiteX1486" fmla="*/ 4488 w 10785"/>
                  <a:gd name="connsiteY1486" fmla="*/ 923 h 10000"/>
                  <a:gd name="connsiteX1487" fmla="*/ 4493 w 10785"/>
                  <a:gd name="connsiteY1487" fmla="*/ 880 h 10000"/>
                  <a:gd name="connsiteX1488" fmla="*/ 4475 w 10785"/>
                  <a:gd name="connsiteY1488" fmla="*/ 846 h 10000"/>
                  <a:gd name="connsiteX1489" fmla="*/ 4442 w 10785"/>
                  <a:gd name="connsiteY1489" fmla="*/ 855 h 10000"/>
                  <a:gd name="connsiteX1490" fmla="*/ 4433 w 10785"/>
                  <a:gd name="connsiteY1490" fmla="*/ 855 h 10000"/>
                  <a:gd name="connsiteX1491" fmla="*/ 4433 w 10785"/>
                  <a:gd name="connsiteY1491" fmla="*/ 880 h 10000"/>
                  <a:gd name="connsiteX1492" fmla="*/ 4401 w 10785"/>
                  <a:gd name="connsiteY1492" fmla="*/ 855 h 10000"/>
                  <a:gd name="connsiteX1493" fmla="*/ 4396 w 10785"/>
                  <a:gd name="connsiteY1493" fmla="*/ 872 h 10000"/>
                  <a:gd name="connsiteX1494" fmla="*/ 4382 w 10785"/>
                  <a:gd name="connsiteY1494" fmla="*/ 897 h 10000"/>
                  <a:gd name="connsiteX1495" fmla="*/ 4373 w 10785"/>
                  <a:gd name="connsiteY1495" fmla="*/ 872 h 10000"/>
                  <a:gd name="connsiteX1496" fmla="*/ 4341 w 10785"/>
                  <a:gd name="connsiteY1496" fmla="*/ 872 h 10000"/>
                  <a:gd name="connsiteX1497" fmla="*/ 4336 w 10785"/>
                  <a:gd name="connsiteY1497" fmla="*/ 880 h 10000"/>
                  <a:gd name="connsiteX1498" fmla="*/ 4346 w 10785"/>
                  <a:gd name="connsiteY1498" fmla="*/ 897 h 10000"/>
                  <a:gd name="connsiteX1499" fmla="*/ 4346 w 10785"/>
                  <a:gd name="connsiteY1499" fmla="*/ 897 h 10000"/>
                  <a:gd name="connsiteX1500" fmla="*/ 4313 w 10785"/>
                  <a:gd name="connsiteY1500" fmla="*/ 906 h 10000"/>
                  <a:gd name="connsiteX1501" fmla="*/ 4313 w 10785"/>
                  <a:gd name="connsiteY1501" fmla="*/ 906 h 10000"/>
                  <a:gd name="connsiteX1502" fmla="*/ 4313 w 10785"/>
                  <a:gd name="connsiteY1502" fmla="*/ 880 h 10000"/>
                  <a:gd name="connsiteX1503" fmla="*/ 4309 w 10785"/>
                  <a:gd name="connsiteY1503" fmla="*/ 897 h 10000"/>
                  <a:gd name="connsiteX1504" fmla="*/ 4295 w 10785"/>
                  <a:gd name="connsiteY1504" fmla="*/ 923 h 10000"/>
                  <a:gd name="connsiteX1505" fmla="*/ 4286 w 10785"/>
                  <a:gd name="connsiteY1505" fmla="*/ 897 h 10000"/>
                  <a:gd name="connsiteX1506" fmla="*/ 4281 w 10785"/>
                  <a:gd name="connsiteY1506" fmla="*/ 906 h 10000"/>
                  <a:gd name="connsiteX1507" fmla="*/ 4281 w 10785"/>
                  <a:gd name="connsiteY1507" fmla="*/ 940 h 10000"/>
                  <a:gd name="connsiteX1508" fmla="*/ 4286 w 10785"/>
                  <a:gd name="connsiteY1508" fmla="*/ 957 h 10000"/>
                  <a:gd name="connsiteX1509" fmla="*/ 4309 w 10785"/>
                  <a:gd name="connsiteY1509" fmla="*/ 932 h 10000"/>
                  <a:gd name="connsiteX1510" fmla="*/ 4313 w 10785"/>
                  <a:gd name="connsiteY1510" fmla="*/ 957 h 10000"/>
                  <a:gd name="connsiteX1511" fmla="*/ 4313 w 10785"/>
                  <a:gd name="connsiteY1511" fmla="*/ 966 h 10000"/>
                  <a:gd name="connsiteX1512" fmla="*/ 4323 w 10785"/>
                  <a:gd name="connsiteY1512" fmla="*/ 966 h 10000"/>
                  <a:gd name="connsiteX1513" fmla="*/ 4323 w 10785"/>
                  <a:gd name="connsiteY1513" fmla="*/ 940 h 10000"/>
                  <a:gd name="connsiteX1514" fmla="*/ 4327 w 10785"/>
                  <a:gd name="connsiteY1514" fmla="*/ 940 h 10000"/>
                  <a:gd name="connsiteX1515" fmla="*/ 4327 w 10785"/>
                  <a:gd name="connsiteY1515" fmla="*/ 957 h 10000"/>
                  <a:gd name="connsiteX1516" fmla="*/ 4327 w 10785"/>
                  <a:gd name="connsiteY1516" fmla="*/ 966 h 10000"/>
                  <a:gd name="connsiteX1517" fmla="*/ 4323 w 10785"/>
                  <a:gd name="connsiteY1517" fmla="*/ 991 h 10000"/>
                  <a:gd name="connsiteX1518" fmla="*/ 4207 w 10785"/>
                  <a:gd name="connsiteY1518" fmla="*/ 1060 h 10000"/>
                  <a:gd name="connsiteX1519" fmla="*/ 4207 w 10785"/>
                  <a:gd name="connsiteY1519" fmla="*/ 1060 h 10000"/>
                  <a:gd name="connsiteX1520" fmla="*/ 4203 w 10785"/>
                  <a:gd name="connsiteY1520" fmla="*/ 1068 h 10000"/>
                  <a:gd name="connsiteX1521" fmla="*/ 4203 w 10785"/>
                  <a:gd name="connsiteY1521" fmla="*/ 1094 h 10000"/>
                  <a:gd name="connsiteX1522" fmla="*/ 4203 w 10785"/>
                  <a:gd name="connsiteY1522" fmla="*/ 1094 h 10000"/>
                  <a:gd name="connsiteX1523" fmla="*/ 4189 w 10785"/>
                  <a:gd name="connsiteY1523" fmla="*/ 1094 h 10000"/>
                  <a:gd name="connsiteX1524" fmla="*/ 4166 w 10785"/>
                  <a:gd name="connsiteY1524" fmla="*/ 1103 h 10000"/>
                  <a:gd name="connsiteX1525" fmla="*/ 4152 w 10785"/>
                  <a:gd name="connsiteY1525" fmla="*/ 1094 h 10000"/>
                  <a:gd name="connsiteX1526" fmla="*/ 4134 w 10785"/>
                  <a:gd name="connsiteY1526" fmla="*/ 1120 h 10000"/>
                  <a:gd name="connsiteX1527" fmla="*/ 4106 w 10785"/>
                  <a:gd name="connsiteY1527" fmla="*/ 1120 h 10000"/>
                  <a:gd name="connsiteX1528" fmla="*/ 4092 w 10785"/>
                  <a:gd name="connsiteY1528" fmla="*/ 1154 h 10000"/>
                  <a:gd name="connsiteX1529" fmla="*/ 4106 w 10785"/>
                  <a:gd name="connsiteY1529" fmla="*/ 1171 h 10000"/>
                  <a:gd name="connsiteX1530" fmla="*/ 4078 w 10785"/>
                  <a:gd name="connsiteY1530" fmla="*/ 1179 h 10000"/>
                  <a:gd name="connsiteX1531" fmla="*/ 4065 w 10785"/>
                  <a:gd name="connsiteY1531" fmla="*/ 1205 h 10000"/>
                  <a:gd name="connsiteX1532" fmla="*/ 4046 w 10785"/>
                  <a:gd name="connsiteY1532" fmla="*/ 1179 h 10000"/>
                  <a:gd name="connsiteX1533" fmla="*/ 4041 w 10785"/>
                  <a:gd name="connsiteY1533" fmla="*/ 1197 h 10000"/>
                  <a:gd name="connsiteX1534" fmla="*/ 4028 w 10785"/>
                  <a:gd name="connsiteY1534" fmla="*/ 1205 h 10000"/>
                  <a:gd name="connsiteX1535" fmla="*/ 4028 w 10785"/>
                  <a:gd name="connsiteY1535" fmla="*/ 1205 h 10000"/>
                  <a:gd name="connsiteX1536" fmla="*/ 4032 w 10785"/>
                  <a:gd name="connsiteY1536" fmla="*/ 1205 h 10000"/>
                  <a:gd name="connsiteX1537" fmla="*/ 4032 w 10785"/>
                  <a:gd name="connsiteY1537" fmla="*/ 1231 h 10000"/>
                  <a:gd name="connsiteX1538" fmla="*/ 4014 w 10785"/>
                  <a:gd name="connsiteY1538" fmla="*/ 1239 h 10000"/>
                  <a:gd name="connsiteX1539" fmla="*/ 4014 w 10785"/>
                  <a:gd name="connsiteY1539" fmla="*/ 1256 h 10000"/>
                  <a:gd name="connsiteX1540" fmla="*/ 4000 w 10785"/>
                  <a:gd name="connsiteY1540" fmla="*/ 1265 h 10000"/>
                  <a:gd name="connsiteX1541" fmla="*/ 3986 w 10785"/>
                  <a:gd name="connsiteY1541" fmla="*/ 1308 h 10000"/>
                  <a:gd name="connsiteX1542" fmla="*/ 3972 w 10785"/>
                  <a:gd name="connsiteY1542" fmla="*/ 1316 h 10000"/>
                  <a:gd name="connsiteX1543" fmla="*/ 3972 w 10785"/>
                  <a:gd name="connsiteY1543" fmla="*/ 1325 h 10000"/>
                  <a:gd name="connsiteX1544" fmla="*/ 3972 w 10785"/>
                  <a:gd name="connsiteY1544" fmla="*/ 1342 h 10000"/>
                  <a:gd name="connsiteX1545" fmla="*/ 3968 w 10785"/>
                  <a:gd name="connsiteY1545" fmla="*/ 1350 h 10000"/>
                  <a:gd name="connsiteX1546" fmla="*/ 3954 w 10785"/>
                  <a:gd name="connsiteY1546" fmla="*/ 1368 h 10000"/>
                  <a:gd name="connsiteX1547" fmla="*/ 3945 w 10785"/>
                  <a:gd name="connsiteY1547" fmla="*/ 1350 h 10000"/>
                  <a:gd name="connsiteX1548" fmla="*/ 3908 w 10785"/>
                  <a:gd name="connsiteY1548" fmla="*/ 1342 h 10000"/>
                  <a:gd name="connsiteX1549" fmla="*/ 3894 w 10785"/>
                  <a:gd name="connsiteY1549" fmla="*/ 1368 h 10000"/>
                  <a:gd name="connsiteX1550" fmla="*/ 3922 w 10785"/>
                  <a:gd name="connsiteY1550" fmla="*/ 1393 h 10000"/>
                  <a:gd name="connsiteX1551" fmla="*/ 3945 w 10785"/>
                  <a:gd name="connsiteY1551" fmla="*/ 1393 h 10000"/>
                  <a:gd name="connsiteX1552" fmla="*/ 3940 w 10785"/>
                  <a:gd name="connsiteY1552" fmla="*/ 1419 h 10000"/>
                  <a:gd name="connsiteX1553" fmla="*/ 3931 w 10785"/>
                  <a:gd name="connsiteY1553" fmla="*/ 1427 h 10000"/>
                  <a:gd name="connsiteX1554" fmla="*/ 3926 w 10785"/>
                  <a:gd name="connsiteY1554" fmla="*/ 1427 h 10000"/>
                  <a:gd name="connsiteX1555" fmla="*/ 3922 w 10785"/>
                  <a:gd name="connsiteY1555" fmla="*/ 1419 h 10000"/>
                  <a:gd name="connsiteX1556" fmla="*/ 3912 w 10785"/>
                  <a:gd name="connsiteY1556" fmla="*/ 1427 h 10000"/>
                  <a:gd name="connsiteX1557" fmla="*/ 3912 w 10785"/>
                  <a:gd name="connsiteY1557" fmla="*/ 1444 h 10000"/>
                  <a:gd name="connsiteX1558" fmla="*/ 3894 w 10785"/>
                  <a:gd name="connsiteY1558" fmla="*/ 1513 h 10000"/>
                  <a:gd name="connsiteX1559" fmla="*/ 3885 w 10785"/>
                  <a:gd name="connsiteY1559" fmla="*/ 1513 h 10000"/>
                  <a:gd name="connsiteX1560" fmla="*/ 3880 w 10785"/>
                  <a:gd name="connsiteY1560" fmla="*/ 1538 h 10000"/>
                  <a:gd name="connsiteX1561" fmla="*/ 3885 w 10785"/>
                  <a:gd name="connsiteY1561" fmla="*/ 1564 h 10000"/>
                  <a:gd name="connsiteX1562" fmla="*/ 3880 w 10785"/>
                  <a:gd name="connsiteY1562" fmla="*/ 1581 h 10000"/>
                  <a:gd name="connsiteX1563" fmla="*/ 3871 w 10785"/>
                  <a:gd name="connsiteY1563" fmla="*/ 1538 h 10000"/>
                  <a:gd name="connsiteX1564" fmla="*/ 3853 w 10785"/>
                  <a:gd name="connsiteY1564" fmla="*/ 1530 h 10000"/>
                  <a:gd name="connsiteX1565" fmla="*/ 3853 w 10785"/>
                  <a:gd name="connsiteY1565" fmla="*/ 1504 h 10000"/>
                  <a:gd name="connsiteX1566" fmla="*/ 3834 w 10785"/>
                  <a:gd name="connsiteY1566" fmla="*/ 1487 h 10000"/>
                  <a:gd name="connsiteX1567" fmla="*/ 3834 w 10785"/>
                  <a:gd name="connsiteY1567" fmla="*/ 1487 h 10000"/>
                  <a:gd name="connsiteX1568" fmla="*/ 3839 w 10785"/>
                  <a:gd name="connsiteY1568" fmla="*/ 1513 h 10000"/>
                  <a:gd name="connsiteX1569" fmla="*/ 3820 w 10785"/>
                  <a:gd name="connsiteY1569" fmla="*/ 1538 h 10000"/>
                  <a:gd name="connsiteX1570" fmla="*/ 3820 w 10785"/>
                  <a:gd name="connsiteY1570" fmla="*/ 1556 h 10000"/>
                  <a:gd name="connsiteX1571" fmla="*/ 3820 w 10785"/>
                  <a:gd name="connsiteY1571" fmla="*/ 1564 h 10000"/>
                  <a:gd name="connsiteX1572" fmla="*/ 3820 w 10785"/>
                  <a:gd name="connsiteY1572" fmla="*/ 1581 h 10000"/>
                  <a:gd name="connsiteX1573" fmla="*/ 3853 w 10785"/>
                  <a:gd name="connsiteY1573" fmla="*/ 1581 h 10000"/>
                  <a:gd name="connsiteX1574" fmla="*/ 3857 w 10785"/>
                  <a:gd name="connsiteY1574" fmla="*/ 1598 h 10000"/>
                  <a:gd name="connsiteX1575" fmla="*/ 3880 w 10785"/>
                  <a:gd name="connsiteY1575" fmla="*/ 1615 h 10000"/>
                  <a:gd name="connsiteX1576" fmla="*/ 3871 w 10785"/>
                  <a:gd name="connsiteY1576" fmla="*/ 1615 h 10000"/>
                  <a:gd name="connsiteX1577" fmla="*/ 3871 w 10785"/>
                  <a:gd name="connsiteY1577" fmla="*/ 1641 h 10000"/>
                  <a:gd name="connsiteX1578" fmla="*/ 3880 w 10785"/>
                  <a:gd name="connsiteY1578" fmla="*/ 1641 h 10000"/>
                  <a:gd name="connsiteX1579" fmla="*/ 3871 w 10785"/>
                  <a:gd name="connsiteY1579" fmla="*/ 1650 h 10000"/>
                  <a:gd name="connsiteX1580" fmla="*/ 3857 w 10785"/>
                  <a:gd name="connsiteY1580" fmla="*/ 1650 h 10000"/>
                  <a:gd name="connsiteX1581" fmla="*/ 3853 w 10785"/>
                  <a:gd name="connsiteY1581" fmla="*/ 1650 h 10000"/>
                  <a:gd name="connsiteX1582" fmla="*/ 3839 w 10785"/>
                  <a:gd name="connsiteY1582" fmla="*/ 1667 h 10000"/>
                  <a:gd name="connsiteX1583" fmla="*/ 3848 w 10785"/>
                  <a:gd name="connsiteY1583" fmla="*/ 1692 h 10000"/>
                  <a:gd name="connsiteX1584" fmla="*/ 3834 w 10785"/>
                  <a:gd name="connsiteY1584" fmla="*/ 1692 h 10000"/>
                  <a:gd name="connsiteX1585" fmla="*/ 3825 w 10785"/>
                  <a:gd name="connsiteY1585" fmla="*/ 1692 h 10000"/>
                  <a:gd name="connsiteX1586" fmla="*/ 3825 w 10785"/>
                  <a:gd name="connsiteY1586" fmla="*/ 1718 h 10000"/>
                  <a:gd name="connsiteX1587" fmla="*/ 3839 w 10785"/>
                  <a:gd name="connsiteY1587" fmla="*/ 1726 h 10000"/>
                  <a:gd name="connsiteX1588" fmla="*/ 3880 w 10785"/>
                  <a:gd name="connsiteY1588" fmla="*/ 1752 h 10000"/>
                  <a:gd name="connsiteX1589" fmla="*/ 3894 w 10785"/>
                  <a:gd name="connsiteY1589" fmla="*/ 1829 h 10000"/>
                  <a:gd name="connsiteX1590" fmla="*/ 3899 w 10785"/>
                  <a:gd name="connsiteY1590" fmla="*/ 1838 h 10000"/>
                  <a:gd name="connsiteX1591" fmla="*/ 3894 w 10785"/>
                  <a:gd name="connsiteY1591" fmla="*/ 1855 h 10000"/>
                  <a:gd name="connsiteX1592" fmla="*/ 3880 w 10785"/>
                  <a:gd name="connsiteY1592" fmla="*/ 1838 h 10000"/>
                  <a:gd name="connsiteX1593" fmla="*/ 3880 w 10785"/>
                  <a:gd name="connsiteY1593" fmla="*/ 1855 h 10000"/>
                  <a:gd name="connsiteX1594" fmla="*/ 3880 w 10785"/>
                  <a:gd name="connsiteY1594" fmla="*/ 1863 h 10000"/>
                  <a:gd name="connsiteX1595" fmla="*/ 3871 w 10785"/>
                  <a:gd name="connsiteY1595" fmla="*/ 1872 h 10000"/>
                  <a:gd name="connsiteX1596" fmla="*/ 3880 w 10785"/>
                  <a:gd name="connsiteY1596" fmla="*/ 1889 h 10000"/>
                  <a:gd name="connsiteX1597" fmla="*/ 3885 w 10785"/>
                  <a:gd name="connsiteY1597" fmla="*/ 1889 h 10000"/>
                  <a:gd name="connsiteX1598" fmla="*/ 3880 w 10785"/>
                  <a:gd name="connsiteY1598" fmla="*/ 1897 h 10000"/>
                  <a:gd name="connsiteX1599" fmla="*/ 3871 w 10785"/>
                  <a:gd name="connsiteY1599" fmla="*/ 1915 h 10000"/>
                  <a:gd name="connsiteX1600" fmla="*/ 3848 w 10785"/>
                  <a:gd name="connsiteY1600" fmla="*/ 1923 h 10000"/>
                  <a:gd name="connsiteX1601" fmla="*/ 3825 w 10785"/>
                  <a:gd name="connsiteY1601" fmla="*/ 1940 h 10000"/>
                  <a:gd name="connsiteX1602" fmla="*/ 3811 w 10785"/>
                  <a:gd name="connsiteY1602" fmla="*/ 1940 h 10000"/>
                  <a:gd name="connsiteX1603" fmla="*/ 3806 w 10785"/>
                  <a:gd name="connsiteY1603" fmla="*/ 1949 h 10000"/>
                  <a:gd name="connsiteX1604" fmla="*/ 3797 w 10785"/>
                  <a:gd name="connsiteY1604" fmla="*/ 1966 h 10000"/>
                  <a:gd name="connsiteX1605" fmla="*/ 3788 w 10785"/>
                  <a:gd name="connsiteY1605" fmla="*/ 1991 h 10000"/>
                  <a:gd name="connsiteX1606" fmla="*/ 3765 w 10785"/>
                  <a:gd name="connsiteY1606" fmla="*/ 1974 h 10000"/>
                  <a:gd name="connsiteX1607" fmla="*/ 3760 w 10785"/>
                  <a:gd name="connsiteY1607" fmla="*/ 1966 h 10000"/>
                  <a:gd name="connsiteX1608" fmla="*/ 3760 w 10785"/>
                  <a:gd name="connsiteY1608" fmla="*/ 1966 h 10000"/>
                  <a:gd name="connsiteX1609" fmla="*/ 3631 w 10785"/>
                  <a:gd name="connsiteY1609" fmla="*/ 2009 h 10000"/>
                  <a:gd name="connsiteX1610" fmla="*/ 3618 w 10785"/>
                  <a:gd name="connsiteY1610" fmla="*/ 2000 h 10000"/>
                  <a:gd name="connsiteX1611" fmla="*/ 3599 w 10785"/>
                  <a:gd name="connsiteY1611" fmla="*/ 2009 h 10000"/>
                  <a:gd name="connsiteX1612" fmla="*/ 3571 w 10785"/>
                  <a:gd name="connsiteY1612" fmla="*/ 2000 h 10000"/>
                  <a:gd name="connsiteX1613" fmla="*/ 3530 w 10785"/>
                  <a:gd name="connsiteY1613" fmla="*/ 2026 h 10000"/>
                  <a:gd name="connsiteX1614" fmla="*/ 3530 w 10785"/>
                  <a:gd name="connsiteY1614" fmla="*/ 2034 h 10000"/>
                  <a:gd name="connsiteX1615" fmla="*/ 3525 w 10785"/>
                  <a:gd name="connsiteY1615" fmla="*/ 2051 h 10000"/>
                  <a:gd name="connsiteX1616" fmla="*/ 3512 w 10785"/>
                  <a:gd name="connsiteY1616" fmla="*/ 2034 h 10000"/>
                  <a:gd name="connsiteX1617" fmla="*/ 3507 w 10785"/>
                  <a:gd name="connsiteY1617" fmla="*/ 2034 h 10000"/>
                  <a:gd name="connsiteX1618" fmla="*/ 3498 w 10785"/>
                  <a:gd name="connsiteY1618" fmla="*/ 2051 h 10000"/>
                  <a:gd name="connsiteX1619" fmla="*/ 3484 w 10785"/>
                  <a:gd name="connsiteY1619" fmla="*/ 2060 h 10000"/>
                  <a:gd name="connsiteX1620" fmla="*/ 3484 w 10785"/>
                  <a:gd name="connsiteY1620" fmla="*/ 2085 h 10000"/>
                  <a:gd name="connsiteX1621" fmla="*/ 3484 w 10785"/>
                  <a:gd name="connsiteY1621" fmla="*/ 2103 h 10000"/>
                  <a:gd name="connsiteX1622" fmla="*/ 3493 w 10785"/>
                  <a:gd name="connsiteY1622" fmla="*/ 2103 h 10000"/>
                  <a:gd name="connsiteX1623" fmla="*/ 3493 w 10785"/>
                  <a:gd name="connsiteY1623" fmla="*/ 2085 h 10000"/>
                  <a:gd name="connsiteX1624" fmla="*/ 3498 w 10785"/>
                  <a:gd name="connsiteY1624" fmla="*/ 2085 h 10000"/>
                  <a:gd name="connsiteX1625" fmla="*/ 3498 w 10785"/>
                  <a:gd name="connsiteY1625" fmla="*/ 2111 h 10000"/>
                  <a:gd name="connsiteX1626" fmla="*/ 3484 w 10785"/>
                  <a:gd name="connsiteY1626" fmla="*/ 2120 h 10000"/>
                  <a:gd name="connsiteX1627" fmla="*/ 3484 w 10785"/>
                  <a:gd name="connsiteY1627" fmla="*/ 2145 h 10000"/>
                  <a:gd name="connsiteX1628" fmla="*/ 3470 w 10785"/>
                  <a:gd name="connsiteY1628" fmla="*/ 2137 h 10000"/>
                  <a:gd name="connsiteX1629" fmla="*/ 3465 w 10785"/>
                  <a:gd name="connsiteY1629" fmla="*/ 2145 h 10000"/>
                  <a:gd name="connsiteX1630" fmla="*/ 3470 w 10785"/>
                  <a:gd name="connsiteY1630" fmla="*/ 2171 h 10000"/>
                  <a:gd name="connsiteX1631" fmla="*/ 3484 w 10785"/>
                  <a:gd name="connsiteY1631" fmla="*/ 2171 h 10000"/>
                  <a:gd name="connsiteX1632" fmla="*/ 3484 w 10785"/>
                  <a:gd name="connsiteY1632" fmla="*/ 2197 h 10000"/>
                  <a:gd name="connsiteX1633" fmla="*/ 3465 w 10785"/>
                  <a:gd name="connsiteY1633" fmla="*/ 2214 h 10000"/>
                  <a:gd name="connsiteX1634" fmla="*/ 3493 w 10785"/>
                  <a:gd name="connsiteY1634" fmla="*/ 2248 h 10000"/>
                  <a:gd name="connsiteX1635" fmla="*/ 3484 w 10785"/>
                  <a:gd name="connsiteY1635" fmla="*/ 2256 h 10000"/>
                  <a:gd name="connsiteX1636" fmla="*/ 3498 w 10785"/>
                  <a:gd name="connsiteY1636" fmla="*/ 2274 h 10000"/>
                  <a:gd name="connsiteX1637" fmla="*/ 3498 w 10785"/>
                  <a:gd name="connsiteY1637" fmla="*/ 2256 h 10000"/>
                  <a:gd name="connsiteX1638" fmla="*/ 3507 w 10785"/>
                  <a:gd name="connsiteY1638" fmla="*/ 2308 h 10000"/>
                  <a:gd name="connsiteX1639" fmla="*/ 3512 w 10785"/>
                  <a:gd name="connsiteY1639" fmla="*/ 2325 h 10000"/>
                  <a:gd name="connsiteX1640" fmla="*/ 3507 w 10785"/>
                  <a:gd name="connsiteY1640" fmla="*/ 2333 h 10000"/>
                  <a:gd name="connsiteX1641" fmla="*/ 3507 w 10785"/>
                  <a:gd name="connsiteY1641" fmla="*/ 2359 h 10000"/>
                  <a:gd name="connsiteX1642" fmla="*/ 3507 w 10785"/>
                  <a:gd name="connsiteY1642" fmla="*/ 2376 h 10000"/>
                  <a:gd name="connsiteX1643" fmla="*/ 3498 w 10785"/>
                  <a:gd name="connsiteY1643" fmla="*/ 2410 h 10000"/>
                  <a:gd name="connsiteX1644" fmla="*/ 3498 w 10785"/>
                  <a:gd name="connsiteY1644" fmla="*/ 2436 h 10000"/>
                  <a:gd name="connsiteX1645" fmla="*/ 3507 w 10785"/>
                  <a:gd name="connsiteY1645" fmla="*/ 2462 h 10000"/>
                  <a:gd name="connsiteX1646" fmla="*/ 3507 w 10785"/>
                  <a:gd name="connsiteY1646" fmla="*/ 2496 h 10000"/>
                  <a:gd name="connsiteX1647" fmla="*/ 3512 w 10785"/>
                  <a:gd name="connsiteY1647" fmla="*/ 2521 h 10000"/>
                  <a:gd name="connsiteX1648" fmla="*/ 3525 w 10785"/>
                  <a:gd name="connsiteY1648" fmla="*/ 2556 h 10000"/>
                  <a:gd name="connsiteX1649" fmla="*/ 3571 w 10785"/>
                  <a:gd name="connsiteY1649" fmla="*/ 2573 h 10000"/>
                  <a:gd name="connsiteX1650" fmla="*/ 3590 w 10785"/>
                  <a:gd name="connsiteY1650" fmla="*/ 2598 h 10000"/>
                  <a:gd name="connsiteX1651" fmla="*/ 3599 w 10785"/>
                  <a:gd name="connsiteY1651" fmla="*/ 2598 h 10000"/>
                  <a:gd name="connsiteX1652" fmla="*/ 3604 w 10785"/>
                  <a:gd name="connsiteY1652" fmla="*/ 2632 h 10000"/>
                  <a:gd name="connsiteX1653" fmla="*/ 3599 w 10785"/>
                  <a:gd name="connsiteY1653" fmla="*/ 2658 h 10000"/>
                  <a:gd name="connsiteX1654" fmla="*/ 3590 w 10785"/>
                  <a:gd name="connsiteY1654" fmla="*/ 2667 h 10000"/>
                  <a:gd name="connsiteX1655" fmla="*/ 3604 w 10785"/>
                  <a:gd name="connsiteY1655" fmla="*/ 2667 h 10000"/>
                  <a:gd name="connsiteX1656" fmla="*/ 3613 w 10785"/>
                  <a:gd name="connsiteY1656" fmla="*/ 2692 h 10000"/>
                  <a:gd name="connsiteX1657" fmla="*/ 3627 w 10785"/>
                  <a:gd name="connsiteY1657" fmla="*/ 2735 h 10000"/>
                  <a:gd name="connsiteX1658" fmla="*/ 3631 w 10785"/>
                  <a:gd name="connsiteY1658" fmla="*/ 2744 h 10000"/>
                  <a:gd name="connsiteX1659" fmla="*/ 3659 w 10785"/>
                  <a:gd name="connsiteY1659" fmla="*/ 2761 h 10000"/>
                  <a:gd name="connsiteX1660" fmla="*/ 3673 w 10785"/>
                  <a:gd name="connsiteY1660" fmla="*/ 2769 h 10000"/>
                  <a:gd name="connsiteX1661" fmla="*/ 3673 w 10785"/>
                  <a:gd name="connsiteY1661" fmla="*/ 2761 h 10000"/>
                  <a:gd name="connsiteX1662" fmla="*/ 3687 w 10785"/>
                  <a:gd name="connsiteY1662" fmla="*/ 2829 h 10000"/>
                  <a:gd name="connsiteX1663" fmla="*/ 3677 w 10785"/>
                  <a:gd name="connsiteY1663" fmla="*/ 2897 h 10000"/>
                  <a:gd name="connsiteX1664" fmla="*/ 3673 w 10785"/>
                  <a:gd name="connsiteY1664" fmla="*/ 2915 h 10000"/>
                  <a:gd name="connsiteX1665" fmla="*/ 3664 w 10785"/>
                  <a:gd name="connsiteY1665" fmla="*/ 2957 h 10000"/>
                  <a:gd name="connsiteX1666" fmla="*/ 3659 w 10785"/>
                  <a:gd name="connsiteY1666" fmla="*/ 2983 h 10000"/>
                  <a:gd name="connsiteX1667" fmla="*/ 3664 w 10785"/>
                  <a:gd name="connsiteY1667" fmla="*/ 3017 h 10000"/>
                  <a:gd name="connsiteX1668" fmla="*/ 3659 w 10785"/>
                  <a:gd name="connsiteY1668" fmla="*/ 3043 h 10000"/>
                  <a:gd name="connsiteX1669" fmla="*/ 3677 w 10785"/>
                  <a:gd name="connsiteY1669" fmla="*/ 3094 h 10000"/>
                  <a:gd name="connsiteX1670" fmla="*/ 3691 w 10785"/>
                  <a:gd name="connsiteY1670" fmla="*/ 3282 h 10000"/>
                  <a:gd name="connsiteX1671" fmla="*/ 3691 w 10785"/>
                  <a:gd name="connsiteY1671" fmla="*/ 3308 h 10000"/>
                  <a:gd name="connsiteX1672" fmla="*/ 3677 w 10785"/>
                  <a:gd name="connsiteY1672" fmla="*/ 3342 h 10000"/>
                  <a:gd name="connsiteX1673" fmla="*/ 3664 w 10785"/>
                  <a:gd name="connsiteY1673" fmla="*/ 3342 h 10000"/>
                  <a:gd name="connsiteX1674" fmla="*/ 3650 w 10785"/>
                  <a:gd name="connsiteY1674" fmla="*/ 3342 h 10000"/>
                  <a:gd name="connsiteX1675" fmla="*/ 3650 w 10785"/>
                  <a:gd name="connsiteY1675" fmla="*/ 3350 h 10000"/>
                  <a:gd name="connsiteX1676" fmla="*/ 3659 w 10785"/>
                  <a:gd name="connsiteY1676" fmla="*/ 3402 h 10000"/>
                  <a:gd name="connsiteX1677" fmla="*/ 3659 w 10785"/>
                  <a:gd name="connsiteY1677" fmla="*/ 3419 h 10000"/>
                  <a:gd name="connsiteX1678" fmla="*/ 3631 w 10785"/>
                  <a:gd name="connsiteY1678" fmla="*/ 3402 h 10000"/>
                  <a:gd name="connsiteX1679" fmla="*/ 3604 w 10785"/>
                  <a:gd name="connsiteY1679" fmla="*/ 3393 h 10000"/>
                  <a:gd name="connsiteX1680" fmla="*/ 3599 w 10785"/>
                  <a:gd name="connsiteY1680" fmla="*/ 3368 h 10000"/>
                  <a:gd name="connsiteX1681" fmla="*/ 3590 w 10785"/>
                  <a:gd name="connsiteY1681" fmla="*/ 3239 h 10000"/>
                  <a:gd name="connsiteX1682" fmla="*/ 3599 w 10785"/>
                  <a:gd name="connsiteY1682" fmla="*/ 3179 h 10000"/>
                  <a:gd name="connsiteX1683" fmla="*/ 3599 w 10785"/>
                  <a:gd name="connsiteY1683" fmla="*/ 3171 h 10000"/>
                  <a:gd name="connsiteX1684" fmla="*/ 3599 w 10785"/>
                  <a:gd name="connsiteY1684" fmla="*/ 3009 h 10000"/>
                  <a:gd name="connsiteX1685" fmla="*/ 3604 w 10785"/>
                  <a:gd name="connsiteY1685" fmla="*/ 2983 h 10000"/>
                  <a:gd name="connsiteX1686" fmla="*/ 3645 w 10785"/>
                  <a:gd name="connsiteY1686" fmla="*/ 2932 h 10000"/>
                  <a:gd name="connsiteX1687" fmla="*/ 3650 w 10785"/>
                  <a:gd name="connsiteY1687" fmla="*/ 2872 h 10000"/>
                  <a:gd name="connsiteX1688" fmla="*/ 3659 w 10785"/>
                  <a:gd name="connsiteY1688" fmla="*/ 2855 h 10000"/>
                  <a:gd name="connsiteX1689" fmla="*/ 3659 w 10785"/>
                  <a:gd name="connsiteY1689" fmla="*/ 2821 h 10000"/>
                  <a:gd name="connsiteX1690" fmla="*/ 3631 w 10785"/>
                  <a:gd name="connsiteY1690" fmla="*/ 2795 h 10000"/>
                  <a:gd name="connsiteX1691" fmla="*/ 3567 w 10785"/>
                  <a:gd name="connsiteY1691" fmla="*/ 2821 h 10000"/>
                  <a:gd name="connsiteX1692" fmla="*/ 3544 w 10785"/>
                  <a:gd name="connsiteY1692" fmla="*/ 2795 h 10000"/>
                  <a:gd name="connsiteX1693" fmla="*/ 3530 w 10785"/>
                  <a:gd name="connsiteY1693" fmla="*/ 2769 h 10000"/>
                  <a:gd name="connsiteX1694" fmla="*/ 3530 w 10785"/>
                  <a:gd name="connsiteY1694" fmla="*/ 2786 h 10000"/>
                  <a:gd name="connsiteX1695" fmla="*/ 3498 w 10785"/>
                  <a:gd name="connsiteY1695" fmla="*/ 2692 h 10000"/>
                  <a:gd name="connsiteX1696" fmla="*/ 3498 w 10785"/>
                  <a:gd name="connsiteY1696" fmla="*/ 2667 h 10000"/>
                  <a:gd name="connsiteX1697" fmla="*/ 3442 w 10785"/>
                  <a:gd name="connsiteY1697" fmla="*/ 2607 h 10000"/>
                  <a:gd name="connsiteX1698" fmla="*/ 3433 w 10785"/>
                  <a:gd name="connsiteY1698" fmla="*/ 2581 h 10000"/>
                  <a:gd name="connsiteX1699" fmla="*/ 3396 w 10785"/>
                  <a:gd name="connsiteY1699" fmla="*/ 2556 h 10000"/>
                  <a:gd name="connsiteX1700" fmla="*/ 3318 w 10785"/>
                  <a:gd name="connsiteY1700" fmla="*/ 2556 h 10000"/>
                  <a:gd name="connsiteX1701" fmla="*/ 3304 w 10785"/>
                  <a:gd name="connsiteY1701" fmla="*/ 2607 h 10000"/>
                  <a:gd name="connsiteX1702" fmla="*/ 3276 w 10785"/>
                  <a:gd name="connsiteY1702" fmla="*/ 2632 h 10000"/>
                  <a:gd name="connsiteX1703" fmla="*/ 3272 w 10785"/>
                  <a:gd name="connsiteY1703" fmla="*/ 2667 h 10000"/>
                  <a:gd name="connsiteX1704" fmla="*/ 3304 w 10785"/>
                  <a:gd name="connsiteY1704" fmla="*/ 2667 h 10000"/>
                  <a:gd name="connsiteX1705" fmla="*/ 3323 w 10785"/>
                  <a:gd name="connsiteY1705" fmla="*/ 2692 h 10000"/>
                  <a:gd name="connsiteX1706" fmla="*/ 3318 w 10785"/>
                  <a:gd name="connsiteY1706" fmla="*/ 2735 h 10000"/>
                  <a:gd name="connsiteX1707" fmla="*/ 3304 w 10785"/>
                  <a:gd name="connsiteY1707" fmla="*/ 2761 h 10000"/>
                  <a:gd name="connsiteX1708" fmla="*/ 3276 w 10785"/>
                  <a:gd name="connsiteY1708" fmla="*/ 2769 h 10000"/>
                  <a:gd name="connsiteX1709" fmla="*/ 3263 w 10785"/>
                  <a:gd name="connsiteY1709" fmla="*/ 2795 h 10000"/>
                  <a:gd name="connsiteX1710" fmla="*/ 3235 w 10785"/>
                  <a:gd name="connsiteY1710" fmla="*/ 2803 h 10000"/>
                  <a:gd name="connsiteX1711" fmla="*/ 3235 w 10785"/>
                  <a:gd name="connsiteY1711" fmla="*/ 2786 h 10000"/>
                  <a:gd name="connsiteX1712" fmla="*/ 3212 w 10785"/>
                  <a:gd name="connsiteY1712" fmla="*/ 2709 h 10000"/>
                  <a:gd name="connsiteX1713" fmla="*/ 3198 w 10785"/>
                  <a:gd name="connsiteY1713" fmla="*/ 2709 h 10000"/>
                  <a:gd name="connsiteX1714" fmla="*/ 3184 w 10785"/>
                  <a:gd name="connsiteY1714" fmla="*/ 2735 h 10000"/>
                  <a:gd name="connsiteX1715" fmla="*/ 3189 w 10785"/>
                  <a:gd name="connsiteY1715" fmla="*/ 2761 h 10000"/>
                  <a:gd name="connsiteX1716" fmla="*/ 3203 w 10785"/>
                  <a:gd name="connsiteY1716" fmla="*/ 2855 h 10000"/>
                  <a:gd name="connsiteX1717" fmla="*/ 3212 w 10785"/>
                  <a:gd name="connsiteY1717" fmla="*/ 2872 h 10000"/>
                  <a:gd name="connsiteX1718" fmla="*/ 3235 w 10785"/>
                  <a:gd name="connsiteY1718" fmla="*/ 2906 h 10000"/>
                  <a:gd name="connsiteX1719" fmla="*/ 3258 w 10785"/>
                  <a:gd name="connsiteY1719" fmla="*/ 2915 h 10000"/>
                  <a:gd name="connsiteX1720" fmla="*/ 3272 w 10785"/>
                  <a:gd name="connsiteY1720" fmla="*/ 2957 h 10000"/>
                  <a:gd name="connsiteX1721" fmla="*/ 3276 w 10785"/>
                  <a:gd name="connsiteY1721" fmla="*/ 2957 h 10000"/>
                  <a:gd name="connsiteX1722" fmla="*/ 3286 w 10785"/>
                  <a:gd name="connsiteY1722" fmla="*/ 2966 h 10000"/>
                  <a:gd name="connsiteX1723" fmla="*/ 3300 w 10785"/>
                  <a:gd name="connsiteY1723" fmla="*/ 2957 h 10000"/>
                  <a:gd name="connsiteX1724" fmla="*/ 3309 w 10785"/>
                  <a:gd name="connsiteY1724" fmla="*/ 2932 h 10000"/>
                  <a:gd name="connsiteX1725" fmla="*/ 3304 w 10785"/>
                  <a:gd name="connsiteY1725" fmla="*/ 2966 h 10000"/>
                  <a:gd name="connsiteX1726" fmla="*/ 3309 w 10785"/>
                  <a:gd name="connsiteY1726" fmla="*/ 2983 h 10000"/>
                  <a:gd name="connsiteX1727" fmla="*/ 3323 w 10785"/>
                  <a:gd name="connsiteY1727" fmla="*/ 2966 h 10000"/>
                  <a:gd name="connsiteX1728" fmla="*/ 3323 w 10785"/>
                  <a:gd name="connsiteY1728" fmla="*/ 3043 h 10000"/>
                  <a:gd name="connsiteX1729" fmla="*/ 3346 w 10785"/>
                  <a:gd name="connsiteY1729" fmla="*/ 3068 h 10000"/>
                  <a:gd name="connsiteX1730" fmla="*/ 3346 w 10785"/>
                  <a:gd name="connsiteY1730" fmla="*/ 3094 h 10000"/>
                  <a:gd name="connsiteX1731" fmla="*/ 3323 w 10785"/>
                  <a:gd name="connsiteY1731" fmla="*/ 3094 h 10000"/>
                  <a:gd name="connsiteX1732" fmla="*/ 3309 w 10785"/>
                  <a:gd name="connsiteY1732" fmla="*/ 3077 h 10000"/>
                  <a:gd name="connsiteX1733" fmla="*/ 3304 w 10785"/>
                  <a:gd name="connsiteY1733" fmla="*/ 3051 h 10000"/>
                  <a:gd name="connsiteX1734" fmla="*/ 3300 w 10785"/>
                  <a:gd name="connsiteY1734" fmla="*/ 3043 h 10000"/>
                  <a:gd name="connsiteX1735" fmla="*/ 3286 w 10785"/>
                  <a:gd name="connsiteY1735" fmla="*/ 3017 h 10000"/>
                  <a:gd name="connsiteX1736" fmla="*/ 3152 w 10785"/>
                  <a:gd name="connsiteY1736" fmla="*/ 2966 h 10000"/>
                  <a:gd name="connsiteX1737" fmla="*/ 3129 w 10785"/>
                  <a:gd name="connsiteY1737" fmla="*/ 2915 h 10000"/>
                  <a:gd name="connsiteX1738" fmla="*/ 3129 w 10785"/>
                  <a:gd name="connsiteY1738" fmla="*/ 2906 h 10000"/>
                  <a:gd name="connsiteX1739" fmla="*/ 3152 w 10785"/>
                  <a:gd name="connsiteY1739" fmla="*/ 2906 h 10000"/>
                  <a:gd name="connsiteX1740" fmla="*/ 3152 w 10785"/>
                  <a:gd name="connsiteY1740" fmla="*/ 2846 h 10000"/>
                  <a:gd name="connsiteX1741" fmla="*/ 3138 w 10785"/>
                  <a:gd name="connsiteY1741" fmla="*/ 2795 h 10000"/>
                  <a:gd name="connsiteX1742" fmla="*/ 3138 w 10785"/>
                  <a:gd name="connsiteY1742" fmla="*/ 2769 h 10000"/>
                  <a:gd name="connsiteX1743" fmla="*/ 3143 w 10785"/>
                  <a:gd name="connsiteY1743" fmla="*/ 2718 h 10000"/>
                  <a:gd name="connsiteX1744" fmla="*/ 3129 w 10785"/>
                  <a:gd name="connsiteY1744" fmla="*/ 2692 h 10000"/>
                  <a:gd name="connsiteX1745" fmla="*/ 3143 w 10785"/>
                  <a:gd name="connsiteY1745" fmla="*/ 2667 h 10000"/>
                  <a:gd name="connsiteX1746" fmla="*/ 3157 w 10785"/>
                  <a:gd name="connsiteY1746" fmla="*/ 2581 h 10000"/>
                  <a:gd name="connsiteX1747" fmla="*/ 3143 w 10785"/>
                  <a:gd name="connsiteY1747" fmla="*/ 2496 h 10000"/>
                  <a:gd name="connsiteX1748" fmla="*/ 3157 w 10785"/>
                  <a:gd name="connsiteY1748" fmla="*/ 2487 h 10000"/>
                  <a:gd name="connsiteX1749" fmla="*/ 3143 w 10785"/>
                  <a:gd name="connsiteY1749" fmla="*/ 2444 h 10000"/>
                  <a:gd name="connsiteX1750" fmla="*/ 3143 w 10785"/>
                  <a:gd name="connsiteY1750" fmla="*/ 2419 h 10000"/>
                  <a:gd name="connsiteX1751" fmla="*/ 3143 w 10785"/>
                  <a:gd name="connsiteY1751" fmla="*/ 2410 h 10000"/>
                  <a:gd name="connsiteX1752" fmla="*/ 3124 w 10785"/>
                  <a:gd name="connsiteY1752" fmla="*/ 2376 h 10000"/>
                  <a:gd name="connsiteX1753" fmla="*/ 3115 w 10785"/>
                  <a:gd name="connsiteY1753" fmla="*/ 2350 h 10000"/>
                  <a:gd name="connsiteX1754" fmla="*/ 3101 w 10785"/>
                  <a:gd name="connsiteY1754" fmla="*/ 2359 h 10000"/>
                  <a:gd name="connsiteX1755" fmla="*/ 3115 w 10785"/>
                  <a:gd name="connsiteY1755" fmla="*/ 2581 h 10000"/>
                  <a:gd name="connsiteX1756" fmla="*/ 3111 w 10785"/>
                  <a:gd name="connsiteY1756" fmla="*/ 2624 h 10000"/>
                  <a:gd name="connsiteX1757" fmla="*/ 3009 w 10785"/>
                  <a:gd name="connsiteY1757" fmla="*/ 2761 h 10000"/>
                  <a:gd name="connsiteX1758" fmla="*/ 3009 w 10785"/>
                  <a:gd name="connsiteY1758" fmla="*/ 2803 h 10000"/>
                  <a:gd name="connsiteX1759" fmla="*/ 3005 w 10785"/>
                  <a:gd name="connsiteY1759" fmla="*/ 2829 h 10000"/>
                  <a:gd name="connsiteX1760" fmla="*/ 2982 w 10785"/>
                  <a:gd name="connsiteY1760" fmla="*/ 2872 h 10000"/>
                  <a:gd name="connsiteX1761" fmla="*/ 2982 w 10785"/>
                  <a:gd name="connsiteY1761" fmla="*/ 2880 h 10000"/>
                  <a:gd name="connsiteX1762" fmla="*/ 3037 w 10785"/>
                  <a:gd name="connsiteY1762" fmla="*/ 3034 h 10000"/>
                  <a:gd name="connsiteX1763" fmla="*/ 3041 w 10785"/>
                  <a:gd name="connsiteY1763" fmla="*/ 3103 h 10000"/>
                  <a:gd name="connsiteX1764" fmla="*/ 3069 w 10785"/>
                  <a:gd name="connsiteY1764" fmla="*/ 3188 h 10000"/>
                  <a:gd name="connsiteX1765" fmla="*/ 3055 w 10785"/>
                  <a:gd name="connsiteY1765" fmla="*/ 3325 h 10000"/>
                  <a:gd name="connsiteX1766" fmla="*/ 3037 w 10785"/>
                  <a:gd name="connsiteY1766" fmla="*/ 3368 h 10000"/>
                  <a:gd name="connsiteX1767" fmla="*/ 3037 w 10785"/>
                  <a:gd name="connsiteY1767" fmla="*/ 3444 h 10000"/>
                  <a:gd name="connsiteX1768" fmla="*/ 3028 w 10785"/>
                  <a:gd name="connsiteY1768" fmla="*/ 3453 h 10000"/>
                  <a:gd name="connsiteX1769" fmla="*/ 3023 w 10785"/>
                  <a:gd name="connsiteY1769" fmla="*/ 3530 h 10000"/>
                  <a:gd name="connsiteX1770" fmla="*/ 3051 w 10785"/>
                  <a:gd name="connsiteY1770" fmla="*/ 3624 h 10000"/>
                  <a:gd name="connsiteX1771" fmla="*/ 3037 w 10785"/>
                  <a:gd name="connsiteY1771" fmla="*/ 3718 h 10000"/>
                  <a:gd name="connsiteX1772" fmla="*/ 3041 w 10785"/>
                  <a:gd name="connsiteY1772" fmla="*/ 3752 h 10000"/>
                  <a:gd name="connsiteX1773" fmla="*/ 3055 w 10785"/>
                  <a:gd name="connsiteY1773" fmla="*/ 3761 h 10000"/>
                  <a:gd name="connsiteX1774" fmla="*/ 3078 w 10785"/>
                  <a:gd name="connsiteY1774" fmla="*/ 3752 h 10000"/>
                  <a:gd name="connsiteX1775" fmla="*/ 3092 w 10785"/>
                  <a:gd name="connsiteY1775" fmla="*/ 3752 h 10000"/>
                  <a:gd name="connsiteX1776" fmla="*/ 3129 w 10785"/>
                  <a:gd name="connsiteY1776" fmla="*/ 3761 h 10000"/>
                  <a:gd name="connsiteX1777" fmla="*/ 3129 w 10785"/>
                  <a:gd name="connsiteY1777" fmla="*/ 3735 h 10000"/>
                  <a:gd name="connsiteX1778" fmla="*/ 3157 w 10785"/>
                  <a:gd name="connsiteY1778" fmla="*/ 3718 h 10000"/>
                  <a:gd name="connsiteX1779" fmla="*/ 3184 w 10785"/>
                  <a:gd name="connsiteY1779" fmla="*/ 3718 h 10000"/>
                  <a:gd name="connsiteX1780" fmla="*/ 3290 w 10785"/>
                  <a:gd name="connsiteY1780" fmla="*/ 3838 h 10000"/>
                  <a:gd name="connsiteX1781" fmla="*/ 3300 w 10785"/>
                  <a:gd name="connsiteY1781" fmla="*/ 3846 h 10000"/>
                  <a:gd name="connsiteX1782" fmla="*/ 3300 w 10785"/>
                  <a:gd name="connsiteY1782" fmla="*/ 3915 h 10000"/>
                  <a:gd name="connsiteX1783" fmla="*/ 3318 w 10785"/>
                  <a:gd name="connsiteY1783" fmla="*/ 4000 h 10000"/>
                  <a:gd name="connsiteX1784" fmla="*/ 3323 w 10785"/>
                  <a:gd name="connsiteY1784" fmla="*/ 4000 h 10000"/>
                  <a:gd name="connsiteX1785" fmla="*/ 3323 w 10785"/>
                  <a:gd name="connsiteY1785" fmla="*/ 4034 h 10000"/>
                  <a:gd name="connsiteX1786" fmla="*/ 3318 w 10785"/>
                  <a:gd name="connsiteY1786" fmla="*/ 4051 h 10000"/>
                  <a:gd name="connsiteX1787" fmla="*/ 3300 w 10785"/>
                  <a:gd name="connsiteY1787" fmla="*/ 4051 h 10000"/>
                  <a:gd name="connsiteX1788" fmla="*/ 3290 w 10785"/>
                  <a:gd name="connsiteY1788" fmla="*/ 4077 h 10000"/>
                  <a:gd name="connsiteX1789" fmla="*/ 3286 w 10785"/>
                  <a:gd name="connsiteY1789" fmla="*/ 4103 h 10000"/>
                  <a:gd name="connsiteX1790" fmla="*/ 3286 w 10785"/>
                  <a:gd name="connsiteY1790" fmla="*/ 4197 h 10000"/>
                  <a:gd name="connsiteX1791" fmla="*/ 3290 w 10785"/>
                  <a:gd name="connsiteY1791" fmla="*/ 4214 h 10000"/>
                  <a:gd name="connsiteX1792" fmla="*/ 3304 w 10785"/>
                  <a:gd name="connsiteY1792" fmla="*/ 4214 h 10000"/>
                  <a:gd name="connsiteX1793" fmla="*/ 3323 w 10785"/>
                  <a:gd name="connsiteY1793" fmla="*/ 4239 h 10000"/>
                  <a:gd name="connsiteX1794" fmla="*/ 3350 w 10785"/>
                  <a:gd name="connsiteY1794" fmla="*/ 4222 h 10000"/>
                  <a:gd name="connsiteX1795" fmla="*/ 3369 w 10785"/>
                  <a:gd name="connsiteY1795" fmla="*/ 4256 h 10000"/>
                  <a:gd name="connsiteX1796" fmla="*/ 3369 w 10785"/>
                  <a:gd name="connsiteY1796" fmla="*/ 4256 h 10000"/>
                  <a:gd name="connsiteX1797" fmla="*/ 3336 w 10785"/>
                  <a:gd name="connsiteY1797" fmla="*/ 4274 h 10000"/>
                  <a:gd name="connsiteX1798" fmla="*/ 3323 w 10785"/>
                  <a:gd name="connsiteY1798" fmla="*/ 4274 h 10000"/>
                  <a:gd name="connsiteX1799" fmla="*/ 3290 w 10785"/>
                  <a:gd name="connsiteY1799" fmla="*/ 4274 h 10000"/>
                  <a:gd name="connsiteX1800" fmla="*/ 3286 w 10785"/>
                  <a:gd name="connsiteY1800" fmla="*/ 4239 h 10000"/>
                  <a:gd name="connsiteX1801" fmla="*/ 3263 w 10785"/>
                  <a:gd name="connsiteY1801" fmla="*/ 4214 h 10000"/>
                  <a:gd name="connsiteX1802" fmla="*/ 3258 w 10785"/>
                  <a:gd name="connsiteY1802" fmla="*/ 4188 h 10000"/>
                  <a:gd name="connsiteX1803" fmla="*/ 3263 w 10785"/>
                  <a:gd name="connsiteY1803" fmla="*/ 4171 h 10000"/>
                  <a:gd name="connsiteX1804" fmla="*/ 3263 w 10785"/>
                  <a:gd name="connsiteY1804" fmla="*/ 4103 h 10000"/>
                  <a:gd name="connsiteX1805" fmla="*/ 3276 w 10785"/>
                  <a:gd name="connsiteY1805" fmla="*/ 4060 h 10000"/>
                  <a:gd name="connsiteX1806" fmla="*/ 3272 w 10785"/>
                  <a:gd name="connsiteY1806" fmla="*/ 4051 h 10000"/>
                  <a:gd name="connsiteX1807" fmla="*/ 3263 w 10785"/>
                  <a:gd name="connsiteY1807" fmla="*/ 4051 h 10000"/>
                  <a:gd name="connsiteX1808" fmla="*/ 3263 w 10785"/>
                  <a:gd name="connsiteY1808" fmla="*/ 4034 h 10000"/>
                  <a:gd name="connsiteX1809" fmla="*/ 3263 w 10785"/>
                  <a:gd name="connsiteY1809" fmla="*/ 4000 h 10000"/>
                  <a:gd name="connsiteX1810" fmla="*/ 3272 w 10785"/>
                  <a:gd name="connsiteY1810" fmla="*/ 4000 h 10000"/>
                  <a:gd name="connsiteX1811" fmla="*/ 3272 w 10785"/>
                  <a:gd name="connsiteY1811" fmla="*/ 3974 h 10000"/>
                  <a:gd name="connsiteX1812" fmla="*/ 3272 w 10785"/>
                  <a:gd name="connsiteY1812" fmla="*/ 3966 h 10000"/>
                  <a:gd name="connsiteX1813" fmla="*/ 3272 w 10785"/>
                  <a:gd name="connsiteY1813" fmla="*/ 3949 h 10000"/>
                  <a:gd name="connsiteX1814" fmla="*/ 3258 w 10785"/>
                  <a:gd name="connsiteY1814" fmla="*/ 3923 h 10000"/>
                  <a:gd name="connsiteX1815" fmla="*/ 3249 w 10785"/>
                  <a:gd name="connsiteY1815" fmla="*/ 3915 h 10000"/>
                  <a:gd name="connsiteX1816" fmla="*/ 3244 w 10785"/>
                  <a:gd name="connsiteY1816" fmla="*/ 3897 h 10000"/>
                  <a:gd name="connsiteX1817" fmla="*/ 3230 w 10785"/>
                  <a:gd name="connsiteY1817" fmla="*/ 3889 h 10000"/>
                  <a:gd name="connsiteX1818" fmla="*/ 3230 w 10785"/>
                  <a:gd name="connsiteY1818" fmla="*/ 3863 h 10000"/>
                  <a:gd name="connsiteX1819" fmla="*/ 3230 w 10785"/>
                  <a:gd name="connsiteY1819" fmla="*/ 3838 h 10000"/>
                  <a:gd name="connsiteX1820" fmla="*/ 3226 w 10785"/>
                  <a:gd name="connsiteY1820" fmla="*/ 3803 h 10000"/>
                  <a:gd name="connsiteX1821" fmla="*/ 3138 w 10785"/>
                  <a:gd name="connsiteY1821" fmla="*/ 3838 h 10000"/>
                  <a:gd name="connsiteX1822" fmla="*/ 3078 w 10785"/>
                  <a:gd name="connsiteY1822" fmla="*/ 3889 h 10000"/>
                  <a:gd name="connsiteX1823" fmla="*/ 3078 w 10785"/>
                  <a:gd name="connsiteY1823" fmla="*/ 3940 h 10000"/>
                  <a:gd name="connsiteX1824" fmla="*/ 3069 w 10785"/>
                  <a:gd name="connsiteY1824" fmla="*/ 3983 h 10000"/>
                  <a:gd name="connsiteX1825" fmla="*/ 3069 w 10785"/>
                  <a:gd name="connsiteY1825" fmla="*/ 4009 h 10000"/>
                  <a:gd name="connsiteX1826" fmla="*/ 3078 w 10785"/>
                  <a:gd name="connsiteY1826" fmla="*/ 4026 h 10000"/>
                  <a:gd name="connsiteX1827" fmla="*/ 3083 w 10785"/>
                  <a:gd name="connsiteY1827" fmla="*/ 4034 h 10000"/>
                  <a:gd name="connsiteX1828" fmla="*/ 3092 w 10785"/>
                  <a:gd name="connsiteY1828" fmla="*/ 4060 h 10000"/>
                  <a:gd name="connsiteX1829" fmla="*/ 3092 w 10785"/>
                  <a:gd name="connsiteY1829" fmla="*/ 4077 h 10000"/>
                  <a:gd name="connsiteX1830" fmla="*/ 3097 w 10785"/>
                  <a:gd name="connsiteY1830" fmla="*/ 4103 h 10000"/>
                  <a:gd name="connsiteX1831" fmla="*/ 3101 w 10785"/>
                  <a:gd name="connsiteY1831" fmla="*/ 4162 h 10000"/>
                  <a:gd name="connsiteX1832" fmla="*/ 3097 w 10785"/>
                  <a:gd name="connsiteY1832" fmla="*/ 4222 h 10000"/>
                  <a:gd name="connsiteX1833" fmla="*/ 3041 w 10785"/>
                  <a:gd name="connsiteY1833" fmla="*/ 4325 h 10000"/>
                  <a:gd name="connsiteX1834" fmla="*/ 3037 w 10785"/>
                  <a:gd name="connsiteY1834" fmla="*/ 4419 h 10000"/>
                  <a:gd name="connsiteX1835" fmla="*/ 3018 w 10785"/>
                  <a:gd name="connsiteY1835" fmla="*/ 4470 h 10000"/>
                  <a:gd name="connsiteX1836" fmla="*/ 2991 w 10785"/>
                  <a:gd name="connsiteY1836" fmla="*/ 4513 h 10000"/>
                  <a:gd name="connsiteX1837" fmla="*/ 2977 w 10785"/>
                  <a:gd name="connsiteY1837" fmla="*/ 4530 h 10000"/>
                  <a:gd name="connsiteX1838" fmla="*/ 2945 w 10785"/>
                  <a:gd name="connsiteY1838" fmla="*/ 4556 h 10000"/>
                  <a:gd name="connsiteX1839" fmla="*/ 2935 w 10785"/>
                  <a:gd name="connsiteY1839" fmla="*/ 4581 h 10000"/>
                  <a:gd name="connsiteX1840" fmla="*/ 2949 w 10785"/>
                  <a:gd name="connsiteY1840" fmla="*/ 4624 h 10000"/>
                  <a:gd name="connsiteX1841" fmla="*/ 2945 w 10785"/>
                  <a:gd name="connsiteY1841" fmla="*/ 4658 h 10000"/>
                  <a:gd name="connsiteX1842" fmla="*/ 2922 w 10785"/>
                  <a:gd name="connsiteY1842" fmla="*/ 4667 h 10000"/>
                  <a:gd name="connsiteX1843" fmla="*/ 2876 w 10785"/>
                  <a:gd name="connsiteY1843" fmla="*/ 4632 h 10000"/>
                  <a:gd name="connsiteX1844" fmla="*/ 2857 w 10785"/>
                  <a:gd name="connsiteY1844" fmla="*/ 4632 h 10000"/>
                  <a:gd name="connsiteX1845" fmla="*/ 2820 w 10785"/>
                  <a:gd name="connsiteY1845" fmla="*/ 4641 h 10000"/>
                  <a:gd name="connsiteX1846" fmla="*/ 2797 w 10785"/>
                  <a:gd name="connsiteY1846" fmla="*/ 4632 h 10000"/>
                  <a:gd name="connsiteX1847" fmla="*/ 2788 w 10785"/>
                  <a:gd name="connsiteY1847" fmla="*/ 4624 h 10000"/>
                  <a:gd name="connsiteX1848" fmla="*/ 2788 w 10785"/>
                  <a:gd name="connsiteY1848" fmla="*/ 4598 h 10000"/>
                  <a:gd name="connsiteX1849" fmla="*/ 2797 w 10785"/>
                  <a:gd name="connsiteY1849" fmla="*/ 4581 h 10000"/>
                  <a:gd name="connsiteX1850" fmla="*/ 2788 w 10785"/>
                  <a:gd name="connsiteY1850" fmla="*/ 4530 h 10000"/>
                  <a:gd name="connsiteX1851" fmla="*/ 2774 w 10785"/>
                  <a:gd name="connsiteY1851" fmla="*/ 4530 h 10000"/>
                  <a:gd name="connsiteX1852" fmla="*/ 2770 w 10785"/>
                  <a:gd name="connsiteY1852" fmla="*/ 4513 h 10000"/>
                  <a:gd name="connsiteX1853" fmla="*/ 2774 w 10785"/>
                  <a:gd name="connsiteY1853" fmla="*/ 4513 h 10000"/>
                  <a:gd name="connsiteX1854" fmla="*/ 2788 w 10785"/>
                  <a:gd name="connsiteY1854" fmla="*/ 4496 h 10000"/>
                  <a:gd name="connsiteX1855" fmla="*/ 2802 w 10785"/>
                  <a:gd name="connsiteY1855" fmla="*/ 4513 h 10000"/>
                  <a:gd name="connsiteX1856" fmla="*/ 2811 w 10785"/>
                  <a:gd name="connsiteY1856" fmla="*/ 4530 h 10000"/>
                  <a:gd name="connsiteX1857" fmla="*/ 2820 w 10785"/>
                  <a:gd name="connsiteY1857" fmla="*/ 4521 h 10000"/>
                  <a:gd name="connsiteX1858" fmla="*/ 2829 w 10785"/>
                  <a:gd name="connsiteY1858" fmla="*/ 4513 h 10000"/>
                  <a:gd name="connsiteX1859" fmla="*/ 2843 w 10785"/>
                  <a:gd name="connsiteY1859" fmla="*/ 4513 h 10000"/>
                  <a:gd name="connsiteX1860" fmla="*/ 2848 w 10785"/>
                  <a:gd name="connsiteY1860" fmla="*/ 4470 h 10000"/>
                  <a:gd name="connsiteX1861" fmla="*/ 2862 w 10785"/>
                  <a:gd name="connsiteY1861" fmla="*/ 4487 h 10000"/>
                  <a:gd name="connsiteX1862" fmla="*/ 2876 w 10785"/>
                  <a:gd name="connsiteY1862" fmla="*/ 4470 h 10000"/>
                  <a:gd name="connsiteX1863" fmla="*/ 2880 w 10785"/>
                  <a:gd name="connsiteY1863" fmla="*/ 4462 h 10000"/>
                  <a:gd name="connsiteX1864" fmla="*/ 2889 w 10785"/>
                  <a:gd name="connsiteY1864" fmla="*/ 4444 h 10000"/>
                  <a:gd name="connsiteX1865" fmla="*/ 2894 w 10785"/>
                  <a:gd name="connsiteY1865" fmla="*/ 4462 h 10000"/>
                  <a:gd name="connsiteX1866" fmla="*/ 2917 w 10785"/>
                  <a:gd name="connsiteY1866" fmla="*/ 4444 h 10000"/>
                  <a:gd name="connsiteX1867" fmla="*/ 2922 w 10785"/>
                  <a:gd name="connsiteY1867" fmla="*/ 4436 h 10000"/>
                  <a:gd name="connsiteX1868" fmla="*/ 2917 w 10785"/>
                  <a:gd name="connsiteY1868" fmla="*/ 4410 h 10000"/>
                  <a:gd name="connsiteX1869" fmla="*/ 2894 w 10785"/>
                  <a:gd name="connsiteY1869" fmla="*/ 4410 h 10000"/>
                  <a:gd name="connsiteX1870" fmla="*/ 2889 w 10785"/>
                  <a:gd name="connsiteY1870" fmla="*/ 4419 h 10000"/>
                  <a:gd name="connsiteX1871" fmla="*/ 2876 w 10785"/>
                  <a:gd name="connsiteY1871" fmla="*/ 4410 h 10000"/>
                  <a:gd name="connsiteX1872" fmla="*/ 2880 w 10785"/>
                  <a:gd name="connsiteY1872" fmla="*/ 4376 h 10000"/>
                  <a:gd name="connsiteX1873" fmla="*/ 2903 w 10785"/>
                  <a:gd name="connsiteY1873" fmla="*/ 4393 h 10000"/>
                  <a:gd name="connsiteX1874" fmla="*/ 2931 w 10785"/>
                  <a:gd name="connsiteY1874" fmla="*/ 4393 h 10000"/>
                  <a:gd name="connsiteX1875" fmla="*/ 2931 w 10785"/>
                  <a:gd name="connsiteY1875" fmla="*/ 4385 h 10000"/>
                  <a:gd name="connsiteX1876" fmla="*/ 2931 w 10785"/>
                  <a:gd name="connsiteY1876" fmla="*/ 4350 h 10000"/>
                  <a:gd name="connsiteX1877" fmla="*/ 2945 w 10785"/>
                  <a:gd name="connsiteY1877" fmla="*/ 4350 h 10000"/>
                  <a:gd name="connsiteX1878" fmla="*/ 2949 w 10785"/>
                  <a:gd name="connsiteY1878" fmla="*/ 4325 h 10000"/>
                  <a:gd name="connsiteX1879" fmla="*/ 2963 w 10785"/>
                  <a:gd name="connsiteY1879" fmla="*/ 4256 h 10000"/>
                  <a:gd name="connsiteX1880" fmla="*/ 2982 w 10785"/>
                  <a:gd name="connsiteY1880" fmla="*/ 4239 h 10000"/>
                  <a:gd name="connsiteX1881" fmla="*/ 2991 w 10785"/>
                  <a:gd name="connsiteY1881" fmla="*/ 4214 h 10000"/>
                  <a:gd name="connsiteX1882" fmla="*/ 2991 w 10785"/>
                  <a:gd name="connsiteY1882" fmla="*/ 4197 h 10000"/>
                  <a:gd name="connsiteX1883" fmla="*/ 2995 w 10785"/>
                  <a:gd name="connsiteY1883" fmla="*/ 4171 h 10000"/>
                  <a:gd name="connsiteX1884" fmla="*/ 2991 w 10785"/>
                  <a:gd name="connsiteY1884" fmla="*/ 4077 h 10000"/>
                  <a:gd name="connsiteX1885" fmla="*/ 2995 w 10785"/>
                  <a:gd name="connsiteY1885" fmla="*/ 4034 h 10000"/>
                  <a:gd name="connsiteX1886" fmla="*/ 3018 w 10785"/>
                  <a:gd name="connsiteY1886" fmla="*/ 3983 h 10000"/>
                  <a:gd name="connsiteX1887" fmla="*/ 3018 w 10785"/>
                  <a:gd name="connsiteY1887" fmla="*/ 3915 h 10000"/>
                  <a:gd name="connsiteX1888" fmla="*/ 2949 w 10785"/>
                  <a:gd name="connsiteY1888" fmla="*/ 3778 h 10000"/>
                  <a:gd name="connsiteX1889" fmla="*/ 2954 w 10785"/>
                  <a:gd name="connsiteY1889" fmla="*/ 3675 h 10000"/>
                  <a:gd name="connsiteX1890" fmla="*/ 2954 w 10785"/>
                  <a:gd name="connsiteY1890" fmla="*/ 3650 h 10000"/>
                  <a:gd name="connsiteX1891" fmla="*/ 2963 w 10785"/>
                  <a:gd name="connsiteY1891" fmla="*/ 3624 h 10000"/>
                  <a:gd name="connsiteX1892" fmla="*/ 2954 w 10785"/>
                  <a:gd name="connsiteY1892" fmla="*/ 3564 h 10000"/>
                  <a:gd name="connsiteX1893" fmla="*/ 2963 w 10785"/>
                  <a:gd name="connsiteY1893" fmla="*/ 3538 h 10000"/>
                  <a:gd name="connsiteX1894" fmla="*/ 2963 w 10785"/>
                  <a:gd name="connsiteY1894" fmla="*/ 3487 h 10000"/>
                  <a:gd name="connsiteX1895" fmla="*/ 2963 w 10785"/>
                  <a:gd name="connsiteY1895" fmla="*/ 3479 h 10000"/>
                  <a:gd name="connsiteX1896" fmla="*/ 2963 w 10785"/>
                  <a:gd name="connsiteY1896" fmla="*/ 3462 h 10000"/>
                  <a:gd name="connsiteX1897" fmla="*/ 2954 w 10785"/>
                  <a:gd name="connsiteY1897" fmla="*/ 3453 h 10000"/>
                  <a:gd name="connsiteX1898" fmla="*/ 2954 w 10785"/>
                  <a:gd name="connsiteY1898" fmla="*/ 3444 h 10000"/>
                  <a:gd name="connsiteX1899" fmla="*/ 2954 w 10785"/>
                  <a:gd name="connsiteY1899" fmla="*/ 3402 h 10000"/>
                  <a:gd name="connsiteX1900" fmla="*/ 2954 w 10785"/>
                  <a:gd name="connsiteY1900" fmla="*/ 3393 h 10000"/>
                  <a:gd name="connsiteX1901" fmla="*/ 2949 w 10785"/>
                  <a:gd name="connsiteY1901" fmla="*/ 3376 h 10000"/>
                  <a:gd name="connsiteX1902" fmla="*/ 2949 w 10785"/>
                  <a:gd name="connsiteY1902" fmla="*/ 3342 h 10000"/>
                  <a:gd name="connsiteX1903" fmla="*/ 2949 w 10785"/>
                  <a:gd name="connsiteY1903" fmla="*/ 3316 h 10000"/>
                  <a:gd name="connsiteX1904" fmla="*/ 2968 w 10785"/>
                  <a:gd name="connsiteY1904" fmla="*/ 3291 h 10000"/>
                  <a:gd name="connsiteX1905" fmla="*/ 2963 w 10785"/>
                  <a:gd name="connsiteY1905" fmla="*/ 3205 h 10000"/>
                  <a:gd name="connsiteX1906" fmla="*/ 2968 w 10785"/>
                  <a:gd name="connsiteY1906" fmla="*/ 3171 h 10000"/>
                  <a:gd name="connsiteX1907" fmla="*/ 2968 w 10785"/>
                  <a:gd name="connsiteY1907" fmla="*/ 3128 h 10000"/>
                  <a:gd name="connsiteX1908" fmla="*/ 2954 w 10785"/>
                  <a:gd name="connsiteY1908" fmla="*/ 3051 h 10000"/>
                  <a:gd name="connsiteX1909" fmla="*/ 2954 w 10785"/>
                  <a:gd name="connsiteY1909" fmla="*/ 3009 h 10000"/>
                  <a:gd name="connsiteX1910" fmla="*/ 2922 w 10785"/>
                  <a:gd name="connsiteY1910" fmla="*/ 2940 h 10000"/>
                  <a:gd name="connsiteX1911" fmla="*/ 2903 w 10785"/>
                  <a:gd name="connsiteY1911" fmla="*/ 2880 h 10000"/>
                  <a:gd name="connsiteX1912" fmla="*/ 2903 w 10785"/>
                  <a:gd name="connsiteY1912" fmla="*/ 2855 h 10000"/>
                  <a:gd name="connsiteX1913" fmla="*/ 2908 w 10785"/>
                  <a:gd name="connsiteY1913" fmla="*/ 2846 h 10000"/>
                  <a:gd name="connsiteX1914" fmla="*/ 2931 w 10785"/>
                  <a:gd name="connsiteY1914" fmla="*/ 2821 h 10000"/>
                  <a:gd name="connsiteX1915" fmla="*/ 2931 w 10785"/>
                  <a:gd name="connsiteY1915" fmla="*/ 2803 h 10000"/>
                  <a:gd name="connsiteX1916" fmla="*/ 2935 w 10785"/>
                  <a:gd name="connsiteY1916" fmla="*/ 2786 h 10000"/>
                  <a:gd name="connsiteX1917" fmla="*/ 2935 w 10785"/>
                  <a:gd name="connsiteY1917" fmla="*/ 2744 h 10000"/>
                  <a:gd name="connsiteX1918" fmla="*/ 2963 w 10785"/>
                  <a:gd name="connsiteY1918" fmla="*/ 2607 h 10000"/>
                  <a:gd name="connsiteX1919" fmla="*/ 2963 w 10785"/>
                  <a:gd name="connsiteY1919" fmla="*/ 2419 h 10000"/>
                  <a:gd name="connsiteX1920" fmla="*/ 2954 w 10785"/>
                  <a:gd name="connsiteY1920" fmla="*/ 2410 h 10000"/>
                  <a:gd name="connsiteX1921" fmla="*/ 2963 w 10785"/>
                  <a:gd name="connsiteY1921" fmla="*/ 2393 h 10000"/>
                  <a:gd name="connsiteX1922" fmla="*/ 2908 w 10785"/>
                  <a:gd name="connsiteY1922" fmla="*/ 2359 h 10000"/>
                  <a:gd name="connsiteX1923" fmla="*/ 2889 w 10785"/>
                  <a:gd name="connsiteY1923" fmla="*/ 2325 h 10000"/>
                  <a:gd name="connsiteX1924" fmla="*/ 2788 w 10785"/>
                  <a:gd name="connsiteY1924" fmla="*/ 2333 h 10000"/>
                  <a:gd name="connsiteX1925" fmla="*/ 2774 w 10785"/>
                  <a:gd name="connsiteY1925" fmla="*/ 2325 h 10000"/>
                  <a:gd name="connsiteX1926" fmla="*/ 2783 w 10785"/>
                  <a:gd name="connsiteY1926" fmla="*/ 2308 h 10000"/>
                  <a:gd name="connsiteX1927" fmla="*/ 2747 w 10785"/>
                  <a:gd name="connsiteY1927" fmla="*/ 2308 h 10000"/>
                  <a:gd name="connsiteX1928" fmla="*/ 2742 w 10785"/>
                  <a:gd name="connsiteY1928" fmla="*/ 2333 h 10000"/>
                  <a:gd name="connsiteX1929" fmla="*/ 2682 w 10785"/>
                  <a:gd name="connsiteY1929" fmla="*/ 2769 h 10000"/>
                  <a:gd name="connsiteX1930" fmla="*/ 2613 w 10785"/>
                  <a:gd name="connsiteY1930" fmla="*/ 2940 h 10000"/>
                  <a:gd name="connsiteX1931" fmla="*/ 2581 w 10785"/>
                  <a:gd name="connsiteY1931" fmla="*/ 2966 h 10000"/>
                  <a:gd name="connsiteX1932" fmla="*/ 2576 w 10785"/>
                  <a:gd name="connsiteY1932" fmla="*/ 3051 h 10000"/>
                  <a:gd name="connsiteX1933" fmla="*/ 2581 w 10785"/>
                  <a:gd name="connsiteY1933" fmla="*/ 3051 h 10000"/>
                  <a:gd name="connsiteX1934" fmla="*/ 2594 w 10785"/>
                  <a:gd name="connsiteY1934" fmla="*/ 3017 h 10000"/>
                  <a:gd name="connsiteX1935" fmla="*/ 2594 w 10785"/>
                  <a:gd name="connsiteY1935" fmla="*/ 3034 h 10000"/>
                  <a:gd name="connsiteX1936" fmla="*/ 2594 w 10785"/>
                  <a:gd name="connsiteY1936" fmla="*/ 3051 h 10000"/>
                  <a:gd name="connsiteX1937" fmla="*/ 2590 w 10785"/>
                  <a:gd name="connsiteY1937" fmla="*/ 3077 h 10000"/>
                  <a:gd name="connsiteX1938" fmla="*/ 2567 w 10785"/>
                  <a:gd name="connsiteY1938" fmla="*/ 3103 h 10000"/>
                  <a:gd name="connsiteX1939" fmla="*/ 2562 w 10785"/>
                  <a:gd name="connsiteY1939" fmla="*/ 3145 h 10000"/>
                  <a:gd name="connsiteX1940" fmla="*/ 2567 w 10785"/>
                  <a:gd name="connsiteY1940" fmla="*/ 3179 h 10000"/>
                  <a:gd name="connsiteX1941" fmla="*/ 2590 w 10785"/>
                  <a:gd name="connsiteY1941" fmla="*/ 3171 h 10000"/>
                  <a:gd name="connsiteX1942" fmla="*/ 2594 w 10785"/>
                  <a:gd name="connsiteY1942" fmla="*/ 3145 h 10000"/>
                  <a:gd name="connsiteX1943" fmla="*/ 2613 w 10785"/>
                  <a:gd name="connsiteY1943" fmla="*/ 3154 h 10000"/>
                  <a:gd name="connsiteX1944" fmla="*/ 2622 w 10785"/>
                  <a:gd name="connsiteY1944" fmla="*/ 3179 h 10000"/>
                  <a:gd name="connsiteX1945" fmla="*/ 2613 w 10785"/>
                  <a:gd name="connsiteY1945" fmla="*/ 3214 h 10000"/>
                  <a:gd name="connsiteX1946" fmla="*/ 2613 w 10785"/>
                  <a:gd name="connsiteY1946" fmla="*/ 3308 h 10000"/>
                  <a:gd name="connsiteX1947" fmla="*/ 2608 w 10785"/>
                  <a:gd name="connsiteY1947" fmla="*/ 3325 h 10000"/>
                  <a:gd name="connsiteX1948" fmla="*/ 2608 w 10785"/>
                  <a:gd name="connsiteY1948" fmla="*/ 3376 h 10000"/>
                  <a:gd name="connsiteX1949" fmla="*/ 2613 w 10785"/>
                  <a:gd name="connsiteY1949" fmla="*/ 3419 h 10000"/>
                  <a:gd name="connsiteX1950" fmla="*/ 2608 w 10785"/>
                  <a:gd name="connsiteY1950" fmla="*/ 3444 h 10000"/>
                  <a:gd name="connsiteX1951" fmla="*/ 2594 w 10785"/>
                  <a:gd name="connsiteY1951" fmla="*/ 3444 h 10000"/>
                  <a:gd name="connsiteX1952" fmla="*/ 2590 w 10785"/>
                  <a:gd name="connsiteY1952" fmla="*/ 3427 h 10000"/>
                  <a:gd name="connsiteX1953" fmla="*/ 2581 w 10785"/>
                  <a:gd name="connsiteY1953" fmla="*/ 3564 h 10000"/>
                  <a:gd name="connsiteX1954" fmla="*/ 2594 w 10785"/>
                  <a:gd name="connsiteY1954" fmla="*/ 3598 h 10000"/>
                  <a:gd name="connsiteX1955" fmla="*/ 2594 w 10785"/>
                  <a:gd name="connsiteY1955" fmla="*/ 3581 h 10000"/>
                  <a:gd name="connsiteX1956" fmla="*/ 2608 w 10785"/>
                  <a:gd name="connsiteY1956" fmla="*/ 3556 h 10000"/>
                  <a:gd name="connsiteX1957" fmla="*/ 2650 w 10785"/>
                  <a:gd name="connsiteY1957" fmla="*/ 3615 h 10000"/>
                  <a:gd name="connsiteX1958" fmla="*/ 2664 w 10785"/>
                  <a:gd name="connsiteY1958" fmla="*/ 3615 h 10000"/>
                  <a:gd name="connsiteX1959" fmla="*/ 2668 w 10785"/>
                  <a:gd name="connsiteY1959" fmla="*/ 3615 h 10000"/>
                  <a:gd name="connsiteX1960" fmla="*/ 2664 w 10785"/>
                  <a:gd name="connsiteY1960" fmla="*/ 3667 h 10000"/>
                  <a:gd name="connsiteX1961" fmla="*/ 2687 w 10785"/>
                  <a:gd name="connsiteY1961" fmla="*/ 3786 h 10000"/>
                  <a:gd name="connsiteX1962" fmla="*/ 2710 w 10785"/>
                  <a:gd name="connsiteY1962" fmla="*/ 3812 h 10000"/>
                  <a:gd name="connsiteX1963" fmla="*/ 2724 w 10785"/>
                  <a:gd name="connsiteY1963" fmla="*/ 3812 h 10000"/>
                  <a:gd name="connsiteX1964" fmla="*/ 2724 w 10785"/>
                  <a:gd name="connsiteY1964" fmla="*/ 3829 h 10000"/>
                  <a:gd name="connsiteX1965" fmla="*/ 2737 w 10785"/>
                  <a:gd name="connsiteY1965" fmla="*/ 3838 h 10000"/>
                  <a:gd name="connsiteX1966" fmla="*/ 2714 w 10785"/>
                  <a:gd name="connsiteY1966" fmla="*/ 3872 h 10000"/>
                  <a:gd name="connsiteX1967" fmla="*/ 2696 w 10785"/>
                  <a:gd name="connsiteY1967" fmla="*/ 4026 h 10000"/>
                  <a:gd name="connsiteX1968" fmla="*/ 2673 w 10785"/>
                  <a:gd name="connsiteY1968" fmla="*/ 4051 h 10000"/>
                  <a:gd name="connsiteX1969" fmla="*/ 2668 w 10785"/>
                  <a:gd name="connsiteY1969" fmla="*/ 4034 h 10000"/>
                  <a:gd name="connsiteX1970" fmla="*/ 2673 w 10785"/>
                  <a:gd name="connsiteY1970" fmla="*/ 4000 h 10000"/>
                  <a:gd name="connsiteX1971" fmla="*/ 2664 w 10785"/>
                  <a:gd name="connsiteY1971" fmla="*/ 3974 h 10000"/>
                  <a:gd name="connsiteX1972" fmla="*/ 2636 w 10785"/>
                  <a:gd name="connsiteY1972" fmla="*/ 3949 h 10000"/>
                  <a:gd name="connsiteX1973" fmla="*/ 2581 w 10785"/>
                  <a:gd name="connsiteY1973" fmla="*/ 3838 h 10000"/>
                  <a:gd name="connsiteX1974" fmla="*/ 2562 w 10785"/>
                  <a:gd name="connsiteY1974" fmla="*/ 3829 h 10000"/>
                  <a:gd name="connsiteX1975" fmla="*/ 2535 w 10785"/>
                  <a:gd name="connsiteY1975" fmla="*/ 3778 h 10000"/>
                  <a:gd name="connsiteX1976" fmla="*/ 2502 w 10785"/>
                  <a:gd name="connsiteY1976" fmla="*/ 3761 h 10000"/>
                  <a:gd name="connsiteX1977" fmla="*/ 2502 w 10785"/>
                  <a:gd name="connsiteY1977" fmla="*/ 3735 h 10000"/>
                  <a:gd name="connsiteX1978" fmla="*/ 2516 w 10785"/>
                  <a:gd name="connsiteY1978" fmla="*/ 3735 h 10000"/>
                  <a:gd name="connsiteX1979" fmla="*/ 2507 w 10785"/>
                  <a:gd name="connsiteY1979" fmla="*/ 3726 h 10000"/>
                  <a:gd name="connsiteX1980" fmla="*/ 2488 w 10785"/>
                  <a:gd name="connsiteY1980" fmla="*/ 3726 h 10000"/>
                  <a:gd name="connsiteX1981" fmla="*/ 2461 w 10785"/>
                  <a:gd name="connsiteY1981" fmla="*/ 3692 h 10000"/>
                  <a:gd name="connsiteX1982" fmla="*/ 2442 w 10785"/>
                  <a:gd name="connsiteY1982" fmla="*/ 3675 h 10000"/>
                  <a:gd name="connsiteX1983" fmla="*/ 2406 w 10785"/>
                  <a:gd name="connsiteY1983" fmla="*/ 3598 h 10000"/>
                  <a:gd name="connsiteX1984" fmla="*/ 2346 w 10785"/>
                  <a:gd name="connsiteY1984" fmla="*/ 3564 h 10000"/>
                  <a:gd name="connsiteX1985" fmla="*/ 2341 w 10785"/>
                  <a:gd name="connsiteY1985" fmla="*/ 3564 h 10000"/>
                  <a:gd name="connsiteX1986" fmla="*/ 2313 w 10785"/>
                  <a:gd name="connsiteY1986" fmla="*/ 3530 h 10000"/>
                  <a:gd name="connsiteX1987" fmla="*/ 2235 w 10785"/>
                  <a:gd name="connsiteY1987" fmla="*/ 3530 h 10000"/>
                  <a:gd name="connsiteX1988" fmla="*/ 2226 w 10785"/>
                  <a:gd name="connsiteY1988" fmla="*/ 3513 h 10000"/>
                  <a:gd name="connsiteX1989" fmla="*/ 2207 w 10785"/>
                  <a:gd name="connsiteY1989" fmla="*/ 3504 h 10000"/>
                  <a:gd name="connsiteX1990" fmla="*/ 2194 w 10785"/>
                  <a:gd name="connsiteY1990" fmla="*/ 3504 h 10000"/>
                  <a:gd name="connsiteX1991" fmla="*/ 2189 w 10785"/>
                  <a:gd name="connsiteY1991" fmla="*/ 3504 h 10000"/>
                  <a:gd name="connsiteX1992" fmla="*/ 2189 w 10785"/>
                  <a:gd name="connsiteY1992" fmla="*/ 3530 h 10000"/>
                  <a:gd name="connsiteX1993" fmla="*/ 2180 w 10785"/>
                  <a:gd name="connsiteY1993" fmla="*/ 3538 h 10000"/>
                  <a:gd name="connsiteX1994" fmla="*/ 2152 w 10785"/>
                  <a:gd name="connsiteY1994" fmla="*/ 3581 h 10000"/>
                  <a:gd name="connsiteX1995" fmla="*/ 2161 w 10785"/>
                  <a:gd name="connsiteY1995" fmla="*/ 3598 h 10000"/>
                  <a:gd name="connsiteX1996" fmla="*/ 2194 w 10785"/>
                  <a:gd name="connsiteY1996" fmla="*/ 3752 h 10000"/>
                  <a:gd name="connsiteX1997" fmla="*/ 2194 w 10785"/>
                  <a:gd name="connsiteY1997" fmla="*/ 3735 h 10000"/>
                  <a:gd name="connsiteX1998" fmla="*/ 2198 w 10785"/>
                  <a:gd name="connsiteY1998" fmla="*/ 3735 h 10000"/>
                  <a:gd name="connsiteX1999" fmla="*/ 2189 w 10785"/>
                  <a:gd name="connsiteY1999" fmla="*/ 3838 h 10000"/>
                  <a:gd name="connsiteX2000" fmla="*/ 2166 w 10785"/>
                  <a:gd name="connsiteY2000" fmla="*/ 3889 h 10000"/>
                  <a:gd name="connsiteX2001" fmla="*/ 2124 w 10785"/>
                  <a:gd name="connsiteY2001" fmla="*/ 3889 h 10000"/>
                  <a:gd name="connsiteX2002" fmla="*/ 2124 w 10785"/>
                  <a:gd name="connsiteY2002" fmla="*/ 3923 h 10000"/>
                  <a:gd name="connsiteX2003" fmla="*/ 2134 w 10785"/>
                  <a:gd name="connsiteY2003" fmla="*/ 3940 h 10000"/>
                  <a:gd name="connsiteX2004" fmla="*/ 2134 w 10785"/>
                  <a:gd name="connsiteY2004" fmla="*/ 3966 h 10000"/>
                  <a:gd name="connsiteX2005" fmla="*/ 2120 w 10785"/>
                  <a:gd name="connsiteY2005" fmla="*/ 4000 h 10000"/>
                  <a:gd name="connsiteX2006" fmla="*/ 2106 w 10785"/>
                  <a:gd name="connsiteY2006" fmla="*/ 4009 h 10000"/>
                  <a:gd name="connsiteX2007" fmla="*/ 2088 w 10785"/>
                  <a:gd name="connsiteY2007" fmla="*/ 4000 h 10000"/>
                  <a:gd name="connsiteX2008" fmla="*/ 2074 w 10785"/>
                  <a:gd name="connsiteY2008" fmla="*/ 3974 h 10000"/>
                  <a:gd name="connsiteX2009" fmla="*/ 2074 w 10785"/>
                  <a:gd name="connsiteY2009" fmla="*/ 3940 h 10000"/>
                  <a:gd name="connsiteX2010" fmla="*/ 2078 w 10785"/>
                  <a:gd name="connsiteY2010" fmla="*/ 3915 h 10000"/>
                  <a:gd name="connsiteX2011" fmla="*/ 2088 w 10785"/>
                  <a:gd name="connsiteY2011" fmla="*/ 3889 h 10000"/>
                  <a:gd name="connsiteX2012" fmla="*/ 2101 w 10785"/>
                  <a:gd name="connsiteY2012" fmla="*/ 3872 h 10000"/>
                  <a:gd name="connsiteX2013" fmla="*/ 2074 w 10785"/>
                  <a:gd name="connsiteY2013" fmla="*/ 3812 h 10000"/>
                  <a:gd name="connsiteX2014" fmla="*/ 2074 w 10785"/>
                  <a:gd name="connsiteY2014" fmla="*/ 3786 h 10000"/>
                  <a:gd name="connsiteX2015" fmla="*/ 2060 w 10785"/>
                  <a:gd name="connsiteY2015" fmla="*/ 3786 h 10000"/>
                  <a:gd name="connsiteX2016" fmla="*/ 2014 w 10785"/>
                  <a:gd name="connsiteY2016" fmla="*/ 3829 h 10000"/>
                  <a:gd name="connsiteX2017" fmla="*/ 2000 w 10785"/>
                  <a:gd name="connsiteY2017" fmla="*/ 3863 h 10000"/>
                  <a:gd name="connsiteX2018" fmla="*/ 1986 w 10785"/>
                  <a:gd name="connsiteY2018" fmla="*/ 3872 h 10000"/>
                  <a:gd name="connsiteX2019" fmla="*/ 1959 w 10785"/>
                  <a:gd name="connsiteY2019" fmla="*/ 3940 h 10000"/>
                  <a:gd name="connsiteX2020" fmla="*/ 1945 w 10785"/>
                  <a:gd name="connsiteY2020" fmla="*/ 3949 h 10000"/>
                  <a:gd name="connsiteX2021" fmla="*/ 1940 w 10785"/>
                  <a:gd name="connsiteY2021" fmla="*/ 3923 h 10000"/>
                  <a:gd name="connsiteX2022" fmla="*/ 1917 w 10785"/>
                  <a:gd name="connsiteY2022" fmla="*/ 3915 h 10000"/>
                  <a:gd name="connsiteX2023" fmla="*/ 1899 w 10785"/>
                  <a:gd name="connsiteY2023" fmla="*/ 3923 h 10000"/>
                  <a:gd name="connsiteX2024" fmla="*/ 1880 w 10785"/>
                  <a:gd name="connsiteY2024" fmla="*/ 3915 h 10000"/>
                  <a:gd name="connsiteX2025" fmla="*/ 1853 w 10785"/>
                  <a:gd name="connsiteY2025" fmla="*/ 3940 h 10000"/>
                  <a:gd name="connsiteX2026" fmla="*/ 1839 w 10785"/>
                  <a:gd name="connsiteY2026" fmla="*/ 3940 h 10000"/>
                  <a:gd name="connsiteX2027" fmla="*/ 1806 w 10785"/>
                  <a:gd name="connsiteY2027" fmla="*/ 3983 h 10000"/>
                  <a:gd name="connsiteX2028" fmla="*/ 1806 w 10785"/>
                  <a:gd name="connsiteY2028" fmla="*/ 4000 h 10000"/>
                  <a:gd name="connsiteX2029" fmla="*/ 1797 w 10785"/>
                  <a:gd name="connsiteY2029" fmla="*/ 4077 h 10000"/>
                  <a:gd name="connsiteX2030" fmla="*/ 1783 w 10785"/>
                  <a:gd name="connsiteY2030" fmla="*/ 4077 h 10000"/>
                  <a:gd name="connsiteX2031" fmla="*/ 1779 w 10785"/>
                  <a:gd name="connsiteY2031" fmla="*/ 4051 h 10000"/>
                  <a:gd name="connsiteX2032" fmla="*/ 1765 w 10785"/>
                  <a:gd name="connsiteY2032" fmla="*/ 4026 h 10000"/>
                  <a:gd name="connsiteX2033" fmla="*/ 1751 w 10785"/>
                  <a:gd name="connsiteY2033" fmla="*/ 4051 h 10000"/>
                  <a:gd name="connsiteX2034" fmla="*/ 1737 w 10785"/>
                  <a:gd name="connsiteY2034" fmla="*/ 4009 h 10000"/>
                  <a:gd name="connsiteX2035" fmla="*/ 1737 w 10785"/>
                  <a:gd name="connsiteY2035" fmla="*/ 3966 h 10000"/>
                  <a:gd name="connsiteX2036" fmla="*/ 1733 w 10785"/>
                  <a:gd name="connsiteY2036" fmla="*/ 3940 h 10000"/>
                  <a:gd name="connsiteX2037" fmla="*/ 1733 w 10785"/>
                  <a:gd name="connsiteY2037" fmla="*/ 3923 h 10000"/>
                  <a:gd name="connsiteX2038" fmla="*/ 1747 w 10785"/>
                  <a:gd name="connsiteY2038" fmla="*/ 3889 h 10000"/>
                  <a:gd name="connsiteX2039" fmla="*/ 1747 w 10785"/>
                  <a:gd name="connsiteY2039" fmla="*/ 3863 h 10000"/>
                  <a:gd name="connsiteX2040" fmla="*/ 1737 w 10785"/>
                  <a:gd name="connsiteY2040" fmla="*/ 3838 h 10000"/>
                  <a:gd name="connsiteX2041" fmla="*/ 1733 w 10785"/>
                  <a:gd name="connsiteY2041" fmla="*/ 3829 h 10000"/>
                  <a:gd name="connsiteX2042" fmla="*/ 1733 w 10785"/>
                  <a:gd name="connsiteY2042" fmla="*/ 3846 h 10000"/>
                  <a:gd name="connsiteX2043" fmla="*/ 1724 w 10785"/>
                  <a:gd name="connsiteY2043" fmla="*/ 3846 h 10000"/>
                  <a:gd name="connsiteX2044" fmla="*/ 1724 w 10785"/>
                  <a:gd name="connsiteY2044" fmla="*/ 3829 h 10000"/>
                  <a:gd name="connsiteX2045" fmla="*/ 1737 w 10785"/>
                  <a:gd name="connsiteY2045" fmla="*/ 3812 h 10000"/>
                  <a:gd name="connsiteX2046" fmla="*/ 1765 w 10785"/>
                  <a:gd name="connsiteY2046" fmla="*/ 3812 h 10000"/>
                  <a:gd name="connsiteX2047" fmla="*/ 1779 w 10785"/>
                  <a:gd name="connsiteY2047" fmla="*/ 3786 h 10000"/>
                  <a:gd name="connsiteX2048" fmla="*/ 1779 w 10785"/>
                  <a:gd name="connsiteY2048" fmla="*/ 3786 h 10000"/>
                  <a:gd name="connsiteX2049" fmla="*/ 1751 w 10785"/>
                  <a:gd name="connsiteY2049" fmla="*/ 3803 h 10000"/>
                  <a:gd name="connsiteX2050" fmla="*/ 1747 w 10785"/>
                  <a:gd name="connsiteY2050" fmla="*/ 3803 h 10000"/>
                  <a:gd name="connsiteX2051" fmla="*/ 1724 w 10785"/>
                  <a:gd name="connsiteY2051" fmla="*/ 3803 h 10000"/>
                  <a:gd name="connsiteX2052" fmla="*/ 1700 w 10785"/>
                  <a:gd name="connsiteY2052" fmla="*/ 3829 h 10000"/>
                  <a:gd name="connsiteX2053" fmla="*/ 1705 w 10785"/>
                  <a:gd name="connsiteY2053" fmla="*/ 3846 h 10000"/>
                  <a:gd name="connsiteX2054" fmla="*/ 1691 w 10785"/>
                  <a:gd name="connsiteY2054" fmla="*/ 3846 h 10000"/>
                  <a:gd name="connsiteX2055" fmla="*/ 1691 w 10785"/>
                  <a:gd name="connsiteY2055" fmla="*/ 3863 h 10000"/>
                  <a:gd name="connsiteX2056" fmla="*/ 1691 w 10785"/>
                  <a:gd name="connsiteY2056" fmla="*/ 3915 h 10000"/>
                  <a:gd name="connsiteX2057" fmla="*/ 1677 w 10785"/>
                  <a:gd name="connsiteY2057" fmla="*/ 3923 h 10000"/>
                  <a:gd name="connsiteX2058" fmla="*/ 1673 w 10785"/>
                  <a:gd name="connsiteY2058" fmla="*/ 3915 h 10000"/>
                  <a:gd name="connsiteX2059" fmla="*/ 1664 w 10785"/>
                  <a:gd name="connsiteY2059" fmla="*/ 3889 h 10000"/>
                  <a:gd name="connsiteX2060" fmla="*/ 1673 w 10785"/>
                  <a:gd name="connsiteY2060" fmla="*/ 3872 h 10000"/>
                  <a:gd name="connsiteX2061" fmla="*/ 1664 w 10785"/>
                  <a:gd name="connsiteY2061" fmla="*/ 3872 h 10000"/>
                  <a:gd name="connsiteX2062" fmla="*/ 1636 w 10785"/>
                  <a:gd name="connsiteY2062" fmla="*/ 3923 h 10000"/>
                  <a:gd name="connsiteX2063" fmla="*/ 1645 w 10785"/>
                  <a:gd name="connsiteY2063" fmla="*/ 3923 h 10000"/>
                  <a:gd name="connsiteX2064" fmla="*/ 1650 w 10785"/>
                  <a:gd name="connsiteY2064" fmla="*/ 3949 h 10000"/>
                  <a:gd name="connsiteX2065" fmla="*/ 1650 w 10785"/>
                  <a:gd name="connsiteY2065" fmla="*/ 3983 h 10000"/>
                  <a:gd name="connsiteX2066" fmla="*/ 1636 w 10785"/>
                  <a:gd name="connsiteY2066" fmla="*/ 4000 h 10000"/>
                  <a:gd name="connsiteX2067" fmla="*/ 1631 w 10785"/>
                  <a:gd name="connsiteY2067" fmla="*/ 4009 h 10000"/>
                  <a:gd name="connsiteX2068" fmla="*/ 1618 w 10785"/>
                  <a:gd name="connsiteY2068" fmla="*/ 3949 h 10000"/>
                  <a:gd name="connsiteX2069" fmla="*/ 1585 w 10785"/>
                  <a:gd name="connsiteY2069" fmla="*/ 3966 h 10000"/>
                  <a:gd name="connsiteX2070" fmla="*/ 1590 w 10785"/>
                  <a:gd name="connsiteY2070" fmla="*/ 3974 h 10000"/>
                  <a:gd name="connsiteX2071" fmla="*/ 1544 w 10785"/>
                  <a:gd name="connsiteY2071" fmla="*/ 4009 h 10000"/>
                  <a:gd name="connsiteX2072" fmla="*/ 1539 w 10785"/>
                  <a:gd name="connsiteY2072" fmla="*/ 4009 h 10000"/>
                  <a:gd name="connsiteX2073" fmla="*/ 1410 w 10785"/>
                  <a:gd name="connsiteY2073" fmla="*/ 4188 h 10000"/>
                  <a:gd name="connsiteX2074" fmla="*/ 1406 w 10785"/>
                  <a:gd name="connsiteY2074" fmla="*/ 4171 h 10000"/>
                  <a:gd name="connsiteX2075" fmla="*/ 1396 w 10785"/>
                  <a:gd name="connsiteY2075" fmla="*/ 4214 h 10000"/>
                  <a:gd name="connsiteX2076" fmla="*/ 1406 w 10785"/>
                  <a:gd name="connsiteY2076" fmla="*/ 4222 h 10000"/>
                  <a:gd name="connsiteX2077" fmla="*/ 1392 w 10785"/>
                  <a:gd name="connsiteY2077" fmla="*/ 4239 h 10000"/>
                  <a:gd name="connsiteX2078" fmla="*/ 1369 w 10785"/>
                  <a:gd name="connsiteY2078" fmla="*/ 4248 h 10000"/>
                  <a:gd name="connsiteX2079" fmla="*/ 1355 w 10785"/>
                  <a:gd name="connsiteY2079" fmla="*/ 4256 h 10000"/>
                  <a:gd name="connsiteX2080" fmla="*/ 1350 w 10785"/>
                  <a:gd name="connsiteY2080" fmla="*/ 4248 h 10000"/>
                  <a:gd name="connsiteX2081" fmla="*/ 1332 w 10785"/>
                  <a:gd name="connsiteY2081" fmla="*/ 4376 h 10000"/>
                  <a:gd name="connsiteX2082" fmla="*/ 1332 w 10785"/>
                  <a:gd name="connsiteY2082" fmla="*/ 4436 h 10000"/>
                  <a:gd name="connsiteX2083" fmla="*/ 1323 w 10785"/>
                  <a:gd name="connsiteY2083" fmla="*/ 4462 h 10000"/>
                  <a:gd name="connsiteX2084" fmla="*/ 1304 w 10785"/>
                  <a:gd name="connsiteY2084" fmla="*/ 4487 h 10000"/>
                  <a:gd name="connsiteX2085" fmla="*/ 1290 w 10785"/>
                  <a:gd name="connsiteY2085" fmla="*/ 4470 h 10000"/>
                  <a:gd name="connsiteX2086" fmla="*/ 1263 w 10785"/>
                  <a:gd name="connsiteY2086" fmla="*/ 4496 h 10000"/>
                  <a:gd name="connsiteX2087" fmla="*/ 1258 w 10785"/>
                  <a:gd name="connsiteY2087" fmla="*/ 4547 h 10000"/>
                  <a:gd name="connsiteX2088" fmla="*/ 1249 w 10785"/>
                  <a:gd name="connsiteY2088" fmla="*/ 4487 h 10000"/>
                  <a:gd name="connsiteX2089" fmla="*/ 1235 w 10785"/>
                  <a:gd name="connsiteY2089" fmla="*/ 4496 h 10000"/>
                  <a:gd name="connsiteX2090" fmla="*/ 1221 w 10785"/>
                  <a:gd name="connsiteY2090" fmla="*/ 4496 h 10000"/>
                  <a:gd name="connsiteX2091" fmla="*/ 1217 w 10785"/>
                  <a:gd name="connsiteY2091" fmla="*/ 4487 h 10000"/>
                  <a:gd name="connsiteX2092" fmla="*/ 1198 w 10785"/>
                  <a:gd name="connsiteY2092" fmla="*/ 4410 h 10000"/>
                  <a:gd name="connsiteX2093" fmla="*/ 1157 w 10785"/>
                  <a:gd name="connsiteY2093" fmla="*/ 4333 h 10000"/>
                  <a:gd name="connsiteX2094" fmla="*/ 1147 w 10785"/>
                  <a:gd name="connsiteY2094" fmla="*/ 4299 h 10000"/>
                  <a:gd name="connsiteX2095" fmla="*/ 1147 w 10785"/>
                  <a:gd name="connsiteY2095" fmla="*/ 4274 h 10000"/>
                  <a:gd name="connsiteX2096" fmla="*/ 1161 w 10785"/>
                  <a:gd name="connsiteY2096" fmla="*/ 4256 h 10000"/>
                  <a:gd name="connsiteX2097" fmla="*/ 1171 w 10785"/>
                  <a:gd name="connsiteY2097" fmla="*/ 4248 h 10000"/>
                  <a:gd name="connsiteX2098" fmla="*/ 1175 w 10785"/>
                  <a:gd name="connsiteY2098" fmla="*/ 4214 h 10000"/>
                  <a:gd name="connsiteX2099" fmla="*/ 1263 w 10785"/>
                  <a:gd name="connsiteY2099" fmla="*/ 4171 h 10000"/>
                  <a:gd name="connsiteX2100" fmla="*/ 1249 w 10785"/>
                  <a:gd name="connsiteY2100" fmla="*/ 4137 h 10000"/>
                  <a:gd name="connsiteX2101" fmla="*/ 1244 w 10785"/>
                  <a:gd name="connsiteY2101" fmla="*/ 4060 h 10000"/>
                  <a:gd name="connsiteX2102" fmla="*/ 1230 w 10785"/>
                  <a:gd name="connsiteY2102" fmla="*/ 4077 h 10000"/>
                  <a:gd name="connsiteX2103" fmla="*/ 1221 w 10785"/>
                  <a:gd name="connsiteY2103" fmla="*/ 4026 h 10000"/>
                  <a:gd name="connsiteX2104" fmla="*/ 1217 w 10785"/>
                  <a:gd name="connsiteY2104" fmla="*/ 4026 h 10000"/>
                  <a:gd name="connsiteX2105" fmla="*/ 1212 w 10785"/>
                  <a:gd name="connsiteY2105" fmla="*/ 3983 h 10000"/>
                  <a:gd name="connsiteX2106" fmla="*/ 1203 w 10785"/>
                  <a:gd name="connsiteY2106" fmla="*/ 3966 h 10000"/>
                  <a:gd name="connsiteX2107" fmla="*/ 1171 w 10785"/>
                  <a:gd name="connsiteY2107" fmla="*/ 3949 h 10000"/>
                  <a:gd name="connsiteX2108" fmla="*/ 1111 w 10785"/>
                  <a:gd name="connsiteY2108" fmla="*/ 3940 h 10000"/>
                  <a:gd name="connsiteX2109" fmla="*/ 1097 w 10785"/>
                  <a:gd name="connsiteY2109" fmla="*/ 3949 h 10000"/>
                  <a:gd name="connsiteX2110" fmla="*/ 1037 w 10785"/>
                  <a:gd name="connsiteY2110" fmla="*/ 3897 h 10000"/>
                  <a:gd name="connsiteX2111" fmla="*/ 1041 w 10785"/>
                  <a:gd name="connsiteY2111" fmla="*/ 3923 h 10000"/>
                  <a:gd name="connsiteX2112" fmla="*/ 1097 w 10785"/>
                  <a:gd name="connsiteY2112" fmla="*/ 4009 h 10000"/>
                  <a:gd name="connsiteX2113" fmla="*/ 1097 w 10785"/>
                  <a:gd name="connsiteY2113" fmla="*/ 4120 h 10000"/>
                  <a:gd name="connsiteX2114" fmla="*/ 1097 w 10785"/>
                  <a:gd name="connsiteY2114" fmla="*/ 4162 h 10000"/>
                  <a:gd name="connsiteX2115" fmla="*/ 1097 w 10785"/>
                  <a:gd name="connsiteY2115" fmla="*/ 4197 h 10000"/>
                  <a:gd name="connsiteX2116" fmla="*/ 1074 w 10785"/>
                  <a:gd name="connsiteY2116" fmla="*/ 4333 h 10000"/>
                  <a:gd name="connsiteX2117" fmla="*/ 1074 w 10785"/>
                  <a:gd name="connsiteY2117" fmla="*/ 4376 h 10000"/>
                  <a:gd name="connsiteX2118" fmla="*/ 1083 w 10785"/>
                  <a:gd name="connsiteY2118" fmla="*/ 4385 h 10000"/>
                  <a:gd name="connsiteX2119" fmla="*/ 1097 w 10785"/>
                  <a:gd name="connsiteY2119" fmla="*/ 4385 h 10000"/>
                  <a:gd name="connsiteX2120" fmla="*/ 1111 w 10785"/>
                  <a:gd name="connsiteY2120" fmla="*/ 4410 h 10000"/>
                  <a:gd name="connsiteX2121" fmla="*/ 1124 w 10785"/>
                  <a:gd name="connsiteY2121" fmla="*/ 4444 h 10000"/>
                  <a:gd name="connsiteX2122" fmla="*/ 1124 w 10785"/>
                  <a:gd name="connsiteY2122" fmla="*/ 4470 h 10000"/>
                  <a:gd name="connsiteX2123" fmla="*/ 1115 w 10785"/>
                  <a:gd name="connsiteY2123" fmla="*/ 4513 h 10000"/>
                  <a:gd name="connsiteX2124" fmla="*/ 1115 w 10785"/>
                  <a:gd name="connsiteY2124" fmla="*/ 4530 h 10000"/>
                  <a:gd name="connsiteX2125" fmla="*/ 1115 w 10785"/>
                  <a:gd name="connsiteY2125" fmla="*/ 4573 h 10000"/>
                  <a:gd name="connsiteX2126" fmla="*/ 1101 w 10785"/>
                  <a:gd name="connsiteY2126" fmla="*/ 4607 h 10000"/>
                  <a:gd name="connsiteX2127" fmla="*/ 1097 w 10785"/>
                  <a:gd name="connsiteY2127" fmla="*/ 4658 h 10000"/>
                  <a:gd name="connsiteX2128" fmla="*/ 1101 w 10785"/>
                  <a:gd name="connsiteY2128" fmla="*/ 4692 h 10000"/>
                  <a:gd name="connsiteX2129" fmla="*/ 1097 w 10785"/>
                  <a:gd name="connsiteY2129" fmla="*/ 4778 h 10000"/>
                  <a:gd name="connsiteX2130" fmla="*/ 1083 w 10785"/>
                  <a:gd name="connsiteY2130" fmla="*/ 4744 h 10000"/>
                  <a:gd name="connsiteX2131" fmla="*/ 1083 w 10785"/>
                  <a:gd name="connsiteY2131" fmla="*/ 4718 h 10000"/>
                  <a:gd name="connsiteX2132" fmla="*/ 1074 w 10785"/>
                  <a:gd name="connsiteY2132" fmla="*/ 4692 h 10000"/>
                  <a:gd name="connsiteX2133" fmla="*/ 1065 w 10785"/>
                  <a:gd name="connsiteY2133" fmla="*/ 4692 h 10000"/>
                  <a:gd name="connsiteX2134" fmla="*/ 1051 w 10785"/>
                  <a:gd name="connsiteY2134" fmla="*/ 4718 h 10000"/>
                  <a:gd name="connsiteX2135" fmla="*/ 1055 w 10785"/>
                  <a:gd name="connsiteY2135" fmla="*/ 4692 h 10000"/>
                  <a:gd name="connsiteX2136" fmla="*/ 1055 w 10785"/>
                  <a:gd name="connsiteY2136" fmla="*/ 4667 h 10000"/>
                  <a:gd name="connsiteX2137" fmla="*/ 1028 w 10785"/>
                  <a:gd name="connsiteY2137" fmla="*/ 4624 h 10000"/>
                  <a:gd name="connsiteX2138" fmla="*/ 1005 w 10785"/>
                  <a:gd name="connsiteY2138" fmla="*/ 4624 h 10000"/>
                  <a:gd name="connsiteX2139" fmla="*/ 977 w 10785"/>
                  <a:gd name="connsiteY2139" fmla="*/ 4581 h 10000"/>
                  <a:gd name="connsiteX2140" fmla="*/ 963 w 10785"/>
                  <a:gd name="connsiteY2140" fmla="*/ 4607 h 10000"/>
                  <a:gd name="connsiteX2141" fmla="*/ 963 w 10785"/>
                  <a:gd name="connsiteY2141" fmla="*/ 4632 h 10000"/>
                  <a:gd name="connsiteX2142" fmla="*/ 917 w 10785"/>
                  <a:gd name="connsiteY2142" fmla="*/ 4718 h 10000"/>
                  <a:gd name="connsiteX2143" fmla="*/ 889 w 10785"/>
                  <a:gd name="connsiteY2143" fmla="*/ 4744 h 10000"/>
                  <a:gd name="connsiteX2144" fmla="*/ 880 w 10785"/>
                  <a:gd name="connsiteY2144" fmla="*/ 4744 h 10000"/>
                  <a:gd name="connsiteX2145" fmla="*/ 862 w 10785"/>
                  <a:gd name="connsiteY2145" fmla="*/ 4769 h 10000"/>
                  <a:gd name="connsiteX2146" fmla="*/ 857 w 10785"/>
                  <a:gd name="connsiteY2146" fmla="*/ 4795 h 10000"/>
                  <a:gd name="connsiteX2147" fmla="*/ 829 w 10785"/>
                  <a:gd name="connsiteY2147" fmla="*/ 4846 h 10000"/>
                  <a:gd name="connsiteX2148" fmla="*/ 816 w 10785"/>
                  <a:gd name="connsiteY2148" fmla="*/ 4855 h 10000"/>
                  <a:gd name="connsiteX2149" fmla="*/ 816 w 10785"/>
                  <a:gd name="connsiteY2149" fmla="*/ 4940 h 10000"/>
                  <a:gd name="connsiteX2150" fmla="*/ 880 w 10785"/>
                  <a:gd name="connsiteY2150" fmla="*/ 5179 h 10000"/>
                  <a:gd name="connsiteX2151" fmla="*/ 880 w 10785"/>
                  <a:gd name="connsiteY2151" fmla="*/ 5188 h 10000"/>
                  <a:gd name="connsiteX2152" fmla="*/ 862 w 10785"/>
                  <a:gd name="connsiteY2152" fmla="*/ 5171 h 10000"/>
                  <a:gd name="connsiteX2153" fmla="*/ 857 w 10785"/>
                  <a:gd name="connsiteY2153" fmla="*/ 5171 h 10000"/>
                  <a:gd name="connsiteX2154" fmla="*/ 820 w 10785"/>
                  <a:gd name="connsiteY2154" fmla="*/ 5145 h 10000"/>
                  <a:gd name="connsiteX2155" fmla="*/ 820 w 10785"/>
                  <a:gd name="connsiteY2155" fmla="*/ 5154 h 10000"/>
                  <a:gd name="connsiteX2156" fmla="*/ 816 w 10785"/>
                  <a:gd name="connsiteY2156" fmla="*/ 5171 h 10000"/>
                  <a:gd name="connsiteX2157" fmla="*/ 783 w 10785"/>
                  <a:gd name="connsiteY2157" fmla="*/ 5145 h 10000"/>
                  <a:gd name="connsiteX2158" fmla="*/ 756 w 10785"/>
                  <a:gd name="connsiteY2158" fmla="*/ 5103 h 10000"/>
                  <a:gd name="connsiteX2159" fmla="*/ 742 w 10785"/>
                  <a:gd name="connsiteY2159" fmla="*/ 5103 h 10000"/>
                  <a:gd name="connsiteX2160" fmla="*/ 728 w 10785"/>
                  <a:gd name="connsiteY2160" fmla="*/ 5094 h 10000"/>
                  <a:gd name="connsiteX2161" fmla="*/ 710 w 10785"/>
                  <a:gd name="connsiteY2161" fmla="*/ 5120 h 10000"/>
                  <a:gd name="connsiteX2162" fmla="*/ 700 w 10785"/>
                  <a:gd name="connsiteY2162" fmla="*/ 5145 h 10000"/>
                  <a:gd name="connsiteX2163" fmla="*/ 696 w 10785"/>
                  <a:gd name="connsiteY2163" fmla="*/ 5103 h 10000"/>
                  <a:gd name="connsiteX2164" fmla="*/ 714 w 10785"/>
                  <a:gd name="connsiteY2164" fmla="*/ 5077 h 10000"/>
                  <a:gd name="connsiteX2165" fmla="*/ 682 w 10785"/>
                  <a:gd name="connsiteY2165" fmla="*/ 5068 h 10000"/>
                  <a:gd name="connsiteX2166" fmla="*/ 673 w 10785"/>
                  <a:gd name="connsiteY2166" fmla="*/ 5034 h 10000"/>
                  <a:gd name="connsiteX2167" fmla="*/ 636 w 10785"/>
                  <a:gd name="connsiteY2167" fmla="*/ 4991 h 10000"/>
                  <a:gd name="connsiteX2168" fmla="*/ 622 w 10785"/>
                  <a:gd name="connsiteY2168" fmla="*/ 4983 h 10000"/>
                  <a:gd name="connsiteX2169" fmla="*/ 622 w 10785"/>
                  <a:gd name="connsiteY2169" fmla="*/ 5034 h 10000"/>
                  <a:gd name="connsiteX2170" fmla="*/ 608 w 10785"/>
                  <a:gd name="connsiteY2170" fmla="*/ 5051 h 10000"/>
                  <a:gd name="connsiteX2171" fmla="*/ 594 w 10785"/>
                  <a:gd name="connsiteY2171" fmla="*/ 5068 h 10000"/>
                  <a:gd name="connsiteX2172" fmla="*/ 608 w 10785"/>
                  <a:gd name="connsiteY2172" fmla="*/ 5120 h 10000"/>
                  <a:gd name="connsiteX2173" fmla="*/ 613 w 10785"/>
                  <a:gd name="connsiteY2173" fmla="*/ 5128 h 10000"/>
                  <a:gd name="connsiteX2174" fmla="*/ 627 w 10785"/>
                  <a:gd name="connsiteY2174" fmla="*/ 5179 h 10000"/>
                  <a:gd name="connsiteX2175" fmla="*/ 650 w 10785"/>
                  <a:gd name="connsiteY2175" fmla="*/ 5214 h 10000"/>
                  <a:gd name="connsiteX2176" fmla="*/ 687 w 10785"/>
                  <a:gd name="connsiteY2176" fmla="*/ 5188 h 10000"/>
                  <a:gd name="connsiteX2177" fmla="*/ 700 w 10785"/>
                  <a:gd name="connsiteY2177" fmla="*/ 5325 h 10000"/>
                  <a:gd name="connsiteX2178" fmla="*/ 710 w 10785"/>
                  <a:gd name="connsiteY2178" fmla="*/ 5350 h 10000"/>
                  <a:gd name="connsiteX2179" fmla="*/ 687 w 10785"/>
                  <a:gd name="connsiteY2179" fmla="*/ 5325 h 10000"/>
                  <a:gd name="connsiteX2180" fmla="*/ 668 w 10785"/>
                  <a:gd name="connsiteY2180" fmla="*/ 5350 h 10000"/>
                  <a:gd name="connsiteX2181" fmla="*/ 668 w 10785"/>
                  <a:gd name="connsiteY2181" fmla="*/ 5368 h 10000"/>
                  <a:gd name="connsiteX2182" fmla="*/ 668 w 10785"/>
                  <a:gd name="connsiteY2182" fmla="*/ 5376 h 10000"/>
                  <a:gd name="connsiteX2183" fmla="*/ 581 w 10785"/>
                  <a:gd name="connsiteY2183" fmla="*/ 5316 h 10000"/>
                  <a:gd name="connsiteX2184" fmla="*/ 567 w 10785"/>
                  <a:gd name="connsiteY2184" fmla="*/ 5265 h 10000"/>
                  <a:gd name="connsiteX2185" fmla="*/ 562 w 10785"/>
                  <a:gd name="connsiteY2185" fmla="*/ 5256 h 10000"/>
                  <a:gd name="connsiteX2186" fmla="*/ 548 w 10785"/>
                  <a:gd name="connsiteY2186" fmla="*/ 5231 h 10000"/>
                  <a:gd name="connsiteX2187" fmla="*/ 535 w 10785"/>
                  <a:gd name="connsiteY2187" fmla="*/ 5214 h 10000"/>
                  <a:gd name="connsiteX2188" fmla="*/ 525 w 10785"/>
                  <a:gd name="connsiteY2188" fmla="*/ 5231 h 10000"/>
                  <a:gd name="connsiteX2189" fmla="*/ 521 w 10785"/>
                  <a:gd name="connsiteY2189" fmla="*/ 5231 h 10000"/>
                  <a:gd name="connsiteX2190" fmla="*/ 493 w 10785"/>
                  <a:gd name="connsiteY2190" fmla="*/ 5205 h 10000"/>
                  <a:gd name="connsiteX2191" fmla="*/ 488 w 10785"/>
                  <a:gd name="connsiteY2191" fmla="*/ 5179 h 10000"/>
                  <a:gd name="connsiteX2192" fmla="*/ 475 w 10785"/>
                  <a:gd name="connsiteY2192" fmla="*/ 5188 h 10000"/>
                  <a:gd name="connsiteX2193" fmla="*/ 475 w 10785"/>
                  <a:gd name="connsiteY2193" fmla="*/ 5171 h 10000"/>
                  <a:gd name="connsiteX2194" fmla="*/ 488 w 10785"/>
                  <a:gd name="connsiteY2194" fmla="*/ 5154 h 10000"/>
                  <a:gd name="connsiteX2195" fmla="*/ 488 w 10785"/>
                  <a:gd name="connsiteY2195" fmla="*/ 5068 h 10000"/>
                  <a:gd name="connsiteX2196" fmla="*/ 475 w 10785"/>
                  <a:gd name="connsiteY2196" fmla="*/ 5051 h 10000"/>
                  <a:gd name="connsiteX2197" fmla="*/ 475 w 10785"/>
                  <a:gd name="connsiteY2197" fmla="*/ 5017 h 10000"/>
                  <a:gd name="connsiteX2198" fmla="*/ 452 w 10785"/>
                  <a:gd name="connsiteY2198" fmla="*/ 4932 h 10000"/>
                  <a:gd name="connsiteX2199" fmla="*/ 461 w 10785"/>
                  <a:gd name="connsiteY2199" fmla="*/ 4915 h 10000"/>
                  <a:gd name="connsiteX2200" fmla="*/ 475 w 10785"/>
                  <a:gd name="connsiteY2200" fmla="*/ 4906 h 10000"/>
                  <a:gd name="connsiteX2201" fmla="*/ 479 w 10785"/>
                  <a:gd name="connsiteY2201" fmla="*/ 4803 h 10000"/>
                  <a:gd name="connsiteX2202" fmla="*/ 479 w 10785"/>
                  <a:gd name="connsiteY2202" fmla="*/ 4778 h 10000"/>
                  <a:gd name="connsiteX2203" fmla="*/ 475 w 10785"/>
                  <a:gd name="connsiteY2203" fmla="*/ 4761 h 10000"/>
                  <a:gd name="connsiteX2204" fmla="*/ 465 w 10785"/>
                  <a:gd name="connsiteY2204" fmla="*/ 4718 h 10000"/>
                  <a:gd name="connsiteX2205" fmla="*/ 461 w 10785"/>
                  <a:gd name="connsiteY2205" fmla="*/ 4709 h 10000"/>
                  <a:gd name="connsiteX2206" fmla="*/ 442 w 10785"/>
                  <a:gd name="connsiteY2206" fmla="*/ 4692 h 10000"/>
                  <a:gd name="connsiteX2207" fmla="*/ 433 w 10785"/>
                  <a:gd name="connsiteY2207" fmla="*/ 4667 h 10000"/>
                  <a:gd name="connsiteX2208" fmla="*/ 419 w 10785"/>
                  <a:gd name="connsiteY2208" fmla="*/ 4667 h 10000"/>
                  <a:gd name="connsiteX2209" fmla="*/ 401 w 10785"/>
                  <a:gd name="connsiteY2209" fmla="*/ 4658 h 10000"/>
                  <a:gd name="connsiteX2210" fmla="*/ 401 w 10785"/>
                  <a:gd name="connsiteY2210" fmla="*/ 4624 h 10000"/>
                  <a:gd name="connsiteX2211" fmla="*/ 401 w 10785"/>
                  <a:gd name="connsiteY2211" fmla="*/ 4607 h 10000"/>
                  <a:gd name="connsiteX2212" fmla="*/ 378 w 10785"/>
                  <a:gd name="connsiteY2212" fmla="*/ 4607 h 10000"/>
                  <a:gd name="connsiteX2213" fmla="*/ 341 w 10785"/>
                  <a:gd name="connsiteY2213" fmla="*/ 4530 h 10000"/>
                  <a:gd name="connsiteX2214" fmla="*/ 346 w 10785"/>
                  <a:gd name="connsiteY2214" fmla="*/ 4521 h 10000"/>
                  <a:gd name="connsiteX2215" fmla="*/ 332 w 10785"/>
                  <a:gd name="connsiteY2215" fmla="*/ 4487 h 10000"/>
                  <a:gd name="connsiteX2216" fmla="*/ 327 w 10785"/>
                  <a:gd name="connsiteY2216" fmla="*/ 4462 h 10000"/>
                  <a:gd name="connsiteX2217" fmla="*/ 313 w 10785"/>
                  <a:gd name="connsiteY2217" fmla="*/ 4436 h 10000"/>
                  <a:gd name="connsiteX2218" fmla="*/ 300 w 10785"/>
                  <a:gd name="connsiteY2218" fmla="*/ 4419 h 10000"/>
                  <a:gd name="connsiteX2219" fmla="*/ 309 w 10785"/>
                  <a:gd name="connsiteY2219" fmla="*/ 4393 h 10000"/>
                  <a:gd name="connsiteX2220" fmla="*/ 332 w 10785"/>
                  <a:gd name="connsiteY2220" fmla="*/ 4385 h 10000"/>
                  <a:gd name="connsiteX2221" fmla="*/ 355 w 10785"/>
                  <a:gd name="connsiteY2221" fmla="*/ 4419 h 10000"/>
                  <a:gd name="connsiteX2222" fmla="*/ 355 w 10785"/>
                  <a:gd name="connsiteY2222" fmla="*/ 4444 h 10000"/>
                  <a:gd name="connsiteX2223" fmla="*/ 369 w 10785"/>
                  <a:gd name="connsiteY2223" fmla="*/ 4470 h 10000"/>
                  <a:gd name="connsiteX2224" fmla="*/ 401 w 10785"/>
                  <a:gd name="connsiteY2224" fmla="*/ 4521 h 10000"/>
                  <a:gd name="connsiteX2225" fmla="*/ 406 w 10785"/>
                  <a:gd name="connsiteY2225" fmla="*/ 4513 h 10000"/>
                  <a:gd name="connsiteX2226" fmla="*/ 406 w 10785"/>
                  <a:gd name="connsiteY2226" fmla="*/ 4496 h 10000"/>
                  <a:gd name="connsiteX2227" fmla="*/ 419 w 10785"/>
                  <a:gd name="connsiteY2227" fmla="*/ 4521 h 10000"/>
                  <a:gd name="connsiteX2228" fmla="*/ 429 w 10785"/>
                  <a:gd name="connsiteY2228" fmla="*/ 4530 h 10000"/>
                  <a:gd name="connsiteX2229" fmla="*/ 433 w 10785"/>
                  <a:gd name="connsiteY2229" fmla="*/ 4521 h 10000"/>
                  <a:gd name="connsiteX2230" fmla="*/ 442 w 10785"/>
                  <a:gd name="connsiteY2230" fmla="*/ 4530 h 10000"/>
                  <a:gd name="connsiteX2231" fmla="*/ 447 w 10785"/>
                  <a:gd name="connsiteY2231" fmla="*/ 4521 h 10000"/>
                  <a:gd name="connsiteX2232" fmla="*/ 452 w 10785"/>
                  <a:gd name="connsiteY2232" fmla="*/ 4521 h 10000"/>
                  <a:gd name="connsiteX2233" fmla="*/ 461 w 10785"/>
                  <a:gd name="connsiteY2233" fmla="*/ 4573 h 10000"/>
                  <a:gd name="connsiteX2234" fmla="*/ 479 w 10785"/>
                  <a:gd name="connsiteY2234" fmla="*/ 4556 h 10000"/>
                  <a:gd name="connsiteX2235" fmla="*/ 502 w 10785"/>
                  <a:gd name="connsiteY2235" fmla="*/ 4573 h 10000"/>
                  <a:gd name="connsiteX2236" fmla="*/ 507 w 10785"/>
                  <a:gd name="connsiteY2236" fmla="*/ 4598 h 10000"/>
                  <a:gd name="connsiteX2237" fmla="*/ 525 w 10785"/>
                  <a:gd name="connsiteY2237" fmla="*/ 4598 h 10000"/>
                  <a:gd name="connsiteX2238" fmla="*/ 535 w 10785"/>
                  <a:gd name="connsiteY2238" fmla="*/ 4624 h 10000"/>
                  <a:gd name="connsiteX2239" fmla="*/ 594 w 10785"/>
                  <a:gd name="connsiteY2239" fmla="*/ 4658 h 10000"/>
                  <a:gd name="connsiteX2240" fmla="*/ 627 w 10785"/>
                  <a:gd name="connsiteY2240" fmla="*/ 4658 h 10000"/>
                  <a:gd name="connsiteX2241" fmla="*/ 654 w 10785"/>
                  <a:gd name="connsiteY2241" fmla="*/ 4684 h 10000"/>
                  <a:gd name="connsiteX2242" fmla="*/ 668 w 10785"/>
                  <a:gd name="connsiteY2242" fmla="*/ 4709 h 10000"/>
                  <a:gd name="connsiteX2243" fmla="*/ 747 w 10785"/>
                  <a:gd name="connsiteY2243" fmla="*/ 4718 h 10000"/>
                  <a:gd name="connsiteX2244" fmla="*/ 760 w 10785"/>
                  <a:gd name="connsiteY2244" fmla="*/ 4709 h 10000"/>
                  <a:gd name="connsiteX2245" fmla="*/ 774 w 10785"/>
                  <a:gd name="connsiteY2245" fmla="*/ 4692 h 10000"/>
                  <a:gd name="connsiteX2246" fmla="*/ 829 w 10785"/>
                  <a:gd name="connsiteY2246" fmla="*/ 4658 h 10000"/>
                  <a:gd name="connsiteX2247" fmla="*/ 903 w 10785"/>
                  <a:gd name="connsiteY2247" fmla="*/ 4496 h 10000"/>
                  <a:gd name="connsiteX2248" fmla="*/ 917 w 10785"/>
                  <a:gd name="connsiteY2248" fmla="*/ 4385 h 10000"/>
                  <a:gd name="connsiteX2249" fmla="*/ 903 w 10785"/>
                  <a:gd name="connsiteY2249" fmla="*/ 4376 h 10000"/>
                  <a:gd name="connsiteX2250" fmla="*/ 903 w 10785"/>
                  <a:gd name="connsiteY2250" fmla="*/ 4376 h 10000"/>
                  <a:gd name="connsiteX2251" fmla="*/ 889 w 10785"/>
                  <a:gd name="connsiteY2251" fmla="*/ 4239 h 10000"/>
                  <a:gd name="connsiteX2252" fmla="*/ 880 w 10785"/>
                  <a:gd name="connsiteY2252" fmla="*/ 4214 h 10000"/>
                  <a:gd name="connsiteX2253" fmla="*/ 862 w 10785"/>
                  <a:gd name="connsiteY2253" fmla="*/ 4188 h 10000"/>
                  <a:gd name="connsiteX2254" fmla="*/ 857 w 10785"/>
                  <a:gd name="connsiteY2254" fmla="*/ 4197 h 10000"/>
                  <a:gd name="connsiteX2255" fmla="*/ 848 w 10785"/>
                  <a:gd name="connsiteY2255" fmla="*/ 4188 h 10000"/>
                  <a:gd name="connsiteX2256" fmla="*/ 848 w 10785"/>
                  <a:gd name="connsiteY2256" fmla="*/ 4162 h 10000"/>
                  <a:gd name="connsiteX2257" fmla="*/ 829 w 10785"/>
                  <a:gd name="connsiteY2257" fmla="*/ 4120 h 10000"/>
                  <a:gd name="connsiteX2258" fmla="*/ 820 w 10785"/>
                  <a:gd name="connsiteY2258" fmla="*/ 4103 h 10000"/>
                  <a:gd name="connsiteX2259" fmla="*/ 806 w 10785"/>
                  <a:gd name="connsiteY2259" fmla="*/ 4077 h 10000"/>
                  <a:gd name="connsiteX2260" fmla="*/ 816 w 10785"/>
                  <a:gd name="connsiteY2260" fmla="*/ 4111 h 10000"/>
                  <a:gd name="connsiteX2261" fmla="*/ 802 w 10785"/>
                  <a:gd name="connsiteY2261" fmla="*/ 4111 h 10000"/>
                  <a:gd name="connsiteX2262" fmla="*/ 770 w 10785"/>
                  <a:gd name="connsiteY2262" fmla="*/ 4060 h 10000"/>
                  <a:gd name="connsiteX2263" fmla="*/ 760 w 10785"/>
                  <a:gd name="connsiteY2263" fmla="*/ 4077 h 10000"/>
                  <a:gd name="connsiteX2264" fmla="*/ 760 w 10785"/>
                  <a:gd name="connsiteY2264" fmla="*/ 4060 h 10000"/>
                  <a:gd name="connsiteX2265" fmla="*/ 756 w 10785"/>
                  <a:gd name="connsiteY2265" fmla="*/ 4034 h 10000"/>
                  <a:gd name="connsiteX2266" fmla="*/ 742 w 10785"/>
                  <a:gd name="connsiteY2266" fmla="*/ 4000 h 10000"/>
                  <a:gd name="connsiteX2267" fmla="*/ 747 w 10785"/>
                  <a:gd name="connsiteY2267" fmla="*/ 4034 h 10000"/>
                  <a:gd name="connsiteX2268" fmla="*/ 724 w 10785"/>
                  <a:gd name="connsiteY2268" fmla="*/ 4026 h 10000"/>
                  <a:gd name="connsiteX2269" fmla="*/ 714 w 10785"/>
                  <a:gd name="connsiteY2269" fmla="*/ 4000 h 10000"/>
                  <a:gd name="connsiteX2270" fmla="*/ 714 w 10785"/>
                  <a:gd name="connsiteY2270" fmla="*/ 3983 h 10000"/>
                  <a:gd name="connsiteX2271" fmla="*/ 553 w 10785"/>
                  <a:gd name="connsiteY2271" fmla="*/ 3726 h 10000"/>
                  <a:gd name="connsiteX2272" fmla="*/ 507 w 10785"/>
                  <a:gd name="connsiteY2272" fmla="*/ 3718 h 10000"/>
                  <a:gd name="connsiteX2273" fmla="*/ 516 w 10785"/>
                  <a:gd name="connsiteY2273" fmla="*/ 3726 h 10000"/>
                  <a:gd name="connsiteX2274" fmla="*/ 507 w 10785"/>
                  <a:gd name="connsiteY2274" fmla="*/ 3735 h 10000"/>
                  <a:gd name="connsiteX2275" fmla="*/ 502 w 10785"/>
                  <a:gd name="connsiteY2275" fmla="*/ 3735 h 10000"/>
                  <a:gd name="connsiteX2276" fmla="*/ 419 w 10785"/>
                  <a:gd name="connsiteY2276" fmla="*/ 3675 h 10000"/>
                  <a:gd name="connsiteX2277" fmla="*/ 419 w 10785"/>
                  <a:gd name="connsiteY2277" fmla="*/ 3692 h 10000"/>
                  <a:gd name="connsiteX2278" fmla="*/ 401 w 10785"/>
                  <a:gd name="connsiteY2278" fmla="*/ 3701 h 10000"/>
                  <a:gd name="connsiteX2279" fmla="*/ 387 w 10785"/>
                  <a:gd name="connsiteY2279" fmla="*/ 3718 h 10000"/>
                  <a:gd name="connsiteX2280" fmla="*/ 387 w 10785"/>
                  <a:gd name="connsiteY2280" fmla="*/ 3692 h 10000"/>
                  <a:gd name="connsiteX2281" fmla="*/ 378 w 10785"/>
                  <a:gd name="connsiteY2281" fmla="*/ 3675 h 10000"/>
                  <a:gd name="connsiteX2282" fmla="*/ 378 w 10785"/>
                  <a:gd name="connsiteY2282" fmla="*/ 3650 h 10000"/>
                  <a:gd name="connsiteX2283" fmla="*/ 378 w 10785"/>
                  <a:gd name="connsiteY2283" fmla="*/ 3650 h 10000"/>
                  <a:gd name="connsiteX2284" fmla="*/ 355 w 10785"/>
                  <a:gd name="connsiteY2284" fmla="*/ 3675 h 10000"/>
                  <a:gd name="connsiteX2285" fmla="*/ 359 w 10785"/>
                  <a:gd name="connsiteY2285" fmla="*/ 3641 h 10000"/>
                  <a:gd name="connsiteX2286" fmla="*/ 346 w 10785"/>
                  <a:gd name="connsiteY2286" fmla="*/ 3650 h 10000"/>
                  <a:gd name="connsiteX2287" fmla="*/ 355 w 10785"/>
                  <a:gd name="connsiteY2287" fmla="*/ 3624 h 10000"/>
                  <a:gd name="connsiteX2288" fmla="*/ 346 w 10785"/>
                  <a:gd name="connsiteY2288" fmla="*/ 3624 h 10000"/>
                  <a:gd name="connsiteX2289" fmla="*/ 341 w 10785"/>
                  <a:gd name="connsiteY2289" fmla="*/ 3624 h 10000"/>
                  <a:gd name="connsiteX2290" fmla="*/ 318 w 10785"/>
                  <a:gd name="connsiteY2290" fmla="*/ 3641 h 10000"/>
                  <a:gd name="connsiteX2291" fmla="*/ 327 w 10785"/>
                  <a:gd name="connsiteY2291" fmla="*/ 3624 h 10000"/>
                  <a:gd name="connsiteX2292" fmla="*/ 318 w 10785"/>
                  <a:gd name="connsiteY2292" fmla="*/ 3615 h 10000"/>
                  <a:gd name="connsiteX2293" fmla="*/ 318 w 10785"/>
                  <a:gd name="connsiteY2293" fmla="*/ 3598 h 10000"/>
                  <a:gd name="connsiteX2294" fmla="*/ 300 w 10785"/>
                  <a:gd name="connsiteY2294" fmla="*/ 3598 h 10000"/>
                  <a:gd name="connsiteX2295" fmla="*/ 309 w 10785"/>
                  <a:gd name="connsiteY2295" fmla="*/ 3538 h 10000"/>
                  <a:gd name="connsiteX2296" fmla="*/ 313 w 10785"/>
                  <a:gd name="connsiteY2296" fmla="*/ 3564 h 10000"/>
                  <a:gd name="connsiteX2297" fmla="*/ 318 w 10785"/>
                  <a:gd name="connsiteY2297" fmla="*/ 3581 h 10000"/>
                  <a:gd name="connsiteX2298" fmla="*/ 327 w 10785"/>
                  <a:gd name="connsiteY2298" fmla="*/ 3564 h 10000"/>
                  <a:gd name="connsiteX2299" fmla="*/ 332 w 10785"/>
                  <a:gd name="connsiteY2299" fmla="*/ 3590 h 10000"/>
                  <a:gd name="connsiteX2300" fmla="*/ 346 w 10785"/>
                  <a:gd name="connsiteY2300" fmla="*/ 3590 h 10000"/>
                  <a:gd name="connsiteX2301" fmla="*/ 355 w 10785"/>
                  <a:gd name="connsiteY2301" fmla="*/ 3590 h 10000"/>
                  <a:gd name="connsiteX2302" fmla="*/ 369 w 10785"/>
                  <a:gd name="connsiteY2302" fmla="*/ 3556 h 10000"/>
                  <a:gd name="connsiteX2303" fmla="*/ 369 w 10785"/>
                  <a:gd name="connsiteY2303" fmla="*/ 3538 h 10000"/>
                  <a:gd name="connsiteX2304" fmla="*/ 346 w 10785"/>
                  <a:gd name="connsiteY2304" fmla="*/ 3513 h 10000"/>
                  <a:gd name="connsiteX2305" fmla="*/ 341 w 10785"/>
                  <a:gd name="connsiteY2305" fmla="*/ 3530 h 10000"/>
                  <a:gd name="connsiteX2306" fmla="*/ 327 w 10785"/>
                  <a:gd name="connsiteY2306" fmla="*/ 3513 h 10000"/>
                  <a:gd name="connsiteX2307" fmla="*/ 327 w 10785"/>
                  <a:gd name="connsiteY2307" fmla="*/ 3504 h 10000"/>
                  <a:gd name="connsiteX2308" fmla="*/ 295 w 10785"/>
                  <a:gd name="connsiteY2308" fmla="*/ 3462 h 10000"/>
                  <a:gd name="connsiteX2309" fmla="*/ 300 w 10785"/>
                  <a:gd name="connsiteY2309" fmla="*/ 3479 h 10000"/>
                  <a:gd name="connsiteX2310" fmla="*/ 295 w 10785"/>
                  <a:gd name="connsiteY2310" fmla="*/ 3513 h 10000"/>
                  <a:gd name="connsiteX2311" fmla="*/ 286 w 10785"/>
                  <a:gd name="connsiteY2311" fmla="*/ 3513 h 10000"/>
                  <a:gd name="connsiteX2312" fmla="*/ 281 w 10785"/>
                  <a:gd name="connsiteY2312" fmla="*/ 3513 h 10000"/>
                  <a:gd name="connsiteX2313" fmla="*/ 281 w 10785"/>
                  <a:gd name="connsiteY2313" fmla="*/ 3530 h 10000"/>
                  <a:gd name="connsiteX2314" fmla="*/ 281 w 10785"/>
                  <a:gd name="connsiteY2314" fmla="*/ 3556 h 10000"/>
                  <a:gd name="connsiteX2315" fmla="*/ 272 w 10785"/>
                  <a:gd name="connsiteY2315" fmla="*/ 3564 h 10000"/>
                  <a:gd name="connsiteX2316" fmla="*/ 267 w 10785"/>
                  <a:gd name="connsiteY2316" fmla="*/ 3564 h 10000"/>
                  <a:gd name="connsiteX2317" fmla="*/ 253 w 10785"/>
                  <a:gd name="connsiteY2317" fmla="*/ 3538 h 10000"/>
                  <a:gd name="connsiteX2318" fmla="*/ 226 w 10785"/>
                  <a:gd name="connsiteY2318" fmla="*/ 3513 h 10000"/>
                  <a:gd name="connsiteX2319" fmla="*/ 226 w 10785"/>
                  <a:gd name="connsiteY2319" fmla="*/ 3530 h 10000"/>
                  <a:gd name="connsiteX2320" fmla="*/ 226 w 10785"/>
                  <a:gd name="connsiteY2320" fmla="*/ 3530 h 10000"/>
                  <a:gd name="connsiteX2321" fmla="*/ 226 w 10785"/>
                  <a:gd name="connsiteY2321" fmla="*/ 3530 h 10000"/>
                  <a:gd name="connsiteX2322" fmla="*/ 226 w 10785"/>
                  <a:gd name="connsiteY2322" fmla="*/ 3556 h 10000"/>
                  <a:gd name="connsiteX2323" fmla="*/ 221 w 10785"/>
                  <a:gd name="connsiteY2323" fmla="*/ 3598 h 10000"/>
                  <a:gd name="connsiteX2324" fmla="*/ 207 w 10785"/>
                  <a:gd name="connsiteY2324" fmla="*/ 3598 h 10000"/>
                  <a:gd name="connsiteX2325" fmla="*/ 180 w 10785"/>
                  <a:gd name="connsiteY2325" fmla="*/ 3581 h 10000"/>
                  <a:gd name="connsiteX2326" fmla="*/ 171 w 10785"/>
                  <a:gd name="connsiteY2326" fmla="*/ 3641 h 10000"/>
                  <a:gd name="connsiteX2327" fmla="*/ 166 w 10785"/>
                  <a:gd name="connsiteY2327" fmla="*/ 3650 h 10000"/>
                  <a:gd name="connsiteX2328" fmla="*/ 124 w 10785"/>
                  <a:gd name="connsiteY2328" fmla="*/ 3701 h 10000"/>
                  <a:gd name="connsiteX2329" fmla="*/ 124 w 10785"/>
                  <a:gd name="connsiteY2329" fmla="*/ 3718 h 10000"/>
                  <a:gd name="connsiteX2330" fmla="*/ 120 w 10785"/>
                  <a:gd name="connsiteY2330" fmla="*/ 3735 h 10000"/>
                  <a:gd name="connsiteX2331" fmla="*/ 120 w 10785"/>
                  <a:gd name="connsiteY2331" fmla="*/ 3735 h 10000"/>
                  <a:gd name="connsiteX2332" fmla="*/ 111 w 10785"/>
                  <a:gd name="connsiteY2332" fmla="*/ 3761 h 10000"/>
                  <a:gd name="connsiteX2333" fmla="*/ 106 w 10785"/>
                  <a:gd name="connsiteY2333" fmla="*/ 3761 h 10000"/>
                  <a:gd name="connsiteX2334" fmla="*/ 106 w 10785"/>
                  <a:gd name="connsiteY2334" fmla="*/ 3761 h 10000"/>
                  <a:gd name="connsiteX2335" fmla="*/ 74 w 10785"/>
                  <a:gd name="connsiteY2335" fmla="*/ 3829 h 10000"/>
                  <a:gd name="connsiteX2336" fmla="*/ 78 w 10785"/>
                  <a:gd name="connsiteY2336" fmla="*/ 3838 h 10000"/>
                  <a:gd name="connsiteX2337" fmla="*/ 88 w 10785"/>
                  <a:gd name="connsiteY2337" fmla="*/ 3846 h 10000"/>
                  <a:gd name="connsiteX2338" fmla="*/ 65 w 10785"/>
                  <a:gd name="connsiteY2338" fmla="*/ 3923 h 10000"/>
                  <a:gd name="connsiteX2339" fmla="*/ 78 w 10785"/>
                  <a:gd name="connsiteY2339" fmla="*/ 4026 h 10000"/>
                  <a:gd name="connsiteX2340" fmla="*/ 88 w 10785"/>
                  <a:gd name="connsiteY2340" fmla="*/ 4051 h 10000"/>
                  <a:gd name="connsiteX2341" fmla="*/ 92 w 10785"/>
                  <a:gd name="connsiteY2341" fmla="*/ 4060 h 10000"/>
                  <a:gd name="connsiteX2342" fmla="*/ 111 w 10785"/>
                  <a:gd name="connsiteY2342" fmla="*/ 4060 h 10000"/>
                  <a:gd name="connsiteX2343" fmla="*/ 124 w 10785"/>
                  <a:gd name="connsiteY2343" fmla="*/ 4085 h 10000"/>
                  <a:gd name="connsiteX2344" fmla="*/ 166 w 10785"/>
                  <a:gd name="connsiteY2344" fmla="*/ 4197 h 10000"/>
                  <a:gd name="connsiteX2345" fmla="*/ 166 w 10785"/>
                  <a:gd name="connsiteY2345" fmla="*/ 4248 h 10000"/>
                  <a:gd name="connsiteX2346" fmla="*/ 120 w 10785"/>
                  <a:gd name="connsiteY2346" fmla="*/ 4462 h 10000"/>
                  <a:gd name="connsiteX2347" fmla="*/ 120 w 10785"/>
                  <a:gd name="connsiteY2347" fmla="*/ 4513 h 10000"/>
                  <a:gd name="connsiteX2348" fmla="*/ 180 w 10785"/>
                  <a:gd name="connsiteY2348" fmla="*/ 4829 h 10000"/>
                  <a:gd name="connsiteX2349" fmla="*/ 161 w 10785"/>
                  <a:gd name="connsiteY2349" fmla="*/ 4855 h 10000"/>
                  <a:gd name="connsiteX2350" fmla="*/ 152 w 10785"/>
                  <a:gd name="connsiteY2350" fmla="*/ 4940 h 10000"/>
                  <a:gd name="connsiteX2351" fmla="*/ 161 w 10785"/>
                  <a:gd name="connsiteY2351" fmla="*/ 4966 h 10000"/>
                  <a:gd name="connsiteX2352" fmla="*/ 161 w 10785"/>
                  <a:gd name="connsiteY2352" fmla="*/ 5009 h 10000"/>
                  <a:gd name="connsiteX2353" fmla="*/ 152 w 10785"/>
                  <a:gd name="connsiteY2353" fmla="*/ 5034 h 10000"/>
                  <a:gd name="connsiteX2354" fmla="*/ 152 w 10785"/>
                  <a:gd name="connsiteY2354" fmla="*/ 5077 h 10000"/>
                  <a:gd name="connsiteX2355" fmla="*/ 171 w 10785"/>
                  <a:gd name="connsiteY2355" fmla="*/ 5094 h 10000"/>
                  <a:gd name="connsiteX2356" fmla="*/ 180 w 10785"/>
                  <a:gd name="connsiteY2356" fmla="*/ 5128 h 10000"/>
                  <a:gd name="connsiteX2357" fmla="*/ 180 w 10785"/>
                  <a:gd name="connsiteY2357" fmla="*/ 5171 h 10000"/>
                  <a:gd name="connsiteX2358" fmla="*/ 184 w 10785"/>
                  <a:gd name="connsiteY2358" fmla="*/ 5205 h 10000"/>
                  <a:gd name="connsiteX2359" fmla="*/ 207 w 10785"/>
                  <a:gd name="connsiteY2359" fmla="*/ 5239 h 10000"/>
                  <a:gd name="connsiteX2360" fmla="*/ 207 w 10785"/>
                  <a:gd name="connsiteY2360" fmla="*/ 5282 h 10000"/>
                  <a:gd name="connsiteX2361" fmla="*/ 180 w 10785"/>
                  <a:gd name="connsiteY2361" fmla="*/ 5393 h 10000"/>
                  <a:gd name="connsiteX2362" fmla="*/ 194 w 10785"/>
                  <a:gd name="connsiteY2362" fmla="*/ 5427 h 10000"/>
                  <a:gd name="connsiteX2363" fmla="*/ 198 w 10785"/>
                  <a:gd name="connsiteY2363" fmla="*/ 5462 h 10000"/>
                  <a:gd name="connsiteX2364" fmla="*/ 235 w 10785"/>
                  <a:gd name="connsiteY2364" fmla="*/ 5513 h 10000"/>
                  <a:gd name="connsiteX2365" fmla="*/ 240 w 10785"/>
                  <a:gd name="connsiteY2365" fmla="*/ 5556 h 10000"/>
                  <a:gd name="connsiteX2366" fmla="*/ 253 w 10785"/>
                  <a:gd name="connsiteY2366" fmla="*/ 5590 h 10000"/>
                  <a:gd name="connsiteX2367" fmla="*/ 258 w 10785"/>
                  <a:gd name="connsiteY2367" fmla="*/ 5573 h 10000"/>
                  <a:gd name="connsiteX2368" fmla="*/ 258 w 10785"/>
                  <a:gd name="connsiteY2368" fmla="*/ 5667 h 10000"/>
                  <a:gd name="connsiteX2369" fmla="*/ 14 w 10785"/>
                  <a:gd name="connsiteY2369" fmla="*/ 6214 h 10000"/>
                  <a:gd name="connsiteX2370" fmla="*/ 14 w 10785"/>
                  <a:gd name="connsiteY2370" fmla="*/ 6214 h 10000"/>
                  <a:gd name="connsiteX2371" fmla="*/ 37 w 10785"/>
                  <a:gd name="connsiteY2371" fmla="*/ 6214 h 10000"/>
                  <a:gd name="connsiteX2372" fmla="*/ 51 w 10785"/>
                  <a:gd name="connsiteY2372" fmla="*/ 6188 h 10000"/>
                  <a:gd name="connsiteX2373" fmla="*/ 78 w 10785"/>
                  <a:gd name="connsiteY2373" fmla="*/ 6162 h 10000"/>
                  <a:gd name="connsiteX2374" fmla="*/ 78 w 10785"/>
                  <a:gd name="connsiteY2374" fmla="*/ 6188 h 10000"/>
                  <a:gd name="connsiteX2375" fmla="*/ 74 w 10785"/>
                  <a:gd name="connsiteY2375" fmla="*/ 6197 h 10000"/>
                  <a:gd name="connsiteX2376" fmla="*/ 74 w 10785"/>
                  <a:gd name="connsiteY2376" fmla="*/ 6231 h 10000"/>
                  <a:gd name="connsiteX2377" fmla="*/ 74 w 10785"/>
                  <a:gd name="connsiteY2377" fmla="*/ 6214 h 10000"/>
                  <a:gd name="connsiteX2378" fmla="*/ 65 w 10785"/>
                  <a:gd name="connsiteY2378" fmla="*/ 6214 h 10000"/>
                  <a:gd name="connsiteX2379" fmla="*/ 65 w 10785"/>
                  <a:gd name="connsiteY2379" fmla="*/ 6248 h 10000"/>
                  <a:gd name="connsiteX2380" fmla="*/ 74 w 10785"/>
                  <a:gd name="connsiteY2380" fmla="*/ 6256 h 10000"/>
                  <a:gd name="connsiteX2381" fmla="*/ 78 w 10785"/>
                  <a:gd name="connsiteY2381" fmla="*/ 6256 h 10000"/>
                  <a:gd name="connsiteX2382" fmla="*/ 106 w 10785"/>
                  <a:gd name="connsiteY2382" fmla="*/ 6308 h 10000"/>
                  <a:gd name="connsiteX2383" fmla="*/ 138 w 10785"/>
                  <a:gd name="connsiteY2383" fmla="*/ 6299 h 10000"/>
                  <a:gd name="connsiteX2384" fmla="*/ 152 w 10785"/>
                  <a:gd name="connsiteY2384" fmla="*/ 6299 h 10000"/>
                  <a:gd name="connsiteX2385" fmla="*/ 166 w 10785"/>
                  <a:gd name="connsiteY2385" fmla="*/ 6325 h 10000"/>
                  <a:gd name="connsiteX2386" fmla="*/ 166 w 10785"/>
                  <a:gd name="connsiteY2386" fmla="*/ 6333 h 10000"/>
                  <a:gd name="connsiteX2387" fmla="*/ 171 w 10785"/>
                  <a:gd name="connsiteY2387" fmla="*/ 6350 h 10000"/>
                  <a:gd name="connsiteX2388" fmla="*/ 180 w 10785"/>
                  <a:gd name="connsiteY2388" fmla="*/ 6350 h 10000"/>
                  <a:gd name="connsiteX2389" fmla="*/ 180 w 10785"/>
                  <a:gd name="connsiteY2389" fmla="*/ 6359 h 10000"/>
                  <a:gd name="connsiteX2390" fmla="*/ 171 w 10785"/>
                  <a:gd name="connsiteY2390" fmla="*/ 6368 h 10000"/>
                  <a:gd name="connsiteX2391" fmla="*/ 106 w 10785"/>
                  <a:gd name="connsiteY2391" fmla="*/ 6350 h 10000"/>
                  <a:gd name="connsiteX2392" fmla="*/ 101 w 10785"/>
                  <a:gd name="connsiteY2392" fmla="*/ 6359 h 10000"/>
                  <a:gd name="connsiteX2393" fmla="*/ 101 w 10785"/>
                  <a:gd name="connsiteY2393" fmla="*/ 6385 h 10000"/>
                  <a:gd name="connsiteX2394" fmla="*/ 78 w 10785"/>
                  <a:gd name="connsiteY2394" fmla="*/ 6393 h 10000"/>
                  <a:gd name="connsiteX2395" fmla="*/ 74 w 10785"/>
                  <a:gd name="connsiteY2395" fmla="*/ 6385 h 10000"/>
                  <a:gd name="connsiteX2396" fmla="*/ 65 w 10785"/>
                  <a:gd name="connsiteY2396" fmla="*/ 6393 h 10000"/>
                  <a:gd name="connsiteX2397" fmla="*/ 60 w 10785"/>
                  <a:gd name="connsiteY2397" fmla="*/ 6419 h 10000"/>
                  <a:gd name="connsiteX2398" fmla="*/ 51 w 10785"/>
                  <a:gd name="connsiteY2398" fmla="*/ 6419 h 10000"/>
                  <a:gd name="connsiteX2399" fmla="*/ 46 w 10785"/>
                  <a:gd name="connsiteY2399" fmla="*/ 6410 h 10000"/>
                  <a:gd name="connsiteX2400" fmla="*/ 37 w 10785"/>
                  <a:gd name="connsiteY2400" fmla="*/ 6393 h 10000"/>
                  <a:gd name="connsiteX2401" fmla="*/ 32 w 10785"/>
                  <a:gd name="connsiteY2401" fmla="*/ 6419 h 10000"/>
                  <a:gd name="connsiteX2402" fmla="*/ 37 w 10785"/>
                  <a:gd name="connsiteY2402" fmla="*/ 6462 h 10000"/>
                  <a:gd name="connsiteX2403" fmla="*/ 46 w 10785"/>
                  <a:gd name="connsiteY2403" fmla="*/ 6462 h 10000"/>
                  <a:gd name="connsiteX2404" fmla="*/ 51 w 10785"/>
                  <a:gd name="connsiteY2404" fmla="*/ 6470 h 10000"/>
                  <a:gd name="connsiteX2405" fmla="*/ 51 w 10785"/>
                  <a:gd name="connsiteY2405" fmla="*/ 6496 h 10000"/>
                  <a:gd name="connsiteX2406" fmla="*/ 51 w 10785"/>
                  <a:gd name="connsiteY2406" fmla="*/ 6504 h 10000"/>
                  <a:gd name="connsiteX2407" fmla="*/ 37 w 10785"/>
                  <a:gd name="connsiteY2407" fmla="*/ 6530 h 10000"/>
                  <a:gd name="connsiteX2408" fmla="*/ 18 w 10785"/>
                  <a:gd name="connsiteY2408" fmla="*/ 6598 h 10000"/>
                  <a:gd name="connsiteX2409" fmla="*/ 28 w 10785"/>
                  <a:gd name="connsiteY2409" fmla="*/ 6632 h 10000"/>
                  <a:gd name="connsiteX2410" fmla="*/ 18 w 10785"/>
                  <a:gd name="connsiteY2410" fmla="*/ 6667 h 10000"/>
                  <a:gd name="connsiteX2411" fmla="*/ 28 w 10785"/>
                  <a:gd name="connsiteY2411" fmla="*/ 6692 h 10000"/>
                  <a:gd name="connsiteX2412" fmla="*/ 28 w 10785"/>
                  <a:gd name="connsiteY2412" fmla="*/ 6709 h 10000"/>
                  <a:gd name="connsiteX2413" fmla="*/ 18 w 10785"/>
                  <a:gd name="connsiteY2413" fmla="*/ 6718 h 10000"/>
                  <a:gd name="connsiteX2414" fmla="*/ 5 w 10785"/>
                  <a:gd name="connsiteY2414" fmla="*/ 6744 h 10000"/>
                  <a:gd name="connsiteX2415" fmla="*/ 0 w 10785"/>
                  <a:gd name="connsiteY2415" fmla="*/ 6769 h 10000"/>
                  <a:gd name="connsiteX2416" fmla="*/ 5 w 10785"/>
                  <a:gd name="connsiteY2416" fmla="*/ 6778 h 10000"/>
                  <a:gd name="connsiteX2417" fmla="*/ 32 w 10785"/>
                  <a:gd name="connsiteY2417" fmla="*/ 6778 h 10000"/>
                  <a:gd name="connsiteX2418" fmla="*/ 46 w 10785"/>
                  <a:gd name="connsiteY2418" fmla="*/ 6821 h 10000"/>
                  <a:gd name="connsiteX2419" fmla="*/ 46 w 10785"/>
                  <a:gd name="connsiteY2419" fmla="*/ 6855 h 10000"/>
                  <a:gd name="connsiteX2420" fmla="*/ 32 w 10785"/>
                  <a:gd name="connsiteY2420" fmla="*/ 6855 h 10000"/>
                  <a:gd name="connsiteX2421" fmla="*/ 14 w 10785"/>
                  <a:gd name="connsiteY2421" fmla="*/ 6821 h 10000"/>
                  <a:gd name="connsiteX2422" fmla="*/ 14 w 10785"/>
                  <a:gd name="connsiteY2422" fmla="*/ 6846 h 10000"/>
                  <a:gd name="connsiteX2423" fmla="*/ 0 w 10785"/>
                  <a:gd name="connsiteY2423" fmla="*/ 6897 h 10000"/>
                  <a:gd name="connsiteX2424" fmla="*/ 0 w 10785"/>
                  <a:gd name="connsiteY2424" fmla="*/ 6915 h 10000"/>
                  <a:gd name="connsiteX2425" fmla="*/ 5 w 10785"/>
                  <a:gd name="connsiteY2425" fmla="*/ 6932 h 10000"/>
                  <a:gd name="connsiteX2426" fmla="*/ 14 w 10785"/>
                  <a:gd name="connsiteY2426" fmla="*/ 6940 h 10000"/>
                  <a:gd name="connsiteX2427" fmla="*/ 18 w 10785"/>
                  <a:gd name="connsiteY2427" fmla="*/ 6957 h 10000"/>
                  <a:gd name="connsiteX2428" fmla="*/ 28 w 10785"/>
                  <a:gd name="connsiteY2428" fmla="*/ 6966 h 10000"/>
                  <a:gd name="connsiteX2429" fmla="*/ 28 w 10785"/>
                  <a:gd name="connsiteY2429" fmla="*/ 6983 h 10000"/>
                  <a:gd name="connsiteX2430" fmla="*/ 18 w 10785"/>
                  <a:gd name="connsiteY2430" fmla="*/ 7051 h 10000"/>
                  <a:gd name="connsiteX2431" fmla="*/ 28 w 10785"/>
                  <a:gd name="connsiteY2431" fmla="*/ 7068 h 10000"/>
                  <a:gd name="connsiteX2432" fmla="*/ 32 w 10785"/>
                  <a:gd name="connsiteY2432" fmla="*/ 7068 h 10000"/>
                  <a:gd name="connsiteX2433" fmla="*/ 32 w 10785"/>
                  <a:gd name="connsiteY2433" fmla="*/ 7094 h 10000"/>
                  <a:gd name="connsiteX2434" fmla="*/ 60 w 10785"/>
                  <a:gd name="connsiteY2434" fmla="*/ 7162 h 10000"/>
                  <a:gd name="connsiteX2435" fmla="*/ 60 w 10785"/>
                  <a:gd name="connsiteY2435" fmla="*/ 7231 h 10000"/>
                  <a:gd name="connsiteX2436" fmla="*/ 60 w 10785"/>
                  <a:gd name="connsiteY2436" fmla="*/ 7239 h 10000"/>
                  <a:gd name="connsiteX2437" fmla="*/ 78 w 10785"/>
                  <a:gd name="connsiteY2437" fmla="*/ 7239 h 10000"/>
                  <a:gd name="connsiteX2438" fmla="*/ 88 w 10785"/>
                  <a:gd name="connsiteY2438" fmla="*/ 7239 h 10000"/>
                  <a:gd name="connsiteX2439" fmla="*/ 92 w 10785"/>
                  <a:gd name="connsiteY2439" fmla="*/ 7256 h 10000"/>
                  <a:gd name="connsiteX2440" fmla="*/ 111 w 10785"/>
                  <a:gd name="connsiteY2440" fmla="*/ 7256 h 10000"/>
                  <a:gd name="connsiteX2441" fmla="*/ 120 w 10785"/>
                  <a:gd name="connsiteY2441" fmla="*/ 7256 h 10000"/>
                  <a:gd name="connsiteX2442" fmla="*/ 134 w 10785"/>
                  <a:gd name="connsiteY2442" fmla="*/ 7282 h 10000"/>
                  <a:gd name="connsiteX2443" fmla="*/ 134 w 10785"/>
                  <a:gd name="connsiteY2443" fmla="*/ 7316 h 10000"/>
                  <a:gd name="connsiteX2444" fmla="*/ 152 w 10785"/>
                  <a:gd name="connsiteY2444" fmla="*/ 7299 h 10000"/>
                  <a:gd name="connsiteX2445" fmla="*/ 161 w 10785"/>
                  <a:gd name="connsiteY2445" fmla="*/ 7299 h 10000"/>
                  <a:gd name="connsiteX2446" fmla="*/ 166 w 10785"/>
                  <a:gd name="connsiteY2446" fmla="*/ 7291 h 10000"/>
                  <a:gd name="connsiteX2447" fmla="*/ 194 w 10785"/>
                  <a:gd name="connsiteY2447" fmla="*/ 7291 h 10000"/>
                  <a:gd name="connsiteX2448" fmla="*/ 207 w 10785"/>
                  <a:gd name="connsiteY2448" fmla="*/ 7299 h 10000"/>
                  <a:gd name="connsiteX2449" fmla="*/ 221 w 10785"/>
                  <a:gd name="connsiteY2449" fmla="*/ 7342 h 10000"/>
                  <a:gd name="connsiteX2450" fmla="*/ 235 w 10785"/>
                  <a:gd name="connsiteY2450" fmla="*/ 7342 h 10000"/>
                  <a:gd name="connsiteX2451" fmla="*/ 235 w 10785"/>
                  <a:gd name="connsiteY2451" fmla="*/ 7368 h 10000"/>
                  <a:gd name="connsiteX2452" fmla="*/ 226 w 10785"/>
                  <a:gd name="connsiteY2452" fmla="*/ 7393 h 10000"/>
                  <a:gd name="connsiteX2453" fmla="*/ 226 w 10785"/>
                  <a:gd name="connsiteY2453" fmla="*/ 7402 h 10000"/>
                  <a:gd name="connsiteX2454" fmla="*/ 235 w 10785"/>
                  <a:gd name="connsiteY2454" fmla="*/ 7419 h 10000"/>
                  <a:gd name="connsiteX2455" fmla="*/ 240 w 10785"/>
                  <a:gd name="connsiteY2455" fmla="*/ 7436 h 10000"/>
                  <a:gd name="connsiteX2456" fmla="*/ 235 w 10785"/>
                  <a:gd name="connsiteY2456" fmla="*/ 7462 h 10000"/>
                  <a:gd name="connsiteX2457" fmla="*/ 226 w 10785"/>
                  <a:gd name="connsiteY2457" fmla="*/ 7479 h 10000"/>
                  <a:gd name="connsiteX2458" fmla="*/ 226 w 10785"/>
                  <a:gd name="connsiteY2458" fmla="*/ 7504 h 10000"/>
                  <a:gd name="connsiteX2459" fmla="*/ 226 w 10785"/>
                  <a:gd name="connsiteY2459" fmla="*/ 7513 h 10000"/>
                  <a:gd name="connsiteX2460" fmla="*/ 240 w 10785"/>
                  <a:gd name="connsiteY2460" fmla="*/ 7538 h 10000"/>
                  <a:gd name="connsiteX2461" fmla="*/ 267 w 10785"/>
                  <a:gd name="connsiteY2461" fmla="*/ 7641 h 10000"/>
                  <a:gd name="connsiteX2462" fmla="*/ 281 w 10785"/>
                  <a:gd name="connsiteY2462" fmla="*/ 7667 h 10000"/>
                  <a:gd name="connsiteX2463" fmla="*/ 286 w 10785"/>
                  <a:gd name="connsiteY2463" fmla="*/ 7675 h 10000"/>
                  <a:gd name="connsiteX2464" fmla="*/ 286 w 10785"/>
                  <a:gd name="connsiteY2464" fmla="*/ 7692 h 10000"/>
                  <a:gd name="connsiteX2465" fmla="*/ 286 w 10785"/>
                  <a:gd name="connsiteY2465" fmla="*/ 7709 h 10000"/>
                  <a:gd name="connsiteX2466" fmla="*/ 295 w 10785"/>
                  <a:gd name="connsiteY2466" fmla="*/ 7726 h 10000"/>
                  <a:gd name="connsiteX2467" fmla="*/ 318 w 10785"/>
                  <a:gd name="connsiteY2467" fmla="*/ 7709 h 10000"/>
                  <a:gd name="connsiteX2468" fmla="*/ 327 w 10785"/>
                  <a:gd name="connsiteY2468" fmla="*/ 7726 h 10000"/>
                  <a:gd name="connsiteX2469" fmla="*/ 341 w 10785"/>
                  <a:gd name="connsiteY2469" fmla="*/ 7735 h 10000"/>
                  <a:gd name="connsiteX2470" fmla="*/ 332 w 10785"/>
                  <a:gd name="connsiteY2470" fmla="*/ 7752 h 10000"/>
                  <a:gd name="connsiteX2471" fmla="*/ 341 w 10785"/>
                  <a:gd name="connsiteY2471" fmla="*/ 7761 h 10000"/>
                  <a:gd name="connsiteX2472" fmla="*/ 355 w 10785"/>
                  <a:gd name="connsiteY2472" fmla="*/ 7761 h 10000"/>
                  <a:gd name="connsiteX2473" fmla="*/ 355 w 10785"/>
                  <a:gd name="connsiteY2473" fmla="*/ 7803 h 10000"/>
                  <a:gd name="connsiteX2474" fmla="*/ 313 w 10785"/>
                  <a:gd name="connsiteY2474" fmla="*/ 7846 h 10000"/>
                  <a:gd name="connsiteX2475" fmla="*/ 295 w 10785"/>
                  <a:gd name="connsiteY2475" fmla="*/ 7846 h 10000"/>
                  <a:gd name="connsiteX2476" fmla="*/ 281 w 10785"/>
                  <a:gd name="connsiteY2476" fmla="*/ 7821 h 10000"/>
                  <a:gd name="connsiteX2477" fmla="*/ 272 w 10785"/>
                  <a:gd name="connsiteY2477" fmla="*/ 7821 h 10000"/>
                  <a:gd name="connsiteX2478" fmla="*/ 267 w 10785"/>
                  <a:gd name="connsiteY2478" fmla="*/ 7838 h 10000"/>
                  <a:gd name="connsiteX2479" fmla="*/ 258 w 10785"/>
                  <a:gd name="connsiteY2479" fmla="*/ 7846 h 10000"/>
                  <a:gd name="connsiteX2480" fmla="*/ 253 w 10785"/>
                  <a:gd name="connsiteY2480" fmla="*/ 7863 h 10000"/>
                  <a:gd name="connsiteX2481" fmla="*/ 253 w 10785"/>
                  <a:gd name="connsiteY2481" fmla="*/ 7872 h 10000"/>
                  <a:gd name="connsiteX2482" fmla="*/ 267 w 10785"/>
                  <a:gd name="connsiteY2482" fmla="*/ 7897 h 10000"/>
                  <a:gd name="connsiteX2483" fmla="*/ 272 w 10785"/>
                  <a:gd name="connsiteY2483" fmla="*/ 7915 h 10000"/>
                  <a:gd name="connsiteX2484" fmla="*/ 267 w 10785"/>
                  <a:gd name="connsiteY2484" fmla="*/ 7940 h 10000"/>
                  <a:gd name="connsiteX2485" fmla="*/ 272 w 10785"/>
                  <a:gd name="connsiteY2485" fmla="*/ 7949 h 10000"/>
                  <a:gd name="connsiteX2486" fmla="*/ 272 w 10785"/>
                  <a:gd name="connsiteY2486" fmla="*/ 7957 h 10000"/>
                  <a:gd name="connsiteX2487" fmla="*/ 281 w 10785"/>
                  <a:gd name="connsiteY2487" fmla="*/ 7974 h 10000"/>
                  <a:gd name="connsiteX2488" fmla="*/ 286 w 10785"/>
                  <a:gd name="connsiteY2488" fmla="*/ 7983 h 10000"/>
                  <a:gd name="connsiteX2489" fmla="*/ 281 w 10785"/>
                  <a:gd name="connsiteY2489" fmla="*/ 8009 h 10000"/>
                  <a:gd name="connsiteX2490" fmla="*/ 286 w 10785"/>
                  <a:gd name="connsiteY2490" fmla="*/ 8060 h 10000"/>
                  <a:gd name="connsiteX2491" fmla="*/ 286 w 10785"/>
                  <a:gd name="connsiteY2491" fmla="*/ 8060 h 10000"/>
                  <a:gd name="connsiteX2492" fmla="*/ 295 w 10785"/>
                  <a:gd name="connsiteY2492" fmla="*/ 8077 h 10000"/>
                  <a:gd name="connsiteX2493" fmla="*/ 309 w 10785"/>
                  <a:gd name="connsiteY2493" fmla="*/ 8077 h 10000"/>
                  <a:gd name="connsiteX2494" fmla="*/ 313 w 10785"/>
                  <a:gd name="connsiteY2494" fmla="*/ 8060 h 10000"/>
                  <a:gd name="connsiteX2495" fmla="*/ 318 w 10785"/>
                  <a:gd name="connsiteY2495" fmla="*/ 8051 h 10000"/>
                  <a:gd name="connsiteX2496" fmla="*/ 318 w 10785"/>
                  <a:gd name="connsiteY2496" fmla="*/ 8034 h 10000"/>
                  <a:gd name="connsiteX2497" fmla="*/ 332 w 10785"/>
                  <a:gd name="connsiteY2497" fmla="*/ 8026 h 10000"/>
                  <a:gd name="connsiteX2498" fmla="*/ 359 w 10785"/>
                  <a:gd name="connsiteY2498" fmla="*/ 8034 h 10000"/>
                  <a:gd name="connsiteX2499" fmla="*/ 378 w 10785"/>
                  <a:gd name="connsiteY2499" fmla="*/ 8026 h 10000"/>
                  <a:gd name="connsiteX2500" fmla="*/ 401 w 10785"/>
                  <a:gd name="connsiteY2500" fmla="*/ 8026 h 10000"/>
                  <a:gd name="connsiteX2501" fmla="*/ 419 w 10785"/>
                  <a:gd name="connsiteY2501" fmla="*/ 8009 h 10000"/>
                  <a:gd name="connsiteX2502" fmla="*/ 433 w 10785"/>
                  <a:gd name="connsiteY2502" fmla="*/ 8034 h 10000"/>
                  <a:gd name="connsiteX2503" fmla="*/ 442 w 10785"/>
                  <a:gd name="connsiteY2503" fmla="*/ 8060 h 10000"/>
                  <a:gd name="connsiteX2504" fmla="*/ 442 w 10785"/>
                  <a:gd name="connsiteY2504" fmla="*/ 8077 h 10000"/>
                  <a:gd name="connsiteX2505" fmla="*/ 461 w 10785"/>
                  <a:gd name="connsiteY2505" fmla="*/ 8111 h 10000"/>
                  <a:gd name="connsiteX2506" fmla="*/ 461 w 10785"/>
                  <a:gd name="connsiteY2506" fmla="*/ 8137 h 10000"/>
                  <a:gd name="connsiteX2507" fmla="*/ 447 w 10785"/>
                  <a:gd name="connsiteY2507" fmla="*/ 8145 h 10000"/>
                  <a:gd name="connsiteX2508" fmla="*/ 442 w 10785"/>
                  <a:gd name="connsiteY2508" fmla="*/ 8145 h 10000"/>
                  <a:gd name="connsiteX2509" fmla="*/ 442 w 10785"/>
                  <a:gd name="connsiteY2509" fmla="*/ 8162 h 10000"/>
                  <a:gd name="connsiteX2510" fmla="*/ 442 w 10785"/>
                  <a:gd name="connsiteY2510" fmla="*/ 8171 h 10000"/>
                  <a:gd name="connsiteX2511" fmla="*/ 447 w 10785"/>
                  <a:gd name="connsiteY2511" fmla="*/ 8214 h 10000"/>
                  <a:gd name="connsiteX2512" fmla="*/ 465 w 10785"/>
                  <a:gd name="connsiteY2512" fmla="*/ 8231 h 10000"/>
                  <a:gd name="connsiteX2513" fmla="*/ 488 w 10785"/>
                  <a:gd name="connsiteY2513" fmla="*/ 8231 h 10000"/>
                  <a:gd name="connsiteX2514" fmla="*/ 493 w 10785"/>
                  <a:gd name="connsiteY2514" fmla="*/ 8231 h 10000"/>
                  <a:gd name="connsiteX2515" fmla="*/ 502 w 10785"/>
                  <a:gd name="connsiteY2515" fmla="*/ 8231 h 10000"/>
                  <a:gd name="connsiteX2516" fmla="*/ 507 w 10785"/>
                  <a:gd name="connsiteY2516" fmla="*/ 8248 h 10000"/>
                  <a:gd name="connsiteX2517" fmla="*/ 521 w 10785"/>
                  <a:gd name="connsiteY2517" fmla="*/ 8274 h 10000"/>
                  <a:gd name="connsiteX2518" fmla="*/ 525 w 10785"/>
                  <a:gd name="connsiteY2518" fmla="*/ 8333 h 10000"/>
                  <a:gd name="connsiteX2519" fmla="*/ 525 w 10785"/>
                  <a:gd name="connsiteY2519" fmla="*/ 8359 h 10000"/>
                  <a:gd name="connsiteX2520" fmla="*/ 525 w 10785"/>
                  <a:gd name="connsiteY2520" fmla="*/ 8368 h 10000"/>
                  <a:gd name="connsiteX2521" fmla="*/ 548 w 10785"/>
                  <a:gd name="connsiteY2521" fmla="*/ 8393 h 10000"/>
                  <a:gd name="connsiteX2522" fmla="*/ 553 w 10785"/>
                  <a:gd name="connsiteY2522" fmla="*/ 8385 h 10000"/>
                  <a:gd name="connsiteX2523" fmla="*/ 562 w 10785"/>
                  <a:gd name="connsiteY2523" fmla="*/ 8385 h 10000"/>
                  <a:gd name="connsiteX2524" fmla="*/ 576 w 10785"/>
                  <a:gd name="connsiteY2524" fmla="*/ 8385 h 10000"/>
                  <a:gd name="connsiteX2525" fmla="*/ 585 w 10785"/>
                  <a:gd name="connsiteY2525" fmla="*/ 8410 h 10000"/>
                  <a:gd name="connsiteX2526" fmla="*/ 594 w 10785"/>
                  <a:gd name="connsiteY2526" fmla="*/ 8410 h 10000"/>
                  <a:gd name="connsiteX2527" fmla="*/ 608 w 10785"/>
                  <a:gd name="connsiteY2527" fmla="*/ 8410 h 10000"/>
                  <a:gd name="connsiteX2528" fmla="*/ 654 w 10785"/>
                  <a:gd name="connsiteY2528" fmla="*/ 8385 h 10000"/>
                  <a:gd name="connsiteX2529" fmla="*/ 659 w 10785"/>
                  <a:gd name="connsiteY2529" fmla="*/ 8385 h 10000"/>
                  <a:gd name="connsiteX2530" fmla="*/ 696 w 10785"/>
                  <a:gd name="connsiteY2530" fmla="*/ 8470 h 10000"/>
                  <a:gd name="connsiteX2531" fmla="*/ 700 w 10785"/>
                  <a:gd name="connsiteY2531" fmla="*/ 8470 h 10000"/>
                  <a:gd name="connsiteX2532" fmla="*/ 710 w 10785"/>
                  <a:gd name="connsiteY2532" fmla="*/ 8462 h 10000"/>
                  <a:gd name="connsiteX2533" fmla="*/ 714 w 10785"/>
                  <a:gd name="connsiteY2533" fmla="*/ 8462 h 10000"/>
                  <a:gd name="connsiteX2534" fmla="*/ 724 w 10785"/>
                  <a:gd name="connsiteY2534" fmla="*/ 8470 h 10000"/>
                  <a:gd name="connsiteX2535" fmla="*/ 733 w 10785"/>
                  <a:gd name="connsiteY2535" fmla="*/ 8470 h 10000"/>
                  <a:gd name="connsiteX2536" fmla="*/ 742 w 10785"/>
                  <a:gd name="connsiteY2536" fmla="*/ 8487 h 10000"/>
                  <a:gd name="connsiteX2537" fmla="*/ 747 w 10785"/>
                  <a:gd name="connsiteY2537" fmla="*/ 8496 h 10000"/>
                  <a:gd name="connsiteX2538" fmla="*/ 770 w 10785"/>
                  <a:gd name="connsiteY2538" fmla="*/ 8496 h 10000"/>
                  <a:gd name="connsiteX2539" fmla="*/ 783 w 10785"/>
                  <a:gd name="connsiteY2539" fmla="*/ 8521 h 10000"/>
                  <a:gd name="connsiteX2540" fmla="*/ 797 w 10785"/>
                  <a:gd name="connsiteY2540" fmla="*/ 8521 h 10000"/>
                  <a:gd name="connsiteX2541" fmla="*/ 806 w 10785"/>
                  <a:gd name="connsiteY2541" fmla="*/ 8530 h 10000"/>
                  <a:gd name="connsiteX2542" fmla="*/ 829 w 10785"/>
                  <a:gd name="connsiteY2542" fmla="*/ 8547 h 10000"/>
                  <a:gd name="connsiteX2543" fmla="*/ 834 w 10785"/>
                  <a:gd name="connsiteY2543" fmla="*/ 8556 h 10000"/>
                  <a:gd name="connsiteX2544" fmla="*/ 829 w 10785"/>
                  <a:gd name="connsiteY2544" fmla="*/ 8556 h 10000"/>
                  <a:gd name="connsiteX2545" fmla="*/ 834 w 10785"/>
                  <a:gd name="connsiteY2545" fmla="*/ 8607 h 10000"/>
                  <a:gd name="connsiteX2546" fmla="*/ 829 w 10785"/>
                  <a:gd name="connsiteY2546" fmla="*/ 8641 h 10000"/>
                  <a:gd name="connsiteX2547" fmla="*/ 806 w 10785"/>
                  <a:gd name="connsiteY2547" fmla="*/ 8658 h 10000"/>
                  <a:gd name="connsiteX2548" fmla="*/ 816 w 10785"/>
                  <a:gd name="connsiteY2548" fmla="*/ 8667 h 10000"/>
                  <a:gd name="connsiteX2549" fmla="*/ 820 w 10785"/>
                  <a:gd name="connsiteY2549" fmla="*/ 8667 h 10000"/>
                  <a:gd name="connsiteX2550" fmla="*/ 829 w 10785"/>
                  <a:gd name="connsiteY2550" fmla="*/ 8684 h 10000"/>
                  <a:gd name="connsiteX2551" fmla="*/ 806 w 10785"/>
                  <a:gd name="connsiteY2551" fmla="*/ 8692 h 10000"/>
                  <a:gd name="connsiteX2552" fmla="*/ 802 w 10785"/>
                  <a:gd name="connsiteY2552" fmla="*/ 8709 h 10000"/>
                  <a:gd name="connsiteX2553" fmla="*/ 802 w 10785"/>
                  <a:gd name="connsiteY2553" fmla="*/ 8735 h 10000"/>
                  <a:gd name="connsiteX2554" fmla="*/ 806 w 10785"/>
                  <a:gd name="connsiteY2554" fmla="*/ 8744 h 10000"/>
                  <a:gd name="connsiteX2555" fmla="*/ 816 w 10785"/>
                  <a:gd name="connsiteY2555" fmla="*/ 8752 h 10000"/>
                  <a:gd name="connsiteX2556" fmla="*/ 806 w 10785"/>
                  <a:gd name="connsiteY2556" fmla="*/ 8778 h 10000"/>
                  <a:gd name="connsiteX2557" fmla="*/ 820 w 10785"/>
                  <a:gd name="connsiteY2557" fmla="*/ 8778 h 10000"/>
                  <a:gd name="connsiteX2558" fmla="*/ 806 w 10785"/>
                  <a:gd name="connsiteY2558" fmla="*/ 8880 h 10000"/>
                  <a:gd name="connsiteX2559" fmla="*/ 797 w 10785"/>
                  <a:gd name="connsiteY2559" fmla="*/ 8880 h 10000"/>
                  <a:gd name="connsiteX2560" fmla="*/ 783 w 10785"/>
                  <a:gd name="connsiteY2560" fmla="*/ 8872 h 10000"/>
                  <a:gd name="connsiteX2561" fmla="*/ 770 w 10785"/>
                  <a:gd name="connsiteY2561" fmla="*/ 8880 h 10000"/>
                  <a:gd name="connsiteX2562" fmla="*/ 756 w 10785"/>
                  <a:gd name="connsiteY2562" fmla="*/ 8855 h 10000"/>
                  <a:gd name="connsiteX2563" fmla="*/ 733 w 10785"/>
                  <a:gd name="connsiteY2563" fmla="*/ 8906 h 10000"/>
                  <a:gd name="connsiteX2564" fmla="*/ 714 w 10785"/>
                  <a:gd name="connsiteY2564" fmla="*/ 8915 h 10000"/>
                  <a:gd name="connsiteX2565" fmla="*/ 710 w 10785"/>
                  <a:gd name="connsiteY2565" fmla="*/ 8940 h 10000"/>
                  <a:gd name="connsiteX2566" fmla="*/ 710 w 10785"/>
                  <a:gd name="connsiteY2566" fmla="*/ 9009 h 10000"/>
                  <a:gd name="connsiteX2567" fmla="*/ 728 w 10785"/>
                  <a:gd name="connsiteY2567" fmla="*/ 8991 h 10000"/>
                  <a:gd name="connsiteX2568" fmla="*/ 733 w 10785"/>
                  <a:gd name="connsiteY2568" fmla="*/ 8991 h 10000"/>
                  <a:gd name="connsiteX2569" fmla="*/ 747 w 10785"/>
                  <a:gd name="connsiteY2569" fmla="*/ 8983 h 10000"/>
                  <a:gd name="connsiteX2570" fmla="*/ 760 w 10785"/>
                  <a:gd name="connsiteY2570" fmla="*/ 8983 h 10000"/>
                  <a:gd name="connsiteX2571" fmla="*/ 770 w 10785"/>
                  <a:gd name="connsiteY2571" fmla="*/ 8983 h 10000"/>
                  <a:gd name="connsiteX2572" fmla="*/ 770 w 10785"/>
                  <a:gd name="connsiteY2572" fmla="*/ 8991 h 10000"/>
                  <a:gd name="connsiteX2573" fmla="*/ 783 w 10785"/>
                  <a:gd name="connsiteY2573" fmla="*/ 8991 h 10000"/>
                  <a:gd name="connsiteX2574" fmla="*/ 783 w 10785"/>
                  <a:gd name="connsiteY2574" fmla="*/ 9009 h 10000"/>
                  <a:gd name="connsiteX2575" fmla="*/ 783 w 10785"/>
                  <a:gd name="connsiteY2575" fmla="*/ 9017 h 10000"/>
                  <a:gd name="connsiteX2576" fmla="*/ 770 w 10785"/>
                  <a:gd name="connsiteY2576" fmla="*/ 9017 h 10000"/>
                  <a:gd name="connsiteX2577" fmla="*/ 724 w 10785"/>
                  <a:gd name="connsiteY2577" fmla="*/ 9051 h 10000"/>
                  <a:gd name="connsiteX2578" fmla="*/ 724 w 10785"/>
                  <a:gd name="connsiteY2578" fmla="*/ 9068 h 10000"/>
                  <a:gd name="connsiteX2579" fmla="*/ 728 w 10785"/>
                  <a:gd name="connsiteY2579" fmla="*/ 9077 h 10000"/>
                  <a:gd name="connsiteX2580" fmla="*/ 724 w 10785"/>
                  <a:gd name="connsiteY2580" fmla="*/ 9077 h 10000"/>
                  <a:gd name="connsiteX2581" fmla="*/ 710 w 10785"/>
                  <a:gd name="connsiteY2581" fmla="*/ 9077 h 10000"/>
                  <a:gd name="connsiteX2582" fmla="*/ 682 w 10785"/>
                  <a:gd name="connsiteY2582" fmla="*/ 9077 h 10000"/>
                  <a:gd name="connsiteX2583" fmla="*/ 673 w 10785"/>
                  <a:gd name="connsiteY2583" fmla="*/ 9103 h 10000"/>
                  <a:gd name="connsiteX2584" fmla="*/ 687 w 10785"/>
                  <a:gd name="connsiteY2584" fmla="*/ 9128 h 10000"/>
                  <a:gd name="connsiteX2585" fmla="*/ 700 w 10785"/>
                  <a:gd name="connsiteY2585" fmla="*/ 9128 h 10000"/>
                  <a:gd name="connsiteX2586" fmla="*/ 728 w 10785"/>
                  <a:gd name="connsiteY2586" fmla="*/ 9179 h 10000"/>
                  <a:gd name="connsiteX2587" fmla="*/ 724 w 10785"/>
                  <a:gd name="connsiteY2587" fmla="*/ 9188 h 10000"/>
                  <a:gd name="connsiteX2588" fmla="*/ 710 w 10785"/>
                  <a:gd name="connsiteY2588" fmla="*/ 9179 h 10000"/>
                  <a:gd name="connsiteX2589" fmla="*/ 700 w 10785"/>
                  <a:gd name="connsiteY2589" fmla="*/ 9205 h 10000"/>
                  <a:gd name="connsiteX2590" fmla="*/ 696 w 10785"/>
                  <a:gd name="connsiteY2590" fmla="*/ 9205 h 10000"/>
                  <a:gd name="connsiteX2591" fmla="*/ 654 w 10785"/>
                  <a:gd name="connsiteY2591" fmla="*/ 9299 h 10000"/>
                  <a:gd name="connsiteX2592" fmla="*/ 622 w 10785"/>
                  <a:gd name="connsiteY2592" fmla="*/ 9299 h 10000"/>
                  <a:gd name="connsiteX2593" fmla="*/ 613 w 10785"/>
                  <a:gd name="connsiteY2593" fmla="*/ 9316 h 10000"/>
                  <a:gd name="connsiteX2594" fmla="*/ 613 w 10785"/>
                  <a:gd name="connsiteY2594" fmla="*/ 9325 h 10000"/>
                  <a:gd name="connsiteX2595" fmla="*/ 608 w 10785"/>
                  <a:gd name="connsiteY2595" fmla="*/ 9342 h 10000"/>
                  <a:gd name="connsiteX2596" fmla="*/ 636 w 10785"/>
                  <a:gd name="connsiteY2596" fmla="*/ 9376 h 10000"/>
                  <a:gd name="connsiteX2597" fmla="*/ 641 w 10785"/>
                  <a:gd name="connsiteY2597" fmla="*/ 9402 h 10000"/>
                  <a:gd name="connsiteX2598" fmla="*/ 654 w 10785"/>
                  <a:gd name="connsiteY2598" fmla="*/ 9427 h 10000"/>
                  <a:gd name="connsiteX2599" fmla="*/ 668 w 10785"/>
                  <a:gd name="connsiteY2599" fmla="*/ 9427 h 10000"/>
                  <a:gd name="connsiteX2600" fmla="*/ 668 w 10785"/>
                  <a:gd name="connsiteY2600" fmla="*/ 9427 h 10000"/>
                  <a:gd name="connsiteX2601" fmla="*/ 774 w 10785"/>
                  <a:gd name="connsiteY2601" fmla="*/ 9547 h 10000"/>
                  <a:gd name="connsiteX2602" fmla="*/ 797 w 10785"/>
                  <a:gd name="connsiteY2602" fmla="*/ 9598 h 10000"/>
                  <a:gd name="connsiteX2603" fmla="*/ 802 w 10785"/>
                  <a:gd name="connsiteY2603" fmla="*/ 9598 h 10000"/>
                  <a:gd name="connsiteX2604" fmla="*/ 816 w 10785"/>
                  <a:gd name="connsiteY2604" fmla="*/ 9624 h 10000"/>
                  <a:gd name="connsiteX2605" fmla="*/ 843 w 10785"/>
                  <a:gd name="connsiteY2605" fmla="*/ 9615 h 10000"/>
                  <a:gd name="connsiteX2606" fmla="*/ 857 w 10785"/>
                  <a:gd name="connsiteY2606" fmla="*/ 9624 h 10000"/>
                  <a:gd name="connsiteX2607" fmla="*/ 862 w 10785"/>
                  <a:gd name="connsiteY2607" fmla="*/ 9615 h 10000"/>
                  <a:gd name="connsiteX2608" fmla="*/ 880 w 10785"/>
                  <a:gd name="connsiteY2608" fmla="*/ 9624 h 10000"/>
                  <a:gd name="connsiteX2609" fmla="*/ 889 w 10785"/>
                  <a:gd name="connsiteY2609" fmla="*/ 9641 h 10000"/>
                  <a:gd name="connsiteX2610" fmla="*/ 935 w 10785"/>
                  <a:gd name="connsiteY2610" fmla="*/ 9675 h 10000"/>
                  <a:gd name="connsiteX2611" fmla="*/ 977 w 10785"/>
                  <a:gd name="connsiteY2611" fmla="*/ 9667 h 10000"/>
                  <a:gd name="connsiteX2612" fmla="*/ 995 w 10785"/>
                  <a:gd name="connsiteY2612" fmla="*/ 9675 h 10000"/>
                  <a:gd name="connsiteX2613" fmla="*/ 1014 w 10785"/>
                  <a:gd name="connsiteY2613" fmla="*/ 9675 h 10000"/>
                  <a:gd name="connsiteX2614" fmla="*/ 1069 w 10785"/>
                  <a:gd name="connsiteY2614" fmla="*/ 9752 h 10000"/>
                  <a:gd name="connsiteX2615" fmla="*/ 1074 w 10785"/>
                  <a:gd name="connsiteY2615" fmla="*/ 9761 h 10000"/>
                  <a:gd name="connsiteX2616" fmla="*/ 1083 w 10785"/>
                  <a:gd name="connsiteY2616" fmla="*/ 9778 h 10000"/>
                  <a:gd name="connsiteX2617" fmla="*/ 1115 w 10785"/>
                  <a:gd name="connsiteY2617" fmla="*/ 9752 h 10000"/>
                  <a:gd name="connsiteX2618" fmla="*/ 1129 w 10785"/>
                  <a:gd name="connsiteY2618" fmla="*/ 9752 h 10000"/>
                  <a:gd name="connsiteX2619" fmla="*/ 1138 w 10785"/>
                  <a:gd name="connsiteY2619" fmla="*/ 9761 h 10000"/>
                  <a:gd name="connsiteX2620" fmla="*/ 1143 w 10785"/>
                  <a:gd name="connsiteY2620" fmla="*/ 9752 h 10000"/>
                  <a:gd name="connsiteX2621" fmla="*/ 1161 w 10785"/>
                  <a:gd name="connsiteY2621" fmla="*/ 9761 h 10000"/>
                  <a:gd name="connsiteX2622" fmla="*/ 1171 w 10785"/>
                  <a:gd name="connsiteY2622" fmla="*/ 9778 h 10000"/>
                  <a:gd name="connsiteX2623" fmla="*/ 1175 w 10785"/>
                  <a:gd name="connsiteY2623" fmla="*/ 9778 h 10000"/>
                  <a:gd name="connsiteX2624" fmla="*/ 1189 w 10785"/>
                  <a:gd name="connsiteY2624" fmla="*/ 9778 h 10000"/>
                  <a:gd name="connsiteX2625" fmla="*/ 1198 w 10785"/>
                  <a:gd name="connsiteY2625" fmla="*/ 9786 h 10000"/>
                  <a:gd name="connsiteX2626" fmla="*/ 1203 w 10785"/>
                  <a:gd name="connsiteY2626" fmla="*/ 9803 h 10000"/>
                  <a:gd name="connsiteX2627" fmla="*/ 1198 w 10785"/>
                  <a:gd name="connsiteY2627" fmla="*/ 9838 h 10000"/>
                  <a:gd name="connsiteX2628" fmla="*/ 1212 w 10785"/>
                  <a:gd name="connsiteY2628" fmla="*/ 9863 h 10000"/>
                  <a:gd name="connsiteX2629" fmla="*/ 1230 w 10785"/>
                  <a:gd name="connsiteY2629" fmla="*/ 9872 h 10000"/>
                  <a:gd name="connsiteX2630" fmla="*/ 1249 w 10785"/>
                  <a:gd name="connsiteY2630" fmla="*/ 9897 h 10000"/>
                  <a:gd name="connsiteX2631" fmla="*/ 1263 w 10785"/>
                  <a:gd name="connsiteY2631" fmla="*/ 9897 h 10000"/>
                  <a:gd name="connsiteX2632" fmla="*/ 1276 w 10785"/>
                  <a:gd name="connsiteY2632" fmla="*/ 9923 h 10000"/>
                  <a:gd name="connsiteX2633" fmla="*/ 1281 w 10785"/>
                  <a:gd name="connsiteY2633" fmla="*/ 9949 h 10000"/>
                  <a:gd name="connsiteX2634" fmla="*/ 1290 w 10785"/>
                  <a:gd name="connsiteY2634" fmla="*/ 9949 h 10000"/>
                  <a:gd name="connsiteX2635" fmla="*/ 1295 w 10785"/>
                  <a:gd name="connsiteY2635" fmla="*/ 10000 h 10000"/>
                  <a:gd name="connsiteX2636" fmla="*/ 1332 w 10785"/>
                  <a:gd name="connsiteY2636" fmla="*/ 10000 h 10000"/>
                  <a:gd name="connsiteX2637" fmla="*/ 1336 w 10785"/>
                  <a:gd name="connsiteY2637" fmla="*/ 10000 h 10000"/>
                  <a:gd name="connsiteX2638" fmla="*/ 1346 w 10785"/>
                  <a:gd name="connsiteY2638" fmla="*/ 9983 h 10000"/>
                  <a:gd name="connsiteX2639" fmla="*/ 1350 w 10785"/>
                  <a:gd name="connsiteY2639" fmla="*/ 9949 h 10000"/>
                  <a:gd name="connsiteX2640" fmla="*/ 1369 w 10785"/>
                  <a:gd name="connsiteY2640" fmla="*/ 9940 h 10000"/>
                  <a:gd name="connsiteX2641" fmla="*/ 1378 w 10785"/>
                  <a:gd name="connsiteY2641" fmla="*/ 9897 h 10000"/>
                  <a:gd name="connsiteX2642" fmla="*/ 1369 w 10785"/>
                  <a:gd name="connsiteY2642" fmla="*/ 9889 h 10000"/>
                  <a:gd name="connsiteX2643" fmla="*/ 1318 w 10785"/>
                  <a:gd name="connsiteY2643" fmla="*/ 9701 h 10000"/>
                  <a:gd name="connsiteX2644" fmla="*/ 1318 w 10785"/>
                  <a:gd name="connsiteY2644" fmla="*/ 9650 h 10000"/>
                  <a:gd name="connsiteX2645" fmla="*/ 1323 w 10785"/>
                  <a:gd name="connsiteY2645" fmla="*/ 9590 h 10000"/>
                  <a:gd name="connsiteX2646" fmla="*/ 1323 w 10785"/>
                  <a:gd name="connsiteY2646" fmla="*/ 9564 h 10000"/>
                  <a:gd name="connsiteX2647" fmla="*/ 1309 w 10785"/>
                  <a:gd name="connsiteY2647" fmla="*/ 9598 h 10000"/>
                  <a:gd name="connsiteX2648" fmla="*/ 1309 w 10785"/>
                  <a:gd name="connsiteY2648" fmla="*/ 9590 h 10000"/>
                  <a:gd name="connsiteX2649" fmla="*/ 1304 w 10785"/>
                  <a:gd name="connsiteY2649" fmla="*/ 9547 h 10000"/>
                  <a:gd name="connsiteX2650" fmla="*/ 1276 w 10785"/>
                  <a:gd name="connsiteY2650" fmla="*/ 9479 h 10000"/>
                  <a:gd name="connsiteX2651" fmla="*/ 1263 w 10785"/>
                  <a:gd name="connsiteY2651" fmla="*/ 9479 h 10000"/>
                  <a:gd name="connsiteX2652" fmla="*/ 1263 w 10785"/>
                  <a:gd name="connsiteY2652" fmla="*/ 9453 h 10000"/>
                  <a:gd name="connsiteX2653" fmla="*/ 1272 w 10785"/>
                  <a:gd name="connsiteY2653" fmla="*/ 9410 h 10000"/>
                  <a:gd name="connsiteX2654" fmla="*/ 1272 w 10785"/>
                  <a:gd name="connsiteY2654" fmla="*/ 9393 h 10000"/>
                  <a:gd name="connsiteX2655" fmla="*/ 1281 w 10785"/>
                  <a:gd name="connsiteY2655" fmla="*/ 9368 h 10000"/>
                  <a:gd name="connsiteX2656" fmla="*/ 1281 w 10785"/>
                  <a:gd name="connsiteY2656" fmla="*/ 9368 h 10000"/>
                  <a:gd name="connsiteX2657" fmla="*/ 1290 w 10785"/>
                  <a:gd name="connsiteY2657" fmla="*/ 9368 h 10000"/>
                  <a:gd name="connsiteX2658" fmla="*/ 1290 w 10785"/>
                  <a:gd name="connsiteY2658" fmla="*/ 9342 h 10000"/>
                  <a:gd name="connsiteX2659" fmla="*/ 1304 w 10785"/>
                  <a:gd name="connsiteY2659" fmla="*/ 9325 h 10000"/>
                  <a:gd name="connsiteX2660" fmla="*/ 1309 w 10785"/>
                  <a:gd name="connsiteY2660" fmla="*/ 9239 h 10000"/>
                  <a:gd name="connsiteX2661" fmla="*/ 1318 w 10785"/>
                  <a:gd name="connsiteY2661" fmla="*/ 9256 h 10000"/>
                  <a:gd name="connsiteX2662" fmla="*/ 1323 w 10785"/>
                  <a:gd name="connsiteY2662" fmla="*/ 9179 h 10000"/>
                  <a:gd name="connsiteX2663" fmla="*/ 1309 w 10785"/>
                  <a:gd name="connsiteY2663" fmla="*/ 9145 h 10000"/>
                  <a:gd name="connsiteX2664" fmla="*/ 1336 w 10785"/>
                  <a:gd name="connsiteY2664" fmla="*/ 9154 h 10000"/>
                  <a:gd name="connsiteX2665" fmla="*/ 1336 w 10785"/>
                  <a:gd name="connsiteY2665" fmla="*/ 9162 h 10000"/>
                  <a:gd name="connsiteX2666" fmla="*/ 1350 w 10785"/>
                  <a:gd name="connsiteY2666" fmla="*/ 9231 h 10000"/>
                  <a:gd name="connsiteX2667" fmla="*/ 1355 w 10785"/>
                  <a:gd name="connsiteY2667" fmla="*/ 9231 h 10000"/>
                  <a:gd name="connsiteX2668" fmla="*/ 1364 w 10785"/>
                  <a:gd name="connsiteY2668" fmla="*/ 9214 h 10000"/>
                  <a:gd name="connsiteX2669" fmla="*/ 1369 w 10785"/>
                  <a:gd name="connsiteY2669" fmla="*/ 9214 h 10000"/>
                  <a:gd name="connsiteX2670" fmla="*/ 1382 w 10785"/>
                  <a:gd name="connsiteY2670" fmla="*/ 9154 h 10000"/>
                  <a:gd name="connsiteX2671" fmla="*/ 1396 w 10785"/>
                  <a:gd name="connsiteY2671" fmla="*/ 9154 h 10000"/>
                  <a:gd name="connsiteX2672" fmla="*/ 1382 w 10785"/>
                  <a:gd name="connsiteY2672" fmla="*/ 9145 h 10000"/>
                  <a:gd name="connsiteX2673" fmla="*/ 1382 w 10785"/>
                  <a:gd name="connsiteY2673" fmla="*/ 9128 h 10000"/>
                  <a:gd name="connsiteX2674" fmla="*/ 1369 w 10785"/>
                  <a:gd name="connsiteY2674" fmla="*/ 9128 h 10000"/>
                  <a:gd name="connsiteX2675" fmla="*/ 1364 w 10785"/>
                  <a:gd name="connsiteY2675" fmla="*/ 9128 h 10000"/>
                  <a:gd name="connsiteX2676" fmla="*/ 1355 w 10785"/>
                  <a:gd name="connsiteY2676" fmla="*/ 9120 h 10000"/>
                  <a:gd name="connsiteX2677" fmla="*/ 1350 w 10785"/>
                  <a:gd name="connsiteY2677" fmla="*/ 9103 h 10000"/>
                  <a:gd name="connsiteX2678" fmla="*/ 1355 w 10785"/>
                  <a:gd name="connsiteY2678" fmla="*/ 9094 h 10000"/>
                  <a:gd name="connsiteX2679" fmla="*/ 1355 w 10785"/>
                  <a:gd name="connsiteY2679" fmla="*/ 9068 h 10000"/>
                  <a:gd name="connsiteX2680" fmla="*/ 1369 w 10785"/>
                  <a:gd name="connsiteY2680" fmla="*/ 9068 h 10000"/>
                  <a:gd name="connsiteX2681" fmla="*/ 1378 w 10785"/>
                  <a:gd name="connsiteY2681" fmla="*/ 9077 h 10000"/>
                  <a:gd name="connsiteX2682" fmla="*/ 1396 w 10785"/>
                  <a:gd name="connsiteY2682" fmla="*/ 9068 h 10000"/>
                  <a:gd name="connsiteX2683" fmla="*/ 1382 w 10785"/>
                  <a:gd name="connsiteY2683" fmla="*/ 8940 h 10000"/>
                  <a:gd name="connsiteX2684" fmla="*/ 1378 w 10785"/>
                  <a:gd name="connsiteY2684" fmla="*/ 8940 h 10000"/>
                  <a:gd name="connsiteX2685" fmla="*/ 1364 w 10785"/>
                  <a:gd name="connsiteY2685" fmla="*/ 8889 h 10000"/>
                  <a:gd name="connsiteX2686" fmla="*/ 1355 w 10785"/>
                  <a:gd name="connsiteY2686" fmla="*/ 8880 h 10000"/>
                  <a:gd name="connsiteX2687" fmla="*/ 1323 w 10785"/>
                  <a:gd name="connsiteY2687" fmla="*/ 8880 h 10000"/>
                  <a:gd name="connsiteX2688" fmla="*/ 1309 w 10785"/>
                  <a:gd name="connsiteY2688" fmla="*/ 8880 h 10000"/>
                  <a:gd name="connsiteX2689" fmla="*/ 1309 w 10785"/>
                  <a:gd name="connsiteY2689" fmla="*/ 8889 h 10000"/>
                  <a:gd name="connsiteX2690" fmla="*/ 1295 w 10785"/>
                  <a:gd name="connsiteY2690" fmla="*/ 8872 h 10000"/>
                  <a:gd name="connsiteX2691" fmla="*/ 1290 w 10785"/>
                  <a:gd name="connsiteY2691" fmla="*/ 8855 h 10000"/>
                  <a:gd name="connsiteX2692" fmla="*/ 1290 w 10785"/>
                  <a:gd name="connsiteY2692" fmla="*/ 8829 h 10000"/>
                  <a:gd name="connsiteX2693" fmla="*/ 1290 w 10785"/>
                  <a:gd name="connsiteY2693" fmla="*/ 8821 h 10000"/>
                  <a:gd name="connsiteX2694" fmla="*/ 1290 w 10785"/>
                  <a:gd name="connsiteY2694" fmla="*/ 8803 h 10000"/>
                  <a:gd name="connsiteX2695" fmla="*/ 1281 w 10785"/>
                  <a:gd name="connsiteY2695" fmla="*/ 8795 h 10000"/>
                  <a:gd name="connsiteX2696" fmla="*/ 1249 w 10785"/>
                  <a:gd name="connsiteY2696" fmla="*/ 8769 h 10000"/>
                  <a:gd name="connsiteX2697" fmla="*/ 1263 w 10785"/>
                  <a:gd name="connsiteY2697" fmla="*/ 8667 h 10000"/>
                  <a:gd name="connsiteX2698" fmla="*/ 1281 w 10785"/>
                  <a:gd name="connsiteY2698" fmla="*/ 8658 h 10000"/>
                  <a:gd name="connsiteX2699" fmla="*/ 1290 w 10785"/>
                  <a:gd name="connsiteY2699" fmla="*/ 8632 h 10000"/>
                  <a:gd name="connsiteX2700" fmla="*/ 1281 w 10785"/>
                  <a:gd name="connsiteY2700" fmla="*/ 8615 h 10000"/>
                  <a:gd name="connsiteX2701" fmla="*/ 1272 w 10785"/>
                  <a:gd name="connsiteY2701" fmla="*/ 8598 h 10000"/>
                  <a:gd name="connsiteX2702" fmla="*/ 1281 w 10785"/>
                  <a:gd name="connsiteY2702" fmla="*/ 8496 h 10000"/>
                  <a:gd name="connsiteX2703" fmla="*/ 1295 w 10785"/>
                  <a:gd name="connsiteY2703" fmla="*/ 8470 h 10000"/>
                  <a:gd name="connsiteX2704" fmla="*/ 1304 w 10785"/>
                  <a:gd name="connsiteY2704" fmla="*/ 8462 h 10000"/>
                  <a:gd name="connsiteX2705" fmla="*/ 1304 w 10785"/>
                  <a:gd name="connsiteY2705" fmla="*/ 8444 h 10000"/>
                  <a:gd name="connsiteX2706" fmla="*/ 1304 w 10785"/>
                  <a:gd name="connsiteY2706" fmla="*/ 8419 h 10000"/>
                  <a:gd name="connsiteX2707" fmla="*/ 1304 w 10785"/>
                  <a:gd name="connsiteY2707" fmla="*/ 8410 h 10000"/>
                  <a:gd name="connsiteX2708" fmla="*/ 1309 w 10785"/>
                  <a:gd name="connsiteY2708" fmla="*/ 8393 h 10000"/>
                  <a:gd name="connsiteX2709" fmla="*/ 1318 w 10785"/>
                  <a:gd name="connsiteY2709" fmla="*/ 8385 h 10000"/>
                  <a:gd name="connsiteX2710" fmla="*/ 1323 w 10785"/>
                  <a:gd name="connsiteY2710" fmla="*/ 8385 h 10000"/>
                  <a:gd name="connsiteX2711" fmla="*/ 1332 w 10785"/>
                  <a:gd name="connsiteY2711" fmla="*/ 8410 h 10000"/>
                  <a:gd name="connsiteX2712" fmla="*/ 1346 w 10785"/>
                  <a:gd name="connsiteY2712" fmla="*/ 8419 h 10000"/>
                  <a:gd name="connsiteX2713" fmla="*/ 1364 w 10785"/>
                  <a:gd name="connsiteY2713" fmla="*/ 8504 h 10000"/>
                  <a:gd name="connsiteX2714" fmla="*/ 1369 w 10785"/>
                  <a:gd name="connsiteY2714" fmla="*/ 8521 h 10000"/>
                  <a:gd name="connsiteX2715" fmla="*/ 1406 w 10785"/>
                  <a:gd name="connsiteY2715" fmla="*/ 8470 h 10000"/>
                  <a:gd name="connsiteX2716" fmla="*/ 1382 w 10785"/>
                  <a:gd name="connsiteY2716" fmla="*/ 8359 h 10000"/>
                  <a:gd name="connsiteX2717" fmla="*/ 1392 w 10785"/>
                  <a:gd name="connsiteY2717" fmla="*/ 8359 h 10000"/>
                  <a:gd name="connsiteX2718" fmla="*/ 1438 w 10785"/>
                  <a:gd name="connsiteY2718" fmla="*/ 8308 h 10000"/>
                  <a:gd name="connsiteX2719" fmla="*/ 1442 w 10785"/>
                  <a:gd name="connsiteY2719" fmla="*/ 8299 h 10000"/>
                  <a:gd name="connsiteX2720" fmla="*/ 1442 w 10785"/>
                  <a:gd name="connsiteY2720" fmla="*/ 8256 h 10000"/>
                  <a:gd name="connsiteX2721" fmla="*/ 1452 w 10785"/>
                  <a:gd name="connsiteY2721" fmla="*/ 8256 h 10000"/>
                  <a:gd name="connsiteX2722" fmla="*/ 1456 w 10785"/>
                  <a:gd name="connsiteY2722" fmla="*/ 8256 h 10000"/>
                  <a:gd name="connsiteX2723" fmla="*/ 1470 w 10785"/>
                  <a:gd name="connsiteY2723" fmla="*/ 8248 h 10000"/>
                  <a:gd name="connsiteX2724" fmla="*/ 1479 w 10785"/>
                  <a:gd name="connsiteY2724" fmla="*/ 8231 h 10000"/>
                  <a:gd name="connsiteX2725" fmla="*/ 1493 w 10785"/>
                  <a:gd name="connsiteY2725" fmla="*/ 8222 h 10000"/>
                  <a:gd name="connsiteX2726" fmla="*/ 1498 w 10785"/>
                  <a:gd name="connsiteY2726" fmla="*/ 8214 h 10000"/>
                  <a:gd name="connsiteX2727" fmla="*/ 1502 w 10785"/>
                  <a:gd name="connsiteY2727" fmla="*/ 8197 h 10000"/>
                  <a:gd name="connsiteX2728" fmla="*/ 1512 w 10785"/>
                  <a:gd name="connsiteY2728" fmla="*/ 8188 h 10000"/>
                  <a:gd name="connsiteX2729" fmla="*/ 1516 w 10785"/>
                  <a:gd name="connsiteY2729" fmla="*/ 8171 h 10000"/>
                  <a:gd name="connsiteX2730" fmla="*/ 1525 w 10785"/>
                  <a:gd name="connsiteY2730" fmla="*/ 8162 h 10000"/>
                  <a:gd name="connsiteX2731" fmla="*/ 1539 w 10785"/>
                  <a:gd name="connsiteY2731" fmla="*/ 8145 h 10000"/>
                  <a:gd name="connsiteX2732" fmla="*/ 1558 w 10785"/>
                  <a:gd name="connsiteY2732" fmla="*/ 8145 h 10000"/>
                  <a:gd name="connsiteX2733" fmla="*/ 1562 w 10785"/>
                  <a:gd name="connsiteY2733" fmla="*/ 8188 h 10000"/>
                  <a:gd name="connsiteX2734" fmla="*/ 1585 w 10785"/>
                  <a:gd name="connsiteY2734" fmla="*/ 8171 h 10000"/>
                  <a:gd name="connsiteX2735" fmla="*/ 1590 w 10785"/>
                  <a:gd name="connsiteY2735" fmla="*/ 8188 h 10000"/>
                  <a:gd name="connsiteX2736" fmla="*/ 1599 w 10785"/>
                  <a:gd name="connsiteY2736" fmla="*/ 8171 h 10000"/>
                  <a:gd name="connsiteX2737" fmla="*/ 1599 w 10785"/>
                  <a:gd name="connsiteY2737" fmla="*/ 8162 h 10000"/>
                  <a:gd name="connsiteX2738" fmla="*/ 1604 w 10785"/>
                  <a:gd name="connsiteY2738" fmla="*/ 8137 h 10000"/>
                  <a:gd name="connsiteX2739" fmla="*/ 1618 w 10785"/>
                  <a:gd name="connsiteY2739" fmla="*/ 8145 h 10000"/>
                  <a:gd name="connsiteX2740" fmla="*/ 1627 w 10785"/>
                  <a:gd name="connsiteY2740" fmla="*/ 8137 h 10000"/>
                  <a:gd name="connsiteX2741" fmla="*/ 1631 w 10785"/>
                  <a:gd name="connsiteY2741" fmla="*/ 8137 h 10000"/>
                  <a:gd name="connsiteX2742" fmla="*/ 1636 w 10785"/>
                  <a:gd name="connsiteY2742" fmla="*/ 8171 h 10000"/>
                  <a:gd name="connsiteX2743" fmla="*/ 1645 w 10785"/>
                  <a:gd name="connsiteY2743" fmla="*/ 8188 h 10000"/>
                  <a:gd name="connsiteX2744" fmla="*/ 1664 w 10785"/>
                  <a:gd name="connsiteY2744" fmla="*/ 8171 h 10000"/>
                  <a:gd name="connsiteX2745" fmla="*/ 1673 w 10785"/>
                  <a:gd name="connsiteY2745" fmla="*/ 8188 h 10000"/>
                  <a:gd name="connsiteX2746" fmla="*/ 1691 w 10785"/>
                  <a:gd name="connsiteY2746" fmla="*/ 8171 h 10000"/>
                  <a:gd name="connsiteX2747" fmla="*/ 1705 w 10785"/>
                  <a:gd name="connsiteY2747" fmla="*/ 8171 h 10000"/>
                  <a:gd name="connsiteX2748" fmla="*/ 1719 w 10785"/>
                  <a:gd name="connsiteY2748" fmla="*/ 8197 h 10000"/>
                  <a:gd name="connsiteX2749" fmla="*/ 1724 w 10785"/>
                  <a:gd name="connsiteY2749" fmla="*/ 8231 h 10000"/>
                  <a:gd name="connsiteX2750" fmla="*/ 1751 w 10785"/>
                  <a:gd name="connsiteY2750" fmla="*/ 8256 h 10000"/>
                  <a:gd name="connsiteX2751" fmla="*/ 1751 w 10785"/>
                  <a:gd name="connsiteY2751" fmla="*/ 8274 h 10000"/>
                  <a:gd name="connsiteX2752" fmla="*/ 1760 w 10785"/>
                  <a:gd name="connsiteY2752" fmla="*/ 8282 h 10000"/>
                  <a:gd name="connsiteX2753" fmla="*/ 1770 w 10785"/>
                  <a:gd name="connsiteY2753" fmla="*/ 8325 h 10000"/>
                  <a:gd name="connsiteX2754" fmla="*/ 1770 w 10785"/>
                  <a:gd name="connsiteY2754" fmla="*/ 8350 h 10000"/>
                  <a:gd name="connsiteX2755" fmla="*/ 1779 w 10785"/>
                  <a:gd name="connsiteY2755" fmla="*/ 8368 h 10000"/>
                  <a:gd name="connsiteX2756" fmla="*/ 1783 w 10785"/>
                  <a:gd name="connsiteY2756" fmla="*/ 8359 h 10000"/>
                  <a:gd name="connsiteX2757" fmla="*/ 1783 w 10785"/>
                  <a:gd name="connsiteY2757" fmla="*/ 8308 h 10000"/>
                  <a:gd name="connsiteX2758" fmla="*/ 1779 w 10785"/>
                  <a:gd name="connsiteY2758" fmla="*/ 8299 h 10000"/>
                  <a:gd name="connsiteX2759" fmla="*/ 1783 w 10785"/>
                  <a:gd name="connsiteY2759" fmla="*/ 8282 h 10000"/>
                  <a:gd name="connsiteX2760" fmla="*/ 1797 w 10785"/>
                  <a:gd name="connsiteY2760" fmla="*/ 8274 h 10000"/>
                  <a:gd name="connsiteX2761" fmla="*/ 1797 w 10785"/>
                  <a:gd name="connsiteY2761" fmla="*/ 8299 h 10000"/>
                  <a:gd name="connsiteX2762" fmla="*/ 1806 w 10785"/>
                  <a:gd name="connsiteY2762" fmla="*/ 8308 h 10000"/>
                  <a:gd name="connsiteX2763" fmla="*/ 1811 w 10785"/>
                  <a:gd name="connsiteY2763" fmla="*/ 8325 h 10000"/>
                  <a:gd name="connsiteX2764" fmla="*/ 1820 w 10785"/>
                  <a:gd name="connsiteY2764" fmla="*/ 8333 h 10000"/>
                  <a:gd name="connsiteX2765" fmla="*/ 1853 w 10785"/>
                  <a:gd name="connsiteY2765" fmla="*/ 8359 h 10000"/>
                  <a:gd name="connsiteX2766" fmla="*/ 1866 w 10785"/>
                  <a:gd name="connsiteY2766" fmla="*/ 8359 h 10000"/>
                  <a:gd name="connsiteX2767" fmla="*/ 1885 w 10785"/>
                  <a:gd name="connsiteY2767" fmla="*/ 8325 h 10000"/>
                  <a:gd name="connsiteX2768" fmla="*/ 1885 w 10785"/>
                  <a:gd name="connsiteY2768" fmla="*/ 8308 h 10000"/>
                  <a:gd name="connsiteX2769" fmla="*/ 1894 w 10785"/>
                  <a:gd name="connsiteY2769" fmla="*/ 8299 h 10000"/>
                  <a:gd name="connsiteX2770" fmla="*/ 1899 w 10785"/>
                  <a:gd name="connsiteY2770" fmla="*/ 8282 h 10000"/>
                  <a:gd name="connsiteX2771" fmla="*/ 1912 w 10785"/>
                  <a:gd name="connsiteY2771" fmla="*/ 8282 h 10000"/>
                  <a:gd name="connsiteX2772" fmla="*/ 1917 w 10785"/>
                  <a:gd name="connsiteY2772" fmla="*/ 8299 h 10000"/>
                  <a:gd name="connsiteX2773" fmla="*/ 1917 w 10785"/>
                  <a:gd name="connsiteY2773" fmla="*/ 8274 h 10000"/>
                  <a:gd name="connsiteX2774" fmla="*/ 1940 w 10785"/>
                  <a:gd name="connsiteY2774" fmla="*/ 8282 h 10000"/>
                  <a:gd name="connsiteX2775" fmla="*/ 1945 w 10785"/>
                  <a:gd name="connsiteY2775" fmla="*/ 8274 h 10000"/>
                  <a:gd name="connsiteX2776" fmla="*/ 1972 w 10785"/>
                  <a:gd name="connsiteY2776" fmla="*/ 8308 h 10000"/>
                  <a:gd name="connsiteX2777" fmla="*/ 1986 w 10785"/>
                  <a:gd name="connsiteY2777" fmla="*/ 8282 h 10000"/>
                  <a:gd name="connsiteX2778" fmla="*/ 1991 w 10785"/>
                  <a:gd name="connsiteY2778" fmla="*/ 8274 h 10000"/>
                  <a:gd name="connsiteX2779" fmla="*/ 2014 w 10785"/>
                  <a:gd name="connsiteY2779" fmla="*/ 8274 h 10000"/>
                  <a:gd name="connsiteX2780" fmla="*/ 2018 w 10785"/>
                  <a:gd name="connsiteY2780" fmla="*/ 8256 h 10000"/>
                  <a:gd name="connsiteX2781" fmla="*/ 2041 w 10785"/>
                  <a:gd name="connsiteY2781" fmla="*/ 8274 h 10000"/>
                  <a:gd name="connsiteX2782" fmla="*/ 2046 w 10785"/>
                  <a:gd name="connsiteY2782" fmla="*/ 8282 h 10000"/>
                  <a:gd name="connsiteX2783" fmla="*/ 2046 w 10785"/>
                  <a:gd name="connsiteY2783" fmla="*/ 8325 h 10000"/>
                  <a:gd name="connsiteX2784" fmla="*/ 2060 w 10785"/>
                  <a:gd name="connsiteY2784" fmla="*/ 8350 h 10000"/>
                  <a:gd name="connsiteX2785" fmla="*/ 2078 w 10785"/>
                  <a:gd name="connsiteY2785" fmla="*/ 8350 h 10000"/>
                  <a:gd name="connsiteX2786" fmla="*/ 2092 w 10785"/>
                  <a:gd name="connsiteY2786" fmla="*/ 8350 h 10000"/>
                  <a:gd name="connsiteX2787" fmla="*/ 2092 w 10785"/>
                  <a:gd name="connsiteY2787" fmla="*/ 8350 h 10000"/>
                  <a:gd name="connsiteX2788" fmla="*/ 2101 w 10785"/>
                  <a:gd name="connsiteY2788" fmla="*/ 8368 h 10000"/>
                  <a:gd name="connsiteX2789" fmla="*/ 2120 w 10785"/>
                  <a:gd name="connsiteY2789" fmla="*/ 8368 h 10000"/>
                  <a:gd name="connsiteX2790" fmla="*/ 2124 w 10785"/>
                  <a:gd name="connsiteY2790" fmla="*/ 8359 h 10000"/>
                  <a:gd name="connsiteX2791" fmla="*/ 2138 w 10785"/>
                  <a:gd name="connsiteY2791" fmla="*/ 8325 h 10000"/>
                  <a:gd name="connsiteX2792" fmla="*/ 2147 w 10785"/>
                  <a:gd name="connsiteY2792" fmla="*/ 8325 h 10000"/>
                  <a:gd name="connsiteX2793" fmla="*/ 2161 w 10785"/>
                  <a:gd name="connsiteY2793" fmla="*/ 8350 h 10000"/>
                  <a:gd name="connsiteX2794" fmla="*/ 2198 w 10785"/>
                  <a:gd name="connsiteY2794" fmla="*/ 8350 h 10000"/>
                  <a:gd name="connsiteX2795" fmla="*/ 2207 w 10785"/>
                  <a:gd name="connsiteY2795" fmla="*/ 8333 h 10000"/>
                  <a:gd name="connsiteX2796" fmla="*/ 2226 w 10785"/>
                  <a:gd name="connsiteY2796" fmla="*/ 8325 h 10000"/>
                  <a:gd name="connsiteX2797" fmla="*/ 2249 w 10785"/>
                  <a:gd name="connsiteY2797" fmla="*/ 8222 h 10000"/>
                  <a:gd name="connsiteX2798" fmla="*/ 2235 w 10785"/>
                  <a:gd name="connsiteY2798" fmla="*/ 8197 h 10000"/>
                  <a:gd name="connsiteX2799" fmla="*/ 2198 w 10785"/>
                  <a:gd name="connsiteY2799" fmla="*/ 8197 h 10000"/>
                  <a:gd name="connsiteX2800" fmla="*/ 2189 w 10785"/>
                  <a:gd name="connsiteY2800" fmla="*/ 8171 h 10000"/>
                  <a:gd name="connsiteX2801" fmla="*/ 2161 w 10785"/>
                  <a:gd name="connsiteY2801" fmla="*/ 8145 h 10000"/>
                  <a:gd name="connsiteX2802" fmla="*/ 2161 w 10785"/>
                  <a:gd name="connsiteY2802" fmla="*/ 8137 h 10000"/>
                  <a:gd name="connsiteX2803" fmla="*/ 2152 w 10785"/>
                  <a:gd name="connsiteY2803" fmla="*/ 8120 h 10000"/>
                  <a:gd name="connsiteX2804" fmla="*/ 2138 w 10785"/>
                  <a:gd name="connsiteY2804" fmla="*/ 8111 h 10000"/>
                  <a:gd name="connsiteX2805" fmla="*/ 2138 w 10785"/>
                  <a:gd name="connsiteY2805" fmla="*/ 8094 h 10000"/>
                  <a:gd name="connsiteX2806" fmla="*/ 2147 w 10785"/>
                  <a:gd name="connsiteY2806" fmla="*/ 8085 h 10000"/>
                  <a:gd name="connsiteX2807" fmla="*/ 2161 w 10785"/>
                  <a:gd name="connsiteY2807" fmla="*/ 8060 h 10000"/>
                  <a:gd name="connsiteX2808" fmla="*/ 2198 w 10785"/>
                  <a:gd name="connsiteY2808" fmla="*/ 8034 h 10000"/>
                  <a:gd name="connsiteX2809" fmla="*/ 2198 w 10785"/>
                  <a:gd name="connsiteY2809" fmla="*/ 8026 h 10000"/>
                  <a:gd name="connsiteX2810" fmla="*/ 2198 w 10785"/>
                  <a:gd name="connsiteY2810" fmla="*/ 8000 h 10000"/>
                  <a:gd name="connsiteX2811" fmla="*/ 2180 w 10785"/>
                  <a:gd name="connsiteY2811" fmla="*/ 7940 h 10000"/>
                  <a:gd name="connsiteX2812" fmla="*/ 2189 w 10785"/>
                  <a:gd name="connsiteY2812" fmla="*/ 7940 h 10000"/>
                  <a:gd name="connsiteX2813" fmla="*/ 2198 w 10785"/>
                  <a:gd name="connsiteY2813" fmla="*/ 7923 h 10000"/>
                  <a:gd name="connsiteX2814" fmla="*/ 2198 w 10785"/>
                  <a:gd name="connsiteY2814" fmla="*/ 7897 h 10000"/>
                  <a:gd name="connsiteX2815" fmla="*/ 2207 w 10785"/>
                  <a:gd name="connsiteY2815" fmla="*/ 7889 h 10000"/>
                  <a:gd name="connsiteX2816" fmla="*/ 2221 w 10785"/>
                  <a:gd name="connsiteY2816" fmla="*/ 7889 h 10000"/>
                  <a:gd name="connsiteX2817" fmla="*/ 2226 w 10785"/>
                  <a:gd name="connsiteY2817" fmla="*/ 7897 h 10000"/>
                  <a:gd name="connsiteX2818" fmla="*/ 2235 w 10785"/>
                  <a:gd name="connsiteY2818" fmla="*/ 7889 h 10000"/>
                  <a:gd name="connsiteX2819" fmla="*/ 2249 w 10785"/>
                  <a:gd name="connsiteY2819" fmla="*/ 7897 h 10000"/>
                  <a:gd name="connsiteX2820" fmla="*/ 2267 w 10785"/>
                  <a:gd name="connsiteY2820" fmla="*/ 7897 h 10000"/>
                  <a:gd name="connsiteX2821" fmla="*/ 2272 w 10785"/>
                  <a:gd name="connsiteY2821" fmla="*/ 7889 h 10000"/>
                  <a:gd name="connsiteX2822" fmla="*/ 2281 w 10785"/>
                  <a:gd name="connsiteY2822" fmla="*/ 7872 h 10000"/>
                  <a:gd name="connsiteX2823" fmla="*/ 2272 w 10785"/>
                  <a:gd name="connsiteY2823" fmla="*/ 7846 h 10000"/>
                  <a:gd name="connsiteX2824" fmla="*/ 2253 w 10785"/>
                  <a:gd name="connsiteY2824" fmla="*/ 7838 h 10000"/>
                  <a:gd name="connsiteX2825" fmla="*/ 2221 w 10785"/>
                  <a:gd name="connsiteY2825" fmla="*/ 7821 h 10000"/>
                  <a:gd name="connsiteX2826" fmla="*/ 2212 w 10785"/>
                  <a:gd name="connsiteY2826" fmla="*/ 7812 h 10000"/>
                  <a:gd name="connsiteX2827" fmla="*/ 2212 w 10785"/>
                  <a:gd name="connsiteY2827" fmla="*/ 7803 h 10000"/>
                  <a:gd name="connsiteX2828" fmla="*/ 2221 w 10785"/>
                  <a:gd name="connsiteY2828" fmla="*/ 7803 h 10000"/>
                  <a:gd name="connsiteX2829" fmla="*/ 2235 w 10785"/>
                  <a:gd name="connsiteY2829" fmla="*/ 7786 h 10000"/>
                  <a:gd name="connsiteX2830" fmla="*/ 2240 w 10785"/>
                  <a:gd name="connsiteY2830" fmla="*/ 7778 h 10000"/>
                  <a:gd name="connsiteX2831" fmla="*/ 2226 w 10785"/>
                  <a:gd name="connsiteY2831" fmla="*/ 7761 h 10000"/>
                  <a:gd name="connsiteX2832" fmla="*/ 2221 w 10785"/>
                  <a:gd name="connsiteY2832" fmla="*/ 7778 h 10000"/>
                  <a:gd name="connsiteX2833" fmla="*/ 2198 w 10785"/>
                  <a:gd name="connsiteY2833" fmla="*/ 7778 h 10000"/>
                  <a:gd name="connsiteX2834" fmla="*/ 2198 w 10785"/>
                  <a:gd name="connsiteY2834" fmla="*/ 7752 h 10000"/>
                  <a:gd name="connsiteX2835" fmla="*/ 2207 w 10785"/>
                  <a:gd name="connsiteY2835" fmla="*/ 7735 h 10000"/>
                  <a:gd name="connsiteX2836" fmla="*/ 2212 w 10785"/>
                  <a:gd name="connsiteY2836" fmla="*/ 7726 h 10000"/>
                  <a:gd name="connsiteX2837" fmla="*/ 2198 w 10785"/>
                  <a:gd name="connsiteY2837" fmla="*/ 7692 h 10000"/>
                  <a:gd name="connsiteX2838" fmla="*/ 2221 w 10785"/>
                  <a:gd name="connsiteY2838" fmla="*/ 7692 h 10000"/>
                  <a:gd name="connsiteX2839" fmla="*/ 2221 w 10785"/>
                  <a:gd name="connsiteY2839" fmla="*/ 7675 h 10000"/>
                  <a:gd name="connsiteX2840" fmla="*/ 2235 w 10785"/>
                  <a:gd name="connsiteY2840" fmla="*/ 7675 h 10000"/>
                  <a:gd name="connsiteX2841" fmla="*/ 2240 w 10785"/>
                  <a:gd name="connsiteY2841" fmla="*/ 7692 h 10000"/>
                  <a:gd name="connsiteX2842" fmla="*/ 2249 w 10785"/>
                  <a:gd name="connsiteY2842" fmla="*/ 7692 h 10000"/>
                  <a:gd name="connsiteX2843" fmla="*/ 2258 w 10785"/>
                  <a:gd name="connsiteY2843" fmla="*/ 7692 h 10000"/>
                  <a:gd name="connsiteX2844" fmla="*/ 2267 w 10785"/>
                  <a:gd name="connsiteY2844" fmla="*/ 7692 h 10000"/>
                  <a:gd name="connsiteX2845" fmla="*/ 2295 w 10785"/>
                  <a:gd name="connsiteY2845" fmla="*/ 7692 h 10000"/>
                  <a:gd name="connsiteX2846" fmla="*/ 2300 w 10785"/>
                  <a:gd name="connsiteY2846" fmla="*/ 7701 h 10000"/>
                  <a:gd name="connsiteX2847" fmla="*/ 2313 w 10785"/>
                  <a:gd name="connsiteY2847" fmla="*/ 7675 h 10000"/>
                  <a:gd name="connsiteX2848" fmla="*/ 2323 w 10785"/>
                  <a:gd name="connsiteY2848" fmla="*/ 7675 h 10000"/>
                  <a:gd name="connsiteX2849" fmla="*/ 2341 w 10785"/>
                  <a:gd name="connsiteY2849" fmla="*/ 7675 h 10000"/>
                  <a:gd name="connsiteX2850" fmla="*/ 2346 w 10785"/>
                  <a:gd name="connsiteY2850" fmla="*/ 7667 h 10000"/>
                  <a:gd name="connsiteX2851" fmla="*/ 2359 w 10785"/>
                  <a:gd name="connsiteY2851" fmla="*/ 7650 h 10000"/>
                  <a:gd name="connsiteX2852" fmla="*/ 2373 w 10785"/>
                  <a:gd name="connsiteY2852" fmla="*/ 7624 h 10000"/>
                  <a:gd name="connsiteX2853" fmla="*/ 2382 w 10785"/>
                  <a:gd name="connsiteY2853" fmla="*/ 7641 h 10000"/>
                  <a:gd name="connsiteX2854" fmla="*/ 2396 w 10785"/>
                  <a:gd name="connsiteY2854" fmla="*/ 7650 h 10000"/>
                  <a:gd name="connsiteX2855" fmla="*/ 2401 w 10785"/>
                  <a:gd name="connsiteY2855" fmla="*/ 7650 h 10000"/>
                  <a:gd name="connsiteX2856" fmla="*/ 2401 w 10785"/>
                  <a:gd name="connsiteY2856" fmla="*/ 7624 h 10000"/>
                  <a:gd name="connsiteX2857" fmla="*/ 2419 w 10785"/>
                  <a:gd name="connsiteY2857" fmla="*/ 7624 h 10000"/>
                  <a:gd name="connsiteX2858" fmla="*/ 2433 w 10785"/>
                  <a:gd name="connsiteY2858" fmla="*/ 7615 h 10000"/>
                  <a:gd name="connsiteX2859" fmla="*/ 2442 w 10785"/>
                  <a:gd name="connsiteY2859" fmla="*/ 7615 h 10000"/>
                  <a:gd name="connsiteX2860" fmla="*/ 2447 w 10785"/>
                  <a:gd name="connsiteY2860" fmla="*/ 7598 h 10000"/>
                  <a:gd name="connsiteX2861" fmla="*/ 2461 w 10785"/>
                  <a:gd name="connsiteY2861" fmla="*/ 7598 h 10000"/>
                  <a:gd name="connsiteX2862" fmla="*/ 2465 w 10785"/>
                  <a:gd name="connsiteY2862" fmla="*/ 7615 h 10000"/>
                  <a:gd name="connsiteX2863" fmla="*/ 2479 w 10785"/>
                  <a:gd name="connsiteY2863" fmla="*/ 7564 h 10000"/>
                  <a:gd name="connsiteX2864" fmla="*/ 2488 w 10785"/>
                  <a:gd name="connsiteY2864" fmla="*/ 7556 h 10000"/>
                  <a:gd name="connsiteX2865" fmla="*/ 2493 w 10785"/>
                  <a:gd name="connsiteY2865" fmla="*/ 7556 h 10000"/>
                  <a:gd name="connsiteX2866" fmla="*/ 2507 w 10785"/>
                  <a:gd name="connsiteY2866" fmla="*/ 7556 h 10000"/>
                  <a:gd name="connsiteX2867" fmla="*/ 2530 w 10785"/>
                  <a:gd name="connsiteY2867" fmla="*/ 7538 h 10000"/>
                  <a:gd name="connsiteX2868" fmla="*/ 2530 w 10785"/>
                  <a:gd name="connsiteY2868" fmla="*/ 7556 h 10000"/>
                  <a:gd name="connsiteX2869" fmla="*/ 2641 w 10785"/>
                  <a:gd name="connsiteY2869" fmla="*/ 7504 h 10000"/>
                  <a:gd name="connsiteX2870" fmla="*/ 2654 w 10785"/>
                  <a:gd name="connsiteY2870" fmla="*/ 7487 h 10000"/>
                  <a:gd name="connsiteX2871" fmla="*/ 2664 w 10785"/>
                  <a:gd name="connsiteY2871" fmla="*/ 7487 h 10000"/>
                  <a:gd name="connsiteX2872" fmla="*/ 2668 w 10785"/>
                  <a:gd name="connsiteY2872" fmla="*/ 7479 h 10000"/>
                  <a:gd name="connsiteX2873" fmla="*/ 2673 w 10785"/>
                  <a:gd name="connsiteY2873" fmla="*/ 7462 h 10000"/>
                  <a:gd name="connsiteX2874" fmla="*/ 2673 w 10785"/>
                  <a:gd name="connsiteY2874" fmla="*/ 7427 h 10000"/>
                  <a:gd name="connsiteX2875" fmla="*/ 2687 w 10785"/>
                  <a:gd name="connsiteY2875" fmla="*/ 7436 h 10000"/>
                  <a:gd name="connsiteX2876" fmla="*/ 2696 w 10785"/>
                  <a:gd name="connsiteY2876" fmla="*/ 7427 h 10000"/>
                  <a:gd name="connsiteX2877" fmla="*/ 2700 w 10785"/>
                  <a:gd name="connsiteY2877" fmla="*/ 7419 h 10000"/>
                  <a:gd name="connsiteX2878" fmla="*/ 2710 w 10785"/>
                  <a:gd name="connsiteY2878" fmla="*/ 7402 h 10000"/>
                  <a:gd name="connsiteX2879" fmla="*/ 2724 w 10785"/>
                  <a:gd name="connsiteY2879" fmla="*/ 7402 h 10000"/>
                  <a:gd name="connsiteX2880" fmla="*/ 2724 w 10785"/>
                  <a:gd name="connsiteY2880" fmla="*/ 7393 h 10000"/>
                  <a:gd name="connsiteX2881" fmla="*/ 2737 w 10785"/>
                  <a:gd name="connsiteY2881" fmla="*/ 7393 h 10000"/>
                  <a:gd name="connsiteX2882" fmla="*/ 2742 w 10785"/>
                  <a:gd name="connsiteY2882" fmla="*/ 7402 h 10000"/>
                  <a:gd name="connsiteX2883" fmla="*/ 2747 w 10785"/>
                  <a:gd name="connsiteY2883" fmla="*/ 7402 h 10000"/>
                  <a:gd name="connsiteX2884" fmla="*/ 2760 w 10785"/>
                  <a:gd name="connsiteY2884" fmla="*/ 7402 h 10000"/>
                  <a:gd name="connsiteX2885" fmla="*/ 2770 w 10785"/>
                  <a:gd name="connsiteY2885" fmla="*/ 7402 h 10000"/>
                  <a:gd name="connsiteX2886" fmla="*/ 2774 w 10785"/>
                  <a:gd name="connsiteY2886" fmla="*/ 7402 h 10000"/>
                  <a:gd name="connsiteX2887" fmla="*/ 2783 w 10785"/>
                  <a:gd name="connsiteY2887" fmla="*/ 7419 h 10000"/>
                  <a:gd name="connsiteX2888" fmla="*/ 2802 w 10785"/>
                  <a:gd name="connsiteY2888" fmla="*/ 7436 h 10000"/>
                  <a:gd name="connsiteX2889" fmla="*/ 2816 w 10785"/>
                  <a:gd name="connsiteY2889" fmla="*/ 7419 h 10000"/>
                  <a:gd name="connsiteX2890" fmla="*/ 2834 w 10785"/>
                  <a:gd name="connsiteY2890" fmla="*/ 7419 h 10000"/>
                  <a:gd name="connsiteX2891" fmla="*/ 2843 w 10785"/>
                  <a:gd name="connsiteY2891" fmla="*/ 7419 h 10000"/>
                  <a:gd name="connsiteX2892" fmla="*/ 2848 w 10785"/>
                  <a:gd name="connsiteY2892" fmla="*/ 7436 h 10000"/>
                  <a:gd name="connsiteX2893" fmla="*/ 2857 w 10785"/>
                  <a:gd name="connsiteY2893" fmla="*/ 7453 h 10000"/>
                  <a:gd name="connsiteX2894" fmla="*/ 2857 w 10785"/>
                  <a:gd name="connsiteY2894" fmla="*/ 7504 h 10000"/>
                  <a:gd name="connsiteX2895" fmla="*/ 2862 w 10785"/>
                  <a:gd name="connsiteY2895" fmla="*/ 7530 h 10000"/>
                  <a:gd name="connsiteX2896" fmla="*/ 2876 w 10785"/>
                  <a:gd name="connsiteY2896" fmla="*/ 7538 h 10000"/>
                  <a:gd name="connsiteX2897" fmla="*/ 2871 w 10785"/>
                  <a:gd name="connsiteY2897" fmla="*/ 7564 h 10000"/>
                  <a:gd name="connsiteX2898" fmla="*/ 2871 w 10785"/>
                  <a:gd name="connsiteY2898" fmla="*/ 7598 h 10000"/>
                  <a:gd name="connsiteX2899" fmla="*/ 2857 w 10785"/>
                  <a:gd name="connsiteY2899" fmla="*/ 7624 h 10000"/>
                  <a:gd name="connsiteX2900" fmla="*/ 2862 w 10785"/>
                  <a:gd name="connsiteY2900" fmla="*/ 7641 h 10000"/>
                  <a:gd name="connsiteX2901" fmla="*/ 2871 w 10785"/>
                  <a:gd name="connsiteY2901" fmla="*/ 7667 h 10000"/>
                  <a:gd name="connsiteX2902" fmla="*/ 2880 w 10785"/>
                  <a:gd name="connsiteY2902" fmla="*/ 7650 h 10000"/>
                  <a:gd name="connsiteX2903" fmla="*/ 2894 w 10785"/>
                  <a:gd name="connsiteY2903" fmla="*/ 7667 h 10000"/>
                  <a:gd name="connsiteX2904" fmla="*/ 2903 w 10785"/>
                  <a:gd name="connsiteY2904" fmla="*/ 7667 h 10000"/>
                  <a:gd name="connsiteX2905" fmla="*/ 2908 w 10785"/>
                  <a:gd name="connsiteY2905" fmla="*/ 7641 h 10000"/>
                  <a:gd name="connsiteX2906" fmla="*/ 2917 w 10785"/>
                  <a:gd name="connsiteY2906" fmla="*/ 7641 h 10000"/>
                  <a:gd name="connsiteX2907" fmla="*/ 2922 w 10785"/>
                  <a:gd name="connsiteY2907" fmla="*/ 7641 h 10000"/>
                  <a:gd name="connsiteX2908" fmla="*/ 2931 w 10785"/>
                  <a:gd name="connsiteY2908" fmla="*/ 7615 h 10000"/>
                  <a:gd name="connsiteX2909" fmla="*/ 2935 w 10785"/>
                  <a:gd name="connsiteY2909" fmla="*/ 7615 h 10000"/>
                  <a:gd name="connsiteX2910" fmla="*/ 2945 w 10785"/>
                  <a:gd name="connsiteY2910" fmla="*/ 7650 h 10000"/>
                  <a:gd name="connsiteX2911" fmla="*/ 2949 w 10785"/>
                  <a:gd name="connsiteY2911" fmla="*/ 7667 h 10000"/>
                  <a:gd name="connsiteX2912" fmla="*/ 2949 w 10785"/>
                  <a:gd name="connsiteY2912" fmla="*/ 7675 h 10000"/>
                  <a:gd name="connsiteX2913" fmla="*/ 2945 w 10785"/>
                  <a:gd name="connsiteY2913" fmla="*/ 7692 h 10000"/>
                  <a:gd name="connsiteX2914" fmla="*/ 2963 w 10785"/>
                  <a:gd name="connsiteY2914" fmla="*/ 7701 h 10000"/>
                  <a:gd name="connsiteX2915" fmla="*/ 2963 w 10785"/>
                  <a:gd name="connsiteY2915" fmla="*/ 7675 h 10000"/>
                  <a:gd name="connsiteX2916" fmla="*/ 2954 w 10785"/>
                  <a:gd name="connsiteY2916" fmla="*/ 7667 h 10000"/>
                  <a:gd name="connsiteX2917" fmla="*/ 2963 w 10785"/>
                  <a:gd name="connsiteY2917" fmla="*/ 7667 h 10000"/>
                  <a:gd name="connsiteX2918" fmla="*/ 2982 w 10785"/>
                  <a:gd name="connsiteY2918" fmla="*/ 7667 h 10000"/>
                  <a:gd name="connsiteX2919" fmla="*/ 2991 w 10785"/>
                  <a:gd name="connsiteY2919" fmla="*/ 7675 h 10000"/>
                  <a:gd name="connsiteX2920" fmla="*/ 2995 w 10785"/>
                  <a:gd name="connsiteY2920" fmla="*/ 7692 h 10000"/>
                  <a:gd name="connsiteX2921" fmla="*/ 3009 w 10785"/>
                  <a:gd name="connsiteY2921" fmla="*/ 7701 h 10000"/>
                  <a:gd name="connsiteX2922" fmla="*/ 3018 w 10785"/>
                  <a:gd name="connsiteY2922" fmla="*/ 7701 h 10000"/>
                  <a:gd name="connsiteX2923" fmla="*/ 3023 w 10785"/>
                  <a:gd name="connsiteY2923" fmla="*/ 7692 h 10000"/>
                  <a:gd name="connsiteX2924" fmla="*/ 3028 w 10785"/>
                  <a:gd name="connsiteY2924" fmla="*/ 7675 h 10000"/>
                  <a:gd name="connsiteX2925" fmla="*/ 3037 w 10785"/>
                  <a:gd name="connsiteY2925" fmla="*/ 7692 h 10000"/>
                  <a:gd name="connsiteX2926" fmla="*/ 3028 w 10785"/>
                  <a:gd name="connsiteY2926" fmla="*/ 7709 h 10000"/>
                  <a:gd name="connsiteX2927" fmla="*/ 3023 w 10785"/>
                  <a:gd name="connsiteY2927" fmla="*/ 7709 h 10000"/>
                  <a:gd name="connsiteX2928" fmla="*/ 3018 w 10785"/>
                  <a:gd name="connsiteY2928" fmla="*/ 7726 h 10000"/>
                  <a:gd name="connsiteX2929" fmla="*/ 3009 w 10785"/>
                  <a:gd name="connsiteY2929" fmla="*/ 7735 h 10000"/>
                  <a:gd name="connsiteX2930" fmla="*/ 3009 w 10785"/>
                  <a:gd name="connsiteY2930" fmla="*/ 7761 h 10000"/>
                  <a:gd name="connsiteX2931" fmla="*/ 3009 w 10785"/>
                  <a:gd name="connsiteY2931" fmla="*/ 7778 h 10000"/>
                  <a:gd name="connsiteX2932" fmla="*/ 3018 w 10785"/>
                  <a:gd name="connsiteY2932" fmla="*/ 7786 h 10000"/>
                  <a:gd name="connsiteX2933" fmla="*/ 3023 w 10785"/>
                  <a:gd name="connsiteY2933" fmla="*/ 7786 h 10000"/>
                  <a:gd name="connsiteX2934" fmla="*/ 3028 w 10785"/>
                  <a:gd name="connsiteY2934" fmla="*/ 7778 h 10000"/>
                  <a:gd name="connsiteX2935" fmla="*/ 3051 w 10785"/>
                  <a:gd name="connsiteY2935" fmla="*/ 7761 h 10000"/>
                  <a:gd name="connsiteX2936" fmla="*/ 3055 w 10785"/>
                  <a:gd name="connsiteY2936" fmla="*/ 7778 h 10000"/>
                  <a:gd name="connsiteX2937" fmla="*/ 3065 w 10785"/>
                  <a:gd name="connsiteY2937" fmla="*/ 7761 h 10000"/>
                  <a:gd name="connsiteX2938" fmla="*/ 3069 w 10785"/>
                  <a:gd name="connsiteY2938" fmla="*/ 7786 h 10000"/>
                  <a:gd name="connsiteX2939" fmla="*/ 3083 w 10785"/>
                  <a:gd name="connsiteY2939" fmla="*/ 7786 h 10000"/>
                  <a:gd name="connsiteX2940" fmla="*/ 3078 w 10785"/>
                  <a:gd name="connsiteY2940" fmla="*/ 7761 h 10000"/>
                  <a:gd name="connsiteX2941" fmla="*/ 3083 w 10785"/>
                  <a:gd name="connsiteY2941" fmla="*/ 7752 h 10000"/>
                  <a:gd name="connsiteX2942" fmla="*/ 3097 w 10785"/>
                  <a:gd name="connsiteY2942" fmla="*/ 7752 h 10000"/>
                  <a:gd name="connsiteX2943" fmla="*/ 3111 w 10785"/>
                  <a:gd name="connsiteY2943" fmla="*/ 7726 h 10000"/>
                  <a:gd name="connsiteX2944" fmla="*/ 3124 w 10785"/>
                  <a:gd name="connsiteY2944" fmla="*/ 7709 h 10000"/>
                  <a:gd name="connsiteX2945" fmla="*/ 3143 w 10785"/>
                  <a:gd name="connsiteY2945" fmla="*/ 7692 h 10000"/>
                  <a:gd name="connsiteX2946" fmla="*/ 3152 w 10785"/>
                  <a:gd name="connsiteY2946" fmla="*/ 7667 h 10000"/>
                  <a:gd name="connsiteX2947" fmla="*/ 3157 w 10785"/>
                  <a:gd name="connsiteY2947" fmla="*/ 7650 h 10000"/>
                  <a:gd name="connsiteX2948" fmla="*/ 3161 w 10785"/>
                  <a:gd name="connsiteY2948" fmla="*/ 7650 h 10000"/>
                  <a:gd name="connsiteX2949" fmla="*/ 3189 w 10785"/>
                  <a:gd name="connsiteY2949" fmla="*/ 7641 h 10000"/>
                  <a:gd name="connsiteX2950" fmla="*/ 3198 w 10785"/>
                  <a:gd name="connsiteY2950" fmla="*/ 7624 h 10000"/>
                  <a:gd name="connsiteX2951" fmla="*/ 3217 w 10785"/>
                  <a:gd name="connsiteY2951" fmla="*/ 7615 h 10000"/>
                  <a:gd name="connsiteX2952" fmla="*/ 3235 w 10785"/>
                  <a:gd name="connsiteY2952" fmla="*/ 7598 h 10000"/>
                  <a:gd name="connsiteX2953" fmla="*/ 3235 w 10785"/>
                  <a:gd name="connsiteY2953" fmla="*/ 7615 h 10000"/>
                  <a:gd name="connsiteX2954" fmla="*/ 3235 w 10785"/>
                  <a:gd name="connsiteY2954" fmla="*/ 7641 h 10000"/>
                  <a:gd name="connsiteX2955" fmla="*/ 3235 w 10785"/>
                  <a:gd name="connsiteY2955" fmla="*/ 7650 h 10000"/>
                  <a:gd name="connsiteX2956" fmla="*/ 3226 w 10785"/>
                  <a:gd name="connsiteY2956" fmla="*/ 7650 h 10000"/>
                  <a:gd name="connsiteX2957" fmla="*/ 3217 w 10785"/>
                  <a:gd name="connsiteY2957" fmla="*/ 7650 h 10000"/>
                  <a:gd name="connsiteX2958" fmla="*/ 3212 w 10785"/>
                  <a:gd name="connsiteY2958" fmla="*/ 7675 h 10000"/>
                  <a:gd name="connsiteX2959" fmla="*/ 3212 w 10785"/>
                  <a:gd name="connsiteY2959"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079 w 10785"/>
                  <a:gd name="connsiteY731" fmla="*/ 4873 h 10000"/>
                  <a:gd name="connsiteX732" fmla="*/ 10139 w 10785"/>
                  <a:gd name="connsiteY732" fmla="*/ 4708 h 10000"/>
                  <a:gd name="connsiteX733" fmla="*/ 10233 w 10785"/>
                  <a:gd name="connsiteY733" fmla="*/ 4530 h 10000"/>
                  <a:gd name="connsiteX734" fmla="*/ 10334 w 10785"/>
                  <a:gd name="connsiteY734" fmla="*/ 4810 h 10000"/>
                  <a:gd name="connsiteX735" fmla="*/ 10422 w 10785"/>
                  <a:gd name="connsiteY735" fmla="*/ 5051 h 10000"/>
                  <a:gd name="connsiteX736" fmla="*/ 10691 w 10785"/>
                  <a:gd name="connsiteY736" fmla="*/ 5255 h 10000"/>
                  <a:gd name="connsiteX737" fmla="*/ 10619 w 10785"/>
                  <a:gd name="connsiteY737" fmla="*/ 4708 h 10000"/>
                  <a:gd name="connsiteX738" fmla="*/ 10785 w 10785"/>
                  <a:gd name="connsiteY738" fmla="*/ 4708 h 10000"/>
                  <a:gd name="connsiteX739" fmla="*/ 10689 w 10785"/>
                  <a:gd name="connsiteY739" fmla="*/ 4467 h 10000"/>
                  <a:gd name="connsiteX740" fmla="*/ 10354 w 10785"/>
                  <a:gd name="connsiteY740" fmla="*/ 4302 h 10000"/>
                  <a:gd name="connsiteX741" fmla="*/ 9912 w 10785"/>
                  <a:gd name="connsiteY741" fmla="*/ 3675 h 10000"/>
                  <a:gd name="connsiteX742" fmla="*/ 9903 w 10785"/>
                  <a:gd name="connsiteY742" fmla="*/ 3667 h 10000"/>
                  <a:gd name="connsiteX743" fmla="*/ 9894 w 10785"/>
                  <a:gd name="connsiteY743" fmla="*/ 3641 h 10000"/>
                  <a:gd name="connsiteX744" fmla="*/ 9889 w 10785"/>
                  <a:gd name="connsiteY744" fmla="*/ 3650 h 10000"/>
                  <a:gd name="connsiteX745" fmla="*/ 9848 w 10785"/>
                  <a:gd name="connsiteY745" fmla="*/ 3598 h 10000"/>
                  <a:gd name="connsiteX746" fmla="*/ 9829 w 10785"/>
                  <a:gd name="connsiteY746" fmla="*/ 3581 h 10000"/>
                  <a:gd name="connsiteX747" fmla="*/ 9820 w 10785"/>
                  <a:gd name="connsiteY747" fmla="*/ 3581 h 10000"/>
                  <a:gd name="connsiteX748" fmla="*/ 9793 w 10785"/>
                  <a:gd name="connsiteY748" fmla="*/ 3556 h 10000"/>
                  <a:gd name="connsiteX749" fmla="*/ 9779 w 10785"/>
                  <a:gd name="connsiteY749" fmla="*/ 3556 h 10000"/>
                  <a:gd name="connsiteX750" fmla="*/ 9747 w 10785"/>
                  <a:gd name="connsiteY750" fmla="*/ 3487 h 10000"/>
                  <a:gd name="connsiteX751" fmla="*/ 9668 w 10785"/>
                  <a:gd name="connsiteY751" fmla="*/ 3479 h 10000"/>
                  <a:gd name="connsiteX752" fmla="*/ 9659 w 10785"/>
                  <a:gd name="connsiteY752" fmla="*/ 3487 h 10000"/>
                  <a:gd name="connsiteX753" fmla="*/ 9645 w 10785"/>
                  <a:gd name="connsiteY753" fmla="*/ 3504 h 10000"/>
                  <a:gd name="connsiteX754" fmla="*/ 9631 w 10785"/>
                  <a:gd name="connsiteY754" fmla="*/ 3487 h 10000"/>
                  <a:gd name="connsiteX755" fmla="*/ 9613 w 10785"/>
                  <a:gd name="connsiteY755" fmla="*/ 3479 h 10000"/>
                  <a:gd name="connsiteX756" fmla="*/ 9599 w 10785"/>
                  <a:gd name="connsiteY756" fmla="*/ 3479 h 10000"/>
                  <a:gd name="connsiteX757" fmla="*/ 9571 w 10785"/>
                  <a:gd name="connsiteY757" fmla="*/ 3479 h 10000"/>
                  <a:gd name="connsiteX758" fmla="*/ 9562 w 10785"/>
                  <a:gd name="connsiteY758" fmla="*/ 3487 h 10000"/>
                  <a:gd name="connsiteX759" fmla="*/ 9539 w 10785"/>
                  <a:gd name="connsiteY759" fmla="*/ 3487 h 10000"/>
                  <a:gd name="connsiteX760" fmla="*/ 9507 w 10785"/>
                  <a:gd name="connsiteY760" fmla="*/ 3453 h 10000"/>
                  <a:gd name="connsiteX761" fmla="*/ 9498 w 10785"/>
                  <a:gd name="connsiteY761" fmla="*/ 3453 h 10000"/>
                  <a:gd name="connsiteX762" fmla="*/ 9387 w 10785"/>
                  <a:gd name="connsiteY762" fmla="*/ 3419 h 10000"/>
                  <a:gd name="connsiteX763" fmla="*/ 9373 w 10785"/>
                  <a:gd name="connsiteY763" fmla="*/ 3427 h 10000"/>
                  <a:gd name="connsiteX764" fmla="*/ 9373 w 10785"/>
                  <a:gd name="connsiteY764" fmla="*/ 3462 h 10000"/>
                  <a:gd name="connsiteX765" fmla="*/ 9378 w 10785"/>
                  <a:gd name="connsiteY765" fmla="*/ 3479 h 10000"/>
                  <a:gd name="connsiteX766" fmla="*/ 9378 w 10785"/>
                  <a:gd name="connsiteY766" fmla="*/ 3530 h 10000"/>
                  <a:gd name="connsiteX767" fmla="*/ 9355 w 10785"/>
                  <a:gd name="connsiteY767" fmla="*/ 3538 h 10000"/>
                  <a:gd name="connsiteX768" fmla="*/ 9355 w 10785"/>
                  <a:gd name="connsiteY768" fmla="*/ 3581 h 10000"/>
                  <a:gd name="connsiteX769" fmla="*/ 9387 w 10785"/>
                  <a:gd name="connsiteY769" fmla="*/ 3590 h 10000"/>
                  <a:gd name="connsiteX770" fmla="*/ 9401 w 10785"/>
                  <a:gd name="connsiteY770" fmla="*/ 3667 h 10000"/>
                  <a:gd name="connsiteX771" fmla="*/ 9406 w 10785"/>
                  <a:gd name="connsiteY771" fmla="*/ 3675 h 10000"/>
                  <a:gd name="connsiteX772" fmla="*/ 9406 w 10785"/>
                  <a:gd name="connsiteY772" fmla="*/ 3701 h 10000"/>
                  <a:gd name="connsiteX773" fmla="*/ 9415 w 10785"/>
                  <a:gd name="connsiteY773" fmla="*/ 3752 h 10000"/>
                  <a:gd name="connsiteX774" fmla="*/ 9373 w 10785"/>
                  <a:gd name="connsiteY774" fmla="*/ 3838 h 10000"/>
                  <a:gd name="connsiteX775" fmla="*/ 9355 w 10785"/>
                  <a:gd name="connsiteY775" fmla="*/ 3863 h 10000"/>
                  <a:gd name="connsiteX776" fmla="*/ 9327 w 10785"/>
                  <a:gd name="connsiteY776" fmla="*/ 3863 h 10000"/>
                  <a:gd name="connsiteX777" fmla="*/ 9313 w 10785"/>
                  <a:gd name="connsiteY777" fmla="*/ 3846 h 10000"/>
                  <a:gd name="connsiteX778" fmla="*/ 9300 w 10785"/>
                  <a:gd name="connsiteY778" fmla="*/ 3778 h 10000"/>
                  <a:gd name="connsiteX779" fmla="*/ 9281 w 10785"/>
                  <a:gd name="connsiteY779" fmla="*/ 3752 h 10000"/>
                  <a:gd name="connsiteX780" fmla="*/ 9281 w 10785"/>
                  <a:gd name="connsiteY780" fmla="*/ 3735 h 10000"/>
                  <a:gd name="connsiteX781" fmla="*/ 9267 w 10785"/>
                  <a:gd name="connsiteY781" fmla="*/ 3726 h 10000"/>
                  <a:gd name="connsiteX782" fmla="*/ 9240 w 10785"/>
                  <a:gd name="connsiteY782" fmla="*/ 3726 h 10000"/>
                  <a:gd name="connsiteX783" fmla="*/ 9230 w 10785"/>
                  <a:gd name="connsiteY783" fmla="*/ 3718 h 10000"/>
                  <a:gd name="connsiteX784" fmla="*/ 9226 w 10785"/>
                  <a:gd name="connsiteY784" fmla="*/ 3590 h 10000"/>
                  <a:gd name="connsiteX785" fmla="*/ 9207 w 10785"/>
                  <a:gd name="connsiteY785" fmla="*/ 3581 h 10000"/>
                  <a:gd name="connsiteX786" fmla="*/ 9207 w 10785"/>
                  <a:gd name="connsiteY786" fmla="*/ 3556 h 10000"/>
                  <a:gd name="connsiteX787" fmla="*/ 9217 w 10785"/>
                  <a:gd name="connsiteY787" fmla="*/ 3538 h 10000"/>
                  <a:gd name="connsiteX788" fmla="*/ 9212 w 10785"/>
                  <a:gd name="connsiteY788" fmla="*/ 3538 h 10000"/>
                  <a:gd name="connsiteX789" fmla="*/ 9198 w 10785"/>
                  <a:gd name="connsiteY789" fmla="*/ 3513 h 10000"/>
                  <a:gd name="connsiteX790" fmla="*/ 9194 w 10785"/>
                  <a:gd name="connsiteY790" fmla="*/ 3530 h 10000"/>
                  <a:gd name="connsiteX791" fmla="*/ 9143 w 10785"/>
                  <a:gd name="connsiteY791" fmla="*/ 3615 h 10000"/>
                  <a:gd name="connsiteX792" fmla="*/ 9138 w 10785"/>
                  <a:gd name="connsiteY792" fmla="*/ 3615 h 10000"/>
                  <a:gd name="connsiteX793" fmla="*/ 9134 w 10785"/>
                  <a:gd name="connsiteY793" fmla="*/ 3615 h 10000"/>
                  <a:gd name="connsiteX794" fmla="*/ 9106 w 10785"/>
                  <a:gd name="connsiteY794" fmla="*/ 3615 h 10000"/>
                  <a:gd name="connsiteX795" fmla="*/ 9078 w 10785"/>
                  <a:gd name="connsiteY795" fmla="*/ 3590 h 10000"/>
                  <a:gd name="connsiteX796" fmla="*/ 9037 w 10785"/>
                  <a:gd name="connsiteY796" fmla="*/ 3581 h 10000"/>
                  <a:gd name="connsiteX797" fmla="*/ 9023 w 10785"/>
                  <a:gd name="connsiteY797" fmla="*/ 3590 h 10000"/>
                  <a:gd name="connsiteX798" fmla="*/ 9018 w 10785"/>
                  <a:gd name="connsiteY798" fmla="*/ 3590 h 10000"/>
                  <a:gd name="connsiteX799" fmla="*/ 9018 w 10785"/>
                  <a:gd name="connsiteY799" fmla="*/ 3590 h 10000"/>
                  <a:gd name="connsiteX800" fmla="*/ 8991 w 10785"/>
                  <a:gd name="connsiteY800" fmla="*/ 3590 h 10000"/>
                  <a:gd name="connsiteX801" fmla="*/ 8972 w 10785"/>
                  <a:gd name="connsiteY801" fmla="*/ 3581 h 10000"/>
                  <a:gd name="connsiteX802" fmla="*/ 8959 w 10785"/>
                  <a:gd name="connsiteY802" fmla="*/ 3513 h 10000"/>
                  <a:gd name="connsiteX803" fmla="*/ 8931 w 10785"/>
                  <a:gd name="connsiteY803" fmla="*/ 3538 h 10000"/>
                  <a:gd name="connsiteX804" fmla="*/ 8889 w 10785"/>
                  <a:gd name="connsiteY804" fmla="*/ 3538 h 10000"/>
                  <a:gd name="connsiteX805" fmla="*/ 8871 w 10785"/>
                  <a:gd name="connsiteY805" fmla="*/ 3556 h 10000"/>
                  <a:gd name="connsiteX806" fmla="*/ 8857 w 10785"/>
                  <a:gd name="connsiteY806" fmla="*/ 3538 h 10000"/>
                  <a:gd name="connsiteX807" fmla="*/ 8843 w 10785"/>
                  <a:gd name="connsiteY807" fmla="*/ 3538 h 10000"/>
                  <a:gd name="connsiteX808" fmla="*/ 8839 w 10785"/>
                  <a:gd name="connsiteY808" fmla="*/ 3556 h 10000"/>
                  <a:gd name="connsiteX809" fmla="*/ 8839 w 10785"/>
                  <a:gd name="connsiteY809" fmla="*/ 3581 h 10000"/>
                  <a:gd name="connsiteX810" fmla="*/ 8825 w 10785"/>
                  <a:gd name="connsiteY810" fmla="*/ 3564 h 10000"/>
                  <a:gd name="connsiteX811" fmla="*/ 8825 w 10785"/>
                  <a:gd name="connsiteY811" fmla="*/ 3615 h 10000"/>
                  <a:gd name="connsiteX812" fmla="*/ 8802 w 10785"/>
                  <a:gd name="connsiteY812" fmla="*/ 3598 h 10000"/>
                  <a:gd name="connsiteX813" fmla="*/ 8797 w 10785"/>
                  <a:gd name="connsiteY813" fmla="*/ 3641 h 10000"/>
                  <a:gd name="connsiteX814" fmla="*/ 8783 w 10785"/>
                  <a:gd name="connsiteY814" fmla="*/ 3667 h 10000"/>
                  <a:gd name="connsiteX815" fmla="*/ 8779 w 10785"/>
                  <a:gd name="connsiteY815" fmla="*/ 3650 h 10000"/>
                  <a:gd name="connsiteX816" fmla="*/ 8779 w 10785"/>
                  <a:gd name="connsiteY816" fmla="*/ 3615 h 10000"/>
                  <a:gd name="connsiteX817" fmla="*/ 8770 w 10785"/>
                  <a:gd name="connsiteY817" fmla="*/ 3590 h 10000"/>
                  <a:gd name="connsiteX818" fmla="*/ 8765 w 10785"/>
                  <a:gd name="connsiteY818" fmla="*/ 3598 h 10000"/>
                  <a:gd name="connsiteX819" fmla="*/ 8756 w 10785"/>
                  <a:gd name="connsiteY819" fmla="*/ 3590 h 10000"/>
                  <a:gd name="connsiteX820" fmla="*/ 8737 w 10785"/>
                  <a:gd name="connsiteY820" fmla="*/ 3556 h 10000"/>
                  <a:gd name="connsiteX821" fmla="*/ 8724 w 10785"/>
                  <a:gd name="connsiteY821" fmla="*/ 3538 h 10000"/>
                  <a:gd name="connsiteX822" fmla="*/ 8696 w 10785"/>
                  <a:gd name="connsiteY822" fmla="*/ 3538 h 10000"/>
                  <a:gd name="connsiteX823" fmla="*/ 8691 w 10785"/>
                  <a:gd name="connsiteY823" fmla="*/ 3513 h 10000"/>
                  <a:gd name="connsiteX824" fmla="*/ 8668 w 10785"/>
                  <a:gd name="connsiteY824" fmla="*/ 3504 h 10000"/>
                  <a:gd name="connsiteX825" fmla="*/ 8668 w 10785"/>
                  <a:gd name="connsiteY825" fmla="*/ 3487 h 10000"/>
                  <a:gd name="connsiteX826" fmla="*/ 8691 w 10785"/>
                  <a:gd name="connsiteY826" fmla="*/ 3350 h 10000"/>
                  <a:gd name="connsiteX827" fmla="*/ 8691 w 10785"/>
                  <a:gd name="connsiteY827" fmla="*/ 3291 h 10000"/>
                  <a:gd name="connsiteX828" fmla="*/ 8677 w 10785"/>
                  <a:gd name="connsiteY828" fmla="*/ 3239 h 10000"/>
                  <a:gd name="connsiteX829" fmla="*/ 8677 w 10785"/>
                  <a:gd name="connsiteY829" fmla="*/ 3231 h 10000"/>
                  <a:gd name="connsiteX830" fmla="*/ 8636 w 10785"/>
                  <a:gd name="connsiteY830" fmla="*/ 3128 h 10000"/>
                  <a:gd name="connsiteX831" fmla="*/ 8622 w 10785"/>
                  <a:gd name="connsiteY831" fmla="*/ 3120 h 10000"/>
                  <a:gd name="connsiteX832" fmla="*/ 8618 w 10785"/>
                  <a:gd name="connsiteY832" fmla="*/ 3094 h 10000"/>
                  <a:gd name="connsiteX833" fmla="*/ 8594 w 10785"/>
                  <a:gd name="connsiteY833" fmla="*/ 3077 h 10000"/>
                  <a:gd name="connsiteX834" fmla="*/ 8548 w 10785"/>
                  <a:gd name="connsiteY834" fmla="*/ 3077 h 10000"/>
                  <a:gd name="connsiteX835" fmla="*/ 8535 w 10785"/>
                  <a:gd name="connsiteY835" fmla="*/ 3068 h 10000"/>
                  <a:gd name="connsiteX836" fmla="*/ 8429 w 10785"/>
                  <a:gd name="connsiteY836" fmla="*/ 3077 h 10000"/>
                  <a:gd name="connsiteX837" fmla="*/ 8424 w 10785"/>
                  <a:gd name="connsiteY837" fmla="*/ 3077 h 10000"/>
                  <a:gd name="connsiteX838" fmla="*/ 8396 w 10785"/>
                  <a:gd name="connsiteY838" fmla="*/ 3077 h 10000"/>
                  <a:gd name="connsiteX839" fmla="*/ 8387 w 10785"/>
                  <a:gd name="connsiteY839" fmla="*/ 3094 h 10000"/>
                  <a:gd name="connsiteX840" fmla="*/ 8378 w 10785"/>
                  <a:gd name="connsiteY840" fmla="*/ 3094 h 10000"/>
                  <a:gd name="connsiteX841" fmla="*/ 8341 w 10785"/>
                  <a:gd name="connsiteY841" fmla="*/ 3077 h 10000"/>
                  <a:gd name="connsiteX842" fmla="*/ 8336 w 10785"/>
                  <a:gd name="connsiteY842" fmla="*/ 3077 h 10000"/>
                  <a:gd name="connsiteX843" fmla="*/ 8327 w 10785"/>
                  <a:gd name="connsiteY843" fmla="*/ 3103 h 10000"/>
                  <a:gd name="connsiteX844" fmla="*/ 8309 w 10785"/>
                  <a:gd name="connsiteY844" fmla="*/ 3120 h 10000"/>
                  <a:gd name="connsiteX845" fmla="*/ 8304 w 10785"/>
                  <a:gd name="connsiteY845" fmla="*/ 3103 h 10000"/>
                  <a:gd name="connsiteX846" fmla="*/ 8276 w 10785"/>
                  <a:gd name="connsiteY846" fmla="*/ 3103 h 10000"/>
                  <a:gd name="connsiteX847" fmla="*/ 8267 w 10785"/>
                  <a:gd name="connsiteY847" fmla="*/ 3120 h 10000"/>
                  <a:gd name="connsiteX848" fmla="*/ 8253 w 10785"/>
                  <a:gd name="connsiteY848" fmla="*/ 3103 h 10000"/>
                  <a:gd name="connsiteX849" fmla="*/ 8230 w 10785"/>
                  <a:gd name="connsiteY849" fmla="*/ 3128 h 10000"/>
                  <a:gd name="connsiteX850" fmla="*/ 8217 w 10785"/>
                  <a:gd name="connsiteY850" fmla="*/ 3128 h 10000"/>
                  <a:gd name="connsiteX851" fmla="*/ 8203 w 10785"/>
                  <a:gd name="connsiteY851" fmla="*/ 3154 h 10000"/>
                  <a:gd name="connsiteX852" fmla="*/ 8175 w 10785"/>
                  <a:gd name="connsiteY852" fmla="*/ 3094 h 10000"/>
                  <a:gd name="connsiteX853" fmla="*/ 8161 w 10785"/>
                  <a:gd name="connsiteY853" fmla="*/ 3094 h 10000"/>
                  <a:gd name="connsiteX854" fmla="*/ 8157 w 10785"/>
                  <a:gd name="connsiteY854" fmla="*/ 3077 h 10000"/>
                  <a:gd name="connsiteX855" fmla="*/ 8180 w 10785"/>
                  <a:gd name="connsiteY855" fmla="*/ 3068 h 10000"/>
                  <a:gd name="connsiteX856" fmla="*/ 8189 w 10785"/>
                  <a:gd name="connsiteY856" fmla="*/ 3043 h 10000"/>
                  <a:gd name="connsiteX857" fmla="*/ 8189 w 10785"/>
                  <a:gd name="connsiteY857" fmla="*/ 3017 h 10000"/>
                  <a:gd name="connsiteX858" fmla="*/ 8147 w 10785"/>
                  <a:gd name="connsiteY858" fmla="*/ 2940 h 10000"/>
                  <a:gd name="connsiteX859" fmla="*/ 8143 w 10785"/>
                  <a:gd name="connsiteY859" fmla="*/ 2915 h 10000"/>
                  <a:gd name="connsiteX860" fmla="*/ 8143 w 10785"/>
                  <a:gd name="connsiteY860" fmla="*/ 2906 h 10000"/>
                  <a:gd name="connsiteX861" fmla="*/ 8097 w 10785"/>
                  <a:gd name="connsiteY861" fmla="*/ 2932 h 10000"/>
                  <a:gd name="connsiteX862" fmla="*/ 8083 w 10785"/>
                  <a:gd name="connsiteY862" fmla="*/ 2932 h 10000"/>
                  <a:gd name="connsiteX863" fmla="*/ 8074 w 10785"/>
                  <a:gd name="connsiteY863" fmla="*/ 2906 h 10000"/>
                  <a:gd name="connsiteX864" fmla="*/ 8074 w 10785"/>
                  <a:gd name="connsiteY864" fmla="*/ 2897 h 10000"/>
                  <a:gd name="connsiteX865" fmla="*/ 8055 w 10785"/>
                  <a:gd name="connsiteY865" fmla="*/ 2872 h 10000"/>
                  <a:gd name="connsiteX866" fmla="*/ 8046 w 10785"/>
                  <a:gd name="connsiteY866" fmla="*/ 2829 h 10000"/>
                  <a:gd name="connsiteX867" fmla="*/ 8041 w 10785"/>
                  <a:gd name="connsiteY867" fmla="*/ 2829 h 10000"/>
                  <a:gd name="connsiteX868" fmla="*/ 8023 w 10785"/>
                  <a:gd name="connsiteY868" fmla="*/ 2803 h 10000"/>
                  <a:gd name="connsiteX869" fmla="*/ 8014 w 10785"/>
                  <a:gd name="connsiteY869" fmla="*/ 2829 h 10000"/>
                  <a:gd name="connsiteX870" fmla="*/ 8000 w 10785"/>
                  <a:gd name="connsiteY870" fmla="*/ 2829 h 10000"/>
                  <a:gd name="connsiteX871" fmla="*/ 7995 w 10785"/>
                  <a:gd name="connsiteY871" fmla="*/ 2821 h 10000"/>
                  <a:gd name="connsiteX872" fmla="*/ 7972 w 10785"/>
                  <a:gd name="connsiteY872" fmla="*/ 2803 h 10000"/>
                  <a:gd name="connsiteX873" fmla="*/ 7968 w 10785"/>
                  <a:gd name="connsiteY873" fmla="*/ 2821 h 10000"/>
                  <a:gd name="connsiteX874" fmla="*/ 7968 w 10785"/>
                  <a:gd name="connsiteY874" fmla="*/ 2803 h 10000"/>
                  <a:gd name="connsiteX875" fmla="*/ 7995 w 10785"/>
                  <a:gd name="connsiteY875" fmla="*/ 2735 h 10000"/>
                  <a:gd name="connsiteX876" fmla="*/ 8000 w 10785"/>
                  <a:gd name="connsiteY876" fmla="*/ 2735 h 10000"/>
                  <a:gd name="connsiteX877" fmla="*/ 8014 w 10785"/>
                  <a:gd name="connsiteY877" fmla="*/ 2744 h 10000"/>
                  <a:gd name="connsiteX878" fmla="*/ 8023 w 10785"/>
                  <a:gd name="connsiteY878" fmla="*/ 2769 h 10000"/>
                  <a:gd name="connsiteX879" fmla="*/ 8032 w 10785"/>
                  <a:gd name="connsiteY879" fmla="*/ 2744 h 10000"/>
                  <a:gd name="connsiteX880" fmla="*/ 8032 w 10785"/>
                  <a:gd name="connsiteY880" fmla="*/ 2709 h 10000"/>
                  <a:gd name="connsiteX881" fmla="*/ 8023 w 10785"/>
                  <a:gd name="connsiteY881" fmla="*/ 2632 h 10000"/>
                  <a:gd name="connsiteX882" fmla="*/ 7986 w 10785"/>
                  <a:gd name="connsiteY882" fmla="*/ 2581 h 10000"/>
                  <a:gd name="connsiteX883" fmla="*/ 7968 w 10785"/>
                  <a:gd name="connsiteY883" fmla="*/ 2581 h 10000"/>
                  <a:gd name="connsiteX884" fmla="*/ 7963 w 10785"/>
                  <a:gd name="connsiteY884" fmla="*/ 2556 h 10000"/>
                  <a:gd name="connsiteX885" fmla="*/ 7935 w 10785"/>
                  <a:gd name="connsiteY885" fmla="*/ 2547 h 10000"/>
                  <a:gd name="connsiteX886" fmla="*/ 7912 w 10785"/>
                  <a:gd name="connsiteY886" fmla="*/ 2547 h 10000"/>
                  <a:gd name="connsiteX887" fmla="*/ 7912 w 10785"/>
                  <a:gd name="connsiteY887" fmla="*/ 2556 h 10000"/>
                  <a:gd name="connsiteX888" fmla="*/ 7908 w 10785"/>
                  <a:gd name="connsiteY888" fmla="*/ 2547 h 10000"/>
                  <a:gd name="connsiteX889" fmla="*/ 7862 w 10785"/>
                  <a:gd name="connsiteY889" fmla="*/ 2547 h 10000"/>
                  <a:gd name="connsiteX890" fmla="*/ 7848 w 10785"/>
                  <a:gd name="connsiteY890" fmla="*/ 2556 h 10000"/>
                  <a:gd name="connsiteX891" fmla="*/ 7820 w 10785"/>
                  <a:gd name="connsiteY891" fmla="*/ 2547 h 10000"/>
                  <a:gd name="connsiteX892" fmla="*/ 7806 w 10785"/>
                  <a:gd name="connsiteY892" fmla="*/ 2513 h 10000"/>
                  <a:gd name="connsiteX893" fmla="*/ 7788 w 10785"/>
                  <a:gd name="connsiteY893" fmla="*/ 2513 h 10000"/>
                  <a:gd name="connsiteX894" fmla="*/ 7760 w 10785"/>
                  <a:gd name="connsiteY894" fmla="*/ 2470 h 10000"/>
                  <a:gd name="connsiteX895" fmla="*/ 7751 w 10785"/>
                  <a:gd name="connsiteY895" fmla="*/ 2470 h 10000"/>
                  <a:gd name="connsiteX896" fmla="*/ 7705 w 10785"/>
                  <a:gd name="connsiteY896" fmla="*/ 2462 h 10000"/>
                  <a:gd name="connsiteX897" fmla="*/ 7673 w 10785"/>
                  <a:gd name="connsiteY897" fmla="*/ 2419 h 10000"/>
                  <a:gd name="connsiteX898" fmla="*/ 7627 w 10785"/>
                  <a:gd name="connsiteY898" fmla="*/ 2419 h 10000"/>
                  <a:gd name="connsiteX899" fmla="*/ 7613 w 10785"/>
                  <a:gd name="connsiteY899" fmla="*/ 2410 h 10000"/>
                  <a:gd name="connsiteX900" fmla="*/ 7493 w 10785"/>
                  <a:gd name="connsiteY900" fmla="*/ 2393 h 10000"/>
                  <a:gd name="connsiteX901" fmla="*/ 7479 w 10785"/>
                  <a:gd name="connsiteY901" fmla="*/ 2385 h 10000"/>
                  <a:gd name="connsiteX902" fmla="*/ 7479 w 10785"/>
                  <a:gd name="connsiteY902" fmla="*/ 2376 h 10000"/>
                  <a:gd name="connsiteX903" fmla="*/ 7465 w 10785"/>
                  <a:gd name="connsiteY903" fmla="*/ 2359 h 10000"/>
                  <a:gd name="connsiteX904" fmla="*/ 7447 w 10785"/>
                  <a:gd name="connsiteY904" fmla="*/ 2350 h 10000"/>
                  <a:gd name="connsiteX905" fmla="*/ 7433 w 10785"/>
                  <a:gd name="connsiteY905" fmla="*/ 2376 h 10000"/>
                  <a:gd name="connsiteX906" fmla="*/ 7433 w 10785"/>
                  <a:gd name="connsiteY906" fmla="*/ 2385 h 10000"/>
                  <a:gd name="connsiteX907" fmla="*/ 7447 w 10785"/>
                  <a:gd name="connsiteY907" fmla="*/ 2410 h 10000"/>
                  <a:gd name="connsiteX908" fmla="*/ 7447 w 10785"/>
                  <a:gd name="connsiteY908" fmla="*/ 2436 h 10000"/>
                  <a:gd name="connsiteX909" fmla="*/ 7452 w 10785"/>
                  <a:gd name="connsiteY909" fmla="*/ 2462 h 10000"/>
                  <a:gd name="connsiteX910" fmla="*/ 7447 w 10785"/>
                  <a:gd name="connsiteY910" fmla="*/ 2470 h 10000"/>
                  <a:gd name="connsiteX911" fmla="*/ 7424 w 10785"/>
                  <a:gd name="connsiteY911" fmla="*/ 2513 h 10000"/>
                  <a:gd name="connsiteX912" fmla="*/ 7419 w 10785"/>
                  <a:gd name="connsiteY912" fmla="*/ 2556 h 10000"/>
                  <a:gd name="connsiteX913" fmla="*/ 7406 w 10785"/>
                  <a:gd name="connsiteY913" fmla="*/ 2624 h 10000"/>
                  <a:gd name="connsiteX914" fmla="*/ 7392 w 10785"/>
                  <a:gd name="connsiteY914" fmla="*/ 2624 h 10000"/>
                  <a:gd name="connsiteX915" fmla="*/ 7373 w 10785"/>
                  <a:gd name="connsiteY915" fmla="*/ 2650 h 10000"/>
                  <a:gd name="connsiteX916" fmla="*/ 7364 w 10785"/>
                  <a:gd name="connsiteY916" fmla="*/ 2684 h 10000"/>
                  <a:gd name="connsiteX917" fmla="*/ 7364 w 10785"/>
                  <a:gd name="connsiteY917" fmla="*/ 2692 h 10000"/>
                  <a:gd name="connsiteX918" fmla="*/ 7373 w 10785"/>
                  <a:gd name="connsiteY918" fmla="*/ 2718 h 10000"/>
                  <a:gd name="connsiteX919" fmla="*/ 7373 w 10785"/>
                  <a:gd name="connsiteY919" fmla="*/ 2744 h 10000"/>
                  <a:gd name="connsiteX920" fmla="*/ 7359 w 10785"/>
                  <a:gd name="connsiteY920" fmla="*/ 2744 h 10000"/>
                  <a:gd name="connsiteX921" fmla="*/ 7359 w 10785"/>
                  <a:gd name="connsiteY921" fmla="*/ 2795 h 10000"/>
                  <a:gd name="connsiteX922" fmla="*/ 7364 w 10785"/>
                  <a:gd name="connsiteY922" fmla="*/ 2821 h 10000"/>
                  <a:gd name="connsiteX923" fmla="*/ 7378 w 10785"/>
                  <a:gd name="connsiteY923" fmla="*/ 2846 h 10000"/>
                  <a:gd name="connsiteX924" fmla="*/ 7378 w 10785"/>
                  <a:gd name="connsiteY924" fmla="*/ 2855 h 10000"/>
                  <a:gd name="connsiteX925" fmla="*/ 7378 w 10785"/>
                  <a:gd name="connsiteY925" fmla="*/ 2880 h 10000"/>
                  <a:gd name="connsiteX926" fmla="*/ 7378 w 10785"/>
                  <a:gd name="connsiteY926" fmla="*/ 2906 h 10000"/>
                  <a:gd name="connsiteX927" fmla="*/ 7364 w 10785"/>
                  <a:gd name="connsiteY927" fmla="*/ 2906 h 10000"/>
                  <a:gd name="connsiteX928" fmla="*/ 7346 w 10785"/>
                  <a:gd name="connsiteY928" fmla="*/ 2880 h 10000"/>
                  <a:gd name="connsiteX929" fmla="*/ 7332 w 10785"/>
                  <a:gd name="connsiteY929" fmla="*/ 2915 h 10000"/>
                  <a:gd name="connsiteX930" fmla="*/ 7318 w 10785"/>
                  <a:gd name="connsiteY930" fmla="*/ 2906 h 10000"/>
                  <a:gd name="connsiteX931" fmla="*/ 7313 w 10785"/>
                  <a:gd name="connsiteY931" fmla="*/ 2915 h 10000"/>
                  <a:gd name="connsiteX932" fmla="*/ 7313 w 10785"/>
                  <a:gd name="connsiteY932" fmla="*/ 2906 h 10000"/>
                  <a:gd name="connsiteX933" fmla="*/ 7286 w 10785"/>
                  <a:gd name="connsiteY933" fmla="*/ 2940 h 10000"/>
                  <a:gd name="connsiteX934" fmla="*/ 7276 w 10785"/>
                  <a:gd name="connsiteY934" fmla="*/ 2966 h 10000"/>
                  <a:gd name="connsiteX935" fmla="*/ 7272 w 10785"/>
                  <a:gd name="connsiteY935" fmla="*/ 2983 h 10000"/>
                  <a:gd name="connsiteX936" fmla="*/ 7267 w 10785"/>
                  <a:gd name="connsiteY936" fmla="*/ 3009 h 10000"/>
                  <a:gd name="connsiteX937" fmla="*/ 7253 w 10785"/>
                  <a:gd name="connsiteY937" fmla="*/ 3009 h 10000"/>
                  <a:gd name="connsiteX938" fmla="*/ 7244 w 10785"/>
                  <a:gd name="connsiteY938" fmla="*/ 3017 h 10000"/>
                  <a:gd name="connsiteX939" fmla="*/ 7240 w 10785"/>
                  <a:gd name="connsiteY939" fmla="*/ 3009 h 10000"/>
                  <a:gd name="connsiteX940" fmla="*/ 7230 w 10785"/>
                  <a:gd name="connsiteY940" fmla="*/ 2991 h 10000"/>
                  <a:gd name="connsiteX941" fmla="*/ 7226 w 10785"/>
                  <a:gd name="connsiteY941" fmla="*/ 2983 h 10000"/>
                  <a:gd name="connsiteX942" fmla="*/ 7226 w 10785"/>
                  <a:gd name="connsiteY942" fmla="*/ 2966 h 10000"/>
                  <a:gd name="connsiteX943" fmla="*/ 7212 w 10785"/>
                  <a:gd name="connsiteY943" fmla="*/ 2957 h 10000"/>
                  <a:gd name="connsiteX944" fmla="*/ 7212 w 10785"/>
                  <a:gd name="connsiteY944" fmla="*/ 2932 h 10000"/>
                  <a:gd name="connsiteX945" fmla="*/ 7198 w 10785"/>
                  <a:gd name="connsiteY945" fmla="*/ 2915 h 10000"/>
                  <a:gd name="connsiteX946" fmla="*/ 7194 w 10785"/>
                  <a:gd name="connsiteY946" fmla="*/ 2915 h 10000"/>
                  <a:gd name="connsiteX947" fmla="*/ 7157 w 10785"/>
                  <a:gd name="connsiteY947" fmla="*/ 2880 h 10000"/>
                  <a:gd name="connsiteX948" fmla="*/ 7138 w 10785"/>
                  <a:gd name="connsiteY948" fmla="*/ 2880 h 10000"/>
                  <a:gd name="connsiteX949" fmla="*/ 7120 w 10785"/>
                  <a:gd name="connsiteY949" fmla="*/ 2872 h 10000"/>
                  <a:gd name="connsiteX950" fmla="*/ 7111 w 10785"/>
                  <a:gd name="connsiteY950" fmla="*/ 2846 h 10000"/>
                  <a:gd name="connsiteX951" fmla="*/ 7106 w 10785"/>
                  <a:gd name="connsiteY951" fmla="*/ 2846 h 10000"/>
                  <a:gd name="connsiteX952" fmla="*/ 7092 w 10785"/>
                  <a:gd name="connsiteY952" fmla="*/ 2829 h 10000"/>
                  <a:gd name="connsiteX953" fmla="*/ 7051 w 10785"/>
                  <a:gd name="connsiteY953" fmla="*/ 2829 h 10000"/>
                  <a:gd name="connsiteX954" fmla="*/ 7037 w 10785"/>
                  <a:gd name="connsiteY954" fmla="*/ 2880 h 10000"/>
                  <a:gd name="connsiteX955" fmla="*/ 7037 w 10785"/>
                  <a:gd name="connsiteY955" fmla="*/ 2906 h 10000"/>
                  <a:gd name="connsiteX956" fmla="*/ 7037 w 10785"/>
                  <a:gd name="connsiteY956" fmla="*/ 2932 h 10000"/>
                  <a:gd name="connsiteX957" fmla="*/ 7037 w 10785"/>
                  <a:gd name="connsiteY957" fmla="*/ 2940 h 10000"/>
                  <a:gd name="connsiteX958" fmla="*/ 7023 w 10785"/>
                  <a:gd name="connsiteY958" fmla="*/ 2906 h 10000"/>
                  <a:gd name="connsiteX959" fmla="*/ 7023 w 10785"/>
                  <a:gd name="connsiteY959" fmla="*/ 2915 h 10000"/>
                  <a:gd name="connsiteX960" fmla="*/ 6991 w 10785"/>
                  <a:gd name="connsiteY960" fmla="*/ 2906 h 10000"/>
                  <a:gd name="connsiteX961" fmla="*/ 6977 w 10785"/>
                  <a:gd name="connsiteY961" fmla="*/ 2915 h 10000"/>
                  <a:gd name="connsiteX962" fmla="*/ 6963 w 10785"/>
                  <a:gd name="connsiteY962" fmla="*/ 2915 h 10000"/>
                  <a:gd name="connsiteX963" fmla="*/ 6949 w 10785"/>
                  <a:gd name="connsiteY963" fmla="*/ 2872 h 10000"/>
                  <a:gd name="connsiteX964" fmla="*/ 6935 w 10785"/>
                  <a:gd name="connsiteY964" fmla="*/ 2855 h 10000"/>
                  <a:gd name="connsiteX965" fmla="*/ 6922 w 10785"/>
                  <a:gd name="connsiteY965" fmla="*/ 2803 h 10000"/>
                  <a:gd name="connsiteX966" fmla="*/ 6917 w 10785"/>
                  <a:gd name="connsiteY966" fmla="*/ 2786 h 10000"/>
                  <a:gd name="connsiteX967" fmla="*/ 6903 w 10785"/>
                  <a:gd name="connsiteY967" fmla="*/ 2709 h 10000"/>
                  <a:gd name="connsiteX968" fmla="*/ 6903 w 10785"/>
                  <a:gd name="connsiteY968" fmla="*/ 2692 h 10000"/>
                  <a:gd name="connsiteX969" fmla="*/ 6899 w 10785"/>
                  <a:gd name="connsiteY969" fmla="*/ 2709 h 10000"/>
                  <a:gd name="connsiteX970" fmla="*/ 6857 w 10785"/>
                  <a:gd name="connsiteY970" fmla="*/ 2872 h 10000"/>
                  <a:gd name="connsiteX971" fmla="*/ 6857 w 10785"/>
                  <a:gd name="connsiteY971" fmla="*/ 3009 h 10000"/>
                  <a:gd name="connsiteX972" fmla="*/ 6848 w 10785"/>
                  <a:gd name="connsiteY972" fmla="*/ 3017 h 10000"/>
                  <a:gd name="connsiteX973" fmla="*/ 6839 w 10785"/>
                  <a:gd name="connsiteY973" fmla="*/ 3068 h 10000"/>
                  <a:gd name="connsiteX974" fmla="*/ 6829 w 10785"/>
                  <a:gd name="connsiteY974" fmla="*/ 3077 h 10000"/>
                  <a:gd name="connsiteX975" fmla="*/ 6829 w 10785"/>
                  <a:gd name="connsiteY975" fmla="*/ 3128 h 10000"/>
                  <a:gd name="connsiteX976" fmla="*/ 6816 w 10785"/>
                  <a:gd name="connsiteY976" fmla="*/ 3154 h 10000"/>
                  <a:gd name="connsiteX977" fmla="*/ 6811 w 10785"/>
                  <a:gd name="connsiteY977" fmla="*/ 3179 h 10000"/>
                  <a:gd name="connsiteX978" fmla="*/ 6797 w 10785"/>
                  <a:gd name="connsiteY978" fmla="*/ 3171 h 10000"/>
                  <a:gd name="connsiteX979" fmla="*/ 6783 w 10785"/>
                  <a:gd name="connsiteY979" fmla="*/ 3103 h 10000"/>
                  <a:gd name="connsiteX980" fmla="*/ 6779 w 10785"/>
                  <a:gd name="connsiteY980" fmla="*/ 3094 h 10000"/>
                  <a:gd name="connsiteX981" fmla="*/ 6779 w 10785"/>
                  <a:gd name="connsiteY981" fmla="*/ 3120 h 10000"/>
                  <a:gd name="connsiteX982" fmla="*/ 6770 w 10785"/>
                  <a:gd name="connsiteY982" fmla="*/ 3128 h 10000"/>
                  <a:gd name="connsiteX983" fmla="*/ 6765 w 10785"/>
                  <a:gd name="connsiteY983" fmla="*/ 3103 h 10000"/>
                  <a:gd name="connsiteX984" fmla="*/ 6756 w 10785"/>
                  <a:gd name="connsiteY984" fmla="*/ 3103 h 10000"/>
                  <a:gd name="connsiteX985" fmla="*/ 6742 w 10785"/>
                  <a:gd name="connsiteY985" fmla="*/ 3103 h 10000"/>
                  <a:gd name="connsiteX986" fmla="*/ 6737 w 10785"/>
                  <a:gd name="connsiteY986" fmla="*/ 3077 h 10000"/>
                  <a:gd name="connsiteX987" fmla="*/ 6737 w 10785"/>
                  <a:gd name="connsiteY987" fmla="*/ 3068 h 10000"/>
                  <a:gd name="connsiteX988" fmla="*/ 6728 w 10785"/>
                  <a:gd name="connsiteY988" fmla="*/ 3043 h 10000"/>
                  <a:gd name="connsiteX989" fmla="*/ 6724 w 10785"/>
                  <a:gd name="connsiteY989" fmla="*/ 3051 h 10000"/>
                  <a:gd name="connsiteX990" fmla="*/ 6714 w 10785"/>
                  <a:gd name="connsiteY990" fmla="*/ 3043 h 10000"/>
                  <a:gd name="connsiteX991" fmla="*/ 6710 w 10785"/>
                  <a:gd name="connsiteY991" fmla="*/ 3034 h 10000"/>
                  <a:gd name="connsiteX992" fmla="*/ 6705 w 10785"/>
                  <a:gd name="connsiteY992" fmla="*/ 2983 h 10000"/>
                  <a:gd name="connsiteX993" fmla="*/ 6696 w 10785"/>
                  <a:gd name="connsiteY993" fmla="*/ 2966 h 10000"/>
                  <a:gd name="connsiteX994" fmla="*/ 6691 w 10785"/>
                  <a:gd name="connsiteY994" fmla="*/ 2983 h 10000"/>
                  <a:gd name="connsiteX995" fmla="*/ 6677 w 10785"/>
                  <a:gd name="connsiteY995" fmla="*/ 2897 h 10000"/>
                  <a:gd name="connsiteX996" fmla="*/ 6677 w 10785"/>
                  <a:gd name="connsiteY996" fmla="*/ 2897 h 10000"/>
                  <a:gd name="connsiteX997" fmla="*/ 6677 w 10785"/>
                  <a:gd name="connsiteY997" fmla="*/ 2872 h 10000"/>
                  <a:gd name="connsiteX998" fmla="*/ 6668 w 10785"/>
                  <a:gd name="connsiteY998" fmla="*/ 2821 h 10000"/>
                  <a:gd name="connsiteX999" fmla="*/ 6664 w 10785"/>
                  <a:gd name="connsiteY999" fmla="*/ 2829 h 10000"/>
                  <a:gd name="connsiteX1000" fmla="*/ 6654 w 10785"/>
                  <a:gd name="connsiteY1000" fmla="*/ 2846 h 10000"/>
                  <a:gd name="connsiteX1001" fmla="*/ 6650 w 10785"/>
                  <a:gd name="connsiteY1001" fmla="*/ 2829 h 10000"/>
                  <a:gd name="connsiteX1002" fmla="*/ 6650 w 10785"/>
                  <a:gd name="connsiteY1002" fmla="*/ 2803 h 10000"/>
                  <a:gd name="connsiteX1003" fmla="*/ 6650 w 10785"/>
                  <a:gd name="connsiteY1003" fmla="*/ 2795 h 10000"/>
                  <a:gd name="connsiteX1004" fmla="*/ 6641 w 10785"/>
                  <a:gd name="connsiteY1004" fmla="*/ 2786 h 10000"/>
                  <a:gd name="connsiteX1005" fmla="*/ 6636 w 10785"/>
                  <a:gd name="connsiteY1005" fmla="*/ 2735 h 10000"/>
                  <a:gd name="connsiteX1006" fmla="*/ 6664 w 10785"/>
                  <a:gd name="connsiteY1006" fmla="*/ 2667 h 10000"/>
                  <a:gd name="connsiteX1007" fmla="*/ 6668 w 10785"/>
                  <a:gd name="connsiteY1007" fmla="*/ 2684 h 10000"/>
                  <a:gd name="connsiteX1008" fmla="*/ 6677 w 10785"/>
                  <a:gd name="connsiteY1008" fmla="*/ 2667 h 10000"/>
                  <a:gd name="connsiteX1009" fmla="*/ 6668 w 10785"/>
                  <a:gd name="connsiteY1009" fmla="*/ 2667 h 10000"/>
                  <a:gd name="connsiteX1010" fmla="*/ 6668 w 10785"/>
                  <a:gd name="connsiteY1010" fmla="*/ 2650 h 10000"/>
                  <a:gd name="connsiteX1011" fmla="*/ 6682 w 10785"/>
                  <a:gd name="connsiteY1011" fmla="*/ 2650 h 10000"/>
                  <a:gd name="connsiteX1012" fmla="*/ 6691 w 10785"/>
                  <a:gd name="connsiteY1012" fmla="*/ 2624 h 10000"/>
                  <a:gd name="connsiteX1013" fmla="*/ 6682 w 10785"/>
                  <a:gd name="connsiteY1013" fmla="*/ 2632 h 10000"/>
                  <a:gd name="connsiteX1014" fmla="*/ 6682 w 10785"/>
                  <a:gd name="connsiteY1014" fmla="*/ 2624 h 10000"/>
                  <a:gd name="connsiteX1015" fmla="*/ 6691 w 10785"/>
                  <a:gd name="connsiteY1015" fmla="*/ 2607 h 10000"/>
                  <a:gd name="connsiteX1016" fmla="*/ 6691 w 10785"/>
                  <a:gd name="connsiteY1016" fmla="*/ 2598 h 10000"/>
                  <a:gd name="connsiteX1017" fmla="*/ 6691 w 10785"/>
                  <a:gd name="connsiteY1017" fmla="*/ 2581 h 10000"/>
                  <a:gd name="connsiteX1018" fmla="*/ 6696 w 10785"/>
                  <a:gd name="connsiteY1018" fmla="*/ 2530 h 10000"/>
                  <a:gd name="connsiteX1019" fmla="*/ 6677 w 10785"/>
                  <a:gd name="connsiteY1019" fmla="*/ 2513 h 10000"/>
                  <a:gd name="connsiteX1020" fmla="*/ 6677 w 10785"/>
                  <a:gd name="connsiteY1020" fmla="*/ 2496 h 10000"/>
                  <a:gd name="connsiteX1021" fmla="*/ 6682 w 10785"/>
                  <a:gd name="connsiteY1021" fmla="*/ 2470 h 10000"/>
                  <a:gd name="connsiteX1022" fmla="*/ 6668 w 10785"/>
                  <a:gd name="connsiteY1022" fmla="*/ 2462 h 10000"/>
                  <a:gd name="connsiteX1023" fmla="*/ 6677 w 10785"/>
                  <a:gd name="connsiteY1023" fmla="*/ 2436 h 10000"/>
                  <a:gd name="connsiteX1024" fmla="*/ 6682 w 10785"/>
                  <a:gd name="connsiteY1024" fmla="*/ 2419 h 10000"/>
                  <a:gd name="connsiteX1025" fmla="*/ 6682 w 10785"/>
                  <a:gd name="connsiteY1025" fmla="*/ 2393 h 10000"/>
                  <a:gd name="connsiteX1026" fmla="*/ 6682 w 10785"/>
                  <a:gd name="connsiteY1026" fmla="*/ 2385 h 10000"/>
                  <a:gd name="connsiteX1027" fmla="*/ 6682 w 10785"/>
                  <a:gd name="connsiteY1027" fmla="*/ 2385 h 10000"/>
                  <a:gd name="connsiteX1028" fmla="*/ 6677 w 10785"/>
                  <a:gd name="connsiteY1028" fmla="*/ 2376 h 10000"/>
                  <a:gd name="connsiteX1029" fmla="*/ 6682 w 10785"/>
                  <a:gd name="connsiteY1029" fmla="*/ 2359 h 10000"/>
                  <a:gd name="connsiteX1030" fmla="*/ 6677 w 10785"/>
                  <a:gd name="connsiteY1030" fmla="*/ 2333 h 10000"/>
                  <a:gd name="connsiteX1031" fmla="*/ 6691 w 10785"/>
                  <a:gd name="connsiteY1031" fmla="*/ 2333 h 10000"/>
                  <a:gd name="connsiteX1032" fmla="*/ 6691 w 10785"/>
                  <a:gd name="connsiteY1032" fmla="*/ 2325 h 10000"/>
                  <a:gd name="connsiteX1033" fmla="*/ 6691 w 10785"/>
                  <a:gd name="connsiteY1033" fmla="*/ 2308 h 10000"/>
                  <a:gd name="connsiteX1034" fmla="*/ 6691 w 10785"/>
                  <a:gd name="connsiteY1034" fmla="*/ 2299 h 10000"/>
                  <a:gd name="connsiteX1035" fmla="*/ 6691 w 10785"/>
                  <a:gd name="connsiteY1035" fmla="*/ 2282 h 10000"/>
                  <a:gd name="connsiteX1036" fmla="*/ 6691 w 10785"/>
                  <a:gd name="connsiteY1036" fmla="*/ 2274 h 10000"/>
                  <a:gd name="connsiteX1037" fmla="*/ 6668 w 10785"/>
                  <a:gd name="connsiteY1037" fmla="*/ 2248 h 10000"/>
                  <a:gd name="connsiteX1038" fmla="*/ 6664 w 10785"/>
                  <a:gd name="connsiteY1038" fmla="*/ 2222 h 10000"/>
                  <a:gd name="connsiteX1039" fmla="*/ 6654 w 10785"/>
                  <a:gd name="connsiteY1039" fmla="*/ 2214 h 10000"/>
                  <a:gd name="connsiteX1040" fmla="*/ 6654 w 10785"/>
                  <a:gd name="connsiteY1040" fmla="*/ 2188 h 10000"/>
                  <a:gd name="connsiteX1041" fmla="*/ 6622 w 10785"/>
                  <a:gd name="connsiteY1041" fmla="*/ 2162 h 10000"/>
                  <a:gd name="connsiteX1042" fmla="*/ 6631 w 10785"/>
                  <a:gd name="connsiteY1042" fmla="*/ 2145 h 10000"/>
                  <a:gd name="connsiteX1043" fmla="*/ 6622 w 10785"/>
                  <a:gd name="connsiteY1043" fmla="*/ 2120 h 10000"/>
                  <a:gd name="connsiteX1044" fmla="*/ 6608 w 10785"/>
                  <a:gd name="connsiteY1044" fmla="*/ 2120 h 10000"/>
                  <a:gd name="connsiteX1045" fmla="*/ 6604 w 10785"/>
                  <a:gd name="connsiteY1045" fmla="*/ 2111 h 10000"/>
                  <a:gd name="connsiteX1046" fmla="*/ 6608 w 10785"/>
                  <a:gd name="connsiteY1046" fmla="*/ 2111 h 10000"/>
                  <a:gd name="connsiteX1047" fmla="*/ 6604 w 10785"/>
                  <a:gd name="connsiteY1047" fmla="*/ 2085 h 10000"/>
                  <a:gd name="connsiteX1048" fmla="*/ 6581 w 10785"/>
                  <a:gd name="connsiteY1048" fmla="*/ 2077 h 10000"/>
                  <a:gd name="connsiteX1049" fmla="*/ 6571 w 10785"/>
                  <a:gd name="connsiteY1049" fmla="*/ 2085 h 10000"/>
                  <a:gd name="connsiteX1050" fmla="*/ 6548 w 10785"/>
                  <a:gd name="connsiteY1050" fmla="*/ 2077 h 10000"/>
                  <a:gd name="connsiteX1051" fmla="*/ 6530 w 10785"/>
                  <a:gd name="connsiteY1051" fmla="*/ 2060 h 10000"/>
                  <a:gd name="connsiteX1052" fmla="*/ 6521 w 10785"/>
                  <a:gd name="connsiteY1052" fmla="*/ 2060 h 10000"/>
                  <a:gd name="connsiteX1053" fmla="*/ 6521 w 10785"/>
                  <a:gd name="connsiteY1053" fmla="*/ 2085 h 10000"/>
                  <a:gd name="connsiteX1054" fmla="*/ 6516 w 10785"/>
                  <a:gd name="connsiteY1054" fmla="*/ 2085 h 10000"/>
                  <a:gd name="connsiteX1055" fmla="*/ 6502 w 10785"/>
                  <a:gd name="connsiteY1055" fmla="*/ 2111 h 10000"/>
                  <a:gd name="connsiteX1056" fmla="*/ 6498 w 10785"/>
                  <a:gd name="connsiteY1056" fmla="*/ 2111 h 10000"/>
                  <a:gd name="connsiteX1057" fmla="*/ 6498 w 10785"/>
                  <a:gd name="connsiteY1057" fmla="*/ 2103 h 10000"/>
                  <a:gd name="connsiteX1058" fmla="*/ 6475 w 10785"/>
                  <a:gd name="connsiteY1058" fmla="*/ 2051 h 10000"/>
                  <a:gd name="connsiteX1059" fmla="*/ 6470 w 10785"/>
                  <a:gd name="connsiteY1059" fmla="*/ 2060 h 10000"/>
                  <a:gd name="connsiteX1060" fmla="*/ 6456 w 10785"/>
                  <a:gd name="connsiteY1060" fmla="*/ 2051 h 10000"/>
                  <a:gd name="connsiteX1061" fmla="*/ 6447 w 10785"/>
                  <a:gd name="connsiteY1061" fmla="*/ 2051 h 10000"/>
                  <a:gd name="connsiteX1062" fmla="*/ 6433 w 10785"/>
                  <a:gd name="connsiteY1062" fmla="*/ 2026 h 10000"/>
                  <a:gd name="connsiteX1063" fmla="*/ 6433 w 10785"/>
                  <a:gd name="connsiteY1063" fmla="*/ 2034 h 10000"/>
                  <a:gd name="connsiteX1064" fmla="*/ 6429 w 10785"/>
                  <a:gd name="connsiteY1064" fmla="*/ 2026 h 10000"/>
                  <a:gd name="connsiteX1065" fmla="*/ 6424 w 10785"/>
                  <a:gd name="connsiteY1065" fmla="*/ 2034 h 10000"/>
                  <a:gd name="connsiteX1066" fmla="*/ 6410 w 10785"/>
                  <a:gd name="connsiteY1066" fmla="*/ 2026 h 10000"/>
                  <a:gd name="connsiteX1067" fmla="*/ 6410 w 10785"/>
                  <a:gd name="connsiteY1067" fmla="*/ 1991 h 10000"/>
                  <a:gd name="connsiteX1068" fmla="*/ 6401 w 10785"/>
                  <a:gd name="connsiteY1068" fmla="*/ 1991 h 10000"/>
                  <a:gd name="connsiteX1069" fmla="*/ 6396 w 10785"/>
                  <a:gd name="connsiteY1069" fmla="*/ 2000 h 10000"/>
                  <a:gd name="connsiteX1070" fmla="*/ 6382 w 10785"/>
                  <a:gd name="connsiteY1070" fmla="*/ 1966 h 10000"/>
                  <a:gd name="connsiteX1071" fmla="*/ 6373 w 10785"/>
                  <a:gd name="connsiteY1071" fmla="*/ 1974 h 10000"/>
                  <a:gd name="connsiteX1072" fmla="*/ 6369 w 10785"/>
                  <a:gd name="connsiteY1072" fmla="*/ 1966 h 10000"/>
                  <a:gd name="connsiteX1073" fmla="*/ 6341 w 10785"/>
                  <a:gd name="connsiteY1073" fmla="*/ 1949 h 10000"/>
                  <a:gd name="connsiteX1074" fmla="*/ 6327 w 10785"/>
                  <a:gd name="connsiteY1074" fmla="*/ 1923 h 10000"/>
                  <a:gd name="connsiteX1075" fmla="*/ 6323 w 10785"/>
                  <a:gd name="connsiteY1075" fmla="*/ 1923 h 10000"/>
                  <a:gd name="connsiteX1076" fmla="*/ 6323 w 10785"/>
                  <a:gd name="connsiteY1076" fmla="*/ 1966 h 10000"/>
                  <a:gd name="connsiteX1077" fmla="*/ 6323 w 10785"/>
                  <a:gd name="connsiteY1077" fmla="*/ 1991 h 10000"/>
                  <a:gd name="connsiteX1078" fmla="*/ 6313 w 10785"/>
                  <a:gd name="connsiteY1078" fmla="*/ 1991 h 10000"/>
                  <a:gd name="connsiteX1079" fmla="*/ 6300 w 10785"/>
                  <a:gd name="connsiteY1079" fmla="*/ 1991 h 10000"/>
                  <a:gd name="connsiteX1080" fmla="*/ 6290 w 10785"/>
                  <a:gd name="connsiteY1080" fmla="*/ 1949 h 10000"/>
                  <a:gd name="connsiteX1081" fmla="*/ 6276 w 10785"/>
                  <a:gd name="connsiteY1081" fmla="*/ 2103 h 10000"/>
                  <a:gd name="connsiteX1082" fmla="*/ 6281 w 10785"/>
                  <a:gd name="connsiteY1082" fmla="*/ 2103 h 10000"/>
                  <a:gd name="connsiteX1083" fmla="*/ 6276 w 10785"/>
                  <a:gd name="connsiteY1083" fmla="*/ 2111 h 10000"/>
                  <a:gd name="connsiteX1084" fmla="*/ 6276 w 10785"/>
                  <a:gd name="connsiteY1084" fmla="*/ 2120 h 10000"/>
                  <a:gd name="connsiteX1085" fmla="*/ 6295 w 10785"/>
                  <a:gd name="connsiteY1085" fmla="*/ 2239 h 10000"/>
                  <a:gd name="connsiteX1086" fmla="*/ 6290 w 10785"/>
                  <a:gd name="connsiteY1086" fmla="*/ 2248 h 10000"/>
                  <a:gd name="connsiteX1087" fmla="*/ 6281 w 10785"/>
                  <a:gd name="connsiteY1087" fmla="*/ 2274 h 10000"/>
                  <a:gd name="connsiteX1088" fmla="*/ 6249 w 10785"/>
                  <a:gd name="connsiteY1088" fmla="*/ 2274 h 10000"/>
                  <a:gd name="connsiteX1089" fmla="*/ 6226 w 10785"/>
                  <a:gd name="connsiteY1089" fmla="*/ 2308 h 10000"/>
                  <a:gd name="connsiteX1090" fmla="*/ 6221 w 10785"/>
                  <a:gd name="connsiteY1090" fmla="*/ 2299 h 10000"/>
                  <a:gd name="connsiteX1091" fmla="*/ 6221 w 10785"/>
                  <a:gd name="connsiteY1091" fmla="*/ 2308 h 10000"/>
                  <a:gd name="connsiteX1092" fmla="*/ 6217 w 10785"/>
                  <a:gd name="connsiteY1092" fmla="*/ 2299 h 10000"/>
                  <a:gd name="connsiteX1093" fmla="*/ 6194 w 10785"/>
                  <a:gd name="connsiteY1093" fmla="*/ 2308 h 10000"/>
                  <a:gd name="connsiteX1094" fmla="*/ 6180 w 10785"/>
                  <a:gd name="connsiteY1094" fmla="*/ 2299 h 10000"/>
                  <a:gd name="connsiteX1095" fmla="*/ 6143 w 10785"/>
                  <a:gd name="connsiteY1095" fmla="*/ 2308 h 10000"/>
                  <a:gd name="connsiteX1096" fmla="*/ 6134 w 10785"/>
                  <a:gd name="connsiteY1096" fmla="*/ 2325 h 10000"/>
                  <a:gd name="connsiteX1097" fmla="*/ 6115 w 10785"/>
                  <a:gd name="connsiteY1097" fmla="*/ 2282 h 10000"/>
                  <a:gd name="connsiteX1098" fmla="*/ 6069 w 10785"/>
                  <a:gd name="connsiteY1098" fmla="*/ 2274 h 10000"/>
                  <a:gd name="connsiteX1099" fmla="*/ 6069 w 10785"/>
                  <a:gd name="connsiteY1099" fmla="*/ 2282 h 10000"/>
                  <a:gd name="connsiteX1100" fmla="*/ 6060 w 10785"/>
                  <a:gd name="connsiteY1100" fmla="*/ 2299 h 10000"/>
                  <a:gd name="connsiteX1101" fmla="*/ 5972 w 10785"/>
                  <a:gd name="connsiteY1101" fmla="*/ 2214 h 10000"/>
                  <a:gd name="connsiteX1102" fmla="*/ 5968 w 10785"/>
                  <a:gd name="connsiteY1102" fmla="*/ 2197 h 10000"/>
                  <a:gd name="connsiteX1103" fmla="*/ 5968 w 10785"/>
                  <a:gd name="connsiteY1103" fmla="*/ 2171 h 10000"/>
                  <a:gd name="connsiteX1104" fmla="*/ 5968 w 10785"/>
                  <a:gd name="connsiteY1104" fmla="*/ 2162 h 10000"/>
                  <a:gd name="connsiteX1105" fmla="*/ 5968 w 10785"/>
                  <a:gd name="connsiteY1105" fmla="*/ 2120 h 10000"/>
                  <a:gd name="connsiteX1106" fmla="*/ 5968 w 10785"/>
                  <a:gd name="connsiteY1106" fmla="*/ 2111 h 10000"/>
                  <a:gd name="connsiteX1107" fmla="*/ 5972 w 10785"/>
                  <a:gd name="connsiteY1107" fmla="*/ 2103 h 10000"/>
                  <a:gd name="connsiteX1108" fmla="*/ 5986 w 10785"/>
                  <a:gd name="connsiteY1108" fmla="*/ 2103 h 10000"/>
                  <a:gd name="connsiteX1109" fmla="*/ 5986 w 10785"/>
                  <a:gd name="connsiteY1109" fmla="*/ 2085 h 10000"/>
                  <a:gd name="connsiteX1110" fmla="*/ 5995 w 10785"/>
                  <a:gd name="connsiteY1110" fmla="*/ 2085 h 10000"/>
                  <a:gd name="connsiteX1111" fmla="*/ 5995 w 10785"/>
                  <a:gd name="connsiteY1111" fmla="*/ 2077 h 10000"/>
                  <a:gd name="connsiteX1112" fmla="*/ 5986 w 10785"/>
                  <a:gd name="connsiteY1112" fmla="*/ 2060 h 10000"/>
                  <a:gd name="connsiteX1113" fmla="*/ 5954 w 10785"/>
                  <a:gd name="connsiteY1113" fmla="*/ 2060 h 10000"/>
                  <a:gd name="connsiteX1114" fmla="*/ 5940 w 10785"/>
                  <a:gd name="connsiteY1114" fmla="*/ 2051 h 10000"/>
                  <a:gd name="connsiteX1115" fmla="*/ 5922 w 10785"/>
                  <a:gd name="connsiteY1115" fmla="*/ 2060 h 10000"/>
                  <a:gd name="connsiteX1116" fmla="*/ 5885 w 10785"/>
                  <a:gd name="connsiteY1116" fmla="*/ 2051 h 10000"/>
                  <a:gd name="connsiteX1117" fmla="*/ 5876 w 10785"/>
                  <a:gd name="connsiteY1117" fmla="*/ 2026 h 10000"/>
                  <a:gd name="connsiteX1118" fmla="*/ 5862 w 10785"/>
                  <a:gd name="connsiteY1118" fmla="*/ 2026 h 10000"/>
                  <a:gd name="connsiteX1119" fmla="*/ 5848 w 10785"/>
                  <a:gd name="connsiteY1119" fmla="*/ 2026 h 10000"/>
                  <a:gd name="connsiteX1120" fmla="*/ 5825 w 10785"/>
                  <a:gd name="connsiteY1120" fmla="*/ 2026 h 10000"/>
                  <a:gd name="connsiteX1121" fmla="*/ 5788 w 10785"/>
                  <a:gd name="connsiteY1121" fmla="*/ 1991 h 10000"/>
                  <a:gd name="connsiteX1122" fmla="*/ 5760 w 10785"/>
                  <a:gd name="connsiteY1122" fmla="*/ 2000 h 10000"/>
                  <a:gd name="connsiteX1123" fmla="*/ 5760 w 10785"/>
                  <a:gd name="connsiteY1123" fmla="*/ 2026 h 10000"/>
                  <a:gd name="connsiteX1124" fmla="*/ 5714 w 10785"/>
                  <a:gd name="connsiteY1124" fmla="*/ 2051 h 10000"/>
                  <a:gd name="connsiteX1125" fmla="*/ 5687 w 10785"/>
                  <a:gd name="connsiteY1125" fmla="*/ 2034 h 10000"/>
                  <a:gd name="connsiteX1126" fmla="*/ 5645 w 10785"/>
                  <a:gd name="connsiteY1126" fmla="*/ 2077 h 10000"/>
                  <a:gd name="connsiteX1127" fmla="*/ 5664 w 10785"/>
                  <a:gd name="connsiteY1127" fmla="*/ 2120 h 10000"/>
                  <a:gd name="connsiteX1128" fmla="*/ 5664 w 10785"/>
                  <a:gd name="connsiteY1128" fmla="*/ 2162 h 10000"/>
                  <a:gd name="connsiteX1129" fmla="*/ 5631 w 10785"/>
                  <a:gd name="connsiteY1129" fmla="*/ 2197 h 10000"/>
                  <a:gd name="connsiteX1130" fmla="*/ 5618 w 10785"/>
                  <a:gd name="connsiteY1130" fmla="*/ 2188 h 10000"/>
                  <a:gd name="connsiteX1131" fmla="*/ 5618 w 10785"/>
                  <a:gd name="connsiteY1131" fmla="*/ 2171 h 10000"/>
                  <a:gd name="connsiteX1132" fmla="*/ 5641 w 10785"/>
                  <a:gd name="connsiteY1132" fmla="*/ 2171 h 10000"/>
                  <a:gd name="connsiteX1133" fmla="*/ 5641 w 10785"/>
                  <a:gd name="connsiteY1133" fmla="*/ 2162 h 10000"/>
                  <a:gd name="connsiteX1134" fmla="*/ 5627 w 10785"/>
                  <a:gd name="connsiteY1134" fmla="*/ 2145 h 10000"/>
                  <a:gd name="connsiteX1135" fmla="*/ 5627 w 10785"/>
                  <a:gd name="connsiteY1135" fmla="*/ 2120 h 10000"/>
                  <a:gd name="connsiteX1136" fmla="*/ 5618 w 10785"/>
                  <a:gd name="connsiteY1136" fmla="*/ 2111 h 10000"/>
                  <a:gd name="connsiteX1137" fmla="*/ 5631 w 10785"/>
                  <a:gd name="connsiteY1137" fmla="*/ 2051 h 10000"/>
                  <a:gd name="connsiteX1138" fmla="*/ 5631 w 10785"/>
                  <a:gd name="connsiteY1138" fmla="*/ 2026 h 10000"/>
                  <a:gd name="connsiteX1139" fmla="*/ 5627 w 10785"/>
                  <a:gd name="connsiteY1139" fmla="*/ 1991 h 10000"/>
                  <a:gd name="connsiteX1140" fmla="*/ 5618 w 10785"/>
                  <a:gd name="connsiteY1140" fmla="*/ 1974 h 10000"/>
                  <a:gd name="connsiteX1141" fmla="*/ 5618 w 10785"/>
                  <a:gd name="connsiteY1141" fmla="*/ 1940 h 10000"/>
                  <a:gd name="connsiteX1142" fmla="*/ 5594 w 10785"/>
                  <a:gd name="connsiteY1142" fmla="*/ 1855 h 10000"/>
                  <a:gd name="connsiteX1143" fmla="*/ 5599 w 10785"/>
                  <a:gd name="connsiteY1143" fmla="*/ 1915 h 10000"/>
                  <a:gd name="connsiteX1144" fmla="*/ 5599 w 10785"/>
                  <a:gd name="connsiteY1144" fmla="*/ 1949 h 10000"/>
                  <a:gd name="connsiteX1145" fmla="*/ 5594 w 10785"/>
                  <a:gd name="connsiteY1145" fmla="*/ 1991 h 10000"/>
                  <a:gd name="connsiteX1146" fmla="*/ 5571 w 10785"/>
                  <a:gd name="connsiteY1146" fmla="*/ 2000 h 10000"/>
                  <a:gd name="connsiteX1147" fmla="*/ 5530 w 10785"/>
                  <a:gd name="connsiteY1147" fmla="*/ 1991 h 10000"/>
                  <a:gd name="connsiteX1148" fmla="*/ 5525 w 10785"/>
                  <a:gd name="connsiteY1148" fmla="*/ 2000 h 10000"/>
                  <a:gd name="connsiteX1149" fmla="*/ 5521 w 10785"/>
                  <a:gd name="connsiteY1149" fmla="*/ 1991 h 10000"/>
                  <a:gd name="connsiteX1150" fmla="*/ 5498 w 10785"/>
                  <a:gd name="connsiteY1150" fmla="*/ 1949 h 10000"/>
                  <a:gd name="connsiteX1151" fmla="*/ 5493 w 10785"/>
                  <a:gd name="connsiteY1151" fmla="*/ 1889 h 10000"/>
                  <a:gd name="connsiteX1152" fmla="*/ 5493 w 10785"/>
                  <a:gd name="connsiteY1152" fmla="*/ 1863 h 10000"/>
                  <a:gd name="connsiteX1153" fmla="*/ 5498 w 10785"/>
                  <a:gd name="connsiteY1153" fmla="*/ 1889 h 10000"/>
                  <a:gd name="connsiteX1154" fmla="*/ 5512 w 10785"/>
                  <a:gd name="connsiteY1154" fmla="*/ 1855 h 10000"/>
                  <a:gd name="connsiteX1155" fmla="*/ 5512 w 10785"/>
                  <a:gd name="connsiteY1155" fmla="*/ 1838 h 10000"/>
                  <a:gd name="connsiteX1156" fmla="*/ 5479 w 10785"/>
                  <a:gd name="connsiteY1156" fmla="*/ 1855 h 10000"/>
                  <a:gd name="connsiteX1157" fmla="*/ 5470 w 10785"/>
                  <a:gd name="connsiteY1157" fmla="*/ 1872 h 10000"/>
                  <a:gd name="connsiteX1158" fmla="*/ 5470 w 10785"/>
                  <a:gd name="connsiteY1158" fmla="*/ 1889 h 10000"/>
                  <a:gd name="connsiteX1159" fmla="*/ 5465 w 10785"/>
                  <a:gd name="connsiteY1159" fmla="*/ 1897 h 10000"/>
                  <a:gd name="connsiteX1160" fmla="*/ 5456 w 10785"/>
                  <a:gd name="connsiteY1160" fmla="*/ 1872 h 10000"/>
                  <a:gd name="connsiteX1161" fmla="*/ 5447 w 10785"/>
                  <a:gd name="connsiteY1161" fmla="*/ 1872 h 10000"/>
                  <a:gd name="connsiteX1162" fmla="*/ 5433 w 10785"/>
                  <a:gd name="connsiteY1162" fmla="*/ 1855 h 10000"/>
                  <a:gd name="connsiteX1163" fmla="*/ 5396 w 10785"/>
                  <a:gd name="connsiteY1163" fmla="*/ 1863 h 10000"/>
                  <a:gd name="connsiteX1164" fmla="*/ 5396 w 10785"/>
                  <a:gd name="connsiteY1164" fmla="*/ 1897 h 10000"/>
                  <a:gd name="connsiteX1165" fmla="*/ 5378 w 10785"/>
                  <a:gd name="connsiteY1165" fmla="*/ 1949 h 10000"/>
                  <a:gd name="connsiteX1166" fmla="*/ 5378 w 10785"/>
                  <a:gd name="connsiteY1166" fmla="*/ 1966 h 10000"/>
                  <a:gd name="connsiteX1167" fmla="*/ 5392 w 10785"/>
                  <a:gd name="connsiteY1167" fmla="*/ 2026 h 10000"/>
                  <a:gd name="connsiteX1168" fmla="*/ 5396 w 10785"/>
                  <a:gd name="connsiteY1168" fmla="*/ 2026 h 10000"/>
                  <a:gd name="connsiteX1169" fmla="*/ 5392 w 10785"/>
                  <a:gd name="connsiteY1169" fmla="*/ 2009 h 10000"/>
                  <a:gd name="connsiteX1170" fmla="*/ 5392 w 10785"/>
                  <a:gd name="connsiteY1170" fmla="*/ 2000 h 10000"/>
                  <a:gd name="connsiteX1171" fmla="*/ 5396 w 10785"/>
                  <a:gd name="connsiteY1171" fmla="*/ 2009 h 10000"/>
                  <a:gd name="connsiteX1172" fmla="*/ 5424 w 10785"/>
                  <a:gd name="connsiteY1172" fmla="*/ 2009 h 10000"/>
                  <a:gd name="connsiteX1173" fmla="*/ 5433 w 10785"/>
                  <a:gd name="connsiteY1173" fmla="*/ 1991 h 10000"/>
                  <a:gd name="connsiteX1174" fmla="*/ 5447 w 10785"/>
                  <a:gd name="connsiteY1174" fmla="*/ 1974 h 10000"/>
                  <a:gd name="connsiteX1175" fmla="*/ 5452 w 10785"/>
                  <a:gd name="connsiteY1175" fmla="*/ 1966 h 10000"/>
                  <a:gd name="connsiteX1176" fmla="*/ 5456 w 10785"/>
                  <a:gd name="connsiteY1176" fmla="*/ 1966 h 10000"/>
                  <a:gd name="connsiteX1177" fmla="*/ 5465 w 10785"/>
                  <a:gd name="connsiteY1177" fmla="*/ 2009 h 10000"/>
                  <a:gd name="connsiteX1178" fmla="*/ 5433 w 10785"/>
                  <a:gd name="connsiteY1178" fmla="*/ 2034 h 10000"/>
                  <a:gd name="connsiteX1179" fmla="*/ 5424 w 10785"/>
                  <a:gd name="connsiteY1179" fmla="*/ 2060 h 10000"/>
                  <a:gd name="connsiteX1180" fmla="*/ 5419 w 10785"/>
                  <a:gd name="connsiteY1180" fmla="*/ 2060 h 10000"/>
                  <a:gd name="connsiteX1181" fmla="*/ 5392 w 10785"/>
                  <a:gd name="connsiteY1181" fmla="*/ 2111 h 10000"/>
                  <a:gd name="connsiteX1182" fmla="*/ 5378 w 10785"/>
                  <a:gd name="connsiteY1182" fmla="*/ 2111 h 10000"/>
                  <a:gd name="connsiteX1183" fmla="*/ 5350 w 10785"/>
                  <a:gd name="connsiteY1183" fmla="*/ 2060 h 10000"/>
                  <a:gd name="connsiteX1184" fmla="*/ 5373 w 10785"/>
                  <a:gd name="connsiteY1184" fmla="*/ 2111 h 10000"/>
                  <a:gd name="connsiteX1185" fmla="*/ 5364 w 10785"/>
                  <a:gd name="connsiteY1185" fmla="*/ 2111 h 10000"/>
                  <a:gd name="connsiteX1186" fmla="*/ 5359 w 10785"/>
                  <a:gd name="connsiteY1186" fmla="*/ 2103 h 10000"/>
                  <a:gd name="connsiteX1187" fmla="*/ 5359 w 10785"/>
                  <a:gd name="connsiteY1187" fmla="*/ 2120 h 10000"/>
                  <a:gd name="connsiteX1188" fmla="*/ 5359 w 10785"/>
                  <a:gd name="connsiteY1188" fmla="*/ 2137 h 10000"/>
                  <a:gd name="connsiteX1189" fmla="*/ 5313 w 10785"/>
                  <a:gd name="connsiteY1189" fmla="*/ 2162 h 10000"/>
                  <a:gd name="connsiteX1190" fmla="*/ 5300 w 10785"/>
                  <a:gd name="connsiteY1190" fmla="*/ 2162 h 10000"/>
                  <a:gd name="connsiteX1191" fmla="*/ 5300 w 10785"/>
                  <a:gd name="connsiteY1191" fmla="*/ 2171 h 10000"/>
                  <a:gd name="connsiteX1192" fmla="*/ 5300 w 10785"/>
                  <a:gd name="connsiteY1192" fmla="*/ 2197 h 10000"/>
                  <a:gd name="connsiteX1193" fmla="*/ 5276 w 10785"/>
                  <a:gd name="connsiteY1193" fmla="*/ 2188 h 10000"/>
                  <a:gd name="connsiteX1194" fmla="*/ 5249 w 10785"/>
                  <a:gd name="connsiteY1194" fmla="*/ 2222 h 10000"/>
                  <a:gd name="connsiteX1195" fmla="*/ 5249 w 10785"/>
                  <a:gd name="connsiteY1195" fmla="*/ 2222 h 10000"/>
                  <a:gd name="connsiteX1196" fmla="*/ 5217 w 10785"/>
                  <a:gd name="connsiteY1196" fmla="*/ 2214 h 10000"/>
                  <a:gd name="connsiteX1197" fmla="*/ 5203 w 10785"/>
                  <a:gd name="connsiteY1197" fmla="*/ 2239 h 10000"/>
                  <a:gd name="connsiteX1198" fmla="*/ 5171 w 10785"/>
                  <a:gd name="connsiteY1198" fmla="*/ 2214 h 10000"/>
                  <a:gd name="connsiteX1199" fmla="*/ 5157 w 10785"/>
                  <a:gd name="connsiteY1199" fmla="*/ 2239 h 10000"/>
                  <a:gd name="connsiteX1200" fmla="*/ 5166 w 10785"/>
                  <a:gd name="connsiteY1200" fmla="*/ 2256 h 10000"/>
                  <a:gd name="connsiteX1201" fmla="*/ 5171 w 10785"/>
                  <a:gd name="connsiteY1201" fmla="*/ 2308 h 10000"/>
                  <a:gd name="connsiteX1202" fmla="*/ 5212 w 10785"/>
                  <a:gd name="connsiteY1202" fmla="*/ 2350 h 10000"/>
                  <a:gd name="connsiteX1203" fmla="*/ 5203 w 10785"/>
                  <a:gd name="connsiteY1203" fmla="*/ 2350 h 10000"/>
                  <a:gd name="connsiteX1204" fmla="*/ 5166 w 10785"/>
                  <a:gd name="connsiteY1204" fmla="*/ 2325 h 10000"/>
                  <a:gd name="connsiteX1205" fmla="*/ 5152 w 10785"/>
                  <a:gd name="connsiteY1205" fmla="*/ 2308 h 10000"/>
                  <a:gd name="connsiteX1206" fmla="*/ 5143 w 10785"/>
                  <a:gd name="connsiteY1206" fmla="*/ 2333 h 10000"/>
                  <a:gd name="connsiteX1207" fmla="*/ 5138 w 10785"/>
                  <a:gd name="connsiteY1207" fmla="*/ 2333 h 10000"/>
                  <a:gd name="connsiteX1208" fmla="*/ 5124 w 10785"/>
                  <a:gd name="connsiteY1208" fmla="*/ 2376 h 10000"/>
                  <a:gd name="connsiteX1209" fmla="*/ 5115 w 10785"/>
                  <a:gd name="connsiteY1209" fmla="*/ 2385 h 10000"/>
                  <a:gd name="connsiteX1210" fmla="*/ 5106 w 10785"/>
                  <a:gd name="connsiteY1210" fmla="*/ 2385 h 10000"/>
                  <a:gd name="connsiteX1211" fmla="*/ 5055 w 10785"/>
                  <a:gd name="connsiteY1211" fmla="*/ 2470 h 10000"/>
                  <a:gd name="connsiteX1212" fmla="*/ 5065 w 10785"/>
                  <a:gd name="connsiteY1212" fmla="*/ 2462 h 10000"/>
                  <a:gd name="connsiteX1213" fmla="*/ 5055 w 10785"/>
                  <a:gd name="connsiteY1213" fmla="*/ 2444 h 10000"/>
                  <a:gd name="connsiteX1214" fmla="*/ 5041 w 10785"/>
                  <a:gd name="connsiteY1214" fmla="*/ 2462 h 10000"/>
                  <a:gd name="connsiteX1215" fmla="*/ 5037 w 10785"/>
                  <a:gd name="connsiteY1215" fmla="*/ 2470 h 10000"/>
                  <a:gd name="connsiteX1216" fmla="*/ 5032 w 10785"/>
                  <a:gd name="connsiteY1216" fmla="*/ 2470 h 10000"/>
                  <a:gd name="connsiteX1217" fmla="*/ 5032 w 10785"/>
                  <a:gd name="connsiteY1217" fmla="*/ 2444 h 10000"/>
                  <a:gd name="connsiteX1218" fmla="*/ 5055 w 10785"/>
                  <a:gd name="connsiteY1218" fmla="*/ 2410 h 10000"/>
                  <a:gd name="connsiteX1219" fmla="*/ 5065 w 10785"/>
                  <a:gd name="connsiteY1219" fmla="*/ 2393 h 10000"/>
                  <a:gd name="connsiteX1220" fmla="*/ 5069 w 10785"/>
                  <a:gd name="connsiteY1220" fmla="*/ 2385 h 10000"/>
                  <a:gd name="connsiteX1221" fmla="*/ 5083 w 10785"/>
                  <a:gd name="connsiteY1221" fmla="*/ 2376 h 10000"/>
                  <a:gd name="connsiteX1222" fmla="*/ 5097 w 10785"/>
                  <a:gd name="connsiteY1222" fmla="*/ 2376 h 10000"/>
                  <a:gd name="connsiteX1223" fmla="*/ 5124 w 10785"/>
                  <a:gd name="connsiteY1223" fmla="*/ 2325 h 10000"/>
                  <a:gd name="connsiteX1224" fmla="*/ 5143 w 10785"/>
                  <a:gd name="connsiteY1224" fmla="*/ 2248 h 10000"/>
                  <a:gd name="connsiteX1225" fmla="*/ 5152 w 10785"/>
                  <a:gd name="connsiteY1225" fmla="*/ 2239 h 10000"/>
                  <a:gd name="connsiteX1226" fmla="*/ 5166 w 10785"/>
                  <a:gd name="connsiteY1226" fmla="*/ 2162 h 10000"/>
                  <a:gd name="connsiteX1227" fmla="*/ 5171 w 10785"/>
                  <a:gd name="connsiteY1227" fmla="*/ 2171 h 10000"/>
                  <a:gd name="connsiteX1228" fmla="*/ 5198 w 10785"/>
                  <a:gd name="connsiteY1228" fmla="*/ 2145 h 10000"/>
                  <a:gd name="connsiteX1229" fmla="*/ 5203 w 10785"/>
                  <a:gd name="connsiteY1229" fmla="*/ 2111 h 10000"/>
                  <a:gd name="connsiteX1230" fmla="*/ 5217 w 10785"/>
                  <a:gd name="connsiteY1230" fmla="*/ 2060 h 10000"/>
                  <a:gd name="connsiteX1231" fmla="*/ 5226 w 10785"/>
                  <a:gd name="connsiteY1231" fmla="*/ 2026 h 10000"/>
                  <a:gd name="connsiteX1232" fmla="*/ 5286 w 10785"/>
                  <a:gd name="connsiteY1232" fmla="*/ 2026 h 10000"/>
                  <a:gd name="connsiteX1233" fmla="*/ 5290 w 10785"/>
                  <a:gd name="connsiteY1233" fmla="*/ 2034 h 10000"/>
                  <a:gd name="connsiteX1234" fmla="*/ 5323 w 10785"/>
                  <a:gd name="connsiteY1234" fmla="*/ 1923 h 10000"/>
                  <a:gd name="connsiteX1235" fmla="*/ 5323 w 10785"/>
                  <a:gd name="connsiteY1235" fmla="*/ 1889 h 10000"/>
                  <a:gd name="connsiteX1236" fmla="*/ 5359 w 10785"/>
                  <a:gd name="connsiteY1236" fmla="*/ 1829 h 10000"/>
                  <a:gd name="connsiteX1237" fmla="*/ 5378 w 10785"/>
                  <a:gd name="connsiteY1237" fmla="*/ 1812 h 10000"/>
                  <a:gd name="connsiteX1238" fmla="*/ 5406 w 10785"/>
                  <a:gd name="connsiteY1238" fmla="*/ 1752 h 10000"/>
                  <a:gd name="connsiteX1239" fmla="*/ 5410 w 10785"/>
                  <a:gd name="connsiteY1239" fmla="*/ 1718 h 10000"/>
                  <a:gd name="connsiteX1240" fmla="*/ 5438 w 10785"/>
                  <a:gd name="connsiteY1240" fmla="*/ 1667 h 10000"/>
                  <a:gd name="connsiteX1241" fmla="*/ 5438 w 10785"/>
                  <a:gd name="connsiteY1241" fmla="*/ 1650 h 10000"/>
                  <a:gd name="connsiteX1242" fmla="*/ 5438 w 10785"/>
                  <a:gd name="connsiteY1242" fmla="*/ 1641 h 10000"/>
                  <a:gd name="connsiteX1243" fmla="*/ 5452 w 10785"/>
                  <a:gd name="connsiteY1243" fmla="*/ 1641 h 10000"/>
                  <a:gd name="connsiteX1244" fmla="*/ 5456 w 10785"/>
                  <a:gd name="connsiteY1244" fmla="*/ 1615 h 10000"/>
                  <a:gd name="connsiteX1245" fmla="*/ 5456 w 10785"/>
                  <a:gd name="connsiteY1245" fmla="*/ 1615 h 10000"/>
                  <a:gd name="connsiteX1246" fmla="*/ 5465 w 10785"/>
                  <a:gd name="connsiteY1246" fmla="*/ 1598 h 10000"/>
                  <a:gd name="connsiteX1247" fmla="*/ 5465 w 10785"/>
                  <a:gd name="connsiteY1247" fmla="*/ 1615 h 10000"/>
                  <a:gd name="connsiteX1248" fmla="*/ 5479 w 10785"/>
                  <a:gd name="connsiteY1248" fmla="*/ 1598 h 10000"/>
                  <a:gd name="connsiteX1249" fmla="*/ 5484 w 10785"/>
                  <a:gd name="connsiteY1249" fmla="*/ 1581 h 10000"/>
                  <a:gd name="connsiteX1250" fmla="*/ 5493 w 10785"/>
                  <a:gd name="connsiteY1250" fmla="*/ 1581 h 10000"/>
                  <a:gd name="connsiteX1251" fmla="*/ 5512 w 10785"/>
                  <a:gd name="connsiteY1251" fmla="*/ 1538 h 10000"/>
                  <a:gd name="connsiteX1252" fmla="*/ 5530 w 10785"/>
                  <a:gd name="connsiteY1252" fmla="*/ 1564 h 10000"/>
                  <a:gd name="connsiteX1253" fmla="*/ 5530 w 10785"/>
                  <a:gd name="connsiteY1253" fmla="*/ 1538 h 10000"/>
                  <a:gd name="connsiteX1254" fmla="*/ 5539 w 10785"/>
                  <a:gd name="connsiteY1254" fmla="*/ 1530 h 10000"/>
                  <a:gd name="connsiteX1255" fmla="*/ 5530 w 10785"/>
                  <a:gd name="connsiteY1255" fmla="*/ 1504 h 10000"/>
                  <a:gd name="connsiteX1256" fmla="*/ 5567 w 10785"/>
                  <a:gd name="connsiteY1256" fmla="*/ 1479 h 10000"/>
                  <a:gd name="connsiteX1257" fmla="*/ 5553 w 10785"/>
                  <a:gd name="connsiteY1257" fmla="*/ 1479 h 10000"/>
                  <a:gd name="connsiteX1258" fmla="*/ 5553 w 10785"/>
                  <a:gd name="connsiteY1258" fmla="*/ 1453 h 10000"/>
                  <a:gd name="connsiteX1259" fmla="*/ 5581 w 10785"/>
                  <a:gd name="connsiteY1259" fmla="*/ 1444 h 10000"/>
                  <a:gd name="connsiteX1260" fmla="*/ 5581 w 10785"/>
                  <a:gd name="connsiteY1260" fmla="*/ 1453 h 10000"/>
                  <a:gd name="connsiteX1261" fmla="*/ 5585 w 10785"/>
                  <a:gd name="connsiteY1261" fmla="*/ 1444 h 10000"/>
                  <a:gd name="connsiteX1262" fmla="*/ 5594 w 10785"/>
                  <a:gd name="connsiteY1262" fmla="*/ 1427 h 10000"/>
                  <a:gd name="connsiteX1263" fmla="*/ 5599 w 10785"/>
                  <a:gd name="connsiteY1263" fmla="*/ 1419 h 10000"/>
                  <a:gd name="connsiteX1264" fmla="*/ 5594 w 10785"/>
                  <a:gd name="connsiteY1264" fmla="*/ 1402 h 10000"/>
                  <a:gd name="connsiteX1265" fmla="*/ 5604 w 10785"/>
                  <a:gd name="connsiteY1265" fmla="*/ 1393 h 10000"/>
                  <a:gd name="connsiteX1266" fmla="*/ 5618 w 10785"/>
                  <a:gd name="connsiteY1266" fmla="*/ 1393 h 10000"/>
                  <a:gd name="connsiteX1267" fmla="*/ 5627 w 10785"/>
                  <a:gd name="connsiteY1267" fmla="*/ 1368 h 10000"/>
                  <a:gd name="connsiteX1268" fmla="*/ 5627 w 10785"/>
                  <a:gd name="connsiteY1268" fmla="*/ 1325 h 10000"/>
                  <a:gd name="connsiteX1269" fmla="*/ 5645 w 10785"/>
                  <a:gd name="connsiteY1269" fmla="*/ 1291 h 10000"/>
                  <a:gd name="connsiteX1270" fmla="*/ 5645 w 10785"/>
                  <a:gd name="connsiteY1270" fmla="*/ 1282 h 10000"/>
                  <a:gd name="connsiteX1271" fmla="*/ 5654 w 10785"/>
                  <a:gd name="connsiteY1271" fmla="*/ 1265 h 10000"/>
                  <a:gd name="connsiteX1272" fmla="*/ 5654 w 10785"/>
                  <a:gd name="connsiteY1272" fmla="*/ 1214 h 10000"/>
                  <a:gd name="connsiteX1273" fmla="*/ 5654 w 10785"/>
                  <a:gd name="connsiteY1273" fmla="*/ 1214 h 10000"/>
                  <a:gd name="connsiteX1274" fmla="*/ 5645 w 10785"/>
                  <a:gd name="connsiteY1274" fmla="*/ 1197 h 10000"/>
                  <a:gd name="connsiteX1275" fmla="*/ 5659 w 10785"/>
                  <a:gd name="connsiteY1275" fmla="*/ 1197 h 10000"/>
                  <a:gd name="connsiteX1276" fmla="*/ 5654 w 10785"/>
                  <a:gd name="connsiteY1276" fmla="*/ 1154 h 10000"/>
                  <a:gd name="connsiteX1277" fmla="*/ 5641 w 10785"/>
                  <a:gd name="connsiteY1277" fmla="*/ 1154 h 10000"/>
                  <a:gd name="connsiteX1278" fmla="*/ 5627 w 10785"/>
                  <a:gd name="connsiteY1278" fmla="*/ 1128 h 10000"/>
                  <a:gd name="connsiteX1279" fmla="*/ 5618 w 10785"/>
                  <a:gd name="connsiteY1279" fmla="*/ 1094 h 10000"/>
                  <a:gd name="connsiteX1280" fmla="*/ 5613 w 10785"/>
                  <a:gd name="connsiteY1280" fmla="*/ 1094 h 10000"/>
                  <a:gd name="connsiteX1281" fmla="*/ 5604 w 10785"/>
                  <a:gd name="connsiteY1281" fmla="*/ 1120 h 10000"/>
                  <a:gd name="connsiteX1282" fmla="*/ 5604 w 10785"/>
                  <a:gd name="connsiteY1282" fmla="*/ 1128 h 10000"/>
                  <a:gd name="connsiteX1283" fmla="*/ 5599 w 10785"/>
                  <a:gd name="connsiteY1283" fmla="*/ 1103 h 10000"/>
                  <a:gd name="connsiteX1284" fmla="*/ 5599 w 10785"/>
                  <a:gd name="connsiteY1284" fmla="*/ 1103 h 10000"/>
                  <a:gd name="connsiteX1285" fmla="*/ 5594 w 10785"/>
                  <a:gd name="connsiteY1285" fmla="*/ 1068 h 10000"/>
                  <a:gd name="connsiteX1286" fmla="*/ 5594 w 10785"/>
                  <a:gd name="connsiteY1286" fmla="*/ 1060 h 10000"/>
                  <a:gd name="connsiteX1287" fmla="*/ 5581 w 10785"/>
                  <a:gd name="connsiteY1287" fmla="*/ 1034 h 10000"/>
                  <a:gd name="connsiteX1288" fmla="*/ 5571 w 10785"/>
                  <a:gd name="connsiteY1288" fmla="*/ 1009 h 10000"/>
                  <a:gd name="connsiteX1289" fmla="*/ 5571 w 10785"/>
                  <a:gd name="connsiteY1289" fmla="*/ 991 h 10000"/>
                  <a:gd name="connsiteX1290" fmla="*/ 5585 w 10785"/>
                  <a:gd name="connsiteY1290" fmla="*/ 1009 h 10000"/>
                  <a:gd name="connsiteX1291" fmla="*/ 5604 w 10785"/>
                  <a:gd name="connsiteY1291" fmla="*/ 1043 h 10000"/>
                  <a:gd name="connsiteX1292" fmla="*/ 5641 w 10785"/>
                  <a:gd name="connsiteY1292" fmla="*/ 1094 h 10000"/>
                  <a:gd name="connsiteX1293" fmla="*/ 5631 w 10785"/>
                  <a:gd name="connsiteY1293" fmla="*/ 1128 h 10000"/>
                  <a:gd name="connsiteX1294" fmla="*/ 5641 w 10785"/>
                  <a:gd name="connsiteY1294" fmla="*/ 1128 h 10000"/>
                  <a:gd name="connsiteX1295" fmla="*/ 5659 w 10785"/>
                  <a:gd name="connsiteY1295" fmla="*/ 1017 h 10000"/>
                  <a:gd name="connsiteX1296" fmla="*/ 5659 w 10785"/>
                  <a:gd name="connsiteY1296" fmla="*/ 983 h 10000"/>
                  <a:gd name="connsiteX1297" fmla="*/ 5659 w 10785"/>
                  <a:gd name="connsiteY1297" fmla="*/ 957 h 10000"/>
                  <a:gd name="connsiteX1298" fmla="*/ 5654 w 10785"/>
                  <a:gd name="connsiteY1298" fmla="*/ 966 h 10000"/>
                  <a:gd name="connsiteX1299" fmla="*/ 5641 w 10785"/>
                  <a:gd name="connsiteY1299" fmla="*/ 957 h 10000"/>
                  <a:gd name="connsiteX1300" fmla="*/ 5631 w 10785"/>
                  <a:gd name="connsiteY1300" fmla="*/ 897 h 10000"/>
                  <a:gd name="connsiteX1301" fmla="*/ 5641 w 10785"/>
                  <a:gd name="connsiteY1301" fmla="*/ 872 h 10000"/>
                  <a:gd name="connsiteX1302" fmla="*/ 5618 w 10785"/>
                  <a:gd name="connsiteY1302" fmla="*/ 803 h 10000"/>
                  <a:gd name="connsiteX1303" fmla="*/ 5604 w 10785"/>
                  <a:gd name="connsiteY1303" fmla="*/ 821 h 10000"/>
                  <a:gd name="connsiteX1304" fmla="*/ 5613 w 10785"/>
                  <a:gd name="connsiteY1304" fmla="*/ 846 h 10000"/>
                  <a:gd name="connsiteX1305" fmla="*/ 5604 w 10785"/>
                  <a:gd name="connsiteY1305" fmla="*/ 855 h 10000"/>
                  <a:gd name="connsiteX1306" fmla="*/ 5599 w 10785"/>
                  <a:gd name="connsiteY1306" fmla="*/ 880 h 10000"/>
                  <a:gd name="connsiteX1307" fmla="*/ 5594 w 10785"/>
                  <a:gd name="connsiteY1307" fmla="*/ 880 h 10000"/>
                  <a:gd name="connsiteX1308" fmla="*/ 5585 w 10785"/>
                  <a:gd name="connsiteY1308" fmla="*/ 829 h 10000"/>
                  <a:gd name="connsiteX1309" fmla="*/ 5571 w 10785"/>
                  <a:gd name="connsiteY1309" fmla="*/ 803 h 10000"/>
                  <a:gd name="connsiteX1310" fmla="*/ 5585 w 10785"/>
                  <a:gd name="connsiteY1310" fmla="*/ 795 h 10000"/>
                  <a:gd name="connsiteX1311" fmla="*/ 5585 w 10785"/>
                  <a:gd name="connsiteY1311" fmla="*/ 761 h 10000"/>
                  <a:gd name="connsiteX1312" fmla="*/ 5558 w 10785"/>
                  <a:gd name="connsiteY1312" fmla="*/ 709 h 10000"/>
                  <a:gd name="connsiteX1313" fmla="*/ 5544 w 10785"/>
                  <a:gd name="connsiteY1313" fmla="*/ 709 h 10000"/>
                  <a:gd name="connsiteX1314" fmla="*/ 5544 w 10785"/>
                  <a:gd name="connsiteY1314" fmla="*/ 684 h 10000"/>
                  <a:gd name="connsiteX1315" fmla="*/ 5525 w 10785"/>
                  <a:gd name="connsiteY1315" fmla="*/ 632 h 10000"/>
                  <a:gd name="connsiteX1316" fmla="*/ 5507 w 10785"/>
                  <a:gd name="connsiteY1316" fmla="*/ 607 h 10000"/>
                  <a:gd name="connsiteX1317" fmla="*/ 5512 w 10785"/>
                  <a:gd name="connsiteY1317" fmla="*/ 598 h 10000"/>
                  <a:gd name="connsiteX1318" fmla="*/ 5507 w 10785"/>
                  <a:gd name="connsiteY1318" fmla="*/ 581 h 10000"/>
                  <a:gd name="connsiteX1319" fmla="*/ 5493 w 10785"/>
                  <a:gd name="connsiteY1319" fmla="*/ 573 h 10000"/>
                  <a:gd name="connsiteX1320" fmla="*/ 5484 w 10785"/>
                  <a:gd name="connsiteY1320" fmla="*/ 581 h 10000"/>
                  <a:gd name="connsiteX1321" fmla="*/ 5484 w 10785"/>
                  <a:gd name="connsiteY1321" fmla="*/ 573 h 10000"/>
                  <a:gd name="connsiteX1322" fmla="*/ 5484 w 10785"/>
                  <a:gd name="connsiteY1322" fmla="*/ 547 h 10000"/>
                  <a:gd name="connsiteX1323" fmla="*/ 5465 w 10785"/>
                  <a:gd name="connsiteY1323" fmla="*/ 556 h 10000"/>
                  <a:gd name="connsiteX1324" fmla="*/ 5433 w 10785"/>
                  <a:gd name="connsiteY1324" fmla="*/ 547 h 10000"/>
                  <a:gd name="connsiteX1325" fmla="*/ 5410 w 10785"/>
                  <a:gd name="connsiteY1325" fmla="*/ 573 h 10000"/>
                  <a:gd name="connsiteX1326" fmla="*/ 5406 w 10785"/>
                  <a:gd name="connsiteY1326" fmla="*/ 573 h 10000"/>
                  <a:gd name="connsiteX1327" fmla="*/ 5392 w 10785"/>
                  <a:gd name="connsiteY1327" fmla="*/ 573 h 10000"/>
                  <a:gd name="connsiteX1328" fmla="*/ 5364 w 10785"/>
                  <a:gd name="connsiteY1328" fmla="*/ 530 h 10000"/>
                  <a:gd name="connsiteX1329" fmla="*/ 5350 w 10785"/>
                  <a:gd name="connsiteY1329" fmla="*/ 556 h 10000"/>
                  <a:gd name="connsiteX1330" fmla="*/ 5346 w 10785"/>
                  <a:gd name="connsiteY1330" fmla="*/ 556 h 10000"/>
                  <a:gd name="connsiteX1331" fmla="*/ 5313 w 10785"/>
                  <a:gd name="connsiteY1331" fmla="*/ 573 h 10000"/>
                  <a:gd name="connsiteX1332" fmla="*/ 5304 w 10785"/>
                  <a:gd name="connsiteY1332" fmla="*/ 556 h 10000"/>
                  <a:gd name="connsiteX1333" fmla="*/ 5290 w 10785"/>
                  <a:gd name="connsiteY1333" fmla="*/ 573 h 10000"/>
                  <a:gd name="connsiteX1334" fmla="*/ 5290 w 10785"/>
                  <a:gd name="connsiteY1334" fmla="*/ 556 h 10000"/>
                  <a:gd name="connsiteX1335" fmla="*/ 5300 w 10785"/>
                  <a:gd name="connsiteY1335" fmla="*/ 547 h 10000"/>
                  <a:gd name="connsiteX1336" fmla="*/ 5300 w 10785"/>
                  <a:gd name="connsiteY1336" fmla="*/ 530 h 10000"/>
                  <a:gd name="connsiteX1337" fmla="*/ 5290 w 10785"/>
                  <a:gd name="connsiteY1337" fmla="*/ 530 h 10000"/>
                  <a:gd name="connsiteX1338" fmla="*/ 5286 w 10785"/>
                  <a:gd name="connsiteY1338" fmla="*/ 547 h 10000"/>
                  <a:gd name="connsiteX1339" fmla="*/ 5272 w 10785"/>
                  <a:gd name="connsiteY1339" fmla="*/ 556 h 10000"/>
                  <a:gd name="connsiteX1340" fmla="*/ 5272 w 10785"/>
                  <a:gd name="connsiteY1340" fmla="*/ 598 h 10000"/>
                  <a:gd name="connsiteX1341" fmla="*/ 5276 w 10785"/>
                  <a:gd name="connsiteY1341" fmla="*/ 581 h 10000"/>
                  <a:gd name="connsiteX1342" fmla="*/ 5272 w 10785"/>
                  <a:gd name="connsiteY1342" fmla="*/ 607 h 10000"/>
                  <a:gd name="connsiteX1343" fmla="*/ 5263 w 10785"/>
                  <a:gd name="connsiteY1343" fmla="*/ 607 h 10000"/>
                  <a:gd name="connsiteX1344" fmla="*/ 5263 w 10785"/>
                  <a:gd name="connsiteY1344" fmla="*/ 632 h 10000"/>
                  <a:gd name="connsiteX1345" fmla="*/ 5258 w 10785"/>
                  <a:gd name="connsiteY1345" fmla="*/ 658 h 10000"/>
                  <a:gd name="connsiteX1346" fmla="*/ 5244 w 10785"/>
                  <a:gd name="connsiteY1346" fmla="*/ 667 h 10000"/>
                  <a:gd name="connsiteX1347" fmla="*/ 5240 w 10785"/>
                  <a:gd name="connsiteY1347" fmla="*/ 658 h 10000"/>
                  <a:gd name="connsiteX1348" fmla="*/ 5240 w 10785"/>
                  <a:gd name="connsiteY1348" fmla="*/ 684 h 10000"/>
                  <a:gd name="connsiteX1349" fmla="*/ 5212 w 10785"/>
                  <a:gd name="connsiteY1349" fmla="*/ 684 h 10000"/>
                  <a:gd name="connsiteX1350" fmla="*/ 5198 w 10785"/>
                  <a:gd name="connsiteY1350" fmla="*/ 692 h 10000"/>
                  <a:gd name="connsiteX1351" fmla="*/ 5184 w 10785"/>
                  <a:gd name="connsiteY1351" fmla="*/ 684 h 10000"/>
                  <a:gd name="connsiteX1352" fmla="*/ 5157 w 10785"/>
                  <a:gd name="connsiteY1352" fmla="*/ 684 h 10000"/>
                  <a:gd name="connsiteX1353" fmla="*/ 5157 w 10785"/>
                  <a:gd name="connsiteY1353" fmla="*/ 667 h 10000"/>
                  <a:gd name="connsiteX1354" fmla="*/ 5157 w 10785"/>
                  <a:gd name="connsiteY1354" fmla="*/ 667 h 10000"/>
                  <a:gd name="connsiteX1355" fmla="*/ 5180 w 10785"/>
                  <a:gd name="connsiteY1355" fmla="*/ 650 h 10000"/>
                  <a:gd name="connsiteX1356" fmla="*/ 5184 w 10785"/>
                  <a:gd name="connsiteY1356" fmla="*/ 658 h 10000"/>
                  <a:gd name="connsiteX1357" fmla="*/ 5203 w 10785"/>
                  <a:gd name="connsiteY1357" fmla="*/ 547 h 10000"/>
                  <a:gd name="connsiteX1358" fmla="*/ 5226 w 10785"/>
                  <a:gd name="connsiteY1358" fmla="*/ 530 h 10000"/>
                  <a:gd name="connsiteX1359" fmla="*/ 5230 w 10785"/>
                  <a:gd name="connsiteY1359" fmla="*/ 487 h 10000"/>
                  <a:gd name="connsiteX1360" fmla="*/ 5230 w 10785"/>
                  <a:gd name="connsiteY1360" fmla="*/ 487 h 10000"/>
                  <a:gd name="connsiteX1361" fmla="*/ 5226 w 10785"/>
                  <a:gd name="connsiteY1361" fmla="*/ 462 h 10000"/>
                  <a:gd name="connsiteX1362" fmla="*/ 5226 w 10785"/>
                  <a:gd name="connsiteY1362" fmla="*/ 462 h 10000"/>
                  <a:gd name="connsiteX1363" fmla="*/ 5240 w 10785"/>
                  <a:gd name="connsiteY1363" fmla="*/ 462 h 10000"/>
                  <a:gd name="connsiteX1364" fmla="*/ 5240 w 10785"/>
                  <a:gd name="connsiteY1364" fmla="*/ 444 h 10000"/>
                  <a:gd name="connsiteX1365" fmla="*/ 5230 w 10785"/>
                  <a:gd name="connsiteY1365" fmla="*/ 436 h 10000"/>
                  <a:gd name="connsiteX1366" fmla="*/ 5230 w 10785"/>
                  <a:gd name="connsiteY1366" fmla="*/ 419 h 10000"/>
                  <a:gd name="connsiteX1367" fmla="*/ 5230 w 10785"/>
                  <a:gd name="connsiteY1367" fmla="*/ 410 h 10000"/>
                  <a:gd name="connsiteX1368" fmla="*/ 5198 w 10785"/>
                  <a:gd name="connsiteY1368" fmla="*/ 402 h 10000"/>
                  <a:gd name="connsiteX1369" fmla="*/ 5189 w 10785"/>
                  <a:gd name="connsiteY1369" fmla="*/ 402 h 10000"/>
                  <a:gd name="connsiteX1370" fmla="*/ 5184 w 10785"/>
                  <a:gd name="connsiteY1370" fmla="*/ 376 h 10000"/>
                  <a:gd name="connsiteX1371" fmla="*/ 5180 w 10785"/>
                  <a:gd name="connsiteY1371" fmla="*/ 376 h 10000"/>
                  <a:gd name="connsiteX1372" fmla="*/ 5166 w 10785"/>
                  <a:gd name="connsiteY1372" fmla="*/ 376 h 10000"/>
                  <a:gd name="connsiteX1373" fmla="*/ 5157 w 10785"/>
                  <a:gd name="connsiteY1373" fmla="*/ 385 h 10000"/>
                  <a:gd name="connsiteX1374" fmla="*/ 5152 w 10785"/>
                  <a:gd name="connsiteY1374" fmla="*/ 376 h 10000"/>
                  <a:gd name="connsiteX1375" fmla="*/ 5129 w 10785"/>
                  <a:gd name="connsiteY1375" fmla="*/ 385 h 10000"/>
                  <a:gd name="connsiteX1376" fmla="*/ 5129 w 10785"/>
                  <a:gd name="connsiteY1376" fmla="*/ 350 h 10000"/>
                  <a:gd name="connsiteX1377" fmla="*/ 5129 w 10785"/>
                  <a:gd name="connsiteY1377" fmla="*/ 325 h 10000"/>
                  <a:gd name="connsiteX1378" fmla="*/ 5124 w 10785"/>
                  <a:gd name="connsiteY1378" fmla="*/ 359 h 10000"/>
                  <a:gd name="connsiteX1379" fmla="*/ 5106 w 10785"/>
                  <a:gd name="connsiteY1379" fmla="*/ 359 h 10000"/>
                  <a:gd name="connsiteX1380" fmla="*/ 5037 w 10785"/>
                  <a:gd name="connsiteY1380" fmla="*/ 419 h 10000"/>
                  <a:gd name="connsiteX1381" fmla="*/ 5051 w 10785"/>
                  <a:gd name="connsiteY1381" fmla="*/ 385 h 10000"/>
                  <a:gd name="connsiteX1382" fmla="*/ 5055 w 10785"/>
                  <a:gd name="connsiteY1382" fmla="*/ 376 h 10000"/>
                  <a:gd name="connsiteX1383" fmla="*/ 5092 w 10785"/>
                  <a:gd name="connsiteY1383" fmla="*/ 282 h 10000"/>
                  <a:gd name="connsiteX1384" fmla="*/ 5106 w 10785"/>
                  <a:gd name="connsiteY1384" fmla="*/ 265 h 10000"/>
                  <a:gd name="connsiteX1385" fmla="*/ 5115 w 10785"/>
                  <a:gd name="connsiteY1385" fmla="*/ 265 h 10000"/>
                  <a:gd name="connsiteX1386" fmla="*/ 5124 w 10785"/>
                  <a:gd name="connsiteY1386" fmla="*/ 222 h 10000"/>
                  <a:gd name="connsiteX1387" fmla="*/ 5124 w 10785"/>
                  <a:gd name="connsiteY1387" fmla="*/ 214 h 10000"/>
                  <a:gd name="connsiteX1388" fmla="*/ 5143 w 10785"/>
                  <a:gd name="connsiteY1388" fmla="*/ 197 h 10000"/>
                  <a:gd name="connsiteX1389" fmla="*/ 5152 w 10785"/>
                  <a:gd name="connsiteY1389" fmla="*/ 214 h 10000"/>
                  <a:gd name="connsiteX1390" fmla="*/ 5143 w 10785"/>
                  <a:gd name="connsiteY1390" fmla="*/ 188 h 10000"/>
                  <a:gd name="connsiteX1391" fmla="*/ 5129 w 10785"/>
                  <a:gd name="connsiteY1391" fmla="*/ 103 h 10000"/>
                  <a:gd name="connsiteX1392" fmla="*/ 5115 w 10785"/>
                  <a:gd name="connsiteY1392" fmla="*/ 85 h 10000"/>
                  <a:gd name="connsiteX1393" fmla="*/ 5111 w 10785"/>
                  <a:gd name="connsiteY1393" fmla="*/ 111 h 10000"/>
                  <a:gd name="connsiteX1394" fmla="*/ 5092 w 10785"/>
                  <a:gd name="connsiteY1394" fmla="*/ 103 h 10000"/>
                  <a:gd name="connsiteX1395" fmla="*/ 5069 w 10785"/>
                  <a:gd name="connsiteY1395" fmla="*/ 77 h 10000"/>
                  <a:gd name="connsiteX1396" fmla="*/ 5051 w 10785"/>
                  <a:gd name="connsiteY1396" fmla="*/ 26 h 10000"/>
                  <a:gd name="connsiteX1397" fmla="*/ 5041 w 10785"/>
                  <a:gd name="connsiteY1397" fmla="*/ 34 h 10000"/>
                  <a:gd name="connsiteX1398" fmla="*/ 5037 w 10785"/>
                  <a:gd name="connsiteY1398" fmla="*/ 34 h 10000"/>
                  <a:gd name="connsiteX1399" fmla="*/ 5037 w 10785"/>
                  <a:gd name="connsiteY1399" fmla="*/ 26 h 10000"/>
                  <a:gd name="connsiteX1400" fmla="*/ 5037 w 10785"/>
                  <a:gd name="connsiteY1400" fmla="*/ 9 h 10000"/>
                  <a:gd name="connsiteX1401" fmla="*/ 5023 w 10785"/>
                  <a:gd name="connsiteY1401" fmla="*/ 0 h 10000"/>
                  <a:gd name="connsiteX1402" fmla="*/ 5009 w 10785"/>
                  <a:gd name="connsiteY1402" fmla="*/ 9 h 10000"/>
                  <a:gd name="connsiteX1403" fmla="*/ 4995 w 10785"/>
                  <a:gd name="connsiteY1403" fmla="*/ 34 h 10000"/>
                  <a:gd name="connsiteX1404" fmla="*/ 4991 w 10785"/>
                  <a:gd name="connsiteY1404" fmla="*/ 60 h 10000"/>
                  <a:gd name="connsiteX1405" fmla="*/ 4982 w 10785"/>
                  <a:gd name="connsiteY1405" fmla="*/ 60 h 10000"/>
                  <a:gd name="connsiteX1406" fmla="*/ 4949 w 10785"/>
                  <a:gd name="connsiteY1406" fmla="*/ 51 h 10000"/>
                  <a:gd name="connsiteX1407" fmla="*/ 4949 w 10785"/>
                  <a:gd name="connsiteY1407" fmla="*/ 85 h 10000"/>
                  <a:gd name="connsiteX1408" fmla="*/ 4903 w 10785"/>
                  <a:gd name="connsiteY1408" fmla="*/ 197 h 10000"/>
                  <a:gd name="connsiteX1409" fmla="*/ 4899 w 10785"/>
                  <a:gd name="connsiteY1409" fmla="*/ 239 h 10000"/>
                  <a:gd name="connsiteX1410" fmla="*/ 4871 w 10785"/>
                  <a:gd name="connsiteY1410" fmla="*/ 274 h 10000"/>
                  <a:gd name="connsiteX1411" fmla="*/ 4871 w 10785"/>
                  <a:gd name="connsiteY1411" fmla="*/ 282 h 10000"/>
                  <a:gd name="connsiteX1412" fmla="*/ 4834 w 10785"/>
                  <a:gd name="connsiteY1412" fmla="*/ 376 h 10000"/>
                  <a:gd name="connsiteX1413" fmla="*/ 4829 w 10785"/>
                  <a:gd name="connsiteY1413" fmla="*/ 402 h 10000"/>
                  <a:gd name="connsiteX1414" fmla="*/ 4834 w 10785"/>
                  <a:gd name="connsiteY1414" fmla="*/ 410 h 10000"/>
                  <a:gd name="connsiteX1415" fmla="*/ 4829 w 10785"/>
                  <a:gd name="connsiteY1415" fmla="*/ 436 h 10000"/>
                  <a:gd name="connsiteX1416" fmla="*/ 4825 w 10785"/>
                  <a:gd name="connsiteY1416" fmla="*/ 436 h 10000"/>
                  <a:gd name="connsiteX1417" fmla="*/ 4825 w 10785"/>
                  <a:gd name="connsiteY1417" fmla="*/ 444 h 10000"/>
                  <a:gd name="connsiteX1418" fmla="*/ 4811 w 10785"/>
                  <a:gd name="connsiteY1418" fmla="*/ 496 h 10000"/>
                  <a:gd name="connsiteX1419" fmla="*/ 4811 w 10785"/>
                  <a:gd name="connsiteY1419" fmla="*/ 496 h 10000"/>
                  <a:gd name="connsiteX1420" fmla="*/ 4811 w 10785"/>
                  <a:gd name="connsiteY1420" fmla="*/ 521 h 10000"/>
                  <a:gd name="connsiteX1421" fmla="*/ 4816 w 10785"/>
                  <a:gd name="connsiteY1421" fmla="*/ 530 h 10000"/>
                  <a:gd name="connsiteX1422" fmla="*/ 4834 w 10785"/>
                  <a:gd name="connsiteY1422" fmla="*/ 547 h 10000"/>
                  <a:gd name="connsiteX1423" fmla="*/ 4834 w 10785"/>
                  <a:gd name="connsiteY1423" fmla="*/ 581 h 10000"/>
                  <a:gd name="connsiteX1424" fmla="*/ 4843 w 10785"/>
                  <a:gd name="connsiteY1424" fmla="*/ 581 h 10000"/>
                  <a:gd name="connsiteX1425" fmla="*/ 4843 w 10785"/>
                  <a:gd name="connsiteY1425" fmla="*/ 598 h 10000"/>
                  <a:gd name="connsiteX1426" fmla="*/ 4829 w 10785"/>
                  <a:gd name="connsiteY1426" fmla="*/ 598 h 10000"/>
                  <a:gd name="connsiteX1427" fmla="*/ 4829 w 10785"/>
                  <a:gd name="connsiteY1427" fmla="*/ 573 h 10000"/>
                  <a:gd name="connsiteX1428" fmla="*/ 4829 w 10785"/>
                  <a:gd name="connsiteY1428" fmla="*/ 632 h 10000"/>
                  <a:gd name="connsiteX1429" fmla="*/ 4829 w 10785"/>
                  <a:gd name="connsiteY1429" fmla="*/ 632 h 10000"/>
                  <a:gd name="connsiteX1430" fmla="*/ 4829 w 10785"/>
                  <a:gd name="connsiteY1430" fmla="*/ 650 h 10000"/>
                  <a:gd name="connsiteX1431" fmla="*/ 4774 w 10785"/>
                  <a:gd name="connsiteY1431" fmla="*/ 684 h 10000"/>
                  <a:gd name="connsiteX1432" fmla="*/ 4756 w 10785"/>
                  <a:gd name="connsiteY1432" fmla="*/ 684 h 10000"/>
                  <a:gd name="connsiteX1433" fmla="*/ 4737 w 10785"/>
                  <a:gd name="connsiteY1433" fmla="*/ 692 h 10000"/>
                  <a:gd name="connsiteX1434" fmla="*/ 4677 w 10785"/>
                  <a:gd name="connsiteY1434" fmla="*/ 667 h 10000"/>
                  <a:gd name="connsiteX1435" fmla="*/ 4682 w 10785"/>
                  <a:gd name="connsiteY1435" fmla="*/ 692 h 10000"/>
                  <a:gd name="connsiteX1436" fmla="*/ 4682 w 10785"/>
                  <a:gd name="connsiteY1436" fmla="*/ 709 h 10000"/>
                  <a:gd name="connsiteX1437" fmla="*/ 4691 w 10785"/>
                  <a:gd name="connsiteY1437" fmla="*/ 718 h 10000"/>
                  <a:gd name="connsiteX1438" fmla="*/ 4691 w 10785"/>
                  <a:gd name="connsiteY1438" fmla="*/ 744 h 10000"/>
                  <a:gd name="connsiteX1439" fmla="*/ 4700 w 10785"/>
                  <a:gd name="connsiteY1439" fmla="*/ 744 h 10000"/>
                  <a:gd name="connsiteX1440" fmla="*/ 4714 w 10785"/>
                  <a:gd name="connsiteY1440" fmla="*/ 769 h 10000"/>
                  <a:gd name="connsiteX1441" fmla="*/ 4710 w 10785"/>
                  <a:gd name="connsiteY1441" fmla="*/ 786 h 10000"/>
                  <a:gd name="connsiteX1442" fmla="*/ 4737 w 10785"/>
                  <a:gd name="connsiteY1442" fmla="*/ 786 h 10000"/>
                  <a:gd name="connsiteX1443" fmla="*/ 4742 w 10785"/>
                  <a:gd name="connsiteY1443" fmla="*/ 795 h 10000"/>
                  <a:gd name="connsiteX1444" fmla="*/ 4742 w 10785"/>
                  <a:gd name="connsiteY1444" fmla="*/ 803 h 10000"/>
                  <a:gd name="connsiteX1445" fmla="*/ 4737 w 10785"/>
                  <a:gd name="connsiteY1445" fmla="*/ 846 h 10000"/>
                  <a:gd name="connsiteX1446" fmla="*/ 4737 w 10785"/>
                  <a:gd name="connsiteY1446" fmla="*/ 880 h 10000"/>
                  <a:gd name="connsiteX1447" fmla="*/ 4737 w 10785"/>
                  <a:gd name="connsiteY1447" fmla="*/ 906 h 10000"/>
                  <a:gd name="connsiteX1448" fmla="*/ 4724 w 10785"/>
                  <a:gd name="connsiteY1448" fmla="*/ 897 h 10000"/>
                  <a:gd name="connsiteX1449" fmla="*/ 4724 w 10785"/>
                  <a:gd name="connsiteY1449" fmla="*/ 872 h 10000"/>
                  <a:gd name="connsiteX1450" fmla="*/ 4714 w 10785"/>
                  <a:gd name="connsiteY1450" fmla="*/ 855 h 10000"/>
                  <a:gd name="connsiteX1451" fmla="*/ 4691 w 10785"/>
                  <a:gd name="connsiteY1451" fmla="*/ 846 h 10000"/>
                  <a:gd name="connsiteX1452" fmla="*/ 4691 w 10785"/>
                  <a:gd name="connsiteY1452" fmla="*/ 846 h 10000"/>
                  <a:gd name="connsiteX1453" fmla="*/ 4696 w 10785"/>
                  <a:gd name="connsiteY1453" fmla="*/ 821 h 10000"/>
                  <a:gd name="connsiteX1454" fmla="*/ 4691 w 10785"/>
                  <a:gd name="connsiteY1454" fmla="*/ 803 h 10000"/>
                  <a:gd name="connsiteX1455" fmla="*/ 4668 w 10785"/>
                  <a:gd name="connsiteY1455" fmla="*/ 821 h 10000"/>
                  <a:gd name="connsiteX1456" fmla="*/ 4668 w 10785"/>
                  <a:gd name="connsiteY1456" fmla="*/ 786 h 10000"/>
                  <a:gd name="connsiteX1457" fmla="*/ 4664 w 10785"/>
                  <a:gd name="connsiteY1457" fmla="*/ 786 h 10000"/>
                  <a:gd name="connsiteX1458" fmla="*/ 4622 w 10785"/>
                  <a:gd name="connsiteY1458" fmla="*/ 846 h 10000"/>
                  <a:gd name="connsiteX1459" fmla="*/ 4627 w 10785"/>
                  <a:gd name="connsiteY1459" fmla="*/ 872 h 10000"/>
                  <a:gd name="connsiteX1460" fmla="*/ 4622 w 10785"/>
                  <a:gd name="connsiteY1460" fmla="*/ 880 h 10000"/>
                  <a:gd name="connsiteX1461" fmla="*/ 4622 w 10785"/>
                  <a:gd name="connsiteY1461" fmla="*/ 880 h 10000"/>
                  <a:gd name="connsiteX1462" fmla="*/ 4618 w 10785"/>
                  <a:gd name="connsiteY1462" fmla="*/ 872 h 10000"/>
                  <a:gd name="connsiteX1463" fmla="*/ 4604 w 10785"/>
                  <a:gd name="connsiteY1463" fmla="*/ 880 h 10000"/>
                  <a:gd name="connsiteX1464" fmla="*/ 4594 w 10785"/>
                  <a:gd name="connsiteY1464" fmla="*/ 906 h 10000"/>
                  <a:gd name="connsiteX1465" fmla="*/ 4604 w 10785"/>
                  <a:gd name="connsiteY1465" fmla="*/ 906 h 10000"/>
                  <a:gd name="connsiteX1466" fmla="*/ 4608 w 10785"/>
                  <a:gd name="connsiteY1466" fmla="*/ 906 h 10000"/>
                  <a:gd name="connsiteX1467" fmla="*/ 4608 w 10785"/>
                  <a:gd name="connsiteY1467" fmla="*/ 932 h 10000"/>
                  <a:gd name="connsiteX1468" fmla="*/ 4604 w 10785"/>
                  <a:gd name="connsiteY1468" fmla="*/ 932 h 10000"/>
                  <a:gd name="connsiteX1469" fmla="*/ 4590 w 10785"/>
                  <a:gd name="connsiteY1469" fmla="*/ 932 h 10000"/>
                  <a:gd name="connsiteX1470" fmla="*/ 4567 w 10785"/>
                  <a:gd name="connsiteY1470" fmla="*/ 957 h 10000"/>
                  <a:gd name="connsiteX1471" fmla="*/ 4567 w 10785"/>
                  <a:gd name="connsiteY1471" fmla="*/ 932 h 10000"/>
                  <a:gd name="connsiteX1472" fmla="*/ 4567 w 10785"/>
                  <a:gd name="connsiteY1472" fmla="*/ 923 h 10000"/>
                  <a:gd name="connsiteX1473" fmla="*/ 4562 w 10785"/>
                  <a:gd name="connsiteY1473" fmla="*/ 932 h 10000"/>
                  <a:gd name="connsiteX1474" fmla="*/ 4548 w 10785"/>
                  <a:gd name="connsiteY1474" fmla="*/ 957 h 10000"/>
                  <a:gd name="connsiteX1475" fmla="*/ 4544 w 10785"/>
                  <a:gd name="connsiteY1475" fmla="*/ 957 h 10000"/>
                  <a:gd name="connsiteX1476" fmla="*/ 4521 w 10785"/>
                  <a:gd name="connsiteY1476" fmla="*/ 983 h 10000"/>
                  <a:gd name="connsiteX1477" fmla="*/ 4521 w 10785"/>
                  <a:gd name="connsiteY1477" fmla="*/ 983 h 10000"/>
                  <a:gd name="connsiteX1478" fmla="*/ 4530 w 10785"/>
                  <a:gd name="connsiteY1478" fmla="*/ 957 h 10000"/>
                  <a:gd name="connsiteX1479" fmla="*/ 4535 w 10785"/>
                  <a:gd name="connsiteY1479" fmla="*/ 932 h 10000"/>
                  <a:gd name="connsiteX1480" fmla="*/ 4521 w 10785"/>
                  <a:gd name="connsiteY1480" fmla="*/ 932 h 10000"/>
                  <a:gd name="connsiteX1481" fmla="*/ 4516 w 10785"/>
                  <a:gd name="connsiteY1481" fmla="*/ 923 h 10000"/>
                  <a:gd name="connsiteX1482" fmla="*/ 4516 w 10785"/>
                  <a:gd name="connsiteY1482" fmla="*/ 932 h 10000"/>
                  <a:gd name="connsiteX1483" fmla="*/ 4488 w 10785"/>
                  <a:gd name="connsiteY1483" fmla="*/ 940 h 10000"/>
                  <a:gd name="connsiteX1484" fmla="*/ 4484 w 10785"/>
                  <a:gd name="connsiteY1484" fmla="*/ 983 h 10000"/>
                  <a:gd name="connsiteX1485" fmla="*/ 4470 w 10785"/>
                  <a:gd name="connsiteY1485" fmla="*/ 983 h 10000"/>
                  <a:gd name="connsiteX1486" fmla="*/ 4470 w 10785"/>
                  <a:gd name="connsiteY1486" fmla="*/ 966 h 10000"/>
                  <a:gd name="connsiteX1487" fmla="*/ 4488 w 10785"/>
                  <a:gd name="connsiteY1487" fmla="*/ 923 h 10000"/>
                  <a:gd name="connsiteX1488" fmla="*/ 4493 w 10785"/>
                  <a:gd name="connsiteY1488" fmla="*/ 880 h 10000"/>
                  <a:gd name="connsiteX1489" fmla="*/ 4475 w 10785"/>
                  <a:gd name="connsiteY1489" fmla="*/ 846 h 10000"/>
                  <a:gd name="connsiteX1490" fmla="*/ 4442 w 10785"/>
                  <a:gd name="connsiteY1490" fmla="*/ 855 h 10000"/>
                  <a:gd name="connsiteX1491" fmla="*/ 4433 w 10785"/>
                  <a:gd name="connsiteY1491" fmla="*/ 855 h 10000"/>
                  <a:gd name="connsiteX1492" fmla="*/ 4433 w 10785"/>
                  <a:gd name="connsiteY1492" fmla="*/ 880 h 10000"/>
                  <a:gd name="connsiteX1493" fmla="*/ 4401 w 10785"/>
                  <a:gd name="connsiteY1493" fmla="*/ 855 h 10000"/>
                  <a:gd name="connsiteX1494" fmla="*/ 4396 w 10785"/>
                  <a:gd name="connsiteY1494" fmla="*/ 872 h 10000"/>
                  <a:gd name="connsiteX1495" fmla="*/ 4382 w 10785"/>
                  <a:gd name="connsiteY1495" fmla="*/ 897 h 10000"/>
                  <a:gd name="connsiteX1496" fmla="*/ 4373 w 10785"/>
                  <a:gd name="connsiteY1496" fmla="*/ 872 h 10000"/>
                  <a:gd name="connsiteX1497" fmla="*/ 4341 w 10785"/>
                  <a:gd name="connsiteY1497" fmla="*/ 872 h 10000"/>
                  <a:gd name="connsiteX1498" fmla="*/ 4336 w 10785"/>
                  <a:gd name="connsiteY1498" fmla="*/ 880 h 10000"/>
                  <a:gd name="connsiteX1499" fmla="*/ 4346 w 10785"/>
                  <a:gd name="connsiteY1499" fmla="*/ 897 h 10000"/>
                  <a:gd name="connsiteX1500" fmla="*/ 4346 w 10785"/>
                  <a:gd name="connsiteY1500" fmla="*/ 897 h 10000"/>
                  <a:gd name="connsiteX1501" fmla="*/ 4313 w 10785"/>
                  <a:gd name="connsiteY1501" fmla="*/ 906 h 10000"/>
                  <a:gd name="connsiteX1502" fmla="*/ 4313 w 10785"/>
                  <a:gd name="connsiteY1502" fmla="*/ 906 h 10000"/>
                  <a:gd name="connsiteX1503" fmla="*/ 4313 w 10785"/>
                  <a:gd name="connsiteY1503" fmla="*/ 880 h 10000"/>
                  <a:gd name="connsiteX1504" fmla="*/ 4309 w 10785"/>
                  <a:gd name="connsiteY1504" fmla="*/ 897 h 10000"/>
                  <a:gd name="connsiteX1505" fmla="*/ 4295 w 10785"/>
                  <a:gd name="connsiteY1505" fmla="*/ 923 h 10000"/>
                  <a:gd name="connsiteX1506" fmla="*/ 4286 w 10785"/>
                  <a:gd name="connsiteY1506" fmla="*/ 897 h 10000"/>
                  <a:gd name="connsiteX1507" fmla="*/ 4281 w 10785"/>
                  <a:gd name="connsiteY1507" fmla="*/ 906 h 10000"/>
                  <a:gd name="connsiteX1508" fmla="*/ 4281 w 10785"/>
                  <a:gd name="connsiteY1508" fmla="*/ 940 h 10000"/>
                  <a:gd name="connsiteX1509" fmla="*/ 4286 w 10785"/>
                  <a:gd name="connsiteY1509" fmla="*/ 957 h 10000"/>
                  <a:gd name="connsiteX1510" fmla="*/ 4309 w 10785"/>
                  <a:gd name="connsiteY1510" fmla="*/ 932 h 10000"/>
                  <a:gd name="connsiteX1511" fmla="*/ 4313 w 10785"/>
                  <a:gd name="connsiteY1511" fmla="*/ 957 h 10000"/>
                  <a:gd name="connsiteX1512" fmla="*/ 4313 w 10785"/>
                  <a:gd name="connsiteY1512" fmla="*/ 966 h 10000"/>
                  <a:gd name="connsiteX1513" fmla="*/ 4323 w 10785"/>
                  <a:gd name="connsiteY1513" fmla="*/ 966 h 10000"/>
                  <a:gd name="connsiteX1514" fmla="*/ 4323 w 10785"/>
                  <a:gd name="connsiteY1514" fmla="*/ 940 h 10000"/>
                  <a:gd name="connsiteX1515" fmla="*/ 4327 w 10785"/>
                  <a:gd name="connsiteY1515" fmla="*/ 940 h 10000"/>
                  <a:gd name="connsiteX1516" fmla="*/ 4327 w 10785"/>
                  <a:gd name="connsiteY1516" fmla="*/ 957 h 10000"/>
                  <a:gd name="connsiteX1517" fmla="*/ 4327 w 10785"/>
                  <a:gd name="connsiteY1517" fmla="*/ 966 h 10000"/>
                  <a:gd name="connsiteX1518" fmla="*/ 4323 w 10785"/>
                  <a:gd name="connsiteY1518" fmla="*/ 991 h 10000"/>
                  <a:gd name="connsiteX1519" fmla="*/ 4207 w 10785"/>
                  <a:gd name="connsiteY1519" fmla="*/ 1060 h 10000"/>
                  <a:gd name="connsiteX1520" fmla="*/ 4207 w 10785"/>
                  <a:gd name="connsiteY1520" fmla="*/ 1060 h 10000"/>
                  <a:gd name="connsiteX1521" fmla="*/ 4203 w 10785"/>
                  <a:gd name="connsiteY1521" fmla="*/ 1068 h 10000"/>
                  <a:gd name="connsiteX1522" fmla="*/ 4203 w 10785"/>
                  <a:gd name="connsiteY1522" fmla="*/ 1094 h 10000"/>
                  <a:gd name="connsiteX1523" fmla="*/ 4203 w 10785"/>
                  <a:gd name="connsiteY1523" fmla="*/ 1094 h 10000"/>
                  <a:gd name="connsiteX1524" fmla="*/ 4189 w 10785"/>
                  <a:gd name="connsiteY1524" fmla="*/ 1094 h 10000"/>
                  <a:gd name="connsiteX1525" fmla="*/ 4166 w 10785"/>
                  <a:gd name="connsiteY1525" fmla="*/ 1103 h 10000"/>
                  <a:gd name="connsiteX1526" fmla="*/ 4152 w 10785"/>
                  <a:gd name="connsiteY1526" fmla="*/ 1094 h 10000"/>
                  <a:gd name="connsiteX1527" fmla="*/ 4134 w 10785"/>
                  <a:gd name="connsiteY1527" fmla="*/ 1120 h 10000"/>
                  <a:gd name="connsiteX1528" fmla="*/ 4106 w 10785"/>
                  <a:gd name="connsiteY1528" fmla="*/ 1120 h 10000"/>
                  <a:gd name="connsiteX1529" fmla="*/ 4092 w 10785"/>
                  <a:gd name="connsiteY1529" fmla="*/ 1154 h 10000"/>
                  <a:gd name="connsiteX1530" fmla="*/ 4106 w 10785"/>
                  <a:gd name="connsiteY1530" fmla="*/ 1171 h 10000"/>
                  <a:gd name="connsiteX1531" fmla="*/ 4078 w 10785"/>
                  <a:gd name="connsiteY1531" fmla="*/ 1179 h 10000"/>
                  <a:gd name="connsiteX1532" fmla="*/ 4065 w 10785"/>
                  <a:gd name="connsiteY1532" fmla="*/ 1205 h 10000"/>
                  <a:gd name="connsiteX1533" fmla="*/ 4046 w 10785"/>
                  <a:gd name="connsiteY1533" fmla="*/ 1179 h 10000"/>
                  <a:gd name="connsiteX1534" fmla="*/ 4041 w 10785"/>
                  <a:gd name="connsiteY1534" fmla="*/ 1197 h 10000"/>
                  <a:gd name="connsiteX1535" fmla="*/ 4028 w 10785"/>
                  <a:gd name="connsiteY1535" fmla="*/ 1205 h 10000"/>
                  <a:gd name="connsiteX1536" fmla="*/ 4028 w 10785"/>
                  <a:gd name="connsiteY1536" fmla="*/ 1205 h 10000"/>
                  <a:gd name="connsiteX1537" fmla="*/ 4032 w 10785"/>
                  <a:gd name="connsiteY1537" fmla="*/ 1205 h 10000"/>
                  <a:gd name="connsiteX1538" fmla="*/ 4032 w 10785"/>
                  <a:gd name="connsiteY1538" fmla="*/ 1231 h 10000"/>
                  <a:gd name="connsiteX1539" fmla="*/ 4014 w 10785"/>
                  <a:gd name="connsiteY1539" fmla="*/ 1239 h 10000"/>
                  <a:gd name="connsiteX1540" fmla="*/ 4014 w 10785"/>
                  <a:gd name="connsiteY1540" fmla="*/ 1256 h 10000"/>
                  <a:gd name="connsiteX1541" fmla="*/ 4000 w 10785"/>
                  <a:gd name="connsiteY1541" fmla="*/ 1265 h 10000"/>
                  <a:gd name="connsiteX1542" fmla="*/ 3986 w 10785"/>
                  <a:gd name="connsiteY1542" fmla="*/ 1308 h 10000"/>
                  <a:gd name="connsiteX1543" fmla="*/ 3972 w 10785"/>
                  <a:gd name="connsiteY1543" fmla="*/ 1316 h 10000"/>
                  <a:gd name="connsiteX1544" fmla="*/ 3972 w 10785"/>
                  <a:gd name="connsiteY1544" fmla="*/ 1325 h 10000"/>
                  <a:gd name="connsiteX1545" fmla="*/ 3972 w 10785"/>
                  <a:gd name="connsiteY1545" fmla="*/ 1342 h 10000"/>
                  <a:gd name="connsiteX1546" fmla="*/ 3968 w 10785"/>
                  <a:gd name="connsiteY1546" fmla="*/ 1350 h 10000"/>
                  <a:gd name="connsiteX1547" fmla="*/ 3954 w 10785"/>
                  <a:gd name="connsiteY1547" fmla="*/ 1368 h 10000"/>
                  <a:gd name="connsiteX1548" fmla="*/ 3945 w 10785"/>
                  <a:gd name="connsiteY1548" fmla="*/ 1350 h 10000"/>
                  <a:gd name="connsiteX1549" fmla="*/ 3908 w 10785"/>
                  <a:gd name="connsiteY1549" fmla="*/ 1342 h 10000"/>
                  <a:gd name="connsiteX1550" fmla="*/ 3894 w 10785"/>
                  <a:gd name="connsiteY1550" fmla="*/ 1368 h 10000"/>
                  <a:gd name="connsiteX1551" fmla="*/ 3922 w 10785"/>
                  <a:gd name="connsiteY1551" fmla="*/ 1393 h 10000"/>
                  <a:gd name="connsiteX1552" fmla="*/ 3945 w 10785"/>
                  <a:gd name="connsiteY1552" fmla="*/ 1393 h 10000"/>
                  <a:gd name="connsiteX1553" fmla="*/ 3940 w 10785"/>
                  <a:gd name="connsiteY1553" fmla="*/ 1419 h 10000"/>
                  <a:gd name="connsiteX1554" fmla="*/ 3931 w 10785"/>
                  <a:gd name="connsiteY1554" fmla="*/ 1427 h 10000"/>
                  <a:gd name="connsiteX1555" fmla="*/ 3926 w 10785"/>
                  <a:gd name="connsiteY1555" fmla="*/ 1427 h 10000"/>
                  <a:gd name="connsiteX1556" fmla="*/ 3922 w 10785"/>
                  <a:gd name="connsiteY1556" fmla="*/ 1419 h 10000"/>
                  <a:gd name="connsiteX1557" fmla="*/ 3912 w 10785"/>
                  <a:gd name="connsiteY1557" fmla="*/ 1427 h 10000"/>
                  <a:gd name="connsiteX1558" fmla="*/ 3912 w 10785"/>
                  <a:gd name="connsiteY1558" fmla="*/ 1444 h 10000"/>
                  <a:gd name="connsiteX1559" fmla="*/ 3894 w 10785"/>
                  <a:gd name="connsiteY1559" fmla="*/ 1513 h 10000"/>
                  <a:gd name="connsiteX1560" fmla="*/ 3885 w 10785"/>
                  <a:gd name="connsiteY1560" fmla="*/ 1513 h 10000"/>
                  <a:gd name="connsiteX1561" fmla="*/ 3880 w 10785"/>
                  <a:gd name="connsiteY1561" fmla="*/ 1538 h 10000"/>
                  <a:gd name="connsiteX1562" fmla="*/ 3885 w 10785"/>
                  <a:gd name="connsiteY1562" fmla="*/ 1564 h 10000"/>
                  <a:gd name="connsiteX1563" fmla="*/ 3880 w 10785"/>
                  <a:gd name="connsiteY1563" fmla="*/ 1581 h 10000"/>
                  <a:gd name="connsiteX1564" fmla="*/ 3871 w 10785"/>
                  <a:gd name="connsiteY1564" fmla="*/ 1538 h 10000"/>
                  <a:gd name="connsiteX1565" fmla="*/ 3853 w 10785"/>
                  <a:gd name="connsiteY1565" fmla="*/ 1530 h 10000"/>
                  <a:gd name="connsiteX1566" fmla="*/ 3853 w 10785"/>
                  <a:gd name="connsiteY1566" fmla="*/ 1504 h 10000"/>
                  <a:gd name="connsiteX1567" fmla="*/ 3834 w 10785"/>
                  <a:gd name="connsiteY1567" fmla="*/ 1487 h 10000"/>
                  <a:gd name="connsiteX1568" fmla="*/ 3834 w 10785"/>
                  <a:gd name="connsiteY1568" fmla="*/ 1487 h 10000"/>
                  <a:gd name="connsiteX1569" fmla="*/ 3839 w 10785"/>
                  <a:gd name="connsiteY1569" fmla="*/ 1513 h 10000"/>
                  <a:gd name="connsiteX1570" fmla="*/ 3820 w 10785"/>
                  <a:gd name="connsiteY1570" fmla="*/ 1538 h 10000"/>
                  <a:gd name="connsiteX1571" fmla="*/ 3820 w 10785"/>
                  <a:gd name="connsiteY1571" fmla="*/ 1556 h 10000"/>
                  <a:gd name="connsiteX1572" fmla="*/ 3820 w 10785"/>
                  <a:gd name="connsiteY1572" fmla="*/ 1564 h 10000"/>
                  <a:gd name="connsiteX1573" fmla="*/ 3820 w 10785"/>
                  <a:gd name="connsiteY1573" fmla="*/ 1581 h 10000"/>
                  <a:gd name="connsiteX1574" fmla="*/ 3853 w 10785"/>
                  <a:gd name="connsiteY1574" fmla="*/ 1581 h 10000"/>
                  <a:gd name="connsiteX1575" fmla="*/ 3857 w 10785"/>
                  <a:gd name="connsiteY1575" fmla="*/ 1598 h 10000"/>
                  <a:gd name="connsiteX1576" fmla="*/ 3880 w 10785"/>
                  <a:gd name="connsiteY1576" fmla="*/ 1615 h 10000"/>
                  <a:gd name="connsiteX1577" fmla="*/ 3871 w 10785"/>
                  <a:gd name="connsiteY1577" fmla="*/ 1615 h 10000"/>
                  <a:gd name="connsiteX1578" fmla="*/ 3871 w 10785"/>
                  <a:gd name="connsiteY1578" fmla="*/ 1641 h 10000"/>
                  <a:gd name="connsiteX1579" fmla="*/ 3880 w 10785"/>
                  <a:gd name="connsiteY1579" fmla="*/ 1641 h 10000"/>
                  <a:gd name="connsiteX1580" fmla="*/ 3871 w 10785"/>
                  <a:gd name="connsiteY1580" fmla="*/ 1650 h 10000"/>
                  <a:gd name="connsiteX1581" fmla="*/ 3857 w 10785"/>
                  <a:gd name="connsiteY1581" fmla="*/ 1650 h 10000"/>
                  <a:gd name="connsiteX1582" fmla="*/ 3853 w 10785"/>
                  <a:gd name="connsiteY1582" fmla="*/ 1650 h 10000"/>
                  <a:gd name="connsiteX1583" fmla="*/ 3839 w 10785"/>
                  <a:gd name="connsiteY1583" fmla="*/ 1667 h 10000"/>
                  <a:gd name="connsiteX1584" fmla="*/ 3848 w 10785"/>
                  <a:gd name="connsiteY1584" fmla="*/ 1692 h 10000"/>
                  <a:gd name="connsiteX1585" fmla="*/ 3834 w 10785"/>
                  <a:gd name="connsiteY1585" fmla="*/ 1692 h 10000"/>
                  <a:gd name="connsiteX1586" fmla="*/ 3825 w 10785"/>
                  <a:gd name="connsiteY1586" fmla="*/ 1692 h 10000"/>
                  <a:gd name="connsiteX1587" fmla="*/ 3825 w 10785"/>
                  <a:gd name="connsiteY1587" fmla="*/ 1718 h 10000"/>
                  <a:gd name="connsiteX1588" fmla="*/ 3839 w 10785"/>
                  <a:gd name="connsiteY1588" fmla="*/ 1726 h 10000"/>
                  <a:gd name="connsiteX1589" fmla="*/ 3880 w 10785"/>
                  <a:gd name="connsiteY1589" fmla="*/ 1752 h 10000"/>
                  <a:gd name="connsiteX1590" fmla="*/ 3894 w 10785"/>
                  <a:gd name="connsiteY1590" fmla="*/ 1829 h 10000"/>
                  <a:gd name="connsiteX1591" fmla="*/ 3899 w 10785"/>
                  <a:gd name="connsiteY1591" fmla="*/ 1838 h 10000"/>
                  <a:gd name="connsiteX1592" fmla="*/ 3894 w 10785"/>
                  <a:gd name="connsiteY1592" fmla="*/ 1855 h 10000"/>
                  <a:gd name="connsiteX1593" fmla="*/ 3880 w 10785"/>
                  <a:gd name="connsiteY1593" fmla="*/ 1838 h 10000"/>
                  <a:gd name="connsiteX1594" fmla="*/ 3880 w 10785"/>
                  <a:gd name="connsiteY1594" fmla="*/ 1855 h 10000"/>
                  <a:gd name="connsiteX1595" fmla="*/ 3880 w 10785"/>
                  <a:gd name="connsiteY1595" fmla="*/ 1863 h 10000"/>
                  <a:gd name="connsiteX1596" fmla="*/ 3871 w 10785"/>
                  <a:gd name="connsiteY1596" fmla="*/ 1872 h 10000"/>
                  <a:gd name="connsiteX1597" fmla="*/ 3880 w 10785"/>
                  <a:gd name="connsiteY1597" fmla="*/ 1889 h 10000"/>
                  <a:gd name="connsiteX1598" fmla="*/ 3885 w 10785"/>
                  <a:gd name="connsiteY1598" fmla="*/ 1889 h 10000"/>
                  <a:gd name="connsiteX1599" fmla="*/ 3880 w 10785"/>
                  <a:gd name="connsiteY1599" fmla="*/ 1897 h 10000"/>
                  <a:gd name="connsiteX1600" fmla="*/ 3871 w 10785"/>
                  <a:gd name="connsiteY1600" fmla="*/ 1915 h 10000"/>
                  <a:gd name="connsiteX1601" fmla="*/ 3848 w 10785"/>
                  <a:gd name="connsiteY1601" fmla="*/ 1923 h 10000"/>
                  <a:gd name="connsiteX1602" fmla="*/ 3825 w 10785"/>
                  <a:gd name="connsiteY1602" fmla="*/ 1940 h 10000"/>
                  <a:gd name="connsiteX1603" fmla="*/ 3811 w 10785"/>
                  <a:gd name="connsiteY1603" fmla="*/ 1940 h 10000"/>
                  <a:gd name="connsiteX1604" fmla="*/ 3806 w 10785"/>
                  <a:gd name="connsiteY1604" fmla="*/ 1949 h 10000"/>
                  <a:gd name="connsiteX1605" fmla="*/ 3797 w 10785"/>
                  <a:gd name="connsiteY1605" fmla="*/ 1966 h 10000"/>
                  <a:gd name="connsiteX1606" fmla="*/ 3788 w 10785"/>
                  <a:gd name="connsiteY1606" fmla="*/ 1991 h 10000"/>
                  <a:gd name="connsiteX1607" fmla="*/ 3765 w 10785"/>
                  <a:gd name="connsiteY1607" fmla="*/ 1974 h 10000"/>
                  <a:gd name="connsiteX1608" fmla="*/ 3760 w 10785"/>
                  <a:gd name="connsiteY1608" fmla="*/ 1966 h 10000"/>
                  <a:gd name="connsiteX1609" fmla="*/ 3760 w 10785"/>
                  <a:gd name="connsiteY1609" fmla="*/ 1966 h 10000"/>
                  <a:gd name="connsiteX1610" fmla="*/ 3631 w 10785"/>
                  <a:gd name="connsiteY1610" fmla="*/ 2009 h 10000"/>
                  <a:gd name="connsiteX1611" fmla="*/ 3618 w 10785"/>
                  <a:gd name="connsiteY1611" fmla="*/ 2000 h 10000"/>
                  <a:gd name="connsiteX1612" fmla="*/ 3599 w 10785"/>
                  <a:gd name="connsiteY1612" fmla="*/ 2009 h 10000"/>
                  <a:gd name="connsiteX1613" fmla="*/ 3571 w 10785"/>
                  <a:gd name="connsiteY1613" fmla="*/ 2000 h 10000"/>
                  <a:gd name="connsiteX1614" fmla="*/ 3530 w 10785"/>
                  <a:gd name="connsiteY1614" fmla="*/ 2026 h 10000"/>
                  <a:gd name="connsiteX1615" fmla="*/ 3530 w 10785"/>
                  <a:gd name="connsiteY1615" fmla="*/ 2034 h 10000"/>
                  <a:gd name="connsiteX1616" fmla="*/ 3525 w 10785"/>
                  <a:gd name="connsiteY1616" fmla="*/ 2051 h 10000"/>
                  <a:gd name="connsiteX1617" fmla="*/ 3512 w 10785"/>
                  <a:gd name="connsiteY1617" fmla="*/ 2034 h 10000"/>
                  <a:gd name="connsiteX1618" fmla="*/ 3507 w 10785"/>
                  <a:gd name="connsiteY1618" fmla="*/ 2034 h 10000"/>
                  <a:gd name="connsiteX1619" fmla="*/ 3498 w 10785"/>
                  <a:gd name="connsiteY1619" fmla="*/ 2051 h 10000"/>
                  <a:gd name="connsiteX1620" fmla="*/ 3484 w 10785"/>
                  <a:gd name="connsiteY1620" fmla="*/ 2060 h 10000"/>
                  <a:gd name="connsiteX1621" fmla="*/ 3484 w 10785"/>
                  <a:gd name="connsiteY1621" fmla="*/ 2085 h 10000"/>
                  <a:gd name="connsiteX1622" fmla="*/ 3484 w 10785"/>
                  <a:gd name="connsiteY1622" fmla="*/ 2103 h 10000"/>
                  <a:gd name="connsiteX1623" fmla="*/ 3493 w 10785"/>
                  <a:gd name="connsiteY1623" fmla="*/ 2103 h 10000"/>
                  <a:gd name="connsiteX1624" fmla="*/ 3493 w 10785"/>
                  <a:gd name="connsiteY1624" fmla="*/ 2085 h 10000"/>
                  <a:gd name="connsiteX1625" fmla="*/ 3498 w 10785"/>
                  <a:gd name="connsiteY1625" fmla="*/ 2085 h 10000"/>
                  <a:gd name="connsiteX1626" fmla="*/ 3498 w 10785"/>
                  <a:gd name="connsiteY1626" fmla="*/ 2111 h 10000"/>
                  <a:gd name="connsiteX1627" fmla="*/ 3484 w 10785"/>
                  <a:gd name="connsiteY1627" fmla="*/ 2120 h 10000"/>
                  <a:gd name="connsiteX1628" fmla="*/ 3484 w 10785"/>
                  <a:gd name="connsiteY1628" fmla="*/ 2145 h 10000"/>
                  <a:gd name="connsiteX1629" fmla="*/ 3470 w 10785"/>
                  <a:gd name="connsiteY1629" fmla="*/ 2137 h 10000"/>
                  <a:gd name="connsiteX1630" fmla="*/ 3465 w 10785"/>
                  <a:gd name="connsiteY1630" fmla="*/ 2145 h 10000"/>
                  <a:gd name="connsiteX1631" fmla="*/ 3470 w 10785"/>
                  <a:gd name="connsiteY1631" fmla="*/ 2171 h 10000"/>
                  <a:gd name="connsiteX1632" fmla="*/ 3484 w 10785"/>
                  <a:gd name="connsiteY1632" fmla="*/ 2171 h 10000"/>
                  <a:gd name="connsiteX1633" fmla="*/ 3484 w 10785"/>
                  <a:gd name="connsiteY1633" fmla="*/ 2197 h 10000"/>
                  <a:gd name="connsiteX1634" fmla="*/ 3465 w 10785"/>
                  <a:gd name="connsiteY1634" fmla="*/ 2214 h 10000"/>
                  <a:gd name="connsiteX1635" fmla="*/ 3493 w 10785"/>
                  <a:gd name="connsiteY1635" fmla="*/ 2248 h 10000"/>
                  <a:gd name="connsiteX1636" fmla="*/ 3484 w 10785"/>
                  <a:gd name="connsiteY1636" fmla="*/ 2256 h 10000"/>
                  <a:gd name="connsiteX1637" fmla="*/ 3498 w 10785"/>
                  <a:gd name="connsiteY1637" fmla="*/ 2274 h 10000"/>
                  <a:gd name="connsiteX1638" fmla="*/ 3498 w 10785"/>
                  <a:gd name="connsiteY1638" fmla="*/ 2256 h 10000"/>
                  <a:gd name="connsiteX1639" fmla="*/ 3507 w 10785"/>
                  <a:gd name="connsiteY1639" fmla="*/ 2308 h 10000"/>
                  <a:gd name="connsiteX1640" fmla="*/ 3512 w 10785"/>
                  <a:gd name="connsiteY1640" fmla="*/ 2325 h 10000"/>
                  <a:gd name="connsiteX1641" fmla="*/ 3507 w 10785"/>
                  <a:gd name="connsiteY1641" fmla="*/ 2333 h 10000"/>
                  <a:gd name="connsiteX1642" fmla="*/ 3507 w 10785"/>
                  <a:gd name="connsiteY1642" fmla="*/ 2359 h 10000"/>
                  <a:gd name="connsiteX1643" fmla="*/ 3507 w 10785"/>
                  <a:gd name="connsiteY1643" fmla="*/ 2376 h 10000"/>
                  <a:gd name="connsiteX1644" fmla="*/ 3498 w 10785"/>
                  <a:gd name="connsiteY1644" fmla="*/ 2410 h 10000"/>
                  <a:gd name="connsiteX1645" fmla="*/ 3498 w 10785"/>
                  <a:gd name="connsiteY1645" fmla="*/ 2436 h 10000"/>
                  <a:gd name="connsiteX1646" fmla="*/ 3507 w 10785"/>
                  <a:gd name="connsiteY1646" fmla="*/ 2462 h 10000"/>
                  <a:gd name="connsiteX1647" fmla="*/ 3507 w 10785"/>
                  <a:gd name="connsiteY1647" fmla="*/ 2496 h 10000"/>
                  <a:gd name="connsiteX1648" fmla="*/ 3512 w 10785"/>
                  <a:gd name="connsiteY1648" fmla="*/ 2521 h 10000"/>
                  <a:gd name="connsiteX1649" fmla="*/ 3525 w 10785"/>
                  <a:gd name="connsiteY1649" fmla="*/ 2556 h 10000"/>
                  <a:gd name="connsiteX1650" fmla="*/ 3571 w 10785"/>
                  <a:gd name="connsiteY1650" fmla="*/ 2573 h 10000"/>
                  <a:gd name="connsiteX1651" fmla="*/ 3590 w 10785"/>
                  <a:gd name="connsiteY1651" fmla="*/ 2598 h 10000"/>
                  <a:gd name="connsiteX1652" fmla="*/ 3599 w 10785"/>
                  <a:gd name="connsiteY1652" fmla="*/ 2598 h 10000"/>
                  <a:gd name="connsiteX1653" fmla="*/ 3604 w 10785"/>
                  <a:gd name="connsiteY1653" fmla="*/ 2632 h 10000"/>
                  <a:gd name="connsiteX1654" fmla="*/ 3599 w 10785"/>
                  <a:gd name="connsiteY1654" fmla="*/ 2658 h 10000"/>
                  <a:gd name="connsiteX1655" fmla="*/ 3590 w 10785"/>
                  <a:gd name="connsiteY1655" fmla="*/ 2667 h 10000"/>
                  <a:gd name="connsiteX1656" fmla="*/ 3604 w 10785"/>
                  <a:gd name="connsiteY1656" fmla="*/ 2667 h 10000"/>
                  <a:gd name="connsiteX1657" fmla="*/ 3613 w 10785"/>
                  <a:gd name="connsiteY1657" fmla="*/ 2692 h 10000"/>
                  <a:gd name="connsiteX1658" fmla="*/ 3627 w 10785"/>
                  <a:gd name="connsiteY1658" fmla="*/ 2735 h 10000"/>
                  <a:gd name="connsiteX1659" fmla="*/ 3631 w 10785"/>
                  <a:gd name="connsiteY1659" fmla="*/ 2744 h 10000"/>
                  <a:gd name="connsiteX1660" fmla="*/ 3659 w 10785"/>
                  <a:gd name="connsiteY1660" fmla="*/ 2761 h 10000"/>
                  <a:gd name="connsiteX1661" fmla="*/ 3673 w 10785"/>
                  <a:gd name="connsiteY1661" fmla="*/ 2769 h 10000"/>
                  <a:gd name="connsiteX1662" fmla="*/ 3673 w 10785"/>
                  <a:gd name="connsiteY1662" fmla="*/ 2761 h 10000"/>
                  <a:gd name="connsiteX1663" fmla="*/ 3687 w 10785"/>
                  <a:gd name="connsiteY1663" fmla="*/ 2829 h 10000"/>
                  <a:gd name="connsiteX1664" fmla="*/ 3677 w 10785"/>
                  <a:gd name="connsiteY1664" fmla="*/ 2897 h 10000"/>
                  <a:gd name="connsiteX1665" fmla="*/ 3673 w 10785"/>
                  <a:gd name="connsiteY1665" fmla="*/ 2915 h 10000"/>
                  <a:gd name="connsiteX1666" fmla="*/ 3664 w 10785"/>
                  <a:gd name="connsiteY1666" fmla="*/ 2957 h 10000"/>
                  <a:gd name="connsiteX1667" fmla="*/ 3659 w 10785"/>
                  <a:gd name="connsiteY1667" fmla="*/ 2983 h 10000"/>
                  <a:gd name="connsiteX1668" fmla="*/ 3664 w 10785"/>
                  <a:gd name="connsiteY1668" fmla="*/ 3017 h 10000"/>
                  <a:gd name="connsiteX1669" fmla="*/ 3659 w 10785"/>
                  <a:gd name="connsiteY1669" fmla="*/ 3043 h 10000"/>
                  <a:gd name="connsiteX1670" fmla="*/ 3677 w 10785"/>
                  <a:gd name="connsiteY1670" fmla="*/ 3094 h 10000"/>
                  <a:gd name="connsiteX1671" fmla="*/ 3691 w 10785"/>
                  <a:gd name="connsiteY1671" fmla="*/ 3282 h 10000"/>
                  <a:gd name="connsiteX1672" fmla="*/ 3691 w 10785"/>
                  <a:gd name="connsiteY1672" fmla="*/ 3308 h 10000"/>
                  <a:gd name="connsiteX1673" fmla="*/ 3677 w 10785"/>
                  <a:gd name="connsiteY1673" fmla="*/ 3342 h 10000"/>
                  <a:gd name="connsiteX1674" fmla="*/ 3664 w 10785"/>
                  <a:gd name="connsiteY1674" fmla="*/ 3342 h 10000"/>
                  <a:gd name="connsiteX1675" fmla="*/ 3650 w 10785"/>
                  <a:gd name="connsiteY1675" fmla="*/ 3342 h 10000"/>
                  <a:gd name="connsiteX1676" fmla="*/ 3650 w 10785"/>
                  <a:gd name="connsiteY1676" fmla="*/ 3350 h 10000"/>
                  <a:gd name="connsiteX1677" fmla="*/ 3659 w 10785"/>
                  <a:gd name="connsiteY1677" fmla="*/ 3402 h 10000"/>
                  <a:gd name="connsiteX1678" fmla="*/ 3659 w 10785"/>
                  <a:gd name="connsiteY1678" fmla="*/ 3419 h 10000"/>
                  <a:gd name="connsiteX1679" fmla="*/ 3631 w 10785"/>
                  <a:gd name="connsiteY1679" fmla="*/ 3402 h 10000"/>
                  <a:gd name="connsiteX1680" fmla="*/ 3604 w 10785"/>
                  <a:gd name="connsiteY1680" fmla="*/ 3393 h 10000"/>
                  <a:gd name="connsiteX1681" fmla="*/ 3599 w 10785"/>
                  <a:gd name="connsiteY1681" fmla="*/ 3368 h 10000"/>
                  <a:gd name="connsiteX1682" fmla="*/ 3590 w 10785"/>
                  <a:gd name="connsiteY1682" fmla="*/ 3239 h 10000"/>
                  <a:gd name="connsiteX1683" fmla="*/ 3599 w 10785"/>
                  <a:gd name="connsiteY1683" fmla="*/ 3179 h 10000"/>
                  <a:gd name="connsiteX1684" fmla="*/ 3599 w 10785"/>
                  <a:gd name="connsiteY1684" fmla="*/ 3171 h 10000"/>
                  <a:gd name="connsiteX1685" fmla="*/ 3599 w 10785"/>
                  <a:gd name="connsiteY1685" fmla="*/ 3009 h 10000"/>
                  <a:gd name="connsiteX1686" fmla="*/ 3604 w 10785"/>
                  <a:gd name="connsiteY1686" fmla="*/ 2983 h 10000"/>
                  <a:gd name="connsiteX1687" fmla="*/ 3645 w 10785"/>
                  <a:gd name="connsiteY1687" fmla="*/ 2932 h 10000"/>
                  <a:gd name="connsiteX1688" fmla="*/ 3650 w 10785"/>
                  <a:gd name="connsiteY1688" fmla="*/ 2872 h 10000"/>
                  <a:gd name="connsiteX1689" fmla="*/ 3659 w 10785"/>
                  <a:gd name="connsiteY1689" fmla="*/ 2855 h 10000"/>
                  <a:gd name="connsiteX1690" fmla="*/ 3659 w 10785"/>
                  <a:gd name="connsiteY1690" fmla="*/ 2821 h 10000"/>
                  <a:gd name="connsiteX1691" fmla="*/ 3631 w 10785"/>
                  <a:gd name="connsiteY1691" fmla="*/ 2795 h 10000"/>
                  <a:gd name="connsiteX1692" fmla="*/ 3567 w 10785"/>
                  <a:gd name="connsiteY1692" fmla="*/ 2821 h 10000"/>
                  <a:gd name="connsiteX1693" fmla="*/ 3544 w 10785"/>
                  <a:gd name="connsiteY1693" fmla="*/ 2795 h 10000"/>
                  <a:gd name="connsiteX1694" fmla="*/ 3530 w 10785"/>
                  <a:gd name="connsiteY1694" fmla="*/ 2769 h 10000"/>
                  <a:gd name="connsiteX1695" fmla="*/ 3530 w 10785"/>
                  <a:gd name="connsiteY1695" fmla="*/ 2786 h 10000"/>
                  <a:gd name="connsiteX1696" fmla="*/ 3498 w 10785"/>
                  <a:gd name="connsiteY1696" fmla="*/ 2692 h 10000"/>
                  <a:gd name="connsiteX1697" fmla="*/ 3498 w 10785"/>
                  <a:gd name="connsiteY1697" fmla="*/ 2667 h 10000"/>
                  <a:gd name="connsiteX1698" fmla="*/ 3442 w 10785"/>
                  <a:gd name="connsiteY1698" fmla="*/ 2607 h 10000"/>
                  <a:gd name="connsiteX1699" fmla="*/ 3433 w 10785"/>
                  <a:gd name="connsiteY1699" fmla="*/ 2581 h 10000"/>
                  <a:gd name="connsiteX1700" fmla="*/ 3396 w 10785"/>
                  <a:gd name="connsiteY1700" fmla="*/ 2556 h 10000"/>
                  <a:gd name="connsiteX1701" fmla="*/ 3318 w 10785"/>
                  <a:gd name="connsiteY1701" fmla="*/ 2556 h 10000"/>
                  <a:gd name="connsiteX1702" fmla="*/ 3304 w 10785"/>
                  <a:gd name="connsiteY1702" fmla="*/ 2607 h 10000"/>
                  <a:gd name="connsiteX1703" fmla="*/ 3276 w 10785"/>
                  <a:gd name="connsiteY1703" fmla="*/ 2632 h 10000"/>
                  <a:gd name="connsiteX1704" fmla="*/ 3272 w 10785"/>
                  <a:gd name="connsiteY1704" fmla="*/ 2667 h 10000"/>
                  <a:gd name="connsiteX1705" fmla="*/ 3304 w 10785"/>
                  <a:gd name="connsiteY1705" fmla="*/ 2667 h 10000"/>
                  <a:gd name="connsiteX1706" fmla="*/ 3323 w 10785"/>
                  <a:gd name="connsiteY1706" fmla="*/ 2692 h 10000"/>
                  <a:gd name="connsiteX1707" fmla="*/ 3318 w 10785"/>
                  <a:gd name="connsiteY1707" fmla="*/ 2735 h 10000"/>
                  <a:gd name="connsiteX1708" fmla="*/ 3304 w 10785"/>
                  <a:gd name="connsiteY1708" fmla="*/ 2761 h 10000"/>
                  <a:gd name="connsiteX1709" fmla="*/ 3276 w 10785"/>
                  <a:gd name="connsiteY1709" fmla="*/ 2769 h 10000"/>
                  <a:gd name="connsiteX1710" fmla="*/ 3263 w 10785"/>
                  <a:gd name="connsiteY1710" fmla="*/ 2795 h 10000"/>
                  <a:gd name="connsiteX1711" fmla="*/ 3235 w 10785"/>
                  <a:gd name="connsiteY1711" fmla="*/ 2803 h 10000"/>
                  <a:gd name="connsiteX1712" fmla="*/ 3235 w 10785"/>
                  <a:gd name="connsiteY1712" fmla="*/ 2786 h 10000"/>
                  <a:gd name="connsiteX1713" fmla="*/ 3212 w 10785"/>
                  <a:gd name="connsiteY1713" fmla="*/ 2709 h 10000"/>
                  <a:gd name="connsiteX1714" fmla="*/ 3198 w 10785"/>
                  <a:gd name="connsiteY1714" fmla="*/ 2709 h 10000"/>
                  <a:gd name="connsiteX1715" fmla="*/ 3184 w 10785"/>
                  <a:gd name="connsiteY1715" fmla="*/ 2735 h 10000"/>
                  <a:gd name="connsiteX1716" fmla="*/ 3189 w 10785"/>
                  <a:gd name="connsiteY1716" fmla="*/ 2761 h 10000"/>
                  <a:gd name="connsiteX1717" fmla="*/ 3203 w 10785"/>
                  <a:gd name="connsiteY1717" fmla="*/ 2855 h 10000"/>
                  <a:gd name="connsiteX1718" fmla="*/ 3212 w 10785"/>
                  <a:gd name="connsiteY1718" fmla="*/ 2872 h 10000"/>
                  <a:gd name="connsiteX1719" fmla="*/ 3235 w 10785"/>
                  <a:gd name="connsiteY1719" fmla="*/ 2906 h 10000"/>
                  <a:gd name="connsiteX1720" fmla="*/ 3258 w 10785"/>
                  <a:gd name="connsiteY1720" fmla="*/ 2915 h 10000"/>
                  <a:gd name="connsiteX1721" fmla="*/ 3272 w 10785"/>
                  <a:gd name="connsiteY1721" fmla="*/ 2957 h 10000"/>
                  <a:gd name="connsiteX1722" fmla="*/ 3276 w 10785"/>
                  <a:gd name="connsiteY1722" fmla="*/ 2957 h 10000"/>
                  <a:gd name="connsiteX1723" fmla="*/ 3286 w 10785"/>
                  <a:gd name="connsiteY1723" fmla="*/ 2966 h 10000"/>
                  <a:gd name="connsiteX1724" fmla="*/ 3300 w 10785"/>
                  <a:gd name="connsiteY1724" fmla="*/ 2957 h 10000"/>
                  <a:gd name="connsiteX1725" fmla="*/ 3309 w 10785"/>
                  <a:gd name="connsiteY1725" fmla="*/ 2932 h 10000"/>
                  <a:gd name="connsiteX1726" fmla="*/ 3304 w 10785"/>
                  <a:gd name="connsiteY1726" fmla="*/ 2966 h 10000"/>
                  <a:gd name="connsiteX1727" fmla="*/ 3309 w 10785"/>
                  <a:gd name="connsiteY1727" fmla="*/ 2983 h 10000"/>
                  <a:gd name="connsiteX1728" fmla="*/ 3323 w 10785"/>
                  <a:gd name="connsiteY1728" fmla="*/ 2966 h 10000"/>
                  <a:gd name="connsiteX1729" fmla="*/ 3323 w 10785"/>
                  <a:gd name="connsiteY1729" fmla="*/ 3043 h 10000"/>
                  <a:gd name="connsiteX1730" fmla="*/ 3346 w 10785"/>
                  <a:gd name="connsiteY1730" fmla="*/ 3068 h 10000"/>
                  <a:gd name="connsiteX1731" fmla="*/ 3346 w 10785"/>
                  <a:gd name="connsiteY1731" fmla="*/ 3094 h 10000"/>
                  <a:gd name="connsiteX1732" fmla="*/ 3323 w 10785"/>
                  <a:gd name="connsiteY1732" fmla="*/ 3094 h 10000"/>
                  <a:gd name="connsiteX1733" fmla="*/ 3309 w 10785"/>
                  <a:gd name="connsiteY1733" fmla="*/ 3077 h 10000"/>
                  <a:gd name="connsiteX1734" fmla="*/ 3304 w 10785"/>
                  <a:gd name="connsiteY1734" fmla="*/ 3051 h 10000"/>
                  <a:gd name="connsiteX1735" fmla="*/ 3300 w 10785"/>
                  <a:gd name="connsiteY1735" fmla="*/ 3043 h 10000"/>
                  <a:gd name="connsiteX1736" fmla="*/ 3286 w 10785"/>
                  <a:gd name="connsiteY1736" fmla="*/ 3017 h 10000"/>
                  <a:gd name="connsiteX1737" fmla="*/ 3152 w 10785"/>
                  <a:gd name="connsiteY1737" fmla="*/ 2966 h 10000"/>
                  <a:gd name="connsiteX1738" fmla="*/ 3129 w 10785"/>
                  <a:gd name="connsiteY1738" fmla="*/ 2915 h 10000"/>
                  <a:gd name="connsiteX1739" fmla="*/ 3129 w 10785"/>
                  <a:gd name="connsiteY1739" fmla="*/ 2906 h 10000"/>
                  <a:gd name="connsiteX1740" fmla="*/ 3152 w 10785"/>
                  <a:gd name="connsiteY1740" fmla="*/ 2906 h 10000"/>
                  <a:gd name="connsiteX1741" fmla="*/ 3152 w 10785"/>
                  <a:gd name="connsiteY1741" fmla="*/ 2846 h 10000"/>
                  <a:gd name="connsiteX1742" fmla="*/ 3138 w 10785"/>
                  <a:gd name="connsiteY1742" fmla="*/ 2795 h 10000"/>
                  <a:gd name="connsiteX1743" fmla="*/ 3138 w 10785"/>
                  <a:gd name="connsiteY1743" fmla="*/ 2769 h 10000"/>
                  <a:gd name="connsiteX1744" fmla="*/ 3143 w 10785"/>
                  <a:gd name="connsiteY1744" fmla="*/ 2718 h 10000"/>
                  <a:gd name="connsiteX1745" fmla="*/ 3129 w 10785"/>
                  <a:gd name="connsiteY1745" fmla="*/ 2692 h 10000"/>
                  <a:gd name="connsiteX1746" fmla="*/ 3143 w 10785"/>
                  <a:gd name="connsiteY1746" fmla="*/ 2667 h 10000"/>
                  <a:gd name="connsiteX1747" fmla="*/ 3157 w 10785"/>
                  <a:gd name="connsiteY1747" fmla="*/ 2581 h 10000"/>
                  <a:gd name="connsiteX1748" fmla="*/ 3143 w 10785"/>
                  <a:gd name="connsiteY1748" fmla="*/ 2496 h 10000"/>
                  <a:gd name="connsiteX1749" fmla="*/ 3157 w 10785"/>
                  <a:gd name="connsiteY1749" fmla="*/ 2487 h 10000"/>
                  <a:gd name="connsiteX1750" fmla="*/ 3143 w 10785"/>
                  <a:gd name="connsiteY1750" fmla="*/ 2444 h 10000"/>
                  <a:gd name="connsiteX1751" fmla="*/ 3143 w 10785"/>
                  <a:gd name="connsiteY1751" fmla="*/ 2419 h 10000"/>
                  <a:gd name="connsiteX1752" fmla="*/ 3143 w 10785"/>
                  <a:gd name="connsiteY1752" fmla="*/ 2410 h 10000"/>
                  <a:gd name="connsiteX1753" fmla="*/ 3124 w 10785"/>
                  <a:gd name="connsiteY1753" fmla="*/ 2376 h 10000"/>
                  <a:gd name="connsiteX1754" fmla="*/ 3115 w 10785"/>
                  <a:gd name="connsiteY1754" fmla="*/ 2350 h 10000"/>
                  <a:gd name="connsiteX1755" fmla="*/ 3101 w 10785"/>
                  <a:gd name="connsiteY1755" fmla="*/ 2359 h 10000"/>
                  <a:gd name="connsiteX1756" fmla="*/ 3115 w 10785"/>
                  <a:gd name="connsiteY1756" fmla="*/ 2581 h 10000"/>
                  <a:gd name="connsiteX1757" fmla="*/ 3111 w 10785"/>
                  <a:gd name="connsiteY1757" fmla="*/ 2624 h 10000"/>
                  <a:gd name="connsiteX1758" fmla="*/ 3009 w 10785"/>
                  <a:gd name="connsiteY1758" fmla="*/ 2761 h 10000"/>
                  <a:gd name="connsiteX1759" fmla="*/ 3009 w 10785"/>
                  <a:gd name="connsiteY1759" fmla="*/ 2803 h 10000"/>
                  <a:gd name="connsiteX1760" fmla="*/ 3005 w 10785"/>
                  <a:gd name="connsiteY1760" fmla="*/ 2829 h 10000"/>
                  <a:gd name="connsiteX1761" fmla="*/ 2982 w 10785"/>
                  <a:gd name="connsiteY1761" fmla="*/ 2872 h 10000"/>
                  <a:gd name="connsiteX1762" fmla="*/ 2982 w 10785"/>
                  <a:gd name="connsiteY1762" fmla="*/ 2880 h 10000"/>
                  <a:gd name="connsiteX1763" fmla="*/ 3037 w 10785"/>
                  <a:gd name="connsiteY1763" fmla="*/ 3034 h 10000"/>
                  <a:gd name="connsiteX1764" fmla="*/ 3041 w 10785"/>
                  <a:gd name="connsiteY1764" fmla="*/ 3103 h 10000"/>
                  <a:gd name="connsiteX1765" fmla="*/ 3069 w 10785"/>
                  <a:gd name="connsiteY1765" fmla="*/ 3188 h 10000"/>
                  <a:gd name="connsiteX1766" fmla="*/ 3055 w 10785"/>
                  <a:gd name="connsiteY1766" fmla="*/ 3325 h 10000"/>
                  <a:gd name="connsiteX1767" fmla="*/ 3037 w 10785"/>
                  <a:gd name="connsiteY1767" fmla="*/ 3368 h 10000"/>
                  <a:gd name="connsiteX1768" fmla="*/ 3037 w 10785"/>
                  <a:gd name="connsiteY1768" fmla="*/ 3444 h 10000"/>
                  <a:gd name="connsiteX1769" fmla="*/ 3028 w 10785"/>
                  <a:gd name="connsiteY1769" fmla="*/ 3453 h 10000"/>
                  <a:gd name="connsiteX1770" fmla="*/ 3023 w 10785"/>
                  <a:gd name="connsiteY1770" fmla="*/ 3530 h 10000"/>
                  <a:gd name="connsiteX1771" fmla="*/ 3051 w 10785"/>
                  <a:gd name="connsiteY1771" fmla="*/ 3624 h 10000"/>
                  <a:gd name="connsiteX1772" fmla="*/ 3037 w 10785"/>
                  <a:gd name="connsiteY1772" fmla="*/ 3718 h 10000"/>
                  <a:gd name="connsiteX1773" fmla="*/ 3041 w 10785"/>
                  <a:gd name="connsiteY1773" fmla="*/ 3752 h 10000"/>
                  <a:gd name="connsiteX1774" fmla="*/ 3055 w 10785"/>
                  <a:gd name="connsiteY1774" fmla="*/ 3761 h 10000"/>
                  <a:gd name="connsiteX1775" fmla="*/ 3078 w 10785"/>
                  <a:gd name="connsiteY1775" fmla="*/ 3752 h 10000"/>
                  <a:gd name="connsiteX1776" fmla="*/ 3092 w 10785"/>
                  <a:gd name="connsiteY1776" fmla="*/ 3752 h 10000"/>
                  <a:gd name="connsiteX1777" fmla="*/ 3129 w 10785"/>
                  <a:gd name="connsiteY1777" fmla="*/ 3761 h 10000"/>
                  <a:gd name="connsiteX1778" fmla="*/ 3129 w 10785"/>
                  <a:gd name="connsiteY1778" fmla="*/ 3735 h 10000"/>
                  <a:gd name="connsiteX1779" fmla="*/ 3157 w 10785"/>
                  <a:gd name="connsiteY1779" fmla="*/ 3718 h 10000"/>
                  <a:gd name="connsiteX1780" fmla="*/ 3184 w 10785"/>
                  <a:gd name="connsiteY1780" fmla="*/ 3718 h 10000"/>
                  <a:gd name="connsiteX1781" fmla="*/ 3290 w 10785"/>
                  <a:gd name="connsiteY1781" fmla="*/ 3838 h 10000"/>
                  <a:gd name="connsiteX1782" fmla="*/ 3300 w 10785"/>
                  <a:gd name="connsiteY1782" fmla="*/ 3846 h 10000"/>
                  <a:gd name="connsiteX1783" fmla="*/ 3300 w 10785"/>
                  <a:gd name="connsiteY1783" fmla="*/ 3915 h 10000"/>
                  <a:gd name="connsiteX1784" fmla="*/ 3318 w 10785"/>
                  <a:gd name="connsiteY1784" fmla="*/ 4000 h 10000"/>
                  <a:gd name="connsiteX1785" fmla="*/ 3323 w 10785"/>
                  <a:gd name="connsiteY1785" fmla="*/ 4000 h 10000"/>
                  <a:gd name="connsiteX1786" fmla="*/ 3323 w 10785"/>
                  <a:gd name="connsiteY1786" fmla="*/ 4034 h 10000"/>
                  <a:gd name="connsiteX1787" fmla="*/ 3318 w 10785"/>
                  <a:gd name="connsiteY1787" fmla="*/ 4051 h 10000"/>
                  <a:gd name="connsiteX1788" fmla="*/ 3300 w 10785"/>
                  <a:gd name="connsiteY1788" fmla="*/ 4051 h 10000"/>
                  <a:gd name="connsiteX1789" fmla="*/ 3290 w 10785"/>
                  <a:gd name="connsiteY1789" fmla="*/ 4077 h 10000"/>
                  <a:gd name="connsiteX1790" fmla="*/ 3286 w 10785"/>
                  <a:gd name="connsiteY1790" fmla="*/ 4103 h 10000"/>
                  <a:gd name="connsiteX1791" fmla="*/ 3286 w 10785"/>
                  <a:gd name="connsiteY1791" fmla="*/ 4197 h 10000"/>
                  <a:gd name="connsiteX1792" fmla="*/ 3290 w 10785"/>
                  <a:gd name="connsiteY1792" fmla="*/ 4214 h 10000"/>
                  <a:gd name="connsiteX1793" fmla="*/ 3304 w 10785"/>
                  <a:gd name="connsiteY1793" fmla="*/ 4214 h 10000"/>
                  <a:gd name="connsiteX1794" fmla="*/ 3323 w 10785"/>
                  <a:gd name="connsiteY1794" fmla="*/ 4239 h 10000"/>
                  <a:gd name="connsiteX1795" fmla="*/ 3350 w 10785"/>
                  <a:gd name="connsiteY1795" fmla="*/ 4222 h 10000"/>
                  <a:gd name="connsiteX1796" fmla="*/ 3369 w 10785"/>
                  <a:gd name="connsiteY1796" fmla="*/ 4256 h 10000"/>
                  <a:gd name="connsiteX1797" fmla="*/ 3369 w 10785"/>
                  <a:gd name="connsiteY1797" fmla="*/ 4256 h 10000"/>
                  <a:gd name="connsiteX1798" fmla="*/ 3336 w 10785"/>
                  <a:gd name="connsiteY1798" fmla="*/ 4274 h 10000"/>
                  <a:gd name="connsiteX1799" fmla="*/ 3323 w 10785"/>
                  <a:gd name="connsiteY1799" fmla="*/ 4274 h 10000"/>
                  <a:gd name="connsiteX1800" fmla="*/ 3290 w 10785"/>
                  <a:gd name="connsiteY1800" fmla="*/ 4274 h 10000"/>
                  <a:gd name="connsiteX1801" fmla="*/ 3286 w 10785"/>
                  <a:gd name="connsiteY1801" fmla="*/ 4239 h 10000"/>
                  <a:gd name="connsiteX1802" fmla="*/ 3263 w 10785"/>
                  <a:gd name="connsiteY1802" fmla="*/ 4214 h 10000"/>
                  <a:gd name="connsiteX1803" fmla="*/ 3258 w 10785"/>
                  <a:gd name="connsiteY1803" fmla="*/ 4188 h 10000"/>
                  <a:gd name="connsiteX1804" fmla="*/ 3263 w 10785"/>
                  <a:gd name="connsiteY1804" fmla="*/ 4171 h 10000"/>
                  <a:gd name="connsiteX1805" fmla="*/ 3263 w 10785"/>
                  <a:gd name="connsiteY1805" fmla="*/ 4103 h 10000"/>
                  <a:gd name="connsiteX1806" fmla="*/ 3276 w 10785"/>
                  <a:gd name="connsiteY1806" fmla="*/ 4060 h 10000"/>
                  <a:gd name="connsiteX1807" fmla="*/ 3272 w 10785"/>
                  <a:gd name="connsiteY1807" fmla="*/ 4051 h 10000"/>
                  <a:gd name="connsiteX1808" fmla="*/ 3263 w 10785"/>
                  <a:gd name="connsiteY1808" fmla="*/ 4051 h 10000"/>
                  <a:gd name="connsiteX1809" fmla="*/ 3263 w 10785"/>
                  <a:gd name="connsiteY1809" fmla="*/ 4034 h 10000"/>
                  <a:gd name="connsiteX1810" fmla="*/ 3263 w 10785"/>
                  <a:gd name="connsiteY1810" fmla="*/ 4000 h 10000"/>
                  <a:gd name="connsiteX1811" fmla="*/ 3272 w 10785"/>
                  <a:gd name="connsiteY1811" fmla="*/ 4000 h 10000"/>
                  <a:gd name="connsiteX1812" fmla="*/ 3272 w 10785"/>
                  <a:gd name="connsiteY1812" fmla="*/ 3974 h 10000"/>
                  <a:gd name="connsiteX1813" fmla="*/ 3272 w 10785"/>
                  <a:gd name="connsiteY1813" fmla="*/ 3966 h 10000"/>
                  <a:gd name="connsiteX1814" fmla="*/ 3272 w 10785"/>
                  <a:gd name="connsiteY1814" fmla="*/ 3949 h 10000"/>
                  <a:gd name="connsiteX1815" fmla="*/ 3258 w 10785"/>
                  <a:gd name="connsiteY1815" fmla="*/ 3923 h 10000"/>
                  <a:gd name="connsiteX1816" fmla="*/ 3249 w 10785"/>
                  <a:gd name="connsiteY1816" fmla="*/ 3915 h 10000"/>
                  <a:gd name="connsiteX1817" fmla="*/ 3244 w 10785"/>
                  <a:gd name="connsiteY1817" fmla="*/ 3897 h 10000"/>
                  <a:gd name="connsiteX1818" fmla="*/ 3230 w 10785"/>
                  <a:gd name="connsiteY1818" fmla="*/ 3889 h 10000"/>
                  <a:gd name="connsiteX1819" fmla="*/ 3230 w 10785"/>
                  <a:gd name="connsiteY1819" fmla="*/ 3863 h 10000"/>
                  <a:gd name="connsiteX1820" fmla="*/ 3230 w 10785"/>
                  <a:gd name="connsiteY1820" fmla="*/ 3838 h 10000"/>
                  <a:gd name="connsiteX1821" fmla="*/ 3226 w 10785"/>
                  <a:gd name="connsiteY1821" fmla="*/ 3803 h 10000"/>
                  <a:gd name="connsiteX1822" fmla="*/ 3138 w 10785"/>
                  <a:gd name="connsiteY1822" fmla="*/ 3838 h 10000"/>
                  <a:gd name="connsiteX1823" fmla="*/ 3078 w 10785"/>
                  <a:gd name="connsiteY1823" fmla="*/ 3889 h 10000"/>
                  <a:gd name="connsiteX1824" fmla="*/ 3078 w 10785"/>
                  <a:gd name="connsiteY1824" fmla="*/ 3940 h 10000"/>
                  <a:gd name="connsiteX1825" fmla="*/ 3069 w 10785"/>
                  <a:gd name="connsiteY1825" fmla="*/ 3983 h 10000"/>
                  <a:gd name="connsiteX1826" fmla="*/ 3069 w 10785"/>
                  <a:gd name="connsiteY1826" fmla="*/ 4009 h 10000"/>
                  <a:gd name="connsiteX1827" fmla="*/ 3078 w 10785"/>
                  <a:gd name="connsiteY1827" fmla="*/ 4026 h 10000"/>
                  <a:gd name="connsiteX1828" fmla="*/ 3083 w 10785"/>
                  <a:gd name="connsiteY1828" fmla="*/ 4034 h 10000"/>
                  <a:gd name="connsiteX1829" fmla="*/ 3092 w 10785"/>
                  <a:gd name="connsiteY1829" fmla="*/ 4060 h 10000"/>
                  <a:gd name="connsiteX1830" fmla="*/ 3092 w 10785"/>
                  <a:gd name="connsiteY1830" fmla="*/ 4077 h 10000"/>
                  <a:gd name="connsiteX1831" fmla="*/ 3097 w 10785"/>
                  <a:gd name="connsiteY1831" fmla="*/ 4103 h 10000"/>
                  <a:gd name="connsiteX1832" fmla="*/ 3101 w 10785"/>
                  <a:gd name="connsiteY1832" fmla="*/ 4162 h 10000"/>
                  <a:gd name="connsiteX1833" fmla="*/ 3097 w 10785"/>
                  <a:gd name="connsiteY1833" fmla="*/ 4222 h 10000"/>
                  <a:gd name="connsiteX1834" fmla="*/ 3041 w 10785"/>
                  <a:gd name="connsiteY1834" fmla="*/ 4325 h 10000"/>
                  <a:gd name="connsiteX1835" fmla="*/ 3037 w 10785"/>
                  <a:gd name="connsiteY1835" fmla="*/ 4419 h 10000"/>
                  <a:gd name="connsiteX1836" fmla="*/ 3018 w 10785"/>
                  <a:gd name="connsiteY1836" fmla="*/ 4470 h 10000"/>
                  <a:gd name="connsiteX1837" fmla="*/ 2991 w 10785"/>
                  <a:gd name="connsiteY1837" fmla="*/ 4513 h 10000"/>
                  <a:gd name="connsiteX1838" fmla="*/ 2977 w 10785"/>
                  <a:gd name="connsiteY1838" fmla="*/ 4530 h 10000"/>
                  <a:gd name="connsiteX1839" fmla="*/ 2945 w 10785"/>
                  <a:gd name="connsiteY1839" fmla="*/ 4556 h 10000"/>
                  <a:gd name="connsiteX1840" fmla="*/ 2935 w 10785"/>
                  <a:gd name="connsiteY1840" fmla="*/ 4581 h 10000"/>
                  <a:gd name="connsiteX1841" fmla="*/ 2949 w 10785"/>
                  <a:gd name="connsiteY1841" fmla="*/ 4624 h 10000"/>
                  <a:gd name="connsiteX1842" fmla="*/ 2945 w 10785"/>
                  <a:gd name="connsiteY1842" fmla="*/ 4658 h 10000"/>
                  <a:gd name="connsiteX1843" fmla="*/ 2922 w 10785"/>
                  <a:gd name="connsiteY1843" fmla="*/ 4667 h 10000"/>
                  <a:gd name="connsiteX1844" fmla="*/ 2876 w 10785"/>
                  <a:gd name="connsiteY1844" fmla="*/ 4632 h 10000"/>
                  <a:gd name="connsiteX1845" fmla="*/ 2857 w 10785"/>
                  <a:gd name="connsiteY1845" fmla="*/ 4632 h 10000"/>
                  <a:gd name="connsiteX1846" fmla="*/ 2820 w 10785"/>
                  <a:gd name="connsiteY1846" fmla="*/ 4641 h 10000"/>
                  <a:gd name="connsiteX1847" fmla="*/ 2797 w 10785"/>
                  <a:gd name="connsiteY1847" fmla="*/ 4632 h 10000"/>
                  <a:gd name="connsiteX1848" fmla="*/ 2788 w 10785"/>
                  <a:gd name="connsiteY1848" fmla="*/ 4624 h 10000"/>
                  <a:gd name="connsiteX1849" fmla="*/ 2788 w 10785"/>
                  <a:gd name="connsiteY1849" fmla="*/ 4598 h 10000"/>
                  <a:gd name="connsiteX1850" fmla="*/ 2797 w 10785"/>
                  <a:gd name="connsiteY1850" fmla="*/ 4581 h 10000"/>
                  <a:gd name="connsiteX1851" fmla="*/ 2788 w 10785"/>
                  <a:gd name="connsiteY1851" fmla="*/ 4530 h 10000"/>
                  <a:gd name="connsiteX1852" fmla="*/ 2774 w 10785"/>
                  <a:gd name="connsiteY1852" fmla="*/ 4530 h 10000"/>
                  <a:gd name="connsiteX1853" fmla="*/ 2770 w 10785"/>
                  <a:gd name="connsiteY1853" fmla="*/ 4513 h 10000"/>
                  <a:gd name="connsiteX1854" fmla="*/ 2774 w 10785"/>
                  <a:gd name="connsiteY1854" fmla="*/ 4513 h 10000"/>
                  <a:gd name="connsiteX1855" fmla="*/ 2788 w 10785"/>
                  <a:gd name="connsiteY1855" fmla="*/ 4496 h 10000"/>
                  <a:gd name="connsiteX1856" fmla="*/ 2802 w 10785"/>
                  <a:gd name="connsiteY1856" fmla="*/ 4513 h 10000"/>
                  <a:gd name="connsiteX1857" fmla="*/ 2811 w 10785"/>
                  <a:gd name="connsiteY1857" fmla="*/ 4530 h 10000"/>
                  <a:gd name="connsiteX1858" fmla="*/ 2820 w 10785"/>
                  <a:gd name="connsiteY1858" fmla="*/ 4521 h 10000"/>
                  <a:gd name="connsiteX1859" fmla="*/ 2829 w 10785"/>
                  <a:gd name="connsiteY1859" fmla="*/ 4513 h 10000"/>
                  <a:gd name="connsiteX1860" fmla="*/ 2843 w 10785"/>
                  <a:gd name="connsiteY1860" fmla="*/ 4513 h 10000"/>
                  <a:gd name="connsiteX1861" fmla="*/ 2848 w 10785"/>
                  <a:gd name="connsiteY1861" fmla="*/ 4470 h 10000"/>
                  <a:gd name="connsiteX1862" fmla="*/ 2862 w 10785"/>
                  <a:gd name="connsiteY1862" fmla="*/ 4487 h 10000"/>
                  <a:gd name="connsiteX1863" fmla="*/ 2876 w 10785"/>
                  <a:gd name="connsiteY1863" fmla="*/ 4470 h 10000"/>
                  <a:gd name="connsiteX1864" fmla="*/ 2880 w 10785"/>
                  <a:gd name="connsiteY1864" fmla="*/ 4462 h 10000"/>
                  <a:gd name="connsiteX1865" fmla="*/ 2889 w 10785"/>
                  <a:gd name="connsiteY1865" fmla="*/ 4444 h 10000"/>
                  <a:gd name="connsiteX1866" fmla="*/ 2894 w 10785"/>
                  <a:gd name="connsiteY1866" fmla="*/ 4462 h 10000"/>
                  <a:gd name="connsiteX1867" fmla="*/ 2917 w 10785"/>
                  <a:gd name="connsiteY1867" fmla="*/ 4444 h 10000"/>
                  <a:gd name="connsiteX1868" fmla="*/ 2922 w 10785"/>
                  <a:gd name="connsiteY1868" fmla="*/ 4436 h 10000"/>
                  <a:gd name="connsiteX1869" fmla="*/ 2917 w 10785"/>
                  <a:gd name="connsiteY1869" fmla="*/ 4410 h 10000"/>
                  <a:gd name="connsiteX1870" fmla="*/ 2894 w 10785"/>
                  <a:gd name="connsiteY1870" fmla="*/ 4410 h 10000"/>
                  <a:gd name="connsiteX1871" fmla="*/ 2889 w 10785"/>
                  <a:gd name="connsiteY1871" fmla="*/ 4419 h 10000"/>
                  <a:gd name="connsiteX1872" fmla="*/ 2876 w 10785"/>
                  <a:gd name="connsiteY1872" fmla="*/ 4410 h 10000"/>
                  <a:gd name="connsiteX1873" fmla="*/ 2880 w 10785"/>
                  <a:gd name="connsiteY1873" fmla="*/ 4376 h 10000"/>
                  <a:gd name="connsiteX1874" fmla="*/ 2903 w 10785"/>
                  <a:gd name="connsiteY1874" fmla="*/ 4393 h 10000"/>
                  <a:gd name="connsiteX1875" fmla="*/ 2931 w 10785"/>
                  <a:gd name="connsiteY1875" fmla="*/ 4393 h 10000"/>
                  <a:gd name="connsiteX1876" fmla="*/ 2931 w 10785"/>
                  <a:gd name="connsiteY1876" fmla="*/ 4385 h 10000"/>
                  <a:gd name="connsiteX1877" fmla="*/ 2931 w 10785"/>
                  <a:gd name="connsiteY1877" fmla="*/ 4350 h 10000"/>
                  <a:gd name="connsiteX1878" fmla="*/ 2945 w 10785"/>
                  <a:gd name="connsiteY1878" fmla="*/ 4350 h 10000"/>
                  <a:gd name="connsiteX1879" fmla="*/ 2949 w 10785"/>
                  <a:gd name="connsiteY1879" fmla="*/ 4325 h 10000"/>
                  <a:gd name="connsiteX1880" fmla="*/ 2963 w 10785"/>
                  <a:gd name="connsiteY1880" fmla="*/ 4256 h 10000"/>
                  <a:gd name="connsiteX1881" fmla="*/ 2982 w 10785"/>
                  <a:gd name="connsiteY1881" fmla="*/ 4239 h 10000"/>
                  <a:gd name="connsiteX1882" fmla="*/ 2991 w 10785"/>
                  <a:gd name="connsiteY1882" fmla="*/ 4214 h 10000"/>
                  <a:gd name="connsiteX1883" fmla="*/ 2991 w 10785"/>
                  <a:gd name="connsiteY1883" fmla="*/ 4197 h 10000"/>
                  <a:gd name="connsiteX1884" fmla="*/ 2995 w 10785"/>
                  <a:gd name="connsiteY1884" fmla="*/ 4171 h 10000"/>
                  <a:gd name="connsiteX1885" fmla="*/ 2991 w 10785"/>
                  <a:gd name="connsiteY1885" fmla="*/ 4077 h 10000"/>
                  <a:gd name="connsiteX1886" fmla="*/ 2995 w 10785"/>
                  <a:gd name="connsiteY1886" fmla="*/ 4034 h 10000"/>
                  <a:gd name="connsiteX1887" fmla="*/ 3018 w 10785"/>
                  <a:gd name="connsiteY1887" fmla="*/ 3983 h 10000"/>
                  <a:gd name="connsiteX1888" fmla="*/ 3018 w 10785"/>
                  <a:gd name="connsiteY1888" fmla="*/ 3915 h 10000"/>
                  <a:gd name="connsiteX1889" fmla="*/ 2949 w 10785"/>
                  <a:gd name="connsiteY1889" fmla="*/ 3778 h 10000"/>
                  <a:gd name="connsiteX1890" fmla="*/ 2954 w 10785"/>
                  <a:gd name="connsiteY1890" fmla="*/ 3675 h 10000"/>
                  <a:gd name="connsiteX1891" fmla="*/ 2954 w 10785"/>
                  <a:gd name="connsiteY1891" fmla="*/ 3650 h 10000"/>
                  <a:gd name="connsiteX1892" fmla="*/ 2963 w 10785"/>
                  <a:gd name="connsiteY1892" fmla="*/ 3624 h 10000"/>
                  <a:gd name="connsiteX1893" fmla="*/ 2954 w 10785"/>
                  <a:gd name="connsiteY1893" fmla="*/ 3564 h 10000"/>
                  <a:gd name="connsiteX1894" fmla="*/ 2963 w 10785"/>
                  <a:gd name="connsiteY1894" fmla="*/ 3538 h 10000"/>
                  <a:gd name="connsiteX1895" fmla="*/ 2963 w 10785"/>
                  <a:gd name="connsiteY1895" fmla="*/ 3487 h 10000"/>
                  <a:gd name="connsiteX1896" fmla="*/ 2963 w 10785"/>
                  <a:gd name="connsiteY1896" fmla="*/ 3479 h 10000"/>
                  <a:gd name="connsiteX1897" fmla="*/ 2963 w 10785"/>
                  <a:gd name="connsiteY1897" fmla="*/ 3462 h 10000"/>
                  <a:gd name="connsiteX1898" fmla="*/ 2954 w 10785"/>
                  <a:gd name="connsiteY1898" fmla="*/ 3453 h 10000"/>
                  <a:gd name="connsiteX1899" fmla="*/ 2954 w 10785"/>
                  <a:gd name="connsiteY1899" fmla="*/ 3444 h 10000"/>
                  <a:gd name="connsiteX1900" fmla="*/ 2954 w 10785"/>
                  <a:gd name="connsiteY1900" fmla="*/ 3402 h 10000"/>
                  <a:gd name="connsiteX1901" fmla="*/ 2954 w 10785"/>
                  <a:gd name="connsiteY1901" fmla="*/ 3393 h 10000"/>
                  <a:gd name="connsiteX1902" fmla="*/ 2949 w 10785"/>
                  <a:gd name="connsiteY1902" fmla="*/ 3376 h 10000"/>
                  <a:gd name="connsiteX1903" fmla="*/ 2949 w 10785"/>
                  <a:gd name="connsiteY1903" fmla="*/ 3342 h 10000"/>
                  <a:gd name="connsiteX1904" fmla="*/ 2949 w 10785"/>
                  <a:gd name="connsiteY1904" fmla="*/ 3316 h 10000"/>
                  <a:gd name="connsiteX1905" fmla="*/ 2968 w 10785"/>
                  <a:gd name="connsiteY1905" fmla="*/ 3291 h 10000"/>
                  <a:gd name="connsiteX1906" fmla="*/ 2963 w 10785"/>
                  <a:gd name="connsiteY1906" fmla="*/ 3205 h 10000"/>
                  <a:gd name="connsiteX1907" fmla="*/ 2968 w 10785"/>
                  <a:gd name="connsiteY1907" fmla="*/ 3171 h 10000"/>
                  <a:gd name="connsiteX1908" fmla="*/ 2968 w 10785"/>
                  <a:gd name="connsiteY1908" fmla="*/ 3128 h 10000"/>
                  <a:gd name="connsiteX1909" fmla="*/ 2954 w 10785"/>
                  <a:gd name="connsiteY1909" fmla="*/ 3051 h 10000"/>
                  <a:gd name="connsiteX1910" fmla="*/ 2954 w 10785"/>
                  <a:gd name="connsiteY1910" fmla="*/ 3009 h 10000"/>
                  <a:gd name="connsiteX1911" fmla="*/ 2922 w 10785"/>
                  <a:gd name="connsiteY1911" fmla="*/ 2940 h 10000"/>
                  <a:gd name="connsiteX1912" fmla="*/ 2903 w 10785"/>
                  <a:gd name="connsiteY1912" fmla="*/ 2880 h 10000"/>
                  <a:gd name="connsiteX1913" fmla="*/ 2903 w 10785"/>
                  <a:gd name="connsiteY1913" fmla="*/ 2855 h 10000"/>
                  <a:gd name="connsiteX1914" fmla="*/ 2908 w 10785"/>
                  <a:gd name="connsiteY1914" fmla="*/ 2846 h 10000"/>
                  <a:gd name="connsiteX1915" fmla="*/ 2931 w 10785"/>
                  <a:gd name="connsiteY1915" fmla="*/ 2821 h 10000"/>
                  <a:gd name="connsiteX1916" fmla="*/ 2931 w 10785"/>
                  <a:gd name="connsiteY1916" fmla="*/ 2803 h 10000"/>
                  <a:gd name="connsiteX1917" fmla="*/ 2935 w 10785"/>
                  <a:gd name="connsiteY1917" fmla="*/ 2786 h 10000"/>
                  <a:gd name="connsiteX1918" fmla="*/ 2935 w 10785"/>
                  <a:gd name="connsiteY1918" fmla="*/ 2744 h 10000"/>
                  <a:gd name="connsiteX1919" fmla="*/ 2963 w 10785"/>
                  <a:gd name="connsiteY1919" fmla="*/ 2607 h 10000"/>
                  <a:gd name="connsiteX1920" fmla="*/ 2963 w 10785"/>
                  <a:gd name="connsiteY1920" fmla="*/ 2419 h 10000"/>
                  <a:gd name="connsiteX1921" fmla="*/ 2954 w 10785"/>
                  <a:gd name="connsiteY1921" fmla="*/ 2410 h 10000"/>
                  <a:gd name="connsiteX1922" fmla="*/ 2963 w 10785"/>
                  <a:gd name="connsiteY1922" fmla="*/ 2393 h 10000"/>
                  <a:gd name="connsiteX1923" fmla="*/ 2908 w 10785"/>
                  <a:gd name="connsiteY1923" fmla="*/ 2359 h 10000"/>
                  <a:gd name="connsiteX1924" fmla="*/ 2889 w 10785"/>
                  <a:gd name="connsiteY1924" fmla="*/ 2325 h 10000"/>
                  <a:gd name="connsiteX1925" fmla="*/ 2788 w 10785"/>
                  <a:gd name="connsiteY1925" fmla="*/ 2333 h 10000"/>
                  <a:gd name="connsiteX1926" fmla="*/ 2774 w 10785"/>
                  <a:gd name="connsiteY1926" fmla="*/ 2325 h 10000"/>
                  <a:gd name="connsiteX1927" fmla="*/ 2783 w 10785"/>
                  <a:gd name="connsiteY1927" fmla="*/ 2308 h 10000"/>
                  <a:gd name="connsiteX1928" fmla="*/ 2747 w 10785"/>
                  <a:gd name="connsiteY1928" fmla="*/ 2308 h 10000"/>
                  <a:gd name="connsiteX1929" fmla="*/ 2742 w 10785"/>
                  <a:gd name="connsiteY1929" fmla="*/ 2333 h 10000"/>
                  <a:gd name="connsiteX1930" fmla="*/ 2682 w 10785"/>
                  <a:gd name="connsiteY1930" fmla="*/ 2769 h 10000"/>
                  <a:gd name="connsiteX1931" fmla="*/ 2613 w 10785"/>
                  <a:gd name="connsiteY1931" fmla="*/ 2940 h 10000"/>
                  <a:gd name="connsiteX1932" fmla="*/ 2581 w 10785"/>
                  <a:gd name="connsiteY1932" fmla="*/ 2966 h 10000"/>
                  <a:gd name="connsiteX1933" fmla="*/ 2576 w 10785"/>
                  <a:gd name="connsiteY1933" fmla="*/ 3051 h 10000"/>
                  <a:gd name="connsiteX1934" fmla="*/ 2581 w 10785"/>
                  <a:gd name="connsiteY1934" fmla="*/ 3051 h 10000"/>
                  <a:gd name="connsiteX1935" fmla="*/ 2594 w 10785"/>
                  <a:gd name="connsiteY1935" fmla="*/ 3017 h 10000"/>
                  <a:gd name="connsiteX1936" fmla="*/ 2594 w 10785"/>
                  <a:gd name="connsiteY1936" fmla="*/ 3034 h 10000"/>
                  <a:gd name="connsiteX1937" fmla="*/ 2594 w 10785"/>
                  <a:gd name="connsiteY1937" fmla="*/ 3051 h 10000"/>
                  <a:gd name="connsiteX1938" fmla="*/ 2590 w 10785"/>
                  <a:gd name="connsiteY1938" fmla="*/ 3077 h 10000"/>
                  <a:gd name="connsiteX1939" fmla="*/ 2567 w 10785"/>
                  <a:gd name="connsiteY1939" fmla="*/ 3103 h 10000"/>
                  <a:gd name="connsiteX1940" fmla="*/ 2562 w 10785"/>
                  <a:gd name="connsiteY1940" fmla="*/ 3145 h 10000"/>
                  <a:gd name="connsiteX1941" fmla="*/ 2567 w 10785"/>
                  <a:gd name="connsiteY1941" fmla="*/ 3179 h 10000"/>
                  <a:gd name="connsiteX1942" fmla="*/ 2590 w 10785"/>
                  <a:gd name="connsiteY1942" fmla="*/ 3171 h 10000"/>
                  <a:gd name="connsiteX1943" fmla="*/ 2594 w 10785"/>
                  <a:gd name="connsiteY1943" fmla="*/ 3145 h 10000"/>
                  <a:gd name="connsiteX1944" fmla="*/ 2613 w 10785"/>
                  <a:gd name="connsiteY1944" fmla="*/ 3154 h 10000"/>
                  <a:gd name="connsiteX1945" fmla="*/ 2622 w 10785"/>
                  <a:gd name="connsiteY1945" fmla="*/ 3179 h 10000"/>
                  <a:gd name="connsiteX1946" fmla="*/ 2613 w 10785"/>
                  <a:gd name="connsiteY1946" fmla="*/ 3214 h 10000"/>
                  <a:gd name="connsiteX1947" fmla="*/ 2613 w 10785"/>
                  <a:gd name="connsiteY1947" fmla="*/ 3308 h 10000"/>
                  <a:gd name="connsiteX1948" fmla="*/ 2608 w 10785"/>
                  <a:gd name="connsiteY1948" fmla="*/ 3325 h 10000"/>
                  <a:gd name="connsiteX1949" fmla="*/ 2608 w 10785"/>
                  <a:gd name="connsiteY1949" fmla="*/ 3376 h 10000"/>
                  <a:gd name="connsiteX1950" fmla="*/ 2613 w 10785"/>
                  <a:gd name="connsiteY1950" fmla="*/ 3419 h 10000"/>
                  <a:gd name="connsiteX1951" fmla="*/ 2608 w 10785"/>
                  <a:gd name="connsiteY1951" fmla="*/ 3444 h 10000"/>
                  <a:gd name="connsiteX1952" fmla="*/ 2594 w 10785"/>
                  <a:gd name="connsiteY1952" fmla="*/ 3444 h 10000"/>
                  <a:gd name="connsiteX1953" fmla="*/ 2590 w 10785"/>
                  <a:gd name="connsiteY1953" fmla="*/ 3427 h 10000"/>
                  <a:gd name="connsiteX1954" fmla="*/ 2581 w 10785"/>
                  <a:gd name="connsiteY1954" fmla="*/ 3564 h 10000"/>
                  <a:gd name="connsiteX1955" fmla="*/ 2594 w 10785"/>
                  <a:gd name="connsiteY1955" fmla="*/ 3598 h 10000"/>
                  <a:gd name="connsiteX1956" fmla="*/ 2594 w 10785"/>
                  <a:gd name="connsiteY1956" fmla="*/ 3581 h 10000"/>
                  <a:gd name="connsiteX1957" fmla="*/ 2608 w 10785"/>
                  <a:gd name="connsiteY1957" fmla="*/ 3556 h 10000"/>
                  <a:gd name="connsiteX1958" fmla="*/ 2650 w 10785"/>
                  <a:gd name="connsiteY1958" fmla="*/ 3615 h 10000"/>
                  <a:gd name="connsiteX1959" fmla="*/ 2664 w 10785"/>
                  <a:gd name="connsiteY1959" fmla="*/ 3615 h 10000"/>
                  <a:gd name="connsiteX1960" fmla="*/ 2668 w 10785"/>
                  <a:gd name="connsiteY1960" fmla="*/ 3615 h 10000"/>
                  <a:gd name="connsiteX1961" fmla="*/ 2664 w 10785"/>
                  <a:gd name="connsiteY1961" fmla="*/ 3667 h 10000"/>
                  <a:gd name="connsiteX1962" fmla="*/ 2687 w 10785"/>
                  <a:gd name="connsiteY1962" fmla="*/ 3786 h 10000"/>
                  <a:gd name="connsiteX1963" fmla="*/ 2710 w 10785"/>
                  <a:gd name="connsiteY1963" fmla="*/ 3812 h 10000"/>
                  <a:gd name="connsiteX1964" fmla="*/ 2724 w 10785"/>
                  <a:gd name="connsiteY1964" fmla="*/ 3812 h 10000"/>
                  <a:gd name="connsiteX1965" fmla="*/ 2724 w 10785"/>
                  <a:gd name="connsiteY1965" fmla="*/ 3829 h 10000"/>
                  <a:gd name="connsiteX1966" fmla="*/ 2737 w 10785"/>
                  <a:gd name="connsiteY1966" fmla="*/ 3838 h 10000"/>
                  <a:gd name="connsiteX1967" fmla="*/ 2714 w 10785"/>
                  <a:gd name="connsiteY1967" fmla="*/ 3872 h 10000"/>
                  <a:gd name="connsiteX1968" fmla="*/ 2696 w 10785"/>
                  <a:gd name="connsiteY1968" fmla="*/ 4026 h 10000"/>
                  <a:gd name="connsiteX1969" fmla="*/ 2673 w 10785"/>
                  <a:gd name="connsiteY1969" fmla="*/ 4051 h 10000"/>
                  <a:gd name="connsiteX1970" fmla="*/ 2668 w 10785"/>
                  <a:gd name="connsiteY1970" fmla="*/ 4034 h 10000"/>
                  <a:gd name="connsiteX1971" fmla="*/ 2673 w 10785"/>
                  <a:gd name="connsiteY1971" fmla="*/ 4000 h 10000"/>
                  <a:gd name="connsiteX1972" fmla="*/ 2664 w 10785"/>
                  <a:gd name="connsiteY1972" fmla="*/ 3974 h 10000"/>
                  <a:gd name="connsiteX1973" fmla="*/ 2636 w 10785"/>
                  <a:gd name="connsiteY1973" fmla="*/ 3949 h 10000"/>
                  <a:gd name="connsiteX1974" fmla="*/ 2581 w 10785"/>
                  <a:gd name="connsiteY1974" fmla="*/ 3838 h 10000"/>
                  <a:gd name="connsiteX1975" fmla="*/ 2562 w 10785"/>
                  <a:gd name="connsiteY1975" fmla="*/ 3829 h 10000"/>
                  <a:gd name="connsiteX1976" fmla="*/ 2535 w 10785"/>
                  <a:gd name="connsiteY1976" fmla="*/ 3778 h 10000"/>
                  <a:gd name="connsiteX1977" fmla="*/ 2502 w 10785"/>
                  <a:gd name="connsiteY1977" fmla="*/ 3761 h 10000"/>
                  <a:gd name="connsiteX1978" fmla="*/ 2502 w 10785"/>
                  <a:gd name="connsiteY1978" fmla="*/ 3735 h 10000"/>
                  <a:gd name="connsiteX1979" fmla="*/ 2516 w 10785"/>
                  <a:gd name="connsiteY1979" fmla="*/ 3735 h 10000"/>
                  <a:gd name="connsiteX1980" fmla="*/ 2507 w 10785"/>
                  <a:gd name="connsiteY1980" fmla="*/ 3726 h 10000"/>
                  <a:gd name="connsiteX1981" fmla="*/ 2488 w 10785"/>
                  <a:gd name="connsiteY1981" fmla="*/ 3726 h 10000"/>
                  <a:gd name="connsiteX1982" fmla="*/ 2461 w 10785"/>
                  <a:gd name="connsiteY1982" fmla="*/ 3692 h 10000"/>
                  <a:gd name="connsiteX1983" fmla="*/ 2442 w 10785"/>
                  <a:gd name="connsiteY1983" fmla="*/ 3675 h 10000"/>
                  <a:gd name="connsiteX1984" fmla="*/ 2406 w 10785"/>
                  <a:gd name="connsiteY1984" fmla="*/ 3598 h 10000"/>
                  <a:gd name="connsiteX1985" fmla="*/ 2346 w 10785"/>
                  <a:gd name="connsiteY1985" fmla="*/ 3564 h 10000"/>
                  <a:gd name="connsiteX1986" fmla="*/ 2341 w 10785"/>
                  <a:gd name="connsiteY1986" fmla="*/ 3564 h 10000"/>
                  <a:gd name="connsiteX1987" fmla="*/ 2313 w 10785"/>
                  <a:gd name="connsiteY1987" fmla="*/ 3530 h 10000"/>
                  <a:gd name="connsiteX1988" fmla="*/ 2235 w 10785"/>
                  <a:gd name="connsiteY1988" fmla="*/ 3530 h 10000"/>
                  <a:gd name="connsiteX1989" fmla="*/ 2226 w 10785"/>
                  <a:gd name="connsiteY1989" fmla="*/ 3513 h 10000"/>
                  <a:gd name="connsiteX1990" fmla="*/ 2207 w 10785"/>
                  <a:gd name="connsiteY1990" fmla="*/ 3504 h 10000"/>
                  <a:gd name="connsiteX1991" fmla="*/ 2194 w 10785"/>
                  <a:gd name="connsiteY1991" fmla="*/ 3504 h 10000"/>
                  <a:gd name="connsiteX1992" fmla="*/ 2189 w 10785"/>
                  <a:gd name="connsiteY1992" fmla="*/ 3504 h 10000"/>
                  <a:gd name="connsiteX1993" fmla="*/ 2189 w 10785"/>
                  <a:gd name="connsiteY1993" fmla="*/ 3530 h 10000"/>
                  <a:gd name="connsiteX1994" fmla="*/ 2180 w 10785"/>
                  <a:gd name="connsiteY1994" fmla="*/ 3538 h 10000"/>
                  <a:gd name="connsiteX1995" fmla="*/ 2152 w 10785"/>
                  <a:gd name="connsiteY1995" fmla="*/ 3581 h 10000"/>
                  <a:gd name="connsiteX1996" fmla="*/ 2161 w 10785"/>
                  <a:gd name="connsiteY1996" fmla="*/ 3598 h 10000"/>
                  <a:gd name="connsiteX1997" fmla="*/ 2194 w 10785"/>
                  <a:gd name="connsiteY1997" fmla="*/ 3752 h 10000"/>
                  <a:gd name="connsiteX1998" fmla="*/ 2194 w 10785"/>
                  <a:gd name="connsiteY1998" fmla="*/ 3735 h 10000"/>
                  <a:gd name="connsiteX1999" fmla="*/ 2198 w 10785"/>
                  <a:gd name="connsiteY1999" fmla="*/ 3735 h 10000"/>
                  <a:gd name="connsiteX2000" fmla="*/ 2189 w 10785"/>
                  <a:gd name="connsiteY2000" fmla="*/ 3838 h 10000"/>
                  <a:gd name="connsiteX2001" fmla="*/ 2166 w 10785"/>
                  <a:gd name="connsiteY2001" fmla="*/ 3889 h 10000"/>
                  <a:gd name="connsiteX2002" fmla="*/ 2124 w 10785"/>
                  <a:gd name="connsiteY2002" fmla="*/ 3889 h 10000"/>
                  <a:gd name="connsiteX2003" fmla="*/ 2124 w 10785"/>
                  <a:gd name="connsiteY2003" fmla="*/ 3923 h 10000"/>
                  <a:gd name="connsiteX2004" fmla="*/ 2134 w 10785"/>
                  <a:gd name="connsiteY2004" fmla="*/ 3940 h 10000"/>
                  <a:gd name="connsiteX2005" fmla="*/ 2134 w 10785"/>
                  <a:gd name="connsiteY2005" fmla="*/ 3966 h 10000"/>
                  <a:gd name="connsiteX2006" fmla="*/ 2120 w 10785"/>
                  <a:gd name="connsiteY2006" fmla="*/ 4000 h 10000"/>
                  <a:gd name="connsiteX2007" fmla="*/ 2106 w 10785"/>
                  <a:gd name="connsiteY2007" fmla="*/ 4009 h 10000"/>
                  <a:gd name="connsiteX2008" fmla="*/ 2088 w 10785"/>
                  <a:gd name="connsiteY2008" fmla="*/ 4000 h 10000"/>
                  <a:gd name="connsiteX2009" fmla="*/ 2074 w 10785"/>
                  <a:gd name="connsiteY2009" fmla="*/ 3974 h 10000"/>
                  <a:gd name="connsiteX2010" fmla="*/ 2074 w 10785"/>
                  <a:gd name="connsiteY2010" fmla="*/ 3940 h 10000"/>
                  <a:gd name="connsiteX2011" fmla="*/ 2078 w 10785"/>
                  <a:gd name="connsiteY2011" fmla="*/ 3915 h 10000"/>
                  <a:gd name="connsiteX2012" fmla="*/ 2088 w 10785"/>
                  <a:gd name="connsiteY2012" fmla="*/ 3889 h 10000"/>
                  <a:gd name="connsiteX2013" fmla="*/ 2101 w 10785"/>
                  <a:gd name="connsiteY2013" fmla="*/ 3872 h 10000"/>
                  <a:gd name="connsiteX2014" fmla="*/ 2074 w 10785"/>
                  <a:gd name="connsiteY2014" fmla="*/ 3812 h 10000"/>
                  <a:gd name="connsiteX2015" fmla="*/ 2074 w 10785"/>
                  <a:gd name="connsiteY2015" fmla="*/ 3786 h 10000"/>
                  <a:gd name="connsiteX2016" fmla="*/ 2060 w 10785"/>
                  <a:gd name="connsiteY2016" fmla="*/ 3786 h 10000"/>
                  <a:gd name="connsiteX2017" fmla="*/ 2014 w 10785"/>
                  <a:gd name="connsiteY2017" fmla="*/ 3829 h 10000"/>
                  <a:gd name="connsiteX2018" fmla="*/ 2000 w 10785"/>
                  <a:gd name="connsiteY2018" fmla="*/ 3863 h 10000"/>
                  <a:gd name="connsiteX2019" fmla="*/ 1986 w 10785"/>
                  <a:gd name="connsiteY2019" fmla="*/ 3872 h 10000"/>
                  <a:gd name="connsiteX2020" fmla="*/ 1959 w 10785"/>
                  <a:gd name="connsiteY2020" fmla="*/ 3940 h 10000"/>
                  <a:gd name="connsiteX2021" fmla="*/ 1945 w 10785"/>
                  <a:gd name="connsiteY2021" fmla="*/ 3949 h 10000"/>
                  <a:gd name="connsiteX2022" fmla="*/ 1940 w 10785"/>
                  <a:gd name="connsiteY2022" fmla="*/ 3923 h 10000"/>
                  <a:gd name="connsiteX2023" fmla="*/ 1917 w 10785"/>
                  <a:gd name="connsiteY2023" fmla="*/ 3915 h 10000"/>
                  <a:gd name="connsiteX2024" fmla="*/ 1899 w 10785"/>
                  <a:gd name="connsiteY2024" fmla="*/ 3923 h 10000"/>
                  <a:gd name="connsiteX2025" fmla="*/ 1880 w 10785"/>
                  <a:gd name="connsiteY2025" fmla="*/ 3915 h 10000"/>
                  <a:gd name="connsiteX2026" fmla="*/ 1853 w 10785"/>
                  <a:gd name="connsiteY2026" fmla="*/ 3940 h 10000"/>
                  <a:gd name="connsiteX2027" fmla="*/ 1839 w 10785"/>
                  <a:gd name="connsiteY2027" fmla="*/ 3940 h 10000"/>
                  <a:gd name="connsiteX2028" fmla="*/ 1806 w 10785"/>
                  <a:gd name="connsiteY2028" fmla="*/ 3983 h 10000"/>
                  <a:gd name="connsiteX2029" fmla="*/ 1806 w 10785"/>
                  <a:gd name="connsiteY2029" fmla="*/ 4000 h 10000"/>
                  <a:gd name="connsiteX2030" fmla="*/ 1797 w 10785"/>
                  <a:gd name="connsiteY2030" fmla="*/ 4077 h 10000"/>
                  <a:gd name="connsiteX2031" fmla="*/ 1783 w 10785"/>
                  <a:gd name="connsiteY2031" fmla="*/ 4077 h 10000"/>
                  <a:gd name="connsiteX2032" fmla="*/ 1779 w 10785"/>
                  <a:gd name="connsiteY2032" fmla="*/ 4051 h 10000"/>
                  <a:gd name="connsiteX2033" fmla="*/ 1765 w 10785"/>
                  <a:gd name="connsiteY2033" fmla="*/ 4026 h 10000"/>
                  <a:gd name="connsiteX2034" fmla="*/ 1751 w 10785"/>
                  <a:gd name="connsiteY2034" fmla="*/ 4051 h 10000"/>
                  <a:gd name="connsiteX2035" fmla="*/ 1737 w 10785"/>
                  <a:gd name="connsiteY2035" fmla="*/ 4009 h 10000"/>
                  <a:gd name="connsiteX2036" fmla="*/ 1737 w 10785"/>
                  <a:gd name="connsiteY2036" fmla="*/ 3966 h 10000"/>
                  <a:gd name="connsiteX2037" fmla="*/ 1733 w 10785"/>
                  <a:gd name="connsiteY2037" fmla="*/ 3940 h 10000"/>
                  <a:gd name="connsiteX2038" fmla="*/ 1733 w 10785"/>
                  <a:gd name="connsiteY2038" fmla="*/ 3923 h 10000"/>
                  <a:gd name="connsiteX2039" fmla="*/ 1747 w 10785"/>
                  <a:gd name="connsiteY2039" fmla="*/ 3889 h 10000"/>
                  <a:gd name="connsiteX2040" fmla="*/ 1747 w 10785"/>
                  <a:gd name="connsiteY2040" fmla="*/ 3863 h 10000"/>
                  <a:gd name="connsiteX2041" fmla="*/ 1737 w 10785"/>
                  <a:gd name="connsiteY2041" fmla="*/ 3838 h 10000"/>
                  <a:gd name="connsiteX2042" fmla="*/ 1733 w 10785"/>
                  <a:gd name="connsiteY2042" fmla="*/ 3829 h 10000"/>
                  <a:gd name="connsiteX2043" fmla="*/ 1733 w 10785"/>
                  <a:gd name="connsiteY2043" fmla="*/ 3846 h 10000"/>
                  <a:gd name="connsiteX2044" fmla="*/ 1724 w 10785"/>
                  <a:gd name="connsiteY2044" fmla="*/ 3846 h 10000"/>
                  <a:gd name="connsiteX2045" fmla="*/ 1724 w 10785"/>
                  <a:gd name="connsiteY2045" fmla="*/ 3829 h 10000"/>
                  <a:gd name="connsiteX2046" fmla="*/ 1737 w 10785"/>
                  <a:gd name="connsiteY2046" fmla="*/ 3812 h 10000"/>
                  <a:gd name="connsiteX2047" fmla="*/ 1765 w 10785"/>
                  <a:gd name="connsiteY2047" fmla="*/ 3812 h 10000"/>
                  <a:gd name="connsiteX2048" fmla="*/ 1779 w 10785"/>
                  <a:gd name="connsiteY2048" fmla="*/ 3786 h 10000"/>
                  <a:gd name="connsiteX2049" fmla="*/ 1779 w 10785"/>
                  <a:gd name="connsiteY2049" fmla="*/ 3786 h 10000"/>
                  <a:gd name="connsiteX2050" fmla="*/ 1751 w 10785"/>
                  <a:gd name="connsiteY2050" fmla="*/ 3803 h 10000"/>
                  <a:gd name="connsiteX2051" fmla="*/ 1747 w 10785"/>
                  <a:gd name="connsiteY2051" fmla="*/ 3803 h 10000"/>
                  <a:gd name="connsiteX2052" fmla="*/ 1724 w 10785"/>
                  <a:gd name="connsiteY2052" fmla="*/ 3803 h 10000"/>
                  <a:gd name="connsiteX2053" fmla="*/ 1700 w 10785"/>
                  <a:gd name="connsiteY2053" fmla="*/ 3829 h 10000"/>
                  <a:gd name="connsiteX2054" fmla="*/ 1705 w 10785"/>
                  <a:gd name="connsiteY2054" fmla="*/ 3846 h 10000"/>
                  <a:gd name="connsiteX2055" fmla="*/ 1691 w 10785"/>
                  <a:gd name="connsiteY2055" fmla="*/ 3846 h 10000"/>
                  <a:gd name="connsiteX2056" fmla="*/ 1691 w 10785"/>
                  <a:gd name="connsiteY2056" fmla="*/ 3863 h 10000"/>
                  <a:gd name="connsiteX2057" fmla="*/ 1691 w 10785"/>
                  <a:gd name="connsiteY2057" fmla="*/ 3915 h 10000"/>
                  <a:gd name="connsiteX2058" fmla="*/ 1677 w 10785"/>
                  <a:gd name="connsiteY2058" fmla="*/ 3923 h 10000"/>
                  <a:gd name="connsiteX2059" fmla="*/ 1673 w 10785"/>
                  <a:gd name="connsiteY2059" fmla="*/ 3915 h 10000"/>
                  <a:gd name="connsiteX2060" fmla="*/ 1664 w 10785"/>
                  <a:gd name="connsiteY2060" fmla="*/ 3889 h 10000"/>
                  <a:gd name="connsiteX2061" fmla="*/ 1673 w 10785"/>
                  <a:gd name="connsiteY2061" fmla="*/ 3872 h 10000"/>
                  <a:gd name="connsiteX2062" fmla="*/ 1664 w 10785"/>
                  <a:gd name="connsiteY2062" fmla="*/ 3872 h 10000"/>
                  <a:gd name="connsiteX2063" fmla="*/ 1636 w 10785"/>
                  <a:gd name="connsiteY2063" fmla="*/ 3923 h 10000"/>
                  <a:gd name="connsiteX2064" fmla="*/ 1645 w 10785"/>
                  <a:gd name="connsiteY2064" fmla="*/ 3923 h 10000"/>
                  <a:gd name="connsiteX2065" fmla="*/ 1650 w 10785"/>
                  <a:gd name="connsiteY2065" fmla="*/ 3949 h 10000"/>
                  <a:gd name="connsiteX2066" fmla="*/ 1650 w 10785"/>
                  <a:gd name="connsiteY2066" fmla="*/ 3983 h 10000"/>
                  <a:gd name="connsiteX2067" fmla="*/ 1636 w 10785"/>
                  <a:gd name="connsiteY2067" fmla="*/ 4000 h 10000"/>
                  <a:gd name="connsiteX2068" fmla="*/ 1631 w 10785"/>
                  <a:gd name="connsiteY2068" fmla="*/ 4009 h 10000"/>
                  <a:gd name="connsiteX2069" fmla="*/ 1618 w 10785"/>
                  <a:gd name="connsiteY2069" fmla="*/ 3949 h 10000"/>
                  <a:gd name="connsiteX2070" fmla="*/ 1585 w 10785"/>
                  <a:gd name="connsiteY2070" fmla="*/ 3966 h 10000"/>
                  <a:gd name="connsiteX2071" fmla="*/ 1590 w 10785"/>
                  <a:gd name="connsiteY2071" fmla="*/ 3974 h 10000"/>
                  <a:gd name="connsiteX2072" fmla="*/ 1544 w 10785"/>
                  <a:gd name="connsiteY2072" fmla="*/ 4009 h 10000"/>
                  <a:gd name="connsiteX2073" fmla="*/ 1539 w 10785"/>
                  <a:gd name="connsiteY2073" fmla="*/ 4009 h 10000"/>
                  <a:gd name="connsiteX2074" fmla="*/ 1410 w 10785"/>
                  <a:gd name="connsiteY2074" fmla="*/ 4188 h 10000"/>
                  <a:gd name="connsiteX2075" fmla="*/ 1406 w 10785"/>
                  <a:gd name="connsiteY2075" fmla="*/ 4171 h 10000"/>
                  <a:gd name="connsiteX2076" fmla="*/ 1396 w 10785"/>
                  <a:gd name="connsiteY2076" fmla="*/ 4214 h 10000"/>
                  <a:gd name="connsiteX2077" fmla="*/ 1406 w 10785"/>
                  <a:gd name="connsiteY2077" fmla="*/ 4222 h 10000"/>
                  <a:gd name="connsiteX2078" fmla="*/ 1392 w 10785"/>
                  <a:gd name="connsiteY2078" fmla="*/ 4239 h 10000"/>
                  <a:gd name="connsiteX2079" fmla="*/ 1369 w 10785"/>
                  <a:gd name="connsiteY2079" fmla="*/ 4248 h 10000"/>
                  <a:gd name="connsiteX2080" fmla="*/ 1355 w 10785"/>
                  <a:gd name="connsiteY2080" fmla="*/ 4256 h 10000"/>
                  <a:gd name="connsiteX2081" fmla="*/ 1350 w 10785"/>
                  <a:gd name="connsiteY2081" fmla="*/ 4248 h 10000"/>
                  <a:gd name="connsiteX2082" fmla="*/ 1332 w 10785"/>
                  <a:gd name="connsiteY2082" fmla="*/ 4376 h 10000"/>
                  <a:gd name="connsiteX2083" fmla="*/ 1332 w 10785"/>
                  <a:gd name="connsiteY2083" fmla="*/ 4436 h 10000"/>
                  <a:gd name="connsiteX2084" fmla="*/ 1323 w 10785"/>
                  <a:gd name="connsiteY2084" fmla="*/ 4462 h 10000"/>
                  <a:gd name="connsiteX2085" fmla="*/ 1304 w 10785"/>
                  <a:gd name="connsiteY2085" fmla="*/ 4487 h 10000"/>
                  <a:gd name="connsiteX2086" fmla="*/ 1290 w 10785"/>
                  <a:gd name="connsiteY2086" fmla="*/ 4470 h 10000"/>
                  <a:gd name="connsiteX2087" fmla="*/ 1263 w 10785"/>
                  <a:gd name="connsiteY2087" fmla="*/ 4496 h 10000"/>
                  <a:gd name="connsiteX2088" fmla="*/ 1258 w 10785"/>
                  <a:gd name="connsiteY2088" fmla="*/ 4547 h 10000"/>
                  <a:gd name="connsiteX2089" fmla="*/ 1249 w 10785"/>
                  <a:gd name="connsiteY2089" fmla="*/ 4487 h 10000"/>
                  <a:gd name="connsiteX2090" fmla="*/ 1235 w 10785"/>
                  <a:gd name="connsiteY2090" fmla="*/ 4496 h 10000"/>
                  <a:gd name="connsiteX2091" fmla="*/ 1221 w 10785"/>
                  <a:gd name="connsiteY2091" fmla="*/ 4496 h 10000"/>
                  <a:gd name="connsiteX2092" fmla="*/ 1217 w 10785"/>
                  <a:gd name="connsiteY2092" fmla="*/ 4487 h 10000"/>
                  <a:gd name="connsiteX2093" fmla="*/ 1198 w 10785"/>
                  <a:gd name="connsiteY2093" fmla="*/ 4410 h 10000"/>
                  <a:gd name="connsiteX2094" fmla="*/ 1157 w 10785"/>
                  <a:gd name="connsiteY2094" fmla="*/ 4333 h 10000"/>
                  <a:gd name="connsiteX2095" fmla="*/ 1147 w 10785"/>
                  <a:gd name="connsiteY2095" fmla="*/ 4299 h 10000"/>
                  <a:gd name="connsiteX2096" fmla="*/ 1147 w 10785"/>
                  <a:gd name="connsiteY2096" fmla="*/ 4274 h 10000"/>
                  <a:gd name="connsiteX2097" fmla="*/ 1161 w 10785"/>
                  <a:gd name="connsiteY2097" fmla="*/ 4256 h 10000"/>
                  <a:gd name="connsiteX2098" fmla="*/ 1171 w 10785"/>
                  <a:gd name="connsiteY2098" fmla="*/ 4248 h 10000"/>
                  <a:gd name="connsiteX2099" fmla="*/ 1175 w 10785"/>
                  <a:gd name="connsiteY2099" fmla="*/ 4214 h 10000"/>
                  <a:gd name="connsiteX2100" fmla="*/ 1263 w 10785"/>
                  <a:gd name="connsiteY2100" fmla="*/ 4171 h 10000"/>
                  <a:gd name="connsiteX2101" fmla="*/ 1249 w 10785"/>
                  <a:gd name="connsiteY2101" fmla="*/ 4137 h 10000"/>
                  <a:gd name="connsiteX2102" fmla="*/ 1244 w 10785"/>
                  <a:gd name="connsiteY2102" fmla="*/ 4060 h 10000"/>
                  <a:gd name="connsiteX2103" fmla="*/ 1230 w 10785"/>
                  <a:gd name="connsiteY2103" fmla="*/ 4077 h 10000"/>
                  <a:gd name="connsiteX2104" fmla="*/ 1221 w 10785"/>
                  <a:gd name="connsiteY2104" fmla="*/ 4026 h 10000"/>
                  <a:gd name="connsiteX2105" fmla="*/ 1217 w 10785"/>
                  <a:gd name="connsiteY2105" fmla="*/ 4026 h 10000"/>
                  <a:gd name="connsiteX2106" fmla="*/ 1212 w 10785"/>
                  <a:gd name="connsiteY2106" fmla="*/ 3983 h 10000"/>
                  <a:gd name="connsiteX2107" fmla="*/ 1203 w 10785"/>
                  <a:gd name="connsiteY2107" fmla="*/ 3966 h 10000"/>
                  <a:gd name="connsiteX2108" fmla="*/ 1171 w 10785"/>
                  <a:gd name="connsiteY2108" fmla="*/ 3949 h 10000"/>
                  <a:gd name="connsiteX2109" fmla="*/ 1111 w 10785"/>
                  <a:gd name="connsiteY2109" fmla="*/ 3940 h 10000"/>
                  <a:gd name="connsiteX2110" fmla="*/ 1097 w 10785"/>
                  <a:gd name="connsiteY2110" fmla="*/ 3949 h 10000"/>
                  <a:gd name="connsiteX2111" fmla="*/ 1037 w 10785"/>
                  <a:gd name="connsiteY2111" fmla="*/ 3897 h 10000"/>
                  <a:gd name="connsiteX2112" fmla="*/ 1041 w 10785"/>
                  <a:gd name="connsiteY2112" fmla="*/ 3923 h 10000"/>
                  <a:gd name="connsiteX2113" fmla="*/ 1097 w 10785"/>
                  <a:gd name="connsiteY2113" fmla="*/ 4009 h 10000"/>
                  <a:gd name="connsiteX2114" fmla="*/ 1097 w 10785"/>
                  <a:gd name="connsiteY2114" fmla="*/ 4120 h 10000"/>
                  <a:gd name="connsiteX2115" fmla="*/ 1097 w 10785"/>
                  <a:gd name="connsiteY2115" fmla="*/ 4162 h 10000"/>
                  <a:gd name="connsiteX2116" fmla="*/ 1097 w 10785"/>
                  <a:gd name="connsiteY2116" fmla="*/ 4197 h 10000"/>
                  <a:gd name="connsiteX2117" fmla="*/ 1074 w 10785"/>
                  <a:gd name="connsiteY2117" fmla="*/ 4333 h 10000"/>
                  <a:gd name="connsiteX2118" fmla="*/ 1074 w 10785"/>
                  <a:gd name="connsiteY2118" fmla="*/ 4376 h 10000"/>
                  <a:gd name="connsiteX2119" fmla="*/ 1083 w 10785"/>
                  <a:gd name="connsiteY2119" fmla="*/ 4385 h 10000"/>
                  <a:gd name="connsiteX2120" fmla="*/ 1097 w 10785"/>
                  <a:gd name="connsiteY2120" fmla="*/ 4385 h 10000"/>
                  <a:gd name="connsiteX2121" fmla="*/ 1111 w 10785"/>
                  <a:gd name="connsiteY2121" fmla="*/ 4410 h 10000"/>
                  <a:gd name="connsiteX2122" fmla="*/ 1124 w 10785"/>
                  <a:gd name="connsiteY2122" fmla="*/ 4444 h 10000"/>
                  <a:gd name="connsiteX2123" fmla="*/ 1124 w 10785"/>
                  <a:gd name="connsiteY2123" fmla="*/ 4470 h 10000"/>
                  <a:gd name="connsiteX2124" fmla="*/ 1115 w 10785"/>
                  <a:gd name="connsiteY2124" fmla="*/ 4513 h 10000"/>
                  <a:gd name="connsiteX2125" fmla="*/ 1115 w 10785"/>
                  <a:gd name="connsiteY2125" fmla="*/ 4530 h 10000"/>
                  <a:gd name="connsiteX2126" fmla="*/ 1115 w 10785"/>
                  <a:gd name="connsiteY2126" fmla="*/ 4573 h 10000"/>
                  <a:gd name="connsiteX2127" fmla="*/ 1101 w 10785"/>
                  <a:gd name="connsiteY2127" fmla="*/ 4607 h 10000"/>
                  <a:gd name="connsiteX2128" fmla="*/ 1097 w 10785"/>
                  <a:gd name="connsiteY2128" fmla="*/ 4658 h 10000"/>
                  <a:gd name="connsiteX2129" fmla="*/ 1101 w 10785"/>
                  <a:gd name="connsiteY2129" fmla="*/ 4692 h 10000"/>
                  <a:gd name="connsiteX2130" fmla="*/ 1097 w 10785"/>
                  <a:gd name="connsiteY2130" fmla="*/ 4778 h 10000"/>
                  <a:gd name="connsiteX2131" fmla="*/ 1083 w 10785"/>
                  <a:gd name="connsiteY2131" fmla="*/ 4744 h 10000"/>
                  <a:gd name="connsiteX2132" fmla="*/ 1083 w 10785"/>
                  <a:gd name="connsiteY2132" fmla="*/ 4718 h 10000"/>
                  <a:gd name="connsiteX2133" fmla="*/ 1074 w 10785"/>
                  <a:gd name="connsiteY2133" fmla="*/ 4692 h 10000"/>
                  <a:gd name="connsiteX2134" fmla="*/ 1065 w 10785"/>
                  <a:gd name="connsiteY2134" fmla="*/ 4692 h 10000"/>
                  <a:gd name="connsiteX2135" fmla="*/ 1051 w 10785"/>
                  <a:gd name="connsiteY2135" fmla="*/ 4718 h 10000"/>
                  <a:gd name="connsiteX2136" fmla="*/ 1055 w 10785"/>
                  <a:gd name="connsiteY2136" fmla="*/ 4692 h 10000"/>
                  <a:gd name="connsiteX2137" fmla="*/ 1055 w 10785"/>
                  <a:gd name="connsiteY2137" fmla="*/ 4667 h 10000"/>
                  <a:gd name="connsiteX2138" fmla="*/ 1028 w 10785"/>
                  <a:gd name="connsiteY2138" fmla="*/ 4624 h 10000"/>
                  <a:gd name="connsiteX2139" fmla="*/ 1005 w 10785"/>
                  <a:gd name="connsiteY2139" fmla="*/ 4624 h 10000"/>
                  <a:gd name="connsiteX2140" fmla="*/ 977 w 10785"/>
                  <a:gd name="connsiteY2140" fmla="*/ 4581 h 10000"/>
                  <a:gd name="connsiteX2141" fmla="*/ 963 w 10785"/>
                  <a:gd name="connsiteY2141" fmla="*/ 4607 h 10000"/>
                  <a:gd name="connsiteX2142" fmla="*/ 963 w 10785"/>
                  <a:gd name="connsiteY2142" fmla="*/ 4632 h 10000"/>
                  <a:gd name="connsiteX2143" fmla="*/ 917 w 10785"/>
                  <a:gd name="connsiteY2143" fmla="*/ 4718 h 10000"/>
                  <a:gd name="connsiteX2144" fmla="*/ 889 w 10785"/>
                  <a:gd name="connsiteY2144" fmla="*/ 4744 h 10000"/>
                  <a:gd name="connsiteX2145" fmla="*/ 880 w 10785"/>
                  <a:gd name="connsiteY2145" fmla="*/ 4744 h 10000"/>
                  <a:gd name="connsiteX2146" fmla="*/ 862 w 10785"/>
                  <a:gd name="connsiteY2146" fmla="*/ 4769 h 10000"/>
                  <a:gd name="connsiteX2147" fmla="*/ 857 w 10785"/>
                  <a:gd name="connsiteY2147" fmla="*/ 4795 h 10000"/>
                  <a:gd name="connsiteX2148" fmla="*/ 829 w 10785"/>
                  <a:gd name="connsiteY2148" fmla="*/ 4846 h 10000"/>
                  <a:gd name="connsiteX2149" fmla="*/ 816 w 10785"/>
                  <a:gd name="connsiteY2149" fmla="*/ 4855 h 10000"/>
                  <a:gd name="connsiteX2150" fmla="*/ 816 w 10785"/>
                  <a:gd name="connsiteY2150" fmla="*/ 4940 h 10000"/>
                  <a:gd name="connsiteX2151" fmla="*/ 880 w 10785"/>
                  <a:gd name="connsiteY2151" fmla="*/ 5179 h 10000"/>
                  <a:gd name="connsiteX2152" fmla="*/ 880 w 10785"/>
                  <a:gd name="connsiteY2152" fmla="*/ 5188 h 10000"/>
                  <a:gd name="connsiteX2153" fmla="*/ 862 w 10785"/>
                  <a:gd name="connsiteY2153" fmla="*/ 5171 h 10000"/>
                  <a:gd name="connsiteX2154" fmla="*/ 857 w 10785"/>
                  <a:gd name="connsiteY2154" fmla="*/ 5171 h 10000"/>
                  <a:gd name="connsiteX2155" fmla="*/ 820 w 10785"/>
                  <a:gd name="connsiteY2155" fmla="*/ 5145 h 10000"/>
                  <a:gd name="connsiteX2156" fmla="*/ 820 w 10785"/>
                  <a:gd name="connsiteY2156" fmla="*/ 5154 h 10000"/>
                  <a:gd name="connsiteX2157" fmla="*/ 816 w 10785"/>
                  <a:gd name="connsiteY2157" fmla="*/ 5171 h 10000"/>
                  <a:gd name="connsiteX2158" fmla="*/ 783 w 10785"/>
                  <a:gd name="connsiteY2158" fmla="*/ 5145 h 10000"/>
                  <a:gd name="connsiteX2159" fmla="*/ 756 w 10785"/>
                  <a:gd name="connsiteY2159" fmla="*/ 5103 h 10000"/>
                  <a:gd name="connsiteX2160" fmla="*/ 742 w 10785"/>
                  <a:gd name="connsiteY2160" fmla="*/ 5103 h 10000"/>
                  <a:gd name="connsiteX2161" fmla="*/ 728 w 10785"/>
                  <a:gd name="connsiteY2161" fmla="*/ 5094 h 10000"/>
                  <a:gd name="connsiteX2162" fmla="*/ 710 w 10785"/>
                  <a:gd name="connsiteY2162" fmla="*/ 5120 h 10000"/>
                  <a:gd name="connsiteX2163" fmla="*/ 700 w 10785"/>
                  <a:gd name="connsiteY2163" fmla="*/ 5145 h 10000"/>
                  <a:gd name="connsiteX2164" fmla="*/ 696 w 10785"/>
                  <a:gd name="connsiteY2164" fmla="*/ 5103 h 10000"/>
                  <a:gd name="connsiteX2165" fmla="*/ 714 w 10785"/>
                  <a:gd name="connsiteY2165" fmla="*/ 5077 h 10000"/>
                  <a:gd name="connsiteX2166" fmla="*/ 682 w 10785"/>
                  <a:gd name="connsiteY2166" fmla="*/ 5068 h 10000"/>
                  <a:gd name="connsiteX2167" fmla="*/ 673 w 10785"/>
                  <a:gd name="connsiteY2167" fmla="*/ 5034 h 10000"/>
                  <a:gd name="connsiteX2168" fmla="*/ 636 w 10785"/>
                  <a:gd name="connsiteY2168" fmla="*/ 4991 h 10000"/>
                  <a:gd name="connsiteX2169" fmla="*/ 622 w 10785"/>
                  <a:gd name="connsiteY2169" fmla="*/ 4983 h 10000"/>
                  <a:gd name="connsiteX2170" fmla="*/ 622 w 10785"/>
                  <a:gd name="connsiteY2170" fmla="*/ 5034 h 10000"/>
                  <a:gd name="connsiteX2171" fmla="*/ 608 w 10785"/>
                  <a:gd name="connsiteY2171" fmla="*/ 5051 h 10000"/>
                  <a:gd name="connsiteX2172" fmla="*/ 594 w 10785"/>
                  <a:gd name="connsiteY2172" fmla="*/ 5068 h 10000"/>
                  <a:gd name="connsiteX2173" fmla="*/ 608 w 10785"/>
                  <a:gd name="connsiteY2173" fmla="*/ 5120 h 10000"/>
                  <a:gd name="connsiteX2174" fmla="*/ 613 w 10785"/>
                  <a:gd name="connsiteY2174" fmla="*/ 5128 h 10000"/>
                  <a:gd name="connsiteX2175" fmla="*/ 627 w 10785"/>
                  <a:gd name="connsiteY2175" fmla="*/ 5179 h 10000"/>
                  <a:gd name="connsiteX2176" fmla="*/ 650 w 10785"/>
                  <a:gd name="connsiteY2176" fmla="*/ 5214 h 10000"/>
                  <a:gd name="connsiteX2177" fmla="*/ 687 w 10785"/>
                  <a:gd name="connsiteY2177" fmla="*/ 5188 h 10000"/>
                  <a:gd name="connsiteX2178" fmla="*/ 700 w 10785"/>
                  <a:gd name="connsiteY2178" fmla="*/ 5325 h 10000"/>
                  <a:gd name="connsiteX2179" fmla="*/ 710 w 10785"/>
                  <a:gd name="connsiteY2179" fmla="*/ 5350 h 10000"/>
                  <a:gd name="connsiteX2180" fmla="*/ 687 w 10785"/>
                  <a:gd name="connsiteY2180" fmla="*/ 5325 h 10000"/>
                  <a:gd name="connsiteX2181" fmla="*/ 668 w 10785"/>
                  <a:gd name="connsiteY2181" fmla="*/ 5350 h 10000"/>
                  <a:gd name="connsiteX2182" fmla="*/ 668 w 10785"/>
                  <a:gd name="connsiteY2182" fmla="*/ 5368 h 10000"/>
                  <a:gd name="connsiteX2183" fmla="*/ 668 w 10785"/>
                  <a:gd name="connsiteY2183" fmla="*/ 5376 h 10000"/>
                  <a:gd name="connsiteX2184" fmla="*/ 581 w 10785"/>
                  <a:gd name="connsiteY2184" fmla="*/ 5316 h 10000"/>
                  <a:gd name="connsiteX2185" fmla="*/ 567 w 10785"/>
                  <a:gd name="connsiteY2185" fmla="*/ 5265 h 10000"/>
                  <a:gd name="connsiteX2186" fmla="*/ 562 w 10785"/>
                  <a:gd name="connsiteY2186" fmla="*/ 5256 h 10000"/>
                  <a:gd name="connsiteX2187" fmla="*/ 548 w 10785"/>
                  <a:gd name="connsiteY2187" fmla="*/ 5231 h 10000"/>
                  <a:gd name="connsiteX2188" fmla="*/ 535 w 10785"/>
                  <a:gd name="connsiteY2188" fmla="*/ 5214 h 10000"/>
                  <a:gd name="connsiteX2189" fmla="*/ 525 w 10785"/>
                  <a:gd name="connsiteY2189" fmla="*/ 5231 h 10000"/>
                  <a:gd name="connsiteX2190" fmla="*/ 521 w 10785"/>
                  <a:gd name="connsiteY2190" fmla="*/ 5231 h 10000"/>
                  <a:gd name="connsiteX2191" fmla="*/ 493 w 10785"/>
                  <a:gd name="connsiteY2191" fmla="*/ 5205 h 10000"/>
                  <a:gd name="connsiteX2192" fmla="*/ 488 w 10785"/>
                  <a:gd name="connsiteY2192" fmla="*/ 5179 h 10000"/>
                  <a:gd name="connsiteX2193" fmla="*/ 475 w 10785"/>
                  <a:gd name="connsiteY2193" fmla="*/ 5188 h 10000"/>
                  <a:gd name="connsiteX2194" fmla="*/ 475 w 10785"/>
                  <a:gd name="connsiteY2194" fmla="*/ 5171 h 10000"/>
                  <a:gd name="connsiteX2195" fmla="*/ 488 w 10785"/>
                  <a:gd name="connsiteY2195" fmla="*/ 5154 h 10000"/>
                  <a:gd name="connsiteX2196" fmla="*/ 488 w 10785"/>
                  <a:gd name="connsiteY2196" fmla="*/ 5068 h 10000"/>
                  <a:gd name="connsiteX2197" fmla="*/ 475 w 10785"/>
                  <a:gd name="connsiteY2197" fmla="*/ 5051 h 10000"/>
                  <a:gd name="connsiteX2198" fmla="*/ 475 w 10785"/>
                  <a:gd name="connsiteY2198" fmla="*/ 5017 h 10000"/>
                  <a:gd name="connsiteX2199" fmla="*/ 452 w 10785"/>
                  <a:gd name="connsiteY2199" fmla="*/ 4932 h 10000"/>
                  <a:gd name="connsiteX2200" fmla="*/ 461 w 10785"/>
                  <a:gd name="connsiteY2200" fmla="*/ 4915 h 10000"/>
                  <a:gd name="connsiteX2201" fmla="*/ 475 w 10785"/>
                  <a:gd name="connsiteY2201" fmla="*/ 4906 h 10000"/>
                  <a:gd name="connsiteX2202" fmla="*/ 479 w 10785"/>
                  <a:gd name="connsiteY2202" fmla="*/ 4803 h 10000"/>
                  <a:gd name="connsiteX2203" fmla="*/ 479 w 10785"/>
                  <a:gd name="connsiteY2203" fmla="*/ 4778 h 10000"/>
                  <a:gd name="connsiteX2204" fmla="*/ 475 w 10785"/>
                  <a:gd name="connsiteY2204" fmla="*/ 4761 h 10000"/>
                  <a:gd name="connsiteX2205" fmla="*/ 465 w 10785"/>
                  <a:gd name="connsiteY2205" fmla="*/ 4718 h 10000"/>
                  <a:gd name="connsiteX2206" fmla="*/ 461 w 10785"/>
                  <a:gd name="connsiteY2206" fmla="*/ 4709 h 10000"/>
                  <a:gd name="connsiteX2207" fmla="*/ 442 w 10785"/>
                  <a:gd name="connsiteY2207" fmla="*/ 4692 h 10000"/>
                  <a:gd name="connsiteX2208" fmla="*/ 433 w 10785"/>
                  <a:gd name="connsiteY2208" fmla="*/ 4667 h 10000"/>
                  <a:gd name="connsiteX2209" fmla="*/ 419 w 10785"/>
                  <a:gd name="connsiteY2209" fmla="*/ 4667 h 10000"/>
                  <a:gd name="connsiteX2210" fmla="*/ 401 w 10785"/>
                  <a:gd name="connsiteY2210" fmla="*/ 4658 h 10000"/>
                  <a:gd name="connsiteX2211" fmla="*/ 401 w 10785"/>
                  <a:gd name="connsiteY2211" fmla="*/ 4624 h 10000"/>
                  <a:gd name="connsiteX2212" fmla="*/ 401 w 10785"/>
                  <a:gd name="connsiteY2212" fmla="*/ 4607 h 10000"/>
                  <a:gd name="connsiteX2213" fmla="*/ 378 w 10785"/>
                  <a:gd name="connsiteY2213" fmla="*/ 4607 h 10000"/>
                  <a:gd name="connsiteX2214" fmla="*/ 341 w 10785"/>
                  <a:gd name="connsiteY2214" fmla="*/ 4530 h 10000"/>
                  <a:gd name="connsiteX2215" fmla="*/ 346 w 10785"/>
                  <a:gd name="connsiteY2215" fmla="*/ 4521 h 10000"/>
                  <a:gd name="connsiteX2216" fmla="*/ 332 w 10785"/>
                  <a:gd name="connsiteY2216" fmla="*/ 4487 h 10000"/>
                  <a:gd name="connsiteX2217" fmla="*/ 327 w 10785"/>
                  <a:gd name="connsiteY2217" fmla="*/ 4462 h 10000"/>
                  <a:gd name="connsiteX2218" fmla="*/ 313 w 10785"/>
                  <a:gd name="connsiteY2218" fmla="*/ 4436 h 10000"/>
                  <a:gd name="connsiteX2219" fmla="*/ 300 w 10785"/>
                  <a:gd name="connsiteY2219" fmla="*/ 4419 h 10000"/>
                  <a:gd name="connsiteX2220" fmla="*/ 309 w 10785"/>
                  <a:gd name="connsiteY2220" fmla="*/ 4393 h 10000"/>
                  <a:gd name="connsiteX2221" fmla="*/ 332 w 10785"/>
                  <a:gd name="connsiteY2221" fmla="*/ 4385 h 10000"/>
                  <a:gd name="connsiteX2222" fmla="*/ 355 w 10785"/>
                  <a:gd name="connsiteY2222" fmla="*/ 4419 h 10000"/>
                  <a:gd name="connsiteX2223" fmla="*/ 355 w 10785"/>
                  <a:gd name="connsiteY2223" fmla="*/ 4444 h 10000"/>
                  <a:gd name="connsiteX2224" fmla="*/ 369 w 10785"/>
                  <a:gd name="connsiteY2224" fmla="*/ 4470 h 10000"/>
                  <a:gd name="connsiteX2225" fmla="*/ 401 w 10785"/>
                  <a:gd name="connsiteY2225" fmla="*/ 4521 h 10000"/>
                  <a:gd name="connsiteX2226" fmla="*/ 406 w 10785"/>
                  <a:gd name="connsiteY2226" fmla="*/ 4513 h 10000"/>
                  <a:gd name="connsiteX2227" fmla="*/ 406 w 10785"/>
                  <a:gd name="connsiteY2227" fmla="*/ 4496 h 10000"/>
                  <a:gd name="connsiteX2228" fmla="*/ 419 w 10785"/>
                  <a:gd name="connsiteY2228" fmla="*/ 4521 h 10000"/>
                  <a:gd name="connsiteX2229" fmla="*/ 429 w 10785"/>
                  <a:gd name="connsiteY2229" fmla="*/ 4530 h 10000"/>
                  <a:gd name="connsiteX2230" fmla="*/ 433 w 10785"/>
                  <a:gd name="connsiteY2230" fmla="*/ 4521 h 10000"/>
                  <a:gd name="connsiteX2231" fmla="*/ 442 w 10785"/>
                  <a:gd name="connsiteY2231" fmla="*/ 4530 h 10000"/>
                  <a:gd name="connsiteX2232" fmla="*/ 447 w 10785"/>
                  <a:gd name="connsiteY2232" fmla="*/ 4521 h 10000"/>
                  <a:gd name="connsiteX2233" fmla="*/ 452 w 10785"/>
                  <a:gd name="connsiteY2233" fmla="*/ 4521 h 10000"/>
                  <a:gd name="connsiteX2234" fmla="*/ 461 w 10785"/>
                  <a:gd name="connsiteY2234" fmla="*/ 4573 h 10000"/>
                  <a:gd name="connsiteX2235" fmla="*/ 479 w 10785"/>
                  <a:gd name="connsiteY2235" fmla="*/ 4556 h 10000"/>
                  <a:gd name="connsiteX2236" fmla="*/ 502 w 10785"/>
                  <a:gd name="connsiteY2236" fmla="*/ 4573 h 10000"/>
                  <a:gd name="connsiteX2237" fmla="*/ 507 w 10785"/>
                  <a:gd name="connsiteY2237" fmla="*/ 4598 h 10000"/>
                  <a:gd name="connsiteX2238" fmla="*/ 525 w 10785"/>
                  <a:gd name="connsiteY2238" fmla="*/ 4598 h 10000"/>
                  <a:gd name="connsiteX2239" fmla="*/ 535 w 10785"/>
                  <a:gd name="connsiteY2239" fmla="*/ 4624 h 10000"/>
                  <a:gd name="connsiteX2240" fmla="*/ 594 w 10785"/>
                  <a:gd name="connsiteY2240" fmla="*/ 4658 h 10000"/>
                  <a:gd name="connsiteX2241" fmla="*/ 627 w 10785"/>
                  <a:gd name="connsiteY2241" fmla="*/ 4658 h 10000"/>
                  <a:gd name="connsiteX2242" fmla="*/ 654 w 10785"/>
                  <a:gd name="connsiteY2242" fmla="*/ 4684 h 10000"/>
                  <a:gd name="connsiteX2243" fmla="*/ 668 w 10785"/>
                  <a:gd name="connsiteY2243" fmla="*/ 4709 h 10000"/>
                  <a:gd name="connsiteX2244" fmla="*/ 747 w 10785"/>
                  <a:gd name="connsiteY2244" fmla="*/ 4718 h 10000"/>
                  <a:gd name="connsiteX2245" fmla="*/ 760 w 10785"/>
                  <a:gd name="connsiteY2245" fmla="*/ 4709 h 10000"/>
                  <a:gd name="connsiteX2246" fmla="*/ 774 w 10785"/>
                  <a:gd name="connsiteY2246" fmla="*/ 4692 h 10000"/>
                  <a:gd name="connsiteX2247" fmla="*/ 829 w 10785"/>
                  <a:gd name="connsiteY2247" fmla="*/ 4658 h 10000"/>
                  <a:gd name="connsiteX2248" fmla="*/ 903 w 10785"/>
                  <a:gd name="connsiteY2248" fmla="*/ 4496 h 10000"/>
                  <a:gd name="connsiteX2249" fmla="*/ 917 w 10785"/>
                  <a:gd name="connsiteY2249" fmla="*/ 4385 h 10000"/>
                  <a:gd name="connsiteX2250" fmla="*/ 903 w 10785"/>
                  <a:gd name="connsiteY2250" fmla="*/ 4376 h 10000"/>
                  <a:gd name="connsiteX2251" fmla="*/ 903 w 10785"/>
                  <a:gd name="connsiteY2251" fmla="*/ 4376 h 10000"/>
                  <a:gd name="connsiteX2252" fmla="*/ 889 w 10785"/>
                  <a:gd name="connsiteY2252" fmla="*/ 4239 h 10000"/>
                  <a:gd name="connsiteX2253" fmla="*/ 880 w 10785"/>
                  <a:gd name="connsiteY2253" fmla="*/ 4214 h 10000"/>
                  <a:gd name="connsiteX2254" fmla="*/ 862 w 10785"/>
                  <a:gd name="connsiteY2254" fmla="*/ 4188 h 10000"/>
                  <a:gd name="connsiteX2255" fmla="*/ 857 w 10785"/>
                  <a:gd name="connsiteY2255" fmla="*/ 4197 h 10000"/>
                  <a:gd name="connsiteX2256" fmla="*/ 848 w 10785"/>
                  <a:gd name="connsiteY2256" fmla="*/ 4188 h 10000"/>
                  <a:gd name="connsiteX2257" fmla="*/ 848 w 10785"/>
                  <a:gd name="connsiteY2257" fmla="*/ 4162 h 10000"/>
                  <a:gd name="connsiteX2258" fmla="*/ 829 w 10785"/>
                  <a:gd name="connsiteY2258" fmla="*/ 4120 h 10000"/>
                  <a:gd name="connsiteX2259" fmla="*/ 820 w 10785"/>
                  <a:gd name="connsiteY2259" fmla="*/ 4103 h 10000"/>
                  <a:gd name="connsiteX2260" fmla="*/ 806 w 10785"/>
                  <a:gd name="connsiteY2260" fmla="*/ 4077 h 10000"/>
                  <a:gd name="connsiteX2261" fmla="*/ 816 w 10785"/>
                  <a:gd name="connsiteY2261" fmla="*/ 4111 h 10000"/>
                  <a:gd name="connsiteX2262" fmla="*/ 802 w 10785"/>
                  <a:gd name="connsiteY2262" fmla="*/ 4111 h 10000"/>
                  <a:gd name="connsiteX2263" fmla="*/ 770 w 10785"/>
                  <a:gd name="connsiteY2263" fmla="*/ 4060 h 10000"/>
                  <a:gd name="connsiteX2264" fmla="*/ 760 w 10785"/>
                  <a:gd name="connsiteY2264" fmla="*/ 4077 h 10000"/>
                  <a:gd name="connsiteX2265" fmla="*/ 760 w 10785"/>
                  <a:gd name="connsiteY2265" fmla="*/ 4060 h 10000"/>
                  <a:gd name="connsiteX2266" fmla="*/ 756 w 10785"/>
                  <a:gd name="connsiteY2266" fmla="*/ 4034 h 10000"/>
                  <a:gd name="connsiteX2267" fmla="*/ 742 w 10785"/>
                  <a:gd name="connsiteY2267" fmla="*/ 4000 h 10000"/>
                  <a:gd name="connsiteX2268" fmla="*/ 747 w 10785"/>
                  <a:gd name="connsiteY2268" fmla="*/ 4034 h 10000"/>
                  <a:gd name="connsiteX2269" fmla="*/ 724 w 10785"/>
                  <a:gd name="connsiteY2269" fmla="*/ 4026 h 10000"/>
                  <a:gd name="connsiteX2270" fmla="*/ 714 w 10785"/>
                  <a:gd name="connsiteY2270" fmla="*/ 4000 h 10000"/>
                  <a:gd name="connsiteX2271" fmla="*/ 714 w 10785"/>
                  <a:gd name="connsiteY2271" fmla="*/ 3983 h 10000"/>
                  <a:gd name="connsiteX2272" fmla="*/ 553 w 10785"/>
                  <a:gd name="connsiteY2272" fmla="*/ 3726 h 10000"/>
                  <a:gd name="connsiteX2273" fmla="*/ 507 w 10785"/>
                  <a:gd name="connsiteY2273" fmla="*/ 3718 h 10000"/>
                  <a:gd name="connsiteX2274" fmla="*/ 516 w 10785"/>
                  <a:gd name="connsiteY2274" fmla="*/ 3726 h 10000"/>
                  <a:gd name="connsiteX2275" fmla="*/ 507 w 10785"/>
                  <a:gd name="connsiteY2275" fmla="*/ 3735 h 10000"/>
                  <a:gd name="connsiteX2276" fmla="*/ 502 w 10785"/>
                  <a:gd name="connsiteY2276" fmla="*/ 3735 h 10000"/>
                  <a:gd name="connsiteX2277" fmla="*/ 419 w 10785"/>
                  <a:gd name="connsiteY2277" fmla="*/ 3675 h 10000"/>
                  <a:gd name="connsiteX2278" fmla="*/ 419 w 10785"/>
                  <a:gd name="connsiteY2278" fmla="*/ 3692 h 10000"/>
                  <a:gd name="connsiteX2279" fmla="*/ 401 w 10785"/>
                  <a:gd name="connsiteY2279" fmla="*/ 3701 h 10000"/>
                  <a:gd name="connsiteX2280" fmla="*/ 387 w 10785"/>
                  <a:gd name="connsiteY2280" fmla="*/ 3718 h 10000"/>
                  <a:gd name="connsiteX2281" fmla="*/ 387 w 10785"/>
                  <a:gd name="connsiteY2281" fmla="*/ 3692 h 10000"/>
                  <a:gd name="connsiteX2282" fmla="*/ 378 w 10785"/>
                  <a:gd name="connsiteY2282" fmla="*/ 3675 h 10000"/>
                  <a:gd name="connsiteX2283" fmla="*/ 378 w 10785"/>
                  <a:gd name="connsiteY2283" fmla="*/ 3650 h 10000"/>
                  <a:gd name="connsiteX2284" fmla="*/ 378 w 10785"/>
                  <a:gd name="connsiteY2284" fmla="*/ 3650 h 10000"/>
                  <a:gd name="connsiteX2285" fmla="*/ 355 w 10785"/>
                  <a:gd name="connsiteY2285" fmla="*/ 3675 h 10000"/>
                  <a:gd name="connsiteX2286" fmla="*/ 359 w 10785"/>
                  <a:gd name="connsiteY2286" fmla="*/ 3641 h 10000"/>
                  <a:gd name="connsiteX2287" fmla="*/ 346 w 10785"/>
                  <a:gd name="connsiteY2287" fmla="*/ 3650 h 10000"/>
                  <a:gd name="connsiteX2288" fmla="*/ 355 w 10785"/>
                  <a:gd name="connsiteY2288" fmla="*/ 3624 h 10000"/>
                  <a:gd name="connsiteX2289" fmla="*/ 346 w 10785"/>
                  <a:gd name="connsiteY2289" fmla="*/ 3624 h 10000"/>
                  <a:gd name="connsiteX2290" fmla="*/ 341 w 10785"/>
                  <a:gd name="connsiteY2290" fmla="*/ 3624 h 10000"/>
                  <a:gd name="connsiteX2291" fmla="*/ 318 w 10785"/>
                  <a:gd name="connsiteY2291" fmla="*/ 3641 h 10000"/>
                  <a:gd name="connsiteX2292" fmla="*/ 327 w 10785"/>
                  <a:gd name="connsiteY2292" fmla="*/ 3624 h 10000"/>
                  <a:gd name="connsiteX2293" fmla="*/ 318 w 10785"/>
                  <a:gd name="connsiteY2293" fmla="*/ 3615 h 10000"/>
                  <a:gd name="connsiteX2294" fmla="*/ 318 w 10785"/>
                  <a:gd name="connsiteY2294" fmla="*/ 3598 h 10000"/>
                  <a:gd name="connsiteX2295" fmla="*/ 300 w 10785"/>
                  <a:gd name="connsiteY2295" fmla="*/ 3598 h 10000"/>
                  <a:gd name="connsiteX2296" fmla="*/ 309 w 10785"/>
                  <a:gd name="connsiteY2296" fmla="*/ 3538 h 10000"/>
                  <a:gd name="connsiteX2297" fmla="*/ 313 w 10785"/>
                  <a:gd name="connsiteY2297" fmla="*/ 3564 h 10000"/>
                  <a:gd name="connsiteX2298" fmla="*/ 318 w 10785"/>
                  <a:gd name="connsiteY2298" fmla="*/ 3581 h 10000"/>
                  <a:gd name="connsiteX2299" fmla="*/ 327 w 10785"/>
                  <a:gd name="connsiteY2299" fmla="*/ 3564 h 10000"/>
                  <a:gd name="connsiteX2300" fmla="*/ 332 w 10785"/>
                  <a:gd name="connsiteY2300" fmla="*/ 3590 h 10000"/>
                  <a:gd name="connsiteX2301" fmla="*/ 346 w 10785"/>
                  <a:gd name="connsiteY2301" fmla="*/ 3590 h 10000"/>
                  <a:gd name="connsiteX2302" fmla="*/ 355 w 10785"/>
                  <a:gd name="connsiteY2302" fmla="*/ 3590 h 10000"/>
                  <a:gd name="connsiteX2303" fmla="*/ 369 w 10785"/>
                  <a:gd name="connsiteY2303" fmla="*/ 3556 h 10000"/>
                  <a:gd name="connsiteX2304" fmla="*/ 369 w 10785"/>
                  <a:gd name="connsiteY2304" fmla="*/ 3538 h 10000"/>
                  <a:gd name="connsiteX2305" fmla="*/ 346 w 10785"/>
                  <a:gd name="connsiteY2305" fmla="*/ 3513 h 10000"/>
                  <a:gd name="connsiteX2306" fmla="*/ 341 w 10785"/>
                  <a:gd name="connsiteY2306" fmla="*/ 3530 h 10000"/>
                  <a:gd name="connsiteX2307" fmla="*/ 327 w 10785"/>
                  <a:gd name="connsiteY2307" fmla="*/ 3513 h 10000"/>
                  <a:gd name="connsiteX2308" fmla="*/ 327 w 10785"/>
                  <a:gd name="connsiteY2308" fmla="*/ 3504 h 10000"/>
                  <a:gd name="connsiteX2309" fmla="*/ 295 w 10785"/>
                  <a:gd name="connsiteY2309" fmla="*/ 3462 h 10000"/>
                  <a:gd name="connsiteX2310" fmla="*/ 300 w 10785"/>
                  <a:gd name="connsiteY2310" fmla="*/ 3479 h 10000"/>
                  <a:gd name="connsiteX2311" fmla="*/ 295 w 10785"/>
                  <a:gd name="connsiteY2311" fmla="*/ 3513 h 10000"/>
                  <a:gd name="connsiteX2312" fmla="*/ 286 w 10785"/>
                  <a:gd name="connsiteY2312" fmla="*/ 3513 h 10000"/>
                  <a:gd name="connsiteX2313" fmla="*/ 281 w 10785"/>
                  <a:gd name="connsiteY2313" fmla="*/ 3513 h 10000"/>
                  <a:gd name="connsiteX2314" fmla="*/ 281 w 10785"/>
                  <a:gd name="connsiteY2314" fmla="*/ 3530 h 10000"/>
                  <a:gd name="connsiteX2315" fmla="*/ 281 w 10785"/>
                  <a:gd name="connsiteY2315" fmla="*/ 3556 h 10000"/>
                  <a:gd name="connsiteX2316" fmla="*/ 272 w 10785"/>
                  <a:gd name="connsiteY2316" fmla="*/ 3564 h 10000"/>
                  <a:gd name="connsiteX2317" fmla="*/ 267 w 10785"/>
                  <a:gd name="connsiteY2317" fmla="*/ 3564 h 10000"/>
                  <a:gd name="connsiteX2318" fmla="*/ 253 w 10785"/>
                  <a:gd name="connsiteY2318" fmla="*/ 3538 h 10000"/>
                  <a:gd name="connsiteX2319" fmla="*/ 226 w 10785"/>
                  <a:gd name="connsiteY2319" fmla="*/ 3513 h 10000"/>
                  <a:gd name="connsiteX2320" fmla="*/ 226 w 10785"/>
                  <a:gd name="connsiteY2320" fmla="*/ 3530 h 10000"/>
                  <a:gd name="connsiteX2321" fmla="*/ 226 w 10785"/>
                  <a:gd name="connsiteY2321" fmla="*/ 3530 h 10000"/>
                  <a:gd name="connsiteX2322" fmla="*/ 226 w 10785"/>
                  <a:gd name="connsiteY2322" fmla="*/ 3530 h 10000"/>
                  <a:gd name="connsiteX2323" fmla="*/ 226 w 10785"/>
                  <a:gd name="connsiteY2323" fmla="*/ 3556 h 10000"/>
                  <a:gd name="connsiteX2324" fmla="*/ 221 w 10785"/>
                  <a:gd name="connsiteY2324" fmla="*/ 3598 h 10000"/>
                  <a:gd name="connsiteX2325" fmla="*/ 207 w 10785"/>
                  <a:gd name="connsiteY2325" fmla="*/ 3598 h 10000"/>
                  <a:gd name="connsiteX2326" fmla="*/ 180 w 10785"/>
                  <a:gd name="connsiteY2326" fmla="*/ 3581 h 10000"/>
                  <a:gd name="connsiteX2327" fmla="*/ 171 w 10785"/>
                  <a:gd name="connsiteY2327" fmla="*/ 3641 h 10000"/>
                  <a:gd name="connsiteX2328" fmla="*/ 166 w 10785"/>
                  <a:gd name="connsiteY2328" fmla="*/ 3650 h 10000"/>
                  <a:gd name="connsiteX2329" fmla="*/ 124 w 10785"/>
                  <a:gd name="connsiteY2329" fmla="*/ 3701 h 10000"/>
                  <a:gd name="connsiteX2330" fmla="*/ 124 w 10785"/>
                  <a:gd name="connsiteY2330" fmla="*/ 3718 h 10000"/>
                  <a:gd name="connsiteX2331" fmla="*/ 120 w 10785"/>
                  <a:gd name="connsiteY2331" fmla="*/ 3735 h 10000"/>
                  <a:gd name="connsiteX2332" fmla="*/ 120 w 10785"/>
                  <a:gd name="connsiteY2332" fmla="*/ 3735 h 10000"/>
                  <a:gd name="connsiteX2333" fmla="*/ 111 w 10785"/>
                  <a:gd name="connsiteY2333" fmla="*/ 3761 h 10000"/>
                  <a:gd name="connsiteX2334" fmla="*/ 106 w 10785"/>
                  <a:gd name="connsiteY2334" fmla="*/ 3761 h 10000"/>
                  <a:gd name="connsiteX2335" fmla="*/ 106 w 10785"/>
                  <a:gd name="connsiteY2335" fmla="*/ 3761 h 10000"/>
                  <a:gd name="connsiteX2336" fmla="*/ 74 w 10785"/>
                  <a:gd name="connsiteY2336" fmla="*/ 3829 h 10000"/>
                  <a:gd name="connsiteX2337" fmla="*/ 78 w 10785"/>
                  <a:gd name="connsiteY2337" fmla="*/ 3838 h 10000"/>
                  <a:gd name="connsiteX2338" fmla="*/ 88 w 10785"/>
                  <a:gd name="connsiteY2338" fmla="*/ 3846 h 10000"/>
                  <a:gd name="connsiteX2339" fmla="*/ 65 w 10785"/>
                  <a:gd name="connsiteY2339" fmla="*/ 3923 h 10000"/>
                  <a:gd name="connsiteX2340" fmla="*/ 78 w 10785"/>
                  <a:gd name="connsiteY2340" fmla="*/ 4026 h 10000"/>
                  <a:gd name="connsiteX2341" fmla="*/ 88 w 10785"/>
                  <a:gd name="connsiteY2341" fmla="*/ 4051 h 10000"/>
                  <a:gd name="connsiteX2342" fmla="*/ 92 w 10785"/>
                  <a:gd name="connsiteY2342" fmla="*/ 4060 h 10000"/>
                  <a:gd name="connsiteX2343" fmla="*/ 111 w 10785"/>
                  <a:gd name="connsiteY2343" fmla="*/ 4060 h 10000"/>
                  <a:gd name="connsiteX2344" fmla="*/ 124 w 10785"/>
                  <a:gd name="connsiteY2344" fmla="*/ 4085 h 10000"/>
                  <a:gd name="connsiteX2345" fmla="*/ 166 w 10785"/>
                  <a:gd name="connsiteY2345" fmla="*/ 4197 h 10000"/>
                  <a:gd name="connsiteX2346" fmla="*/ 166 w 10785"/>
                  <a:gd name="connsiteY2346" fmla="*/ 4248 h 10000"/>
                  <a:gd name="connsiteX2347" fmla="*/ 120 w 10785"/>
                  <a:gd name="connsiteY2347" fmla="*/ 4462 h 10000"/>
                  <a:gd name="connsiteX2348" fmla="*/ 120 w 10785"/>
                  <a:gd name="connsiteY2348" fmla="*/ 4513 h 10000"/>
                  <a:gd name="connsiteX2349" fmla="*/ 180 w 10785"/>
                  <a:gd name="connsiteY2349" fmla="*/ 4829 h 10000"/>
                  <a:gd name="connsiteX2350" fmla="*/ 161 w 10785"/>
                  <a:gd name="connsiteY2350" fmla="*/ 4855 h 10000"/>
                  <a:gd name="connsiteX2351" fmla="*/ 152 w 10785"/>
                  <a:gd name="connsiteY2351" fmla="*/ 4940 h 10000"/>
                  <a:gd name="connsiteX2352" fmla="*/ 161 w 10785"/>
                  <a:gd name="connsiteY2352" fmla="*/ 4966 h 10000"/>
                  <a:gd name="connsiteX2353" fmla="*/ 161 w 10785"/>
                  <a:gd name="connsiteY2353" fmla="*/ 5009 h 10000"/>
                  <a:gd name="connsiteX2354" fmla="*/ 152 w 10785"/>
                  <a:gd name="connsiteY2354" fmla="*/ 5034 h 10000"/>
                  <a:gd name="connsiteX2355" fmla="*/ 152 w 10785"/>
                  <a:gd name="connsiteY2355" fmla="*/ 5077 h 10000"/>
                  <a:gd name="connsiteX2356" fmla="*/ 171 w 10785"/>
                  <a:gd name="connsiteY2356" fmla="*/ 5094 h 10000"/>
                  <a:gd name="connsiteX2357" fmla="*/ 180 w 10785"/>
                  <a:gd name="connsiteY2357" fmla="*/ 5128 h 10000"/>
                  <a:gd name="connsiteX2358" fmla="*/ 180 w 10785"/>
                  <a:gd name="connsiteY2358" fmla="*/ 5171 h 10000"/>
                  <a:gd name="connsiteX2359" fmla="*/ 184 w 10785"/>
                  <a:gd name="connsiteY2359" fmla="*/ 5205 h 10000"/>
                  <a:gd name="connsiteX2360" fmla="*/ 207 w 10785"/>
                  <a:gd name="connsiteY2360" fmla="*/ 5239 h 10000"/>
                  <a:gd name="connsiteX2361" fmla="*/ 207 w 10785"/>
                  <a:gd name="connsiteY2361" fmla="*/ 5282 h 10000"/>
                  <a:gd name="connsiteX2362" fmla="*/ 180 w 10785"/>
                  <a:gd name="connsiteY2362" fmla="*/ 5393 h 10000"/>
                  <a:gd name="connsiteX2363" fmla="*/ 194 w 10785"/>
                  <a:gd name="connsiteY2363" fmla="*/ 5427 h 10000"/>
                  <a:gd name="connsiteX2364" fmla="*/ 198 w 10785"/>
                  <a:gd name="connsiteY2364" fmla="*/ 5462 h 10000"/>
                  <a:gd name="connsiteX2365" fmla="*/ 235 w 10785"/>
                  <a:gd name="connsiteY2365" fmla="*/ 5513 h 10000"/>
                  <a:gd name="connsiteX2366" fmla="*/ 240 w 10785"/>
                  <a:gd name="connsiteY2366" fmla="*/ 5556 h 10000"/>
                  <a:gd name="connsiteX2367" fmla="*/ 253 w 10785"/>
                  <a:gd name="connsiteY2367" fmla="*/ 5590 h 10000"/>
                  <a:gd name="connsiteX2368" fmla="*/ 258 w 10785"/>
                  <a:gd name="connsiteY2368" fmla="*/ 5573 h 10000"/>
                  <a:gd name="connsiteX2369" fmla="*/ 258 w 10785"/>
                  <a:gd name="connsiteY2369" fmla="*/ 5667 h 10000"/>
                  <a:gd name="connsiteX2370" fmla="*/ 14 w 10785"/>
                  <a:gd name="connsiteY2370" fmla="*/ 6214 h 10000"/>
                  <a:gd name="connsiteX2371" fmla="*/ 14 w 10785"/>
                  <a:gd name="connsiteY2371" fmla="*/ 6214 h 10000"/>
                  <a:gd name="connsiteX2372" fmla="*/ 37 w 10785"/>
                  <a:gd name="connsiteY2372" fmla="*/ 6214 h 10000"/>
                  <a:gd name="connsiteX2373" fmla="*/ 51 w 10785"/>
                  <a:gd name="connsiteY2373" fmla="*/ 6188 h 10000"/>
                  <a:gd name="connsiteX2374" fmla="*/ 78 w 10785"/>
                  <a:gd name="connsiteY2374" fmla="*/ 6162 h 10000"/>
                  <a:gd name="connsiteX2375" fmla="*/ 78 w 10785"/>
                  <a:gd name="connsiteY2375" fmla="*/ 6188 h 10000"/>
                  <a:gd name="connsiteX2376" fmla="*/ 74 w 10785"/>
                  <a:gd name="connsiteY2376" fmla="*/ 6197 h 10000"/>
                  <a:gd name="connsiteX2377" fmla="*/ 74 w 10785"/>
                  <a:gd name="connsiteY2377" fmla="*/ 6231 h 10000"/>
                  <a:gd name="connsiteX2378" fmla="*/ 74 w 10785"/>
                  <a:gd name="connsiteY2378" fmla="*/ 6214 h 10000"/>
                  <a:gd name="connsiteX2379" fmla="*/ 65 w 10785"/>
                  <a:gd name="connsiteY2379" fmla="*/ 6214 h 10000"/>
                  <a:gd name="connsiteX2380" fmla="*/ 65 w 10785"/>
                  <a:gd name="connsiteY2380" fmla="*/ 6248 h 10000"/>
                  <a:gd name="connsiteX2381" fmla="*/ 74 w 10785"/>
                  <a:gd name="connsiteY2381" fmla="*/ 6256 h 10000"/>
                  <a:gd name="connsiteX2382" fmla="*/ 78 w 10785"/>
                  <a:gd name="connsiteY2382" fmla="*/ 6256 h 10000"/>
                  <a:gd name="connsiteX2383" fmla="*/ 106 w 10785"/>
                  <a:gd name="connsiteY2383" fmla="*/ 6308 h 10000"/>
                  <a:gd name="connsiteX2384" fmla="*/ 138 w 10785"/>
                  <a:gd name="connsiteY2384" fmla="*/ 6299 h 10000"/>
                  <a:gd name="connsiteX2385" fmla="*/ 152 w 10785"/>
                  <a:gd name="connsiteY2385" fmla="*/ 6299 h 10000"/>
                  <a:gd name="connsiteX2386" fmla="*/ 166 w 10785"/>
                  <a:gd name="connsiteY2386" fmla="*/ 6325 h 10000"/>
                  <a:gd name="connsiteX2387" fmla="*/ 166 w 10785"/>
                  <a:gd name="connsiteY2387" fmla="*/ 6333 h 10000"/>
                  <a:gd name="connsiteX2388" fmla="*/ 171 w 10785"/>
                  <a:gd name="connsiteY2388" fmla="*/ 6350 h 10000"/>
                  <a:gd name="connsiteX2389" fmla="*/ 180 w 10785"/>
                  <a:gd name="connsiteY2389" fmla="*/ 6350 h 10000"/>
                  <a:gd name="connsiteX2390" fmla="*/ 180 w 10785"/>
                  <a:gd name="connsiteY2390" fmla="*/ 6359 h 10000"/>
                  <a:gd name="connsiteX2391" fmla="*/ 171 w 10785"/>
                  <a:gd name="connsiteY2391" fmla="*/ 6368 h 10000"/>
                  <a:gd name="connsiteX2392" fmla="*/ 106 w 10785"/>
                  <a:gd name="connsiteY2392" fmla="*/ 6350 h 10000"/>
                  <a:gd name="connsiteX2393" fmla="*/ 101 w 10785"/>
                  <a:gd name="connsiteY2393" fmla="*/ 6359 h 10000"/>
                  <a:gd name="connsiteX2394" fmla="*/ 101 w 10785"/>
                  <a:gd name="connsiteY2394" fmla="*/ 6385 h 10000"/>
                  <a:gd name="connsiteX2395" fmla="*/ 78 w 10785"/>
                  <a:gd name="connsiteY2395" fmla="*/ 6393 h 10000"/>
                  <a:gd name="connsiteX2396" fmla="*/ 74 w 10785"/>
                  <a:gd name="connsiteY2396" fmla="*/ 6385 h 10000"/>
                  <a:gd name="connsiteX2397" fmla="*/ 65 w 10785"/>
                  <a:gd name="connsiteY2397" fmla="*/ 6393 h 10000"/>
                  <a:gd name="connsiteX2398" fmla="*/ 60 w 10785"/>
                  <a:gd name="connsiteY2398" fmla="*/ 6419 h 10000"/>
                  <a:gd name="connsiteX2399" fmla="*/ 51 w 10785"/>
                  <a:gd name="connsiteY2399" fmla="*/ 6419 h 10000"/>
                  <a:gd name="connsiteX2400" fmla="*/ 46 w 10785"/>
                  <a:gd name="connsiteY2400" fmla="*/ 6410 h 10000"/>
                  <a:gd name="connsiteX2401" fmla="*/ 37 w 10785"/>
                  <a:gd name="connsiteY2401" fmla="*/ 6393 h 10000"/>
                  <a:gd name="connsiteX2402" fmla="*/ 32 w 10785"/>
                  <a:gd name="connsiteY2402" fmla="*/ 6419 h 10000"/>
                  <a:gd name="connsiteX2403" fmla="*/ 37 w 10785"/>
                  <a:gd name="connsiteY2403" fmla="*/ 6462 h 10000"/>
                  <a:gd name="connsiteX2404" fmla="*/ 46 w 10785"/>
                  <a:gd name="connsiteY2404" fmla="*/ 6462 h 10000"/>
                  <a:gd name="connsiteX2405" fmla="*/ 51 w 10785"/>
                  <a:gd name="connsiteY2405" fmla="*/ 6470 h 10000"/>
                  <a:gd name="connsiteX2406" fmla="*/ 51 w 10785"/>
                  <a:gd name="connsiteY2406" fmla="*/ 6496 h 10000"/>
                  <a:gd name="connsiteX2407" fmla="*/ 51 w 10785"/>
                  <a:gd name="connsiteY2407" fmla="*/ 6504 h 10000"/>
                  <a:gd name="connsiteX2408" fmla="*/ 37 w 10785"/>
                  <a:gd name="connsiteY2408" fmla="*/ 6530 h 10000"/>
                  <a:gd name="connsiteX2409" fmla="*/ 18 w 10785"/>
                  <a:gd name="connsiteY2409" fmla="*/ 6598 h 10000"/>
                  <a:gd name="connsiteX2410" fmla="*/ 28 w 10785"/>
                  <a:gd name="connsiteY2410" fmla="*/ 6632 h 10000"/>
                  <a:gd name="connsiteX2411" fmla="*/ 18 w 10785"/>
                  <a:gd name="connsiteY2411" fmla="*/ 6667 h 10000"/>
                  <a:gd name="connsiteX2412" fmla="*/ 28 w 10785"/>
                  <a:gd name="connsiteY2412" fmla="*/ 6692 h 10000"/>
                  <a:gd name="connsiteX2413" fmla="*/ 28 w 10785"/>
                  <a:gd name="connsiteY2413" fmla="*/ 6709 h 10000"/>
                  <a:gd name="connsiteX2414" fmla="*/ 18 w 10785"/>
                  <a:gd name="connsiteY2414" fmla="*/ 6718 h 10000"/>
                  <a:gd name="connsiteX2415" fmla="*/ 5 w 10785"/>
                  <a:gd name="connsiteY2415" fmla="*/ 6744 h 10000"/>
                  <a:gd name="connsiteX2416" fmla="*/ 0 w 10785"/>
                  <a:gd name="connsiteY2416" fmla="*/ 6769 h 10000"/>
                  <a:gd name="connsiteX2417" fmla="*/ 5 w 10785"/>
                  <a:gd name="connsiteY2417" fmla="*/ 6778 h 10000"/>
                  <a:gd name="connsiteX2418" fmla="*/ 32 w 10785"/>
                  <a:gd name="connsiteY2418" fmla="*/ 6778 h 10000"/>
                  <a:gd name="connsiteX2419" fmla="*/ 46 w 10785"/>
                  <a:gd name="connsiteY2419" fmla="*/ 6821 h 10000"/>
                  <a:gd name="connsiteX2420" fmla="*/ 46 w 10785"/>
                  <a:gd name="connsiteY2420" fmla="*/ 6855 h 10000"/>
                  <a:gd name="connsiteX2421" fmla="*/ 32 w 10785"/>
                  <a:gd name="connsiteY2421" fmla="*/ 6855 h 10000"/>
                  <a:gd name="connsiteX2422" fmla="*/ 14 w 10785"/>
                  <a:gd name="connsiteY2422" fmla="*/ 6821 h 10000"/>
                  <a:gd name="connsiteX2423" fmla="*/ 14 w 10785"/>
                  <a:gd name="connsiteY2423" fmla="*/ 6846 h 10000"/>
                  <a:gd name="connsiteX2424" fmla="*/ 0 w 10785"/>
                  <a:gd name="connsiteY2424" fmla="*/ 6897 h 10000"/>
                  <a:gd name="connsiteX2425" fmla="*/ 0 w 10785"/>
                  <a:gd name="connsiteY2425" fmla="*/ 6915 h 10000"/>
                  <a:gd name="connsiteX2426" fmla="*/ 5 w 10785"/>
                  <a:gd name="connsiteY2426" fmla="*/ 6932 h 10000"/>
                  <a:gd name="connsiteX2427" fmla="*/ 14 w 10785"/>
                  <a:gd name="connsiteY2427" fmla="*/ 6940 h 10000"/>
                  <a:gd name="connsiteX2428" fmla="*/ 18 w 10785"/>
                  <a:gd name="connsiteY2428" fmla="*/ 6957 h 10000"/>
                  <a:gd name="connsiteX2429" fmla="*/ 28 w 10785"/>
                  <a:gd name="connsiteY2429" fmla="*/ 6966 h 10000"/>
                  <a:gd name="connsiteX2430" fmla="*/ 28 w 10785"/>
                  <a:gd name="connsiteY2430" fmla="*/ 6983 h 10000"/>
                  <a:gd name="connsiteX2431" fmla="*/ 18 w 10785"/>
                  <a:gd name="connsiteY2431" fmla="*/ 7051 h 10000"/>
                  <a:gd name="connsiteX2432" fmla="*/ 28 w 10785"/>
                  <a:gd name="connsiteY2432" fmla="*/ 7068 h 10000"/>
                  <a:gd name="connsiteX2433" fmla="*/ 32 w 10785"/>
                  <a:gd name="connsiteY2433" fmla="*/ 7068 h 10000"/>
                  <a:gd name="connsiteX2434" fmla="*/ 32 w 10785"/>
                  <a:gd name="connsiteY2434" fmla="*/ 7094 h 10000"/>
                  <a:gd name="connsiteX2435" fmla="*/ 60 w 10785"/>
                  <a:gd name="connsiteY2435" fmla="*/ 7162 h 10000"/>
                  <a:gd name="connsiteX2436" fmla="*/ 60 w 10785"/>
                  <a:gd name="connsiteY2436" fmla="*/ 7231 h 10000"/>
                  <a:gd name="connsiteX2437" fmla="*/ 60 w 10785"/>
                  <a:gd name="connsiteY2437" fmla="*/ 7239 h 10000"/>
                  <a:gd name="connsiteX2438" fmla="*/ 78 w 10785"/>
                  <a:gd name="connsiteY2438" fmla="*/ 7239 h 10000"/>
                  <a:gd name="connsiteX2439" fmla="*/ 88 w 10785"/>
                  <a:gd name="connsiteY2439" fmla="*/ 7239 h 10000"/>
                  <a:gd name="connsiteX2440" fmla="*/ 92 w 10785"/>
                  <a:gd name="connsiteY2440" fmla="*/ 7256 h 10000"/>
                  <a:gd name="connsiteX2441" fmla="*/ 111 w 10785"/>
                  <a:gd name="connsiteY2441" fmla="*/ 7256 h 10000"/>
                  <a:gd name="connsiteX2442" fmla="*/ 120 w 10785"/>
                  <a:gd name="connsiteY2442" fmla="*/ 7256 h 10000"/>
                  <a:gd name="connsiteX2443" fmla="*/ 134 w 10785"/>
                  <a:gd name="connsiteY2443" fmla="*/ 7282 h 10000"/>
                  <a:gd name="connsiteX2444" fmla="*/ 134 w 10785"/>
                  <a:gd name="connsiteY2444" fmla="*/ 7316 h 10000"/>
                  <a:gd name="connsiteX2445" fmla="*/ 152 w 10785"/>
                  <a:gd name="connsiteY2445" fmla="*/ 7299 h 10000"/>
                  <a:gd name="connsiteX2446" fmla="*/ 161 w 10785"/>
                  <a:gd name="connsiteY2446" fmla="*/ 7299 h 10000"/>
                  <a:gd name="connsiteX2447" fmla="*/ 166 w 10785"/>
                  <a:gd name="connsiteY2447" fmla="*/ 7291 h 10000"/>
                  <a:gd name="connsiteX2448" fmla="*/ 194 w 10785"/>
                  <a:gd name="connsiteY2448" fmla="*/ 7291 h 10000"/>
                  <a:gd name="connsiteX2449" fmla="*/ 207 w 10785"/>
                  <a:gd name="connsiteY2449" fmla="*/ 7299 h 10000"/>
                  <a:gd name="connsiteX2450" fmla="*/ 221 w 10785"/>
                  <a:gd name="connsiteY2450" fmla="*/ 7342 h 10000"/>
                  <a:gd name="connsiteX2451" fmla="*/ 235 w 10785"/>
                  <a:gd name="connsiteY2451" fmla="*/ 7342 h 10000"/>
                  <a:gd name="connsiteX2452" fmla="*/ 235 w 10785"/>
                  <a:gd name="connsiteY2452" fmla="*/ 7368 h 10000"/>
                  <a:gd name="connsiteX2453" fmla="*/ 226 w 10785"/>
                  <a:gd name="connsiteY2453" fmla="*/ 7393 h 10000"/>
                  <a:gd name="connsiteX2454" fmla="*/ 226 w 10785"/>
                  <a:gd name="connsiteY2454" fmla="*/ 7402 h 10000"/>
                  <a:gd name="connsiteX2455" fmla="*/ 235 w 10785"/>
                  <a:gd name="connsiteY2455" fmla="*/ 7419 h 10000"/>
                  <a:gd name="connsiteX2456" fmla="*/ 240 w 10785"/>
                  <a:gd name="connsiteY2456" fmla="*/ 7436 h 10000"/>
                  <a:gd name="connsiteX2457" fmla="*/ 235 w 10785"/>
                  <a:gd name="connsiteY2457" fmla="*/ 7462 h 10000"/>
                  <a:gd name="connsiteX2458" fmla="*/ 226 w 10785"/>
                  <a:gd name="connsiteY2458" fmla="*/ 7479 h 10000"/>
                  <a:gd name="connsiteX2459" fmla="*/ 226 w 10785"/>
                  <a:gd name="connsiteY2459" fmla="*/ 7504 h 10000"/>
                  <a:gd name="connsiteX2460" fmla="*/ 226 w 10785"/>
                  <a:gd name="connsiteY2460" fmla="*/ 7513 h 10000"/>
                  <a:gd name="connsiteX2461" fmla="*/ 240 w 10785"/>
                  <a:gd name="connsiteY2461" fmla="*/ 7538 h 10000"/>
                  <a:gd name="connsiteX2462" fmla="*/ 267 w 10785"/>
                  <a:gd name="connsiteY2462" fmla="*/ 7641 h 10000"/>
                  <a:gd name="connsiteX2463" fmla="*/ 281 w 10785"/>
                  <a:gd name="connsiteY2463" fmla="*/ 7667 h 10000"/>
                  <a:gd name="connsiteX2464" fmla="*/ 286 w 10785"/>
                  <a:gd name="connsiteY2464" fmla="*/ 7675 h 10000"/>
                  <a:gd name="connsiteX2465" fmla="*/ 286 w 10785"/>
                  <a:gd name="connsiteY2465" fmla="*/ 7692 h 10000"/>
                  <a:gd name="connsiteX2466" fmla="*/ 286 w 10785"/>
                  <a:gd name="connsiteY2466" fmla="*/ 7709 h 10000"/>
                  <a:gd name="connsiteX2467" fmla="*/ 295 w 10785"/>
                  <a:gd name="connsiteY2467" fmla="*/ 7726 h 10000"/>
                  <a:gd name="connsiteX2468" fmla="*/ 318 w 10785"/>
                  <a:gd name="connsiteY2468" fmla="*/ 7709 h 10000"/>
                  <a:gd name="connsiteX2469" fmla="*/ 327 w 10785"/>
                  <a:gd name="connsiteY2469" fmla="*/ 7726 h 10000"/>
                  <a:gd name="connsiteX2470" fmla="*/ 341 w 10785"/>
                  <a:gd name="connsiteY2470" fmla="*/ 7735 h 10000"/>
                  <a:gd name="connsiteX2471" fmla="*/ 332 w 10785"/>
                  <a:gd name="connsiteY2471" fmla="*/ 7752 h 10000"/>
                  <a:gd name="connsiteX2472" fmla="*/ 341 w 10785"/>
                  <a:gd name="connsiteY2472" fmla="*/ 7761 h 10000"/>
                  <a:gd name="connsiteX2473" fmla="*/ 355 w 10785"/>
                  <a:gd name="connsiteY2473" fmla="*/ 7761 h 10000"/>
                  <a:gd name="connsiteX2474" fmla="*/ 355 w 10785"/>
                  <a:gd name="connsiteY2474" fmla="*/ 7803 h 10000"/>
                  <a:gd name="connsiteX2475" fmla="*/ 313 w 10785"/>
                  <a:gd name="connsiteY2475" fmla="*/ 7846 h 10000"/>
                  <a:gd name="connsiteX2476" fmla="*/ 295 w 10785"/>
                  <a:gd name="connsiteY2476" fmla="*/ 7846 h 10000"/>
                  <a:gd name="connsiteX2477" fmla="*/ 281 w 10785"/>
                  <a:gd name="connsiteY2477" fmla="*/ 7821 h 10000"/>
                  <a:gd name="connsiteX2478" fmla="*/ 272 w 10785"/>
                  <a:gd name="connsiteY2478" fmla="*/ 7821 h 10000"/>
                  <a:gd name="connsiteX2479" fmla="*/ 267 w 10785"/>
                  <a:gd name="connsiteY2479" fmla="*/ 7838 h 10000"/>
                  <a:gd name="connsiteX2480" fmla="*/ 258 w 10785"/>
                  <a:gd name="connsiteY2480" fmla="*/ 7846 h 10000"/>
                  <a:gd name="connsiteX2481" fmla="*/ 253 w 10785"/>
                  <a:gd name="connsiteY2481" fmla="*/ 7863 h 10000"/>
                  <a:gd name="connsiteX2482" fmla="*/ 253 w 10785"/>
                  <a:gd name="connsiteY2482" fmla="*/ 7872 h 10000"/>
                  <a:gd name="connsiteX2483" fmla="*/ 267 w 10785"/>
                  <a:gd name="connsiteY2483" fmla="*/ 7897 h 10000"/>
                  <a:gd name="connsiteX2484" fmla="*/ 272 w 10785"/>
                  <a:gd name="connsiteY2484" fmla="*/ 7915 h 10000"/>
                  <a:gd name="connsiteX2485" fmla="*/ 267 w 10785"/>
                  <a:gd name="connsiteY2485" fmla="*/ 7940 h 10000"/>
                  <a:gd name="connsiteX2486" fmla="*/ 272 w 10785"/>
                  <a:gd name="connsiteY2486" fmla="*/ 7949 h 10000"/>
                  <a:gd name="connsiteX2487" fmla="*/ 272 w 10785"/>
                  <a:gd name="connsiteY2487" fmla="*/ 7957 h 10000"/>
                  <a:gd name="connsiteX2488" fmla="*/ 281 w 10785"/>
                  <a:gd name="connsiteY2488" fmla="*/ 7974 h 10000"/>
                  <a:gd name="connsiteX2489" fmla="*/ 286 w 10785"/>
                  <a:gd name="connsiteY2489" fmla="*/ 7983 h 10000"/>
                  <a:gd name="connsiteX2490" fmla="*/ 281 w 10785"/>
                  <a:gd name="connsiteY2490" fmla="*/ 8009 h 10000"/>
                  <a:gd name="connsiteX2491" fmla="*/ 286 w 10785"/>
                  <a:gd name="connsiteY2491" fmla="*/ 8060 h 10000"/>
                  <a:gd name="connsiteX2492" fmla="*/ 286 w 10785"/>
                  <a:gd name="connsiteY2492" fmla="*/ 8060 h 10000"/>
                  <a:gd name="connsiteX2493" fmla="*/ 295 w 10785"/>
                  <a:gd name="connsiteY2493" fmla="*/ 8077 h 10000"/>
                  <a:gd name="connsiteX2494" fmla="*/ 309 w 10785"/>
                  <a:gd name="connsiteY2494" fmla="*/ 8077 h 10000"/>
                  <a:gd name="connsiteX2495" fmla="*/ 313 w 10785"/>
                  <a:gd name="connsiteY2495" fmla="*/ 8060 h 10000"/>
                  <a:gd name="connsiteX2496" fmla="*/ 318 w 10785"/>
                  <a:gd name="connsiteY2496" fmla="*/ 8051 h 10000"/>
                  <a:gd name="connsiteX2497" fmla="*/ 318 w 10785"/>
                  <a:gd name="connsiteY2497" fmla="*/ 8034 h 10000"/>
                  <a:gd name="connsiteX2498" fmla="*/ 332 w 10785"/>
                  <a:gd name="connsiteY2498" fmla="*/ 8026 h 10000"/>
                  <a:gd name="connsiteX2499" fmla="*/ 359 w 10785"/>
                  <a:gd name="connsiteY2499" fmla="*/ 8034 h 10000"/>
                  <a:gd name="connsiteX2500" fmla="*/ 378 w 10785"/>
                  <a:gd name="connsiteY2500" fmla="*/ 8026 h 10000"/>
                  <a:gd name="connsiteX2501" fmla="*/ 401 w 10785"/>
                  <a:gd name="connsiteY2501" fmla="*/ 8026 h 10000"/>
                  <a:gd name="connsiteX2502" fmla="*/ 419 w 10785"/>
                  <a:gd name="connsiteY2502" fmla="*/ 8009 h 10000"/>
                  <a:gd name="connsiteX2503" fmla="*/ 433 w 10785"/>
                  <a:gd name="connsiteY2503" fmla="*/ 8034 h 10000"/>
                  <a:gd name="connsiteX2504" fmla="*/ 442 w 10785"/>
                  <a:gd name="connsiteY2504" fmla="*/ 8060 h 10000"/>
                  <a:gd name="connsiteX2505" fmla="*/ 442 w 10785"/>
                  <a:gd name="connsiteY2505" fmla="*/ 8077 h 10000"/>
                  <a:gd name="connsiteX2506" fmla="*/ 461 w 10785"/>
                  <a:gd name="connsiteY2506" fmla="*/ 8111 h 10000"/>
                  <a:gd name="connsiteX2507" fmla="*/ 461 w 10785"/>
                  <a:gd name="connsiteY2507" fmla="*/ 8137 h 10000"/>
                  <a:gd name="connsiteX2508" fmla="*/ 447 w 10785"/>
                  <a:gd name="connsiteY2508" fmla="*/ 8145 h 10000"/>
                  <a:gd name="connsiteX2509" fmla="*/ 442 w 10785"/>
                  <a:gd name="connsiteY2509" fmla="*/ 8145 h 10000"/>
                  <a:gd name="connsiteX2510" fmla="*/ 442 w 10785"/>
                  <a:gd name="connsiteY2510" fmla="*/ 8162 h 10000"/>
                  <a:gd name="connsiteX2511" fmla="*/ 442 w 10785"/>
                  <a:gd name="connsiteY2511" fmla="*/ 8171 h 10000"/>
                  <a:gd name="connsiteX2512" fmla="*/ 447 w 10785"/>
                  <a:gd name="connsiteY2512" fmla="*/ 8214 h 10000"/>
                  <a:gd name="connsiteX2513" fmla="*/ 465 w 10785"/>
                  <a:gd name="connsiteY2513" fmla="*/ 8231 h 10000"/>
                  <a:gd name="connsiteX2514" fmla="*/ 488 w 10785"/>
                  <a:gd name="connsiteY2514" fmla="*/ 8231 h 10000"/>
                  <a:gd name="connsiteX2515" fmla="*/ 493 w 10785"/>
                  <a:gd name="connsiteY2515" fmla="*/ 8231 h 10000"/>
                  <a:gd name="connsiteX2516" fmla="*/ 502 w 10785"/>
                  <a:gd name="connsiteY2516" fmla="*/ 8231 h 10000"/>
                  <a:gd name="connsiteX2517" fmla="*/ 507 w 10785"/>
                  <a:gd name="connsiteY2517" fmla="*/ 8248 h 10000"/>
                  <a:gd name="connsiteX2518" fmla="*/ 521 w 10785"/>
                  <a:gd name="connsiteY2518" fmla="*/ 8274 h 10000"/>
                  <a:gd name="connsiteX2519" fmla="*/ 525 w 10785"/>
                  <a:gd name="connsiteY2519" fmla="*/ 8333 h 10000"/>
                  <a:gd name="connsiteX2520" fmla="*/ 525 w 10785"/>
                  <a:gd name="connsiteY2520" fmla="*/ 8359 h 10000"/>
                  <a:gd name="connsiteX2521" fmla="*/ 525 w 10785"/>
                  <a:gd name="connsiteY2521" fmla="*/ 8368 h 10000"/>
                  <a:gd name="connsiteX2522" fmla="*/ 548 w 10785"/>
                  <a:gd name="connsiteY2522" fmla="*/ 8393 h 10000"/>
                  <a:gd name="connsiteX2523" fmla="*/ 553 w 10785"/>
                  <a:gd name="connsiteY2523" fmla="*/ 8385 h 10000"/>
                  <a:gd name="connsiteX2524" fmla="*/ 562 w 10785"/>
                  <a:gd name="connsiteY2524" fmla="*/ 8385 h 10000"/>
                  <a:gd name="connsiteX2525" fmla="*/ 576 w 10785"/>
                  <a:gd name="connsiteY2525" fmla="*/ 8385 h 10000"/>
                  <a:gd name="connsiteX2526" fmla="*/ 585 w 10785"/>
                  <a:gd name="connsiteY2526" fmla="*/ 8410 h 10000"/>
                  <a:gd name="connsiteX2527" fmla="*/ 594 w 10785"/>
                  <a:gd name="connsiteY2527" fmla="*/ 8410 h 10000"/>
                  <a:gd name="connsiteX2528" fmla="*/ 608 w 10785"/>
                  <a:gd name="connsiteY2528" fmla="*/ 8410 h 10000"/>
                  <a:gd name="connsiteX2529" fmla="*/ 654 w 10785"/>
                  <a:gd name="connsiteY2529" fmla="*/ 8385 h 10000"/>
                  <a:gd name="connsiteX2530" fmla="*/ 659 w 10785"/>
                  <a:gd name="connsiteY2530" fmla="*/ 8385 h 10000"/>
                  <a:gd name="connsiteX2531" fmla="*/ 696 w 10785"/>
                  <a:gd name="connsiteY2531" fmla="*/ 8470 h 10000"/>
                  <a:gd name="connsiteX2532" fmla="*/ 700 w 10785"/>
                  <a:gd name="connsiteY2532" fmla="*/ 8470 h 10000"/>
                  <a:gd name="connsiteX2533" fmla="*/ 710 w 10785"/>
                  <a:gd name="connsiteY2533" fmla="*/ 8462 h 10000"/>
                  <a:gd name="connsiteX2534" fmla="*/ 714 w 10785"/>
                  <a:gd name="connsiteY2534" fmla="*/ 8462 h 10000"/>
                  <a:gd name="connsiteX2535" fmla="*/ 724 w 10785"/>
                  <a:gd name="connsiteY2535" fmla="*/ 8470 h 10000"/>
                  <a:gd name="connsiteX2536" fmla="*/ 733 w 10785"/>
                  <a:gd name="connsiteY2536" fmla="*/ 8470 h 10000"/>
                  <a:gd name="connsiteX2537" fmla="*/ 742 w 10785"/>
                  <a:gd name="connsiteY2537" fmla="*/ 8487 h 10000"/>
                  <a:gd name="connsiteX2538" fmla="*/ 747 w 10785"/>
                  <a:gd name="connsiteY2538" fmla="*/ 8496 h 10000"/>
                  <a:gd name="connsiteX2539" fmla="*/ 770 w 10785"/>
                  <a:gd name="connsiteY2539" fmla="*/ 8496 h 10000"/>
                  <a:gd name="connsiteX2540" fmla="*/ 783 w 10785"/>
                  <a:gd name="connsiteY2540" fmla="*/ 8521 h 10000"/>
                  <a:gd name="connsiteX2541" fmla="*/ 797 w 10785"/>
                  <a:gd name="connsiteY2541" fmla="*/ 8521 h 10000"/>
                  <a:gd name="connsiteX2542" fmla="*/ 806 w 10785"/>
                  <a:gd name="connsiteY2542" fmla="*/ 8530 h 10000"/>
                  <a:gd name="connsiteX2543" fmla="*/ 829 w 10785"/>
                  <a:gd name="connsiteY2543" fmla="*/ 8547 h 10000"/>
                  <a:gd name="connsiteX2544" fmla="*/ 834 w 10785"/>
                  <a:gd name="connsiteY2544" fmla="*/ 8556 h 10000"/>
                  <a:gd name="connsiteX2545" fmla="*/ 829 w 10785"/>
                  <a:gd name="connsiteY2545" fmla="*/ 8556 h 10000"/>
                  <a:gd name="connsiteX2546" fmla="*/ 834 w 10785"/>
                  <a:gd name="connsiteY2546" fmla="*/ 8607 h 10000"/>
                  <a:gd name="connsiteX2547" fmla="*/ 829 w 10785"/>
                  <a:gd name="connsiteY2547" fmla="*/ 8641 h 10000"/>
                  <a:gd name="connsiteX2548" fmla="*/ 806 w 10785"/>
                  <a:gd name="connsiteY2548" fmla="*/ 8658 h 10000"/>
                  <a:gd name="connsiteX2549" fmla="*/ 816 w 10785"/>
                  <a:gd name="connsiteY2549" fmla="*/ 8667 h 10000"/>
                  <a:gd name="connsiteX2550" fmla="*/ 820 w 10785"/>
                  <a:gd name="connsiteY2550" fmla="*/ 8667 h 10000"/>
                  <a:gd name="connsiteX2551" fmla="*/ 829 w 10785"/>
                  <a:gd name="connsiteY2551" fmla="*/ 8684 h 10000"/>
                  <a:gd name="connsiteX2552" fmla="*/ 806 w 10785"/>
                  <a:gd name="connsiteY2552" fmla="*/ 8692 h 10000"/>
                  <a:gd name="connsiteX2553" fmla="*/ 802 w 10785"/>
                  <a:gd name="connsiteY2553" fmla="*/ 8709 h 10000"/>
                  <a:gd name="connsiteX2554" fmla="*/ 802 w 10785"/>
                  <a:gd name="connsiteY2554" fmla="*/ 8735 h 10000"/>
                  <a:gd name="connsiteX2555" fmla="*/ 806 w 10785"/>
                  <a:gd name="connsiteY2555" fmla="*/ 8744 h 10000"/>
                  <a:gd name="connsiteX2556" fmla="*/ 816 w 10785"/>
                  <a:gd name="connsiteY2556" fmla="*/ 8752 h 10000"/>
                  <a:gd name="connsiteX2557" fmla="*/ 806 w 10785"/>
                  <a:gd name="connsiteY2557" fmla="*/ 8778 h 10000"/>
                  <a:gd name="connsiteX2558" fmla="*/ 820 w 10785"/>
                  <a:gd name="connsiteY2558" fmla="*/ 8778 h 10000"/>
                  <a:gd name="connsiteX2559" fmla="*/ 806 w 10785"/>
                  <a:gd name="connsiteY2559" fmla="*/ 8880 h 10000"/>
                  <a:gd name="connsiteX2560" fmla="*/ 797 w 10785"/>
                  <a:gd name="connsiteY2560" fmla="*/ 8880 h 10000"/>
                  <a:gd name="connsiteX2561" fmla="*/ 783 w 10785"/>
                  <a:gd name="connsiteY2561" fmla="*/ 8872 h 10000"/>
                  <a:gd name="connsiteX2562" fmla="*/ 770 w 10785"/>
                  <a:gd name="connsiteY2562" fmla="*/ 8880 h 10000"/>
                  <a:gd name="connsiteX2563" fmla="*/ 756 w 10785"/>
                  <a:gd name="connsiteY2563" fmla="*/ 8855 h 10000"/>
                  <a:gd name="connsiteX2564" fmla="*/ 733 w 10785"/>
                  <a:gd name="connsiteY2564" fmla="*/ 8906 h 10000"/>
                  <a:gd name="connsiteX2565" fmla="*/ 714 w 10785"/>
                  <a:gd name="connsiteY2565" fmla="*/ 8915 h 10000"/>
                  <a:gd name="connsiteX2566" fmla="*/ 710 w 10785"/>
                  <a:gd name="connsiteY2566" fmla="*/ 8940 h 10000"/>
                  <a:gd name="connsiteX2567" fmla="*/ 710 w 10785"/>
                  <a:gd name="connsiteY2567" fmla="*/ 9009 h 10000"/>
                  <a:gd name="connsiteX2568" fmla="*/ 728 w 10785"/>
                  <a:gd name="connsiteY2568" fmla="*/ 8991 h 10000"/>
                  <a:gd name="connsiteX2569" fmla="*/ 733 w 10785"/>
                  <a:gd name="connsiteY2569" fmla="*/ 8991 h 10000"/>
                  <a:gd name="connsiteX2570" fmla="*/ 747 w 10785"/>
                  <a:gd name="connsiteY2570" fmla="*/ 8983 h 10000"/>
                  <a:gd name="connsiteX2571" fmla="*/ 760 w 10785"/>
                  <a:gd name="connsiteY2571" fmla="*/ 8983 h 10000"/>
                  <a:gd name="connsiteX2572" fmla="*/ 770 w 10785"/>
                  <a:gd name="connsiteY2572" fmla="*/ 8983 h 10000"/>
                  <a:gd name="connsiteX2573" fmla="*/ 770 w 10785"/>
                  <a:gd name="connsiteY2573" fmla="*/ 8991 h 10000"/>
                  <a:gd name="connsiteX2574" fmla="*/ 783 w 10785"/>
                  <a:gd name="connsiteY2574" fmla="*/ 8991 h 10000"/>
                  <a:gd name="connsiteX2575" fmla="*/ 783 w 10785"/>
                  <a:gd name="connsiteY2575" fmla="*/ 9009 h 10000"/>
                  <a:gd name="connsiteX2576" fmla="*/ 783 w 10785"/>
                  <a:gd name="connsiteY2576" fmla="*/ 9017 h 10000"/>
                  <a:gd name="connsiteX2577" fmla="*/ 770 w 10785"/>
                  <a:gd name="connsiteY2577" fmla="*/ 9017 h 10000"/>
                  <a:gd name="connsiteX2578" fmla="*/ 724 w 10785"/>
                  <a:gd name="connsiteY2578" fmla="*/ 9051 h 10000"/>
                  <a:gd name="connsiteX2579" fmla="*/ 724 w 10785"/>
                  <a:gd name="connsiteY2579" fmla="*/ 9068 h 10000"/>
                  <a:gd name="connsiteX2580" fmla="*/ 728 w 10785"/>
                  <a:gd name="connsiteY2580" fmla="*/ 9077 h 10000"/>
                  <a:gd name="connsiteX2581" fmla="*/ 724 w 10785"/>
                  <a:gd name="connsiteY2581" fmla="*/ 9077 h 10000"/>
                  <a:gd name="connsiteX2582" fmla="*/ 710 w 10785"/>
                  <a:gd name="connsiteY2582" fmla="*/ 9077 h 10000"/>
                  <a:gd name="connsiteX2583" fmla="*/ 682 w 10785"/>
                  <a:gd name="connsiteY2583" fmla="*/ 9077 h 10000"/>
                  <a:gd name="connsiteX2584" fmla="*/ 673 w 10785"/>
                  <a:gd name="connsiteY2584" fmla="*/ 9103 h 10000"/>
                  <a:gd name="connsiteX2585" fmla="*/ 687 w 10785"/>
                  <a:gd name="connsiteY2585" fmla="*/ 9128 h 10000"/>
                  <a:gd name="connsiteX2586" fmla="*/ 700 w 10785"/>
                  <a:gd name="connsiteY2586" fmla="*/ 9128 h 10000"/>
                  <a:gd name="connsiteX2587" fmla="*/ 728 w 10785"/>
                  <a:gd name="connsiteY2587" fmla="*/ 9179 h 10000"/>
                  <a:gd name="connsiteX2588" fmla="*/ 724 w 10785"/>
                  <a:gd name="connsiteY2588" fmla="*/ 9188 h 10000"/>
                  <a:gd name="connsiteX2589" fmla="*/ 710 w 10785"/>
                  <a:gd name="connsiteY2589" fmla="*/ 9179 h 10000"/>
                  <a:gd name="connsiteX2590" fmla="*/ 700 w 10785"/>
                  <a:gd name="connsiteY2590" fmla="*/ 9205 h 10000"/>
                  <a:gd name="connsiteX2591" fmla="*/ 696 w 10785"/>
                  <a:gd name="connsiteY2591" fmla="*/ 9205 h 10000"/>
                  <a:gd name="connsiteX2592" fmla="*/ 654 w 10785"/>
                  <a:gd name="connsiteY2592" fmla="*/ 9299 h 10000"/>
                  <a:gd name="connsiteX2593" fmla="*/ 622 w 10785"/>
                  <a:gd name="connsiteY2593" fmla="*/ 9299 h 10000"/>
                  <a:gd name="connsiteX2594" fmla="*/ 613 w 10785"/>
                  <a:gd name="connsiteY2594" fmla="*/ 9316 h 10000"/>
                  <a:gd name="connsiteX2595" fmla="*/ 613 w 10785"/>
                  <a:gd name="connsiteY2595" fmla="*/ 9325 h 10000"/>
                  <a:gd name="connsiteX2596" fmla="*/ 608 w 10785"/>
                  <a:gd name="connsiteY2596" fmla="*/ 9342 h 10000"/>
                  <a:gd name="connsiteX2597" fmla="*/ 636 w 10785"/>
                  <a:gd name="connsiteY2597" fmla="*/ 9376 h 10000"/>
                  <a:gd name="connsiteX2598" fmla="*/ 641 w 10785"/>
                  <a:gd name="connsiteY2598" fmla="*/ 9402 h 10000"/>
                  <a:gd name="connsiteX2599" fmla="*/ 654 w 10785"/>
                  <a:gd name="connsiteY2599" fmla="*/ 9427 h 10000"/>
                  <a:gd name="connsiteX2600" fmla="*/ 668 w 10785"/>
                  <a:gd name="connsiteY2600" fmla="*/ 9427 h 10000"/>
                  <a:gd name="connsiteX2601" fmla="*/ 668 w 10785"/>
                  <a:gd name="connsiteY2601" fmla="*/ 9427 h 10000"/>
                  <a:gd name="connsiteX2602" fmla="*/ 774 w 10785"/>
                  <a:gd name="connsiteY2602" fmla="*/ 9547 h 10000"/>
                  <a:gd name="connsiteX2603" fmla="*/ 797 w 10785"/>
                  <a:gd name="connsiteY2603" fmla="*/ 9598 h 10000"/>
                  <a:gd name="connsiteX2604" fmla="*/ 802 w 10785"/>
                  <a:gd name="connsiteY2604" fmla="*/ 9598 h 10000"/>
                  <a:gd name="connsiteX2605" fmla="*/ 816 w 10785"/>
                  <a:gd name="connsiteY2605" fmla="*/ 9624 h 10000"/>
                  <a:gd name="connsiteX2606" fmla="*/ 843 w 10785"/>
                  <a:gd name="connsiteY2606" fmla="*/ 9615 h 10000"/>
                  <a:gd name="connsiteX2607" fmla="*/ 857 w 10785"/>
                  <a:gd name="connsiteY2607" fmla="*/ 9624 h 10000"/>
                  <a:gd name="connsiteX2608" fmla="*/ 862 w 10785"/>
                  <a:gd name="connsiteY2608" fmla="*/ 9615 h 10000"/>
                  <a:gd name="connsiteX2609" fmla="*/ 880 w 10785"/>
                  <a:gd name="connsiteY2609" fmla="*/ 9624 h 10000"/>
                  <a:gd name="connsiteX2610" fmla="*/ 889 w 10785"/>
                  <a:gd name="connsiteY2610" fmla="*/ 9641 h 10000"/>
                  <a:gd name="connsiteX2611" fmla="*/ 935 w 10785"/>
                  <a:gd name="connsiteY2611" fmla="*/ 9675 h 10000"/>
                  <a:gd name="connsiteX2612" fmla="*/ 977 w 10785"/>
                  <a:gd name="connsiteY2612" fmla="*/ 9667 h 10000"/>
                  <a:gd name="connsiteX2613" fmla="*/ 995 w 10785"/>
                  <a:gd name="connsiteY2613" fmla="*/ 9675 h 10000"/>
                  <a:gd name="connsiteX2614" fmla="*/ 1014 w 10785"/>
                  <a:gd name="connsiteY2614" fmla="*/ 9675 h 10000"/>
                  <a:gd name="connsiteX2615" fmla="*/ 1069 w 10785"/>
                  <a:gd name="connsiteY2615" fmla="*/ 9752 h 10000"/>
                  <a:gd name="connsiteX2616" fmla="*/ 1074 w 10785"/>
                  <a:gd name="connsiteY2616" fmla="*/ 9761 h 10000"/>
                  <a:gd name="connsiteX2617" fmla="*/ 1083 w 10785"/>
                  <a:gd name="connsiteY2617" fmla="*/ 9778 h 10000"/>
                  <a:gd name="connsiteX2618" fmla="*/ 1115 w 10785"/>
                  <a:gd name="connsiteY2618" fmla="*/ 9752 h 10000"/>
                  <a:gd name="connsiteX2619" fmla="*/ 1129 w 10785"/>
                  <a:gd name="connsiteY2619" fmla="*/ 9752 h 10000"/>
                  <a:gd name="connsiteX2620" fmla="*/ 1138 w 10785"/>
                  <a:gd name="connsiteY2620" fmla="*/ 9761 h 10000"/>
                  <a:gd name="connsiteX2621" fmla="*/ 1143 w 10785"/>
                  <a:gd name="connsiteY2621" fmla="*/ 9752 h 10000"/>
                  <a:gd name="connsiteX2622" fmla="*/ 1161 w 10785"/>
                  <a:gd name="connsiteY2622" fmla="*/ 9761 h 10000"/>
                  <a:gd name="connsiteX2623" fmla="*/ 1171 w 10785"/>
                  <a:gd name="connsiteY2623" fmla="*/ 9778 h 10000"/>
                  <a:gd name="connsiteX2624" fmla="*/ 1175 w 10785"/>
                  <a:gd name="connsiteY2624" fmla="*/ 9778 h 10000"/>
                  <a:gd name="connsiteX2625" fmla="*/ 1189 w 10785"/>
                  <a:gd name="connsiteY2625" fmla="*/ 9778 h 10000"/>
                  <a:gd name="connsiteX2626" fmla="*/ 1198 w 10785"/>
                  <a:gd name="connsiteY2626" fmla="*/ 9786 h 10000"/>
                  <a:gd name="connsiteX2627" fmla="*/ 1203 w 10785"/>
                  <a:gd name="connsiteY2627" fmla="*/ 9803 h 10000"/>
                  <a:gd name="connsiteX2628" fmla="*/ 1198 w 10785"/>
                  <a:gd name="connsiteY2628" fmla="*/ 9838 h 10000"/>
                  <a:gd name="connsiteX2629" fmla="*/ 1212 w 10785"/>
                  <a:gd name="connsiteY2629" fmla="*/ 9863 h 10000"/>
                  <a:gd name="connsiteX2630" fmla="*/ 1230 w 10785"/>
                  <a:gd name="connsiteY2630" fmla="*/ 9872 h 10000"/>
                  <a:gd name="connsiteX2631" fmla="*/ 1249 w 10785"/>
                  <a:gd name="connsiteY2631" fmla="*/ 9897 h 10000"/>
                  <a:gd name="connsiteX2632" fmla="*/ 1263 w 10785"/>
                  <a:gd name="connsiteY2632" fmla="*/ 9897 h 10000"/>
                  <a:gd name="connsiteX2633" fmla="*/ 1276 w 10785"/>
                  <a:gd name="connsiteY2633" fmla="*/ 9923 h 10000"/>
                  <a:gd name="connsiteX2634" fmla="*/ 1281 w 10785"/>
                  <a:gd name="connsiteY2634" fmla="*/ 9949 h 10000"/>
                  <a:gd name="connsiteX2635" fmla="*/ 1290 w 10785"/>
                  <a:gd name="connsiteY2635" fmla="*/ 9949 h 10000"/>
                  <a:gd name="connsiteX2636" fmla="*/ 1295 w 10785"/>
                  <a:gd name="connsiteY2636" fmla="*/ 10000 h 10000"/>
                  <a:gd name="connsiteX2637" fmla="*/ 1332 w 10785"/>
                  <a:gd name="connsiteY2637" fmla="*/ 10000 h 10000"/>
                  <a:gd name="connsiteX2638" fmla="*/ 1336 w 10785"/>
                  <a:gd name="connsiteY2638" fmla="*/ 10000 h 10000"/>
                  <a:gd name="connsiteX2639" fmla="*/ 1346 w 10785"/>
                  <a:gd name="connsiteY2639" fmla="*/ 9983 h 10000"/>
                  <a:gd name="connsiteX2640" fmla="*/ 1350 w 10785"/>
                  <a:gd name="connsiteY2640" fmla="*/ 9949 h 10000"/>
                  <a:gd name="connsiteX2641" fmla="*/ 1369 w 10785"/>
                  <a:gd name="connsiteY2641" fmla="*/ 9940 h 10000"/>
                  <a:gd name="connsiteX2642" fmla="*/ 1378 w 10785"/>
                  <a:gd name="connsiteY2642" fmla="*/ 9897 h 10000"/>
                  <a:gd name="connsiteX2643" fmla="*/ 1369 w 10785"/>
                  <a:gd name="connsiteY2643" fmla="*/ 9889 h 10000"/>
                  <a:gd name="connsiteX2644" fmla="*/ 1318 w 10785"/>
                  <a:gd name="connsiteY2644" fmla="*/ 9701 h 10000"/>
                  <a:gd name="connsiteX2645" fmla="*/ 1318 w 10785"/>
                  <a:gd name="connsiteY2645" fmla="*/ 9650 h 10000"/>
                  <a:gd name="connsiteX2646" fmla="*/ 1323 w 10785"/>
                  <a:gd name="connsiteY2646" fmla="*/ 9590 h 10000"/>
                  <a:gd name="connsiteX2647" fmla="*/ 1323 w 10785"/>
                  <a:gd name="connsiteY2647" fmla="*/ 9564 h 10000"/>
                  <a:gd name="connsiteX2648" fmla="*/ 1309 w 10785"/>
                  <a:gd name="connsiteY2648" fmla="*/ 9598 h 10000"/>
                  <a:gd name="connsiteX2649" fmla="*/ 1309 w 10785"/>
                  <a:gd name="connsiteY2649" fmla="*/ 9590 h 10000"/>
                  <a:gd name="connsiteX2650" fmla="*/ 1304 w 10785"/>
                  <a:gd name="connsiteY2650" fmla="*/ 9547 h 10000"/>
                  <a:gd name="connsiteX2651" fmla="*/ 1276 w 10785"/>
                  <a:gd name="connsiteY2651" fmla="*/ 9479 h 10000"/>
                  <a:gd name="connsiteX2652" fmla="*/ 1263 w 10785"/>
                  <a:gd name="connsiteY2652" fmla="*/ 9479 h 10000"/>
                  <a:gd name="connsiteX2653" fmla="*/ 1263 w 10785"/>
                  <a:gd name="connsiteY2653" fmla="*/ 9453 h 10000"/>
                  <a:gd name="connsiteX2654" fmla="*/ 1272 w 10785"/>
                  <a:gd name="connsiteY2654" fmla="*/ 9410 h 10000"/>
                  <a:gd name="connsiteX2655" fmla="*/ 1272 w 10785"/>
                  <a:gd name="connsiteY2655" fmla="*/ 9393 h 10000"/>
                  <a:gd name="connsiteX2656" fmla="*/ 1281 w 10785"/>
                  <a:gd name="connsiteY2656" fmla="*/ 9368 h 10000"/>
                  <a:gd name="connsiteX2657" fmla="*/ 1281 w 10785"/>
                  <a:gd name="connsiteY2657" fmla="*/ 9368 h 10000"/>
                  <a:gd name="connsiteX2658" fmla="*/ 1290 w 10785"/>
                  <a:gd name="connsiteY2658" fmla="*/ 9368 h 10000"/>
                  <a:gd name="connsiteX2659" fmla="*/ 1290 w 10785"/>
                  <a:gd name="connsiteY2659" fmla="*/ 9342 h 10000"/>
                  <a:gd name="connsiteX2660" fmla="*/ 1304 w 10785"/>
                  <a:gd name="connsiteY2660" fmla="*/ 9325 h 10000"/>
                  <a:gd name="connsiteX2661" fmla="*/ 1309 w 10785"/>
                  <a:gd name="connsiteY2661" fmla="*/ 9239 h 10000"/>
                  <a:gd name="connsiteX2662" fmla="*/ 1318 w 10785"/>
                  <a:gd name="connsiteY2662" fmla="*/ 9256 h 10000"/>
                  <a:gd name="connsiteX2663" fmla="*/ 1323 w 10785"/>
                  <a:gd name="connsiteY2663" fmla="*/ 9179 h 10000"/>
                  <a:gd name="connsiteX2664" fmla="*/ 1309 w 10785"/>
                  <a:gd name="connsiteY2664" fmla="*/ 9145 h 10000"/>
                  <a:gd name="connsiteX2665" fmla="*/ 1336 w 10785"/>
                  <a:gd name="connsiteY2665" fmla="*/ 9154 h 10000"/>
                  <a:gd name="connsiteX2666" fmla="*/ 1336 w 10785"/>
                  <a:gd name="connsiteY2666" fmla="*/ 9162 h 10000"/>
                  <a:gd name="connsiteX2667" fmla="*/ 1350 w 10785"/>
                  <a:gd name="connsiteY2667" fmla="*/ 9231 h 10000"/>
                  <a:gd name="connsiteX2668" fmla="*/ 1355 w 10785"/>
                  <a:gd name="connsiteY2668" fmla="*/ 9231 h 10000"/>
                  <a:gd name="connsiteX2669" fmla="*/ 1364 w 10785"/>
                  <a:gd name="connsiteY2669" fmla="*/ 9214 h 10000"/>
                  <a:gd name="connsiteX2670" fmla="*/ 1369 w 10785"/>
                  <a:gd name="connsiteY2670" fmla="*/ 9214 h 10000"/>
                  <a:gd name="connsiteX2671" fmla="*/ 1382 w 10785"/>
                  <a:gd name="connsiteY2671" fmla="*/ 9154 h 10000"/>
                  <a:gd name="connsiteX2672" fmla="*/ 1396 w 10785"/>
                  <a:gd name="connsiteY2672" fmla="*/ 9154 h 10000"/>
                  <a:gd name="connsiteX2673" fmla="*/ 1382 w 10785"/>
                  <a:gd name="connsiteY2673" fmla="*/ 9145 h 10000"/>
                  <a:gd name="connsiteX2674" fmla="*/ 1382 w 10785"/>
                  <a:gd name="connsiteY2674" fmla="*/ 9128 h 10000"/>
                  <a:gd name="connsiteX2675" fmla="*/ 1369 w 10785"/>
                  <a:gd name="connsiteY2675" fmla="*/ 9128 h 10000"/>
                  <a:gd name="connsiteX2676" fmla="*/ 1364 w 10785"/>
                  <a:gd name="connsiteY2676" fmla="*/ 9128 h 10000"/>
                  <a:gd name="connsiteX2677" fmla="*/ 1355 w 10785"/>
                  <a:gd name="connsiteY2677" fmla="*/ 9120 h 10000"/>
                  <a:gd name="connsiteX2678" fmla="*/ 1350 w 10785"/>
                  <a:gd name="connsiteY2678" fmla="*/ 9103 h 10000"/>
                  <a:gd name="connsiteX2679" fmla="*/ 1355 w 10785"/>
                  <a:gd name="connsiteY2679" fmla="*/ 9094 h 10000"/>
                  <a:gd name="connsiteX2680" fmla="*/ 1355 w 10785"/>
                  <a:gd name="connsiteY2680" fmla="*/ 9068 h 10000"/>
                  <a:gd name="connsiteX2681" fmla="*/ 1369 w 10785"/>
                  <a:gd name="connsiteY2681" fmla="*/ 9068 h 10000"/>
                  <a:gd name="connsiteX2682" fmla="*/ 1378 w 10785"/>
                  <a:gd name="connsiteY2682" fmla="*/ 9077 h 10000"/>
                  <a:gd name="connsiteX2683" fmla="*/ 1396 w 10785"/>
                  <a:gd name="connsiteY2683" fmla="*/ 9068 h 10000"/>
                  <a:gd name="connsiteX2684" fmla="*/ 1382 w 10785"/>
                  <a:gd name="connsiteY2684" fmla="*/ 8940 h 10000"/>
                  <a:gd name="connsiteX2685" fmla="*/ 1378 w 10785"/>
                  <a:gd name="connsiteY2685" fmla="*/ 8940 h 10000"/>
                  <a:gd name="connsiteX2686" fmla="*/ 1364 w 10785"/>
                  <a:gd name="connsiteY2686" fmla="*/ 8889 h 10000"/>
                  <a:gd name="connsiteX2687" fmla="*/ 1355 w 10785"/>
                  <a:gd name="connsiteY2687" fmla="*/ 8880 h 10000"/>
                  <a:gd name="connsiteX2688" fmla="*/ 1323 w 10785"/>
                  <a:gd name="connsiteY2688" fmla="*/ 8880 h 10000"/>
                  <a:gd name="connsiteX2689" fmla="*/ 1309 w 10785"/>
                  <a:gd name="connsiteY2689" fmla="*/ 8880 h 10000"/>
                  <a:gd name="connsiteX2690" fmla="*/ 1309 w 10785"/>
                  <a:gd name="connsiteY2690" fmla="*/ 8889 h 10000"/>
                  <a:gd name="connsiteX2691" fmla="*/ 1295 w 10785"/>
                  <a:gd name="connsiteY2691" fmla="*/ 8872 h 10000"/>
                  <a:gd name="connsiteX2692" fmla="*/ 1290 w 10785"/>
                  <a:gd name="connsiteY2692" fmla="*/ 8855 h 10000"/>
                  <a:gd name="connsiteX2693" fmla="*/ 1290 w 10785"/>
                  <a:gd name="connsiteY2693" fmla="*/ 8829 h 10000"/>
                  <a:gd name="connsiteX2694" fmla="*/ 1290 w 10785"/>
                  <a:gd name="connsiteY2694" fmla="*/ 8821 h 10000"/>
                  <a:gd name="connsiteX2695" fmla="*/ 1290 w 10785"/>
                  <a:gd name="connsiteY2695" fmla="*/ 8803 h 10000"/>
                  <a:gd name="connsiteX2696" fmla="*/ 1281 w 10785"/>
                  <a:gd name="connsiteY2696" fmla="*/ 8795 h 10000"/>
                  <a:gd name="connsiteX2697" fmla="*/ 1249 w 10785"/>
                  <a:gd name="connsiteY2697" fmla="*/ 8769 h 10000"/>
                  <a:gd name="connsiteX2698" fmla="*/ 1263 w 10785"/>
                  <a:gd name="connsiteY2698" fmla="*/ 8667 h 10000"/>
                  <a:gd name="connsiteX2699" fmla="*/ 1281 w 10785"/>
                  <a:gd name="connsiteY2699" fmla="*/ 8658 h 10000"/>
                  <a:gd name="connsiteX2700" fmla="*/ 1290 w 10785"/>
                  <a:gd name="connsiteY2700" fmla="*/ 8632 h 10000"/>
                  <a:gd name="connsiteX2701" fmla="*/ 1281 w 10785"/>
                  <a:gd name="connsiteY2701" fmla="*/ 8615 h 10000"/>
                  <a:gd name="connsiteX2702" fmla="*/ 1272 w 10785"/>
                  <a:gd name="connsiteY2702" fmla="*/ 8598 h 10000"/>
                  <a:gd name="connsiteX2703" fmla="*/ 1281 w 10785"/>
                  <a:gd name="connsiteY2703" fmla="*/ 8496 h 10000"/>
                  <a:gd name="connsiteX2704" fmla="*/ 1295 w 10785"/>
                  <a:gd name="connsiteY2704" fmla="*/ 8470 h 10000"/>
                  <a:gd name="connsiteX2705" fmla="*/ 1304 w 10785"/>
                  <a:gd name="connsiteY2705" fmla="*/ 8462 h 10000"/>
                  <a:gd name="connsiteX2706" fmla="*/ 1304 w 10785"/>
                  <a:gd name="connsiteY2706" fmla="*/ 8444 h 10000"/>
                  <a:gd name="connsiteX2707" fmla="*/ 1304 w 10785"/>
                  <a:gd name="connsiteY2707" fmla="*/ 8419 h 10000"/>
                  <a:gd name="connsiteX2708" fmla="*/ 1304 w 10785"/>
                  <a:gd name="connsiteY2708" fmla="*/ 8410 h 10000"/>
                  <a:gd name="connsiteX2709" fmla="*/ 1309 w 10785"/>
                  <a:gd name="connsiteY2709" fmla="*/ 8393 h 10000"/>
                  <a:gd name="connsiteX2710" fmla="*/ 1318 w 10785"/>
                  <a:gd name="connsiteY2710" fmla="*/ 8385 h 10000"/>
                  <a:gd name="connsiteX2711" fmla="*/ 1323 w 10785"/>
                  <a:gd name="connsiteY2711" fmla="*/ 8385 h 10000"/>
                  <a:gd name="connsiteX2712" fmla="*/ 1332 w 10785"/>
                  <a:gd name="connsiteY2712" fmla="*/ 8410 h 10000"/>
                  <a:gd name="connsiteX2713" fmla="*/ 1346 w 10785"/>
                  <a:gd name="connsiteY2713" fmla="*/ 8419 h 10000"/>
                  <a:gd name="connsiteX2714" fmla="*/ 1364 w 10785"/>
                  <a:gd name="connsiteY2714" fmla="*/ 8504 h 10000"/>
                  <a:gd name="connsiteX2715" fmla="*/ 1369 w 10785"/>
                  <a:gd name="connsiteY2715" fmla="*/ 8521 h 10000"/>
                  <a:gd name="connsiteX2716" fmla="*/ 1406 w 10785"/>
                  <a:gd name="connsiteY2716" fmla="*/ 8470 h 10000"/>
                  <a:gd name="connsiteX2717" fmla="*/ 1382 w 10785"/>
                  <a:gd name="connsiteY2717" fmla="*/ 8359 h 10000"/>
                  <a:gd name="connsiteX2718" fmla="*/ 1392 w 10785"/>
                  <a:gd name="connsiteY2718" fmla="*/ 8359 h 10000"/>
                  <a:gd name="connsiteX2719" fmla="*/ 1438 w 10785"/>
                  <a:gd name="connsiteY2719" fmla="*/ 8308 h 10000"/>
                  <a:gd name="connsiteX2720" fmla="*/ 1442 w 10785"/>
                  <a:gd name="connsiteY2720" fmla="*/ 8299 h 10000"/>
                  <a:gd name="connsiteX2721" fmla="*/ 1442 w 10785"/>
                  <a:gd name="connsiteY2721" fmla="*/ 8256 h 10000"/>
                  <a:gd name="connsiteX2722" fmla="*/ 1452 w 10785"/>
                  <a:gd name="connsiteY2722" fmla="*/ 8256 h 10000"/>
                  <a:gd name="connsiteX2723" fmla="*/ 1456 w 10785"/>
                  <a:gd name="connsiteY2723" fmla="*/ 8256 h 10000"/>
                  <a:gd name="connsiteX2724" fmla="*/ 1470 w 10785"/>
                  <a:gd name="connsiteY2724" fmla="*/ 8248 h 10000"/>
                  <a:gd name="connsiteX2725" fmla="*/ 1479 w 10785"/>
                  <a:gd name="connsiteY2725" fmla="*/ 8231 h 10000"/>
                  <a:gd name="connsiteX2726" fmla="*/ 1493 w 10785"/>
                  <a:gd name="connsiteY2726" fmla="*/ 8222 h 10000"/>
                  <a:gd name="connsiteX2727" fmla="*/ 1498 w 10785"/>
                  <a:gd name="connsiteY2727" fmla="*/ 8214 h 10000"/>
                  <a:gd name="connsiteX2728" fmla="*/ 1502 w 10785"/>
                  <a:gd name="connsiteY2728" fmla="*/ 8197 h 10000"/>
                  <a:gd name="connsiteX2729" fmla="*/ 1512 w 10785"/>
                  <a:gd name="connsiteY2729" fmla="*/ 8188 h 10000"/>
                  <a:gd name="connsiteX2730" fmla="*/ 1516 w 10785"/>
                  <a:gd name="connsiteY2730" fmla="*/ 8171 h 10000"/>
                  <a:gd name="connsiteX2731" fmla="*/ 1525 w 10785"/>
                  <a:gd name="connsiteY2731" fmla="*/ 8162 h 10000"/>
                  <a:gd name="connsiteX2732" fmla="*/ 1539 w 10785"/>
                  <a:gd name="connsiteY2732" fmla="*/ 8145 h 10000"/>
                  <a:gd name="connsiteX2733" fmla="*/ 1558 w 10785"/>
                  <a:gd name="connsiteY2733" fmla="*/ 8145 h 10000"/>
                  <a:gd name="connsiteX2734" fmla="*/ 1562 w 10785"/>
                  <a:gd name="connsiteY2734" fmla="*/ 8188 h 10000"/>
                  <a:gd name="connsiteX2735" fmla="*/ 1585 w 10785"/>
                  <a:gd name="connsiteY2735" fmla="*/ 8171 h 10000"/>
                  <a:gd name="connsiteX2736" fmla="*/ 1590 w 10785"/>
                  <a:gd name="connsiteY2736" fmla="*/ 8188 h 10000"/>
                  <a:gd name="connsiteX2737" fmla="*/ 1599 w 10785"/>
                  <a:gd name="connsiteY2737" fmla="*/ 8171 h 10000"/>
                  <a:gd name="connsiteX2738" fmla="*/ 1599 w 10785"/>
                  <a:gd name="connsiteY2738" fmla="*/ 8162 h 10000"/>
                  <a:gd name="connsiteX2739" fmla="*/ 1604 w 10785"/>
                  <a:gd name="connsiteY2739" fmla="*/ 8137 h 10000"/>
                  <a:gd name="connsiteX2740" fmla="*/ 1618 w 10785"/>
                  <a:gd name="connsiteY2740" fmla="*/ 8145 h 10000"/>
                  <a:gd name="connsiteX2741" fmla="*/ 1627 w 10785"/>
                  <a:gd name="connsiteY2741" fmla="*/ 8137 h 10000"/>
                  <a:gd name="connsiteX2742" fmla="*/ 1631 w 10785"/>
                  <a:gd name="connsiteY2742" fmla="*/ 8137 h 10000"/>
                  <a:gd name="connsiteX2743" fmla="*/ 1636 w 10785"/>
                  <a:gd name="connsiteY2743" fmla="*/ 8171 h 10000"/>
                  <a:gd name="connsiteX2744" fmla="*/ 1645 w 10785"/>
                  <a:gd name="connsiteY2744" fmla="*/ 8188 h 10000"/>
                  <a:gd name="connsiteX2745" fmla="*/ 1664 w 10785"/>
                  <a:gd name="connsiteY2745" fmla="*/ 8171 h 10000"/>
                  <a:gd name="connsiteX2746" fmla="*/ 1673 w 10785"/>
                  <a:gd name="connsiteY2746" fmla="*/ 8188 h 10000"/>
                  <a:gd name="connsiteX2747" fmla="*/ 1691 w 10785"/>
                  <a:gd name="connsiteY2747" fmla="*/ 8171 h 10000"/>
                  <a:gd name="connsiteX2748" fmla="*/ 1705 w 10785"/>
                  <a:gd name="connsiteY2748" fmla="*/ 8171 h 10000"/>
                  <a:gd name="connsiteX2749" fmla="*/ 1719 w 10785"/>
                  <a:gd name="connsiteY2749" fmla="*/ 8197 h 10000"/>
                  <a:gd name="connsiteX2750" fmla="*/ 1724 w 10785"/>
                  <a:gd name="connsiteY2750" fmla="*/ 8231 h 10000"/>
                  <a:gd name="connsiteX2751" fmla="*/ 1751 w 10785"/>
                  <a:gd name="connsiteY2751" fmla="*/ 8256 h 10000"/>
                  <a:gd name="connsiteX2752" fmla="*/ 1751 w 10785"/>
                  <a:gd name="connsiteY2752" fmla="*/ 8274 h 10000"/>
                  <a:gd name="connsiteX2753" fmla="*/ 1760 w 10785"/>
                  <a:gd name="connsiteY2753" fmla="*/ 8282 h 10000"/>
                  <a:gd name="connsiteX2754" fmla="*/ 1770 w 10785"/>
                  <a:gd name="connsiteY2754" fmla="*/ 8325 h 10000"/>
                  <a:gd name="connsiteX2755" fmla="*/ 1770 w 10785"/>
                  <a:gd name="connsiteY2755" fmla="*/ 8350 h 10000"/>
                  <a:gd name="connsiteX2756" fmla="*/ 1779 w 10785"/>
                  <a:gd name="connsiteY2756" fmla="*/ 8368 h 10000"/>
                  <a:gd name="connsiteX2757" fmla="*/ 1783 w 10785"/>
                  <a:gd name="connsiteY2757" fmla="*/ 8359 h 10000"/>
                  <a:gd name="connsiteX2758" fmla="*/ 1783 w 10785"/>
                  <a:gd name="connsiteY2758" fmla="*/ 8308 h 10000"/>
                  <a:gd name="connsiteX2759" fmla="*/ 1779 w 10785"/>
                  <a:gd name="connsiteY2759" fmla="*/ 8299 h 10000"/>
                  <a:gd name="connsiteX2760" fmla="*/ 1783 w 10785"/>
                  <a:gd name="connsiteY2760" fmla="*/ 8282 h 10000"/>
                  <a:gd name="connsiteX2761" fmla="*/ 1797 w 10785"/>
                  <a:gd name="connsiteY2761" fmla="*/ 8274 h 10000"/>
                  <a:gd name="connsiteX2762" fmla="*/ 1797 w 10785"/>
                  <a:gd name="connsiteY2762" fmla="*/ 8299 h 10000"/>
                  <a:gd name="connsiteX2763" fmla="*/ 1806 w 10785"/>
                  <a:gd name="connsiteY2763" fmla="*/ 8308 h 10000"/>
                  <a:gd name="connsiteX2764" fmla="*/ 1811 w 10785"/>
                  <a:gd name="connsiteY2764" fmla="*/ 8325 h 10000"/>
                  <a:gd name="connsiteX2765" fmla="*/ 1820 w 10785"/>
                  <a:gd name="connsiteY2765" fmla="*/ 8333 h 10000"/>
                  <a:gd name="connsiteX2766" fmla="*/ 1853 w 10785"/>
                  <a:gd name="connsiteY2766" fmla="*/ 8359 h 10000"/>
                  <a:gd name="connsiteX2767" fmla="*/ 1866 w 10785"/>
                  <a:gd name="connsiteY2767" fmla="*/ 8359 h 10000"/>
                  <a:gd name="connsiteX2768" fmla="*/ 1885 w 10785"/>
                  <a:gd name="connsiteY2768" fmla="*/ 8325 h 10000"/>
                  <a:gd name="connsiteX2769" fmla="*/ 1885 w 10785"/>
                  <a:gd name="connsiteY2769" fmla="*/ 8308 h 10000"/>
                  <a:gd name="connsiteX2770" fmla="*/ 1894 w 10785"/>
                  <a:gd name="connsiteY2770" fmla="*/ 8299 h 10000"/>
                  <a:gd name="connsiteX2771" fmla="*/ 1899 w 10785"/>
                  <a:gd name="connsiteY2771" fmla="*/ 8282 h 10000"/>
                  <a:gd name="connsiteX2772" fmla="*/ 1912 w 10785"/>
                  <a:gd name="connsiteY2772" fmla="*/ 8282 h 10000"/>
                  <a:gd name="connsiteX2773" fmla="*/ 1917 w 10785"/>
                  <a:gd name="connsiteY2773" fmla="*/ 8299 h 10000"/>
                  <a:gd name="connsiteX2774" fmla="*/ 1917 w 10785"/>
                  <a:gd name="connsiteY2774" fmla="*/ 8274 h 10000"/>
                  <a:gd name="connsiteX2775" fmla="*/ 1940 w 10785"/>
                  <a:gd name="connsiteY2775" fmla="*/ 8282 h 10000"/>
                  <a:gd name="connsiteX2776" fmla="*/ 1945 w 10785"/>
                  <a:gd name="connsiteY2776" fmla="*/ 8274 h 10000"/>
                  <a:gd name="connsiteX2777" fmla="*/ 1972 w 10785"/>
                  <a:gd name="connsiteY2777" fmla="*/ 8308 h 10000"/>
                  <a:gd name="connsiteX2778" fmla="*/ 1986 w 10785"/>
                  <a:gd name="connsiteY2778" fmla="*/ 8282 h 10000"/>
                  <a:gd name="connsiteX2779" fmla="*/ 1991 w 10785"/>
                  <a:gd name="connsiteY2779" fmla="*/ 8274 h 10000"/>
                  <a:gd name="connsiteX2780" fmla="*/ 2014 w 10785"/>
                  <a:gd name="connsiteY2780" fmla="*/ 8274 h 10000"/>
                  <a:gd name="connsiteX2781" fmla="*/ 2018 w 10785"/>
                  <a:gd name="connsiteY2781" fmla="*/ 8256 h 10000"/>
                  <a:gd name="connsiteX2782" fmla="*/ 2041 w 10785"/>
                  <a:gd name="connsiteY2782" fmla="*/ 8274 h 10000"/>
                  <a:gd name="connsiteX2783" fmla="*/ 2046 w 10785"/>
                  <a:gd name="connsiteY2783" fmla="*/ 8282 h 10000"/>
                  <a:gd name="connsiteX2784" fmla="*/ 2046 w 10785"/>
                  <a:gd name="connsiteY2784" fmla="*/ 8325 h 10000"/>
                  <a:gd name="connsiteX2785" fmla="*/ 2060 w 10785"/>
                  <a:gd name="connsiteY2785" fmla="*/ 8350 h 10000"/>
                  <a:gd name="connsiteX2786" fmla="*/ 2078 w 10785"/>
                  <a:gd name="connsiteY2786" fmla="*/ 8350 h 10000"/>
                  <a:gd name="connsiteX2787" fmla="*/ 2092 w 10785"/>
                  <a:gd name="connsiteY2787" fmla="*/ 8350 h 10000"/>
                  <a:gd name="connsiteX2788" fmla="*/ 2092 w 10785"/>
                  <a:gd name="connsiteY2788" fmla="*/ 8350 h 10000"/>
                  <a:gd name="connsiteX2789" fmla="*/ 2101 w 10785"/>
                  <a:gd name="connsiteY2789" fmla="*/ 8368 h 10000"/>
                  <a:gd name="connsiteX2790" fmla="*/ 2120 w 10785"/>
                  <a:gd name="connsiteY2790" fmla="*/ 8368 h 10000"/>
                  <a:gd name="connsiteX2791" fmla="*/ 2124 w 10785"/>
                  <a:gd name="connsiteY2791" fmla="*/ 8359 h 10000"/>
                  <a:gd name="connsiteX2792" fmla="*/ 2138 w 10785"/>
                  <a:gd name="connsiteY2792" fmla="*/ 8325 h 10000"/>
                  <a:gd name="connsiteX2793" fmla="*/ 2147 w 10785"/>
                  <a:gd name="connsiteY2793" fmla="*/ 8325 h 10000"/>
                  <a:gd name="connsiteX2794" fmla="*/ 2161 w 10785"/>
                  <a:gd name="connsiteY2794" fmla="*/ 8350 h 10000"/>
                  <a:gd name="connsiteX2795" fmla="*/ 2198 w 10785"/>
                  <a:gd name="connsiteY2795" fmla="*/ 8350 h 10000"/>
                  <a:gd name="connsiteX2796" fmla="*/ 2207 w 10785"/>
                  <a:gd name="connsiteY2796" fmla="*/ 8333 h 10000"/>
                  <a:gd name="connsiteX2797" fmla="*/ 2226 w 10785"/>
                  <a:gd name="connsiteY2797" fmla="*/ 8325 h 10000"/>
                  <a:gd name="connsiteX2798" fmla="*/ 2249 w 10785"/>
                  <a:gd name="connsiteY2798" fmla="*/ 8222 h 10000"/>
                  <a:gd name="connsiteX2799" fmla="*/ 2235 w 10785"/>
                  <a:gd name="connsiteY2799" fmla="*/ 8197 h 10000"/>
                  <a:gd name="connsiteX2800" fmla="*/ 2198 w 10785"/>
                  <a:gd name="connsiteY2800" fmla="*/ 8197 h 10000"/>
                  <a:gd name="connsiteX2801" fmla="*/ 2189 w 10785"/>
                  <a:gd name="connsiteY2801" fmla="*/ 8171 h 10000"/>
                  <a:gd name="connsiteX2802" fmla="*/ 2161 w 10785"/>
                  <a:gd name="connsiteY2802" fmla="*/ 8145 h 10000"/>
                  <a:gd name="connsiteX2803" fmla="*/ 2161 w 10785"/>
                  <a:gd name="connsiteY2803" fmla="*/ 8137 h 10000"/>
                  <a:gd name="connsiteX2804" fmla="*/ 2152 w 10785"/>
                  <a:gd name="connsiteY2804" fmla="*/ 8120 h 10000"/>
                  <a:gd name="connsiteX2805" fmla="*/ 2138 w 10785"/>
                  <a:gd name="connsiteY2805" fmla="*/ 8111 h 10000"/>
                  <a:gd name="connsiteX2806" fmla="*/ 2138 w 10785"/>
                  <a:gd name="connsiteY2806" fmla="*/ 8094 h 10000"/>
                  <a:gd name="connsiteX2807" fmla="*/ 2147 w 10785"/>
                  <a:gd name="connsiteY2807" fmla="*/ 8085 h 10000"/>
                  <a:gd name="connsiteX2808" fmla="*/ 2161 w 10785"/>
                  <a:gd name="connsiteY2808" fmla="*/ 8060 h 10000"/>
                  <a:gd name="connsiteX2809" fmla="*/ 2198 w 10785"/>
                  <a:gd name="connsiteY2809" fmla="*/ 8034 h 10000"/>
                  <a:gd name="connsiteX2810" fmla="*/ 2198 w 10785"/>
                  <a:gd name="connsiteY2810" fmla="*/ 8026 h 10000"/>
                  <a:gd name="connsiteX2811" fmla="*/ 2198 w 10785"/>
                  <a:gd name="connsiteY2811" fmla="*/ 8000 h 10000"/>
                  <a:gd name="connsiteX2812" fmla="*/ 2180 w 10785"/>
                  <a:gd name="connsiteY2812" fmla="*/ 7940 h 10000"/>
                  <a:gd name="connsiteX2813" fmla="*/ 2189 w 10785"/>
                  <a:gd name="connsiteY2813" fmla="*/ 7940 h 10000"/>
                  <a:gd name="connsiteX2814" fmla="*/ 2198 w 10785"/>
                  <a:gd name="connsiteY2814" fmla="*/ 7923 h 10000"/>
                  <a:gd name="connsiteX2815" fmla="*/ 2198 w 10785"/>
                  <a:gd name="connsiteY2815" fmla="*/ 7897 h 10000"/>
                  <a:gd name="connsiteX2816" fmla="*/ 2207 w 10785"/>
                  <a:gd name="connsiteY2816" fmla="*/ 7889 h 10000"/>
                  <a:gd name="connsiteX2817" fmla="*/ 2221 w 10785"/>
                  <a:gd name="connsiteY2817" fmla="*/ 7889 h 10000"/>
                  <a:gd name="connsiteX2818" fmla="*/ 2226 w 10785"/>
                  <a:gd name="connsiteY2818" fmla="*/ 7897 h 10000"/>
                  <a:gd name="connsiteX2819" fmla="*/ 2235 w 10785"/>
                  <a:gd name="connsiteY2819" fmla="*/ 7889 h 10000"/>
                  <a:gd name="connsiteX2820" fmla="*/ 2249 w 10785"/>
                  <a:gd name="connsiteY2820" fmla="*/ 7897 h 10000"/>
                  <a:gd name="connsiteX2821" fmla="*/ 2267 w 10785"/>
                  <a:gd name="connsiteY2821" fmla="*/ 7897 h 10000"/>
                  <a:gd name="connsiteX2822" fmla="*/ 2272 w 10785"/>
                  <a:gd name="connsiteY2822" fmla="*/ 7889 h 10000"/>
                  <a:gd name="connsiteX2823" fmla="*/ 2281 w 10785"/>
                  <a:gd name="connsiteY2823" fmla="*/ 7872 h 10000"/>
                  <a:gd name="connsiteX2824" fmla="*/ 2272 w 10785"/>
                  <a:gd name="connsiteY2824" fmla="*/ 7846 h 10000"/>
                  <a:gd name="connsiteX2825" fmla="*/ 2253 w 10785"/>
                  <a:gd name="connsiteY2825" fmla="*/ 7838 h 10000"/>
                  <a:gd name="connsiteX2826" fmla="*/ 2221 w 10785"/>
                  <a:gd name="connsiteY2826" fmla="*/ 7821 h 10000"/>
                  <a:gd name="connsiteX2827" fmla="*/ 2212 w 10785"/>
                  <a:gd name="connsiteY2827" fmla="*/ 7812 h 10000"/>
                  <a:gd name="connsiteX2828" fmla="*/ 2212 w 10785"/>
                  <a:gd name="connsiteY2828" fmla="*/ 7803 h 10000"/>
                  <a:gd name="connsiteX2829" fmla="*/ 2221 w 10785"/>
                  <a:gd name="connsiteY2829" fmla="*/ 7803 h 10000"/>
                  <a:gd name="connsiteX2830" fmla="*/ 2235 w 10785"/>
                  <a:gd name="connsiteY2830" fmla="*/ 7786 h 10000"/>
                  <a:gd name="connsiteX2831" fmla="*/ 2240 w 10785"/>
                  <a:gd name="connsiteY2831" fmla="*/ 7778 h 10000"/>
                  <a:gd name="connsiteX2832" fmla="*/ 2226 w 10785"/>
                  <a:gd name="connsiteY2832" fmla="*/ 7761 h 10000"/>
                  <a:gd name="connsiteX2833" fmla="*/ 2221 w 10785"/>
                  <a:gd name="connsiteY2833" fmla="*/ 7778 h 10000"/>
                  <a:gd name="connsiteX2834" fmla="*/ 2198 w 10785"/>
                  <a:gd name="connsiteY2834" fmla="*/ 7778 h 10000"/>
                  <a:gd name="connsiteX2835" fmla="*/ 2198 w 10785"/>
                  <a:gd name="connsiteY2835" fmla="*/ 7752 h 10000"/>
                  <a:gd name="connsiteX2836" fmla="*/ 2207 w 10785"/>
                  <a:gd name="connsiteY2836" fmla="*/ 7735 h 10000"/>
                  <a:gd name="connsiteX2837" fmla="*/ 2212 w 10785"/>
                  <a:gd name="connsiteY2837" fmla="*/ 7726 h 10000"/>
                  <a:gd name="connsiteX2838" fmla="*/ 2198 w 10785"/>
                  <a:gd name="connsiteY2838" fmla="*/ 7692 h 10000"/>
                  <a:gd name="connsiteX2839" fmla="*/ 2221 w 10785"/>
                  <a:gd name="connsiteY2839" fmla="*/ 7692 h 10000"/>
                  <a:gd name="connsiteX2840" fmla="*/ 2221 w 10785"/>
                  <a:gd name="connsiteY2840" fmla="*/ 7675 h 10000"/>
                  <a:gd name="connsiteX2841" fmla="*/ 2235 w 10785"/>
                  <a:gd name="connsiteY2841" fmla="*/ 7675 h 10000"/>
                  <a:gd name="connsiteX2842" fmla="*/ 2240 w 10785"/>
                  <a:gd name="connsiteY2842" fmla="*/ 7692 h 10000"/>
                  <a:gd name="connsiteX2843" fmla="*/ 2249 w 10785"/>
                  <a:gd name="connsiteY2843" fmla="*/ 7692 h 10000"/>
                  <a:gd name="connsiteX2844" fmla="*/ 2258 w 10785"/>
                  <a:gd name="connsiteY2844" fmla="*/ 7692 h 10000"/>
                  <a:gd name="connsiteX2845" fmla="*/ 2267 w 10785"/>
                  <a:gd name="connsiteY2845" fmla="*/ 7692 h 10000"/>
                  <a:gd name="connsiteX2846" fmla="*/ 2295 w 10785"/>
                  <a:gd name="connsiteY2846" fmla="*/ 7692 h 10000"/>
                  <a:gd name="connsiteX2847" fmla="*/ 2300 w 10785"/>
                  <a:gd name="connsiteY2847" fmla="*/ 7701 h 10000"/>
                  <a:gd name="connsiteX2848" fmla="*/ 2313 w 10785"/>
                  <a:gd name="connsiteY2848" fmla="*/ 7675 h 10000"/>
                  <a:gd name="connsiteX2849" fmla="*/ 2323 w 10785"/>
                  <a:gd name="connsiteY2849" fmla="*/ 7675 h 10000"/>
                  <a:gd name="connsiteX2850" fmla="*/ 2341 w 10785"/>
                  <a:gd name="connsiteY2850" fmla="*/ 7675 h 10000"/>
                  <a:gd name="connsiteX2851" fmla="*/ 2346 w 10785"/>
                  <a:gd name="connsiteY2851" fmla="*/ 7667 h 10000"/>
                  <a:gd name="connsiteX2852" fmla="*/ 2359 w 10785"/>
                  <a:gd name="connsiteY2852" fmla="*/ 7650 h 10000"/>
                  <a:gd name="connsiteX2853" fmla="*/ 2373 w 10785"/>
                  <a:gd name="connsiteY2853" fmla="*/ 7624 h 10000"/>
                  <a:gd name="connsiteX2854" fmla="*/ 2382 w 10785"/>
                  <a:gd name="connsiteY2854" fmla="*/ 7641 h 10000"/>
                  <a:gd name="connsiteX2855" fmla="*/ 2396 w 10785"/>
                  <a:gd name="connsiteY2855" fmla="*/ 7650 h 10000"/>
                  <a:gd name="connsiteX2856" fmla="*/ 2401 w 10785"/>
                  <a:gd name="connsiteY2856" fmla="*/ 7650 h 10000"/>
                  <a:gd name="connsiteX2857" fmla="*/ 2401 w 10785"/>
                  <a:gd name="connsiteY2857" fmla="*/ 7624 h 10000"/>
                  <a:gd name="connsiteX2858" fmla="*/ 2419 w 10785"/>
                  <a:gd name="connsiteY2858" fmla="*/ 7624 h 10000"/>
                  <a:gd name="connsiteX2859" fmla="*/ 2433 w 10785"/>
                  <a:gd name="connsiteY2859" fmla="*/ 7615 h 10000"/>
                  <a:gd name="connsiteX2860" fmla="*/ 2442 w 10785"/>
                  <a:gd name="connsiteY2860" fmla="*/ 7615 h 10000"/>
                  <a:gd name="connsiteX2861" fmla="*/ 2447 w 10785"/>
                  <a:gd name="connsiteY2861" fmla="*/ 7598 h 10000"/>
                  <a:gd name="connsiteX2862" fmla="*/ 2461 w 10785"/>
                  <a:gd name="connsiteY2862" fmla="*/ 7598 h 10000"/>
                  <a:gd name="connsiteX2863" fmla="*/ 2465 w 10785"/>
                  <a:gd name="connsiteY2863" fmla="*/ 7615 h 10000"/>
                  <a:gd name="connsiteX2864" fmla="*/ 2479 w 10785"/>
                  <a:gd name="connsiteY2864" fmla="*/ 7564 h 10000"/>
                  <a:gd name="connsiteX2865" fmla="*/ 2488 w 10785"/>
                  <a:gd name="connsiteY2865" fmla="*/ 7556 h 10000"/>
                  <a:gd name="connsiteX2866" fmla="*/ 2493 w 10785"/>
                  <a:gd name="connsiteY2866" fmla="*/ 7556 h 10000"/>
                  <a:gd name="connsiteX2867" fmla="*/ 2507 w 10785"/>
                  <a:gd name="connsiteY2867" fmla="*/ 7556 h 10000"/>
                  <a:gd name="connsiteX2868" fmla="*/ 2530 w 10785"/>
                  <a:gd name="connsiteY2868" fmla="*/ 7538 h 10000"/>
                  <a:gd name="connsiteX2869" fmla="*/ 2530 w 10785"/>
                  <a:gd name="connsiteY2869" fmla="*/ 7556 h 10000"/>
                  <a:gd name="connsiteX2870" fmla="*/ 2641 w 10785"/>
                  <a:gd name="connsiteY2870" fmla="*/ 7504 h 10000"/>
                  <a:gd name="connsiteX2871" fmla="*/ 2654 w 10785"/>
                  <a:gd name="connsiteY2871" fmla="*/ 7487 h 10000"/>
                  <a:gd name="connsiteX2872" fmla="*/ 2664 w 10785"/>
                  <a:gd name="connsiteY2872" fmla="*/ 7487 h 10000"/>
                  <a:gd name="connsiteX2873" fmla="*/ 2668 w 10785"/>
                  <a:gd name="connsiteY2873" fmla="*/ 7479 h 10000"/>
                  <a:gd name="connsiteX2874" fmla="*/ 2673 w 10785"/>
                  <a:gd name="connsiteY2874" fmla="*/ 7462 h 10000"/>
                  <a:gd name="connsiteX2875" fmla="*/ 2673 w 10785"/>
                  <a:gd name="connsiteY2875" fmla="*/ 7427 h 10000"/>
                  <a:gd name="connsiteX2876" fmla="*/ 2687 w 10785"/>
                  <a:gd name="connsiteY2876" fmla="*/ 7436 h 10000"/>
                  <a:gd name="connsiteX2877" fmla="*/ 2696 w 10785"/>
                  <a:gd name="connsiteY2877" fmla="*/ 7427 h 10000"/>
                  <a:gd name="connsiteX2878" fmla="*/ 2700 w 10785"/>
                  <a:gd name="connsiteY2878" fmla="*/ 7419 h 10000"/>
                  <a:gd name="connsiteX2879" fmla="*/ 2710 w 10785"/>
                  <a:gd name="connsiteY2879" fmla="*/ 7402 h 10000"/>
                  <a:gd name="connsiteX2880" fmla="*/ 2724 w 10785"/>
                  <a:gd name="connsiteY2880" fmla="*/ 7402 h 10000"/>
                  <a:gd name="connsiteX2881" fmla="*/ 2724 w 10785"/>
                  <a:gd name="connsiteY2881" fmla="*/ 7393 h 10000"/>
                  <a:gd name="connsiteX2882" fmla="*/ 2737 w 10785"/>
                  <a:gd name="connsiteY2882" fmla="*/ 7393 h 10000"/>
                  <a:gd name="connsiteX2883" fmla="*/ 2742 w 10785"/>
                  <a:gd name="connsiteY2883" fmla="*/ 7402 h 10000"/>
                  <a:gd name="connsiteX2884" fmla="*/ 2747 w 10785"/>
                  <a:gd name="connsiteY2884" fmla="*/ 7402 h 10000"/>
                  <a:gd name="connsiteX2885" fmla="*/ 2760 w 10785"/>
                  <a:gd name="connsiteY2885" fmla="*/ 7402 h 10000"/>
                  <a:gd name="connsiteX2886" fmla="*/ 2770 w 10785"/>
                  <a:gd name="connsiteY2886" fmla="*/ 7402 h 10000"/>
                  <a:gd name="connsiteX2887" fmla="*/ 2774 w 10785"/>
                  <a:gd name="connsiteY2887" fmla="*/ 7402 h 10000"/>
                  <a:gd name="connsiteX2888" fmla="*/ 2783 w 10785"/>
                  <a:gd name="connsiteY2888" fmla="*/ 7419 h 10000"/>
                  <a:gd name="connsiteX2889" fmla="*/ 2802 w 10785"/>
                  <a:gd name="connsiteY2889" fmla="*/ 7436 h 10000"/>
                  <a:gd name="connsiteX2890" fmla="*/ 2816 w 10785"/>
                  <a:gd name="connsiteY2890" fmla="*/ 7419 h 10000"/>
                  <a:gd name="connsiteX2891" fmla="*/ 2834 w 10785"/>
                  <a:gd name="connsiteY2891" fmla="*/ 7419 h 10000"/>
                  <a:gd name="connsiteX2892" fmla="*/ 2843 w 10785"/>
                  <a:gd name="connsiteY2892" fmla="*/ 7419 h 10000"/>
                  <a:gd name="connsiteX2893" fmla="*/ 2848 w 10785"/>
                  <a:gd name="connsiteY2893" fmla="*/ 7436 h 10000"/>
                  <a:gd name="connsiteX2894" fmla="*/ 2857 w 10785"/>
                  <a:gd name="connsiteY2894" fmla="*/ 7453 h 10000"/>
                  <a:gd name="connsiteX2895" fmla="*/ 2857 w 10785"/>
                  <a:gd name="connsiteY2895" fmla="*/ 7504 h 10000"/>
                  <a:gd name="connsiteX2896" fmla="*/ 2862 w 10785"/>
                  <a:gd name="connsiteY2896" fmla="*/ 7530 h 10000"/>
                  <a:gd name="connsiteX2897" fmla="*/ 2876 w 10785"/>
                  <a:gd name="connsiteY2897" fmla="*/ 7538 h 10000"/>
                  <a:gd name="connsiteX2898" fmla="*/ 2871 w 10785"/>
                  <a:gd name="connsiteY2898" fmla="*/ 7564 h 10000"/>
                  <a:gd name="connsiteX2899" fmla="*/ 2871 w 10785"/>
                  <a:gd name="connsiteY2899" fmla="*/ 7598 h 10000"/>
                  <a:gd name="connsiteX2900" fmla="*/ 2857 w 10785"/>
                  <a:gd name="connsiteY2900" fmla="*/ 7624 h 10000"/>
                  <a:gd name="connsiteX2901" fmla="*/ 2862 w 10785"/>
                  <a:gd name="connsiteY2901" fmla="*/ 7641 h 10000"/>
                  <a:gd name="connsiteX2902" fmla="*/ 2871 w 10785"/>
                  <a:gd name="connsiteY2902" fmla="*/ 7667 h 10000"/>
                  <a:gd name="connsiteX2903" fmla="*/ 2880 w 10785"/>
                  <a:gd name="connsiteY2903" fmla="*/ 7650 h 10000"/>
                  <a:gd name="connsiteX2904" fmla="*/ 2894 w 10785"/>
                  <a:gd name="connsiteY2904" fmla="*/ 7667 h 10000"/>
                  <a:gd name="connsiteX2905" fmla="*/ 2903 w 10785"/>
                  <a:gd name="connsiteY2905" fmla="*/ 7667 h 10000"/>
                  <a:gd name="connsiteX2906" fmla="*/ 2908 w 10785"/>
                  <a:gd name="connsiteY2906" fmla="*/ 7641 h 10000"/>
                  <a:gd name="connsiteX2907" fmla="*/ 2917 w 10785"/>
                  <a:gd name="connsiteY2907" fmla="*/ 7641 h 10000"/>
                  <a:gd name="connsiteX2908" fmla="*/ 2922 w 10785"/>
                  <a:gd name="connsiteY2908" fmla="*/ 7641 h 10000"/>
                  <a:gd name="connsiteX2909" fmla="*/ 2931 w 10785"/>
                  <a:gd name="connsiteY2909" fmla="*/ 7615 h 10000"/>
                  <a:gd name="connsiteX2910" fmla="*/ 2935 w 10785"/>
                  <a:gd name="connsiteY2910" fmla="*/ 7615 h 10000"/>
                  <a:gd name="connsiteX2911" fmla="*/ 2945 w 10785"/>
                  <a:gd name="connsiteY2911" fmla="*/ 7650 h 10000"/>
                  <a:gd name="connsiteX2912" fmla="*/ 2949 w 10785"/>
                  <a:gd name="connsiteY2912" fmla="*/ 7667 h 10000"/>
                  <a:gd name="connsiteX2913" fmla="*/ 2949 w 10785"/>
                  <a:gd name="connsiteY2913" fmla="*/ 7675 h 10000"/>
                  <a:gd name="connsiteX2914" fmla="*/ 2945 w 10785"/>
                  <a:gd name="connsiteY2914" fmla="*/ 7692 h 10000"/>
                  <a:gd name="connsiteX2915" fmla="*/ 2963 w 10785"/>
                  <a:gd name="connsiteY2915" fmla="*/ 7701 h 10000"/>
                  <a:gd name="connsiteX2916" fmla="*/ 2963 w 10785"/>
                  <a:gd name="connsiteY2916" fmla="*/ 7675 h 10000"/>
                  <a:gd name="connsiteX2917" fmla="*/ 2954 w 10785"/>
                  <a:gd name="connsiteY2917" fmla="*/ 7667 h 10000"/>
                  <a:gd name="connsiteX2918" fmla="*/ 2963 w 10785"/>
                  <a:gd name="connsiteY2918" fmla="*/ 7667 h 10000"/>
                  <a:gd name="connsiteX2919" fmla="*/ 2982 w 10785"/>
                  <a:gd name="connsiteY2919" fmla="*/ 7667 h 10000"/>
                  <a:gd name="connsiteX2920" fmla="*/ 2991 w 10785"/>
                  <a:gd name="connsiteY2920" fmla="*/ 7675 h 10000"/>
                  <a:gd name="connsiteX2921" fmla="*/ 2995 w 10785"/>
                  <a:gd name="connsiteY2921" fmla="*/ 7692 h 10000"/>
                  <a:gd name="connsiteX2922" fmla="*/ 3009 w 10785"/>
                  <a:gd name="connsiteY2922" fmla="*/ 7701 h 10000"/>
                  <a:gd name="connsiteX2923" fmla="*/ 3018 w 10785"/>
                  <a:gd name="connsiteY2923" fmla="*/ 7701 h 10000"/>
                  <a:gd name="connsiteX2924" fmla="*/ 3023 w 10785"/>
                  <a:gd name="connsiteY2924" fmla="*/ 7692 h 10000"/>
                  <a:gd name="connsiteX2925" fmla="*/ 3028 w 10785"/>
                  <a:gd name="connsiteY2925" fmla="*/ 7675 h 10000"/>
                  <a:gd name="connsiteX2926" fmla="*/ 3037 w 10785"/>
                  <a:gd name="connsiteY2926" fmla="*/ 7692 h 10000"/>
                  <a:gd name="connsiteX2927" fmla="*/ 3028 w 10785"/>
                  <a:gd name="connsiteY2927" fmla="*/ 7709 h 10000"/>
                  <a:gd name="connsiteX2928" fmla="*/ 3023 w 10785"/>
                  <a:gd name="connsiteY2928" fmla="*/ 7709 h 10000"/>
                  <a:gd name="connsiteX2929" fmla="*/ 3018 w 10785"/>
                  <a:gd name="connsiteY2929" fmla="*/ 7726 h 10000"/>
                  <a:gd name="connsiteX2930" fmla="*/ 3009 w 10785"/>
                  <a:gd name="connsiteY2930" fmla="*/ 7735 h 10000"/>
                  <a:gd name="connsiteX2931" fmla="*/ 3009 w 10785"/>
                  <a:gd name="connsiteY2931" fmla="*/ 7761 h 10000"/>
                  <a:gd name="connsiteX2932" fmla="*/ 3009 w 10785"/>
                  <a:gd name="connsiteY2932" fmla="*/ 7778 h 10000"/>
                  <a:gd name="connsiteX2933" fmla="*/ 3018 w 10785"/>
                  <a:gd name="connsiteY2933" fmla="*/ 7786 h 10000"/>
                  <a:gd name="connsiteX2934" fmla="*/ 3023 w 10785"/>
                  <a:gd name="connsiteY2934" fmla="*/ 7786 h 10000"/>
                  <a:gd name="connsiteX2935" fmla="*/ 3028 w 10785"/>
                  <a:gd name="connsiteY2935" fmla="*/ 7778 h 10000"/>
                  <a:gd name="connsiteX2936" fmla="*/ 3051 w 10785"/>
                  <a:gd name="connsiteY2936" fmla="*/ 7761 h 10000"/>
                  <a:gd name="connsiteX2937" fmla="*/ 3055 w 10785"/>
                  <a:gd name="connsiteY2937" fmla="*/ 7778 h 10000"/>
                  <a:gd name="connsiteX2938" fmla="*/ 3065 w 10785"/>
                  <a:gd name="connsiteY2938" fmla="*/ 7761 h 10000"/>
                  <a:gd name="connsiteX2939" fmla="*/ 3069 w 10785"/>
                  <a:gd name="connsiteY2939" fmla="*/ 7786 h 10000"/>
                  <a:gd name="connsiteX2940" fmla="*/ 3083 w 10785"/>
                  <a:gd name="connsiteY2940" fmla="*/ 7786 h 10000"/>
                  <a:gd name="connsiteX2941" fmla="*/ 3078 w 10785"/>
                  <a:gd name="connsiteY2941" fmla="*/ 7761 h 10000"/>
                  <a:gd name="connsiteX2942" fmla="*/ 3083 w 10785"/>
                  <a:gd name="connsiteY2942" fmla="*/ 7752 h 10000"/>
                  <a:gd name="connsiteX2943" fmla="*/ 3097 w 10785"/>
                  <a:gd name="connsiteY2943" fmla="*/ 7752 h 10000"/>
                  <a:gd name="connsiteX2944" fmla="*/ 3111 w 10785"/>
                  <a:gd name="connsiteY2944" fmla="*/ 7726 h 10000"/>
                  <a:gd name="connsiteX2945" fmla="*/ 3124 w 10785"/>
                  <a:gd name="connsiteY2945" fmla="*/ 7709 h 10000"/>
                  <a:gd name="connsiteX2946" fmla="*/ 3143 w 10785"/>
                  <a:gd name="connsiteY2946" fmla="*/ 7692 h 10000"/>
                  <a:gd name="connsiteX2947" fmla="*/ 3152 w 10785"/>
                  <a:gd name="connsiteY2947" fmla="*/ 7667 h 10000"/>
                  <a:gd name="connsiteX2948" fmla="*/ 3157 w 10785"/>
                  <a:gd name="connsiteY2948" fmla="*/ 7650 h 10000"/>
                  <a:gd name="connsiteX2949" fmla="*/ 3161 w 10785"/>
                  <a:gd name="connsiteY2949" fmla="*/ 7650 h 10000"/>
                  <a:gd name="connsiteX2950" fmla="*/ 3189 w 10785"/>
                  <a:gd name="connsiteY2950" fmla="*/ 7641 h 10000"/>
                  <a:gd name="connsiteX2951" fmla="*/ 3198 w 10785"/>
                  <a:gd name="connsiteY2951" fmla="*/ 7624 h 10000"/>
                  <a:gd name="connsiteX2952" fmla="*/ 3217 w 10785"/>
                  <a:gd name="connsiteY2952" fmla="*/ 7615 h 10000"/>
                  <a:gd name="connsiteX2953" fmla="*/ 3235 w 10785"/>
                  <a:gd name="connsiteY2953" fmla="*/ 7598 h 10000"/>
                  <a:gd name="connsiteX2954" fmla="*/ 3235 w 10785"/>
                  <a:gd name="connsiteY2954" fmla="*/ 7615 h 10000"/>
                  <a:gd name="connsiteX2955" fmla="*/ 3235 w 10785"/>
                  <a:gd name="connsiteY2955" fmla="*/ 7641 h 10000"/>
                  <a:gd name="connsiteX2956" fmla="*/ 3235 w 10785"/>
                  <a:gd name="connsiteY2956" fmla="*/ 7650 h 10000"/>
                  <a:gd name="connsiteX2957" fmla="*/ 3226 w 10785"/>
                  <a:gd name="connsiteY2957" fmla="*/ 7650 h 10000"/>
                  <a:gd name="connsiteX2958" fmla="*/ 3217 w 10785"/>
                  <a:gd name="connsiteY2958" fmla="*/ 7650 h 10000"/>
                  <a:gd name="connsiteX2959" fmla="*/ 3212 w 10785"/>
                  <a:gd name="connsiteY2959" fmla="*/ 7675 h 10000"/>
                  <a:gd name="connsiteX2960" fmla="*/ 3212 w 10785"/>
                  <a:gd name="connsiteY2960"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220 w 10785"/>
                  <a:gd name="connsiteY731" fmla="*/ 5025 h 10000"/>
                  <a:gd name="connsiteX732" fmla="*/ 10139 w 10785"/>
                  <a:gd name="connsiteY732" fmla="*/ 4708 h 10000"/>
                  <a:gd name="connsiteX733" fmla="*/ 10233 w 10785"/>
                  <a:gd name="connsiteY733" fmla="*/ 4530 h 10000"/>
                  <a:gd name="connsiteX734" fmla="*/ 10334 w 10785"/>
                  <a:gd name="connsiteY734" fmla="*/ 4810 h 10000"/>
                  <a:gd name="connsiteX735" fmla="*/ 10422 w 10785"/>
                  <a:gd name="connsiteY735" fmla="*/ 5051 h 10000"/>
                  <a:gd name="connsiteX736" fmla="*/ 10691 w 10785"/>
                  <a:gd name="connsiteY736" fmla="*/ 5255 h 10000"/>
                  <a:gd name="connsiteX737" fmla="*/ 10619 w 10785"/>
                  <a:gd name="connsiteY737" fmla="*/ 4708 h 10000"/>
                  <a:gd name="connsiteX738" fmla="*/ 10785 w 10785"/>
                  <a:gd name="connsiteY738" fmla="*/ 4708 h 10000"/>
                  <a:gd name="connsiteX739" fmla="*/ 10689 w 10785"/>
                  <a:gd name="connsiteY739" fmla="*/ 4467 h 10000"/>
                  <a:gd name="connsiteX740" fmla="*/ 10354 w 10785"/>
                  <a:gd name="connsiteY740" fmla="*/ 4302 h 10000"/>
                  <a:gd name="connsiteX741" fmla="*/ 9912 w 10785"/>
                  <a:gd name="connsiteY741" fmla="*/ 3675 h 10000"/>
                  <a:gd name="connsiteX742" fmla="*/ 9903 w 10785"/>
                  <a:gd name="connsiteY742" fmla="*/ 3667 h 10000"/>
                  <a:gd name="connsiteX743" fmla="*/ 9894 w 10785"/>
                  <a:gd name="connsiteY743" fmla="*/ 3641 h 10000"/>
                  <a:gd name="connsiteX744" fmla="*/ 9889 w 10785"/>
                  <a:gd name="connsiteY744" fmla="*/ 3650 h 10000"/>
                  <a:gd name="connsiteX745" fmla="*/ 9848 w 10785"/>
                  <a:gd name="connsiteY745" fmla="*/ 3598 h 10000"/>
                  <a:gd name="connsiteX746" fmla="*/ 9829 w 10785"/>
                  <a:gd name="connsiteY746" fmla="*/ 3581 h 10000"/>
                  <a:gd name="connsiteX747" fmla="*/ 9820 w 10785"/>
                  <a:gd name="connsiteY747" fmla="*/ 3581 h 10000"/>
                  <a:gd name="connsiteX748" fmla="*/ 9793 w 10785"/>
                  <a:gd name="connsiteY748" fmla="*/ 3556 h 10000"/>
                  <a:gd name="connsiteX749" fmla="*/ 9779 w 10785"/>
                  <a:gd name="connsiteY749" fmla="*/ 3556 h 10000"/>
                  <a:gd name="connsiteX750" fmla="*/ 9747 w 10785"/>
                  <a:gd name="connsiteY750" fmla="*/ 3487 h 10000"/>
                  <a:gd name="connsiteX751" fmla="*/ 9668 w 10785"/>
                  <a:gd name="connsiteY751" fmla="*/ 3479 h 10000"/>
                  <a:gd name="connsiteX752" fmla="*/ 9659 w 10785"/>
                  <a:gd name="connsiteY752" fmla="*/ 3487 h 10000"/>
                  <a:gd name="connsiteX753" fmla="*/ 9645 w 10785"/>
                  <a:gd name="connsiteY753" fmla="*/ 3504 h 10000"/>
                  <a:gd name="connsiteX754" fmla="*/ 9631 w 10785"/>
                  <a:gd name="connsiteY754" fmla="*/ 3487 h 10000"/>
                  <a:gd name="connsiteX755" fmla="*/ 9613 w 10785"/>
                  <a:gd name="connsiteY755" fmla="*/ 3479 h 10000"/>
                  <a:gd name="connsiteX756" fmla="*/ 9599 w 10785"/>
                  <a:gd name="connsiteY756" fmla="*/ 3479 h 10000"/>
                  <a:gd name="connsiteX757" fmla="*/ 9571 w 10785"/>
                  <a:gd name="connsiteY757" fmla="*/ 3479 h 10000"/>
                  <a:gd name="connsiteX758" fmla="*/ 9562 w 10785"/>
                  <a:gd name="connsiteY758" fmla="*/ 3487 h 10000"/>
                  <a:gd name="connsiteX759" fmla="*/ 9539 w 10785"/>
                  <a:gd name="connsiteY759" fmla="*/ 3487 h 10000"/>
                  <a:gd name="connsiteX760" fmla="*/ 9507 w 10785"/>
                  <a:gd name="connsiteY760" fmla="*/ 3453 h 10000"/>
                  <a:gd name="connsiteX761" fmla="*/ 9498 w 10785"/>
                  <a:gd name="connsiteY761" fmla="*/ 3453 h 10000"/>
                  <a:gd name="connsiteX762" fmla="*/ 9387 w 10785"/>
                  <a:gd name="connsiteY762" fmla="*/ 3419 h 10000"/>
                  <a:gd name="connsiteX763" fmla="*/ 9373 w 10785"/>
                  <a:gd name="connsiteY763" fmla="*/ 3427 h 10000"/>
                  <a:gd name="connsiteX764" fmla="*/ 9373 w 10785"/>
                  <a:gd name="connsiteY764" fmla="*/ 3462 h 10000"/>
                  <a:gd name="connsiteX765" fmla="*/ 9378 w 10785"/>
                  <a:gd name="connsiteY765" fmla="*/ 3479 h 10000"/>
                  <a:gd name="connsiteX766" fmla="*/ 9378 w 10785"/>
                  <a:gd name="connsiteY766" fmla="*/ 3530 h 10000"/>
                  <a:gd name="connsiteX767" fmla="*/ 9355 w 10785"/>
                  <a:gd name="connsiteY767" fmla="*/ 3538 h 10000"/>
                  <a:gd name="connsiteX768" fmla="*/ 9355 w 10785"/>
                  <a:gd name="connsiteY768" fmla="*/ 3581 h 10000"/>
                  <a:gd name="connsiteX769" fmla="*/ 9387 w 10785"/>
                  <a:gd name="connsiteY769" fmla="*/ 3590 h 10000"/>
                  <a:gd name="connsiteX770" fmla="*/ 9401 w 10785"/>
                  <a:gd name="connsiteY770" fmla="*/ 3667 h 10000"/>
                  <a:gd name="connsiteX771" fmla="*/ 9406 w 10785"/>
                  <a:gd name="connsiteY771" fmla="*/ 3675 h 10000"/>
                  <a:gd name="connsiteX772" fmla="*/ 9406 w 10785"/>
                  <a:gd name="connsiteY772" fmla="*/ 3701 h 10000"/>
                  <a:gd name="connsiteX773" fmla="*/ 9415 w 10785"/>
                  <a:gd name="connsiteY773" fmla="*/ 3752 h 10000"/>
                  <a:gd name="connsiteX774" fmla="*/ 9373 w 10785"/>
                  <a:gd name="connsiteY774" fmla="*/ 3838 h 10000"/>
                  <a:gd name="connsiteX775" fmla="*/ 9355 w 10785"/>
                  <a:gd name="connsiteY775" fmla="*/ 3863 h 10000"/>
                  <a:gd name="connsiteX776" fmla="*/ 9327 w 10785"/>
                  <a:gd name="connsiteY776" fmla="*/ 3863 h 10000"/>
                  <a:gd name="connsiteX777" fmla="*/ 9313 w 10785"/>
                  <a:gd name="connsiteY777" fmla="*/ 3846 h 10000"/>
                  <a:gd name="connsiteX778" fmla="*/ 9300 w 10785"/>
                  <a:gd name="connsiteY778" fmla="*/ 3778 h 10000"/>
                  <a:gd name="connsiteX779" fmla="*/ 9281 w 10785"/>
                  <a:gd name="connsiteY779" fmla="*/ 3752 h 10000"/>
                  <a:gd name="connsiteX780" fmla="*/ 9281 w 10785"/>
                  <a:gd name="connsiteY780" fmla="*/ 3735 h 10000"/>
                  <a:gd name="connsiteX781" fmla="*/ 9267 w 10785"/>
                  <a:gd name="connsiteY781" fmla="*/ 3726 h 10000"/>
                  <a:gd name="connsiteX782" fmla="*/ 9240 w 10785"/>
                  <a:gd name="connsiteY782" fmla="*/ 3726 h 10000"/>
                  <a:gd name="connsiteX783" fmla="*/ 9230 w 10785"/>
                  <a:gd name="connsiteY783" fmla="*/ 3718 h 10000"/>
                  <a:gd name="connsiteX784" fmla="*/ 9226 w 10785"/>
                  <a:gd name="connsiteY784" fmla="*/ 3590 h 10000"/>
                  <a:gd name="connsiteX785" fmla="*/ 9207 w 10785"/>
                  <a:gd name="connsiteY785" fmla="*/ 3581 h 10000"/>
                  <a:gd name="connsiteX786" fmla="*/ 9207 w 10785"/>
                  <a:gd name="connsiteY786" fmla="*/ 3556 h 10000"/>
                  <a:gd name="connsiteX787" fmla="*/ 9217 w 10785"/>
                  <a:gd name="connsiteY787" fmla="*/ 3538 h 10000"/>
                  <a:gd name="connsiteX788" fmla="*/ 9212 w 10785"/>
                  <a:gd name="connsiteY788" fmla="*/ 3538 h 10000"/>
                  <a:gd name="connsiteX789" fmla="*/ 9198 w 10785"/>
                  <a:gd name="connsiteY789" fmla="*/ 3513 h 10000"/>
                  <a:gd name="connsiteX790" fmla="*/ 9194 w 10785"/>
                  <a:gd name="connsiteY790" fmla="*/ 3530 h 10000"/>
                  <a:gd name="connsiteX791" fmla="*/ 9143 w 10785"/>
                  <a:gd name="connsiteY791" fmla="*/ 3615 h 10000"/>
                  <a:gd name="connsiteX792" fmla="*/ 9138 w 10785"/>
                  <a:gd name="connsiteY792" fmla="*/ 3615 h 10000"/>
                  <a:gd name="connsiteX793" fmla="*/ 9134 w 10785"/>
                  <a:gd name="connsiteY793" fmla="*/ 3615 h 10000"/>
                  <a:gd name="connsiteX794" fmla="*/ 9106 w 10785"/>
                  <a:gd name="connsiteY794" fmla="*/ 3615 h 10000"/>
                  <a:gd name="connsiteX795" fmla="*/ 9078 w 10785"/>
                  <a:gd name="connsiteY795" fmla="*/ 3590 h 10000"/>
                  <a:gd name="connsiteX796" fmla="*/ 9037 w 10785"/>
                  <a:gd name="connsiteY796" fmla="*/ 3581 h 10000"/>
                  <a:gd name="connsiteX797" fmla="*/ 9023 w 10785"/>
                  <a:gd name="connsiteY797" fmla="*/ 3590 h 10000"/>
                  <a:gd name="connsiteX798" fmla="*/ 9018 w 10785"/>
                  <a:gd name="connsiteY798" fmla="*/ 3590 h 10000"/>
                  <a:gd name="connsiteX799" fmla="*/ 9018 w 10785"/>
                  <a:gd name="connsiteY799" fmla="*/ 3590 h 10000"/>
                  <a:gd name="connsiteX800" fmla="*/ 8991 w 10785"/>
                  <a:gd name="connsiteY800" fmla="*/ 3590 h 10000"/>
                  <a:gd name="connsiteX801" fmla="*/ 8972 w 10785"/>
                  <a:gd name="connsiteY801" fmla="*/ 3581 h 10000"/>
                  <a:gd name="connsiteX802" fmla="*/ 8959 w 10785"/>
                  <a:gd name="connsiteY802" fmla="*/ 3513 h 10000"/>
                  <a:gd name="connsiteX803" fmla="*/ 8931 w 10785"/>
                  <a:gd name="connsiteY803" fmla="*/ 3538 h 10000"/>
                  <a:gd name="connsiteX804" fmla="*/ 8889 w 10785"/>
                  <a:gd name="connsiteY804" fmla="*/ 3538 h 10000"/>
                  <a:gd name="connsiteX805" fmla="*/ 8871 w 10785"/>
                  <a:gd name="connsiteY805" fmla="*/ 3556 h 10000"/>
                  <a:gd name="connsiteX806" fmla="*/ 8857 w 10785"/>
                  <a:gd name="connsiteY806" fmla="*/ 3538 h 10000"/>
                  <a:gd name="connsiteX807" fmla="*/ 8843 w 10785"/>
                  <a:gd name="connsiteY807" fmla="*/ 3538 h 10000"/>
                  <a:gd name="connsiteX808" fmla="*/ 8839 w 10785"/>
                  <a:gd name="connsiteY808" fmla="*/ 3556 h 10000"/>
                  <a:gd name="connsiteX809" fmla="*/ 8839 w 10785"/>
                  <a:gd name="connsiteY809" fmla="*/ 3581 h 10000"/>
                  <a:gd name="connsiteX810" fmla="*/ 8825 w 10785"/>
                  <a:gd name="connsiteY810" fmla="*/ 3564 h 10000"/>
                  <a:gd name="connsiteX811" fmla="*/ 8825 w 10785"/>
                  <a:gd name="connsiteY811" fmla="*/ 3615 h 10000"/>
                  <a:gd name="connsiteX812" fmla="*/ 8802 w 10785"/>
                  <a:gd name="connsiteY812" fmla="*/ 3598 h 10000"/>
                  <a:gd name="connsiteX813" fmla="*/ 8797 w 10785"/>
                  <a:gd name="connsiteY813" fmla="*/ 3641 h 10000"/>
                  <a:gd name="connsiteX814" fmla="*/ 8783 w 10785"/>
                  <a:gd name="connsiteY814" fmla="*/ 3667 h 10000"/>
                  <a:gd name="connsiteX815" fmla="*/ 8779 w 10785"/>
                  <a:gd name="connsiteY815" fmla="*/ 3650 h 10000"/>
                  <a:gd name="connsiteX816" fmla="*/ 8779 w 10785"/>
                  <a:gd name="connsiteY816" fmla="*/ 3615 h 10000"/>
                  <a:gd name="connsiteX817" fmla="*/ 8770 w 10785"/>
                  <a:gd name="connsiteY817" fmla="*/ 3590 h 10000"/>
                  <a:gd name="connsiteX818" fmla="*/ 8765 w 10785"/>
                  <a:gd name="connsiteY818" fmla="*/ 3598 h 10000"/>
                  <a:gd name="connsiteX819" fmla="*/ 8756 w 10785"/>
                  <a:gd name="connsiteY819" fmla="*/ 3590 h 10000"/>
                  <a:gd name="connsiteX820" fmla="*/ 8737 w 10785"/>
                  <a:gd name="connsiteY820" fmla="*/ 3556 h 10000"/>
                  <a:gd name="connsiteX821" fmla="*/ 8724 w 10785"/>
                  <a:gd name="connsiteY821" fmla="*/ 3538 h 10000"/>
                  <a:gd name="connsiteX822" fmla="*/ 8696 w 10785"/>
                  <a:gd name="connsiteY822" fmla="*/ 3538 h 10000"/>
                  <a:gd name="connsiteX823" fmla="*/ 8691 w 10785"/>
                  <a:gd name="connsiteY823" fmla="*/ 3513 h 10000"/>
                  <a:gd name="connsiteX824" fmla="*/ 8668 w 10785"/>
                  <a:gd name="connsiteY824" fmla="*/ 3504 h 10000"/>
                  <a:gd name="connsiteX825" fmla="*/ 8668 w 10785"/>
                  <a:gd name="connsiteY825" fmla="*/ 3487 h 10000"/>
                  <a:gd name="connsiteX826" fmla="*/ 8691 w 10785"/>
                  <a:gd name="connsiteY826" fmla="*/ 3350 h 10000"/>
                  <a:gd name="connsiteX827" fmla="*/ 8691 w 10785"/>
                  <a:gd name="connsiteY827" fmla="*/ 3291 h 10000"/>
                  <a:gd name="connsiteX828" fmla="*/ 8677 w 10785"/>
                  <a:gd name="connsiteY828" fmla="*/ 3239 h 10000"/>
                  <a:gd name="connsiteX829" fmla="*/ 8677 w 10785"/>
                  <a:gd name="connsiteY829" fmla="*/ 3231 h 10000"/>
                  <a:gd name="connsiteX830" fmla="*/ 8636 w 10785"/>
                  <a:gd name="connsiteY830" fmla="*/ 3128 h 10000"/>
                  <a:gd name="connsiteX831" fmla="*/ 8622 w 10785"/>
                  <a:gd name="connsiteY831" fmla="*/ 3120 h 10000"/>
                  <a:gd name="connsiteX832" fmla="*/ 8618 w 10785"/>
                  <a:gd name="connsiteY832" fmla="*/ 3094 h 10000"/>
                  <a:gd name="connsiteX833" fmla="*/ 8594 w 10785"/>
                  <a:gd name="connsiteY833" fmla="*/ 3077 h 10000"/>
                  <a:gd name="connsiteX834" fmla="*/ 8548 w 10785"/>
                  <a:gd name="connsiteY834" fmla="*/ 3077 h 10000"/>
                  <a:gd name="connsiteX835" fmla="*/ 8535 w 10785"/>
                  <a:gd name="connsiteY835" fmla="*/ 3068 h 10000"/>
                  <a:gd name="connsiteX836" fmla="*/ 8429 w 10785"/>
                  <a:gd name="connsiteY836" fmla="*/ 3077 h 10000"/>
                  <a:gd name="connsiteX837" fmla="*/ 8424 w 10785"/>
                  <a:gd name="connsiteY837" fmla="*/ 3077 h 10000"/>
                  <a:gd name="connsiteX838" fmla="*/ 8396 w 10785"/>
                  <a:gd name="connsiteY838" fmla="*/ 3077 h 10000"/>
                  <a:gd name="connsiteX839" fmla="*/ 8387 w 10785"/>
                  <a:gd name="connsiteY839" fmla="*/ 3094 h 10000"/>
                  <a:gd name="connsiteX840" fmla="*/ 8378 w 10785"/>
                  <a:gd name="connsiteY840" fmla="*/ 3094 h 10000"/>
                  <a:gd name="connsiteX841" fmla="*/ 8341 w 10785"/>
                  <a:gd name="connsiteY841" fmla="*/ 3077 h 10000"/>
                  <a:gd name="connsiteX842" fmla="*/ 8336 w 10785"/>
                  <a:gd name="connsiteY842" fmla="*/ 3077 h 10000"/>
                  <a:gd name="connsiteX843" fmla="*/ 8327 w 10785"/>
                  <a:gd name="connsiteY843" fmla="*/ 3103 h 10000"/>
                  <a:gd name="connsiteX844" fmla="*/ 8309 w 10785"/>
                  <a:gd name="connsiteY844" fmla="*/ 3120 h 10000"/>
                  <a:gd name="connsiteX845" fmla="*/ 8304 w 10785"/>
                  <a:gd name="connsiteY845" fmla="*/ 3103 h 10000"/>
                  <a:gd name="connsiteX846" fmla="*/ 8276 w 10785"/>
                  <a:gd name="connsiteY846" fmla="*/ 3103 h 10000"/>
                  <a:gd name="connsiteX847" fmla="*/ 8267 w 10785"/>
                  <a:gd name="connsiteY847" fmla="*/ 3120 h 10000"/>
                  <a:gd name="connsiteX848" fmla="*/ 8253 w 10785"/>
                  <a:gd name="connsiteY848" fmla="*/ 3103 h 10000"/>
                  <a:gd name="connsiteX849" fmla="*/ 8230 w 10785"/>
                  <a:gd name="connsiteY849" fmla="*/ 3128 h 10000"/>
                  <a:gd name="connsiteX850" fmla="*/ 8217 w 10785"/>
                  <a:gd name="connsiteY850" fmla="*/ 3128 h 10000"/>
                  <a:gd name="connsiteX851" fmla="*/ 8203 w 10785"/>
                  <a:gd name="connsiteY851" fmla="*/ 3154 h 10000"/>
                  <a:gd name="connsiteX852" fmla="*/ 8175 w 10785"/>
                  <a:gd name="connsiteY852" fmla="*/ 3094 h 10000"/>
                  <a:gd name="connsiteX853" fmla="*/ 8161 w 10785"/>
                  <a:gd name="connsiteY853" fmla="*/ 3094 h 10000"/>
                  <a:gd name="connsiteX854" fmla="*/ 8157 w 10785"/>
                  <a:gd name="connsiteY854" fmla="*/ 3077 h 10000"/>
                  <a:gd name="connsiteX855" fmla="*/ 8180 w 10785"/>
                  <a:gd name="connsiteY855" fmla="*/ 3068 h 10000"/>
                  <a:gd name="connsiteX856" fmla="*/ 8189 w 10785"/>
                  <a:gd name="connsiteY856" fmla="*/ 3043 h 10000"/>
                  <a:gd name="connsiteX857" fmla="*/ 8189 w 10785"/>
                  <a:gd name="connsiteY857" fmla="*/ 3017 h 10000"/>
                  <a:gd name="connsiteX858" fmla="*/ 8147 w 10785"/>
                  <a:gd name="connsiteY858" fmla="*/ 2940 h 10000"/>
                  <a:gd name="connsiteX859" fmla="*/ 8143 w 10785"/>
                  <a:gd name="connsiteY859" fmla="*/ 2915 h 10000"/>
                  <a:gd name="connsiteX860" fmla="*/ 8143 w 10785"/>
                  <a:gd name="connsiteY860" fmla="*/ 2906 h 10000"/>
                  <a:gd name="connsiteX861" fmla="*/ 8097 w 10785"/>
                  <a:gd name="connsiteY861" fmla="*/ 2932 h 10000"/>
                  <a:gd name="connsiteX862" fmla="*/ 8083 w 10785"/>
                  <a:gd name="connsiteY862" fmla="*/ 2932 h 10000"/>
                  <a:gd name="connsiteX863" fmla="*/ 8074 w 10785"/>
                  <a:gd name="connsiteY863" fmla="*/ 2906 h 10000"/>
                  <a:gd name="connsiteX864" fmla="*/ 8074 w 10785"/>
                  <a:gd name="connsiteY864" fmla="*/ 2897 h 10000"/>
                  <a:gd name="connsiteX865" fmla="*/ 8055 w 10785"/>
                  <a:gd name="connsiteY865" fmla="*/ 2872 h 10000"/>
                  <a:gd name="connsiteX866" fmla="*/ 8046 w 10785"/>
                  <a:gd name="connsiteY866" fmla="*/ 2829 h 10000"/>
                  <a:gd name="connsiteX867" fmla="*/ 8041 w 10785"/>
                  <a:gd name="connsiteY867" fmla="*/ 2829 h 10000"/>
                  <a:gd name="connsiteX868" fmla="*/ 8023 w 10785"/>
                  <a:gd name="connsiteY868" fmla="*/ 2803 h 10000"/>
                  <a:gd name="connsiteX869" fmla="*/ 8014 w 10785"/>
                  <a:gd name="connsiteY869" fmla="*/ 2829 h 10000"/>
                  <a:gd name="connsiteX870" fmla="*/ 8000 w 10785"/>
                  <a:gd name="connsiteY870" fmla="*/ 2829 h 10000"/>
                  <a:gd name="connsiteX871" fmla="*/ 7995 w 10785"/>
                  <a:gd name="connsiteY871" fmla="*/ 2821 h 10000"/>
                  <a:gd name="connsiteX872" fmla="*/ 7972 w 10785"/>
                  <a:gd name="connsiteY872" fmla="*/ 2803 h 10000"/>
                  <a:gd name="connsiteX873" fmla="*/ 7968 w 10785"/>
                  <a:gd name="connsiteY873" fmla="*/ 2821 h 10000"/>
                  <a:gd name="connsiteX874" fmla="*/ 7968 w 10785"/>
                  <a:gd name="connsiteY874" fmla="*/ 2803 h 10000"/>
                  <a:gd name="connsiteX875" fmla="*/ 7995 w 10785"/>
                  <a:gd name="connsiteY875" fmla="*/ 2735 h 10000"/>
                  <a:gd name="connsiteX876" fmla="*/ 8000 w 10785"/>
                  <a:gd name="connsiteY876" fmla="*/ 2735 h 10000"/>
                  <a:gd name="connsiteX877" fmla="*/ 8014 w 10785"/>
                  <a:gd name="connsiteY877" fmla="*/ 2744 h 10000"/>
                  <a:gd name="connsiteX878" fmla="*/ 8023 w 10785"/>
                  <a:gd name="connsiteY878" fmla="*/ 2769 h 10000"/>
                  <a:gd name="connsiteX879" fmla="*/ 8032 w 10785"/>
                  <a:gd name="connsiteY879" fmla="*/ 2744 h 10000"/>
                  <a:gd name="connsiteX880" fmla="*/ 8032 w 10785"/>
                  <a:gd name="connsiteY880" fmla="*/ 2709 h 10000"/>
                  <a:gd name="connsiteX881" fmla="*/ 8023 w 10785"/>
                  <a:gd name="connsiteY881" fmla="*/ 2632 h 10000"/>
                  <a:gd name="connsiteX882" fmla="*/ 7986 w 10785"/>
                  <a:gd name="connsiteY882" fmla="*/ 2581 h 10000"/>
                  <a:gd name="connsiteX883" fmla="*/ 7968 w 10785"/>
                  <a:gd name="connsiteY883" fmla="*/ 2581 h 10000"/>
                  <a:gd name="connsiteX884" fmla="*/ 7963 w 10785"/>
                  <a:gd name="connsiteY884" fmla="*/ 2556 h 10000"/>
                  <a:gd name="connsiteX885" fmla="*/ 7935 w 10785"/>
                  <a:gd name="connsiteY885" fmla="*/ 2547 h 10000"/>
                  <a:gd name="connsiteX886" fmla="*/ 7912 w 10785"/>
                  <a:gd name="connsiteY886" fmla="*/ 2547 h 10000"/>
                  <a:gd name="connsiteX887" fmla="*/ 7912 w 10785"/>
                  <a:gd name="connsiteY887" fmla="*/ 2556 h 10000"/>
                  <a:gd name="connsiteX888" fmla="*/ 7908 w 10785"/>
                  <a:gd name="connsiteY888" fmla="*/ 2547 h 10000"/>
                  <a:gd name="connsiteX889" fmla="*/ 7862 w 10785"/>
                  <a:gd name="connsiteY889" fmla="*/ 2547 h 10000"/>
                  <a:gd name="connsiteX890" fmla="*/ 7848 w 10785"/>
                  <a:gd name="connsiteY890" fmla="*/ 2556 h 10000"/>
                  <a:gd name="connsiteX891" fmla="*/ 7820 w 10785"/>
                  <a:gd name="connsiteY891" fmla="*/ 2547 h 10000"/>
                  <a:gd name="connsiteX892" fmla="*/ 7806 w 10785"/>
                  <a:gd name="connsiteY892" fmla="*/ 2513 h 10000"/>
                  <a:gd name="connsiteX893" fmla="*/ 7788 w 10785"/>
                  <a:gd name="connsiteY893" fmla="*/ 2513 h 10000"/>
                  <a:gd name="connsiteX894" fmla="*/ 7760 w 10785"/>
                  <a:gd name="connsiteY894" fmla="*/ 2470 h 10000"/>
                  <a:gd name="connsiteX895" fmla="*/ 7751 w 10785"/>
                  <a:gd name="connsiteY895" fmla="*/ 2470 h 10000"/>
                  <a:gd name="connsiteX896" fmla="*/ 7705 w 10785"/>
                  <a:gd name="connsiteY896" fmla="*/ 2462 h 10000"/>
                  <a:gd name="connsiteX897" fmla="*/ 7673 w 10785"/>
                  <a:gd name="connsiteY897" fmla="*/ 2419 h 10000"/>
                  <a:gd name="connsiteX898" fmla="*/ 7627 w 10785"/>
                  <a:gd name="connsiteY898" fmla="*/ 2419 h 10000"/>
                  <a:gd name="connsiteX899" fmla="*/ 7613 w 10785"/>
                  <a:gd name="connsiteY899" fmla="*/ 2410 h 10000"/>
                  <a:gd name="connsiteX900" fmla="*/ 7493 w 10785"/>
                  <a:gd name="connsiteY900" fmla="*/ 2393 h 10000"/>
                  <a:gd name="connsiteX901" fmla="*/ 7479 w 10785"/>
                  <a:gd name="connsiteY901" fmla="*/ 2385 h 10000"/>
                  <a:gd name="connsiteX902" fmla="*/ 7479 w 10785"/>
                  <a:gd name="connsiteY902" fmla="*/ 2376 h 10000"/>
                  <a:gd name="connsiteX903" fmla="*/ 7465 w 10785"/>
                  <a:gd name="connsiteY903" fmla="*/ 2359 h 10000"/>
                  <a:gd name="connsiteX904" fmla="*/ 7447 w 10785"/>
                  <a:gd name="connsiteY904" fmla="*/ 2350 h 10000"/>
                  <a:gd name="connsiteX905" fmla="*/ 7433 w 10785"/>
                  <a:gd name="connsiteY905" fmla="*/ 2376 h 10000"/>
                  <a:gd name="connsiteX906" fmla="*/ 7433 w 10785"/>
                  <a:gd name="connsiteY906" fmla="*/ 2385 h 10000"/>
                  <a:gd name="connsiteX907" fmla="*/ 7447 w 10785"/>
                  <a:gd name="connsiteY907" fmla="*/ 2410 h 10000"/>
                  <a:gd name="connsiteX908" fmla="*/ 7447 w 10785"/>
                  <a:gd name="connsiteY908" fmla="*/ 2436 h 10000"/>
                  <a:gd name="connsiteX909" fmla="*/ 7452 w 10785"/>
                  <a:gd name="connsiteY909" fmla="*/ 2462 h 10000"/>
                  <a:gd name="connsiteX910" fmla="*/ 7447 w 10785"/>
                  <a:gd name="connsiteY910" fmla="*/ 2470 h 10000"/>
                  <a:gd name="connsiteX911" fmla="*/ 7424 w 10785"/>
                  <a:gd name="connsiteY911" fmla="*/ 2513 h 10000"/>
                  <a:gd name="connsiteX912" fmla="*/ 7419 w 10785"/>
                  <a:gd name="connsiteY912" fmla="*/ 2556 h 10000"/>
                  <a:gd name="connsiteX913" fmla="*/ 7406 w 10785"/>
                  <a:gd name="connsiteY913" fmla="*/ 2624 h 10000"/>
                  <a:gd name="connsiteX914" fmla="*/ 7392 w 10785"/>
                  <a:gd name="connsiteY914" fmla="*/ 2624 h 10000"/>
                  <a:gd name="connsiteX915" fmla="*/ 7373 w 10785"/>
                  <a:gd name="connsiteY915" fmla="*/ 2650 h 10000"/>
                  <a:gd name="connsiteX916" fmla="*/ 7364 w 10785"/>
                  <a:gd name="connsiteY916" fmla="*/ 2684 h 10000"/>
                  <a:gd name="connsiteX917" fmla="*/ 7364 w 10785"/>
                  <a:gd name="connsiteY917" fmla="*/ 2692 h 10000"/>
                  <a:gd name="connsiteX918" fmla="*/ 7373 w 10785"/>
                  <a:gd name="connsiteY918" fmla="*/ 2718 h 10000"/>
                  <a:gd name="connsiteX919" fmla="*/ 7373 w 10785"/>
                  <a:gd name="connsiteY919" fmla="*/ 2744 h 10000"/>
                  <a:gd name="connsiteX920" fmla="*/ 7359 w 10785"/>
                  <a:gd name="connsiteY920" fmla="*/ 2744 h 10000"/>
                  <a:gd name="connsiteX921" fmla="*/ 7359 w 10785"/>
                  <a:gd name="connsiteY921" fmla="*/ 2795 h 10000"/>
                  <a:gd name="connsiteX922" fmla="*/ 7364 w 10785"/>
                  <a:gd name="connsiteY922" fmla="*/ 2821 h 10000"/>
                  <a:gd name="connsiteX923" fmla="*/ 7378 w 10785"/>
                  <a:gd name="connsiteY923" fmla="*/ 2846 h 10000"/>
                  <a:gd name="connsiteX924" fmla="*/ 7378 w 10785"/>
                  <a:gd name="connsiteY924" fmla="*/ 2855 h 10000"/>
                  <a:gd name="connsiteX925" fmla="*/ 7378 w 10785"/>
                  <a:gd name="connsiteY925" fmla="*/ 2880 h 10000"/>
                  <a:gd name="connsiteX926" fmla="*/ 7378 w 10785"/>
                  <a:gd name="connsiteY926" fmla="*/ 2906 h 10000"/>
                  <a:gd name="connsiteX927" fmla="*/ 7364 w 10785"/>
                  <a:gd name="connsiteY927" fmla="*/ 2906 h 10000"/>
                  <a:gd name="connsiteX928" fmla="*/ 7346 w 10785"/>
                  <a:gd name="connsiteY928" fmla="*/ 2880 h 10000"/>
                  <a:gd name="connsiteX929" fmla="*/ 7332 w 10785"/>
                  <a:gd name="connsiteY929" fmla="*/ 2915 h 10000"/>
                  <a:gd name="connsiteX930" fmla="*/ 7318 w 10785"/>
                  <a:gd name="connsiteY930" fmla="*/ 2906 h 10000"/>
                  <a:gd name="connsiteX931" fmla="*/ 7313 w 10785"/>
                  <a:gd name="connsiteY931" fmla="*/ 2915 h 10000"/>
                  <a:gd name="connsiteX932" fmla="*/ 7313 w 10785"/>
                  <a:gd name="connsiteY932" fmla="*/ 2906 h 10000"/>
                  <a:gd name="connsiteX933" fmla="*/ 7286 w 10785"/>
                  <a:gd name="connsiteY933" fmla="*/ 2940 h 10000"/>
                  <a:gd name="connsiteX934" fmla="*/ 7276 w 10785"/>
                  <a:gd name="connsiteY934" fmla="*/ 2966 h 10000"/>
                  <a:gd name="connsiteX935" fmla="*/ 7272 w 10785"/>
                  <a:gd name="connsiteY935" fmla="*/ 2983 h 10000"/>
                  <a:gd name="connsiteX936" fmla="*/ 7267 w 10785"/>
                  <a:gd name="connsiteY936" fmla="*/ 3009 h 10000"/>
                  <a:gd name="connsiteX937" fmla="*/ 7253 w 10785"/>
                  <a:gd name="connsiteY937" fmla="*/ 3009 h 10000"/>
                  <a:gd name="connsiteX938" fmla="*/ 7244 w 10785"/>
                  <a:gd name="connsiteY938" fmla="*/ 3017 h 10000"/>
                  <a:gd name="connsiteX939" fmla="*/ 7240 w 10785"/>
                  <a:gd name="connsiteY939" fmla="*/ 3009 h 10000"/>
                  <a:gd name="connsiteX940" fmla="*/ 7230 w 10785"/>
                  <a:gd name="connsiteY940" fmla="*/ 2991 h 10000"/>
                  <a:gd name="connsiteX941" fmla="*/ 7226 w 10785"/>
                  <a:gd name="connsiteY941" fmla="*/ 2983 h 10000"/>
                  <a:gd name="connsiteX942" fmla="*/ 7226 w 10785"/>
                  <a:gd name="connsiteY942" fmla="*/ 2966 h 10000"/>
                  <a:gd name="connsiteX943" fmla="*/ 7212 w 10785"/>
                  <a:gd name="connsiteY943" fmla="*/ 2957 h 10000"/>
                  <a:gd name="connsiteX944" fmla="*/ 7212 w 10785"/>
                  <a:gd name="connsiteY944" fmla="*/ 2932 h 10000"/>
                  <a:gd name="connsiteX945" fmla="*/ 7198 w 10785"/>
                  <a:gd name="connsiteY945" fmla="*/ 2915 h 10000"/>
                  <a:gd name="connsiteX946" fmla="*/ 7194 w 10785"/>
                  <a:gd name="connsiteY946" fmla="*/ 2915 h 10000"/>
                  <a:gd name="connsiteX947" fmla="*/ 7157 w 10785"/>
                  <a:gd name="connsiteY947" fmla="*/ 2880 h 10000"/>
                  <a:gd name="connsiteX948" fmla="*/ 7138 w 10785"/>
                  <a:gd name="connsiteY948" fmla="*/ 2880 h 10000"/>
                  <a:gd name="connsiteX949" fmla="*/ 7120 w 10785"/>
                  <a:gd name="connsiteY949" fmla="*/ 2872 h 10000"/>
                  <a:gd name="connsiteX950" fmla="*/ 7111 w 10785"/>
                  <a:gd name="connsiteY950" fmla="*/ 2846 h 10000"/>
                  <a:gd name="connsiteX951" fmla="*/ 7106 w 10785"/>
                  <a:gd name="connsiteY951" fmla="*/ 2846 h 10000"/>
                  <a:gd name="connsiteX952" fmla="*/ 7092 w 10785"/>
                  <a:gd name="connsiteY952" fmla="*/ 2829 h 10000"/>
                  <a:gd name="connsiteX953" fmla="*/ 7051 w 10785"/>
                  <a:gd name="connsiteY953" fmla="*/ 2829 h 10000"/>
                  <a:gd name="connsiteX954" fmla="*/ 7037 w 10785"/>
                  <a:gd name="connsiteY954" fmla="*/ 2880 h 10000"/>
                  <a:gd name="connsiteX955" fmla="*/ 7037 w 10785"/>
                  <a:gd name="connsiteY955" fmla="*/ 2906 h 10000"/>
                  <a:gd name="connsiteX956" fmla="*/ 7037 w 10785"/>
                  <a:gd name="connsiteY956" fmla="*/ 2932 h 10000"/>
                  <a:gd name="connsiteX957" fmla="*/ 7037 w 10785"/>
                  <a:gd name="connsiteY957" fmla="*/ 2940 h 10000"/>
                  <a:gd name="connsiteX958" fmla="*/ 7023 w 10785"/>
                  <a:gd name="connsiteY958" fmla="*/ 2906 h 10000"/>
                  <a:gd name="connsiteX959" fmla="*/ 7023 w 10785"/>
                  <a:gd name="connsiteY959" fmla="*/ 2915 h 10000"/>
                  <a:gd name="connsiteX960" fmla="*/ 6991 w 10785"/>
                  <a:gd name="connsiteY960" fmla="*/ 2906 h 10000"/>
                  <a:gd name="connsiteX961" fmla="*/ 6977 w 10785"/>
                  <a:gd name="connsiteY961" fmla="*/ 2915 h 10000"/>
                  <a:gd name="connsiteX962" fmla="*/ 6963 w 10785"/>
                  <a:gd name="connsiteY962" fmla="*/ 2915 h 10000"/>
                  <a:gd name="connsiteX963" fmla="*/ 6949 w 10785"/>
                  <a:gd name="connsiteY963" fmla="*/ 2872 h 10000"/>
                  <a:gd name="connsiteX964" fmla="*/ 6935 w 10785"/>
                  <a:gd name="connsiteY964" fmla="*/ 2855 h 10000"/>
                  <a:gd name="connsiteX965" fmla="*/ 6922 w 10785"/>
                  <a:gd name="connsiteY965" fmla="*/ 2803 h 10000"/>
                  <a:gd name="connsiteX966" fmla="*/ 6917 w 10785"/>
                  <a:gd name="connsiteY966" fmla="*/ 2786 h 10000"/>
                  <a:gd name="connsiteX967" fmla="*/ 6903 w 10785"/>
                  <a:gd name="connsiteY967" fmla="*/ 2709 h 10000"/>
                  <a:gd name="connsiteX968" fmla="*/ 6903 w 10785"/>
                  <a:gd name="connsiteY968" fmla="*/ 2692 h 10000"/>
                  <a:gd name="connsiteX969" fmla="*/ 6899 w 10785"/>
                  <a:gd name="connsiteY969" fmla="*/ 2709 h 10000"/>
                  <a:gd name="connsiteX970" fmla="*/ 6857 w 10785"/>
                  <a:gd name="connsiteY970" fmla="*/ 2872 h 10000"/>
                  <a:gd name="connsiteX971" fmla="*/ 6857 w 10785"/>
                  <a:gd name="connsiteY971" fmla="*/ 3009 h 10000"/>
                  <a:gd name="connsiteX972" fmla="*/ 6848 w 10785"/>
                  <a:gd name="connsiteY972" fmla="*/ 3017 h 10000"/>
                  <a:gd name="connsiteX973" fmla="*/ 6839 w 10785"/>
                  <a:gd name="connsiteY973" fmla="*/ 3068 h 10000"/>
                  <a:gd name="connsiteX974" fmla="*/ 6829 w 10785"/>
                  <a:gd name="connsiteY974" fmla="*/ 3077 h 10000"/>
                  <a:gd name="connsiteX975" fmla="*/ 6829 w 10785"/>
                  <a:gd name="connsiteY975" fmla="*/ 3128 h 10000"/>
                  <a:gd name="connsiteX976" fmla="*/ 6816 w 10785"/>
                  <a:gd name="connsiteY976" fmla="*/ 3154 h 10000"/>
                  <a:gd name="connsiteX977" fmla="*/ 6811 w 10785"/>
                  <a:gd name="connsiteY977" fmla="*/ 3179 h 10000"/>
                  <a:gd name="connsiteX978" fmla="*/ 6797 w 10785"/>
                  <a:gd name="connsiteY978" fmla="*/ 3171 h 10000"/>
                  <a:gd name="connsiteX979" fmla="*/ 6783 w 10785"/>
                  <a:gd name="connsiteY979" fmla="*/ 3103 h 10000"/>
                  <a:gd name="connsiteX980" fmla="*/ 6779 w 10785"/>
                  <a:gd name="connsiteY980" fmla="*/ 3094 h 10000"/>
                  <a:gd name="connsiteX981" fmla="*/ 6779 w 10785"/>
                  <a:gd name="connsiteY981" fmla="*/ 3120 h 10000"/>
                  <a:gd name="connsiteX982" fmla="*/ 6770 w 10785"/>
                  <a:gd name="connsiteY982" fmla="*/ 3128 h 10000"/>
                  <a:gd name="connsiteX983" fmla="*/ 6765 w 10785"/>
                  <a:gd name="connsiteY983" fmla="*/ 3103 h 10000"/>
                  <a:gd name="connsiteX984" fmla="*/ 6756 w 10785"/>
                  <a:gd name="connsiteY984" fmla="*/ 3103 h 10000"/>
                  <a:gd name="connsiteX985" fmla="*/ 6742 w 10785"/>
                  <a:gd name="connsiteY985" fmla="*/ 3103 h 10000"/>
                  <a:gd name="connsiteX986" fmla="*/ 6737 w 10785"/>
                  <a:gd name="connsiteY986" fmla="*/ 3077 h 10000"/>
                  <a:gd name="connsiteX987" fmla="*/ 6737 w 10785"/>
                  <a:gd name="connsiteY987" fmla="*/ 3068 h 10000"/>
                  <a:gd name="connsiteX988" fmla="*/ 6728 w 10785"/>
                  <a:gd name="connsiteY988" fmla="*/ 3043 h 10000"/>
                  <a:gd name="connsiteX989" fmla="*/ 6724 w 10785"/>
                  <a:gd name="connsiteY989" fmla="*/ 3051 h 10000"/>
                  <a:gd name="connsiteX990" fmla="*/ 6714 w 10785"/>
                  <a:gd name="connsiteY990" fmla="*/ 3043 h 10000"/>
                  <a:gd name="connsiteX991" fmla="*/ 6710 w 10785"/>
                  <a:gd name="connsiteY991" fmla="*/ 3034 h 10000"/>
                  <a:gd name="connsiteX992" fmla="*/ 6705 w 10785"/>
                  <a:gd name="connsiteY992" fmla="*/ 2983 h 10000"/>
                  <a:gd name="connsiteX993" fmla="*/ 6696 w 10785"/>
                  <a:gd name="connsiteY993" fmla="*/ 2966 h 10000"/>
                  <a:gd name="connsiteX994" fmla="*/ 6691 w 10785"/>
                  <a:gd name="connsiteY994" fmla="*/ 2983 h 10000"/>
                  <a:gd name="connsiteX995" fmla="*/ 6677 w 10785"/>
                  <a:gd name="connsiteY995" fmla="*/ 2897 h 10000"/>
                  <a:gd name="connsiteX996" fmla="*/ 6677 w 10785"/>
                  <a:gd name="connsiteY996" fmla="*/ 2897 h 10000"/>
                  <a:gd name="connsiteX997" fmla="*/ 6677 w 10785"/>
                  <a:gd name="connsiteY997" fmla="*/ 2872 h 10000"/>
                  <a:gd name="connsiteX998" fmla="*/ 6668 w 10785"/>
                  <a:gd name="connsiteY998" fmla="*/ 2821 h 10000"/>
                  <a:gd name="connsiteX999" fmla="*/ 6664 w 10785"/>
                  <a:gd name="connsiteY999" fmla="*/ 2829 h 10000"/>
                  <a:gd name="connsiteX1000" fmla="*/ 6654 w 10785"/>
                  <a:gd name="connsiteY1000" fmla="*/ 2846 h 10000"/>
                  <a:gd name="connsiteX1001" fmla="*/ 6650 w 10785"/>
                  <a:gd name="connsiteY1001" fmla="*/ 2829 h 10000"/>
                  <a:gd name="connsiteX1002" fmla="*/ 6650 w 10785"/>
                  <a:gd name="connsiteY1002" fmla="*/ 2803 h 10000"/>
                  <a:gd name="connsiteX1003" fmla="*/ 6650 w 10785"/>
                  <a:gd name="connsiteY1003" fmla="*/ 2795 h 10000"/>
                  <a:gd name="connsiteX1004" fmla="*/ 6641 w 10785"/>
                  <a:gd name="connsiteY1004" fmla="*/ 2786 h 10000"/>
                  <a:gd name="connsiteX1005" fmla="*/ 6636 w 10785"/>
                  <a:gd name="connsiteY1005" fmla="*/ 2735 h 10000"/>
                  <a:gd name="connsiteX1006" fmla="*/ 6664 w 10785"/>
                  <a:gd name="connsiteY1006" fmla="*/ 2667 h 10000"/>
                  <a:gd name="connsiteX1007" fmla="*/ 6668 w 10785"/>
                  <a:gd name="connsiteY1007" fmla="*/ 2684 h 10000"/>
                  <a:gd name="connsiteX1008" fmla="*/ 6677 w 10785"/>
                  <a:gd name="connsiteY1008" fmla="*/ 2667 h 10000"/>
                  <a:gd name="connsiteX1009" fmla="*/ 6668 w 10785"/>
                  <a:gd name="connsiteY1009" fmla="*/ 2667 h 10000"/>
                  <a:gd name="connsiteX1010" fmla="*/ 6668 w 10785"/>
                  <a:gd name="connsiteY1010" fmla="*/ 2650 h 10000"/>
                  <a:gd name="connsiteX1011" fmla="*/ 6682 w 10785"/>
                  <a:gd name="connsiteY1011" fmla="*/ 2650 h 10000"/>
                  <a:gd name="connsiteX1012" fmla="*/ 6691 w 10785"/>
                  <a:gd name="connsiteY1012" fmla="*/ 2624 h 10000"/>
                  <a:gd name="connsiteX1013" fmla="*/ 6682 w 10785"/>
                  <a:gd name="connsiteY1013" fmla="*/ 2632 h 10000"/>
                  <a:gd name="connsiteX1014" fmla="*/ 6682 w 10785"/>
                  <a:gd name="connsiteY1014" fmla="*/ 2624 h 10000"/>
                  <a:gd name="connsiteX1015" fmla="*/ 6691 w 10785"/>
                  <a:gd name="connsiteY1015" fmla="*/ 2607 h 10000"/>
                  <a:gd name="connsiteX1016" fmla="*/ 6691 w 10785"/>
                  <a:gd name="connsiteY1016" fmla="*/ 2598 h 10000"/>
                  <a:gd name="connsiteX1017" fmla="*/ 6691 w 10785"/>
                  <a:gd name="connsiteY1017" fmla="*/ 2581 h 10000"/>
                  <a:gd name="connsiteX1018" fmla="*/ 6696 w 10785"/>
                  <a:gd name="connsiteY1018" fmla="*/ 2530 h 10000"/>
                  <a:gd name="connsiteX1019" fmla="*/ 6677 w 10785"/>
                  <a:gd name="connsiteY1019" fmla="*/ 2513 h 10000"/>
                  <a:gd name="connsiteX1020" fmla="*/ 6677 w 10785"/>
                  <a:gd name="connsiteY1020" fmla="*/ 2496 h 10000"/>
                  <a:gd name="connsiteX1021" fmla="*/ 6682 w 10785"/>
                  <a:gd name="connsiteY1021" fmla="*/ 2470 h 10000"/>
                  <a:gd name="connsiteX1022" fmla="*/ 6668 w 10785"/>
                  <a:gd name="connsiteY1022" fmla="*/ 2462 h 10000"/>
                  <a:gd name="connsiteX1023" fmla="*/ 6677 w 10785"/>
                  <a:gd name="connsiteY1023" fmla="*/ 2436 h 10000"/>
                  <a:gd name="connsiteX1024" fmla="*/ 6682 w 10785"/>
                  <a:gd name="connsiteY1024" fmla="*/ 2419 h 10000"/>
                  <a:gd name="connsiteX1025" fmla="*/ 6682 w 10785"/>
                  <a:gd name="connsiteY1025" fmla="*/ 2393 h 10000"/>
                  <a:gd name="connsiteX1026" fmla="*/ 6682 w 10785"/>
                  <a:gd name="connsiteY1026" fmla="*/ 2385 h 10000"/>
                  <a:gd name="connsiteX1027" fmla="*/ 6682 w 10785"/>
                  <a:gd name="connsiteY1027" fmla="*/ 2385 h 10000"/>
                  <a:gd name="connsiteX1028" fmla="*/ 6677 w 10785"/>
                  <a:gd name="connsiteY1028" fmla="*/ 2376 h 10000"/>
                  <a:gd name="connsiteX1029" fmla="*/ 6682 w 10785"/>
                  <a:gd name="connsiteY1029" fmla="*/ 2359 h 10000"/>
                  <a:gd name="connsiteX1030" fmla="*/ 6677 w 10785"/>
                  <a:gd name="connsiteY1030" fmla="*/ 2333 h 10000"/>
                  <a:gd name="connsiteX1031" fmla="*/ 6691 w 10785"/>
                  <a:gd name="connsiteY1031" fmla="*/ 2333 h 10000"/>
                  <a:gd name="connsiteX1032" fmla="*/ 6691 w 10785"/>
                  <a:gd name="connsiteY1032" fmla="*/ 2325 h 10000"/>
                  <a:gd name="connsiteX1033" fmla="*/ 6691 w 10785"/>
                  <a:gd name="connsiteY1033" fmla="*/ 2308 h 10000"/>
                  <a:gd name="connsiteX1034" fmla="*/ 6691 w 10785"/>
                  <a:gd name="connsiteY1034" fmla="*/ 2299 h 10000"/>
                  <a:gd name="connsiteX1035" fmla="*/ 6691 w 10785"/>
                  <a:gd name="connsiteY1035" fmla="*/ 2282 h 10000"/>
                  <a:gd name="connsiteX1036" fmla="*/ 6691 w 10785"/>
                  <a:gd name="connsiteY1036" fmla="*/ 2274 h 10000"/>
                  <a:gd name="connsiteX1037" fmla="*/ 6668 w 10785"/>
                  <a:gd name="connsiteY1037" fmla="*/ 2248 h 10000"/>
                  <a:gd name="connsiteX1038" fmla="*/ 6664 w 10785"/>
                  <a:gd name="connsiteY1038" fmla="*/ 2222 h 10000"/>
                  <a:gd name="connsiteX1039" fmla="*/ 6654 w 10785"/>
                  <a:gd name="connsiteY1039" fmla="*/ 2214 h 10000"/>
                  <a:gd name="connsiteX1040" fmla="*/ 6654 w 10785"/>
                  <a:gd name="connsiteY1040" fmla="*/ 2188 h 10000"/>
                  <a:gd name="connsiteX1041" fmla="*/ 6622 w 10785"/>
                  <a:gd name="connsiteY1041" fmla="*/ 2162 h 10000"/>
                  <a:gd name="connsiteX1042" fmla="*/ 6631 w 10785"/>
                  <a:gd name="connsiteY1042" fmla="*/ 2145 h 10000"/>
                  <a:gd name="connsiteX1043" fmla="*/ 6622 w 10785"/>
                  <a:gd name="connsiteY1043" fmla="*/ 2120 h 10000"/>
                  <a:gd name="connsiteX1044" fmla="*/ 6608 w 10785"/>
                  <a:gd name="connsiteY1044" fmla="*/ 2120 h 10000"/>
                  <a:gd name="connsiteX1045" fmla="*/ 6604 w 10785"/>
                  <a:gd name="connsiteY1045" fmla="*/ 2111 h 10000"/>
                  <a:gd name="connsiteX1046" fmla="*/ 6608 w 10785"/>
                  <a:gd name="connsiteY1046" fmla="*/ 2111 h 10000"/>
                  <a:gd name="connsiteX1047" fmla="*/ 6604 w 10785"/>
                  <a:gd name="connsiteY1047" fmla="*/ 2085 h 10000"/>
                  <a:gd name="connsiteX1048" fmla="*/ 6581 w 10785"/>
                  <a:gd name="connsiteY1048" fmla="*/ 2077 h 10000"/>
                  <a:gd name="connsiteX1049" fmla="*/ 6571 w 10785"/>
                  <a:gd name="connsiteY1049" fmla="*/ 2085 h 10000"/>
                  <a:gd name="connsiteX1050" fmla="*/ 6548 w 10785"/>
                  <a:gd name="connsiteY1050" fmla="*/ 2077 h 10000"/>
                  <a:gd name="connsiteX1051" fmla="*/ 6530 w 10785"/>
                  <a:gd name="connsiteY1051" fmla="*/ 2060 h 10000"/>
                  <a:gd name="connsiteX1052" fmla="*/ 6521 w 10785"/>
                  <a:gd name="connsiteY1052" fmla="*/ 2060 h 10000"/>
                  <a:gd name="connsiteX1053" fmla="*/ 6521 w 10785"/>
                  <a:gd name="connsiteY1053" fmla="*/ 2085 h 10000"/>
                  <a:gd name="connsiteX1054" fmla="*/ 6516 w 10785"/>
                  <a:gd name="connsiteY1054" fmla="*/ 2085 h 10000"/>
                  <a:gd name="connsiteX1055" fmla="*/ 6502 w 10785"/>
                  <a:gd name="connsiteY1055" fmla="*/ 2111 h 10000"/>
                  <a:gd name="connsiteX1056" fmla="*/ 6498 w 10785"/>
                  <a:gd name="connsiteY1056" fmla="*/ 2111 h 10000"/>
                  <a:gd name="connsiteX1057" fmla="*/ 6498 w 10785"/>
                  <a:gd name="connsiteY1057" fmla="*/ 2103 h 10000"/>
                  <a:gd name="connsiteX1058" fmla="*/ 6475 w 10785"/>
                  <a:gd name="connsiteY1058" fmla="*/ 2051 h 10000"/>
                  <a:gd name="connsiteX1059" fmla="*/ 6470 w 10785"/>
                  <a:gd name="connsiteY1059" fmla="*/ 2060 h 10000"/>
                  <a:gd name="connsiteX1060" fmla="*/ 6456 w 10785"/>
                  <a:gd name="connsiteY1060" fmla="*/ 2051 h 10000"/>
                  <a:gd name="connsiteX1061" fmla="*/ 6447 w 10785"/>
                  <a:gd name="connsiteY1061" fmla="*/ 2051 h 10000"/>
                  <a:gd name="connsiteX1062" fmla="*/ 6433 w 10785"/>
                  <a:gd name="connsiteY1062" fmla="*/ 2026 h 10000"/>
                  <a:gd name="connsiteX1063" fmla="*/ 6433 w 10785"/>
                  <a:gd name="connsiteY1063" fmla="*/ 2034 h 10000"/>
                  <a:gd name="connsiteX1064" fmla="*/ 6429 w 10785"/>
                  <a:gd name="connsiteY1064" fmla="*/ 2026 h 10000"/>
                  <a:gd name="connsiteX1065" fmla="*/ 6424 w 10785"/>
                  <a:gd name="connsiteY1065" fmla="*/ 2034 h 10000"/>
                  <a:gd name="connsiteX1066" fmla="*/ 6410 w 10785"/>
                  <a:gd name="connsiteY1066" fmla="*/ 2026 h 10000"/>
                  <a:gd name="connsiteX1067" fmla="*/ 6410 w 10785"/>
                  <a:gd name="connsiteY1067" fmla="*/ 1991 h 10000"/>
                  <a:gd name="connsiteX1068" fmla="*/ 6401 w 10785"/>
                  <a:gd name="connsiteY1068" fmla="*/ 1991 h 10000"/>
                  <a:gd name="connsiteX1069" fmla="*/ 6396 w 10785"/>
                  <a:gd name="connsiteY1069" fmla="*/ 2000 h 10000"/>
                  <a:gd name="connsiteX1070" fmla="*/ 6382 w 10785"/>
                  <a:gd name="connsiteY1070" fmla="*/ 1966 h 10000"/>
                  <a:gd name="connsiteX1071" fmla="*/ 6373 w 10785"/>
                  <a:gd name="connsiteY1071" fmla="*/ 1974 h 10000"/>
                  <a:gd name="connsiteX1072" fmla="*/ 6369 w 10785"/>
                  <a:gd name="connsiteY1072" fmla="*/ 1966 h 10000"/>
                  <a:gd name="connsiteX1073" fmla="*/ 6341 w 10785"/>
                  <a:gd name="connsiteY1073" fmla="*/ 1949 h 10000"/>
                  <a:gd name="connsiteX1074" fmla="*/ 6327 w 10785"/>
                  <a:gd name="connsiteY1074" fmla="*/ 1923 h 10000"/>
                  <a:gd name="connsiteX1075" fmla="*/ 6323 w 10785"/>
                  <a:gd name="connsiteY1075" fmla="*/ 1923 h 10000"/>
                  <a:gd name="connsiteX1076" fmla="*/ 6323 w 10785"/>
                  <a:gd name="connsiteY1076" fmla="*/ 1966 h 10000"/>
                  <a:gd name="connsiteX1077" fmla="*/ 6323 w 10785"/>
                  <a:gd name="connsiteY1077" fmla="*/ 1991 h 10000"/>
                  <a:gd name="connsiteX1078" fmla="*/ 6313 w 10785"/>
                  <a:gd name="connsiteY1078" fmla="*/ 1991 h 10000"/>
                  <a:gd name="connsiteX1079" fmla="*/ 6300 w 10785"/>
                  <a:gd name="connsiteY1079" fmla="*/ 1991 h 10000"/>
                  <a:gd name="connsiteX1080" fmla="*/ 6290 w 10785"/>
                  <a:gd name="connsiteY1080" fmla="*/ 1949 h 10000"/>
                  <a:gd name="connsiteX1081" fmla="*/ 6276 w 10785"/>
                  <a:gd name="connsiteY1081" fmla="*/ 2103 h 10000"/>
                  <a:gd name="connsiteX1082" fmla="*/ 6281 w 10785"/>
                  <a:gd name="connsiteY1082" fmla="*/ 2103 h 10000"/>
                  <a:gd name="connsiteX1083" fmla="*/ 6276 w 10785"/>
                  <a:gd name="connsiteY1083" fmla="*/ 2111 h 10000"/>
                  <a:gd name="connsiteX1084" fmla="*/ 6276 w 10785"/>
                  <a:gd name="connsiteY1084" fmla="*/ 2120 h 10000"/>
                  <a:gd name="connsiteX1085" fmla="*/ 6295 w 10785"/>
                  <a:gd name="connsiteY1085" fmla="*/ 2239 h 10000"/>
                  <a:gd name="connsiteX1086" fmla="*/ 6290 w 10785"/>
                  <a:gd name="connsiteY1086" fmla="*/ 2248 h 10000"/>
                  <a:gd name="connsiteX1087" fmla="*/ 6281 w 10785"/>
                  <a:gd name="connsiteY1087" fmla="*/ 2274 h 10000"/>
                  <a:gd name="connsiteX1088" fmla="*/ 6249 w 10785"/>
                  <a:gd name="connsiteY1088" fmla="*/ 2274 h 10000"/>
                  <a:gd name="connsiteX1089" fmla="*/ 6226 w 10785"/>
                  <a:gd name="connsiteY1089" fmla="*/ 2308 h 10000"/>
                  <a:gd name="connsiteX1090" fmla="*/ 6221 w 10785"/>
                  <a:gd name="connsiteY1090" fmla="*/ 2299 h 10000"/>
                  <a:gd name="connsiteX1091" fmla="*/ 6221 w 10785"/>
                  <a:gd name="connsiteY1091" fmla="*/ 2308 h 10000"/>
                  <a:gd name="connsiteX1092" fmla="*/ 6217 w 10785"/>
                  <a:gd name="connsiteY1092" fmla="*/ 2299 h 10000"/>
                  <a:gd name="connsiteX1093" fmla="*/ 6194 w 10785"/>
                  <a:gd name="connsiteY1093" fmla="*/ 2308 h 10000"/>
                  <a:gd name="connsiteX1094" fmla="*/ 6180 w 10785"/>
                  <a:gd name="connsiteY1094" fmla="*/ 2299 h 10000"/>
                  <a:gd name="connsiteX1095" fmla="*/ 6143 w 10785"/>
                  <a:gd name="connsiteY1095" fmla="*/ 2308 h 10000"/>
                  <a:gd name="connsiteX1096" fmla="*/ 6134 w 10785"/>
                  <a:gd name="connsiteY1096" fmla="*/ 2325 h 10000"/>
                  <a:gd name="connsiteX1097" fmla="*/ 6115 w 10785"/>
                  <a:gd name="connsiteY1097" fmla="*/ 2282 h 10000"/>
                  <a:gd name="connsiteX1098" fmla="*/ 6069 w 10785"/>
                  <a:gd name="connsiteY1098" fmla="*/ 2274 h 10000"/>
                  <a:gd name="connsiteX1099" fmla="*/ 6069 w 10785"/>
                  <a:gd name="connsiteY1099" fmla="*/ 2282 h 10000"/>
                  <a:gd name="connsiteX1100" fmla="*/ 6060 w 10785"/>
                  <a:gd name="connsiteY1100" fmla="*/ 2299 h 10000"/>
                  <a:gd name="connsiteX1101" fmla="*/ 5972 w 10785"/>
                  <a:gd name="connsiteY1101" fmla="*/ 2214 h 10000"/>
                  <a:gd name="connsiteX1102" fmla="*/ 5968 w 10785"/>
                  <a:gd name="connsiteY1102" fmla="*/ 2197 h 10000"/>
                  <a:gd name="connsiteX1103" fmla="*/ 5968 w 10785"/>
                  <a:gd name="connsiteY1103" fmla="*/ 2171 h 10000"/>
                  <a:gd name="connsiteX1104" fmla="*/ 5968 w 10785"/>
                  <a:gd name="connsiteY1104" fmla="*/ 2162 h 10000"/>
                  <a:gd name="connsiteX1105" fmla="*/ 5968 w 10785"/>
                  <a:gd name="connsiteY1105" fmla="*/ 2120 h 10000"/>
                  <a:gd name="connsiteX1106" fmla="*/ 5968 w 10785"/>
                  <a:gd name="connsiteY1106" fmla="*/ 2111 h 10000"/>
                  <a:gd name="connsiteX1107" fmla="*/ 5972 w 10785"/>
                  <a:gd name="connsiteY1107" fmla="*/ 2103 h 10000"/>
                  <a:gd name="connsiteX1108" fmla="*/ 5986 w 10785"/>
                  <a:gd name="connsiteY1108" fmla="*/ 2103 h 10000"/>
                  <a:gd name="connsiteX1109" fmla="*/ 5986 w 10785"/>
                  <a:gd name="connsiteY1109" fmla="*/ 2085 h 10000"/>
                  <a:gd name="connsiteX1110" fmla="*/ 5995 w 10785"/>
                  <a:gd name="connsiteY1110" fmla="*/ 2085 h 10000"/>
                  <a:gd name="connsiteX1111" fmla="*/ 5995 w 10785"/>
                  <a:gd name="connsiteY1111" fmla="*/ 2077 h 10000"/>
                  <a:gd name="connsiteX1112" fmla="*/ 5986 w 10785"/>
                  <a:gd name="connsiteY1112" fmla="*/ 2060 h 10000"/>
                  <a:gd name="connsiteX1113" fmla="*/ 5954 w 10785"/>
                  <a:gd name="connsiteY1113" fmla="*/ 2060 h 10000"/>
                  <a:gd name="connsiteX1114" fmla="*/ 5940 w 10785"/>
                  <a:gd name="connsiteY1114" fmla="*/ 2051 h 10000"/>
                  <a:gd name="connsiteX1115" fmla="*/ 5922 w 10785"/>
                  <a:gd name="connsiteY1115" fmla="*/ 2060 h 10000"/>
                  <a:gd name="connsiteX1116" fmla="*/ 5885 w 10785"/>
                  <a:gd name="connsiteY1116" fmla="*/ 2051 h 10000"/>
                  <a:gd name="connsiteX1117" fmla="*/ 5876 w 10785"/>
                  <a:gd name="connsiteY1117" fmla="*/ 2026 h 10000"/>
                  <a:gd name="connsiteX1118" fmla="*/ 5862 w 10785"/>
                  <a:gd name="connsiteY1118" fmla="*/ 2026 h 10000"/>
                  <a:gd name="connsiteX1119" fmla="*/ 5848 w 10785"/>
                  <a:gd name="connsiteY1119" fmla="*/ 2026 h 10000"/>
                  <a:gd name="connsiteX1120" fmla="*/ 5825 w 10785"/>
                  <a:gd name="connsiteY1120" fmla="*/ 2026 h 10000"/>
                  <a:gd name="connsiteX1121" fmla="*/ 5788 w 10785"/>
                  <a:gd name="connsiteY1121" fmla="*/ 1991 h 10000"/>
                  <a:gd name="connsiteX1122" fmla="*/ 5760 w 10785"/>
                  <a:gd name="connsiteY1122" fmla="*/ 2000 h 10000"/>
                  <a:gd name="connsiteX1123" fmla="*/ 5760 w 10785"/>
                  <a:gd name="connsiteY1123" fmla="*/ 2026 h 10000"/>
                  <a:gd name="connsiteX1124" fmla="*/ 5714 w 10785"/>
                  <a:gd name="connsiteY1124" fmla="*/ 2051 h 10000"/>
                  <a:gd name="connsiteX1125" fmla="*/ 5687 w 10785"/>
                  <a:gd name="connsiteY1125" fmla="*/ 2034 h 10000"/>
                  <a:gd name="connsiteX1126" fmla="*/ 5645 w 10785"/>
                  <a:gd name="connsiteY1126" fmla="*/ 2077 h 10000"/>
                  <a:gd name="connsiteX1127" fmla="*/ 5664 w 10785"/>
                  <a:gd name="connsiteY1127" fmla="*/ 2120 h 10000"/>
                  <a:gd name="connsiteX1128" fmla="*/ 5664 w 10785"/>
                  <a:gd name="connsiteY1128" fmla="*/ 2162 h 10000"/>
                  <a:gd name="connsiteX1129" fmla="*/ 5631 w 10785"/>
                  <a:gd name="connsiteY1129" fmla="*/ 2197 h 10000"/>
                  <a:gd name="connsiteX1130" fmla="*/ 5618 w 10785"/>
                  <a:gd name="connsiteY1130" fmla="*/ 2188 h 10000"/>
                  <a:gd name="connsiteX1131" fmla="*/ 5618 w 10785"/>
                  <a:gd name="connsiteY1131" fmla="*/ 2171 h 10000"/>
                  <a:gd name="connsiteX1132" fmla="*/ 5641 w 10785"/>
                  <a:gd name="connsiteY1132" fmla="*/ 2171 h 10000"/>
                  <a:gd name="connsiteX1133" fmla="*/ 5641 w 10785"/>
                  <a:gd name="connsiteY1133" fmla="*/ 2162 h 10000"/>
                  <a:gd name="connsiteX1134" fmla="*/ 5627 w 10785"/>
                  <a:gd name="connsiteY1134" fmla="*/ 2145 h 10000"/>
                  <a:gd name="connsiteX1135" fmla="*/ 5627 w 10785"/>
                  <a:gd name="connsiteY1135" fmla="*/ 2120 h 10000"/>
                  <a:gd name="connsiteX1136" fmla="*/ 5618 w 10785"/>
                  <a:gd name="connsiteY1136" fmla="*/ 2111 h 10000"/>
                  <a:gd name="connsiteX1137" fmla="*/ 5631 w 10785"/>
                  <a:gd name="connsiteY1137" fmla="*/ 2051 h 10000"/>
                  <a:gd name="connsiteX1138" fmla="*/ 5631 w 10785"/>
                  <a:gd name="connsiteY1138" fmla="*/ 2026 h 10000"/>
                  <a:gd name="connsiteX1139" fmla="*/ 5627 w 10785"/>
                  <a:gd name="connsiteY1139" fmla="*/ 1991 h 10000"/>
                  <a:gd name="connsiteX1140" fmla="*/ 5618 w 10785"/>
                  <a:gd name="connsiteY1140" fmla="*/ 1974 h 10000"/>
                  <a:gd name="connsiteX1141" fmla="*/ 5618 w 10785"/>
                  <a:gd name="connsiteY1141" fmla="*/ 1940 h 10000"/>
                  <a:gd name="connsiteX1142" fmla="*/ 5594 w 10785"/>
                  <a:gd name="connsiteY1142" fmla="*/ 1855 h 10000"/>
                  <a:gd name="connsiteX1143" fmla="*/ 5599 w 10785"/>
                  <a:gd name="connsiteY1143" fmla="*/ 1915 h 10000"/>
                  <a:gd name="connsiteX1144" fmla="*/ 5599 w 10785"/>
                  <a:gd name="connsiteY1144" fmla="*/ 1949 h 10000"/>
                  <a:gd name="connsiteX1145" fmla="*/ 5594 w 10785"/>
                  <a:gd name="connsiteY1145" fmla="*/ 1991 h 10000"/>
                  <a:gd name="connsiteX1146" fmla="*/ 5571 w 10785"/>
                  <a:gd name="connsiteY1146" fmla="*/ 2000 h 10000"/>
                  <a:gd name="connsiteX1147" fmla="*/ 5530 w 10785"/>
                  <a:gd name="connsiteY1147" fmla="*/ 1991 h 10000"/>
                  <a:gd name="connsiteX1148" fmla="*/ 5525 w 10785"/>
                  <a:gd name="connsiteY1148" fmla="*/ 2000 h 10000"/>
                  <a:gd name="connsiteX1149" fmla="*/ 5521 w 10785"/>
                  <a:gd name="connsiteY1149" fmla="*/ 1991 h 10000"/>
                  <a:gd name="connsiteX1150" fmla="*/ 5498 w 10785"/>
                  <a:gd name="connsiteY1150" fmla="*/ 1949 h 10000"/>
                  <a:gd name="connsiteX1151" fmla="*/ 5493 w 10785"/>
                  <a:gd name="connsiteY1151" fmla="*/ 1889 h 10000"/>
                  <a:gd name="connsiteX1152" fmla="*/ 5493 w 10785"/>
                  <a:gd name="connsiteY1152" fmla="*/ 1863 h 10000"/>
                  <a:gd name="connsiteX1153" fmla="*/ 5498 w 10785"/>
                  <a:gd name="connsiteY1153" fmla="*/ 1889 h 10000"/>
                  <a:gd name="connsiteX1154" fmla="*/ 5512 w 10785"/>
                  <a:gd name="connsiteY1154" fmla="*/ 1855 h 10000"/>
                  <a:gd name="connsiteX1155" fmla="*/ 5512 w 10785"/>
                  <a:gd name="connsiteY1155" fmla="*/ 1838 h 10000"/>
                  <a:gd name="connsiteX1156" fmla="*/ 5479 w 10785"/>
                  <a:gd name="connsiteY1156" fmla="*/ 1855 h 10000"/>
                  <a:gd name="connsiteX1157" fmla="*/ 5470 w 10785"/>
                  <a:gd name="connsiteY1157" fmla="*/ 1872 h 10000"/>
                  <a:gd name="connsiteX1158" fmla="*/ 5470 w 10785"/>
                  <a:gd name="connsiteY1158" fmla="*/ 1889 h 10000"/>
                  <a:gd name="connsiteX1159" fmla="*/ 5465 w 10785"/>
                  <a:gd name="connsiteY1159" fmla="*/ 1897 h 10000"/>
                  <a:gd name="connsiteX1160" fmla="*/ 5456 w 10785"/>
                  <a:gd name="connsiteY1160" fmla="*/ 1872 h 10000"/>
                  <a:gd name="connsiteX1161" fmla="*/ 5447 w 10785"/>
                  <a:gd name="connsiteY1161" fmla="*/ 1872 h 10000"/>
                  <a:gd name="connsiteX1162" fmla="*/ 5433 w 10785"/>
                  <a:gd name="connsiteY1162" fmla="*/ 1855 h 10000"/>
                  <a:gd name="connsiteX1163" fmla="*/ 5396 w 10785"/>
                  <a:gd name="connsiteY1163" fmla="*/ 1863 h 10000"/>
                  <a:gd name="connsiteX1164" fmla="*/ 5396 w 10785"/>
                  <a:gd name="connsiteY1164" fmla="*/ 1897 h 10000"/>
                  <a:gd name="connsiteX1165" fmla="*/ 5378 w 10785"/>
                  <a:gd name="connsiteY1165" fmla="*/ 1949 h 10000"/>
                  <a:gd name="connsiteX1166" fmla="*/ 5378 w 10785"/>
                  <a:gd name="connsiteY1166" fmla="*/ 1966 h 10000"/>
                  <a:gd name="connsiteX1167" fmla="*/ 5392 w 10785"/>
                  <a:gd name="connsiteY1167" fmla="*/ 2026 h 10000"/>
                  <a:gd name="connsiteX1168" fmla="*/ 5396 w 10785"/>
                  <a:gd name="connsiteY1168" fmla="*/ 2026 h 10000"/>
                  <a:gd name="connsiteX1169" fmla="*/ 5392 w 10785"/>
                  <a:gd name="connsiteY1169" fmla="*/ 2009 h 10000"/>
                  <a:gd name="connsiteX1170" fmla="*/ 5392 w 10785"/>
                  <a:gd name="connsiteY1170" fmla="*/ 2000 h 10000"/>
                  <a:gd name="connsiteX1171" fmla="*/ 5396 w 10785"/>
                  <a:gd name="connsiteY1171" fmla="*/ 2009 h 10000"/>
                  <a:gd name="connsiteX1172" fmla="*/ 5424 w 10785"/>
                  <a:gd name="connsiteY1172" fmla="*/ 2009 h 10000"/>
                  <a:gd name="connsiteX1173" fmla="*/ 5433 w 10785"/>
                  <a:gd name="connsiteY1173" fmla="*/ 1991 h 10000"/>
                  <a:gd name="connsiteX1174" fmla="*/ 5447 w 10785"/>
                  <a:gd name="connsiteY1174" fmla="*/ 1974 h 10000"/>
                  <a:gd name="connsiteX1175" fmla="*/ 5452 w 10785"/>
                  <a:gd name="connsiteY1175" fmla="*/ 1966 h 10000"/>
                  <a:gd name="connsiteX1176" fmla="*/ 5456 w 10785"/>
                  <a:gd name="connsiteY1176" fmla="*/ 1966 h 10000"/>
                  <a:gd name="connsiteX1177" fmla="*/ 5465 w 10785"/>
                  <a:gd name="connsiteY1177" fmla="*/ 2009 h 10000"/>
                  <a:gd name="connsiteX1178" fmla="*/ 5433 w 10785"/>
                  <a:gd name="connsiteY1178" fmla="*/ 2034 h 10000"/>
                  <a:gd name="connsiteX1179" fmla="*/ 5424 w 10785"/>
                  <a:gd name="connsiteY1179" fmla="*/ 2060 h 10000"/>
                  <a:gd name="connsiteX1180" fmla="*/ 5419 w 10785"/>
                  <a:gd name="connsiteY1180" fmla="*/ 2060 h 10000"/>
                  <a:gd name="connsiteX1181" fmla="*/ 5392 w 10785"/>
                  <a:gd name="connsiteY1181" fmla="*/ 2111 h 10000"/>
                  <a:gd name="connsiteX1182" fmla="*/ 5378 w 10785"/>
                  <a:gd name="connsiteY1182" fmla="*/ 2111 h 10000"/>
                  <a:gd name="connsiteX1183" fmla="*/ 5350 w 10785"/>
                  <a:gd name="connsiteY1183" fmla="*/ 2060 h 10000"/>
                  <a:gd name="connsiteX1184" fmla="*/ 5373 w 10785"/>
                  <a:gd name="connsiteY1184" fmla="*/ 2111 h 10000"/>
                  <a:gd name="connsiteX1185" fmla="*/ 5364 w 10785"/>
                  <a:gd name="connsiteY1185" fmla="*/ 2111 h 10000"/>
                  <a:gd name="connsiteX1186" fmla="*/ 5359 w 10785"/>
                  <a:gd name="connsiteY1186" fmla="*/ 2103 h 10000"/>
                  <a:gd name="connsiteX1187" fmla="*/ 5359 w 10785"/>
                  <a:gd name="connsiteY1187" fmla="*/ 2120 h 10000"/>
                  <a:gd name="connsiteX1188" fmla="*/ 5359 w 10785"/>
                  <a:gd name="connsiteY1188" fmla="*/ 2137 h 10000"/>
                  <a:gd name="connsiteX1189" fmla="*/ 5313 w 10785"/>
                  <a:gd name="connsiteY1189" fmla="*/ 2162 h 10000"/>
                  <a:gd name="connsiteX1190" fmla="*/ 5300 w 10785"/>
                  <a:gd name="connsiteY1190" fmla="*/ 2162 h 10000"/>
                  <a:gd name="connsiteX1191" fmla="*/ 5300 w 10785"/>
                  <a:gd name="connsiteY1191" fmla="*/ 2171 h 10000"/>
                  <a:gd name="connsiteX1192" fmla="*/ 5300 w 10785"/>
                  <a:gd name="connsiteY1192" fmla="*/ 2197 h 10000"/>
                  <a:gd name="connsiteX1193" fmla="*/ 5276 w 10785"/>
                  <a:gd name="connsiteY1193" fmla="*/ 2188 h 10000"/>
                  <a:gd name="connsiteX1194" fmla="*/ 5249 w 10785"/>
                  <a:gd name="connsiteY1194" fmla="*/ 2222 h 10000"/>
                  <a:gd name="connsiteX1195" fmla="*/ 5249 w 10785"/>
                  <a:gd name="connsiteY1195" fmla="*/ 2222 h 10000"/>
                  <a:gd name="connsiteX1196" fmla="*/ 5217 w 10785"/>
                  <a:gd name="connsiteY1196" fmla="*/ 2214 h 10000"/>
                  <a:gd name="connsiteX1197" fmla="*/ 5203 w 10785"/>
                  <a:gd name="connsiteY1197" fmla="*/ 2239 h 10000"/>
                  <a:gd name="connsiteX1198" fmla="*/ 5171 w 10785"/>
                  <a:gd name="connsiteY1198" fmla="*/ 2214 h 10000"/>
                  <a:gd name="connsiteX1199" fmla="*/ 5157 w 10785"/>
                  <a:gd name="connsiteY1199" fmla="*/ 2239 h 10000"/>
                  <a:gd name="connsiteX1200" fmla="*/ 5166 w 10785"/>
                  <a:gd name="connsiteY1200" fmla="*/ 2256 h 10000"/>
                  <a:gd name="connsiteX1201" fmla="*/ 5171 w 10785"/>
                  <a:gd name="connsiteY1201" fmla="*/ 2308 h 10000"/>
                  <a:gd name="connsiteX1202" fmla="*/ 5212 w 10785"/>
                  <a:gd name="connsiteY1202" fmla="*/ 2350 h 10000"/>
                  <a:gd name="connsiteX1203" fmla="*/ 5203 w 10785"/>
                  <a:gd name="connsiteY1203" fmla="*/ 2350 h 10000"/>
                  <a:gd name="connsiteX1204" fmla="*/ 5166 w 10785"/>
                  <a:gd name="connsiteY1204" fmla="*/ 2325 h 10000"/>
                  <a:gd name="connsiteX1205" fmla="*/ 5152 w 10785"/>
                  <a:gd name="connsiteY1205" fmla="*/ 2308 h 10000"/>
                  <a:gd name="connsiteX1206" fmla="*/ 5143 w 10785"/>
                  <a:gd name="connsiteY1206" fmla="*/ 2333 h 10000"/>
                  <a:gd name="connsiteX1207" fmla="*/ 5138 w 10785"/>
                  <a:gd name="connsiteY1207" fmla="*/ 2333 h 10000"/>
                  <a:gd name="connsiteX1208" fmla="*/ 5124 w 10785"/>
                  <a:gd name="connsiteY1208" fmla="*/ 2376 h 10000"/>
                  <a:gd name="connsiteX1209" fmla="*/ 5115 w 10785"/>
                  <a:gd name="connsiteY1209" fmla="*/ 2385 h 10000"/>
                  <a:gd name="connsiteX1210" fmla="*/ 5106 w 10785"/>
                  <a:gd name="connsiteY1210" fmla="*/ 2385 h 10000"/>
                  <a:gd name="connsiteX1211" fmla="*/ 5055 w 10785"/>
                  <a:gd name="connsiteY1211" fmla="*/ 2470 h 10000"/>
                  <a:gd name="connsiteX1212" fmla="*/ 5065 w 10785"/>
                  <a:gd name="connsiteY1212" fmla="*/ 2462 h 10000"/>
                  <a:gd name="connsiteX1213" fmla="*/ 5055 w 10785"/>
                  <a:gd name="connsiteY1213" fmla="*/ 2444 h 10000"/>
                  <a:gd name="connsiteX1214" fmla="*/ 5041 w 10785"/>
                  <a:gd name="connsiteY1214" fmla="*/ 2462 h 10000"/>
                  <a:gd name="connsiteX1215" fmla="*/ 5037 w 10785"/>
                  <a:gd name="connsiteY1215" fmla="*/ 2470 h 10000"/>
                  <a:gd name="connsiteX1216" fmla="*/ 5032 w 10785"/>
                  <a:gd name="connsiteY1216" fmla="*/ 2470 h 10000"/>
                  <a:gd name="connsiteX1217" fmla="*/ 5032 w 10785"/>
                  <a:gd name="connsiteY1217" fmla="*/ 2444 h 10000"/>
                  <a:gd name="connsiteX1218" fmla="*/ 5055 w 10785"/>
                  <a:gd name="connsiteY1218" fmla="*/ 2410 h 10000"/>
                  <a:gd name="connsiteX1219" fmla="*/ 5065 w 10785"/>
                  <a:gd name="connsiteY1219" fmla="*/ 2393 h 10000"/>
                  <a:gd name="connsiteX1220" fmla="*/ 5069 w 10785"/>
                  <a:gd name="connsiteY1220" fmla="*/ 2385 h 10000"/>
                  <a:gd name="connsiteX1221" fmla="*/ 5083 w 10785"/>
                  <a:gd name="connsiteY1221" fmla="*/ 2376 h 10000"/>
                  <a:gd name="connsiteX1222" fmla="*/ 5097 w 10785"/>
                  <a:gd name="connsiteY1222" fmla="*/ 2376 h 10000"/>
                  <a:gd name="connsiteX1223" fmla="*/ 5124 w 10785"/>
                  <a:gd name="connsiteY1223" fmla="*/ 2325 h 10000"/>
                  <a:gd name="connsiteX1224" fmla="*/ 5143 w 10785"/>
                  <a:gd name="connsiteY1224" fmla="*/ 2248 h 10000"/>
                  <a:gd name="connsiteX1225" fmla="*/ 5152 w 10785"/>
                  <a:gd name="connsiteY1225" fmla="*/ 2239 h 10000"/>
                  <a:gd name="connsiteX1226" fmla="*/ 5166 w 10785"/>
                  <a:gd name="connsiteY1226" fmla="*/ 2162 h 10000"/>
                  <a:gd name="connsiteX1227" fmla="*/ 5171 w 10785"/>
                  <a:gd name="connsiteY1227" fmla="*/ 2171 h 10000"/>
                  <a:gd name="connsiteX1228" fmla="*/ 5198 w 10785"/>
                  <a:gd name="connsiteY1228" fmla="*/ 2145 h 10000"/>
                  <a:gd name="connsiteX1229" fmla="*/ 5203 w 10785"/>
                  <a:gd name="connsiteY1229" fmla="*/ 2111 h 10000"/>
                  <a:gd name="connsiteX1230" fmla="*/ 5217 w 10785"/>
                  <a:gd name="connsiteY1230" fmla="*/ 2060 h 10000"/>
                  <a:gd name="connsiteX1231" fmla="*/ 5226 w 10785"/>
                  <a:gd name="connsiteY1231" fmla="*/ 2026 h 10000"/>
                  <a:gd name="connsiteX1232" fmla="*/ 5286 w 10785"/>
                  <a:gd name="connsiteY1232" fmla="*/ 2026 h 10000"/>
                  <a:gd name="connsiteX1233" fmla="*/ 5290 w 10785"/>
                  <a:gd name="connsiteY1233" fmla="*/ 2034 h 10000"/>
                  <a:gd name="connsiteX1234" fmla="*/ 5323 w 10785"/>
                  <a:gd name="connsiteY1234" fmla="*/ 1923 h 10000"/>
                  <a:gd name="connsiteX1235" fmla="*/ 5323 w 10785"/>
                  <a:gd name="connsiteY1235" fmla="*/ 1889 h 10000"/>
                  <a:gd name="connsiteX1236" fmla="*/ 5359 w 10785"/>
                  <a:gd name="connsiteY1236" fmla="*/ 1829 h 10000"/>
                  <a:gd name="connsiteX1237" fmla="*/ 5378 w 10785"/>
                  <a:gd name="connsiteY1237" fmla="*/ 1812 h 10000"/>
                  <a:gd name="connsiteX1238" fmla="*/ 5406 w 10785"/>
                  <a:gd name="connsiteY1238" fmla="*/ 1752 h 10000"/>
                  <a:gd name="connsiteX1239" fmla="*/ 5410 w 10785"/>
                  <a:gd name="connsiteY1239" fmla="*/ 1718 h 10000"/>
                  <a:gd name="connsiteX1240" fmla="*/ 5438 w 10785"/>
                  <a:gd name="connsiteY1240" fmla="*/ 1667 h 10000"/>
                  <a:gd name="connsiteX1241" fmla="*/ 5438 w 10785"/>
                  <a:gd name="connsiteY1241" fmla="*/ 1650 h 10000"/>
                  <a:gd name="connsiteX1242" fmla="*/ 5438 w 10785"/>
                  <a:gd name="connsiteY1242" fmla="*/ 1641 h 10000"/>
                  <a:gd name="connsiteX1243" fmla="*/ 5452 w 10785"/>
                  <a:gd name="connsiteY1243" fmla="*/ 1641 h 10000"/>
                  <a:gd name="connsiteX1244" fmla="*/ 5456 w 10785"/>
                  <a:gd name="connsiteY1244" fmla="*/ 1615 h 10000"/>
                  <a:gd name="connsiteX1245" fmla="*/ 5456 w 10785"/>
                  <a:gd name="connsiteY1245" fmla="*/ 1615 h 10000"/>
                  <a:gd name="connsiteX1246" fmla="*/ 5465 w 10785"/>
                  <a:gd name="connsiteY1246" fmla="*/ 1598 h 10000"/>
                  <a:gd name="connsiteX1247" fmla="*/ 5465 w 10785"/>
                  <a:gd name="connsiteY1247" fmla="*/ 1615 h 10000"/>
                  <a:gd name="connsiteX1248" fmla="*/ 5479 w 10785"/>
                  <a:gd name="connsiteY1248" fmla="*/ 1598 h 10000"/>
                  <a:gd name="connsiteX1249" fmla="*/ 5484 w 10785"/>
                  <a:gd name="connsiteY1249" fmla="*/ 1581 h 10000"/>
                  <a:gd name="connsiteX1250" fmla="*/ 5493 w 10785"/>
                  <a:gd name="connsiteY1250" fmla="*/ 1581 h 10000"/>
                  <a:gd name="connsiteX1251" fmla="*/ 5512 w 10785"/>
                  <a:gd name="connsiteY1251" fmla="*/ 1538 h 10000"/>
                  <a:gd name="connsiteX1252" fmla="*/ 5530 w 10785"/>
                  <a:gd name="connsiteY1252" fmla="*/ 1564 h 10000"/>
                  <a:gd name="connsiteX1253" fmla="*/ 5530 w 10785"/>
                  <a:gd name="connsiteY1253" fmla="*/ 1538 h 10000"/>
                  <a:gd name="connsiteX1254" fmla="*/ 5539 w 10785"/>
                  <a:gd name="connsiteY1254" fmla="*/ 1530 h 10000"/>
                  <a:gd name="connsiteX1255" fmla="*/ 5530 w 10785"/>
                  <a:gd name="connsiteY1255" fmla="*/ 1504 h 10000"/>
                  <a:gd name="connsiteX1256" fmla="*/ 5567 w 10785"/>
                  <a:gd name="connsiteY1256" fmla="*/ 1479 h 10000"/>
                  <a:gd name="connsiteX1257" fmla="*/ 5553 w 10785"/>
                  <a:gd name="connsiteY1257" fmla="*/ 1479 h 10000"/>
                  <a:gd name="connsiteX1258" fmla="*/ 5553 w 10785"/>
                  <a:gd name="connsiteY1258" fmla="*/ 1453 h 10000"/>
                  <a:gd name="connsiteX1259" fmla="*/ 5581 w 10785"/>
                  <a:gd name="connsiteY1259" fmla="*/ 1444 h 10000"/>
                  <a:gd name="connsiteX1260" fmla="*/ 5581 w 10785"/>
                  <a:gd name="connsiteY1260" fmla="*/ 1453 h 10000"/>
                  <a:gd name="connsiteX1261" fmla="*/ 5585 w 10785"/>
                  <a:gd name="connsiteY1261" fmla="*/ 1444 h 10000"/>
                  <a:gd name="connsiteX1262" fmla="*/ 5594 w 10785"/>
                  <a:gd name="connsiteY1262" fmla="*/ 1427 h 10000"/>
                  <a:gd name="connsiteX1263" fmla="*/ 5599 w 10785"/>
                  <a:gd name="connsiteY1263" fmla="*/ 1419 h 10000"/>
                  <a:gd name="connsiteX1264" fmla="*/ 5594 w 10785"/>
                  <a:gd name="connsiteY1264" fmla="*/ 1402 h 10000"/>
                  <a:gd name="connsiteX1265" fmla="*/ 5604 w 10785"/>
                  <a:gd name="connsiteY1265" fmla="*/ 1393 h 10000"/>
                  <a:gd name="connsiteX1266" fmla="*/ 5618 w 10785"/>
                  <a:gd name="connsiteY1266" fmla="*/ 1393 h 10000"/>
                  <a:gd name="connsiteX1267" fmla="*/ 5627 w 10785"/>
                  <a:gd name="connsiteY1267" fmla="*/ 1368 h 10000"/>
                  <a:gd name="connsiteX1268" fmla="*/ 5627 w 10785"/>
                  <a:gd name="connsiteY1268" fmla="*/ 1325 h 10000"/>
                  <a:gd name="connsiteX1269" fmla="*/ 5645 w 10785"/>
                  <a:gd name="connsiteY1269" fmla="*/ 1291 h 10000"/>
                  <a:gd name="connsiteX1270" fmla="*/ 5645 w 10785"/>
                  <a:gd name="connsiteY1270" fmla="*/ 1282 h 10000"/>
                  <a:gd name="connsiteX1271" fmla="*/ 5654 w 10785"/>
                  <a:gd name="connsiteY1271" fmla="*/ 1265 h 10000"/>
                  <a:gd name="connsiteX1272" fmla="*/ 5654 w 10785"/>
                  <a:gd name="connsiteY1272" fmla="*/ 1214 h 10000"/>
                  <a:gd name="connsiteX1273" fmla="*/ 5654 w 10785"/>
                  <a:gd name="connsiteY1273" fmla="*/ 1214 h 10000"/>
                  <a:gd name="connsiteX1274" fmla="*/ 5645 w 10785"/>
                  <a:gd name="connsiteY1274" fmla="*/ 1197 h 10000"/>
                  <a:gd name="connsiteX1275" fmla="*/ 5659 w 10785"/>
                  <a:gd name="connsiteY1275" fmla="*/ 1197 h 10000"/>
                  <a:gd name="connsiteX1276" fmla="*/ 5654 w 10785"/>
                  <a:gd name="connsiteY1276" fmla="*/ 1154 h 10000"/>
                  <a:gd name="connsiteX1277" fmla="*/ 5641 w 10785"/>
                  <a:gd name="connsiteY1277" fmla="*/ 1154 h 10000"/>
                  <a:gd name="connsiteX1278" fmla="*/ 5627 w 10785"/>
                  <a:gd name="connsiteY1278" fmla="*/ 1128 h 10000"/>
                  <a:gd name="connsiteX1279" fmla="*/ 5618 w 10785"/>
                  <a:gd name="connsiteY1279" fmla="*/ 1094 h 10000"/>
                  <a:gd name="connsiteX1280" fmla="*/ 5613 w 10785"/>
                  <a:gd name="connsiteY1280" fmla="*/ 1094 h 10000"/>
                  <a:gd name="connsiteX1281" fmla="*/ 5604 w 10785"/>
                  <a:gd name="connsiteY1281" fmla="*/ 1120 h 10000"/>
                  <a:gd name="connsiteX1282" fmla="*/ 5604 w 10785"/>
                  <a:gd name="connsiteY1282" fmla="*/ 1128 h 10000"/>
                  <a:gd name="connsiteX1283" fmla="*/ 5599 w 10785"/>
                  <a:gd name="connsiteY1283" fmla="*/ 1103 h 10000"/>
                  <a:gd name="connsiteX1284" fmla="*/ 5599 w 10785"/>
                  <a:gd name="connsiteY1284" fmla="*/ 1103 h 10000"/>
                  <a:gd name="connsiteX1285" fmla="*/ 5594 w 10785"/>
                  <a:gd name="connsiteY1285" fmla="*/ 1068 h 10000"/>
                  <a:gd name="connsiteX1286" fmla="*/ 5594 w 10785"/>
                  <a:gd name="connsiteY1286" fmla="*/ 1060 h 10000"/>
                  <a:gd name="connsiteX1287" fmla="*/ 5581 w 10785"/>
                  <a:gd name="connsiteY1287" fmla="*/ 1034 h 10000"/>
                  <a:gd name="connsiteX1288" fmla="*/ 5571 w 10785"/>
                  <a:gd name="connsiteY1288" fmla="*/ 1009 h 10000"/>
                  <a:gd name="connsiteX1289" fmla="*/ 5571 w 10785"/>
                  <a:gd name="connsiteY1289" fmla="*/ 991 h 10000"/>
                  <a:gd name="connsiteX1290" fmla="*/ 5585 w 10785"/>
                  <a:gd name="connsiteY1290" fmla="*/ 1009 h 10000"/>
                  <a:gd name="connsiteX1291" fmla="*/ 5604 w 10785"/>
                  <a:gd name="connsiteY1291" fmla="*/ 1043 h 10000"/>
                  <a:gd name="connsiteX1292" fmla="*/ 5641 w 10785"/>
                  <a:gd name="connsiteY1292" fmla="*/ 1094 h 10000"/>
                  <a:gd name="connsiteX1293" fmla="*/ 5631 w 10785"/>
                  <a:gd name="connsiteY1293" fmla="*/ 1128 h 10000"/>
                  <a:gd name="connsiteX1294" fmla="*/ 5641 w 10785"/>
                  <a:gd name="connsiteY1294" fmla="*/ 1128 h 10000"/>
                  <a:gd name="connsiteX1295" fmla="*/ 5659 w 10785"/>
                  <a:gd name="connsiteY1295" fmla="*/ 1017 h 10000"/>
                  <a:gd name="connsiteX1296" fmla="*/ 5659 w 10785"/>
                  <a:gd name="connsiteY1296" fmla="*/ 983 h 10000"/>
                  <a:gd name="connsiteX1297" fmla="*/ 5659 w 10785"/>
                  <a:gd name="connsiteY1297" fmla="*/ 957 h 10000"/>
                  <a:gd name="connsiteX1298" fmla="*/ 5654 w 10785"/>
                  <a:gd name="connsiteY1298" fmla="*/ 966 h 10000"/>
                  <a:gd name="connsiteX1299" fmla="*/ 5641 w 10785"/>
                  <a:gd name="connsiteY1299" fmla="*/ 957 h 10000"/>
                  <a:gd name="connsiteX1300" fmla="*/ 5631 w 10785"/>
                  <a:gd name="connsiteY1300" fmla="*/ 897 h 10000"/>
                  <a:gd name="connsiteX1301" fmla="*/ 5641 w 10785"/>
                  <a:gd name="connsiteY1301" fmla="*/ 872 h 10000"/>
                  <a:gd name="connsiteX1302" fmla="*/ 5618 w 10785"/>
                  <a:gd name="connsiteY1302" fmla="*/ 803 h 10000"/>
                  <a:gd name="connsiteX1303" fmla="*/ 5604 w 10785"/>
                  <a:gd name="connsiteY1303" fmla="*/ 821 h 10000"/>
                  <a:gd name="connsiteX1304" fmla="*/ 5613 w 10785"/>
                  <a:gd name="connsiteY1304" fmla="*/ 846 h 10000"/>
                  <a:gd name="connsiteX1305" fmla="*/ 5604 w 10785"/>
                  <a:gd name="connsiteY1305" fmla="*/ 855 h 10000"/>
                  <a:gd name="connsiteX1306" fmla="*/ 5599 w 10785"/>
                  <a:gd name="connsiteY1306" fmla="*/ 880 h 10000"/>
                  <a:gd name="connsiteX1307" fmla="*/ 5594 w 10785"/>
                  <a:gd name="connsiteY1307" fmla="*/ 880 h 10000"/>
                  <a:gd name="connsiteX1308" fmla="*/ 5585 w 10785"/>
                  <a:gd name="connsiteY1308" fmla="*/ 829 h 10000"/>
                  <a:gd name="connsiteX1309" fmla="*/ 5571 w 10785"/>
                  <a:gd name="connsiteY1309" fmla="*/ 803 h 10000"/>
                  <a:gd name="connsiteX1310" fmla="*/ 5585 w 10785"/>
                  <a:gd name="connsiteY1310" fmla="*/ 795 h 10000"/>
                  <a:gd name="connsiteX1311" fmla="*/ 5585 w 10785"/>
                  <a:gd name="connsiteY1311" fmla="*/ 761 h 10000"/>
                  <a:gd name="connsiteX1312" fmla="*/ 5558 w 10785"/>
                  <a:gd name="connsiteY1312" fmla="*/ 709 h 10000"/>
                  <a:gd name="connsiteX1313" fmla="*/ 5544 w 10785"/>
                  <a:gd name="connsiteY1313" fmla="*/ 709 h 10000"/>
                  <a:gd name="connsiteX1314" fmla="*/ 5544 w 10785"/>
                  <a:gd name="connsiteY1314" fmla="*/ 684 h 10000"/>
                  <a:gd name="connsiteX1315" fmla="*/ 5525 w 10785"/>
                  <a:gd name="connsiteY1315" fmla="*/ 632 h 10000"/>
                  <a:gd name="connsiteX1316" fmla="*/ 5507 w 10785"/>
                  <a:gd name="connsiteY1316" fmla="*/ 607 h 10000"/>
                  <a:gd name="connsiteX1317" fmla="*/ 5512 w 10785"/>
                  <a:gd name="connsiteY1317" fmla="*/ 598 h 10000"/>
                  <a:gd name="connsiteX1318" fmla="*/ 5507 w 10785"/>
                  <a:gd name="connsiteY1318" fmla="*/ 581 h 10000"/>
                  <a:gd name="connsiteX1319" fmla="*/ 5493 w 10785"/>
                  <a:gd name="connsiteY1319" fmla="*/ 573 h 10000"/>
                  <a:gd name="connsiteX1320" fmla="*/ 5484 w 10785"/>
                  <a:gd name="connsiteY1320" fmla="*/ 581 h 10000"/>
                  <a:gd name="connsiteX1321" fmla="*/ 5484 w 10785"/>
                  <a:gd name="connsiteY1321" fmla="*/ 573 h 10000"/>
                  <a:gd name="connsiteX1322" fmla="*/ 5484 w 10785"/>
                  <a:gd name="connsiteY1322" fmla="*/ 547 h 10000"/>
                  <a:gd name="connsiteX1323" fmla="*/ 5465 w 10785"/>
                  <a:gd name="connsiteY1323" fmla="*/ 556 h 10000"/>
                  <a:gd name="connsiteX1324" fmla="*/ 5433 w 10785"/>
                  <a:gd name="connsiteY1324" fmla="*/ 547 h 10000"/>
                  <a:gd name="connsiteX1325" fmla="*/ 5410 w 10785"/>
                  <a:gd name="connsiteY1325" fmla="*/ 573 h 10000"/>
                  <a:gd name="connsiteX1326" fmla="*/ 5406 w 10785"/>
                  <a:gd name="connsiteY1326" fmla="*/ 573 h 10000"/>
                  <a:gd name="connsiteX1327" fmla="*/ 5392 w 10785"/>
                  <a:gd name="connsiteY1327" fmla="*/ 573 h 10000"/>
                  <a:gd name="connsiteX1328" fmla="*/ 5364 w 10785"/>
                  <a:gd name="connsiteY1328" fmla="*/ 530 h 10000"/>
                  <a:gd name="connsiteX1329" fmla="*/ 5350 w 10785"/>
                  <a:gd name="connsiteY1329" fmla="*/ 556 h 10000"/>
                  <a:gd name="connsiteX1330" fmla="*/ 5346 w 10785"/>
                  <a:gd name="connsiteY1330" fmla="*/ 556 h 10000"/>
                  <a:gd name="connsiteX1331" fmla="*/ 5313 w 10785"/>
                  <a:gd name="connsiteY1331" fmla="*/ 573 h 10000"/>
                  <a:gd name="connsiteX1332" fmla="*/ 5304 w 10785"/>
                  <a:gd name="connsiteY1332" fmla="*/ 556 h 10000"/>
                  <a:gd name="connsiteX1333" fmla="*/ 5290 w 10785"/>
                  <a:gd name="connsiteY1333" fmla="*/ 573 h 10000"/>
                  <a:gd name="connsiteX1334" fmla="*/ 5290 w 10785"/>
                  <a:gd name="connsiteY1334" fmla="*/ 556 h 10000"/>
                  <a:gd name="connsiteX1335" fmla="*/ 5300 w 10785"/>
                  <a:gd name="connsiteY1335" fmla="*/ 547 h 10000"/>
                  <a:gd name="connsiteX1336" fmla="*/ 5300 w 10785"/>
                  <a:gd name="connsiteY1336" fmla="*/ 530 h 10000"/>
                  <a:gd name="connsiteX1337" fmla="*/ 5290 w 10785"/>
                  <a:gd name="connsiteY1337" fmla="*/ 530 h 10000"/>
                  <a:gd name="connsiteX1338" fmla="*/ 5286 w 10785"/>
                  <a:gd name="connsiteY1338" fmla="*/ 547 h 10000"/>
                  <a:gd name="connsiteX1339" fmla="*/ 5272 w 10785"/>
                  <a:gd name="connsiteY1339" fmla="*/ 556 h 10000"/>
                  <a:gd name="connsiteX1340" fmla="*/ 5272 w 10785"/>
                  <a:gd name="connsiteY1340" fmla="*/ 598 h 10000"/>
                  <a:gd name="connsiteX1341" fmla="*/ 5276 w 10785"/>
                  <a:gd name="connsiteY1341" fmla="*/ 581 h 10000"/>
                  <a:gd name="connsiteX1342" fmla="*/ 5272 w 10785"/>
                  <a:gd name="connsiteY1342" fmla="*/ 607 h 10000"/>
                  <a:gd name="connsiteX1343" fmla="*/ 5263 w 10785"/>
                  <a:gd name="connsiteY1343" fmla="*/ 607 h 10000"/>
                  <a:gd name="connsiteX1344" fmla="*/ 5263 w 10785"/>
                  <a:gd name="connsiteY1344" fmla="*/ 632 h 10000"/>
                  <a:gd name="connsiteX1345" fmla="*/ 5258 w 10785"/>
                  <a:gd name="connsiteY1345" fmla="*/ 658 h 10000"/>
                  <a:gd name="connsiteX1346" fmla="*/ 5244 w 10785"/>
                  <a:gd name="connsiteY1346" fmla="*/ 667 h 10000"/>
                  <a:gd name="connsiteX1347" fmla="*/ 5240 w 10785"/>
                  <a:gd name="connsiteY1347" fmla="*/ 658 h 10000"/>
                  <a:gd name="connsiteX1348" fmla="*/ 5240 w 10785"/>
                  <a:gd name="connsiteY1348" fmla="*/ 684 h 10000"/>
                  <a:gd name="connsiteX1349" fmla="*/ 5212 w 10785"/>
                  <a:gd name="connsiteY1349" fmla="*/ 684 h 10000"/>
                  <a:gd name="connsiteX1350" fmla="*/ 5198 w 10785"/>
                  <a:gd name="connsiteY1350" fmla="*/ 692 h 10000"/>
                  <a:gd name="connsiteX1351" fmla="*/ 5184 w 10785"/>
                  <a:gd name="connsiteY1351" fmla="*/ 684 h 10000"/>
                  <a:gd name="connsiteX1352" fmla="*/ 5157 w 10785"/>
                  <a:gd name="connsiteY1352" fmla="*/ 684 h 10000"/>
                  <a:gd name="connsiteX1353" fmla="*/ 5157 w 10785"/>
                  <a:gd name="connsiteY1353" fmla="*/ 667 h 10000"/>
                  <a:gd name="connsiteX1354" fmla="*/ 5157 w 10785"/>
                  <a:gd name="connsiteY1354" fmla="*/ 667 h 10000"/>
                  <a:gd name="connsiteX1355" fmla="*/ 5180 w 10785"/>
                  <a:gd name="connsiteY1355" fmla="*/ 650 h 10000"/>
                  <a:gd name="connsiteX1356" fmla="*/ 5184 w 10785"/>
                  <a:gd name="connsiteY1356" fmla="*/ 658 h 10000"/>
                  <a:gd name="connsiteX1357" fmla="*/ 5203 w 10785"/>
                  <a:gd name="connsiteY1357" fmla="*/ 547 h 10000"/>
                  <a:gd name="connsiteX1358" fmla="*/ 5226 w 10785"/>
                  <a:gd name="connsiteY1358" fmla="*/ 530 h 10000"/>
                  <a:gd name="connsiteX1359" fmla="*/ 5230 w 10785"/>
                  <a:gd name="connsiteY1359" fmla="*/ 487 h 10000"/>
                  <a:gd name="connsiteX1360" fmla="*/ 5230 w 10785"/>
                  <a:gd name="connsiteY1360" fmla="*/ 487 h 10000"/>
                  <a:gd name="connsiteX1361" fmla="*/ 5226 w 10785"/>
                  <a:gd name="connsiteY1361" fmla="*/ 462 h 10000"/>
                  <a:gd name="connsiteX1362" fmla="*/ 5226 w 10785"/>
                  <a:gd name="connsiteY1362" fmla="*/ 462 h 10000"/>
                  <a:gd name="connsiteX1363" fmla="*/ 5240 w 10785"/>
                  <a:gd name="connsiteY1363" fmla="*/ 462 h 10000"/>
                  <a:gd name="connsiteX1364" fmla="*/ 5240 w 10785"/>
                  <a:gd name="connsiteY1364" fmla="*/ 444 h 10000"/>
                  <a:gd name="connsiteX1365" fmla="*/ 5230 w 10785"/>
                  <a:gd name="connsiteY1365" fmla="*/ 436 h 10000"/>
                  <a:gd name="connsiteX1366" fmla="*/ 5230 w 10785"/>
                  <a:gd name="connsiteY1366" fmla="*/ 419 h 10000"/>
                  <a:gd name="connsiteX1367" fmla="*/ 5230 w 10785"/>
                  <a:gd name="connsiteY1367" fmla="*/ 410 h 10000"/>
                  <a:gd name="connsiteX1368" fmla="*/ 5198 w 10785"/>
                  <a:gd name="connsiteY1368" fmla="*/ 402 h 10000"/>
                  <a:gd name="connsiteX1369" fmla="*/ 5189 w 10785"/>
                  <a:gd name="connsiteY1369" fmla="*/ 402 h 10000"/>
                  <a:gd name="connsiteX1370" fmla="*/ 5184 w 10785"/>
                  <a:gd name="connsiteY1370" fmla="*/ 376 h 10000"/>
                  <a:gd name="connsiteX1371" fmla="*/ 5180 w 10785"/>
                  <a:gd name="connsiteY1371" fmla="*/ 376 h 10000"/>
                  <a:gd name="connsiteX1372" fmla="*/ 5166 w 10785"/>
                  <a:gd name="connsiteY1372" fmla="*/ 376 h 10000"/>
                  <a:gd name="connsiteX1373" fmla="*/ 5157 w 10785"/>
                  <a:gd name="connsiteY1373" fmla="*/ 385 h 10000"/>
                  <a:gd name="connsiteX1374" fmla="*/ 5152 w 10785"/>
                  <a:gd name="connsiteY1374" fmla="*/ 376 h 10000"/>
                  <a:gd name="connsiteX1375" fmla="*/ 5129 w 10785"/>
                  <a:gd name="connsiteY1375" fmla="*/ 385 h 10000"/>
                  <a:gd name="connsiteX1376" fmla="*/ 5129 w 10785"/>
                  <a:gd name="connsiteY1376" fmla="*/ 350 h 10000"/>
                  <a:gd name="connsiteX1377" fmla="*/ 5129 w 10785"/>
                  <a:gd name="connsiteY1377" fmla="*/ 325 h 10000"/>
                  <a:gd name="connsiteX1378" fmla="*/ 5124 w 10785"/>
                  <a:gd name="connsiteY1378" fmla="*/ 359 h 10000"/>
                  <a:gd name="connsiteX1379" fmla="*/ 5106 w 10785"/>
                  <a:gd name="connsiteY1379" fmla="*/ 359 h 10000"/>
                  <a:gd name="connsiteX1380" fmla="*/ 5037 w 10785"/>
                  <a:gd name="connsiteY1380" fmla="*/ 419 h 10000"/>
                  <a:gd name="connsiteX1381" fmla="*/ 5051 w 10785"/>
                  <a:gd name="connsiteY1381" fmla="*/ 385 h 10000"/>
                  <a:gd name="connsiteX1382" fmla="*/ 5055 w 10785"/>
                  <a:gd name="connsiteY1382" fmla="*/ 376 h 10000"/>
                  <a:gd name="connsiteX1383" fmla="*/ 5092 w 10785"/>
                  <a:gd name="connsiteY1383" fmla="*/ 282 h 10000"/>
                  <a:gd name="connsiteX1384" fmla="*/ 5106 w 10785"/>
                  <a:gd name="connsiteY1384" fmla="*/ 265 h 10000"/>
                  <a:gd name="connsiteX1385" fmla="*/ 5115 w 10785"/>
                  <a:gd name="connsiteY1385" fmla="*/ 265 h 10000"/>
                  <a:gd name="connsiteX1386" fmla="*/ 5124 w 10785"/>
                  <a:gd name="connsiteY1386" fmla="*/ 222 h 10000"/>
                  <a:gd name="connsiteX1387" fmla="*/ 5124 w 10785"/>
                  <a:gd name="connsiteY1387" fmla="*/ 214 h 10000"/>
                  <a:gd name="connsiteX1388" fmla="*/ 5143 w 10785"/>
                  <a:gd name="connsiteY1388" fmla="*/ 197 h 10000"/>
                  <a:gd name="connsiteX1389" fmla="*/ 5152 w 10785"/>
                  <a:gd name="connsiteY1389" fmla="*/ 214 h 10000"/>
                  <a:gd name="connsiteX1390" fmla="*/ 5143 w 10785"/>
                  <a:gd name="connsiteY1390" fmla="*/ 188 h 10000"/>
                  <a:gd name="connsiteX1391" fmla="*/ 5129 w 10785"/>
                  <a:gd name="connsiteY1391" fmla="*/ 103 h 10000"/>
                  <a:gd name="connsiteX1392" fmla="*/ 5115 w 10785"/>
                  <a:gd name="connsiteY1392" fmla="*/ 85 h 10000"/>
                  <a:gd name="connsiteX1393" fmla="*/ 5111 w 10785"/>
                  <a:gd name="connsiteY1393" fmla="*/ 111 h 10000"/>
                  <a:gd name="connsiteX1394" fmla="*/ 5092 w 10785"/>
                  <a:gd name="connsiteY1394" fmla="*/ 103 h 10000"/>
                  <a:gd name="connsiteX1395" fmla="*/ 5069 w 10785"/>
                  <a:gd name="connsiteY1395" fmla="*/ 77 h 10000"/>
                  <a:gd name="connsiteX1396" fmla="*/ 5051 w 10785"/>
                  <a:gd name="connsiteY1396" fmla="*/ 26 h 10000"/>
                  <a:gd name="connsiteX1397" fmla="*/ 5041 w 10785"/>
                  <a:gd name="connsiteY1397" fmla="*/ 34 h 10000"/>
                  <a:gd name="connsiteX1398" fmla="*/ 5037 w 10785"/>
                  <a:gd name="connsiteY1398" fmla="*/ 34 h 10000"/>
                  <a:gd name="connsiteX1399" fmla="*/ 5037 w 10785"/>
                  <a:gd name="connsiteY1399" fmla="*/ 26 h 10000"/>
                  <a:gd name="connsiteX1400" fmla="*/ 5037 w 10785"/>
                  <a:gd name="connsiteY1400" fmla="*/ 9 h 10000"/>
                  <a:gd name="connsiteX1401" fmla="*/ 5023 w 10785"/>
                  <a:gd name="connsiteY1401" fmla="*/ 0 h 10000"/>
                  <a:gd name="connsiteX1402" fmla="*/ 5009 w 10785"/>
                  <a:gd name="connsiteY1402" fmla="*/ 9 h 10000"/>
                  <a:gd name="connsiteX1403" fmla="*/ 4995 w 10785"/>
                  <a:gd name="connsiteY1403" fmla="*/ 34 h 10000"/>
                  <a:gd name="connsiteX1404" fmla="*/ 4991 w 10785"/>
                  <a:gd name="connsiteY1404" fmla="*/ 60 h 10000"/>
                  <a:gd name="connsiteX1405" fmla="*/ 4982 w 10785"/>
                  <a:gd name="connsiteY1405" fmla="*/ 60 h 10000"/>
                  <a:gd name="connsiteX1406" fmla="*/ 4949 w 10785"/>
                  <a:gd name="connsiteY1406" fmla="*/ 51 h 10000"/>
                  <a:gd name="connsiteX1407" fmla="*/ 4949 w 10785"/>
                  <a:gd name="connsiteY1407" fmla="*/ 85 h 10000"/>
                  <a:gd name="connsiteX1408" fmla="*/ 4903 w 10785"/>
                  <a:gd name="connsiteY1408" fmla="*/ 197 h 10000"/>
                  <a:gd name="connsiteX1409" fmla="*/ 4899 w 10785"/>
                  <a:gd name="connsiteY1409" fmla="*/ 239 h 10000"/>
                  <a:gd name="connsiteX1410" fmla="*/ 4871 w 10785"/>
                  <a:gd name="connsiteY1410" fmla="*/ 274 h 10000"/>
                  <a:gd name="connsiteX1411" fmla="*/ 4871 w 10785"/>
                  <a:gd name="connsiteY1411" fmla="*/ 282 h 10000"/>
                  <a:gd name="connsiteX1412" fmla="*/ 4834 w 10785"/>
                  <a:gd name="connsiteY1412" fmla="*/ 376 h 10000"/>
                  <a:gd name="connsiteX1413" fmla="*/ 4829 w 10785"/>
                  <a:gd name="connsiteY1413" fmla="*/ 402 h 10000"/>
                  <a:gd name="connsiteX1414" fmla="*/ 4834 w 10785"/>
                  <a:gd name="connsiteY1414" fmla="*/ 410 h 10000"/>
                  <a:gd name="connsiteX1415" fmla="*/ 4829 w 10785"/>
                  <a:gd name="connsiteY1415" fmla="*/ 436 h 10000"/>
                  <a:gd name="connsiteX1416" fmla="*/ 4825 w 10785"/>
                  <a:gd name="connsiteY1416" fmla="*/ 436 h 10000"/>
                  <a:gd name="connsiteX1417" fmla="*/ 4825 w 10785"/>
                  <a:gd name="connsiteY1417" fmla="*/ 444 h 10000"/>
                  <a:gd name="connsiteX1418" fmla="*/ 4811 w 10785"/>
                  <a:gd name="connsiteY1418" fmla="*/ 496 h 10000"/>
                  <a:gd name="connsiteX1419" fmla="*/ 4811 w 10785"/>
                  <a:gd name="connsiteY1419" fmla="*/ 496 h 10000"/>
                  <a:gd name="connsiteX1420" fmla="*/ 4811 w 10785"/>
                  <a:gd name="connsiteY1420" fmla="*/ 521 h 10000"/>
                  <a:gd name="connsiteX1421" fmla="*/ 4816 w 10785"/>
                  <a:gd name="connsiteY1421" fmla="*/ 530 h 10000"/>
                  <a:gd name="connsiteX1422" fmla="*/ 4834 w 10785"/>
                  <a:gd name="connsiteY1422" fmla="*/ 547 h 10000"/>
                  <a:gd name="connsiteX1423" fmla="*/ 4834 w 10785"/>
                  <a:gd name="connsiteY1423" fmla="*/ 581 h 10000"/>
                  <a:gd name="connsiteX1424" fmla="*/ 4843 w 10785"/>
                  <a:gd name="connsiteY1424" fmla="*/ 581 h 10000"/>
                  <a:gd name="connsiteX1425" fmla="*/ 4843 w 10785"/>
                  <a:gd name="connsiteY1425" fmla="*/ 598 h 10000"/>
                  <a:gd name="connsiteX1426" fmla="*/ 4829 w 10785"/>
                  <a:gd name="connsiteY1426" fmla="*/ 598 h 10000"/>
                  <a:gd name="connsiteX1427" fmla="*/ 4829 w 10785"/>
                  <a:gd name="connsiteY1427" fmla="*/ 573 h 10000"/>
                  <a:gd name="connsiteX1428" fmla="*/ 4829 w 10785"/>
                  <a:gd name="connsiteY1428" fmla="*/ 632 h 10000"/>
                  <a:gd name="connsiteX1429" fmla="*/ 4829 w 10785"/>
                  <a:gd name="connsiteY1429" fmla="*/ 632 h 10000"/>
                  <a:gd name="connsiteX1430" fmla="*/ 4829 w 10785"/>
                  <a:gd name="connsiteY1430" fmla="*/ 650 h 10000"/>
                  <a:gd name="connsiteX1431" fmla="*/ 4774 w 10785"/>
                  <a:gd name="connsiteY1431" fmla="*/ 684 h 10000"/>
                  <a:gd name="connsiteX1432" fmla="*/ 4756 w 10785"/>
                  <a:gd name="connsiteY1432" fmla="*/ 684 h 10000"/>
                  <a:gd name="connsiteX1433" fmla="*/ 4737 w 10785"/>
                  <a:gd name="connsiteY1433" fmla="*/ 692 h 10000"/>
                  <a:gd name="connsiteX1434" fmla="*/ 4677 w 10785"/>
                  <a:gd name="connsiteY1434" fmla="*/ 667 h 10000"/>
                  <a:gd name="connsiteX1435" fmla="*/ 4682 w 10785"/>
                  <a:gd name="connsiteY1435" fmla="*/ 692 h 10000"/>
                  <a:gd name="connsiteX1436" fmla="*/ 4682 w 10785"/>
                  <a:gd name="connsiteY1436" fmla="*/ 709 h 10000"/>
                  <a:gd name="connsiteX1437" fmla="*/ 4691 w 10785"/>
                  <a:gd name="connsiteY1437" fmla="*/ 718 h 10000"/>
                  <a:gd name="connsiteX1438" fmla="*/ 4691 w 10785"/>
                  <a:gd name="connsiteY1438" fmla="*/ 744 h 10000"/>
                  <a:gd name="connsiteX1439" fmla="*/ 4700 w 10785"/>
                  <a:gd name="connsiteY1439" fmla="*/ 744 h 10000"/>
                  <a:gd name="connsiteX1440" fmla="*/ 4714 w 10785"/>
                  <a:gd name="connsiteY1440" fmla="*/ 769 h 10000"/>
                  <a:gd name="connsiteX1441" fmla="*/ 4710 w 10785"/>
                  <a:gd name="connsiteY1441" fmla="*/ 786 h 10000"/>
                  <a:gd name="connsiteX1442" fmla="*/ 4737 w 10785"/>
                  <a:gd name="connsiteY1442" fmla="*/ 786 h 10000"/>
                  <a:gd name="connsiteX1443" fmla="*/ 4742 w 10785"/>
                  <a:gd name="connsiteY1443" fmla="*/ 795 h 10000"/>
                  <a:gd name="connsiteX1444" fmla="*/ 4742 w 10785"/>
                  <a:gd name="connsiteY1444" fmla="*/ 803 h 10000"/>
                  <a:gd name="connsiteX1445" fmla="*/ 4737 w 10785"/>
                  <a:gd name="connsiteY1445" fmla="*/ 846 h 10000"/>
                  <a:gd name="connsiteX1446" fmla="*/ 4737 w 10785"/>
                  <a:gd name="connsiteY1446" fmla="*/ 880 h 10000"/>
                  <a:gd name="connsiteX1447" fmla="*/ 4737 w 10785"/>
                  <a:gd name="connsiteY1447" fmla="*/ 906 h 10000"/>
                  <a:gd name="connsiteX1448" fmla="*/ 4724 w 10785"/>
                  <a:gd name="connsiteY1448" fmla="*/ 897 h 10000"/>
                  <a:gd name="connsiteX1449" fmla="*/ 4724 w 10785"/>
                  <a:gd name="connsiteY1449" fmla="*/ 872 h 10000"/>
                  <a:gd name="connsiteX1450" fmla="*/ 4714 w 10785"/>
                  <a:gd name="connsiteY1450" fmla="*/ 855 h 10000"/>
                  <a:gd name="connsiteX1451" fmla="*/ 4691 w 10785"/>
                  <a:gd name="connsiteY1451" fmla="*/ 846 h 10000"/>
                  <a:gd name="connsiteX1452" fmla="*/ 4691 w 10785"/>
                  <a:gd name="connsiteY1452" fmla="*/ 846 h 10000"/>
                  <a:gd name="connsiteX1453" fmla="*/ 4696 w 10785"/>
                  <a:gd name="connsiteY1453" fmla="*/ 821 h 10000"/>
                  <a:gd name="connsiteX1454" fmla="*/ 4691 w 10785"/>
                  <a:gd name="connsiteY1454" fmla="*/ 803 h 10000"/>
                  <a:gd name="connsiteX1455" fmla="*/ 4668 w 10785"/>
                  <a:gd name="connsiteY1455" fmla="*/ 821 h 10000"/>
                  <a:gd name="connsiteX1456" fmla="*/ 4668 w 10785"/>
                  <a:gd name="connsiteY1456" fmla="*/ 786 h 10000"/>
                  <a:gd name="connsiteX1457" fmla="*/ 4664 w 10785"/>
                  <a:gd name="connsiteY1457" fmla="*/ 786 h 10000"/>
                  <a:gd name="connsiteX1458" fmla="*/ 4622 w 10785"/>
                  <a:gd name="connsiteY1458" fmla="*/ 846 h 10000"/>
                  <a:gd name="connsiteX1459" fmla="*/ 4627 w 10785"/>
                  <a:gd name="connsiteY1459" fmla="*/ 872 h 10000"/>
                  <a:gd name="connsiteX1460" fmla="*/ 4622 w 10785"/>
                  <a:gd name="connsiteY1460" fmla="*/ 880 h 10000"/>
                  <a:gd name="connsiteX1461" fmla="*/ 4622 w 10785"/>
                  <a:gd name="connsiteY1461" fmla="*/ 880 h 10000"/>
                  <a:gd name="connsiteX1462" fmla="*/ 4618 w 10785"/>
                  <a:gd name="connsiteY1462" fmla="*/ 872 h 10000"/>
                  <a:gd name="connsiteX1463" fmla="*/ 4604 w 10785"/>
                  <a:gd name="connsiteY1463" fmla="*/ 880 h 10000"/>
                  <a:gd name="connsiteX1464" fmla="*/ 4594 w 10785"/>
                  <a:gd name="connsiteY1464" fmla="*/ 906 h 10000"/>
                  <a:gd name="connsiteX1465" fmla="*/ 4604 w 10785"/>
                  <a:gd name="connsiteY1465" fmla="*/ 906 h 10000"/>
                  <a:gd name="connsiteX1466" fmla="*/ 4608 w 10785"/>
                  <a:gd name="connsiteY1466" fmla="*/ 906 h 10000"/>
                  <a:gd name="connsiteX1467" fmla="*/ 4608 w 10785"/>
                  <a:gd name="connsiteY1467" fmla="*/ 932 h 10000"/>
                  <a:gd name="connsiteX1468" fmla="*/ 4604 w 10785"/>
                  <a:gd name="connsiteY1468" fmla="*/ 932 h 10000"/>
                  <a:gd name="connsiteX1469" fmla="*/ 4590 w 10785"/>
                  <a:gd name="connsiteY1469" fmla="*/ 932 h 10000"/>
                  <a:gd name="connsiteX1470" fmla="*/ 4567 w 10785"/>
                  <a:gd name="connsiteY1470" fmla="*/ 957 h 10000"/>
                  <a:gd name="connsiteX1471" fmla="*/ 4567 w 10785"/>
                  <a:gd name="connsiteY1471" fmla="*/ 932 h 10000"/>
                  <a:gd name="connsiteX1472" fmla="*/ 4567 w 10785"/>
                  <a:gd name="connsiteY1472" fmla="*/ 923 h 10000"/>
                  <a:gd name="connsiteX1473" fmla="*/ 4562 w 10785"/>
                  <a:gd name="connsiteY1473" fmla="*/ 932 h 10000"/>
                  <a:gd name="connsiteX1474" fmla="*/ 4548 w 10785"/>
                  <a:gd name="connsiteY1474" fmla="*/ 957 h 10000"/>
                  <a:gd name="connsiteX1475" fmla="*/ 4544 w 10785"/>
                  <a:gd name="connsiteY1475" fmla="*/ 957 h 10000"/>
                  <a:gd name="connsiteX1476" fmla="*/ 4521 w 10785"/>
                  <a:gd name="connsiteY1476" fmla="*/ 983 h 10000"/>
                  <a:gd name="connsiteX1477" fmla="*/ 4521 w 10785"/>
                  <a:gd name="connsiteY1477" fmla="*/ 983 h 10000"/>
                  <a:gd name="connsiteX1478" fmla="*/ 4530 w 10785"/>
                  <a:gd name="connsiteY1478" fmla="*/ 957 h 10000"/>
                  <a:gd name="connsiteX1479" fmla="*/ 4535 w 10785"/>
                  <a:gd name="connsiteY1479" fmla="*/ 932 h 10000"/>
                  <a:gd name="connsiteX1480" fmla="*/ 4521 w 10785"/>
                  <a:gd name="connsiteY1480" fmla="*/ 932 h 10000"/>
                  <a:gd name="connsiteX1481" fmla="*/ 4516 w 10785"/>
                  <a:gd name="connsiteY1481" fmla="*/ 923 h 10000"/>
                  <a:gd name="connsiteX1482" fmla="*/ 4516 w 10785"/>
                  <a:gd name="connsiteY1482" fmla="*/ 932 h 10000"/>
                  <a:gd name="connsiteX1483" fmla="*/ 4488 w 10785"/>
                  <a:gd name="connsiteY1483" fmla="*/ 940 h 10000"/>
                  <a:gd name="connsiteX1484" fmla="*/ 4484 w 10785"/>
                  <a:gd name="connsiteY1484" fmla="*/ 983 h 10000"/>
                  <a:gd name="connsiteX1485" fmla="*/ 4470 w 10785"/>
                  <a:gd name="connsiteY1485" fmla="*/ 983 h 10000"/>
                  <a:gd name="connsiteX1486" fmla="*/ 4470 w 10785"/>
                  <a:gd name="connsiteY1486" fmla="*/ 966 h 10000"/>
                  <a:gd name="connsiteX1487" fmla="*/ 4488 w 10785"/>
                  <a:gd name="connsiteY1487" fmla="*/ 923 h 10000"/>
                  <a:gd name="connsiteX1488" fmla="*/ 4493 w 10785"/>
                  <a:gd name="connsiteY1488" fmla="*/ 880 h 10000"/>
                  <a:gd name="connsiteX1489" fmla="*/ 4475 w 10785"/>
                  <a:gd name="connsiteY1489" fmla="*/ 846 h 10000"/>
                  <a:gd name="connsiteX1490" fmla="*/ 4442 w 10785"/>
                  <a:gd name="connsiteY1490" fmla="*/ 855 h 10000"/>
                  <a:gd name="connsiteX1491" fmla="*/ 4433 w 10785"/>
                  <a:gd name="connsiteY1491" fmla="*/ 855 h 10000"/>
                  <a:gd name="connsiteX1492" fmla="*/ 4433 w 10785"/>
                  <a:gd name="connsiteY1492" fmla="*/ 880 h 10000"/>
                  <a:gd name="connsiteX1493" fmla="*/ 4401 w 10785"/>
                  <a:gd name="connsiteY1493" fmla="*/ 855 h 10000"/>
                  <a:gd name="connsiteX1494" fmla="*/ 4396 w 10785"/>
                  <a:gd name="connsiteY1494" fmla="*/ 872 h 10000"/>
                  <a:gd name="connsiteX1495" fmla="*/ 4382 w 10785"/>
                  <a:gd name="connsiteY1495" fmla="*/ 897 h 10000"/>
                  <a:gd name="connsiteX1496" fmla="*/ 4373 w 10785"/>
                  <a:gd name="connsiteY1496" fmla="*/ 872 h 10000"/>
                  <a:gd name="connsiteX1497" fmla="*/ 4341 w 10785"/>
                  <a:gd name="connsiteY1497" fmla="*/ 872 h 10000"/>
                  <a:gd name="connsiteX1498" fmla="*/ 4336 w 10785"/>
                  <a:gd name="connsiteY1498" fmla="*/ 880 h 10000"/>
                  <a:gd name="connsiteX1499" fmla="*/ 4346 w 10785"/>
                  <a:gd name="connsiteY1499" fmla="*/ 897 h 10000"/>
                  <a:gd name="connsiteX1500" fmla="*/ 4346 w 10785"/>
                  <a:gd name="connsiteY1500" fmla="*/ 897 h 10000"/>
                  <a:gd name="connsiteX1501" fmla="*/ 4313 w 10785"/>
                  <a:gd name="connsiteY1501" fmla="*/ 906 h 10000"/>
                  <a:gd name="connsiteX1502" fmla="*/ 4313 w 10785"/>
                  <a:gd name="connsiteY1502" fmla="*/ 906 h 10000"/>
                  <a:gd name="connsiteX1503" fmla="*/ 4313 w 10785"/>
                  <a:gd name="connsiteY1503" fmla="*/ 880 h 10000"/>
                  <a:gd name="connsiteX1504" fmla="*/ 4309 w 10785"/>
                  <a:gd name="connsiteY1504" fmla="*/ 897 h 10000"/>
                  <a:gd name="connsiteX1505" fmla="*/ 4295 w 10785"/>
                  <a:gd name="connsiteY1505" fmla="*/ 923 h 10000"/>
                  <a:gd name="connsiteX1506" fmla="*/ 4286 w 10785"/>
                  <a:gd name="connsiteY1506" fmla="*/ 897 h 10000"/>
                  <a:gd name="connsiteX1507" fmla="*/ 4281 w 10785"/>
                  <a:gd name="connsiteY1507" fmla="*/ 906 h 10000"/>
                  <a:gd name="connsiteX1508" fmla="*/ 4281 w 10785"/>
                  <a:gd name="connsiteY1508" fmla="*/ 940 h 10000"/>
                  <a:gd name="connsiteX1509" fmla="*/ 4286 w 10785"/>
                  <a:gd name="connsiteY1509" fmla="*/ 957 h 10000"/>
                  <a:gd name="connsiteX1510" fmla="*/ 4309 w 10785"/>
                  <a:gd name="connsiteY1510" fmla="*/ 932 h 10000"/>
                  <a:gd name="connsiteX1511" fmla="*/ 4313 w 10785"/>
                  <a:gd name="connsiteY1511" fmla="*/ 957 h 10000"/>
                  <a:gd name="connsiteX1512" fmla="*/ 4313 w 10785"/>
                  <a:gd name="connsiteY1512" fmla="*/ 966 h 10000"/>
                  <a:gd name="connsiteX1513" fmla="*/ 4323 w 10785"/>
                  <a:gd name="connsiteY1513" fmla="*/ 966 h 10000"/>
                  <a:gd name="connsiteX1514" fmla="*/ 4323 w 10785"/>
                  <a:gd name="connsiteY1514" fmla="*/ 940 h 10000"/>
                  <a:gd name="connsiteX1515" fmla="*/ 4327 w 10785"/>
                  <a:gd name="connsiteY1515" fmla="*/ 940 h 10000"/>
                  <a:gd name="connsiteX1516" fmla="*/ 4327 w 10785"/>
                  <a:gd name="connsiteY1516" fmla="*/ 957 h 10000"/>
                  <a:gd name="connsiteX1517" fmla="*/ 4327 w 10785"/>
                  <a:gd name="connsiteY1517" fmla="*/ 966 h 10000"/>
                  <a:gd name="connsiteX1518" fmla="*/ 4323 w 10785"/>
                  <a:gd name="connsiteY1518" fmla="*/ 991 h 10000"/>
                  <a:gd name="connsiteX1519" fmla="*/ 4207 w 10785"/>
                  <a:gd name="connsiteY1519" fmla="*/ 1060 h 10000"/>
                  <a:gd name="connsiteX1520" fmla="*/ 4207 w 10785"/>
                  <a:gd name="connsiteY1520" fmla="*/ 1060 h 10000"/>
                  <a:gd name="connsiteX1521" fmla="*/ 4203 w 10785"/>
                  <a:gd name="connsiteY1521" fmla="*/ 1068 h 10000"/>
                  <a:gd name="connsiteX1522" fmla="*/ 4203 w 10785"/>
                  <a:gd name="connsiteY1522" fmla="*/ 1094 h 10000"/>
                  <a:gd name="connsiteX1523" fmla="*/ 4203 w 10785"/>
                  <a:gd name="connsiteY1523" fmla="*/ 1094 h 10000"/>
                  <a:gd name="connsiteX1524" fmla="*/ 4189 w 10785"/>
                  <a:gd name="connsiteY1524" fmla="*/ 1094 h 10000"/>
                  <a:gd name="connsiteX1525" fmla="*/ 4166 w 10785"/>
                  <a:gd name="connsiteY1525" fmla="*/ 1103 h 10000"/>
                  <a:gd name="connsiteX1526" fmla="*/ 4152 w 10785"/>
                  <a:gd name="connsiteY1526" fmla="*/ 1094 h 10000"/>
                  <a:gd name="connsiteX1527" fmla="*/ 4134 w 10785"/>
                  <a:gd name="connsiteY1527" fmla="*/ 1120 h 10000"/>
                  <a:gd name="connsiteX1528" fmla="*/ 4106 w 10785"/>
                  <a:gd name="connsiteY1528" fmla="*/ 1120 h 10000"/>
                  <a:gd name="connsiteX1529" fmla="*/ 4092 w 10785"/>
                  <a:gd name="connsiteY1529" fmla="*/ 1154 h 10000"/>
                  <a:gd name="connsiteX1530" fmla="*/ 4106 w 10785"/>
                  <a:gd name="connsiteY1530" fmla="*/ 1171 h 10000"/>
                  <a:gd name="connsiteX1531" fmla="*/ 4078 w 10785"/>
                  <a:gd name="connsiteY1531" fmla="*/ 1179 h 10000"/>
                  <a:gd name="connsiteX1532" fmla="*/ 4065 w 10785"/>
                  <a:gd name="connsiteY1532" fmla="*/ 1205 h 10000"/>
                  <a:gd name="connsiteX1533" fmla="*/ 4046 w 10785"/>
                  <a:gd name="connsiteY1533" fmla="*/ 1179 h 10000"/>
                  <a:gd name="connsiteX1534" fmla="*/ 4041 w 10785"/>
                  <a:gd name="connsiteY1534" fmla="*/ 1197 h 10000"/>
                  <a:gd name="connsiteX1535" fmla="*/ 4028 w 10785"/>
                  <a:gd name="connsiteY1535" fmla="*/ 1205 h 10000"/>
                  <a:gd name="connsiteX1536" fmla="*/ 4028 w 10785"/>
                  <a:gd name="connsiteY1536" fmla="*/ 1205 h 10000"/>
                  <a:gd name="connsiteX1537" fmla="*/ 4032 w 10785"/>
                  <a:gd name="connsiteY1537" fmla="*/ 1205 h 10000"/>
                  <a:gd name="connsiteX1538" fmla="*/ 4032 w 10785"/>
                  <a:gd name="connsiteY1538" fmla="*/ 1231 h 10000"/>
                  <a:gd name="connsiteX1539" fmla="*/ 4014 w 10785"/>
                  <a:gd name="connsiteY1539" fmla="*/ 1239 h 10000"/>
                  <a:gd name="connsiteX1540" fmla="*/ 4014 w 10785"/>
                  <a:gd name="connsiteY1540" fmla="*/ 1256 h 10000"/>
                  <a:gd name="connsiteX1541" fmla="*/ 4000 w 10785"/>
                  <a:gd name="connsiteY1541" fmla="*/ 1265 h 10000"/>
                  <a:gd name="connsiteX1542" fmla="*/ 3986 w 10785"/>
                  <a:gd name="connsiteY1542" fmla="*/ 1308 h 10000"/>
                  <a:gd name="connsiteX1543" fmla="*/ 3972 w 10785"/>
                  <a:gd name="connsiteY1543" fmla="*/ 1316 h 10000"/>
                  <a:gd name="connsiteX1544" fmla="*/ 3972 w 10785"/>
                  <a:gd name="connsiteY1544" fmla="*/ 1325 h 10000"/>
                  <a:gd name="connsiteX1545" fmla="*/ 3972 w 10785"/>
                  <a:gd name="connsiteY1545" fmla="*/ 1342 h 10000"/>
                  <a:gd name="connsiteX1546" fmla="*/ 3968 w 10785"/>
                  <a:gd name="connsiteY1546" fmla="*/ 1350 h 10000"/>
                  <a:gd name="connsiteX1547" fmla="*/ 3954 w 10785"/>
                  <a:gd name="connsiteY1547" fmla="*/ 1368 h 10000"/>
                  <a:gd name="connsiteX1548" fmla="*/ 3945 w 10785"/>
                  <a:gd name="connsiteY1548" fmla="*/ 1350 h 10000"/>
                  <a:gd name="connsiteX1549" fmla="*/ 3908 w 10785"/>
                  <a:gd name="connsiteY1549" fmla="*/ 1342 h 10000"/>
                  <a:gd name="connsiteX1550" fmla="*/ 3894 w 10785"/>
                  <a:gd name="connsiteY1550" fmla="*/ 1368 h 10000"/>
                  <a:gd name="connsiteX1551" fmla="*/ 3922 w 10785"/>
                  <a:gd name="connsiteY1551" fmla="*/ 1393 h 10000"/>
                  <a:gd name="connsiteX1552" fmla="*/ 3945 w 10785"/>
                  <a:gd name="connsiteY1552" fmla="*/ 1393 h 10000"/>
                  <a:gd name="connsiteX1553" fmla="*/ 3940 w 10785"/>
                  <a:gd name="connsiteY1553" fmla="*/ 1419 h 10000"/>
                  <a:gd name="connsiteX1554" fmla="*/ 3931 w 10785"/>
                  <a:gd name="connsiteY1554" fmla="*/ 1427 h 10000"/>
                  <a:gd name="connsiteX1555" fmla="*/ 3926 w 10785"/>
                  <a:gd name="connsiteY1555" fmla="*/ 1427 h 10000"/>
                  <a:gd name="connsiteX1556" fmla="*/ 3922 w 10785"/>
                  <a:gd name="connsiteY1556" fmla="*/ 1419 h 10000"/>
                  <a:gd name="connsiteX1557" fmla="*/ 3912 w 10785"/>
                  <a:gd name="connsiteY1557" fmla="*/ 1427 h 10000"/>
                  <a:gd name="connsiteX1558" fmla="*/ 3912 w 10785"/>
                  <a:gd name="connsiteY1558" fmla="*/ 1444 h 10000"/>
                  <a:gd name="connsiteX1559" fmla="*/ 3894 w 10785"/>
                  <a:gd name="connsiteY1559" fmla="*/ 1513 h 10000"/>
                  <a:gd name="connsiteX1560" fmla="*/ 3885 w 10785"/>
                  <a:gd name="connsiteY1560" fmla="*/ 1513 h 10000"/>
                  <a:gd name="connsiteX1561" fmla="*/ 3880 w 10785"/>
                  <a:gd name="connsiteY1561" fmla="*/ 1538 h 10000"/>
                  <a:gd name="connsiteX1562" fmla="*/ 3885 w 10785"/>
                  <a:gd name="connsiteY1562" fmla="*/ 1564 h 10000"/>
                  <a:gd name="connsiteX1563" fmla="*/ 3880 w 10785"/>
                  <a:gd name="connsiteY1563" fmla="*/ 1581 h 10000"/>
                  <a:gd name="connsiteX1564" fmla="*/ 3871 w 10785"/>
                  <a:gd name="connsiteY1564" fmla="*/ 1538 h 10000"/>
                  <a:gd name="connsiteX1565" fmla="*/ 3853 w 10785"/>
                  <a:gd name="connsiteY1565" fmla="*/ 1530 h 10000"/>
                  <a:gd name="connsiteX1566" fmla="*/ 3853 w 10785"/>
                  <a:gd name="connsiteY1566" fmla="*/ 1504 h 10000"/>
                  <a:gd name="connsiteX1567" fmla="*/ 3834 w 10785"/>
                  <a:gd name="connsiteY1567" fmla="*/ 1487 h 10000"/>
                  <a:gd name="connsiteX1568" fmla="*/ 3834 w 10785"/>
                  <a:gd name="connsiteY1568" fmla="*/ 1487 h 10000"/>
                  <a:gd name="connsiteX1569" fmla="*/ 3839 w 10785"/>
                  <a:gd name="connsiteY1569" fmla="*/ 1513 h 10000"/>
                  <a:gd name="connsiteX1570" fmla="*/ 3820 w 10785"/>
                  <a:gd name="connsiteY1570" fmla="*/ 1538 h 10000"/>
                  <a:gd name="connsiteX1571" fmla="*/ 3820 w 10785"/>
                  <a:gd name="connsiteY1571" fmla="*/ 1556 h 10000"/>
                  <a:gd name="connsiteX1572" fmla="*/ 3820 w 10785"/>
                  <a:gd name="connsiteY1572" fmla="*/ 1564 h 10000"/>
                  <a:gd name="connsiteX1573" fmla="*/ 3820 w 10785"/>
                  <a:gd name="connsiteY1573" fmla="*/ 1581 h 10000"/>
                  <a:gd name="connsiteX1574" fmla="*/ 3853 w 10785"/>
                  <a:gd name="connsiteY1574" fmla="*/ 1581 h 10000"/>
                  <a:gd name="connsiteX1575" fmla="*/ 3857 w 10785"/>
                  <a:gd name="connsiteY1575" fmla="*/ 1598 h 10000"/>
                  <a:gd name="connsiteX1576" fmla="*/ 3880 w 10785"/>
                  <a:gd name="connsiteY1576" fmla="*/ 1615 h 10000"/>
                  <a:gd name="connsiteX1577" fmla="*/ 3871 w 10785"/>
                  <a:gd name="connsiteY1577" fmla="*/ 1615 h 10000"/>
                  <a:gd name="connsiteX1578" fmla="*/ 3871 w 10785"/>
                  <a:gd name="connsiteY1578" fmla="*/ 1641 h 10000"/>
                  <a:gd name="connsiteX1579" fmla="*/ 3880 w 10785"/>
                  <a:gd name="connsiteY1579" fmla="*/ 1641 h 10000"/>
                  <a:gd name="connsiteX1580" fmla="*/ 3871 w 10785"/>
                  <a:gd name="connsiteY1580" fmla="*/ 1650 h 10000"/>
                  <a:gd name="connsiteX1581" fmla="*/ 3857 w 10785"/>
                  <a:gd name="connsiteY1581" fmla="*/ 1650 h 10000"/>
                  <a:gd name="connsiteX1582" fmla="*/ 3853 w 10785"/>
                  <a:gd name="connsiteY1582" fmla="*/ 1650 h 10000"/>
                  <a:gd name="connsiteX1583" fmla="*/ 3839 w 10785"/>
                  <a:gd name="connsiteY1583" fmla="*/ 1667 h 10000"/>
                  <a:gd name="connsiteX1584" fmla="*/ 3848 w 10785"/>
                  <a:gd name="connsiteY1584" fmla="*/ 1692 h 10000"/>
                  <a:gd name="connsiteX1585" fmla="*/ 3834 w 10785"/>
                  <a:gd name="connsiteY1585" fmla="*/ 1692 h 10000"/>
                  <a:gd name="connsiteX1586" fmla="*/ 3825 w 10785"/>
                  <a:gd name="connsiteY1586" fmla="*/ 1692 h 10000"/>
                  <a:gd name="connsiteX1587" fmla="*/ 3825 w 10785"/>
                  <a:gd name="connsiteY1587" fmla="*/ 1718 h 10000"/>
                  <a:gd name="connsiteX1588" fmla="*/ 3839 w 10785"/>
                  <a:gd name="connsiteY1588" fmla="*/ 1726 h 10000"/>
                  <a:gd name="connsiteX1589" fmla="*/ 3880 w 10785"/>
                  <a:gd name="connsiteY1589" fmla="*/ 1752 h 10000"/>
                  <a:gd name="connsiteX1590" fmla="*/ 3894 w 10785"/>
                  <a:gd name="connsiteY1590" fmla="*/ 1829 h 10000"/>
                  <a:gd name="connsiteX1591" fmla="*/ 3899 w 10785"/>
                  <a:gd name="connsiteY1591" fmla="*/ 1838 h 10000"/>
                  <a:gd name="connsiteX1592" fmla="*/ 3894 w 10785"/>
                  <a:gd name="connsiteY1592" fmla="*/ 1855 h 10000"/>
                  <a:gd name="connsiteX1593" fmla="*/ 3880 w 10785"/>
                  <a:gd name="connsiteY1593" fmla="*/ 1838 h 10000"/>
                  <a:gd name="connsiteX1594" fmla="*/ 3880 w 10785"/>
                  <a:gd name="connsiteY1594" fmla="*/ 1855 h 10000"/>
                  <a:gd name="connsiteX1595" fmla="*/ 3880 w 10785"/>
                  <a:gd name="connsiteY1595" fmla="*/ 1863 h 10000"/>
                  <a:gd name="connsiteX1596" fmla="*/ 3871 w 10785"/>
                  <a:gd name="connsiteY1596" fmla="*/ 1872 h 10000"/>
                  <a:gd name="connsiteX1597" fmla="*/ 3880 w 10785"/>
                  <a:gd name="connsiteY1597" fmla="*/ 1889 h 10000"/>
                  <a:gd name="connsiteX1598" fmla="*/ 3885 w 10785"/>
                  <a:gd name="connsiteY1598" fmla="*/ 1889 h 10000"/>
                  <a:gd name="connsiteX1599" fmla="*/ 3880 w 10785"/>
                  <a:gd name="connsiteY1599" fmla="*/ 1897 h 10000"/>
                  <a:gd name="connsiteX1600" fmla="*/ 3871 w 10785"/>
                  <a:gd name="connsiteY1600" fmla="*/ 1915 h 10000"/>
                  <a:gd name="connsiteX1601" fmla="*/ 3848 w 10785"/>
                  <a:gd name="connsiteY1601" fmla="*/ 1923 h 10000"/>
                  <a:gd name="connsiteX1602" fmla="*/ 3825 w 10785"/>
                  <a:gd name="connsiteY1602" fmla="*/ 1940 h 10000"/>
                  <a:gd name="connsiteX1603" fmla="*/ 3811 w 10785"/>
                  <a:gd name="connsiteY1603" fmla="*/ 1940 h 10000"/>
                  <a:gd name="connsiteX1604" fmla="*/ 3806 w 10785"/>
                  <a:gd name="connsiteY1604" fmla="*/ 1949 h 10000"/>
                  <a:gd name="connsiteX1605" fmla="*/ 3797 w 10785"/>
                  <a:gd name="connsiteY1605" fmla="*/ 1966 h 10000"/>
                  <a:gd name="connsiteX1606" fmla="*/ 3788 w 10785"/>
                  <a:gd name="connsiteY1606" fmla="*/ 1991 h 10000"/>
                  <a:gd name="connsiteX1607" fmla="*/ 3765 w 10785"/>
                  <a:gd name="connsiteY1607" fmla="*/ 1974 h 10000"/>
                  <a:gd name="connsiteX1608" fmla="*/ 3760 w 10785"/>
                  <a:gd name="connsiteY1608" fmla="*/ 1966 h 10000"/>
                  <a:gd name="connsiteX1609" fmla="*/ 3760 w 10785"/>
                  <a:gd name="connsiteY1609" fmla="*/ 1966 h 10000"/>
                  <a:gd name="connsiteX1610" fmla="*/ 3631 w 10785"/>
                  <a:gd name="connsiteY1610" fmla="*/ 2009 h 10000"/>
                  <a:gd name="connsiteX1611" fmla="*/ 3618 w 10785"/>
                  <a:gd name="connsiteY1611" fmla="*/ 2000 h 10000"/>
                  <a:gd name="connsiteX1612" fmla="*/ 3599 w 10785"/>
                  <a:gd name="connsiteY1612" fmla="*/ 2009 h 10000"/>
                  <a:gd name="connsiteX1613" fmla="*/ 3571 w 10785"/>
                  <a:gd name="connsiteY1613" fmla="*/ 2000 h 10000"/>
                  <a:gd name="connsiteX1614" fmla="*/ 3530 w 10785"/>
                  <a:gd name="connsiteY1614" fmla="*/ 2026 h 10000"/>
                  <a:gd name="connsiteX1615" fmla="*/ 3530 w 10785"/>
                  <a:gd name="connsiteY1615" fmla="*/ 2034 h 10000"/>
                  <a:gd name="connsiteX1616" fmla="*/ 3525 w 10785"/>
                  <a:gd name="connsiteY1616" fmla="*/ 2051 h 10000"/>
                  <a:gd name="connsiteX1617" fmla="*/ 3512 w 10785"/>
                  <a:gd name="connsiteY1617" fmla="*/ 2034 h 10000"/>
                  <a:gd name="connsiteX1618" fmla="*/ 3507 w 10785"/>
                  <a:gd name="connsiteY1618" fmla="*/ 2034 h 10000"/>
                  <a:gd name="connsiteX1619" fmla="*/ 3498 w 10785"/>
                  <a:gd name="connsiteY1619" fmla="*/ 2051 h 10000"/>
                  <a:gd name="connsiteX1620" fmla="*/ 3484 w 10785"/>
                  <a:gd name="connsiteY1620" fmla="*/ 2060 h 10000"/>
                  <a:gd name="connsiteX1621" fmla="*/ 3484 w 10785"/>
                  <a:gd name="connsiteY1621" fmla="*/ 2085 h 10000"/>
                  <a:gd name="connsiteX1622" fmla="*/ 3484 w 10785"/>
                  <a:gd name="connsiteY1622" fmla="*/ 2103 h 10000"/>
                  <a:gd name="connsiteX1623" fmla="*/ 3493 w 10785"/>
                  <a:gd name="connsiteY1623" fmla="*/ 2103 h 10000"/>
                  <a:gd name="connsiteX1624" fmla="*/ 3493 w 10785"/>
                  <a:gd name="connsiteY1624" fmla="*/ 2085 h 10000"/>
                  <a:gd name="connsiteX1625" fmla="*/ 3498 w 10785"/>
                  <a:gd name="connsiteY1625" fmla="*/ 2085 h 10000"/>
                  <a:gd name="connsiteX1626" fmla="*/ 3498 w 10785"/>
                  <a:gd name="connsiteY1626" fmla="*/ 2111 h 10000"/>
                  <a:gd name="connsiteX1627" fmla="*/ 3484 w 10785"/>
                  <a:gd name="connsiteY1627" fmla="*/ 2120 h 10000"/>
                  <a:gd name="connsiteX1628" fmla="*/ 3484 w 10785"/>
                  <a:gd name="connsiteY1628" fmla="*/ 2145 h 10000"/>
                  <a:gd name="connsiteX1629" fmla="*/ 3470 w 10785"/>
                  <a:gd name="connsiteY1629" fmla="*/ 2137 h 10000"/>
                  <a:gd name="connsiteX1630" fmla="*/ 3465 w 10785"/>
                  <a:gd name="connsiteY1630" fmla="*/ 2145 h 10000"/>
                  <a:gd name="connsiteX1631" fmla="*/ 3470 w 10785"/>
                  <a:gd name="connsiteY1631" fmla="*/ 2171 h 10000"/>
                  <a:gd name="connsiteX1632" fmla="*/ 3484 w 10785"/>
                  <a:gd name="connsiteY1632" fmla="*/ 2171 h 10000"/>
                  <a:gd name="connsiteX1633" fmla="*/ 3484 w 10785"/>
                  <a:gd name="connsiteY1633" fmla="*/ 2197 h 10000"/>
                  <a:gd name="connsiteX1634" fmla="*/ 3465 w 10785"/>
                  <a:gd name="connsiteY1634" fmla="*/ 2214 h 10000"/>
                  <a:gd name="connsiteX1635" fmla="*/ 3493 w 10785"/>
                  <a:gd name="connsiteY1635" fmla="*/ 2248 h 10000"/>
                  <a:gd name="connsiteX1636" fmla="*/ 3484 w 10785"/>
                  <a:gd name="connsiteY1636" fmla="*/ 2256 h 10000"/>
                  <a:gd name="connsiteX1637" fmla="*/ 3498 w 10785"/>
                  <a:gd name="connsiteY1637" fmla="*/ 2274 h 10000"/>
                  <a:gd name="connsiteX1638" fmla="*/ 3498 w 10785"/>
                  <a:gd name="connsiteY1638" fmla="*/ 2256 h 10000"/>
                  <a:gd name="connsiteX1639" fmla="*/ 3507 w 10785"/>
                  <a:gd name="connsiteY1639" fmla="*/ 2308 h 10000"/>
                  <a:gd name="connsiteX1640" fmla="*/ 3512 w 10785"/>
                  <a:gd name="connsiteY1640" fmla="*/ 2325 h 10000"/>
                  <a:gd name="connsiteX1641" fmla="*/ 3507 w 10785"/>
                  <a:gd name="connsiteY1641" fmla="*/ 2333 h 10000"/>
                  <a:gd name="connsiteX1642" fmla="*/ 3507 w 10785"/>
                  <a:gd name="connsiteY1642" fmla="*/ 2359 h 10000"/>
                  <a:gd name="connsiteX1643" fmla="*/ 3507 w 10785"/>
                  <a:gd name="connsiteY1643" fmla="*/ 2376 h 10000"/>
                  <a:gd name="connsiteX1644" fmla="*/ 3498 w 10785"/>
                  <a:gd name="connsiteY1644" fmla="*/ 2410 h 10000"/>
                  <a:gd name="connsiteX1645" fmla="*/ 3498 w 10785"/>
                  <a:gd name="connsiteY1645" fmla="*/ 2436 h 10000"/>
                  <a:gd name="connsiteX1646" fmla="*/ 3507 w 10785"/>
                  <a:gd name="connsiteY1646" fmla="*/ 2462 h 10000"/>
                  <a:gd name="connsiteX1647" fmla="*/ 3507 w 10785"/>
                  <a:gd name="connsiteY1647" fmla="*/ 2496 h 10000"/>
                  <a:gd name="connsiteX1648" fmla="*/ 3512 w 10785"/>
                  <a:gd name="connsiteY1648" fmla="*/ 2521 h 10000"/>
                  <a:gd name="connsiteX1649" fmla="*/ 3525 w 10785"/>
                  <a:gd name="connsiteY1649" fmla="*/ 2556 h 10000"/>
                  <a:gd name="connsiteX1650" fmla="*/ 3571 w 10785"/>
                  <a:gd name="connsiteY1650" fmla="*/ 2573 h 10000"/>
                  <a:gd name="connsiteX1651" fmla="*/ 3590 w 10785"/>
                  <a:gd name="connsiteY1651" fmla="*/ 2598 h 10000"/>
                  <a:gd name="connsiteX1652" fmla="*/ 3599 w 10785"/>
                  <a:gd name="connsiteY1652" fmla="*/ 2598 h 10000"/>
                  <a:gd name="connsiteX1653" fmla="*/ 3604 w 10785"/>
                  <a:gd name="connsiteY1653" fmla="*/ 2632 h 10000"/>
                  <a:gd name="connsiteX1654" fmla="*/ 3599 w 10785"/>
                  <a:gd name="connsiteY1654" fmla="*/ 2658 h 10000"/>
                  <a:gd name="connsiteX1655" fmla="*/ 3590 w 10785"/>
                  <a:gd name="connsiteY1655" fmla="*/ 2667 h 10000"/>
                  <a:gd name="connsiteX1656" fmla="*/ 3604 w 10785"/>
                  <a:gd name="connsiteY1656" fmla="*/ 2667 h 10000"/>
                  <a:gd name="connsiteX1657" fmla="*/ 3613 w 10785"/>
                  <a:gd name="connsiteY1657" fmla="*/ 2692 h 10000"/>
                  <a:gd name="connsiteX1658" fmla="*/ 3627 w 10785"/>
                  <a:gd name="connsiteY1658" fmla="*/ 2735 h 10000"/>
                  <a:gd name="connsiteX1659" fmla="*/ 3631 w 10785"/>
                  <a:gd name="connsiteY1659" fmla="*/ 2744 h 10000"/>
                  <a:gd name="connsiteX1660" fmla="*/ 3659 w 10785"/>
                  <a:gd name="connsiteY1660" fmla="*/ 2761 h 10000"/>
                  <a:gd name="connsiteX1661" fmla="*/ 3673 w 10785"/>
                  <a:gd name="connsiteY1661" fmla="*/ 2769 h 10000"/>
                  <a:gd name="connsiteX1662" fmla="*/ 3673 w 10785"/>
                  <a:gd name="connsiteY1662" fmla="*/ 2761 h 10000"/>
                  <a:gd name="connsiteX1663" fmla="*/ 3687 w 10785"/>
                  <a:gd name="connsiteY1663" fmla="*/ 2829 h 10000"/>
                  <a:gd name="connsiteX1664" fmla="*/ 3677 w 10785"/>
                  <a:gd name="connsiteY1664" fmla="*/ 2897 h 10000"/>
                  <a:gd name="connsiteX1665" fmla="*/ 3673 w 10785"/>
                  <a:gd name="connsiteY1665" fmla="*/ 2915 h 10000"/>
                  <a:gd name="connsiteX1666" fmla="*/ 3664 w 10785"/>
                  <a:gd name="connsiteY1666" fmla="*/ 2957 h 10000"/>
                  <a:gd name="connsiteX1667" fmla="*/ 3659 w 10785"/>
                  <a:gd name="connsiteY1667" fmla="*/ 2983 h 10000"/>
                  <a:gd name="connsiteX1668" fmla="*/ 3664 w 10785"/>
                  <a:gd name="connsiteY1668" fmla="*/ 3017 h 10000"/>
                  <a:gd name="connsiteX1669" fmla="*/ 3659 w 10785"/>
                  <a:gd name="connsiteY1669" fmla="*/ 3043 h 10000"/>
                  <a:gd name="connsiteX1670" fmla="*/ 3677 w 10785"/>
                  <a:gd name="connsiteY1670" fmla="*/ 3094 h 10000"/>
                  <a:gd name="connsiteX1671" fmla="*/ 3691 w 10785"/>
                  <a:gd name="connsiteY1671" fmla="*/ 3282 h 10000"/>
                  <a:gd name="connsiteX1672" fmla="*/ 3691 w 10785"/>
                  <a:gd name="connsiteY1672" fmla="*/ 3308 h 10000"/>
                  <a:gd name="connsiteX1673" fmla="*/ 3677 w 10785"/>
                  <a:gd name="connsiteY1673" fmla="*/ 3342 h 10000"/>
                  <a:gd name="connsiteX1674" fmla="*/ 3664 w 10785"/>
                  <a:gd name="connsiteY1674" fmla="*/ 3342 h 10000"/>
                  <a:gd name="connsiteX1675" fmla="*/ 3650 w 10785"/>
                  <a:gd name="connsiteY1675" fmla="*/ 3342 h 10000"/>
                  <a:gd name="connsiteX1676" fmla="*/ 3650 w 10785"/>
                  <a:gd name="connsiteY1676" fmla="*/ 3350 h 10000"/>
                  <a:gd name="connsiteX1677" fmla="*/ 3659 w 10785"/>
                  <a:gd name="connsiteY1677" fmla="*/ 3402 h 10000"/>
                  <a:gd name="connsiteX1678" fmla="*/ 3659 w 10785"/>
                  <a:gd name="connsiteY1678" fmla="*/ 3419 h 10000"/>
                  <a:gd name="connsiteX1679" fmla="*/ 3631 w 10785"/>
                  <a:gd name="connsiteY1679" fmla="*/ 3402 h 10000"/>
                  <a:gd name="connsiteX1680" fmla="*/ 3604 w 10785"/>
                  <a:gd name="connsiteY1680" fmla="*/ 3393 h 10000"/>
                  <a:gd name="connsiteX1681" fmla="*/ 3599 w 10785"/>
                  <a:gd name="connsiteY1681" fmla="*/ 3368 h 10000"/>
                  <a:gd name="connsiteX1682" fmla="*/ 3590 w 10785"/>
                  <a:gd name="connsiteY1682" fmla="*/ 3239 h 10000"/>
                  <a:gd name="connsiteX1683" fmla="*/ 3599 w 10785"/>
                  <a:gd name="connsiteY1683" fmla="*/ 3179 h 10000"/>
                  <a:gd name="connsiteX1684" fmla="*/ 3599 w 10785"/>
                  <a:gd name="connsiteY1684" fmla="*/ 3171 h 10000"/>
                  <a:gd name="connsiteX1685" fmla="*/ 3599 w 10785"/>
                  <a:gd name="connsiteY1685" fmla="*/ 3009 h 10000"/>
                  <a:gd name="connsiteX1686" fmla="*/ 3604 w 10785"/>
                  <a:gd name="connsiteY1686" fmla="*/ 2983 h 10000"/>
                  <a:gd name="connsiteX1687" fmla="*/ 3645 w 10785"/>
                  <a:gd name="connsiteY1687" fmla="*/ 2932 h 10000"/>
                  <a:gd name="connsiteX1688" fmla="*/ 3650 w 10785"/>
                  <a:gd name="connsiteY1688" fmla="*/ 2872 h 10000"/>
                  <a:gd name="connsiteX1689" fmla="*/ 3659 w 10785"/>
                  <a:gd name="connsiteY1689" fmla="*/ 2855 h 10000"/>
                  <a:gd name="connsiteX1690" fmla="*/ 3659 w 10785"/>
                  <a:gd name="connsiteY1690" fmla="*/ 2821 h 10000"/>
                  <a:gd name="connsiteX1691" fmla="*/ 3631 w 10785"/>
                  <a:gd name="connsiteY1691" fmla="*/ 2795 h 10000"/>
                  <a:gd name="connsiteX1692" fmla="*/ 3567 w 10785"/>
                  <a:gd name="connsiteY1692" fmla="*/ 2821 h 10000"/>
                  <a:gd name="connsiteX1693" fmla="*/ 3544 w 10785"/>
                  <a:gd name="connsiteY1693" fmla="*/ 2795 h 10000"/>
                  <a:gd name="connsiteX1694" fmla="*/ 3530 w 10785"/>
                  <a:gd name="connsiteY1694" fmla="*/ 2769 h 10000"/>
                  <a:gd name="connsiteX1695" fmla="*/ 3530 w 10785"/>
                  <a:gd name="connsiteY1695" fmla="*/ 2786 h 10000"/>
                  <a:gd name="connsiteX1696" fmla="*/ 3498 w 10785"/>
                  <a:gd name="connsiteY1696" fmla="*/ 2692 h 10000"/>
                  <a:gd name="connsiteX1697" fmla="*/ 3498 w 10785"/>
                  <a:gd name="connsiteY1697" fmla="*/ 2667 h 10000"/>
                  <a:gd name="connsiteX1698" fmla="*/ 3442 w 10785"/>
                  <a:gd name="connsiteY1698" fmla="*/ 2607 h 10000"/>
                  <a:gd name="connsiteX1699" fmla="*/ 3433 w 10785"/>
                  <a:gd name="connsiteY1699" fmla="*/ 2581 h 10000"/>
                  <a:gd name="connsiteX1700" fmla="*/ 3396 w 10785"/>
                  <a:gd name="connsiteY1700" fmla="*/ 2556 h 10000"/>
                  <a:gd name="connsiteX1701" fmla="*/ 3318 w 10785"/>
                  <a:gd name="connsiteY1701" fmla="*/ 2556 h 10000"/>
                  <a:gd name="connsiteX1702" fmla="*/ 3304 w 10785"/>
                  <a:gd name="connsiteY1702" fmla="*/ 2607 h 10000"/>
                  <a:gd name="connsiteX1703" fmla="*/ 3276 w 10785"/>
                  <a:gd name="connsiteY1703" fmla="*/ 2632 h 10000"/>
                  <a:gd name="connsiteX1704" fmla="*/ 3272 w 10785"/>
                  <a:gd name="connsiteY1704" fmla="*/ 2667 h 10000"/>
                  <a:gd name="connsiteX1705" fmla="*/ 3304 w 10785"/>
                  <a:gd name="connsiteY1705" fmla="*/ 2667 h 10000"/>
                  <a:gd name="connsiteX1706" fmla="*/ 3323 w 10785"/>
                  <a:gd name="connsiteY1706" fmla="*/ 2692 h 10000"/>
                  <a:gd name="connsiteX1707" fmla="*/ 3318 w 10785"/>
                  <a:gd name="connsiteY1707" fmla="*/ 2735 h 10000"/>
                  <a:gd name="connsiteX1708" fmla="*/ 3304 w 10785"/>
                  <a:gd name="connsiteY1708" fmla="*/ 2761 h 10000"/>
                  <a:gd name="connsiteX1709" fmla="*/ 3276 w 10785"/>
                  <a:gd name="connsiteY1709" fmla="*/ 2769 h 10000"/>
                  <a:gd name="connsiteX1710" fmla="*/ 3263 w 10785"/>
                  <a:gd name="connsiteY1710" fmla="*/ 2795 h 10000"/>
                  <a:gd name="connsiteX1711" fmla="*/ 3235 w 10785"/>
                  <a:gd name="connsiteY1711" fmla="*/ 2803 h 10000"/>
                  <a:gd name="connsiteX1712" fmla="*/ 3235 w 10785"/>
                  <a:gd name="connsiteY1712" fmla="*/ 2786 h 10000"/>
                  <a:gd name="connsiteX1713" fmla="*/ 3212 w 10785"/>
                  <a:gd name="connsiteY1713" fmla="*/ 2709 h 10000"/>
                  <a:gd name="connsiteX1714" fmla="*/ 3198 w 10785"/>
                  <a:gd name="connsiteY1714" fmla="*/ 2709 h 10000"/>
                  <a:gd name="connsiteX1715" fmla="*/ 3184 w 10785"/>
                  <a:gd name="connsiteY1715" fmla="*/ 2735 h 10000"/>
                  <a:gd name="connsiteX1716" fmla="*/ 3189 w 10785"/>
                  <a:gd name="connsiteY1716" fmla="*/ 2761 h 10000"/>
                  <a:gd name="connsiteX1717" fmla="*/ 3203 w 10785"/>
                  <a:gd name="connsiteY1717" fmla="*/ 2855 h 10000"/>
                  <a:gd name="connsiteX1718" fmla="*/ 3212 w 10785"/>
                  <a:gd name="connsiteY1718" fmla="*/ 2872 h 10000"/>
                  <a:gd name="connsiteX1719" fmla="*/ 3235 w 10785"/>
                  <a:gd name="connsiteY1719" fmla="*/ 2906 h 10000"/>
                  <a:gd name="connsiteX1720" fmla="*/ 3258 w 10785"/>
                  <a:gd name="connsiteY1720" fmla="*/ 2915 h 10000"/>
                  <a:gd name="connsiteX1721" fmla="*/ 3272 w 10785"/>
                  <a:gd name="connsiteY1721" fmla="*/ 2957 h 10000"/>
                  <a:gd name="connsiteX1722" fmla="*/ 3276 w 10785"/>
                  <a:gd name="connsiteY1722" fmla="*/ 2957 h 10000"/>
                  <a:gd name="connsiteX1723" fmla="*/ 3286 w 10785"/>
                  <a:gd name="connsiteY1723" fmla="*/ 2966 h 10000"/>
                  <a:gd name="connsiteX1724" fmla="*/ 3300 w 10785"/>
                  <a:gd name="connsiteY1724" fmla="*/ 2957 h 10000"/>
                  <a:gd name="connsiteX1725" fmla="*/ 3309 w 10785"/>
                  <a:gd name="connsiteY1725" fmla="*/ 2932 h 10000"/>
                  <a:gd name="connsiteX1726" fmla="*/ 3304 w 10785"/>
                  <a:gd name="connsiteY1726" fmla="*/ 2966 h 10000"/>
                  <a:gd name="connsiteX1727" fmla="*/ 3309 w 10785"/>
                  <a:gd name="connsiteY1727" fmla="*/ 2983 h 10000"/>
                  <a:gd name="connsiteX1728" fmla="*/ 3323 w 10785"/>
                  <a:gd name="connsiteY1728" fmla="*/ 2966 h 10000"/>
                  <a:gd name="connsiteX1729" fmla="*/ 3323 w 10785"/>
                  <a:gd name="connsiteY1729" fmla="*/ 3043 h 10000"/>
                  <a:gd name="connsiteX1730" fmla="*/ 3346 w 10785"/>
                  <a:gd name="connsiteY1730" fmla="*/ 3068 h 10000"/>
                  <a:gd name="connsiteX1731" fmla="*/ 3346 w 10785"/>
                  <a:gd name="connsiteY1731" fmla="*/ 3094 h 10000"/>
                  <a:gd name="connsiteX1732" fmla="*/ 3323 w 10785"/>
                  <a:gd name="connsiteY1732" fmla="*/ 3094 h 10000"/>
                  <a:gd name="connsiteX1733" fmla="*/ 3309 w 10785"/>
                  <a:gd name="connsiteY1733" fmla="*/ 3077 h 10000"/>
                  <a:gd name="connsiteX1734" fmla="*/ 3304 w 10785"/>
                  <a:gd name="connsiteY1734" fmla="*/ 3051 h 10000"/>
                  <a:gd name="connsiteX1735" fmla="*/ 3300 w 10785"/>
                  <a:gd name="connsiteY1735" fmla="*/ 3043 h 10000"/>
                  <a:gd name="connsiteX1736" fmla="*/ 3286 w 10785"/>
                  <a:gd name="connsiteY1736" fmla="*/ 3017 h 10000"/>
                  <a:gd name="connsiteX1737" fmla="*/ 3152 w 10785"/>
                  <a:gd name="connsiteY1737" fmla="*/ 2966 h 10000"/>
                  <a:gd name="connsiteX1738" fmla="*/ 3129 w 10785"/>
                  <a:gd name="connsiteY1738" fmla="*/ 2915 h 10000"/>
                  <a:gd name="connsiteX1739" fmla="*/ 3129 w 10785"/>
                  <a:gd name="connsiteY1739" fmla="*/ 2906 h 10000"/>
                  <a:gd name="connsiteX1740" fmla="*/ 3152 w 10785"/>
                  <a:gd name="connsiteY1740" fmla="*/ 2906 h 10000"/>
                  <a:gd name="connsiteX1741" fmla="*/ 3152 w 10785"/>
                  <a:gd name="connsiteY1741" fmla="*/ 2846 h 10000"/>
                  <a:gd name="connsiteX1742" fmla="*/ 3138 w 10785"/>
                  <a:gd name="connsiteY1742" fmla="*/ 2795 h 10000"/>
                  <a:gd name="connsiteX1743" fmla="*/ 3138 w 10785"/>
                  <a:gd name="connsiteY1743" fmla="*/ 2769 h 10000"/>
                  <a:gd name="connsiteX1744" fmla="*/ 3143 w 10785"/>
                  <a:gd name="connsiteY1744" fmla="*/ 2718 h 10000"/>
                  <a:gd name="connsiteX1745" fmla="*/ 3129 w 10785"/>
                  <a:gd name="connsiteY1745" fmla="*/ 2692 h 10000"/>
                  <a:gd name="connsiteX1746" fmla="*/ 3143 w 10785"/>
                  <a:gd name="connsiteY1746" fmla="*/ 2667 h 10000"/>
                  <a:gd name="connsiteX1747" fmla="*/ 3157 w 10785"/>
                  <a:gd name="connsiteY1747" fmla="*/ 2581 h 10000"/>
                  <a:gd name="connsiteX1748" fmla="*/ 3143 w 10785"/>
                  <a:gd name="connsiteY1748" fmla="*/ 2496 h 10000"/>
                  <a:gd name="connsiteX1749" fmla="*/ 3157 w 10785"/>
                  <a:gd name="connsiteY1749" fmla="*/ 2487 h 10000"/>
                  <a:gd name="connsiteX1750" fmla="*/ 3143 w 10785"/>
                  <a:gd name="connsiteY1750" fmla="*/ 2444 h 10000"/>
                  <a:gd name="connsiteX1751" fmla="*/ 3143 w 10785"/>
                  <a:gd name="connsiteY1751" fmla="*/ 2419 h 10000"/>
                  <a:gd name="connsiteX1752" fmla="*/ 3143 w 10785"/>
                  <a:gd name="connsiteY1752" fmla="*/ 2410 h 10000"/>
                  <a:gd name="connsiteX1753" fmla="*/ 3124 w 10785"/>
                  <a:gd name="connsiteY1753" fmla="*/ 2376 h 10000"/>
                  <a:gd name="connsiteX1754" fmla="*/ 3115 w 10785"/>
                  <a:gd name="connsiteY1754" fmla="*/ 2350 h 10000"/>
                  <a:gd name="connsiteX1755" fmla="*/ 3101 w 10785"/>
                  <a:gd name="connsiteY1755" fmla="*/ 2359 h 10000"/>
                  <a:gd name="connsiteX1756" fmla="*/ 3115 w 10785"/>
                  <a:gd name="connsiteY1756" fmla="*/ 2581 h 10000"/>
                  <a:gd name="connsiteX1757" fmla="*/ 3111 w 10785"/>
                  <a:gd name="connsiteY1757" fmla="*/ 2624 h 10000"/>
                  <a:gd name="connsiteX1758" fmla="*/ 3009 w 10785"/>
                  <a:gd name="connsiteY1758" fmla="*/ 2761 h 10000"/>
                  <a:gd name="connsiteX1759" fmla="*/ 3009 w 10785"/>
                  <a:gd name="connsiteY1759" fmla="*/ 2803 h 10000"/>
                  <a:gd name="connsiteX1760" fmla="*/ 3005 w 10785"/>
                  <a:gd name="connsiteY1760" fmla="*/ 2829 h 10000"/>
                  <a:gd name="connsiteX1761" fmla="*/ 2982 w 10785"/>
                  <a:gd name="connsiteY1761" fmla="*/ 2872 h 10000"/>
                  <a:gd name="connsiteX1762" fmla="*/ 2982 w 10785"/>
                  <a:gd name="connsiteY1762" fmla="*/ 2880 h 10000"/>
                  <a:gd name="connsiteX1763" fmla="*/ 3037 w 10785"/>
                  <a:gd name="connsiteY1763" fmla="*/ 3034 h 10000"/>
                  <a:gd name="connsiteX1764" fmla="*/ 3041 w 10785"/>
                  <a:gd name="connsiteY1764" fmla="*/ 3103 h 10000"/>
                  <a:gd name="connsiteX1765" fmla="*/ 3069 w 10785"/>
                  <a:gd name="connsiteY1765" fmla="*/ 3188 h 10000"/>
                  <a:gd name="connsiteX1766" fmla="*/ 3055 w 10785"/>
                  <a:gd name="connsiteY1766" fmla="*/ 3325 h 10000"/>
                  <a:gd name="connsiteX1767" fmla="*/ 3037 w 10785"/>
                  <a:gd name="connsiteY1767" fmla="*/ 3368 h 10000"/>
                  <a:gd name="connsiteX1768" fmla="*/ 3037 w 10785"/>
                  <a:gd name="connsiteY1768" fmla="*/ 3444 h 10000"/>
                  <a:gd name="connsiteX1769" fmla="*/ 3028 w 10785"/>
                  <a:gd name="connsiteY1769" fmla="*/ 3453 h 10000"/>
                  <a:gd name="connsiteX1770" fmla="*/ 3023 w 10785"/>
                  <a:gd name="connsiteY1770" fmla="*/ 3530 h 10000"/>
                  <a:gd name="connsiteX1771" fmla="*/ 3051 w 10785"/>
                  <a:gd name="connsiteY1771" fmla="*/ 3624 h 10000"/>
                  <a:gd name="connsiteX1772" fmla="*/ 3037 w 10785"/>
                  <a:gd name="connsiteY1772" fmla="*/ 3718 h 10000"/>
                  <a:gd name="connsiteX1773" fmla="*/ 3041 w 10785"/>
                  <a:gd name="connsiteY1773" fmla="*/ 3752 h 10000"/>
                  <a:gd name="connsiteX1774" fmla="*/ 3055 w 10785"/>
                  <a:gd name="connsiteY1774" fmla="*/ 3761 h 10000"/>
                  <a:gd name="connsiteX1775" fmla="*/ 3078 w 10785"/>
                  <a:gd name="connsiteY1775" fmla="*/ 3752 h 10000"/>
                  <a:gd name="connsiteX1776" fmla="*/ 3092 w 10785"/>
                  <a:gd name="connsiteY1776" fmla="*/ 3752 h 10000"/>
                  <a:gd name="connsiteX1777" fmla="*/ 3129 w 10785"/>
                  <a:gd name="connsiteY1777" fmla="*/ 3761 h 10000"/>
                  <a:gd name="connsiteX1778" fmla="*/ 3129 w 10785"/>
                  <a:gd name="connsiteY1778" fmla="*/ 3735 h 10000"/>
                  <a:gd name="connsiteX1779" fmla="*/ 3157 w 10785"/>
                  <a:gd name="connsiteY1779" fmla="*/ 3718 h 10000"/>
                  <a:gd name="connsiteX1780" fmla="*/ 3184 w 10785"/>
                  <a:gd name="connsiteY1780" fmla="*/ 3718 h 10000"/>
                  <a:gd name="connsiteX1781" fmla="*/ 3290 w 10785"/>
                  <a:gd name="connsiteY1781" fmla="*/ 3838 h 10000"/>
                  <a:gd name="connsiteX1782" fmla="*/ 3300 w 10785"/>
                  <a:gd name="connsiteY1782" fmla="*/ 3846 h 10000"/>
                  <a:gd name="connsiteX1783" fmla="*/ 3300 w 10785"/>
                  <a:gd name="connsiteY1783" fmla="*/ 3915 h 10000"/>
                  <a:gd name="connsiteX1784" fmla="*/ 3318 w 10785"/>
                  <a:gd name="connsiteY1784" fmla="*/ 4000 h 10000"/>
                  <a:gd name="connsiteX1785" fmla="*/ 3323 w 10785"/>
                  <a:gd name="connsiteY1785" fmla="*/ 4000 h 10000"/>
                  <a:gd name="connsiteX1786" fmla="*/ 3323 w 10785"/>
                  <a:gd name="connsiteY1786" fmla="*/ 4034 h 10000"/>
                  <a:gd name="connsiteX1787" fmla="*/ 3318 w 10785"/>
                  <a:gd name="connsiteY1787" fmla="*/ 4051 h 10000"/>
                  <a:gd name="connsiteX1788" fmla="*/ 3300 w 10785"/>
                  <a:gd name="connsiteY1788" fmla="*/ 4051 h 10000"/>
                  <a:gd name="connsiteX1789" fmla="*/ 3290 w 10785"/>
                  <a:gd name="connsiteY1789" fmla="*/ 4077 h 10000"/>
                  <a:gd name="connsiteX1790" fmla="*/ 3286 w 10785"/>
                  <a:gd name="connsiteY1790" fmla="*/ 4103 h 10000"/>
                  <a:gd name="connsiteX1791" fmla="*/ 3286 w 10785"/>
                  <a:gd name="connsiteY1791" fmla="*/ 4197 h 10000"/>
                  <a:gd name="connsiteX1792" fmla="*/ 3290 w 10785"/>
                  <a:gd name="connsiteY1792" fmla="*/ 4214 h 10000"/>
                  <a:gd name="connsiteX1793" fmla="*/ 3304 w 10785"/>
                  <a:gd name="connsiteY1793" fmla="*/ 4214 h 10000"/>
                  <a:gd name="connsiteX1794" fmla="*/ 3323 w 10785"/>
                  <a:gd name="connsiteY1794" fmla="*/ 4239 h 10000"/>
                  <a:gd name="connsiteX1795" fmla="*/ 3350 w 10785"/>
                  <a:gd name="connsiteY1795" fmla="*/ 4222 h 10000"/>
                  <a:gd name="connsiteX1796" fmla="*/ 3369 w 10785"/>
                  <a:gd name="connsiteY1796" fmla="*/ 4256 h 10000"/>
                  <a:gd name="connsiteX1797" fmla="*/ 3369 w 10785"/>
                  <a:gd name="connsiteY1797" fmla="*/ 4256 h 10000"/>
                  <a:gd name="connsiteX1798" fmla="*/ 3336 w 10785"/>
                  <a:gd name="connsiteY1798" fmla="*/ 4274 h 10000"/>
                  <a:gd name="connsiteX1799" fmla="*/ 3323 w 10785"/>
                  <a:gd name="connsiteY1799" fmla="*/ 4274 h 10000"/>
                  <a:gd name="connsiteX1800" fmla="*/ 3290 w 10785"/>
                  <a:gd name="connsiteY1800" fmla="*/ 4274 h 10000"/>
                  <a:gd name="connsiteX1801" fmla="*/ 3286 w 10785"/>
                  <a:gd name="connsiteY1801" fmla="*/ 4239 h 10000"/>
                  <a:gd name="connsiteX1802" fmla="*/ 3263 w 10785"/>
                  <a:gd name="connsiteY1802" fmla="*/ 4214 h 10000"/>
                  <a:gd name="connsiteX1803" fmla="*/ 3258 w 10785"/>
                  <a:gd name="connsiteY1803" fmla="*/ 4188 h 10000"/>
                  <a:gd name="connsiteX1804" fmla="*/ 3263 w 10785"/>
                  <a:gd name="connsiteY1804" fmla="*/ 4171 h 10000"/>
                  <a:gd name="connsiteX1805" fmla="*/ 3263 w 10785"/>
                  <a:gd name="connsiteY1805" fmla="*/ 4103 h 10000"/>
                  <a:gd name="connsiteX1806" fmla="*/ 3276 w 10785"/>
                  <a:gd name="connsiteY1806" fmla="*/ 4060 h 10000"/>
                  <a:gd name="connsiteX1807" fmla="*/ 3272 w 10785"/>
                  <a:gd name="connsiteY1807" fmla="*/ 4051 h 10000"/>
                  <a:gd name="connsiteX1808" fmla="*/ 3263 w 10785"/>
                  <a:gd name="connsiteY1808" fmla="*/ 4051 h 10000"/>
                  <a:gd name="connsiteX1809" fmla="*/ 3263 w 10785"/>
                  <a:gd name="connsiteY1809" fmla="*/ 4034 h 10000"/>
                  <a:gd name="connsiteX1810" fmla="*/ 3263 w 10785"/>
                  <a:gd name="connsiteY1810" fmla="*/ 4000 h 10000"/>
                  <a:gd name="connsiteX1811" fmla="*/ 3272 w 10785"/>
                  <a:gd name="connsiteY1811" fmla="*/ 4000 h 10000"/>
                  <a:gd name="connsiteX1812" fmla="*/ 3272 w 10785"/>
                  <a:gd name="connsiteY1812" fmla="*/ 3974 h 10000"/>
                  <a:gd name="connsiteX1813" fmla="*/ 3272 w 10785"/>
                  <a:gd name="connsiteY1813" fmla="*/ 3966 h 10000"/>
                  <a:gd name="connsiteX1814" fmla="*/ 3272 w 10785"/>
                  <a:gd name="connsiteY1814" fmla="*/ 3949 h 10000"/>
                  <a:gd name="connsiteX1815" fmla="*/ 3258 w 10785"/>
                  <a:gd name="connsiteY1815" fmla="*/ 3923 h 10000"/>
                  <a:gd name="connsiteX1816" fmla="*/ 3249 w 10785"/>
                  <a:gd name="connsiteY1816" fmla="*/ 3915 h 10000"/>
                  <a:gd name="connsiteX1817" fmla="*/ 3244 w 10785"/>
                  <a:gd name="connsiteY1817" fmla="*/ 3897 h 10000"/>
                  <a:gd name="connsiteX1818" fmla="*/ 3230 w 10785"/>
                  <a:gd name="connsiteY1818" fmla="*/ 3889 h 10000"/>
                  <a:gd name="connsiteX1819" fmla="*/ 3230 w 10785"/>
                  <a:gd name="connsiteY1819" fmla="*/ 3863 h 10000"/>
                  <a:gd name="connsiteX1820" fmla="*/ 3230 w 10785"/>
                  <a:gd name="connsiteY1820" fmla="*/ 3838 h 10000"/>
                  <a:gd name="connsiteX1821" fmla="*/ 3226 w 10785"/>
                  <a:gd name="connsiteY1821" fmla="*/ 3803 h 10000"/>
                  <a:gd name="connsiteX1822" fmla="*/ 3138 w 10785"/>
                  <a:gd name="connsiteY1822" fmla="*/ 3838 h 10000"/>
                  <a:gd name="connsiteX1823" fmla="*/ 3078 w 10785"/>
                  <a:gd name="connsiteY1823" fmla="*/ 3889 h 10000"/>
                  <a:gd name="connsiteX1824" fmla="*/ 3078 w 10785"/>
                  <a:gd name="connsiteY1824" fmla="*/ 3940 h 10000"/>
                  <a:gd name="connsiteX1825" fmla="*/ 3069 w 10785"/>
                  <a:gd name="connsiteY1825" fmla="*/ 3983 h 10000"/>
                  <a:gd name="connsiteX1826" fmla="*/ 3069 w 10785"/>
                  <a:gd name="connsiteY1826" fmla="*/ 4009 h 10000"/>
                  <a:gd name="connsiteX1827" fmla="*/ 3078 w 10785"/>
                  <a:gd name="connsiteY1827" fmla="*/ 4026 h 10000"/>
                  <a:gd name="connsiteX1828" fmla="*/ 3083 w 10785"/>
                  <a:gd name="connsiteY1828" fmla="*/ 4034 h 10000"/>
                  <a:gd name="connsiteX1829" fmla="*/ 3092 w 10785"/>
                  <a:gd name="connsiteY1829" fmla="*/ 4060 h 10000"/>
                  <a:gd name="connsiteX1830" fmla="*/ 3092 w 10785"/>
                  <a:gd name="connsiteY1830" fmla="*/ 4077 h 10000"/>
                  <a:gd name="connsiteX1831" fmla="*/ 3097 w 10785"/>
                  <a:gd name="connsiteY1831" fmla="*/ 4103 h 10000"/>
                  <a:gd name="connsiteX1832" fmla="*/ 3101 w 10785"/>
                  <a:gd name="connsiteY1832" fmla="*/ 4162 h 10000"/>
                  <a:gd name="connsiteX1833" fmla="*/ 3097 w 10785"/>
                  <a:gd name="connsiteY1833" fmla="*/ 4222 h 10000"/>
                  <a:gd name="connsiteX1834" fmla="*/ 3041 w 10785"/>
                  <a:gd name="connsiteY1834" fmla="*/ 4325 h 10000"/>
                  <a:gd name="connsiteX1835" fmla="*/ 3037 w 10785"/>
                  <a:gd name="connsiteY1835" fmla="*/ 4419 h 10000"/>
                  <a:gd name="connsiteX1836" fmla="*/ 3018 w 10785"/>
                  <a:gd name="connsiteY1836" fmla="*/ 4470 h 10000"/>
                  <a:gd name="connsiteX1837" fmla="*/ 2991 w 10785"/>
                  <a:gd name="connsiteY1837" fmla="*/ 4513 h 10000"/>
                  <a:gd name="connsiteX1838" fmla="*/ 2977 w 10785"/>
                  <a:gd name="connsiteY1838" fmla="*/ 4530 h 10000"/>
                  <a:gd name="connsiteX1839" fmla="*/ 2945 w 10785"/>
                  <a:gd name="connsiteY1839" fmla="*/ 4556 h 10000"/>
                  <a:gd name="connsiteX1840" fmla="*/ 2935 w 10785"/>
                  <a:gd name="connsiteY1840" fmla="*/ 4581 h 10000"/>
                  <a:gd name="connsiteX1841" fmla="*/ 2949 w 10785"/>
                  <a:gd name="connsiteY1841" fmla="*/ 4624 h 10000"/>
                  <a:gd name="connsiteX1842" fmla="*/ 2945 w 10785"/>
                  <a:gd name="connsiteY1842" fmla="*/ 4658 h 10000"/>
                  <a:gd name="connsiteX1843" fmla="*/ 2922 w 10785"/>
                  <a:gd name="connsiteY1843" fmla="*/ 4667 h 10000"/>
                  <a:gd name="connsiteX1844" fmla="*/ 2876 w 10785"/>
                  <a:gd name="connsiteY1844" fmla="*/ 4632 h 10000"/>
                  <a:gd name="connsiteX1845" fmla="*/ 2857 w 10785"/>
                  <a:gd name="connsiteY1845" fmla="*/ 4632 h 10000"/>
                  <a:gd name="connsiteX1846" fmla="*/ 2820 w 10785"/>
                  <a:gd name="connsiteY1846" fmla="*/ 4641 h 10000"/>
                  <a:gd name="connsiteX1847" fmla="*/ 2797 w 10785"/>
                  <a:gd name="connsiteY1847" fmla="*/ 4632 h 10000"/>
                  <a:gd name="connsiteX1848" fmla="*/ 2788 w 10785"/>
                  <a:gd name="connsiteY1848" fmla="*/ 4624 h 10000"/>
                  <a:gd name="connsiteX1849" fmla="*/ 2788 w 10785"/>
                  <a:gd name="connsiteY1849" fmla="*/ 4598 h 10000"/>
                  <a:gd name="connsiteX1850" fmla="*/ 2797 w 10785"/>
                  <a:gd name="connsiteY1850" fmla="*/ 4581 h 10000"/>
                  <a:gd name="connsiteX1851" fmla="*/ 2788 w 10785"/>
                  <a:gd name="connsiteY1851" fmla="*/ 4530 h 10000"/>
                  <a:gd name="connsiteX1852" fmla="*/ 2774 w 10785"/>
                  <a:gd name="connsiteY1852" fmla="*/ 4530 h 10000"/>
                  <a:gd name="connsiteX1853" fmla="*/ 2770 w 10785"/>
                  <a:gd name="connsiteY1853" fmla="*/ 4513 h 10000"/>
                  <a:gd name="connsiteX1854" fmla="*/ 2774 w 10785"/>
                  <a:gd name="connsiteY1854" fmla="*/ 4513 h 10000"/>
                  <a:gd name="connsiteX1855" fmla="*/ 2788 w 10785"/>
                  <a:gd name="connsiteY1855" fmla="*/ 4496 h 10000"/>
                  <a:gd name="connsiteX1856" fmla="*/ 2802 w 10785"/>
                  <a:gd name="connsiteY1856" fmla="*/ 4513 h 10000"/>
                  <a:gd name="connsiteX1857" fmla="*/ 2811 w 10785"/>
                  <a:gd name="connsiteY1857" fmla="*/ 4530 h 10000"/>
                  <a:gd name="connsiteX1858" fmla="*/ 2820 w 10785"/>
                  <a:gd name="connsiteY1858" fmla="*/ 4521 h 10000"/>
                  <a:gd name="connsiteX1859" fmla="*/ 2829 w 10785"/>
                  <a:gd name="connsiteY1859" fmla="*/ 4513 h 10000"/>
                  <a:gd name="connsiteX1860" fmla="*/ 2843 w 10785"/>
                  <a:gd name="connsiteY1860" fmla="*/ 4513 h 10000"/>
                  <a:gd name="connsiteX1861" fmla="*/ 2848 w 10785"/>
                  <a:gd name="connsiteY1861" fmla="*/ 4470 h 10000"/>
                  <a:gd name="connsiteX1862" fmla="*/ 2862 w 10785"/>
                  <a:gd name="connsiteY1862" fmla="*/ 4487 h 10000"/>
                  <a:gd name="connsiteX1863" fmla="*/ 2876 w 10785"/>
                  <a:gd name="connsiteY1863" fmla="*/ 4470 h 10000"/>
                  <a:gd name="connsiteX1864" fmla="*/ 2880 w 10785"/>
                  <a:gd name="connsiteY1864" fmla="*/ 4462 h 10000"/>
                  <a:gd name="connsiteX1865" fmla="*/ 2889 w 10785"/>
                  <a:gd name="connsiteY1865" fmla="*/ 4444 h 10000"/>
                  <a:gd name="connsiteX1866" fmla="*/ 2894 w 10785"/>
                  <a:gd name="connsiteY1866" fmla="*/ 4462 h 10000"/>
                  <a:gd name="connsiteX1867" fmla="*/ 2917 w 10785"/>
                  <a:gd name="connsiteY1867" fmla="*/ 4444 h 10000"/>
                  <a:gd name="connsiteX1868" fmla="*/ 2922 w 10785"/>
                  <a:gd name="connsiteY1868" fmla="*/ 4436 h 10000"/>
                  <a:gd name="connsiteX1869" fmla="*/ 2917 w 10785"/>
                  <a:gd name="connsiteY1869" fmla="*/ 4410 h 10000"/>
                  <a:gd name="connsiteX1870" fmla="*/ 2894 w 10785"/>
                  <a:gd name="connsiteY1870" fmla="*/ 4410 h 10000"/>
                  <a:gd name="connsiteX1871" fmla="*/ 2889 w 10785"/>
                  <a:gd name="connsiteY1871" fmla="*/ 4419 h 10000"/>
                  <a:gd name="connsiteX1872" fmla="*/ 2876 w 10785"/>
                  <a:gd name="connsiteY1872" fmla="*/ 4410 h 10000"/>
                  <a:gd name="connsiteX1873" fmla="*/ 2880 w 10785"/>
                  <a:gd name="connsiteY1873" fmla="*/ 4376 h 10000"/>
                  <a:gd name="connsiteX1874" fmla="*/ 2903 w 10785"/>
                  <a:gd name="connsiteY1874" fmla="*/ 4393 h 10000"/>
                  <a:gd name="connsiteX1875" fmla="*/ 2931 w 10785"/>
                  <a:gd name="connsiteY1875" fmla="*/ 4393 h 10000"/>
                  <a:gd name="connsiteX1876" fmla="*/ 2931 w 10785"/>
                  <a:gd name="connsiteY1876" fmla="*/ 4385 h 10000"/>
                  <a:gd name="connsiteX1877" fmla="*/ 2931 w 10785"/>
                  <a:gd name="connsiteY1877" fmla="*/ 4350 h 10000"/>
                  <a:gd name="connsiteX1878" fmla="*/ 2945 w 10785"/>
                  <a:gd name="connsiteY1878" fmla="*/ 4350 h 10000"/>
                  <a:gd name="connsiteX1879" fmla="*/ 2949 w 10785"/>
                  <a:gd name="connsiteY1879" fmla="*/ 4325 h 10000"/>
                  <a:gd name="connsiteX1880" fmla="*/ 2963 w 10785"/>
                  <a:gd name="connsiteY1880" fmla="*/ 4256 h 10000"/>
                  <a:gd name="connsiteX1881" fmla="*/ 2982 w 10785"/>
                  <a:gd name="connsiteY1881" fmla="*/ 4239 h 10000"/>
                  <a:gd name="connsiteX1882" fmla="*/ 2991 w 10785"/>
                  <a:gd name="connsiteY1882" fmla="*/ 4214 h 10000"/>
                  <a:gd name="connsiteX1883" fmla="*/ 2991 w 10785"/>
                  <a:gd name="connsiteY1883" fmla="*/ 4197 h 10000"/>
                  <a:gd name="connsiteX1884" fmla="*/ 2995 w 10785"/>
                  <a:gd name="connsiteY1884" fmla="*/ 4171 h 10000"/>
                  <a:gd name="connsiteX1885" fmla="*/ 2991 w 10785"/>
                  <a:gd name="connsiteY1885" fmla="*/ 4077 h 10000"/>
                  <a:gd name="connsiteX1886" fmla="*/ 2995 w 10785"/>
                  <a:gd name="connsiteY1886" fmla="*/ 4034 h 10000"/>
                  <a:gd name="connsiteX1887" fmla="*/ 3018 w 10785"/>
                  <a:gd name="connsiteY1887" fmla="*/ 3983 h 10000"/>
                  <a:gd name="connsiteX1888" fmla="*/ 3018 w 10785"/>
                  <a:gd name="connsiteY1888" fmla="*/ 3915 h 10000"/>
                  <a:gd name="connsiteX1889" fmla="*/ 2949 w 10785"/>
                  <a:gd name="connsiteY1889" fmla="*/ 3778 h 10000"/>
                  <a:gd name="connsiteX1890" fmla="*/ 2954 w 10785"/>
                  <a:gd name="connsiteY1890" fmla="*/ 3675 h 10000"/>
                  <a:gd name="connsiteX1891" fmla="*/ 2954 w 10785"/>
                  <a:gd name="connsiteY1891" fmla="*/ 3650 h 10000"/>
                  <a:gd name="connsiteX1892" fmla="*/ 2963 w 10785"/>
                  <a:gd name="connsiteY1892" fmla="*/ 3624 h 10000"/>
                  <a:gd name="connsiteX1893" fmla="*/ 2954 w 10785"/>
                  <a:gd name="connsiteY1893" fmla="*/ 3564 h 10000"/>
                  <a:gd name="connsiteX1894" fmla="*/ 2963 w 10785"/>
                  <a:gd name="connsiteY1894" fmla="*/ 3538 h 10000"/>
                  <a:gd name="connsiteX1895" fmla="*/ 2963 w 10785"/>
                  <a:gd name="connsiteY1895" fmla="*/ 3487 h 10000"/>
                  <a:gd name="connsiteX1896" fmla="*/ 2963 w 10785"/>
                  <a:gd name="connsiteY1896" fmla="*/ 3479 h 10000"/>
                  <a:gd name="connsiteX1897" fmla="*/ 2963 w 10785"/>
                  <a:gd name="connsiteY1897" fmla="*/ 3462 h 10000"/>
                  <a:gd name="connsiteX1898" fmla="*/ 2954 w 10785"/>
                  <a:gd name="connsiteY1898" fmla="*/ 3453 h 10000"/>
                  <a:gd name="connsiteX1899" fmla="*/ 2954 w 10785"/>
                  <a:gd name="connsiteY1899" fmla="*/ 3444 h 10000"/>
                  <a:gd name="connsiteX1900" fmla="*/ 2954 w 10785"/>
                  <a:gd name="connsiteY1900" fmla="*/ 3402 h 10000"/>
                  <a:gd name="connsiteX1901" fmla="*/ 2954 w 10785"/>
                  <a:gd name="connsiteY1901" fmla="*/ 3393 h 10000"/>
                  <a:gd name="connsiteX1902" fmla="*/ 2949 w 10785"/>
                  <a:gd name="connsiteY1902" fmla="*/ 3376 h 10000"/>
                  <a:gd name="connsiteX1903" fmla="*/ 2949 w 10785"/>
                  <a:gd name="connsiteY1903" fmla="*/ 3342 h 10000"/>
                  <a:gd name="connsiteX1904" fmla="*/ 2949 w 10785"/>
                  <a:gd name="connsiteY1904" fmla="*/ 3316 h 10000"/>
                  <a:gd name="connsiteX1905" fmla="*/ 2968 w 10785"/>
                  <a:gd name="connsiteY1905" fmla="*/ 3291 h 10000"/>
                  <a:gd name="connsiteX1906" fmla="*/ 2963 w 10785"/>
                  <a:gd name="connsiteY1906" fmla="*/ 3205 h 10000"/>
                  <a:gd name="connsiteX1907" fmla="*/ 2968 w 10785"/>
                  <a:gd name="connsiteY1907" fmla="*/ 3171 h 10000"/>
                  <a:gd name="connsiteX1908" fmla="*/ 2968 w 10785"/>
                  <a:gd name="connsiteY1908" fmla="*/ 3128 h 10000"/>
                  <a:gd name="connsiteX1909" fmla="*/ 2954 w 10785"/>
                  <a:gd name="connsiteY1909" fmla="*/ 3051 h 10000"/>
                  <a:gd name="connsiteX1910" fmla="*/ 2954 w 10785"/>
                  <a:gd name="connsiteY1910" fmla="*/ 3009 h 10000"/>
                  <a:gd name="connsiteX1911" fmla="*/ 2922 w 10785"/>
                  <a:gd name="connsiteY1911" fmla="*/ 2940 h 10000"/>
                  <a:gd name="connsiteX1912" fmla="*/ 2903 w 10785"/>
                  <a:gd name="connsiteY1912" fmla="*/ 2880 h 10000"/>
                  <a:gd name="connsiteX1913" fmla="*/ 2903 w 10785"/>
                  <a:gd name="connsiteY1913" fmla="*/ 2855 h 10000"/>
                  <a:gd name="connsiteX1914" fmla="*/ 2908 w 10785"/>
                  <a:gd name="connsiteY1914" fmla="*/ 2846 h 10000"/>
                  <a:gd name="connsiteX1915" fmla="*/ 2931 w 10785"/>
                  <a:gd name="connsiteY1915" fmla="*/ 2821 h 10000"/>
                  <a:gd name="connsiteX1916" fmla="*/ 2931 w 10785"/>
                  <a:gd name="connsiteY1916" fmla="*/ 2803 h 10000"/>
                  <a:gd name="connsiteX1917" fmla="*/ 2935 w 10785"/>
                  <a:gd name="connsiteY1917" fmla="*/ 2786 h 10000"/>
                  <a:gd name="connsiteX1918" fmla="*/ 2935 w 10785"/>
                  <a:gd name="connsiteY1918" fmla="*/ 2744 h 10000"/>
                  <a:gd name="connsiteX1919" fmla="*/ 2963 w 10785"/>
                  <a:gd name="connsiteY1919" fmla="*/ 2607 h 10000"/>
                  <a:gd name="connsiteX1920" fmla="*/ 2963 w 10785"/>
                  <a:gd name="connsiteY1920" fmla="*/ 2419 h 10000"/>
                  <a:gd name="connsiteX1921" fmla="*/ 2954 w 10785"/>
                  <a:gd name="connsiteY1921" fmla="*/ 2410 h 10000"/>
                  <a:gd name="connsiteX1922" fmla="*/ 2963 w 10785"/>
                  <a:gd name="connsiteY1922" fmla="*/ 2393 h 10000"/>
                  <a:gd name="connsiteX1923" fmla="*/ 2908 w 10785"/>
                  <a:gd name="connsiteY1923" fmla="*/ 2359 h 10000"/>
                  <a:gd name="connsiteX1924" fmla="*/ 2889 w 10785"/>
                  <a:gd name="connsiteY1924" fmla="*/ 2325 h 10000"/>
                  <a:gd name="connsiteX1925" fmla="*/ 2788 w 10785"/>
                  <a:gd name="connsiteY1925" fmla="*/ 2333 h 10000"/>
                  <a:gd name="connsiteX1926" fmla="*/ 2774 w 10785"/>
                  <a:gd name="connsiteY1926" fmla="*/ 2325 h 10000"/>
                  <a:gd name="connsiteX1927" fmla="*/ 2783 w 10785"/>
                  <a:gd name="connsiteY1927" fmla="*/ 2308 h 10000"/>
                  <a:gd name="connsiteX1928" fmla="*/ 2747 w 10785"/>
                  <a:gd name="connsiteY1928" fmla="*/ 2308 h 10000"/>
                  <a:gd name="connsiteX1929" fmla="*/ 2742 w 10785"/>
                  <a:gd name="connsiteY1929" fmla="*/ 2333 h 10000"/>
                  <a:gd name="connsiteX1930" fmla="*/ 2682 w 10785"/>
                  <a:gd name="connsiteY1930" fmla="*/ 2769 h 10000"/>
                  <a:gd name="connsiteX1931" fmla="*/ 2613 w 10785"/>
                  <a:gd name="connsiteY1931" fmla="*/ 2940 h 10000"/>
                  <a:gd name="connsiteX1932" fmla="*/ 2581 w 10785"/>
                  <a:gd name="connsiteY1932" fmla="*/ 2966 h 10000"/>
                  <a:gd name="connsiteX1933" fmla="*/ 2576 w 10785"/>
                  <a:gd name="connsiteY1933" fmla="*/ 3051 h 10000"/>
                  <a:gd name="connsiteX1934" fmla="*/ 2581 w 10785"/>
                  <a:gd name="connsiteY1934" fmla="*/ 3051 h 10000"/>
                  <a:gd name="connsiteX1935" fmla="*/ 2594 w 10785"/>
                  <a:gd name="connsiteY1935" fmla="*/ 3017 h 10000"/>
                  <a:gd name="connsiteX1936" fmla="*/ 2594 w 10785"/>
                  <a:gd name="connsiteY1936" fmla="*/ 3034 h 10000"/>
                  <a:gd name="connsiteX1937" fmla="*/ 2594 w 10785"/>
                  <a:gd name="connsiteY1937" fmla="*/ 3051 h 10000"/>
                  <a:gd name="connsiteX1938" fmla="*/ 2590 w 10785"/>
                  <a:gd name="connsiteY1938" fmla="*/ 3077 h 10000"/>
                  <a:gd name="connsiteX1939" fmla="*/ 2567 w 10785"/>
                  <a:gd name="connsiteY1939" fmla="*/ 3103 h 10000"/>
                  <a:gd name="connsiteX1940" fmla="*/ 2562 w 10785"/>
                  <a:gd name="connsiteY1940" fmla="*/ 3145 h 10000"/>
                  <a:gd name="connsiteX1941" fmla="*/ 2567 w 10785"/>
                  <a:gd name="connsiteY1941" fmla="*/ 3179 h 10000"/>
                  <a:gd name="connsiteX1942" fmla="*/ 2590 w 10785"/>
                  <a:gd name="connsiteY1942" fmla="*/ 3171 h 10000"/>
                  <a:gd name="connsiteX1943" fmla="*/ 2594 w 10785"/>
                  <a:gd name="connsiteY1943" fmla="*/ 3145 h 10000"/>
                  <a:gd name="connsiteX1944" fmla="*/ 2613 w 10785"/>
                  <a:gd name="connsiteY1944" fmla="*/ 3154 h 10000"/>
                  <a:gd name="connsiteX1945" fmla="*/ 2622 w 10785"/>
                  <a:gd name="connsiteY1945" fmla="*/ 3179 h 10000"/>
                  <a:gd name="connsiteX1946" fmla="*/ 2613 w 10785"/>
                  <a:gd name="connsiteY1946" fmla="*/ 3214 h 10000"/>
                  <a:gd name="connsiteX1947" fmla="*/ 2613 w 10785"/>
                  <a:gd name="connsiteY1947" fmla="*/ 3308 h 10000"/>
                  <a:gd name="connsiteX1948" fmla="*/ 2608 w 10785"/>
                  <a:gd name="connsiteY1948" fmla="*/ 3325 h 10000"/>
                  <a:gd name="connsiteX1949" fmla="*/ 2608 w 10785"/>
                  <a:gd name="connsiteY1949" fmla="*/ 3376 h 10000"/>
                  <a:gd name="connsiteX1950" fmla="*/ 2613 w 10785"/>
                  <a:gd name="connsiteY1950" fmla="*/ 3419 h 10000"/>
                  <a:gd name="connsiteX1951" fmla="*/ 2608 w 10785"/>
                  <a:gd name="connsiteY1951" fmla="*/ 3444 h 10000"/>
                  <a:gd name="connsiteX1952" fmla="*/ 2594 w 10785"/>
                  <a:gd name="connsiteY1952" fmla="*/ 3444 h 10000"/>
                  <a:gd name="connsiteX1953" fmla="*/ 2590 w 10785"/>
                  <a:gd name="connsiteY1953" fmla="*/ 3427 h 10000"/>
                  <a:gd name="connsiteX1954" fmla="*/ 2581 w 10785"/>
                  <a:gd name="connsiteY1954" fmla="*/ 3564 h 10000"/>
                  <a:gd name="connsiteX1955" fmla="*/ 2594 w 10785"/>
                  <a:gd name="connsiteY1955" fmla="*/ 3598 h 10000"/>
                  <a:gd name="connsiteX1956" fmla="*/ 2594 w 10785"/>
                  <a:gd name="connsiteY1956" fmla="*/ 3581 h 10000"/>
                  <a:gd name="connsiteX1957" fmla="*/ 2608 w 10785"/>
                  <a:gd name="connsiteY1957" fmla="*/ 3556 h 10000"/>
                  <a:gd name="connsiteX1958" fmla="*/ 2650 w 10785"/>
                  <a:gd name="connsiteY1958" fmla="*/ 3615 h 10000"/>
                  <a:gd name="connsiteX1959" fmla="*/ 2664 w 10785"/>
                  <a:gd name="connsiteY1959" fmla="*/ 3615 h 10000"/>
                  <a:gd name="connsiteX1960" fmla="*/ 2668 w 10785"/>
                  <a:gd name="connsiteY1960" fmla="*/ 3615 h 10000"/>
                  <a:gd name="connsiteX1961" fmla="*/ 2664 w 10785"/>
                  <a:gd name="connsiteY1961" fmla="*/ 3667 h 10000"/>
                  <a:gd name="connsiteX1962" fmla="*/ 2687 w 10785"/>
                  <a:gd name="connsiteY1962" fmla="*/ 3786 h 10000"/>
                  <a:gd name="connsiteX1963" fmla="*/ 2710 w 10785"/>
                  <a:gd name="connsiteY1963" fmla="*/ 3812 h 10000"/>
                  <a:gd name="connsiteX1964" fmla="*/ 2724 w 10785"/>
                  <a:gd name="connsiteY1964" fmla="*/ 3812 h 10000"/>
                  <a:gd name="connsiteX1965" fmla="*/ 2724 w 10785"/>
                  <a:gd name="connsiteY1965" fmla="*/ 3829 h 10000"/>
                  <a:gd name="connsiteX1966" fmla="*/ 2737 w 10785"/>
                  <a:gd name="connsiteY1966" fmla="*/ 3838 h 10000"/>
                  <a:gd name="connsiteX1967" fmla="*/ 2714 w 10785"/>
                  <a:gd name="connsiteY1967" fmla="*/ 3872 h 10000"/>
                  <a:gd name="connsiteX1968" fmla="*/ 2696 w 10785"/>
                  <a:gd name="connsiteY1968" fmla="*/ 4026 h 10000"/>
                  <a:gd name="connsiteX1969" fmla="*/ 2673 w 10785"/>
                  <a:gd name="connsiteY1969" fmla="*/ 4051 h 10000"/>
                  <a:gd name="connsiteX1970" fmla="*/ 2668 w 10785"/>
                  <a:gd name="connsiteY1970" fmla="*/ 4034 h 10000"/>
                  <a:gd name="connsiteX1971" fmla="*/ 2673 w 10785"/>
                  <a:gd name="connsiteY1971" fmla="*/ 4000 h 10000"/>
                  <a:gd name="connsiteX1972" fmla="*/ 2664 w 10785"/>
                  <a:gd name="connsiteY1972" fmla="*/ 3974 h 10000"/>
                  <a:gd name="connsiteX1973" fmla="*/ 2636 w 10785"/>
                  <a:gd name="connsiteY1973" fmla="*/ 3949 h 10000"/>
                  <a:gd name="connsiteX1974" fmla="*/ 2581 w 10785"/>
                  <a:gd name="connsiteY1974" fmla="*/ 3838 h 10000"/>
                  <a:gd name="connsiteX1975" fmla="*/ 2562 w 10785"/>
                  <a:gd name="connsiteY1975" fmla="*/ 3829 h 10000"/>
                  <a:gd name="connsiteX1976" fmla="*/ 2535 w 10785"/>
                  <a:gd name="connsiteY1976" fmla="*/ 3778 h 10000"/>
                  <a:gd name="connsiteX1977" fmla="*/ 2502 w 10785"/>
                  <a:gd name="connsiteY1977" fmla="*/ 3761 h 10000"/>
                  <a:gd name="connsiteX1978" fmla="*/ 2502 w 10785"/>
                  <a:gd name="connsiteY1978" fmla="*/ 3735 h 10000"/>
                  <a:gd name="connsiteX1979" fmla="*/ 2516 w 10785"/>
                  <a:gd name="connsiteY1979" fmla="*/ 3735 h 10000"/>
                  <a:gd name="connsiteX1980" fmla="*/ 2507 w 10785"/>
                  <a:gd name="connsiteY1980" fmla="*/ 3726 h 10000"/>
                  <a:gd name="connsiteX1981" fmla="*/ 2488 w 10785"/>
                  <a:gd name="connsiteY1981" fmla="*/ 3726 h 10000"/>
                  <a:gd name="connsiteX1982" fmla="*/ 2461 w 10785"/>
                  <a:gd name="connsiteY1982" fmla="*/ 3692 h 10000"/>
                  <a:gd name="connsiteX1983" fmla="*/ 2442 w 10785"/>
                  <a:gd name="connsiteY1983" fmla="*/ 3675 h 10000"/>
                  <a:gd name="connsiteX1984" fmla="*/ 2406 w 10785"/>
                  <a:gd name="connsiteY1984" fmla="*/ 3598 h 10000"/>
                  <a:gd name="connsiteX1985" fmla="*/ 2346 w 10785"/>
                  <a:gd name="connsiteY1985" fmla="*/ 3564 h 10000"/>
                  <a:gd name="connsiteX1986" fmla="*/ 2341 w 10785"/>
                  <a:gd name="connsiteY1986" fmla="*/ 3564 h 10000"/>
                  <a:gd name="connsiteX1987" fmla="*/ 2313 w 10785"/>
                  <a:gd name="connsiteY1987" fmla="*/ 3530 h 10000"/>
                  <a:gd name="connsiteX1988" fmla="*/ 2235 w 10785"/>
                  <a:gd name="connsiteY1988" fmla="*/ 3530 h 10000"/>
                  <a:gd name="connsiteX1989" fmla="*/ 2226 w 10785"/>
                  <a:gd name="connsiteY1989" fmla="*/ 3513 h 10000"/>
                  <a:gd name="connsiteX1990" fmla="*/ 2207 w 10785"/>
                  <a:gd name="connsiteY1990" fmla="*/ 3504 h 10000"/>
                  <a:gd name="connsiteX1991" fmla="*/ 2194 w 10785"/>
                  <a:gd name="connsiteY1991" fmla="*/ 3504 h 10000"/>
                  <a:gd name="connsiteX1992" fmla="*/ 2189 w 10785"/>
                  <a:gd name="connsiteY1992" fmla="*/ 3504 h 10000"/>
                  <a:gd name="connsiteX1993" fmla="*/ 2189 w 10785"/>
                  <a:gd name="connsiteY1993" fmla="*/ 3530 h 10000"/>
                  <a:gd name="connsiteX1994" fmla="*/ 2180 w 10785"/>
                  <a:gd name="connsiteY1994" fmla="*/ 3538 h 10000"/>
                  <a:gd name="connsiteX1995" fmla="*/ 2152 w 10785"/>
                  <a:gd name="connsiteY1995" fmla="*/ 3581 h 10000"/>
                  <a:gd name="connsiteX1996" fmla="*/ 2161 w 10785"/>
                  <a:gd name="connsiteY1996" fmla="*/ 3598 h 10000"/>
                  <a:gd name="connsiteX1997" fmla="*/ 2194 w 10785"/>
                  <a:gd name="connsiteY1997" fmla="*/ 3752 h 10000"/>
                  <a:gd name="connsiteX1998" fmla="*/ 2194 w 10785"/>
                  <a:gd name="connsiteY1998" fmla="*/ 3735 h 10000"/>
                  <a:gd name="connsiteX1999" fmla="*/ 2198 w 10785"/>
                  <a:gd name="connsiteY1999" fmla="*/ 3735 h 10000"/>
                  <a:gd name="connsiteX2000" fmla="*/ 2189 w 10785"/>
                  <a:gd name="connsiteY2000" fmla="*/ 3838 h 10000"/>
                  <a:gd name="connsiteX2001" fmla="*/ 2166 w 10785"/>
                  <a:gd name="connsiteY2001" fmla="*/ 3889 h 10000"/>
                  <a:gd name="connsiteX2002" fmla="*/ 2124 w 10785"/>
                  <a:gd name="connsiteY2002" fmla="*/ 3889 h 10000"/>
                  <a:gd name="connsiteX2003" fmla="*/ 2124 w 10785"/>
                  <a:gd name="connsiteY2003" fmla="*/ 3923 h 10000"/>
                  <a:gd name="connsiteX2004" fmla="*/ 2134 w 10785"/>
                  <a:gd name="connsiteY2004" fmla="*/ 3940 h 10000"/>
                  <a:gd name="connsiteX2005" fmla="*/ 2134 w 10785"/>
                  <a:gd name="connsiteY2005" fmla="*/ 3966 h 10000"/>
                  <a:gd name="connsiteX2006" fmla="*/ 2120 w 10785"/>
                  <a:gd name="connsiteY2006" fmla="*/ 4000 h 10000"/>
                  <a:gd name="connsiteX2007" fmla="*/ 2106 w 10785"/>
                  <a:gd name="connsiteY2007" fmla="*/ 4009 h 10000"/>
                  <a:gd name="connsiteX2008" fmla="*/ 2088 w 10785"/>
                  <a:gd name="connsiteY2008" fmla="*/ 4000 h 10000"/>
                  <a:gd name="connsiteX2009" fmla="*/ 2074 w 10785"/>
                  <a:gd name="connsiteY2009" fmla="*/ 3974 h 10000"/>
                  <a:gd name="connsiteX2010" fmla="*/ 2074 w 10785"/>
                  <a:gd name="connsiteY2010" fmla="*/ 3940 h 10000"/>
                  <a:gd name="connsiteX2011" fmla="*/ 2078 w 10785"/>
                  <a:gd name="connsiteY2011" fmla="*/ 3915 h 10000"/>
                  <a:gd name="connsiteX2012" fmla="*/ 2088 w 10785"/>
                  <a:gd name="connsiteY2012" fmla="*/ 3889 h 10000"/>
                  <a:gd name="connsiteX2013" fmla="*/ 2101 w 10785"/>
                  <a:gd name="connsiteY2013" fmla="*/ 3872 h 10000"/>
                  <a:gd name="connsiteX2014" fmla="*/ 2074 w 10785"/>
                  <a:gd name="connsiteY2014" fmla="*/ 3812 h 10000"/>
                  <a:gd name="connsiteX2015" fmla="*/ 2074 w 10785"/>
                  <a:gd name="connsiteY2015" fmla="*/ 3786 h 10000"/>
                  <a:gd name="connsiteX2016" fmla="*/ 2060 w 10785"/>
                  <a:gd name="connsiteY2016" fmla="*/ 3786 h 10000"/>
                  <a:gd name="connsiteX2017" fmla="*/ 2014 w 10785"/>
                  <a:gd name="connsiteY2017" fmla="*/ 3829 h 10000"/>
                  <a:gd name="connsiteX2018" fmla="*/ 2000 w 10785"/>
                  <a:gd name="connsiteY2018" fmla="*/ 3863 h 10000"/>
                  <a:gd name="connsiteX2019" fmla="*/ 1986 w 10785"/>
                  <a:gd name="connsiteY2019" fmla="*/ 3872 h 10000"/>
                  <a:gd name="connsiteX2020" fmla="*/ 1959 w 10785"/>
                  <a:gd name="connsiteY2020" fmla="*/ 3940 h 10000"/>
                  <a:gd name="connsiteX2021" fmla="*/ 1945 w 10785"/>
                  <a:gd name="connsiteY2021" fmla="*/ 3949 h 10000"/>
                  <a:gd name="connsiteX2022" fmla="*/ 1940 w 10785"/>
                  <a:gd name="connsiteY2022" fmla="*/ 3923 h 10000"/>
                  <a:gd name="connsiteX2023" fmla="*/ 1917 w 10785"/>
                  <a:gd name="connsiteY2023" fmla="*/ 3915 h 10000"/>
                  <a:gd name="connsiteX2024" fmla="*/ 1899 w 10785"/>
                  <a:gd name="connsiteY2024" fmla="*/ 3923 h 10000"/>
                  <a:gd name="connsiteX2025" fmla="*/ 1880 w 10785"/>
                  <a:gd name="connsiteY2025" fmla="*/ 3915 h 10000"/>
                  <a:gd name="connsiteX2026" fmla="*/ 1853 w 10785"/>
                  <a:gd name="connsiteY2026" fmla="*/ 3940 h 10000"/>
                  <a:gd name="connsiteX2027" fmla="*/ 1839 w 10785"/>
                  <a:gd name="connsiteY2027" fmla="*/ 3940 h 10000"/>
                  <a:gd name="connsiteX2028" fmla="*/ 1806 w 10785"/>
                  <a:gd name="connsiteY2028" fmla="*/ 3983 h 10000"/>
                  <a:gd name="connsiteX2029" fmla="*/ 1806 w 10785"/>
                  <a:gd name="connsiteY2029" fmla="*/ 4000 h 10000"/>
                  <a:gd name="connsiteX2030" fmla="*/ 1797 w 10785"/>
                  <a:gd name="connsiteY2030" fmla="*/ 4077 h 10000"/>
                  <a:gd name="connsiteX2031" fmla="*/ 1783 w 10785"/>
                  <a:gd name="connsiteY2031" fmla="*/ 4077 h 10000"/>
                  <a:gd name="connsiteX2032" fmla="*/ 1779 w 10785"/>
                  <a:gd name="connsiteY2032" fmla="*/ 4051 h 10000"/>
                  <a:gd name="connsiteX2033" fmla="*/ 1765 w 10785"/>
                  <a:gd name="connsiteY2033" fmla="*/ 4026 h 10000"/>
                  <a:gd name="connsiteX2034" fmla="*/ 1751 w 10785"/>
                  <a:gd name="connsiteY2034" fmla="*/ 4051 h 10000"/>
                  <a:gd name="connsiteX2035" fmla="*/ 1737 w 10785"/>
                  <a:gd name="connsiteY2035" fmla="*/ 4009 h 10000"/>
                  <a:gd name="connsiteX2036" fmla="*/ 1737 w 10785"/>
                  <a:gd name="connsiteY2036" fmla="*/ 3966 h 10000"/>
                  <a:gd name="connsiteX2037" fmla="*/ 1733 w 10785"/>
                  <a:gd name="connsiteY2037" fmla="*/ 3940 h 10000"/>
                  <a:gd name="connsiteX2038" fmla="*/ 1733 w 10785"/>
                  <a:gd name="connsiteY2038" fmla="*/ 3923 h 10000"/>
                  <a:gd name="connsiteX2039" fmla="*/ 1747 w 10785"/>
                  <a:gd name="connsiteY2039" fmla="*/ 3889 h 10000"/>
                  <a:gd name="connsiteX2040" fmla="*/ 1747 w 10785"/>
                  <a:gd name="connsiteY2040" fmla="*/ 3863 h 10000"/>
                  <a:gd name="connsiteX2041" fmla="*/ 1737 w 10785"/>
                  <a:gd name="connsiteY2041" fmla="*/ 3838 h 10000"/>
                  <a:gd name="connsiteX2042" fmla="*/ 1733 w 10785"/>
                  <a:gd name="connsiteY2042" fmla="*/ 3829 h 10000"/>
                  <a:gd name="connsiteX2043" fmla="*/ 1733 w 10785"/>
                  <a:gd name="connsiteY2043" fmla="*/ 3846 h 10000"/>
                  <a:gd name="connsiteX2044" fmla="*/ 1724 w 10785"/>
                  <a:gd name="connsiteY2044" fmla="*/ 3846 h 10000"/>
                  <a:gd name="connsiteX2045" fmla="*/ 1724 w 10785"/>
                  <a:gd name="connsiteY2045" fmla="*/ 3829 h 10000"/>
                  <a:gd name="connsiteX2046" fmla="*/ 1737 w 10785"/>
                  <a:gd name="connsiteY2046" fmla="*/ 3812 h 10000"/>
                  <a:gd name="connsiteX2047" fmla="*/ 1765 w 10785"/>
                  <a:gd name="connsiteY2047" fmla="*/ 3812 h 10000"/>
                  <a:gd name="connsiteX2048" fmla="*/ 1779 w 10785"/>
                  <a:gd name="connsiteY2048" fmla="*/ 3786 h 10000"/>
                  <a:gd name="connsiteX2049" fmla="*/ 1779 w 10785"/>
                  <a:gd name="connsiteY2049" fmla="*/ 3786 h 10000"/>
                  <a:gd name="connsiteX2050" fmla="*/ 1751 w 10785"/>
                  <a:gd name="connsiteY2050" fmla="*/ 3803 h 10000"/>
                  <a:gd name="connsiteX2051" fmla="*/ 1747 w 10785"/>
                  <a:gd name="connsiteY2051" fmla="*/ 3803 h 10000"/>
                  <a:gd name="connsiteX2052" fmla="*/ 1724 w 10785"/>
                  <a:gd name="connsiteY2052" fmla="*/ 3803 h 10000"/>
                  <a:gd name="connsiteX2053" fmla="*/ 1700 w 10785"/>
                  <a:gd name="connsiteY2053" fmla="*/ 3829 h 10000"/>
                  <a:gd name="connsiteX2054" fmla="*/ 1705 w 10785"/>
                  <a:gd name="connsiteY2054" fmla="*/ 3846 h 10000"/>
                  <a:gd name="connsiteX2055" fmla="*/ 1691 w 10785"/>
                  <a:gd name="connsiteY2055" fmla="*/ 3846 h 10000"/>
                  <a:gd name="connsiteX2056" fmla="*/ 1691 w 10785"/>
                  <a:gd name="connsiteY2056" fmla="*/ 3863 h 10000"/>
                  <a:gd name="connsiteX2057" fmla="*/ 1691 w 10785"/>
                  <a:gd name="connsiteY2057" fmla="*/ 3915 h 10000"/>
                  <a:gd name="connsiteX2058" fmla="*/ 1677 w 10785"/>
                  <a:gd name="connsiteY2058" fmla="*/ 3923 h 10000"/>
                  <a:gd name="connsiteX2059" fmla="*/ 1673 w 10785"/>
                  <a:gd name="connsiteY2059" fmla="*/ 3915 h 10000"/>
                  <a:gd name="connsiteX2060" fmla="*/ 1664 w 10785"/>
                  <a:gd name="connsiteY2060" fmla="*/ 3889 h 10000"/>
                  <a:gd name="connsiteX2061" fmla="*/ 1673 w 10785"/>
                  <a:gd name="connsiteY2061" fmla="*/ 3872 h 10000"/>
                  <a:gd name="connsiteX2062" fmla="*/ 1664 w 10785"/>
                  <a:gd name="connsiteY2062" fmla="*/ 3872 h 10000"/>
                  <a:gd name="connsiteX2063" fmla="*/ 1636 w 10785"/>
                  <a:gd name="connsiteY2063" fmla="*/ 3923 h 10000"/>
                  <a:gd name="connsiteX2064" fmla="*/ 1645 w 10785"/>
                  <a:gd name="connsiteY2064" fmla="*/ 3923 h 10000"/>
                  <a:gd name="connsiteX2065" fmla="*/ 1650 w 10785"/>
                  <a:gd name="connsiteY2065" fmla="*/ 3949 h 10000"/>
                  <a:gd name="connsiteX2066" fmla="*/ 1650 w 10785"/>
                  <a:gd name="connsiteY2066" fmla="*/ 3983 h 10000"/>
                  <a:gd name="connsiteX2067" fmla="*/ 1636 w 10785"/>
                  <a:gd name="connsiteY2067" fmla="*/ 4000 h 10000"/>
                  <a:gd name="connsiteX2068" fmla="*/ 1631 w 10785"/>
                  <a:gd name="connsiteY2068" fmla="*/ 4009 h 10000"/>
                  <a:gd name="connsiteX2069" fmla="*/ 1618 w 10785"/>
                  <a:gd name="connsiteY2069" fmla="*/ 3949 h 10000"/>
                  <a:gd name="connsiteX2070" fmla="*/ 1585 w 10785"/>
                  <a:gd name="connsiteY2070" fmla="*/ 3966 h 10000"/>
                  <a:gd name="connsiteX2071" fmla="*/ 1590 w 10785"/>
                  <a:gd name="connsiteY2071" fmla="*/ 3974 h 10000"/>
                  <a:gd name="connsiteX2072" fmla="*/ 1544 w 10785"/>
                  <a:gd name="connsiteY2072" fmla="*/ 4009 h 10000"/>
                  <a:gd name="connsiteX2073" fmla="*/ 1539 w 10785"/>
                  <a:gd name="connsiteY2073" fmla="*/ 4009 h 10000"/>
                  <a:gd name="connsiteX2074" fmla="*/ 1410 w 10785"/>
                  <a:gd name="connsiteY2074" fmla="*/ 4188 h 10000"/>
                  <a:gd name="connsiteX2075" fmla="*/ 1406 w 10785"/>
                  <a:gd name="connsiteY2075" fmla="*/ 4171 h 10000"/>
                  <a:gd name="connsiteX2076" fmla="*/ 1396 w 10785"/>
                  <a:gd name="connsiteY2076" fmla="*/ 4214 h 10000"/>
                  <a:gd name="connsiteX2077" fmla="*/ 1406 w 10785"/>
                  <a:gd name="connsiteY2077" fmla="*/ 4222 h 10000"/>
                  <a:gd name="connsiteX2078" fmla="*/ 1392 w 10785"/>
                  <a:gd name="connsiteY2078" fmla="*/ 4239 h 10000"/>
                  <a:gd name="connsiteX2079" fmla="*/ 1369 w 10785"/>
                  <a:gd name="connsiteY2079" fmla="*/ 4248 h 10000"/>
                  <a:gd name="connsiteX2080" fmla="*/ 1355 w 10785"/>
                  <a:gd name="connsiteY2080" fmla="*/ 4256 h 10000"/>
                  <a:gd name="connsiteX2081" fmla="*/ 1350 w 10785"/>
                  <a:gd name="connsiteY2081" fmla="*/ 4248 h 10000"/>
                  <a:gd name="connsiteX2082" fmla="*/ 1332 w 10785"/>
                  <a:gd name="connsiteY2082" fmla="*/ 4376 h 10000"/>
                  <a:gd name="connsiteX2083" fmla="*/ 1332 w 10785"/>
                  <a:gd name="connsiteY2083" fmla="*/ 4436 h 10000"/>
                  <a:gd name="connsiteX2084" fmla="*/ 1323 w 10785"/>
                  <a:gd name="connsiteY2084" fmla="*/ 4462 h 10000"/>
                  <a:gd name="connsiteX2085" fmla="*/ 1304 w 10785"/>
                  <a:gd name="connsiteY2085" fmla="*/ 4487 h 10000"/>
                  <a:gd name="connsiteX2086" fmla="*/ 1290 w 10785"/>
                  <a:gd name="connsiteY2086" fmla="*/ 4470 h 10000"/>
                  <a:gd name="connsiteX2087" fmla="*/ 1263 w 10785"/>
                  <a:gd name="connsiteY2087" fmla="*/ 4496 h 10000"/>
                  <a:gd name="connsiteX2088" fmla="*/ 1258 w 10785"/>
                  <a:gd name="connsiteY2088" fmla="*/ 4547 h 10000"/>
                  <a:gd name="connsiteX2089" fmla="*/ 1249 w 10785"/>
                  <a:gd name="connsiteY2089" fmla="*/ 4487 h 10000"/>
                  <a:gd name="connsiteX2090" fmla="*/ 1235 w 10785"/>
                  <a:gd name="connsiteY2090" fmla="*/ 4496 h 10000"/>
                  <a:gd name="connsiteX2091" fmla="*/ 1221 w 10785"/>
                  <a:gd name="connsiteY2091" fmla="*/ 4496 h 10000"/>
                  <a:gd name="connsiteX2092" fmla="*/ 1217 w 10785"/>
                  <a:gd name="connsiteY2092" fmla="*/ 4487 h 10000"/>
                  <a:gd name="connsiteX2093" fmla="*/ 1198 w 10785"/>
                  <a:gd name="connsiteY2093" fmla="*/ 4410 h 10000"/>
                  <a:gd name="connsiteX2094" fmla="*/ 1157 w 10785"/>
                  <a:gd name="connsiteY2094" fmla="*/ 4333 h 10000"/>
                  <a:gd name="connsiteX2095" fmla="*/ 1147 w 10785"/>
                  <a:gd name="connsiteY2095" fmla="*/ 4299 h 10000"/>
                  <a:gd name="connsiteX2096" fmla="*/ 1147 w 10785"/>
                  <a:gd name="connsiteY2096" fmla="*/ 4274 h 10000"/>
                  <a:gd name="connsiteX2097" fmla="*/ 1161 w 10785"/>
                  <a:gd name="connsiteY2097" fmla="*/ 4256 h 10000"/>
                  <a:gd name="connsiteX2098" fmla="*/ 1171 w 10785"/>
                  <a:gd name="connsiteY2098" fmla="*/ 4248 h 10000"/>
                  <a:gd name="connsiteX2099" fmla="*/ 1175 w 10785"/>
                  <a:gd name="connsiteY2099" fmla="*/ 4214 h 10000"/>
                  <a:gd name="connsiteX2100" fmla="*/ 1263 w 10785"/>
                  <a:gd name="connsiteY2100" fmla="*/ 4171 h 10000"/>
                  <a:gd name="connsiteX2101" fmla="*/ 1249 w 10785"/>
                  <a:gd name="connsiteY2101" fmla="*/ 4137 h 10000"/>
                  <a:gd name="connsiteX2102" fmla="*/ 1244 w 10785"/>
                  <a:gd name="connsiteY2102" fmla="*/ 4060 h 10000"/>
                  <a:gd name="connsiteX2103" fmla="*/ 1230 w 10785"/>
                  <a:gd name="connsiteY2103" fmla="*/ 4077 h 10000"/>
                  <a:gd name="connsiteX2104" fmla="*/ 1221 w 10785"/>
                  <a:gd name="connsiteY2104" fmla="*/ 4026 h 10000"/>
                  <a:gd name="connsiteX2105" fmla="*/ 1217 w 10785"/>
                  <a:gd name="connsiteY2105" fmla="*/ 4026 h 10000"/>
                  <a:gd name="connsiteX2106" fmla="*/ 1212 w 10785"/>
                  <a:gd name="connsiteY2106" fmla="*/ 3983 h 10000"/>
                  <a:gd name="connsiteX2107" fmla="*/ 1203 w 10785"/>
                  <a:gd name="connsiteY2107" fmla="*/ 3966 h 10000"/>
                  <a:gd name="connsiteX2108" fmla="*/ 1171 w 10785"/>
                  <a:gd name="connsiteY2108" fmla="*/ 3949 h 10000"/>
                  <a:gd name="connsiteX2109" fmla="*/ 1111 w 10785"/>
                  <a:gd name="connsiteY2109" fmla="*/ 3940 h 10000"/>
                  <a:gd name="connsiteX2110" fmla="*/ 1097 w 10785"/>
                  <a:gd name="connsiteY2110" fmla="*/ 3949 h 10000"/>
                  <a:gd name="connsiteX2111" fmla="*/ 1037 w 10785"/>
                  <a:gd name="connsiteY2111" fmla="*/ 3897 h 10000"/>
                  <a:gd name="connsiteX2112" fmla="*/ 1041 w 10785"/>
                  <a:gd name="connsiteY2112" fmla="*/ 3923 h 10000"/>
                  <a:gd name="connsiteX2113" fmla="*/ 1097 w 10785"/>
                  <a:gd name="connsiteY2113" fmla="*/ 4009 h 10000"/>
                  <a:gd name="connsiteX2114" fmla="*/ 1097 w 10785"/>
                  <a:gd name="connsiteY2114" fmla="*/ 4120 h 10000"/>
                  <a:gd name="connsiteX2115" fmla="*/ 1097 w 10785"/>
                  <a:gd name="connsiteY2115" fmla="*/ 4162 h 10000"/>
                  <a:gd name="connsiteX2116" fmla="*/ 1097 w 10785"/>
                  <a:gd name="connsiteY2116" fmla="*/ 4197 h 10000"/>
                  <a:gd name="connsiteX2117" fmla="*/ 1074 w 10785"/>
                  <a:gd name="connsiteY2117" fmla="*/ 4333 h 10000"/>
                  <a:gd name="connsiteX2118" fmla="*/ 1074 w 10785"/>
                  <a:gd name="connsiteY2118" fmla="*/ 4376 h 10000"/>
                  <a:gd name="connsiteX2119" fmla="*/ 1083 w 10785"/>
                  <a:gd name="connsiteY2119" fmla="*/ 4385 h 10000"/>
                  <a:gd name="connsiteX2120" fmla="*/ 1097 w 10785"/>
                  <a:gd name="connsiteY2120" fmla="*/ 4385 h 10000"/>
                  <a:gd name="connsiteX2121" fmla="*/ 1111 w 10785"/>
                  <a:gd name="connsiteY2121" fmla="*/ 4410 h 10000"/>
                  <a:gd name="connsiteX2122" fmla="*/ 1124 w 10785"/>
                  <a:gd name="connsiteY2122" fmla="*/ 4444 h 10000"/>
                  <a:gd name="connsiteX2123" fmla="*/ 1124 w 10785"/>
                  <a:gd name="connsiteY2123" fmla="*/ 4470 h 10000"/>
                  <a:gd name="connsiteX2124" fmla="*/ 1115 w 10785"/>
                  <a:gd name="connsiteY2124" fmla="*/ 4513 h 10000"/>
                  <a:gd name="connsiteX2125" fmla="*/ 1115 w 10785"/>
                  <a:gd name="connsiteY2125" fmla="*/ 4530 h 10000"/>
                  <a:gd name="connsiteX2126" fmla="*/ 1115 w 10785"/>
                  <a:gd name="connsiteY2126" fmla="*/ 4573 h 10000"/>
                  <a:gd name="connsiteX2127" fmla="*/ 1101 w 10785"/>
                  <a:gd name="connsiteY2127" fmla="*/ 4607 h 10000"/>
                  <a:gd name="connsiteX2128" fmla="*/ 1097 w 10785"/>
                  <a:gd name="connsiteY2128" fmla="*/ 4658 h 10000"/>
                  <a:gd name="connsiteX2129" fmla="*/ 1101 w 10785"/>
                  <a:gd name="connsiteY2129" fmla="*/ 4692 h 10000"/>
                  <a:gd name="connsiteX2130" fmla="*/ 1097 w 10785"/>
                  <a:gd name="connsiteY2130" fmla="*/ 4778 h 10000"/>
                  <a:gd name="connsiteX2131" fmla="*/ 1083 w 10785"/>
                  <a:gd name="connsiteY2131" fmla="*/ 4744 h 10000"/>
                  <a:gd name="connsiteX2132" fmla="*/ 1083 w 10785"/>
                  <a:gd name="connsiteY2132" fmla="*/ 4718 h 10000"/>
                  <a:gd name="connsiteX2133" fmla="*/ 1074 w 10785"/>
                  <a:gd name="connsiteY2133" fmla="*/ 4692 h 10000"/>
                  <a:gd name="connsiteX2134" fmla="*/ 1065 w 10785"/>
                  <a:gd name="connsiteY2134" fmla="*/ 4692 h 10000"/>
                  <a:gd name="connsiteX2135" fmla="*/ 1051 w 10785"/>
                  <a:gd name="connsiteY2135" fmla="*/ 4718 h 10000"/>
                  <a:gd name="connsiteX2136" fmla="*/ 1055 w 10785"/>
                  <a:gd name="connsiteY2136" fmla="*/ 4692 h 10000"/>
                  <a:gd name="connsiteX2137" fmla="*/ 1055 w 10785"/>
                  <a:gd name="connsiteY2137" fmla="*/ 4667 h 10000"/>
                  <a:gd name="connsiteX2138" fmla="*/ 1028 w 10785"/>
                  <a:gd name="connsiteY2138" fmla="*/ 4624 h 10000"/>
                  <a:gd name="connsiteX2139" fmla="*/ 1005 w 10785"/>
                  <a:gd name="connsiteY2139" fmla="*/ 4624 h 10000"/>
                  <a:gd name="connsiteX2140" fmla="*/ 977 w 10785"/>
                  <a:gd name="connsiteY2140" fmla="*/ 4581 h 10000"/>
                  <a:gd name="connsiteX2141" fmla="*/ 963 w 10785"/>
                  <a:gd name="connsiteY2141" fmla="*/ 4607 h 10000"/>
                  <a:gd name="connsiteX2142" fmla="*/ 963 w 10785"/>
                  <a:gd name="connsiteY2142" fmla="*/ 4632 h 10000"/>
                  <a:gd name="connsiteX2143" fmla="*/ 917 w 10785"/>
                  <a:gd name="connsiteY2143" fmla="*/ 4718 h 10000"/>
                  <a:gd name="connsiteX2144" fmla="*/ 889 w 10785"/>
                  <a:gd name="connsiteY2144" fmla="*/ 4744 h 10000"/>
                  <a:gd name="connsiteX2145" fmla="*/ 880 w 10785"/>
                  <a:gd name="connsiteY2145" fmla="*/ 4744 h 10000"/>
                  <a:gd name="connsiteX2146" fmla="*/ 862 w 10785"/>
                  <a:gd name="connsiteY2146" fmla="*/ 4769 h 10000"/>
                  <a:gd name="connsiteX2147" fmla="*/ 857 w 10785"/>
                  <a:gd name="connsiteY2147" fmla="*/ 4795 h 10000"/>
                  <a:gd name="connsiteX2148" fmla="*/ 829 w 10785"/>
                  <a:gd name="connsiteY2148" fmla="*/ 4846 h 10000"/>
                  <a:gd name="connsiteX2149" fmla="*/ 816 w 10785"/>
                  <a:gd name="connsiteY2149" fmla="*/ 4855 h 10000"/>
                  <a:gd name="connsiteX2150" fmla="*/ 816 w 10785"/>
                  <a:gd name="connsiteY2150" fmla="*/ 4940 h 10000"/>
                  <a:gd name="connsiteX2151" fmla="*/ 880 w 10785"/>
                  <a:gd name="connsiteY2151" fmla="*/ 5179 h 10000"/>
                  <a:gd name="connsiteX2152" fmla="*/ 880 w 10785"/>
                  <a:gd name="connsiteY2152" fmla="*/ 5188 h 10000"/>
                  <a:gd name="connsiteX2153" fmla="*/ 862 w 10785"/>
                  <a:gd name="connsiteY2153" fmla="*/ 5171 h 10000"/>
                  <a:gd name="connsiteX2154" fmla="*/ 857 w 10785"/>
                  <a:gd name="connsiteY2154" fmla="*/ 5171 h 10000"/>
                  <a:gd name="connsiteX2155" fmla="*/ 820 w 10785"/>
                  <a:gd name="connsiteY2155" fmla="*/ 5145 h 10000"/>
                  <a:gd name="connsiteX2156" fmla="*/ 820 w 10785"/>
                  <a:gd name="connsiteY2156" fmla="*/ 5154 h 10000"/>
                  <a:gd name="connsiteX2157" fmla="*/ 816 w 10785"/>
                  <a:gd name="connsiteY2157" fmla="*/ 5171 h 10000"/>
                  <a:gd name="connsiteX2158" fmla="*/ 783 w 10785"/>
                  <a:gd name="connsiteY2158" fmla="*/ 5145 h 10000"/>
                  <a:gd name="connsiteX2159" fmla="*/ 756 w 10785"/>
                  <a:gd name="connsiteY2159" fmla="*/ 5103 h 10000"/>
                  <a:gd name="connsiteX2160" fmla="*/ 742 w 10785"/>
                  <a:gd name="connsiteY2160" fmla="*/ 5103 h 10000"/>
                  <a:gd name="connsiteX2161" fmla="*/ 728 w 10785"/>
                  <a:gd name="connsiteY2161" fmla="*/ 5094 h 10000"/>
                  <a:gd name="connsiteX2162" fmla="*/ 710 w 10785"/>
                  <a:gd name="connsiteY2162" fmla="*/ 5120 h 10000"/>
                  <a:gd name="connsiteX2163" fmla="*/ 700 w 10785"/>
                  <a:gd name="connsiteY2163" fmla="*/ 5145 h 10000"/>
                  <a:gd name="connsiteX2164" fmla="*/ 696 w 10785"/>
                  <a:gd name="connsiteY2164" fmla="*/ 5103 h 10000"/>
                  <a:gd name="connsiteX2165" fmla="*/ 714 w 10785"/>
                  <a:gd name="connsiteY2165" fmla="*/ 5077 h 10000"/>
                  <a:gd name="connsiteX2166" fmla="*/ 682 w 10785"/>
                  <a:gd name="connsiteY2166" fmla="*/ 5068 h 10000"/>
                  <a:gd name="connsiteX2167" fmla="*/ 673 w 10785"/>
                  <a:gd name="connsiteY2167" fmla="*/ 5034 h 10000"/>
                  <a:gd name="connsiteX2168" fmla="*/ 636 w 10785"/>
                  <a:gd name="connsiteY2168" fmla="*/ 4991 h 10000"/>
                  <a:gd name="connsiteX2169" fmla="*/ 622 w 10785"/>
                  <a:gd name="connsiteY2169" fmla="*/ 4983 h 10000"/>
                  <a:gd name="connsiteX2170" fmla="*/ 622 w 10785"/>
                  <a:gd name="connsiteY2170" fmla="*/ 5034 h 10000"/>
                  <a:gd name="connsiteX2171" fmla="*/ 608 w 10785"/>
                  <a:gd name="connsiteY2171" fmla="*/ 5051 h 10000"/>
                  <a:gd name="connsiteX2172" fmla="*/ 594 w 10785"/>
                  <a:gd name="connsiteY2172" fmla="*/ 5068 h 10000"/>
                  <a:gd name="connsiteX2173" fmla="*/ 608 w 10785"/>
                  <a:gd name="connsiteY2173" fmla="*/ 5120 h 10000"/>
                  <a:gd name="connsiteX2174" fmla="*/ 613 w 10785"/>
                  <a:gd name="connsiteY2174" fmla="*/ 5128 h 10000"/>
                  <a:gd name="connsiteX2175" fmla="*/ 627 w 10785"/>
                  <a:gd name="connsiteY2175" fmla="*/ 5179 h 10000"/>
                  <a:gd name="connsiteX2176" fmla="*/ 650 w 10785"/>
                  <a:gd name="connsiteY2176" fmla="*/ 5214 h 10000"/>
                  <a:gd name="connsiteX2177" fmla="*/ 687 w 10785"/>
                  <a:gd name="connsiteY2177" fmla="*/ 5188 h 10000"/>
                  <a:gd name="connsiteX2178" fmla="*/ 700 w 10785"/>
                  <a:gd name="connsiteY2178" fmla="*/ 5325 h 10000"/>
                  <a:gd name="connsiteX2179" fmla="*/ 710 w 10785"/>
                  <a:gd name="connsiteY2179" fmla="*/ 5350 h 10000"/>
                  <a:gd name="connsiteX2180" fmla="*/ 687 w 10785"/>
                  <a:gd name="connsiteY2180" fmla="*/ 5325 h 10000"/>
                  <a:gd name="connsiteX2181" fmla="*/ 668 w 10785"/>
                  <a:gd name="connsiteY2181" fmla="*/ 5350 h 10000"/>
                  <a:gd name="connsiteX2182" fmla="*/ 668 w 10785"/>
                  <a:gd name="connsiteY2182" fmla="*/ 5368 h 10000"/>
                  <a:gd name="connsiteX2183" fmla="*/ 668 w 10785"/>
                  <a:gd name="connsiteY2183" fmla="*/ 5376 h 10000"/>
                  <a:gd name="connsiteX2184" fmla="*/ 581 w 10785"/>
                  <a:gd name="connsiteY2184" fmla="*/ 5316 h 10000"/>
                  <a:gd name="connsiteX2185" fmla="*/ 567 w 10785"/>
                  <a:gd name="connsiteY2185" fmla="*/ 5265 h 10000"/>
                  <a:gd name="connsiteX2186" fmla="*/ 562 w 10785"/>
                  <a:gd name="connsiteY2186" fmla="*/ 5256 h 10000"/>
                  <a:gd name="connsiteX2187" fmla="*/ 548 w 10785"/>
                  <a:gd name="connsiteY2187" fmla="*/ 5231 h 10000"/>
                  <a:gd name="connsiteX2188" fmla="*/ 535 w 10785"/>
                  <a:gd name="connsiteY2188" fmla="*/ 5214 h 10000"/>
                  <a:gd name="connsiteX2189" fmla="*/ 525 w 10785"/>
                  <a:gd name="connsiteY2189" fmla="*/ 5231 h 10000"/>
                  <a:gd name="connsiteX2190" fmla="*/ 521 w 10785"/>
                  <a:gd name="connsiteY2190" fmla="*/ 5231 h 10000"/>
                  <a:gd name="connsiteX2191" fmla="*/ 493 w 10785"/>
                  <a:gd name="connsiteY2191" fmla="*/ 5205 h 10000"/>
                  <a:gd name="connsiteX2192" fmla="*/ 488 w 10785"/>
                  <a:gd name="connsiteY2192" fmla="*/ 5179 h 10000"/>
                  <a:gd name="connsiteX2193" fmla="*/ 475 w 10785"/>
                  <a:gd name="connsiteY2193" fmla="*/ 5188 h 10000"/>
                  <a:gd name="connsiteX2194" fmla="*/ 475 w 10785"/>
                  <a:gd name="connsiteY2194" fmla="*/ 5171 h 10000"/>
                  <a:gd name="connsiteX2195" fmla="*/ 488 w 10785"/>
                  <a:gd name="connsiteY2195" fmla="*/ 5154 h 10000"/>
                  <a:gd name="connsiteX2196" fmla="*/ 488 w 10785"/>
                  <a:gd name="connsiteY2196" fmla="*/ 5068 h 10000"/>
                  <a:gd name="connsiteX2197" fmla="*/ 475 w 10785"/>
                  <a:gd name="connsiteY2197" fmla="*/ 5051 h 10000"/>
                  <a:gd name="connsiteX2198" fmla="*/ 475 w 10785"/>
                  <a:gd name="connsiteY2198" fmla="*/ 5017 h 10000"/>
                  <a:gd name="connsiteX2199" fmla="*/ 452 w 10785"/>
                  <a:gd name="connsiteY2199" fmla="*/ 4932 h 10000"/>
                  <a:gd name="connsiteX2200" fmla="*/ 461 w 10785"/>
                  <a:gd name="connsiteY2200" fmla="*/ 4915 h 10000"/>
                  <a:gd name="connsiteX2201" fmla="*/ 475 w 10785"/>
                  <a:gd name="connsiteY2201" fmla="*/ 4906 h 10000"/>
                  <a:gd name="connsiteX2202" fmla="*/ 479 w 10785"/>
                  <a:gd name="connsiteY2202" fmla="*/ 4803 h 10000"/>
                  <a:gd name="connsiteX2203" fmla="*/ 479 w 10785"/>
                  <a:gd name="connsiteY2203" fmla="*/ 4778 h 10000"/>
                  <a:gd name="connsiteX2204" fmla="*/ 475 w 10785"/>
                  <a:gd name="connsiteY2204" fmla="*/ 4761 h 10000"/>
                  <a:gd name="connsiteX2205" fmla="*/ 465 w 10785"/>
                  <a:gd name="connsiteY2205" fmla="*/ 4718 h 10000"/>
                  <a:gd name="connsiteX2206" fmla="*/ 461 w 10785"/>
                  <a:gd name="connsiteY2206" fmla="*/ 4709 h 10000"/>
                  <a:gd name="connsiteX2207" fmla="*/ 442 w 10785"/>
                  <a:gd name="connsiteY2207" fmla="*/ 4692 h 10000"/>
                  <a:gd name="connsiteX2208" fmla="*/ 433 w 10785"/>
                  <a:gd name="connsiteY2208" fmla="*/ 4667 h 10000"/>
                  <a:gd name="connsiteX2209" fmla="*/ 419 w 10785"/>
                  <a:gd name="connsiteY2209" fmla="*/ 4667 h 10000"/>
                  <a:gd name="connsiteX2210" fmla="*/ 401 w 10785"/>
                  <a:gd name="connsiteY2210" fmla="*/ 4658 h 10000"/>
                  <a:gd name="connsiteX2211" fmla="*/ 401 w 10785"/>
                  <a:gd name="connsiteY2211" fmla="*/ 4624 h 10000"/>
                  <a:gd name="connsiteX2212" fmla="*/ 401 w 10785"/>
                  <a:gd name="connsiteY2212" fmla="*/ 4607 h 10000"/>
                  <a:gd name="connsiteX2213" fmla="*/ 378 w 10785"/>
                  <a:gd name="connsiteY2213" fmla="*/ 4607 h 10000"/>
                  <a:gd name="connsiteX2214" fmla="*/ 341 w 10785"/>
                  <a:gd name="connsiteY2214" fmla="*/ 4530 h 10000"/>
                  <a:gd name="connsiteX2215" fmla="*/ 346 w 10785"/>
                  <a:gd name="connsiteY2215" fmla="*/ 4521 h 10000"/>
                  <a:gd name="connsiteX2216" fmla="*/ 332 w 10785"/>
                  <a:gd name="connsiteY2216" fmla="*/ 4487 h 10000"/>
                  <a:gd name="connsiteX2217" fmla="*/ 327 w 10785"/>
                  <a:gd name="connsiteY2217" fmla="*/ 4462 h 10000"/>
                  <a:gd name="connsiteX2218" fmla="*/ 313 w 10785"/>
                  <a:gd name="connsiteY2218" fmla="*/ 4436 h 10000"/>
                  <a:gd name="connsiteX2219" fmla="*/ 300 w 10785"/>
                  <a:gd name="connsiteY2219" fmla="*/ 4419 h 10000"/>
                  <a:gd name="connsiteX2220" fmla="*/ 309 w 10785"/>
                  <a:gd name="connsiteY2220" fmla="*/ 4393 h 10000"/>
                  <a:gd name="connsiteX2221" fmla="*/ 332 w 10785"/>
                  <a:gd name="connsiteY2221" fmla="*/ 4385 h 10000"/>
                  <a:gd name="connsiteX2222" fmla="*/ 355 w 10785"/>
                  <a:gd name="connsiteY2222" fmla="*/ 4419 h 10000"/>
                  <a:gd name="connsiteX2223" fmla="*/ 355 w 10785"/>
                  <a:gd name="connsiteY2223" fmla="*/ 4444 h 10000"/>
                  <a:gd name="connsiteX2224" fmla="*/ 369 w 10785"/>
                  <a:gd name="connsiteY2224" fmla="*/ 4470 h 10000"/>
                  <a:gd name="connsiteX2225" fmla="*/ 401 w 10785"/>
                  <a:gd name="connsiteY2225" fmla="*/ 4521 h 10000"/>
                  <a:gd name="connsiteX2226" fmla="*/ 406 w 10785"/>
                  <a:gd name="connsiteY2226" fmla="*/ 4513 h 10000"/>
                  <a:gd name="connsiteX2227" fmla="*/ 406 w 10785"/>
                  <a:gd name="connsiteY2227" fmla="*/ 4496 h 10000"/>
                  <a:gd name="connsiteX2228" fmla="*/ 419 w 10785"/>
                  <a:gd name="connsiteY2228" fmla="*/ 4521 h 10000"/>
                  <a:gd name="connsiteX2229" fmla="*/ 429 w 10785"/>
                  <a:gd name="connsiteY2229" fmla="*/ 4530 h 10000"/>
                  <a:gd name="connsiteX2230" fmla="*/ 433 w 10785"/>
                  <a:gd name="connsiteY2230" fmla="*/ 4521 h 10000"/>
                  <a:gd name="connsiteX2231" fmla="*/ 442 w 10785"/>
                  <a:gd name="connsiteY2231" fmla="*/ 4530 h 10000"/>
                  <a:gd name="connsiteX2232" fmla="*/ 447 w 10785"/>
                  <a:gd name="connsiteY2232" fmla="*/ 4521 h 10000"/>
                  <a:gd name="connsiteX2233" fmla="*/ 452 w 10785"/>
                  <a:gd name="connsiteY2233" fmla="*/ 4521 h 10000"/>
                  <a:gd name="connsiteX2234" fmla="*/ 461 w 10785"/>
                  <a:gd name="connsiteY2234" fmla="*/ 4573 h 10000"/>
                  <a:gd name="connsiteX2235" fmla="*/ 479 w 10785"/>
                  <a:gd name="connsiteY2235" fmla="*/ 4556 h 10000"/>
                  <a:gd name="connsiteX2236" fmla="*/ 502 w 10785"/>
                  <a:gd name="connsiteY2236" fmla="*/ 4573 h 10000"/>
                  <a:gd name="connsiteX2237" fmla="*/ 507 w 10785"/>
                  <a:gd name="connsiteY2237" fmla="*/ 4598 h 10000"/>
                  <a:gd name="connsiteX2238" fmla="*/ 525 w 10785"/>
                  <a:gd name="connsiteY2238" fmla="*/ 4598 h 10000"/>
                  <a:gd name="connsiteX2239" fmla="*/ 535 w 10785"/>
                  <a:gd name="connsiteY2239" fmla="*/ 4624 h 10000"/>
                  <a:gd name="connsiteX2240" fmla="*/ 594 w 10785"/>
                  <a:gd name="connsiteY2240" fmla="*/ 4658 h 10000"/>
                  <a:gd name="connsiteX2241" fmla="*/ 627 w 10785"/>
                  <a:gd name="connsiteY2241" fmla="*/ 4658 h 10000"/>
                  <a:gd name="connsiteX2242" fmla="*/ 654 w 10785"/>
                  <a:gd name="connsiteY2242" fmla="*/ 4684 h 10000"/>
                  <a:gd name="connsiteX2243" fmla="*/ 668 w 10785"/>
                  <a:gd name="connsiteY2243" fmla="*/ 4709 h 10000"/>
                  <a:gd name="connsiteX2244" fmla="*/ 747 w 10785"/>
                  <a:gd name="connsiteY2244" fmla="*/ 4718 h 10000"/>
                  <a:gd name="connsiteX2245" fmla="*/ 760 w 10785"/>
                  <a:gd name="connsiteY2245" fmla="*/ 4709 h 10000"/>
                  <a:gd name="connsiteX2246" fmla="*/ 774 w 10785"/>
                  <a:gd name="connsiteY2246" fmla="*/ 4692 h 10000"/>
                  <a:gd name="connsiteX2247" fmla="*/ 829 w 10785"/>
                  <a:gd name="connsiteY2247" fmla="*/ 4658 h 10000"/>
                  <a:gd name="connsiteX2248" fmla="*/ 903 w 10785"/>
                  <a:gd name="connsiteY2248" fmla="*/ 4496 h 10000"/>
                  <a:gd name="connsiteX2249" fmla="*/ 917 w 10785"/>
                  <a:gd name="connsiteY2249" fmla="*/ 4385 h 10000"/>
                  <a:gd name="connsiteX2250" fmla="*/ 903 w 10785"/>
                  <a:gd name="connsiteY2250" fmla="*/ 4376 h 10000"/>
                  <a:gd name="connsiteX2251" fmla="*/ 903 w 10785"/>
                  <a:gd name="connsiteY2251" fmla="*/ 4376 h 10000"/>
                  <a:gd name="connsiteX2252" fmla="*/ 889 w 10785"/>
                  <a:gd name="connsiteY2252" fmla="*/ 4239 h 10000"/>
                  <a:gd name="connsiteX2253" fmla="*/ 880 w 10785"/>
                  <a:gd name="connsiteY2253" fmla="*/ 4214 h 10000"/>
                  <a:gd name="connsiteX2254" fmla="*/ 862 w 10785"/>
                  <a:gd name="connsiteY2254" fmla="*/ 4188 h 10000"/>
                  <a:gd name="connsiteX2255" fmla="*/ 857 w 10785"/>
                  <a:gd name="connsiteY2255" fmla="*/ 4197 h 10000"/>
                  <a:gd name="connsiteX2256" fmla="*/ 848 w 10785"/>
                  <a:gd name="connsiteY2256" fmla="*/ 4188 h 10000"/>
                  <a:gd name="connsiteX2257" fmla="*/ 848 w 10785"/>
                  <a:gd name="connsiteY2257" fmla="*/ 4162 h 10000"/>
                  <a:gd name="connsiteX2258" fmla="*/ 829 w 10785"/>
                  <a:gd name="connsiteY2258" fmla="*/ 4120 h 10000"/>
                  <a:gd name="connsiteX2259" fmla="*/ 820 w 10785"/>
                  <a:gd name="connsiteY2259" fmla="*/ 4103 h 10000"/>
                  <a:gd name="connsiteX2260" fmla="*/ 806 w 10785"/>
                  <a:gd name="connsiteY2260" fmla="*/ 4077 h 10000"/>
                  <a:gd name="connsiteX2261" fmla="*/ 816 w 10785"/>
                  <a:gd name="connsiteY2261" fmla="*/ 4111 h 10000"/>
                  <a:gd name="connsiteX2262" fmla="*/ 802 w 10785"/>
                  <a:gd name="connsiteY2262" fmla="*/ 4111 h 10000"/>
                  <a:gd name="connsiteX2263" fmla="*/ 770 w 10785"/>
                  <a:gd name="connsiteY2263" fmla="*/ 4060 h 10000"/>
                  <a:gd name="connsiteX2264" fmla="*/ 760 w 10785"/>
                  <a:gd name="connsiteY2264" fmla="*/ 4077 h 10000"/>
                  <a:gd name="connsiteX2265" fmla="*/ 760 w 10785"/>
                  <a:gd name="connsiteY2265" fmla="*/ 4060 h 10000"/>
                  <a:gd name="connsiteX2266" fmla="*/ 756 w 10785"/>
                  <a:gd name="connsiteY2266" fmla="*/ 4034 h 10000"/>
                  <a:gd name="connsiteX2267" fmla="*/ 742 w 10785"/>
                  <a:gd name="connsiteY2267" fmla="*/ 4000 h 10000"/>
                  <a:gd name="connsiteX2268" fmla="*/ 747 w 10785"/>
                  <a:gd name="connsiteY2268" fmla="*/ 4034 h 10000"/>
                  <a:gd name="connsiteX2269" fmla="*/ 724 w 10785"/>
                  <a:gd name="connsiteY2269" fmla="*/ 4026 h 10000"/>
                  <a:gd name="connsiteX2270" fmla="*/ 714 w 10785"/>
                  <a:gd name="connsiteY2270" fmla="*/ 4000 h 10000"/>
                  <a:gd name="connsiteX2271" fmla="*/ 714 w 10785"/>
                  <a:gd name="connsiteY2271" fmla="*/ 3983 h 10000"/>
                  <a:gd name="connsiteX2272" fmla="*/ 553 w 10785"/>
                  <a:gd name="connsiteY2272" fmla="*/ 3726 h 10000"/>
                  <a:gd name="connsiteX2273" fmla="*/ 507 w 10785"/>
                  <a:gd name="connsiteY2273" fmla="*/ 3718 h 10000"/>
                  <a:gd name="connsiteX2274" fmla="*/ 516 w 10785"/>
                  <a:gd name="connsiteY2274" fmla="*/ 3726 h 10000"/>
                  <a:gd name="connsiteX2275" fmla="*/ 507 w 10785"/>
                  <a:gd name="connsiteY2275" fmla="*/ 3735 h 10000"/>
                  <a:gd name="connsiteX2276" fmla="*/ 502 w 10785"/>
                  <a:gd name="connsiteY2276" fmla="*/ 3735 h 10000"/>
                  <a:gd name="connsiteX2277" fmla="*/ 419 w 10785"/>
                  <a:gd name="connsiteY2277" fmla="*/ 3675 h 10000"/>
                  <a:gd name="connsiteX2278" fmla="*/ 419 w 10785"/>
                  <a:gd name="connsiteY2278" fmla="*/ 3692 h 10000"/>
                  <a:gd name="connsiteX2279" fmla="*/ 401 w 10785"/>
                  <a:gd name="connsiteY2279" fmla="*/ 3701 h 10000"/>
                  <a:gd name="connsiteX2280" fmla="*/ 387 w 10785"/>
                  <a:gd name="connsiteY2280" fmla="*/ 3718 h 10000"/>
                  <a:gd name="connsiteX2281" fmla="*/ 387 w 10785"/>
                  <a:gd name="connsiteY2281" fmla="*/ 3692 h 10000"/>
                  <a:gd name="connsiteX2282" fmla="*/ 378 w 10785"/>
                  <a:gd name="connsiteY2282" fmla="*/ 3675 h 10000"/>
                  <a:gd name="connsiteX2283" fmla="*/ 378 w 10785"/>
                  <a:gd name="connsiteY2283" fmla="*/ 3650 h 10000"/>
                  <a:gd name="connsiteX2284" fmla="*/ 378 w 10785"/>
                  <a:gd name="connsiteY2284" fmla="*/ 3650 h 10000"/>
                  <a:gd name="connsiteX2285" fmla="*/ 355 w 10785"/>
                  <a:gd name="connsiteY2285" fmla="*/ 3675 h 10000"/>
                  <a:gd name="connsiteX2286" fmla="*/ 359 w 10785"/>
                  <a:gd name="connsiteY2286" fmla="*/ 3641 h 10000"/>
                  <a:gd name="connsiteX2287" fmla="*/ 346 w 10785"/>
                  <a:gd name="connsiteY2287" fmla="*/ 3650 h 10000"/>
                  <a:gd name="connsiteX2288" fmla="*/ 355 w 10785"/>
                  <a:gd name="connsiteY2288" fmla="*/ 3624 h 10000"/>
                  <a:gd name="connsiteX2289" fmla="*/ 346 w 10785"/>
                  <a:gd name="connsiteY2289" fmla="*/ 3624 h 10000"/>
                  <a:gd name="connsiteX2290" fmla="*/ 341 w 10785"/>
                  <a:gd name="connsiteY2290" fmla="*/ 3624 h 10000"/>
                  <a:gd name="connsiteX2291" fmla="*/ 318 w 10785"/>
                  <a:gd name="connsiteY2291" fmla="*/ 3641 h 10000"/>
                  <a:gd name="connsiteX2292" fmla="*/ 327 w 10785"/>
                  <a:gd name="connsiteY2292" fmla="*/ 3624 h 10000"/>
                  <a:gd name="connsiteX2293" fmla="*/ 318 w 10785"/>
                  <a:gd name="connsiteY2293" fmla="*/ 3615 h 10000"/>
                  <a:gd name="connsiteX2294" fmla="*/ 318 w 10785"/>
                  <a:gd name="connsiteY2294" fmla="*/ 3598 h 10000"/>
                  <a:gd name="connsiteX2295" fmla="*/ 300 w 10785"/>
                  <a:gd name="connsiteY2295" fmla="*/ 3598 h 10000"/>
                  <a:gd name="connsiteX2296" fmla="*/ 309 w 10785"/>
                  <a:gd name="connsiteY2296" fmla="*/ 3538 h 10000"/>
                  <a:gd name="connsiteX2297" fmla="*/ 313 w 10785"/>
                  <a:gd name="connsiteY2297" fmla="*/ 3564 h 10000"/>
                  <a:gd name="connsiteX2298" fmla="*/ 318 w 10785"/>
                  <a:gd name="connsiteY2298" fmla="*/ 3581 h 10000"/>
                  <a:gd name="connsiteX2299" fmla="*/ 327 w 10785"/>
                  <a:gd name="connsiteY2299" fmla="*/ 3564 h 10000"/>
                  <a:gd name="connsiteX2300" fmla="*/ 332 w 10785"/>
                  <a:gd name="connsiteY2300" fmla="*/ 3590 h 10000"/>
                  <a:gd name="connsiteX2301" fmla="*/ 346 w 10785"/>
                  <a:gd name="connsiteY2301" fmla="*/ 3590 h 10000"/>
                  <a:gd name="connsiteX2302" fmla="*/ 355 w 10785"/>
                  <a:gd name="connsiteY2302" fmla="*/ 3590 h 10000"/>
                  <a:gd name="connsiteX2303" fmla="*/ 369 w 10785"/>
                  <a:gd name="connsiteY2303" fmla="*/ 3556 h 10000"/>
                  <a:gd name="connsiteX2304" fmla="*/ 369 w 10785"/>
                  <a:gd name="connsiteY2304" fmla="*/ 3538 h 10000"/>
                  <a:gd name="connsiteX2305" fmla="*/ 346 w 10785"/>
                  <a:gd name="connsiteY2305" fmla="*/ 3513 h 10000"/>
                  <a:gd name="connsiteX2306" fmla="*/ 341 w 10785"/>
                  <a:gd name="connsiteY2306" fmla="*/ 3530 h 10000"/>
                  <a:gd name="connsiteX2307" fmla="*/ 327 w 10785"/>
                  <a:gd name="connsiteY2307" fmla="*/ 3513 h 10000"/>
                  <a:gd name="connsiteX2308" fmla="*/ 327 w 10785"/>
                  <a:gd name="connsiteY2308" fmla="*/ 3504 h 10000"/>
                  <a:gd name="connsiteX2309" fmla="*/ 295 w 10785"/>
                  <a:gd name="connsiteY2309" fmla="*/ 3462 h 10000"/>
                  <a:gd name="connsiteX2310" fmla="*/ 300 w 10785"/>
                  <a:gd name="connsiteY2310" fmla="*/ 3479 h 10000"/>
                  <a:gd name="connsiteX2311" fmla="*/ 295 w 10785"/>
                  <a:gd name="connsiteY2311" fmla="*/ 3513 h 10000"/>
                  <a:gd name="connsiteX2312" fmla="*/ 286 w 10785"/>
                  <a:gd name="connsiteY2312" fmla="*/ 3513 h 10000"/>
                  <a:gd name="connsiteX2313" fmla="*/ 281 w 10785"/>
                  <a:gd name="connsiteY2313" fmla="*/ 3513 h 10000"/>
                  <a:gd name="connsiteX2314" fmla="*/ 281 w 10785"/>
                  <a:gd name="connsiteY2314" fmla="*/ 3530 h 10000"/>
                  <a:gd name="connsiteX2315" fmla="*/ 281 w 10785"/>
                  <a:gd name="connsiteY2315" fmla="*/ 3556 h 10000"/>
                  <a:gd name="connsiteX2316" fmla="*/ 272 w 10785"/>
                  <a:gd name="connsiteY2316" fmla="*/ 3564 h 10000"/>
                  <a:gd name="connsiteX2317" fmla="*/ 267 w 10785"/>
                  <a:gd name="connsiteY2317" fmla="*/ 3564 h 10000"/>
                  <a:gd name="connsiteX2318" fmla="*/ 253 w 10785"/>
                  <a:gd name="connsiteY2318" fmla="*/ 3538 h 10000"/>
                  <a:gd name="connsiteX2319" fmla="*/ 226 w 10785"/>
                  <a:gd name="connsiteY2319" fmla="*/ 3513 h 10000"/>
                  <a:gd name="connsiteX2320" fmla="*/ 226 w 10785"/>
                  <a:gd name="connsiteY2320" fmla="*/ 3530 h 10000"/>
                  <a:gd name="connsiteX2321" fmla="*/ 226 w 10785"/>
                  <a:gd name="connsiteY2321" fmla="*/ 3530 h 10000"/>
                  <a:gd name="connsiteX2322" fmla="*/ 226 w 10785"/>
                  <a:gd name="connsiteY2322" fmla="*/ 3530 h 10000"/>
                  <a:gd name="connsiteX2323" fmla="*/ 226 w 10785"/>
                  <a:gd name="connsiteY2323" fmla="*/ 3556 h 10000"/>
                  <a:gd name="connsiteX2324" fmla="*/ 221 w 10785"/>
                  <a:gd name="connsiteY2324" fmla="*/ 3598 h 10000"/>
                  <a:gd name="connsiteX2325" fmla="*/ 207 w 10785"/>
                  <a:gd name="connsiteY2325" fmla="*/ 3598 h 10000"/>
                  <a:gd name="connsiteX2326" fmla="*/ 180 w 10785"/>
                  <a:gd name="connsiteY2326" fmla="*/ 3581 h 10000"/>
                  <a:gd name="connsiteX2327" fmla="*/ 171 w 10785"/>
                  <a:gd name="connsiteY2327" fmla="*/ 3641 h 10000"/>
                  <a:gd name="connsiteX2328" fmla="*/ 166 w 10785"/>
                  <a:gd name="connsiteY2328" fmla="*/ 3650 h 10000"/>
                  <a:gd name="connsiteX2329" fmla="*/ 124 w 10785"/>
                  <a:gd name="connsiteY2329" fmla="*/ 3701 h 10000"/>
                  <a:gd name="connsiteX2330" fmla="*/ 124 w 10785"/>
                  <a:gd name="connsiteY2330" fmla="*/ 3718 h 10000"/>
                  <a:gd name="connsiteX2331" fmla="*/ 120 w 10785"/>
                  <a:gd name="connsiteY2331" fmla="*/ 3735 h 10000"/>
                  <a:gd name="connsiteX2332" fmla="*/ 120 w 10785"/>
                  <a:gd name="connsiteY2332" fmla="*/ 3735 h 10000"/>
                  <a:gd name="connsiteX2333" fmla="*/ 111 w 10785"/>
                  <a:gd name="connsiteY2333" fmla="*/ 3761 h 10000"/>
                  <a:gd name="connsiteX2334" fmla="*/ 106 w 10785"/>
                  <a:gd name="connsiteY2334" fmla="*/ 3761 h 10000"/>
                  <a:gd name="connsiteX2335" fmla="*/ 106 w 10785"/>
                  <a:gd name="connsiteY2335" fmla="*/ 3761 h 10000"/>
                  <a:gd name="connsiteX2336" fmla="*/ 74 w 10785"/>
                  <a:gd name="connsiteY2336" fmla="*/ 3829 h 10000"/>
                  <a:gd name="connsiteX2337" fmla="*/ 78 w 10785"/>
                  <a:gd name="connsiteY2337" fmla="*/ 3838 h 10000"/>
                  <a:gd name="connsiteX2338" fmla="*/ 88 w 10785"/>
                  <a:gd name="connsiteY2338" fmla="*/ 3846 h 10000"/>
                  <a:gd name="connsiteX2339" fmla="*/ 65 w 10785"/>
                  <a:gd name="connsiteY2339" fmla="*/ 3923 h 10000"/>
                  <a:gd name="connsiteX2340" fmla="*/ 78 w 10785"/>
                  <a:gd name="connsiteY2340" fmla="*/ 4026 h 10000"/>
                  <a:gd name="connsiteX2341" fmla="*/ 88 w 10785"/>
                  <a:gd name="connsiteY2341" fmla="*/ 4051 h 10000"/>
                  <a:gd name="connsiteX2342" fmla="*/ 92 w 10785"/>
                  <a:gd name="connsiteY2342" fmla="*/ 4060 h 10000"/>
                  <a:gd name="connsiteX2343" fmla="*/ 111 w 10785"/>
                  <a:gd name="connsiteY2343" fmla="*/ 4060 h 10000"/>
                  <a:gd name="connsiteX2344" fmla="*/ 124 w 10785"/>
                  <a:gd name="connsiteY2344" fmla="*/ 4085 h 10000"/>
                  <a:gd name="connsiteX2345" fmla="*/ 166 w 10785"/>
                  <a:gd name="connsiteY2345" fmla="*/ 4197 h 10000"/>
                  <a:gd name="connsiteX2346" fmla="*/ 166 w 10785"/>
                  <a:gd name="connsiteY2346" fmla="*/ 4248 h 10000"/>
                  <a:gd name="connsiteX2347" fmla="*/ 120 w 10785"/>
                  <a:gd name="connsiteY2347" fmla="*/ 4462 h 10000"/>
                  <a:gd name="connsiteX2348" fmla="*/ 120 w 10785"/>
                  <a:gd name="connsiteY2348" fmla="*/ 4513 h 10000"/>
                  <a:gd name="connsiteX2349" fmla="*/ 180 w 10785"/>
                  <a:gd name="connsiteY2349" fmla="*/ 4829 h 10000"/>
                  <a:gd name="connsiteX2350" fmla="*/ 161 w 10785"/>
                  <a:gd name="connsiteY2350" fmla="*/ 4855 h 10000"/>
                  <a:gd name="connsiteX2351" fmla="*/ 152 w 10785"/>
                  <a:gd name="connsiteY2351" fmla="*/ 4940 h 10000"/>
                  <a:gd name="connsiteX2352" fmla="*/ 161 w 10785"/>
                  <a:gd name="connsiteY2352" fmla="*/ 4966 h 10000"/>
                  <a:gd name="connsiteX2353" fmla="*/ 161 w 10785"/>
                  <a:gd name="connsiteY2353" fmla="*/ 5009 h 10000"/>
                  <a:gd name="connsiteX2354" fmla="*/ 152 w 10785"/>
                  <a:gd name="connsiteY2354" fmla="*/ 5034 h 10000"/>
                  <a:gd name="connsiteX2355" fmla="*/ 152 w 10785"/>
                  <a:gd name="connsiteY2355" fmla="*/ 5077 h 10000"/>
                  <a:gd name="connsiteX2356" fmla="*/ 171 w 10785"/>
                  <a:gd name="connsiteY2356" fmla="*/ 5094 h 10000"/>
                  <a:gd name="connsiteX2357" fmla="*/ 180 w 10785"/>
                  <a:gd name="connsiteY2357" fmla="*/ 5128 h 10000"/>
                  <a:gd name="connsiteX2358" fmla="*/ 180 w 10785"/>
                  <a:gd name="connsiteY2358" fmla="*/ 5171 h 10000"/>
                  <a:gd name="connsiteX2359" fmla="*/ 184 w 10785"/>
                  <a:gd name="connsiteY2359" fmla="*/ 5205 h 10000"/>
                  <a:gd name="connsiteX2360" fmla="*/ 207 w 10785"/>
                  <a:gd name="connsiteY2360" fmla="*/ 5239 h 10000"/>
                  <a:gd name="connsiteX2361" fmla="*/ 207 w 10785"/>
                  <a:gd name="connsiteY2361" fmla="*/ 5282 h 10000"/>
                  <a:gd name="connsiteX2362" fmla="*/ 180 w 10785"/>
                  <a:gd name="connsiteY2362" fmla="*/ 5393 h 10000"/>
                  <a:gd name="connsiteX2363" fmla="*/ 194 w 10785"/>
                  <a:gd name="connsiteY2363" fmla="*/ 5427 h 10000"/>
                  <a:gd name="connsiteX2364" fmla="*/ 198 w 10785"/>
                  <a:gd name="connsiteY2364" fmla="*/ 5462 h 10000"/>
                  <a:gd name="connsiteX2365" fmla="*/ 235 w 10785"/>
                  <a:gd name="connsiteY2365" fmla="*/ 5513 h 10000"/>
                  <a:gd name="connsiteX2366" fmla="*/ 240 w 10785"/>
                  <a:gd name="connsiteY2366" fmla="*/ 5556 h 10000"/>
                  <a:gd name="connsiteX2367" fmla="*/ 253 w 10785"/>
                  <a:gd name="connsiteY2367" fmla="*/ 5590 h 10000"/>
                  <a:gd name="connsiteX2368" fmla="*/ 258 w 10785"/>
                  <a:gd name="connsiteY2368" fmla="*/ 5573 h 10000"/>
                  <a:gd name="connsiteX2369" fmla="*/ 258 w 10785"/>
                  <a:gd name="connsiteY2369" fmla="*/ 5667 h 10000"/>
                  <a:gd name="connsiteX2370" fmla="*/ 14 w 10785"/>
                  <a:gd name="connsiteY2370" fmla="*/ 6214 h 10000"/>
                  <a:gd name="connsiteX2371" fmla="*/ 14 w 10785"/>
                  <a:gd name="connsiteY2371" fmla="*/ 6214 h 10000"/>
                  <a:gd name="connsiteX2372" fmla="*/ 37 w 10785"/>
                  <a:gd name="connsiteY2372" fmla="*/ 6214 h 10000"/>
                  <a:gd name="connsiteX2373" fmla="*/ 51 w 10785"/>
                  <a:gd name="connsiteY2373" fmla="*/ 6188 h 10000"/>
                  <a:gd name="connsiteX2374" fmla="*/ 78 w 10785"/>
                  <a:gd name="connsiteY2374" fmla="*/ 6162 h 10000"/>
                  <a:gd name="connsiteX2375" fmla="*/ 78 w 10785"/>
                  <a:gd name="connsiteY2375" fmla="*/ 6188 h 10000"/>
                  <a:gd name="connsiteX2376" fmla="*/ 74 w 10785"/>
                  <a:gd name="connsiteY2376" fmla="*/ 6197 h 10000"/>
                  <a:gd name="connsiteX2377" fmla="*/ 74 w 10785"/>
                  <a:gd name="connsiteY2377" fmla="*/ 6231 h 10000"/>
                  <a:gd name="connsiteX2378" fmla="*/ 74 w 10785"/>
                  <a:gd name="connsiteY2378" fmla="*/ 6214 h 10000"/>
                  <a:gd name="connsiteX2379" fmla="*/ 65 w 10785"/>
                  <a:gd name="connsiteY2379" fmla="*/ 6214 h 10000"/>
                  <a:gd name="connsiteX2380" fmla="*/ 65 w 10785"/>
                  <a:gd name="connsiteY2380" fmla="*/ 6248 h 10000"/>
                  <a:gd name="connsiteX2381" fmla="*/ 74 w 10785"/>
                  <a:gd name="connsiteY2381" fmla="*/ 6256 h 10000"/>
                  <a:gd name="connsiteX2382" fmla="*/ 78 w 10785"/>
                  <a:gd name="connsiteY2382" fmla="*/ 6256 h 10000"/>
                  <a:gd name="connsiteX2383" fmla="*/ 106 w 10785"/>
                  <a:gd name="connsiteY2383" fmla="*/ 6308 h 10000"/>
                  <a:gd name="connsiteX2384" fmla="*/ 138 w 10785"/>
                  <a:gd name="connsiteY2384" fmla="*/ 6299 h 10000"/>
                  <a:gd name="connsiteX2385" fmla="*/ 152 w 10785"/>
                  <a:gd name="connsiteY2385" fmla="*/ 6299 h 10000"/>
                  <a:gd name="connsiteX2386" fmla="*/ 166 w 10785"/>
                  <a:gd name="connsiteY2386" fmla="*/ 6325 h 10000"/>
                  <a:gd name="connsiteX2387" fmla="*/ 166 w 10785"/>
                  <a:gd name="connsiteY2387" fmla="*/ 6333 h 10000"/>
                  <a:gd name="connsiteX2388" fmla="*/ 171 w 10785"/>
                  <a:gd name="connsiteY2388" fmla="*/ 6350 h 10000"/>
                  <a:gd name="connsiteX2389" fmla="*/ 180 w 10785"/>
                  <a:gd name="connsiteY2389" fmla="*/ 6350 h 10000"/>
                  <a:gd name="connsiteX2390" fmla="*/ 180 w 10785"/>
                  <a:gd name="connsiteY2390" fmla="*/ 6359 h 10000"/>
                  <a:gd name="connsiteX2391" fmla="*/ 171 w 10785"/>
                  <a:gd name="connsiteY2391" fmla="*/ 6368 h 10000"/>
                  <a:gd name="connsiteX2392" fmla="*/ 106 w 10785"/>
                  <a:gd name="connsiteY2392" fmla="*/ 6350 h 10000"/>
                  <a:gd name="connsiteX2393" fmla="*/ 101 w 10785"/>
                  <a:gd name="connsiteY2393" fmla="*/ 6359 h 10000"/>
                  <a:gd name="connsiteX2394" fmla="*/ 101 w 10785"/>
                  <a:gd name="connsiteY2394" fmla="*/ 6385 h 10000"/>
                  <a:gd name="connsiteX2395" fmla="*/ 78 w 10785"/>
                  <a:gd name="connsiteY2395" fmla="*/ 6393 h 10000"/>
                  <a:gd name="connsiteX2396" fmla="*/ 74 w 10785"/>
                  <a:gd name="connsiteY2396" fmla="*/ 6385 h 10000"/>
                  <a:gd name="connsiteX2397" fmla="*/ 65 w 10785"/>
                  <a:gd name="connsiteY2397" fmla="*/ 6393 h 10000"/>
                  <a:gd name="connsiteX2398" fmla="*/ 60 w 10785"/>
                  <a:gd name="connsiteY2398" fmla="*/ 6419 h 10000"/>
                  <a:gd name="connsiteX2399" fmla="*/ 51 w 10785"/>
                  <a:gd name="connsiteY2399" fmla="*/ 6419 h 10000"/>
                  <a:gd name="connsiteX2400" fmla="*/ 46 w 10785"/>
                  <a:gd name="connsiteY2400" fmla="*/ 6410 h 10000"/>
                  <a:gd name="connsiteX2401" fmla="*/ 37 w 10785"/>
                  <a:gd name="connsiteY2401" fmla="*/ 6393 h 10000"/>
                  <a:gd name="connsiteX2402" fmla="*/ 32 w 10785"/>
                  <a:gd name="connsiteY2402" fmla="*/ 6419 h 10000"/>
                  <a:gd name="connsiteX2403" fmla="*/ 37 w 10785"/>
                  <a:gd name="connsiteY2403" fmla="*/ 6462 h 10000"/>
                  <a:gd name="connsiteX2404" fmla="*/ 46 w 10785"/>
                  <a:gd name="connsiteY2404" fmla="*/ 6462 h 10000"/>
                  <a:gd name="connsiteX2405" fmla="*/ 51 w 10785"/>
                  <a:gd name="connsiteY2405" fmla="*/ 6470 h 10000"/>
                  <a:gd name="connsiteX2406" fmla="*/ 51 w 10785"/>
                  <a:gd name="connsiteY2406" fmla="*/ 6496 h 10000"/>
                  <a:gd name="connsiteX2407" fmla="*/ 51 w 10785"/>
                  <a:gd name="connsiteY2407" fmla="*/ 6504 h 10000"/>
                  <a:gd name="connsiteX2408" fmla="*/ 37 w 10785"/>
                  <a:gd name="connsiteY2408" fmla="*/ 6530 h 10000"/>
                  <a:gd name="connsiteX2409" fmla="*/ 18 w 10785"/>
                  <a:gd name="connsiteY2409" fmla="*/ 6598 h 10000"/>
                  <a:gd name="connsiteX2410" fmla="*/ 28 w 10785"/>
                  <a:gd name="connsiteY2410" fmla="*/ 6632 h 10000"/>
                  <a:gd name="connsiteX2411" fmla="*/ 18 w 10785"/>
                  <a:gd name="connsiteY2411" fmla="*/ 6667 h 10000"/>
                  <a:gd name="connsiteX2412" fmla="*/ 28 w 10785"/>
                  <a:gd name="connsiteY2412" fmla="*/ 6692 h 10000"/>
                  <a:gd name="connsiteX2413" fmla="*/ 28 w 10785"/>
                  <a:gd name="connsiteY2413" fmla="*/ 6709 h 10000"/>
                  <a:gd name="connsiteX2414" fmla="*/ 18 w 10785"/>
                  <a:gd name="connsiteY2414" fmla="*/ 6718 h 10000"/>
                  <a:gd name="connsiteX2415" fmla="*/ 5 w 10785"/>
                  <a:gd name="connsiteY2415" fmla="*/ 6744 h 10000"/>
                  <a:gd name="connsiteX2416" fmla="*/ 0 w 10785"/>
                  <a:gd name="connsiteY2416" fmla="*/ 6769 h 10000"/>
                  <a:gd name="connsiteX2417" fmla="*/ 5 w 10785"/>
                  <a:gd name="connsiteY2417" fmla="*/ 6778 h 10000"/>
                  <a:gd name="connsiteX2418" fmla="*/ 32 w 10785"/>
                  <a:gd name="connsiteY2418" fmla="*/ 6778 h 10000"/>
                  <a:gd name="connsiteX2419" fmla="*/ 46 w 10785"/>
                  <a:gd name="connsiteY2419" fmla="*/ 6821 h 10000"/>
                  <a:gd name="connsiteX2420" fmla="*/ 46 w 10785"/>
                  <a:gd name="connsiteY2420" fmla="*/ 6855 h 10000"/>
                  <a:gd name="connsiteX2421" fmla="*/ 32 w 10785"/>
                  <a:gd name="connsiteY2421" fmla="*/ 6855 h 10000"/>
                  <a:gd name="connsiteX2422" fmla="*/ 14 w 10785"/>
                  <a:gd name="connsiteY2422" fmla="*/ 6821 h 10000"/>
                  <a:gd name="connsiteX2423" fmla="*/ 14 w 10785"/>
                  <a:gd name="connsiteY2423" fmla="*/ 6846 h 10000"/>
                  <a:gd name="connsiteX2424" fmla="*/ 0 w 10785"/>
                  <a:gd name="connsiteY2424" fmla="*/ 6897 h 10000"/>
                  <a:gd name="connsiteX2425" fmla="*/ 0 w 10785"/>
                  <a:gd name="connsiteY2425" fmla="*/ 6915 h 10000"/>
                  <a:gd name="connsiteX2426" fmla="*/ 5 w 10785"/>
                  <a:gd name="connsiteY2426" fmla="*/ 6932 h 10000"/>
                  <a:gd name="connsiteX2427" fmla="*/ 14 w 10785"/>
                  <a:gd name="connsiteY2427" fmla="*/ 6940 h 10000"/>
                  <a:gd name="connsiteX2428" fmla="*/ 18 w 10785"/>
                  <a:gd name="connsiteY2428" fmla="*/ 6957 h 10000"/>
                  <a:gd name="connsiteX2429" fmla="*/ 28 w 10785"/>
                  <a:gd name="connsiteY2429" fmla="*/ 6966 h 10000"/>
                  <a:gd name="connsiteX2430" fmla="*/ 28 w 10785"/>
                  <a:gd name="connsiteY2430" fmla="*/ 6983 h 10000"/>
                  <a:gd name="connsiteX2431" fmla="*/ 18 w 10785"/>
                  <a:gd name="connsiteY2431" fmla="*/ 7051 h 10000"/>
                  <a:gd name="connsiteX2432" fmla="*/ 28 w 10785"/>
                  <a:gd name="connsiteY2432" fmla="*/ 7068 h 10000"/>
                  <a:gd name="connsiteX2433" fmla="*/ 32 w 10785"/>
                  <a:gd name="connsiteY2433" fmla="*/ 7068 h 10000"/>
                  <a:gd name="connsiteX2434" fmla="*/ 32 w 10785"/>
                  <a:gd name="connsiteY2434" fmla="*/ 7094 h 10000"/>
                  <a:gd name="connsiteX2435" fmla="*/ 60 w 10785"/>
                  <a:gd name="connsiteY2435" fmla="*/ 7162 h 10000"/>
                  <a:gd name="connsiteX2436" fmla="*/ 60 w 10785"/>
                  <a:gd name="connsiteY2436" fmla="*/ 7231 h 10000"/>
                  <a:gd name="connsiteX2437" fmla="*/ 60 w 10785"/>
                  <a:gd name="connsiteY2437" fmla="*/ 7239 h 10000"/>
                  <a:gd name="connsiteX2438" fmla="*/ 78 w 10785"/>
                  <a:gd name="connsiteY2438" fmla="*/ 7239 h 10000"/>
                  <a:gd name="connsiteX2439" fmla="*/ 88 w 10785"/>
                  <a:gd name="connsiteY2439" fmla="*/ 7239 h 10000"/>
                  <a:gd name="connsiteX2440" fmla="*/ 92 w 10785"/>
                  <a:gd name="connsiteY2440" fmla="*/ 7256 h 10000"/>
                  <a:gd name="connsiteX2441" fmla="*/ 111 w 10785"/>
                  <a:gd name="connsiteY2441" fmla="*/ 7256 h 10000"/>
                  <a:gd name="connsiteX2442" fmla="*/ 120 w 10785"/>
                  <a:gd name="connsiteY2442" fmla="*/ 7256 h 10000"/>
                  <a:gd name="connsiteX2443" fmla="*/ 134 w 10785"/>
                  <a:gd name="connsiteY2443" fmla="*/ 7282 h 10000"/>
                  <a:gd name="connsiteX2444" fmla="*/ 134 w 10785"/>
                  <a:gd name="connsiteY2444" fmla="*/ 7316 h 10000"/>
                  <a:gd name="connsiteX2445" fmla="*/ 152 w 10785"/>
                  <a:gd name="connsiteY2445" fmla="*/ 7299 h 10000"/>
                  <a:gd name="connsiteX2446" fmla="*/ 161 w 10785"/>
                  <a:gd name="connsiteY2446" fmla="*/ 7299 h 10000"/>
                  <a:gd name="connsiteX2447" fmla="*/ 166 w 10785"/>
                  <a:gd name="connsiteY2447" fmla="*/ 7291 h 10000"/>
                  <a:gd name="connsiteX2448" fmla="*/ 194 w 10785"/>
                  <a:gd name="connsiteY2448" fmla="*/ 7291 h 10000"/>
                  <a:gd name="connsiteX2449" fmla="*/ 207 w 10785"/>
                  <a:gd name="connsiteY2449" fmla="*/ 7299 h 10000"/>
                  <a:gd name="connsiteX2450" fmla="*/ 221 w 10785"/>
                  <a:gd name="connsiteY2450" fmla="*/ 7342 h 10000"/>
                  <a:gd name="connsiteX2451" fmla="*/ 235 w 10785"/>
                  <a:gd name="connsiteY2451" fmla="*/ 7342 h 10000"/>
                  <a:gd name="connsiteX2452" fmla="*/ 235 w 10785"/>
                  <a:gd name="connsiteY2452" fmla="*/ 7368 h 10000"/>
                  <a:gd name="connsiteX2453" fmla="*/ 226 w 10785"/>
                  <a:gd name="connsiteY2453" fmla="*/ 7393 h 10000"/>
                  <a:gd name="connsiteX2454" fmla="*/ 226 w 10785"/>
                  <a:gd name="connsiteY2454" fmla="*/ 7402 h 10000"/>
                  <a:gd name="connsiteX2455" fmla="*/ 235 w 10785"/>
                  <a:gd name="connsiteY2455" fmla="*/ 7419 h 10000"/>
                  <a:gd name="connsiteX2456" fmla="*/ 240 w 10785"/>
                  <a:gd name="connsiteY2456" fmla="*/ 7436 h 10000"/>
                  <a:gd name="connsiteX2457" fmla="*/ 235 w 10785"/>
                  <a:gd name="connsiteY2457" fmla="*/ 7462 h 10000"/>
                  <a:gd name="connsiteX2458" fmla="*/ 226 w 10785"/>
                  <a:gd name="connsiteY2458" fmla="*/ 7479 h 10000"/>
                  <a:gd name="connsiteX2459" fmla="*/ 226 w 10785"/>
                  <a:gd name="connsiteY2459" fmla="*/ 7504 h 10000"/>
                  <a:gd name="connsiteX2460" fmla="*/ 226 w 10785"/>
                  <a:gd name="connsiteY2460" fmla="*/ 7513 h 10000"/>
                  <a:gd name="connsiteX2461" fmla="*/ 240 w 10785"/>
                  <a:gd name="connsiteY2461" fmla="*/ 7538 h 10000"/>
                  <a:gd name="connsiteX2462" fmla="*/ 267 w 10785"/>
                  <a:gd name="connsiteY2462" fmla="*/ 7641 h 10000"/>
                  <a:gd name="connsiteX2463" fmla="*/ 281 w 10785"/>
                  <a:gd name="connsiteY2463" fmla="*/ 7667 h 10000"/>
                  <a:gd name="connsiteX2464" fmla="*/ 286 w 10785"/>
                  <a:gd name="connsiteY2464" fmla="*/ 7675 h 10000"/>
                  <a:gd name="connsiteX2465" fmla="*/ 286 w 10785"/>
                  <a:gd name="connsiteY2465" fmla="*/ 7692 h 10000"/>
                  <a:gd name="connsiteX2466" fmla="*/ 286 w 10785"/>
                  <a:gd name="connsiteY2466" fmla="*/ 7709 h 10000"/>
                  <a:gd name="connsiteX2467" fmla="*/ 295 w 10785"/>
                  <a:gd name="connsiteY2467" fmla="*/ 7726 h 10000"/>
                  <a:gd name="connsiteX2468" fmla="*/ 318 w 10785"/>
                  <a:gd name="connsiteY2468" fmla="*/ 7709 h 10000"/>
                  <a:gd name="connsiteX2469" fmla="*/ 327 w 10785"/>
                  <a:gd name="connsiteY2469" fmla="*/ 7726 h 10000"/>
                  <a:gd name="connsiteX2470" fmla="*/ 341 w 10785"/>
                  <a:gd name="connsiteY2470" fmla="*/ 7735 h 10000"/>
                  <a:gd name="connsiteX2471" fmla="*/ 332 w 10785"/>
                  <a:gd name="connsiteY2471" fmla="*/ 7752 h 10000"/>
                  <a:gd name="connsiteX2472" fmla="*/ 341 w 10785"/>
                  <a:gd name="connsiteY2472" fmla="*/ 7761 h 10000"/>
                  <a:gd name="connsiteX2473" fmla="*/ 355 w 10785"/>
                  <a:gd name="connsiteY2473" fmla="*/ 7761 h 10000"/>
                  <a:gd name="connsiteX2474" fmla="*/ 355 w 10785"/>
                  <a:gd name="connsiteY2474" fmla="*/ 7803 h 10000"/>
                  <a:gd name="connsiteX2475" fmla="*/ 313 w 10785"/>
                  <a:gd name="connsiteY2475" fmla="*/ 7846 h 10000"/>
                  <a:gd name="connsiteX2476" fmla="*/ 295 w 10785"/>
                  <a:gd name="connsiteY2476" fmla="*/ 7846 h 10000"/>
                  <a:gd name="connsiteX2477" fmla="*/ 281 w 10785"/>
                  <a:gd name="connsiteY2477" fmla="*/ 7821 h 10000"/>
                  <a:gd name="connsiteX2478" fmla="*/ 272 w 10785"/>
                  <a:gd name="connsiteY2478" fmla="*/ 7821 h 10000"/>
                  <a:gd name="connsiteX2479" fmla="*/ 267 w 10785"/>
                  <a:gd name="connsiteY2479" fmla="*/ 7838 h 10000"/>
                  <a:gd name="connsiteX2480" fmla="*/ 258 w 10785"/>
                  <a:gd name="connsiteY2480" fmla="*/ 7846 h 10000"/>
                  <a:gd name="connsiteX2481" fmla="*/ 253 w 10785"/>
                  <a:gd name="connsiteY2481" fmla="*/ 7863 h 10000"/>
                  <a:gd name="connsiteX2482" fmla="*/ 253 w 10785"/>
                  <a:gd name="connsiteY2482" fmla="*/ 7872 h 10000"/>
                  <a:gd name="connsiteX2483" fmla="*/ 267 w 10785"/>
                  <a:gd name="connsiteY2483" fmla="*/ 7897 h 10000"/>
                  <a:gd name="connsiteX2484" fmla="*/ 272 w 10785"/>
                  <a:gd name="connsiteY2484" fmla="*/ 7915 h 10000"/>
                  <a:gd name="connsiteX2485" fmla="*/ 267 w 10785"/>
                  <a:gd name="connsiteY2485" fmla="*/ 7940 h 10000"/>
                  <a:gd name="connsiteX2486" fmla="*/ 272 w 10785"/>
                  <a:gd name="connsiteY2486" fmla="*/ 7949 h 10000"/>
                  <a:gd name="connsiteX2487" fmla="*/ 272 w 10785"/>
                  <a:gd name="connsiteY2487" fmla="*/ 7957 h 10000"/>
                  <a:gd name="connsiteX2488" fmla="*/ 281 w 10785"/>
                  <a:gd name="connsiteY2488" fmla="*/ 7974 h 10000"/>
                  <a:gd name="connsiteX2489" fmla="*/ 286 w 10785"/>
                  <a:gd name="connsiteY2489" fmla="*/ 7983 h 10000"/>
                  <a:gd name="connsiteX2490" fmla="*/ 281 w 10785"/>
                  <a:gd name="connsiteY2490" fmla="*/ 8009 h 10000"/>
                  <a:gd name="connsiteX2491" fmla="*/ 286 w 10785"/>
                  <a:gd name="connsiteY2491" fmla="*/ 8060 h 10000"/>
                  <a:gd name="connsiteX2492" fmla="*/ 286 w 10785"/>
                  <a:gd name="connsiteY2492" fmla="*/ 8060 h 10000"/>
                  <a:gd name="connsiteX2493" fmla="*/ 295 w 10785"/>
                  <a:gd name="connsiteY2493" fmla="*/ 8077 h 10000"/>
                  <a:gd name="connsiteX2494" fmla="*/ 309 w 10785"/>
                  <a:gd name="connsiteY2494" fmla="*/ 8077 h 10000"/>
                  <a:gd name="connsiteX2495" fmla="*/ 313 w 10785"/>
                  <a:gd name="connsiteY2495" fmla="*/ 8060 h 10000"/>
                  <a:gd name="connsiteX2496" fmla="*/ 318 w 10785"/>
                  <a:gd name="connsiteY2496" fmla="*/ 8051 h 10000"/>
                  <a:gd name="connsiteX2497" fmla="*/ 318 w 10785"/>
                  <a:gd name="connsiteY2497" fmla="*/ 8034 h 10000"/>
                  <a:gd name="connsiteX2498" fmla="*/ 332 w 10785"/>
                  <a:gd name="connsiteY2498" fmla="*/ 8026 h 10000"/>
                  <a:gd name="connsiteX2499" fmla="*/ 359 w 10785"/>
                  <a:gd name="connsiteY2499" fmla="*/ 8034 h 10000"/>
                  <a:gd name="connsiteX2500" fmla="*/ 378 w 10785"/>
                  <a:gd name="connsiteY2500" fmla="*/ 8026 h 10000"/>
                  <a:gd name="connsiteX2501" fmla="*/ 401 w 10785"/>
                  <a:gd name="connsiteY2501" fmla="*/ 8026 h 10000"/>
                  <a:gd name="connsiteX2502" fmla="*/ 419 w 10785"/>
                  <a:gd name="connsiteY2502" fmla="*/ 8009 h 10000"/>
                  <a:gd name="connsiteX2503" fmla="*/ 433 w 10785"/>
                  <a:gd name="connsiteY2503" fmla="*/ 8034 h 10000"/>
                  <a:gd name="connsiteX2504" fmla="*/ 442 w 10785"/>
                  <a:gd name="connsiteY2504" fmla="*/ 8060 h 10000"/>
                  <a:gd name="connsiteX2505" fmla="*/ 442 w 10785"/>
                  <a:gd name="connsiteY2505" fmla="*/ 8077 h 10000"/>
                  <a:gd name="connsiteX2506" fmla="*/ 461 w 10785"/>
                  <a:gd name="connsiteY2506" fmla="*/ 8111 h 10000"/>
                  <a:gd name="connsiteX2507" fmla="*/ 461 w 10785"/>
                  <a:gd name="connsiteY2507" fmla="*/ 8137 h 10000"/>
                  <a:gd name="connsiteX2508" fmla="*/ 447 w 10785"/>
                  <a:gd name="connsiteY2508" fmla="*/ 8145 h 10000"/>
                  <a:gd name="connsiteX2509" fmla="*/ 442 w 10785"/>
                  <a:gd name="connsiteY2509" fmla="*/ 8145 h 10000"/>
                  <a:gd name="connsiteX2510" fmla="*/ 442 w 10785"/>
                  <a:gd name="connsiteY2510" fmla="*/ 8162 h 10000"/>
                  <a:gd name="connsiteX2511" fmla="*/ 442 w 10785"/>
                  <a:gd name="connsiteY2511" fmla="*/ 8171 h 10000"/>
                  <a:gd name="connsiteX2512" fmla="*/ 447 w 10785"/>
                  <a:gd name="connsiteY2512" fmla="*/ 8214 h 10000"/>
                  <a:gd name="connsiteX2513" fmla="*/ 465 w 10785"/>
                  <a:gd name="connsiteY2513" fmla="*/ 8231 h 10000"/>
                  <a:gd name="connsiteX2514" fmla="*/ 488 w 10785"/>
                  <a:gd name="connsiteY2514" fmla="*/ 8231 h 10000"/>
                  <a:gd name="connsiteX2515" fmla="*/ 493 w 10785"/>
                  <a:gd name="connsiteY2515" fmla="*/ 8231 h 10000"/>
                  <a:gd name="connsiteX2516" fmla="*/ 502 w 10785"/>
                  <a:gd name="connsiteY2516" fmla="*/ 8231 h 10000"/>
                  <a:gd name="connsiteX2517" fmla="*/ 507 w 10785"/>
                  <a:gd name="connsiteY2517" fmla="*/ 8248 h 10000"/>
                  <a:gd name="connsiteX2518" fmla="*/ 521 w 10785"/>
                  <a:gd name="connsiteY2518" fmla="*/ 8274 h 10000"/>
                  <a:gd name="connsiteX2519" fmla="*/ 525 w 10785"/>
                  <a:gd name="connsiteY2519" fmla="*/ 8333 h 10000"/>
                  <a:gd name="connsiteX2520" fmla="*/ 525 w 10785"/>
                  <a:gd name="connsiteY2520" fmla="*/ 8359 h 10000"/>
                  <a:gd name="connsiteX2521" fmla="*/ 525 w 10785"/>
                  <a:gd name="connsiteY2521" fmla="*/ 8368 h 10000"/>
                  <a:gd name="connsiteX2522" fmla="*/ 548 w 10785"/>
                  <a:gd name="connsiteY2522" fmla="*/ 8393 h 10000"/>
                  <a:gd name="connsiteX2523" fmla="*/ 553 w 10785"/>
                  <a:gd name="connsiteY2523" fmla="*/ 8385 h 10000"/>
                  <a:gd name="connsiteX2524" fmla="*/ 562 w 10785"/>
                  <a:gd name="connsiteY2524" fmla="*/ 8385 h 10000"/>
                  <a:gd name="connsiteX2525" fmla="*/ 576 w 10785"/>
                  <a:gd name="connsiteY2525" fmla="*/ 8385 h 10000"/>
                  <a:gd name="connsiteX2526" fmla="*/ 585 w 10785"/>
                  <a:gd name="connsiteY2526" fmla="*/ 8410 h 10000"/>
                  <a:gd name="connsiteX2527" fmla="*/ 594 w 10785"/>
                  <a:gd name="connsiteY2527" fmla="*/ 8410 h 10000"/>
                  <a:gd name="connsiteX2528" fmla="*/ 608 w 10785"/>
                  <a:gd name="connsiteY2528" fmla="*/ 8410 h 10000"/>
                  <a:gd name="connsiteX2529" fmla="*/ 654 w 10785"/>
                  <a:gd name="connsiteY2529" fmla="*/ 8385 h 10000"/>
                  <a:gd name="connsiteX2530" fmla="*/ 659 w 10785"/>
                  <a:gd name="connsiteY2530" fmla="*/ 8385 h 10000"/>
                  <a:gd name="connsiteX2531" fmla="*/ 696 w 10785"/>
                  <a:gd name="connsiteY2531" fmla="*/ 8470 h 10000"/>
                  <a:gd name="connsiteX2532" fmla="*/ 700 w 10785"/>
                  <a:gd name="connsiteY2532" fmla="*/ 8470 h 10000"/>
                  <a:gd name="connsiteX2533" fmla="*/ 710 w 10785"/>
                  <a:gd name="connsiteY2533" fmla="*/ 8462 h 10000"/>
                  <a:gd name="connsiteX2534" fmla="*/ 714 w 10785"/>
                  <a:gd name="connsiteY2534" fmla="*/ 8462 h 10000"/>
                  <a:gd name="connsiteX2535" fmla="*/ 724 w 10785"/>
                  <a:gd name="connsiteY2535" fmla="*/ 8470 h 10000"/>
                  <a:gd name="connsiteX2536" fmla="*/ 733 w 10785"/>
                  <a:gd name="connsiteY2536" fmla="*/ 8470 h 10000"/>
                  <a:gd name="connsiteX2537" fmla="*/ 742 w 10785"/>
                  <a:gd name="connsiteY2537" fmla="*/ 8487 h 10000"/>
                  <a:gd name="connsiteX2538" fmla="*/ 747 w 10785"/>
                  <a:gd name="connsiteY2538" fmla="*/ 8496 h 10000"/>
                  <a:gd name="connsiteX2539" fmla="*/ 770 w 10785"/>
                  <a:gd name="connsiteY2539" fmla="*/ 8496 h 10000"/>
                  <a:gd name="connsiteX2540" fmla="*/ 783 w 10785"/>
                  <a:gd name="connsiteY2540" fmla="*/ 8521 h 10000"/>
                  <a:gd name="connsiteX2541" fmla="*/ 797 w 10785"/>
                  <a:gd name="connsiteY2541" fmla="*/ 8521 h 10000"/>
                  <a:gd name="connsiteX2542" fmla="*/ 806 w 10785"/>
                  <a:gd name="connsiteY2542" fmla="*/ 8530 h 10000"/>
                  <a:gd name="connsiteX2543" fmla="*/ 829 w 10785"/>
                  <a:gd name="connsiteY2543" fmla="*/ 8547 h 10000"/>
                  <a:gd name="connsiteX2544" fmla="*/ 834 w 10785"/>
                  <a:gd name="connsiteY2544" fmla="*/ 8556 h 10000"/>
                  <a:gd name="connsiteX2545" fmla="*/ 829 w 10785"/>
                  <a:gd name="connsiteY2545" fmla="*/ 8556 h 10000"/>
                  <a:gd name="connsiteX2546" fmla="*/ 834 w 10785"/>
                  <a:gd name="connsiteY2546" fmla="*/ 8607 h 10000"/>
                  <a:gd name="connsiteX2547" fmla="*/ 829 w 10785"/>
                  <a:gd name="connsiteY2547" fmla="*/ 8641 h 10000"/>
                  <a:gd name="connsiteX2548" fmla="*/ 806 w 10785"/>
                  <a:gd name="connsiteY2548" fmla="*/ 8658 h 10000"/>
                  <a:gd name="connsiteX2549" fmla="*/ 816 w 10785"/>
                  <a:gd name="connsiteY2549" fmla="*/ 8667 h 10000"/>
                  <a:gd name="connsiteX2550" fmla="*/ 820 w 10785"/>
                  <a:gd name="connsiteY2550" fmla="*/ 8667 h 10000"/>
                  <a:gd name="connsiteX2551" fmla="*/ 829 w 10785"/>
                  <a:gd name="connsiteY2551" fmla="*/ 8684 h 10000"/>
                  <a:gd name="connsiteX2552" fmla="*/ 806 w 10785"/>
                  <a:gd name="connsiteY2552" fmla="*/ 8692 h 10000"/>
                  <a:gd name="connsiteX2553" fmla="*/ 802 w 10785"/>
                  <a:gd name="connsiteY2553" fmla="*/ 8709 h 10000"/>
                  <a:gd name="connsiteX2554" fmla="*/ 802 w 10785"/>
                  <a:gd name="connsiteY2554" fmla="*/ 8735 h 10000"/>
                  <a:gd name="connsiteX2555" fmla="*/ 806 w 10785"/>
                  <a:gd name="connsiteY2555" fmla="*/ 8744 h 10000"/>
                  <a:gd name="connsiteX2556" fmla="*/ 816 w 10785"/>
                  <a:gd name="connsiteY2556" fmla="*/ 8752 h 10000"/>
                  <a:gd name="connsiteX2557" fmla="*/ 806 w 10785"/>
                  <a:gd name="connsiteY2557" fmla="*/ 8778 h 10000"/>
                  <a:gd name="connsiteX2558" fmla="*/ 820 w 10785"/>
                  <a:gd name="connsiteY2558" fmla="*/ 8778 h 10000"/>
                  <a:gd name="connsiteX2559" fmla="*/ 806 w 10785"/>
                  <a:gd name="connsiteY2559" fmla="*/ 8880 h 10000"/>
                  <a:gd name="connsiteX2560" fmla="*/ 797 w 10785"/>
                  <a:gd name="connsiteY2560" fmla="*/ 8880 h 10000"/>
                  <a:gd name="connsiteX2561" fmla="*/ 783 w 10785"/>
                  <a:gd name="connsiteY2561" fmla="*/ 8872 h 10000"/>
                  <a:gd name="connsiteX2562" fmla="*/ 770 w 10785"/>
                  <a:gd name="connsiteY2562" fmla="*/ 8880 h 10000"/>
                  <a:gd name="connsiteX2563" fmla="*/ 756 w 10785"/>
                  <a:gd name="connsiteY2563" fmla="*/ 8855 h 10000"/>
                  <a:gd name="connsiteX2564" fmla="*/ 733 w 10785"/>
                  <a:gd name="connsiteY2564" fmla="*/ 8906 h 10000"/>
                  <a:gd name="connsiteX2565" fmla="*/ 714 w 10785"/>
                  <a:gd name="connsiteY2565" fmla="*/ 8915 h 10000"/>
                  <a:gd name="connsiteX2566" fmla="*/ 710 w 10785"/>
                  <a:gd name="connsiteY2566" fmla="*/ 8940 h 10000"/>
                  <a:gd name="connsiteX2567" fmla="*/ 710 w 10785"/>
                  <a:gd name="connsiteY2567" fmla="*/ 9009 h 10000"/>
                  <a:gd name="connsiteX2568" fmla="*/ 728 w 10785"/>
                  <a:gd name="connsiteY2568" fmla="*/ 8991 h 10000"/>
                  <a:gd name="connsiteX2569" fmla="*/ 733 w 10785"/>
                  <a:gd name="connsiteY2569" fmla="*/ 8991 h 10000"/>
                  <a:gd name="connsiteX2570" fmla="*/ 747 w 10785"/>
                  <a:gd name="connsiteY2570" fmla="*/ 8983 h 10000"/>
                  <a:gd name="connsiteX2571" fmla="*/ 760 w 10785"/>
                  <a:gd name="connsiteY2571" fmla="*/ 8983 h 10000"/>
                  <a:gd name="connsiteX2572" fmla="*/ 770 w 10785"/>
                  <a:gd name="connsiteY2572" fmla="*/ 8983 h 10000"/>
                  <a:gd name="connsiteX2573" fmla="*/ 770 w 10785"/>
                  <a:gd name="connsiteY2573" fmla="*/ 8991 h 10000"/>
                  <a:gd name="connsiteX2574" fmla="*/ 783 w 10785"/>
                  <a:gd name="connsiteY2574" fmla="*/ 8991 h 10000"/>
                  <a:gd name="connsiteX2575" fmla="*/ 783 w 10785"/>
                  <a:gd name="connsiteY2575" fmla="*/ 9009 h 10000"/>
                  <a:gd name="connsiteX2576" fmla="*/ 783 w 10785"/>
                  <a:gd name="connsiteY2576" fmla="*/ 9017 h 10000"/>
                  <a:gd name="connsiteX2577" fmla="*/ 770 w 10785"/>
                  <a:gd name="connsiteY2577" fmla="*/ 9017 h 10000"/>
                  <a:gd name="connsiteX2578" fmla="*/ 724 w 10785"/>
                  <a:gd name="connsiteY2578" fmla="*/ 9051 h 10000"/>
                  <a:gd name="connsiteX2579" fmla="*/ 724 w 10785"/>
                  <a:gd name="connsiteY2579" fmla="*/ 9068 h 10000"/>
                  <a:gd name="connsiteX2580" fmla="*/ 728 w 10785"/>
                  <a:gd name="connsiteY2580" fmla="*/ 9077 h 10000"/>
                  <a:gd name="connsiteX2581" fmla="*/ 724 w 10785"/>
                  <a:gd name="connsiteY2581" fmla="*/ 9077 h 10000"/>
                  <a:gd name="connsiteX2582" fmla="*/ 710 w 10785"/>
                  <a:gd name="connsiteY2582" fmla="*/ 9077 h 10000"/>
                  <a:gd name="connsiteX2583" fmla="*/ 682 w 10785"/>
                  <a:gd name="connsiteY2583" fmla="*/ 9077 h 10000"/>
                  <a:gd name="connsiteX2584" fmla="*/ 673 w 10785"/>
                  <a:gd name="connsiteY2584" fmla="*/ 9103 h 10000"/>
                  <a:gd name="connsiteX2585" fmla="*/ 687 w 10785"/>
                  <a:gd name="connsiteY2585" fmla="*/ 9128 h 10000"/>
                  <a:gd name="connsiteX2586" fmla="*/ 700 w 10785"/>
                  <a:gd name="connsiteY2586" fmla="*/ 9128 h 10000"/>
                  <a:gd name="connsiteX2587" fmla="*/ 728 w 10785"/>
                  <a:gd name="connsiteY2587" fmla="*/ 9179 h 10000"/>
                  <a:gd name="connsiteX2588" fmla="*/ 724 w 10785"/>
                  <a:gd name="connsiteY2588" fmla="*/ 9188 h 10000"/>
                  <a:gd name="connsiteX2589" fmla="*/ 710 w 10785"/>
                  <a:gd name="connsiteY2589" fmla="*/ 9179 h 10000"/>
                  <a:gd name="connsiteX2590" fmla="*/ 700 w 10785"/>
                  <a:gd name="connsiteY2590" fmla="*/ 9205 h 10000"/>
                  <a:gd name="connsiteX2591" fmla="*/ 696 w 10785"/>
                  <a:gd name="connsiteY2591" fmla="*/ 9205 h 10000"/>
                  <a:gd name="connsiteX2592" fmla="*/ 654 w 10785"/>
                  <a:gd name="connsiteY2592" fmla="*/ 9299 h 10000"/>
                  <a:gd name="connsiteX2593" fmla="*/ 622 w 10785"/>
                  <a:gd name="connsiteY2593" fmla="*/ 9299 h 10000"/>
                  <a:gd name="connsiteX2594" fmla="*/ 613 w 10785"/>
                  <a:gd name="connsiteY2594" fmla="*/ 9316 h 10000"/>
                  <a:gd name="connsiteX2595" fmla="*/ 613 w 10785"/>
                  <a:gd name="connsiteY2595" fmla="*/ 9325 h 10000"/>
                  <a:gd name="connsiteX2596" fmla="*/ 608 w 10785"/>
                  <a:gd name="connsiteY2596" fmla="*/ 9342 h 10000"/>
                  <a:gd name="connsiteX2597" fmla="*/ 636 w 10785"/>
                  <a:gd name="connsiteY2597" fmla="*/ 9376 h 10000"/>
                  <a:gd name="connsiteX2598" fmla="*/ 641 w 10785"/>
                  <a:gd name="connsiteY2598" fmla="*/ 9402 h 10000"/>
                  <a:gd name="connsiteX2599" fmla="*/ 654 w 10785"/>
                  <a:gd name="connsiteY2599" fmla="*/ 9427 h 10000"/>
                  <a:gd name="connsiteX2600" fmla="*/ 668 w 10785"/>
                  <a:gd name="connsiteY2600" fmla="*/ 9427 h 10000"/>
                  <a:gd name="connsiteX2601" fmla="*/ 668 w 10785"/>
                  <a:gd name="connsiteY2601" fmla="*/ 9427 h 10000"/>
                  <a:gd name="connsiteX2602" fmla="*/ 774 w 10785"/>
                  <a:gd name="connsiteY2602" fmla="*/ 9547 h 10000"/>
                  <a:gd name="connsiteX2603" fmla="*/ 797 w 10785"/>
                  <a:gd name="connsiteY2603" fmla="*/ 9598 h 10000"/>
                  <a:gd name="connsiteX2604" fmla="*/ 802 w 10785"/>
                  <a:gd name="connsiteY2604" fmla="*/ 9598 h 10000"/>
                  <a:gd name="connsiteX2605" fmla="*/ 816 w 10785"/>
                  <a:gd name="connsiteY2605" fmla="*/ 9624 h 10000"/>
                  <a:gd name="connsiteX2606" fmla="*/ 843 w 10785"/>
                  <a:gd name="connsiteY2606" fmla="*/ 9615 h 10000"/>
                  <a:gd name="connsiteX2607" fmla="*/ 857 w 10785"/>
                  <a:gd name="connsiteY2607" fmla="*/ 9624 h 10000"/>
                  <a:gd name="connsiteX2608" fmla="*/ 862 w 10785"/>
                  <a:gd name="connsiteY2608" fmla="*/ 9615 h 10000"/>
                  <a:gd name="connsiteX2609" fmla="*/ 880 w 10785"/>
                  <a:gd name="connsiteY2609" fmla="*/ 9624 h 10000"/>
                  <a:gd name="connsiteX2610" fmla="*/ 889 w 10785"/>
                  <a:gd name="connsiteY2610" fmla="*/ 9641 h 10000"/>
                  <a:gd name="connsiteX2611" fmla="*/ 935 w 10785"/>
                  <a:gd name="connsiteY2611" fmla="*/ 9675 h 10000"/>
                  <a:gd name="connsiteX2612" fmla="*/ 977 w 10785"/>
                  <a:gd name="connsiteY2612" fmla="*/ 9667 h 10000"/>
                  <a:gd name="connsiteX2613" fmla="*/ 995 w 10785"/>
                  <a:gd name="connsiteY2613" fmla="*/ 9675 h 10000"/>
                  <a:gd name="connsiteX2614" fmla="*/ 1014 w 10785"/>
                  <a:gd name="connsiteY2614" fmla="*/ 9675 h 10000"/>
                  <a:gd name="connsiteX2615" fmla="*/ 1069 w 10785"/>
                  <a:gd name="connsiteY2615" fmla="*/ 9752 h 10000"/>
                  <a:gd name="connsiteX2616" fmla="*/ 1074 w 10785"/>
                  <a:gd name="connsiteY2616" fmla="*/ 9761 h 10000"/>
                  <a:gd name="connsiteX2617" fmla="*/ 1083 w 10785"/>
                  <a:gd name="connsiteY2617" fmla="*/ 9778 h 10000"/>
                  <a:gd name="connsiteX2618" fmla="*/ 1115 w 10785"/>
                  <a:gd name="connsiteY2618" fmla="*/ 9752 h 10000"/>
                  <a:gd name="connsiteX2619" fmla="*/ 1129 w 10785"/>
                  <a:gd name="connsiteY2619" fmla="*/ 9752 h 10000"/>
                  <a:gd name="connsiteX2620" fmla="*/ 1138 w 10785"/>
                  <a:gd name="connsiteY2620" fmla="*/ 9761 h 10000"/>
                  <a:gd name="connsiteX2621" fmla="*/ 1143 w 10785"/>
                  <a:gd name="connsiteY2621" fmla="*/ 9752 h 10000"/>
                  <a:gd name="connsiteX2622" fmla="*/ 1161 w 10785"/>
                  <a:gd name="connsiteY2622" fmla="*/ 9761 h 10000"/>
                  <a:gd name="connsiteX2623" fmla="*/ 1171 w 10785"/>
                  <a:gd name="connsiteY2623" fmla="*/ 9778 h 10000"/>
                  <a:gd name="connsiteX2624" fmla="*/ 1175 w 10785"/>
                  <a:gd name="connsiteY2624" fmla="*/ 9778 h 10000"/>
                  <a:gd name="connsiteX2625" fmla="*/ 1189 w 10785"/>
                  <a:gd name="connsiteY2625" fmla="*/ 9778 h 10000"/>
                  <a:gd name="connsiteX2626" fmla="*/ 1198 w 10785"/>
                  <a:gd name="connsiteY2626" fmla="*/ 9786 h 10000"/>
                  <a:gd name="connsiteX2627" fmla="*/ 1203 w 10785"/>
                  <a:gd name="connsiteY2627" fmla="*/ 9803 h 10000"/>
                  <a:gd name="connsiteX2628" fmla="*/ 1198 w 10785"/>
                  <a:gd name="connsiteY2628" fmla="*/ 9838 h 10000"/>
                  <a:gd name="connsiteX2629" fmla="*/ 1212 w 10785"/>
                  <a:gd name="connsiteY2629" fmla="*/ 9863 h 10000"/>
                  <a:gd name="connsiteX2630" fmla="*/ 1230 w 10785"/>
                  <a:gd name="connsiteY2630" fmla="*/ 9872 h 10000"/>
                  <a:gd name="connsiteX2631" fmla="*/ 1249 w 10785"/>
                  <a:gd name="connsiteY2631" fmla="*/ 9897 h 10000"/>
                  <a:gd name="connsiteX2632" fmla="*/ 1263 w 10785"/>
                  <a:gd name="connsiteY2632" fmla="*/ 9897 h 10000"/>
                  <a:gd name="connsiteX2633" fmla="*/ 1276 w 10785"/>
                  <a:gd name="connsiteY2633" fmla="*/ 9923 h 10000"/>
                  <a:gd name="connsiteX2634" fmla="*/ 1281 w 10785"/>
                  <a:gd name="connsiteY2634" fmla="*/ 9949 h 10000"/>
                  <a:gd name="connsiteX2635" fmla="*/ 1290 w 10785"/>
                  <a:gd name="connsiteY2635" fmla="*/ 9949 h 10000"/>
                  <a:gd name="connsiteX2636" fmla="*/ 1295 w 10785"/>
                  <a:gd name="connsiteY2636" fmla="*/ 10000 h 10000"/>
                  <a:gd name="connsiteX2637" fmla="*/ 1332 w 10785"/>
                  <a:gd name="connsiteY2637" fmla="*/ 10000 h 10000"/>
                  <a:gd name="connsiteX2638" fmla="*/ 1336 w 10785"/>
                  <a:gd name="connsiteY2638" fmla="*/ 10000 h 10000"/>
                  <a:gd name="connsiteX2639" fmla="*/ 1346 w 10785"/>
                  <a:gd name="connsiteY2639" fmla="*/ 9983 h 10000"/>
                  <a:gd name="connsiteX2640" fmla="*/ 1350 w 10785"/>
                  <a:gd name="connsiteY2640" fmla="*/ 9949 h 10000"/>
                  <a:gd name="connsiteX2641" fmla="*/ 1369 w 10785"/>
                  <a:gd name="connsiteY2641" fmla="*/ 9940 h 10000"/>
                  <a:gd name="connsiteX2642" fmla="*/ 1378 w 10785"/>
                  <a:gd name="connsiteY2642" fmla="*/ 9897 h 10000"/>
                  <a:gd name="connsiteX2643" fmla="*/ 1369 w 10785"/>
                  <a:gd name="connsiteY2643" fmla="*/ 9889 h 10000"/>
                  <a:gd name="connsiteX2644" fmla="*/ 1318 w 10785"/>
                  <a:gd name="connsiteY2644" fmla="*/ 9701 h 10000"/>
                  <a:gd name="connsiteX2645" fmla="*/ 1318 w 10785"/>
                  <a:gd name="connsiteY2645" fmla="*/ 9650 h 10000"/>
                  <a:gd name="connsiteX2646" fmla="*/ 1323 w 10785"/>
                  <a:gd name="connsiteY2646" fmla="*/ 9590 h 10000"/>
                  <a:gd name="connsiteX2647" fmla="*/ 1323 w 10785"/>
                  <a:gd name="connsiteY2647" fmla="*/ 9564 h 10000"/>
                  <a:gd name="connsiteX2648" fmla="*/ 1309 w 10785"/>
                  <a:gd name="connsiteY2648" fmla="*/ 9598 h 10000"/>
                  <a:gd name="connsiteX2649" fmla="*/ 1309 w 10785"/>
                  <a:gd name="connsiteY2649" fmla="*/ 9590 h 10000"/>
                  <a:gd name="connsiteX2650" fmla="*/ 1304 w 10785"/>
                  <a:gd name="connsiteY2650" fmla="*/ 9547 h 10000"/>
                  <a:gd name="connsiteX2651" fmla="*/ 1276 w 10785"/>
                  <a:gd name="connsiteY2651" fmla="*/ 9479 h 10000"/>
                  <a:gd name="connsiteX2652" fmla="*/ 1263 w 10785"/>
                  <a:gd name="connsiteY2652" fmla="*/ 9479 h 10000"/>
                  <a:gd name="connsiteX2653" fmla="*/ 1263 w 10785"/>
                  <a:gd name="connsiteY2653" fmla="*/ 9453 h 10000"/>
                  <a:gd name="connsiteX2654" fmla="*/ 1272 w 10785"/>
                  <a:gd name="connsiteY2654" fmla="*/ 9410 h 10000"/>
                  <a:gd name="connsiteX2655" fmla="*/ 1272 w 10785"/>
                  <a:gd name="connsiteY2655" fmla="*/ 9393 h 10000"/>
                  <a:gd name="connsiteX2656" fmla="*/ 1281 w 10785"/>
                  <a:gd name="connsiteY2656" fmla="*/ 9368 h 10000"/>
                  <a:gd name="connsiteX2657" fmla="*/ 1281 w 10785"/>
                  <a:gd name="connsiteY2657" fmla="*/ 9368 h 10000"/>
                  <a:gd name="connsiteX2658" fmla="*/ 1290 w 10785"/>
                  <a:gd name="connsiteY2658" fmla="*/ 9368 h 10000"/>
                  <a:gd name="connsiteX2659" fmla="*/ 1290 w 10785"/>
                  <a:gd name="connsiteY2659" fmla="*/ 9342 h 10000"/>
                  <a:gd name="connsiteX2660" fmla="*/ 1304 w 10785"/>
                  <a:gd name="connsiteY2660" fmla="*/ 9325 h 10000"/>
                  <a:gd name="connsiteX2661" fmla="*/ 1309 w 10785"/>
                  <a:gd name="connsiteY2661" fmla="*/ 9239 h 10000"/>
                  <a:gd name="connsiteX2662" fmla="*/ 1318 w 10785"/>
                  <a:gd name="connsiteY2662" fmla="*/ 9256 h 10000"/>
                  <a:gd name="connsiteX2663" fmla="*/ 1323 w 10785"/>
                  <a:gd name="connsiteY2663" fmla="*/ 9179 h 10000"/>
                  <a:gd name="connsiteX2664" fmla="*/ 1309 w 10785"/>
                  <a:gd name="connsiteY2664" fmla="*/ 9145 h 10000"/>
                  <a:gd name="connsiteX2665" fmla="*/ 1336 w 10785"/>
                  <a:gd name="connsiteY2665" fmla="*/ 9154 h 10000"/>
                  <a:gd name="connsiteX2666" fmla="*/ 1336 w 10785"/>
                  <a:gd name="connsiteY2666" fmla="*/ 9162 h 10000"/>
                  <a:gd name="connsiteX2667" fmla="*/ 1350 w 10785"/>
                  <a:gd name="connsiteY2667" fmla="*/ 9231 h 10000"/>
                  <a:gd name="connsiteX2668" fmla="*/ 1355 w 10785"/>
                  <a:gd name="connsiteY2668" fmla="*/ 9231 h 10000"/>
                  <a:gd name="connsiteX2669" fmla="*/ 1364 w 10785"/>
                  <a:gd name="connsiteY2669" fmla="*/ 9214 h 10000"/>
                  <a:gd name="connsiteX2670" fmla="*/ 1369 w 10785"/>
                  <a:gd name="connsiteY2670" fmla="*/ 9214 h 10000"/>
                  <a:gd name="connsiteX2671" fmla="*/ 1382 w 10785"/>
                  <a:gd name="connsiteY2671" fmla="*/ 9154 h 10000"/>
                  <a:gd name="connsiteX2672" fmla="*/ 1396 w 10785"/>
                  <a:gd name="connsiteY2672" fmla="*/ 9154 h 10000"/>
                  <a:gd name="connsiteX2673" fmla="*/ 1382 w 10785"/>
                  <a:gd name="connsiteY2673" fmla="*/ 9145 h 10000"/>
                  <a:gd name="connsiteX2674" fmla="*/ 1382 w 10785"/>
                  <a:gd name="connsiteY2674" fmla="*/ 9128 h 10000"/>
                  <a:gd name="connsiteX2675" fmla="*/ 1369 w 10785"/>
                  <a:gd name="connsiteY2675" fmla="*/ 9128 h 10000"/>
                  <a:gd name="connsiteX2676" fmla="*/ 1364 w 10785"/>
                  <a:gd name="connsiteY2676" fmla="*/ 9128 h 10000"/>
                  <a:gd name="connsiteX2677" fmla="*/ 1355 w 10785"/>
                  <a:gd name="connsiteY2677" fmla="*/ 9120 h 10000"/>
                  <a:gd name="connsiteX2678" fmla="*/ 1350 w 10785"/>
                  <a:gd name="connsiteY2678" fmla="*/ 9103 h 10000"/>
                  <a:gd name="connsiteX2679" fmla="*/ 1355 w 10785"/>
                  <a:gd name="connsiteY2679" fmla="*/ 9094 h 10000"/>
                  <a:gd name="connsiteX2680" fmla="*/ 1355 w 10785"/>
                  <a:gd name="connsiteY2680" fmla="*/ 9068 h 10000"/>
                  <a:gd name="connsiteX2681" fmla="*/ 1369 w 10785"/>
                  <a:gd name="connsiteY2681" fmla="*/ 9068 h 10000"/>
                  <a:gd name="connsiteX2682" fmla="*/ 1378 w 10785"/>
                  <a:gd name="connsiteY2682" fmla="*/ 9077 h 10000"/>
                  <a:gd name="connsiteX2683" fmla="*/ 1396 w 10785"/>
                  <a:gd name="connsiteY2683" fmla="*/ 9068 h 10000"/>
                  <a:gd name="connsiteX2684" fmla="*/ 1382 w 10785"/>
                  <a:gd name="connsiteY2684" fmla="*/ 8940 h 10000"/>
                  <a:gd name="connsiteX2685" fmla="*/ 1378 w 10785"/>
                  <a:gd name="connsiteY2685" fmla="*/ 8940 h 10000"/>
                  <a:gd name="connsiteX2686" fmla="*/ 1364 w 10785"/>
                  <a:gd name="connsiteY2686" fmla="*/ 8889 h 10000"/>
                  <a:gd name="connsiteX2687" fmla="*/ 1355 w 10785"/>
                  <a:gd name="connsiteY2687" fmla="*/ 8880 h 10000"/>
                  <a:gd name="connsiteX2688" fmla="*/ 1323 w 10785"/>
                  <a:gd name="connsiteY2688" fmla="*/ 8880 h 10000"/>
                  <a:gd name="connsiteX2689" fmla="*/ 1309 w 10785"/>
                  <a:gd name="connsiteY2689" fmla="*/ 8880 h 10000"/>
                  <a:gd name="connsiteX2690" fmla="*/ 1309 w 10785"/>
                  <a:gd name="connsiteY2690" fmla="*/ 8889 h 10000"/>
                  <a:gd name="connsiteX2691" fmla="*/ 1295 w 10785"/>
                  <a:gd name="connsiteY2691" fmla="*/ 8872 h 10000"/>
                  <a:gd name="connsiteX2692" fmla="*/ 1290 w 10785"/>
                  <a:gd name="connsiteY2692" fmla="*/ 8855 h 10000"/>
                  <a:gd name="connsiteX2693" fmla="*/ 1290 w 10785"/>
                  <a:gd name="connsiteY2693" fmla="*/ 8829 h 10000"/>
                  <a:gd name="connsiteX2694" fmla="*/ 1290 w 10785"/>
                  <a:gd name="connsiteY2694" fmla="*/ 8821 h 10000"/>
                  <a:gd name="connsiteX2695" fmla="*/ 1290 w 10785"/>
                  <a:gd name="connsiteY2695" fmla="*/ 8803 h 10000"/>
                  <a:gd name="connsiteX2696" fmla="*/ 1281 w 10785"/>
                  <a:gd name="connsiteY2696" fmla="*/ 8795 h 10000"/>
                  <a:gd name="connsiteX2697" fmla="*/ 1249 w 10785"/>
                  <a:gd name="connsiteY2697" fmla="*/ 8769 h 10000"/>
                  <a:gd name="connsiteX2698" fmla="*/ 1263 w 10785"/>
                  <a:gd name="connsiteY2698" fmla="*/ 8667 h 10000"/>
                  <a:gd name="connsiteX2699" fmla="*/ 1281 w 10785"/>
                  <a:gd name="connsiteY2699" fmla="*/ 8658 h 10000"/>
                  <a:gd name="connsiteX2700" fmla="*/ 1290 w 10785"/>
                  <a:gd name="connsiteY2700" fmla="*/ 8632 h 10000"/>
                  <a:gd name="connsiteX2701" fmla="*/ 1281 w 10785"/>
                  <a:gd name="connsiteY2701" fmla="*/ 8615 h 10000"/>
                  <a:gd name="connsiteX2702" fmla="*/ 1272 w 10785"/>
                  <a:gd name="connsiteY2702" fmla="*/ 8598 h 10000"/>
                  <a:gd name="connsiteX2703" fmla="*/ 1281 w 10785"/>
                  <a:gd name="connsiteY2703" fmla="*/ 8496 h 10000"/>
                  <a:gd name="connsiteX2704" fmla="*/ 1295 w 10785"/>
                  <a:gd name="connsiteY2704" fmla="*/ 8470 h 10000"/>
                  <a:gd name="connsiteX2705" fmla="*/ 1304 w 10785"/>
                  <a:gd name="connsiteY2705" fmla="*/ 8462 h 10000"/>
                  <a:gd name="connsiteX2706" fmla="*/ 1304 w 10785"/>
                  <a:gd name="connsiteY2706" fmla="*/ 8444 h 10000"/>
                  <a:gd name="connsiteX2707" fmla="*/ 1304 w 10785"/>
                  <a:gd name="connsiteY2707" fmla="*/ 8419 h 10000"/>
                  <a:gd name="connsiteX2708" fmla="*/ 1304 w 10785"/>
                  <a:gd name="connsiteY2708" fmla="*/ 8410 h 10000"/>
                  <a:gd name="connsiteX2709" fmla="*/ 1309 w 10785"/>
                  <a:gd name="connsiteY2709" fmla="*/ 8393 h 10000"/>
                  <a:gd name="connsiteX2710" fmla="*/ 1318 w 10785"/>
                  <a:gd name="connsiteY2710" fmla="*/ 8385 h 10000"/>
                  <a:gd name="connsiteX2711" fmla="*/ 1323 w 10785"/>
                  <a:gd name="connsiteY2711" fmla="*/ 8385 h 10000"/>
                  <a:gd name="connsiteX2712" fmla="*/ 1332 w 10785"/>
                  <a:gd name="connsiteY2712" fmla="*/ 8410 h 10000"/>
                  <a:gd name="connsiteX2713" fmla="*/ 1346 w 10785"/>
                  <a:gd name="connsiteY2713" fmla="*/ 8419 h 10000"/>
                  <a:gd name="connsiteX2714" fmla="*/ 1364 w 10785"/>
                  <a:gd name="connsiteY2714" fmla="*/ 8504 h 10000"/>
                  <a:gd name="connsiteX2715" fmla="*/ 1369 w 10785"/>
                  <a:gd name="connsiteY2715" fmla="*/ 8521 h 10000"/>
                  <a:gd name="connsiteX2716" fmla="*/ 1406 w 10785"/>
                  <a:gd name="connsiteY2716" fmla="*/ 8470 h 10000"/>
                  <a:gd name="connsiteX2717" fmla="*/ 1382 w 10785"/>
                  <a:gd name="connsiteY2717" fmla="*/ 8359 h 10000"/>
                  <a:gd name="connsiteX2718" fmla="*/ 1392 w 10785"/>
                  <a:gd name="connsiteY2718" fmla="*/ 8359 h 10000"/>
                  <a:gd name="connsiteX2719" fmla="*/ 1438 w 10785"/>
                  <a:gd name="connsiteY2719" fmla="*/ 8308 h 10000"/>
                  <a:gd name="connsiteX2720" fmla="*/ 1442 w 10785"/>
                  <a:gd name="connsiteY2720" fmla="*/ 8299 h 10000"/>
                  <a:gd name="connsiteX2721" fmla="*/ 1442 w 10785"/>
                  <a:gd name="connsiteY2721" fmla="*/ 8256 h 10000"/>
                  <a:gd name="connsiteX2722" fmla="*/ 1452 w 10785"/>
                  <a:gd name="connsiteY2722" fmla="*/ 8256 h 10000"/>
                  <a:gd name="connsiteX2723" fmla="*/ 1456 w 10785"/>
                  <a:gd name="connsiteY2723" fmla="*/ 8256 h 10000"/>
                  <a:gd name="connsiteX2724" fmla="*/ 1470 w 10785"/>
                  <a:gd name="connsiteY2724" fmla="*/ 8248 h 10000"/>
                  <a:gd name="connsiteX2725" fmla="*/ 1479 w 10785"/>
                  <a:gd name="connsiteY2725" fmla="*/ 8231 h 10000"/>
                  <a:gd name="connsiteX2726" fmla="*/ 1493 w 10785"/>
                  <a:gd name="connsiteY2726" fmla="*/ 8222 h 10000"/>
                  <a:gd name="connsiteX2727" fmla="*/ 1498 w 10785"/>
                  <a:gd name="connsiteY2727" fmla="*/ 8214 h 10000"/>
                  <a:gd name="connsiteX2728" fmla="*/ 1502 w 10785"/>
                  <a:gd name="connsiteY2728" fmla="*/ 8197 h 10000"/>
                  <a:gd name="connsiteX2729" fmla="*/ 1512 w 10785"/>
                  <a:gd name="connsiteY2729" fmla="*/ 8188 h 10000"/>
                  <a:gd name="connsiteX2730" fmla="*/ 1516 w 10785"/>
                  <a:gd name="connsiteY2730" fmla="*/ 8171 h 10000"/>
                  <a:gd name="connsiteX2731" fmla="*/ 1525 w 10785"/>
                  <a:gd name="connsiteY2731" fmla="*/ 8162 h 10000"/>
                  <a:gd name="connsiteX2732" fmla="*/ 1539 w 10785"/>
                  <a:gd name="connsiteY2732" fmla="*/ 8145 h 10000"/>
                  <a:gd name="connsiteX2733" fmla="*/ 1558 w 10785"/>
                  <a:gd name="connsiteY2733" fmla="*/ 8145 h 10000"/>
                  <a:gd name="connsiteX2734" fmla="*/ 1562 w 10785"/>
                  <a:gd name="connsiteY2734" fmla="*/ 8188 h 10000"/>
                  <a:gd name="connsiteX2735" fmla="*/ 1585 w 10785"/>
                  <a:gd name="connsiteY2735" fmla="*/ 8171 h 10000"/>
                  <a:gd name="connsiteX2736" fmla="*/ 1590 w 10785"/>
                  <a:gd name="connsiteY2736" fmla="*/ 8188 h 10000"/>
                  <a:gd name="connsiteX2737" fmla="*/ 1599 w 10785"/>
                  <a:gd name="connsiteY2737" fmla="*/ 8171 h 10000"/>
                  <a:gd name="connsiteX2738" fmla="*/ 1599 w 10785"/>
                  <a:gd name="connsiteY2738" fmla="*/ 8162 h 10000"/>
                  <a:gd name="connsiteX2739" fmla="*/ 1604 w 10785"/>
                  <a:gd name="connsiteY2739" fmla="*/ 8137 h 10000"/>
                  <a:gd name="connsiteX2740" fmla="*/ 1618 w 10785"/>
                  <a:gd name="connsiteY2740" fmla="*/ 8145 h 10000"/>
                  <a:gd name="connsiteX2741" fmla="*/ 1627 w 10785"/>
                  <a:gd name="connsiteY2741" fmla="*/ 8137 h 10000"/>
                  <a:gd name="connsiteX2742" fmla="*/ 1631 w 10785"/>
                  <a:gd name="connsiteY2742" fmla="*/ 8137 h 10000"/>
                  <a:gd name="connsiteX2743" fmla="*/ 1636 w 10785"/>
                  <a:gd name="connsiteY2743" fmla="*/ 8171 h 10000"/>
                  <a:gd name="connsiteX2744" fmla="*/ 1645 w 10785"/>
                  <a:gd name="connsiteY2744" fmla="*/ 8188 h 10000"/>
                  <a:gd name="connsiteX2745" fmla="*/ 1664 w 10785"/>
                  <a:gd name="connsiteY2745" fmla="*/ 8171 h 10000"/>
                  <a:gd name="connsiteX2746" fmla="*/ 1673 w 10785"/>
                  <a:gd name="connsiteY2746" fmla="*/ 8188 h 10000"/>
                  <a:gd name="connsiteX2747" fmla="*/ 1691 w 10785"/>
                  <a:gd name="connsiteY2747" fmla="*/ 8171 h 10000"/>
                  <a:gd name="connsiteX2748" fmla="*/ 1705 w 10785"/>
                  <a:gd name="connsiteY2748" fmla="*/ 8171 h 10000"/>
                  <a:gd name="connsiteX2749" fmla="*/ 1719 w 10785"/>
                  <a:gd name="connsiteY2749" fmla="*/ 8197 h 10000"/>
                  <a:gd name="connsiteX2750" fmla="*/ 1724 w 10785"/>
                  <a:gd name="connsiteY2750" fmla="*/ 8231 h 10000"/>
                  <a:gd name="connsiteX2751" fmla="*/ 1751 w 10785"/>
                  <a:gd name="connsiteY2751" fmla="*/ 8256 h 10000"/>
                  <a:gd name="connsiteX2752" fmla="*/ 1751 w 10785"/>
                  <a:gd name="connsiteY2752" fmla="*/ 8274 h 10000"/>
                  <a:gd name="connsiteX2753" fmla="*/ 1760 w 10785"/>
                  <a:gd name="connsiteY2753" fmla="*/ 8282 h 10000"/>
                  <a:gd name="connsiteX2754" fmla="*/ 1770 w 10785"/>
                  <a:gd name="connsiteY2754" fmla="*/ 8325 h 10000"/>
                  <a:gd name="connsiteX2755" fmla="*/ 1770 w 10785"/>
                  <a:gd name="connsiteY2755" fmla="*/ 8350 h 10000"/>
                  <a:gd name="connsiteX2756" fmla="*/ 1779 w 10785"/>
                  <a:gd name="connsiteY2756" fmla="*/ 8368 h 10000"/>
                  <a:gd name="connsiteX2757" fmla="*/ 1783 w 10785"/>
                  <a:gd name="connsiteY2757" fmla="*/ 8359 h 10000"/>
                  <a:gd name="connsiteX2758" fmla="*/ 1783 w 10785"/>
                  <a:gd name="connsiteY2758" fmla="*/ 8308 h 10000"/>
                  <a:gd name="connsiteX2759" fmla="*/ 1779 w 10785"/>
                  <a:gd name="connsiteY2759" fmla="*/ 8299 h 10000"/>
                  <a:gd name="connsiteX2760" fmla="*/ 1783 w 10785"/>
                  <a:gd name="connsiteY2760" fmla="*/ 8282 h 10000"/>
                  <a:gd name="connsiteX2761" fmla="*/ 1797 w 10785"/>
                  <a:gd name="connsiteY2761" fmla="*/ 8274 h 10000"/>
                  <a:gd name="connsiteX2762" fmla="*/ 1797 w 10785"/>
                  <a:gd name="connsiteY2762" fmla="*/ 8299 h 10000"/>
                  <a:gd name="connsiteX2763" fmla="*/ 1806 w 10785"/>
                  <a:gd name="connsiteY2763" fmla="*/ 8308 h 10000"/>
                  <a:gd name="connsiteX2764" fmla="*/ 1811 w 10785"/>
                  <a:gd name="connsiteY2764" fmla="*/ 8325 h 10000"/>
                  <a:gd name="connsiteX2765" fmla="*/ 1820 w 10785"/>
                  <a:gd name="connsiteY2765" fmla="*/ 8333 h 10000"/>
                  <a:gd name="connsiteX2766" fmla="*/ 1853 w 10785"/>
                  <a:gd name="connsiteY2766" fmla="*/ 8359 h 10000"/>
                  <a:gd name="connsiteX2767" fmla="*/ 1866 w 10785"/>
                  <a:gd name="connsiteY2767" fmla="*/ 8359 h 10000"/>
                  <a:gd name="connsiteX2768" fmla="*/ 1885 w 10785"/>
                  <a:gd name="connsiteY2768" fmla="*/ 8325 h 10000"/>
                  <a:gd name="connsiteX2769" fmla="*/ 1885 w 10785"/>
                  <a:gd name="connsiteY2769" fmla="*/ 8308 h 10000"/>
                  <a:gd name="connsiteX2770" fmla="*/ 1894 w 10785"/>
                  <a:gd name="connsiteY2770" fmla="*/ 8299 h 10000"/>
                  <a:gd name="connsiteX2771" fmla="*/ 1899 w 10785"/>
                  <a:gd name="connsiteY2771" fmla="*/ 8282 h 10000"/>
                  <a:gd name="connsiteX2772" fmla="*/ 1912 w 10785"/>
                  <a:gd name="connsiteY2772" fmla="*/ 8282 h 10000"/>
                  <a:gd name="connsiteX2773" fmla="*/ 1917 w 10785"/>
                  <a:gd name="connsiteY2773" fmla="*/ 8299 h 10000"/>
                  <a:gd name="connsiteX2774" fmla="*/ 1917 w 10785"/>
                  <a:gd name="connsiteY2774" fmla="*/ 8274 h 10000"/>
                  <a:gd name="connsiteX2775" fmla="*/ 1940 w 10785"/>
                  <a:gd name="connsiteY2775" fmla="*/ 8282 h 10000"/>
                  <a:gd name="connsiteX2776" fmla="*/ 1945 w 10785"/>
                  <a:gd name="connsiteY2776" fmla="*/ 8274 h 10000"/>
                  <a:gd name="connsiteX2777" fmla="*/ 1972 w 10785"/>
                  <a:gd name="connsiteY2777" fmla="*/ 8308 h 10000"/>
                  <a:gd name="connsiteX2778" fmla="*/ 1986 w 10785"/>
                  <a:gd name="connsiteY2778" fmla="*/ 8282 h 10000"/>
                  <a:gd name="connsiteX2779" fmla="*/ 1991 w 10785"/>
                  <a:gd name="connsiteY2779" fmla="*/ 8274 h 10000"/>
                  <a:gd name="connsiteX2780" fmla="*/ 2014 w 10785"/>
                  <a:gd name="connsiteY2780" fmla="*/ 8274 h 10000"/>
                  <a:gd name="connsiteX2781" fmla="*/ 2018 w 10785"/>
                  <a:gd name="connsiteY2781" fmla="*/ 8256 h 10000"/>
                  <a:gd name="connsiteX2782" fmla="*/ 2041 w 10785"/>
                  <a:gd name="connsiteY2782" fmla="*/ 8274 h 10000"/>
                  <a:gd name="connsiteX2783" fmla="*/ 2046 w 10785"/>
                  <a:gd name="connsiteY2783" fmla="*/ 8282 h 10000"/>
                  <a:gd name="connsiteX2784" fmla="*/ 2046 w 10785"/>
                  <a:gd name="connsiteY2784" fmla="*/ 8325 h 10000"/>
                  <a:gd name="connsiteX2785" fmla="*/ 2060 w 10785"/>
                  <a:gd name="connsiteY2785" fmla="*/ 8350 h 10000"/>
                  <a:gd name="connsiteX2786" fmla="*/ 2078 w 10785"/>
                  <a:gd name="connsiteY2786" fmla="*/ 8350 h 10000"/>
                  <a:gd name="connsiteX2787" fmla="*/ 2092 w 10785"/>
                  <a:gd name="connsiteY2787" fmla="*/ 8350 h 10000"/>
                  <a:gd name="connsiteX2788" fmla="*/ 2092 w 10785"/>
                  <a:gd name="connsiteY2788" fmla="*/ 8350 h 10000"/>
                  <a:gd name="connsiteX2789" fmla="*/ 2101 w 10785"/>
                  <a:gd name="connsiteY2789" fmla="*/ 8368 h 10000"/>
                  <a:gd name="connsiteX2790" fmla="*/ 2120 w 10785"/>
                  <a:gd name="connsiteY2790" fmla="*/ 8368 h 10000"/>
                  <a:gd name="connsiteX2791" fmla="*/ 2124 w 10785"/>
                  <a:gd name="connsiteY2791" fmla="*/ 8359 h 10000"/>
                  <a:gd name="connsiteX2792" fmla="*/ 2138 w 10785"/>
                  <a:gd name="connsiteY2792" fmla="*/ 8325 h 10000"/>
                  <a:gd name="connsiteX2793" fmla="*/ 2147 w 10785"/>
                  <a:gd name="connsiteY2793" fmla="*/ 8325 h 10000"/>
                  <a:gd name="connsiteX2794" fmla="*/ 2161 w 10785"/>
                  <a:gd name="connsiteY2794" fmla="*/ 8350 h 10000"/>
                  <a:gd name="connsiteX2795" fmla="*/ 2198 w 10785"/>
                  <a:gd name="connsiteY2795" fmla="*/ 8350 h 10000"/>
                  <a:gd name="connsiteX2796" fmla="*/ 2207 w 10785"/>
                  <a:gd name="connsiteY2796" fmla="*/ 8333 h 10000"/>
                  <a:gd name="connsiteX2797" fmla="*/ 2226 w 10785"/>
                  <a:gd name="connsiteY2797" fmla="*/ 8325 h 10000"/>
                  <a:gd name="connsiteX2798" fmla="*/ 2249 w 10785"/>
                  <a:gd name="connsiteY2798" fmla="*/ 8222 h 10000"/>
                  <a:gd name="connsiteX2799" fmla="*/ 2235 w 10785"/>
                  <a:gd name="connsiteY2799" fmla="*/ 8197 h 10000"/>
                  <a:gd name="connsiteX2800" fmla="*/ 2198 w 10785"/>
                  <a:gd name="connsiteY2800" fmla="*/ 8197 h 10000"/>
                  <a:gd name="connsiteX2801" fmla="*/ 2189 w 10785"/>
                  <a:gd name="connsiteY2801" fmla="*/ 8171 h 10000"/>
                  <a:gd name="connsiteX2802" fmla="*/ 2161 w 10785"/>
                  <a:gd name="connsiteY2802" fmla="*/ 8145 h 10000"/>
                  <a:gd name="connsiteX2803" fmla="*/ 2161 w 10785"/>
                  <a:gd name="connsiteY2803" fmla="*/ 8137 h 10000"/>
                  <a:gd name="connsiteX2804" fmla="*/ 2152 w 10785"/>
                  <a:gd name="connsiteY2804" fmla="*/ 8120 h 10000"/>
                  <a:gd name="connsiteX2805" fmla="*/ 2138 w 10785"/>
                  <a:gd name="connsiteY2805" fmla="*/ 8111 h 10000"/>
                  <a:gd name="connsiteX2806" fmla="*/ 2138 w 10785"/>
                  <a:gd name="connsiteY2806" fmla="*/ 8094 h 10000"/>
                  <a:gd name="connsiteX2807" fmla="*/ 2147 w 10785"/>
                  <a:gd name="connsiteY2807" fmla="*/ 8085 h 10000"/>
                  <a:gd name="connsiteX2808" fmla="*/ 2161 w 10785"/>
                  <a:gd name="connsiteY2808" fmla="*/ 8060 h 10000"/>
                  <a:gd name="connsiteX2809" fmla="*/ 2198 w 10785"/>
                  <a:gd name="connsiteY2809" fmla="*/ 8034 h 10000"/>
                  <a:gd name="connsiteX2810" fmla="*/ 2198 w 10785"/>
                  <a:gd name="connsiteY2810" fmla="*/ 8026 h 10000"/>
                  <a:gd name="connsiteX2811" fmla="*/ 2198 w 10785"/>
                  <a:gd name="connsiteY2811" fmla="*/ 8000 h 10000"/>
                  <a:gd name="connsiteX2812" fmla="*/ 2180 w 10785"/>
                  <a:gd name="connsiteY2812" fmla="*/ 7940 h 10000"/>
                  <a:gd name="connsiteX2813" fmla="*/ 2189 w 10785"/>
                  <a:gd name="connsiteY2813" fmla="*/ 7940 h 10000"/>
                  <a:gd name="connsiteX2814" fmla="*/ 2198 w 10785"/>
                  <a:gd name="connsiteY2814" fmla="*/ 7923 h 10000"/>
                  <a:gd name="connsiteX2815" fmla="*/ 2198 w 10785"/>
                  <a:gd name="connsiteY2815" fmla="*/ 7897 h 10000"/>
                  <a:gd name="connsiteX2816" fmla="*/ 2207 w 10785"/>
                  <a:gd name="connsiteY2816" fmla="*/ 7889 h 10000"/>
                  <a:gd name="connsiteX2817" fmla="*/ 2221 w 10785"/>
                  <a:gd name="connsiteY2817" fmla="*/ 7889 h 10000"/>
                  <a:gd name="connsiteX2818" fmla="*/ 2226 w 10785"/>
                  <a:gd name="connsiteY2818" fmla="*/ 7897 h 10000"/>
                  <a:gd name="connsiteX2819" fmla="*/ 2235 w 10785"/>
                  <a:gd name="connsiteY2819" fmla="*/ 7889 h 10000"/>
                  <a:gd name="connsiteX2820" fmla="*/ 2249 w 10785"/>
                  <a:gd name="connsiteY2820" fmla="*/ 7897 h 10000"/>
                  <a:gd name="connsiteX2821" fmla="*/ 2267 w 10785"/>
                  <a:gd name="connsiteY2821" fmla="*/ 7897 h 10000"/>
                  <a:gd name="connsiteX2822" fmla="*/ 2272 w 10785"/>
                  <a:gd name="connsiteY2822" fmla="*/ 7889 h 10000"/>
                  <a:gd name="connsiteX2823" fmla="*/ 2281 w 10785"/>
                  <a:gd name="connsiteY2823" fmla="*/ 7872 h 10000"/>
                  <a:gd name="connsiteX2824" fmla="*/ 2272 w 10785"/>
                  <a:gd name="connsiteY2824" fmla="*/ 7846 h 10000"/>
                  <a:gd name="connsiteX2825" fmla="*/ 2253 w 10785"/>
                  <a:gd name="connsiteY2825" fmla="*/ 7838 h 10000"/>
                  <a:gd name="connsiteX2826" fmla="*/ 2221 w 10785"/>
                  <a:gd name="connsiteY2826" fmla="*/ 7821 h 10000"/>
                  <a:gd name="connsiteX2827" fmla="*/ 2212 w 10785"/>
                  <a:gd name="connsiteY2827" fmla="*/ 7812 h 10000"/>
                  <a:gd name="connsiteX2828" fmla="*/ 2212 w 10785"/>
                  <a:gd name="connsiteY2828" fmla="*/ 7803 h 10000"/>
                  <a:gd name="connsiteX2829" fmla="*/ 2221 w 10785"/>
                  <a:gd name="connsiteY2829" fmla="*/ 7803 h 10000"/>
                  <a:gd name="connsiteX2830" fmla="*/ 2235 w 10785"/>
                  <a:gd name="connsiteY2830" fmla="*/ 7786 h 10000"/>
                  <a:gd name="connsiteX2831" fmla="*/ 2240 w 10785"/>
                  <a:gd name="connsiteY2831" fmla="*/ 7778 h 10000"/>
                  <a:gd name="connsiteX2832" fmla="*/ 2226 w 10785"/>
                  <a:gd name="connsiteY2832" fmla="*/ 7761 h 10000"/>
                  <a:gd name="connsiteX2833" fmla="*/ 2221 w 10785"/>
                  <a:gd name="connsiteY2833" fmla="*/ 7778 h 10000"/>
                  <a:gd name="connsiteX2834" fmla="*/ 2198 w 10785"/>
                  <a:gd name="connsiteY2834" fmla="*/ 7778 h 10000"/>
                  <a:gd name="connsiteX2835" fmla="*/ 2198 w 10785"/>
                  <a:gd name="connsiteY2835" fmla="*/ 7752 h 10000"/>
                  <a:gd name="connsiteX2836" fmla="*/ 2207 w 10785"/>
                  <a:gd name="connsiteY2836" fmla="*/ 7735 h 10000"/>
                  <a:gd name="connsiteX2837" fmla="*/ 2212 w 10785"/>
                  <a:gd name="connsiteY2837" fmla="*/ 7726 h 10000"/>
                  <a:gd name="connsiteX2838" fmla="*/ 2198 w 10785"/>
                  <a:gd name="connsiteY2838" fmla="*/ 7692 h 10000"/>
                  <a:gd name="connsiteX2839" fmla="*/ 2221 w 10785"/>
                  <a:gd name="connsiteY2839" fmla="*/ 7692 h 10000"/>
                  <a:gd name="connsiteX2840" fmla="*/ 2221 w 10785"/>
                  <a:gd name="connsiteY2840" fmla="*/ 7675 h 10000"/>
                  <a:gd name="connsiteX2841" fmla="*/ 2235 w 10785"/>
                  <a:gd name="connsiteY2841" fmla="*/ 7675 h 10000"/>
                  <a:gd name="connsiteX2842" fmla="*/ 2240 w 10785"/>
                  <a:gd name="connsiteY2842" fmla="*/ 7692 h 10000"/>
                  <a:gd name="connsiteX2843" fmla="*/ 2249 w 10785"/>
                  <a:gd name="connsiteY2843" fmla="*/ 7692 h 10000"/>
                  <a:gd name="connsiteX2844" fmla="*/ 2258 w 10785"/>
                  <a:gd name="connsiteY2844" fmla="*/ 7692 h 10000"/>
                  <a:gd name="connsiteX2845" fmla="*/ 2267 w 10785"/>
                  <a:gd name="connsiteY2845" fmla="*/ 7692 h 10000"/>
                  <a:gd name="connsiteX2846" fmla="*/ 2295 w 10785"/>
                  <a:gd name="connsiteY2846" fmla="*/ 7692 h 10000"/>
                  <a:gd name="connsiteX2847" fmla="*/ 2300 w 10785"/>
                  <a:gd name="connsiteY2847" fmla="*/ 7701 h 10000"/>
                  <a:gd name="connsiteX2848" fmla="*/ 2313 w 10785"/>
                  <a:gd name="connsiteY2848" fmla="*/ 7675 h 10000"/>
                  <a:gd name="connsiteX2849" fmla="*/ 2323 w 10785"/>
                  <a:gd name="connsiteY2849" fmla="*/ 7675 h 10000"/>
                  <a:gd name="connsiteX2850" fmla="*/ 2341 w 10785"/>
                  <a:gd name="connsiteY2850" fmla="*/ 7675 h 10000"/>
                  <a:gd name="connsiteX2851" fmla="*/ 2346 w 10785"/>
                  <a:gd name="connsiteY2851" fmla="*/ 7667 h 10000"/>
                  <a:gd name="connsiteX2852" fmla="*/ 2359 w 10785"/>
                  <a:gd name="connsiteY2852" fmla="*/ 7650 h 10000"/>
                  <a:gd name="connsiteX2853" fmla="*/ 2373 w 10785"/>
                  <a:gd name="connsiteY2853" fmla="*/ 7624 h 10000"/>
                  <a:gd name="connsiteX2854" fmla="*/ 2382 w 10785"/>
                  <a:gd name="connsiteY2854" fmla="*/ 7641 h 10000"/>
                  <a:gd name="connsiteX2855" fmla="*/ 2396 w 10785"/>
                  <a:gd name="connsiteY2855" fmla="*/ 7650 h 10000"/>
                  <a:gd name="connsiteX2856" fmla="*/ 2401 w 10785"/>
                  <a:gd name="connsiteY2856" fmla="*/ 7650 h 10000"/>
                  <a:gd name="connsiteX2857" fmla="*/ 2401 w 10785"/>
                  <a:gd name="connsiteY2857" fmla="*/ 7624 h 10000"/>
                  <a:gd name="connsiteX2858" fmla="*/ 2419 w 10785"/>
                  <a:gd name="connsiteY2858" fmla="*/ 7624 h 10000"/>
                  <a:gd name="connsiteX2859" fmla="*/ 2433 w 10785"/>
                  <a:gd name="connsiteY2859" fmla="*/ 7615 h 10000"/>
                  <a:gd name="connsiteX2860" fmla="*/ 2442 w 10785"/>
                  <a:gd name="connsiteY2860" fmla="*/ 7615 h 10000"/>
                  <a:gd name="connsiteX2861" fmla="*/ 2447 w 10785"/>
                  <a:gd name="connsiteY2861" fmla="*/ 7598 h 10000"/>
                  <a:gd name="connsiteX2862" fmla="*/ 2461 w 10785"/>
                  <a:gd name="connsiteY2862" fmla="*/ 7598 h 10000"/>
                  <a:gd name="connsiteX2863" fmla="*/ 2465 w 10785"/>
                  <a:gd name="connsiteY2863" fmla="*/ 7615 h 10000"/>
                  <a:gd name="connsiteX2864" fmla="*/ 2479 w 10785"/>
                  <a:gd name="connsiteY2864" fmla="*/ 7564 h 10000"/>
                  <a:gd name="connsiteX2865" fmla="*/ 2488 w 10785"/>
                  <a:gd name="connsiteY2865" fmla="*/ 7556 h 10000"/>
                  <a:gd name="connsiteX2866" fmla="*/ 2493 w 10785"/>
                  <a:gd name="connsiteY2866" fmla="*/ 7556 h 10000"/>
                  <a:gd name="connsiteX2867" fmla="*/ 2507 w 10785"/>
                  <a:gd name="connsiteY2867" fmla="*/ 7556 h 10000"/>
                  <a:gd name="connsiteX2868" fmla="*/ 2530 w 10785"/>
                  <a:gd name="connsiteY2868" fmla="*/ 7538 h 10000"/>
                  <a:gd name="connsiteX2869" fmla="*/ 2530 w 10785"/>
                  <a:gd name="connsiteY2869" fmla="*/ 7556 h 10000"/>
                  <a:gd name="connsiteX2870" fmla="*/ 2641 w 10785"/>
                  <a:gd name="connsiteY2870" fmla="*/ 7504 h 10000"/>
                  <a:gd name="connsiteX2871" fmla="*/ 2654 w 10785"/>
                  <a:gd name="connsiteY2871" fmla="*/ 7487 h 10000"/>
                  <a:gd name="connsiteX2872" fmla="*/ 2664 w 10785"/>
                  <a:gd name="connsiteY2872" fmla="*/ 7487 h 10000"/>
                  <a:gd name="connsiteX2873" fmla="*/ 2668 w 10785"/>
                  <a:gd name="connsiteY2873" fmla="*/ 7479 h 10000"/>
                  <a:gd name="connsiteX2874" fmla="*/ 2673 w 10785"/>
                  <a:gd name="connsiteY2874" fmla="*/ 7462 h 10000"/>
                  <a:gd name="connsiteX2875" fmla="*/ 2673 w 10785"/>
                  <a:gd name="connsiteY2875" fmla="*/ 7427 h 10000"/>
                  <a:gd name="connsiteX2876" fmla="*/ 2687 w 10785"/>
                  <a:gd name="connsiteY2876" fmla="*/ 7436 h 10000"/>
                  <a:gd name="connsiteX2877" fmla="*/ 2696 w 10785"/>
                  <a:gd name="connsiteY2877" fmla="*/ 7427 h 10000"/>
                  <a:gd name="connsiteX2878" fmla="*/ 2700 w 10785"/>
                  <a:gd name="connsiteY2878" fmla="*/ 7419 h 10000"/>
                  <a:gd name="connsiteX2879" fmla="*/ 2710 w 10785"/>
                  <a:gd name="connsiteY2879" fmla="*/ 7402 h 10000"/>
                  <a:gd name="connsiteX2880" fmla="*/ 2724 w 10785"/>
                  <a:gd name="connsiteY2880" fmla="*/ 7402 h 10000"/>
                  <a:gd name="connsiteX2881" fmla="*/ 2724 w 10785"/>
                  <a:gd name="connsiteY2881" fmla="*/ 7393 h 10000"/>
                  <a:gd name="connsiteX2882" fmla="*/ 2737 w 10785"/>
                  <a:gd name="connsiteY2882" fmla="*/ 7393 h 10000"/>
                  <a:gd name="connsiteX2883" fmla="*/ 2742 w 10785"/>
                  <a:gd name="connsiteY2883" fmla="*/ 7402 h 10000"/>
                  <a:gd name="connsiteX2884" fmla="*/ 2747 w 10785"/>
                  <a:gd name="connsiteY2884" fmla="*/ 7402 h 10000"/>
                  <a:gd name="connsiteX2885" fmla="*/ 2760 w 10785"/>
                  <a:gd name="connsiteY2885" fmla="*/ 7402 h 10000"/>
                  <a:gd name="connsiteX2886" fmla="*/ 2770 w 10785"/>
                  <a:gd name="connsiteY2886" fmla="*/ 7402 h 10000"/>
                  <a:gd name="connsiteX2887" fmla="*/ 2774 w 10785"/>
                  <a:gd name="connsiteY2887" fmla="*/ 7402 h 10000"/>
                  <a:gd name="connsiteX2888" fmla="*/ 2783 w 10785"/>
                  <a:gd name="connsiteY2888" fmla="*/ 7419 h 10000"/>
                  <a:gd name="connsiteX2889" fmla="*/ 2802 w 10785"/>
                  <a:gd name="connsiteY2889" fmla="*/ 7436 h 10000"/>
                  <a:gd name="connsiteX2890" fmla="*/ 2816 w 10785"/>
                  <a:gd name="connsiteY2890" fmla="*/ 7419 h 10000"/>
                  <a:gd name="connsiteX2891" fmla="*/ 2834 w 10785"/>
                  <a:gd name="connsiteY2891" fmla="*/ 7419 h 10000"/>
                  <a:gd name="connsiteX2892" fmla="*/ 2843 w 10785"/>
                  <a:gd name="connsiteY2892" fmla="*/ 7419 h 10000"/>
                  <a:gd name="connsiteX2893" fmla="*/ 2848 w 10785"/>
                  <a:gd name="connsiteY2893" fmla="*/ 7436 h 10000"/>
                  <a:gd name="connsiteX2894" fmla="*/ 2857 w 10785"/>
                  <a:gd name="connsiteY2894" fmla="*/ 7453 h 10000"/>
                  <a:gd name="connsiteX2895" fmla="*/ 2857 w 10785"/>
                  <a:gd name="connsiteY2895" fmla="*/ 7504 h 10000"/>
                  <a:gd name="connsiteX2896" fmla="*/ 2862 w 10785"/>
                  <a:gd name="connsiteY2896" fmla="*/ 7530 h 10000"/>
                  <a:gd name="connsiteX2897" fmla="*/ 2876 w 10785"/>
                  <a:gd name="connsiteY2897" fmla="*/ 7538 h 10000"/>
                  <a:gd name="connsiteX2898" fmla="*/ 2871 w 10785"/>
                  <a:gd name="connsiteY2898" fmla="*/ 7564 h 10000"/>
                  <a:gd name="connsiteX2899" fmla="*/ 2871 w 10785"/>
                  <a:gd name="connsiteY2899" fmla="*/ 7598 h 10000"/>
                  <a:gd name="connsiteX2900" fmla="*/ 2857 w 10785"/>
                  <a:gd name="connsiteY2900" fmla="*/ 7624 h 10000"/>
                  <a:gd name="connsiteX2901" fmla="*/ 2862 w 10785"/>
                  <a:gd name="connsiteY2901" fmla="*/ 7641 h 10000"/>
                  <a:gd name="connsiteX2902" fmla="*/ 2871 w 10785"/>
                  <a:gd name="connsiteY2902" fmla="*/ 7667 h 10000"/>
                  <a:gd name="connsiteX2903" fmla="*/ 2880 w 10785"/>
                  <a:gd name="connsiteY2903" fmla="*/ 7650 h 10000"/>
                  <a:gd name="connsiteX2904" fmla="*/ 2894 w 10785"/>
                  <a:gd name="connsiteY2904" fmla="*/ 7667 h 10000"/>
                  <a:gd name="connsiteX2905" fmla="*/ 2903 w 10785"/>
                  <a:gd name="connsiteY2905" fmla="*/ 7667 h 10000"/>
                  <a:gd name="connsiteX2906" fmla="*/ 2908 w 10785"/>
                  <a:gd name="connsiteY2906" fmla="*/ 7641 h 10000"/>
                  <a:gd name="connsiteX2907" fmla="*/ 2917 w 10785"/>
                  <a:gd name="connsiteY2907" fmla="*/ 7641 h 10000"/>
                  <a:gd name="connsiteX2908" fmla="*/ 2922 w 10785"/>
                  <a:gd name="connsiteY2908" fmla="*/ 7641 h 10000"/>
                  <a:gd name="connsiteX2909" fmla="*/ 2931 w 10785"/>
                  <a:gd name="connsiteY2909" fmla="*/ 7615 h 10000"/>
                  <a:gd name="connsiteX2910" fmla="*/ 2935 w 10785"/>
                  <a:gd name="connsiteY2910" fmla="*/ 7615 h 10000"/>
                  <a:gd name="connsiteX2911" fmla="*/ 2945 w 10785"/>
                  <a:gd name="connsiteY2911" fmla="*/ 7650 h 10000"/>
                  <a:gd name="connsiteX2912" fmla="*/ 2949 w 10785"/>
                  <a:gd name="connsiteY2912" fmla="*/ 7667 h 10000"/>
                  <a:gd name="connsiteX2913" fmla="*/ 2949 w 10785"/>
                  <a:gd name="connsiteY2913" fmla="*/ 7675 h 10000"/>
                  <a:gd name="connsiteX2914" fmla="*/ 2945 w 10785"/>
                  <a:gd name="connsiteY2914" fmla="*/ 7692 h 10000"/>
                  <a:gd name="connsiteX2915" fmla="*/ 2963 w 10785"/>
                  <a:gd name="connsiteY2915" fmla="*/ 7701 h 10000"/>
                  <a:gd name="connsiteX2916" fmla="*/ 2963 w 10785"/>
                  <a:gd name="connsiteY2916" fmla="*/ 7675 h 10000"/>
                  <a:gd name="connsiteX2917" fmla="*/ 2954 w 10785"/>
                  <a:gd name="connsiteY2917" fmla="*/ 7667 h 10000"/>
                  <a:gd name="connsiteX2918" fmla="*/ 2963 w 10785"/>
                  <a:gd name="connsiteY2918" fmla="*/ 7667 h 10000"/>
                  <a:gd name="connsiteX2919" fmla="*/ 2982 w 10785"/>
                  <a:gd name="connsiteY2919" fmla="*/ 7667 h 10000"/>
                  <a:gd name="connsiteX2920" fmla="*/ 2991 w 10785"/>
                  <a:gd name="connsiteY2920" fmla="*/ 7675 h 10000"/>
                  <a:gd name="connsiteX2921" fmla="*/ 2995 w 10785"/>
                  <a:gd name="connsiteY2921" fmla="*/ 7692 h 10000"/>
                  <a:gd name="connsiteX2922" fmla="*/ 3009 w 10785"/>
                  <a:gd name="connsiteY2922" fmla="*/ 7701 h 10000"/>
                  <a:gd name="connsiteX2923" fmla="*/ 3018 w 10785"/>
                  <a:gd name="connsiteY2923" fmla="*/ 7701 h 10000"/>
                  <a:gd name="connsiteX2924" fmla="*/ 3023 w 10785"/>
                  <a:gd name="connsiteY2924" fmla="*/ 7692 h 10000"/>
                  <a:gd name="connsiteX2925" fmla="*/ 3028 w 10785"/>
                  <a:gd name="connsiteY2925" fmla="*/ 7675 h 10000"/>
                  <a:gd name="connsiteX2926" fmla="*/ 3037 w 10785"/>
                  <a:gd name="connsiteY2926" fmla="*/ 7692 h 10000"/>
                  <a:gd name="connsiteX2927" fmla="*/ 3028 w 10785"/>
                  <a:gd name="connsiteY2927" fmla="*/ 7709 h 10000"/>
                  <a:gd name="connsiteX2928" fmla="*/ 3023 w 10785"/>
                  <a:gd name="connsiteY2928" fmla="*/ 7709 h 10000"/>
                  <a:gd name="connsiteX2929" fmla="*/ 3018 w 10785"/>
                  <a:gd name="connsiteY2929" fmla="*/ 7726 h 10000"/>
                  <a:gd name="connsiteX2930" fmla="*/ 3009 w 10785"/>
                  <a:gd name="connsiteY2930" fmla="*/ 7735 h 10000"/>
                  <a:gd name="connsiteX2931" fmla="*/ 3009 w 10785"/>
                  <a:gd name="connsiteY2931" fmla="*/ 7761 h 10000"/>
                  <a:gd name="connsiteX2932" fmla="*/ 3009 w 10785"/>
                  <a:gd name="connsiteY2932" fmla="*/ 7778 h 10000"/>
                  <a:gd name="connsiteX2933" fmla="*/ 3018 w 10785"/>
                  <a:gd name="connsiteY2933" fmla="*/ 7786 h 10000"/>
                  <a:gd name="connsiteX2934" fmla="*/ 3023 w 10785"/>
                  <a:gd name="connsiteY2934" fmla="*/ 7786 h 10000"/>
                  <a:gd name="connsiteX2935" fmla="*/ 3028 w 10785"/>
                  <a:gd name="connsiteY2935" fmla="*/ 7778 h 10000"/>
                  <a:gd name="connsiteX2936" fmla="*/ 3051 w 10785"/>
                  <a:gd name="connsiteY2936" fmla="*/ 7761 h 10000"/>
                  <a:gd name="connsiteX2937" fmla="*/ 3055 w 10785"/>
                  <a:gd name="connsiteY2937" fmla="*/ 7778 h 10000"/>
                  <a:gd name="connsiteX2938" fmla="*/ 3065 w 10785"/>
                  <a:gd name="connsiteY2938" fmla="*/ 7761 h 10000"/>
                  <a:gd name="connsiteX2939" fmla="*/ 3069 w 10785"/>
                  <a:gd name="connsiteY2939" fmla="*/ 7786 h 10000"/>
                  <a:gd name="connsiteX2940" fmla="*/ 3083 w 10785"/>
                  <a:gd name="connsiteY2940" fmla="*/ 7786 h 10000"/>
                  <a:gd name="connsiteX2941" fmla="*/ 3078 w 10785"/>
                  <a:gd name="connsiteY2941" fmla="*/ 7761 h 10000"/>
                  <a:gd name="connsiteX2942" fmla="*/ 3083 w 10785"/>
                  <a:gd name="connsiteY2942" fmla="*/ 7752 h 10000"/>
                  <a:gd name="connsiteX2943" fmla="*/ 3097 w 10785"/>
                  <a:gd name="connsiteY2943" fmla="*/ 7752 h 10000"/>
                  <a:gd name="connsiteX2944" fmla="*/ 3111 w 10785"/>
                  <a:gd name="connsiteY2944" fmla="*/ 7726 h 10000"/>
                  <a:gd name="connsiteX2945" fmla="*/ 3124 w 10785"/>
                  <a:gd name="connsiteY2945" fmla="*/ 7709 h 10000"/>
                  <a:gd name="connsiteX2946" fmla="*/ 3143 w 10785"/>
                  <a:gd name="connsiteY2946" fmla="*/ 7692 h 10000"/>
                  <a:gd name="connsiteX2947" fmla="*/ 3152 w 10785"/>
                  <a:gd name="connsiteY2947" fmla="*/ 7667 h 10000"/>
                  <a:gd name="connsiteX2948" fmla="*/ 3157 w 10785"/>
                  <a:gd name="connsiteY2948" fmla="*/ 7650 h 10000"/>
                  <a:gd name="connsiteX2949" fmla="*/ 3161 w 10785"/>
                  <a:gd name="connsiteY2949" fmla="*/ 7650 h 10000"/>
                  <a:gd name="connsiteX2950" fmla="*/ 3189 w 10785"/>
                  <a:gd name="connsiteY2950" fmla="*/ 7641 h 10000"/>
                  <a:gd name="connsiteX2951" fmla="*/ 3198 w 10785"/>
                  <a:gd name="connsiteY2951" fmla="*/ 7624 h 10000"/>
                  <a:gd name="connsiteX2952" fmla="*/ 3217 w 10785"/>
                  <a:gd name="connsiteY2952" fmla="*/ 7615 h 10000"/>
                  <a:gd name="connsiteX2953" fmla="*/ 3235 w 10785"/>
                  <a:gd name="connsiteY2953" fmla="*/ 7598 h 10000"/>
                  <a:gd name="connsiteX2954" fmla="*/ 3235 w 10785"/>
                  <a:gd name="connsiteY2954" fmla="*/ 7615 h 10000"/>
                  <a:gd name="connsiteX2955" fmla="*/ 3235 w 10785"/>
                  <a:gd name="connsiteY2955" fmla="*/ 7641 h 10000"/>
                  <a:gd name="connsiteX2956" fmla="*/ 3235 w 10785"/>
                  <a:gd name="connsiteY2956" fmla="*/ 7650 h 10000"/>
                  <a:gd name="connsiteX2957" fmla="*/ 3226 w 10785"/>
                  <a:gd name="connsiteY2957" fmla="*/ 7650 h 10000"/>
                  <a:gd name="connsiteX2958" fmla="*/ 3217 w 10785"/>
                  <a:gd name="connsiteY2958" fmla="*/ 7650 h 10000"/>
                  <a:gd name="connsiteX2959" fmla="*/ 3212 w 10785"/>
                  <a:gd name="connsiteY2959" fmla="*/ 7675 h 10000"/>
                  <a:gd name="connsiteX2960" fmla="*/ 3212 w 10785"/>
                  <a:gd name="connsiteY2960"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274 w 10785"/>
                  <a:gd name="connsiteY731" fmla="*/ 4822 h 10000"/>
                  <a:gd name="connsiteX732" fmla="*/ 10139 w 10785"/>
                  <a:gd name="connsiteY732" fmla="*/ 4708 h 10000"/>
                  <a:gd name="connsiteX733" fmla="*/ 10233 w 10785"/>
                  <a:gd name="connsiteY733" fmla="*/ 4530 h 10000"/>
                  <a:gd name="connsiteX734" fmla="*/ 10334 w 10785"/>
                  <a:gd name="connsiteY734" fmla="*/ 4810 h 10000"/>
                  <a:gd name="connsiteX735" fmla="*/ 10422 w 10785"/>
                  <a:gd name="connsiteY735" fmla="*/ 5051 h 10000"/>
                  <a:gd name="connsiteX736" fmla="*/ 10691 w 10785"/>
                  <a:gd name="connsiteY736" fmla="*/ 5255 h 10000"/>
                  <a:gd name="connsiteX737" fmla="*/ 10619 w 10785"/>
                  <a:gd name="connsiteY737" fmla="*/ 4708 h 10000"/>
                  <a:gd name="connsiteX738" fmla="*/ 10785 w 10785"/>
                  <a:gd name="connsiteY738" fmla="*/ 4708 h 10000"/>
                  <a:gd name="connsiteX739" fmla="*/ 10689 w 10785"/>
                  <a:gd name="connsiteY739" fmla="*/ 4467 h 10000"/>
                  <a:gd name="connsiteX740" fmla="*/ 10354 w 10785"/>
                  <a:gd name="connsiteY740" fmla="*/ 4302 h 10000"/>
                  <a:gd name="connsiteX741" fmla="*/ 9912 w 10785"/>
                  <a:gd name="connsiteY741" fmla="*/ 3675 h 10000"/>
                  <a:gd name="connsiteX742" fmla="*/ 9903 w 10785"/>
                  <a:gd name="connsiteY742" fmla="*/ 3667 h 10000"/>
                  <a:gd name="connsiteX743" fmla="*/ 9894 w 10785"/>
                  <a:gd name="connsiteY743" fmla="*/ 3641 h 10000"/>
                  <a:gd name="connsiteX744" fmla="*/ 9889 w 10785"/>
                  <a:gd name="connsiteY744" fmla="*/ 3650 h 10000"/>
                  <a:gd name="connsiteX745" fmla="*/ 9848 w 10785"/>
                  <a:gd name="connsiteY745" fmla="*/ 3598 h 10000"/>
                  <a:gd name="connsiteX746" fmla="*/ 9829 w 10785"/>
                  <a:gd name="connsiteY746" fmla="*/ 3581 h 10000"/>
                  <a:gd name="connsiteX747" fmla="*/ 9820 w 10785"/>
                  <a:gd name="connsiteY747" fmla="*/ 3581 h 10000"/>
                  <a:gd name="connsiteX748" fmla="*/ 9793 w 10785"/>
                  <a:gd name="connsiteY748" fmla="*/ 3556 h 10000"/>
                  <a:gd name="connsiteX749" fmla="*/ 9779 w 10785"/>
                  <a:gd name="connsiteY749" fmla="*/ 3556 h 10000"/>
                  <a:gd name="connsiteX750" fmla="*/ 9747 w 10785"/>
                  <a:gd name="connsiteY750" fmla="*/ 3487 h 10000"/>
                  <a:gd name="connsiteX751" fmla="*/ 9668 w 10785"/>
                  <a:gd name="connsiteY751" fmla="*/ 3479 h 10000"/>
                  <a:gd name="connsiteX752" fmla="*/ 9659 w 10785"/>
                  <a:gd name="connsiteY752" fmla="*/ 3487 h 10000"/>
                  <a:gd name="connsiteX753" fmla="*/ 9645 w 10785"/>
                  <a:gd name="connsiteY753" fmla="*/ 3504 h 10000"/>
                  <a:gd name="connsiteX754" fmla="*/ 9631 w 10785"/>
                  <a:gd name="connsiteY754" fmla="*/ 3487 h 10000"/>
                  <a:gd name="connsiteX755" fmla="*/ 9613 w 10785"/>
                  <a:gd name="connsiteY755" fmla="*/ 3479 h 10000"/>
                  <a:gd name="connsiteX756" fmla="*/ 9599 w 10785"/>
                  <a:gd name="connsiteY756" fmla="*/ 3479 h 10000"/>
                  <a:gd name="connsiteX757" fmla="*/ 9571 w 10785"/>
                  <a:gd name="connsiteY757" fmla="*/ 3479 h 10000"/>
                  <a:gd name="connsiteX758" fmla="*/ 9562 w 10785"/>
                  <a:gd name="connsiteY758" fmla="*/ 3487 h 10000"/>
                  <a:gd name="connsiteX759" fmla="*/ 9539 w 10785"/>
                  <a:gd name="connsiteY759" fmla="*/ 3487 h 10000"/>
                  <a:gd name="connsiteX760" fmla="*/ 9507 w 10785"/>
                  <a:gd name="connsiteY760" fmla="*/ 3453 h 10000"/>
                  <a:gd name="connsiteX761" fmla="*/ 9498 w 10785"/>
                  <a:gd name="connsiteY761" fmla="*/ 3453 h 10000"/>
                  <a:gd name="connsiteX762" fmla="*/ 9387 w 10785"/>
                  <a:gd name="connsiteY762" fmla="*/ 3419 h 10000"/>
                  <a:gd name="connsiteX763" fmla="*/ 9373 w 10785"/>
                  <a:gd name="connsiteY763" fmla="*/ 3427 h 10000"/>
                  <a:gd name="connsiteX764" fmla="*/ 9373 w 10785"/>
                  <a:gd name="connsiteY764" fmla="*/ 3462 h 10000"/>
                  <a:gd name="connsiteX765" fmla="*/ 9378 w 10785"/>
                  <a:gd name="connsiteY765" fmla="*/ 3479 h 10000"/>
                  <a:gd name="connsiteX766" fmla="*/ 9378 w 10785"/>
                  <a:gd name="connsiteY766" fmla="*/ 3530 h 10000"/>
                  <a:gd name="connsiteX767" fmla="*/ 9355 w 10785"/>
                  <a:gd name="connsiteY767" fmla="*/ 3538 h 10000"/>
                  <a:gd name="connsiteX768" fmla="*/ 9355 w 10785"/>
                  <a:gd name="connsiteY768" fmla="*/ 3581 h 10000"/>
                  <a:gd name="connsiteX769" fmla="*/ 9387 w 10785"/>
                  <a:gd name="connsiteY769" fmla="*/ 3590 h 10000"/>
                  <a:gd name="connsiteX770" fmla="*/ 9401 w 10785"/>
                  <a:gd name="connsiteY770" fmla="*/ 3667 h 10000"/>
                  <a:gd name="connsiteX771" fmla="*/ 9406 w 10785"/>
                  <a:gd name="connsiteY771" fmla="*/ 3675 h 10000"/>
                  <a:gd name="connsiteX772" fmla="*/ 9406 w 10785"/>
                  <a:gd name="connsiteY772" fmla="*/ 3701 h 10000"/>
                  <a:gd name="connsiteX773" fmla="*/ 9415 w 10785"/>
                  <a:gd name="connsiteY773" fmla="*/ 3752 h 10000"/>
                  <a:gd name="connsiteX774" fmla="*/ 9373 w 10785"/>
                  <a:gd name="connsiteY774" fmla="*/ 3838 h 10000"/>
                  <a:gd name="connsiteX775" fmla="*/ 9355 w 10785"/>
                  <a:gd name="connsiteY775" fmla="*/ 3863 h 10000"/>
                  <a:gd name="connsiteX776" fmla="*/ 9327 w 10785"/>
                  <a:gd name="connsiteY776" fmla="*/ 3863 h 10000"/>
                  <a:gd name="connsiteX777" fmla="*/ 9313 w 10785"/>
                  <a:gd name="connsiteY777" fmla="*/ 3846 h 10000"/>
                  <a:gd name="connsiteX778" fmla="*/ 9300 w 10785"/>
                  <a:gd name="connsiteY778" fmla="*/ 3778 h 10000"/>
                  <a:gd name="connsiteX779" fmla="*/ 9281 w 10785"/>
                  <a:gd name="connsiteY779" fmla="*/ 3752 h 10000"/>
                  <a:gd name="connsiteX780" fmla="*/ 9281 w 10785"/>
                  <a:gd name="connsiteY780" fmla="*/ 3735 h 10000"/>
                  <a:gd name="connsiteX781" fmla="*/ 9267 w 10785"/>
                  <a:gd name="connsiteY781" fmla="*/ 3726 h 10000"/>
                  <a:gd name="connsiteX782" fmla="*/ 9240 w 10785"/>
                  <a:gd name="connsiteY782" fmla="*/ 3726 h 10000"/>
                  <a:gd name="connsiteX783" fmla="*/ 9230 w 10785"/>
                  <a:gd name="connsiteY783" fmla="*/ 3718 h 10000"/>
                  <a:gd name="connsiteX784" fmla="*/ 9226 w 10785"/>
                  <a:gd name="connsiteY784" fmla="*/ 3590 h 10000"/>
                  <a:gd name="connsiteX785" fmla="*/ 9207 w 10785"/>
                  <a:gd name="connsiteY785" fmla="*/ 3581 h 10000"/>
                  <a:gd name="connsiteX786" fmla="*/ 9207 w 10785"/>
                  <a:gd name="connsiteY786" fmla="*/ 3556 h 10000"/>
                  <a:gd name="connsiteX787" fmla="*/ 9217 w 10785"/>
                  <a:gd name="connsiteY787" fmla="*/ 3538 h 10000"/>
                  <a:gd name="connsiteX788" fmla="*/ 9212 w 10785"/>
                  <a:gd name="connsiteY788" fmla="*/ 3538 h 10000"/>
                  <a:gd name="connsiteX789" fmla="*/ 9198 w 10785"/>
                  <a:gd name="connsiteY789" fmla="*/ 3513 h 10000"/>
                  <a:gd name="connsiteX790" fmla="*/ 9194 w 10785"/>
                  <a:gd name="connsiteY790" fmla="*/ 3530 h 10000"/>
                  <a:gd name="connsiteX791" fmla="*/ 9143 w 10785"/>
                  <a:gd name="connsiteY791" fmla="*/ 3615 h 10000"/>
                  <a:gd name="connsiteX792" fmla="*/ 9138 w 10785"/>
                  <a:gd name="connsiteY792" fmla="*/ 3615 h 10000"/>
                  <a:gd name="connsiteX793" fmla="*/ 9134 w 10785"/>
                  <a:gd name="connsiteY793" fmla="*/ 3615 h 10000"/>
                  <a:gd name="connsiteX794" fmla="*/ 9106 w 10785"/>
                  <a:gd name="connsiteY794" fmla="*/ 3615 h 10000"/>
                  <a:gd name="connsiteX795" fmla="*/ 9078 w 10785"/>
                  <a:gd name="connsiteY795" fmla="*/ 3590 h 10000"/>
                  <a:gd name="connsiteX796" fmla="*/ 9037 w 10785"/>
                  <a:gd name="connsiteY796" fmla="*/ 3581 h 10000"/>
                  <a:gd name="connsiteX797" fmla="*/ 9023 w 10785"/>
                  <a:gd name="connsiteY797" fmla="*/ 3590 h 10000"/>
                  <a:gd name="connsiteX798" fmla="*/ 9018 w 10785"/>
                  <a:gd name="connsiteY798" fmla="*/ 3590 h 10000"/>
                  <a:gd name="connsiteX799" fmla="*/ 9018 w 10785"/>
                  <a:gd name="connsiteY799" fmla="*/ 3590 h 10000"/>
                  <a:gd name="connsiteX800" fmla="*/ 8991 w 10785"/>
                  <a:gd name="connsiteY800" fmla="*/ 3590 h 10000"/>
                  <a:gd name="connsiteX801" fmla="*/ 8972 w 10785"/>
                  <a:gd name="connsiteY801" fmla="*/ 3581 h 10000"/>
                  <a:gd name="connsiteX802" fmla="*/ 8959 w 10785"/>
                  <a:gd name="connsiteY802" fmla="*/ 3513 h 10000"/>
                  <a:gd name="connsiteX803" fmla="*/ 8931 w 10785"/>
                  <a:gd name="connsiteY803" fmla="*/ 3538 h 10000"/>
                  <a:gd name="connsiteX804" fmla="*/ 8889 w 10785"/>
                  <a:gd name="connsiteY804" fmla="*/ 3538 h 10000"/>
                  <a:gd name="connsiteX805" fmla="*/ 8871 w 10785"/>
                  <a:gd name="connsiteY805" fmla="*/ 3556 h 10000"/>
                  <a:gd name="connsiteX806" fmla="*/ 8857 w 10785"/>
                  <a:gd name="connsiteY806" fmla="*/ 3538 h 10000"/>
                  <a:gd name="connsiteX807" fmla="*/ 8843 w 10785"/>
                  <a:gd name="connsiteY807" fmla="*/ 3538 h 10000"/>
                  <a:gd name="connsiteX808" fmla="*/ 8839 w 10785"/>
                  <a:gd name="connsiteY808" fmla="*/ 3556 h 10000"/>
                  <a:gd name="connsiteX809" fmla="*/ 8839 w 10785"/>
                  <a:gd name="connsiteY809" fmla="*/ 3581 h 10000"/>
                  <a:gd name="connsiteX810" fmla="*/ 8825 w 10785"/>
                  <a:gd name="connsiteY810" fmla="*/ 3564 h 10000"/>
                  <a:gd name="connsiteX811" fmla="*/ 8825 w 10785"/>
                  <a:gd name="connsiteY811" fmla="*/ 3615 h 10000"/>
                  <a:gd name="connsiteX812" fmla="*/ 8802 w 10785"/>
                  <a:gd name="connsiteY812" fmla="*/ 3598 h 10000"/>
                  <a:gd name="connsiteX813" fmla="*/ 8797 w 10785"/>
                  <a:gd name="connsiteY813" fmla="*/ 3641 h 10000"/>
                  <a:gd name="connsiteX814" fmla="*/ 8783 w 10785"/>
                  <a:gd name="connsiteY814" fmla="*/ 3667 h 10000"/>
                  <a:gd name="connsiteX815" fmla="*/ 8779 w 10785"/>
                  <a:gd name="connsiteY815" fmla="*/ 3650 h 10000"/>
                  <a:gd name="connsiteX816" fmla="*/ 8779 w 10785"/>
                  <a:gd name="connsiteY816" fmla="*/ 3615 h 10000"/>
                  <a:gd name="connsiteX817" fmla="*/ 8770 w 10785"/>
                  <a:gd name="connsiteY817" fmla="*/ 3590 h 10000"/>
                  <a:gd name="connsiteX818" fmla="*/ 8765 w 10785"/>
                  <a:gd name="connsiteY818" fmla="*/ 3598 h 10000"/>
                  <a:gd name="connsiteX819" fmla="*/ 8756 w 10785"/>
                  <a:gd name="connsiteY819" fmla="*/ 3590 h 10000"/>
                  <a:gd name="connsiteX820" fmla="*/ 8737 w 10785"/>
                  <a:gd name="connsiteY820" fmla="*/ 3556 h 10000"/>
                  <a:gd name="connsiteX821" fmla="*/ 8724 w 10785"/>
                  <a:gd name="connsiteY821" fmla="*/ 3538 h 10000"/>
                  <a:gd name="connsiteX822" fmla="*/ 8696 w 10785"/>
                  <a:gd name="connsiteY822" fmla="*/ 3538 h 10000"/>
                  <a:gd name="connsiteX823" fmla="*/ 8691 w 10785"/>
                  <a:gd name="connsiteY823" fmla="*/ 3513 h 10000"/>
                  <a:gd name="connsiteX824" fmla="*/ 8668 w 10785"/>
                  <a:gd name="connsiteY824" fmla="*/ 3504 h 10000"/>
                  <a:gd name="connsiteX825" fmla="*/ 8668 w 10785"/>
                  <a:gd name="connsiteY825" fmla="*/ 3487 h 10000"/>
                  <a:gd name="connsiteX826" fmla="*/ 8691 w 10785"/>
                  <a:gd name="connsiteY826" fmla="*/ 3350 h 10000"/>
                  <a:gd name="connsiteX827" fmla="*/ 8691 w 10785"/>
                  <a:gd name="connsiteY827" fmla="*/ 3291 h 10000"/>
                  <a:gd name="connsiteX828" fmla="*/ 8677 w 10785"/>
                  <a:gd name="connsiteY828" fmla="*/ 3239 h 10000"/>
                  <a:gd name="connsiteX829" fmla="*/ 8677 w 10785"/>
                  <a:gd name="connsiteY829" fmla="*/ 3231 h 10000"/>
                  <a:gd name="connsiteX830" fmla="*/ 8636 w 10785"/>
                  <a:gd name="connsiteY830" fmla="*/ 3128 h 10000"/>
                  <a:gd name="connsiteX831" fmla="*/ 8622 w 10785"/>
                  <a:gd name="connsiteY831" fmla="*/ 3120 h 10000"/>
                  <a:gd name="connsiteX832" fmla="*/ 8618 w 10785"/>
                  <a:gd name="connsiteY832" fmla="*/ 3094 h 10000"/>
                  <a:gd name="connsiteX833" fmla="*/ 8594 w 10785"/>
                  <a:gd name="connsiteY833" fmla="*/ 3077 h 10000"/>
                  <a:gd name="connsiteX834" fmla="*/ 8548 w 10785"/>
                  <a:gd name="connsiteY834" fmla="*/ 3077 h 10000"/>
                  <a:gd name="connsiteX835" fmla="*/ 8535 w 10785"/>
                  <a:gd name="connsiteY835" fmla="*/ 3068 h 10000"/>
                  <a:gd name="connsiteX836" fmla="*/ 8429 w 10785"/>
                  <a:gd name="connsiteY836" fmla="*/ 3077 h 10000"/>
                  <a:gd name="connsiteX837" fmla="*/ 8424 w 10785"/>
                  <a:gd name="connsiteY837" fmla="*/ 3077 h 10000"/>
                  <a:gd name="connsiteX838" fmla="*/ 8396 w 10785"/>
                  <a:gd name="connsiteY838" fmla="*/ 3077 h 10000"/>
                  <a:gd name="connsiteX839" fmla="*/ 8387 w 10785"/>
                  <a:gd name="connsiteY839" fmla="*/ 3094 h 10000"/>
                  <a:gd name="connsiteX840" fmla="*/ 8378 w 10785"/>
                  <a:gd name="connsiteY840" fmla="*/ 3094 h 10000"/>
                  <a:gd name="connsiteX841" fmla="*/ 8341 w 10785"/>
                  <a:gd name="connsiteY841" fmla="*/ 3077 h 10000"/>
                  <a:gd name="connsiteX842" fmla="*/ 8336 w 10785"/>
                  <a:gd name="connsiteY842" fmla="*/ 3077 h 10000"/>
                  <a:gd name="connsiteX843" fmla="*/ 8327 w 10785"/>
                  <a:gd name="connsiteY843" fmla="*/ 3103 h 10000"/>
                  <a:gd name="connsiteX844" fmla="*/ 8309 w 10785"/>
                  <a:gd name="connsiteY844" fmla="*/ 3120 h 10000"/>
                  <a:gd name="connsiteX845" fmla="*/ 8304 w 10785"/>
                  <a:gd name="connsiteY845" fmla="*/ 3103 h 10000"/>
                  <a:gd name="connsiteX846" fmla="*/ 8276 w 10785"/>
                  <a:gd name="connsiteY846" fmla="*/ 3103 h 10000"/>
                  <a:gd name="connsiteX847" fmla="*/ 8267 w 10785"/>
                  <a:gd name="connsiteY847" fmla="*/ 3120 h 10000"/>
                  <a:gd name="connsiteX848" fmla="*/ 8253 w 10785"/>
                  <a:gd name="connsiteY848" fmla="*/ 3103 h 10000"/>
                  <a:gd name="connsiteX849" fmla="*/ 8230 w 10785"/>
                  <a:gd name="connsiteY849" fmla="*/ 3128 h 10000"/>
                  <a:gd name="connsiteX850" fmla="*/ 8217 w 10785"/>
                  <a:gd name="connsiteY850" fmla="*/ 3128 h 10000"/>
                  <a:gd name="connsiteX851" fmla="*/ 8203 w 10785"/>
                  <a:gd name="connsiteY851" fmla="*/ 3154 h 10000"/>
                  <a:gd name="connsiteX852" fmla="*/ 8175 w 10785"/>
                  <a:gd name="connsiteY852" fmla="*/ 3094 h 10000"/>
                  <a:gd name="connsiteX853" fmla="*/ 8161 w 10785"/>
                  <a:gd name="connsiteY853" fmla="*/ 3094 h 10000"/>
                  <a:gd name="connsiteX854" fmla="*/ 8157 w 10785"/>
                  <a:gd name="connsiteY854" fmla="*/ 3077 h 10000"/>
                  <a:gd name="connsiteX855" fmla="*/ 8180 w 10785"/>
                  <a:gd name="connsiteY855" fmla="*/ 3068 h 10000"/>
                  <a:gd name="connsiteX856" fmla="*/ 8189 w 10785"/>
                  <a:gd name="connsiteY856" fmla="*/ 3043 h 10000"/>
                  <a:gd name="connsiteX857" fmla="*/ 8189 w 10785"/>
                  <a:gd name="connsiteY857" fmla="*/ 3017 h 10000"/>
                  <a:gd name="connsiteX858" fmla="*/ 8147 w 10785"/>
                  <a:gd name="connsiteY858" fmla="*/ 2940 h 10000"/>
                  <a:gd name="connsiteX859" fmla="*/ 8143 w 10785"/>
                  <a:gd name="connsiteY859" fmla="*/ 2915 h 10000"/>
                  <a:gd name="connsiteX860" fmla="*/ 8143 w 10785"/>
                  <a:gd name="connsiteY860" fmla="*/ 2906 h 10000"/>
                  <a:gd name="connsiteX861" fmla="*/ 8097 w 10785"/>
                  <a:gd name="connsiteY861" fmla="*/ 2932 h 10000"/>
                  <a:gd name="connsiteX862" fmla="*/ 8083 w 10785"/>
                  <a:gd name="connsiteY862" fmla="*/ 2932 h 10000"/>
                  <a:gd name="connsiteX863" fmla="*/ 8074 w 10785"/>
                  <a:gd name="connsiteY863" fmla="*/ 2906 h 10000"/>
                  <a:gd name="connsiteX864" fmla="*/ 8074 w 10785"/>
                  <a:gd name="connsiteY864" fmla="*/ 2897 h 10000"/>
                  <a:gd name="connsiteX865" fmla="*/ 8055 w 10785"/>
                  <a:gd name="connsiteY865" fmla="*/ 2872 h 10000"/>
                  <a:gd name="connsiteX866" fmla="*/ 8046 w 10785"/>
                  <a:gd name="connsiteY866" fmla="*/ 2829 h 10000"/>
                  <a:gd name="connsiteX867" fmla="*/ 8041 w 10785"/>
                  <a:gd name="connsiteY867" fmla="*/ 2829 h 10000"/>
                  <a:gd name="connsiteX868" fmla="*/ 8023 w 10785"/>
                  <a:gd name="connsiteY868" fmla="*/ 2803 h 10000"/>
                  <a:gd name="connsiteX869" fmla="*/ 8014 w 10785"/>
                  <a:gd name="connsiteY869" fmla="*/ 2829 h 10000"/>
                  <a:gd name="connsiteX870" fmla="*/ 8000 w 10785"/>
                  <a:gd name="connsiteY870" fmla="*/ 2829 h 10000"/>
                  <a:gd name="connsiteX871" fmla="*/ 7995 w 10785"/>
                  <a:gd name="connsiteY871" fmla="*/ 2821 h 10000"/>
                  <a:gd name="connsiteX872" fmla="*/ 7972 w 10785"/>
                  <a:gd name="connsiteY872" fmla="*/ 2803 h 10000"/>
                  <a:gd name="connsiteX873" fmla="*/ 7968 w 10785"/>
                  <a:gd name="connsiteY873" fmla="*/ 2821 h 10000"/>
                  <a:gd name="connsiteX874" fmla="*/ 7968 w 10785"/>
                  <a:gd name="connsiteY874" fmla="*/ 2803 h 10000"/>
                  <a:gd name="connsiteX875" fmla="*/ 7995 w 10785"/>
                  <a:gd name="connsiteY875" fmla="*/ 2735 h 10000"/>
                  <a:gd name="connsiteX876" fmla="*/ 8000 w 10785"/>
                  <a:gd name="connsiteY876" fmla="*/ 2735 h 10000"/>
                  <a:gd name="connsiteX877" fmla="*/ 8014 w 10785"/>
                  <a:gd name="connsiteY877" fmla="*/ 2744 h 10000"/>
                  <a:gd name="connsiteX878" fmla="*/ 8023 w 10785"/>
                  <a:gd name="connsiteY878" fmla="*/ 2769 h 10000"/>
                  <a:gd name="connsiteX879" fmla="*/ 8032 w 10785"/>
                  <a:gd name="connsiteY879" fmla="*/ 2744 h 10000"/>
                  <a:gd name="connsiteX880" fmla="*/ 8032 w 10785"/>
                  <a:gd name="connsiteY880" fmla="*/ 2709 h 10000"/>
                  <a:gd name="connsiteX881" fmla="*/ 8023 w 10785"/>
                  <a:gd name="connsiteY881" fmla="*/ 2632 h 10000"/>
                  <a:gd name="connsiteX882" fmla="*/ 7986 w 10785"/>
                  <a:gd name="connsiteY882" fmla="*/ 2581 h 10000"/>
                  <a:gd name="connsiteX883" fmla="*/ 7968 w 10785"/>
                  <a:gd name="connsiteY883" fmla="*/ 2581 h 10000"/>
                  <a:gd name="connsiteX884" fmla="*/ 7963 w 10785"/>
                  <a:gd name="connsiteY884" fmla="*/ 2556 h 10000"/>
                  <a:gd name="connsiteX885" fmla="*/ 7935 w 10785"/>
                  <a:gd name="connsiteY885" fmla="*/ 2547 h 10000"/>
                  <a:gd name="connsiteX886" fmla="*/ 7912 w 10785"/>
                  <a:gd name="connsiteY886" fmla="*/ 2547 h 10000"/>
                  <a:gd name="connsiteX887" fmla="*/ 7912 w 10785"/>
                  <a:gd name="connsiteY887" fmla="*/ 2556 h 10000"/>
                  <a:gd name="connsiteX888" fmla="*/ 7908 w 10785"/>
                  <a:gd name="connsiteY888" fmla="*/ 2547 h 10000"/>
                  <a:gd name="connsiteX889" fmla="*/ 7862 w 10785"/>
                  <a:gd name="connsiteY889" fmla="*/ 2547 h 10000"/>
                  <a:gd name="connsiteX890" fmla="*/ 7848 w 10785"/>
                  <a:gd name="connsiteY890" fmla="*/ 2556 h 10000"/>
                  <a:gd name="connsiteX891" fmla="*/ 7820 w 10785"/>
                  <a:gd name="connsiteY891" fmla="*/ 2547 h 10000"/>
                  <a:gd name="connsiteX892" fmla="*/ 7806 w 10785"/>
                  <a:gd name="connsiteY892" fmla="*/ 2513 h 10000"/>
                  <a:gd name="connsiteX893" fmla="*/ 7788 w 10785"/>
                  <a:gd name="connsiteY893" fmla="*/ 2513 h 10000"/>
                  <a:gd name="connsiteX894" fmla="*/ 7760 w 10785"/>
                  <a:gd name="connsiteY894" fmla="*/ 2470 h 10000"/>
                  <a:gd name="connsiteX895" fmla="*/ 7751 w 10785"/>
                  <a:gd name="connsiteY895" fmla="*/ 2470 h 10000"/>
                  <a:gd name="connsiteX896" fmla="*/ 7705 w 10785"/>
                  <a:gd name="connsiteY896" fmla="*/ 2462 h 10000"/>
                  <a:gd name="connsiteX897" fmla="*/ 7673 w 10785"/>
                  <a:gd name="connsiteY897" fmla="*/ 2419 h 10000"/>
                  <a:gd name="connsiteX898" fmla="*/ 7627 w 10785"/>
                  <a:gd name="connsiteY898" fmla="*/ 2419 h 10000"/>
                  <a:gd name="connsiteX899" fmla="*/ 7613 w 10785"/>
                  <a:gd name="connsiteY899" fmla="*/ 2410 h 10000"/>
                  <a:gd name="connsiteX900" fmla="*/ 7493 w 10785"/>
                  <a:gd name="connsiteY900" fmla="*/ 2393 h 10000"/>
                  <a:gd name="connsiteX901" fmla="*/ 7479 w 10785"/>
                  <a:gd name="connsiteY901" fmla="*/ 2385 h 10000"/>
                  <a:gd name="connsiteX902" fmla="*/ 7479 w 10785"/>
                  <a:gd name="connsiteY902" fmla="*/ 2376 h 10000"/>
                  <a:gd name="connsiteX903" fmla="*/ 7465 w 10785"/>
                  <a:gd name="connsiteY903" fmla="*/ 2359 h 10000"/>
                  <a:gd name="connsiteX904" fmla="*/ 7447 w 10785"/>
                  <a:gd name="connsiteY904" fmla="*/ 2350 h 10000"/>
                  <a:gd name="connsiteX905" fmla="*/ 7433 w 10785"/>
                  <a:gd name="connsiteY905" fmla="*/ 2376 h 10000"/>
                  <a:gd name="connsiteX906" fmla="*/ 7433 w 10785"/>
                  <a:gd name="connsiteY906" fmla="*/ 2385 h 10000"/>
                  <a:gd name="connsiteX907" fmla="*/ 7447 w 10785"/>
                  <a:gd name="connsiteY907" fmla="*/ 2410 h 10000"/>
                  <a:gd name="connsiteX908" fmla="*/ 7447 w 10785"/>
                  <a:gd name="connsiteY908" fmla="*/ 2436 h 10000"/>
                  <a:gd name="connsiteX909" fmla="*/ 7452 w 10785"/>
                  <a:gd name="connsiteY909" fmla="*/ 2462 h 10000"/>
                  <a:gd name="connsiteX910" fmla="*/ 7447 w 10785"/>
                  <a:gd name="connsiteY910" fmla="*/ 2470 h 10000"/>
                  <a:gd name="connsiteX911" fmla="*/ 7424 w 10785"/>
                  <a:gd name="connsiteY911" fmla="*/ 2513 h 10000"/>
                  <a:gd name="connsiteX912" fmla="*/ 7419 w 10785"/>
                  <a:gd name="connsiteY912" fmla="*/ 2556 h 10000"/>
                  <a:gd name="connsiteX913" fmla="*/ 7406 w 10785"/>
                  <a:gd name="connsiteY913" fmla="*/ 2624 h 10000"/>
                  <a:gd name="connsiteX914" fmla="*/ 7392 w 10785"/>
                  <a:gd name="connsiteY914" fmla="*/ 2624 h 10000"/>
                  <a:gd name="connsiteX915" fmla="*/ 7373 w 10785"/>
                  <a:gd name="connsiteY915" fmla="*/ 2650 h 10000"/>
                  <a:gd name="connsiteX916" fmla="*/ 7364 w 10785"/>
                  <a:gd name="connsiteY916" fmla="*/ 2684 h 10000"/>
                  <a:gd name="connsiteX917" fmla="*/ 7364 w 10785"/>
                  <a:gd name="connsiteY917" fmla="*/ 2692 h 10000"/>
                  <a:gd name="connsiteX918" fmla="*/ 7373 w 10785"/>
                  <a:gd name="connsiteY918" fmla="*/ 2718 h 10000"/>
                  <a:gd name="connsiteX919" fmla="*/ 7373 w 10785"/>
                  <a:gd name="connsiteY919" fmla="*/ 2744 h 10000"/>
                  <a:gd name="connsiteX920" fmla="*/ 7359 w 10785"/>
                  <a:gd name="connsiteY920" fmla="*/ 2744 h 10000"/>
                  <a:gd name="connsiteX921" fmla="*/ 7359 w 10785"/>
                  <a:gd name="connsiteY921" fmla="*/ 2795 h 10000"/>
                  <a:gd name="connsiteX922" fmla="*/ 7364 w 10785"/>
                  <a:gd name="connsiteY922" fmla="*/ 2821 h 10000"/>
                  <a:gd name="connsiteX923" fmla="*/ 7378 w 10785"/>
                  <a:gd name="connsiteY923" fmla="*/ 2846 h 10000"/>
                  <a:gd name="connsiteX924" fmla="*/ 7378 w 10785"/>
                  <a:gd name="connsiteY924" fmla="*/ 2855 h 10000"/>
                  <a:gd name="connsiteX925" fmla="*/ 7378 w 10785"/>
                  <a:gd name="connsiteY925" fmla="*/ 2880 h 10000"/>
                  <a:gd name="connsiteX926" fmla="*/ 7378 w 10785"/>
                  <a:gd name="connsiteY926" fmla="*/ 2906 h 10000"/>
                  <a:gd name="connsiteX927" fmla="*/ 7364 w 10785"/>
                  <a:gd name="connsiteY927" fmla="*/ 2906 h 10000"/>
                  <a:gd name="connsiteX928" fmla="*/ 7346 w 10785"/>
                  <a:gd name="connsiteY928" fmla="*/ 2880 h 10000"/>
                  <a:gd name="connsiteX929" fmla="*/ 7332 w 10785"/>
                  <a:gd name="connsiteY929" fmla="*/ 2915 h 10000"/>
                  <a:gd name="connsiteX930" fmla="*/ 7318 w 10785"/>
                  <a:gd name="connsiteY930" fmla="*/ 2906 h 10000"/>
                  <a:gd name="connsiteX931" fmla="*/ 7313 w 10785"/>
                  <a:gd name="connsiteY931" fmla="*/ 2915 h 10000"/>
                  <a:gd name="connsiteX932" fmla="*/ 7313 w 10785"/>
                  <a:gd name="connsiteY932" fmla="*/ 2906 h 10000"/>
                  <a:gd name="connsiteX933" fmla="*/ 7286 w 10785"/>
                  <a:gd name="connsiteY933" fmla="*/ 2940 h 10000"/>
                  <a:gd name="connsiteX934" fmla="*/ 7276 w 10785"/>
                  <a:gd name="connsiteY934" fmla="*/ 2966 h 10000"/>
                  <a:gd name="connsiteX935" fmla="*/ 7272 w 10785"/>
                  <a:gd name="connsiteY935" fmla="*/ 2983 h 10000"/>
                  <a:gd name="connsiteX936" fmla="*/ 7267 w 10785"/>
                  <a:gd name="connsiteY936" fmla="*/ 3009 h 10000"/>
                  <a:gd name="connsiteX937" fmla="*/ 7253 w 10785"/>
                  <a:gd name="connsiteY937" fmla="*/ 3009 h 10000"/>
                  <a:gd name="connsiteX938" fmla="*/ 7244 w 10785"/>
                  <a:gd name="connsiteY938" fmla="*/ 3017 h 10000"/>
                  <a:gd name="connsiteX939" fmla="*/ 7240 w 10785"/>
                  <a:gd name="connsiteY939" fmla="*/ 3009 h 10000"/>
                  <a:gd name="connsiteX940" fmla="*/ 7230 w 10785"/>
                  <a:gd name="connsiteY940" fmla="*/ 2991 h 10000"/>
                  <a:gd name="connsiteX941" fmla="*/ 7226 w 10785"/>
                  <a:gd name="connsiteY941" fmla="*/ 2983 h 10000"/>
                  <a:gd name="connsiteX942" fmla="*/ 7226 w 10785"/>
                  <a:gd name="connsiteY942" fmla="*/ 2966 h 10000"/>
                  <a:gd name="connsiteX943" fmla="*/ 7212 w 10785"/>
                  <a:gd name="connsiteY943" fmla="*/ 2957 h 10000"/>
                  <a:gd name="connsiteX944" fmla="*/ 7212 w 10785"/>
                  <a:gd name="connsiteY944" fmla="*/ 2932 h 10000"/>
                  <a:gd name="connsiteX945" fmla="*/ 7198 w 10785"/>
                  <a:gd name="connsiteY945" fmla="*/ 2915 h 10000"/>
                  <a:gd name="connsiteX946" fmla="*/ 7194 w 10785"/>
                  <a:gd name="connsiteY946" fmla="*/ 2915 h 10000"/>
                  <a:gd name="connsiteX947" fmla="*/ 7157 w 10785"/>
                  <a:gd name="connsiteY947" fmla="*/ 2880 h 10000"/>
                  <a:gd name="connsiteX948" fmla="*/ 7138 w 10785"/>
                  <a:gd name="connsiteY948" fmla="*/ 2880 h 10000"/>
                  <a:gd name="connsiteX949" fmla="*/ 7120 w 10785"/>
                  <a:gd name="connsiteY949" fmla="*/ 2872 h 10000"/>
                  <a:gd name="connsiteX950" fmla="*/ 7111 w 10785"/>
                  <a:gd name="connsiteY950" fmla="*/ 2846 h 10000"/>
                  <a:gd name="connsiteX951" fmla="*/ 7106 w 10785"/>
                  <a:gd name="connsiteY951" fmla="*/ 2846 h 10000"/>
                  <a:gd name="connsiteX952" fmla="*/ 7092 w 10785"/>
                  <a:gd name="connsiteY952" fmla="*/ 2829 h 10000"/>
                  <a:gd name="connsiteX953" fmla="*/ 7051 w 10785"/>
                  <a:gd name="connsiteY953" fmla="*/ 2829 h 10000"/>
                  <a:gd name="connsiteX954" fmla="*/ 7037 w 10785"/>
                  <a:gd name="connsiteY954" fmla="*/ 2880 h 10000"/>
                  <a:gd name="connsiteX955" fmla="*/ 7037 w 10785"/>
                  <a:gd name="connsiteY955" fmla="*/ 2906 h 10000"/>
                  <a:gd name="connsiteX956" fmla="*/ 7037 w 10785"/>
                  <a:gd name="connsiteY956" fmla="*/ 2932 h 10000"/>
                  <a:gd name="connsiteX957" fmla="*/ 7037 w 10785"/>
                  <a:gd name="connsiteY957" fmla="*/ 2940 h 10000"/>
                  <a:gd name="connsiteX958" fmla="*/ 7023 w 10785"/>
                  <a:gd name="connsiteY958" fmla="*/ 2906 h 10000"/>
                  <a:gd name="connsiteX959" fmla="*/ 7023 w 10785"/>
                  <a:gd name="connsiteY959" fmla="*/ 2915 h 10000"/>
                  <a:gd name="connsiteX960" fmla="*/ 6991 w 10785"/>
                  <a:gd name="connsiteY960" fmla="*/ 2906 h 10000"/>
                  <a:gd name="connsiteX961" fmla="*/ 6977 w 10785"/>
                  <a:gd name="connsiteY961" fmla="*/ 2915 h 10000"/>
                  <a:gd name="connsiteX962" fmla="*/ 6963 w 10785"/>
                  <a:gd name="connsiteY962" fmla="*/ 2915 h 10000"/>
                  <a:gd name="connsiteX963" fmla="*/ 6949 w 10785"/>
                  <a:gd name="connsiteY963" fmla="*/ 2872 h 10000"/>
                  <a:gd name="connsiteX964" fmla="*/ 6935 w 10785"/>
                  <a:gd name="connsiteY964" fmla="*/ 2855 h 10000"/>
                  <a:gd name="connsiteX965" fmla="*/ 6922 w 10785"/>
                  <a:gd name="connsiteY965" fmla="*/ 2803 h 10000"/>
                  <a:gd name="connsiteX966" fmla="*/ 6917 w 10785"/>
                  <a:gd name="connsiteY966" fmla="*/ 2786 h 10000"/>
                  <a:gd name="connsiteX967" fmla="*/ 6903 w 10785"/>
                  <a:gd name="connsiteY967" fmla="*/ 2709 h 10000"/>
                  <a:gd name="connsiteX968" fmla="*/ 6903 w 10785"/>
                  <a:gd name="connsiteY968" fmla="*/ 2692 h 10000"/>
                  <a:gd name="connsiteX969" fmla="*/ 6899 w 10785"/>
                  <a:gd name="connsiteY969" fmla="*/ 2709 h 10000"/>
                  <a:gd name="connsiteX970" fmla="*/ 6857 w 10785"/>
                  <a:gd name="connsiteY970" fmla="*/ 2872 h 10000"/>
                  <a:gd name="connsiteX971" fmla="*/ 6857 w 10785"/>
                  <a:gd name="connsiteY971" fmla="*/ 3009 h 10000"/>
                  <a:gd name="connsiteX972" fmla="*/ 6848 w 10785"/>
                  <a:gd name="connsiteY972" fmla="*/ 3017 h 10000"/>
                  <a:gd name="connsiteX973" fmla="*/ 6839 w 10785"/>
                  <a:gd name="connsiteY973" fmla="*/ 3068 h 10000"/>
                  <a:gd name="connsiteX974" fmla="*/ 6829 w 10785"/>
                  <a:gd name="connsiteY974" fmla="*/ 3077 h 10000"/>
                  <a:gd name="connsiteX975" fmla="*/ 6829 w 10785"/>
                  <a:gd name="connsiteY975" fmla="*/ 3128 h 10000"/>
                  <a:gd name="connsiteX976" fmla="*/ 6816 w 10785"/>
                  <a:gd name="connsiteY976" fmla="*/ 3154 h 10000"/>
                  <a:gd name="connsiteX977" fmla="*/ 6811 w 10785"/>
                  <a:gd name="connsiteY977" fmla="*/ 3179 h 10000"/>
                  <a:gd name="connsiteX978" fmla="*/ 6797 w 10785"/>
                  <a:gd name="connsiteY978" fmla="*/ 3171 h 10000"/>
                  <a:gd name="connsiteX979" fmla="*/ 6783 w 10785"/>
                  <a:gd name="connsiteY979" fmla="*/ 3103 h 10000"/>
                  <a:gd name="connsiteX980" fmla="*/ 6779 w 10785"/>
                  <a:gd name="connsiteY980" fmla="*/ 3094 h 10000"/>
                  <a:gd name="connsiteX981" fmla="*/ 6779 w 10785"/>
                  <a:gd name="connsiteY981" fmla="*/ 3120 h 10000"/>
                  <a:gd name="connsiteX982" fmla="*/ 6770 w 10785"/>
                  <a:gd name="connsiteY982" fmla="*/ 3128 h 10000"/>
                  <a:gd name="connsiteX983" fmla="*/ 6765 w 10785"/>
                  <a:gd name="connsiteY983" fmla="*/ 3103 h 10000"/>
                  <a:gd name="connsiteX984" fmla="*/ 6756 w 10785"/>
                  <a:gd name="connsiteY984" fmla="*/ 3103 h 10000"/>
                  <a:gd name="connsiteX985" fmla="*/ 6742 w 10785"/>
                  <a:gd name="connsiteY985" fmla="*/ 3103 h 10000"/>
                  <a:gd name="connsiteX986" fmla="*/ 6737 w 10785"/>
                  <a:gd name="connsiteY986" fmla="*/ 3077 h 10000"/>
                  <a:gd name="connsiteX987" fmla="*/ 6737 w 10785"/>
                  <a:gd name="connsiteY987" fmla="*/ 3068 h 10000"/>
                  <a:gd name="connsiteX988" fmla="*/ 6728 w 10785"/>
                  <a:gd name="connsiteY988" fmla="*/ 3043 h 10000"/>
                  <a:gd name="connsiteX989" fmla="*/ 6724 w 10785"/>
                  <a:gd name="connsiteY989" fmla="*/ 3051 h 10000"/>
                  <a:gd name="connsiteX990" fmla="*/ 6714 w 10785"/>
                  <a:gd name="connsiteY990" fmla="*/ 3043 h 10000"/>
                  <a:gd name="connsiteX991" fmla="*/ 6710 w 10785"/>
                  <a:gd name="connsiteY991" fmla="*/ 3034 h 10000"/>
                  <a:gd name="connsiteX992" fmla="*/ 6705 w 10785"/>
                  <a:gd name="connsiteY992" fmla="*/ 2983 h 10000"/>
                  <a:gd name="connsiteX993" fmla="*/ 6696 w 10785"/>
                  <a:gd name="connsiteY993" fmla="*/ 2966 h 10000"/>
                  <a:gd name="connsiteX994" fmla="*/ 6691 w 10785"/>
                  <a:gd name="connsiteY994" fmla="*/ 2983 h 10000"/>
                  <a:gd name="connsiteX995" fmla="*/ 6677 w 10785"/>
                  <a:gd name="connsiteY995" fmla="*/ 2897 h 10000"/>
                  <a:gd name="connsiteX996" fmla="*/ 6677 w 10785"/>
                  <a:gd name="connsiteY996" fmla="*/ 2897 h 10000"/>
                  <a:gd name="connsiteX997" fmla="*/ 6677 w 10785"/>
                  <a:gd name="connsiteY997" fmla="*/ 2872 h 10000"/>
                  <a:gd name="connsiteX998" fmla="*/ 6668 w 10785"/>
                  <a:gd name="connsiteY998" fmla="*/ 2821 h 10000"/>
                  <a:gd name="connsiteX999" fmla="*/ 6664 w 10785"/>
                  <a:gd name="connsiteY999" fmla="*/ 2829 h 10000"/>
                  <a:gd name="connsiteX1000" fmla="*/ 6654 w 10785"/>
                  <a:gd name="connsiteY1000" fmla="*/ 2846 h 10000"/>
                  <a:gd name="connsiteX1001" fmla="*/ 6650 w 10785"/>
                  <a:gd name="connsiteY1001" fmla="*/ 2829 h 10000"/>
                  <a:gd name="connsiteX1002" fmla="*/ 6650 w 10785"/>
                  <a:gd name="connsiteY1002" fmla="*/ 2803 h 10000"/>
                  <a:gd name="connsiteX1003" fmla="*/ 6650 w 10785"/>
                  <a:gd name="connsiteY1003" fmla="*/ 2795 h 10000"/>
                  <a:gd name="connsiteX1004" fmla="*/ 6641 w 10785"/>
                  <a:gd name="connsiteY1004" fmla="*/ 2786 h 10000"/>
                  <a:gd name="connsiteX1005" fmla="*/ 6636 w 10785"/>
                  <a:gd name="connsiteY1005" fmla="*/ 2735 h 10000"/>
                  <a:gd name="connsiteX1006" fmla="*/ 6664 w 10785"/>
                  <a:gd name="connsiteY1006" fmla="*/ 2667 h 10000"/>
                  <a:gd name="connsiteX1007" fmla="*/ 6668 w 10785"/>
                  <a:gd name="connsiteY1007" fmla="*/ 2684 h 10000"/>
                  <a:gd name="connsiteX1008" fmla="*/ 6677 w 10785"/>
                  <a:gd name="connsiteY1008" fmla="*/ 2667 h 10000"/>
                  <a:gd name="connsiteX1009" fmla="*/ 6668 w 10785"/>
                  <a:gd name="connsiteY1009" fmla="*/ 2667 h 10000"/>
                  <a:gd name="connsiteX1010" fmla="*/ 6668 w 10785"/>
                  <a:gd name="connsiteY1010" fmla="*/ 2650 h 10000"/>
                  <a:gd name="connsiteX1011" fmla="*/ 6682 w 10785"/>
                  <a:gd name="connsiteY1011" fmla="*/ 2650 h 10000"/>
                  <a:gd name="connsiteX1012" fmla="*/ 6691 w 10785"/>
                  <a:gd name="connsiteY1012" fmla="*/ 2624 h 10000"/>
                  <a:gd name="connsiteX1013" fmla="*/ 6682 w 10785"/>
                  <a:gd name="connsiteY1013" fmla="*/ 2632 h 10000"/>
                  <a:gd name="connsiteX1014" fmla="*/ 6682 w 10785"/>
                  <a:gd name="connsiteY1014" fmla="*/ 2624 h 10000"/>
                  <a:gd name="connsiteX1015" fmla="*/ 6691 w 10785"/>
                  <a:gd name="connsiteY1015" fmla="*/ 2607 h 10000"/>
                  <a:gd name="connsiteX1016" fmla="*/ 6691 w 10785"/>
                  <a:gd name="connsiteY1016" fmla="*/ 2598 h 10000"/>
                  <a:gd name="connsiteX1017" fmla="*/ 6691 w 10785"/>
                  <a:gd name="connsiteY1017" fmla="*/ 2581 h 10000"/>
                  <a:gd name="connsiteX1018" fmla="*/ 6696 w 10785"/>
                  <a:gd name="connsiteY1018" fmla="*/ 2530 h 10000"/>
                  <a:gd name="connsiteX1019" fmla="*/ 6677 w 10785"/>
                  <a:gd name="connsiteY1019" fmla="*/ 2513 h 10000"/>
                  <a:gd name="connsiteX1020" fmla="*/ 6677 w 10785"/>
                  <a:gd name="connsiteY1020" fmla="*/ 2496 h 10000"/>
                  <a:gd name="connsiteX1021" fmla="*/ 6682 w 10785"/>
                  <a:gd name="connsiteY1021" fmla="*/ 2470 h 10000"/>
                  <a:gd name="connsiteX1022" fmla="*/ 6668 w 10785"/>
                  <a:gd name="connsiteY1022" fmla="*/ 2462 h 10000"/>
                  <a:gd name="connsiteX1023" fmla="*/ 6677 w 10785"/>
                  <a:gd name="connsiteY1023" fmla="*/ 2436 h 10000"/>
                  <a:gd name="connsiteX1024" fmla="*/ 6682 w 10785"/>
                  <a:gd name="connsiteY1024" fmla="*/ 2419 h 10000"/>
                  <a:gd name="connsiteX1025" fmla="*/ 6682 w 10785"/>
                  <a:gd name="connsiteY1025" fmla="*/ 2393 h 10000"/>
                  <a:gd name="connsiteX1026" fmla="*/ 6682 w 10785"/>
                  <a:gd name="connsiteY1026" fmla="*/ 2385 h 10000"/>
                  <a:gd name="connsiteX1027" fmla="*/ 6682 w 10785"/>
                  <a:gd name="connsiteY1027" fmla="*/ 2385 h 10000"/>
                  <a:gd name="connsiteX1028" fmla="*/ 6677 w 10785"/>
                  <a:gd name="connsiteY1028" fmla="*/ 2376 h 10000"/>
                  <a:gd name="connsiteX1029" fmla="*/ 6682 w 10785"/>
                  <a:gd name="connsiteY1029" fmla="*/ 2359 h 10000"/>
                  <a:gd name="connsiteX1030" fmla="*/ 6677 w 10785"/>
                  <a:gd name="connsiteY1030" fmla="*/ 2333 h 10000"/>
                  <a:gd name="connsiteX1031" fmla="*/ 6691 w 10785"/>
                  <a:gd name="connsiteY1031" fmla="*/ 2333 h 10000"/>
                  <a:gd name="connsiteX1032" fmla="*/ 6691 w 10785"/>
                  <a:gd name="connsiteY1032" fmla="*/ 2325 h 10000"/>
                  <a:gd name="connsiteX1033" fmla="*/ 6691 w 10785"/>
                  <a:gd name="connsiteY1033" fmla="*/ 2308 h 10000"/>
                  <a:gd name="connsiteX1034" fmla="*/ 6691 w 10785"/>
                  <a:gd name="connsiteY1034" fmla="*/ 2299 h 10000"/>
                  <a:gd name="connsiteX1035" fmla="*/ 6691 w 10785"/>
                  <a:gd name="connsiteY1035" fmla="*/ 2282 h 10000"/>
                  <a:gd name="connsiteX1036" fmla="*/ 6691 w 10785"/>
                  <a:gd name="connsiteY1036" fmla="*/ 2274 h 10000"/>
                  <a:gd name="connsiteX1037" fmla="*/ 6668 w 10785"/>
                  <a:gd name="connsiteY1037" fmla="*/ 2248 h 10000"/>
                  <a:gd name="connsiteX1038" fmla="*/ 6664 w 10785"/>
                  <a:gd name="connsiteY1038" fmla="*/ 2222 h 10000"/>
                  <a:gd name="connsiteX1039" fmla="*/ 6654 w 10785"/>
                  <a:gd name="connsiteY1039" fmla="*/ 2214 h 10000"/>
                  <a:gd name="connsiteX1040" fmla="*/ 6654 w 10785"/>
                  <a:gd name="connsiteY1040" fmla="*/ 2188 h 10000"/>
                  <a:gd name="connsiteX1041" fmla="*/ 6622 w 10785"/>
                  <a:gd name="connsiteY1041" fmla="*/ 2162 h 10000"/>
                  <a:gd name="connsiteX1042" fmla="*/ 6631 w 10785"/>
                  <a:gd name="connsiteY1042" fmla="*/ 2145 h 10000"/>
                  <a:gd name="connsiteX1043" fmla="*/ 6622 w 10785"/>
                  <a:gd name="connsiteY1043" fmla="*/ 2120 h 10000"/>
                  <a:gd name="connsiteX1044" fmla="*/ 6608 w 10785"/>
                  <a:gd name="connsiteY1044" fmla="*/ 2120 h 10000"/>
                  <a:gd name="connsiteX1045" fmla="*/ 6604 w 10785"/>
                  <a:gd name="connsiteY1045" fmla="*/ 2111 h 10000"/>
                  <a:gd name="connsiteX1046" fmla="*/ 6608 w 10785"/>
                  <a:gd name="connsiteY1046" fmla="*/ 2111 h 10000"/>
                  <a:gd name="connsiteX1047" fmla="*/ 6604 w 10785"/>
                  <a:gd name="connsiteY1047" fmla="*/ 2085 h 10000"/>
                  <a:gd name="connsiteX1048" fmla="*/ 6581 w 10785"/>
                  <a:gd name="connsiteY1048" fmla="*/ 2077 h 10000"/>
                  <a:gd name="connsiteX1049" fmla="*/ 6571 w 10785"/>
                  <a:gd name="connsiteY1049" fmla="*/ 2085 h 10000"/>
                  <a:gd name="connsiteX1050" fmla="*/ 6548 w 10785"/>
                  <a:gd name="connsiteY1050" fmla="*/ 2077 h 10000"/>
                  <a:gd name="connsiteX1051" fmla="*/ 6530 w 10785"/>
                  <a:gd name="connsiteY1051" fmla="*/ 2060 h 10000"/>
                  <a:gd name="connsiteX1052" fmla="*/ 6521 w 10785"/>
                  <a:gd name="connsiteY1052" fmla="*/ 2060 h 10000"/>
                  <a:gd name="connsiteX1053" fmla="*/ 6521 w 10785"/>
                  <a:gd name="connsiteY1053" fmla="*/ 2085 h 10000"/>
                  <a:gd name="connsiteX1054" fmla="*/ 6516 w 10785"/>
                  <a:gd name="connsiteY1054" fmla="*/ 2085 h 10000"/>
                  <a:gd name="connsiteX1055" fmla="*/ 6502 w 10785"/>
                  <a:gd name="connsiteY1055" fmla="*/ 2111 h 10000"/>
                  <a:gd name="connsiteX1056" fmla="*/ 6498 w 10785"/>
                  <a:gd name="connsiteY1056" fmla="*/ 2111 h 10000"/>
                  <a:gd name="connsiteX1057" fmla="*/ 6498 w 10785"/>
                  <a:gd name="connsiteY1057" fmla="*/ 2103 h 10000"/>
                  <a:gd name="connsiteX1058" fmla="*/ 6475 w 10785"/>
                  <a:gd name="connsiteY1058" fmla="*/ 2051 h 10000"/>
                  <a:gd name="connsiteX1059" fmla="*/ 6470 w 10785"/>
                  <a:gd name="connsiteY1059" fmla="*/ 2060 h 10000"/>
                  <a:gd name="connsiteX1060" fmla="*/ 6456 w 10785"/>
                  <a:gd name="connsiteY1060" fmla="*/ 2051 h 10000"/>
                  <a:gd name="connsiteX1061" fmla="*/ 6447 w 10785"/>
                  <a:gd name="connsiteY1061" fmla="*/ 2051 h 10000"/>
                  <a:gd name="connsiteX1062" fmla="*/ 6433 w 10785"/>
                  <a:gd name="connsiteY1062" fmla="*/ 2026 h 10000"/>
                  <a:gd name="connsiteX1063" fmla="*/ 6433 w 10785"/>
                  <a:gd name="connsiteY1063" fmla="*/ 2034 h 10000"/>
                  <a:gd name="connsiteX1064" fmla="*/ 6429 w 10785"/>
                  <a:gd name="connsiteY1064" fmla="*/ 2026 h 10000"/>
                  <a:gd name="connsiteX1065" fmla="*/ 6424 w 10785"/>
                  <a:gd name="connsiteY1065" fmla="*/ 2034 h 10000"/>
                  <a:gd name="connsiteX1066" fmla="*/ 6410 w 10785"/>
                  <a:gd name="connsiteY1066" fmla="*/ 2026 h 10000"/>
                  <a:gd name="connsiteX1067" fmla="*/ 6410 w 10785"/>
                  <a:gd name="connsiteY1067" fmla="*/ 1991 h 10000"/>
                  <a:gd name="connsiteX1068" fmla="*/ 6401 w 10785"/>
                  <a:gd name="connsiteY1068" fmla="*/ 1991 h 10000"/>
                  <a:gd name="connsiteX1069" fmla="*/ 6396 w 10785"/>
                  <a:gd name="connsiteY1069" fmla="*/ 2000 h 10000"/>
                  <a:gd name="connsiteX1070" fmla="*/ 6382 w 10785"/>
                  <a:gd name="connsiteY1070" fmla="*/ 1966 h 10000"/>
                  <a:gd name="connsiteX1071" fmla="*/ 6373 w 10785"/>
                  <a:gd name="connsiteY1071" fmla="*/ 1974 h 10000"/>
                  <a:gd name="connsiteX1072" fmla="*/ 6369 w 10785"/>
                  <a:gd name="connsiteY1072" fmla="*/ 1966 h 10000"/>
                  <a:gd name="connsiteX1073" fmla="*/ 6341 w 10785"/>
                  <a:gd name="connsiteY1073" fmla="*/ 1949 h 10000"/>
                  <a:gd name="connsiteX1074" fmla="*/ 6327 w 10785"/>
                  <a:gd name="connsiteY1074" fmla="*/ 1923 h 10000"/>
                  <a:gd name="connsiteX1075" fmla="*/ 6323 w 10785"/>
                  <a:gd name="connsiteY1075" fmla="*/ 1923 h 10000"/>
                  <a:gd name="connsiteX1076" fmla="*/ 6323 w 10785"/>
                  <a:gd name="connsiteY1076" fmla="*/ 1966 h 10000"/>
                  <a:gd name="connsiteX1077" fmla="*/ 6323 w 10785"/>
                  <a:gd name="connsiteY1077" fmla="*/ 1991 h 10000"/>
                  <a:gd name="connsiteX1078" fmla="*/ 6313 w 10785"/>
                  <a:gd name="connsiteY1078" fmla="*/ 1991 h 10000"/>
                  <a:gd name="connsiteX1079" fmla="*/ 6300 w 10785"/>
                  <a:gd name="connsiteY1079" fmla="*/ 1991 h 10000"/>
                  <a:gd name="connsiteX1080" fmla="*/ 6290 w 10785"/>
                  <a:gd name="connsiteY1080" fmla="*/ 1949 h 10000"/>
                  <a:gd name="connsiteX1081" fmla="*/ 6276 w 10785"/>
                  <a:gd name="connsiteY1081" fmla="*/ 2103 h 10000"/>
                  <a:gd name="connsiteX1082" fmla="*/ 6281 w 10785"/>
                  <a:gd name="connsiteY1082" fmla="*/ 2103 h 10000"/>
                  <a:gd name="connsiteX1083" fmla="*/ 6276 w 10785"/>
                  <a:gd name="connsiteY1083" fmla="*/ 2111 h 10000"/>
                  <a:gd name="connsiteX1084" fmla="*/ 6276 w 10785"/>
                  <a:gd name="connsiteY1084" fmla="*/ 2120 h 10000"/>
                  <a:gd name="connsiteX1085" fmla="*/ 6295 w 10785"/>
                  <a:gd name="connsiteY1085" fmla="*/ 2239 h 10000"/>
                  <a:gd name="connsiteX1086" fmla="*/ 6290 w 10785"/>
                  <a:gd name="connsiteY1086" fmla="*/ 2248 h 10000"/>
                  <a:gd name="connsiteX1087" fmla="*/ 6281 w 10785"/>
                  <a:gd name="connsiteY1087" fmla="*/ 2274 h 10000"/>
                  <a:gd name="connsiteX1088" fmla="*/ 6249 w 10785"/>
                  <a:gd name="connsiteY1088" fmla="*/ 2274 h 10000"/>
                  <a:gd name="connsiteX1089" fmla="*/ 6226 w 10785"/>
                  <a:gd name="connsiteY1089" fmla="*/ 2308 h 10000"/>
                  <a:gd name="connsiteX1090" fmla="*/ 6221 w 10785"/>
                  <a:gd name="connsiteY1090" fmla="*/ 2299 h 10000"/>
                  <a:gd name="connsiteX1091" fmla="*/ 6221 w 10785"/>
                  <a:gd name="connsiteY1091" fmla="*/ 2308 h 10000"/>
                  <a:gd name="connsiteX1092" fmla="*/ 6217 w 10785"/>
                  <a:gd name="connsiteY1092" fmla="*/ 2299 h 10000"/>
                  <a:gd name="connsiteX1093" fmla="*/ 6194 w 10785"/>
                  <a:gd name="connsiteY1093" fmla="*/ 2308 h 10000"/>
                  <a:gd name="connsiteX1094" fmla="*/ 6180 w 10785"/>
                  <a:gd name="connsiteY1094" fmla="*/ 2299 h 10000"/>
                  <a:gd name="connsiteX1095" fmla="*/ 6143 w 10785"/>
                  <a:gd name="connsiteY1095" fmla="*/ 2308 h 10000"/>
                  <a:gd name="connsiteX1096" fmla="*/ 6134 w 10785"/>
                  <a:gd name="connsiteY1096" fmla="*/ 2325 h 10000"/>
                  <a:gd name="connsiteX1097" fmla="*/ 6115 w 10785"/>
                  <a:gd name="connsiteY1097" fmla="*/ 2282 h 10000"/>
                  <a:gd name="connsiteX1098" fmla="*/ 6069 w 10785"/>
                  <a:gd name="connsiteY1098" fmla="*/ 2274 h 10000"/>
                  <a:gd name="connsiteX1099" fmla="*/ 6069 w 10785"/>
                  <a:gd name="connsiteY1099" fmla="*/ 2282 h 10000"/>
                  <a:gd name="connsiteX1100" fmla="*/ 6060 w 10785"/>
                  <a:gd name="connsiteY1100" fmla="*/ 2299 h 10000"/>
                  <a:gd name="connsiteX1101" fmla="*/ 5972 w 10785"/>
                  <a:gd name="connsiteY1101" fmla="*/ 2214 h 10000"/>
                  <a:gd name="connsiteX1102" fmla="*/ 5968 w 10785"/>
                  <a:gd name="connsiteY1102" fmla="*/ 2197 h 10000"/>
                  <a:gd name="connsiteX1103" fmla="*/ 5968 w 10785"/>
                  <a:gd name="connsiteY1103" fmla="*/ 2171 h 10000"/>
                  <a:gd name="connsiteX1104" fmla="*/ 5968 w 10785"/>
                  <a:gd name="connsiteY1104" fmla="*/ 2162 h 10000"/>
                  <a:gd name="connsiteX1105" fmla="*/ 5968 w 10785"/>
                  <a:gd name="connsiteY1105" fmla="*/ 2120 h 10000"/>
                  <a:gd name="connsiteX1106" fmla="*/ 5968 w 10785"/>
                  <a:gd name="connsiteY1106" fmla="*/ 2111 h 10000"/>
                  <a:gd name="connsiteX1107" fmla="*/ 5972 w 10785"/>
                  <a:gd name="connsiteY1107" fmla="*/ 2103 h 10000"/>
                  <a:gd name="connsiteX1108" fmla="*/ 5986 w 10785"/>
                  <a:gd name="connsiteY1108" fmla="*/ 2103 h 10000"/>
                  <a:gd name="connsiteX1109" fmla="*/ 5986 w 10785"/>
                  <a:gd name="connsiteY1109" fmla="*/ 2085 h 10000"/>
                  <a:gd name="connsiteX1110" fmla="*/ 5995 w 10785"/>
                  <a:gd name="connsiteY1110" fmla="*/ 2085 h 10000"/>
                  <a:gd name="connsiteX1111" fmla="*/ 5995 w 10785"/>
                  <a:gd name="connsiteY1111" fmla="*/ 2077 h 10000"/>
                  <a:gd name="connsiteX1112" fmla="*/ 5986 w 10785"/>
                  <a:gd name="connsiteY1112" fmla="*/ 2060 h 10000"/>
                  <a:gd name="connsiteX1113" fmla="*/ 5954 w 10785"/>
                  <a:gd name="connsiteY1113" fmla="*/ 2060 h 10000"/>
                  <a:gd name="connsiteX1114" fmla="*/ 5940 w 10785"/>
                  <a:gd name="connsiteY1114" fmla="*/ 2051 h 10000"/>
                  <a:gd name="connsiteX1115" fmla="*/ 5922 w 10785"/>
                  <a:gd name="connsiteY1115" fmla="*/ 2060 h 10000"/>
                  <a:gd name="connsiteX1116" fmla="*/ 5885 w 10785"/>
                  <a:gd name="connsiteY1116" fmla="*/ 2051 h 10000"/>
                  <a:gd name="connsiteX1117" fmla="*/ 5876 w 10785"/>
                  <a:gd name="connsiteY1117" fmla="*/ 2026 h 10000"/>
                  <a:gd name="connsiteX1118" fmla="*/ 5862 w 10785"/>
                  <a:gd name="connsiteY1118" fmla="*/ 2026 h 10000"/>
                  <a:gd name="connsiteX1119" fmla="*/ 5848 w 10785"/>
                  <a:gd name="connsiteY1119" fmla="*/ 2026 h 10000"/>
                  <a:gd name="connsiteX1120" fmla="*/ 5825 w 10785"/>
                  <a:gd name="connsiteY1120" fmla="*/ 2026 h 10000"/>
                  <a:gd name="connsiteX1121" fmla="*/ 5788 w 10785"/>
                  <a:gd name="connsiteY1121" fmla="*/ 1991 h 10000"/>
                  <a:gd name="connsiteX1122" fmla="*/ 5760 w 10785"/>
                  <a:gd name="connsiteY1122" fmla="*/ 2000 h 10000"/>
                  <a:gd name="connsiteX1123" fmla="*/ 5760 w 10785"/>
                  <a:gd name="connsiteY1123" fmla="*/ 2026 h 10000"/>
                  <a:gd name="connsiteX1124" fmla="*/ 5714 w 10785"/>
                  <a:gd name="connsiteY1124" fmla="*/ 2051 h 10000"/>
                  <a:gd name="connsiteX1125" fmla="*/ 5687 w 10785"/>
                  <a:gd name="connsiteY1125" fmla="*/ 2034 h 10000"/>
                  <a:gd name="connsiteX1126" fmla="*/ 5645 w 10785"/>
                  <a:gd name="connsiteY1126" fmla="*/ 2077 h 10000"/>
                  <a:gd name="connsiteX1127" fmla="*/ 5664 w 10785"/>
                  <a:gd name="connsiteY1127" fmla="*/ 2120 h 10000"/>
                  <a:gd name="connsiteX1128" fmla="*/ 5664 w 10785"/>
                  <a:gd name="connsiteY1128" fmla="*/ 2162 h 10000"/>
                  <a:gd name="connsiteX1129" fmla="*/ 5631 w 10785"/>
                  <a:gd name="connsiteY1129" fmla="*/ 2197 h 10000"/>
                  <a:gd name="connsiteX1130" fmla="*/ 5618 w 10785"/>
                  <a:gd name="connsiteY1130" fmla="*/ 2188 h 10000"/>
                  <a:gd name="connsiteX1131" fmla="*/ 5618 w 10785"/>
                  <a:gd name="connsiteY1131" fmla="*/ 2171 h 10000"/>
                  <a:gd name="connsiteX1132" fmla="*/ 5641 w 10785"/>
                  <a:gd name="connsiteY1132" fmla="*/ 2171 h 10000"/>
                  <a:gd name="connsiteX1133" fmla="*/ 5641 w 10785"/>
                  <a:gd name="connsiteY1133" fmla="*/ 2162 h 10000"/>
                  <a:gd name="connsiteX1134" fmla="*/ 5627 w 10785"/>
                  <a:gd name="connsiteY1134" fmla="*/ 2145 h 10000"/>
                  <a:gd name="connsiteX1135" fmla="*/ 5627 w 10785"/>
                  <a:gd name="connsiteY1135" fmla="*/ 2120 h 10000"/>
                  <a:gd name="connsiteX1136" fmla="*/ 5618 w 10785"/>
                  <a:gd name="connsiteY1136" fmla="*/ 2111 h 10000"/>
                  <a:gd name="connsiteX1137" fmla="*/ 5631 w 10785"/>
                  <a:gd name="connsiteY1137" fmla="*/ 2051 h 10000"/>
                  <a:gd name="connsiteX1138" fmla="*/ 5631 w 10785"/>
                  <a:gd name="connsiteY1138" fmla="*/ 2026 h 10000"/>
                  <a:gd name="connsiteX1139" fmla="*/ 5627 w 10785"/>
                  <a:gd name="connsiteY1139" fmla="*/ 1991 h 10000"/>
                  <a:gd name="connsiteX1140" fmla="*/ 5618 w 10785"/>
                  <a:gd name="connsiteY1140" fmla="*/ 1974 h 10000"/>
                  <a:gd name="connsiteX1141" fmla="*/ 5618 w 10785"/>
                  <a:gd name="connsiteY1141" fmla="*/ 1940 h 10000"/>
                  <a:gd name="connsiteX1142" fmla="*/ 5594 w 10785"/>
                  <a:gd name="connsiteY1142" fmla="*/ 1855 h 10000"/>
                  <a:gd name="connsiteX1143" fmla="*/ 5599 w 10785"/>
                  <a:gd name="connsiteY1143" fmla="*/ 1915 h 10000"/>
                  <a:gd name="connsiteX1144" fmla="*/ 5599 w 10785"/>
                  <a:gd name="connsiteY1144" fmla="*/ 1949 h 10000"/>
                  <a:gd name="connsiteX1145" fmla="*/ 5594 w 10785"/>
                  <a:gd name="connsiteY1145" fmla="*/ 1991 h 10000"/>
                  <a:gd name="connsiteX1146" fmla="*/ 5571 w 10785"/>
                  <a:gd name="connsiteY1146" fmla="*/ 2000 h 10000"/>
                  <a:gd name="connsiteX1147" fmla="*/ 5530 w 10785"/>
                  <a:gd name="connsiteY1147" fmla="*/ 1991 h 10000"/>
                  <a:gd name="connsiteX1148" fmla="*/ 5525 w 10785"/>
                  <a:gd name="connsiteY1148" fmla="*/ 2000 h 10000"/>
                  <a:gd name="connsiteX1149" fmla="*/ 5521 w 10785"/>
                  <a:gd name="connsiteY1149" fmla="*/ 1991 h 10000"/>
                  <a:gd name="connsiteX1150" fmla="*/ 5498 w 10785"/>
                  <a:gd name="connsiteY1150" fmla="*/ 1949 h 10000"/>
                  <a:gd name="connsiteX1151" fmla="*/ 5493 w 10785"/>
                  <a:gd name="connsiteY1151" fmla="*/ 1889 h 10000"/>
                  <a:gd name="connsiteX1152" fmla="*/ 5493 w 10785"/>
                  <a:gd name="connsiteY1152" fmla="*/ 1863 h 10000"/>
                  <a:gd name="connsiteX1153" fmla="*/ 5498 w 10785"/>
                  <a:gd name="connsiteY1153" fmla="*/ 1889 h 10000"/>
                  <a:gd name="connsiteX1154" fmla="*/ 5512 w 10785"/>
                  <a:gd name="connsiteY1154" fmla="*/ 1855 h 10000"/>
                  <a:gd name="connsiteX1155" fmla="*/ 5512 w 10785"/>
                  <a:gd name="connsiteY1155" fmla="*/ 1838 h 10000"/>
                  <a:gd name="connsiteX1156" fmla="*/ 5479 w 10785"/>
                  <a:gd name="connsiteY1156" fmla="*/ 1855 h 10000"/>
                  <a:gd name="connsiteX1157" fmla="*/ 5470 w 10785"/>
                  <a:gd name="connsiteY1157" fmla="*/ 1872 h 10000"/>
                  <a:gd name="connsiteX1158" fmla="*/ 5470 w 10785"/>
                  <a:gd name="connsiteY1158" fmla="*/ 1889 h 10000"/>
                  <a:gd name="connsiteX1159" fmla="*/ 5465 w 10785"/>
                  <a:gd name="connsiteY1159" fmla="*/ 1897 h 10000"/>
                  <a:gd name="connsiteX1160" fmla="*/ 5456 w 10785"/>
                  <a:gd name="connsiteY1160" fmla="*/ 1872 h 10000"/>
                  <a:gd name="connsiteX1161" fmla="*/ 5447 w 10785"/>
                  <a:gd name="connsiteY1161" fmla="*/ 1872 h 10000"/>
                  <a:gd name="connsiteX1162" fmla="*/ 5433 w 10785"/>
                  <a:gd name="connsiteY1162" fmla="*/ 1855 h 10000"/>
                  <a:gd name="connsiteX1163" fmla="*/ 5396 w 10785"/>
                  <a:gd name="connsiteY1163" fmla="*/ 1863 h 10000"/>
                  <a:gd name="connsiteX1164" fmla="*/ 5396 w 10785"/>
                  <a:gd name="connsiteY1164" fmla="*/ 1897 h 10000"/>
                  <a:gd name="connsiteX1165" fmla="*/ 5378 w 10785"/>
                  <a:gd name="connsiteY1165" fmla="*/ 1949 h 10000"/>
                  <a:gd name="connsiteX1166" fmla="*/ 5378 w 10785"/>
                  <a:gd name="connsiteY1166" fmla="*/ 1966 h 10000"/>
                  <a:gd name="connsiteX1167" fmla="*/ 5392 w 10785"/>
                  <a:gd name="connsiteY1167" fmla="*/ 2026 h 10000"/>
                  <a:gd name="connsiteX1168" fmla="*/ 5396 w 10785"/>
                  <a:gd name="connsiteY1168" fmla="*/ 2026 h 10000"/>
                  <a:gd name="connsiteX1169" fmla="*/ 5392 w 10785"/>
                  <a:gd name="connsiteY1169" fmla="*/ 2009 h 10000"/>
                  <a:gd name="connsiteX1170" fmla="*/ 5392 w 10785"/>
                  <a:gd name="connsiteY1170" fmla="*/ 2000 h 10000"/>
                  <a:gd name="connsiteX1171" fmla="*/ 5396 w 10785"/>
                  <a:gd name="connsiteY1171" fmla="*/ 2009 h 10000"/>
                  <a:gd name="connsiteX1172" fmla="*/ 5424 w 10785"/>
                  <a:gd name="connsiteY1172" fmla="*/ 2009 h 10000"/>
                  <a:gd name="connsiteX1173" fmla="*/ 5433 w 10785"/>
                  <a:gd name="connsiteY1173" fmla="*/ 1991 h 10000"/>
                  <a:gd name="connsiteX1174" fmla="*/ 5447 w 10785"/>
                  <a:gd name="connsiteY1174" fmla="*/ 1974 h 10000"/>
                  <a:gd name="connsiteX1175" fmla="*/ 5452 w 10785"/>
                  <a:gd name="connsiteY1175" fmla="*/ 1966 h 10000"/>
                  <a:gd name="connsiteX1176" fmla="*/ 5456 w 10785"/>
                  <a:gd name="connsiteY1176" fmla="*/ 1966 h 10000"/>
                  <a:gd name="connsiteX1177" fmla="*/ 5465 w 10785"/>
                  <a:gd name="connsiteY1177" fmla="*/ 2009 h 10000"/>
                  <a:gd name="connsiteX1178" fmla="*/ 5433 w 10785"/>
                  <a:gd name="connsiteY1178" fmla="*/ 2034 h 10000"/>
                  <a:gd name="connsiteX1179" fmla="*/ 5424 w 10785"/>
                  <a:gd name="connsiteY1179" fmla="*/ 2060 h 10000"/>
                  <a:gd name="connsiteX1180" fmla="*/ 5419 w 10785"/>
                  <a:gd name="connsiteY1180" fmla="*/ 2060 h 10000"/>
                  <a:gd name="connsiteX1181" fmla="*/ 5392 w 10785"/>
                  <a:gd name="connsiteY1181" fmla="*/ 2111 h 10000"/>
                  <a:gd name="connsiteX1182" fmla="*/ 5378 w 10785"/>
                  <a:gd name="connsiteY1182" fmla="*/ 2111 h 10000"/>
                  <a:gd name="connsiteX1183" fmla="*/ 5350 w 10785"/>
                  <a:gd name="connsiteY1183" fmla="*/ 2060 h 10000"/>
                  <a:gd name="connsiteX1184" fmla="*/ 5373 w 10785"/>
                  <a:gd name="connsiteY1184" fmla="*/ 2111 h 10000"/>
                  <a:gd name="connsiteX1185" fmla="*/ 5364 w 10785"/>
                  <a:gd name="connsiteY1185" fmla="*/ 2111 h 10000"/>
                  <a:gd name="connsiteX1186" fmla="*/ 5359 w 10785"/>
                  <a:gd name="connsiteY1186" fmla="*/ 2103 h 10000"/>
                  <a:gd name="connsiteX1187" fmla="*/ 5359 w 10785"/>
                  <a:gd name="connsiteY1187" fmla="*/ 2120 h 10000"/>
                  <a:gd name="connsiteX1188" fmla="*/ 5359 w 10785"/>
                  <a:gd name="connsiteY1188" fmla="*/ 2137 h 10000"/>
                  <a:gd name="connsiteX1189" fmla="*/ 5313 w 10785"/>
                  <a:gd name="connsiteY1189" fmla="*/ 2162 h 10000"/>
                  <a:gd name="connsiteX1190" fmla="*/ 5300 w 10785"/>
                  <a:gd name="connsiteY1190" fmla="*/ 2162 h 10000"/>
                  <a:gd name="connsiteX1191" fmla="*/ 5300 w 10785"/>
                  <a:gd name="connsiteY1191" fmla="*/ 2171 h 10000"/>
                  <a:gd name="connsiteX1192" fmla="*/ 5300 w 10785"/>
                  <a:gd name="connsiteY1192" fmla="*/ 2197 h 10000"/>
                  <a:gd name="connsiteX1193" fmla="*/ 5276 w 10785"/>
                  <a:gd name="connsiteY1193" fmla="*/ 2188 h 10000"/>
                  <a:gd name="connsiteX1194" fmla="*/ 5249 w 10785"/>
                  <a:gd name="connsiteY1194" fmla="*/ 2222 h 10000"/>
                  <a:gd name="connsiteX1195" fmla="*/ 5249 w 10785"/>
                  <a:gd name="connsiteY1195" fmla="*/ 2222 h 10000"/>
                  <a:gd name="connsiteX1196" fmla="*/ 5217 w 10785"/>
                  <a:gd name="connsiteY1196" fmla="*/ 2214 h 10000"/>
                  <a:gd name="connsiteX1197" fmla="*/ 5203 w 10785"/>
                  <a:gd name="connsiteY1197" fmla="*/ 2239 h 10000"/>
                  <a:gd name="connsiteX1198" fmla="*/ 5171 w 10785"/>
                  <a:gd name="connsiteY1198" fmla="*/ 2214 h 10000"/>
                  <a:gd name="connsiteX1199" fmla="*/ 5157 w 10785"/>
                  <a:gd name="connsiteY1199" fmla="*/ 2239 h 10000"/>
                  <a:gd name="connsiteX1200" fmla="*/ 5166 w 10785"/>
                  <a:gd name="connsiteY1200" fmla="*/ 2256 h 10000"/>
                  <a:gd name="connsiteX1201" fmla="*/ 5171 w 10785"/>
                  <a:gd name="connsiteY1201" fmla="*/ 2308 h 10000"/>
                  <a:gd name="connsiteX1202" fmla="*/ 5212 w 10785"/>
                  <a:gd name="connsiteY1202" fmla="*/ 2350 h 10000"/>
                  <a:gd name="connsiteX1203" fmla="*/ 5203 w 10785"/>
                  <a:gd name="connsiteY1203" fmla="*/ 2350 h 10000"/>
                  <a:gd name="connsiteX1204" fmla="*/ 5166 w 10785"/>
                  <a:gd name="connsiteY1204" fmla="*/ 2325 h 10000"/>
                  <a:gd name="connsiteX1205" fmla="*/ 5152 w 10785"/>
                  <a:gd name="connsiteY1205" fmla="*/ 2308 h 10000"/>
                  <a:gd name="connsiteX1206" fmla="*/ 5143 w 10785"/>
                  <a:gd name="connsiteY1206" fmla="*/ 2333 h 10000"/>
                  <a:gd name="connsiteX1207" fmla="*/ 5138 w 10785"/>
                  <a:gd name="connsiteY1207" fmla="*/ 2333 h 10000"/>
                  <a:gd name="connsiteX1208" fmla="*/ 5124 w 10785"/>
                  <a:gd name="connsiteY1208" fmla="*/ 2376 h 10000"/>
                  <a:gd name="connsiteX1209" fmla="*/ 5115 w 10785"/>
                  <a:gd name="connsiteY1209" fmla="*/ 2385 h 10000"/>
                  <a:gd name="connsiteX1210" fmla="*/ 5106 w 10785"/>
                  <a:gd name="connsiteY1210" fmla="*/ 2385 h 10000"/>
                  <a:gd name="connsiteX1211" fmla="*/ 5055 w 10785"/>
                  <a:gd name="connsiteY1211" fmla="*/ 2470 h 10000"/>
                  <a:gd name="connsiteX1212" fmla="*/ 5065 w 10785"/>
                  <a:gd name="connsiteY1212" fmla="*/ 2462 h 10000"/>
                  <a:gd name="connsiteX1213" fmla="*/ 5055 w 10785"/>
                  <a:gd name="connsiteY1213" fmla="*/ 2444 h 10000"/>
                  <a:gd name="connsiteX1214" fmla="*/ 5041 w 10785"/>
                  <a:gd name="connsiteY1214" fmla="*/ 2462 h 10000"/>
                  <a:gd name="connsiteX1215" fmla="*/ 5037 w 10785"/>
                  <a:gd name="connsiteY1215" fmla="*/ 2470 h 10000"/>
                  <a:gd name="connsiteX1216" fmla="*/ 5032 w 10785"/>
                  <a:gd name="connsiteY1216" fmla="*/ 2470 h 10000"/>
                  <a:gd name="connsiteX1217" fmla="*/ 5032 w 10785"/>
                  <a:gd name="connsiteY1217" fmla="*/ 2444 h 10000"/>
                  <a:gd name="connsiteX1218" fmla="*/ 5055 w 10785"/>
                  <a:gd name="connsiteY1218" fmla="*/ 2410 h 10000"/>
                  <a:gd name="connsiteX1219" fmla="*/ 5065 w 10785"/>
                  <a:gd name="connsiteY1219" fmla="*/ 2393 h 10000"/>
                  <a:gd name="connsiteX1220" fmla="*/ 5069 w 10785"/>
                  <a:gd name="connsiteY1220" fmla="*/ 2385 h 10000"/>
                  <a:gd name="connsiteX1221" fmla="*/ 5083 w 10785"/>
                  <a:gd name="connsiteY1221" fmla="*/ 2376 h 10000"/>
                  <a:gd name="connsiteX1222" fmla="*/ 5097 w 10785"/>
                  <a:gd name="connsiteY1222" fmla="*/ 2376 h 10000"/>
                  <a:gd name="connsiteX1223" fmla="*/ 5124 w 10785"/>
                  <a:gd name="connsiteY1223" fmla="*/ 2325 h 10000"/>
                  <a:gd name="connsiteX1224" fmla="*/ 5143 w 10785"/>
                  <a:gd name="connsiteY1224" fmla="*/ 2248 h 10000"/>
                  <a:gd name="connsiteX1225" fmla="*/ 5152 w 10785"/>
                  <a:gd name="connsiteY1225" fmla="*/ 2239 h 10000"/>
                  <a:gd name="connsiteX1226" fmla="*/ 5166 w 10785"/>
                  <a:gd name="connsiteY1226" fmla="*/ 2162 h 10000"/>
                  <a:gd name="connsiteX1227" fmla="*/ 5171 w 10785"/>
                  <a:gd name="connsiteY1227" fmla="*/ 2171 h 10000"/>
                  <a:gd name="connsiteX1228" fmla="*/ 5198 w 10785"/>
                  <a:gd name="connsiteY1228" fmla="*/ 2145 h 10000"/>
                  <a:gd name="connsiteX1229" fmla="*/ 5203 w 10785"/>
                  <a:gd name="connsiteY1229" fmla="*/ 2111 h 10000"/>
                  <a:gd name="connsiteX1230" fmla="*/ 5217 w 10785"/>
                  <a:gd name="connsiteY1230" fmla="*/ 2060 h 10000"/>
                  <a:gd name="connsiteX1231" fmla="*/ 5226 w 10785"/>
                  <a:gd name="connsiteY1231" fmla="*/ 2026 h 10000"/>
                  <a:gd name="connsiteX1232" fmla="*/ 5286 w 10785"/>
                  <a:gd name="connsiteY1232" fmla="*/ 2026 h 10000"/>
                  <a:gd name="connsiteX1233" fmla="*/ 5290 w 10785"/>
                  <a:gd name="connsiteY1233" fmla="*/ 2034 h 10000"/>
                  <a:gd name="connsiteX1234" fmla="*/ 5323 w 10785"/>
                  <a:gd name="connsiteY1234" fmla="*/ 1923 h 10000"/>
                  <a:gd name="connsiteX1235" fmla="*/ 5323 w 10785"/>
                  <a:gd name="connsiteY1235" fmla="*/ 1889 h 10000"/>
                  <a:gd name="connsiteX1236" fmla="*/ 5359 w 10785"/>
                  <a:gd name="connsiteY1236" fmla="*/ 1829 h 10000"/>
                  <a:gd name="connsiteX1237" fmla="*/ 5378 w 10785"/>
                  <a:gd name="connsiteY1237" fmla="*/ 1812 h 10000"/>
                  <a:gd name="connsiteX1238" fmla="*/ 5406 w 10785"/>
                  <a:gd name="connsiteY1238" fmla="*/ 1752 h 10000"/>
                  <a:gd name="connsiteX1239" fmla="*/ 5410 w 10785"/>
                  <a:gd name="connsiteY1239" fmla="*/ 1718 h 10000"/>
                  <a:gd name="connsiteX1240" fmla="*/ 5438 w 10785"/>
                  <a:gd name="connsiteY1240" fmla="*/ 1667 h 10000"/>
                  <a:gd name="connsiteX1241" fmla="*/ 5438 w 10785"/>
                  <a:gd name="connsiteY1241" fmla="*/ 1650 h 10000"/>
                  <a:gd name="connsiteX1242" fmla="*/ 5438 w 10785"/>
                  <a:gd name="connsiteY1242" fmla="*/ 1641 h 10000"/>
                  <a:gd name="connsiteX1243" fmla="*/ 5452 w 10785"/>
                  <a:gd name="connsiteY1243" fmla="*/ 1641 h 10000"/>
                  <a:gd name="connsiteX1244" fmla="*/ 5456 w 10785"/>
                  <a:gd name="connsiteY1244" fmla="*/ 1615 h 10000"/>
                  <a:gd name="connsiteX1245" fmla="*/ 5456 w 10785"/>
                  <a:gd name="connsiteY1245" fmla="*/ 1615 h 10000"/>
                  <a:gd name="connsiteX1246" fmla="*/ 5465 w 10785"/>
                  <a:gd name="connsiteY1246" fmla="*/ 1598 h 10000"/>
                  <a:gd name="connsiteX1247" fmla="*/ 5465 w 10785"/>
                  <a:gd name="connsiteY1247" fmla="*/ 1615 h 10000"/>
                  <a:gd name="connsiteX1248" fmla="*/ 5479 w 10785"/>
                  <a:gd name="connsiteY1248" fmla="*/ 1598 h 10000"/>
                  <a:gd name="connsiteX1249" fmla="*/ 5484 w 10785"/>
                  <a:gd name="connsiteY1249" fmla="*/ 1581 h 10000"/>
                  <a:gd name="connsiteX1250" fmla="*/ 5493 w 10785"/>
                  <a:gd name="connsiteY1250" fmla="*/ 1581 h 10000"/>
                  <a:gd name="connsiteX1251" fmla="*/ 5512 w 10785"/>
                  <a:gd name="connsiteY1251" fmla="*/ 1538 h 10000"/>
                  <a:gd name="connsiteX1252" fmla="*/ 5530 w 10785"/>
                  <a:gd name="connsiteY1252" fmla="*/ 1564 h 10000"/>
                  <a:gd name="connsiteX1253" fmla="*/ 5530 w 10785"/>
                  <a:gd name="connsiteY1253" fmla="*/ 1538 h 10000"/>
                  <a:gd name="connsiteX1254" fmla="*/ 5539 w 10785"/>
                  <a:gd name="connsiteY1254" fmla="*/ 1530 h 10000"/>
                  <a:gd name="connsiteX1255" fmla="*/ 5530 w 10785"/>
                  <a:gd name="connsiteY1255" fmla="*/ 1504 h 10000"/>
                  <a:gd name="connsiteX1256" fmla="*/ 5567 w 10785"/>
                  <a:gd name="connsiteY1256" fmla="*/ 1479 h 10000"/>
                  <a:gd name="connsiteX1257" fmla="*/ 5553 w 10785"/>
                  <a:gd name="connsiteY1257" fmla="*/ 1479 h 10000"/>
                  <a:gd name="connsiteX1258" fmla="*/ 5553 w 10785"/>
                  <a:gd name="connsiteY1258" fmla="*/ 1453 h 10000"/>
                  <a:gd name="connsiteX1259" fmla="*/ 5581 w 10785"/>
                  <a:gd name="connsiteY1259" fmla="*/ 1444 h 10000"/>
                  <a:gd name="connsiteX1260" fmla="*/ 5581 w 10785"/>
                  <a:gd name="connsiteY1260" fmla="*/ 1453 h 10000"/>
                  <a:gd name="connsiteX1261" fmla="*/ 5585 w 10785"/>
                  <a:gd name="connsiteY1261" fmla="*/ 1444 h 10000"/>
                  <a:gd name="connsiteX1262" fmla="*/ 5594 w 10785"/>
                  <a:gd name="connsiteY1262" fmla="*/ 1427 h 10000"/>
                  <a:gd name="connsiteX1263" fmla="*/ 5599 w 10785"/>
                  <a:gd name="connsiteY1263" fmla="*/ 1419 h 10000"/>
                  <a:gd name="connsiteX1264" fmla="*/ 5594 w 10785"/>
                  <a:gd name="connsiteY1264" fmla="*/ 1402 h 10000"/>
                  <a:gd name="connsiteX1265" fmla="*/ 5604 w 10785"/>
                  <a:gd name="connsiteY1265" fmla="*/ 1393 h 10000"/>
                  <a:gd name="connsiteX1266" fmla="*/ 5618 w 10785"/>
                  <a:gd name="connsiteY1266" fmla="*/ 1393 h 10000"/>
                  <a:gd name="connsiteX1267" fmla="*/ 5627 w 10785"/>
                  <a:gd name="connsiteY1267" fmla="*/ 1368 h 10000"/>
                  <a:gd name="connsiteX1268" fmla="*/ 5627 w 10785"/>
                  <a:gd name="connsiteY1268" fmla="*/ 1325 h 10000"/>
                  <a:gd name="connsiteX1269" fmla="*/ 5645 w 10785"/>
                  <a:gd name="connsiteY1269" fmla="*/ 1291 h 10000"/>
                  <a:gd name="connsiteX1270" fmla="*/ 5645 w 10785"/>
                  <a:gd name="connsiteY1270" fmla="*/ 1282 h 10000"/>
                  <a:gd name="connsiteX1271" fmla="*/ 5654 w 10785"/>
                  <a:gd name="connsiteY1271" fmla="*/ 1265 h 10000"/>
                  <a:gd name="connsiteX1272" fmla="*/ 5654 w 10785"/>
                  <a:gd name="connsiteY1272" fmla="*/ 1214 h 10000"/>
                  <a:gd name="connsiteX1273" fmla="*/ 5654 w 10785"/>
                  <a:gd name="connsiteY1273" fmla="*/ 1214 h 10000"/>
                  <a:gd name="connsiteX1274" fmla="*/ 5645 w 10785"/>
                  <a:gd name="connsiteY1274" fmla="*/ 1197 h 10000"/>
                  <a:gd name="connsiteX1275" fmla="*/ 5659 w 10785"/>
                  <a:gd name="connsiteY1275" fmla="*/ 1197 h 10000"/>
                  <a:gd name="connsiteX1276" fmla="*/ 5654 w 10785"/>
                  <a:gd name="connsiteY1276" fmla="*/ 1154 h 10000"/>
                  <a:gd name="connsiteX1277" fmla="*/ 5641 w 10785"/>
                  <a:gd name="connsiteY1277" fmla="*/ 1154 h 10000"/>
                  <a:gd name="connsiteX1278" fmla="*/ 5627 w 10785"/>
                  <a:gd name="connsiteY1278" fmla="*/ 1128 h 10000"/>
                  <a:gd name="connsiteX1279" fmla="*/ 5618 w 10785"/>
                  <a:gd name="connsiteY1279" fmla="*/ 1094 h 10000"/>
                  <a:gd name="connsiteX1280" fmla="*/ 5613 w 10785"/>
                  <a:gd name="connsiteY1280" fmla="*/ 1094 h 10000"/>
                  <a:gd name="connsiteX1281" fmla="*/ 5604 w 10785"/>
                  <a:gd name="connsiteY1281" fmla="*/ 1120 h 10000"/>
                  <a:gd name="connsiteX1282" fmla="*/ 5604 w 10785"/>
                  <a:gd name="connsiteY1282" fmla="*/ 1128 h 10000"/>
                  <a:gd name="connsiteX1283" fmla="*/ 5599 w 10785"/>
                  <a:gd name="connsiteY1283" fmla="*/ 1103 h 10000"/>
                  <a:gd name="connsiteX1284" fmla="*/ 5599 w 10785"/>
                  <a:gd name="connsiteY1284" fmla="*/ 1103 h 10000"/>
                  <a:gd name="connsiteX1285" fmla="*/ 5594 w 10785"/>
                  <a:gd name="connsiteY1285" fmla="*/ 1068 h 10000"/>
                  <a:gd name="connsiteX1286" fmla="*/ 5594 w 10785"/>
                  <a:gd name="connsiteY1286" fmla="*/ 1060 h 10000"/>
                  <a:gd name="connsiteX1287" fmla="*/ 5581 w 10785"/>
                  <a:gd name="connsiteY1287" fmla="*/ 1034 h 10000"/>
                  <a:gd name="connsiteX1288" fmla="*/ 5571 w 10785"/>
                  <a:gd name="connsiteY1288" fmla="*/ 1009 h 10000"/>
                  <a:gd name="connsiteX1289" fmla="*/ 5571 w 10785"/>
                  <a:gd name="connsiteY1289" fmla="*/ 991 h 10000"/>
                  <a:gd name="connsiteX1290" fmla="*/ 5585 w 10785"/>
                  <a:gd name="connsiteY1290" fmla="*/ 1009 h 10000"/>
                  <a:gd name="connsiteX1291" fmla="*/ 5604 w 10785"/>
                  <a:gd name="connsiteY1291" fmla="*/ 1043 h 10000"/>
                  <a:gd name="connsiteX1292" fmla="*/ 5641 w 10785"/>
                  <a:gd name="connsiteY1292" fmla="*/ 1094 h 10000"/>
                  <a:gd name="connsiteX1293" fmla="*/ 5631 w 10785"/>
                  <a:gd name="connsiteY1293" fmla="*/ 1128 h 10000"/>
                  <a:gd name="connsiteX1294" fmla="*/ 5641 w 10785"/>
                  <a:gd name="connsiteY1294" fmla="*/ 1128 h 10000"/>
                  <a:gd name="connsiteX1295" fmla="*/ 5659 w 10785"/>
                  <a:gd name="connsiteY1295" fmla="*/ 1017 h 10000"/>
                  <a:gd name="connsiteX1296" fmla="*/ 5659 w 10785"/>
                  <a:gd name="connsiteY1296" fmla="*/ 983 h 10000"/>
                  <a:gd name="connsiteX1297" fmla="*/ 5659 w 10785"/>
                  <a:gd name="connsiteY1297" fmla="*/ 957 h 10000"/>
                  <a:gd name="connsiteX1298" fmla="*/ 5654 w 10785"/>
                  <a:gd name="connsiteY1298" fmla="*/ 966 h 10000"/>
                  <a:gd name="connsiteX1299" fmla="*/ 5641 w 10785"/>
                  <a:gd name="connsiteY1299" fmla="*/ 957 h 10000"/>
                  <a:gd name="connsiteX1300" fmla="*/ 5631 w 10785"/>
                  <a:gd name="connsiteY1300" fmla="*/ 897 h 10000"/>
                  <a:gd name="connsiteX1301" fmla="*/ 5641 w 10785"/>
                  <a:gd name="connsiteY1301" fmla="*/ 872 h 10000"/>
                  <a:gd name="connsiteX1302" fmla="*/ 5618 w 10785"/>
                  <a:gd name="connsiteY1302" fmla="*/ 803 h 10000"/>
                  <a:gd name="connsiteX1303" fmla="*/ 5604 w 10785"/>
                  <a:gd name="connsiteY1303" fmla="*/ 821 h 10000"/>
                  <a:gd name="connsiteX1304" fmla="*/ 5613 w 10785"/>
                  <a:gd name="connsiteY1304" fmla="*/ 846 h 10000"/>
                  <a:gd name="connsiteX1305" fmla="*/ 5604 w 10785"/>
                  <a:gd name="connsiteY1305" fmla="*/ 855 h 10000"/>
                  <a:gd name="connsiteX1306" fmla="*/ 5599 w 10785"/>
                  <a:gd name="connsiteY1306" fmla="*/ 880 h 10000"/>
                  <a:gd name="connsiteX1307" fmla="*/ 5594 w 10785"/>
                  <a:gd name="connsiteY1307" fmla="*/ 880 h 10000"/>
                  <a:gd name="connsiteX1308" fmla="*/ 5585 w 10785"/>
                  <a:gd name="connsiteY1308" fmla="*/ 829 h 10000"/>
                  <a:gd name="connsiteX1309" fmla="*/ 5571 w 10785"/>
                  <a:gd name="connsiteY1309" fmla="*/ 803 h 10000"/>
                  <a:gd name="connsiteX1310" fmla="*/ 5585 w 10785"/>
                  <a:gd name="connsiteY1310" fmla="*/ 795 h 10000"/>
                  <a:gd name="connsiteX1311" fmla="*/ 5585 w 10785"/>
                  <a:gd name="connsiteY1311" fmla="*/ 761 h 10000"/>
                  <a:gd name="connsiteX1312" fmla="*/ 5558 w 10785"/>
                  <a:gd name="connsiteY1312" fmla="*/ 709 h 10000"/>
                  <a:gd name="connsiteX1313" fmla="*/ 5544 w 10785"/>
                  <a:gd name="connsiteY1313" fmla="*/ 709 h 10000"/>
                  <a:gd name="connsiteX1314" fmla="*/ 5544 w 10785"/>
                  <a:gd name="connsiteY1314" fmla="*/ 684 h 10000"/>
                  <a:gd name="connsiteX1315" fmla="*/ 5525 w 10785"/>
                  <a:gd name="connsiteY1315" fmla="*/ 632 h 10000"/>
                  <a:gd name="connsiteX1316" fmla="*/ 5507 w 10785"/>
                  <a:gd name="connsiteY1316" fmla="*/ 607 h 10000"/>
                  <a:gd name="connsiteX1317" fmla="*/ 5512 w 10785"/>
                  <a:gd name="connsiteY1317" fmla="*/ 598 h 10000"/>
                  <a:gd name="connsiteX1318" fmla="*/ 5507 w 10785"/>
                  <a:gd name="connsiteY1318" fmla="*/ 581 h 10000"/>
                  <a:gd name="connsiteX1319" fmla="*/ 5493 w 10785"/>
                  <a:gd name="connsiteY1319" fmla="*/ 573 h 10000"/>
                  <a:gd name="connsiteX1320" fmla="*/ 5484 w 10785"/>
                  <a:gd name="connsiteY1320" fmla="*/ 581 h 10000"/>
                  <a:gd name="connsiteX1321" fmla="*/ 5484 w 10785"/>
                  <a:gd name="connsiteY1321" fmla="*/ 573 h 10000"/>
                  <a:gd name="connsiteX1322" fmla="*/ 5484 w 10785"/>
                  <a:gd name="connsiteY1322" fmla="*/ 547 h 10000"/>
                  <a:gd name="connsiteX1323" fmla="*/ 5465 w 10785"/>
                  <a:gd name="connsiteY1323" fmla="*/ 556 h 10000"/>
                  <a:gd name="connsiteX1324" fmla="*/ 5433 w 10785"/>
                  <a:gd name="connsiteY1324" fmla="*/ 547 h 10000"/>
                  <a:gd name="connsiteX1325" fmla="*/ 5410 w 10785"/>
                  <a:gd name="connsiteY1325" fmla="*/ 573 h 10000"/>
                  <a:gd name="connsiteX1326" fmla="*/ 5406 w 10785"/>
                  <a:gd name="connsiteY1326" fmla="*/ 573 h 10000"/>
                  <a:gd name="connsiteX1327" fmla="*/ 5392 w 10785"/>
                  <a:gd name="connsiteY1327" fmla="*/ 573 h 10000"/>
                  <a:gd name="connsiteX1328" fmla="*/ 5364 w 10785"/>
                  <a:gd name="connsiteY1328" fmla="*/ 530 h 10000"/>
                  <a:gd name="connsiteX1329" fmla="*/ 5350 w 10785"/>
                  <a:gd name="connsiteY1329" fmla="*/ 556 h 10000"/>
                  <a:gd name="connsiteX1330" fmla="*/ 5346 w 10785"/>
                  <a:gd name="connsiteY1330" fmla="*/ 556 h 10000"/>
                  <a:gd name="connsiteX1331" fmla="*/ 5313 w 10785"/>
                  <a:gd name="connsiteY1331" fmla="*/ 573 h 10000"/>
                  <a:gd name="connsiteX1332" fmla="*/ 5304 w 10785"/>
                  <a:gd name="connsiteY1332" fmla="*/ 556 h 10000"/>
                  <a:gd name="connsiteX1333" fmla="*/ 5290 w 10785"/>
                  <a:gd name="connsiteY1333" fmla="*/ 573 h 10000"/>
                  <a:gd name="connsiteX1334" fmla="*/ 5290 w 10785"/>
                  <a:gd name="connsiteY1334" fmla="*/ 556 h 10000"/>
                  <a:gd name="connsiteX1335" fmla="*/ 5300 w 10785"/>
                  <a:gd name="connsiteY1335" fmla="*/ 547 h 10000"/>
                  <a:gd name="connsiteX1336" fmla="*/ 5300 w 10785"/>
                  <a:gd name="connsiteY1336" fmla="*/ 530 h 10000"/>
                  <a:gd name="connsiteX1337" fmla="*/ 5290 w 10785"/>
                  <a:gd name="connsiteY1337" fmla="*/ 530 h 10000"/>
                  <a:gd name="connsiteX1338" fmla="*/ 5286 w 10785"/>
                  <a:gd name="connsiteY1338" fmla="*/ 547 h 10000"/>
                  <a:gd name="connsiteX1339" fmla="*/ 5272 w 10785"/>
                  <a:gd name="connsiteY1339" fmla="*/ 556 h 10000"/>
                  <a:gd name="connsiteX1340" fmla="*/ 5272 w 10785"/>
                  <a:gd name="connsiteY1340" fmla="*/ 598 h 10000"/>
                  <a:gd name="connsiteX1341" fmla="*/ 5276 w 10785"/>
                  <a:gd name="connsiteY1341" fmla="*/ 581 h 10000"/>
                  <a:gd name="connsiteX1342" fmla="*/ 5272 w 10785"/>
                  <a:gd name="connsiteY1342" fmla="*/ 607 h 10000"/>
                  <a:gd name="connsiteX1343" fmla="*/ 5263 w 10785"/>
                  <a:gd name="connsiteY1343" fmla="*/ 607 h 10000"/>
                  <a:gd name="connsiteX1344" fmla="*/ 5263 w 10785"/>
                  <a:gd name="connsiteY1344" fmla="*/ 632 h 10000"/>
                  <a:gd name="connsiteX1345" fmla="*/ 5258 w 10785"/>
                  <a:gd name="connsiteY1345" fmla="*/ 658 h 10000"/>
                  <a:gd name="connsiteX1346" fmla="*/ 5244 w 10785"/>
                  <a:gd name="connsiteY1346" fmla="*/ 667 h 10000"/>
                  <a:gd name="connsiteX1347" fmla="*/ 5240 w 10785"/>
                  <a:gd name="connsiteY1347" fmla="*/ 658 h 10000"/>
                  <a:gd name="connsiteX1348" fmla="*/ 5240 w 10785"/>
                  <a:gd name="connsiteY1348" fmla="*/ 684 h 10000"/>
                  <a:gd name="connsiteX1349" fmla="*/ 5212 w 10785"/>
                  <a:gd name="connsiteY1349" fmla="*/ 684 h 10000"/>
                  <a:gd name="connsiteX1350" fmla="*/ 5198 w 10785"/>
                  <a:gd name="connsiteY1350" fmla="*/ 692 h 10000"/>
                  <a:gd name="connsiteX1351" fmla="*/ 5184 w 10785"/>
                  <a:gd name="connsiteY1351" fmla="*/ 684 h 10000"/>
                  <a:gd name="connsiteX1352" fmla="*/ 5157 w 10785"/>
                  <a:gd name="connsiteY1352" fmla="*/ 684 h 10000"/>
                  <a:gd name="connsiteX1353" fmla="*/ 5157 w 10785"/>
                  <a:gd name="connsiteY1353" fmla="*/ 667 h 10000"/>
                  <a:gd name="connsiteX1354" fmla="*/ 5157 w 10785"/>
                  <a:gd name="connsiteY1354" fmla="*/ 667 h 10000"/>
                  <a:gd name="connsiteX1355" fmla="*/ 5180 w 10785"/>
                  <a:gd name="connsiteY1355" fmla="*/ 650 h 10000"/>
                  <a:gd name="connsiteX1356" fmla="*/ 5184 w 10785"/>
                  <a:gd name="connsiteY1356" fmla="*/ 658 h 10000"/>
                  <a:gd name="connsiteX1357" fmla="*/ 5203 w 10785"/>
                  <a:gd name="connsiteY1357" fmla="*/ 547 h 10000"/>
                  <a:gd name="connsiteX1358" fmla="*/ 5226 w 10785"/>
                  <a:gd name="connsiteY1358" fmla="*/ 530 h 10000"/>
                  <a:gd name="connsiteX1359" fmla="*/ 5230 w 10785"/>
                  <a:gd name="connsiteY1359" fmla="*/ 487 h 10000"/>
                  <a:gd name="connsiteX1360" fmla="*/ 5230 w 10785"/>
                  <a:gd name="connsiteY1360" fmla="*/ 487 h 10000"/>
                  <a:gd name="connsiteX1361" fmla="*/ 5226 w 10785"/>
                  <a:gd name="connsiteY1361" fmla="*/ 462 h 10000"/>
                  <a:gd name="connsiteX1362" fmla="*/ 5226 w 10785"/>
                  <a:gd name="connsiteY1362" fmla="*/ 462 h 10000"/>
                  <a:gd name="connsiteX1363" fmla="*/ 5240 w 10785"/>
                  <a:gd name="connsiteY1363" fmla="*/ 462 h 10000"/>
                  <a:gd name="connsiteX1364" fmla="*/ 5240 w 10785"/>
                  <a:gd name="connsiteY1364" fmla="*/ 444 h 10000"/>
                  <a:gd name="connsiteX1365" fmla="*/ 5230 w 10785"/>
                  <a:gd name="connsiteY1365" fmla="*/ 436 h 10000"/>
                  <a:gd name="connsiteX1366" fmla="*/ 5230 w 10785"/>
                  <a:gd name="connsiteY1366" fmla="*/ 419 h 10000"/>
                  <a:gd name="connsiteX1367" fmla="*/ 5230 w 10785"/>
                  <a:gd name="connsiteY1367" fmla="*/ 410 h 10000"/>
                  <a:gd name="connsiteX1368" fmla="*/ 5198 w 10785"/>
                  <a:gd name="connsiteY1368" fmla="*/ 402 h 10000"/>
                  <a:gd name="connsiteX1369" fmla="*/ 5189 w 10785"/>
                  <a:gd name="connsiteY1369" fmla="*/ 402 h 10000"/>
                  <a:gd name="connsiteX1370" fmla="*/ 5184 w 10785"/>
                  <a:gd name="connsiteY1370" fmla="*/ 376 h 10000"/>
                  <a:gd name="connsiteX1371" fmla="*/ 5180 w 10785"/>
                  <a:gd name="connsiteY1371" fmla="*/ 376 h 10000"/>
                  <a:gd name="connsiteX1372" fmla="*/ 5166 w 10785"/>
                  <a:gd name="connsiteY1372" fmla="*/ 376 h 10000"/>
                  <a:gd name="connsiteX1373" fmla="*/ 5157 w 10785"/>
                  <a:gd name="connsiteY1373" fmla="*/ 385 h 10000"/>
                  <a:gd name="connsiteX1374" fmla="*/ 5152 w 10785"/>
                  <a:gd name="connsiteY1374" fmla="*/ 376 h 10000"/>
                  <a:gd name="connsiteX1375" fmla="*/ 5129 w 10785"/>
                  <a:gd name="connsiteY1375" fmla="*/ 385 h 10000"/>
                  <a:gd name="connsiteX1376" fmla="*/ 5129 w 10785"/>
                  <a:gd name="connsiteY1376" fmla="*/ 350 h 10000"/>
                  <a:gd name="connsiteX1377" fmla="*/ 5129 w 10785"/>
                  <a:gd name="connsiteY1377" fmla="*/ 325 h 10000"/>
                  <a:gd name="connsiteX1378" fmla="*/ 5124 w 10785"/>
                  <a:gd name="connsiteY1378" fmla="*/ 359 h 10000"/>
                  <a:gd name="connsiteX1379" fmla="*/ 5106 w 10785"/>
                  <a:gd name="connsiteY1379" fmla="*/ 359 h 10000"/>
                  <a:gd name="connsiteX1380" fmla="*/ 5037 w 10785"/>
                  <a:gd name="connsiteY1380" fmla="*/ 419 h 10000"/>
                  <a:gd name="connsiteX1381" fmla="*/ 5051 w 10785"/>
                  <a:gd name="connsiteY1381" fmla="*/ 385 h 10000"/>
                  <a:gd name="connsiteX1382" fmla="*/ 5055 w 10785"/>
                  <a:gd name="connsiteY1382" fmla="*/ 376 h 10000"/>
                  <a:gd name="connsiteX1383" fmla="*/ 5092 w 10785"/>
                  <a:gd name="connsiteY1383" fmla="*/ 282 h 10000"/>
                  <a:gd name="connsiteX1384" fmla="*/ 5106 w 10785"/>
                  <a:gd name="connsiteY1384" fmla="*/ 265 h 10000"/>
                  <a:gd name="connsiteX1385" fmla="*/ 5115 w 10785"/>
                  <a:gd name="connsiteY1385" fmla="*/ 265 h 10000"/>
                  <a:gd name="connsiteX1386" fmla="*/ 5124 w 10785"/>
                  <a:gd name="connsiteY1386" fmla="*/ 222 h 10000"/>
                  <a:gd name="connsiteX1387" fmla="*/ 5124 w 10785"/>
                  <a:gd name="connsiteY1387" fmla="*/ 214 h 10000"/>
                  <a:gd name="connsiteX1388" fmla="*/ 5143 w 10785"/>
                  <a:gd name="connsiteY1388" fmla="*/ 197 h 10000"/>
                  <a:gd name="connsiteX1389" fmla="*/ 5152 w 10785"/>
                  <a:gd name="connsiteY1389" fmla="*/ 214 h 10000"/>
                  <a:gd name="connsiteX1390" fmla="*/ 5143 w 10785"/>
                  <a:gd name="connsiteY1390" fmla="*/ 188 h 10000"/>
                  <a:gd name="connsiteX1391" fmla="*/ 5129 w 10785"/>
                  <a:gd name="connsiteY1391" fmla="*/ 103 h 10000"/>
                  <a:gd name="connsiteX1392" fmla="*/ 5115 w 10785"/>
                  <a:gd name="connsiteY1392" fmla="*/ 85 h 10000"/>
                  <a:gd name="connsiteX1393" fmla="*/ 5111 w 10785"/>
                  <a:gd name="connsiteY1393" fmla="*/ 111 h 10000"/>
                  <a:gd name="connsiteX1394" fmla="*/ 5092 w 10785"/>
                  <a:gd name="connsiteY1394" fmla="*/ 103 h 10000"/>
                  <a:gd name="connsiteX1395" fmla="*/ 5069 w 10785"/>
                  <a:gd name="connsiteY1395" fmla="*/ 77 h 10000"/>
                  <a:gd name="connsiteX1396" fmla="*/ 5051 w 10785"/>
                  <a:gd name="connsiteY1396" fmla="*/ 26 h 10000"/>
                  <a:gd name="connsiteX1397" fmla="*/ 5041 w 10785"/>
                  <a:gd name="connsiteY1397" fmla="*/ 34 h 10000"/>
                  <a:gd name="connsiteX1398" fmla="*/ 5037 w 10785"/>
                  <a:gd name="connsiteY1398" fmla="*/ 34 h 10000"/>
                  <a:gd name="connsiteX1399" fmla="*/ 5037 w 10785"/>
                  <a:gd name="connsiteY1399" fmla="*/ 26 h 10000"/>
                  <a:gd name="connsiteX1400" fmla="*/ 5037 w 10785"/>
                  <a:gd name="connsiteY1400" fmla="*/ 9 h 10000"/>
                  <a:gd name="connsiteX1401" fmla="*/ 5023 w 10785"/>
                  <a:gd name="connsiteY1401" fmla="*/ 0 h 10000"/>
                  <a:gd name="connsiteX1402" fmla="*/ 5009 w 10785"/>
                  <a:gd name="connsiteY1402" fmla="*/ 9 h 10000"/>
                  <a:gd name="connsiteX1403" fmla="*/ 4995 w 10785"/>
                  <a:gd name="connsiteY1403" fmla="*/ 34 h 10000"/>
                  <a:gd name="connsiteX1404" fmla="*/ 4991 w 10785"/>
                  <a:gd name="connsiteY1404" fmla="*/ 60 h 10000"/>
                  <a:gd name="connsiteX1405" fmla="*/ 4982 w 10785"/>
                  <a:gd name="connsiteY1405" fmla="*/ 60 h 10000"/>
                  <a:gd name="connsiteX1406" fmla="*/ 4949 w 10785"/>
                  <a:gd name="connsiteY1406" fmla="*/ 51 h 10000"/>
                  <a:gd name="connsiteX1407" fmla="*/ 4949 w 10785"/>
                  <a:gd name="connsiteY1407" fmla="*/ 85 h 10000"/>
                  <a:gd name="connsiteX1408" fmla="*/ 4903 w 10785"/>
                  <a:gd name="connsiteY1408" fmla="*/ 197 h 10000"/>
                  <a:gd name="connsiteX1409" fmla="*/ 4899 w 10785"/>
                  <a:gd name="connsiteY1409" fmla="*/ 239 h 10000"/>
                  <a:gd name="connsiteX1410" fmla="*/ 4871 w 10785"/>
                  <a:gd name="connsiteY1410" fmla="*/ 274 h 10000"/>
                  <a:gd name="connsiteX1411" fmla="*/ 4871 w 10785"/>
                  <a:gd name="connsiteY1411" fmla="*/ 282 h 10000"/>
                  <a:gd name="connsiteX1412" fmla="*/ 4834 w 10785"/>
                  <a:gd name="connsiteY1412" fmla="*/ 376 h 10000"/>
                  <a:gd name="connsiteX1413" fmla="*/ 4829 w 10785"/>
                  <a:gd name="connsiteY1413" fmla="*/ 402 h 10000"/>
                  <a:gd name="connsiteX1414" fmla="*/ 4834 w 10785"/>
                  <a:gd name="connsiteY1414" fmla="*/ 410 h 10000"/>
                  <a:gd name="connsiteX1415" fmla="*/ 4829 w 10785"/>
                  <a:gd name="connsiteY1415" fmla="*/ 436 h 10000"/>
                  <a:gd name="connsiteX1416" fmla="*/ 4825 w 10785"/>
                  <a:gd name="connsiteY1416" fmla="*/ 436 h 10000"/>
                  <a:gd name="connsiteX1417" fmla="*/ 4825 w 10785"/>
                  <a:gd name="connsiteY1417" fmla="*/ 444 h 10000"/>
                  <a:gd name="connsiteX1418" fmla="*/ 4811 w 10785"/>
                  <a:gd name="connsiteY1418" fmla="*/ 496 h 10000"/>
                  <a:gd name="connsiteX1419" fmla="*/ 4811 w 10785"/>
                  <a:gd name="connsiteY1419" fmla="*/ 496 h 10000"/>
                  <a:gd name="connsiteX1420" fmla="*/ 4811 w 10785"/>
                  <a:gd name="connsiteY1420" fmla="*/ 521 h 10000"/>
                  <a:gd name="connsiteX1421" fmla="*/ 4816 w 10785"/>
                  <a:gd name="connsiteY1421" fmla="*/ 530 h 10000"/>
                  <a:gd name="connsiteX1422" fmla="*/ 4834 w 10785"/>
                  <a:gd name="connsiteY1422" fmla="*/ 547 h 10000"/>
                  <a:gd name="connsiteX1423" fmla="*/ 4834 w 10785"/>
                  <a:gd name="connsiteY1423" fmla="*/ 581 h 10000"/>
                  <a:gd name="connsiteX1424" fmla="*/ 4843 w 10785"/>
                  <a:gd name="connsiteY1424" fmla="*/ 581 h 10000"/>
                  <a:gd name="connsiteX1425" fmla="*/ 4843 w 10785"/>
                  <a:gd name="connsiteY1425" fmla="*/ 598 h 10000"/>
                  <a:gd name="connsiteX1426" fmla="*/ 4829 w 10785"/>
                  <a:gd name="connsiteY1426" fmla="*/ 598 h 10000"/>
                  <a:gd name="connsiteX1427" fmla="*/ 4829 w 10785"/>
                  <a:gd name="connsiteY1427" fmla="*/ 573 h 10000"/>
                  <a:gd name="connsiteX1428" fmla="*/ 4829 w 10785"/>
                  <a:gd name="connsiteY1428" fmla="*/ 632 h 10000"/>
                  <a:gd name="connsiteX1429" fmla="*/ 4829 w 10785"/>
                  <a:gd name="connsiteY1429" fmla="*/ 632 h 10000"/>
                  <a:gd name="connsiteX1430" fmla="*/ 4829 w 10785"/>
                  <a:gd name="connsiteY1430" fmla="*/ 650 h 10000"/>
                  <a:gd name="connsiteX1431" fmla="*/ 4774 w 10785"/>
                  <a:gd name="connsiteY1431" fmla="*/ 684 h 10000"/>
                  <a:gd name="connsiteX1432" fmla="*/ 4756 w 10785"/>
                  <a:gd name="connsiteY1432" fmla="*/ 684 h 10000"/>
                  <a:gd name="connsiteX1433" fmla="*/ 4737 w 10785"/>
                  <a:gd name="connsiteY1433" fmla="*/ 692 h 10000"/>
                  <a:gd name="connsiteX1434" fmla="*/ 4677 w 10785"/>
                  <a:gd name="connsiteY1434" fmla="*/ 667 h 10000"/>
                  <a:gd name="connsiteX1435" fmla="*/ 4682 w 10785"/>
                  <a:gd name="connsiteY1435" fmla="*/ 692 h 10000"/>
                  <a:gd name="connsiteX1436" fmla="*/ 4682 w 10785"/>
                  <a:gd name="connsiteY1436" fmla="*/ 709 h 10000"/>
                  <a:gd name="connsiteX1437" fmla="*/ 4691 w 10785"/>
                  <a:gd name="connsiteY1437" fmla="*/ 718 h 10000"/>
                  <a:gd name="connsiteX1438" fmla="*/ 4691 w 10785"/>
                  <a:gd name="connsiteY1438" fmla="*/ 744 h 10000"/>
                  <a:gd name="connsiteX1439" fmla="*/ 4700 w 10785"/>
                  <a:gd name="connsiteY1439" fmla="*/ 744 h 10000"/>
                  <a:gd name="connsiteX1440" fmla="*/ 4714 w 10785"/>
                  <a:gd name="connsiteY1440" fmla="*/ 769 h 10000"/>
                  <a:gd name="connsiteX1441" fmla="*/ 4710 w 10785"/>
                  <a:gd name="connsiteY1441" fmla="*/ 786 h 10000"/>
                  <a:gd name="connsiteX1442" fmla="*/ 4737 w 10785"/>
                  <a:gd name="connsiteY1442" fmla="*/ 786 h 10000"/>
                  <a:gd name="connsiteX1443" fmla="*/ 4742 w 10785"/>
                  <a:gd name="connsiteY1443" fmla="*/ 795 h 10000"/>
                  <a:gd name="connsiteX1444" fmla="*/ 4742 w 10785"/>
                  <a:gd name="connsiteY1444" fmla="*/ 803 h 10000"/>
                  <a:gd name="connsiteX1445" fmla="*/ 4737 w 10785"/>
                  <a:gd name="connsiteY1445" fmla="*/ 846 h 10000"/>
                  <a:gd name="connsiteX1446" fmla="*/ 4737 w 10785"/>
                  <a:gd name="connsiteY1446" fmla="*/ 880 h 10000"/>
                  <a:gd name="connsiteX1447" fmla="*/ 4737 w 10785"/>
                  <a:gd name="connsiteY1447" fmla="*/ 906 h 10000"/>
                  <a:gd name="connsiteX1448" fmla="*/ 4724 w 10785"/>
                  <a:gd name="connsiteY1448" fmla="*/ 897 h 10000"/>
                  <a:gd name="connsiteX1449" fmla="*/ 4724 w 10785"/>
                  <a:gd name="connsiteY1449" fmla="*/ 872 h 10000"/>
                  <a:gd name="connsiteX1450" fmla="*/ 4714 w 10785"/>
                  <a:gd name="connsiteY1450" fmla="*/ 855 h 10000"/>
                  <a:gd name="connsiteX1451" fmla="*/ 4691 w 10785"/>
                  <a:gd name="connsiteY1451" fmla="*/ 846 h 10000"/>
                  <a:gd name="connsiteX1452" fmla="*/ 4691 w 10785"/>
                  <a:gd name="connsiteY1452" fmla="*/ 846 h 10000"/>
                  <a:gd name="connsiteX1453" fmla="*/ 4696 w 10785"/>
                  <a:gd name="connsiteY1453" fmla="*/ 821 h 10000"/>
                  <a:gd name="connsiteX1454" fmla="*/ 4691 w 10785"/>
                  <a:gd name="connsiteY1454" fmla="*/ 803 h 10000"/>
                  <a:gd name="connsiteX1455" fmla="*/ 4668 w 10785"/>
                  <a:gd name="connsiteY1455" fmla="*/ 821 h 10000"/>
                  <a:gd name="connsiteX1456" fmla="*/ 4668 w 10785"/>
                  <a:gd name="connsiteY1456" fmla="*/ 786 h 10000"/>
                  <a:gd name="connsiteX1457" fmla="*/ 4664 w 10785"/>
                  <a:gd name="connsiteY1457" fmla="*/ 786 h 10000"/>
                  <a:gd name="connsiteX1458" fmla="*/ 4622 w 10785"/>
                  <a:gd name="connsiteY1458" fmla="*/ 846 h 10000"/>
                  <a:gd name="connsiteX1459" fmla="*/ 4627 w 10785"/>
                  <a:gd name="connsiteY1459" fmla="*/ 872 h 10000"/>
                  <a:gd name="connsiteX1460" fmla="*/ 4622 w 10785"/>
                  <a:gd name="connsiteY1460" fmla="*/ 880 h 10000"/>
                  <a:gd name="connsiteX1461" fmla="*/ 4622 w 10785"/>
                  <a:gd name="connsiteY1461" fmla="*/ 880 h 10000"/>
                  <a:gd name="connsiteX1462" fmla="*/ 4618 w 10785"/>
                  <a:gd name="connsiteY1462" fmla="*/ 872 h 10000"/>
                  <a:gd name="connsiteX1463" fmla="*/ 4604 w 10785"/>
                  <a:gd name="connsiteY1463" fmla="*/ 880 h 10000"/>
                  <a:gd name="connsiteX1464" fmla="*/ 4594 w 10785"/>
                  <a:gd name="connsiteY1464" fmla="*/ 906 h 10000"/>
                  <a:gd name="connsiteX1465" fmla="*/ 4604 w 10785"/>
                  <a:gd name="connsiteY1465" fmla="*/ 906 h 10000"/>
                  <a:gd name="connsiteX1466" fmla="*/ 4608 w 10785"/>
                  <a:gd name="connsiteY1466" fmla="*/ 906 h 10000"/>
                  <a:gd name="connsiteX1467" fmla="*/ 4608 w 10785"/>
                  <a:gd name="connsiteY1467" fmla="*/ 932 h 10000"/>
                  <a:gd name="connsiteX1468" fmla="*/ 4604 w 10785"/>
                  <a:gd name="connsiteY1468" fmla="*/ 932 h 10000"/>
                  <a:gd name="connsiteX1469" fmla="*/ 4590 w 10785"/>
                  <a:gd name="connsiteY1469" fmla="*/ 932 h 10000"/>
                  <a:gd name="connsiteX1470" fmla="*/ 4567 w 10785"/>
                  <a:gd name="connsiteY1470" fmla="*/ 957 h 10000"/>
                  <a:gd name="connsiteX1471" fmla="*/ 4567 w 10785"/>
                  <a:gd name="connsiteY1471" fmla="*/ 932 h 10000"/>
                  <a:gd name="connsiteX1472" fmla="*/ 4567 w 10785"/>
                  <a:gd name="connsiteY1472" fmla="*/ 923 h 10000"/>
                  <a:gd name="connsiteX1473" fmla="*/ 4562 w 10785"/>
                  <a:gd name="connsiteY1473" fmla="*/ 932 h 10000"/>
                  <a:gd name="connsiteX1474" fmla="*/ 4548 w 10785"/>
                  <a:gd name="connsiteY1474" fmla="*/ 957 h 10000"/>
                  <a:gd name="connsiteX1475" fmla="*/ 4544 w 10785"/>
                  <a:gd name="connsiteY1475" fmla="*/ 957 h 10000"/>
                  <a:gd name="connsiteX1476" fmla="*/ 4521 w 10785"/>
                  <a:gd name="connsiteY1476" fmla="*/ 983 h 10000"/>
                  <a:gd name="connsiteX1477" fmla="*/ 4521 w 10785"/>
                  <a:gd name="connsiteY1477" fmla="*/ 983 h 10000"/>
                  <a:gd name="connsiteX1478" fmla="*/ 4530 w 10785"/>
                  <a:gd name="connsiteY1478" fmla="*/ 957 h 10000"/>
                  <a:gd name="connsiteX1479" fmla="*/ 4535 w 10785"/>
                  <a:gd name="connsiteY1479" fmla="*/ 932 h 10000"/>
                  <a:gd name="connsiteX1480" fmla="*/ 4521 w 10785"/>
                  <a:gd name="connsiteY1480" fmla="*/ 932 h 10000"/>
                  <a:gd name="connsiteX1481" fmla="*/ 4516 w 10785"/>
                  <a:gd name="connsiteY1481" fmla="*/ 923 h 10000"/>
                  <a:gd name="connsiteX1482" fmla="*/ 4516 w 10785"/>
                  <a:gd name="connsiteY1482" fmla="*/ 932 h 10000"/>
                  <a:gd name="connsiteX1483" fmla="*/ 4488 w 10785"/>
                  <a:gd name="connsiteY1483" fmla="*/ 940 h 10000"/>
                  <a:gd name="connsiteX1484" fmla="*/ 4484 w 10785"/>
                  <a:gd name="connsiteY1484" fmla="*/ 983 h 10000"/>
                  <a:gd name="connsiteX1485" fmla="*/ 4470 w 10785"/>
                  <a:gd name="connsiteY1485" fmla="*/ 983 h 10000"/>
                  <a:gd name="connsiteX1486" fmla="*/ 4470 w 10785"/>
                  <a:gd name="connsiteY1486" fmla="*/ 966 h 10000"/>
                  <a:gd name="connsiteX1487" fmla="*/ 4488 w 10785"/>
                  <a:gd name="connsiteY1487" fmla="*/ 923 h 10000"/>
                  <a:gd name="connsiteX1488" fmla="*/ 4493 w 10785"/>
                  <a:gd name="connsiteY1488" fmla="*/ 880 h 10000"/>
                  <a:gd name="connsiteX1489" fmla="*/ 4475 w 10785"/>
                  <a:gd name="connsiteY1489" fmla="*/ 846 h 10000"/>
                  <a:gd name="connsiteX1490" fmla="*/ 4442 w 10785"/>
                  <a:gd name="connsiteY1490" fmla="*/ 855 h 10000"/>
                  <a:gd name="connsiteX1491" fmla="*/ 4433 w 10785"/>
                  <a:gd name="connsiteY1491" fmla="*/ 855 h 10000"/>
                  <a:gd name="connsiteX1492" fmla="*/ 4433 w 10785"/>
                  <a:gd name="connsiteY1492" fmla="*/ 880 h 10000"/>
                  <a:gd name="connsiteX1493" fmla="*/ 4401 w 10785"/>
                  <a:gd name="connsiteY1493" fmla="*/ 855 h 10000"/>
                  <a:gd name="connsiteX1494" fmla="*/ 4396 w 10785"/>
                  <a:gd name="connsiteY1494" fmla="*/ 872 h 10000"/>
                  <a:gd name="connsiteX1495" fmla="*/ 4382 w 10785"/>
                  <a:gd name="connsiteY1495" fmla="*/ 897 h 10000"/>
                  <a:gd name="connsiteX1496" fmla="*/ 4373 w 10785"/>
                  <a:gd name="connsiteY1496" fmla="*/ 872 h 10000"/>
                  <a:gd name="connsiteX1497" fmla="*/ 4341 w 10785"/>
                  <a:gd name="connsiteY1497" fmla="*/ 872 h 10000"/>
                  <a:gd name="connsiteX1498" fmla="*/ 4336 w 10785"/>
                  <a:gd name="connsiteY1498" fmla="*/ 880 h 10000"/>
                  <a:gd name="connsiteX1499" fmla="*/ 4346 w 10785"/>
                  <a:gd name="connsiteY1499" fmla="*/ 897 h 10000"/>
                  <a:gd name="connsiteX1500" fmla="*/ 4346 w 10785"/>
                  <a:gd name="connsiteY1500" fmla="*/ 897 h 10000"/>
                  <a:gd name="connsiteX1501" fmla="*/ 4313 w 10785"/>
                  <a:gd name="connsiteY1501" fmla="*/ 906 h 10000"/>
                  <a:gd name="connsiteX1502" fmla="*/ 4313 w 10785"/>
                  <a:gd name="connsiteY1502" fmla="*/ 906 h 10000"/>
                  <a:gd name="connsiteX1503" fmla="*/ 4313 w 10785"/>
                  <a:gd name="connsiteY1503" fmla="*/ 880 h 10000"/>
                  <a:gd name="connsiteX1504" fmla="*/ 4309 w 10785"/>
                  <a:gd name="connsiteY1504" fmla="*/ 897 h 10000"/>
                  <a:gd name="connsiteX1505" fmla="*/ 4295 w 10785"/>
                  <a:gd name="connsiteY1505" fmla="*/ 923 h 10000"/>
                  <a:gd name="connsiteX1506" fmla="*/ 4286 w 10785"/>
                  <a:gd name="connsiteY1506" fmla="*/ 897 h 10000"/>
                  <a:gd name="connsiteX1507" fmla="*/ 4281 w 10785"/>
                  <a:gd name="connsiteY1507" fmla="*/ 906 h 10000"/>
                  <a:gd name="connsiteX1508" fmla="*/ 4281 w 10785"/>
                  <a:gd name="connsiteY1508" fmla="*/ 940 h 10000"/>
                  <a:gd name="connsiteX1509" fmla="*/ 4286 w 10785"/>
                  <a:gd name="connsiteY1509" fmla="*/ 957 h 10000"/>
                  <a:gd name="connsiteX1510" fmla="*/ 4309 w 10785"/>
                  <a:gd name="connsiteY1510" fmla="*/ 932 h 10000"/>
                  <a:gd name="connsiteX1511" fmla="*/ 4313 w 10785"/>
                  <a:gd name="connsiteY1511" fmla="*/ 957 h 10000"/>
                  <a:gd name="connsiteX1512" fmla="*/ 4313 w 10785"/>
                  <a:gd name="connsiteY1512" fmla="*/ 966 h 10000"/>
                  <a:gd name="connsiteX1513" fmla="*/ 4323 w 10785"/>
                  <a:gd name="connsiteY1513" fmla="*/ 966 h 10000"/>
                  <a:gd name="connsiteX1514" fmla="*/ 4323 w 10785"/>
                  <a:gd name="connsiteY1514" fmla="*/ 940 h 10000"/>
                  <a:gd name="connsiteX1515" fmla="*/ 4327 w 10785"/>
                  <a:gd name="connsiteY1515" fmla="*/ 940 h 10000"/>
                  <a:gd name="connsiteX1516" fmla="*/ 4327 w 10785"/>
                  <a:gd name="connsiteY1516" fmla="*/ 957 h 10000"/>
                  <a:gd name="connsiteX1517" fmla="*/ 4327 w 10785"/>
                  <a:gd name="connsiteY1517" fmla="*/ 966 h 10000"/>
                  <a:gd name="connsiteX1518" fmla="*/ 4323 w 10785"/>
                  <a:gd name="connsiteY1518" fmla="*/ 991 h 10000"/>
                  <a:gd name="connsiteX1519" fmla="*/ 4207 w 10785"/>
                  <a:gd name="connsiteY1519" fmla="*/ 1060 h 10000"/>
                  <a:gd name="connsiteX1520" fmla="*/ 4207 w 10785"/>
                  <a:gd name="connsiteY1520" fmla="*/ 1060 h 10000"/>
                  <a:gd name="connsiteX1521" fmla="*/ 4203 w 10785"/>
                  <a:gd name="connsiteY1521" fmla="*/ 1068 h 10000"/>
                  <a:gd name="connsiteX1522" fmla="*/ 4203 w 10785"/>
                  <a:gd name="connsiteY1522" fmla="*/ 1094 h 10000"/>
                  <a:gd name="connsiteX1523" fmla="*/ 4203 w 10785"/>
                  <a:gd name="connsiteY1523" fmla="*/ 1094 h 10000"/>
                  <a:gd name="connsiteX1524" fmla="*/ 4189 w 10785"/>
                  <a:gd name="connsiteY1524" fmla="*/ 1094 h 10000"/>
                  <a:gd name="connsiteX1525" fmla="*/ 4166 w 10785"/>
                  <a:gd name="connsiteY1525" fmla="*/ 1103 h 10000"/>
                  <a:gd name="connsiteX1526" fmla="*/ 4152 w 10785"/>
                  <a:gd name="connsiteY1526" fmla="*/ 1094 h 10000"/>
                  <a:gd name="connsiteX1527" fmla="*/ 4134 w 10785"/>
                  <a:gd name="connsiteY1527" fmla="*/ 1120 h 10000"/>
                  <a:gd name="connsiteX1528" fmla="*/ 4106 w 10785"/>
                  <a:gd name="connsiteY1528" fmla="*/ 1120 h 10000"/>
                  <a:gd name="connsiteX1529" fmla="*/ 4092 w 10785"/>
                  <a:gd name="connsiteY1529" fmla="*/ 1154 h 10000"/>
                  <a:gd name="connsiteX1530" fmla="*/ 4106 w 10785"/>
                  <a:gd name="connsiteY1530" fmla="*/ 1171 h 10000"/>
                  <a:gd name="connsiteX1531" fmla="*/ 4078 w 10785"/>
                  <a:gd name="connsiteY1531" fmla="*/ 1179 h 10000"/>
                  <a:gd name="connsiteX1532" fmla="*/ 4065 w 10785"/>
                  <a:gd name="connsiteY1532" fmla="*/ 1205 h 10000"/>
                  <a:gd name="connsiteX1533" fmla="*/ 4046 w 10785"/>
                  <a:gd name="connsiteY1533" fmla="*/ 1179 h 10000"/>
                  <a:gd name="connsiteX1534" fmla="*/ 4041 w 10785"/>
                  <a:gd name="connsiteY1534" fmla="*/ 1197 h 10000"/>
                  <a:gd name="connsiteX1535" fmla="*/ 4028 w 10785"/>
                  <a:gd name="connsiteY1535" fmla="*/ 1205 h 10000"/>
                  <a:gd name="connsiteX1536" fmla="*/ 4028 w 10785"/>
                  <a:gd name="connsiteY1536" fmla="*/ 1205 h 10000"/>
                  <a:gd name="connsiteX1537" fmla="*/ 4032 w 10785"/>
                  <a:gd name="connsiteY1537" fmla="*/ 1205 h 10000"/>
                  <a:gd name="connsiteX1538" fmla="*/ 4032 w 10785"/>
                  <a:gd name="connsiteY1538" fmla="*/ 1231 h 10000"/>
                  <a:gd name="connsiteX1539" fmla="*/ 4014 w 10785"/>
                  <a:gd name="connsiteY1539" fmla="*/ 1239 h 10000"/>
                  <a:gd name="connsiteX1540" fmla="*/ 4014 w 10785"/>
                  <a:gd name="connsiteY1540" fmla="*/ 1256 h 10000"/>
                  <a:gd name="connsiteX1541" fmla="*/ 4000 w 10785"/>
                  <a:gd name="connsiteY1541" fmla="*/ 1265 h 10000"/>
                  <a:gd name="connsiteX1542" fmla="*/ 3986 w 10785"/>
                  <a:gd name="connsiteY1542" fmla="*/ 1308 h 10000"/>
                  <a:gd name="connsiteX1543" fmla="*/ 3972 w 10785"/>
                  <a:gd name="connsiteY1543" fmla="*/ 1316 h 10000"/>
                  <a:gd name="connsiteX1544" fmla="*/ 3972 w 10785"/>
                  <a:gd name="connsiteY1544" fmla="*/ 1325 h 10000"/>
                  <a:gd name="connsiteX1545" fmla="*/ 3972 w 10785"/>
                  <a:gd name="connsiteY1545" fmla="*/ 1342 h 10000"/>
                  <a:gd name="connsiteX1546" fmla="*/ 3968 w 10785"/>
                  <a:gd name="connsiteY1546" fmla="*/ 1350 h 10000"/>
                  <a:gd name="connsiteX1547" fmla="*/ 3954 w 10785"/>
                  <a:gd name="connsiteY1547" fmla="*/ 1368 h 10000"/>
                  <a:gd name="connsiteX1548" fmla="*/ 3945 w 10785"/>
                  <a:gd name="connsiteY1548" fmla="*/ 1350 h 10000"/>
                  <a:gd name="connsiteX1549" fmla="*/ 3908 w 10785"/>
                  <a:gd name="connsiteY1549" fmla="*/ 1342 h 10000"/>
                  <a:gd name="connsiteX1550" fmla="*/ 3894 w 10785"/>
                  <a:gd name="connsiteY1550" fmla="*/ 1368 h 10000"/>
                  <a:gd name="connsiteX1551" fmla="*/ 3922 w 10785"/>
                  <a:gd name="connsiteY1551" fmla="*/ 1393 h 10000"/>
                  <a:gd name="connsiteX1552" fmla="*/ 3945 w 10785"/>
                  <a:gd name="connsiteY1552" fmla="*/ 1393 h 10000"/>
                  <a:gd name="connsiteX1553" fmla="*/ 3940 w 10785"/>
                  <a:gd name="connsiteY1553" fmla="*/ 1419 h 10000"/>
                  <a:gd name="connsiteX1554" fmla="*/ 3931 w 10785"/>
                  <a:gd name="connsiteY1554" fmla="*/ 1427 h 10000"/>
                  <a:gd name="connsiteX1555" fmla="*/ 3926 w 10785"/>
                  <a:gd name="connsiteY1555" fmla="*/ 1427 h 10000"/>
                  <a:gd name="connsiteX1556" fmla="*/ 3922 w 10785"/>
                  <a:gd name="connsiteY1556" fmla="*/ 1419 h 10000"/>
                  <a:gd name="connsiteX1557" fmla="*/ 3912 w 10785"/>
                  <a:gd name="connsiteY1557" fmla="*/ 1427 h 10000"/>
                  <a:gd name="connsiteX1558" fmla="*/ 3912 w 10785"/>
                  <a:gd name="connsiteY1558" fmla="*/ 1444 h 10000"/>
                  <a:gd name="connsiteX1559" fmla="*/ 3894 w 10785"/>
                  <a:gd name="connsiteY1559" fmla="*/ 1513 h 10000"/>
                  <a:gd name="connsiteX1560" fmla="*/ 3885 w 10785"/>
                  <a:gd name="connsiteY1560" fmla="*/ 1513 h 10000"/>
                  <a:gd name="connsiteX1561" fmla="*/ 3880 w 10785"/>
                  <a:gd name="connsiteY1561" fmla="*/ 1538 h 10000"/>
                  <a:gd name="connsiteX1562" fmla="*/ 3885 w 10785"/>
                  <a:gd name="connsiteY1562" fmla="*/ 1564 h 10000"/>
                  <a:gd name="connsiteX1563" fmla="*/ 3880 w 10785"/>
                  <a:gd name="connsiteY1563" fmla="*/ 1581 h 10000"/>
                  <a:gd name="connsiteX1564" fmla="*/ 3871 w 10785"/>
                  <a:gd name="connsiteY1564" fmla="*/ 1538 h 10000"/>
                  <a:gd name="connsiteX1565" fmla="*/ 3853 w 10785"/>
                  <a:gd name="connsiteY1565" fmla="*/ 1530 h 10000"/>
                  <a:gd name="connsiteX1566" fmla="*/ 3853 w 10785"/>
                  <a:gd name="connsiteY1566" fmla="*/ 1504 h 10000"/>
                  <a:gd name="connsiteX1567" fmla="*/ 3834 w 10785"/>
                  <a:gd name="connsiteY1567" fmla="*/ 1487 h 10000"/>
                  <a:gd name="connsiteX1568" fmla="*/ 3834 w 10785"/>
                  <a:gd name="connsiteY1568" fmla="*/ 1487 h 10000"/>
                  <a:gd name="connsiteX1569" fmla="*/ 3839 w 10785"/>
                  <a:gd name="connsiteY1569" fmla="*/ 1513 h 10000"/>
                  <a:gd name="connsiteX1570" fmla="*/ 3820 w 10785"/>
                  <a:gd name="connsiteY1570" fmla="*/ 1538 h 10000"/>
                  <a:gd name="connsiteX1571" fmla="*/ 3820 w 10785"/>
                  <a:gd name="connsiteY1571" fmla="*/ 1556 h 10000"/>
                  <a:gd name="connsiteX1572" fmla="*/ 3820 w 10785"/>
                  <a:gd name="connsiteY1572" fmla="*/ 1564 h 10000"/>
                  <a:gd name="connsiteX1573" fmla="*/ 3820 w 10785"/>
                  <a:gd name="connsiteY1573" fmla="*/ 1581 h 10000"/>
                  <a:gd name="connsiteX1574" fmla="*/ 3853 w 10785"/>
                  <a:gd name="connsiteY1574" fmla="*/ 1581 h 10000"/>
                  <a:gd name="connsiteX1575" fmla="*/ 3857 w 10785"/>
                  <a:gd name="connsiteY1575" fmla="*/ 1598 h 10000"/>
                  <a:gd name="connsiteX1576" fmla="*/ 3880 w 10785"/>
                  <a:gd name="connsiteY1576" fmla="*/ 1615 h 10000"/>
                  <a:gd name="connsiteX1577" fmla="*/ 3871 w 10785"/>
                  <a:gd name="connsiteY1577" fmla="*/ 1615 h 10000"/>
                  <a:gd name="connsiteX1578" fmla="*/ 3871 w 10785"/>
                  <a:gd name="connsiteY1578" fmla="*/ 1641 h 10000"/>
                  <a:gd name="connsiteX1579" fmla="*/ 3880 w 10785"/>
                  <a:gd name="connsiteY1579" fmla="*/ 1641 h 10000"/>
                  <a:gd name="connsiteX1580" fmla="*/ 3871 w 10785"/>
                  <a:gd name="connsiteY1580" fmla="*/ 1650 h 10000"/>
                  <a:gd name="connsiteX1581" fmla="*/ 3857 w 10785"/>
                  <a:gd name="connsiteY1581" fmla="*/ 1650 h 10000"/>
                  <a:gd name="connsiteX1582" fmla="*/ 3853 w 10785"/>
                  <a:gd name="connsiteY1582" fmla="*/ 1650 h 10000"/>
                  <a:gd name="connsiteX1583" fmla="*/ 3839 w 10785"/>
                  <a:gd name="connsiteY1583" fmla="*/ 1667 h 10000"/>
                  <a:gd name="connsiteX1584" fmla="*/ 3848 w 10785"/>
                  <a:gd name="connsiteY1584" fmla="*/ 1692 h 10000"/>
                  <a:gd name="connsiteX1585" fmla="*/ 3834 w 10785"/>
                  <a:gd name="connsiteY1585" fmla="*/ 1692 h 10000"/>
                  <a:gd name="connsiteX1586" fmla="*/ 3825 w 10785"/>
                  <a:gd name="connsiteY1586" fmla="*/ 1692 h 10000"/>
                  <a:gd name="connsiteX1587" fmla="*/ 3825 w 10785"/>
                  <a:gd name="connsiteY1587" fmla="*/ 1718 h 10000"/>
                  <a:gd name="connsiteX1588" fmla="*/ 3839 w 10785"/>
                  <a:gd name="connsiteY1588" fmla="*/ 1726 h 10000"/>
                  <a:gd name="connsiteX1589" fmla="*/ 3880 w 10785"/>
                  <a:gd name="connsiteY1589" fmla="*/ 1752 h 10000"/>
                  <a:gd name="connsiteX1590" fmla="*/ 3894 w 10785"/>
                  <a:gd name="connsiteY1590" fmla="*/ 1829 h 10000"/>
                  <a:gd name="connsiteX1591" fmla="*/ 3899 w 10785"/>
                  <a:gd name="connsiteY1591" fmla="*/ 1838 h 10000"/>
                  <a:gd name="connsiteX1592" fmla="*/ 3894 w 10785"/>
                  <a:gd name="connsiteY1592" fmla="*/ 1855 h 10000"/>
                  <a:gd name="connsiteX1593" fmla="*/ 3880 w 10785"/>
                  <a:gd name="connsiteY1593" fmla="*/ 1838 h 10000"/>
                  <a:gd name="connsiteX1594" fmla="*/ 3880 w 10785"/>
                  <a:gd name="connsiteY1594" fmla="*/ 1855 h 10000"/>
                  <a:gd name="connsiteX1595" fmla="*/ 3880 w 10785"/>
                  <a:gd name="connsiteY1595" fmla="*/ 1863 h 10000"/>
                  <a:gd name="connsiteX1596" fmla="*/ 3871 w 10785"/>
                  <a:gd name="connsiteY1596" fmla="*/ 1872 h 10000"/>
                  <a:gd name="connsiteX1597" fmla="*/ 3880 w 10785"/>
                  <a:gd name="connsiteY1597" fmla="*/ 1889 h 10000"/>
                  <a:gd name="connsiteX1598" fmla="*/ 3885 w 10785"/>
                  <a:gd name="connsiteY1598" fmla="*/ 1889 h 10000"/>
                  <a:gd name="connsiteX1599" fmla="*/ 3880 w 10785"/>
                  <a:gd name="connsiteY1599" fmla="*/ 1897 h 10000"/>
                  <a:gd name="connsiteX1600" fmla="*/ 3871 w 10785"/>
                  <a:gd name="connsiteY1600" fmla="*/ 1915 h 10000"/>
                  <a:gd name="connsiteX1601" fmla="*/ 3848 w 10785"/>
                  <a:gd name="connsiteY1601" fmla="*/ 1923 h 10000"/>
                  <a:gd name="connsiteX1602" fmla="*/ 3825 w 10785"/>
                  <a:gd name="connsiteY1602" fmla="*/ 1940 h 10000"/>
                  <a:gd name="connsiteX1603" fmla="*/ 3811 w 10785"/>
                  <a:gd name="connsiteY1603" fmla="*/ 1940 h 10000"/>
                  <a:gd name="connsiteX1604" fmla="*/ 3806 w 10785"/>
                  <a:gd name="connsiteY1604" fmla="*/ 1949 h 10000"/>
                  <a:gd name="connsiteX1605" fmla="*/ 3797 w 10785"/>
                  <a:gd name="connsiteY1605" fmla="*/ 1966 h 10000"/>
                  <a:gd name="connsiteX1606" fmla="*/ 3788 w 10785"/>
                  <a:gd name="connsiteY1606" fmla="*/ 1991 h 10000"/>
                  <a:gd name="connsiteX1607" fmla="*/ 3765 w 10785"/>
                  <a:gd name="connsiteY1607" fmla="*/ 1974 h 10000"/>
                  <a:gd name="connsiteX1608" fmla="*/ 3760 w 10785"/>
                  <a:gd name="connsiteY1608" fmla="*/ 1966 h 10000"/>
                  <a:gd name="connsiteX1609" fmla="*/ 3760 w 10785"/>
                  <a:gd name="connsiteY1609" fmla="*/ 1966 h 10000"/>
                  <a:gd name="connsiteX1610" fmla="*/ 3631 w 10785"/>
                  <a:gd name="connsiteY1610" fmla="*/ 2009 h 10000"/>
                  <a:gd name="connsiteX1611" fmla="*/ 3618 w 10785"/>
                  <a:gd name="connsiteY1611" fmla="*/ 2000 h 10000"/>
                  <a:gd name="connsiteX1612" fmla="*/ 3599 w 10785"/>
                  <a:gd name="connsiteY1612" fmla="*/ 2009 h 10000"/>
                  <a:gd name="connsiteX1613" fmla="*/ 3571 w 10785"/>
                  <a:gd name="connsiteY1613" fmla="*/ 2000 h 10000"/>
                  <a:gd name="connsiteX1614" fmla="*/ 3530 w 10785"/>
                  <a:gd name="connsiteY1614" fmla="*/ 2026 h 10000"/>
                  <a:gd name="connsiteX1615" fmla="*/ 3530 w 10785"/>
                  <a:gd name="connsiteY1615" fmla="*/ 2034 h 10000"/>
                  <a:gd name="connsiteX1616" fmla="*/ 3525 w 10785"/>
                  <a:gd name="connsiteY1616" fmla="*/ 2051 h 10000"/>
                  <a:gd name="connsiteX1617" fmla="*/ 3512 w 10785"/>
                  <a:gd name="connsiteY1617" fmla="*/ 2034 h 10000"/>
                  <a:gd name="connsiteX1618" fmla="*/ 3507 w 10785"/>
                  <a:gd name="connsiteY1618" fmla="*/ 2034 h 10000"/>
                  <a:gd name="connsiteX1619" fmla="*/ 3498 w 10785"/>
                  <a:gd name="connsiteY1619" fmla="*/ 2051 h 10000"/>
                  <a:gd name="connsiteX1620" fmla="*/ 3484 w 10785"/>
                  <a:gd name="connsiteY1620" fmla="*/ 2060 h 10000"/>
                  <a:gd name="connsiteX1621" fmla="*/ 3484 w 10785"/>
                  <a:gd name="connsiteY1621" fmla="*/ 2085 h 10000"/>
                  <a:gd name="connsiteX1622" fmla="*/ 3484 w 10785"/>
                  <a:gd name="connsiteY1622" fmla="*/ 2103 h 10000"/>
                  <a:gd name="connsiteX1623" fmla="*/ 3493 w 10785"/>
                  <a:gd name="connsiteY1623" fmla="*/ 2103 h 10000"/>
                  <a:gd name="connsiteX1624" fmla="*/ 3493 w 10785"/>
                  <a:gd name="connsiteY1624" fmla="*/ 2085 h 10000"/>
                  <a:gd name="connsiteX1625" fmla="*/ 3498 w 10785"/>
                  <a:gd name="connsiteY1625" fmla="*/ 2085 h 10000"/>
                  <a:gd name="connsiteX1626" fmla="*/ 3498 w 10785"/>
                  <a:gd name="connsiteY1626" fmla="*/ 2111 h 10000"/>
                  <a:gd name="connsiteX1627" fmla="*/ 3484 w 10785"/>
                  <a:gd name="connsiteY1627" fmla="*/ 2120 h 10000"/>
                  <a:gd name="connsiteX1628" fmla="*/ 3484 w 10785"/>
                  <a:gd name="connsiteY1628" fmla="*/ 2145 h 10000"/>
                  <a:gd name="connsiteX1629" fmla="*/ 3470 w 10785"/>
                  <a:gd name="connsiteY1629" fmla="*/ 2137 h 10000"/>
                  <a:gd name="connsiteX1630" fmla="*/ 3465 w 10785"/>
                  <a:gd name="connsiteY1630" fmla="*/ 2145 h 10000"/>
                  <a:gd name="connsiteX1631" fmla="*/ 3470 w 10785"/>
                  <a:gd name="connsiteY1631" fmla="*/ 2171 h 10000"/>
                  <a:gd name="connsiteX1632" fmla="*/ 3484 w 10785"/>
                  <a:gd name="connsiteY1632" fmla="*/ 2171 h 10000"/>
                  <a:gd name="connsiteX1633" fmla="*/ 3484 w 10785"/>
                  <a:gd name="connsiteY1633" fmla="*/ 2197 h 10000"/>
                  <a:gd name="connsiteX1634" fmla="*/ 3465 w 10785"/>
                  <a:gd name="connsiteY1634" fmla="*/ 2214 h 10000"/>
                  <a:gd name="connsiteX1635" fmla="*/ 3493 w 10785"/>
                  <a:gd name="connsiteY1635" fmla="*/ 2248 h 10000"/>
                  <a:gd name="connsiteX1636" fmla="*/ 3484 w 10785"/>
                  <a:gd name="connsiteY1636" fmla="*/ 2256 h 10000"/>
                  <a:gd name="connsiteX1637" fmla="*/ 3498 w 10785"/>
                  <a:gd name="connsiteY1637" fmla="*/ 2274 h 10000"/>
                  <a:gd name="connsiteX1638" fmla="*/ 3498 w 10785"/>
                  <a:gd name="connsiteY1638" fmla="*/ 2256 h 10000"/>
                  <a:gd name="connsiteX1639" fmla="*/ 3507 w 10785"/>
                  <a:gd name="connsiteY1639" fmla="*/ 2308 h 10000"/>
                  <a:gd name="connsiteX1640" fmla="*/ 3512 w 10785"/>
                  <a:gd name="connsiteY1640" fmla="*/ 2325 h 10000"/>
                  <a:gd name="connsiteX1641" fmla="*/ 3507 w 10785"/>
                  <a:gd name="connsiteY1641" fmla="*/ 2333 h 10000"/>
                  <a:gd name="connsiteX1642" fmla="*/ 3507 w 10785"/>
                  <a:gd name="connsiteY1642" fmla="*/ 2359 h 10000"/>
                  <a:gd name="connsiteX1643" fmla="*/ 3507 w 10785"/>
                  <a:gd name="connsiteY1643" fmla="*/ 2376 h 10000"/>
                  <a:gd name="connsiteX1644" fmla="*/ 3498 w 10785"/>
                  <a:gd name="connsiteY1644" fmla="*/ 2410 h 10000"/>
                  <a:gd name="connsiteX1645" fmla="*/ 3498 w 10785"/>
                  <a:gd name="connsiteY1645" fmla="*/ 2436 h 10000"/>
                  <a:gd name="connsiteX1646" fmla="*/ 3507 w 10785"/>
                  <a:gd name="connsiteY1646" fmla="*/ 2462 h 10000"/>
                  <a:gd name="connsiteX1647" fmla="*/ 3507 w 10785"/>
                  <a:gd name="connsiteY1647" fmla="*/ 2496 h 10000"/>
                  <a:gd name="connsiteX1648" fmla="*/ 3512 w 10785"/>
                  <a:gd name="connsiteY1648" fmla="*/ 2521 h 10000"/>
                  <a:gd name="connsiteX1649" fmla="*/ 3525 w 10785"/>
                  <a:gd name="connsiteY1649" fmla="*/ 2556 h 10000"/>
                  <a:gd name="connsiteX1650" fmla="*/ 3571 w 10785"/>
                  <a:gd name="connsiteY1650" fmla="*/ 2573 h 10000"/>
                  <a:gd name="connsiteX1651" fmla="*/ 3590 w 10785"/>
                  <a:gd name="connsiteY1651" fmla="*/ 2598 h 10000"/>
                  <a:gd name="connsiteX1652" fmla="*/ 3599 w 10785"/>
                  <a:gd name="connsiteY1652" fmla="*/ 2598 h 10000"/>
                  <a:gd name="connsiteX1653" fmla="*/ 3604 w 10785"/>
                  <a:gd name="connsiteY1653" fmla="*/ 2632 h 10000"/>
                  <a:gd name="connsiteX1654" fmla="*/ 3599 w 10785"/>
                  <a:gd name="connsiteY1654" fmla="*/ 2658 h 10000"/>
                  <a:gd name="connsiteX1655" fmla="*/ 3590 w 10785"/>
                  <a:gd name="connsiteY1655" fmla="*/ 2667 h 10000"/>
                  <a:gd name="connsiteX1656" fmla="*/ 3604 w 10785"/>
                  <a:gd name="connsiteY1656" fmla="*/ 2667 h 10000"/>
                  <a:gd name="connsiteX1657" fmla="*/ 3613 w 10785"/>
                  <a:gd name="connsiteY1657" fmla="*/ 2692 h 10000"/>
                  <a:gd name="connsiteX1658" fmla="*/ 3627 w 10785"/>
                  <a:gd name="connsiteY1658" fmla="*/ 2735 h 10000"/>
                  <a:gd name="connsiteX1659" fmla="*/ 3631 w 10785"/>
                  <a:gd name="connsiteY1659" fmla="*/ 2744 h 10000"/>
                  <a:gd name="connsiteX1660" fmla="*/ 3659 w 10785"/>
                  <a:gd name="connsiteY1660" fmla="*/ 2761 h 10000"/>
                  <a:gd name="connsiteX1661" fmla="*/ 3673 w 10785"/>
                  <a:gd name="connsiteY1661" fmla="*/ 2769 h 10000"/>
                  <a:gd name="connsiteX1662" fmla="*/ 3673 w 10785"/>
                  <a:gd name="connsiteY1662" fmla="*/ 2761 h 10000"/>
                  <a:gd name="connsiteX1663" fmla="*/ 3687 w 10785"/>
                  <a:gd name="connsiteY1663" fmla="*/ 2829 h 10000"/>
                  <a:gd name="connsiteX1664" fmla="*/ 3677 w 10785"/>
                  <a:gd name="connsiteY1664" fmla="*/ 2897 h 10000"/>
                  <a:gd name="connsiteX1665" fmla="*/ 3673 w 10785"/>
                  <a:gd name="connsiteY1665" fmla="*/ 2915 h 10000"/>
                  <a:gd name="connsiteX1666" fmla="*/ 3664 w 10785"/>
                  <a:gd name="connsiteY1666" fmla="*/ 2957 h 10000"/>
                  <a:gd name="connsiteX1667" fmla="*/ 3659 w 10785"/>
                  <a:gd name="connsiteY1667" fmla="*/ 2983 h 10000"/>
                  <a:gd name="connsiteX1668" fmla="*/ 3664 w 10785"/>
                  <a:gd name="connsiteY1668" fmla="*/ 3017 h 10000"/>
                  <a:gd name="connsiteX1669" fmla="*/ 3659 w 10785"/>
                  <a:gd name="connsiteY1669" fmla="*/ 3043 h 10000"/>
                  <a:gd name="connsiteX1670" fmla="*/ 3677 w 10785"/>
                  <a:gd name="connsiteY1670" fmla="*/ 3094 h 10000"/>
                  <a:gd name="connsiteX1671" fmla="*/ 3691 w 10785"/>
                  <a:gd name="connsiteY1671" fmla="*/ 3282 h 10000"/>
                  <a:gd name="connsiteX1672" fmla="*/ 3691 w 10785"/>
                  <a:gd name="connsiteY1672" fmla="*/ 3308 h 10000"/>
                  <a:gd name="connsiteX1673" fmla="*/ 3677 w 10785"/>
                  <a:gd name="connsiteY1673" fmla="*/ 3342 h 10000"/>
                  <a:gd name="connsiteX1674" fmla="*/ 3664 w 10785"/>
                  <a:gd name="connsiteY1674" fmla="*/ 3342 h 10000"/>
                  <a:gd name="connsiteX1675" fmla="*/ 3650 w 10785"/>
                  <a:gd name="connsiteY1675" fmla="*/ 3342 h 10000"/>
                  <a:gd name="connsiteX1676" fmla="*/ 3650 w 10785"/>
                  <a:gd name="connsiteY1676" fmla="*/ 3350 h 10000"/>
                  <a:gd name="connsiteX1677" fmla="*/ 3659 w 10785"/>
                  <a:gd name="connsiteY1677" fmla="*/ 3402 h 10000"/>
                  <a:gd name="connsiteX1678" fmla="*/ 3659 w 10785"/>
                  <a:gd name="connsiteY1678" fmla="*/ 3419 h 10000"/>
                  <a:gd name="connsiteX1679" fmla="*/ 3631 w 10785"/>
                  <a:gd name="connsiteY1679" fmla="*/ 3402 h 10000"/>
                  <a:gd name="connsiteX1680" fmla="*/ 3604 w 10785"/>
                  <a:gd name="connsiteY1680" fmla="*/ 3393 h 10000"/>
                  <a:gd name="connsiteX1681" fmla="*/ 3599 w 10785"/>
                  <a:gd name="connsiteY1681" fmla="*/ 3368 h 10000"/>
                  <a:gd name="connsiteX1682" fmla="*/ 3590 w 10785"/>
                  <a:gd name="connsiteY1682" fmla="*/ 3239 h 10000"/>
                  <a:gd name="connsiteX1683" fmla="*/ 3599 w 10785"/>
                  <a:gd name="connsiteY1683" fmla="*/ 3179 h 10000"/>
                  <a:gd name="connsiteX1684" fmla="*/ 3599 w 10785"/>
                  <a:gd name="connsiteY1684" fmla="*/ 3171 h 10000"/>
                  <a:gd name="connsiteX1685" fmla="*/ 3599 w 10785"/>
                  <a:gd name="connsiteY1685" fmla="*/ 3009 h 10000"/>
                  <a:gd name="connsiteX1686" fmla="*/ 3604 w 10785"/>
                  <a:gd name="connsiteY1686" fmla="*/ 2983 h 10000"/>
                  <a:gd name="connsiteX1687" fmla="*/ 3645 w 10785"/>
                  <a:gd name="connsiteY1687" fmla="*/ 2932 h 10000"/>
                  <a:gd name="connsiteX1688" fmla="*/ 3650 w 10785"/>
                  <a:gd name="connsiteY1688" fmla="*/ 2872 h 10000"/>
                  <a:gd name="connsiteX1689" fmla="*/ 3659 w 10785"/>
                  <a:gd name="connsiteY1689" fmla="*/ 2855 h 10000"/>
                  <a:gd name="connsiteX1690" fmla="*/ 3659 w 10785"/>
                  <a:gd name="connsiteY1690" fmla="*/ 2821 h 10000"/>
                  <a:gd name="connsiteX1691" fmla="*/ 3631 w 10785"/>
                  <a:gd name="connsiteY1691" fmla="*/ 2795 h 10000"/>
                  <a:gd name="connsiteX1692" fmla="*/ 3567 w 10785"/>
                  <a:gd name="connsiteY1692" fmla="*/ 2821 h 10000"/>
                  <a:gd name="connsiteX1693" fmla="*/ 3544 w 10785"/>
                  <a:gd name="connsiteY1693" fmla="*/ 2795 h 10000"/>
                  <a:gd name="connsiteX1694" fmla="*/ 3530 w 10785"/>
                  <a:gd name="connsiteY1694" fmla="*/ 2769 h 10000"/>
                  <a:gd name="connsiteX1695" fmla="*/ 3530 w 10785"/>
                  <a:gd name="connsiteY1695" fmla="*/ 2786 h 10000"/>
                  <a:gd name="connsiteX1696" fmla="*/ 3498 w 10785"/>
                  <a:gd name="connsiteY1696" fmla="*/ 2692 h 10000"/>
                  <a:gd name="connsiteX1697" fmla="*/ 3498 w 10785"/>
                  <a:gd name="connsiteY1697" fmla="*/ 2667 h 10000"/>
                  <a:gd name="connsiteX1698" fmla="*/ 3442 w 10785"/>
                  <a:gd name="connsiteY1698" fmla="*/ 2607 h 10000"/>
                  <a:gd name="connsiteX1699" fmla="*/ 3433 w 10785"/>
                  <a:gd name="connsiteY1699" fmla="*/ 2581 h 10000"/>
                  <a:gd name="connsiteX1700" fmla="*/ 3396 w 10785"/>
                  <a:gd name="connsiteY1700" fmla="*/ 2556 h 10000"/>
                  <a:gd name="connsiteX1701" fmla="*/ 3318 w 10785"/>
                  <a:gd name="connsiteY1701" fmla="*/ 2556 h 10000"/>
                  <a:gd name="connsiteX1702" fmla="*/ 3304 w 10785"/>
                  <a:gd name="connsiteY1702" fmla="*/ 2607 h 10000"/>
                  <a:gd name="connsiteX1703" fmla="*/ 3276 w 10785"/>
                  <a:gd name="connsiteY1703" fmla="*/ 2632 h 10000"/>
                  <a:gd name="connsiteX1704" fmla="*/ 3272 w 10785"/>
                  <a:gd name="connsiteY1704" fmla="*/ 2667 h 10000"/>
                  <a:gd name="connsiteX1705" fmla="*/ 3304 w 10785"/>
                  <a:gd name="connsiteY1705" fmla="*/ 2667 h 10000"/>
                  <a:gd name="connsiteX1706" fmla="*/ 3323 w 10785"/>
                  <a:gd name="connsiteY1706" fmla="*/ 2692 h 10000"/>
                  <a:gd name="connsiteX1707" fmla="*/ 3318 w 10785"/>
                  <a:gd name="connsiteY1707" fmla="*/ 2735 h 10000"/>
                  <a:gd name="connsiteX1708" fmla="*/ 3304 w 10785"/>
                  <a:gd name="connsiteY1708" fmla="*/ 2761 h 10000"/>
                  <a:gd name="connsiteX1709" fmla="*/ 3276 w 10785"/>
                  <a:gd name="connsiteY1709" fmla="*/ 2769 h 10000"/>
                  <a:gd name="connsiteX1710" fmla="*/ 3263 w 10785"/>
                  <a:gd name="connsiteY1710" fmla="*/ 2795 h 10000"/>
                  <a:gd name="connsiteX1711" fmla="*/ 3235 w 10785"/>
                  <a:gd name="connsiteY1711" fmla="*/ 2803 h 10000"/>
                  <a:gd name="connsiteX1712" fmla="*/ 3235 w 10785"/>
                  <a:gd name="connsiteY1712" fmla="*/ 2786 h 10000"/>
                  <a:gd name="connsiteX1713" fmla="*/ 3212 w 10785"/>
                  <a:gd name="connsiteY1713" fmla="*/ 2709 h 10000"/>
                  <a:gd name="connsiteX1714" fmla="*/ 3198 w 10785"/>
                  <a:gd name="connsiteY1714" fmla="*/ 2709 h 10000"/>
                  <a:gd name="connsiteX1715" fmla="*/ 3184 w 10785"/>
                  <a:gd name="connsiteY1715" fmla="*/ 2735 h 10000"/>
                  <a:gd name="connsiteX1716" fmla="*/ 3189 w 10785"/>
                  <a:gd name="connsiteY1716" fmla="*/ 2761 h 10000"/>
                  <a:gd name="connsiteX1717" fmla="*/ 3203 w 10785"/>
                  <a:gd name="connsiteY1717" fmla="*/ 2855 h 10000"/>
                  <a:gd name="connsiteX1718" fmla="*/ 3212 w 10785"/>
                  <a:gd name="connsiteY1718" fmla="*/ 2872 h 10000"/>
                  <a:gd name="connsiteX1719" fmla="*/ 3235 w 10785"/>
                  <a:gd name="connsiteY1719" fmla="*/ 2906 h 10000"/>
                  <a:gd name="connsiteX1720" fmla="*/ 3258 w 10785"/>
                  <a:gd name="connsiteY1720" fmla="*/ 2915 h 10000"/>
                  <a:gd name="connsiteX1721" fmla="*/ 3272 w 10785"/>
                  <a:gd name="connsiteY1721" fmla="*/ 2957 h 10000"/>
                  <a:gd name="connsiteX1722" fmla="*/ 3276 w 10785"/>
                  <a:gd name="connsiteY1722" fmla="*/ 2957 h 10000"/>
                  <a:gd name="connsiteX1723" fmla="*/ 3286 w 10785"/>
                  <a:gd name="connsiteY1723" fmla="*/ 2966 h 10000"/>
                  <a:gd name="connsiteX1724" fmla="*/ 3300 w 10785"/>
                  <a:gd name="connsiteY1724" fmla="*/ 2957 h 10000"/>
                  <a:gd name="connsiteX1725" fmla="*/ 3309 w 10785"/>
                  <a:gd name="connsiteY1725" fmla="*/ 2932 h 10000"/>
                  <a:gd name="connsiteX1726" fmla="*/ 3304 w 10785"/>
                  <a:gd name="connsiteY1726" fmla="*/ 2966 h 10000"/>
                  <a:gd name="connsiteX1727" fmla="*/ 3309 w 10785"/>
                  <a:gd name="connsiteY1727" fmla="*/ 2983 h 10000"/>
                  <a:gd name="connsiteX1728" fmla="*/ 3323 w 10785"/>
                  <a:gd name="connsiteY1728" fmla="*/ 2966 h 10000"/>
                  <a:gd name="connsiteX1729" fmla="*/ 3323 w 10785"/>
                  <a:gd name="connsiteY1729" fmla="*/ 3043 h 10000"/>
                  <a:gd name="connsiteX1730" fmla="*/ 3346 w 10785"/>
                  <a:gd name="connsiteY1730" fmla="*/ 3068 h 10000"/>
                  <a:gd name="connsiteX1731" fmla="*/ 3346 w 10785"/>
                  <a:gd name="connsiteY1731" fmla="*/ 3094 h 10000"/>
                  <a:gd name="connsiteX1732" fmla="*/ 3323 w 10785"/>
                  <a:gd name="connsiteY1732" fmla="*/ 3094 h 10000"/>
                  <a:gd name="connsiteX1733" fmla="*/ 3309 w 10785"/>
                  <a:gd name="connsiteY1733" fmla="*/ 3077 h 10000"/>
                  <a:gd name="connsiteX1734" fmla="*/ 3304 w 10785"/>
                  <a:gd name="connsiteY1734" fmla="*/ 3051 h 10000"/>
                  <a:gd name="connsiteX1735" fmla="*/ 3300 w 10785"/>
                  <a:gd name="connsiteY1735" fmla="*/ 3043 h 10000"/>
                  <a:gd name="connsiteX1736" fmla="*/ 3286 w 10785"/>
                  <a:gd name="connsiteY1736" fmla="*/ 3017 h 10000"/>
                  <a:gd name="connsiteX1737" fmla="*/ 3152 w 10785"/>
                  <a:gd name="connsiteY1737" fmla="*/ 2966 h 10000"/>
                  <a:gd name="connsiteX1738" fmla="*/ 3129 w 10785"/>
                  <a:gd name="connsiteY1738" fmla="*/ 2915 h 10000"/>
                  <a:gd name="connsiteX1739" fmla="*/ 3129 w 10785"/>
                  <a:gd name="connsiteY1739" fmla="*/ 2906 h 10000"/>
                  <a:gd name="connsiteX1740" fmla="*/ 3152 w 10785"/>
                  <a:gd name="connsiteY1740" fmla="*/ 2906 h 10000"/>
                  <a:gd name="connsiteX1741" fmla="*/ 3152 w 10785"/>
                  <a:gd name="connsiteY1741" fmla="*/ 2846 h 10000"/>
                  <a:gd name="connsiteX1742" fmla="*/ 3138 w 10785"/>
                  <a:gd name="connsiteY1742" fmla="*/ 2795 h 10000"/>
                  <a:gd name="connsiteX1743" fmla="*/ 3138 w 10785"/>
                  <a:gd name="connsiteY1743" fmla="*/ 2769 h 10000"/>
                  <a:gd name="connsiteX1744" fmla="*/ 3143 w 10785"/>
                  <a:gd name="connsiteY1744" fmla="*/ 2718 h 10000"/>
                  <a:gd name="connsiteX1745" fmla="*/ 3129 w 10785"/>
                  <a:gd name="connsiteY1745" fmla="*/ 2692 h 10000"/>
                  <a:gd name="connsiteX1746" fmla="*/ 3143 w 10785"/>
                  <a:gd name="connsiteY1746" fmla="*/ 2667 h 10000"/>
                  <a:gd name="connsiteX1747" fmla="*/ 3157 w 10785"/>
                  <a:gd name="connsiteY1747" fmla="*/ 2581 h 10000"/>
                  <a:gd name="connsiteX1748" fmla="*/ 3143 w 10785"/>
                  <a:gd name="connsiteY1748" fmla="*/ 2496 h 10000"/>
                  <a:gd name="connsiteX1749" fmla="*/ 3157 w 10785"/>
                  <a:gd name="connsiteY1749" fmla="*/ 2487 h 10000"/>
                  <a:gd name="connsiteX1750" fmla="*/ 3143 w 10785"/>
                  <a:gd name="connsiteY1750" fmla="*/ 2444 h 10000"/>
                  <a:gd name="connsiteX1751" fmla="*/ 3143 w 10785"/>
                  <a:gd name="connsiteY1751" fmla="*/ 2419 h 10000"/>
                  <a:gd name="connsiteX1752" fmla="*/ 3143 w 10785"/>
                  <a:gd name="connsiteY1752" fmla="*/ 2410 h 10000"/>
                  <a:gd name="connsiteX1753" fmla="*/ 3124 w 10785"/>
                  <a:gd name="connsiteY1753" fmla="*/ 2376 h 10000"/>
                  <a:gd name="connsiteX1754" fmla="*/ 3115 w 10785"/>
                  <a:gd name="connsiteY1754" fmla="*/ 2350 h 10000"/>
                  <a:gd name="connsiteX1755" fmla="*/ 3101 w 10785"/>
                  <a:gd name="connsiteY1755" fmla="*/ 2359 h 10000"/>
                  <a:gd name="connsiteX1756" fmla="*/ 3115 w 10785"/>
                  <a:gd name="connsiteY1756" fmla="*/ 2581 h 10000"/>
                  <a:gd name="connsiteX1757" fmla="*/ 3111 w 10785"/>
                  <a:gd name="connsiteY1757" fmla="*/ 2624 h 10000"/>
                  <a:gd name="connsiteX1758" fmla="*/ 3009 w 10785"/>
                  <a:gd name="connsiteY1758" fmla="*/ 2761 h 10000"/>
                  <a:gd name="connsiteX1759" fmla="*/ 3009 w 10785"/>
                  <a:gd name="connsiteY1759" fmla="*/ 2803 h 10000"/>
                  <a:gd name="connsiteX1760" fmla="*/ 3005 w 10785"/>
                  <a:gd name="connsiteY1760" fmla="*/ 2829 h 10000"/>
                  <a:gd name="connsiteX1761" fmla="*/ 2982 w 10785"/>
                  <a:gd name="connsiteY1761" fmla="*/ 2872 h 10000"/>
                  <a:gd name="connsiteX1762" fmla="*/ 2982 w 10785"/>
                  <a:gd name="connsiteY1762" fmla="*/ 2880 h 10000"/>
                  <a:gd name="connsiteX1763" fmla="*/ 3037 w 10785"/>
                  <a:gd name="connsiteY1763" fmla="*/ 3034 h 10000"/>
                  <a:gd name="connsiteX1764" fmla="*/ 3041 w 10785"/>
                  <a:gd name="connsiteY1764" fmla="*/ 3103 h 10000"/>
                  <a:gd name="connsiteX1765" fmla="*/ 3069 w 10785"/>
                  <a:gd name="connsiteY1765" fmla="*/ 3188 h 10000"/>
                  <a:gd name="connsiteX1766" fmla="*/ 3055 w 10785"/>
                  <a:gd name="connsiteY1766" fmla="*/ 3325 h 10000"/>
                  <a:gd name="connsiteX1767" fmla="*/ 3037 w 10785"/>
                  <a:gd name="connsiteY1767" fmla="*/ 3368 h 10000"/>
                  <a:gd name="connsiteX1768" fmla="*/ 3037 w 10785"/>
                  <a:gd name="connsiteY1768" fmla="*/ 3444 h 10000"/>
                  <a:gd name="connsiteX1769" fmla="*/ 3028 w 10785"/>
                  <a:gd name="connsiteY1769" fmla="*/ 3453 h 10000"/>
                  <a:gd name="connsiteX1770" fmla="*/ 3023 w 10785"/>
                  <a:gd name="connsiteY1770" fmla="*/ 3530 h 10000"/>
                  <a:gd name="connsiteX1771" fmla="*/ 3051 w 10785"/>
                  <a:gd name="connsiteY1771" fmla="*/ 3624 h 10000"/>
                  <a:gd name="connsiteX1772" fmla="*/ 3037 w 10785"/>
                  <a:gd name="connsiteY1772" fmla="*/ 3718 h 10000"/>
                  <a:gd name="connsiteX1773" fmla="*/ 3041 w 10785"/>
                  <a:gd name="connsiteY1773" fmla="*/ 3752 h 10000"/>
                  <a:gd name="connsiteX1774" fmla="*/ 3055 w 10785"/>
                  <a:gd name="connsiteY1774" fmla="*/ 3761 h 10000"/>
                  <a:gd name="connsiteX1775" fmla="*/ 3078 w 10785"/>
                  <a:gd name="connsiteY1775" fmla="*/ 3752 h 10000"/>
                  <a:gd name="connsiteX1776" fmla="*/ 3092 w 10785"/>
                  <a:gd name="connsiteY1776" fmla="*/ 3752 h 10000"/>
                  <a:gd name="connsiteX1777" fmla="*/ 3129 w 10785"/>
                  <a:gd name="connsiteY1777" fmla="*/ 3761 h 10000"/>
                  <a:gd name="connsiteX1778" fmla="*/ 3129 w 10785"/>
                  <a:gd name="connsiteY1778" fmla="*/ 3735 h 10000"/>
                  <a:gd name="connsiteX1779" fmla="*/ 3157 w 10785"/>
                  <a:gd name="connsiteY1779" fmla="*/ 3718 h 10000"/>
                  <a:gd name="connsiteX1780" fmla="*/ 3184 w 10785"/>
                  <a:gd name="connsiteY1780" fmla="*/ 3718 h 10000"/>
                  <a:gd name="connsiteX1781" fmla="*/ 3290 w 10785"/>
                  <a:gd name="connsiteY1781" fmla="*/ 3838 h 10000"/>
                  <a:gd name="connsiteX1782" fmla="*/ 3300 w 10785"/>
                  <a:gd name="connsiteY1782" fmla="*/ 3846 h 10000"/>
                  <a:gd name="connsiteX1783" fmla="*/ 3300 w 10785"/>
                  <a:gd name="connsiteY1783" fmla="*/ 3915 h 10000"/>
                  <a:gd name="connsiteX1784" fmla="*/ 3318 w 10785"/>
                  <a:gd name="connsiteY1784" fmla="*/ 4000 h 10000"/>
                  <a:gd name="connsiteX1785" fmla="*/ 3323 w 10785"/>
                  <a:gd name="connsiteY1785" fmla="*/ 4000 h 10000"/>
                  <a:gd name="connsiteX1786" fmla="*/ 3323 w 10785"/>
                  <a:gd name="connsiteY1786" fmla="*/ 4034 h 10000"/>
                  <a:gd name="connsiteX1787" fmla="*/ 3318 w 10785"/>
                  <a:gd name="connsiteY1787" fmla="*/ 4051 h 10000"/>
                  <a:gd name="connsiteX1788" fmla="*/ 3300 w 10785"/>
                  <a:gd name="connsiteY1788" fmla="*/ 4051 h 10000"/>
                  <a:gd name="connsiteX1789" fmla="*/ 3290 w 10785"/>
                  <a:gd name="connsiteY1789" fmla="*/ 4077 h 10000"/>
                  <a:gd name="connsiteX1790" fmla="*/ 3286 w 10785"/>
                  <a:gd name="connsiteY1790" fmla="*/ 4103 h 10000"/>
                  <a:gd name="connsiteX1791" fmla="*/ 3286 w 10785"/>
                  <a:gd name="connsiteY1791" fmla="*/ 4197 h 10000"/>
                  <a:gd name="connsiteX1792" fmla="*/ 3290 w 10785"/>
                  <a:gd name="connsiteY1792" fmla="*/ 4214 h 10000"/>
                  <a:gd name="connsiteX1793" fmla="*/ 3304 w 10785"/>
                  <a:gd name="connsiteY1793" fmla="*/ 4214 h 10000"/>
                  <a:gd name="connsiteX1794" fmla="*/ 3323 w 10785"/>
                  <a:gd name="connsiteY1794" fmla="*/ 4239 h 10000"/>
                  <a:gd name="connsiteX1795" fmla="*/ 3350 w 10785"/>
                  <a:gd name="connsiteY1795" fmla="*/ 4222 h 10000"/>
                  <a:gd name="connsiteX1796" fmla="*/ 3369 w 10785"/>
                  <a:gd name="connsiteY1796" fmla="*/ 4256 h 10000"/>
                  <a:gd name="connsiteX1797" fmla="*/ 3369 w 10785"/>
                  <a:gd name="connsiteY1797" fmla="*/ 4256 h 10000"/>
                  <a:gd name="connsiteX1798" fmla="*/ 3336 w 10785"/>
                  <a:gd name="connsiteY1798" fmla="*/ 4274 h 10000"/>
                  <a:gd name="connsiteX1799" fmla="*/ 3323 w 10785"/>
                  <a:gd name="connsiteY1799" fmla="*/ 4274 h 10000"/>
                  <a:gd name="connsiteX1800" fmla="*/ 3290 w 10785"/>
                  <a:gd name="connsiteY1800" fmla="*/ 4274 h 10000"/>
                  <a:gd name="connsiteX1801" fmla="*/ 3286 w 10785"/>
                  <a:gd name="connsiteY1801" fmla="*/ 4239 h 10000"/>
                  <a:gd name="connsiteX1802" fmla="*/ 3263 w 10785"/>
                  <a:gd name="connsiteY1802" fmla="*/ 4214 h 10000"/>
                  <a:gd name="connsiteX1803" fmla="*/ 3258 w 10785"/>
                  <a:gd name="connsiteY1803" fmla="*/ 4188 h 10000"/>
                  <a:gd name="connsiteX1804" fmla="*/ 3263 w 10785"/>
                  <a:gd name="connsiteY1804" fmla="*/ 4171 h 10000"/>
                  <a:gd name="connsiteX1805" fmla="*/ 3263 w 10785"/>
                  <a:gd name="connsiteY1805" fmla="*/ 4103 h 10000"/>
                  <a:gd name="connsiteX1806" fmla="*/ 3276 w 10785"/>
                  <a:gd name="connsiteY1806" fmla="*/ 4060 h 10000"/>
                  <a:gd name="connsiteX1807" fmla="*/ 3272 w 10785"/>
                  <a:gd name="connsiteY1807" fmla="*/ 4051 h 10000"/>
                  <a:gd name="connsiteX1808" fmla="*/ 3263 w 10785"/>
                  <a:gd name="connsiteY1808" fmla="*/ 4051 h 10000"/>
                  <a:gd name="connsiteX1809" fmla="*/ 3263 w 10785"/>
                  <a:gd name="connsiteY1809" fmla="*/ 4034 h 10000"/>
                  <a:gd name="connsiteX1810" fmla="*/ 3263 w 10785"/>
                  <a:gd name="connsiteY1810" fmla="*/ 4000 h 10000"/>
                  <a:gd name="connsiteX1811" fmla="*/ 3272 w 10785"/>
                  <a:gd name="connsiteY1811" fmla="*/ 4000 h 10000"/>
                  <a:gd name="connsiteX1812" fmla="*/ 3272 w 10785"/>
                  <a:gd name="connsiteY1812" fmla="*/ 3974 h 10000"/>
                  <a:gd name="connsiteX1813" fmla="*/ 3272 w 10785"/>
                  <a:gd name="connsiteY1813" fmla="*/ 3966 h 10000"/>
                  <a:gd name="connsiteX1814" fmla="*/ 3272 w 10785"/>
                  <a:gd name="connsiteY1814" fmla="*/ 3949 h 10000"/>
                  <a:gd name="connsiteX1815" fmla="*/ 3258 w 10785"/>
                  <a:gd name="connsiteY1815" fmla="*/ 3923 h 10000"/>
                  <a:gd name="connsiteX1816" fmla="*/ 3249 w 10785"/>
                  <a:gd name="connsiteY1816" fmla="*/ 3915 h 10000"/>
                  <a:gd name="connsiteX1817" fmla="*/ 3244 w 10785"/>
                  <a:gd name="connsiteY1817" fmla="*/ 3897 h 10000"/>
                  <a:gd name="connsiteX1818" fmla="*/ 3230 w 10785"/>
                  <a:gd name="connsiteY1818" fmla="*/ 3889 h 10000"/>
                  <a:gd name="connsiteX1819" fmla="*/ 3230 w 10785"/>
                  <a:gd name="connsiteY1819" fmla="*/ 3863 h 10000"/>
                  <a:gd name="connsiteX1820" fmla="*/ 3230 w 10785"/>
                  <a:gd name="connsiteY1820" fmla="*/ 3838 h 10000"/>
                  <a:gd name="connsiteX1821" fmla="*/ 3226 w 10785"/>
                  <a:gd name="connsiteY1821" fmla="*/ 3803 h 10000"/>
                  <a:gd name="connsiteX1822" fmla="*/ 3138 w 10785"/>
                  <a:gd name="connsiteY1822" fmla="*/ 3838 h 10000"/>
                  <a:gd name="connsiteX1823" fmla="*/ 3078 w 10785"/>
                  <a:gd name="connsiteY1823" fmla="*/ 3889 h 10000"/>
                  <a:gd name="connsiteX1824" fmla="*/ 3078 w 10785"/>
                  <a:gd name="connsiteY1824" fmla="*/ 3940 h 10000"/>
                  <a:gd name="connsiteX1825" fmla="*/ 3069 w 10785"/>
                  <a:gd name="connsiteY1825" fmla="*/ 3983 h 10000"/>
                  <a:gd name="connsiteX1826" fmla="*/ 3069 w 10785"/>
                  <a:gd name="connsiteY1826" fmla="*/ 4009 h 10000"/>
                  <a:gd name="connsiteX1827" fmla="*/ 3078 w 10785"/>
                  <a:gd name="connsiteY1827" fmla="*/ 4026 h 10000"/>
                  <a:gd name="connsiteX1828" fmla="*/ 3083 w 10785"/>
                  <a:gd name="connsiteY1828" fmla="*/ 4034 h 10000"/>
                  <a:gd name="connsiteX1829" fmla="*/ 3092 w 10785"/>
                  <a:gd name="connsiteY1829" fmla="*/ 4060 h 10000"/>
                  <a:gd name="connsiteX1830" fmla="*/ 3092 w 10785"/>
                  <a:gd name="connsiteY1830" fmla="*/ 4077 h 10000"/>
                  <a:gd name="connsiteX1831" fmla="*/ 3097 w 10785"/>
                  <a:gd name="connsiteY1831" fmla="*/ 4103 h 10000"/>
                  <a:gd name="connsiteX1832" fmla="*/ 3101 w 10785"/>
                  <a:gd name="connsiteY1832" fmla="*/ 4162 h 10000"/>
                  <a:gd name="connsiteX1833" fmla="*/ 3097 w 10785"/>
                  <a:gd name="connsiteY1833" fmla="*/ 4222 h 10000"/>
                  <a:gd name="connsiteX1834" fmla="*/ 3041 w 10785"/>
                  <a:gd name="connsiteY1834" fmla="*/ 4325 h 10000"/>
                  <a:gd name="connsiteX1835" fmla="*/ 3037 w 10785"/>
                  <a:gd name="connsiteY1835" fmla="*/ 4419 h 10000"/>
                  <a:gd name="connsiteX1836" fmla="*/ 3018 w 10785"/>
                  <a:gd name="connsiteY1836" fmla="*/ 4470 h 10000"/>
                  <a:gd name="connsiteX1837" fmla="*/ 2991 w 10785"/>
                  <a:gd name="connsiteY1837" fmla="*/ 4513 h 10000"/>
                  <a:gd name="connsiteX1838" fmla="*/ 2977 w 10785"/>
                  <a:gd name="connsiteY1838" fmla="*/ 4530 h 10000"/>
                  <a:gd name="connsiteX1839" fmla="*/ 2945 w 10785"/>
                  <a:gd name="connsiteY1839" fmla="*/ 4556 h 10000"/>
                  <a:gd name="connsiteX1840" fmla="*/ 2935 w 10785"/>
                  <a:gd name="connsiteY1840" fmla="*/ 4581 h 10000"/>
                  <a:gd name="connsiteX1841" fmla="*/ 2949 w 10785"/>
                  <a:gd name="connsiteY1841" fmla="*/ 4624 h 10000"/>
                  <a:gd name="connsiteX1842" fmla="*/ 2945 w 10785"/>
                  <a:gd name="connsiteY1842" fmla="*/ 4658 h 10000"/>
                  <a:gd name="connsiteX1843" fmla="*/ 2922 w 10785"/>
                  <a:gd name="connsiteY1843" fmla="*/ 4667 h 10000"/>
                  <a:gd name="connsiteX1844" fmla="*/ 2876 w 10785"/>
                  <a:gd name="connsiteY1844" fmla="*/ 4632 h 10000"/>
                  <a:gd name="connsiteX1845" fmla="*/ 2857 w 10785"/>
                  <a:gd name="connsiteY1845" fmla="*/ 4632 h 10000"/>
                  <a:gd name="connsiteX1846" fmla="*/ 2820 w 10785"/>
                  <a:gd name="connsiteY1846" fmla="*/ 4641 h 10000"/>
                  <a:gd name="connsiteX1847" fmla="*/ 2797 w 10785"/>
                  <a:gd name="connsiteY1847" fmla="*/ 4632 h 10000"/>
                  <a:gd name="connsiteX1848" fmla="*/ 2788 w 10785"/>
                  <a:gd name="connsiteY1848" fmla="*/ 4624 h 10000"/>
                  <a:gd name="connsiteX1849" fmla="*/ 2788 w 10785"/>
                  <a:gd name="connsiteY1849" fmla="*/ 4598 h 10000"/>
                  <a:gd name="connsiteX1850" fmla="*/ 2797 w 10785"/>
                  <a:gd name="connsiteY1850" fmla="*/ 4581 h 10000"/>
                  <a:gd name="connsiteX1851" fmla="*/ 2788 w 10785"/>
                  <a:gd name="connsiteY1851" fmla="*/ 4530 h 10000"/>
                  <a:gd name="connsiteX1852" fmla="*/ 2774 w 10785"/>
                  <a:gd name="connsiteY1852" fmla="*/ 4530 h 10000"/>
                  <a:gd name="connsiteX1853" fmla="*/ 2770 w 10785"/>
                  <a:gd name="connsiteY1853" fmla="*/ 4513 h 10000"/>
                  <a:gd name="connsiteX1854" fmla="*/ 2774 w 10785"/>
                  <a:gd name="connsiteY1854" fmla="*/ 4513 h 10000"/>
                  <a:gd name="connsiteX1855" fmla="*/ 2788 w 10785"/>
                  <a:gd name="connsiteY1855" fmla="*/ 4496 h 10000"/>
                  <a:gd name="connsiteX1856" fmla="*/ 2802 w 10785"/>
                  <a:gd name="connsiteY1856" fmla="*/ 4513 h 10000"/>
                  <a:gd name="connsiteX1857" fmla="*/ 2811 w 10785"/>
                  <a:gd name="connsiteY1857" fmla="*/ 4530 h 10000"/>
                  <a:gd name="connsiteX1858" fmla="*/ 2820 w 10785"/>
                  <a:gd name="connsiteY1858" fmla="*/ 4521 h 10000"/>
                  <a:gd name="connsiteX1859" fmla="*/ 2829 w 10785"/>
                  <a:gd name="connsiteY1859" fmla="*/ 4513 h 10000"/>
                  <a:gd name="connsiteX1860" fmla="*/ 2843 w 10785"/>
                  <a:gd name="connsiteY1860" fmla="*/ 4513 h 10000"/>
                  <a:gd name="connsiteX1861" fmla="*/ 2848 w 10785"/>
                  <a:gd name="connsiteY1861" fmla="*/ 4470 h 10000"/>
                  <a:gd name="connsiteX1862" fmla="*/ 2862 w 10785"/>
                  <a:gd name="connsiteY1862" fmla="*/ 4487 h 10000"/>
                  <a:gd name="connsiteX1863" fmla="*/ 2876 w 10785"/>
                  <a:gd name="connsiteY1863" fmla="*/ 4470 h 10000"/>
                  <a:gd name="connsiteX1864" fmla="*/ 2880 w 10785"/>
                  <a:gd name="connsiteY1864" fmla="*/ 4462 h 10000"/>
                  <a:gd name="connsiteX1865" fmla="*/ 2889 w 10785"/>
                  <a:gd name="connsiteY1865" fmla="*/ 4444 h 10000"/>
                  <a:gd name="connsiteX1866" fmla="*/ 2894 w 10785"/>
                  <a:gd name="connsiteY1866" fmla="*/ 4462 h 10000"/>
                  <a:gd name="connsiteX1867" fmla="*/ 2917 w 10785"/>
                  <a:gd name="connsiteY1867" fmla="*/ 4444 h 10000"/>
                  <a:gd name="connsiteX1868" fmla="*/ 2922 w 10785"/>
                  <a:gd name="connsiteY1868" fmla="*/ 4436 h 10000"/>
                  <a:gd name="connsiteX1869" fmla="*/ 2917 w 10785"/>
                  <a:gd name="connsiteY1869" fmla="*/ 4410 h 10000"/>
                  <a:gd name="connsiteX1870" fmla="*/ 2894 w 10785"/>
                  <a:gd name="connsiteY1870" fmla="*/ 4410 h 10000"/>
                  <a:gd name="connsiteX1871" fmla="*/ 2889 w 10785"/>
                  <a:gd name="connsiteY1871" fmla="*/ 4419 h 10000"/>
                  <a:gd name="connsiteX1872" fmla="*/ 2876 w 10785"/>
                  <a:gd name="connsiteY1872" fmla="*/ 4410 h 10000"/>
                  <a:gd name="connsiteX1873" fmla="*/ 2880 w 10785"/>
                  <a:gd name="connsiteY1873" fmla="*/ 4376 h 10000"/>
                  <a:gd name="connsiteX1874" fmla="*/ 2903 w 10785"/>
                  <a:gd name="connsiteY1874" fmla="*/ 4393 h 10000"/>
                  <a:gd name="connsiteX1875" fmla="*/ 2931 w 10785"/>
                  <a:gd name="connsiteY1875" fmla="*/ 4393 h 10000"/>
                  <a:gd name="connsiteX1876" fmla="*/ 2931 w 10785"/>
                  <a:gd name="connsiteY1876" fmla="*/ 4385 h 10000"/>
                  <a:gd name="connsiteX1877" fmla="*/ 2931 w 10785"/>
                  <a:gd name="connsiteY1877" fmla="*/ 4350 h 10000"/>
                  <a:gd name="connsiteX1878" fmla="*/ 2945 w 10785"/>
                  <a:gd name="connsiteY1878" fmla="*/ 4350 h 10000"/>
                  <a:gd name="connsiteX1879" fmla="*/ 2949 w 10785"/>
                  <a:gd name="connsiteY1879" fmla="*/ 4325 h 10000"/>
                  <a:gd name="connsiteX1880" fmla="*/ 2963 w 10785"/>
                  <a:gd name="connsiteY1880" fmla="*/ 4256 h 10000"/>
                  <a:gd name="connsiteX1881" fmla="*/ 2982 w 10785"/>
                  <a:gd name="connsiteY1881" fmla="*/ 4239 h 10000"/>
                  <a:gd name="connsiteX1882" fmla="*/ 2991 w 10785"/>
                  <a:gd name="connsiteY1882" fmla="*/ 4214 h 10000"/>
                  <a:gd name="connsiteX1883" fmla="*/ 2991 w 10785"/>
                  <a:gd name="connsiteY1883" fmla="*/ 4197 h 10000"/>
                  <a:gd name="connsiteX1884" fmla="*/ 2995 w 10785"/>
                  <a:gd name="connsiteY1884" fmla="*/ 4171 h 10000"/>
                  <a:gd name="connsiteX1885" fmla="*/ 2991 w 10785"/>
                  <a:gd name="connsiteY1885" fmla="*/ 4077 h 10000"/>
                  <a:gd name="connsiteX1886" fmla="*/ 2995 w 10785"/>
                  <a:gd name="connsiteY1886" fmla="*/ 4034 h 10000"/>
                  <a:gd name="connsiteX1887" fmla="*/ 3018 w 10785"/>
                  <a:gd name="connsiteY1887" fmla="*/ 3983 h 10000"/>
                  <a:gd name="connsiteX1888" fmla="*/ 3018 w 10785"/>
                  <a:gd name="connsiteY1888" fmla="*/ 3915 h 10000"/>
                  <a:gd name="connsiteX1889" fmla="*/ 2949 w 10785"/>
                  <a:gd name="connsiteY1889" fmla="*/ 3778 h 10000"/>
                  <a:gd name="connsiteX1890" fmla="*/ 2954 w 10785"/>
                  <a:gd name="connsiteY1890" fmla="*/ 3675 h 10000"/>
                  <a:gd name="connsiteX1891" fmla="*/ 2954 w 10785"/>
                  <a:gd name="connsiteY1891" fmla="*/ 3650 h 10000"/>
                  <a:gd name="connsiteX1892" fmla="*/ 2963 w 10785"/>
                  <a:gd name="connsiteY1892" fmla="*/ 3624 h 10000"/>
                  <a:gd name="connsiteX1893" fmla="*/ 2954 w 10785"/>
                  <a:gd name="connsiteY1893" fmla="*/ 3564 h 10000"/>
                  <a:gd name="connsiteX1894" fmla="*/ 2963 w 10785"/>
                  <a:gd name="connsiteY1894" fmla="*/ 3538 h 10000"/>
                  <a:gd name="connsiteX1895" fmla="*/ 2963 w 10785"/>
                  <a:gd name="connsiteY1895" fmla="*/ 3487 h 10000"/>
                  <a:gd name="connsiteX1896" fmla="*/ 2963 w 10785"/>
                  <a:gd name="connsiteY1896" fmla="*/ 3479 h 10000"/>
                  <a:gd name="connsiteX1897" fmla="*/ 2963 w 10785"/>
                  <a:gd name="connsiteY1897" fmla="*/ 3462 h 10000"/>
                  <a:gd name="connsiteX1898" fmla="*/ 2954 w 10785"/>
                  <a:gd name="connsiteY1898" fmla="*/ 3453 h 10000"/>
                  <a:gd name="connsiteX1899" fmla="*/ 2954 w 10785"/>
                  <a:gd name="connsiteY1899" fmla="*/ 3444 h 10000"/>
                  <a:gd name="connsiteX1900" fmla="*/ 2954 w 10785"/>
                  <a:gd name="connsiteY1900" fmla="*/ 3402 h 10000"/>
                  <a:gd name="connsiteX1901" fmla="*/ 2954 w 10785"/>
                  <a:gd name="connsiteY1901" fmla="*/ 3393 h 10000"/>
                  <a:gd name="connsiteX1902" fmla="*/ 2949 w 10785"/>
                  <a:gd name="connsiteY1902" fmla="*/ 3376 h 10000"/>
                  <a:gd name="connsiteX1903" fmla="*/ 2949 w 10785"/>
                  <a:gd name="connsiteY1903" fmla="*/ 3342 h 10000"/>
                  <a:gd name="connsiteX1904" fmla="*/ 2949 w 10785"/>
                  <a:gd name="connsiteY1904" fmla="*/ 3316 h 10000"/>
                  <a:gd name="connsiteX1905" fmla="*/ 2968 w 10785"/>
                  <a:gd name="connsiteY1905" fmla="*/ 3291 h 10000"/>
                  <a:gd name="connsiteX1906" fmla="*/ 2963 w 10785"/>
                  <a:gd name="connsiteY1906" fmla="*/ 3205 h 10000"/>
                  <a:gd name="connsiteX1907" fmla="*/ 2968 w 10785"/>
                  <a:gd name="connsiteY1907" fmla="*/ 3171 h 10000"/>
                  <a:gd name="connsiteX1908" fmla="*/ 2968 w 10785"/>
                  <a:gd name="connsiteY1908" fmla="*/ 3128 h 10000"/>
                  <a:gd name="connsiteX1909" fmla="*/ 2954 w 10785"/>
                  <a:gd name="connsiteY1909" fmla="*/ 3051 h 10000"/>
                  <a:gd name="connsiteX1910" fmla="*/ 2954 w 10785"/>
                  <a:gd name="connsiteY1910" fmla="*/ 3009 h 10000"/>
                  <a:gd name="connsiteX1911" fmla="*/ 2922 w 10785"/>
                  <a:gd name="connsiteY1911" fmla="*/ 2940 h 10000"/>
                  <a:gd name="connsiteX1912" fmla="*/ 2903 w 10785"/>
                  <a:gd name="connsiteY1912" fmla="*/ 2880 h 10000"/>
                  <a:gd name="connsiteX1913" fmla="*/ 2903 w 10785"/>
                  <a:gd name="connsiteY1913" fmla="*/ 2855 h 10000"/>
                  <a:gd name="connsiteX1914" fmla="*/ 2908 w 10785"/>
                  <a:gd name="connsiteY1914" fmla="*/ 2846 h 10000"/>
                  <a:gd name="connsiteX1915" fmla="*/ 2931 w 10785"/>
                  <a:gd name="connsiteY1915" fmla="*/ 2821 h 10000"/>
                  <a:gd name="connsiteX1916" fmla="*/ 2931 w 10785"/>
                  <a:gd name="connsiteY1916" fmla="*/ 2803 h 10000"/>
                  <a:gd name="connsiteX1917" fmla="*/ 2935 w 10785"/>
                  <a:gd name="connsiteY1917" fmla="*/ 2786 h 10000"/>
                  <a:gd name="connsiteX1918" fmla="*/ 2935 w 10785"/>
                  <a:gd name="connsiteY1918" fmla="*/ 2744 h 10000"/>
                  <a:gd name="connsiteX1919" fmla="*/ 2963 w 10785"/>
                  <a:gd name="connsiteY1919" fmla="*/ 2607 h 10000"/>
                  <a:gd name="connsiteX1920" fmla="*/ 2963 w 10785"/>
                  <a:gd name="connsiteY1920" fmla="*/ 2419 h 10000"/>
                  <a:gd name="connsiteX1921" fmla="*/ 2954 w 10785"/>
                  <a:gd name="connsiteY1921" fmla="*/ 2410 h 10000"/>
                  <a:gd name="connsiteX1922" fmla="*/ 2963 w 10785"/>
                  <a:gd name="connsiteY1922" fmla="*/ 2393 h 10000"/>
                  <a:gd name="connsiteX1923" fmla="*/ 2908 w 10785"/>
                  <a:gd name="connsiteY1923" fmla="*/ 2359 h 10000"/>
                  <a:gd name="connsiteX1924" fmla="*/ 2889 w 10785"/>
                  <a:gd name="connsiteY1924" fmla="*/ 2325 h 10000"/>
                  <a:gd name="connsiteX1925" fmla="*/ 2788 w 10785"/>
                  <a:gd name="connsiteY1925" fmla="*/ 2333 h 10000"/>
                  <a:gd name="connsiteX1926" fmla="*/ 2774 w 10785"/>
                  <a:gd name="connsiteY1926" fmla="*/ 2325 h 10000"/>
                  <a:gd name="connsiteX1927" fmla="*/ 2783 w 10785"/>
                  <a:gd name="connsiteY1927" fmla="*/ 2308 h 10000"/>
                  <a:gd name="connsiteX1928" fmla="*/ 2747 w 10785"/>
                  <a:gd name="connsiteY1928" fmla="*/ 2308 h 10000"/>
                  <a:gd name="connsiteX1929" fmla="*/ 2742 w 10785"/>
                  <a:gd name="connsiteY1929" fmla="*/ 2333 h 10000"/>
                  <a:gd name="connsiteX1930" fmla="*/ 2682 w 10785"/>
                  <a:gd name="connsiteY1930" fmla="*/ 2769 h 10000"/>
                  <a:gd name="connsiteX1931" fmla="*/ 2613 w 10785"/>
                  <a:gd name="connsiteY1931" fmla="*/ 2940 h 10000"/>
                  <a:gd name="connsiteX1932" fmla="*/ 2581 w 10785"/>
                  <a:gd name="connsiteY1932" fmla="*/ 2966 h 10000"/>
                  <a:gd name="connsiteX1933" fmla="*/ 2576 w 10785"/>
                  <a:gd name="connsiteY1933" fmla="*/ 3051 h 10000"/>
                  <a:gd name="connsiteX1934" fmla="*/ 2581 w 10785"/>
                  <a:gd name="connsiteY1934" fmla="*/ 3051 h 10000"/>
                  <a:gd name="connsiteX1935" fmla="*/ 2594 w 10785"/>
                  <a:gd name="connsiteY1935" fmla="*/ 3017 h 10000"/>
                  <a:gd name="connsiteX1936" fmla="*/ 2594 w 10785"/>
                  <a:gd name="connsiteY1936" fmla="*/ 3034 h 10000"/>
                  <a:gd name="connsiteX1937" fmla="*/ 2594 w 10785"/>
                  <a:gd name="connsiteY1937" fmla="*/ 3051 h 10000"/>
                  <a:gd name="connsiteX1938" fmla="*/ 2590 w 10785"/>
                  <a:gd name="connsiteY1938" fmla="*/ 3077 h 10000"/>
                  <a:gd name="connsiteX1939" fmla="*/ 2567 w 10785"/>
                  <a:gd name="connsiteY1939" fmla="*/ 3103 h 10000"/>
                  <a:gd name="connsiteX1940" fmla="*/ 2562 w 10785"/>
                  <a:gd name="connsiteY1940" fmla="*/ 3145 h 10000"/>
                  <a:gd name="connsiteX1941" fmla="*/ 2567 w 10785"/>
                  <a:gd name="connsiteY1941" fmla="*/ 3179 h 10000"/>
                  <a:gd name="connsiteX1942" fmla="*/ 2590 w 10785"/>
                  <a:gd name="connsiteY1942" fmla="*/ 3171 h 10000"/>
                  <a:gd name="connsiteX1943" fmla="*/ 2594 w 10785"/>
                  <a:gd name="connsiteY1943" fmla="*/ 3145 h 10000"/>
                  <a:gd name="connsiteX1944" fmla="*/ 2613 w 10785"/>
                  <a:gd name="connsiteY1944" fmla="*/ 3154 h 10000"/>
                  <a:gd name="connsiteX1945" fmla="*/ 2622 w 10785"/>
                  <a:gd name="connsiteY1945" fmla="*/ 3179 h 10000"/>
                  <a:gd name="connsiteX1946" fmla="*/ 2613 w 10785"/>
                  <a:gd name="connsiteY1946" fmla="*/ 3214 h 10000"/>
                  <a:gd name="connsiteX1947" fmla="*/ 2613 w 10785"/>
                  <a:gd name="connsiteY1947" fmla="*/ 3308 h 10000"/>
                  <a:gd name="connsiteX1948" fmla="*/ 2608 w 10785"/>
                  <a:gd name="connsiteY1948" fmla="*/ 3325 h 10000"/>
                  <a:gd name="connsiteX1949" fmla="*/ 2608 w 10785"/>
                  <a:gd name="connsiteY1949" fmla="*/ 3376 h 10000"/>
                  <a:gd name="connsiteX1950" fmla="*/ 2613 w 10785"/>
                  <a:gd name="connsiteY1950" fmla="*/ 3419 h 10000"/>
                  <a:gd name="connsiteX1951" fmla="*/ 2608 w 10785"/>
                  <a:gd name="connsiteY1951" fmla="*/ 3444 h 10000"/>
                  <a:gd name="connsiteX1952" fmla="*/ 2594 w 10785"/>
                  <a:gd name="connsiteY1952" fmla="*/ 3444 h 10000"/>
                  <a:gd name="connsiteX1953" fmla="*/ 2590 w 10785"/>
                  <a:gd name="connsiteY1953" fmla="*/ 3427 h 10000"/>
                  <a:gd name="connsiteX1954" fmla="*/ 2581 w 10785"/>
                  <a:gd name="connsiteY1954" fmla="*/ 3564 h 10000"/>
                  <a:gd name="connsiteX1955" fmla="*/ 2594 w 10785"/>
                  <a:gd name="connsiteY1955" fmla="*/ 3598 h 10000"/>
                  <a:gd name="connsiteX1956" fmla="*/ 2594 w 10785"/>
                  <a:gd name="connsiteY1956" fmla="*/ 3581 h 10000"/>
                  <a:gd name="connsiteX1957" fmla="*/ 2608 w 10785"/>
                  <a:gd name="connsiteY1957" fmla="*/ 3556 h 10000"/>
                  <a:gd name="connsiteX1958" fmla="*/ 2650 w 10785"/>
                  <a:gd name="connsiteY1958" fmla="*/ 3615 h 10000"/>
                  <a:gd name="connsiteX1959" fmla="*/ 2664 w 10785"/>
                  <a:gd name="connsiteY1959" fmla="*/ 3615 h 10000"/>
                  <a:gd name="connsiteX1960" fmla="*/ 2668 w 10785"/>
                  <a:gd name="connsiteY1960" fmla="*/ 3615 h 10000"/>
                  <a:gd name="connsiteX1961" fmla="*/ 2664 w 10785"/>
                  <a:gd name="connsiteY1961" fmla="*/ 3667 h 10000"/>
                  <a:gd name="connsiteX1962" fmla="*/ 2687 w 10785"/>
                  <a:gd name="connsiteY1962" fmla="*/ 3786 h 10000"/>
                  <a:gd name="connsiteX1963" fmla="*/ 2710 w 10785"/>
                  <a:gd name="connsiteY1963" fmla="*/ 3812 h 10000"/>
                  <a:gd name="connsiteX1964" fmla="*/ 2724 w 10785"/>
                  <a:gd name="connsiteY1964" fmla="*/ 3812 h 10000"/>
                  <a:gd name="connsiteX1965" fmla="*/ 2724 w 10785"/>
                  <a:gd name="connsiteY1965" fmla="*/ 3829 h 10000"/>
                  <a:gd name="connsiteX1966" fmla="*/ 2737 w 10785"/>
                  <a:gd name="connsiteY1966" fmla="*/ 3838 h 10000"/>
                  <a:gd name="connsiteX1967" fmla="*/ 2714 w 10785"/>
                  <a:gd name="connsiteY1967" fmla="*/ 3872 h 10000"/>
                  <a:gd name="connsiteX1968" fmla="*/ 2696 w 10785"/>
                  <a:gd name="connsiteY1968" fmla="*/ 4026 h 10000"/>
                  <a:gd name="connsiteX1969" fmla="*/ 2673 w 10785"/>
                  <a:gd name="connsiteY1969" fmla="*/ 4051 h 10000"/>
                  <a:gd name="connsiteX1970" fmla="*/ 2668 w 10785"/>
                  <a:gd name="connsiteY1970" fmla="*/ 4034 h 10000"/>
                  <a:gd name="connsiteX1971" fmla="*/ 2673 w 10785"/>
                  <a:gd name="connsiteY1971" fmla="*/ 4000 h 10000"/>
                  <a:gd name="connsiteX1972" fmla="*/ 2664 w 10785"/>
                  <a:gd name="connsiteY1972" fmla="*/ 3974 h 10000"/>
                  <a:gd name="connsiteX1973" fmla="*/ 2636 w 10785"/>
                  <a:gd name="connsiteY1973" fmla="*/ 3949 h 10000"/>
                  <a:gd name="connsiteX1974" fmla="*/ 2581 w 10785"/>
                  <a:gd name="connsiteY1974" fmla="*/ 3838 h 10000"/>
                  <a:gd name="connsiteX1975" fmla="*/ 2562 w 10785"/>
                  <a:gd name="connsiteY1975" fmla="*/ 3829 h 10000"/>
                  <a:gd name="connsiteX1976" fmla="*/ 2535 w 10785"/>
                  <a:gd name="connsiteY1976" fmla="*/ 3778 h 10000"/>
                  <a:gd name="connsiteX1977" fmla="*/ 2502 w 10785"/>
                  <a:gd name="connsiteY1977" fmla="*/ 3761 h 10000"/>
                  <a:gd name="connsiteX1978" fmla="*/ 2502 w 10785"/>
                  <a:gd name="connsiteY1978" fmla="*/ 3735 h 10000"/>
                  <a:gd name="connsiteX1979" fmla="*/ 2516 w 10785"/>
                  <a:gd name="connsiteY1979" fmla="*/ 3735 h 10000"/>
                  <a:gd name="connsiteX1980" fmla="*/ 2507 w 10785"/>
                  <a:gd name="connsiteY1980" fmla="*/ 3726 h 10000"/>
                  <a:gd name="connsiteX1981" fmla="*/ 2488 w 10785"/>
                  <a:gd name="connsiteY1981" fmla="*/ 3726 h 10000"/>
                  <a:gd name="connsiteX1982" fmla="*/ 2461 w 10785"/>
                  <a:gd name="connsiteY1982" fmla="*/ 3692 h 10000"/>
                  <a:gd name="connsiteX1983" fmla="*/ 2442 w 10785"/>
                  <a:gd name="connsiteY1983" fmla="*/ 3675 h 10000"/>
                  <a:gd name="connsiteX1984" fmla="*/ 2406 w 10785"/>
                  <a:gd name="connsiteY1984" fmla="*/ 3598 h 10000"/>
                  <a:gd name="connsiteX1985" fmla="*/ 2346 w 10785"/>
                  <a:gd name="connsiteY1985" fmla="*/ 3564 h 10000"/>
                  <a:gd name="connsiteX1986" fmla="*/ 2341 w 10785"/>
                  <a:gd name="connsiteY1986" fmla="*/ 3564 h 10000"/>
                  <a:gd name="connsiteX1987" fmla="*/ 2313 w 10785"/>
                  <a:gd name="connsiteY1987" fmla="*/ 3530 h 10000"/>
                  <a:gd name="connsiteX1988" fmla="*/ 2235 w 10785"/>
                  <a:gd name="connsiteY1988" fmla="*/ 3530 h 10000"/>
                  <a:gd name="connsiteX1989" fmla="*/ 2226 w 10785"/>
                  <a:gd name="connsiteY1989" fmla="*/ 3513 h 10000"/>
                  <a:gd name="connsiteX1990" fmla="*/ 2207 w 10785"/>
                  <a:gd name="connsiteY1990" fmla="*/ 3504 h 10000"/>
                  <a:gd name="connsiteX1991" fmla="*/ 2194 w 10785"/>
                  <a:gd name="connsiteY1991" fmla="*/ 3504 h 10000"/>
                  <a:gd name="connsiteX1992" fmla="*/ 2189 w 10785"/>
                  <a:gd name="connsiteY1992" fmla="*/ 3504 h 10000"/>
                  <a:gd name="connsiteX1993" fmla="*/ 2189 w 10785"/>
                  <a:gd name="connsiteY1993" fmla="*/ 3530 h 10000"/>
                  <a:gd name="connsiteX1994" fmla="*/ 2180 w 10785"/>
                  <a:gd name="connsiteY1994" fmla="*/ 3538 h 10000"/>
                  <a:gd name="connsiteX1995" fmla="*/ 2152 w 10785"/>
                  <a:gd name="connsiteY1995" fmla="*/ 3581 h 10000"/>
                  <a:gd name="connsiteX1996" fmla="*/ 2161 w 10785"/>
                  <a:gd name="connsiteY1996" fmla="*/ 3598 h 10000"/>
                  <a:gd name="connsiteX1997" fmla="*/ 2194 w 10785"/>
                  <a:gd name="connsiteY1997" fmla="*/ 3752 h 10000"/>
                  <a:gd name="connsiteX1998" fmla="*/ 2194 w 10785"/>
                  <a:gd name="connsiteY1998" fmla="*/ 3735 h 10000"/>
                  <a:gd name="connsiteX1999" fmla="*/ 2198 w 10785"/>
                  <a:gd name="connsiteY1999" fmla="*/ 3735 h 10000"/>
                  <a:gd name="connsiteX2000" fmla="*/ 2189 w 10785"/>
                  <a:gd name="connsiteY2000" fmla="*/ 3838 h 10000"/>
                  <a:gd name="connsiteX2001" fmla="*/ 2166 w 10785"/>
                  <a:gd name="connsiteY2001" fmla="*/ 3889 h 10000"/>
                  <a:gd name="connsiteX2002" fmla="*/ 2124 w 10785"/>
                  <a:gd name="connsiteY2002" fmla="*/ 3889 h 10000"/>
                  <a:gd name="connsiteX2003" fmla="*/ 2124 w 10785"/>
                  <a:gd name="connsiteY2003" fmla="*/ 3923 h 10000"/>
                  <a:gd name="connsiteX2004" fmla="*/ 2134 w 10785"/>
                  <a:gd name="connsiteY2004" fmla="*/ 3940 h 10000"/>
                  <a:gd name="connsiteX2005" fmla="*/ 2134 w 10785"/>
                  <a:gd name="connsiteY2005" fmla="*/ 3966 h 10000"/>
                  <a:gd name="connsiteX2006" fmla="*/ 2120 w 10785"/>
                  <a:gd name="connsiteY2006" fmla="*/ 4000 h 10000"/>
                  <a:gd name="connsiteX2007" fmla="*/ 2106 w 10785"/>
                  <a:gd name="connsiteY2007" fmla="*/ 4009 h 10000"/>
                  <a:gd name="connsiteX2008" fmla="*/ 2088 w 10785"/>
                  <a:gd name="connsiteY2008" fmla="*/ 4000 h 10000"/>
                  <a:gd name="connsiteX2009" fmla="*/ 2074 w 10785"/>
                  <a:gd name="connsiteY2009" fmla="*/ 3974 h 10000"/>
                  <a:gd name="connsiteX2010" fmla="*/ 2074 w 10785"/>
                  <a:gd name="connsiteY2010" fmla="*/ 3940 h 10000"/>
                  <a:gd name="connsiteX2011" fmla="*/ 2078 w 10785"/>
                  <a:gd name="connsiteY2011" fmla="*/ 3915 h 10000"/>
                  <a:gd name="connsiteX2012" fmla="*/ 2088 w 10785"/>
                  <a:gd name="connsiteY2012" fmla="*/ 3889 h 10000"/>
                  <a:gd name="connsiteX2013" fmla="*/ 2101 w 10785"/>
                  <a:gd name="connsiteY2013" fmla="*/ 3872 h 10000"/>
                  <a:gd name="connsiteX2014" fmla="*/ 2074 w 10785"/>
                  <a:gd name="connsiteY2014" fmla="*/ 3812 h 10000"/>
                  <a:gd name="connsiteX2015" fmla="*/ 2074 w 10785"/>
                  <a:gd name="connsiteY2015" fmla="*/ 3786 h 10000"/>
                  <a:gd name="connsiteX2016" fmla="*/ 2060 w 10785"/>
                  <a:gd name="connsiteY2016" fmla="*/ 3786 h 10000"/>
                  <a:gd name="connsiteX2017" fmla="*/ 2014 w 10785"/>
                  <a:gd name="connsiteY2017" fmla="*/ 3829 h 10000"/>
                  <a:gd name="connsiteX2018" fmla="*/ 2000 w 10785"/>
                  <a:gd name="connsiteY2018" fmla="*/ 3863 h 10000"/>
                  <a:gd name="connsiteX2019" fmla="*/ 1986 w 10785"/>
                  <a:gd name="connsiteY2019" fmla="*/ 3872 h 10000"/>
                  <a:gd name="connsiteX2020" fmla="*/ 1959 w 10785"/>
                  <a:gd name="connsiteY2020" fmla="*/ 3940 h 10000"/>
                  <a:gd name="connsiteX2021" fmla="*/ 1945 w 10785"/>
                  <a:gd name="connsiteY2021" fmla="*/ 3949 h 10000"/>
                  <a:gd name="connsiteX2022" fmla="*/ 1940 w 10785"/>
                  <a:gd name="connsiteY2022" fmla="*/ 3923 h 10000"/>
                  <a:gd name="connsiteX2023" fmla="*/ 1917 w 10785"/>
                  <a:gd name="connsiteY2023" fmla="*/ 3915 h 10000"/>
                  <a:gd name="connsiteX2024" fmla="*/ 1899 w 10785"/>
                  <a:gd name="connsiteY2024" fmla="*/ 3923 h 10000"/>
                  <a:gd name="connsiteX2025" fmla="*/ 1880 w 10785"/>
                  <a:gd name="connsiteY2025" fmla="*/ 3915 h 10000"/>
                  <a:gd name="connsiteX2026" fmla="*/ 1853 w 10785"/>
                  <a:gd name="connsiteY2026" fmla="*/ 3940 h 10000"/>
                  <a:gd name="connsiteX2027" fmla="*/ 1839 w 10785"/>
                  <a:gd name="connsiteY2027" fmla="*/ 3940 h 10000"/>
                  <a:gd name="connsiteX2028" fmla="*/ 1806 w 10785"/>
                  <a:gd name="connsiteY2028" fmla="*/ 3983 h 10000"/>
                  <a:gd name="connsiteX2029" fmla="*/ 1806 w 10785"/>
                  <a:gd name="connsiteY2029" fmla="*/ 4000 h 10000"/>
                  <a:gd name="connsiteX2030" fmla="*/ 1797 w 10785"/>
                  <a:gd name="connsiteY2030" fmla="*/ 4077 h 10000"/>
                  <a:gd name="connsiteX2031" fmla="*/ 1783 w 10785"/>
                  <a:gd name="connsiteY2031" fmla="*/ 4077 h 10000"/>
                  <a:gd name="connsiteX2032" fmla="*/ 1779 w 10785"/>
                  <a:gd name="connsiteY2032" fmla="*/ 4051 h 10000"/>
                  <a:gd name="connsiteX2033" fmla="*/ 1765 w 10785"/>
                  <a:gd name="connsiteY2033" fmla="*/ 4026 h 10000"/>
                  <a:gd name="connsiteX2034" fmla="*/ 1751 w 10785"/>
                  <a:gd name="connsiteY2034" fmla="*/ 4051 h 10000"/>
                  <a:gd name="connsiteX2035" fmla="*/ 1737 w 10785"/>
                  <a:gd name="connsiteY2035" fmla="*/ 4009 h 10000"/>
                  <a:gd name="connsiteX2036" fmla="*/ 1737 w 10785"/>
                  <a:gd name="connsiteY2036" fmla="*/ 3966 h 10000"/>
                  <a:gd name="connsiteX2037" fmla="*/ 1733 w 10785"/>
                  <a:gd name="connsiteY2037" fmla="*/ 3940 h 10000"/>
                  <a:gd name="connsiteX2038" fmla="*/ 1733 w 10785"/>
                  <a:gd name="connsiteY2038" fmla="*/ 3923 h 10000"/>
                  <a:gd name="connsiteX2039" fmla="*/ 1747 w 10785"/>
                  <a:gd name="connsiteY2039" fmla="*/ 3889 h 10000"/>
                  <a:gd name="connsiteX2040" fmla="*/ 1747 w 10785"/>
                  <a:gd name="connsiteY2040" fmla="*/ 3863 h 10000"/>
                  <a:gd name="connsiteX2041" fmla="*/ 1737 w 10785"/>
                  <a:gd name="connsiteY2041" fmla="*/ 3838 h 10000"/>
                  <a:gd name="connsiteX2042" fmla="*/ 1733 w 10785"/>
                  <a:gd name="connsiteY2042" fmla="*/ 3829 h 10000"/>
                  <a:gd name="connsiteX2043" fmla="*/ 1733 w 10785"/>
                  <a:gd name="connsiteY2043" fmla="*/ 3846 h 10000"/>
                  <a:gd name="connsiteX2044" fmla="*/ 1724 w 10785"/>
                  <a:gd name="connsiteY2044" fmla="*/ 3846 h 10000"/>
                  <a:gd name="connsiteX2045" fmla="*/ 1724 w 10785"/>
                  <a:gd name="connsiteY2045" fmla="*/ 3829 h 10000"/>
                  <a:gd name="connsiteX2046" fmla="*/ 1737 w 10785"/>
                  <a:gd name="connsiteY2046" fmla="*/ 3812 h 10000"/>
                  <a:gd name="connsiteX2047" fmla="*/ 1765 w 10785"/>
                  <a:gd name="connsiteY2047" fmla="*/ 3812 h 10000"/>
                  <a:gd name="connsiteX2048" fmla="*/ 1779 w 10785"/>
                  <a:gd name="connsiteY2048" fmla="*/ 3786 h 10000"/>
                  <a:gd name="connsiteX2049" fmla="*/ 1779 w 10785"/>
                  <a:gd name="connsiteY2049" fmla="*/ 3786 h 10000"/>
                  <a:gd name="connsiteX2050" fmla="*/ 1751 w 10785"/>
                  <a:gd name="connsiteY2050" fmla="*/ 3803 h 10000"/>
                  <a:gd name="connsiteX2051" fmla="*/ 1747 w 10785"/>
                  <a:gd name="connsiteY2051" fmla="*/ 3803 h 10000"/>
                  <a:gd name="connsiteX2052" fmla="*/ 1724 w 10785"/>
                  <a:gd name="connsiteY2052" fmla="*/ 3803 h 10000"/>
                  <a:gd name="connsiteX2053" fmla="*/ 1700 w 10785"/>
                  <a:gd name="connsiteY2053" fmla="*/ 3829 h 10000"/>
                  <a:gd name="connsiteX2054" fmla="*/ 1705 w 10785"/>
                  <a:gd name="connsiteY2054" fmla="*/ 3846 h 10000"/>
                  <a:gd name="connsiteX2055" fmla="*/ 1691 w 10785"/>
                  <a:gd name="connsiteY2055" fmla="*/ 3846 h 10000"/>
                  <a:gd name="connsiteX2056" fmla="*/ 1691 w 10785"/>
                  <a:gd name="connsiteY2056" fmla="*/ 3863 h 10000"/>
                  <a:gd name="connsiteX2057" fmla="*/ 1691 w 10785"/>
                  <a:gd name="connsiteY2057" fmla="*/ 3915 h 10000"/>
                  <a:gd name="connsiteX2058" fmla="*/ 1677 w 10785"/>
                  <a:gd name="connsiteY2058" fmla="*/ 3923 h 10000"/>
                  <a:gd name="connsiteX2059" fmla="*/ 1673 w 10785"/>
                  <a:gd name="connsiteY2059" fmla="*/ 3915 h 10000"/>
                  <a:gd name="connsiteX2060" fmla="*/ 1664 w 10785"/>
                  <a:gd name="connsiteY2060" fmla="*/ 3889 h 10000"/>
                  <a:gd name="connsiteX2061" fmla="*/ 1673 w 10785"/>
                  <a:gd name="connsiteY2061" fmla="*/ 3872 h 10000"/>
                  <a:gd name="connsiteX2062" fmla="*/ 1664 w 10785"/>
                  <a:gd name="connsiteY2062" fmla="*/ 3872 h 10000"/>
                  <a:gd name="connsiteX2063" fmla="*/ 1636 w 10785"/>
                  <a:gd name="connsiteY2063" fmla="*/ 3923 h 10000"/>
                  <a:gd name="connsiteX2064" fmla="*/ 1645 w 10785"/>
                  <a:gd name="connsiteY2064" fmla="*/ 3923 h 10000"/>
                  <a:gd name="connsiteX2065" fmla="*/ 1650 w 10785"/>
                  <a:gd name="connsiteY2065" fmla="*/ 3949 h 10000"/>
                  <a:gd name="connsiteX2066" fmla="*/ 1650 w 10785"/>
                  <a:gd name="connsiteY2066" fmla="*/ 3983 h 10000"/>
                  <a:gd name="connsiteX2067" fmla="*/ 1636 w 10785"/>
                  <a:gd name="connsiteY2067" fmla="*/ 4000 h 10000"/>
                  <a:gd name="connsiteX2068" fmla="*/ 1631 w 10785"/>
                  <a:gd name="connsiteY2068" fmla="*/ 4009 h 10000"/>
                  <a:gd name="connsiteX2069" fmla="*/ 1618 w 10785"/>
                  <a:gd name="connsiteY2069" fmla="*/ 3949 h 10000"/>
                  <a:gd name="connsiteX2070" fmla="*/ 1585 w 10785"/>
                  <a:gd name="connsiteY2070" fmla="*/ 3966 h 10000"/>
                  <a:gd name="connsiteX2071" fmla="*/ 1590 w 10785"/>
                  <a:gd name="connsiteY2071" fmla="*/ 3974 h 10000"/>
                  <a:gd name="connsiteX2072" fmla="*/ 1544 w 10785"/>
                  <a:gd name="connsiteY2072" fmla="*/ 4009 h 10000"/>
                  <a:gd name="connsiteX2073" fmla="*/ 1539 w 10785"/>
                  <a:gd name="connsiteY2073" fmla="*/ 4009 h 10000"/>
                  <a:gd name="connsiteX2074" fmla="*/ 1410 w 10785"/>
                  <a:gd name="connsiteY2074" fmla="*/ 4188 h 10000"/>
                  <a:gd name="connsiteX2075" fmla="*/ 1406 w 10785"/>
                  <a:gd name="connsiteY2075" fmla="*/ 4171 h 10000"/>
                  <a:gd name="connsiteX2076" fmla="*/ 1396 w 10785"/>
                  <a:gd name="connsiteY2076" fmla="*/ 4214 h 10000"/>
                  <a:gd name="connsiteX2077" fmla="*/ 1406 w 10785"/>
                  <a:gd name="connsiteY2077" fmla="*/ 4222 h 10000"/>
                  <a:gd name="connsiteX2078" fmla="*/ 1392 w 10785"/>
                  <a:gd name="connsiteY2078" fmla="*/ 4239 h 10000"/>
                  <a:gd name="connsiteX2079" fmla="*/ 1369 w 10785"/>
                  <a:gd name="connsiteY2079" fmla="*/ 4248 h 10000"/>
                  <a:gd name="connsiteX2080" fmla="*/ 1355 w 10785"/>
                  <a:gd name="connsiteY2080" fmla="*/ 4256 h 10000"/>
                  <a:gd name="connsiteX2081" fmla="*/ 1350 w 10785"/>
                  <a:gd name="connsiteY2081" fmla="*/ 4248 h 10000"/>
                  <a:gd name="connsiteX2082" fmla="*/ 1332 w 10785"/>
                  <a:gd name="connsiteY2082" fmla="*/ 4376 h 10000"/>
                  <a:gd name="connsiteX2083" fmla="*/ 1332 w 10785"/>
                  <a:gd name="connsiteY2083" fmla="*/ 4436 h 10000"/>
                  <a:gd name="connsiteX2084" fmla="*/ 1323 w 10785"/>
                  <a:gd name="connsiteY2084" fmla="*/ 4462 h 10000"/>
                  <a:gd name="connsiteX2085" fmla="*/ 1304 w 10785"/>
                  <a:gd name="connsiteY2085" fmla="*/ 4487 h 10000"/>
                  <a:gd name="connsiteX2086" fmla="*/ 1290 w 10785"/>
                  <a:gd name="connsiteY2086" fmla="*/ 4470 h 10000"/>
                  <a:gd name="connsiteX2087" fmla="*/ 1263 w 10785"/>
                  <a:gd name="connsiteY2087" fmla="*/ 4496 h 10000"/>
                  <a:gd name="connsiteX2088" fmla="*/ 1258 w 10785"/>
                  <a:gd name="connsiteY2088" fmla="*/ 4547 h 10000"/>
                  <a:gd name="connsiteX2089" fmla="*/ 1249 w 10785"/>
                  <a:gd name="connsiteY2089" fmla="*/ 4487 h 10000"/>
                  <a:gd name="connsiteX2090" fmla="*/ 1235 w 10785"/>
                  <a:gd name="connsiteY2090" fmla="*/ 4496 h 10000"/>
                  <a:gd name="connsiteX2091" fmla="*/ 1221 w 10785"/>
                  <a:gd name="connsiteY2091" fmla="*/ 4496 h 10000"/>
                  <a:gd name="connsiteX2092" fmla="*/ 1217 w 10785"/>
                  <a:gd name="connsiteY2092" fmla="*/ 4487 h 10000"/>
                  <a:gd name="connsiteX2093" fmla="*/ 1198 w 10785"/>
                  <a:gd name="connsiteY2093" fmla="*/ 4410 h 10000"/>
                  <a:gd name="connsiteX2094" fmla="*/ 1157 w 10785"/>
                  <a:gd name="connsiteY2094" fmla="*/ 4333 h 10000"/>
                  <a:gd name="connsiteX2095" fmla="*/ 1147 w 10785"/>
                  <a:gd name="connsiteY2095" fmla="*/ 4299 h 10000"/>
                  <a:gd name="connsiteX2096" fmla="*/ 1147 w 10785"/>
                  <a:gd name="connsiteY2096" fmla="*/ 4274 h 10000"/>
                  <a:gd name="connsiteX2097" fmla="*/ 1161 w 10785"/>
                  <a:gd name="connsiteY2097" fmla="*/ 4256 h 10000"/>
                  <a:gd name="connsiteX2098" fmla="*/ 1171 w 10785"/>
                  <a:gd name="connsiteY2098" fmla="*/ 4248 h 10000"/>
                  <a:gd name="connsiteX2099" fmla="*/ 1175 w 10785"/>
                  <a:gd name="connsiteY2099" fmla="*/ 4214 h 10000"/>
                  <a:gd name="connsiteX2100" fmla="*/ 1263 w 10785"/>
                  <a:gd name="connsiteY2100" fmla="*/ 4171 h 10000"/>
                  <a:gd name="connsiteX2101" fmla="*/ 1249 w 10785"/>
                  <a:gd name="connsiteY2101" fmla="*/ 4137 h 10000"/>
                  <a:gd name="connsiteX2102" fmla="*/ 1244 w 10785"/>
                  <a:gd name="connsiteY2102" fmla="*/ 4060 h 10000"/>
                  <a:gd name="connsiteX2103" fmla="*/ 1230 w 10785"/>
                  <a:gd name="connsiteY2103" fmla="*/ 4077 h 10000"/>
                  <a:gd name="connsiteX2104" fmla="*/ 1221 w 10785"/>
                  <a:gd name="connsiteY2104" fmla="*/ 4026 h 10000"/>
                  <a:gd name="connsiteX2105" fmla="*/ 1217 w 10785"/>
                  <a:gd name="connsiteY2105" fmla="*/ 4026 h 10000"/>
                  <a:gd name="connsiteX2106" fmla="*/ 1212 w 10785"/>
                  <a:gd name="connsiteY2106" fmla="*/ 3983 h 10000"/>
                  <a:gd name="connsiteX2107" fmla="*/ 1203 w 10785"/>
                  <a:gd name="connsiteY2107" fmla="*/ 3966 h 10000"/>
                  <a:gd name="connsiteX2108" fmla="*/ 1171 w 10785"/>
                  <a:gd name="connsiteY2108" fmla="*/ 3949 h 10000"/>
                  <a:gd name="connsiteX2109" fmla="*/ 1111 w 10785"/>
                  <a:gd name="connsiteY2109" fmla="*/ 3940 h 10000"/>
                  <a:gd name="connsiteX2110" fmla="*/ 1097 w 10785"/>
                  <a:gd name="connsiteY2110" fmla="*/ 3949 h 10000"/>
                  <a:gd name="connsiteX2111" fmla="*/ 1037 w 10785"/>
                  <a:gd name="connsiteY2111" fmla="*/ 3897 h 10000"/>
                  <a:gd name="connsiteX2112" fmla="*/ 1041 w 10785"/>
                  <a:gd name="connsiteY2112" fmla="*/ 3923 h 10000"/>
                  <a:gd name="connsiteX2113" fmla="*/ 1097 w 10785"/>
                  <a:gd name="connsiteY2113" fmla="*/ 4009 h 10000"/>
                  <a:gd name="connsiteX2114" fmla="*/ 1097 w 10785"/>
                  <a:gd name="connsiteY2114" fmla="*/ 4120 h 10000"/>
                  <a:gd name="connsiteX2115" fmla="*/ 1097 w 10785"/>
                  <a:gd name="connsiteY2115" fmla="*/ 4162 h 10000"/>
                  <a:gd name="connsiteX2116" fmla="*/ 1097 w 10785"/>
                  <a:gd name="connsiteY2116" fmla="*/ 4197 h 10000"/>
                  <a:gd name="connsiteX2117" fmla="*/ 1074 w 10785"/>
                  <a:gd name="connsiteY2117" fmla="*/ 4333 h 10000"/>
                  <a:gd name="connsiteX2118" fmla="*/ 1074 w 10785"/>
                  <a:gd name="connsiteY2118" fmla="*/ 4376 h 10000"/>
                  <a:gd name="connsiteX2119" fmla="*/ 1083 w 10785"/>
                  <a:gd name="connsiteY2119" fmla="*/ 4385 h 10000"/>
                  <a:gd name="connsiteX2120" fmla="*/ 1097 w 10785"/>
                  <a:gd name="connsiteY2120" fmla="*/ 4385 h 10000"/>
                  <a:gd name="connsiteX2121" fmla="*/ 1111 w 10785"/>
                  <a:gd name="connsiteY2121" fmla="*/ 4410 h 10000"/>
                  <a:gd name="connsiteX2122" fmla="*/ 1124 w 10785"/>
                  <a:gd name="connsiteY2122" fmla="*/ 4444 h 10000"/>
                  <a:gd name="connsiteX2123" fmla="*/ 1124 w 10785"/>
                  <a:gd name="connsiteY2123" fmla="*/ 4470 h 10000"/>
                  <a:gd name="connsiteX2124" fmla="*/ 1115 w 10785"/>
                  <a:gd name="connsiteY2124" fmla="*/ 4513 h 10000"/>
                  <a:gd name="connsiteX2125" fmla="*/ 1115 w 10785"/>
                  <a:gd name="connsiteY2125" fmla="*/ 4530 h 10000"/>
                  <a:gd name="connsiteX2126" fmla="*/ 1115 w 10785"/>
                  <a:gd name="connsiteY2126" fmla="*/ 4573 h 10000"/>
                  <a:gd name="connsiteX2127" fmla="*/ 1101 w 10785"/>
                  <a:gd name="connsiteY2127" fmla="*/ 4607 h 10000"/>
                  <a:gd name="connsiteX2128" fmla="*/ 1097 w 10785"/>
                  <a:gd name="connsiteY2128" fmla="*/ 4658 h 10000"/>
                  <a:gd name="connsiteX2129" fmla="*/ 1101 w 10785"/>
                  <a:gd name="connsiteY2129" fmla="*/ 4692 h 10000"/>
                  <a:gd name="connsiteX2130" fmla="*/ 1097 w 10785"/>
                  <a:gd name="connsiteY2130" fmla="*/ 4778 h 10000"/>
                  <a:gd name="connsiteX2131" fmla="*/ 1083 w 10785"/>
                  <a:gd name="connsiteY2131" fmla="*/ 4744 h 10000"/>
                  <a:gd name="connsiteX2132" fmla="*/ 1083 w 10785"/>
                  <a:gd name="connsiteY2132" fmla="*/ 4718 h 10000"/>
                  <a:gd name="connsiteX2133" fmla="*/ 1074 w 10785"/>
                  <a:gd name="connsiteY2133" fmla="*/ 4692 h 10000"/>
                  <a:gd name="connsiteX2134" fmla="*/ 1065 w 10785"/>
                  <a:gd name="connsiteY2134" fmla="*/ 4692 h 10000"/>
                  <a:gd name="connsiteX2135" fmla="*/ 1051 w 10785"/>
                  <a:gd name="connsiteY2135" fmla="*/ 4718 h 10000"/>
                  <a:gd name="connsiteX2136" fmla="*/ 1055 w 10785"/>
                  <a:gd name="connsiteY2136" fmla="*/ 4692 h 10000"/>
                  <a:gd name="connsiteX2137" fmla="*/ 1055 w 10785"/>
                  <a:gd name="connsiteY2137" fmla="*/ 4667 h 10000"/>
                  <a:gd name="connsiteX2138" fmla="*/ 1028 w 10785"/>
                  <a:gd name="connsiteY2138" fmla="*/ 4624 h 10000"/>
                  <a:gd name="connsiteX2139" fmla="*/ 1005 w 10785"/>
                  <a:gd name="connsiteY2139" fmla="*/ 4624 h 10000"/>
                  <a:gd name="connsiteX2140" fmla="*/ 977 w 10785"/>
                  <a:gd name="connsiteY2140" fmla="*/ 4581 h 10000"/>
                  <a:gd name="connsiteX2141" fmla="*/ 963 w 10785"/>
                  <a:gd name="connsiteY2141" fmla="*/ 4607 h 10000"/>
                  <a:gd name="connsiteX2142" fmla="*/ 963 w 10785"/>
                  <a:gd name="connsiteY2142" fmla="*/ 4632 h 10000"/>
                  <a:gd name="connsiteX2143" fmla="*/ 917 w 10785"/>
                  <a:gd name="connsiteY2143" fmla="*/ 4718 h 10000"/>
                  <a:gd name="connsiteX2144" fmla="*/ 889 w 10785"/>
                  <a:gd name="connsiteY2144" fmla="*/ 4744 h 10000"/>
                  <a:gd name="connsiteX2145" fmla="*/ 880 w 10785"/>
                  <a:gd name="connsiteY2145" fmla="*/ 4744 h 10000"/>
                  <a:gd name="connsiteX2146" fmla="*/ 862 w 10785"/>
                  <a:gd name="connsiteY2146" fmla="*/ 4769 h 10000"/>
                  <a:gd name="connsiteX2147" fmla="*/ 857 w 10785"/>
                  <a:gd name="connsiteY2147" fmla="*/ 4795 h 10000"/>
                  <a:gd name="connsiteX2148" fmla="*/ 829 w 10785"/>
                  <a:gd name="connsiteY2148" fmla="*/ 4846 h 10000"/>
                  <a:gd name="connsiteX2149" fmla="*/ 816 w 10785"/>
                  <a:gd name="connsiteY2149" fmla="*/ 4855 h 10000"/>
                  <a:gd name="connsiteX2150" fmla="*/ 816 w 10785"/>
                  <a:gd name="connsiteY2150" fmla="*/ 4940 h 10000"/>
                  <a:gd name="connsiteX2151" fmla="*/ 880 w 10785"/>
                  <a:gd name="connsiteY2151" fmla="*/ 5179 h 10000"/>
                  <a:gd name="connsiteX2152" fmla="*/ 880 w 10785"/>
                  <a:gd name="connsiteY2152" fmla="*/ 5188 h 10000"/>
                  <a:gd name="connsiteX2153" fmla="*/ 862 w 10785"/>
                  <a:gd name="connsiteY2153" fmla="*/ 5171 h 10000"/>
                  <a:gd name="connsiteX2154" fmla="*/ 857 w 10785"/>
                  <a:gd name="connsiteY2154" fmla="*/ 5171 h 10000"/>
                  <a:gd name="connsiteX2155" fmla="*/ 820 w 10785"/>
                  <a:gd name="connsiteY2155" fmla="*/ 5145 h 10000"/>
                  <a:gd name="connsiteX2156" fmla="*/ 820 w 10785"/>
                  <a:gd name="connsiteY2156" fmla="*/ 5154 h 10000"/>
                  <a:gd name="connsiteX2157" fmla="*/ 816 w 10785"/>
                  <a:gd name="connsiteY2157" fmla="*/ 5171 h 10000"/>
                  <a:gd name="connsiteX2158" fmla="*/ 783 w 10785"/>
                  <a:gd name="connsiteY2158" fmla="*/ 5145 h 10000"/>
                  <a:gd name="connsiteX2159" fmla="*/ 756 w 10785"/>
                  <a:gd name="connsiteY2159" fmla="*/ 5103 h 10000"/>
                  <a:gd name="connsiteX2160" fmla="*/ 742 w 10785"/>
                  <a:gd name="connsiteY2160" fmla="*/ 5103 h 10000"/>
                  <a:gd name="connsiteX2161" fmla="*/ 728 w 10785"/>
                  <a:gd name="connsiteY2161" fmla="*/ 5094 h 10000"/>
                  <a:gd name="connsiteX2162" fmla="*/ 710 w 10785"/>
                  <a:gd name="connsiteY2162" fmla="*/ 5120 h 10000"/>
                  <a:gd name="connsiteX2163" fmla="*/ 700 w 10785"/>
                  <a:gd name="connsiteY2163" fmla="*/ 5145 h 10000"/>
                  <a:gd name="connsiteX2164" fmla="*/ 696 w 10785"/>
                  <a:gd name="connsiteY2164" fmla="*/ 5103 h 10000"/>
                  <a:gd name="connsiteX2165" fmla="*/ 714 w 10785"/>
                  <a:gd name="connsiteY2165" fmla="*/ 5077 h 10000"/>
                  <a:gd name="connsiteX2166" fmla="*/ 682 w 10785"/>
                  <a:gd name="connsiteY2166" fmla="*/ 5068 h 10000"/>
                  <a:gd name="connsiteX2167" fmla="*/ 673 w 10785"/>
                  <a:gd name="connsiteY2167" fmla="*/ 5034 h 10000"/>
                  <a:gd name="connsiteX2168" fmla="*/ 636 w 10785"/>
                  <a:gd name="connsiteY2168" fmla="*/ 4991 h 10000"/>
                  <a:gd name="connsiteX2169" fmla="*/ 622 w 10785"/>
                  <a:gd name="connsiteY2169" fmla="*/ 4983 h 10000"/>
                  <a:gd name="connsiteX2170" fmla="*/ 622 w 10785"/>
                  <a:gd name="connsiteY2170" fmla="*/ 5034 h 10000"/>
                  <a:gd name="connsiteX2171" fmla="*/ 608 w 10785"/>
                  <a:gd name="connsiteY2171" fmla="*/ 5051 h 10000"/>
                  <a:gd name="connsiteX2172" fmla="*/ 594 w 10785"/>
                  <a:gd name="connsiteY2172" fmla="*/ 5068 h 10000"/>
                  <a:gd name="connsiteX2173" fmla="*/ 608 w 10785"/>
                  <a:gd name="connsiteY2173" fmla="*/ 5120 h 10000"/>
                  <a:gd name="connsiteX2174" fmla="*/ 613 w 10785"/>
                  <a:gd name="connsiteY2174" fmla="*/ 5128 h 10000"/>
                  <a:gd name="connsiteX2175" fmla="*/ 627 w 10785"/>
                  <a:gd name="connsiteY2175" fmla="*/ 5179 h 10000"/>
                  <a:gd name="connsiteX2176" fmla="*/ 650 w 10785"/>
                  <a:gd name="connsiteY2176" fmla="*/ 5214 h 10000"/>
                  <a:gd name="connsiteX2177" fmla="*/ 687 w 10785"/>
                  <a:gd name="connsiteY2177" fmla="*/ 5188 h 10000"/>
                  <a:gd name="connsiteX2178" fmla="*/ 700 w 10785"/>
                  <a:gd name="connsiteY2178" fmla="*/ 5325 h 10000"/>
                  <a:gd name="connsiteX2179" fmla="*/ 710 w 10785"/>
                  <a:gd name="connsiteY2179" fmla="*/ 5350 h 10000"/>
                  <a:gd name="connsiteX2180" fmla="*/ 687 w 10785"/>
                  <a:gd name="connsiteY2180" fmla="*/ 5325 h 10000"/>
                  <a:gd name="connsiteX2181" fmla="*/ 668 w 10785"/>
                  <a:gd name="connsiteY2181" fmla="*/ 5350 h 10000"/>
                  <a:gd name="connsiteX2182" fmla="*/ 668 w 10785"/>
                  <a:gd name="connsiteY2182" fmla="*/ 5368 h 10000"/>
                  <a:gd name="connsiteX2183" fmla="*/ 668 w 10785"/>
                  <a:gd name="connsiteY2183" fmla="*/ 5376 h 10000"/>
                  <a:gd name="connsiteX2184" fmla="*/ 581 w 10785"/>
                  <a:gd name="connsiteY2184" fmla="*/ 5316 h 10000"/>
                  <a:gd name="connsiteX2185" fmla="*/ 567 w 10785"/>
                  <a:gd name="connsiteY2185" fmla="*/ 5265 h 10000"/>
                  <a:gd name="connsiteX2186" fmla="*/ 562 w 10785"/>
                  <a:gd name="connsiteY2186" fmla="*/ 5256 h 10000"/>
                  <a:gd name="connsiteX2187" fmla="*/ 548 w 10785"/>
                  <a:gd name="connsiteY2187" fmla="*/ 5231 h 10000"/>
                  <a:gd name="connsiteX2188" fmla="*/ 535 w 10785"/>
                  <a:gd name="connsiteY2188" fmla="*/ 5214 h 10000"/>
                  <a:gd name="connsiteX2189" fmla="*/ 525 w 10785"/>
                  <a:gd name="connsiteY2189" fmla="*/ 5231 h 10000"/>
                  <a:gd name="connsiteX2190" fmla="*/ 521 w 10785"/>
                  <a:gd name="connsiteY2190" fmla="*/ 5231 h 10000"/>
                  <a:gd name="connsiteX2191" fmla="*/ 493 w 10785"/>
                  <a:gd name="connsiteY2191" fmla="*/ 5205 h 10000"/>
                  <a:gd name="connsiteX2192" fmla="*/ 488 w 10785"/>
                  <a:gd name="connsiteY2192" fmla="*/ 5179 h 10000"/>
                  <a:gd name="connsiteX2193" fmla="*/ 475 w 10785"/>
                  <a:gd name="connsiteY2193" fmla="*/ 5188 h 10000"/>
                  <a:gd name="connsiteX2194" fmla="*/ 475 w 10785"/>
                  <a:gd name="connsiteY2194" fmla="*/ 5171 h 10000"/>
                  <a:gd name="connsiteX2195" fmla="*/ 488 w 10785"/>
                  <a:gd name="connsiteY2195" fmla="*/ 5154 h 10000"/>
                  <a:gd name="connsiteX2196" fmla="*/ 488 w 10785"/>
                  <a:gd name="connsiteY2196" fmla="*/ 5068 h 10000"/>
                  <a:gd name="connsiteX2197" fmla="*/ 475 w 10785"/>
                  <a:gd name="connsiteY2197" fmla="*/ 5051 h 10000"/>
                  <a:gd name="connsiteX2198" fmla="*/ 475 w 10785"/>
                  <a:gd name="connsiteY2198" fmla="*/ 5017 h 10000"/>
                  <a:gd name="connsiteX2199" fmla="*/ 452 w 10785"/>
                  <a:gd name="connsiteY2199" fmla="*/ 4932 h 10000"/>
                  <a:gd name="connsiteX2200" fmla="*/ 461 w 10785"/>
                  <a:gd name="connsiteY2200" fmla="*/ 4915 h 10000"/>
                  <a:gd name="connsiteX2201" fmla="*/ 475 w 10785"/>
                  <a:gd name="connsiteY2201" fmla="*/ 4906 h 10000"/>
                  <a:gd name="connsiteX2202" fmla="*/ 479 w 10785"/>
                  <a:gd name="connsiteY2202" fmla="*/ 4803 h 10000"/>
                  <a:gd name="connsiteX2203" fmla="*/ 479 w 10785"/>
                  <a:gd name="connsiteY2203" fmla="*/ 4778 h 10000"/>
                  <a:gd name="connsiteX2204" fmla="*/ 475 w 10785"/>
                  <a:gd name="connsiteY2204" fmla="*/ 4761 h 10000"/>
                  <a:gd name="connsiteX2205" fmla="*/ 465 w 10785"/>
                  <a:gd name="connsiteY2205" fmla="*/ 4718 h 10000"/>
                  <a:gd name="connsiteX2206" fmla="*/ 461 w 10785"/>
                  <a:gd name="connsiteY2206" fmla="*/ 4709 h 10000"/>
                  <a:gd name="connsiteX2207" fmla="*/ 442 w 10785"/>
                  <a:gd name="connsiteY2207" fmla="*/ 4692 h 10000"/>
                  <a:gd name="connsiteX2208" fmla="*/ 433 w 10785"/>
                  <a:gd name="connsiteY2208" fmla="*/ 4667 h 10000"/>
                  <a:gd name="connsiteX2209" fmla="*/ 419 w 10785"/>
                  <a:gd name="connsiteY2209" fmla="*/ 4667 h 10000"/>
                  <a:gd name="connsiteX2210" fmla="*/ 401 w 10785"/>
                  <a:gd name="connsiteY2210" fmla="*/ 4658 h 10000"/>
                  <a:gd name="connsiteX2211" fmla="*/ 401 w 10785"/>
                  <a:gd name="connsiteY2211" fmla="*/ 4624 h 10000"/>
                  <a:gd name="connsiteX2212" fmla="*/ 401 w 10785"/>
                  <a:gd name="connsiteY2212" fmla="*/ 4607 h 10000"/>
                  <a:gd name="connsiteX2213" fmla="*/ 378 w 10785"/>
                  <a:gd name="connsiteY2213" fmla="*/ 4607 h 10000"/>
                  <a:gd name="connsiteX2214" fmla="*/ 341 w 10785"/>
                  <a:gd name="connsiteY2214" fmla="*/ 4530 h 10000"/>
                  <a:gd name="connsiteX2215" fmla="*/ 346 w 10785"/>
                  <a:gd name="connsiteY2215" fmla="*/ 4521 h 10000"/>
                  <a:gd name="connsiteX2216" fmla="*/ 332 w 10785"/>
                  <a:gd name="connsiteY2216" fmla="*/ 4487 h 10000"/>
                  <a:gd name="connsiteX2217" fmla="*/ 327 w 10785"/>
                  <a:gd name="connsiteY2217" fmla="*/ 4462 h 10000"/>
                  <a:gd name="connsiteX2218" fmla="*/ 313 w 10785"/>
                  <a:gd name="connsiteY2218" fmla="*/ 4436 h 10000"/>
                  <a:gd name="connsiteX2219" fmla="*/ 300 w 10785"/>
                  <a:gd name="connsiteY2219" fmla="*/ 4419 h 10000"/>
                  <a:gd name="connsiteX2220" fmla="*/ 309 w 10785"/>
                  <a:gd name="connsiteY2220" fmla="*/ 4393 h 10000"/>
                  <a:gd name="connsiteX2221" fmla="*/ 332 w 10785"/>
                  <a:gd name="connsiteY2221" fmla="*/ 4385 h 10000"/>
                  <a:gd name="connsiteX2222" fmla="*/ 355 w 10785"/>
                  <a:gd name="connsiteY2222" fmla="*/ 4419 h 10000"/>
                  <a:gd name="connsiteX2223" fmla="*/ 355 w 10785"/>
                  <a:gd name="connsiteY2223" fmla="*/ 4444 h 10000"/>
                  <a:gd name="connsiteX2224" fmla="*/ 369 w 10785"/>
                  <a:gd name="connsiteY2224" fmla="*/ 4470 h 10000"/>
                  <a:gd name="connsiteX2225" fmla="*/ 401 w 10785"/>
                  <a:gd name="connsiteY2225" fmla="*/ 4521 h 10000"/>
                  <a:gd name="connsiteX2226" fmla="*/ 406 w 10785"/>
                  <a:gd name="connsiteY2226" fmla="*/ 4513 h 10000"/>
                  <a:gd name="connsiteX2227" fmla="*/ 406 w 10785"/>
                  <a:gd name="connsiteY2227" fmla="*/ 4496 h 10000"/>
                  <a:gd name="connsiteX2228" fmla="*/ 419 w 10785"/>
                  <a:gd name="connsiteY2228" fmla="*/ 4521 h 10000"/>
                  <a:gd name="connsiteX2229" fmla="*/ 429 w 10785"/>
                  <a:gd name="connsiteY2229" fmla="*/ 4530 h 10000"/>
                  <a:gd name="connsiteX2230" fmla="*/ 433 w 10785"/>
                  <a:gd name="connsiteY2230" fmla="*/ 4521 h 10000"/>
                  <a:gd name="connsiteX2231" fmla="*/ 442 w 10785"/>
                  <a:gd name="connsiteY2231" fmla="*/ 4530 h 10000"/>
                  <a:gd name="connsiteX2232" fmla="*/ 447 w 10785"/>
                  <a:gd name="connsiteY2232" fmla="*/ 4521 h 10000"/>
                  <a:gd name="connsiteX2233" fmla="*/ 452 w 10785"/>
                  <a:gd name="connsiteY2233" fmla="*/ 4521 h 10000"/>
                  <a:gd name="connsiteX2234" fmla="*/ 461 w 10785"/>
                  <a:gd name="connsiteY2234" fmla="*/ 4573 h 10000"/>
                  <a:gd name="connsiteX2235" fmla="*/ 479 w 10785"/>
                  <a:gd name="connsiteY2235" fmla="*/ 4556 h 10000"/>
                  <a:gd name="connsiteX2236" fmla="*/ 502 w 10785"/>
                  <a:gd name="connsiteY2236" fmla="*/ 4573 h 10000"/>
                  <a:gd name="connsiteX2237" fmla="*/ 507 w 10785"/>
                  <a:gd name="connsiteY2237" fmla="*/ 4598 h 10000"/>
                  <a:gd name="connsiteX2238" fmla="*/ 525 w 10785"/>
                  <a:gd name="connsiteY2238" fmla="*/ 4598 h 10000"/>
                  <a:gd name="connsiteX2239" fmla="*/ 535 w 10785"/>
                  <a:gd name="connsiteY2239" fmla="*/ 4624 h 10000"/>
                  <a:gd name="connsiteX2240" fmla="*/ 594 w 10785"/>
                  <a:gd name="connsiteY2240" fmla="*/ 4658 h 10000"/>
                  <a:gd name="connsiteX2241" fmla="*/ 627 w 10785"/>
                  <a:gd name="connsiteY2241" fmla="*/ 4658 h 10000"/>
                  <a:gd name="connsiteX2242" fmla="*/ 654 w 10785"/>
                  <a:gd name="connsiteY2242" fmla="*/ 4684 h 10000"/>
                  <a:gd name="connsiteX2243" fmla="*/ 668 w 10785"/>
                  <a:gd name="connsiteY2243" fmla="*/ 4709 h 10000"/>
                  <a:gd name="connsiteX2244" fmla="*/ 747 w 10785"/>
                  <a:gd name="connsiteY2244" fmla="*/ 4718 h 10000"/>
                  <a:gd name="connsiteX2245" fmla="*/ 760 w 10785"/>
                  <a:gd name="connsiteY2245" fmla="*/ 4709 h 10000"/>
                  <a:gd name="connsiteX2246" fmla="*/ 774 w 10785"/>
                  <a:gd name="connsiteY2246" fmla="*/ 4692 h 10000"/>
                  <a:gd name="connsiteX2247" fmla="*/ 829 w 10785"/>
                  <a:gd name="connsiteY2247" fmla="*/ 4658 h 10000"/>
                  <a:gd name="connsiteX2248" fmla="*/ 903 w 10785"/>
                  <a:gd name="connsiteY2248" fmla="*/ 4496 h 10000"/>
                  <a:gd name="connsiteX2249" fmla="*/ 917 w 10785"/>
                  <a:gd name="connsiteY2249" fmla="*/ 4385 h 10000"/>
                  <a:gd name="connsiteX2250" fmla="*/ 903 w 10785"/>
                  <a:gd name="connsiteY2250" fmla="*/ 4376 h 10000"/>
                  <a:gd name="connsiteX2251" fmla="*/ 903 w 10785"/>
                  <a:gd name="connsiteY2251" fmla="*/ 4376 h 10000"/>
                  <a:gd name="connsiteX2252" fmla="*/ 889 w 10785"/>
                  <a:gd name="connsiteY2252" fmla="*/ 4239 h 10000"/>
                  <a:gd name="connsiteX2253" fmla="*/ 880 w 10785"/>
                  <a:gd name="connsiteY2253" fmla="*/ 4214 h 10000"/>
                  <a:gd name="connsiteX2254" fmla="*/ 862 w 10785"/>
                  <a:gd name="connsiteY2254" fmla="*/ 4188 h 10000"/>
                  <a:gd name="connsiteX2255" fmla="*/ 857 w 10785"/>
                  <a:gd name="connsiteY2255" fmla="*/ 4197 h 10000"/>
                  <a:gd name="connsiteX2256" fmla="*/ 848 w 10785"/>
                  <a:gd name="connsiteY2256" fmla="*/ 4188 h 10000"/>
                  <a:gd name="connsiteX2257" fmla="*/ 848 w 10785"/>
                  <a:gd name="connsiteY2257" fmla="*/ 4162 h 10000"/>
                  <a:gd name="connsiteX2258" fmla="*/ 829 w 10785"/>
                  <a:gd name="connsiteY2258" fmla="*/ 4120 h 10000"/>
                  <a:gd name="connsiteX2259" fmla="*/ 820 w 10785"/>
                  <a:gd name="connsiteY2259" fmla="*/ 4103 h 10000"/>
                  <a:gd name="connsiteX2260" fmla="*/ 806 w 10785"/>
                  <a:gd name="connsiteY2260" fmla="*/ 4077 h 10000"/>
                  <a:gd name="connsiteX2261" fmla="*/ 816 w 10785"/>
                  <a:gd name="connsiteY2261" fmla="*/ 4111 h 10000"/>
                  <a:gd name="connsiteX2262" fmla="*/ 802 w 10785"/>
                  <a:gd name="connsiteY2262" fmla="*/ 4111 h 10000"/>
                  <a:gd name="connsiteX2263" fmla="*/ 770 w 10785"/>
                  <a:gd name="connsiteY2263" fmla="*/ 4060 h 10000"/>
                  <a:gd name="connsiteX2264" fmla="*/ 760 w 10785"/>
                  <a:gd name="connsiteY2264" fmla="*/ 4077 h 10000"/>
                  <a:gd name="connsiteX2265" fmla="*/ 760 w 10785"/>
                  <a:gd name="connsiteY2265" fmla="*/ 4060 h 10000"/>
                  <a:gd name="connsiteX2266" fmla="*/ 756 w 10785"/>
                  <a:gd name="connsiteY2266" fmla="*/ 4034 h 10000"/>
                  <a:gd name="connsiteX2267" fmla="*/ 742 w 10785"/>
                  <a:gd name="connsiteY2267" fmla="*/ 4000 h 10000"/>
                  <a:gd name="connsiteX2268" fmla="*/ 747 w 10785"/>
                  <a:gd name="connsiteY2268" fmla="*/ 4034 h 10000"/>
                  <a:gd name="connsiteX2269" fmla="*/ 724 w 10785"/>
                  <a:gd name="connsiteY2269" fmla="*/ 4026 h 10000"/>
                  <a:gd name="connsiteX2270" fmla="*/ 714 w 10785"/>
                  <a:gd name="connsiteY2270" fmla="*/ 4000 h 10000"/>
                  <a:gd name="connsiteX2271" fmla="*/ 714 w 10785"/>
                  <a:gd name="connsiteY2271" fmla="*/ 3983 h 10000"/>
                  <a:gd name="connsiteX2272" fmla="*/ 553 w 10785"/>
                  <a:gd name="connsiteY2272" fmla="*/ 3726 h 10000"/>
                  <a:gd name="connsiteX2273" fmla="*/ 507 w 10785"/>
                  <a:gd name="connsiteY2273" fmla="*/ 3718 h 10000"/>
                  <a:gd name="connsiteX2274" fmla="*/ 516 w 10785"/>
                  <a:gd name="connsiteY2274" fmla="*/ 3726 h 10000"/>
                  <a:gd name="connsiteX2275" fmla="*/ 507 w 10785"/>
                  <a:gd name="connsiteY2275" fmla="*/ 3735 h 10000"/>
                  <a:gd name="connsiteX2276" fmla="*/ 502 w 10785"/>
                  <a:gd name="connsiteY2276" fmla="*/ 3735 h 10000"/>
                  <a:gd name="connsiteX2277" fmla="*/ 419 w 10785"/>
                  <a:gd name="connsiteY2277" fmla="*/ 3675 h 10000"/>
                  <a:gd name="connsiteX2278" fmla="*/ 419 w 10785"/>
                  <a:gd name="connsiteY2278" fmla="*/ 3692 h 10000"/>
                  <a:gd name="connsiteX2279" fmla="*/ 401 w 10785"/>
                  <a:gd name="connsiteY2279" fmla="*/ 3701 h 10000"/>
                  <a:gd name="connsiteX2280" fmla="*/ 387 w 10785"/>
                  <a:gd name="connsiteY2280" fmla="*/ 3718 h 10000"/>
                  <a:gd name="connsiteX2281" fmla="*/ 387 w 10785"/>
                  <a:gd name="connsiteY2281" fmla="*/ 3692 h 10000"/>
                  <a:gd name="connsiteX2282" fmla="*/ 378 w 10785"/>
                  <a:gd name="connsiteY2282" fmla="*/ 3675 h 10000"/>
                  <a:gd name="connsiteX2283" fmla="*/ 378 w 10785"/>
                  <a:gd name="connsiteY2283" fmla="*/ 3650 h 10000"/>
                  <a:gd name="connsiteX2284" fmla="*/ 378 w 10785"/>
                  <a:gd name="connsiteY2284" fmla="*/ 3650 h 10000"/>
                  <a:gd name="connsiteX2285" fmla="*/ 355 w 10785"/>
                  <a:gd name="connsiteY2285" fmla="*/ 3675 h 10000"/>
                  <a:gd name="connsiteX2286" fmla="*/ 359 w 10785"/>
                  <a:gd name="connsiteY2286" fmla="*/ 3641 h 10000"/>
                  <a:gd name="connsiteX2287" fmla="*/ 346 w 10785"/>
                  <a:gd name="connsiteY2287" fmla="*/ 3650 h 10000"/>
                  <a:gd name="connsiteX2288" fmla="*/ 355 w 10785"/>
                  <a:gd name="connsiteY2288" fmla="*/ 3624 h 10000"/>
                  <a:gd name="connsiteX2289" fmla="*/ 346 w 10785"/>
                  <a:gd name="connsiteY2289" fmla="*/ 3624 h 10000"/>
                  <a:gd name="connsiteX2290" fmla="*/ 341 w 10785"/>
                  <a:gd name="connsiteY2290" fmla="*/ 3624 h 10000"/>
                  <a:gd name="connsiteX2291" fmla="*/ 318 w 10785"/>
                  <a:gd name="connsiteY2291" fmla="*/ 3641 h 10000"/>
                  <a:gd name="connsiteX2292" fmla="*/ 327 w 10785"/>
                  <a:gd name="connsiteY2292" fmla="*/ 3624 h 10000"/>
                  <a:gd name="connsiteX2293" fmla="*/ 318 w 10785"/>
                  <a:gd name="connsiteY2293" fmla="*/ 3615 h 10000"/>
                  <a:gd name="connsiteX2294" fmla="*/ 318 w 10785"/>
                  <a:gd name="connsiteY2294" fmla="*/ 3598 h 10000"/>
                  <a:gd name="connsiteX2295" fmla="*/ 300 w 10785"/>
                  <a:gd name="connsiteY2295" fmla="*/ 3598 h 10000"/>
                  <a:gd name="connsiteX2296" fmla="*/ 309 w 10785"/>
                  <a:gd name="connsiteY2296" fmla="*/ 3538 h 10000"/>
                  <a:gd name="connsiteX2297" fmla="*/ 313 w 10785"/>
                  <a:gd name="connsiteY2297" fmla="*/ 3564 h 10000"/>
                  <a:gd name="connsiteX2298" fmla="*/ 318 w 10785"/>
                  <a:gd name="connsiteY2298" fmla="*/ 3581 h 10000"/>
                  <a:gd name="connsiteX2299" fmla="*/ 327 w 10785"/>
                  <a:gd name="connsiteY2299" fmla="*/ 3564 h 10000"/>
                  <a:gd name="connsiteX2300" fmla="*/ 332 w 10785"/>
                  <a:gd name="connsiteY2300" fmla="*/ 3590 h 10000"/>
                  <a:gd name="connsiteX2301" fmla="*/ 346 w 10785"/>
                  <a:gd name="connsiteY2301" fmla="*/ 3590 h 10000"/>
                  <a:gd name="connsiteX2302" fmla="*/ 355 w 10785"/>
                  <a:gd name="connsiteY2302" fmla="*/ 3590 h 10000"/>
                  <a:gd name="connsiteX2303" fmla="*/ 369 w 10785"/>
                  <a:gd name="connsiteY2303" fmla="*/ 3556 h 10000"/>
                  <a:gd name="connsiteX2304" fmla="*/ 369 w 10785"/>
                  <a:gd name="connsiteY2304" fmla="*/ 3538 h 10000"/>
                  <a:gd name="connsiteX2305" fmla="*/ 346 w 10785"/>
                  <a:gd name="connsiteY2305" fmla="*/ 3513 h 10000"/>
                  <a:gd name="connsiteX2306" fmla="*/ 341 w 10785"/>
                  <a:gd name="connsiteY2306" fmla="*/ 3530 h 10000"/>
                  <a:gd name="connsiteX2307" fmla="*/ 327 w 10785"/>
                  <a:gd name="connsiteY2307" fmla="*/ 3513 h 10000"/>
                  <a:gd name="connsiteX2308" fmla="*/ 327 w 10785"/>
                  <a:gd name="connsiteY2308" fmla="*/ 3504 h 10000"/>
                  <a:gd name="connsiteX2309" fmla="*/ 295 w 10785"/>
                  <a:gd name="connsiteY2309" fmla="*/ 3462 h 10000"/>
                  <a:gd name="connsiteX2310" fmla="*/ 300 w 10785"/>
                  <a:gd name="connsiteY2310" fmla="*/ 3479 h 10000"/>
                  <a:gd name="connsiteX2311" fmla="*/ 295 w 10785"/>
                  <a:gd name="connsiteY2311" fmla="*/ 3513 h 10000"/>
                  <a:gd name="connsiteX2312" fmla="*/ 286 w 10785"/>
                  <a:gd name="connsiteY2312" fmla="*/ 3513 h 10000"/>
                  <a:gd name="connsiteX2313" fmla="*/ 281 w 10785"/>
                  <a:gd name="connsiteY2313" fmla="*/ 3513 h 10000"/>
                  <a:gd name="connsiteX2314" fmla="*/ 281 w 10785"/>
                  <a:gd name="connsiteY2314" fmla="*/ 3530 h 10000"/>
                  <a:gd name="connsiteX2315" fmla="*/ 281 w 10785"/>
                  <a:gd name="connsiteY2315" fmla="*/ 3556 h 10000"/>
                  <a:gd name="connsiteX2316" fmla="*/ 272 w 10785"/>
                  <a:gd name="connsiteY2316" fmla="*/ 3564 h 10000"/>
                  <a:gd name="connsiteX2317" fmla="*/ 267 w 10785"/>
                  <a:gd name="connsiteY2317" fmla="*/ 3564 h 10000"/>
                  <a:gd name="connsiteX2318" fmla="*/ 253 w 10785"/>
                  <a:gd name="connsiteY2318" fmla="*/ 3538 h 10000"/>
                  <a:gd name="connsiteX2319" fmla="*/ 226 w 10785"/>
                  <a:gd name="connsiteY2319" fmla="*/ 3513 h 10000"/>
                  <a:gd name="connsiteX2320" fmla="*/ 226 w 10785"/>
                  <a:gd name="connsiteY2320" fmla="*/ 3530 h 10000"/>
                  <a:gd name="connsiteX2321" fmla="*/ 226 w 10785"/>
                  <a:gd name="connsiteY2321" fmla="*/ 3530 h 10000"/>
                  <a:gd name="connsiteX2322" fmla="*/ 226 w 10785"/>
                  <a:gd name="connsiteY2322" fmla="*/ 3530 h 10000"/>
                  <a:gd name="connsiteX2323" fmla="*/ 226 w 10785"/>
                  <a:gd name="connsiteY2323" fmla="*/ 3556 h 10000"/>
                  <a:gd name="connsiteX2324" fmla="*/ 221 w 10785"/>
                  <a:gd name="connsiteY2324" fmla="*/ 3598 h 10000"/>
                  <a:gd name="connsiteX2325" fmla="*/ 207 w 10785"/>
                  <a:gd name="connsiteY2325" fmla="*/ 3598 h 10000"/>
                  <a:gd name="connsiteX2326" fmla="*/ 180 w 10785"/>
                  <a:gd name="connsiteY2326" fmla="*/ 3581 h 10000"/>
                  <a:gd name="connsiteX2327" fmla="*/ 171 w 10785"/>
                  <a:gd name="connsiteY2327" fmla="*/ 3641 h 10000"/>
                  <a:gd name="connsiteX2328" fmla="*/ 166 w 10785"/>
                  <a:gd name="connsiteY2328" fmla="*/ 3650 h 10000"/>
                  <a:gd name="connsiteX2329" fmla="*/ 124 w 10785"/>
                  <a:gd name="connsiteY2329" fmla="*/ 3701 h 10000"/>
                  <a:gd name="connsiteX2330" fmla="*/ 124 w 10785"/>
                  <a:gd name="connsiteY2330" fmla="*/ 3718 h 10000"/>
                  <a:gd name="connsiteX2331" fmla="*/ 120 w 10785"/>
                  <a:gd name="connsiteY2331" fmla="*/ 3735 h 10000"/>
                  <a:gd name="connsiteX2332" fmla="*/ 120 w 10785"/>
                  <a:gd name="connsiteY2332" fmla="*/ 3735 h 10000"/>
                  <a:gd name="connsiteX2333" fmla="*/ 111 w 10785"/>
                  <a:gd name="connsiteY2333" fmla="*/ 3761 h 10000"/>
                  <a:gd name="connsiteX2334" fmla="*/ 106 w 10785"/>
                  <a:gd name="connsiteY2334" fmla="*/ 3761 h 10000"/>
                  <a:gd name="connsiteX2335" fmla="*/ 106 w 10785"/>
                  <a:gd name="connsiteY2335" fmla="*/ 3761 h 10000"/>
                  <a:gd name="connsiteX2336" fmla="*/ 74 w 10785"/>
                  <a:gd name="connsiteY2336" fmla="*/ 3829 h 10000"/>
                  <a:gd name="connsiteX2337" fmla="*/ 78 w 10785"/>
                  <a:gd name="connsiteY2337" fmla="*/ 3838 h 10000"/>
                  <a:gd name="connsiteX2338" fmla="*/ 88 w 10785"/>
                  <a:gd name="connsiteY2338" fmla="*/ 3846 h 10000"/>
                  <a:gd name="connsiteX2339" fmla="*/ 65 w 10785"/>
                  <a:gd name="connsiteY2339" fmla="*/ 3923 h 10000"/>
                  <a:gd name="connsiteX2340" fmla="*/ 78 w 10785"/>
                  <a:gd name="connsiteY2340" fmla="*/ 4026 h 10000"/>
                  <a:gd name="connsiteX2341" fmla="*/ 88 w 10785"/>
                  <a:gd name="connsiteY2341" fmla="*/ 4051 h 10000"/>
                  <a:gd name="connsiteX2342" fmla="*/ 92 w 10785"/>
                  <a:gd name="connsiteY2342" fmla="*/ 4060 h 10000"/>
                  <a:gd name="connsiteX2343" fmla="*/ 111 w 10785"/>
                  <a:gd name="connsiteY2343" fmla="*/ 4060 h 10000"/>
                  <a:gd name="connsiteX2344" fmla="*/ 124 w 10785"/>
                  <a:gd name="connsiteY2344" fmla="*/ 4085 h 10000"/>
                  <a:gd name="connsiteX2345" fmla="*/ 166 w 10785"/>
                  <a:gd name="connsiteY2345" fmla="*/ 4197 h 10000"/>
                  <a:gd name="connsiteX2346" fmla="*/ 166 w 10785"/>
                  <a:gd name="connsiteY2346" fmla="*/ 4248 h 10000"/>
                  <a:gd name="connsiteX2347" fmla="*/ 120 w 10785"/>
                  <a:gd name="connsiteY2347" fmla="*/ 4462 h 10000"/>
                  <a:gd name="connsiteX2348" fmla="*/ 120 w 10785"/>
                  <a:gd name="connsiteY2348" fmla="*/ 4513 h 10000"/>
                  <a:gd name="connsiteX2349" fmla="*/ 180 w 10785"/>
                  <a:gd name="connsiteY2349" fmla="*/ 4829 h 10000"/>
                  <a:gd name="connsiteX2350" fmla="*/ 161 w 10785"/>
                  <a:gd name="connsiteY2350" fmla="*/ 4855 h 10000"/>
                  <a:gd name="connsiteX2351" fmla="*/ 152 w 10785"/>
                  <a:gd name="connsiteY2351" fmla="*/ 4940 h 10000"/>
                  <a:gd name="connsiteX2352" fmla="*/ 161 w 10785"/>
                  <a:gd name="connsiteY2352" fmla="*/ 4966 h 10000"/>
                  <a:gd name="connsiteX2353" fmla="*/ 161 w 10785"/>
                  <a:gd name="connsiteY2353" fmla="*/ 5009 h 10000"/>
                  <a:gd name="connsiteX2354" fmla="*/ 152 w 10785"/>
                  <a:gd name="connsiteY2354" fmla="*/ 5034 h 10000"/>
                  <a:gd name="connsiteX2355" fmla="*/ 152 w 10785"/>
                  <a:gd name="connsiteY2355" fmla="*/ 5077 h 10000"/>
                  <a:gd name="connsiteX2356" fmla="*/ 171 w 10785"/>
                  <a:gd name="connsiteY2356" fmla="*/ 5094 h 10000"/>
                  <a:gd name="connsiteX2357" fmla="*/ 180 w 10785"/>
                  <a:gd name="connsiteY2357" fmla="*/ 5128 h 10000"/>
                  <a:gd name="connsiteX2358" fmla="*/ 180 w 10785"/>
                  <a:gd name="connsiteY2358" fmla="*/ 5171 h 10000"/>
                  <a:gd name="connsiteX2359" fmla="*/ 184 w 10785"/>
                  <a:gd name="connsiteY2359" fmla="*/ 5205 h 10000"/>
                  <a:gd name="connsiteX2360" fmla="*/ 207 w 10785"/>
                  <a:gd name="connsiteY2360" fmla="*/ 5239 h 10000"/>
                  <a:gd name="connsiteX2361" fmla="*/ 207 w 10785"/>
                  <a:gd name="connsiteY2361" fmla="*/ 5282 h 10000"/>
                  <a:gd name="connsiteX2362" fmla="*/ 180 w 10785"/>
                  <a:gd name="connsiteY2362" fmla="*/ 5393 h 10000"/>
                  <a:gd name="connsiteX2363" fmla="*/ 194 w 10785"/>
                  <a:gd name="connsiteY2363" fmla="*/ 5427 h 10000"/>
                  <a:gd name="connsiteX2364" fmla="*/ 198 w 10785"/>
                  <a:gd name="connsiteY2364" fmla="*/ 5462 h 10000"/>
                  <a:gd name="connsiteX2365" fmla="*/ 235 w 10785"/>
                  <a:gd name="connsiteY2365" fmla="*/ 5513 h 10000"/>
                  <a:gd name="connsiteX2366" fmla="*/ 240 w 10785"/>
                  <a:gd name="connsiteY2366" fmla="*/ 5556 h 10000"/>
                  <a:gd name="connsiteX2367" fmla="*/ 253 w 10785"/>
                  <a:gd name="connsiteY2367" fmla="*/ 5590 h 10000"/>
                  <a:gd name="connsiteX2368" fmla="*/ 258 w 10785"/>
                  <a:gd name="connsiteY2368" fmla="*/ 5573 h 10000"/>
                  <a:gd name="connsiteX2369" fmla="*/ 258 w 10785"/>
                  <a:gd name="connsiteY2369" fmla="*/ 5667 h 10000"/>
                  <a:gd name="connsiteX2370" fmla="*/ 14 w 10785"/>
                  <a:gd name="connsiteY2370" fmla="*/ 6214 h 10000"/>
                  <a:gd name="connsiteX2371" fmla="*/ 14 w 10785"/>
                  <a:gd name="connsiteY2371" fmla="*/ 6214 h 10000"/>
                  <a:gd name="connsiteX2372" fmla="*/ 37 w 10785"/>
                  <a:gd name="connsiteY2372" fmla="*/ 6214 h 10000"/>
                  <a:gd name="connsiteX2373" fmla="*/ 51 w 10785"/>
                  <a:gd name="connsiteY2373" fmla="*/ 6188 h 10000"/>
                  <a:gd name="connsiteX2374" fmla="*/ 78 w 10785"/>
                  <a:gd name="connsiteY2374" fmla="*/ 6162 h 10000"/>
                  <a:gd name="connsiteX2375" fmla="*/ 78 w 10785"/>
                  <a:gd name="connsiteY2375" fmla="*/ 6188 h 10000"/>
                  <a:gd name="connsiteX2376" fmla="*/ 74 w 10785"/>
                  <a:gd name="connsiteY2376" fmla="*/ 6197 h 10000"/>
                  <a:gd name="connsiteX2377" fmla="*/ 74 w 10785"/>
                  <a:gd name="connsiteY2377" fmla="*/ 6231 h 10000"/>
                  <a:gd name="connsiteX2378" fmla="*/ 74 w 10785"/>
                  <a:gd name="connsiteY2378" fmla="*/ 6214 h 10000"/>
                  <a:gd name="connsiteX2379" fmla="*/ 65 w 10785"/>
                  <a:gd name="connsiteY2379" fmla="*/ 6214 h 10000"/>
                  <a:gd name="connsiteX2380" fmla="*/ 65 w 10785"/>
                  <a:gd name="connsiteY2380" fmla="*/ 6248 h 10000"/>
                  <a:gd name="connsiteX2381" fmla="*/ 74 w 10785"/>
                  <a:gd name="connsiteY2381" fmla="*/ 6256 h 10000"/>
                  <a:gd name="connsiteX2382" fmla="*/ 78 w 10785"/>
                  <a:gd name="connsiteY2382" fmla="*/ 6256 h 10000"/>
                  <a:gd name="connsiteX2383" fmla="*/ 106 w 10785"/>
                  <a:gd name="connsiteY2383" fmla="*/ 6308 h 10000"/>
                  <a:gd name="connsiteX2384" fmla="*/ 138 w 10785"/>
                  <a:gd name="connsiteY2384" fmla="*/ 6299 h 10000"/>
                  <a:gd name="connsiteX2385" fmla="*/ 152 w 10785"/>
                  <a:gd name="connsiteY2385" fmla="*/ 6299 h 10000"/>
                  <a:gd name="connsiteX2386" fmla="*/ 166 w 10785"/>
                  <a:gd name="connsiteY2386" fmla="*/ 6325 h 10000"/>
                  <a:gd name="connsiteX2387" fmla="*/ 166 w 10785"/>
                  <a:gd name="connsiteY2387" fmla="*/ 6333 h 10000"/>
                  <a:gd name="connsiteX2388" fmla="*/ 171 w 10785"/>
                  <a:gd name="connsiteY2388" fmla="*/ 6350 h 10000"/>
                  <a:gd name="connsiteX2389" fmla="*/ 180 w 10785"/>
                  <a:gd name="connsiteY2389" fmla="*/ 6350 h 10000"/>
                  <a:gd name="connsiteX2390" fmla="*/ 180 w 10785"/>
                  <a:gd name="connsiteY2390" fmla="*/ 6359 h 10000"/>
                  <a:gd name="connsiteX2391" fmla="*/ 171 w 10785"/>
                  <a:gd name="connsiteY2391" fmla="*/ 6368 h 10000"/>
                  <a:gd name="connsiteX2392" fmla="*/ 106 w 10785"/>
                  <a:gd name="connsiteY2392" fmla="*/ 6350 h 10000"/>
                  <a:gd name="connsiteX2393" fmla="*/ 101 w 10785"/>
                  <a:gd name="connsiteY2393" fmla="*/ 6359 h 10000"/>
                  <a:gd name="connsiteX2394" fmla="*/ 101 w 10785"/>
                  <a:gd name="connsiteY2394" fmla="*/ 6385 h 10000"/>
                  <a:gd name="connsiteX2395" fmla="*/ 78 w 10785"/>
                  <a:gd name="connsiteY2395" fmla="*/ 6393 h 10000"/>
                  <a:gd name="connsiteX2396" fmla="*/ 74 w 10785"/>
                  <a:gd name="connsiteY2396" fmla="*/ 6385 h 10000"/>
                  <a:gd name="connsiteX2397" fmla="*/ 65 w 10785"/>
                  <a:gd name="connsiteY2397" fmla="*/ 6393 h 10000"/>
                  <a:gd name="connsiteX2398" fmla="*/ 60 w 10785"/>
                  <a:gd name="connsiteY2398" fmla="*/ 6419 h 10000"/>
                  <a:gd name="connsiteX2399" fmla="*/ 51 w 10785"/>
                  <a:gd name="connsiteY2399" fmla="*/ 6419 h 10000"/>
                  <a:gd name="connsiteX2400" fmla="*/ 46 w 10785"/>
                  <a:gd name="connsiteY2400" fmla="*/ 6410 h 10000"/>
                  <a:gd name="connsiteX2401" fmla="*/ 37 w 10785"/>
                  <a:gd name="connsiteY2401" fmla="*/ 6393 h 10000"/>
                  <a:gd name="connsiteX2402" fmla="*/ 32 w 10785"/>
                  <a:gd name="connsiteY2402" fmla="*/ 6419 h 10000"/>
                  <a:gd name="connsiteX2403" fmla="*/ 37 w 10785"/>
                  <a:gd name="connsiteY2403" fmla="*/ 6462 h 10000"/>
                  <a:gd name="connsiteX2404" fmla="*/ 46 w 10785"/>
                  <a:gd name="connsiteY2404" fmla="*/ 6462 h 10000"/>
                  <a:gd name="connsiteX2405" fmla="*/ 51 w 10785"/>
                  <a:gd name="connsiteY2405" fmla="*/ 6470 h 10000"/>
                  <a:gd name="connsiteX2406" fmla="*/ 51 w 10785"/>
                  <a:gd name="connsiteY2406" fmla="*/ 6496 h 10000"/>
                  <a:gd name="connsiteX2407" fmla="*/ 51 w 10785"/>
                  <a:gd name="connsiteY2407" fmla="*/ 6504 h 10000"/>
                  <a:gd name="connsiteX2408" fmla="*/ 37 w 10785"/>
                  <a:gd name="connsiteY2408" fmla="*/ 6530 h 10000"/>
                  <a:gd name="connsiteX2409" fmla="*/ 18 w 10785"/>
                  <a:gd name="connsiteY2409" fmla="*/ 6598 h 10000"/>
                  <a:gd name="connsiteX2410" fmla="*/ 28 w 10785"/>
                  <a:gd name="connsiteY2410" fmla="*/ 6632 h 10000"/>
                  <a:gd name="connsiteX2411" fmla="*/ 18 w 10785"/>
                  <a:gd name="connsiteY2411" fmla="*/ 6667 h 10000"/>
                  <a:gd name="connsiteX2412" fmla="*/ 28 w 10785"/>
                  <a:gd name="connsiteY2412" fmla="*/ 6692 h 10000"/>
                  <a:gd name="connsiteX2413" fmla="*/ 28 w 10785"/>
                  <a:gd name="connsiteY2413" fmla="*/ 6709 h 10000"/>
                  <a:gd name="connsiteX2414" fmla="*/ 18 w 10785"/>
                  <a:gd name="connsiteY2414" fmla="*/ 6718 h 10000"/>
                  <a:gd name="connsiteX2415" fmla="*/ 5 w 10785"/>
                  <a:gd name="connsiteY2415" fmla="*/ 6744 h 10000"/>
                  <a:gd name="connsiteX2416" fmla="*/ 0 w 10785"/>
                  <a:gd name="connsiteY2416" fmla="*/ 6769 h 10000"/>
                  <a:gd name="connsiteX2417" fmla="*/ 5 w 10785"/>
                  <a:gd name="connsiteY2417" fmla="*/ 6778 h 10000"/>
                  <a:gd name="connsiteX2418" fmla="*/ 32 w 10785"/>
                  <a:gd name="connsiteY2418" fmla="*/ 6778 h 10000"/>
                  <a:gd name="connsiteX2419" fmla="*/ 46 w 10785"/>
                  <a:gd name="connsiteY2419" fmla="*/ 6821 h 10000"/>
                  <a:gd name="connsiteX2420" fmla="*/ 46 w 10785"/>
                  <a:gd name="connsiteY2420" fmla="*/ 6855 h 10000"/>
                  <a:gd name="connsiteX2421" fmla="*/ 32 w 10785"/>
                  <a:gd name="connsiteY2421" fmla="*/ 6855 h 10000"/>
                  <a:gd name="connsiteX2422" fmla="*/ 14 w 10785"/>
                  <a:gd name="connsiteY2422" fmla="*/ 6821 h 10000"/>
                  <a:gd name="connsiteX2423" fmla="*/ 14 w 10785"/>
                  <a:gd name="connsiteY2423" fmla="*/ 6846 h 10000"/>
                  <a:gd name="connsiteX2424" fmla="*/ 0 w 10785"/>
                  <a:gd name="connsiteY2424" fmla="*/ 6897 h 10000"/>
                  <a:gd name="connsiteX2425" fmla="*/ 0 w 10785"/>
                  <a:gd name="connsiteY2425" fmla="*/ 6915 h 10000"/>
                  <a:gd name="connsiteX2426" fmla="*/ 5 w 10785"/>
                  <a:gd name="connsiteY2426" fmla="*/ 6932 h 10000"/>
                  <a:gd name="connsiteX2427" fmla="*/ 14 w 10785"/>
                  <a:gd name="connsiteY2427" fmla="*/ 6940 h 10000"/>
                  <a:gd name="connsiteX2428" fmla="*/ 18 w 10785"/>
                  <a:gd name="connsiteY2428" fmla="*/ 6957 h 10000"/>
                  <a:gd name="connsiteX2429" fmla="*/ 28 w 10785"/>
                  <a:gd name="connsiteY2429" fmla="*/ 6966 h 10000"/>
                  <a:gd name="connsiteX2430" fmla="*/ 28 w 10785"/>
                  <a:gd name="connsiteY2430" fmla="*/ 6983 h 10000"/>
                  <a:gd name="connsiteX2431" fmla="*/ 18 w 10785"/>
                  <a:gd name="connsiteY2431" fmla="*/ 7051 h 10000"/>
                  <a:gd name="connsiteX2432" fmla="*/ 28 w 10785"/>
                  <a:gd name="connsiteY2432" fmla="*/ 7068 h 10000"/>
                  <a:gd name="connsiteX2433" fmla="*/ 32 w 10785"/>
                  <a:gd name="connsiteY2433" fmla="*/ 7068 h 10000"/>
                  <a:gd name="connsiteX2434" fmla="*/ 32 w 10785"/>
                  <a:gd name="connsiteY2434" fmla="*/ 7094 h 10000"/>
                  <a:gd name="connsiteX2435" fmla="*/ 60 w 10785"/>
                  <a:gd name="connsiteY2435" fmla="*/ 7162 h 10000"/>
                  <a:gd name="connsiteX2436" fmla="*/ 60 w 10785"/>
                  <a:gd name="connsiteY2436" fmla="*/ 7231 h 10000"/>
                  <a:gd name="connsiteX2437" fmla="*/ 60 w 10785"/>
                  <a:gd name="connsiteY2437" fmla="*/ 7239 h 10000"/>
                  <a:gd name="connsiteX2438" fmla="*/ 78 w 10785"/>
                  <a:gd name="connsiteY2438" fmla="*/ 7239 h 10000"/>
                  <a:gd name="connsiteX2439" fmla="*/ 88 w 10785"/>
                  <a:gd name="connsiteY2439" fmla="*/ 7239 h 10000"/>
                  <a:gd name="connsiteX2440" fmla="*/ 92 w 10785"/>
                  <a:gd name="connsiteY2440" fmla="*/ 7256 h 10000"/>
                  <a:gd name="connsiteX2441" fmla="*/ 111 w 10785"/>
                  <a:gd name="connsiteY2441" fmla="*/ 7256 h 10000"/>
                  <a:gd name="connsiteX2442" fmla="*/ 120 w 10785"/>
                  <a:gd name="connsiteY2442" fmla="*/ 7256 h 10000"/>
                  <a:gd name="connsiteX2443" fmla="*/ 134 w 10785"/>
                  <a:gd name="connsiteY2443" fmla="*/ 7282 h 10000"/>
                  <a:gd name="connsiteX2444" fmla="*/ 134 w 10785"/>
                  <a:gd name="connsiteY2444" fmla="*/ 7316 h 10000"/>
                  <a:gd name="connsiteX2445" fmla="*/ 152 w 10785"/>
                  <a:gd name="connsiteY2445" fmla="*/ 7299 h 10000"/>
                  <a:gd name="connsiteX2446" fmla="*/ 161 w 10785"/>
                  <a:gd name="connsiteY2446" fmla="*/ 7299 h 10000"/>
                  <a:gd name="connsiteX2447" fmla="*/ 166 w 10785"/>
                  <a:gd name="connsiteY2447" fmla="*/ 7291 h 10000"/>
                  <a:gd name="connsiteX2448" fmla="*/ 194 w 10785"/>
                  <a:gd name="connsiteY2448" fmla="*/ 7291 h 10000"/>
                  <a:gd name="connsiteX2449" fmla="*/ 207 w 10785"/>
                  <a:gd name="connsiteY2449" fmla="*/ 7299 h 10000"/>
                  <a:gd name="connsiteX2450" fmla="*/ 221 w 10785"/>
                  <a:gd name="connsiteY2450" fmla="*/ 7342 h 10000"/>
                  <a:gd name="connsiteX2451" fmla="*/ 235 w 10785"/>
                  <a:gd name="connsiteY2451" fmla="*/ 7342 h 10000"/>
                  <a:gd name="connsiteX2452" fmla="*/ 235 w 10785"/>
                  <a:gd name="connsiteY2452" fmla="*/ 7368 h 10000"/>
                  <a:gd name="connsiteX2453" fmla="*/ 226 w 10785"/>
                  <a:gd name="connsiteY2453" fmla="*/ 7393 h 10000"/>
                  <a:gd name="connsiteX2454" fmla="*/ 226 w 10785"/>
                  <a:gd name="connsiteY2454" fmla="*/ 7402 h 10000"/>
                  <a:gd name="connsiteX2455" fmla="*/ 235 w 10785"/>
                  <a:gd name="connsiteY2455" fmla="*/ 7419 h 10000"/>
                  <a:gd name="connsiteX2456" fmla="*/ 240 w 10785"/>
                  <a:gd name="connsiteY2456" fmla="*/ 7436 h 10000"/>
                  <a:gd name="connsiteX2457" fmla="*/ 235 w 10785"/>
                  <a:gd name="connsiteY2457" fmla="*/ 7462 h 10000"/>
                  <a:gd name="connsiteX2458" fmla="*/ 226 w 10785"/>
                  <a:gd name="connsiteY2458" fmla="*/ 7479 h 10000"/>
                  <a:gd name="connsiteX2459" fmla="*/ 226 w 10785"/>
                  <a:gd name="connsiteY2459" fmla="*/ 7504 h 10000"/>
                  <a:gd name="connsiteX2460" fmla="*/ 226 w 10785"/>
                  <a:gd name="connsiteY2460" fmla="*/ 7513 h 10000"/>
                  <a:gd name="connsiteX2461" fmla="*/ 240 w 10785"/>
                  <a:gd name="connsiteY2461" fmla="*/ 7538 h 10000"/>
                  <a:gd name="connsiteX2462" fmla="*/ 267 w 10785"/>
                  <a:gd name="connsiteY2462" fmla="*/ 7641 h 10000"/>
                  <a:gd name="connsiteX2463" fmla="*/ 281 w 10785"/>
                  <a:gd name="connsiteY2463" fmla="*/ 7667 h 10000"/>
                  <a:gd name="connsiteX2464" fmla="*/ 286 w 10785"/>
                  <a:gd name="connsiteY2464" fmla="*/ 7675 h 10000"/>
                  <a:gd name="connsiteX2465" fmla="*/ 286 w 10785"/>
                  <a:gd name="connsiteY2465" fmla="*/ 7692 h 10000"/>
                  <a:gd name="connsiteX2466" fmla="*/ 286 w 10785"/>
                  <a:gd name="connsiteY2466" fmla="*/ 7709 h 10000"/>
                  <a:gd name="connsiteX2467" fmla="*/ 295 w 10785"/>
                  <a:gd name="connsiteY2467" fmla="*/ 7726 h 10000"/>
                  <a:gd name="connsiteX2468" fmla="*/ 318 w 10785"/>
                  <a:gd name="connsiteY2468" fmla="*/ 7709 h 10000"/>
                  <a:gd name="connsiteX2469" fmla="*/ 327 w 10785"/>
                  <a:gd name="connsiteY2469" fmla="*/ 7726 h 10000"/>
                  <a:gd name="connsiteX2470" fmla="*/ 341 w 10785"/>
                  <a:gd name="connsiteY2470" fmla="*/ 7735 h 10000"/>
                  <a:gd name="connsiteX2471" fmla="*/ 332 w 10785"/>
                  <a:gd name="connsiteY2471" fmla="*/ 7752 h 10000"/>
                  <a:gd name="connsiteX2472" fmla="*/ 341 w 10785"/>
                  <a:gd name="connsiteY2472" fmla="*/ 7761 h 10000"/>
                  <a:gd name="connsiteX2473" fmla="*/ 355 w 10785"/>
                  <a:gd name="connsiteY2473" fmla="*/ 7761 h 10000"/>
                  <a:gd name="connsiteX2474" fmla="*/ 355 w 10785"/>
                  <a:gd name="connsiteY2474" fmla="*/ 7803 h 10000"/>
                  <a:gd name="connsiteX2475" fmla="*/ 313 w 10785"/>
                  <a:gd name="connsiteY2475" fmla="*/ 7846 h 10000"/>
                  <a:gd name="connsiteX2476" fmla="*/ 295 w 10785"/>
                  <a:gd name="connsiteY2476" fmla="*/ 7846 h 10000"/>
                  <a:gd name="connsiteX2477" fmla="*/ 281 w 10785"/>
                  <a:gd name="connsiteY2477" fmla="*/ 7821 h 10000"/>
                  <a:gd name="connsiteX2478" fmla="*/ 272 w 10785"/>
                  <a:gd name="connsiteY2478" fmla="*/ 7821 h 10000"/>
                  <a:gd name="connsiteX2479" fmla="*/ 267 w 10785"/>
                  <a:gd name="connsiteY2479" fmla="*/ 7838 h 10000"/>
                  <a:gd name="connsiteX2480" fmla="*/ 258 w 10785"/>
                  <a:gd name="connsiteY2480" fmla="*/ 7846 h 10000"/>
                  <a:gd name="connsiteX2481" fmla="*/ 253 w 10785"/>
                  <a:gd name="connsiteY2481" fmla="*/ 7863 h 10000"/>
                  <a:gd name="connsiteX2482" fmla="*/ 253 w 10785"/>
                  <a:gd name="connsiteY2482" fmla="*/ 7872 h 10000"/>
                  <a:gd name="connsiteX2483" fmla="*/ 267 w 10785"/>
                  <a:gd name="connsiteY2483" fmla="*/ 7897 h 10000"/>
                  <a:gd name="connsiteX2484" fmla="*/ 272 w 10785"/>
                  <a:gd name="connsiteY2484" fmla="*/ 7915 h 10000"/>
                  <a:gd name="connsiteX2485" fmla="*/ 267 w 10785"/>
                  <a:gd name="connsiteY2485" fmla="*/ 7940 h 10000"/>
                  <a:gd name="connsiteX2486" fmla="*/ 272 w 10785"/>
                  <a:gd name="connsiteY2486" fmla="*/ 7949 h 10000"/>
                  <a:gd name="connsiteX2487" fmla="*/ 272 w 10785"/>
                  <a:gd name="connsiteY2487" fmla="*/ 7957 h 10000"/>
                  <a:gd name="connsiteX2488" fmla="*/ 281 w 10785"/>
                  <a:gd name="connsiteY2488" fmla="*/ 7974 h 10000"/>
                  <a:gd name="connsiteX2489" fmla="*/ 286 w 10785"/>
                  <a:gd name="connsiteY2489" fmla="*/ 7983 h 10000"/>
                  <a:gd name="connsiteX2490" fmla="*/ 281 w 10785"/>
                  <a:gd name="connsiteY2490" fmla="*/ 8009 h 10000"/>
                  <a:gd name="connsiteX2491" fmla="*/ 286 w 10785"/>
                  <a:gd name="connsiteY2491" fmla="*/ 8060 h 10000"/>
                  <a:gd name="connsiteX2492" fmla="*/ 286 w 10785"/>
                  <a:gd name="connsiteY2492" fmla="*/ 8060 h 10000"/>
                  <a:gd name="connsiteX2493" fmla="*/ 295 w 10785"/>
                  <a:gd name="connsiteY2493" fmla="*/ 8077 h 10000"/>
                  <a:gd name="connsiteX2494" fmla="*/ 309 w 10785"/>
                  <a:gd name="connsiteY2494" fmla="*/ 8077 h 10000"/>
                  <a:gd name="connsiteX2495" fmla="*/ 313 w 10785"/>
                  <a:gd name="connsiteY2495" fmla="*/ 8060 h 10000"/>
                  <a:gd name="connsiteX2496" fmla="*/ 318 w 10785"/>
                  <a:gd name="connsiteY2496" fmla="*/ 8051 h 10000"/>
                  <a:gd name="connsiteX2497" fmla="*/ 318 w 10785"/>
                  <a:gd name="connsiteY2497" fmla="*/ 8034 h 10000"/>
                  <a:gd name="connsiteX2498" fmla="*/ 332 w 10785"/>
                  <a:gd name="connsiteY2498" fmla="*/ 8026 h 10000"/>
                  <a:gd name="connsiteX2499" fmla="*/ 359 w 10785"/>
                  <a:gd name="connsiteY2499" fmla="*/ 8034 h 10000"/>
                  <a:gd name="connsiteX2500" fmla="*/ 378 w 10785"/>
                  <a:gd name="connsiteY2500" fmla="*/ 8026 h 10000"/>
                  <a:gd name="connsiteX2501" fmla="*/ 401 w 10785"/>
                  <a:gd name="connsiteY2501" fmla="*/ 8026 h 10000"/>
                  <a:gd name="connsiteX2502" fmla="*/ 419 w 10785"/>
                  <a:gd name="connsiteY2502" fmla="*/ 8009 h 10000"/>
                  <a:gd name="connsiteX2503" fmla="*/ 433 w 10785"/>
                  <a:gd name="connsiteY2503" fmla="*/ 8034 h 10000"/>
                  <a:gd name="connsiteX2504" fmla="*/ 442 w 10785"/>
                  <a:gd name="connsiteY2504" fmla="*/ 8060 h 10000"/>
                  <a:gd name="connsiteX2505" fmla="*/ 442 w 10785"/>
                  <a:gd name="connsiteY2505" fmla="*/ 8077 h 10000"/>
                  <a:gd name="connsiteX2506" fmla="*/ 461 w 10785"/>
                  <a:gd name="connsiteY2506" fmla="*/ 8111 h 10000"/>
                  <a:gd name="connsiteX2507" fmla="*/ 461 w 10785"/>
                  <a:gd name="connsiteY2507" fmla="*/ 8137 h 10000"/>
                  <a:gd name="connsiteX2508" fmla="*/ 447 w 10785"/>
                  <a:gd name="connsiteY2508" fmla="*/ 8145 h 10000"/>
                  <a:gd name="connsiteX2509" fmla="*/ 442 w 10785"/>
                  <a:gd name="connsiteY2509" fmla="*/ 8145 h 10000"/>
                  <a:gd name="connsiteX2510" fmla="*/ 442 w 10785"/>
                  <a:gd name="connsiteY2510" fmla="*/ 8162 h 10000"/>
                  <a:gd name="connsiteX2511" fmla="*/ 442 w 10785"/>
                  <a:gd name="connsiteY2511" fmla="*/ 8171 h 10000"/>
                  <a:gd name="connsiteX2512" fmla="*/ 447 w 10785"/>
                  <a:gd name="connsiteY2512" fmla="*/ 8214 h 10000"/>
                  <a:gd name="connsiteX2513" fmla="*/ 465 w 10785"/>
                  <a:gd name="connsiteY2513" fmla="*/ 8231 h 10000"/>
                  <a:gd name="connsiteX2514" fmla="*/ 488 w 10785"/>
                  <a:gd name="connsiteY2514" fmla="*/ 8231 h 10000"/>
                  <a:gd name="connsiteX2515" fmla="*/ 493 w 10785"/>
                  <a:gd name="connsiteY2515" fmla="*/ 8231 h 10000"/>
                  <a:gd name="connsiteX2516" fmla="*/ 502 w 10785"/>
                  <a:gd name="connsiteY2516" fmla="*/ 8231 h 10000"/>
                  <a:gd name="connsiteX2517" fmla="*/ 507 w 10785"/>
                  <a:gd name="connsiteY2517" fmla="*/ 8248 h 10000"/>
                  <a:gd name="connsiteX2518" fmla="*/ 521 w 10785"/>
                  <a:gd name="connsiteY2518" fmla="*/ 8274 h 10000"/>
                  <a:gd name="connsiteX2519" fmla="*/ 525 w 10785"/>
                  <a:gd name="connsiteY2519" fmla="*/ 8333 h 10000"/>
                  <a:gd name="connsiteX2520" fmla="*/ 525 w 10785"/>
                  <a:gd name="connsiteY2520" fmla="*/ 8359 h 10000"/>
                  <a:gd name="connsiteX2521" fmla="*/ 525 w 10785"/>
                  <a:gd name="connsiteY2521" fmla="*/ 8368 h 10000"/>
                  <a:gd name="connsiteX2522" fmla="*/ 548 w 10785"/>
                  <a:gd name="connsiteY2522" fmla="*/ 8393 h 10000"/>
                  <a:gd name="connsiteX2523" fmla="*/ 553 w 10785"/>
                  <a:gd name="connsiteY2523" fmla="*/ 8385 h 10000"/>
                  <a:gd name="connsiteX2524" fmla="*/ 562 w 10785"/>
                  <a:gd name="connsiteY2524" fmla="*/ 8385 h 10000"/>
                  <a:gd name="connsiteX2525" fmla="*/ 576 w 10785"/>
                  <a:gd name="connsiteY2525" fmla="*/ 8385 h 10000"/>
                  <a:gd name="connsiteX2526" fmla="*/ 585 w 10785"/>
                  <a:gd name="connsiteY2526" fmla="*/ 8410 h 10000"/>
                  <a:gd name="connsiteX2527" fmla="*/ 594 w 10785"/>
                  <a:gd name="connsiteY2527" fmla="*/ 8410 h 10000"/>
                  <a:gd name="connsiteX2528" fmla="*/ 608 w 10785"/>
                  <a:gd name="connsiteY2528" fmla="*/ 8410 h 10000"/>
                  <a:gd name="connsiteX2529" fmla="*/ 654 w 10785"/>
                  <a:gd name="connsiteY2529" fmla="*/ 8385 h 10000"/>
                  <a:gd name="connsiteX2530" fmla="*/ 659 w 10785"/>
                  <a:gd name="connsiteY2530" fmla="*/ 8385 h 10000"/>
                  <a:gd name="connsiteX2531" fmla="*/ 696 w 10785"/>
                  <a:gd name="connsiteY2531" fmla="*/ 8470 h 10000"/>
                  <a:gd name="connsiteX2532" fmla="*/ 700 w 10785"/>
                  <a:gd name="connsiteY2532" fmla="*/ 8470 h 10000"/>
                  <a:gd name="connsiteX2533" fmla="*/ 710 w 10785"/>
                  <a:gd name="connsiteY2533" fmla="*/ 8462 h 10000"/>
                  <a:gd name="connsiteX2534" fmla="*/ 714 w 10785"/>
                  <a:gd name="connsiteY2534" fmla="*/ 8462 h 10000"/>
                  <a:gd name="connsiteX2535" fmla="*/ 724 w 10785"/>
                  <a:gd name="connsiteY2535" fmla="*/ 8470 h 10000"/>
                  <a:gd name="connsiteX2536" fmla="*/ 733 w 10785"/>
                  <a:gd name="connsiteY2536" fmla="*/ 8470 h 10000"/>
                  <a:gd name="connsiteX2537" fmla="*/ 742 w 10785"/>
                  <a:gd name="connsiteY2537" fmla="*/ 8487 h 10000"/>
                  <a:gd name="connsiteX2538" fmla="*/ 747 w 10785"/>
                  <a:gd name="connsiteY2538" fmla="*/ 8496 h 10000"/>
                  <a:gd name="connsiteX2539" fmla="*/ 770 w 10785"/>
                  <a:gd name="connsiteY2539" fmla="*/ 8496 h 10000"/>
                  <a:gd name="connsiteX2540" fmla="*/ 783 w 10785"/>
                  <a:gd name="connsiteY2540" fmla="*/ 8521 h 10000"/>
                  <a:gd name="connsiteX2541" fmla="*/ 797 w 10785"/>
                  <a:gd name="connsiteY2541" fmla="*/ 8521 h 10000"/>
                  <a:gd name="connsiteX2542" fmla="*/ 806 w 10785"/>
                  <a:gd name="connsiteY2542" fmla="*/ 8530 h 10000"/>
                  <a:gd name="connsiteX2543" fmla="*/ 829 w 10785"/>
                  <a:gd name="connsiteY2543" fmla="*/ 8547 h 10000"/>
                  <a:gd name="connsiteX2544" fmla="*/ 834 w 10785"/>
                  <a:gd name="connsiteY2544" fmla="*/ 8556 h 10000"/>
                  <a:gd name="connsiteX2545" fmla="*/ 829 w 10785"/>
                  <a:gd name="connsiteY2545" fmla="*/ 8556 h 10000"/>
                  <a:gd name="connsiteX2546" fmla="*/ 834 w 10785"/>
                  <a:gd name="connsiteY2546" fmla="*/ 8607 h 10000"/>
                  <a:gd name="connsiteX2547" fmla="*/ 829 w 10785"/>
                  <a:gd name="connsiteY2547" fmla="*/ 8641 h 10000"/>
                  <a:gd name="connsiteX2548" fmla="*/ 806 w 10785"/>
                  <a:gd name="connsiteY2548" fmla="*/ 8658 h 10000"/>
                  <a:gd name="connsiteX2549" fmla="*/ 816 w 10785"/>
                  <a:gd name="connsiteY2549" fmla="*/ 8667 h 10000"/>
                  <a:gd name="connsiteX2550" fmla="*/ 820 w 10785"/>
                  <a:gd name="connsiteY2550" fmla="*/ 8667 h 10000"/>
                  <a:gd name="connsiteX2551" fmla="*/ 829 w 10785"/>
                  <a:gd name="connsiteY2551" fmla="*/ 8684 h 10000"/>
                  <a:gd name="connsiteX2552" fmla="*/ 806 w 10785"/>
                  <a:gd name="connsiteY2552" fmla="*/ 8692 h 10000"/>
                  <a:gd name="connsiteX2553" fmla="*/ 802 w 10785"/>
                  <a:gd name="connsiteY2553" fmla="*/ 8709 h 10000"/>
                  <a:gd name="connsiteX2554" fmla="*/ 802 w 10785"/>
                  <a:gd name="connsiteY2554" fmla="*/ 8735 h 10000"/>
                  <a:gd name="connsiteX2555" fmla="*/ 806 w 10785"/>
                  <a:gd name="connsiteY2555" fmla="*/ 8744 h 10000"/>
                  <a:gd name="connsiteX2556" fmla="*/ 816 w 10785"/>
                  <a:gd name="connsiteY2556" fmla="*/ 8752 h 10000"/>
                  <a:gd name="connsiteX2557" fmla="*/ 806 w 10785"/>
                  <a:gd name="connsiteY2557" fmla="*/ 8778 h 10000"/>
                  <a:gd name="connsiteX2558" fmla="*/ 820 w 10785"/>
                  <a:gd name="connsiteY2558" fmla="*/ 8778 h 10000"/>
                  <a:gd name="connsiteX2559" fmla="*/ 806 w 10785"/>
                  <a:gd name="connsiteY2559" fmla="*/ 8880 h 10000"/>
                  <a:gd name="connsiteX2560" fmla="*/ 797 w 10785"/>
                  <a:gd name="connsiteY2560" fmla="*/ 8880 h 10000"/>
                  <a:gd name="connsiteX2561" fmla="*/ 783 w 10785"/>
                  <a:gd name="connsiteY2561" fmla="*/ 8872 h 10000"/>
                  <a:gd name="connsiteX2562" fmla="*/ 770 w 10785"/>
                  <a:gd name="connsiteY2562" fmla="*/ 8880 h 10000"/>
                  <a:gd name="connsiteX2563" fmla="*/ 756 w 10785"/>
                  <a:gd name="connsiteY2563" fmla="*/ 8855 h 10000"/>
                  <a:gd name="connsiteX2564" fmla="*/ 733 w 10785"/>
                  <a:gd name="connsiteY2564" fmla="*/ 8906 h 10000"/>
                  <a:gd name="connsiteX2565" fmla="*/ 714 w 10785"/>
                  <a:gd name="connsiteY2565" fmla="*/ 8915 h 10000"/>
                  <a:gd name="connsiteX2566" fmla="*/ 710 w 10785"/>
                  <a:gd name="connsiteY2566" fmla="*/ 8940 h 10000"/>
                  <a:gd name="connsiteX2567" fmla="*/ 710 w 10785"/>
                  <a:gd name="connsiteY2567" fmla="*/ 9009 h 10000"/>
                  <a:gd name="connsiteX2568" fmla="*/ 728 w 10785"/>
                  <a:gd name="connsiteY2568" fmla="*/ 8991 h 10000"/>
                  <a:gd name="connsiteX2569" fmla="*/ 733 w 10785"/>
                  <a:gd name="connsiteY2569" fmla="*/ 8991 h 10000"/>
                  <a:gd name="connsiteX2570" fmla="*/ 747 w 10785"/>
                  <a:gd name="connsiteY2570" fmla="*/ 8983 h 10000"/>
                  <a:gd name="connsiteX2571" fmla="*/ 760 w 10785"/>
                  <a:gd name="connsiteY2571" fmla="*/ 8983 h 10000"/>
                  <a:gd name="connsiteX2572" fmla="*/ 770 w 10785"/>
                  <a:gd name="connsiteY2572" fmla="*/ 8983 h 10000"/>
                  <a:gd name="connsiteX2573" fmla="*/ 770 w 10785"/>
                  <a:gd name="connsiteY2573" fmla="*/ 8991 h 10000"/>
                  <a:gd name="connsiteX2574" fmla="*/ 783 w 10785"/>
                  <a:gd name="connsiteY2574" fmla="*/ 8991 h 10000"/>
                  <a:gd name="connsiteX2575" fmla="*/ 783 w 10785"/>
                  <a:gd name="connsiteY2575" fmla="*/ 9009 h 10000"/>
                  <a:gd name="connsiteX2576" fmla="*/ 783 w 10785"/>
                  <a:gd name="connsiteY2576" fmla="*/ 9017 h 10000"/>
                  <a:gd name="connsiteX2577" fmla="*/ 770 w 10785"/>
                  <a:gd name="connsiteY2577" fmla="*/ 9017 h 10000"/>
                  <a:gd name="connsiteX2578" fmla="*/ 724 w 10785"/>
                  <a:gd name="connsiteY2578" fmla="*/ 9051 h 10000"/>
                  <a:gd name="connsiteX2579" fmla="*/ 724 w 10785"/>
                  <a:gd name="connsiteY2579" fmla="*/ 9068 h 10000"/>
                  <a:gd name="connsiteX2580" fmla="*/ 728 w 10785"/>
                  <a:gd name="connsiteY2580" fmla="*/ 9077 h 10000"/>
                  <a:gd name="connsiteX2581" fmla="*/ 724 w 10785"/>
                  <a:gd name="connsiteY2581" fmla="*/ 9077 h 10000"/>
                  <a:gd name="connsiteX2582" fmla="*/ 710 w 10785"/>
                  <a:gd name="connsiteY2582" fmla="*/ 9077 h 10000"/>
                  <a:gd name="connsiteX2583" fmla="*/ 682 w 10785"/>
                  <a:gd name="connsiteY2583" fmla="*/ 9077 h 10000"/>
                  <a:gd name="connsiteX2584" fmla="*/ 673 w 10785"/>
                  <a:gd name="connsiteY2584" fmla="*/ 9103 h 10000"/>
                  <a:gd name="connsiteX2585" fmla="*/ 687 w 10785"/>
                  <a:gd name="connsiteY2585" fmla="*/ 9128 h 10000"/>
                  <a:gd name="connsiteX2586" fmla="*/ 700 w 10785"/>
                  <a:gd name="connsiteY2586" fmla="*/ 9128 h 10000"/>
                  <a:gd name="connsiteX2587" fmla="*/ 728 w 10785"/>
                  <a:gd name="connsiteY2587" fmla="*/ 9179 h 10000"/>
                  <a:gd name="connsiteX2588" fmla="*/ 724 w 10785"/>
                  <a:gd name="connsiteY2588" fmla="*/ 9188 h 10000"/>
                  <a:gd name="connsiteX2589" fmla="*/ 710 w 10785"/>
                  <a:gd name="connsiteY2589" fmla="*/ 9179 h 10000"/>
                  <a:gd name="connsiteX2590" fmla="*/ 700 w 10785"/>
                  <a:gd name="connsiteY2590" fmla="*/ 9205 h 10000"/>
                  <a:gd name="connsiteX2591" fmla="*/ 696 w 10785"/>
                  <a:gd name="connsiteY2591" fmla="*/ 9205 h 10000"/>
                  <a:gd name="connsiteX2592" fmla="*/ 654 w 10785"/>
                  <a:gd name="connsiteY2592" fmla="*/ 9299 h 10000"/>
                  <a:gd name="connsiteX2593" fmla="*/ 622 w 10785"/>
                  <a:gd name="connsiteY2593" fmla="*/ 9299 h 10000"/>
                  <a:gd name="connsiteX2594" fmla="*/ 613 w 10785"/>
                  <a:gd name="connsiteY2594" fmla="*/ 9316 h 10000"/>
                  <a:gd name="connsiteX2595" fmla="*/ 613 w 10785"/>
                  <a:gd name="connsiteY2595" fmla="*/ 9325 h 10000"/>
                  <a:gd name="connsiteX2596" fmla="*/ 608 w 10785"/>
                  <a:gd name="connsiteY2596" fmla="*/ 9342 h 10000"/>
                  <a:gd name="connsiteX2597" fmla="*/ 636 w 10785"/>
                  <a:gd name="connsiteY2597" fmla="*/ 9376 h 10000"/>
                  <a:gd name="connsiteX2598" fmla="*/ 641 w 10785"/>
                  <a:gd name="connsiteY2598" fmla="*/ 9402 h 10000"/>
                  <a:gd name="connsiteX2599" fmla="*/ 654 w 10785"/>
                  <a:gd name="connsiteY2599" fmla="*/ 9427 h 10000"/>
                  <a:gd name="connsiteX2600" fmla="*/ 668 w 10785"/>
                  <a:gd name="connsiteY2600" fmla="*/ 9427 h 10000"/>
                  <a:gd name="connsiteX2601" fmla="*/ 668 w 10785"/>
                  <a:gd name="connsiteY2601" fmla="*/ 9427 h 10000"/>
                  <a:gd name="connsiteX2602" fmla="*/ 774 w 10785"/>
                  <a:gd name="connsiteY2602" fmla="*/ 9547 h 10000"/>
                  <a:gd name="connsiteX2603" fmla="*/ 797 w 10785"/>
                  <a:gd name="connsiteY2603" fmla="*/ 9598 h 10000"/>
                  <a:gd name="connsiteX2604" fmla="*/ 802 w 10785"/>
                  <a:gd name="connsiteY2604" fmla="*/ 9598 h 10000"/>
                  <a:gd name="connsiteX2605" fmla="*/ 816 w 10785"/>
                  <a:gd name="connsiteY2605" fmla="*/ 9624 h 10000"/>
                  <a:gd name="connsiteX2606" fmla="*/ 843 w 10785"/>
                  <a:gd name="connsiteY2606" fmla="*/ 9615 h 10000"/>
                  <a:gd name="connsiteX2607" fmla="*/ 857 w 10785"/>
                  <a:gd name="connsiteY2607" fmla="*/ 9624 h 10000"/>
                  <a:gd name="connsiteX2608" fmla="*/ 862 w 10785"/>
                  <a:gd name="connsiteY2608" fmla="*/ 9615 h 10000"/>
                  <a:gd name="connsiteX2609" fmla="*/ 880 w 10785"/>
                  <a:gd name="connsiteY2609" fmla="*/ 9624 h 10000"/>
                  <a:gd name="connsiteX2610" fmla="*/ 889 w 10785"/>
                  <a:gd name="connsiteY2610" fmla="*/ 9641 h 10000"/>
                  <a:gd name="connsiteX2611" fmla="*/ 935 w 10785"/>
                  <a:gd name="connsiteY2611" fmla="*/ 9675 h 10000"/>
                  <a:gd name="connsiteX2612" fmla="*/ 977 w 10785"/>
                  <a:gd name="connsiteY2612" fmla="*/ 9667 h 10000"/>
                  <a:gd name="connsiteX2613" fmla="*/ 995 w 10785"/>
                  <a:gd name="connsiteY2613" fmla="*/ 9675 h 10000"/>
                  <a:gd name="connsiteX2614" fmla="*/ 1014 w 10785"/>
                  <a:gd name="connsiteY2614" fmla="*/ 9675 h 10000"/>
                  <a:gd name="connsiteX2615" fmla="*/ 1069 w 10785"/>
                  <a:gd name="connsiteY2615" fmla="*/ 9752 h 10000"/>
                  <a:gd name="connsiteX2616" fmla="*/ 1074 w 10785"/>
                  <a:gd name="connsiteY2616" fmla="*/ 9761 h 10000"/>
                  <a:gd name="connsiteX2617" fmla="*/ 1083 w 10785"/>
                  <a:gd name="connsiteY2617" fmla="*/ 9778 h 10000"/>
                  <a:gd name="connsiteX2618" fmla="*/ 1115 w 10785"/>
                  <a:gd name="connsiteY2618" fmla="*/ 9752 h 10000"/>
                  <a:gd name="connsiteX2619" fmla="*/ 1129 w 10785"/>
                  <a:gd name="connsiteY2619" fmla="*/ 9752 h 10000"/>
                  <a:gd name="connsiteX2620" fmla="*/ 1138 w 10785"/>
                  <a:gd name="connsiteY2620" fmla="*/ 9761 h 10000"/>
                  <a:gd name="connsiteX2621" fmla="*/ 1143 w 10785"/>
                  <a:gd name="connsiteY2621" fmla="*/ 9752 h 10000"/>
                  <a:gd name="connsiteX2622" fmla="*/ 1161 w 10785"/>
                  <a:gd name="connsiteY2622" fmla="*/ 9761 h 10000"/>
                  <a:gd name="connsiteX2623" fmla="*/ 1171 w 10785"/>
                  <a:gd name="connsiteY2623" fmla="*/ 9778 h 10000"/>
                  <a:gd name="connsiteX2624" fmla="*/ 1175 w 10785"/>
                  <a:gd name="connsiteY2624" fmla="*/ 9778 h 10000"/>
                  <a:gd name="connsiteX2625" fmla="*/ 1189 w 10785"/>
                  <a:gd name="connsiteY2625" fmla="*/ 9778 h 10000"/>
                  <a:gd name="connsiteX2626" fmla="*/ 1198 w 10785"/>
                  <a:gd name="connsiteY2626" fmla="*/ 9786 h 10000"/>
                  <a:gd name="connsiteX2627" fmla="*/ 1203 w 10785"/>
                  <a:gd name="connsiteY2627" fmla="*/ 9803 h 10000"/>
                  <a:gd name="connsiteX2628" fmla="*/ 1198 w 10785"/>
                  <a:gd name="connsiteY2628" fmla="*/ 9838 h 10000"/>
                  <a:gd name="connsiteX2629" fmla="*/ 1212 w 10785"/>
                  <a:gd name="connsiteY2629" fmla="*/ 9863 h 10000"/>
                  <a:gd name="connsiteX2630" fmla="*/ 1230 w 10785"/>
                  <a:gd name="connsiteY2630" fmla="*/ 9872 h 10000"/>
                  <a:gd name="connsiteX2631" fmla="*/ 1249 w 10785"/>
                  <a:gd name="connsiteY2631" fmla="*/ 9897 h 10000"/>
                  <a:gd name="connsiteX2632" fmla="*/ 1263 w 10785"/>
                  <a:gd name="connsiteY2632" fmla="*/ 9897 h 10000"/>
                  <a:gd name="connsiteX2633" fmla="*/ 1276 w 10785"/>
                  <a:gd name="connsiteY2633" fmla="*/ 9923 h 10000"/>
                  <a:gd name="connsiteX2634" fmla="*/ 1281 w 10785"/>
                  <a:gd name="connsiteY2634" fmla="*/ 9949 h 10000"/>
                  <a:gd name="connsiteX2635" fmla="*/ 1290 w 10785"/>
                  <a:gd name="connsiteY2635" fmla="*/ 9949 h 10000"/>
                  <a:gd name="connsiteX2636" fmla="*/ 1295 w 10785"/>
                  <a:gd name="connsiteY2636" fmla="*/ 10000 h 10000"/>
                  <a:gd name="connsiteX2637" fmla="*/ 1332 w 10785"/>
                  <a:gd name="connsiteY2637" fmla="*/ 10000 h 10000"/>
                  <a:gd name="connsiteX2638" fmla="*/ 1336 w 10785"/>
                  <a:gd name="connsiteY2638" fmla="*/ 10000 h 10000"/>
                  <a:gd name="connsiteX2639" fmla="*/ 1346 w 10785"/>
                  <a:gd name="connsiteY2639" fmla="*/ 9983 h 10000"/>
                  <a:gd name="connsiteX2640" fmla="*/ 1350 w 10785"/>
                  <a:gd name="connsiteY2640" fmla="*/ 9949 h 10000"/>
                  <a:gd name="connsiteX2641" fmla="*/ 1369 w 10785"/>
                  <a:gd name="connsiteY2641" fmla="*/ 9940 h 10000"/>
                  <a:gd name="connsiteX2642" fmla="*/ 1378 w 10785"/>
                  <a:gd name="connsiteY2642" fmla="*/ 9897 h 10000"/>
                  <a:gd name="connsiteX2643" fmla="*/ 1369 w 10785"/>
                  <a:gd name="connsiteY2643" fmla="*/ 9889 h 10000"/>
                  <a:gd name="connsiteX2644" fmla="*/ 1318 w 10785"/>
                  <a:gd name="connsiteY2644" fmla="*/ 9701 h 10000"/>
                  <a:gd name="connsiteX2645" fmla="*/ 1318 w 10785"/>
                  <a:gd name="connsiteY2645" fmla="*/ 9650 h 10000"/>
                  <a:gd name="connsiteX2646" fmla="*/ 1323 w 10785"/>
                  <a:gd name="connsiteY2646" fmla="*/ 9590 h 10000"/>
                  <a:gd name="connsiteX2647" fmla="*/ 1323 w 10785"/>
                  <a:gd name="connsiteY2647" fmla="*/ 9564 h 10000"/>
                  <a:gd name="connsiteX2648" fmla="*/ 1309 w 10785"/>
                  <a:gd name="connsiteY2648" fmla="*/ 9598 h 10000"/>
                  <a:gd name="connsiteX2649" fmla="*/ 1309 w 10785"/>
                  <a:gd name="connsiteY2649" fmla="*/ 9590 h 10000"/>
                  <a:gd name="connsiteX2650" fmla="*/ 1304 w 10785"/>
                  <a:gd name="connsiteY2650" fmla="*/ 9547 h 10000"/>
                  <a:gd name="connsiteX2651" fmla="*/ 1276 w 10785"/>
                  <a:gd name="connsiteY2651" fmla="*/ 9479 h 10000"/>
                  <a:gd name="connsiteX2652" fmla="*/ 1263 w 10785"/>
                  <a:gd name="connsiteY2652" fmla="*/ 9479 h 10000"/>
                  <a:gd name="connsiteX2653" fmla="*/ 1263 w 10785"/>
                  <a:gd name="connsiteY2653" fmla="*/ 9453 h 10000"/>
                  <a:gd name="connsiteX2654" fmla="*/ 1272 w 10785"/>
                  <a:gd name="connsiteY2654" fmla="*/ 9410 h 10000"/>
                  <a:gd name="connsiteX2655" fmla="*/ 1272 w 10785"/>
                  <a:gd name="connsiteY2655" fmla="*/ 9393 h 10000"/>
                  <a:gd name="connsiteX2656" fmla="*/ 1281 w 10785"/>
                  <a:gd name="connsiteY2656" fmla="*/ 9368 h 10000"/>
                  <a:gd name="connsiteX2657" fmla="*/ 1281 w 10785"/>
                  <a:gd name="connsiteY2657" fmla="*/ 9368 h 10000"/>
                  <a:gd name="connsiteX2658" fmla="*/ 1290 w 10785"/>
                  <a:gd name="connsiteY2658" fmla="*/ 9368 h 10000"/>
                  <a:gd name="connsiteX2659" fmla="*/ 1290 w 10785"/>
                  <a:gd name="connsiteY2659" fmla="*/ 9342 h 10000"/>
                  <a:gd name="connsiteX2660" fmla="*/ 1304 w 10785"/>
                  <a:gd name="connsiteY2660" fmla="*/ 9325 h 10000"/>
                  <a:gd name="connsiteX2661" fmla="*/ 1309 w 10785"/>
                  <a:gd name="connsiteY2661" fmla="*/ 9239 h 10000"/>
                  <a:gd name="connsiteX2662" fmla="*/ 1318 w 10785"/>
                  <a:gd name="connsiteY2662" fmla="*/ 9256 h 10000"/>
                  <a:gd name="connsiteX2663" fmla="*/ 1323 w 10785"/>
                  <a:gd name="connsiteY2663" fmla="*/ 9179 h 10000"/>
                  <a:gd name="connsiteX2664" fmla="*/ 1309 w 10785"/>
                  <a:gd name="connsiteY2664" fmla="*/ 9145 h 10000"/>
                  <a:gd name="connsiteX2665" fmla="*/ 1336 w 10785"/>
                  <a:gd name="connsiteY2665" fmla="*/ 9154 h 10000"/>
                  <a:gd name="connsiteX2666" fmla="*/ 1336 w 10785"/>
                  <a:gd name="connsiteY2666" fmla="*/ 9162 h 10000"/>
                  <a:gd name="connsiteX2667" fmla="*/ 1350 w 10785"/>
                  <a:gd name="connsiteY2667" fmla="*/ 9231 h 10000"/>
                  <a:gd name="connsiteX2668" fmla="*/ 1355 w 10785"/>
                  <a:gd name="connsiteY2668" fmla="*/ 9231 h 10000"/>
                  <a:gd name="connsiteX2669" fmla="*/ 1364 w 10785"/>
                  <a:gd name="connsiteY2669" fmla="*/ 9214 h 10000"/>
                  <a:gd name="connsiteX2670" fmla="*/ 1369 w 10785"/>
                  <a:gd name="connsiteY2670" fmla="*/ 9214 h 10000"/>
                  <a:gd name="connsiteX2671" fmla="*/ 1382 w 10785"/>
                  <a:gd name="connsiteY2671" fmla="*/ 9154 h 10000"/>
                  <a:gd name="connsiteX2672" fmla="*/ 1396 w 10785"/>
                  <a:gd name="connsiteY2672" fmla="*/ 9154 h 10000"/>
                  <a:gd name="connsiteX2673" fmla="*/ 1382 w 10785"/>
                  <a:gd name="connsiteY2673" fmla="*/ 9145 h 10000"/>
                  <a:gd name="connsiteX2674" fmla="*/ 1382 w 10785"/>
                  <a:gd name="connsiteY2674" fmla="*/ 9128 h 10000"/>
                  <a:gd name="connsiteX2675" fmla="*/ 1369 w 10785"/>
                  <a:gd name="connsiteY2675" fmla="*/ 9128 h 10000"/>
                  <a:gd name="connsiteX2676" fmla="*/ 1364 w 10785"/>
                  <a:gd name="connsiteY2676" fmla="*/ 9128 h 10000"/>
                  <a:gd name="connsiteX2677" fmla="*/ 1355 w 10785"/>
                  <a:gd name="connsiteY2677" fmla="*/ 9120 h 10000"/>
                  <a:gd name="connsiteX2678" fmla="*/ 1350 w 10785"/>
                  <a:gd name="connsiteY2678" fmla="*/ 9103 h 10000"/>
                  <a:gd name="connsiteX2679" fmla="*/ 1355 w 10785"/>
                  <a:gd name="connsiteY2679" fmla="*/ 9094 h 10000"/>
                  <a:gd name="connsiteX2680" fmla="*/ 1355 w 10785"/>
                  <a:gd name="connsiteY2680" fmla="*/ 9068 h 10000"/>
                  <a:gd name="connsiteX2681" fmla="*/ 1369 w 10785"/>
                  <a:gd name="connsiteY2681" fmla="*/ 9068 h 10000"/>
                  <a:gd name="connsiteX2682" fmla="*/ 1378 w 10785"/>
                  <a:gd name="connsiteY2682" fmla="*/ 9077 h 10000"/>
                  <a:gd name="connsiteX2683" fmla="*/ 1396 w 10785"/>
                  <a:gd name="connsiteY2683" fmla="*/ 9068 h 10000"/>
                  <a:gd name="connsiteX2684" fmla="*/ 1382 w 10785"/>
                  <a:gd name="connsiteY2684" fmla="*/ 8940 h 10000"/>
                  <a:gd name="connsiteX2685" fmla="*/ 1378 w 10785"/>
                  <a:gd name="connsiteY2685" fmla="*/ 8940 h 10000"/>
                  <a:gd name="connsiteX2686" fmla="*/ 1364 w 10785"/>
                  <a:gd name="connsiteY2686" fmla="*/ 8889 h 10000"/>
                  <a:gd name="connsiteX2687" fmla="*/ 1355 w 10785"/>
                  <a:gd name="connsiteY2687" fmla="*/ 8880 h 10000"/>
                  <a:gd name="connsiteX2688" fmla="*/ 1323 w 10785"/>
                  <a:gd name="connsiteY2688" fmla="*/ 8880 h 10000"/>
                  <a:gd name="connsiteX2689" fmla="*/ 1309 w 10785"/>
                  <a:gd name="connsiteY2689" fmla="*/ 8880 h 10000"/>
                  <a:gd name="connsiteX2690" fmla="*/ 1309 w 10785"/>
                  <a:gd name="connsiteY2690" fmla="*/ 8889 h 10000"/>
                  <a:gd name="connsiteX2691" fmla="*/ 1295 w 10785"/>
                  <a:gd name="connsiteY2691" fmla="*/ 8872 h 10000"/>
                  <a:gd name="connsiteX2692" fmla="*/ 1290 w 10785"/>
                  <a:gd name="connsiteY2692" fmla="*/ 8855 h 10000"/>
                  <a:gd name="connsiteX2693" fmla="*/ 1290 w 10785"/>
                  <a:gd name="connsiteY2693" fmla="*/ 8829 h 10000"/>
                  <a:gd name="connsiteX2694" fmla="*/ 1290 w 10785"/>
                  <a:gd name="connsiteY2694" fmla="*/ 8821 h 10000"/>
                  <a:gd name="connsiteX2695" fmla="*/ 1290 w 10785"/>
                  <a:gd name="connsiteY2695" fmla="*/ 8803 h 10000"/>
                  <a:gd name="connsiteX2696" fmla="*/ 1281 w 10785"/>
                  <a:gd name="connsiteY2696" fmla="*/ 8795 h 10000"/>
                  <a:gd name="connsiteX2697" fmla="*/ 1249 w 10785"/>
                  <a:gd name="connsiteY2697" fmla="*/ 8769 h 10000"/>
                  <a:gd name="connsiteX2698" fmla="*/ 1263 w 10785"/>
                  <a:gd name="connsiteY2698" fmla="*/ 8667 h 10000"/>
                  <a:gd name="connsiteX2699" fmla="*/ 1281 w 10785"/>
                  <a:gd name="connsiteY2699" fmla="*/ 8658 h 10000"/>
                  <a:gd name="connsiteX2700" fmla="*/ 1290 w 10785"/>
                  <a:gd name="connsiteY2700" fmla="*/ 8632 h 10000"/>
                  <a:gd name="connsiteX2701" fmla="*/ 1281 w 10785"/>
                  <a:gd name="connsiteY2701" fmla="*/ 8615 h 10000"/>
                  <a:gd name="connsiteX2702" fmla="*/ 1272 w 10785"/>
                  <a:gd name="connsiteY2702" fmla="*/ 8598 h 10000"/>
                  <a:gd name="connsiteX2703" fmla="*/ 1281 w 10785"/>
                  <a:gd name="connsiteY2703" fmla="*/ 8496 h 10000"/>
                  <a:gd name="connsiteX2704" fmla="*/ 1295 w 10785"/>
                  <a:gd name="connsiteY2704" fmla="*/ 8470 h 10000"/>
                  <a:gd name="connsiteX2705" fmla="*/ 1304 w 10785"/>
                  <a:gd name="connsiteY2705" fmla="*/ 8462 h 10000"/>
                  <a:gd name="connsiteX2706" fmla="*/ 1304 w 10785"/>
                  <a:gd name="connsiteY2706" fmla="*/ 8444 h 10000"/>
                  <a:gd name="connsiteX2707" fmla="*/ 1304 w 10785"/>
                  <a:gd name="connsiteY2707" fmla="*/ 8419 h 10000"/>
                  <a:gd name="connsiteX2708" fmla="*/ 1304 w 10785"/>
                  <a:gd name="connsiteY2708" fmla="*/ 8410 h 10000"/>
                  <a:gd name="connsiteX2709" fmla="*/ 1309 w 10785"/>
                  <a:gd name="connsiteY2709" fmla="*/ 8393 h 10000"/>
                  <a:gd name="connsiteX2710" fmla="*/ 1318 w 10785"/>
                  <a:gd name="connsiteY2710" fmla="*/ 8385 h 10000"/>
                  <a:gd name="connsiteX2711" fmla="*/ 1323 w 10785"/>
                  <a:gd name="connsiteY2711" fmla="*/ 8385 h 10000"/>
                  <a:gd name="connsiteX2712" fmla="*/ 1332 w 10785"/>
                  <a:gd name="connsiteY2712" fmla="*/ 8410 h 10000"/>
                  <a:gd name="connsiteX2713" fmla="*/ 1346 w 10785"/>
                  <a:gd name="connsiteY2713" fmla="*/ 8419 h 10000"/>
                  <a:gd name="connsiteX2714" fmla="*/ 1364 w 10785"/>
                  <a:gd name="connsiteY2714" fmla="*/ 8504 h 10000"/>
                  <a:gd name="connsiteX2715" fmla="*/ 1369 w 10785"/>
                  <a:gd name="connsiteY2715" fmla="*/ 8521 h 10000"/>
                  <a:gd name="connsiteX2716" fmla="*/ 1406 w 10785"/>
                  <a:gd name="connsiteY2716" fmla="*/ 8470 h 10000"/>
                  <a:gd name="connsiteX2717" fmla="*/ 1382 w 10785"/>
                  <a:gd name="connsiteY2717" fmla="*/ 8359 h 10000"/>
                  <a:gd name="connsiteX2718" fmla="*/ 1392 w 10785"/>
                  <a:gd name="connsiteY2718" fmla="*/ 8359 h 10000"/>
                  <a:gd name="connsiteX2719" fmla="*/ 1438 w 10785"/>
                  <a:gd name="connsiteY2719" fmla="*/ 8308 h 10000"/>
                  <a:gd name="connsiteX2720" fmla="*/ 1442 w 10785"/>
                  <a:gd name="connsiteY2720" fmla="*/ 8299 h 10000"/>
                  <a:gd name="connsiteX2721" fmla="*/ 1442 w 10785"/>
                  <a:gd name="connsiteY2721" fmla="*/ 8256 h 10000"/>
                  <a:gd name="connsiteX2722" fmla="*/ 1452 w 10785"/>
                  <a:gd name="connsiteY2722" fmla="*/ 8256 h 10000"/>
                  <a:gd name="connsiteX2723" fmla="*/ 1456 w 10785"/>
                  <a:gd name="connsiteY2723" fmla="*/ 8256 h 10000"/>
                  <a:gd name="connsiteX2724" fmla="*/ 1470 w 10785"/>
                  <a:gd name="connsiteY2724" fmla="*/ 8248 h 10000"/>
                  <a:gd name="connsiteX2725" fmla="*/ 1479 w 10785"/>
                  <a:gd name="connsiteY2725" fmla="*/ 8231 h 10000"/>
                  <a:gd name="connsiteX2726" fmla="*/ 1493 w 10785"/>
                  <a:gd name="connsiteY2726" fmla="*/ 8222 h 10000"/>
                  <a:gd name="connsiteX2727" fmla="*/ 1498 w 10785"/>
                  <a:gd name="connsiteY2727" fmla="*/ 8214 h 10000"/>
                  <a:gd name="connsiteX2728" fmla="*/ 1502 w 10785"/>
                  <a:gd name="connsiteY2728" fmla="*/ 8197 h 10000"/>
                  <a:gd name="connsiteX2729" fmla="*/ 1512 w 10785"/>
                  <a:gd name="connsiteY2729" fmla="*/ 8188 h 10000"/>
                  <a:gd name="connsiteX2730" fmla="*/ 1516 w 10785"/>
                  <a:gd name="connsiteY2730" fmla="*/ 8171 h 10000"/>
                  <a:gd name="connsiteX2731" fmla="*/ 1525 w 10785"/>
                  <a:gd name="connsiteY2731" fmla="*/ 8162 h 10000"/>
                  <a:gd name="connsiteX2732" fmla="*/ 1539 w 10785"/>
                  <a:gd name="connsiteY2732" fmla="*/ 8145 h 10000"/>
                  <a:gd name="connsiteX2733" fmla="*/ 1558 w 10785"/>
                  <a:gd name="connsiteY2733" fmla="*/ 8145 h 10000"/>
                  <a:gd name="connsiteX2734" fmla="*/ 1562 w 10785"/>
                  <a:gd name="connsiteY2734" fmla="*/ 8188 h 10000"/>
                  <a:gd name="connsiteX2735" fmla="*/ 1585 w 10785"/>
                  <a:gd name="connsiteY2735" fmla="*/ 8171 h 10000"/>
                  <a:gd name="connsiteX2736" fmla="*/ 1590 w 10785"/>
                  <a:gd name="connsiteY2736" fmla="*/ 8188 h 10000"/>
                  <a:gd name="connsiteX2737" fmla="*/ 1599 w 10785"/>
                  <a:gd name="connsiteY2737" fmla="*/ 8171 h 10000"/>
                  <a:gd name="connsiteX2738" fmla="*/ 1599 w 10785"/>
                  <a:gd name="connsiteY2738" fmla="*/ 8162 h 10000"/>
                  <a:gd name="connsiteX2739" fmla="*/ 1604 w 10785"/>
                  <a:gd name="connsiteY2739" fmla="*/ 8137 h 10000"/>
                  <a:gd name="connsiteX2740" fmla="*/ 1618 w 10785"/>
                  <a:gd name="connsiteY2740" fmla="*/ 8145 h 10000"/>
                  <a:gd name="connsiteX2741" fmla="*/ 1627 w 10785"/>
                  <a:gd name="connsiteY2741" fmla="*/ 8137 h 10000"/>
                  <a:gd name="connsiteX2742" fmla="*/ 1631 w 10785"/>
                  <a:gd name="connsiteY2742" fmla="*/ 8137 h 10000"/>
                  <a:gd name="connsiteX2743" fmla="*/ 1636 w 10785"/>
                  <a:gd name="connsiteY2743" fmla="*/ 8171 h 10000"/>
                  <a:gd name="connsiteX2744" fmla="*/ 1645 w 10785"/>
                  <a:gd name="connsiteY2744" fmla="*/ 8188 h 10000"/>
                  <a:gd name="connsiteX2745" fmla="*/ 1664 w 10785"/>
                  <a:gd name="connsiteY2745" fmla="*/ 8171 h 10000"/>
                  <a:gd name="connsiteX2746" fmla="*/ 1673 w 10785"/>
                  <a:gd name="connsiteY2746" fmla="*/ 8188 h 10000"/>
                  <a:gd name="connsiteX2747" fmla="*/ 1691 w 10785"/>
                  <a:gd name="connsiteY2747" fmla="*/ 8171 h 10000"/>
                  <a:gd name="connsiteX2748" fmla="*/ 1705 w 10785"/>
                  <a:gd name="connsiteY2748" fmla="*/ 8171 h 10000"/>
                  <a:gd name="connsiteX2749" fmla="*/ 1719 w 10785"/>
                  <a:gd name="connsiteY2749" fmla="*/ 8197 h 10000"/>
                  <a:gd name="connsiteX2750" fmla="*/ 1724 w 10785"/>
                  <a:gd name="connsiteY2750" fmla="*/ 8231 h 10000"/>
                  <a:gd name="connsiteX2751" fmla="*/ 1751 w 10785"/>
                  <a:gd name="connsiteY2751" fmla="*/ 8256 h 10000"/>
                  <a:gd name="connsiteX2752" fmla="*/ 1751 w 10785"/>
                  <a:gd name="connsiteY2752" fmla="*/ 8274 h 10000"/>
                  <a:gd name="connsiteX2753" fmla="*/ 1760 w 10785"/>
                  <a:gd name="connsiteY2753" fmla="*/ 8282 h 10000"/>
                  <a:gd name="connsiteX2754" fmla="*/ 1770 w 10785"/>
                  <a:gd name="connsiteY2754" fmla="*/ 8325 h 10000"/>
                  <a:gd name="connsiteX2755" fmla="*/ 1770 w 10785"/>
                  <a:gd name="connsiteY2755" fmla="*/ 8350 h 10000"/>
                  <a:gd name="connsiteX2756" fmla="*/ 1779 w 10785"/>
                  <a:gd name="connsiteY2756" fmla="*/ 8368 h 10000"/>
                  <a:gd name="connsiteX2757" fmla="*/ 1783 w 10785"/>
                  <a:gd name="connsiteY2757" fmla="*/ 8359 h 10000"/>
                  <a:gd name="connsiteX2758" fmla="*/ 1783 w 10785"/>
                  <a:gd name="connsiteY2758" fmla="*/ 8308 h 10000"/>
                  <a:gd name="connsiteX2759" fmla="*/ 1779 w 10785"/>
                  <a:gd name="connsiteY2759" fmla="*/ 8299 h 10000"/>
                  <a:gd name="connsiteX2760" fmla="*/ 1783 w 10785"/>
                  <a:gd name="connsiteY2760" fmla="*/ 8282 h 10000"/>
                  <a:gd name="connsiteX2761" fmla="*/ 1797 w 10785"/>
                  <a:gd name="connsiteY2761" fmla="*/ 8274 h 10000"/>
                  <a:gd name="connsiteX2762" fmla="*/ 1797 w 10785"/>
                  <a:gd name="connsiteY2762" fmla="*/ 8299 h 10000"/>
                  <a:gd name="connsiteX2763" fmla="*/ 1806 w 10785"/>
                  <a:gd name="connsiteY2763" fmla="*/ 8308 h 10000"/>
                  <a:gd name="connsiteX2764" fmla="*/ 1811 w 10785"/>
                  <a:gd name="connsiteY2764" fmla="*/ 8325 h 10000"/>
                  <a:gd name="connsiteX2765" fmla="*/ 1820 w 10785"/>
                  <a:gd name="connsiteY2765" fmla="*/ 8333 h 10000"/>
                  <a:gd name="connsiteX2766" fmla="*/ 1853 w 10785"/>
                  <a:gd name="connsiteY2766" fmla="*/ 8359 h 10000"/>
                  <a:gd name="connsiteX2767" fmla="*/ 1866 w 10785"/>
                  <a:gd name="connsiteY2767" fmla="*/ 8359 h 10000"/>
                  <a:gd name="connsiteX2768" fmla="*/ 1885 w 10785"/>
                  <a:gd name="connsiteY2768" fmla="*/ 8325 h 10000"/>
                  <a:gd name="connsiteX2769" fmla="*/ 1885 w 10785"/>
                  <a:gd name="connsiteY2769" fmla="*/ 8308 h 10000"/>
                  <a:gd name="connsiteX2770" fmla="*/ 1894 w 10785"/>
                  <a:gd name="connsiteY2770" fmla="*/ 8299 h 10000"/>
                  <a:gd name="connsiteX2771" fmla="*/ 1899 w 10785"/>
                  <a:gd name="connsiteY2771" fmla="*/ 8282 h 10000"/>
                  <a:gd name="connsiteX2772" fmla="*/ 1912 w 10785"/>
                  <a:gd name="connsiteY2772" fmla="*/ 8282 h 10000"/>
                  <a:gd name="connsiteX2773" fmla="*/ 1917 w 10785"/>
                  <a:gd name="connsiteY2773" fmla="*/ 8299 h 10000"/>
                  <a:gd name="connsiteX2774" fmla="*/ 1917 w 10785"/>
                  <a:gd name="connsiteY2774" fmla="*/ 8274 h 10000"/>
                  <a:gd name="connsiteX2775" fmla="*/ 1940 w 10785"/>
                  <a:gd name="connsiteY2775" fmla="*/ 8282 h 10000"/>
                  <a:gd name="connsiteX2776" fmla="*/ 1945 w 10785"/>
                  <a:gd name="connsiteY2776" fmla="*/ 8274 h 10000"/>
                  <a:gd name="connsiteX2777" fmla="*/ 1972 w 10785"/>
                  <a:gd name="connsiteY2777" fmla="*/ 8308 h 10000"/>
                  <a:gd name="connsiteX2778" fmla="*/ 1986 w 10785"/>
                  <a:gd name="connsiteY2778" fmla="*/ 8282 h 10000"/>
                  <a:gd name="connsiteX2779" fmla="*/ 1991 w 10785"/>
                  <a:gd name="connsiteY2779" fmla="*/ 8274 h 10000"/>
                  <a:gd name="connsiteX2780" fmla="*/ 2014 w 10785"/>
                  <a:gd name="connsiteY2780" fmla="*/ 8274 h 10000"/>
                  <a:gd name="connsiteX2781" fmla="*/ 2018 w 10785"/>
                  <a:gd name="connsiteY2781" fmla="*/ 8256 h 10000"/>
                  <a:gd name="connsiteX2782" fmla="*/ 2041 w 10785"/>
                  <a:gd name="connsiteY2782" fmla="*/ 8274 h 10000"/>
                  <a:gd name="connsiteX2783" fmla="*/ 2046 w 10785"/>
                  <a:gd name="connsiteY2783" fmla="*/ 8282 h 10000"/>
                  <a:gd name="connsiteX2784" fmla="*/ 2046 w 10785"/>
                  <a:gd name="connsiteY2784" fmla="*/ 8325 h 10000"/>
                  <a:gd name="connsiteX2785" fmla="*/ 2060 w 10785"/>
                  <a:gd name="connsiteY2785" fmla="*/ 8350 h 10000"/>
                  <a:gd name="connsiteX2786" fmla="*/ 2078 w 10785"/>
                  <a:gd name="connsiteY2786" fmla="*/ 8350 h 10000"/>
                  <a:gd name="connsiteX2787" fmla="*/ 2092 w 10785"/>
                  <a:gd name="connsiteY2787" fmla="*/ 8350 h 10000"/>
                  <a:gd name="connsiteX2788" fmla="*/ 2092 w 10785"/>
                  <a:gd name="connsiteY2788" fmla="*/ 8350 h 10000"/>
                  <a:gd name="connsiteX2789" fmla="*/ 2101 w 10785"/>
                  <a:gd name="connsiteY2789" fmla="*/ 8368 h 10000"/>
                  <a:gd name="connsiteX2790" fmla="*/ 2120 w 10785"/>
                  <a:gd name="connsiteY2790" fmla="*/ 8368 h 10000"/>
                  <a:gd name="connsiteX2791" fmla="*/ 2124 w 10785"/>
                  <a:gd name="connsiteY2791" fmla="*/ 8359 h 10000"/>
                  <a:gd name="connsiteX2792" fmla="*/ 2138 w 10785"/>
                  <a:gd name="connsiteY2792" fmla="*/ 8325 h 10000"/>
                  <a:gd name="connsiteX2793" fmla="*/ 2147 w 10785"/>
                  <a:gd name="connsiteY2793" fmla="*/ 8325 h 10000"/>
                  <a:gd name="connsiteX2794" fmla="*/ 2161 w 10785"/>
                  <a:gd name="connsiteY2794" fmla="*/ 8350 h 10000"/>
                  <a:gd name="connsiteX2795" fmla="*/ 2198 w 10785"/>
                  <a:gd name="connsiteY2795" fmla="*/ 8350 h 10000"/>
                  <a:gd name="connsiteX2796" fmla="*/ 2207 w 10785"/>
                  <a:gd name="connsiteY2796" fmla="*/ 8333 h 10000"/>
                  <a:gd name="connsiteX2797" fmla="*/ 2226 w 10785"/>
                  <a:gd name="connsiteY2797" fmla="*/ 8325 h 10000"/>
                  <a:gd name="connsiteX2798" fmla="*/ 2249 w 10785"/>
                  <a:gd name="connsiteY2798" fmla="*/ 8222 h 10000"/>
                  <a:gd name="connsiteX2799" fmla="*/ 2235 w 10785"/>
                  <a:gd name="connsiteY2799" fmla="*/ 8197 h 10000"/>
                  <a:gd name="connsiteX2800" fmla="*/ 2198 w 10785"/>
                  <a:gd name="connsiteY2800" fmla="*/ 8197 h 10000"/>
                  <a:gd name="connsiteX2801" fmla="*/ 2189 w 10785"/>
                  <a:gd name="connsiteY2801" fmla="*/ 8171 h 10000"/>
                  <a:gd name="connsiteX2802" fmla="*/ 2161 w 10785"/>
                  <a:gd name="connsiteY2802" fmla="*/ 8145 h 10000"/>
                  <a:gd name="connsiteX2803" fmla="*/ 2161 w 10785"/>
                  <a:gd name="connsiteY2803" fmla="*/ 8137 h 10000"/>
                  <a:gd name="connsiteX2804" fmla="*/ 2152 w 10785"/>
                  <a:gd name="connsiteY2804" fmla="*/ 8120 h 10000"/>
                  <a:gd name="connsiteX2805" fmla="*/ 2138 w 10785"/>
                  <a:gd name="connsiteY2805" fmla="*/ 8111 h 10000"/>
                  <a:gd name="connsiteX2806" fmla="*/ 2138 w 10785"/>
                  <a:gd name="connsiteY2806" fmla="*/ 8094 h 10000"/>
                  <a:gd name="connsiteX2807" fmla="*/ 2147 w 10785"/>
                  <a:gd name="connsiteY2807" fmla="*/ 8085 h 10000"/>
                  <a:gd name="connsiteX2808" fmla="*/ 2161 w 10785"/>
                  <a:gd name="connsiteY2808" fmla="*/ 8060 h 10000"/>
                  <a:gd name="connsiteX2809" fmla="*/ 2198 w 10785"/>
                  <a:gd name="connsiteY2809" fmla="*/ 8034 h 10000"/>
                  <a:gd name="connsiteX2810" fmla="*/ 2198 w 10785"/>
                  <a:gd name="connsiteY2810" fmla="*/ 8026 h 10000"/>
                  <a:gd name="connsiteX2811" fmla="*/ 2198 w 10785"/>
                  <a:gd name="connsiteY2811" fmla="*/ 8000 h 10000"/>
                  <a:gd name="connsiteX2812" fmla="*/ 2180 w 10785"/>
                  <a:gd name="connsiteY2812" fmla="*/ 7940 h 10000"/>
                  <a:gd name="connsiteX2813" fmla="*/ 2189 w 10785"/>
                  <a:gd name="connsiteY2813" fmla="*/ 7940 h 10000"/>
                  <a:gd name="connsiteX2814" fmla="*/ 2198 w 10785"/>
                  <a:gd name="connsiteY2814" fmla="*/ 7923 h 10000"/>
                  <a:gd name="connsiteX2815" fmla="*/ 2198 w 10785"/>
                  <a:gd name="connsiteY2815" fmla="*/ 7897 h 10000"/>
                  <a:gd name="connsiteX2816" fmla="*/ 2207 w 10785"/>
                  <a:gd name="connsiteY2816" fmla="*/ 7889 h 10000"/>
                  <a:gd name="connsiteX2817" fmla="*/ 2221 w 10785"/>
                  <a:gd name="connsiteY2817" fmla="*/ 7889 h 10000"/>
                  <a:gd name="connsiteX2818" fmla="*/ 2226 w 10785"/>
                  <a:gd name="connsiteY2818" fmla="*/ 7897 h 10000"/>
                  <a:gd name="connsiteX2819" fmla="*/ 2235 w 10785"/>
                  <a:gd name="connsiteY2819" fmla="*/ 7889 h 10000"/>
                  <a:gd name="connsiteX2820" fmla="*/ 2249 w 10785"/>
                  <a:gd name="connsiteY2820" fmla="*/ 7897 h 10000"/>
                  <a:gd name="connsiteX2821" fmla="*/ 2267 w 10785"/>
                  <a:gd name="connsiteY2821" fmla="*/ 7897 h 10000"/>
                  <a:gd name="connsiteX2822" fmla="*/ 2272 w 10785"/>
                  <a:gd name="connsiteY2822" fmla="*/ 7889 h 10000"/>
                  <a:gd name="connsiteX2823" fmla="*/ 2281 w 10785"/>
                  <a:gd name="connsiteY2823" fmla="*/ 7872 h 10000"/>
                  <a:gd name="connsiteX2824" fmla="*/ 2272 w 10785"/>
                  <a:gd name="connsiteY2824" fmla="*/ 7846 h 10000"/>
                  <a:gd name="connsiteX2825" fmla="*/ 2253 w 10785"/>
                  <a:gd name="connsiteY2825" fmla="*/ 7838 h 10000"/>
                  <a:gd name="connsiteX2826" fmla="*/ 2221 w 10785"/>
                  <a:gd name="connsiteY2826" fmla="*/ 7821 h 10000"/>
                  <a:gd name="connsiteX2827" fmla="*/ 2212 w 10785"/>
                  <a:gd name="connsiteY2827" fmla="*/ 7812 h 10000"/>
                  <a:gd name="connsiteX2828" fmla="*/ 2212 w 10785"/>
                  <a:gd name="connsiteY2828" fmla="*/ 7803 h 10000"/>
                  <a:gd name="connsiteX2829" fmla="*/ 2221 w 10785"/>
                  <a:gd name="connsiteY2829" fmla="*/ 7803 h 10000"/>
                  <a:gd name="connsiteX2830" fmla="*/ 2235 w 10785"/>
                  <a:gd name="connsiteY2830" fmla="*/ 7786 h 10000"/>
                  <a:gd name="connsiteX2831" fmla="*/ 2240 w 10785"/>
                  <a:gd name="connsiteY2831" fmla="*/ 7778 h 10000"/>
                  <a:gd name="connsiteX2832" fmla="*/ 2226 w 10785"/>
                  <a:gd name="connsiteY2832" fmla="*/ 7761 h 10000"/>
                  <a:gd name="connsiteX2833" fmla="*/ 2221 w 10785"/>
                  <a:gd name="connsiteY2833" fmla="*/ 7778 h 10000"/>
                  <a:gd name="connsiteX2834" fmla="*/ 2198 w 10785"/>
                  <a:gd name="connsiteY2834" fmla="*/ 7778 h 10000"/>
                  <a:gd name="connsiteX2835" fmla="*/ 2198 w 10785"/>
                  <a:gd name="connsiteY2835" fmla="*/ 7752 h 10000"/>
                  <a:gd name="connsiteX2836" fmla="*/ 2207 w 10785"/>
                  <a:gd name="connsiteY2836" fmla="*/ 7735 h 10000"/>
                  <a:gd name="connsiteX2837" fmla="*/ 2212 w 10785"/>
                  <a:gd name="connsiteY2837" fmla="*/ 7726 h 10000"/>
                  <a:gd name="connsiteX2838" fmla="*/ 2198 w 10785"/>
                  <a:gd name="connsiteY2838" fmla="*/ 7692 h 10000"/>
                  <a:gd name="connsiteX2839" fmla="*/ 2221 w 10785"/>
                  <a:gd name="connsiteY2839" fmla="*/ 7692 h 10000"/>
                  <a:gd name="connsiteX2840" fmla="*/ 2221 w 10785"/>
                  <a:gd name="connsiteY2840" fmla="*/ 7675 h 10000"/>
                  <a:gd name="connsiteX2841" fmla="*/ 2235 w 10785"/>
                  <a:gd name="connsiteY2841" fmla="*/ 7675 h 10000"/>
                  <a:gd name="connsiteX2842" fmla="*/ 2240 w 10785"/>
                  <a:gd name="connsiteY2842" fmla="*/ 7692 h 10000"/>
                  <a:gd name="connsiteX2843" fmla="*/ 2249 w 10785"/>
                  <a:gd name="connsiteY2843" fmla="*/ 7692 h 10000"/>
                  <a:gd name="connsiteX2844" fmla="*/ 2258 w 10785"/>
                  <a:gd name="connsiteY2844" fmla="*/ 7692 h 10000"/>
                  <a:gd name="connsiteX2845" fmla="*/ 2267 w 10785"/>
                  <a:gd name="connsiteY2845" fmla="*/ 7692 h 10000"/>
                  <a:gd name="connsiteX2846" fmla="*/ 2295 w 10785"/>
                  <a:gd name="connsiteY2846" fmla="*/ 7692 h 10000"/>
                  <a:gd name="connsiteX2847" fmla="*/ 2300 w 10785"/>
                  <a:gd name="connsiteY2847" fmla="*/ 7701 h 10000"/>
                  <a:gd name="connsiteX2848" fmla="*/ 2313 w 10785"/>
                  <a:gd name="connsiteY2848" fmla="*/ 7675 h 10000"/>
                  <a:gd name="connsiteX2849" fmla="*/ 2323 w 10785"/>
                  <a:gd name="connsiteY2849" fmla="*/ 7675 h 10000"/>
                  <a:gd name="connsiteX2850" fmla="*/ 2341 w 10785"/>
                  <a:gd name="connsiteY2850" fmla="*/ 7675 h 10000"/>
                  <a:gd name="connsiteX2851" fmla="*/ 2346 w 10785"/>
                  <a:gd name="connsiteY2851" fmla="*/ 7667 h 10000"/>
                  <a:gd name="connsiteX2852" fmla="*/ 2359 w 10785"/>
                  <a:gd name="connsiteY2852" fmla="*/ 7650 h 10000"/>
                  <a:gd name="connsiteX2853" fmla="*/ 2373 w 10785"/>
                  <a:gd name="connsiteY2853" fmla="*/ 7624 h 10000"/>
                  <a:gd name="connsiteX2854" fmla="*/ 2382 w 10785"/>
                  <a:gd name="connsiteY2854" fmla="*/ 7641 h 10000"/>
                  <a:gd name="connsiteX2855" fmla="*/ 2396 w 10785"/>
                  <a:gd name="connsiteY2855" fmla="*/ 7650 h 10000"/>
                  <a:gd name="connsiteX2856" fmla="*/ 2401 w 10785"/>
                  <a:gd name="connsiteY2856" fmla="*/ 7650 h 10000"/>
                  <a:gd name="connsiteX2857" fmla="*/ 2401 w 10785"/>
                  <a:gd name="connsiteY2857" fmla="*/ 7624 h 10000"/>
                  <a:gd name="connsiteX2858" fmla="*/ 2419 w 10785"/>
                  <a:gd name="connsiteY2858" fmla="*/ 7624 h 10000"/>
                  <a:gd name="connsiteX2859" fmla="*/ 2433 w 10785"/>
                  <a:gd name="connsiteY2859" fmla="*/ 7615 h 10000"/>
                  <a:gd name="connsiteX2860" fmla="*/ 2442 w 10785"/>
                  <a:gd name="connsiteY2860" fmla="*/ 7615 h 10000"/>
                  <a:gd name="connsiteX2861" fmla="*/ 2447 w 10785"/>
                  <a:gd name="connsiteY2861" fmla="*/ 7598 h 10000"/>
                  <a:gd name="connsiteX2862" fmla="*/ 2461 w 10785"/>
                  <a:gd name="connsiteY2862" fmla="*/ 7598 h 10000"/>
                  <a:gd name="connsiteX2863" fmla="*/ 2465 w 10785"/>
                  <a:gd name="connsiteY2863" fmla="*/ 7615 h 10000"/>
                  <a:gd name="connsiteX2864" fmla="*/ 2479 w 10785"/>
                  <a:gd name="connsiteY2864" fmla="*/ 7564 h 10000"/>
                  <a:gd name="connsiteX2865" fmla="*/ 2488 w 10785"/>
                  <a:gd name="connsiteY2865" fmla="*/ 7556 h 10000"/>
                  <a:gd name="connsiteX2866" fmla="*/ 2493 w 10785"/>
                  <a:gd name="connsiteY2866" fmla="*/ 7556 h 10000"/>
                  <a:gd name="connsiteX2867" fmla="*/ 2507 w 10785"/>
                  <a:gd name="connsiteY2867" fmla="*/ 7556 h 10000"/>
                  <a:gd name="connsiteX2868" fmla="*/ 2530 w 10785"/>
                  <a:gd name="connsiteY2868" fmla="*/ 7538 h 10000"/>
                  <a:gd name="connsiteX2869" fmla="*/ 2530 w 10785"/>
                  <a:gd name="connsiteY2869" fmla="*/ 7556 h 10000"/>
                  <a:gd name="connsiteX2870" fmla="*/ 2641 w 10785"/>
                  <a:gd name="connsiteY2870" fmla="*/ 7504 h 10000"/>
                  <a:gd name="connsiteX2871" fmla="*/ 2654 w 10785"/>
                  <a:gd name="connsiteY2871" fmla="*/ 7487 h 10000"/>
                  <a:gd name="connsiteX2872" fmla="*/ 2664 w 10785"/>
                  <a:gd name="connsiteY2872" fmla="*/ 7487 h 10000"/>
                  <a:gd name="connsiteX2873" fmla="*/ 2668 w 10785"/>
                  <a:gd name="connsiteY2873" fmla="*/ 7479 h 10000"/>
                  <a:gd name="connsiteX2874" fmla="*/ 2673 w 10785"/>
                  <a:gd name="connsiteY2874" fmla="*/ 7462 h 10000"/>
                  <a:gd name="connsiteX2875" fmla="*/ 2673 w 10785"/>
                  <a:gd name="connsiteY2875" fmla="*/ 7427 h 10000"/>
                  <a:gd name="connsiteX2876" fmla="*/ 2687 w 10785"/>
                  <a:gd name="connsiteY2876" fmla="*/ 7436 h 10000"/>
                  <a:gd name="connsiteX2877" fmla="*/ 2696 w 10785"/>
                  <a:gd name="connsiteY2877" fmla="*/ 7427 h 10000"/>
                  <a:gd name="connsiteX2878" fmla="*/ 2700 w 10785"/>
                  <a:gd name="connsiteY2878" fmla="*/ 7419 h 10000"/>
                  <a:gd name="connsiteX2879" fmla="*/ 2710 w 10785"/>
                  <a:gd name="connsiteY2879" fmla="*/ 7402 h 10000"/>
                  <a:gd name="connsiteX2880" fmla="*/ 2724 w 10785"/>
                  <a:gd name="connsiteY2880" fmla="*/ 7402 h 10000"/>
                  <a:gd name="connsiteX2881" fmla="*/ 2724 w 10785"/>
                  <a:gd name="connsiteY2881" fmla="*/ 7393 h 10000"/>
                  <a:gd name="connsiteX2882" fmla="*/ 2737 w 10785"/>
                  <a:gd name="connsiteY2882" fmla="*/ 7393 h 10000"/>
                  <a:gd name="connsiteX2883" fmla="*/ 2742 w 10785"/>
                  <a:gd name="connsiteY2883" fmla="*/ 7402 h 10000"/>
                  <a:gd name="connsiteX2884" fmla="*/ 2747 w 10785"/>
                  <a:gd name="connsiteY2884" fmla="*/ 7402 h 10000"/>
                  <a:gd name="connsiteX2885" fmla="*/ 2760 w 10785"/>
                  <a:gd name="connsiteY2885" fmla="*/ 7402 h 10000"/>
                  <a:gd name="connsiteX2886" fmla="*/ 2770 w 10785"/>
                  <a:gd name="connsiteY2886" fmla="*/ 7402 h 10000"/>
                  <a:gd name="connsiteX2887" fmla="*/ 2774 w 10785"/>
                  <a:gd name="connsiteY2887" fmla="*/ 7402 h 10000"/>
                  <a:gd name="connsiteX2888" fmla="*/ 2783 w 10785"/>
                  <a:gd name="connsiteY2888" fmla="*/ 7419 h 10000"/>
                  <a:gd name="connsiteX2889" fmla="*/ 2802 w 10785"/>
                  <a:gd name="connsiteY2889" fmla="*/ 7436 h 10000"/>
                  <a:gd name="connsiteX2890" fmla="*/ 2816 w 10785"/>
                  <a:gd name="connsiteY2890" fmla="*/ 7419 h 10000"/>
                  <a:gd name="connsiteX2891" fmla="*/ 2834 w 10785"/>
                  <a:gd name="connsiteY2891" fmla="*/ 7419 h 10000"/>
                  <a:gd name="connsiteX2892" fmla="*/ 2843 w 10785"/>
                  <a:gd name="connsiteY2892" fmla="*/ 7419 h 10000"/>
                  <a:gd name="connsiteX2893" fmla="*/ 2848 w 10785"/>
                  <a:gd name="connsiteY2893" fmla="*/ 7436 h 10000"/>
                  <a:gd name="connsiteX2894" fmla="*/ 2857 w 10785"/>
                  <a:gd name="connsiteY2894" fmla="*/ 7453 h 10000"/>
                  <a:gd name="connsiteX2895" fmla="*/ 2857 w 10785"/>
                  <a:gd name="connsiteY2895" fmla="*/ 7504 h 10000"/>
                  <a:gd name="connsiteX2896" fmla="*/ 2862 w 10785"/>
                  <a:gd name="connsiteY2896" fmla="*/ 7530 h 10000"/>
                  <a:gd name="connsiteX2897" fmla="*/ 2876 w 10785"/>
                  <a:gd name="connsiteY2897" fmla="*/ 7538 h 10000"/>
                  <a:gd name="connsiteX2898" fmla="*/ 2871 w 10785"/>
                  <a:gd name="connsiteY2898" fmla="*/ 7564 h 10000"/>
                  <a:gd name="connsiteX2899" fmla="*/ 2871 w 10785"/>
                  <a:gd name="connsiteY2899" fmla="*/ 7598 h 10000"/>
                  <a:gd name="connsiteX2900" fmla="*/ 2857 w 10785"/>
                  <a:gd name="connsiteY2900" fmla="*/ 7624 h 10000"/>
                  <a:gd name="connsiteX2901" fmla="*/ 2862 w 10785"/>
                  <a:gd name="connsiteY2901" fmla="*/ 7641 h 10000"/>
                  <a:gd name="connsiteX2902" fmla="*/ 2871 w 10785"/>
                  <a:gd name="connsiteY2902" fmla="*/ 7667 h 10000"/>
                  <a:gd name="connsiteX2903" fmla="*/ 2880 w 10785"/>
                  <a:gd name="connsiteY2903" fmla="*/ 7650 h 10000"/>
                  <a:gd name="connsiteX2904" fmla="*/ 2894 w 10785"/>
                  <a:gd name="connsiteY2904" fmla="*/ 7667 h 10000"/>
                  <a:gd name="connsiteX2905" fmla="*/ 2903 w 10785"/>
                  <a:gd name="connsiteY2905" fmla="*/ 7667 h 10000"/>
                  <a:gd name="connsiteX2906" fmla="*/ 2908 w 10785"/>
                  <a:gd name="connsiteY2906" fmla="*/ 7641 h 10000"/>
                  <a:gd name="connsiteX2907" fmla="*/ 2917 w 10785"/>
                  <a:gd name="connsiteY2907" fmla="*/ 7641 h 10000"/>
                  <a:gd name="connsiteX2908" fmla="*/ 2922 w 10785"/>
                  <a:gd name="connsiteY2908" fmla="*/ 7641 h 10000"/>
                  <a:gd name="connsiteX2909" fmla="*/ 2931 w 10785"/>
                  <a:gd name="connsiteY2909" fmla="*/ 7615 h 10000"/>
                  <a:gd name="connsiteX2910" fmla="*/ 2935 w 10785"/>
                  <a:gd name="connsiteY2910" fmla="*/ 7615 h 10000"/>
                  <a:gd name="connsiteX2911" fmla="*/ 2945 w 10785"/>
                  <a:gd name="connsiteY2911" fmla="*/ 7650 h 10000"/>
                  <a:gd name="connsiteX2912" fmla="*/ 2949 w 10785"/>
                  <a:gd name="connsiteY2912" fmla="*/ 7667 h 10000"/>
                  <a:gd name="connsiteX2913" fmla="*/ 2949 w 10785"/>
                  <a:gd name="connsiteY2913" fmla="*/ 7675 h 10000"/>
                  <a:gd name="connsiteX2914" fmla="*/ 2945 w 10785"/>
                  <a:gd name="connsiteY2914" fmla="*/ 7692 h 10000"/>
                  <a:gd name="connsiteX2915" fmla="*/ 2963 w 10785"/>
                  <a:gd name="connsiteY2915" fmla="*/ 7701 h 10000"/>
                  <a:gd name="connsiteX2916" fmla="*/ 2963 w 10785"/>
                  <a:gd name="connsiteY2916" fmla="*/ 7675 h 10000"/>
                  <a:gd name="connsiteX2917" fmla="*/ 2954 w 10785"/>
                  <a:gd name="connsiteY2917" fmla="*/ 7667 h 10000"/>
                  <a:gd name="connsiteX2918" fmla="*/ 2963 w 10785"/>
                  <a:gd name="connsiteY2918" fmla="*/ 7667 h 10000"/>
                  <a:gd name="connsiteX2919" fmla="*/ 2982 w 10785"/>
                  <a:gd name="connsiteY2919" fmla="*/ 7667 h 10000"/>
                  <a:gd name="connsiteX2920" fmla="*/ 2991 w 10785"/>
                  <a:gd name="connsiteY2920" fmla="*/ 7675 h 10000"/>
                  <a:gd name="connsiteX2921" fmla="*/ 2995 w 10785"/>
                  <a:gd name="connsiteY2921" fmla="*/ 7692 h 10000"/>
                  <a:gd name="connsiteX2922" fmla="*/ 3009 w 10785"/>
                  <a:gd name="connsiteY2922" fmla="*/ 7701 h 10000"/>
                  <a:gd name="connsiteX2923" fmla="*/ 3018 w 10785"/>
                  <a:gd name="connsiteY2923" fmla="*/ 7701 h 10000"/>
                  <a:gd name="connsiteX2924" fmla="*/ 3023 w 10785"/>
                  <a:gd name="connsiteY2924" fmla="*/ 7692 h 10000"/>
                  <a:gd name="connsiteX2925" fmla="*/ 3028 w 10785"/>
                  <a:gd name="connsiteY2925" fmla="*/ 7675 h 10000"/>
                  <a:gd name="connsiteX2926" fmla="*/ 3037 w 10785"/>
                  <a:gd name="connsiteY2926" fmla="*/ 7692 h 10000"/>
                  <a:gd name="connsiteX2927" fmla="*/ 3028 w 10785"/>
                  <a:gd name="connsiteY2927" fmla="*/ 7709 h 10000"/>
                  <a:gd name="connsiteX2928" fmla="*/ 3023 w 10785"/>
                  <a:gd name="connsiteY2928" fmla="*/ 7709 h 10000"/>
                  <a:gd name="connsiteX2929" fmla="*/ 3018 w 10785"/>
                  <a:gd name="connsiteY2929" fmla="*/ 7726 h 10000"/>
                  <a:gd name="connsiteX2930" fmla="*/ 3009 w 10785"/>
                  <a:gd name="connsiteY2930" fmla="*/ 7735 h 10000"/>
                  <a:gd name="connsiteX2931" fmla="*/ 3009 w 10785"/>
                  <a:gd name="connsiteY2931" fmla="*/ 7761 h 10000"/>
                  <a:gd name="connsiteX2932" fmla="*/ 3009 w 10785"/>
                  <a:gd name="connsiteY2932" fmla="*/ 7778 h 10000"/>
                  <a:gd name="connsiteX2933" fmla="*/ 3018 w 10785"/>
                  <a:gd name="connsiteY2933" fmla="*/ 7786 h 10000"/>
                  <a:gd name="connsiteX2934" fmla="*/ 3023 w 10785"/>
                  <a:gd name="connsiteY2934" fmla="*/ 7786 h 10000"/>
                  <a:gd name="connsiteX2935" fmla="*/ 3028 w 10785"/>
                  <a:gd name="connsiteY2935" fmla="*/ 7778 h 10000"/>
                  <a:gd name="connsiteX2936" fmla="*/ 3051 w 10785"/>
                  <a:gd name="connsiteY2936" fmla="*/ 7761 h 10000"/>
                  <a:gd name="connsiteX2937" fmla="*/ 3055 w 10785"/>
                  <a:gd name="connsiteY2937" fmla="*/ 7778 h 10000"/>
                  <a:gd name="connsiteX2938" fmla="*/ 3065 w 10785"/>
                  <a:gd name="connsiteY2938" fmla="*/ 7761 h 10000"/>
                  <a:gd name="connsiteX2939" fmla="*/ 3069 w 10785"/>
                  <a:gd name="connsiteY2939" fmla="*/ 7786 h 10000"/>
                  <a:gd name="connsiteX2940" fmla="*/ 3083 w 10785"/>
                  <a:gd name="connsiteY2940" fmla="*/ 7786 h 10000"/>
                  <a:gd name="connsiteX2941" fmla="*/ 3078 w 10785"/>
                  <a:gd name="connsiteY2941" fmla="*/ 7761 h 10000"/>
                  <a:gd name="connsiteX2942" fmla="*/ 3083 w 10785"/>
                  <a:gd name="connsiteY2942" fmla="*/ 7752 h 10000"/>
                  <a:gd name="connsiteX2943" fmla="*/ 3097 w 10785"/>
                  <a:gd name="connsiteY2943" fmla="*/ 7752 h 10000"/>
                  <a:gd name="connsiteX2944" fmla="*/ 3111 w 10785"/>
                  <a:gd name="connsiteY2944" fmla="*/ 7726 h 10000"/>
                  <a:gd name="connsiteX2945" fmla="*/ 3124 w 10785"/>
                  <a:gd name="connsiteY2945" fmla="*/ 7709 h 10000"/>
                  <a:gd name="connsiteX2946" fmla="*/ 3143 w 10785"/>
                  <a:gd name="connsiteY2946" fmla="*/ 7692 h 10000"/>
                  <a:gd name="connsiteX2947" fmla="*/ 3152 w 10785"/>
                  <a:gd name="connsiteY2947" fmla="*/ 7667 h 10000"/>
                  <a:gd name="connsiteX2948" fmla="*/ 3157 w 10785"/>
                  <a:gd name="connsiteY2948" fmla="*/ 7650 h 10000"/>
                  <a:gd name="connsiteX2949" fmla="*/ 3161 w 10785"/>
                  <a:gd name="connsiteY2949" fmla="*/ 7650 h 10000"/>
                  <a:gd name="connsiteX2950" fmla="*/ 3189 w 10785"/>
                  <a:gd name="connsiteY2950" fmla="*/ 7641 h 10000"/>
                  <a:gd name="connsiteX2951" fmla="*/ 3198 w 10785"/>
                  <a:gd name="connsiteY2951" fmla="*/ 7624 h 10000"/>
                  <a:gd name="connsiteX2952" fmla="*/ 3217 w 10785"/>
                  <a:gd name="connsiteY2952" fmla="*/ 7615 h 10000"/>
                  <a:gd name="connsiteX2953" fmla="*/ 3235 w 10785"/>
                  <a:gd name="connsiteY2953" fmla="*/ 7598 h 10000"/>
                  <a:gd name="connsiteX2954" fmla="*/ 3235 w 10785"/>
                  <a:gd name="connsiteY2954" fmla="*/ 7615 h 10000"/>
                  <a:gd name="connsiteX2955" fmla="*/ 3235 w 10785"/>
                  <a:gd name="connsiteY2955" fmla="*/ 7641 h 10000"/>
                  <a:gd name="connsiteX2956" fmla="*/ 3235 w 10785"/>
                  <a:gd name="connsiteY2956" fmla="*/ 7650 h 10000"/>
                  <a:gd name="connsiteX2957" fmla="*/ 3226 w 10785"/>
                  <a:gd name="connsiteY2957" fmla="*/ 7650 h 10000"/>
                  <a:gd name="connsiteX2958" fmla="*/ 3217 w 10785"/>
                  <a:gd name="connsiteY2958" fmla="*/ 7650 h 10000"/>
                  <a:gd name="connsiteX2959" fmla="*/ 3212 w 10785"/>
                  <a:gd name="connsiteY2959" fmla="*/ 7675 h 10000"/>
                  <a:gd name="connsiteX2960" fmla="*/ 3212 w 10785"/>
                  <a:gd name="connsiteY2960"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274 w 10785"/>
                  <a:gd name="connsiteY731" fmla="*/ 4822 h 10000"/>
                  <a:gd name="connsiteX732" fmla="*/ 10139 w 10785"/>
                  <a:gd name="connsiteY732" fmla="*/ 4708 h 10000"/>
                  <a:gd name="connsiteX733" fmla="*/ 10233 w 10785"/>
                  <a:gd name="connsiteY733" fmla="*/ 4530 h 10000"/>
                  <a:gd name="connsiteX734" fmla="*/ 10334 w 10785"/>
                  <a:gd name="connsiteY734" fmla="*/ 4810 h 10000"/>
                  <a:gd name="connsiteX735" fmla="*/ 10422 w 10785"/>
                  <a:gd name="connsiteY735" fmla="*/ 5051 h 10000"/>
                  <a:gd name="connsiteX736" fmla="*/ 10691 w 10785"/>
                  <a:gd name="connsiteY736" fmla="*/ 5255 h 10000"/>
                  <a:gd name="connsiteX737" fmla="*/ 10619 w 10785"/>
                  <a:gd name="connsiteY737" fmla="*/ 4708 h 10000"/>
                  <a:gd name="connsiteX738" fmla="*/ 10785 w 10785"/>
                  <a:gd name="connsiteY738" fmla="*/ 4708 h 10000"/>
                  <a:gd name="connsiteX739" fmla="*/ 10689 w 10785"/>
                  <a:gd name="connsiteY739" fmla="*/ 4467 h 10000"/>
                  <a:gd name="connsiteX740" fmla="*/ 10354 w 10785"/>
                  <a:gd name="connsiteY740" fmla="*/ 4302 h 10000"/>
                  <a:gd name="connsiteX741" fmla="*/ 9912 w 10785"/>
                  <a:gd name="connsiteY741" fmla="*/ 3675 h 10000"/>
                  <a:gd name="connsiteX742" fmla="*/ 9903 w 10785"/>
                  <a:gd name="connsiteY742" fmla="*/ 3667 h 10000"/>
                  <a:gd name="connsiteX743" fmla="*/ 9894 w 10785"/>
                  <a:gd name="connsiteY743" fmla="*/ 3641 h 10000"/>
                  <a:gd name="connsiteX744" fmla="*/ 9889 w 10785"/>
                  <a:gd name="connsiteY744" fmla="*/ 3650 h 10000"/>
                  <a:gd name="connsiteX745" fmla="*/ 9848 w 10785"/>
                  <a:gd name="connsiteY745" fmla="*/ 3598 h 10000"/>
                  <a:gd name="connsiteX746" fmla="*/ 9829 w 10785"/>
                  <a:gd name="connsiteY746" fmla="*/ 3581 h 10000"/>
                  <a:gd name="connsiteX747" fmla="*/ 9820 w 10785"/>
                  <a:gd name="connsiteY747" fmla="*/ 3581 h 10000"/>
                  <a:gd name="connsiteX748" fmla="*/ 9793 w 10785"/>
                  <a:gd name="connsiteY748" fmla="*/ 3556 h 10000"/>
                  <a:gd name="connsiteX749" fmla="*/ 9779 w 10785"/>
                  <a:gd name="connsiteY749" fmla="*/ 3556 h 10000"/>
                  <a:gd name="connsiteX750" fmla="*/ 9747 w 10785"/>
                  <a:gd name="connsiteY750" fmla="*/ 3487 h 10000"/>
                  <a:gd name="connsiteX751" fmla="*/ 9668 w 10785"/>
                  <a:gd name="connsiteY751" fmla="*/ 3479 h 10000"/>
                  <a:gd name="connsiteX752" fmla="*/ 9659 w 10785"/>
                  <a:gd name="connsiteY752" fmla="*/ 3487 h 10000"/>
                  <a:gd name="connsiteX753" fmla="*/ 9645 w 10785"/>
                  <a:gd name="connsiteY753" fmla="*/ 3504 h 10000"/>
                  <a:gd name="connsiteX754" fmla="*/ 9631 w 10785"/>
                  <a:gd name="connsiteY754" fmla="*/ 3487 h 10000"/>
                  <a:gd name="connsiteX755" fmla="*/ 9613 w 10785"/>
                  <a:gd name="connsiteY755" fmla="*/ 3479 h 10000"/>
                  <a:gd name="connsiteX756" fmla="*/ 9599 w 10785"/>
                  <a:gd name="connsiteY756" fmla="*/ 3479 h 10000"/>
                  <a:gd name="connsiteX757" fmla="*/ 9571 w 10785"/>
                  <a:gd name="connsiteY757" fmla="*/ 3479 h 10000"/>
                  <a:gd name="connsiteX758" fmla="*/ 9562 w 10785"/>
                  <a:gd name="connsiteY758" fmla="*/ 3487 h 10000"/>
                  <a:gd name="connsiteX759" fmla="*/ 9539 w 10785"/>
                  <a:gd name="connsiteY759" fmla="*/ 3487 h 10000"/>
                  <a:gd name="connsiteX760" fmla="*/ 9507 w 10785"/>
                  <a:gd name="connsiteY760" fmla="*/ 3453 h 10000"/>
                  <a:gd name="connsiteX761" fmla="*/ 9498 w 10785"/>
                  <a:gd name="connsiteY761" fmla="*/ 3453 h 10000"/>
                  <a:gd name="connsiteX762" fmla="*/ 9387 w 10785"/>
                  <a:gd name="connsiteY762" fmla="*/ 3419 h 10000"/>
                  <a:gd name="connsiteX763" fmla="*/ 9373 w 10785"/>
                  <a:gd name="connsiteY763" fmla="*/ 3427 h 10000"/>
                  <a:gd name="connsiteX764" fmla="*/ 9373 w 10785"/>
                  <a:gd name="connsiteY764" fmla="*/ 3462 h 10000"/>
                  <a:gd name="connsiteX765" fmla="*/ 9378 w 10785"/>
                  <a:gd name="connsiteY765" fmla="*/ 3479 h 10000"/>
                  <a:gd name="connsiteX766" fmla="*/ 9378 w 10785"/>
                  <a:gd name="connsiteY766" fmla="*/ 3530 h 10000"/>
                  <a:gd name="connsiteX767" fmla="*/ 9355 w 10785"/>
                  <a:gd name="connsiteY767" fmla="*/ 3538 h 10000"/>
                  <a:gd name="connsiteX768" fmla="*/ 9355 w 10785"/>
                  <a:gd name="connsiteY768" fmla="*/ 3581 h 10000"/>
                  <a:gd name="connsiteX769" fmla="*/ 9387 w 10785"/>
                  <a:gd name="connsiteY769" fmla="*/ 3590 h 10000"/>
                  <a:gd name="connsiteX770" fmla="*/ 9401 w 10785"/>
                  <a:gd name="connsiteY770" fmla="*/ 3667 h 10000"/>
                  <a:gd name="connsiteX771" fmla="*/ 9406 w 10785"/>
                  <a:gd name="connsiteY771" fmla="*/ 3675 h 10000"/>
                  <a:gd name="connsiteX772" fmla="*/ 9406 w 10785"/>
                  <a:gd name="connsiteY772" fmla="*/ 3701 h 10000"/>
                  <a:gd name="connsiteX773" fmla="*/ 9415 w 10785"/>
                  <a:gd name="connsiteY773" fmla="*/ 3752 h 10000"/>
                  <a:gd name="connsiteX774" fmla="*/ 9373 w 10785"/>
                  <a:gd name="connsiteY774" fmla="*/ 3838 h 10000"/>
                  <a:gd name="connsiteX775" fmla="*/ 9355 w 10785"/>
                  <a:gd name="connsiteY775" fmla="*/ 3863 h 10000"/>
                  <a:gd name="connsiteX776" fmla="*/ 9327 w 10785"/>
                  <a:gd name="connsiteY776" fmla="*/ 3863 h 10000"/>
                  <a:gd name="connsiteX777" fmla="*/ 9313 w 10785"/>
                  <a:gd name="connsiteY777" fmla="*/ 3846 h 10000"/>
                  <a:gd name="connsiteX778" fmla="*/ 9300 w 10785"/>
                  <a:gd name="connsiteY778" fmla="*/ 3778 h 10000"/>
                  <a:gd name="connsiteX779" fmla="*/ 9281 w 10785"/>
                  <a:gd name="connsiteY779" fmla="*/ 3752 h 10000"/>
                  <a:gd name="connsiteX780" fmla="*/ 9281 w 10785"/>
                  <a:gd name="connsiteY780" fmla="*/ 3735 h 10000"/>
                  <a:gd name="connsiteX781" fmla="*/ 9267 w 10785"/>
                  <a:gd name="connsiteY781" fmla="*/ 3726 h 10000"/>
                  <a:gd name="connsiteX782" fmla="*/ 9240 w 10785"/>
                  <a:gd name="connsiteY782" fmla="*/ 3726 h 10000"/>
                  <a:gd name="connsiteX783" fmla="*/ 9230 w 10785"/>
                  <a:gd name="connsiteY783" fmla="*/ 3718 h 10000"/>
                  <a:gd name="connsiteX784" fmla="*/ 9226 w 10785"/>
                  <a:gd name="connsiteY784" fmla="*/ 3590 h 10000"/>
                  <a:gd name="connsiteX785" fmla="*/ 9207 w 10785"/>
                  <a:gd name="connsiteY785" fmla="*/ 3581 h 10000"/>
                  <a:gd name="connsiteX786" fmla="*/ 9207 w 10785"/>
                  <a:gd name="connsiteY786" fmla="*/ 3556 h 10000"/>
                  <a:gd name="connsiteX787" fmla="*/ 9217 w 10785"/>
                  <a:gd name="connsiteY787" fmla="*/ 3538 h 10000"/>
                  <a:gd name="connsiteX788" fmla="*/ 9212 w 10785"/>
                  <a:gd name="connsiteY788" fmla="*/ 3538 h 10000"/>
                  <a:gd name="connsiteX789" fmla="*/ 9198 w 10785"/>
                  <a:gd name="connsiteY789" fmla="*/ 3513 h 10000"/>
                  <a:gd name="connsiteX790" fmla="*/ 9194 w 10785"/>
                  <a:gd name="connsiteY790" fmla="*/ 3530 h 10000"/>
                  <a:gd name="connsiteX791" fmla="*/ 9143 w 10785"/>
                  <a:gd name="connsiteY791" fmla="*/ 3615 h 10000"/>
                  <a:gd name="connsiteX792" fmla="*/ 9138 w 10785"/>
                  <a:gd name="connsiteY792" fmla="*/ 3615 h 10000"/>
                  <a:gd name="connsiteX793" fmla="*/ 9134 w 10785"/>
                  <a:gd name="connsiteY793" fmla="*/ 3615 h 10000"/>
                  <a:gd name="connsiteX794" fmla="*/ 9106 w 10785"/>
                  <a:gd name="connsiteY794" fmla="*/ 3615 h 10000"/>
                  <a:gd name="connsiteX795" fmla="*/ 9078 w 10785"/>
                  <a:gd name="connsiteY795" fmla="*/ 3590 h 10000"/>
                  <a:gd name="connsiteX796" fmla="*/ 9037 w 10785"/>
                  <a:gd name="connsiteY796" fmla="*/ 3581 h 10000"/>
                  <a:gd name="connsiteX797" fmla="*/ 9023 w 10785"/>
                  <a:gd name="connsiteY797" fmla="*/ 3590 h 10000"/>
                  <a:gd name="connsiteX798" fmla="*/ 9018 w 10785"/>
                  <a:gd name="connsiteY798" fmla="*/ 3590 h 10000"/>
                  <a:gd name="connsiteX799" fmla="*/ 9018 w 10785"/>
                  <a:gd name="connsiteY799" fmla="*/ 3590 h 10000"/>
                  <a:gd name="connsiteX800" fmla="*/ 8991 w 10785"/>
                  <a:gd name="connsiteY800" fmla="*/ 3590 h 10000"/>
                  <a:gd name="connsiteX801" fmla="*/ 8972 w 10785"/>
                  <a:gd name="connsiteY801" fmla="*/ 3581 h 10000"/>
                  <a:gd name="connsiteX802" fmla="*/ 8959 w 10785"/>
                  <a:gd name="connsiteY802" fmla="*/ 3513 h 10000"/>
                  <a:gd name="connsiteX803" fmla="*/ 8931 w 10785"/>
                  <a:gd name="connsiteY803" fmla="*/ 3538 h 10000"/>
                  <a:gd name="connsiteX804" fmla="*/ 8889 w 10785"/>
                  <a:gd name="connsiteY804" fmla="*/ 3538 h 10000"/>
                  <a:gd name="connsiteX805" fmla="*/ 8871 w 10785"/>
                  <a:gd name="connsiteY805" fmla="*/ 3556 h 10000"/>
                  <a:gd name="connsiteX806" fmla="*/ 8857 w 10785"/>
                  <a:gd name="connsiteY806" fmla="*/ 3538 h 10000"/>
                  <a:gd name="connsiteX807" fmla="*/ 8843 w 10785"/>
                  <a:gd name="connsiteY807" fmla="*/ 3538 h 10000"/>
                  <a:gd name="connsiteX808" fmla="*/ 8839 w 10785"/>
                  <a:gd name="connsiteY808" fmla="*/ 3556 h 10000"/>
                  <a:gd name="connsiteX809" fmla="*/ 8839 w 10785"/>
                  <a:gd name="connsiteY809" fmla="*/ 3581 h 10000"/>
                  <a:gd name="connsiteX810" fmla="*/ 8825 w 10785"/>
                  <a:gd name="connsiteY810" fmla="*/ 3564 h 10000"/>
                  <a:gd name="connsiteX811" fmla="*/ 8825 w 10785"/>
                  <a:gd name="connsiteY811" fmla="*/ 3615 h 10000"/>
                  <a:gd name="connsiteX812" fmla="*/ 8802 w 10785"/>
                  <a:gd name="connsiteY812" fmla="*/ 3598 h 10000"/>
                  <a:gd name="connsiteX813" fmla="*/ 8797 w 10785"/>
                  <a:gd name="connsiteY813" fmla="*/ 3641 h 10000"/>
                  <a:gd name="connsiteX814" fmla="*/ 8783 w 10785"/>
                  <a:gd name="connsiteY814" fmla="*/ 3667 h 10000"/>
                  <a:gd name="connsiteX815" fmla="*/ 8779 w 10785"/>
                  <a:gd name="connsiteY815" fmla="*/ 3650 h 10000"/>
                  <a:gd name="connsiteX816" fmla="*/ 8779 w 10785"/>
                  <a:gd name="connsiteY816" fmla="*/ 3615 h 10000"/>
                  <a:gd name="connsiteX817" fmla="*/ 8770 w 10785"/>
                  <a:gd name="connsiteY817" fmla="*/ 3590 h 10000"/>
                  <a:gd name="connsiteX818" fmla="*/ 8765 w 10785"/>
                  <a:gd name="connsiteY818" fmla="*/ 3598 h 10000"/>
                  <a:gd name="connsiteX819" fmla="*/ 8756 w 10785"/>
                  <a:gd name="connsiteY819" fmla="*/ 3590 h 10000"/>
                  <a:gd name="connsiteX820" fmla="*/ 8737 w 10785"/>
                  <a:gd name="connsiteY820" fmla="*/ 3556 h 10000"/>
                  <a:gd name="connsiteX821" fmla="*/ 8724 w 10785"/>
                  <a:gd name="connsiteY821" fmla="*/ 3538 h 10000"/>
                  <a:gd name="connsiteX822" fmla="*/ 8696 w 10785"/>
                  <a:gd name="connsiteY822" fmla="*/ 3538 h 10000"/>
                  <a:gd name="connsiteX823" fmla="*/ 8691 w 10785"/>
                  <a:gd name="connsiteY823" fmla="*/ 3513 h 10000"/>
                  <a:gd name="connsiteX824" fmla="*/ 8668 w 10785"/>
                  <a:gd name="connsiteY824" fmla="*/ 3504 h 10000"/>
                  <a:gd name="connsiteX825" fmla="*/ 8668 w 10785"/>
                  <a:gd name="connsiteY825" fmla="*/ 3487 h 10000"/>
                  <a:gd name="connsiteX826" fmla="*/ 8691 w 10785"/>
                  <a:gd name="connsiteY826" fmla="*/ 3350 h 10000"/>
                  <a:gd name="connsiteX827" fmla="*/ 8691 w 10785"/>
                  <a:gd name="connsiteY827" fmla="*/ 3291 h 10000"/>
                  <a:gd name="connsiteX828" fmla="*/ 8677 w 10785"/>
                  <a:gd name="connsiteY828" fmla="*/ 3239 h 10000"/>
                  <a:gd name="connsiteX829" fmla="*/ 8677 w 10785"/>
                  <a:gd name="connsiteY829" fmla="*/ 3231 h 10000"/>
                  <a:gd name="connsiteX830" fmla="*/ 8636 w 10785"/>
                  <a:gd name="connsiteY830" fmla="*/ 3128 h 10000"/>
                  <a:gd name="connsiteX831" fmla="*/ 8622 w 10785"/>
                  <a:gd name="connsiteY831" fmla="*/ 3120 h 10000"/>
                  <a:gd name="connsiteX832" fmla="*/ 8618 w 10785"/>
                  <a:gd name="connsiteY832" fmla="*/ 3094 h 10000"/>
                  <a:gd name="connsiteX833" fmla="*/ 8594 w 10785"/>
                  <a:gd name="connsiteY833" fmla="*/ 3077 h 10000"/>
                  <a:gd name="connsiteX834" fmla="*/ 8548 w 10785"/>
                  <a:gd name="connsiteY834" fmla="*/ 3077 h 10000"/>
                  <a:gd name="connsiteX835" fmla="*/ 8535 w 10785"/>
                  <a:gd name="connsiteY835" fmla="*/ 3068 h 10000"/>
                  <a:gd name="connsiteX836" fmla="*/ 8429 w 10785"/>
                  <a:gd name="connsiteY836" fmla="*/ 3077 h 10000"/>
                  <a:gd name="connsiteX837" fmla="*/ 8424 w 10785"/>
                  <a:gd name="connsiteY837" fmla="*/ 3077 h 10000"/>
                  <a:gd name="connsiteX838" fmla="*/ 8396 w 10785"/>
                  <a:gd name="connsiteY838" fmla="*/ 3077 h 10000"/>
                  <a:gd name="connsiteX839" fmla="*/ 8387 w 10785"/>
                  <a:gd name="connsiteY839" fmla="*/ 3094 h 10000"/>
                  <a:gd name="connsiteX840" fmla="*/ 8378 w 10785"/>
                  <a:gd name="connsiteY840" fmla="*/ 3094 h 10000"/>
                  <a:gd name="connsiteX841" fmla="*/ 8341 w 10785"/>
                  <a:gd name="connsiteY841" fmla="*/ 3077 h 10000"/>
                  <a:gd name="connsiteX842" fmla="*/ 8336 w 10785"/>
                  <a:gd name="connsiteY842" fmla="*/ 3077 h 10000"/>
                  <a:gd name="connsiteX843" fmla="*/ 8327 w 10785"/>
                  <a:gd name="connsiteY843" fmla="*/ 3103 h 10000"/>
                  <a:gd name="connsiteX844" fmla="*/ 8309 w 10785"/>
                  <a:gd name="connsiteY844" fmla="*/ 3120 h 10000"/>
                  <a:gd name="connsiteX845" fmla="*/ 8304 w 10785"/>
                  <a:gd name="connsiteY845" fmla="*/ 3103 h 10000"/>
                  <a:gd name="connsiteX846" fmla="*/ 8276 w 10785"/>
                  <a:gd name="connsiteY846" fmla="*/ 3103 h 10000"/>
                  <a:gd name="connsiteX847" fmla="*/ 8267 w 10785"/>
                  <a:gd name="connsiteY847" fmla="*/ 3120 h 10000"/>
                  <a:gd name="connsiteX848" fmla="*/ 8253 w 10785"/>
                  <a:gd name="connsiteY848" fmla="*/ 3103 h 10000"/>
                  <a:gd name="connsiteX849" fmla="*/ 8230 w 10785"/>
                  <a:gd name="connsiteY849" fmla="*/ 3128 h 10000"/>
                  <a:gd name="connsiteX850" fmla="*/ 8217 w 10785"/>
                  <a:gd name="connsiteY850" fmla="*/ 3128 h 10000"/>
                  <a:gd name="connsiteX851" fmla="*/ 8203 w 10785"/>
                  <a:gd name="connsiteY851" fmla="*/ 3154 h 10000"/>
                  <a:gd name="connsiteX852" fmla="*/ 8175 w 10785"/>
                  <a:gd name="connsiteY852" fmla="*/ 3094 h 10000"/>
                  <a:gd name="connsiteX853" fmla="*/ 8161 w 10785"/>
                  <a:gd name="connsiteY853" fmla="*/ 3094 h 10000"/>
                  <a:gd name="connsiteX854" fmla="*/ 8157 w 10785"/>
                  <a:gd name="connsiteY854" fmla="*/ 3077 h 10000"/>
                  <a:gd name="connsiteX855" fmla="*/ 8180 w 10785"/>
                  <a:gd name="connsiteY855" fmla="*/ 3068 h 10000"/>
                  <a:gd name="connsiteX856" fmla="*/ 8189 w 10785"/>
                  <a:gd name="connsiteY856" fmla="*/ 3043 h 10000"/>
                  <a:gd name="connsiteX857" fmla="*/ 8189 w 10785"/>
                  <a:gd name="connsiteY857" fmla="*/ 3017 h 10000"/>
                  <a:gd name="connsiteX858" fmla="*/ 8147 w 10785"/>
                  <a:gd name="connsiteY858" fmla="*/ 2940 h 10000"/>
                  <a:gd name="connsiteX859" fmla="*/ 8143 w 10785"/>
                  <a:gd name="connsiteY859" fmla="*/ 2915 h 10000"/>
                  <a:gd name="connsiteX860" fmla="*/ 8143 w 10785"/>
                  <a:gd name="connsiteY860" fmla="*/ 2906 h 10000"/>
                  <a:gd name="connsiteX861" fmla="*/ 8097 w 10785"/>
                  <a:gd name="connsiteY861" fmla="*/ 2932 h 10000"/>
                  <a:gd name="connsiteX862" fmla="*/ 8083 w 10785"/>
                  <a:gd name="connsiteY862" fmla="*/ 2932 h 10000"/>
                  <a:gd name="connsiteX863" fmla="*/ 8074 w 10785"/>
                  <a:gd name="connsiteY863" fmla="*/ 2906 h 10000"/>
                  <a:gd name="connsiteX864" fmla="*/ 8074 w 10785"/>
                  <a:gd name="connsiteY864" fmla="*/ 2897 h 10000"/>
                  <a:gd name="connsiteX865" fmla="*/ 8055 w 10785"/>
                  <a:gd name="connsiteY865" fmla="*/ 2872 h 10000"/>
                  <a:gd name="connsiteX866" fmla="*/ 8046 w 10785"/>
                  <a:gd name="connsiteY866" fmla="*/ 2829 h 10000"/>
                  <a:gd name="connsiteX867" fmla="*/ 8041 w 10785"/>
                  <a:gd name="connsiteY867" fmla="*/ 2829 h 10000"/>
                  <a:gd name="connsiteX868" fmla="*/ 8023 w 10785"/>
                  <a:gd name="connsiteY868" fmla="*/ 2803 h 10000"/>
                  <a:gd name="connsiteX869" fmla="*/ 8014 w 10785"/>
                  <a:gd name="connsiteY869" fmla="*/ 2829 h 10000"/>
                  <a:gd name="connsiteX870" fmla="*/ 8000 w 10785"/>
                  <a:gd name="connsiteY870" fmla="*/ 2829 h 10000"/>
                  <a:gd name="connsiteX871" fmla="*/ 7995 w 10785"/>
                  <a:gd name="connsiteY871" fmla="*/ 2821 h 10000"/>
                  <a:gd name="connsiteX872" fmla="*/ 7972 w 10785"/>
                  <a:gd name="connsiteY872" fmla="*/ 2803 h 10000"/>
                  <a:gd name="connsiteX873" fmla="*/ 7968 w 10785"/>
                  <a:gd name="connsiteY873" fmla="*/ 2821 h 10000"/>
                  <a:gd name="connsiteX874" fmla="*/ 7968 w 10785"/>
                  <a:gd name="connsiteY874" fmla="*/ 2803 h 10000"/>
                  <a:gd name="connsiteX875" fmla="*/ 7995 w 10785"/>
                  <a:gd name="connsiteY875" fmla="*/ 2735 h 10000"/>
                  <a:gd name="connsiteX876" fmla="*/ 8000 w 10785"/>
                  <a:gd name="connsiteY876" fmla="*/ 2735 h 10000"/>
                  <a:gd name="connsiteX877" fmla="*/ 8014 w 10785"/>
                  <a:gd name="connsiteY877" fmla="*/ 2744 h 10000"/>
                  <a:gd name="connsiteX878" fmla="*/ 8023 w 10785"/>
                  <a:gd name="connsiteY878" fmla="*/ 2769 h 10000"/>
                  <a:gd name="connsiteX879" fmla="*/ 8032 w 10785"/>
                  <a:gd name="connsiteY879" fmla="*/ 2744 h 10000"/>
                  <a:gd name="connsiteX880" fmla="*/ 8032 w 10785"/>
                  <a:gd name="connsiteY880" fmla="*/ 2709 h 10000"/>
                  <a:gd name="connsiteX881" fmla="*/ 8023 w 10785"/>
                  <a:gd name="connsiteY881" fmla="*/ 2632 h 10000"/>
                  <a:gd name="connsiteX882" fmla="*/ 7986 w 10785"/>
                  <a:gd name="connsiteY882" fmla="*/ 2581 h 10000"/>
                  <a:gd name="connsiteX883" fmla="*/ 7968 w 10785"/>
                  <a:gd name="connsiteY883" fmla="*/ 2581 h 10000"/>
                  <a:gd name="connsiteX884" fmla="*/ 7963 w 10785"/>
                  <a:gd name="connsiteY884" fmla="*/ 2556 h 10000"/>
                  <a:gd name="connsiteX885" fmla="*/ 7935 w 10785"/>
                  <a:gd name="connsiteY885" fmla="*/ 2547 h 10000"/>
                  <a:gd name="connsiteX886" fmla="*/ 7912 w 10785"/>
                  <a:gd name="connsiteY886" fmla="*/ 2547 h 10000"/>
                  <a:gd name="connsiteX887" fmla="*/ 7912 w 10785"/>
                  <a:gd name="connsiteY887" fmla="*/ 2556 h 10000"/>
                  <a:gd name="connsiteX888" fmla="*/ 7908 w 10785"/>
                  <a:gd name="connsiteY888" fmla="*/ 2547 h 10000"/>
                  <a:gd name="connsiteX889" fmla="*/ 7862 w 10785"/>
                  <a:gd name="connsiteY889" fmla="*/ 2547 h 10000"/>
                  <a:gd name="connsiteX890" fmla="*/ 7848 w 10785"/>
                  <a:gd name="connsiteY890" fmla="*/ 2556 h 10000"/>
                  <a:gd name="connsiteX891" fmla="*/ 7820 w 10785"/>
                  <a:gd name="connsiteY891" fmla="*/ 2547 h 10000"/>
                  <a:gd name="connsiteX892" fmla="*/ 7806 w 10785"/>
                  <a:gd name="connsiteY892" fmla="*/ 2513 h 10000"/>
                  <a:gd name="connsiteX893" fmla="*/ 7788 w 10785"/>
                  <a:gd name="connsiteY893" fmla="*/ 2513 h 10000"/>
                  <a:gd name="connsiteX894" fmla="*/ 7760 w 10785"/>
                  <a:gd name="connsiteY894" fmla="*/ 2470 h 10000"/>
                  <a:gd name="connsiteX895" fmla="*/ 7751 w 10785"/>
                  <a:gd name="connsiteY895" fmla="*/ 2470 h 10000"/>
                  <a:gd name="connsiteX896" fmla="*/ 7705 w 10785"/>
                  <a:gd name="connsiteY896" fmla="*/ 2462 h 10000"/>
                  <a:gd name="connsiteX897" fmla="*/ 7673 w 10785"/>
                  <a:gd name="connsiteY897" fmla="*/ 2419 h 10000"/>
                  <a:gd name="connsiteX898" fmla="*/ 7627 w 10785"/>
                  <a:gd name="connsiteY898" fmla="*/ 2419 h 10000"/>
                  <a:gd name="connsiteX899" fmla="*/ 7613 w 10785"/>
                  <a:gd name="connsiteY899" fmla="*/ 2410 h 10000"/>
                  <a:gd name="connsiteX900" fmla="*/ 7493 w 10785"/>
                  <a:gd name="connsiteY900" fmla="*/ 2393 h 10000"/>
                  <a:gd name="connsiteX901" fmla="*/ 7479 w 10785"/>
                  <a:gd name="connsiteY901" fmla="*/ 2385 h 10000"/>
                  <a:gd name="connsiteX902" fmla="*/ 7479 w 10785"/>
                  <a:gd name="connsiteY902" fmla="*/ 2376 h 10000"/>
                  <a:gd name="connsiteX903" fmla="*/ 7465 w 10785"/>
                  <a:gd name="connsiteY903" fmla="*/ 2359 h 10000"/>
                  <a:gd name="connsiteX904" fmla="*/ 7447 w 10785"/>
                  <a:gd name="connsiteY904" fmla="*/ 2350 h 10000"/>
                  <a:gd name="connsiteX905" fmla="*/ 7433 w 10785"/>
                  <a:gd name="connsiteY905" fmla="*/ 2376 h 10000"/>
                  <a:gd name="connsiteX906" fmla="*/ 7433 w 10785"/>
                  <a:gd name="connsiteY906" fmla="*/ 2385 h 10000"/>
                  <a:gd name="connsiteX907" fmla="*/ 7447 w 10785"/>
                  <a:gd name="connsiteY907" fmla="*/ 2410 h 10000"/>
                  <a:gd name="connsiteX908" fmla="*/ 7447 w 10785"/>
                  <a:gd name="connsiteY908" fmla="*/ 2436 h 10000"/>
                  <a:gd name="connsiteX909" fmla="*/ 7452 w 10785"/>
                  <a:gd name="connsiteY909" fmla="*/ 2462 h 10000"/>
                  <a:gd name="connsiteX910" fmla="*/ 7447 w 10785"/>
                  <a:gd name="connsiteY910" fmla="*/ 2470 h 10000"/>
                  <a:gd name="connsiteX911" fmla="*/ 7424 w 10785"/>
                  <a:gd name="connsiteY911" fmla="*/ 2513 h 10000"/>
                  <a:gd name="connsiteX912" fmla="*/ 7419 w 10785"/>
                  <a:gd name="connsiteY912" fmla="*/ 2556 h 10000"/>
                  <a:gd name="connsiteX913" fmla="*/ 7406 w 10785"/>
                  <a:gd name="connsiteY913" fmla="*/ 2624 h 10000"/>
                  <a:gd name="connsiteX914" fmla="*/ 7392 w 10785"/>
                  <a:gd name="connsiteY914" fmla="*/ 2624 h 10000"/>
                  <a:gd name="connsiteX915" fmla="*/ 7373 w 10785"/>
                  <a:gd name="connsiteY915" fmla="*/ 2650 h 10000"/>
                  <a:gd name="connsiteX916" fmla="*/ 7364 w 10785"/>
                  <a:gd name="connsiteY916" fmla="*/ 2684 h 10000"/>
                  <a:gd name="connsiteX917" fmla="*/ 7364 w 10785"/>
                  <a:gd name="connsiteY917" fmla="*/ 2692 h 10000"/>
                  <a:gd name="connsiteX918" fmla="*/ 7373 w 10785"/>
                  <a:gd name="connsiteY918" fmla="*/ 2718 h 10000"/>
                  <a:gd name="connsiteX919" fmla="*/ 7373 w 10785"/>
                  <a:gd name="connsiteY919" fmla="*/ 2744 h 10000"/>
                  <a:gd name="connsiteX920" fmla="*/ 7359 w 10785"/>
                  <a:gd name="connsiteY920" fmla="*/ 2744 h 10000"/>
                  <a:gd name="connsiteX921" fmla="*/ 7359 w 10785"/>
                  <a:gd name="connsiteY921" fmla="*/ 2795 h 10000"/>
                  <a:gd name="connsiteX922" fmla="*/ 7364 w 10785"/>
                  <a:gd name="connsiteY922" fmla="*/ 2821 h 10000"/>
                  <a:gd name="connsiteX923" fmla="*/ 7378 w 10785"/>
                  <a:gd name="connsiteY923" fmla="*/ 2846 h 10000"/>
                  <a:gd name="connsiteX924" fmla="*/ 7378 w 10785"/>
                  <a:gd name="connsiteY924" fmla="*/ 2855 h 10000"/>
                  <a:gd name="connsiteX925" fmla="*/ 7378 w 10785"/>
                  <a:gd name="connsiteY925" fmla="*/ 2880 h 10000"/>
                  <a:gd name="connsiteX926" fmla="*/ 7378 w 10785"/>
                  <a:gd name="connsiteY926" fmla="*/ 2906 h 10000"/>
                  <a:gd name="connsiteX927" fmla="*/ 7364 w 10785"/>
                  <a:gd name="connsiteY927" fmla="*/ 2906 h 10000"/>
                  <a:gd name="connsiteX928" fmla="*/ 7346 w 10785"/>
                  <a:gd name="connsiteY928" fmla="*/ 2880 h 10000"/>
                  <a:gd name="connsiteX929" fmla="*/ 7332 w 10785"/>
                  <a:gd name="connsiteY929" fmla="*/ 2915 h 10000"/>
                  <a:gd name="connsiteX930" fmla="*/ 7318 w 10785"/>
                  <a:gd name="connsiteY930" fmla="*/ 2906 h 10000"/>
                  <a:gd name="connsiteX931" fmla="*/ 7313 w 10785"/>
                  <a:gd name="connsiteY931" fmla="*/ 2915 h 10000"/>
                  <a:gd name="connsiteX932" fmla="*/ 7313 w 10785"/>
                  <a:gd name="connsiteY932" fmla="*/ 2906 h 10000"/>
                  <a:gd name="connsiteX933" fmla="*/ 7286 w 10785"/>
                  <a:gd name="connsiteY933" fmla="*/ 2940 h 10000"/>
                  <a:gd name="connsiteX934" fmla="*/ 7276 w 10785"/>
                  <a:gd name="connsiteY934" fmla="*/ 2966 h 10000"/>
                  <a:gd name="connsiteX935" fmla="*/ 7272 w 10785"/>
                  <a:gd name="connsiteY935" fmla="*/ 2983 h 10000"/>
                  <a:gd name="connsiteX936" fmla="*/ 7267 w 10785"/>
                  <a:gd name="connsiteY936" fmla="*/ 3009 h 10000"/>
                  <a:gd name="connsiteX937" fmla="*/ 7253 w 10785"/>
                  <a:gd name="connsiteY937" fmla="*/ 3009 h 10000"/>
                  <a:gd name="connsiteX938" fmla="*/ 7244 w 10785"/>
                  <a:gd name="connsiteY938" fmla="*/ 3017 h 10000"/>
                  <a:gd name="connsiteX939" fmla="*/ 7240 w 10785"/>
                  <a:gd name="connsiteY939" fmla="*/ 3009 h 10000"/>
                  <a:gd name="connsiteX940" fmla="*/ 7230 w 10785"/>
                  <a:gd name="connsiteY940" fmla="*/ 2991 h 10000"/>
                  <a:gd name="connsiteX941" fmla="*/ 7226 w 10785"/>
                  <a:gd name="connsiteY941" fmla="*/ 2983 h 10000"/>
                  <a:gd name="connsiteX942" fmla="*/ 7226 w 10785"/>
                  <a:gd name="connsiteY942" fmla="*/ 2966 h 10000"/>
                  <a:gd name="connsiteX943" fmla="*/ 7212 w 10785"/>
                  <a:gd name="connsiteY943" fmla="*/ 2957 h 10000"/>
                  <a:gd name="connsiteX944" fmla="*/ 7212 w 10785"/>
                  <a:gd name="connsiteY944" fmla="*/ 2932 h 10000"/>
                  <a:gd name="connsiteX945" fmla="*/ 7198 w 10785"/>
                  <a:gd name="connsiteY945" fmla="*/ 2915 h 10000"/>
                  <a:gd name="connsiteX946" fmla="*/ 7194 w 10785"/>
                  <a:gd name="connsiteY946" fmla="*/ 2915 h 10000"/>
                  <a:gd name="connsiteX947" fmla="*/ 7157 w 10785"/>
                  <a:gd name="connsiteY947" fmla="*/ 2880 h 10000"/>
                  <a:gd name="connsiteX948" fmla="*/ 7138 w 10785"/>
                  <a:gd name="connsiteY948" fmla="*/ 2880 h 10000"/>
                  <a:gd name="connsiteX949" fmla="*/ 7120 w 10785"/>
                  <a:gd name="connsiteY949" fmla="*/ 2872 h 10000"/>
                  <a:gd name="connsiteX950" fmla="*/ 7111 w 10785"/>
                  <a:gd name="connsiteY950" fmla="*/ 2846 h 10000"/>
                  <a:gd name="connsiteX951" fmla="*/ 7106 w 10785"/>
                  <a:gd name="connsiteY951" fmla="*/ 2846 h 10000"/>
                  <a:gd name="connsiteX952" fmla="*/ 7092 w 10785"/>
                  <a:gd name="connsiteY952" fmla="*/ 2829 h 10000"/>
                  <a:gd name="connsiteX953" fmla="*/ 7051 w 10785"/>
                  <a:gd name="connsiteY953" fmla="*/ 2829 h 10000"/>
                  <a:gd name="connsiteX954" fmla="*/ 7037 w 10785"/>
                  <a:gd name="connsiteY954" fmla="*/ 2880 h 10000"/>
                  <a:gd name="connsiteX955" fmla="*/ 7037 w 10785"/>
                  <a:gd name="connsiteY955" fmla="*/ 2906 h 10000"/>
                  <a:gd name="connsiteX956" fmla="*/ 7037 w 10785"/>
                  <a:gd name="connsiteY956" fmla="*/ 2932 h 10000"/>
                  <a:gd name="connsiteX957" fmla="*/ 7037 w 10785"/>
                  <a:gd name="connsiteY957" fmla="*/ 2940 h 10000"/>
                  <a:gd name="connsiteX958" fmla="*/ 7023 w 10785"/>
                  <a:gd name="connsiteY958" fmla="*/ 2906 h 10000"/>
                  <a:gd name="connsiteX959" fmla="*/ 7023 w 10785"/>
                  <a:gd name="connsiteY959" fmla="*/ 2915 h 10000"/>
                  <a:gd name="connsiteX960" fmla="*/ 6991 w 10785"/>
                  <a:gd name="connsiteY960" fmla="*/ 2906 h 10000"/>
                  <a:gd name="connsiteX961" fmla="*/ 6977 w 10785"/>
                  <a:gd name="connsiteY961" fmla="*/ 2915 h 10000"/>
                  <a:gd name="connsiteX962" fmla="*/ 6963 w 10785"/>
                  <a:gd name="connsiteY962" fmla="*/ 2915 h 10000"/>
                  <a:gd name="connsiteX963" fmla="*/ 6949 w 10785"/>
                  <a:gd name="connsiteY963" fmla="*/ 2872 h 10000"/>
                  <a:gd name="connsiteX964" fmla="*/ 6935 w 10785"/>
                  <a:gd name="connsiteY964" fmla="*/ 2855 h 10000"/>
                  <a:gd name="connsiteX965" fmla="*/ 6922 w 10785"/>
                  <a:gd name="connsiteY965" fmla="*/ 2803 h 10000"/>
                  <a:gd name="connsiteX966" fmla="*/ 6917 w 10785"/>
                  <a:gd name="connsiteY966" fmla="*/ 2786 h 10000"/>
                  <a:gd name="connsiteX967" fmla="*/ 6903 w 10785"/>
                  <a:gd name="connsiteY967" fmla="*/ 2709 h 10000"/>
                  <a:gd name="connsiteX968" fmla="*/ 6903 w 10785"/>
                  <a:gd name="connsiteY968" fmla="*/ 2692 h 10000"/>
                  <a:gd name="connsiteX969" fmla="*/ 6899 w 10785"/>
                  <a:gd name="connsiteY969" fmla="*/ 2709 h 10000"/>
                  <a:gd name="connsiteX970" fmla="*/ 6857 w 10785"/>
                  <a:gd name="connsiteY970" fmla="*/ 2872 h 10000"/>
                  <a:gd name="connsiteX971" fmla="*/ 6857 w 10785"/>
                  <a:gd name="connsiteY971" fmla="*/ 3009 h 10000"/>
                  <a:gd name="connsiteX972" fmla="*/ 6848 w 10785"/>
                  <a:gd name="connsiteY972" fmla="*/ 3017 h 10000"/>
                  <a:gd name="connsiteX973" fmla="*/ 6839 w 10785"/>
                  <a:gd name="connsiteY973" fmla="*/ 3068 h 10000"/>
                  <a:gd name="connsiteX974" fmla="*/ 6829 w 10785"/>
                  <a:gd name="connsiteY974" fmla="*/ 3077 h 10000"/>
                  <a:gd name="connsiteX975" fmla="*/ 6829 w 10785"/>
                  <a:gd name="connsiteY975" fmla="*/ 3128 h 10000"/>
                  <a:gd name="connsiteX976" fmla="*/ 6816 w 10785"/>
                  <a:gd name="connsiteY976" fmla="*/ 3154 h 10000"/>
                  <a:gd name="connsiteX977" fmla="*/ 6811 w 10785"/>
                  <a:gd name="connsiteY977" fmla="*/ 3179 h 10000"/>
                  <a:gd name="connsiteX978" fmla="*/ 6797 w 10785"/>
                  <a:gd name="connsiteY978" fmla="*/ 3171 h 10000"/>
                  <a:gd name="connsiteX979" fmla="*/ 6783 w 10785"/>
                  <a:gd name="connsiteY979" fmla="*/ 3103 h 10000"/>
                  <a:gd name="connsiteX980" fmla="*/ 6779 w 10785"/>
                  <a:gd name="connsiteY980" fmla="*/ 3094 h 10000"/>
                  <a:gd name="connsiteX981" fmla="*/ 6779 w 10785"/>
                  <a:gd name="connsiteY981" fmla="*/ 3120 h 10000"/>
                  <a:gd name="connsiteX982" fmla="*/ 6770 w 10785"/>
                  <a:gd name="connsiteY982" fmla="*/ 3128 h 10000"/>
                  <a:gd name="connsiteX983" fmla="*/ 6765 w 10785"/>
                  <a:gd name="connsiteY983" fmla="*/ 3103 h 10000"/>
                  <a:gd name="connsiteX984" fmla="*/ 6756 w 10785"/>
                  <a:gd name="connsiteY984" fmla="*/ 3103 h 10000"/>
                  <a:gd name="connsiteX985" fmla="*/ 6742 w 10785"/>
                  <a:gd name="connsiteY985" fmla="*/ 3103 h 10000"/>
                  <a:gd name="connsiteX986" fmla="*/ 6737 w 10785"/>
                  <a:gd name="connsiteY986" fmla="*/ 3077 h 10000"/>
                  <a:gd name="connsiteX987" fmla="*/ 6737 w 10785"/>
                  <a:gd name="connsiteY987" fmla="*/ 3068 h 10000"/>
                  <a:gd name="connsiteX988" fmla="*/ 6728 w 10785"/>
                  <a:gd name="connsiteY988" fmla="*/ 3043 h 10000"/>
                  <a:gd name="connsiteX989" fmla="*/ 6724 w 10785"/>
                  <a:gd name="connsiteY989" fmla="*/ 3051 h 10000"/>
                  <a:gd name="connsiteX990" fmla="*/ 6714 w 10785"/>
                  <a:gd name="connsiteY990" fmla="*/ 3043 h 10000"/>
                  <a:gd name="connsiteX991" fmla="*/ 6710 w 10785"/>
                  <a:gd name="connsiteY991" fmla="*/ 3034 h 10000"/>
                  <a:gd name="connsiteX992" fmla="*/ 6705 w 10785"/>
                  <a:gd name="connsiteY992" fmla="*/ 2983 h 10000"/>
                  <a:gd name="connsiteX993" fmla="*/ 6696 w 10785"/>
                  <a:gd name="connsiteY993" fmla="*/ 2966 h 10000"/>
                  <a:gd name="connsiteX994" fmla="*/ 6691 w 10785"/>
                  <a:gd name="connsiteY994" fmla="*/ 2983 h 10000"/>
                  <a:gd name="connsiteX995" fmla="*/ 6677 w 10785"/>
                  <a:gd name="connsiteY995" fmla="*/ 2897 h 10000"/>
                  <a:gd name="connsiteX996" fmla="*/ 6677 w 10785"/>
                  <a:gd name="connsiteY996" fmla="*/ 2897 h 10000"/>
                  <a:gd name="connsiteX997" fmla="*/ 6677 w 10785"/>
                  <a:gd name="connsiteY997" fmla="*/ 2872 h 10000"/>
                  <a:gd name="connsiteX998" fmla="*/ 6668 w 10785"/>
                  <a:gd name="connsiteY998" fmla="*/ 2821 h 10000"/>
                  <a:gd name="connsiteX999" fmla="*/ 6664 w 10785"/>
                  <a:gd name="connsiteY999" fmla="*/ 2829 h 10000"/>
                  <a:gd name="connsiteX1000" fmla="*/ 6654 w 10785"/>
                  <a:gd name="connsiteY1000" fmla="*/ 2846 h 10000"/>
                  <a:gd name="connsiteX1001" fmla="*/ 6650 w 10785"/>
                  <a:gd name="connsiteY1001" fmla="*/ 2829 h 10000"/>
                  <a:gd name="connsiteX1002" fmla="*/ 6650 w 10785"/>
                  <a:gd name="connsiteY1002" fmla="*/ 2803 h 10000"/>
                  <a:gd name="connsiteX1003" fmla="*/ 6650 w 10785"/>
                  <a:gd name="connsiteY1003" fmla="*/ 2795 h 10000"/>
                  <a:gd name="connsiteX1004" fmla="*/ 6641 w 10785"/>
                  <a:gd name="connsiteY1004" fmla="*/ 2786 h 10000"/>
                  <a:gd name="connsiteX1005" fmla="*/ 6636 w 10785"/>
                  <a:gd name="connsiteY1005" fmla="*/ 2735 h 10000"/>
                  <a:gd name="connsiteX1006" fmla="*/ 6664 w 10785"/>
                  <a:gd name="connsiteY1006" fmla="*/ 2667 h 10000"/>
                  <a:gd name="connsiteX1007" fmla="*/ 6668 w 10785"/>
                  <a:gd name="connsiteY1007" fmla="*/ 2684 h 10000"/>
                  <a:gd name="connsiteX1008" fmla="*/ 6677 w 10785"/>
                  <a:gd name="connsiteY1008" fmla="*/ 2667 h 10000"/>
                  <a:gd name="connsiteX1009" fmla="*/ 6668 w 10785"/>
                  <a:gd name="connsiteY1009" fmla="*/ 2667 h 10000"/>
                  <a:gd name="connsiteX1010" fmla="*/ 6668 w 10785"/>
                  <a:gd name="connsiteY1010" fmla="*/ 2650 h 10000"/>
                  <a:gd name="connsiteX1011" fmla="*/ 6682 w 10785"/>
                  <a:gd name="connsiteY1011" fmla="*/ 2650 h 10000"/>
                  <a:gd name="connsiteX1012" fmla="*/ 6691 w 10785"/>
                  <a:gd name="connsiteY1012" fmla="*/ 2624 h 10000"/>
                  <a:gd name="connsiteX1013" fmla="*/ 6682 w 10785"/>
                  <a:gd name="connsiteY1013" fmla="*/ 2632 h 10000"/>
                  <a:gd name="connsiteX1014" fmla="*/ 6682 w 10785"/>
                  <a:gd name="connsiteY1014" fmla="*/ 2624 h 10000"/>
                  <a:gd name="connsiteX1015" fmla="*/ 6691 w 10785"/>
                  <a:gd name="connsiteY1015" fmla="*/ 2607 h 10000"/>
                  <a:gd name="connsiteX1016" fmla="*/ 6691 w 10785"/>
                  <a:gd name="connsiteY1016" fmla="*/ 2598 h 10000"/>
                  <a:gd name="connsiteX1017" fmla="*/ 6691 w 10785"/>
                  <a:gd name="connsiteY1017" fmla="*/ 2581 h 10000"/>
                  <a:gd name="connsiteX1018" fmla="*/ 6696 w 10785"/>
                  <a:gd name="connsiteY1018" fmla="*/ 2530 h 10000"/>
                  <a:gd name="connsiteX1019" fmla="*/ 6677 w 10785"/>
                  <a:gd name="connsiteY1019" fmla="*/ 2513 h 10000"/>
                  <a:gd name="connsiteX1020" fmla="*/ 6677 w 10785"/>
                  <a:gd name="connsiteY1020" fmla="*/ 2496 h 10000"/>
                  <a:gd name="connsiteX1021" fmla="*/ 6682 w 10785"/>
                  <a:gd name="connsiteY1021" fmla="*/ 2470 h 10000"/>
                  <a:gd name="connsiteX1022" fmla="*/ 6668 w 10785"/>
                  <a:gd name="connsiteY1022" fmla="*/ 2462 h 10000"/>
                  <a:gd name="connsiteX1023" fmla="*/ 6677 w 10785"/>
                  <a:gd name="connsiteY1023" fmla="*/ 2436 h 10000"/>
                  <a:gd name="connsiteX1024" fmla="*/ 6682 w 10785"/>
                  <a:gd name="connsiteY1024" fmla="*/ 2419 h 10000"/>
                  <a:gd name="connsiteX1025" fmla="*/ 6682 w 10785"/>
                  <a:gd name="connsiteY1025" fmla="*/ 2393 h 10000"/>
                  <a:gd name="connsiteX1026" fmla="*/ 6682 w 10785"/>
                  <a:gd name="connsiteY1026" fmla="*/ 2385 h 10000"/>
                  <a:gd name="connsiteX1027" fmla="*/ 6682 w 10785"/>
                  <a:gd name="connsiteY1027" fmla="*/ 2385 h 10000"/>
                  <a:gd name="connsiteX1028" fmla="*/ 6677 w 10785"/>
                  <a:gd name="connsiteY1028" fmla="*/ 2376 h 10000"/>
                  <a:gd name="connsiteX1029" fmla="*/ 6682 w 10785"/>
                  <a:gd name="connsiteY1029" fmla="*/ 2359 h 10000"/>
                  <a:gd name="connsiteX1030" fmla="*/ 6677 w 10785"/>
                  <a:gd name="connsiteY1030" fmla="*/ 2333 h 10000"/>
                  <a:gd name="connsiteX1031" fmla="*/ 6691 w 10785"/>
                  <a:gd name="connsiteY1031" fmla="*/ 2333 h 10000"/>
                  <a:gd name="connsiteX1032" fmla="*/ 6691 w 10785"/>
                  <a:gd name="connsiteY1032" fmla="*/ 2325 h 10000"/>
                  <a:gd name="connsiteX1033" fmla="*/ 6691 w 10785"/>
                  <a:gd name="connsiteY1033" fmla="*/ 2308 h 10000"/>
                  <a:gd name="connsiteX1034" fmla="*/ 6691 w 10785"/>
                  <a:gd name="connsiteY1034" fmla="*/ 2299 h 10000"/>
                  <a:gd name="connsiteX1035" fmla="*/ 6691 w 10785"/>
                  <a:gd name="connsiteY1035" fmla="*/ 2282 h 10000"/>
                  <a:gd name="connsiteX1036" fmla="*/ 6691 w 10785"/>
                  <a:gd name="connsiteY1036" fmla="*/ 2274 h 10000"/>
                  <a:gd name="connsiteX1037" fmla="*/ 6668 w 10785"/>
                  <a:gd name="connsiteY1037" fmla="*/ 2248 h 10000"/>
                  <a:gd name="connsiteX1038" fmla="*/ 6664 w 10785"/>
                  <a:gd name="connsiteY1038" fmla="*/ 2222 h 10000"/>
                  <a:gd name="connsiteX1039" fmla="*/ 6654 w 10785"/>
                  <a:gd name="connsiteY1039" fmla="*/ 2214 h 10000"/>
                  <a:gd name="connsiteX1040" fmla="*/ 6654 w 10785"/>
                  <a:gd name="connsiteY1040" fmla="*/ 2188 h 10000"/>
                  <a:gd name="connsiteX1041" fmla="*/ 6622 w 10785"/>
                  <a:gd name="connsiteY1041" fmla="*/ 2162 h 10000"/>
                  <a:gd name="connsiteX1042" fmla="*/ 6631 w 10785"/>
                  <a:gd name="connsiteY1042" fmla="*/ 2145 h 10000"/>
                  <a:gd name="connsiteX1043" fmla="*/ 6622 w 10785"/>
                  <a:gd name="connsiteY1043" fmla="*/ 2120 h 10000"/>
                  <a:gd name="connsiteX1044" fmla="*/ 6608 w 10785"/>
                  <a:gd name="connsiteY1044" fmla="*/ 2120 h 10000"/>
                  <a:gd name="connsiteX1045" fmla="*/ 6604 w 10785"/>
                  <a:gd name="connsiteY1045" fmla="*/ 2111 h 10000"/>
                  <a:gd name="connsiteX1046" fmla="*/ 6608 w 10785"/>
                  <a:gd name="connsiteY1046" fmla="*/ 2111 h 10000"/>
                  <a:gd name="connsiteX1047" fmla="*/ 6604 w 10785"/>
                  <a:gd name="connsiteY1047" fmla="*/ 2085 h 10000"/>
                  <a:gd name="connsiteX1048" fmla="*/ 6581 w 10785"/>
                  <a:gd name="connsiteY1048" fmla="*/ 2077 h 10000"/>
                  <a:gd name="connsiteX1049" fmla="*/ 6571 w 10785"/>
                  <a:gd name="connsiteY1049" fmla="*/ 2085 h 10000"/>
                  <a:gd name="connsiteX1050" fmla="*/ 6548 w 10785"/>
                  <a:gd name="connsiteY1050" fmla="*/ 2077 h 10000"/>
                  <a:gd name="connsiteX1051" fmla="*/ 6530 w 10785"/>
                  <a:gd name="connsiteY1051" fmla="*/ 2060 h 10000"/>
                  <a:gd name="connsiteX1052" fmla="*/ 6521 w 10785"/>
                  <a:gd name="connsiteY1052" fmla="*/ 2060 h 10000"/>
                  <a:gd name="connsiteX1053" fmla="*/ 6521 w 10785"/>
                  <a:gd name="connsiteY1053" fmla="*/ 2085 h 10000"/>
                  <a:gd name="connsiteX1054" fmla="*/ 6516 w 10785"/>
                  <a:gd name="connsiteY1054" fmla="*/ 2085 h 10000"/>
                  <a:gd name="connsiteX1055" fmla="*/ 6502 w 10785"/>
                  <a:gd name="connsiteY1055" fmla="*/ 2111 h 10000"/>
                  <a:gd name="connsiteX1056" fmla="*/ 6498 w 10785"/>
                  <a:gd name="connsiteY1056" fmla="*/ 2111 h 10000"/>
                  <a:gd name="connsiteX1057" fmla="*/ 6498 w 10785"/>
                  <a:gd name="connsiteY1057" fmla="*/ 2103 h 10000"/>
                  <a:gd name="connsiteX1058" fmla="*/ 6475 w 10785"/>
                  <a:gd name="connsiteY1058" fmla="*/ 2051 h 10000"/>
                  <a:gd name="connsiteX1059" fmla="*/ 6470 w 10785"/>
                  <a:gd name="connsiteY1059" fmla="*/ 2060 h 10000"/>
                  <a:gd name="connsiteX1060" fmla="*/ 6456 w 10785"/>
                  <a:gd name="connsiteY1060" fmla="*/ 2051 h 10000"/>
                  <a:gd name="connsiteX1061" fmla="*/ 6447 w 10785"/>
                  <a:gd name="connsiteY1061" fmla="*/ 2051 h 10000"/>
                  <a:gd name="connsiteX1062" fmla="*/ 6433 w 10785"/>
                  <a:gd name="connsiteY1062" fmla="*/ 2026 h 10000"/>
                  <a:gd name="connsiteX1063" fmla="*/ 6433 w 10785"/>
                  <a:gd name="connsiteY1063" fmla="*/ 2034 h 10000"/>
                  <a:gd name="connsiteX1064" fmla="*/ 6429 w 10785"/>
                  <a:gd name="connsiteY1064" fmla="*/ 2026 h 10000"/>
                  <a:gd name="connsiteX1065" fmla="*/ 6424 w 10785"/>
                  <a:gd name="connsiteY1065" fmla="*/ 2034 h 10000"/>
                  <a:gd name="connsiteX1066" fmla="*/ 6410 w 10785"/>
                  <a:gd name="connsiteY1066" fmla="*/ 2026 h 10000"/>
                  <a:gd name="connsiteX1067" fmla="*/ 6410 w 10785"/>
                  <a:gd name="connsiteY1067" fmla="*/ 1991 h 10000"/>
                  <a:gd name="connsiteX1068" fmla="*/ 6401 w 10785"/>
                  <a:gd name="connsiteY1068" fmla="*/ 1991 h 10000"/>
                  <a:gd name="connsiteX1069" fmla="*/ 6396 w 10785"/>
                  <a:gd name="connsiteY1069" fmla="*/ 2000 h 10000"/>
                  <a:gd name="connsiteX1070" fmla="*/ 6382 w 10785"/>
                  <a:gd name="connsiteY1070" fmla="*/ 1966 h 10000"/>
                  <a:gd name="connsiteX1071" fmla="*/ 6373 w 10785"/>
                  <a:gd name="connsiteY1071" fmla="*/ 1974 h 10000"/>
                  <a:gd name="connsiteX1072" fmla="*/ 6369 w 10785"/>
                  <a:gd name="connsiteY1072" fmla="*/ 1966 h 10000"/>
                  <a:gd name="connsiteX1073" fmla="*/ 6341 w 10785"/>
                  <a:gd name="connsiteY1073" fmla="*/ 1949 h 10000"/>
                  <a:gd name="connsiteX1074" fmla="*/ 6327 w 10785"/>
                  <a:gd name="connsiteY1074" fmla="*/ 1923 h 10000"/>
                  <a:gd name="connsiteX1075" fmla="*/ 6323 w 10785"/>
                  <a:gd name="connsiteY1075" fmla="*/ 1923 h 10000"/>
                  <a:gd name="connsiteX1076" fmla="*/ 6323 w 10785"/>
                  <a:gd name="connsiteY1076" fmla="*/ 1966 h 10000"/>
                  <a:gd name="connsiteX1077" fmla="*/ 6323 w 10785"/>
                  <a:gd name="connsiteY1077" fmla="*/ 1991 h 10000"/>
                  <a:gd name="connsiteX1078" fmla="*/ 6313 w 10785"/>
                  <a:gd name="connsiteY1078" fmla="*/ 1991 h 10000"/>
                  <a:gd name="connsiteX1079" fmla="*/ 6300 w 10785"/>
                  <a:gd name="connsiteY1079" fmla="*/ 1991 h 10000"/>
                  <a:gd name="connsiteX1080" fmla="*/ 6290 w 10785"/>
                  <a:gd name="connsiteY1080" fmla="*/ 1949 h 10000"/>
                  <a:gd name="connsiteX1081" fmla="*/ 6276 w 10785"/>
                  <a:gd name="connsiteY1081" fmla="*/ 2103 h 10000"/>
                  <a:gd name="connsiteX1082" fmla="*/ 6281 w 10785"/>
                  <a:gd name="connsiteY1082" fmla="*/ 2103 h 10000"/>
                  <a:gd name="connsiteX1083" fmla="*/ 6276 w 10785"/>
                  <a:gd name="connsiteY1083" fmla="*/ 2111 h 10000"/>
                  <a:gd name="connsiteX1084" fmla="*/ 6276 w 10785"/>
                  <a:gd name="connsiteY1084" fmla="*/ 2120 h 10000"/>
                  <a:gd name="connsiteX1085" fmla="*/ 6295 w 10785"/>
                  <a:gd name="connsiteY1085" fmla="*/ 2239 h 10000"/>
                  <a:gd name="connsiteX1086" fmla="*/ 6290 w 10785"/>
                  <a:gd name="connsiteY1086" fmla="*/ 2248 h 10000"/>
                  <a:gd name="connsiteX1087" fmla="*/ 6281 w 10785"/>
                  <a:gd name="connsiteY1087" fmla="*/ 2274 h 10000"/>
                  <a:gd name="connsiteX1088" fmla="*/ 6249 w 10785"/>
                  <a:gd name="connsiteY1088" fmla="*/ 2274 h 10000"/>
                  <a:gd name="connsiteX1089" fmla="*/ 6226 w 10785"/>
                  <a:gd name="connsiteY1089" fmla="*/ 2308 h 10000"/>
                  <a:gd name="connsiteX1090" fmla="*/ 6221 w 10785"/>
                  <a:gd name="connsiteY1090" fmla="*/ 2299 h 10000"/>
                  <a:gd name="connsiteX1091" fmla="*/ 6221 w 10785"/>
                  <a:gd name="connsiteY1091" fmla="*/ 2308 h 10000"/>
                  <a:gd name="connsiteX1092" fmla="*/ 6217 w 10785"/>
                  <a:gd name="connsiteY1092" fmla="*/ 2299 h 10000"/>
                  <a:gd name="connsiteX1093" fmla="*/ 6194 w 10785"/>
                  <a:gd name="connsiteY1093" fmla="*/ 2308 h 10000"/>
                  <a:gd name="connsiteX1094" fmla="*/ 6180 w 10785"/>
                  <a:gd name="connsiteY1094" fmla="*/ 2299 h 10000"/>
                  <a:gd name="connsiteX1095" fmla="*/ 6143 w 10785"/>
                  <a:gd name="connsiteY1095" fmla="*/ 2308 h 10000"/>
                  <a:gd name="connsiteX1096" fmla="*/ 6134 w 10785"/>
                  <a:gd name="connsiteY1096" fmla="*/ 2325 h 10000"/>
                  <a:gd name="connsiteX1097" fmla="*/ 6115 w 10785"/>
                  <a:gd name="connsiteY1097" fmla="*/ 2282 h 10000"/>
                  <a:gd name="connsiteX1098" fmla="*/ 6069 w 10785"/>
                  <a:gd name="connsiteY1098" fmla="*/ 2274 h 10000"/>
                  <a:gd name="connsiteX1099" fmla="*/ 6069 w 10785"/>
                  <a:gd name="connsiteY1099" fmla="*/ 2282 h 10000"/>
                  <a:gd name="connsiteX1100" fmla="*/ 6060 w 10785"/>
                  <a:gd name="connsiteY1100" fmla="*/ 2299 h 10000"/>
                  <a:gd name="connsiteX1101" fmla="*/ 5972 w 10785"/>
                  <a:gd name="connsiteY1101" fmla="*/ 2214 h 10000"/>
                  <a:gd name="connsiteX1102" fmla="*/ 5968 w 10785"/>
                  <a:gd name="connsiteY1102" fmla="*/ 2197 h 10000"/>
                  <a:gd name="connsiteX1103" fmla="*/ 5968 w 10785"/>
                  <a:gd name="connsiteY1103" fmla="*/ 2171 h 10000"/>
                  <a:gd name="connsiteX1104" fmla="*/ 5968 w 10785"/>
                  <a:gd name="connsiteY1104" fmla="*/ 2162 h 10000"/>
                  <a:gd name="connsiteX1105" fmla="*/ 5968 w 10785"/>
                  <a:gd name="connsiteY1105" fmla="*/ 2120 h 10000"/>
                  <a:gd name="connsiteX1106" fmla="*/ 5968 w 10785"/>
                  <a:gd name="connsiteY1106" fmla="*/ 2111 h 10000"/>
                  <a:gd name="connsiteX1107" fmla="*/ 5972 w 10785"/>
                  <a:gd name="connsiteY1107" fmla="*/ 2103 h 10000"/>
                  <a:gd name="connsiteX1108" fmla="*/ 5986 w 10785"/>
                  <a:gd name="connsiteY1108" fmla="*/ 2103 h 10000"/>
                  <a:gd name="connsiteX1109" fmla="*/ 5986 w 10785"/>
                  <a:gd name="connsiteY1109" fmla="*/ 2085 h 10000"/>
                  <a:gd name="connsiteX1110" fmla="*/ 5995 w 10785"/>
                  <a:gd name="connsiteY1110" fmla="*/ 2085 h 10000"/>
                  <a:gd name="connsiteX1111" fmla="*/ 5995 w 10785"/>
                  <a:gd name="connsiteY1111" fmla="*/ 2077 h 10000"/>
                  <a:gd name="connsiteX1112" fmla="*/ 5986 w 10785"/>
                  <a:gd name="connsiteY1112" fmla="*/ 2060 h 10000"/>
                  <a:gd name="connsiteX1113" fmla="*/ 5954 w 10785"/>
                  <a:gd name="connsiteY1113" fmla="*/ 2060 h 10000"/>
                  <a:gd name="connsiteX1114" fmla="*/ 5940 w 10785"/>
                  <a:gd name="connsiteY1114" fmla="*/ 2051 h 10000"/>
                  <a:gd name="connsiteX1115" fmla="*/ 5922 w 10785"/>
                  <a:gd name="connsiteY1115" fmla="*/ 2060 h 10000"/>
                  <a:gd name="connsiteX1116" fmla="*/ 5885 w 10785"/>
                  <a:gd name="connsiteY1116" fmla="*/ 2051 h 10000"/>
                  <a:gd name="connsiteX1117" fmla="*/ 5876 w 10785"/>
                  <a:gd name="connsiteY1117" fmla="*/ 2026 h 10000"/>
                  <a:gd name="connsiteX1118" fmla="*/ 5862 w 10785"/>
                  <a:gd name="connsiteY1118" fmla="*/ 2026 h 10000"/>
                  <a:gd name="connsiteX1119" fmla="*/ 5848 w 10785"/>
                  <a:gd name="connsiteY1119" fmla="*/ 2026 h 10000"/>
                  <a:gd name="connsiteX1120" fmla="*/ 5825 w 10785"/>
                  <a:gd name="connsiteY1120" fmla="*/ 2026 h 10000"/>
                  <a:gd name="connsiteX1121" fmla="*/ 5788 w 10785"/>
                  <a:gd name="connsiteY1121" fmla="*/ 1991 h 10000"/>
                  <a:gd name="connsiteX1122" fmla="*/ 5760 w 10785"/>
                  <a:gd name="connsiteY1122" fmla="*/ 2000 h 10000"/>
                  <a:gd name="connsiteX1123" fmla="*/ 5760 w 10785"/>
                  <a:gd name="connsiteY1123" fmla="*/ 2026 h 10000"/>
                  <a:gd name="connsiteX1124" fmla="*/ 5714 w 10785"/>
                  <a:gd name="connsiteY1124" fmla="*/ 2051 h 10000"/>
                  <a:gd name="connsiteX1125" fmla="*/ 5687 w 10785"/>
                  <a:gd name="connsiteY1125" fmla="*/ 2034 h 10000"/>
                  <a:gd name="connsiteX1126" fmla="*/ 5645 w 10785"/>
                  <a:gd name="connsiteY1126" fmla="*/ 2077 h 10000"/>
                  <a:gd name="connsiteX1127" fmla="*/ 5664 w 10785"/>
                  <a:gd name="connsiteY1127" fmla="*/ 2120 h 10000"/>
                  <a:gd name="connsiteX1128" fmla="*/ 5664 w 10785"/>
                  <a:gd name="connsiteY1128" fmla="*/ 2162 h 10000"/>
                  <a:gd name="connsiteX1129" fmla="*/ 5631 w 10785"/>
                  <a:gd name="connsiteY1129" fmla="*/ 2197 h 10000"/>
                  <a:gd name="connsiteX1130" fmla="*/ 5618 w 10785"/>
                  <a:gd name="connsiteY1130" fmla="*/ 2188 h 10000"/>
                  <a:gd name="connsiteX1131" fmla="*/ 5618 w 10785"/>
                  <a:gd name="connsiteY1131" fmla="*/ 2171 h 10000"/>
                  <a:gd name="connsiteX1132" fmla="*/ 5641 w 10785"/>
                  <a:gd name="connsiteY1132" fmla="*/ 2171 h 10000"/>
                  <a:gd name="connsiteX1133" fmla="*/ 5641 w 10785"/>
                  <a:gd name="connsiteY1133" fmla="*/ 2162 h 10000"/>
                  <a:gd name="connsiteX1134" fmla="*/ 5627 w 10785"/>
                  <a:gd name="connsiteY1134" fmla="*/ 2145 h 10000"/>
                  <a:gd name="connsiteX1135" fmla="*/ 5627 w 10785"/>
                  <a:gd name="connsiteY1135" fmla="*/ 2120 h 10000"/>
                  <a:gd name="connsiteX1136" fmla="*/ 5618 w 10785"/>
                  <a:gd name="connsiteY1136" fmla="*/ 2111 h 10000"/>
                  <a:gd name="connsiteX1137" fmla="*/ 5631 w 10785"/>
                  <a:gd name="connsiteY1137" fmla="*/ 2051 h 10000"/>
                  <a:gd name="connsiteX1138" fmla="*/ 5631 w 10785"/>
                  <a:gd name="connsiteY1138" fmla="*/ 2026 h 10000"/>
                  <a:gd name="connsiteX1139" fmla="*/ 5627 w 10785"/>
                  <a:gd name="connsiteY1139" fmla="*/ 1991 h 10000"/>
                  <a:gd name="connsiteX1140" fmla="*/ 5618 w 10785"/>
                  <a:gd name="connsiteY1140" fmla="*/ 1974 h 10000"/>
                  <a:gd name="connsiteX1141" fmla="*/ 5618 w 10785"/>
                  <a:gd name="connsiteY1141" fmla="*/ 1940 h 10000"/>
                  <a:gd name="connsiteX1142" fmla="*/ 5594 w 10785"/>
                  <a:gd name="connsiteY1142" fmla="*/ 1855 h 10000"/>
                  <a:gd name="connsiteX1143" fmla="*/ 5599 w 10785"/>
                  <a:gd name="connsiteY1143" fmla="*/ 1915 h 10000"/>
                  <a:gd name="connsiteX1144" fmla="*/ 5599 w 10785"/>
                  <a:gd name="connsiteY1144" fmla="*/ 1949 h 10000"/>
                  <a:gd name="connsiteX1145" fmla="*/ 5594 w 10785"/>
                  <a:gd name="connsiteY1145" fmla="*/ 1991 h 10000"/>
                  <a:gd name="connsiteX1146" fmla="*/ 5571 w 10785"/>
                  <a:gd name="connsiteY1146" fmla="*/ 2000 h 10000"/>
                  <a:gd name="connsiteX1147" fmla="*/ 5530 w 10785"/>
                  <a:gd name="connsiteY1147" fmla="*/ 1991 h 10000"/>
                  <a:gd name="connsiteX1148" fmla="*/ 5525 w 10785"/>
                  <a:gd name="connsiteY1148" fmla="*/ 2000 h 10000"/>
                  <a:gd name="connsiteX1149" fmla="*/ 5521 w 10785"/>
                  <a:gd name="connsiteY1149" fmla="*/ 1991 h 10000"/>
                  <a:gd name="connsiteX1150" fmla="*/ 5498 w 10785"/>
                  <a:gd name="connsiteY1150" fmla="*/ 1949 h 10000"/>
                  <a:gd name="connsiteX1151" fmla="*/ 5493 w 10785"/>
                  <a:gd name="connsiteY1151" fmla="*/ 1889 h 10000"/>
                  <a:gd name="connsiteX1152" fmla="*/ 5493 w 10785"/>
                  <a:gd name="connsiteY1152" fmla="*/ 1863 h 10000"/>
                  <a:gd name="connsiteX1153" fmla="*/ 5498 w 10785"/>
                  <a:gd name="connsiteY1153" fmla="*/ 1889 h 10000"/>
                  <a:gd name="connsiteX1154" fmla="*/ 5512 w 10785"/>
                  <a:gd name="connsiteY1154" fmla="*/ 1855 h 10000"/>
                  <a:gd name="connsiteX1155" fmla="*/ 5512 w 10785"/>
                  <a:gd name="connsiteY1155" fmla="*/ 1838 h 10000"/>
                  <a:gd name="connsiteX1156" fmla="*/ 5479 w 10785"/>
                  <a:gd name="connsiteY1156" fmla="*/ 1855 h 10000"/>
                  <a:gd name="connsiteX1157" fmla="*/ 5470 w 10785"/>
                  <a:gd name="connsiteY1157" fmla="*/ 1872 h 10000"/>
                  <a:gd name="connsiteX1158" fmla="*/ 5470 w 10785"/>
                  <a:gd name="connsiteY1158" fmla="*/ 1889 h 10000"/>
                  <a:gd name="connsiteX1159" fmla="*/ 5465 w 10785"/>
                  <a:gd name="connsiteY1159" fmla="*/ 1897 h 10000"/>
                  <a:gd name="connsiteX1160" fmla="*/ 5456 w 10785"/>
                  <a:gd name="connsiteY1160" fmla="*/ 1872 h 10000"/>
                  <a:gd name="connsiteX1161" fmla="*/ 5447 w 10785"/>
                  <a:gd name="connsiteY1161" fmla="*/ 1872 h 10000"/>
                  <a:gd name="connsiteX1162" fmla="*/ 5433 w 10785"/>
                  <a:gd name="connsiteY1162" fmla="*/ 1855 h 10000"/>
                  <a:gd name="connsiteX1163" fmla="*/ 5396 w 10785"/>
                  <a:gd name="connsiteY1163" fmla="*/ 1863 h 10000"/>
                  <a:gd name="connsiteX1164" fmla="*/ 5396 w 10785"/>
                  <a:gd name="connsiteY1164" fmla="*/ 1897 h 10000"/>
                  <a:gd name="connsiteX1165" fmla="*/ 5378 w 10785"/>
                  <a:gd name="connsiteY1165" fmla="*/ 1949 h 10000"/>
                  <a:gd name="connsiteX1166" fmla="*/ 5378 w 10785"/>
                  <a:gd name="connsiteY1166" fmla="*/ 1966 h 10000"/>
                  <a:gd name="connsiteX1167" fmla="*/ 5392 w 10785"/>
                  <a:gd name="connsiteY1167" fmla="*/ 2026 h 10000"/>
                  <a:gd name="connsiteX1168" fmla="*/ 5396 w 10785"/>
                  <a:gd name="connsiteY1168" fmla="*/ 2026 h 10000"/>
                  <a:gd name="connsiteX1169" fmla="*/ 5392 w 10785"/>
                  <a:gd name="connsiteY1169" fmla="*/ 2009 h 10000"/>
                  <a:gd name="connsiteX1170" fmla="*/ 5392 w 10785"/>
                  <a:gd name="connsiteY1170" fmla="*/ 2000 h 10000"/>
                  <a:gd name="connsiteX1171" fmla="*/ 5396 w 10785"/>
                  <a:gd name="connsiteY1171" fmla="*/ 2009 h 10000"/>
                  <a:gd name="connsiteX1172" fmla="*/ 5424 w 10785"/>
                  <a:gd name="connsiteY1172" fmla="*/ 2009 h 10000"/>
                  <a:gd name="connsiteX1173" fmla="*/ 5433 w 10785"/>
                  <a:gd name="connsiteY1173" fmla="*/ 1991 h 10000"/>
                  <a:gd name="connsiteX1174" fmla="*/ 5447 w 10785"/>
                  <a:gd name="connsiteY1174" fmla="*/ 1974 h 10000"/>
                  <a:gd name="connsiteX1175" fmla="*/ 5452 w 10785"/>
                  <a:gd name="connsiteY1175" fmla="*/ 1966 h 10000"/>
                  <a:gd name="connsiteX1176" fmla="*/ 5456 w 10785"/>
                  <a:gd name="connsiteY1176" fmla="*/ 1966 h 10000"/>
                  <a:gd name="connsiteX1177" fmla="*/ 5465 w 10785"/>
                  <a:gd name="connsiteY1177" fmla="*/ 2009 h 10000"/>
                  <a:gd name="connsiteX1178" fmla="*/ 5433 w 10785"/>
                  <a:gd name="connsiteY1178" fmla="*/ 2034 h 10000"/>
                  <a:gd name="connsiteX1179" fmla="*/ 5424 w 10785"/>
                  <a:gd name="connsiteY1179" fmla="*/ 2060 h 10000"/>
                  <a:gd name="connsiteX1180" fmla="*/ 5419 w 10785"/>
                  <a:gd name="connsiteY1180" fmla="*/ 2060 h 10000"/>
                  <a:gd name="connsiteX1181" fmla="*/ 5392 w 10785"/>
                  <a:gd name="connsiteY1181" fmla="*/ 2111 h 10000"/>
                  <a:gd name="connsiteX1182" fmla="*/ 5378 w 10785"/>
                  <a:gd name="connsiteY1182" fmla="*/ 2111 h 10000"/>
                  <a:gd name="connsiteX1183" fmla="*/ 5350 w 10785"/>
                  <a:gd name="connsiteY1183" fmla="*/ 2060 h 10000"/>
                  <a:gd name="connsiteX1184" fmla="*/ 5373 w 10785"/>
                  <a:gd name="connsiteY1184" fmla="*/ 2111 h 10000"/>
                  <a:gd name="connsiteX1185" fmla="*/ 5364 w 10785"/>
                  <a:gd name="connsiteY1185" fmla="*/ 2111 h 10000"/>
                  <a:gd name="connsiteX1186" fmla="*/ 5359 w 10785"/>
                  <a:gd name="connsiteY1186" fmla="*/ 2103 h 10000"/>
                  <a:gd name="connsiteX1187" fmla="*/ 5359 w 10785"/>
                  <a:gd name="connsiteY1187" fmla="*/ 2120 h 10000"/>
                  <a:gd name="connsiteX1188" fmla="*/ 5359 w 10785"/>
                  <a:gd name="connsiteY1188" fmla="*/ 2137 h 10000"/>
                  <a:gd name="connsiteX1189" fmla="*/ 5313 w 10785"/>
                  <a:gd name="connsiteY1189" fmla="*/ 2162 h 10000"/>
                  <a:gd name="connsiteX1190" fmla="*/ 5300 w 10785"/>
                  <a:gd name="connsiteY1190" fmla="*/ 2162 h 10000"/>
                  <a:gd name="connsiteX1191" fmla="*/ 5300 w 10785"/>
                  <a:gd name="connsiteY1191" fmla="*/ 2171 h 10000"/>
                  <a:gd name="connsiteX1192" fmla="*/ 5300 w 10785"/>
                  <a:gd name="connsiteY1192" fmla="*/ 2197 h 10000"/>
                  <a:gd name="connsiteX1193" fmla="*/ 5276 w 10785"/>
                  <a:gd name="connsiteY1193" fmla="*/ 2188 h 10000"/>
                  <a:gd name="connsiteX1194" fmla="*/ 5249 w 10785"/>
                  <a:gd name="connsiteY1194" fmla="*/ 2222 h 10000"/>
                  <a:gd name="connsiteX1195" fmla="*/ 5249 w 10785"/>
                  <a:gd name="connsiteY1195" fmla="*/ 2222 h 10000"/>
                  <a:gd name="connsiteX1196" fmla="*/ 5217 w 10785"/>
                  <a:gd name="connsiteY1196" fmla="*/ 2214 h 10000"/>
                  <a:gd name="connsiteX1197" fmla="*/ 5203 w 10785"/>
                  <a:gd name="connsiteY1197" fmla="*/ 2239 h 10000"/>
                  <a:gd name="connsiteX1198" fmla="*/ 5171 w 10785"/>
                  <a:gd name="connsiteY1198" fmla="*/ 2214 h 10000"/>
                  <a:gd name="connsiteX1199" fmla="*/ 5157 w 10785"/>
                  <a:gd name="connsiteY1199" fmla="*/ 2239 h 10000"/>
                  <a:gd name="connsiteX1200" fmla="*/ 5166 w 10785"/>
                  <a:gd name="connsiteY1200" fmla="*/ 2256 h 10000"/>
                  <a:gd name="connsiteX1201" fmla="*/ 5171 w 10785"/>
                  <a:gd name="connsiteY1201" fmla="*/ 2308 h 10000"/>
                  <a:gd name="connsiteX1202" fmla="*/ 5212 w 10785"/>
                  <a:gd name="connsiteY1202" fmla="*/ 2350 h 10000"/>
                  <a:gd name="connsiteX1203" fmla="*/ 5203 w 10785"/>
                  <a:gd name="connsiteY1203" fmla="*/ 2350 h 10000"/>
                  <a:gd name="connsiteX1204" fmla="*/ 5166 w 10785"/>
                  <a:gd name="connsiteY1204" fmla="*/ 2325 h 10000"/>
                  <a:gd name="connsiteX1205" fmla="*/ 5152 w 10785"/>
                  <a:gd name="connsiteY1205" fmla="*/ 2308 h 10000"/>
                  <a:gd name="connsiteX1206" fmla="*/ 5143 w 10785"/>
                  <a:gd name="connsiteY1206" fmla="*/ 2333 h 10000"/>
                  <a:gd name="connsiteX1207" fmla="*/ 5138 w 10785"/>
                  <a:gd name="connsiteY1207" fmla="*/ 2333 h 10000"/>
                  <a:gd name="connsiteX1208" fmla="*/ 5124 w 10785"/>
                  <a:gd name="connsiteY1208" fmla="*/ 2376 h 10000"/>
                  <a:gd name="connsiteX1209" fmla="*/ 5115 w 10785"/>
                  <a:gd name="connsiteY1209" fmla="*/ 2385 h 10000"/>
                  <a:gd name="connsiteX1210" fmla="*/ 5106 w 10785"/>
                  <a:gd name="connsiteY1210" fmla="*/ 2385 h 10000"/>
                  <a:gd name="connsiteX1211" fmla="*/ 5055 w 10785"/>
                  <a:gd name="connsiteY1211" fmla="*/ 2470 h 10000"/>
                  <a:gd name="connsiteX1212" fmla="*/ 5065 w 10785"/>
                  <a:gd name="connsiteY1212" fmla="*/ 2462 h 10000"/>
                  <a:gd name="connsiteX1213" fmla="*/ 5055 w 10785"/>
                  <a:gd name="connsiteY1213" fmla="*/ 2444 h 10000"/>
                  <a:gd name="connsiteX1214" fmla="*/ 5041 w 10785"/>
                  <a:gd name="connsiteY1214" fmla="*/ 2462 h 10000"/>
                  <a:gd name="connsiteX1215" fmla="*/ 5037 w 10785"/>
                  <a:gd name="connsiteY1215" fmla="*/ 2470 h 10000"/>
                  <a:gd name="connsiteX1216" fmla="*/ 5032 w 10785"/>
                  <a:gd name="connsiteY1216" fmla="*/ 2470 h 10000"/>
                  <a:gd name="connsiteX1217" fmla="*/ 5032 w 10785"/>
                  <a:gd name="connsiteY1217" fmla="*/ 2444 h 10000"/>
                  <a:gd name="connsiteX1218" fmla="*/ 5055 w 10785"/>
                  <a:gd name="connsiteY1218" fmla="*/ 2410 h 10000"/>
                  <a:gd name="connsiteX1219" fmla="*/ 5065 w 10785"/>
                  <a:gd name="connsiteY1219" fmla="*/ 2393 h 10000"/>
                  <a:gd name="connsiteX1220" fmla="*/ 5069 w 10785"/>
                  <a:gd name="connsiteY1220" fmla="*/ 2385 h 10000"/>
                  <a:gd name="connsiteX1221" fmla="*/ 5083 w 10785"/>
                  <a:gd name="connsiteY1221" fmla="*/ 2376 h 10000"/>
                  <a:gd name="connsiteX1222" fmla="*/ 5097 w 10785"/>
                  <a:gd name="connsiteY1222" fmla="*/ 2376 h 10000"/>
                  <a:gd name="connsiteX1223" fmla="*/ 5124 w 10785"/>
                  <a:gd name="connsiteY1223" fmla="*/ 2325 h 10000"/>
                  <a:gd name="connsiteX1224" fmla="*/ 5143 w 10785"/>
                  <a:gd name="connsiteY1224" fmla="*/ 2248 h 10000"/>
                  <a:gd name="connsiteX1225" fmla="*/ 5152 w 10785"/>
                  <a:gd name="connsiteY1225" fmla="*/ 2239 h 10000"/>
                  <a:gd name="connsiteX1226" fmla="*/ 5166 w 10785"/>
                  <a:gd name="connsiteY1226" fmla="*/ 2162 h 10000"/>
                  <a:gd name="connsiteX1227" fmla="*/ 5171 w 10785"/>
                  <a:gd name="connsiteY1227" fmla="*/ 2171 h 10000"/>
                  <a:gd name="connsiteX1228" fmla="*/ 5198 w 10785"/>
                  <a:gd name="connsiteY1228" fmla="*/ 2145 h 10000"/>
                  <a:gd name="connsiteX1229" fmla="*/ 5203 w 10785"/>
                  <a:gd name="connsiteY1229" fmla="*/ 2111 h 10000"/>
                  <a:gd name="connsiteX1230" fmla="*/ 5217 w 10785"/>
                  <a:gd name="connsiteY1230" fmla="*/ 2060 h 10000"/>
                  <a:gd name="connsiteX1231" fmla="*/ 5226 w 10785"/>
                  <a:gd name="connsiteY1231" fmla="*/ 2026 h 10000"/>
                  <a:gd name="connsiteX1232" fmla="*/ 5286 w 10785"/>
                  <a:gd name="connsiteY1232" fmla="*/ 2026 h 10000"/>
                  <a:gd name="connsiteX1233" fmla="*/ 5290 w 10785"/>
                  <a:gd name="connsiteY1233" fmla="*/ 2034 h 10000"/>
                  <a:gd name="connsiteX1234" fmla="*/ 5323 w 10785"/>
                  <a:gd name="connsiteY1234" fmla="*/ 1923 h 10000"/>
                  <a:gd name="connsiteX1235" fmla="*/ 5323 w 10785"/>
                  <a:gd name="connsiteY1235" fmla="*/ 1889 h 10000"/>
                  <a:gd name="connsiteX1236" fmla="*/ 5359 w 10785"/>
                  <a:gd name="connsiteY1236" fmla="*/ 1829 h 10000"/>
                  <a:gd name="connsiteX1237" fmla="*/ 5378 w 10785"/>
                  <a:gd name="connsiteY1237" fmla="*/ 1812 h 10000"/>
                  <a:gd name="connsiteX1238" fmla="*/ 5406 w 10785"/>
                  <a:gd name="connsiteY1238" fmla="*/ 1752 h 10000"/>
                  <a:gd name="connsiteX1239" fmla="*/ 5410 w 10785"/>
                  <a:gd name="connsiteY1239" fmla="*/ 1718 h 10000"/>
                  <a:gd name="connsiteX1240" fmla="*/ 5438 w 10785"/>
                  <a:gd name="connsiteY1240" fmla="*/ 1667 h 10000"/>
                  <a:gd name="connsiteX1241" fmla="*/ 5438 w 10785"/>
                  <a:gd name="connsiteY1241" fmla="*/ 1650 h 10000"/>
                  <a:gd name="connsiteX1242" fmla="*/ 5438 w 10785"/>
                  <a:gd name="connsiteY1242" fmla="*/ 1641 h 10000"/>
                  <a:gd name="connsiteX1243" fmla="*/ 5452 w 10785"/>
                  <a:gd name="connsiteY1243" fmla="*/ 1641 h 10000"/>
                  <a:gd name="connsiteX1244" fmla="*/ 5456 w 10785"/>
                  <a:gd name="connsiteY1244" fmla="*/ 1615 h 10000"/>
                  <a:gd name="connsiteX1245" fmla="*/ 5456 w 10785"/>
                  <a:gd name="connsiteY1245" fmla="*/ 1615 h 10000"/>
                  <a:gd name="connsiteX1246" fmla="*/ 5465 w 10785"/>
                  <a:gd name="connsiteY1246" fmla="*/ 1598 h 10000"/>
                  <a:gd name="connsiteX1247" fmla="*/ 5465 w 10785"/>
                  <a:gd name="connsiteY1247" fmla="*/ 1615 h 10000"/>
                  <a:gd name="connsiteX1248" fmla="*/ 5479 w 10785"/>
                  <a:gd name="connsiteY1248" fmla="*/ 1598 h 10000"/>
                  <a:gd name="connsiteX1249" fmla="*/ 5484 w 10785"/>
                  <a:gd name="connsiteY1249" fmla="*/ 1581 h 10000"/>
                  <a:gd name="connsiteX1250" fmla="*/ 5493 w 10785"/>
                  <a:gd name="connsiteY1250" fmla="*/ 1581 h 10000"/>
                  <a:gd name="connsiteX1251" fmla="*/ 5512 w 10785"/>
                  <a:gd name="connsiteY1251" fmla="*/ 1538 h 10000"/>
                  <a:gd name="connsiteX1252" fmla="*/ 5530 w 10785"/>
                  <a:gd name="connsiteY1252" fmla="*/ 1564 h 10000"/>
                  <a:gd name="connsiteX1253" fmla="*/ 5530 w 10785"/>
                  <a:gd name="connsiteY1253" fmla="*/ 1538 h 10000"/>
                  <a:gd name="connsiteX1254" fmla="*/ 5539 w 10785"/>
                  <a:gd name="connsiteY1254" fmla="*/ 1530 h 10000"/>
                  <a:gd name="connsiteX1255" fmla="*/ 5530 w 10785"/>
                  <a:gd name="connsiteY1255" fmla="*/ 1504 h 10000"/>
                  <a:gd name="connsiteX1256" fmla="*/ 5567 w 10785"/>
                  <a:gd name="connsiteY1256" fmla="*/ 1479 h 10000"/>
                  <a:gd name="connsiteX1257" fmla="*/ 5553 w 10785"/>
                  <a:gd name="connsiteY1257" fmla="*/ 1479 h 10000"/>
                  <a:gd name="connsiteX1258" fmla="*/ 5553 w 10785"/>
                  <a:gd name="connsiteY1258" fmla="*/ 1453 h 10000"/>
                  <a:gd name="connsiteX1259" fmla="*/ 5581 w 10785"/>
                  <a:gd name="connsiteY1259" fmla="*/ 1444 h 10000"/>
                  <a:gd name="connsiteX1260" fmla="*/ 5581 w 10785"/>
                  <a:gd name="connsiteY1260" fmla="*/ 1453 h 10000"/>
                  <a:gd name="connsiteX1261" fmla="*/ 5585 w 10785"/>
                  <a:gd name="connsiteY1261" fmla="*/ 1444 h 10000"/>
                  <a:gd name="connsiteX1262" fmla="*/ 5594 w 10785"/>
                  <a:gd name="connsiteY1262" fmla="*/ 1427 h 10000"/>
                  <a:gd name="connsiteX1263" fmla="*/ 5599 w 10785"/>
                  <a:gd name="connsiteY1263" fmla="*/ 1419 h 10000"/>
                  <a:gd name="connsiteX1264" fmla="*/ 5594 w 10785"/>
                  <a:gd name="connsiteY1264" fmla="*/ 1402 h 10000"/>
                  <a:gd name="connsiteX1265" fmla="*/ 5604 w 10785"/>
                  <a:gd name="connsiteY1265" fmla="*/ 1393 h 10000"/>
                  <a:gd name="connsiteX1266" fmla="*/ 5618 w 10785"/>
                  <a:gd name="connsiteY1266" fmla="*/ 1393 h 10000"/>
                  <a:gd name="connsiteX1267" fmla="*/ 5627 w 10785"/>
                  <a:gd name="connsiteY1267" fmla="*/ 1368 h 10000"/>
                  <a:gd name="connsiteX1268" fmla="*/ 5627 w 10785"/>
                  <a:gd name="connsiteY1268" fmla="*/ 1325 h 10000"/>
                  <a:gd name="connsiteX1269" fmla="*/ 5645 w 10785"/>
                  <a:gd name="connsiteY1269" fmla="*/ 1291 h 10000"/>
                  <a:gd name="connsiteX1270" fmla="*/ 5645 w 10785"/>
                  <a:gd name="connsiteY1270" fmla="*/ 1282 h 10000"/>
                  <a:gd name="connsiteX1271" fmla="*/ 5654 w 10785"/>
                  <a:gd name="connsiteY1271" fmla="*/ 1265 h 10000"/>
                  <a:gd name="connsiteX1272" fmla="*/ 5654 w 10785"/>
                  <a:gd name="connsiteY1272" fmla="*/ 1214 h 10000"/>
                  <a:gd name="connsiteX1273" fmla="*/ 5654 w 10785"/>
                  <a:gd name="connsiteY1273" fmla="*/ 1214 h 10000"/>
                  <a:gd name="connsiteX1274" fmla="*/ 5645 w 10785"/>
                  <a:gd name="connsiteY1274" fmla="*/ 1197 h 10000"/>
                  <a:gd name="connsiteX1275" fmla="*/ 5659 w 10785"/>
                  <a:gd name="connsiteY1275" fmla="*/ 1197 h 10000"/>
                  <a:gd name="connsiteX1276" fmla="*/ 5654 w 10785"/>
                  <a:gd name="connsiteY1276" fmla="*/ 1154 h 10000"/>
                  <a:gd name="connsiteX1277" fmla="*/ 5641 w 10785"/>
                  <a:gd name="connsiteY1277" fmla="*/ 1154 h 10000"/>
                  <a:gd name="connsiteX1278" fmla="*/ 5627 w 10785"/>
                  <a:gd name="connsiteY1278" fmla="*/ 1128 h 10000"/>
                  <a:gd name="connsiteX1279" fmla="*/ 5618 w 10785"/>
                  <a:gd name="connsiteY1279" fmla="*/ 1094 h 10000"/>
                  <a:gd name="connsiteX1280" fmla="*/ 5613 w 10785"/>
                  <a:gd name="connsiteY1280" fmla="*/ 1094 h 10000"/>
                  <a:gd name="connsiteX1281" fmla="*/ 5604 w 10785"/>
                  <a:gd name="connsiteY1281" fmla="*/ 1120 h 10000"/>
                  <a:gd name="connsiteX1282" fmla="*/ 5604 w 10785"/>
                  <a:gd name="connsiteY1282" fmla="*/ 1128 h 10000"/>
                  <a:gd name="connsiteX1283" fmla="*/ 5599 w 10785"/>
                  <a:gd name="connsiteY1283" fmla="*/ 1103 h 10000"/>
                  <a:gd name="connsiteX1284" fmla="*/ 5599 w 10785"/>
                  <a:gd name="connsiteY1284" fmla="*/ 1103 h 10000"/>
                  <a:gd name="connsiteX1285" fmla="*/ 5594 w 10785"/>
                  <a:gd name="connsiteY1285" fmla="*/ 1068 h 10000"/>
                  <a:gd name="connsiteX1286" fmla="*/ 5594 w 10785"/>
                  <a:gd name="connsiteY1286" fmla="*/ 1060 h 10000"/>
                  <a:gd name="connsiteX1287" fmla="*/ 5581 w 10785"/>
                  <a:gd name="connsiteY1287" fmla="*/ 1034 h 10000"/>
                  <a:gd name="connsiteX1288" fmla="*/ 5571 w 10785"/>
                  <a:gd name="connsiteY1288" fmla="*/ 1009 h 10000"/>
                  <a:gd name="connsiteX1289" fmla="*/ 5571 w 10785"/>
                  <a:gd name="connsiteY1289" fmla="*/ 991 h 10000"/>
                  <a:gd name="connsiteX1290" fmla="*/ 5585 w 10785"/>
                  <a:gd name="connsiteY1290" fmla="*/ 1009 h 10000"/>
                  <a:gd name="connsiteX1291" fmla="*/ 5604 w 10785"/>
                  <a:gd name="connsiteY1291" fmla="*/ 1043 h 10000"/>
                  <a:gd name="connsiteX1292" fmla="*/ 5641 w 10785"/>
                  <a:gd name="connsiteY1292" fmla="*/ 1094 h 10000"/>
                  <a:gd name="connsiteX1293" fmla="*/ 5631 w 10785"/>
                  <a:gd name="connsiteY1293" fmla="*/ 1128 h 10000"/>
                  <a:gd name="connsiteX1294" fmla="*/ 5641 w 10785"/>
                  <a:gd name="connsiteY1294" fmla="*/ 1128 h 10000"/>
                  <a:gd name="connsiteX1295" fmla="*/ 5659 w 10785"/>
                  <a:gd name="connsiteY1295" fmla="*/ 1017 h 10000"/>
                  <a:gd name="connsiteX1296" fmla="*/ 5659 w 10785"/>
                  <a:gd name="connsiteY1296" fmla="*/ 983 h 10000"/>
                  <a:gd name="connsiteX1297" fmla="*/ 5659 w 10785"/>
                  <a:gd name="connsiteY1297" fmla="*/ 957 h 10000"/>
                  <a:gd name="connsiteX1298" fmla="*/ 5654 w 10785"/>
                  <a:gd name="connsiteY1298" fmla="*/ 966 h 10000"/>
                  <a:gd name="connsiteX1299" fmla="*/ 5641 w 10785"/>
                  <a:gd name="connsiteY1299" fmla="*/ 957 h 10000"/>
                  <a:gd name="connsiteX1300" fmla="*/ 5631 w 10785"/>
                  <a:gd name="connsiteY1300" fmla="*/ 897 h 10000"/>
                  <a:gd name="connsiteX1301" fmla="*/ 5641 w 10785"/>
                  <a:gd name="connsiteY1301" fmla="*/ 872 h 10000"/>
                  <a:gd name="connsiteX1302" fmla="*/ 5618 w 10785"/>
                  <a:gd name="connsiteY1302" fmla="*/ 803 h 10000"/>
                  <a:gd name="connsiteX1303" fmla="*/ 5604 w 10785"/>
                  <a:gd name="connsiteY1303" fmla="*/ 821 h 10000"/>
                  <a:gd name="connsiteX1304" fmla="*/ 5613 w 10785"/>
                  <a:gd name="connsiteY1304" fmla="*/ 846 h 10000"/>
                  <a:gd name="connsiteX1305" fmla="*/ 5604 w 10785"/>
                  <a:gd name="connsiteY1305" fmla="*/ 855 h 10000"/>
                  <a:gd name="connsiteX1306" fmla="*/ 5599 w 10785"/>
                  <a:gd name="connsiteY1306" fmla="*/ 880 h 10000"/>
                  <a:gd name="connsiteX1307" fmla="*/ 5594 w 10785"/>
                  <a:gd name="connsiteY1307" fmla="*/ 880 h 10000"/>
                  <a:gd name="connsiteX1308" fmla="*/ 5585 w 10785"/>
                  <a:gd name="connsiteY1308" fmla="*/ 829 h 10000"/>
                  <a:gd name="connsiteX1309" fmla="*/ 5571 w 10785"/>
                  <a:gd name="connsiteY1309" fmla="*/ 803 h 10000"/>
                  <a:gd name="connsiteX1310" fmla="*/ 5585 w 10785"/>
                  <a:gd name="connsiteY1310" fmla="*/ 795 h 10000"/>
                  <a:gd name="connsiteX1311" fmla="*/ 5585 w 10785"/>
                  <a:gd name="connsiteY1311" fmla="*/ 761 h 10000"/>
                  <a:gd name="connsiteX1312" fmla="*/ 5558 w 10785"/>
                  <a:gd name="connsiteY1312" fmla="*/ 709 h 10000"/>
                  <a:gd name="connsiteX1313" fmla="*/ 5544 w 10785"/>
                  <a:gd name="connsiteY1313" fmla="*/ 709 h 10000"/>
                  <a:gd name="connsiteX1314" fmla="*/ 5544 w 10785"/>
                  <a:gd name="connsiteY1314" fmla="*/ 684 h 10000"/>
                  <a:gd name="connsiteX1315" fmla="*/ 5525 w 10785"/>
                  <a:gd name="connsiteY1315" fmla="*/ 632 h 10000"/>
                  <a:gd name="connsiteX1316" fmla="*/ 5507 w 10785"/>
                  <a:gd name="connsiteY1316" fmla="*/ 607 h 10000"/>
                  <a:gd name="connsiteX1317" fmla="*/ 5512 w 10785"/>
                  <a:gd name="connsiteY1317" fmla="*/ 598 h 10000"/>
                  <a:gd name="connsiteX1318" fmla="*/ 5507 w 10785"/>
                  <a:gd name="connsiteY1318" fmla="*/ 581 h 10000"/>
                  <a:gd name="connsiteX1319" fmla="*/ 5493 w 10785"/>
                  <a:gd name="connsiteY1319" fmla="*/ 573 h 10000"/>
                  <a:gd name="connsiteX1320" fmla="*/ 5484 w 10785"/>
                  <a:gd name="connsiteY1320" fmla="*/ 581 h 10000"/>
                  <a:gd name="connsiteX1321" fmla="*/ 5484 w 10785"/>
                  <a:gd name="connsiteY1321" fmla="*/ 573 h 10000"/>
                  <a:gd name="connsiteX1322" fmla="*/ 5484 w 10785"/>
                  <a:gd name="connsiteY1322" fmla="*/ 547 h 10000"/>
                  <a:gd name="connsiteX1323" fmla="*/ 5465 w 10785"/>
                  <a:gd name="connsiteY1323" fmla="*/ 556 h 10000"/>
                  <a:gd name="connsiteX1324" fmla="*/ 5433 w 10785"/>
                  <a:gd name="connsiteY1324" fmla="*/ 547 h 10000"/>
                  <a:gd name="connsiteX1325" fmla="*/ 5410 w 10785"/>
                  <a:gd name="connsiteY1325" fmla="*/ 573 h 10000"/>
                  <a:gd name="connsiteX1326" fmla="*/ 5406 w 10785"/>
                  <a:gd name="connsiteY1326" fmla="*/ 573 h 10000"/>
                  <a:gd name="connsiteX1327" fmla="*/ 5392 w 10785"/>
                  <a:gd name="connsiteY1327" fmla="*/ 573 h 10000"/>
                  <a:gd name="connsiteX1328" fmla="*/ 5364 w 10785"/>
                  <a:gd name="connsiteY1328" fmla="*/ 530 h 10000"/>
                  <a:gd name="connsiteX1329" fmla="*/ 5350 w 10785"/>
                  <a:gd name="connsiteY1329" fmla="*/ 556 h 10000"/>
                  <a:gd name="connsiteX1330" fmla="*/ 5346 w 10785"/>
                  <a:gd name="connsiteY1330" fmla="*/ 556 h 10000"/>
                  <a:gd name="connsiteX1331" fmla="*/ 5313 w 10785"/>
                  <a:gd name="connsiteY1331" fmla="*/ 573 h 10000"/>
                  <a:gd name="connsiteX1332" fmla="*/ 5304 w 10785"/>
                  <a:gd name="connsiteY1332" fmla="*/ 556 h 10000"/>
                  <a:gd name="connsiteX1333" fmla="*/ 5290 w 10785"/>
                  <a:gd name="connsiteY1333" fmla="*/ 573 h 10000"/>
                  <a:gd name="connsiteX1334" fmla="*/ 5290 w 10785"/>
                  <a:gd name="connsiteY1334" fmla="*/ 556 h 10000"/>
                  <a:gd name="connsiteX1335" fmla="*/ 5300 w 10785"/>
                  <a:gd name="connsiteY1335" fmla="*/ 547 h 10000"/>
                  <a:gd name="connsiteX1336" fmla="*/ 5300 w 10785"/>
                  <a:gd name="connsiteY1336" fmla="*/ 530 h 10000"/>
                  <a:gd name="connsiteX1337" fmla="*/ 5290 w 10785"/>
                  <a:gd name="connsiteY1337" fmla="*/ 530 h 10000"/>
                  <a:gd name="connsiteX1338" fmla="*/ 5286 w 10785"/>
                  <a:gd name="connsiteY1338" fmla="*/ 547 h 10000"/>
                  <a:gd name="connsiteX1339" fmla="*/ 5272 w 10785"/>
                  <a:gd name="connsiteY1339" fmla="*/ 556 h 10000"/>
                  <a:gd name="connsiteX1340" fmla="*/ 5272 w 10785"/>
                  <a:gd name="connsiteY1340" fmla="*/ 598 h 10000"/>
                  <a:gd name="connsiteX1341" fmla="*/ 5276 w 10785"/>
                  <a:gd name="connsiteY1341" fmla="*/ 581 h 10000"/>
                  <a:gd name="connsiteX1342" fmla="*/ 5272 w 10785"/>
                  <a:gd name="connsiteY1342" fmla="*/ 607 h 10000"/>
                  <a:gd name="connsiteX1343" fmla="*/ 5263 w 10785"/>
                  <a:gd name="connsiteY1343" fmla="*/ 607 h 10000"/>
                  <a:gd name="connsiteX1344" fmla="*/ 5263 w 10785"/>
                  <a:gd name="connsiteY1344" fmla="*/ 632 h 10000"/>
                  <a:gd name="connsiteX1345" fmla="*/ 5258 w 10785"/>
                  <a:gd name="connsiteY1345" fmla="*/ 658 h 10000"/>
                  <a:gd name="connsiteX1346" fmla="*/ 5244 w 10785"/>
                  <a:gd name="connsiteY1346" fmla="*/ 667 h 10000"/>
                  <a:gd name="connsiteX1347" fmla="*/ 5240 w 10785"/>
                  <a:gd name="connsiteY1347" fmla="*/ 658 h 10000"/>
                  <a:gd name="connsiteX1348" fmla="*/ 5240 w 10785"/>
                  <a:gd name="connsiteY1348" fmla="*/ 684 h 10000"/>
                  <a:gd name="connsiteX1349" fmla="*/ 5212 w 10785"/>
                  <a:gd name="connsiteY1349" fmla="*/ 684 h 10000"/>
                  <a:gd name="connsiteX1350" fmla="*/ 5198 w 10785"/>
                  <a:gd name="connsiteY1350" fmla="*/ 692 h 10000"/>
                  <a:gd name="connsiteX1351" fmla="*/ 5184 w 10785"/>
                  <a:gd name="connsiteY1351" fmla="*/ 684 h 10000"/>
                  <a:gd name="connsiteX1352" fmla="*/ 5157 w 10785"/>
                  <a:gd name="connsiteY1352" fmla="*/ 684 h 10000"/>
                  <a:gd name="connsiteX1353" fmla="*/ 5157 w 10785"/>
                  <a:gd name="connsiteY1353" fmla="*/ 667 h 10000"/>
                  <a:gd name="connsiteX1354" fmla="*/ 5157 w 10785"/>
                  <a:gd name="connsiteY1354" fmla="*/ 667 h 10000"/>
                  <a:gd name="connsiteX1355" fmla="*/ 5180 w 10785"/>
                  <a:gd name="connsiteY1355" fmla="*/ 650 h 10000"/>
                  <a:gd name="connsiteX1356" fmla="*/ 5184 w 10785"/>
                  <a:gd name="connsiteY1356" fmla="*/ 658 h 10000"/>
                  <a:gd name="connsiteX1357" fmla="*/ 5203 w 10785"/>
                  <a:gd name="connsiteY1357" fmla="*/ 547 h 10000"/>
                  <a:gd name="connsiteX1358" fmla="*/ 5226 w 10785"/>
                  <a:gd name="connsiteY1358" fmla="*/ 530 h 10000"/>
                  <a:gd name="connsiteX1359" fmla="*/ 5230 w 10785"/>
                  <a:gd name="connsiteY1359" fmla="*/ 487 h 10000"/>
                  <a:gd name="connsiteX1360" fmla="*/ 5230 w 10785"/>
                  <a:gd name="connsiteY1360" fmla="*/ 487 h 10000"/>
                  <a:gd name="connsiteX1361" fmla="*/ 5226 w 10785"/>
                  <a:gd name="connsiteY1361" fmla="*/ 462 h 10000"/>
                  <a:gd name="connsiteX1362" fmla="*/ 5226 w 10785"/>
                  <a:gd name="connsiteY1362" fmla="*/ 462 h 10000"/>
                  <a:gd name="connsiteX1363" fmla="*/ 5240 w 10785"/>
                  <a:gd name="connsiteY1363" fmla="*/ 462 h 10000"/>
                  <a:gd name="connsiteX1364" fmla="*/ 5240 w 10785"/>
                  <a:gd name="connsiteY1364" fmla="*/ 444 h 10000"/>
                  <a:gd name="connsiteX1365" fmla="*/ 5230 w 10785"/>
                  <a:gd name="connsiteY1365" fmla="*/ 436 h 10000"/>
                  <a:gd name="connsiteX1366" fmla="*/ 5230 w 10785"/>
                  <a:gd name="connsiteY1366" fmla="*/ 419 h 10000"/>
                  <a:gd name="connsiteX1367" fmla="*/ 5230 w 10785"/>
                  <a:gd name="connsiteY1367" fmla="*/ 410 h 10000"/>
                  <a:gd name="connsiteX1368" fmla="*/ 5198 w 10785"/>
                  <a:gd name="connsiteY1368" fmla="*/ 402 h 10000"/>
                  <a:gd name="connsiteX1369" fmla="*/ 5189 w 10785"/>
                  <a:gd name="connsiteY1369" fmla="*/ 402 h 10000"/>
                  <a:gd name="connsiteX1370" fmla="*/ 5184 w 10785"/>
                  <a:gd name="connsiteY1370" fmla="*/ 376 h 10000"/>
                  <a:gd name="connsiteX1371" fmla="*/ 5180 w 10785"/>
                  <a:gd name="connsiteY1371" fmla="*/ 376 h 10000"/>
                  <a:gd name="connsiteX1372" fmla="*/ 5166 w 10785"/>
                  <a:gd name="connsiteY1372" fmla="*/ 376 h 10000"/>
                  <a:gd name="connsiteX1373" fmla="*/ 5157 w 10785"/>
                  <a:gd name="connsiteY1373" fmla="*/ 385 h 10000"/>
                  <a:gd name="connsiteX1374" fmla="*/ 5152 w 10785"/>
                  <a:gd name="connsiteY1374" fmla="*/ 376 h 10000"/>
                  <a:gd name="connsiteX1375" fmla="*/ 5129 w 10785"/>
                  <a:gd name="connsiteY1375" fmla="*/ 385 h 10000"/>
                  <a:gd name="connsiteX1376" fmla="*/ 5129 w 10785"/>
                  <a:gd name="connsiteY1376" fmla="*/ 350 h 10000"/>
                  <a:gd name="connsiteX1377" fmla="*/ 5129 w 10785"/>
                  <a:gd name="connsiteY1377" fmla="*/ 325 h 10000"/>
                  <a:gd name="connsiteX1378" fmla="*/ 5124 w 10785"/>
                  <a:gd name="connsiteY1378" fmla="*/ 359 h 10000"/>
                  <a:gd name="connsiteX1379" fmla="*/ 5106 w 10785"/>
                  <a:gd name="connsiteY1379" fmla="*/ 359 h 10000"/>
                  <a:gd name="connsiteX1380" fmla="*/ 5037 w 10785"/>
                  <a:gd name="connsiteY1380" fmla="*/ 419 h 10000"/>
                  <a:gd name="connsiteX1381" fmla="*/ 5051 w 10785"/>
                  <a:gd name="connsiteY1381" fmla="*/ 385 h 10000"/>
                  <a:gd name="connsiteX1382" fmla="*/ 5055 w 10785"/>
                  <a:gd name="connsiteY1382" fmla="*/ 376 h 10000"/>
                  <a:gd name="connsiteX1383" fmla="*/ 5092 w 10785"/>
                  <a:gd name="connsiteY1383" fmla="*/ 282 h 10000"/>
                  <a:gd name="connsiteX1384" fmla="*/ 5106 w 10785"/>
                  <a:gd name="connsiteY1384" fmla="*/ 265 h 10000"/>
                  <a:gd name="connsiteX1385" fmla="*/ 5115 w 10785"/>
                  <a:gd name="connsiteY1385" fmla="*/ 265 h 10000"/>
                  <a:gd name="connsiteX1386" fmla="*/ 5124 w 10785"/>
                  <a:gd name="connsiteY1386" fmla="*/ 222 h 10000"/>
                  <a:gd name="connsiteX1387" fmla="*/ 5124 w 10785"/>
                  <a:gd name="connsiteY1387" fmla="*/ 214 h 10000"/>
                  <a:gd name="connsiteX1388" fmla="*/ 5143 w 10785"/>
                  <a:gd name="connsiteY1388" fmla="*/ 197 h 10000"/>
                  <a:gd name="connsiteX1389" fmla="*/ 5152 w 10785"/>
                  <a:gd name="connsiteY1389" fmla="*/ 214 h 10000"/>
                  <a:gd name="connsiteX1390" fmla="*/ 5143 w 10785"/>
                  <a:gd name="connsiteY1390" fmla="*/ 188 h 10000"/>
                  <a:gd name="connsiteX1391" fmla="*/ 5129 w 10785"/>
                  <a:gd name="connsiteY1391" fmla="*/ 103 h 10000"/>
                  <a:gd name="connsiteX1392" fmla="*/ 5115 w 10785"/>
                  <a:gd name="connsiteY1392" fmla="*/ 85 h 10000"/>
                  <a:gd name="connsiteX1393" fmla="*/ 5111 w 10785"/>
                  <a:gd name="connsiteY1393" fmla="*/ 111 h 10000"/>
                  <a:gd name="connsiteX1394" fmla="*/ 5092 w 10785"/>
                  <a:gd name="connsiteY1394" fmla="*/ 103 h 10000"/>
                  <a:gd name="connsiteX1395" fmla="*/ 5069 w 10785"/>
                  <a:gd name="connsiteY1395" fmla="*/ 77 h 10000"/>
                  <a:gd name="connsiteX1396" fmla="*/ 5051 w 10785"/>
                  <a:gd name="connsiteY1396" fmla="*/ 26 h 10000"/>
                  <a:gd name="connsiteX1397" fmla="*/ 5041 w 10785"/>
                  <a:gd name="connsiteY1397" fmla="*/ 34 h 10000"/>
                  <a:gd name="connsiteX1398" fmla="*/ 5037 w 10785"/>
                  <a:gd name="connsiteY1398" fmla="*/ 34 h 10000"/>
                  <a:gd name="connsiteX1399" fmla="*/ 5037 w 10785"/>
                  <a:gd name="connsiteY1399" fmla="*/ 26 h 10000"/>
                  <a:gd name="connsiteX1400" fmla="*/ 5037 w 10785"/>
                  <a:gd name="connsiteY1400" fmla="*/ 9 h 10000"/>
                  <a:gd name="connsiteX1401" fmla="*/ 5023 w 10785"/>
                  <a:gd name="connsiteY1401" fmla="*/ 0 h 10000"/>
                  <a:gd name="connsiteX1402" fmla="*/ 5009 w 10785"/>
                  <a:gd name="connsiteY1402" fmla="*/ 9 h 10000"/>
                  <a:gd name="connsiteX1403" fmla="*/ 4995 w 10785"/>
                  <a:gd name="connsiteY1403" fmla="*/ 34 h 10000"/>
                  <a:gd name="connsiteX1404" fmla="*/ 4991 w 10785"/>
                  <a:gd name="connsiteY1404" fmla="*/ 60 h 10000"/>
                  <a:gd name="connsiteX1405" fmla="*/ 4982 w 10785"/>
                  <a:gd name="connsiteY1405" fmla="*/ 60 h 10000"/>
                  <a:gd name="connsiteX1406" fmla="*/ 4949 w 10785"/>
                  <a:gd name="connsiteY1406" fmla="*/ 51 h 10000"/>
                  <a:gd name="connsiteX1407" fmla="*/ 4949 w 10785"/>
                  <a:gd name="connsiteY1407" fmla="*/ 85 h 10000"/>
                  <a:gd name="connsiteX1408" fmla="*/ 4903 w 10785"/>
                  <a:gd name="connsiteY1408" fmla="*/ 197 h 10000"/>
                  <a:gd name="connsiteX1409" fmla="*/ 4899 w 10785"/>
                  <a:gd name="connsiteY1409" fmla="*/ 239 h 10000"/>
                  <a:gd name="connsiteX1410" fmla="*/ 4871 w 10785"/>
                  <a:gd name="connsiteY1410" fmla="*/ 274 h 10000"/>
                  <a:gd name="connsiteX1411" fmla="*/ 4871 w 10785"/>
                  <a:gd name="connsiteY1411" fmla="*/ 282 h 10000"/>
                  <a:gd name="connsiteX1412" fmla="*/ 4834 w 10785"/>
                  <a:gd name="connsiteY1412" fmla="*/ 376 h 10000"/>
                  <a:gd name="connsiteX1413" fmla="*/ 4829 w 10785"/>
                  <a:gd name="connsiteY1413" fmla="*/ 402 h 10000"/>
                  <a:gd name="connsiteX1414" fmla="*/ 4834 w 10785"/>
                  <a:gd name="connsiteY1414" fmla="*/ 410 h 10000"/>
                  <a:gd name="connsiteX1415" fmla="*/ 4829 w 10785"/>
                  <a:gd name="connsiteY1415" fmla="*/ 436 h 10000"/>
                  <a:gd name="connsiteX1416" fmla="*/ 4825 w 10785"/>
                  <a:gd name="connsiteY1416" fmla="*/ 436 h 10000"/>
                  <a:gd name="connsiteX1417" fmla="*/ 4825 w 10785"/>
                  <a:gd name="connsiteY1417" fmla="*/ 444 h 10000"/>
                  <a:gd name="connsiteX1418" fmla="*/ 4811 w 10785"/>
                  <a:gd name="connsiteY1418" fmla="*/ 496 h 10000"/>
                  <a:gd name="connsiteX1419" fmla="*/ 4811 w 10785"/>
                  <a:gd name="connsiteY1419" fmla="*/ 496 h 10000"/>
                  <a:gd name="connsiteX1420" fmla="*/ 4811 w 10785"/>
                  <a:gd name="connsiteY1420" fmla="*/ 521 h 10000"/>
                  <a:gd name="connsiteX1421" fmla="*/ 4816 w 10785"/>
                  <a:gd name="connsiteY1421" fmla="*/ 530 h 10000"/>
                  <a:gd name="connsiteX1422" fmla="*/ 4834 w 10785"/>
                  <a:gd name="connsiteY1422" fmla="*/ 547 h 10000"/>
                  <a:gd name="connsiteX1423" fmla="*/ 4834 w 10785"/>
                  <a:gd name="connsiteY1423" fmla="*/ 581 h 10000"/>
                  <a:gd name="connsiteX1424" fmla="*/ 4843 w 10785"/>
                  <a:gd name="connsiteY1424" fmla="*/ 581 h 10000"/>
                  <a:gd name="connsiteX1425" fmla="*/ 4843 w 10785"/>
                  <a:gd name="connsiteY1425" fmla="*/ 598 h 10000"/>
                  <a:gd name="connsiteX1426" fmla="*/ 4829 w 10785"/>
                  <a:gd name="connsiteY1426" fmla="*/ 598 h 10000"/>
                  <a:gd name="connsiteX1427" fmla="*/ 4829 w 10785"/>
                  <a:gd name="connsiteY1427" fmla="*/ 573 h 10000"/>
                  <a:gd name="connsiteX1428" fmla="*/ 4829 w 10785"/>
                  <a:gd name="connsiteY1428" fmla="*/ 632 h 10000"/>
                  <a:gd name="connsiteX1429" fmla="*/ 4829 w 10785"/>
                  <a:gd name="connsiteY1429" fmla="*/ 632 h 10000"/>
                  <a:gd name="connsiteX1430" fmla="*/ 4829 w 10785"/>
                  <a:gd name="connsiteY1430" fmla="*/ 650 h 10000"/>
                  <a:gd name="connsiteX1431" fmla="*/ 4774 w 10785"/>
                  <a:gd name="connsiteY1431" fmla="*/ 684 h 10000"/>
                  <a:gd name="connsiteX1432" fmla="*/ 4756 w 10785"/>
                  <a:gd name="connsiteY1432" fmla="*/ 684 h 10000"/>
                  <a:gd name="connsiteX1433" fmla="*/ 4737 w 10785"/>
                  <a:gd name="connsiteY1433" fmla="*/ 692 h 10000"/>
                  <a:gd name="connsiteX1434" fmla="*/ 4677 w 10785"/>
                  <a:gd name="connsiteY1434" fmla="*/ 667 h 10000"/>
                  <a:gd name="connsiteX1435" fmla="*/ 4682 w 10785"/>
                  <a:gd name="connsiteY1435" fmla="*/ 692 h 10000"/>
                  <a:gd name="connsiteX1436" fmla="*/ 4682 w 10785"/>
                  <a:gd name="connsiteY1436" fmla="*/ 709 h 10000"/>
                  <a:gd name="connsiteX1437" fmla="*/ 4691 w 10785"/>
                  <a:gd name="connsiteY1437" fmla="*/ 718 h 10000"/>
                  <a:gd name="connsiteX1438" fmla="*/ 4691 w 10785"/>
                  <a:gd name="connsiteY1438" fmla="*/ 744 h 10000"/>
                  <a:gd name="connsiteX1439" fmla="*/ 4700 w 10785"/>
                  <a:gd name="connsiteY1439" fmla="*/ 744 h 10000"/>
                  <a:gd name="connsiteX1440" fmla="*/ 4714 w 10785"/>
                  <a:gd name="connsiteY1440" fmla="*/ 769 h 10000"/>
                  <a:gd name="connsiteX1441" fmla="*/ 4710 w 10785"/>
                  <a:gd name="connsiteY1441" fmla="*/ 786 h 10000"/>
                  <a:gd name="connsiteX1442" fmla="*/ 4737 w 10785"/>
                  <a:gd name="connsiteY1442" fmla="*/ 786 h 10000"/>
                  <a:gd name="connsiteX1443" fmla="*/ 4742 w 10785"/>
                  <a:gd name="connsiteY1443" fmla="*/ 795 h 10000"/>
                  <a:gd name="connsiteX1444" fmla="*/ 4742 w 10785"/>
                  <a:gd name="connsiteY1444" fmla="*/ 803 h 10000"/>
                  <a:gd name="connsiteX1445" fmla="*/ 4737 w 10785"/>
                  <a:gd name="connsiteY1445" fmla="*/ 846 h 10000"/>
                  <a:gd name="connsiteX1446" fmla="*/ 4737 w 10785"/>
                  <a:gd name="connsiteY1446" fmla="*/ 880 h 10000"/>
                  <a:gd name="connsiteX1447" fmla="*/ 4737 w 10785"/>
                  <a:gd name="connsiteY1447" fmla="*/ 906 h 10000"/>
                  <a:gd name="connsiteX1448" fmla="*/ 4724 w 10785"/>
                  <a:gd name="connsiteY1448" fmla="*/ 897 h 10000"/>
                  <a:gd name="connsiteX1449" fmla="*/ 4724 w 10785"/>
                  <a:gd name="connsiteY1449" fmla="*/ 872 h 10000"/>
                  <a:gd name="connsiteX1450" fmla="*/ 4714 w 10785"/>
                  <a:gd name="connsiteY1450" fmla="*/ 855 h 10000"/>
                  <a:gd name="connsiteX1451" fmla="*/ 4691 w 10785"/>
                  <a:gd name="connsiteY1451" fmla="*/ 846 h 10000"/>
                  <a:gd name="connsiteX1452" fmla="*/ 4691 w 10785"/>
                  <a:gd name="connsiteY1452" fmla="*/ 846 h 10000"/>
                  <a:gd name="connsiteX1453" fmla="*/ 4696 w 10785"/>
                  <a:gd name="connsiteY1453" fmla="*/ 821 h 10000"/>
                  <a:gd name="connsiteX1454" fmla="*/ 4691 w 10785"/>
                  <a:gd name="connsiteY1454" fmla="*/ 803 h 10000"/>
                  <a:gd name="connsiteX1455" fmla="*/ 4668 w 10785"/>
                  <a:gd name="connsiteY1455" fmla="*/ 821 h 10000"/>
                  <a:gd name="connsiteX1456" fmla="*/ 4668 w 10785"/>
                  <a:gd name="connsiteY1456" fmla="*/ 786 h 10000"/>
                  <a:gd name="connsiteX1457" fmla="*/ 4664 w 10785"/>
                  <a:gd name="connsiteY1457" fmla="*/ 786 h 10000"/>
                  <a:gd name="connsiteX1458" fmla="*/ 4622 w 10785"/>
                  <a:gd name="connsiteY1458" fmla="*/ 846 h 10000"/>
                  <a:gd name="connsiteX1459" fmla="*/ 4627 w 10785"/>
                  <a:gd name="connsiteY1459" fmla="*/ 872 h 10000"/>
                  <a:gd name="connsiteX1460" fmla="*/ 4622 w 10785"/>
                  <a:gd name="connsiteY1460" fmla="*/ 880 h 10000"/>
                  <a:gd name="connsiteX1461" fmla="*/ 4622 w 10785"/>
                  <a:gd name="connsiteY1461" fmla="*/ 880 h 10000"/>
                  <a:gd name="connsiteX1462" fmla="*/ 4618 w 10785"/>
                  <a:gd name="connsiteY1462" fmla="*/ 872 h 10000"/>
                  <a:gd name="connsiteX1463" fmla="*/ 4604 w 10785"/>
                  <a:gd name="connsiteY1463" fmla="*/ 880 h 10000"/>
                  <a:gd name="connsiteX1464" fmla="*/ 4594 w 10785"/>
                  <a:gd name="connsiteY1464" fmla="*/ 906 h 10000"/>
                  <a:gd name="connsiteX1465" fmla="*/ 4604 w 10785"/>
                  <a:gd name="connsiteY1465" fmla="*/ 906 h 10000"/>
                  <a:gd name="connsiteX1466" fmla="*/ 4608 w 10785"/>
                  <a:gd name="connsiteY1466" fmla="*/ 906 h 10000"/>
                  <a:gd name="connsiteX1467" fmla="*/ 4608 w 10785"/>
                  <a:gd name="connsiteY1467" fmla="*/ 932 h 10000"/>
                  <a:gd name="connsiteX1468" fmla="*/ 4604 w 10785"/>
                  <a:gd name="connsiteY1468" fmla="*/ 932 h 10000"/>
                  <a:gd name="connsiteX1469" fmla="*/ 4590 w 10785"/>
                  <a:gd name="connsiteY1469" fmla="*/ 932 h 10000"/>
                  <a:gd name="connsiteX1470" fmla="*/ 4567 w 10785"/>
                  <a:gd name="connsiteY1470" fmla="*/ 957 h 10000"/>
                  <a:gd name="connsiteX1471" fmla="*/ 4567 w 10785"/>
                  <a:gd name="connsiteY1471" fmla="*/ 932 h 10000"/>
                  <a:gd name="connsiteX1472" fmla="*/ 4567 w 10785"/>
                  <a:gd name="connsiteY1472" fmla="*/ 923 h 10000"/>
                  <a:gd name="connsiteX1473" fmla="*/ 4562 w 10785"/>
                  <a:gd name="connsiteY1473" fmla="*/ 932 h 10000"/>
                  <a:gd name="connsiteX1474" fmla="*/ 4548 w 10785"/>
                  <a:gd name="connsiteY1474" fmla="*/ 957 h 10000"/>
                  <a:gd name="connsiteX1475" fmla="*/ 4544 w 10785"/>
                  <a:gd name="connsiteY1475" fmla="*/ 957 h 10000"/>
                  <a:gd name="connsiteX1476" fmla="*/ 4521 w 10785"/>
                  <a:gd name="connsiteY1476" fmla="*/ 983 h 10000"/>
                  <a:gd name="connsiteX1477" fmla="*/ 4521 w 10785"/>
                  <a:gd name="connsiteY1477" fmla="*/ 983 h 10000"/>
                  <a:gd name="connsiteX1478" fmla="*/ 4530 w 10785"/>
                  <a:gd name="connsiteY1478" fmla="*/ 957 h 10000"/>
                  <a:gd name="connsiteX1479" fmla="*/ 4535 w 10785"/>
                  <a:gd name="connsiteY1479" fmla="*/ 932 h 10000"/>
                  <a:gd name="connsiteX1480" fmla="*/ 4521 w 10785"/>
                  <a:gd name="connsiteY1480" fmla="*/ 932 h 10000"/>
                  <a:gd name="connsiteX1481" fmla="*/ 4516 w 10785"/>
                  <a:gd name="connsiteY1481" fmla="*/ 923 h 10000"/>
                  <a:gd name="connsiteX1482" fmla="*/ 4516 w 10785"/>
                  <a:gd name="connsiteY1482" fmla="*/ 932 h 10000"/>
                  <a:gd name="connsiteX1483" fmla="*/ 4488 w 10785"/>
                  <a:gd name="connsiteY1483" fmla="*/ 940 h 10000"/>
                  <a:gd name="connsiteX1484" fmla="*/ 4484 w 10785"/>
                  <a:gd name="connsiteY1484" fmla="*/ 983 h 10000"/>
                  <a:gd name="connsiteX1485" fmla="*/ 4470 w 10785"/>
                  <a:gd name="connsiteY1485" fmla="*/ 983 h 10000"/>
                  <a:gd name="connsiteX1486" fmla="*/ 4470 w 10785"/>
                  <a:gd name="connsiteY1486" fmla="*/ 966 h 10000"/>
                  <a:gd name="connsiteX1487" fmla="*/ 4488 w 10785"/>
                  <a:gd name="connsiteY1487" fmla="*/ 923 h 10000"/>
                  <a:gd name="connsiteX1488" fmla="*/ 4493 w 10785"/>
                  <a:gd name="connsiteY1488" fmla="*/ 880 h 10000"/>
                  <a:gd name="connsiteX1489" fmla="*/ 4475 w 10785"/>
                  <a:gd name="connsiteY1489" fmla="*/ 846 h 10000"/>
                  <a:gd name="connsiteX1490" fmla="*/ 4442 w 10785"/>
                  <a:gd name="connsiteY1490" fmla="*/ 855 h 10000"/>
                  <a:gd name="connsiteX1491" fmla="*/ 4433 w 10785"/>
                  <a:gd name="connsiteY1491" fmla="*/ 855 h 10000"/>
                  <a:gd name="connsiteX1492" fmla="*/ 4433 w 10785"/>
                  <a:gd name="connsiteY1492" fmla="*/ 880 h 10000"/>
                  <a:gd name="connsiteX1493" fmla="*/ 4401 w 10785"/>
                  <a:gd name="connsiteY1493" fmla="*/ 855 h 10000"/>
                  <a:gd name="connsiteX1494" fmla="*/ 4396 w 10785"/>
                  <a:gd name="connsiteY1494" fmla="*/ 872 h 10000"/>
                  <a:gd name="connsiteX1495" fmla="*/ 4382 w 10785"/>
                  <a:gd name="connsiteY1495" fmla="*/ 897 h 10000"/>
                  <a:gd name="connsiteX1496" fmla="*/ 4373 w 10785"/>
                  <a:gd name="connsiteY1496" fmla="*/ 872 h 10000"/>
                  <a:gd name="connsiteX1497" fmla="*/ 4341 w 10785"/>
                  <a:gd name="connsiteY1497" fmla="*/ 872 h 10000"/>
                  <a:gd name="connsiteX1498" fmla="*/ 4336 w 10785"/>
                  <a:gd name="connsiteY1498" fmla="*/ 880 h 10000"/>
                  <a:gd name="connsiteX1499" fmla="*/ 4346 w 10785"/>
                  <a:gd name="connsiteY1499" fmla="*/ 897 h 10000"/>
                  <a:gd name="connsiteX1500" fmla="*/ 4346 w 10785"/>
                  <a:gd name="connsiteY1500" fmla="*/ 897 h 10000"/>
                  <a:gd name="connsiteX1501" fmla="*/ 4313 w 10785"/>
                  <a:gd name="connsiteY1501" fmla="*/ 906 h 10000"/>
                  <a:gd name="connsiteX1502" fmla="*/ 4313 w 10785"/>
                  <a:gd name="connsiteY1502" fmla="*/ 906 h 10000"/>
                  <a:gd name="connsiteX1503" fmla="*/ 4313 w 10785"/>
                  <a:gd name="connsiteY1503" fmla="*/ 880 h 10000"/>
                  <a:gd name="connsiteX1504" fmla="*/ 4309 w 10785"/>
                  <a:gd name="connsiteY1504" fmla="*/ 897 h 10000"/>
                  <a:gd name="connsiteX1505" fmla="*/ 4295 w 10785"/>
                  <a:gd name="connsiteY1505" fmla="*/ 923 h 10000"/>
                  <a:gd name="connsiteX1506" fmla="*/ 4286 w 10785"/>
                  <a:gd name="connsiteY1506" fmla="*/ 897 h 10000"/>
                  <a:gd name="connsiteX1507" fmla="*/ 4281 w 10785"/>
                  <a:gd name="connsiteY1507" fmla="*/ 906 h 10000"/>
                  <a:gd name="connsiteX1508" fmla="*/ 4281 w 10785"/>
                  <a:gd name="connsiteY1508" fmla="*/ 940 h 10000"/>
                  <a:gd name="connsiteX1509" fmla="*/ 4286 w 10785"/>
                  <a:gd name="connsiteY1509" fmla="*/ 957 h 10000"/>
                  <a:gd name="connsiteX1510" fmla="*/ 4309 w 10785"/>
                  <a:gd name="connsiteY1510" fmla="*/ 932 h 10000"/>
                  <a:gd name="connsiteX1511" fmla="*/ 4313 w 10785"/>
                  <a:gd name="connsiteY1511" fmla="*/ 957 h 10000"/>
                  <a:gd name="connsiteX1512" fmla="*/ 4313 w 10785"/>
                  <a:gd name="connsiteY1512" fmla="*/ 966 h 10000"/>
                  <a:gd name="connsiteX1513" fmla="*/ 4323 w 10785"/>
                  <a:gd name="connsiteY1513" fmla="*/ 966 h 10000"/>
                  <a:gd name="connsiteX1514" fmla="*/ 4323 w 10785"/>
                  <a:gd name="connsiteY1514" fmla="*/ 940 h 10000"/>
                  <a:gd name="connsiteX1515" fmla="*/ 4327 w 10785"/>
                  <a:gd name="connsiteY1515" fmla="*/ 940 h 10000"/>
                  <a:gd name="connsiteX1516" fmla="*/ 4327 w 10785"/>
                  <a:gd name="connsiteY1516" fmla="*/ 957 h 10000"/>
                  <a:gd name="connsiteX1517" fmla="*/ 4327 w 10785"/>
                  <a:gd name="connsiteY1517" fmla="*/ 966 h 10000"/>
                  <a:gd name="connsiteX1518" fmla="*/ 4323 w 10785"/>
                  <a:gd name="connsiteY1518" fmla="*/ 991 h 10000"/>
                  <a:gd name="connsiteX1519" fmla="*/ 4207 w 10785"/>
                  <a:gd name="connsiteY1519" fmla="*/ 1060 h 10000"/>
                  <a:gd name="connsiteX1520" fmla="*/ 4207 w 10785"/>
                  <a:gd name="connsiteY1520" fmla="*/ 1060 h 10000"/>
                  <a:gd name="connsiteX1521" fmla="*/ 4203 w 10785"/>
                  <a:gd name="connsiteY1521" fmla="*/ 1068 h 10000"/>
                  <a:gd name="connsiteX1522" fmla="*/ 4203 w 10785"/>
                  <a:gd name="connsiteY1522" fmla="*/ 1094 h 10000"/>
                  <a:gd name="connsiteX1523" fmla="*/ 4203 w 10785"/>
                  <a:gd name="connsiteY1523" fmla="*/ 1094 h 10000"/>
                  <a:gd name="connsiteX1524" fmla="*/ 4189 w 10785"/>
                  <a:gd name="connsiteY1524" fmla="*/ 1094 h 10000"/>
                  <a:gd name="connsiteX1525" fmla="*/ 4166 w 10785"/>
                  <a:gd name="connsiteY1525" fmla="*/ 1103 h 10000"/>
                  <a:gd name="connsiteX1526" fmla="*/ 4152 w 10785"/>
                  <a:gd name="connsiteY1526" fmla="*/ 1094 h 10000"/>
                  <a:gd name="connsiteX1527" fmla="*/ 4134 w 10785"/>
                  <a:gd name="connsiteY1527" fmla="*/ 1120 h 10000"/>
                  <a:gd name="connsiteX1528" fmla="*/ 4106 w 10785"/>
                  <a:gd name="connsiteY1528" fmla="*/ 1120 h 10000"/>
                  <a:gd name="connsiteX1529" fmla="*/ 4092 w 10785"/>
                  <a:gd name="connsiteY1529" fmla="*/ 1154 h 10000"/>
                  <a:gd name="connsiteX1530" fmla="*/ 4106 w 10785"/>
                  <a:gd name="connsiteY1530" fmla="*/ 1171 h 10000"/>
                  <a:gd name="connsiteX1531" fmla="*/ 4078 w 10785"/>
                  <a:gd name="connsiteY1531" fmla="*/ 1179 h 10000"/>
                  <a:gd name="connsiteX1532" fmla="*/ 4065 w 10785"/>
                  <a:gd name="connsiteY1532" fmla="*/ 1205 h 10000"/>
                  <a:gd name="connsiteX1533" fmla="*/ 4046 w 10785"/>
                  <a:gd name="connsiteY1533" fmla="*/ 1179 h 10000"/>
                  <a:gd name="connsiteX1534" fmla="*/ 4041 w 10785"/>
                  <a:gd name="connsiteY1534" fmla="*/ 1197 h 10000"/>
                  <a:gd name="connsiteX1535" fmla="*/ 4028 w 10785"/>
                  <a:gd name="connsiteY1535" fmla="*/ 1205 h 10000"/>
                  <a:gd name="connsiteX1536" fmla="*/ 4028 w 10785"/>
                  <a:gd name="connsiteY1536" fmla="*/ 1205 h 10000"/>
                  <a:gd name="connsiteX1537" fmla="*/ 4032 w 10785"/>
                  <a:gd name="connsiteY1537" fmla="*/ 1205 h 10000"/>
                  <a:gd name="connsiteX1538" fmla="*/ 4032 w 10785"/>
                  <a:gd name="connsiteY1538" fmla="*/ 1231 h 10000"/>
                  <a:gd name="connsiteX1539" fmla="*/ 4014 w 10785"/>
                  <a:gd name="connsiteY1539" fmla="*/ 1239 h 10000"/>
                  <a:gd name="connsiteX1540" fmla="*/ 4014 w 10785"/>
                  <a:gd name="connsiteY1540" fmla="*/ 1256 h 10000"/>
                  <a:gd name="connsiteX1541" fmla="*/ 4000 w 10785"/>
                  <a:gd name="connsiteY1541" fmla="*/ 1265 h 10000"/>
                  <a:gd name="connsiteX1542" fmla="*/ 3986 w 10785"/>
                  <a:gd name="connsiteY1542" fmla="*/ 1308 h 10000"/>
                  <a:gd name="connsiteX1543" fmla="*/ 3972 w 10785"/>
                  <a:gd name="connsiteY1543" fmla="*/ 1316 h 10000"/>
                  <a:gd name="connsiteX1544" fmla="*/ 3972 w 10785"/>
                  <a:gd name="connsiteY1544" fmla="*/ 1325 h 10000"/>
                  <a:gd name="connsiteX1545" fmla="*/ 3972 w 10785"/>
                  <a:gd name="connsiteY1545" fmla="*/ 1342 h 10000"/>
                  <a:gd name="connsiteX1546" fmla="*/ 3968 w 10785"/>
                  <a:gd name="connsiteY1546" fmla="*/ 1350 h 10000"/>
                  <a:gd name="connsiteX1547" fmla="*/ 3954 w 10785"/>
                  <a:gd name="connsiteY1547" fmla="*/ 1368 h 10000"/>
                  <a:gd name="connsiteX1548" fmla="*/ 3945 w 10785"/>
                  <a:gd name="connsiteY1548" fmla="*/ 1350 h 10000"/>
                  <a:gd name="connsiteX1549" fmla="*/ 3908 w 10785"/>
                  <a:gd name="connsiteY1549" fmla="*/ 1342 h 10000"/>
                  <a:gd name="connsiteX1550" fmla="*/ 3894 w 10785"/>
                  <a:gd name="connsiteY1550" fmla="*/ 1368 h 10000"/>
                  <a:gd name="connsiteX1551" fmla="*/ 3922 w 10785"/>
                  <a:gd name="connsiteY1551" fmla="*/ 1393 h 10000"/>
                  <a:gd name="connsiteX1552" fmla="*/ 3945 w 10785"/>
                  <a:gd name="connsiteY1552" fmla="*/ 1393 h 10000"/>
                  <a:gd name="connsiteX1553" fmla="*/ 3940 w 10785"/>
                  <a:gd name="connsiteY1553" fmla="*/ 1419 h 10000"/>
                  <a:gd name="connsiteX1554" fmla="*/ 3931 w 10785"/>
                  <a:gd name="connsiteY1554" fmla="*/ 1427 h 10000"/>
                  <a:gd name="connsiteX1555" fmla="*/ 3926 w 10785"/>
                  <a:gd name="connsiteY1555" fmla="*/ 1427 h 10000"/>
                  <a:gd name="connsiteX1556" fmla="*/ 3922 w 10785"/>
                  <a:gd name="connsiteY1556" fmla="*/ 1419 h 10000"/>
                  <a:gd name="connsiteX1557" fmla="*/ 3912 w 10785"/>
                  <a:gd name="connsiteY1557" fmla="*/ 1427 h 10000"/>
                  <a:gd name="connsiteX1558" fmla="*/ 3912 w 10785"/>
                  <a:gd name="connsiteY1558" fmla="*/ 1444 h 10000"/>
                  <a:gd name="connsiteX1559" fmla="*/ 3894 w 10785"/>
                  <a:gd name="connsiteY1559" fmla="*/ 1513 h 10000"/>
                  <a:gd name="connsiteX1560" fmla="*/ 3885 w 10785"/>
                  <a:gd name="connsiteY1560" fmla="*/ 1513 h 10000"/>
                  <a:gd name="connsiteX1561" fmla="*/ 3880 w 10785"/>
                  <a:gd name="connsiteY1561" fmla="*/ 1538 h 10000"/>
                  <a:gd name="connsiteX1562" fmla="*/ 3885 w 10785"/>
                  <a:gd name="connsiteY1562" fmla="*/ 1564 h 10000"/>
                  <a:gd name="connsiteX1563" fmla="*/ 3880 w 10785"/>
                  <a:gd name="connsiteY1563" fmla="*/ 1581 h 10000"/>
                  <a:gd name="connsiteX1564" fmla="*/ 3871 w 10785"/>
                  <a:gd name="connsiteY1564" fmla="*/ 1538 h 10000"/>
                  <a:gd name="connsiteX1565" fmla="*/ 3853 w 10785"/>
                  <a:gd name="connsiteY1565" fmla="*/ 1530 h 10000"/>
                  <a:gd name="connsiteX1566" fmla="*/ 3853 w 10785"/>
                  <a:gd name="connsiteY1566" fmla="*/ 1504 h 10000"/>
                  <a:gd name="connsiteX1567" fmla="*/ 3834 w 10785"/>
                  <a:gd name="connsiteY1567" fmla="*/ 1487 h 10000"/>
                  <a:gd name="connsiteX1568" fmla="*/ 3834 w 10785"/>
                  <a:gd name="connsiteY1568" fmla="*/ 1487 h 10000"/>
                  <a:gd name="connsiteX1569" fmla="*/ 3839 w 10785"/>
                  <a:gd name="connsiteY1569" fmla="*/ 1513 h 10000"/>
                  <a:gd name="connsiteX1570" fmla="*/ 3820 w 10785"/>
                  <a:gd name="connsiteY1570" fmla="*/ 1538 h 10000"/>
                  <a:gd name="connsiteX1571" fmla="*/ 3820 w 10785"/>
                  <a:gd name="connsiteY1571" fmla="*/ 1556 h 10000"/>
                  <a:gd name="connsiteX1572" fmla="*/ 3820 w 10785"/>
                  <a:gd name="connsiteY1572" fmla="*/ 1564 h 10000"/>
                  <a:gd name="connsiteX1573" fmla="*/ 3820 w 10785"/>
                  <a:gd name="connsiteY1573" fmla="*/ 1581 h 10000"/>
                  <a:gd name="connsiteX1574" fmla="*/ 3853 w 10785"/>
                  <a:gd name="connsiteY1574" fmla="*/ 1581 h 10000"/>
                  <a:gd name="connsiteX1575" fmla="*/ 3857 w 10785"/>
                  <a:gd name="connsiteY1575" fmla="*/ 1598 h 10000"/>
                  <a:gd name="connsiteX1576" fmla="*/ 3880 w 10785"/>
                  <a:gd name="connsiteY1576" fmla="*/ 1615 h 10000"/>
                  <a:gd name="connsiteX1577" fmla="*/ 3871 w 10785"/>
                  <a:gd name="connsiteY1577" fmla="*/ 1615 h 10000"/>
                  <a:gd name="connsiteX1578" fmla="*/ 3871 w 10785"/>
                  <a:gd name="connsiteY1578" fmla="*/ 1641 h 10000"/>
                  <a:gd name="connsiteX1579" fmla="*/ 3880 w 10785"/>
                  <a:gd name="connsiteY1579" fmla="*/ 1641 h 10000"/>
                  <a:gd name="connsiteX1580" fmla="*/ 3871 w 10785"/>
                  <a:gd name="connsiteY1580" fmla="*/ 1650 h 10000"/>
                  <a:gd name="connsiteX1581" fmla="*/ 3857 w 10785"/>
                  <a:gd name="connsiteY1581" fmla="*/ 1650 h 10000"/>
                  <a:gd name="connsiteX1582" fmla="*/ 3853 w 10785"/>
                  <a:gd name="connsiteY1582" fmla="*/ 1650 h 10000"/>
                  <a:gd name="connsiteX1583" fmla="*/ 3839 w 10785"/>
                  <a:gd name="connsiteY1583" fmla="*/ 1667 h 10000"/>
                  <a:gd name="connsiteX1584" fmla="*/ 3848 w 10785"/>
                  <a:gd name="connsiteY1584" fmla="*/ 1692 h 10000"/>
                  <a:gd name="connsiteX1585" fmla="*/ 3834 w 10785"/>
                  <a:gd name="connsiteY1585" fmla="*/ 1692 h 10000"/>
                  <a:gd name="connsiteX1586" fmla="*/ 3825 w 10785"/>
                  <a:gd name="connsiteY1586" fmla="*/ 1692 h 10000"/>
                  <a:gd name="connsiteX1587" fmla="*/ 3825 w 10785"/>
                  <a:gd name="connsiteY1587" fmla="*/ 1718 h 10000"/>
                  <a:gd name="connsiteX1588" fmla="*/ 3839 w 10785"/>
                  <a:gd name="connsiteY1588" fmla="*/ 1726 h 10000"/>
                  <a:gd name="connsiteX1589" fmla="*/ 3880 w 10785"/>
                  <a:gd name="connsiteY1589" fmla="*/ 1752 h 10000"/>
                  <a:gd name="connsiteX1590" fmla="*/ 3894 w 10785"/>
                  <a:gd name="connsiteY1590" fmla="*/ 1829 h 10000"/>
                  <a:gd name="connsiteX1591" fmla="*/ 3899 w 10785"/>
                  <a:gd name="connsiteY1591" fmla="*/ 1838 h 10000"/>
                  <a:gd name="connsiteX1592" fmla="*/ 3894 w 10785"/>
                  <a:gd name="connsiteY1592" fmla="*/ 1855 h 10000"/>
                  <a:gd name="connsiteX1593" fmla="*/ 3880 w 10785"/>
                  <a:gd name="connsiteY1593" fmla="*/ 1838 h 10000"/>
                  <a:gd name="connsiteX1594" fmla="*/ 3880 w 10785"/>
                  <a:gd name="connsiteY1594" fmla="*/ 1855 h 10000"/>
                  <a:gd name="connsiteX1595" fmla="*/ 3880 w 10785"/>
                  <a:gd name="connsiteY1595" fmla="*/ 1863 h 10000"/>
                  <a:gd name="connsiteX1596" fmla="*/ 3871 w 10785"/>
                  <a:gd name="connsiteY1596" fmla="*/ 1872 h 10000"/>
                  <a:gd name="connsiteX1597" fmla="*/ 3880 w 10785"/>
                  <a:gd name="connsiteY1597" fmla="*/ 1889 h 10000"/>
                  <a:gd name="connsiteX1598" fmla="*/ 3885 w 10785"/>
                  <a:gd name="connsiteY1598" fmla="*/ 1889 h 10000"/>
                  <a:gd name="connsiteX1599" fmla="*/ 3880 w 10785"/>
                  <a:gd name="connsiteY1599" fmla="*/ 1897 h 10000"/>
                  <a:gd name="connsiteX1600" fmla="*/ 3871 w 10785"/>
                  <a:gd name="connsiteY1600" fmla="*/ 1915 h 10000"/>
                  <a:gd name="connsiteX1601" fmla="*/ 3848 w 10785"/>
                  <a:gd name="connsiteY1601" fmla="*/ 1923 h 10000"/>
                  <a:gd name="connsiteX1602" fmla="*/ 3825 w 10785"/>
                  <a:gd name="connsiteY1602" fmla="*/ 1940 h 10000"/>
                  <a:gd name="connsiteX1603" fmla="*/ 3811 w 10785"/>
                  <a:gd name="connsiteY1603" fmla="*/ 1940 h 10000"/>
                  <a:gd name="connsiteX1604" fmla="*/ 3806 w 10785"/>
                  <a:gd name="connsiteY1604" fmla="*/ 1949 h 10000"/>
                  <a:gd name="connsiteX1605" fmla="*/ 3797 w 10785"/>
                  <a:gd name="connsiteY1605" fmla="*/ 1966 h 10000"/>
                  <a:gd name="connsiteX1606" fmla="*/ 3788 w 10785"/>
                  <a:gd name="connsiteY1606" fmla="*/ 1991 h 10000"/>
                  <a:gd name="connsiteX1607" fmla="*/ 3765 w 10785"/>
                  <a:gd name="connsiteY1607" fmla="*/ 1974 h 10000"/>
                  <a:gd name="connsiteX1608" fmla="*/ 3760 w 10785"/>
                  <a:gd name="connsiteY1608" fmla="*/ 1966 h 10000"/>
                  <a:gd name="connsiteX1609" fmla="*/ 3760 w 10785"/>
                  <a:gd name="connsiteY1609" fmla="*/ 1966 h 10000"/>
                  <a:gd name="connsiteX1610" fmla="*/ 3631 w 10785"/>
                  <a:gd name="connsiteY1610" fmla="*/ 2009 h 10000"/>
                  <a:gd name="connsiteX1611" fmla="*/ 3618 w 10785"/>
                  <a:gd name="connsiteY1611" fmla="*/ 2000 h 10000"/>
                  <a:gd name="connsiteX1612" fmla="*/ 3599 w 10785"/>
                  <a:gd name="connsiteY1612" fmla="*/ 2009 h 10000"/>
                  <a:gd name="connsiteX1613" fmla="*/ 3571 w 10785"/>
                  <a:gd name="connsiteY1613" fmla="*/ 2000 h 10000"/>
                  <a:gd name="connsiteX1614" fmla="*/ 3530 w 10785"/>
                  <a:gd name="connsiteY1614" fmla="*/ 2026 h 10000"/>
                  <a:gd name="connsiteX1615" fmla="*/ 3530 w 10785"/>
                  <a:gd name="connsiteY1615" fmla="*/ 2034 h 10000"/>
                  <a:gd name="connsiteX1616" fmla="*/ 3525 w 10785"/>
                  <a:gd name="connsiteY1616" fmla="*/ 2051 h 10000"/>
                  <a:gd name="connsiteX1617" fmla="*/ 3512 w 10785"/>
                  <a:gd name="connsiteY1617" fmla="*/ 2034 h 10000"/>
                  <a:gd name="connsiteX1618" fmla="*/ 3507 w 10785"/>
                  <a:gd name="connsiteY1618" fmla="*/ 2034 h 10000"/>
                  <a:gd name="connsiteX1619" fmla="*/ 3498 w 10785"/>
                  <a:gd name="connsiteY1619" fmla="*/ 2051 h 10000"/>
                  <a:gd name="connsiteX1620" fmla="*/ 3484 w 10785"/>
                  <a:gd name="connsiteY1620" fmla="*/ 2060 h 10000"/>
                  <a:gd name="connsiteX1621" fmla="*/ 3484 w 10785"/>
                  <a:gd name="connsiteY1621" fmla="*/ 2085 h 10000"/>
                  <a:gd name="connsiteX1622" fmla="*/ 3484 w 10785"/>
                  <a:gd name="connsiteY1622" fmla="*/ 2103 h 10000"/>
                  <a:gd name="connsiteX1623" fmla="*/ 3493 w 10785"/>
                  <a:gd name="connsiteY1623" fmla="*/ 2103 h 10000"/>
                  <a:gd name="connsiteX1624" fmla="*/ 3493 w 10785"/>
                  <a:gd name="connsiteY1624" fmla="*/ 2085 h 10000"/>
                  <a:gd name="connsiteX1625" fmla="*/ 3498 w 10785"/>
                  <a:gd name="connsiteY1625" fmla="*/ 2085 h 10000"/>
                  <a:gd name="connsiteX1626" fmla="*/ 3498 w 10785"/>
                  <a:gd name="connsiteY1626" fmla="*/ 2111 h 10000"/>
                  <a:gd name="connsiteX1627" fmla="*/ 3484 w 10785"/>
                  <a:gd name="connsiteY1627" fmla="*/ 2120 h 10000"/>
                  <a:gd name="connsiteX1628" fmla="*/ 3484 w 10785"/>
                  <a:gd name="connsiteY1628" fmla="*/ 2145 h 10000"/>
                  <a:gd name="connsiteX1629" fmla="*/ 3470 w 10785"/>
                  <a:gd name="connsiteY1629" fmla="*/ 2137 h 10000"/>
                  <a:gd name="connsiteX1630" fmla="*/ 3465 w 10785"/>
                  <a:gd name="connsiteY1630" fmla="*/ 2145 h 10000"/>
                  <a:gd name="connsiteX1631" fmla="*/ 3470 w 10785"/>
                  <a:gd name="connsiteY1631" fmla="*/ 2171 h 10000"/>
                  <a:gd name="connsiteX1632" fmla="*/ 3484 w 10785"/>
                  <a:gd name="connsiteY1632" fmla="*/ 2171 h 10000"/>
                  <a:gd name="connsiteX1633" fmla="*/ 3484 w 10785"/>
                  <a:gd name="connsiteY1633" fmla="*/ 2197 h 10000"/>
                  <a:gd name="connsiteX1634" fmla="*/ 3465 w 10785"/>
                  <a:gd name="connsiteY1634" fmla="*/ 2214 h 10000"/>
                  <a:gd name="connsiteX1635" fmla="*/ 3493 w 10785"/>
                  <a:gd name="connsiteY1635" fmla="*/ 2248 h 10000"/>
                  <a:gd name="connsiteX1636" fmla="*/ 3484 w 10785"/>
                  <a:gd name="connsiteY1636" fmla="*/ 2256 h 10000"/>
                  <a:gd name="connsiteX1637" fmla="*/ 3498 w 10785"/>
                  <a:gd name="connsiteY1637" fmla="*/ 2274 h 10000"/>
                  <a:gd name="connsiteX1638" fmla="*/ 3498 w 10785"/>
                  <a:gd name="connsiteY1638" fmla="*/ 2256 h 10000"/>
                  <a:gd name="connsiteX1639" fmla="*/ 3507 w 10785"/>
                  <a:gd name="connsiteY1639" fmla="*/ 2308 h 10000"/>
                  <a:gd name="connsiteX1640" fmla="*/ 3512 w 10785"/>
                  <a:gd name="connsiteY1640" fmla="*/ 2325 h 10000"/>
                  <a:gd name="connsiteX1641" fmla="*/ 3507 w 10785"/>
                  <a:gd name="connsiteY1641" fmla="*/ 2333 h 10000"/>
                  <a:gd name="connsiteX1642" fmla="*/ 3507 w 10785"/>
                  <a:gd name="connsiteY1642" fmla="*/ 2359 h 10000"/>
                  <a:gd name="connsiteX1643" fmla="*/ 3507 w 10785"/>
                  <a:gd name="connsiteY1643" fmla="*/ 2376 h 10000"/>
                  <a:gd name="connsiteX1644" fmla="*/ 3498 w 10785"/>
                  <a:gd name="connsiteY1644" fmla="*/ 2410 h 10000"/>
                  <a:gd name="connsiteX1645" fmla="*/ 3498 w 10785"/>
                  <a:gd name="connsiteY1645" fmla="*/ 2436 h 10000"/>
                  <a:gd name="connsiteX1646" fmla="*/ 3507 w 10785"/>
                  <a:gd name="connsiteY1646" fmla="*/ 2462 h 10000"/>
                  <a:gd name="connsiteX1647" fmla="*/ 3507 w 10785"/>
                  <a:gd name="connsiteY1647" fmla="*/ 2496 h 10000"/>
                  <a:gd name="connsiteX1648" fmla="*/ 3512 w 10785"/>
                  <a:gd name="connsiteY1648" fmla="*/ 2521 h 10000"/>
                  <a:gd name="connsiteX1649" fmla="*/ 3525 w 10785"/>
                  <a:gd name="connsiteY1649" fmla="*/ 2556 h 10000"/>
                  <a:gd name="connsiteX1650" fmla="*/ 3571 w 10785"/>
                  <a:gd name="connsiteY1650" fmla="*/ 2573 h 10000"/>
                  <a:gd name="connsiteX1651" fmla="*/ 3590 w 10785"/>
                  <a:gd name="connsiteY1651" fmla="*/ 2598 h 10000"/>
                  <a:gd name="connsiteX1652" fmla="*/ 3599 w 10785"/>
                  <a:gd name="connsiteY1652" fmla="*/ 2598 h 10000"/>
                  <a:gd name="connsiteX1653" fmla="*/ 3604 w 10785"/>
                  <a:gd name="connsiteY1653" fmla="*/ 2632 h 10000"/>
                  <a:gd name="connsiteX1654" fmla="*/ 3599 w 10785"/>
                  <a:gd name="connsiteY1654" fmla="*/ 2658 h 10000"/>
                  <a:gd name="connsiteX1655" fmla="*/ 3590 w 10785"/>
                  <a:gd name="connsiteY1655" fmla="*/ 2667 h 10000"/>
                  <a:gd name="connsiteX1656" fmla="*/ 3604 w 10785"/>
                  <a:gd name="connsiteY1656" fmla="*/ 2667 h 10000"/>
                  <a:gd name="connsiteX1657" fmla="*/ 3613 w 10785"/>
                  <a:gd name="connsiteY1657" fmla="*/ 2692 h 10000"/>
                  <a:gd name="connsiteX1658" fmla="*/ 3627 w 10785"/>
                  <a:gd name="connsiteY1658" fmla="*/ 2735 h 10000"/>
                  <a:gd name="connsiteX1659" fmla="*/ 3631 w 10785"/>
                  <a:gd name="connsiteY1659" fmla="*/ 2744 h 10000"/>
                  <a:gd name="connsiteX1660" fmla="*/ 3659 w 10785"/>
                  <a:gd name="connsiteY1660" fmla="*/ 2761 h 10000"/>
                  <a:gd name="connsiteX1661" fmla="*/ 3673 w 10785"/>
                  <a:gd name="connsiteY1661" fmla="*/ 2769 h 10000"/>
                  <a:gd name="connsiteX1662" fmla="*/ 3673 w 10785"/>
                  <a:gd name="connsiteY1662" fmla="*/ 2761 h 10000"/>
                  <a:gd name="connsiteX1663" fmla="*/ 3687 w 10785"/>
                  <a:gd name="connsiteY1663" fmla="*/ 2829 h 10000"/>
                  <a:gd name="connsiteX1664" fmla="*/ 3677 w 10785"/>
                  <a:gd name="connsiteY1664" fmla="*/ 2897 h 10000"/>
                  <a:gd name="connsiteX1665" fmla="*/ 3673 w 10785"/>
                  <a:gd name="connsiteY1665" fmla="*/ 2915 h 10000"/>
                  <a:gd name="connsiteX1666" fmla="*/ 3664 w 10785"/>
                  <a:gd name="connsiteY1666" fmla="*/ 2957 h 10000"/>
                  <a:gd name="connsiteX1667" fmla="*/ 3659 w 10785"/>
                  <a:gd name="connsiteY1667" fmla="*/ 2983 h 10000"/>
                  <a:gd name="connsiteX1668" fmla="*/ 3664 w 10785"/>
                  <a:gd name="connsiteY1668" fmla="*/ 3017 h 10000"/>
                  <a:gd name="connsiteX1669" fmla="*/ 3659 w 10785"/>
                  <a:gd name="connsiteY1669" fmla="*/ 3043 h 10000"/>
                  <a:gd name="connsiteX1670" fmla="*/ 3677 w 10785"/>
                  <a:gd name="connsiteY1670" fmla="*/ 3094 h 10000"/>
                  <a:gd name="connsiteX1671" fmla="*/ 3691 w 10785"/>
                  <a:gd name="connsiteY1671" fmla="*/ 3282 h 10000"/>
                  <a:gd name="connsiteX1672" fmla="*/ 3691 w 10785"/>
                  <a:gd name="connsiteY1672" fmla="*/ 3308 h 10000"/>
                  <a:gd name="connsiteX1673" fmla="*/ 3677 w 10785"/>
                  <a:gd name="connsiteY1673" fmla="*/ 3342 h 10000"/>
                  <a:gd name="connsiteX1674" fmla="*/ 3664 w 10785"/>
                  <a:gd name="connsiteY1674" fmla="*/ 3342 h 10000"/>
                  <a:gd name="connsiteX1675" fmla="*/ 3650 w 10785"/>
                  <a:gd name="connsiteY1675" fmla="*/ 3342 h 10000"/>
                  <a:gd name="connsiteX1676" fmla="*/ 3650 w 10785"/>
                  <a:gd name="connsiteY1676" fmla="*/ 3350 h 10000"/>
                  <a:gd name="connsiteX1677" fmla="*/ 3659 w 10785"/>
                  <a:gd name="connsiteY1677" fmla="*/ 3402 h 10000"/>
                  <a:gd name="connsiteX1678" fmla="*/ 3659 w 10785"/>
                  <a:gd name="connsiteY1678" fmla="*/ 3419 h 10000"/>
                  <a:gd name="connsiteX1679" fmla="*/ 3631 w 10785"/>
                  <a:gd name="connsiteY1679" fmla="*/ 3402 h 10000"/>
                  <a:gd name="connsiteX1680" fmla="*/ 3604 w 10785"/>
                  <a:gd name="connsiteY1680" fmla="*/ 3393 h 10000"/>
                  <a:gd name="connsiteX1681" fmla="*/ 3599 w 10785"/>
                  <a:gd name="connsiteY1681" fmla="*/ 3368 h 10000"/>
                  <a:gd name="connsiteX1682" fmla="*/ 3590 w 10785"/>
                  <a:gd name="connsiteY1682" fmla="*/ 3239 h 10000"/>
                  <a:gd name="connsiteX1683" fmla="*/ 3599 w 10785"/>
                  <a:gd name="connsiteY1683" fmla="*/ 3179 h 10000"/>
                  <a:gd name="connsiteX1684" fmla="*/ 3599 w 10785"/>
                  <a:gd name="connsiteY1684" fmla="*/ 3171 h 10000"/>
                  <a:gd name="connsiteX1685" fmla="*/ 3599 w 10785"/>
                  <a:gd name="connsiteY1685" fmla="*/ 3009 h 10000"/>
                  <a:gd name="connsiteX1686" fmla="*/ 3604 w 10785"/>
                  <a:gd name="connsiteY1686" fmla="*/ 2983 h 10000"/>
                  <a:gd name="connsiteX1687" fmla="*/ 3645 w 10785"/>
                  <a:gd name="connsiteY1687" fmla="*/ 2932 h 10000"/>
                  <a:gd name="connsiteX1688" fmla="*/ 3650 w 10785"/>
                  <a:gd name="connsiteY1688" fmla="*/ 2872 h 10000"/>
                  <a:gd name="connsiteX1689" fmla="*/ 3659 w 10785"/>
                  <a:gd name="connsiteY1689" fmla="*/ 2855 h 10000"/>
                  <a:gd name="connsiteX1690" fmla="*/ 3659 w 10785"/>
                  <a:gd name="connsiteY1690" fmla="*/ 2821 h 10000"/>
                  <a:gd name="connsiteX1691" fmla="*/ 3631 w 10785"/>
                  <a:gd name="connsiteY1691" fmla="*/ 2795 h 10000"/>
                  <a:gd name="connsiteX1692" fmla="*/ 3567 w 10785"/>
                  <a:gd name="connsiteY1692" fmla="*/ 2821 h 10000"/>
                  <a:gd name="connsiteX1693" fmla="*/ 3544 w 10785"/>
                  <a:gd name="connsiteY1693" fmla="*/ 2795 h 10000"/>
                  <a:gd name="connsiteX1694" fmla="*/ 3530 w 10785"/>
                  <a:gd name="connsiteY1694" fmla="*/ 2769 h 10000"/>
                  <a:gd name="connsiteX1695" fmla="*/ 3530 w 10785"/>
                  <a:gd name="connsiteY1695" fmla="*/ 2786 h 10000"/>
                  <a:gd name="connsiteX1696" fmla="*/ 3498 w 10785"/>
                  <a:gd name="connsiteY1696" fmla="*/ 2692 h 10000"/>
                  <a:gd name="connsiteX1697" fmla="*/ 3498 w 10785"/>
                  <a:gd name="connsiteY1697" fmla="*/ 2667 h 10000"/>
                  <a:gd name="connsiteX1698" fmla="*/ 3442 w 10785"/>
                  <a:gd name="connsiteY1698" fmla="*/ 2607 h 10000"/>
                  <a:gd name="connsiteX1699" fmla="*/ 3433 w 10785"/>
                  <a:gd name="connsiteY1699" fmla="*/ 2581 h 10000"/>
                  <a:gd name="connsiteX1700" fmla="*/ 3396 w 10785"/>
                  <a:gd name="connsiteY1700" fmla="*/ 2556 h 10000"/>
                  <a:gd name="connsiteX1701" fmla="*/ 3318 w 10785"/>
                  <a:gd name="connsiteY1701" fmla="*/ 2556 h 10000"/>
                  <a:gd name="connsiteX1702" fmla="*/ 3304 w 10785"/>
                  <a:gd name="connsiteY1702" fmla="*/ 2607 h 10000"/>
                  <a:gd name="connsiteX1703" fmla="*/ 3276 w 10785"/>
                  <a:gd name="connsiteY1703" fmla="*/ 2632 h 10000"/>
                  <a:gd name="connsiteX1704" fmla="*/ 3272 w 10785"/>
                  <a:gd name="connsiteY1704" fmla="*/ 2667 h 10000"/>
                  <a:gd name="connsiteX1705" fmla="*/ 3304 w 10785"/>
                  <a:gd name="connsiteY1705" fmla="*/ 2667 h 10000"/>
                  <a:gd name="connsiteX1706" fmla="*/ 3323 w 10785"/>
                  <a:gd name="connsiteY1706" fmla="*/ 2692 h 10000"/>
                  <a:gd name="connsiteX1707" fmla="*/ 3318 w 10785"/>
                  <a:gd name="connsiteY1707" fmla="*/ 2735 h 10000"/>
                  <a:gd name="connsiteX1708" fmla="*/ 3304 w 10785"/>
                  <a:gd name="connsiteY1708" fmla="*/ 2761 h 10000"/>
                  <a:gd name="connsiteX1709" fmla="*/ 3276 w 10785"/>
                  <a:gd name="connsiteY1709" fmla="*/ 2769 h 10000"/>
                  <a:gd name="connsiteX1710" fmla="*/ 3263 w 10785"/>
                  <a:gd name="connsiteY1710" fmla="*/ 2795 h 10000"/>
                  <a:gd name="connsiteX1711" fmla="*/ 3235 w 10785"/>
                  <a:gd name="connsiteY1711" fmla="*/ 2803 h 10000"/>
                  <a:gd name="connsiteX1712" fmla="*/ 3235 w 10785"/>
                  <a:gd name="connsiteY1712" fmla="*/ 2786 h 10000"/>
                  <a:gd name="connsiteX1713" fmla="*/ 3212 w 10785"/>
                  <a:gd name="connsiteY1713" fmla="*/ 2709 h 10000"/>
                  <a:gd name="connsiteX1714" fmla="*/ 3198 w 10785"/>
                  <a:gd name="connsiteY1714" fmla="*/ 2709 h 10000"/>
                  <a:gd name="connsiteX1715" fmla="*/ 3184 w 10785"/>
                  <a:gd name="connsiteY1715" fmla="*/ 2735 h 10000"/>
                  <a:gd name="connsiteX1716" fmla="*/ 3189 w 10785"/>
                  <a:gd name="connsiteY1716" fmla="*/ 2761 h 10000"/>
                  <a:gd name="connsiteX1717" fmla="*/ 3203 w 10785"/>
                  <a:gd name="connsiteY1717" fmla="*/ 2855 h 10000"/>
                  <a:gd name="connsiteX1718" fmla="*/ 3212 w 10785"/>
                  <a:gd name="connsiteY1718" fmla="*/ 2872 h 10000"/>
                  <a:gd name="connsiteX1719" fmla="*/ 3235 w 10785"/>
                  <a:gd name="connsiteY1719" fmla="*/ 2906 h 10000"/>
                  <a:gd name="connsiteX1720" fmla="*/ 3258 w 10785"/>
                  <a:gd name="connsiteY1720" fmla="*/ 2915 h 10000"/>
                  <a:gd name="connsiteX1721" fmla="*/ 3272 w 10785"/>
                  <a:gd name="connsiteY1721" fmla="*/ 2957 h 10000"/>
                  <a:gd name="connsiteX1722" fmla="*/ 3276 w 10785"/>
                  <a:gd name="connsiteY1722" fmla="*/ 2957 h 10000"/>
                  <a:gd name="connsiteX1723" fmla="*/ 3286 w 10785"/>
                  <a:gd name="connsiteY1723" fmla="*/ 2966 h 10000"/>
                  <a:gd name="connsiteX1724" fmla="*/ 3300 w 10785"/>
                  <a:gd name="connsiteY1724" fmla="*/ 2957 h 10000"/>
                  <a:gd name="connsiteX1725" fmla="*/ 3309 w 10785"/>
                  <a:gd name="connsiteY1725" fmla="*/ 2932 h 10000"/>
                  <a:gd name="connsiteX1726" fmla="*/ 3304 w 10785"/>
                  <a:gd name="connsiteY1726" fmla="*/ 2966 h 10000"/>
                  <a:gd name="connsiteX1727" fmla="*/ 3309 w 10785"/>
                  <a:gd name="connsiteY1727" fmla="*/ 2983 h 10000"/>
                  <a:gd name="connsiteX1728" fmla="*/ 3323 w 10785"/>
                  <a:gd name="connsiteY1728" fmla="*/ 2966 h 10000"/>
                  <a:gd name="connsiteX1729" fmla="*/ 3323 w 10785"/>
                  <a:gd name="connsiteY1729" fmla="*/ 3043 h 10000"/>
                  <a:gd name="connsiteX1730" fmla="*/ 3346 w 10785"/>
                  <a:gd name="connsiteY1730" fmla="*/ 3068 h 10000"/>
                  <a:gd name="connsiteX1731" fmla="*/ 3346 w 10785"/>
                  <a:gd name="connsiteY1731" fmla="*/ 3094 h 10000"/>
                  <a:gd name="connsiteX1732" fmla="*/ 3323 w 10785"/>
                  <a:gd name="connsiteY1732" fmla="*/ 3094 h 10000"/>
                  <a:gd name="connsiteX1733" fmla="*/ 3309 w 10785"/>
                  <a:gd name="connsiteY1733" fmla="*/ 3077 h 10000"/>
                  <a:gd name="connsiteX1734" fmla="*/ 3304 w 10785"/>
                  <a:gd name="connsiteY1734" fmla="*/ 3051 h 10000"/>
                  <a:gd name="connsiteX1735" fmla="*/ 3300 w 10785"/>
                  <a:gd name="connsiteY1735" fmla="*/ 3043 h 10000"/>
                  <a:gd name="connsiteX1736" fmla="*/ 3286 w 10785"/>
                  <a:gd name="connsiteY1736" fmla="*/ 3017 h 10000"/>
                  <a:gd name="connsiteX1737" fmla="*/ 3152 w 10785"/>
                  <a:gd name="connsiteY1737" fmla="*/ 2966 h 10000"/>
                  <a:gd name="connsiteX1738" fmla="*/ 3129 w 10785"/>
                  <a:gd name="connsiteY1738" fmla="*/ 2915 h 10000"/>
                  <a:gd name="connsiteX1739" fmla="*/ 3129 w 10785"/>
                  <a:gd name="connsiteY1739" fmla="*/ 2906 h 10000"/>
                  <a:gd name="connsiteX1740" fmla="*/ 3152 w 10785"/>
                  <a:gd name="connsiteY1740" fmla="*/ 2906 h 10000"/>
                  <a:gd name="connsiteX1741" fmla="*/ 3152 w 10785"/>
                  <a:gd name="connsiteY1741" fmla="*/ 2846 h 10000"/>
                  <a:gd name="connsiteX1742" fmla="*/ 3138 w 10785"/>
                  <a:gd name="connsiteY1742" fmla="*/ 2795 h 10000"/>
                  <a:gd name="connsiteX1743" fmla="*/ 3138 w 10785"/>
                  <a:gd name="connsiteY1743" fmla="*/ 2769 h 10000"/>
                  <a:gd name="connsiteX1744" fmla="*/ 3143 w 10785"/>
                  <a:gd name="connsiteY1744" fmla="*/ 2718 h 10000"/>
                  <a:gd name="connsiteX1745" fmla="*/ 3129 w 10785"/>
                  <a:gd name="connsiteY1745" fmla="*/ 2692 h 10000"/>
                  <a:gd name="connsiteX1746" fmla="*/ 3143 w 10785"/>
                  <a:gd name="connsiteY1746" fmla="*/ 2667 h 10000"/>
                  <a:gd name="connsiteX1747" fmla="*/ 3157 w 10785"/>
                  <a:gd name="connsiteY1747" fmla="*/ 2581 h 10000"/>
                  <a:gd name="connsiteX1748" fmla="*/ 3143 w 10785"/>
                  <a:gd name="connsiteY1748" fmla="*/ 2496 h 10000"/>
                  <a:gd name="connsiteX1749" fmla="*/ 3157 w 10785"/>
                  <a:gd name="connsiteY1749" fmla="*/ 2487 h 10000"/>
                  <a:gd name="connsiteX1750" fmla="*/ 3143 w 10785"/>
                  <a:gd name="connsiteY1750" fmla="*/ 2444 h 10000"/>
                  <a:gd name="connsiteX1751" fmla="*/ 3143 w 10785"/>
                  <a:gd name="connsiteY1751" fmla="*/ 2419 h 10000"/>
                  <a:gd name="connsiteX1752" fmla="*/ 3143 w 10785"/>
                  <a:gd name="connsiteY1752" fmla="*/ 2410 h 10000"/>
                  <a:gd name="connsiteX1753" fmla="*/ 3124 w 10785"/>
                  <a:gd name="connsiteY1753" fmla="*/ 2376 h 10000"/>
                  <a:gd name="connsiteX1754" fmla="*/ 3115 w 10785"/>
                  <a:gd name="connsiteY1754" fmla="*/ 2350 h 10000"/>
                  <a:gd name="connsiteX1755" fmla="*/ 3101 w 10785"/>
                  <a:gd name="connsiteY1755" fmla="*/ 2359 h 10000"/>
                  <a:gd name="connsiteX1756" fmla="*/ 3115 w 10785"/>
                  <a:gd name="connsiteY1756" fmla="*/ 2581 h 10000"/>
                  <a:gd name="connsiteX1757" fmla="*/ 3111 w 10785"/>
                  <a:gd name="connsiteY1757" fmla="*/ 2624 h 10000"/>
                  <a:gd name="connsiteX1758" fmla="*/ 3009 w 10785"/>
                  <a:gd name="connsiteY1758" fmla="*/ 2761 h 10000"/>
                  <a:gd name="connsiteX1759" fmla="*/ 3009 w 10785"/>
                  <a:gd name="connsiteY1759" fmla="*/ 2803 h 10000"/>
                  <a:gd name="connsiteX1760" fmla="*/ 3005 w 10785"/>
                  <a:gd name="connsiteY1760" fmla="*/ 2829 h 10000"/>
                  <a:gd name="connsiteX1761" fmla="*/ 2982 w 10785"/>
                  <a:gd name="connsiteY1761" fmla="*/ 2872 h 10000"/>
                  <a:gd name="connsiteX1762" fmla="*/ 2982 w 10785"/>
                  <a:gd name="connsiteY1762" fmla="*/ 2880 h 10000"/>
                  <a:gd name="connsiteX1763" fmla="*/ 3037 w 10785"/>
                  <a:gd name="connsiteY1763" fmla="*/ 3034 h 10000"/>
                  <a:gd name="connsiteX1764" fmla="*/ 3041 w 10785"/>
                  <a:gd name="connsiteY1764" fmla="*/ 3103 h 10000"/>
                  <a:gd name="connsiteX1765" fmla="*/ 3069 w 10785"/>
                  <a:gd name="connsiteY1765" fmla="*/ 3188 h 10000"/>
                  <a:gd name="connsiteX1766" fmla="*/ 3055 w 10785"/>
                  <a:gd name="connsiteY1766" fmla="*/ 3325 h 10000"/>
                  <a:gd name="connsiteX1767" fmla="*/ 3037 w 10785"/>
                  <a:gd name="connsiteY1767" fmla="*/ 3368 h 10000"/>
                  <a:gd name="connsiteX1768" fmla="*/ 3037 w 10785"/>
                  <a:gd name="connsiteY1768" fmla="*/ 3444 h 10000"/>
                  <a:gd name="connsiteX1769" fmla="*/ 3028 w 10785"/>
                  <a:gd name="connsiteY1769" fmla="*/ 3453 h 10000"/>
                  <a:gd name="connsiteX1770" fmla="*/ 3023 w 10785"/>
                  <a:gd name="connsiteY1770" fmla="*/ 3530 h 10000"/>
                  <a:gd name="connsiteX1771" fmla="*/ 3051 w 10785"/>
                  <a:gd name="connsiteY1771" fmla="*/ 3624 h 10000"/>
                  <a:gd name="connsiteX1772" fmla="*/ 3037 w 10785"/>
                  <a:gd name="connsiteY1772" fmla="*/ 3718 h 10000"/>
                  <a:gd name="connsiteX1773" fmla="*/ 3041 w 10785"/>
                  <a:gd name="connsiteY1773" fmla="*/ 3752 h 10000"/>
                  <a:gd name="connsiteX1774" fmla="*/ 3055 w 10785"/>
                  <a:gd name="connsiteY1774" fmla="*/ 3761 h 10000"/>
                  <a:gd name="connsiteX1775" fmla="*/ 3078 w 10785"/>
                  <a:gd name="connsiteY1775" fmla="*/ 3752 h 10000"/>
                  <a:gd name="connsiteX1776" fmla="*/ 3092 w 10785"/>
                  <a:gd name="connsiteY1776" fmla="*/ 3752 h 10000"/>
                  <a:gd name="connsiteX1777" fmla="*/ 3129 w 10785"/>
                  <a:gd name="connsiteY1777" fmla="*/ 3761 h 10000"/>
                  <a:gd name="connsiteX1778" fmla="*/ 3129 w 10785"/>
                  <a:gd name="connsiteY1778" fmla="*/ 3735 h 10000"/>
                  <a:gd name="connsiteX1779" fmla="*/ 3157 w 10785"/>
                  <a:gd name="connsiteY1779" fmla="*/ 3718 h 10000"/>
                  <a:gd name="connsiteX1780" fmla="*/ 3184 w 10785"/>
                  <a:gd name="connsiteY1780" fmla="*/ 3718 h 10000"/>
                  <a:gd name="connsiteX1781" fmla="*/ 3290 w 10785"/>
                  <a:gd name="connsiteY1781" fmla="*/ 3838 h 10000"/>
                  <a:gd name="connsiteX1782" fmla="*/ 3300 w 10785"/>
                  <a:gd name="connsiteY1782" fmla="*/ 3846 h 10000"/>
                  <a:gd name="connsiteX1783" fmla="*/ 3300 w 10785"/>
                  <a:gd name="connsiteY1783" fmla="*/ 3915 h 10000"/>
                  <a:gd name="connsiteX1784" fmla="*/ 3318 w 10785"/>
                  <a:gd name="connsiteY1784" fmla="*/ 4000 h 10000"/>
                  <a:gd name="connsiteX1785" fmla="*/ 3323 w 10785"/>
                  <a:gd name="connsiteY1785" fmla="*/ 4000 h 10000"/>
                  <a:gd name="connsiteX1786" fmla="*/ 3323 w 10785"/>
                  <a:gd name="connsiteY1786" fmla="*/ 4034 h 10000"/>
                  <a:gd name="connsiteX1787" fmla="*/ 3318 w 10785"/>
                  <a:gd name="connsiteY1787" fmla="*/ 4051 h 10000"/>
                  <a:gd name="connsiteX1788" fmla="*/ 3300 w 10785"/>
                  <a:gd name="connsiteY1788" fmla="*/ 4051 h 10000"/>
                  <a:gd name="connsiteX1789" fmla="*/ 3290 w 10785"/>
                  <a:gd name="connsiteY1789" fmla="*/ 4077 h 10000"/>
                  <a:gd name="connsiteX1790" fmla="*/ 3286 w 10785"/>
                  <a:gd name="connsiteY1790" fmla="*/ 4103 h 10000"/>
                  <a:gd name="connsiteX1791" fmla="*/ 3286 w 10785"/>
                  <a:gd name="connsiteY1791" fmla="*/ 4197 h 10000"/>
                  <a:gd name="connsiteX1792" fmla="*/ 3290 w 10785"/>
                  <a:gd name="connsiteY1792" fmla="*/ 4214 h 10000"/>
                  <a:gd name="connsiteX1793" fmla="*/ 3304 w 10785"/>
                  <a:gd name="connsiteY1793" fmla="*/ 4214 h 10000"/>
                  <a:gd name="connsiteX1794" fmla="*/ 3323 w 10785"/>
                  <a:gd name="connsiteY1794" fmla="*/ 4239 h 10000"/>
                  <a:gd name="connsiteX1795" fmla="*/ 3350 w 10785"/>
                  <a:gd name="connsiteY1795" fmla="*/ 4222 h 10000"/>
                  <a:gd name="connsiteX1796" fmla="*/ 3369 w 10785"/>
                  <a:gd name="connsiteY1796" fmla="*/ 4256 h 10000"/>
                  <a:gd name="connsiteX1797" fmla="*/ 3369 w 10785"/>
                  <a:gd name="connsiteY1797" fmla="*/ 4256 h 10000"/>
                  <a:gd name="connsiteX1798" fmla="*/ 3336 w 10785"/>
                  <a:gd name="connsiteY1798" fmla="*/ 4274 h 10000"/>
                  <a:gd name="connsiteX1799" fmla="*/ 3323 w 10785"/>
                  <a:gd name="connsiteY1799" fmla="*/ 4274 h 10000"/>
                  <a:gd name="connsiteX1800" fmla="*/ 3290 w 10785"/>
                  <a:gd name="connsiteY1800" fmla="*/ 4274 h 10000"/>
                  <a:gd name="connsiteX1801" fmla="*/ 3286 w 10785"/>
                  <a:gd name="connsiteY1801" fmla="*/ 4239 h 10000"/>
                  <a:gd name="connsiteX1802" fmla="*/ 3263 w 10785"/>
                  <a:gd name="connsiteY1802" fmla="*/ 4214 h 10000"/>
                  <a:gd name="connsiteX1803" fmla="*/ 3258 w 10785"/>
                  <a:gd name="connsiteY1803" fmla="*/ 4188 h 10000"/>
                  <a:gd name="connsiteX1804" fmla="*/ 3263 w 10785"/>
                  <a:gd name="connsiteY1804" fmla="*/ 4171 h 10000"/>
                  <a:gd name="connsiteX1805" fmla="*/ 3263 w 10785"/>
                  <a:gd name="connsiteY1805" fmla="*/ 4103 h 10000"/>
                  <a:gd name="connsiteX1806" fmla="*/ 3276 w 10785"/>
                  <a:gd name="connsiteY1806" fmla="*/ 4060 h 10000"/>
                  <a:gd name="connsiteX1807" fmla="*/ 3272 w 10785"/>
                  <a:gd name="connsiteY1807" fmla="*/ 4051 h 10000"/>
                  <a:gd name="connsiteX1808" fmla="*/ 3263 w 10785"/>
                  <a:gd name="connsiteY1808" fmla="*/ 4051 h 10000"/>
                  <a:gd name="connsiteX1809" fmla="*/ 3263 w 10785"/>
                  <a:gd name="connsiteY1809" fmla="*/ 4034 h 10000"/>
                  <a:gd name="connsiteX1810" fmla="*/ 3263 w 10785"/>
                  <a:gd name="connsiteY1810" fmla="*/ 4000 h 10000"/>
                  <a:gd name="connsiteX1811" fmla="*/ 3272 w 10785"/>
                  <a:gd name="connsiteY1811" fmla="*/ 4000 h 10000"/>
                  <a:gd name="connsiteX1812" fmla="*/ 3272 w 10785"/>
                  <a:gd name="connsiteY1812" fmla="*/ 3974 h 10000"/>
                  <a:gd name="connsiteX1813" fmla="*/ 3272 w 10785"/>
                  <a:gd name="connsiteY1813" fmla="*/ 3966 h 10000"/>
                  <a:gd name="connsiteX1814" fmla="*/ 3272 w 10785"/>
                  <a:gd name="connsiteY1814" fmla="*/ 3949 h 10000"/>
                  <a:gd name="connsiteX1815" fmla="*/ 3258 w 10785"/>
                  <a:gd name="connsiteY1815" fmla="*/ 3923 h 10000"/>
                  <a:gd name="connsiteX1816" fmla="*/ 3249 w 10785"/>
                  <a:gd name="connsiteY1816" fmla="*/ 3915 h 10000"/>
                  <a:gd name="connsiteX1817" fmla="*/ 3244 w 10785"/>
                  <a:gd name="connsiteY1817" fmla="*/ 3897 h 10000"/>
                  <a:gd name="connsiteX1818" fmla="*/ 3230 w 10785"/>
                  <a:gd name="connsiteY1818" fmla="*/ 3889 h 10000"/>
                  <a:gd name="connsiteX1819" fmla="*/ 3230 w 10785"/>
                  <a:gd name="connsiteY1819" fmla="*/ 3863 h 10000"/>
                  <a:gd name="connsiteX1820" fmla="*/ 3230 w 10785"/>
                  <a:gd name="connsiteY1820" fmla="*/ 3838 h 10000"/>
                  <a:gd name="connsiteX1821" fmla="*/ 3226 w 10785"/>
                  <a:gd name="connsiteY1821" fmla="*/ 3803 h 10000"/>
                  <a:gd name="connsiteX1822" fmla="*/ 3138 w 10785"/>
                  <a:gd name="connsiteY1822" fmla="*/ 3838 h 10000"/>
                  <a:gd name="connsiteX1823" fmla="*/ 3078 w 10785"/>
                  <a:gd name="connsiteY1823" fmla="*/ 3889 h 10000"/>
                  <a:gd name="connsiteX1824" fmla="*/ 3078 w 10785"/>
                  <a:gd name="connsiteY1824" fmla="*/ 3940 h 10000"/>
                  <a:gd name="connsiteX1825" fmla="*/ 3069 w 10785"/>
                  <a:gd name="connsiteY1825" fmla="*/ 3983 h 10000"/>
                  <a:gd name="connsiteX1826" fmla="*/ 3069 w 10785"/>
                  <a:gd name="connsiteY1826" fmla="*/ 4009 h 10000"/>
                  <a:gd name="connsiteX1827" fmla="*/ 3078 w 10785"/>
                  <a:gd name="connsiteY1827" fmla="*/ 4026 h 10000"/>
                  <a:gd name="connsiteX1828" fmla="*/ 3083 w 10785"/>
                  <a:gd name="connsiteY1828" fmla="*/ 4034 h 10000"/>
                  <a:gd name="connsiteX1829" fmla="*/ 3092 w 10785"/>
                  <a:gd name="connsiteY1829" fmla="*/ 4060 h 10000"/>
                  <a:gd name="connsiteX1830" fmla="*/ 3092 w 10785"/>
                  <a:gd name="connsiteY1830" fmla="*/ 4077 h 10000"/>
                  <a:gd name="connsiteX1831" fmla="*/ 3097 w 10785"/>
                  <a:gd name="connsiteY1831" fmla="*/ 4103 h 10000"/>
                  <a:gd name="connsiteX1832" fmla="*/ 3101 w 10785"/>
                  <a:gd name="connsiteY1832" fmla="*/ 4162 h 10000"/>
                  <a:gd name="connsiteX1833" fmla="*/ 3097 w 10785"/>
                  <a:gd name="connsiteY1833" fmla="*/ 4222 h 10000"/>
                  <a:gd name="connsiteX1834" fmla="*/ 3041 w 10785"/>
                  <a:gd name="connsiteY1834" fmla="*/ 4325 h 10000"/>
                  <a:gd name="connsiteX1835" fmla="*/ 3037 w 10785"/>
                  <a:gd name="connsiteY1835" fmla="*/ 4419 h 10000"/>
                  <a:gd name="connsiteX1836" fmla="*/ 3018 w 10785"/>
                  <a:gd name="connsiteY1836" fmla="*/ 4470 h 10000"/>
                  <a:gd name="connsiteX1837" fmla="*/ 2991 w 10785"/>
                  <a:gd name="connsiteY1837" fmla="*/ 4513 h 10000"/>
                  <a:gd name="connsiteX1838" fmla="*/ 2977 w 10785"/>
                  <a:gd name="connsiteY1838" fmla="*/ 4530 h 10000"/>
                  <a:gd name="connsiteX1839" fmla="*/ 2945 w 10785"/>
                  <a:gd name="connsiteY1839" fmla="*/ 4556 h 10000"/>
                  <a:gd name="connsiteX1840" fmla="*/ 2935 w 10785"/>
                  <a:gd name="connsiteY1840" fmla="*/ 4581 h 10000"/>
                  <a:gd name="connsiteX1841" fmla="*/ 2949 w 10785"/>
                  <a:gd name="connsiteY1841" fmla="*/ 4624 h 10000"/>
                  <a:gd name="connsiteX1842" fmla="*/ 2945 w 10785"/>
                  <a:gd name="connsiteY1842" fmla="*/ 4658 h 10000"/>
                  <a:gd name="connsiteX1843" fmla="*/ 2922 w 10785"/>
                  <a:gd name="connsiteY1843" fmla="*/ 4667 h 10000"/>
                  <a:gd name="connsiteX1844" fmla="*/ 2876 w 10785"/>
                  <a:gd name="connsiteY1844" fmla="*/ 4632 h 10000"/>
                  <a:gd name="connsiteX1845" fmla="*/ 2857 w 10785"/>
                  <a:gd name="connsiteY1845" fmla="*/ 4632 h 10000"/>
                  <a:gd name="connsiteX1846" fmla="*/ 2820 w 10785"/>
                  <a:gd name="connsiteY1846" fmla="*/ 4641 h 10000"/>
                  <a:gd name="connsiteX1847" fmla="*/ 2797 w 10785"/>
                  <a:gd name="connsiteY1847" fmla="*/ 4632 h 10000"/>
                  <a:gd name="connsiteX1848" fmla="*/ 2788 w 10785"/>
                  <a:gd name="connsiteY1848" fmla="*/ 4624 h 10000"/>
                  <a:gd name="connsiteX1849" fmla="*/ 2788 w 10785"/>
                  <a:gd name="connsiteY1849" fmla="*/ 4598 h 10000"/>
                  <a:gd name="connsiteX1850" fmla="*/ 2797 w 10785"/>
                  <a:gd name="connsiteY1850" fmla="*/ 4581 h 10000"/>
                  <a:gd name="connsiteX1851" fmla="*/ 2788 w 10785"/>
                  <a:gd name="connsiteY1851" fmla="*/ 4530 h 10000"/>
                  <a:gd name="connsiteX1852" fmla="*/ 2774 w 10785"/>
                  <a:gd name="connsiteY1852" fmla="*/ 4530 h 10000"/>
                  <a:gd name="connsiteX1853" fmla="*/ 2770 w 10785"/>
                  <a:gd name="connsiteY1853" fmla="*/ 4513 h 10000"/>
                  <a:gd name="connsiteX1854" fmla="*/ 2774 w 10785"/>
                  <a:gd name="connsiteY1854" fmla="*/ 4513 h 10000"/>
                  <a:gd name="connsiteX1855" fmla="*/ 2788 w 10785"/>
                  <a:gd name="connsiteY1855" fmla="*/ 4496 h 10000"/>
                  <a:gd name="connsiteX1856" fmla="*/ 2802 w 10785"/>
                  <a:gd name="connsiteY1856" fmla="*/ 4513 h 10000"/>
                  <a:gd name="connsiteX1857" fmla="*/ 2811 w 10785"/>
                  <a:gd name="connsiteY1857" fmla="*/ 4530 h 10000"/>
                  <a:gd name="connsiteX1858" fmla="*/ 2820 w 10785"/>
                  <a:gd name="connsiteY1858" fmla="*/ 4521 h 10000"/>
                  <a:gd name="connsiteX1859" fmla="*/ 2829 w 10785"/>
                  <a:gd name="connsiteY1859" fmla="*/ 4513 h 10000"/>
                  <a:gd name="connsiteX1860" fmla="*/ 2843 w 10785"/>
                  <a:gd name="connsiteY1860" fmla="*/ 4513 h 10000"/>
                  <a:gd name="connsiteX1861" fmla="*/ 2848 w 10785"/>
                  <a:gd name="connsiteY1861" fmla="*/ 4470 h 10000"/>
                  <a:gd name="connsiteX1862" fmla="*/ 2862 w 10785"/>
                  <a:gd name="connsiteY1862" fmla="*/ 4487 h 10000"/>
                  <a:gd name="connsiteX1863" fmla="*/ 2876 w 10785"/>
                  <a:gd name="connsiteY1863" fmla="*/ 4470 h 10000"/>
                  <a:gd name="connsiteX1864" fmla="*/ 2880 w 10785"/>
                  <a:gd name="connsiteY1864" fmla="*/ 4462 h 10000"/>
                  <a:gd name="connsiteX1865" fmla="*/ 2889 w 10785"/>
                  <a:gd name="connsiteY1865" fmla="*/ 4444 h 10000"/>
                  <a:gd name="connsiteX1866" fmla="*/ 2894 w 10785"/>
                  <a:gd name="connsiteY1866" fmla="*/ 4462 h 10000"/>
                  <a:gd name="connsiteX1867" fmla="*/ 2917 w 10785"/>
                  <a:gd name="connsiteY1867" fmla="*/ 4444 h 10000"/>
                  <a:gd name="connsiteX1868" fmla="*/ 2922 w 10785"/>
                  <a:gd name="connsiteY1868" fmla="*/ 4436 h 10000"/>
                  <a:gd name="connsiteX1869" fmla="*/ 2917 w 10785"/>
                  <a:gd name="connsiteY1869" fmla="*/ 4410 h 10000"/>
                  <a:gd name="connsiteX1870" fmla="*/ 2894 w 10785"/>
                  <a:gd name="connsiteY1870" fmla="*/ 4410 h 10000"/>
                  <a:gd name="connsiteX1871" fmla="*/ 2889 w 10785"/>
                  <a:gd name="connsiteY1871" fmla="*/ 4419 h 10000"/>
                  <a:gd name="connsiteX1872" fmla="*/ 2876 w 10785"/>
                  <a:gd name="connsiteY1872" fmla="*/ 4410 h 10000"/>
                  <a:gd name="connsiteX1873" fmla="*/ 2880 w 10785"/>
                  <a:gd name="connsiteY1873" fmla="*/ 4376 h 10000"/>
                  <a:gd name="connsiteX1874" fmla="*/ 2903 w 10785"/>
                  <a:gd name="connsiteY1874" fmla="*/ 4393 h 10000"/>
                  <a:gd name="connsiteX1875" fmla="*/ 2931 w 10785"/>
                  <a:gd name="connsiteY1875" fmla="*/ 4393 h 10000"/>
                  <a:gd name="connsiteX1876" fmla="*/ 2931 w 10785"/>
                  <a:gd name="connsiteY1876" fmla="*/ 4385 h 10000"/>
                  <a:gd name="connsiteX1877" fmla="*/ 2931 w 10785"/>
                  <a:gd name="connsiteY1877" fmla="*/ 4350 h 10000"/>
                  <a:gd name="connsiteX1878" fmla="*/ 2945 w 10785"/>
                  <a:gd name="connsiteY1878" fmla="*/ 4350 h 10000"/>
                  <a:gd name="connsiteX1879" fmla="*/ 2949 w 10785"/>
                  <a:gd name="connsiteY1879" fmla="*/ 4325 h 10000"/>
                  <a:gd name="connsiteX1880" fmla="*/ 2963 w 10785"/>
                  <a:gd name="connsiteY1880" fmla="*/ 4256 h 10000"/>
                  <a:gd name="connsiteX1881" fmla="*/ 2982 w 10785"/>
                  <a:gd name="connsiteY1881" fmla="*/ 4239 h 10000"/>
                  <a:gd name="connsiteX1882" fmla="*/ 2991 w 10785"/>
                  <a:gd name="connsiteY1882" fmla="*/ 4214 h 10000"/>
                  <a:gd name="connsiteX1883" fmla="*/ 2991 w 10785"/>
                  <a:gd name="connsiteY1883" fmla="*/ 4197 h 10000"/>
                  <a:gd name="connsiteX1884" fmla="*/ 2995 w 10785"/>
                  <a:gd name="connsiteY1884" fmla="*/ 4171 h 10000"/>
                  <a:gd name="connsiteX1885" fmla="*/ 2991 w 10785"/>
                  <a:gd name="connsiteY1885" fmla="*/ 4077 h 10000"/>
                  <a:gd name="connsiteX1886" fmla="*/ 2995 w 10785"/>
                  <a:gd name="connsiteY1886" fmla="*/ 4034 h 10000"/>
                  <a:gd name="connsiteX1887" fmla="*/ 3018 w 10785"/>
                  <a:gd name="connsiteY1887" fmla="*/ 3983 h 10000"/>
                  <a:gd name="connsiteX1888" fmla="*/ 3018 w 10785"/>
                  <a:gd name="connsiteY1888" fmla="*/ 3915 h 10000"/>
                  <a:gd name="connsiteX1889" fmla="*/ 2949 w 10785"/>
                  <a:gd name="connsiteY1889" fmla="*/ 3778 h 10000"/>
                  <a:gd name="connsiteX1890" fmla="*/ 2954 w 10785"/>
                  <a:gd name="connsiteY1890" fmla="*/ 3675 h 10000"/>
                  <a:gd name="connsiteX1891" fmla="*/ 2954 w 10785"/>
                  <a:gd name="connsiteY1891" fmla="*/ 3650 h 10000"/>
                  <a:gd name="connsiteX1892" fmla="*/ 2963 w 10785"/>
                  <a:gd name="connsiteY1892" fmla="*/ 3624 h 10000"/>
                  <a:gd name="connsiteX1893" fmla="*/ 2954 w 10785"/>
                  <a:gd name="connsiteY1893" fmla="*/ 3564 h 10000"/>
                  <a:gd name="connsiteX1894" fmla="*/ 2963 w 10785"/>
                  <a:gd name="connsiteY1894" fmla="*/ 3538 h 10000"/>
                  <a:gd name="connsiteX1895" fmla="*/ 2963 w 10785"/>
                  <a:gd name="connsiteY1895" fmla="*/ 3487 h 10000"/>
                  <a:gd name="connsiteX1896" fmla="*/ 2963 w 10785"/>
                  <a:gd name="connsiteY1896" fmla="*/ 3479 h 10000"/>
                  <a:gd name="connsiteX1897" fmla="*/ 2963 w 10785"/>
                  <a:gd name="connsiteY1897" fmla="*/ 3462 h 10000"/>
                  <a:gd name="connsiteX1898" fmla="*/ 2954 w 10785"/>
                  <a:gd name="connsiteY1898" fmla="*/ 3453 h 10000"/>
                  <a:gd name="connsiteX1899" fmla="*/ 2954 w 10785"/>
                  <a:gd name="connsiteY1899" fmla="*/ 3444 h 10000"/>
                  <a:gd name="connsiteX1900" fmla="*/ 2954 w 10785"/>
                  <a:gd name="connsiteY1900" fmla="*/ 3402 h 10000"/>
                  <a:gd name="connsiteX1901" fmla="*/ 2954 w 10785"/>
                  <a:gd name="connsiteY1901" fmla="*/ 3393 h 10000"/>
                  <a:gd name="connsiteX1902" fmla="*/ 2949 w 10785"/>
                  <a:gd name="connsiteY1902" fmla="*/ 3376 h 10000"/>
                  <a:gd name="connsiteX1903" fmla="*/ 2949 w 10785"/>
                  <a:gd name="connsiteY1903" fmla="*/ 3342 h 10000"/>
                  <a:gd name="connsiteX1904" fmla="*/ 2949 w 10785"/>
                  <a:gd name="connsiteY1904" fmla="*/ 3316 h 10000"/>
                  <a:gd name="connsiteX1905" fmla="*/ 2968 w 10785"/>
                  <a:gd name="connsiteY1905" fmla="*/ 3291 h 10000"/>
                  <a:gd name="connsiteX1906" fmla="*/ 2963 w 10785"/>
                  <a:gd name="connsiteY1906" fmla="*/ 3205 h 10000"/>
                  <a:gd name="connsiteX1907" fmla="*/ 2968 w 10785"/>
                  <a:gd name="connsiteY1907" fmla="*/ 3171 h 10000"/>
                  <a:gd name="connsiteX1908" fmla="*/ 2968 w 10785"/>
                  <a:gd name="connsiteY1908" fmla="*/ 3128 h 10000"/>
                  <a:gd name="connsiteX1909" fmla="*/ 2954 w 10785"/>
                  <a:gd name="connsiteY1909" fmla="*/ 3051 h 10000"/>
                  <a:gd name="connsiteX1910" fmla="*/ 2954 w 10785"/>
                  <a:gd name="connsiteY1910" fmla="*/ 3009 h 10000"/>
                  <a:gd name="connsiteX1911" fmla="*/ 2922 w 10785"/>
                  <a:gd name="connsiteY1911" fmla="*/ 2940 h 10000"/>
                  <a:gd name="connsiteX1912" fmla="*/ 2903 w 10785"/>
                  <a:gd name="connsiteY1912" fmla="*/ 2880 h 10000"/>
                  <a:gd name="connsiteX1913" fmla="*/ 2903 w 10785"/>
                  <a:gd name="connsiteY1913" fmla="*/ 2855 h 10000"/>
                  <a:gd name="connsiteX1914" fmla="*/ 2908 w 10785"/>
                  <a:gd name="connsiteY1914" fmla="*/ 2846 h 10000"/>
                  <a:gd name="connsiteX1915" fmla="*/ 2931 w 10785"/>
                  <a:gd name="connsiteY1915" fmla="*/ 2821 h 10000"/>
                  <a:gd name="connsiteX1916" fmla="*/ 2931 w 10785"/>
                  <a:gd name="connsiteY1916" fmla="*/ 2803 h 10000"/>
                  <a:gd name="connsiteX1917" fmla="*/ 2935 w 10785"/>
                  <a:gd name="connsiteY1917" fmla="*/ 2786 h 10000"/>
                  <a:gd name="connsiteX1918" fmla="*/ 2935 w 10785"/>
                  <a:gd name="connsiteY1918" fmla="*/ 2744 h 10000"/>
                  <a:gd name="connsiteX1919" fmla="*/ 2963 w 10785"/>
                  <a:gd name="connsiteY1919" fmla="*/ 2607 h 10000"/>
                  <a:gd name="connsiteX1920" fmla="*/ 2963 w 10785"/>
                  <a:gd name="connsiteY1920" fmla="*/ 2419 h 10000"/>
                  <a:gd name="connsiteX1921" fmla="*/ 2954 w 10785"/>
                  <a:gd name="connsiteY1921" fmla="*/ 2410 h 10000"/>
                  <a:gd name="connsiteX1922" fmla="*/ 2963 w 10785"/>
                  <a:gd name="connsiteY1922" fmla="*/ 2393 h 10000"/>
                  <a:gd name="connsiteX1923" fmla="*/ 2908 w 10785"/>
                  <a:gd name="connsiteY1923" fmla="*/ 2359 h 10000"/>
                  <a:gd name="connsiteX1924" fmla="*/ 2889 w 10785"/>
                  <a:gd name="connsiteY1924" fmla="*/ 2325 h 10000"/>
                  <a:gd name="connsiteX1925" fmla="*/ 2788 w 10785"/>
                  <a:gd name="connsiteY1925" fmla="*/ 2333 h 10000"/>
                  <a:gd name="connsiteX1926" fmla="*/ 2774 w 10785"/>
                  <a:gd name="connsiteY1926" fmla="*/ 2325 h 10000"/>
                  <a:gd name="connsiteX1927" fmla="*/ 2783 w 10785"/>
                  <a:gd name="connsiteY1927" fmla="*/ 2308 h 10000"/>
                  <a:gd name="connsiteX1928" fmla="*/ 2747 w 10785"/>
                  <a:gd name="connsiteY1928" fmla="*/ 2308 h 10000"/>
                  <a:gd name="connsiteX1929" fmla="*/ 2742 w 10785"/>
                  <a:gd name="connsiteY1929" fmla="*/ 2333 h 10000"/>
                  <a:gd name="connsiteX1930" fmla="*/ 2682 w 10785"/>
                  <a:gd name="connsiteY1930" fmla="*/ 2769 h 10000"/>
                  <a:gd name="connsiteX1931" fmla="*/ 2613 w 10785"/>
                  <a:gd name="connsiteY1931" fmla="*/ 2940 h 10000"/>
                  <a:gd name="connsiteX1932" fmla="*/ 2581 w 10785"/>
                  <a:gd name="connsiteY1932" fmla="*/ 2966 h 10000"/>
                  <a:gd name="connsiteX1933" fmla="*/ 2576 w 10785"/>
                  <a:gd name="connsiteY1933" fmla="*/ 3051 h 10000"/>
                  <a:gd name="connsiteX1934" fmla="*/ 2581 w 10785"/>
                  <a:gd name="connsiteY1934" fmla="*/ 3051 h 10000"/>
                  <a:gd name="connsiteX1935" fmla="*/ 2594 w 10785"/>
                  <a:gd name="connsiteY1935" fmla="*/ 3017 h 10000"/>
                  <a:gd name="connsiteX1936" fmla="*/ 2594 w 10785"/>
                  <a:gd name="connsiteY1936" fmla="*/ 3034 h 10000"/>
                  <a:gd name="connsiteX1937" fmla="*/ 2594 w 10785"/>
                  <a:gd name="connsiteY1937" fmla="*/ 3051 h 10000"/>
                  <a:gd name="connsiteX1938" fmla="*/ 2590 w 10785"/>
                  <a:gd name="connsiteY1938" fmla="*/ 3077 h 10000"/>
                  <a:gd name="connsiteX1939" fmla="*/ 2567 w 10785"/>
                  <a:gd name="connsiteY1939" fmla="*/ 3103 h 10000"/>
                  <a:gd name="connsiteX1940" fmla="*/ 2562 w 10785"/>
                  <a:gd name="connsiteY1940" fmla="*/ 3145 h 10000"/>
                  <a:gd name="connsiteX1941" fmla="*/ 2567 w 10785"/>
                  <a:gd name="connsiteY1941" fmla="*/ 3179 h 10000"/>
                  <a:gd name="connsiteX1942" fmla="*/ 2590 w 10785"/>
                  <a:gd name="connsiteY1942" fmla="*/ 3171 h 10000"/>
                  <a:gd name="connsiteX1943" fmla="*/ 2594 w 10785"/>
                  <a:gd name="connsiteY1943" fmla="*/ 3145 h 10000"/>
                  <a:gd name="connsiteX1944" fmla="*/ 2613 w 10785"/>
                  <a:gd name="connsiteY1944" fmla="*/ 3154 h 10000"/>
                  <a:gd name="connsiteX1945" fmla="*/ 2622 w 10785"/>
                  <a:gd name="connsiteY1945" fmla="*/ 3179 h 10000"/>
                  <a:gd name="connsiteX1946" fmla="*/ 2613 w 10785"/>
                  <a:gd name="connsiteY1946" fmla="*/ 3214 h 10000"/>
                  <a:gd name="connsiteX1947" fmla="*/ 2613 w 10785"/>
                  <a:gd name="connsiteY1947" fmla="*/ 3308 h 10000"/>
                  <a:gd name="connsiteX1948" fmla="*/ 2608 w 10785"/>
                  <a:gd name="connsiteY1948" fmla="*/ 3325 h 10000"/>
                  <a:gd name="connsiteX1949" fmla="*/ 2608 w 10785"/>
                  <a:gd name="connsiteY1949" fmla="*/ 3376 h 10000"/>
                  <a:gd name="connsiteX1950" fmla="*/ 2613 w 10785"/>
                  <a:gd name="connsiteY1950" fmla="*/ 3419 h 10000"/>
                  <a:gd name="connsiteX1951" fmla="*/ 2608 w 10785"/>
                  <a:gd name="connsiteY1951" fmla="*/ 3444 h 10000"/>
                  <a:gd name="connsiteX1952" fmla="*/ 2594 w 10785"/>
                  <a:gd name="connsiteY1952" fmla="*/ 3444 h 10000"/>
                  <a:gd name="connsiteX1953" fmla="*/ 2590 w 10785"/>
                  <a:gd name="connsiteY1953" fmla="*/ 3427 h 10000"/>
                  <a:gd name="connsiteX1954" fmla="*/ 2581 w 10785"/>
                  <a:gd name="connsiteY1954" fmla="*/ 3564 h 10000"/>
                  <a:gd name="connsiteX1955" fmla="*/ 2594 w 10785"/>
                  <a:gd name="connsiteY1955" fmla="*/ 3598 h 10000"/>
                  <a:gd name="connsiteX1956" fmla="*/ 2594 w 10785"/>
                  <a:gd name="connsiteY1956" fmla="*/ 3581 h 10000"/>
                  <a:gd name="connsiteX1957" fmla="*/ 2608 w 10785"/>
                  <a:gd name="connsiteY1957" fmla="*/ 3556 h 10000"/>
                  <a:gd name="connsiteX1958" fmla="*/ 2650 w 10785"/>
                  <a:gd name="connsiteY1958" fmla="*/ 3615 h 10000"/>
                  <a:gd name="connsiteX1959" fmla="*/ 2664 w 10785"/>
                  <a:gd name="connsiteY1959" fmla="*/ 3615 h 10000"/>
                  <a:gd name="connsiteX1960" fmla="*/ 2668 w 10785"/>
                  <a:gd name="connsiteY1960" fmla="*/ 3615 h 10000"/>
                  <a:gd name="connsiteX1961" fmla="*/ 2664 w 10785"/>
                  <a:gd name="connsiteY1961" fmla="*/ 3667 h 10000"/>
                  <a:gd name="connsiteX1962" fmla="*/ 2687 w 10785"/>
                  <a:gd name="connsiteY1962" fmla="*/ 3786 h 10000"/>
                  <a:gd name="connsiteX1963" fmla="*/ 2710 w 10785"/>
                  <a:gd name="connsiteY1963" fmla="*/ 3812 h 10000"/>
                  <a:gd name="connsiteX1964" fmla="*/ 2724 w 10785"/>
                  <a:gd name="connsiteY1964" fmla="*/ 3812 h 10000"/>
                  <a:gd name="connsiteX1965" fmla="*/ 2724 w 10785"/>
                  <a:gd name="connsiteY1965" fmla="*/ 3829 h 10000"/>
                  <a:gd name="connsiteX1966" fmla="*/ 2737 w 10785"/>
                  <a:gd name="connsiteY1966" fmla="*/ 3838 h 10000"/>
                  <a:gd name="connsiteX1967" fmla="*/ 2714 w 10785"/>
                  <a:gd name="connsiteY1967" fmla="*/ 3872 h 10000"/>
                  <a:gd name="connsiteX1968" fmla="*/ 2696 w 10785"/>
                  <a:gd name="connsiteY1968" fmla="*/ 4026 h 10000"/>
                  <a:gd name="connsiteX1969" fmla="*/ 2673 w 10785"/>
                  <a:gd name="connsiteY1969" fmla="*/ 4051 h 10000"/>
                  <a:gd name="connsiteX1970" fmla="*/ 2668 w 10785"/>
                  <a:gd name="connsiteY1970" fmla="*/ 4034 h 10000"/>
                  <a:gd name="connsiteX1971" fmla="*/ 2673 w 10785"/>
                  <a:gd name="connsiteY1971" fmla="*/ 4000 h 10000"/>
                  <a:gd name="connsiteX1972" fmla="*/ 2664 w 10785"/>
                  <a:gd name="connsiteY1972" fmla="*/ 3974 h 10000"/>
                  <a:gd name="connsiteX1973" fmla="*/ 2636 w 10785"/>
                  <a:gd name="connsiteY1973" fmla="*/ 3949 h 10000"/>
                  <a:gd name="connsiteX1974" fmla="*/ 2581 w 10785"/>
                  <a:gd name="connsiteY1974" fmla="*/ 3838 h 10000"/>
                  <a:gd name="connsiteX1975" fmla="*/ 2562 w 10785"/>
                  <a:gd name="connsiteY1975" fmla="*/ 3829 h 10000"/>
                  <a:gd name="connsiteX1976" fmla="*/ 2535 w 10785"/>
                  <a:gd name="connsiteY1976" fmla="*/ 3778 h 10000"/>
                  <a:gd name="connsiteX1977" fmla="*/ 2502 w 10785"/>
                  <a:gd name="connsiteY1977" fmla="*/ 3761 h 10000"/>
                  <a:gd name="connsiteX1978" fmla="*/ 2502 w 10785"/>
                  <a:gd name="connsiteY1978" fmla="*/ 3735 h 10000"/>
                  <a:gd name="connsiteX1979" fmla="*/ 2516 w 10785"/>
                  <a:gd name="connsiteY1979" fmla="*/ 3735 h 10000"/>
                  <a:gd name="connsiteX1980" fmla="*/ 2507 w 10785"/>
                  <a:gd name="connsiteY1980" fmla="*/ 3726 h 10000"/>
                  <a:gd name="connsiteX1981" fmla="*/ 2488 w 10785"/>
                  <a:gd name="connsiteY1981" fmla="*/ 3726 h 10000"/>
                  <a:gd name="connsiteX1982" fmla="*/ 2461 w 10785"/>
                  <a:gd name="connsiteY1982" fmla="*/ 3692 h 10000"/>
                  <a:gd name="connsiteX1983" fmla="*/ 2442 w 10785"/>
                  <a:gd name="connsiteY1983" fmla="*/ 3675 h 10000"/>
                  <a:gd name="connsiteX1984" fmla="*/ 2406 w 10785"/>
                  <a:gd name="connsiteY1984" fmla="*/ 3598 h 10000"/>
                  <a:gd name="connsiteX1985" fmla="*/ 2346 w 10785"/>
                  <a:gd name="connsiteY1985" fmla="*/ 3564 h 10000"/>
                  <a:gd name="connsiteX1986" fmla="*/ 2341 w 10785"/>
                  <a:gd name="connsiteY1986" fmla="*/ 3564 h 10000"/>
                  <a:gd name="connsiteX1987" fmla="*/ 2313 w 10785"/>
                  <a:gd name="connsiteY1987" fmla="*/ 3530 h 10000"/>
                  <a:gd name="connsiteX1988" fmla="*/ 2235 w 10785"/>
                  <a:gd name="connsiteY1988" fmla="*/ 3530 h 10000"/>
                  <a:gd name="connsiteX1989" fmla="*/ 2226 w 10785"/>
                  <a:gd name="connsiteY1989" fmla="*/ 3513 h 10000"/>
                  <a:gd name="connsiteX1990" fmla="*/ 2207 w 10785"/>
                  <a:gd name="connsiteY1990" fmla="*/ 3504 h 10000"/>
                  <a:gd name="connsiteX1991" fmla="*/ 2194 w 10785"/>
                  <a:gd name="connsiteY1991" fmla="*/ 3504 h 10000"/>
                  <a:gd name="connsiteX1992" fmla="*/ 2189 w 10785"/>
                  <a:gd name="connsiteY1992" fmla="*/ 3504 h 10000"/>
                  <a:gd name="connsiteX1993" fmla="*/ 2189 w 10785"/>
                  <a:gd name="connsiteY1993" fmla="*/ 3530 h 10000"/>
                  <a:gd name="connsiteX1994" fmla="*/ 2180 w 10785"/>
                  <a:gd name="connsiteY1994" fmla="*/ 3538 h 10000"/>
                  <a:gd name="connsiteX1995" fmla="*/ 2152 w 10785"/>
                  <a:gd name="connsiteY1995" fmla="*/ 3581 h 10000"/>
                  <a:gd name="connsiteX1996" fmla="*/ 2161 w 10785"/>
                  <a:gd name="connsiteY1996" fmla="*/ 3598 h 10000"/>
                  <a:gd name="connsiteX1997" fmla="*/ 2194 w 10785"/>
                  <a:gd name="connsiteY1997" fmla="*/ 3752 h 10000"/>
                  <a:gd name="connsiteX1998" fmla="*/ 2194 w 10785"/>
                  <a:gd name="connsiteY1998" fmla="*/ 3735 h 10000"/>
                  <a:gd name="connsiteX1999" fmla="*/ 2198 w 10785"/>
                  <a:gd name="connsiteY1999" fmla="*/ 3735 h 10000"/>
                  <a:gd name="connsiteX2000" fmla="*/ 2189 w 10785"/>
                  <a:gd name="connsiteY2000" fmla="*/ 3838 h 10000"/>
                  <a:gd name="connsiteX2001" fmla="*/ 2166 w 10785"/>
                  <a:gd name="connsiteY2001" fmla="*/ 3889 h 10000"/>
                  <a:gd name="connsiteX2002" fmla="*/ 2124 w 10785"/>
                  <a:gd name="connsiteY2002" fmla="*/ 3889 h 10000"/>
                  <a:gd name="connsiteX2003" fmla="*/ 2124 w 10785"/>
                  <a:gd name="connsiteY2003" fmla="*/ 3923 h 10000"/>
                  <a:gd name="connsiteX2004" fmla="*/ 2134 w 10785"/>
                  <a:gd name="connsiteY2004" fmla="*/ 3940 h 10000"/>
                  <a:gd name="connsiteX2005" fmla="*/ 2134 w 10785"/>
                  <a:gd name="connsiteY2005" fmla="*/ 3966 h 10000"/>
                  <a:gd name="connsiteX2006" fmla="*/ 2120 w 10785"/>
                  <a:gd name="connsiteY2006" fmla="*/ 4000 h 10000"/>
                  <a:gd name="connsiteX2007" fmla="*/ 2106 w 10785"/>
                  <a:gd name="connsiteY2007" fmla="*/ 4009 h 10000"/>
                  <a:gd name="connsiteX2008" fmla="*/ 2088 w 10785"/>
                  <a:gd name="connsiteY2008" fmla="*/ 4000 h 10000"/>
                  <a:gd name="connsiteX2009" fmla="*/ 2074 w 10785"/>
                  <a:gd name="connsiteY2009" fmla="*/ 3974 h 10000"/>
                  <a:gd name="connsiteX2010" fmla="*/ 2074 w 10785"/>
                  <a:gd name="connsiteY2010" fmla="*/ 3940 h 10000"/>
                  <a:gd name="connsiteX2011" fmla="*/ 2078 w 10785"/>
                  <a:gd name="connsiteY2011" fmla="*/ 3915 h 10000"/>
                  <a:gd name="connsiteX2012" fmla="*/ 2088 w 10785"/>
                  <a:gd name="connsiteY2012" fmla="*/ 3889 h 10000"/>
                  <a:gd name="connsiteX2013" fmla="*/ 2101 w 10785"/>
                  <a:gd name="connsiteY2013" fmla="*/ 3872 h 10000"/>
                  <a:gd name="connsiteX2014" fmla="*/ 2074 w 10785"/>
                  <a:gd name="connsiteY2014" fmla="*/ 3812 h 10000"/>
                  <a:gd name="connsiteX2015" fmla="*/ 2074 w 10785"/>
                  <a:gd name="connsiteY2015" fmla="*/ 3786 h 10000"/>
                  <a:gd name="connsiteX2016" fmla="*/ 2060 w 10785"/>
                  <a:gd name="connsiteY2016" fmla="*/ 3786 h 10000"/>
                  <a:gd name="connsiteX2017" fmla="*/ 2014 w 10785"/>
                  <a:gd name="connsiteY2017" fmla="*/ 3829 h 10000"/>
                  <a:gd name="connsiteX2018" fmla="*/ 2000 w 10785"/>
                  <a:gd name="connsiteY2018" fmla="*/ 3863 h 10000"/>
                  <a:gd name="connsiteX2019" fmla="*/ 1986 w 10785"/>
                  <a:gd name="connsiteY2019" fmla="*/ 3872 h 10000"/>
                  <a:gd name="connsiteX2020" fmla="*/ 1959 w 10785"/>
                  <a:gd name="connsiteY2020" fmla="*/ 3940 h 10000"/>
                  <a:gd name="connsiteX2021" fmla="*/ 1945 w 10785"/>
                  <a:gd name="connsiteY2021" fmla="*/ 3949 h 10000"/>
                  <a:gd name="connsiteX2022" fmla="*/ 1940 w 10785"/>
                  <a:gd name="connsiteY2022" fmla="*/ 3923 h 10000"/>
                  <a:gd name="connsiteX2023" fmla="*/ 1917 w 10785"/>
                  <a:gd name="connsiteY2023" fmla="*/ 3915 h 10000"/>
                  <a:gd name="connsiteX2024" fmla="*/ 1899 w 10785"/>
                  <a:gd name="connsiteY2024" fmla="*/ 3923 h 10000"/>
                  <a:gd name="connsiteX2025" fmla="*/ 1880 w 10785"/>
                  <a:gd name="connsiteY2025" fmla="*/ 3915 h 10000"/>
                  <a:gd name="connsiteX2026" fmla="*/ 1853 w 10785"/>
                  <a:gd name="connsiteY2026" fmla="*/ 3940 h 10000"/>
                  <a:gd name="connsiteX2027" fmla="*/ 1839 w 10785"/>
                  <a:gd name="connsiteY2027" fmla="*/ 3940 h 10000"/>
                  <a:gd name="connsiteX2028" fmla="*/ 1806 w 10785"/>
                  <a:gd name="connsiteY2028" fmla="*/ 3983 h 10000"/>
                  <a:gd name="connsiteX2029" fmla="*/ 1806 w 10785"/>
                  <a:gd name="connsiteY2029" fmla="*/ 4000 h 10000"/>
                  <a:gd name="connsiteX2030" fmla="*/ 1797 w 10785"/>
                  <a:gd name="connsiteY2030" fmla="*/ 4077 h 10000"/>
                  <a:gd name="connsiteX2031" fmla="*/ 1783 w 10785"/>
                  <a:gd name="connsiteY2031" fmla="*/ 4077 h 10000"/>
                  <a:gd name="connsiteX2032" fmla="*/ 1779 w 10785"/>
                  <a:gd name="connsiteY2032" fmla="*/ 4051 h 10000"/>
                  <a:gd name="connsiteX2033" fmla="*/ 1765 w 10785"/>
                  <a:gd name="connsiteY2033" fmla="*/ 4026 h 10000"/>
                  <a:gd name="connsiteX2034" fmla="*/ 1751 w 10785"/>
                  <a:gd name="connsiteY2034" fmla="*/ 4051 h 10000"/>
                  <a:gd name="connsiteX2035" fmla="*/ 1737 w 10785"/>
                  <a:gd name="connsiteY2035" fmla="*/ 4009 h 10000"/>
                  <a:gd name="connsiteX2036" fmla="*/ 1737 w 10785"/>
                  <a:gd name="connsiteY2036" fmla="*/ 3966 h 10000"/>
                  <a:gd name="connsiteX2037" fmla="*/ 1733 w 10785"/>
                  <a:gd name="connsiteY2037" fmla="*/ 3940 h 10000"/>
                  <a:gd name="connsiteX2038" fmla="*/ 1733 w 10785"/>
                  <a:gd name="connsiteY2038" fmla="*/ 3923 h 10000"/>
                  <a:gd name="connsiteX2039" fmla="*/ 1747 w 10785"/>
                  <a:gd name="connsiteY2039" fmla="*/ 3889 h 10000"/>
                  <a:gd name="connsiteX2040" fmla="*/ 1747 w 10785"/>
                  <a:gd name="connsiteY2040" fmla="*/ 3863 h 10000"/>
                  <a:gd name="connsiteX2041" fmla="*/ 1737 w 10785"/>
                  <a:gd name="connsiteY2041" fmla="*/ 3838 h 10000"/>
                  <a:gd name="connsiteX2042" fmla="*/ 1733 w 10785"/>
                  <a:gd name="connsiteY2042" fmla="*/ 3829 h 10000"/>
                  <a:gd name="connsiteX2043" fmla="*/ 1733 w 10785"/>
                  <a:gd name="connsiteY2043" fmla="*/ 3846 h 10000"/>
                  <a:gd name="connsiteX2044" fmla="*/ 1724 w 10785"/>
                  <a:gd name="connsiteY2044" fmla="*/ 3846 h 10000"/>
                  <a:gd name="connsiteX2045" fmla="*/ 1724 w 10785"/>
                  <a:gd name="connsiteY2045" fmla="*/ 3829 h 10000"/>
                  <a:gd name="connsiteX2046" fmla="*/ 1737 w 10785"/>
                  <a:gd name="connsiteY2046" fmla="*/ 3812 h 10000"/>
                  <a:gd name="connsiteX2047" fmla="*/ 1765 w 10785"/>
                  <a:gd name="connsiteY2047" fmla="*/ 3812 h 10000"/>
                  <a:gd name="connsiteX2048" fmla="*/ 1779 w 10785"/>
                  <a:gd name="connsiteY2048" fmla="*/ 3786 h 10000"/>
                  <a:gd name="connsiteX2049" fmla="*/ 1779 w 10785"/>
                  <a:gd name="connsiteY2049" fmla="*/ 3786 h 10000"/>
                  <a:gd name="connsiteX2050" fmla="*/ 1751 w 10785"/>
                  <a:gd name="connsiteY2050" fmla="*/ 3803 h 10000"/>
                  <a:gd name="connsiteX2051" fmla="*/ 1747 w 10785"/>
                  <a:gd name="connsiteY2051" fmla="*/ 3803 h 10000"/>
                  <a:gd name="connsiteX2052" fmla="*/ 1724 w 10785"/>
                  <a:gd name="connsiteY2052" fmla="*/ 3803 h 10000"/>
                  <a:gd name="connsiteX2053" fmla="*/ 1700 w 10785"/>
                  <a:gd name="connsiteY2053" fmla="*/ 3829 h 10000"/>
                  <a:gd name="connsiteX2054" fmla="*/ 1705 w 10785"/>
                  <a:gd name="connsiteY2054" fmla="*/ 3846 h 10000"/>
                  <a:gd name="connsiteX2055" fmla="*/ 1691 w 10785"/>
                  <a:gd name="connsiteY2055" fmla="*/ 3846 h 10000"/>
                  <a:gd name="connsiteX2056" fmla="*/ 1691 w 10785"/>
                  <a:gd name="connsiteY2056" fmla="*/ 3863 h 10000"/>
                  <a:gd name="connsiteX2057" fmla="*/ 1691 w 10785"/>
                  <a:gd name="connsiteY2057" fmla="*/ 3915 h 10000"/>
                  <a:gd name="connsiteX2058" fmla="*/ 1677 w 10785"/>
                  <a:gd name="connsiteY2058" fmla="*/ 3923 h 10000"/>
                  <a:gd name="connsiteX2059" fmla="*/ 1673 w 10785"/>
                  <a:gd name="connsiteY2059" fmla="*/ 3915 h 10000"/>
                  <a:gd name="connsiteX2060" fmla="*/ 1664 w 10785"/>
                  <a:gd name="connsiteY2060" fmla="*/ 3889 h 10000"/>
                  <a:gd name="connsiteX2061" fmla="*/ 1673 w 10785"/>
                  <a:gd name="connsiteY2061" fmla="*/ 3872 h 10000"/>
                  <a:gd name="connsiteX2062" fmla="*/ 1664 w 10785"/>
                  <a:gd name="connsiteY2062" fmla="*/ 3872 h 10000"/>
                  <a:gd name="connsiteX2063" fmla="*/ 1636 w 10785"/>
                  <a:gd name="connsiteY2063" fmla="*/ 3923 h 10000"/>
                  <a:gd name="connsiteX2064" fmla="*/ 1645 w 10785"/>
                  <a:gd name="connsiteY2064" fmla="*/ 3923 h 10000"/>
                  <a:gd name="connsiteX2065" fmla="*/ 1650 w 10785"/>
                  <a:gd name="connsiteY2065" fmla="*/ 3949 h 10000"/>
                  <a:gd name="connsiteX2066" fmla="*/ 1650 w 10785"/>
                  <a:gd name="connsiteY2066" fmla="*/ 3983 h 10000"/>
                  <a:gd name="connsiteX2067" fmla="*/ 1636 w 10785"/>
                  <a:gd name="connsiteY2067" fmla="*/ 4000 h 10000"/>
                  <a:gd name="connsiteX2068" fmla="*/ 1631 w 10785"/>
                  <a:gd name="connsiteY2068" fmla="*/ 4009 h 10000"/>
                  <a:gd name="connsiteX2069" fmla="*/ 1618 w 10785"/>
                  <a:gd name="connsiteY2069" fmla="*/ 3949 h 10000"/>
                  <a:gd name="connsiteX2070" fmla="*/ 1585 w 10785"/>
                  <a:gd name="connsiteY2070" fmla="*/ 3966 h 10000"/>
                  <a:gd name="connsiteX2071" fmla="*/ 1590 w 10785"/>
                  <a:gd name="connsiteY2071" fmla="*/ 3974 h 10000"/>
                  <a:gd name="connsiteX2072" fmla="*/ 1544 w 10785"/>
                  <a:gd name="connsiteY2072" fmla="*/ 4009 h 10000"/>
                  <a:gd name="connsiteX2073" fmla="*/ 1539 w 10785"/>
                  <a:gd name="connsiteY2073" fmla="*/ 4009 h 10000"/>
                  <a:gd name="connsiteX2074" fmla="*/ 1410 w 10785"/>
                  <a:gd name="connsiteY2074" fmla="*/ 4188 h 10000"/>
                  <a:gd name="connsiteX2075" fmla="*/ 1406 w 10785"/>
                  <a:gd name="connsiteY2075" fmla="*/ 4171 h 10000"/>
                  <a:gd name="connsiteX2076" fmla="*/ 1396 w 10785"/>
                  <a:gd name="connsiteY2076" fmla="*/ 4214 h 10000"/>
                  <a:gd name="connsiteX2077" fmla="*/ 1406 w 10785"/>
                  <a:gd name="connsiteY2077" fmla="*/ 4222 h 10000"/>
                  <a:gd name="connsiteX2078" fmla="*/ 1392 w 10785"/>
                  <a:gd name="connsiteY2078" fmla="*/ 4239 h 10000"/>
                  <a:gd name="connsiteX2079" fmla="*/ 1369 w 10785"/>
                  <a:gd name="connsiteY2079" fmla="*/ 4248 h 10000"/>
                  <a:gd name="connsiteX2080" fmla="*/ 1355 w 10785"/>
                  <a:gd name="connsiteY2080" fmla="*/ 4256 h 10000"/>
                  <a:gd name="connsiteX2081" fmla="*/ 1350 w 10785"/>
                  <a:gd name="connsiteY2081" fmla="*/ 4248 h 10000"/>
                  <a:gd name="connsiteX2082" fmla="*/ 1332 w 10785"/>
                  <a:gd name="connsiteY2082" fmla="*/ 4376 h 10000"/>
                  <a:gd name="connsiteX2083" fmla="*/ 1332 w 10785"/>
                  <a:gd name="connsiteY2083" fmla="*/ 4436 h 10000"/>
                  <a:gd name="connsiteX2084" fmla="*/ 1323 w 10785"/>
                  <a:gd name="connsiteY2084" fmla="*/ 4462 h 10000"/>
                  <a:gd name="connsiteX2085" fmla="*/ 1304 w 10785"/>
                  <a:gd name="connsiteY2085" fmla="*/ 4487 h 10000"/>
                  <a:gd name="connsiteX2086" fmla="*/ 1290 w 10785"/>
                  <a:gd name="connsiteY2086" fmla="*/ 4470 h 10000"/>
                  <a:gd name="connsiteX2087" fmla="*/ 1263 w 10785"/>
                  <a:gd name="connsiteY2087" fmla="*/ 4496 h 10000"/>
                  <a:gd name="connsiteX2088" fmla="*/ 1258 w 10785"/>
                  <a:gd name="connsiteY2088" fmla="*/ 4547 h 10000"/>
                  <a:gd name="connsiteX2089" fmla="*/ 1249 w 10785"/>
                  <a:gd name="connsiteY2089" fmla="*/ 4487 h 10000"/>
                  <a:gd name="connsiteX2090" fmla="*/ 1235 w 10785"/>
                  <a:gd name="connsiteY2090" fmla="*/ 4496 h 10000"/>
                  <a:gd name="connsiteX2091" fmla="*/ 1221 w 10785"/>
                  <a:gd name="connsiteY2091" fmla="*/ 4496 h 10000"/>
                  <a:gd name="connsiteX2092" fmla="*/ 1217 w 10785"/>
                  <a:gd name="connsiteY2092" fmla="*/ 4487 h 10000"/>
                  <a:gd name="connsiteX2093" fmla="*/ 1198 w 10785"/>
                  <a:gd name="connsiteY2093" fmla="*/ 4410 h 10000"/>
                  <a:gd name="connsiteX2094" fmla="*/ 1157 w 10785"/>
                  <a:gd name="connsiteY2094" fmla="*/ 4333 h 10000"/>
                  <a:gd name="connsiteX2095" fmla="*/ 1147 w 10785"/>
                  <a:gd name="connsiteY2095" fmla="*/ 4299 h 10000"/>
                  <a:gd name="connsiteX2096" fmla="*/ 1147 w 10785"/>
                  <a:gd name="connsiteY2096" fmla="*/ 4274 h 10000"/>
                  <a:gd name="connsiteX2097" fmla="*/ 1161 w 10785"/>
                  <a:gd name="connsiteY2097" fmla="*/ 4256 h 10000"/>
                  <a:gd name="connsiteX2098" fmla="*/ 1171 w 10785"/>
                  <a:gd name="connsiteY2098" fmla="*/ 4248 h 10000"/>
                  <a:gd name="connsiteX2099" fmla="*/ 1175 w 10785"/>
                  <a:gd name="connsiteY2099" fmla="*/ 4214 h 10000"/>
                  <a:gd name="connsiteX2100" fmla="*/ 1263 w 10785"/>
                  <a:gd name="connsiteY2100" fmla="*/ 4171 h 10000"/>
                  <a:gd name="connsiteX2101" fmla="*/ 1249 w 10785"/>
                  <a:gd name="connsiteY2101" fmla="*/ 4137 h 10000"/>
                  <a:gd name="connsiteX2102" fmla="*/ 1244 w 10785"/>
                  <a:gd name="connsiteY2102" fmla="*/ 4060 h 10000"/>
                  <a:gd name="connsiteX2103" fmla="*/ 1230 w 10785"/>
                  <a:gd name="connsiteY2103" fmla="*/ 4077 h 10000"/>
                  <a:gd name="connsiteX2104" fmla="*/ 1221 w 10785"/>
                  <a:gd name="connsiteY2104" fmla="*/ 4026 h 10000"/>
                  <a:gd name="connsiteX2105" fmla="*/ 1217 w 10785"/>
                  <a:gd name="connsiteY2105" fmla="*/ 4026 h 10000"/>
                  <a:gd name="connsiteX2106" fmla="*/ 1212 w 10785"/>
                  <a:gd name="connsiteY2106" fmla="*/ 3983 h 10000"/>
                  <a:gd name="connsiteX2107" fmla="*/ 1203 w 10785"/>
                  <a:gd name="connsiteY2107" fmla="*/ 3966 h 10000"/>
                  <a:gd name="connsiteX2108" fmla="*/ 1171 w 10785"/>
                  <a:gd name="connsiteY2108" fmla="*/ 3949 h 10000"/>
                  <a:gd name="connsiteX2109" fmla="*/ 1111 w 10785"/>
                  <a:gd name="connsiteY2109" fmla="*/ 3940 h 10000"/>
                  <a:gd name="connsiteX2110" fmla="*/ 1097 w 10785"/>
                  <a:gd name="connsiteY2110" fmla="*/ 3949 h 10000"/>
                  <a:gd name="connsiteX2111" fmla="*/ 1037 w 10785"/>
                  <a:gd name="connsiteY2111" fmla="*/ 3897 h 10000"/>
                  <a:gd name="connsiteX2112" fmla="*/ 1041 w 10785"/>
                  <a:gd name="connsiteY2112" fmla="*/ 3923 h 10000"/>
                  <a:gd name="connsiteX2113" fmla="*/ 1097 w 10785"/>
                  <a:gd name="connsiteY2113" fmla="*/ 4009 h 10000"/>
                  <a:gd name="connsiteX2114" fmla="*/ 1097 w 10785"/>
                  <a:gd name="connsiteY2114" fmla="*/ 4120 h 10000"/>
                  <a:gd name="connsiteX2115" fmla="*/ 1097 w 10785"/>
                  <a:gd name="connsiteY2115" fmla="*/ 4162 h 10000"/>
                  <a:gd name="connsiteX2116" fmla="*/ 1097 w 10785"/>
                  <a:gd name="connsiteY2116" fmla="*/ 4197 h 10000"/>
                  <a:gd name="connsiteX2117" fmla="*/ 1074 w 10785"/>
                  <a:gd name="connsiteY2117" fmla="*/ 4333 h 10000"/>
                  <a:gd name="connsiteX2118" fmla="*/ 1074 w 10785"/>
                  <a:gd name="connsiteY2118" fmla="*/ 4376 h 10000"/>
                  <a:gd name="connsiteX2119" fmla="*/ 1083 w 10785"/>
                  <a:gd name="connsiteY2119" fmla="*/ 4385 h 10000"/>
                  <a:gd name="connsiteX2120" fmla="*/ 1097 w 10785"/>
                  <a:gd name="connsiteY2120" fmla="*/ 4385 h 10000"/>
                  <a:gd name="connsiteX2121" fmla="*/ 1111 w 10785"/>
                  <a:gd name="connsiteY2121" fmla="*/ 4410 h 10000"/>
                  <a:gd name="connsiteX2122" fmla="*/ 1124 w 10785"/>
                  <a:gd name="connsiteY2122" fmla="*/ 4444 h 10000"/>
                  <a:gd name="connsiteX2123" fmla="*/ 1124 w 10785"/>
                  <a:gd name="connsiteY2123" fmla="*/ 4470 h 10000"/>
                  <a:gd name="connsiteX2124" fmla="*/ 1115 w 10785"/>
                  <a:gd name="connsiteY2124" fmla="*/ 4513 h 10000"/>
                  <a:gd name="connsiteX2125" fmla="*/ 1115 w 10785"/>
                  <a:gd name="connsiteY2125" fmla="*/ 4530 h 10000"/>
                  <a:gd name="connsiteX2126" fmla="*/ 1115 w 10785"/>
                  <a:gd name="connsiteY2126" fmla="*/ 4573 h 10000"/>
                  <a:gd name="connsiteX2127" fmla="*/ 1101 w 10785"/>
                  <a:gd name="connsiteY2127" fmla="*/ 4607 h 10000"/>
                  <a:gd name="connsiteX2128" fmla="*/ 1097 w 10785"/>
                  <a:gd name="connsiteY2128" fmla="*/ 4658 h 10000"/>
                  <a:gd name="connsiteX2129" fmla="*/ 1101 w 10785"/>
                  <a:gd name="connsiteY2129" fmla="*/ 4692 h 10000"/>
                  <a:gd name="connsiteX2130" fmla="*/ 1097 w 10785"/>
                  <a:gd name="connsiteY2130" fmla="*/ 4778 h 10000"/>
                  <a:gd name="connsiteX2131" fmla="*/ 1083 w 10785"/>
                  <a:gd name="connsiteY2131" fmla="*/ 4744 h 10000"/>
                  <a:gd name="connsiteX2132" fmla="*/ 1083 w 10785"/>
                  <a:gd name="connsiteY2132" fmla="*/ 4718 h 10000"/>
                  <a:gd name="connsiteX2133" fmla="*/ 1074 w 10785"/>
                  <a:gd name="connsiteY2133" fmla="*/ 4692 h 10000"/>
                  <a:gd name="connsiteX2134" fmla="*/ 1065 w 10785"/>
                  <a:gd name="connsiteY2134" fmla="*/ 4692 h 10000"/>
                  <a:gd name="connsiteX2135" fmla="*/ 1051 w 10785"/>
                  <a:gd name="connsiteY2135" fmla="*/ 4718 h 10000"/>
                  <a:gd name="connsiteX2136" fmla="*/ 1055 w 10785"/>
                  <a:gd name="connsiteY2136" fmla="*/ 4692 h 10000"/>
                  <a:gd name="connsiteX2137" fmla="*/ 1055 w 10785"/>
                  <a:gd name="connsiteY2137" fmla="*/ 4667 h 10000"/>
                  <a:gd name="connsiteX2138" fmla="*/ 1028 w 10785"/>
                  <a:gd name="connsiteY2138" fmla="*/ 4624 h 10000"/>
                  <a:gd name="connsiteX2139" fmla="*/ 1005 w 10785"/>
                  <a:gd name="connsiteY2139" fmla="*/ 4624 h 10000"/>
                  <a:gd name="connsiteX2140" fmla="*/ 977 w 10785"/>
                  <a:gd name="connsiteY2140" fmla="*/ 4581 h 10000"/>
                  <a:gd name="connsiteX2141" fmla="*/ 963 w 10785"/>
                  <a:gd name="connsiteY2141" fmla="*/ 4607 h 10000"/>
                  <a:gd name="connsiteX2142" fmla="*/ 963 w 10785"/>
                  <a:gd name="connsiteY2142" fmla="*/ 4632 h 10000"/>
                  <a:gd name="connsiteX2143" fmla="*/ 917 w 10785"/>
                  <a:gd name="connsiteY2143" fmla="*/ 4718 h 10000"/>
                  <a:gd name="connsiteX2144" fmla="*/ 889 w 10785"/>
                  <a:gd name="connsiteY2144" fmla="*/ 4744 h 10000"/>
                  <a:gd name="connsiteX2145" fmla="*/ 880 w 10785"/>
                  <a:gd name="connsiteY2145" fmla="*/ 4744 h 10000"/>
                  <a:gd name="connsiteX2146" fmla="*/ 862 w 10785"/>
                  <a:gd name="connsiteY2146" fmla="*/ 4769 h 10000"/>
                  <a:gd name="connsiteX2147" fmla="*/ 857 w 10785"/>
                  <a:gd name="connsiteY2147" fmla="*/ 4795 h 10000"/>
                  <a:gd name="connsiteX2148" fmla="*/ 829 w 10785"/>
                  <a:gd name="connsiteY2148" fmla="*/ 4846 h 10000"/>
                  <a:gd name="connsiteX2149" fmla="*/ 816 w 10785"/>
                  <a:gd name="connsiteY2149" fmla="*/ 4855 h 10000"/>
                  <a:gd name="connsiteX2150" fmla="*/ 816 w 10785"/>
                  <a:gd name="connsiteY2150" fmla="*/ 4940 h 10000"/>
                  <a:gd name="connsiteX2151" fmla="*/ 880 w 10785"/>
                  <a:gd name="connsiteY2151" fmla="*/ 5179 h 10000"/>
                  <a:gd name="connsiteX2152" fmla="*/ 880 w 10785"/>
                  <a:gd name="connsiteY2152" fmla="*/ 5188 h 10000"/>
                  <a:gd name="connsiteX2153" fmla="*/ 862 w 10785"/>
                  <a:gd name="connsiteY2153" fmla="*/ 5171 h 10000"/>
                  <a:gd name="connsiteX2154" fmla="*/ 857 w 10785"/>
                  <a:gd name="connsiteY2154" fmla="*/ 5171 h 10000"/>
                  <a:gd name="connsiteX2155" fmla="*/ 820 w 10785"/>
                  <a:gd name="connsiteY2155" fmla="*/ 5145 h 10000"/>
                  <a:gd name="connsiteX2156" fmla="*/ 820 w 10785"/>
                  <a:gd name="connsiteY2156" fmla="*/ 5154 h 10000"/>
                  <a:gd name="connsiteX2157" fmla="*/ 816 w 10785"/>
                  <a:gd name="connsiteY2157" fmla="*/ 5171 h 10000"/>
                  <a:gd name="connsiteX2158" fmla="*/ 783 w 10785"/>
                  <a:gd name="connsiteY2158" fmla="*/ 5145 h 10000"/>
                  <a:gd name="connsiteX2159" fmla="*/ 756 w 10785"/>
                  <a:gd name="connsiteY2159" fmla="*/ 5103 h 10000"/>
                  <a:gd name="connsiteX2160" fmla="*/ 742 w 10785"/>
                  <a:gd name="connsiteY2160" fmla="*/ 5103 h 10000"/>
                  <a:gd name="connsiteX2161" fmla="*/ 728 w 10785"/>
                  <a:gd name="connsiteY2161" fmla="*/ 5094 h 10000"/>
                  <a:gd name="connsiteX2162" fmla="*/ 710 w 10785"/>
                  <a:gd name="connsiteY2162" fmla="*/ 5120 h 10000"/>
                  <a:gd name="connsiteX2163" fmla="*/ 700 w 10785"/>
                  <a:gd name="connsiteY2163" fmla="*/ 5145 h 10000"/>
                  <a:gd name="connsiteX2164" fmla="*/ 696 w 10785"/>
                  <a:gd name="connsiteY2164" fmla="*/ 5103 h 10000"/>
                  <a:gd name="connsiteX2165" fmla="*/ 714 w 10785"/>
                  <a:gd name="connsiteY2165" fmla="*/ 5077 h 10000"/>
                  <a:gd name="connsiteX2166" fmla="*/ 682 w 10785"/>
                  <a:gd name="connsiteY2166" fmla="*/ 5068 h 10000"/>
                  <a:gd name="connsiteX2167" fmla="*/ 673 w 10785"/>
                  <a:gd name="connsiteY2167" fmla="*/ 5034 h 10000"/>
                  <a:gd name="connsiteX2168" fmla="*/ 636 w 10785"/>
                  <a:gd name="connsiteY2168" fmla="*/ 4991 h 10000"/>
                  <a:gd name="connsiteX2169" fmla="*/ 622 w 10785"/>
                  <a:gd name="connsiteY2169" fmla="*/ 4983 h 10000"/>
                  <a:gd name="connsiteX2170" fmla="*/ 622 w 10785"/>
                  <a:gd name="connsiteY2170" fmla="*/ 5034 h 10000"/>
                  <a:gd name="connsiteX2171" fmla="*/ 608 w 10785"/>
                  <a:gd name="connsiteY2171" fmla="*/ 5051 h 10000"/>
                  <a:gd name="connsiteX2172" fmla="*/ 594 w 10785"/>
                  <a:gd name="connsiteY2172" fmla="*/ 5068 h 10000"/>
                  <a:gd name="connsiteX2173" fmla="*/ 608 w 10785"/>
                  <a:gd name="connsiteY2173" fmla="*/ 5120 h 10000"/>
                  <a:gd name="connsiteX2174" fmla="*/ 613 w 10785"/>
                  <a:gd name="connsiteY2174" fmla="*/ 5128 h 10000"/>
                  <a:gd name="connsiteX2175" fmla="*/ 627 w 10785"/>
                  <a:gd name="connsiteY2175" fmla="*/ 5179 h 10000"/>
                  <a:gd name="connsiteX2176" fmla="*/ 650 w 10785"/>
                  <a:gd name="connsiteY2176" fmla="*/ 5214 h 10000"/>
                  <a:gd name="connsiteX2177" fmla="*/ 687 w 10785"/>
                  <a:gd name="connsiteY2177" fmla="*/ 5188 h 10000"/>
                  <a:gd name="connsiteX2178" fmla="*/ 700 w 10785"/>
                  <a:gd name="connsiteY2178" fmla="*/ 5325 h 10000"/>
                  <a:gd name="connsiteX2179" fmla="*/ 710 w 10785"/>
                  <a:gd name="connsiteY2179" fmla="*/ 5350 h 10000"/>
                  <a:gd name="connsiteX2180" fmla="*/ 687 w 10785"/>
                  <a:gd name="connsiteY2180" fmla="*/ 5325 h 10000"/>
                  <a:gd name="connsiteX2181" fmla="*/ 668 w 10785"/>
                  <a:gd name="connsiteY2181" fmla="*/ 5350 h 10000"/>
                  <a:gd name="connsiteX2182" fmla="*/ 668 w 10785"/>
                  <a:gd name="connsiteY2182" fmla="*/ 5368 h 10000"/>
                  <a:gd name="connsiteX2183" fmla="*/ 668 w 10785"/>
                  <a:gd name="connsiteY2183" fmla="*/ 5376 h 10000"/>
                  <a:gd name="connsiteX2184" fmla="*/ 581 w 10785"/>
                  <a:gd name="connsiteY2184" fmla="*/ 5316 h 10000"/>
                  <a:gd name="connsiteX2185" fmla="*/ 567 w 10785"/>
                  <a:gd name="connsiteY2185" fmla="*/ 5265 h 10000"/>
                  <a:gd name="connsiteX2186" fmla="*/ 562 w 10785"/>
                  <a:gd name="connsiteY2186" fmla="*/ 5256 h 10000"/>
                  <a:gd name="connsiteX2187" fmla="*/ 548 w 10785"/>
                  <a:gd name="connsiteY2187" fmla="*/ 5231 h 10000"/>
                  <a:gd name="connsiteX2188" fmla="*/ 535 w 10785"/>
                  <a:gd name="connsiteY2188" fmla="*/ 5214 h 10000"/>
                  <a:gd name="connsiteX2189" fmla="*/ 525 w 10785"/>
                  <a:gd name="connsiteY2189" fmla="*/ 5231 h 10000"/>
                  <a:gd name="connsiteX2190" fmla="*/ 521 w 10785"/>
                  <a:gd name="connsiteY2190" fmla="*/ 5231 h 10000"/>
                  <a:gd name="connsiteX2191" fmla="*/ 493 w 10785"/>
                  <a:gd name="connsiteY2191" fmla="*/ 5205 h 10000"/>
                  <a:gd name="connsiteX2192" fmla="*/ 488 w 10785"/>
                  <a:gd name="connsiteY2192" fmla="*/ 5179 h 10000"/>
                  <a:gd name="connsiteX2193" fmla="*/ 475 w 10785"/>
                  <a:gd name="connsiteY2193" fmla="*/ 5188 h 10000"/>
                  <a:gd name="connsiteX2194" fmla="*/ 475 w 10785"/>
                  <a:gd name="connsiteY2194" fmla="*/ 5171 h 10000"/>
                  <a:gd name="connsiteX2195" fmla="*/ 488 w 10785"/>
                  <a:gd name="connsiteY2195" fmla="*/ 5154 h 10000"/>
                  <a:gd name="connsiteX2196" fmla="*/ 488 w 10785"/>
                  <a:gd name="connsiteY2196" fmla="*/ 5068 h 10000"/>
                  <a:gd name="connsiteX2197" fmla="*/ 475 w 10785"/>
                  <a:gd name="connsiteY2197" fmla="*/ 5051 h 10000"/>
                  <a:gd name="connsiteX2198" fmla="*/ 475 w 10785"/>
                  <a:gd name="connsiteY2198" fmla="*/ 5017 h 10000"/>
                  <a:gd name="connsiteX2199" fmla="*/ 452 w 10785"/>
                  <a:gd name="connsiteY2199" fmla="*/ 4932 h 10000"/>
                  <a:gd name="connsiteX2200" fmla="*/ 461 w 10785"/>
                  <a:gd name="connsiteY2200" fmla="*/ 4915 h 10000"/>
                  <a:gd name="connsiteX2201" fmla="*/ 475 w 10785"/>
                  <a:gd name="connsiteY2201" fmla="*/ 4906 h 10000"/>
                  <a:gd name="connsiteX2202" fmla="*/ 479 w 10785"/>
                  <a:gd name="connsiteY2202" fmla="*/ 4803 h 10000"/>
                  <a:gd name="connsiteX2203" fmla="*/ 479 w 10785"/>
                  <a:gd name="connsiteY2203" fmla="*/ 4778 h 10000"/>
                  <a:gd name="connsiteX2204" fmla="*/ 475 w 10785"/>
                  <a:gd name="connsiteY2204" fmla="*/ 4761 h 10000"/>
                  <a:gd name="connsiteX2205" fmla="*/ 465 w 10785"/>
                  <a:gd name="connsiteY2205" fmla="*/ 4718 h 10000"/>
                  <a:gd name="connsiteX2206" fmla="*/ 461 w 10785"/>
                  <a:gd name="connsiteY2206" fmla="*/ 4709 h 10000"/>
                  <a:gd name="connsiteX2207" fmla="*/ 442 w 10785"/>
                  <a:gd name="connsiteY2207" fmla="*/ 4692 h 10000"/>
                  <a:gd name="connsiteX2208" fmla="*/ 433 w 10785"/>
                  <a:gd name="connsiteY2208" fmla="*/ 4667 h 10000"/>
                  <a:gd name="connsiteX2209" fmla="*/ 419 w 10785"/>
                  <a:gd name="connsiteY2209" fmla="*/ 4667 h 10000"/>
                  <a:gd name="connsiteX2210" fmla="*/ 401 w 10785"/>
                  <a:gd name="connsiteY2210" fmla="*/ 4658 h 10000"/>
                  <a:gd name="connsiteX2211" fmla="*/ 401 w 10785"/>
                  <a:gd name="connsiteY2211" fmla="*/ 4624 h 10000"/>
                  <a:gd name="connsiteX2212" fmla="*/ 401 w 10785"/>
                  <a:gd name="connsiteY2212" fmla="*/ 4607 h 10000"/>
                  <a:gd name="connsiteX2213" fmla="*/ 378 w 10785"/>
                  <a:gd name="connsiteY2213" fmla="*/ 4607 h 10000"/>
                  <a:gd name="connsiteX2214" fmla="*/ 341 w 10785"/>
                  <a:gd name="connsiteY2214" fmla="*/ 4530 h 10000"/>
                  <a:gd name="connsiteX2215" fmla="*/ 346 w 10785"/>
                  <a:gd name="connsiteY2215" fmla="*/ 4521 h 10000"/>
                  <a:gd name="connsiteX2216" fmla="*/ 332 w 10785"/>
                  <a:gd name="connsiteY2216" fmla="*/ 4487 h 10000"/>
                  <a:gd name="connsiteX2217" fmla="*/ 327 w 10785"/>
                  <a:gd name="connsiteY2217" fmla="*/ 4462 h 10000"/>
                  <a:gd name="connsiteX2218" fmla="*/ 313 w 10785"/>
                  <a:gd name="connsiteY2218" fmla="*/ 4436 h 10000"/>
                  <a:gd name="connsiteX2219" fmla="*/ 300 w 10785"/>
                  <a:gd name="connsiteY2219" fmla="*/ 4419 h 10000"/>
                  <a:gd name="connsiteX2220" fmla="*/ 309 w 10785"/>
                  <a:gd name="connsiteY2220" fmla="*/ 4393 h 10000"/>
                  <a:gd name="connsiteX2221" fmla="*/ 332 w 10785"/>
                  <a:gd name="connsiteY2221" fmla="*/ 4385 h 10000"/>
                  <a:gd name="connsiteX2222" fmla="*/ 355 w 10785"/>
                  <a:gd name="connsiteY2222" fmla="*/ 4419 h 10000"/>
                  <a:gd name="connsiteX2223" fmla="*/ 355 w 10785"/>
                  <a:gd name="connsiteY2223" fmla="*/ 4444 h 10000"/>
                  <a:gd name="connsiteX2224" fmla="*/ 369 w 10785"/>
                  <a:gd name="connsiteY2224" fmla="*/ 4470 h 10000"/>
                  <a:gd name="connsiteX2225" fmla="*/ 401 w 10785"/>
                  <a:gd name="connsiteY2225" fmla="*/ 4521 h 10000"/>
                  <a:gd name="connsiteX2226" fmla="*/ 406 w 10785"/>
                  <a:gd name="connsiteY2226" fmla="*/ 4513 h 10000"/>
                  <a:gd name="connsiteX2227" fmla="*/ 406 w 10785"/>
                  <a:gd name="connsiteY2227" fmla="*/ 4496 h 10000"/>
                  <a:gd name="connsiteX2228" fmla="*/ 419 w 10785"/>
                  <a:gd name="connsiteY2228" fmla="*/ 4521 h 10000"/>
                  <a:gd name="connsiteX2229" fmla="*/ 429 w 10785"/>
                  <a:gd name="connsiteY2229" fmla="*/ 4530 h 10000"/>
                  <a:gd name="connsiteX2230" fmla="*/ 433 w 10785"/>
                  <a:gd name="connsiteY2230" fmla="*/ 4521 h 10000"/>
                  <a:gd name="connsiteX2231" fmla="*/ 442 w 10785"/>
                  <a:gd name="connsiteY2231" fmla="*/ 4530 h 10000"/>
                  <a:gd name="connsiteX2232" fmla="*/ 447 w 10785"/>
                  <a:gd name="connsiteY2232" fmla="*/ 4521 h 10000"/>
                  <a:gd name="connsiteX2233" fmla="*/ 452 w 10785"/>
                  <a:gd name="connsiteY2233" fmla="*/ 4521 h 10000"/>
                  <a:gd name="connsiteX2234" fmla="*/ 461 w 10785"/>
                  <a:gd name="connsiteY2234" fmla="*/ 4573 h 10000"/>
                  <a:gd name="connsiteX2235" fmla="*/ 479 w 10785"/>
                  <a:gd name="connsiteY2235" fmla="*/ 4556 h 10000"/>
                  <a:gd name="connsiteX2236" fmla="*/ 502 w 10785"/>
                  <a:gd name="connsiteY2236" fmla="*/ 4573 h 10000"/>
                  <a:gd name="connsiteX2237" fmla="*/ 507 w 10785"/>
                  <a:gd name="connsiteY2237" fmla="*/ 4598 h 10000"/>
                  <a:gd name="connsiteX2238" fmla="*/ 525 w 10785"/>
                  <a:gd name="connsiteY2238" fmla="*/ 4598 h 10000"/>
                  <a:gd name="connsiteX2239" fmla="*/ 535 w 10785"/>
                  <a:gd name="connsiteY2239" fmla="*/ 4624 h 10000"/>
                  <a:gd name="connsiteX2240" fmla="*/ 594 w 10785"/>
                  <a:gd name="connsiteY2240" fmla="*/ 4658 h 10000"/>
                  <a:gd name="connsiteX2241" fmla="*/ 627 w 10785"/>
                  <a:gd name="connsiteY2241" fmla="*/ 4658 h 10000"/>
                  <a:gd name="connsiteX2242" fmla="*/ 654 w 10785"/>
                  <a:gd name="connsiteY2242" fmla="*/ 4684 h 10000"/>
                  <a:gd name="connsiteX2243" fmla="*/ 668 w 10785"/>
                  <a:gd name="connsiteY2243" fmla="*/ 4709 h 10000"/>
                  <a:gd name="connsiteX2244" fmla="*/ 747 w 10785"/>
                  <a:gd name="connsiteY2244" fmla="*/ 4718 h 10000"/>
                  <a:gd name="connsiteX2245" fmla="*/ 760 w 10785"/>
                  <a:gd name="connsiteY2245" fmla="*/ 4709 h 10000"/>
                  <a:gd name="connsiteX2246" fmla="*/ 774 w 10785"/>
                  <a:gd name="connsiteY2246" fmla="*/ 4692 h 10000"/>
                  <a:gd name="connsiteX2247" fmla="*/ 829 w 10785"/>
                  <a:gd name="connsiteY2247" fmla="*/ 4658 h 10000"/>
                  <a:gd name="connsiteX2248" fmla="*/ 903 w 10785"/>
                  <a:gd name="connsiteY2248" fmla="*/ 4496 h 10000"/>
                  <a:gd name="connsiteX2249" fmla="*/ 917 w 10785"/>
                  <a:gd name="connsiteY2249" fmla="*/ 4385 h 10000"/>
                  <a:gd name="connsiteX2250" fmla="*/ 903 w 10785"/>
                  <a:gd name="connsiteY2250" fmla="*/ 4376 h 10000"/>
                  <a:gd name="connsiteX2251" fmla="*/ 903 w 10785"/>
                  <a:gd name="connsiteY2251" fmla="*/ 4376 h 10000"/>
                  <a:gd name="connsiteX2252" fmla="*/ 889 w 10785"/>
                  <a:gd name="connsiteY2252" fmla="*/ 4239 h 10000"/>
                  <a:gd name="connsiteX2253" fmla="*/ 880 w 10785"/>
                  <a:gd name="connsiteY2253" fmla="*/ 4214 h 10000"/>
                  <a:gd name="connsiteX2254" fmla="*/ 862 w 10785"/>
                  <a:gd name="connsiteY2254" fmla="*/ 4188 h 10000"/>
                  <a:gd name="connsiteX2255" fmla="*/ 857 w 10785"/>
                  <a:gd name="connsiteY2255" fmla="*/ 4197 h 10000"/>
                  <a:gd name="connsiteX2256" fmla="*/ 848 w 10785"/>
                  <a:gd name="connsiteY2256" fmla="*/ 4188 h 10000"/>
                  <a:gd name="connsiteX2257" fmla="*/ 848 w 10785"/>
                  <a:gd name="connsiteY2257" fmla="*/ 4162 h 10000"/>
                  <a:gd name="connsiteX2258" fmla="*/ 829 w 10785"/>
                  <a:gd name="connsiteY2258" fmla="*/ 4120 h 10000"/>
                  <a:gd name="connsiteX2259" fmla="*/ 820 w 10785"/>
                  <a:gd name="connsiteY2259" fmla="*/ 4103 h 10000"/>
                  <a:gd name="connsiteX2260" fmla="*/ 806 w 10785"/>
                  <a:gd name="connsiteY2260" fmla="*/ 4077 h 10000"/>
                  <a:gd name="connsiteX2261" fmla="*/ 816 w 10785"/>
                  <a:gd name="connsiteY2261" fmla="*/ 4111 h 10000"/>
                  <a:gd name="connsiteX2262" fmla="*/ 802 w 10785"/>
                  <a:gd name="connsiteY2262" fmla="*/ 4111 h 10000"/>
                  <a:gd name="connsiteX2263" fmla="*/ 770 w 10785"/>
                  <a:gd name="connsiteY2263" fmla="*/ 4060 h 10000"/>
                  <a:gd name="connsiteX2264" fmla="*/ 760 w 10785"/>
                  <a:gd name="connsiteY2264" fmla="*/ 4077 h 10000"/>
                  <a:gd name="connsiteX2265" fmla="*/ 760 w 10785"/>
                  <a:gd name="connsiteY2265" fmla="*/ 4060 h 10000"/>
                  <a:gd name="connsiteX2266" fmla="*/ 756 w 10785"/>
                  <a:gd name="connsiteY2266" fmla="*/ 4034 h 10000"/>
                  <a:gd name="connsiteX2267" fmla="*/ 742 w 10785"/>
                  <a:gd name="connsiteY2267" fmla="*/ 4000 h 10000"/>
                  <a:gd name="connsiteX2268" fmla="*/ 747 w 10785"/>
                  <a:gd name="connsiteY2268" fmla="*/ 4034 h 10000"/>
                  <a:gd name="connsiteX2269" fmla="*/ 724 w 10785"/>
                  <a:gd name="connsiteY2269" fmla="*/ 4026 h 10000"/>
                  <a:gd name="connsiteX2270" fmla="*/ 714 w 10785"/>
                  <a:gd name="connsiteY2270" fmla="*/ 4000 h 10000"/>
                  <a:gd name="connsiteX2271" fmla="*/ 714 w 10785"/>
                  <a:gd name="connsiteY2271" fmla="*/ 3983 h 10000"/>
                  <a:gd name="connsiteX2272" fmla="*/ 553 w 10785"/>
                  <a:gd name="connsiteY2272" fmla="*/ 3726 h 10000"/>
                  <a:gd name="connsiteX2273" fmla="*/ 507 w 10785"/>
                  <a:gd name="connsiteY2273" fmla="*/ 3718 h 10000"/>
                  <a:gd name="connsiteX2274" fmla="*/ 516 w 10785"/>
                  <a:gd name="connsiteY2274" fmla="*/ 3726 h 10000"/>
                  <a:gd name="connsiteX2275" fmla="*/ 507 w 10785"/>
                  <a:gd name="connsiteY2275" fmla="*/ 3735 h 10000"/>
                  <a:gd name="connsiteX2276" fmla="*/ 502 w 10785"/>
                  <a:gd name="connsiteY2276" fmla="*/ 3735 h 10000"/>
                  <a:gd name="connsiteX2277" fmla="*/ 419 w 10785"/>
                  <a:gd name="connsiteY2277" fmla="*/ 3675 h 10000"/>
                  <a:gd name="connsiteX2278" fmla="*/ 419 w 10785"/>
                  <a:gd name="connsiteY2278" fmla="*/ 3692 h 10000"/>
                  <a:gd name="connsiteX2279" fmla="*/ 401 w 10785"/>
                  <a:gd name="connsiteY2279" fmla="*/ 3701 h 10000"/>
                  <a:gd name="connsiteX2280" fmla="*/ 387 w 10785"/>
                  <a:gd name="connsiteY2280" fmla="*/ 3718 h 10000"/>
                  <a:gd name="connsiteX2281" fmla="*/ 387 w 10785"/>
                  <a:gd name="connsiteY2281" fmla="*/ 3692 h 10000"/>
                  <a:gd name="connsiteX2282" fmla="*/ 378 w 10785"/>
                  <a:gd name="connsiteY2282" fmla="*/ 3675 h 10000"/>
                  <a:gd name="connsiteX2283" fmla="*/ 378 w 10785"/>
                  <a:gd name="connsiteY2283" fmla="*/ 3650 h 10000"/>
                  <a:gd name="connsiteX2284" fmla="*/ 378 w 10785"/>
                  <a:gd name="connsiteY2284" fmla="*/ 3650 h 10000"/>
                  <a:gd name="connsiteX2285" fmla="*/ 355 w 10785"/>
                  <a:gd name="connsiteY2285" fmla="*/ 3675 h 10000"/>
                  <a:gd name="connsiteX2286" fmla="*/ 359 w 10785"/>
                  <a:gd name="connsiteY2286" fmla="*/ 3641 h 10000"/>
                  <a:gd name="connsiteX2287" fmla="*/ 346 w 10785"/>
                  <a:gd name="connsiteY2287" fmla="*/ 3650 h 10000"/>
                  <a:gd name="connsiteX2288" fmla="*/ 355 w 10785"/>
                  <a:gd name="connsiteY2288" fmla="*/ 3624 h 10000"/>
                  <a:gd name="connsiteX2289" fmla="*/ 346 w 10785"/>
                  <a:gd name="connsiteY2289" fmla="*/ 3624 h 10000"/>
                  <a:gd name="connsiteX2290" fmla="*/ 341 w 10785"/>
                  <a:gd name="connsiteY2290" fmla="*/ 3624 h 10000"/>
                  <a:gd name="connsiteX2291" fmla="*/ 318 w 10785"/>
                  <a:gd name="connsiteY2291" fmla="*/ 3641 h 10000"/>
                  <a:gd name="connsiteX2292" fmla="*/ 327 w 10785"/>
                  <a:gd name="connsiteY2292" fmla="*/ 3624 h 10000"/>
                  <a:gd name="connsiteX2293" fmla="*/ 318 w 10785"/>
                  <a:gd name="connsiteY2293" fmla="*/ 3615 h 10000"/>
                  <a:gd name="connsiteX2294" fmla="*/ 318 w 10785"/>
                  <a:gd name="connsiteY2294" fmla="*/ 3598 h 10000"/>
                  <a:gd name="connsiteX2295" fmla="*/ 300 w 10785"/>
                  <a:gd name="connsiteY2295" fmla="*/ 3598 h 10000"/>
                  <a:gd name="connsiteX2296" fmla="*/ 309 w 10785"/>
                  <a:gd name="connsiteY2296" fmla="*/ 3538 h 10000"/>
                  <a:gd name="connsiteX2297" fmla="*/ 313 w 10785"/>
                  <a:gd name="connsiteY2297" fmla="*/ 3564 h 10000"/>
                  <a:gd name="connsiteX2298" fmla="*/ 318 w 10785"/>
                  <a:gd name="connsiteY2298" fmla="*/ 3581 h 10000"/>
                  <a:gd name="connsiteX2299" fmla="*/ 327 w 10785"/>
                  <a:gd name="connsiteY2299" fmla="*/ 3564 h 10000"/>
                  <a:gd name="connsiteX2300" fmla="*/ 332 w 10785"/>
                  <a:gd name="connsiteY2300" fmla="*/ 3590 h 10000"/>
                  <a:gd name="connsiteX2301" fmla="*/ 346 w 10785"/>
                  <a:gd name="connsiteY2301" fmla="*/ 3590 h 10000"/>
                  <a:gd name="connsiteX2302" fmla="*/ 355 w 10785"/>
                  <a:gd name="connsiteY2302" fmla="*/ 3590 h 10000"/>
                  <a:gd name="connsiteX2303" fmla="*/ 369 w 10785"/>
                  <a:gd name="connsiteY2303" fmla="*/ 3556 h 10000"/>
                  <a:gd name="connsiteX2304" fmla="*/ 369 w 10785"/>
                  <a:gd name="connsiteY2304" fmla="*/ 3538 h 10000"/>
                  <a:gd name="connsiteX2305" fmla="*/ 346 w 10785"/>
                  <a:gd name="connsiteY2305" fmla="*/ 3513 h 10000"/>
                  <a:gd name="connsiteX2306" fmla="*/ 341 w 10785"/>
                  <a:gd name="connsiteY2306" fmla="*/ 3530 h 10000"/>
                  <a:gd name="connsiteX2307" fmla="*/ 327 w 10785"/>
                  <a:gd name="connsiteY2307" fmla="*/ 3513 h 10000"/>
                  <a:gd name="connsiteX2308" fmla="*/ 327 w 10785"/>
                  <a:gd name="connsiteY2308" fmla="*/ 3504 h 10000"/>
                  <a:gd name="connsiteX2309" fmla="*/ 295 w 10785"/>
                  <a:gd name="connsiteY2309" fmla="*/ 3462 h 10000"/>
                  <a:gd name="connsiteX2310" fmla="*/ 300 w 10785"/>
                  <a:gd name="connsiteY2310" fmla="*/ 3479 h 10000"/>
                  <a:gd name="connsiteX2311" fmla="*/ 295 w 10785"/>
                  <a:gd name="connsiteY2311" fmla="*/ 3513 h 10000"/>
                  <a:gd name="connsiteX2312" fmla="*/ 286 w 10785"/>
                  <a:gd name="connsiteY2312" fmla="*/ 3513 h 10000"/>
                  <a:gd name="connsiteX2313" fmla="*/ 281 w 10785"/>
                  <a:gd name="connsiteY2313" fmla="*/ 3513 h 10000"/>
                  <a:gd name="connsiteX2314" fmla="*/ 281 w 10785"/>
                  <a:gd name="connsiteY2314" fmla="*/ 3530 h 10000"/>
                  <a:gd name="connsiteX2315" fmla="*/ 281 w 10785"/>
                  <a:gd name="connsiteY2315" fmla="*/ 3556 h 10000"/>
                  <a:gd name="connsiteX2316" fmla="*/ 272 w 10785"/>
                  <a:gd name="connsiteY2316" fmla="*/ 3564 h 10000"/>
                  <a:gd name="connsiteX2317" fmla="*/ 267 w 10785"/>
                  <a:gd name="connsiteY2317" fmla="*/ 3564 h 10000"/>
                  <a:gd name="connsiteX2318" fmla="*/ 253 w 10785"/>
                  <a:gd name="connsiteY2318" fmla="*/ 3538 h 10000"/>
                  <a:gd name="connsiteX2319" fmla="*/ 226 w 10785"/>
                  <a:gd name="connsiteY2319" fmla="*/ 3513 h 10000"/>
                  <a:gd name="connsiteX2320" fmla="*/ 226 w 10785"/>
                  <a:gd name="connsiteY2320" fmla="*/ 3530 h 10000"/>
                  <a:gd name="connsiteX2321" fmla="*/ 226 w 10785"/>
                  <a:gd name="connsiteY2321" fmla="*/ 3530 h 10000"/>
                  <a:gd name="connsiteX2322" fmla="*/ 226 w 10785"/>
                  <a:gd name="connsiteY2322" fmla="*/ 3530 h 10000"/>
                  <a:gd name="connsiteX2323" fmla="*/ 226 w 10785"/>
                  <a:gd name="connsiteY2323" fmla="*/ 3556 h 10000"/>
                  <a:gd name="connsiteX2324" fmla="*/ 221 w 10785"/>
                  <a:gd name="connsiteY2324" fmla="*/ 3598 h 10000"/>
                  <a:gd name="connsiteX2325" fmla="*/ 207 w 10785"/>
                  <a:gd name="connsiteY2325" fmla="*/ 3598 h 10000"/>
                  <a:gd name="connsiteX2326" fmla="*/ 180 w 10785"/>
                  <a:gd name="connsiteY2326" fmla="*/ 3581 h 10000"/>
                  <a:gd name="connsiteX2327" fmla="*/ 171 w 10785"/>
                  <a:gd name="connsiteY2327" fmla="*/ 3641 h 10000"/>
                  <a:gd name="connsiteX2328" fmla="*/ 166 w 10785"/>
                  <a:gd name="connsiteY2328" fmla="*/ 3650 h 10000"/>
                  <a:gd name="connsiteX2329" fmla="*/ 124 w 10785"/>
                  <a:gd name="connsiteY2329" fmla="*/ 3701 h 10000"/>
                  <a:gd name="connsiteX2330" fmla="*/ 124 w 10785"/>
                  <a:gd name="connsiteY2330" fmla="*/ 3718 h 10000"/>
                  <a:gd name="connsiteX2331" fmla="*/ 120 w 10785"/>
                  <a:gd name="connsiteY2331" fmla="*/ 3735 h 10000"/>
                  <a:gd name="connsiteX2332" fmla="*/ 120 w 10785"/>
                  <a:gd name="connsiteY2332" fmla="*/ 3735 h 10000"/>
                  <a:gd name="connsiteX2333" fmla="*/ 111 w 10785"/>
                  <a:gd name="connsiteY2333" fmla="*/ 3761 h 10000"/>
                  <a:gd name="connsiteX2334" fmla="*/ 106 w 10785"/>
                  <a:gd name="connsiteY2334" fmla="*/ 3761 h 10000"/>
                  <a:gd name="connsiteX2335" fmla="*/ 106 w 10785"/>
                  <a:gd name="connsiteY2335" fmla="*/ 3761 h 10000"/>
                  <a:gd name="connsiteX2336" fmla="*/ 74 w 10785"/>
                  <a:gd name="connsiteY2336" fmla="*/ 3829 h 10000"/>
                  <a:gd name="connsiteX2337" fmla="*/ 78 w 10785"/>
                  <a:gd name="connsiteY2337" fmla="*/ 3838 h 10000"/>
                  <a:gd name="connsiteX2338" fmla="*/ 88 w 10785"/>
                  <a:gd name="connsiteY2338" fmla="*/ 3846 h 10000"/>
                  <a:gd name="connsiteX2339" fmla="*/ 65 w 10785"/>
                  <a:gd name="connsiteY2339" fmla="*/ 3923 h 10000"/>
                  <a:gd name="connsiteX2340" fmla="*/ 78 w 10785"/>
                  <a:gd name="connsiteY2340" fmla="*/ 4026 h 10000"/>
                  <a:gd name="connsiteX2341" fmla="*/ 88 w 10785"/>
                  <a:gd name="connsiteY2341" fmla="*/ 4051 h 10000"/>
                  <a:gd name="connsiteX2342" fmla="*/ 92 w 10785"/>
                  <a:gd name="connsiteY2342" fmla="*/ 4060 h 10000"/>
                  <a:gd name="connsiteX2343" fmla="*/ 111 w 10785"/>
                  <a:gd name="connsiteY2343" fmla="*/ 4060 h 10000"/>
                  <a:gd name="connsiteX2344" fmla="*/ 124 w 10785"/>
                  <a:gd name="connsiteY2344" fmla="*/ 4085 h 10000"/>
                  <a:gd name="connsiteX2345" fmla="*/ 166 w 10785"/>
                  <a:gd name="connsiteY2345" fmla="*/ 4197 h 10000"/>
                  <a:gd name="connsiteX2346" fmla="*/ 166 w 10785"/>
                  <a:gd name="connsiteY2346" fmla="*/ 4248 h 10000"/>
                  <a:gd name="connsiteX2347" fmla="*/ 120 w 10785"/>
                  <a:gd name="connsiteY2347" fmla="*/ 4462 h 10000"/>
                  <a:gd name="connsiteX2348" fmla="*/ 120 w 10785"/>
                  <a:gd name="connsiteY2348" fmla="*/ 4513 h 10000"/>
                  <a:gd name="connsiteX2349" fmla="*/ 180 w 10785"/>
                  <a:gd name="connsiteY2349" fmla="*/ 4829 h 10000"/>
                  <a:gd name="connsiteX2350" fmla="*/ 161 w 10785"/>
                  <a:gd name="connsiteY2350" fmla="*/ 4855 h 10000"/>
                  <a:gd name="connsiteX2351" fmla="*/ 152 w 10785"/>
                  <a:gd name="connsiteY2351" fmla="*/ 4940 h 10000"/>
                  <a:gd name="connsiteX2352" fmla="*/ 161 w 10785"/>
                  <a:gd name="connsiteY2352" fmla="*/ 4966 h 10000"/>
                  <a:gd name="connsiteX2353" fmla="*/ 161 w 10785"/>
                  <a:gd name="connsiteY2353" fmla="*/ 5009 h 10000"/>
                  <a:gd name="connsiteX2354" fmla="*/ 152 w 10785"/>
                  <a:gd name="connsiteY2354" fmla="*/ 5034 h 10000"/>
                  <a:gd name="connsiteX2355" fmla="*/ 152 w 10785"/>
                  <a:gd name="connsiteY2355" fmla="*/ 5077 h 10000"/>
                  <a:gd name="connsiteX2356" fmla="*/ 171 w 10785"/>
                  <a:gd name="connsiteY2356" fmla="*/ 5094 h 10000"/>
                  <a:gd name="connsiteX2357" fmla="*/ 180 w 10785"/>
                  <a:gd name="connsiteY2357" fmla="*/ 5128 h 10000"/>
                  <a:gd name="connsiteX2358" fmla="*/ 180 w 10785"/>
                  <a:gd name="connsiteY2358" fmla="*/ 5171 h 10000"/>
                  <a:gd name="connsiteX2359" fmla="*/ 184 w 10785"/>
                  <a:gd name="connsiteY2359" fmla="*/ 5205 h 10000"/>
                  <a:gd name="connsiteX2360" fmla="*/ 207 w 10785"/>
                  <a:gd name="connsiteY2360" fmla="*/ 5239 h 10000"/>
                  <a:gd name="connsiteX2361" fmla="*/ 207 w 10785"/>
                  <a:gd name="connsiteY2361" fmla="*/ 5282 h 10000"/>
                  <a:gd name="connsiteX2362" fmla="*/ 180 w 10785"/>
                  <a:gd name="connsiteY2362" fmla="*/ 5393 h 10000"/>
                  <a:gd name="connsiteX2363" fmla="*/ 194 w 10785"/>
                  <a:gd name="connsiteY2363" fmla="*/ 5427 h 10000"/>
                  <a:gd name="connsiteX2364" fmla="*/ 198 w 10785"/>
                  <a:gd name="connsiteY2364" fmla="*/ 5462 h 10000"/>
                  <a:gd name="connsiteX2365" fmla="*/ 235 w 10785"/>
                  <a:gd name="connsiteY2365" fmla="*/ 5513 h 10000"/>
                  <a:gd name="connsiteX2366" fmla="*/ 240 w 10785"/>
                  <a:gd name="connsiteY2366" fmla="*/ 5556 h 10000"/>
                  <a:gd name="connsiteX2367" fmla="*/ 253 w 10785"/>
                  <a:gd name="connsiteY2367" fmla="*/ 5590 h 10000"/>
                  <a:gd name="connsiteX2368" fmla="*/ 258 w 10785"/>
                  <a:gd name="connsiteY2368" fmla="*/ 5573 h 10000"/>
                  <a:gd name="connsiteX2369" fmla="*/ 258 w 10785"/>
                  <a:gd name="connsiteY2369" fmla="*/ 5667 h 10000"/>
                  <a:gd name="connsiteX2370" fmla="*/ 14 w 10785"/>
                  <a:gd name="connsiteY2370" fmla="*/ 6214 h 10000"/>
                  <a:gd name="connsiteX2371" fmla="*/ 14 w 10785"/>
                  <a:gd name="connsiteY2371" fmla="*/ 6214 h 10000"/>
                  <a:gd name="connsiteX2372" fmla="*/ 37 w 10785"/>
                  <a:gd name="connsiteY2372" fmla="*/ 6214 h 10000"/>
                  <a:gd name="connsiteX2373" fmla="*/ 51 w 10785"/>
                  <a:gd name="connsiteY2373" fmla="*/ 6188 h 10000"/>
                  <a:gd name="connsiteX2374" fmla="*/ 78 w 10785"/>
                  <a:gd name="connsiteY2374" fmla="*/ 6162 h 10000"/>
                  <a:gd name="connsiteX2375" fmla="*/ 78 w 10785"/>
                  <a:gd name="connsiteY2375" fmla="*/ 6188 h 10000"/>
                  <a:gd name="connsiteX2376" fmla="*/ 74 w 10785"/>
                  <a:gd name="connsiteY2376" fmla="*/ 6197 h 10000"/>
                  <a:gd name="connsiteX2377" fmla="*/ 74 w 10785"/>
                  <a:gd name="connsiteY2377" fmla="*/ 6231 h 10000"/>
                  <a:gd name="connsiteX2378" fmla="*/ 74 w 10785"/>
                  <a:gd name="connsiteY2378" fmla="*/ 6214 h 10000"/>
                  <a:gd name="connsiteX2379" fmla="*/ 65 w 10785"/>
                  <a:gd name="connsiteY2379" fmla="*/ 6214 h 10000"/>
                  <a:gd name="connsiteX2380" fmla="*/ 65 w 10785"/>
                  <a:gd name="connsiteY2380" fmla="*/ 6248 h 10000"/>
                  <a:gd name="connsiteX2381" fmla="*/ 74 w 10785"/>
                  <a:gd name="connsiteY2381" fmla="*/ 6256 h 10000"/>
                  <a:gd name="connsiteX2382" fmla="*/ 78 w 10785"/>
                  <a:gd name="connsiteY2382" fmla="*/ 6256 h 10000"/>
                  <a:gd name="connsiteX2383" fmla="*/ 106 w 10785"/>
                  <a:gd name="connsiteY2383" fmla="*/ 6308 h 10000"/>
                  <a:gd name="connsiteX2384" fmla="*/ 138 w 10785"/>
                  <a:gd name="connsiteY2384" fmla="*/ 6299 h 10000"/>
                  <a:gd name="connsiteX2385" fmla="*/ 152 w 10785"/>
                  <a:gd name="connsiteY2385" fmla="*/ 6299 h 10000"/>
                  <a:gd name="connsiteX2386" fmla="*/ 166 w 10785"/>
                  <a:gd name="connsiteY2386" fmla="*/ 6325 h 10000"/>
                  <a:gd name="connsiteX2387" fmla="*/ 166 w 10785"/>
                  <a:gd name="connsiteY2387" fmla="*/ 6333 h 10000"/>
                  <a:gd name="connsiteX2388" fmla="*/ 171 w 10785"/>
                  <a:gd name="connsiteY2388" fmla="*/ 6350 h 10000"/>
                  <a:gd name="connsiteX2389" fmla="*/ 180 w 10785"/>
                  <a:gd name="connsiteY2389" fmla="*/ 6350 h 10000"/>
                  <a:gd name="connsiteX2390" fmla="*/ 180 w 10785"/>
                  <a:gd name="connsiteY2390" fmla="*/ 6359 h 10000"/>
                  <a:gd name="connsiteX2391" fmla="*/ 171 w 10785"/>
                  <a:gd name="connsiteY2391" fmla="*/ 6368 h 10000"/>
                  <a:gd name="connsiteX2392" fmla="*/ 106 w 10785"/>
                  <a:gd name="connsiteY2392" fmla="*/ 6350 h 10000"/>
                  <a:gd name="connsiteX2393" fmla="*/ 101 w 10785"/>
                  <a:gd name="connsiteY2393" fmla="*/ 6359 h 10000"/>
                  <a:gd name="connsiteX2394" fmla="*/ 101 w 10785"/>
                  <a:gd name="connsiteY2394" fmla="*/ 6385 h 10000"/>
                  <a:gd name="connsiteX2395" fmla="*/ 78 w 10785"/>
                  <a:gd name="connsiteY2395" fmla="*/ 6393 h 10000"/>
                  <a:gd name="connsiteX2396" fmla="*/ 74 w 10785"/>
                  <a:gd name="connsiteY2396" fmla="*/ 6385 h 10000"/>
                  <a:gd name="connsiteX2397" fmla="*/ 65 w 10785"/>
                  <a:gd name="connsiteY2397" fmla="*/ 6393 h 10000"/>
                  <a:gd name="connsiteX2398" fmla="*/ 60 w 10785"/>
                  <a:gd name="connsiteY2398" fmla="*/ 6419 h 10000"/>
                  <a:gd name="connsiteX2399" fmla="*/ 51 w 10785"/>
                  <a:gd name="connsiteY2399" fmla="*/ 6419 h 10000"/>
                  <a:gd name="connsiteX2400" fmla="*/ 46 w 10785"/>
                  <a:gd name="connsiteY2400" fmla="*/ 6410 h 10000"/>
                  <a:gd name="connsiteX2401" fmla="*/ 37 w 10785"/>
                  <a:gd name="connsiteY2401" fmla="*/ 6393 h 10000"/>
                  <a:gd name="connsiteX2402" fmla="*/ 32 w 10785"/>
                  <a:gd name="connsiteY2402" fmla="*/ 6419 h 10000"/>
                  <a:gd name="connsiteX2403" fmla="*/ 37 w 10785"/>
                  <a:gd name="connsiteY2403" fmla="*/ 6462 h 10000"/>
                  <a:gd name="connsiteX2404" fmla="*/ 46 w 10785"/>
                  <a:gd name="connsiteY2404" fmla="*/ 6462 h 10000"/>
                  <a:gd name="connsiteX2405" fmla="*/ 51 w 10785"/>
                  <a:gd name="connsiteY2405" fmla="*/ 6470 h 10000"/>
                  <a:gd name="connsiteX2406" fmla="*/ 51 w 10785"/>
                  <a:gd name="connsiteY2406" fmla="*/ 6496 h 10000"/>
                  <a:gd name="connsiteX2407" fmla="*/ 51 w 10785"/>
                  <a:gd name="connsiteY2407" fmla="*/ 6504 h 10000"/>
                  <a:gd name="connsiteX2408" fmla="*/ 37 w 10785"/>
                  <a:gd name="connsiteY2408" fmla="*/ 6530 h 10000"/>
                  <a:gd name="connsiteX2409" fmla="*/ 18 w 10785"/>
                  <a:gd name="connsiteY2409" fmla="*/ 6598 h 10000"/>
                  <a:gd name="connsiteX2410" fmla="*/ 28 w 10785"/>
                  <a:gd name="connsiteY2410" fmla="*/ 6632 h 10000"/>
                  <a:gd name="connsiteX2411" fmla="*/ 18 w 10785"/>
                  <a:gd name="connsiteY2411" fmla="*/ 6667 h 10000"/>
                  <a:gd name="connsiteX2412" fmla="*/ 28 w 10785"/>
                  <a:gd name="connsiteY2412" fmla="*/ 6692 h 10000"/>
                  <a:gd name="connsiteX2413" fmla="*/ 28 w 10785"/>
                  <a:gd name="connsiteY2413" fmla="*/ 6709 h 10000"/>
                  <a:gd name="connsiteX2414" fmla="*/ 18 w 10785"/>
                  <a:gd name="connsiteY2414" fmla="*/ 6718 h 10000"/>
                  <a:gd name="connsiteX2415" fmla="*/ 5 w 10785"/>
                  <a:gd name="connsiteY2415" fmla="*/ 6744 h 10000"/>
                  <a:gd name="connsiteX2416" fmla="*/ 0 w 10785"/>
                  <a:gd name="connsiteY2416" fmla="*/ 6769 h 10000"/>
                  <a:gd name="connsiteX2417" fmla="*/ 5 w 10785"/>
                  <a:gd name="connsiteY2417" fmla="*/ 6778 h 10000"/>
                  <a:gd name="connsiteX2418" fmla="*/ 32 w 10785"/>
                  <a:gd name="connsiteY2418" fmla="*/ 6778 h 10000"/>
                  <a:gd name="connsiteX2419" fmla="*/ 46 w 10785"/>
                  <a:gd name="connsiteY2419" fmla="*/ 6821 h 10000"/>
                  <a:gd name="connsiteX2420" fmla="*/ 46 w 10785"/>
                  <a:gd name="connsiteY2420" fmla="*/ 6855 h 10000"/>
                  <a:gd name="connsiteX2421" fmla="*/ 32 w 10785"/>
                  <a:gd name="connsiteY2421" fmla="*/ 6855 h 10000"/>
                  <a:gd name="connsiteX2422" fmla="*/ 14 w 10785"/>
                  <a:gd name="connsiteY2422" fmla="*/ 6821 h 10000"/>
                  <a:gd name="connsiteX2423" fmla="*/ 14 w 10785"/>
                  <a:gd name="connsiteY2423" fmla="*/ 6846 h 10000"/>
                  <a:gd name="connsiteX2424" fmla="*/ 0 w 10785"/>
                  <a:gd name="connsiteY2424" fmla="*/ 6897 h 10000"/>
                  <a:gd name="connsiteX2425" fmla="*/ 0 w 10785"/>
                  <a:gd name="connsiteY2425" fmla="*/ 6915 h 10000"/>
                  <a:gd name="connsiteX2426" fmla="*/ 5 w 10785"/>
                  <a:gd name="connsiteY2426" fmla="*/ 6932 h 10000"/>
                  <a:gd name="connsiteX2427" fmla="*/ 14 w 10785"/>
                  <a:gd name="connsiteY2427" fmla="*/ 6940 h 10000"/>
                  <a:gd name="connsiteX2428" fmla="*/ 18 w 10785"/>
                  <a:gd name="connsiteY2428" fmla="*/ 6957 h 10000"/>
                  <a:gd name="connsiteX2429" fmla="*/ 28 w 10785"/>
                  <a:gd name="connsiteY2429" fmla="*/ 6966 h 10000"/>
                  <a:gd name="connsiteX2430" fmla="*/ 28 w 10785"/>
                  <a:gd name="connsiteY2430" fmla="*/ 6983 h 10000"/>
                  <a:gd name="connsiteX2431" fmla="*/ 18 w 10785"/>
                  <a:gd name="connsiteY2431" fmla="*/ 7051 h 10000"/>
                  <a:gd name="connsiteX2432" fmla="*/ 28 w 10785"/>
                  <a:gd name="connsiteY2432" fmla="*/ 7068 h 10000"/>
                  <a:gd name="connsiteX2433" fmla="*/ 32 w 10785"/>
                  <a:gd name="connsiteY2433" fmla="*/ 7068 h 10000"/>
                  <a:gd name="connsiteX2434" fmla="*/ 32 w 10785"/>
                  <a:gd name="connsiteY2434" fmla="*/ 7094 h 10000"/>
                  <a:gd name="connsiteX2435" fmla="*/ 60 w 10785"/>
                  <a:gd name="connsiteY2435" fmla="*/ 7162 h 10000"/>
                  <a:gd name="connsiteX2436" fmla="*/ 60 w 10785"/>
                  <a:gd name="connsiteY2436" fmla="*/ 7231 h 10000"/>
                  <a:gd name="connsiteX2437" fmla="*/ 60 w 10785"/>
                  <a:gd name="connsiteY2437" fmla="*/ 7239 h 10000"/>
                  <a:gd name="connsiteX2438" fmla="*/ 78 w 10785"/>
                  <a:gd name="connsiteY2438" fmla="*/ 7239 h 10000"/>
                  <a:gd name="connsiteX2439" fmla="*/ 88 w 10785"/>
                  <a:gd name="connsiteY2439" fmla="*/ 7239 h 10000"/>
                  <a:gd name="connsiteX2440" fmla="*/ 92 w 10785"/>
                  <a:gd name="connsiteY2440" fmla="*/ 7256 h 10000"/>
                  <a:gd name="connsiteX2441" fmla="*/ 111 w 10785"/>
                  <a:gd name="connsiteY2441" fmla="*/ 7256 h 10000"/>
                  <a:gd name="connsiteX2442" fmla="*/ 120 w 10785"/>
                  <a:gd name="connsiteY2442" fmla="*/ 7256 h 10000"/>
                  <a:gd name="connsiteX2443" fmla="*/ 134 w 10785"/>
                  <a:gd name="connsiteY2443" fmla="*/ 7282 h 10000"/>
                  <a:gd name="connsiteX2444" fmla="*/ 134 w 10785"/>
                  <a:gd name="connsiteY2444" fmla="*/ 7316 h 10000"/>
                  <a:gd name="connsiteX2445" fmla="*/ 152 w 10785"/>
                  <a:gd name="connsiteY2445" fmla="*/ 7299 h 10000"/>
                  <a:gd name="connsiteX2446" fmla="*/ 161 w 10785"/>
                  <a:gd name="connsiteY2446" fmla="*/ 7299 h 10000"/>
                  <a:gd name="connsiteX2447" fmla="*/ 166 w 10785"/>
                  <a:gd name="connsiteY2447" fmla="*/ 7291 h 10000"/>
                  <a:gd name="connsiteX2448" fmla="*/ 194 w 10785"/>
                  <a:gd name="connsiteY2448" fmla="*/ 7291 h 10000"/>
                  <a:gd name="connsiteX2449" fmla="*/ 207 w 10785"/>
                  <a:gd name="connsiteY2449" fmla="*/ 7299 h 10000"/>
                  <a:gd name="connsiteX2450" fmla="*/ 221 w 10785"/>
                  <a:gd name="connsiteY2450" fmla="*/ 7342 h 10000"/>
                  <a:gd name="connsiteX2451" fmla="*/ 235 w 10785"/>
                  <a:gd name="connsiteY2451" fmla="*/ 7342 h 10000"/>
                  <a:gd name="connsiteX2452" fmla="*/ 235 w 10785"/>
                  <a:gd name="connsiteY2452" fmla="*/ 7368 h 10000"/>
                  <a:gd name="connsiteX2453" fmla="*/ 226 w 10785"/>
                  <a:gd name="connsiteY2453" fmla="*/ 7393 h 10000"/>
                  <a:gd name="connsiteX2454" fmla="*/ 226 w 10785"/>
                  <a:gd name="connsiteY2454" fmla="*/ 7402 h 10000"/>
                  <a:gd name="connsiteX2455" fmla="*/ 235 w 10785"/>
                  <a:gd name="connsiteY2455" fmla="*/ 7419 h 10000"/>
                  <a:gd name="connsiteX2456" fmla="*/ 240 w 10785"/>
                  <a:gd name="connsiteY2456" fmla="*/ 7436 h 10000"/>
                  <a:gd name="connsiteX2457" fmla="*/ 235 w 10785"/>
                  <a:gd name="connsiteY2457" fmla="*/ 7462 h 10000"/>
                  <a:gd name="connsiteX2458" fmla="*/ 226 w 10785"/>
                  <a:gd name="connsiteY2458" fmla="*/ 7479 h 10000"/>
                  <a:gd name="connsiteX2459" fmla="*/ 226 w 10785"/>
                  <a:gd name="connsiteY2459" fmla="*/ 7504 h 10000"/>
                  <a:gd name="connsiteX2460" fmla="*/ 226 w 10785"/>
                  <a:gd name="connsiteY2460" fmla="*/ 7513 h 10000"/>
                  <a:gd name="connsiteX2461" fmla="*/ 240 w 10785"/>
                  <a:gd name="connsiteY2461" fmla="*/ 7538 h 10000"/>
                  <a:gd name="connsiteX2462" fmla="*/ 267 w 10785"/>
                  <a:gd name="connsiteY2462" fmla="*/ 7641 h 10000"/>
                  <a:gd name="connsiteX2463" fmla="*/ 281 w 10785"/>
                  <a:gd name="connsiteY2463" fmla="*/ 7667 h 10000"/>
                  <a:gd name="connsiteX2464" fmla="*/ 286 w 10785"/>
                  <a:gd name="connsiteY2464" fmla="*/ 7675 h 10000"/>
                  <a:gd name="connsiteX2465" fmla="*/ 286 w 10785"/>
                  <a:gd name="connsiteY2465" fmla="*/ 7692 h 10000"/>
                  <a:gd name="connsiteX2466" fmla="*/ 286 w 10785"/>
                  <a:gd name="connsiteY2466" fmla="*/ 7709 h 10000"/>
                  <a:gd name="connsiteX2467" fmla="*/ 295 w 10785"/>
                  <a:gd name="connsiteY2467" fmla="*/ 7726 h 10000"/>
                  <a:gd name="connsiteX2468" fmla="*/ 318 w 10785"/>
                  <a:gd name="connsiteY2468" fmla="*/ 7709 h 10000"/>
                  <a:gd name="connsiteX2469" fmla="*/ 327 w 10785"/>
                  <a:gd name="connsiteY2469" fmla="*/ 7726 h 10000"/>
                  <a:gd name="connsiteX2470" fmla="*/ 341 w 10785"/>
                  <a:gd name="connsiteY2470" fmla="*/ 7735 h 10000"/>
                  <a:gd name="connsiteX2471" fmla="*/ 332 w 10785"/>
                  <a:gd name="connsiteY2471" fmla="*/ 7752 h 10000"/>
                  <a:gd name="connsiteX2472" fmla="*/ 341 w 10785"/>
                  <a:gd name="connsiteY2472" fmla="*/ 7761 h 10000"/>
                  <a:gd name="connsiteX2473" fmla="*/ 355 w 10785"/>
                  <a:gd name="connsiteY2473" fmla="*/ 7761 h 10000"/>
                  <a:gd name="connsiteX2474" fmla="*/ 355 w 10785"/>
                  <a:gd name="connsiteY2474" fmla="*/ 7803 h 10000"/>
                  <a:gd name="connsiteX2475" fmla="*/ 313 w 10785"/>
                  <a:gd name="connsiteY2475" fmla="*/ 7846 h 10000"/>
                  <a:gd name="connsiteX2476" fmla="*/ 295 w 10785"/>
                  <a:gd name="connsiteY2476" fmla="*/ 7846 h 10000"/>
                  <a:gd name="connsiteX2477" fmla="*/ 281 w 10785"/>
                  <a:gd name="connsiteY2477" fmla="*/ 7821 h 10000"/>
                  <a:gd name="connsiteX2478" fmla="*/ 272 w 10785"/>
                  <a:gd name="connsiteY2478" fmla="*/ 7821 h 10000"/>
                  <a:gd name="connsiteX2479" fmla="*/ 267 w 10785"/>
                  <a:gd name="connsiteY2479" fmla="*/ 7838 h 10000"/>
                  <a:gd name="connsiteX2480" fmla="*/ 258 w 10785"/>
                  <a:gd name="connsiteY2480" fmla="*/ 7846 h 10000"/>
                  <a:gd name="connsiteX2481" fmla="*/ 253 w 10785"/>
                  <a:gd name="connsiteY2481" fmla="*/ 7863 h 10000"/>
                  <a:gd name="connsiteX2482" fmla="*/ 253 w 10785"/>
                  <a:gd name="connsiteY2482" fmla="*/ 7872 h 10000"/>
                  <a:gd name="connsiteX2483" fmla="*/ 267 w 10785"/>
                  <a:gd name="connsiteY2483" fmla="*/ 7897 h 10000"/>
                  <a:gd name="connsiteX2484" fmla="*/ 272 w 10785"/>
                  <a:gd name="connsiteY2484" fmla="*/ 7915 h 10000"/>
                  <a:gd name="connsiteX2485" fmla="*/ 267 w 10785"/>
                  <a:gd name="connsiteY2485" fmla="*/ 7940 h 10000"/>
                  <a:gd name="connsiteX2486" fmla="*/ 272 w 10785"/>
                  <a:gd name="connsiteY2486" fmla="*/ 7949 h 10000"/>
                  <a:gd name="connsiteX2487" fmla="*/ 272 w 10785"/>
                  <a:gd name="connsiteY2487" fmla="*/ 7957 h 10000"/>
                  <a:gd name="connsiteX2488" fmla="*/ 281 w 10785"/>
                  <a:gd name="connsiteY2488" fmla="*/ 7974 h 10000"/>
                  <a:gd name="connsiteX2489" fmla="*/ 286 w 10785"/>
                  <a:gd name="connsiteY2489" fmla="*/ 7983 h 10000"/>
                  <a:gd name="connsiteX2490" fmla="*/ 281 w 10785"/>
                  <a:gd name="connsiteY2490" fmla="*/ 8009 h 10000"/>
                  <a:gd name="connsiteX2491" fmla="*/ 286 w 10785"/>
                  <a:gd name="connsiteY2491" fmla="*/ 8060 h 10000"/>
                  <a:gd name="connsiteX2492" fmla="*/ 286 w 10785"/>
                  <a:gd name="connsiteY2492" fmla="*/ 8060 h 10000"/>
                  <a:gd name="connsiteX2493" fmla="*/ 295 w 10785"/>
                  <a:gd name="connsiteY2493" fmla="*/ 8077 h 10000"/>
                  <a:gd name="connsiteX2494" fmla="*/ 309 w 10785"/>
                  <a:gd name="connsiteY2494" fmla="*/ 8077 h 10000"/>
                  <a:gd name="connsiteX2495" fmla="*/ 313 w 10785"/>
                  <a:gd name="connsiteY2495" fmla="*/ 8060 h 10000"/>
                  <a:gd name="connsiteX2496" fmla="*/ 318 w 10785"/>
                  <a:gd name="connsiteY2496" fmla="*/ 8051 h 10000"/>
                  <a:gd name="connsiteX2497" fmla="*/ 318 w 10785"/>
                  <a:gd name="connsiteY2497" fmla="*/ 8034 h 10000"/>
                  <a:gd name="connsiteX2498" fmla="*/ 332 w 10785"/>
                  <a:gd name="connsiteY2498" fmla="*/ 8026 h 10000"/>
                  <a:gd name="connsiteX2499" fmla="*/ 359 w 10785"/>
                  <a:gd name="connsiteY2499" fmla="*/ 8034 h 10000"/>
                  <a:gd name="connsiteX2500" fmla="*/ 378 w 10785"/>
                  <a:gd name="connsiteY2500" fmla="*/ 8026 h 10000"/>
                  <a:gd name="connsiteX2501" fmla="*/ 401 w 10785"/>
                  <a:gd name="connsiteY2501" fmla="*/ 8026 h 10000"/>
                  <a:gd name="connsiteX2502" fmla="*/ 419 w 10785"/>
                  <a:gd name="connsiteY2502" fmla="*/ 8009 h 10000"/>
                  <a:gd name="connsiteX2503" fmla="*/ 433 w 10785"/>
                  <a:gd name="connsiteY2503" fmla="*/ 8034 h 10000"/>
                  <a:gd name="connsiteX2504" fmla="*/ 442 w 10785"/>
                  <a:gd name="connsiteY2504" fmla="*/ 8060 h 10000"/>
                  <a:gd name="connsiteX2505" fmla="*/ 442 w 10785"/>
                  <a:gd name="connsiteY2505" fmla="*/ 8077 h 10000"/>
                  <a:gd name="connsiteX2506" fmla="*/ 461 w 10785"/>
                  <a:gd name="connsiteY2506" fmla="*/ 8111 h 10000"/>
                  <a:gd name="connsiteX2507" fmla="*/ 461 w 10785"/>
                  <a:gd name="connsiteY2507" fmla="*/ 8137 h 10000"/>
                  <a:gd name="connsiteX2508" fmla="*/ 447 w 10785"/>
                  <a:gd name="connsiteY2508" fmla="*/ 8145 h 10000"/>
                  <a:gd name="connsiteX2509" fmla="*/ 442 w 10785"/>
                  <a:gd name="connsiteY2509" fmla="*/ 8145 h 10000"/>
                  <a:gd name="connsiteX2510" fmla="*/ 442 w 10785"/>
                  <a:gd name="connsiteY2510" fmla="*/ 8162 h 10000"/>
                  <a:gd name="connsiteX2511" fmla="*/ 442 w 10785"/>
                  <a:gd name="connsiteY2511" fmla="*/ 8171 h 10000"/>
                  <a:gd name="connsiteX2512" fmla="*/ 447 w 10785"/>
                  <a:gd name="connsiteY2512" fmla="*/ 8214 h 10000"/>
                  <a:gd name="connsiteX2513" fmla="*/ 465 w 10785"/>
                  <a:gd name="connsiteY2513" fmla="*/ 8231 h 10000"/>
                  <a:gd name="connsiteX2514" fmla="*/ 488 w 10785"/>
                  <a:gd name="connsiteY2514" fmla="*/ 8231 h 10000"/>
                  <a:gd name="connsiteX2515" fmla="*/ 493 w 10785"/>
                  <a:gd name="connsiteY2515" fmla="*/ 8231 h 10000"/>
                  <a:gd name="connsiteX2516" fmla="*/ 502 w 10785"/>
                  <a:gd name="connsiteY2516" fmla="*/ 8231 h 10000"/>
                  <a:gd name="connsiteX2517" fmla="*/ 507 w 10785"/>
                  <a:gd name="connsiteY2517" fmla="*/ 8248 h 10000"/>
                  <a:gd name="connsiteX2518" fmla="*/ 521 w 10785"/>
                  <a:gd name="connsiteY2518" fmla="*/ 8274 h 10000"/>
                  <a:gd name="connsiteX2519" fmla="*/ 525 w 10785"/>
                  <a:gd name="connsiteY2519" fmla="*/ 8333 h 10000"/>
                  <a:gd name="connsiteX2520" fmla="*/ 525 w 10785"/>
                  <a:gd name="connsiteY2520" fmla="*/ 8359 h 10000"/>
                  <a:gd name="connsiteX2521" fmla="*/ 525 w 10785"/>
                  <a:gd name="connsiteY2521" fmla="*/ 8368 h 10000"/>
                  <a:gd name="connsiteX2522" fmla="*/ 548 w 10785"/>
                  <a:gd name="connsiteY2522" fmla="*/ 8393 h 10000"/>
                  <a:gd name="connsiteX2523" fmla="*/ 553 w 10785"/>
                  <a:gd name="connsiteY2523" fmla="*/ 8385 h 10000"/>
                  <a:gd name="connsiteX2524" fmla="*/ 562 w 10785"/>
                  <a:gd name="connsiteY2524" fmla="*/ 8385 h 10000"/>
                  <a:gd name="connsiteX2525" fmla="*/ 576 w 10785"/>
                  <a:gd name="connsiteY2525" fmla="*/ 8385 h 10000"/>
                  <a:gd name="connsiteX2526" fmla="*/ 585 w 10785"/>
                  <a:gd name="connsiteY2526" fmla="*/ 8410 h 10000"/>
                  <a:gd name="connsiteX2527" fmla="*/ 594 w 10785"/>
                  <a:gd name="connsiteY2527" fmla="*/ 8410 h 10000"/>
                  <a:gd name="connsiteX2528" fmla="*/ 608 w 10785"/>
                  <a:gd name="connsiteY2528" fmla="*/ 8410 h 10000"/>
                  <a:gd name="connsiteX2529" fmla="*/ 654 w 10785"/>
                  <a:gd name="connsiteY2529" fmla="*/ 8385 h 10000"/>
                  <a:gd name="connsiteX2530" fmla="*/ 659 w 10785"/>
                  <a:gd name="connsiteY2530" fmla="*/ 8385 h 10000"/>
                  <a:gd name="connsiteX2531" fmla="*/ 696 w 10785"/>
                  <a:gd name="connsiteY2531" fmla="*/ 8470 h 10000"/>
                  <a:gd name="connsiteX2532" fmla="*/ 700 w 10785"/>
                  <a:gd name="connsiteY2532" fmla="*/ 8470 h 10000"/>
                  <a:gd name="connsiteX2533" fmla="*/ 710 w 10785"/>
                  <a:gd name="connsiteY2533" fmla="*/ 8462 h 10000"/>
                  <a:gd name="connsiteX2534" fmla="*/ 714 w 10785"/>
                  <a:gd name="connsiteY2534" fmla="*/ 8462 h 10000"/>
                  <a:gd name="connsiteX2535" fmla="*/ 724 w 10785"/>
                  <a:gd name="connsiteY2535" fmla="*/ 8470 h 10000"/>
                  <a:gd name="connsiteX2536" fmla="*/ 733 w 10785"/>
                  <a:gd name="connsiteY2536" fmla="*/ 8470 h 10000"/>
                  <a:gd name="connsiteX2537" fmla="*/ 742 w 10785"/>
                  <a:gd name="connsiteY2537" fmla="*/ 8487 h 10000"/>
                  <a:gd name="connsiteX2538" fmla="*/ 747 w 10785"/>
                  <a:gd name="connsiteY2538" fmla="*/ 8496 h 10000"/>
                  <a:gd name="connsiteX2539" fmla="*/ 770 w 10785"/>
                  <a:gd name="connsiteY2539" fmla="*/ 8496 h 10000"/>
                  <a:gd name="connsiteX2540" fmla="*/ 783 w 10785"/>
                  <a:gd name="connsiteY2540" fmla="*/ 8521 h 10000"/>
                  <a:gd name="connsiteX2541" fmla="*/ 797 w 10785"/>
                  <a:gd name="connsiteY2541" fmla="*/ 8521 h 10000"/>
                  <a:gd name="connsiteX2542" fmla="*/ 806 w 10785"/>
                  <a:gd name="connsiteY2542" fmla="*/ 8530 h 10000"/>
                  <a:gd name="connsiteX2543" fmla="*/ 829 w 10785"/>
                  <a:gd name="connsiteY2543" fmla="*/ 8547 h 10000"/>
                  <a:gd name="connsiteX2544" fmla="*/ 834 w 10785"/>
                  <a:gd name="connsiteY2544" fmla="*/ 8556 h 10000"/>
                  <a:gd name="connsiteX2545" fmla="*/ 829 w 10785"/>
                  <a:gd name="connsiteY2545" fmla="*/ 8556 h 10000"/>
                  <a:gd name="connsiteX2546" fmla="*/ 834 w 10785"/>
                  <a:gd name="connsiteY2546" fmla="*/ 8607 h 10000"/>
                  <a:gd name="connsiteX2547" fmla="*/ 829 w 10785"/>
                  <a:gd name="connsiteY2547" fmla="*/ 8641 h 10000"/>
                  <a:gd name="connsiteX2548" fmla="*/ 806 w 10785"/>
                  <a:gd name="connsiteY2548" fmla="*/ 8658 h 10000"/>
                  <a:gd name="connsiteX2549" fmla="*/ 816 w 10785"/>
                  <a:gd name="connsiteY2549" fmla="*/ 8667 h 10000"/>
                  <a:gd name="connsiteX2550" fmla="*/ 820 w 10785"/>
                  <a:gd name="connsiteY2550" fmla="*/ 8667 h 10000"/>
                  <a:gd name="connsiteX2551" fmla="*/ 829 w 10785"/>
                  <a:gd name="connsiteY2551" fmla="*/ 8684 h 10000"/>
                  <a:gd name="connsiteX2552" fmla="*/ 806 w 10785"/>
                  <a:gd name="connsiteY2552" fmla="*/ 8692 h 10000"/>
                  <a:gd name="connsiteX2553" fmla="*/ 802 w 10785"/>
                  <a:gd name="connsiteY2553" fmla="*/ 8709 h 10000"/>
                  <a:gd name="connsiteX2554" fmla="*/ 802 w 10785"/>
                  <a:gd name="connsiteY2554" fmla="*/ 8735 h 10000"/>
                  <a:gd name="connsiteX2555" fmla="*/ 806 w 10785"/>
                  <a:gd name="connsiteY2555" fmla="*/ 8744 h 10000"/>
                  <a:gd name="connsiteX2556" fmla="*/ 816 w 10785"/>
                  <a:gd name="connsiteY2556" fmla="*/ 8752 h 10000"/>
                  <a:gd name="connsiteX2557" fmla="*/ 806 w 10785"/>
                  <a:gd name="connsiteY2557" fmla="*/ 8778 h 10000"/>
                  <a:gd name="connsiteX2558" fmla="*/ 820 w 10785"/>
                  <a:gd name="connsiteY2558" fmla="*/ 8778 h 10000"/>
                  <a:gd name="connsiteX2559" fmla="*/ 806 w 10785"/>
                  <a:gd name="connsiteY2559" fmla="*/ 8880 h 10000"/>
                  <a:gd name="connsiteX2560" fmla="*/ 797 w 10785"/>
                  <a:gd name="connsiteY2560" fmla="*/ 8880 h 10000"/>
                  <a:gd name="connsiteX2561" fmla="*/ 783 w 10785"/>
                  <a:gd name="connsiteY2561" fmla="*/ 8872 h 10000"/>
                  <a:gd name="connsiteX2562" fmla="*/ 770 w 10785"/>
                  <a:gd name="connsiteY2562" fmla="*/ 8880 h 10000"/>
                  <a:gd name="connsiteX2563" fmla="*/ 756 w 10785"/>
                  <a:gd name="connsiteY2563" fmla="*/ 8855 h 10000"/>
                  <a:gd name="connsiteX2564" fmla="*/ 733 w 10785"/>
                  <a:gd name="connsiteY2564" fmla="*/ 8906 h 10000"/>
                  <a:gd name="connsiteX2565" fmla="*/ 714 w 10785"/>
                  <a:gd name="connsiteY2565" fmla="*/ 8915 h 10000"/>
                  <a:gd name="connsiteX2566" fmla="*/ 710 w 10785"/>
                  <a:gd name="connsiteY2566" fmla="*/ 8940 h 10000"/>
                  <a:gd name="connsiteX2567" fmla="*/ 710 w 10785"/>
                  <a:gd name="connsiteY2567" fmla="*/ 9009 h 10000"/>
                  <a:gd name="connsiteX2568" fmla="*/ 728 w 10785"/>
                  <a:gd name="connsiteY2568" fmla="*/ 8991 h 10000"/>
                  <a:gd name="connsiteX2569" fmla="*/ 733 w 10785"/>
                  <a:gd name="connsiteY2569" fmla="*/ 8991 h 10000"/>
                  <a:gd name="connsiteX2570" fmla="*/ 747 w 10785"/>
                  <a:gd name="connsiteY2570" fmla="*/ 8983 h 10000"/>
                  <a:gd name="connsiteX2571" fmla="*/ 760 w 10785"/>
                  <a:gd name="connsiteY2571" fmla="*/ 8983 h 10000"/>
                  <a:gd name="connsiteX2572" fmla="*/ 770 w 10785"/>
                  <a:gd name="connsiteY2572" fmla="*/ 8983 h 10000"/>
                  <a:gd name="connsiteX2573" fmla="*/ 770 w 10785"/>
                  <a:gd name="connsiteY2573" fmla="*/ 8991 h 10000"/>
                  <a:gd name="connsiteX2574" fmla="*/ 783 w 10785"/>
                  <a:gd name="connsiteY2574" fmla="*/ 8991 h 10000"/>
                  <a:gd name="connsiteX2575" fmla="*/ 783 w 10785"/>
                  <a:gd name="connsiteY2575" fmla="*/ 9009 h 10000"/>
                  <a:gd name="connsiteX2576" fmla="*/ 783 w 10785"/>
                  <a:gd name="connsiteY2576" fmla="*/ 9017 h 10000"/>
                  <a:gd name="connsiteX2577" fmla="*/ 770 w 10785"/>
                  <a:gd name="connsiteY2577" fmla="*/ 9017 h 10000"/>
                  <a:gd name="connsiteX2578" fmla="*/ 724 w 10785"/>
                  <a:gd name="connsiteY2578" fmla="*/ 9051 h 10000"/>
                  <a:gd name="connsiteX2579" fmla="*/ 724 w 10785"/>
                  <a:gd name="connsiteY2579" fmla="*/ 9068 h 10000"/>
                  <a:gd name="connsiteX2580" fmla="*/ 728 w 10785"/>
                  <a:gd name="connsiteY2580" fmla="*/ 9077 h 10000"/>
                  <a:gd name="connsiteX2581" fmla="*/ 724 w 10785"/>
                  <a:gd name="connsiteY2581" fmla="*/ 9077 h 10000"/>
                  <a:gd name="connsiteX2582" fmla="*/ 710 w 10785"/>
                  <a:gd name="connsiteY2582" fmla="*/ 9077 h 10000"/>
                  <a:gd name="connsiteX2583" fmla="*/ 682 w 10785"/>
                  <a:gd name="connsiteY2583" fmla="*/ 9077 h 10000"/>
                  <a:gd name="connsiteX2584" fmla="*/ 673 w 10785"/>
                  <a:gd name="connsiteY2584" fmla="*/ 9103 h 10000"/>
                  <a:gd name="connsiteX2585" fmla="*/ 687 w 10785"/>
                  <a:gd name="connsiteY2585" fmla="*/ 9128 h 10000"/>
                  <a:gd name="connsiteX2586" fmla="*/ 700 w 10785"/>
                  <a:gd name="connsiteY2586" fmla="*/ 9128 h 10000"/>
                  <a:gd name="connsiteX2587" fmla="*/ 728 w 10785"/>
                  <a:gd name="connsiteY2587" fmla="*/ 9179 h 10000"/>
                  <a:gd name="connsiteX2588" fmla="*/ 724 w 10785"/>
                  <a:gd name="connsiteY2588" fmla="*/ 9188 h 10000"/>
                  <a:gd name="connsiteX2589" fmla="*/ 710 w 10785"/>
                  <a:gd name="connsiteY2589" fmla="*/ 9179 h 10000"/>
                  <a:gd name="connsiteX2590" fmla="*/ 700 w 10785"/>
                  <a:gd name="connsiteY2590" fmla="*/ 9205 h 10000"/>
                  <a:gd name="connsiteX2591" fmla="*/ 696 w 10785"/>
                  <a:gd name="connsiteY2591" fmla="*/ 9205 h 10000"/>
                  <a:gd name="connsiteX2592" fmla="*/ 654 w 10785"/>
                  <a:gd name="connsiteY2592" fmla="*/ 9299 h 10000"/>
                  <a:gd name="connsiteX2593" fmla="*/ 622 w 10785"/>
                  <a:gd name="connsiteY2593" fmla="*/ 9299 h 10000"/>
                  <a:gd name="connsiteX2594" fmla="*/ 613 w 10785"/>
                  <a:gd name="connsiteY2594" fmla="*/ 9316 h 10000"/>
                  <a:gd name="connsiteX2595" fmla="*/ 613 w 10785"/>
                  <a:gd name="connsiteY2595" fmla="*/ 9325 h 10000"/>
                  <a:gd name="connsiteX2596" fmla="*/ 608 w 10785"/>
                  <a:gd name="connsiteY2596" fmla="*/ 9342 h 10000"/>
                  <a:gd name="connsiteX2597" fmla="*/ 636 w 10785"/>
                  <a:gd name="connsiteY2597" fmla="*/ 9376 h 10000"/>
                  <a:gd name="connsiteX2598" fmla="*/ 641 w 10785"/>
                  <a:gd name="connsiteY2598" fmla="*/ 9402 h 10000"/>
                  <a:gd name="connsiteX2599" fmla="*/ 654 w 10785"/>
                  <a:gd name="connsiteY2599" fmla="*/ 9427 h 10000"/>
                  <a:gd name="connsiteX2600" fmla="*/ 668 w 10785"/>
                  <a:gd name="connsiteY2600" fmla="*/ 9427 h 10000"/>
                  <a:gd name="connsiteX2601" fmla="*/ 668 w 10785"/>
                  <a:gd name="connsiteY2601" fmla="*/ 9427 h 10000"/>
                  <a:gd name="connsiteX2602" fmla="*/ 774 w 10785"/>
                  <a:gd name="connsiteY2602" fmla="*/ 9547 h 10000"/>
                  <a:gd name="connsiteX2603" fmla="*/ 797 w 10785"/>
                  <a:gd name="connsiteY2603" fmla="*/ 9598 h 10000"/>
                  <a:gd name="connsiteX2604" fmla="*/ 802 w 10785"/>
                  <a:gd name="connsiteY2604" fmla="*/ 9598 h 10000"/>
                  <a:gd name="connsiteX2605" fmla="*/ 816 w 10785"/>
                  <a:gd name="connsiteY2605" fmla="*/ 9624 h 10000"/>
                  <a:gd name="connsiteX2606" fmla="*/ 843 w 10785"/>
                  <a:gd name="connsiteY2606" fmla="*/ 9615 h 10000"/>
                  <a:gd name="connsiteX2607" fmla="*/ 857 w 10785"/>
                  <a:gd name="connsiteY2607" fmla="*/ 9624 h 10000"/>
                  <a:gd name="connsiteX2608" fmla="*/ 862 w 10785"/>
                  <a:gd name="connsiteY2608" fmla="*/ 9615 h 10000"/>
                  <a:gd name="connsiteX2609" fmla="*/ 880 w 10785"/>
                  <a:gd name="connsiteY2609" fmla="*/ 9624 h 10000"/>
                  <a:gd name="connsiteX2610" fmla="*/ 889 w 10785"/>
                  <a:gd name="connsiteY2610" fmla="*/ 9641 h 10000"/>
                  <a:gd name="connsiteX2611" fmla="*/ 935 w 10785"/>
                  <a:gd name="connsiteY2611" fmla="*/ 9675 h 10000"/>
                  <a:gd name="connsiteX2612" fmla="*/ 977 w 10785"/>
                  <a:gd name="connsiteY2612" fmla="*/ 9667 h 10000"/>
                  <a:gd name="connsiteX2613" fmla="*/ 995 w 10785"/>
                  <a:gd name="connsiteY2613" fmla="*/ 9675 h 10000"/>
                  <a:gd name="connsiteX2614" fmla="*/ 1014 w 10785"/>
                  <a:gd name="connsiteY2614" fmla="*/ 9675 h 10000"/>
                  <a:gd name="connsiteX2615" fmla="*/ 1069 w 10785"/>
                  <a:gd name="connsiteY2615" fmla="*/ 9752 h 10000"/>
                  <a:gd name="connsiteX2616" fmla="*/ 1074 w 10785"/>
                  <a:gd name="connsiteY2616" fmla="*/ 9761 h 10000"/>
                  <a:gd name="connsiteX2617" fmla="*/ 1083 w 10785"/>
                  <a:gd name="connsiteY2617" fmla="*/ 9778 h 10000"/>
                  <a:gd name="connsiteX2618" fmla="*/ 1115 w 10785"/>
                  <a:gd name="connsiteY2618" fmla="*/ 9752 h 10000"/>
                  <a:gd name="connsiteX2619" fmla="*/ 1129 w 10785"/>
                  <a:gd name="connsiteY2619" fmla="*/ 9752 h 10000"/>
                  <a:gd name="connsiteX2620" fmla="*/ 1138 w 10785"/>
                  <a:gd name="connsiteY2620" fmla="*/ 9761 h 10000"/>
                  <a:gd name="connsiteX2621" fmla="*/ 1143 w 10785"/>
                  <a:gd name="connsiteY2621" fmla="*/ 9752 h 10000"/>
                  <a:gd name="connsiteX2622" fmla="*/ 1161 w 10785"/>
                  <a:gd name="connsiteY2622" fmla="*/ 9761 h 10000"/>
                  <a:gd name="connsiteX2623" fmla="*/ 1171 w 10785"/>
                  <a:gd name="connsiteY2623" fmla="*/ 9778 h 10000"/>
                  <a:gd name="connsiteX2624" fmla="*/ 1175 w 10785"/>
                  <a:gd name="connsiteY2624" fmla="*/ 9778 h 10000"/>
                  <a:gd name="connsiteX2625" fmla="*/ 1189 w 10785"/>
                  <a:gd name="connsiteY2625" fmla="*/ 9778 h 10000"/>
                  <a:gd name="connsiteX2626" fmla="*/ 1198 w 10785"/>
                  <a:gd name="connsiteY2626" fmla="*/ 9786 h 10000"/>
                  <a:gd name="connsiteX2627" fmla="*/ 1203 w 10785"/>
                  <a:gd name="connsiteY2627" fmla="*/ 9803 h 10000"/>
                  <a:gd name="connsiteX2628" fmla="*/ 1198 w 10785"/>
                  <a:gd name="connsiteY2628" fmla="*/ 9838 h 10000"/>
                  <a:gd name="connsiteX2629" fmla="*/ 1212 w 10785"/>
                  <a:gd name="connsiteY2629" fmla="*/ 9863 h 10000"/>
                  <a:gd name="connsiteX2630" fmla="*/ 1230 w 10785"/>
                  <a:gd name="connsiteY2630" fmla="*/ 9872 h 10000"/>
                  <a:gd name="connsiteX2631" fmla="*/ 1249 w 10785"/>
                  <a:gd name="connsiteY2631" fmla="*/ 9897 h 10000"/>
                  <a:gd name="connsiteX2632" fmla="*/ 1263 w 10785"/>
                  <a:gd name="connsiteY2632" fmla="*/ 9897 h 10000"/>
                  <a:gd name="connsiteX2633" fmla="*/ 1276 w 10785"/>
                  <a:gd name="connsiteY2633" fmla="*/ 9923 h 10000"/>
                  <a:gd name="connsiteX2634" fmla="*/ 1281 w 10785"/>
                  <a:gd name="connsiteY2634" fmla="*/ 9949 h 10000"/>
                  <a:gd name="connsiteX2635" fmla="*/ 1290 w 10785"/>
                  <a:gd name="connsiteY2635" fmla="*/ 9949 h 10000"/>
                  <a:gd name="connsiteX2636" fmla="*/ 1295 w 10785"/>
                  <a:gd name="connsiteY2636" fmla="*/ 10000 h 10000"/>
                  <a:gd name="connsiteX2637" fmla="*/ 1332 w 10785"/>
                  <a:gd name="connsiteY2637" fmla="*/ 10000 h 10000"/>
                  <a:gd name="connsiteX2638" fmla="*/ 1336 w 10785"/>
                  <a:gd name="connsiteY2638" fmla="*/ 10000 h 10000"/>
                  <a:gd name="connsiteX2639" fmla="*/ 1346 w 10785"/>
                  <a:gd name="connsiteY2639" fmla="*/ 9983 h 10000"/>
                  <a:gd name="connsiteX2640" fmla="*/ 1350 w 10785"/>
                  <a:gd name="connsiteY2640" fmla="*/ 9949 h 10000"/>
                  <a:gd name="connsiteX2641" fmla="*/ 1369 w 10785"/>
                  <a:gd name="connsiteY2641" fmla="*/ 9940 h 10000"/>
                  <a:gd name="connsiteX2642" fmla="*/ 1378 w 10785"/>
                  <a:gd name="connsiteY2642" fmla="*/ 9897 h 10000"/>
                  <a:gd name="connsiteX2643" fmla="*/ 1369 w 10785"/>
                  <a:gd name="connsiteY2643" fmla="*/ 9889 h 10000"/>
                  <a:gd name="connsiteX2644" fmla="*/ 1318 w 10785"/>
                  <a:gd name="connsiteY2644" fmla="*/ 9701 h 10000"/>
                  <a:gd name="connsiteX2645" fmla="*/ 1318 w 10785"/>
                  <a:gd name="connsiteY2645" fmla="*/ 9650 h 10000"/>
                  <a:gd name="connsiteX2646" fmla="*/ 1323 w 10785"/>
                  <a:gd name="connsiteY2646" fmla="*/ 9590 h 10000"/>
                  <a:gd name="connsiteX2647" fmla="*/ 1323 w 10785"/>
                  <a:gd name="connsiteY2647" fmla="*/ 9564 h 10000"/>
                  <a:gd name="connsiteX2648" fmla="*/ 1309 w 10785"/>
                  <a:gd name="connsiteY2648" fmla="*/ 9598 h 10000"/>
                  <a:gd name="connsiteX2649" fmla="*/ 1309 w 10785"/>
                  <a:gd name="connsiteY2649" fmla="*/ 9590 h 10000"/>
                  <a:gd name="connsiteX2650" fmla="*/ 1304 w 10785"/>
                  <a:gd name="connsiteY2650" fmla="*/ 9547 h 10000"/>
                  <a:gd name="connsiteX2651" fmla="*/ 1276 w 10785"/>
                  <a:gd name="connsiteY2651" fmla="*/ 9479 h 10000"/>
                  <a:gd name="connsiteX2652" fmla="*/ 1263 w 10785"/>
                  <a:gd name="connsiteY2652" fmla="*/ 9479 h 10000"/>
                  <a:gd name="connsiteX2653" fmla="*/ 1263 w 10785"/>
                  <a:gd name="connsiteY2653" fmla="*/ 9453 h 10000"/>
                  <a:gd name="connsiteX2654" fmla="*/ 1272 w 10785"/>
                  <a:gd name="connsiteY2654" fmla="*/ 9410 h 10000"/>
                  <a:gd name="connsiteX2655" fmla="*/ 1272 w 10785"/>
                  <a:gd name="connsiteY2655" fmla="*/ 9393 h 10000"/>
                  <a:gd name="connsiteX2656" fmla="*/ 1281 w 10785"/>
                  <a:gd name="connsiteY2656" fmla="*/ 9368 h 10000"/>
                  <a:gd name="connsiteX2657" fmla="*/ 1281 w 10785"/>
                  <a:gd name="connsiteY2657" fmla="*/ 9368 h 10000"/>
                  <a:gd name="connsiteX2658" fmla="*/ 1290 w 10785"/>
                  <a:gd name="connsiteY2658" fmla="*/ 9368 h 10000"/>
                  <a:gd name="connsiteX2659" fmla="*/ 1290 w 10785"/>
                  <a:gd name="connsiteY2659" fmla="*/ 9342 h 10000"/>
                  <a:gd name="connsiteX2660" fmla="*/ 1304 w 10785"/>
                  <a:gd name="connsiteY2660" fmla="*/ 9325 h 10000"/>
                  <a:gd name="connsiteX2661" fmla="*/ 1309 w 10785"/>
                  <a:gd name="connsiteY2661" fmla="*/ 9239 h 10000"/>
                  <a:gd name="connsiteX2662" fmla="*/ 1318 w 10785"/>
                  <a:gd name="connsiteY2662" fmla="*/ 9256 h 10000"/>
                  <a:gd name="connsiteX2663" fmla="*/ 1323 w 10785"/>
                  <a:gd name="connsiteY2663" fmla="*/ 9179 h 10000"/>
                  <a:gd name="connsiteX2664" fmla="*/ 1309 w 10785"/>
                  <a:gd name="connsiteY2664" fmla="*/ 9145 h 10000"/>
                  <a:gd name="connsiteX2665" fmla="*/ 1336 w 10785"/>
                  <a:gd name="connsiteY2665" fmla="*/ 9154 h 10000"/>
                  <a:gd name="connsiteX2666" fmla="*/ 1336 w 10785"/>
                  <a:gd name="connsiteY2666" fmla="*/ 9162 h 10000"/>
                  <a:gd name="connsiteX2667" fmla="*/ 1350 w 10785"/>
                  <a:gd name="connsiteY2667" fmla="*/ 9231 h 10000"/>
                  <a:gd name="connsiteX2668" fmla="*/ 1355 w 10785"/>
                  <a:gd name="connsiteY2668" fmla="*/ 9231 h 10000"/>
                  <a:gd name="connsiteX2669" fmla="*/ 1364 w 10785"/>
                  <a:gd name="connsiteY2669" fmla="*/ 9214 h 10000"/>
                  <a:gd name="connsiteX2670" fmla="*/ 1369 w 10785"/>
                  <a:gd name="connsiteY2670" fmla="*/ 9214 h 10000"/>
                  <a:gd name="connsiteX2671" fmla="*/ 1382 w 10785"/>
                  <a:gd name="connsiteY2671" fmla="*/ 9154 h 10000"/>
                  <a:gd name="connsiteX2672" fmla="*/ 1396 w 10785"/>
                  <a:gd name="connsiteY2672" fmla="*/ 9154 h 10000"/>
                  <a:gd name="connsiteX2673" fmla="*/ 1382 w 10785"/>
                  <a:gd name="connsiteY2673" fmla="*/ 9145 h 10000"/>
                  <a:gd name="connsiteX2674" fmla="*/ 1382 w 10785"/>
                  <a:gd name="connsiteY2674" fmla="*/ 9128 h 10000"/>
                  <a:gd name="connsiteX2675" fmla="*/ 1369 w 10785"/>
                  <a:gd name="connsiteY2675" fmla="*/ 9128 h 10000"/>
                  <a:gd name="connsiteX2676" fmla="*/ 1364 w 10785"/>
                  <a:gd name="connsiteY2676" fmla="*/ 9128 h 10000"/>
                  <a:gd name="connsiteX2677" fmla="*/ 1355 w 10785"/>
                  <a:gd name="connsiteY2677" fmla="*/ 9120 h 10000"/>
                  <a:gd name="connsiteX2678" fmla="*/ 1350 w 10785"/>
                  <a:gd name="connsiteY2678" fmla="*/ 9103 h 10000"/>
                  <a:gd name="connsiteX2679" fmla="*/ 1355 w 10785"/>
                  <a:gd name="connsiteY2679" fmla="*/ 9094 h 10000"/>
                  <a:gd name="connsiteX2680" fmla="*/ 1355 w 10785"/>
                  <a:gd name="connsiteY2680" fmla="*/ 9068 h 10000"/>
                  <a:gd name="connsiteX2681" fmla="*/ 1369 w 10785"/>
                  <a:gd name="connsiteY2681" fmla="*/ 9068 h 10000"/>
                  <a:gd name="connsiteX2682" fmla="*/ 1378 w 10785"/>
                  <a:gd name="connsiteY2682" fmla="*/ 9077 h 10000"/>
                  <a:gd name="connsiteX2683" fmla="*/ 1396 w 10785"/>
                  <a:gd name="connsiteY2683" fmla="*/ 9068 h 10000"/>
                  <a:gd name="connsiteX2684" fmla="*/ 1382 w 10785"/>
                  <a:gd name="connsiteY2684" fmla="*/ 8940 h 10000"/>
                  <a:gd name="connsiteX2685" fmla="*/ 1378 w 10785"/>
                  <a:gd name="connsiteY2685" fmla="*/ 8940 h 10000"/>
                  <a:gd name="connsiteX2686" fmla="*/ 1364 w 10785"/>
                  <a:gd name="connsiteY2686" fmla="*/ 8889 h 10000"/>
                  <a:gd name="connsiteX2687" fmla="*/ 1355 w 10785"/>
                  <a:gd name="connsiteY2687" fmla="*/ 8880 h 10000"/>
                  <a:gd name="connsiteX2688" fmla="*/ 1323 w 10785"/>
                  <a:gd name="connsiteY2688" fmla="*/ 8880 h 10000"/>
                  <a:gd name="connsiteX2689" fmla="*/ 1309 w 10785"/>
                  <a:gd name="connsiteY2689" fmla="*/ 8880 h 10000"/>
                  <a:gd name="connsiteX2690" fmla="*/ 1309 w 10785"/>
                  <a:gd name="connsiteY2690" fmla="*/ 8889 h 10000"/>
                  <a:gd name="connsiteX2691" fmla="*/ 1295 w 10785"/>
                  <a:gd name="connsiteY2691" fmla="*/ 8872 h 10000"/>
                  <a:gd name="connsiteX2692" fmla="*/ 1290 w 10785"/>
                  <a:gd name="connsiteY2692" fmla="*/ 8855 h 10000"/>
                  <a:gd name="connsiteX2693" fmla="*/ 1290 w 10785"/>
                  <a:gd name="connsiteY2693" fmla="*/ 8829 h 10000"/>
                  <a:gd name="connsiteX2694" fmla="*/ 1290 w 10785"/>
                  <a:gd name="connsiteY2694" fmla="*/ 8821 h 10000"/>
                  <a:gd name="connsiteX2695" fmla="*/ 1290 w 10785"/>
                  <a:gd name="connsiteY2695" fmla="*/ 8803 h 10000"/>
                  <a:gd name="connsiteX2696" fmla="*/ 1281 w 10785"/>
                  <a:gd name="connsiteY2696" fmla="*/ 8795 h 10000"/>
                  <a:gd name="connsiteX2697" fmla="*/ 1249 w 10785"/>
                  <a:gd name="connsiteY2697" fmla="*/ 8769 h 10000"/>
                  <a:gd name="connsiteX2698" fmla="*/ 1263 w 10785"/>
                  <a:gd name="connsiteY2698" fmla="*/ 8667 h 10000"/>
                  <a:gd name="connsiteX2699" fmla="*/ 1281 w 10785"/>
                  <a:gd name="connsiteY2699" fmla="*/ 8658 h 10000"/>
                  <a:gd name="connsiteX2700" fmla="*/ 1290 w 10785"/>
                  <a:gd name="connsiteY2700" fmla="*/ 8632 h 10000"/>
                  <a:gd name="connsiteX2701" fmla="*/ 1281 w 10785"/>
                  <a:gd name="connsiteY2701" fmla="*/ 8615 h 10000"/>
                  <a:gd name="connsiteX2702" fmla="*/ 1272 w 10785"/>
                  <a:gd name="connsiteY2702" fmla="*/ 8598 h 10000"/>
                  <a:gd name="connsiteX2703" fmla="*/ 1281 w 10785"/>
                  <a:gd name="connsiteY2703" fmla="*/ 8496 h 10000"/>
                  <a:gd name="connsiteX2704" fmla="*/ 1295 w 10785"/>
                  <a:gd name="connsiteY2704" fmla="*/ 8470 h 10000"/>
                  <a:gd name="connsiteX2705" fmla="*/ 1304 w 10785"/>
                  <a:gd name="connsiteY2705" fmla="*/ 8462 h 10000"/>
                  <a:gd name="connsiteX2706" fmla="*/ 1304 w 10785"/>
                  <a:gd name="connsiteY2706" fmla="*/ 8444 h 10000"/>
                  <a:gd name="connsiteX2707" fmla="*/ 1304 w 10785"/>
                  <a:gd name="connsiteY2707" fmla="*/ 8419 h 10000"/>
                  <a:gd name="connsiteX2708" fmla="*/ 1304 w 10785"/>
                  <a:gd name="connsiteY2708" fmla="*/ 8410 h 10000"/>
                  <a:gd name="connsiteX2709" fmla="*/ 1309 w 10785"/>
                  <a:gd name="connsiteY2709" fmla="*/ 8393 h 10000"/>
                  <a:gd name="connsiteX2710" fmla="*/ 1318 w 10785"/>
                  <a:gd name="connsiteY2710" fmla="*/ 8385 h 10000"/>
                  <a:gd name="connsiteX2711" fmla="*/ 1323 w 10785"/>
                  <a:gd name="connsiteY2711" fmla="*/ 8385 h 10000"/>
                  <a:gd name="connsiteX2712" fmla="*/ 1332 w 10785"/>
                  <a:gd name="connsiteY2712" fmla="*/ 8410 h 10000"/>
                  <a:gd name="connsiteX2713" fmla="*/ 1346 w 10785"/>
                  <a:gd name="connsiteY2713" fmla="*/ 8419 h 10000"/>
                  <a:gd name="connsiteX2714" fmla="*/ 1364 w 10785"/>
                  <a:gd name="connsiteY2714" fmla="*/ 8504 h 10000"/>
                  <a:gd name="connsiteX2715" fmla="*/ 1369 w 10785"/>
                  <a:gd name="connsiteY2715" fmla="*/ 8521 h 10000"/>
                  <a:gd name="connsiteX2716" fmla="*/ 1406 w 10785"/>
                  <a:gd name="connsiteY2716" fmla="*/ 8470 h 10000"/>
                  <a:gd name="connsiteX2717" fmla="*/ 1382 w 10785"/>
                  <a:gd name="connsiteY2717" fmla="*/ 8359 h 10000"/>
                  <a:gd name="connsiteX2718" fmla="*/ 1392 w 10785"/>
                  <a:gd name="connsiteY2718" fmla="*/ 8359 h 10000"/>
                  <a:gd name="connsiteX2719" fmla="*/ 1438 w 10785"/>
                  <a:gd name="connsiteY2719" fmla="*/ 8308 h 10000"/>
                  <a:gd name="connsiteX2720" fmla="*/ 1442 w 10785"/>
                  <a:gd name="connsiteY2720" fmla="*/ 8299 h 10000"/>
                  <a:gd name="connsiteX2721" fmla="*/ 1442 w 10785"/>
                  <a:gd name="connsiteY2721" fmla="*/ 8256 h 10000"/>
                  <a:gd name="connsiteX2722" fmla="*/ 1452 w 10785"/>
                  <a:gd name="connsiteY2722" fmla="*/ 8256 h 10000"/>
                  <a:gd name="connsiteX2723" fmla="*/ 1456 w 10785"/>
                  <a:gd name="connsiteY2723" fmla="*/ 8256 h 10000"/>
                  <a:gd name="connsiteX2724" fmla="*/ 1470 w 10785"/>
                  <a:gd name="connsiteY2724" fmla="*/ 8248 h 10000"/>
                  <a:gd name="connsiteX2725" fmla="*/ 1479 w 10785"/>
                  <a:gd name="connsiteY2725" fmla="*/ 8231 h 10000"/>
                  <a:gd name="connsiteX2726" fmla="*/ 1493 w 10785"/>
                  <a:gd name="connsiteY2726" fmla="*/ 8222 h 10000"/>
                  <a:gd name="connsiteX2727" fmla="*/ 1498 w 10785"/>
                  <a:gd name="connsiteY2727" fmla="*/ 8214 h 10000"/>
                  <a:gd name="connsiteX2728" fmla="*/ 1502 w 10785"/>
                  <a:gd name="connsiteY2728" fmla="*/ 8197 h 10000"/>
                  <a:gd name="connsiteX2729" fmla="*/ 1512 w 10785"/>
                  <a:gd name="connsiteY2729" fmla="*/ 8188 h 10000"/>
                  <a:gd name="connsiteX2730" fmla="*/ 1516 w 10785"/>
                  <a:gd name="connsiteY2730" fmla="*/ 8171 h 10000"/>
                  <a:gd name="connsiteX2731" fmla="*/ 1525 w 10785"/>
                  <a:gd name="connsiteY2731" fmla="*/ 8162 h 10000"/>
                  <a:gd name="connsiteX2732" fmla="*/ 1539 w 10785"/>
                  <a:gd name="connsiteY2732" fmla="*/ 8145 h 10000"/>
                  <a:gd name="connsiteX2733" fmla="*/ 1558 w 10785"/>
                  <a:gd name="connsiteY2733" fmla="*/ 8145 h 10000"/>
                  <a:gd name="connsiteX2734" fmla="*/ 1562 w 10785"/>
                  <a:gd name="connsiteY2734" fmla="*/ 8188 h 10000"/>
                  <a:gd name="connsiteX2735" fmla="*/ 1585 w 10785"/>
                  <a:gd name="connsiteY2735" fmla="*/ 8171 h 10000"/>
                  <a:gd name="connsiteX2736" fmla="*/ 1590 w 10785"/>
                  <a:gd name="connsiteY2736" fmla="*/ 8188 h 10000"/>
                  <a:gd name="connsiteX2737" fmla="*/ 1599 w 10785"/>
                  <a:gd name="connsiteY2737" fmla="*/ 8171 h 10000"/>
                  <a:gd name="connsiteX2738" fmla="*/ 1599 w 10785"/>
                  <a:gd name="connsiteY2738" fmla="*/ 8162 h 10000"/>
                  <a:gd name="connsiteX2739" fmla="*/ 1604 w 10785"/>
                  <a:gd name="connsiteY2739" fmla="*/ 8137 h 10000"/>
                  <a:gd name="connsiteX2740" fmla="*/ 1618 w 10785"/>
                  <a:gd name="connsiteY2740" fmla="*/ 8145 h 10000"/>
                  <a:gd name="connsiteX2741" fmla="*/ 1627 w 10785"/>
                  <a:gd name="connsiteY2741" fmla="*/ 8137 h 10000"/>
                  <a:gd name="connsiteX2742" fmla="*/ 1631 w 10785"/>
                  <a:gd name="connsiteY2742" fmla="*/ 8137 h 10000"/>
                  <a:gd name="connsiteX2743" fmla="*/ 1636 w 10785"/>
                  <a:gd name="connsiteY2743" fmla="*/ 8171 h 10000"/>
                  <a:gd name="connsiteX2744" fmla="*/ 1645 w 10785"/>
                  <a:gd name="connsiteY2744" fmla="*/ 8188 h 10000"/>
                  <a:gd name="connsiteX2745" fmla="*/ 1664 w 10785"/>
                  <a:gd name="connsiteY2745" fmla="*/ 8171 h 10000"/>
                  <a:gd name="connsiteX2746" fmla="*/ 1673 w 10785"/>
                  <a:gd name="connsiteY2746" fmla="*/ 8188 h 10000"/>
                  <a:gd name="connsiteX2747" fmla="*/ 1691 w 10785"/>
                  <a:gd name="connsiteY2747" fmla="*/ 8171 h 10000"/>
                  <a:gd name="connsiteX2748" fmla="*/ 1705 w 10785"/>
                  <a:gd name="connsiteY2748" fmla="*/ 8171 h 10000"/>
                  <a:gd name="connsiteX2749" fmla="*/ 1719 w 10785"/>
                  <a:gd name="connsiteY2749" fmla="*/ 8197 h 10000"/>
                  <a:gd name="connsiteX2750" fmla="*/ 1724 w 10785"/>
                  <a:gd name="connsiteY2750" fmla="*/ 8231 h 10000"/>
                  <a:gd name="connsiteX2751" fmla="*/ 1751 w 10785"/>
                  <a:gd name="connsiteY2751" fmla="*/ 8256 h 10000"/>
                  <a:gd name="connsiteX2752" fmla="*/ 1751 w 10785"/>
                  <a:gd name="connsiteY2752" fmla="*/ 8274 h 10000"/>
                  <a:gd name="connsiteX2753" fmla="*/ 1760 w 10785"/>
                  <a:gd name="connsiteY2753" fmla="*/ 8282 h 10000"/>
                  <a:gd name="connsiteX2754" fmla="*/ 1770 w 10785"/>
                  <a:gd name="connsiteY2754" fmla="*/ 8325 h 10000"/>
                  <a:gd name="connsiteX2755" fmla="*/ 1770 w 10785"/>
                  <a:gd name="connsiteY2755" fmla="*/ 8350 h 10000"/>
                  <a:gd name="connsiteX2756" fmla="*/ 1779 w 10785"/>
                  <a:gd name="connsiteY2756" fmla="*/ 8368 h 10000"/>
                  <a:gd name="connsiteX2757" fmla="*/ 1783 w 10785"/>
                  <a:gd name="connsiteY2757" fmla="*/ 8359 h 10000"/>
                  <a:gd name="connsiteX2758" fmla="*/ 1783 w 10785"/>
                  <a:gd name="connsiteY2758" fmla="*/ 8308 h 10000"/>
                  <a:gd name="connsiteX2759" fmla="*/ 1779 w 10785"/>
                  <a:gd name="connsiteY2759" fmla="*/ 8299 h 10000"/>
                  <a:gd name="connsiteX2760" fmla="*/ 1783 w 10785"/>
                  <a:gd name="connsiteY2760" fmla="*/ 8282 h 10000"/>
                  <a:gd name="connsiteX2761" fmla="*/ 1797 w 10785"/>
                  <a:gd name="connsiteY2761" fmla="*/ 8274 h 10000"/>
                  <a:gd name="connsiteX2762" fmla="*/ 1797 w 10785"/>
                  <a:gd name="connsiteY2762" fmla="*/ 8299 h 10000"/>
                  <a:gd name="connsiteX2763" fmla="*/ 1806 w 10785"/>
                  <a:gd name="connsiteY2763" fmla="*/ 8308 h 10000"/>
                  <a:gd name="connsiteX2764" fmla="*/ 1811 w 10785"/>
                  <a:gd name="connsiteY2764" fmla="*/ 8325 h 10000"/>
                  <a:gd name="connsiteX2765" fmla="*/ 1820 w 10785"/>
                  <a:gd name="connsiteY2765" fmla="*/ 8333 h 10000"/>
                  <a:gd name="connsiteX2766" fmla="*/ 1853 w 10785"/>
                  <a:gd name="connsiteY2766" fmla="*/ 8359 h 10000"/>
                  <a:gd name="connsiteX2767" fmla="*/ 1866 w 10785"/>
                  <a:gd name="connsiteY2767" fmla="*/ 8359 h 10000"/>
                  <a:gd name="connsiteX2768" fmla="*/ 1885 w 10785"/>
                  <a:gd name="connsiteY2768" fmla="*/ 8325 h 10000"/>
                  <a:gd name="connsiteX2769" fmla="*/ 1885 w 10785"/>
                  <a:gd name="connsiteY2769" fmla="*/ 8308 h 10000"/>
                  <a:gd name="connsiteX2770" fmla="*/ 1894 w 10785"/>
                  <a:gd name="connsiteY2770" fmla="*/ 8299 h 10000"/>
                  <a:gd name="connsiteX2771" fmla="*/ 1899 w 10785"/>
                  <a:gd name="connsiteY2771" fmla="*/ 8282 h 10000"/>
                  <a:gd name="connsiteX2772" fmla="*/ 1912 w 10785"/>
                  <a:gd name="connsiteY2772" fmla="*/ 8282 h 10000"/>
                  <a:gd name="connsiteX2773" fmla="*/ 1917 w 10785"/>
                  <a:gd name="connsiteY2773" fmla="*/ 8299 h 10000"/>
                  <a:gd name="connsiteX2774" fmla="*/ 1917 w 10785"/>
                  <a:gd name="connsiteY2774" fmla="*/ 8274 h 10000"/>
                  <a:gd name="connsiteX2775" fmla="*/ 1940 w 10785"/>
                  <a:gd name="connsiteY2775" fmla="*/ 8282 h 10000"/>
                  <a:gd name="connsiteX2776" fmla="*/ 1945 w 10785"/>
                  <a:gd name="connsiteY2776" fmla="*/ 8274 h 10000"/>
                  <a:gd name="connsiteX2777" fmla="*/ 1972 w 10785"/>
                  <a:gd name="connsiteY2777" fmla="*/ 8308 h 10000"/>
                  <a:gd name="connsiteX2778" fmla="*/ 1986 w 10785"/>
                  <a:gd name="connsiteY2778" fmla="*/ 8282 h 10000"/>
                  <a:gd name="connsiteX2779" fmla="*/ 1991 w 10785"/>
                  <a:gd name="connsiteY2779" fmla="*/ 8274 h 10000"/>
                  <a:gd name="connsiteX2780" fmla="*/ 2014 w 10785"/>
                  <a:gd name="connsiteY2780" fmla="*/ 8274 h 10000"/>
                  <a:gd name="connsiteX2781" fmla="*/ 2018 w 10785"/>
                  <a:gd name="connsiteY2781" fmla="*/ 8256 h 10000"/>
                  <a:gd name="connsiteX2782" fmla="*/ 2041 w 10785"/>
                  <a:gd name="connsiteY2782" fmla="*/ 8274 h 10000"/>
                  <a:gd name="connsiteX2783" fmla="*/ 2046 w 10785"/>
                  <a:gd name="connsiteY2783" fmla="*/ 8282 h 10000"/>
                  <a:gd name="connsiteX2784" fmla="*/ 2046 w 10785"/>
                  <a:gd name="connsiteY2784" fmla="*/ 8325 h 10000"/>
                  <a:gd name="connsiteX2785" fmla="*/ 2060 w 10785"/>
                  <a:gd name="connsiteY2785" fmla="*/ 8350 h 10000"/>
                  <a:gd name="connsiteX2786" fmla="*/ 2078 w 10785"/>
                  <a:gd name="connsiteY2786" fmla="*/ 8350 h 10000"/>
                  <a:gd name="connsiteX2787" fmla="*/ 2092 w 10785"/>
                  <a:gd name="connsiteY2787" fmla="*/ 8350 h 10000"/>
                  <a:gd name="connsiteX2788" fmla="*/ 2092 w 10785"/>
                  <a:gd name="connsiteY2788" fmla="*/ 8350 h 10000"/>
                  <a:gd name="connsiteX2789" fmla="*/ 2101 w 10785"/>
                  <a:gd name="connsiteY2789" fmla="*/ 8368 h 10000"/>
                  <a:gd name="connsiteX2790" fmla="*/ 2120 w 10785"/>
                  <a:gd name="connsiteY2790" fmla="*/ 8368 h 10000"/>
                  <a:gd name="connsiteX2791" fmla="*/ 2124 w 10785"/>
                  <a:gd name="connsiteY2791" fmla="*/ 8359 h 10000"/>
                  <a:gd name="connsiteX2792" fmla="*/ 2138 w 10785"/>
                  <a:gd name="connsiteY2792" fmla="*/ 8325 h 10000"/>
                  <a:gd name="connsiteX2793" fmla="*/ 2147 w 10785"/>
                  <a:gd name="connsiteY2793" fmla="*/ 8325 h 10000"/>
                  <a:gd name="connsiteX2794" fmla="*/ 2161 w 10785"/>
                  <a:gd name="connsiteY2794" fmla="*/ 8350 h 10000"/>
                  <a:gd name="connsiteX2795" fmla="*/ 2198 w 10785"/>
                  <a:gd name="connsiteY2795" fmla="*/ 8350 h 10000"/>
                  <a:gd name="connsiteX2796" fmla="*/ 2207 w 10785"/>
                  <a:gd name="connsiteY2796" fmla="*/ 8333 h 10000"/>
                  <a:gd name="connsiteX2797" fmla="*/ 2226 w 10785"/>
                  <a:gd name="connsiteY2797" fmla="*/ 8325 h 10000"/>
                  <a:gd name="connsiteX2798" fmla="*/ 2249 w 10785"/>
                  <a:gd name="connsiteY2798" fmla="*/ 8222 h 10000"/>
                  <a:gd name="connsiteX2799" fmla="*/ 2235 w 10785"/>
                  <a:gd name="connsiteY2799" fmla="*/ 8197 h 10000"/>
                  <a:gd name="connsiteX2800" fmla="*/ 2198 w 10785"/>
                  <a:gd name="connsiteY2800" fmla="*/ 8197 h 10000"/>
                  <a:gd name="connsiteX2801" fmla="*/ 2189 w 10785"/>
                  <a:gd name="connsiteY2801" fmla="*/ 8171 h 10000"/>
                  <a:gd name="connsiteX2802" fmla="*/ 2161 w 10785"/>
                  <a:gd name="connsiteY2802" fmla="*/ 8145 h 10000"/>
                  <a:gd name="connsiteX2803" fmla="*/ 2161 w 10785"/>
                  <a:gd name="connsiteY2803" fmla="*/ 8137 h 10000"/>
                  <a:gd name="connsiteX2804" fmla="*/ 2152 w 10785"/>
                  <a:gd name="connsiteY2804" fmla="*/ 8120 h 10000"/>
                  <a:gd name="connsiteX2805" fmla="*/ 2138 w 10785"/>
                  <a:gd name="connsiteY2805" fmla="*/ 8111 h 10000"/>
                  <a:gd name="connsiteX2806" fmla="*/ 2138 w 10785"/>
                  <a:gd name="connsiteY2806" fmla="*/ 8094 h 10000"/>
                  <a:gd name="connsiteX2807" fmla="*/ 2147 w 10785"/>
                  <a:gd name="connsiteY2807" fmla="*/ 8085 h 10000"/>
                  <a:gd name="connsiteX2808" fmla="*/ 2161 w 10785"/>
                  <a:gd name="connsiteY2808" fmla="*/ 8060 h 10000"/>
                  <a:gd name="connsiteX2809" fmla="*/ 2198 w 10785"/>
                  <a:gd name="connsiteY2809" fmla="*/ 8034 h 10000"/>
                  <a:gd name="connsiteX2810" fmla="*/ 2198 w 10785"/>
                  <a:gd name="connsiteY2810" fmla="*/ 8026 h 10000"/>
                  <a:gd name="connsiteX2811" fmla="*/ 2198 w 10785"/>
                  <a:gd name="connsiteY2811" fmla="*/ 8000 h 10000"/>
                  <a:gd name="connsiteX2812" fmla="*/ 2180 w 10785"/>
                  <a:gd name="connsiteY2812" fmla="*/ 7940 h 10000"/>
                  <a:gd name="connsiteX2813" fmla="*/ 2189 w 10785"/>
                  <a:gd name="connsiteY2813" fmla="*/ 7940 h 10000"/>
                  <a:gd name="connsiteX2814" fmla="*/ 2198 w 10785"/>
                  <a:gd name="connsiteY2814" fmla="*/ 7923 h 10000"/>
                  <a:gd name="connsiteX2815" fmla="*/ 2198 w 10785"/>
                  <a:gd name="connsiteY2815" fmla="*/ 7897 h 10000"/>
                  <a:gd name="connsiteX2816" fmla="*/ 2207 w 10785"/>
                  <a:gd name="connsiteY2816" fmla="*/ 7889 h 10000"/>
                  <a:gd name="connsiteX2817" fmla="*/ 2221 w 10785"/>
                  <a:gd name="connsiteY2817" fmla="*/ 7889 h 10000"/>
                  <a:gd name="connsiteX2818" fmla="*/ 2226 w 10785"/>
                  <a:gd name="connsiteY2818" fmla="*/ 7897 h 10000"/>
                  <a:gd name="connsiteX2819" fmla="*/ 2235 w 10785"/>
                  <a:gd name="connsiteY2819" fmla="*/ 7889 h 10000"/>
                  <a:gd name="connsiteX2820" fmla="*/ 2249 w 10785"/>
                  <a:gd name="connsiteY2820" fmla="*/ 7897 h 10000"/>
                  <a:gd name="connsiteX2821" fmla="*/ 2267 w 10785"/>
                  <a:gd name="connsiteY2821" fmla="*/ 7897 h 10000"/>
                  <a:gd name="connsiteX2822" fmla="*/ 2272 w 10785"/>
                  <a:gd name="connsiteY2822" fmla="*/ 7889 h 10000"/>
                  <a:gd name="connsiteX2823" fmla="*/ 2281 w 10785"/>
                  <a:gd name="connsiteY2823" fmla="*/ 7872 h 10000"/>
                  <a:gd name="connsiteX2824" fmla="*/ 2272 w 10785"/>
                  <a:gd name="connsiteY2824" fmla="*/ 7846 h 10000"/>
                  <a:gd name="connsiteX2825" fmla="*/ 2253 w 10785"/>
                  <a:gd name="connsiteY2825" fmla="*/ 7838 h 10000"/>
                  <a:gd name="connsiteX2826" fmla="*/ 2221 w 10785"/>
                  <a:gd name="connsiteY2826" fmla="*/ 7821 h 10000"/>
                  <a:gd name="connsiteX2827" fmla="*/ 2212 w 10785"/>
                  <a:gd name="connsiteY2827" fmla="*/ 7812 h 10000"/>
                  <a:gd name="connsiteX2828" fmla="*/ 2212 w 10785"/>
                  <a:gd name="connsiteY2828" fmla="*/ 7803 h 10000"/>
                  <a:gd name="connsiteX2829" fmla="*/ 2221 w 10785"/>
                  <a:gd name="connsiteY2829" fmla="*/ 7803 h 10000"/>
                  <a:gd name="connsiteX2830" fmla="*/ 2235 w 10785"/>
                  <a:gd name="connsiteY2830" fmla="*/ 7786 h 10000"/>
                  <a:gd name="connsiteX2831" fmla="*/ 2240 w 10785"/>
                  <a:gd name="connsiteY2831" fmla="*/ 7778 h 10000"/>
                  <a:gd name="connsiteX2832" fmla="*/ 2226 w 10785"/>
                  <a:gd name="connsiteY2832" fmla="*/ 7761 h 10000"/>
                  <a:gd name="connsiteX2833" fmla="*/ 2221 w 10785"/>
                  <a:gd name="connsiteY2833" fmla="*/ 7778 h 10000"/>
                  <a:gd name="connsiteX2834" fmla="*/ 2198 w 10785"/>
                  <a:gd name="connsiteY2834" fmla="*/ 7778 h 10000"/>
                  <a:gd name="connsiteX2835" fmla="*/ 2198 w 10785"/>
                  <a:gd name="connsiteY2835" fmla="*/ 7752 h 10000"/>
                  <a:gd name="connsiteX2836" fmla="*/ 2207 w 10785"/>
                  <a:gd name="connsiteY2836" fmla="*/ 7735 h 10000"/>
                  <a:gd name="connsiteX2837" fmla="*/ 2212 w 10785"/>
                  <a:gd name="connsiteY2837" fmla="*/ 7726 h 10000"/>
                  <a:gd name="connsiteX2838" fmla="*/ 2198 w 10785"/>
                  <a:gd name="connsiteY2838" fmla="*/ 7692 h 10000"/>
                  <a:gd name="connsiteX2839" fmla="*/ 2221 w 10785"/>
                  <a:gd name="connsiteY2839" fmla="*/ 7692 h 10000"/>
                  <a:gd name="connsiteX2840" fmla="*/ 2221 w 10785"/>
                  <a:gd name="connsiteY2840" fmla="*/ 7675 h 10000"/>
                  <a:gd name="connsiteX2841" fmla="*/ 2235 w 10785"/>
                  <a:gd name="connsiteY2841" fmla="*/ 7675 h 10000"/>
                  <a:gd name="connsiteX2842" fmla="*/ 2240 w 10785"/>
                  <a:gd name="connsiteY2842" fmla="*/ 7692 h 10000"/>
                  <a:gd name="connsiteX2843" fmla="*/ 2249 w 10785"/>
                  <a:gd name="connsiteY2843" fmla="*/ 7692 h 10000"/>
                  <a:gd name="connsiteX2844" fmla="*/ 2258 w 10785"/>
                  <a:gd name="connsiteY2844" fmla="*/ 7692 h 10000"/>
                  <a:gd name="connsiteX2845" fmla="*/ 2267 w 10785"/>
                  <a:gd name="connsiteY2845" fmla="*/ 7692 h 10000"/>
                  <a:gd name="connsiteX2846" fmla="*/ 2295 w 10785"/>
                  <a:gd name="connsiteY2846" fmla="*/ 7692 h 10000"/>
                  <a:gd name="connsiteX2847" fmla="*/ 2300 w 10785"/>
                  <a:gd name="connsiteY2847" fmla="*/ 7701 h 10000"/>
                  <a:gd name="connsiteX2848" fmla="*/ 2313 w 10785"/>
                  <a:gd name="connsiteY2848" fmla="*/ 7675 h 10000"/>
                  <a:gd name="connsiteX2849" fmla="*/ 2323 w 10785"/>
                  <a:gd name="connsiteY2849" fmla="*/ 7675 h 10000"/>
                  <a:gd name="connsiteX2850" fmla="*/ 2341 w 10785"/>
                  <a:gd name="connsiteY2850" fmla="*/ 7675 h 10000"/>
                  <a:gd name="connsiteX2851" fmla="*/ 2346 w 10785"/>
                  <a:gd name="connsiteY2851" fmla="*/ 7667 h 10000"/>
                  <a:gd name="connsiteX2852" fmla="*/ 2359 w 10785"/>
                  <a:gd name="connsiteY2852" fmla="*/ 7650 h 10000"/>
                  <a:gd name="connsiteX2853" fmla="*/ 2373 w 10785"/>
                  <a:gd name="connsiteY2853" fmla="*/ 7624 h 10000"/>
                  <a:gd name="connsiteX2854" fmla="*/ 2382 w 10785"/>
                  <a:gd name="connsiteY2854" fmla="*/ 7641 h 10000"/>
                  <a:gd name="connsiteX2855" fmla="*/ 2396 w 10785"/>
                  <a:gd name="connsiteY2855" fmla="*/ 7650 h 10000"/>
                  <a:gd name="connsiteX2856" fmla="*/ 2401 w 10785"/>
                  <a:gd name="connsiteY2856" fmla="*/ 7650 h 10000"/>
                  <a:gd name="connsiteX2857" fmla="*/ 2401 w 10785"/>
                  <a:gd name="connsiteY2857" fmla="*/ 7624 h 10000"/>
                  <a:gd name="connsiteX2858" fmla="*/ 2419 w 10785"/>
                  <a:gd name="connsiteY2858" fmla="*/ 7624 h 10000"/>
                  <a:gd name="connsiteX2859" fmla="*/ 2433 w 10785"/>
                  <a:gd name="connsiteY2859" fmla="*/ 7615 h 10000"/>
                  <a:gd name="connsiteX2860" fmla="*/ 2442 w 10785"/>
                  <a:gd name="connsiteY2860" fmla="*/ 7615 h 10000"/>
                  <a:gd name="connsiteX2861" fmla="*/ 2447 w 10785"/>
                  <a:gd name="connsiteY2861" fmla="*/ 7598 h 10000"/>
                  <a:gd name="connsiteX2862" fmla="*/ 2461 w 10785"/>
                  <a:gd name="connsiteY2862" fmla="*/ 7598 h 10000"/>
                  <a:gd name="connsiteX2863" fmla="*/ 2465 w 10785"/>
                  <a:gd name="connsiteY2863" fmla="*/ 7615 h 10000"/>
                  <a:gd name="connsiteX2864" fmla="*/ 2479 w 10785"/>
                  <a:gd name="connsiteY2864" fmla="*/ 7564 h 10000"/>
                  <a:gd name="connsiteX2865" fmla="*/ 2488 w 10785"/>
                  <a:gd name="connsiteY2865" fmla="*/ 7556 h 10000"/>
                  <a:gd name="connsiteX2866" fmla="*/ 2493 w 10785"/>
                  <a:gd name="connsiteY2866" fmla="*/ 7556 h 10000"/>
                  <a:gd name="connsiteX2867" fmla="*/ 2507 w 10785"/>
                  <a:gd name="connsiteY2867" fmla="*/ 7556 h 10000"/>
                  <a:gd name="connsiteX2868" fmla="*/ 2530 w 10785"/>
                  <a:gd name="connsiteY2868" fmla="*/ 7538 h 10000"/>
                  <a:gd name="connsiteX2869" fmla="*/ 2530 w 10785"/>
                  <a:gd name="connsiteY2869" fmla="*/ 7556 h 10000"/>
                  <a:gd name="connsiteX2870" fmla="*/ 2641 w 10785"/>
                  <a:gd name="connsiteY2870" fmla="*/ 7504 h 10000"/>
                  <a:gd name="connsiteX2871" fmla="*/ 2654 w 10785"/>
                  <a:gd name="connsiteY2871" fmla="*/ 7487 h 10000"/>
                  <a:gd name="connsiteX2872" fmla="*/ 2664 w 10785"/>
                  <a:gd name="connsiteY2872" fmla="*/ 7487 h 10000"/>
                  <a:gd name="connsiteX2873" fmla="*/ 2668 w 10785"/>
                  <a:gd name="connsiteY2873" fmla="*/ 7479 h 10000"/>
                  <a:gd name="connsiteX2874" fmla="*/ 2673 w 10785"/>
                  <a:gd name="connsiteY2874" fmla="*/ 7462 h 10000"/>
                  <a:gd name="connsiteX2875" fmla="*/ 2673 w 10785"/>
                  <a:gd name="connsiteY2875" fmla="*/ 7427 h 10000"/>
                  <a:gd name="connsiteX2876" fmla="*/ 2687 w 10785"/>
                  <a:gd name="connsiteY2876" fmla="*/ 7436 h 10000"/>
                  <a:gd name="connsiteX2877" fmla="*/ 2696 w 10785"/>
                  <a:gd name="connsiteY2877" fmla="*/ 7427 h 10000"/>
                  <a:gd name="connsiteX2878" fmla="*/ 2700 w 10785"/>
                  <a:gd name="connsiteY2878" fmla="*/ 7419 h 10000"/>
                  <a:gd name="connsiteX2879" fmla="*/ 2710 w 10785"/>
                  <a:gd name="connsiteY2879" fmla="*/ 7402 h 10000"/>
                  <a:gd name="connsiteX2880" fmla="*/ 2724 w 10785"/>
                  <a:gd name="connsiteY2880" fmla="*/ 7402 h 10000"/>
                  <a:gd name="connsiteX2881" fmla="*/ 2724 w 10785"/>
                  <a:gd name="connsiteY2881" fmla="*/ 7393 h 10000"/>
                  <a:gd name="connsiteX2882" fmla="*/ 2737 w 10785"/>
                  <a:gd name="connsiteY2882" fmla="*/ 7393 h 10000"/>
                  <a:gd name="connsiteX2883" fmla="*/ 2742 w 10785"/>
                  <a:gd name="connsiteY2883" fmla="*/ 7402 h 10000"/>
                  <a:gd name="connsiteX2884" fmla="*/ 2747 w 10785"/>
                  <a:gd name="connsiteY2884" fmla="*/ 7402 h 10000"/>
                  <a:gd name="connsiteX2885" fmla="*/ 2760 w 10785"/>
                  <a:gd name="connsiteY2885" fmla="*/ 7402 h 10000"/>
                  <a:gd name="connsiteX2886" fmla="*/ 2770 w 10785"/>
                  <a:gd name="connsiteY2886" fmla="*/ 7402 h 10000"/>
                  <a:gd name="connsiteX2887" fmla="*/ 2774 w 10785"/>
                  <a:gd name="connsiteY2887" fmla="*/ 7402 h 10000"/>
                  <a:gd name="connsiteX2888" fmla="*/ 2783 w 10785"/>
                  <a:gd name="connsiteY2888" fmla="*/ 7419 h 10000"/>
                  <a:gd name="connsiteX2889" fmla="*/ 2802 w 10785"/>
                  <a:gd name="connsiteY2889" fmla="*/ 7436 h 10000"/>
                  <a:gd name="connsiteX2890" fmla="*/ 2816 w 10785"/>
                  <a:gd name="connsiteY2890" fmla="*/ 7419 h 10000"/>
                  <a:gd name="connsiteX2891" fmla="*/ 2834 w 10785"/>
                  <a:gd name="connsiteY2891" fmla="*/ 7419 h 10000"/>
                  <a:gd name="connsiteX2892" fmla="*/ 2843 w 10785"/>
                  <a:gd name="connsiteY2892" fmla="*/ 7419 h 10000"/>
                  <a:gd name="connsiteX2893" fmla="*/ 2848 w 10785"/>
                  <a:gd name="connsiteY2893" fmla="*/ 7436 h 10000"/>
                  <a:gd name="connsiteX2894" fmla="*/ 2857 w 10785"/>
                  <a:gd name="connsiteY2894" fmla="*/ 7453 h 10000"/>
                  <a:gd name="connsiteX2895" fmla="*/ 2857 w 10785"/>
                  <a:gd name="connsiteY2895" fmla="*/ 7504 h 10000"/>
                  <a:gd name="connsiteX2896" fmla="*/ 2862 w 10785"/>
                  <a:gd name="connsiteY2896" fmla="*/ 7530 h 10000"/>
                  <a:gd name="connsiteX2897" fmla="*/ 2876 w 10785"/>
                  <a:gd name="connsiteY2897" fmla="*/ 7538 h 10000"/>
                  <a:gd name="connsiteX2898" fmla="*/ 2871 w 10785"/>
                  <a:gd name="connsiteY2898" fmla="*/ 7564 h 10000"/>
                  <a:gd name="connsiteX2899" fmla="*/ 2871 w 10785"/>
                  <a:gd name="connsiteY2899" fmla="*/ 7598 h 10000"/>
                  <a:gd name="connsiteX2900" fmla="*/ 2857 w 10785"/>
                  <a:gd name="connsiteY2900" fmla="*/ 7624 h 10000"/>
                  <a:gd name="connsiteX2901" fmla="*/ 2862 w 10785"/>
                  <a:gd name="connsiteY2901" fmla="*/ 7641 h 10000"/>
                  <a:gd name="connsiteX2902" fmla="*/ 2871 w 10785"/>
                  <a:gd name="connsiteY2902" fmla="*/ 7667 h 10000"/>
                  <a:gd name="connsiteX2903" fmla="*/ 2880 w 10785"/>
                  <a:gd name="connsiteY2903" fmla="*/ 7650 h 10000"/>
                  <a:gd name="connsiteX2904" fmla="*/ 2894 w 10785"/>
                  <a:gd name="connsiteY2904" fmla="*/ 7667 h 10000"/>
                  <a:gd name="connsiteX2905" fmla="*/ 2903 w 10785"/>
                  <a:gd name="connsiteY2905" fmla="*/ 7667 h 10000"/>
                  <a:gd name="connsiteX2906" fmla="*/ 2908 w 10785"/>
                  <a:gd name="connsiteY2906" fmla="*/ 7641 h 10000"/>
                  <a:gd name="connsiteX2907" fmla="*/ 2917 w 10785"/>
                  <a:gd name="connsiteY2907" fmla="*/ 7641 h 10000"/>
                  <a:gd name="connsiteX2908" fmla="*/ 2922 w 10785"/>
                  <a:gd name="connsiteY2908" fmla="*/ 7641 h 10000"/>
                  <a:gd name="connsiteX2909" fmla="*/ 2931 w 10785"/>
                  <a:gd name="connsiteY2909" fmla="*/ 7615 h 10000"/>
                  <a:gd name="connsiteX2910" fmla="*/ 2935 w 10785"/>
                  <a:gd name="connsiteY2910" fmla="*/ 7615 h 10000"/>
                  <a:gd name="connsiteX2911" fmla="*/ 2945 w 10785"/>
                  <a:gd name="connsiteY2911" fmla="*/ 7650 h 10000"/>
                  <a:gd name="connsiteX2912" fmla="*/ 2949 w 10785"/>
                  <a:gd name="connsiteY2912" fmla="*/ 7667 h 10000"/>
                  <a:gd name="connsiteX2913" fmla="*/ 2949 w 10785"/>
                  <a:gd name="connsiteY2913" fmla="*/ 7675 h 10000"/>
                  <a:gd name="connsiteX2914" fmla="*/ 2945 w 10785"/>
                  <a:gd name="connsiteY2914" fmla="*/ 7692 h 10000"/>
                  <a:gd name="connsiteX2915" fmla="*/ 2963 w 10785"/>
                  <a:gd name="connsiteY2915" fmla="*/ 7701 h 10000"/>
                  <a:gd name="connsiteX2916" fmla="*/ 2963 w 10785"/>
                  <a:gd name="connsiteY2916" fmla="*/ 7675 h 10000"/>
                  <a:gd name="connsiteX2917" fmla="*/ 2954 w 10785"/>
                  <a:gd name="connsiteY2917" fmla="*/ 7667 h 10000"/>
                  <a:gd name="connsiteX2918" fmla="*/ 2963 w 10785"/>
                  <a:gd name="connsiteY2918" fmla="*/ 7667 h 10000"/>
                  <a:gd name="connsiteX2919" fmla="*/ 2982 w 10785"/>
                  <a:gd name="connsiteY2919" fmla="*/ 7667 h 10000"/>
                  <a:gd name="connsiteX2920" fmla="*/ 2991 w 10785"/>
                  <a:gd name="connsiteY2920" fmla="*/ 7675 h 10000"/>
                  <a:gd name="connsiteX2921" fmla="*/ 2995 w 10785"/>
                  <a:gd name="connsiteY2921" fmla="*/ 7692 h 10000"/>
                  <a:gd name="connsiteX2922" fmla="*/ 3009 w 10785"/>
                  <a:gd name="connsiteY2922" fmla="*/ 7701 h 10000"/>
                  <a:gd name="connsiteX2923" fmla="*/ 3018 w 10785"/>
                  <a:gd name="connsiteY2923" fmla="*/ 7701 h 10000"/>
                  <a:gd name="connsiteX2924" fmla="*/ 3023 w 10785"/>
                  <a:gd name="connsiteY2924" fmla="*/ 7692 h 10000"/>
                  <a:gd name="connsiteX2925" fmla="*/ 3028 w 10785"/>
                  <a:gd name="connsiteY2925" fmla="*/ 7675 h 10000"/>
                  <a:gd name="connsiteX2926" fmla="*/ 3037 w 10785"/>
                  <a:gd name="connsiteY2926" fmla="*/ 7692 h 10000"/>
                  <a:gd name="connsiteX2927" fmla="*/ 3028 w 10785"/>
                  <a:gd name="connsiteY2927" fmla="*/ 7709 h 10000"/>
                  <a:gd name="connsiteX2928" fmla="*/ 3023 w 10785"/>
                  <a:gd name="connsiteY2928" fmla="*/ 7709 h 10000"/>
                  <a:gd name="connsiteX2929" fmla="*/ 3018 w 10785"/>
                  <a:gd name="connsiteY2929" fmla="*/ 7726 h 10000"/>
                  <a:gd name="connsiteX2930" fmla="*/ 3009 w 10785"/>
                  <a:gd name="connsiteY2930" fmla="*/ 7735 h 10000"/>
                  <a:gd name="connsiteX2931" fmla="*/ 3009 w 10785"/>
                  <a:gd name="connsiteY2931" fmla="*/ 7761 h 10000"/>
                  <a:gd name="connsiteX2932" fmla="*/ 3009 w 10785"/>
                  <a:gd name="connsiteY2932" fmla="*/ 7778 h 10000"/>
                  <a:gd name="connsiteX2933" fmla="*/ 3018 w 10785"/>
                  <a:gd name="connsiteY2933" fmla="*/ 7786 h 10000"/>
                  <a:gd name="connsiteX2934" fmla="*/ 3023 w 10785"/>
                  <a:gd name="connsiteY2934" fmla="*/ 7786 h 10000"/>
                  <a:gd name="connsiteX2935" fmla="*/ 3028 w 10785"/>
                  <a:gd name="connsiteY2935" fmla="*/ 7778 h 10000"/>
                  <a:gd name="connsiteX2936" fmla="*/ 3051 w 10785"/>
                  <a:gd name="connsiteY2936" fmla="*/ 7761 h 10000"/>
                  <a:gd name="connsiteX2937" fmla="*/ 3055 w 10785"/>
                  <a:gd name="connsiteY2937" fmla="*/ 7778 h 10000"/>
                  <a:gd name="connsiteX2938" fmla="*/ 3065 w 10785"/>
                  <a:gd name="connsiteY2938" fmla="*/ 7761 h 10000"/>
                  <a:gd name="connsiteX2939" fmla="*/ 3069 w 10785"/>
                  <a:gd name="connsiteY2939" fmla="*/ 7786 h 10000"/>
                  <a:gd name="connsiteX2940" fmla="*/ 3083 w 10785"/>
                  <a:gd name="connsiteY2940" fmla="*/ 7786 h 10000"/>
                  <a:gd name="connsiteX2941" fmla="*/ 3078 w 10785"/>
                  <a:gd name="connsiteY2941" fmla="*/ 7761 h 10000"/>
                  <a:gd name="connsiteX2942" fmla="*/ 3083 w 10785"/>
                  <a:gd name="connsiteY2942" fmla="*/ 7752 h 10000"/>
                  <a:gd name="connsiteX2943" fmla="*/ 3097 w 10785"/>
                  <a:gd name="connsiteY2943" fmla="*/ 7752 h 10000"/>
                  <a:gd name="connsiteX2944" fmla="*/ 3111 w 10785"/>
                  <a:gd name="connsiteY2944" fmla="*/ 7726 h 10000"/>
                  <a:gd name="connsiteX2945" fmla="*/ 3124 w 10785"/>
                  <a:gd name="connsiteY2945" fmla="*/ 7709 h 10000"/>
                  <a:gd name="connsiteX2946" fmla="*/ 3143 w 10785"/>
                  <a:gd name="connsiteY2946" fmla="*/ 7692 h 10000"/>
                  <a:gd name="connsiteX2947" fmla="*/ 3152 w 10785"/>
                  <a:gd name="connsiteY2947" fmla="*/ 7667 h 10000"/>
                  <a:gd name="connsiteX2948" fmla="*/ 3157 w 10785"/>
                  <a:gd name="connsiteY2948" fmla="*/ 7650 h 10000"/>
                  <a:gd name="connsiteX2949" fmla="*/ 3161 w 10785"/>
                  <a:gd name="connsiteY2949" fmla="*/ 7650 h 10000"/>
                  <a:gd name="connsiteX2950" fmla="*/ 3189 w 10785"/>
                  <a:gd name="connsiteY2950" fmla="*/ 7641 h 10000"/>
                  <a:gd name="connsiteX2951" fmla="*/ 3198 w 10785"/>
                  <a:gd name="connsiteY2951" fmla="*/ 7624 h 10000"/>
                  <a:gd name="connsiteX2952" fmla="*/ 3217 w 10785"/>
                  <a:gd name="connsiteY2952" fmla="*/ 7615 h 10000"/>
                  <a:gd name="connsiteX2953" fmla="*/ 3235 w 10785"/>
                  <a:gd name="connsiteY2953" fmla="*/ 7598 h 10000"/>
                  <a:gd name="connsiteX2954" fmla="*/ 3235 w 10785"/>
                  <a:gd name="connsiteY2954" fmla="*/ 7615 h 10000"/>
                  <a:gd name="connsiteX2955" fmla="*/ 3235 w 10785"/>
                  <a:gd name="connsiteY2955" fmla="*/ 7641 h 10000"/>
                  <a:gd name="connsiteX2956" fmla="*/ 3235 w 10785"/>
                  <a:gd name="connsiteY2956" fmla="*/ 7650 h 10000"/>
                  <a:gd name="connsiteX2957" fmla="*/ 3226 w 10785"/>
                  <a:gd name="connsiteY2957" fmla="*/ 7650 h 10000"/>
                  <a:gd name="connsiteX2958" fmla="*/ 3217 w 10785"/>
                  <a:gd name="connsiteY2958" fmla="*/ 7650 h 10000"/>
                  <a:gd name="connsiteX2959" fmla="*/ 3212 w 10785"/>
                  <a:gd name="connsiteY2959" fmla="*/ 7675 h 10000"/>
                  <a:gd name="connsiteX2960" fmla="*/ 3212 w 10785"/>
                  <a:gd name="connsiteY2960"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227 w 10785"/>
                  <a:gd name="connsiteY731" fmla="*/ 4860 h 10000"/>
                  <a:gd name="connsiteX732" fmla="*/ 10139 w 10785"/>
                  <a:gd name="connsiteY732" fmla="*/ 4708 h 10000"/>
                  <a:gd name="connsiteX733" fmla="*/ 10233 w 10785"/>
                  <a:gd name="connsiteY733" fmla="*/ 4530 h 10000"/>
                  <a:gd name="connsiteX734" fmla="*/ 10334 w 10785"/>
                  <a:gd name="connsiteY734" fmla="*/ 4810 h 10000"/>
                  <a:gd name="connsiteX735" fmla="*/ 10422 w 10785"/>
                  <a:gd name="connsiteY735" fmla="*/ 5051 h 10000"/>
                  <a:gd name="connsiteX736" fmla="*/ 10691 w 10785"/>
                  <a:gd name="connsiteY736" fmla="*/ 5255 h 10000"/>
                  <a:gd name="connsiteX737" fmla="*/ 10619 w 10785"/>
                  <a:gd name="connsiteY737" fmla="*/ 4708 h 10000"/>
                  <a:gd name="connsiteX738" fmla="*/ 10785 w 10785"/>
                  <a:gd name="connsiteY738" fmla="*/ 4708 h 10000"/>
                  <a:gd name="connsiteX739" fmla="*/ 10689 w 10785"/>
                  <a:gd name="connsiteY739" fmla="*/ 4467 h 10000"/>
                  <a:gd name="connsiteX740" fmla="*/ 10354 w 10785"/>
                  <a:gd name="connsiteY740" fmla="*/ 4302 h 10000"/>
                  <a:gd name="connsiteX741" fmla="*/ 9912 w 10785"/>
                  <a:gd name="connsiteY741" fmla="*/ 3675 h 10000"/>
                  <a:gd name="connsiteX742" fmla="*/ 9903 w 10785"/>
                  <a:gd name="connsiteY742" fmla="*/ 3667 h 10000"/>
                  <a:gd name="connsiteX743" fmla="*/ 9894 w 10785"/>
                  <a:gd name="connsiteY743" fmla="*/ 3641 h 10000"/>
                  <a:gd name="connsiteX744" fmla="*/ 9889 w 10785"/>
                  <a:gd name="connsiteY744" fmla="*/ 3650 h 10000"/>
                  <a:gd name="connsiteX745" fmla="*/ 9848 w 10785"/>
                  <a:gd name="connsiteY745" fmla="*/ 3598 h 10000"/>
                  <a:gd name="connsiteX746" fmla="*/ 9829 w 10785"/>
                  <a:gd name="connsiteY746" fmla="*/ 3581 h 10000"/>
                  <a:gd name="connsiteX747" fmla="*/ 9820 w 10785"/>
                  <a:gd name="connsiteY747" fmla="*/ 3581 h 10000"/>
                  <a:gd name="connsiteX748" fmla="*/ 9793 w 10785"/>
                  <a:gd name="connsiteY748" fmla="*/ 3556 h 10000"/>
                  <a:gd name="connsiteX749" fmla="*/ 9779 w 10785"/>
                  <a:gd name="connsiteY749" fmla="*/ 3556 h 10000"/>
                  <a:gd name="connsiteX750" fmla="*/ 9747 w 10785"/>
                  <a:gd name="connsiteY750" fmla="*/ 3487 h 10000"/>
                  <a:gd name="connsiteX751" fmla="*/ 9668 w 10785"/>
                  <a:gd name="connsiteY751" fmla="*/ 3479 h 10000"/>
                  <a:gd name="connsiteX752" fmla="*/ 9659 w 10785"/>
                  <a:gd name="connsiteY752" fmla="*/ 3487 h 10000"/>
                  <a:gd name="connsiteX753" fmla="*/ 9645 w 10785"/>
                  <a:gd name="connsiteY753" fmla="*/ 3504 h 10000"/>
                  <a:gd name="connsiteX754" fmla="*/ 9631 w 10785"/>
                  <a:gd name="connsiteY754" fmla="*/ 3487 h 10000"/>
                  <a:gd name="connsiteX755" fmla="*/ 9613 w 10785"/>
                  <a:gd name="connsiteY755" fmla="*/ 3479 h 10000"/>
                  <a:gd name="connsiteX756" fmla="*/ 9599 w 10785"/>
                  <a:gd name="connsiteY756" fmla="*/ 3479 h 10000"/>
                  <a:gd name="connsiteX757" fmla="*/ 9571 w 10785"/>
                  <a:gd name="connsiteY757" fmla="*/ 3479 h 10000"/>
                  <a:gd name="connsiteX758" fmla="*/ 9562 w 10785"/>
                  <a:gd name="connsiteY758" fmla="*/ 3487 h 10000"/>
                  <a:gd name="connsiteX759" fmla="*/ 9539 w 10785"/>
                  <a:gd name="connsiteY759" fmla="*/ 3487 h 10000"/>
                  <a:gd name="connsiteX760" fmla="*/ 9507 w 10785"/>
                  <a:gd name="connsiteY760" fmla="*/ 3453 h 10000"/>
                  <a:gd name="connsiteX761" fmla="*/ 9498 w 10785"/>
                  <a:gd name="connsiteY761" fmla="*/ 3453 h 10000"/>
                  <a:gd name="connsiteX762" fmla="*/ 9387 w 10785"/>
                  <a:gd name="connsiteY762" fmla="*/ 3419 h 10000"/>
                  <a:gd name="connsiteX763" fmla="*/ 9373 w 10785"/>
                  <a:gd name="connsiteY763" fmla="*/ 3427 h 10000"/>
                  <a:gd name="connsiteX764" fmla="*/ 9373 w 10785"/>
                  <a:gd name="connsiteY764" fmla="*/ 3462 h 10000"/>
                  <a:gd name="connsiteX765" fmla="*/ 9378 w 10785"/>
                  <a:gd name="connsiteY765" fmla="*/ 3479 h 10000"/>
                  <a:gd name="connsiteX766" fmla="*/ 9378 w 10785"/>
                  <a:gd name="connsiteY766" fmla="*/ 3530 h 10000"/>
                  <a:gd name="connsiteX767" fmla="*/ 9355 w 10785"/>
                  <a:gd name="connsiteY767" fmla="*/ 3538 h 10000"/>
                  <a:gd name="connsiteX768" fmla="*/ 9355 w 10785"/>
                  <a:gd name="connsiteY768" fmla="*/ 3581 h 10000"/>
                  <a:gd name="connsiteX769" fmla="*/ 9387 w 10785"/>
                  <a:gd name="connsiteY769" fmla="*/ 3590 h 10000"/>
                  <a:gd name="connsiteX770" fmla="*/ 9401 w 10785"/>
                  <a:gd name="connsiteY770" fmla="*/ 3667 h 10000"/>
                  <a:gd name="connsiteX771" fmla="*/ 9406 w 10785"/>
                  <a:gd name="connsiteY771" fmla="*/ 3675 h 10000"/>
                  <a:gd name="connsiteX772" fmla="*/ 9406 w 10785"/>
                  <a:gd name="connsiteY772" fmla="*/ 3701 h 10000"/>
                  <a:gd name="connsiteX773" fmla="*/ 9415 w 10785"/>
                  <a:gd name="connsiteY773" fmla="*/ 3752 h 10000"/>
                  <a:gd name="connsiteX774" fmla="*/ 9373 w 10785"/>
                  <a:gd name="connsiteY774" fmla="*/ 3838 h 10000"/>
                  <a:gd name="connsiteX775" fmla="*/ 9355 w 10785"/>
                  <a:gd name="connsiteY775" fmla="*/ 3863 h 10000"/>
                  <a:gd name="connsiteX776" fmla="*/ 9327 w 10785"/>
                  <a:gd name="connsiteY776" fmla="*/ 3863 h 10000"/>
                  <a:gd name="connsiteX777" fmla="*/ 9313 w 10785"/>
                  <a:gd name="connsiteY777" fmla="*/ 3846 h 10000"/>
                  <a:gd name="connsiteX778" fmla="*/ 9300 w 10785"/>
                  <a:gd name="connsiteY778" fmla="*/ 3778 h 10000"/>
                  <a:gd name="connsiteX779" fmla="*/ 9281 w 10785"/>
                  <a:gd name="connsiteY779" fmla="*/ 3752 h 10000"/>
                  <a:gd name="connsiteX780" fmla="*/ 9281 w 10785"/>
                  <a:gd name="connsiteY780" fmla="*/ 3735 h 10000"/>
                  <a:gd name="connsiteX781" fmla="*/ 9267 w 10785"/>
                  <a:gd name="connsiteY781" fmla="*/ 3726 h 10000"/>
                  <a:gd name="connsiteX782" fmla="*/ 9240 w 10785"/>
                  <a:gd name="connsiteY782" fmla="*/ 3726 h 10000"/>
                  <a:gd name="connsiteX783" fmla="*/ 9230 w 10785"/>
                  <a:gd name="connsiteY783" fmla="*/ 3718 h 10000"/>
                  <a:gd name="connsiteX784" fmla="*/ 9226 w 10785"/>
                  <a:gd name="connsiteY784" fmla="*/ 3590 h 10000"/>
                  <a:gd name="connsiteX785" fmla="*/ 9207 w 10785"/>
                  <a:gd name="connsiteY785" fmla="*/ 3581 h 10000"/>
                  <a:gd name="connsiteX786" fmla="*/ 9207 w 10785"/>
                  <a:gd name="connsiteY786" fmla="*/ 3556 h 10000"/>
                  <a:gd name="connsiteX787" fmla="*/ 9217 w 10785"/>
                  <a:gd name="connsiteY787" fmla="*/ 3538 h 10000"/>
                  <a:gd name="connsiteX788" fmla="*/ 9212 w 10785"/>
                  <a:gd name="connsiteY788" fmla="*/ 3538 h 10000"/>
                  <a:gd name="connsiteX789" fmla="*/ 9198 w 10785"/>
                  <a:gd name="connsiteY789" fmla="*/ 3513 h 10000"/>
                  <a:gd name="connsiteX790" fmla="*/ 9194 w 10785"/>
                  <a:gd name="connsiteY790" fmla="*/ 3530 h 10000"/>
                  <a:gd name="connsiteX791" fmla="*/ 9143 w 10785"/>
                  <a:gd name="connsiteY791" fmla="*/ 3615 h 10000"/>
                  <a:gd name="connsiteX792" fmla="*/ 9138 w 10785"/>
                  <a:gd name="connsiteY792" fmla="*/ 3615 h 10000"/>
                  <a:gd name="connsiteX793" fmla="*/ 9134 w 10785"/>
                  <a:gd name="connsiteY793" fmla="*/ 3615 h 10000"/>
                  <a:gd name="connsiteX794" fmla="*/ 9106 w 10785"/>
                  <a:gd name="connsiteY794" fmla="*/ 3615 h 10000"/>
                  <a:gd name="connsiteX795" fmla="*/ 9078 w 10785"/>
                  <a:gd name="connsiteY795" fmla="*/ 3590 h 10000"/>
                  <a:gd name="connsiteX796" fmla="*/ 9037 w 10785"/>
                  <a:gd name="connsiteY796" fmla="*/ 3581 h 10000"/>
                  <a:gd name="connsiteX797" fmla="*/ 9023 w 10785"/>
                  <a:gd name="connsiteY797" fmla="*/ 3590 h 10000"/>
                  <a:gd name="connsiteX798" fmla="*/ 9018 w 10785"/>
                  <a:gd name="connsiteY798" fmla="*/ 3590 h 10000"/>
                  <a:gd name="connsiteX799" fmla="*/ 9018 w 10785"/>
                  <a:gd name="connsiteY799" fmla="*/ 3590 h 10000"/>
                  <a:gd name="connsiteX800" fmla="*/ 8991 w 10785"/>
                  <a:gd name="connsiteY800" fmla="*/ 3590 h 10000"/>
                  <a:gd name="connsiteX801" fmla="*/ 8972 w 10785"/>
                  <a:gd name="connsiteY801" fmla="*/ 3581 h 10000"/>
                  <a:gd name="connsiteX802" fmla="*/ 8959 w 10785"/>
                  <a:gd name="connsiteY802" fmla="*/ 3513 h 10000"/>
                  <a:gd name="connsiteX803" fmla="*/ 8931 w 10785"/>
                  <a:gd name="connsiteY803" fmla="*/ 3538 h 10000"/>
                  <a:gd name="connsiteX804" fmla="*/ 8889 w 10785"/>
                  <a:gd name="connsiteY804" fmla="*/ 3538 h 10000"/>
                  <a:gd name="connsiteX805" fmla="*/ 8871 w 10785"/>
                  <a:gd name="connsiteY805" fmla="*/ 3556 h 10000"/>
                  <a:gd name="connsiteX806" fmla="*/ 8857 w 10785"/>
                  <a:gd name="connsiteY806" fmla="*/ 3538 h 10000"/>
                  <a:gd name="connsiteX807" fmla="*/ 8843 w 10785"/>
                  <a:gd name="connsiteY807" fmla="*/ 3538 h 10000"/>
                  <a:gd name="connsiteX808" fmla="*/ 8839 w 10785"/>
                  <a:gd name="connsiteY808" fmla="*/ 3556 h 10000"/>
                  <a:gd name="connsiteX809" fmla="*/ 8839 w 10785"/>
                  <a:gd name="connsiteY809" fmla="*/ 3581 h 10000"/>
                  <a:gd name="connsiteX810" fmla="*/ 8825 w 10785"/>
                  <a:gd name="connsiteY810" fmla="*/ 3564 h 10000"/>
                  <a:gd name="connsiteX811" fmla="*/ 8825 w 10785"/>
                  <a:gd name="connsiteY811" fmla="*/ 3615 h 10000"/>
                  <a:gd name="connsiteX812" fmla="*/ 8802 w 10785"/>
                  <a:gd name="connsiteY812" fmla="*/ 3598 h 10000"/>
                  <a:gd name="connsiteX813" fmla="*/ 8797 w 10785"/>
                  <a:gd name="connsiteY813" fmla="*/ 3641 h 10000"/>
                  <a:gd name="connsiteX814" fmla="*/ 8783 w 10785"/>
                  <a:gd name="connsiteY814" fmla="*/ 3667 h 10000"/>
                  <a:gd name="connsiteX815" fmla="*/ 8779 w 10785"/>
                  <a:gd name="connsiteY815" fmla="*/ 3650 h 10000"/>
                  <a:gd name="connsiteX816" fmla="*/ 8779 w 10785"/>
                  <a:gd name="connsiteY816" fmla="*/ 3615 h 10000"/>
                  <a:gd name="connsiteX817" fmla="*/ 8770 w 10785"/>
                  <a:gd name="connsiteY817" fmla="*/ 3590 h 10000"/>
                  <a:gd name="connsiteX818" fmla="*/ 8765 w 10785"/>
                  <a:gd name="connsiteY818" fmla="*/ 3598 h 10000"/>
                  <a:gd name="connsiteX819" fmla="*/ 8756 w 10785"/>
                  <a:gd name="connsiteY819" fmla="*/ 3590 h 10000"/>
                  <a:gd name="connsiteX820" fmla="*/ 8737 w 10785"/>
                  <a:gd name="connsiteY820" fmla="*/ 3556 h 10000"/>
                  <a:gd name="connsiteX821" fmla="*/ 8724 w 10785"/>
                  <a:gd name="connsiteY821" fmla="*/ 3538 h 10000"/>
                  <a:gd name="connsiteX822" fmla="*/ 8696 w 10785"/>
                  <a:gd name="connsiteY822" fmla="*/ 3538 h 10000"/>
                  <a:gd name="connsiteX823" fmla="*/ 8691 w 10785"/>
                  <a:gd name="connsiteY823" fmla="*/ 3513 h 10000"/>
                  <a:gd name="connsiteX824" fmla="*/ 8668 w 10785"/>
                  <a:gd name="connsiteY824" fmla="*/ 3504 h 10000"/>
                  <a:gd name="connsiteX825" fmla="*/ 8668 w 10785"/>
                  <a:gd name="connsiteY825" fmla="*/ 3487 h 10000"/>
                  <a:gd name="connsiteX826" fmla="*/ 8691 w 10785"/>
                  <a:gd name="connsiteY826" fmla="*/ 3350 h 10000"/>
                  <a:gd name="connsiteX827" fmla="*/ 8691 w 10785"/>
                  <a:gd name="connsiteY827" fmla="*/ 3291 h 10000"/>
                  <a:gd name="connsiteX828" fmla="*/ 8677 w 10785"/>
                  <a:gd name="connsiteY828" fmla="*/ 3239 h 10000"/>
                  <a:gd name="connsiteX829" fmla="*/ 8677 w 10785"/>
                  <a:gd name="connsiteY829" fmla="*/ 3231 h 10000"/>
                  <a:gd name="connsiteX830" fmla="*/ 8636 w 10785"/>
                  <a:gd name="connsiteY830" fmla="*/ 3128 h 10000"/>
                  <a:gd name="connsiteX831" fmla="*/ 8622 w 10785"/>
                  <a:gd name="connsiteY831" fmla="*/ 3120 h 10000"/>
                  <a:gd name="connsiteX832" fmla="*/ 8618 w 10785"/>
                  <a:gd name="connsiteY832" fmla="*/ 3094 h 10000"/>
                  <a:gd name="connsiteX833" fmla="*/ 8594 w 10785"/>
                  <a:gd name="connsiteY833" fmla="*/ 3077 h 10000"/>
                  <a:gd name="connsiteX834" fmla="*/ 8548 w 10785"/>
                  <a:gd name="connsiteY834" fmla="*/ 3077 h 10000"/>
                  <a:gd name="connsiteX835" fmla="*/ 8535 w 10785"/>
                  <a:gd name="connsiteY835" fmla="*/ 3068 h 10000"/>
                  <a:gd name="connsiteX836" fmla="*/ 8429 w 10785"/>
                  <a:gd name="connsiteY836" fmla="*/ 3077 h 10000"/>
                  <a:gd name="connsiteX837" fmla="*/ 8424 w 10785"/>
                  <a:gd name="connsiteY837" fmla="*/ 3077 h 10000"/>
                  <a:gd name="connsiteX838" fmla="*/ 8396 w 10785"/>
                  <a:gd name="connsiteY838" fmla="*/ 3077 h 10000"/>
                  <a:gd name="connsiteX839" fmla="*/ 8387 w 10785"/>
                  <a:gd name="connsiteY839" fmla="*/ 3094 h 10000"/>
                  <a:gd name="connsiteX840" fmla="*/ 8378 w 10785"/>
                  <a:gd name="connsiteY840" fmla="*/ 3094 h 10000"/>
                  <a:gd name="connsiteX841" fmla="*/ 8341 w 10785"/>
                  <a:gd name="connsiteY841" fmla="*/ 3077 h 10000"/>
                  <a:gd name="connsiteX842" fmla="*/ 8336 w 10785"/>
                  <a:gd name="connsiteY842" fmla="*/ 3077 h 10000"/>
                  <a:gd name="connsiteX843" fmla="*/ 8327 w 10785"/>
                  <a:gd name="connsiteY843" fmla="*/ 3103 h 10000"/>
                  <a:gd name="connsiteX844" fmla="*/ 8309 w 10785"/>
                  <a:gd name="connsiteY844" fmla="*/ 3120 h 10000"/>
                  <a:gd name="connsiteX845" fmla="*/ 8304 w 10785"/>
                  <a:gd name="connsiteY845" fmla="*/ 3103 h 10000"/>
                  <a:gd name="connsiteX846" fmla="*/ 8276 w 10785"/>
                  <a:gd name="connsiteY846" fmla="*/ 3103 h 10000"/>
                  <a:gd name="connsiteX847" fmla="*/ 8267 w 10785"/>
                  <a:gd name="connsiteY847" fmla="*/ 3120 h 10000"/>
                  <a:gd name="connsiteX848" fmla="*/ 8253 w 10785"/>
                  <a:gd name="connsiteY848" fmla="*/ 3103 h 10000"/>
                  <a:gd name="connsiteX849" fmla="*/ 8230 w 10785"/>
                  <a:gd name="connsiteY849" fmla="*/ 3128 h 10000"/>
                  <a:gd name="connsiteX850" fmla="*/ 8217 w 10785"/>
                  <a:gd name="connsiteY850" fmla="*/ 3128 h 10000"/>
                  <a:gd name="connsiteX851" fmla="*/ 8203 w 10785"/>
                  <a:gd name="connsiteY851" fmla="*/ 3154 h 10000"/>
                  <a:gd name="connsiteX852" fmla="*/ 8175 w 10785"/>
                  <a:gd name="connsiteY852" fmla="*/ 3094 h 10000"/>
                  <a:gd name="connsiteX853" fmla="*/ 8161 w 10785"/>
                  <a:gd name="connsiteY853" fmla="*/ 3094 h 10000"/>
                  <a:gd name="connsiteX854" fmla="*/ 8157 w 10785"/>
                  <a:gd name="connsiteY854" fmla="*/ 3077 h 10000"/>
                  <a:gd name="connsiteX855" fmla="*/ 8180 w 10785"/>
                  <a:gd name="connsiteY855" fmla="*/ 3068 h 10000"/>
                  <a:gd name="connsiteX856" fmla="*/ 8189 w 10785"/>
                  <a:gd name="connsiteY856" fmla="*/ 3043 h 10000"/>
                  <a:gd name="connsiteX857" fmla="*/ 8189 w 10785"/>
                  <a:gd name="connsiteY857" fmla="*/ 3017 h 10000"/>
                  <a:gd name="connsiteX858" fmla="*/ 8147 w 10785"/>
                  <a:gd name="connsiteY858" fmla="*/ 2940 h 10000"/>
                  <a:gd name="connsiteX859" fmla="*/ 8143 w 10785"/>
                  <a:gd name="connsiteY859" fmla="*/ 2915 h 10000"/>
                  <a:gd name="connsiteX860" fmla="*/ 8143 w 10785"/>
                  <a:gd name="connsiteY860" fmla="*/ 2906 h 10000"/>
                  <a:gd name="connsiteX861" fmla="*/ 8097 w 10785"/>
                  <a:gd name="connsiteY861" fmla="*/ 2932 h 10000"/>
                  <a:gd name="connsiteX862" fmla="*/ 8083 w 10785"/>
                  <a:gd name="connsiteY862" fmla="*/ 2932 h 10000"/>
                  <a:gd name="connsiteX863" fmla="*/ 8074 w 10785"/>
                  <a:gd name="connsiteY863" fmla="*/ 2906 h 10000"/>
                  <a:gd name="connsiteX864" fmla="*/ 8074 w 10785"/>
                  <a:gd name="connsiteY864" fmla="*/ 2897 h 10000"/>
                  <a:gd name="connsiteX865" fmla="*/ 8055 w 10785"/>
                  <a:gd name="connsiteY865" fmla="*/ 2872 h 10000"/>
                  <a:gd name="connsiteX866" fmla="*/ 8046 w 10785"/>
                  <a:gd name="connsiteY866" fmla="*/ 2829 h 10000"/>
                  <a:gd name="connsiteX867" fmla="*/ 8041 w 10785"/>
                  <a:gd name="connsiteY867" fmla="*/ 2829 h 10000"/>
                  <a:gd name="connsiteX868" fmla="*/ 8023 w 10785"/>
                  <a:gd name="connsiteY868" fmla="*/ 2803 h 10000"/>
                  <a:gd name="connsiteX869" fmla="*/ 8014 w 10785"/>
                  <a:gd name="connsiteY869" fmla="*/ 2829 h 10000"/>
                  <a:gd name="connsiteX870" fmla="*/ 8000 w 10785"/>
                  <a:gd name="connsiteY870" fmla="*/ 2829 h 10000"/>
                  <a:gd name="connsiteX871" fmla="*/ 7995 w 10785"/>
                  <a:gd name="connsiteY871" fmla="*/ 2821 h 10000"/>
                  <a:gd name="connsiteX872" fmla="*/ 7972 w 10785"/>
                  <a:gd name="connsiteY872" fmla="*/ 2803 h 10000"/>
                  <a:gd name="connsiteX873" fmla="*/ 7968 w 10785"/>
                  <a:gd name="connsiteY873" fmla="*/ 2821 h 10000"/>
                  <a:gd name="connsiteX874" fmla="*/ 7968 w 10785"/>
                  <a:gd name="connsiteY874" fmla="*/ 2803 h 10000"/>
                  <a:gd name="connsiteX875" fmla="*/ 7995 w 10785"/>
                  <a:gd name="connsiteY875" fmla="*/ 2735 h 10000"/>
                  <a:gd name="connsiteX876" fmla="*/ 8000 w 10785"/>
                  <a:gd name="connsiteY876" fmla="*/ 2735 h 10000"/>
                  <a:gd name="connsiteX877" fmla="*/ 8014 w 10785"/>
                  <a:gd name="connsiteY877" fmla="*/ 2744 h 10000"/>
                  <a:gd name="connsiteX878" fmla="*/ 8023 w 10785"/>
                  <a:gd name="connsiteY878" fmla="*/ 2769 h 10000"/>
                  <a:gd name="connsiteX879" fmla="*/ 8032 w 10785"/>
                  <a:gd name="connsiteY879" fmla="*/ 2744 h 10000"/>
                  <a:gd name="connsiteX880" fmla="*/ 8032 w 10785"/>
                  <a:gd name="connsiteY880" fmla="*/ 2709 h 10000"/>
                  <a:gd name="connsiteX881" fmla="*/ 8023 w 10785"/>
                  <a:gd name="connsiteY881" fmla="*/ 2632 h 10000"/>
                  <a:gd name="connsiteX882" fmla="*/ 7986 w 10785"/>
                  <a:gd name="connsiteY882" fmla="*/ 2581 h 10000"/>
                  <a:gd name="connsiteX883" fmla="*/ 7968 w 10785"/>
                  <a:gd name="connsiteY883" fmla="*/ 2581 h 10000"/>
                  <a:gd name="connsiteX884" fmla="*/ 7963 w 10785"/>
                  <a:gd name="connsiteY884" fmla="*/ 2556 h 10000"/>
                  <a:gd name="connsiteX885" fmla="*/ 7935 w 10785"/>
                  <a:gd name="connsiteY885" fmla="*/ 2547 h 10000"/>
                  <a:gd name="connsiteX886" fmla="*/ 7912 w 10785"/>
                  <a:gd name="connsiteY886" fmla="*/ 2547 h 10000"/>
                  <a:gd name="connsiteX887" fmla="*/ 7912 w 10785"/>
                  <a:gd name="connsiteY887" fmla="*/ 2556 h 10000"/>
                  <a:gd name="connsiteX888" fmla="*/ 7908 w 10785"/>
                  <a:gd name="connsiteY888" fmla="*/ 2547 h 10000"/>
                  <a:gd name="connsiteX889" fmla="*/ 7862 w 10785"/>
                  <a:gd name="connsiteY889" fmla="*/ 2547 h 10000"/>
                  <a:gd name="connsiteX890" fmla="*/ 7848 w 10785"/>
                  <a:gd name="connsiteY890" fmla="*/ 2556 h 10000"/>
                  <a:gd name="connsiteX891" fmla="*/ 7820 w 10785"/>
                  <a:gd name="connsiteY891" fmla="*/ 2547 h 10000"/>
                  <a:gd name="connsiteX892" fmla="*/ 7806 w 10785"/>
                  <a:gd name="connsiteY892" fmla="*/ 2513 h 10000"/>
                  <a:gd name="connsiteX893" fmla="*/ 7788 w 10785"/>
                  <a:gd name="connsiteY893" fmla="*/ 2513 h 10000"/>
                  <a:gd name="connsiteX894" fmla="*/ 7760 w 10785"/>
                  <a:gd name="connsiteY894" fmla="*/ 2470 h 10000"/>
                  <a:gd name="connsiteX895" fmla="*/ 7751 w 10785"/>
                  <a:gd name="connsiteY895" fmla="*/ 2470 h 10000"/>
                  <a:gd name="connsiteX896" fmla="*/ 7705 w 10785"/>
                  <a:gd name="connsiteY896" fmla="*/ 2462 h 10000"/>
                  <a:gd name="connsiteX897" fmla="*/ 7673 w 10785"/>
                  <a:gd name="connsiteY897" fmla="*/ 2419 h 10000"/>
                  <a:gd name="connsiteX898" fmla="*/ 7627 w 10785"/>
                  <a:gd name="connsiteY898" fmla="*/ 2419 h 10000"/>
                  <a:gd name="connsiteX899" fmla="*/ 7613 w 10785"/>
                  <a:gd name="connsiteY899" fmla="*/ 2410 h 10000"/>
                  <a:gd name="connsiteX900" fmla="*/ 7493 w 10785"/>
                  <a:gd name="connsiteY900" fmla="*/ 2393 h 10000"/>
                  <a:gd name="connsiteX901" fmla="*/ 7479 w 10785"/>
                  <a:gd name="connsiteY901" fmla="*/ 2385 h 10000"/>
                  <a:gd name="connsiteX902" fmla="*/ 7479 w 10785"/>
                  <a:gd name="connsiteY902" fmla="*/ 2376 h 10000"/>
                  <a:gd name="connsiteX903" fmla="*/ 7465 w 10785"/>
                  <a:gd name="connsiteY903" fmla="*/ 2359 h 10000"/>
                  <a:gd name="connsiteX904" fmla="*/ 7447 w 10785"/>
                  <a:gd name="connsiteY904" fmla="*/ 2350 h 10000"/>
                  <a:gd name="connsiteX905" fmla="*/ 7433 w 10785"/>
                  <a:gd name="connsiteY905" fmla="*/ 2376 h 10000"/>
                  <a:gd name="connsiteX906" fmla="*/ 7433 w 10785"/>
                  <a:gd name="connsiteY906" fmla="*/ 2385 h 10000"/>
                  <a:gd name="connsiteX907" fmla="*/ 7447 w 10785"/>
                  <a:gd name="connsiteY907" fmla="*/ 2410 h 10000"/>
                  <a:gd name="connsiteX908" fmla="*/ 7447 w 10785"/>
                  <a:gd name="connsiteY908" fmla="*/ 2436 h 10000"/>
                  <a:gd name="connsiteX909" fmla="*/ 7452 w 10785"/>
                  <a:gd name="connsiteY909" fmla="*/ 2462 h 10000"/>
                  <a:gd name="connsiteX910" fmla="*/ 7447 w 10785"/>
                  <a:gd name="connsiteY910" fmla="*/ 2470 h 10000"/>
                  <a:gd name="connsiteX911" fmla="*/ 7424 w 10785"/>
                  <a:gd name="connsiteY911" fmla="*/ 2513 h 10000"/>
                  <a:gd name="connsiteX912" fmla="*/ 7419 w 10785"/>
                  <a:gd name="connsiteY912" fmla="*/ 2556 h 10000"/>
                  <a:gd name="connsiteX913" fmla="*/ 7406 w 10785"/>
                  <a:gd name="connsiteY913" fmla="*/ 2624 h 10000"/>
                  <a:gd name="connsiteX914" fmla="*/ 7392 w 10785"/>
                  <a:gd name="connsiteY914" fmla="*/ 2624 h 10000"/>
                  <a:gd name="connsiteX915" fmla="*/ 7373 w 10785"/>
                  <a:gd name="connsiteY915" fmla="*/ 2650 h 10000"/>
                  <a:gd name="connsiteX916" fmla="*/ 7364 w 10785"/>
                  <a:gd name="connsiteY916" fmla="*/ 2684 h 10000"/>
                  <a:gd name="connsiteX917" fmla="*/ 7364 w 10785"/>
                  <a:gd name="connsiteY917" fmla="*/ 2692 h 10000"/>
                  <a:gd name="connsiteX918" fmla="*/ 7373 w 10785"/>
                  <a:gd name="connsiteY918" fmla="*/ 2718 h 10000"/>
                  <a:gd name="connsiteX919" fmla="*/ 7373 w 10785"/>
                  <a:gd name="connsiteY919" fmla="*/ 2744 h 10000"/>
                  <a:gd name="connsiteX920" fmla="*/ 7359 w 10785"/>
                  <a:gd name="connsiteY920" fmla="*/ 2744 h 10000"/>
                  <a:gd name="connsiteX921" fmla="*/ 7359 w 10785"/>
                  <a:gd name="connsiteY921" fmla="*/ 2795 h 10000"/>
                  <a:gd name="connsiteX922" fmla="*/ 7364 w 10785"/>
                  <a:gd name="connsiteY922" fmla="*/ 2821 h 10000"/>
                  <a:gd name="connsiteX923" fmla="*/ 7378 w 10785"/>
                  <a:gd name="connsiteY923" fmla="*/ 2846 h 10000"/>
                  <a:gd name="connsiteX924" fmla="*/ 7378 w 10785"/>
                  <a:gd name="connsiteY924" fmla="*/ 2855 h 10000"/>
                  <a:gd name="connsiteX925" fmla="*/ 7378 w 10785"/>
                  <a:gd name="connsiteY925" fmla="*/ 2880 h 10000"/>
                  <a:gd name="connsiteX926" fmla="*/ 7378 w 10785"/>
                  <a:gd name="connsiteY926" fmla="*/ 2906 h 10000"/>
                  <a:gd name="connsiteX927" fmla="*/ 7364 w 10785"/>
                  <a:gd name="connsiteY927" fmla="*/ 2906 h 10000"/>
                  <a:gd name="connsiteX928" fmla="*/ 7346 w 10785"/>
                  <a:gd name="connsiteY928" fmla="*/ 2880 h 10000"/>
                  <a:gd name="connsiteX929" fmla="*/ 7332 w 10785"/>
                  <a:gd name="connsiteY929" fmla="*/ 2915 h 10000"/>
                  <a:gd name="connsiteX930" fmla="*/ 7318 w 10785"/>
                  <a:gd name="connsiteY930" fmla="*/ 2906 h 10000"/>
                  <a:gd name="connsiteX931" fmla="*/ 7313 w 10785"/>
                  <a:gd name="connsiteY931" fmla="*/ 2915 h 10000"/>
                  <a:gd name="connsiteX932" fmla="*/ 7313 w 10785"/>
                  <a:gd name="connsiteY932" fmla="*/ 2906 h 10000"/>
                  <a:gd name="connsiteX933" fmla="*/ 7286 w 10785"/>
                  <a:gd name="connsiteY933" fmla="*/ 2940 h 10000"/>
                  <a:gd name="connsiteX934" fmla="*/ 7276 w 10785"/>
                  <a:gd name="connsiteY934" fmla="*/ 2966 h 10000"/>
                  <a:gd name="connsiteX935" fmla="*/ 7272 w 10785"/>
                  <a:gd name="connsiteY935" fmla="*/ 2983 h 10000"/>
                  <a:gd name="connsiteX936" fmla="*/ 7267 w 10785"/>
                  <a:gd name="connsiteY936" fmla="*/ 3009 h 10000"/>
                  <a:gd name="connsiteX937" fmla="*/ 7253 w 10785"/>
                  <a:gd name="connsiteY937" fmla="*/ 3009 h 10000"/>
                  <a:gd name="connsiteX938" fmla="*/ 7244 w 10785"/>
                  <a:gd name="connsiteY938" fmla="*/ 3017 h 10000"/>
                  <a:gd name="connsiteX939" fmla="*/ 7240 w 10785"/>
                  <a:gd name="connsiteY939" fmla="*/ 3009 h 10000"/>
                  <a:gd name="connsiteX940" fmla="*/ 7230 w 10785"/>
                  <a:gd name="connsiteY940" fmla="*/ 2991 h 10000"/>
                  <a:gd name="connsiteX941" fmla="*/ 7226 w 10785"/>
                  <a:gd name="connsiteY941" fmla="*/ 2983 h 10000"/>
                  <a:gd name="connsiteX942" fmla="*/ 7226 w 10785"/>
                  <a:gd name="connsiteY942" fmla="*/ 2966 h 10000"/>
                  <a:gd name="connsiteX943" fmla="*/ 7212 w 10785"/>
                  <a:gd name="connsiteY943" fmla="*/ 2957 h 10000"/>
                  <a:gd name="connsiteX944" fmla="*/ 7212 w 10785"/>
                  <a:gd name="connsiteY944" fmla="*/ 2932 h 10000"/>
                  <a:gd name="connsiteX945" fmla="*/ 7198 w 10785"/>
                  <a:gd name="connsiteY945" fmla="*/ 2915 h 10000"/>
                  <a:gd name="connsiteX946" fmla="*/ 7194 w 10785"/>
                  <a:gd name="connsiteY946" fmla="*/ 2915 h 10000"/>
                  <a:gd name="connsiteX947" fmla="*/ 7157 w 10785"/>
                  <a:gd name="connsiteY947" fmla="*/ 2880 h 10000"/>
                  <a:gd name="connsiteX948" fmla="*/ 7138 w 10785"/>
                  <a:gd name="connsiteY948" fmla="*/ 2880 h 10000"/>
                  <a:gd name="connsiteX949" fmla="*/ 7120 w 10785"/>
                  <a:gd name="connsiteY949" fmla="*/ 2872 h 10000"/>
                  <a:gd name="connsiteX950" fmla="*/ 7111 w 10785"/>
                  <a:gd name="connsiteY950" fmla="*/ 2846 h 10000"/>
                  <a:gd name="connsiteX951" fmla="*/ 7106 w 10785"/>
                  <a:gd name="connsiteY951" fmla="*/ 2846 h 10000"/>
                  <a:gd name="connsiteX952" fmla="*/ 7092 w 10785"/>
                  <a:gd name="connsiteY952" fmla="*/ 2829 h 10000"/>
                  <a:gd name="connsiteX953" fmla="*/ 7051 w 10785"/>
                  <a:gd name="connsiteY953" fmla="*/ 2829 h 10000"/>
                  <a:gd name="connsiteX954" fmla="*/ 7037 w 10785"/>
                  <a:gd name="connsiteY954" fmla="*/ 2880 h 10000"/>
                  <a:gd name="connsiteX955" fmla="*/ 7037 w 10785"/>
                  <a:gd name="connsiteY955" fmla="*/ 2906 h 10000"/>
                  <a:gd name="connsiteX956" fmla="*/ 7037 w 10785"/>
                  <a:gd name="connsiteY956" fmla="*/ 2932 h 10000"/>
                  <a:gd name="connsiteX957" fmla="*/ 7037 w 10785"/>
                  <a:gd name="connsiteY957" fmla="*/ 2940 h 10000"/>
                  <a:gd name="connsiteX958" fmla="*/ 7023 w 10785"/>
                  <a:gd name="connsiteY958" fmla="*/ 2906 h 10000"/>
                  <a:gd name="connsiteX959" fmla="*/ 7023 w 10785"/>
                  <a:gd name="connsiteY959" fmla="*/ 2915 h 10000"/>
                  <a:gd name="connsiteX960" fmla="*/ 6991 w 10785"/>
                  <a:gd name="connsiteY960" fmla="*/ 2906 h 10000"/>
                  <a:gd name="connsiteX961" fmla="*/ 6977 w 10785"/>
                  <a:gd name="connsiteY961" fmla="*/ 2915 h 10000"/>
                  <a:gd name="connsiteX962" fmla="*/ 6963 w 10785"/>
                  <a:gd name="connsiteY962" fmla="*/ 2915 h 10000"/>
                  <a:gd name="connsiteX963" fmla="*/ 6949 w 10785"/>
                  <a:gd name="connsiteY963" fmla="*/ 2872 h 10000"/>
                  <a:gd name="connsiteX964" fmla="*/ 6935 w 10785"/>
                  <a:gd name="connsiteY964" fmla="*/ 2855 h 10000"/>
                  <a:gd name="connsiteX965" fmla="*/ 6922 w 10785"/>
                  <a:gd name="connsiteY965" fmla="*/ 2803 h 10000"/>
                  <a:gd name="connsiteX966" fmla="*/ 6917 w 10785"/>
                  <a:gd name="connsiteY966" fmla="*/ 2786 h 10000"/>
                  <a:gd name="connsiteX967" fmla="*/ 6903 w 10785"/>
                  <a:gd name="connsiteY967" fmla="*/ 2709 h 10000"/>
                  <a:gd name="connsiteX968" fmla="*/ 6903 w 10785"/>
                  <a:gd name="connsiteY968" fmla="*/ 2692 h 10000"/>
                  <a:gd name="connsiteX969" fmla="*/ 6899 w 10785"/>
                  <a:gd name="connsiteY969" fmla="*/ 2709 h 10000"/>
                  <a:gd name="connsiteX970" fmla="*/ 6857 w 10785"/>
                  <a:gd name="connsiteY970" fmla="*/ 2872 h 10000"/>
                  <a:gd name="connsiteX971" fmla="*/ 6857 w 10785"/>
                  <a:gd name="connsiteY971" fmla="*/ 3009 h 10000"/>
                  <a:gd name="connsiteX972" fmla="*/ 6848 w 10785"/>
                  <a:gd name="connsiteY972" fmla="*/ 3017 h 10000"/>
                  <a:gd name="connsiteX973" fmla="*/ 6839 w 10785"/>
                  <a:gd name="connsiteY973" fmla="*/ 3068 h 10000"/>
                  <a:gd name="connsiteX974" fmla="*/ 6829 w 10785"/>
                  <a:gd name="connsiteY974" fmla="*/ 3077 h 10000"/>
                  <a:gd name="connsiteX975" fmla="*/ 6829 w 10785"/>
                  <a:gd name="connsiteY975" fmla="*/ 3128 h 10000"/>
                  <a:gd name="connsiteX976" fmla="*/ 6816 w 10785"/>
                  <a:gd name="connsiteY976" fmla="*/ 3154 h 10000"/>
                  <a:gd name="connsiteX977" fmla="*/ 6811 w 10785"/>
                  <a:gd name="connsiteY977" fmla="*/ 3179 h 10000"/>
                  <a:gd name="connsiteX978" fmla="*/ 6797 w 10785"/>
                  <a:gd name="connsiteY978" fmla="*/ 3171 h 10000"/>
                  <a:gd name="connsiteX979" fmla="*/ 6783 w 10785"/>
                  <a:gd name="connsiteY979" fmla="*/ 3103 h 10000"/>
                  <a:gd name="connsiteX980" fmla="*/ 6779 w 10785"/>
                  <a:gd name="connsiteY980" fmla="*/ 3094 h 10000"/>
                  <a:gd name="connsiteX981" fmla="*/ 6779 w 10785"/>
                  <a:gd name="connsiteY981" fmla="*/ 3120 h 10000"/>
                  <a:gd name="connsiteX982" fmla="*/ 6770 w 10785"/>
                  <a:gd name="connsiteY982" fmla="*/ 3128 h 10000"/>
                  <a:gd name="connsiteX983" fmla="*/ 6765 w 10785"/>
                  <a:gd name="connsiteY983" fmla="*/ 3103 h 10000"/>
                  <a:gd name="connsiteX984" fmla="*/ 6756 w 10785"/>
                  <a:gd name="connsiteY984" fmla="*/ 3103 h 10000"/>
                  <a:gd name="connsiteX985" fmla="*/ 6742 w 10785"/>
                  <a:gd name="connsiteY985" fmla="*/ 3103 h 10000"/>
                  <a:gd name="connsiteX986" fmla="*/ 6737 w 10785"/>
                  <a:gd name="connsiteY986" fmla="*/ 3077 h 10000"/>
                  <a:gd name="connsiteX987" fmla="*/ 6737 w 10785"/>
                  <a:gd name="connsiteY987" fmla="*/ 3068 h 10000"/>
                  <a:gd name="connsiteX988" fmla="*/ 6728 w 10785"/>
                  <a:gd name="connsiteY988" fmla="*/ 3043 h 10000"/>
                  <a:gd name="connsiteX989" fmla="*/ 6724 w 10785"/>
                  <a:gd name="connsiteY989" fmla="*/ 3051 h 10000"/>
                  <a:gd name="connsiteX990" fmla="*/ 6714 w 10785"/>
                  <a:gd name="connsiteY990" fmla="*/ 3043 h 10000"/>
                  <a:gd name="connsiteX991" fmla="*/ 6710 w 10785"/>
                  <a:gd name="connsiteY991" fmla="*/ 3034 h 10000"/>
                  <a:gd name="connsiteX992" fmla="*/ 6705 w 10785"/>
                  <a:gd name="connsiteY992" fmla="*/ 2983 h 10000"/>
                  <a:gd name="connsiteX993" fmla="*/ 6696 w 10785"/>
                  <a:gd name="connsiteY993" fmla="*/ 2966 h 10000"/>
                  <a:gd name="connsiteX994" fmla="*/ 6691 w 10785"/>
                  <a:gd name="connsiteY994" fmla="*/ 2983 h 10000"/>
                  <a:gd name="connsiteX995" fmla="*/ 6677 w 10785"/>
                  <a:gd name="connsiteY995" fmla="*/ 2897 h 10000"/>
                  <a:gd name="connsiteX996" fmla="*/ 6677 w 10785"/>
                  <a:gd name="connsiteY996" fmla="*/ 2897 h 10000"/>
                  <a:gd name="connsiteX997" fmla="*/ 6677 w 10785"/>
                  <a:gd name="connsiteY997" fmla="*/ 2872 h 10000"/>
                  <a:gd name="connsiteX998" fmla="*/ 6668 w 10785"/>
                  <a:gd name="connsiteY998" fmla="*/ 2821 h 10000"/>
                  <a:gd name="connsiteX999" fmla="*/ 6664 w 10785"/>
                  <a:gd name="connsiteY999" fmla="*/ 2829 h 10000"/>
                  <a:gd name="connsiteX1000" fmla="*/ 6654 w 10785"/>
                  <a:gd name="connsiteY1000" fmla="*/ 2846 h 10000"/>
                  <a:gd name="connsiteX1001" fmla="*/ 6650 w 10785"/>
                  <a:gd name="connsiteY1001" fmla="*/ 2829 h 10000"/>
                  <a:gd name="connsiteX1002" fmla="*/ 6650 w 10785"/>
                  <a:gd name="connsiteY1002" fmla="*/ 2803 h 10000"/>
                  <a:gd name="connsiteX1003" fmla="*/ 6650 w 10785"/>
                  <a:gd name="connsiteY1003" fmla="*/ 2795 h 10000"/>
                  <a:gd name="connsiteX1004" fmla="*/ 6641 w 10785"/>
                  <a:gd name="connsiteY1004" fmla="*/ 2786 h 10000"/>
                  <a:gd name="connsiteX1005" fmla="*/ 6636 w 10785"/>
                  <a:gd name="connsiteY1005" fmla="*/ 2735 h 10000"/>
                  <a:gd name="connsiteX1006" fmla="*/ 6664 w 10785"/>
                  <a:gd name="connsiteY1006" fmla="*/ 2667 h 10000"/>
                  <a:gd name="connsiteX1007" fmla="*/ 6668 w 10785"/>
                  <a:gd name="connsiteY1007" fmla="*/ 2684 h 10000"/>
                  <a:gd name="connsiteX1008" fmla="*/ 6677 w 10785"/>
                  <a:gd name="connsiteY1008" fmla="*/ 2667 h 10000"/>
                  <a:gd name="connsiteX1009" fmla="*/ 6668 w 10785"/>
                  <a:gd name="connsiteY1009" fmla="*/ 2667 h 10000"/>
                  <a:gd name="connsiteX1010" fmla="*/ 6668 w 10785"/>
                  <a:gd name="connsiteY1010" fmla="*/ 2650 h 10000"/>
                  <a:gd name="connsiteX1011" fmla="*/ 6682 w 10785"/>
                  <a:gd name="connsiteY1011" fmla="*/ 2650 h 10000"/>
                  <a:gd name="connsiteX1012" fmla="*/ 6691 w 10785"/>
                  <a:gd name="connsiteY1012" fmla="*/ 2624 h 10000"/>
                  <a:gd name="connsiteX1013" fmla="*/ 6682 w 10785"/>
                  <a:gd name="connsiteY1013" fmla="*/ 2632 h 10000"/>
                  <a:gd name="connsiteX1014" fmla="*/ 6682 w 10785"/>
                  <a:gd name="connsiteY1014" fmla="*/ 2624 h 10000"/>
                  <a:gd name="connsiteX1015" fmla="*/ 6691 w 10785"/>
                  <a:gd name="connsiteY1015" fmla="*/ 2607 h 10000"/>
                  <a:gd name="connsiteX1016" fmla="*/ 6691 w 10785"/>
                  <a:gd name="connsiteY1016" fmla="*/ 2598 h 10000"/>
                  <a:gd name="connsiteX1017" fmla="*/ 6691 w 10785"/>
                  <a:gd name="connsiteY1017" fmla="*/ 2581 h 10000"/>
                  <a:gd name="connsiteX1018" fmla="*/ 6696 w 10785"/>
                  <a:gd name="connsiteY1018" fmla="*/ 2530 h 10000"/>
                  <a:gd name="connsiteX1019" fmla="*/ 6677 w 10785"/>
                  <a:gd name="connsiteY1019" fmla="*/ 2513 h 10000"/>
                  <a:gd name="connsiteX1020" fmla="*/ 6677 w 10785"/>
                  <a:gd name="connsiteY1020" fmla="*/ 2496 h 10000"/>
                  <a:gd name="connsiteX1021" fmla="*/ 6682 w 10785"/>
                  <a:gd name="connsiteY1021" fmla="*/ 2470 h 10000"/>
                  <a:gd name="connsiteX1022" fmla="*/ 6668 w 10785"/>
                  <a:gd name="connsiteY1022" fmla="*/ 2462 h 10000"/>
                  <a:gd name="connsiteX1023" fmla="*/ 6677 w 10785"/>
                  <a:gd name="connsiteY1023" fmla="*/ 2436 h 10000"/>
                  <a:gd name="connsiteX1024" fmla="*/ 6682 w 10785"/>
                  <a:gd name="connsiteY1024" fmla="*/ 2419 h 10000"/>
                  <a:gd name="connsiteX1025" fmla="*/ 6682 w 10785"/>
                  <a:gd name="connsiteY1025" fmla="*/ 2393 h 10000"/>
                  <a:gd name="connsiteX1026" fmla="*/ 6682 w 10785"/>
                  <a:gd name="connsiteY1026" fmla="*/ 2385 h 10000"/>
                  <a:gd name="connsiteX1027" fmla="*/ 6682 w 10785"/>
                  <a:gd name="connsiteY1027" fmla="*/ 2385 h 10000"/>
                  <a:gd name="connsiteX1028" fmla="*/ 6677 w 10785"/>
                  <a:gd name="connsiteY1028" fmla="*/ 2376 h 10000"/>
                  <a:gd name="connsiteX1029" fmla="*/ 6682 w 10785"/>
                  <a:gd name="connsiteY1029" fmla="*/ 2359 h 10000"/>
                  <a:gd name="connsiteX1030" fmla="*/ 6677 w 10785"/>
                  <a:gd name="connsiteY1030" fmla="*/ 2333 h 10000"/>
                  <a:gd name="connsiteX1031" fmla="*/ 6691 w 10785"/>
                  <a:gd name="connsiteY1031" fmla="*/ 2333 h 10000"/>
                  <a:gd name="connsiteX1032" fmla="*/ 6691 w 10785"/>
                  <a:gd name="connsiteY1032" fmla="*/ 2325 h 10000"/>
                  <a:gd name="connsiteX1033" fmla="*/ 6691 w 10785"/>
                  <a:gd name="connsiteY1033" fmla="*/ 2308 h 10000"/>
                  <a:gd name="connsiteX1034" fmla="*/ 6691 w 10785"/>
                  <a:gd name="connsiteY1034" fmla="*/ 2299 h 10000"/>
                  <a:gd name="connsiteX1035" fmla="*/ 6691 w 10785"/>
                  <a:gd name="connsiteY1035" fmla="*/ 2282 h 10000"/>
                  <a:gd name="connsiteX1036" fmla="*/ 6691 w 10785"/>
                  <a:gd name="connsiteY1036" fmla="*/ 2274 h 10000"/>
                  <a:gd name="connsiteX1037" fmla="*/ 6668 w 10785"/>
                  <a:gd name="connsiteY1037" fmla="*/ 2248 h 10000"/>
                  <a:gd name="connsiteX1038" fmla="*/ 6664 w 10785"/>
                  <a:gd name="connsiteY1038" fmla="*/ 2222 h 10000"/>
                  <a:gd name="connsiteX1039" fmla="*/ 6654 w 10785"/>
                  <a:gd name="connsiteY1039" fmla="*/ 2214 h 10000"/>
                  <a:gd name="connsiteX1040" fmla="*/ 6654 w 10785"/>
                  <a:gd name="connsiteY1040" fmla="*/ 2188 h 10000"/>
                  <a:gd name="connsiteX1041" fmla="*/ 6622 w 10785"/>
                  <a:gd name="connsiteY1041" fmla="*/ 2162 h 10000"/>
                  <a:gd name="connsiteX1042" fmla="*/ 6631 w 10785"/>
                  <a:gd name="connsiteY1042" fmla="*/ 2145 h 10000"/>
                  <a:gd name="connsiteX1043" fmla="*/ 6622 w 10785"/>
                  <a:gd name="connsiteY1043" fmla="*/ 2120 h 10000"/>
                  <a:gd name="connsiteX1044" fmla="*/ 6608 w 10785"/>
                  <a:gd name="connsiteY1044" fmla="*/ 2120 h 10000"/>
                  <a:gd name="connsiteX1045" fmla="*/ 6604 w 10785"/>
                  <a:gd name="connsiteY1045" fmla="*/ 2111 h 10000"/>
                  <a:gd name="connsiteX1046" fmla="*/ 6608 w 10785"/>
                  <a:gd name="connsiteY1046" fmla="*/ 2111 h 10000"/>
                  <a:gd name="connsiteX1047" fmla="*/ 6604 w 10785"/>
                  <a:gd name="connsiteY1047" fmla="*/ 2085 h 10000"/>
                  <a:gd name="connsiteX1048" fmla="*/ 6581 w 10785"/>
                  <a:gd name="connsiteY1048" fmla="*/ 2077 h 10000"/>
                  <a:gd name="connsiteX1049" fmla="*/ 6571 w 10785"/>
                  <a:gd name="connsiteY1049" fmla="*/ 2085 h 10000"/>
                  <a:gd name="connsiteX1050" fmla="*/ 6548 w 10785"/>
                  <a:gd name="connsiteY1050" fmla="*/ 2077 h 10000"/>
                  <a:gd name="connsiteX1051" fmla="*/ 6530 w 10785"/>
                  <a:gd name="connsiteY1051" fmla="*/ 2060 h 10000"/>
                  <a:gd name="connsiteX1052" fmla="*/ 6521 w 10785"/>
                  <a:gd name="connsiteY1052" fmla="*/ 2060 h 10000"/>
                  <a:gd name="connsiteX1053" fmla="*/ 6521 w 10785"/>
                  <a:gd name="connsiteY1053" fmla="*/ 2085 h 10000"/>
                  <a:gd name="connsiteX1054" fmla="*/ 6516 w 10785"/>
                  <a:gd name="connsiteY1054" fmla="*/ 2085 h 10000"/>
                  <a:gd name="connsiteX1055" fmla="*/ 6502 w 10785"/>
                  <a:gd name="connsiteY1055" fmla="*/ 2111 h 10000"/>
                  <a:gd name="connsiteX1056" fmla="*/ 6498 w 10785"/>
                  <a:gd name="connsiteY1056" fmla="*/ 2111 h 10000"/>
                  <a:gd name="connsiteX1057" fmla="*/ 6498 w 10785"/>
                  <a:gd name="connsiteY1057" fmla="*/ 2103 h 10000"/>
                  <a:gd name="connsiteX1058" fmla="*/ 6475 w 10785"/>
                  <a:gd name="connsiteY1058" fmla="*/ 2051 h 10000"/>
                  <a:gd name="connsiteX1059" fmla="*/ 6470 w 10785"/>
                  <a:gd name="connsiteY1059" fmla="*/ 2060 h 10000"/>
                  <a:gd name="connsiteX1060" fmla="*/ 6456 w 10785"/>
                  <a:gd name="connsiteY1060" fmla="*/ 2051 h 10000"/>
                  <a:gd name="connsiteX1061" fmla="*/ 6447 w 10785"/>
                  <a:gd name="connsiteY1061" fmla="*/ 2051 h 10000"/>
                  <a:gd name="connsiteX1062" fmla="*/ 6433 w 10785"/>
                  <a:gd name="connsiteY1062" fmla="*/ 2026 h 10000"/>
                  <a:gd name="connsiteX1063" fmla="*/ 6433 w 10785"/>
                  <a:gd name="connsiteY1063" fmla="*/ 2034 h 10000"/>
                  <a:gd name="connsiteX1064" fmla="*/ 6429 w 10785"/>
                  <a:gd name="connsiteY1064" fmla="*/ 2026 h 10000"/>
                  <a:gd name="connsiteX1065" fmla="*/ 6424 w 10785"/>
                  <a:gd name="connsiteY1065" fmla="*/ 2034 h 10000"/>
                  <a:gd name="connsiteX1066" fmla="*/ 6410 w 10785"/>
                  <a:gd name="connsiteY1066" fmla="*/ 2026 h 10000"/>
                  <a:gd name="connsiteX1067" fmla="*/ 6410 w 10785"/>
                  <a:gd name="connsiteY1067" fmla="*/ 1991 h 10000"/>
                  <a:gd name="connsiteX1068" fmla="*/ 6401 w 10785"/>
                  <a:gd name="connsiteY1068" fmla="*/ 1991 h 10000"/>
                  <a:gd name="connsiteX1069" fmla="*/ 6396 w 10785"/>
                  <a:gd name="connsiteY1069" fmla="*/ 2000 h 10000"/>
                  <a:gd name="connsiteX1070" fmla="*/ 6382 w 10785"/>
                  <a:gd name="connsiteY1070" fmla="*/ 1966 h 10000"/>
                  <a:gd name="connsiteX1071" fmla="*/ 6373 w 10785"/>
                  <a:gd name="connsiteY1071" fmla="*/ 1974 h 10000"/>
                  <a:gd name="connsiteX1072" fmla="*/ 6369 w 10785"/>
                  <a:gd name="connsiteY1072" fmla="*/ 1966 h 10000"/>
                  <a:gd name="connsiteX1073" fmla="*/ 6341 w 10785"/>
                  <a:gd name="connsiteY1073" fmla="*/ 1949 h 10000"/>
                  <a:gd name="connsiteX1074" fmla="*/ 6327 w 10785"/>
                  <a:gd name="connsiteY1074" fmla="*/ 1923 h 10000"/>
                  <a:gd name="connsiteX1075" fmla="*/ 6323 w 10785"/>
                  <a:gd name="connsiteY1075" fmla="*/ 1923 h 10000"/>
                  <a:gd name="connsiteX1076" fmla="*/ 6323 w 10785"/>
                  <a:gd name="connsiteY1076" fmla="*/ 1966 h 10000"/>
                  <a:gd name="connsiteX1077" fmla="*/ 6323 w 10785"/>
                  <a:gd name="connsiteY1077" fmla="*/ 1991 h 10000"/>
                  <a:gd name="connsiteX1078" fmla="*/ 6313 w 10785"/>
                  <a:gd name="connsiteY1078" fmla="*/ 1991 h 10000"/>
                  <a:gd name="connsiteX1079" fmla="*/ 6300 w 10785"/>
                  <a:gd name="connsiteY1079" fmla="*/ 1991 h 10000"/>
                  <a:gd name="connsiteX1080" fmla="*/ 6290 w 10785"/>
                  <a:gd name="connsiteY1080" fmla="*/ 1949 h 10000"/>
                  <a:gd name="connsiteX1081" fmla="*/ 6276 w 10785"/>
                  <a:gd name="connsiteY1081" fmla="*/ 2103 h 10000"/>
                  <a:gd name="connsiteX1082" fmla="*/ 6281 w 10785"/>
                  <a:gd name="connsiteY1082" fmla="*/ 2103 h 10000"/>
                  <a:gd name="connsiteX1083" fmla="*/ 6276 w 10785"/>
                  <a:gd name="connsiteY1083" fmla="*/ 2111 h 10000"/>
                  <a:gd name="connsiteX1084" fmla="*/ 6276 w 10785"/>
                  <a:gd name="connsiteY1084" fmla="*/ 2120 h 10000"/>
                  <a:gd name="connsiteX1085" fmla="*/ 6295 w 10785"/>
                  <a:gd name="connsiteY1085" fmla="*/ 2239 h 10000"/>
                  <a:gd name="connsiteX1086" fmla="*/ 6290 w 10785"/>
                  <a:gd name="connsiteY1086" fmla="*/ 2248 h 10000"/>
                  <a:gd name="connsiteX1087" fmla="*/ 6281 w 10785"/>
                  <a:gd name="connsiteY1087" fmla="*/ 2274 h 10000"/>
                  <a:gd name="connsiteX1088" fmla="*/ 6249 w 10785"/>
                  <a:gd name="connsiteY1088" fmla="*/ 2274 h 10000"/>
                  <a:gd name="connsiteX1089" fmla="*/ 6226 w 10785"/>
                  <a:gd name="connsiteY1089" fmla="*/ 2308 h 10000"/>
                  <a:gd name="connsiteX1090" fmla="*/ 6221 w 10785"/>
                  <a:gd name="connsiteY1090" fmla="*/ 2299 h 10000"/>
                  <a:gd name="connsiteX1091" fmla="*/ 6221 w 10785"/>
                  <a:gd name="connsiteY1091" fmla="*/ 2308 h 10000"/>
                  <a:gd name="connsiteX1092" fmla="*/ 6217 w 10785"/>
                  <a:gd name="connsiteY1092" fmla="*/ 2299 h 10000"/>
                  <a:gd name="connsiteX1093" fmla="*/ 6194 w 10785"/>
                  <a:gd name="connsiteY1093" fmla="*/ 2308 h 10000"/>
                  <a:gd name="connsiteX1094" fmla="*/ 6180 w 10785"/>
                  <a:gd name="connsiteY1094" fmla="*/ 2299 h 10000"/>
                  <a:gd name="connsiteX1095" fmla="*/ 6143 w 10785"/>
                  <a:gd name="connsiteY1095" fmla="*/ 2308 h 10000"/>
                  <a:gd name="connsiteX1096" fmla="*/ 6134 w 10785"/>
                  <a:gd name="connsiteY1096" fmla="*/ 2325 h 10000"/>
                  <a:gd name="connsiteX1097" fmla="*/ 6115 w 10785"/>
                  <a:gd name="connsiteY1097" fmla="*/ 2282 h 10000"/>
                  <a:gd name="connsiteX1098" fmla="*/ 6069 w 10785"/>
                  <a:gd name="connsiteY1098" fmla="*/ 2274 h 10000"/>
                  <a:gd name="connsiteX1099" fmla="*/ 6069 w 10785"/>
                  <a:gd name="connsiteY1099" fmla="*/ 2282 h 10000"/>
                  <a:gd name="connsiteX1100" fmla="*/ 6060 w 10785"/>
                  <a:gd name="connsiteY1100" fmla="*/ 2299 h 10000"/>
                  <a:gd name="connsiteX1101" fmla="*/ 5972 w 10785"/>
                  <a:gd name="connsiteY1101" fmla="*/ 2214 h 10000"/>
                  <a:gd name="connsiteX1102" fmla="*/ 5968 w 10785"/>
                  <a:gd name="connsiteY1102" fmla="*/ 2197 h 10000"/>
                  <a:gd name="connsiteX1103" fmla="*/ 5968 w 10785"/>
                  <a:gd name="connsiteY1103" fmla="*/ 2171 h 10000"/>
                  <a:gd name="connsiteX1104" fmla="*/ 5968 w 10785"/>
                  <a:gd name="connsiteY1104" fmla="*/ 2162 h 10000"/>
                  <a:gd name="connsiteX1105" fmla="*/ 5968 w 10785"/>
                  <a:gd name="connsiteY1105" fmla="*/ 2120 h 10000"/>
                  <a:gd name="connsiteX1106" fmla="*/ 5968 w 10785"/>
                  <a:gd name="connsiteY1106" fmla="*/ 2111 h 10000"/>
                  <a:gd name="connsiteX1107" fmla="*/ 5972 w 10785"/>
                  <a:gd name="connsiteY1107" fmla="*/ 2103 h 10000"/>
                  <a:gd name="connsiteX1108" fmla="*/ 5986 w 10785"/>
                  <a:gd name="connsiteY1108" fmla="*/ 2103 h 10000"/>
                  <a:gd name="connsiteX1109" fmla="*/ 5986 w 10785"/>
                  <a:gd name="connsiteY1109" fmla="*/ 2085 h 10000"/>
                  <a:gd name="connsiteX1110" fmla="*/ 5995 w 10785"/>
                  <a:gd name="connsiteY1110" fmla="*/ 2085 h 10000"/>
                  <a:gd name="connsiteX1111" fmla="*/ 5995 w 10785"/>
                  <a:gd name="connsiteY1111" fmla="*/ 2077 h 10000"/>
                  <a:gd name="connsiteX1112" fmla="*/ 5986 w 10785"/>
                  <a:gd name="connsiteY1112" fmla="*/ 2060 h 10000"/>
                  <a:gd name="connsiteX1113" fmla="*/ 5954 w 10785"/>
                  <a:gd name="connsiteY1113" fmla="*/ 2060 h 10000"/>
                  <a:gd name="connsiteX1114" fmla="*/ 5940 w 10785"/>
                  <a:gd name="connsiteY1114" fmla="*/ 2051 h 10000"/>
                  <a:gd name="connsiteX1115" fmla="*/ 5922 w 10785"/>
                  <a:gd name="connsiteY1115" fmla="*/ 2060 h 10000"/>
                  <a:gd name="connsiteX1116" fmla="*/ 5885 w 10785"/>
                  <a:gd name="connsiteY1116" fmla="*/ 2051 h 10000"/>
                  <a:gd name="connsiteX1117" fmla="*/ 5876 w 10785"/>
                  <a:gd name="connsiteY1117" fmla="*/ 2026 h 10000"/>
                  <a:gd name="connsiteX1118" fmla="*/ 5862 w 10785"/>
                  <a:gd name="connsiteY1118" fmla="*/ 2026 h 10000"/>
                  <a:gd name="connsiteX1119" fmla="*/ 5848 w 10785"/>
                  <a:gd name="connsiteY1119" fmla="*/ 2026 h 10000"/>
                  <a:gd name="connsiteX1120" fmla="*/ 5825 w 10785"/>
                  <a:gd name="connsiteY1120" fmla="*/ 2026 h 10000"/>
                  <a:gd name="connsiteX1121" fmla="*/ 5788 w 10785"/>
                  <a:gd name="connsiteY1121" fmla="*/ 1991 h 10000"/>
                  <a:gd name="connsiteX1122" fmla="*/ 5760 w 10785"/>
                  <a:gd name="connsiteY1122" fmla="*/ 2000 h 10000"/>
                  <a:gd name="connsiteX1123" fmla="*/ 5760 w 10785"/>
                  <a:gd name="connsiteY1123" fmla="*/ 2026 h 10000"/>
                  <a:gd name="connsiteX1124" fmla="*/ 5714 w 10785"/>
                  <a:gd name="connsiteY1124" fmla="*/ 2051 h 10000"/>
                  <a:gd name="connsiteX1125" fmla="*/ 5687 w 10785"/>
                  <a:gd name="connsiteY1125" fmla="*/ 2034 h 10000"/>
                  <a:gd name="connsiteX1126" fmla="*/ 5645 w 10785"/>
                  <a:gd name="connsiteY1126" fmla="*/ 2077 h 10000"/>
                  <a:gd name="connsiteX1127" fmla="*/ 5664 w 10785"/>
                  <a:gd name="connsiteY1127" fmla="*/ 2120 h 10000"/>
                  <a:gd name="connsiteX1128" fmla="*/ 5664 w 10785"/>
                  <a:gd name="connsiteY1128" fmla="*/ 2162 h 10000"/>
                  <a:gd name="connsiteX1129" fmla="*/ 5631 w 10785"/>
                  <a:gd name="connsiteY1129" fmla="*/ 2197 h 10000"/>
                  <a:gd name="connsiteX1130" fmla="*/ 5618 w 10785"/>
                  <a:gd name="connsiteY1130" fmla="*/ 2188 h 10000"/>
                  <a:gd name="connsiteX1131" fmla="*/ 5618 w 10785"/>
                  <a:gd name="connsiteY1131" fmla="*/ 2171 h 10000"/>
                  <a:gd name="connsiteX1132" fmla="*/ 5641 w 10785"/>
                  <a:gd name="connsiteY1132" fmla="*/ 2171 h 10000"/>
                  <a:gd name="connsiteX1133" fmla="*/ 5641 w 10785"/>
                  <a:gd name="connsiteY1133" fmla="*/ 2162 h 10000"/>
                  <a:gd name="connsiteX1134" fmla="*/ 5627 w 10785"/>
                  <a:gd name="connsiteY1134" fmla="*/ 2145 h 10000"/>
                  <a:gd name="connsiteX1135" fmla="*/ 5627 w 10785"/>
                  <a:gd name="connsiteY1135" fmla="*/ 2120 h 10000"/>
                  <a:gd name="connsiteX1136" fmla="*/ 5618 w 10785"/>
                  <a:gd name="connsiteY1136" fmla="*/ 2111 h 10000"/>
                  <a:gd name="connsiteX1137" fmla="*/ 5631 w 10785"/>
                  <a:gd name="connsiteY1137" fmla="*/ 2051 h 10000"/>
                  <a:gd name="connsiteX1138" fmla="*/ 5631 w 10785"/>
                  <a:gd name="connsiteY1138" fmla="*/ 2026 h 10000"/>
                  <a:gd name="connsiteX1139" fmla="*/ 5627 w 10785"/>
                  <a:gd name="connsiteY1139" fmla="*/ 1991 h 10000"/>
                  <a:gd name="connsiteX1140" fmla="*/ 5618 w 10785"/>
                  <a:gd name="connsiteY1140" fmla="*/ 1974 h 10000"/>
                  <a:gd name="connsiteX1141" fmla="*/ 5618 w 10785"/>
                  <a:gd name="connsiteY1141" fmla="*/ 1940 h 10000"/>
                  <a:gd name="connsiteX1142" fmla="*/ 5594 w 10785"/>
                  <a:gd name="connsiteY1142" fmla="*/ 1855 h 10000"/>
                  <a:gd name="connsiteX1143" fmla="*/ 5599 w 10785"/>
                  <a:gd name="connsiteY1143" fmla="*/ 1915 h 10000"/>
                  <a:gd name="connsiteX1144" fmla="*/ 5599 w 10785"/>
                  <a:gd name="connsiteY1144" fmla="*/ 1949 h 10000"/>
                  <a:gd name="connsiteX1145" fmla="*/ 5594 w 10785"/>
                  <a:gd name="connsiteY1145" fmla="*/ 1991 h 10000"/>
                  <a:gd name="connsiteX1146" fmla="*/ 5571 w 10785"/>
                  <a:gd name="connsiteY1146" fmla="*/ 2000 h 10000"/>
                  <a:gd name="connsiteX1147" fmla="*/ 5530 w 10785"/>
                  <a:gd name="connsiteY1147" fmla="*/ 1991 h 10000"/>
                  <a:gd name="connsiteX1148" fmla="*/ 5525 w 10785"/>
                  <a:gd name="connsiteY1148" fmla="*/ 2000 h 10000"/>
                  <a:gd name="connsiteX1149" fmla="*/ 5521 w 10785"/>
                  <a:gd name="connsiteY1149" fmla="*/ 1991 h 10000"/>
                  <a:gd name="connsiteX1150" fmla="*/ 5498 w 10785"/>
                  <a:gd name="connsiteY1150" fmla="*/ 1949 h 10000"/>
                  <a:gd name="connsiteX1151" fmla="*/ 5493 w 10785"/>
                  <a:gd name="connsiteY1151" fmla="*/ 1889 h 10000"/>
                  <a:gd name="connsiteX1152" fmla="*/ 5493 w 10785"/>
                  <a:gd name="connsiteY1152" fmla="*/ 1863 h 10000"/>
                  <a:gd name="connsiteX1153" fmla="*/ 5498 w 10785"/>
                  <a:gd name="connsiteY1153" fmla="*/ 1889 h 10000"/>
                  <a:gd name="connsiteX1154" fmla="*/ 5512 w 10785"/>
                  <a:gd name="connsiteY1154" fmla="*/ 1855 h 10000"/>
                  <a:gd name="connsiteX1155" fmla="*/ 5512 w 10785"/>
                  <a:gd name="connsiteY1155" fmla="*/ 1838 h 10000"/>
                  <a:gd name="connsiteX1156" fmla="*/ 5479 w 10785"/>
                  <a:gd name="connsiteY1156" fmla="*/ 1855 h 10000"/>
                  <a:gd name="connsiteX1157" fmla="*/ 5470 w 10785"/>
                  <a:gd name="connsiteY1157" fmla="*/ 1872 h 10000"/>
                  <a:gd name="connsiteX1158" fmla="*/ 5470 w 10785"/>
                  <a:gd name="connsiteY1158" fmla="*/ 1889 h 10000"/>
                  <a:gd name="connsiteX1159" fmla="*/ 5465 w 10785"/>
                  <a:gd name="connsiteY1159" fmla="*/ 1897 h 10000"/>
                  <a:gd name="connsiteX1160" fmla="*/ 5456 w 10785"/>
                  <a:gd name="connsiteY1160" fmla="*/ 1872 h 10000"/>
                  <a:gd name="connsiteX1161" fmla="*/ 5447 w 10785"/>
                  <a:gd name="connsiteY1161" fmla="*/ 1872 h 10000"/>
                  <a:gd name="connsiteX1162" fmla="*/ 5433 w 10785"/>
                  <a:gd name="connsiteY1162" fmla="*/ 1855 h 10000"/>
                  <a:gd name="connsiteX1163" fmla="*/ 5396 w 10785"/>
                  <a:gd name="connsiteY1163" fmla="*/ 1863 h 10000"/>
                  <a:gd name="connsiteX1164" fmla="*/ 5396 w 10785"/>
                  <a:gd name="connsiteY1164" fmla="*/ 1897 h 10000"/>
                  <a:gd name="connsiteX1165" fmla="*/ 5378 w 10785"/>
                  <a:gd name="connsiteY1165" fmla="*/ 1949 h 10000"/>
                  <a:gd name="connsiteX1166" fmla="*/ 5378 w 10785"/>
                  <a:gd name="connsiteY1166" fmla="*/ 1966 h 10000"/>
                  <a:gd name="connsiteX1167" fmla="*/ 5392 w 10785"/>
                  <a:gd name="connsiteY1167" fmla="*/ 2026 h 10000"/>
                  <a:gd name="connsiteX1168" fmla="*/ 5396 w 10785"/>
                  <a:gd name="connsiteY1168" fmla="*/ 2026 h 10000"/>
                  <a:gd name="connsiteX1169" fmla="*/ 5392 w 10785"/>
                  <a:gd name="connsiteY1169" fmla="*/ 2009 h 10000"/>
                  <a:gd name="connsiteX1170" fmla="*/ 5392 w 10785"/>
                  <a:gd name="connsiteY1170" fmla="*/ 2000 h 10000"/>
                  <a:gd name="connsiteX1171" fmla="*/ 5396 w 10785"/>
                  <a:gd name="connsiteY1171" fmla="*/ 2009 h 10000"/>
                  <a:gd name="connsiteX1172" fmla="*/ 5424 w 10785"/>
                  <a:gd name="connsiteY1172" fmla="*/ 2009 h 10000"/>
                  <a:gd name="connsiteX1173" fmla="*/ 5433 w 10785"/>
                  <a:gd name="connsiteY1173" fmla="*/ 1991 h 10000"/>
                  <a:gd name="connsiteX1174" fmla="*/ 5447 w 10785"/>
                  <a:gd name="connsiteY1174" fmla="*/ 1974 h 10000"/>
                  <a:gd name="connsiteX1175" fmla="*/ 5452 w 10785"/>
                  <a:gd name="connsiteY1175" fmla="*/ 1966 h 10000"/>
                  <a:gd name="connsiteX1176" fmla="*/ 5456 w 10785"/>
                  <a:gd name="connsiteY1176" fmla="*/ 1966 h 10000"/>
                  <a:gd name="connsiteX1177" fmla="*/ 5465 w 10785"/>
                  <a:gd name="connsiteY1177" fmla="*/ 2009 h 10000"/>
                  <a:gd name="connsiteX1178" fmla="*/ 5433 w 10785"/>
                  <a:gd name="connsiteY1178" fmla="*/ 2034 h 10000"/>
                  <a:gd name="connsiteX1179" fmla="*/ 5424 w 10785"/>
                  <a:gd name="connsiteY1179" fmla="*/ 2060 h 10000"/>
                  <a:gd name="connsiteX1180" fmla="*/ 5419 w 10785"/>
                  <a:gd name="connsiteY1180" fmla="*/ 2060 h 10000"/>
                  <a:gd name="connsiteX1181" fmla="*/ 5392 w 10785"/>
                  <a:gd name="connsiteY1181" fmla="*/ 2111 h 10000"/>
                  <a:gd name="connsiteX1182" fmla="*/ 5378 w 10785"/>
                  <a:gd name="connsiteY1182" fmla="*/ 2111 h 10000"/>
                  <a:gd name="connsiteX1183" fmla="*/ 5350 w 10785"/>
                  <a:gd name="connsiteY1183" fmla="*/ 2060 h 10000"/>
                  <a:gd name="connsiteX1184" fmla="*/ 5373 w 10785"/>
                  <a:gd name="connsiteY1184" fmla="*/ 2111 h 10000"/>
                  <a:gd name="connsiteX1185" fmla="*/ 5364 w 10785"/>
                  <a:gd name="connsiteY1185" fmla="*/ 2111 h 10000"/>
                  <a:gd name="connsiteX1186" fmla="*/ 5359 w 10785"/>
                  <a:gd name="connsiteY1186" fmla="*/ 2103 h 10000"/>
                  <a:gd name="connsiteX1187" fmla="*/ 5359 w 10785"/>
                  <a:gd name="connsiteY1187" fmla="*/ 2120 h 10000"/>
                  <a:gd name="connsiteX1188" fmla="*/ 5359 w 10785"/>
                  <a:gd name="connsiteY1188" fmla="*/ 2137 h 10000"/>
                  <a:gd name="connsiteX1189" fmla="*/ 5313 w 10785"/>
                  <a:gd name="connsiteY1189" fmla="*/ 2162 h 10000"/>
                  <a:gd name="connsiteX1190" fmla="*/ 5300 w 10785"/>
                  <a:gd name="connsiteY1190" fmla="*/ 2162 h 10000"/>
                  <a:gd name="connsiteX1191" fmla="*/ 5300 w 10785"/>
                  <a:gd name="connsiteY1191" fmla="*/ 2171 h 10000"/>
                  <a:gd name="connsiteX1192" fmla="*/ 5300 w 10785"/>
                  <a:gd name="connsiteY1192" fmla="*/ 2197 h 10000"/>
                  <a:gd name="connsiteX1193" fmla="*/ 5276 w 10785"/>
                  <a:gd name="connsiteY1193" fmla="*/ 2188 h 10000"/>
                  <a:gd name="connsiteX1194" fmla="*/ 5249 w 10785"/>
                  <a:gd name="connsiteY1194" fmla="*/ 2222 h 10000"/>
                  <a:gd name="connsiteX1195" fmla="*/ 5249 w 10785"/>
                  <a:gd name="connsiteY1195" fmla="*/ 2222 h 10000"/>
                  <a:gd name="connsiteX1196" fmla="*/ 5217 w 10785"/>
                  <a:gd name="connsiteY1196" fmla="*/ 2214 h 10000"/>
                  <a:gd name="connsiteX1197" fmla="*/ 5203 w 10785"/>
                  <a:gd name="connsiteY1197" fmla="*/ 2239 h 10000"/>
                  <a:gd name="connsiteX1198" fmla="*/ 5171 w 10785"/>
                  <a:gd name="connsiteY1198" fmla="*/ 2214 h 10000"/>
                  <a:gd name="connsiteX1199" fmla="*/ 5157 w 10785"/>
                  <a:gd name="connsiteY1199" fmla="*/ 2239 h 10000"/>
                  <a:gd name="connsiteX1200" fmla="*/ 5166 w 10785"/>
                  <a:gd name="connsiteY1200" fmla="*/ 2256 h 10000"/>
                  <a:gd name="connsiteX1201" fmla="*/ 5171 w 10785"/>
                  <a:gd name="connsiteY1201" fmla="*/ 2308 h 10000"/>
                  <a:gd name="connsiteX1202" fmla="*/ 5212 w 10785"/>
                  <a:gd name="connsiteY1202" fmla="*/ 2350 h 10000"/>
                  <a:gd name="connsiteX1203" fmla="*/ 5203 w 10785"/>
                  <a:gd name="connsiteY1203" fmla="*/ 2350 h 10000"/>
                  <a:gd name="connsiteX1204" fmla="*/ 5166 w 10785"/>
                  <a:gd name="connsiteY1204" fmla="*/ 2325 h 10000"/>
                  <a:gd name="connsiteX1205" fmla="*/ 5152 w 10785"/>
                  <a:gd name="connsiteY1205" fmla="*/ 2308 h 10000"/>
                  <a:gd name="connsiteX1206" fmla="*/ 5143 w 10785"/>
                  <a:gd name="connsiteY1206" fmla="*/ 2333 h 10000"/>
                  <a:gd name="connsiteX1207" fmla="*/ 5138 w 10785"/>
                  <a:gd name="connsiteY1207" fmla="*/ 2333 h 10000"/>
                  <a:gd name="connsiteX1208" fmla="*/ 5124 w 10785"/>
                  <a:gd name="connsiteY1208" fmla="*/ 2376 h 10000"/>
                  <a:gd name="connsiteX1209" fmla="*/ 5115 w 10785"/>
                  <a:gd name="connsiteY1209" fmla="*/ 2385 h 10000"/>
                  <a:gd name="connsiteX1210" fmla="*/ 5106 w 10785"/>
                  <a:gd name="connsiteY1210" fmla="*/ 2385 h 10000"/>
                  <a:gd name="connsiteX1211" fmla="*/ 5055 w 10785"/>
                  <a:gd name="connsiteY1211" fmla="*/ 2470 h 10000"/>
                  <a:gd name="connsiteX1212" fmla="*/ 5065 w 10785"/>
                  <a:gd name="connsiteY1212" fmla="*/ 2462 h 10000"/>
                  <a:gd name="connsiteX1213" fmla="*/ 5055 w 10785"/>
                  <a:gd name="connsiteY1213" fmla="*/ 2444 h 10000"/>
                  <a:gd name="connsiteX1214" fmla="*/ 5041 w 10785"/>
                  <a:gd name="connsiteY1214" fmla="*/ 2462 h 10000"/>
                  <a:gd name="connsiteX1215" fmla="*/ 5037 w 10785"/>
                  <a:gd name="connsiteY1215" fmla="*/ 2470 h 10000"/>
                  <a:gd name="connsiteX1216" fmla="*/ 5032 w 10785"/>
                  <a:gd name="connsiteY1216" fmla="*/ 2470 h 10000"/>
                  <a:gd name="connsiteX1217" fmla="*/ 5032 w 10785"/>
                  <a:gd name="connsiteY1217" fmla="*/ 2444 h 10000"/>
                  <a:gd name="connsiteX1218" fmla="*/ 5055 w 10785"/>
                  <a:gd name="connsiteY1218" fmla="*/ 2410 h 10000"/>
                  <a:gd name="connsiteX1219" fmla="*/ 5065 w 10785"/>
                  <a:gd name="connsiteY1219" fmla="*/ 2393 h 10000"/>
                  <a:gd name="connsiteX1220" fmla="*/ 5069 w 10785"/>
                  <a:gd name="connsiteY1220" fmla="*/ 2385 h 10000"/>
                  <a:gd name="connsiteX1221" fmla="*/ 5083 w 10785"/>
                  <a:gd name="connsiteY1221" fmla="*/ 2376 h 10000"/>
                  <a:gd name="connsiteX1222" fmla="*/ 5097 w 10785"/>
                  <a:gd name="connsiteY1222" fmla="*/ 2376 h 10000"/>
                  <a:gd name="connsiteX1223" fmla="*/ 5124 w 10785"/>
                  <a:gd name="connsiteY1223" fmla="*/ 2325 h 10000"/>
                  <a:gd name="connsiteX1224" fmla="*/ 5143 w 10785"/>
                  <a:gd name="connsiteY1224" fmla="*/ 2248 h 10000"/>
                  <a:gd name="connsiteX1225" fmla="*/ 5152 w 10785"/>
                  <a:gd name="connsiteY1225" fmla="*/ 2239 h 10000"/>
                  <a:gd name="connsiteX1226" fmla="*/ 5166 w 10785"/>
                  <a:gd name="connsiteY1226" fmla="*/ 2162 h 10000"/>
                  <a:gd name="connsiteX1227" fmla="*/ 5171 w 10785"/>
                  <a:gd name="connsiteY1227" fmla="*/ 2171 h 10000"/>
                  <a:gd name="connsiteX1228" fmla="*/ 5198 w 10785"/>
                  <a:gd name="connsiteY1228" fmla="*/ 2145 h 10000"/>
                  <a:gd name="connsiteX1229" fmla="*/ 5203 w 10785"/>
                  <a:gd name="connsiteY1229" fmla="*/ 2111 h 10000"/>
                  <a:gd name="connsiteX1230" fmla="*/ 5217 w 10785"/>
                  <a:gd name="connsiteY1230" fmla="*/ 2060 h 10000"/>
                  <a:gd name="connsiteX1231" fmla="*/ 5226 w 10785"/>
                  <a:gd name="connsiteY1231" fmla="*/ 2026 h 10000"/>
                  <a:gd name="connsiteX1232" fmla="*/ 5286 w 10785"/>
                  <a:gd name="connsiteY1232" fmla="*/ 2026 h 10000"/>
                  <a:gd name="connsiteX1233" fmla="*/ 5290 w 10785"/>
                  <a:gd name="connsiteY1233" fmla="*/ 2034 h 10000"/>
                  <a:gd name="connsiteX1234" fmla="*/ 5323 w 10785"/>
                  <a:gd name="connsiteY1234" fmla="*/ 1923 h 10000"/>
                  <a:gd name="connsiteX1235" fmla="*/ 5323 w 10785"/>
                  <a:gd name="connsiteY1235" fmla="*/ 1889 h 10000"/>
                  <a:gd name="connsiteX1236" fmla="*/ 5359 w 10785"/>
                  <a:gd name="connsiteY1236" fmla="*/ 1829 h 10000"/>
                  <a:gd name="connsiteX1237" fmla="*/ 5378 w 10785"/>
                  <a:gd name="connsiteY1237" fmla="*/ 1812 h 10000"/>
                  <a:gd name="connsiteX1238" fmla="*/ 5406 w 10785"/>
                  <a:gd name="connsiteY1238" fmla="*/ 1752 h 10000"/>
                  <a:gd name="connsiteX1239" fmla="*/ 5410 w 10785"/>
                  <a:gd name="connsiteY1239" fmla="*/ 1718 h 10000"/>
                  <a:gd name="connsiteX1240" fmla="*/ 5438 w 10785"/>
                  <a:gd name="connsiteY1240" fmla="*/ 1667 h 10000"/>
                  <a:gd name="connsiteX1241" fmla="*/ 5438 w 10785"/>
                  <a:gd name="connsiteY1241" fmla="*/ 1650 h 10000"/>
                  <a:gd name="connsiteX1242" fmla="*/ 5438 w 10785"/>
                  <a:gd name="connsiteY1242" fmla="*/ 1641 h 10000"/>
                  <a:gd name="connsiteX1243" fmla="*/ 5452 w 10785"/>
                  <a:gd name="connsiteY1243" fmla="*/ 1641 h 10000"/>
                  <a:gd name="connsiteX1244" fmla="*/ 5456 w 10785"/>
                  <a:gd name="connsiteY1244" fmla="*/ 1615 h 10000"/>
                  <a:gd name="connsiteX1245" fmla="*/ 5456 w 10785"/>
                  <a:gd name="connsiteY1245" fmla="*/ 1615 h 10000"/>
                  <a:gd name="connsiteX1246" fmla="*/ 5465 w 10785"/>
                  <a:gd name="connsiteY1246" fmla="*/ 1598 h 10000"/>
                  <a:gd name="connsiteX1247" fmla="*/ 5465 w 10785"/>
                  <a:gd name="connsiteY1247" fmla="*/ 1615 h 10000"/>
                  <a:gd name="connsiteX1248" fmla="*/ 5479 w 10785"/>
                  <a:gd name="connsiteY1248" fmla="*/ 1598 h 10000"/>
                  <a:gd name="connsiteX1249" fmla="*/ 5484 w 10785"/>
                  <a:gd name="connsiteY1249" fmla="*/ 1581 h 10000"/>
                  <a:gd name="connsiteX1250" fmla="*/ 5493 w 10785"/>
                  <a:gd name="connsiteY1250" fmla="*/ 1581 h 10000"/>
                  <a:gd name="connsiteX1251" fmla="*/ 5512 w 10785"/>
                  <a:gd name="connsiteY1251" fmla="*/ 1538 h 10000"/>
                  <a:gd name="connsiteX1252" fmla="*/ 5530 w 10785"/>
                  <a:gd name="connsiteY1252" fmla="*/ 1564 h 10000"/>
                  <a:gd name="connsiteX1253" fmla="*/ 5530 w 10785"/>
                  <a:gd name="connsiteY1253" fmla="*/ 1538 h 10000"/>
                  <a:gd name="connsiteX1254" fmla="*/ 5539 w 10785"/>
                  <a:gd name="connsiteY1254" fmla="*/ 1530 h 10000"/>
                  <a:gd name="connsiteX1255" fmla="*/ 5530 w 10785"/>
                  <a:gd name="connsiteY1255" fmla="*/ 1504 h 10000"/>
                  <a:gd name="connsiteX1256" fmla="*/ 5567 w 10785"/>
                  <a:gd name="connsiteY1256" fmla="*/ 1479 h 10000"/>
                  <a:gd name="connsiteX1257" fmla="*/ 5553 w 10785"/>
                  <a:gd name="connsiteY1257" fmla="*/ 1479 h 10000"/>
                  <a:gd name="connsiteX1258" fmla="*/ 5553 w 10785"/>
                  <a:gd name="connsiteY1258" fmla="*/ 1453 h 10000"/>
                  <a:gd name="connsiteX1259" fmla="*/ 5581 w 10785"/>
                  <a:gd name="connsiteY1259" fmla="*/ 1444 h 10000"/>
                  <a:gd name="connsiteX1260" fmla="*/ 5581 w 10785"/>
                  <a:gd name="connsiteY1260" fmla="*/ 1453 h 10000"/>
                  <a:gd name="connsiteX1261" fmla="*/ 5585 w 10785"/>
                  <a:gd name="connsiteY1261" fmla="*/ 1444 h 10000"/>
                  <a:gd name="connsiteX1262" fmla="*/ 5594 w 10785"/>
                  <a:gd name="connsiteY1262" fmla="*/ 1427 h 10000"/>
                  <a:gd name="connsiteX1263" fmla="*/ 5599 w 10785"/>
                  <a:gd name="connsiteY1263" fmla="*/ 1419 h 10000"/>
                  <a:gd name="connsiteX1264" fmla="*/ 5594 w 10785"/>
                  <a:gd name="connsiteY1264" fmla="*/ 1402 h 10000"/>
                  <a:gd name="connsiteX1265" fmla="*/ 5604 w 10785"/>
                  <a:gd name="connsiteY1265" fmla="*/ 1393 h 10000"/>
                  <a:gd name="connsiteX1266" fmla="*/ 5618 w 10785"/>
                  <a:gd name="connsiteY1266" fmla="*/ 1393 h 10000"/>
                  <a:gd name="connsiteX1267" fmla="*/ 5627 w 10785"/>
                  <a:gd name="connsiteY1267" fmla="*/ 1368 h 10000"/>
                  <a:gd name="connsiteX1268" fmla="*/ 5627 w 10785"/>
                  <a:gd name="connsiteY1268" fmla="*/ 1325 h 10000"/>
                  <a:gd name="connsiteX1269" fmla="*/ 5645 w 10785"/>
                  <a:gd name="connsiteY1269" fmla="*/ 1291 h 10000"/>
                  <a:gd name="connsiteX1270" fmla="*/ 5645 w 10785"/>
                  <a:gd name="connsiteY1270" fmla="*/ 1282 h 10000"/>
                  <a:gd name="connsiteX1271" fmla="*/ 5654 w 10785"/>
                  <a:gd name="connsiteY1271" fmla="*/ 1265 h 10000"/>
                  <a:gd name="connsiteX1272" fmla="*/ 5654 w 10785"/>
                  <a:gd name="connsiteY1272" fmla="*/ 1214 h 10000"/>
                  <a:gd name="connsiteX1273" fmla="*/ 5654 w 10785"/>
                  <a:gd name="connsiteY1273" fmla="*/ 1214 h 10000"/>
                  <a:gd name="connsiteX1274" fmla="*/ 5645 w 10785"/>
                  <a:gd name="connsiteY1274" fmla="*/ 1197 h 10000"/>
                  <a:gd name="connsiteX1275" fmla="*/ 5659 w 10785"/>
                  <a:gd name="connsiteY1275" fmla="*/ 1197 h 10000"/>
                  <a:gd name="connsiteX1276" fmla="*/ 5654 w 10785"/>
                  <a:gd name="connsiteY1276" fmla="*/ 1154 h 10000"/>
                  <a:gd name="connsiteX1277" fmla="*/ 5641 w 10785"/>
                  <a:gd name="connsiteY1277" fmla="*/ 1154 h 10000"/>
                  <a:gd name="connsiteX1278" fmla="*/ 5627 w 10785"/>
                  <a:gd name="connsiteY1278" fmla="*/ 1128 h 10000"/>
                  <a:gd name="connsiteX1279" fmla="*/ 5618 w 10785"/>
                  <a:gd name="connsiteY1279" fmla="*/ 1094 h 10000"/>
                  <a:gd name="connsiteX1280" fmla="*/ 5613 w 10785"/>
                  <a:gd name="connsiteY1280" fmla="*/ 1094 h 10000"/>
                  <a:gd name="connsiteX1281" fmla="*/ 5604 w 10785"/>
                  <a:gd name="connsiteY1281" fmla="*/ 1120 h 10000"/>
                  <a:gd name="connsiteX1282" fmla="*/ 5604 w 10785"/>
                  <a:gd name="connsiteY1282" fmla="*/ 1128 h 10000"/>
                  <a:gd name="connsiteX1283" fmla="*/ 5599 w 10785"/>
                  <a:gd name="connsiteY1283" fmla="*/ 1103 h 10000"/>
                  <a:gd name="connsiteX1284" fmla="*/ 5599 w 10785"/>
                  <a:gd name="connsiteY1284" fmla="*/ 1103 h 10000"/>
                  <a:gd name="connsiteX1285" fmla="*/ 5594 w 10785"/>
                  <a:gd name="connsiteY1285" fmla="*/ 1068 h 10000"/>
                  <a:gd name="connsiteX1286" fmla="*/ 5594 w 10785"/>
                  <a:gd name="connsiteY1286" fmla="*/ 1060 h 10000"/>
                  <a:gd name="connsiteX1287" fmla="*/ 5581 w 10785"/>
                  <a:gd name="connsiteY1287" fmla="*/ 1034 h 10000"/>
                  <a:gd name="connsiteX1288" fmla="*/ 5571 w 10785"/>
                  <a:gd name="connsiteY1288" fmla="*/ 1009 h 10000"/>
                  <a:gd name="connsiteX1289" fmla="*/ 5571 w 10785"/>
                  <a:gd name="connsiteY1289" fmla="*/ 991 h 10000"/>
                  <a:gd name="connsiteX1290" fmla="*/ 5585 w 10785"/>
                  <a:gd name="connsiteY1290" fmla="*/ 1009 h 10000"/>
                  <a:gd name="connsiteX1291" fmla="*/ 5604 w 10785"/>
                  <a:gd name="connsiteY1291" fmla="*/ 1043 h 10000"/>
                  <a:gd name="connsiteX1292" fmla="*/ 5641 w 10785"/>
                  <a:gd name="connsiteY1292" fmla="*/ 1094 h 10000"/>
                  <a:gd name="connsiteX1293" fmla="*/ 5631 w 10785"/>
                  <a:gd name="connsiteY1293" fmla="*/ 1128 h 10000"/>
                  <a:gd name="connsiteX1294" fmla="*/ 5641 w 10785"/>
                  <a:gd name="connsiteY1294" fmla="*/ 1128 h 10000"/>
                  <a:gd name="connsiteX1295" fmla="*/ 5659 w 10785"/>
                  <a:gd name="connsiteY1295" fmla="*/ 1017 h 10000"/>
                  <a:gd name="connsiteX1296" fmla="*/ 5659 w 10785"/>
                  <a:gd name="connsiteY1296" fmla="*/ 983 h 10000"/>
                  <a:gd name="connsiteX1297" fmla="*/ 5659 w 10785"/>
                  <a:gd name="connsiteY1297" fmla="*/ 957 h 10000"/>
                  <a:gd name="connsiteX1298" fmla="*/ 5654 w 10785"/>
                  <a:gd name="connsiteY1298" fmla="*/ 966 h 10000"/>
                  <a:gd name="connsiteX1299" fmla="*/ 5641 w 10785"/>
                  <a:gd name="connsiteY1299" fmla="*/ 957 h 10000"/>
                  <a:gd name="connsiteX1300" fmla="*/ 5631 w 10785"/>
                  <a:gd name="connsiteY1300" fmla="*/ 897 h 10000"/>
                  <a:gd name="connsiteX1301" fmla="*/ 5641 w 10785"/>
                  <a:gd name="connsiteY1301" fmla="*/ 872 h 10000"/>
                  <a:gd name="connsiteX1302" fmla="*/ 5618 w 10785"/>
                  <a:gd name="connsiteY1302" fmla="*/ 803 h 10000"/>
                  <a:gd name="connsiteX1303" fmla="*/ 5604 w 10785"/>
                  <a:gd name="connsiteY1303" fmla="*/ 821 h 10000"/>
                  <a:gd name="connsiteX1304" fmla="*/ 5613 w 10785"/>
                  <a:gd name="connsiteY1304" fmla="*/ 846 h 10000"/>
                  <a:gd name="connsiteX1305" fmla="*/ 5604 w 10785"/>
                  <a:gd name="connsiteY1305" fmla="*/ 855 h 10000"/>
                  <a:gd name="connsiteX1306" fmla="*/ 5599 w 10785"/>
                  <a:gd name="connsiteY1306" fmla="*/ 880 h 10000"/>
                  <a:gd name="connsiteX1307" fmla="*/ 5594 w 10785"/>
                  <a:gd name="connsiteY1307" fmla="*/ 880 h 10000"/>
                  <a:gd name="connsiteX1308" fmla="*/ 5585 w 10785"/>
                  <a:gd name="connsiteY1308" fmla="*/ 829 h 10000"/>
                  <a:gd name="connsiteX1309" fmla="*/ 5571 w 10785"/>
                  <a:gd name="connsiteY1309" fmla="*/ 803 h 10000"/>
                  <a:gd name="connsiteX1310" fmla="*/ 5585 w 10785"/>
                  <a:gd name="connsiteY1310" fmla="*/ 795 h 10000"/>
                  <a:gd name="connsiteX1311" fmla="*/ 5585 w 10785"/>
                  <a:gd name="connsiteY1311" fmla="*/ 761 h 10000"/>
                  <a:gd name="connsiteX1312" fmla="*/ 5558 w 10785"/>
                  <a:gd name="connsiteY1312" fmla="*/ 709 h 10000"/>
                  <a:gd name="connsiteX1313" fmla="*/ 5544 w 10785"/>
                  <a:gd name="connsiteY1313" fmla="*/ 709 h 10000"/>
                  <a:gd name="connsiteX1314" fmla="*/ 5544 w 10785"/>
                  <a:gd name="connsiteY1314" fmla="*/ 684 h 10000"/>
                  <a:gd name="connsiteX1315" fmla="*/ 5525 w 10785"/>
                  <a:gd name="connsiteY1315" fmla="*/ 632 h 10000"/>
                  <a:gd name="connsiteX1316" fmla="*/ 5507 w 10785"/>
                  <a:gd name="connsiteY1316" fmla="*/ 607 h 10000"/>
                  <a:gd name="connsiteX1317" fmla="*/ 5512 w 10785"/>
                  <a:gd name="connsiteY1317" fmla="*/ 598 h 10000"/>
                  <a:gd name="connsiteX1318" fmla="*/ 5507 w 10785"/>
                  <a:gd name="connsiteY1318" fmla="*/ 581 h 10000"/>
                  <a:gd name="connsiteX1319" fmla="*/ 5493 w 10785"/>
                  <a:gd name="connsiteY1319" fmla="*/ 573 h 10000"/>
                  <a:gd name="connsiteX1320" fmla="*/ 5484 w 10785"/>
                  <a:gd name="connsiteY1320" fmla="*/ 581 h 10000"/>
                  <a:gd name="connsiteX1321" fmla="*/ 5484 w 10785"/>
                  <a:gd name="connsiteY1321" fmla="*/ 573 h 10000"/>
                  <a:gd name="connsiteX1322" fmla="*/ 5484 w 10785"/>
                  <a:gd name="connsiteY1322" fmla="*/ 547 h 10000"/>
                  <a:gd name="connsiteX1323" fmla="*/ 5465 w 10785"/>
                  <a:gd name="connsiteY1323" fmla="*/ 556 h 10000"/>
                  <a:gd name="connsiteX1324" fmla="*/ 5433 w 10785"/>
                  <a:gd name="connsiteY1324" fmla="*/ 547 h 10000"/>
                  <a:gd name="connsiteX1325" fmla="*/ 5410 w 10785"/>
                  <a:gd name="connsiteY1325" fmla="*/ 573 h 10000"/>
                  <a:gd name="connsiteX1326" fmla="*/ 5406 w 10785"/>
                  <a:gd name="connsiteY1326" fmla="*/ 573 h 10000"/>
                  <a:gd name="connsiteX1327" fmla="*/ 5392 w 10785"/>
                  <a:gd name="connsiteY1327" fmla="*/ 573 h 10000"/>
                  <a:gd name="connsiteX1328" fmla="*/ 5364 w 10785"/>
                  <a:gd name="connsiteY1328" fmla="*/ 530 h 10000"/>
                  <a:gd name="connsiteX1329" fmla="*/ 5350 w 10785"/>
                  <a:gd name="connsiteY1329" fmla="*/ 556 h 10000"/>
                  <a:gd name="connsiteX1330" fmla="*/ 5346 w 10785"/>
                  <a:gd name="connsiteY1330" fmla="*/ 556 h 10000"/>
                  <a:gd name="connsiteX1331" fmla="*/ 5313 w 10785"/>
                  <a:gd name="connsiteY1331" fmla="*/ 573 h 10000"/>
                  <a:gd name="connsiteX1332" fmla="*/ 5304 w 10785"/>
                  <a:gd name="connsiteY1332" fmla="*/ 556 h 10000"/>
                  <a:gd name="connsiteX1333" fmla="*/ 5290 w 10785"/>
                  <a:gd name="connsiteY1333" fmla="*/ 573 h 10000"/>
                  <a:gd name="connsiteX1334" fmla="*/ 5290 w 10785"/>
                  <a:gd name="connsiteY1334" fmla="*/ 556 h 10000"/>
                  <a:gd name="connsiteX1335" fmla="*/ 5300 w 10785"/>
                  <a:gd name="connsiteY1335" fmla="*/ 547 h 10000"/>
                  <a:gd name="connsiteX1336" fmla="*/ 5300 w 10785"/>
                  <a:gd name="connsiteY1336" fmla="*/ 530 h 10000"/>
                  <a:gd name="connsiteX1337" fmla="*/ 5290 w 10785"/>
                  <a:gd name="connsiteY1337" fmla="*/ 530 h 10000"/>
                  <a:gd name="connsiteX1338" fmla="*/ 5286 w 10785"/>
                  <a:gd name="connsiteY1338" fmla="*/ 547 h 10000"/>
                  <a:gd name="connsiteX1339" fmla="*/ 5272 w 10785"/>
                  <a:gd name="connsiteY1339" fmla="*/ 556 h 10000"/>
                  <a:gd name="connsiteX1340" fmla="*/ 5272 w 10785"/>
                  <a:gd name="connsiteY1340" fmla="*/ 598 h 10000"/>
                  <a:gd name="connsiteX1341" fmla="*/ 5276 w 10785"/>
                  <a:gd name="connsiteY1341" fmla="*/ 581 h 10000"/>
                  <a:gd name="connsiteX1342" fmla="*/ 5272 w 10785"/>
                  <a:gd name="connsiteY1342" fmla="*/ 607 h 10000"/>
                  <a:gd name="connsiteX1343" fmla="*/ 5263 w 10785"/>
                  <a:gd name="connsiteY1343" fmla="*/ 607 h 10000"/>
                  <a:gd name="connsiteX1344" fmla="*/ 5263 w 10785"/>
                  <a:gd name="connsiteY1344" fmla="*/ 632 h 10000"/>
                  <a:gd name="connsiteX1345" fmla="*/ 5258 w 10785"/>
                  <a:gd name="connsiteY1345" fmla="*/ 658 h 10000"/>
                  <a:gd name="connsiteX1346" fmla="*/ 5244 w 10785"/>
                  <a:gd name="connsiteY1346" fmla="*/ 667 h 10000"/>
                  <a:gd name="connsiteX1347" fmla="*/ 5240 w 10785"/>
                  <a:gd name="connsiteY1347" fmla="*/ 658 h 10000"/>
                  <a:gd name="connsiteX1348" fmla="*/ 5240 w 10785"/>
                  <a:gd name="connsiteY1348" fmla="*/ 684 h 10000"/>
                  <a:gd name="connsiteX1349" fmla="*/ 5212 w 10785"/>
                  <a:gd name="connsiteY1349" fmla="*/ 684 h 10000"/>
                  <a:gd name="connsiteX1350" fmla="*/ 5198 w 10785"/>
                  <a:gd name="connsiteY1350" fmla="*/ 692 h 10000"/>
                  <a:gd name="connsiteX1351" fmla="*/ 5184 w 10785"/>
                  <a:gd name="connsiteY1351" fmla="*/ 684 h 10000"/>
                  <a:gd name="connsiteX1352" fmla="*/ 5157 w 10785"/>
                  <a:gd name="connsiteY1352" fmla="*/ 684 h 10000"/>
                  <a:gd name="connsiteX1353" fmla="*/ 5157 w 10785"/>
                  <a:gd name="connsiteY1353" fmla="*/ 667 h 10000"/>
                  <a:gd name="connsiteX1354" fmla="*/ 5157 w 10785"/>
                  <a:gd name="connsiteY1354" fmla="*/ 667 h 10000"/>
                  <a:gd name="connsiteX1355" fmla="*/ 5180 w 10785"/>
                  <a:gd name="connsiteY1355" fmla="*/ 650 h 10000"/>
                  <a:gd name="connsiteX1356" fmla="*/ 5184 w 10785"/>
                  <a:gd name="connsiteY1356" fmla="*/ 658 h 10000"/>
                  <a:gd name="connsiteX1357" fmla="*/ 5203 w 10785"/>
                  <a:gd name="connsiteY1357" fmla="*/ 547 h 10000"/>
                  <a:gd name="connsiteX1358" fmla="*/ 5226 w 10785"/>
                  <a:gd name="connsiteY1358" fmla="*/ 530 h 10000"/>
                  <a:gd name="connsiteX1359" fmla="*/ 5230 w 10785"/>
                  <a:gd name="connsiteY1359" fmla="*/ 487 h 10000"/>
                  <a:gd name="connsiteX1360" fmla="*/ 5230 w 10785"/>
                  <a:gd name="connsiteY1360" fmla="*/ 487 h 10000"/>
                  <a:gd name="connsiteX1361" fmla="*/ 5226 w 10785"/>
                  <a:gd name="connsiteY1361" fmla="*/ 462 h 10000"/>
                  <a:gd name="connsiteX1362" fmla="*/ 5226 w 10785"/>
                  <a:gd name="connsiteY1362" fmla="*/ 462 h 10000"/>
                  <a:gd name="connsiteX1363" fmla="*/ 5240 w 10785"/>
                  <a:gd name="connsiteY1363" fmla="*/ 462 h 10000"/>
                  <a:gd name="connsiteX1364" fmla="*/ 5240 w 10785"/>
                  <a:gd name="connsiteY1364" fmla="*/ 444 h 10000"/>
                  <a:gd name="connsiteX1365" fmla="*/ 5230 w 10785"/>
                  <a:gd name="connsiteY1365" fmla="*/ 436 h 10000"/>
                  <a:gd name="connsiteX1366" fmla="*/ 5230 w 10785"/>
                  <a:gd name="connsiteY1366" fmla="*/ 419 h 10000"/>
                  <a:gd name="connsiteX1367" fmla="*/ 5230 w 10785"/>
                  <a:gd name="connsiteY1367" fmla="*/ 410 h 10000"/>
                  <a:gd name="connsiteX1368" fmla="*/ 5198 w 10785"/>
                  <a:gd name="connsiteY1368" fmla="*/ 402 h 10000"/>
                  <a:gd name="connsiteX1369" fmla="*/ 5189 w 10785"/>
                  <a:gd name="connsiteY1369" fmla="*/ 402 h 10000"/>
                  <a:gd name="connsiteX1370" fmla="*/ 5184 w 10785"/>
                  <a:gd name="connsiteY1370" fmla="*/ 376 h 10000"/>
                  <a:gd name="connsiteX1371" fmla="*/ 5180 w 10785"/>
                  <a:gd name="connsiteY1371" fmla="*/ 376 h 10000"/>
                  <a:gd name="connsiteX1372" fmla="*/ 5166 w 10785"/>
                  <a:gd name="connsiteY1372" fmla="*/ 376 h 10000"/>
                  <a:gd name="connsiteX1373" fmla="*/ 5157 w 10785"/>
                  <a:gd name="connsiteY1373" fmla="*/ 385 h 10000"/>
                  <a:gd name="connsiteX1374" fmla="*/ 5152 w 10785"/>
                  <a:gd name="connsiteY1374" fmla="*/ 376 h 10000"/>
                  <a:gd name="connsiteX1375" fmla="*/ 5129 w 10785"/>
                  <a:gd name="connsiteY1375" fmla="*/ 385 h 10000"/>
                  <a:gd name="connsiteX1376" fmla="*/ 5129 w 10785"/>
                  <a:gd name="connsiteY1376" fmla="*/ 350 h 10000"/>
                  <a:gd name="connsiteX1377" fmla="*/ 5129 w 10785"/>
                  <a:gd name="connsiteY1377" fmla="*/ 325 h 10000"/>
                  <a:gd name="connsiteX1378" fmla="*/ 5124 w 10785"/>
                  <a:gd name="connsiteY1378" fmla="*/ 359 h 10000"/>
                  <a:gd name="connsiteX1379" fmla="*/ 5106 w 10785"/>
                  <a:gd name="connsiteY1379" fmla="*/ 359 h 10000"/>
                  <a:gd name="connsiteX1380" fmla="*/ 5037 w 10785"/>
                  <a:gd name="connsiteY1380" fmla="*/ 419 h 10000"/>
                  <a:gd name="connsiteX1381" fmla="*/ 5051 w 10785"/>
                  <a:gd name="connsiteY1381" fmla="*/ 385 h 10000"/>
                  <a:gd name="connsiteX1382" fmla="*/ 5055 w 10785"/>
                  <a:gd name="connsiteY1382" fmla="*/ 376 h 10000"/>
                  <a:gd name="connsiteX1383" fmla="*/ 5092 w 10785"/>
                  <a:gd name="connsiteY1383" fmla="*/ 282 h 10000"/>
                  <a:gd name="connsiteX1384" fmla="*/ 5106 w 10785"/>
                  <a:gd name="connsiteY1384" fmla="*/ 265 h 10000"/>
                  <a:gd name="connsiteX1385" fmla="*/ 5115 w 10785"/>
                  <a:gd name="connsiteY1385" fmla="*/ 265 h 10000"/>
                  <a:gd name="connsiteX1386" fmla="*/ 5124 w 10785"/>
                  <a:gd name="connsiteY1386" fmla="*/ 222 h 10000"/>
                  <a:gd name="connsiteX1387" fmla="*/ 5124 w 10785"/>
                  <a:gd name="connsiteY1387" fmla="*/ 214 h 10000"/>
                  <a:gd name="connsiteX1388" fmla="*/ 5143 w 10785"/>
                  <a:gd name="connsiteY1388" fmla="*/ 197 h 10000"/>
                  <a:gd name="connsiteX1389" fmla="*/ 5152 w 10785"/>
                  <a:gd name="connsiteY1389" fmla="*/ 214 h 10000"/>
                  <a:gd name="connsiteX1390" fmla="*/ 5143 w 10785"/>
                  <a:gd name="connsiteY1390" fmla="*/ 188 h 10000"/>
                  <a:gd name="connsiteX1391" fmla="*/ 5129 w 10785"/>
                  <a:gd name="connsiteY1391" fmla="*/ 103 h 10000"/>
                  <a:gd name="connsiteX1392" fmla="*/ 5115 w 10785"/>
                  <a:gd name="connsiteY1392" fmla="*/ 85 h 10000"/>
                  <a:gd name="connsiteX1393" fmla="*/ 5111 w 10785"/>
                  <a:gd name="connsiteY1393" fmla="*/ 111 h 10000"/>
                  <a:gd name="connsiteX1394" fmla="*/ 5092 w 10785"/>
                  <a:gd name="connsiteY1394" fmla="*/ 103 h 10000"/>
                  <a:gd name="connsiteX1395" fmla="*/ 5069 w 10785"/>
                  <a:gd name="connsiteY1395" fmla="*/ 77 h 10000"/>
                  <a:gd name="connsiteX1396" fmla="*/ 5051 w 10785"/>
                  <a:gd name="connsiteY1396" fmla="*/ 26 h 10000"/>
                  <a:gd name="connsiteX1397" fmla="*/ 5041 w 10785"/>
                  <a:gd name="connsiteY1397" fmla="*/ 34 h 10000"/>
                  <a:gd name="connsiteX1398" fmla="*/ 5037 w 10785"/>
                  <a:gd name="connsiteY1398" fmla="*/ 34 h 10000"/>
                  <a:gd name="connsiteX1399" fmla="*/ 5037 w 10785"/>
                  <a:gd name="connsiteY1399" fmla="*/ 26 h 10000"/>
                  <a:gd name="connsiteX1400" fmla="*/ 5037 w 10785"/>
                  <a:gd name="connsiteY1400" fmla="*/ 9 h 10000"/>
                  <a:gd name="connsiteX1401" fmla="*/ 5023 w 10785"/>
                  <a:gd name="connsiteY1401" fmla="*/ 0 h 10000"/>
                  <a:gd name="connsiteX1402" fmla="*/ 5009 w 10785"/>
                  <a:gd name="connsiteY1402" fmla="*/ 9 h 10000"/>
                  <a:gd name="connsiteX1403" fmla="*/ 4995 w 10785"/>
                  <a:gd name="connsiteY1403" fmla="*/ 34 h 10000"/>
                  <a:gd name="connsiteX1404" fmla="*/ 4991 w 10785"/>
                  <a:gd name="connsiteY1404" fmla="*/ 60 h 10000"/>
                  <a:gd name="connsiteX1405" fmla="*/ 4982 w 10785"/>
                  <a:gd name="connsiteY1405" fmla="*/ 60 h 10000"/>
                  <a:gd name="connsiteX1406" fmla="*/ 4949 w 10785"/>
                  <a:gd name="connsiteY1406" fmla="*/ 51 h 10000"/>
                  <a:gd name="connsiteX1407" fmla="*/ 4949 w 10785"/>
                  <a:gd name="connsiteY1407" fmla="*/ 85 h 10000"/>
                  <a:gd name="connsiteX1408" fmla="*/ 4903 w 10785"/>
                  <a:gd name="connsiteY1408" fmla="*/ 197 h 10000"/>
                  <a:gd name="connsiteX1409" fmla="*/ 4899 w 10785"/>
                  <a:gd name="connsiteY1409" fmla="*/ 239 h 10000"/>
                  <a:gd name="connsiteX1410" fmla="*/ 4871 w 10785"/>
                  <a:gd name="connsiteY1410" fmla="*/ 274 h 10000"/>
                  <a:gd name="connsiteX1411" fmla="*/ 4871 w 10785"/>
                  <a:gd name="connsiteY1411" fmla="*/ 282 h 10000"/>
                  <a:gd name="connsiteX1412" fmla="*/ 4834 w 10785"/>
                  <a:gd name="connsiteY1412" fmla="*/ 376 h 10000"/>
                  <a:gd name="connsiteX1413" fmla="*/ 4829 w 10785"/>
                  <a:gd name="connsiteY1413" fmla="*/ 402 h 10000"/>
                  <a:gd name="connsiteX1414" fmla="*/ 4834 w 10785"/>
                  <a:gd name="connsiteY1414" fmla="*/ 410 h 10000"/>
                  <a:gd name="connsiteX1415" fmla="*/ 4829 w 10785"/>
                  <a:gd name="connsiteY1415" fmla="*/ 436 h 10000"/>
                  <a:gd name="connsiteX1416" fmla="*/ 4825 w 10785"/>
                  <a:gd name="connsiteY1416" fmla="*/ 436 h 10000"/>
                  <a:gd name="connsiteX1417" fmla="*/ 4825 w 10785"/>
                  <a:gd name="connsiteY1417" fmla="*/ 444 h 10000"/>
                  <a:gd name="connsiteX1418" fmla="*/ 4811 w 10785"/>
                  <a:gd name="connsiteY1418" fmla="*/ 496 h 10000"/>
                  <a:gd name="connsiteX1419" fmla="*/ 4811 w 10785"/>
                  <a:gd name="connsiteY1419" fmla="*/ 496 h 10000"/>
                  <a:gd name="connsiteX1420" fmla="*/ 4811 w 10785"/>
                  <a:gd name="connsiteY1420" fmla="*/ 521 h 10000"/>
                  <a:gd name="connsiteX1421" fmla="*/ 4816 w 10785"/>
                  <a:gd name="connsiteY1421" fmla="*/ 530 h 10000"/>
                  <a:gd name="connsiteX1422" fmla="*/ 4834 w 10785"/>
                  <a:gd name="connsiteY1422" fmla="*/ 547 h 10000"/>
                  <a:gd name="connsiteX1423" fmla="*/ 4834 w 10785"/>
                  <a:gd name="connsiteY1423" fmla="*/ 581 h 10000"/>
                  <a:gd name="connsiteX1424" fmla="*/ 4843 w 10785"/>
                  <a:gd name="connsiteY1424" fmla="*/ 581 h 10000"/>
                  <a:gd name="connsiteX1425" fmla="*/ 4843 w 10785"/>
                  <a:gd name="connsiteY1425" fmla="*/ 598 h 10000"/>
                  <a:gd name="connsiteX1426" fmla="*/ 4829 w 10785"/>
                  <a:gd name="connsiteY1426" fmla="*/ 598 h 10000"/>
                  <a:gd name="connsiteX1427" fmla="*/ 4829 w 10785"/>
                  <a:gd name="connsiteY1427" fmla="*/ 573 h 10000"/>
                  <a:gd name="connsiteX1428" fmla="*/ 4829 w 10785"/>
                  <a:gd name="connsiteY1428" fmla="*/ 632 h 10000"/>
                  <a:gd name="connsiteX1429" fmla="*/ 4829 w 10785"/>
                  <a:gd name="connsiteY1429" fmla="*/ 632 h 10000"/>
                  <a:gd name="connsiteX1430" fmla="*/ 4829 w 10785"/>
                  <a:gd name="connsiteY1430" fmla="*/ 650 h 10000"/>
                  <a:gd name="connsiteX1431" fmla="*/ 4774 w 10785"/>
                  <a:gd name="connsiteY1431" fmla="*/ 684 h 10000"/>
                  <a:gd name="connsiteX1432" fmla="*/ 4756 w 10785"/>
                  <a:gd name="connsiteY1432" fmla="*/ 684 h 10000"/>
                  <a:gd name="connsiteX1433" fmla="*/ 4737 w 10785"/>
                  <a:gd name="connsiteY1433" fmla="*/ 692 h 10000"/>
                  <a:gd name="connsiteX1434" fmla="*/ 4677 w 10785"/>
                  <a:gd name="connsiteY1434" fmla="*/ 667 h 10000"/>
                  <a:gd name="connsiteX1435" fmla="*/ 4682 w 10785"/>
                  <a:gd name="connsiteY1435" fmla="*/ 692 h 10000"/>
                  <a:gd name="connsiteX1436" fmla="*/ 4682 w 10785"/>
                  <a:gd name="connsiteY1436" fmla="*/ 709 h 10000"/>
                  <a:gd name="connsiteX1437" fmla="*/ 4691 w 10785"/>
                  <a:gd name="connsiteY1437" fmla="*/ 718 h 10000"/>
                  <a:gd name="connsiteX1438" fmla="*/ 4691 w 10785"/>
                  <a:gd name="connsiteY1438" fmla="*/ 744 h 10000"/>
                  <a:gd name="connsiteX1439" fmla="*/ 4700 w 10785"/>
                  <a:gd name="connsiteY1439" fmla="*/ 744 h 10000"/>
                  <a:gd name="connsiteX1440" fmla="*/ 4714 w 10785"/>
                  <a:gd name="connsiteY1440" fmla="*/ 769 h 10000"/>
                  <a:gd name="connsiteX1441" fmla="*/ 4710 w 10785"/>
                  <a:gd name="connsiteY1441" fmla="*/ 786 h 10000"/>
                  <a:gd name="connsiteX1442" fmla="*/ 4737 w 10785"/>
                  <a:gd name="connsiteY1442" fmla="*/ 786 h 10000"/>
                  <a:gd name="connsiteX1443" fmla="*/ 4742 w 10785"/>
                  <a:gd name="connsiteY1443" fmla="*/ 795 h 10000"/>
                  <a:gd name="connsiteX1444" fmla="*/ 4742 w 10785"/>
                  <a:gd name="connsiteY1444" fmla="*/ 803 h 10000"/>
                  <a:gd name="connsiteX1445" fmla="*/ 4737 w 10785"/>
                  <a:gd name="connsiteY1445" fmla="*/ 846 h 10000"/>
                  <a:gd name="connsiteX1446" fmla="*/ 4737 w 10785"/>
                  <a:gd name="connsiteY1446" fmla="*/ 880 h 10000"/>
                  <a:gd name="connsiteX1447" fmla="*/ 4737 w 10785"/>
                  <a:gd name="connsiteY1447" fmla="*/ 906 h 10000"/>
                  <a:gd name="connsiteX1448" fmla="*/ 4724 w 10785"/>
                  <a:gd name="connsiteY1448" fmla="*/ 897 h 10000"/>
                  <a:gd name="connsiteX1449" fmla="*/ 4724 w 10785"/>
                  <a:gd name="connsiteY1449" fmla="*/ 872 h 10000"/>
                  <a:gd name="connsiteX1450" fmla="*/ 4714 w 10785"/>
                  <a:gd name="connsiteY1450" fmla="*/ 855 h 10000"/>
                  <a:gd name="connsiteX1451" fmla="*/ 4691 w 10785"/>
                  <a:gd name="connsiteY1451" fmla="*/ 846 h 10000"/>
                  <a:gd name="connsiteX1452" fmla="*/ 4691 w 10785"/>
                  <a:gd name="connsiteY1452" fmla="*/ 846 h 10000"/>
                  <a:gd name="connsiteX1453" fmla="*/ 4696 w 10785"/>
                  <a:gd name="connsiteY1453" fmla="*/ 821 h 10000"/>
                  <a:gd name="connsiteX1454" fmla="*/ 4691 w 10785"/>
                  <a:gd name="connsiteY1454" fmla="*/ 803 h 10000"/>
                  <a:gd name="connsiteX1455" fmla="*/ 4668 w 10785"/>
                  <a:gd name="connsiteY1455" fmla="*/ 821 h 10000"/>
                  <a:gd name="connsiteX1456" fmla="*/ 4668 w 10785"/>
                  <a:gd name="connsiteY1456" fmla="*/ 786 h 10000"/>
                  <a:gd name="connsiteX1457" fmla="*/ 4664 w 10785"/>
                  <a:gd name="connsiteY1457" fmla="*/ 786 h 10000"/>
                  <a:gd name="connsiteX1458" fmla="*/ 4622 w 10785"/>
                  <a:gd name="connsiteY1458" fmla="*/ 846 h 10000"/>
                  <a:gd name="connsiteX1459" fmla="*/ 4627 w 10785"/>
                  <a:gd name="connsiteY1459" fmla="*/ 872 h 10000"/>
                  <a:gd name="connsiteX1460" fmla="*/ 4622 w 10785"/>
                  <a:gd name="connsiteY1460" fmla="*/ 880 h 10000"/>
                  <a:gd name="connsiteX1461" fmla="*/ 4622 w 10785"/>
                  <a:gd name="connsiteY1461" fmla="*/ 880 h 10000"/>
                  <a:gd name="connsiteX1462" fmla="*/ 4618 w 10785"/>
                  <a:gd name="connsiteY1462" fmla="*/ 872 h 10000"/>
                  <a:gd name="connsiteX1463" fmla="*/ 4604 w 10785"/>
                  <a:gd name="connsiteY1463" fmla="*/ 880 h 10000"/>
                  <a:gd name="connsiteX1464" fmla="*/ 4594 w 10785"/>
                  <a:gd name="connsiteY1464" fmla="*/ 906 h 10000"/>
                  <a:gd name="connsiteX1465" fmla="*/ 4604 w 10785"/>
                  <a:gd name="connsiteY1465" fmla="*/ 906 h 10000"/>
                  <a:gd name="connsiteX1466" fmla="*/ 4608 w 10785"/>
                  <a:gd name="connsiteY1466" fmla="*/ 906 h 10000"/>
                  <a:gd name="connsiteX1467" fmla="*/ 4608 w 10785"/>
                  <a:gd name="connsiteY1467" fmla="*/ 932 h 10000"/>
                  <a:gd name="connsiteX1468" fmla="*/ 4604 w 10785"/>
                  <a:gd name="connsiteY1468" fmla="*/ 932 h 10000"/>
                  <a:gd name="connsiteX1469" fmla="*/ 4590 w 10785"/>
                  <a:gd name="connsiteY1469" fmla="*/ 932 h 10000"/>
                  <a:gd name="connsiteX1470" fmla="*/ 4567 w 10785"/>
                  <a:gd name="connsiteY1470" fmla="*/ 957 h 10000"/>
                  <a:gd name="connsiteX1471" fmla="*/ 4567 w 10785"/>
                  <a:gd name="connsiteY1471" fmla="*/ 932 h 10000"/>
                  <a:gd name="connsiteX1472" fmla="*/ 4567 w 10785"/>
                  <a:gd name="connsiteY1472" fmla="*/ 923 h 10000"/>
                  <a:gd name="connsiteX1473" fmla="*/ 4562 w 10785"/>
                  <a:gd name="connsiteY1473" fmla="*/ 932 h 10000"/>
                  <a:gd name="connsiteX1474" fmla="*/ 4548 w 10785"/>
                  <a:gd name="connsiteY1474" fmla="*/ 957 h 10000"/>
                  <a:gd name="connsiteX1475" fmla="*/ 4544 w 10785"/>
                  <a:gd name="connsiteY1475" fmla="*/ 957 h 10000"/>
                  <a:gd name="connsiteX1476" fmla="*/ 4521 w 10785"/>
                  <a:gd name="connsiteY1476" fmla="*/ 983 h 10000"/>
                  <a:gd name="connsiteX1477" fmla="*/ 4521 w 10785"/>
                  <a:gd name="connsiteY1477" fmla="*/ 983 h 10000"/>
                  <a:gd name="connsiteX1478" fmla="*/ 4530 w 10785"/>
                  <a:gd name="connsiteY1478" fmla="*/ 957 h 10000"/>
                  <a:gd name="connsiteX1479" fmla="*/ 4535 w 10785"/>
                  <a:gd name="connsiteY1479" fmla="*/ 932 h 10000"/>
                  <a:gd name="connsiteX1480" fmla="*/ 4521 w 10785"/>
                  <a:gd name="connsiteY1480" fmla="*/ 932 h 10000"/>
                  <a:gd name="connsiteX1481" fmla="*/ 4516 w 10785"/>
                  <a:gd name="connsiteY1481" fmla="*/ 923 h 10000"/>
                  <a:gd name="connsiteX1482" fmla="*/ 4516 w 10785"/>
                  <a:gd name="connsiteY1482" fmla="*/ 932 h 10000"/>
                  <a:gd name="connsiteX1483" fmla="*/ 4488 w 10785"/>
                  <a:gd name="connsiteY1483" fmla="*/ 940 h 10000"/>
                  <a:gd name="connsiteX1484" fmla="*/ 4484 w 10785"/>
                  <a:gd name="connsiteY1484" fmla="*/ 983 h 10000"/>
                  <a:gd name="connsiteX1485" fmla="*/ 4470 w 10785"/>
                  <a:gd name="connsiteY1485" fmla="*/ 983 h 10000"/>
                  <a:gd name="connsiteX1486" fmla="*/ 4470 w 10785"/>
                  <a:gd name="connsiteY1486" fmla="*/ 966 h 10000"/>
                  <a:gd name="connsiteX1487" fmla="*/ 4488 w 10785"/>
                  <a:gd name="connsiteY1487" fmla="*/ 923 h 10000"/>
                  <a:gd name="connsiteX1488" fmla="*/ 4493 w 10785"/>
                  <a:gd name="connsiteY1488" fmla="*/ 880 h 10000"/>
                  <a:gd name="connsiteX1489" fmla="*/ 4475 w 10785"/>
                  <a:gd name="connsiteY1489" fmla="*/ 846 h 10000"/>
                  <a:gd name="connsiteX1490" fmla="*/ 4442 w 10785"/>
                  <a:gd name="connsiteY1490" fmla="*/ 855 h 10000"/>
                  <a:gd name="connsiteX1491" fmla="*/ 4433 w 10785"/>
                  <a:gd name="connsiteY1491" fmla="*/ 855 h 10000"/>
                  <a:gd name="connsiteX1492" fmla="*/ 4433 w 10785"/>
                  <a:gd name="connsiteY1492" fmla="*/ 880 h 10000"/>
                  <a:gd name="connsiteX1493" fmla="*/ 4401 w 10785"/>
                  <a:gd name="connsiteY1493" fmla="*/ 855 h 10000"/>
                  <a:gd name="connsiteX1494" fmla="*/ 4396 w 10785"/>
                  <a:gd name="connsiteY1494" fmla="*/ 872 h 10000"/>
                  <a:gd name="connsiteX1495" fmla="*/ 4382 w 10785"/>
                  <a:gd name="connsiteY1495" fmla="*/ 897 h 10000"/>
                  <a:gd name="connsiteX1496" fmla="*/ 4373 w 10785"/>
                  <a:gd name="connsiteY1496" fmla="*/ 872 h 10000"/>
                  <a:gd name="connsiteX1497" fmla="*/ 4341 w 10785"/>
                  <a:gd name="connsiteY1497" fmla="*/ 872 h 10000"/>
                  <a:gd name="connsiteX1498" fmla="*/ 4336 w 10785"/>
                  <a:gd name="connsiteY1498" fmla="*/ 880 h 10000"/>
                  <a:gd name="connsiteX1499" fmla="*/ 4346 w 10785"/>
                  <a:gd name="connsiteY1499" fmla="*/ 897 h 10000"/>
                  <a:gd name="connsiteX1500" fmla="*/ 4346 w 10785"/>
                  <a:gd name="connsiteY1500" fmla="*/ 897 h 10000"/>
                  <a:gd name="connsiteX1501" fmla="*/ 4313 w 10785"/>
                  <a:gd name="connsiteY1501" fmla="*/ 906 h 10000"/>
                  <a:gd name="connsiteX1502" fmla="*/ 4313 w 10785"/>
                  <a:gd name="connsiteY1502" fmla="*/ 906 h 10000"/>
                  <a:gd name="connsiteX1503" fmla="*/ 4313 w 10785"/>
                  <a:gd name="connsiteY1503" fmla="*/ 880 h 10000"/>
                  <a:gd name="connsiteX1504" fmla="*/ 4309 w 10785"/>
                  <a:gd name="connsiteY1504" fmla="*/ 897 h 10000"/>
                  <a:gd name="connsiteX1505" fmla="*/ 4295 w 10785"/>
                  <a:gd name="connsiteY1505" fmla="*/ 923 h 10000"/>
                  <a:gd name="connsiteX1506" fmla="*/ 4286 w 10785"/>
                  <a:gd name="connsiteY1506" fmla="*/ 897 h 10000"/>
                  <a:gd name="connsiteX1507" fmla="*/ 4281 w 10785"/>
                  <a:gd name="connsiteY1507" fmla="*/ 906 h 10000"/>
                  <a:gd name="connsiteX1508" fmla="*/ 4281 w 10785"/>
                  <a:gd name="connsiteY1508" fmla="*/ 940 h 10000"/>
                  <a:gd name="connsiteX1509" fmla="*/ 4286 w 10785"/>
                  <a:gd name="connsiteY1509" fmla="*/ 957 h 10000"/>
                  <a:gd name="connsiteX1510" fmla="*/ 4309 w 10785"/>
                  <a:gd name="connsiteY1510" fmla="*/ 932 h 10000"/>
                  <a:gd name="connsiteX1511" fmla="*/ 4313 w 10785"/>
                  <a:gd name="connsiteY1511" fmla="*/ 957 h 10000"/>
                  <a:gd name="connsiteX1512" fmla="*/ 4313 w 10785"/>
                  <a:gd name="connsiteY1512" fmla="*/ 966 h 10000"/>
                  <a:gd name="connsiteX1513" fmla="*/ 4323 w 10785"/>
                  <a:gd name="connsiteY1513" fmla="*/ 966 h 10000"/>
                  <a:gd name="connsiteX1514" fmla="*/ 4323 w 10785"/>
                  <a:gd name="connsiteY1514" fmla="*/ 940 h 10000"/>
                  <a:gd name="connsiteX1515" fmla="*/ 4327 w 10785"/>
                  <a:gd name="connsiteY1515" fmla="*/ 940 h 10000"/>
                  <a:gd name="connsiteX1516" fmla="*/ 4327 w 10785"/>
                  <a:gd name="connsiteY1516" fmla="*/ 957 h 10000"/>
                  <a:gd name="connsiteX1517" fmla="*/ 4327 w 10785"/>
                  <a:gd name="connsiteY1517" fmla="*/ 966 h 10000"/>
                  <a:gd name="connsiteX1518" fmla="*/ 4323 w 10785"/>
                  <a:gd name="connsiteY1518" fmla="*/ 991 h 10000"/>
                  <a:gd name="connsiteX1519" fmla="*/ 4207 w 10785"/>
                  <a:gd name="connsiteY1519" fmla="*/ 1060 h 10000"/>
                  <a:gd name="connsiteX1520" fmla="*/ 4207 w 10785"/>
                  <a:gd name="connsiteY1520" fmla="*/ 1060 h 10000"/>
                  <a:gd name="connsiteX1521" fmla="*/ 4203 w 10785"/>
                  <a:gd name="connsiteY1521" fmla="*/ 1068 h 10000"/>
                  <a:gd name="connsiteX1522" fmla="*/ 4203 w 10785"/>
                  <a:gd name="connsiteY1522" fmla="*/ 1094 h 10000"/>
                  <a:gd name="connsiteX1523" fmla="*/ 4203 w 10785"/>
                  <a:gd name="connsiteY1523" fmla="*/ 1094 h 10000"/>
                  <a:gd name="connsiteX1524" fmla="*/ 4189 w 10785"/>
                  <a:gd name="connsiteY1524" fmla="*/ 1094 h 10000"/>
                  <a:gd name="connsiteX1525" fmla="*/ 4166 w 10785"/>
                  <a:gd name="connsiteY1525" fmla="*/ 1103 h 10000"/>
                  <a:gd name="connsiteX1526" fmla="*/ 4152 w 10785"/>
                  <a:gd name="connsiteY1526" fmla="*/ 1094 h 10000"/>
                  <a:gd name="connsiteX1527" fmla="*/ 4134 w 10785"/>
                  <a:gd name="connsiteY1527" fmla="*/ 1120 h 10000"/>
                  <a:gd name="connsiteX1528" fmla="*/ 4106 w 10785"/>
                  <a:gd name="connsiteY1528" fmla="*/ 1120 h 10000"/>
                  <a:gd name="connsiteX1529" fmla="*/ 4092 w 10785"/>
                  <a:gd name="connsiteY1529" fmla="*/ 1154 h 10000"/>
                  <a:gd name="connsiteX1530" fmla="*/ 4106 w 10785"/>
                  <a:gd name="connsiteY1530" fmla="*/ 1171 h 10000"/>
                  <a:gd name="connsiteX1531" fmla="*/ 4078 w 10785"/>
                  <a:gd name="connsiteY1531" fmla="*/ 1179 h 10000"/>
                  <a:gd name="connsiteX1532" fmla="*/ 4065 w 10785"/>
                  <a:gd name="connsiteY1532" fmla="*/ 1205 h 10000"/>
                  <a:gd name="connsiteX1533" fmla="*/ 4046 w 10785"/>
                  <a:gd name="connsiteY1533" fmla="*/ 1179 h 10000"/>
                  <a:gd name="connsiteX1534" fmla="*/ 4041 w 10785"/>
                  <a:gd name="connsiteY1534" fmla="*/ 1197 h 10000"/>
                  <a:gd name="connsiteX1535" fmla="*/ 4028 w 10785"/>
                  <a:gd name="connsiteY1535" fmla="*/ 1205 h 10000"/>
                  <a:gd name="connsiteX1536" fmla="*/ 4028 w 10785"/>
                  <a:gd name="connsiteY1536" fmla="*/ 1205 h 10000"/>
                  <a:gd name="connsiteX1537" fmla="*/ 4032 w 10785"/>
                  <a:gd name="connsiteY1537" fmla="*/ 1205 h 10000"/>
                  <a:gd name="connsiteX1538" fmla="*/ 4032 w 10785"/>
                  <a:gd name="connsiteY1538" fmla="*/ 1231 h 10000"/>
                  <a:gd name="connsiteX1539" fmla="*/ 4014 w 10785"/>
                  <a:gd name="connsiteY1539" fmla="*/ 1239 h 10000"/>
                  <a:gd name="connsiteX1540" fmla="*/ 4014 w 10785"/>
                  <a:gd name="connsiteY1540" fmla="*/ 1256 h 10000"/>
                  <a:gd name="connsiteX1541" fmla="*/ 4000 w 10785"/>
                  <a:gd name="connsiteY1541" fmla="*/ 1265 h 10000"/>
                  <a:gd name="connsiteX1542" fmla="*/ 3986 w 10785"/>
                  <a:gd name="connsiteY1542" fmla="*/ 1308 h 10000"/>
                  <a:gd name="connsiteX1543" fmla="*/ 3972 w 10785"/>
                  <a:gd name="connsiteY1543" fmla="*/ 1316 h 10000"/>
                  <a:gd name="connsiteX1544" fmla="*/ 3972 w 10785"/>
                  <a:gd name="connsiteY1544" fmla="*/ 1325 h 10000"/>
                  <a:gd name="connsiteX1545" fmla="*/ 3972 w 10785"/>
                  <a:gd name="connsiteY1545" fmla="*/ 1342 h 10000"/>
                  <a:gd name="connsiteX1546" fmla="*/ 3968 w 10785"/>
                  <a:gd name="connsiteY1546" fmla="*/ 1350 h 10000"/>
                  <a:gd name="connsiteX1547" fmla="*/ 3954 w 10785"/>
                  <a:gd name="connsiteY1547" fmla="*/ 1368 h 10000"/>
                  <a:gd name="connsiteX1548" fmla="*/ 3945 w 10785"/>
                  <a:gd name="connsiteY1548" fmla="*/ 1350 h 10000"/>
                  <a:gd name="connsiteX1549" fmla="*/ 3908 w 10785"/>
                  <a:gd name="connsiteY1549" fmla="*/ 1342 h 10000"/>
                  <a:gd name="connsiteX1550" fmla="*/ 3894 w 10785"/>
                  <a:gd name="connsiteY1550" fmla="*/ 1368 h 10000"/>
                  <a:gd name="connsiteX1551" fmla="*/ 3922 w 10785"/>
                  <a:gd name="connsiteY1551" fmla="*/ 1393 h 10000"/>
                  <a:gd name="connsiteX1552" fmla="*/ 3945 w 10785"/>
                  <a:gd name="connsiteY1552" fmla="*/ 1393 h 10000"/>
                  <a:gd name="connsiteX1553" fmla="*/ 3940 w 10785"/>
                  <a:gd name="connsiteY1553" fmla="*/ 1419 h 10000"/>
                  <a:gd name="connsiteX1554" fmla="*/ 3931 w 10785"/>
                  <a:gd name="connsiteY1554" fmla="*/ 1427 h 10000"/>
                  <a:gd name="connsiteX1555" fmla="*/ 3926 w 10785"/>
                  <a:gd name="connsiteY1555" fmla="*/ 1427 h 10000"/>
                  <a:gd name="connsiteX1556" fmla="*/ 3922 w 10785"/>
                  <a:gd name="connsiteY1556" fmla="*/ 1419 h 10000"/>
                  <a:gd name="connsiteX1557" fmla="*/ 3912 w 10785"/>
                  <a:gd name="connsiteY1557" fmla="*/ 1427 h 10000"/>
                  <a:gd name="connsiteX1558" fmla="*/ 3912 w 10785"/>
                  <a:gd name="connsiteY1558" fmla="*/ 1444 h 10000"/>
                  <a:gd name="connsiteX1559" fmla="*/ 3894 w 10785"/>
                  <a:gd name="connsiteY1559" fmla="*/ 1513 h 10000"/>
                  <a:gd name="connsiteX1560" fmla="*/ 3885 w 10785"/>
                  <a:gd name="connsiteY1560" fmla="*/ 1513 h 10000"/>
                  <a:gd name="connsiteX1561" fmla="*/ 3880 w 10785"/>
                  <a:gd name="connsiteY1561" fmla="*/ 1538 h 10000"/>
                  <a:gd name="connsiteX1562" fmla="*/ 3885 w 10785"/>
                  <a:gd name="connsiteY1562" fmla="*/ 1564 h 10000"/>
                  <a:gd name="connsiteX1563" fmla="*/ 3880 w 10785"/>
                  <a:gd name="connsiteY1563" fmla="*/ 1581 h 10000"/>
                  <a:gd name="connsiteX1564" fmla="*/ 3871 w 10785"/>
                  <a:gd name="connsiteY1564" fmla="*/ 1538 h 10000"/>
                  <a:gd name="connsiteX1565" fmla="*/ 3853 w 10785"/>
                  <a:gd name="connsiteY1565" fmla="*/ 1530 h 10000"/>
                  <a:gd name="connsiteX1566" fmla="*/ 3853 w 10785"/>
                  <a:gd name="connsiteY1566" fmla="*/ 1504 h 10000"/>
                  <a:gd name="connsiteX1567" fmla="*/ 3834 w 10785"/>
                  <a:gd name="connsiteY1567" fmla="*/ 1487 h 10000"/>
                  <a:gd name="connsiteX1568" fmla="*/ 3834 w 10785"/>
                  <a:gd name="connsiteY1568" fmla="*/ 1487 h 10000"/>
                  <a:gd name="connsiteX1569" fmla="*/ 3839 w 10785"/>
                  <a:gd name="connsiteY1569" fmla="*/ 1513 h 10000"/>
                  <a:gd name="connsiteX1570" fmla="*/ 3820 w 10785"/>
                  <a:gd name="connsiteY1570" fmla="*/ 1538 h 10000"/>
                  <a:gd name="connsiteX1571" fmla="*/ 3820 w 10785"/>
                  <a:gd name="connsiteY1571" fmla="*/ 1556 h 10000"/>
                  <a:gd name="connsiteX1572" fmla="*/ 3820 w 10785"/>
                  <a:gd name="connsiteY1572" fmla="*/ 1564 h 10000"/>
                  <a:gd name="connsiteX1573" fmla="*/ 3820 w 10785"/>
                  <a:gd name="connsiteY1573" fmla="*/ 1581 h 10000"/>
                  <a:gd name="connsiteX1574" fmla="*/ 3853 w 10785"/>
                  <a:gd name="connsiteY1574" fmla="*/ 1581 h 10000"/>
                  <a:gd name="connsiteX1575" fmla="*/ 3857 w 10785"/>
                  <a:gd name="connsiteY1575" fmla="*/ 1598 h 10000"/>
                  <a:gd name="connsiteX1576" fmla="*/ 3880 w 10785"/>
                  <a:gd name="connsiteY1576" fmla="*/ 1615 h 10000"/>
                  <a:gd name="connsiteX1577" fmla="*/ 3871 w 10785"/>
                  <a:gd name="connsiteY1577" fmla="*/ 1615 h 10000"/>
                  <a:gd name="connsiteX1578" fmla="*/ 3871 w 10785"/>
                  <a:gd name="connsiteY1578" fmla="*/ 1641 h 10000"/>
                  <a:gd name="connsiteX1579" fmla="*/ 3880 w 10785"/>
                  <a:gd name="connsiteY1579" fmla="*/ 1641 h 10000"/>
                  <a:gd name="connsiteX1580" fmla="*/ 3871 w 10785"/>
                  <a:gd name="connsiteY1580" fmla="*/ 1650 h 10000"/>
                  <a:gd name="connsiteX1581" fmla="*/ 3857 w 10785"/>
                  <a:gd name="connsiteY1581" fmla="*/ 1650 h 10000"/>
                  <a:gd name="connsiteX1582" fmla="*/ 3853 w 10785"/>
                  <a:gd name="connsiteY1582" fmla="*/ 1650 h 10000"/>
                  <a:gd name="connsiteX1583" fmla="*/ 3839 w 10785"/>
                  <a:gd name="connsiteY1583" fmla="*/ 1667 h 10000"/>
                  <a:gd name="connsiteX1584" fmla="*/ 3848 w 10785"/>
                  <a:gd name="connsiteY1584" fmla="*/ 1692 h 10000"/>
                  <a:gd name="connsiteX1585" fmla="*/ 3834 w 10785"/>
                  <a:gd name="connsiteY1585" fmla="*/ 1692 h 10000"/>
                  <a:gd name="connsiteX1586" fmla="*/ 3825 w 10785"/>
                  <a:gd name="connsiteY1586" fmla="*/ 1692 h 10000"/>
                  <a:gd name="connsiteX1587" fmla="*/ 3825 w 10785"/>
                  <a:gd name="connsiteY1587" fmla="*/ 1718 h 10000"/>
                  <a:gd name="connsiteX1588" fmla="*/ 3839 w 10785"/>
                  <a:gd name="connsiteY1588" fmla="*/ 1726 h 10000"/>
                  <a:gd name="connsiteX1589" fmla="*/ 3880 w 10785"/>
                  <a:gd name="connsiteY1589" fmla="*/ 1752 h 10000"/>
                  <a:gd name="connsiteX1590" fmla="*/ 3894 w 10785"/>
                  <a:gd name="connsiteY1590" fmla="*/ 1829 h 10000"/>
                  <a:gd name="connsiteX1591" fmla="*/ 3899 w 10785"/>
                  <a:gd name="connsiteY1591" fmla="*/ 1838 h 10000"/>
                  <a:gd name="connsiteX1592" fmla="*/ 3894 w 10785"/>
                  <a:gd name="connsiteY1592" fmla="*/ 1855 h 10000"/>
                  <a:gd name="connsiteX1593" fmla="*/ 3880 w 10785"/>
                  <a:gd name="connsiteY1593" fmla="*/ 1838 h 10000"/>
                  <a:gd name="connsiteX1594" fmla="*/ 3880 w 10785"/>
                  <a:gd name="connsiteY1594" fmla="*/ 1855 h 10000"/>
                  <a:gd name="connsiteX1595" fmla="*/ 3880 w 10785"/>
                  <a:gd name="connsiteY1595" fmla="*/ 1863 h 10000"/>
                  <a:gd name="connsiteX1596" fmla="*/ 3871 w 10785"/>
                  <a:gd name="connsiteY1596" fmla="*/ 1872 h 10000"/>
                  <a:gd name="connsiteX1597" fmla="*/ 3880 w 10785"/>
                  <a:gd name="connsiteY1597" fmla="*/ 1889 h 10000"/>
                  <a:gd name="connsiteX1598" fmla="*/ 3885 w 10785"/>
                  <a:gd name="connsiteY1598" fmla="*/ 1889 h 10000"/>
                  <a:gd name="connsiteX1599" fmla="*/ 3880 w 10785"/>
                  <a:gd name="connsiteY1599" fmla="*/ 1897 h 10000"/>
                  <a:gd name="connsiteX1600" fmla="*/ 3871 w 10785"/>
                  <a:gd name="connsiteY1600" fmla="*/ 1915 h 10000"/>
                  <a:gd name="connsiteX1601" fmla="*/ 3848 w 10785"/>
                  <a:gd name="connsiteY1601" fmla="*/ 1923 h 10000"/>
                  <a:gd name="connsiteX1602" fmla="*/ 3825 w 10785"/>
                  <a:gd name="connsiteY1602" fmla="*/ 1940 h 10000"/>
                  <a:gd name="connsiteX1603" fmla="*/ 3811 w 10785"/>
                  <a:gd name="connsiteY1603" fmla="*/ 1940 h 10000"/>
                  <a:gd name="connsiteX1604" fmla="*/ 3806 w 10785"/>
                  <a:gd name="connsiteY1604" fmla="*/ 1949 h 10000"/>
                  <a:gd name="connsiteX1605" fmla="*/ 3797 w 10785"/>
                  <a:gd name="connsiteY1605" fmla="*/ 1966 h 10000"/>
                  <a:gd name="connsiteX1606" fmla="*/ 3788 w 10785"/>
                  <a:gd name="connsiteY1606" fmla="*/ 1991 h 10000"/>
                  <a:gd name="connsiteX1607" fmla="*/ 3765 w 10785"/>
                  <a:gd name="connsiteY1607" fmla="*/ 1974 h 10000"/>
                  <a:gd name="connsiteX1608" fmla="*/ 3760 w 10785"/>
                  <a:gd name="connsiteY1608" fmla="*/ 1966 h 10000"/>
                  <a:gd name="connsiteX1609" fmla="*/ 3760 w 10785"/>
                  <a:gd name="connsiteY1609" fmla="*/ 1966 h 10000"/>
                  <a:gd name="connsiteX1610" fmla="*/ 3631 w 10785"/>
                  <a:gd name="connsiteY1610" fmla="*/ 2009 h 10000"/>
                  <a:gd name="connsiteX1611" fmla="*/ 3618 w 10785"/>
                  <a:gd name="connsiteY1611" fmla="*/ 2000 h 10000"/>
                  <a:gd name="connsiteX1612" fmla="*/ 3599 w 10785"/>
                  <a:gd name="connsiteY1612" fmla="*/ 2009 h 10000"/>
                  <a:gd name="connsiteX1613" fmla="*/ 3571 w 10785"/>
                  <a:gd name="connsiteY1613" fmla="*/ 2000 h 10000"/>
                  <a:gd name="connsiteX1614" fmla="*/ 3530 w 10785"/>
                  <a:gd name="connsiteY1614" fmla="*/ 2026 h 10000"/>
                  <a:gd name="connsiteX1615" fmla="*/ 3530 w 10785"/>
                  <a:gd name="connsiteY1615" fmla="*/ 2034 h 10000"/>
                  <a:gd name="connsiteX1616" fmla="*/ 3525 w 10785"/>
                  <a:gd name="connsiteY1616" fmla="*/ 2051 h 10000"/>
                  <a:gd name="connsiteX1617" fmla="*/ 3512 w 10785"/>
                  <a:gd name="connsiteY1617" fmla="*/ 2034 h 10000"/>
                  <a:gd name="connsiteX1618" fmla="*/ 3507 w 10785"/>
                  <a:gd name="connsiteY1618" fmla="*/ 2034 h 10000"/>
                  <a:gd name="connsiteX1619" fmla="*/ 3498 w 10785"/>
                  <a:gd name="connsiteY1619" fmla="*/ 2051 h 10000"/>
                  <a:gd name="connsiteX1620" fmla="*/ 3484 w 10785"/>
                  <a:gd name="connsiteY1620" fmla="*/ 2060 h 10000"/>
                  <a:gd name="connsiteX1621" fmla="*/ 3484 w 10785"/>
                  <a:gd name="connsiteY1621" fmla="*/ 2085 h 10000"/>
                  <a:gd name="connsiteX1622" fmla="*/ 3484 w 10785"/>
                  <a:gd name="connsiteY1622" fmla="*/ 2103 h 10000"/>
                  <a:gd name="connsiteX1623" fmla="*/ 3493 w 10785"/>
                  <a:gd name="connsiteY1623" fmla="*/ 2103 h 10000"/>
                  <a:gd name="connsiteX1624" fmla="*/ 3493 w 10785"/>
                  <a:gd name="connsiteY1624" fmla="*/ 2085 h 10000"/>
                  <a:gd name="connsiteX1625" fmla="*/ 3498 w 10785"/>
                  <a:gd name="connsiteY1625" fmla="*/ 2085 h 10000"/>
                  <a:gd name="connsiteX1626" fmla="*/ 3498 w 10785"/>
                  <a:gd name="connsiteY1626" fmla="*/ 2111 h 10000"/>
                  <a:gd name="connsiteX1627" fmla="*/ 3484 w 10785"/>
                  <a:gd name="connsiteY1627" fmla="*/ 2120 h 10000"/>
                  <a:gd name="connsiteX1628" fmla="*/ 3484 w 10785"/>
                  <a:gd name="connsiteY1628" fmla="*/ 2145 h 10000"/>
                  <a:gd name="connsiteX1629" fmla="*/ 3470 w 10785"/>
                  <a:gd name="connsiteY1629" fmla="*/ 2137 h 10000"/>
                  <a:gd name="connsiteX1630" fmla="*/ 3465 w 10785"/>
                  <a:gd name="connsiteY1630" fmla="*/ 2145 h 10000"/>
                  <a:gd name="connsiteX1631" fmla="*/ 3470 w 10785"/>
                  <a:gd name="connsiteY1631" fmla="*/ 2171 h 10000"/>
                  <a:gd name="connsiteX1632" fmla="*/ 3484 w 10785"/>
                  <a:gd name="connsiteY1632" fmla="*/ 2171 h 10000"/>
                  <a:gd name="connsiteX1633" fmla="*/ 3484 w 10785"/>
                  <a:gd name="connsiteY1633" fmla="*/ 2197 h 10000"/>
                  <a:gd name="connsiteX1634" fmla="*/ 3465 w 10785"/>
                  <a:gd name="connsiteY1634" fmla="*/ 2214 h 10000"/>
                  <a:gd name="connsiteX1635" fmla="*/ 3493 w 10785"/>
                  <a:gd name="connsiteY1635" fmla="*/ 2248 h 10000"/>
                  <a:gd name="connsiteX1636" fmla="*/ 3484 w 10785"/>
                  <a:gd name="connsiteY1636" fmla="*/ 2256 h 10000"/>
                  <a:gd name="connsiteX1637" fmla="*/ 3498 w 10785"/>
                  <a:gd name="connsiteY1637" fmla="*/ 2274 h 10000"/>
                  <a:gd name="connsiteX1638" fmla="*/ 3498 w 10785"/>
                  <a:gd name="connsiteY1638" fmla="*/ 2256 h 10000"/>
                  <a:gd name="connsiteX1639" fmla="*/ 3507 w 10785"/>
                  <a:gd name="connsiteY1639" fmla="*/ 2308 h 10000"/>
                  <a:gd name="connsiteX1640" fmla="*/ 3512 w 10785"/>
                  <a:gd name="connsiteY1640" fmla="*/ 2325 h 10000"/>
                  <a:gd name="connsiteX1641" fmla="*/ 3507 w 10785"/>
                  <a:gd name="connsiteY1641" fmla="*/ 2333 h 10000"/>
                  <a:gd name="connsiteX1642" fmla="*/ 3507 w 10785"/>
                  <a:gd name="connsiteY1642" fmla="*/ 2359 h 10000"/>
                  <a:gd name="connsiteX1643" fmla="*/ 3507 w 10785"/>
                  <a:gd name="connsiteY1643" fmla="*/ 2376 h 10000"/>
                  <a:gd name="connsiteX1644" fmla="*/ 3498 w 10785"/>
                  <a:gd name="connsiteY1644" fmla="*/ 2410 h 10000"/>
                  <a:gd name="connsiteX1645" fmla="*/ 3498 w 10785"/>
                  <a:gd name="connsiteY1645" fmla="*/ 2436 h 10000"/>
                  <a:gd name="connsiteX1646" fmla="*/ 3507 w 10785"/>
                  <a:gd name="connsiteY1646" fmla="*/ 2462 h 10000"/>
                  <a:gd name="connsiteX1647" fmla="*/ 3507 w 10785"/>
                  <a:gd name="connsiteY1647" fmla="*/ 2496 h 10000"/>
                  <a:gd name="connsiteX1648" fmla="*/ 3512 w 10785"/>
                  <a:gd name="connsiteY1648" fmla="*/ 2521 h 10000"/>
                  <a:gd name="connsiteX1649" fmla="*/ 3525 w 10785"/>
                  <a:gd name="connsiteY1649" fmla="*/ 2556 h 10000"/>
                  <a:gd name="connsiteX1650" fmla="*/ 3571 w 10785"/>
                  <a:gd name="connsiteY1650" fmla="*/ 2573 h 10000"/>
                  <a:gd name="connsiteX1651" fmla="*/ 3590 w 10785"/>
                  <a:gd name="connsiteY1651" fmla="*/ 2598 h 10000"/>
                  <a:gd name="connsiteX1652" fmla="*/ 3599 w 10785"/>
                  <a:gd name="connsiteY1652" fmla="*/ 2598 h 10000"/>
                  <a:gd name="connsiteX1653" fmla="*/ 3604 w 10785"/>
                  <a:gd name="connsiteY1653" fmla="*/ 2632 h 10000"/>
                  <a:gd name="connsiteX1654" fmla="*/ 3599 w 10785"/>
                  <a:gd name="connsiteY1654" fmla="*/ 2658 h 10000"/>
                  <a:gd name="connsiteX1655" fmla="*/ 3590 w 10785"/>
                  <a:gd name="connsiteY1655" fmla="*/ 2667 h 10000"/>
                  <a:gd name="connsiteX1656" fmla="*/ 3604 w 10785"/>
                  <a:gd name="connsiteY1656" fmla="*/ 2667 h 10000"/>
                  <a:gd name="connsiteX1657" fmla="*/ 3613 w 10785"/>
                  <a:gd name="connsiteY1657" fmla="*/ 2692 h 10000"/>
                  <a:gd name="connsiteX1658" fmla="*/ 3627 w 10785"/>
                  <a:gd name="connsiteY1658" fmla="*/ 2735 h 10000"/>
                  <a:gd name="connsiteX1659" fmla="*/ 3631 w 10785"/>
                  <a:gd name="connsiteY1659" fmla="*/ 2744 h 10000"/>
                  <a:gd name="connsiteX1660" fmla="*/ 3659 w 10785"/>
                  <a:gd name="connsiteY1660" fmla="*/ 2761 h 10000"/>
                  <a:gd name="connsiteX1661" fmla="*/ 3673 w 10785"/>
                  <a:gd name="connsiteY1661" fmla="*/ 2769 h 10000"/>
                  <a:gd name="connsiteX1662" fmla="*/ 3673 w 10785"/>
                  <a:gd name="connsiteY1662" fmla="*/ 2761 h 10000"/>
                  <a:gd name="connsiteX1663" fmla="*/ 3687 w 10785"/>
                  <a:gd name="connsiteY1663" fmla="*/ 2829 h 10000"/>
                  <a:gd name="connsiteX1664" fmla="*/ 3677 w 10785"/>
                  <a:gd name="connsiteY1664" fmla="*/ 2897 h 10000"/>
                  <a:gd name="connsiteX1665" fmla="*/ 3673 w 10785"/>
                  <a:gd name="connsiteY1665" fmla="*/ 2915 h 10000"/>
                  <a:gd name="connsiteX1666" fmla="*/ 3664 w 10785"/>
                  <a:gd name="connsiteY1666" fmla="*/ 2957 h 10000"/>
                  <a:gd name="connsiteX1667" fmla="*/ 3659 w 10785"/>
                  <a:gd name="connsiteY1667" fmla="*/ 2983 h 10000"/>
                  <a:gd name="connsiteX1668" fmla="*/ 3664 w 10785"/>
                  <a:gd name="connsiteY1668" fmla="*/ 3017 h 10000"/>
                  <a:gd name="connsiteX1669" fmla="*/ 3659 w 10785"/>
                  <a:gd name="connsiteY1669" fmla="*/ 3043 h 10000"/>
                  <a:gd name="connsiteX1670" fmla="*/ 3677 w 10785"/>
                  <a:gd name="connsiteY1670" fmla="*/ 3094 h 10000"/>
                  <a:gd name="connsiteX1671" fmla="*/ 3691 w 10785"/>
                  <a:gd name="connsiteY1671" fmla="*/ 3282 h 10000"/>
                  <a:gd name="connsiteX1672" fmla="*/ 3691 w 10785"/>
                  <a:gd name="connsiteY1672" fmla="*/ 3308 h 10000"/>
                  <a:gd name="connsiteX1673" fmla="*/ 3677 w 10785"/>
                  <a:gd name="connsiteY1673" fmla="*/ 3342 h 10000"/>
                  <a:gd name="connsiteX1674" fmla="*/ 3664 w 10785"/>
                  <a:gd name="connsiteY1674" fmla="*/ 3342 h 10000"/>
                  <a:gd name="connsiteX1675" fmla="*/ 3650 w 10785"/>
                  <a:gd name="connsiteY1675" fmla="*/ 3342 h 10000"/>
                  <a:gd name="connsiteX1676" fmla="*/ 3650 w 10785"/>
                  <a:gd name="connsiteY1676" fmla="*/ 3350 h 10000"/>
                  <a:gd name="connsiteX1677" fmla="*/ 3659 w 10785"/>
                  <a:gd name="connsiteY1677" fmla="*/ 3402 h 10000"/>
                  <a:gd name="connsiteX1678" fmla="*/ 3659 w 10785"/>
                  <a:gd name="connsiteY1678" fmla="*/ 3419 h 10000"/>
                  <a:gd name="connsiteX1679" fmla="*/ 3631 w 10785"/>
                  <a:gd name="connsiteY1679" fmla="*/ 3402 h 10000"/>
                  <a:gd name="connsiteX1680" fmla="*/ 3604 w 10785"/>
                  <a:gd name="connsiteY1680" fmla="*/ 3393 h 10000"/>
                  <a:gd name="connsiteX1681" fmla="*/ 3599 w 10785"/>
                  <a:gd name="connsiteY1681" fmla="*/ 3368 h 10000"/>
                  <a:gd name="connsiteX1682" fmla="*/ 3590 w 10785"/>
                  <a:gd name="connsiteY1682" fmla="*/ 3239 h 10000"/>
                  <a:gd name="connsiteX1683" fmla="*/ 3599 w 10785"/>
                  <a:gd name="connsiteY1683" fmla="*/ 3179 h 10000"/>
                  <a:gd name="connsiteX1684" fmla="*/ 3599 w 10785"/>
                  <a:gd name="connsiteY1684" fmla="*/ 3171 h 10000"/>
                  <a:gd name="connsiteX1685" fmla="*/ 3599 w 10785"/>
                  <a:gd name="connsiteY1685" fmla="*/ 3009 h 10000"/>
                  <a:gd name="connsiteX1686" fmla="*/ 3604 w 10785"/>
                  <a:gd name="connsiteY1686" fmla="*/ 2983 h 10000"/>
                  <a:gd name="connsiteX1687" fmla="*/ 3645 w 10785"/>
                  <a:gd name="connsiteY1687" fmla="*/ 2932 h 10000"/>
                  <a:gd name="connsiteX1688" fmla="*/ 3650 w 10785"/>
                  <a:gd name="connsiteY1688" fmla="*/ 2872 h 10000"/>
                  <a:gd name="connsiteX1689" fmla="*/ 3659 w 10785"/>
                  <a:gd name="connsiteY1689" fmla="*/ 2855 h 10000"/>
                  <a:gd name="connsiteX1690" fmla="*/ 3659 w 10785"/>
                  <a:gd name="connsiteY1690" fmla="*/ 2821 h 10000"/>
                  <a:gd name="connsiteX1691" fmla="*/ 3631 w 10785"/>
                  <a:gd name="connsiteY1691" fmla="*/ 2795 h 10000"/>
                  <a:gd name="connsiteX1692" fmla="*/ 3567 w 10785"/>
                  <a:gd name="connsiteY1692" fmla="*/ 2821 h 10000"/>
                  <a:gd name="connsiteX1693" fmla="*/ 3544 w 10785"/>
                  <a:gd name="connsiteY1693" fmla="*/ 2795 h 10000"/>
                  <a:gd name="connsiteX1694" fmla="*/ 3530 w 10785"/>
                  <a:gd name="connsiteY1694" fmla="*/ 2769 h 10000"/>
                  <a:gd name="connsiteX1695" fmla="*/ 3530 w 10785"/>
                  <a:gd name="connsiteY1695" fmla="*/ 2786 h 10000"/>
                  <a:gd name="connsiteX1696" fmla="*/ 3498 w 10785"/>
                  <a:gd name="connsiteY1696" fmla="*/ 2692 h 10000"/>
                  <a:gd name="connsiteX1697" fmla="*/ 3498 w 10785"/>
                  <a:gd name="connsiteY1697" fmla="*/ 2667 h 10000"/>
                  <a:gd name="connsiteX1698" fmla="*/ 3442 w 10785"/>
                  <a:gd name="connsiteY1698" fmla="*/ 2607 h 10000"/>
                  <a:gd name="connsiteX1699" fmla="*/ 3433 w 10785"/>
                  <a:gd name="connsiteY1699" fmla="*/ 2581 h 10000"/>
                  <a:gd name="connsiteX1700" fmla="*/ 3396 w 10785"/>
                  <a:gd name="connsiteY1700" fmla="*/ 2556 h 10000"/>
                  <a:gd name="connsiteX1701" fmla="*/ 3318 w 10785"/>
                  <a:gd name="connsiteY1701" fmla="*/ 2556 h 10000"/>
                  <a:gd name="connsiteX1702" fmla="*/ 3304 w 10785"/>
                  <a:gd name="connsiteY1702" fmla="*/ 2607 h 10000"/>
                  <a:gd name="connsiteX1703" fmla="*/ 3276 w 10785"/>
                  <a:gd name="connsiteY1703" fmla="*/ 2632 h 10000"/>
                  <a:gd name="connsiteX1704" fmla="*/ 3272 w 10785"/>
                  <a:gd name="connsiteY1704" fmla="*/ 2667 h 10000"/>
                  <a:gd name="connsiteX1705" fmla="*/ 3304 w 10785"/>
                  <a:gd name="connsiteY1705" fmla="*/ 2667 h 10000"/>
                  <a:gd name="connsiteX1706" fmla="*/ 3323 w 10785"/>
                  <a:gd name="connsiteY1706" fmla="*/ 2692 h 10000"/>
                  <a:gd name="connsiteX1707" fmla="*/ 3318 w 10785"/>
                  <a:gd name="connsiteY1707" fmla="*/ 2735 h 10000"/>
                  <a:gd name="connsiteX1708" fmla="*/ 3304 w 10785"/>
                  <a:gd name="connsiteY1708" fmla="*/ 2761 h 10000"/>
                  <a:gd name="connsiteX1709" fmla="*/ 3276 w 10785"/>
                  <a:gd name="connsiteY1709" fmla="*/ 2769 h 10000"/>
                  <a:gd name="connsiteX1710" fmla="*/ 3263 w 10785"/>
                  <a:gd name="connsiteY1710" fmla="*/ 2795 h 10000"/>
                  <a:gd name="connsiteX1711" fmla="*/ 3235 w 10785"/>
                  <a:gd name="connsiteY1711" fmla="*/ 2803 h 10000"/>
                  <a:gd name="connsiteX1712" fmla="*/ 3235 w 10785"/>
                  <a:gd name="connsiteY1712" fmla="*/ 2786 h 10000"/>
                  <a:gd name="connsiteX1713" fmla="*/ 3212 w 10785"/>
                  <a:gd name="connsiteY1713" fmla="*/ 2709 h 10000"/>
                  <a:gd name="connsiteX1714" fmla="*/ 3198 w 10785"/>
                  <a:gd name="connsiteY1714" fmla="*/ 2709 h 10000"/>
                  <a:gd name="connsiteX1715" fmla="*/ 3184 w 10785"/>
                  <a:gd name="connsiteY1715" fmla="*/ 2735 h 10000"/>
                  <a:gd name="connsiteX1716" fmla="*/ 3189 w 10785"/>
                  <a:gd name="connsiteY1716" fmla="*/ 2761 h 10000"/>
                  <a:gd name="connsiteX1717" fmla="*/ 3203 w 10785"/>
                  <a:gd name="connsiteY1717" fmla="*/ 2855 h 10000"/>
                  <a:gd name="connsiteX1718" fmla="*/ 3212 w 10785"/>
                  <a:gd name="connsiteY1718" fmla="*/ 2872 h 10000"/>
                  <a:gd name="connsiteX1719" fmla="*/ 3235 w 10785"/>
                  <a:gd name="connsiteY1719" fmla="*/ 2906 h 10000"/>
                  <a:gd name="connsiteX1720" fmla="*/ 3258 w 10785"/>
                  <a:gd name="connsiteY1720" fmla="*/ 2915 h 10000"/>
                  <a:gd name="connsiteX1721" fmla="*/ 3272 w 10785"/>
                  <a:gd name="connsiteY1721" fmla="*/ 2957 h 10000"/>
                  <a:gd name="connsiteX1722" fmla="*/ 3276 w 10785"/>
                  <a:gd name="connsiteY1722" fmla="*/ 2957 h 10000"/>
                  <a:gd name="connsiteX1723" fmla="*/ 3286 w 10785"/>
                  <a:gd name="connsiteY1723" fmla="*/ 2966 h 10000"/>
                  <a:gd name="connsiteX1724" fmla="*/ 3300 w 10785"/>
                  <a:gd name="connsiteY1724" fmla="*/ 2957 h 10000"/>
                  <a:gd name="connsiteX1725" fmla="*/ 3309 w 10785"/>
                  <a:gd name="connsiteY1725" fmla="*/ 2932 h 10000"/>
                  <a:gd name="connsiteX1726" fmla="*/ 3304 w 10785"/>
                  <a:gd name="connsiteY1726" fmla="*/ 2966 h 10000"/>
                  <a:gd name="connsiteX1727" fmla="*/ 3309 w 10785"/>
                  <a:gd name="connsiteY1727" fmla="*/ 2983 h 10000"/>
                  <a:gd name="connsiteX1728" fmla="*/ 3323 w 10785"/>
                  <a:gd name="connsiteY1728" fmla="*/ 2966 h 10000"/>
                  <a:gd name="connsiteX1729" fmla="*/ 3323 w 10785"/>
                  <a:gd name="connsiteY1729" fmla="*/ 3043 h 10000"/>
                  <a:gd name="connsiteX1730" fmla="*/ 3346 w 10785"/>
                  <a:gd name="connsiteY1730" fmla="*/ 3068 h 10000"/>
                  <a:gd name="connsiteX1731" fmla="*/ 3346 w 10785"/>
                  <a:gd name="connsiteY1731" fmla="*/ 3094 h 10000"/>
                  <a:gd name="connsiteX1732" fmla="*/ 3323 w 10785"/>
                  <a:gd name="connsiteY1732" fmla="*/ 3094 h 10000"/>
                  <a:gd name="connsiteX1733" fmla="*/ 3309 w 10785"/>
                  <a:gd name="connsiteY1733" fmla="*/ 3077 h 10000"/>
                  <a:gd name="connsiteX1734" fmla="*/ 3304 w 10785"/>
                  <a:gd name="connsiteY1734" fmla="*/ 3051 h 10000"/>
                  <a:gd name="connsiteX1735" fmla="*/ 3300 w 10785"/>
                  <a:gd name="connsiteY1735" fmla="*/ 3043 h 10000"/>
                  <a:gd name="connsiteX1736" fmla="*/ 3286 w 10785"/>
                  <a:gd name="connsiteY1736" fmla="*/ 3017 h 10000"/>
                  <a:gd name="connsiteX1737" fmla="*/ 3152 w 10785"/>
                  <a:gd name="connsiteY1737" fmla="*/ 2966 h 10000"/>
                  <a:gd name="connsiteX1738" fmla="*/ 3129 w 10785"/>
                  <a:gd name="connsiteY1738" fmla="*/ 2915 h 10000"/>
                  <a:gd name="connsiteX1739" fmla="*/ 3129 w 10785"/>
                  <a:gd name="connsiteY1739" fmla="*/ 2906 h 10000"/>
                  <a:gd name="connsiteX1740" fmla="*/ 3152 w 10785"/>
                  <a:gd name="connsiteY1740" fmla="*/ 2906 h 10000"/>
                  <a:gd name="connsiteX1741" fmla="*/ 3152 w 10785"/>
                  <a:gd name="connsiteY1741" fmla="*/ 2846 h 10000"/>
                  <a:gd name="connsiteX1742" fmla="*/ 3138 w 10785"/>
                  <a:gd name="connsiteY1742" fmla="*/ 2795 h 10000"/>
                  <a:gd name="connsiteX1743" fmla="*/ 3138 w 10785"/>
                  <a:gd name="connsiteY1743" fmla="*/ 2769 h 10000"/>
                  <a:gd name="connsiteX1744" fmla="*/ 3143 w 10785"/>
                  <a:gd name="connsiteY1744" fmla="*/ 2718 h 10000"/>
                  <a:gd name="connsiteX1745" fmla="*/ 3129 w 10785"/>
                  <a:gd name="connsiteY1745" fmla="*/ 2692 h 10000"/>
                  <a:gd name="connsiteX1746" fmla="*/ 3143 w 10785"/>
                  <a:gd name="connsiteY1746" fmla="*/ 2667 h 10000"/>
                  <a:gd name="connsiteX1747" fmla="*/ 3157 w 10785"/>
                  <a:gd name="connsiteY1747" fmla="*/ 2581 h 10000"/>
                  <a:gd name="connsiteX1748" fmla="*/ 3143 w 10785"/>
                  <a:gd name="connsiteY1748" fmla="*/ 2496 h 10000"/>
                  <a:gd name="connsiteX1749" fmla="*/ 3157 w 10785"/>
                  <a:gd name="connsiteY1749" fmla="*/ 2487 h 10000"/>
                  <a:gd name="connsiteX1750" fmla="*/ 3143 w 10785"/>
                  <a:gd name="connsiteY1750" fmla="*/ 2444 h 10000"/>
                  <a:gd name="connsiteX1751" fmla="*/ 3143 w 10785"/>
                  <a:gd name="connsiteY1751" fmla="*/ 2419 h 10000"/>
                  <a:gd name="connsiteX1752" fmla="*/ 3143 w 10785"/>
                  <a:gd name="connsiteY1752" fmla="*/ 2410 h 10000"/>
                  <a:gd name="connsiteX1753" fmla="*/ 3124 w 10785"/>
                  <a:gd name="connsiteY1753" fmla="*/ 2376 h 10000"/>
                  <a:gd name="connsiteX1754" fmla="*/ 3115 w 10785"/>
                  <a:gd name="connsiteY1754" fmla="*/ 2350 h 10000"/>
                  <a:gd name="connsiteX1755" fmla="*/ 3101 w 10785"/>
                  <a:gd name="connsiteY1755" fmla="*/ 2359 h 10000"/>
                  <a:gd name="connsiteX1756" fmla="*/ 3115 w 10785"/>
                  <a:gd name="connsiteY1756" fmla="*/ 2581 h 10000"/>
                  <a:gd name="connsiteX1757" fmla="*/ 3111 w 10785"/>
                  <a:gd name="connsiteY1757" fmla="*/ 2624 h 10000"/>
                  <a:gd name="connsiteX1758" fmla="*/ 3009 w 10785"/>
                  <a:gd name="connsiteY1758" fmla="*/ 2761 h 10000"/>
                  <a:gd name="connsiteX1759" fmla="*/ 3009 w 10785"/>
                  <a:gd name="connsiteY1759" fmla="*/ 2803 h 10000"/>
                  <a:gd name="connsiteX1760" fmla="*/ 3005 w 10785"/>
                  <a:gd name="connsiteY1760" fmla="*/ 2829 h 10000"/>
                  <a:gd name="connsiteX1761" fmla="*/ 2982 w 10785"/>
                  <a:gd name="connsiteY1761" fmla="*/ 2872 h 10000"/>
                  <a:gd name="connsiteX1762" fmla="*/ 2982 w 10785"/>
                  <a:gd name="connsiteY1762" fmla="*/ 2880 h 10000"/>
                  <a:gd name="connsiteX1763" fmla="*/ 3037 w 10785"/>
                  <a:gd name="connsiteY1763" fmla="*/ 3034 h 10000"/>
                  <a:gd name="connsiteX1764" fmla="*/ 3041 w 10785"/>
                  <a:gd name="connsiteY1764" fmla="*/ 3103 h 10000"/>
                  <a:gd name="connsiteX1765" fmla="*/ 3069 w 10785"/>
                  <a:gd name="connsiteY1765" fmla="*/ 3188 h 10000"/>
                  <a:gd name="connsiteX1766" fmla="*/ 3055 w 10785"/>
                  <a:gd name="connsiteY1766" fmla="*/ 3325 h 10000"/>
                  <a:gd name="connsiteX1767" fmla="*/ 3037 w 10785"/>
                  <a:gd name="connsiteY1767" fmla="*/ 3368 h 10000"/>
                  <a:gd name="connsiteX1768" fmla="*/ 3037 w 10785"/>
                  <a:gd name="connsiteY1768" fmla="*/ 3444 h 10000"/>
                  <a:gd name="connsiteX1769" fmla="*/ 3028 w 10785"/>
                  <a:gd name="connsiteY1769" fmla="*/ 3453 h 10000"/>
                  <a:gd name="connsiteX1770" fmla="*/ 3023 w 10785"/>
                  <a:gd name="connsiteY1770" fmla="*/ 3530 h 10000"/>
                  <a:gd name="connsiteX1771" fmla="*/ 3051 w 10785"/>
                  <a:gd name="connsiteY1771" fmla="*/ 3624 h 10000"/>
                  <a:gd name="connsiteX1772" fmla="*/ 3037 w 10785"/>
                  <a:gd name="connsiteY1772" fmla="*/ 3718 h 10000"/>
                  <a:gd name="connsiteX1773" fmla="*/ 3041 w 10785"/>
                  <a:gd name="connsiteY1773" fmla="*/ 3752 h 10000"/>
                  <a:gd name="connsiteX1774" fmla="*/ 3055 w 10785"/>
                  <a:gd name="connsiteY1774" fmla="*/ 3761 h 10000"/>
                  <a:gd name="connsiteX1775" fmla="*/ 3078 w 10785"/>
                  <a:gd name="connsiteY1775" fmla="*/ 3752 h 10000"/>
                  <a:gd name="connsiteX1776" fmla="*/ 3092 w 10785"/>
                  <a:gd name="connsiteY1776" fmla="*/ 3752 h 10000"/>
                  <a:gd name="connsiteX1777" fmla="*/ 3129 w 10785"/>
                  <a:gd name="connsiteY1777" fmla="*/ 3761 h 10000"/>
                  <a:gd name="connsiteX1778" fmla="*/ 3129 w 10785"/>
                  <a:gd name="connsiteY1778" fmla="*/ 3735 h 10000"/>
                  <a:gd name="connsiteX1779" fmla="*/ 3157 w 10785"/>
                  <a:gd name="connsiteY1779" fmla="*/ 3718 h 10000"/>
                  <a:gd name="connsiteX1780" fmla="*/ 3184 w 10785"/>
                  <a:gd name="connsiteY1780" fmla="*/ 3718 h 10000"/>
                  <a:gd name="connsiteX1781" fmla="*/ 3290 w 10785"/>
                  <a:gd name="connsiteY1781" fmla="*/ 3838 h 10000"/>
                  <a:gd name="connsiteX1782" fmla="*/ 3300 w 10785"/>
                  <a:gd name="connsiteY1782" fmla="*/ 3846 h 10000"/>
                  <a:gd name="connsiteX1783" fmla="*/ 3300 w 10785"/>
                  <a:gd name="connsiteY1783" fmla="*/ 3915 h 10000"/>
                  <a:gd name="connsiteX1784" fmla="*/ 3318 w 10785"/>
                  <a:gd name="connsiteY1784" fmla="*/ 4000 h 10000"/>
                  <a:gd name="connsiteX1785" fmla="*/ 3323 w 10785"/>
                  <a:gd name="connsiteY1785" fmla="*/ 4000 h 10000"/>
                  <a:gd name="connsiteX1786" fmla="*/ 3323 w 10785"/>
                  <a:gd name="connsiteY1786" fmla="*/ 4034 h 10000"/>
                  <a:gd name="connsiteX1787" fmla="*/ 3318 w 10785"/>
                  <a:gd name="connsiteY1787" fmla="*/ 4051 h 10000"/>
                  <a:gd name="connsiteX1788" fmla="*/ 3300 w 10785"/>
                  <a:gd name="connsiteY1788" fmla="*/ 4051 h 10000"/>
                  <a:gd name="connsiteX1789" fmla="*/ 3290 w 10785"/>
                  <a:gd name="connsiteY1789" fmla="*/ 4077 h 10000"/>
                  <a:gd name="connsiteX1790" fmla="*/ 3286 w 10785"/>
                  <a:gd name="connsiteY1790" fmla="*/ 4103 h 10000"/>
                  <a:gd name="connsiteX1791" fmla="*/ 3286 w 10785"/>
                  <a:gd name="connsiteY1791" fmla="*/ 4197 h 10000"/>
                  <a:gd name="connsiteX1792" fmla="*/ 3290 w 10785"/>
                  <a:gd name="connsiteY1792" fmla="*/ 4214 h 10000"/>
                  <a:gd name="connsiteX1793" fmla="*/ 3304 w 10785"/>
                  <a:gd name="connsiteY1793" fmla="*/ 4214 h 10000"/>
                  <a:gd name="connsiteX1794" fmla="*/ 3323 w 10785"/>
                  <a:gd name="connsiteY1794" fmla="*/ 4239 h 10000"/>
                  <a:gd name="connsiteX1795" fmla="*/ 3350 w 10785"/>
                  <a:gd name="connsiteY1795" fmla="*/ 4222 h 10000"/>
                  <a:gd name="connsiteX1796" fmla="*/ 3369 w 10785"/>
                  <a:gd name="connsiteY1796" fmla="*/ 4256 h 10000"/>
                  <a:gd name="connsiteX1797" fmla="*/ 3369 w 10785"/>
                  <a:gd name="connsiteY1797" fmla="*/ 4256 h 10000"/>
                  <a:gd name="connsiteX1798" fmla="*/ 3336 w 10785"/>
                  <a:gd name="connsiteY1798" fmla="*/ 4274 h 10000"/>
                  <a:gd name="connsiteX1799" fmla="*/ 3323 w 10785"/>
                  <a:gd name="connsiteY1799" fmla="*/ 4274 h 10000"/>
                  <a:gd name="connsiteX1800" fmla="*/ 3290 w 10785"/>
                  <a:gd name="connsiteY1800" fmla="*/ 4274 h 10000"/>
                  <a:gd name="connsiteX1801" fmla="*/ 3286 w 10785"/>
                  <a:gd name="connsiteY1801" fmla="*/ 4239 h 10000"/>
                  <a:gd name="connsiteX1802" fmla="*/ 3263 w 10785"/>
                  <a:gd name="connsiteY1802" fmla="*/ 4214 h 10000"/>
                  <a:gd name="connsiteX1803" fmla="*/ 3258 w 10785"/>
                  <a:gd name="connsiteY1803" fmla="*/ 4188 h 10000"/>
                  <a:gd name="connsiteX1804" fmla="*/ 3263 w 10785"/>
                  <a:gd name="connsiteY1804" fmla="*/ 4171 h 10000"/>
                  <a:gd name="connsiteX1805" fmla="*/ 3263 w 10785"/>
                  <a:gd name="connsiteY1805" fmla="*/ 4103 h 10000"/>
                  <a:gd name="connsiteX1806" fmla="*/ 3276 w 10785"/>
                  <a:gd name="connsiteY1806" fmla="*/ 4060 h 10000"/>
                  <a:gd name="connsiteX1807" fmla="*/ 3272 w 10785"/>
                  <a:gd name="connsiteY1807" fmla="*/ 4051 h 10000"/>
                  <a:gd name="connsiteX1808" fmla="*/ 3263 w 10785"/>
                  <a:gd name="connsiteY1808" fmla="*/ 4051 h 10000"/>
                  <a:gd name="connsiteX1809" fmla="*/ 3263 w 10785"/>
                  <a:gd name="connsiteY1809" fmla="*/ 4034 h 10000"/>
                  <a:gd name="connsiteX1810" fmla="*/ 3263 w 10785"/>
                  <a:gd name="connsiteY1810" fmla="*/ 4000 h 10000"/>
                  <a:gd name="connsiteX1811" fmla="*/ 3272 w 10785"/>
                  <a:gd name="connsiteY1811" fmla="*/ 4000 h 10000"/>
                  <a:gd name="connsiteX1812" fmla="*/ 3272 w 10785"/>
                  <a:gd name="connsiteY1812" fmla="*/ 3974 h 10000"/>
                  <a:gd name="connsiteX1813" fmla="*/ 3272 w 10785"/>
                  <a:gd name="connsiteY1813" fmla="*/ 3966 h 10000"/>
                  <a:gd name="connsiteX1814" fmla="*/ 3272 w 10785"/>
                  <a:gd name="connsiteY1814" fmla="*/ 3949 h 10000"/>
                  <a:gd name="connsiteX1815" fmla="*/ 3258 w 10785"/>
                  <a:gd name="connsiteY1815" fmla="*/ 3923 h 10000"/>
                  <a:gd name="connsiteX1816" fmla="*/ 3249 w 10785"/>
                  <a:gd name="connsiteY1816" fmla="*/ 3915 h 10000"/>
                  <a:gd name="connsiteX1817" fmla="*/ 3244 w 10785"/>
                  <a:gd name="connsiteY1817" fmla="*/ 3897 h 10000"/>
                  <a:gd name="connsiteX1818" fmla="*/ 3230 w 10785"/>
                  <a:gd name="connsiteY1818" fmla="*/ 3889 h 10000"/>
                  <a:gd name="connsiteX1819" fmla="*/ 3230 w 10785"/>
                  <a:gd name="connsiteY1819" fmla="*/ 3863 h 10000"/>
                  <a:gd name="connsiteX1820" fmla="*/ 3230 w 10785"/>
                  <a:gd name="connsiteY1820" fmla="*/ 3838 h 10000"/>
                  <a:gd name="connsiteX1821" fmla="*/ 3226 w 10785"/>
                  <a:gd name="connsiteY1821" fmla="*/ 3803 h 10000"/>
                  <a:gd name="connsiteX1822" fmla="*/ 3138 w 10785"/>
                  <a:gd name="connsiteY1822" fmla="*/ 3838 h 10000"/>
                  <a:gd name="connsiteX1823" fmla="*/ 3078 w 10785"/>
                  <a:gd name="connsiteY1823" fmla="*/ 3889 h 10000"/>
                  <a:gd name="connsiteX1824" fmla="*/ 3078 w 10785"/>
                  <a:gd name="connsiteY1824" fmla="*/ 3940 h 10000"/>
                  <a:gd name="connsiteX1825" fmla="*/ 3069 w 10785"/>
                  <a:gd name="connsiteY1825" fmla="*/ 3983 h 10000"/>
                  <a:gd name="connsiteX1826" fmla="*/ 3069 w 10785"/>
                  <a:gd name="connsiteY1826" fmla="*/ 4009 h 10000"/>
                  <a:gd name="connsiteX1827" fmla="*/ 3078 w 10785"/>
                  <a:gd name="connsiteY1827" fmla="*/ 4026 h 10000"/>
                  <a:gd name="connsiteX1828" fmla="*/ 3083 w 10785"/>
                  <a:gd name="connsiteY1828" fmla="*/ 4034 h 10000"/>
                  <a:gd name="connsiteX1829" fmla="*/ 3092 w 10785"/>
                  <a:gd name="connsiteY1829" fmla="*/ 4060 h 10000"/>
                  <a:gd name="connsiteX1830" fmla="*/ 3092 w 10785"/>
                  <a:gd name="connsiteY1830" fmla="*/ 4077 h 10000"/>
                  <a:gd name="connsiteX1831" fmla="*/ 3097 w 10785"/>
                  <a:gd name="connsiteY1831" fmla="*/ 4103 h 10000"/>
                  <a:gd name="connsiteX1832" fmla="*/ 3101 w 10785"/>
                  <a:gd name="connsiteY1832" fmla="*/ 4162 h 10000"/>
                  <a:gd name="connsiteX1833" fmla="*/ 3097 w 10785"/>
                  <a:gd name="connsiteY1833" fmla="*/ 4222 h 10000"/>
                  <a:gd name="connsiteX1834" fmla="*/ 3041 w 10785"/>
                  <a:gd name="connsiteY1834" fmla="*/ 4325 h 10000"/>
                  <a:gd name="connsiteX1835" fmla="*/ 3037 w 10785"/>
                  <a:gd name="connsiteY1835" fmla="*/ 4419 h 10000"/>
                  <a:gd name="connsiteX1836" fmla="*/ 3018 w 10785"/>
                  <a:gd name="connsiteY1836" fmla="*/ 4470 h 10000"/>
                  <a:gd name="connsiteX1837" fmla="*/ 2991 w 10785"/>
                  <a:gd name="connsiteY1837" fmla="*/ 4513 h 10000"/>
                  <a:gd name="connsiteX1838" fmla="*/ 2977 w 10785"/>
                  <a:gd name="connsiteY1838" fmla="*/ 4530 h 10000"/>
                  <a:gd name="connsiteX1839" fmla="*/ 2945 w 10785"/>
                  <a:gd name="connsiteY1839" fmla="*/ 4556 h 10000"/>
                  <a:gd name="connsiteX1840" fmla="*/ 2935 w 10785"/>
                  <a:gd name="connsiteY1840" fmla="*/ 4581 h 10000"/>
                  <a:gd name="connsiteX1841" fmla="*/ 2949 w 10785"/>
                  <a:gd name="connsiteY1841" fmla="*/ 4624 h 10000"/>
                  <a:gd name="connsiteX1842" fmla="*/ 2945 w 10785"/>
                  <a:gd name="connsiteY1842" fmla="*/ 4658 h 10000"/>
                  <a:gd name="connsiteX1843" fmla="*/ 2922 w 10785"/>
                  <a:gd name="connsiteY1843" fmla="*/ 4667 h 10000"/>
                  <a:gd name="connsiteX1844" fmla="*/ 2876 w 10785"/>
                  <a:gd name="connsiteY1844" fmla="*/ 4632 h 10000"/>
                  <a:gd name="connsiteX1845" fmla="*/ 2857 w 10785"/>
                  <a:gd name="connsiteY1845" fmla="*/ 4632 h 10000"/>
                  <a:gd name="connsiteX1846" fmla="*/ 2820 w 10785"/>
                  <a:gd name="connsiteY1846" fmla="*/ 4641 h 10000"/>
                  <a:gd name="connsiteX1847" fmla="*/ 2797 w 10785"/>
                  <a:gd name="connsiteY1847" fmla="*/ 4632 h 10000"/>
                  <a:gd name="connsiteX1848" fmla="*/ 2788 w 10785"/>
                  <a:gd name="connsiteY1848" fmla="*/ 4624 h 10000"/>
                  <a:gd name="connsiteX1849" fmla="*/ 2788 w 10785"/>
                  <a:gd name="connsiteY1849" fmla="*/ 4598 h 10000"/>
                  <a:gd name="connsiteX1850" fmla="*/ 2797 w 10785"/>
                  <a:gd name="connsiteY1850" fmla="*/ 4581 h 10000"/>
                  <a:gd name="connsiteX1851" fmla="*/ 2788 w 10785"/>
                  <a:gd name="connsiteY1851" fmla="*/ 4530 h 10000"/>
                  <a:gd name="connsiteX1852" fmla="*/ 2774 w 10785"/>
                  <a:gd name="connsiteY1852" fmla="*/ 4530 h 10000"/>
                  <a:gd name="connsiteX1853" fmla="*/ 2770 w 10785"/>
                  <a:gd name="connsiteY1853" fmla="*/ 4513 h 10000"/>
                  <a:gd name="connsiteX1854" fmla="*/ 2774 w 10785"/>
                  <a:gd name="connsiteY1854" fmla="*/ 4513 h 10000"/>
                  <a:gd name="connsiteX1855" fmla="*/ 2788 w 10785"/>
                  <a:gd name="connsiteY1855" fmla="*/ 4496 h 10000"/>
                  <a:gd name="connsiteX1856" fmla="*/ 2802 w 10785"/>
                  <a:gd name="connsiteY1856" fmla="*/ 4513 h 10000"/>
                  <a:gd name="connsiteX1857" fmla="*/ 2811 w 10785"/>
                  <a:gd name="connsiteY1857" fmla="*/ 4530 h 10000"/>
                  <a:gd name="connsiteX1858" fmla="*/ 2820 w 10785"/>
                  <a:gd name="connsiteY1858" fmla="*/ 4521 h 10000"/>
                  <a:gd name="connsiteX1859" fmla="*/ 2829 w 10785"/>
                  <a:gd name="connsiteY1859" fmla="*/ 4513 h 10000"/>
                  <a:gd name="connsiteX1860" fmla="*/ 2843 w 10785"/>
                  <a:gd name="connsiteY1860" fmla="*/ 4513 h 10000"/>
                  <a:gd name="connsiteX1861" fmla="*/ 2848 w 10785"/>
                  <a:gd name="connsiteY1861" fmla="*/ 4470 h 10000"/>
                  <a:gd name="connsiteX1862" fmla="*/ 2862 w 10785"/>
                  <a:gd name="connsiteY1862" fmla="*/ 4487 h 10000"/>
                  <a:gd name="connsiteX1863" fmla="*/ 2876 w 10785"/>
                  <a:gd name="connsiteY1863" fmla="*/ 4470 h 10000"/>
                  <a:gd name="connsiteX1864" fmla="*/ 2880 w 10785"/>
                  <a:gd name="connsiteY1864" fmla="*/ 4462 h 10000"/>
                  <a:gd name="connsiteX1865" fmla="*/ 2889 w 10785"/>
                  <a:gd name="connsiteY1865" fmla="*/ 4444 h 10000"/>
                  <a:gd name="connsiteX1866" fmla="*/ 2894 w 10785"/>
                  <a:gd name="connsiteY1866" fmla="*/ 4462 h 10000"/>
                  <a:gd name="connsiteX1867" fmla="*/ 2917 w 10785"/>
                  <a:gd name="connsiteY1867" fmla="*/ 4444 h 10000"/>
                  <a:gd name="connsiteX1868" fmla="*/ 2922 w 10785"/>
                  <a:gd name="connsiteY1868" fmla="*/ 4436 h 10000"/>
                  <a:gd name="connsiteX1869" fmla="*/ 2917 w 10785"/>
                  <a:gd name="connsiteY1869" fmla="*/ 4410 h 10000"/>
                  <a:gd name="connsiteX1870" fmla="*/ 2894 w 10785"/>
                  <a:gd name="connsiteY1870" fmla="*/ 4410 h 10000"/>
                  <a:gd name="connsiteX1871" fmla="*/ 2889 w 10785"/>
                  <a:gd name="connsiteY1871" fmla="*/ 4419 h 10000"/>
                  <a:gd name="connsiteX1872" fmla="*/ 2876 w 10785"/>
                  <a:gd name="connsiteY1872" fmla="*/ 4410 h 10000"/>
                  <a:gd name="connsiteX1873" fmla="*/ 2880 w 10785"/>
                  <a:gd name="connsiteY1873" fmla="*/ 4376 h 10000"/>
                  <a:gd name="connsiteX1874" fmla="*/ 2903 w 10785"/>
                  <a:gd name="connsiteY1874" fmla="*/ 4393 h 10000"/>
                  <a:gd name="connsiteX1875" fmla="*/ 2931 w 10785"/>
                  <a:gd name="connsiteY1875" fmla="*/ 4393 h 10000"/>
                  <a:gd name="connsiteX1876" fmla="*/ 2931 w 10785"/>
                  <a:gd name="connsiteY1876" fmla="*/ 4385 h 10000"/>
                  <a:gd name="connsiteX1877" fmla="*/ 2931 w 10785"/>
                  <a:gd name="connsiteY1877" fmla="*/ 4350 h 10000"/>
                  <a:gd name="connsiteX1878" fmla="*/ 2945 w 10785"/>
                  <a:gd name="connsiteY1878" fmla="*/ 4350 h 10000"/>
                  <a:gd name="connsiteX1879" fmla="*/ 2949 w 10785"/>
                  <a:gd name="connsiteY1879" fmla="*/ 4325 h 10000"/>
                  <a:gd name="connsiteX1880" fmla="*/ 2963 w 10785"/>
                  <a:gd name="connsiteY1880" fmla="*/ 4256 h 10000"/>
                  <a:gd name="connsiteX1881" fmla="*/ 2982 w 10785"/>
                  <a:gd name="connsiteY1881" fmla="*/ 4239 h 10000"/>
                  <a:gd name="connsiteX1882" fmla="*/ 2991 w 10785"/>
                  <a:gd name="connsiteY1882" fmla="*/ 4214 h 10000"/>
                  <a:gd name="connsiteX1883" fmla="*/ 2991 w 10785"/>
                  <a:gd name="connsiteY1883" fmla="*/ 4197 h 10000"/>
                  <a:gd name="connsiteX1884" fmla="*/ 2995 w 10785"/>
                  <a:gd name="connsiteY1884" fmla="*/ 4171 h 10000"/>
                  <a:gd name="connsiteX1885" fmla="*/ 2991 w 10785"/>
                  <a:gd name="connsiteY1885" fmla="*/ 4077 h 10000"/>
                  <a:gd name="connsiteX1886" fmla="*/ 2995 w 10785"/>
                  <a:gd name="connsiteY1886" fmla="*/ 4034 h 10000"/>
                  <a:gd name="connsiteX1887" fmla="*/ 3018 w 10785"/>
                  <a:gd name="connsiteY1887" fmla="*/ 3983 h 10000"/>
                  <a:gd name="connsiteX1888" fmla="*/ 3018 w 10785"/>
                  <a:gd name="connsiteY1888" fmla="*/ 3915 h 10000"/>
                  <a:gd name="connsiteX1889" fmla="*/ 2949 w 10785"/>
                  <a:gd name="connsiteY1889" fmla="*/ 3778 h 10000"/>
                  <a:gd name="connsiteX1890" fmla="*/ 2954 w 10785"/>
                  <a:gd name="connsiteY1890" fmla="*/ 3675 h 10000"/>
                  <a:gd name="connsiteX1891" fmla="*/ 2954 w 10785"/>
                  <a:gd name="connsiteY1891" fmla="*/ 3650 h 10000"/>
                  <a:gd name="connsiteX1892" fmla="*/ 2963 w 10785"/>
                  <a:gd name="connsiteY1892" fmla="*/ 3624 h 10000"/>
                  <a:gd name="connsiteX1893" fmla="*/ 2954 w 10785"/>
                  <a:gd name="connsiteY1893" fmla="*/ 3564 h 10000"/>
                  <a:gd name="connsiteX1894" fmla="*/ 2963 w 10785"/>
                  <a:gd name="connsiteY1894" fmla="*/ 3538 h 10000"/>
                  <a:gd name="connsiteX1895" fmla="*/ 2963 w 10785"/>
                  <a:gd name="connsiteY1895" fmla="*/ 3487 h 10000"/>
                  <a:gd name="connsiteX1896" fmla="*/ 2963 w 10785"/>
                  <a:gd name="connsiteY1896" fmla="*/ 3479 h 10000"/>
                  <a:gd name="connsiteX1897" fmla="*/ 2963 w 10785"/>
                  <a:gd name="connsiteY1897" fmla="*/ 3462 h 10000"/>
                  <a:gd name="connsiteX1898" fmla="*/ 2954 w 10785"/>
                  <a:gd name="connsiteY1898" fmla="*/ 3453 h 10000"/>
                  <a:gd name="connsiteX1899" fmla="*/ 2954 w 10785"/>
                  <a:gd name="connsiteY1899" fmla="*/ 3444 h 10000"/>
                  <a:gd name="connsiteX1900" fmla="*/ 2954 w 10785"/>
                  <a:gd name="connsiteY1900" fmla="*/ 3402 h 10000"/>
                  <a:gd name="connsiteX1901" fmla="*/ 2954 w 10785"/>
                  <a:gd name="connsiteY1901" fmla="*/ 3393 h 10000"/>
                  <a:gd name="connsiteX1902" fmla="*/ 2949 w 10785"/>
                  <a:gd name="connsiteY1902" fmla="*/ 3376 h 10000"/>
                  <a:gd name="connsiteX1903" fmla="*/ 2949 w 10785"/>
                  <a:gd name="connsiteY1903" fmla="*/ 3342 h 10000"/>
                  <a:gd name="connsiteX1904" fmla="*/ 2949 w 10785"/>
                  <a:gd name="connsiteY1904" fmla="*/ 3316 h 10000"/>
                  <a:gd name="connsiteX1905" fmla="*/ 2968 w 10785"/>
                  <a:gd name="connsiteY1905" fmla="*/ 3291 h 10000"/>
                  <a:gd name="connsiteX1906" fmla="*/ 2963 w 10785"/>
                  <a:gd name="connsiteY1906" fmla="*/ 3205 h 10000"/>
                  <a:gd name="connsiteX1907" fmla="*/ 2968 w 10785"/>
                  <a:gd name="connsiteY1907" fmla="*/ 3171 h 10000"/>
                  <a:gd name="connsiteX1908" fmla="*/ 2968 w 10785"/>
                  <a:gd name="connsiteY1908" fmla="*/ 3128 h 10000"/>
                  <a:gd name="connsiteX1909" fmla="*/ 2954 w 10785"/>
                  <a:gd name="connsiteY1909" fmla="*/ 3051 h 10000"/>
                  <a:gd name="connsiteX1910" fmla="*/ 2954 w 10785"/>
                  <a:gd name="connsiteY1910" fmla="*/ 3009 h 10000"/>
                  <a:gd name="connsiteX1911" fmla="*/ 2922 w 10785"/>
                  <a:gd name="connsiteY1911" fmla="*/ 2940 h 10000"/>
                  <a:gd name="connsiteX1912" fmla="*/ 2903 w 10785"/>
                  <a:gd name="connsiteY1912" fmla="*/ 2880 h 10000"/>
                  <a:gd name="connsiteX1913" fmla="*/ 2903 w 10785"/>
                  <a:gd name="connsiteY1913" fmla="*/ 2855 h 10000"/>
                  <a:gd name="connsiteX1914" fmla="*/ 2908 w 10785"/>
                  <a:gd name="connsiteY1914" fmla="*/ 2846 h 10000"/>
                  <a:gd name="connsiteX1915" fmla="*/ 2931 w 10785"/>
                  <a:gd name="connsiteY1915" fmla="*/ 2821 h 10000"/>
                  <a:gd name="connsiteX1916" fmla="*/ 2931 w 10785"/>
                  <a:gd name="connsiteY1916" fmla="*/ 2803 h 10000"/>
                  <a:gd name="connsiteX1917" fmla="*/ 2935 w 10785"/>
                  <a:gd name="connsiteY1917" fmla="*/ 2786 h 10000"/>
                  <a:gd name="connsiteX1918" fmla="*/ 2935 w 10785"/>
                  <a:gd name="connsiteY1918" fmla="*/ 2744 h 10000"/>
                  <a:gd name="connsiteX1919" fmla="*/ 2963 w 10785"/>
                  <a:gd name="connsiteY1919" fmla="*/ 2607 h 10000"/>
                  <a:gd name="connsiteX1920" fmla="*/ 2963 w 10785"/>
                  <a:gd name="connsiteY1920" fmla="*/ 2419 h 10000"/>
                  <a:gd name="connsiteX1921" fmla="*/ 2954 w 10785"/>
                  <a:gd name="connsiteY1921" fmla="*/ 2410 h 10000"/>
                  <a:gd name="connsiteX1922" fmla="*/ 2963 w 10785"/>
                  <a:gd name="connsiteY1922" fmla="*/ 2393 h 10000"/>
                  <a:gd name="connsiteX1923" fmla="*/ 2908 w 10785"/>
                  <a:gd name="connsiteY1923" fmla="*/ 2359 h 10000"/>
                  <a:gd name="connsiteX1924" fmla="*/ 2889 w 10785"/>
                  <a:gd name="connsiteY1924" fmla="*/ 2325 h 10000"/>
                  <a:gd name="connsiteX1925" fmla="*/ 2788 w 10785"/>
                  <a:gd name="connsiteY1925" fmla="*/ 2333 h 10000"/>
                  <a:gd name="connsiteX1926" fmla="*/ 2774 w 10785"/>
                  <a:gd name="connsiteY1926" fmla="*/ 2325 h 10000"/>
                  <a:gd name="connsiteX1927" fmla="*/ 2783 w 10785"/>
                  <a:gd name="connsiteY1927" fmla="*/ 2308 h 10000"/>
                  <a:gd name="connsiteX1928" fmla="*/ 2747 w 10785"/>
                  <a:gd name="connsiteY1928" fmla="*/ 2308 h 10000"/>
                  <a:gd name="connsiteX1929" fmla="*/ 2742 w 10785"/>
                  <a:gd name="connsiteY1929" fmla="*/ 2333 h 10000"/>
                  <a:gd name="connsiteX1930" fmla="*/ 2682 w 10785"/>
                  <a:gd name="connsiteY1930" fmla="*/ 2769 h 10000"/>
                  <a:gd name="connsiteX1931" fmla="*/ 2613 w 10785"/>
                  <a:gd name="connsiteY1931" fmla="*/ 2940 h 10000"/>
                  <a:gd name="connsiteX1932" fmla="*/ 2581 w 10785"/>
                  <a:gd name="connsiteY1932" fmla="*/ 2966 h 10000"/>
                  <a:gd name="connsiteX1933" fmla="*/ 2576 w 10785"/>
                  <a:gd name="connsiteY1933" fmla="*/ 3051 h 10000"/>
                  <a:gd name="connsiteX1934" fmla="*/ 2581 w 10785"/>
                  <a:gd name="connsiteY1934" fmla="*/ 3051 h 10000"/>
                  <a:gd name="connsiteX1935" fmla="*/ 2594 w 10785"/>
                  <a:gd name="connsiteY1935" fmla="*/ 3017 h 10000"/>
                  <a:gd name="connsiteX1936" fmla="*/ 2594 w 10785"/>
                  <a:gd name="connsiteY1936" fmla="*/ 3034 h 10000"/>
                  <a:gd name="connsiteX1937" fmla="*/ 2594 w 10785"/>
                  <a:gd name="connsiteY1937" fmla="*/ 3051 h 10000"/>
                  <a:gd name="connsiteX1938" fmla="*/ 2590 w 10785"/>
                  <a:gd name="connsiteY1938" fmla="*/ 3077 h 10000"/>
                  <a:gd name="connsiteX1939" fmla="*/ 2567 w 10785"/>
                  <a:gd name="connsiteY1939" fmla="*/ 3103 h 10000"/>
                  <a:gd name="connsiteX1940" fmla="*/ 2562 w 10785"/>
                  <a:gd name="connsiteY1940" fmla="*/ 3145 h 10000"/>
                  <a:gd name="connsiteX1941" fmla="*/ 2567 w 10785"/>
                  <a:gd name="connsiteY1941" fmla="*/ 3179 h 10000"/>
                  <a:gd name="connsiteX1942" fmla="*/ 2590 w 10785"/>
                  <a:gd name="connsiteY1942" fmla="*/ 3171 h 10000"/>
                  <a:gd name="connsiteX1943" fmla="*/ 2594 w 10785"/>
                  <a:gd name="connsiteY1943" fmla="*/ 3145 h 10000"/>
                  <a:gd name="connsiteX1944" fmla="*/ 2613 w 10785"/>
                  <a:gd name="connsiteY1944" fmla="*/ 3154 h 10000"/>
                  <a:gd name="connsiteX1945" fmla="*/ 2622 w 10785"/>
                  <a:gd name="connsiteY1945" fmla="*/ 3179 h 10000"/>
                  <a:gd name="connsiteX1946" fmla="*/ 2613 w 10785"/>
                  <a:gd name="connsiteY1946" fmla="*/ 3214 h 10000"/>
                  <a:gd name="connsiteX1947" fmla="*/ 2613 w 10785"/>
                  <a:gd name="connsiteY1947" fmla="*/ 3308 h 10000"/>
                  <a:gd name="connsiteX1948" fmla="*/ 2608 w 10785"/>
                  <a:gd name="connsiteY1948" fmla="*/ 3325 h 10000"/>
                  <a:gd name="connsiteX1949" fmla="*/ 2608 w 10785"/>
                  <a:gd name="connsiteY1949" fmla="*/ 3376 h 10000"/>
                  <a:gd name="connsiteX1950" fmla="*/ 2613 w 10785"/>
                  <a:gd name="connsiteY1950" fmla="*/ 3419 h 10000"/>
                  <a:gd name="connsiteX1951" fmla="*/ 2608 w 10785"/>
                  <a:gd name="connsiteY1951" fmla="*/ 3444 h 10000"/>
                  <a:gd name="connsiteX1952" fmla="*/ 2594 w 10785"/>
                  <a:gd name="connsiteY1952" fmla="*/ 3444 h 10000"/>
                  <a:gd name="connsiteX1953" fmla="*/ 2590 w 10785"/>
                  <a:gd name="connsiteY1953" fmla="*/ 3427 h 10000"/>
                  <a:gd name="connsiteX1954" fmla="*/ 2581 w 10785"/>
                  <a:gd name="connsiteY1954" fmla="*/ 3564 h 10000"/>
                  <a:gd name="connsiteX1955" fmla="*/ 2594 w 10785"/>
                  <a:gd name="connsiteY1955" fmla="*/ 3598 h 10000"/>
                  <a:gd name="connsiteX1956" fmla="*/ 2594 w 10785"/>
                  <a:gd name="connsiteY1956" fmla="*/ 3581 h 10000"/>
                  <a:gd name="connsiteX1957" fmla="*/ 2608 w 10785"/>
                  <a:gd name="connsiteY1957" fmla="*/ 3556 h 10000"/>
                  <a:gd name="connsiteX1958" fmla="*/ 2650 w 10785"/>
                  <a:gd name="connsiteY1958" fmla="*/ 3615 h 10000"/>
                  <a:gd name="connsiteX1959" fmla="*/ 2664 w 10785"/>
                  <a:gd name="connsiteY1959" fmla="*/ 3615 h 10000"/>
                  <a:gd name="connsiteX1960" fmla="*/ 2668 w 10785"/>
                  <a:gd name="connsiteY1960" fmla="*/ 3615 h 10000"/>
                  <a:gd name="connsiteX1961" fmla="*/ 2664 w 10785"/>
                  <a:gd name="connsiteY1961" fmla="*/ 3667 h 10000"/>
                  <a:gd name="connsiteX1962" fmla="*/ 2687 w 10785"/>
                  <a:gd name="connsiteY1962" fmla="*/ 3786 h 10000"/>
                  <a:gd name="connsiteX1963" fmla="*/ 2710 w 10785"/>
                  <a:gd name="connsiteY1963" fmla="*/ 3812 h 10000"/>
                  <a:gd name="connsiteX1964" fmla="*/ 2724 w 10785"/>
                  <a:gd name="connsiteY1964" fmla="*/ 3812 h 10000"/>
                  <a:gd name="connsiteX1965" fmla="*/ 2724 w 10785"/>
                  <a:gd name="connsiteY1965" fmla="*/ 3829 h 10000"/>
                  <a:gd name="connsiteX1966" fmla="*/ 2737 w 10785"/>
                  <a:gd name="connsiteY1966" fmla="*/ 3838 h 10000"/>
                  <a:gd name="connsiteX1967" fmla="*/ 2714 w 10785"/>
                  <a:gd name="connsiteY1967" fmla="*/ 3872 h 10000"/>
                  <a:gd name="connsiteX1968" fmla="*/ 2696 w 10785"/>
                  <a:gd name="connsiteY1968" fmla="*/ 4026 h 10000"/>
                  <a:gd name="connsiteX1969" fmla="*/ 2673 w 10785"/>
                  <a:gd name="connsiteY1969" fmla="*/ 4051 h 10000"/>
                  <a:gd name="connsiteX1970" fmla="*/ 2668 w 10785"/>
                  <a:gd name="connsiteY1970" fmla="*/ 4034 h 10000"/>
                  <a:gd name="connsiteX1971" fmla="*/ 2673 w 10785"/>
                  <a:gd name="connsiteY1971" fmla="*/ 4000 h 10000"/>
                  <a:gd name="connsiteX1972" fmla="*/ 2664 w 10785"/>
                  <a:gd name="connsiteY1972" fmla="*/ 3974 h 10000"/>
                  <a:gd name="connsiteX1973" fmla="*/ 2636 w 10785"/>
                  <a:gd name="connsiteY1973" fmla="*/ 3949 h 10000"/>
                  <a:gd name="connsiteX1974" fmla="*/ 2581 w 10785"/>
                  <a:gd name="connsiteY1974" fmla="*/ 3838 h 10000"/>
                  <a:gd name="connsiteX1975" fmla="*/ 2562 w 10785"/>
                  <a:gd name="connsiteY1975" fmla="*/ 3829 h 10000"/>
                  <a:gd name="connsiteX1976" fmla="*/ 2535 w 10785"/>
                  <a:gd name="connsiteY1976" fmla="*/ 3778 h 10000"/>
                  <a:gd name="connsiteX1977" fmla="*/ 2502 w 10785"/>
                  <a:gd name="connsiteY1977" fmla="*/ 3761 h 10000"/>
                  <a:gd name="connsiteX1978" fmla="*/ 2502 w 10785"/>
                  <a:gd name="connsiteY1978" fmla="*/ 3735 h 10000"/>
                  <a:gd name="connsiteX1979" fmla="*/ 2516 w 10785"/>
                  <a:gd name="connsiteY1979" fmla="*/ 3735 h 10000"/>
                  <a:gd name="connsiteX1980" fmla="*/ 2507 w 10785"/>
                  <a:gd name="connsiteY1980" fmla="*/ 3726 h 10000"/>
                  <a:gd name="connsiteX1981" fmla="*/ 2488 w 10785"/>
                  <a:gd name="connsiteY1981" fmla="*/ 3726 h 10000"/>
                  <a:gd name="connsiteX1982" fmla="*/ 2461 w 10785"/>
                  <a:gd name="connsiteY1982" fmla="*/ 3692 h 10000"/>
                  <a:gd name="connsiteX1983" fmla="*/ 2442 w 10785"/>
                  <a:gd name="connsiteY1983" fmla="*/ 3675 h 10000"/>
                  <a:gd name="connsiteX1984" fmla="*/ 2406 w 10785"/>
                  <a:gd name="connsiteY1984" fmla="*/ 3598 h 10000"/>
                  <a:gd name="connsiteX1985" fmla="*/ 2346 w 10785"/>
                  <a:gd name="connsiteY1985" fmla="*/ 3564 h 10000"/>
                  <a:gd name="connsiteX1986" fmla="*/ 2341 w 10785"/>
                  <a:gd name="connsiteY1986" fmla="*/ 3564 h 10000"/>
                  <a:gd name="connsiteX1987" fmla="*/ 2313 w 10785"/>
                  <a:gd name="connsiteY1987" fmla="*/ 3530 h 10000"/>
                  <a:gd name="connsiteX1988" fmla="*/ 2235 w 10785"/>
                  <a:gd name="connsiteY1988" fmla="*/ 3530 h 10000"/>
                  <a:gd name="connsiteX1989" fmla="*/ 2226 w 10785"/>
                  <a:gd name="connsiteY1989" fmla="*/ 3513 h 10000"/>
                  <a:gd name="connsiteX1990" fmla="*/ 2207 w 10785"/>
                  <a:gd name="connsiteY1990" fmla="*/ 3504 h 10000"/>
                  <a:gd name="connsiteX1991" fmla="*/ 2194 w 10785"/>
                  <a:gd name="connsiteY1991" fmla="*/ 3504 h 10000"/>
                  <a:gd name="connsiteX1992" fmla="*/ 2189 w 10785"/>
                  <a:gd name="connsiteY1992" fmla="*/ 3504 h 10000"/>
                  <a:gd name="connsiteX1993" fmla="*/ 2189 w 10785"/>
                  <a:gd name="connsiteY1993" fmla="*/ 3530 h 10000"/>
                  <a:gd name="connsiteX1994" fmla="*/ 2180 w 10785"/>
                  <a:gd name="connsiteY1994" fmla="*/ 3538 h 10000"/>
                  <a:gd name="connsiteX1995" fmla="*/ 2152 w 10785"/>
                  <a:gd name="connsiteY1995" fmla="*/ 3581 h 10000"/>
                  <a:gd name="connsiteX1996" fmla="*/ 2161 w 10785"/>
                  <a:gd name="connsiteY1996" fmla="*/ 3598 h 10000"/>
                  <a:gd name="connsiteX1997" fmla="*/ 2194 w 10785"/>
                  <a:gd name="connsiteY1997" fmla="*/ 3752 h 10000"/>
                  <a:gd name="connsiteX1998" fmla="*/ 2194 w 10785"/>
                  <a:gd name="connsiteY1998" fmla="*/ 3735 h 10000"/>
                  <a:gd name="connsiteX1999" fmla="*/ 2198 w 10785"/>
                  <a:gd name="connsiteY1999" fmla="*/ 3735 h 10000"/>
                  <a:gd name="connsiteX2000" fmla="*/ 2189 w 10785"/>
                  <a:gd name="connsiteY2000" fmla="*/ 3838 h 10000"/>
                  <a:gd name="connsiteX2001" fmla="*/ 2166 w 10785"/>
                  <a:gd name="connsiteY2001" fmla="*/ 3889 h 10000"/>
                  <a:gd name="connsiteX2002" fmla="*/ 2124 w 10785"/>
                  <a:gd name="connsiteY2002" fmla="*/ 3889 h 10000"/>
                  <a:gd name="connsiteX2003" fmla="*/ 2124 w 10785"/>
                  <a:gd name="connsiteY2003" fmla="*/ 3923 h 10000"/>
                  <a:gd name="connsiteX2004" fmla="*/ 2134 w 10785"/>
                  <a:gd name="connsiteY2004" fmla="*/ 3940 h 10000"/>
                  <a:gd name="connsiteX2005" fmla="*/ 2134 w 10785"/>
                  <a:gd name="connsiteY2005" fmla="*/ 3966 h 10000"/>
                  <a:gd name="connsiteX2006" fmla="*/ 2120 w 10785"/>
                  <a:gd name="connsiteY2006" fmla="*/ 4000 h 10000"/>
                  <a:gd name="connsiteX2007" fmla="*/ 2106 w 10785"/>
                  <a:gd name="connsiteY2007" fmla="*/ 4009 h 10000"/>
                  <a:gd name="connsiteX2008" fmla="*/ 2088 w 10785"/>
                  <a:gd name="connsiteY2008" fmla="*/ 4000 h 10000"/>
                  <a:gd name="connsiteX2009" fmla="*/ 2074 w 10785"/>
                  <a:gd name="connsiteY2009" fmla="*/ 3974 h 10000"/>
                  <a:gd name="connsiteX2010" fmla="*/ 2074 w 10785"/>
                  <a:gd name="connsiteY2010" fmla="*/ 3940 h 10000"/>
                  <a:gd name="connsiteX2011" fmla="*/ 2078 w 10785"/>
                  <a:gd name="connsiteY2011" fmla="*/ 3915 h 10000"/>
                  <a:gd name="connsiteX2012" fmla="*/ 2088 w 10785"/>
                  <a:gd name="connsiteY2012" fmla="*/ 3889 h 10000"/>
                  <a:gd name="connsiteX2013" fmla="*/ 2101 w 10785"/>
                  <a:gd name="connsiteY2013" fmla="*/ 3872 h 10000"/>
                  <a:gd name="connsiteX2014" fmla="*/ 2074 w 10785"/>
                  <a:gd name="connsiteY2014" fmla="*/ 3812 h 10000"/>
                  <a:gd name="connsiteX2015" fmla="*/ 2074 w 10785"/>
                  <a:gd name="connsiteY2015" fmla="*/ 3786 h 10000"/>
                  <a:gd name="connsiteX2016" fmla="*/ 2060 w 10785"/>
                  <a:gd name="connsiteY2016" fmla="*/ 3786 h 10000"/>
                  <a:gd name="connsiteX2017" fmla="*/ 2014 w 10785"/>
                  <a:gd name="connsiteY2017" fmla="*/ 3829 h 10000"/>
                  <a:gd name="connsiteX2018" fmla="*/ 2000 w 10785"/>
                  <a:gd name="connsiteY2018" fmla="*/ 3863 h 10000"/>
                  <a:gd name="connsiteX2019" fmla="*/ 1986 w 10785"/>
                  <a:gd name="connsiteY2019" fmla="*/ 3872 h 10000"/>
                  <a:gd name="connsiteX2020" fmla="*/ 1959 w 10785"/>
                  <a:gd name="connsiteY2020" fmla="*/ 3940 h 10000"/>
                  <a:gd name="connsiteX2021" fmla="*/ 1945 w 10785"/>
                  <a:gd name="connsiteY2021" fmla="*/ 3949 h 10000"/>
                  <a:gd name="connsiteX2022" fmla="*/ 1940 w 10785"/>
                  <a:gd name="connsiteY2022" fmla="*/ 3923 h 10000"/>
                  <a:gd name="connsiteX2023" fmla="*/ 1917 w 10785"/>
                  <a:gd name="connsiteY2023" fmla="*/ 3915 h 10000"/>
                  <a:gd name="connsiteX2024" fmla="*/ 1899 w 10785"/>
                  <a:gd name="connsiteY2024" fmla="*/ 3923 h 10000"/>
                  <a:gd name="connsiteX2025" fmla="*/ 1880 w 10785"/>
                  <a:gd name="connsiteY2025" fmla="*/ 3915 h 10000"/>
                  <a:gd name="connsiteX2026" fmla="*/ 1853 w 10785"/>
                  <a:gd name="connsiteY2026" fmla="*/ 3940 h 10000"/>
                  <a:gd name="connsiteX2027" fmla="*/ 1839 w 10785"/>
                  <a:gd name="connsiteY2027" fmla="*/ 3940 h 10000"/>
                  <a:gd name="connsiteX2028" fmla="*/ 1806 w 10785"/>
                  <a:gd name="connsiteY2028" fmla="*/ 3983 h 10000"/>
                  <a:gd name="connsiteX2029" fmla="*/ 1806 w 10785"/>
                  <a:gd name="connsiteY2029" fmla="*/ 4000 h 10000"/>
                  <a:gd name="connsiteX2030" fmla="*/ 1797 w 10785"/>
                  <a:gd name="connsiteY2030" fmla="*/ 4077 h 10000"/>
                  <a:gd name="connsiteX2031" fmla="*/ 1783 w 10785"/>
                  <a:gd name="connsiteY2031" fmla="*/ 4077 h 10000"/>
                  <a:gd name="connsiteX2032" fmla="*/ 1779 w 10785"/>
                  <a:gd name="connsiteY2032" fmla="*/ 4051 h 10000"/>
                  <a:gd name="connsiteX2033" fmla="*/ 1765 w 10785"/>
                  <a:gd name="connsiteY2033" fmla="*/ 4026 h 10000"/>
                  <a:gd name="connsiteX2034" fmla="*/ 1751 w 10785"/>
                  <a:gd name="connsiteY2034" fmla="*/ 4051 h 10000"/>
                  <a:gd name="connsiteX2035" fmla="*/ 1737 w 10785"/>
                  <a:gd name="connsiteY2035" fmla="*/ 4009 h 10000"/>
                  <a:gd name="connsiteX2036" fmla="*/ 1737 w 10785"/>
                  <a:gd name="connsiteY2036" fmla="*/ 3966 h 10000"/>
                  <a:gd name="connsiteX2037" fmla="*/ 1733 w 10785"/>
                  <a:gd name="connsiteY2037" fmla="*/ 3940 h 10000"/>
                  <a:gd name="connsiteX2038" fmla="*/ 1733 w 10785"/>
                  <a:gd name="connsiteY2038" fmla="*/ 3923 h 10000"/>
                  <a:gd name="connsiteX2039" fmla="*/ 1747 w 10785"/>
                  <a:gd name="connsiteY2039" fmla="*/ 3889 h 10000"/>
                  <a:gd name="connsiteX2040" fmla="*/ 1747 w 10785"/>
                  <a:gd name="connsiteY2040" fmla="*/ 3863 h 10000"/>
                  <a:gd name="connsiteX2041" fmla="*/ 1737 w 10785"/>
                  <a:gd name="connsiteY2041" fmla="*/ 3838 h 10000"/>
                  <a:gd name="connsiteX2042" fmla="*/ 1733 w 10785"/>
                  <a:gd name="connsiteY2042" fmla="*/ 3829 h 10000"/>
                  <a:gd name="connsiteX2043" fmla="*/ 1733 w 10785"/>
                  <a:gd name="connsiteY2043" fmla="*/ 3846 h 10000"/>
                  <a:gd name="connsiteX2044" fmla="*/ 1724 w 10785"/>
                  <a:gd name="connsiteY2044" fmla="*/ 3846 h 10000"/>
                  <a:gd name="connsiteX2045" fmla="*/ 1724 w 10785"/>
                  <a:gd name="connsiteY2045" fmla="*/ 3829 h 10000"/>
                  <a:gd name="connsiteX2046" fmla="*/ 1737 w 10785"/>
                  <a:gd name="connsiteY2046" fmla="*/ 3812 h 10000"/>
                  <a:gd name="connsiteX2047" fmla="*/ 1765 w 10785"/>
                  <a:gd name="connsiteY2047" fmla="*/ 3812 h 10000"/>
                  <a:gd name="connsiteX2048" fmla="*/ 1779 w 10785"/>
                  <a:gd name="connsiteY2048" fmla="*/ 3786 h 10000"/>
                  <a:gd name="connsiteX2049" fmla="*/ 1779 w 10785"/>
                  <a:gd name="connsiteY2049" fmla="*/ 3786 h 10000"/>
                  <a:gd name="connsiteX2050" fmla="*/ 1751 w 10785"/>
                  <a:gd name="connsiteY2050" fmla="*/ 3803 h 10000"/>
                  <a:gd name="connsiteX2051" fmla="*/ 1747 w 10785"/>
                  <a:gd name="connsiteY2051" fmla="*/ 3803 h 10000"/>
                  <a:gd name="connsiteX2052" fmla="*/ 1724 w 10785"/>
                  <a:gd name="connsiteY2052" fmla="*/ 3803 h 10000"/>
                  <a:gd name="connsiteX2053" fmla="*/ 1700 w 10785"/>
                  <a:gd name="connsiteY2053" fmla="*/ 3829 h 10000"/>
                  <a:gd name="connsiteX2054" fmla="*/ 1705 w 10785"/>
                  <a:gd name="connsiteY2054" fmla="*/ 3846 h 10000"/>
                  <a:gd name="connsiteX2055" fmla="*/ 1691 w 10785"/>
                  <a:gd name="connsiteY2055" fmla="*/ 3846 h 10000"/>
                  <a:gd name="connsiteX2056" fmla="*/ 1691 w 10785"/>
                  <a:gd name="connsiteY2056" fmla="*/ 3863 h 10000"/>
                  <a:gd name="connsiteX2057" fmla="*/ 1691 w 10785"/>
                  <a:gd name="connsiteY2057" fmla="*/ 3915 h 10000"/>
                  <a:gd name="connsiteX2058" fmla="*/ 1677 w 10785"/>
                  <a:gd name="connsiteY2058" fmla="*/ 3923 h 10000"/>
                  <a:gd name="connsiteX2059" fmla="*/ 1673 w 10785"/>
                  <a:gd name="connsiteY2059" fmla="*/ 3915 h 10000"/>
                  <a:gd name="connsiteX2060" fmla="*/ 1664 w 10785"/>
                  <a:gd name="connsiteY2060" fmla="*/ 3889 h 10000"/>
                  <a:gd name="connsiteX2061" fmla="*/ 1673 w 10785"/>
                  <a:gd name="connsiteY2061" fmla="*/ 3872 h 10000"/>
                  <a:gd name="connsiteX2062" fmla="*/ 1664 w 10785"/>
                  <a:gd name="connsiteY2062" fmla="*/ 3872 h 10000"/>
                  <a:gd name="connsiteX2063" fmla="*/ 1636 w 10785"/>
                  <a:gd name="connsiteY2063" fmla="*/ 3923 h 10000"/>
                  <a:gd name="connsiteX2064" fmla="*/ 1645 w 10785"/>
                  <a:gd name="connsiteY2064" fmla="*/ 3923 h 10000"/>
                  <a:gd name="connsiteX2065" fmla="*/ 1650 w 10785"/>
                  <a:gd name="connsiteY2065" fmla="*/ 3949 h 10000"/>
                  <a:gd name="connsiteX2066" fmla="*/ 1650 w 10785"/>
                  <a:gd name="connsiteY2066" fmla="*/ 3983 h 10000"/>
                  <a:gd name="connsiteX2067" fmla="*/ 1636 w 10785"/>
                  <a:gd name="connsiteY2067" fmla="*/ 4000 h 10000"/>
                  <a:gd name="connsiteX2068" fmla="*/ 1631 w 10785"/>
                  <a:gd name="connsiteY2068" fmla="*/ 4009 h 10000"/>
                  <a:gd name="connsiteX2069" fmla="*/ 1618 w 10785"/>
                  <a:gd name="connsiteY2069" fmla="*/ 3949 h 10000"/>
                  <a:gd name="connsiteX2070" fmla="*/ 1585 w 10785"/>
                  <a:gd name="connsiteY2070" fmla="*/ 3966 h 10000"/>
                  <a:gd name="connsiteX2071" fmla="*/ 1590 w 10785"/>
                  <a:gd name="connsiteY2071" fmla="*/ 3974 h 10000"/>
                  <a:gd name="connsiteX2072" fmla="*/ 1544 w 10785"/>
                  <a:gd name="connsiteY2072" fmla="*/ 4009 h 10000"/>
                  <a:gd name="connsiteX2073" fmla="*/ 1539 w 10785"/>
                  <a:gd name="connsiteY2073" fmla="*/ 4009 h 10000"/>
                  <a:gd name="connsiteX2074" fmla="*/ 1410 w 10785"/>
                  <a:gd name="connsiteY2074" fmla="*/ 4188 h 10000"/>
                  <a:gd name="connsiteX2075" fmla="*/ 1406 w 10785"/>
                  <a:gd name="connsiteY2075" fmla="*/ 4171 h 10000"/>
                  <a:gd name="connsiteX2076" fmla="*/ 1396 w 10785"/>
                  <a:gd name="connsiteY2076" fmla="*/ 4214 h 10000"/>
                  <a:gd name="connsiteX2077" fmla="*/ 1406 w 10785"/>
                  <a:gd name="connsiteY2077" fmla="*/ 4222 h 10000"/>
                  <a:gd name="connsiteX2078" fmla="*/ 1392 w 10785"/>
                  <a:gd name="connsiteY2078" fmla="*/ 4239 h 10000"/>
                  <a:gd name="connsiteX2079" fmla="*/ 1369 w 10785"/>
                  <a:gd name="connsiteY2079" fmla="*/ 4248 h 10000"/>
                  <a:gd name="connsiteX2080" fmla="*/ 1355 w 10785"/>
                  <a:gd name="connsiteY2080" fmla="*/ 4256 h 10000"/>
                  <a:gd name="connsiteX2081" fmla="*/ 1350 w 10785"/>
                  <a:gd name="connsiteY2081" fmla="*/ 4248 h 10000"/>
                  <a:gd name="connsiteX2082" fmla="*/ 1332 w 10785"/>
                  <a:gd name="connsiteY2082" fmla="*/ 4376 h 10000"/>
                  <a:gd name="connsiteX2083" fmla="*/ 1332 w 10785"/>
                  <a:gd name="connsiteY2083" fmla="*/ 4436 h 10000"/>
                  <a:gd name="connsiteX2084" fmla="*/ 1323 w 10785"/>
                  <a:gd name="connsiteY2084" fmla="*/ 4462 h 10000"/>
                  <a:gd name="connsiteX2085" fmla="*/ 1304 w 10785"/>
                  <a:gd name="connsiteY2085" fmla="*/ 4487 h 10000"/>
                  <a:gd name="connsiteX2086" fmla="*/ 1290 w 10785"/>
                  <a:gd name="connsiteY2086" fmla="*/ 4470 h 10000"/>
                  <a:gd name="connsiteX2087" fmla="*/ 1263 w 10785"/>
                  <a:gd name="connsiteY2087" fmla="*/ 4496 h 10000"/>
                  <a:gd name="connsiteX2088" fmla="*/ 1258 w 10785"/>
                  <a:gd name="connsiteY2088" fmla="*/ 4547 h 10000"/>
                  <a:gd name="connsiteX2089" fmla="*/ 1249 w 10785"/>
                  <a:gd name="connsiteY2089" fmla="*/ 4487 h 10000"/>
                  <a:gd name="connsiteX2090" fmla="*/ 1235 w 10785"/>
                  <a:gd name="connsiteY2090" fmla="*/ 4496 h 10000"/>
                  <a:gd name="connsiteX2091" fmla="*/ 1221 w 10785"/>
                  <a:gd name="connsiteY2091" fmla="*/ 4496 h 10000"/>
                  <a:gd name="connsiteX2092" fmla="*/ 1217 w 10785"/>
                  <a:gd name="connsiteY2092" fmla="*/ 4487 h 10000"/>
                  <a:gd name="connsiteX2093" fmla="*/ 1198 w 10785"/>
                  <a:gd name="connsiteY2093" fmla="*/ 4410 h 10000"/>
                  <a:gd name="connsiteX2094" fmla="*/ 1157 w 10785"/>
                  <a:gd name="connsiteY2094" fmla="*/ 4333 h 10000"/>
                  <a:gd name="connsiteX2095" fmla="*/ 1147 w 10785"/>
                  <a:gd name="connsiteY2095" fmla="*/ 4299 h 10000"/>
                  <a:gd name="connsiteX2096" fmla="*/ 1147 w 10785"/>
                  <a:gd name="connsiteY2096" fmla="*/ 4274 h 10000"/>
                  <a:gd name="connsiteX2097" fmla="*/ 1161 w 10785"/>
                  <a:gd name="connsiteY2097" fmla="*/ 4256 h 10000"/>
                  <a:gd name="connsiteX2098" fmla="*/ 1171 w 10785"/>
                  <a:gd name="connsiteY2098" fmla="*/ 4248 h 10000"/>
                  <a:gd name="connsiteX2099" fmla="*/ 1175 w 10785"/>
                  <a:gd name="connsiteY2099" fmla="*/ 4214 h 10000"/>
                  <a:gd name="connsiteX2100" fmla="*/ 1263 w 10785"/>
                  <a:gd name="connsiteY2100" fmla="*/ 4171 h 10000"/>
                  <a:gd name="connsiteX2101" fmla="*/ 1249 w 10785"/>
                  <a:gd name="connsiteY2101" fmla="*/ 4137 h 10000"/>
                  <a:gd name="connsiteX2102" fmla="*/ 1244 w 10785"/>
                  <a:gd name="connsiteY2102" fmla="*/ 4060 h 10000"/>
                  <a:gd name="connsiteX2103" fmla="*/ 1230 w 10785"/>
                  <a:gd name="connsiteY2103" fmla="*/ 4077 h 10000"/>
                  <a:gd name="connsiteX2104" fmla="*/ 1221 w 10785"/>
                  <a:gd name="connsiteY2104" fmla="*/ 4026 h 10000"/>
                  <a:gd name="connsiteX2105" fmla="*/ 1217 w 10785"/>
                  <a:gd name="connsiteY2105" fmla="*/ 4026 h 10000"/>
                  <a:gd name="connsiteX2106" fmla="*/ 1212 w 10785"/>
                  <a:gd name="connsiteY2106" fmla="*/ 3983 h 10000"/>
                  <a:gd name="connsiteX2107" fmla="*/ 1203 w 10785"/>
                  <a:gd name="connsiteY2107" fmla="*/ 3966 h 10000"/>
                  <a:gd name="connsiteX2108" fmla="*/ 1171 w 10785"/>
                  <a:gd name="connsiteY2108" fmla="*/ 3949 h 10000"/>
                  <a:gd name="connsiteX2109" fmla="*/ 1111 w 10785"/>
                  <a:gd name="connsiteY2109" fmla="*/ 3940 h 10000"/>
                  <a:gd name="connsiteX2110" fmla="*/ 1097 w 10785"/>
                  <a:gd name="connsiteY2110" fmla="*/ 3949 h 10000"/>
                  <a:gd name="connsiteX2111" fmla="*/ 1037 w 10785"/>
                  <a:gd name="connsiteY2111" fmla="*/ 3897 h 10000"/>
                  <a:gd name="connsiteX2112" fmla="*/ 1041 w 10785"/>
                  <a:gd name="connsiteY2112" fmla="*/ 3923 h 10000"/>
                  <a:gd name="connsiteX2113" fmla="*/ 1097 w 10785"/>
                  <a:gd name="connsiteY2113" fmla="*/ 4009 h 10000"/>
                  <a:gd name="connsiteX2114" fmla="*/ 1097 w 10785"/>
                  <a:gd name="connsiteY2114" fmla="*/ 4120 h 10000"/>
                  <a:gd name="connsiteX2115" fmla="*/ 1097 w 10785"/>
                  <a:gd name="connsiteY2115" fmla="*/ 4162 h 10000"/>
                  <a:gd name="connsiteX2116" fmla="*/ 1097 w 10785"/>
                  <a:gd name="connsiteY2116" fmla="*/ 4197 h 10000"/>
                  <a:gd name="connsiteX2117" fmla="*/ 1074 w 10785"/>
                  <a:gd name="connsiteY2117" fmla="*/ 4333 h 10000"/>
                  <a:gd name="connsiteX2118" fmla="*/ 1074 w 10785"/>
                  <a:gd name="connsiteY2118" fmla="*/ 4376 h 10000"/>
                  <a:gd name="connsiteX2119" fmla="*/ 1083 w 10785"/>
                  <a:gd name="connsiteY2119" fmla="*/ 4385 h 10000"/>
                  <a:gd name="connsiteX2120" fmla="*/ 1097 w 10785"/>
                  <a:gd name="connsiteY2120" fmla="*/ 4385 h 10000"/>
                  <a:gd name="connsiteX2121" fmla="*/ 1111 w 10785"/>
                  <a:gd name="connsiteY2121" fmla="*/ 4410 h 10000"/>
                  <a:gd name="connsiteX2122" fmla="*/ 1124 w 10785"/>
                  <a:gd name="connsiteY2122" fmla="*/ 4444 h 10000"/>
                  <a:gd name="connsiteX2123" fmla="*/ 1124 w 10785"/>
                  <a:gd name="connsiteY2123" fmla="*/ 4470 h 10000"/>
                  <a:gd name="connsiteX2124" fmla="*/ 1115 w 10785"/>
                  <a:gd name="connsiteY2124" fmla="*/ 4513 h 10000"/>
                  <a:gd name="connsiteX2125" fmla="*/ 1115 w 10785"/>
                  <a:gd name="connsiteY2125" fmla="*/ 4530 h 10000"/>
                  <a:gd name="connsiteX2126" fmla="*/ 1115 w 10785"/>
                  <a:gd name="connsiteY2126" fmla="*/ 4573 h 10000"/>
                  <a:gd name="connsiteX2127" fmla="*/ 1101 w 10785"/>
                  <a:gd name="connsiteY2127" fmla="*/ 4607 h 10000"/>
                  <a:gd name="connsiteX2128" fmla="*/ 1097 w 10785"/>
                  <a:gd name="connsiteY2128" fmla="*/ 4658 h 10000"/>
                  <a:gd name="connsiteX2129" fmla="*/ 1101 w 10785"/>
                  <a:gd name="connsiteY2129" fmla="*/ 4692 h 10000"/>
                  <a:gd name="connsiteX2130" fmla="*/ 1097 w 10785"/>
                  <a:gd name="connsiteY2130" fmla="*/ 4778 h 10000"/>
                  <a:gd name="connsiteX2131" fmla="*/ 1083 w 10785"/>
                  <a:gd name="connsiteY2131" fmla="*/ 4744 h 10000"/>
                  <a:gd name="connsiteX2132" fmla="*/ 1083 w 10785"/>
                  <a:gd name="connsiteY2132" fmla="*/ 4718 h 10000"/>
                  <a:gd name="connsiteX2133" fmla="*/ 1074 w 10785"/>
                  <a:gd name="connsiteY2133" fmla="*/ 4692 h 10000"/>
                  <a:gd name="connsiteX2134" fmla="*/ 1065 w 10785"/>
                  <a:gd name="connsiteY2134" fmla="*/ 4692 h 10000"/>
                  <a:gd name="connsiteX2135" fmla="*/ 1051 w 10785"/>
                  <a:gd name="connsiteY2135" fmla="*/ 4718 h 10000"/>
                  <a:gd name="connsiteX2136" fmla="*/ 1055 w 10785"/>
                  <a:gd name="connsiteY2136" fmla="*/ 4692 h 10000"/>
                  <a:gd name="connsiteX2137" fmla="*/ 1055 w 10785"/>
                  <a:gd name="connsiteY2137" fmla="*/ 4667 h 10000"/>
                  <a:gd name="connsiteX2138" fmla="*/ 1028 w 10785"/>
                  <a:gd name="connsiteY2138" fmla="*/ 4624 h 10000"/>
                  <a:gd name="connsiteX2139" fmla="*/ 1005 w 10785"/>
                  <a:gd name="connsiteY2139" fmla="*/ 4624 h 10000"/>
                  <a:gd name="connsiteX2140" fmla="*/ 977 w 10785"/>
                  <a:gd name="connsiteY2140" fmla="*/ 4581 h 10000"/>
                  <a:gd name="connsiteX2141" fmla="*/ 963 w 10785"/>
                  <a:gd name="connsiteY2141" fmla="*/ 4607 h 10000"/>
                  <a:gd name="connsiteX2142" fmla="*/ 963 w 10785"/>
                  <a:gd name="connsiteY2142" fmla="*/ 4632 h 10000"/>
                  <a:gd name="connsiteX2143" fmla="*/ 917 w 10785"/>
                  <a:gd name="connsiteY2143" fmla="*/ 4718 h 10000"/>
                  <a:gd name="connsiteX2144" fmla="*/ 889 w 10785"/>
                  <a:gd name="connsiteY2144" fmla="*/ 4744 h 10000"/>
                  <a:gd name="connsiteX2145" fmla="*/ 880 w 10785"/>
                  <a:gd name="connsiteY2145" fmla="*/ 4744 h 10000"/>
                  <a:gd name="connsiteX2146" fmla="*/ 862 w 10785"/>
                  <a:gd name="connsiteY2146" fmla="*/ 4769 h 10000"/>
                  <a:gd name="connsiteX2147" fmla="*/ 857 w 10785"/>
                  <a:gd name="connsiteY2147" fmla="*/ 4795 h 10000"/>
                  <a:gd name="connsiteX2148" fmla="*/ 829 w 10785"/>
                  <a:gd name="connsiteY2148" fmla="*/ 4846 h 10000"/>
                  <a:gd name="connsiteX2149" fmla="*/ 816 w 10785"/>
                  <a:gd name="connsiteY2149" fmla="*/ 4855 h 10000"/>
                  <a:gd name="connsiteX2150" fmla="*/ 816 w 10785"/>
                  <a:gd name="connsiteY2150" fmla="*/ 4940 h 10000"/>
                  <a:gd name="connsiteX2151" fmla="*/ 880 w 10785"/>
                  <a:gd name="connsiteY2151" fmla="*/ 5179 h 10000"/>
                  <a:gd name="connsiteX2152" fmla="*/ 880 w 10785"/>
                  <a:gd name="connsiteY2152" fmla="*/ 5188 h 10000"/>
                  <a:gd name="connsiteX2153" fmla="*/ 862 w 10785"/>
                  <a:gd name="connsiteY2153" fmla="*/ 5171 h 10000"/>
                  <a:gd name="connsiteX2154" fmla="*/ 857 w 10785"/>
                  <a:gd name="connsiteY2154" fmla="*/ 5171 h 10000"/>
                  <a:gd name="connsiteX2155" fmla="*/ 820 w 10785"/>
                  <a:gd name="connsiteY2155" fmla="*/ 5145 h 10000"/>
                  <a:gd name="connsiteX2156" fmla="*/ 820 w 10785"/>
                  <a:gd name="connsiteY2156" fmla="*/ 5154 h 10000"/>
                  <a:gd name="connsiteX2157" fmla="*/ 816 w 10785"/>
                  <a:gd name="connsiteY2157" fmla="*/ 5171 h 10000"/>
                  <a:gd name="connsiteX2158" fmla="*/ 783 w 10785"/>
                  <a:gd name="connsiteY2158" fmla="*/ 5145 h 10000"/>
                  <a:gd name="connsiteX2159" fmla="*/ 756 w 10785"/>
                  <a:gd name="connsiteY2159" fmla="*/ 5103 h 10000"/>
                  <a:gd name="connsiteX2160" fmla="*/ 742 w 10785"/>
                  <a:gd name="connsiteY2160" fmla="*/ 5103 h 10000"/>
                  <a:gd name="connsiteX2161" fmla="*/ 728 w 10785"/>
                  <a:gd name="connsiteY2161" fmla="*/ 5094 h 10000"/>
                  <a:gd name="connsiteX2162" fmla="*/ 710 w 10785"/>
                  <a:gd name="connsiteY2162" fmla="*/ 5120 h 10000"/>
                  <a:gd name="connsiteX2163" fmla="*/ 700 w 10785"/>
                  <a:gd name="connsiteY2163" fmla="*/ 5145 h 10000"/>
                  <a:gd name="connsiteX2164" fmla="*/ 696 w 10785"/>
                  <a:gd name="connsiteY2164" fmla="*/ 5103 h 10000"/>
                  <a:gd name="connsiteX2165" fmla="*/ 714 w 10785"/>
                  <a:gd name="connsiteY2165" fmla="*/ 5077 h 10000"/>
                  <a:gd name="connsiteX2166" fmla="*/ 682 w 10785"/>
                  <a:gd name="connsiteY2166" fmla="*/ 5068 h 10000"/>
                  <a:gd name="connsiteX2167" fmla="*/ 673 w 10785"/>
                  <a:gd name="connsiteY2167" fmla="*/ 5034 h 10000"/>
                  <a:gd name="connsiteX2168" fmla="*/ 636 w 10785"/>
                  <a:gd name="connsiteY2168" fmla="*/ 4991 h 10000"/>
                  <a:gd name="connsiteX2169" fmla="*/ 622 w 10785"/>
                  <a:gd name="connsiteY2169" fmla="*/ 4983 h 10000"/>
                  <a:gd name="connsiteX2170" fmla="*/ 622 w 10785"/>
                  <a:gd name="connsiteY2170" fmla="*/ 5034 h 10000"/>
                  <a:gd name="connsiteX2171" fmla="*/ 608 w 10785"/>
                  <a:gd name="connsiteY2171" fmla="*/ 5051 h 10000"/>
                  <a:gd name="connsiteX2172" fmla="*/ 594 w 10785"/>
                  <a:gd name="connsiteY2172" fmla="*/ 5068 h 10000"/>
                  <a:gd name="connsiteX2173" fmla="*/ 608 w 10785"/>
                  <a:gd name="connsiteY2173" fmla="*/ 5120 h 10000"/>
                  <a:gd name="connsiteX2174" fmla="*/ 613 w 10785"/>
                  <a:gd name="connsiteY2174" fmla="*/ 5128 h 10000"/>
                  <a:gd name="connsiteX2175" fmla="*/ 627 w 10785"/>
                  <a:gd name="connsiteY2175" fmla="*/ 5179 h 10000"/>
                  <a:gd name="connsiteX2176" fmla="*/ 650 w 10785"/>
                  <a:gd name="connsiteY2176" fmla="*/ 5214 h 10000"/>
                  <a:gd name="connsiteX2177" fmla="*/ 687 w 10785"/>
                  <a:gd name="connsiteY2177" fmla="*/ 5188 h 10000"/>
                  <a:gd name="connsiteX2178" fmla="*/ 700 w 10785"/>
                  <a:gd name="connsiteY2178" fmla="*/ 5325 h 10000"/>
                  <a:gd name="connsiteX2179" fmla="*/ 710 w 10785"/>
                  <a:gd name="connsiteY2179" fmla="*/ 5350 h 10000"/>
                  <a:gd name="connsiteX2180" fmla="*/ 687 w 10785"/>
                  <a:gd name="connsiteY2180" fmla="*/ 5325 h 10000"/>
                  <a:gd name="connsiteX2181" fmla="*/ 668 w 10785"/>
                  <a:gd name="connsiteY2181" fmla="*/ 5350 h 10000"/>
                  <a:gd name="connsiteX2182" fmla="*/ 668 w 10785"/>
                  <a:gd name="connsiteY2182" fmla="*/ 5368 h 10000"/>
                  <a:gd name="connsiteX2183" fmla="*/ 668 w 10785"/>
                  <a:gd name="connsiteY2183" fmla="*/ 5376 h 10000"/>
                  <a:gd name="connsiteX2184" fmla="*/ 581 w 10785"/>
                  <a:gd name="connsiteY2184" fmla="*/ 5316 h 10000"/>
                  <a:gd name="connsiteX2185" fmla="*/ 567 w 10785"/>
                  <a:gd name="connsiteY2185" fmla="*/ 5265 h 10000"/>
                  <a:gd name="connsiteX2186" fmla="*/ 562 w 10785"/>
                  <a:gd name="connsiteY2186" fmla="*/ 5256 h 10000"/>
                  <a:gd name="connsiteX2187" fmla="*/ 548 w 10785"/>
                  <a:gd name="connsiteY2187" fmla="*/ 5231 h 10000"/>
                  <a:gd name="connsiteX2188" fmla="*/ 535 w 10785"/>
                  <a:gd name="connsiteY2188" fmla="*/ 5214 h 10000"/>
                  <a:gd name="connsiteX2189" fmla="*/ 525 w 10785"/>
                  <a:gd name="connsiteY2189" fmla="*/ 5231 h 10000"/>
                  <a:gd name="connsiteX2190" fmla="*/ 521 w 10785"/>
                  <a:gd name="connsiteY2190" fmla="*/ 5231 h 10000"/>
                  <a:gd name="connsiteX2191" fmla="*/ 493 w 10785"/>
                  <a:gd name="connsiteY2191" fmla="*/ 5205 h 10000"/>
                  <a:gd name="connsiteX2192" fmla="*/ 488 w 10785"/>
                  <a:gd name="connsiteY2192" fmla="*/ 5179 h 10000"/>
                  <a:gd name="connsiteX2193" fmla="*/ 475 w 10785"/>
                  <a:gd name="connsiteY2193" fmla="*/ 5188 h 10000"/>
                  <a:gd name="connsiteX2194" fmla="*/ 475 w 10785"/>
                  <a:gd name="connsiteY2194" fmla="*/ 5171 h 10000"/>
                  <a:gd name="connsiteX2195" fmla="*/ 488 w 10785"/>
                  <a:gd name="connsiteY2195" fmla="*/ 5154 h 10000"/>
                  <a:gd name="connsiteX2196" fmla="*/ 488 w 10785"/>
                  <a:gd name="connsiteY2196" fmla="*/ 5068 h 10000"/>
                  <a:gd name="connsiteX2197" fmla="*/ 475 w 10785"/>
                  <a:gd name="connsiteY2197" fmla="*/ 5051 h 10000"/>
                  <a:gd name="connsiteX2198" fmla="*/ 475 w 10785"/>
                  <a:gd name="connsiteY2198" fmla="*/ 5017 h 10000"/>
                  <a:gd name="connsiteX2199" fmla="*/ 452 w 10785"/>
                  <a:gd name="connsiteY2199" fmla="*/ 4932 h 10000"/>
                  <a:gd name="connsiteX2200" fmla="*/ 461 w 10785"/>
                  <a:gd name="connsiteY2200" fmla="*/ 4915 h 10000"/>
                  <a:gd name="connsiteX2201" fmla="*/ 475 w 10785"/>
                  <a:gd name="connsiteY2201" fmla="*/ 4906 h 10000"/>
                  <a:gd name="connsiteX2202" fmla="*/ 479 w 10785"/>
                  <a:gd name="connsiteY2202" fmla="*/ 4803 h 10000"/>
                  <a:gd name="connsiteX2203" fmla="*/ 479 w 10785"/>
                  <a:gd name="connsiteY2203" fmla="*/ 4778 h 10000"/>
                  <a:gd name="connsiteX2204" fmla="*/ 475 w 10785"/>
                  <a:gd name="connsiteY2204" fmla="*/ 4761 h 10000"/>
                  <a:gd name="connsiteX2205" fmla="*/ 465 w 10785"/>
                  <a:gd name="connsiteY2205" fmla="*/ 4718 h 10000"/>
                  <a:gd name="connsiteX2206" fmla="*/ 461 w 10785"/>
                  <a:gd name="connsiteY2206" fmla="*/ 4709 h 10000"/>
                  <a:gd name="connsiteX2207" fmla="*/ 442 w 10785"/>
                  <a:gd name="connsiteY2207" fmla="*/ 4692 h 10000"/>
                  <a:gd name="connsiteX2208" fmla="*/ 433 w 10785"/>
                  <a:gd name="connsiteY2208" fmla="*/ 4667 h 10000"/>
                  <a:gd name="connsiteX2209" fmla="*/ 419 w 10785"/>
                  <a:gd name="connsiteY2209" fmla="*/ 4667 h 10000"/>
                  <a:gd name="connsiteX2210" fmla="*/ 401 w 10785"/>
                  <a:gd name="connsiteY2210" fmla="*/ 4658 h 10000"/>
                  <a:gd name="connsiteX2211" fmla="*/ 401 w 10785"/>
                  <a:gd name="connsiteY2211" fmla="*/ 4624 h 10000"/>
                  <a:gd name="connsiteX2212" fmla="*/ 401 w 10785"/>
                  <a:gd name="connsiteY2212" fmla="*/ 4607 h 10000"/>
                  <a:gd name="connsiteX2213" fmla="*/ 378 w 10785"/>
                  <a:gd name="connsiteY2213" fmla="*/ 4607 h 10000"/>
                  <a:gd name="connsiteX2214" fmla="*/ 341 w 10785"/>
                  <a:gd name="connsiteY2214" fmla="*/ 4530 h 10000"/>
                  <a:gd name="connsiteX2215" fmla="*/ 346 w 10785"/>
                  <a:gd name="connsiteY2215" fmla="*/ 4521 h 10000"/>
                  <a:gd name="connsiteX2216" fmla="*/ 332 w 10785"/>
                  <a:gd name="connsiteY2216" fmla="*/ 4487 h 10000"/>
                  <a:gd name="connsiteX2217" fmla="*/ 327 w 10785"/>
                  <a:gd name="connsiteY2217" fmla="*/ 4462 h 10000"/>
                  <a:gd name="connsiteX2218" fmla="*/ 313 w 10785"/>
                  <a:gd name="connsiteY2218" fmla="*/ 4436 h 10000"/>
                  <a:gd name="connsiteX2219" fmla="*/ 300 w 10785"/>
                  <a:gd name="connsiteY2219" fmla="*/ 4419 h 10000"/>
                  <a:gd name="connsiteX2220" fmla="*/ 309 w 10785"/>
                  <a:gd name="connsiteY2220" fmla="*/ 4393 h 10000"/>
                  <a:gd name="connsiteX2221" fmla="*/ 332 w 10785"/>
                  <a:gd name="connsiteY2221" fmla="*/ 4385 h 10000"/>
                  <a:gd name="connsiteX2222" fmla="*/ 355 w 10785"/>
                  <a:gd name="connsiteY2222" fmla="*/ 4419 h 10000"/>
                  <a:gd name="connsiteX2223" fmla="*/ 355 w 10785"/>
                  <a:gd name="connsiteY2223" fmla="*/ 4444 h 10000"/>
                  <a:gd name="connsiteX2224" fmla="*/ 369 w 10785"/>
                  <a:gd name="connsiteY2224" fmla="*/ 4470 h 10000"/>
                  <a:gd name="connsiteX2225" fmla="*/ 401 w 10785"/>
                  <a:gd name="connsiteY2225" fmla="*/ 4521 h 10000"/>
                  <a:gd name="connsiteX2226" fmla="*/ 406 w 10785"/>
                  <a:gd name="connsiteY2226" fmla="*/ 4513 h 10000"/>
                  <a:gd name="connsiteX2227" fmla="*/ 406 w 10785"/>
                  <a:gd name="connsiteY2227" fmla="*/ 4496 h 10000"/>
                  <a:gd name="connsiteX2228" fmla="*/ 419 w 10785"/>
                  <a:gd name="connsiteY2228" fmla="*/ 4521 h 10000"/>
                  <a:gd name="connsiteX2229" fmla="*/ 429 w 10785"/>
                  <a:gd name="connsiteY2229" fmla="*/ 4530 h 10000"/>
                  <a:gd name="connsiteX2230" fmla="*/ 433 w 10785"/>
                  <a:gd name="connsiteY2230" fmla="*/ 4521 h 10000"/>
                  <a:gd name="connsiteX2231" fmla="*/ 442 w 10785"/>
                  <a:gd name="connsiteY2231" fmla="*/ 4530 h 10000"/>
                  <a:gd name="connsiteX2232" fmla="*/ 447 w 10785"/>
                  <a:gd name="connsiteY2232" fmla="*/ 4521 h 10000"/>
                  <a:gd name="connsiteX2233" fmla="*/ 452 w 10785"/>
                  <a:gd name="connsiteY2233" fmla="*/ 4521 h 10000"/>
                  <a:gd name="connsiteX2234" fmla="*/ 461 w 10785"/>
                  <a:gd name="connsiteY2234" fmla="*/ 4573 h 10000"/>
                  <a:gd name="connsiteX2235" fmla="*/ 479 w 10785"/>
                  <a:gd name="connsiteY2235" fmla="*/ 4556 h 10000"/>
                  <a:gd name="connsiteX2236" fmla="*/ 502 w 10785"/>
                  <a:gd name="connsiteY2236" fmla="*/ 4573 h 10000"/>
                  <a:gd name="connsiteX2237" fmla="*/ 507 w 10785"/>
                  <a:gd name="connsiteY2237" fmla="*/ 4598 h 10000"/>
                  <a:gd name="connsiteX2238" fmla="*/ 525 w 10785"/>
                  <a:gd name="connsiteY2238" fmla="*/ 4598 h 10000"/>
                  <a:gd name="connsiteX2239" fmla="*/ 535 w 10785"/>
                  <a:gd name="connsiteY2239" fmla="*/ 4624 h 10000"/>
                  <a:gd name="connsiteX2240" fmla="*/ 594 w 10785"/>
                  <a:gd name="connsiteY2240" fmla="*/ 4658 h 10000"/>
                  <a:gd name="connsiteX2241" fmla="*/ 627 w 10785"/>
                  <a:gd name="connsiteY2241" fmla="*/ 4658 h 10000"/>
                  <a:gd name="connsiteX2242" fmla="*/ 654 w 10785"/>
                  <a:gd name="connsiteY2242" fmla="*/ 4684 h 10000"/>
                  <a:gd name="connsiteX2243" fmla="*/ 668 w 10785"/>
                  <a:gd name="connsiteY2243" fmla="*/ 4709 h 10000"/>
                  <a:gd name="connsiteX2244" fmla="*/ 747 w 10785"/>
                  <a:gd name="connsiteY2244" fmla="*/ 4718 h 10000"/>
                  <a:gd name="connsiteX2245" fmla="*/ 760 w 10785"/>
                  <a:gd name="connsiteY2245" fmla="*/ 4709 h 10000"/>
                  <a:gd name="connsiteX2246" fmla="*/ 774 w 10785"/>
                  <a:gd name="connsiteY2246" fmla="*/ 4692 h 10000"/>
                  <a:gd name="connsiteX2247" fmla="*/ 829 w 10785"/>
                  <a:gd name="connsiteY2247" fmla="*/ 4658 h 10000"/>
                  <a:gd name="connsiteX2248" fmla="*/ 903 w 10785"/>
                  <a:gd name="connsiteY2248" fmla="*/ 4496 h 10000"/>
                  <a:gd name="connsiteX2249" fmla="*/ 917 w 10785"/>
                  <a:gd name="connsiteY2249" fmla="*/ 4385 h 10000"/>
                  <a:gd name="connsiteX2250" fmla="*/ 903 w 10785"/>
                  <a:gd name="connsiteY2250" fmla="*/ 4376 h 10000"/>
                  <a:gd name="connsiteX2251" fmla="*/ 903 w 10785"/>
                  <a:gd name="connsiteY2251" fmla="*/ 4376 h 10000"/>
                  <a:gd name="connsiteX2252" fmla="*/ 889 w 10785"/>
                  <a:gd name="connsiteY2252" fmla="*/ 4239 h 10000"/>
                  <a:gd name="connsiteX2253" fmla="*/ 880 w 10785"/>
                  <a:gd name="connsiteY2253" fmla="*/ 4214 h 10000"/>
                  <a:gd name="connsiteX2254" fmla="*/ 862 w 10785"/>
                  <a:gd name="connsiteY2254" fmla="*/ 4188 h 10000"/>
                  <a:gd name="connsiteX2255" fmla="*/ 857 w 10785"/>
                  <a:gd name="connsiteY2255" fmla="*/ 4197 h 10000"/>
                  <a:gd name="connsiteX2256" fmla="*/ 848 w 10785"/>
                  <a:gd name="connsiteY2256" fmla="*/ 4188 h 10000"/>
                  <a:gd name="connsiteX2257" fmla="*/ 848 w 10785"/>
                  <a:gd name="connsiteY2257" fmla="*/ 4162 h 10000"/>
                  <a:gd name="connsiteX2258" fmla="*/ 829 w 10785"/>
                  <a:gd name="connsiteY2258" fmla="*/ 4120 h 10000"/>
                  <a:gd name="connsiteX2259" fmla="*/ 820 w 10785"/>
                  <a:gd name="connsiteY2259" fmla="*/ 4103 h 10000"/>
                  <a:gd name="connsiteX2260" fmla="*/ 806 w 10785"/>
                  <a:gd name="connsiteY2260" fmla="*/ 4077 h 10000"/>
                  <a:gd name="connsiteX2261" fmla="*/ 816 w 10785"/>
                  <a:gd name="connsiteY2261" fmla="*/ 4111 h 10000"/>
                  <a:gd name="connsiteX2262" fmla="*/ 802 w 10785"/>
                  <a:gd name="connsiteY2262" fmla="*/ 4111 h 10000"/>
                  <a:gd name="connsiteX2263" fmla="*/ 770 w 10785"/>
                  <a:gd name="connsiteY2263" fmla="*/ 4060 h 10000"/>
                  <a:gd name="connsiteX2264" fmla="*/ 760 w 10785"/>
                  <a:gd name="connsiteY2264" fmla="*/ 4077 h 10000"/>
                  <a:gd name="connsiteX2265" fmla="*/ 760 w 10785"/>
                  <a:gd name="connsiteY2265" fmla="*/ 4060 h 10000"/>
                  <a:gd name="connsiteX2266" fmla="*/ 756 w 10785"/>
                  <a:gd name="connsiteY2266" fmla="*/ 4034 h 10000"/>
                  <a:gd name="connsiteX2267" fmla="*/ 742 w 10785"/>
                  <a:gd name="connsiteY2267" fmla="*/ 4000 h 10000"/>
                  <a:gd name="connsiteX2268" fmla="*/ 747 w 10785"/>
                  <a:gd name="connsiteY2268" fmla="*/ 4034 h 10000"/>
                  <a:gd name="connsiteX2269" fmla="*/ 724 w 10785"/>
                  <a:gd name="connsiteY2269" fmla="*/ 4026 h 10000"/>
                  <a:gd name="connsiteX2270" fmla="*/ 714 w 10785"/>
                  <a:gd name="connsiteY2270" fmla="*/ 4000 h 10000"/>
                  <a:gd name="connsiteX2271" fmla="*/ 714 w 10785"/>
                  <a:gd name="connsiteY2271" fmla="*/ 3983 h 10000"/>
                  <a:gd name="connsiteX2272" fmla="*/ 553 w 10785"/>
                  <a:gd name="connsiteY2272" fmla="*/ 3726 h 10000"/>
                  <a:gd name="connsiteX2273" fmla="*/ 507 w 10785"/>
                  <a:gd name="connsiteY2273" fmla="*/ 3718 h 10000"/>
                  <a:gd name="connsiteX2274" fmla="*/ 516 w 10785"/>
                  <a:gd name="connsiteY2274" fmla="*/ 3726 h 10000"/>
                  <a:gd name="connsiteX2275" fmla="*/ 507 w 10785"/>
                  <a:gd name="connsiteY2275" fmla="*/ 3735 h 10000"/>
                  <a:gd name="connsiteX2276" fmla="*/ 502 w 10785"/>
                  <a:gd name="connsiteY2276" fmla="*/ 3735 h 10000"/>
                  <a:gd name="connsiteX2277" fmla="*/ 419 w 10785"/>
                  <a:gd name="connsiteY2277" fmla="*/ 3675 h 10000"/>
                  <a:gd name="connsiteX2278" fmla="*/ 419 w 10785"/>
                  <a:gd name="connsiteY2278" fmla="*/ 3692 h 10000"/>
                  <a:gd name="connsiteX2279" fmla="*/ 401 w 10785"/>
                  <a:gd name="connsiteY2279" fmla="*/ 3701 h 10000"/>
                  <a:gd name="connsiteX2280" fmla="*/ 387 w 10785"/>
                  <a:gd name="connsiteY2280" fmla="*/ 3718 h 10000"/>
                  <a:gd name="connsiteX2281" fmla="*/ 387 w 10785"/>
                  <a:gd name="connsiteY2281" fmla="*/ 3692 h 10000"/>
                  <a:gd name="connsiteX2282" fmla="*/ 378 w 10785"/>
                  <a:gd name="connsiteY2282" fmla="*/ 3675 h 10000"/>
                  <a:gd name="connsiteX2283" fmla="*/ 378 w 10785"/>
                  <a:gd name="connsiteY2283" fmla="*/ 3650 h 10000"/>
                  <a:gd name="connsiteX2284" fmla="*/ 378 w 10785"/>
                  <a:gd name="connsiteY2284" fmla="*/ 3650 h 10000"/>
                  <a:gd name="connsiteX2285" fmla="*/ 355 w 10785"/>
                  <a:gd name="connsiteY2285" fmla="*/ 3675 h 10000"/>
                  <a:gd name="connsiteX2286" fmla="*/ 359 w 10785"/>
                  <a:gd name="connsiteY2286" fmla="*/ 3641 h 10000"/>
                  <a:gd name="connsiteX2287" fmla="*/ 346 w 10785"/>
                  <a:gd name="connsiteY2287" fmla="*/ 3650 h 10000"/>
                  <a:gd name="connsiteX2288" fmla="*/ 355 w 10785"/>
                  <a:gd name="connsiteY2288" fmla="*/ 3624 h 10000"/>
                  <a:gd name="connsiteX2289" fmla="*/ 346 w 10785"/>
                  <a:gd name="connsiteY2289" fmla="*/ 3624 h 10000"/>
                  <a:gd name="connsiteX2290" fmla="*/ 341 w 10785"/>
                  <a:gd name="connsiteY2290" fmla="*/ 3624 h 10000"/>
                  <a:gd name="connsiteX2291" fmla="*/ 318 w 10785"/>
                  <a:gd name="connsiteY2291" fmla="*/ 3641 h 10000"/>
                  <a:gd name="connsiteX2292" fmla="*/ 327 w 10785"/>
                  <a:gd name="connsiteY2292" fmla="*/ 3624 h 10000"/>
                  <a:gd name="connsiteX2293" fmla="*/ 318 w 10785"/>
                  <a:gd name="connsiteY2293" fmla="*/ 3615 h 10000"/>
                  <a:gd name="connsiteX2294" fmla="*/ 318 w 10785"/>
                  <a:gd name="connsiteY2294" fmla="*/ 3598 h 10000"/>
                  <a:gd name="connsiteX2295" fmla="*/ 300 w 10785"/>
                  <a:gd name="connsiteY2295" fmla="*/ 3598 h 10000"/>
                  <a:gd name="connsiteX2296" fmla="*/ 309 w 10785"/>
                  <a:gd name="connsiteY2296" fmla="*/ 3538 h 10000"/>
                  <a:gd name="connsiteX2297" fmla="*/ 313 w 10785"/>
                  <a:gd name="connsiteY2297" fmla="*/ 3564 h 10000"/>
                  <a:gd name="connsiteX2298" fmla="*/ 318 w 10785"/>
                  <a:gd name="connsiteY2298" fmla="*/ 3581 h 10000"/>
                  <a:gd name="connsiteX2299" fmla="*/ 327 w 10785"/>
                  <a:gd name="connsiteY2299" fmla="*/ 3564 h 10000"/>
                  <a:gd name="connsiteX2300" fmla="*/ 332 w 10785"/>
                  <a:gd name="connsiteY2300" fmla="*/ 3590 h 10000"/>
                  <a:gd name="connsiteX2301" fmla="*/ 346 w 10785"/>
                  <a:gd name="connsiteY2301" fmla="*/ 3590 h 10000"/>
                  <a:gd name="connsiteX2302" fmla="*/ 355 w 10785"/>
                  <a:gd name="connsiteY2302" fmla="*/ 3590 h 10000"/>
                  <a:gd name="connsiteX2303" fmla="*/ 369 w 10785"/>
                  <a:gd name="connsiteY2303" fmla="*/ 3556 h 10000"/>
                  <a:gd name="connsiteX2304" fmla="*/ 369 w 10785"/>
                  <a:gd name="connsiteY2304" fmla="*/ 3538 h 10000"/>
                  <a:gd name="connsiteX2305" fmla="*/ 346 w 10785"/>
                  <a:gd name="connsiteY2305" fmla="*/ 3513 h 10000"/>
                  <a:gd name="connsiteX2306" fmla="*/ 341 w 10785"/>
                  <a:gd name="connsiteY2306" fmla="*/ 3530 h 10000"/>
                  <a:gd name="connsiteX2307" fmla="*/ 327 w 10785"/>
                  <a:gd name="connsiteY2307" fmla="*/ 3513 h 10000"/>
                  <a:gd name="connsiteX2308" fmla="*/ 327 w 10785"/>
                  <a:gd name="connsiteY2308" fmla="*/ 3504 h 10000"/>
                  <a:gd name="connsiteX2309" fmla="*/ 295 w 10785"/>
                  <a:gd name="connsiteY2309" fmla="*/ 3462 h 10000"/>
                  <a:gd name="connsiteX2310" fmla="*/ 300 w 10785"/>
                  <a:gd name="connsiteY2310" fmla="*/ 3479 h 10000"/>
                  <a:gd name="connsiteX2311" fmla="*/ 295 w 10785"/>
                  <a:gd name="connsiteY2311" fmla="*/ 3513 h 10000"/>
                  <a:gd name="connsiteX2312" fmla="*/ 286 w 10785"/>
                  <a:gd name="connsiteY2312" fmla="*/ 3513 h 10000"/>
                  <a:gd name="connsiteX2313" fmla="*/ 281 w 10785"/>
                  <a:gd name="connsiteY2313" fmla="*/ 3513 h 10000"/>
                  <a:gd name="connsiteX2314" fmla="*/ 281 w 10785"/>
                  <a:gd name="connsiteY2314" fmla="*/ 3530 h 10000"/>
                  <a:gd name="connsiteX2315" fmla="*/ 281 w 10785"/>
                  <a:gd name="connsiteY2315" fmla="*/ 3556 h 10000"/>
                  <a:gd name="connsiteX2316" fmla="*/ 272 w 10785"/>
                  <a:gd name="connsiteY2316" fmla="*/ 3564 h 10000"/>
                  <a:gd name="connsiteX2317" fmla="*/ 267 w 10785"/>
                  <a:gd name="connsiteY2317" fmla="*/ 3564 h 10000"/>
                  <a:gd name="connsiteX2318" fmla="*/ 253 w 10785"/>
                  <a:gd name="connsiteY2318" fmla="*/ 3538 h 10000"/>
                  <a:gd name="connsiteX2319" fmla="*/ 226 w 10785"/>
                  <a:gd name="connsiteY2319" fmla="*/ 3513 h 10000"/>
                  <a:gd name="connsiteX2320" fmla="*/ 226 w 10785"/>
                  <a:gd name="connsiteY2320" fmla="*/ 3530 h 10000"/>
                  <a:gd name="connsiteX2321" fmla="*/ 226 w 10785"/>
                  <a:gd name="connsiteY2321" fmla="*/ 3530 h 10000"/>
                  <a:gd name="connsiteX2322" fmla="*/ 226 w 10785"/>
                  <a:gd name="connsiteY2322" fmla="*/ 3530 h 10000"/>
                  <a:gd name="connsiteX2323" fmla="*/ 226 w 10785"/>
                  <a:gd name="connsiteY2323" fmla="*/ 3556 h 10000"/>
                  <a:gd name="connsiteX2324" fmla="*/ 221 w 10785"/>
                  <a:gd name="connsiteY2324" fmla="*/ 3598 h 10000"/>
                  <a:gd name="connsiteX2325" fmla="*/ 207 w 10785"/>
                  <a:gd name="connsiteY2325" fmla="*/ 3598 h 10000"/>
                  <a:gd name="connsiteX2326" fmla="*/ 180 w 10785"/>
                  <a:gd name="connsiteY2326" fmla="*/ 3581 h 10000"/>
                  <a:gd name="connsiteX2327" fmla="*/ 171 w 10785"/>
                  <a:gd name="connsiteY2327" fmla="*/ 3641 h 10000"/>
                  <a:gd name="connsiteX2328" fmla="*/ 166 w 10785"/>
                  <a:gd name="connsiteY2328" fmla="*/ 3650 h 10000"/>
                  <a:gd name="connsiteX2329" fmla="*/ 124 w 10785"/>
                  <a:gd name="connsiteY2329" fmla="*/ 3701 h 10000"/>
                  <a:gd name="connsiteX2330" fmla="*/ 124 w 10785"/>
                  <a:gd name="connsiteY2330" fmla="*/ 3718 h 10000"/>
                  <a:gd name="connsiteX2331" fmla="*/ 120 w 10785"/>
                  <a:gd name="connsiteY2331" fmla="*/ 3735 h 10000"/>
                  <a:gd name="connsiteX2332" fmla="*/ 120 w 10785"/>
                  <a:gd name="connsiteY2332" fmla="*/ 3735 h 10000"/>
                  <a:gd name="connsiteX2333" fmla="*/ 111 w 10785"/>
                  <a:gd name="connsiteY2333" fmla="*/ 3761 h 10000"/>
                  <a:gd name="connsiteX2334" fmla="*/ 106 w 10785"/>
                  <a:gd name="connsiteY2334" fmla="*/ 3761 h 10000"/>
                  <a:gd name="connsiteX2335" fmla="*/ 106 w 10785"/>
                  <a:gd name="connsiteY2335" fmla="*/ 3761 h 10000"/>
                  <a:gd name="connsiteX2336" fmla="*/ 74 w 10785"/>
                  <a:gd name="connsiteY2336" fmla="*/ 3829 h 10000"/>
                  <a:gd name="connsiteX2337" fmla="*/ 78 w 10785"/>
                  <a:gd name="connsiteY2337" fmla="*/ 3838 h 10000"/>
                  <a:gd name="connsiteX2338" fmla="*/ 88 w 10785"/>
                  <a:gd name="connsiteY2338" fmla="*/ 3846 h 10000"/>
                  <a:gd name="connsiteX2339" fmla="*/ 65 w 10785"/>
                  <a:gd name="connsiteY2339" fmla="*/ 3923 h 10000"/>
                  <a:gd name="connsiteX2340" fmla="*/ 78 w 10785"/>
                  <a:gd name="connsiteY2340" fmla="*/ 4026 h 10000"/>
                  <a:gd name="connsiteX2341" fmla="*/ 88 w 10785"/>
                  <a:gd name="connsiteY2341" fmla="*/ 4051 h 10000"/>
                  <a:gd name="connsiteX2342" fmla="*/ 92 w 10785"/>
                  <a:gd name="connsiteY2342" fmla="*/ 4060 h 10000"/>
                  <a:gd name="connsiteX2343" fmla="*/ 111 w 10785"/>
                  <a:gd name="connsiteY2343" fmla="*/ 4060 h 10000"/>
                  <a:gd name="connsiteX2344" fmla="*/ 124 w 10785"/>
                  <a:gd name="connsiteY2344" fmla="*/ 4085 h 10000"/>
                  <a:gd name="connsiteX2345" fmla="*/ 166 w 10785"/>
                  <a:gd name="connsiteY2345" fmla="*/ 4197 h 10000"/>
                  <a:gd name="connsiteX2346" fmla="*/ 166 w 10785"/>
                  <a:gd name="connsiteY2346" fmla="*/ 4248 h 10000"/>
                  <a:gd name="connsiteX2347" fmla="*/ 120 w 10785"/>
                  <a:gd name="connsiteY2347" fmla="*/ 4462 h 10000"/>
                  <a:gd name="connsiteX2348" fmla="*/ 120 w 10785"/>
                  <a:gd name="connsiteY2348" fmla="*/ 4513 h 10000"/>
                  <a:gd name="connsiteX2349" fmla="*/ 180 w 10785"/>
                  <a:gd name="connsiteY2349" fmla="*/ 4829 h 10000"/>
                  <a:gd name="connsiteX2350" fmla="*/ 161 w 10785"/>
                  <a:gd name="connsiteY2350" fmla="*/ 4855 h 10000"/>
                  <a:gd name="connsiteX2351" fmla="*/ 152 w 10785"/>
                  <a:gd name="connsiteY2351" fmla="*/ 4940 h 10000"/>
                  <a:gd name="connsiteX2352" fmla="*/ 161 w 10785"/>
                  <a:gd name="connsiteY2352" fmla="*/ 4966 h 10000"/>
                  <a:gd name="connsiteX2353" fmla="*/ 161 w 10785"/>
                  <a:gd name="connsiteY2353" fmla="*/ 5009 h 10000"/>
                  <a:gd name="connsiteX2354" fmla="*/ 152 w 10785"/>
                  <a:gd name="connsiteY2354" fmla="*/ 5034 h 10000"/>
                  <a:gd name="connsiteX2355" fmla="*/ 152 w 10785"/>
                  <a:gd name="connsiteY2355" fmla="*/ 5077 h 10000"/>
                  <a:gd name="connsiteX2356" fmla="*/ 171 w 10785"/>
                  <a:gd name="connsiteY2356" fmla="*/ 5094 h 10000"/>
                  <a:gd name="connsiteX2357" fmla="*/ 180 w 10785"/>
                  <a:gd name="connsiteY2357" fmla="*/ 5128 h 10000"/>
                  <a:gd name="connsiteX2358" fmla="*/ 180 w 10785"/>
                  <a:gd name="connsiteY2358" fmla="*/ 5171 h 10000"/>
                  <a:gd name="connsiteX2359" fmla="*/ 184 w 10785"/>
                  <a:gd name="connsiteY2359" fmla="*/ 5205 h 10000"/>
                  <a:gd name="connsiteX2360" fmla="*/ 207 w 10785"/>
                  <a:gd name="connsiteY2360" fmla="*/ 5239 h 10000"/>
                  <a:gd name="connsiteX2361" fmla="*/ 207 w 10785"/>
                  <a:gd name="connsiteY2361" fmla="*/ 5282 h 10000"/>
                  <a:gd name="connsiteX2362" fmla="*/ 180 w 10785"/>
                  <a:gd name="connsiteY2362" fmla="*/ 5393 h 10000"/>
                  <a:gd name="connsiteX2363" fmla="*/ 194 w 10785"/>
                  <a:gd name="connsiteY2363" fmla="*/ 5427 h 10000"/>
                  <a:gd name="connsiteX2364" fmla="*/ 198 w 10785"/>
                  <a:gd name="connsiteY2364" fmla="*/ 5462 h 10000"/>
                  <a:gd name="connsiteX2365" fmla="*/ 235 w 10785"/>
                  <a:gd name="connsiteY2365" fmla="*/ 5513 h 10000"/>
                  <a:gd name="connsiteX2366" fmla="*/ 240 w 10785"/>
                  <a:gd name="connsiteY2366" fmla="*/ 5556 h 10000"/>
                  <a:gd name="connsiteX2367" fmla="*/ 253 w 10785"/>
                  <a:gd name="connsiteY2367" fmla="*/ 5590 h 10000"/>
                  <a:gd name="connsiteX2368" fmla="*/ 258 w 10785"/>
                  <a:gd name="connsiteY2368" fmla="*/ 5573 h 10000"/>
                  <a:gd name="connsiteX2369" fmla="*/ 258 w 10785"/>
                  <a:gd name="connsiteY2369" fmla="*/ 5667 h 10000"/>
                  <a:gd name="connsiteX2370" fmla="*/ 14 w 10785"/>
                  <a:gd name="connsiteY2370" fmla="*/ 6214 h 10000"/>
                  <a:gd name="connsiteX2371" fmla="*/ 14 w 10785"/>
                  <a:gd name="connsiteY2371" fmla="*/ 6214 h 10000"/>
                  <a:gd name="connsiteX2372" fmla="*/ 37 w 10785"/>
                  <a:gd name="connsiteY2372" fmla="*/ 6214 h 10000"/>
                  <a:gd name="connsiteX2373" fmla="*/ 51 w 10785"/>
                  <a:gd name="connsiteY2373" fmla="*/ 6188 h 10000"/>
                  <a:gd name="connsiteX2374" fmla="*/ 78 w 10785"/>
                  <a:gd name="connsiteY2374" fmla="*/ 6162 h 10000"/>
                  <a:gd name="connsiteX2375" fmla="*/ 78 w 10785"/>
                  <a:gd name="connsiteY2375" fmla="*/ 6188 h 10000"/>
                  <a:gd name="connsiteX2376" fmla="*/ 74 w 10785"/>
                  <a:gd name="connsiteY2376" fmla="*/ 6197 h 10000"/>
                  <a:gd name="connsiteX2377" fmla="*/ 74 w 10785"/>
                  <a:gd name="connsiteY2377" fmla="*/ 6231 h 10000"/>
                  <a:gd name="connsiteX2378" fmla="*/ 74 w 10785"/>
                  <a:gd name="connsiteY2378" fmla="*/ 6214 h 10000"/>
                  <a:gd name="connsiteX2379" fmla="*/ 65 w 10785"/>
                  <a:gd name="connsiteY2379" fmla="*/ 6214 h 10000"/>
                  <a:gd name="connsiteX2380" fmla="*/ 65 w 10785"/>
                  <a:gd name="connsiteY2380" fmla="*/ 6248 h 10000"/>
                  <a:gd name="connsiteX2381" fmla="*/ 74 w 10785"/>
                  <a:gd name="connsiteY2381" fmla="*/ 6256 h 10000"/>
                  <a:gd name="connsiteX2382" fmla="*/ 78 w 10785"/>
                  <a:gd name="connsiteY2382" fmla="*/ 6256 h 10000"/>
                  <a:gd name="connsiteX2383" fmla="*/ 106 w 10785"/>
                  <a:gd name="connsiteY2383" fmla="*/ 6308 h 10000"/>
                  <a:gd name="connsiteX2384" fmla="*/ 138 w 10785"/>
                  <a:gd name="connsiteY2384" fmla="*/ 6299 h 10000"/>
                  <a:gd name="connsiteX2385" fmla="*/ 152 w 10785"/>
                  <a:gd name="connsiteY2385" fmla="*/ 6299 h 10000"/>
                  <a:gd name="connsiteX2386" fmla="*/ 166 w 10785"/>
                  <a:gd name="connsiteY2386" fmla="*/ 6325 h 10000"/>
                  <a:gd name="connsiteX2387" fmla="*/ 166 w 10785"/>
                  <a:gd name="connsiteY2387" fmla="*/ 6333 h 10000"/>
                  <a:gd name="connsiteX2388" fmla="*/ 171 w 10785"/>
                  <a:gd name="connsiteY2388" fmla="*/ 6350 h 10000"/>
                  <a:gd name="connsiteX2389" fmla="*/ 180 w 10785"/>
                  <a:gd name="connsiteY2389" fmla="*/ 6350 h 10000"/>
                  <a:gd name="connsiteX2390" fmla="*/ 180 w 10785"/>
                  <a:gd name="connsiteY2390" fmla="*/ 6359 h 10000"/>
                  <a:gd name="connsiteX2391" fmla="*/ 171 w 10785"/>
                  <a:gd name="connsiteY2391" fmla="*/ 6368 h 10000"/>
                  <a:gd name="connsiteX2392" fmla="*/ 106 w 10785"/>
                  <a:gd name="connsiteY2392" fmla="*/ 6350 h 10000"/>
                  <a:gd name="connsiteX2393" fmla="*/ 101 w 10785"/>
                  <a:gd name="connsiteY2393" fmla="*/ 6359 h 10000"/>
                  <a:gd name="connsiteX2394" fmla="*/ 101 w 10785"/>
                  <a:gd name="connsiteY2394" fmla="*/ 6385 h 10000"/>
                  <a:gd name="connsiteX2395" fmla="*/ 78 w 10785"/>
                  <a:gd name="connsiteY2395" fmla="*/ 6393 h 10000"/>
                  <a:gd name="connsiteX2396" fmla="*/ 74 w 10785"/>
                  <a:gd name="connsiteY2396" fmla="*/ 6385 h 10000"/>
                  <a:gd name="connsiteX2397" fmla="*/ 65 w 10785"/>
                  <a:gd name="connsiteY2397" fmla="*/ 6393 h 10000"/>
                  <a:gd name="connsiteX2398" fmla="*/ 60 w 10785"/>
                  <a:gd name="connsiteY2398" fmla="*/ 6419 h 10000"/>
                  <a:gd name="connsiteX2399" fmla="*/ 51 w 10785"/>
                  <a:gd name="connsiteY2399" fmla="*/ 6419 h 10000"/>
                  <a:gd name="connsiteX2400" fmla="*/ 46 w 10785"/>
                  <a:gd name="connsiteY2400" fmla="*/ 6410 h 10000"/>
                  <a:gd name="connsiteX2401" fmla="*/ 37 w 10785"/>
                  <a:gd name="connsiteY2401" fmla="*/ 6393 h 10000"/>
                  <a:gd name="connsiteX2402" fmla="*/ 32 w 10785"/>
                  <a:gd name="connsiteY2402" fmla="*/ 6419 h 10000"/>
                  <a:gd name="connsiteX2403" fmla="*/ 37 w 10785"/>
                  <a:gd name="connsiteY2403" fmla="*/ 6462 h 10000"/>
                  <a:gd name="connsiteX2404" fmla="*/ 46 w 10785"/>
                  <a:gd name="connsiteY2404" fmla="*/ 6462 h 10000"/>
                  <a:gd name="connsiteX2405" fmla="*/ 51 w 10785"/>
                  <a:gd name="connsiteY2405" fmla="*/ 6470 h 10000"/>
                  <a:gd name="connsiteX2406" fmla="*/ 51 w 10785"/>
                  <a:gd name="connsiteY2406" fmla="*/ 6496 h 10000"/>
                  <a:gd name="connsiteX2407" fmla="*/ 51 w 10785"/>
                  <a:gd name="connsiteY2407" fmla="*/ 6504 h 10000"/>
                  <a:gd name="connsiteX2408" fmla="*/ 37 w 10785"/>
                  <a:gd name="connsiteY2408" fmla="*/ 6530 h 10000"/>
                  <a:gd name="connsiteX2409" fmla="*/ 18 w 10785"/>
                  <a:gd name="connsiteY2409" fmla="*/ 6598 h 10000"/>
                  <a:gd name="connsiteX2410" fmla="*/ 28 w 10785"/>
                  <a:gd name="connsiteY2410" fmla="*/ 6632 h 10000"/>
                  <a:gd name="connsiteX2411" fmla="*/ 18 w 10785"/>
                  <a:gd name="connsiteY2411" fmla="*/ 6667 h 10000"/>
                  <a:gd name="connsiteX2412" fmla="*/ 28 w 10785"/>
                  <a:gd name="connsiteY2412" fmla="*/ 6692 h 10000"/>
                  <a:gd name="connsiteX2413" fmla="*/ 28 w 10785"/>
                  <a:gd name="connsiteY2413" fmla="*/ 6709 h 10000"/>
                  <a:gd name="connsiteX2414" fmla="*/ 18 w 10785"/>
                  <a:gd name="connsiteY2414" fmla="*/ 6718 h 10000"/>
                  <a:gd name="connsiteX2415" fmla="*/ 5 w 10785"/>
                  <a:gd name="connsiteY2415" fmla="*/ 6744 h 10000"/>
                  <a:gd name="connsiteX2416" fmla="*/ 0 w 10785"/>
                  <a:gd name="connsiteY2416" fmla="*/ 6769 h 10000"/>
                  <a:gd name="connsiteX2417" fmla="*/ 5 w 10785"/>
                  <a:gd name="connsiteY2417" fmla="*/ 6778 h 10000"/>
                  <a:gd name="connsiteX2418" fmla="*/ 32 w 10785"/>
                  <a:gd name="connsiteY2418" fmla="*/ 6778 h 10000"/>
                  <a:gd name="connsiteX2419" fmla="*/ 46 w 10785"/>
                  <a:gd name="connsiteY2419" fmla="*/ 6821 h 10000"/>
                  <a:gd name="connsiteX2420" fmla="*/ 46 w 10785"/>
                  <a:gd name="connsiteY2420" fmla="*/ 6855 h 10000"/>
                  <a:gd name="connsiteX2421" fmla="*/ 32 w 10785"/>
                  <a:gd name="connsiteY2421" fmla="*/ 6855 h 10000"/>
                  <a:gd name="connsiteX2422" fmla="*/ 14 w 10785"/>
                  <a:gd name="connsiteY2422" fmla="*/ 6821 h 10000"/>
                  <a:gd name="connsiteX2423" fmla="*/ 14 w 10785"/>
                  <a:gd name="connsiteY2423" fmla="*/ 6846 h 10000"/>
                  <a:gd name="connsiteX2424" fmla="*/ 0 w 10785"/>
                  <a:gd name="connsiteY2424" fmla="*/ 6897 h 10000"/>
                  <a:gd name="connsiteX2425" fmla="*/ 0 w 10785"/>
                  <a:gd name="connsiteY2425" fmla="*/ 6915 h 10000"/>
                  <a:gd name="connsiteX2426" fmla="*/ 5 w 10785"/>
                  <a:gd name="connsiteY2426" fmla="*/ 6932 h 10000"/>
                  <a:gd name="connsiteX2427" fmla="*/ 14 w 10785"/>
                  <a:gd name="connsiteY2427" fmla="*/ 6940 h 10000"/>
                  <a:gd name="connsiteX2428" fmla="*/ 18 w 10785"/>
                  <a:gd name="connsiteY2428" fmla="*/ 6957 h 10000"/>
                  <a:gd name="connsiteX2429" fmla="*/ 28 w 10785"/>
                  <a:gd name="connsiteY2429" fmla="*/ 6966 h 10000"/>
                  <a:gd name="connsiteX2430" fmla="*/ 28 w 10785"/>
                  <a:gd name="connsiteY2430" fmla="*/ 6983 h 10000"/>
                  <a:gd name="connsiteX2431" fmla="*/ 18 w 10785"/>
                  <a:gd name="connsiteY2431" fmla="*/ 7051 h 10000"/>
                  <a:gd name="connsiteX2432" fmla="*/ 28 w 10785"/>
                  <a:gd name="connsiteY2432" fmla="*/ 7068 h 10000"/>
                  <a:gd name="connsiteX2433" fmla="*/ 32 w 10785"/>
                  <a:gd name="connsiteY2433" fmla="*/ 7068 h 10000"/>
                  <a:gd name="connsiteX2434" fmla="*/ 32 w 10785"/>
                  <a:gd name="connsiteY2434" fmla="*/ 7094 h 10000"/>
                  <a:gd name="connsiteX2435" fmla="*/ 60 w 10785"/>
                  <a:gd name="connsiteY2435" fmla="*/ 7162 h 10000"/>
                  <a:gd name="connsiteX2436" fmla="*/ 60 w 10785"/>
                  <a:gd name="connsiteY2436" fmla="*/ 7231 h 10000"/>
                  <a:gd name="connsiteX2437" fmla="*/ 60 w 10785"/>
                  <a:gd name="connsiteY2437" fmla="*/ 7239 h 10000"/>
                  <a:gd name="connsiteX2438" fmla="*/ 78 w 10785"/>
                  <a:gd name="connsiteY2438" fmla="*/ 7239 h 10000"/>
                  <a:gd name="connsiteX2439" fmla="*/ 88 w 10785"/>
                  <a:gd name="connsiteY2439" fmla="*/ 7239 h 10000"/>
                  <a:gd name="connsiteX2440" fmla="*/ 92 w 10785"/>
                  <a:gd name="connsiteY2440" fmla="*/ 7256 h 10000"/>
                  <a:gd name="connsiteX2441" fmla="*/ 111 w 10785"/>
                  <a:gd name="connsiteY2441" fmla="*/ 7256 h 10000"/>
                  <a:gd name="connsiteX2442" fmla="*/ 120 w 10785"/>
                  <a:gd name="connsiteY2442" fmla="*/ 7256 h 10000"/>
                  <a:gd name="connsiteX2443" fmla="*/ 134 w 10785"/>
                  <a:gd name="connsiteY2443" fmla="*/ 7282 h 10000"/>
                  <a:gd name="connsiteX2444" fmla="*/ 134 w 10785"/>
                  <a:gd name="connsiteY2444" fmla="*/ 7316 h 10000"/>
                  <a:gd name="connsiteX2445" fmla="*/ 152 w 10785"/>
                  <a:gd name="connsiteY2445" fmla="*/ 7299 h 10000"/>
                  <a:gd name="connsiteX2446" fmla="*/ 161 w 10785"/>
                  <a:gd name="connsiteY2446" fmla="*/ 7299 h 10000"/>
                  <a:gd name="connsiteX2447" fmla="*/ 166 w 10785"/>
                  <a:gd name="connsiteY2447" fmla="*/ 7291 h 10000"/>
                  <a:gd name="connsiteX2448" fmla="*/ 194 w 10785"/>
                  <a:gd name="connsiteY2448" fmla="*/ 7291 h 10000"/>
                  <a:gd name="connsiteX2449" fmla="*/ 207 w 10785"/>
                  <a:gd name="connsiteY2449" fmla="*/ 7299 h 10000"/>
                  <a:gd name="connsiteX2450" fmla="*/ 221 w 10785"/>
                  <a:gd name="connsiteY2450" fmla="*/ 7342 h 10000"/>
                  <a:gd name="connsiteX2451" fmla="*/ 235 w 10785"/>
                  <a:gd name="connsiteY2451" fmla="*/ 7342 h 10000"/>
                  <a:gd name="connsiteX2452" fmla="*/ 235 w 10785"/>
                  <a:gd name="connsiteY2452" fmla="*/ 7368 h 10000"/>
                  <a:gd name="connsiteX2453" fmla="*/ 226 w 10785"/>
                  <a:gd name="connsiteY2453" fmla="*/ 7393 h 10000"/>
                  <a:gd name="connsiteX2454" fmla="*/ 226 w 10785"/>
                  <a:gd name="connsiteY2454" fmla="*/ 7402 h 10000"/>
                  <a:gd name="connsiteX2455" fmla="*/ 235 w 10785"/>
                  <a:gd name="connsiteY2455" fmla="*/ 7419 h 10000"/>
                  <a:gd name="connsiteX2456" fmla="*/ 240 w 10785"/>
                  <a:gd name="connsiteY2456" fmla="*/ 7436 h 10000"/>
                  <a:gd name="connsiteX2457" fmla="*/ 235 w 10785"/>
                  <a:gd name="connsiteY2457" fmla="*/ 7462 h 10000"/>
                  <a:gd name="connsiteX2458" fmla="*/ 226 w 10785"/>
                  <a:gd name="connsiteY2458" fmla="*/ 7479 h 10000"/>
                  <a:gd name="connsiteX2459" fmla="*/ 226 w 10785"/>
                  <a:gd name="connsiteY2459" fmla="*/ 7504 h 10000"/>
                  <a:gd name="connsiteX2460" fmla="*/ 226 w 10785"/>
                  <a:gd name="connsiteY2460" fmla="*/ 7513 h 10000"/>
                  <a:gd name="connsiteX2461" fmla="*/ 240 w 10785"/>
                  <a:gd name="connsiteY2461" fmla="*/ 7538 h 10000"/>
                  <a:gd name="connsiteX2462" fmla="*/ 267 w 10785"/>
                  <a:gd name="connsiteY2462" fmla="*/ 7641 h 10000"/>
                  <a:gd name="connsiteX2463" fmla="*/ 281 w 10785"/>
                  <a:gd name="connsiteY2463" fmla="*/ 7667 h 10000"/>
                  <a:gd name="connsiteX2464" fmla="*/ 286 w 10785"/>
                  <a:gd name="connsiteY2464" fmla="*/ 7675 h 10000"/>
                  <a:gd name="connsiteX2465" fmla="*/ 286 w 10785"/>
                  <a:gd name="connsiteY2465" fmla="*/ 7692 h 10000"/>
                  <a:gd name="connsiteX2466" fmla="*/ 286 w 10785"/>
                  <a:gd name="connsiteY2466" fmla="*/ 7709 h 10000"/>
                  <a:gd name="connsiteX2467" fmla="*/ 295 w 10785"/>
                  <a:gd name="connsiteY2467" fmla="*/ 7726 h 10000"/>
                  <a:gd name="connsiteX2468" fmla="*/ 318 w 10785"/>
                  <a:gd name="connsiteY2468" fmla="*/ 7709 h 10000"/>
                  <a:gd name="connsiteX2469" fmla="*/ 327 w 10785"/>
                  <a:gd name="connsiteY2469" fmla="*/ 7726 h 10000"/>
                  <a:gd name="connsiteX2470" fmla="*/ 341 w 10785"/>
                  <a:gd name="connsiteY2470" fmla="*/ 7735 h 10000"/>
                  <a:gd name="connsiteX2471" fmla="*/ 332 w 10785"/>
                  <a:gd name="connsiteY2471" fmla="*/ 7752 h 10000"/>
                  <a:gd name="connsiteX2472" fmla="*/ 341 w 10785"/>
                  <a:gd name="connsiteY2472" fmla="*/ 7761 h 10000"/>
                  <a:gd name="connsiteX2473" fmla="*/ 355 w 10785"/>
                  <a:gd name="connsiteY2473" fmla="*/ 7761 h 10000"/>
                  <a:gd name="connsiteX2474" fmla="*/ 355 w 10785"/>
                  <a:gd name="connsiteY2474" fmla="*/ 7803 h 10000"/>
                  <a:gd name="connsiteX2475" fmla="*/ 313 w 10785"/>
                  <a:gd name="connsiteY2475" fmla="*/ 7846 h 10000"/>
                  <a:gd name="connsiteX2476" fmla="*/ 295 w 10785"/>
                  <a:gd name="connsiteY2476" fmla="*/ 7846 h 10000"/>
                  <a:gd name="connsiteX2477" fmla="*/ 281 w 10785"/>
                  <a:gd name="connsiteY2477" fmla="*/ 7821 h 10000"/>
                  <a:gd name="connsiteX2478" fmla="*/ 272 w 10785"/>
                  <a:gd name="connsiteY2478" fmla="*/ 7821 h 10000"/>
                  <a:gd name="connsiteX2479" fmla="*/ 267 w 10785"/>
                  <a:gd name="connsiteY2479" fmla="*/ 7838 h 10000"/>
                  <a:gd name="connsiteX2480" fmla="*/ 258 w 10785"/>
                  <a:gd name="connsiteY2480" fmla="*/ 7846 h 10000"/>
                  <a:gd name="connsiteX2481" fmla="*/ 253 w 10785"/>
                  <a:gd name="connsiteY2481" fmla="*/ 7863 h 10000"/>
                  <a:gd name="connsiteX2482" fmla="*/ 253 w 10785"/>
                  <a:gd name="connsiteY2482" fmla="*/ 7872 h 10000"/>
                  <a:gd name="connsiteX2483" fmla="*/ 267 w 10785"/>
                  <a:gd name="connsiteY2483" fmla="*/ 7897 h 10000"/>
                  <a:gd name="connsiteX2484" fmla="*/ 272 w 10785"/>
                  <a:gd name="connsiteY2484" fmla="*/ 7915 h 10000"/>
                  <a:gd name="connsiteX2485" fmla="*/ 267 w 10785"/>
                  <a:gd name="connsiteY2485" fmla="*/ 7940 h 10000"/>
                  <a:gd name="connsiteX2486" fmla="*/ 272 w 10785"/>
                  <a:gd name="connsiteY2486" fmla="*/ 7949 h 10000"/>
                  <a:gd name="connsiteX2487" fmla="*/ 272 w 10785"/>
                  <a:gd name="connsiteY2487" fmla="*/ 7957 h 10000"/>
                  <a:gd name="connsiteX2488" fmla="*/ 281 w 10785"/>
                  <a:gd name="connsiteY2488" fmla="*/ 7974 h 10000"/>
                  <a:gd name="connsiteX2489" fmla="*/ 286 w 10785"/>
                  <a:gd name="connsiteY2489" fmla="*/ 7983 h 10000"/>
                  <a:gd name="connsiteX2490" fmla="*/ 281 w 10785"/>
                  <a:gd name="connsiteY2490" fmla="*/ 8009 h 10000"/>
                  <a:gd name="connsiteX2491" fmla="*/ 286 w 10785"/>
                  <a:gd name="connsiteY2491" fmla="*/ 8060 h 10000"/>
                  <a:gd name="connsiteX2492" fmla="*/ 286 w 10785"/>
                  <a:gd name="connsiteY2492" fmla="*/ 8060 h 10000"/>
                  <a:gd name="connsiteX2493" fmla="*/ 295 w 10785"/>
                  <a:gd name="connsiteY2493" fmla="*/ 8077 h 10000"/>
                  <a:gd name="connsiteX2494" fmla="*/ 309 w 10785"/>
                  <a:gd name="connsiteY2494" fmla="*/ 8077 h 10000"/>
                  <a:gd name="connsiteX2495" fmla="*/ 313 w 10785"/>
                  <a:gd name="connsiteY2495" fmla="*/ 8060 h 10000"/>
                  <a:gd name="connsiteX2496" fmla="*/ 318 w 10785"/>
                  <a:gd name="connsiteY2496" fmla="*/ 8051 h 10000"/>
                  <a:gd name="connsiteX2497" fmla="*/ 318 w 10785"/>
                  <a:gd name="connsiteY2497" fmla="*/ 8034 h 10000"/>
                  <a:gd name="connsiteX2498" fmla="*/ 332 w 10785"/>
                  <a:gd name="connsiteY2498" fmla="*/ 8026 h 10000"/>
                  <a:gd name="connsiteX2499" fmla="*/ 359 w 10785"/>
                  <a:gd name="connsiteY2499" fmla="*/ 8034 h 10000"/>
                  <a:gd name="connsiteX2500" fmla="*/ 378 w 10785"/>
                  <a:gd name="connsiteY2500" fmla="*/ 8026 h 10000"/>
                  <a:gd name="connsiteX2501" fmla="*/ 401 w 10785"/>
                  <a:gd name="connsiteY2501" fmla="*/ 8026 h 10000"/>
                  <a:gd name="connsiteX2502" fmla="*/ 419 w 10785"/>
                  <a:gd name="connsiteY2502" fmla="*/ 8009 h 10000"/>
                  <a:gd name="connsiteX2503" fmla="*/ 433 w 10785"/>
                  <a:gd name="connsiteY2503" fmla="*/ 8034 h 10000"/>
                  <a:gd name="connsiteX2504" fmla="*/ 442 w 10785"/>
                  <a:gd name="connsiteY2504" fmla="*/ 8060 h 10000"/>
                  <a:gd name="connsiteX2505" fmla="*/ 442 w 10785"/>
                  <a:gd name="connsiteY2505" fmla="*/ 8077 h 10000"/>
                  <a:gd name="connsiteX2506" fmla="*/ 461 w 10785"/>
                  <a:gd name="connsiteY2506" fmla="*/ 8111 h 10000"/>
                  <a:gd name="connsiteX2507" fmla="*/ 461 w 10785"/>
                  <a:gd name="connsiteY2507" fmla="*/ 8137 h 10000"/>
                  <a:gd name="connsiteX2508" fmla="*/ 447 w 10785"/>
                  <a:gd name="connsiteY2508" fmla="*/ 8145 h 10000"/>
                  <a:gd name="connsiteX2509" fmla="*/ 442 w 10785"/>
                  <a:gd name="connsiteY2509" fmla="*/ 8145 h 10000"/>
                  <a:gd name="connsiteX2510" fmla="*/ 442 w 10785"/>
                  <a:gd name="connsiteY2510" fmla="*/ 8162 h 10000"/>
                  <a:gd name="connsiteX2511" fmla="*/ 442 w 10785"/>
                  <a:gd name="connsiteY2511" fmla="*/ 8171 h 10000"/>
                  <a:gd name="connsiteX2512" fmla="*/ 447 w 10785"/>
                  <a:gd name="connsiteY2512" fmla="*/ 8214 h 10000"/>
                  <a:gd name="connsiteX2513" fmla="*/ 465 w 10785"/>
                  <a:gd name="connsiteY2513" fmla="*/ 8231 h 10000"/>
                  <a:gd name="connsiteX2514" fmla="*/ 488 w 10785"/>
                  <a:gd name="connsiteY2514" fmla="*/ 8231 h 10000"/>
                  <a:gd name="connsiteX2515" fmla="*/ 493 w 10785"/>
                  <a:gd name="connsiteY2515" fmla="*/ 8231 h 10000"/>
                  <a:gd name="connsiteX2516" fmla="*/ 502 w 10785"/>
                  <a:gd name="connsiteY2516" fmla="*/ 8231 h 10000"/>
                  <a:gd name="connsiteX2517" fmla="*/ 507 w 10785"/>
                  <a:gd name="connsiteY2517" fmla="*/ 8248 h 10000"/>
                  <a:gd name="connsiteX2518" fmla="*/ 521 w 10785"/>
                  <a:gd name="connsiteY2518" fmla="*/ 8274 h 10000"/>
                  <a:gd name="connsiteX2519" fmla="*/ 525 w 10785"/>
                  <a:gd name="connsiteY2519" fmla="*/ 8333 h 10000"/>
                  <a:gd name="connsiteX2520" fmla="*/ 525 w 10785"/>
                  <a:gd name="connsiteY2520" fmla="*/ 8359 h 10000"/>
                  <a:gd name="connsiteX2521" fmla="*/ 525 w 10785"/>
                  <a:gd name="connsiteY2521" fmla="*/ 8368 h 10000"/>
                  <a:gd name="connsiteX2522" fmla="*/ 548 w 10785"/>
                  <a:gd name="connsiteY2522" fmla="*/ 8393 h 10000"/>
                  <a:gd name="connsiteX2523" fmla="*/ 553 w 10785"/>
                  <a:gd name="connsiteY2523" fmla="*/ 8385 h 10000"/>
                  <a:gd name="connsiteX2524" fmla="*/ 562 w 10785"/>
                  <a:gd name="connsiteY2524" fmla="*/ 8385 h 10000"/>
                  <a:gd name="connsiteX2525" fmla="*/ 576 w 10785"/>
                  <a:gd name="connsiteY2525" fmla="*/ 8385 h 10000"/>
                  <a:gd name="connsiteX2526" fmla="*/ 585 w 10785"/>
                  <a:gd name="connsiteY2526" fmla="*/ 8410 h 10000"/>
                  <a:gd name="connsiteX2527" fmla="*/ 594 w 10785"/>
                  <a:gd name="connsiteY2527" fmla="*/ 8410 h 10000"/>
                  <a:gd name="connsiteX2528" fmla="*/ 608 w 10785"/>
                  <a:gd name="connsiteY2528" fmla="*/ 8410 h 10000"/>
                  <a:gd name="connsiteX2529" fmla="*/ 654 w 10785"/>
                  <a:gd name="connsiteY2529" fmla="*/ 8385 h 10000"/>
                  <a:gd name="connsiteX2530" fmla="*/ 659 w 10785"/>
                  <a:gd name="connsiteY2530" fmla="*/ 8385 h 10000"/>
                  <a:gd name="connsiteX2531" fmla="*/ 696 w 10785"/>
                  <a:gd name="connsiteY2531" fmla="*/ 8470 h 10000"/>
                  <a:gd name="connsiteX2532" fmla="*/ 700 w 10785"/>
                  <a:gd name="connsiteY2532" fmla="*/ 8470 h 10000"/>
                  <a:gd name="connsiteX2533" fmla="*/ 710 w 10785"/>
                  <a:gd name="connsiteY2533" fmla="*/ 8462 h 10000"/>
                  <a:gd name="connsiteX2534" fmla="*/ 714 w 10785"/>
                  <a:gd name="connsiteY2534" fmla="*/ 8462 h 10000"/>
                  <a:gd name="connsiteX2535" fmla="*/ 724 w 10785"/>
                  <a:gd name="connsiteY2535" fmla="*/ 8470 h 10000"/>
                  <a:gd name="connsiteX2536" fmla="*/ 733 w 10785"/>
                  <a:gd name="connsiteY2536" fmla="*/ 8470 h 10000"/>
                  <a:gd name="connsiteX2537" fmla="*/ 742 w 10785"/>
                  <a:gd name="connsiteY2537" fmla="*/ 8487 h 10000"/>
                  <a:gd name="connsiteX2538" fmla="*/ 747 w 10785"/>
                  <a:gd name="connsiteY2538" fmla="*/ 8496 h 10000"/>
                  <a:gd name="connsiteX2539" fmla="*/ 770 w 10785"/>
                  <a:gd name="connsiteY2539" fmla="*/ 8496 h 10000"/>
                  <a:gd name="connsiteX2540" fmla="*/ 783 w 10785"/>
                  <a:gd name="connsiteY2540" fmla="*/ 8521 h 10000"/>
                  <a:gd name="connsiteX2541" fmla="*/ 797 w 10785"/>
                  <a:gd name="connsiteY2541" fmla="*/ 8521 h 10000"/>
                  <a:gd name="connsiteX2542" fmla="*/ 806 w 10785"/>
                  <a:gd name="connsiteY2542" fmla="*/ 8530 h 10000"/>
                  <a:gd name="connsiteX2543" fmla="*/ 829 w 10785"/>
                  <a:gd name="connsiteY2543" fmla="*/ 8547 h 10000"/>
                  <a:gd name="connsiteX2544" fmla="*/ 834 w 10785"/>
                  <a:gd name="connsiteY2544" fmla="*/ 8556 h 10000"/>
                  <a:gd name="connsiteX2545" fmla="*/ 829 w 10785"/>
                  <a:gd name="connsiteY2545" fmla="*/ 8556 h 10000"/>
                  <a:gd name="connsiteX2546" fmla="*/ 834 w 10785"/>
                  <a:gd name="connsiteY2546" fmla="*/ 8607 h 10000"/>
                  <a:gd name="connsiteX2547" fmla="*/ 829 w 10785"/>
                  <a:gd name="connsiteY2547" fmla="*/ 8641 h 10000"/>
                  <a:gd name="connsiteX2548" fmla="*/ 806 w 10785"/>
                  <a:gd name="connsiteY2548" fmla="*/ 8658 h 10000"/>
                  <a:gd name="connsiteX2549" fmla="*/ 816 w 10785"/>
                  <a:gd name="connsiteY2549" fmla="*/ 8667 h 10000"/>
                  <a:gd name="connsiteX2550" fmla="*/ 820 w 10785"/>
                  <a:gd name="connsiteY2550" fmla="*/ 8667 h 10000"/>
                  <a:gd name="connsiteX2551" fmla="*/ 829 w 10785"/>
                  <a:gd name="connsiteY2551" fmla="*/ 8684 h 10000"/>
                  <a:gd name="connsiteX2552" fmla="*/ 806 w 10785"/>
                  <a:gd name="connsiteY2552" fmla="*/ 8692 h 10000"/>
                  <a:gd name="connsiteX2553" fmla="*/ 802 w 10785"/>
                  <a:gd name="connsiteY2553" fmla="*/ 8709 h 10000"/>
                  <a:gd name="connsiteX2554" fmla="*/ 802 w 10785"/>
                  <a:gd name="connsiteY2554" fmla="*/ 8735 h 10000"/>
                  <a:gd name="connsiteX2555" fmla="*/ 806 w 10785"/>
                  <a:gd name="connsiteY2555" fmla="*/ 8744 h 10000"/>
                  <a:gd name="connsiteX2556" fmla="*/ 816 w 10785"/>
                  <a:gd name="connsiteY2556" fmla="*/ 8752 h 10000"/>
                  <a:gd name="connsiteX2557" fmla="*/ 806 w 10785"/>
                  <a:gd name="connsiteY2557" fmla="*/ 8778 h 10000"/>
                  <a:gd name="connsiteX2558" fmla="*/ 820 w 10785"/>
                  <a:gd name="connsiteY2558" fmla="*/ 8778 h 10000"/>
                  <a:gd name="connsiteX2559" fmla="*/ 806 w 10785"/>
                  <a:gd name="connsiteY2559" fmla="*/ 8880 h 10000"/>
                  <a:gd name="connsiteX2560" fmla="*/ 797 w 10785"/>
                  <a:gd name="connsiteY2560" fmla="*/ 8880 h 10000"/>
                  <a:gd name="connsiteX2561" fmla="*/ 783 w 10785"/>
                  <a:gd name="connsiteY2561" fmla="*/ 8872 h 10000"/>
                  <a:gd name="connsiteX2562" fmla="*/ 770 w 10785"/>
                  <a:gd name="connsiteY2562" fmla="*/ 8880 h 10000"/>
                  <a:gd name="connsiteX2563" fmla="*/ 756 w 10785"/>
                  <a:gd name="connsiteY2563" fmla="*/ 8855 h 10000"/>
                  <a:gd name="connsiteX2564" fmla="*/ 733 w 10785"/>
                  <a:gd name="connsiteY2564" fmla="*/ 8906 h 10000"/>
                  <a:gd name="connsiteX2565" fmla="*/ 714 w 10785"/>
                  <a:gd name="connsiteY2565" fmla="*/ 8915 h 10000"/>
                  <a:gd name="connsiteX2566" fmla="*/ 710 w 10785"/>
                  <a:gd name="connsiteY2566" fmla="*/ 8940 h 10000"/>
                  <a:gd name="connsiteX2567" fmla="*/ 710 w 10785"/>
                  <a:gd name="connsiteY2567" fmla="*/ 9009 h 10000"/>
                  <a:gd name="connsiteX2568" fmla="*/ 728 w 10785"/>
                  <a:gd name="connsiteY2568" fmla="*/ 8991 h 10000"/>
                  <a:gd name="connsiteX2569" fmla="*/ 733 w 10785"/>
                  <a:gd name="connsiteY2569" fmla="*/ 8991 h 10000"/>
                  <a:gd name="connsiteX2570" fmla="*/ 747 w 10785"/>
                  <a:gd name="connsiteY2570" fmla="*/ 8983 h 10000"/>
                  <a:gd name="connsiteX2571" fmla="*/ 760 w 10785"/>
                  <a:gd name="connsiteY2571" fmla="*/ 8983 h 10000"/>
                  <a:gd name="connsiteX2572" fmla="*/ 770 w 10785"/>
                  <a:gd name="connsiteY2572" fmla="*/ 8983 h 10000"/>
                  <a:gd name="connsiteX2573" fmla="*/ 770 w 10785"/>
                  <a:gd name="connsiteY2573" fmla="*/ 8991 h 10000"/>
                  <a:gd name="connsiteX2574" fmla="*/ 783 w 10785"/>
                  <a:gd name="connsiteY2574" fmla="*/ 8991 h 10000"/>
                  <a:gd name="connsiteX2575" fmla="*/ 783 w 10785"/>
                  <a:gd name="connsiteY2575" fmla="*/ 9009 h 10000"/>
                  <a:gd name="connsiteX2576" fmla="*/ 783 w 10785"/>
                  <a:gd name="connsiteY2576" fmla="*/ 9017 h 10000"/>
                  <a:gd name="connsiteX2577" fmla="*/ 770 w 10785"/>
                  <a:gd name="connsiteY2577" fmla="*/ 9017 h 10000"/>
                  <a:gd name="connsiteX2578" fmla="*/ 724 w 10785"/>
                  <a:gd name="connsiteY2578" fmla="*/ 9051 h 10000"/>
                  <a:gd name="connsiteX2579" fmla="*/ 724 w 10785"/>
                  <a:gd name="connsiteY2579" fmla="*/ 9068 h 10000"/>
                  <a:gd name="connsiteX2580" fmla="*/ 728 w 10785"/>
                  <a:gd name="connsiteY2580" fmla="*/ 9077 h 10000"/>
                  <a:gd name="connsiteX2581" fmla="*/ 724 w 10785"/>
                  <a:gd name="connsiteY2581" fmla="*/ 9077 h 10000"/>
                  <a:gd name="connsiteX2582" fmla="*/ 710 w 10785"/>
                  <a:gd name="connsiteY2582" fmla="*/ 9077 h 10000"/>
                  <a:gd name="connsiteX2583" fmla="*/ 682 w 10785"/>
                  <a:gd name="connsiteY2583" fmla="*/ 9077 h 10000"/>
                  <a:gd name="connsiteX2584" fmla="*/ 673 w 10785"/>
                  <a:gd name="connsiteY2584" fmla="*/ 9103 h 10000"/>
                  <a:gd name="connsiteX2585" fmla="*/ 687 w 10785"/>
                  <a:gd name="connsiteY2585" fmla="*/ 9128 h 10000"/>
                  <a:gd name="connsiteX2586" fmla="*/ 700 w 10785"/>
                  <a:gd name="connsiteY2586" fmla="*/ 9128 h 10000"/>
                  <a:gd name="connsiteX2587" fmla="*/ 728 w 10785"/>
                  <a:gd name="connsiteY2587" fmla="*/ 9179 h 10000"/>
                  <a:gd name="connsiteX2588" fmla="*/ 724 w 10785"/>
                  <a:gd name="connsiteY2588" fmla="*/ 9188 h 10000"/>
                  <a:gd name="connsiteX2589" fmla="*/ 710 w 10785"/>
                  <a:gd name="connsiteY2589" fmla="*/ 9179 h 10000"/>
                  <a:gd name="connsiteX2590" fmla="*/ 700 w 10785"/>
                  <a:gd name="connsiteY2590" fmla="*/ 9205 h 10000"/>
                  <a:gd name="connsiteX2591" fmla="*/ 696 w 10785"/>
                  <a:gd name="connsiteY2591" fmla="*/ 9205 h 10000"/>
                  <a:gd name="connsiteX2592" fmla="*/ 654 w 10785"/>
                  <a:gd name="connsiteY2592" fmla="*/ 9299 h 10000"/>
                  <a:gd name="connsiteX2593" fmla="*/ 622 w 10785"/>
                  <a:gd name="connsiteY2593" fmla="*/ 9299 h 10000"/>
                  <a:gd name="connsiteX2594" fmla="*/ 613 w 10785"/>
                  <a:gd name="connsiteY2594" fmla="*/ 9316 h 10000"/>
                  <a:gd name="connsiteX2595" fmla="*/ 613 w 10785"/>
                  <a:gd name="connsiteY2595" fmla="*/ 9325 h 10000"/>
                  <a:gd name="connsiteX2596" fmla="*/ 608 w 10785"/>
                  <a:gd name="connsiteY2596" fmla="*/ 9342 h 10000"/>
                  <a:gd name="connsiteX2597" fmla="*/ 636 w 10785"/>
                  <a:gd name="connsiteY2597" fmla="*/ 9376 h 10000"/>
                  <a:gd name="connsiteX2598" fmla="*/ 641 w 10785"/>
                  <a:gd name="connsiteY2598" fmla="*/ 9402 h 10000"/>
                  <a:gd name="connsiteX2599" fmla="*/ 654 w 10785"/>
                  <a:gd name="connsiteY2599" fmla="*/ 9427 h 10000"/>
                  <a:gd name="connsiteX2600" fmla="*/ 668 w 10785"/>
                  <a:gd name="connsiteY2600" fmla="*/ 9427 h 10000"/>
                  <a:gd name="connsiteX2601" fmla="*/ 668 w 10785"/>
                  <a:gd name="connsiteY2601" fmla="*/ 9427 h 10000"/>
                  <a:gd name="connsiteX2602" fmla="*/ 774 w 10785"/>
                  <a:gd name="connsiteY2602" fmla="*/ 9547 h 10000"/>
                  <a:gd name="connsiteX2603" fmla="*/ 797 w 10785"/>
                  <a:gd name="connsiteY2603" fmla="*/ 9598 h 10000"/>
                  <a:gd name="connsiteX2604" fmla="*/ 802 w 10785"/>
                  <a:gd name="connsiteY2604" fmla="*/ 9598 h 10000"/>
                  <a:gd name="connsiteX2605" fmla="*/ 816 w 10785"/>
                  <a:gd name="connsiteY2605" fmla="*/ 9624 h 10000"/>
                  <a:gd name="connsiteX2606" fmla="*/ 843 w 10785"/>
                  <a:gd name="connsiteY2606" fmla="*/ 9615 h 10000"/>
                  <a:gd name="connsiteX2607" fmla="*/ 857 w 10785"/>
                  <a:gd name="connsiteY2607" fmla="*/ 9624 h 10000"/>
                  <a:gd name="connsiteX2608" fmla="*/ 862 w 10785"/>
                  <a:gd name="connsiteY2608" fmla="*/ 9615 h 10000"/>
                  <a:gd name="connsiteX2609" fmla="*/ 880 w 10785"/>
                  <a:gd name="connsiteY2609" fmla="*/ 9624 h 10000"/>
                  <a:gd name="connsiteX2610" fmla="*/ 889 w 10785"/>
                  <a:gd name="connsiteY2610" fmla="*/ 9641 h 10000"/>
                  <a:gd name="connsiteX2611" fmla="*/ 935 w 10785"/>
                  <a:gd name="connsiteY2611" fmla="*/ 9675 h 10000"/>
                  <a:gd name="connsiteX2612" fmla="*/ 977 w 10785"/>
                  <a:gd name="connsiteY2612" fmla="*/ 9667 h 10000"/>
                  <a:gd name="connsiteX2613" fmla="*/ 995 w 10785"/>
                  <a:gd name="connsiteY2613" fmla="*/ 9675 h 10000"/>
                  <a:gd name="connsiteX2614" fmla="*/ 1014 w 10785"/>
                  <a:gd name="connsiteY2614" fmla="*/ 9675 h 10000"/>
                  <a:gd name="connsiteX2615" fmla="*/ 1069 w 10785"/>
                  <a:gd name="connsiteY2615" fmla="*/ 9752 h 10000"/>
                  <a:gd name="connsiteX2616" fmla="*/ 1074 w 10785"/>
                  <a:gd name="connsiteY2616" fmla="*/ 9761 h 10000"/>
                  <a:gd name="connsiteX2617" fmla="*/ 1083 w 10785"/>
                  <a:gd name="connsiteY2617" fmla="*/ 9778 h 10000"/>
                  <a:gd name="connsiteX2618" fmla="*/ 1115 w 10785"/>
                  <a:gd name="connsiteY2618" fmla="*/ 9752 h 10000"/>
                  <a:gd name="connsiteX2619" fmla="*/ 1129 w 10785"/>
                  <a:gd name="connsiteY2619" fmla="*/ 9752 h 10000"/>
                  <a:gd name="connsiteX2620" fmla="*/ 1138 w 10785"/>
                  <a:gd name="connsiteY2620" fmla="*/ 9761 h 10000"/>
                  <a:gd name="connsiteX2621" fmla="*/ 1143 w 10785"/>
                  <a:gd name="connsiteY2621" fmla="*/ 9752 h 10000"/>
                  <a:gd name="connsiteX2622" fmla="*/ 1161 w 10785"/>
                  <a:gd name="connsiteY2622" fmla="*/ 9761 h 10000"/>
                  <a:gd name="connsiteX2623" fmla="*/ 1171 w 10785"/>
                  <a:gd name="connsiteY2623" fmla="*/ 9778 h 10000"/>
                  <a:gd name="connsiteX2624" fmla="*/ 1175 w 10785"/>
                  <a:gd name="connsiteY2624" fmla="*/ 9778 h 10000"/>
                  <a:gd name="connsiteX2625" fmla="*/ 1189 w 10785"/>
                  <a:gd name="connsiteY2625" fmla="*/ 9778 h 10000"/>
                  <a:gd name="connsiteX2626" fmla="*/ 1198 w 10785"/>
                  <a:gd name="connsiteY2626" fmla="*/ 9786 h 10000"/>
                  <a:gd name="connsiteX2627" fmla="*/ 1203 w 10785"/>
                  <a:gd name="connsiteY2627" fmla="*/ 9803 h 10000"/>
                  <a:gd name="connsiteX2628" fmla="*/ 1198 w 10785"/>
                  <a:gd name="connsiteY2628" fmla="*/ 9838 h 10000"/>
                  <a:gd name="connsiteX2629" fmla="*/ 1212 w 10785"/>
                  <a:gd name="connsiteY2629" fmla="*/ 9863 h 10000"/>
                  <a:gd name="connsiteX2630" fmla="*/ 1230 w 10785"/>
                  <a:gd name="connsiteY2630" fmla="*/ 9872 h 10000"/>
                  <a:gd name="connsiteX2631" fmla="*/ 1249 w 10785"/>
                  <a:gd name="connsiteY2631" fmla="*/ 9897 h 10000"/>
                  <a:gd name="connsiteX2632" fmla="*/ 1263 w 10785"/>
                  <a:gd name="connsiteY2632" fmla="*/ 9897 h 10000"/>
                  <a:gd name="connsiteX2633" fmla="*/ 1276 w 10785"/>
                  <a:gd name="connsiteY2633" fmla="*/ 9923 h 10000"/>
                  <a:gd name="connsiteX2634" fmla="*/ 1281 w 10785"/>
                  <a:gd name="connsiteY2634" fmla="*/ 9949 h 10000"/>
                  <a:gd name="connsiteX2635" fmla="*/ 1290 w 10785"/>
                  <a:gd name="connsiteY2635" fmla="*/ 9949 h 10000"/>
                  <a:gd name="connsiteX2636" fmla="*/ 1295 w 10785"/>
                  <a:gd name="connsiteY2636" fmla="*/ 10000 h 10000"/>
                  <a:gd name="connsiteX2637" fmla="*/ 1332 w 10785"/>
                  <a:gd name="connsiteY2637" fmla="*/ 10000 h 10000"/>
                  <a:gd name="connsiteX2638" fmla="*/ 1336 w 10785"/>
                  <a:gd name="connsiteY2638" fmla="*/ 10000 h 10000"/>
                  <a:gd name="connsiteX2639" fmla="*/ 1346 w 10785"/>
                  <a:gd name="connsiteY2639" fmla="*/ 9983 h 10000"/>
                  <a:gd name="connsiteX2640" fmla="*/ 1350 w 10785"/>
                  <a:gd name="connsiteY2640" fmla="*/ 9949 h 10000"/>
                  <a:gd name="connsiteX2641" fmla="*/ 1369 w 10785"/>
                  <a:gd name="connsiteY2641" fmla="*/ 9940 h 10000"/>
                  <a:gd name="connsiteX2642" fmla="*/ 1378 w 10785"/>
                  <a:gd name="connsiteY2642" fmla="*/ 9897 h 10000"/>
                  <a:gd name="connsiteX2643" fmla="*/ 1369 w 10785"/>
                  <a:gd name="connsiteY2643" fmla="*/ 9889 h 10000"/>
                  <a:gd name="connsiteX2644" fmla="*/ 1318 w 10785"/>
                  <a:gd name="connsiteY2644" fmla="*/ 9701 h 10000"/>
                  <a:gd name="connsiteX2645" fmla="*/ 1318 w 10785"/>
                  <a:gd name="connsiteY2645" fmla="*/ 9650 h 10000"/>
                  <a:gd name="connsiteX2646" fmla="*/ 1323 w 10785"/>
                  <a:gd name="connsiteY2646" fmla="*/ 9590 h 10000"/>
                  <a:gd name="connsiteX2647" fmla="*/ 1323 w 10785"/>
                  <a:gd name="connsiteY2647" fmla="*/ 9564 h 10000"/>
                  <a:gd name="connsiteX2648" fmla="*/ 1309 w 10785"/>
                  <a:gd name="connsiteY2648" fmla="*/ 9598 h 10000"/>
                  <a:gd name="connsiteX2649" fmla="*/ 1309 w 10785"/>
                  <a:gd name="connsiteY2649" fmla="*/ 9590 h 10000"/>
                  <a:gd name="connsiteX2650" fmla="*/ 1304 w 10785"/>
                  <a:gd name="connsiteY2650" fmla="*/ 9547 h 10000"/>
                  <a:gd name="connsiteX2651" fmla="*/ 1276 w 10785"/>
                  <a:gd name="connsiteY2651" fmla="*/ 9479 h 10000"/>
                  <a:gd name="connsiteX2652" fmla="*/ 1263 w 10785"/>
                  <a:gd name="connsiteY2652" fmla="*/ 9479 h 10000"/>
                  <a:gd name="connsiteX2653" fmla="*/ 1263 w 10785"/>
                  <a:gd name="connsiteY2653" fmla="*/ 9453 h 10000"/>
                  <a:gd name="connsiteX2654" fmla="*/ 1272 w 10785"/>
                  <a:gd name="connsiteY2654" fmla="*/ 9410 h 10000"/>
                  <a:gd name="connsiteX2655" fmla="*/ 1272 w 10785"/>
                  <a:gd name="connsiteY2655" fmla="*/ 9393 h 10000"/>
                  <a:gd name="connsiteX2656" fmla="*/ 1281 w 10785"/>
                  <a:gd name="connsiteY2656" fmla="*/ 9368 h 10000"/>
                  <a:gd name="connsiteX2657" fmla="*/ 1281 w 10785"/>
                  <a:gd name="connsiteY2657" fmla="*/ 9368 h 10000"/>
                  <a:gd name="connsiteX2658" fmla="*/ 1290 w 10785"/>
                  <a:gd name="connsiteY2658" fmla="*/ 9368 h 10000"/>
                  <a:gd name="connsiteX2659" fmla="*/ 1290 w 10785"/>
                  <a:gd name="connsiteY2659" fmla="*/ 9342 h 10000"/>
                  <a:gd name="connsiteX2660" fmla="*/ 1304 w 10785"/>
                  <a:gd name="connsiteY2660" fmla="*/ 9325 h 10000"/>
                  <a:gd name="connsiteX2661" fmla="*/ 1309 w 10785"/>
                  <a:gd name="connsiteY2661" fmla="*/ 9239 h 10000"/>
                  <a:gd name="connsiteX2662" fmla="*/ 1318 w 10785"/>
                  <a:gd name="connsiteY2662" fmla="*/ 9256 h 10000"/>
                  <a:gd name="connsiteX2663" fmla="*/ 1323 w 10785"/>
                  <a:gd name="connsiteY2663" fmla="*/ 9179 h 10000"/>
                  <a:gd name="connsiteX2664" fmla="*/ 1309 w 10785"/>
                  <a:gd name="connsiteY2664" fmla="*/ 9145 h 10000"/>
                  <a:gd name="connsiteX2665" fmla="*/ 1336 w 10785"/>
                  <a:gd name="connsiteY2665" fmla="*/ 9154 h 10000"/>
                  <a:gd name="connsiteX2666" fmla="*/ 1336 w 10785"/>
                  <a:gd name="connsiteY2666" fmla="*/ 9162 h 10000"/>
                  <a:gd name="connsiteX2667" fmla="*/ 1350 w 10785"/>
                  <a:gd name="connsiteY2667" fmla="*/ 9231 h 10000"/>
                  <a:gd name="connsiteX2668" fmla="*/ 1355 w 10785"/>
                  <a:gd name="connsiteY2668" fmla="*/ 9231 h 10000"/>
                  <a:gd name="connsiteX2669" fmla="*/ 1364 w 10785"/>
                  <a:gd name="connsiteY2669" fmla="*/ 9214 h 10000"/>
                  <a:gd name="connsiteX2670" fmla="*/ 1369 w 10785"/>
                  <a:gd name="connsiteY2670" fmla="*/ 9214 h 10000"/>
                  <a:gd name="connsiteX2671" fmla="*/ 1382 w 10785"/>
                  <a:gd name="connsiteY2671" fmla="*/ 9154 h 10000"/>
                  <a:gd name="connsiteX2672" fmla="*/ 1396 w 10785"/>
                  <a:gd name="connsiteY2672" fmla="*/ 9154 h 10000"/>
                  <a:gd name="connsiteX2673" fmla="*/ 1382 w 10785"/>
                  <a:gd name="connsiteY2673" fmla="*/ 9145 h 10000"/>
                  <a:gd name="connsiteX2674" fmla="*/ 1382 w 10785"/>
                  <a:gd name="connsiteY2674" fmla="*/ 9128 h 10000"/>
                  <a:gd name="connsiteX2675" fmla="*/ 1369 w 10785"/>
                  <a:gd name="connsiteY2675" fmla="*/ 9128 h 10000"/>
                  <a:gd name="connsiteX2676" fmla="*/ 1364 w 10785"/>
                  <a:gd name="connsiteY2676" fmla="*/ 9128 h 10000"/>
                  <a:gd name="connsiteX2677" fmla="*/ 1355 w 10785"/>
                  <a:gd name="connsiteY2677" fmla="*/ 9120 h 10000"/>
                  <a:gd name="connsiteX2678" fmla="*/ 1350 w 10785"/>
                  <a:gd name="connsiteY2678" fmla="*/ 9103 h 10000"/>
                  <a:gd name="connsiteX2679" fmla="*/ 1355 w 10785"/>
                  <a:gd name="connsiteY2679" fmla="*/ 9094 h 10000"/>
                  <a:gd name="connsiteX2680" fmla="*/ 1355 w 10785"/>
                  <a:gd name="connsiteY2680" fmla="*/ 9068 h 10000"/>
                  <a:gd name="connsiteX2681" fmla="*/ 1369 w 10785"/>
                  <a:gd name="connsiteY2681" fmla="*/ 9068 h 10000"/>
                  <a:gd name="connsiteX2682" fmla="*/ 1378 w 10785"/>
                  <a:gd name="connsiteY2682" fmla="*/ 9077 h 10000"/>
                  <a:gd name="connsiteX2683" fmla="*/ 1396 w 10785"/>
                  <a:gd name="connsiteY2683" fmla="*/ 9068 h 10000"/>
                  <a:gd name="connsiteX2684" fmla="*/ 1382 w 10785"/>
                  <a:gd name="connsiteY2684" fmla="*/ 8940 h 10000"/>
                  <a:gd name="connsiteX2685" fmla="*/ 1378 w 10785"/>
                  <a:gd name="connsiteY2685" fmla="*/ 8940 h 10000"/>
                  <a:gd name="connsiteX2686" fmla="*/ 1364 w 10785"/>
                  <a:gd name="connsiteY2686" fmla="*/ 8889 h 10000"/>
                  <a:gd name="connsiteX2687" fmla="*/ 1355 w 10785"/>
                  <a:gd name="connsiteY2687" fmla="*/ 8880 h 10000"/>
                  <a:gd name="connsiteX2688" fmla="*/ 1323 w 10785"/>
                  <a:gd name="connsiteY2688" fmla="*/ 8880 h 10000"/>
                  <a:gd name="connsiteX2689" fmla="*/ 1309 w 10785"/>
                  <a:gd name="connsiteY2689" fmla="*/ 8880 h 10000"/>
                  <a:gd name="connsiteX2690" fmla="*/ 1309 w 10785"/>
                  <a:gd name="connsiteY2690" fmla="*/ 8889 h 10000"/>
                  <a:gd name="connsiteX2691" fmla="*/ 1295 w 10785"/>
                  <a:gd name="connsiteY2691" fmla="*/ 8872 h 10000"/>
                  <a:gd name="connsiteX2692" fmla="*/ 1290 w 10785"/>
                  <a:gd name="connsiteY2692" fmla="*/ 8855 h 10000"/>
                  <a:gd name="connsiteX2693" fmla="*/ 1290 w 10785"/>
                  <a:gd name="connsiteY2693" fmla="*/ 8829 h 10000"/>
                  <a:gd name="connsiteX2694" fmla="*/ 1290 w 10785"/>
                  <a:gd name="connsiteY2694" fmla="*/ 8821 h 10000"/>
                  <a:gd name="connsiteX2695" fmla="*/ 1290 w 10785"/>
                  <a:gd name="connsiteY2695" fmla="*/ 8803 h 10000"/>
                  <a:gd name="connsiteX2696" fmla="*/ 1281 w 10785"/>
                  <a:gd name="connsiteY2696" fmla="*/ 8795 h 10000"/>
                  <a:gd name="connsiteX2697" fmla="*/ 1249 w 10785"/>
                  <a:gd name="connsiteY2697" fmla="*/ 8769 h 10000"/>
                  <a:gd name="connsiteX2698" fmla="*/ 1263 w 10785"/>
                  <a:gd name="connsiteY2698" fmla="*/ 8667 h 10000"/>
                  <a:gd name="connsiteX2699" fmla="*/ 1281 w 10785"/>
                  <a:gd name="connsiteY2699" fmla="*/ 8658 h 10000"/>
                  <a:gd name="connsiteX2700" fmla="*/ 1290 w 10785"/>
                  <a:gd name="connsiteY2700" fmla="*/ 8632 h 10000"/>
                  <a:gd name="connsiteX2701" fmla="*/ 1281 w 10785"/>
                  <a:gd name="connsiteY2701" fmla="*/ 8615 h 10000"/>
                  <a:gd name="connsiteX2702" fmla="*/ 1272 w 10785"/>
                  <a:gd name="connsiteY2702" fmla="*/ 8598 h 10000"/>
                  <a:gd name="connsiteX2703" fmla="*/ 1281 w 10785"/>
                  <a:gd name="connsiteY2703" fmla="*/ 8496 h 10000"/>
                  <a:gd name="connsiteX2704" fmla="*/ 1295 w 10785"/>
                  <a:gd name="connsiteY2704" fmla="*/ 8470 h 10000"/>
                  <a:gd name="connsiteX2705" fmla="*/ 1304 w 10785"/>
                  <a:gd name="connsiteY2705" fmla="*/ 8462 h 10000"/>
                  <a:gd name="connsiteX2706" fmla="*/ 1304 w 10785"/>
                  <a:gd name="connsiteY2706" fmla="*/ 8444 h 10000"/>
                  <a:gd name="connsiteX2707" fmla="*/ 1304 w 10785"/>
                  <a:gd name="connsiteY2707" fmla="*/ 8419 h 10000"/>
                  <a:gd name="connsiteX2708" fmla="*/ 1304 w 10785"/>
                  <a:gd name="connsiteY2708" fmla="*/ 8410 h 10000"/>
                  <a:gd name="connsiteX2709" fmla="*/ 1309 w 10785"/>
                  <a:gd name="connsiteY2709" fmla="*/ 8393 h 10000"/>
                  <a:gd name="connsiteX2710" fmla="*/ 1318 w 10785"/>
                  <a:gd name="connsiteY2710" fmla="*/ 8385 h 10000"/>
                  <a:gd name="connsiteX2711" fmla="*/ 1323 w 10785"/>
                  <a:gd name="connsiteY2711" fmla="*/ 8385 h 10000"/>
                  <a:gd name="connsiteX2712" fmla="*/ 1332 w 10785"/>
                  <a:gd name="connsiteY2712" fmla="*/ 8410 h 10000"/>
                  <a:gd name="connsiteX2713" fmla="*/ 1346 w 10785"/>
                  <a:gd name="connsiteY2713" fmla="*/ 8419 h 10000"/>
                  <a:gd name="connsiteX2714" fmla="*/ 1364 w 10785"/>
                  <a:gd name="connsiteY2714" fmla="*/ 8504 h 10000"/>
                  <a:gd name="connsiteX2715" fmla="*/ 1369 w 10785"/>
                  <a:gd name="connsiteY2715" fmla="*/ 8521 h 10000"/>
                  <a:gd name="connsiteX2716" fmla="*/ 1406 w 10785"/>
                  <a:gd name="connsiteY2716" fmla="*/ 8470 h 10000"/>
                  <a:gd name="connsiteX2717" fmla="*/ 1382 w 10785"/>
                  <a:gd name="connsiteY2717" fmla="*/ 8359 h 10000"/>
                  <a:gd name="connsiteX2718" fmla="*/ 1392 w 10785"/>
                  <a:gd name="connsiteY2718" fmla="*/ 8359 h 10000"/>
                  <a:gd name="connsiteX2719" fmla="*/ 1438 w 10785"/>
                  <a:gd name="connsiteY2719" fmla="*/ 8308 h 10000"/>
                  <a:gd name="connsiteX2720" fmla="*/ 1442 w 10785"/>
                  <a:gd name="connsiteY2720" fmla="*/ 8299 h 10000"/>
                  <a:gd name="connsiteX2721" fmla="*/ 1442 w 10785"/>
                  <a:gd name="connsiteY2721" fmla="*/ 8256 h 10000"/>
                  <a:gd name="connsiteX2722" fmla="*/ 1452 w 10785"/>
                  <a:gd name="connsiteY2722" fmla="*/ 8256 h 10000"/>
                  <a:gd name="connsiteX2723" fmla="*/ 1456 w 10785"/>
                  <a:gd name="connsiteY2723" fmla="*/ 8256 h 10000"/>
                  <a:gd name="connsiteX2724" fmla="*/ 1470 w 10785"/>
                  <a:gd name="connsiteY2724" fmla="*/ 8248 h 10000"/>
                  <a:gd name="connsiteX2725" fmla="*/ 1479 w 10785"/>
                  <a:gd name="connsiteY2725" fmla="*/ 8231 h 10000"/>
                  <a:gd name="connsiteX2726" fmla="*/ 1493 w 10785"/>
                  <a:gd name="connsiteY2726" fmla="*/ 8222 h 10000"/>
                  <a:gd name="connsiteX2727" fmla="*/ 1498 w 10785"/>
                  <a:gd name="connsiteY2727" fmla="*/ 8214 h 10000"/>
                  <a:gd name="connsiteX2728" fmla="*/ 1502 w 10785"/>
                  <a:gd name="connsiteY2728" fmla="*/ 8197 h 10000"/>
                  <a:gd name="connsiteX2729" fmla="*/ 1512 w 10785"/>
                  <a:gd name="connsiteY2729" fmla="*/ 8188 h 10000"/>
                  <a:gd name="connsiteX2730" fmla="*/ 1516 w 10785"/>
                  <a:gd name="connsiteY2730" fmla="*/ 8171 h 10000"/>
                  <a:gd name="connsiteX2731" fmla="*/ 1525 w 10785"/>
                  <a:gd name="connsiteY2731" fmla="*/ 8162 h 10000"/>
                  <a:gd name="connsiteX2732" fmla="*/ 1539 w 10785"/>
                  <a:gd name="connsiteY2732" fmla="*/ 8145 h 10000"/>
                  <a:gd name="connsiteX2733" fmla="*/ 1558 w 10785"/>
                  <a:gd name="connsiteY2733" fmla="*/ 8145 h 10000"/>
                  <a:gd name="connsiteX2734" fmla="*/ 1562 w 10785"/>
                  <a:gd name="connsiteY2734" fmla="*/ 8188 h 10000"/>
                  <a:gd name="connsiteX2735" fmla="*/ 1585 w 10785"/>
                  <a:gd name="connsiteY2735" fmla="*/ 8171 h 10000"/>
                  <a:gd name="connsiteX2736" fmla="*/ 1590 w 10785"/>
                  <a:gd name="connsiteY2736" fmla="*/ 8188 h 10000"/>
                  <a:gd name="connsiteX2737" fmla="*/ 1599 w 10785"/>
                  <a:gd name="connsiteY2737" fmla="*/ 8171 h 10000"/>
                  <a:gd name="connsiteX2738" fmla="*/ 1599 w 10785"/>
                  <a:gd name="connsiteY2738" fmla="*/ 8162 h 10000"/>
                  <a:gd name="connsiteX2739" fmla="*/ 1604 w 10785"/>
                  <a:gd name="connsiteY2739" fmla="*/ 8137 h 10000"/>
                  <a:gd name="connsiteX2740" fmla="*/ 1618 w 10785"/>
                  <a:gd name="connsiteY2740" fmla="*/ 8145 h 10000"/>
                  <a:gd name="connsiteX2741" fmla="*/ 1627 w 10785"/>
                  <a:gd name="connsiteY2741" fmla="*/ 8137 h 10000"/>
                  <a:gd name="connsiteX2742" fmla="*/ 1631 w 10785"/>
                  <a:gd name="connsiteY2742" fmla="*/ 8137 h 10000"/>
                  <a:gd name="connsiteX2743" fmla="*/ 1636 w 10785"/>
                  <a:gd name="connsiteY2743" fmla="*/ 8171 h 10000"/>
                  <a:gd name="connsiteX2744" fmla="*/ 1645 w 10785"/>
                  <a:gd name="connsiteY2744" fmla="*/ 8188 h 10000"/>
                  <a:gd name="connsiteX2745" fmla="*/ 1664 w 10785"/>
                  <a:gd name="connsiteY2745" fmla="*/ 8171 h 10000"/>
                  <a:gd name="connsiteX2746" fmla="*/ 1673 w 10785"/>
                  <a:gd name="connsiteY2746" fmla="*/ 8188 h 10000"/>
                  <a:gd name="connsiteX2747" fmla="*/ 1691 w 10785"/>
                  <a:gd name="connsiteY2747" fmla="*/ 8171 h 10000"/>
                  <a:gd name="connsiteX2748" fmla="*/ 1705 w 10785"/>
                  <a:gd name="connsiteY2748" fmla="*/ 8171 h 10000"/>
                  <a:gd name="connsiteX2749" fmla="*/ 1719 w 10785"/>
                  <a:gd name="connsiteY2749" fmla="*/ 8197 h 10000"/>
                  <a:gd name="connsiteX2750" fmla="*/ 1724 w 10785"/>
                  <a:gd name="connsiteY2750" fmla="*/ 8231 h 10000"/>
                  <a:gd name="connsiteX2751" fmla="*/ 1751 w 10785"/>
                  <a:gd name="connsiteY2751" fmla="*/ 8256 h 10000"/>
                  <a:gd name="connsiteX2752" fmla="*/ 1751 w 10785"/>
                  <a:gd name="connsiteY2752" fmla="*/ 8274 h 10000"/>
                  <a:gd name="connsiteX2753" fmla="*/ 1760 w 10785"/>
                  <a:gd name="connsiteY2753" fmla="*/ 8282 h 10000"/>
                  <a:gd name="connsiteX2754" fmla="*/ 1770 w 10785"/>
                  <a:gd name="connsiteY2754" fmla="*/ 8325 h 10000"/>
                  <a:gd name="connsiteX2755" fmla="*/ 1770 w 10785"/>
                  <a:gd name="connsiteY2755" fmla="*/ 8350 h 10000"/>
                  <a:gd name="connsiteX2756" fmla="*/ 1779 w 10785"/>
                  <a:gd name="connsiteY2756" fmla="*/ 8368 h 10000"/>
                  <a:gd name="connsiteX2757" fmla="*/ 1783 w 10785"/>
                  <a:gd name="connsiteY2757" fmla="*/ 8359 h 10000"/>
                  <a:gd name="connsiteX2758" fmla="*/ 1783 w 10785"/>
                  <a:gd name="connsiteY2758" fmla="*/ 8308 h 10000"/>
                  <a:gd name="connsiteX2759" fmla="*/ 1779 w 10785"/>
                  <a:gd name="connsiteY2759" fmla="*/ 8299 h 10000"/>
                  <a:gd name="connsiteX2760" fmla="*/ 1783 w 10785"/>
                  <a:gd name="connsiteY2760" fmla="*/ 8282 h 10000"/>
                  <a:gd name="connsiteX2761" fmla="*/ 1797 w 10785"/>
                  <a:gd name="connsiteY2761" fmla="*/ 8274 h 10000"/>
                  <a:gd name="connsiteX2762" fmla="*/ 1797 w 10785"/>
                  <a:gd name="connsiteY2762" fmla="*/ 8299 h 10000"/>
                  <a:gd name="connsiteX2763" fmla="*/ 1806 w 10785"/>
                  <a:gd name="connsiteY2763" fmla="*/ 8308 h 10000"/>
                  <a:gd name="connsiteX2764" fmla="*/ 1811 w 10785"/>
                  <a:gd name="connsiteY2764" fmla="*/ 8325 h 10000"/>
                  <a:gd name="connsiteX2765" fmla="*/ 1820 w 10785"/>
                  <a:gd name="connsiteY2765" fmla="*/ 8333 h 10000"/>
                  <a:gd name="connsiteX2766" fmla="*/ 1853 w 10785"/>
                  <a:gd name="connsiteY2766" fmla="*/ 8359 h 10000"/>
                  <a:gd name="connsiteX2767" fmla="*/ 1866 w 10785"/>
                  <a:gd name="connsiteY2767" fmla="*/ 8359 h 10000"/>
                  <a:gd name="connsiteX2768" fmla="*/ 1885 w 10785"/>
                  <a:gd name="connsiteY2768" fmla="*/ 8325 h 10000"/>
                  <a:gd name="connsiteX2769" fmla="*/ 1885 w 10785"/>
                  <a:gd name="connsiteY2769" fmla="*/ 8308 h 10000"/>
                  <a:gd name="connsiteX2770" fmla="*/ 1894 w 10785"/>
                  <a:gd name="connsiteY2770" fmla="*/ 8299 h 10000"/>
                  <a:gd name="connsiteX2771" fmla="*/ 1899 w 10785"/>
                  <a:gd name="connsiteY2771" fmla="*/ 8282 h 10000"/>
                  <a:gd name="connsiteX2772" fmla="*/ 1912 w 10785"/>
                  <a:gd name="connsiteY2772" fmla="*/ 8282 h 10000"/>
                  <a:gd name="connsiteX2773" fmla="*/ 1917 w 10785"/>
                  <a:gd name="connsiteY2773" fmla="*/ 8299 h 10000"/>
                  <a:gd name="connsiteX2774" fmla="*/ 1917 w 10785"/>
                  <a:gd name="connsiteY2774" fmla="*/ 8274 h 10000"/>
                  <a:gd name="connsiteX2775" fmla="*/ 1940 w 10785"/>
                  <a:gd name="connsiteY2775" fmla="*/ 8282 h 10000"/>
                  <a:gd name="connsiteX2776" fmla="*/ 1945 w 10785"/>
                  <a:gd name="connsiteY2776" fmla="*/ 8274 h 10000"/>
                  <a:gd name="connsiteX2777" fmla="*/ 1972 w 10785"/>
                  <a:gd name="connsiteY2777" fmla="*/ 8308 h 10000"/>
                  <a:gd name="connsiteX2778" fmla="*/ 1986 w 10785"/>
                  <a:gd name="connsiteY2778" fmla="*/ 8282 h 10000"/>
                  <a:gd name="connsiteX2779" fmla="*/ 1991 w 10785"/>
                  <a:gd name="connsiteY2779" fmla="*/ 8274 h 10000"/>
                  <a:gd name="connsiteX2780" fmla="*/ 2014 w 10785"/>
                  <a:gd name="connsiteY2780" fmla="*/ 8274 h 10000"/>
                  <a:gd name="connsiteX2781" fmla="*/ 2018 w 10785"/>
                  <a:gd name="connsiteY2781" fmla="*/ 8256 h 10000"/>
                  <a:gd name="connsiteX2782" fmla="*/ 2041 w 10785"/>
                  <a:gd name="connsiteY2782" fmla="*/ 8274 h 10000"/>
                  <a:gd name="connsiteX2783" fmla="*/ 2046 w 10785"/>
                  <a:gd name="connsiteY2783" fmla="*/ 8282 h 10000"/>
                  <a:gd name="connsiteX2784" fmla="*/ 2046 w 10785"/>
                  <a:gd name="connsiteY2784" fmla="*/ 8325 h 10000"/>
                  <a:gd name="connsiteX2785" fmla="*/ 2060 w 10785"/>
                  <a:gd name="connsiteY2785" fmla="*/ 8350 h 10000"/>
                  <a:gd name="connsiteX2786" fmla="*/ 2078 w 10785"/>
                  <a:gd name="connsiteY2786" fmla="*/ 8350 h 10000"/>
                  <a:gd name="connsiteX2787" fmla="*/ 2092 w 10785"/>
                  <a:gd name="connsiteY2787" fmla="*/ 8350 h 10000"/>
                  <a:gd name="connsiteX2788" fmla="*/ 2092 w 10785"/>
                  <a:gd name="connsiteY2788" fmla="*/ 8350 h 10000"/>
                  <a:gd name="connsiteX2789" fmla="*/ 2101 w 10785"/>
                  <a:gd name="connsiteY2789" fmla="*/ 8368 h 10000"/>
                  <a:gd name="connsiteX2790" fmla="*/ 2120 w 10785"/>
                  <a:gd name="connsiteY2790" fmla="*/ 8368 h 10000"/>
                  <a:gd name="connsiteX2791" fmla="*/ 2124 w 10785"/>
                  <a:gd name="connsiteY2791" fmla="*/ 8359 h 10000"/>
                  <a:gd name="connsiteX2792" fmla="*/ 2138 w 10785"/>
                  <a:gd name="connsiteY2792" fmla="*/ 8325 h 10000"/>
                  <a:gd name="connsiteX2793" fmla="*/ 2147 w 10785"/>
                  <a:gd name="connsiteY2793" fmla="*/ 8325 h 10000"/>
                  <a:gd name="connsiteX2794" fmla="*/ 2161 w 10785"/>
                  <a:gd name="connsiteY2794" fmla="*/ 8350 h 10000"/>
                  <a:gd name="connsiteX2795" fmla="*/ 2198 w 10785"/>
                  <a:gd name="connsiteY2795" fmla="*/ 8350 h 10000"/>
                  <a:gd name="connsiteX2796" fmla="*/ 2207 w 10785"/>
                  <a:gd name="connsiteY2796" fmla="*/ 8333 h 10000"/>
                  <a:gd name="connsiteX2797" fmla="*/ 2226 w 10785"/>
                  <a:gd name="connsiteY2797" fmla="*/ 8325 h 10000"/>
                  <a:gd name="connsiteX2798" fmla="*/ 2249 w 10785"/>
                  <a:gd name="connsiteY2798" fmla="*/ 8222 h 10000"/>
                  <a:gd name="connsiteX2799" fmla="*/ 2235 w 10785"/>
                  <a:gd name="connsiteY2799" fmla="*/ 8197 h 10000"/>
                  <a:gd name="connsiteX2800" fmla="*/ 2198 w 10785"/>
                  <a:gd name="connsiteY2800" fmla="*/ 8197 h 10000"/>
                  <a:gd name="connsiteX2801" fmla="*/ 2189 w 10785"/>
                  <a:gd name="connsiteY2801" fmla="*/ 8171 h 10000"/>
                  <a:gd name="connsiteX2802" fmla="*/ 2161 w 10785"/>
                  <a:gd name="connsiteY2802" fmla="*/ 8145 h 10000"/>
                  <a:gd name="connsiteX2803" fmla="*/ 2161 w 10785"/>
                  <a:gd name="connsiteY2803" fmla="*/ 8137 h 10000"/>
                  <a:gd name="connsiteX2804" fmla="*/ 2152 w 10785"/>
                  <a:gd name="connsiteY2804" fmla="*/ 8120 h 10000"/>
                  <a:gd name="connsiteX2805" fmla="*/ 2138 w 10785"/>
                  <a:gd name="connsiteY2805" fmla="*/ 8111 h 10000"/>
                  <a:gd name="connsiteX2806" fmla="*/ 2138 w 10785"/>
                  <a:gd name="connsiteY2806" fmla="*/ 8094 h 10000"/>
                  <a:gd name="connsiteX2807" fmla="*/ 2147 w 10785"/>
                  <a:gd name="connsiteY2807" fmla="*/ 8085 h 10000"/>
                  <a:gd name="connsiteX2808" fmla="*/ 2161 w 10785"/>
                  <a:gd name="connsiteY2808" fmla="*/ 8060 h 10000"/>
                  <a:gd name="connsiteX2809" fmla="*/ 2198 w 10785"/>
                  <a:gd name="connsiteY2809" fmla="*/ 8034 h 10000"/>
                  <a:gd name="connsiteX2810" fmla="*/ 2198 w 10785"/>
                  <a:gd name="connsiteY2810" fmla="*/ 8026 h 10000"/>
                  <a:gd name="connsiteX2811" fmla="*/ 2198 w 10785"/>
                  <a:gd name="connsiteY2811" fmla="*/ 8000 h 10000"/>
                  <a:gd name="connsiteX2812" fmla="*/ 2180 w 10785"/>
                  <a:gd name="connsiteY2812" fmla="*/ 7940 h 10000"/>
                  <a:gd name="connsiteX2813" fmla="*/ 2189 w 10785"/>
                  <a:gd name="connsiteY2813" fmla="*/ 7940 h 10000"/>
                  <a:gd name="connsiteX2814" fmla="*/ 2198 w 10785"/>
                  <a:gd name="connsiteY2814" fmla="*/ 7923 h 10000"/>
                  <a:gd name="connsiteX2815" fmla="*/ 2198 w 10785"/>
                  <a:gd name="connsiteY2815" fmla="*/ 7897 h 10000"/>
                  <a:gd name="connsiteX2816" fmla="*/ 2207 w 10785"/>
                  <a:gd name="connsiteY2816" fmla="*/ 7889 h 10000"/>
                  <a:gd name="connsiteX2817" fmla="*/ 2221 w 10785"/>
                  <a:gd name="connsiteY2817" fmla="*/ 7889 h 10000"/>
                  <a:gd name="connsiteX2818" fmla="*/ 2226 w 10785"/>
                  <a:gd name="connsiteY2818" fmla="*/ 7897 h 10000"/>
                  <a:gd name="connsiteX2819" fmla="*/ 2235 w 10785"/>
                  <a:gd name="connsiteY2819" fmla="*/ 7889 h 10000"/>
                  <a:gd name="connsiteX2820" fmla="*/ 2249 w 10785"/>
                  <a:gd name="connsiteY2820" fmla="*/ 7897 h 10000"/>
                  <a:gd name="connsiteX2821" fmla="*/ 2267 w 10785"/>
                  <a:gd name="connsiteY2821" fmla="*/ 7897 h 10000"/>
                  <a:gd name="connsiteX2822" fmla="*/ 2272 w 10785"/>
                  <a:gd name="connsiteY2822" fmla="*/ 7889 h 10000"/>
                  <a:gd name="connsiteX2823" fmla="*/ 2281 w 10785"/>
                  <a:gd name="connsiteY2823" fmla="*/ 7872 h 10000"/>
                  <a:gd name="connsiteX2824" fmla="*/ 2272 w 10785"/>
                  <a:gd name="connsiteY2824" fmla="*/ 7846 h 10000"/>
                  <a:gd name="connsiteX2825" fmla="*/ 2253 w 10785"/>
                  <a:gd name="connsiteY2825" fmla="*/ 7838 h 10000"/>
                  <a:gd name="connsiteX2826" fmla="*/ 2221 w 10785"/>
                  <a:gd name="connsiteY2826" fmla="*/ 7821 h 10000"/>
                  <a:gd name="connsiteX2827" fmla="*/ 2212 w 10785"/>
                  <a:gd name="connsiteY2827" fmla="*/ 7812 h 10000"/>
                  <a:gd name="connsiteX2828" fmla="*/ 2212 w 10785"/>
                  <a:gd name="connsiteY2828" fmla="*/ 7803 h 10000"/>
                  <a:gd name="connsiteX2829" fmla="*/ 2221 w 10785"/>
                  <a:gd name="connsiteY2829" fmla="*/ 7803 h 10000"/>
                  <a:gd name="connsiteX2830" fmla="*/ 2235 w 10785"/>
                  <a:gd name="connsiteY2830" fmla="*/ 7786 h 10000"/>
                  <a:gd name="connsiteX2831" fmla="*/ 2240 w 10785"/>
                  <a:gd name="connsiteY2831" fmla="*/ 7778 h 10000"/>
                  <a:gd name="connsiteX2832" fmla="*/ 2226 w 10785"/>
                  <a:gd name="connsiteY2832" fmla="*/ 7761 h 10000"/>
                  <a:gd name="connsiteX2833" fmla="*/ 2221 w 10785"/>
                  <a:gd name="connsiteY2833" fmla="*/ 7778 h 10000"/>
                  <a:gd name="connsiteX2834" fmla="*/ 2198 w 10785"/>
                  <a:gd name="connsiteY2834" fmla="*/ 7778 h 10000"/>
                  <a:gd name="connsiteX2835" fmla="*/ 2198 w 10785"/>
                  <a:gd name="connsiteY2835" fmla="*/ 7752 h 10000"/>
                  <a:gd name="connsiteX2836" fmla="*/ 2207 w 10785"/>
                  <a:gd name="connsiteY2836" fmla="*/ 7735 h 10000"/>
                  <a:gd name="connsiteX2837" fmla="*/ 2212 w 10785"/>
                  <a:gd name="connsiteY2837" fmla="*/ 7726 h 10000"/>
                  <a:gd name="connsiteX2838" fmla="*/ 2198 w 10785"/>
                  <a:gd name="connsiteY2838" fmla="*/ 7692 h 10000"/>
                  <a:gd name="connsiteX2839" fmla="*/ 2221 w 10785"/>
                  <a:gd name="connsiteY2839" fmla="*/ 7692 h 10000"/>
                  <a:gd name="connsiteX2840" fmla="*/ 2221 w 10785"/>
                  <a:gd name="connsiteY2840" fmla="*/ 7675 h 10000"/>
                  <a:gd name="connsiteX2841" fmla="*/ 2235 w 10785"/>
                  <a:gd name="connsiteY2841" fmla="*/ 7675 h 10000"/>
                  <a:gd name="connsiteX2842" fmla="*/ 2240 w 10785"/>
                  <a:gd name="connsiteY2842" fmla="*/ 7692 h 10000"/>
                  <a:gd name="connsiteX2843" fmla="*/ 2249 w 10785"/>
                  <a:gd name="connsiteY2843" fmla="*/ 7692 h 10000"/>
                  <a:gd name="connsiteX2844" fmla="*/ 2258 w 10785"/>
                  <a:gd name="connsiteY2844" fmla="*/ 7692 h 10000"/>
                  <a:gd name="connsiteX2845" fmla="*/ 2267 w 10785"/>
                  <a:gd name="connsiteY2845" fmla="*/ 7692 h 10000"/>
                  <a:gd name="connsiteX2846" fmla="*/ 2295 w 10785"/>
                  <a:gd name="connsiteY2846" fmla="*/ 7692 h 10000"/>
                  <a:gd name="connsiteX2847" fmla="*/ 2300 w 10785"/>
                  <a:gd name="connsiteY2847" fmla="*/ 7701 h 10000"/>
                  <a:gd name="connsiteX2848" fmla="*/ 2313 w 10785"/>
                  <a:gd name="connsiteY2848" fmla="*/ 7675 h 10000"/>
                  <a:gd name="connsiteX2849" fmla="*/ 2323 w 10785"/>
                  <a:gd name="connsiteY2849" fmla="*/ 7675 h 10000"/>
                  <a:gd name="connsiteX2850" fmla="*/ 2341 w 10785"/>
                  <a:gd name="connsiteY2850" fmla="*/ 7675 h 10000"/>
                  <a:gd name="connsiteX2851" fmla="*/ 2346 w 10785"/>
                  <a:gd name="connsiteY2851" fmla="*/ 7667 h 10000"/>
                  <a:gd name="connsiteX2852" fmla="*/ 2359 w 10785"/>
                  <a:gd name="connsiteY2852" fmla="*/ 7650 h 10000"/>
                  <a:gd name="connsiteX2853" fmla="*/ 2373 w 10785"/>
                  <a:gd name="connsiteY2853" fmla="*/ 7624 h 10000"/>
                  <a:gd name="connsiteX2854" fmla="*/ 2382 w 10785"/>
                  <a:gd name="connsiteY2854" fmla="*/ 7641 h 10000"/>
                  <a:gd name="connsiteX2855" fmla="*/ 2396 w 10785"/>
                  <a:gd name="connsiteY2855" fmla="*/ 7650 h 10000"/>
                  <a:gd name="connsiteX2856" fmla="*/ 2401 w 10785"/>
                  <a:gd name="connsiteY2856" fmla="*/ 7650 h 10000"/>
                  <a:gd name="connsiteX2857" fmla="*/ 2401 w 10785"/>
                  <a:gd name="connsiteY2857" fmla="*/ 7624 h 10000"/>
                  <a:gd name="connsiteX2858" fmla="*/ 2419 w 10785"/>
                  <a:gd name="connsiteY2858" fmla="*/ 7624 h 10000"/>
                  <a:gd name="connsiteX2859" fmla="*/ 2433 w 10785"/>
                  <a:gd name="connsiteY2859" fmla="*/ 7615 h 10000"/>
                  <a:gd name="connsiteX2860" fmla="*/ 2442 w 10785"/>
                  <a:gd name="connsiteY2860" fmla="*/ 7615 h 10000"/>
                  <a:gd name="connsiteX2861" fmla="*/ 2447 w 10785"/>
                  <a:gd name="connsiteY2861" fmla="*/ 7598 h 10000"/>
                  <a:gd name="connsiteX2862" fmla="*/ 2461 w 10785"/>
                  <a:gd name="connsiteY2862" fmla="*/ 7598 h 10000"/>
                  <a:gd name="connsiteX2863" fmla="*/ 2465 w 10785"/>
                  <a:gd name="connsiteY2863" fmla="*/ 7615 h 10000"/>
                  <a:gd name="connsiteX2864" fmla="*/ 2479 w 10785"/>
                  <a:gd name="connsiteY2864" fmla="*/ 7564 h 10000"/>
                  <a:gd name="connsiteX2865" fmla="*/ 2488 w 10785"/>
                  <a:gd name="connsiteY2865" fmla="*/ 7556 h 10000"/>
                  <a:gd name="connsiteX2866" fmla="*/ 2493 w 10785"/>
                  <a:gd name="connsiteY2866" fmla="*/ 7556 h 10000"/>
                  <a:gd name="connsiteX2867" fmla="*/ 2507 w 10785"/>
                  <a:gd name="connsiteY2867" fmla="*/ 7556 h 10000"/>
                  <a:gd name="connsiteX2868" fmla="*/ 2530 w 10785"/>
                  <a:gd name="connsiteY2868" fmla="*/ 7538 h 10000"/>
                  <a:gd name="connsiteX2869" fmla="*/ 2530 w 10785"/>
                  <a:gd name="connsiteY2869" fmla="*/ 7556 h 10000"/>
                  <a:gd name="connsiteX2870" fmla="*/ 2641 w 10785"/>
                  <a:gd name="connsiteY2870" fmla="*/ 7504 h 10000"/>
                  <a:gd name="connsiteX2871" fmla="*/ 2654 w 10785"/>
                  <a:gd name="connsiteY2871" fmla="*/ 7487 h 10000"/>
                  <a:gd name="connsiteX2872" fmla="*/ 2664 w 10785"/>
                  <a:gd name="connsiteY2872" fmla="*/ 7487 h 10000"/>
                  <a:gd name="connsiteX2873" fmla="*/ 2668 w 10785"/>
                  <a:gd name="connsiteY2873" fmla="*/ 7479 h 10000"/>
                  <a:gd name="connsiteX2874" fmla="*/ 2673 w 10785"/>
                  <a:gd name="connsiteY2874" fmla="*/ 7462 h 10000"/>
                  <a:gd name="connsiteX2875" fmla="*/ 2673 w 10785"/>
                  <a:gd name="connsiteY2875" fmla="*/ 7427 h 10000"/>
                  <a:gd name="connsiteX2876" fmla="*/ 2687 w 10785"/>
                  <a:gd name="connsiteY2876" fmla="*/ 7436 h 10000"/>
                  <a:gd name="connsiteX2877" fmla="*/ 2696 w 10785"/>
                  <a:gd name="connsiteY2877" fmla="*/ 7427 h 10000"/>
                  <a:gd name="connsiteX2878" fmla="*/ 2700 w 10785"/>
                  <a:gd name="connsiteY2878" fmla="*/ 7419 h 10000"/>
                  <a:gd name="connsiteX2879" fmla="*/ 2710 w 10785"/>
                  <a:gd name="connsiteY2879" fmla="*/ 7402 h 10000"/>
                  <a:gd name="connsiteX2880" fmla="*/ 2724 w 10785"/>
                  <a:gd name="connsiteY2880" fmla="*/ 7402 h 10000"/>
                  <a:gd name="connsiteX2881" fmla="*/ 2724 w 10785"/>
                  <a:gd name="connsiteY2881" fmla="*/ 7393 h 10000"/>
                  <a:gd name="connsiteX2882" fmla="*/ 2737 w 10785"/>
                  <a:gd name="connsiteY2882" fmla="*/ 7393 h 10000"/>
                  <a:gd name="connsiteX2883" fmla="*/ 2742 w 10785"/>
                  <a:gd name="connsiteY2883" fmla="*/ 7402 h 10000"/>
                  <a:gd name="connsiteX2884" fmla="*/ 2747 w 10785"/>
                  <a:gd name="connsiteY2884" fmla="*/ 7402 h 10000"/>
                  <a:gd name="connsiteX2885" fmla="*/ 2760 w 10785"/>
                  <a:gd name="connsiteY2885" fmla="*/ 7402 h 10000"/>
                  <a:gd name="connsiteX2886" fmla="*/ 2770 w 10785"/>
                  <a:gd name="connsiteY2886" fmla="*/ 7402 h 10000"/>
                  <a:gd name="connsiteX2887" fmla="*/ 2774 w 10785"/>
                  <a:gd name="connsiteY2887" fmla="*/ 7402 h 10000"/>
                  <a:gd name="connsiteX2888" fmla="*/ 2783 w 10785"/>
                  <a:gd name="connsiteY2888" fmla="*/ 7419 h 10000"/>
                  <a:gd name="connsiteX2889" fmla="*/ 2802 w 10785"/>
                  <a:gd name="connsiteY2889" fmla="*/ 7436 h 10000"/>
                  <a:gd name="connsiteX2890" fmla="*/ 2816 w 10785"/>
                  <a:gd name="connsiteY2890" fmla="*/ 7419 h 10000"/>
                  <a:gd name="connsiteX2891" fmla="*/ 2834 w 10785"/>
                  <a:gd name="connsiteY2891" fmla="*/ 7419 h 10000"/>
                  <a:gd name="connsiteX2892" fmla="*/ 2843 w 10785"/>
                  <a:gd name="connsiteY2892" fmla="*/ 7419 h 10000"/>
                  <a:gd name="connsiteX2893" fmla="*/ 2848 w 10785"/>
                  <a:gd name="connsiteY2893" fmla="*/ 7436 h 10000"/>
                  <a:gd name="connsiteX2894" fmla="*/ 2857 w 10785"/>
                  <a:gd name="connsiteY2894" fmla="*/ 7453 h 10000"/>
                  <a:gd name="connsiteX2895" fmla="*/ 2857 w 10785"/>
                  <a:gd name="connsiteY2895" fmla="*/ 7504 h 10000"/>
                  <a:gd name="connsiteX2896" fmla="*/ 2862 w 10785"/>
                  <a:gd name="connsiteY2896" fmla="*/ 7530 h 10000"/>
                  <a:gd name="connsiteX2897" fmla="*/ 2876 w 10785"/>
                  <a:gd name="connsiteY2897" fmla="*/ 7538 h 10000"/>
                  <a:gd name="connsiteX2898" fmla="*/ 2871 w 10785"/>
                  <a:gd name="connsiteY2898" fmla="*/ 7564 h 10000"/>
                  <a:gd name="connsiteX2899" fmla="*/ 2871 w 10785"/>
                  <a:gd name="connsiteY2899" fmla="*/ 7598 h 10000"/>
                  <a:gd name="connsiteX2900" fmla="*/ 2857 w 10785"/>
                  <a:gd name="connsiteY2900" fmla="*/ 7624 h 10000"/>
                  <a:gd name="connsiteX2901" fmla="*/ 2862 w 10785"/>
                  <a:gd name="connsiteY2901" fmla="*/ 7641 h 10000"/>
                  <a:gd name="connsiteX2902" fmla="*/ 2871 w 10785"/>
                  <a:gd name="connsiteY2902" fmla="*/ 7667 h 10000"/>
                  <a:gd name="connsiteX2903" fmla="*/ 2880 w 10785"/>
                  <a:gd name="connsiteY2903" fmla="*/ 7650 h 10000"/>
                  <a:gd name="connsiteX2904" fmla="*/ 2894 w 10785"/>
                  <a:gd name="connsiteY2904" fmla="*/ 7667 h 10000"/>
                  <a:gd name="connsiteX2905" fmla="*/ 2903 w 10785"/>
                  <a:gd name="connsiteY2905" fmla="*/ 7667 h 10000"/>
                  <a:gd name="connsiteX2906" fmla="*/ 2908 w 10785"/>
                  <a:gd name="connsiteY2906" fmla="*/ 7641 h 10000"/>
                  <a:gd name="connsiteX2907" fmla="*/ 2917 w 10785"/>
                  <a:gd name="connsiteY2907" fmla="*/ 7641 h 10000"/>
                  <a:gd name="connsiteX2908" fmla="*/ 2922 w 10785"/>
                  <a:gd name="connsiteY2908" fmla="*/ 7641 h 10000"/>
                  <a:gd name="connsiteX2909" fmla="*/ 2931 w 10785"/>
                  <a:gd name="connsiteY2909" fmla="*/ 7615 h 10000"/>
                  <a:gd name="connsiteX2910" fmla="*/ 2935 w 10785"/>
                  <a:gd name="connsiteY2910" fmla="*/ 7615 h 10000"/>
                  <a:gd name="connsiteX2911" fmla="*/ 2945 w 10785"/>
                  <a:gd name="connsiteY2911" fmla="*/ 7650 h 10000"/>
                  <a:gd name="connsiteX2912" fmla="*/ 2949 w 10785"/>
                  <a:gd name="connsiteY2912" fmla="*/ 7667 h 10000"/>
                  <a:gd name="connsiteX2913" fmla="*/ 2949 w 10785"/>
                  <a:gd name="connsiteY2913" fmla="*/ 7675 h 10000"/>
                  <a:gd name="connsiteX2914" fmla="*/ 2945 w 10785"/>
                  <a:gd name="connsiteY2914" fmla="*/ 7692 h 10000"/>
                  <a:gd name="connsiteX2915" fmla="*/ 2963 w 10785"/>
                  <a:gd name="connsiteY2915" fmla="*/ 7701 h 10000"/>
                  <a:gd name="connsiteX2916" fmla="*/ 2963 w 10785"/>
                  <a:gd name="connsiteY2916" fmla="*/ 7675 h 10000"/>
                  <a:gd name="connsiteX2917" fmla="*/ 2954 w 10785"/>
                  <a:gd name="connsiteY2917" fmla="*/ 7667 h 10000"/>
                  <a:gd name="connsiteX2918" fmla="*/ 2963 w 10785"/>
                  <a:gd name="connsiteY2918" fmla="*/ 7667 h 10000"/>
                  <a:gd name="connsiteX2919" fmla="*/ 2982 w 10785"/>
                  <a:gd name="connsiteY2919" fmla="*/ 7667 h 10000"/>
                  <a:gd name="connsiteX2920" fmla="*/ 2991 w 10785"/>
                  <a:gd name="connsiteY2920" fmla="*/ 7675 h 10000"/>
                  <a:gd name="connsiteX2921" fmla="*/ 2995 w 10785"/>
                  <a:gd name="connsiteY2921" fmla="*/ 7692 h 10000"/>
                  <a:gd name="connsiteX2922" fmla="*/ 3009 w 10785"/>
                  <a:gd name="connsiteY2922" fmla="*/ 7701 h 10000"/>
                  <a:gd name="connsiteX2923" fmla="*/ 3018 w 10785"/>
                  <a:gd name="connsiteY2923" fmla="*/ 7701 h 10000"/>
                  <a:gd name="connsiteX2924" fmla="*/ 3023 w 10785"/>
                  <a:gd name="connsiteY2924" fmla="*/ 7692 h 10000"/>
                  <a:gd name="connsiteX2925" fmla="*/ 3028 w 10785"/>
                  <a:gd name="connsiteY2925" fmla="*/ 7675 h 10000"/>
                  <a:gd name="connsiteX2926" fmla="*/ 3037 w 10785"/>
                  <a:gd name="connsiteY2926" fmla="*/ 7692 h 10000"/>
                  <a:gd name="connsiteX2927" fmla="*/ 3028 w 10785"/>
                  <a:gd name="connsiteY2927" fmla="*/ 7709 h 10000"/>
                  <a:gd name="connsiteX2928" fmla="*/ 3023 w 10785"/>
                  <a:gd name="connsiteY2928" fmla="*/ 7709 h 10000"/>
                  <a:gd name="connsiteX2929" fmla="*/ 3018 w 10785"/>
                  <a:gd name="connsiteY2929" fmla="*/ 7726 h 10000"/>
                  <a:gd name="connsiteX2930" fmla="*/ 3009 w 10785"/>
                  <a:gd name="connsiteY2930" fmla="*/ 7735 h 10000"/>
                  <a:gd name="connsiteX2931" fmla="*/ 3009 w 10785"/>
                  <a:gd name="connsiteY2931" fmla="*/ 7761 h 10000"/>
                  <a:gd name="connsiteX2932" fmla="*/ 3009 w 10785"/>
                  <a:gd name="connsiteY2932" fmla="*/ 7778 h 10000"/>
                  <a:gd name="connsiteX2933" fmla="*/ 3018 w 10785"/>
                  <a:gd name="connsiteY2933" fmla="*/ 7786 h 10000"/>
                  <a:gd name="connsiteX2934" fmla="*/ 3023 w 10785"/>
                  <a:gd name="connsiteY2934" fmla="*/ 7786 h 10000"/>
                  <a:gd name="connsiteX2935" fmla="*/ 3028 w 10785"/>
                  <a:gd name="connsiteY2935" fmla="*/ 7778 h 10000"/>
                  <a:gd name="connsiteX2936" fmla="*/ 3051 w 10785"/>
                  <a:gd name="connsiteY2936" fmla="*/ 7761 h 10000"/>
                  <a:gd name="connsiteX2937" fmla="*/ 3055 w 10785"/>
                  <a:gd name="connsiteY2937" fmla="*/ 7778 h 10000"/>
                  <a:gd name="connsiteX2938" fmla="*/ 3065 w 10785"/>
                  <a:gd name="connsiteY2938" fmla="*/ 7761 h 10000"/>
                  <a:gd name="connsiteX2939" fmla="*/ 3069 w 10785"/>
                  <a:gd name="connsiteY2939" fmla="*/ 7786 h 10000"/>
                  <a:gd name="connsiteX2940" fmla="*/ 3083 w 10785"/>
                  <a:gd name="connsiteY2940" fmla="*/ 7786 h 10000"/>
                  <a:gd name="connsiteX2941" fmla="*/ 3078 w 10785"/>
                  <a:gd name="connsiteY2941" fmla="*/ 7761 h 10000"/>
                  <a:gd name="connsiteX2942" fmla="*/ 3083 w 10785"/>
                  <a:gd name="connsiteY2942" fmla="*/ 7752 h 10000"/>
                  <a:gd name="connsiteX2943" fmla="*/ 3097 w 10785"/>
                  <a:gd name="connsiteY2943" fmla="*/ 7752 h 10000"/>
                  <a:gd name="connsiteX2944" fmla="*/ 3111 w 10785"/>
                  <a:gd name="connsiteY2944" fmla="*/ 7726 h 10000"/>
                  <a:gd name="connsiteX2945" fmla="*/ 3124 w 10785"/>
                  <a:gd name="connsiteY2945" fmla="*/ 7709 h 10000"/>
                  <a:gd name="connsiteX2946" fmla="*/ 3143 w 10785"/>
                  <a:gd name="connsiteY2946" fmla="*/ 7692 h 10000"/>
                  <a:gd name="connsiteX2947" fmla="*/ 3152 w 10785"/>
                  <a:gd name="connsiteY2947" fmla="*/ 7667 h 10000"/>
                  <a:gd name="connsiteX2948" fmla="*/ 3157 w 10785"/>
                  <a:gd name="connsiteY2948" fmla="*/ 7650 h 10000"/>
                  <a:gd name="connsiteX2949" fmla="*/ 3161 w 10785"/>
                  <a:gd name="connsiteY2949" fmla="*/ 7650 h 10000"/>
                  <a:gd name="connsiteX2950" fmla="*/ 3189 w 10785"/>
                  <a:gd name="connsiteY2950" fmla="*/ 7641 h 10000"/>
                  <a:gd name="connsiteX2951" fmla="*/ 3198 w 10785"/>
                  <a:gd name="connsiteY2951" fmla="*/ 7624 h 10000"/>
                  <a:gd name="connsiteX2952" fmla="*/ 3217 w 10785"/>
                  <a:gd name="connsiteY2952" fmla="*/ 7615 h 10000"/>
                  <a:gd name="connsiteX2953" fmla="*/ 3235 w 10785"/>
                  <a:gd name="connsiteY2953" fmla="*/ 7598 h 10000"/>
                  <a:gd name="connsiteX2954" fmla="*/ 3235 w 10785"/>
                  <a:gd name="connsiteY2954" fmla="*/ 7615 h 10000"/>
                  <a:gd name="connsiteX2955" fmla="*/ 3235 w 10785"/>
                  <a:gd name="connsiteY2955" fmla="*/ 7641 h 10000"/>
                  <a:gd name="connsiteX2956" fmla="*/ 3235 w 10785"/>
                  <a:gd name="connsiteY2956" fmla="*/ 7650 h 10000"/>
                  <a:gd name="connsiteX2957" fmla="*/ 3226 w 10785"/>
                  <a:gd name="connsiteY2957" fmla="*/ 7650 h 10000"/>
                  <a:gd name="connsiteX2958" fmla="*/ 3217 w 10785"/>
                  <a:gd name="connsiteY2958" fmla="*/ 7650 h 10000"/>
                  <a:gd name="connsiteX2959" fmla="*/ 3212 w 10785"/>
                  <a:gd name="connsiteY2959" fmla="*/ 7675 h 10000"/>
                  <a:gd name="connsiteX2960" fmla="*/ 3212 w 10785"/>
                  <a:gd name="connsiteY2960"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227 w 10785"/>
                  <a:gd name="connsiteY731" fmla="*/ 4860 h 10000"/>
                  <a:gd name="connsiteX732" fmla="*/ 10139 w 10785"/>
                  <a:gd name="connsiteY732" fmla="*/ 4708 h 10000"/>
                  <a:gd name="connsiteX733" fmla="*/ 10233 w 10785"/>
                  <a:gd name="connsiteY733" fmla="*/ 4530 h 10000"/>
                  <a:gd name="connsiteX734" fmla="*/ 10334 w 10785"/>
                  <a:gd name="connsiteY734" fmla="*/ 4810 h 10000"/>
                  <a:gd name="connsiteX735" fmla="*/ 10422 w 10785"/>
                  <a:gd name="connsiteY735" fmla="*/ 5051 h 10000"/>
                  <a:gd name="connsiteX736" fmla="*/ 10691 w 10785"/>
                  <a:gd name="connsiteY736" fmla="*/ 5255 h 10000"/>
                  <a:gd name="connsiteX737" fmla="*/ 10619 w 10785"/>
                  <a:gd name="connsiteY737" fmla="*/ 4708 h 10000"/>
                  <a:gd name="connsiteX738" fmla="*/ 10785 w 10785"/>
                  <a:gd name="connsiteY738" fmla="*/ 4708 h 10000"/>
                  <a:gd name="connsiteX739" fmla="*/ 10689 w 10785"/>
                  <a:gd name="connsiteY739" fmla="*/ 4467 h 10000"/>
                  <a:gd name="connsiteX740" fmla="*/ 10354 w 10785"/>
                  <a:gd name="connsiteY740" fmla="*/ 4302 h 10000"/>
                  <a:gd name="connsiteX741" fmla="*/ 9912 w 10785"/>
                  <a:gd name="connsiteY741" fmla="*/ 3675 h 10000"/>
                  <a:gd name="connsiteX742" fmla="*/ 9903 w 10785"/>
                  <a:gd name="connsiteY742" fmla="*/ 3667 h 10000"/>
                  <a:gd name="connsiteX743" fmla="*/ 9894 w 10785"/>
                  <a:gd name="connsiteY743" fmla="*/ 3641 h 10000"/>
                  <a:gd name="connsiteX744" fmla="*/ 9889 w 10785"/>
                  <a:gd name="connsiteY744" fmla="*/ 3650 h 10000"/>
                  <a:gd name="connsiteX745" fmla="*/ 9848 w 10785"/>
                  <a:gd name="connsiteY745" fmla="*/ 3598 h 10000"/>
                  <a:gd name="connsiteX746" fmla="*/ 9829 w 10785"/>
                  <a:gd name="connsiteY746" fmla="*/ 3581 h 10000"/>
                  <a:gd name="connsiteX747" fmla="*/ 9820 w 10785"/>
                  <a:gd name="connsiteY747" fmla="*/ 3581 h 10000"/>
                  <a:gd name="connsiteX748" fmla="*/ 9793 w 10785"/>
                  <a:gd name="connsiteY748" fmla="*/ 3556 h 10000"/>
                  <a:gd name="connsiteX749" fmla="*/ 9779 w 10785"/>
                  <a:gd name="connsiteY749" fmla="*/ 3556 h 10000"/>
                  <a:gd name="connsiteX750" fmla="*/ 9747 w 10785"/>
                  <a:gd name="connsiteY750" fmla="*/ 3487 h 10000"/>
                  <a:gd name="connsiteX751" fmla="*/ 9668 w 10785"/>
                  <a:gd name="connsiteY751" fmla="*/ 3479 h 10000"/>
                  <a:gd name="connsiteX752" fmla="*/ 9659 w 10785"/>
                  <a:gd name="connsiteY752" fmla="*/ 3487 h 10000"/>
                  <a:gd name="connsiteX753" fmla="*/ 9645 w 10785"/>
                  <a:gd name="connsiteY753" fmla="*/ 3504 h 10000"/>
                  <a:gd name="connsiteX754" fmla="*/ 9631 w 10785"/>
                  <a:gd name="connsiteY754" fmla="*/ 3487 h 10000"/>
                  <a:gd name="connsiteX755" fmla="*/ 9613 w 10785"/>
                  <a:gd name="connsiteY755" fmla="*/ 3479 h 10000"/>
                  <a:gd name="connsiteX756" fmla="*/ 9599 w 10785"/>
                  <a:gd name="connsiteY756" fmla="*/ 3479 h 10000"/>
                  <a:gd name="connsiteX757" fmla="*/ 9571 w 10785"/>
                  <a:gd name="connsiteY757" fmla="*/ 3479 h 10000"/>
                  <a:gd name="connsiteX758" fmla="*/ 9562 w 10785"/>
                  <a:gd name="connsiteY758" fmla="*/ 3487 h 10000"/>
                  <a:gd name="connsiteX759" fmla="*/ 9539 w 10785"/>
                  <a:gd name="connsiteY759" fmla="*/ 3487 h 10000"/>
                  <a:gd name="connsiteX760" fmla="*/ 9507 w 10785"/>
                  <a:gd name="connsiteY760" fmla="*/ 3453 h 10000"/>
                  <a:gd name="connsiteX761" fmla="*/ 9498 w 10785"/>
                  <a:gd name="connsiteY761" fmla="*/ 3453 h 10000"/>
                  <a:gd name="connsiteX762" fmla="*/ 9387 w 10785"/>
                  <a:gd name="connsiteY762" fmla="*/ 3419 h 10000"/>
                  <a:gd name="connsiteX763" fmla="*/ 9373 w 10785"/>
                  <a:gd name="connsiteY763" fmla="*/ 3427 h 10000"/>
                  <a:gd name="connsiteX764" fmla="*/ 9373 w 10785"/>
                  <a:gd name="connsiteY764" fmla="*/ 3462 h 10000"/>
                  <a:gd name="connsiteX765" fmla="*/ 9378 w 10785"/>
                  <a:gd name="connsiteY765" fmla="*/ 3479 h 10000"/>
                  <a:gd name="connsiteX766" fmla="*/ 9378 w 10785"/>
                  <a:gd name="connsiteY766" fmla="*/ 3530 h 10000"/>
                  <a:gd name="connsiteX767" fmla="*/ 9355 w 10785"/>
                  <a:gd name="connsiteY767" fmla="*/ 3538 h 10000"/>
                  <a:gd name="connsiteX768" fmla="*/ 9355 w 10785"/>
                  <a:gd name="connsiteY768" fmla="*/ 3581 h 10000"/>
                  <a:gd name="connsiteX769" fmla="*/ 9387 w 10785"/>
                  <a:gd name="connsiteY769" fmla="*/ 3590 h 10000"/>
                  <a:gd name="connsiteX770" fmla="*/ 9401 w 10785"/>
                  <a:gd name="connsiteY770" fmla="*/ 3667 h 10000"/>
                  <a:gd name="connsiteX771" fmla="*/ 9406 w 10785"/>
                  <a:gd name="connsiteY771" fmla="*/ 3675 h 10000"/>
                  <a:gd name="connsiteX772" fmla="*/ 9406 w 10785"/>
                  <a:gd name="connsiteY772" fmla="*/ 3701 h 10000"/>
                  <a:gd name="connsiteX773" fmla="*/ 9415 w 10785"/>
                  <a:gd name="connsiteY773" fmla="*/ 3752 h 10000"/>
                  <a:gd name="connsiteX774" fmla="*/ 9373 w 10785"/>
                  <a:gd name="connsiteY774" fmla="*/ 3838 h 10000"/>
                  <a:gd name="connsiteX775" fmla="*/ 9355 w 10785"/>
                  <a:gd name="connsiteY775" fmla="*/ 3863 h 10000"/>
                  <a:gd name="connsiteX776" fmla="*/ 9327 w 10785"/>
                  <a:gd name="connsiteY776" fmla="*/ 3863 h 10000"/>
                  <a:gd name="connsiteX777" fmla="*/ 9313 w 10785"/>
                  <a:gd name="connsiteY777" fmla="*/ 3846 h 10000"/>
                  <a:gd name="connsiteX778" fmla="*/ 9300 w 10785"/>
                  <a:gd name="connsiteY778" fmla="*/ 3778 h 10000"/>
                  <a:gd name="connsiteX779" fmla="*/ 9281 w 10785"/>
                  <a:gd name="connsiteY779" fmla="*/ 3752 h 10000"/>
                  <a:gd name="connsiteX780" fmla="*/ 9281 w 10785"/>
                  <a:gd name="connsiteY780" fmla="*/ 3735 h 10000"/>
                  <a:gd name="connsiteX781" fmla="*/ 9267 w 10785"/>
                  <a:gd name="connsiteY781" fmla="*/ 3726 h 10000"/>
                  <a:gd name="connsiteX782" fmla="*/ 9240 w 10785"/>
                  <a:gd name="connsiteY782" fmla="*/ 3726 h 10000"/>
                  <a:gd name="connsiteX783" fmla="*/ 9230 w 10785"/>
                  <a:gd name="connsiteY783" fmla="*/ 3718 h 10000"/>
                  <a:gd name="connsiteX784" fmla="*/ 9226 w 10785"/>
                  <a:gd name="connsiteY784" fmla="*/ 3590 h 10000"/>
                  <a:gd name="connsiteX785" fmla="*/ 9207 w 10785"/>
                  <a:gd name="connsiteY785" fmla="*/ 3581 h 10000"/>
                  <a:gd name="connsiteX786" fmla="*/ 9207 w 10785"/>
                  <a:gd name="connsiteY786" fmla="*/ 3556 h 10000"/>
                  <a:gd name="connsiteX787" fmla="*/ 9217 w 10785"/>
                  <a:gd name="connsiteY787" fmla="*/ 3538 h 10000"/>
                  <a:gd name="connsiteX788" fmla="*/ 9212 w 10785"/>
                  <a:gd name="connsiteY788" fmla="*/ 3538 h 10000"/>
                  <a:gd name="connsiteX789" fmla="*/ 9198 w 10785"/>
                  <a:gd name="connsiteY789" fmla="*/ 3513 h 10000"/>
                  <a:gd name="connsiteX790" fmla="*/ 9194 w 10785"/>
                  <a:gd name="connsiteY790" fmla="*/ 3530 h 10000"/>
                  <a:gd name="connsiteX791" fmla="*/ 9143 w 10785"/>
                  <a:gd name="connsiteY791" fmla="*/ 3615 h 10000"/>
                  <a:gd name="connsiteX792" fmla="*/ 9138 w 10785"/>
                  <a:gd name="connsiteY792" fmla="*/ 3615 h 10000"/>
                  <a:gd name="connsiteX793" fmla="*/ 9134 w 10785"/>
                  <a:gd name="connsiteY793" fmla="*/ 3615 h 10000"/>
                  <a:gd name="connsiteX794" fmla="*/ 9106 w 10785"/>
                  <a:gd name="connsiteY794" fmla="*/ 3615 h 10000"/>
                  <a:gd name="connsiteX795" fmla="*/ 9078 w 10785"/>
                  <a:gd name="connsiteY795" fmla="*/ 3590 h 10000"/>
                  <a:gd name="connsiteX796" fmla="*/ 9037 w 10785"/>
                  <a:gd name="connsiteY796" fmla="*/ 3581 h 10000"/>
                  <a:gd name="connsiteX797" fmla="*/ 9023 w 10785"/>
                  <a:gd name="connsiteY797" fmla="*/ 3590 h 10000"/>
                  <a:gd name="connsiteX798" fmla="*/ 9018 w 10785"/>
                  <a:gd name="connsiteY798" fmla="*/ 3590 h 10000"/>
                  <a:gd name="connsiteX799" fmla="*/ 9018 w 10785"/>
                  <a:gd name="connsiteY799" fmla="*/ 3590 h 10000"/>
                  <a:gd name="connsiteX800" fmla="*/ 8991 w 10785"/>
                  <a:gd name="connsiteY800" fmla="*/ 3590 h 10000"/>
                  <a:gd name="connsiteX801" fmla="*/ 8972 w 10785"/>
                  <a:gd name="connsiteY801" fmla="*/ 3581 h 10000"/>
                  <a:gd name="connsiteX802" fmla="*/ 8959 w 10785"/>
                  <a:gd name="connsiteY802" fmla="*/ 3513 h 10000"/>
                  <a:gd name="connsiteX803" fmla="*/ 8931 w 10785"/>
                  <a:gd name="connsiteY803" fmla="*/ 3538 h 10000"/>
                  <a:gd name="connsiteX804" fmla="*/ 8889 w 10785"/>
                  <a:gd name="connsiteY804" fmla="*/ 3538 h 10000"/>
                  <a:gd name="connsiteX805" fmla="*/ 8871 w 10785"/>
                  <a:gd name="connsiteY805" fmla="*/ 3556 h 10000"/>
                  <a:gd name="connsiteX806" fmla="*/ 8857 w 10785"/>
                  <a:gd name="connsiteY806" fmla="*/ 3538 h 10000"/>
                  <a:gd name="connsiteX807" fmla="*/ 8843 w 10785"/>
                  <a:gd name="connsiteY807" fmla="*/ 3538 h 10000"/>
                  <a:gd name="connsiteX808" fmla="*/ 8839 w 10785"/>
                  <a:gd name="connsiteY808" fmla="*/ 3556 h 10000"/>
                  <a:gd name="connsiteX809" fmla="*/ 8839 w 10785"/>
                  <a:gd name="connsiteY809" fmla="*/ 3581 h 10000"/>
                  <a:gd name="connsiteX810" fmla="*/ 8825 w 10785"/>
                  <a:gd name="connsiteY810" fmla="*/ 3564 h 10000"/>
                  <a:gd name="connsiteX811" fmla="*/ 8825 w 10785"/>
                  <a:gd name="connsiteY811" fmla="*/ 3615 h 10000"/>
                  <a:gd name="connsiteX812" fmla="*/ 8802 w 10785"/>
                  <a:gd name="connsiteY812" fmla="*/ 3598 h 10000"/>
                  <a:gd name="connsiteX813" fmla="*/ 8797 w 10785"/>
                  <a:gd name="connsiteY813" fmla="*/ 3641 h 10000"/>
                  <a:gd name="connsiteX814" fmla="*/ 8783 w 10785"/>
                  <a:gd name="connsiteY814" fmla="*/ 3667 h 10000"/>
                  <a:gd name="connsiteX815" fmla="*/ 8779 w 10785"/>
                  <a:gd name="connsiteY815" fmla="*/ 3650 h 10000"/>
                  <a:gd name="connsiteX816" fmla="*/ 8779 w 10785"/>
                  <a:gd name="connsiteY816" fmla="*/ 3615 h 10000"/>
                  <a:gd name="connsiteX817" fmla="*/ 8770 w 10785"/>
                  <a:gd name="connsiteY817" fmla="*/ 3590 h 10000"/>
                  <a:gd name="connsiteX818" fmla="*/ 8765 w 10785"/>
                  <a:gd name="connsiteY818" fmla="*/ 3598 h 10000"/>
                  <a:gd name="connsiteX819" fmla="*/ 8756 w 10785"/>
                  <a:gd name="connsiteY819" fmla="*/ 3590 h 10000"/>
                  <a:gd name="connsiteX820" fmla="*/ 8737 w 10785"/>
                  <a:gd name="connsiteY820" fmla="*/ 3556 h 10000"/>
                  <a:gd name="connsiteX821" fmla="*/ 8724 w 10785"/>
                  <a:gd name="connsiteY821" fmla="*/ 3538 h 10000"/>
                  <a:gd name="connsiteX822" fmla="*/ 8696 w 10785"/>
                  <a:gd name="connsiteY822" fmla="*/ 3538 h 10000"/>
                  <a:gd name="connsiteX823" fmla="*/ 8691 w 10785"/>
                  <a:gd name="connsiteY823" fmla="*/ 3513 h 10000"/>
                  <a:gd name="connsiteX824" fmla="*/ 8668 w 10785"/>
                  <a:gd name="connsiteY824" fmla="*/ 3504 h 10000"/>
                  <a:gd name="connsiteX825" fmla="*/ 8668 w 10785"/>
                  <a:gd name="connsiteY825" fmla="*/ 3487 h 10000"/>
                  <a:gd name="connsiteX826" fmla="*/ 8691 w 10785"/>
                  <a:gd name="connsiteY826" fmla="*/ 3350 h 10000"/>
                  <a:gd name="connsiteX827" fmla="*/ 8691 w 10785"/>
                  <a:gd name="connsiteY827" fmla="*/ 3291 h 10000"/>
                  <a:gd name="connsiteX828" fmla="*/ 8677 w 10785"/>
                  <a:gd name="connsiteY828" fmla="*/ 3239 h 10000"/>
                  <a:gd name="connsiteX829" fmla="*/ 8677 w 10785"/>
                  <a:gd name="connsiteY829" fmla="*/ 3231 h 10000"/>
                  <a:gd name="connsiteX830" fmla="*/ 8636 w 10785"/>
                  <a:gd name="connsiteY830" fmla="*/ 3128 h 10000"/>
                  <a:gd name="connsiteX831" fmla="*/ 8622 w 10785"/>
                  <a:gd name="connsiteY831" fmla="*/ 3120 h 10000"/>
                  <a:gd name="connsiteX832" fmla="*/ 8618 w 10785"/>
                  <a:gd name="connsiteY832" fmla="*/ 3094 h 10000"/>
                  <a:gd name="connsiteX833" fmla="*/ 8594 w 10785"/>
                  <a:gd name="connsiteY833" fmla="*/ 3077 h 10000"/>
                  <a:gd name="connsiteX834" fmla="*/ 8548 w 10785"/>
                  <a:gd name="connsiteY834" fmla="*/ 3077 h 10000"/>
                  <a:gd name="connsiteX835" fmla="*/ 8535 w 10785"/>
                  <a:gd name="connsiteY835" fmla="*/ 3068 h 10000"/>
                  <a:gd name="connsiteX836" fmla="*/ 8429 w 10785"/>
                  <a:gd name="connsiteY836" fmla="*/ 3077 h 10000"/>
                  <a:gd name="connsiteX837" fmla="*/ 8424 w 10785"/>
                  <a:gd name="connsiteY837" fmla="*/ 3077 h 10000"/>
                  <a:gd name="connsiteX838" fmla="*/ 8396 w 10785"/>
                  <a:gd name="connsiteY838" fmla="*/ 3077 h 10000"/>
                  <a:gd name="connsiteX839" fmla="*/ 8387 w 10785"/>
                  <a:gd name="connsiteY839" fmla="*/ 3094 h 10000"/>
                  <a:gd name="connsiteX840" fmla="*/ 8378 w 10785"/>
                  <a:gd name="connsiteY840" fmla="*/ 3094 h 10000"/>
                  <a:gd name="connsiteX841" fmla="*/ 8341 w 10785"/>
                  <a:gd name="connsiteY841" fmla="*/ 3077 h 10000"/>
                  <a:gd name="connsiteX842" fmla="*/ 8336 w 10785"/>
                  <a:gd name="connsiteY842" fmla="*/ 3077 h 10000"/>
                  <a:gd name="connsiteX843" fmla="*/ 8327 w 10785"/>
                  <a:gd name="connsiteY843" fmla="*/ 3103 h 10000"/>
                  <a:gd name="connsiteX844" fmla="*/ 8309 w 10785"/>
                  <a:gd name="connsiteY844" fmla="*/ 3120 h 10000"/>
                  <a:gd name="connsiteX845" fmla="*/ 8304 w 10785"/>
                  <a:gd name="connsiteY845" fmla="*/ 3103 h 10000"/>
                  <a:gd name="connsiteX846" fmla="*/ 8276 w 10785"/>
                  <a:gd name="connsiteY846" fmla="*/ 3103 h 10000"/>
                  <a:gd name="connsiteX847" fmla="*/ 8267 w 10785"/>
                  <a:gd name="connsiteY847" fmla="*/ 3120 h 10000"/>
                  <a:gd name="connsiteX848" fmla="*/ 8253 w 10785"/>
                  <a:gd name="connsiteY848" fmla="*/ 3103 h 10000"/>
                  <a:gd name="connsiteX849" fmla="*/ 8230 w 10785"/>
                  <a:gd name="connsiteY849" fmla="*/ 3128 h 10000"/>
                  <a:gd name="connsiteX850" fmla="*/ 8217 w 10785"/>
                  <a:gd name="connsiteY850" fmla="*/ 3128 h 10000"/>
                  <a:gd name="connsiteX851" fmla="*/ 8203 w 10785"/>
                  <a:gd name="connsiteY851" fmla="*/ 3154 h 10000"/>
                  <a:gd name="connsiteX852" fmla="*/ 8175 w 10785"/>
                  <a:gd name="connsiteY852" fmla="*/ 3094 h 10000"/>
                  <a:gd name="connsiteX853" fmla="*/ 8161 w 10785"/>
                  <a:gd name="connsiteY853" fmla="*/ 3094 h 10000"/>
                  <a:gd name="connsiteX854" fmla="*/ 8157 w 10785"/>
                  <a:gd name="connsiteY854" fmla="*/ 3077 h 10000"/>
                  <a:gd name="connsiteX855" fmla="*/ 8180 w 10785"/>
                  <a:gd name="connsiteY855" fmla="*/ 3068 h 10000"/>
                  <a:gd name="connsiteX856" fmla="*/ 8189 w 10785"/>
                  <a:gd name="connsiteY856" fmla="*/ 3043 h 10000"/>
                  <a:gd name="connsiteX857" fmla="*/ 8189 w 10785"/>
                  <a:gd name="connsiteY857" fmla="*/ 3017 h 10000"/>
                  <a:gd name="connsiteX858" fmla="*/ 8147 w 10785"/>
                  <a:gd name="connsiteY858" fmla="*/ 2940 h 10000"/>
                  <a:gd name="connsiteX859" fmla="*/ 8143 w 10785"/>
                  <a:gd name="connsiteY859" fmla="*/ 2915 h 10000"/>
                  <a:gd name="connsiteX860" fmla="*/ 8143 w 10785"/>
                  <a:gd name="connsiteY860" fmla="*/ 2906 h 10000"/>
                  <a:gd name="connsiteX861" fmla="*/ 8097 w 10785"/>
                  <a:gd name="connsiteY861" fmla="*/ 2932 h 10000"/>
                  <a:gd name="connsiteX862" fmla="*/ 8083 w 10785"/>
                  <a:gd name="connsiteY862" fmla="*/ 2932 h 10000"/>
                  <a:gd name="connsiteX863" fmla="*/ 8074 w 10785"/>
                  <a:gd name="connsiteY863" fmla="*/ 2906 h 10000"/>
                  <a:gd name="connsiteX864" fmla="*/ 8074 w 10785"/>
                  <a:gd name="connsiteY864" fmla="*/ 2897 h 10000"/>
                  <a:gd name="connsiteX865" fmla="*/ 8055 w 10785"/>
                  <a:gd name="connsiteY865" fmla="*/ 2872 h 10000"/>
                  <a:gd name="connsiteX866" fmla="*/ 8046 w 10785"/>
                  <a:gd name="connsiteY866" fmla="*/ 2829 h 10000"/>
                  <a:gd name="connsiteX867" fmla="*/ 8041 w 10785"/>
                  <a:gd name="connsiteY867" fmla="*/ 2829 h 10000"/>
                  <a:gd name="connsiteX868" fmla="*/ 8023 w 10785"/>
                  <a:gd name="connsiteY868" fmla="*/ 2803 h 10000"/>
                  <a:gd name="connsiteX869" fmla="*/ 8014 w 10785"/>
                  <a:gd name="connsiteY869" fmla="*/ 2829 h 10000"/>
                  <a:gd name="connsiteX870" fmla="*/ 8000 w 10785"/>
                  <a:gd name="connsiteY870" fmla="*/ 2829 h 10000"/>
                  <a:gd name="connsiteX871" fmla="*/ 7995 w 10785"/>
                  <a:gd name="connsiteY871" fmla="*/ 2821 h 10000"/>
                  <a:gd name="connsiteX872" fmla="*/ 7972 w 10785"/>
                  <a:gd name="connsiteY872" fmla="*/ 2803 h 10000"/>
                  <a:gd name="connsiteX873" fmla="*/ 7968 w 10785"/>
                  <a:gd name="connsiteY873" fmla="*/ 2821 h 10000"/>
                  <a:gd name="connsiteX874" fmla="*/ 7968 w 10785"/>
                  <a:gd name="connsiteY874" fmla="*/ 2803 h 10000"/>
                  <a:gd name="connsiteX875" fmla="*/ 7995 w 10785"/>
                  <a:gd name="connsiteY875" fmla="*/ 2735 h 10000"/>
                  <a:gd name="connsiteX876" fmla="*/ 8000 w 10785"/>
                  <a:gd name="connsiteY876" fmla="*/ 2735 h 10000"/>
                  <a:gd name="connsiteX877" fmla="*/ 8014 w 10785"/>
                  <a:gd name="connsiteY877" fmla="*/ 2744 h 10000"/>
                  <a:gd name="connsiteX878" fmla="*/ 8023 w 10785"/>
                  <a:gd name="connsiteY878" fmla="*/ 2769 h 10000"/>
                  <a:gd name="connsiteX879" fmla="*/ 8032 w 10785"/>
                  <a:gd name="connsiteY879" fmla="*/ 2744 h 10000"/>
                  <a:gd name="connsiteX880" fmla="*/ 8032 w 10785"/>
                  <a:gd name="connsiteY880" fmla="*/ 2709 h 10000"/>
                  <a:gd name="connsiteX881" fmla="*/ 8023 w 10785"/>
                  <a:gd name="connsiteY881" fmla="*/ 2632 h 10000"/>
                  <a:gd name="connsiteX882" fmla="*/ 7986 w 10785"/>
                  <a:gd name="connsiteY882" fmla="*/ 2581 h 10000"/>
                  <a:gd name="connsiteX883" fmla="*/ 7968 w 10785"/>
                  <a:gd name="connsiteY883" fmla="*/ 2581 h 10000"/>
                  <a:gd name="connsiteX884" fmla="*/ 7963 w 10785"/>
                  <a:gd name="connsiteY884" fmla="*/ 2556 h 10000"/>
                  <a:gd name="connsiteX885" fmla="*/ 7935 w 10785"/>
                  <a:gd name="connsiteY885" fmla="*/ 2547 h 10000"/>
                  <a:gd name="connsiteX886" fmla="*/ 7912 w 10785"/>
                  <a:gd name="connsiteY886" fmla="*/ 2547 h 10000"/>
                  <a:gd name="connsiteX887" fmla="*/ 7912 w 10785"/>
                  <a:gd name="connsiteY887" fmla="*/ 2556 h 10000"/>
                  <a:gd name="connsiteX888" fmla="*/ 7908 w 10785"/>
                  <a:gd name="connsiteY888" fmla="*/ 2547 h 10000"/>
                  <a:gd name="connsiteX889" fmla="*/ 7862 w 10785"/>
                  <a:gd name="connsiteY889" fmla="*/ 2547 h 10000"/>
                  <a:gd name="connsiteX890" fmla="*/ 7848 w 10785"/>
                  <a:gd name="connsiteY890" fmla="*/ 2556 h 10000"/>
                  <a:gd name="connsiteX891" fmla="*/ 7820 w 10785"/>
                  <a:gd name="connsiteY891" fmla="*/ 2547 h 10000"/>
                  <a:gd name="connsiteX892" fmla="*/ 7806 w 10785"/>
                  <a:gd name="connsiteY892" fmla="*/ 2513 h 10000"/>
                  <a:gd name="connsiteX893" fmla="*/ 7788 w 10785"/>
                  <a:gd name="connsiteY893" fmla="*/ 2513 h 10000"/>
                  <a:gd name="connsiteX894" fmla="*/ 7760 w 10785"/>
                  <a:gd name="connsiteY894" fmla="*/ 2470 h 10000"/>
                  <a:gd name="connsiteX895" fmla="*/ 7751 w 10785"/>
                  <a:gd name="connsiteY895" fmla="*/ 2470 h 10000"/>
                  <a:gd name="connsiteX896" fmla="*/ 7705 w 10785"/>
                  <a:gd name="connsiteY896" fmla="*/ 2462 h 10000"/>
                  <a:gd name="connsiteX897" fmla="*/ 7673 w 10785"/>
                  <a:gd name="connsiteY897" fmla="*/ 2419 h 10000"/>
                  <a:gd name="connsiteX898" fmla="*/ 7627 w 10785"/>
                  <a:gd name="connsiteY898" fmla="*/ 2419 h 10000"/>
                  <a:gd name="connsiteX899" fmla="*/ 7613 w 10785"/>
                  <a:gd name="connsiteY899" fmla="*/ 2410 h 10000"/>
                  <a:gd name="connsiteX900" fmla="*/ 7493 w 10785"/>
                  <a:gd name="connsiteY900" fmla="*/ 2393 h 10000"/>
                  <a:gd name="connsiteX901" fmla="*/ 7479 w 10785"/>
                  <a:gd name="connsiteY901" fmla="*/ 2385 h 10000"/>
                  <a:gd name="connsiteX902" fmla="*/ 7479 w 10785"/>
                  <a:gd name="connsiteY902" fmla="*/ 2376 h 10000"/>
                  <a:gd name="connsiteX903" fmla="*/ 7465 w 10785"/>
                  <a:gd name="connsiteY903" fmla="*/ 2359 h 10000"/>
                  <a:gd name="connsiteX904" fmla="*/ 7447 w 10785"/>
                  <a:gd name="connsiteY904" fmla="*/ 2350 h 10000"/>
                  <a:gd name="connsiteX905" fmla="*/ 7433 w 10785"/>
                  <a:gd name="connsiteY905" fmla="*/ 2376 h 10000"/>
                  <a:gd name="connsiteX906" fmla="*/ 7433 w 10785"/>
                  <a:gd name="connsiteY906" fmla="*/ 2385 h 10000"/>
                  <a:gd name="connsiteX907" fmla="*/ 7447 w 10785"/>
                  <a:gd name="connsiteY907" fmla="*/ 2410 h 10000"/>
                  <a:gd name="connsiteX908" fmla="*/ 7447 w 10785"/>
                  <a:gd name="connsiteY908" fmla="*/ 2436 h 10000"/>
                  <a:gd name="connsiteX909" fmla="*/ 7452 w 10785"/>
                  <a:gd name="connsiteY909" fmla="*/ 2462 h 10000"/>
                  <a:gd name="connsiteX910" fmla="*/ 7447 w 10785"/>
                  <a:gd name="connsiteY910" fmla="*/ 2470 h 10000"/>
                  <a:gd name="connsiteX911" fmla="*/ 7424 w 10785"/>
                  <a:gd name="connsiteY911" fmla="*/ 2513 h 10000"/>
                  <a:gd name="connsiteX912" fmla="*/ 7419 w 10785"/>
                  <a:gd name="connsiteY912" fmla="*/ 2556 h 10000"/>
                  <a:gd name="connsiteX913" fmla="*/ 7406 w 10785"/>
                  <a:gd name="connsiteY913" fmla="*/ 2624 h 10000"/>
                  <a:gd name="connsiteX914" fmla="*/ 7392 w 10785"/>
                  <a:gd name="connsiteY914" fmla="*/ 2624 h 10000"/>
                  <a:gd name="connsiteX915" fmla="*/ 7373 w 10785"/>
                  <a:gd name="connsiteY915" fmla="*/ 2650 h 10000"/>
                  <a:gd name="connsiteX916" fmla="*/ 7364 w 10785"/>
                  <a:gd name="connsiteY916" fmla="*/ 2684 h 10000"/>
                  <a:gd name="connsiteX917" fmla="*/ 7364 w 10785"/>
                  <a:gd name="connsiteY917" fmla="*/ 2692 h 10000"/>
                  <a:gd name="connsiteX918" fmla="*/ 7373 w 10785"/>
                  <a:gd name="connsiteY918" fmla="*/ 2718 h 10000"/>
                  <a:gd name="connsiteX919" fmla="*/ 7373 w 10785"/>
                  <a:gd name="connsiteY919" fmla="*/ 2744 h 10000"/>
                  <a:gd name="connsiteX920" fmla="*/ 7359 w 10785"/>
                  <a:gd name="connsiteY920" fmla="*/ 2744 h 10000"/>
                  <a:gd name="connsiteX921" fmla="*/ 7359 w 10785"/>
                  <a:gd name="connsiteY921" fmla="*/ 2795 h 10000"/>
                  <a:gd name="connsiteX922" fmla="*/ 7364 w 10785"/>
                  <a:gd name="connsiteY922" fmla="*/ 2821 h 10000"/>
                  <a:gd name="connsiteX923" fmla="*/ 7378 w 10785"/>
                  <a:gd name="connsiteY923" fmla="*/ 2846 h 10000"/>
                  <a:gd name="connsiteX924" fmla="*/ 7378 w 10785"/>
                  <a:gd name="connsiteY924" fmla="*/ 2855 h 10000"/>
                  <a:gd name="connsiteX925" fmla="*/ 7378 w 10785"/>
                  <a:gd name="connsiteY925" fmla="*/ 2880 h 10000"/>
                  <a:gd name="connsiteX926" fmla="*/ 7378 w 10785"/>
                  <a:gd name="connsiteY926" fmla="*/ 2906 h 10000"/>
                  <a:gd name="connsiteX927" fmla="*/ 7364 w 10785"/>
                  <a:gd name="connsiteY927" fmla="*/ 2906 h 10000"/>
                  <a:gd name="connsiteX928" fmla="*/ 7346 w 10785"/>
                  <a:gd name="connsiteY928" fmla="*/ 2880 h 10000"/>
                  <a:gd name="connsiteX929" fmla="*/ 7332 w 10785"/>
                  <a:gd name="connsiteY929" fmla="*/ 2915 h 10000"/>
                  <a:gd name="connsiteX930" fmla="*/ 7318 w 10785"/>
                  <a:gd name="connsiteY930" fmla="*/ 2906 h 10000"/>
                  <a:gd name="connsiteX931" fmla="*/ 7313 w 10785"/>
                  <a:gd name="connsiteY931" fmla="*/ 2915 h 10000"/>
                  <a:gd name="connsiteX932" fmla="*/ 7313 w 10785"/>
                  <a:gd name="connsiteY932" fmla="*/ 2906 h 10000"/>
                  <a:gd name="connsiteX933" fmla="*/ 7286 w 10785"/>
                  <a:gd name="connsiteY933" fmla="*/ 2940 h 10000"/>
                  <a:gd name="connsiteX934" fmla="*/ 7276 w 10785"/>
                  <a:gd name="connsiteY934" fmla="*/ 2966 h 10000"/>
                  <a:gd name="connsiteX935" fmla="*/ 7272 w 10785"/>
                  <a:gd name="connsiteY935" fmla="*/ 2983 h 10000"/>
                  <a:gd name="connsiteX936" fmla="*/ 7267 w 10785"/>
                  <a:gd name="connsiteY936" fmla="*/ 3009 h 10000"/>
                  <a:gd name="connsiteX937" fmla="*/ 7253 w 10785"/>
                  <a:gd name="connsiteY937" fmla="*/ 3009 h 10000"/>
                  <a:gd name="connsiteX938" fmla="*/ 7244 w 10785"/>
                  <a:gd name="connsiteY938" fmla="*/ 3017 h 10000"/>
                  <a:gd name="connsiteX939" fmla="*/ 7240 w 10785"/>
                  <a:gd name="connsiteY939" fmla="*/ 3009 h 10000"/>
                  <a:gd name="connsiteX940" fmla="*/ 7230 w 10785"/>
                  <a:gd name="connsiteY940" fmla="*/ 2991 h 10000"/>
                  <a:gd name="connsiteX941" fmla="*/ 7226 w 10785"/>
                  <a:gd name="connsiteY941" fmla="*/ 2983 h 10000"/>
                  <a:gd name="connsiteX942" fmla="*/ 7226 w 10785"/>
                  <a:gd name="connsiteY942" fmla="*/ 2966 h 10000"/>
                  <a:gd name="connsiteX943" fmla="*/ 7212 w 10785"/>
                  <a:gd name="connsiteY943" fmla="*/ 2957 h 10000"/>
                  <a:gd name="connsiteX944" fmla="*/ 7212 w 10785"/>
                  <a:gd name="connsiteY944" fmla="*/ 2932 h 10000"/>
                  <a:gd name="connsiteX945" fmla="*/ 7198 w 10785"/>
                  <a:gd name="connsiteY945" fmla="*/ 2915 h 10000"/>
                  <a:gd name="connsiteX946" fmla="*/ 7194 w 10785"/>
                  <a:gd name="connsiteY946" fmla="*/ 2915 h 10000"/>
                  <a:gd name="connsiteX947" fmla="*/ 7157 w 10785"/>
                  <a:gd name="connsiteY947" fmla="*/ 2880 h 10000"/>
                  <a:gd name="connsiteX948" fmla="*/ 7138 w 10785"/>
                  <a:gd name="connsiteY948" fmla="*/ 2880 h 10000"/>
                  <a:gd name="connsiteX949" fmla="*/ 7120 w 10785"/>
                  <a:gd name="connsiteY949" fmla="*/ 2872 h 10000"/>
                  <a:gd name="connsiteX950" fmla="*/ 7111 w 10785"/>
                  <a:gd name="connsiteY950" fmla="*/ 2846 h 10000"/>
                  <a:gd name="connsiteX951" fmla="*/ 7106 w 10785"/>
                  <a:gd name="connsiteY951" fmla="*/ 2846 h 10000"/>
                  <a:gd name="connsiteX952" fmla="*/ 7092 w 10785"/>
                  <a:gd name="connsiteY952" fmla="*/ 2829 h 10000"/>
                  <a:gd name="connsiteX953" fmla="*/ 7051 w 10785"/>
                  <a:gd name="connsiteY953" fmla="*/ 2829 h 10000"/>
                  <a:gd name="connsiteX954" fmla="*/ 7037 w 10785"/>
                  <a:gd name="connsiteY954" fmla="*/ 2880 h 10000"/>
                  <a:gd name="connsiteX955" fmla="*/ 7037 w 10785"/>
                  <a:gd name="connsiteY955" fmla="*/ 2906 h 10000"/>
                  <a:gd name="connsiteX956" fmla="*/ 7037 w 10785"/>
                  <a:gd name="connsiteY956" fmla="*/ 2932 h 10000"/>
                  <a:gd name="connsiteX957" fmla="*/ 7037 w 10785"/>
                  <a:gd name="connsiteY957" fmla="*/ 2940 h 10000"/>
                  <a:gd name="connsiteX958" fmla="*/ 7023 w 10785"/>
                  <a:gd name="connsiteY958" fmla="*/ 2906 h 10000"/>
                  <a:gd name="connsiteX959" fmla="*/ 7023 w 10785"/>
                  <a:gd name="connsiteY959" fmla="*/ 2915 h 10000"/>
                  <a:gd name="connsiteX960" fmla="*/ 6991 w 10785"/>
                  <a:gd name="connsiteY960" fmla="*/ 2906 h 10000"/>
                  <a:gd name="connsiteX961" fmla="*/ 6977 w 10785"/>
                  <a:gd name="connsiteY961" fmla="*/ 2915 h 10000"/>
                  <a:gd name="connsiteX962" fmla="*/ 6963 w 10785"/>
                  <a:gd name="connsiteY962" fmla="*/ 2915 h 10000"/>
                  <a:gd name="connsiteX963" fmla="*/ 6949 w 10785"/>
                  <a:gd name="connsiteY963" fmla="*/ 2872 h 10000"/>
                  <a:gd name="connsiteX964" fmla="*/ 6935 w 10785"/>
                  <a:gd name="connsiteY964" fmla="*/ 2855 h 10000"/>
                  <a:gd name="connsiteX965" fmla="*/ 6922 w 10785"/>
                  <a:gd name="connsiteY965" fmla="*/ 2803 h 10000"/>
                  <a:gd name="connsiteX966" fmla="*/ 6917 w 10785"/>
                  <a:gd name="connsiteY966" fmla="*/ 2786 h 10000"/>
                  <a:gd name="connsiteX967" fmla="*/ 6903 w 10785"/>
                  <a:gd name="connsiteY967" fmla="*/ 2709 h 10000"/>
                  <a:gd name="connsiteX968" fmla="*/ 6903 w 10785"/>
                  <a:gd name="connsiteY968" fmla="*/ 2692 h 10000"/>
                  <a:gd name="connsiteX969" fmla="*/ 6899 w 10785"/>
                  <a:gd name="connsiteY969" fmla="*/ 2709 h 10000"/>
                  <a:gd name="connsiteX970" fmla="*/ 6857 w 10785"/>
                  <a:gd name="connsiteY970" fmla="*/ 2872 h 10000"/>
                  <a:gd name="connsiteX971" fmla="*/ 6857 w 10785"/>
                  <a:gd name="connsiteY971" fmla="*/ 3009 h 10000"/>
                  <a:gd name="connsiteX972" fmla="*/ 6848 w 10785"/>
                  <a:gd name="connsiteY972" fmla="*/ 3017 h 10000"/>
                  <a:gd name="connsiteX973" fmla="*/ 6839 w 10785"/>
                  <a:gd name="connsiteY973" fmla="*/ 3068 h 10000"/>
                  <a:gd name="connsiteX974" fmla="*/ 6829 w 10785"/>
                  <a:gd name="connsiteY974" fmla="*/ 3077 h 10000"/>
                  <a:gd name="connsiteX975" fmla="*/ 6829 w 10785"/>
                  <a:gd name="connsiteY975" fmla="*/ 3128 h 10000"/>
                  <a:gd name="connsiteX976" fmla="*/ 6816 w 10785"/>
                  <a:gd name="connsiteY976" fmla="*/ 3154 h 10000"/>
                  <a:gd name="connsiteX977" fmla="*/ 6811 w 10785"/>
                  <a:gd name="connsiteY977" fmla="*/ 3179 h 10000"/>
                  <a:gd name="connsiteX978" fmla="*/ 6797 w 10785"/>
                  <a:gd name="connsiteY978" fmla="*/ 3171 h 10000"/>
                  <a:gd name="connsiteX979" fmla="*/ 6783 w 10785"/>
                  <a:gd name="connsiteY979" fmla="*/ 3103 h 10000"/>
                  <a:gd name="connsiteX980" fmla="*/ 6779 w 10785"/>
                  <a:gd name="connsiteY980" fmla="*/ 3094 h 10000"/>
                  <a:gd name="connsiteX981" fmla="*/ 6779 w 10785"/>
                  <a:gd name="connsiteY981" fmla="*/ 3120 h 10000"/>
                  <a:gd name="connsiteX982" fmla="*/ 6770 w 10785"/>
                  <a:gd name="connsiteY982" fmla="*/ 3128 h 10000"/>
                  <a:gd name="connsiteX983" fmla="*/ 6765 w 10785"/>
                  <a:gd name="connsiteY983" fmla="*/ 3103 h 10000"/>
                  <a:gd name="connsiteX984" fmla="*/ 6756 w 10785"/>
                  <a:gd name="connsiteY984" fmla="*/ 3103 h 10000"/>
                  <a:gd name="connsiteX985" fmla="*/ 6742 w 10785"/>
                  <a:gd name="connsiteY985" fmla="*/ 3103 h 10000"/>
                  <a:gd name="connsiteX986" fmla="*/ 6737 w 10785"/>
                  <a:gd name="connsiteY986" fmla="*/ 3077 h 10000"/>
                  <a:gd name="connsiteX987" fmla="*/ 6737 w 10785"/>
                  <a:gd name="connsiteY987" fmla="*/ 3068 h 10000"/>
                  <a:gd name="connsiteX988" fmla="*/ 6728 w 10785"/>
                  <a:gd name="connsiteY988" fmla="*/ 3043 h 10000"/>
                  <a:gd name="connsiteX989" fmla="*/ 6724 w 10785"/>
                  <a:gd name="connsiteY989" fmla="*/ 3051 h 10000"/>
                  <a:gd name="connsiteX990" fmla="*/ 6714 w 10785"/>
                  <a:gd name="connsiteY990" fmla="*/ 3043 h 10000"/>
                  <a:gd name="connsiteX991" fmla="*/ 6710 w 10785"/>
                  <a:gd name="connsiteY991" fmla="*/ 3034 h 10000"/>
                  <a:gd name="connsiteX992" fmla="*/ 6705 w 10785"/>
                  <a:gd name="connsiteY992" fmla="*/ 2983 h 10000"/>
                  <a:gd name="connsiteX993" fmla="*/ 6696 w 10785"/>
                  <a:gd name="connsiteY993" fmla="*/ 2966 h 10000"/>
                  <a:gd name="connsiteX994" fmla="*/ 6691 w 10785"/>
                  <a:gd name="connsiteY994" fmla="*/ 2983 h 10000"/>
                  <a:gd name="connsiteX995" fmla="*/ 6677 w 10785"/>
                  <a:gd name="connsiteY995" fmla="*/ 2897 h 10000"/>
                  <a:gd name="connsiteX996" fmla="*/ 6677 w 10785"/>
                  <a:gd name="connsiteY996" fmla="*/ 2897 h 10000"/>
                  <a:gd name="connsiteX997" fmla="*/ 6677 w 10785"/>
                  <a:gd name="connsiteY997" fmla="*/ 2872 h 10000"/>
                  <a:gd name="connsiteX998" fmla="*/ 6668 w 10785"/>
                  <a:gd name="connsiteY998" fmla="*/ 2821 h 10000"/>
                  <a:gd name="connsiteX999" fmla="*/ 6664 w 10785"/>
                  <a:gd name="connsiteY999" fmla="*/ 2829 h 10000"/>
                  <a:gd name="connsiteX1000" fmla="*/ 6654 w 10785"/>
                  <a:gd name="connsiteY1000" fmla="*/ 2846 h 10000"/>
                  <a:gd name="connsiteX1001" fmla="*/ 6650 w 10785"/>
                  <a:gd name="connsiteY1001" fmla="*/ 2829 h 10000"/>
                  <a:gd name="connsiteX1002" fmla="*/ 6650 w 10785"/>
                  <a:gd name="connsiteY1002" fmla="*/ 2803 h 10000"/>
                  <a:gd name="connsiteX1003" fmla="*/ 6650 w 10785"/>
                  <a:gd name="connsiteY1003" fmla="*/ 2795 h 10000"/>
                  <a:gd name="connsiteX1004" fmla="*/ 6641 w 10785"/>
                  <a:gd name="connsiteY1004" fmla="*/ 2786 h 10000"/>
                  <a:gd name="connsiteX1005" fmla="*/ 6636 w 10785"/>
                  <a:gd name="connsiteY1005" fmla="*/ 2735 h 10000"/>
                  <a:gd name="connsiteX1006" fmla="*/ 6664 w 10785"/>
                  <a:gd name="connsiteY1006" fmla="*/ 2667 h 10000"/>
                  <a:gd name="connsiteX1007" fmla="*/ 6668 w 10785"/>
                  <a:gd name="connsiteY1007" fmla="*/ 2684 h 10000"/>
                  <a:gd name="connsiteX1008" fmla="*/ 6677 w 10785"/>
                  <a:gd name="connsiteY1008" fmla="*/ 2667 h 10000"/>
                  <a:gd name="connsiteX1009" fmla="*/ 6668 w 10785"/>
                  <a:gd name="connsiteY1009" fmla="*/ 2667 h 10000"/>
                  <a:gd name="connsiteX1010" fmla="*/ 6668 w 10785"/>
                  <a:gd name="connsiteY1010" fmla="*/ 2650 h 10000"/>
                  <a:gd name="connsiteX1011" fmla="*/ 6682 w 10785"/>
                  <a:gd name="connsiteY1011" fmla="*/ 2650 h 10000"/>
                  <a:gd name="connsiteX1012" fmla="*/ 6691 w 10785"/>
                  <a:gd name="connsiteY1012" fmla="*/ 2624 h 10000"/>
                  <a:gd name="connsiteX1013" fmla="*/ 6682 w 10785"/>
                  <a:gd name="connsiteY1013" fmla="*/ 2632 h 10000"/>
                  <a:gd name="connsiteX1014" fmla="*/ 6682 w 10785"/>
                  <a:gd name="connsiteY1014" fmla="*/ 2624 h 10000"/>
                  <a:gd name="connsiteX1015" fmla="*/ 6691 w 10785"/>
                  <a:gd name="connsiteY1015" fmla="*/ 2607 h 10000"/>
                  <a:gd name="connsiteX1016" fmla="*/ 6691 w 10785"/>
                  <a:gd name="connsiteY1016" fmla="*/ 2598 h 10000"/>
                  <a:gd name="connsiteX1017" fmla="*/ 6691 w 10785"/>
                  <a:gd name="connsiteY1017" fmla="*/ 2581 h 10000"/>
                  <a:gd name="connsiteX1018" fmla="*/ 6696 w 10785"/>
                  <a:gd name="connsiteY1018" fmla="*/ 2530 h 10000"/>
                  <a:gd name="connsiteX1019" fmla="*/ 6677 w 10785"/>
                  <a:gd name="connsiteY1019" fmla="*/ 2513 h 10000"/>
                  <a:gd name="connsiteX1020" fmla="*/ 6677 w 10785"/>
                  <a:gd name="connsiteY1020" fmla="*/ 2496 h 10000"/>
                  <a:gd name="connsiteX1021" fmla="*/ 6682 w 10785"/>
                  <a:gd name="connsiteY1021" fmla="*/ 2470 h 10000"/>
                  <a:gd name="connsiteX1022" fmla="*/ 6668 w 10785"/>
                  <a:gd name="connsiteY1022" fmla="*/ 2462 h 10000"/>
                  <a:gd name="connsiteX1023" fmla="*/ 6677 w 10785"/>
                  <a:gd name="connsiteY1023" fmla="*/ 2436 h 10000"/>
                  <a:gd name="connsiteX1024" fmla="*/ 6682 w 10785"/>
                  <a:gd name="connsiteY1024" fmla="*/ 2419 h 10000"/>
                  <a:gd name="connsiteX1025" fmla="*/ 6682 w 10785"/>
                  <a:gd name="connsiteY1025" fmla="*/ 2393 h 10000"/>
                  <a:gd name="connsiteX1026" fmla="*/ 6682 w 10785"/>
                  <a:gd name="connsiteY1026" fmla="*/ 2385 h 10000"/>
                  <a:gd name="connsiteX1027" fmla="*/ 6682 w 10785"/>
                  <a:gd name="connsiteY1027" fmla="*/ 2385 h 10000"/>
                  <a:gd name="connsiteX1028" fmla="*/ 6677 w 10785"/>
                  <a:gd name="connsiteY1028" fmla="*/ 2376 h 10000"/>
                  <a:gd name="connsiteX1029" fmla="*/ 6682 w 10785"/>
                  <a:gd name="connsiteY1029" fmla="*/ 2359 h 10000"/>
                  <a:gd name="connsiteX1030" fmla="*/ 6677 w 10785"/>
                  <a:gd name="connsiteY1030" fmla="*/ 2333 h 10000"/>
                  <a:gd name="connsiteX1031" fmla="*/ 6691 w 10785"/>
                  <a:gd name="connsiteY1031" fmla="*/ 2333 h 10000"/>
                  <a:gd name="connsiteX1032" fmla="*/ 6691 w 10785"/>
                  <a:gd name="connsiteY1032" fmla="*/ 2325 h 10000"/>
                  <a:gd name="connsiteX1033" fmla="*/ 6691 w 10785"/>
                  <a:gd name="connsiteY1033" fmla="*/ 2308 h 10000"/>
                  <a:gd name="connsiteX1034" fmla="*/ 6691 w 10785"/>
                  <a:gd name="connsiteY1034" fmla="*/ 2299 h 10000"/>
                  <a:gd name="connsiteX1035" fmla="*/ 6691 w 10785"/>
                  <a:gd name="connsiteY1035" fmla="*/ 2282 h 10000"/>
                  <a:gd name="connsiteX1036" fmla="*/ 6691 w 10785"/>
                  <a:gd name="connsiteY1036" fmla="*/ 2274 h 10000"/>
                  <a:gd name="connsiteX1037" fmla="*/ 6668 w 10785"/>
                  <a:gd name="connsiteY1037" fmla="*/ 2248 h 10000"/>
                  <a:gd name="connsiteX1038" fmla="*/ 6664 w 10785"/>
                  <a:gd name="connsiteY1038" fmla="*/ 2222 h 10000"/>
                  <a:gd name="connsiteX1039" fmla="*/ 6654 w 10785"/>
                  <a:gd name="connsiteY1039" fmla="*/ 2214 h 10000"/>
                  <a:gd name="connsiteX1040" fmla="*/ 6654 w 10785"/>
                  <a:gd name="connsiteY1040" fmla="*/ 2188 h 10000"/>
                  <a:gd name="connsiteX1041" fmla="*/ 6622 w 10785"/>
                  <a:gd name="connsiteY1041" fmla="*/ 2162 h 10000"/>
                  <a:gd name="connsiteX1042" fmla="*/ 6631 w 10785"/>
                  <a:gd name="connsiteY1042" fmla="*/ 2145 h 10000"/>
                  <a:gd name="connsiteX1043" fmla="*/ 6622 w 10785"/>
                  <a:gd name="connsiteY1043" fmla="*/ 2120 h 10000"/>
                  <a:gd name="connsiteX1044" fmla="*/ 6608 w 10785"/>
                  <a:gd name="connsiteY1044" fmla="*/ 2120 h 10000"/>
                  <a:gd name="connsiteX1045" fmla="*/ 6604 w 10785"/>
                  <a:gd name="connsiteY1045" fmla="*/ 2111 h 10000"/>
                  <a:gd name="connsiteX1046" fmla="*/ 6608 w 10785"/>
                  <a:gd name="connsiteY1046" fmla="*/ 2111 h 10000"/>
                  <a:gd name="connsiteX1047" fmla="*/ 6604 w 10785"/>
                  <a:gd name="connsiteY1047" fmla="*/ 2085 h 10000"/>
                  <a:gd name="connsiteX1048" fmla="*/ 6581 w 10785"/>
                  <a:gd name="connsiteY1048" fmla="*/ 2077 h 10000"/>
                  <a:gd name="connsiteX1049" fmla="*/ 6571 w 10785"/>
                  <a:gd name="connsiteY1049" fmla="*/ 2085 h 10000"/>
                  <a:gd name="connsiteX1050" fmla="*/ 6548 w 10785"/>
                  <a:gd name="connsiteY1050" fmla="*/ 2077 h 10000"/>
                  <a:gd name="connsiteX1051" fmla="*/ 6530 w 10785"/>
                  <a:gd name="connsiteY1051" fmla="*/ 2060 h 10000"/>
                  <a:gd name="connsiteX1052" fmla="*/ 6521 w 10785"/>
                  <a:gd name="connsiteY1052" fmla="*/ 2060 h 10000"/>
                  <a:gd name="connsiteX1053" fmla="*/ 6521 w 10785"/>
                  <a:gd name="connsiteY1053" fmla="*/ 2085 h 10000"/>
                  <a:gd name="connsiteX1054" fmla="*/ 6516 w 10785"/>
                  <a:gd name="connsiteY1054" fmla="*/ 2085 h 10000"/>
                  <a:gd name="connsiteX1055" fmla="*/ 6502 w 10785"/>
                  <a:gd name="connsiteY1055" fmla="*/ 2111 h 10000"/>
                  <a:gd name="connsiteX1056" fmla="*/ 6498 w 10785"/>
                  <a:gd name="connsiteY1056" fmla="*/ 2111 h 10000"/>
                  <a:gd name="connsiteX1057" fmla="*/ 6498 w 10785"/>
                  <a:gd name="connsiteY1057" fmla="*/ 2103 h 10000"/>
                  <a:gd name="connsiteX1058" fmla="*/ 6475 w 10785"/>
                  <a:gd name="connsiteY1058" fmla="*/ 2051 h 10000"/>
                  <a:gd name="connsiteX1059" fmla="*/ 6470 w 10785"/>
                  <a:gd name="connsiteY1059" fmla="*/ 2060 h 10000"/>
                  <a:gd name="connsiteX1060" fmla="*/ 6456 w 10785"/>
                  <a:gd name="connsiteY1060" fmla="*/ 2051 h 10000"/>
                  <a:gd name="connsiteX1061" fmla="*/ 6447 w 10785"/>
                  <a:gd name="connsiteY1061" fmla="*/ 2051 h 10000"/>
                  <a:gd name="connsiteX1062" fmla="*/ 6433 w 10785"/>
                  <a:gd name="connsiteY1062" fmla="*/ 2026 h 10000"/>
                  <a:gd name="connsiteX1063" fmla="*/ 6433 w 10785"/>
                  <a:gd name="connsiteY1063" fmla="*/ 2034 h 10000"/>
                  <a:gd name="connsiteX1064" fmla="*/ 6429 w 10785"/>
                  <a:gd name="connsiteY1064" fmla="*/ 2026 h 10000"/>
                  <a:gd name="connsiteX1065" fmla="*/ 6424 w 10785"/>
                  <a:gd name="connsiteY1065" fmla="*/ 2034 h 10000"/>
                  <a:gd name="connsiteX1066" fmla="*/ 6410 w 10785"/>
                  <a:gd name="connsiteY1066" fmla="*/ 2026 h 10000"/>
                  <a:gd name="connsiteX1067" fmla="*/ 6410 w 10785"/>
                  <a:gd name="connsiteY1067" fmla="*/ 1991 h 10000"/>
                  <a:gd name="connsiteX1068" fmla="*/ 6401 w 10785"/>
                  <a:gd name="connsiteY1068" fmla="*/ 1991 h 10000"/>
                  <a:gd name="connsiteX1069" fmla="*/ 6396 w 10785"/>
                  <a:gd name="connsiteY1069" fmla="*/ 2000 h 10000"/>
                  <a:gd name="connsiteX1070" fmla="*/ 6382 w 10785"/>
                  <a:gd name="connsiteY1070" fmla="*/ 1966 h 10000"/>
                  <a:gd name="connsiteX1071" fmla="*/ 6373 w 10785"/>
                  <a:gd name="connsiteY1071" fmla="*/ 1974 h 10000"/>
                  <a:gd name="connsiteX1072" fmla="*/ 6369 w 10785"/>
                  <a:gd name="connsiteY1072" fmla="*/ 1966 h 10000"/>
                  <a:gd name="connsiteX1073" fmla="*/ 6341 w 10785"/>
                  <a:gd name="connsiteY1073" fmla="*/ 1949 h 10000"/>
                  <a:gd name="connsiteX1074" fmla="*/ 6327 w 10785"/>
                  <a:gd name="connsiteY1074" fmla="*/ 1923 h 10000"/>
                  <a:gd name="connsiteX1075" fmla="*/ 6323 w 10785"/>
                  <a:gd name="connsiteY1075" fmla="*/ 1923 h 10000"/>
                  <a:gd name="connsiteX1076" fmla="*/ 6323 w 10785"/>
                  <a:gd name="connsiteY1076" fmla="*/ 1966 h 10000"/>
                  <a:gd name="connsiteX1077" fmla="*/ 6323 w 10785"/>
                  <a:gd name="connsiteY1077" fmla="*/ 1991 h 10000"/>
                  <a:gd name="connsiteX1078" fmla="*/ 6313 w 10785"/>
                  <a:gd name="connsiteY1078" fmla="*/ 1991 h 10000"/>
                  <a:gd name="connsiteX1079" fmla="*/ 6300 w 10785"/>
                  <a:gd name="connsiteY1079" fmla="*/ 1991 h 10000"/>
                  <a:gd name="connsiteX1080" fmla="*/ 6290 w 10785"/>
                  <a:gd name="connsiteY1080" fmla="*/ 1949 h 10000"/>
                  <a:gd name="connsiteX1081" fmla="*/ 6276 w 10785"/>
                  <a:gd name="connsiteY1081" fmla="*/ 2103 h 10000"/>
                  <a:gd name="connsiteX1082" fmla="*/ 6281 w 10785"/>
                  <a:gd name="connsiteY1082" fmla="*/ 2103 h 10000"/>
                  <a:gd name="connsiteX1083" fmla="*/ 6276 w 10785"/>
                  <a:gd name="connsiteY1083" fmla="*/ 2111 h 10000"/>
                  <a:gd name="connsiteX1084" fmla="*/ 6276 w 10785"/>
                  <a:gd name="connsiteY1084" fmla="*/ 2120 h 10000"/>
                  <a:gd name="connsiteX1085" fmla="*/ 6295 w 10785"/>
                  <a:gd name="connsiteY1085" fmla="*/ 2239 h 10000"/>
                  <a:gd name="connsiteX1086" fmla="*/ 6290 w 10785"/>
                  <a:gd name="connsiteY1086" fmla="*/ 2248 h 10000"/>
                  <a:gd name="connsiteX1087" fmla="*/ 6281 w 10785"/>
                  <a:gd name="connsiteY1087" fmla="*/ 2274 h 10000"/>
                  <a:gd name="connsiteX1088" fmla="*/ 6249 w 10785"/>
                  <a:gd name="connsiteY1088" fmla="*/ 2274 h 10000"/>
                  <a:gd name="connsiteX1089" fmla="*/ 6226 w 10785"/>
                  <a:gd name="connsiteY1089" fmla="*/ 2308 h 10000"/>
                  <a:gd name="connsiteX1090" fmla="*/ 6221 w 10785"/>
                  <a:gd name="connsiteY1090" fmla="*/ 2299 h 10000"/>
                  <a:gd name="connsiteX1091" fmla="*/ 6221 w 10785"/>
                  <a:gd name="connsiteY1091" fmla="*/ 2308 h 10000"/>
                  <a:gd name="connsiteX1092" fmla="*/ 6217 w 10785"/>
                  <a:gd name="connsiteY1092" fmla="*/ 2299 h 10000"/>
                  <a:gd name="connsiteX1093" fmla="*/ 6194 w 10785"/>
                  <a:gd name="connsiteY1093" fmla="*/ 2308 h 10000"/>
                  <a:gd name="connsiteX1094" fmla="*/ 6180 w 10785"/>
                  <a:gd name="connsiteY1094" fmla="*/ 2299 h 10000"/>
                  <a:gd name="connsiteX1095" fmla="*/ 6143 w 10785"/>
                  <a:gd name="connsiteY1095" fmla="*/ 2308 h 10000"/>
                  <a:gd name="connsiteX1096" fmla="*/ 6134 w 10785"/>
                  <a:gd name="connsiteY1096" fmla="*/ 2325 h 10000"/>
                  <a:gd name="connsiteX1097" fmla="*/ 6115 w 10785"/>
                  <a:gd name="connsiteY1097" fmla="*/ 2282 h 10000"/>
                  <a:gd name="connsiteX1098" fmla="*/ 6069 w 10785"/>
                  <a:gd name="connsiteY1098" fmla="*/ 2274 h 10000"/>
                  <a:gd name="connsiteX1099" fmla="*/ 6069 w 10785"/>
                  <a:gd name="connsiteY1099" fmla="*/ 2282 h 10000"/>
                  <a:gd name="connsiteX1100" fmla="*/ 6060 w 10785"/>
                  <a:gd name="connsiteY1100" fmla="*/ 2299 h 10000"/>
                  <a:gd name="connsiteX1101" fmla="*/ 5972 w 10785"/>
                  <a:gd name="connsiteY1101" fmla="*/ 2214 h 10000"/>
                  <a:gd name="connsiteX1102" fmla="*/ 5968 w 10785"/>
                  <a:gd name="connsiteY1102" fmla="*/ 2197 h 10000"/>
                  <a:gd name="connsiteX1103" fmla="*/ 5968 w 10785"/>
                  <a:gd name="connsiteY1103" fmla="*/ 2171 h 10000"/>
                  <a:gd name="connsiteX1104" fmla="*/ 5968 w 10785"/>
                  <a:gd name="connsiteY1104" fmla="*/ 2162 h 10000"/>
                  <a:gd name="connsiteX1105" fmla="*/ 5968 w 10785"/>
                  <a:gd name="connsiteY1105" fmla="*/ 2120 h 10000"/>
                  <a:gd name="connsiteX1106" fmla="*/ 5968 w 10785"/>
                  <a:gd name="connsiteY1106" fmla="*/ 2111 h 10000"/>
                  <a:gd name="connsiteX1107" fmla="*/ 5972 w 10785"/>
                  <a:gd name="connsiteY1107" fmla="*/ 2103 h 10000"/>
                  <a:gd name="connsiteX1108" fmla="*/ 5986 w 10785"/>
                  <a:gd name="connsiteY1108" fmla="*/ 2103 h 10000"/>
                  <a:gd name="connsiteX1109" fmla="*/ 5986 w 10785"/>
                  <a:gd name="connsiteY1109" fmla="*/ 2085 h 10000"/>
                  <a:gd name="connsiteX1110" fmla="*/ 5995 w 10785"/>
                  <a:gd name="connsiteY1110" fmla="*/ 2085 h 10000"/>
                  <a:gd name="connsiteX1111" fmla="*/ 5995 w 10785"/>
                  <a:gd name="connsiteY1111" fmla="*/ 2077 h 10000"/>
                  <a:gd name="connsiteX1112" fmla="*/ 5986 w 10785"/>
                  <a:gd name="connsiteY1112" fmla="*/ 2060 h 10000"/>
                  <a:gd name="connsiteX1113" fmla="*/ 5954 w 10785"/>
                  <a:gd name="connsiteY1113" fmla="*/ 2060 h 10000"/>
                  <a:gd name="connsiteX1114" fmla="*/ 5940 w 10785"/>
                  <a:gd name="connsiteY1114" fmla="*/ 2051 h 10000"/>
                  <a:gd name="connsiteX1115" fmla="*/ 5922 w 10785"/>
                  <a:gd name="connsiteY1115" fmla="*/ 2060 h 10000"/>
                  <a:gd name="connsiteX1116" fmla="*/ 5885 w 10785"/>
                  <a:gd name="connsiteY1116" fmla="*/ 2051 h 10000"/>
                  <a:gd name="connsiteX1117" fmla="*/ 5876 w 10785"/>
                  <a:gd name="connsiteY1117" fmla="*/ 2026 h 10000"/>
                  <a:gd name="connsiteX1118" fmla="*/ 5862 w 10785"/>
                  <a:gd name="connsiteY1118" fmla="*/ 2026 h 10000"/>
                  <a:gd name="connsiteX1119" fmla="*/ 5848 w 10785"/>
                  <a:gd name="connsiteY1119" fmla="*/ 2026 h 10000"/>
                  <a:gd name="connsiteX1120" fmla="*/ 5825 w 10785"/>
                  <a:gd name="connsiteY1120" fmla="*/ 2026 h 10000"/>
                  <a:gd name="connsiteX1121" fmla="*/ 5788 w 10785"/>
                  <a:gd name="connsiteY1121" fmla="*/ 1991 h 10000"/>
                  <a:gd name="connsiteX1122" fmla="*/ 5760 w 10785"/>
                  <a:gd name="connsiteY1122" fmla="*/ 2000 h 10000"/>
                  <a:gd name="connsiteX1123" fmla="*/ 5760 w 10785"/>
                  <a:gd name="connsiteY1123" fmla="*/ 2026 h 10000"/>
                  <a:gd name="connsiteX1124" fmla="*/ 5714 w 10785"/>
                  <a:gd name="connsiteY1124" fmla="*/ 2051 h 10000"/>
                  <a:gd name="connsiteX1125" fmla="*/ 5687 w 10785"/>
                  <a:gd name="connsiteY1125" fmla="*/ 2034 h 10000"/>
                  <a:gd name="connsiteX1126" fmla="*/ 5645 w 10785"/>
                  <a:gd name="connsiteY1126" fmla="*/ 2077 h 10000"/>
                  <a:gd name="connsiteX1127" fmla="*/ 5664 w 10785"/>
                  <a:gd name="connsiteY1127" fmla="*/ 2120 h 10000"/>
                  <a:gd name="connsiteX1128" fmla="*/ 5664 w 10785"/>
                  <a:gd name="connsiteY1128" fmla="*/ 2162 h 10000"/>
                  <a:gd name="connsiteX1129" fmla="*/ 5631 w 10785"/>
                  <a:gd name="connsiteY1129" fmla="*/ 2197 h 10000"/>
                  <a:gd name="connsiteX1130" fmla="*/ 5618 w 10785"/>
                  <a:gd name="connsiteY1130" fmla="*/ 2188 h 10000"/>
                  <a:gd name="connsiteX1131" fmla="*/ 5618 w 10785"/>
                  <a:gd name="connsiteY1131" fmla="*/ 2171 h 10000"/>
                  <a:gd name="connsiteX1132" fmla="*/ 5641 w 10785"/>
                  <a:gd name="connsiteY1132" fmla="*/ 2171 h 10000"/>
                  <a:gd name="connsiteX1133" fmla="*/ 5641 w 10785"/>
                  <a:gd name="connsiteY1133" fmla="*/ 2162 h 10000"/>
                  <a:gd name="connsiteX1134" fmla="*/ 5627 w 10785"/>
                  <a:gd name="connsiteY1134" fmla="*/ 2145 h 10000"/>
                  <a:gd name="connsiteX1135" fmla="*/ 5627 w 10785"/>
                  <a:gd name="connsiteY1135" fmla="*/ 2120 h 10000"/>
                  <a:gd name="connsiteX1136" fmla="*/ 5618 w 10785"/>
                  <a:gd name="connsiteY1136" fmla="*/ 2111 h 10000"/>
                  <a:gd name="connsiteX1137" fmla="*/ 5631 w 10785"/>
                  <a:gd name="connsiteY1137" fmla="*/ 2051 h 10000"/>
                  <a:gd name="connsiteX1138" fmla="*/ 5631 w 10785"/>
                  <a:gd name="connsiteY1138" fmla="*/ 2026 h 10000"/>
                  <a:gd name="connsiteX1139" fmla="*/ 5627 w 10785"/>
                  <a:gd name="connsiteY1139" fmla="*/ 1991 h 10000"/>
                  <a:gd name="connsiteX1140" fmla="*/ 5618 w 10785"/>
                  <a:gd name="connsiteY1140" fmla="*/ 1974 h 10000"/>
                  <a:gd name="connsiteX1141" fmla="*/ 5618 w 10785"/>
                  <a:gd name="connsiteY1141" fmla="*/ 1940 h 10000"/>
                  <a:gd name="connsiteX1142" fmla="*/ 5594 w 10785"/>
                  <a:gd name="connsiteY1142" fmla="*/ 1855 h 10000"/>
                  <a:gd name="connsiteX1143" fmla="*/ 5599 w 10785"/>
                  <a:gd name="connsiteY1143" fmla="*/ 1915 h 10000"/>
                  <a:gd name="connsiteX1144" fmla="*/ 5599 w 10785"/>
                  <a:gd name="connsiteY1144" fmla="*/ 1949 h 10000"/>
                  <a:gd name="connsiteX1145" fmla="*/ 5594 w 10785"/>
                  <a:gd name="connsiteY1145" fmla="*/ 1991 h 10000"/>
                  <a:gd name="connsiteX1146" fmla="*/ 5571 w 10785"/>
                  <a:gd name="connsiteY1146" fmla="*/ 2000 h 10000"/>
                  <a:gd name="connsiteX1147" fmla="*/ 5530 w 10785"/>
                  <a:gd name="connsiteY1147" fmla="*/ 1991 h 10000"/>
                  <a:gd name="connsiteX1148" fmla="*/ 5525 w 10785"/>
                  <a:gd name="connsiteY1148" fmla="*/ 2000 h 10000"/>
                  <a:gd name="connsiteX1149" fmla="*/ 5521 w 10785"/>
                  <a:gd name="connsiteY1149" fmla="*/ 1991 h 10000"/>
                  <a:gd name="connsiteX1150" fmla="*/ 5498 w 10785"/>
                  <a:gd name="connsiteY1150" fmla="*/ 1949 h 10000"/>
                  <a:gd name="connsiteX1151" fmla="*/ 5493 w 10785"/>
                  <a:gd name="connsiteY1151" fmla="*/ 1889 h 10000"/>
                  <a:gd name="connsiteX1152" fmla="*/ 5493 w 10785"/>
                  <a:gd name="connsiteY1152" fmla="*/ 1863 h 10000"/>
                  <a:gd name="connsiteX1153" fmla="*/ 5498 w 10785"/>
                  <a:gd name="connsiteY1153" fmla="*/ 1889 h 10000"/>
                  <a:gd name="connsiteX1154" fmla="*/ 5512 w 10785"/>
                  <a:gd name="connsiteY1154" fmla="*/ 1855 h 10000"/>
                  <a:gd name="connsiteX1155" fmla="*/ 5512 w 10785"/>
                  <a:gd name="connsiteY1155" fmla="*/ 1838 h 10000"/>
                  <a:gd name="connsiteX1156" fmla="*/ 5479 w 10785"/>
                  <a:gd name="connsiteY1156" fmla="*/ 1855 h 10000"/>
                  <a:gd name="connsiteX1157" fmla="*/ 5470 w 10785"/>
                  <a:gd name="connsiteY1157" fmla="*/ 1872 h 10000"/>
                  <a:gd name="connsiteX1158" fmla="*/ 5470 w 10785"/>
                  <a:gd name="connsiteY1158" fmla="*/ 1889 h 10000"/>
                  <a:gd name="connsiteX1159" fmla="*/ 5465 w 10785"/>
                  <a:gd name="connsiteY1159" fmla="*/ 1897 h 10000"/>
                  <a:gd name="connsiteX1160" fmla="*/ 5456 w 10785"/>
                  <a:gd name="connsiteY1160" fmla="*/ 1872 h 10000"/>
                  <a:gd name="connsiteX1161" fmla="*/ 5447 w 10785"/>
                  <a:gd name="connsiteY1161" fmla="*/ 1872 h 10000"/>
                  <a:gd name="connsiteX1162" fmla="*/ 5433 w 10785"/>
                  <a:gd name="connsiteY1162" fmla="*/ 1855 h 10000"/>
                  <a:gd name="connsiteX1163" fmla="*/ 5396 w 10785"/>
                  <a:gd name="connsiteY1163" fmla="*/ 1863 h 10000"/>
                  <a:gd name="connsiteX1164" fmla="*/ 5396 w 10785"/>
                  <a:gd name="connsiteY1164" fmla="*/ 1897 h 10000"/>
                  <a:gd name="connsiteX1165" fmla="*/ 5378 w 10785"/>
                  <a:gd name="connsiteY1165" fmla="*/ 1949 h 10000"/>
                  <a:gd name="connsiteX1166" fmla="*/ 5378 w 10785"/>
                  <a:gd name="connsiteY1166" fmla="*/ 1966 h 10000"/>
                  <a:gd name="connsiteX1167" fmla="*/ 5392 w 10785"/>
                  <a:gd name="connsiteY1167" fmla="*/ 2026 h 10000"/>
                  <a:gd name="connsiteX1168" fmla="*/ 5396 w 10785"/>
                  <a:gd name="connsiteY1168" fmla="*/ 2026 h 10000"/>
                  <a:gd name="connsiteX1169" fmla="*/ 5392 w 10785"/>
                  <a:gd name="connsiteY1169" fmla="*/ 2009 h 10000"/>
                  <a:gd name="connsiteX1170" fmla="*/ 5392 w 10785"/>
                  <a:gd name="connsiteY1170" fmla="*/ 2000 h 10000"/>
                  <a:gd name="connsiteX1171" fmla="*/ 5396 w 10785"/>
                  <a:gd name="connsiteY1171" fmla="*/ 2009 h 10000"/>
                  <a:gd name="connsiteX1172" fmla="*/ 5424 w 10785"/>
                  <a:gd name="connsiteY1172" fmla="*/ 2009 h 10000"/>
                  <a:gd name="connsiteX1173" fmla="*/ 5433 w 10785"/>
                  <a:gd name="connsiteY1173" fmla="*/ 1991 h 10000"/>
                  <a:gd name="connsiteX1174" fmla="*/ 5447 w 10785"/>
                  <a:gd name="connsiteY1174" fmla="*/ 1974 h 10000"/>
                  <a:gd name="connsiteX1175" fmla="*/ 5452 w 10785"/>
                  <a:gd name="connsiteY1175" fmla="*/ 1966 h 10000"/>
                  <a:gd name="connsiteX1176" fmla="*/ 5456 w 10785"/>
                  <a:gd name="connsiteY1176" fmla="*/ 1966 h 10000"/>
                  <a:gd name="connsiteX1177" fmla="*/ 5465 w 10785"/>
                  <a:gd name="connsiteY1177" fmla="*/ 2009 h 10000"/>
                  <a:gd name="connsiteX1178" fmla="*/ 5433 w 10785"/>
                  <a:gd name="connsiteY1178" fmla="*/ 2034 h 10000"/>
                  <a:gd name="connsiteX1179" fmla="*/ 5424 w 10785"/>
                  <a:gd name="connsiteY1179" fmla="*/ 2060 h 10000"/>
                  <a:gd name="connsiteX1180" fmla="*/ 5419 w 10785"/>
                  <a:gd name="connsiteY1180" fmla="*/ 2060 h 10000"/>
                  <a:gd name="connsiteX1181" fmla="*/ 5392 w 10785"/>
                  <a:gd name="connsiteY1181" fmla="*/ 2111 h 10000"/>
                  <a:gd name="connsiteX1182" fmla="*/ 5378 w 10785"/>
                  <a:gd name="connsiteY1182" fmla="*/ 2111 h 10000"/>
                  <a:gd name="connsiteX1183" fmla="*/ 5350 w 10785"/>
                  <a:gd name="connsiteY1183" fmla="*/ 2060 h 10000"/>
                  <a:gd name="connsiteX1184" fmla="*/ 5373 w 10785"/>
                  <a:gd name="connsiteY1184" fmla="*/ 2111 h 10000"/>
                  <a:gd name="connsiteX1185" fmla="*/ 5364 w 10785"/>
                  <a:gd name="connsiteY1185" fmla="*/ 2111 h 10000"/>
                  <a:gd name="connsiteX1186" fmla="*/ 5359 w 10785"/>
                  <a:gd name="connsiteY1186" fmla="*/ 2103 h 10000"/>
                  <a:gd name="connsiteX1187" fmla="*/ 5359 w 10785"/>
                  <a:gd name="connsiteY1187" fmla="*/ 2120 h 10000"/>
                  <a:gd name="connsiteX1188" fmla="*/ 5359 w 10785"/>
                  <a:gd name="connsiteY1188" fmla="*/ 2137 h 10000"/>
                  <a:gd name="connsiteX1189" fmla="*/ 5313 w 10785"/>
                  <a:gd name="connsiteY1189" fmla="*/ 2162 h 10000"/>
                  <a:gd name="connsiteX1190" fmla="*/ 5300 w 10785"/>
                  <a:gd name="connsiteY1190" fmla="*/ 2162 h 10000"/>
                  <a:gd name="connsiteX1191" fmla="*/ 5300 w 10785"/>
                  <a:gd name="connsiteY1191" fmla="*/ 2171 h 10000"/>
                  <a:gd name="connsiteX1192" fmla="*/ 5300 w 10785"/>
                  <a:gd name="connsiteY1192" fmla="*/ 2197 h 10000"/>
                  <a:gd name="connsiteX1193" fmla="*/ 5276 w 10785"/>
                  <a:gd name="connsiteY1193" fmla="*/ 2188 h 10000"/>
                  <a:gd name="connsiteX1194" fmla="*/ 5249 w 10785"/>
                  <a:gd name="connsiteY1194" fmla="*/ 2222 h 10000"/>
                  <a:gd name="connsiteX1195" fmla="*/ 5249 w 10785"/>
                  <a:gd name="connsiteY1195" fmla="*/ 2222 h 10000"/>
                  <a:gd name="connsiteX1196" fmla="*/ 5217 w 10785"/>
                  <a:gd name="connsiteY1196" fmla="*/ 2214 h 10000"/>
                  <a:gd name="connsiteX1197" fmla="*/ 5203 w 10785"/>
                  <a:gd name="connsiteY1197" fmla="*/ 2239 h 10000"/>
                  <a:gd name="connsiteX1198" fmla="*/ 5171 w 10785"/>
                  <a:gd name="connsiteY1198" fmla="*/ 2214 h 10000"/>
                  <a:gd name="connsiteX1199" fmla="*/ 5157 w 10785"/>
                  <a:gd name="connsiteY1199" fmla="*/ 2239 h 10000"/>
                  <a:gd name="connsiteX1200" fmla="*/ 5166 w 10785"/>
                  <a:gd name="connsiteY1200" fmla="*/ 2256 h 10000"/>
                  <a:gd name="connsiteX1201" fmla="*/ 5171 w 10785"/>
                  <a:gd name="connsiteY1201" fmla="*/ 2308 h 10000"/>
                  <a:gd name="connsiteX1202" fmla="*/ 5212 w 10785"/>
                  <a:gd name="connsiteY1202" fmla="*/ 2350 h 10000"/>
                  <a:gd name="connsiteX1203" fmla="*/ 5203 w 10785"/>
                  <a:gd name="connsiteY1203" fmla="*/ 2350 h 10000"/>
                  <a:gd name="connsiteX1204" fmla="*/ 5166 w 10785"/>
                  <a:gd name="connsiteY1204" fmla="*/ 2325 h 10000"/>
                  <a:gd name="connsiteX1205" fmla="*/ 5152 w 10785"/>
                  <a:gd name="connsiteY1205" fmla="*/ 2308 h 10000"/>
                  <a:gd name="connsiteX1206" fmla="*/ 5143 w 10785"/>
                  <a:gd name="connsiteY1206" fmla="*/ 2333 h 10000"/>
                  <a:gd name="connsiteX1207" fmla="*/ 5138 w 10785"/>
                  <a:gd name="connsiteY1207" fmla="*/ 2333 h 10000"/>
                  <a:gd name="connsiteX1208" fmla="*/ 5124 w 10785"/>
                  <a:gd name="connsiteY1208" fmla="*/ 2376 h 10000"/>
                  <a:gd name="connsiteX1209" fmla="*/ 5115 w 10785"/>
                  <a:gd name="connsiteY1209" fmla="*/ 2385 h 10000"/>
                  <a:gd name="connsiteX1210" fmla="*/ 5106 w 10785"/>
                  <a:gd name="connsiteY1210" fmla="*/ 2385 h 10000"/>
                  <a:gd name="connsiteX1211" fmla="*/ 5055 w 10785"/>
                  <a:gd name="connsiteY1211" fmla="*/ 2470 h 10000"/>
                  <a:gd name="connsiteX1212" fmla="*/ 5065 w 10785"/>
                  <a:gd name="connsiteY1212" fmla="*/ 2462 h 10000"/>
                  <a:gd name="connsiteX1213" fmla="*/ 5055 w 10785"/>
                  <a:gd name="connsiteY1213" fmla="*/ 2444 h 10000"/>
                  <a:gd name="connsiteX1214" fmla="*/ 5041 w 10785"/>
                  <a:gd name="connsiteY1214" fmla="*/ 2462 h 10000"/>
                  <a:gd name="connsiteX1215" fmla="*/ 5037 w 10785"/>
                  <a:gd name="connsiteY1215" fmla="*/ 2470 h 10000"/>
                  <a:gd name="connsiteX1216" fmla="*/ 5032 w 10785"/>
                  <a:gd name="connsiteY1216" fmla="*/ 2470 h 10000"/>
                  <a:gd name="connsiteX1217" fmla="*/ 5032 w 10785"/>
                  <a:gd name="connsiteY1217" fmla="*/ 2444 h 10000"/>
                  <a:gd name="connsiteX1218" fmla="*/ 5055 w 10785"/>
                  <a:gd name="connsiteY1218" fmla="*/ 2410 h 10000"/>
                  <a:gd name="connsiteX1219" fmla="*/ 5065 w 10785"/>
                  <a:gd name="connsiteY1219" fmla="*/ 2393 h 10000"/>
                  <a:gd name="connsiteX1220" fmla="*/ 5069 w 10785"/>
                  <a:gd name="connsiteY1220" fmla="*/ 2385 h 10000"/>
                  <a:gd name="connsiteX1221" fmla="*/ 5083 w 10785"/>
                  <a:gd name="connsiteY1221" fmla="*/ 2376 h 10000"/>
                  <a:gd name="connsiteX1222" fmla="*/ 5097 w 10785"/>
                  <a:gd name="connsiteY1222" fmla="*/ 2376 h 10000"/>
                  <a:gd name="connsiteX1223" fmla="*/ 5124 w 10785"/>
                  <a:gd name="connsiteY1223" fmla="*/ 2325 h 10000"/>
                  <a:gd name="connsiteX1224" fmla="*/ 5143 w 10785"/>
                  <a:gd name="connsiteY1224" fmla="*/ 2248 h 10000"/>
                  <a:gd name="connsiteX1225" fmla="*/ 5152 w 10785"/>
                  <a:gd name="connsiteY1225" fmla="*/ 2239 h 10000"/>
                  <a:gd name="connsiteX1226" fmla="*/ 5166 w 10785"/>
                  <a:gd name="connsiteY1226" fmla="*/ 2162 h 10000"/>
                  <a:gd name="connsiteX1227" fmla="*/ 5171 w 10785"/>
                  <a:gd name="connsiteY1227" fmla="*/ 2171 h 10000"/>
                  <a:gd name="connsiteX1228" fmla="*/ 5198 w 10785"/>
                  <a:gd name="connsiteY1228" fmla="*/ 2145 h 10000"/>
                  <a:gd name="connsiteX1229" fmla="*/ 5203 w 10785"/>
                  <a:gd name="connsiteY1229" fmla="*/ 2111 h 10000"/>
                  <a:gd name="connsiteX1230" fmla="*/ 5217 w 10785"/>
                  <a:gd name="connsiteY1230" fmla="*/ 2060 h 10000"/>
                  <a:gd name="connsiteX1231" fmla="*/ 5226 w 10785"/>
                  <a:gd name="connsiteY1231" fmla="*/ 2026 h 10000"/>
                  <a:gd name="connsiteX1232" fmla="*/ 5286 w 10785"/>
                  <a:gd name="connsiteY1232" fmla="*/ 2026 h 10000"/>
                  <a:gd name="connsiteX1233" fmla="*/ 5290 w 10785"/>
                  <a:gd name="connsiteY1233" fmla="*/ 2034 h 10000"/>
                  <a:gd name="connsiteX1234" fmla="*/ 5323 w 10785"/>
                  <a:gd name="connsiteY1234" fmla="*/ 1923 h 10000"/>
                  <a:gd name="connsiteX1235" fmla="*/ 5323 w 10785"/>
                  <a:gd name="connsiteY1235" fmla="*/ 1889 h 10000"/>
                  <a:gd name="connsiteX1236" fmla="*/ 5359 w 10785"/>
                  <a:gd name="connsiteY1236" fmla="*/ 1829 h 10000"/>
                  <a:gd name="connsiteX1237" fmla="*/ 5378 w 10785"/>
                  <a:gd name="connsiteY1237" fmla="*/ 1812 h 10000"/>
                  <a:gd name="connsiteX1238" fmla="*/ 5406 w 10785"/>
                  <a:gd name="connsiteY1238" fmla="*/ 1752 h 10000"/>
                  <a:gd name="connsiteX1239" fmla="*/ 5410 w 10785"/>
                  <a:gd name="connsiteY1239" fmla="*/ 1718 h 10000"/>
                  <a:gd name="connsiteX1240" fmla="*/ 5438 w 10785"/>
                  <a:gd name="connsiteY1240" fmla="*/ 1667 h 10000"/>
                  <a:gd name="connsiteX1241" fmla="*/ 5438 w 10785"/>
                  <a:gd name="connsiteY1241" fmla="*/ 1650 h 10000"/>
                  <a:gd name="connsiteX1242" fmla="*/ 5438 w 10785"/>
                  <a:gd name="connsiteY1242" fmla="*/ 1641 h 10000"/>
                  <a:gd name="connsiteX1243" fmla="*/ 5452 w 10785"/>
                  <a:gd name="connsiteY1243" fmla="*/ 1641 h 10000"/>
                  <a:gd name="connsiteX1244" fmla="*/ 5456 w 10785"/>
                  <a:gd name="connsiteY1244" fmla="*/ 1615 h 10000"/>
                  <a:gd name="connsiteX1245" fmla="*/ 5456 w 10785"/>
                  <a:gd name="connsiteY1245" fmla="*/ 1615 h 10000"/>
                  <a:gd name="connsiteX1246" fmla="*/ 5465 w 10785"/>
                  <a:gd name="connsiteY1246" fmla="*/ 1598 h 10000"/>
                  <a:gd name="connsiteX1247" fmla="*/ 5465 w 10785"/>
                  <a:gd name="connsiteY1247" fmla="*/ 1615 h 10000"/>
                  <a:gd name="connsiteX1248" fmla="*/ 5479 w 10785"/>
                  <a:gd name="connsiteY1248" fmla="*/ 1598 h 10000"/>
                  <a:gd name="connsiteX1249" fmla="*/ 5484 w 10785"/>
                  <a:gd name="connsiteY1249" fmla="*/ 1581 h 10000"/>
                  <a:gd name="connsiteX1250" fmla="*/ 5493 w 10785"/>
                  <a:gd name="connsiteY1250" fmla="*/ 1581 h 10000"/>
                  <a:gd name="connsiteX1251" fmla="*/ 5512 w 10785"/>
                  <a:gd name="connsiteY1251" fmla="*/ 1538 h 10000"/>
                  <a:gd name="connsiteX1252" fmla="*/ 5530 w 10785"/>
                  <a:gd name="connsiteY1252" fmla="*/ 1564 h 10000"/>
                  <a:gd name="connsiteX1253" fmla="*/ 5530 w 10785"/>
                  <a:gd name="connsiteY1253" fmla="*/ 1538 h 10000"/>
                  <a:gd name="connsiteX1254" fmla="*/ 5539 w 10785"/>
                  <a:gd name="connsiteY1254" fmla="*/ 1530 h 10000"/>
                  <a:gd name="connsiteX1255" fmla="*/ 5530 w 10785"/>
                  <a:gd name="connsiteY1255" fmla="*/ 1504 h 10000"/>
                  <a:gd name="connsiteX1256" fmla="*/ 5567 w 10785"/>
                  <a:gd name="connsiteY1256" fmla="*/ 1479 h 10000"/>
                  <a:gd name="connsiteX1257" fmla="*/ 5553 w 10785"/>
                  <a:gd name="connsiteY1257" fmla="*/ 1479 h 10000"/>
                  <a:gd name="connsiteX1258" fmla="*/ 5553 w 10785"/>
                  <a:gd name="connsiteY1258" fmla="*/ 1453 h 10000"/>
                  <a:gd name="connsiteX1259" fmla="*/ 5581 w 10785"/>
                  <a:gd name="connsiteY1259" fmla="*/ 1444 h 10000"/>
                  <a:gd name="connsiteX1260" fmla="*/ 5581 w 10785"/>
                  <a:gd name="connsiteY1260" fmla="*/ 1453 h 10000"/>
                  <a:gd name="connsiteX1261" fmla="*/ 5585 w 10785"/>
                  <a:gd name="connsiteY1261" fmla="*/ 1444 h 10000"/>
                  <a:gd name="connsiteX1262" fmla="*/ 5594 w 10785"/>
                  <a:gd name="connsiteY1262" fmla="*/ 1427 h 10000"/>
                  <a:gd name="connsiteX1263" fmla="*/ 5599 w 10785"/>
                  <a:gd name="connsiteY1263" fmla="*/ 1419 h 10000"/>
                  <a:gd name="connsiteX1264" fmla="*/ 5594 w 10785"/>
                  <a:gd name="connsiteY1264" fmla="*/ 1402 h 10000"/>
                  <a:gd name="connsiteX1265" fmla="*/ 5604 w 10785"/>
                  <a:gd name="connsiteY1265" fmla="*/ 1393 h 10000"/>
                  <a:gd name="connsiteX1266" fmla="*/ 5618 w 10785"/>
                  <a:gd name="connsiteY1266" fmla="*/ 1393 h 10000"/>
                  <a:gd name="connsiteX1267" fmla="*/ 5627 w 10785"/>
                  <a:gd name="connsiteY1267" fmla="*/ 1368 h 10000"/>
                  <a:gd name="connsiteX1268" fmla="*/ 5627 w 10785"/>
                  <a:gd name="connsiteY1268" fmla="*/ 1325 h 10000"/>
                  <a:gd name="connsiteX1269" fmla="*/ 5645 w 10785"/>
                  <a:gd name="connsiteY1269" fmla="*/ 1291 h 10000"/>
                  <a:gd name="connsiteX1270" fmla="*/ 5645 w 10785"/>
                  <a:gd name="connsiteY1270" fmla="*/ 1282 h 10000"/>
                  <a:gd name="connsiteX1271" fmla="*/ 5654 w 10785"/>
                  <a:gd name="connsiteY1271" fmla="*/ 1265 h 10000"/>
                  <a:gd name="connsiteX1272" fmla="*/ 5654 w 10785"/>
                  <a:gd name="connsiteY1272" fmla="*/ 1214 h 10000"/>
                  <a:gd name="connsiteX1273" fmla="*/ 5654 w 10785"/>
                  <a:gd name="connsiteY1273" fmla="*/ 1214 h 10000"/>
                  <a:gd name="connsiteX1274" fmla="*/ 5645 w 10785"/>
                  <a:gd name="connsiteY1274" fmla="*/ 1197 h 10000"/>
                  <a:gd name="connsiteX1275" fmla="*/ 5659 w 10785"/>
                  <a:gd name="connsiteY1275" fmla="*/ 1197 h 10000"/>
                  <a:gd name="connsiteX1276" fmla="*/ 5654 w 10785"/>
                  <a:gd name="connsiteY1276" fmla="*/ 1154 h 10000"/>
                  <a:gd name="connsiteX1277" fmla="*/ 5641 w 10785"/>
                  <a:gd name="connsiteY1277" fmla="*/ 1154 h 10000"/>
                  <a:gd name="connsiteX1278" fmla="*/ 5627 w 10785"/>
                  <a:gd name="connsiteY1278" fmla="*/ 1128 h 10000"/>
                  <a:gd name="connsiteX1279" fmla="*/ 5618 w 10785"/>
                  <a:gd name="connsiteY1279" fmla="*/ 1094 h 10000"/>
                  <a:gd name="connsiteX1280" fmla="*/ 5613 w 10785"/>
                  <a:gd name="connsiteY1280" fmla="*/ 1094 h 10000"/>
                  <a:gd name="connsiteX1281" fmla="*/ 5604 w 10785"/>
                  <a:gd name="connsiteY1281" fmla="*/ 1120 h 10000"/>
                  <a:gd name="connsiteX1282" fmla="*/ 5604 w 10785"/>
                  <a:gd name="connsiteY1282" fmla="*/ 1128 h 10000"/>
                  <a:gd name="connsiteX1283" fmla="*/ 5599 w 10785"/>
                  <a:gd name="connsiteY1283" fmla="*/ 1103 h 10000"/>
                  <a:gd name="connsiteX1284" fmla="*/ 5599 w 10785"/>
                  <a:gd name="connsiteY1284" fmla="*/ 1103 h 10000"/>
                  <a:gd name="connsiteX1285" fmla="*/ 5594 w 10785"/>
                  <a:gd name="connsiteY1285" fmla="*/ 1068 h 10000"/>
                  <a:gd name="connsiteX1286" fmla="*/ 5594 w 10785"/>
                  <a:gd name="connsiteY1286" fmla="*/ 1060 h 10000"/>
                  <a:gd name="connsiteX1287" fmla="*/ 5581 w 10785"/>
                  <a:gd name="connsiteY1287" fmla="*/ 1034 h 10000"/>
                  <a:gd name="connsiteX1288" fmla="*/ 5571 w 10785"/>
                  <a:gd name="connsiteY1288" fmla="*/ 1009 h 10000"/>
                  <a:gd name="connsiteX1289" fmla="*/ 5571 w 10785"/>
                  <a:gd name="connsiteY1289" fmla="*/ 991 h 10000"/>
                  <a:gd name="connsiteX1290" fmla="*/ 5585 w 10785"/>
                  <a:gd name="connsiteY1290" fmla="*/ 1009 h 10000"/>
                  <a:gd name="connsiteX1291" fmla="*/ 5604 w 10785"/>
                  <a:gd name="connsiteY1291" fmla="*/ 1043 h 10000"/>
                  <a:gd name="connsiteX1292" fmla="*/ 5641 w 10785"/>
                  <a:gd name="connsiteY1292" fmla="*/ 1094 h 10000"/>
                  <a:gd name="connsiteX1293" fmla="*/ 5631 w 10785"/>
                  <a:gd name="connsiteY1293" fmla="*/ 1128 h 10000"/>
                  <a:gd name="connsiteX1294" fmla="*/ 5641 w 10785"/>
                  <a:gd name="connsiteY1294" fmla="*/ 1128 h 10000"/>
                  <a:gd name="connsiteX1295" fmla="*/ 5659 w 10785"/>
                  <a:gd name="connsiteY1295" fmla="*/ 1017 h 10000"/>
                  <a:gd name="connsiteX1296" fmla="*/ 5659 w 10785"/>
                  <a:gd name="connsiteY1296" fmla="*/ 983 h 10000"/>
                  <a:gd name="connsiteX1297" fmla="*/ 5659 w 10785"/>
                  <a:gd name="connsiteY1297" fmla="*/ 957 h 10000"/>
                  <a:gd name="connsiteX1298" fmla="*/ 5654 w 10785"/>
                  <a:gd name="connsiteY1298" fmla="*/ 966 h 10000"/>
                  <a:gd name="connsiteX1299" fmla="*/ 5641 w 10785"/>
                  <a:gd name="connsiteY1299" fmla="*/ 957 h 10000"/>
                  <a:gd name="connsiteX1300" fmla="*/ 5631 w 10785"/>
                  <a:gd name="connsiteY1300" fmla="*/ 897 h 10000"/>
                  <a:gd name="connsiteX1301" fmla="*/ 5641 w 10785"/>
                  <a:gd name="connsiteY1301" fmla="*/ 872 h 10000"/>
                  <a:gd name="connsiteX1302" fmla="*/ 5618 w 10785"/>
                  <a:gd name="connsiteY1302" fmla="*/ 803 h 10000"/>
                  <a:gd name="connsiteX1303" fmla="*/ 5604 w 10785"/>
                  <a:gd name="connsiteY1303" fmla="*/ 821 h 10000"/>
                  <a:gd name="connsiteX1304" fmla="*/ 5613 w 10785"/>
                  <a:gd name="connsiteY1304" fmla="*/ 846 h 10000"/>
                  <a:gd name="connsiteX1305" fmla="*/ 5604 w 10785"/>
                  <a:gd name="connsiteY1305" fmla="*/ 855 h 10000"/>
                  <a:gd name="connsiteX1306" fmla="*/ 5599 w 10785"/>
                  <a:gd name="connsiteY1306" fmla="*/ 880 h 10000"/>
                  <a:gd name="connsiteX1307" fmla="*/ 5594 w 10785"/>
                  <a:gd name="connsiteY1307" fmla="*/ 880 h 10000"/>
                  <a:gd name="connsiteX1308" fmla="*/ 5585 w 10785"/>
                  <a:gd name="connsiteY1308" fmla="*/ 829 h 10000"/>
                  <a:gd name="connsiteX1309" fmla="*/ 5571 w 10785"/>
                  <a:gd name="connsiteY1309" fmla="*/ 803 h 10000"/>
                  <a:gd name="connsiteX1310" fmla="*/ 5585 w 10785"/>
                  <a:gd name="connsiteY1310" fmla="*/ 795 h 10000"/>
                  <a:gd name="connsiteX1311" fmla="*/ 5585 w 10785"/>
                  <a:gd name="connsiteY1311" fmla="*/ 761 h 10000"/>
                  <a:gd name="connsiteX1312" fmla="*/ 5558 w 10785"/>
                  <a:gd name="connsiteY1312" fmla="*/ 709 h 10000"/>
                  <a:gd name="connsiteX1313" fmla="*/ 5544 w 10785"/>
                  <a:gd name="connsiteY1313" fmla="*/ 709 h 10000"/>
                  <a:gd name="connsiteX1314" fmla="*/ 5544 w 10785"/>
                  <a:gd name="connsiteY1314" fmla="*/ 684 h 10000"/>
                  <a:gd name="connsiteX1315" fmla="*/ 5525 w 10785"/>
                  <a:gd name="connsiteY1315" fmla="*/ 632 h 10000"/>
                  <a:gd name="connsiteX1316" fmla="*/ 5507 w 10785"/>
                  <a:gd name="connsiteY1316" fmla="*/ 607 h 10000"/>
                  <a:gd name="connsiteX1317" fmla="*/ 5512 w 10785"/>
                  <a:gd name="connsiteY1317" fmla="*/ 598 h 10000"/>
                  <a:gd name="connsiteX1318" fmla="*/ 5507 w 10785"/>
                  <a:gd name="connsiteY1318" fmla="*/ 581 h 10000"/>
                  <a:gd name="connsiteX1319" fmla="*/ 5493 w 10785"/>
                  <a:gd name="connsiteY1319" fmla="*/ 573 h 10000"/>
                  <a:gd name="connsiteX1320" fmla="*/ 5484 w 10785"/>
                  <a:gd name="connsiteY1320" fmla="*/ 581 h 10000"/>
                  <a:gd name="connsiteX1321" fmla="*/ 5484 w 10785"/>
                  <a:gd name="connsiteY1321" fmla="*/ 573 h 10000"/>
                  <a:gd name="connsiteX1322" fmla="*/ 5484 w 10785"/>
                  <a:gd name="connsiteY1322" fmla="*/ 547 h 10000"/>
                  <a:gd name="connsiteX1323" fmla="*/ 5465 w 10785"/>
                  <a:gd name="connsiteY1323" fmla="*/ 556 h 10000"/>
                  <a:gd name="connsiteX1324" fmla="*/ 5433 w 10785"/>
                  <a:gd name="connsiteY1324" fmla="*/ 547 h 10000"/>
                  <a:gd name="connsiteX1325" fmla="*/ 5410 w 10785"/>
                  <a:gd name="connsiteY1325" fmla="*/ 573 h 10000"/>
                  <a:gd name="connsiteX1326" fmla="*/ 5406 w 10785"/>
                  <a:gd name="connsiteY1326" fmla="*/ 573 h 10000"/>
                  <a:gd name="connsiteX1327" fmla="*/ 5392 w 10785"/>
                  <a:gd name="connsiteY1327" fmla="*/ 573 h 10000"/>
                  <a:gd name="connsiteX1328" fmla="*/ 5364 w 10785"/>
                  <a:gd name="connsiteY1328" fmla="*/ 530 h 10000"/>
                  <a:gd name="connsiteX1329" fmla="*/ 5350 w 10785"/>
                  <a:gd name="connsiteY1329" fmla="*/ 556 h 10000"/>
                  <a:gd name="connsiteX1330" fmla="*/ 5346 w 10785"/>
                  <a:gd name="connsiteY1330" fmla="*/ 556 h 10000"/>
                  <a:gd name="connsiteX1331" fmla="*/ 5313 w 10785"/>
                  <a:gd name="connsiteY1331" fmla="*/ 573 h 10000"/>
                  <a:gd name="connsiteX1332" fmla="*/ 5304 w 10785"/>
                  <a:gd name="connsiteY1332" fmla="*/ 556 h 10000"/>
                  <a:gd name="connsiteX1333" fmla="*/ 5290 w 10785"/>
                  <a:gd name="connsiteY1333" fmla="*/ 573 h 10000"/>
                  <a:gd name="connsiteX1334" fmla="*/ 5290 w 10785"/>
                  <a:gd name="connsiteY1334" fmla="*/ 556 h 10000"/>
                  <a:gd name="connsiteX1335" fmla="*/ 5300 w 10785"/>
                  <a:gd name="connsiteY1335" fmla="*/ 547 h 10000"/>
                  <a:gd name="connsiteX1336" fmla="*/ 5300 w 10785"/>
                  <a:gd name="connsiteY1336" fmla="*/ 530 h 10000"/>
                  <a:gd name="connsiteX1337" fmla="*/ 5290 w 10785"/>
                  <a:gd name="connsiteY1337" fmla="*/ 530 h 10000"/>
                  <a:gd name="connsiteX1338" fmla="*/ 5286 w 10785"/>
                  <a:gd name="connsiteY1338" fmla="*/ 547 h 10000"/>
                  <a:gd name="connsiteX1339" fmla="*/ 5272 w 10785"/>
                  <a:gd name="connsiteY1339" fmla="*/ 556 h 10000"/>
                  <a:gd name="connsiteX1340" fmla="*/ 5272 w 10785"/>
                  <a:gd name="connsiteY1340" fmla="*/ 598 h 10000"/>
                  <a:gd name="connsiteX1341" fmla="*/ 5276 w 10785"/>
                  <a:gd name="connsiteY1341" fmla="*/ 581 h 10000"/>
                  <a:gd name="connsiteX1342" fmla="*/ 5272 w 10785"/>
                  <a:gd name="connsiteY1342" fmla="*/ 607 h 10000"/>
                  <a:gd name="connsiteX1343" fmla="*/ 5263 w 10785"/>
                  <a:gd name="connsiteY1343" fmla="*/ 607 h 10000"/>
                  <a:gd name="connsiteX1344" fmla="*/ 5263 w 10785"/>
                  <a:gd name="connsiteY1344" fmla="*/ 632 h 10000"/>
                  <a:gd name="connsiteX1345" fmla="*/ 5258 w 10785"/>
                  <a:gd name="connsiteY1345" fmla="*/ 658 h 10000"/>
                  <a:gd name="connsiteX1346" fmla="*/ 5244 w 10785"/>
                  <a:gd name="connsiteY1346" fmla="*/ 667 h 10000"/>
                  <a:gd name="connsiteX1347" fmla="*/ 5240 w 10785"/>
                  <a:gd name="connsiteY1347" fmla="*/ 658 h 10000"/>
                  <a:gd name="connsiteX1348" fmla="*/ 5240 w 10785"/>
                  <a:gd name="connsiteY1348" fmla="*/ 684 h 10000"/>
                  <a:gd name="connsiteX1349" fmla="*/ 5212 w 10785"/>
                  <a:gd name="connsiteY1349" fmla="*/ 684 h 10000"/>
                  <a:gd name="connsiteX1350" fmla="*/ 5198 w 10785"/>
                  <a:gd name="connsiteY1350" fmla="*/ 692 h 10000"/>
                  <a:gd name="connsiteX1351" fmla="*/ 5184 w 10785"/>
                  <a:gd name="connsiteY1351" fmla="*/ 684 h 10000"/>
                  <a:gd name="connsiteX1352" fmla="*/ 5157 w 10785"/>
                  <a:gd name="connsiteY1352" fmla="*/ 684 h 10000"/>
                  <a:gd name="connsiteX1353" fmla="*/ 5157 w 10785"/>
                  <a:gd name="connsiteY1353" fmla="*/ 667 h 10000"/>
                  <a:gd name="connsiteX1354" fmla="*/ 5157 w 10785"/>
                  <a:gd name="connsiteY1354" fmla="*/ 667 h 10000"/>
                  <a:gd name="connsiteX1355" fmla="*/ 5180 w 10785"/>
                  <a:gd name="connsiteY1355" fmla="*/ 650 h 10000"/>
                  <a:gd name="connsiteX1356" fmla="*/ 5184 w 10785"/>
                  <a:gd name="connsiteY1356" fmla="*/ 658 h 10000"/>
                  <a:gd name="connsiteX1357" fmla="*/ 5203 w 10785"/>
                  <a:gd name="connsiteY1357" fmla="*/ 547 h 10000"/>
                  <a:gd name="connsiteX1358" fmla="*/ 5226 w 10785"/>
                  <a:gd name="connsiteY1358" fmla="*/ 530 h 10000"/>
                  <a:gd name="connsiteX1359" fmla="*/ 5230 w 10785"/>
                  <a:gd name="connsiteY1359" fmla="*/ 487 h 10000"/>
                  <a:gd name="connsiteX1360" fmla="*/ 5230 w 10785"/>
                  <a:gd name="connsiteY1360" fmla="*/ 487 h 10000"/>
                  <a:gd name="connsiteX1361" fmla="*/ 5226 w 10785"/>
                  <a:gd name="connsiteY1361" fmla="*/ 462 h 10000"/>
                  <a:gd name="connsiteX1362" fmla="*/ 5226 w 10785"/>
                  <a:gd name="connsiteY1362" fmla="*/ 462 h 10000"/>
                  <a:gd name="connsiteX1363" fmla="*/ 5240 w 10785"/>
                  <a:gd name="connsiteY1363" fmla="*/ 462 h 10000"/>
                  <a:gd name="connsiteX1364" fmla="*/ 5240 w 10785"/>
                  <a:gd name="connsiteY1364" fmla="*/ 444 h 10000"/>
                  <a:gd name="connsiteX1365" fmla="*/ 5230 w 10785"/>
                  <a:gd name="connsiteY1365" fmla="*/ 436 h 10000"/>
                  <a:gd name="connsiteX1366" fmla="*/ 5230 w 10785"/>
                  <a:gd name="connsiteY1366" fmla="*/ 419 h 10000"/>
                  <a:gd name="connsiteX1367" fmla="*/ 5230 w 10785"/>
                  <a:gd name="connsiteY1367" fmla="*/ 410 h 10000"/>
                  <a:gd name="connsiteX1368" fmla="*/ 5198 w 10785"/>
                  <a:gd name="connsiteY1368" fmla="*/ 402 h 10000"/>
                  <a:gd name="connsiteX1369" fmla="*/ 5189 w 10785"/>
                  <a:gd name="connsiteY1369" fmla="*/ 402 h 10000"/>
                  <a:gd name="connsiteX1370" fmla="*/ 5184 w 10785"/>
                  <a:gd name="connsiteY1370" fmla="*/ 376 h 10000"/>
                  <a:gd name="connsiteX1371" fmla="*/ 5180 w 10785"/>
                  <a:gd name="connsiteY1371" fmla="*/ 376 h 10000"/>
                  <a:gd name="connsiteX1372" fmla="*/ 5166 w 10785"/>
                  <a:gd name="connsiteY1372" fmla="*/ 376 h 10000"/>
                  <a:gd name="connsiteX1373" fmla="*/ 5157 w 10785"/>
                  <a:gd name="connsiteY1373" fmla="*/ 385 h 10000"/>
                  <a:gd name="connsiteX1374" fmla="*/ 5152 w 10785"/>
                  <a:gd name="connsiteY1374" fmla="*/ 376 h 10000"/>
                  <a:gd name="connsiteX1375" fmla="*/ 5129 w 10785"/>
                  <a:gd name="connsiteY1375" fmla="*/ 385 h 10000"/>
                  <a:gd name="connsiteX1376" fmla="*/ 5129 w 10785"/>
                  <a:gd name="connsiteY1376" fmla="*/ 350 h 10000"/>
                  <a:gd name="connsiteX1377" fmla="*/ 5129 w 10785"/>
                  <a:gd name="connsiteY1377" fmla="*/ 325 h 10000"/>
                  <a:gd name="connsiteX1378" fmla="*/ 5124 w 10785"/>
                  <a:gd name="connsiteY1378" fmla="*/ 359 h 10000"/>
                  <a:gd name="connsiteX1379" fmla="*/ 5106 w 10785"/>
                  <a:gd name="connsiteY1379" fmla="*/ 359 h 10000"/>
                  <a:gd name="connsiteX1380" fmla="*/ 5037 w 10785"/>
                  <a:gd name="connsiteY1380" fmla="*/ 419 h 10000"/>
                  <a:gd name="connsiteX1381" fmla="*/ 5051 w 10785"/>
                  <a:gd name="connsiteY1381" fmla="*/ 385 h 10000"/>
                  <a:gd name="connsiteX1382" fmla="*/ 5055 w 10785"/>
                  <a:gd name="connsiteY1382" fmla="*/ 376 h 10000"/>
                  <a:gd name="connsiteX1383" fmla="*/ 5092 w 10785"/>
                  <a:gd name="connsiteY1383" fmla="*/ 282 h 10000"/>
                  <a:gd name="connsiteX1384" fmla="*/ 5106 w 10785"/>
                  <a:gd name="connsiteY1384" fmla="*/ 265 h 10000"/>
                  <a:gd name="connsiteX1385" fmla="*/ 5115 w 10785"/>
                  <a:gd name="connsiteY1385" fmla="*/ 265 h 10000"/>
                  <a:gd name="connsiteX1386" fmla="*/ 5124 w 10785"/>
                  <a:gd name="connsiteY1386" fmla="*/ 222 h 10000"/>
                  <a:gd name="connsiteX1387" fmla="*/ 5124 w 10785"/>
                  <a:gd name="connsiteY1387" fmla="*/ 214 h 10000"/>
                  <a:gd name="connsiteX1388" fmla="*/ 5143 w 10785"/>
                  <a:gd name="connsiteY1388" fmla="*/ 197 h 10000"/>
                  <a:gd name="connsiteX1389" fmla="*/ 5152 w 10785"/>
                  <a:gd name="connsiteY1389" fmla="*/ 214 h 10000"/>
                  <a:gd name="connsiteX1390" fmla="*/ 5143 w 10785"/>
                  <a:gd name="connsiteY1390" fmla="*/ 188 h 10000"/>
                  <a:gd name="connsiteX1391" fmla="*/ 5129 w 10785"/>
                  <a:gd name="connsiteY1391" fmla="*/ 103 h 10000"/>
                  <a:gd name="connsiteX1392" fmla="*/ 5115 w 10785"/>
                  <a:gd name="connsiteY1392" fmla="*/ 85 h 10000"/>
                  <a:gd name="connsiteX1393" fmla="*/ 5111 w 10785"/>
                  <a:gd name="connsiteY1393" fmla="*/ 111 h 10000"/>
                  <a:gd name="connsiteX1394" fmla="*/ 5092 w 10785"/>
                  <a:gd name="connsiteY1394" fmla="*/ 103 h 10000"/>
                  <a:gd name="connsiteX1395" fmla="*/ 5069 w 10785"/>
                  <a:gd name="connsiteY1395" fmla="*/ 77 h 10000"/>
                  <a:gd name="connsiteX1396" fmla="*/ 5051 w 10785"/>
                  <a:gd name="connsiteY1396" fmla="*/ 26 h 10000"/>
                  <a:gd name="connsiteX1397" fmla="*/ 5041 w 10785"/>
                  <a:gd name="connsiteY1397" fmla="*/ 34 h 10000"/>
                  <a:gd name="connsiteX1398" fmla="*/ 5037 w 10785"/>
                  <a:gd name="connsiteY1398" fmla="*/ 34 h 10000"/>
                  <a:gd name="connsiteX1399" fmla="*/ 5037 w 10785"/>
                  <a:gd name="connsiteY1399" fmla="*/ 26 h 10000"/>
                  <a:gd name="connsiteX1400" fmla="*/ 5037 w 10785"/>
                  <a:gd name="connsiteY1400" fmla="*/ 9 h 10000"/>
                  <a:gd name="connsiteX1401" fmla="*/ 5023 w 10785"/>
                  <a:gd name="connsiteY1401" fmla="*/ 0 h 10000"/>
                  <a:gd name="connsiteX1402" fmla="*/ 5009 w 10785"/>
                  <a:gd name="connsiteY1402" fmla="*/ 9 h 10000"/>
                  <a:gd name="connsiteX1403" fmla="*/ 4995 w 10785"/>
                  <a:gd name="connsiteY1403" fmla="*/ 34 h 10000"/>
                  <a:gd name="connsiteX1404" fmla="*/ 4991 w 10785"/>
                  <a:gd name="connsiteY1404" fmla="*/ 60 h 10000"/>
                  <a:gd name="connsiteX1405" fmla="*/ 4982 w 10785"/>
                  <a:gd name="connsiteY1405" fmla="*/ 60 h 10000"/>
                  <a:gd name="connsiteX1406" fmla="*/ 4949 w 10785"/>
                  <a:gd name="connsiteY1406" fmla="*/ 51 h 10000"/>
                  <a:gd name="connsiteX1407" fmla="*/ 4949 w 10785"/>
                  <a:gd name="connsiteY1407" fmla="*/ 85 h 10000"/>
                  <a:gd name="connsiteX1408" fmla="*/ 4903 w 10785"/>
                  <a:gd name="connsiteY1408" fmla="*/ 197 h 10000"/>
                  <a:gd name="connsiteX1409" fmla="*/ 4899 w 10785"/>
                  <a:gd name="connsiteY1409" fmla="*/ 239 h 10000"/>
                  <a:gd name="connsiteX1410" fmla="*/ 4871 w 10785"/>
                  <a:gd name="connsiteY1410" fmla="*/ 274 h 10000"/>
                  <a:gd name="connsiteX1411" fmla="*/ 4871 w 10785"/>
                  <a:gd name="connsiteY1411" fmla="*/ 282 h 10000"/>
                  <a:gd name="connsiteX1412" fmla="*/ 4834 w 10785"/>
                  <a:gd name="connsiteY1412" fmla="*/ 376 h 10000"/>
                  <a:gd name="connsiteX1413" fmla="*/ 4829 w 10785"/>
                  <a:gd name="connsiteY1413" fmla="*/ 402 h 10000"/>
                  <a:gd name="connsiteX1414" fmla="*/ 4834 w 10785"/>
                  <a:gd name="connsiteY1414" fmla="*/ 410 h 10000"/>
                  <a:gd name="connsiteX1415" fmla="*/ 4829 w 10785"/>
                  <a:gd name="connsiteY1415" fmla="*/ 436 h 10000"/>
                  <a:gd name="connsiteX1416" fmla="*/ 4825 w 10785"/>
                  <a:gd name="connsiteY1416" fmla="*/ 436 h 10000"/>
                  <a:gd name="connsiteX1417" fmla="*/ 4825 w 10785"/>
                  <a:gd name="connsiteY1417" fmla="*/ 444 h 10000"/>
                  <a:gd name="connsiteX1418" fmla="*/ 4811 w 10785"/>
                  <a:gd name="connsiteY1418" fmla="*/ 496 h 10000"/>
                  <a:gd name="connsiteX1419" fmla="*/ 4811 w 10785"/>
                  <a:gd name="connsiteY1419" fmla="*/ 496 h 10000"/>
                  <a:gd name="connsiteX1420" fmla="*/ 4811 w 10785"/>
                  <a:gd name="connsiteY1420" fmla="*/ 521 h 10000"/>
                  <a:gd name="connsiteX1421" fmla="*/ 4816 w 10785"/>
                  <a:gd name="connsiteY1421" fmla="*/ 530 h 10000"/>
                  <a:gd name="connsiteX1422" fmla="*/ 4834 w 10785"/>
                  <a:gd name="connsiteY1422" fmla="*/ 547 h 10000"/>
                  <a:gd name="connsiteX1423" fmla="*/ 4834 w 10785"/>
                  <a:gd name="connsiteY1423" fmla="*/ 581 h 10000"/>
                  <a:gd name="connsiteX1424" fmla="*/ 4843 w 10785"/>
                  <a:gd name="connsiteY1424" fmla="*/ 581 h 10000"/>
                  <a:gd name="connsiteX1425" fmla="*/ 4843 w 10785"/>
                  <a:gd name="connsiteY1425" fmla="*/ 598 h 10000"/>
                  <a:gd name="connsiteX1426" fmla="*/ 4829 w 10785"/>
                  <a:gd name="connsiteY1426" fmla="*/ 598 h 10000"/>
                  <a:gd name="connsiteX1427" fmla="*/ 4829 w 10785"/>
                  <a:gd name="connsiteY1427" fmla="*/ 573 h 10000"/>
                  <a:gd name="connsiteX1428" fmla="*/ 4829 w 10785"/>
                  <a:gd name="connsiteY1428" fmla="*/ 632 h 10000"/>
                  <a:gd name="connsiteX1429" fmla="*/ 4829 w 10785"/>
                  <a:gd name="connsiteY1429" fmla="*/ 632 h 10000"/>
                  <a:gd name="connsiteX1430" fmla="*/ 4829 w 10785"/>
                  <a:gd name="connsiteY1430" fmla="*/ 650 h 10000"/>
                  <a:gd name="connsiteX1431" fmla="*/ 4774 w 10785"/>
                  <a:gd name="connsiteY1431" fmla="*/ 684 h 10000"/>
                  <a:gd name="connsiteX1432" fmla="*/ 4756 w 10785"/>
                  <a:gd name="connsiteY1432" fmla="*/ 684 h 10000"/>
                  <a:gd name="connsiteX1433" fmla="*/ 4737 w 10785"/>
                  <a:gd name="connsiteY1433" fmla="*/ 692 h 10000"/>
                  <a:gd name="connsiteX1434" fmla="*/ 4677 w 10785"/>
                  <a:gd name="connsiteY1434" fmla="*/ 667 h 10000"/>
                  <a:gd name="connsiteX1435" fmla="*/ 4682 w 10785"/>
                  <a:gd name="connsiteY1435" fmla="*/ 692 h 10000"/>
                  <a:gd name="connsiteX1436" fmla="*/ 4682 w 10785"/>
                  <a:gd name="connsiteY1436" fmla="*/ 709 h 10000"/>
                  <a:gd name="connsiteX1437" fmla="*/ 4691 w 10785"/>
                  <a:gd name="connsiteY1437" fmla="*/ 718 h 10000"/>
                  <a:gd name="connsiteX1438" fmla="*/ 4691 w 10785"/>
                  <a:gd name="connsiteY1438" fmla="*/ 744 h 10000"/>
                  <a:gd name="connsiteX1439" fmla="*/ 4700 w 10785"/>
                  <a:gd name="connsiteY1439" fmla="*/ 744 h 10000"/>
                  <a:gd name="connsiteX1440" fmla="*/ 4714 w 10785"/>
                  <a:gd name="connsiteY1440" fmla="*/ 769 h 10000"/>
                  <a:gd name="connsiteX1441" fmla="*/ 4710 w 10785"/>
                  <a:gd name="connsiteY1441" fmla="*/ 786 h 10000"/>
                  <a:gd name="connsiteX1442" fmla="*/ 4737 w 10785"/>
                  <a:gd name="connsiteY1442" fmla="*/ 786 h 10000"/>
                  <a:gd name="connsiteX1443" fmla="*/ 4742 w 10785"/>
                  <a:gd name="connsiteY1443" fmla="*/ 795 h 10000"/>
                  <a:gd name="connsiteX1444" fmla="*/ 4742 w 10785"/>
                  <a:gd name="connsiteY1444" fmla="*/ 803 h 10000"/>
                  <a:gd name="connsiteX1445" fmla="*/ 4737 w 10785"/>
                  <a:gd name="connsiteY1445" fmla="*/ 846 h 10000"/>
                  <a:gd name="connsiteX1446" fmla="*/ 4737 w 10785"/>
                  <a:gd name="connsiteY1446" fmla="*/ 880 h 10000"/>
                  <a:gd name="connsiteX1447" fmla="*/ 4737 w 10785"/>
                  <a:gd name="connsiteY1447" fmla="*/ 906 h 10000"/>
                  <a:gd name="connsiteX1448" fmla="*/ 4724 w 10785"/>
                  <a:gd name="connsiteY1448" fmla="*/ 897 h 10000"/>
                  <a:gd name="connsiteX1449" fmla="*/ 4724 w 10785"/>
                  <a:gd name="connsiteY1449" fmla="*/ 872 h 10000"/>
                  <a:gd name="connsiteX1450" fmla="*/ 4714 w 10785"/>
                  <a:gd name="connsiteY1450" fmla="*/ 855 h 10000"/>
                  <a:gd name="connsiteX1451" fmla="*/ 4691 w 10785"/>
                  <a:gd name="connsiteY1451" fmla="*/ 846 h 10000"/>
                  <a:gd name="connsiteX1452" fmla="*/ 4691 w 10785"/>
                  <a:gd name="connsiteY1452" fmla="*/ 846 h 10000"/>
                  <a:gd name="connsiteX1453" fmla="*/ 4696 w 10785"/>
                  <a:gd name="connsiteY1453" fmla="*/ 821 h 10000"/>
                  <a:gd name="connsiteX1454" fmla="*/ 4691 w 10785"/>
                  <a:gd name="connsiteY1454" fmla="*/ 803 h 10000"/>
                  <a:gd name="connsiteX1455" fmla="*/ 4668 w 10785"/>
                  <a:gd name="connsiteY1455" fmla="*/ 821 h 10000"/>
                  <a:gd name="connsiteX1456" fmla="*/ 4668 w 10785"/>
                  <a:gd name="connsiteY1456" fmla="*/ 786 h 10000"/>
                  <a:gd name="connsiteX1457" fmla="*/ 4664 w 10785"/>
                  <a:gd name="connsiteY1457" fmla="*/ 786 h 10000"/>
                  <a:gd name="connsiteX1458" fmla="*/ 4622 w 10785"/>
                  <a:gd name="connsiteY1458" fmla="*/ 846 h 10000"/>
                  <a:gd name="connsiteX1459" fmla="*/ 4627 w 10785"/>
                  <a:gd name="connsiteY1459" fmla="*/ 872 h 10000"/>
                  <a:gd name="connsiteX1460" fmla="*/ 4622 w 10785"/>
                  <a:gd name="connsiteY1460" fmla="*/ 880 h 10000"/>
                  <a:gd name="connsiteX1461" fmla="*/ 4622 w 10785"/>
                  <a:gd name="connsiteY1461" fmla="*/ 880 h 10000"/>
                  <a:gd name="connsiteX1462" fmla="*/ 4618 w 10785"/>
                  <a:gd name="connsiteY1462" fmla="*/ 872 h 10000"/>
                  <a:gd name="connsiteX1463" fmla="*/ 4604 w 10785"/>
                  <a:gd name="connsiteY1463" fmla="*/ 880 h 10000"/>
                  <a:gd name="connsiteX1464" fmla="*/ 4594 w 10785"/>
                  <a:gd name="connsiteY1464" fmla="*/ 906 h 10000"/>
                  <a:gd name="connsiteX1465" fmla="*/ 4604 w 10785"/>
                  <a:gd name="connsiteY1465" fmla="*/ 906 h 10000"/>
                  <a:gd name="connsiteX1466" fmla="*/ 4608 w 10785"/>
                  <a:gd name="connsiteY1466" fmla="*/ 906 h 10000"/>
                  <a:gd name="connsiteX1467" fmla="*/ 4608 w 10785"/>
                  <a:gd name="connsiteY1467" fmla="*/ 932 h 10000"/>
                  <a:gd name="connsiteX1468" fmla="*/ 4604 w 10785"/>
                  <a:gd name="connsiteY1468" fmla="*/ 932 h 10000"/>
                  <a:gd name="connsiteX1469" fmla="*/ 4590 w 10785"/>
                  <a:gd name="connsiteY1469" fmla="*/ 932 h 10000"/>
                  <a:gd name="connsiteX1470" fmla="*/ 4567 w 10785"/>
                  <a:gd name="connsiteY1470" fmla="*/ 957 h 10000"/>
                  <a:gd name="connsiteX1471" fmla="*/ 4567 w 10785"/>
                  <a:gd name="connsiteY1471" fmla="*/ 932 h 10000"/>
                  <a:gd name="connsiteX1472" fmla="*/ 4567 w 10785"/>
                  <a:gd name="connsiteY1472" fmla="*/ 923 h 10000"/>
                  <a:gd name="connsiteX1473" fmla="*/ 4562 w 10785"/>
                  <a:gd name="connsiteY1473" fmla="*/ 932 h 10000"/>
                  <a:gd name="connsiteX1474" fmla="*/ 4548 w 10785"/>
                  <a:gd name="connsiteY1474" fmla="*/ 957 h 10000"/>
                  <a:gd name="connsiteX1475" fmla="*/ 4544 w 10785"/>
                  <a:gd name="connsiteY1475" fmla="*/ 957 h 10000"/>
                  <a:gd name="connsiteX1476" fmla="*/ 4521 w 10785"/>
                  <a:gd name="connsiteY1476" fmla="*/ 983 h 10000"/>
                  <a:gd name="connsiteX1477" fmla="*/ 4521 w 10785"/>
                  <a:gd name="connsiteY1477" fmla="*/ 983 h 10000"/>
                  <a:gd name="connsiteX1478" fmla="*/ 4530 w 10785"/>
                  <a:gd name="connsiteY1478" fmla="*/ 957 h 10000"/>
                  <a:gd name="connsiteX1479" fmla="*/ 4535 w 10785"/>
                  <a:gd name="connsiteY1479" fmla="*/ 932 h 10000"/>
                  <a:gd name="connsiteX1480" fmla="*/ 4521 w 10785"/>
                  <a:gd name="connsiteY1480" fmla="*/ 932 h 10000"/>
                  <a:gd name="connsiteX1481" fmla="*/ 4516 w 10785"/>
                  <a:gd name="connsiteY1481" fmla="*/ 923 h 10000"/>
                  <a:gd name="connsiteX1482" fmla="*/ 4516 w 10785"/>
                  <a:gd name="connsiteY1482" fmla="*/ 932 h 10000"/>
                  <a:gd name="connsiteX1483" fmla="*/ 4488 w 10785"/>
                  <a:gd name="connsiteY1483" fmla="*/ 940 h 10000"/>
                  <a:gd name="connsiteX1484" fmla="*/ 4484 w 10785"/>
                  <a:gd name="connsiteY1484" fmla="*/ 983 h 10000"/>
                  <a:gd name="connsiteX1485" fmla="*/ 4470 w 10785"/>
                  <a:gd name="connsiteY1485" fmla="*/ 983 h 10000"/>
                  <a:gd name="connsiteX1486" fmla="*/ 4470 w 10785"/>
                  <a:gd name="connsiteY1486" fmla="*/ 966 h 10000"/>
                  <a:gd name="connsiteX1487" fmla="*/ 4488 w 10785"/>
                  <a:gd name="connsiteY1487" fmla="*/ 923 h 10000"/>
                  <a:gd name="connsiteX1488" fmla="*/ 4493 w 10785"/>
                  <a:gd name="connsiteY1488" fmla="*/ 880 h 10000"/>
                  <a:gd name="connsiteX1489" fmla="*/ 4475 w 10785"/>
                  <a:gd name="connsiteY1489" fmla="*/ 846 h 10000"/>
                  <a:gd name="connsiteX1490" fmla="*/ 4442 w 10785"/>
                  <a:gd name="connsiteY1490" fmla="*/ 855 h 10000"/>
                  <a:gd name="connsiteX1491" fmla="*/ 4433 w 10785"/>
                  <a:gd name="connsiteY1491" fmla="*/ 855 h 10000"/>
                  <a:gd name="connsiteX1492" fmla="*/ 4433 w 10785"/>
                  <a:gd name="connsiteY1492" fmla="*/ 880 h 10000"/>
                  <a:gd name="connsiteX1493" fmla="*/ 4401 w 10785"/>
                  <a:gd name="connsiteY1493" fmla="*/ 855 h 10000"/>
                  <a:gd name="connsiteX1494" fmla="*/ 4396 w 10785"/>
                  <a:gd name="connsiteY1494" fmla="*/ 872 h 10000"/>
                  <a:gd name="connsiteX1495" fmla="*/ 4382 w 10785"/>
                  <a:gd name="connsiteY1495" fmla="*/ 897 h 10000"/>
                  <a:gd name="connsiteX1496" fmla="*/ 4373 w 10785"/>
                  <a:gd name="connsiteY1496" fmla="*/ 872 h 10000"/>
                  <a:gd name="connsiteX1497" fmla="*/ 4341 w 10785"/>
                  <a:gd name="connsiteY1497" fmla="*/ 872 h 10000"/>
                  <a:gd name="connsiteX1498" fmla="*/ 4336 w 10785"/>
                  <a:gd name="connsiteY1498" fmla="*/ 880 h 10000"/>
                  <a:gd name="connsiteX1499" fmla="*/ 4346 w 10785"/>
                  <a:gd name="connsiteY1499" fmla="*/ 897 h 10000"/>
                  <a:gd name="connsiteX1500" fmla="*/ 4346 w 10785"/>
                  <a:gd name="connsiteY1500" fmla="*/ 897 h 10000"/>
                  <a:gd name="connsiteX1501" fmla="*/ 4313 w 10785"/>
                  <a:gd name="connsiteY1501" fmla="*/ 906 h 10000"/>
                  <a:gd name="connsiteX1502" fmla="*/ 4313 w 10785"/>
                  <a:gd name="connsiteY1502" fmla="*/ 906 h 10000"/>
                  <a:gd name="connsiteX1503" fmla="*/ 4313 w 10785"/>
                  <a:gd name="connsiteY1503" fmla="*/ 880 h 10000"/>
                  <a:gd name="connsiteX1504" fmla="*/ 4309 w 10785"/>
                  <a:gd name="connsiteY1504" fmla="*/ 897 h 10000"/>
                  <a:gd name="connsiteX1505" fmla="*/ 4295 w 10785"/>
                  <a:gd name="connsiteY1505" fmla="*/ 923 h 10000"/>
                  <a:gd name="connsiteX1506" fmla="*/ 4286 w 10785"/>
                  <a:gd name="connsiteY1506" fmla="*/ 897 h 10000"/>
                  <a:gd name="connsiteX1507" fmla="*/ 4281 w 10785"/>
                  <a:gd name="connsiteY1507" fmla="*/ 906 h 10000"/>
                  <a:gd name="connsiteX1508" fmla="*/ 4281 w 10785"/>
                  <a:gd name="connsiteY1508" fmla="*/ 940 h 10000"/>
                  <a:gd name="connsiteX1509" fmla="*/ 4286 w 10785"/>
                  <a:gd name="connsiteY1509" fmla="*/ 957 h 10000"/>
                  <a:gd name="connsiteX1510" fmla="*/ 4309 w 10785"/>
                  <a:gd name="connsiteY1510" fmla="*/ 932 h 10000"/>
                  <a:gd name="connsiteX1511" fmla="*/ 4313 w 10785"/>
                  <a:gd name="connsiteY1511" fmla="*/ 957 h 10000"/>
                  <a:gd name="connsiteX1512" fmla="*/ 4313 w 10785"/>
                  <a:gd name="connsiteY1512" fmla="*/ 966 h 10000"/>
                  <a:gd name="connsiteX1513" fmla="*/ 4323 w 10785"/>
                  <a:gd name="connsiteY1513" fmla="*/ 966 h 10000"/>
                  <a:gd name="connsiteX1514" fmla="*/ 4323 w 10785"/>
                  <a:gd name="connsiteY1514" fmla="*/ 940 h 10000"/>
                  <a:gd name="connsiteX1515" fmla="*/ 4327 w 10785"/>
                  <a:gd name="connsiteY1515" fmla="*/ 940 h 10000"/>
                  <a:gd name="connsiteX1516" fmla="*/ 4327 w 10785"/>
                  <a:gd name="connsiteY1516" fmla="*/ 957 h 10000"/>
                  <a:gd name="connsiteX1517" fmla="*/ 4327 w 10785"/>
                  <a:gd name="connsiteY1517" fmla="*/ 966 h 10000"/>
                  <a:gd name="connsiteX1518" fmla="*/ 4323 w 10785"/>
                  <a:gd name="connsiteY1518" fmla="*/ 991 h 10000"/>
                  <a:gd name="connsiteX1519" fmla="*/ 4207 w 10785"/>
                  <a:gd name="connsiteY1519" fmla="*/ 1060 h 10000"/>
                  <a:gd name="connsiteX1520" fmla="*/ 4207 w 10785"/>
                  <a:gd name="connsiteY1520" fmla="*/ 1060 h 10000"/>
                  <a:gd name="connsiteX1521" fmla="*/ 4203 w 10785"/>
                  <a:gd name="connsiteY1521" fmla="*/ 1068 h 10000"/>
                  <a:gd name="connsiteX1522" fmla="*/ 4203 w 10785"/>
                  <a:gd name="connsiteY1522" fmla="*/ 1094 h 10000"/>
                  <a:gd name="connsiteX1523" fmla="*/ 4203 w 10785"/>
                  <a:gd name="connsiteY1523" fmla="*/ 1094 h 10000"/>
                  <a:gd name="connsiteX1524" fmla="*/ 4189 w 10785"/>
                  <a:gd name="connsiteY1524" fmla="*/ 1094 h 10000"/>
                  <a:gd name="connsiteX1525" fmla="*/ 4166 w 10785"/>
                  <a:gd name="connsiteY1525" fmla="*/ 1103 h 10000"/>
                  <a:gd name="connsiteX1526" fmla="*/ 4152 w 10785"/>
                  <a:gd name="connsiteY1526" fmla="*/ 1094 h 10000"/>
                  <a:gd name="connsiteX1527" fmla="*/ 4134 w 10785"/>
                  <a:gd name="connsiteY1527" fmla="*/ 1120 h 10000"/>
                  <a:gd name="connsiteX1528" fmla="*/ 4106 w 10785"/>
                  <a:gd name="connsiteY1528" fmla="*/ 1120 h 10000"/>
                  <a:gd name="connsiteX1529" fmla="*/ 4092 w 10785"/>
                  <a:gd name="connsiteY1529" fmla="*/ 1154 h 10000"/>
                  <a:gd name="connsiteX1530" fmla="*/ 4106 w 10785"/>
                  <a:gd name="connsiteY1530" fmla="*/ 1171 h 10000"/>
                  <a:gd name="connsiteX1531" fmla="*/ 4078 w 10785"/>
                  <a:gd name="connsiteY1531" fmla="*/ 1179 h 10000"/>
                  <a:gd name="connsiteX1532" fmla="*/ 4065 w 10785"/>
                  <a:gd name="connsiteY1532" fmla="*/ 1205 h 10000"/>
                  <a:gd name="connsiteX1533" fmla="*/ 4046 w 10785"/>
                  <a:gd name="connsiteY1533" fmla="*/ 1179 h 10000"/>
                  <a:gd name="connsiteX1534" fmla="*/ 4041 w 10785"/>
                  <a:gd name="connsiteY1534" fmla="*/ 1197 h 10000"/>
                  <a:gd name="connsiteX1535" fmla="*/ 4028 w 10785"/>
                  <a:gd name="connsiteY1535" fmla="*/ 1205 h 10000"/>
                  <a:gd name="connsiteX1536" fmla="*/ 4028 w 10785"/>
                  <a:gd name="connsiteY1536" fmla="*/ 1205 h 10000"/>
                  <a:gd name="connsiteX1537" fmla="*/ 4032 w 10785"/>
                  <a:gd name="connsiteY1537" fmla="*/ 1205 h 10000"/>
                  <a:gd name="connsiteX1538" fmla="*/ 4032 w 10785"/>
                  <a:gd name="connsiteY1538" fmla="*/ 1231 h 10000"/>
                  <a:gd name="connsiteX1539" fmla="*/ 4014 w 10785"/>
                  <a:gd name="connsiteY1539" fmla="*/ 1239 h 10000"/>
                  <a:gd name="connsiteX1540" fmla="*/ 4014 w 10785"/>
                  <a:gd name="connsiteY1540" fmla="*/ 1256 h 10000"/>
                  <a:gd name="connsiteX1541" fmla="*/ 4000 w 10785"/>
                  <a:gd name="connsiteY1541" fmla="*/ 1265 h 10000"/>
                  <a:gd name="connsiteX1542" fmla="*/ 3986 w 10785"/>
                  <a:gd name="connsiteY1542" fmla="*/ 1308 h 10000"/>
                  <a:gd name="connsiteX1543" fmla="*/ 3972 w 10785"/>
                  <a:gd name="connsiteY1543" fmla="*/ 1316 h 10000"/>
                  <a:gd name="connsiteX1544" fmla="*/ 3972 w 10785"/>
                  <a:gd name="connsiteY1544" fmla="*/ 1325 h 10000"/>
                  <a:gd name="connsiteX1545" fmla="*/ 3972 w 10785"/>
                  <a:gd name="connsiteY1545" fmla="*/ 1342 h 10000"/>
                  <a:gd name="connsiteX1546" fmla="*/ 3968 w 10785"/>
                  <a:gd name="connsiteY1546" fmla="*/ 1350 h 10000"/>
                  <a:gd name="connsiteX1547" fmla="*/ 3954 w 10785"/>
                  <a:gd name="connsiteY1547" fmla="*/ 1368 h 10000"/>
                  <a:gd name="connsiteX1548" fmla="*/ 3945 w 10785"/>
                  <a:gd name="connsiteY1548" fmla="*/ 1350 h 10000"/>
                  <a:gd name="connsiteX1549" fmla="*/ 3908 w 10785"/>
                  <a:gd name="connsiteY1549" fmla="*/ 1342 h 10000"/>
                  <a:gd name="connsiteX1550" fmla="*/ 3894 w 10785"/>
                  <a:gd name="connsiteY1550" fmla="*/ 1368 h 10000"/>
                  <a:gd name="connsiteX1551" fmla="*/ 3922 w 10785"/>
                  <a:gd name="connsiteY1551" fmla="*/ 1393 h 10000"/>
                  <a:gd name="connsiteX1552" fmla="*/ 3945 w 10785"/>
                  <a:gd name="connsiteY1552" fmla="*/ 1393 h 10000"/>
                  <a:gd name="connsiteX1553" fmla="*/ 3940 w 10785"/>
                  <a:gd name="connsiteY1553" fmla="*/ 1419 h 10000"/>
                  <a:gd name="connsiteX1554" fmla="*/ 3931 w 10785"/>
                  <a:gd name="connsiteY1554" fmla="*/ 1427 h 10000"/>
                  <a:gd name="connsiteX1555" fmla="*/ 3926 w 10785"/>
                  <a:gd name="connsiteY1555" fmla="*/ 1427 h 10000"/>
                  <a:gd name="connsiteX1556" fmla="*/ 3922 w 10785"/>
                  <a:gd name="connsiteY1556" fmla="*/ 1419 h 10000"/>
                  <a:gd name="connsiteX1557" fmla="*/ 3912 w 10785"/>
                  <a:gd name="connsiteY1557" fmla="*/ 1427 h 10000"/>
                  <a:gd name="connsiteX1558" fmla="*/ 3912 w 10785"/>
                  <a:gd name="connsiteY1558" fmla="*/ 1444 h 10000"/>
                  <a:gd name="connsiteX1559" fmla="*/ 3894 w 10785"/>
                  <a:gd name="connsiteY1559" fmla="*/ 1513 h 10000"/>
                  <a:gd name="connsiteX1560" fmla="*/ 3885 w 10785"/>
                  <a:gd name="connsiteY1560" fmla="*/ 1513 h 10000"/>
                  <a:gd name="connsiteX1561" fmla="*/ 3880 w 10785"/>
                  <a:gd name="connsiteY1561" fmla="*/ 1538 h 10000"/>
                  <a:gd name="connsiteX1562" fmla="*/ 3885 w 10785"/>
                  <a:gd name="connsiteY1562" fmla="*/ 1564 h 10000"/>
                  <a:gd name="connsiteX1563" fmla="*/ 3880 w 10785"/>
                  <a:gd name="connsiteY1563" fmla="*/ 1581 h 10000"/>
                  <a:gd name="connsiteX1564" fmla="*/ 3871 w 10785"/>
                  <a:gd name="connsiteY1564" fmla="*/ 1538 h 10000"/>
                  <a:gd name="connsiteX1565" fmla="*/ 3853 w 10785"/>
                  <a:gd name="connsiteY1565" fmla="*/ 1530 h 10000"/>
                  <a:gd name="connsiteX1566" fmla="*/ 3853 w 10785"/>
                  <a:gd name="connsiteY1566" fmla="*/ 1504 h 10000"/>
                  <a:gd name="connsiteX1567" fmla="*/ 3834 w 10785"/>
                  <a:gd name="connsiteY1567" fmla="*/ 1487 h 10000"/>
                  <a:gd name="connsiteX1568" fmla="*/ 3834 w 10785"/>
                  <a:gd name="connsiteY1568" fmla="*/ 1487 h 10000"/>
                  <a:gd name="connsiteX1569" fmla="*/ 3839 w 10785"/>
                  <a:gd name="connsiteY1569" fmla="*/ 1513 h 10000"/>
                  <a:gd name="connsiteX1570" fmla="*/ 3820 w 10785"/>
                  <a:gd name="connsiteY1570" fmla="*/ 1538 h 10000"/>
                  <a:gd name="connsiteX1571" fmla="*/ 3820 w 10785"/>
                  <a:gd name="connsiteY1571" fmla="*/ 1556 h 10000"/>
                  <a:gd name="connsiteX1572" fmla="*/ 3820 w 10785"/>
                  <a:gd name="connsiteY1572" fmla="*/ 1564 h 10000"/>
                  <a:gd name="connsiteX1573" fmla="*/ 3820 w 10785"/>
                  <a:gd name="connsiteY1573" fmla="*/ 1581 h 10000"/>
                  <a:gd name="connsiteX1574" fmla="*/ 3853 w 10785"/>
                  <a:gd name="connsiteY1574" fmla="*/ 1581 h 10000"/>
                  <a:gd name="connsiteX1575" fmla="*/ 3857 w 10785"/>
                  <a:gd name="connsiteY1575" fmla="*/ 1598 h 10000"/>
                  <a:gd name="connsiteX1576" fmla="*/ 3880 w 10785"/>
                  <a:gd name="connsiteY1576" fmla="*/ 1615 h 10000"/>
                  <a:gd name="connsiteX1577" fmla="*/ 3871 w 10785"/>
                  <a:gd name="connsiteY1577" fmla="*/ 1615 h 10000"/>
                  <a:gd name="connsiteX1578" fmla="*/ 3871 w 10785"/>
                  <a:gd name="connsiteY1578" fmla="*/ 1641 h 10000"/>
                  <a:gd name="connsiteX1579" fmla="*/ 3880 w 10785"/>
                  <a:gd name="connsiteY1579" fmla="*/ 1641 h 10000"/>
                  <a:gd name="connsiteX1580" fmla="*/ 3871 w 10785"/>
                  <a:gd name="connsiteY1580" fmla="*/ 1650 h 10000"/>
                  <a:gd name="connsiteX1581" fmla="*/ 3857 w 10785"/>
                  <a:gd name="connsiteY1581" fmla="*/ 1650 h 10000"/>
                  <a:gd name="connsiteX1582" fmla="*/ 3853 w 10785"/>
                  <a:gd name="connsiteY1582" fmla="*/ 1650 h 10000"/>
                  <a:gd name="connsiteX1583" fmla="*/ 3839 w 10785"/>
                  <a:gd name="connsiteY1583" fmla="*/ 1667 h 10000"/>
                  <a:gd name="connsiteX1584" fmla="*/ 3848 w 10785"/>
                  <a:gd name="connsiteY1584" fmla="*/ 1692 h 10000"/>
                  <a:gd name="connsiteX1585" fmla="*/ 3834 w 10785"/>
                  <a:gd name="connsiteY1585" fmla="*/ 1692 h 10000"/>
                  <a:gd name="connsiteX1586" fmla="*/ 3825 w 10785"/>
                  <a:gd name="connsiteY1586" fmla="*/ 1692 h 10000"/>
                  <a:gd name="connsiteX1587" fmla="*/ 3825 w 10785"/>
                  <a:gd name="connsiteY1587" fmla="*/ 1718 h 10000"/>
                  <a:gd name="connsiteX1588" fmla="*/ 3839 w 10785"/>
                  <a:gd name="connsiteY1588" fmla="*/ 1726 h 10000"/>
                  <a:gd name="connsiteX1589" fmla="*/ 3880 w 10785"/>
                  <a:gd name="connsiteY1589" fmla="*/ 1752 h 10000"/>
                  <a:gd name="connsiteX1590" fmla="*/ 3894 w 10785"/>
                  <a:gd name="connsiteY1590" fmla="*/ 1829 h 10000"/>
                  <a:gd name="connsiteX1591" fmla="*/ 3899 w 10785"/>
                  <a:gd name="connsiteY1591" fmla="*/ 1838 h 10000"/>
                  <a:gd name="connsiteX1592" fmla="*/ 3894 w 10785"/>
                  <a:gd name="connsiteY1592" fmla="*/ 1855 h 10000"/>
                  <a:gd name="connsiteX1593" fmla="*/ 3880 w 10785"/>
                  <a:gd name="connsiteY1593" fmla="*/ 1838 h 10000"/>
                  <a:gd name="connsiteX1594" fmla="*/ 3880 w 10785"/>
                  <a:gd name="connsiteY1594" fmla="*/ 1855 h 10000"/>
                  <a:gd name="connsiteX1595" fmla="*/ 3880 w 10785"/>
                  <a:gd name="connsiteY1595" fmla="*/ 1863 h 10000"/>
                  <a:gd name="connsiteX1596" fmla="*/ 3871 w 10785"/>
                  <a:gd name="connsiteY1596" fmla="*/ 1872 h 10000"/>
                  <a:gd name="connsiteX1597" fmla="*/ 3880 w 10785"/>
                  <a:gd name="connsiteY1597" fmla="*/ 1889 h 10000"/>
                  <a:gd name="connsiteX1598" fmla="*/ 3885 w 10785"/>
                  <a:gd name="connsiteY1598" fmla="*/ 1889 h 10000"/>
                  <a:gd name="connsiteX1599" fmla="*/ 3880 w 10785"/>
                  <a:gd name="connsiteY1599" fmla="*/ 1897 h 10000"/>
                  <a:gd name="connsiteX1600" fmla="*/ 3871 w 10785"/>
                  <a:gd name="connsiteY1600" fmla="*/ 1915 h 10000"/>
                  <a:gd name="connsiteX1601" fmla="*/ 3848 w 10785"/>
                  <a:gd name="connsiteY1601" fmla="*/ 1923 h 10000"/>
                  <a:gd name="connsiteX1602" fmla="*/ 3825 w 10785"/>
                  <a:gd name="connsiteY1602" fmla="*/ 1940 h 10000"/>
                  <a:gd name="connsiteX1603" fmla="*/ 3811 w 10785"/>
                  <a:gd name="connsiteY1603" fmla="*/ 1940 h 10000"/>
                  <a:gd name="connsiteX1604" fmla="*/ 3806 w 10785"/>
                  <a:gd name="connsiteY1604" fmla="*/ 1949 h 10000"/>
                  <a:gd name="connsiteX1605" fmla="*/ 3797 w 10785"/>
                  <a:gd name="connsiteY1605" fmla="*/ 1966 h 10000"/>
                  <a:gd name="connsiteX1606" fmla="*/ 3788 w 10785"/>
                  <a:gd name="connsiteY1606" fmla="*/ 1991 h 10000"/>
                  <a:gd name="connsiteX1607" fmla="*/ 3765 w 10785"/>
                  <a:gd name="connsiteY1607" fmla="*/ 1974 h 10000"/>
                  <a:gd name="connsiteX1608" fmla="*/ 3760 w 10785"/>
                  <a:gd name="connsiteY1608" fmla="*/ 1966 h 10000"/>
                  <a:gd name="connsiteX1609" fmla="*/ 3760 w 10785"/>
                  <a:gd name="connsiteY1609" fmla="*/ 1966 h 10000"/>
                  <a:gd name="connsiteX1610" fmla="*/ 3631 w 10785"/>
                  <a:gd name="connsiteY1610" fmla="*/ 2009 h 10000"/>
                  <a:gd name="connsiteX1611" fmla="*/ 3618 w 10785"/>
                  <a:gd name="connsiteY1611" fmla="*/ 2000 h 10000"/>
                  <a:gd name="connsiteX1612" fmla="*/ 3599 w 10785"/>
                  <a:gd name="connsiteY1612" fmla="*/ 2009 h 10000"/>
                  <a:gd name="connsiteX1613" fmla="*/ 3571 w 10785"/>
                  <a:gd name="connsiteY1613" fmla="*/ 2000 h 10000"/>
                  <a:gd name="connsiteX1614" fmla="*/ 3530 w 10785"/>
                  <a:gd name="connsiteY1614" fmla="*/ 2026 h 10000"/>
                  <a:gd name="connsiteX1615" fmla="*/ 3530 w 10785"/>
                  <a:gd name="connsiteY1615" fmla="*/ 2034 h 10000"/>
                  <a:gd name="connsiteX1616" fmla="*/ 3525 w 10785"/>
                  <a:gd name="connsiteY1616" fmla="*/ 2051 h 10000"/>
                  <a:gd name="connsiteX1617" fmla="*/ 3512 w 10785"/>
                  <a:gd name="connsiteY1617" fmla="*/ 2034 h 10000"/>
                  <a:gd name="connsiteX1618" fmla="*/ 3507 w 10785"/>
                  <a:gd name="connsiteY1618" fmla="*/ 2034 h 10000"/>
                  <a:gd name="connsiteX1619" fmla="*/ 3498 w 10785"/>
                  <a:gd name="connsiteY1619" fmla="*/ 2051 h 10000"/>
                  <a:gd name="connsiteX1620" fmla="*/ 3484 w 10785"/>
                  <a:gd name="connsiteY1620" fmla="*/ 2060 h 10000"/>
                  <a:gd name="connsiteX1621" fmla="*/ 3484 w 10785"/>
                  <a:gd name="connsiteY1621" fmla="*/ 2085 h 10000"/>
                  <a:gd name="connsiteX1622" fmla="*/ 3484 w 10785"/>
                  <a:gd name="connsiteY1622" fmla="*/ 2103 h 10000"/>
                  <a:gd name="connsiteX1623" fmla="*/ 3493 w 10785"/>
                  <a:gd name="connsiteY1623" fmla="*/ 2103 h 10000"/>
                  <a:gd name="connsiteX1624" fmla="*/ 3493 w 10785"/>
                  <a:gd name="connsiteY1624" fmla="*/ 2085 h 10000"/>
                  <a:gd name="connsiteX1625" fmla="*/ 3498 w 10785"/>
                  <a:gd name="connsiteY1625" fmla="*/ 2085 h 10000"/>
                  <a:gd name="connsiteX1626" fmla="*/ 3498 w 10785"/>
                  <a:gd name="connsiteY1626" fmla="*/ 2111 h 10000"/>
                  <a:gd name="connsiteX1627" fmla="*/ 3484 w 10785"/>
                  <a:gd name="connsiteY1627" fmla="*/ 2120 h 10000"/>
                  <a:gd name="connsiteX1628" fmla="*/ 3484 w 10785"/>
                  <a:gd name="connsiteY1628" fmla="*/ 2145 h 10000"/>
                  <a:gd name="connsiteX1629" fmla="*/ 3470 w 10785"/>
                  <a:gd name="connsiteY1629" fmla="*/ 2137 h 10000"/>
                  <a:gd name="connsiteX1630" fmla="*/ 3465 w 10785"/>
                  <a:gd name="connsiteY1630" fmla="*/ 2145 h 10000"/>
                  <a:gd name="connsiteX1631" fmla="*/ 3470 w 10785"/>
                  <a:gd name="connsiteY1631" fmla="*/ 2171 h 10000"/>
                  <a:gd name="connsiteX1632" fmla="*/ 3484 w 10785"/>
                  <a:gd name="connsiteY1632" fmla="*/ 2171 h 10000"/>
                  <a:gd name="connsiteX1633" fmla="*/ 3484 w 10785"/>
                  <a:gd name="connsiteY1633" fmla="*/ 2197 h 10000"/>
                  <a:gd name="connsiteX1634" fmla="*/ 3465 w 10785"/>
                  <a:gd name="connsiteY1634" fmla="*/ 2214 h 10000"/>
                  <a:gd name="connsiteX1635" fmla="*/ 3493 w 10785"/>
                  <a:gd name="connsiteY1635" fmla="*/ 2248 h 10000"/>
                  <a:gd name="connsiteX1636" fmla="*/ 3484 w 10785"/>
                  <a:gd name="connsiteY1636" fmla="*/ 2256 h 10000"/>
                  <a:gd name="connsiteX1637" fmla="*/ 3498 w 10785"/>
                  <a:gd name="connsiteY1637" fmla="*/ 2274 h 10000"/>
                  <a:gd name="connsiteX1638" fmla="*/ 3498 w 10785"/>
                  <a:gd name="connsiteY1638" fmla="*/ 2256 h 10000"/>
                  <a:gd name="connsiteX1639" fmla="*/ 3507 w 10785"/>
                  <a:gd name="connsiteY1639" fmla="*/ 2308 h 10000"/>
                  <a:gd name="connsiteX1640" fmla="*/ 3512 w 10785"/>
                  <a:gd name="connsiteY1640" fmla="*/ 2325 h 10000"/>
                  <a:gd name="connsiteX1641" fmla="*/ 3507 w 10785"/>
                  <a:gd name="connsiteY1641" fmla="*/ 2333 h 10000"/>
                  <a:gd name="connsiteX1642" fmla="*/ 3507 w 10785"/>
                  <a:gd name="connsiteY1642" fmla="*/ 2359 h 10000"/>
                  <a:gd name="connsiteX1643" fmla="*/ 3507 w 10785"/>
                  <a:gd name="connsiteY1643" fmla="*/ 2376 h 10000"/>
                  <a:gd name="connsiteX1644" fmla="*/ 3498 w 10785"/>
                  <a:gd name="connsiteY1644" fmla="*/ 2410 h 10000"/>
                  <a:gd name="connsiteX1645" fmla="*/ 3498 w 10785"/>
                  <a:gd name="connsiteY1645" fmla="*/ 2436 h 10000"/>
                  <a:gd name="connsiteX1646" fmla="*/ 3507 w 10785"/>
                  <a:gd name="connsiteY1646" fmla="*/ 2462 h 10000"/>
                  <a:gd name="connsiteX1647" fmla="*/ 3507 w 10785"/>
                  <a:gd name="connsiteY1647" fmla="*/ 2496 h 10000"/>
                  <a:gd name="connsiteX1648" fmla="*/ 3512 w 10785"/>
                  <a:gd name="connsiteY1648" fmla="*/ 2521 h 10000"/>
                  <a:gd name="connsiteX1649" fmla="*/ 3525 w 10785"/>
                  <a:gd name="connsiteY1649" fmla="*/ 2556 h 10000"/>
                  <a:gd name="connsiteX1650" fmla="*/ 3571 w 10785"/>
                  <a:gd name="connsiteY1650" fmla="*/ 2573 h 10000"/>
                  <a:gd name="connsiteX1651" fmla="*/ 3590 w 10785"/>
                  <a:gd name="connsiteY1651" fmla="*/ 2598 h 10000"/>
                  <a:gd name="connsiteX1652" fmla="*/ 3599 w 10785"/>
                  <a:gd name="connsiteY1652" fmla="*/ 2598 h 10000"/>
                  <a:gd name="connsiteX1653" fmla="*/ 3604 w 10785"/>
                  <a:gd name="connsiteY1653" fmla="*/ 2632 h 10000"/>
                  <a:gd name="connsiteX1654" fmla="*/ 3599 w 10785"/>
                  <a:gd name="connsiteY1654" fmla="*/ 2658 h 10000"/>
                  <a:gd name="connsiteX1655" fmla="*/ 3590 w 10785"/>
                  <a:gd name="connsiteY1655" fmla="*/ 2667 h 10000"/>
                  <a:gd name="connsiteX1656" fmla="*/ 3604 w 10785"/>
                  <a:gd name="connsiteY1656" fmla="*/ 2667 h 10000"/>
                  <a:gd name="connsiteX1657" fmla="*/ 3613 w 10785"/>
                  <a:gd name="connsiteY1657" fmla="*/ 2692 h 10000"/>
                  <a:gd name="connsiteX1658" fmla="*/ 3627 w 10785"/>
                  <a:gd name="connsiteY1658" fmla="*/ 2735 h 10000"/>
                  <a:gd name="connsiteX1659" fmla="*/ 3631 w 10785"/>
                  <a:gd name="connsiteY1659" fmla="*/ 2744 h 10000"/>
                  <a:gd name="connsiteX1660" fmla="*/ 3659 w 10785"/>
                  <a:gd name="connsiteY1660" fmla="*/ 2761 h 10000"/>
                  <a:gd name="connsiteX1661" fmla="*/ 3673 w 10785"/>
                  <a:gd name="connsiteY1661" fmla="*/ 2769 h 10000"/>
                  <a:gd name="connsiteX1662" fmla="*/ 3673 w 10785"/>
                  <a:gd name="connsiteY1662" fmla="*/ 2761 h 10000"/>
                  <a:gd name="connsiteX1663" fmla="*/ 3687 w 10785"/>
                  <a:gd name="connsiteY1663" fmla="*/ 2829 h 10000"/>
                  <a:gd name="connsiteX1664" fmla="*/ 3677 w 10785"/>
                  <a:gd name="connsiteY1664" fmla="*/ 2897 h 10000"/>
                  <a:gd name="connsiteX1665" fmla="*/ 3673 w 10785"/>
                  <a:gd name="connsiteY1665" fmla="*/ 2915 h 10000"/>
                  <a:gd name="connsiteX1666" fmla="*/ 3664 w 10785"/>
                  <a:gd name="connsiteY1666" fmla="*/ 2957 h 10000"/>
                  <a:gd name="connsiteX1667" fmla="*/ 3659 w 10785"/>
                  <a:gd name="connsiteY1667" fmla="*/ 2983 h 10000"/>
                  <a:gd name="connsiteX1668" fmla="*/ 3664 w 10785"/>
                  <a:gd name="connsiteY1668" fmla="*/ 3017 h 10000"/>
                  <a:gd name="connsiteX1669" fmla="*/ 3659 w 10785"/>
                  <a:gd name="connsiteY1669" fmla="*/ 3043 h 10000"/>
                  <a:gd name="connsiteX1670" fmla="*/ 3677 w 10785"/>
                  <a:gd name="connsiteY1670" fmla="*/ 3094 h 10000"/>
                  <a:gd name="connsiteX1671" fmla="*/ 3691 w 10785"/>
                  <a:gd name="connsiteY1671" fmla="*/ 3282 h 10000"/>
                  <a:gd name="connsiteX1672" fmla="*/ 3691 w 10785"/>
                  <a:gd name="connsiteY1672" fmla="*/ 3308 h 10000"/>
                  <a:gd name="connsiteX1673" fmla="*/ 3677 w 10785"/>
                  <a:gd name="connsiteY1673" fmla="*/ 3342 h 10000"/>
                  <a:gd name="connsiteX1674" fmla="*/ 3664 w 10785"/>
                  <a:gd name="connsiteY1674" fmla="*/ 3342 h 10000"/>
                  <a:gd name="connsiteX1675" fmla="*/ 3650 w 10785"/>
                  <a:gd name="connsiteY1675" fmla="*/ 3342 h 10000"/>
                  <a:gd name="connsiteX1676" fmla="*/ 3650 w 10785"/>
                  <a:gd name="connsiteY1676" fmla="*/ 3350 h 10000"/>
                  <a:gd name="connsiteX1677" fmla="*/ 3659 w 10785"/>
                  <a:gd name="connsiteY1677" fmla="*/ 3402 h 10000"/>
                  <a:gd name="connsiteX1678" fmla="*/ 3659 w 10785"/>
                  <a:gd name="connsiteY1678" fmla="*/ 3419 h 10000"/>
                  <a:gd name="connsiteX1679" fmla="*/ 3631 w 10785"/>
                  <a:gd name="connsiteY1679" fmla="*/ 3402 h 10000"/>
                  <a:gd name="connsiteX1680" fmla="*/ 3604 w 10785"/>
                  <a:gd name="connsiteY1680" fmla="*/ 3393 h 10000"/>
                  <a:gd name="connsiteX1681" fmla="*/ 3599 w 10785"/>
                  <a:gd name="connsiteY1681" fmla="*/ 3368 h 10000"/>
                  <a:gd name="connsiteX1682" fmla="*/ 3590 w 10785"/>
                  <a:gd name="connsiteY1682" fmla="*/ 3239 h 10000"/>
                  <a:gd name="connsiteX1683" fmla="*/ 3599 w 10785"/>
                  <a:gd name="connsiteY1683" fmla="*/ 3179 h 10000"/>
                  <a:gd name="connsiteX1684" fmla="*/ 3599 w 10785"/>
                  <a:gd name="connsiteY1684" fmla="*/ 3171 h 10000"/>
                  <a:gd name="connsiteX1685" fmla="*/ 3599 w 10785"/>
                  <a:gd name="connsiteY1685" fmla="*/ 3009 h 10000"/>
                  <a:gd name="connsiteX1686" fmla="*/ 3604 w 10785"/>
                  <a:gd name="connsiteY1686" fmla="*/ 2983 h 10000"/>
                  <a:gd name="connsiteX1687" fmla="*/ 3645 w 10785"/>
                  <a:gd name="connsiteY1687" fmla="*/ 2932 h 10000"/>
                  <a:gd name="connsiteX1688" fmla="*/ 3650 w 10785"/>
                  <a:gd name="connsiteY1688" fmla="*/ 2872 h 10000"/>
                  <a:gd name="connsiteX1689" fmla="*/ 3659 w 10785"/>
                  <a:gd name="connsiteY1689" fmla="*/ 2855 h 10000"/>
                  <a:gd name="connsiteX1690" fmla="*/ 3659 w 10785"/>
                  <a:gd name="connsiteY1690" fmla="*/ 2821 h 10000"/>
                  <a:gd name="connsiteX1691" fmla="*/ 3631 w 10785"/>
                  <a:gd name="connsiteY1691" fmla="*/ 2795 h 10000"/>
                  <a:gd name="connsiteX1692" fmla="*/ 3567 w 10785"/>
                  <a:gd name="connsiteY1692" fmla="*/ 2821 h 10000"/>
                  <a:gd name="connsiteX1693" fmla="*/ 3544 w 10785"/>
                  <a:gd name="connsiteY1693" fmla="*/ 2795 h 10000"/>
                  <a:gd name="connsiteX1694" fmla="*/ 3530 w 10785"/>
                  <a:gd name="connsiteY1694" fmla="*/ 2769 h 10000"/>
                  <a:gd name="connsiteX1695" fmla="*/ 3530 w 10785"/>
                  <a:gd name="connsiteY1695" fmla="*/ 2786 h 10000"/>
                  <a:gd name="connsiteX1696" fmla="*/ 3498 w 10785"/>
                  <a:gd name="connsiteY1696" fmla="*/ 2692 h 10000"/>
                  <a:gd name="connsiteX1697" fmla="*/ 3498 w 10785"/>
                  <a:gd name="connsiteY1697" fmla="*/ 2667 h 10000"/>
                  <a:gd name="connsiteX1698" fmla="*/ 3442 w 10785"/>
                  <a:gd name="connsiteY1698" fmla="*/ 2607 h 10000"/>
                  <a:gd name="connsiteX1699" fmla="*/ 3433 w 10785"/>
                  <a:gd name="connsiteY1699" fmla="*/ 2581 h 10000"/>
                  <a:gd name="connsiteX1700" fmla="*/ 3396 w 10785"/>
                  <a:gd name="connsiteY1700" fmla="*/ 2556 h 10000"/>
                  <a:gd name="connsiteX1701" fmla="*/ 3318 w 10785"/>
                  <a:gd name="connsiteY1701" fmla="*/ 2556 h 10000"/>
                  <a:gd name="connsiteX1702" fmla="*/ 3304 w 10785"/>
                  <a:gd name="connsiteY1702" fmla="*/ 2607 h 10000"/>
                  <a:gd name="connsiteX1703" fmla="*/ 3276 w 10785"/>
                  <a:gd name="connsiteY1703" fmla="*/ 2632 h 10000"/>
                  <a:gd name="connsiteX1704" fmla="*/ 3272 w 10785"/>
                  <a:gd name="connsiteY1704" fmla="*/ 2667 h 10000"/>
                  <a:gd name="connsiteX1705" fmla="*/ 3304 w 10785"/>
                  <a:gd name="connsiteY1705" fmla="*/ 2667 h 10000"/>
                  <a:gd name="connsiteX1706" fmla="*/ 3323 w 10785"/>
                  <a:gd name="connsiteY1706" fmla="*/ 2692 h 10000"/>
                  <a:gd name="connsiteX1707" fmla="*/ 3318 w 10785"/>
                  <a:gd name="connsiteY1707" fmla="*/ 2735 h 10000"/>
                  <a:gd name="connsiteX1708" fmla="*/ 3304 w 10785"/>
                  <a:gd name="connsiteY1708" fmla="*/ 2761 h 10000"/>
                  <a:gd name="connsiteX1709" fmla="*/ 3276 w 10785"/>
                  <a:gd name="connsiteY1709" fmla="*/ 2769 h 10000"/>
                  <a:gd name="connsiteX1710" fmla="*/ 3263 w 10785"/>
                  <a:gd name="connsiteY1710" fmla="*/ 2795 h 10000"/>
                  <a:gd name="connsiteX1711" fmla="*/ 3235 w 10785"/>
                  <a:gd name="connsiteY1711" fmla="*/ 2803 h 10000"/>
                  <a:gd name="connsiteX1712" fmla="*/ 3235 w 10785"/>
                  <a:gd name="connsiteY1712" fmla="*/ 2786 h 10000"/>
                  <a:gd name="connsiteX1713" fmla="*/ 3212 w 10785"/>
                  <a:gd name="connsiteY1713" fmla="*/ 2709 h 10000"/>
                  <a:gd name="connsiteX1714" fmla="*/ 3198 w 10785"/>
                  <a:gd name="connsiteY1714" fmla="*/ 2709 h 10000"/>
                  <a:gd name="connsiteX1715" fmla="*/ 3184 w 10785"/>
                  <a:gd name="connsiteY1715" fmla="*/ 2735 h 10000"/>
                  <a:gd name="connsiteX1716" fmla="*/ 3189 w 10785"/>
                  <a:gd name="connsiteY1716" fmla="*/ 2761 h 10000"/>
                  <a:gd name="connsiteX1717" fmla="*/ 3203 w 10785"/>
                  <a:gd name="connsiteY1717" fmla="*/ 2855 h 10000"/>
                  <a:gd name="connsiteX1718" fmla="*/ 3212 w 10785"/>
                  <a:gd name="connsiteY1718" fmla="*/ 2872 h 10000"/>
                  <a:gd name="connsiteX1719" fmla="*/ 3235 w 10785"/>
                  <a:gd name="connsiteY1719" fmla="*/ 2906 h 10000"/>
                  <a:gd name="connsiteX1720" fmla="*/ 3258 w 10785"/>
                  <a:gd name="connsiteY1720" fmla="*/ 2915 h 10000"/>
                  <a:gd name="connsiteX1721" fmla="*/ 3272 w 10785"/>
                  <a:gd name="connsiteY1721" fmla="*/ 2957 h 10000"/>
                  <a:gd name="connsiteX1722" fmla="*/ 3276 w 10785"/>
                  <a:gd name="connsiteY1722" fmla="*/ 2957 h 10000"/>
                  <a:gd name="connsiteX1723" fmla="*/ 3286 w 10785"/>
                  <a:gd name="connsiteY1723" fmla="*/ 2966 h 10000"/>
                  <a:gd name="connsiteX1724" fmla="*/ 3300 w 10785"/>
                  <a:gd name="connsiteY1724" fmla="*/ 2957 h 10000"/>
                  <a:gd name="connsiteX1725" fmla="*/ 3309 w 10785"/>
                  <a:gd name="connsiteY1725" fmla="*/ 2932 h 10000"/>
                  <a:gd name="connsiteX1726" fmla="*/ 3304 w 10785"/>
                  <a:gd name="connsiteY1726" fmla="*/ 2966 h 10000"/>
                  <a:gd name="connsiteX1727" fmla="*/ 3309 w 10785"/>
                  <a:gd name="connsiteY1727" fmla="*/ 2983 h 10000"/>
                  <a:gd name="connsiteX1728" fmla="*/ 3323 w 10785"/>
                  <a:gd name="connsiteY1728" fmla="*/ 2966 h 10000"/>
                  <a:gd name="connsiteX1729" fmla="*/ 3323 w 10785"/>
                  <a:gd name="connsiteY1729" fmla="*/ 3043 h 10000"/>
                  <a:gd name="connsiteX1730" fmla="*/ 3346 w 10785"/>
                  <a:gd name="connsiteY1730" fmla="*/ 3068 h 10000"/>
                  <a:gd name="connsiteX1731" fmla="*/ 3346 w 10785"/>
                  <a:gd name="connsiteY1731" fmla="*/ 3094 h 10000"/>
                  <a:gd name="connsiteX1732" fmla="*/ 3323 w 10785"/>
                  <a:gd name="connsiteY1732" fmla="*/ 3094 h 10000"/>
                  <a:gd name="connsiteX1733" fmla="*/ 3309 w 10785"/>
                  <a:gd name="connsiteY1733" fmla="*/ 3077 h 10000"/>
                  <a:gd name="connsiteX1734" fmla="*/ 3304 w 10785"/>
                  <a:gd name="connsiteY1734" fmla="*/ 3051 h 10000"/>
                  <a:gd name="connsiteX1735" fmla="*/ 3300 w 10785"/>
                  <a:gd name="connsiteY1735" fmla="*/ 3043 h 10000"/>
                  <a:gd name="connsiteX1736" fmla="*/ 3286 w 10785"/>
                  <a:gd name="connsiteY1736" fmla="*/ 3017 h 10000"/>
                  <a:gd name="connsiteX1737" fmla="*/ 3152 w 10785"/>
                  <a:gd name="connsiteY1737" fmla="*/ 2966 h 10000"/>
                  <a:gd name="connsiteX1738" fmla="*/ 3129 w 10785"/>
                  <a:gd name="connsiteY1738" fmla="*/ 2915 h 10000"/>
                  <a:gd name="connsiteX1739" fmla="*/ 3129 w 10785"/>
                  <a:gd name="connsiteY1739" fmla="*/ 2906 h 10000"/>
                  <a:gd name="connsiteX1740" fmla="*/ 3152 w 10785"/>
                  <a:gd name="connsiteY1740" fmla="*/ 2906 h 10000"/>
                  <a:gd name="connsiteX1741" fmla="*/ 3152 w 10785"/>
                  <a:gd name="connsiteY1741" fmla="*/ 2846 h 10000"/>
                  <a:gd name="connsiteX1742" fmla="*/ 3138 w 10785"/>
                  <a:gd name="connsiteY1742" fmla="*/ 2795 h 10000"/>
                  <a:gd name="connsiteX1743" fmla="*/ 3138 w 10785"/>
                  <a:gd name="connsiteY1743" fmla="*/ 2769 h 10000"/>
                  <a:gd name="connsiteX1744" fmla="*/ 3143 w 10785"/>
                  <a:gd name="connsiteY1744" fmla="*/ 2718 h 10000"/>
                  <a:gd name="connsiteX1745" fmla="*/ 3129 w 10785"/>
                  <a:gd name="connsiteY1745" fmla="*/ 2692 h 10000"/>
                  <a:gd name="connsiteX1746" fmla="*/ 3143 w 10785"/>
                  <a:gd name="connsiteY1746" fmla="*/ 2667 h 10000"/>
                  <a:gd name="connsiteX1747" fmla="*/ 3157 w 10785"/>
                  <a:gd name="connsiteY1747" fmla="*/ 2581 h 10000"/>
                  <a:gd name="connsiteX1748" fmla="*/ 3143 w 10785"/>
                  <a:gd name="connsiteY1748" fmla="*/ 2496 h 10000"/>
                  <a:gd name="connsiteX1749" fmla="*/ 3157 w 10785"/>
                  <a:gd name="connsiteY1749" fmla="*/ 2487 h 10000"/>
                  <a:gd name="connsiteX1750" fmla="*/ 3143 w 10785"/>
                  <a:gd name="connsiteY1750" fmla="*/ 2444 h 10000"/>
                  <a:gd name="connsiteX1751" fmla="*/ 3143 w 10785"/>
                  <a:gd name="connsiteY1751" fmla="*/ 2419 h 10000"/>
                  <a:gd name="connsiteX1752" fmla="*/ 3143 w 10785"/>
                  <a:gd name="connsiteY1752" fmla="*/ 2410 h 10000"/>
                  <a:gd name="connsiteX1753" fmla="*/ 3124 w 10785"/>
                  <a:gd name="connsiteY1753" fmla="*/ 2376 h 10000"/>
                  <a:gd name="connsiteX1754" fmla="*/ 3115 w 10785"/>
                  <a:gd name="connsiteY1754" fmla="*/ 2350 h 10000"/>
                  <a:gd name="connsiteX1755" fmla="*/ 3101 w 10785"/>
                  <a:gd name="connsiteY1755" fmla="*/ 2359 h 10000"/>
                  <a:gd name="connsiteX1756" fmla="*/ 3115 w 10785"/>
                  <a:gd name="connsiteY1756" fmla="*/ 2581 h 10000"/>
                  <a:gd name="connsiteX1757" fmla="*/ 3111 w 10785"/>
                  <a:gd name="connsiteY1757" fmla="*/ 2624 h 10000"/>
                  <a:gd name="connsiteX1758" fmla="*/ 3009 w 10785"/>
                  <a:gd name="connsiteY1758" fmla="*/ 2761 h 10000"/>
                  <a:gd name="connsiteX1759" fmla="*/ 3009 w 10785"/>
                  <a:gd name="connsiteY1759" fmla="*/ 2803 h 10000"/>
                  <a:gd name="connsiteX1760" fmla="*/ 3005 w 10785"/>
                  <a:gd name="connsiteY1760" fmla="*/ 2829 h 10000"/>
                  <a:gd name="connsiteX1761" fmla="*/ 2982 w 10785"/>
                  <a:gd name="connsiteY1761" fmla="*/ 2872 h 10000"/>
                  <a:gd name="connsiteX1762" fmla="*/ 2982 w 10785"/>
                  <a:gd name="connsiteY1762" fmla="*/ 2880 h 10000"/>
                  <a:gd name="connsiteX1763" fmla="*/ 3037 w 10785"/>
                  <a:gd name="connsiteY1763" fmla="*/ 3034 h 10000"/>
                  <a:gd name="connsiteX1764" fmla="*/ 3041 w 10785"/>
                  <a:gd name="connsiteY1764" fmla="*/ 3103 h 10000"/>
                  <a:gd name="connsiteX1765" fmla="*/ 3069 w 10785"/>
                  <a:gd name="connsiteY1765" fmla="*/ 3188 h 10000"/>
                  <a:gd name="connsiteX1766" fmla="*/ 3055 w 10785"/>
                  <a:gd name="connsiteY1766" fmla="*/ 3325 h 10000"/>
                  <a:gd name="connsiteX1767" fmla="*/ 3037 w 10785"/>
                  <a:gd name="connsiteY1767" fmla="*/ 3368 h 10000"/>
                  <a:gd name="connsiteX1768" fmla="*/ 3037 w 10785"/>
                  <a:gd name="connsiteY1768" fmla="*/ 3444 h 10000"/>
                  <a:gd name="connsiteX1769" fmla="*/ 3028 w 10785"/>
                  <a:gd name="connsiteY1769" fmla="*/ 3453 h 10000"/>
                  <a:gd name="connsiteX1770" fmla="*/ 3023 w 10785"/>
                  <a:gd name="connsiteY1770" fmla="*/ 3530 h 10000"/>
                  <a:gd name="connsiteX1771" fmla="*/ 3051 w 10785"/>
                  <a:gd name="connsiteY1771" fmla="*/ 3624 h 10000"/>
                  <a:gd name="connsiteX1772" fmla="*/ 3037 w 10785"/>
                  <a:gd name="connsiteY1772" fmla="*/ 3718 h 10000"/>
                  <a:gd name="connsiteX1773" fmla="*/ 3041 w 10785"/>
                  <a:gd name="connsiteY1773" fmla="*/ 3752 h 10000"/>
                  <a:gd name="connsiteX1774" fmla="*/ 3055 w 10785"/>
                  <a:gd name="connsiteY1774" fmla="*/ 3761 h 10000"/>
                  <a:gd name="connsiteX1775" fmla="*/ 3078 w 10785"/>
                  <a:gd name="connsiteY1775" fmla="*/ 3752 h 10000"/>
                  <a:gd name="connsiteX1776" fmla="*/ 3092 w 10785"/>
                  <a:gd name="connsiteY1776" fmla="*/ 3752 h 10000"/>
                  <a:gd name="connsiteX1777" fmla="*/ 3129 w 10785"/>
                  <a:gd name="connsiteY1777" fmla="*/ 3761 h 10000"/>
                  <a:gd name="connsiteX1778" fmla="*/ 3129 w 10785"/>
                  <a:gd name="connsiteY1778" fmla="*/ 3735 h 10000"/>
                  <a:gd name="connsiteX1779" fmla="*/ 3157 w 10785"/>
                  <a:gd name="connsiteY1779" fmla="*/ 3718 h 10000"/>
                  <a:gd name="connsiteX1780" fmla="*/ 3184 w 10785"/>
                  <a:gd name="connsiteY1780" fmla="*/ 3718 h 10000"/>
                  <a:gd name="connsiteX1781" fmla="*/ 3290 w 10785"/>
                  <a:gd name="connsiteY1781" fmla="*/ 3838 h 10000"/>
                  <a:gd name="connsiteX1782" fmla="*/ 3300 w 10785"/>
                  <a:gd name="connsiteY1782" fmla="*/ 3846 h 10000"/>
                  <a:gd name="connsiteX1783" fmla="*/ 3300 w 10785"/>
                  <a:gd name="connsiteY1783" fmla="*/ 3915 h 10000"/>
                  <a:gd name="connsiteX1784" fmla="*/ 3318 w 10785"/>
                  <a:gd name="connsiteY1784" fmla="*/ 4000 h 10000"/>
                  <a:gd name="connsiteX1785" fmla="*/ 3323 w 10785"/>
                  <a:gd name="connsiteY1785" fmla="*/ 4000 h 10000"/>
                  <a:gd name="connsiteX1786" fmla="*/ 3323 w 10785"/>
                  <a:gd name="connsiteY1786" fmla="*/ 4034 h 10000"/>
                  <a:gd name="connsiteX1787" fmla="*/ 3318 w 10785"/>
                  <a:gd name="connsiteY1787" fmla="*/ 4051 h 10000"/>
                  <a:gd name="connsiteX1788" fmla="*/ 3300 w 10785"/>
                  <a:gd name="connsiteY1788" fmla="*/ 4051 h 10000"/>
                  <a:gd name="connsiteX1789" fmla="*/ 3290 w 10785"/>
                  <a:gd name="connsiteY1789" fmla="*/ 4077 h 10000"/>
                  <a:gd name="connsiteX1790" fmla="*/ 3286 w 10785"/>
                  <a:gd name="connsiteY1790" fmla="*/ 4103 h 10000"/>
                  <a:gd name="connsiteX1791" fmla="*/ 3286 w 10785"/>
                  <a:gd name="connsiteY1791" fmla="*/ 4197 h 10000"/>
                  <a:gd name="connsiteX1792" fmla="*/ 3290 w 10785"/>
                  <a:gd name="connsiteY1792" fmla="*/ 4214 h 10000"/>
                  <a:gd name="connsiteX1793" fmla="*/ 3304 w 10785"/>
                  <a:gd name="connsiteY1793" fmla="*/ 4214 h 10000"/>
                  <a:gd name="connsiteX1794" fmla="*/ 3323 w 10785"/>
                  <a:gd name="connsiteY1794" fmla="*/ 4239 h 10000"/>
                  <a:gd name="connsiteX1795" fmla="*/ 3350 w 10785"/>
                  <a:gd name="connsiteY1795" fmla="*/ 4222 h 10000"/>
                  <a:gd name="connsiteX1796" fmla="*/ 3369 w 10785"/>
                  <a:gd name="connsiteY1796" fmla="*/ 4256 h 10000"/>
                  <a:gd name="connsiteX1797" fmla="*/ 3369 w 10785"/>
                  <a:gd name="connsiteY1797" fmla="*/ 4256 h 10000"/>
                  <a:gd name="connsiteX1798" fmla="*/ 3336 w 10785"/>
                  <a:gd name="connsiteY1798" fmla="*/ 4274 h 10000"/>
                  <a:gd name="connsiteX1799" fmla="*/ 3323 w 10785"/>
                  <a:gd name="connsiteY1799" fmla="*/ 4274 h 10000"/>
                  <a:gd name="connsiteX1800" fmla="*/ 3290 w 10785"/>
                  <a:gd name="connsiteY1800" fmla="*/ 4274 h 10000"/>
                  <a:gd name="connsiteX1801" fmla="*/ 3286 w 10785"/>
                  <a:gd name="connsiteY1801" fmla="*/ 4239 h 10000"/>
                  <a:gd name="connsiteX1802" fmla="*/ 3263 w 10785"/>
                  <a:gd name="connsiteY1802" fmla="*/ 4214 h 10000"/>
                  <a:gd name="connsiteX1803" fmla="*/ 3258 w 10785"/>
                  <a:gd name="connsiteY1803" fmla="*/ 4188 h 10000"/>
                  <a:gd name="connsiteX1804" fmla="*/ 3263 w 10785"/>
                  <a:gd name="connsiteY1804" fmla="*/ 4171 h 10000"/>
                  <a:gd name="connsiteX1805" fmla="*/ 3263 w 10785"/>
                  <a:gd name="connsiteY1805" fmla="*/ 4103 h 10000"/>
                  <a:gd name="connsiteX1806" fmla="*/ 3276 w 10785"/>
                  <a:gd name="connsiteY1806" fmla="*/ 4060 h 10000"/>
                  <a:gd name="connsiteX1807" fmla="*/ 3272 w 10785"/>
                  <a:gd name="connsiteY1807" fmla="*/ 4051 h 10000"/>
                  <a:gd name="connsiteX1808" fmla="*/ 3263 w 10785"/>
                  <a:gd name="connsiteY1808" fmla="*/ 4051 h 10000"/>
                  <a:gd name="connsiteX1809" fmla="*/ 3263 w 10785"/>
                  <a:gd name="connsiteY1809" fmla="*/ 4034 h 10000"/>
                  <a:gd name="connsiteX1810" fmla="*/ 3263 w 10785"/>
                  <a:gd name="connsiteY1810" fmla="*/ 4000 h 10000"/>
                  <a:gd name="connsiteX1811" fmla="*/ 3272 w 10785"/>
                  <a:gd name="connsiteY1811" fmla="*/ 4000 h 10000"/>
                  <a:gd name="connsiteX1812" fmla="*/ 3272 w 10785"/>
                  <a:gd name="connsiteY1812" fmla="*/ 3974 h 10000"/>
                  <a:gd name="connsiteX1813" fmla="*/ 3272 w 10785"/>
                  <a:gd name="connsiteY1813" fmla="*/ 3966 h 10000"/>
                  <a:gd name="connsiteX1814" fmla="*/ 3272 w 10785"/>
                  <a:gd name="connsiteY1814" fmla="*/ 3949 h 10000"/>
                  <a:gd name="connsiteX1815" fmla="*/ 3258 w 10785"/>
                  <a:gd name="connsiteY1815" fmla="*/ 3923 h 10000"/>
                  <a:gd name="connsiteX1816" fmla="*/ 3249 w 10785"/>
                  <a:gd name="connsiteY1816" fmla="*/ 3915 h 10000"/>
                  <a:gd name="connsiteX1817" fmla="*/ 3244 w 10785"/>
                  <a:gd name="connsiteY1817" fmla="*/ 3897 h 10000"/>
                  <a:gd name="connsiteX1818" fmla="*/ 3230 w 10785"/>
                  <a:gd name="connsiteY1818" fmla="*/ 3889 h 10000"/>
                  <a:gd name="connsiteX1819" fmla="*/ 3230 w 10785"/>
                  <a:gd name="connsiteY1819" fmla="*/ 3863 h 10000"/>
                  <a:gd name="connsiteX1820" fmla="*/ 3230 w 10785"/>
                  <a:gd name="connsiteY1820" fmla="*/ 3838 h 10000"/>
                  <a:gd name="connsiteX1821" fmla="*/ 3226 w 10785"/>
                  <a:gd name="connsiteY1821" fmla="*/ 3803 h 10000"/>
                  <a:gd name="connsiteX1822" fmla="*/ 3138 w 10785"/>
                  <a:gd name="connsiteY1822" fmla="*/ 3838 h 10000"/>
                  <a:gd name="connsiteX1823" fmla="*/ 3078 w 10785"/>
                  <a:gd name="connsiteY1823" fmla="*/ 3889 h 10000"/>
                  <a:gd name="connsiteX1824" fmla="*/ 3078 w 10785"/>
                  <a:gd name="connsiteY1824" fmla="*/ 3940 h 10000"/>
                  <a:gd name="connsiteX1825" fmla="*/ 3069 w 10785"/>
                  <a:gd name="connsiteY1825" fmla="*/ 3983 h 10000"/>
                  <a:gd name="connsiteX1826" fmla="*/ 3069 w 10785"/>
                  <a:gd name="connsiteY1826" fmla="*/ 4009 h 10000"/>
                  <a:gd name="connsiteX1827" fmla="*/ 3078 w 10785"/>
                  <a:gd name="connsiteY1827" fmla="*/ 4026 h 10000"/>
                  <a:gd name="connsiteX1828" fmla="*/ 3083 w 10785"/>
                  <a:gd name="connsiteY1828" fmla="*/ 4034 h 10000"/>
                  <a:gd name="connsiteX1829" fmla="*/ 3092 w 10785"/>
                  <a:gd name="connsiteY1829" fmla="*/ 4060 h 10000"/>
                  <a:gd name="connsiteX1830" fmla="*/ 3092 w 10785"/>
                  <a:gd name="connsiteY1830" fmla="*/ 4077 h 10000"/>
                  <a:gd name="connsiteX1831" fmla="*/ 3097 w 10785"/>
                  <a:gd name="connsiteY1831" fmla="*/ 4103 h 10000"/>
                  <a:gd name="connsiteX1832" fmla="*/ 3101 w 10785"/>
                  <a:gd name="connsiteY1832" fmla="*/ 4162 h 10000"/>
                  <a:gd name="connsiteX1833" fmla="*/ 3097 w 10785"/>
                  <a:gd name="connsiteY1833" fmla="*/ 4222 h 10000"/>
                  <a:gd name="connsiteX1834" fmla="*/ 3041 w 10785"/>
                  <a:gd name="connsiteY1834" fmla="*/ 4325 h 10000"/>
                  <a:gd name="connsiteX1835" fmla="*/ 3037 w 10785"/>
                  <a:gd name="connsiteY1835" fmla="*/ 4419 h 10000"/>
                  <a:gd name="connsiteX1836" fmla="*/ 3018 w 10785"/>
                  <a:gd name="connsiteY1836" fmla="*/ 4470 h 10000"/>
                  <a:gd name="connsiteX1837" fmla="*/ 2991 w 10785"/>
                  <a:gd name="connsiteY1837" fmla="*/ 4513 h 10000"/>
                  <a:gd name="connsiteX1838" fmla="*/ 2977 w 10785"/>
                  <a:gd name="connsiteY1838" fmla="*/ 4530 h 10000"/>
                  <a:gd name="connsiteX1839" fmla="*/ 2945 w 10785"/>
                  <a:gd name="connsiteY1839" fmla="*/ 4556 h 10000"/>
                  <a:gd name="connsiteX1840" fmla="*/ 2935 w 10785"/>
                  <a:gd name="connsiteY1840" fmla="*/ 4581 h 10000"/>
                  <a:gd name="connsiteX1841" fmla="*/ 2949 w 10785"/>
                  <a:gd name="connsiteY1841" fmla="*/ 4624 h 10000"/>
                  <a:gd name="connsiteX1842" fmla="*/ 2945 w 10785"/>
                  <a:gd name="connsiteY1842" fmla="*/ 4658 h 10000"/>
                  <a:gd name="connsiteX1843" fmla="*/ 2922 w 10785"/>
                  <a:gd name="connsiteY1843" fmla="*/ 4667 h 10000"/>
                  <a:gd name="connsiteX1844" fmla="*/ 2876 w 10785"/>
                  <a:gd name="connsiteY1844" fmla="*/ 4632 h 10000"/>
                  <a:gd name="connsiteX1845" fmla="*/ 2857 w 10785"/>
                  <a:gd name="connsiteY1845" fmla="*/ 4632 h 10000"/>
                  <a:gd name="connsiteX1846" fmla="*/ 2820 w 10785"/>
                  <a:gd name="connsiteY1846" fmla="*/ 4641 h 10000"/>
                  <a:gd name="connsiteX1847" fmla="*/ 2797 w 10785"/>
                  <a:gd name="connsiteY1847" fmla="*/ 4632 h 10000"/>
                  <a:gd name="connsiteX1848" fmla="*/ 2788 w 10785"/>
                  <a:gd name="connsiteY1848" fmla="*/ 4624 h 10000"/>
                  <a:gd name="connsiteX1849" fmla="*/ 2788 w 10785"/>
                  <a:gd name="connsiteY1849" fmla="*/ 4598 h 10000"/>
                  <a:gd name="connsiteX1850" fmla="*/ 2797 w 10785"/>
                  <a:gd name="connsiteY1850" fmla="*/ 4581 h 10000"/>
                  <a:gd name="connsiteX1851" fmla="*/ 2788 w 10785"/>
                  <a:gd name="connsiteY1851" fmla="*/ 4530 h 10000"/>
                  <a:gd name="connsiteX1852" fmla="*/ 2774 w 10785"/>
                  <a:gd name="connsiteY1852" fmla="*/ 4530 h 10000"/>
                  <a:gd name="connsiteX1853" fmla="*/ 2770 w 10785"/>
                  <a:gd name="connsiteY1853" fmla="*/ 4513 h 10000"/>
                  <a:gd name="connsiteX1854" fmla="*/ 2774 w 10785"/>
                  <a:gd name="connsiteY1854" fmla="*/ 4513 h 10000"/>
                  <a:gd name="connsiteX1855" fmla="*/ 2788 w 10785"/>
                  <a:gd name="connsiteY1855" fmla="*/ 4496 h 10000"/>
                  <a:gd name="connsiteX1856" fmla="*/ 2802 w 10785"/>
                  <a:gd name="connsiteY1856" fmla="*/ 4513 h 10000"/>
                  <a:gd name="connsiteX1857" fmla="*/ 2811 w 10785"/>
                  <a:gd name="connsiteY1857" fmla="*/ 4530 h 10000"/>
                  <a:gd name="connsiteX1858" fmla="*/ 2820 w 10785"/>
                  <a:gd name="connsiteY1858" fmla="*/ 4521 h 10000"/>
                  <a:gd name="connsiteX1859" fmla="*/ 2829 w 10785"/>
                  <a:gd name="connsiteY1859" fmla="*/ 4513 h 10000"/>
                  <a:gd name="connsiteX1860" fmla="*/ 2843 w 10785"/>
                  <a:gd name="connsiteY1860" fmla="*/ 4513 h 10000"/>
                  <a:gd name="connsiteX1861" fmla="*/ 2848 w 10785"/>
                  <a:gd name="connsiteY1861" fmla="*/ 4470 h 10000"/>
                  <a:gd name="connsiteX1862" fmla="*/ 2862 w 10785"/>
                  <a:gd name="connsiteY1862" fmla="*/ 4487 h 10000"/>
                  <a:gd name="connsiteX1863" fmla="*/ 2876 w 10785"/>
                  <a:gd name="connsiteY1863" fmla="*/ 4470 h 10000"/>
                  <a:gd name="connsiteX1864" fmla="*/ 2880 w 10785"/>
                  <a:gd name="connsiteY1864" fmla="*/ 4462 h 10000"/>
                  <a:gd name="connsiteX1865" fmla="*/ 2889 w 10785"/>
                  <a:gd name="connsiteY1865" fmla="*/ 4444 h 10000"/>
                  <a:gd name="connsiteX1866" fmla="*/ 2894 w 10785"/>
                  <a:gd name="connsiteY1866" fmla="*/ 4462 h 10000"/>
                  <a:gd name="connsiteX1867" fmla="*/ 2917 w 10785"/>
                  <a:gd name="connsiteY1867" fmla="*/ 4444 h 10000"/>
                  <a:gd name="connsiteX1868" fmla="*/ 2922 w 10785"/>
                  <a:gd name="connsiteY1868" fmla="*/ 4436 h 10000"/>
                  <a:gd name="connsiteX1869" fmla="*/ 2917 w 10785"/>
                  <a:gd name="connsiteY1869" fmla="*/ 4410 h 10000"/>
                  <a:gd name="connsiteX1870" fmla="*/ 2894 w 10785"/>
                  <a:gd name="connsiteY1870" fmla="*/ 4410 h 10000"/>
                  <a:gd name="connsiteX1871" fmla="*/ 2889 w 10785"/>
                  <a:gd name="connsiteY1871" fmla="*/ 4419 h 10000"/>
                  <a:gd name="connsiteX1872" fmla="*/ 2876 w 10785"/>
                  <a:gd name="connsiteY1872" fmla="*/ 4410 h 10000"/>
                  <a:gd name="connsiteX1873" fmla="*/ 2880 w 10785"/>
                  <a:gd name="connsiteY1873" fmla="*/ 4376 h 10000"/>
                  <a:gd name="connsiteX1874" fmla="*/ 2903 w 10785"/>
                  <a:gd name="connsiteY1874" fmla="*/ 4393 h 10000"/>
                  <a:gd name="connsiteX1875" fmla="*/ 2931 w 10785"/>
                  <a:gd name="connsiteY1875" fmla="*/ 4393 h 10000"/>
                  <a:gd name="connsiteX1876" fmla="*/ 2931 w 10785"/>
                  <a:gd name="connsiteY1876" fmla="*/ 4385 h 10000"/>
                  <a:gd name="connsiteX1877" fmla="*/ 2931 w 10785"/>
                  <a:gd name="connsiteY1877" fmla="*/ 4350 h 10000"/>
                  <a:gd name="connsiteX1878" fmla="*/ 2945 w 10785"/>
                  <a:gd name="connsiteY1878" fmla="*/ 4350 h 10000"/>
                  <a:gd name="connsiteX1879" fmla="*/ 2949 w 10785"/>
                  <a:gd name="connsiteY1879" fmla="*/ 4325 h 10000"/>
                  <a:gd name="connsiteX1880" fmla="*/ 2963 w 10785"/>
                  <a:gd name="connsiteY1880" fmla="*/ 4256 h 10000"/>
                  <a:gd name="connsiteX1881" fmla="*/ 2982 w 10785"/>
                  <a:gd name="connsiteY1881" fmla="*/ 4239 h 10000"/>
                  <a:gd name="connsiteX1882" fmla="*/ 2991 w 10785"/>
                  <a:gd name="connsiteY1882" fmla="*/ 4214 h 10000"/>
                  <a:gd name="connsiteX1883" fmla="*/ 2991 w 10785"/>
                  <a:gd name="connsiteY1883" fmla="*/ 4197 h 10000"/>
                  <a:gd name="connsiteX1884" fmla="*/ 2995 w 10785"/>
                  <a:gd name="connsiteY1884" fmla="*/ 4171 h 10000"/>
                  <a:gd name="connsiteX1885" fmla="*/ 2991 w 10785"/>
                  <a:gd name="connsiteY1885" fmla="*/ 4077 h 10000"/>
                  <a:gd name="connsiteX1886" fmla="*/ 2995 w 10785"/>
                  <a:gd name="connsiteY1886" fmla="*/ 4034 h 10000"/>
                  <a:gd name="connsiteX1887" fmla="*/ 3018 w 10785"/>
                  <a:gd name="connsiteY1887" fmla="*/ 3983 h 10000"/>
                  <a:gd name="connsiteX1888" fmla="*/ 3018 w 10785"/>
                  <a:gd name="connsiteY1888" fmla="*/ 3915 h 10000"/>
                  <a:gd name="connsiteX1889" fmla="*/ 2949 w 10785"/>
                  <a:gd name="connsiteY1889" fmla="*/ 3778 h 10000"/>
                  <a:gd name="connsiteX1890" fmla="*/ 2954 w 10785"/>
                  <a:gd name="connsiteY1890" fmla="*/ 3675 h 10000"/>
                  <a:gd name="connsiteX1891" fmla="*/ 2954 w 10785"/>
                  <a:gd name="connsiteY1891" fmla="*/ 3650 h 10000"/>
                  <a:gd name="connsiteX1892" fmla="*/ 2963 w 10785"/>
                  <a:gd name="connsiteY1892" fmla="*/ 3624 h 10000"/>
                  <a:gd name="connsiteX1893" fmla="*/ 2954 w 10785"/>
                  <a:gd name="connsiteY1893" fmla="*/ 3564 h 10000"/>
                  <a:gd name="connsiteX1894" fmla="*/ 2963 w 10785"/>
                  <a:gd name="connsiteY1894" fmla="*/ 3538 h 10000"/>
                  <a:gd name="connsiteX1895" fmla="*/ 2963 w 10785"/>
                  <a:gd name="connsiteY1895" fmla="*/ 3487 h 10000"/>
                  <a:gd name="connsiteX1896" fmla="*/ 2963 w 10785"/>
                  <a:gd name="connsiteY1896" fmla="*/ 3479 h 10000"/>
                  <a:gd name="connsiteX1897" fmla="*/ 2963 w 10785"/>
                  <a:gd name="connsiteY1897" fmla="*/ 3462 h 10000"/>
                  <a:gd name="connsiteX1898" fmla="*/ 2954 w 10785"/>
                  <a:gd name="connsiteY1898" fmla="*/ 3453 h 10000"/>
                  <a:gd name="connsiteX1899" fmla="*/ 2954 w 10785"/>
                  <a:gd name="connsiteY1899" fmla="*/ 3444 h 10000"/>
                  <a:gd name="connsiteX1900" fmla="*/ 2954 w 10785"/>
                  <a:gd name="connsiteY1900" fmla="*/ 3402 h 10000"/>
                  <a:gd name="connsiteX1901" fmla="*/ 2954 w 10785"/>
                  <a:gd name="connsiteY1901" fmla="*/ 3393 h 10000"/>
                  <a:gd name="connsiteX1902" fmla="*/ 2949 w 10785"/>
                  <a:gd name="connsiteY1902" fmla="*/ 3376 h 10000"/>
                  <a:gd name="connsiteX1903" fmla="*/ 2949 w 10785"/>
                  <a:gd name="connsiteY1903" fmla="*/ 3342 h 10000"/>
                  <a:gd name="connsiteX1904" fmla="*/ 2949 w 10785"/>
                  <a:gd name="connsiteY1904" fmla="*/ 3316 h 10000"/>
                  <a:gd name="connsiteX1905" fmla="*/ 2968 w 10785"/>
                  <a:gd name="connsiteY1905" fmla="*/ 3291 h 10000"/>
                  <a:gd name="connsiteX1906" fmla="*/ 2963 w 10785"/>
                  <a:gd name="connsiteY1906" fmla="*/ 3205 h 10000"/>
                  <a:gd name="connsiteX1907" fmla="*/ 2968 w 10785"/>
                  <a:gd name="connsiteY1907" fmla="*/ 3171 h 10000"/>
                  <a:gd name="connsiteX1908" fmla="*/ 2968 w 10785"/>
                  <a:gd name="connsiteY1908" fmla="*/ 3128 h 10000"/>
                  <a:gd name="connsiteX1909" fmla="*/ 2954 w 10785"/>
                  <a:gd name="connsiteY1909" fmla="*/ 3051 h 10000"/>
                  <a:gd name="connsiteX1910" fmla="*/ 2954 w 10785"/>
                  <a:gd name="connsiteY1910" fmla="*/ 3009 h 10000"/>
                  <a:gd name="connsiteX1911" fmla="*/ 2922 w 10785"/>
                  <a:gd name="connsiteY1911" fmla="*/ 2940 h 10000"/>
                  <a:gd name="connsiteX1912" fmla="*/ 2903 w 10785"/>
                  <a:gd name="connsiteY1912" fmla="*/ 2880 h 10000"/>
                  <a:gd name="connsiteX1913" fmla="*/ 2903 w 10785"/>
                  <a:gd name="connsiteY1913" fmla="*/ 2855 h 10000"/>
                  <a:gd name="connsiteX1914" fmla="*/ 2908 w 10785"/>
                  <a:gd name="connsiteY1914" fmla="*/ 2846 h 10000"/>
                  <a:gd name="connsiteX1915" fmla="*/ 2931 w 10785"/>
                  <a:gd name="connsiteY1915" fmla="*/ 2821 h 10000"/>
                  <a:gd name="connsiteX1916" fmla="*/ 2931 w 10785"/>
                  <a:gd name="connsiteY1916" fmla="*/ 2803 h 10000"/>
                  <a:gd name="connsiteX1917" fmla="*/ 2935 w 10785"/>
                  <a:gd name="connsiteY1917" fmla="*/ 2786 h 10000"/>
                  <a:gd name="connsiteX1918" fmla="*/ 2935 w 10785"/>
                  <a:gd name="connsiteY1918" fmla="*/ 2744 h 10000"/>
                  <a:gd name="connsiteX1919" fmla="*/ 2963 w 10785"/>
                  <a:gd name="connsiteY1919" fmla="*/ 2607 h 10000"/>
                  <a:gd name="connsiteX1920" fmla="*/ 2963 w 10785"/>
                  <a:gd name="connsiteY1920" fmla="*/ 2419 h 10000"/>
                  <a:gd name="connsiteX1921" fmla="*/ 2954 w 10785"/>
                  <a:gd name="connsiteY1921" fmla="*/ 2410 h 10000"/>
                  <a:gd name="connsiteX1922" fmla="*/ 2963 w 10785"/>
                  <a:gd name="connsiteY1922" fmla="*/ 2393 h 10000"/>
                  <a:gd name="connsiteX1923" fmla="*/ 2908 w 10785"/>
                  <a:gd name="connsiteY1923" fmla="*/ 2359 h 10000"/>
                  <a:gd name="connsiteX1924" fmla="*/ 2889 w 10785"/>
                  <a:gd name="connsiteY1924" fmla="*/ 2325 h 10000"/>
                  <a:gd name="connsiteX1925" fmla="*/ 2788 w 10785"/>
                  <a:gd name="connsiteY1925" fmla="*/ 2333 h 10000"/>
                  <a:gd name="connsiteX1926" fmla="*/ 2774 w 10785"/>
                  <a:gd name="connsiteY1926" fmla="*/ 2325 h 10000"/>
                  <a:gd name="connsiteX1927" fmla="*/ 2783 w 10785"/>
                  <a:gd name="connsiteY1927" fmla="*/ 2308 h 10000"/>
                  <a:gd name="connsiteX1928" fmla="*/ 2747 w 10785"/>
                  <a:gd name="connsiteY1928" fmla="*/ 2308 h 10000"/>
                  <a:gd name="connsiteX1929" fmla="*/ 2742 w 10785"/>
                  <a:gd name="connsiteY1929" fmla="*/ 2333 h 10000"/>
                  <a:gd name="connsiteX1930" fmla="*/ 2682 w 10785"/>
                  <a:gd name="connsiteY1930" fmla="*/ 2769 h 10000"/>
                  <a:gd name="connsiteX1931" fmla="*/ 2613 w 10785"/>
                  <a:gd name="connsiteY1931" fmla="*/ 2940 h 10000"/>
                  <a:gd name="connsiteX1932" fmla="*/ 2581 w 10785"/>
                  <a:gd name="connsiteY1932" fmla="*/ 2966 h 10000"/>
                  <a:gd name="connsiteX1933" fmla="*/ 2576 w 10785"/>
                  <a:gd name="connsiteY1933" fmla="*/ 3051 h 10000"/>
                  <a:gd name="connsiteX1934" fmla="*/ 2581 w 10785"/>
                  <a:gd name="connsiteY1934" fmla="*/ 3051 h 10000"/>
                  <a:gd name="connsiteX1935" fmla="*/ 2594 w 10785"/>
                  <a:gd name="connsiteY1935" fmla="*/ 3017 h 10000"/>
                  <a:gd name="connsiteX1936" fmla="*/ 2594 w 10785"/>
                  <a:gd name="connsiteY1936" fmla="*/ 3034 h 10000"/>
                  <a:gd name="connsiteX1937" fmla="*/ 2594 w 10785"/>
                  <a:gd name="connsiteY1937" fmla="*/ 3051 h 10000"/>
                  <a:gd name="connsiteX1938" fmla="*/ 2590 w 10785"/>
                  <a:gd name="connsiteY1938" fmla="*/ 3077 h 10000"/>
                  <a:gd name="connsiteX1939" fmla="*/ 2567 w 10785"/>
                  <a:gd name="connsiteY1939" fmla="*/ 3103 h 10000"/>
                  <a:gd name="connsiteX1940" fmla="*/ 2562 w 10785"/>
                  <a:gd name="connsiteY1940" fmla="*/ 3145 h 10000"/>
                  <a:gd name="connsiteX1941" fmla="*/ 2567 w 10785"/>
                  <a:gd name="connsiteY1941" fmla="*/ 3179 h 10000"/>
                  <a:gd name="connsiteX1942" fmla="*/ 2590 w 10785"/>
                  <a:gd name="connsiteY1942" fmla="*/ 3171 h 10000"/>
                  <a:gd name="connsiteX1943" fmla="*/ 2594 w 10785"/>
                  <a:gd name="connsiteY1943" fmla="*/ 3145 h 10000"/>
                  <a:gd name="connsiteX1944" fmla="*/ 2613 w 10785"/>
                  <a:gd name="connsiteY1944" fmla="*/ 3154 h 10000"/>
                  <a:gd name="connsiteX1945" fmla="*/ 2622 w 10785"/>
                  <a:gd name="connsiteY1945" fmla="*/ 3179 h 10000"/>
                  <a:gd name="connsiteX1946" fmla="*/ 2613 w 10785"/>
                  <a:gd name="connsiteY1946" fmla="*/ 3214 h 10000"/>
                  <a:gd name="connsiteX1947" fmla="*/ 2613 w 10785"/>
                  <a:gd name="connsiteY1947" fmla="*/ 3308 h 10000"/>
                  <a:gd name="connsiteX1948" fmla="*/ 2608 w 10785"/>
                  <a:gd name="connsiteY1948" fmla="*/ 3325 h 10000"/>
                  <a:gd name="connsiteX1949" fmla="*/ 2608 w 10785"/>
                  <a:gd name="connsiteY1949" fmla="*/ 3376 h 10000"/>
                  <a:gd name="connsiteX1950" fmla="*/ 2613 w 10785"/>
                  <a:gd name="connsiteY1950" fmla="*/ 3419 h 10000"/>
                  <a:gd name="connsiteX1951" fmla="*/ 2608 w 10785"/>
                  <a:gd name="connsiteY1951" fmla="*/ 3444 h 10000"/>
                  <a:gd name="connsiteX1952" fmla="*/ 2594 w 10785"/>
                  <a:gd name="connsiteY1952" fmla="*/ 3444 h 10000"/>
                  <a:gd name="connsiteX1953" fmla="*/ 2590 w 10785"/>
                  <a:gd name="connsiteY1953" fmla="*/ 3427 h 10000"/>
                  <a:gd name="connsiteX1954" fmla="*/ 2581 w 10785"/>
                  <a:gd name="connsiteY1954" fmla="*/ 3564 h 10000"/>
                  <a:gd name="connsiteX1955" fmla="*/ 2594 w 10785"/>
                  <a:gd name="connsiteY1955" fmla="*/ 3598 h 10000"/>
                  <a:gd name="connsiteX1956" fmla="*/ 2594 w 10785"/>
                  <a:gd name="connsiteY1956" fmla="*/ 3581 h 10000"/>
                  <a:gd name="connsiteX1957" fmla="*/ 2608 w 10785"/>
                  <a:gd name="connsiteY1957" fmla="*/ 3556 h 10000"/>
                  <a:gd name="connsiteX1958" fmla="*/ 2650 w 10785"/>
                  <a:gd name="connsiteY1958" fmla="*/ 3615 h 10000"/>
                  <a:gd name="connsiteX1959" fmla="*/ 2664 w 10785"/>
                  <a:gd name="connsiteY1959" fmla="*/ 3615 h 10000"/>
                  <a:gd name="connsiteX1960" fmla="*/ 2668 w 10785"/>
                  <a:gd name="connsiteY1960" fmla="*/ 3615 h 10000"/>
                  <a:gd name="connsiteX1961" fmla="*/ 2664 w 10785"/>
                  <a:gd name="connsiteY1961" fmla="*/ 3667 h 10000"/>
                  <a:gd name="connsiteX1962" fmla="*/ 2687 w 10785"/>
                  <a:gd name="connsiteY1962" fmla="*/ 3786 h 10000"/>
                  <a:gd name="connsiteX1963" fmla="*/ 2710 w 10785"/>
                  <a:gd name="connsiteY1963" fmla="*/ 3812 h 10000"/>
                  <a:gd name="connsiteX1964" fmla="*/ 2724 w 10785"/>
                  <a:gd name="connsiteY1964" fmla="*/ 3812 h 10000"/>
                  <a:gd name="connsiteX1965" fmla="*/ 2724 w 10785"/>
                  <a:gd name="connsiteY1965" fmla="*/ 3829 h 10000"/>
                  <a:gd name="connsiteX1966" fmla="*/ 2737 w 10785"/>
                  <a:gd name="connsiteY1966" fmla="*/ 3838 h 10000"/>
                  <a:gd name="connsiteX1967" fmla="*/ 2714 w 10785"/>
                  <a:gd name="connsiteY1967" fmla="*/ 3872 h 10000"/>
                  <a:gd name="connsiteX1968" fmla="*/ 2696 w 10785"/>
                  <a:gd name="connsiteY1968" fmla="*/ 4026 h 10000"/>
                  <a:gd name="connsiteX1969" fmla="*/ 2673 w 10785"/>
                  <a:gd name="connsiteY1969" fmla="*/ 4051 h 10000"/>
                  <a:gd name="connsiteX1970" fmla="*/ 2668 w 10785"/>
                  <a:gd name="connsiteY1970" fmla="*/ 4034 h 10000"/>
                  <a:gd name="connsiteX1971" fmla="*/ 2673 w 10785"/>
                  <a:gd name="connsiteY1971" fmla="*/ 4000 h 10000"/>
                  <a:gd name="connsiteX1972" fmla="*/ 2664 w 10785"/>
                  <a:gd name="connsiteY1972" fmla="*/ 3974 h 10000"/>
                  <a:gd name="connsiteX1973" fmla="*/ 2636 w 10785"/>
                  <a:gd name="connsiteY1973" fmla="*/ 3949 h 10000"/>
                  <a:gd name="connsiteX1974" fmla="*/ 2581 w 10785"/>
                  <a:gd name="connsiteY1974" fmla="*/ 3838 h 10000"/>
                  <a:gd name="connsiteX1975" fmla="*/ 2562 w 10785"/>
                  <a:gd name="connsiteY1975" fmla="*/ 3829 h 10000"/>
                  <a:gd name="connsiteX1976" fmla="*/ 2535 w 10785"/>
                  <a:gd name="connsiteY1976" fmla="*/ 3778 h 10000"/>
                  <a:gd name="connsiteX1977" fmla="*/ 2502 w 10785"/>
                  <a:gd name="connsiteY1977" fmla="*/ 3761 h 10000"/>
                  <a:gd name="connsiteX1978" fmla="*/ 2502 w 10785"/>
                  <a:gd name="connsiteY1978" fmla="*/ 3735 h 10000"/>
                  <a:gd name="connsiteX1979" fmla="*/ 2516 w 10785"/>
                  <a:gd name="connsiteY1979" fmla="*/ 3735 h 10000"/>
                  <a:gd name="connsiteX1980" fmla="*/ 2507 w 10785"/>
                  <a:gd name="connsiteY1980" fmla="*/ 3726 h 10000"/>
                  <a:gd name="connsiteX1981" fmla="*/ 2488 w 10785"/>
                  <a:gd name="connsiteY1981" fmla="*/ 3726 h 10000"/>
                  <a:gd name="connsiteX1982" fmla="*/ 2461 w 10785"/>
                  <a:gd name="connsiteY1982" fmla="*/ 3692 h 10000"/>
                  <a:gd name="connsiteX1983" fmla="*/ 2442 w 10785"/>
                  <a:gd name="connsiteY1983" fmla="*/ 3675 h 10000"/>
                  <a:gd name="connsiteX1984" fmla="*/ 2406 w 10785"/>
                  <a:gd name="connsiteY1984" fmla="*/ 3598 h 10000"/>
                  <a:gd name="connsiteX1985" fmla="*/ 2346 w 10785"/>
                  <a:gd name="connsiteY1985" fmla="*/ 3564 h 10000"/>
                  <a:gd name="connsiteX1986" fmla="*/ 2341 w 10785"/>
                  <a:gd name="connsiteY1986" fmla="*/ 3564 h 10000"/>
                  <a:gd name="connsiteX1987" fmla="*/ 2313 w 10785"/>
                  <a:gd name="connsiteY1987" fmla="*/ 3530 h 10000"/>
                  <a:gd name="connsiteX1988" fmla="*/ 2235 w 10785"/>
                  <a:gd name="connsiteY1988" fmla="*/ 3530 h 10000"/>
                  <a:gd name="connsiteX1989" fmla="*/ 2226 w 10785"/>
                  <a:gd name="connsiteY1989" fmla="*/ 3513 h 10000"/>
                  <a:gd name="connsiteX1990" fmla="*/ 2207 w 10785"/>
                  <a:gd name="connsiteY1990" fmla="*/ 3504 h 10000"/>
                  <a:gd name="connsiteX1991" fmla="*/ 2194 w 10785"/>
                  <a:gd name="connsiteY1991" fmla="*/ 3504 h 10000"/>
                  <a:gd name="connsiteX1992" fmla="*/ 2189 w 10785"/>
                  <a:gd name="connsiteY1992" fmla="*/ 3504 h 10000"/>
                  <a:gd name="connsiteX1993" fmla="*/ 2189 w 10785"/>
                  <a:gd name="connsiteY1993" fmla="*/ 3530 h 10000"/>
                  <a:gd name="connsiteX1994" fmla="*/ 2180 w 10785"/>
                  <a:gd name="connsiteY1994" fmla="*/ 3538 h 10000"/>
                  <a:gd name="connsiteX1995" fmla="*/ 2152 w 10785"/>
                  <a:gd name="connsiteY1995" fmla="*/ 3581 h 10000"/>
                  <a:gd name="connsiteX1996" fmla="*/ 2161 w 10785"/>
                  <a:gd name="connsiteY1996" fmla="*/ 3598 h 10000"/>
                  <a:gd name="connsiteX1997" fmla="*/ 2194 w 10785"/>
                  <a:gd name="connsiteY1997" fmla="*/ 3752 h 10000"/>
                  <a:gd name="connsiteX1998" fmla="*/ 2194 w 10785"/>
                  <a:gd name="connsiteY1998" fmla="*/ 3735 h 10000"/>
                  <a:gd name="connsiteX1999" fmla="*/ 2198 w 10785"/>
                  <a:gd name="connsiteY1999" fmla="*/ 3735 h 10000"/>
                  <a:gd name="connsiteX2000" fmla="*/ 2189 w 10785"/>
                  <a:gd name="connsiteY2000" fmla="*/ 3838 h 10000"/>
                  <a:gd name="connsiteX2001" fmla="*/ 2166 w 10785"/>
                  <a:gd name="connsiteY2001" fmla="*/ 3889 h 10000"/>
                  <a:gd name="connsiteX2002" fmla="*/ 2124 w 10785"/>
                  <a:gd name="connsiteY2002" fmla="*/ 3889 h 10000"/>
                  <a:gd name="connsiteX2003" fmla="*/ 2124 w 10785"/>
                  <a:gd name="connsiteY2003" fmla="*/ 3923 h 10000"/>
                  <a:gd name="connsiteX2004" fmla="*/ 2134 w 10785"/>
                  <a:gd name="connsiteY2004" fmla="*/ 3940 h 10000"/>
                  <a:gd name="connsiteX2005" fmla="*/ 2134 w 10785"/>
                  <a:gd name="connsiteY2005" fmla="*/ 3966 h 10000"/>
                  <a:gd name="connsiteX2006" fmla="*/ 2120 w 10785"/>
                  <a:gd name="connsiteY2006" fmla="*/ 4000 h 10000"/>
                  <a:gd name="connsiteX2007" fmla="*/ 2106 w 10785"/>
                  <a:gd name="connsiteY2007" fmla="*/ 4009 h 10000"/>
                  <a:gd name="connsiteX2008" fmla="*/ 2088 w 10785"/>
                  <a:gd name="connsiteY2008" fmla="*/ 4000 h 10000"/>
                  <a:gd name="connsiteX2009" fmla="*/ 2074 w 10785"/>
                  <a:gd name="connsiteY2009" fmla="*/ 3974 h 10000"/>
                  <a:gd name="connsiteX2010" fmla="*/ 2074 w 10785"/>
                  <a:gd name="connsiteY2010" fmla="*/ 3940 h 10000"/>
                  <a:gd name="connsiteX2011" fmla="*/ 2078 w 10785"/>
                  <a:gd name="connsiteY2011" fmla="*/ 3915 h 10000"/>
                  <a:gd name="connsiteX2012" fmla="*/ 2088 w 10785"/>
                  <a:gd name="connsiteY2012" fmla="*/ 3889 h 10000"/>
                  <a:gd name="connsiteX2013" fmla="*/ 2101 w 10785"/>
                  <a:gd name="connsiteY2013" fmla="*/ 3872 h 10000"/>
                  <a:gd name="connsiteX2014" fmla="*/ 2074 w 10785"/>
                  <a:gd name="connsiteY2014" fmla="*/ 3812 h 10000"/>
                  <a:gd name="connsiteX2015" fmla="*/ 2074 w 10785"/>
                  <a:gd name="connsiteY2015" fmla="*/ 3786 h 10000"/>
                  <a:gd name="connsiteX2016" fmla="*/ 2060 w 10785"/>
                  <a:gd name="connsiteY2016" fmla="*/ 3786 h 10000"/>
                  <a:gd name="connsiteX2017" fmla="*/ 2014 w 10785"/>
                  <a:gd name="connsiteY2017" fmla="*/ 3829 h 10000"/>
                  <a:gd name="connsiteX2018" fmla="*/ 2000 w 10785"/>
                  <a:gd name="connsiteY2018" fmla="*/ 3863 h 10000"/>
                  <a:gd name="connsiteX2019" fmla="*/ 1986 w 10785"/>
                  <a:gd name="connsiteY2019" fmla="*/ 3872 h 10000"/>
                  <a:gd name="connsiteX2020" fmla="*/ 1959 w 10785"/>
                  <a:gd name="connsiteY2020" fmla="*/ 3940 h 10000"/>
                  <a:gd name="connsiteX2021" fmla="*/ 1945 w 10785"/>
                  <a:gd name="connsiteY2021" fmla="*/ 3949 h 10000"/>
                  <a:gd name="connsiteX2022" fmla="*/ 1940 w 10785"/>
                  <a:gd name="connsiteY2022" fmla="*/ 3923 h 10000"/>
                  <a:gd name="connsiteX2023" fmla="*/ 1917 w 10785"/>
                  <a:gd name="connsiteY2023" fmla="*/ 3915 h 10000"/>
                  <a:gd name="connsiteX2024" fmla="*/ 1899 w 10785"/>
                  <a:gd name="connsiteY2024" fmla="*/ 3923 h 10000"/>
                  <a:gd name="connsiteX2025" fmla="*/ 1880 w 10785"/>
                  <a:gd name="connsiteY2025" fmla="*/ 3915 h 10000"/>
                  <a:gd name="connsiteX2026" fmla="*/ 1853 w 10785"/>
                  <a:gd name="connsiteY2026" fmla="*/ 3940 h 10000"/>
                  <a:gd name="connsiteX2027" fmla="*/ 1839 w 10785"/>
                  <a:gd name="connsiteY2027" fmla="*/ 3940 h 10000"/>
                  <a:gd name="connsiteX2028" fmla="*/ 1806 w 10785"/>
                  <a:gd name="connsiteY2028" fmla="*/ 3983 h 10000"/>
                  <a:gd name="connsiteX2029" fmla="*/ 1806 w 10785"/>
                  <a:gd name="connsiteY2029" fmla="*/ 4000 h 10000"/>
                  <a:gd name="connsiteX2030" fmla="*/ 1797 w 10785"/>
                  <a:gd name="connsiteY2030" fmla="*/ 4077 h 10000"/>
                  <a:gd name="connsiteX2031" fmla="*/ 1783 w 10785"/>
                  <a:gd name="connsiteY2031" fmla="*/ 4077 h 10000"/>
                  <a:gd name="connsiteX2032" fmla="*/ 1779 w 10785"/>
                  <a:gd name="connsiteY2032" fmla="*/ 4051 h 10000"/>
                  <a:gd name="connsiteX2033" fmla="*/ 1765 w 10785"/>
                  <a:gd name="connsiteY2033" fmla="*/ 4026 h 10000"/>
                  <a:gd name="connsiteX2034" fmla="*/ 1751 w 10785"/>
                  <a:gd name="connsiteY2034" fmla="*/ 4051 h 10000"/>
                  <a:gd name="connsiteX2035" fmla="*/ 1737 w 10785"/>
                  <a:gd name="connsiteY2035" fmla="*/ 4009 h 10000"/>
                  <a:gd name="connsiteX2036" fmla="*/ 1737 w 10785"/>
                  <a:gd name="connsiteY2036" fmla="*/ 3966 h 10000"/>
                  <a:gd name="connsiteX2037" fmla="*/ 1733 w 10785"/>
                  <a:gd name="connsiteY2037" fmla="*/ 3940 h 10000"/>
                  <a:gd name="connsiteX2038" fmla="*/ 1733 w 10785"/>
                  <a:gd name="connsiteY2038" fmla="*/ 3923 h 10000"/>
                  <a:gd name="connsiteX2039" fmla="*/ 1747 w 10785"/>
                  <a:gd name="connsiteY2039" fmla="*/ 3889 h 10000"/>
                  <a:gd name="connsiteX2040" fmla="*/ 1747 w 10785"/>
                  <a:gd name="connsiteY2040" fmla="*/ 3863 h 10000"/>
                  <a:gd name="connsiteX2041" fmla="*/ 1737 w 10785"/>
                  <a:gd name="connsiteY2041" fmla="*/ 3838 h 10000"/>
                  <a:gd name="connsiteX2042" fmla="*/ 1733 w 10785"/>
                  <a:gd name="connsiteY2042" fmla="*/ 3829 h 10000"/>
                  <a:gd name="connsiteX2043" fmla="*/ 1733 w 10785"/>
                  <a:gd name="connsiteY2043" fmla="*/ 3846 h 10000"/>
                  <a:gd name="connsiteX2044" fmla="*/ 1724 w 10785"/>
                  <a:gd name="connsiteY2044" fmla="*/ 3846 h 10000"/>
                  <a:gd name="connsiteX2045" fmla="*/ 1724 w 10785"/>
                  <a:gd name="connsiteY2045" fmla="*/ 3829 h 10000"/>
                  <a:gd name="connsiteX2046" fmla="*/ 1737 w 10785"/>
                  <a:gd name="connsiteY2046" fmla="*/ 3812 h 10000"/>
                  <a:gd name="connsiteX2047" fmla="*/ 1765 w 10785"/>
                  <a:gd name="connsiteY2047" fmla="*/ 3812 h 10000"/>
                  <a:gd name="connsiteX2048" fmla="*/ 1779 w 10785"/>
                  <a:gd name="connsiteY2048" fmla="*/ 3786 h 10000"/>
                  <a:gd name="connsiteX2049" fmla="*/ 1779 w 10785"/>
                  <a:gd name="connsiteY2049" fmla="*/ 3786 h 10000"/>
                  <a:gd name="connsiteX2050" fmla="*/ 1751 w 10785"/>
                  <a:gd name="connsiteY2050" fmla="*/ 3803 h 10000"/>
                  <a:gd name="connsiteX2051" fmla="*/ 1747 w 10785"/>
                  <a:gd name="connsiteY2051" fmla="*/ 3803 h 10000"/>
                  <a:gd name="connsiteX2052" fmla="*/ 1724 w 10785"/>
                  <a:gd name="connsiteY2052" fmla="*/ 3803 h 10000"/>
                  <a:gd name="connsiteX2053" fmla="*/ 1700 w 10785"/>
                  <a:gd name="connsiteY2053" fmla="*/ 3829 h 10000"/>
                  <a:gd name="connsiteX2054" fmla="*/ 1705 w 10785"/>
                  <a:gd name="connsiteY2054" fmla="*/ 3846 h 10000"/>
                  <a:gd name="connsiteX2055" fmla="*/ 1691 w 10785"/>
                  <a:gd name="connsiteY2055" fmla="*/ 3846 h 10000"/>
                  <a:gd name="connsiteX2056" fmla="*/ 1691 w 10785"/>
                  <a:gd name="connsiteY2056" fmla="*/ 3863 h 10000"/>
                  <a:gd name="connsiteX2057" fmla="*/ 1691 w 10785"/>
                  <a:gd name="connsiteY2057" fmla="*/ 3915 h 10000"/>
                  <a:gd name="connsiteX2058" fmla="*/ 1677 w 10785"/>
                  <a:gd name="connsiteY2058" fmla="*/ 3923 h 10000"/>
                  <a:gd name="connsiteX2059" fmla="*/ 1673 w 10785"/>
                  <a:gd name="connsiteY2059" fmla="*/ 3915 h 10000"/>
                  <a:gd name="connsiteX2060" fmla="*/ 1664 w 10785"/>
                  <a:gd name="connsiteY2060" fmla="*/ 3889 h 10000"/>
                  <a:gd name="connsiteX2061" fmla="*/ 1673 w 10785"/>
                  <a:gd name="connsiteY2061" fmla="*/ 3872 h 10000"/>
                  <a:gd name="connsiteX2062" fmla="*/ 1664 w 10785"/>
                  <a:gd name="connsiteY2062" fmla="*/ 3872 h 10000"/>
                  <a:gd name="connsiteX2063" fmla="*/ 1636 w 10785"/>
                  <a:gd name="connsiteY2063" fmla="*/ 3923 h 10000"/>
                  <a:gd name="connsiteX2064" fmla="*/ 1645 w 10785"/>
                  <a:gd name="connsiteY2064" fmla="*/ 3923 h 10000"/>
                  <a:gd name="connsiteX2065" fmla="*/ 1650 w 10785"/>
                  <a:gd name="connsiteY2065" fmla="*/ 3949 h 10000"/>
                  <a:gd name="connsiteX2066" fmla="*/ 1650 w 10785"/>
                  <a:gd name="connsiteY2066" fmla="*/ 3983 h 10000"/>
                  <a:gd name="connsiteX2067" fmla="*/ 1636 w 10785"/>
                  <a:gd name="connsiteY2067" fmla="*/ 4000 h 10000"/>
                  <a:gd name="connsiteX2068" fmla="*/ 1631 w 10785"/>
                  <a:gd name="connsiteY2068" fmla="*/ 4009 h 10000"/>
                  <a:gd name="connsiteX2069" fmla="*/ 1618 w 10785"/>
                  <a:gd name="connsiteY2069" fmla="*/ 3949 h 10000"/>
                  <a:gd name="connsiteX2070" fmla="*/ 1585 w 10785"/>
                  <a:gd name="connsiteY2070" fmla="*/ 3966 h 10000"/>
                  <a:gd name="connsiteX2071" fmla="*/ 1590 w 10785"/>
                  <a:gd name="connsiteY2071" fmla="*/ 3974 h 10000"/>
                  <a:gd name="connsiteX2072" fmla="*/ 1544 w 10785"/>
                  <a:gd name="connsiteY2072" fmla="*/ 4009 h 10000"/>
                  <a:gd name="connsiteX2073" fmla="*/ 1539 w 10785"/>
                  <a:gd name="connsiteY2073" fmla="*/ 4009 h 10000"/>
                  <a:gd name="connsiteX2074" fmla="*/ 1410 w 10785"/>
                  <a:gd name="connsiteY2074" fmla="*/ 4188 h 10000"/>
                  <a:gd name="connsiteX2075" fmla="*/ 1406 w 10785"/>
                  <a:gd name="connsiteY2075" fmla="*/ 4171 h 10000"/>
                  <a:gd name="connsiteX2076" fmla="*/ 1396 w 10785"/>
                  <a:gd name="connsiteY2076" fmla="*/ 4214 h 10000"/>
                  <a:gd name="connsiteX2077" fmla="*/ 1406 w 10785"/>
                  <a:gd name="connsiteY2077" fmla="*/ 4222 h 10000"/>
                  <a:gd name="connsiteX2078" fmla="*/ 1392 w 10785"/>
                  <a:gd name="connsiteY2078" fmla="*/ 4239 h 10000"/>
                  <a:gd name="connsiteX2079" fmla="*/ 1369 w 10785"/>
                  <a:gd name="connsiteY2079" fmla="*/ 4248 h 10000"/>
                  <a:gd name="connsiteX2080" fmla="*/ 1355 w 10785"/>
                  <a:gd name="connsiteY2080" fmla="*/ 4256 h 10000"/>
                  <a:gd name="connsiteX2081" fmla="*/ 1350 w 10785"/>
                  <a:gd name="connsiteY2081" fmla="*/ 4248 h 10000"/>
                  <a:gd name="connsiteX2082" fmla="*/ 1332 w 10785"/>
                  <a:gd name="connsiteY2082" fmla="*/ 4376 h 10000"/>
                  <a:gd name="connsiteX2083" fmla="*/ 1332 w 10785"/>
                  <a:gd name="connsiteY2083" fmla="*/ 4436 h 10000"/>
                  <a:gd name="connsiteX2084" fmla="*/ 1323 w 10785"/>
                  <a:gd name="connsiteY2084" fmla="*/ 4462 h 10000"/>
                  <a:gd name="connsiteX2085" fmla="*/ 1304 w 10785"/>
                  <a:gd name="connsiteY2085" fmla="*/ 4487 h 10000"/>
                  <a:gd name="connsiteX2086" fmla="*/ 1290 w 10785"/>
                  <a:gd name="connsiteY2086" fmla="*/ 4470 h 10000"/>
                  <a:gd name="connsiteX2087" fmla="*/ 1263 w 10785"/>
                  <a:gd name="connsiteY2087" fmla="*/ 4496 h 10000"/>
                  <a:gd name="connsiteX2088" fmla="*/ 1258 w 10785"/>
                  <a:gd name="connsiteY2088" fmla="*/ 4547 h 10000"/>
                  <a:gd name="connsiteX2089" fmla="*/ 1249 w 10785"/>
                  <a:gd name="connsiteY2089" fmla="*/ 4487 h 10000"/>
                  <a:gd name="connsiteX2090" fmla="*/ 1235 w 10785"/>
                  <a:gd name="connsiteY2090" fmla="*/ 4496 h 10000"/>
                  <a:gd name="connsiteX2091" fmla="*/ 1221 w 10785"/>
                  <a:gd name="connsiteY2091" fmla="*/ 4496 h 10000"/>
                  <a:gd name="connsiteX2092" fmla="*/ 1217 w 10785"/>
                  <a:gd name="connsiteY2092" fmla="*/ 4487 h 10000"/>
                  <a:gd name="connsiteX2093" fmla="*/ 1198 w 10785"/>
                  <a:gd name="connsiteY2093" fmla="*/ 4410 h 10000"/>
                  <a:gd name="connsiteX2094" fmla="*/ 1157 w 10785"/>
                  <a:gd name="connsiteY2094" fmla="*/ 4333 h 10000"/>
                  <a:gd name="connsiteX2095" fmla="*/ 1147 w 10785"/>
                  <a:gd name="connsiteY2095" fmla="*/ 4299 h 10000"/>
                  <a:gd name="connsiteX2096" fmla="*/ 1147 w 10785"/>
                  <a:gd name="connsiteY2096" fmla="*/ 4274 h 10000"/>
                  <a:gd name="connsiteX2097" fmla="*/ 1161 w 10785"/>
                  <a:gd name="connsiteY2097" fmla="*/ 4256 h 10000"/>
                  <a:gd name="connsiteX2098" fmla="*/ 1171 w 10785"/>
                  <a:gd name="connsiteY2098" fmla="*/ 4248 h 10000"/>
                  <a:gd name="connsiteX2099" fmla="*/ 1175 w 10785"/>
                  <a:gd name="connsiteY2099" fmla="*/ 4214 h 10000"/>
                  <a:gd name="connsiteX2100" fmla="*/ 1263 w 10785"/>
                  <a:gd name="connsiteY2100" fmla="*/ 4171 h 10000"/>
                  <a:gd name="connsiteX2101" fmla="*/ 1249 w 10785"/>
                  <a:gd name="connsiteY2101" fmla="*/ 4137 h 10000"/>
                  <a:gd name="connsiteX2102" fmla="*/ 1244 w 10785"/>
                  <a:gd name="connsiteY2102" fmla="*/ 4060 h 10000"/>
                  <a:gd name="connsiteX2103" fmla="*/ 1230 w 10785"/>
                  <a:gd name="connsiteY2103" fmla="*/ 4077 h 10000"/>
                  <a:gd name="connsiteX2104" fmla="*/ 1221 w 10785"/>
                  <a:gd name="connsiteY2104" fmla="*/ 4026 h 10000"/>
                  <a:gd name="connsiteX2105" fmla="*/ 1217 w 10785"/>
                  <a:gd name="connsiteY2105" fmla="*/ 4026 h 10000"/>
                  <a:gd name="connsiteX2106" fmla="*/ 1212 w 10785"/>
                  <a:gd name="connsiteY2106" fmla="*/ 3983 h 10000"/>
                  <a:gd name="connsiteX2107" fmla="*/ 1203 w 10785"/>
                  <a:gd name="connsiteY2107" fmla="*/ 3966 h 10000"/>
                  <a:gd name="connsiteX2108" fmla="*/ 1171 w 10785"/>
                  <a:gd name="connsiteY2108" fmla="*/ 3949 h 10000"/>
                  <a:gd name="connsiteX2109" fmla="*/ 1111 w 10785"/>
                  <a:gd name="connsiteY2109" fmla="*/ 3940 h 10000"/>
                  <a:gd name="connsiteX2110" fmla="*/ 1097 w 10785"/>
                  <a:gd name="connsiteY2110" fmla="*/ 3949 h 10000"/>
                  <a:gd name="connsiteX2111" fmla="*/ 1037 w 10785"/>
                  <a:gd name="connsiteY2111" fmla="*/ 3897 h 10000"/>
                  <a:gd name="connsiteX2112" fmla="*/ 1041 w 10785"/>
                  <a:gd name="connsiteY2112" fmla="*/ 3923 h 10000"/>
                  <a:gd name="connsiteX2113" fmla="*/ 1097 w 10785"/>
                  <a:gd name="connsiteY2113" fmla="*/ 4009 h 10000"/>
                  <a:gd name="connsiteX2114" fmla="*/ 1097 w 10785"/>
                  <a:gd name="connsiteY2114" fmla="*/ 4120 h 10000"/>
                  <a:gd name="connsiteX2115" fmla="*/ 1097 w 10785"/>
                  <a:gd name="connsiteY2115" fmla="*/ 4162 h 10000"/>
                  <a:gd name="connsiteX2116" fmla="*/ 1097 w 10785"/>
                  <a:gd name="connsiteY2116" fmla="*/ 4197 h 10000"/>
                  <a:gd name="connsiteX2117" fmla="*/ 1074 w 10785"/>
                  <a:gd name="connsiteY2117" fmla="*/ 4333 h 10000"/>
                  <a:gd name="connsiteX2118" fmla="*/ 1074 w 10785"/>
                  <a:gd name="connsiteY2118" fmla="*/ 4376 h 10000"/>
                  <a:gd name="connsiteX2119" fmla="*/ 1083 w 10785"/>
                  <a:gd name="connsiteY2119" fmla="*/ 4385 h 10000"/>
                  <a:gd name="connsiteX2120" fmla="*/ 1097 w 10785"/>
                  <a:gd name="connsiteY2120" fmla="*/ 4385 h 10000"/>
                  <a:gd name="connsiteX2121" fmla="*/ 1111 w 10785"/>
                  <a:gd name="connsiteY2121" fmla="*/ 4410 h 10000"/>
                  <a:gd name="connsiteX2122" fmla="*/ 1124 w 10785"/>
                  <a:gd name="connsiteY2122" fmla="*/ 4444 h 10000"/>
                  <a:gd name="connsiteX2123" fmla="*/ 1124 w 10785"/>
                  <a:gd name="connsiteY2123" fmla="*/ 4470 h 10000"/>
                  <a:gd name="connsiteX2124" fmla="*/ 1115 w 10785"/>
                  <a:gd name="connsiteY2124" fmla="*/ 4513 h 10000"/>
                  <a:gd name="connsiteX2125" fmla="*/ 1115 w 10785"/>
                  <a:gd name="connsiteY2125" fmla="*/ 4530 h 10000"/>
                  <a:gd name="connsiteX2126" fmla="*/ 1115 w 10785"/>
                  <a:gd name="connsiteY2126" fmla="*/ 4573 h 10000"/>
                  <a:gd name="connsiteX2127" fmla="*/ 1101 w 10785"/>
                  <a:gd name="connsiteY2127" fmla="*/ 4607 h 10000"/>
                  <a:gd name="connsiteX2128" fmla="*/ 1097 w 10785"/>
                  <a:gd name="connsiteY2128" fmla="*/ 4658 h 10000"/>
                  <a:gd name="connsiteX2129" fmla="*/ 1101 w 10785"/>
                  <a:gd name="connsiteY2129" fmla="*/ 4692 h 10000"/>
                  <a:gd name="connsiteX2130" fmla="*/ 1097 w 10785"/>
                  <a:gd name="connsiteY2130" fmla="*/ 4778 h 10000"/>
                  <a:gd name="connsiteX2131" fmla="*/ 1083 w 10785"/>
                  <a:gd name="connsiteY2131" fmla="*/ 4744 h 10000"/>
                  <a:gd name="connsiteX2132" fmla="*/ 1083 w 10785"/>
                  <a:gd name="connsiteY2132" fmla="*/ 4718 h 10000"/>
                  <a:gd name="connsiteX2133" fmla="*/ 1074 w 10785"/>
                  <a:gd name="connsiteY2133" fmla="*/ 4692 h 10000"/>
                  <a:gd name="connsiteX2134" fmla="*/ 1065 w 10785"/>
                  <a:gd name="connsiteY2134" fmla="*/ 4692 h 10000"/>
                  <a:gd name="connsiteX2135" fmla="*/ 1051 w 10785"/>
                  <a:gd name="connsiteY2135" fmla="*/ 4718 h 10000"/>
                  <a:gd name="connsiteX2136" fmla="*/ 1055 w 10785"/>
                  <a:gd name="connsiteY2136" fmla="*/ 4692 h 10000"/>
                  <a:gd name="connsiteX2137" fmla="*/ 1055 w 10785"/>
                  <a:gd name="connsiteY2137" fmla="*/ 4667 h 10000"/>
                  <a:gd name="connsiteX2138" fmla="*/ 1028 w 10785"/>
                  <a:gd name="connsiteY2138" fmla="*/ 4624 h 10000"/>
                  <a:gd name="connsiteX2139" fmla="*/ 1005 w 10785"/>
                  <a:gd name="connsiteY2139" fmla="*/ 4624 h 10000"/>
                  <a:gd name="connsiteX2140" fmla="*/ 977 w 10785"/>
                  <a:gd name="connsiteY2140" fmla="*/ 4581 h 10000"/>
                  <a:gd name="connsiteX2141" fmla="*/ 963 w 10785"/>
                  <a:gd name="connsiteY2141" fmla="*/ 4607 h 10000"/>
                  <a:gd name="connsiteX2142" fmla="*/ 963 w 10785"/>
                  <a:gd name="connsiteY2142" fmla="*/ 4632 h 10000"/>
                  <a:gd name="connsiteX2143" fmla="*/ 917 w 10785"/>
                  <a:gd name="connsiteY2143" fmla="*/ 4718 h 10000"/>
                  <a:gd name="connsiteX2144" fmla="*/ 889 w 10785"/>
                  <a:gd name="connsiteY2144" fmla="*/ 4744 h 10000"/>
                  <a:gd name="connsiteX2145" fmla="*/ 880 w 10785"/>
                  <a:gd name="connsiteY2145" fmla="*/ 4744 h 10000"/>
                  <a:gd name="connsiteX2146" fmla="*/ 862 w 10785"/>
                  <a:gd name="connsiteY2146" fmla="*/ 4769 h 10000"/>
                  <a:gd name="connsiteX2147" fmla="*/ 857 w 10785"/>
                  <a:gd name="connsiteY2147" fmla="*/ 4795 h 10000"/>
                  <a:gd name="connsiteX2148" fmla="*/ 829 w 10785"/>
                  <a:gd name="connsiteY2148" fmla="*/ 4846 h 10000"/>
                  <a:gd name="connsiteX2149" fmla="*/ 816 w 10785"/>
                  <a:gd name="connsiteY2149" fmla="*/ 4855 h 10000"/>
                  <a:gd name="connsiteX2150" fmla="*/ 816 w 10785"/>
                  <a:gd name="connsiteY2150" fmla="*/ 4940 h 10000"/>
                  <a:gd name="connsiteX2151" fmla="*/ 880 w 10785"/>
                  <a:gd name="connsiteY2151" fmla="*/ 5179 h 10000"/>
                  <a:gd name="connsiteX2152" fmla="*/ 880 w 10785"/>
                  <a:gd name="connsiteY2152" fmla="*/ 5188 h 10000"/>
                  <a:gd name="connsiteX2153" fmla="*/ 862 w 10785"/>
                  <a:gd name="connsiteY2153" fmla="*/ 5171 h 10000"/>
                  <a:gd name="connsiteX2154" fmla="*/ 857 w 10785"/>
                  <a:gd name="connsiteY2154" fmla="*/ 5171 h 10000"/>
                  <a:gd name="connsiteX2155" fmla="*/ 820 w 10785"/>
                  <a:gd name="connsiteY2155" fmla="*/ 5145 h 10000"/>
                  <a:gd name="connsiteX2156" fmla="*/ 820 w 10785"/>
                  <a:gd name="connsiteY2156" fmla="*/ 5154 h 10000"/>
                  <a:gd name="connsiteX2157" fmla="*/ 816 w 10785"/>
                  <a:gd name="connsiteY2157" fmla="*/ 5171 h 10000"/>
                  <a:gd name="connsiteX2158" fmla="*/ 783 w 10785"/>
                  <a:gd name="connsiteY2158" fmla="*/ 5145 h 10000"/>
                  <a:gd name="connsiteX2159" fmla="*/ 756 w 10785"/>
                  <a:gd name="connsiteY2159" fmla="*/ 5103 h 10000"/>
                  <a:gd name="connsiteX2160" fmla="*/ 742 w 10785"/>
                  <a:gd name="connsiteY2160" fmla="*/ 5103 h 10000"/>
                  <a:gd name="connsiteX2161" fmla="*/ 728 w 10785"/>
                  <a:gd name="connsiteY2161" fmla="*/ 5094 h 10000"/>
                  <a:gd name="connsiteX2162" fmla="*/ 710 w 10785"/>
                  <a:gd name="connsiteY2162" fmla="*/ 5120 h 10000"/>
                  <a:gd name="connsiteX2163" fmla="*/ 700 w 10785"/>
                  <a:gd name="connsiteY2163" fmla="*/ 5145 h 10000"/>
                  <a:gd name="connsiteX2164" fmla="*/ 696 w 10785"/>
                  <a:gd name="connsiteY2164" fmla="*/ 5103 h 10000"/>
                  <a:gd name="connsiteX2165" fmla="*/ 714 w 10785"/>
                  <a:gd name="connsiteY2165" fmla="*/ 5077 h 10000"/>
                  <a:gd name="connsiteX2166" fmla="*/ 682 w 10785"/>
                  <a:gd name="connsiteY2166" fmla="*/ 5068 h 10000"/>
                  <a:gd name="connsiteX2167" fmla="*/ 673 w 10785"/>
                  <a:gd name="connsiteY2167" fmla="*/ 5034 h 10000"/>
                  <a:gd name="connsiteX2168" fmla="*/ 636 w 10785"/>
                  <a:gd name="connsiteY2168" fmla="*/ 4991 h 10000"/>
                  <a:gd name="connsiteX2169" fmla="*/ 622 w 10785"/>
                  <a:gd name="connsiteY2169" fmla="*/ 4983 h 10000"/>
                  <a:gd name="connsiteX2170" fmla="*/ 622 w 10785"/>
                  <a:gd name="connsiteY2170" fmla="*/ 5034 h 10000"/>
                  <a:gd name="connsiteX2171" fmla="*/ 608 w 10785"/>
                  <a:gd name="connsiteY2171" fmla="*/ 5051 h 10000"/>
                  <a:gd name="connsiteX2172" fmla="*/ 594 w 10785"/>
                  <a:gd name="connsiteY2172" fmla="*/ 5068 h 10000"/>
                  <a:gd name="connsiteX2173" fmla="*/ 608 w 10785"/>
                  <a:gd name="connsiteY2173" fmla="*/ 5120 h 10000"/>
                  <a:gd name="connsiteX2174" fmla="*/ 613 w 10785"/>
                  <a:gd name="connsiteY2174" fmla="*/ 5128 h 10000"/>
                  <a:gd name="connsiteX2175" fmla="*/ 627 w 10785"/>
                  <a:gd name="connsiteY2175" fmla="*/ 5179 h 10000"/>
                  <a:gd name="connsiteX2176" fmla="*/ 650 w 10785"/>
                  <a:gd name="connsiteY2176" fmla="*/ 5214 h 10000"/>
                  <a:gd name="connsiteX2177" fmla="*/ 687 w 10785"/>
                  <a:gd name="connsiteY2177" fmla="*/ 5188 h 10000"/>
                  <a:gd name="connsiteX2178" fmla="*/ 700 w 10785"/>
                  <a:gd name="connsiteY2178" fmla="*/ 5325 h 10000"/>
                  <a:gd name="connsiteX2179" fmla="*/ 710 w 10785"/>
                  <a:gd name="connsiteY2179" fmla="*/ 5350 h 10000"/>
                  <a:gd name="connsiteX2180" fmla="*/ 687 w 10785"/>
                  <a:gd name="connsiteY2180" fmla="*/ 5325 h 10000"/>
                  <a:gd name="connsiteX2181" fmla="*/ 668 w 10785"/>
                  <a:gd name="connsiteY2181" fmla="*/ 5350 h 10000"/>
                  <a:gd name="connsiteX2182" fmla="*/ 668 w 10785"/>
                  <a:gd name="connsiteY2182" fmla="*/ 5368 h 10000"/>
                  <a:gd name="connsiteX2183" fmla="*/ 668 w 10785"/>
                  <a:gd name="connsiteY2183" fmla="*/ 5376 h 10000"/>
                  <a:gd name="connsiteX2184" fmla="*/ 581 w 10785"/>
                  <a:gd name="connsiteY2184" fmla="*/ 5316 h 10000"/>
                  <a:gd name="connsiteX2185" fmla="*/ 567 w 10785"/>
                  <a:gd name="connsiteY2185" fmla="*/ 5265 h 10000"/>
                  <a:gd name="connsiteX2186" fmla="*/ 562 w 10785"/>
                  <a:gd name="connsiteY2186" fmla="*/ 5256 h 10000"/>
                  <a:gd name="connsiteX2187" fmla="*/ 548 w 10785"/>
                  <a:gd name="connsiteY2187" fmla="*/ 5231 h 10000"/>
                  <a:gd name="connsiteX2188" fmla="*/ 535 w 10785"/>
                  <a:gd name="connsiteY2188" fmla="*/ 5214 h 10000"/>
                  <a:gd name="connsiteX2189" fmla="*/ 525 w 10785"/>
                  <a:gd name="connsiteY2189" fmla="*/ 5231 h 10000"/>
                  <a:gd name="connsiteX2190" fmla="*/ 521 w 10785"/>
                  <a:gd name="connsiteY2190" fmla="*/ 5231 h 10000"/>
                  <a:gd name="connsiteX2191" fmla="*/ 493 w 10785"/>
                  <a:gd name="connsiteY2191" fmla="*/ 5205 h 10000"/>
                  <a:gd name="connsiteX2192" fmla="*/ 488 w 10785"/>
                  <a:gd name="connsiteY2192" fmla="*/ 5179 h 10000"/>
                  <a:gd name="connsiteX2193" fmla="*/ 475 w 10785"/>
                  <a:gd name="connsiteY2193" fmla="*/ 5188 h 10000"/>
                  <a:gd name="connsiteX2194" fmla="*/ 475 w 10785"/>
                  <a:gd name="connsiteY2194" fmla="*/ 5171 h 10000"/>
                  <a:gd name="connsiteX2195" fmla="*/ 488 w 10785"/>
                  <a:gd name="connsiteY2195" fmla="*/ 5154 h 10000"/>
                  <a:gd name="connsiteX2196" fmla="*/ 488 w 10785"/>
                  <a:gd name="connsiteY2196" fmla="*/ 5068 h 10000"/>
                  <a:gd name="connsiteX2197" fmla="*/ 475 w 10785"/>
                  <a:gd name="connsiteY2197" fmla="*/ 5051 h 10000"/>
                  <a:gd name="connsiteX2198" fmla="*/ 475 w 10785"/>
                  <a:gd name="connsiteY2198" fmla="*/ 5017 h 10000"/>
                  <a:gd name="connsiteX2199" fmla="*/ 452 w 10785"/>
                  <a:gd name="connsiteY2199" fmla="*/ 4932 h 10000"/>
                  <a:gd name="connsiteX2200" fmla="*/ 461 w 10785"/>
                  <a:gd name="connsiteY2200" fmla="*/ 4915 h 10000"/>
                  <a:gd name="connsiteX2201" fmla="*/ 475 w 10785"/>
                  <a:gd name="connsiteY2201" fmla="*/ 4906 h 10000"/>
                  <a:gd name="connsiteX2202" fmla="*/ 479 w 10785"/>
                  <a:gd name="connsiteY2202" fmla="*/ 4803 h 10000"/>
                  <a:gd name="connsiteX2203" fmla="*/ 479 w 10785"/>
                  <a:gd name="connsiteY2203" fmla="*/ 4778 h 10000"/>
                  <a:gd name="connsiteX2204" fmla="*/ 475 w 10785"/>
                  <a:gd name="connsiteY2204" fmla="*/ 4761 h 10000"/>
                  <a:gd name="connsiteX2205" fmla="*/ 465 w 10785"/>
                  <a:gd name="connsiteY2205" fmla="*/ 4718 h 10000"/>
                  <a:gd name="connsiteX2206" fmla="*/ 461 w 10785"/>
                  <a:gd name="connsiteY2206" fmla="*/ 4709 h 10000"/>
                  <a:gd name="connsiteX2207" fmla="*/ 442 w 10785"/>
                  <a:gd name="connsiteY2207" fmla="*/ 4692 h 10000"/>
                  <a:gd name="connsiteX2208" fmla="*/ 433 w 10785"/>
                  <a:gd name="connsiteY2208" fmla="*/ 4667 h 10000"/>
                  <a:gd name="connsiteX2209" fmla="*/ 419 w 10785"/>
                  <a:gd name="connsiteY2209" fmla="*/ 4667 h 10000"/>
                  <a:gd name="connsiteX2210" fmla="*/ 401 w 10785"/>
                  <a:gd name="connsiteY2210" fmla="*/ 4658 h 10000"/>
                  <a:gd name="connsiteX2211" fmla="*/ 401 w 10785"/>
                  <a:gd name="connsiteY2211" fmla="*/ 4624 h 10000"/>
                  <a:gd name="connsiteX2212" fmla="*/ 401 w 10785"/>
                  <a:gd name="connsiteY2212" fmla="*/ 4607 h 10000"/>
                  <a:gd name="connsiteX2213" fmla="*/ 378 w 10785"/>
                  <a:gd name="connsiteY2213" fmla="*/ 4607 h 10000"/>
                  <a:gd name="connsiteX2214" fmla="*/ 341 w 10785"/>
                  <a:gd name="connsiteY2214" fmla="*/ 4530 h 10000"/>
                  <a:gd name="connsiteX2215" fmla="*/ 346 w 10785"/>
                  <a:gd name="connsiteY2215" fmla="*/ 4521 h 10000"/>
                  <a:gd name="connsiteX2216" fmla="*/ 332 w 10785"/>
                  <a:gd name="connsiteY2216" fmla="*/ 4487 h 10000"/>
                  <a:gd name="connsiteX2217" fmla="*/ 327 w 10785"/>
                  <a:gd name="connsiteY2217" fmla="*/ 4462 h 10000"/>
                  <a:gd name="connsiteX2218" fmla="*/ 313 w 10785"/>
                  <a:gd name="connsiteY2218" fmla="*/ 4436 h 10000"/>
                  <a:gd name="connsiteX2219" fmla="*/ 300 w 10785"/>
                  <a:gd name="connsiteY2219" fmla="*/ 4419 h 10000"/>
                  <a:gd name="connsiteX2220" fmla="*/ 309 w 10785"/>
                  <a:gd name="connsiteY2220" fmla="*/ 4393 h 10000"/>
                  <a:gd name="connsiteX2221" fmla="*/ 332 w 10785"/>
                  <a:gd name="connsiteY2221" fmla="*/ 4385 h 10000"/>
                  <a:gd name="connsiteX2222" fmla="*/ 355 w 10785"/>
                  <a:gd name="connsiteY2222" fmla="*/ 4419 h 10000"/>
                  <a:gd name="connsiteX2223" fmla="*/ 355 w 10785"/>
                  <a:gd name="connsiteY2223" fmla="*/ 4444 h 10000"/>
                  <a:gd name="connsiteX2224" fmla="*/ 369 w 10785"/>
                  <a:gd name="connsiteY2224" fmla="*/ 4470 h 10000"/>
                  <a:gd name="connsiteX2225" fmla="*/ 401 w 10785"/>
                  <a:gd name="connsiteY2225" fmla="*/ 4521 h 10000"/>
                  <a:gd name="connsiteX2226" fmla="*/ 406 w 10785"/>
                  <a:gd name="connsiteY2226" fmla="*/ 4513 h 10000"/>
                  <a:gd name="connsiteX2227" fmla="*/ 406 w 10785"/>
                  <a:gd name="connsiteY2227" fmla="*/ 4496 h 10000"/>
                  <a:gd name="connsiteX2228" fmla="*/ 419 w 10785"/>
                  <a:gd name="connsiteY2228" fmla="*/ 4521 h 10000"/>
                  <a:gd name="connsiteX2229" fmla="*/ 429 w 10785"/>
                  <a:gd name="connsiteY2229" fmla="*/ 4530 h 10000"/>
                  <a:gd name="connsiteX2230" fmla="*/ 433 w 10785"/>
                  <a:gd name="connsiteY2230" fmla="*/ 4521 h 10000"/>
                  <a:gd name="connsiteX2231" fmla="*/ 442 w 10785"/>
                  <a:gd name="connsiteY2231" fmla="*/ 4530 h 10000"/>
                  <a:gd name="connsiteX2232" fmla="*/ 447 w 10785"/>
                  <a:gd name="connsiteY2232" fmla="*/ 4521 h 10000"/>
                  <a:gd name="connsiteX2233" fmla="*/ 452 w 10785"/>
                  <a:gd name="connsiteY2233" fmla="*/ 4521 h 10000"/>
                  <a:gd name="connsiteX2234" fmla="*/ 461 w 10785"/>
                  <a:gd name="connsiteY2234" fmla="*/ 4573 h 10000"/>
                  <a:gd name="connsiteX2235" fmla="*/ 479 w 10785"/>
                  <a:gd name="connsiteY2235" fmla="*/ 4556 h 10000"/>
                  <a:gd name="connsiteX2236" fmla="*/ 502 w 10785"/>
                  <a:gd name="connsiteY2236" fmla="*/ 4573 h 10000"/>
                  <a:gd name="connsiteX2237" fmla="*/ 507 w 10785"/>
                  <a:gd name="connsiteY2237" fmla="*/ 4598 h 10000"/>
                  <a:gd name="connsiteX2238" fmla="*/ 525 w 10785"/>
                  <a:gd name="connsiteY2238" fmla="*/ 4598 h 10000"/>
                  <a:gd name="connsiteX2239" fmla="*/ 535 w 10785"/>
                  <a:gd name="connsiteY2239" fmla="*/ 4624 h 10000"/>
                  <a:gd name="connsiteX2240" fmla="*/ 594 w 10785"/>
                  <a:gd name="connsiteY2240" fmla="*/ 4658 h 10000"/>
                  <a:gd name="connsiteX2241" fmla="*/ 627 w 10785"/>
                  <a:gd name="connsiteY2241" fmla="*/ 4658 h 10000"/>
                  <a:gd name="connsiteX2242" fmla="*/ 654 w 10785"/>
                  <a:gd name="connsiteY2242" fmla="*/ 4684 h 10000"/>
                  <a:gd name="connsiteX2243" fmla="*/ 668 w 10785"/>
                  <a:gd name="connsiteY2243" fmla="*/ 4709 h 10000"/>
                  <a:gd name="connsiteX2244" fmla="*/ 747 w 10785"/>
                  <a:gd name="connsiteY2244" fmla="*/ 4718 h 10000"/>
                  <a:gd name="connsiteX2245" fmla="*/ 760 w 10785"/>
                  <a:gd name="connsiteY2245" fmla="*/ 4709 h 10000"/>
                  <a:gd name="connsiteX2246" fmla="*/ 774 w 10785"/>
                  <a:gd name="connsiteY2246" fmla="*/ 4692 h 10000"/>
                  <a:gd name="connsiteX2247" fmla="*/ 829 w 10785"/>
                  <a:gd name="connsiteY2247" fmla="*/ 4658 h 10000"/>
                  <a:gd name="connsiteX2248" fmla="*/ 903 w 10785"/>
                  <a:gd name="connsiteY2248" fmla="*/ 4496 h 10000"/>
                  <a:gd name="connsiteX2249" fmla="*/ 917 w 10785"/>
                  <a:gd name="connsiteY2249" fmla="*/ 4385 h 10000"/>
                  <a:gd name="connsiteX2250" fmla="*/ 903 w 10785"/>
                  <a:gd name="connsiteY2250" fmla="*/ 4376 h 10000"/>
                  <a:gd name="connsiteX2251" fmla="*/ 903 w 10785"/>
                  <a:gd name="connsiteY2251" fmla="*/ 4376 h 10000"/>
                  <a:gd name="connsiteX2252" fmla="*/ 889 w 10785"/>
                  <a:gd name="connsiteY2252" fmla="*/ 4239 h 10000"/>
                  <a:gd name="connsiteX2253" fmla="*/ 880 w 10785"/>
                  <a:gd name="connsiteY2253" fmla="*/ 4214 h 10000"/>
                  <a:gd name="connsiteX2254" fmla="*/ 862 w 10785"/>
                  <a:gd name="connsiteY2254" fmla="*/ 4188 h 10000"/>
                  <a:gd name="connsiteX2255" fmla="*/ 857 w 10785"/>
                  <a:gd name="connsiteY2255" fmla="*/ 4197 h 10000"/>
                  <a:gd name="connsiteX2256" fmla="*/ 848 w 10785"/>
                  <a:gd name="connsiteY2256" fmla="*/ 4188 h 10000"/>
                  <a:gd name="connsiteX2257" fmla="*/ 848 w 10785"/>
                  <a:gd name="connsiteY2257" fmla="*/ 4162 h 10000"/>
                  <a:gd name="connsiteX2258" fmla="*/ 829 w 10785"/>
                  <a:gd name="connsiteY2258" fmla="*/ 4120 h 10000"/>
                  <a:gd name="connsiteX2259" fmla="*/ 820 w 10785"/>
                  <a:gd name="connsiteY2259" fmla="*/ 4103 h 10000"/>
                  <a:gd name="connsiteX2260" fmla="*/ 806 w 10785"/>
                  <a:gd name="connsiteY2260" fmla="*/ 4077 h 10000"/>
                  <a:gd name="connsiteX2261" fmla="*/ 816 w 10785"/>
                  <a:gd name="connsiteY2261" fmla="*/ 4111 h 10000"/>
                  <a:gd name="connsiteX2262" fmla="*/ 802 w 10785"/>
                  <a:gd name="connsiteY2262" fmla="*/ 4111 h 10000"/>
                  <a:gd name="connsiteX2263" fmla="*/ 770 w 10785"/>
                  <a:gd name="connsiteY2263" fmla="*/ 4060 h 10000"/>
                  <a:gd name="connsiteX2264" fmla="*/ 760 w 10785"/>
                  <a:gd name="connsiteY2264" fmla="*/ 4077 h 10000"/>
                  <a:gd name="connsiteX2265" fmla="*/ 760 w 10785"/>
                  <a:gd name="connsiteY2265" fmla="*/ 4060 h 10000"/>
                  <a:gd name="connsiteX2266" fmla="*/ 756 w 10785"/>
                  <a:gd name="connsiteY2266" fmla="*/ 4034 h 10000"/>
                  <a:gd name="connsiteX2267" fmla="*/ 742 w 10785"/>
                  <a:gd name="connsiteY2267" fmla="*/ 4000 h 10000"/>
                  <a:gd name="connsiteX2268" fmla="*/ 747 w 10785"/>
                  <a:gd name="connsiteY2268" fmla="*/ 4034 h 10000"/>
                  <a:gd name="connsiteX2269" fmla="*/ 724 w 10785"/>
                  <a:gd name="connsiteY2269" fmla="*/ 4026 h 10000"/>
                  <a:gd name="connsiteX2270" fmla="*/ 714 w 10785"/>
                  <a:gd name="connsiteY2270" fmla="*/ 4000 h 10000"/>
                  <a:gd name="connsiteX2271" fmla="*/ 714 w 10785"/>
                  <a:gd name="connsiteY2271" fmla="*/ 3983 h 10000"/>
                  <a:gd name="connsiteX2272" fmla="*/ 553 w 10785"/>
                  <a:gd name="connsiteY2272" fmla="*/ 3726 h 10000"/>
                  <a:gd name="connsiteX2273" fmla="*/ 507 w 10785"/>
                  <a:gd name="connsiteY2273" fmla="*/ 3718 h 10000"/>
                  <a:gd name="connsiteX2274" fmla="*/ 516 w 10785"/>
                  <a:gd name="connsiteY2274" fmla="*/ 3726 h 10000"/>
                  <a:gd name="connsiteX2275" fmla="*/ 507 w 10785"/>
                  <a:gd name="connsiteY2275" fmla="*/ 3735 h 10000"/>
                  <a:gd name="connsiteX2276" fmla="*/ 502 w 10785"/>
                  <a:gd name="connsiteY2276" fmla="*/ 3735 h 10000"/>
                  <a:gd name="connsiteX2277" fmla="*/ 419 w 10785"/>
                  <a:gd name="connsiteY2277" fmla="*/ 3675 h 10000"/>
                  <a:gd name="connsiteX2278" fmla="*/ 419 w 10785"/>
                  <a:gd name="connsiteY2278" fmla="*/ 3692 h 10000"/>
                  <a:gd name="connsiteX2279" fmla="*/ 401 w 10785"/>
                  <a:gd name="connsiteY2279" fmla="*/ 3701 h 10000"/>
                  <a:gd name="connsiteX2280" fmla="*/ 387 w 10785"/>
                  <a:gd name="connsiteY2280" fmla="*/ 3718 h 10000"/>
                  <a:gd name="connsiteX2281" fmla="*/ 387 w 10785"/>
                  <a:gd name="connsiteY2281" fmla="*/ 3692 h 10000"/>
                  <a:gd name="connsiteX2282" fmla="*/ 378 w 10785"/>
                  <a:gd name="connsiteY2282" fmla="*/ 3675 h 10000"/>
                  <a:gd name="connsiteX2283" fmla="*/ 378 w 10785"/>
                  <a:gd name="connsiteY2283" fmla="*/ 3650 h 10000"/>
                  <a:gd name="connsiteX2284" fmla="*/ 378 w 10785"/>
                  <a:gd name="connsiteY2284" fmla="*/ 3650 h 10000"/>
                  <a:gd name="connsiteX2285" fmla="*/ 355 w 10785"/>
                  <a:gd name="connsiteY2285" fmla="*/ 3675 h 10000"/>
                  <a:gd name="connsiteX2286" fmla="*/ 359 w 10785"/>
                  <a:gd name="connsiteY2286" fmla="*/ 3641 h 10000"/>
                  <a:gd name="connsiteX2287" fmla="*/ 346 w 10785"/>
                  <a:gd name="connsiteY2287" fmla="*/ 3650 h 10000"/>
                  <a:gd name="connsiteX2288" fmla="*/ 355 w 10785"/>
                  <a:gd name="connsiteY2288" fmla="*/ 3624 h 10000"/>
                  <a:gd name="connsiteX2289" fmla="*/ 346 w 10785"/>
                  <a:gd name="connsiteY2289" fmla="*/ 3624 h 10000"/>
                  <a:gd name="connsiteX2290" fmla="*/ 341 w 10785"/>
                  <a:gd name="connsiteY2290" fmla="*/ 3624 h 10000"/>
                  <a:gd name="connsiteX2291" fmla="*/ 318 w 10785"/>
                  <a:gd name="connsiteY2291" fmla="*/ 3641 h 10000"/>
                  <a:gd name="connsiteX2292" fmla="*/ 327 w 10785"/>
                  <a:gd name="connsiteY2292" fmla="*/ 3624 h 10000"/>
                  <a:gd name="connsiteX2293" fmla="*/ 318 w 10785"/>
                  <a:gd name="connsiteY2293" fmla="*/ 3615 h 10000"/>
                  <a:gd name="connsiteX2294" fmla="*/ 318 w 10785"/>
                  <a:gd name="connsiteY2294" fmla="*/ 3598 h 10000"/>
                  <a:gd name="connsiteX2295" fmla="*/ 300 w 10785"/>
                  <a:gd name="connsiteY2295" fmla="*/ 3598 h 10000"/>
                  <a:gd name="connsiteX2296" fmla="*/ 309 w 10785"/>
                  <a:gd name="connsiteY2296" fmla="*/ 3538 h 10000"/>
                  <a:gd name="connsiteX2297" fmla="*/ 313 w 10785"/>
                  <a:gd name="connsiteY2297" fmla="*/ 3564 h 10000"/>
                  <a:gd name="connsiteX2298" fmla="*/ 318 w 10785"/>
                  <a:gd name="connsiteY2298" fmla="*/ 3581 h 10000"/>
                  <a:gd name="connsiteX2299" fmla="*/ 327 w 10785"/>
                  <a:gd name="connsiteY2299" fmla="*/ 3564 h 10000"/>
                  <a:gd name="connsiteX2300" fmla="*/ 332 w 10785"/>
                  <a:gd name="connsiteY2300" fmla="*/ 3590 h 10000"/>
                  <a:gd name="connsiteX2301" fmla="*/ 346 w 10785"/>
                  <a:gd name="connsiteY2301" fmla="*/ 3590 h 10000"/>
                  <a:gd name="connsiteX2302" fmla="*/ 355 w 10785"/>
                  <a:gd name="connsiteY2302" fmla="*/ 3590 h 10000"/>
                  <a:gd name="connsiteX2303" fmla="*/ 369 w 10785"/>
                  <a:gd name="connsiteY2303" fmla="*/ 3556 h 10000"/>
                  <a:gd name="connsiteX2304" fmla="*/ 369 w 10785"/>
                  <a:gd name="connsiteY2304" fmla="*/ 3538 h 10000"/>
                  <a:gd name="connsiteX2305" fmla="*/ 346 w 10785"/>
                  <a:gd name="connsiteY2305" fmla="*/ 3513 h 10000"/>
                  <a:gd name="connsiteX2306" fmla="*/ 341 w 10785"/>
                  <a:gd name="connsiteY2306" fmla="*/ 3530 h 10000"/>
                  <a:gd name="connsiteX2307" fmla="*/ 327 w 10785"/>
                  <a:gd name="connsiteY2307" fmla="*/ 3513 h 10000"/>
                  <a:gd name="connsiteX2308" fmla="*/ 327 w 10785"/>
                  <a:gd name="connsiteY2308" fmla="*/ 3504 h 10000"/>
                  <a:gd name="connsiteX2309" fmla="*/ 295 w 10785"/>
                  <a:gd name="connsiteY2309" fmla="*/ 3462 h 10000"/>
                  <a:gd name="connsiteX2310" fmla="*/ 300 w 10785"/>
                  <a:gd name="connsiteY2310" fmla="*/ 3479 h 10000"/>
                  <a:gd name="connsiteX2311" fmla="*/ 295 w 10785"/>
                  <a:gd name="connsiteY2311" fmla="*/ 3513 h 10000"/>
                  <a:gd name="connsiteX2312" fmla="*/ 286 w 10785"/>
                  <a:gd name="connsiteY2312" fmla="*/ 3513 h 10000"/>
                  <a:gd name="connsiteX2313" fmla="*/ 281 w 10785"/>
                  <a:gd name="connsiteY2313" fmla="*/ 3513 h 10000"/>
                  <a:gd name="connsiteX2314" fmla="*/ 281 w 10785"/>
                  <a:gd name="connsiteY2314" fmla="*/ 3530 h 10000"/>
                  <a:gd name="connsiteX2315" fmla="*/ 281 w 10785"/>
                  <a:gd name="connsiteY2315" fmla="*/ 3556 h 10000"/>
                  <a:gd name="connsiteX2316" fmla="*/ 272 w 10785"/>
                  <a:gd name="connsiteY2316" fmla="*/ 3564 h 10000"/>
                  <a:gd name="connsiteX2317" fmla="*/ 267 w 10785"/>
                  <a:gd name="connsiteY2317" fmla="*/ 3564 h 10000"/>
                  <a:gd name="connsiteX2318" fmla="*/ 253 w 10785"/>
                  <a:gd name="connsiteY2318" fmla="*/ 3538 h 10000"/>
                  <a:gd name="connsiteX2319" fmla="*/ 226 w 10785"/>
                  <a:gd name="connsiteY2319" fmla="*/ 3513 h 10000"/>
                  <a:gd name="connsiteX2320" fmla="*/ 226 w 10785"/>
                  <a:gd name="connsiteY2320" fmla="*/ 3530 h 10000"/>
                  <a:gd name="connsiteX2321" fmla="*/ 226 w 10785"/>
                  <a:gd name="connsiteY2321" fmla="*/ 3530 h 10000"/>
                  <a:gd name="connsiteX2322" fmla="*/ 226 w 10785"/>
                  <a:gd name="connsiteY2322" fmla="*/ 3530 h 10000"/>
                  <a:gd name="connsiteX2323" fmla="*/ 226 w 10785"/>
                  <a:gd name="connsiteY2323" fmla="*/ 3556 h 10000"/>
                  <a:gd name="connsiteX2324" fmla="*/ 221 w 10785"/>
                  <a:gd name="connsiteY2324" fmla="*/ 3598 h 10000"/>
                  <a:gd name="connsiteX2325" fmla="*/ 207 w 10785"/>
                  <a:gd name="connsiteY2325" fmla="*/ 3598 h 10000"/>
                  <a:gd name="connsiteX2326" fmla="*/ 180 w 10785"/>
                  <a:gd name="connsiteY2326" fmla="*/ 3581 h 10000"/>
                  <a:gd name="connsiteX2327" fmla="*/ 171 w 10785"/>
                  <a:gd name="connsiteY2327" fmla="*/ 3641 h 10000"/>
                  <a:gd name="connsiteX2328" fmla="*/ 166 w 10785"/>
                  <a:gd name="connsiteY2328" fmla="*/ 3650 h 10000"/>
                  <a:gd name="connsiteX2329" fmla="*/ 124 w 10785"/>
                  <a:gd name="connsiteY2329" fmla="*/ 3701 h 10000"/>
                  <a:gd name="connsiteX2330" fmla="*/ 124 w 10785"/>
                  <a:gd name="connsiteY2330" fmla="*/ 3718 h 10000"/>
                  <a:gd name="connsiteX2331" fmla="*/ 120 w 10785"/>
                  <a:gd name="connsiteY2331" fmla="*/ 3735 h 10000"/>
                  <a:gd name="connsiteX2332" fmla="*/ 120 w 10785"/>
                  <a:gd name="connsiteY2332" fmla="*/ 3735 h 10000"/>
                  <a:gd name="connsiteX2333" fmla="*/ 111 w 10785"/>
                  <a:gd name="connsiteY2333" fmla="*/ 3761 h 10000"/>
                  <a:gd name="connsiteX2334" fmla="*/ 106 w 10785"/>
                  <a:gd name="connsiteY2334" fmla="*/ 3761 h 10000"/>
                  <a:gd name="connsiteX2335" fmla="*/ 106 w 10785"/>
                  <a:gd name="connsiteY2335" fmla="*/ 3761 h 10000"/>
                  <a:gd name="connsiteX2336" fmla="*/ 74 w 10785"/>
                  <a:gd name="connsiteY2336" fmla="*/ 3829 h 10000"/>
                  <a:gd name="connsiteX2337" fmla="*/ 78 w 10785"/>
                  <a:gd name="connsiteY2337" fmla="*/ 3838 h 10000"/>
                  <a:gd name="connsiteX2338" fmla="*/ 88 w 10785"/>
                  <a:gd name="connsiteY2338" fmla="*/ 3846 h 10000"/>
                  <a:gd name="connsiteX2339" fmla="*/ 65 w 10785"/>
                  <a:gd name="connsiteY2339" fmla="*/ 3923 h 10000"/>
                  <a:gd name="connsiteX2340" fmla="*/ 78 w 10785"/>
                  <a:gd name="connsiteY2340" fmla="*/ 4026 h 10000"/>
                  <a:gd name="connsiteX2341" fmla="*/ 88 w 10785"/>
                  <a:gd name="connsiteY2341" fmla="*/ 4051 h 10000"/>
                  <a:gd name="connsiteX2342" fmla="*/ 92 w 10785"/>
                  <a:gd name="connsiteY2342" fmla="*/ 4060 h 10000"/>
                  <a:gd name="connsiteX2343" fmla="*/ 111 w 10785"/>
                  <a:gd name="connsiteY2343" fmla="*/ 4060 h 10000"/>
                  <a:gd name="connsiteX2344" fmla="*/ 124 w 10785"/>
                  <a:gd name="connsiteY2344" fmla="*/ 4085 h 10000"/>
                  <a:gd name="connsiteX2345" fmla="*/ 166 w 10785"/>
                  <a:gd name="connsiteY2345" fmla="*/ 4197 h 10000"/>
                  <a:gd name="connsiteX2346" fmla="*/ 166 w 10785"/>
                  <a:gd name="connsiteY2346" fmla="*/ 4248 h 10000"/>
                  <a:gd name="connsiteX2347" fmla="*/ 120 w 10785"/>
                  <a:gd name="connsiteY2347" fmla="*/ 4462 h 10000"/>
                  <a:gd name="connsiteX2348" fmla="*/ 120 w 10785"/>
                  <a:gd name="connsiteY2348" fmla="*/ 4513 h 10000"/>
                  <a:gd name="connsiteX2349" fmla="*/ 180 w 10785"/>
                  <a:gd name="connsiteY2349" fmla="*/ 4829 h 10000"/>
                  <a:gd name="connsiteX2350" fmla="*/ 161 w 10785"/>
                  <a:gd name="connsiteY2350" fmla="*/ 4855 h 10000"/>
                  <a:gd name="connsiteX2351" fmla="*/ 152 w 10785"/>
                  <a:gd name="connsiteY2351" fmla="*/ 4940 h 10000"/>
                  <a:gd name="connsiteX2352" fmla="*/ 161 w 10785"/>
                  <a:gd name="connsiteY2352" fmla="*/ 4966 h 10000"/>
                  <a:gd name="connsiteX2353" fmla="*/ 161 w 10785"/>
                  <a:gd name="connsiteY2353" fmla="*/ 5009 h 10000"/>
                  <a:gd name="connsiteX2354" fmla="*/ 152 w 10785"/>
                  <a:gd name="connsiteY2354" fmla="*/ 5034 h 10000"/>
                  <a:gd name="connsiteX2355" fmla="*/ 152 w 10785"/>
                  <a:gd name="connsiteY2355" fmla="*/ 5077 h 10000"/>
                  <a:gd name="connsiteX2356" fmla="*/ 171 w 10785"/>
                  <a:gd name="connsiteY2356" fmla="*/ 5094 h 10000"/>
                  <a:gd name="connsiteX2357" fmla="*/ 180 w 10785"/>
                  <a:gd name="connsiteY2357" fmla="*/ 5128 h 10000"/>
                  <a:gd name="connsiteX2358" fmla="*/ 180 w 10785"/>
                  <a:gd name="connsiteY2358" fmla="*/ 5171 h 10000"/>
                  <a:gd name="connsiteX2359" fmla="*/ 184 w 10785"/>
                  <a:gd name="connsiteY2359" fmla="*/ 5205 h 10000"/>
                  <a:gd name="connsiteX2360" fmla="*/ 207 w 10785"/>
                  <a:gd name="connsiteY2360" fmla="*/ 5239 h 10000"/>
                  <a:gd name="connsiteX2361" fmla="*/ 207 w 10785"/>
                  <a:gd name="connsiteY2361" fmla="*/ 5282 h 10000"/>
                  <a:gd name="connsiteX2362" fmla="*/ 180 w 10785"/>
                  <a:gd name="connsiteY2362" fmla="*/ 5393 h 10000"/>
                  <a:gd name="connsiteX2363" fmla="*/ 194 w 10785"/>
                  <a:gd name="connsiteY2363" fmla="*/ 5427 h 10000"/>
                  <a:gd name="connsiteX2364" fmla="*/ 198 w 10785"/>
                  <a:gd name="connsiteY2364" fmla="*/ 5462 h 10000"/>
                  <a:gd name="connsiteX2365" fmla="*/ 235 w 10785"/>
                  <a:gd name="connsiteY2365" fmla="*/ 5513 h 10000"/>
                  <a:gd name="connsiteX2366" fmla="*/ 240 w 10785"/>
                  <a:gd name="connsiteY2366" fmla="*/ 5556 h 10000"/>
                  <a:gd name="connsiteX2367" fmla="*/ 253 w 10785"/>
                  <a:gd name="connsiteY2367" fmla="*/ 5590 h 10000"/>
                  <a:gd name="connsiteX2368" fmla="*/ 258 w 10785"/>
                  <a:gd name="connsiteY2368" fmla="*/ 5573 h 10000"/>
                  <a:gd name="connsiteX2369" fmla="*/ 258 w 10785"/>
                  <a:gd name="connsiteY2369" fmla="*/ 5667 h 10000"/>
                  <a:gd name="connsiteX2370" fmla="*/ 14 w 10785"/>
                  <a:gd name="connsiteY2370" fmla="*/ 6214 h 10000"/>
                  <a:gd name="connsiteX2371" fmla="*/ 14 w 10785"/>
                  <a:gd name="connsiteY2371" fmla="*/ 6214 h 10000"/>
                  <a:gd name="connsiteX2372" fmla="*/ 37 w 10785"/>
                  <a:gd name="connsiteY2372" fmla="*/ 6214 h 10000"/>
                  <a:gd name="connsiteX2373" fmla="*/ 51 w 10785"/>
                  <a:gd name="connsiteY2373" fmla="*/ 6188 h 10000"/>
                  <a:gd name="connsiteX2374" fmla="*/ 78 w 10785"/>
                  <a:gd name="connsiteY2374" fmla="*/ 6162 h 10000"/>
                  <a:gd name="connsiteX2375" fmla="*/ 78 w 10785"/>
                  <a:gd name="connsiteY2375" fmla="*/ 6188 h 10000"/>
                  <a:gd name="connsiteX2376" fmla="*/ 74 w 10785"/>
                  <a:gd name="connsiteY2376" fmla="*/ 6197 h 10000"/>
                  <a:gd name="connsiteX2377" fmla="*/ 74 w 10785"/>
                  <a:gd name="connsiteY2377" fmla="*/ 6231 h 10000"/>
                  <a:gd name="connsiteX2378" fmla="*/ 74 w 10785"/>
                  <a:gd name="connsiteY2378" fmla="*/ 6214 h 10000"/>
                  <a:gd name="connsiteX2379" fmla="*/ 65 w 10785"/>
                  <a:gd name="connsiteY2379" fmla="*/ 6214 h 10000"/>
                  <a:gd name="connsiteX2380" fmla="*/ 65 w 10785"/>
                  <a:gd name="connsiteY2380" fmla="*/ 6248 h 10000"/>
                  <a:gd name="connsiteX2381" fmla="*/ 74 w 10785"/>
                  <a:gd name="connsiteY2381" fmla="*/ 6256 h 10000"/>
                  <a:gd name="connsiteX2382" fmla="*/ 78 w 10785"/>
                  <a:gd name="connsiteY2382" fmla="*/ 6256 h 10000"/>
                  <a:gd name="connsiteX2383" fmla="*/ 106 w 10785"/>
                  <a:gd name="connsiteY2383" fmla="*/ 6308 h 10000"/>
                  <a:gd name="connsiteX2384" fmla="*/ 138 w 10785"/>
                  <a:gd name="connsiteY2384" fmla="*/ 6299 h 10000"/>
                  <a:gd name="connsiteX2385" fmla="*/ 152 w 10785"/>
                  <a:gd name="connsiteY2385" fmla="*/ 6299 h 10000"/>
                  <a:gd name="connsiteX2386" fmla="*/ 166 w 10785"/>
                  <a:gd name="connsiteY2386" fmla="*/ 6325 h 10000"/>
                  <a:gd name="connsiteX2387" fmla="*/ 166 w 10785"/>
                  <a:gd name="connsiteY2387" fmla="*/ 6333 h 10000"/>
                  <a:gd name="connsiteX2388" fmla="*/ 171 w 10785"/>
                  <a:gd name="connsiteY2388" fmla="*/ 6350 h 10000"/>
                  <a:gd name="connsiteX2389" fmla="*/ 180 w 10785"/>
                  <a:gd name="connsiteY2389" fmla="*/ 6350 h 10000"/>
                  <a:gd name="connsiteX2390" fmla="*/ 180 w 10785"/>
                  <a:gd name="connsiteY2390" fmla="*/ 6359 h 10000"/>
                  <a:gd name="connsiteX2391" fmla="*/ 171 w 10785"/>
                  <a:gd name="connsiteY2391" fmla="*/ 6368 h 10000"/>
                  <a:gd name="connsiteX2392" fmla="*/ 106 w 10785"/>
                  <a:gd name="connsiteY2392" fmla="*/ 6350 h 10000"/>
                  <a:gd name="connsiteX2393" fmla="*/ 101 w 10785"/>
                  <a:gd name="connsiteY2393" fmla="*/ 6359 h 10000"/>
                  <a:gd name="connsiteX2394" fmla="*/ 101 w 10785"/>
                  <a:gd name="connsiteY2394" fmla="*/ 6385 h 10000"/>
                  <a:gd name="connsiteX2395" fmla="*/ 78 w 10785"/>
                  <a:gd name="connsiteY2395" fmla="*/ 6393 h 10000"/>
                  <a:gd name="connsiteX2396" fmla="*/ 74 w 10785"/>
                  <a:gd name="connsiteY2396" fmla="*/ 6385 h 10000"/>
                  <a:gd name="connsiteX2397" fmla="*/ 65 w 10785"/>
                  <a:gd name="connsiteY2397" fmla="*/ 6393 h 10000"/>
                  <a:gd name="connsiteX2398" fmla="*/ 60 w 10785"/>
                  <a:gd name="connsiteY2398" fmla="*/ 6419 h 10000"/>
                  <a:gd name="connsiteX2399" fmla="*/ 51 w 10785"/>
                  <a:gd name="connsiteY2399" fmla="*/ 6419 h 10000"/>
                  <a:gd name="connsiteX2400" fmla="*/ 46 w 10785"/>
                  <a:gd name="connsiteY2400" fmla="*/ 6410 h 10000"/>
                  <a:gd name="connsiteX2401" fmla="*/ 37 w 10785"/>
                  <a:gd name="connsiteY2401" fmla="*/ 6393 h 10000"/>
                  <a:gd name="connsiteX2402" fmla="*/ 32 w 10785"/>
                  <a:gd name="connsiteY2402" fmla="*/ 6419 h 10000"/>
                  <a:gd name="connsiteX2403" fmla="*/ 37 w 10785"/>
                  <a:gd name="connsiteY2403" fmla="*/ 6462 h 10000"/>
                  <a:gd name="connsiteX2404" fmla="*/ 46 w 10785"/>
                  <a:gd name="connsiteY2404" fmla="*/ 6462 h 10000"/>
                  <a:gd name="connsiteX2405" fmla="*/ 51 w 10785"/>
                  <a:gd name="connsiteY2405" fmla="*/ 6470 h 10000"/>
                  <a:gd name="connsiteX2406" fmla="*/ 51 w 10785"/>
                  <a:gd name="connsiteY2406" fmla="*/ 6496 h 10000"/>
                  <a:gd name="connsiteX2407" fmla="*/ 51 w 10785"/>
                  <a:gd name="connsiteY2407" fmla="*/ 6504 h 10000"/>
                  <a:gd name="connsiteX2408" fmla="*/ 37 w 10785"/>
                  <a:gd name="connsiteY2408" fmla="*/ 6530 h 10000"/>
                  <a:gd name="connsiteX2409" fmla="*/ 18 w 10785"/>
                  <a:gd name="connsiteY2409" fmla="*/ 6598 h 10000"/>
                  <a:gd name="connsiteX2410" fmla="*/ 28 w 10785"/>
                  <a:gd name="connsiteY2410" fmla="*/ 6632 h 10000"/>
                  <a:gd name="connsiteX2411" fmla="*/ 18 w 10785"/>
                  <a:gd name="connsiteY2411" fmla="*/ 6667 h 10000"/>
                  <a:gd name="connsiteX2412" fmla="*/ 28 w 10785"/>
                  <a:gd name="connsiteY2412" fmla="*/ 6692 h 10000"/>
                  <a:gd name="connsiteX2413" fmla="*/ 28 w 10785"/>
                  <a:gd name="connsiteY2413" fmla="*/ 6709 h 10000"/>
                  <a:gd name="connsiteX2414" fmla="*/ 18 w 10785"/>
                  <a:gd name="connsiteY2414" fmla="*/ 6718 h 10000"/>
                  <a:gd name="connsiteX2415" fmla="*/ 5 w 10785"/>
                  <a:gd name="connsiteY2415" fmla="*/ 6744 h 10000"/>
                  <a:gd name="connsiteX2416" fmla="*/ 0 w 10785"/>
                  <a:gd name="connsiteY2416" fmla="*/ 6769 h 10000"/>
                  <a:gd name="connsiteX2417" fmla="*/ 5 w 10785"/>
                  <a:gd name="connsiteY2417" fmla="*/ 6778 h 10000"/>
                  <a:gd name="connsiteX2418" fmla="*/ 32 w 10785"/>
                  <a:gd name="connsiteY2418" fmla="*/ 6778 h 10000"/>
                  <a:gd name="connsiteX2419" fmla="*/ 46 w 10785"/>
                  <a:gd name="connsiteY2419" fmla="*/ 6821 h 10000"/>
                  <a:gd name="connsiteX2420" fmla="*/ 46 w 10785"/>
                  <a:gd name="connsiteY2420" fmla="*/ 6855 h 10000"/>
                  <a:gd name="connsiteX2421" fmla="*/ 32 w 10785"/>
                  <a:gd name="connsiteY2421" fmla="*/ 6855 h 10000"/>
                  <a:gd name="connsiteX2422" fmla="*/ 14 w 10785"/>
                  <a:gd name="connsiteY2422" fmla="*/ 6821 h 10000"/>
                  <a:gd name="connsiteX2423" fmla="*/ 14 w 10785"/>
                  <a:gd name="connsiteY2423" fmla="*/ 6846 h 10000"/>
                  <a:gd name="connsiteX2424" fmla="*/ 0 w 10785"/>
                  <a:gd name="connsiteY2424" fmla="*/ 6897 h 10000"/>
                  <a:gd name="connsiteX2425" fmla="*/ 0 w 10785"/>
                  <a:gd name="connsiteY2425" fmla="*/ 6915 h 10000"/>
                  <a:gd name="connsiteX2426" fmla="*/ 5 w 10785"/>
                  <a:gd name="connsiteY2426" fmla="*/ 6932 h 10000"/>
                  <a:gd name="connsiteX2427" fmla="*/ 14 w 10785"/>
                  <a:gd name="connsiteY2427" fmla="*/ 6940 h 10000"/>
                  <a:gd name="connsiteX2428" fmla="*/ 18 w 10785"/>
                  <a:gd name="connsiteY2428" fmla="*/ 6957 h 10000"/>
                  <a:gd name="connsiteX2429" fmla="*/ 28 w 10785"/>
                  <a:gd name="connsiteY2429" fmla="*/ 6966 h 10000"/>
                  <a:gd name="connsiteX2430" fmla="*/ 28 w 10785"/>
                  <a:gd name="connsiteY2430" fmla="*/ 6983 h 10000"/>
                  <a:gd name="connsiteX2431" fmla="*/ 18 w 10785"/>
                  <a:gd name="connsiteY2431" fmla="*/ 7051 h 10000"/>
                  <a:gd name="connsiteX2432" fmla="*/ 28 w 10785"/>
                  <a:gd name="connsiteY2432" fmla="*/ 7068 h 10000"/>
                  <a:gd name="connsiteX2433" fmla="*/ 32 w 10785"/>
                  <a:gd name="connsiteY2433" fmla="*/ 7068 h 10000"/>
                  <a:gd name="connsiteX2434" fmla="*/ 32 w 10785"/>
                  <a:gd name="connsiteY2434" fmla="*/ 7094 h 10000"/>
                  <a:gd name="connsiteX2435" fmla="*/ 60 w 10785"/>
                  <a:gd name="connsiteY2435" fmla="*/ 7162 h 10000"/>
                  <a:gd name="connsiteX2436" fmla="*/ 60 w 10785"/>
                  <a:gd name="connsiteY2436" fmla="*/ 7231 h 10000"/>
                  <a:gd name="connsiteX2437" fmla="*/ 60 w 10785"/>
                  <a:gd name="connsiteY2437" fmla="*/ 7239 h 10000"/>
                  <a:gd name="connsiteX2438" fmla="*/ 78 w 10785"/>
                  <a:gd name="connsiteY2438" fmla="*/ 7239 h 10000"/>
                  <a:gd name="connsiteX2439" fmla="*/ 88 w 10785"/>
                  <a:gd name="connsiteY2439" fmla="*/ 7239 h 10000"/>
                  <a:gd name="connsiteX2440" fmla="*/ 92 w 10785"/>
                  <a:gd name="connsiteY2440" fmla="*/ 7256 h 10000"/>
                  <a:gd name="connsiteX2441" fmla="*/ 111 w 10785"/>
                  <a:gd name="connsiteY2441" fmla="*/ 7256 h 10000"/>
                  <a:gd name="connsiteX2442" fmla="*/ 120 w 10785"/>
                  <a:gd name="connsiteY2442" fmla="*/ 7256 h 10000"/>
                  <a:gd name="connsiteX2443" fmla="*/ 134 w 10785"/>
                  <a:gd name="connsiteY2443" fmla="*/ 7282 h 10000"/>
                  <a:gd name="connsiteX2444" fmla="*/ 134 w 10785"/>
                  <a:gd name="connsiteY2444" fmla="*/ 7316 h 10000"/>
                  <a:gd name="connsiteX2445" fmla="*/ 152 w 10785"/>
                  <a:gd name="connsiteY2445" fmla="*/ 7299 h 10000"/>
                  <a:gd name="connsiteX2446" fmla="*/ 161 w 10785"/>
                  <a:gd name="connsiteY2446" fmla="*/ 7299 h 10000"/>
                  <a:gd name="connsiteX2447" fmla="*/ 166 w 10785"/>
                  <a:gd name="connsiteY2447" fmla="*/ 7291 h 10000"/>
                  <a:gd name="connsiteX2448" fmla="*/ 194 w 10785"/>
                  <a:gd name="connsiteY2448" fmla="*/ 7291 h 10000"/>
                  <a:gd name="connsiteX2449" fmla="*/ 207 w 10785"/>
                  <a:gd name="connsiteY2449" fmla="*/ 7299 h 10000"/>
                  <a:gd name="connsiteX2450" fmla="*/ 221 w 10785"/>
                  <a:gd name="connsiteY2450" fmla="*/ 7342 h 10000"/>
                  <a:gd name="connsiteX2451" fmla="*/ 235 w 10785"/>
                  <a:gd name="connsiteY2451" fmla="*/ 7342 h 10000"/>
                  <a:gd name="connsiteX2452" fmla="*/ 235 w 10785"/>
                  <a:gd name="connsiteY2452" fmla="*/ 7368 h 10000"/>
                  <a:gd name="connsiteX2453" fmla="*/ 226 w 10785"/>
                  <a:gd name="connsiteY2453" fmla="*/ 7393 h 10000"/>
                  <a:gd name="connsiteX2454" fmla="*/ 226 w 10785"/>
                  <a:gd name="connsiteY2454" fmla="*/ 7402 h 10000"/>
                  <a:gd name="connsiteX2455" fmla="*/ 235 w 10785"/>
                  <a:gd name="connsiteY2455" fmla="*/ 7419 h 10000"/>
                  <a:gd name="connsiteX2456" fmla="*/ 240 w 10785"/>
                  <a:gd name="connsiteY2456" fmla="*/ 7436 h 10000"/>
                  <a:gd name="connsiteX2457" fmla="*/ 235 w 10785"/>
                  <a:gd name="connsiteY2457" fmla="*/ 7462 h 10000"/>
                  <a:gd name="connsiteX2458" fmla="*/ 226 w 10785"/>
                  <a:gd name="connsiteY2458" fmla="*/ 7479 h 10000"/>
                  <a:gd name="connsiteX2459" fmla="*/ 226 w 10785"/>
                  <a:gd name="connsiteY2459" fmla="*/ 7504 h 10000"/>
                  <a:gd name="connsiteX2460" fmla="*/ 226 w 10785"/>
                  <a:gd name="connsiteY2460" fmla="*/ 7513 h 10000"/>
                  <a:gd name="connsiteX2461" fmla="*/ 240 w 10785"/>
                  <a:gd name="connsiteY2461" fmla="*/ 7538 h 10000"/>
                  <a:gd name="connsiteX2462" fmla="*/ 267 w 10785"/>
                  <a:gd name="connsiteY2462" fmla="*/ 7641 h 10000"/>
                  <a:gd name="connsiteX2463" fmla="*/ 281 w 10785"/>
                  <a:gd name="connsiteY2463" fmla="*/ 7667 h 10000"/>
                  <a:gd name="connsiteX2464" fmla="*/ 286 w 10785"/>
                  <a:gd name="connsiteY2464" fmla="*/ 7675 h 10000"/>
                  <a:gd name="connsiteX2465" fmla="*/ 286 w 10785"/>
                  <a:gd name="connsiteY2465" fmla="*/ 7692 h 10000"/>
                  <a:gd name="connsiteX2466" fmla="*/ 286 w 10785"/>
                  <a:gd name="connsiteY2466" fmla="*/ 7709 h 10000"/>
                  <a:gd name="connsiteX2467" fmla="*/ 295 w 10785"/>
                  <a:gd name="connsiteY2467" fmla="*/ 7726 h 10000"/>
                  <a:gd name="connsiteX2468" fmla="*/ 318 w 10785"/>
                  <a:gd name="connsiteY2468" fmla="*/ 7709 h 10000"/>
                  <a:gd name="connsiteX2469" fmla="*/ 327 w 10785"/>
                  <a:gd name="connsiteY2469" fmla="*/ 7726 h 10000"/>
                  <a:gd name="connsiteX2470" fmla="*/ 341 w 10785"/>
                  <a:gd name="connsiteY2470" fmla="*/ 7735 h 10000"/>
                  <a:gd name="connsiteX2471" fmla="*/ 332 w 10785"/>
                  <a:gd name="connsiteY2471" fmla="*/ 7752 h 10000"/>
                  <a:gd name="connsiteX2472" fmla="*/ 341 w 10785"/>
                  <a:gd name="connsiteY2472" fmla="*/ 7761 h 10000"/>
                  <a:gd name="connsiteX2473" fmla="*/ 355 w 10785"/>
                  <a:gd name="connsiteY2473" fmla="*/ 7761 h 10000"/>
                  <a:gd name="connsiteX2474" fmla="*/ 355 w 10785"/>
                  <a:gd name="connsiteY2474" fmla="*/ 7803 h 10000"/>
                  <a:gd name="connsiteX2475" fmla="*/ 313 w 10785"/>
                  <a:gd name="connsiteY2475" fmla="*/ 7846 h 10000"/>
                  <a:gd name="connsiteX2476" fmla="*/ 295 w 10785"/>
                  <a:gd name="connsiteY2476" fmla="*/ 7846 h 10000"/>
                  <a:gd name="connsiteX2477" fmla="*/ 281 w 10785"/>
                  <a:gd name="connsiteY2477" fmla="*/ 7821 h 10000"/>
                  <a:gd name="connsiteX2478" fmla="*/ 272 w 10785"/>
                  <a:gd name="connsiteY2478" fmla="*/ 7821 h 10000"/>
                  <a:gd name="connsiteX2479" fmla="*/ 267 w 10785"/>
                  <a:gd name="connsiteY2479" fmla="*/ 7838 h 10000"/>
                  <a:gd name="connsiteX2480" fmla="*/ 258 w 10785"/>
                  <a:gd name="connsiteY2480" fmla="*/ 7846 h 10000"/>
                  <a:gd name="connsiteX2481" fmla="*/ 253 w 10785"/>
                  <a:gd name="connsiteY2481" fmla="*/ 7863 h 10000"/>
                  <a:gd name="connsiteX2482" fmla="*/ 253 w 10785"/>
                  <a:gd name="connsiteY2482" fmla="*/ 7872 h 10000"/>
                  <a:gd name="connsiteX2483" fmla="*/ 267 w 10785"/>
                  <a:gd name="connsiteY2483" fmla="*/ 7897 h 10000"/>
                  <a:gd name="connsiteX2484" fmla="*/ 272 w 10785"/>
                  <a:gd name="connsiteY2484" fmla="*/ 7915 h 10000"/>
                  <a:gd name="connsiteX2485" fmla="*/ 267 w 10785"/>
                  <a:gd name="connsiteY2485" fmla="*/ 7940 h 10000"/>
                  <a:gd name="connsiteX2486" fmla="*/ 272 w 10785"/>
                  <a:gd name="connsiteY2486" fmla="*/ 7949 h 10000"/>
                  <a:gd name="connsiteX2487" fmla="*/ 272 w 10785"/>
                  <a:gd name="connsiteY2487" fmla="*/ 7957 h 10000"/>
                  <a:gd name="connsiteX2488" fmla="*/ 281 w 10785"/>
                  <a:gd name="connsiteY2488" fmla="*/ 7974 h 10000"/>
                  <a:gd name="connsiteX2489" fmla="*/ 286 w 10785"/>
                  <a:gd name="connsiteY2489" fmla="*/ 7983 h 10000"/>
                  <a:gd name="connsiteX2490" fmla="*/ 281 w 10785"/>
                  <a:gd name="connsiteY2490" fmla="*/ 8009 h 10000"/>
                  <a:gd name="connsiteX2491" fmla="*/ 286 w 10785"/>
                  <a:gd name="connsiteY2491" fmla="*/ 8060 h 10000"/>
                  <a:gd name="connsiteX2492" fmla="*/ 286 w 10785"/>
                  <a:gd name="connsiteY2492" fmla="*/ 8060 h 10000"/>
                  <a:gd name="connsiteX2493" fmla="*/ 295 w 10785"/>
                  <a:gd name="connsiteY2493" fmla="*/ 8077 h 10000"/>
                  <a:gd name="connsiteX2494" fmla="*/ 309 w 10785"/>
                  <a:gd name="connsiteY2494" fmla="*/ 8077 h 10000"/>
                  <a:gd name="connsiteX2495" fmla="*/ 313 w 10785"/>
                  <a:gd name="connsiteY2495" fmla="*/ 8060 h 10000"/>
                  <a:gd name="connsiteX2496" fmla="*/ 318 w 10785"/>
                  <a:gd name="connsiteY2496" fmla="*/ 8051 h 10000"/>
                  <a:gd name="connsiteX2497" fmla="*/ 318 w 10785"/>
                  <a:gd name="connsiteY2497" fmla="*/ 8034 h 10000"/>
                  <a:gd name="connsiteX2498" fmla="*/ 332 w 10785"/>
                  <a:gd name="connsiteY2498" fmla="*/ 8026 h 10000"/>
                  <a:gd name="connsiteX2499" fmla="*/ 359 w 10785"/>
                  <a:gd name="connsiteY2499" fmla="*/ 8034 h 10000"/>
                  <a:gd name="connsiteX2500" fmla="*/ 378 w 10785"/>
                  <a:gd name="connsiteY2500" fmla="*/ 8026 h 10000"/>
                  <a:gd name="connsiteX2501" fmla="*/ 401 w 10785"/>
                  <a:gd name="connsiteY2501" fmla="*/ 8026 h 10000"/>
                  <a:gd name="connsiteX2502" fmla="*/ 419 w 10785"/>
                  <a:gd name="connsiteY2502" fmla="*/ 8009 h 10000"/>
                  <a:gd name="connsiteX2503" fmla="*/ 433 w 10785"/>
                  <a:gd name="connsiteY2503" fmla="*/ 8034 h 10000"/>
                  <a:gd name="connsiteX2504" fmla="*/ 442 w 10785"/>
                  <a:gd name="connsiteY2504" fmla="*/ 8060 h 10000"/>
                  <a:gd name="connsiteX2505" fmla="*/ 442 w 10785"/>
                  <a:gd name="connsiteY2505" fmla="*/ 8077 h 10000"/>
                  <a:gd name="connsiteX2506" fmla="*/ 461 w 10785"/>
                  <a:gd name="connsiteY2506" fmla="*/ 8111 h 10000"/>
                  <a:gd name="connsiteX2507" fmla="*/ 461 w 10785"/>
                  <a:gd name="connsiteY2507" fmla="*/ 8137 h 10000"/>
                  <a:gd name="connsiteX2508" fmla="*/ 447 w 10785"/>
                  <a:gd name="connsiteY2508" fmla="*/ 8145 h 10000"/>
                  <a:gd name="connsiteX2509" fmla="*/ 442 w 10785"/>
                  <a:gd name="connsiteY2509" fmla="*/ 8145 h 10000"/>
                  <a:gd name="connsiteX2510" fmla="*/ 442 w 10785"/>
                  <a:gd name="connsiteY2510" fmla="*/ 8162 h 10000"/>
                  <a:gd name="connsiteX2511" fmla="*/ 442 w 10785"/>
                  <a:gd name="connsiteY2511" fmla="*/ 8171 h 10000"/>
                  <a:gd name="connsiteX2512" fmla="*/ 447 w 10785"/>
                  <a:gd name="connsiteY2512" fmla="*/ 8214 h 10000"/>
                  <a:gd name="connsiteX2513" fmla="*/ 465 w 10785"/>
                  <a:gd name="connsiteY2513" fmla="*/ 8231 h 10000"/>
                  <a:gd name="connsiteX2514" fmla="*/ 488 w 10785"/>
                  <a:gd name="connsiteY2514" fmla="*/ 8231 h 10000"/>
                  <a:gd name="connsiteX2515" fmla="*/ 493 w 10785"/>
                  <a:gd name="connsiteY2515" fmla="*/ 8231 h 10000"/>
                  <a:gd name="connsiteX2516" fmla="*/ 502 w 10785"/>
                  <a:gd name="connsiteY2516" fmla="*/ 8231 h 10000"/>
                  <a:gd name="connsiteX2517" fmla="*/ 507 w 10785"/>
                  <a:gd name="connsiteY2517" fmla="*/ 8248 h 10000"/>
                  <a:gd name="connsiteX2518" fmla="*/ 521 w 10785"/>
                  <a:gd name="connsiteY2518" fmla="*/ 8274 h 10000"/>
                  <a:gd name="connsiteX2519" fmla="*/ 525 w 10785"/>
                  <a:gd name="connsiteY2519" fmla="*/ 8333 h 10000"/>
                  <a:gd name="connsiteX2520" fmla="*/ 525 w 10785"/>
                  <a:gd name="connsiteY2520" fmla="*/ 8359 h 10000"/>
                  <a:gd name="connsiteX2521" fmla="*/ 525 w 10785"/>
                  <a:gd name="connsiteY2521" fmla="*/ 8368 h 10000"/>
                  <a:gd name="connsiteX2522" fmla="*/ 548 w 10785"/>
                  <a:gd name="connsiteY2522" fmla="*/ 8393 h 10000"/>
                  <a:gd name="connsiteX2523" fmla="*/ 553 w 10785"/>
                  <a:gd name="connsiteY2523" fmla="*/ 8385 h 10000"/>
                  <a:gd name="connsiteX2524" fmla="*/ 562 w 10785"/>
                  <a:gd name="connsiteY2524" fmla="*/ 8385 h 10000"/>
                  <a:gd name="connsiteX2525" fmla="*/ 576 w 10785"/>
                  <a:gd name="connsiteY2525" fmla="*/ 8385 h 10000"/>
                  <a:gd name="connsiteX2526" fmla="*/ 585 w 10785"/>
                  <a:gd name="connsiteY2526" fmla="*/ 8410 h 10000"/>
                  <a:gd name="connsiteX2527" fmla="*/ 594 w 10785"/>
                  <a:gd name="connsiteY2527" fmla="*/ 8410 h 10000"/>
                  <a:gd name="connsiteX2528" fmla="*/ 608 w 10785"/>
                  <a:gd name="connsiteY2528" fmla="*/ 8410 h 10000"/>
                  <a:gd name="connsiteX2529" fmla="*/ 654 w 10785"/>
                  <a:gd name="connsiteY2529" fmla="*/ 8385 h 10000"/>
                  <a:gd name="connsiteX2530" fmla="*/ 659 w 10785"/>
                  <a:gd name="connsiteY2530" fmla="*/ 8385 h 10000"/>
                  <a:gd name="connsiteX2531" fmla="*/ 696 w 10785"/>
                  <a:gd name="connsiteY2531" fmla="*/ 8470 h 10000"/>
                  <a:gd name="connsiteX2532" fmla="*/ 700 w 10785"/>
                  <a:gd name="connsiteY2532" fmla="*/ 8470 h 10000"/>
                  <a:gd name="connsiteX2533" fmla="*/ 710 w 10785"/>
                  <a:gd name="connsiteY2533" fmla="*/ 8462 h 10000"/>
                  <a:gd name="connsiteX2534" fmla="*/ 714 w 10785"/>
                  <a:gd name="connsiteY2534" fmla="*/ 8462 h 10000"/>
                  <a:gd name="connsiteX2535" fmla="*/ 724 w 10785"/>
                  <a:gd name="connsiteY2535" fmla="*/ 8470 h 10000"/>
                  <a:gd name="connsiteX2536" fmla="*/ 733 w 10785"/>
                  <a:gd name="connsiteY2536" fmla="*/ 8470 h 10000"/>
                  <a:gd name="connsiteX2537" fmla="*/ 742 w 10785"/>
                  <a:gd name="connsiteY2537" fmla="*/ 8487 h 10000"/>
                  <a:gd name="connsiteX2538" fmla="*/ 747 w 10785"/>
                  <a:gd name="connsiteY2538" fmla="*/ 8496 h 10000"/>
                  <a:gd name="connsiteX2539" fmla="*/ 770 w 10785"/>
                  <a:gd name="connsiteY2539" fmla="*/ 8496 h 10000"/>
                  <a:gd name="connsiteX2540" fmla="*/ 783 w 10785"/>
                  <a:gd name="connsiteY2540" fmla="*/ 8521 h 10000"/>
                  <a:gd name="connsiteX2541" fmla="*/ 797 w 10785"/>
                  <a:gd name="connsiteY2541" fmla="*/ 8521 h 10000"/>
                  <a:gd name="connsiteX2542" fmla="*/ 806 w 10785"/>
                  <a:gd name="connsiteY2542" fmla="*/ 8530 h 10000"/>
                  <a:gd name="connsiteX2543" fmla="*/ 829 w 10785"/>
                  <a:gd name="connsiteY2543" fmla="*/ 8547 h 10000"/>
                  <a:gd name="connsiteX2544" fmla="*/ 834 w 10785"/>
                  <a:gd name="connsiteY2544" fmla="*/ 8556 h 10000"/>
                  <a:gd name="connsiteX2545" fmla="*/ 829 w 10785"/>
                  <a:gd name="connsiteY2545" fmla="*/ 8556 h 10000"/>
                  <a:gd name="connsiteX2546" fmla="*/ 834 w 10785"/>
                  <a:gd name="connsiteY2546" fmla="*/ 8607 h 10000"/>
                  <a:gd name="connsiteX2547" fmla="*/ 829 w 10785"/>
                  <a:gd name="connsiteY2547" fmla="*/ 8641 h 10000"/>
                  <a:gd name="connsiteX2548" fmla="*/ 806 w 10785"/>
                  <a:gd name="connsiteY2548" fmla="*/ 8658 h 10000"/>
                  <a:gd name="connsiteX2549" fmla="*/ 816 w 10785"/>
                  <a:gd name="connsiteY2549" fmla="*/ 8667 h 10000"/>
                  <a:gd name="connsiteX2550" fmla="*/ 820 w 10785"/>
                  <a:gd name="connsiteY2550" fmla="*/ 8667 h 10000"/>
                  <a:gd name="connsiteX2551" fmla="*/ 829 w 10785"/>
                  <a:gd name="connsiteY2551" fmla="*/ 8684 h 10000"/>
                  <a:gd name="connsiteX2552" fmla="*/ 806 w 10785"/>
                  <a:gd name="connsiteY2552" fmla="*/ 8692 h 10000"/>
                  <a:gd name="connsiteX2553" fmla="*/ 802 w 10785"/>
                  <a:gd name="connsiteY2553" fmla="*/ 8709 h 10000"/>
                  <a:gd name="connsiteX2554" fmla="*/ 802 w 10785"/>
                  <a:gd name="connsiteY2554" fmla="*/ 8735 h 10000"/>
                  <a:gd name="connsiteX2555" fmla="*/ 806 w 10785"/>
                  <a:gd name="connsiteY2555" fmla="*/ 8744 h 10000"/>
                  <a:gd name="connsiteX2556" fmla="*/ 816 w 10785"/>
                  <a:gd name="connsiteY2556" fmla="*/ 8752 h 10000"/>
                  <a:gd name="connsiteX2557" fmla="*/ 806 w 10785"/>
                  <a:gd name="connsiteY2557" fmla="*/ 8778 h 10000"/>
                  <a:gd name="connsiteX2558" fmla="*/ 820 w 10785"/>
                  <a:gd name="connsiteY2558" fmla="*/ 8778 h 10000"/>
                  <a:gd name="connsiteX2559" fmla="*/ 806 w 10785"/>
                  <a:gd name="connsiteY2559" fmla="*/ 8880 h 10000"/>
                  <a:gd name="connsiteX2560" fmla="*/ 797 w 10785"/>
                  <a:gd name="connsiteY2560" fmla="*/ 8880 h 10000"/>
                  <a:gd name="connsiteX2561" fmla="*/ 783 w 10785"/>
                  <a:gd name="connsiteY2561" fmla="*/ 8872 h 10000"/>
                  <a:gd name="connsiteX2562" fmla="*/ 770 w 10785"/>
                  <a:gd name="connsiteY2562" fmla="*/ 8880 h 10000"/>
                  <a:gd name="connsiteX2563" fmla="*/ 756 w 10785"/>
                  <a:gd name="connsiteY2563" fmla="*/ 8855 h 10000"/>
                  <a:gd name="connsiteX2564" fmla="*/ 733 w 10785"/>
                  <a:gd name="connsiteY2564" fmla="*/ 8906 h 10000"/>
                  <a:gd name="connsiteX2565" fmla="*/ 714 w 10785"/>
                  <a:gd name="connsiteY2565" fmla="*/ 8915 h 10000"/>
                  <a:gd name="connsiteX2566" fmla="*/ 710 w 10785"/>
                  <a:gd name="connsiteY2566" fmla="*/ 8940 h 10000"/>
                  <a:gd name="connsiteX2567" fmla="*/ 710 w 10785"/>
                  <a:gd name="connsiteY2567" fmla="*/ 9009 h 10000"/>
                  <a:gd name="connsiteX2568" fmla="*/ 728 w 10785"/>
                  <a:gd name="connsiteY2568" fmla="*/ 8991 h 10000"/>
                  <a:gd name="connsiteX2569" fmla="*/ 733 w 10785"/>
                  <a:gd name="connsiteY2569" fmla="*/ 8991 h 10000"/>
                  <a:gd name="connsiteX2570" fmla="*/ 747 w 10785"/>
                  <a:gd name="connsiteY2570" fmla="*/ 8983 h 10000"/>
                  <a:gd name="connsiteX2571" fmla="*/ 760 w 10785"/>
                  <a:gd name="connsiteY2571" fmla="*/ 8983 h 10000"/>
                  <a:gd name="connsiteX2572" fmla="*/ 770 w 10785"/>
                  <a:gd name="connsiteY2572" fmla="*/ 8983 h 10000"/>
                  <a:gd name="connsiteX2573" fmla="*/ 770 w 10785"/>
                  <a:gd name="connsiteY2573" fmla="*/ 8991 h 10000"/>
                  <a:gd name="connsiteX2574" fmla="*/ 783 w 10785"/>
                  <a:gd name="connsiteY2574" fmla="*/ 8991 h 10000"/>
                  <a:gd name="connsiteX2575" fmla="*/ 783 w 10785"/>
                  <a:gd name="connsiteY2575" fmla="*/ 9009 h 10000"/>
                  <a:gd name="connsiteX2576" fmla="*/ 783 w 10785"/>
                  <a:gd name="connsiteY2576" fmla="*/ 9017 h 10000"/>
                  <a:gd name="connsiteX2577" fmla="*/ 770 w 10785"/>
                  <a:gd name="connsiteY2577" fmla="*/ 9017 h 10000"/>
                  <a:gd name="connsiteX2578" fmla="*/ 724 w 10785"/>
                  <a:gd name="connsiteY2578" fmla="*/ 9051 h 10000"/>
                  <a:gd name="connsiteX2579" fmla="*/ 724 w 10785"/>
                  <a:gd name="connsiteY2579" fmla="*/ 9068 h 10000"/>
                  <a:gd name="connsiteX2580" fmla="*/ 728 w 10785"/>
                  <a:gd name="connsiteY2580" fmla="*/ 9077 h 10000"/>
                  <a:gd name="connsiteX2581" fmla="*/ 724 w 10785"/>
                  <a:gd name="connsiteY2581" fmla="*/ 9077 h 10000"/>
                  <a:gd name="connsiteX2582" fmla="*/ 710 w 10785"/>
                  <a:gd name="connsiteY2582" fmla="*/ 9077 h 10000"/>
                  <a:gd name="connsiteX2583" fmla="*/ 682 w 10785"/>
                  <a:gd name="connsiteY2583" fmla="*/ 9077 h 10000"/>
                  <a:gd name="connsiteX2584" fmla="*/ 673 w 10785"/>
                  <a:gd name="connsiteY2584" fmla="*/ 9103 h 10000"/>
                  <a:gd name="connsiteX2585" fmla="*/ 687 w 10785"/>
                  <a:gd name="connsiteY2585" fmla="*/ 9128 h 10000"/>
                  <a:gd name="connsiteX2586" fmla="*/ 700 w 10785"/>
                  <a:gd name="connsiteY2586" fmla="*/ 9128 h 10000"/>
                  <a:gd name="connsiteX2587" fmla="*/ 728 w 10785"/>
                  <a:gd name="connsiteY2587" fmla="*/ 9179 h 10000"/>
                  <a:gd name="connsiteX2588" fmla="*/ 724 w 10785"/>
                  <a:gd name="connsiteY2588" fmla="*/ 9188 h 10000"/>
                  <a:gd name="connsiteX2589" fmla="*/ 710 w 10785"/>
                  <a:gd name="connsiteY2589" fmla="*/ 9179 h 10000"/>
                  <a:gd name="connsiteX2590" fmla="*/ 700 w 10785"/>
                  <a:gd name="connsiteY2590" fmla="*/ 9205 h 10000"/>
                  <a:gd name="connsiteX2591" fmla="*/ 696 w 10785"/>
                  <a:gd name="connsiteY2591" fmla="*/ 9205 h 10000"/>
                  <a:gd name="connsiteX2592" fmla="*/ 654 w 10785"/>
                  <a:gd name="connsiteY2592" fmla="*/ 9299 h 10000"/>
                  <a:gd name="connsiteX2593" fmla="*/ 622 w 10785"/>
                  <a:gd name="connsiteY2593" fmla="*/ 9299 h 10000"/>
                  <a:gd name="connsiteX2594" fmla="*/ 613 w 10785"/>
                  <a:gd name="connsiteY2594" fmla="*/ 9316 h 10000"/>
                  <a:gd name="connsiteX2595" fmla="*/ 613 w 10785"/>
                  <a:gd name="connsiteY2595" fmla="*/ 9325 h 10000"/>
                  <a:gd name="connsiteX2596" fmla="*/ 608 w 10785"/>
                  <a:gd name="connsiteY2596" fmla="*/ 9342 h 10000"/>
                  <a:gd name="connsiteX2597" fmla="*/ 636 w 10785"/>
                  <a:gd name="connsiteY2597" fmla="*/ 9376 h 10000"/>
                  <a:gd name="connsiteX2598" fmla="*/ 641 w 10785"/>
                  <a:gd name="connsiteY2598" fmla="*/ 9402 h 10000"/>
                  <a:gd name="connsiteX2599" fmla="*/ 654 w 10785"/>
                  <a:gd name="connsiteY2599" fmla="*/ 9427 h 10000"/>
                  <a:gd name="connsiteX2600" fmla="*/ 668 w 10785"/>
                  <a:gd name="connsiteY2600" fmla="*/ 9427 h 10000"/>
                  <a:gd name="connsiteX2601" fmla="*/ 668 w 10785"/>
                  <a:gd name="connsiteY2601" fmla="*/ 9427 h 10000"/>
                  <a:gd name="connsiteX2602" fmla="*/ 774 w 10785"/>
                  <a:gd name="connsiteY2602" fmla="*/ 9547 h 10000"/>
                  <a:gd name="connsiteX2603" fmla="*/ 797 w 10785"/>
                  <a:gd name="connsiteY2603" fmla="*/ 9598 h 10000"/>
                  <a:gd name="connsiteX2604" fmla="*/ 802 w 10785"/>
                  <a:gd name="connsiteY2604" fmla="*/ 9598 h 10000"/>
                  <a:gd name="connsiteX2605" fmla="*/ 816 w 10785"/>
                  <a:gd name="connsiteY2605" fmla="*/ 9624 h 10000"/>
                  <a:gd name="connsiteX2606" fmla="*/ 843 w 10785"/>
                  <a:gd name="connsiteY2606" fmla="*/ 9615 h 10000"/>
                  <a:gd name="connsiteX2607" fmla="*/ 857 w 10785"/>
                  <a:gd name="connsiteY2607" fmla="*/ 9624 h 10000"/>
                  <a:gd name="connsiteX2608" fmla="*/ 862 w 10785"/>
                  <a:gd name="connsiteY2608" fmla="*/ 9615 h 10000"/>
                  <a:gd name="connsiteX2609" fmla="*/ 880 w 10785"/>
                  <a:gd name="connsiteY2609" fmla="*/ 9624 h 10000"/>
                  <a:gd name="connsiteX2610" fmla="*/ 889 w 10785"/>
                  <a:gd name="connsiteY2610" fmla="*/ 9641 h 10000"/>
                  <a:gd name="connsiteX2611" fmla="*/ 935 w 10785"/>
                  <a:gd name="connsiteY2611" fmla="*/ 9675 h 10000"/>
                  <a:gd name="connsiteX2612" fmla="*/ 977 w 10785"/>
                  <a:gd name="connsiteY2612" fmla="*/ 9667 h 10000"/>
                  <a:gd name="connsiteX2613" fmla="*/ 995 w 10785"/>
                  <a:gd name="connsiteY2613" fmla="*/ 9675 h 10000"/>
                  <a:gd name="connsiteX2614" fmla="*/ 1014 w 10785"/>
                  <a:gd name="connsiteY2614" fmla="*/ 9675 h 10000"/>
                  <a:gd name="connsiteX2615" fmla="*/ 1069 w 10785"/>
                  <a:gd name="connsiteY2615" fmla="*/ 9752 h 10000"/>
                  <a:gd name="connsiteX2616" fmla="*/ 1074 w 10785"/>
                  <a:gd name="connsiteY2616" fmla="*/ 9761 h 10000"/>
                  <a:gd name="connsiteX2617" fmla="*/ 1083 w 10785"/>
                  <a:gd name="connsiteY2617" fmla="*/ 9778 h 10000"/>
                  <a:gd name="connsiteX2618" fmla="*/ 1115 w 10785"/>
                  <a:gd name="connsiteY2618" fmla="*/ 9752 h 10000"/>
                  <a:gd name="connsiteX2619" fmla="*/ 1129 w 10785"/>
                  <a:gd name="connsiteY2619" fmla="*/ 9752 h 10000"/>
                  <a:gd name="connsiteX2620" fmla="*/ 1138 w 10785"/>
                  <a:gd name="connsiteY2620" fmla="*/ 9761 h 10000"/>
                  <a:gd name="connsiteX2621" fmla="*/ 1143 w 10785"/>
                  <a:gd name="connsiteY2621" fmla="*/ 9752 h 10000"/>
                  <a:gd name="connsiteX2622" fmla="*/ 1161 w 10785"/>
                  <a:gd name="connsiteY2622" fmla="*/ 9761 h 10000"/>
                  <a:gd name="connsiteX2623" fmla="*/ 1171 w 10785"/>
                  <a:gd name="connsiteY2623" fmla="*/ 9778 h 10000"/>
                  <a:gd name="connsiteX2624" fmla="*/ 1175 w 10785"/>
                  <a:gd name="connsiteY2624" fmla="*/ 9778 h 10000"/>
                  <a:gd name="connsiteX2625" fmla="*/ 1189 w 10785"/>
                  <a:gd name="connsiteY2625" fmla="*/ 9778 h 10000"/>
                  <a:gd name="connsiteX2626" fmla="*/ 1198 w 10785"/>
                  <a:gd name="connsiteY2626" fmla="*/ 9786 h 10000"/>
                  <a:gd name="connsiteX2627" fmla="*/ 1203 w 10785"/>
                  <a:gd name="connsiteY2627" fmla="*/ 9803 h 10000"/>
                  <a:gd name="connsiteX2628" fmla="*/ 1198 w 10785"/>
                  <a:gd name="connsiteY2628" fmla="*/ 9838 h 10000"/>
                  <a:gd name="connsiteX2629" fmla="*/ 1212 w 10785"/>
                  <a:gd name="connsiteY2629" fmla="*/ 9863 h 10000"/>
                  <a:gd name="connsiteX2630" fmla="*/ 1230 w 10785"/>
                  <a:gd name="connsiteY2630" fmla="*/ 9872 h 10000"/>
                  <a:gd name="connsiteX2631" fmla="*/ 1249 w 10785"/>
                  <a:gd name="connsiteY2631" fmla="*/ 9897 h 10000"/>
                  <a:gd name="connsiteX2632" fmla="*/ 1263 w 10785"/>
                  <a:gd name="connsiteY2632" fmla="*/ 9897 h 10000"/>
                  <a:gd name="connsiteX2633" fmla="*/ 1276 w 10785"/>
                  <a:gd name="connsiteY2633" fmla="*/ 9923 h 10000"/>
                  <a:gd name="connsiteX2634" fmla="*/ 1281 w 10785"/>
                  <a:gd name="connsiteY2634" fmla="*/ 9949 h 10000"/>
                  <a:gd name="connsiteX2635" fmla="*/ 1290 w 10785"/>
                  <a:gd name="connsiteY2635" fmla="*/ 9949 h 10000"/>
                  <a:gd name="connsiteX2636" fmla="*/ 1295 w 10785"/>
                  <a:gd name="connsiteY2636" fmla="*/ 10000 h 10000"/>
                  <a:gd name="connsiteX2637" fmla="*/ 1332 w 10785"/>
                  <a:gd name="connsiteY2637" fmla="*/ 10000 h 10000"/>
                  <a:gd name="connsiteX2638" fmla="*/ 1336 w 10785"/>
                  <a:gd name="connsiteY2638" fmla="*/ 10000 h 10000"/>
                  <a:gd name="connsiteX2639" fmla="*/ 1346 w 10785"/>
                  <a:gd name="connsiteY2639" fmla="*/ 9983 h 10000"/>
                  <a:gd name="connsiteX2640" fmla="*/ 1350 w 10785"/>
                  <a:gd name="connsiteY2640" fmla="*/ 9949 h 10000"/>
                  <a:gd name="connsiteX2641" fmla="*/ 1369 w 10785"/>
                  <a:gd name="connsiteY2641" fmla="*/ 9940 h 10000"/>
                  <a:gd name="connsiteX2642" fmla="*/ 1378 w 10785"/>
                  <a:gd name="connsiteY2642" fmla="*/ 9897 h 10000"/>
                  <a:gd name="connsiteX2643" fmla="*/ 1369 w 10785"/>
                  <a:gd name="connsiteY2643" fmla="*/ 9889 h 10000"/>
                  <a:gd name="connsiteX2644" fmla="*/ 1318 w 10785"/>
                  <a:gd name="connsiteY2644" fmla="*/ 9701 h 10000"/>
                  <a:gd name="connsiteX2645" fmla="*/ 1318 w 10785"/>
                  <a:gd name="connsiteY2645" fmla="*/ 9650 h 10000"/>
                  <a:gd name="connsiteX2646" fmla="*/ 1323 w 10785"/>
                  <a:gd name="connsiteY2646" fmla="*/ 9590 h 10000"/>
                  <a:gd name="connsiteX2647" fmla="*/ 1323 w 10785"/>
                  <a:gd name="connsiteY2647" fmla="*/ 9564 h 10000"/>
                  <a:gd name="connsiteX2648" fmla="*/ 1309 w 10785"/>
                  <a:gd name="connsiteY2648" fmla="*/ 9598 h 10000"/>
                  <a:gd name="connsiteX2649" fmla="*/ 1309 w 10785"/>
                  <a:gd name="connsiteY2649" fmla="*/ 9590 h 10000"/>
                  <a:gd name="connsiteX2650" fmla="*/ 1304 w 10785"/>
                  <a:gd name="connsiteY2650" fmla="*/ 9547 h 10000"/>
                  <a:gd name="connsiteX2651" fmla="*/ 1276 w 10785"/>
                  <a:gd name="connsiteY2651" fmla="*/ 9479 h 10000"/>
                  <a:gd name="connsiteX2652" fmla="*/ 1263 w 10785"/>
                  <a:gd name="connsiteY2652" fmla="*/ 9479 h 10000"/>
                  <a:gd name="connsiteX2653" fmla="*/ 1263 w 10785"/>
                  <a:gd name="connsiteY2653" fmla="*/ 9453 h 10000"/>
                  <a:gd name="connsiteX2654" fmla="*/ 1272 w 10785"/>
                  <a:gd name="connsiteY2654" fmla="*/ 9410 h 10000"/>
                  <a:gd name="connsiteX2655" fmla="*/ 1272 w 10785"/>
                  <a:gd name="connsiteY2655" fmla="*/ 9393 h 10000"/>
                  <a:gd name="connsiteX2656" fmla="*/ 1281 w 10785"/>
                  <a:gd name="connsiteY2656" fmla="*/ 9368 h 10000"/>
                  <a:gd name="connsiteX2657" fmla="*/ 1281 w 10785"/>
                  <a:gd name="connsiteY2657" fmla="*/ 9368 h 10000"/>
                  <a:gd name="connsiteX2658" fmla="*/ 1290 w 10785"/>
                  <a:gd name="connsiteY2658" fmla="*/ 9368 h 10000"/>
                  <a:gd name="connsiteX2659" fmla="*/ 1290 w 10785"/>
                  <a:gd name="connsiteY2659" fmla="*/ 9342 h 10000"/>
                  <a:gd name="connsiteX2660" fmla="*/ 1304 w 10785"/>
                  <a:gd name="connsiteY2660" fmla="*/ 9325 h 10000"/>
                  <a:gd name="connsiteX2661" fmla="*/ 1309 w 10785"/>
                  <a:gd name="connsiteY2661" fmla="*/ 9239 h 10000"/>
                  <a:gd name="connsiteX2662" fmla="*/ 1318 w 10785"/>
                  <a:gd name="connsiteY2662" fmla="*/ 9256 h 10000"/>
                  <a:gd name="connsiteX2663" fmla="*/ 1323 w 10785"/>
                  <a:gd name="connsiteY2663" fmla="*/ 9179 h 10000"/>
                  <a:gd name="connsiteX2664" fmla="*/ 1309 w 10785"/>
                  <a:gd name="connsiteY2664" fmla="*/ 9145 h 10000"/>
                  <a:gd name="connsiteX2665" fmla="*/ 1336 w 10785"/>
                  <a:gd name="connsiteY2665" fmla="*/ 9154 h 10000"/>
                  <a:gd name="connsiteX2666" fmla="*/ 1336 w 10785"/>
                  <a:gd name="connsiteY2666" fmla="*/ 9162 h 10000"/>
                  <a:gd name="connsiteX2667" fmla="*/ 1350 w 10785"/>
                  <a:gd name="connsiteY2667" fmla="*/ 9231 h 10000"/>
                  <a:gd name="connsiteX2668" fmla="*/ 1355 w 10785"/>
                  <a:gd name="connsiteY2668" fmla="*/ 9231 h 10000"/>
                  <a:gd name="connsiteX2669" fmla="*/ 1364 w 10785"/>
                  <a:gd name="connsiteY2669" fmla="*/ 9214 h 10000"/>
                  <a:gd name="connsiteX2670" fmla="*/ 1369 w 10785"/>
                  <a:gd name="connsiteY2670" fmla="*/ 9214 h 10000"/>
                  <a:gd name="connsiteX2671" fmla="*/ 1382 w 10785"/>
                  <a:gd name="connsiteY2671" fmla="*/ 9154 h 10000"/>
                  <a:gd name="connsiteX2672" fmla="*/ 1396 w 10785"/>
                  <a:gd name="connsiteY2672" fmla="*/ 9154 h 10000"/>
                  <a:gd name="connsiteX2673" fmla="*/ 1382 w 10785"/>
                  <a:gd name="connsiteY2673" fmla="*/ 9145 h 10000"/>
                  <a:gd name="connsiteX2674" fmla="*/ 1382 w 10785"/>
                  <a:gd name="connsiteY2674" fmla="*/ 9128 h 10000"/>
                  <a:gd name="connsiteX2675" fmla="*/ 1369 w 10785"/>
                  <a:gd name="connsiteY2675" fmla="*/ 9128 h 10000"/>
                  <a:gd name="connsiteX2676" fmla="*/ 1364 w 10785"/>
                  <a:gd name="connsiteY2676" fmla="*/ 9128 h 10000"/>
                  <a:gd name="connsiteX2677" fmla="*/ 1355 w 10785"/>
                  <a:gd name="connsiteY2677" fmla="*/ 9120 h 10000"/>
                  <a:gd name="connsiteX2678" fmla="*/ 1350 w 10785"/>
                  <a:gd name="connsiteY2678" fmla="*/ 9103 h 10000"/>
                  <a:gd name="connsiteX2679" fmla="*/ 1355 w 10785"/>
                  <a:gd name="connsiteY2679" fmla="*/ 9094 h 10000"/>
                  <a:gd name="connsiteX2680" fmla="*/ 1355 w 10785"/>
                  <a:gd name="connsiteY2680" fmla="*/ 9068 h 10000"/>
                  <a:gd name="connsiteX2681" fmla="*/ 1369 w 10785"/>
                  <a:gd name="connsiteY2681" fmla="*/ 9068 h 10000"/>
                  <a:gd name="connsiteX2682" fmla="*/ 1378 w 10785"/>
                  <a:gd name="connsiteY2682" fmla="*/ 9077 h 10000"/>
                  <a:gd name="connsiteX2683" fmla="*/ 1396 w 10785"/>
                  <a:gd name="connsiteY2683" fmla="*/ 9068 h 10000"/>
                  <a:gd name="connsiteX2684" fmla="*/ 1382 w 10785"/>
                  <a:gd name="connsiteY2684" fmla="*/ 8940 h 10000"/>
                  <a:gd name="connsiteX2685" fmla="*/ 1378 w 10785"/>
                  <a:gd name="connsiteY2685" fmla="*/ 8940 h 10000"/>
                  <a:gd name="connsiteX2686" fmla="*/ 1364 w 10785"/>
                  <a:gd name="connsiteY2686" fmla="*/ 8889 h 10000"/>
                  <a:gd name="connsiteX2687" fmla="*/ 1355 w 10785"/>
                  <a:gd name="connsiteY2687" fmla="*/ 8880 h 10000"/>
                  <a:gd name="connsiteX2688" fmla="*/ 1323 w 10785"/>
                  <a:gd name="connsiteY2688" fmla="*/ 8880 h 10000"/>
                  <a:gd name="connsiteX2689" fmla="*/ 1309 w 10785"/>
                  <a:gd name="connsiteY2689" fmla="*/ 8880 h 10000"/>
                  <a:gd name="connsiteX2690" fmla="*/ 1309 w 10785"/>
                  <a:gd name="connsiteY2690" fmla="*/ 8889 h 10000"/>
                  <a:gd name="connsiteX2691" fmla="*/ 1295 w 10785"/>
                  <a:gd name="connsiteY2691" fmla="*/ 8872 h 10000"/>
                  <a:gd name="connsiteX2692" fmla="*/ 1290 w 10785"/>
                  <a:gd name="connsiteY2692" fmla="*/ 8855 h 10000"/>
                  <a:gd name="connsiteX2693" fmla="*/ 1290 w 10785"/>
                  <a:gd name="connsiteY2693" fmla="*/ 8829 h 10000"/>
                  <a:gd name="connsiteX2694" fmla="*/ 1290 w 10785"/>
                  <a:gd name="connsiteY2694" fmla="*/ 8821 h 10000"/>
                  <a:gd name="connsiteX2695" fmla="*/ 1290 w 10785"/>
                  <a:gd name="connsiteY2695" fmla="*/ 8803 h 10000"/>
                  <a:gd name="connsiteX2696" fmla="*/ 1281 w 10785"/>
                  <a:gd name="connsiteY2696" fmla="*/ 8795 h 10000"/>
                  <a:gd name="connsiteX2697" fmla="*/ 1249 w 10785"/>
                  <a:gd name="connsiteY2697" fmla="*/ 8769 h 10000"/>
                  <a:gd name="connsiteX2698" fmla="*/ 1263 w 10785"/>
                  <a:gd name="connsiteY2698" fmla="*/ 8667 h 10000"/>
                  <a:gd name="connsiteX2699" fmla="*/ 1281 w 10785"/>
                  <a:gd name="connsiteY2699" fmla="*/ 8658 h 10000"/>
                  <a:gd name="connsiteX2700" fmla="*/ 1290 w 10785"/>
                  <a:gd name="connsiteY2700" fmla="*/ 8632 h 10000"/>
                  <a:gd name="connsiteX2701" fmla="*/ 1281 w 10785"/>
                  <a:gd name="connsiteY2701" fmla="*/ 8615 h 10000"/>
                  <a:gd name="connsiteX2702" fmla="*/ 1272 w 10785"/>
                  <a:gd name="connsiteY2702" fmla="*/ 8598 h 10000"/>
                  <a:gd name="connsiteX2703" fmla="*/ 1281 w 10785"/>
                  <a:gd name="connsiteY2703" fmla="*/ 8496 h 10000"/>
                  <a:gd name="connsiteX2704" fmla="*/ 1295 w 10785"/>
                  <a:gd name="connsiteY2704" fmla="*/ 8470 h 10000"/>
                  <a:gd name="connsiteX2705" fmla="*/ 1304 w 10785"/>
                  <a:gd name="connsiteY2705" fmla="*/ 8462 h 10000"/>
                  <a:gd name="connsiteX2706" fmla="*/ 1304 w 10785"/>
                  <a:gd name="connsiteY2706" fmla="*/ 8444 h 10000"/>
                  <a:gd name="connsiteX2707" fmla="*/ 1304 w 10785"/>
                  <a:gd name="connsiteY2707" fmla="*/ 8419 h 10000"/>
                  <a:gd name="connsiteX2708" fmla="*/ 1304 w 10785"/>
                  <a:gd name="connsiteY2708" fmla="*/ 8410 h 10000"/>
                  <a:gd name="connsiteX2709" fmla="*/ 1309 w 10785"/>
                  <a:gd name="connsiteY2709" fmla="*/ 8393 h 10000"/>
                  <a:gd name="connsiteX2710" fmla="*/ 1318 w 10785"/>
                  <a:gd name="connsiteY2710" fmla="*/ 8385 h 10000"/>
                  <a:gd name="connsiteX2711" fmla="*/ 1323 w 10785"/>
                  <a:gd name="connsiteY2711" fmla="*/ 8385 h 10000"/>
                  <a:gd name="connsiteX2712" fmla="*/ 1332 w 10785"/>
                  <a:gd name="connsiteY2712" fmla="*/ 8410 h 10000"/>
                  <a:gd name="connsiteX2713" fmla="*/ 1346 w 10785"/>
                  <a:gd name="connsiteY2713" fmla="*/ 8419 h 10000"/>
                  <a:gd name="connsiteX2714" fmla="*/ 1364 w 10785"/>
                  <a:gd name="connsiteY2714" fmla="*/ 8504 h 10000"/>
                  <a:gd name="connsiteX2715" fmla="*/ 1369 w 10785"/>
                  <a:gd name="connsiteY2715" fmla="*/ 8521 h 10000"/>
                  <a:gd name="connsiteX2716" fmla="*/ 1406 w 10785"/>
                  <a:gd name="connsiteY2716" fmla="*/ 8470 h 10000"/>
                  <a:gd name="connsiteX2717" fmla="*/ 1382 w 10785"/>
                  <a:gd name="connsiteY2717" fmla="*/ 8359 h 10000"/>
                  <a:gd name="connsiteX2718" fmla="*/ 1392 w 10785"/>
                  <a:gd name="connsiteY2718" fmla="*/ 8359 h 10000"/>
                  <a:gd name="connsiteX2719" fmla="*/ 1438 w 10785"/>
                  <a:gd name="connsiteY2719" fmla="*/ 8308 h 10000"/>
                  <a:gd name="connsiteX2720" fmla="*/ 1442 w 10785"/>
                  <a:gd name="connsiteY2720" fmla="*/ 8299 h 10000"/>
                  <a:gd name="connsiteX2721" fmla="*/ 1442 w 10785"/>
                  <a:gd name="connsiteY2721" fmla="*/ 8256 h 10000"/>
                  <a:gd name="connsiteX2722" fmla="*/ 1452 w 10785"/>
                  <a:gd name="connsiteY2722" fmla="*/ 8256 h 10000"/>
                  <a:gd name="connsiteX2723" fmla="*/ 1456 w 10785"/>
                  <a:gd name="connsiteY2723" fmla="*/ 8256 h 10000"/>
                  <a:gd name="connsiteX2724" fmla="*/ 1470 w 10785"/>
                  <a:gd name="connsiteY2724" fmla="*/ 8248 h 10000"/>
                  <a:gd name="connsiteX2725" fmla="*/ 1479 w 10785"/>
                  <a:gd name="connsiteY2725" fmla="*/ 8231 h 10000"/>
                  <a:gd name="connsiteX2726" fmla="*/ 1493 w 10785"/>
                  <a:gd name="connsiteY2726" fmla="*/ 8222 h 10000"/>
                  <a:gd name="connsiteX2727" fmla="*/ 1498 w 10785"/>
                  <a:gd name="connsiteY2727" fmla="*/ 8214 h 10000"/>
                  <a:gd name="connsiteX2728" fmla="*/ 1502 w 10785"/>
                  <a:gd name="connsiteY2728" fmla="*/ 8197 h 10000"/>
                  <a:gd name="connsiteX2729" fmla="*/ 1512 w 10785"/>
                  <a:gd name="connsiteY2729" fmla="*/ 8188 h 10000"/>
                  <a:gd name="connsiteX2730" fmla="*/ 1516 w 10785"/>
                  <a:gd name="connsiteY2730" fmla="*/ 8171 h 10000"/>
                  <a:gd name="connsiteX2731" fmla="*/ 1525 w 10785"/>
                  <a:gd name="connsiteY2731" fmla="*/ 8162 h 10000"/>
                  <a:gd name="connsiteX2732" fmla="*/ 1539 w 10785"/>
                  <a:gd name="connsiteY2732" fmla="*/ 8145 h 10000"/>
                  <a:gd name="connsiteX2733" fmla="*/ 1558 w 10785"/>
                  <a:gd name="connsiteY2733" fmla="*/ 8145 h 10000"/>
                  <a:gd name="connsiteX2734" fmla="*/ 1562 w 10785"/>
                  <a:gd name="connsiteY2734" fmla="*/ 8188 h 10000"/>
                  <a:gd name="connsiteX2735" fmla="*/ 1585 w 10785"/>
                  <a:gd name="connsiteY2735" fmla="*/ 8171 h 10000"/>
                  <a:gd name="connsiteX2736" fmla="*/ 1590 w 10785"/>
                  <a:gd name="connsiteY2736" fmla="*/ 8188 h 10000"/>
                  <a:gd name="connsiteX2737" fmla="*/ 1599 w 10785"/>
                  <a:gd name="connsiteY2737" fmla="*/ 8171 h 10000"/>
                  <a:gd name="connsiteX2738" fmla="*/ 1599 w 10785"/>
                  <a:gd name="connsiteY2738" fmla="*/ 8162 h 10000"/>
                  <a:gd name="connsiteX2739" fmla="*/ 1604 w 10785"/>
                  <a:gd name="connsiteY2739" fmla="*/ 8137 h 10000"/>
                  <a:gd name="connsiteX2740" fmla="*/ 1618 w 10785"/>
                  <a:gd name="connsiteY2740" fmla="*/ 8145 h 10000"/>
                  <a:gd name="connsiteX2741" fmla="*/ 1627 w 10785"/>
                  <a:gd name="connsiteY2741" fmla="*/ 8137 h 10000"/>
                  <a:gd name="connsiteX2742" fmla="*/ 1631 w 10785"/>
                  <a:gd name="connsiteY2742" fmla="*/ 8137 h 10000"/>
                  <a:gd name="connsiteX2743" fmla="*/ 1636 w 10785"/>
                  <a:gd name="connsiteY2743" fmla="*/ 8171 h 10000"/>
                  <a:gd name="connsiteX2744" fmla="*/ 1645 w 10785"/>
                  <a:gd name="connsiteY2744" fmla="*/ 8188 h 10000"/>
                  <a:gd name="connsiteX2745" fmla="*/ 1664 w 10785"/>
                  <a:gd name="connsiteY2745" fmla="*/ 8171 h 10000"/>
                  <a:gd name="connsiteX2746" fmla="*/ 1673 w 10785"/>
                  <a:gd name="connsiteY2746" fmla="*/ 8188 h 10000"/>
                  <a:gd name="connsiteX2747" fmla="*/ 1691 w 10785"/>
                  <a:gd name="connsiteY2747" fmla="*/ 8171 h 10000"/>
                  <a:gd name="connsiteX2748" fmla="*/ 1705 w 10785"/>
                  <a:gd name="connsiteY2748" fmla="*/ 8171 h 10000"/>
                  <a:gd name="connsiteX2749" fmla="*/ 1719 w 10785"/>
                  <a:gd name="connsiteY2749" fmla="*/ 8197 h 10000"/>
                  <a:gd name="connsiteX2750" fmla="*/ 1724 w 10785"/>
                  <a:gd name="connsiteY2750" fmla="*/ 8231 h 10000"/>
                  <a:gd name="connsiteX2751" fmla="*/ 1751 w 10785"/>
                  <a:gd name="connsiteY2751" fmla="*/ 8256 h 10000"/>
                  <a:gd name="connsiteX2752" fmla="*/ 1751 w 10785"/>
                  <a:gd name="connsiteY2752" fmla="*/ 8274 h 10000"/>
                  <a:gd name="connsiteX2753" fmla="*/ 1760 w 10785"/>
                  <a:gd name="connsiteY2753" fmla="*/ 8282 h 10000"/>
                  <a:gd name="connsiteX2754" fmla="*/ 1770 w 10785"/>
                  <a:gd name="connsiteY2754" fmla="*/ 8325 h 10000"/>
                  <a:gd name="connsiteX2755" fmla="*/ 1770 w 10785"/>
                  <a:gd name="connsiteY2755" fmla="*/ 8350 h 10000"/>
                  <a:gd name="connsiteX2756" fmla="*/ 1779 w 10785"/>
                  <a:gd name="connsiteY2756" fmla="*/ 8368 h 10000"/>
                  <a:gd name="connsiteX2757" fmla="*/ 1783 w 10785"/>
                  <a:gd name="connsiteY2757" fmla="*/ 8359 h 10000"/>
                  <a:gd name="connsiteX2758" fmla="*/ 1783 w 10785"/>
                  <a:gd name="connsiteY2758" fmla="*/ 8308 h 10000"/>
                  <a:gd name="connsiteX2759" fmla="*/ 1779 w 10785"/>
                  <a:gd name="connsiteY2759" fmla="*/ 8299 h 10000"/>
                  <a:gd name="connsiteX2760" fmla="*/ 1783 w 10785"/>
                  <a:gd name="connsiteY2760" fmla="*/ 8282 h 10000"/>
                  <a:gd name="connsiteX2761" fmla="*/ 1797 w 10785"/>
                  <a:gd name="connsiteY2761" fmla="*/ 8274 h 10000"/>
                  <a:gd name="connsiteX2762" fmla="*/ 1797 w 10785"/>
                  <a:gd name="connsiteY2762" fmla="*/ 8299 h 10000"/>
                  <a:gd name="connsiteX2763" fmla="*/ 1806 w 10785"/>
                  <a:gd name="connsiteY2763" fmla="*/ 8308 h 10000"/>
                  <a:gd name="connsiteX2764" fmla="*/ 1811 w 10785"/>
                  <a:gd name="connsiteY2764" fmla="*/ 8325 h 10000"/>
                  <a:gd name="connsiteX2765" fmla="*/ 1820 w 10785"/>
                  <a:gd name="connsiteY2765" fmla="*/ 8333 h 10000"/>
                  <a:gd name="connsiteX2766" fmla="*/ 1853 w 10785"/>
                  <a:gd name="connsiteY2766" fmla="*/ 8359 h 10000"/>
                  <a:gd name="connsiteX2767" fmla="*/ 1866 w 10785"/>
                  <a:gd name="connsiteY2767" fmla="*/ 8359 h 10000"/>
                  <a:gd name="connsiteX2768" fmla="*/ 1885 w 10785"/>
                  <a:gd name="connsiteY2768" fmla="*/ 8325 h 10000"/>
                  <a:gd name="connsiteX2769" fmla="*/ 1885 w 10785"/>
                  <a:gd name="connsiteY2769" fmla="*/ 8308 h 10000"/>
                  <a:gd name="connsiteX2770" fmla="*/ 1894 w 10785"/>
                  <a:gd name="connsiteY2770" fmla="*/ 8299 h 10000"/>
                  <a:gd name="connsiteX2771" fmla="*/ 1899 w 10785"/>
                  <a:gd name="connsiteY2771" fmla="*/ 8282 h 10000"/>
                  <a:gd name="connsiteX2772" fmla="*/ 1912 w 10785"/>
                  <a:gd name="connsiteY2772" fmla="*/ 8282 h 10000"/>
                  <a:gd name="connsiteX2773" fmla="*/ 1917 w 10785"/>
                  <a:gd name="connsiteY2773" fmla="*/ 8299 h 10000"/>
                  <a:gd name="connsiteX2774" fmla="*/ 1917 w 10785"/>
                  <a:gd name="connsiteY2774" fmla="*/ 8274 h 10000"/>
                  <a:gd name="connsiteX2775" fmla="*/ 1940 w 10785"/>
                  <a:gd name="connsiteY2775" fmla="*/ 8282 h 10000"/>
                  <a:gd name="connsiteX2776" fmla="*/ 1945 w 10785"/>
                  <a:gd name="connsiteY2776" fmla="*/ 8274 h 10000"/>
                  <a:gd name="connsiteX2777" fmla="*/ 1972 w 10785"/>
                  <a:gd name="connsiteY2777" fmla="*/ 8308 h 10000"/>
                  <a:gd name="connsiteX2778" fmla="*/ 1986 w 10785"/>
                  <a:gd name="connsiteY2778" fmla="*/ 8282 h 10000"/>
                  <a:gd name="connsiteX2779" fmla="*/ 1991 w 10785"/>
                  <a:gd name="connsiteY2779" fmla="*/ 8274 h 10000"/>
                  <a:gd name="connsiteX2780" fmla="*/ 2014 w 10785"/>
                  <a:gd name="connsiteY2780" fmla="*/ 8274 h 10000"/>
                  <a:gd name="connsiteX2781" fmla="*/ 2018 w 10785"/>
                  <a:gd name="connsiteY2781" fmla="*/ 8256 h 10000"/>
                  <a:gd name="connsiteX2782" fmla="*/ 2041 w 10785"/>
                  <a:gd name="connsiteY2782" fmla="*/ 8274 h 10000"/>
                  <a:gd name="connsiteX2783" fmla="*/ 2046 w 10785"/>
                  <a:gd name="connsiteY2783" fmla="*/ 8282 h 10000"/>
                  <a:gd name="connsiteX2784" fmla="*/ 2046 w 10785"/>
                  <a:gd name="connsiteY2784" fmla="*/ 8325 h 10000"/>
                  <a:gd name="connsiteX2785" fmla="*/ 2060 w 10785"/>
                  <a:gd name="connsiteY2785" fmla="*/ 8350 h 10000"/>
                  <a:gd name="connsiteX2786" fmla="*/ 2078 w 10785"/>
                  <a:gd name="connsiteY2786" fmla="*/ 8350 h 10000"/>
                  <a:gd name="connsiteX2787" fmla="*/ 2092 w 10785"/>
                  <a:gd name="connsiteY2787" fmla="*/ 8350 h 10000"/>
                  <a:gd name="connsiteX2788" fmla="*/ 2092 w 10785"/>
                  <a:gd name="connsiteY2788" fmla="*/ 8350 h 10000"/>
                  <a:gd name="connsiteX2789" fmla="*/ 2101 w 10785"/>
                  <a:gd name="connsiteY2789" fmla="*/ 8368 h 10000"/>
                  <a:gd name="connsiteX2790" fmla="*/ 2120 w 10785"/>
                  <a:gd name="connsiteY2790" fmla="*/ 8368 h 10000"/>
                  <a:gd name="connsiteX2791" fmla="*/ 2124 w 10785"/>
                  <a:gd name="connsiteY2791" fmla="*/ 8359 h 10000"/>
                  <a:gd name="connsiteX2792" fmla="*/ 2138 w 10785"/>
                  <a:gd name="connsiteY2792" fmla="*/ 8325 h 10000"/>
                  <a:gd name="connsiteX2793" fmla="*/ 2147 w 10785"/>
                  <a:gd name="connsiteY2793" fmla="*/ 8325 h 10000"/>
                  <a:gd name="connsiteX2794" fmla="*/ 2161 w 10785"/>
                  <a:gd name="connsiteY2794" fmla="*/ 8350 h 10000"/>
                  <a:gd name="connsiteX2795" fmla="*/ 2198 w 10785"/>
                  <a:gd name="connsiteY2795" fmla="*/ 8350 h 10000"/>
                  <a:gd name="connsiteX2796" fmla="*/ 2207 w 10785"/>
                  <a:gd name="connsiteY2796" fmla="*/ 8333 h 10000"/>
                  <a:gd name="connsiteX2797" fmla="*/ 2226 w 10785"/>
                  <a:gd name="connsiteY2797" fmla="*/ 8325 h 10000"/>
                  <a:gd name="connsiteX2798" fmla="*/ 2249 w 10785"/>
                  <a:gd name="connsiteY2798" fmla="*/ 8222 h 10000"/>
                  <a:gd name="connsiteX2799" fmla="*/ 2235 w 10785"/>
                  <a:gd name="connsiteY2799" fmla="*/ 8197 h 10000"/>
                  <a:gd name="connsiteX2800" fmla="*/ 2198 w 10785"/>
                  <a:gd name="connsiteY2800" fmla="*/ 8197 h 10000"/>
                  <a:gd name="connsiteX2801" fmla="*/ 2189 w 10785"/>
                  <a:gd name="connsiteY2801" fmla="*/ 8171 h 10000"/>
                  <a:gd name="connsiteX2802" fmla="*/ 2161 w 10785"/>
                  <a:gd name="connsiteY2802" fmla="*/ 8145 h 10000"/>
                  <a:gd name="connsiteX2803" fmla="*/ 2161 w 10785"/>
                  <a:gd name="connsiteY2803" fmla="*/ 8137 h 10000"/>
                  <a:gd name="connsiteX2804" fmla="*/ 2152 w 10785"/>
                  <a:gd name="connsiteY2804" fmla="*/ 8120 h 10000"/>
                  <a:gd name="connsiteX2805" fmla="*/ 2138 w 10785"/>
                  <a:gd name="connsiteY2805" fmla="*/ 8111 h 10000"/>
                  <a:gd name="connsiteX2806" fmla="*/ 2138 w 10785"/>
                  <a:gd name="connsiteY2806" fmla="*/ 8094 h 10000"/>
                  <a:gd name="connsiteX2807" fmla="*/ 2147 w 10785"/>
                  <a:gd name="connsiteY2807" fmla="*/ 8085 h 10000"/>
                  <a:gd name="connsiteX2808" fmla="*/ 2161 w 10785"/>
                  <a:gd name="connsiteY2808" fmla="*/ 8060 h 10000"/>
                  <a:gd name="connsiteX2809" fmla="*/ 2198 w 10785"/>
                  <a:gd name="connsiteY2809" fmla="*/ 8034 h 10000"/>
                  <a:gd name="connsiteX2810" fmla="*/ 2198 w 10785"/>
                  <a:gd name="connsiteY2810" fmla="*/ 8026 h 10000"/>
                  <a:gd name="connsiteX2811" fmla="*/ 2198 w 10785"/>
                  <a:gd name="connsiteY2811" fmla="*/ 8000 h 10000"/>
                  <a:gd name="connsiteX2812" fmla="*/ 2180 w 10785"/>
                  <a:gd name="connsiteY2812" fmla="*/ 7940 h 10000"/>
                  <a:gd name="connsiteX2813" fmla="*/ 2189 w 10785"/>
                  <a:gd name="connsiteY2813" fmla="*/ 7940 h 10000"/>
                  <a:gd name="connsiteX2814" fmla="*/ 2198 w 10785"/>
                  <a:gd name="connsiteY2814" fmla="*/ 7923 h 10000"/>
                  <a:gd name="connsiteX2815" fmla="*/ 2198 w 10785"/>
                  <a:gd name="connsiteY2815" fmla="*/ 7897 h 10000"/>
                  <a:gd name="connsiteX2816" fmla="*/ 2207 w 10785"/>
                  <a:gd name="connsiteY2816" fmla="*/ 7889 h 10000"/>
                  <a:gd name="connsiteX2817" fmla="*/ 2221 w 10785"/>
                  <a:gd name="connsiteY2817" fmla="*/ 7889 h 10000"/>
                  <a:gd name="connsiteX2818" fmla="*/ 2226 w 10785"/>
                  <a:gd name="connsiteY2818" fmla="*/ 7897 h 10000"/>
                  <a:gd name="connsiteX2819" fmla="*/ 2235 w 10785"/>
                  <a:gd name="connsiteY2819" fmla="*/ 7889 h 10000"/>
                  <a:gd name="connsiteX2820" fmla="*/ 2249 w 10785"/>
                  <a:gd name="connsiteY2820" fmla="*/ 7897 h 10000"/>
                  <a:gd name="connsiteX2821" fmla="*/ 2267 w 10785"/>
                  <a:gd name="connsiteY2821" fmla="*/ 7897 h 10000"/>
                  <a:gd name="connsiteX2822" fmla="*/ 2272 w 10785"/>
                  <a:gd name="connsiteY2822" fmla="*/ 7889 h 10000"/>
                  <a:gd name="connsiteX2823" fmla="*/ 2281 w 10785"/>
                  <a:gd name="connsiteY2823" fmla="*/ 7872 h 10000"/>
                  <a:gd name="connsiteX2824" fmla="*/ 2272 w 10785"/>
                  <a:gd name="connsiteY2824" fmla="*/ 7846 h 10000"/>
                  <a:gd name="connsiteX2825" fmla="*/ 2253 w 10785"/>
                  <a:gd name="connsiteY2825" fmla="*/ 7838 h 10000"/>
                  <a:gd name="connsiteX2826" fmla="*/ 2221 w 10785"/>
                  <a:gd name="connsiteY2826" fmla="*/ 7821 h 10000"/>
                  <a:gd name="connsiteX2827" fmla="*/ 2212 w 10785"/>
                  <a:gd name="connsiteY2827" fmla="*/ 7812 h 10000"/>
                  <a:gd name="connsiteX2828" fmla="*/ 2212 w 10785"/>
                  <a:gd name="connsiteY2828" fmla="*/ 7803 h 10000"/>
                  <a:gd name="connsiteX2829" fmla="*/ 2221 w 10785"/>
                  <a:gd name="connsiteY2829" fmla="*/ 7803 h 10000"/>
                  <a:gd name="connsiteX2830" fmla="*/ 2235 w 10785"/>
                  <a:gd name="connsiteY2830" fmla="*/ 7786 h 10000"/>
                  <a:gd name="connsiteX2831" fmla="*/ 2240 w 10785"/>
                  <a:gd name="connsiteY2831" fmla="*/ 7778 h 10000"/>
                  <a:gd name="connsiteX2832" fmla="*/ 2226 w 10785"/>
                  <a:gd name="connsiteY2832" fmla="*/ 7761 h 10000"/>
                  <a:gd name="connsiteX2833" fmla="*/ 2221 w 10785"/>
                  <a:gd name="connsiteY2833" fmla="*/ 7778 h 10000"/>
                  <a:gd name="connsiteX2834" fmla="*/ 2198 w 10785"/>
                  <a:gd name="connsiteY2834" fmla="*/ 7778 h 10000"/>
                  <a:gd name="connsiteX2835" fmla="*/ 2198 w 10785"/>
                  <a:gd name="connsiteY2835" fmla="*/ 7752 h 10000"/>
                  <a:gd name="connsiteX2836" fmla="*/ 2207 w 10785"/>
                  <a:gd name="connsiteY2836" fmla="*/ 7735 h 10000"/>
                  <a:gd name="connsiteX2837" fmla="*/ 2212 w 10785"/>
                  <a:gd name="connsiteY2837" fmla="*/ 7726 h 10000"/>
                  <a:gd name="connsiteX2838" fmla="*/ 2198 w 10785"/>
                  <a:gd name="connsiteY2838" fmla="*/ 7692 h 10000"/>
                  <a:gd name="connsiteX2839" fmla="*/ 2221 w 10785"/>
                  <a:gd name="connsiteY2839" fmla="*/ 7692 h 10000"/>
                  <a:gd name="connsiteX2840" fmla="*/ 2221 w 10785"/>
                  <a:gd name="connsiteY2840" fmla="*/ 7675 h 10000"/>
                  <a:gd name="connsiteX2841" fmla="*/ 2235 w 10785"/>
                  <a:gd name="connsiteY2841" fmla="*/ 7675 h 10000"/>
                  <a:gd name="connsiteX2842" fmla="*/ 2240 w 10785"/>
                  <a:gd name="connsiteY2842" fmla="*/ 7692 h 10000"/>
                  <a:gd name="connsiteX2843" fmla="*/ 2249 w 10785"/>
                  <a:gd name="connsiteY2843" fmla="*/ 7692 h 10000"/>
                  <a:gd name="connsiteX2844" fmla="*/ 2258 w 10785"/>
                  <a:gd name="connsiteY2844" fmla="*/ 7692 h 10000"/>
                  <a:gd name="connsiteX2845" fmla="*/ 2267 w 10785"/>
                  <a:gd name="connsiteY2845" fmla="*/ 7692 h 10000"/>
                  <a:gd name="connsiteX2846" fmla="*/ 2295 w 10785"/>
                  <a:gd name="connsiteY2846" fmla="*/ 7692 h 10000"/>
                  <a:gd name="connsiteX2847" fmla="*/ 2300 w 10785"/>
                  <a:gd name="connsiteY2847" fmla="*/ 7701 h 10000"/>
                  <a:gd name="connsiteX2848" fmla="*/ 2313 w 10785"/>
                  <a:gd name="connsiteY2848" fmla="*/ 7675 h 10000"/>
                  <a:gd name="connsiteX2849" fmla="*/ 2323 w 10785"/>
                  <a:gd name="connsiteY2849" fmla="*/ 7675 h 10000"/>
                  <a:gd name="connsiteX2850" fmla="*/ 2341 w 10785"/>
                  <a:gd name="connsiteY2850" fmla="*/ 7675 h 10000"/>
                  <a:gd name="connsiteX2851" fmla="*/ 2346 w 10785"/>
                  <a:gd name="connsiteY2851" fmla="*/ 7667 h 10000"/>
                  <a:gd name="connsiteX2852" fmla="*/ 2359 w 10785"/>
                  <a:gd name="connsiteY2852" fmla="*/ 7650 h 10000"/>
                  <a:gd name="connsiteX2853" fmla="*/ 2373 w 10785"/>
                  <a:gd name="connsiteY2853" fmla="*/ 7624 h 10000"/>
                  <a:gd name="connsiteX2854" fmla="*/ 2382 w 10785"/>
                  <a:gd name="connsiteY2854" fmla="*/ 7641 h 10000"/>
                  <a:gd name="connsiteX2855" fmla="*/ 2396 w 10785"/>
                  <a:gd name="connsiteY2855" fmla="*/ 7650 h 10000"/>
                  <a:gd name="connsiteX2856" fmla="*/ 2401 w 10785"/>
                  <a:gd name="connsiteY2856" fmla="*/ 7650 h 10000"/>
                  <a:gd name="connsiteX2857" fmla="*/ 2401 w 10785"/>
                  <a:gd name="connsiteY2857" fmla="*/ 7624 h 10000"/>
                  <a:gd name="connsiteX2858" fmla="*/ 2419 w 10785"/>
                  <a:gd name="connsiteY2858" fmla="*/ 7624 h 10000"/>
                  <a:gd name="connsiteX2859" fmla="*/ 2433 w 10785"/>
                  <a:gd name="connsiteY2859" fmla="*/ 7615 h 10000"/>
                  <a:gd name="connsiteX2860" fmla="*/ 2442 w 10785"/>
                  <a:gd name="connsiteY2860" fmla="*/ 7615 h 10000"/>
                  <a:gd name="connsiteX2861" fmla="*/ 2447 w 10785"/>
                  <a:gd name="connsiteY2861" fmla="*/ 7598 h 10000"/>
                  <a:gd name="connsiteX2862" fmla="*/ 2461 w 10785"/>
                  <a:gd name="connsiteY2862" fmla="*/ 7598 h 10000"/>
                  <a:gd name="connsiteX2863" fmla="*/ 2465 w 10785"/>
                  <a:gd name="connsiteY2863" fmla="*/ 7615 h 10000"/>
                  <a:gd name="connsiteX2864" fmla="*/ 2479 w 10785"/>
                  <a:gd name="connsiteY2864" fmla="*/ 7564 h 10000"/>
                  <a:gd name="connsiteX2865" fmla="*/ 2488 w 10785"/>
                  <a:gd name="connsiteY2865" fmla="*/ 7556 h 10000"/>
                  <a:gd name="connsiteX2866" fmla="*/ 2493 w 10785"/>
                  <a:gd name="connsiteY2866" fmla="*/ 7556 h 10000"/>
                  <a:gd name="connsiteX2867" fmla="*/ 2507 w 10785"/>
                  <a:gd name="connsiteY2867" fmla="*/ 7556 h 10000"/>
                  <a:gd name="connsiteX2868" fmla="*/ 2530 w 10785"/>
                  <a:gd name="connsiteY2868" fmla="*/ 7538 h 10000"/>
                  <a:gd name="connsiteX2869" fmla="*/ 2530 w 10785"/>
                  <a:gd name="connsiteY2869" fmla="*/ 7556 h 10000"/>
                  <a:gd name="connsiteX2870" fmla="*/ 2641 w 10785"/>
                  <a:gd name="connsiteY2870" fmla="*/ 7504 h 10000"/>
                  <a:gd name="connsiteX2871" fmla="*/ 2654 w 10785"/>
                  <a:gd name="connsiteY2871" fmla="*/ 7487 h 10000"/>
                  <a:gd name="connsiteX2872" fmla="*/ 2664 w 10785"/>
                  <a:gd name="connsiteY2872" fmla="*/ 7487 h 10000"/>
                  <a:gd name="connsiteX2873" fmla="*/ 2668 w 10785"/>
                  <a:gd name="connsiteY2873" fmla="*/ 7479 h 10000"/>
                  <a:gd name="connsiteX2874" fmla="*/ 2673 w 10785"/>
                  <a:gd name="connsiteY2874" fmla="*/ 7462 h 10000"/>
                  <a:gd name="connsiteX2875" fmla="*/ 2673 w 10785"/>
                  <a:gd name="connsiteY2875" fmla="*/ 7427 h 10000"/>
                  <a:gd name="connsiteX2876" fmla="*/ 2687 w 10785"/>
                  <a:gd name="connsiteY2876" fmla="*/ 7436 h 10000"/>
                  <a:gd name="connsiteX2877" fmla="*/ 2696 w 10785"/>
                  <a:gd name="connsiteY2877" fmla="*/ 7427 h 10000"/>
                  <a:gd name="connsiteX2878" fmla="*/ 2700 w 10785"/>
                  <a:gd name="connsiteY2878" fmla="*/ 7419 h 10000"/>
                  <a:gd name="connsiteX2879" fmla="*/ 2710 w 10785"/>
                  <a:gd name="connsiteY2879" fmla="*/ 7402 h 10000"/>
                  <a:gd name="connsiteX2880" fmla="*/ 2724 w 10785"/>
                  <a:gd name="connsiteY2880" fmla="*/ 7402 h 10000"/>
                  <a:gd name="connsiteX2881" fmla="*/ 2724 w 10785"/>
                  <a:gd name="connsiteY2881" fmla="*/ 7393 h 10000"/>
                  <a:gd name="connsiteX2882" fmla="*/ 2737 w 10785"/>
                  <a:gd name="connsiteY2882" fmla="*/ 7393 h 10000"/>
                  <a:gd name="connsiteX2883" fmla="*/ 2742 w 10785"/>
                  <a:gd name="connsiteY2883" fmla="*/ 7402 h 10000"/>
                  <a:gd name="connsiteX2884" fmla="*/ 2747 w 10785"/>
                  <a:gd name="connsiteY2884" fmla="*/ 7402 h 10000"/>
                  <a:gd name="connsiteX2885" fmla="*/ 2760 w 10785"/>
                  <a:gd name="connsiteY2885" fmla="*/ 7402 h 10000"/>
                  <a:gd name="connsiteX2886" fmla="*/ 2770 w 10785"/>
                  <a:gd name="connsiteY2886" fmla="*/ 7402 h 10000"/>
                  <a:gd name="connsiteX2887" fmla="*/ 2774 w 10785"/>
                  <a:gd name="connsiteY2887" fmla="*/ 7402 h 10000"/>
                  <a:gd name="connsiteX2888" fmla="*/ 2783 w 10785"/>
                  <a:gd name="connsiteY2888" fmla="*/ 7419 h 10000"/>
                  <a:gd name="connsiteX2889" fmla="*/ 2802 w 10785"/>
                  <a:gd name="connsiteY2889" fmla="*/ 7436 h 10000"/>
                  <a:gd name="connsiteX2890" fmla="*/ 2816 w 10785"/>
                  <a:gd name="connsiteY2890" fmla="*/ 7419 h 10000"/>
                  <a:gd name="connsiteX2891" fmla="*/ 2834 w 10785"/>
                  <a:gd name="connsiteY2891" fmla="*/ 7419 h 10000"/>
                  <a:gd name="connsiteX2892" fmla="*/ 2843 w 10785"/>
                  <a:gd name="connsiteY2892" fmla="*/ 7419 h 10000"/>
                  <a:gd name="connsiteX2893" fmla="*/ 2848 w 10785"/>
                  <a:gd name="connsiteY2893" fmla="*/ 7436 h 10000"/>
                  <a:gd name="connsiteX2894" fmla="*/ 2857 w 10785"/>
                  <a:gd name="connsiteY2894" fmla="*/ 7453 h 10000"/>
                  <a:gd name="connsiteX2895" fmla="*/ 2857 w 10785"/>
                  <a:gd name="connsiteY2895" fmla="*/ 7504 h 10000"/>
                  <a:gd name="connsiteX2896" fmla="*/ 2862 w 10785"/>
                  <a:gd name="connsiteY2896" fmla="*/ 7530 h 10000"/>
                  <a:gd name="connsiteX2897" fmla="*/ 2876 w 10785"/>
                  <a:gd name="connsiteY2897" fmla="*/ 7538 h 10000"/>
                  <a:gd name="connsiteX2898" fmla="*/ 2871 w 10785"/>
                  <a:gd name="connsiteY2898" fmla="*/ 7564 h 10000"/>
                  <a:gd name="connsiteX2899" fmla="*/ 2871 w 10785"/>
                  <a:gd name="connsiteY2899" fmla="*/ 7598 h 10000"/>
                  <a:gd name="connsiteX2900" fmla="*/ 2857 w 10785"/>
                  <a:gd name="connsiteY2900" fmla="*/ 7624 h 10000"/>
                  <a:gd name="connsiteX2901" fmla="*/ 2862 w 10785"/>
                  <a:gd name="connsiteY2901" fmla="*/ 7641 h 10000"/>
                  <a:gd name="connsiteX2902" fmla="*/ 2871 w 10785"/>
                  <a:gd name="connsiteY2902" fmla="*/ 7667 h 10000"/>
                  <a:gd name="connsiteX2903" fmla="*/ 2880 w 10785"/>
                  <a:gd name="connsiteY2903" fmla="*/ 7650 h 10000"/>
                  <a:gd name="connsiteX2904" fmla="*/ 2894 w 10785"/>
                  <a:gd name="connsiteY2904" fmla="*/ 7667 h 10000"/>
                  <a:gd name="connsiteX2905" fmla="*/ 2903 w 10785"/>
                  <a:gd name="connsiteY2905" fmla="*/ 7667 h 10000"/>
                  <a:gd name="connsiteX2906" fmla="*/ 2908 w 10785"/>
                  <a:gd name="connsiteY2906" fmla="*/ 7641 h 10000"/>
                  <a:gd name="connsiteX2907" fmla="*/ 2917 w 10785"/>
                  <a:gd name="connsiteY2907" fmla="*/ 7641 h 10000"/>
                  <a:gd name="connsiteX2908" fmla="*/ 2922 w 10785"/>
                  <a:gd name="connsiteY2908" fmla="*/ 7641 h 10000"/>
                  <a:gd name="connsiteX2909" fmla="*/ 2931 w 10785"/>
                  <a:gd name="connsiteY2909" fmla="*/ 7615 h 10000"/>
                  <a:gd name="connsiteX2910" fmla="*/ 2935 w 10785"/>
                  <a:gd name="connsiteY2910" fmla="*/ 7615 h 10000"/>
                  <a:gd name="connsiteX2911" fmla="*/ 2945 w 10785"/>
                  <a:gd name="connsiteY2911" fmla="*/ 7650 h 10000"/>
                  <a:gd name="connsiteX2912" fmla="*/ 2949 w 10785"/>
                  <a:gd name="connsiteY2912" fmla="*/ 7667 h 10000"/>
                  <a:gd name="connsiteX2913" fmla="*/ 2949 w 10785"/>
                  <a:gd name="connsiteY2913" fmla="*/ 7675 h 10000"/>
                  <a:gd name="connsiteX2914" fmla="*/ 2945 w 10785"/>
                  <a:gd name="connsiteY2914" fmla="*/ 7692 h 10000"/>
                  <a:gd name="connsiteX2915" fmla="*/ 2963 w 10785"/>
                  <a:gd name="connsiteY2915" fmla="*/ 7701 h 10000"/>
                  <a:gd name="connsiteX2916" fmla="*/ 2963 w 10785"/>
                  <a:gd name="connsiteY2916" fmla="*/ 7675 h 10000"/>
                  <a:gd name="connsiteX2917" fmla="*/ 2954 w 10785"/>
                  <a:gd name="connsiteY2917" fmla="*/ 7667 h 10000"/>
                  <a:gd name="connsiteX2918" fmla="*/ 2963 w 10785"/>
                  <a:gd name="connsiteY2918" fmla="*/ 7667 h 10000"/>
                  <a:gd name="connsiteX2919" fmla="*/ 2982 w 10785"/>
                  <a:gd name="connsiteY2919" fmla="*/ 7667 h 10000"/>
                  <a:gd name="connsiteX2920" fmla="*/ 2991 w 10785"/>
                  <a:gd name="connsiteY2920" fmla="*/ 7675 h 10000"/>
                  <a:gd name="connsiteX2921" fmla="*/ 2995 w 10785"/>
                  <a:gd name="connsiteY2921" fmla="*/ 7692 h 10000"/>
                  <a:gd name="connsiteX2922" fmla="*/ 3009 w 10785"/>
                  <a:gd name="connsiteY2922" fmla="*/ 7701 h 10000"/>
                  <a:gd name="connsiteX2923" fmla="*/ 3018 w 10785"/>
                  <a:gd name="connsiteY2923" fmla="*/ 7701 h 10000"/>
                  <a:gd name="connsiteX2924" fmla="*/ 3023 w 10785"/>
                  <a:gd name="connsiteY2924" fmla="*/ 7692 h 10000"/>
                  <a:gd name="connsiteX2925" fmla="*/ 3028 w 10785"/>
                  <a:gd name="connsiteY2925" fmla="*/ 7675 h 10000"/>
                  <a:gd name="connsiteX2926" fmla="*/ 3037 w 10785"/>
                  <a:gd name="connsiteY2926" fmla="*/ 7692 h 10000"/>
                  <a:gd name="connsiteX2927" fmla="*/ 3028 w 10785"/>
                  <a:gd name="connsiteY2927" fmla="*/ 7709 h 10000"/>
                  <a:gd name="connsiteX2928" fmla="*/ 3023 w 10785"/>
                  <a:gd name="connsiteY2928" fmla="*/ 7709 h 10000"/>
                  <a:gd name="connsiteX2929" fmla="*/ 3018 w 10785"/>
                  <a:gd name="connsiteY2929" fmla="*/ 7726 h 10000"/>
                  <a:gd name="connsiteX2930" fmla="*/ 3009 w 10785"/>
                  <a:gd name="connsiteY2930" fmla="*/ 7735 h 10000"/>
                  <a:gd name="connsiteX2931" fmla="*/ 3009 w 10785"/>
                  <a:gd name="connsiteY2931" fmla="*/ 7761 h 10000"/>
                  <a:gd name="connsiteX2932" fmla="*/ 3009 w 10785"/>
                  <a:gd name="connsiteY2932" fmla="*/ 7778 h 10000"/>
                  <a:gd name="connsiteX2933" fmla="*/ 3018 w 10785"/>
                  <a:gd name="connsiteY2933" fmla="*/ 7786 h 10000"/>
                  <a:gd name="connsiteX2934" fmla="*/ 3023 w 10785"/>
                  <a:gd name="connsiteY2934" fmla="*/ 7786 h 10000"/>
                  <a:gd name="connsiteX2935" fmla="*/ 3028 w 10785"/>
                  <a:gd name="connsiteY2935" fmla="*/ 7778 h 10000"/>
                  <a:gd name="connsiteX2936" fmla="*/ 3051 w 10785"/>
                  <a:gd name="connsiteY2936" fmla="*/ 7761 h 10000"/>
                  <a:gd name="connsiteX2937" fmla="*/ 3055 w 10785"/>
                  <a:gd name="connsiteY2937" fmla="*/ 7778 h 10000"/>
                  <a:gd name="connsiteX2938" fmla="*/ 3065 w 10785"/>
                  <a:gd name="connsiteY2938" fmla="*/ 7761 h 10000"/>
                  <a:gd name="connsiteX2939" fmla="*/ 3069 w 10785"/>
                  <a:gd name="connsiteY2939" fmla="*/ 7786 h 10000"/>
                  <a:gd name="connsiteX2940" fmla="*/ 3083 w 10785"/>
                  <a:gd name="connsiteY2940" fmla="*/ 7786 h 10000"/>
                  <a:gd name="connsiteX2941" fmla="*/ 3078 w 10785"/>
                  <a:gd name="connsiteY2941" fmla="*/ 7761 h 10000"/>
                  <a:gd name="connsiteX2942" fmla="*/ 3083 w 10785"/>
                  <a:gd name="connsiteY2942" fmla="*/ 7752 h 10000"/>
                  <a:gd name="connsiteX2943" fmla="*/ 3097 w 10785"/>
                  <a:gd name="connsiteY2943" fmla="*/ 7752 h 10000"/>
                  <a:gd name="connsiteX2944" fmla="*/ 3111 w 10785"/>
                  <a:gd name="connsiteY2944" fmla="*/ 7726 h 10000"/>
                  <a:gd name="connsiteX2945" fmla="*/ 3124 w 10785"/>
                  <a:gd name="connsiteY2945" fmla="*/ 7709 h 10000"/>
                  <a:gd name="connsiteX2946" fmla="*/ 3143 w 10785"/>
                  <a:gd name="connsiteY2946" fmla="*/ 7692 h 10000"/>
                  <a:gd name="connsiteX2947" fmla="*/ 3152 w 10785"/>
                  <a:gd name="connsiteY2947" fmla="*/ 7667 h 10000"/>
                  <a:gd name="connsiteX2948" fmla="*/ 3157 w 10785"/>
                  <a:gd name="connsiteY2948" fmla="*/ 7650 h 10000"/>
                  <a:gd name="connsiteX2949" fmla="*/ 3161 w 10785"/>
                  <a:gd name="connsiteY2949" fmla="*/ 7650 h 10000"/>
                  <a:gd name="connsiteX2950" fmla="*/ 3189 w 10785"/>
                  <a:gd name="connsiteY2950" fmla="*/ 7641 h 10000"/>
                  <a:gd name="connsiteX2951" fmla="*/ 3198 w 10785"/>
                  <a:gd name="connsiteY2951" fmla="*/ 7624 h 10000"/>
                  <a:gd name="connsiteX2952" fmla="*/ 3217 w 10785"/>
                  <a:gd name="connsiteY2952" fmla="*/ 7615 h 10000"/>
                  <a:gd name="connsiteX2953" fmla="*/ 3235 w 10785"/>
                  <a:gd name="connsiteY2953" fmla="*/ 7598 h 10000"/>
                  <a:gd name="connsiteX2954" fmla="*/ 3235 w 10785"/>
                  <a:gd name="connsiteY2954" fmla="*/ 7615 h 10000"/>
                  <a:gd name="connsiteX2955" fmla="*/ 3235 w 10785"/>
                  <a:gd name="connsiteY2955" fmla="*/ 7641 h 10000"/>
                  <a:gd name="connsiteX2956" fmla="*/ 3235 w 10785"/>
                  <a:gd name="connsiteY2956" fmla="*/ 7650 h 10000"/>
                  <a:gd name="connsiteX2957" fmla="*/ 3226 w 10785"/>
                  <a:gd name="connsiteY2957" fmla="*/ 7650 h 10000"/>
                  <a:gd name="connsiteX2958" fmla="*/ 3217 w 10785"/>
                  <a:gd name="connsiteY2958" fmla="*/ 7650 h 10000"/>
                  <a:gd name="connsiteX2959" fmla="*/ 3212 w 10785"/>
                  <a:gd name="connsiteY2959" fmla="*/ 7675 h 10000"/>
                  <a:gd name="connsiteX2960" fmla="*/ 3212 w 10785"/>
                  <a:gd name="connsiteY2960" fmla="*/ 767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Lst>
                <a:rect l="l" t="t" r="r" b="b"/>
                <a:pathLst>
                  <a:path w="10785" h="10000">
                    <a:moveTo>
                      <a:pt x="3212" y="7675"/>
                    </a:moveTo>
                    <a:cubicBezTo>
                      <a:pt x="3214" y="7681"/>
                      <a:pt x="3215" y="7686"/>
                      <a:pt x="3217" y="7692"/>
                    </a:cubicBezTo>
                    <a:lnTo>
                      <a:pt x="3226" y="7692"/>
                    </a:lnTo>
                    <a:lnTo>
                      <a:pt x="3309" y="7838"/>
                    </a:lnTo>
                    <a:cubicBezTo>
                      <a:pt x="3357" y="8000"/>
                      <a:pt x="3404" y="8163"/>
                      <a:pt x="3452" y="8325"/>
                    </a:cubicBezTo>
                    <a:cubicBezTo>
                      <a:pt x="3458" y="8316"/>
                      <a:pt x="3464" y="8308"/>
                      <a:pt x="3470" y="8299"/>
                    </a:cubicBezTo>
                    <a:lnTo>
                      <a:pt x="3470" y="8282"/>
                    </a:lnTo>
                    <a:lnTo>
                      <a:pt x="3470" y="8274"/>
                    </a:lnTo>
                    <a:cubicBezTo>
                      <a:pt x="3475" y="8260"/>
                      <a:pt x="3479" y="8245"/>
                      <a:pt x="3484" y="8231"/>
                    </a:cubicBezTo>
                    <a:lnTo>
                      <a:pt x="3498" y="8231"/>
                    </a:lnTo>
                    <a:lnTo>
                      <a:pt x="3498" y="8248"/>
                    </a:lnTo>
                    <a:cubicBezTo>
                      <a:pt x="3503" y="8251"/>
                      <a:pt x="3507" y="8253"/>
                      <a:pt x="3512" y="8256"/>
                    </a:cubicBezTo>
                    <a:cubicBezTo>
                      <a:pt x="3516" y="8262"/>
                      <a:pt x="3521" y="8268"/>
                      <a:pt x="3525" y="8274"/>
                    </a:cubicBezTo>
                    <a:lnTo>
                      <a:pt x="3525" y="8282"/>
                    </a:lnTo>
                    <a:lnTo>
                      <a:pt x="3525" y="8308"/>
                    </a:lnTo>
                    <a:lnTo>
                      <a:pt x="3530" y="8308"/>
                    </a:lnTo>
                    <a:cubicBezTo>
                      <a:pt x="3533" y="8316"/>
                      <a:pt x="3536" y="8325"/>
                      <a:pt x="3539" y="8333"/>
                    </a:cubicBezTo>
                    <a:lnTo>
                      <a:pt x="3571" y="8333"/>
                    </a:lnTo>
                    <a:cubicBezTo>
                      <a:pt x="3577" y="8339"/>
                      <a:pt x="3584" y="8344"/>
                      <a:pt x="3590" y="8350"/>
                    </a:cubicBezTo>
                    <a:cubicBezTo>
                      <a:pt x="3593" y="8344"/>
                      <a:pt x="3596" y="8339"/>
                      <a:pt x="3599" y="8333"/>
                    </a:cubicBezTo>
                    <a:lnTo>
                      <a:pt x="3618" y="8333"/>
                    </a:lnTo>
                    <a:lnTo>
                      <a:pt x="3618" y="8325"/>
                    </a:lnTo>
                    <a:cubicBezTo>
                      <a:pt x="3621" y="8319"/>
                      <a:pt x="3624" y="8314"/>
                      <a:pt x="3627" y="8308"/>
                    </a:cubicBezTo>
                    <a:lnTo>
                      <a:pt x="3641" y="8308"/>
                    </a:lnTo>
                    <a:lnTo>
                      <a:pt x="3645" y="8308"/>
                    </a:lnTo>
                    <a:cubicBezTo>
                      <a:pt x="3647" y="8305"/>
                      <a:pt x="3648" y="8302"/>
                      <a:pt x="3650" y="8299"/>
                    </a:cubicBezTo>
                    <a:cubicBezTo>
                      <a:pt x="3653" y="8293"/>
                      <a:pt x="3656" y="8288"/>
                      <a:pt x="3659" y="8282"/>
                    </a:cubicBezTo>
                    <a:cubicBezTo>
                      <a:pt x="3665" y="8288"/>
                      <a:pt x="3671" y="8293"/>
                      <a:pt x="3677" y="8299"/>
                    </a:cubicBezTo>
                    <a:lnTo>
                      <a:pt x="3687" y="8299"/>
                    </a:lnTo>
                    <a:cubicBezTo>
                      <a:pt x="3688" y="8308"/>
                      <a:pt x="3690" y="8316"/>
                      <a:pt x="3691" y="8325"/>
                    </a:cubicBezTo>
                    <a:lnTo>
                      <a:pt x="3700" y="8325"/>
                    </a:lnTo>
                    <a:cubicBezTo>
                      <a:pt x="3705" y="8336"/>
                      <a:pt x="3709" y="8348"/>
                      <a:pt x="3714" y="8359"/>
                    </a:cubicBezTo>
                    <a:lnTo>
                      <a:pt x="3719" y="8359"/>
                    </a:lnTo>
                    <a:cubicBezTo>
                      <a:pt x="3721" y="8362"/>
                      <a:pt x="3722" y="8365"/>
                      <a:pt x="3724" y="8368"/>
                    </a:cubicBezTo>
                    <a:cubicBezTo>
                      <a:pt x="3722" y="8376"/>
                      <a:pt x="3721" y="8385"/>
                      <a:pt x="3719" y="8393"/>
                    </a:cubicBezTo>
                    <a:cubicBezTo>
                      <a:pt x="3721" y="8399"/>
                      <a:pt x="3722" y="8404"/>
                      <a:pt x="3724" y="8410"/>
                    </a:cubicBezTo>
                    <a:lnTo>
                      <a:pt x="3724" y="8436"/>
                    </a:lnTo>
                    <a:lnTo>
                      <a:pt x="3737" y="8436"/>
                    </a:lnTo>
                    <a:cubicBezTo>
                      <a:pt x="3746" y="8445"/>
                      <a:pt x="3756" y="8453"/>
                      <a:pt x="3765" y="8462"/>
                    </a:cubicBezTo>
                    <a:lnTo>
                      <a:pt x="3765" y="8470"/>
                    </a:lnTo>
                    <a:lnTo>
                      <a:pt x="3765" y="8496"/>
                    </a:lnTo>
                    <a:lnTo>
                      <a:pt x="3774" y="8496"/>
                    </a:lnTo>
                    <a:cubicBezTo>
                      <a:pt x="3776" y="8499"/>
                      <a:pt x="3777" y="8501"/>
                      <a:pt x="3779" y="8504"/>
                    </a:cubicBezTo>
                    <a:cubicBezTo>
                      <a:pt x="3784" y="8518"/>
                      <a:pt x="3788" y="8533"/>
                      <a:pt x="3793" y="8547"/>
                    </a:cubicBezTo>
                    <a:lnTo>
                      <a:pt x="3797" y="8547"/>
                    </a:lnTo>
                    <a:cubicBezTo>
                      <a:pt x="3805" y="8550"/>
                      <a:pt x="3812" y="8553"/>
                      <a:pt x="3820" y="8556"/>
                    </a:cubicBezTo>
                    <a:cubicBezTo>
                      <a:pt x="3825" y="8562"/>
                      <a:pt x="3829" y="8567"/>
                      <a:pt x="3834" y="8573"/>
                    </a:cubicBezTo>
                    <a:lnTo>
                      <a:pt x="3853" y="8573"/>
                    </a:lnTo>
                    <a:cubicBezTo>
                      <a:pt x="3854" y="8567"/>
                      <a:pt x="3856" y="8562"/>
                      <a:pt x="3857" y="8556"/>
                    </a:cubicBezTo>
                    <a:lnTo>
                      <a:pt x="3866" y="8547"/>
                    </a:lnTo>
                    <a:cubicBezTo>
                      <a:pt x="3871" y="8541"/>
                      <a:pt x="3875" y="8536"/>
                      <a:pt x="3880" y="8530"/>
                    </a:cubicBezTo>
                    <a:cubicBezTo>
                      <a:pt x="3882" y="8536"/>
                      <a:pt x="3883" y="8541"/>
                      <a:pt x="3885" y="8547"/>
                    </a:cubicBezTo>
                    <a:lnTo>
                      <a:pt x="3885" y="8573"/>
                    </a:lnTo>
                    <a:lnTo>
                      <a:pt x="3899" y="8573"/>
                    </a:lnTo>
                    <a:cubicBezTo>
                      <a:pt x="3902" y="8584"/>
                      <a:pt x="3905" y="8596"/>
                      <a:pt x="3908" y="8607"/>
                    </a:cubicBezTo>
                    <a:cubicBezTo>
                      <a:pt x="3909" y="8610"/>
                      <a:pt x="3911" y="8612"/>
                      <a:pt x="3912" y="8615"/>
                    </a:cubicBezTo>
                    <a:cubicBezTo>
                      <a:pt x="3915" y="8621"/>
                      <a:pt x="3919" y="8626"/>
                      <a:pt x="3922" y="8632"/>
                    </a:cubicBezTo>
                    <a:cubicBezTo>
                      <a:pt x="3917" y="8652"/>
                      <a:pt x="3913" y="8672"/>
                      <a:pt x="3908" y="8692"/>
                    </a:cubicBezTo>
                    <a:lnTo>
                      <a:pt x="3908" y="8692"/>
                    </a:lnTo>
                    <a:cubicBezTo>
                      <a:pt x="3916" y="8698"/>
                      <a:pt x="3923" y="8703"/>
                      <a:pt x="3931" y="8709"/>
                    </a:cubicBezTo>
                    <a:cubicBezTo>
                      <a:pt x="3939" y="8695"/>
                      <a:pt x="3946" y="8681"/>
                      <a:pt x="3954" y="8667"/>
                    </a:cubicBezTo>
                    <a:lnTo>
                      <a:pt x="3959" y="8667"/>
                    </a:lnTo>
                    <a:cubicBezTo>
                      <a:pt x="3963" y="8650"/>
                      <a:pt x="3968" y="8632"/>
                      <a:pt x="3972" y="8615"/>
                    </a:cubicBezTo>
                    <a:cubicBezTo>
                      <a:pt x="3980" y="8604"/>
                      <a:pt x="3987" y="8592"/>
                      <a:pt x="3995" y="8581"/>
                    </a:cubicBezTo>
                    <a:lnTo>
                      <a:pt x="4032" y="8556"/>
                    </a:lnTo>
                    <a:cubicBezTo>
                      <a:pt x="4067" y="8510"/>
                      <a:pt x="4103" y="8465"/>
                      <a:pt x="4138" y="8419"/>
                    </a:cubicBezTo>
                    <a:lnTo>
                      <a:pt x="4249" y="8359"/>
                    </a:lnTo>
                    <a:cubicBezTo>
                      <a:pt x="4264" y="8368"/>
                      <a:pt x="4280" y="8376"/>
                      <a:pt x="4295" y="8385"/>
                    </a:cubicBezTo>
                    <a:cubicBezTo>
                      <a:pt x="4300" y="8393"/>
                      <a:pt x="4304" y="8402"/>
                      <a:pt x="4309" y="8410"/>
                    </a:cubicBezTo>
                    <a:cubicBezTo>
                      <a:pt x="4324" y="8404"/>
                      <a:pt x="4340" y="8399"/>
                      <a:pt x="4355" y="8393"/>
                    </a:cubicBezTo>
                    <a:lnTo>
                      <a:pt x="4382" y="8393"/>
                    </a:lnTo>
                    <a:cubicBezTo>
                      <a:pt x="4394" y="8424"/>
                      <a:pt x="4407" y="8456"/>
                      <a:pt x="4419" y="8487"/>
                    </a:cubicBezTo>
                    <a:lnTo>
                      <a:pt x="4442" y="8487"/>
                    </a:lnTo>
                    <a:cubicBezTo>
                      <a:pt x="4459" y="8481"/>
                      <a:pt x="4476" y="8476"/>
                      <a:pt x="4493" y="8470"/>
                    </a:cubicBezTo>
                    <a:cubicBezTo>
                      <a:pt x="4501" y="8476"/>
                      <a:pt x="4508" y="8481"/>
                      <a:pt x="4516" y="8487"/>
                    </a:cubicBezTo>
                    <a:lnTo>
                      <a:pt x="4608" y="8470"/>
                    </a:lnTo>
                    <a:lnTo>
                      <a:pt x="4622" y="8470"/>
                    </a:lnTo>
                    <a:cubicBezTo>
                      <a:pt x="4621" y="8453"/>
                      <a:pt x="4619" y="8436"/>
                      <a:pt x="4618" y="8419"/>
                    </a:cubicBezTo>
                    <a:cubicBezTo>
                      <a:pt x="4619" y="8408"/>
                      <a:pt x="4621" y="8396"/>
                      <a:pt x="4622" y="8385"/>
                    </a:cubicBezTo>
                    <a:cubicBezTo>
                      <a:pt x="4627" y="8373"/>
                      <a:pt x="4631" y="8362"/>
                      <a:pt x="4636" y="8350"/>
                    </a:cubicBezTo>
                    <a:lnTo>
                      <a:pt x="4636" y="8325"/>
                    </a:lnTo>
                    <a:cubicBezTo>
                      <a:pt x="4631" y="8311"/>
                      <a:pt x="4627" y="8296"/>
                      <a:pt x="4622" y="8282"/>
                    </a:cubicBezTo>
                    <a:cubicBezTo>
                      <a:pt x="4621" y="8271"/>
                      <a:pt x="4619" y="8259"/>
                      <a:pt x="4618" y="8248"/>
                    </a:cubicBezTo>
                    <a:lnTo>
                      <a:pt x="4618" y="8214"/>
                    </a:lnTo>
                    <a:cubicBezTo>
                      <a:pt x="4642" y="8168"/>
                      <a:pt x="4667" y="8123"/>
                      <a:pt x="4691" y="8077"/>
                    </a:cubicBezTo>
                    <a:cubicBezTo>
                      <a:pt x="4694" y="8071"/>
                      <a:pt x="4697" y="8066"/>
                      <a:pt x="4700" y="8060"/>
                    </a:cubicBezTo>
                    <a:cubicBezTo>
                      <a:pt x="4709" y="8066"/>
                      <a:pt x="4719" y="8071"/>
                      <a:pt x="4728" y="8077"/>
                    </a:cubicBezTo>
                    <a:cubicBezTo>
                      <a:pt x="4736" y="8083"/>
                      <a:pt x="4743" y="8088"/>
                      <a:pt x="4751" y="8094"/>
                    </a:cubicBezTo>
                    <a:cubicBezTo>
                      <a:pt x="4763" y="8103"/>
                      <a:pt x="4776" y="8111"/>
                      <a:pt x="4788" y="8120"/>
                    </a:cubicBezTo>
                    <a:cubicBezTo>
                      <a:pt x="4793" y="8134"/>
                      <a:pt x="4797" y="8148"/>
                      <a:pt x="4802" y="8162"/>
                    </a:cubicBezTo>
                    <a:lnTo>
                      <a:pt x="4885" y="8197"/>
                    </a:lnTo>
                    <a:cubicBezTo>
                      <a:pt x="4886" y="8208"/>
                      <a:pt x="4888" y="8220"/>
                      <a:pt x="4889" y="8231"/>
                    </a:cubicBezTo>
                    <a:cubicBezTo>
                      <a:pt x="4892" y="8265"/>
                      <a:pt x="4896" y="8299"/>
                      <a:pt x="4899" y="8333"/>
                    </a:cubicBezTo>
                    <a:lnTo>
                      <a:pt x="4903" y="8333"/>
                    </a:lnTo>
                    <a:cubicBezTo>
                      <a:pt x="4918" y="8359"/>
                      <a:pt x="4934" y="8384"/>
                      <a:pt x="4949" y="8410"/>
                    </a:cubicBezTo>
                    <a:cubicBezTo>
                      <a:pt x="4963" y="8419"/>
                      <a:pt x="4977" y="8427"/>
                      <a:pt x="4991" y="8436"/>
                    </a:cubicBezTo>
                    <a:cubicBezTo>
                      <a:pt x="5002" y="8430"/>
                      <a:pt x="5012" y="8425"/>
                      <a:pt x="5023" y="8419"/>
                    </a:cubicBezTo>
                    <a:lnTo>
                      <a:pt x="5092" y="8359"/>
                    </a:lnTo>
                    <a:lnTo>
                      <a:pt x="5180" y="8410"/>
                    </a:lnTo>
                    <a:cubicBezTo>
                      <a:pt x="5183" y="8419"/>
                      <a:pt x="5186" y="8427"/>
                      <a:pt x="5189" y="8436"/>
                    </a:cubicBezTo>
                    <a:lnTo>
                      <a:pt x="5198" y="8436"/>
                    </a:lnTo>
                    <a:cubicBezTo>
                      <a:pt x="5207" y="8453"/>
                      <a:pt x="5217" y="8470"/>
                      <a:pt x="5226" y="8487"/>
                    </a:cubicBezTo>
                    <a:cubicBezTo>
                      <a:pt x="5243" y="8493"/>
                      <a:pt x="5259" y="8498"/>
                      <a:pt x="5276" y="8504"/>
                    </a:cubicBezTo>
                    <a:cubicBezTo>
                      <a:pt x="5281" y="8521"/>
                      <a:pt x="5285" y="8539"/>
                      <a:pt x="5290" y="8556"/>
                    </a:cubicBezTo>
                    <a:lnTo>
                      <a:pt x="5323" y="8598"/>
                    </a:lnTo>
                    <a:lnTo>
                      <a:pt x="5447" y="8615"/>
                    </a:lnTo>
                    <a:cubicBezTo>
                      <a:pt x="5453" y="8621"/>
                      <a:pt x="5459" y="8626"/>
                      <a:pt x="5465" y="8632"/>
                    </a:cubicBezTo>
                    <a:lnTo>
                      <a:pt x="5604" y="8556"/>
                    </a:lnTo>
                    <a:lnTo>
                      <a:pt x="5677" y="8462"/>
                    </a:lnTo>
                    <a:cubicBezTo>
                      <a:pt x="5686" y="8456"/>
                      <a:pt x="5696" y="8450"/>
                      <a:pt x="5705" y="8444"/>
                    </a:cubicBezTo>
                    <a:lnTo>
                      <a:pt x="5737" y="8470"/>
                    </a:lnTo>
                    <a:lnTo>
                      <a:pt x="5760" y="8496"/>
                    </a:lnTo>
                    <a:cubicBezTo>
                      <a:pt x="5769" y="8499"/>
                      <a:pt x="5779" y="8501"/>
                      <a:pt x="5788" y="8504"/>
                    </a:cubicBezTo>
                    <a:cubicBezTo>
                      <a:pt x="5794" y="8501"/>
                      <a:pt x="5800" y="8499"/>
                      <a:pt x="5806" y="8496"/>
                    </a:cubicBezTo>
                    <a:cubicBezTo>
                      <a:pt x="5811" y="8493"/>
                      <a:pt x="5815" y="8490"/>
                      <a:pt x="5820" y="8487"/>
                    </a:cubicBezTo>
                    <a:lnTo>
                      <a:pt x="5825" y="8487"/>
                    </a:lnTo>
                    <a:lnTo>
                      <a:pt x="5825" y="8487"/>
                    </a:lnTo>
                    <a:lnTo>
                      <a:pt x="5926" y="8556"/>
                    </a:lnTo>
                    <a:lnTo>
                      <a:pt x="5940" y="8556"/>
                    </a:lnTo>
                    <a:lnTo>
                      <a:pt x="6014" y="8470"/>
                    </a:lnTo>
                    <a:cubicBezTo>
                      <a:pt x="6015" y="8461"/>
                      <a:pt x="6017" y="8453"/>
                      <a:pt x="6018" y="8444"/>
                    </a:cubicBezTo>
                    <a:cubicBezTo>
                      <a:pt x="6017" y="8436"/>
                      <a:pt x="6015" y="8427"/>
                      <a:pt x="6014" y="8419"/>
                    </a:cubicBezTo>
                    <a:cubicBezTo>
                      <a:pt x="6015" y="8410"/>
                      <a:pt x="6017" y="8402"/>
                      <a:pt x="6018" y="8393"/>
                    </a:cubicBezTo>
                    <a:cubicBezTo>
                      <a:pt x="6026" y="8373"/>
                      <a:pt x="6033" y="8353"/>
                      <a:pt x="6041" y="8333"/>
                    </a:cubicBezTo>
                    <a:cubicBezTo>
                      <a:pt x="6050" y="8285"/>
                      <a:pt x="6060" y="8236"/>
                      <a:pt x="6069" y="8188"/>
                    </a:cubicBezTo>
                    <a:cubicBezTo>
                      <a:pt x="6075" y="8179"/>
                      <a:pt x="6082" y="8171"/>
                      <a:pt x="6088" y="8162"/>
                    </a:cubicBezTo>
                    <a:cubicBezTo>
                      <a:pt x="6097" y="8139"/>
                      <a:pt x="6106" y="8117"/>
                      <a:pt x="6115" y="8094"/>
                    </a:cubicBezTo>
                    <a:lnTo>
                      <a:pt x="6115" y="8094"/>
                    </a:lnTo>
                    <a:cubicBezTo>
                      <a:pt x="6112" y="8088"/>
                      <a:pt x="6109" y="8083"/>
                      <a:pt x="6106" y="8077"/>
                    </a:cubicBezTo>
                    <a:lnTo>
                      <a:pt x="6106" y="8009"/>
                    </a:lnTo>
                    <a:cubicBezTo>
                      <a:pt x="6104" y="8006"/>
                      <a:pt x="6103" y="8003"/>
                      <a:pt x="6101" y="8000"/>
                    </a:cubicBezTo>
                    <a:lnTo>
                      <a:pt x="6069" y="8009"/>
                    </a:lnTo>
                    <a:lnTo>
                      <a:pt x="6069" y="8000"/>
                    </a:lnTo>
                    <a:lnTo>
                      <a:pt x="6069" y="7974"/>
                    </a:lnTo>
                    <a:cubicBezTo>
                      <a:pt x="6080" y="7957"/>
                      <a:pt x="6090" y="7940"/>
                      <a:pt x="6101" y="7923"/>
                    </a:cubicBezTo>
                    <a:cubicBezTo>
                      <a:pt x="6103" y="7912"/>
                      <a:pt x="6104" y="7900"/>
                      <a:pt x="6106" y="7889"/>
                    </a:cubicBezTo>
                    <a:lnTo>
                      <a:pt x="6129" y="7863"/>
                    </a:lnTo>
                    <a:lnTo>
                      <a:pt x="6300" y="7812"/>
                    </a:lnTo>
                    <a:cubicBezTo>
                      <a:pt x="6320" y="7832"/>
                      <a:pt x="6339" y="7852"/>
                      <a:pt x="6359" y="7872"/>
                    </a:cubicBezTo>
                    <a:cubicBezTo>
                      <a:pt x="6364" y="7878"/>
                      <a:pt x="6368" y="7883"/>
                      <a:pt x="6373" y="7889"/>
                    </a:cubicBezTo>
                    <a:lnTo>
                      <a:pt x="6401" y="7889"/>
                    </a:lnTo>
                    <a:lnTo>
                      <a:pt x="6433" y="7915"/>
                    </a:lnTo>
                    <a:cubicBezTo>
                      <a:pt x="6442" y="7935"/>
                      <a:pt x="6452" y="7954"/>
                      <a:pt x="6461" y="7974"/>
                    </a:cubicBezTo>
                    <a:lnTo>
                      <a:pt x="6461" y="8000"/>
                    </a:lnTo>
                    <a:cubicBezTo>
                      <a:pt x="6469" y="8011"/>
                      <a:pt x="6476" y="8023"/>
                      <a:pt x="6484" y="8034"/>
                    </a:cubicBezTo>
                    <a:lnTo>
                      <a:pt x="6484" y="8051"/>
                    </a:lnTo>
                    <a:lnTo>
                      <a:pt x="6484" y="8034"/>
                    </a:lnTo>
                    <a:cubicBezTo>
                      <a:pt x="6509" y="8171"/>
                      <a:pt x="6533" y="8307"/>
                      <a:pt x="6558" y="8444"/>
                    </a:cubicBezTo>
                    <a:lnTo>
                      <a:pt x="6558" y="8462"/>
                    </a:lnTo>
                    <a:lnTo>
                      <a:pt x="6558" y="8462"/>
                    </a:lnTo>
                    <a:cubicBezTo>
                      <a:pt x="6559" y="8490"/>
                      <a:pt x="6561" y="8519"/>
                      <a:pt x="6562" y="8547"/>
                    </a:cubicBezTo>
                    <a:cubicBezTo>
                      <a:pt x="6567" y="8556"/>
                      <a:pt x="6571" y="8564"/>
                      <a:pt x="6576" y="8573"/>
                    </a:cubicBezTo>
                    <a:cubicBezTo>
                      <a:pt x="6585" y="8576"/>
                      <a:pt x="6595" y="8578"/>
                      <a:pt x="6604" y="8581"/>
                    </a:cubicBezTo>
                    <a:cubicBezTo>
                      <a:pt x="6613" y="8573"/>
                      <a:pt x="6622" y="8564"/>
                      <a:pt x="6631" y="8556"/>
                    </a:cubicBezTo>
                    <a:lnTo>
                      <a:pt x="6691" y="8607"/>
                    </a:lnTo>
                    <a:cubicBezTo>
                      <a:pt x="6703" y="8627"/>
                      <a:pt x="6716" y="8647"/>
                      <a:pt x="6728" y="8667"/>
                    </a:cubicBezTo>
                    <a:cubicBezTo>
                      <a:pt x="6733" y="8673"/>
                      <a:pt x="6737" y="8678"/>
                      <a:pt x="6742" y="8684"/>
                    </a:cubicBezTo>
                    <a:lnTo>
                      <a:pt x="6765" y="8684"/>
                    </a:lnTo>
                    <a:lnTo>
                      <a:pt x="6765" y="8709"/>
                    </a:lnTo>
                    <a:lnTo>
                      <a:pt x="6765" y="8709"/>
                    </a:lnTo>
                    <a:lnTo>
                      <a:pt x="6770" y="8709"/>
                    </a:lnTo>
                    <a:lnTo>
                      <a:pt x="6770" y="8744"/>
                    </a:lnTo>
                    <a:cubicBezTo>
                      <a:pt x="6773" y="8752"/>
                      <a:pt x="6776" y="8761"/>
                      <a:pt x="6779" y="8769"/>
                    </a:cubicBezTo>
                    <a:lnTo>
                      <a:pt x="6779" y="8846"/>
                    </a:lnTo>
                    <a:lnTo>
                      <a:pt x="6797" y="8906"/>
                    </a:lnTo>
                    <a:lnTo>
                      <a:pt x="6816" y="8906"/>
                    </a:lnTo>
                    <a:lnTo>
                      <a:pt x="6843" y="8915"/>
                    </a:lnTo>
                    <a:cubicBezTo>
                      <a:pt x="6849" y="8912"/>
                      <a:pt x="6856" y="8909"/>
                      <a:pt x="6862" y="8906"/>
                    </a:cubicBezTo>
                    <a:cubicBezTo>
                      <a:pt x="6886" y="8880"/>
                      <a:pt x="6911" y="8855"/>
                      <a:pt x="6935" y="8829"/>
                    </a:cubicBezTo>
                    <a:lnTo>
                      <a:pt x="6963" y="8829"/>
                    </a:lnTo>
                    <a:lnTo>
                      <a:pt x="7046" y="8769"/>
                    </a:lnTo>
                    <a:lnTo>
                      <a:pt x="7046" y="8769"/>
                    </a:lnTo>
                    <a:cubicBezTo>
                      <a:pt x="7041" y="8780"/>
                      <a:pt x="7037" y="8792"/>
                      <a:pt x="7032" y="8803"/>
                    </a:cubicBezTo>
                    <a:lnTo>
                      <a:pt x="7032" y="8846"/>
                    </a:lnTo>
                    <a:cubicBezTo>
                      <a:pt x="7034" y="8857"/>
                      <a:pt x="7035" y="8869"/>
                      <a:pt x="7037" y="8880"/>
                    </a:cubicBezTo>
                    <a:lnTo>
                      <a:pt x="7037" y="8932"/>
                    </a:lnTo>
                    <a:cubicBezTo>
                      <a:pt x="7026" y="8949"/>
                      <a:pt x="7016" y="8966"/>
                      <a:pt x="7005" y="8983"/>
                    </a:cubicBezTo>
                    <a:cubicBezTo>
                      <a:pt x="6996" y="9051"/>
                      <a:pt x="6986" y="9120"/>
                      <a:pt x="6977" y="9188"/>
                    </a:cubicBezTo>
                    <a:cubicBezTo>
                      <a:pt x="6963" y="9231"/>
                      <a:pt x="6949" y="9273"/>
                      <a:pt x="6935" y="9316"/>
                    </a:cubicBezTo>
                    <a:cubicBezTo>
                      <a:pt x="6934" y="9333"/>
                      <a:pt x="6932" y="9351"/>
                      <a:pt x="6931" y="9368"/>
                    </a:cubicBezTo>
                    <a:cubicBezTo>
                      <a:pt x="6926" y="9371"/>
                      <a:pt x="6922" y="9373"/>
                      <a:pt x="6917" y="9376"/>
                    </a:cubicBezTo>
                    <a:lnTo>
                      <a:pt x="6912" y="9376"/>
                    </a:lnTo>
                    <a:lnTo>
                      <a:pt x="6848" y="9342"/>
                    </a:lnTo>
                    <a:cubicBezTo>
                      <a:pt x="6828" y="9373"/>
                      <a:pt x="6808" y="9405"/>
                      <a:pt x="6788" y="9436"/>
                    </a:cubicBezTo>
                    <a:cubicBezTo>
                      <a:pt x="6793" y="9445"/>
                      <a:pt x="6797" y="9453"/>
                      <a:pt x="6802" y="9462"/>
                    </a:cubicBezTo>
                    <a:cubicBezTo>
                      <a:pt x="6805" y="9530"/>
                      <a:pt x="6808" y="9599"/>
                      <a:pt x="6811" y="9667"/>
                    </a:cubicBezTo>
                    <a:cubicBezTo>
                      <a:pt x="6803" y="9681"/>
                      <a:pt x="6796" y="9695"/>
                      <a:pt x="6788" y="9709"/>
                    </a:cubicBezTo>
                    <a:cubicBezTo>
                      <a:pt x="6780" y="9723"/>
                      <a:pt x="6773" y="9738"/>
                      <a:pt x="6765" y="9752"/>
                    </a:cubicBezTo>
                    <a:lnTo>
                      <a:pt x="6765" y="9803"/>
                    </a:lnTo>
                    <a:cubicBezTo>
                      <a:pt x="6767" y="9809"/>
                      <a:pt x="6768" y="9815"/>
                      <a:pt x="6770" y="9821"/>
                    </a:cubicBezTo>
                    <a:lnTo>
                      <a:pt x="6779" y="9812"/>
                    </a:lnTo>
                    <a:lnTo>
                      <a:pt x="6779" y="9803"/>
                    </a:lnTo>
                    <a:cubicBezTo>
                      <a:pt x="6776" y="9797"/>
                      <a:pt x="6773" y="9792"/>
                      <a:pt x="6770" y="9786"/>
                    </a:cubicBezTo>
                    <a:lnTo>
                      <a:pt x="6811" y="9786"/>
                    </a:lnTo>
                    <a:cubicBezTo>
                      <a:pt x="6813" y="9778"/>
                      <a:pt x="6814" y="9769"/>
                      <a:pt x="6816" y="9761"/>
                    </a:cubicBezTo>
                    <a:lnTo>
                      <a:pt x="6825" y="9752"/>
                    </a:lnTo>
                    <a:lnTo>
                      <a:pt x="6825" y="9726"/>
                    </a:lnTo>
                    <a:cubicBezTo>
                      <a:pt x="6831" y="9718"/>
                      <a:pt x="6837" y="9709"/>
                      <a:pt x="6843" y="9701"/>
                    </a:cubicBezTo>
                    <a:cubicBezTo>
                      <a:pt x="6845" y="9684"/>
                      <a:pt x="6846" y="9667"/>
                      <a:pt x="6848" y="9650"/>
                    </a:cubicBezTo>
                    <a:lnTo>
                      <a:pt x="6848" y="9675"/>
                    </a:lnTo>
                    <a:lnTo>
                      <a:pt x="6862" y="9675"/>
                    </a:lnTo>
                    <a:cubicBezTo>
                      <a:pt x="6860" y="9684"/>
                      <a:pt x="6859" y="9692"/>
                      <a:pt x="6857" y="9701"/>
                    </a:cubicBezTo>
                    <a:lnTo>
                      <a:pt x="6857" y="9701"/>
                    </a:lnTo>
                    <a:cubicBezTo>
                      <a:pt x="6863" y="9695"/>
                      <a:pt x="6870" y="9690"/>
                      <a:pt x="6876" y="9684"/>
                    </a:cubicBezTo>
                    <a:lnTo>
                      <a:pt x="6885" y="9675"/>
                    </a:lnTo>
                    <a:lnTo>
                      <a:pt x="6876" y="9735"/>
                    </a:lnTo>
                    <a:cubicBezTo>
                      <a:pt x="6879" y="9741"/>
                      <a:pt x="6882" y="9746"/>
                      <a:pt x="6885" y="9752"/>
                    </a:cubicBezTo>
                    <a:lnTo>
                      <a:pt x="6903" y="9752"/>
                    </a:lnTo>
                    <a:cubicBezTo>
                      <a:pt x="6908" y="9755"/>
                      <a:pt x="6912" y="9758"/>
                      <a:pt x="6917" y="9761"/>
                    </a:cubicBezTo>
                    <a:lnTo>
                      <a:pt x="6917" y="9761"/>
                    </a:lnTo>
                    <a:cubicBezTo>
                      <a:pt x="6919" y="9767"/>
                      <a:pt x="6920" y="9772"/>
                      <a:pt x="6922" y="9778"/>
                    </a:cubicBezTo>
                    <a:lnTo>
                      <a:pt x="6945" y="9778"/>
                    </a:lnTo>
                    <a:cubicBezTo>
                      <a:pt x="6954" y="9769"/>
                      <a:pt x="6963" y="9761"/>
                      <a:pt x="6972" y="9752"/>
                    </a:cubicBezTo>
                    <a:lnTo>
                      <a:pt x="6977" y="9752"/>
                    </a:lnTo>
                    <a:lnTo>
                      <a:pt x="7069" y="9624"/>
                    </a:lnTo>
                    <a:cubicBezTo>
                      <a:pt x="7078" y="9598"/>
                      <a:pt x="7088" y="9573"/>
                      <a:pt x="7097" y="9547"/>
                    </a:cubicBezTo>
                    <a:cubicBezTo>
                      <a:pt x="7100" y="9541"/>
                      <a:pt x="7103" y="9536"/>
                      <a:pt x="7106" y="9530"/>
                    </a:cubicBezTo>
                    <a:lnTo>
                      <a:pt x="7124" y="9479"/>
                    </a:lnTo>
                    <a:cubicBezTo>
                      <a:pt x="7129" y="9473"/>
                      <a:pt x="7133" y="9468"/>
                      <a:pt x="7138" y="9462"/>
                    </a:cubicBezTo>
                    <a:lnTo>
                      <a:pt x="7378" y="8795"/>
                    </a:lnTo>
                    <a:lnTo>
                      <a:pt x="7392" y="8795"/>
                    </a:lnTo>
                    <a:cubicBezTo>
                      <a:pt x="7395" y="8786"/>
                      <a:pt x="7398" y="8778"/>
                      <a:pt x="7401" y="8769"/>
                    </a:cubicBezTo>
                    <a:cubicBezTo>
                      <a:pt x="7403" y="8743"/>
                      <a:pt x="7404" y="8718"/>
                      <a:pt x="7406" y="8692"/>
                    </a:cubicBezTo>
                    <a:lnTo>
                      <a:pt x="7406" y="8667"/>
                    </a:lnTo>
                    <a:cubicBezTo>
                      <a:pt x="7410" y="8644"/>
                      <a:pt x="7415" y="8621"/>
                      <a:pt x="7419" y="8598"/>
                    </a:cubicBezTo>
                    <a:lnTo>
                      <a:pt x="7419" y="8496"/>
                    </a:lnTo>
                    <a:cubicBezTo>
                      <a:pt x="7421" y="8487"/>
                      <a:pt x="7422" y="8479"/>
                      <a:pt x="7424" y="8470"/>
                    </a:cubicBezTo>
                    <a:lnTo>
                      <a:pt x="7424" y="8462"/>
                    </a:lnTo>
                    <a:lnTo>
                      <a:pt x="7419" y="8462"/>
                    </a:lnTo>
                    <a:cubicBezTo>
                      <a:pt x="7416" y="8425"/>
                      <a:pt x="7413" y="8387"/>
                      <a:pt x="7410" y="8350"/>
                    </a:cubicBezTo>
                    <a:cubicBezTo>
                      <a:pt x="7413" y="8342"/>
                      <a:pt x="7416" y="8333"/>
                      <a:pt x="7419" y="8325"/>
                    </a:cubicBezTo>
                    <a:cubicBezTo>
                      <a:pt x="7421" y="8299"/>
                      <a:pt x="7422" y="8274"/>
                      <a:pt x="7424" y="8248"/>
                    </a:cubicBezTo>
                    <a:lnTo>
                      <a:pt x="7433" y="8248"/>
                    </a:lnTo>
                    <a:lnTo>
                      <a:pt x="7433" y="8231"/>
                    </a:lnTo>
                    <a:lnTo>
                      <a:pt x="7433" y="8222"/>
                    </a:lnTo>
                    <a:lnTo>
                      <a:pt x="7433" y="8214"/>
                    </a:lnTo>
                    <a:cubicBezTo>
                      <a:pt x="7438" y="8197"/>
                      <a:pt x="7442" y="8179"/>
                      <a:pt x="7447" y="8162"/>
                    </a:cubicBezTo>
                    <a:lnTo>
                      <a:pt x="7461" y="8162"/>
                    </a:lnTo>
                    <a:cubicBezTo>
                      <a:pt x="7466" y="8145"/>
                      <a:pt x="7470" y="8128"/>
                      <a:pt x="7475" y="8111"/>
                    </a:cubicBezTo>
                    <a:lnTo>
                      <a:pt x="7475" y="8085"/>
                    </a:lnTo>
                    <a:cubicBezTo>
                      <a:pt x="7476" y="8077"/>
                      <a:pt x="7478" y="8068"/>
                      <a:pt x="7479" y="8060"/>
                    </a:cubicBezTo>
                    <a:lnTo>
                      <a:pt x="7452" y="8009"/>
                    </a:lnTo>
                    <a:cubicBezTo>
                      <a:pt x="7456" y="7997"/>
                      <a:pt x="7461" y="7986"/>
                      <a:pt x="7465" y="7974"/>
                    </a:cubicBezTo>
                    <a:cubicBezTo>
                      <a:pt x="7461" y="7957"/>
                      <a:pt x="7456" y="7940"/>
                      <a:pt x="7452" y="7923"/>
                    </a:cubicBezTo>
                    <a:cubicBezTo>
                      <a:pt x="7446" y="7912"/>
                      <a:pt x="7439" y="7900"/>
                      <a:pt x="7433" y="7889"/>
                    </a:cubicBezTo>
                    <a:lnTo>
                      <a:pt x="7419" y="7889"/>
                    </a:lnTo>
                    <a:cubicBezTo>
                      <a:pt x="7413" y="7880"/>
                      <a:pt x="7407" y="7872"/>
                      <a:pt x="7401" y="7863"/>
                    </a:cubicBezTo>
                    <a:lnTo>
                      <a:pt x="7387" y="7863"/>
                    </a:lnTo>
                    <a:lnTo>
                      <a:pt x="7373" y="7863"/>
                    </a:lnTo>
                    <a:cubicBezTo>
                      <a:pt x="7378" y="7857"/>
                      <a:pt x="7382" y="7852"/>
                      <a:pt x="7387" y="7846"/>
                    </a:cubicBezTo>
                    <a:lnTo>
                      <a:pt x="7401" y="7846"/>
                    </a:lnTo>
                    <a:cubicBezTo>
                      <a:pt x="7404" y="7852"/>
                      <a:pt x="7407" y="7857"/>
                      <a:pt x="7410" y="7863"/>
                    </a:cubicBezTo>
                    <a:cubicBezTo>
                      <a:pt x="7415" y="7866"/>
                      <a:pt x="7419" y="7869"/>
                      <a:pt x="7424" y="7872"/>
                    </a:cubicBezTo>
                    <a:lnTo>
                      <a:pt x="7433" y="7863"/>
                    </a:lnTo>
                    <a:lnTo>
                      <a:pt x="7461" y="7897"/>
                    </a:lnTo>
                    <a:cubicBezTo>
                      <a:pt x="7462" y="7894"/>
                      <a:pt x="7464" y="7892"/>
                      <a:pt x="7465" y="7889"/>
                    </a:cubicBezTo>
                    <a:cubicBezTo>
                      <a:pt x="7468" y="7880"/>
                      <a:pt x="7472" y="7872"/>
                      <a:pt x="7475" y="7863"/>
                    </a:cubicBezTo>
                    <a:lnTo>
                      <a:pt x="7475" y="7838"/>
                    </a:lnTo>
                    <a:lnTo>
                      <a:pt x="7465" y="7838"/>
                    </a:lnTo>
                    <a:lnTo>
                      <a:pt x="7406" y="7752"/>
                    </a:lnTo>
                    <a:cubicBezTo>
                      <a:pt x="7404" y="7746"/>
                      <a:pt x="7403" y="7741"/>
                      <a:pt x="7401" y="7735"/>
                    </a:cubicBezTo>
                    <a:lnTo>
                      <a:pt x="7401" y="7701"/>
                    </a:lnTo>
                    <a:lnTo>
                      <a:pt x="7378" y="7675"/>
                    </a:lnTo>
                    <a:cubicBezTo>
                      <a:pt x="7376" y="7672"/>
                      <a:pt x="7375" y="7670"/>
                      <a:pt x="7373" y="7667"/>
                    </a:cubicBezTo>
                    <a:cubicBezTo>
                      <a:pt x="7370" y="7661"/>
                      <a:pt x="7367" y="7656"/>
                      <a:pt x="7364" y="7650"/>
                    </a:cubicBezTo>
                    <a:lnTo>
                      <a:pt x="7364" y="7641"/>
                    </a:lnTo>
                    <a:lnTo>
                      <a:pt x="7350" y="7641"/>
                    </a:lnTo>
                    <a:cubicBezTo>
                      <a:pt x="7345" y="7644"/>
                      <a:pt x="7341" y="7647"/>
                      <a:pt x="7336" y="7650"/>
                    </a:cubicBezTo>
                    <a:lnTo>
                      <a:pt x="7327" y="7650"/>
                    </a:lnTo>
                    <a:lnTo>
                      <a:pt x="7300" y="7641"/>
                    </a:lnTo>
                    <a:lnTo>
                      <a:pt x="7300" y="7675"/>
                    </a:lnTo>
                    <a:lnTo>
                      <a:pt x="7300" y="7692"/>
                    </a:lnTo>
                    <a:cubicBezTo>
                      <a:pt x="7295" y="7723"/>
                      <a:pt x="7291" y="7755"/>
                      <a:pt x="7286" y="7786"/>
                    </a:cubicBezTo>
                    <a:cubicBezTo>
                      <a:pt x="7281" y="7792"/>
                      <a:pt x="7277" y="7797"/>
                      <a:pt x="7272" y="7803"/>
                    </a:cubicBezTo>
                    <a:cubicBezTo>
                      <a:pt x="7273" y="7789"/>
                      <a:pt x="7275" y="7775"/>
                      <a:pt x="7276" y="7761"/>
                    </a:cubicBezTo>
                    <a:cubicBezTo>
                      <a:pt x="7279" y="7752"/>
                      <a:pt x="7283" y="7744"/>
                      <a:pt x="7286" y="7735"/>
                    </a:cubicBezTo>
                    <a:cubicBezTo>
                      <a:pt x="7283" y="7726"/>
                      <a:pt x="7279" y="7718"/>
                      <a:pt x="7276" y="7709"/>
                    </a:cubicBezTo>
                    <a:cubicBezTo>
                      <a:pt x="7270" y="7726"/>
                      <a:pt x="7264" y="7744"/>
                      <a:pt x="7258" y="7761"/>
                    </a:cubicBezTo>
                    <a:cubicBezTo>
                      <a:pt x="7244" y="7769"/>
                      <a:pt x="7231" y="7778"/>
                      <a:pt x="7217" y="7786"/>
                    </a:cubicBezTo>
                    <a:lnTo>
                      <a:pt x="7203" y="7786"/>
                    </a:lnTo>
                    <a:cubicBezTo>
                      <a:pt x="7201" y="7783"/>
                      <a:pt x="7200" y="7781"/>
                      <a:pt x="7198" y="7778"/>
                    </a:cubicBezTo>
                    <a:cubicBezTo>
                      <a:pt x="7203" y="7772"/>
                      <a:pt x="7207" y="7767"/>
                      <a:pt x="7212" y="7761"/>
                    </a:cubicBezTo>
                    <a:cubicBezTo>
                      <a:pt x="7218" y="7749"/>
                      <a:pt x="7224" y="7738"/>
                      <a:pt x="7230" y="7726"/>
                    </a:cubicBezTo>
                    <a:cubicBezTo>
                      <a:pt x="7229" y="7720"/>
                      <a:pt x="7227" y="7715"/>
                      <a:pt x="7226" y="7709"/>
                    </a:cubicBezTo>
                    <a:cubicBezTo>
                      <a:pt x="7221" y="7706"/>
                      <a:pt x="7217" y="7704"/>
                      <a:pt x="7212" y="7701"/>
                    </a:cubicBezTo>
                    <a:cubicBezTo>
                      <a:pt x="7209" y="7692"/>
                      <a:pt x="7206" y="7684"/>
                      <a:pt x="7203" y="7675"/>
                    </a:cubicBezTo>
                    <a:lnTo>
                      <a:pt x="7217" y="7675"/>
                    </a:lnTo>
                    <a:cubicBezTo>
                      <a:pt x="7220" y="7667"/>
                      <a:pt x="7223" y="7658"/>
                      <a:pt x="7226" y="7650"/>
                    </a:cubicBezTo>
                    <a:lnTo>
                      <a:pt x="7226" y="7641"/>
                    </a:lnTo>
                    <a:lnTo>
                      <a:pt x="7203" y="7641"/>
                    </a:lnTo>
                    <a:cubicBezTo>
                      <a:pt x="7201" y="7644"/>
                      <a:pt x="7200" y="7647"/>
                      <a:pt x="7198" y="7650"/>
                    </a:cubicBezTo>
                    <a:cubicBezTo>
                      <a:pt x="7197" y="7658"/>
                      <a:pt x="7195" y="7667"/>
                      <a:pt x="7194" y="7675"/>
                    </a:cubicBezTo>
                    <a:cubicBezTo>
                      <a:pt x="7195" y="7681"/>
                      <a:pt x="7197" y="7686"/>
                      <a:pt x="7198" y="7692"/>
                    </a:cubicBezTo>
                    <a:lnTo>
                      <a:pt x="7198" y="7709"/>
                    </a:lnTo>
                    <a:cubicBezTo>
                      <a:pt x="7193" y="7715"/>
                      <a:pt x="7189" y="7720"/>
                      <a:pt x="7184" y="7726"/>
                    </a:cubicBezTo>
                    <a:lnTo>
                      <a:pt x="7180" y="7726"/>
                    </a:lnTo>
                    <a:cubicBezTo>
                      <a:pt x="7177" y="7735"/>
                      <a:pt x="7174" y="7743"/>
                      <a:pt x="7171" y="7752"/>
                    </a:cubicBezTo>
                    <a:cubicBezTo>
                      <a:pt x="7169" y="7746"/>
                      <a:pt x="7168" y="7741"/>
                      <a:pt x="7166" y="7735"/>
                    </a:cubicBezTo>
                    <a:cubicBezTo>
                      <a:pt x="7168" y="7698"/>
                      <a:pt x="7169" y="7661"/>
                      <a:pt x="7171" y="7624"/>
                    </a:cubicBezTo>
                    <a:lnTo>
                      <a:pt x="7171" y="7615"/>
                    </a:lnTo>
                    <a:lnTo>
                      <a:pt x="7171" y="7590"/>
                    </a:lnTo>
                    <a:cubicBezTo>
                      <a:pt x="7169" y="7581"/>
                      <a:pt x="7168" y="7573"/>
                      <a:pt x="7166" y="7564"/>
                    </a:cubicBezTo>
                    <a:lnTo>
                      <a:pt x="7157" y="7564"/>
                    </a:lnTo>
                    <a:lnTo>
                      <a:pt x="7097" y="7573"/>
                    </a:lnTo>
                    <a:lnTo>
                      <a:pt x="7065" y="7538"/>
                    </a:lnTo>
                    <a:cubicBezTo>
                      <a:pt x="7066" y="7527"/>
                      <a:pt x="7068" y="7515"/>
                      <a:pt x="7069" y="7504"/>
                    </a:cubicBezTo>
                    <a:cubicBezTo>
                      <a:pt x="7081" y="7487"/>
                      <a:pt x="7094" y="7470"/>
                      <a:pt x="7106" y="7453"/>
                    </a:cubicBezTo>
                    <a:cubicBezTo>
                      <a:pt x="7108" y="7447"/>
                      <a:pt x="7109" y="7442"/>
                      <a:pt x="7111" y="7436"/>
                    </a:cubicBezTo>
                    <a:cubicBezTo>
                      <a:pt x="7120" y="7425"/>
                      <a:pt x="7129" y="7413"/>
                      <a:pt x="7138" y="7402"/>
                    </a:cubicBezTo>
                    <a:cubicBezTo>
                      <a:pt x="7140" y="7393"/>
                      <a:pt x="7141" y="7385"/>
                      <a:pt x="7143" y="7376"/>
                    </a:cubicBezTo>
                    <a:cubicBezTo>
                      <a:pt x="7146" y="7373"/>
                      <a:pt x="7149" y="7371"/>
                      <a:pt x="7152" y="7368"/>
                    </a:cubicBezTo>
                    <a:cubicBezTo>
                      <a:pt x="7154" y="7362"/>
                      <a:pt x="7155" y="7356"/>
                      <a:pt x="7157" y="7350"/>
                    </a:cubicBezTo>
                    <a:cubicBezTo>
                      <a:pt x="7181" y="7313"/>
                      <a:pt x="7206" y="7276"/>
                      <a:pt x="7230" y="7239"/>
                    </a:cubicBezTo>
                    <a:cubicBezTo>
                      <a:pt x="7233" y="7228"/>
                      <a:pt x="7237" y="7216"/>
                      <a:pt x="7240" y="7205"/>
                    </a:cubicBezTo>
                    <a:cubicBezTo>
                      <a:pt x="7244" y="7199"/>
                      <a:pt x="7249" y="7194"/>
                      <a:pt x="7253" y="7188"/>
                    </a:cubicBezTo>
                    <a:cubicBezTo>
                      <a:pt x="7255" y="7179"/>
                      <a:pt x="7256" y="7171"/>
                      <a:pt x="7258" y="7162"/>
                    </a:cubicBezTo>
                    <a:lnTo>
                      <a:pt x="7258" y="7154"/>
                    </a:lnTo>
                    <a:cubicBezTo>
                      <a:pt x="7263" y="7143"/>
                      <a:pt x="7267" y="7131"/>
                      <a:pt x="7272" y="7120"/>
                    </a:cubicBezTo>
                    <a:cubicBezTo>
                      <a:pt x="7273" y="7111"/>
                      <a:pt x="7275" y="7103"/>
                      <a:pt x="7276" y="7094"/>
                    </a:cubicBezTo>
                    <a:lnTo>
                      <a:pt x="7286" y="7094"/>
                    </a:lnTo>
                    <a:cubicBezTo>
                      <a:pt x="7287" y="7085"/>
                      <a:pt x="7289" y="7077"/>
                      <a:pt x="7290" y="7068"/>
                    </a:cubicBezTo>
                    <a:cubicBezTo>
                      <a:pt x="7304" y="7042"/>
                      <a:pt x="7318" y="7017"/>
                      <a:pt x="7332" y="6991"/>
                    </a:cubicBezTo>
                    <a:lnTo>
                      <a:pt x="7336" y="6991"/>
                    </a:lnTo>
                    <a:cubicBezTo>
                      <a:pt x="7345" y="6974"/>
                      <a:pt x="7355" y="6957"/>
                      <a:pt x="7364" y="6940"/>
                    </a:cubicBezTo>
                    <a:cubicBezTo>
                      <a:pt x="7367" y="6929"/>
                      <a:pt x="7370" y="6917"/>
                      <a:pt x="7373" y="6906"/>
                    </a:cubicBezTo>
                    <a:cubicBezTo>
                      <a:pt x="7375" y="6909"/>
                      <a:pt x="7376" y="6912"/>
                      <a:pt x="7378" y="6915"/>
                    </a:cubicBezTo>
                    <a:cubicBezTo>
                      <a:pt x="7387" y="6903"/>
                      <a:pt x="7397" y="6892"/>
                      <a:pt x="7406" y="6880"/>
                    </a:cubicBezTo>
                    <a:cubicBezTo>
                      <a:pt x="7407" y="6869"/>
                      <a:pt x="7409" y="6857"/>
                      <a:pt x="7410" y="6846"/>
                    </a:cubicBezTo>
                    <a:cubicBezTo>
                      <a:pt x="7413" y="6832"/>
                      <a:pt x="7416" y="6817"/>
                      <a:pt x="7419" y="6803"/>
                    </a:cubicBezTo>
                    <a:cubicBezTo>
                      <a:pt x="7474" y="6703"/>
                      <a:pt x="7530" y="6604"/>
                      <a:pt x="7585" y="6504"/>
                    </a:cubicBezTo>
                    <a:lnTo>
                      <a:pt x="7765" y="6504"/>
                    </a:lnTo>
                    <a:lnTo>
                      <a:pt x="7765" y="6530"/>
                    </a:lnTo>
                    <a:cubicBezTo>
                      <a:pt x="7768" y="6539"/>
                      <a:pt x="7771" y="6547"/>
                      <a:pt x="7774" y="6556"/>
                    </a:cubicBezTo>
                    <a:lnTo>
                      <a:pt x="7779" y="6556"/>
                    </a:lnTo>
                    <a:cubicBezTo>
                      <a:pt x="7784" y="6553"/>
                      <a:pt x="7788" y="6550"/>
                      <a:pt x="7793" y="6547"/>
                    </a:cubicBezTo>
                    <a:lnTo>
                      <a:pt x="7793" y="6530"/>
                    </a:lnTo>
                    <a:cubicBezTo>
                      <a:pt x="7796" y="6519"/>
                      <a:pt x="7799" y="6507"/>
                      <a:pt x="7802" y="6496"/>
                    </a:cubicBezTo>
                    <a:cubicBezTo>
                      <a:pt x="7803" y="6493"/>
                      <a:pt x="7805" y="6490"/>
                      <a:pt x="7806" y="6487"/>
                    </a:cubicBezTo>
                    <a:lnTo>
                      <a:pt x="7876" y="6530"/>
                    </a:lnTo>
                    <a:lnTo>
                      <a:pt x="7894" y="6530"/>
                    </a:lnTo>
                    <a:lnTo>
                      <a:pt x="7894" y="6504"/>
                    </a:lnTo>
                    <a:lnTo>
                      <a:pt x="7899" y="6504"/>
                    </a:lnTo>
                    <a:lnTo>
                      <a:pt x="7926" y="6504"/>
                    </a:lnTo>
                    <a:cubicBezTo>
                      <a:pt x="7931" y="6518"/>
                      <a:pt x="7935" y="6533"/>
                      <a:pt x="7940" y="6547"/>
                    </a:cubicBezTo>
                    <a:lnTo>
                      <a:pt x="7949" y="6547"/>
                    </a:lnTo>
                    <a:cubicBezTo>
                      <a:pt x="7954" y="6541"/>
                      <a:pt x="7958" y="6536"/>
                      <a:pt x="7963" y="6530"/>
                    </a:cubicBezTo>
                    <a:lnTo>
                      <a:pt x="7963" y="6504"/>
                    </a:lnTo>
                    <a:lnTo>
                      <a:pt x="7963" y="6504"/>
                    </a:lnTo>
                    <a:cubicBezTo>
                      <a:pt x="7960" y="6501"/>
                      <a:pt x="7957" y="6499"/>
                      <a:pt x="7954" y="6496"/>
                    </a:cubicBezTo>
                    <a:lnTo>
                      <a:pt x="7963" y="6487"/>
                    </a:lnTo>
                    <a:lnTo>
                      <a:pt x="7982" y="6487"/>
                    </a:lnTo>
                    <a:lnTo>
                      <a:pt x="7982" y="6470"/>
                    </a:lnTo>
                    <a:cubicBezTo>
                      <a:pt x="7979" y="6467"/>
                      <a:pt x="7975" y="6465"/>
                      <a:pt x="7972" y="6462"/>
                    </a:cubicBezTo>
                    <a:lnTo>
                      <a:pt x="7972" y="6436"/>
                    </a:lnTo>
                    <a:cubicBezTo>
                      <a:pt x="7977" y="6430"/>
                      <a:pt x="7981" y="6425"/>
                      <a:pt x="7986" y="6419"/>
                    </a:cubicBezTo>
                    <a:lnTo>
                      <a:pt x="8000" y="6419"/>
                    </a:lnTo>
                    <a:lnTo>
                      <a:pt x="8055" y="6462"/>
                    </a:lnTo>
                    <a:cubicBezTo>
                      <a:pt x="8060" y="6456"/>
                      <a:pt x="8064" y="6450"/>
                      <a:pt x="8069" y="6444"/>
                    </a:cubicBezTo>
                    <a:cubicBezTo>
                      <a:pt x="8074" y="6453"/>
                      <a:pt x="8078" y="6461"/>
                      <a:pt x="8083" y="6470"/>
                    </a:cubicBezTo>
                    <a:lnTo>
                      <a:pt x="8083" y="6487"/>
                    </a:lnTo>
                    <a:lnTo>
                      <a:pt x="8097" y="6487"/>
                    </a:lnTo>
                    <a:cubicBezTo>
                      <a:pt x="8098" y="6479"/>
                      <a:pt x="8100" y="6470"/>
                      <a:pt x="8101" y="6462"/>
                    </a:cubicBezTo>
                    <a:lnTo>
                      <a:pt x="8115" y="6462"/>
                    </a:lnTo>
                    <a:lnTo>
                      <a:pt x="8129" y="6462"/>
                    </a:lnTo>
                    <a:lnTo>
                      <a:pt x="8157" y="6496"/>
                    </a:lnTo>
                    <a:lnTo>
                      <a:pt x="8157" y="6521"/>
                    </a:lnTo>
                    <a:cubicBezTo>
                      <a:pt x="8165" y="6524"/>
                      <a:pt x="8172" y="6527"/>
                      <a:pt x="8180" y="6530"/>
                    </a:cubicBezTo>
                    <a:lnTo>
                      <a:pt x="8180" y="6547"/>
                    </a:lnTo>
                    <a:lnTo>
                      <a:pt x="8171" y="6556"/>
                    </a:lnTo>
                    <a:lnTo>
                      <a:pt x="8129" y="6556"/>
                    </a:lnTo>
                    <a:cubicBezTo>
                      <a:pt x="8121" y="6562"/>
                      <a:pt x="8114" y="6567"/>
                      <a:pt x="8106" y="6573"/>
                    </a:cubicBezTo>
                    <a:cubicBezTo>
                      <a:pt x="8109" y="6576"/>
                      <a:pt x="8112" y="6578"/>
                      <a:pt x="8115" y="6581"/>
                    </a:cubicBezTo>
                    <a:cubicBezTo>
                      <a:pt x="8120" y="6598"/>
                      <a:pt x="8124" y="6615"/>
                      <a:pt x="8129" y="6632"/>
                    </a:cubicBezTo>
                    <a:lnTo>
                      <a:pt x="8171" y="6632"/>
                    </a:lnTo>
                    <a:cubicBezTo>
                      <a:pt x="8174" y="6629"/>
                      <a:pt x="8177" y="6627"/>
                      <a:pt x="8180" y="6624"/>
                    </a:cubicBezTo>
                    <a:cubicBezTo>
                      <a:pt x="8183" y="6615"/>
                      <a:pt x="8186" y="6607"/>
                      <a:pt x="8189" y="6598"/>
                    </a:cubicBezTo>
                    <a:cubicBezTo>
                      <a:pt x="8194" y="6592"/>
                      <a:pt x="8198" y="6587"/>
                      <a:pt x="8203" y="6581"/>
                    </a:cubicBezTo>
                    <a:cubicBezTo>
                      <a:pt x="8204" y="6590"/>
                      <a:pt x="8206" y="6598"/>
                      <a:pt x="8207" y="6607"/>
                    </a:cubicBezTo>
                    <a:cubicBezTo>
                      <a:pt x="8212" y="6613"/>
                      <a:pt x="8216" y="6618"/>
                      <a:pt x="8221" y="6624"/>
                    </a:cubicBezTo>
                    <a:cubicBezTo>
                      <a:pt x="8226" y="6618"/>
                      <a:pt x="8230" y="6613"/>
                      <a:pt x="8235" y="6607"/>
                    </a:cubicBezTo>
                    <a:cubicBezTo>
                      <a:pt x="8237" y="6598"/>
                      <a:pt x="8238" y="6590"/>
                      <a:pt x="8240" y="6581"/>
                    </a:cubicBezTo>
                    <a:cubicBezTo>
                      <a:pt x="8244" y="6578"/>
                      <a:pt x="8249" y="6576"/>
                      <a:pt x="8253" y="6573"/>
                    </a:cubicBezTo>
                    <a:cubicBezTo>
                      <a:pt x="8256" y="6567"/>
                      <a:pt x="8260" y="6562"/>
                      <a:pt x="8263" y="6556"/>
                    </a:cubicBezTo>
                    <a:cubicBezTo>
                      <a:pt x="8267" y="6553"/>
                      <a:pt x="8272" y="6550"/>
                      <a:pt x="8276" y="6547"/>
                    </a:cubicBezTo>
                    <a:cubicBezTo>
                      <a:pt x="8281" y="6550"/>
                      <a:pt x="8285" y="6553"/>
                      <a:pt x="8290" y="6556"/>
                    </a:cubicBezTo>
                    <a:cubicBezTo>
                      <a:pt x="8295" y="6564"/>
                      <a:pt x="8299" y="6573"/>
                      <a:pt x="8304" y="6581"/>
                    </a:cubicBezTo>
                    <a:lnTo>
                      <a:pt x="8309" y="6581"/>
                    </a:lnTo>
                    <a:cubicBezTo>
                      <a:pt x="8315" y="6578"/>
                      <a:pt x="8321" y="6576"/>
                      <a:pt x="8327" y="6573"/>
                    </a:cubicBezTo>
                    <a:lnTo>
                      <a:pt x="8327" y="6556"/>
                    </a:lnTo>
                    <a:lnTo>
                      <a:pt x="8350" y="6556"/>
                    </a:lnTo>
                    <a:cubicBezTo>
                      <a:pt x="8352" y="6562"/>
                      <a:pt x="8353" y="6567"/>
                      <a:pt x="8355" y="6573"/>
                    </a:cubicBezTo>
                    <a:cubicBezTo>
                      <a:pt x="8358" y="6567"/>
                      <a:pt x="8361" y="6562"/>
                      <a:pt x="8364" y="6556"/>
                    </a:cubicBezTo>
                    <a:lnTo>
                      <a:pt x="8369" y="6556"/>
                    </a:lnTo>
                    <a:cubicBezTo>
                      <a:pt x="8372" y="6547"/>
                      <a:pt x="8375" y="6539"/>
                      <a:pt x="8378" y="6530"/>
                    </a:cubicBezTo>
                    <a:cubicBezTo>
                      <a:pt x="8375" y="6521"/>
                      <a:pt x="8372" y="6513"/>
                      <a:pt x="8369" y="6504"/>
                    </a:cubicBezTo>
                    <a:cubicBezTo>
                      <a:pt x="8367" y="6501"/>
                      <a:pt x="8366" y="6499"/>
                      <a:pt x="8364" y="6496"/>
                    </a:cubicBezTo>
                    <a:cubicBezTo>
                      <a:pt x="8355" y="6487"/>
                      <a:pt x="8345" y="6479"/>
                      <a:pt x="8336" y="6470"/>
                    </a:cubicBezTo>
                    <a:cubicBezTo>
                      <a:pt x="8327" y="6476"/>
                      <a:pt x="8318" y="6481"/>
                      <a:pt x="8309" y="6487"/>
                    </a:cubicBezTo>
                    <a:cubicBezTo>
                      <a:pt x="8310" y="6479"/>
                      <a:pt x="8312" y="6470"/>
                      <a:pt x="8313" y="6462"/>
                    </a:cubicBezTo>
                    <a:cubicBezTo>
                      <a:pt x="8316" y="6456"/>
                      <a:pt x="8320" y="6450"/>
                      <a:pt x="8323" y="6444"/>
                    </a:cubicBezTo>
                    <a:cubicBezTo>
                      <a:pt x="8318" y="6427"/>
                      <a:pt x="8314" y="6410"/>
                      <a:pt x="8309" y="6393"/>
                    </a:cubicBezTo>
                    <a:cubicBezTo>
                      <a:pt x="8310" y="6390"/>
                      <a:pt x="8312" y="6388"/>
                      <a:pt x="8313" y="6385"/>
                    </a:cubicBezTo>
                    <a:cubicBezTo>
                      <a:pt x="8316" y="6388"/>
                      <a:pt x="8320" y="6390"/>
                      <a:pt x="8323" y="6393"/>
                    </a:cubicBezTo>
                    <a:lnTo>
                      <a:pt x="8323" y="6393"/>
                    </a:lnTo>
                    <a:cubicBezTo>
                      <a:pt x="8334" y="6356"/>
                      <a:pt x="8344" y="6319"/>
                      <a:pt x="8355" y="6282"/>
                    </a:cubicBezTo>
                    <a:cubicBezTo>
                      <a:pt x="8360" y="6273"/>
                      <a:pt x="8364" y="6265"/>
                      <a:pt x="8369" y="6256"/>
                    </a:cubicBezTo>
                    <a:cubicBezTo>
                      <a:pt x="8373" y="6253"/>
                      <a:pt x="8378" y="6251"/>
                      <a:pt x="8382" y="6248"/>
                    </a:cubicBezTo>
                    <a:cubicBezTo>
                      <a:pt x="8396" y="6219"/>
                      <a:pt x="8410" y="6191"/>
                      <a:pt x="8424" y="6162"/>
                    </a:cubicBezTo>
                    <a:cubicBezTo>
                      <a:pt x="8426" y="6156"/>
                      <a:pt x="8427" y="6151"/>
                      <a:pt x="8429" y="6145"/>
                    </a:cubicBezTo>
                    <a:cubicBezTo>
                      <a:pt x="8443" y="6114"/>
                      <a:pt x="8456" y="6082"/>
                      <a:pt x="8470" y="6051"/>
                    </a:cubicBezTo>
                    <a:cubicBezTo>
                      <a:pt x="8472" y="6028"/>
                      <a:pt x="8473" y="6006"/>
                      <a:pt x="8475" y="5983"/>
                    </a:cubicBezTo>
                    <a:lnTo>
                      <a:pt x="8512" y="5940"/>
                    </a:lnTo>
                    <a:cubicBezTo>
                      <a:pt x="8515" y="5934"/>
                      <a:pt x="8518" y="5929"/>
                      <a:pt x="8521" y="5923"/>
                    </a:cubicBezTo>
                    <a:cubicBezTo>
                      <a:pt x="8526" y="5920"/>
                      <a:pt x="8530" y="5918"/>
                      <a:pt x="8535" y="5915"/>
                    </a:cubicBezTo>
                    <a:lnTo>
                      <a:pt x="8562" y="5915"/>
                    </a:lnTo>
                    <a:lnTo>
                      <a:pt x="8618" y="5889"/>
                    </a:lnTo>
                    <a:lnTo>
                      <a:pt x="8622" y="5889"/>
                    </a:lnTo>
                    <a:lnTo>
                      <a:pt x="8622" y="5872"/>
                    </a:lnTo>
                    <a:lnTo>
                      <a:pt x="8636" y="5872"/>
                    </a:lnTo>
                    <a:cubicBezTo>
                      <a:pt x="8641" y="5878"/>
                      <a:pt x="8645" y="5883"/>
                      <a:pt x="8650" y="5889"/>
                    </a:cubicBezTo>
                    <a:cubicBezTo>
                      <a:pt x="8653" y="5898"/>
                      <a:pt x="8656" y="5906"/>
                      <a:pt x="8659" y="5915"/>
                    </a:cubicBezTo>
                    <a:cubicBezTo>
                      <a:pt x="8661" y="5923"/>
                      <a:pt x="8662" y="5932"/>
                      <a:pt x="8664" y="5940"/>
                    </a:cubicBezTo>
                    <a:cubicBezTo>
                      <a:pt x="8670" y="5934"/>
                      <a:pt x="8676" y="5929"/>
                      <a:pt x="8682" y="5923"/>
                    </a:cubicBezTo>
                    <a:cubicBezTo>
                      <a:pt x="8694" y="5903"/>
                      <a:pt x="8707" y="5883"/>
                      <a:pt x="8719" y="5863"/>
                    </a:cubicBezTo>
                    <a:cubicBezTo>
                      <a:pt x="8714" y="5897"/>
                      <a:pt x="8710" y="5932"/>
                      <a:pt x="8705" y="5966"/>
                    </a:cubicBezTo>
                    <a:cubicBezTo>
                      <a:pt x="8702" y="5972"/>
                      <a:pt x="8699" y="5977"/>
                      <a:pt x="8696" y="5983"/>
                    </a:cubicBezTo>
                    <a:cubicBezTo>
                      <a:pt x="8691" y="5997"/>
                      <a:pt x="8687" y="6012"/>
                      <a:pt x="8682" y="6026"/>
                    </a:cubicBezTo>
                    <a:lnTo>
                      <a:pt x="8682" y="6051"/>
                    </a:lnTo>
                    <a:cubicBezTo>
                      <a:pt x="8685" y="6060"/>
                      <a:pt x="8688" y="6068"/>
                      <a:pt x="8691" y="6077"/>
                    </a:cubicBezTo>
                    <a:lnTo>
                      <a:pt x="8691" y="6085"/>
                    </a:lnTo>
                    <a:lnTo>
                      <a:pt x="8682" y="6103"/>
                    </a:lnTo>
                    <a:lnTo>
                      <a:pt x="8682" y="6111"/>
                    </a:lnTo>
                    <a:lnTo>
                      <a:pt x="8691" y="6120"/>
                    </a:lnTo>
                    <a:cubicBezTo>
                      <a:pt x="8700" y="6114"/>
                      <a:pt x="8710" y="6109"/>
                      <a:pt x="8719" y="6103"/>
                    </a:cubicBezTo>
                    <a:cubicBezTo>
                      <a:pt x="8714" y="6131"/>
                      <a:pt x="8710" y="6160"/>
                      <a:pt x="8705" y="6188"/>
                    </a:cubicBezTo>
                    <a:lnTo>
                      <a:pt x="8705" y="6214"/>
                    </a:lnTo>
                    <a:cubicBezTo>
                      <a:pt x="8707" y="6208"/>
                      <a:pt x="8708" y="6203"/>
                      <a:pt x="8710" y="6197"/>
                    </a:cubicBezTo>
                    <a:cubicBezTo>
                      <a:pt x="8716" y="6188"/>
                      <a:pt x="8722" y="6180"/>
                      <a:pt x="8728" y="6171"/>
                    </a:cubicBezTo>
                    <a:lnTo>
                      <a:pt x="8737" y="6171"/>
                    </a:lnTo>
                    <a:cubicBezTo>
                      <a:pt x="8772" y="6097"/>
                      <a:pt x="8808" y="6023"/>
                      <a:pt x="8843" y="5949"/>
                    </a:cubicBezTo>
                    <a:lnTo>
                      <a:pt x="8866" y="5949"/>
                    </a:lnTo>
                    <a:cubicBezTo>
                      <a:pt x="8868" y="5946"/>
                      <a:pt x="8869" y="5943"/>
                      <a:pt x="8871" y="5940"/>
                    </a:cubicBezTo>
                    <a:cubicBezTo>
                      <a:pt x="8873" y="5934"/>
                      <a:pt x="8874" y="5929"/>
                      <a:pt x="8876" y="5923"/>
                    </a:cubicBezTo>
                    <a:cubicBezTo>
                      <a:pt x="8879" y="5929"/>
                      <a:pt x="8882" y="5934"/>
                      <a:pt x="8885" y="5940"/>
                    </a:cubicBezTo>
                    <a:lnTo>
                      <a:pt x="8885" y="5949"/>
                    </a:lnTo>
                    <a:lnTo>
                      <a:pt x="8885" y="5974"/>
                    </a:lnTo>
                    <a:lnTo>
                      <a:pt x="8889" y="5974"/>
                    </a:lnTo>
                    <a:cubicBezTo>
                      <a:pt x="8894" y="5957"/>
                      <a:pt x="8898" y="5940"/>
                      <a:pt x="8903" y="5923"/>
                    </a:cubicBezTo>
                    <a:lnTo>
                      <a:pt x="8889" y="5923"/>
                    </a:lnTo>
                    <a:lnTo>
                      <a:pt x="8889" y="5897"/>
                    </a:lnTo>
                    <a:cubicBezTo>
                      <a:pt x="8892" y="5877"/>
                      <a:pt x="8896" y="5858"/>
                      <a:pt x="8899" y="5838"/>
                    </a:cubicBezTo>
                    <a:cubicBezTo>
                      <a:pt x="8896" y="5829"/>
                      <a:pt x="8892" y="5821"/>
                      <a:pt x="8889" y="5812"/>
                    </a:cubicBezTo>
                    <a:cubicBezTo>
                      <a:pt x="8894" y="5801"/>
                      <a:pt x="8898" y="5789"/>
                      <a:pt x="8903" y="5778"/>
                    </a:cubicBezTo>
                    <a:lnTo>
                      <a:pt x="8903" y="5761"/>
                    </a:lnTo>
                    <a:cubicBezTo>
                      <a:pt x="8906" y="5752"/>
                      <a:pt x="8909" y="5744"/>
                      <a:pt x="8912" y="5735"/>
                    </a:cubicBezTo>
                    <a:cubicBezTo>
                      <a:pt x="8918" y="5724"/>
                      <a:pt x="8925" y="5712"/>
                      <a:pt x="8931" y="5701"/>
                    </a:cubicBezTo>
                    <a:cubicBezTo>
                      <a:pt x="8946" y="5692"/>
                      <a:pt x="8962" y="5684"/>
                      <a:pt x="8977" y="5675"/>
                    </a:cubicBezTo>
                    <a:lnTo>
                      <a:pt x="9000" y="5675"/>
                    </a:lnTo>
                    <a:cubicBezTo>
                      <a:pt x="9006" y="5686"/>
                      <a:pt x="9012" y="5698"/>
                      <a:pt x="9018" y="5709"/>
                    </a:cubicBezTo>
                    <a:cubicBezTo>
                      <a:pt x="9015" y="5718"/>
                      <a:pt x="9012" y="5726"/>
                      <a:pt x="9009" y="5735"/>
                    </a:cubicBezTo>
                    <a:lnTo>
                      <a:pt x="9000" y="5735"/>
                    </a:lnTo>
                    <a:cubicBezTo>
                      <a:pt x="8988" y="5752"/>
                      <a:pt x="8975" y="5769"/>
                      <a:pt x="8963" y="5786"/>
                    </a:cubicBezTo>
                    <a:cubicBezTo>
                      <a:pt x="8958" y="5837"/>
                      <a:pt x="8954" y="5889"/>
                      <a:pt x="8949" y="5940"/>
                    </a:cubicBezTo>
                    <a:cubicBezTo>
                      <a:pt x="8948" y="5949"/>
                      <a:pt x="8946" y="5957"/>
                      <a:pt x="8945" y="5966"/>
                    </a:cubicBezTo>
                    <a:lnTo>
                      <a:pt x="8945" y="6000"/>
                    </a:lnTo>
                    <a:lnTo>
                      <a:pt x="8945" y="6009"/>
                    </a:lnTo>
                    <a:lnTo>
                      <a:pt x="8945" y="6034"/>
                    </a:lnTo>
                    <a:cubicBezTo>
                      <a:pt x="8940" y="6043"/>
                      <a:pt x="8936" y="6051"/>
                      <a:pt x="8931" y="6060"/>
                    </a:cubicBezTo>
                    <a:cubicBezTo>
                      <a:pt x="8929" y="6066"/>
                      <a:pt x="8928" y="6071"/>
                      <a:pt x="8926" y="6077"/>
                    </a:cubicBezTo>
                    <a:lnTo>
                      <a:pt x="8926" y="6111"/>
                    </a:lnTo>
                    <a:cubicBezTo>
                      <a:pt x="8928" y="6114"/>
                      <a:pt x="8929" y="6117"/>
                      <a:pt x="8931" y="6120"/>
                    </a:cubicBezTo>
                    <a:lnTo>
                      <a:pt x="8931" y="6137"/>
                    </a:lnTo>
                    <a:cubicBezTo>
                      <a:pt x="8925" y="6148"/>
                      <a:pt x="8918" y="6160"/>
                      <a:pt x="8912" y="6171"/>
                    </a:cubicBezTo>
                    <a:cubicBezTo>
                      <a:pt x="8908" y="6168"/>
                      <a:pt x="8903" y="6165"/>
                      <a:pt x="8899" y="6162"/>
                    </a:cubicBezTo>
                    <a:cubicBezTo>
                      <a:pt x="8894" y="6165"/>
                      <a:pt x="8890" y="6168"/>
                      <a:pt x="8885" y="6171"/>
                    </a:cubicBezTo>
                    <a:cubicBezTo>
                      <a:pt x="8879" y="6185"/>
                      <a:pt x="8872" y="6200"/>
                      <a:pt x="8866" y="6214"/>
                    </a:cubicBezTo>
                    <a:lnTo>
                      <a:pt x="8853" y="6214"/>
                    </a:lnTo>
                    <a:lnTo>
                      <a:pt x="8816" y="6248"/>
                    </a:lnTo>
                    <a:lnTo>
                      <a:pt x="8816" y="6248"/>
                    </a:lnTo>
                    <a:lnTo>
                      <a:pt x="8816" y="6282"/>
                    </a:lnTo>
                    <a:cubicBezTo>
                      <a:pt x="8814" y="6291"/>
                      <a:pt x="8813" y="6299"/>
                      <a:pt x="8811" y="6308"/>
                    </a:cubicBezTo>
                    <a:cubicBezTo>
                      <a:pt x="8791" y="6351"/>
                      <a:pt x="8771" y="6393"/>
                      <a:pt x="8751" y="6436"/>
                    </a:cubicBezTo>
                    <a:cubicBezTo>
                      <a:pt x="8742" y="6447"/>
                      <a:pt x="8733" y="6459"/>
                      <a:pt x="8724" y="6470"/>
                    </a:cubicBezTo>
                    <a:cubicBezTo>
                      <a:pt x="8719" y="6481"/>
                      <a:pt x="8715" y="6493"/>
                      <a:pt x="8710" y="6504"/>
                    </a:cubicBezTo>
                    <a:cubicBezTo>
                      <a:pt x="8708" y="6510"/>
                      <a:pt x="8707" y="6515"/>
                      <a:pt x="8705" y="6521"/>
                    </a:cubicBezTo>
                    <a:cubicBezTo>
                      <a:pt x="8696" y="6538"/>
                      <a:pt x="8686" y="6556"/>
                      <a:pt x="8677" y="6573"/>
                    </a:cubicBezTo>
                    <a:lnTo>
                      <a:pt x="8677" y="6624"/>
                    </a:lnTo>
                    <a:cubicBezTo>
                      <a:pt x="8648" y="6684"/>
                      <a:pt x="8619" y="6743"/>
                      <a:pt x="8590" y="6803"/>
                    </a:cubicBezTo>
                    <a:cubicBezTo>
                      <a:pt x="8581" y="6812"/>
                      <a:pt x="8571" y="6820"/>
                      <a:pt x="8562" y="6829"/>
                    </a:cubicBezTo>
                    <a:lnTo>
                      <a:pt x="8544" y="6829"/>
                    </a:lnTo>
                    <a:cubicBezTo>
                      <a:pt x="8536" y="6846"/>
                      <a:pt x="8529" y="6863"/>
                      <a:pt x="8521" y="6880"/>
                    </a:cubicBezTo>
                    <a:cubicBezTo>
                      <a:pt x="8513" y="6877"/>
                      <a:pt x="8506" y="6875"/>
                      <a:pt x="8498" y="6872"/>
                    </a:cubicBezTo>
                    <a:lnTo>
                      <a:pt x="8488" y="6872"/>
                    </a:lnTo>
                    <a:cubicBezTo>
                      <a:pt x="8491" y="6895"/>
                      <a:pt x="8495" y="6917"/>
                      <a:pt x="8498" y="6940"/>
                    </a:cubicBezTo>
                    <a:cubicBezTo>
                      <a:pt x="8493" y="6969"/>
                      <a:pt x="8489" y="6997"/>
                      <a:pt x="8484" y="7026"/>
                    </a:cubicBezTo>
                    <a:cubicBezTo>
                      <a:pt x="8466" y="7049"/>
                      <a:pt x="8447" y="7071"/>
                      <a:pt x="8429" y="7094"/>
                    </a:cubicBezTo>
                    <a:cubicBezTo>
                      <a:pt x="8420" y="7160"/>
                      <a:pt x="8410" y="7225"/>
                      <a:pt x="8401" y="7291"/>
                    </a:cubicBezTo>
                    <a:cubicBezTo>
                      <a:pt x="8409" y="7425"/>
                      <a:pt x="8416" y="7558"/>
                      <a:pt x="8424" y="7692"/>
                    </a:cubicBezTo>
                    <a:lnTo>
                      <a:pt x="8424" y="7701"/>
                    </a:lnTo>
                    <a:cubicBezTo>
                      <a:pt x="8444" y="7903"/>
                      <a:pt x="8464" y="8106"/>
                      <a:pt x="8484" y="8308"/>
                    </a:cubicBezTo>
                    <a:cubicBezTo>
                      <a:pt x="8515" y="8245"/>
                      <a:pt x="8545" y="8183"/>
                      <a:pt x="8576" y="8120"/>
                    </a:cubicBezTo>
                    <a:cubicBezTo>
                      <a:pt x="8581" y="8089"/>
                      <a:pt x="8585" y="8057"/>
                      <a:pt x="8590" y="8026"/>
                    </a:cubicBezTo>
                    <a:lnTo>
                      <a:pt x="8590" y="7983"/>
                    </a:lnTo>
                    <a:cubicBezTo>
                      <a:pt x="8591" y="7980"/>
                      <a:pt x="8593" y="7977"/>
                      <a:pt x="8594" y="7974"/>
                    </a:cubicBezTo>
                    <a:lnTo>
                      <a:pt x="8594" y="7940"/>
                    </a:lnTo>
                    <a:lnTo>
                      <a:pt x="8594" y="7923"/>
                    </a:lnTo>
                    <a:lnTo>
                      <a:pt x="8594" y="7915"/>
                    </a:lnTo>
                    <a:lnTo>
                      <a:pt x="8604" y="7915"/>
                    </a:lnTo>
                    <a:cubicBezTo>
                      <a:pt x="8605" y="7918"/>
                      <a:pt x="8607" y="7920"/>
                      <a:pt x="8608" y="7923"/>
                    </a:cubicBezTo>
                    <a:cubicBezTo>
                      <a:pt x="8620" y="7906"/>
                      <a:pt x="8633" y="7889"/>
                      <a:pt x="8645" y="7872"/>
                    </a:cubicBezTo>
                    <a:lnTo>
                      <a:pt x="8668" y="7846"/>
                    </a:lnTo>
                    <a:cubicBezTo>
                      <a:pt x="8676" y="7852"/>
                      <a:pt x="8683" y="7857"/>
                      <a:pt x="8691" y="7863"/>
                    </a:cubicBezTo>
                    <a:lnTo>
                      <a:pt x="8691" y="7846"/>
                    </a:lnTo>
                    <a:cubicBezTo>
                      <a:pt x="8688" y="7843"/>
                      <a:pt x="8685" y="7841"/>
                      <a:pt x="8682" y="7838"/>
                    </a:cubicBezTo>
                    <a:lnTo>
                      <a:pt x="8682" y="7692"/>
                    </a:lnTo>
                    <a:cubicBezTo>
                      <a:pt x="8697" y="7661"/>
                      <a:pt x="8713" y="7629"/>
                      <a:pt x="8728" y="7598"/>
                    </a:cubicBezTo>
                    <a:cubicBezTo>
                      <a:pt x="8736" y="7590"/>
                      <a:pt x="8743" y="7581"/>
                      <a:pt x="8751" y="7573"/>
                    </a:cubicBezTo>
                    <a:lnTo>
                      <a:pt x="8770" y="7573"/>
                    </a:lnTo>
                    <a:cubicBezTo>
                      <a:pt x="8773" y="7579"/>
                      <a:pt x="8776" y="7584"/>
                      <a:pt x="8779" y="7590"/>
                    </a:cubicBezTo>
                    <a:lnTo>
                      <a:pt x="8793" y="7590"/>
                    </a:lnTo>
                    <a:lnTo>
                      <a:pt x="8811" y="7590"/>
                    </a:lnTo>
                    <a:cubicBezTo>
                      <a:pt x="8816" y="7579"/>
                      <a:pt x="8820" y="7567"/>
                      <a:pt x="8825" y="7556"/>
                    </a:cubicBezTo>
                    <a:cubicBezTo>
                      <a:pt x="8826" y="7547"/>
                      <a:pt x="8828" y="7539"/>
                      <a:pt x="8829" y="7530"/>
                    </a:cubicBezTo>
                    <a:cubicBezTo>
                      <a:pt x="8820" y="7507"/>
                      <a:pt x="8811" y="7485"/>
                      <a:pt x="8802" y="7462"/>
                    </a:cubicBezTo>
                    <a:cubicBezTo>
                      <a:pt x="8800" y="7442"/>
                      <a:pt x="8799" y="7422"/>
                      <a:pt x="8797" y="7402"/>
                    </a:cubicBezTo>
                    <a:cubicBezTo>
                      <a:pt x="8803" y="7365"/>
                      <a:pt x="8810" y="7328"/>
                      <a:pt x="8816" y="7291"/>
                    </a:cubicBezTo>
                    <a:cubicBezTo>
                      <a:pt x="8819" y="7279"/>
                      <a:pt x="8822" y="7268"/>
                      <a:pt x="8825" y="7256"/>
                    </a:cubicBezTo>
                    <a:cubicBezTo>
                      <a:pt x="8831" y="7248"/>
                      <a:pt x="8837" y="7239"/>
                      <a:pt x="8843" y="7231"/>
                    </a:cubicBezTo>
                    <a:cubicBezTo>
                      <a:pt x="8842" y="7222"/>
                      <a:pt x="8840" y="7214"/>
                      <a:pt x="8839" y="7205"/>
                    </a:cubicBezTo>
                    <a:lnTo>
                      <a:pt x="8839" y="7188"/>
                    </a:lnTo>
                    <a:cubicBezTo>
                      <a:pt x="8851" y="7179"/>
                      <a:pt x="8864" y="7171"/>
                      <a:pt x="8876" y="7162"/>
                    </a:cubicBezTo>
                    <a:cubicBezTo>
                      <a:pt x="8879" y="7159"/>
                      <a:pt x="8882" y="7157"/>
                      <a:pt x="8885" y="7154"/>
                    </a:cubicBezTo>
                    <a:lnTo>
                      <a:pt x="8885" y="7162"/>
                    </a:lnTo>
                    <a:cubicBezTo>
                      <a:pt x="8882" y="7171"/>
                      <a:pt x="8879" y="7179"/>
                      <a:pt x="8876" y="7188"/>
                    </a:cubicBezTo>
                    <a:cubicBezTo>
                      <a:pt x="8874" y="7194"/>
                      <a:pt x="8873" y="7199"/>
                      <a:pt x="8871" y="7205"/>
                    </a:cubicBezTo>
                    <a:cubicBezTo>
                      <a:pt x="8869" y="7208"/>
                      <a:pt x="8868" y="7211"/>
                      <a:pt x="8866" y="7214"/>
                    </a:cubicBezTo>
                    <a:cubicBezTo>
                      <a:pt x="8869" y="7231"/>
                      <a:pt x="8873" y="7248"/>
                      <a:pt x="8876" y="7265"/>
                    </a:cubicBezTo>
                    <a:cubicBezTo>
                      <a:pt x="8879" y="7271"/>
                      <a:pt x="8882" y="7276"/>
                      <a:pt x="8885" y="7282"/>
                    </a:cubicBezTo>
                    <a:lnTo>
                      <a:pt x="8889" y="7282"/>
                    </a:lnTo>
                    <a:cubicBezTo>
                      <a:pt x="8894" y="7268"/>
                      <a:pt x="8898" y="7253"/>
                      <a:pt x="8903" y="7239"/>
                    </a:cubicBezTo>
                    <a:lnTo>
                      <a:pt x="8903" y="7214"/>
                    </a:lnTo>
                    <a:cubicBezTo>
                      <a:pt x="8902" y="7185"/>
                      <a:pt x="8900" y="7157"/>
                      <a:pt x="8899" y="7128"/>
                    </a:cubicBezTo>
                    <a:cubicBezTo>
                      <a:pt x="8896" y="7125"/>
                      <a:pt x="8892" y="7123"/>
                      <a:pt x="8889" y="7120"/>
                    </a:cubicBezTo>
                    <a:lnTo>
                      <a:pt x="8871" y="7120"/>
                    </a:lnTo>
                    <a:lnTo>
                      <a:pt x="8871" y="7120"/>
                    </a:lnTo>
                    <a:lnTo>
                      <a:pt x="8871" y="6991"/>
                    </a:lnTo>
                    <a:lnTo>
                      <a:pt x="8871" y="6966"/>
                    </a:lnTo>
                    <a:cubicBezTo>
                      <a:pt x="8877" y="6957"/>
                      <a:pt x="8883" y="6949"/>
                      <a:pt x="8889" y="6940"/>
                    </a:cubicBezTo>
                    <a:cubicBezTo>
                      <a:pt x="8894" y="6929"/>
                      <a:pt x="8898" y="6917"/>
                      <a:pt x="8903" y="6906"/>
                    </a:cubicBezTo>
                    <a:cubicBezTo>
                      <a:pt x="8902" y="6897"/>
                      <a:pt x="8900" y="6889"/>
                      <a:pt x="8899" y="6880"/>
                    </a:cubicBezTo>
                    <a:cubicBezTo>
                      <a:pt x="8888" y="6869"/>
                      <a:pt x="8877" y="6857"/>
                      <a:pt x="8866" y="6846"/>
                    </a:cubicBezTo>
                    <a:lnTo>
                      <a:pt x="8853" y="6846"/>
                    </a:lnTo>
                    <a:cubicBezTo>
                      <a:pt x="8850" y="6857"/>
                      <a:pt x="8846" y="6869"/>
                      <a:pt x="8843" y="6880"/>
                    </a:cubicBezTo>
                    <a:lnTo>
                      <a:pt x="8843" y="6897"/>
                    </a:lnTo>
                    <a:cubicBezTo>
                      <a:pt x="8838" y="6891"/>
                      <a:pt x="8834" y="6886"/>
                      <a:pt x="8829" y="6880"/>
                    </a:cubicBezTo>
                    <a:cubicBezTo>
                      <a:pt x="8828" y="6877"/>
                      <a:pt x="8826" y="6875"/>
                      <a:pt x="8825" y="6872"/>
                    </a:cubicBezTo>
                    <a:cubicBezTo>
                      <a:pt x="8822" y="6863"/>
                      <a:pt x="8819" y="6855"/>
                      <a:pt x="8816" y="6846"/>
                    </a:cubicBezTo>
                    <a:lnTo>
                      <a:pt x="8816" y="6803"/>
                    </a:lnTo>
                    <a:cubicBezTo>
                      <a:pt x="8836" y="6735"/>
                      <a:pt x="8856" y="6666"/>
                      <a:pt x="8876" y="6598"/>
                    </a:cubicBezTo>
                    <a:lnTo>
                      <a:pt x="8876" y="6573"/>
                    </a:lnTo>
                    <a:cubicBezTo>
                      <a:pt x="8879" y="6567"/>
                      <a:pt x="8882" y="6562"/>
                      <a:pt x="8885" y="6556"/>
                    </a:cubicBezTo>
                    <a:cubicBezTo>
                      <a:pt x="8890" y="6562"/>
                      <a:pt x="8894" y="6567"/>
                      <a:pt x="8899" y="6573"/>
                    </a:cubicBezTo>
                    <a:cubicBezTo>
                      <a:pt x="8896" y="6567"/>
                      <a:pt x="8892" y="6562"/>
                      <a:pt x="8889" y="6556"/>
                    </a:cubicBezTo>
                    <a:lnTo>
                      <a:pt x="8889" y="6530"/>
                    </a:lnTo>
                    <a:cubicBezTo>
                      <a:pt x="8894" y="6527"/>
                      <a:pt x="8898" y="6524"/>
                      <a:pt x="8903" y="6521"/>
                    </a:cubicBezTo>
                    <a:lnTo>
                      <a:pt x="8903" y="6504"/>
                    </a:lnTo>
                    <a:lnTo>
                      <a:pt x="8903" y="6487"/>
                    </a:lnTo>
                    <a:lnTo>
                      <a:pt x="8903" y="6462"/>
                    </a:lnTo>
                    <a:cubicBezTo>
                      <a:pt x="8906" y="6448"/>
                      <a:pt x="8909" y="6433"/>
                      <a:pt x="8912" y="6419"/>
                    </a:cubicBezTo>
                    <a:cubicBezTo>
                      <a:pt x="8914" y="6410"/>
                      <a:pt x="8915" y="6402"/>
                      <a:pt x="8917" y="6393"/>
                    </a:cubicBezTo>
                    <a:cubicBezTo>
                      <a:pt x="8920" y="6390"/>
                      <a:pt x="8923" y="6388"/>
                      <a:pt x="8926" y="6385"/>
                    </a:cubicBezTo>
                    <a:lnTo>
                      <a:pt x="8931" y="6385"/>
                    </a:lnTo>
                    <a:cubicBezTo>
                      <a:pt x="8937" y="6376"/>
                      <a:pt x="8943" y="6368"/>
                      <a:pt x="8949" y="6359"/>
                    </a:cubicBezTo>
                    <a:cubicBezTo>
                      <a:pt x="8952" y="6362"/>
                      <a:pt x="8956" y="6365"/>
                      <a:pt x="8959" y="6368"/>
                    </a:cubicBezTo>
                    <a:cubicBezTo>
                      <a:pt x="8960" y="6374"/>
                      <a:pt x="8962" y="6379"/>
                      <a:pt x="8963" y="6385"/>
                    </a:cubicBezTo>
                    <a:cubicBezTo>
                      <a:pt x="8966" y="6376"/>
                      <a:pt x="8969" y="6368"/>
                      <a:pt x="8972" y="6359"/>
                    </a:cubicBezTo>
                    <a:cubicBezTo>
                      <a:pt x="8978" y="6356"/>
                      <a:pt x="8985" y="6353"/>
                      <a:pt x="8991" y="6350"/>
                    </a:cubicBezTo>
                    <a:lnTo>
                      <a:pt x="9000" y="6368"/>
                    </a:lnTo>
                    <a:cubicBezTo>
                      <a:pt x="9002" y="6376"/>
                      <a:pt x="9003" y="6385"/>
                      <a:pt x="9005" y="6393"/>
                    </a:cubicBezTo>
                    <a:lnTo>
                      <a:pt x="9018" y="6393"/>
                    </a:lnTo>
                    <a:cubicBezTo>
                      <a:pt x="9020" y="6382"/>
                      <a:pt x="9021" y="6370"/>
                      <a:pt x="9023" y="6359"/>
                    </a:cubicBezTo>
                    <a:lnTo>
                      <a:pt x="9023" y="6333"/>
                    </a:lnTo>
                    <a:cubicBezTo>
                      <a:pt x="9028" y="6325"/>
                      <a:pt x="9032" y="6316"/>
                      <a:pt x="9037" y="6308"/>
                    </a:cubicBezTo>
                    <a:lnTo>
                      <a:pt x="9074" y="6274"/>
                    </a:lnTo>
                    <a:cubicBezTo>
                      <a:pt x="9080" y="6257"/>
                      <a:pt x="9086" y="6239"/>
                      <a:pt x="9092" y="6222"/>
                    </a:cubicBezTo>
                    <a:cubicBezTo>
                      <a:pt x="9094" y="6225"/>
                      <a:pt x="9095" y="6228"/>
                      <a:pt x="9097" y="6231"/>
                    </a:cubicBezTo>
                    <a:lnTo>
                      <a:pt x="9097" y="6248"/>
                    </a:lnTo>
                    <a:lnTo>
                      <a:pt x="9097" y="6274"/>
                    </a:lnTo>
                    <a:lnTo>
                      <a:pt x="9097" y="6308"/>
                    </a:lnTo>
                    <a:cubicBezTo>
                      <a:pt x="9095" y="6328"/>
                      <a:pt x="9094" y="6348"/>
                      <a:pt x="9092" y="6368"/>
                    </a:cubicBezTo>
                    <a:lnTo>
                      <a:pt x="9092" y="6385"/>
                    </a:lnTo>
                    <a:lnTo>
                      <a:pt x="9092" y="6393"/>
                    </a:lnTo>
                    <a:lnTo>
                      <a:pt x="9092" y="6393"/>
                    </a:lnTo>
                    <a:cubicBezTo>
                      <a:pt x="9109" y="6362"/>
                      <a:pt x="9126" y="6330"/>
                      <a:pt x="9143" y="6299"/>
                    </a:cubicBezTo>
                    <a:lnTo>
                      <a:pt x="9143" y="6282"/>
                    </a:lnTo>
                    <a:lnTo>
                      <a:pt x="9143" y="6256"/>
                    </a:lnTo>
                    <a:lnTo>
                      <a:pt x="9143" y="6256"/>
                    </a:lnTo>
                    <a:cubicBezTo>
                      <a:pt x="9148" y="6262"/>
                      <a:pt x="9152" y="6268"/>
                      <a:pt x="9157" y="6274"/>
                    </a:cubicBezTo>
                    <a:cubicBezTo>
                      <a:pt x="9160" y="6265"/>
                      <a:pt x="9163" y="6257"/>
                      <a:pt x="9166" y="6248"/>
                    </a:cubicBezTo>
                    <a:lnTo>
                      <a:pt x="9180" y="6248"/>
                    </a:lnTo>
                    <a:cubicBezTo>
                      <a:pt x="9186" y="6239"/>
                      <a:pt x="9192" y="6231"/>
                      <a:pt x="9198" y="6222"/>
                    </a:cubicBezTo>
                    <a:lnTo>
                      <a:pt x="9212" y="6222"/>
                    </a:lnTo>
                    <a:cubicBezTo>
                      <a:pt x="9217" y="6214"/>
                      <a:pt x="9221" y="6205"/>
                      <a:pt x="9226" y="6197"/>
                    </a:cubicBezTo>
                    <a:cubicBezTo>
                      <a:pt x="9227" y="6203"/>
                      <a:pt x="9229" y="6208"/>
                      <a:pt x="9230" y="6214"/>
                    </a:cubicBezTo>
                    <a:lnTo>
                      <a:pt x="9272" y="6214"/>
                    </a:lnTo>
                    <a:cubicBezTo>
                      <a:pt x="9283" y="6220"/>
                      <a:pt x="9293" y="6225"/>
                      <a:pt x="9304" y="6231"/>
                    </a:cubicBezTo>
                    <a:cubicBezTo>
                      <a:pt x="9309" y="6237"/>
                      <a:pt x="9313" y="6242"/>
                      <a:pt x="9318" y="6248"/>
                    </a:cubicBezTo>
                    <a:cubicBezTo>
                      <a:pt x="9321" y="6259"/>
                      <a:pt x="9324" y="6271"/>
                      <a:pt x="9327" y="6282"/>
                    </a:cubicBezTo>
                    <a:cubicBezTo>
                      <a:pt x="9336" y="6305"/>
                      <a:pt x="9346" y="6327"/>
                      <a:pt x="9355" y="6350"/>
                    </a:cubicBezTo>
                    <a:lnTo>
                      <a:pt x="9355" y="6359"/>
                    </a:lnTo>
                    <a:lnTo>
                      <a:pt x="9364" y="6368"/>
                    </a:lnTo>
                    <a:lnTo>
                      <a:pt x="9373" y="6359"/>
                    </a:lnTo>
                    <a:lnTo>
                      <a:pt x="9373" y="6325"/>
                    </a:lnTo>
                    <a:cubicBezTo>
                      <a:pt x="9378" y="6302"/>
                      <a:pt x="9382" y="6279"/>
                      <a:pt x="9387" y="6256"/>
                    </a:cubicBezTo>
                    <a:lnTo>
                      <a:pt x="9387" y="6248"/>
                    </a:lnTo>
                    <a:lnTo>
                      <a:pt x="9378" y="6248"/>
                    </a:lnTo>
                    <a:cubicBezTo>
                      <a:pt x="9387" y="6239"/>
                      <a:pt x="9397" y="6231"/>
                      <a:pt x="9406" y="6222"/>
                    </a:cubicBezTo>
                    <a:lnTo>
                      <a:pt x="9415" y="6222"/>
                    </a:lnTo>
                    <a:lnTo>
                      <a:pt x="9415" y="6197"/>
                    </a:lnTo>
                    <a:cubicBezTo>
                      <a:pt x="9416" y="6203"/>
                      <a:pt x="9418" y="6208"/>
                      <a:pt x="9419" y="6214"/>
                    </a:cubicBezTo>
                    <a:lnTo>
                      <a:pt x="9424" y="6214"/>
                    </a:lnTo>
                    <a:cubicBezTo>
                      <a:pt x="9432" y="6200"/>
                      <a:pt x="9439" y="6185"/>
                      <a:pt x="9447" y="6171"/>
                    </a:cubicBezTo>
                    <a:lnTo>
                      <a:pt x="9452" y="6171"/>
                    </a:lnTo>
                    <a:lnTo>
                      <a:pt x="9452" y="6162"/>
                    </a:lnTo>
                    <a:cubicBezTo>
                      <a:pt x="9455" y="6154"/>
                      <a:pt x="9458" y="6145"/>
                      <a:pt x="9461" y="6137"/>
                    </a:cubicBezTo>
                    <a:lnTo>
                      <a:pt x="9475" y="6137"/>
                    </a:lnTo>
                    <a:lnTo>
                      <a:pt x="9475" y="6137"/>
                    </a:lnTo>
                    <a:cubicBezTo>
                      <a:pt x="9476" y="6131"/>
                      <a:pt x="9478" y="6126"/>
                      <a:pt x="9479" y="6120"/>
                    </a:cubicBezTo>
                    <a:lnTo>
                      <a:pt x="9488" y="6120"/>
                    </a:lnTo>
                    <a:lnTo>
                      <a:pt x="9488" y="6111"/>
                    </a:lnTo>
                    <a:cubicBezTo>
                      <a:pt x="9485" y="6108"/>
                      <a:pt x="9482" y="6106"/>
                      <a:pt x="9479" y="6103"/>
                    </a:cubicBezTo>
                    <a:lnTo>
                      <a:pt x="9479" y="6085"/>
                    </a:lnTo>
                    <a:lnTo>
                      <a:pt x="9488" y="6103"/>
                    </a:lnTo>
                    <a:cubicBezTo>
                      <a:pt x="9490" y="6106"/>
                      <a:pt x="9491" y="6108"/>
                      <a:pt x="9493" y="6111"/>
                    </a:cubicBezTo>
                    <a:cubicBezTo>
                      <a:pt x="9495" y="6108"/>
                      <a:pt x="9496" y="6106"/>
                      <a:pt x="9498" y="6103"/>
                    </a:cubicBezTo>
                    <a:cubicBezTo>
                      <a:pt x="9501" y="6094"/>
                      <a:pt x="9504" y="6086"/>
                      <a:pt x="9507" y="6077"/>
                    </a:cubicBezTo>
                    <a:cubicBezTo>
                      <a:pt x="9504" y="6071"/>
                      <a:pt x="9501" y="6066"/>
                      <a:pt x="9498" y="6060"/>
                    </a:cubicBezTo>
                    <a:lnTo>
                      <a:pt x="9512" y="6060"/>
                    </a:lnTo>
                    <a:cubicBezTo>
                      <a:pt x="9516" y="6051"/>
                      <a:pt x="9521" y="6043"/>
                      <a:pt x="9525" y="6034"/>
                    </a:cubicBezTo>
                    <a:lnTo>
                      <a:pt x="9535" y="6034"/>
                    </a:lnTo>
                    <a:lnTo>
                      <a:pt x="9535" y="6026"/>
                    </a:lnTo>
                    <a:cubicBezTo>
                      <a:pt x="9532" y="6020"/>
                      <a:pt x="9528" y="6015"/>
                      <a:pt x="9525" y="6009"/>
                    </a:cubicBezTo>
                    <a:cubicBezTo>
                      <a:pt x="9528" y="6006"/>
                      <a:pt x="9532" y="6003"/>
                      <a:pt x="9535" y="6000"/>
                    </a:cubicBezTo>
                    <a:cubicBezTo>
                      <a:pt x="9536" y="6003"/>
                      <a:pt x="9538" y="6006"/>
                      <a:pt x="9539" y="6009"/>
                    </a:cubicBezTo>
                    <a:lnTo>
                      <a:pt x="9548" y="6009"/>
                    </a:lnTo>
                    <a:cubicBezTo>
                      <a:pt x="9550" y="6006"/>
                      <a:pt x="9551" y="6003"/>
                      <a:pt x="9553" y="6000"/>
                    </a:cubicBezTo>
                    <a:cubicBezTo>
                      <a:pt x="9556" y="5994"/>
                      <a:pt x="9559" y="5989"/>
                      <a:pt x="9562" y="5983"/>
                    </a:cubicBezTo>
                    <a:lnTo>
                      <a:pt x="9562" y="5974"/>
                    </a:lnTo>
                    <a:lnTo>
                      <a:pt x="9567" y="5974"/>
                    </a:lnTo>
                    <a:lnTo>
                      <a:pt x="9567" y="5966"/>
                    </a:lnTo>
                    <a:lnTo>
                      <a:pt x="9567" y="5940"/>
                    </a:lnTo>
                    <a:cubicBezTo>
                      <a:pt x="9568" y="5932"/>
                      <a:pt x="9570" y="5923"/>
                      <a:pt x="9571" y="5915"/>
                    </a:cubicBezTo>
                    <a:cubicBezTo>
                      <a:pt x="9574" y="5918"/>
                      <a:pt x="9578" y="5920"/>
                      <a:pt x="9581" y="5923"/>
                    </a:cubicBezTo>
                    <a:cubicBezTo>
                      <a:pt x="9582" y="5929"/>
                      <a:pt x="9584" y="5934"/>
                      <a:pt x="9585" y="5940"/>
                    </a:cubicBezTo>
                    <a:lnTo>
                      <a:pt x="9594" y="5949"/>
                    </a:lnTo>
                    <a:cubicBezTo>
                      <a:pt x="9596" y="5946"/>
                      <a:pt x="9597" y="5943"/>
                      <a:pt x="9599" y="5940"/>
                    </a:cubicBezTo>
                    <a:cubicBezTo>
                      <a:pt x="9604" y="5932"/>
                      <a:pt x="9608" y="5923"/>
                      <a:pt x="9613" y="5915"/>
                    </a:cubicBezTo>
                    <a:lnTo>
                      <a:pt x="9645" y="5889"/>
                    </a:lnTo>
                    <a:cubicBezTo>
                      <a:pt x="9648" y="5883"/>
                      <a:pt x="9651" y="5878"/>
                      <a:pt x="9654" y="5872"/>
                    </a:cubicBezTo>
                    <a:cubicBezTo>
                      <a:pt x="9660" y="5869"/>
                      <a:pt x="9667" y="5866"/>
                      <a:pt x="9673" y="5863"/>
                    </a:cubicBezTo>
                    <a:cubicBezTo>
                      <a:pt x="9676" y="5855"/>
                      <a:pt x="9679" y="5846"/>
                      <a:pt x="9682" y="5838"/>
                    </a:cubicBezTo>
                    <a:lnTo>
                      <a:pt x="9682" y="5829"/>
                    </a:lnTo>
                    <a:lnTo>
                      <a:pt x="9682" y="5812"/>
                    </a:lnTo>
                    <a:lnTo>
                      <a:pt x="9687" y="5812"/>
                    </a:lnTo>
                    <a:lnTo>
                      <a:pt x="9687" y="5829"/>
                    </a:lnTo>
                    <a:lnTo>
                      <a:pt x="9687" y="5829"/>
                    </a:lnTo>
                    <a:lnTo>
                      <a:pt x="9719" y="5803"/>
                    </a:lnTo>
                    <a:lnTo>
                      <a:pt x="9728" y="5803"/>
                    </a:lnTo>
                    <a:cubicBezTo>
                      <a:pt x="9745" y="5777"/>
                      <a:pt x="9762" y="5752"/>
                      <a:pt x="9779" y="5726"/>
                    </a:cubicBezTo>
                    <a:cubicBezTo>
                      <a:pt x="9791" y="5720"/>
                      <a:pt x="9804" y="5715"/>
                      <a:pt x="9816" y="5709"/>
                    </a:cubicBezTo>
                    <a:cubicBezTo>
                      <a:pt x="9817" y="5706"/>
                      <a:pt x="9819" y="5704"/>
                      <a:pt x="9820" y="5701"/>
                    </a:cubicBezTo>
                    <a:cubicBezTo>
                      <a:pt x="9819" y="5698"/>
                      <a:pt x="9817" y="5695"/>
                      <a:pt x="9816" y="5692"/>
                    </a:cubicBezTo>
                    <a:lnTo>
                      <a:pt x="9816" y="5692"/>
                    </a:lnTo>
                    <a:cubicBezTo>
                      <a:pt x="9811" y="5669"/>
                      <a:pt x="9807" y="5647"/>
                      <a:pt x="9802" y="5624"/>
                    </a:cubicBezTo>
                    <a:lnTo>
                      <a:pt x="9806" y="5624"/>
                    </a:lnTo>
                    <a:cubicBezTo>
                      <a:pt x="9811" y="5641"/>
                      <a:pt x="9815" y="5658"/>
                      <a:pt x="9820" y="5675"/>
                    </a:cubicBezTo>
                    <a:lnTo>
                      <a:pt x="9829" y="5675"/>
                    </a:lnTo>
                    <a:lnTo>
                      <a:pt x="9829" y="5692"/>
                    </a:lnTo>
                    <a:lnTo>
                      <a:pt x="9829" y="5701"/>
                    </a:lnTo>
                    <a:lnTo>
                      <a:pt x="9839" y="5701"/>
                    </a:lnTo>
                    <a:lnTo>
                      <a:pt x="9839" y="5692"/>
                    </a:lnTo>
                    <a:lnTo>
                      <a:pt x="9839" y="5675"/>
                    </a:lnTo>
                    <a:lnTo>
                      <a:pt x="9848" y="5675"/>
                    </a:lnTo>
                    <a:lnTo>
                      <a:pt x="9848" y="5692"/>
                    </a:lnTo>
                    <a:cubicBezTo>
                      <a:pt x="9850" y="5695"/>
                      <a:pt x="9851" y="5698"/>
                      <a:pt x="9853" y="5701"/>
                    </a:cubicBezTo>
                    <a:cubicBezTo>
                      <a:pt x="9862" y="5704"/>
                      <a:pt x="9871" y="5706"/>
                      <a:pt x="9880" y="5709"/>
                    </a:cubicBezTo>
                    <a:cubicBezTo>
                      <a:pt x="9891" y="5723"/>
                      <a:pt x="9901" y="5738"/>
                      <a:pt x="9912" y="5752"/>
                    </a:cubicBezTo>
                    <a:cubicBezTo>
                      <a:pt x="9917" y="5755"/>
                      <a:pt x="9921" y="5758"/>
                      <a:pt x="9926" y="5761"/>
                    </a:cubicBezTo>
                    <a:lnTo>
                      <a:pt x="9935" y="5761"/>
                    </a:lnTo>
                    <a:cubicBezTo>
                      <a:pt x="9937" y="5752"/>
                      <a:pt x="9938" y="5744"/>
                      <a:pt x="9940" y="5735"/>
                    </a:cubicBezTo>
                    <a:lnTo>
                      <a:pt x="9949" y="5735"/>
                    </a:lnTo>
                    <a:cubicBezTo>
                      <a:pt x="9955" y="5721"/>
                      <a:pt x="9962" y="5706"/>
                      <a:pt x="9968" y="5692"/>
                    </a:cubicBezTo>
                    <a:lnTo>
                      <a:pt x="9968" y="5650"/>
                    </a:lnTo>
                    <a:lnTo>
                      <a:pt x="9968" y="5624"/>
                    </a:lnTo>
                    <a:cubicBezTo>
                      <a:pt x="9957" y="5615"/>
                      <a:pt x="9946" y="5607"/>
                      <a:pt x="9935" y="5598"/>
                    </a:cubicBezTo>
                    <a:lnTo>
                      <a:pt x="9935" y="5590"/>
                    </a:lnTo>
                    <a:lnTo>
                      <a:pt x="9935" y="5573"/>
                    </a:lnTo>
                    <a:lnTo>
                      <a:pt x="9935" y="5573"/>
                    </a:lnTo>
                    <a:lnTo>
                      <a:pt x="9940" y="5573"/>
                    </a:lnTo>
                    <a:lnTo>
                      <a:pt x="9954" y="5573"/>
                    </a:lnTo>
                    <a:lnTo>
                      <a:pt x="9963" y="5564"/>
                    </a:lnTo>
                    <a:cubicBezTo>
                      <a:pt x="9960" y="5553"/>
                      <a:pt x="9957" y="5541"/>
                      <a:pt x="9954" y="5530"/>
                    </a:cubicBezTo>
                    <a:lnTo>
                      <a:pt x="9949" y="5530"/>
                    </a:lnTo>
                    <a:cubicBezTo>
                      <a:pt x="9941" y="5513"/>
                      <a:pt x="9934" y="5496"/>
                      <a:pt x="9926" y="5479"/>
                    </a:cubicBezTo>
                    <a:cubicBezTo>
                      <a:pt x="9921" y="5428"/>
                      <a:pt x="9917" y="5376"/>
                      <a:pt x="9912" y="5325"/>
                    </a:cubicBezTo>
                    <a:cubicBezTo>
                      <a:pt x="9909" y="5331"/>
                      <a:pt x="9906" y="5336"/>
                      <a:pt x="9903" y="5342"/>
                    </a:cubicBezTo>
                    <a:cubicBezTo>
                      <a:pt x="9898" y="5333"/>
                      <a:pt x="9894" y="5325"/>
                      <a:pt x="9889" y="5316"/>
                    </a:cubicBezTo>
                    <a:lnTo>
                      <a:pt x="9889" y="5291"/>
                    </a:lnTo>
                    <a:lnTo>
                      <a:pt x="9903" y="5291"/>
                    </a:lnTo>
                    <a:lnTo>
                      <a:pt x="9903" y="5291"/>
                    </a:lnTo>
                    <a:cubicBezTo>
                      <a:pt x="9900" y="5265"/>
                      <a:pt x="9897" y="5240"/>
                      <a:pt x="9894" y="5214"/>
                    </a:cubicBezTo>
                    <a:cubicBezTo>
                      <a:pt x="9889" y="5222"/>
                      <a:pt x="9885" y="5231"/>
                      <a:pt x="9880" y="5239"/>
                    </a:cubicBezTo>
                    <a:cubicBezTo>
                      <a:pt x="9879" y="5245"/>
                      <a:pt x="9877" y="5250"/>
                      <a:pt x="9876" y="5256"/>
                    </a:cubicBezTo>
                    <a:cubicBezTo>
                      <a:pt x="9871" y="5250"/>
                      <a:pt x="9867" y="5245"/>
                      <a:pt x="9862" y="5239"/>
                    </a:cubicBezTo>
                    <a:cubicBezTo>
                      <a:pt x="9859" y="5231"/>
                      <a:pt x="9856" y="5222"/>
                      <a:pt x="9853" y="5214"/>
                    </a:cubicBezTo>
                    <a:lnTo>
                      <a:pt x="9839" y="5214"/>
                    </a:lnTo>
                    <a:cubicBezTo>
                      <a:pt x="9837" y="5205"/>
                      <a:pt x="9836" y="5197"/>
                      <a:pt x="9834" y="5188"/>
                    </a:cubicBezTo>
                    <a:lnTo>
                      <a:pt x="9834" y="5103"/>
                    </a:lnTo>
                    <a:cubicBezTo>
                      <a:pt x="9836" y="5100"/>
                      <a:pt x="9837" y="5097"/>
                      <a:pt x="9839" y="5094"/>
                    </a:cubicBezTo>
                    <a:cubicBezTo>
                      <a:pt x="9844" y="5097"/>
                      <a:pt x="9848" y="5100"/>
                      <a:pt x="9853" y="5103"/>
                    </a:cubicBezTo>
                    <a:cubicBezTo>
                      <a:pt x="9861" y="5111"/>
                      <a:pt x="9868" y="5120"/>
                      <a:pt x="9876" y="5128"/>
                    </a:cubicBezTo>
                    <a:cubicBezTo>
                      <a:pt x="9880" y="5120"/>
                      <a:pt x="9885" y="5111"/>
                      <a:pt x="9889" y="5103"/>
                    </a:cubicBezTo>
                    <a:cubicBezTo>
                      <a:pt x="9886" y="5109"/>
                      <a:pt x="9883" y="5114"/>
                      <a:pt x="9880" y="5120"/>
                    </a:cubicBezTo>
                    <a:cubicBezTo>
                      <a:pt x="9883" y="5123"/>
                      <a:pt x="9886" y="5125"/>
                      <a:pt x="9889" y="5128"/>
                    </a:cubicBezTo>
                    <a:lnTo>
                      <a:pt x="9912" y="5128"/>
                    </a:lnTo>
                    <a:cubicBezTo>
                      <a:pt x="9911" y="5134"/>
                      <a:pt x="9909" y="5139"/>
                      <a:pt x="9908" y="5145"/>
                    </a:cubicBezTo>
                    <a:lnTo>
                      <a:pt x="9908" y="5154"/>
                    </a:lnTo>
                    <a:cubicBezTo>
                      <a:pt x="9913" y="5145"/>
                      <a:pt x="9917" y="5137"/>
                      <a:pt x="9922" y="5128"/>
                    </a:cubicBezTo>
                    <a:cubicBezTo>
                      <a:pt x="9926" y="5120"/>
                      <a:pt x="9931" y="5111"/>
                      <a:pt x="9935" y="5103"/>
                    </a:cubicBezTo>
                    <a:cubicBezTo>
                      <a:pt x="9946" y="5094"/>
                      <a:pt x="9957" y="5086"/>
                      <a:pt x="9968" y="5077"/>
                    </a:cubicBezTo>
                    <a:cubicBezTo>
                      <a:pt x="9979" y="5057"/>
                      <a:pt x="9989" y="5037"/>
                      <a:pt x="10000" y="5017"/>
                    </a:cubicBezTo>
                    <a:cubicBezTo>
                      <a:pt x="10019" y="4983"/>
                      <a:pt x="10204" y="4911"/>
                      <a:pt x="10227" y="4860"/>
                    </a:cubicBezTo>
                    <a:cubicBezTo>
                      <a:pt x="10198" y="4809"/>
                      <a:pt x="10168" y="4759"/>
                      <a:pt x="10139" y="4708"/>
                    </a:cubicBezTo>
                    <a:lnTo>
                      <a:pt x="10233" y="4530"/>
                    </a:lnTo>
                    <a:cubicBezTo>
                      <a:pt x="10267" y="4623"/>
                      <a:pt x="10300" y="4717"/>
                      <a:pt x="10334" y="4810"/>
                    </a:cubicBezTo>
                    <a:cubicBezTo>
                      <a:pt x="10363" y="4890"/>
                      <a:pt x="10393" y="4971"/>
                      <a:pt x="10422" y="5051"/>
                    </a:cubicBezTo>
                    <a:lnTo>
                      <a:pt x="10691" y="5255"/>
                    </a:lnTo>
                    <a:cubicBezTo>
                      <a:pt x="10759" y="4971"/>
                      <a:pt x="10643" y="4890"/>
                      <a:pt x="10619" y="4708"/>
                    </a:cubicBezTo>
                    <a:lnTo>
                      <a:pt x="10785" y="4708"/>
                    </a:lnTo>
                    <a:cubicBezTo>
                      <a:pt x="10753" y="4628"/>
                      <a:pt x="10721" y="4547"/>
                      <a:pt x="10689" y="4467"/>
                    </a:cubicBezTo>
                    <a:cubicBezTo>
                      <a:pt x="10705" y="4429"/>
                      <a:pt x="10338" y="4340"/>
                      <a:pt x="10354" y="4302"/>
                    </a:cubicBezTo>
                    <a:cubicBezTo>
                      <a:pt x="10325" y="4256"/>
                      <a:pt x="9941" y="3721"/>
                      <a:pt x="9912" y="3675"/>
                    </a:cubicBezTo>
                    <a:cubicBezTo>
                      <a:pt x="9909" y="3672"/>
                      <a:pt x="9906" y="3670"/>
                      <a:pt x="9903" y="3667"/>
                    </a:cubicBezTo>
                    <a:cubicBezTo>
                      <a:pt x="9900" y="3658"/>
                      <a:pt x="9897" y="3650"/>
                      <a:pt x="9894" y="3641"/>
                    </a:cubicBezTo>
                    <a:cubicBezTo>
                      <a:pt x="9892" y="3644"/>
                      <a:pt x="9891" y="3647"/>
                      <a:pt x="9889" y="3650"/>
                    </a:cubicBezTo>
                    <a:cubicBezTo>
                      <a:pt x="9875" y="3633"/>
                      <a:pt x="9862" y="3615"/>
                      <a:pt x="9848" y="3598"/>
                    </a:cubicBezTo>
                    <a:cubicBezTo>
                      <a:pt x="9842" y="3592"/>
                      <a:pt x="9835" y="3587"/>
                      <a:pt x="9829" y="3581"/>
                    </a:cubicBezTo>
                    <a:lnTo>
                      <a:pt x="9820" y="3581"/>
                    </a:lnTo>
                    <a:cubicBezTo>
                      <a:pt x="9811" y="3573"/>
                      <a:pt x="9802" y="3564"/>
                      <a:pt x="9793" y="3556"/>
                    </a:cubicBezTo>
                    <a:lnTo>
                      <a:pt x="9779" y="3556"/>
                    </a:lnTo>
                    <a:cubicBezTo>
                      <a:pt x="9768" y="3533"/>
                      <a:pt x="9758" y="3510"/>
                      <a:pt x="9747" y="3487"/>
                    </a:cubicBezTo>
                    <a:cubicBezTo>
                      <a:pt x="9721" y="3484"/>
                      <a:pt x="9694" y="3482"/>
                      <a:pt x="9668" y="3479"/>
                    </a:cubicBezTo>
                    <a:cubicBezTo>
                      <a:pt x="9665" y="3482"/>
                      <a:pt x="9662" y="3484"/>
                      <a:pt x="9659" y="3487"/>
                    </a:cubicBezTo>
                    <a:cubicBezTo>
                      <a:pt x="9654" y="3493"/>
                      <a:pt x="9650" y="3498"/>
                      <a:pt x="9645" y="3504"/>
                    </a:cubicBezTo>
                    <a:cubicBezTo>
                      <a:pt x="9640" y="3498"/>
                      <a:pt x="9636" y="3493"/>
                      <a:pt x="9631" y="3487"/>
                    </a:cubicBezTo>
                    <a:cubicBezTo>
                      <a:pt x="9625" y="3484"/>
                      <a:pt x="9619" y="3482"/>
                      <a:pt x="9613" y="3479"/>
                    </a:cubicBezTo>
                    <a:lnTo>
                      <a:pt x="9599" y="3479"/>
                    </a:lnTo>
                    <a:lnTo>
                      <a:pt x="9571" y="3479"/>
                    </a:lnTo>
                    <a:cubicBezTo>
                      <a:pt x="9568" y="3482"/>
                      <a:pt x="9565" y="3484"/>
                      <a:pt x="9562" y="3487"/>
                    </a:cubicBezTo>
                    <a:lnTo>
                      <a:pt x="9539" y="3487"/>
                    </a:lnTo>
                    <a:cubicBezTo>
                      <a:pt x="9528" y="3476"/>
                      <a:pt x="9518" y="3464"/>
                      <a:pt x="9507" y="3453"/>
                    </a:cubicBezTo>
                    <a:lnTo>
                      <a:pt x="9498" y="3453"/>
                    </a:lnTo>
                    <a:lnTo>
                      <a:pt x="9387" y="3419"/>
                    </a:lnTo>
                    <a:cubicBezTo>
                      <a:pt x="9382" y="3422"/>
                      <a:pt x="9378" y="3424"/>
                      <a:pt x="9373" y="3427"/>
                    </a:cubicBezTo>
                    <a:lnTo>
                      <a:pt x="9373" y="3462"/>
                    </a:lnTo>
                    <a:cubicBezTo>
                      <a:pt x="9375" y="3468"/>
                      <a:pt x="9376" y="3473"/>
                      <a:pt x="9378" y="3479"/>
                    </a:cubicBezTo>
                    <a:lnTo>
                      <a:pt x="9378" y="3530"/>
                    </a:lnTo>
                    <a:cubicBezTo>
                      <a:pt x="9370" y="3533"/>
                      <a:pt x="9363" y="3535"/>
                      <a:pt x="9355" y="3538"/>
                    </a:cubicBezTo>
                    <a:lnTo>
                      <a:pt x="9355" y="3581"/>
                    </a:lnTo>
                    <a:lnTo>
                      <a:pt x="9387" y="3590"/>
                    </a:lnTo>
                    <a:cubicBezTo>
                      <a:pt x="9392" y="3616"/>
                      <a:pt x="9396" y="3641"/>
                      <a:pt x="9401" y="3667"/>
                    </a:cubicBezTo>
                    <a:cubicBezTo>
                      <a:pt x="9403" y="3670"/>
                      <a:pt x="9404" y="3672"/>
                      <a:pt x="9406" y="3675"/>
                    </a:cubicBezTo>
                    <a:lnTo>
                      <a:pt x="9406" y="3701"/>
                    </a:lnTo>
                    <a:lnTo>
                      <a:pt x="9415" y="3752"/>
                    </a:lnTo>
                    <a:cubicBezTo>
                      <a:pt x="9401" y="3781"/>
                      <a:pt x="9387" y="3809"/>
                      <a:pt x="9373" y="3838"/>
                    </a:cubicBezTo>
                    <a:cubicBezTo>
                      <a:pt x="9367" y="3846"/>
                      <a:pt x="9361" y="3855"/>
                      <a:pt x="9355" y="3863"/>
                    </a:cubicBezTo>
                    <a:lnTo>
                      <a:pt x="9327" y="3863"/>
                    </a:lnTo>
                    <a:cubicBezTo>
                      <a:pt x="9322" y="3857"/>
                      <a:pt x="9318" y="3852"/>
                      <a:pt x="9313" y="3846"/>
                    </a:cubicBezTo>
                    <a:cubicBezTo>
                      <a:pt x="9309" y="3823"/>
                      <a:pt x="9304" y="3801"/>
                      <a:pt x="9300" y="3778"/>
                    </a:cubicBezTo>
                    <a:cubicBezTo>
                      <a:pt x="9294" y="3769"/>
                      <a:pt x="9287" y="3761"/>
                      <a:pt x="9281" y="3752"/>
                    </a:cubicBezTo>
                    <a:lnTo>
                      <a:pt x="9281" y="3735"/>
                    </a:lnTo>
                    <a:cubicBezTo>
                      <a:pt x="9276" y="3732"/>
                      <a:pt x="9272" y="3729"/>
                      <a:pt x="9267" y="3726"/>
                    </a:cubicBezTo>
                    <a:lnTo>
                      <a:pt x="9240" y="3726"/>
                    </a:lnTo>
                    <a:cubicBezTo>
                      <a:pt x="9237" y="3723"/>
                      <a:pt x="9233" y="3721"/>
                      <a:pt x="9230" y="3718"/>
                    </a:cubicBezTo>
                    <a:cubicBezTo>
                      <a:pt x="9229" y="3675"/>
                      <a:pt x="9227" y="3633"/>
                      <a:pt x="9226" y="3590"/>
                    </a:cubicBezTo>
                    <a:cubicBezTo>
                      <a:pt x="9220" y="3587"/>
                      <a:pt x="9213" y="3584"/>
                      <a:pt x="9207" y="3581"/>
                    </a:cubicBezTo>
                    <a:lnTo>
                      <a:pt x="9207" y="3556"/>
                    </a:lnTo>
                    <a:cubicBezTo>
                      <a:pt x="9210" y="3550"/>
                      <a:pt x="9214" y="3544"/>
                      <a:pt x="9217" y="3538"/>
                    </a:cubicBezTo>
                    <a:lnTo>
                      <a:pt x="9212" y="3538"/>
                    </a:lnTo>
                    <a:cubicBezTo>
                      <a:pt x="9207" y="3530"/>
                      <a:pt x="9203" y="3521"/>
                      <a:pt x="9198" y="3513"/>
                    </a:cubicBezTo>
                    <a:cubicBezTo>
                      <a:pt x="9197" y="3519"/>
                      <a:pt x="9195" y="3524"/>
                      <a:pt x="9194" y="3530"/>
                    </a:cubicBezTo>
                    <a:cubicBezTo>
                      <a:pt x="9177" y="3558"/>
                      <a:pt x="9160" y="3587"/>
                      <a:pt x="9143" y="3615"/>
                    </a:cubicBezTo>
                    <a:lnTo>
                      <a:pt x="9138" y="3615"/>
                    </a:lnTo>
                    <a:lnTo>
                      <a:pt x="9134" y="3615"/>
                    </a:lnTo>
                    <a:lnTo>
                      <a:pt x="9106" y="3615"/>
                    </a:lnTo>
                    <a:lnTo>
                      <a:pt x="9078" y="3590"/>
                    </a:lnTo>
                    <a:lnTo>
                      <a:pt x="9037" y="3581"/>
                    </a:lnTo>
                    <a:cubicBezTo>
                      <a:pt x="9032" y="3584"/>
                      <a:pt x="9028" y="3587"/>
                      <a:pt x="9023" y="3590"/>
                    </a:cubicBezTo>
                    <a:lnTo>
                      <a:pt x="9018" y="3590"/>
                    </a:lnTo>
                    <a:lnTo>
                      <a:pt x="9018" y="3590"/>
                    </a:lnTo>
                    <a:lnTo>
                      <a:pt x="8991" y="3590"/>
                    </a:lnTo>
                    <a:cubicBezTo>
                      <a:pt x="8985" y="3587"/>
                      <a:pt x="8978" y="3584"/>
                      <a:pt x="8972" y="3581"/>
                    </a:cubicBezTo>
                    <a:cubicBezTo>
                      <a:pt x="8968" y="3558"/>
                      <a:pt x="8963" y="3536"/>
                      <a:pt x="8959" y="3513"/>
                    </a:cubicBezTo>
                    <a:lnTo>
                      <a:pt x="8931" y="3538"/>
                    </a:lnTo>
                    <a:lnTo>
                      <a:pt x="8889" y="3538"/>
                    </a:lnTo>
                    <a:lnTo>
                      <a:pt x="8871" y="3556"/>
                    </a:lnTo>
                    <a:cubicBezTo>
                      <a:pt x="8866" y="3550"/>
                      <a:pt x="8862" y="3544"/>
                      <a:pt x="8857" y="3538"/>
                    </a:cubicBezTo>
                    <a:lnTo>
                      <a:pt x="8843" y="3538"/>
                    </a:lnTo>
                    <a:cubicBezTo>
                      <a:pt x="8842" y="3544"/>
                      <a:pt x="8840" y="3550"/>
                      <a:pt x="8839" y="3556"/>
                    </a:cubicBezTo>
                    <a:lnTo>
                      <a:pt x="8839" y="3581"/>
                    </a:lnTo>
                    <a:cubicBezTo>
                      <a:pt x="8834" y="3575"/>
                      <a:pt x="8830" y="3570"/>
                      <a:pt x="8825" y="3564"/>
                    </a:cubicBezTo>
                    <a:lnTo>
                      <a:pt x="8825" y="3615"/>
                    </a:lnTo>
                    <a:cubicBezTo>
                      <a:pt x="8817" y="3609"/>
                      <a:pt x="8810" y="3604"/>
                      <a:pt x="8802" y="3598"/>
                    </a:cubicBezTo>
                    <a:cubicBezTo>
                      <a:pt x="8800" y="3612"/>
                      <a:pt x="8799" y="3627"/>
                      <a:pt x="8797" y="3641"/>
                    </a:cubicBezTo>
                    <a:cubicBezTo>
                      <a:pt x="8792" y="3650"/>
                      <a:pt x="8788" y="3658"/>
                      <a:pt x="8783" y="3667"/>
                    </a:cubicBezTo>
                    <a:cubicBezTo>
                      <a:pt x="8782" y="3661"/>
                      <a:pt x="8780" y="3656"/>
                      <a:pt x="8779" y="3650"/>
                    </a:cubicBezTo>
                    <a:lnTo>
                      <a:pt x="8779" y="3615"/>
                    </a:lnTo>
                    <a:cubicBezTo>
                      <a:pt x="8776" y="3607"/>
                      <a:pt x="8773" y="3598"/>
                      <a:pt x="8770" y="3590"/>
                    </a:cubicBezTo>
                    <a:cubicBezTo>
                      <a:pt x="8768" y="3593"/>
                      <a:pt x="8767" y="3595"/>
                      <a:pt x="8765" y="3598"/>
                    </a:cubicBezTo>
                    <a:cubicBezTo>
                      <a:pt x="8762" y="3595"/>
                      <a:pt x="8759" y="3593"/>
                      <a:pt x="8756" y="3590"/>
                    </a:cubicBezTo>
                    <a:cubicBezTo>
                      <a:pt x="8750" y="3579"/>
                      <a:pt x="8743" y="3567"/>
                      <a:pt x="8737" y="3556"/>
                    </a:cubicBezTo>
                    <a:cubicBezTo>
                      <a:pt x="8733" y="3550"/>
                      <a:pt x="8728" y="3544"/>
                      <a:pt x="8724" y="3538"/>
                    </a:cubicBezTo>
                    <a:lnTo>
                      <a:pt x="8696" y="3538"/>
                    </a:lnTo>
                    <a:cubicBezTo>
                      <a:pt x="8694" y="3530"/>
                      <a:pt x="8693" y="3521"/>
                      <a:pt x="8691" y="3513"/>
                    </a:cubicBezTo>
                    <a:cubicBezTo>
                      <a:pt x="8683" y="3510"/>
                      <a:pt x="8676" y="3507"/>
                      <a:pt x="8668" y="3504"/>
                    </a:cubicBezTo>
                    <a:lnTo>
                      <a:pt x="8668" y="3487"/>
                    </a:lnTo>
                    <a:cubicBezTo>
                      <a:pt x="8676" y="3441"/>
                      <a:pt x="8683" y="3396"/>
                      <a:pt x="8691" y="3350"/>
                    </a:cubicBezTo>
                    <a:lnTo>
                      <a:pt x="8691" y="3291"/>
                    </a:lnTo>
                    <a:cubicBezTo>
                      <a:pt x="8686" y="3274"/>
                      <a:pt x="8682" y="3256"/>
                      <a:pt x="8677" y="3239"/>
                    </a:cubicBezTo>
                    <a:lnTo>
                      <a:pt x="8677" y="3231"/>
                    </a:lnTo>
                    <a:cubicBezTo>
                      <a:pt x="8663" y="3197"/>
                      <a:pt x="8650" y="3162"/>
                      <a:pt x="8636" y="3128"/>
                    </a:cubicBezTo>
                    <a:cubicBezTo>
                      <a:pt x="8631" y="3125"/>
                      <a:pt x="8627" y="3123"/>
                      <a:pt x="8622" y="3120"/>
                    </a:cubicBezTo>
                    <a:cubicBezTo>
                      <a:pt x="8621" y="3111"/>
                      <a:pt x="8619" y="3103"/>
                      <a:pt x="8618" y="3094"/>
                    </a:cubicBezTo>
                    <a:cubicBezTo>
                      <a:pt x="8610" y="3088"/>
                      <a:pt x="8602" y="3083"/>
                      <a:pt x="8594" y="3077"/>
                    </a:cubicBezTo>
                    <a:lnTo>
                      <a:pt x="8548" y="3077"/>
                    </a:lnTo>
                    <a:cubicBezTo>
                      <a:pt x="8544" y="3074"/>
                      <a:pt x="8539" y="3071"/>
                      <a:pt x="8535" y="3068"/>
                    </a:cubicBezTo>
                    <a:lnTo>
                      <a:pt x="8429" y="3077"/>
                    </a:lnTo>
                    <a:lnTo>
                      <a:pt x="8424" y="3077"/>
                    </a:lnTo>
                    <a:lnTo>
                      <a:pt x="8396" y="3077"/>
                    </a:lnTo>
                    <a:cubicBezTo>
                      <a:pt x="8393" y="3083"/>
                      <a:pt x="8390" y="3088"/>
                      <a:pt x="8387" y="3094"/>
                    </a:cubicBezTo>
                    <a:lnTo>
                      <a:pt x="8378" y="3094"/>
                    </a:lnTo>
                    <a:cubicBezTo>
                      <a:pt x="8366" y="3088"/>
                      <a:pt x="8353" y="3083"/>
                      <a:pt x="8341" y="3077"/>
                    </a:cubicBezTo>
                    <a:lnTo>
                      <a:pt x="8336" y="3077"/>
                    </a:lnTo>
                    <a:cubicBezTo>
                      <a:pt x="8333" y="3086"/>
                      <a:pt x="8330" y="3094"/>
                      <a:pt x="8327" y="3103"/>
                    </a:cubicBezTo>
                    <a:cubicBezTo>
                      <a:pt x="8321" y="3109"/>
                      <a:pt x="8315" y="3114"/>
                      <a:pt x="8309" y="3120"/>
                    </a:cubicBezTo>
                    <a:cubicBezTo>
                      <a:pt x="8307" y="3114"/>
                      <a:pt x="8306" y="3109"/>
                      <a:pt x="8304" y="3103"/>
                    </a:cubicBezTo>
                    <a:lnTo>
                      <a:pt x="8276" y="3103"/>
                    </a:lnTo>
                    <a:cubicBezTo>
                      <a:pt x="8273" y="3109"/>
                      <a:pt x="8270" y="3114"/>
                      <a:pt x="8267" y="3120"/>
                    </a:cubicBezTo>
                    <a:cubicBezTo>
                      <a:pt x="8262" y="3114"/>
                      <a:pt x="8258" y="3109"/>
                      <a:pt x="8253" y="3103"/>
                    </a:cubicBezTo>
                    <a:cubicBezTo>
                      <a:pt x="8245" y="3111"/>
                      <a:pt x="8238" y="3120"/>
                      <a:pt x="8230" y="3128"/>
                    </a:cubicBezTo>
                    <a:lnTo>
                      <a:pt x="8217" y="3128"/>
                    </a:lnTo>
                    <a:cubicBezTo>
                      <a:pt x="8212" y="3137"/>
                      <a:pt x="8208" y="3145"/>
                      <a:pt x="8203" y="3154"/>
                    </a:cubicBezTo>
                    <a:cubicBezTo>
                      <a:pt x="8194" y="3134"/>
                      <a:pt x="8184" y="3114"/>
                      <a:pt x="8175" y="3094"/>
                    </a:cubicBezTo>
                    <a:lnTo>
                      <a:pt x="8161" y="3094"/>
                    </a:lnTo>
                    <a:cubicBezTo>
                      <a:pt x="8160" y="3088"/>
                      <a:pt x="8158" y="3083"/>
                      <a:pt x="8157" y="3077"/>
                    </a:cubicBezTo>
                    <a:cubicBezTo>
                      <a:pt x="8165" y="3074"/>
                      <a:pt x="8172" y="3071"/>
                      <a:pt x="8180" y="3068"/>
                    </a:cubicBezTo>
                    <a:cubicBezTo>
                      <a:pt x="8183" y="3060"/>
                      <a:pt x="8186" y="3051"/>
                      <a:pt x="8189" y="3043"/>
                    </a:cubicBezTo>
                    <a:lnTo>
                      <a:pt x="8189" y="3017"/>
                    </a:lnTo>
                    <a:cubicBezTo>
                      <a:pt x="8175" y="2991"/>
                      <a:pt x="8161" y="2966"/>
                      <a:pt x="8147" y="2940"/>
                    </a:cubicBezTo>
                    <a:cubicBezTo>
                      <a:pt x="8146" y="2932"/>
                      <a:pt x="8144" y="2923"/>
                      <a:pt x="8143" y="2915"/>
                    </a:cubicBezTo>
                    <a:lnTo>
                      <a:pt x="8143" y="2906"/>
                    </a:lnTo>
                    <a:cubicBezTo>
                      <a:pt x="8128" y="2915"/>
                      <a:pt x="8112" y="2923"/>
                      <a:pt x="8097" y="2932"/>
                    </a:cubicBezTo>
                    <a:lnTo>
                      <a:pt x="8083" y="2932"/>
                    </a:lnTo>
                    <a:cubicBezTo>
                      <a:pt x="8080" y="2923"/>
                      <a:pt x="8077" y="2915"/>
                      <a:pt x="8074" y="2906"/>
                    </a:cubicBezTo>
                    <a:lnTo>
                      <a:pt x="8074" y="2897"/>
                    </a:lnTo>
                    <a:cubicBezTo>
                      <a:pt x="8068" y="2889"/>
                      <a:pt x="8061" y="2880"/>
                      <a:pt x="8055" y="2872"/>
                    </a:cubicBezTo>
                    <a:cubicBezTo>
                      <a:pt x="8052" y="2858"/>
                      <a:pt x="8049" y="2843"/>
                      <a:pt x="8046" y="2829"/>
                    </a:cubicBezTo>
                    <a:lnTo>
                      <a:pt x="8041" y="2829"/>
                    </a:lnTo>
                    <a:cubicBezTo>
                      <a:pt x="8035" y="2820"/>
                      <a:pt x="8029" y="2812"/>
                      <a:pt x="8023" y="2803"/>
                    </a:cubicBezTo>
                    <a:cubicBezTo>
                      <a:pt x="8020" y="2812"/>
                      <a:pt x="8017" y="2820"/>
                      <a:pt x="8014" y="2829"/>
                    </a:cubicBezTo>
                    <a:lnTo>
                      <a:pt x="8000" y="2829"/>
                    </a:lnTo>
                    <a:cubicBezTo>
                      <a:pt x="7998" y="2826"/>
                      <a:pt x="7997" y="2824"/>
                      <a:pt x="7995" y="2821"/>
                    </a:cubicBezTo>
                    <a:cubicBezTo>
                      <a:pt x="7987" y="2815"/>
                      <a:pt x="7980" y="2809"/>
                      <a:pt x="7972" y="2803"/>
                    </a:cubicBezTo>
                    <a:cubicBezTo>
                      <a:pt x="7971" y="2809"/>
                      <a:pt x="7969" y="2815"/>
                      <a:pt x="7968" y="2821"/>
                    </a:cubicBezTo>
                    <a:lnTo>
                      <a:pt x="7968" y="2803"/>
                    </a:lnTo>
                    <a:cubicBezTo>
                      <a:pt x="7977" y="2780"/>
                      <a:pt x="7986" y="2758"/>
                      <a:pt x="7995" y="2735"/>
                    </a:cubicBezTo>
                    <a:lnTo>
                      <a:pt x="8000" y="2735"/>
                    </a:lnTo>
                    <a:cubicBezTo>
                      <a:pt x="8005" y="2738"/>
                      <a:pt x="8009" y="2741"/>
                      <a:pt x="8014" y="2744"/>
                    </a:cubicBezTo>
                    <a:cubicBezTo>
                      <a:pt x="8017" y="2752"/>
                      <a:pt x="8020" y="2761"/>
                      <a:pt x="8023" y="2769"/>
                    </a:cubicBezTo>
                    <a:cubicBezTo>
                      <a:pt x="8026" y="2761"/>
                      <a:pt x="8029" y="2752"/>
                      <a:pt x="8032" y="2744"/>
                    </a:cubicBezTo>
                    <a:lnTo>
                      <a:pt x="8032" y="2709"/>
                    </a:lnTo>
                    <a:cubicBezTo>
                      <a:pt x="8029" y="2683"/>
                      <a:pt x="8026" y="2658"/>
                      <a:pt x="8023" y="2632"/>
                    </a:cubicBezTo>
                    <a:cubicBezTo>
                      <a:pt x="8011" y="2615"/>
                      <a:pt x="7998" y="2598"/>
                      <a:pt x="7986" y="2581"/>
                    </a:cubicBezTo>
                    <a:lnTo>
                      <a:pt x="7968" y="2581"/>
                    </a:lnTo>
                    <a:cubicBezTo>
                      <a:pt x="7966" y="2573"/>
                      <a:pt x="7965" y="2564"/>
                      <a:pt x="7963" y="2556"/>
                    </a:cubicBezTo>
                    <a:cubicBezTo>
                      <a:pt x="7954" y="2553"/>
                      <a:pt x="7944" y="2550"/>
                      <a:pt x="7935" y="2547"/>
                    </a:cubicBezTo>
                    <a:lnTo>
                      <a:pt x="7912" y="2547"/>
                    </a:lnTo>
                    <a:lnTo>
                      <a:pt x="7912" y="2556"/>
                    </a:lnTo>
                    <a:cubicBezTo>
                      <a:pt x="7911" y="2553"/>
                      <a:pt x="7909" y="2550"/>
                      <a:pt x="7908" y="2547"/>
                    </a:cubicBezTo>
                    <a:lnTo>
                      <a:pt x="7862" y="2547"/>
                    </a:lnTo>
                    <a:cubicBezTo>
                      <a:pt x="7857" y="2550"/>
                      <a:pt x="7853" y="2553"/>
                      <a:pt x="7848" y="2556"/>
                    </a:cubicBezTo>
                    <a:cubicBezTo>
                      <a:pt x="7839" y="2553"/>
                      <a:pt x="7829" y="2550"/>
                      <a:pt x="7820" y="2547"/>
                    </a:cubicBezTo>
                    <a:cubicBezTo>
                      <a:pt x="7815" y="2536"/>
                      <a:pt x="7811" y="2524"/>
                      <a:pt x="7806" y="2513"/>
                    </a:cubicBezTo>
                    <a:lnTo>
                      <a:pt x="7788" y="2513"/>
                    </a:lnTo>
                    <a:cubicBezTo>
                      <a:pt x="7779" y="2499"/>
                      <a:pt x="7769" y="2484"/>
                      <a:pt x="7760" y="2470"/>
                    </a:cubicBezTo>
                    <a:lnTo>
                      <a:pt x="7751" y="2470"/>
                    </a:lnTo>
                    <a:cubicBezTo>
                      <a:pt x="7736" y="2467"/>
                      <a:pt x="7720" y="2465"/>
                      <a:pt x="7705" y="2462"/>
                    </a:cubicBezTo>
                    <a:cubicBezTo>
                      <a:pt x="7694" y="2448"/>
                      <a:pt x="7684" y="2433"/>
                      <a:pt x="7673" y="2419"/>
                    </a:cubicBezTo>
                    <a:lnTo>
                      <a:pt x="7627" y="2419"/>
                    </a:lnTo>
                    <a:cubicBezTo>
                      <a:pt x="7622" y="2416"/>
                      <a:pt x="7618" y="2413"/>
                      <a:pt x="7613" y="2410"/>
                    </a:cubicBezTo>
                    <a:lnTo>
                      <a:pt x="7493" y="2393"/>
                    </a:lnTo>
                    <a:cubicBezTo>
                      <a:pt x="7488" y="2390"/>
                      <a:pt x="7484" y="2388"/>
                      <a:pt x="7479" y="2385"/>
                    </a:cubicBezTo>
                    <a:lnTo>
                      <a:pt x="7479" y="2376"/>
                    </a:lnTo>
                    <a:cubicBezTo>
                      <a:pt x="7474" y="2370"/>
                      <a:pt x="7470" y="2365"/>
                      <a:pt x="7465" y="2359"/>
                    </a:cubicBezTo>
                    <a:lnTo>
                      <a:pt x="7447" y="2350"/>
                    </a:lnTo>
                    <a:cubicBezTo>
                      <a:pt x="7442" y="2359"/>
                      <a:pt x="7438" y="2367"/>
                      <a:pt x="7433" y="2376"/>
                    </a:cubicBezTo>
                    <a:lnTo>
                      <a:pt x="7433" y="2385"/>
                    </a:lnTo>
                    <a:cubicBezTo>
                      <a:pt x="7438" y="2393"/>
                      <a:pt x="7442" y="2402"/>
                      <a:pt x="7447" y="2410"/>
                    </a:cubicBezTo>
                    <a:lnTo>
                      <a:pt x="7447" y="2436"/>
                    </a:lnTo>
                    <a:cubicBezTo>
                      <a:pt x="7449" y="2445"/>
                      <a:pt x="7450" y="2453"/>
                      <a:pt x="7452" y="2462"/>
                    </a:cubicBezTo>
                    <a:cubicBezTo>
                      <a:pt x="7450" y="2465"/>
                      <a:pt x="7449" y="2467"/>
                      <a:pt x="7447" y="2470"/>
                    </a:cubicBezTo>
                    <a:cubicBezTo>
                      <a:pt x="7439" y="2484"/>
                      <a:pt x="7432" y="2499"/>
                      <a:pt x="7424" y="2513"/>
                    </a:cubicBezTo>
                    <a:cubicBezTo>
                      <a:pt x="7422" y="2527"/>
                      <a:pt x="7421" y="2542"/>
                      <a:pt x="7419" y="2556"/>
                    </a:cubicBezTo>
                    <a:cubicBezTo>
                      <a:pt x="7415" y="2579"/>
                      <a:pt x="7410" y="2601"/>
                      <a:pt x="7406" y="2624"/>
                    </a:cubicBezTo>
                    <a:lnTo>
                      <a:pt x="7392" y="2624"/>
                    </a:lnTo>
                    <a:cubicBezTo>
                      <a:pt x="7386" y="2633"/>
                      <a:pt x="7379" y="2641"/>
                      <a:pt x="7373" y="2650"/>
                    </a:cubicBezTo>
                    <a:cubicBezTo>
                      <a:pt x="7370" y="2661"/>
                      <a:pt x="7367" y="2673"/>
                      <a:pt x="7364" y="2684"/>
                    </a:cubicBezTo>
                    <a:lnTo>
                      <a:pt x="7364" y="2692"/>
                    </a:lnTo>
                    <a:cubicBezTo>
                      <a:pt x="7367" y="2701"/>
                      <a:pt x="7370" y="2709"/>
                      <a:pt x="7373" y="2718"/>
                    </a:cubicBezTo>
                    <a:lnTo>
                      <a:pt x="7373" y="2744"/>
                    </a:lnTo>
                    <a:lnTo>
                      <a:pt x="7359" y="2744"/>
                    </a:lnTo>
                    <a:lnTo>
                      <a:pt x="7359" y="2795"/>
                    </a:lnTo>
                    <a:cubicBezTo>
                      <a:pt x="7361" y="2804"/>
                      <a:pt x="7362" y="2812"/>
                      <a:pt x="7364" y="2821"/>
                    </a:cubicBezTo>
                    <a:cubicBezTo>
                      <a:pt x="7369" y="2829"/>
                      <a:pt x="7373" y="2838"/>
                      <a:pt x="7378" y="2846"/>
                    </a:cubicBezTo>
                    <a:lnTo>
                      <a:pt x="7378" y="2855"/>
                    </a:lnTo>
                    <a:lnTo>
                      <a:pt x="7378" y="2880"/>
                    </a:lnTo>
                    <a:lnTo>
                      <a:pt x="7378" y="2906"/>
                    </a:lnTo>
                    <a:lnTo>
                      <a:pt x="7364" y="2906"/>
                    </a:lnTo>
                    <a:cubicBezTo>
                      <a:pt x="7358" y="2897"/>
                      <a:pt x="7352" y="2889"/>
                      <a:pt x="7346" y="2880"/>
                    </a:cubicBezTo>
                    <a:cubicBezTo>
                      <a:pt x="7341" y="2892"/>
                      <a:pt x="7337" y="2903"/>
                      <a:pt x="7332" y="2915"/>
                    </a:cubicBezTo>
                    <a:cubicBezTo>
                      <a:pt x="7327" y="2912"/>
                      <a:pt x="7323" y="2909"/>
                      <a:pt x="7318" y="2906"/>
                    </a:cubicBezTo>
                    <a:cubicBezTo>
                      <a:pt x="7316" y="2909"/>
                      <a:pt x="7315" y="2912"/>
                      <a:pt x="7313" y="2915"/>
                    </a:cubicBezTo>
                    <a:lnTo>
                      <a:pt x="7313" y="2906"/>
                    </a:lnTo>
                    <a:cubicBezTo>
                      <a:pt x="7304" y="2917"/>
                      <a:pt x="7295" y="2929"/>
                      <a:pt x="7286" y="2940"/>
                    </a:cubicBezTo>
                    <a:cubicBezTo>
                      <a:pt x="7283" y="2949"/>
                      <a:pt x="7279" y="2957"/>
                      <a:pt x="7276" y="2966"/>
                    </a:cubicBezTo>
                    <a:cubicBezTo>
                      <a:pt x="7275" y="2972"/>
                      <a:pt x="7273" y="2977"/>
                      <a:pt x="7272" y="2983"/>
                    </a:cubicBezTo>
                    <a:cubicBezTo>
                      <a:pt x="7270" y="2992"/>
                      <a:pt x="7269" y="3000"/>
                      <a:pt x="7267" y="3009"/>
                    </a:cubicBezTo>
                    <a:lnTo>
                      <a:pt x="7253" y="3009"/>
                    </a:lnTo>
                    <a:cubicBezTo>
                      <a:pt x="7250" y="3012"/>
                      <a:pt x="7247" y="3014"/>
                      <a:pt x="7244" y="3017"/>
                    </a:cubicBezTo>
                    <a:cubicBezTo>
                      <a:pt x="7243" y="3014"/>
                      <a:pt x="7241" y="3012"/>
                      <a:pt x="7240" y="3009"/>
                    </a:cubicBezTo>
                    <a:cubicBezTo>
                      <a:pt x="7237" y="3003"/>
                      <a:pt x="7233" y="2997"/>
                      <a:pt x="7230" y="2991"/>
                    </a:cubicBezTo>
                    <a:cubicBezTo>
                      <a:pt x="7229" y="2988"/>
                      <a:pt x="7227" y="2986"/>
                      <a:pt x="7226" y="2983"/>
                    </a:cubicBezTo>
                    <a:lnTo>
                      <a:pt x="7226" y="2966"/>
                    </a:lnTo>
                    <a:cubicBezTo>
                      <a:pt x="7221" y="2963"/>
                      <a:pt x="7217" y="2960"/>
                      <a:pt x="7212" y="2957"/>
                    </a:cubicBezTo>
                    <a:lnTo>
                      <a:pt x="7212" y="2932"/>
                    </a:lnTo>
                    <a:cubicBezTo>
                      <a:pt x="7207" y="2926"/>
                      <a:pt x="7203" y="2921"/>
                      <a:pt x="7198" y="2915"/>
                    </a:cubicBezTo>
                    <a:lnTo>
                      <a:pt x="7194" y="2915"/>
                    </a:lnTo>
                    <a:cubicBezTo>
                      <a:pt x="7182" y="2903"/>
                      <a:pt x="7169" y="2892"/>
                      <a:pt x="7157" y="2880"/>
                    </a:cubicBezTo>
                    <a:lnTo>
                      <a:pt x="7138" y="2880"/>
                    </a:lnTo>
                    <a:cubicBezTo>
                      <a:pt x="7132" y="2877"/>
                      <a:pt x="7126" y="2875"/>
                      <a:pt x="7120" y="2872"/>
                    </a:cubicBezTo>
                    <a:cubicBezTo>
                      <a:pt x="7117" y="2863"/>
                      <a:pt x="7114" y="2855"/>
                      <a:pt x="7111" y="2846"/>
                    </a:cubicBezTo>
                    <a:lnTo>
                      <a:pt x="7106" y="2846"/>
                    </a:lnTo>
                    <a:cubicBezTo>
                      <a:pt x="7101" y="2840"/>
                      <a:pt x="7097" y="2835"/>
                      <a:pt x="7092" y="2829"/>
                    </a:cubicBezTo>
                    <a:lnTo>
                      <a:pt x="7051" y="2829"/>
                    </a:lnTo>
                    <a:cubicBezTo>
                      <a:pt x="7046" y="2846"/>
                      <a:pt x="7042" y="2863"/>
                      <a:pt x="7037" y="2880"/>
                    </a:cubicBezTo>
                    <a:lnTo>
                      <a:pt x="7037" y="2906"/>
                    </a:lnTo>
                    <a:lnTo>
                      <a:pt x="7037" y="2932"/>
                    </a:lnTo>
                    <a:lnTo>
                      <a:pt x="7037" y="2940"/>
                    </a:lnTo>
                    <a:cubicBezTo>
                      <a:pt x="7032" y="2929"/>
                      <a:pt x="7028" y="2917"/>
                      <a:pt x="7023" y="2906"/>
                    </a:cubicBezTo>
                    <a:lnTo>
                      <a:pt x="7023" y="2915"/>
                    </a:lnTo>
                    <a:lnTo>
                      <a:pt x="6991" y="2906"/>
                    </a:lnTo>
                    <a:cubicBezTo>
                      <a:pt x="6986" y="2909"/>
                      <a:pt x="6982" y="2912"/>
                      <a:pt x="6977" y="2915"/>
                    </a:cubicBezTo>
                    <a:lnTo>
                      <a:pt x="6963" y="2915"/>
                    </a:lnTo>
                    <a:cubicBezTo>
                      <a:pt x="6958" y="2901"/>
                      <a:pt x="6954" y="2886"/>
                      <a:pt x="6949" y="2872"/>
                    </a:cubicBezTo>
                    <a:cubicBezTo>
                      <a:pt x="6944" y="2866"/>
                      <a:pt x="6940" y="2861"/>
                      <a:pt x="6935" y="2855"/>
                    </a:cubicBezTo>
                    <a:cubicBezTo>
                      <a:pt x="6931" y="2838"/>
                      <a:pt x="6926" y="2820"/>
                      <a:pt x="6922" y="2803"/>
                    </a:cubicBezTo>
                    <a:cubicBezTo>
                      <a:pt x="6920" y="2797"/>
                      <a:pt x="6919" y="2792"/>
                      <a:pt x="6917" y="2786"/>
                    </a:cubicBezTo>
                    <a:cubicBezTo>
                      <a:pt x="6912" y="2760"/>
                      <a:pt x="6908" y="2735"/>
                      <a:pt x="6903" y="2709"/>
                    </a:cubicBezTo>
                    <a:lnTo>
                      <a:pt x="6903" y="2692"/>
                    </a:lnTo>
                    <a:cubicBezTo>
                      <a:pt x="6902" y="2698"/>
                      <a:pt x="6900" y="2703"/>
                      <a:pt x="6899" y="2709"/>
                    </a:cubicBezTo>
                    <a:cubicBezTo>
                      <a:pt x="6885" y="2763"/>
                      <a:pt x="6871" y="2818"/>
                      <a:pt x="6857" y="2872"/>
                    </a:cubicBezTo>
                    <a:lnTo>
                      <a:pt x="6857" y="3009"/>
                    </a:lnTo>
                    <a:cubicBezTo>
                      <a:pt x="6854" y="3012"/>
                      <a:pt x="6851" y="3014"/>
                      <a:pt x="6848" y="3017"/>
                    </a:cubicBezTo>
                    <a:lnTo>
                      <a:pt x="6839" y="3068"/>
                    </a:lnTo>
                    <a:cubicBezTo>
                      <a:pt x="6836" y="3071"/>
                      <a:pt x="6832" y="3074"/>
                      <a:pt x="6829" y="3077"/>
                    </a:cubicBezTo>
                    <a:lnTo>
                      <a:pt x="6829" y="3128"/>
                    </a:lnTo>
                    <a:cubicBezTo>
                      <a:pt x="6825" y="3137"/>
                      <a:pt x="6820" y="3145"/>
                      <a:pt x="6816" y="3154"/>
                    </a:cubicBezTo>
                    <a:cubicBezTo>
                      <a:pt x="6814" y="3162"/>
                      <a:pt x="6813" y="3171"/>
                      <a:pt x="6811" y="3179"/>
                    </a:cubicBezTo>
                    <a:cubicBezTo>
                      <a:pt x="6806" y="3176"/>
                      <a:pt x="6802" y="3174"/>
                      <a:pt x="6797" y="3171"/>
                    </a:cubicBezTo>
                    <a:cubicBezTo>
                      <a:pt x="6792" y="3148"/>
                      <a:pt x="6788" y="3126"/>
                      <a:pt x="6783" y="3103"/>
                    </a:cubicBezTo>
                    <a:cubicBezTo>
                      <a:pt x="6782" y="3100"/>
                      <a:pt x="6780" y="3097"/>
                      <a:pt x="6779" y="3094"/>
                    </a:cubicBezTo>
                    <a:lnTo>
                      <a:pt x="6779" y="3120"/>
                    </a:lnTo>
                    <a:cubicBezTo>
                      <a:pt x="6776" y="3123"/>
                      <a:pt x="6773" y="3125"/>
                      <a:pt x="6770" y="3128"/>
                    </a:cubicBezTo>
                    <a:cubicBezTo>
                      <a:pt x="6768" y="3120"/>
                      <a:pt x="6767" y="3111"/>
                      <a:pt x="6765" y="3103"/>
                    </a:cubicBezTo>
                    <a:lnTo>
                      <a:pt x="6756" y="3103"/>
                    </a:lnTo>
                    <a:lnTo>
                      <a:pt x="6742" y="3103"/>
                    </a:lnTo>
                    <a:cubicBezTo>
                      <a:pt x="6740" y="3094"/>
                      <a:pt x="6739" y="3086"/>
                      <a:pt x="6737" y="3077"/>
                    </a:cubicBezTo>
                    <a:lnTo>
                      <a:pt x="6737" y="3068"/>
                    </a:lnTo>
                    <a:cubicBezTo>
                      <a:pt x="6734" y="3060"/>
                      <a:pt x="6731" y="3051"/>
                      <a:pt x="6728" y="3043"/>
                    </a:cubicBezTo>
                    <a:cubicBezTo>
                      <a:pt x="6727" y="3046"/>
                      <a:pt x="6725" y="3048"/>
                      <a:pt x="6724" y="3051"/>
                    </a:cubicBezTo>
                    <a:cubicBezTo>
                      <a:pt x="6721" y="3048"/>
                      <a:pt x="6717" y="3046"/>
                      <a:pt x="6714" y="3043"/>
                    </a:cubicBezTo>
                    <a:cubicBezTo>
                      <a:pt x="6713" y="3040"/>
                      <a:pt x="6711" y="3037"/>
                      <a:pt x="6710" y="3034"/>
                    </a:cubicBezTo>
                    <a:cubicBezTo>
                      <a:pt x="6708" y="3017"/>
                      <a:pt x="6707" y="3000"/>
                      <a:pt x="6705" y="2983"/>
                    </a:cubicBezTo>
                    <a:cubicBezTo>
                      <a:pt x="6702" y="2977"/>
                      <a:pt x="6699" y="2972"/>
                      <a:pt x="6696" y="2966"/>
                    </a:cubicBezTo>
                    <a:cubicBezTo>
                      <a:pt x="6694" y="2972"/>
                      <a:pt x="6693" y="2977"/>
                      <a:pt x="6691" y="2983"/>
                    </a:cubicBezTo>
                    <a:cubicBezTo>
                      <a:pt x="6686" y="2954"/>
                      <a:pt x="6682" y="2926"/>
                      <a:pt x="6677" y="2897"/>
                    </a:cubicBezTo>
                    <a:lnTo>
                      <a:pt x="6677" y="2897"/>
                    </a:lnTo>
                    <a:lnTo>
                      <a:pt x="6677" y="2872"/>
                    </a:lnTo>
                    <a:lnTo>
                      <a:pt x="6668" y="2821"/>
                    </a:lnTo>
                    <a:cubicBezTo>
                      <a:pt x="6667" y="2824"/>
                      <a:pt x="6665" y="2826"/>
                      <a:pt x="6664" y="2829"/>
                    </a:cubicBezTo>
                    <a:cubicBezTo>
                      <a:pt x="6661" y="2835"/>
                      <a:pt x="6657" y="2840"/>
                      <a:pt x="6654" y="2846"/>
                    </a:cubicBezTo>
                    <a:cubicBezTo>
                      <a:pt x="6653" y="2840"/>
                      <a:pt x="6651" y="2835"/>
                      <a:pt x="6650" y="2829"/>
                    </a:cubicBezTo>
                    <a:lnTo>
                      <a:pt x="6650" y="2803"/>
                    </a:lnTo>
                    <a:lnTo>
                      <a:pt x="6650" y="2795"/>
                    </a:lnTo>
                    <a:lnTo>
                      <a:pt x="6641" y="2786"/>
                    </a:lnTo>
                    <a:cubicBezTo>
                      <a:pt x="6639" y="2769"/>
                      <a:pt x="6638" y="2752"/>
                      <a:pt x="6636" y="2735"/>
                    </a:cubicBezTo>
                    <a:cubicBezTo>
                      <a:pt x="6645" y="2712"/>
                      <a:pt x="6655" y="2690"/>
                      <a:pt x="6664" y="2667"/>
                    </a:cubicBezTo>
                    <a:cubicBezTo>
                      <a:pt x="6665" y="2673"/>
                      <a:pt x="6667" y="2678"/>
                      <a:pt x="6668" y="2684"/>
                    </a:cubicBezTo>
                    <a:cubicBezTo>
                      <a:pt x="6671" y="2678"/>
                      <a:pt x="6674" y="2673"/>
                      <a:pt x="6677" y="2667"/>
                    </a:cubicBezTo>
                    <a:lnTo>
                      <a:pt x="6668" y="2667"/>
                    </a:lnTo>
                    <a:lnTo>
                      <a:pt x="6668" y="2650"/>
                    </a:lnTo>
                    <a:lnTo>
                      <a:pt x="6682" y="2650"/>
                    </a:lnTo>
                    <a:cubicBezTo>
                      <a:pt x="6685" y="2641"/>
                      <a:pt x="6688" y="2633"/>
                      <a:pt x="6691" y="2624"/>
                    </a:cubicBezTo>
                    <a:cubicBezTo>
                      <a:pt x="6688" y="2627"/>
                      <a:pt x="6685" y="2629"/>
                      <a:pt x="6682" y="2632"/>
                    </a:cubicBezTo>
                    <a:lnTo>
                      <a:pt x="6682" y="2624"/>
                    </a:lnTo>
                    <a:cubicBezTo>
                      <a:pt x="6685" y="2618"/>
                      <a:pt x="6688" y="2613"/>
                      <a:pt x="6691" y="2607"/>
                    </a:cubicBezTo>
                    <a:lnTo>
                      <a:pt x="6691" y="2598"/>
                    </a:lnTo>
                    <a:lnTo>
                      <a:pt x="6691" y="2581"/>
                    </a:lnTo>
                    <a:cubicBezTo>
                      <a:pt x="6693" y="2564"/>
                      <a:pt x="6694" y="2547"/>
                      <a:pt x="6696" y="2530"/>
                    </a:cubicBezTo>
                    <a:cubicBezTo>
                      <a:pt x="6690" y="2524"/>
                      <a:pt x="6683" y="2519"/>
                      <a:pt x="6677" y="2513"/>
                    </a:cubicBezTo>
                    <a:lnTo>
                      <a:pt x="6677" y="2496"/>
                    </a:lnTo>
                    <a:cubicBezTo>
                      <a:pt x="6679" y="2487"/>
                      <a:pt x="6680" y="2479"/>
                      <a:pt x="6682" y="2470"/>
                    </a:cubicBezTo>
                    <a:cubicBezTo>
                      <a:pt x="6677" y="2467"/>
                      <a:pt x="6673" y="2465"/>
                      <a:pt x="6668" y="2462"/>
                    </a:cubicBezTo>
                    <a:cubicBezTo>
                      <a:pt x="6671" y="2453"/>
                      <a:pt x="6674" y="2445"/>
                      <a:pt x="6677" y="2436"/>
                    </a:cubicBezTo>
                    <a:cubicBezTo>
                      <a:pt x="6679" y="2430"/>
                      <a:pt x="6680" y="2425"/>
                      <a:pt x="6682" y="2419"/>
                    </a:cubicBezTo>
                    <a:lnTo>
                      <a:pt x="6682" y="2393"/>
                    </a:lnTo>
                    <a:lnTo>
                      <a:pt x="6682" y="2385"/>
                    </a:lnTo>
                    <a:lnTo>
                      <a:pt x="6682" y="2385"/>
                    </a:lnTo>
                    <a:cubicBezTo>
                      <a:pt x="6680" y="2382"/>
                      <a:pt x="6679" y="2379"/>
                      <a:pt x="6677" y="2376"/>
                    </a:cubicBezTo>
                    <a:cubicBezTo>
                      <a:pt x="6679" y="2370"/>
                      <a:pt x="6680" y="2365"/>
                      <a:pt x="6682" y="2359"/>
                    </a:cubicBezTo>
                    <a:cubicBezTo>
                      <a:pt x="6680" y="2350"/>
                      <a:pt x="6679" y="2342"/>
                      <a:pt x="6677" y="2333"/>
                    </a:cubicBezTo>
                    <a:lnTo>
                      <a:pt x="6691" y="2333"/>
                    </a:lnTo>
                    <a:lnTo>
                      <a:pt x="6691" y="2325"/>
                    </a:lnTo>
                    <a:lnTo>
                      <a:pt x="6691" y="2308"/>
                    </a:lnTo>
                    <a:lnTo>
                      <a:pt x="6691" y="2299"/>
                    </a:lnTo>
                    <a:lnTo>
                      <a:pt x="6691" y="2282"/>
                    </a:lnTo>
                    <a:lnTo>
                      <a:pt x="6691" y="2274"/>
                    </a:lnTo>
                    <a:lnTo>
                      <a:pt x="6668" y="2248"/>
                    </a:lnTo>
                    <a:cubicBezTo>
                      <a:pt x="6667" y="2239"/>
                      <a:pt x="6665" y="2231"/>
                      <a:pt x="6664" y="2222"/>
                    </a:cubicBezTo>
                    <a:cubicBezTo>
                      <a:pt x="6661" y="2219"/>
                      <a:pt x="6657" y="2217"/>
                      <a:pt x="6654" y="2214"/>
                    </a:cubicBezTo>
                    <a:lnTo>
                      <a:pt x="6654" y="2188"/>
                    </a:lnTo>
                    <a:lnTo>
                      <a:pt x="6622" y="2162"/>
                    </a:lnTo>
                    <a:cubicBezTo>
                      <a:pt x="6625" y="2156"/>
                      <a:pt x="6628" y="2151"/>
                      <a:pt x="6631" y="2145"/>
                    </a:cubicBezTo>
                    <a:cubicBezTo>
                      <a:pt x="6628" y="2137"/>
                      <a:pt x="6625" y="2128"/>
                      <a:pt x="6622" y="2120"/>
                    </a:cubicBezTo>
                    <a:lnTo>
                      <a:pt x="6608" y="2120"/>
                    </a:lnTo>
                    <a:cubicBezTo>
                      <a:pt x="6607" y="2117"/>
                      <a:pt x="6605" y="2114"/>
                      <a:pt x="6604" y="2111"/>
                    </a:cubicBezTo>
                    <a:lnTo>
                      <a:pt x="6608" y="2111"/>
                    </a:lnTo>
                    <a:cubicBezTo>
                      <a:pt x="6607" y="2102"/>
                      <a:pt x="6605" y="2094"/>
                      <a:pt x="6604" y="2085"/>
                    </a:cubicBezTo>
                    <a:cubicBezTo>
                      <a:pt x="6596" y="2082"/>
                      <a:pt x="6589" y="2080"/>
                      <a:pt x="6581" y="2077"/>
                    </a:cubicBezTo>
                    <a:cubicBezTo>
                      <a:pt x="6578" y="2080"/>
                      <a:pt x="6574" y="2082"/>
                      <a:pt x="6571" y="2085"/>
                    </a:cubicBezTo>
                    <a:cubicBezTo>
                      <a:pt x="6563" y="2082"/>
                      <a:pt x="6556" y="2080"/>
                      <a:pt x="6548" y="2077"/>
                    </a:cubicBezTo>
                    <a:cubicBezTo>
                      <a:pt x="6542" y="2071"/>
                      <a:pt x="6536" y="2066"/>
                      <a:pt x="6530" y="2060"/>
                    </a:cubicBezTo>
                    <a:lnTo>
                      <a:pt x="6521" y="2060"/>
                    </a:lnTo>
                    <a:lnTo>
                      <a:pt x="6521" y="2085"/>
                    </a:lnTo>
                    <a:lnTo>
                      <a:pt x="6516" y="2085"/>
                    </a:lnTo>
                    <a:cubicBezTo>
                      <a:pt x="6511" y="2094"/>
                      <a:pt x="6507" y="2102"/>
                      <a:pt x="6502" y="2111"/>
                    </a:cubicBezTo>
                    <a:lnTo>
                      <a:pt x="6498" y="2111"/>
                    </a:lnTo>
                    <a:lnTo>
                      <a:pt x="6498" y="2103"/>
                    </a:lnTo>
                    <a:cubicBezTo>
                      <a:pt x="6490" y="2086"/>
                      <a:pt x="6483" y="2068"/>
                      <a:pt x="6475" y="2051"/>
                    </a:cubicBezTo>
                    <a:cubicBezTo>
                      <a:pt x="6473" y="2054"/>
                      <a:pt x="6472" y="2057"/>
                      <a:pt x="6470" y="2060"/>
                    </a:cubicBezTo>
                    <a:cubicBezTo>
                      <a:pt x="6465" y="2057"/>
                      <a:pt x="6461" y="2054"/>
                      <a:pt x="6456" y="2051"/>
                    </a:cubicBezTo>
                    <a:lnTo>
                      <a:pt x="6447" y="2051"/>
                    </a:lnTo>
                    <a:cubicBezTo>
                      <a:pt x="6442" y="2043"/>
                      <a:pt x="6438" y="2034"/>
                      <a:pt x="6433" y="2026"/>
                    </a:cubicBezTo>
                    <a:lnTo>
                      <a:pt x="6433" y="2034"/>
                    </a:lnTo>
                    <a:cubicBezTo>
                      <a:pt x="6432" y="2031"/>
                      <a:pt x="6430" y="2029"/>
                      <a:pt x="6429" y="2026"/>
                    </a:cubicBezTo>
                    <a:cubicBezTo>
                      <a:pt x="6427" y="2029"/>
                      <a:pt x="6426" y="2031"/>
                      <a:pt x="6424" y="2034"/>
                    </a:cubicBezTo>
                    <a:cubicBezTo>
                      <a:pt x="6419" y="2031"/>
                      <a:pt x="6415" y="2029"/>
                      <a:pt x="6410" y="2026"/>
                    </a:cubicBezTo>
                    <a:lnTo>
                      <a:pt x="6410" y="1991"/>
                    </a:lnTo>
                    <a:lnTo>
                      <a:pt x="6401" y="1991"/>
                    </a:lnTo>
                    <a:cubicBezTo>
                      <a:pt x="6399" y="1994"/>
                      <a:pt x="6398" y="1997"/>
                      <a:pt x="6396" y="2000"/>
                    </a:cubicBezTo>
                    <a:cubicBezTo>
                      <a:pt x="6391" y="1989"/>
                      <a:pt x="6387" y="1977"/>
                      <a:pt x="6382" y="1966"/>
                    </a:cubicBezTo>
                    <a:cubicBezTo>
                      <a:pt x="6379" y="1969"/>
                      <a:pt x="6376" y="1971"/>
                      <a:pt x="6373" y="1974"/>
                    </a:cubicBezTo>
                    <a:cubicBezTo>
                      <a:pt x="6372" y="1971"/>
                      <a:pt x="6370" y="1969"/>
                      <a:pt x="6369" y="1966"/>
                    </a:cubicBezTo>
                    <a:cubicBezTo>
                      <a:pt x="6360" y="1960"/>
                      <a:pt x="6350" y="1955"/>
                      <a:pt x="6341" y="1949"/>
                    </a:cubicBezTo>
                    <a:cubicBezTo>
                      <a:pt x="6336" y="1940"/>
                      <a:pt x="6332" y="1932"/>
                      <a:pt x="6327" y="1923"/>
                    </a:cubicBezTo>
                    <a:lnTo>
                      <a:pt x="6323" y="1923"/>
                    </a:lnTo>
                    <a:lnTo>
                      <a:pt x="6323" y="1966"/>
                    </a:lnTo>
                    <a:lnTo>
                      <a:pt x="6323" y="1991"/>
                    </a:lnTo>
                    <a:lnTo>
                      <a:pt x="6313" y="1991"/>
                    </a:lnTo>
                    <a:lnTo>
                      <a:pt x="6300" y="1991"/>
                    </a:lnTo>
                    <a:cubicBezTo>
                      <a:pt x="6297" y="1977"/>
                      <a:pt x="6293" y="1963"/>
                      <a:pt x="6290" y="1949"/>
                    </a:cubicBezTo>
                    <a:cubicBezTo>
                      <a:pt x="6285" y="2000"/>
                      <a:pt x="6281" y="2052"/>
                      <a:pt x="6276" y="2103"/>
                    </a:cubicBezTo>
                    <a:lnTo>
                      <a:pt x="6281" y="2103"/>
                    </a:lnTo>
                    <a:cubicBezTo>
                      <a:pt x="6279" y="2106"/>
                      <a:pt x="6278" y="2108"/>
                      <a:pt x="6276" y="2111"/>
                    </a:cubicBezTo>
                    <a:lnTo>
                      <a:pt x="6276" y="2120"/>
                    </a:lnTo>
                    <a:cubicBezTo>
                      <a:pt x="6282" y="2160"/>
                      <a:pt x="6289" y="2199"/>
                      <a:pt x="6295" y="2239"/>
                    </a:cubicBezTo>
                    <a:cubicBezTo>
                      <a:pt x="6293" y="2242"/>
                      <a:pt x="6292" y="2245"/>
                      <a:pt x="6290" y="2248"/>
                    </a:cubicBezTo>
                    <a:cubicBezTo>
                      <a:pt x="6287" y="2257"/>
                      <a:pt x="6284" y="2265"/>
                      <a:pt x="6281" y="2274"/>
                    </a:cubicBezTo>
                    <a:lnTo>
                      <a:pt x="6249" y="2274"/>
                    </a:lnTo>
                    <a:cubicBezTo>
                      <a:pt x="6241" y="2285"/>
                      <a:pt x="6234" y="2297"/>
                      <a:pt x="6226" y="2308"/>
                    </a:cubicBezTo>
                    <a:cubicBezTo>
                      <a:pt x="6224" y="2305"/>
                      <a:pt x="6223" y="2302"/>
                      <a:pt x="6221" y="2299"/>
                    </a:cubicBezTo>
                    <a:lnTo>
                      <a:pt x="6221" y="2308"/>
                    </a:lnTo>
                    <a:cubicBezTo>
                      <a:pt x="6220" y="2305"/>
                      <a:pt x="6218" y="2302"/>
                      <a:pt x="6217" y="2299"/>
                    </a:cubicBezTo>
                    <a:cubicBezTo>
                      <a:pt x="6209" y="2302"/>
                      <a:pt x="6202" y="2305"/>
                      <a:pt x="6194" y="2308"/>
                    </a:cubicBezTo>
                    <a:cubicBezTo>
                      <a:pt x="6189" y="2305"/>
                      <a:pt x="6185" y="2302"/>
                      <a:pt x="6180" y="2299"/>
                    </a:cubicBezTo>
                    <a:lnTo>
                      <a:pt x="6143" y="2308"/>
                    </a:lnTo>
                    <a:cubicBezTo>
                      <a:pt x="6140" y="2314"/>
                      <a:pt x="6137" y="2319"/>
                      <a:pt x="6134" y="2325"/>
                    </a:cubicBezTo>
                    <a:cubicBezTo>
                      <a:pt x="6128" y="2311"/>
                      <a:pt x="6121" y="2296"/>
                      <a:pt x="6115" y="2282"/>
                    </a:cubicBezTo>
                    <a:cubicBezTo>
                      <a:pt x="6100" y="2279"/>
                      <a:pt x="6084" y="2277"/>
                      <a:pt x="6069" y="2274"/>
                    </a:cubicBezTo>
                    <a:lnTo>
                      <a:pt x="6069" y="2282"/>
                    </a:lnTo>
                    <a:cubicBezTo>
                      <a:pt x="6066" y="2288"/>
                      <a:pt x="6063" y="2293"/>
                      <a:pt x="6060" y="2299"/>
                    </a:cubicBezTo>
                    <a:lnTo>
                      <a:pt x="5972" y="2214"/>
                    </a:lnTo>
                    <a:cubicBezTo>
                      <a:pt x="5971" y="2208"/>
                      <a:pt x="5969" y="2203"/>
                      <a:pt x="5968" y="2197"/>
                    </a:cubicBezTo>
                    <a:lnTo>
                      <a:pt x="5968" y="2171"/>
                    </a:lnTo>
                    <a:lnTo>
                      <a:pt x="5968" y="2162"/>
                    </a:lnTo>
                    <a:lnTo>
                      <a:pt x="5968" y="2120"/>
                    </a:lnTo>
                    <a:lnTo>
                      <a:pt x="5968" y="2111"/>
                    </a:lnTo>
                    <a:cubicBezTo>
                      <a:pt x="5969" y="2108"/>
                      <a:pt x="5971" y="2106"/>
                      <a:pt x="5972" y="2103"/>
                    </a:cubicBezTo>
                    <a:lnTo>
                      <a:pt x="5986" y="2103"/>
                    </a:lnTo>
                    <a:lnTo>
                      <a:pt x="5986" y="2085"/>
                    </a:lnTo>
                    <a:lnTo>
                      <a:pt x="5995" y="2085"/>
                    </a:lnTo>
                    <a:lnTo>
                      <a:pt x="5995" y="2077"/>
                    </a:lnTo>
                    <a:cubicBezTo>
                      <a:pt x="5992" y="2071"/>
                      <a:pt x="5989" y="2066"/>
                      <a:pt x="5986" y="2060"/>
                    </a:cubicBezTo>
                    <a:lnTo>
                      <a:pt x="5954" y="2060"/>
                    </a:lnTo>
                    <a:cubicBezTo>
                      <a:pt x="5949" y="2057"/>
                      <a:pt x="5945" y="2054"/>
                      <a:pt x="5940" y="2051"/>
                    </a:cubicBezTo>
                    <a:lnTo>
                      <a:pt x="5922" y="2060"/>
                    </a:lnTo>
                    <a:lnTo>
                      <a:pt x="5885" y="2051"/>
                    </a:lnTo>
                    <a:cubicBezTo>
                      <a:pt x="5882" y="2043"/>
                      <a:pt x="5879" y="2034"/>
                      <a:pt x="5876" y="2026"/>
                    </a:cubicBezTo>
                    <a:lnTo>
                      <a:pt x="5862" y="2026"/>
                    </a:lnTo>
                    <a:lnTo>
                      <a:pt x="5848" y="2026"/>
                    </a:lnTo>
                    <a:lnTo>
                      <a:pt x="5825" y="2026"/>
                    </a:lnTo>
                    <a:cubicBezTo>
                      <a:pt x="5813" y="2014"/>
                      <a:pt x="5800" y="2003"/>
                      <a:pt x="5788" y="1991"/>
                    </a:cubicBezTo>
                    <a:cubicBezTo>
                      <a:pt x="5779" y="1994"/>
                      <a:pt x="5769" y="1997"/>
                      <a:pt x="5760" y="2000"/>
                    </a:cubicBezTo>
                    <a:lnTo>
                      <a:pt x="5760" y="2026"/>
                    </a:lnTo>
                    <a:cubicBezTo>
                      <a:pt x="5745" y="2034"/>
                      <a:pt x="5729" y="2043"/>
                      <a:pt x="5714" y="2051"/>
                    </a:cubicBezTo>
                    <a:cubicBezTo>
                      <a:pt x="5705" y="2045"/>
                      <a:pt x="5696" y="2040"/>
                      <a:pt x="5687" y="2034"/>
                    </a:cubicBezTo>
                    <a:cubicBezTo>
                      <a:pt x="5673" y="2048"/>
                      <a:pt x="5659" y="2063"/>
                      <a:pt x="5645" y="2077"/>
                    </a:cubicBezTo>
                    <a:cubicBezTo>
                      <a:pt x="5651" y="2091"/>
                      <a:pt x="5658" y="2106"/>
                      <a:pt x="5664" y="2120"/>
                    </a:cubicBezTo>
                    <a:lnTo>
                      <a:pt x="5664" y="2162"/>
                    </a:lnTo>
                    <a:cubicBezTo>
                      <a:pt x="5653" y="2174"/>
                      <a:pt x="5642" y="2185"/>
                      <a:pt x="5631" y="2197"/>
                    </a:cubicBezTo>
                    <a:cubicBezTo>
                      <a:pt x="5627" y="2194"/>
                      <a:pt x="5622" y="2191"/>
                      <a:pt x="5618" y="2188"/>
                    </a:cubicBezTo>
                    <a:lnTo>
                      <a:pt x="5618" y="2171"/>
                    </a:lnTo>
                    <a:lnTo>
                      <a:pt x="5641" y="2171"/>
                    </a:lnTo>
                    <a:lnTo>
                      <a:pt x="5641" y="2162"/>
                    </a:lnTo>
                    <a:cubicBezTo>
                      <a:pt x="5636" y="2156"/>
                      <a:pt x="5632" y="2151"/>
                      <a:pt x="5627" y="2145"/>
                    </a:cubicBezTo>
                    <a:lnTo>
                      <a:pt x="5627" y="2120"/>
                    </a:lnTo>
                    <a:lnTo>
                      <a:pt x="5618" y="2111"/>
                    </a:lnTo>
                    <a:cubicBezTo>
                      <a:pt x="5622" y="2091"/>
                      <a:pt x="5627" y="2071"/>
                      <a:pt x="5631" y="2051"/>
                    </a:cubicBezTo>
                    <a:lnTo>
                      <a:pt x="5631" y="2026"/>
                    </a:lnTo>
                    <a:cubicBezTo>
                      <a:pt x="5630" y="2014"/>
                      <a:pt x="5628" y="2003"/>
                      <a:pt x="5627" y="1991"/>
                    </a:cubicBezTo>
                    <a:cubicBezTo>
                      <a:pt x="5624" y="1985"/>
                      <a:pt x="5621" y="1980"/>
                      <a:pt x="5618" y="1974"/>
                    </a:cubicBezTo>
                    <a:lnTo>
                      <a:pt x="5618" y="1940"/>
                    </a:lnTo>
                    <a:cubicBezTo>
                      <a:pt x="5610" y="1912"/>
                      <a:pt x="5602" y="1883"/>
                      <a:pt x="5594" y="1855"/>
                    </a:cubicBezTo>
                    <a:cubicBezTo>
                      <a:pt x="5596" y="1875"/>
                      <a:pt x="5597" y="1895"/>
                      <a:pt x="5599" y="1915"/>
                    </a:cubicBezTo>
                    <a:lnTo>
                      <a:pt x="5599" y="1949"/>
                    </a:lnTo>
                    <a:cubicBezTo>
                      <a:pt x="5597" y="1963"/>
                      <a:pt x="5596" y="1977"/>
                      <a:pt x="5594" y="1991"/>
                    </a:cubicBezTo>
                    <a:cubicBezTo>
                      <a:pt x="5586" y="1994"/>
                      <a:pt x="5579" y="1997"/>
                      <a:pt x="5571" y="2000"/>
                    </a:cubicBezTo>
                    <a:lnTo>
                      <a:pt x="5530" y="1991"/>
                    </a:lnTo>
                    <a:cubicBezTo>
                      <a:pt x="5528" y="1994"/>
                      <a:pt x="5527" y="1997"/>
                      <a:pt x="5525" y="2000"/>
                    </a:cubicBezTo>
                    <a:cubicBezTo>
                      <a:pt x="5524" y="1997"/>
                      <a:pt x="5522" y="1994"/>
                      <a:pt x="5521" y="1991"/>
                    </a:cubicBezTo>
                    <a:cubicBezTo>
                      <a:pt x="5513" y="1977"/>
                      <a:pt x="5506" y="1963"/>
                      <a:pt x="5498" y="1949"/>
                    </a:cubicBezTo>
                    <a:cubicBezTo>
                      <a:pt x="5496" y="1929"/>
                      <a:pt x="5495" y="1909"/>
                      <a:pt x="5493" y="1889"/>
                    </a:cubicBezTo>
                    <a:lnTo>
                      <a:pt x="5493" y="1863"/>
                    </a:lnTo>
                    <a:cubicBezTo>
                      <a:pt x="5495" y="1872"/>
                      <a:pt x="5496" y="1880"/>
                      <a:pt x="5498" y="1889"/>
                    </a:cubicBezTo>
                    <a:cubicBezTo>
                      <a:pt x="5503" y="1878"/>
                      <a:pt x="5507" y="1866"/>
                      <a:pt x="5512" y="1855"/>
                    </a:cubicBezTo>
                    <a:lnTo>
                      <a:pt x="5512" y="1838"/>
                    </a:lnTo>
                    <a:cubicBezTo>
                      <a:pt x="5501" y="1844"/>
                      <a:pt x="5490" y="1849"/>
                      <a:pt x="5479" y="1855"/>
                    </a:cubicBezTo>
                    <a:cubicBezTo>
                      <a:pt x="5476" y="1861"/>
                      <a:pt x="5473" y="1866"/>
                      <a:pt x="5470" y="1872"/>
                    </a:cubicBezTo>
                    <a:lnTo>
                      <a:pt x="5470" y="1889"/>
                    </a:lnTo>
                    <a:cubicBezTo>
                      <a:pt x="5468" y="1892"/>
                      <a:pt x="5467" y="1894"/>
                      <a:pt x="5465" y="1897"/>
                    </a:cubicBezTo>
                    <a:cubicBezTo>
                      <a:pt x="5462" y="1889"/>
                      <a:pt x="5459" y="1880"/>
                      <a:pt x="5456" y="1872"/>
                    </a:cubicBezTo>
                    <a:lnTo>
                      <a:pt x="5447" y="1872"/>
                    </a:lnTo>
                    <a:cubicBezTo>
                      <a:pt x="5442" y="1866"/>
                      <a:pt x="5438" y="1861"/>
                      <a:pt x="5433" y="1855"/>
                    </a:cubicBezTo>
                    <a:cubicBezTo>
                      <a:pt x="5421" y="1858"/>
                      <a:pt x="5408" y="1860"/>
                      <a:pt x="5396" y="1863"/>
                    </a:cubicBezTo>
                    <a:lnTo>
                      <a:pt x="5396" y="1897"/>
                    </a:lnTo>
                    <a:cubicBezTo>
                      <a:pt x="5390" y="1914"/>
                      <a:pt x="5384" y="1932"/>
                      <a:pt x="5378" y="1949"/>
                    </a:cubicBezTo>
                    <a:lnTo>
                      <a:pt x="5378" y="1966"/>
                    </a:lnTo>
                    <a:cubicBezTo>
                      <a:pt x="5383" y="1986"/>
                      <a:pt x="5387" y="2006"/>
                      <a:pt x="5392" y="2026"/>
                    </a:cubicBezTo>
                    <a:lnTo>
                      <a:pt x="5396" y="2026"/>
                    </a:lnTo>
                    <a:cubicBezTo>
                      <a:pt x="5395" y="2020"/>
                      <a:pt x="5393" y="2015"/>
                      <a:pt x="5392" y="2009"/>
                    </a:cubicBezTo>
                    <a:lnTo>
                      <a:pt x="5392" y="2000"/>
                    </a:lnTo>
                    <a:cubicBezTo>
                      <a:pt x="5393" y="2003"/>
                      <a:pt x="5395" y="2006"/>
                      <a:pt x="5396" y="2009"/>
                    </a:cubicBezTo>
                    <a:lnTo>
                      <a:pt x="5424" y="2009"/>
                    </a:lnTo>
                    <a:lnTo>
                      <a:pt x="5433" y="1991"/>
                    </a:lnTo>
                    <a:cubicBezTo>
                      <a:pt x="5438" y="1985"/>
                      <a:pt x="5442" y="1980"/>
                      <a:pt x="5447" y="1974"/>
                    </a:cubicBezTo>
                    <a:cubicBezTo>
                      <a:pt x="5449" y="1971"/>
                      <a:pt x="5450" y="1969"/>
                      <a:pt x="5452" y="1966"/>
                    </a:cubicBezTo>
                    <a:lnTo>
                      <a:pt x="5456" y="1966"/>
                    </a:lnTo>
                    <a:cubicBezTo>
                      <a:pt x="5459" y="1980"/>
                      <a:pt x="5462" y="1995"/>
                      <a:pt x="5465" y="2009"/>
                    </a:cubicBezTo>
                    <a:cubicBezTo>
                      <a:pt x="5454" y="2017"/>
                      <a:pt x="5444" y="2026"/>
                      <a:pt x="5433" y="2034"/>
                    </a:cubicBezTo>
                    <a:cubicBezTo>
                      <a:pt x="5430" y="2043"/>
                      <a:pt x="5427" y="2051"/>
                      <a:pt x="5424" y="2060"/>
                    </a:cubicBezTo>
                    <a:lnTo>
                      <a:pt x="5419" y="2060"/>
                    </a:lnTo>
                    <a:lnTo>
                      <a:pt x="5392" y="2111"/>
                    </a:lnTo>
                    <a:lnTo>
                      <a:pt x="5378" y="2111"/>
                    </a:lnTo>
                    <a:cubicBezTo>
                      <a:pt x="5369" y="2094"/>
                      <a:pt x="5359" y="2077"/>
                      <a:pt x="5350" y="2060"/>
                    </a:cubicBezTo>
                    <a:cubicBezTo>
                      <a:pt x="5358" y="2077"/>
                      <a:pt x="5365" y="2094"/>
                      <a:pt x="5373" y="2111"/>
                    </a:cubicBezTo>
                    <a:lnTo>
                      <a:pt x="5364" y="2111"/>
                    </a:lnTo>
                    <a:cubicBezTo>
                      <a:pt x="5362" y="2108"/>
                      <a:pt x="5361" y="2106"/>
                      <a:pt x="5359" y="2103"/>
                    </a:cubicBezTo>
                    <a:lnTo>
                      <a:pt x="5359" y="2120"/>
                    </a:lnTo>
                    <a:lnTo>
                      <a:pt x="5359" y="2137"/>
                    </a:lnTo>
                    <a:cubicBezTo>
                      <a:pt x="5344" y="2145"/>
                      <a:pt x="5328" y="2154"/>
                      <a:pt x="5313" y="2162"/>
                    </a:cubicBezTo>
                    <a:lnTo>
                      <a:pt x="5300" y="2162"/>
                    </a:lnTo>
                    <a:lnTo>
                      <a:pt x="5300" y="2171"/>
                    </a:lnTo>
                    <a:lnTo>
                      <a:pt x="5300" y="2197"/>
                    </a:lnTo>
                    <a:lnTo>
                      <a:pt x="5276" y="2188"/>
                    </a:lnTo>
                    <a:cubicBezTo>
                      <a:pt x="5267" y="2199"/>
                      <a:pt x="5258" y="2211"/>
                      <a:pt x="5249" y="2222"/>
                    </a:cubicBezTo>
                    <a:lnTo>
                      <a:pt x="5249" y="2222"/>
                    </a:lnTo>
                    <a:cubicBezTo>
                      <a:pt x="5238" y="2219"/>
                      <a:pt x="5228" y="2217"/>
                      <a:pt x="5217" y="2214"/>
                    </a:cubicBezTo>
                    <a:cubicBezTo>
                      <a:pt x="5212" y="2222"/>
                      <a:pt x="5208" y="2231"/>
                      <a:pt x="5203" y="2239"/>
                    </a:cubicBezTo>
                    <a:cubicBezTo>
                      <a:pt x="5192" y="2231"/>
                      <a:pt x="5182" y="2222"/>
                      <a:pt x="5171" y="2214"/>
                    </a:cubicBezTo>
                    <a:cubicBezTo>
                      <a:pt x="5166" y="2222"/>
                      <a:pt x="5162" y="2231"/>
                      <a:pt x="5157" y="2239"/>
                    </a:cubicBezTo>
                    <a:cubicBezTo>
                      <a:pt x="5160" y="2245"/>
                      <a:pt x="5163" y="2250"/>
                      <a:pt x="5166" y="2256"/>
                    </a:cubicBezTo>
                    <a:cubicBezTo>
                      <a:pt x="5168" y="2273"/>
                      <a:pt x="5169" y="2291"/>
                      <a:pt x="5171" y="2308"/>
                    </a:cubicBezTo>
                    <a:cubicBezTo>
                      <a:pt x="5185" y="2322"/>
                      <a:pt x="5198" y="2336"/>
                      <a:pt x="5212" y="2350"/>
                    </a:cubicBezTo>
                    <a:lnTo>
                      <a:pt x="5203" y="2350"/>
                    </a:lnTo>
                    <a:lnTo>
                      <a:pt x="5166" y="2325"/>
                    </a:lnTo>
                    <a:cubicBezTo>
                      <a:pt x="5161" y="2319"/>
                      <a:pt x="5157" y="2314"/>
                      <a:pt x="5152" y="2308"/>
                    </a:cubicBezTo>
                    <a:cubicBezTo>
                      <a:pt x="5149" y="2316"/>
                      <a:pt x="5146" y="2325"/>
                      <a:pt x="5143" y="2333"/>
                    </a:cubicBezTo>
                    <a:lnTo>
                      <a:pt x="5138" y="2333"/>
                    </a:lnTo>
                    <a:cubicBezTo>
                      <a:pt x="5133" y="2347"/>
                      <a:pt x="5129" y="2362"/>
                      <a:pt x="5124" y="2376"/>
                    </a:cubicBezTo>
                    <a:lnTo>
                      <a:pt x="5115" y="2385"/>
                    </a:lnTo>
                    <a:lnTo>
                      <a:pt x="5106" y="2385"/>
                    </a:lnTo>
                    <a:cubicBezTo>
                      <a:pt x="5089" y="2413"/>
                      <a:pt x="5072" y="2442"/>
                      <a:pt x="5055" y="2470"/>
                    </a:cubicBezTo>
                    <a:cubicBezTo>
                      <a:pt x="5058" y="2467"/>
                      <a:pt x="5062" y="2465"/>
                      <a:pt x="5065" y="2462"/>
                    </a:cubicBezTo>
                    <a:cubicBezTo>
                      <a:pt x="5062" y="2456"/>
                      <a:pt x="5058" y="2450"/>
                      <a:pt x="5055" y="2444"/>
                    </a:cubicBezTo>
                    <a:cubicBezTo>
                      <a:pt x="5050" y="2450"/>
                      <a:pt x="5046" y="2456"/>
                      <a:pt x="5041" y="2462"/>
                    </a:cubicBezTo>
                    <a:cubicBezTo>
                      <a:pt x="5040" y="2465"/>
                      <a:pt x="5038" y="2467"/>
                      <a:pt x="5037" y="2470"/>
                    </a:cubicBezTo>
                    <a:lnTo>
                      <a:pt x="5032" y="2470"/>
                    </a:lnTo>
                    <a:lnTo>
                      <a:pt x="5032" y="2444"/>
                    </a:lnTo>
                    <a:cubicBezTo>
                      <a:pt x="5040" y="2433"/>
                      <a:pt x="5047" y="2421"/>
                      <a:pt x="5055" y="2410"/>
                    </a:cubicBezTo>
                    <a:cubicBezTo>
                      <a:pt x="5058" y="2404"/>
                      <a:pt x="5062" y="2399"/>
                      <a:pt x="5065" y="2393"/>
                    </a:cubicBezTo>
                    <a:cubicBezTo>
                      <a:pt x="5066" y="2390"/>
                      <a:pt x="5068" y="2388"/>
                      <a:pt x="5069" y="2385"/>
                    </a:cubicBezTo>
                    <a:cubicBezTo>
                      <a:pt x="5074" y="2382"/>
                      <a:pt x="5078" y="2379"/>
                      <a:pt x="5083" y="2376"/>
                    </a:cubicBezTo>
                    <a:lnTo>
                      <a:pt x="5097" y="2376"/>
                    </a:lnTo>
                    <a:lnTo>
                      <a:pt x="5124" y="2325"/>
                    </a:lnTo>
                    <a:cubicBezTo>
                      <a:pt x="5130" y="2299"/>
                      <a:pt x="5137" y="2274"/>
                      <a:pt x="5143" y="2248"/>
                    </a:cubicBezTo>
                    <a:lnTo>
                      <a:pt x="5152" y="2239"/>
                    </a:lnTo>
                    <a:cubicBezTo>
                      <a:pt x="5157" y="2213"/>
                      <a:pt x="5161" y="2188"/>
                      <a:pt x="5166" y="2162"/>
                    </a:cubicBezTo>
                    <a:cubicBezTo>
                      <a:pt x="5168" y="2165"/>
                      <a:pt x="5169" y="2168"/>
                      <a:pt x="5171" y="2171"/>
                    </a:cubicBezTo>
                    <a:cubicBezTo>
                      <a:pt x="5180" y="2162"/>
                      <a:pt x="5189" y="2154"/>
                      <a:pt x="5198" y="2145"/>
                    </a:cubicBezTo>
                    <a:cubicBezTo>
                      <a:pt x="5200" y="2134"/>
                      <a:pt x="5201" y="2122"/>
                      <a:pt x="5203" y="2111"/>
                    </a:cubicBezTo>
                    <a:cubicBezTo>
                      <a:pt x="5208" y="2094"/>
                      <a:pt x="5212" y="2077"/>
                      <a:pt x="5217" y="2060"/>
                    </a:cubicBezTo>
                    <a:cubicBezTo>
                      <a:pt x="5220" y="2049"/>
                      <a:pt x="5223" y="2037"/>
                      <a:pt x="5226" y="2026"/>
                    </a:cubicBezTo>
                    <a:lnTo>
                      <a:pt x="5286" y="2026"/>
                    </a:lnTo>
                    <a:cubicBezTo>
                      <a:pt x="5287" y="2029"/>
                      <a:pt x="5289" y="2031"/>
                      <a:pt x="5290" y="2034"/>
                    </a:cubicBezTo>
                    <a:lnTo>
                      <a:pt x="5323" y="1923"/>
                    </a:lnTo>
                    <a:lnTo>
                      <a:pt x="5323" y="1889"/>
                    </a:lnTo>
                    <a:lnTo>
                      <a:pt x="5359" y="1829"/>
                    </a:lnTo>
                    <a:cubicBezTo>
                      <a:pt x="5365" y="1823"/>
                      <a:pt x="5372" y="1818"/>
                      <a:pt x="5378" y="1812"/>
                    </a:cubicBezTo>
                    <a:cubicBezTo>
                      <a:pt x="5387" y="1792"/>
                      <a:pt x="5397" y="1772"/>
                      <a:pt x="5406" y="1752"/>
                    </a:cubicBezTo>
                    <a:cubicBezTo>
                      <a:pt x="5407" y="1741"/>
                      <a:pt x="5409" y="1729"/>
                      <a:pt x="5410" y="1718"/>
                    </a:cubicBezTo>
                    <a:cubicBezTo>
                      <a:pt x="5419" y="1701"/>
                      <a:pt x="5429" y="1684"/>
                      <a:pt x="5438" y="1667"/>
                    </a:cubicBezTo>
                    <a:lnTo>
                      <a:pt x="5438" y="1650"/>
                    </a:lnTo>
                    <a:lnTo>
                      <a:pt x="5438" y="1641"/>
                    </a:lnTo>
                    <a:lnTo>
                      <a:pt x="5452" y="1641"/>
                    </a:lnTo>
                    <a:cubicBezTo>
                      <a:pt x="5453" y="1632"/>
                      <a:pt x="5455" y="1624"/>
                      <a:pt x="5456" y="1615"/>
                    </a:cubicBezTo>
                    <a:lnTo>
                      <a:pt x="5456" y="1615"/>
                    </a:lnTo>
                    <a:cubicBezTo>
                      <a:pt x="5459" y="1609"/>
                      <a:pt x="5462" y="1604"/>
                      <a:pt x="5465" y="1598"/>
                    </a:cubicBezTo>
                    <a:lnTo>
                      <a:pt x="5465" y="1615"/>
                    </a:lnTo>
                    <a:cubicBezTo>
                      <a:pt x="5470" y="1609"/>
                      <a:pt x="5474" y="1604"/>
                      <a:pt x="5479" y="1598"/>
                    </a:cubicBezTo>
                    <a:cubicBezTo>
                      <a:pt x="5481" y="1592"/>
                      <a:pt x="5482" y="1587"/>
                      <a:pt x="5484" y="1581"/>
                    </a:cubicBezTo>
                    <a:lnTo>
                      <a:pt x="5493" y="1581"/>
                    </a:lnTo>
                    <a:cubicBezTo>
                      <a:pt x="5499" y="1567"/>
                      <a:pt x="5506" y="1552"/>
                      <a:pt x="5512" y="1538"/>
                    </a:cubicBezTo>
                    <a:cubicBezTo>
                      <a:pt x="5518" y="1547"/>
                      <a:pt x="5524" y="1555"/>
                      <a:pt x="5530" y="1564"/>
                    </a:cubicBezTo>
                    <a:lnTo>
                      <a:pt x="5530" y="1538"/>
                    </a:lnTo>
                    <a:cubicBezTo>
                      <a:pt x="5533" y="1535"/>
                      <a:pt x="5536" y="1533"/>
                      <a:pt x="5539" y="1530"/>
                    </a:cubicBezTo>
                    <a:cubicBezTo>
                      <a:pt x="5536" y="1521"/>
                      <a:pt x="5533" y="1513"/>
                      <a:pt x="5530" y="1504"/>
                    </a:cubicBezTo>
                    <a:lnTo>
                      <a:pt x="5567" y="1479"/>
                    </a:lnTo>
                    <a:lnTo>
                      <a:pt x="5553" y="1479"/>
                    </a:lnTo>
                    <a:lnTo>
                      <a:pt x="5553" y="1453"/>
                    </a:lnTo>
                    <a:cubicBezTo>
                      <a:pt x="5562" y="1450"/>
                      <a:pt x="5572" y="1447"/>
                      <a:pt x="5581" y="1444"/>
                    </a:cubicBezTo>
                    <a:lnTo>
                      <a:pt x="5581" y="1453"/>
                    </a:lnTo>
                    <a:cubicBezTo>
                      <a:pt x="5582" y="1450"/>
                      <a:pt x="5584" y="1447"/>
                      <a:pt x="5585" y="1444"/>
                    </a:cubicBezTo>
                    <a:cubicBezTo>
                      <a:pt x="5588" y="1438"/>
                      <a:pt x="5591" y="1433"/>
                      <a:pt x="5594" y="1427"/>
                    </a:cubicBezTo>
                    <a:cubicBezTo>
                      <a:pt x="5596" y="1424"/>
                      <a:pt x="5597" y="1422"/>
                      <a:pt x="5599" y="1419"/>
                    </a:cubicBezTo>
                    <a:cubicBezTo>
                      <a:pt x="5597" y="1413"/>
                      <a:pt x="5596" y="1408"/>
                      <a:pt x="5594" y="1402"/>
                    </a:cubicBezTo>
                    <a:cubicBezTo>
                      <a:pt x="5597" y="1399"/>
                      <a:pt x="5601" y="1396"/>
                      <a:pt x="5604" y="1393"/>
                    </a:cubicBezTo>
                    <a:lnTo>
                      <a:pt x="5618" y="1393"/>
                    </a:lnTo>
                    <a:cubicBezTo>
                      <a:pt x="5621" y="1385"/>
                      <a:pt x="5624" y="1376"/>
                      <a:pt x="5627" y="1368"/>
                    </a:cubicBezTo>
                    <a:lnTo>
                      <a:pt x="5627" y="1325"/>
                    </a:lnTo>
                    <a:cubicBezTo>
                      <a:pt x="5633" y="1314"/>
                      <a:pt x="5639" y="1302"/>
                      <a:pt x="5645" y="1291"/>
                    </a:cubicBezTo>
                    <a:lnTo>
                      <a:pt x="5645" y="1282"/>
                    </a:lnTo>
                    <a:cubicBezTo>
                      <a:pt x="5648" y="1276"/>
                      <a:pt x="5651" y="1271"/>
                      <a:pt x="5654" y="1265"/>
                    </a:cubicBezTo>
                    <a:lnTo>
                      <a:pt x="5654" y="1214"/>
                    </a:lnTo>
                    <a:lnTo>
                      <a:pt x="5654" y="1214"/>
                    </a:lnTo>
                    <a:cubicBezTo>
                      <a:pt x="5651" y="1208"/>
                      <a:pt x="5648" y="1203"/>
                      <a:pt x="5645" y="1197"/>
                    </a:cubicBezTo>
                    <a:lnTo>
                      <a:pt x="5659" y="1197"/>
                    </a:lnTo>
                    <a:cubicBezTo>
                      <a:pt x="5657" y="1183"/>
                      <a:pt x="5656" y="1168"/>
                      <a:pt x="5654" y="1154"/>
                    </a:cubicBezTo>
                    <a:lnTo>
                      <a:pt x="5641" y="1154"/>
                    </a:lnTo>
                    <a:cubicBezTo>
                      <a:pt x="5636" y="1145"/>
                      <a:pt x="5632" y="1137"/>
                      <a:pt x="5627" y="1128"/>
                    </a:cubicBezTo>
                    <a:cubicBezTo>
                      <a:pt x="5624" y="1117"/>
                      <a:pt x="5621" y="1105"/>
                      <a:pt x="5618" y="1094"/>
                    </a:cubicBezTo>
                    <a:lnTo>
                      <a:pt x="5613" y="1094"/>
                    </a:lnTo>
                    <a:cubicBezTo>
                      <a:pt x="5610" y="1103"/>
                      <a:pt x="5607" y="1111"/>
                      <a:pt x="5604" y="1120"/>
                    </a:cubicBezTo>
                    <a:lnTo>
                      <a:pt x="5604" y="1128"/>
                    </a:lnTo>
                    <a:cubicBezTo>
                      <a:pt x="5602" y="1120"/>
                      <a:pt x="5601" y="1111"/>
                      <a:pt x="5599" y="1103"/>
                    </a:cubicBezTo>
                    <a:lnTo>
                      <a:pt x="5599" y="1103"/>
                    </a:lnTo>
                    <a:cubicBezTo>
                      <a:pt x="5597" y="1091"/>
                      <a:pt x="5596" y="1080"/>
                      <a:pt x="5594" y="1068"/>
                    </a:cubicBezTo>
                    <a:lnTo>
                      <a:pt x="5594" y="1060"/>
                    </a:lnTo>
                    <a:cubicBezTo>
                      <a:pt x="5590" y="1051"/>
                      <a:pt x="5585" y="1043"/>
                      <a:pt x="5581" y="1034"/>
                    </a:cubicBezTo>
                    <a:cubicBezTo>
                      <a:pt x="5578" y="1026"/>
                      <a:pt x="5574" y="1017"/>
                      <a:pt x="5571" y="1009"/>
                    </a:cubicBezTo>
                    <a:lnTo>
                      <a:pt x="5571" y="991"/>
                    </a:lnTo>
                    <a:cubicBezTo>
                      <a:pt x="5576" y="997"/>
                      <a:pt x="5580" y="1003"/>
                      <a:pt x="5585" y="1009"/>
                    </a:cubicBezTo>
                    <a:cubicBezTo>
                      <a:pt x="5591" y="1020"/>
                      <a:pt x="5598" y="1032"/>
                      <a:pt x="5604" y="1043"/>
                    </a:cubicBezTo>
                    <a:cubicBezTo>
                      <a:pt x="5616" y="1060"/>
                      <a:pt x="5629" y="1077"/>
                      <a:pt x="5641" y="1094"/>
                    </a:cubicBezTo>
                    <a:cubicBezTo>
                      <a:pt x="5638" y="1105"/>
                      <a:pt x="5634" y="1117"/>
                      <a:pt x="5631" y="1128"/>
                    </a:cubicBezTo>
                    <a:lnTo>
                      <a:pt x="5641" y="1128"/>
                    </a:lnTo>
                    <a:lnTo>
                      <a:pt x="5659" y="1017"/>
                    </a:lnTo>
                    <a:lnTo>
                      <a:pt x="5659" y="983"/>
                    </a:lnTo>
                    <a:lnTo>
                      <a:pt x="5659" y="957"/>
                    </a:lnTo>
                    <a:cubicBezTo>
                      <a:pt x="5657" y="960"/>
                      <a:pt x="5656" y="963"/>
                      <a:pt x="5654" y="966"/>
                    </a:cubicBezTo>
                    <a:cubicBezTo>
                      <a:pt x="5650" y="963"/>
                      <a:pt x="5645" y="960"/>
                      <a:pt x="5641" y="957"/>
                    </a:cubicBezTo>
                    <a:cubicBezTo>
                      <a:pt x="5638" y="937"/>
                      <a:pt x="5634" y="917"/>
                      <a:pt x="5631" y="897"/>
                    </a:cubicBezTo>
                    <a:cubicBezTo>
                      <a:pt x="5634" y="889"/>
                      <a:pt x="5638" y="880"/>
                      <a:pt x="5641" y="872"/>
                    </a:cubicBezTo>
                    <a:cubicBezTo>
                      <a:pt x="5633" y="849"/>
                      <a:pt x="5626" y="826"/>
                      <a:pt x="5618" y="803"/>
                    </a:cubicBezTo>
                    <a:cubicBezTo>
                      <a:pt x="5613" y="809"/>
                      <a:pt x="5609" y="815"/>
                      <a:pt x="5604" y="821"/>
                    </a:cubicBezTo>
                    <a:cubicBezTo>
                      <a:pt x="5607" y="829"/>
                      <a:pt x="5610" y="838"/>
                      <a:pt x="5613" y="846"/>
                    </a:cubicBezTo>
                    <a:lnTo>
                      <a:pt x="5604" y="855"/>
                    </a:lnTo>
                    <a:cubicBezTo>
                      <a:pt x="5602" y="863"/>
                      <a:pt x="5601" y="872"/>
                      <a:pt x="5599" y="880"/>
                    </a:cubicBezTo>
                    <a:lnTo>
                      <a:pt x="5594" y="880"/>
                    </a:lnTo>
                    <a:lnTo>
                      <a:pt x="5585" y="829"/>
                    </a:lnTo>
                    <a:cubicBezTo>
                      <a:pt x="5580" y="820"/>
                      <a:pt x="5576" y="812"/>
                      <a:pt x="5571" y="803"/>
                    </a:cubicBezTo>
                    <a:cubicBezTo>
                      <a:pt x="5576" y="800"/>
                      <a:pt x="5580" y="798"/>
                      <a:pt x="5585" y="795"/>
                    </a:cubicBezTo>
                    <a:lnTo>
                      <a:pt x="5585" y="761"/>
                    </a:lnTo>
                    <a:cubicBezTo>
                      <a:pt x="5576" y="744"/>
                      <a:pt x="5567" y="726"/>
                      <a:pt x="5558" y="709"/>
                    </a:cubicBezTo>
                    <a:lnTo>
                      <a:pt x="5544" y="709"/>
                    </a:lnTo>
                    <a:lnTo>
                      <a:pt x="5544" y="684"/>
                    </a:lnTo>
                    <a:cubicBezTo>
                      <a:pt x="5538" y="667"/>
                      <a:pt x="5531" y="649"/>
                      <a:pt x="5525" y="632"/>
                    </a:cubicBezTo>
                    <a:cubicBezTo>
                      <a:pt x="5519" y="624"/>
                      <a:pt x="5513" y="615"/>
                      <a:pt x="5507" y="607"/>
                    </a:cubicBezTo>
                    <a:cubicBezTo>
                      <a:pt x="5509" y="604"/>
                      <a:pt x="5510" y="601"/>
                      <a:pt x="5512" y="598"/>
                    </a:cubicBezTo>
                    <a:cubicBezTo>
                      <a:pt x="5510" y="592"/>
                      <a:pt x="5509" y="587"/>
                      <a:pt x="5507" y="581"/>
                    </a:cubicBezTo>
                    <a:cubicBezTo>
                      <a:pt x="5502" y="578"/>
                      <a:pt x="5498" y="576"/>
                      <a:pt x="5493" y="573"/>
                    </a:cubicBezTo>
                    <a:cubicBezTo>
                      <a:pt x="5490" y="576"/>
                      <a:pt x="5487" y="578"/>
                      <a:pt x="5484" y="581"/>
                    </a:cubicBezTo>
                    <a:lnTo>
                      <a:pt x="5484" y="573"/>
                    </a:lnTo>
                    <a:lnTo>
                      <a:pt x="5484" y="547"/>
                    </a:lnTo>
                    <a:cubicBezTo>
                      <a:pt x="5478" y="550"/>
                      <a:pt x="5471" y="553"/>
                      <a:pt x="5465" y="556"/>
                    </a:cubicBezTo>
                    <a:lnTo>
                      <a:pt x="5433" y="547"/>
                    </a:lnTo>
                    <a:lnTo>
                      <a:pt x="5410" y="573"/>
                    </a:lnTo>
                    <a:lnTo>
                      <a:pt x="5406" y="573"/>
                    </a:lnTo>
                    <a:lnTo>
                      <a:pt x="5392" y="573"/>
                    </a:lnTo>
                    <a:cubicBezTo>
                      <a:pt x="5383" y="559"/>
                      <a:pt x="5373" y="544"/>
                      <a:pt x="5364" y="530"/>
                    </a:cubicBezTo>
                    <a:cubicBezTo>
                      <a:pt x="5359" y="539"/>
                      <a:pt x="5355" y="547"/>
                      <a:pt x="5350" y="556"/>
                    </a:cubicBezTo>
                    <a:lnTo>
                      <a:pt x="5346" y="556"/>
                    </a:lnTo>
                    <a:cubicBezTo>
                      <a:pt x="5335" y="562"/>
                      <a:pt x="5324" y="567"/>
                      <a:pt x="5313" y="573"/>
                    </a:cubicBezTo>
                    <a:cubicBezTo>
                      <a:pt x="5310" y="567"/>
                      <a:pt x="5307" y="562"/>
                      <a:pt x="5304" y="556"/>
                    </a:cubicBezTo>
                    <a:cubicBezTo>
                      <a:pt x="5299" y="562"/>
                      <a:pt x="5295" y="567"/>
                      <a:pt x="5290" y="573"/>
                    </a:cubicBezTo>
                    <a:lnTo>
                      <a:pt x="5290" y="556"/>
                    </a:lnTo>
                    <a:cubicBezTo>
                      <a:pt x="5293" y="553"/>
                      <a:pt x="5297" y="550"/>
                      <a:pt x="5300" y="547"/>
                    </a:cubicBezTo>
                    <a:lnTo>
                      <a:pt x="5300" y="530"/>
                    </a:lnTo>
                    <a:lnTo>
                      <a:pt x="5290" y="530"/>
                    </a:lnTo>
                    <a:cubicBezTo>
                      <a:pt x="5289" y="536"/>
                      <a:pt x="5287" y="541"/>
                      <a:pt x="5286" y="547"/>
                    </a:cubicBezTo>
                    <a:cubicBezTo>
                      <a:pt x="5281" y="550"/>
                      <a:pt x="5277" y="553"/>
                      <a:pt x="5272" y="556"/>
                    </a:cubicBezTo>
                    <a:lnTo>
                      <a:pt x="5272" y="598"/>
                    </a:lnTo>
                    <a:cubicBezTo>
                      <a:pt x="5273" y="592"/>
                      <a:pt x="5275" y="587"/>
                      <a:pt x="5276" y="581"/>
                    </a:cubicBezTo>
                    <a:cubicBezTo>
                      <a:pt x="5275" y="590"/>
                      <a:pt x="5273" y="598"/>
                      <a:pt x="5272" y="607"/>
                    </a:cubicBezTo>
                    <a:lnTo>
                      <a:pt x="5263" y="607"/>
                    </a:lnTo>
                    <a:lnTo>
                      <a:pt x="5263" y="632"/>
                    </a:lnTo>
                    <a:cubicBezTo>
                      <a:pt x="5261" y="641"/>
                      <a:pt x="5260" y="649"/>
                      <a:pt x="5258" y="658"/>
                    </a:cubicBezTo>
                    <a:cubicBezTo>
                      <a:pt x="5253" y="661"/>
                      <a:pt x="5249" y="664"/>
                      <a:pt x="5244" y="667"/>
                    </a:cubicBezTo>
                    <a:cubicBezTo>
                      <a:pt x="5243" y="664"/>
                      <a:pt x="5241" y="661"/>
                      <a:pt x="5240" y="658"/>
                    </a:cubicBezTo>
                    <a:lnTo>
                      <a:pt x="5240" y="684"/>
                    </a:lnTo>
                    <a:lnTo>
                      <a:pt x="5212" y="684"/>
                    </a:lnTo>
                    <a:cubicBezTo>
                      <a:pt x="5207" y="687"/>
                      <a:pt x="5203" y="689"/>
                      <a:pt x="5198" y="692"/>
                    </a:cubicBezTo>
                    <a:cubicBezTo>
                      <a:pt x="5193" y="689"/>
                      <a:pt x="5189" y="687"/>
                      <a:pt x="5184" y="684"/>
                    </a:cubicBezTo>
                    <a:lnTo>
                      <a:pt x="5157" y="684"/>
                    </a:lnTo>
                    <a:lnTo>
                      <a:pt x="5157" y="667"/>
                    </a:lnTo>
                    <a:lnTo>
                      <a:pt x="5157" y="667"/>
                    </a:lnTo>
                    <a:cubicBezTo>
                      <a:pt x="5165" y="661"/>
                      <a:pt x="5172" y="656"/>
                      <a:pt x="5180" y="650"/>
                    </a:cubicBezTo>
                    <a:cubicBezTo>
                      <a:pt x="5181" y="653"/>
                      <a:pt x="5183" y="655"/>
                      <a:pt x="5184" y="658"/>
                    </a:cubicBezTo>
                    <a:cubicBezTo>
                      <a:pt x="5190" y="621"/>
                      <a:pt x="5197" y="584"/>
                      <a:pt x="5203" y="547"/>
                    </a:cubicBezTo>
                    <a:cubicBezTo>
                      <a:pt x="5211" y="541"/>
                      <a:pt x="5218" y="536"/>
                      <a:pt x="5226" y="530"/>
                    </a:cubicBezTo>
                    <a:cubicBezTo>
                      <a:pt x="5227" y="516"/>
                      <a:pt x="5229" y="501"/>
                      <a:pt x="5230" y="487"/>
                    </a:cubicBezTo>
                    <a:lnTo>
                      <a:pt x="5230" y="487"/>
                    </a:lnTo>
                    <a:cubicBezTo>
                      <a:pt x="5229" y="479"/>
                      <a:pt x="5227" y="470"/>
                      <a:pt x="5226" y="462"/>
                    </a:cubicBezTo>
                    <a:lnTo>
                      <a:pt x="5226" y="462"/>
                    </a:lnTo>
                    <a:lnTo>
                      <a:pt x="5240" y="462"/>
                    </a:lnTo>
                    <a:lnTo>
                      <a:pt x="5240" y="444"/>
                    </a:lnTo>
                    <a:cubicBezTo>
                      <a:pt x="5237" y="441"/>
                      <a:pt x="5233" y="439"/>
                      <a:pt x="5230" y="436"/>
                    </a:cubicBezTo>
                    <a:lnTo>
                      <a:pt x="5230" y="419"/>
                    </a:lnTo>
                    <a:lnTo>
                      <a:pt x="5230" y="410"/>
                    </a:lnTo>
                    <a:cubicBezTo>
                      <a:pt x="5219" y="407"/>
                      <a:pt x="5209" y="405"/>
                      <a:pt x="5198" y="402"/>
                    </a:cubicBezTo>
                    <a:lnTo>
                      <a:pt x="5189" y="402"/>
                    </a:lnTo>
                    <a:cubicBezTo>
                      <a:pt x="5187" y="393"/>
                      <a:pt x="5186" y="385"/>
                      <a:pt x="5184" y="376"/>
                    </a:cubicBezTo>
                    <a:lnTo>
                      <a:pt x="5180" y="376"/>
                    </a:lnTo>
                    <a:lnTo>
                      <a:pt x="5166" y="376"/>
                    </a:lnTo>
                    <a:lnTo>
                      <a:pt x="5157" y="385"/>
                    </a:lnTo>
                    <a:cubicBezTo>
                      <a:pt x="5155" y="382"/>
                      <a:pt x="5154" y="379"/>
                      <a:pt x="5152" y="376"/>
                    </a:cubicBezTo>
                    <a:cubicBezTo>
                      <a:pt x="5144" y="379"/>
                      <a:pt x="5137" y="382"/>
                      <a:pt x="5129" y="385"/>
                    </a:cubicBezTo>
                    <a:lnTo>
                      <a:pt x="5129" y="350"/>
                    </a:lnTo>
                    <a:lnTo>
                      <a:pt x="5129" y="325"/>
                    </a:lnTo>
                    <a:cubicBezTo>
                      <a:pt x="5127" y="336"/>
                      <a:pt x="5126" y="348"/>
                      <a:pt x="5124" y="359"/>
                    </a:cubicBezTo>
                    <a:lnTo>
                      <a:pt x="5106" y="359"/>
                    </a:lnTo>
                    <a:lnTo>
                      <a:pt x="5037" y="419"/>
                    </a:lnTo>
                    <a:cubicBezTo>
                      <a:pt x="5042" y="408"/>
                      <a:pt x="5046" y="396"/>
                      <a:pt x="5051" y="385"/>
                    </a:cubicBezTo>
                    <a:cubicBezTo>
                      <a:pt x="5052" y="382"/>
                      <a:pt x="5054" y="379"/>
                      <a:pt x="5055" y="376"/>
                    </a:cubicBezTo>
                    <a:cubicBezTo>
                      <a:pt x="5067" y="345"/>
                      <a:pt x="5080" y="313"/>
                      <a:pt x="5092" y="282"/>
                    </a:cubicBezTo>
                    <a:cubicBezTo>
                      <a:pt x="5097" y="276"/>
                      <a:pt x="5101" y="271"/>
                      <a:pt x="5106" y="265"/>
                    </a:cubicBezTo>
                    <a:lnTo>
                      <a:pt x="5115" y="265"/>
                    </a:lnTo>
                    <a:cubicBezTo>
                      <a:pt x="5118" y="251"/>
                      <a:pt x="5121" y="236"/>
                      <a:pt x="5124" y="222"/>
                    </a:cubicBezTo>
                    <a:lnTo>
                      <a:pt x="5124" y="214"/>
                    </a:lnTo>
                    <a:cubicBezTo>
                      <a:pt x="5130" y="208"/>
                      <a:pt x="5137" y="203"/>
                      <a:pt x="5143" y="197"/>
                    </a:cubicBezTo>
                    <a:cubicBezTo>
                      <a:pt x="5146" y="203"/>
                      <a:pt x="5149" y="208"/>
                      <a:pt x="5152" y="214"/>
                    </a:cubicBezTo>
                    <a:cubicBezTo>
                      <a:pt x="5149" y="205"/>
                      <a:pt x="5146" y="197"/>
                      <a:pt x="5143" y="188"/>
                    </a:cubicBezTo>
                    <a:cubicBezTo>
                      <a:pt x="5138" y="160"/>
                      <a:pt x="5134" y="131"/>
                      <a:pt x="5129" y="103"/>
                    </a:cubicBezTo>
                    <a:cubicBezTo>
                      <a:pt x="5124" y="97"/>
                      <a:pt x="5120" y="91"/>
                      <a:pt x="5115" y="85"/>
                    </a:cubicBezTo>
                    <a:cubicBezTo>
                      <a:pt x="5114" y="94"/>
                      <a:pt x="5112" y="102"/>
                      <a:pt x="5111" y="111"/>
                    </a:cubicBezTo>
                    <a:cubicBezTo>
                      <a:pt x="5105" y="108"/>
                      <a:pt x="5098" y="106"/>
                      <a:pt x="5092" y="103"/>
                    </a:cubicBezTo>
                    <a:lnTo>
                      <a:pt x="5069" y="77"/>
                    </a:lnTo>
                    <a:lnTo>
                      <a:pt x="5051" y="26"/>
                    </a:lnTo>
                    <a:cubicBezTo>
                      <a:pt x="5048" y="29"/>
                      <a:pt x="5044" y="31"/>
                      <a:pt x="5041" y="34"/>
                    </a:cubicBezTo>
                    <a:lnTo>
                      <a:pt x="5037" y="34"/>
                    </a:lnTo>
                    <a:lnTo>
                      <a:pt x="5037" y="26"/>
                    </a:lnTo>
                    <a:lnTo>
                      <a:pt x="5037" y="9"/>
                    </a:lnTo>
                    <a:cubicBezTo>
                      <a:pt x="5032" y="6"/>
                      <a:pt x="5028" y="3"/>
                      <a:pt x="5023" y="0"/>
                    </a:cubicBezTo>
                    <a:cubicBezTo>
                      <a:pt x="5018" y="3"/>
                      <a:pt x="5014" y="6"/>
                      <a:pt x="5009" y="9"/>
                    </a:cubicBezTo>
                    <a:cubicBezTo>
                      <a:pt x="5004" y="17"/>
                      <a:pt x="5000" y="26"/>
                      <a:pt x="4995" y="34"/>
                    </a:cubicBezTo>
                    <a:cubicBezTo>
                      <a:pt x="4994" y="43"/>
                      <a:pt x="4992" y="51"/>
                      <a:pt x="4991" y="60"/>
                    </a:cubicBezTo>
                    <a:lnTo>
                      <a:pt x="4982" y="60"/>
                    </a:lnTo>
                    <a:lnTo>
                      <a:pt x="4949" y="51"/>
                    </a:lnTo>
                    <a:lnTo>
                      <a:pt x="4949" y="85"/>
                    </a:lnTo>
                    <a:cubicBezTo>
                      <a:pt x="4934" y="122"/>
                      <a:pt x="4918" y="160"/>
                      <a:pt x="4903" y="197"/>
                    </a:cubicBezTo>
                    <a:cubicBezTo>
                      <a:pt x="4902" y="211"/>
                      <a:pt x="4900" y="225"/>
                      <a:pt x="4899" y="239"/>
                    </a:cubicBezTo>
                    <a:cubicBezTo>
                      <a:pt x="4890" y="251"/>
                      <a:pt x="4880" y="262"/>
                      <a:pt x="4871" y="274"/>
                    </a:cubicBezTo>
                    <a:lnTo>
                      <a:pt x="4871" y="282"/>
                    </a:lnTo>
                    <a:cubicBezTo>
                      <a:pt x="4859" y="313"/>
                      <a:pt x="4846" y="345"/>
                      <a:pt x="4834" y="376"/>
                    </a:cubicBezTo>
                    <a:cubicBezTo>
                      <a:pt x="4832" y="385"/>
                      <a:pt x="4831" y="393"/>
                      <a:pt x="4829" y="402"/>
                    </a:cubicBezTo>
                    <a:cubicBezTo>
                      <a:pt x="4831" y="405"/>
                      <a:pt x="4832" y="407"/>
                      <a:pt x="4834" y="410"/>
                    </a:cubicBezTo>
                    <a:cubicBezTo>
                      <a:pt x="4832" y="419"/>
                      <a:pt x="4831" y="427"/>
                      <a:pt x="4829" y="436"/>
                    </a:cubicBezTo>
                    <a:lnTo>
                      <a:pt x="4825" y="436"/>
                    </a:lnTo>
                    <a:lnTo>
                      <a:pt x="4825" y="444"/>
                    </a:lnTo>
                    <a:cubicBezTo>
                      <a:pt x="4820" y="461"/>
                      <a:pt x="4816" y="479"/>
                      <a:pt x="4811" y="496"/>
                    </a:cubicBezTo>
                    <a:lnTo>
                      <a:pt x="4811" y="496"/>
                    </a:lnTo>
                    <a:lnTo>
                      <a:pt x="4811" y="521"/>
                    </a:lnTo>
                    <a:cubicBezTo>
                      <a:pt x="4813" y="524"/>
                      <a:pt x="4814" y="527"/>
                      <a:pt x="4816" y="530"/>
                    </a:cubicBezTo>
                    <a:cubicBezTo>
                      <a:pt x="4822" y="536"/>
                      <a:pt x="4828" y="541"/>
                      <a:pt x="4834" y="547"/>
                    </a:cubicBezTo>
                    <a:lnTo>
                      <a:pt x="4834" y="581"/>
                    </a:lnTo>
                    <a:lnTo>
                      <a:pt x="4843" y="581"/>
                    </a:lnTo>
                    <a:lnTo>
                      <a:pt x="4843" y="598"/>
                    </a:lnTo>
                    <a:lnTo>
                      <a:pt x="4829" y="598"/>
                    </a:lnTo>
                    <a:lnTo>
                      <a:pt x="4829" y="573"/>
                    </a:lnTo>
                    <a:lnTo>
                      <a:pt x="4829" y="632"/>
                    </a:lnTo>
                    <a:lnTo>
                      <a:pt x="4829" y="632"/>
                    </a:lnTo>
                    <a:lnTo>
                      <a:pt x="4829" y="650"/>
                    </a:lnTo>
                    <a:lnTo>
                      <a:pt x="4774" y="684"/>
                    </a:lnTo>
                    <a:lnTo>
                      <a:pt x="4756" y="684"/>
                    </a:lnTo>
                    <a:cubicBezTo>
                      <a:pt x="4750" y="687"/>
                      <a:pt x="4743" y="689"/>
                      <a:pt x="4737" y="692"/>
                    </a:cubicBezTo>
                    <a:cubicBezTo>
                      <a:pt x="4717" y="684"/>
                      <a:pt x="4697" y="675"/>
                      <a:pt x="4677" y="667"/>
                    </a:cubicBezTo>
                    <a:cubicBezTo>
                      <a:pt x="4679" y="675"/>
                      <a:pt x="4680" y="684"/>
                      <a:pt x="4682" y="692"/>
                    </a:cubicBezTo>
                    <a:lnTo>
                      <a:pt x="4682" y="709"/>
                    </a:lnTo>
                    <a:lnTo>
                      <a:pt x="4691" y="718"/>
                    </a:lnTo>
                    <a:lnTo>
                      <a:pt x="4691" y="744"/>
                    </a:lnTo>
                    <a:lnTo>
                      <a:pt x="4700" y="744"/>
                    </a:lnTo>
                    <a:cubicBezTo>
                      <a:pt x="4705" y="752"/>
                      <a:pt x="4709" y="761"/>
                      <a:pt x="4714" y="769"/>
                    </a:cubicBezTo>
                    <a:cubicBezTo>
                      <a:pt x="4713" y="775"/>
                      <a:pt x="4711" y="780"/>
                      <a:pt x="4710" y="786"/>
                    </a:cubicBezTo>
                    <a:lnTo>
                      <a:pt x="4737" y="786"/>
                    </a:lnTo>
                    <a:cubicBezTo>
                      <a:pt x="4739" y="789"/>
                      <a:pt x="4740" y="792"/>
                      <a:pt x="4742" y="795"/>
                    </a:cubicBezTo>
                    <a:lnTo>
                      <a:pt x="4742" y="803"/>
                    </a:lnTo>
                    <a:cubicBezTo>
                      <a:pt x="4740" y="817"/>
                      <a:pt x="4739" y="832"/>
                      <a:pt x="4737" y="846"/>
                    </a:cubicBezTo>
                    <a:lnTo>
                      <a:pt x="4737" y="880"/>
                    </a:lnTo>
                    <a:lnTo>
                      <a:pt x="4737" y="906"/>
                    </a:lnTo>
                    <a:cubicBezTo>
                      <a:pt x="4733" y="903"/>
                      <a:pt x="4728" y="900"/>
                      <a:pt x="4724" y="897"/>
                    </a:cubicBezTo>
                    <a:lnTo>
                      <a:pt x="4724" y="872"/>
                    </a:lnTo>
                    <a:cubicBezTo>
                      <a:pt x="4721" y="866"/>
                      <a:pt x="4717" y="861"/>
                      <a:pt x="4714" y="855"/>
                    </a:cubicBezTo>
                    <a:cubicBezTo>
                      <a:pt x="4706" y="852"/>
                      <a:pt x="4699" y="849"/>
                      <a:pt x="4691" y="846"/>
                    </a:cubicBezTo>
                    <a:lnTo>
                      <a:pt x="4691" y="846"/>
                    </a:lnTo>
                    <a:cubicBezTo>
                      <a:pt x="4693" y="838"/>
                      <a:pt x="4694" y="829"/>
                      <a:pt x="4696" y="821"/>
                    </a:cubicBezTo>
                    <a:cubicBezTo>
                      <a:pt x="4694" y="815"/>
                      <a:pt x="4693" y="809"/>
                      <a:pt x="4691" y="803"/>
                    </a:cubicBezTo>
                    <a:cubicBezTo>
                      <a:pt x="4683" y="809"/>
                      <a:pt x="4676" y="815"/>
                      <a:pt x="4668" y="821"/>
                    </a:cubicBezTo>
                    <a:lnTo>
                      <a:pt x="4668" y="786"/>
                    </a:lnTo>
                    <a:lnTo>
                      <a:pt x="4664" y="786"/>
                    </a:lnTo>
                    <a:lnTo>
                      <a:pt x="4622" y="846"/>
                    </a:lnTo>
                    <a:cubicBezTo>
                      <a:pt x="4624" y="855"/>
                      <a:pt x="4625" y="863"/>
                      <a:pt x="4627" y="872"/>
                    </a:cubicBezTo>
                    <a:cubicBezTo>
                      <a:pt x="4625" y="875"/>
                      <a:pt x="4624" y="877"/>
                      <a:pt x="4622" y="880"/>
                    </a:cubicBezTo>
                    <a:lnTo>
                      <a:pt x="4622" y="880"/>
                    </a:lnTo>
                    <a:cubicBezTo>
                      <a:pt x="4621" y="877"/>
                      <a:pt x="4619" y="875"/>
                      <a:pt x="4618" y="872"/>
                    </a:cubicBezTo>
                    <a:cubicBezTo>
                      <a:pt x="4613" y="875"/>
                      <a:pt x="4609" y="877"/>
                      <a:pt x="4604" y="880"/>
                    </a:cubicBezTo>
                    <a:cubicBezTo>
                      <a:pt x="4601" y="889"/>
                      <a:pt x="4597" y="897"/>
                      <a:pt x="4594" y="906"/>
                    </a:cubicBezTo>
                    <a:lnTo>
                      <a:pt x="4604" y="906"/>
                    </a:lnTo>
                    <a:lnTo>
                      <a:pt x="4608" y="906"/>
                    </a:lnTo>
                    <a:lnTo>
                      <a:pt x="4608" y="932"/>
                    </a:lnTo>
                    <a:lnTo>
                      <a:pt x="4604" y="932"/>
                    </a:lnTo>
                    <a:lnTo>
                      <a:pt x="4590" y="932"/>
                    </a:lnTo>
                    <a:cubicBezTo>
                      <a:pt x="4582" y="940"/>
                      <a:pt x="4575" y="949"/>
                      <a:pt x="4567" y="957"/>
                    </a:cubicBezTo>
                    <a:lnTo>
                      <a:pt x="4567" y="932"/>
                    </a:lnTo>
                    <a:lnTo>
                      <a:pt x="4567" y="923"/>
                    </a:lnTo>
                    <a:cubicBezTo>
                      <a:pt x="4565" y="926"/>
                      <a:pt x="4564" y="929"/>
                      <a:pt x="4562" y="932"/>
                    </a:cubicBezTo>
                    <a:cubicBezTo>
                      <a:pt x="4557" y="940"/>
                      <a:pt x="4553" y="949"/>
                      <a:pt x="4548" y="957"/>
                    </a:cubicBezTo>
                    <a:lnTo>
                      <a:pt x="4544" y="957"/>
                    </a:lnTo>
                    <a:lnTo>
                      <a:pt x="4521" y="983"/>
                    </a:lnTo>
                    <a:lnTo>
                      <a:pt x="4521" y="983"/>
                    </a:lnTo>
                    <a:cubicBezTo>
                      <a:pt x="4524" y="974"/>
                      <a:pt x="4527" y="966"/>
                      <a:pt x="4530" y="957"/>
                    </a:cubicBezTo>
                    <a:cubicBezTo>
                      <a:pt x="4532" y="949"/>
                      <a:pt x="4533" y="940"/>
                      <a:pt x="4535" y="932"/>
                    </a:cubicBezTo>
                    <a:lnTo>
                      <a:pt x="4521" y="932"/>
                    </a:lnTo>
                    <a:cubicBezTo>
                      <a:pt x="4519" y="929"/>
                      <a:pt x="4518" y="926"/>
                      <a:pt x="4516" y="923"/>
                    </a:cubicBezTo>
                    <a:lnTo>
                      <a:pt x="4516" y="932"/>
                    </a:lnTo>
                    <a:cubicBezTo>
                      <a:pt x="4507" y="935"/>
                      <a:pt x="4497" y="937"/>
                      <a:pt x="4488" y="940"/>
                    </a:cubicBezTo>
                    <a:cubicBezTo>
                      <a:pt x="4487" y="954"/>
                      <a:pt x="4485" y="969"/>
                      <a:pt x="4484" y="983"/>
                    </a:cubicBezTo>
                    <a:lnTo>
                      <a:pt x="4470" y="983"/>
                    </a:lnTo>
                    <a:lnTo>
                      <a:pt x="4470" y="966"/>
                    </a:lnTo>
                    <a:cubicBezTo>
                      <a:pt x="4476" y="952"/>
                      <a:pt x="4482" y="937"/>
                      <a:pt x="4488" y="923"/>
                    </a:cubicBezTo>
                    <a:cubicBezTo>
                      <a:pt x="4490" y="909"/>
                      <a:pt x="4491" y="894"/>
                      <a:pt x="4493" y="880"/>
                    </a:cubicBezTo>
                    <a:cubicBezTo>
                      <a:pt x="4487" y="869"/>
                      <a:pt x="4481" y="857"/>
                      <a:pt x="4475" y="846"/>
                    </a:cubicBezTo>
                    <a:lnTo>
                      <a:pt x="4442" y="855"/>
                    </a:lnTo>
                    <a:lnTo>
                      <a:pt x="4433" y="855"/>
                    </a:lnTo>
                    <a:lnTo>
                      <a:pt x="4433" y="880"/>
                    </a:lnTo>
                    <a:cubicBezTo>
                      <a:pt x="4422" y="872"/>
                      <a:pt x="4412" y="863"/>
                      <a:pt x="4401" y="855"/>
                    </a:cubicBezTo>
                    <a:cubicBezTo>
                      <a:pt x="4399" y="861"/>
                      <a:pt x="4398" y="866"/>
                      <a:pt x="4396" y="872"/>
                    </a:cubicBezTo>
                    <a:cubicBezTo>
                      <a:pt x="4391" y="880"/>
                      <a:pt x="4387" y="889"/>
                      <a:pt x="4382" y="897"/>
                    </a:cubicBezTo>
                    <a:cubicBezTo>
                      <a:pt x="4379" y="889"/>
                      <a:pt x="4376" y="880"/>
                      <a:pt x="4373" y="872"/>
                    </a:cubicBezTo>
                    <a:lnTo>
                      <a:pt x="4341" y="872"/>
                    </a:lnTo>
                    <a:cubicBezTo>
                      <a:pt x="4339" y="875"/>
                      <a:pt x="4338" y="877"/>
                      <a:pt x="4336" y="880"/>
                    </a:cubicBezTo>
                    <a:cubicBezTo>
                      <a:pt x="4339" y="886"/>
                      <a:pt x="4343" y="891"/>
                      <a:pt x="4346" y="897"/>
                    </a:cubicBezTo>
                    <a:lnTo>
                      <a:pt x="4346" y="897"/>
                    </a:lnTo>
                    <a:lnTo>
                      <a:pt x="4313" y="906"/>
                    </a:lnTo>
                    <a:lnTo>
                      <a:pt x="4313" y="906"/>
                    </a:lnTo>
                    <a:lnTo>
                      <a:pt x="4313" y="880"/>
                    </a:lnTo>
                    <a:cubicBezTo>
                      <a:pt x="4312" y="886"/>
                      <a:pt x="4310" y="891"/>
                      <a:pt x="4309" y="897"/>
                    </a:cubicBezTo>
                    <a:cubicBezTo>
                      <a:pt x="4304" y="906"/>
                      <a:pt x="4300" y="914"/>
                      <a:pt x="4295" y="923"/>
                    </a:cubicBezTo>
                    <a:cubicBezTo>
                      <a:pt x="4292" y="914"/>
                      <a:pt x="4289" y="906"/>
                      <a:pt x="4286" y="897"/>
                    </a:cubicBezTo>
                    <a:cubicBezTo>
                      <a:pt x="4284" y="900"/>
                      <a:pt x="4283" y="903"/>
                      <a:pt x="4281" y="906"/>
                    </a:cubicBezTo>
                    <a:lnTo>
                      <a:pt x="4281" y="940"/>
                    </a:lnTo>
                    <a:cubicBezTo>
                      <a:pt x="4283" y="946"/>
                      <a:pt x="4284" y="951"/>
                      <a:pt x="4286" y="957"/>
                    </a:cubicBezTo>
                    <a:cubicBezTo>
                      <a:pt x="4294" y="949"/>
                      <a:pt x="4301" y="940"/>
                      <a:pt x="4309" y="932"/>
                    </a:cubicBezTo>
                    <a:cubicBezTo>
                      <a:pt x="4310" y="940"/>
                      <a:pt x="4312" y="949"/>
                      <a:pt x="4313" y="957"/>
                    </a:cubicBezTo>
                    <a:lnTo>
                      <a:pt x="4313" y="966"/>
                    </a:lnTo>
                    <a:lnTo>
                      <a:pt x="4323" y="966"/>
                    </a:lnTo>
                    <a:lnTo>
                      <a:pt x="4323" y="940"/>
                    </a:lnTo>
                    <a:lnTo>
                      <a:pt x="4327" y="940"/>
                    </a:lnTo>
                    <a:lnTo>
                      <a:pt x="4327" y="957"/>
                    </a:lnTo>
                    <a:lnTo>
                      <a:pt x="4327" y="966"/>
                    </a:lnTo>
                    <a:cubicBezTo>
                      <a:pt x="4326" y="974"/>
                      <a:pt x="4324" y="983"/>
                      <a:pt x="4323" y="991"/>
                    </a:cubicBezTo>
                    <a:lnTo>
                      <a:pt x="4207" y="1060"/>
                    </a:lnTo>
                    <a:lnTo>
                      <a:pt x="4207" y="1060"/>
                    </a:lnTo>
                    <a:cubicBezTo>
                      <a:pt x="4206" y="1063"/>
                      <a:pt x="4204" y="1065"/>
                      <a:pt x="4203" y="1068"/>
                    </a:cubicBezTo>
                    <a:lnTo>
                      <a:pt x="4203" y="1094"/>
                    </a:lnTo>
                    <a:lnTo>
                      <a:pt x="4203" y="1094"/>
                    </a:lnTo>
                    <a:lnTo>
                      <a:pt x="4189" y="1094"/>
                    </a:lnTo>
                    <a:cubicBezTo>
                      <a:pt x="4181" y="1097"/>
                      <a:pt x="4174" y="1100"/>
                      <a:pt x="4166" y="1103"/>
                    </a:cubicBezTo>
                    <a:cubicBezTo>
                      <a:pt x="4161" y="1100"/>
                      <a:pt x="4157" y="1097"/>
                      <a:pt x="4152" y="1094"/>
                    </a:cubicBezTo>
                    <a:cubicBezTo>
                      <a:pt x="4146" y="1103"/>
                      <a:pt x="4140" y="1111"/>
                      <a:pt x="4134" y="1120"/>
                    </a:cubicBezTo>
                    <a:lnTo>
                      <a:pt x="4106" y="1120"/>
                    </a:lnTo>
                    <a:cubicBezTo>
                      <a:pt x="4101" y="1131"/>
                      <a:pt x="4097" y="1143"/>
                      <a:pt x="4092" y="1154"/>
                    </a:cubicBezTo>
                    <a:cubicBezTo>
                      <a:pt x="4097" y="1160"/>
                      <a:pt x="4101" y="1165"/>
                      <a:pt x="4106" y="1171"/>
                    </a:cubicBezTo>
                    <a:cubicBezTo>
                      <a:pt x="4097" y="1174"/>
                      <a:pt x="4087" y="1176"/>
                      <a:pt x="4078" y="1179"/>
                    </a:cubicBezTo>
                    <a:cubicBezTo>
                      <a:pt x="4074" y="1188"/>
                      <a:pt x="4069" y="1196"/>
                      <a:pt x="4065" y="1205"/>
                    </a:cubicBezTo>
                    <a:cubicBezTo>
                      <a:pt x="4059" y="1196"/>
                      <a:pt x="4052" y="1188"/>
                      <a:pt x="4046" y="1179"/>
                    </a:cubicBezTo>
                    <a:cubicBezTo>
                      <a:pt x="4044" y="1185"/>
                      <a:pt x="4043" y="1191"/>
                      <a:pt x="4041" y="1197"/>
                    </a:cubicBezTo>
                    <a:cubicBezTo>
                      <a:pt x="4037" y="1200"/>
                      <a:pt x="4032" y="1202"/>
                      <a:pt x="4028" y="1205"/>
                    </a:cubicBezTo>
                    <a:lnTo>
                      <a:pt x="4028" y="1205"/>
                    </a:lnTo>
                    <a:lnTo>
                      <a:pt x="4032" y="1205"/>
                    </a:lnTo>
                    <a:lnTo>
                      <a:pt x="4032" y="1231"/>
                    </a:lnTo>
                    <a:cubicBezTo>
                      <a:pt x="4026" y="1234"/>
                      <a:pt x="4020" y="1236"/>
                      <a:pt x="4014" y="1239"/>
                    </a:cubicBezTo>
                    <a:lnTo>
                      <a:pt x="4014" y="1256"/>
                    </a:lnTo>
                    <a:cubicBezTo>
                      <a:pt x="4009" y="1259"/>
                      <a:pt x="4005" y="1262"/>
                      <a:pt x="4000" y="1265"/>
                    </a:cubicBezTo>
                    <a:cubicBezTo>
                      <a:pt x="3995" y="1279"/>
                      <a:pt x="3991" y="1294"/>
                      <a:pt x="3986" y="1308"/>
                    </a:cubicBezTo>
                    <a:cubicBezTo>
                      <a:pt x="3981" y="1311"/>
                      <a:pt x="3977" y="1313"/>
                      <a:pt x="3972" y="1316"/>
                    </a:cubicBezTo>
                    <a:lnTo>
                      <a:pt x="3972" y="1325"/>
                    </a:lnTo>
                    <a:lnTo>
                      <a:pt x="3972" y="1342"/>
                    </a:lnTo>
                    <a:cubicBezTo>
                      <a:pt x="3971" y="1345"/>
                      <a:pt x="3969" y="1347"/>
                      <a:pt x="3968" y="1350"/>
                    </a:cubicBezTo>
                    <a:cubicBezTo>
                      <a:pt x="3963" y="1356"/>
                      <a:pt x="3959" y="1362"/>
                      <a:pt x="3954" y="1368"/>
                    </a:cubicBezTo>
                    <a:lnTo>
                      <a:pt x="3945" y="1350"/>
                    </a:lnTo>
                    <a:cubicBezTo>
                      <a:pt x="3933" y="1347"/>
                      <a:pt x="3920" y="1345"/>
                      <a:pt x="3908" y="1342"/>
                    </a:cubicBezTo>
                    <a:cubicBezTo>
                      <a:pt x="3903" y="1351"/>
                      <a:pt x="3899" y="1359"/>
                      <a:pt x="3894" y="1368"/>
                    </a:cubicBezTo>
                    <a:lnTo>
                      <a:pt x="3922" y="1393"/>
                    </a:lnTo>
                    <a:lnTo>
                      <a:pt x="3945" y="1393"/>
                    </a:lnTo>
                    <a:cubicBezTo>
                      <a:pt x="3943" y="1402"/>
                      <a:pt x="3942" y="1410"/>
                      <a:pt x="3940" y="1419"/>
                    </a:cubicBezTo>
                    <a:cubicBezTo>
                      <a:pt x="3937" y="1422"/>
                      <a:pt x="3934" y="1424"/>
                      <a:pt x="3931" y="1427"/>
                    </a:cubicBezTo>
                    <a:lnTo>
                      <a:pt x="3926" y="1427"/>
                    </a:lnTo>
                    <a:cubicBezTo>
                      <a:pt x="3925" y="1424"/>
                      <a:pt x="3923" y="1422"/>
                      <a:pt x="3922" y="1419"/>
                    </a:cubicBezTo>
                    <a:cubicBezTo>
                      <a:pt x="3919" y="1422"/>
                      <a:pt x="3915" y="1424"/>
                      <a:pt x="3912" y="1427"/>
                    </a:cubicBezTo>
                    <a:lnTo>
                      <a:pt x="3912" y="1444"/>
                    </a:lnTo>
                    <a:lnTo>
                      <a:pt x="3894" y="1513"/>
                    </a:lnTo>
                    <a:lnTo>
                      <a:pt x="3885" y="1513"/>
                    </a:lnTo>
                    <a:cubicBezTo>
                      <a:pt x="3883" y="1521"/>
                      <a:pt x="3882" y="1530"/>
                      <a:pt x="3880" y="1538"/>
                    </a:cubicBezTo>
                    <a:cubicBezTo>
                      <a:pt x="3882" y="1547"/>
                      <a:pt x="3883" y="1555"/>
                      <a:pt x="3885" y="1564"/>
                    </a:cubicBezTo>
                    <a:cubicBezTo>
                      <a:pt x="3883" y="1570"/>
                      <a:pt x="3882" y="1575"/>
                      <a:pt x="3880" y="1581"/>
                    </a:cubicBezTo>
                    <a:cubicBezTo>
                      <a:pt x="3877" y="1567"/>
                      <a:pt x="3874" y="1552"/>
                      <a:pt x="3871" y="1538"/>
                    </a:cubicBezTo>
                    <a:cubicBezTo>
                      <a:pt x="3865" y="1535"/>
                      <a:pt x="3859" y="1533"/>
                      <a:pt x="3853" y="1530"/>
                    </a:cubicBezTo>
                    <a:lnTo>
                      <a:pt x="3853" y="1504"/>
                    </a:lnTo>
                    <a:cubicBezTo>
                      <a:pt x="3847" y="1498"/>
                      <a:pt x="3840" y="1493"/>
                      <a:pt x="3834" y="1487"/>
                    </a:cubicBezTo>
                    <a:lnTo>
                      <a:pt x="3834" y="1487"/>
                    </a:lnTo>
                    <a:cubicBezTo>
                      <a:pt x="3836" y="1496"/>
                      <a:pt x="3837" y="1504"/>
                      <a:pt x="3839" y="1513"/>
                    </a:cubicBezTo>
                    <a:cubicBezTo>
                      <a:pt x="3833" y="1521"/>
                      <a:pt x="3826" y="1530"/>
                      <a:pt x="3820" y="1538"/>
                    </a:cubicBezTo>
                    <a:lnTo>
                      <a:pt x="3820" y="1556"/>
                    </a:lnTo>
                    <a:lnTo>
                      <a:pt x="3820" y="1564"/>
                    </a:lnTo>
                    <a:lnTo>
                      <a:pt x="3820" y="1581"/>
                    </a:lnTo>
                    <a:lnTo>
                      <a:pt x="3853" y="1581"/>
                    </a:lnTo>
                    <a:cubicBezTo>
                      <a:pt x="3854" y="1587"/>
                      <a:pt x="3856" y="1592"/>
                      <a:pt x="3857" y="1598"/>
                    </a:cubicBezTo>
                    <a:cubicBezTo>
                      <a:pt x="3865" y="1604"/>
                      <a:pt x="3872" y="1609"/>
                      <a:pt x="3880" y="1615"/>
                    </a:cubicBezTo>
                    <a:lnTo>
                      <a:pt x="3871" y="1615"/>
                    </a:lnTo>
                    <a:lnTo>
                      <a:pt x="3871" y="1641"/>
                    </a:lnTo>
                    <a:lnTo>
                      <a:pt x="3880" y="1641"/>
                    </a:lnTo>
                    <a:lnTo>
                      <a:pt x="3871" y="1650"/>
                    </a:lnTo>
                    <a:lnTo>
                      <a:pt x="3857" y="1650"/>
                    </a:lnTo>
                    <a:lnTo>
                      <a:pt x="3853" y="1650"/>
                    </a:lnTo>
                    <a:cubicBezTo>
                      <a:pt x="3848" y="1656"/>
                      <a:pt x="3844" y="1661"/>
                      <a:pt x="3839" y="1667"/>
                    </a:cubicBezTo>
                    <a:cubicBezTo>
                      <a:pt x="3842" y="1675"/>
                      <a:pt x="3845" y="1684"/>
                      <a:pt x="3848" y="1692"/>
                    </a:cubicBezTo>
                    <a:lnTo>
                      <a:pt x="3834" y="1692"/>
                    </a:lnTo>
                    <a:lnTo>
                      <a:pt x="3825" y="1692"/>
                    </a:lnTo>
                    <a:lnTo>
                      <a:pt x="3825" y="1718"/>
                    </a:lnTo>
                    <a:cubicBezTo>
                      <a:pt x="3830" y="1721"/>
                      <a:pt x="3834" y="1723"/>
                      <a:pt x="3839" y="1726"/>
                    </a:cubicBezTo>
                    <a:lnTo>
                      <a:pt x="3880" y="1752"/>
                    </a:lnTo>
                    <a:cubicBezTo>
                      <a:pt x="3885" y="1778"/>
                      <a:pt x="3889" y="1803"/>
                      <a:pt x="3894" y="1829"/>
                    </a:cubicBezTo>
                    <a:cubicBezTo>
                      <a:pt x="3896" y="1832"/>
                      <a:pt x="3897" y="1835"/>
                      <a:pt x="3899" y="1838"/>
                    </a:cubicBezTo>
                    <a:cubicBezTo>
                      <a:pt x="3897" y="1844"/>
                      <a:pt x="3896" y="1849"/>
                      <a:pt x="3894" y="1855"/>
                    </a:cubicBezTo>
                    <a:cubicBezTo>
                      <a:pt x="3889" y="1849"/>
                      <a:pt x="3885" y="1844"/>
                      <a:pt x="3880" y="1838"/>
                    </a:cubicBezTo>
                    <a:lnTo>
                      <a:pt x="3880" y="1855"/>
                    </a:lnTo>
                    <a:lnTo>
                      <a:pt x="3880" y="1863"/>
                    </a:lnTo>
                    <a:lnTo>
                      <a:pt x="3871" y="1872"/>
                    </a:lnTo>
                    <a:cubicBezTo>
                      <a:pt x="3874" y="1878"/>
                      <a:pt x="3877" y="1883"/>
                      <a:pt x="3880" y="1889"/>
                    </a:cubicBezTo>
                    <a:lnTo>
                      <a:pt x="3885" y="1889"/>
                    </a:lnTo>
                    <a:cubicBezTo>
                      <a:pt x="3883" y="1892"/>
                      <a:pt x="3882" y="1894"/>
                      <a:pt x="3880" y="1897"/>
                    </a:cubicBezTo>
                    <a:lnTo>
                      <a:pt x="3871" y="1915"/>
                    </a:lnTo>
                    <a:cubicBezTo>
                      <a:pt x="3863" y="1918"/>
                      <a:pt x="3856" y="1920"/>
                      <a:pt x="3848" y="1923"/>
                    </a:cubicBezTo>
                    <a:cubicBezTo>
                      <a:pt x="3840" y="1929"/>
                      <a:pt x="3833" y="1934"/>
                      <a:pt x="3825" y="1940"/>
                    </a:cubicBezTo>
                    <a:lnTo>
                      <a:pt x="3811" y="1940"/>
                    </a:lnTo>
                    <a:cubicBezTo>
                      <a:pt x="3809" y="1943"/>
                      <a:pt x="3808" y="1946"/>
                      <a:pt x="3806" y="1949"/>
                    </a:cubicBezTo>
                    <a:cubicBezTo>
                      <a:pt x="3803" y="1955"/>
                      <a:pt x="3800" y="1960"/>
                      <a:pt x="3797" y="1966"/>
                    </a:cubicBezTo>
                    <a:cubicBezTo>
                      <a:pt x="3794" y="1974"/>
                      <a:pt x="3791" y="1983"/>
                      <a:pt x="3788" y="1991"/>
                    </a:cubicBezTo>
                    <a:cubicBezTo>
                      <a:pt x="3780" y="1985"/>
                      <a:pt x="3773" y="1980"/>
                      <a:pt x="3765" y="1974"/>
                    </a:cubicBezTo>
                    <a:cubicBezTo>
                      <a:pt x="3763" y="1971"/>
                      <a:pt x="3762" y="1969"/>
                      <a:pt x="3760" y="1966"/>
                    </a:cubicBezTo>
                    <a:lnTo>
                      <a:pt x="3760" y="1966"/>
                    </a:lnTo>
                    <a:lnTo>
                      <a:pt x="3631" y="2009"/>
                    </a:lnTo>
                    <a:cubicBezTo>
                      <a:pt x="3627" y="2006"/>
                      <a:pt x="3622" y="2003"/>
                      <a:pt x="3618" y="2000"/>
                    </a:cubicBezTo>
                    <a:cubicBezTo>
                      <a:pt x="3612" y="2003"/>
                      <a:pt x="3605" y="2006"/>
                      <a:pt x="3599" y="2009"/>
                    </a:cubicBezTo>
                    <a:cubicBezTo>
                      <a:pt x="3590" y="2006"/>
                      <a:pt x="3580" y="2003"/>
                      <a:pt x="3571" y="2000"/>
                    </a:cubicBezTo>
                    <a:lnTo>
                      <a:pt x="3530" y="2026"/>
                    </a:lnTo>
                    <a:lnTo>
                      <a:pt x="3530" y="2034"/>
                    </a:lnTo>
                    <a:cubicBezTo>
                      <a:pt x="3528" y="2040"/>
                      <a:pt x="3527" y="2045"/>
                      <a:pt x="3525" y="2051"/>
                    </a:cubicBezTo>
                    <a:cubicBezTo>
                      <a:pt x="3521" y="2045"/>
                      <a:pt x="3516" y="2040"/>
                      <a:pt x="3512" y="2034"/>
                    </a:cubicBezTo>
                    <a:lnTo>
                      <a:pt x="3507" y="2034"/>
                    </a:lnTo>
                    <a:cubicBezTo>
                      <a:pt x="3504" y="2040"/>
                      <a:pt x="3501" y="2045"/>
                      <a:pt x="3498" y="2051"/>
                    </a:cubicBezTo>
                    <a:cubicBezTo>
                      <a:pt x="3493" y="2054"/>
                      <a:pt x="3489" y="2057"/>
                      <a:pt x="3484" y="2060"/>
                    </a:cubicBezTo>
                    <a:lnTo>
                      <a:pt x="3484" y="2085"/>
                    </a:lnTo>
                    <a:lnTo>
                      <a:pt x="3484" y="2103"/>
                    </a:lnTo>
                    <a:lnTo>
                      <a:pt x="3493" y="2103"/>
                    </a:lnTo>
                    <a:lnTo>
                      <a:pt x="3493" y="2085"/>
                    </a:lnTo>
                    <a:lnTo>
                      <a:pt x="3498" y="2085"/>
                    </a:lnTo>
                    <a:lnTo>
                      <a:pt x="3498" y="2111"/>
                    </a:lnTo>
                    <a:cubicBezTo>
                      <a:pt x="3493" y="2114"/>
                      <a:pt x="3489" y="2117"/>
                      <a:pt x="3484" y="2120"/>
                    </a:cubicBezTo>
                    <a:lnTo>
                      <a:pt x="3484" y="2145"/>
                    </a:lnTo>
                    <a:cubicBezTo>
                      <a:pt x="3479" y="2142"/>
                      <a:pt x="3475" y="2140"/>
                      <a:pt x="3470" y="2137"/>
                    </a:cubicBezTo>
                    <a:cubicBezTo>
                      <a:pt x="3468" y="2140"/>
                      <a:pt x="3467" y="2142"/>
                      <a:pt x="3465" y="2145"/>
                    </a:cubicBezTo>
                    <a:cubicBezTo>
                      <a:pt x="3467" y="2154"/>
                      <a:pt x="3468" y="2162"/>
                      <a:pt x="3470" y="2171"/>
                    </a:cubicBezTo>
                    <a:lnTo>
                      <a:pt x="3484" y="2171"/>
                    </a:lnTo>
                    <a:lnTo>
                      <a:pt x="3484" y="2197"/>
                    </a:lnTo>
                    <a:cubicBezTo>
                      <a:pt x="3478" y="2203"/>
                      <a:pt x="3471" y="2208"/>
                      <a:pt x="3465" y="2214"/>
                    </a:cubicBezTo>
                    <a:lnTo>
                      <a:pt x="3493" y="2248"/>
                    </a:lnTo>
                    <a:cubicBezTo>
                      <a:pt x="3490" y="2251"/>
                      <a:pt x="3487" y="2253"/>
                      <a:pt x="3484" y="2256"/>
                    </a:cubicBezTo>
                    <a:cubicBezTo>
                      <a:pt x="3489" y="2262"/>
                      <a:pt x="3493" y="2268"/>
                      <a:pt x="3498" y="2274"/>
                    </a:cubicBezTo>
                    <a:lnTo>
                      <a:pt x="3498" y="2256"/>
                    </a:lnTo>
                    <a:cubicBezTo>
                      <a:pt x="3501" y="2273"/>
                      <a:pt x="3504" y="2291"/>
                      <a:pt x="3507" y="2308"/>
                    </a:cubicBezTo>
                    <a:cubicBezTo>
                      <a:pt x="3509" y="2314"/>
                      <a:pt x="3510" y="2319"/>
                      <a:pt x="3512" y="2325"/>
                    </a:cubicBezTo>
                    <a:cubicBezTo>
                      <a:pt x="3510" y="2328"/>
                      <a:pt x="3509" y="2330"/>
                      <a:pt x="3507" y="2333"/>
                    </a:cubicBezTo>
                    <a:lnTo>
                      <a:pt x="3507" y="2359"/>
                    </a:lnTo>
                    <a:lnTo>
                      <a:pt x="3507" y="2376"/>
                    </a:lnTo>
                    <a:cubicBezTo>
                      <a:pt x="3504" y="2387"/>
                      <a:pt x="3501" y="2399"/>
                      <a:pt x="3498" y="2410"/>
                    </a:cubicBezTo>
                    <a:lnTo>
                      <a:pt x="3498" y="2436"/>
                    </a:lnTo>
                    <a:cubicBezTo>
                      <a:pt x="3501" y="2445"/>
                      <a:pt x="3504" y="2453"/>
                      <a:pt x="3507" y="2462"/>
                    </a:cubicBezTo>
                    <a:lnTo>
                      <a:pt x="3507" y="2496"/>
                    </a:lnTo>
                    <a:cubicBezTo>
                      <a:pt x="3509" y="2504"/>
                      <a:pt x="3510" y="2513"/>
                      <a:pt x="3512" y="2521"/>
                    </a:cubicBezTo>
                    <a:cubicBezTo>
                      <a:pt x="3516" y="2533"/>
                      <a:pt x="3521" y="2544"/>
                      <a:pt x="3525" y="2556"/>
                    </a:cubicBezTo>
                    <a:cubicBezTo>
                      <a:pt x="3540" y="2562"/>
                      <a:pt x="3556" y="2567"/>
                      <a:pt x="3571" y="2573"/>
                    </a:cubicBezTo>
                    <a:cubicBezTo>
                      <a:pt x="3577" y="2581"/>
                      <a:pt x="3584" y="2590"/>
                      <a:pt x="3590" y="2598"/>
                    </a:cubicBezTo>
                    <a:lnTo>
                      <a:pt x="3599" y="2598"/>
                    </a:lnTo>
                    <a:cubicBezTo>
                      <a:pt x="3601" y="2609"/>
                      <a:pt x="3602" y="2621"/>
                      <a:pt x="3604" y="2632"/>
                    </a:cubicBezTo>
                    <a:cubicBezTo>
                      <a:pt x="3602" y="2641"/>
                      <a:pt x="3601" y="2649"/>
                      <a:pt x="3599" y="2658"/>
                    </a:cubicBezTo>
                    <a:lnTo>
                      <a:pt x="3590" y="2667"/>
                    </a:lnTo>
                    <a:lnTo>
                      <a:pt x="3604" y="2667"/>
                    </a:lnTo>
                    <a:cubicBezTo>
                      <a:pt x="3607" y="2675"/>
                      <a:pt x="3610" y="2684"/>
                      <a:pt x="3613" y="2692"/>
                    </a:cubicBezTo>
                    <a:cubicBezTo>
                      <a:pt x="3618" y="2706"/>
                      <a:pt x="3622" y="2721"/>
                      <a:pt x="3627" y="2735"/>
                    </a:cubicBezTo>
                    <a:cubicBezTo>
                      <a:pt x="3628" y="2738"/>
                      <a:pt x="3630" y="2741"/>
                      <a:pt x="3631" y="2744"/>
                    </a:cubicBezTo>
                    <a:cubicBezTo>
                      <a:pt x="3640" y="2750"/>
                      <a:pt x="3650" y="2755"/>
                      <a:pt x="3659" y="2761"/>
                    </a:cubicBezTo>
                    <a:cubicBezTo>
                      <a:pt x="3664" y="2764"/>
                      <a:pt x="3668" y="2766"/>
                      <a:pt x="3673" y="2769"/>
                    </a:cubicBezTo>
                    <a:lnTo>
                      <a:pt x="3673" y="2761"/>
                    </a:lnTo>
                    <a:cubicBezTo>
                      <a:pt x="3678" y="2784"/>
                      <a:pt x="3682" y="2806"/>
                      <a:pt x="3687" y="2829"/>
                    </a:cubicBezTo>
                    <a:cubicBezTo>
                      <a:pt x="3684" y="2852"/>
                      <a:pt x="3680" y="2874"/>
                      <a:pt x="3677" y="2897"/>
                    </a:cubicBezTo>
                    <a:cubicBezTo>
                      <a:pt x="3676" y="2903"/>
                      <a:pt x="3674" y="2909"/>
                      <a:pt x="3673" y="2915"/>
                    </a:cubicBezTo>
                    <a:lnTo>
                      <a:pt x="3664" y="2957"/>
                    </a:lnTo>
                    <a:cubicBezTo>
                      <a:pt x="3662" y="2966"/>
                      <a:pt x="3661" y="2974"/>
                      <a:pt x="3659" y="2983"/>
                    </a:cubicBezTo>
                    <a:cubicBezTo>
                      <a:pt x="3661" y="2994"/>
                      <a:pt x="3662" y="3006"/>
                      <a:pt x="3664" y="3017"/>
                    </a:cubicBezTo>
                    <a:cubicBezTo>
                      <a:pt x="3662" y="3026"/>
                      <a:pt x="3661" y="3034"/>
                      <a:pt x="3659" y="3043"/>
                    </a:cubicBezTo>
                    <a:lnTo>
                      <a:pt x="3677" y="3094"/>
                    </a:lnTo>
                    <a:cubicBezTo>
                      <a:pt x="3682" y="3157"/>
                      <a:pt x="3686" y="3219"/>
                      <a:pt x="3691" y="3282"/>
                    </a:cubicBezTo>
                    <a:lnTo>
                      <a:pt x="3691" y="3308"/>
                    </a:lnTo>
                    <a:cubicBezTo>
                      <a:pt x="3686" y="3319"/>
                      <a:pt x="3682" y="3331"/>
                      <a:pt x="3677" y="3342"/>
                    </a:cubicBezTo>
                    <a:lnTo>
                      <a:pt x="3664" y="3342"/>
                    </a:lnTo>
                    <a:lnTo>
                      <a:pt x="3650" y="3342"/>
                    </a:lnTo>
                    <a:lnTo>
                      <a:pt x="3650" y="3350"/>
                    </a:lnTo>
                    <a:cubicBezTo>
                      <a:pt x="3653" y="3367"/>
                      <a:pt x="3656" y="3385"/>
                      <a:pt x="3659" y="3402"/>
                    </a:cubicBezTo>
                    <a:lnTo>
                      <a:pt x="3659" y="3419"/>
                    </a:lnTo>
                    <a:cubicBezTo>
                      <a:pt x="3650" y="3413"/>
                      <a:pt x="3640" y="3408"/>
                      <a:pt x="3631" y="3402"/>
                    </a:cubicBezTo>
                    <a:lnTo>
                      <a:pt x="3604" y="3393"/>
                    </a:lnTo>
                    <a:cubicBezTo>
                      <a:pt x="3602" y="3385"/>
                      <a:pt x="3601" y="3376"/>
                      <a:pt x="3599" y="3368"/>
                    </a:cubicBezTo>
                    <a:lnTo>
                      <a:pt x="3590" y="3239"/>
                    </a:lnTo>
                    <a:lnTo>
                      <a:pt x="3599" y="3179"/>
                    </a:lnTo>
                    <a:lnTo>
                      <a:pt x="3599" y="3171"/>
                    </a:lnTo>
                    <a:lnTo>
                      <a:pt x="3599" y="3009"/>
                    </a:lnTo>
                    <a:cubicBezTo>
                      <a:pt x="3601" y="3000"/>
                      <a:pt x="3602" y="2992"/>
                      <a:pt x="3604" y="2983"/>
                    </a:cubicBezTo>
                    <a:cubicBezTo>
                      <a:pt x="3618" y="2966"/>
                      <a:pt x="3631" y="2949"/>
                      <a:pt x="3645" y="2932"/>
                    </a:cubicBezTo>
                    <a:cubicBezTo>
                      <a:pt x="3647" y="2912"/>
                      <a:pt x="3648" y="2892"/>
                      <a:pt x="3650" y="2872"/>
                    </a:cubicBezTo>
                    <a:cubicBezTo>
                      <a:pt x="3653" y="2866"/>
                      <a:pt x="3656" y="2861"/>
                      <a:pt x="3659" y="2855"/>
                    </a:cubicBezTo>
                    <a:lnTo>
                      <a:pt x="3659" y="2821"/>
                    </a:lnTo>
                    <a:cubicBezTo>
                      <a:pt x="3650" y="2812"/>
                      <a:pt x="3640" y="2804"/>
                      <a:pt x="3631" y="2795"/>
                    </a:cubicBezTo>
                    <a:cubicBezTo>
                      <a:pt x="3610" y="2804"/>
                      <a:pt x="3588" y="2812"/>
                      <a:pt x="3567" y="2821"/>
                    </a:cubicBezTo>
                    <a:lnTo>
                      <a:pt x="3544" y="2795"/>
                    </a:lnTo>
                    <a:cubicBezTo>
                      <a:pt x="3539" y="2786"/>
                      <a:pt x="3535" y="2778"/>
                      <a:pt x="3530" y="2769"/>
                    </a:cubicBezTo>
                    <a:lnTo>
                      <a:pt x="3530" y="2786"/>
                    </a:lnTo>
                    <a:cubicBezTo>
                      <a:pt x="3519" y="2755"/>
                      <a:pt x="3509" y="2723"/>
                      <a:pt x="3498" y="2692"/>
                    </a:cubicBezTo>
                    <a:lnTo>
                      <a:pt x="3498" y="2667"/>
                    </a:lnTo>
                    <a:cubicBezTo>
                      <a:pt x="3479" y="2647"/>
                      <a:pt x="3461" y="2627"/>
                      <a:pt x="3442" y="2607"/>
                    </a:cubicBezTo>
                    <a:cubicBezTo>
                      <a:pt x="3439" y="2598"/>
                      <a:pt x="3436" y="2590"/>
                      <a:pt x="3433" y="2581"/>
                    </a:cubicBezTo>
                    <a:lnTo>
                      <a:pt x="3396" y="2556"/>
                    </a:lnTo>
                    <a:lnTo>
                      <a:pt x="3318" y="2556"/>
                    </a:lnTo>
                    <a:cubicBezTo>
                      <a:pt x="3313" y="2573"/>
                      <a:pt x="3309" y="2590"/>
                      <a:pt x="3304" y="2607"/>
                    </a:cubicBezTo>
                    <a:lnTo>
                      <a:pt x="3276" y="2632"/>
                    </a:lnTo>
                    <a:cubicBezTo>
                      <a:pt x="3275" y="2644"/>
                      <a:pt x="3273" y="2655"/>
                      <a:pt x="3272" y="2667"/>
                    </a:cubicBezTo>
                    <a:lnTo>
                      <a:pt x="3304" y="2667"/>
                    </a:lnTo>
                    <a:cubicBezTo>
                      <a:pt x="3310" y="2675"/>
                      <a:pt x="3317" y="2684"/>
                      <a:pt x="3323" y="2692"/>
                    </a:cubicBezTo>
                    <a:cubicBezTo>
                      <a:pt x="3321" y="2706"/>
                      <a:pt x="3320" y="2721"/>
                      <a:pt x="3318" y="2735"/>
                    </a:cubicBezTo>
                    <a:cubicBezTo>
                      <a:pt x="3313" y="2744"/>
                      <a:pt x="3309" y="2752"/>
                      <a:pt x="3304" y="2761"/>
                    </a:cubicBezTo>
                    <a:cubicBezTo>
                      <a:pt x="3295" y="2764"/>
                      <a:pt x="3285" y="2766"/>
                      <a:pt x="3276" y="2769"/>
                    </a:cubicBezTo>
                    <a:cubicBezTo>
                      <a:pt x="3272" y="2778"/>
                      <a:pt x="3267" y="2786"/>
                      <a:pt x="3263" y="2795"/>
                    </a:cubicBezTo>
                    <a:cubicBezTo>
                      <a:pt x="3254" y="2798"/>
                      <a:pt x="3244" y="2800"/>
                      <a:pt x="3235" y="2803"/>
                    </a:cubicBezTo>
                    <a:lnTo>
                      <a:pt x="3235" y="2786"/>
                    </a:lnTo>
                    <a:cubicBezTo>
                      <a:pt x="3227" y="2760"/>
                      <a:pt x="3220" y="2735"/>
                      <a:pt x="3212" y="2709"/>
                    </a:cubicBezTo>
                    <a:lnTo>
                      <a:pt x="3198" y="2709"/>
                    </a:lnTo>
                    <a:cubicBezTo>
                      <a:pt x="3193" y="2718"/>
                      <a:pt x="3189" y="2726"/>
                      <a:pt x="3184" y="2735"/>
                    </a:cubicBezTo>
                    <a:cubicBezTo>
                      <a:pt x="3186" y="2744"/>
                      <a:pt x="3187" y="2752"/>
                      <a:pt x="3189" y="2761"/>
                    </a:cubicBezTo>
                    <a:cubicBezTo>
                      <a:pt x="3194" y="2792"/>
                      <a:pt x="3198" y="2824"/>
                      <a:pt x="3203" y="2855"/>
                    </a:cubicBezTo>
                    <a:cubicBezTo>
                      <a:pt x="3206" y="2861"/>
                      <a:pt x="3209" y="2866"/>
                      <a:pt x="3212" y="2872"/>
                    </a:cubicBezTo>
                    <a:cubicBezTo>
                      <a:pt x="3220" y="2883"/>
                      <a:pt x="3227" y="2895"/>
                      <a:pt x="3235" y="2906"/>
                    </a:cubicBezTo>
                    <a:cubicBezTo>
                      <a:pt x="3243" y="2909"/>
                      <a:pt x="3250" y="2912"/>
                      <a:pt x="3258" y="2915"/>
                    </a:cubicBezTo>
                    <a:cubicBezTo>
                      <a:pt x="3263" y="2929"/>
                      <a:pt x="3267" y="2943"/>
                      <a:pt x="3272" y="2957"/>
                    </a:cubicBezTo>
                    <a:lnTo>
                      <a:pt x="3276" y="2957"/>
                    </a:lnTo>
                    <a:cubicBezTo>
                      <a:pt x="3279" y="2960"/>
                      <a:pt x="3283" y="2963"/>
                      <a:pt x="3286" y="2966"/>
                    </a:cubicBezTo>
                    <a:cubicBezTo>
                      <a:pt x="3291" y="2963"/>
                      <a:pt x="3295" y="2960"/>
                      <a:pt x="3300" y="2957"/>
                    </a:cubicBezTo>
                    <a:cubicBezTo>
                      <a:pt x="3303" y="2949"/>
                      <a:pt x="3306" y="2940"/>
                      <a:pt x="3309" y="2932"/>
                    </a:cubicBezTo>
                    <a:cubicBezTo>
                      <a:pt x="3307" y="2943"/>
                      <a:pt x="3306" y="2955"/>
                      <a:pt x="3304" y="2966"/>
                    </a:cubicBezTo>
                    <a:cubicBezTo>
                      <a:pt x="3306" y="2972"/>
                      <a:pt x="3307" y="2977"/>
                      <a:pt x="3309" y="2983"/>
                    </a:cubicBezTo>
                    <a:cubicBezTo>
                      <a:pt x="3314" y="2977"/>
                      <a:pt x="3318" y="2972"/>
                      <a:pt x="3323" y="2966"/>
                    </a:cubicBezTo>
                    <a:lnTo>
                      <a:pt x="3323" y="3043"/>
                    </a:lnTo>
                    <a:cubicBezTo>
                      <a:pt x="3331" y="3051"/>
                      <a:pt x="3338" y="3060"/>
                      <a:pt x="3346" y="3068"/>
                    </a:cubicBezTo>
                    <a:lnTo>
                      <a:pt x="3346" y="3094"/>
                    </a:lnTo>
                    <a:lnTo>
                      <a:pt x="3323" y="3094"/>
                    </a:lnTo>
                    <a:cubicBezTo>
                      <a:pt x="3318" y="3088"/>
                      <a:pt x="3314" y="3083"/>
                      <a:pt x="3309" y="3077"/>
                    </a:cubicBezTo>
                    <a:cubicBezTo>
                      <a:pt x="3307" y="3068"/>
                      <a:pt x="3306" y="3060"/>
                      <a:pt x="3304" y="3051"/>
                    </a:cubicBezTo>
                    <a:cubicBezTo>
                      <a:pt x="3303" y="3048"/>
                      <a:pt x="3301" y="3046"/>
                      <a:pt x="3300" y="3043"/>
                    </a:cubicBezTo>
                    <a:cubicBezTo>
                      <a:pt x="3295" y="3034"/>
                      <a:pt x="3291" y="3026"/>
                      <a:pt x="3286" y="3017"/>
                    </a:cubicBezTo>
                    <a:lnTo>
                      <a:pt x="3152" y="2966"/>
                    </a:lnTo>
                    <a:cubicBezTo>
                      <a:pt x="3144" y="2949"/>
                      <a:pt x="3137" y="2932"/>
                      <a:pt x="3129" y="2915"/>
                    </a:cubicBezTo>
                    <a:lnTo>
                      <a:pt x="3129" y="2906"/>
                    </a:lnTo>
                    <a:lnTo>
                      <a:pt x="3152" y="2906"/>
                    </a:lnTo>
                    <a:lnTo>
                      <a:pt x="3152" y="2846"/>
                    </a:lnTo>
                    <a:cubicBezTo>
                      <a:pt x="3147" y="2829"/>
                      <a:pt x="3143" y="2812"/>
                      <a:pt x="3138" y="2795"/>
                    </a:cubicBezTo>
                    <a:lnTo>
                      <a:pt x="3138" y="2769"/>
                    </a:lnTo>
                    <a:cubicBezTo>
                      <a:pt x="3140" y="2752"/>
                      <a:pt x="3141" y="2735"/>
                      <a:pt x="3143" y="2718"/>
                    </a:cubicBezTo>
                    <a:cubicBezTo>
                      <a:pt x="3138" y="2709"/>
                      <a:pt x="3134" y="2701"/>
                      <a:pt x="3129" y="2692"/>
                    </a:cubicBezTo>
                    <a:cubicBezTo>
                      <a:pt x="3134" y="2684"/>
                      <a:pt x="3138" y="2675"/>
                      <a:pt x="3143" y="2667"/>
                    </a:cubicBezTo>
                    <a:cubicBezTo>
                      <a:pt x="3148" y="2638"/>
                      <a:pt x="3152" y="2610"/>
                      <a:pt x="3157" y="2581"/>
                    </a:cubicBezTo>
                    <a:cubicBezTo>
                      <a:pt x="3152" y="2553"/>
                      <a:pt x="3148" y="2524"/>
                      <a:pt x="3143" y="2496"/>
                    </a:cubicBezTo>
                    <a:cubicBezTo>
                      <a:pt x="3148" y="2493"/>
                      <a:pt x="3152" y="2490"/>
                      <a:pt x="3157" y="2487"/>
                    </a:cubicBezTo>
                    <a:cubicBezTo>
                      <a:pt x="3152" y="2473"/>
                      <a:pt x="3148" y="2458"/>
                      <a:pt x="3143" y="2444"/>
                    </a:cubicBezTo>
                    <a:lnTo>
                      <a:pt x="3143" y="2419"/>
                    </a:lnTo>
                    <a:lnTo>
                      <a:pt x="3143" y="2410"/>
                    </a:lnTo>
                    <a:cubicBezTo>
                      <a:pt x="3137" y="2399"/>
                      <a:pt x="3130" y="2387"/>
                      <a:pt x="3124" y="2376"/>
                    </a:cubicBezTo>
                    <a:cubicBezTo>
                      <a:pt x="3121" y="2367"/>
                      <a:pt x="3118" y="2359"/>
                      <a:pt x="3115" y="2350"/>
                    </a:cubicBezTo>
                    <a:cubicBezTo>
                      <a:pt x="3110" y="2353"/>
                      <a:pt x="3106" y="2356"/>
                      <a:pt x="3101" y="2359"/>
                    </a:cubicBezTo>
                    <a:cubicBezTo>
                      <a:pt x="3106" y="2433"/>
                      <a:pt x="3110" y="2507"/>
                      <a:pt x="3115" y="2581"/>
                    </a:cubicBezTo>
                    <a:cubicBezTo>
                      <a:pt x="3114" y="2595"/>
                      <a:pt x="3112" y="2610"/>
                      <a:pt x="3111" y="2624"/>
                    </a:cubicBezTo>
                    <a:lnTo>
                      <a:pt x="3009" y="2761"/>
                    </a:lnTo>
                    <a:lnTo>
                      <a:pt x="3009" y="2803"/>
                    </a:lnTo>
                    <a:cubicBezTo>
                      <a:pt x="3008" y="2812"/>
                      <a:pt x="3006" y="2820"/>
                      <a:pt x="3005" y="2829"/>
                    </a:cubicBezTo>
                    <a:cubicBezTo>
                      <a:pt x="2997" y="2843"/>
                      <a:pt x="2990" y="2858"/>
                      <a:pt x="2982" y="2872"/>
                    </a:cubicBezTo>
                    <a:lnTo>
                      <a:pt x="2982" y="2880"/>
                    </a:lnTo>
                    <a:cubicBezTo>
                      <a:pt x="3000" y="2931"/>
                      <a:pt x="3019" y="2983"/>
                      <a:pt x="3037" y="3034"/>
                    </a:cubicBezTo>
                    <a:cubicBezTo>
                      <a:pt x="3038" y="3057"/>
                      <a:pt x="3040" y="3080"/>
                      <a:pt x="3041" y="3103"/>
                    </a:cubicBezTo>
                    <a:cubicBezTo>
                      <a:pt x="3050" y="3131"/>
                      <a:pt x="3060" y="3160"/>
                      <a:pt x="3069" y="3188"/>
                    </a:cubicBezTo>
                    <a:cubicBezTo>
                      <a:pt x="3064" y="3234"/>
                      <a:pt x="3060" y="3279"/>
                      <a:pt x="3055" y="3325"/>
                    </a:cubicBezTo>
                    <a:cubicBezTo>
                      <a:pt x="3049" y="3339"/>
                      <a:pt x="3043" y="3354"/>
                      <a:pt x="3037" y="3368"/>
                    </a:cubicBezTo>
                    <a:lnTo>
                      <a:pt x="3037" y="3444"/>
                    </a:lnTo>
                    <a:lnTo>
                      <a:pt x="3028" y="3453"/>
                    </a:lnTo>
                    <a:cubicBezTo>
                      <a:pt x="3026" y="3479"/>
                      <a:pt x="3025" y="3504"/>
                      <a:pt x="3023" y="3530"/>
                    </a:cubicBezTo>
                    <a:cubicBezTo>
                      <a:pt x="3032" y="3561"/>
                      <a:pt x="3042" y="3593"/>
                      <a:pt x="3051" y="3624"/>
                    </a:cubicBezTo>
                    <a:cubicBezTo>
                      <a:pt x="3046" y="3655"/>
                      <a:pt x="3042" y="3687"/>
                      <a:pt x="3037" y="3718"/>
                    </a:cubicBezTo>
                    <a:cubicBezTo>
                      <a:pt x="3038" y="3729"/>
                      <a:pt x="3040" y="3741"/>
                      <a:pt x="3041" y="3752"/>
                    </a:cubicBezTo>
                    <a:cubicBezTo>
                      <a:pt x="3046" y="3755"/>
                      <a:pt x="3050" y="3758"/>
                      <a:pt x="3055" y="3761"/>
                    </a:cubicBezTo>
                    <a:cubicBezTo>
                      <a:pt x="3063" y="3758"/>
                      <a:pt x="3070" y="3755"/>
                      <a:pt x="3078" y="3752"/>
                    </a:cubicBezTo>
                    <a:lnTo>
                      <a:pt x="3092" y="3752"/>
                    </a:lnTo>
                    <a:lnTo>
                      <a:pt x="3129" y="3761"/>
                    </a:lnTo>
                    <a:lnTo>
                      <a:pt x="3129" y="3735"/>
                    </a:lnTo>
                    <a:cubicBezTo>
                      <a:pt x="3138" y="3729"/>
                      <a:pt x="3148" y="3724"/>
                      <a:pt x="3157" y="3718"/>
                    </a:cubicBezTo>
                    <a:lnTo>
                      <a:pt x="3184" y="3718"/>
                    </a:lnTo>
                    <a:cubicBezTo>
                      <a:pt x="3219" y="3758"/>
                      <a:pt x="3255" y="3798"/>
                      <a:pt x="3290" y="3838"/>
                    </a:cubicBezTo>
                    <a:cubicBezTo>
                      <a:pt x="3293" y="3841"/>
                      <a:pt x="3297" y="3843"/>
                      <a:pt x="3300" y="3846"/>
                    </a:cubicBezTo>
                    <a:lnTo>
                      <a:pt x="3300" y="3915"/>
                    </a:lnTo>
                    <a:cubicBezTo>
                      <a:pt x="3306" y="3943"/>
                      <a:pt x="3312" y="3972"/>
                      <a:pt x="3318" y="4000"/>
                    </a:cubicBezTo>
                    <a:lnTo>
                      <a:pt x="3323" y="4000"/>
                    </a:lnTo>
                    <a:lnTo>
                      <a:pt x="3323" y="4034"/>
                    </a:lnTo>
                    <a:cubicBezTo>
                      <a:pt x="3321" y="4040"/>
                      <a:pt x="3320" y="4045"/>
                      <a:pt x="3318" y="4051"/>
                    </a:cubicBezTo>
                    <a:lnTo>
                      <a:pt x="3300" y="4051"/>
                    </a:lnTo>
                    <a:cubicBezTo>
                      <a:pt x="3297" y="4060"/>
                      <a:pt x="3293" y="4068"/>
                      <a:pt x="3290" y="4077"/>
                    </a:cubicBezTo>
                    <a:cubicBezTo>
                      <a:pt x="3289" y="4086"/>
                      <a:pt x="3287" y="4094"/>
                      <a:pt x="3286" y="4103"/>
                    </a:cubicBezTo>
                    <a:lnTo>
                      <a:pt x="3286" y="4197"/>
                    </a:lnTo>
                    <a:cubicBezTo>
                      <a:pt x="3287" y="4203"/>
                      <a:pt x="3289" y="4208"/>
                      <a:pt x="3290" y="4214"/>
                    </a:cubicBezTo>
                    <a:lnTo>
                      <a:pt x="3304" y="4214"/>
                    </a:lnTo>
                    <a:cubicBezTo>
                      <a:pt x="3310" y="4222"/>
                      <a:pt x="3317" y="4231"/>
                      <a:pt x="3323" y="4239"/>
                    </a:cubicBezTo>
                    <a:cubicBezTo>
                      <a:pt x="3332" y="4233"/>
                      <a:pt x="3341" y="4228"/>
                      <a:pt x="3350" y="4222"/>
                    </a:cubicBezTo>
                    <a:cubicBezTo>
                      <a:pt x="3356" y="4233"/>
                      <a:pt x="3363" y="4245"/>
                      <a:pt x="3369" y="4256"/>
                    </a:cubicBezTo>
                    <a:lnTo>
                      <a:pt x="3369" y="4256"/>
                    </a:lnTo>
                    <a:lnTo>
                      <a:pt x="3336" y="4274"/>
                    </a:lnTo>
                    <a:lnTo>
                      <a:pt x="3323" y="4274"/>
                    </a:lnTo>
                    <a:lnTo>
                      <a:pt x="3290" y="4274"/>
                    </a:lnTo>
                    <a:cubicBezTo>
                      <a:pt x="3289" y="4262"/>
                      <a:pt x="3287" y="4251"/>
                      <a:pt x="3286" y="4239"/>
                    </a:cubicBezTo>
                    <a:cubicBezTo>
                      <a:pt x="3278" y="4231"/>
                      <a:pt x="3271" y="4222"/>
                      <a:pt x="3263" y="4214"/>
                    </a:cubicBezTo>
                    <a:cubicBezTo>
                      <a:pt x="3261" y="4205"/>
                      <a:pt x="3260" y="4197"/>
                      <a:pt x="3258" y="4188"/>
                    </a:cubicBezTo>
                    <a:cubicBezTo>
                      <a:pt x="3260" y="4182"/>
                      <a:pt x="3261" y="4177"/>
                      <a:pt x="3263" y="4171"/>
                    </a:cubicBezTo>
                    <a:lnTo>
                      <a:pt x="3263" y="4103"/>
                    </a:lnTo>
                    <a:cubicBezTo>
                      <a:pt x="3267" y="4089"/>
                      <a:pt x="3272" y="4074"/>
                      <a:pt x="3276" y="4060"/>
                    </a:cubicBezTo>
                    <a:cubicBezTo>
                      <a:pt x="3275" y="4057"/>
                      <a:pt x="3273" y="4054"/>
                      <a:pt x="3272" y="4051"/>
                    </a:cubicBezTo>
                    <a:lnTo>
                      <a:pt x="3263" y="4051"/>
                    </a:lnTo>
                    <a:lnTo>
                      <a:pt x="3263" y="4034"/>
                    </a:lnTo>
                    <a:lnTo>
                      <a:pt x="3263" y="4000"/>
                    </a:lnTo>
                    <a:lnTo>
                      <a:pt x="3272" y="4000"/>
                    </a:lnTo>
                    <a:lnTo>
                      <a:pt x="3272" y="3974"/>
                    </a:lnTo>
                    <a:lnTo>
                      <a:pt x="3272" y="3966"/>
                    </a:lnTo>
                    <a:lnTo>
                      <a:pt x="3272" y="3949"/>
                    </a:lnTo>
                    <a:cubicBezTo>
                      <a:pt x="3267" y="3940"/>
                      <a:pt x="3263" y="3932"/>
                      <a:pt x="3258" y="3923"/>
                    </a:cubicBezTo>
                    <a:cubicBezTo>
                      <a:pt x="3255" y="3920"/>
                      <a:pt x="3252" y="3918"/>
                      <a:pt x="3249" y="3915"/>
                    </a:cubicBezTo>
                    <a:cubicBezTo>
                      <a:pt x="3247" y="3909"/>
                      <a:pt x="3246" y="3903"/>
                      <a:pt x="3244" y="3897"/>
                    </a:cubicBezTo>
                    <a:cubicBezTo>
                      <a:pt x="3239" y="3894"/>
                      <a:pt x="3235" y="3892"/>
                      <a:pt x="3230" y="3889"/>
                    </a:cubicBezTo>
                    <a:lnTo>
                      <a:pt x="3230" y="3863"/>
                    </a:lnTo>
                    <a:lnTo>
                      <a:pt x="3230" y="3838"/>
                    </a:lnTo>
                    <a:cubicBezTo>
                      <a:pt x="3229" y="3826"/>
                      <a:pt x="3227" y="3815"/>
                      <a:pt x="3226" y="3803"/>
                    </a:cubicBezTo>
                    <a:cubicBezTo>
                      <a:pt x="3197" y="3815"/>
                      <a:pt x="3167" y="3826"/>
                      <a:pt x="3138" y="3838"/>
                    </a:cubicBezTo>
                    <a:lnTo>
                      <a:pt x="3078" y="3889"/>
                    </a:lnTo>
                    <a:lnTo>
                      <a:pt x="3078" y="3940"/>
                    </a:lnTo>
                    <a:cubicBezTo>
                      <a:pt x="3075" y="3954"/>
                      <a:pt x="3072" y="3969"/>
                      <a:pt x="3069" y="3983"/>
                    </a:cubicBezTo>
                    <a:lnTo>
                      <a:pt x="3069" y="4009"/>
                    </a:lnTo>
                    <a:cubicBezTo>
                      <a:pt x="3072" y="4015"/>
                      <a:pt x="3075" y="4020"/>
                      <a:pt x="3078" y="4026"/>
                    </a:cubicBezTo>
                    <a:cubicBezTo>
                      <a:pt x="3080" y="4029"/>
                      <a:pt x="3081" y="4031"/>
                      <a:pt x="3083" y="4034"/>
                    </a:cubicBezTo>
                    <a:cubicBezTo>
                      <a:pt x="3086" y="4043"/>
                      <a:pt x="3089" y="4051"/>
                      <a:pt x="3092" y="4060"/>
                    </a:cubicBezTo>
                    <a:lnTo>
                      <a:pt x="3092" y="4077"/>
                    </a:lnTo>
                    <a:cubicBezTo>
                      <a:pt x="3094" y="4086"/>
                      <a:pt x="3095" y="4094"/>
                      <a:pt x="3097" y="4103"/>
                    </a:cubicBezTo>
                    <a:cubicBezTo>
                      <a:pt x="3098" y="4123"/>
                      <a:pt x="3100" y="4142"/>
                      <a:pt x="3101" y="4162"/>
                    </a:cubicBezTo>
                    <a:cubicBezTo>
                      <a:pt x="3100" y="4182"/>
                      <a:pt x="3098" y="4202"/>
                      <a:pt x="3097" y="4222"/>
                    </a:cubicBezTo>
                    <a:cubicBezTo>
                      <a:pt x="3078" y="4256"/>
                      <a:pt x="3060" y="4291"/>
                      <a:pt x="3041" y="4325"/>
                    </a:cubicBezTo>
                    <a:cubicBezTo>
                      <a:pt x="3040" y="4356"/>
                      <a:pt x="3038" y="4388"/>
                      <a:pt x="3037" y="4419"/>
                    </a:cubicBezTo>
                    <a:cubicBezTo>
                      <a:pt x="3031" y="4436"/>
                      <a:pt x="3024" y="4453"/>
                      <a:pt x="3018" y="4470"/>
                    </a:cubicBezTo>
                    <a:cubicBezTo>
                      <a:pt x="3009" y="4484"/>
                      <a:pt x="3000" y="4499"/>
                      <a:pt x="2991" y="4513"/>
                    </a:cubicBezTo>
                    <a:cubicBezTo>
                      <a:pt x="2986" y="4519"/>
                      <a:pt x="2982" y="4524"/>
                      <a:pt x="2977" y="4530"/>
                    </a:cubicBezTo>
                    <a:lnTo>
                      <a:pt x="2945" y="4556"/>
                    </a:lnTo>
                    <a:cubicBezTo>
                      <a:pt x="2942" y="4564"/>
                      <a:pt x="2938" y="4573"/>
                      <a:pt x="2935" y="4581"/>
                    </a:cubicBezTo>
                    <a:cubicBezTo>
                      <a:pt x="2940" y="4595"/>
                      <a:pt x="2944" y="4610"/>
                      <a:pt x="2949" y="4624"/>
                    </a:cubicBezTo>
                    <a:cubicBezTo>
                      <a:pt x="2948" y="4635"/>
                      <a:pt x="2946" y="4647"/>
                      <a:pt x="2945" y="4658"/>
                    </a:cubicBezTo>
                    <a:cubicBezTo>
                      <a:pt x="2937" y="4661"/>
                      <a:pt x="2930" y="4664"/>
                      <a:pt x="2922" y="4667"/>
                    </a:cubicBezTo>
                    <a:cubicBezTo>
                      <a:pt x="2907" y="4655"/>
                      <a:pt x="2891" y="4644"/>
                      <a:pt x="2876" y="4632"/>
                    </a:cubicBezTo>
                    <a:lnTo>
                      <a:pt x="2857" y="4632"/>
                    </a:lnTo>
                    <a:lnTo>
                      <a:pt x="2820" y="4641"/>
                    </a:lnTo>
                    <a:cubicBezTo>
                      <a:pt x="2812" y="4638"/>
                      <a:pt x="2805" y="4635"/>
                      <a:pt x="2797" y="4632"/>
                    </a:cubicBezTo>
                    <a:cubicBezTo>
                      <a:pt x="2794" y="4629"/>
                      <a:pt x="2791" y="4627"/>
                      <a:pt x="2788" y="4624"/>
                    </a:cubicBezTo>
                    <a:lnTo>
                      <a:pt x="2788" y="4598"/>
                    </a:lnTo>
                    <a:cubicBezTo>
                      <a:pt x="2791" y="4592"/>
                      <a:pt x="2794" y="4587"/>
                      <a:pt x="2797" y="4581"/>
                    </a:cubicBezTo>
                    <a:lnTo>
                      <a:pt x="2788" y="4530"/>
                    </a:lnTo>
                    <a:lnTo>
                      <a:pt x="2774" y="4530"/>
                    </a:lnTo>
                    <a:cubicBezTo>
                      <a:pt x="2773" y="4524"/>
                      <a:pt x="2771" y="4519"/>
                      <a:pt x="2770" y="4513"/>
                    </a:cubicBezTo>
                    <a:lnTo>
                      <a:pt x="2774" y="4513"/>
                    </a:lnTo>
                    <a:cubicBezTo>
                      <a:pt x="2779" y="4507"/>
                      <a:pt x="2783" y="4502"/>
                      <a:pt x="2788" y="4496"/>
                    </a:cubicBezTo>
                    <a:cubicBezTo>
                      <a:pt x="2793" y="4502"/>
                      <a:pt x="2797" y="4507"/>
                      <a:pt x="2802" y="4513"/>
                    </a:cubicBezTo>
                    <a:cubicBezTo>
                      <a:pt x="2805" y="4519"/>
                      <a:pt x="2808" y="4524"/>
                      <a:pt x="2811" y="4530"/>
                    </a:cubicBezTo>
                    <a:lnTo>
                      <a:pt x="2820" y="4521"/>
                    </a:lnTo>
                    <a:cubicBezTo>
                      <a:pt x="2823" y="4518"/>
                      <a:pt x="2826" y="4516"/>
                      <a:pt x="2829" y="4513"/>
                    </a:cubicBezTo>
                    <a:lnTo>
                      <a:pt x="2843" y="4513"/>
                    </a:lnTo>
                    <a:cubicBezTo>
                      <a:pt x="2845" y="4499"/>
                      <a:pt x="2846" y="4484"/>
                      <a:pt x="2848" y="4470"/>
                    </a:cubicBezTo>
                    <a:cubicBezTo>
                      <a:pt x="2853" y="4476"/>
                      <a:pt x="2857" y="4481"/>
                      <a:pt x="2862" y="4487"/>
                    </a:cubicBezTo>
                    <a:cubicBezTo>
                      <a:pt x="2867" y="4481"/>
                      <a:pt x="2871" y="4476"/>
                      <a:pt x="2876" y="4470"/>
                    </a:cubicBezTo>
                    <a:cubicBezTo>
                      <a:pt x="2877" y="4467"/>
                      <a:pt x="2879" y="4465"/>
                      <a:pt x="2880" y="4462"/>
                    </a:cubicBezTo>
                    <a:lnTo>
                      <a:pt x="2889" y="4444"/>
                    </a:lnTo>
                    <a:cubicBezTo>
                      <a:pt x="2891" y="4450"/>
                      <a:pt x="2892" y="4456"/>
                      <a:pt x="2894" y="4462"/>
                    </a:cubicBezTo>
                    <a:cubicBezTo>
                      <a:pt x="2902" y="4456"/>
                      <a:pt x="2909" y="4450"/>
                      <a:pt x="2917" y="4444"/>
                    </a:cubicBezTo>
                    <a:cubicBezTo>
                      <a:pt x="2919" y="4441"/>
                      <a:pt x="2920" y="4439"/>
                      <a:pt x="2922" y="4436"/>
                    </a:cubicBezTo>
                    <a:cubicBezTo>
                      <a:pt x="2920" y="4427"/>
                      <a:pt x="2919" y="4419"/>
                      <a:pt x="2917" y="4410"/>
                    </a:cubicBezTo>
                    <a:lnTo>
                      <a:pt x="2894" y="4410"/>
                    </a:lnTo>
                    <a:cubicBezTo>
                      <a:pt x="2892" y="4413"/>
                      <a:pt x="2891" y="4416"/>
                      <a:pt x="2889" y="4419"/>
                    </a:cubicBezTo>
                    <a:cubicBezTo>
                      <a:pt x="2885" y="4416"/>
                      <a:pt x="2880" y="4413"/>
                      <a:pt x="2876" y="4410"/>
                    </a:cubicBezTo>
                    <a:cubicBezTo>
                      <a:pt x="2877" y="4399"/>
                      <a:pt x="2879" y="4387"/>
                      <a:pt x="2880" y="4376"/>
                    </a:cubicBezTo>
                    <a:cubicBezTo>
                      <a:pt x="2888" y="4382"/>
                      <a:pt x="2895" y="4387"/>
                      <a:pt x="2903" y="4393"/>
                    </a:cubicBezTo>
                    <a:lnTo>
                      <a:pt x="2931" y="4393"/>
                    </a:lnTo>
                    <a:lnTo>
                      <a:pt x="2931" y="4385"/>
                    </a:lnTo>
                    <a:lnTo>
                      <a:pt x="2931" y="4350"/>
                    </a:lnTo>
                    <a:lnTo>
                      <a:pt x="2945" y="4350"/>
                    </a:lnTo>
                    <a:cubicBezTo>
                      <a:pt x="2946" y="4342"/>
                      <a:pt x="2948" y="4333"/>
                      <a:pt x="2949" y="4325"/>
                    </a:cubicBezTo>
                    <a:cubicBezTo>
                      <a:pt x="2954" y="4302"/>
                      <a:pt x="2958" y="4279"/>
                      <a:pt x="2963" y="4256"/>
                    </a:cubicBezTo>
                    <a:cubicBezTo>
                      <a:pt x="2969" y="4250"/>
                      <a:pt x="2976" y="4245"/>
                      <a:pt x="2982" y="4239"/>
                    </a:cubicBezTo>
                    <a:cubicBezTo>
                      <a:pt x="2985" y="4231"/>
                      <a:pt x="2988" y="4222"/>
                      <a:pt x="2991" y="4214"/>
                    </a:cubicBezTo>
                    <a:lnTo>
                      <a:pt x="2991" y="4197"/>
                    </a:lnTo>
                    <a:cubicBezTo>
                      <a:pt x="2992" y="4188"/>
                      <a:pt x="2994" y="4180"/>
                      <a:pt x="2995" y="4171"/>
                    </a:cubicBezTo>
                    <a:cubicBezTo>
                      <a:pt x="2994" y="4140"/>
                      <a:pt x="2992" y="4108"/>
                      <a:pt x="2991" y="4077"/>
                    </a:cubicBezTo>
                    <a:cubicBezTo>
                      <a:pt x="2992" y="4063"/>
                      <a:pt x="2994" y="4048"/>
                      <a:pt x="2995" y="4034"/>
                    </a:cubicBezTo>
                    <a:cubicBezTo>
                      <a:pt x="3003" y="4017"/>
                      <a:pt x="3010" y="4000"/>
                      <a:pt x="3018" y="3983"/>
                    </a:cubicBezTo>
                    <a:lnTo>
                      <a:pt x="3018" y="3915"/>
                    </a:lnTo>
                    <a:cubicBezTo>
                      <a:pt x="2995" y="3869"/>
                      <a:pt x="2972" y="3824"/>
                      <a:pt x="2949" y="3778"/>
                    </a:cubicBezTo>
                    <a:cubicBezTo>
                      <a:pt x="2951" y="3744"/>
                      <a:pt x="2952" y="3709"/>
                      <a:pt x="2954" y="3675"/>
                    </a:cubicBezTo>
                    <a:lnTo>
                      <a:pt x="2954" y="3650"/>
                    </a:lnTo>
                    <a:cubicBezTo>
                      <a:pt x="2957" y="3641"/>
                      <a:pt x="2960" y="3633"/>
                      <a:pt x="2963" y="3624"/>
                    </a:cubicBezTo>
                    <a:lnTo>
                      <a:pt x="2954" y="3564"/>
                    </a:lnTo>
                    <a:cubicBezTo>
                      <a:pt x="2957" y="3555"/>
                      <a:pt x="2960" y="3547"/>
                      <a:pt x="2963" y="3538"/>
                    </a:cubicBezTo>
                    <a:lnTo>
                      <a:pt x="2963" y="3487"/>
                    </a:lnTo>
                    <a:lnTo>
                      <a:pt x="2963" y="3479"/>
                    </a:lnTo>
                    <a:lnTo>
                      <a:pt x="2963" y="3462"/>
                    </a:lnTo>
                    <a:lnTo>
                      <a:pt x="2954" y="3453"/>
                    </a:lnTo>
                    <a:lnTo>
                      <a:pt x="2954" y="3444"/>
                    </a:lnTo>
                    <a:lnTo>
                      <a:pt x="2954" y="3402"/>
                    </a:lnTo>
                    <a:lnTo>
                      <a:pt x="2954" y="3393"/>
                    </a:lnTo>
                    <a:cubicBezTo>
                      <a:pt x="2952" y="3387"/>
                      <a:pt x="2951" y="3382"/>
                      <a:pt x="2949" y="3376"/>
                    </a:cubicBezTo>
                    <a:lnTo>
                      <a:pt x="2949" y="3342"/>
                    </a:lnTo>
                    <a:lnTo>
                      <a:pt x="2949" y="3316"/>
                    </a:lnTo>
                    <a:cubicBezTo>
                      <a:pt x="2955" y="3308"/>
                      <a:pt x="2962" y="3299"/>
                      <a:pt x="2968" y="3291"/>
                    </a:cubicBezTo>
                    <a:cubicBezTo>
                      <a:pt x="2966" y="3262"/>
                      <a:pt x="2965" y="3234"/>
                      <a:pt x="2963" y="3205"/>
                    </a:cubicBezTo>
                    <a:cubicBezTo>
                      <a:pt x="2965" y="3194"/>
                      <a:pt x="2966" y="3182"/>
                      <a:pt x="2968" y="3171"/>
                    </a:cubicBezTo>
                    <a:lnTo>
                      <a:pt x="2968" y="3128"/>
                    </a:lnTo>
                    <a:cubicBezTo>
                      <a:pt x="2963" y="3102"/>
                      <a:pt x="2959" y="3077"/>
                      <a:pt x="2954" y="3051"/>
                    </a:cubicBezTo>
                    <a:lnTo>
                      <a:pt x="2954" y="3009"/>
                    </a:lnTo>
                    <a:cubicBezTo>
                      <a:pt x="2943" y="2986"/>
                      <a:pt x="2933" y="2963"/>
                      <a:pt x="2922" y="2940"/>
                    </a:cubicBezTo>
                    <a:cubicBezTo>
                      <a:pt x="2916" y="2920"/>
                      <a:pt x="2909" y="2900"/>
                      <a:pt x="2903" y="2880"/>
                    </a:cubicBezTo>
                    <a:lnTo>
                      <a:pt x="2903" y="2855"/>
                    </a:lnTo>
                    <a:cubicBezTo>
                      <a:pt x="2905" y="2852"/>
                      <a:pt x="2906" y="2849"/>
                      <a:pt x="2908" y="2846"/>
                    </a:cubicBezTo>
                    <a:cubicBezTo>
                      <a:pt x="2916" y="2838"/>
                      <a:pt x="2923" y="2829"/>
                      <a:pt x="2931" y="2821"/>
                    </a:cubicBezTo>
                    <a:lnTo>
                      <a:pt x="2931" y="2803"/>
                    </a:lnTo>
                    <a:cubicBezTo>
                      <a:pt x="2932" y="2797"/>
                      <a:pt x="2934" y="2792"/>
                      <a:pt x="2935" y="2786"/>
                    </a:cubicBezTo>
                    <a:lnTo>
                      <a:pt x="2935" y="2744"/>
                    </a:lnTo>
                    <a:cubicBezTo>
                      <a:pt x="2944" y="2698"/>
                      <a:pt x="2954" y="2653"/>
                      <a:pt x="2963" y="2607"/>
                    </a:cubicBezTo>
                    <a:lnTo>
                      <a:pt x="2963" y="2419"/>
                    </a:lnTo>
                    <a:lnTo>
                      <a:pt x="2954" y="2410"/>
                    </a:lnTo>
                    <a:cubicBezTo>
                      <a:pt x="2957" y="2404"/>
                      <a:pt x="2960" y="2399"/>
                      <a:pt x="2963" y="2393"/>
                    </a:cubicBezTo>
                    <a:lnTo>
                      <a:pt x="2908" y="2359"/>
                    </a:lnTo>
                    <a:cubicBezTo>
                      <a:pt x="2902" y="2348"/>
                      <a:pt x="2895" y="2336"/>
                      <a:pt x="2889" y="2325"/>
                    </a:cubicBezTo>
                    <a:lnTo>
                      <a:pt x="2788" y="2333"/>
                    </a:lnTo>
                    <a:cubicBezTo>
                      <a:pt x="2783" y="2330"/>
                      <a:pt x="2779" y="2328"/>
                      <a:pt x="2774" y="2325"/>
                    </a:cubicBezTo>
                    <a:cubicBezTo>
                      <a:pt x="2777" y="2319"/>
                      <a:pt x="2780" y="2314"/>
                      <a:pt x="2783" y="2308"/>
                    </a:cubicBezTo>
                    <a:lnTo>
                      <a:pt x="2747" y="2308"/>
                    </a:lnTo>
                    <a:cubicBezTo>
                      <a:pt x="2745" y="2316"/>
                      <a:pt x="2744" y="2325"/>
                      <a:pt x="2742" y="2333"/>
                    </a:cubicBezTo>
                    <a:cubicBezTo>
                      <a:pt x="2722" y="2478"/>
                      <a:pt x="2702" y="2624"/>
                      <a:pt x="2682" y="2769"/>
                    </a:cubicBezTo>
                    <a:lnTo>
                      <a:pt x="2613" y="2940"/>
                    </a:lnTo>
                    <a:lnTo>
                      <a:pt x="2581" y="2966"/>
                    </a:lnTo>
                    <a:cubicBezTo>
                      <a:pt x="2579" y="2994"/>
                      <a:pt x="2578" y="3023"/>
                      <a:pt x="2576" y="3051"/>
                    </a:cubicBezTo>
                    <a:lnTo>
                      <a:pt x="2581" y="3051"/>
                    </a:lnTo>
                    <a:cubicBezTo>
                      <a:pt x="2585" y="3040"/>
                      <a:pt x="2590" y="3028"/>
                      <a:pt x="2594" y="3017"/>
                    </a:cubicBezTo>
                    <a:lnTo>
                      <a:pt x="2594" y="3034"/>
                    </a:lnTo>
                    <a:lnTo>
                      <a:pt x="2594" y="3051"/>
                    </a:lnTo>
                    <a:cubicBezTo>
                      <a:pt x="2593" y="3060"/>
                      <a:pt x="2591" y="3068"/>
                      <a:pt x="2590" y="3077"/>
                    </a:cubicBezTo>
                    <a:lnTo>
                      <a:pt x="2567" y="3103"/>
                    </a:lnTo>
                    <a:cubicBezTo>
                      <a:pt x="2565" y="3117"/>
                      <a:pt x="2564" y="3131"/>
                      <a:pt x="2562" y="3145"/>
                    </a:cubicBezTo>
                    <a:cubicBezTo>
                      <a:pt x="2564" y="3156"/>
                      <a:pt x="2565" y="3168"/>
                      <a:pt x="2567" y="3179"/>
                    </a:cubicBezTo>
                    <a:cubicBezTo>
                      <a:pt x="2575" y="3176"/>
                      <a:pt x="2582" y="3174"/>
                      <a:pt x="2590" y="3171"/>
                    </a:cubicBezTo>
                    <a:cubicBezTo>
                      <a:pt x="2591" y="3162"/>
                      <a:pt x="2593" y="3154"/>
                      <a:pt x="2594" y="3145"/>
                    </a:cubicBezTo>
                    <a:cubicBezTo>
                      <a:pt x="2600" y="3148"/>
                      <a:pt x="2607" y="3151"/>
                      <a:pt x="2613" y="3154"/>
                    </a:cubicBezTo>
                    <a:cubicBezTo>
                      <a:pt x="2616" y="3162"/>
                      <a:pt x="2619" y="3171"/>
                      <a:pt x="2622" y="3179"/>
                    </a:cubicBezTo>
                    <a:cubicBezTo>
                      <a:pt x="2619" y="3191"/>
                      <a:pt x="2616" y="3202"/>
                      <a:pt x="2613" y="3214"/>
                    </a:cubicBezTo>
                    <a:lnTo>
                      <a:pt x="2613" y="3308"/>
                    </a:lnTo>
                    <a:cubicBezTo>
                      <a:pt x="2611" y="3314"/>
                      <a:pt x="2610" y="3319"/>
                      <a:pt x="2608" y="3325"/>
                    </a:cubicBezTo>
                    <a:lnTo>
                      <a:pt x="2608" y="3376"/>
                    </a:lnTo>
                    <a:cubicBezTo>
                      <a:pt x="2610" y="3390"/>
                      <a:pt x="2611" y="3405"/>
                      <a:pt x="2613" y="3419"/>
                    </a:cubicBezTo>
                    <a:cubicBezTo>
                      <a:pt x="2611" y="3427"/>
                      <a:pt x="2610" y="3436"/>
                      <a:pt x="2608" y="3444"/>
                    </a:cubicBezTo>
                    <a:lnTo>
                      <a:pt x="2594" y="3444"/>
                    </a:lnTo>
                    <a:cubicBezTo>
                      <a:pt x="2593" y="3438"/>
                      <a:pt x="2591" y="3433"/>
                      <a:pt x="2590" y="3427"/>
                    </a:cubicBezTo>
                    <a:cubicBezTo>
                      <a:pt x="2587" y="3473"/>
                      <a:pt x="2584" y="3518"/>
                      <a:pt x="2581" y="3564"/>
                    </a:cubicBezTo>
                    <a:cubicBezTo>
                      <a:pt x="2585" y="3575"/>
                      <a:pt x="2590" y="3587"/>
                      <a:pt x="2594" y="3598"/>
                    </a:cubicBezTo>
                    <a:lnTo>
                      <a:pt x="2594" y="3581"/>
                    </a:lnTo>
                    <a:cubicBezTo>
                      <a:pt x="2599" y="3573"/>
                      <a:pt x="2603" y="3564"/>
                      <a:pt x="2608" y="3556"/>
                    </a:cubicBezTo>
                    <a:cubicBezTo>
                      <a:pt x="2622" y="3576"/>
                      <a:pt x="2636" y="3595"/>
                      <a:pt x="2650" y="3615"/>
                    </a:cubicBezTo>
                    <a:lnTo>
                      <a:pt x="2664" y="3615"/>
                    </a:lnTo>
                    <a:lnTo>
                      <a:pt x="2668" y="3615"/>
                    </a:lnTo>
                    <a:cubicBezTo>
                      <a:pt x="2667" y="3632"/>
                      <a:pt x="2665" y="3650"/>
                      <a:pt x="2664" y="3667"/>
                    </a:cubicBezTo>
                    <a:cubicBezTo>
                      <a:pt x="2672" y="3707"/>
                      <a:pt x="2679" y="3746"/>
                      <a:pt x="2687" y="3786"/>
                    </a:cubicBezTo>
                    <a:lnTo>
                      <a:pt x="2710" y="3812"/>
                    </a:lnTo>
                    <a:lnTo>
                      <a:pt x="2724" y="3812"/>
                    </a:lnTo>
                    <a:lnTo>
                      <a:pt x="2724" y="3829"/>
                    </a:lnTo>
                    <a:cubicBezTo>
                      <a:pt x="2728" y="3832"/>
                      <a:pt x="2733" y="3835"/>
                      <a:pt x="2737" y="3838"/>
                    </a:cubicBezTo>
                    <a:cubicBezTo>
                      <a:pt x="2729" y="3849"/>
                      <a:pt x="2722" y="3861"/>
                      <a:pt x="2714" y="3872"/>
                    </a:cubicBezTo>
                    <a:cubicBezTo>
                      <a:pt x="2708" y="3923"/>
                      <a:pt x="2702" y="3975"/>
                      <a:pt x="2696" y="4026"/>
                    </a:cubicBezTo>
                    <a:cubicBezTo>
                      <a:pt x="2688" y="4034"/>
                      <a:pt x="2681" y="4043"/>
                      <a:pt x="2673" y="4051"/>
                    </a:cubicBezTo>
                    <a:cubicBezTo>
                      <a:pt x="2671" y="4045"/>
                      <a:pt x="2670" y="4040"/>
                      <a:pt x="2668" y="4034"/>
                    </a:cubicBezTo>
                    <a:cubicBezTo>
                      <a:pt x="2670" y="4023"/>
                      <a:pt x="2671" y="4011"/>
                      <a:pt x="2673" y="4000"/>
                    </a:cubicBezTo>
                    <a:cubicBezTo>
                      <a:pt x="2670" y="3991"/>
                      <a:pt x="2667" y="3983"/>
                      <a:pt x="2664" y="3974"/>
                    </a:cubicBezTo>
                    <a:lnTo>
                      <a:pt x="2636" y="3949"/>
                    </a:lnTo>
                    <a:cubicBezTo>
                      <a:pt x="2618" y="3912"/>
                      <a:pt x="2599" y="3875"/>
                      <a:pt x="2581" y="3838"/>
                    </a:cubicBezTo>
                    <a:cubicBezTo>
                      <a:pt x="2575" y="3835"/>
                      <a:pt x="2568" y="3832"/>
                      <a:pt x="2562" y="3829"/>
                    </a:cubicBezTo>
                    <a:lnTo>
                      <a:pt x="2535" y="3778"/>
                    </a:lnTo>
                    <a:cubicBezTo>
                      <a:pt x="2524" y="3772"/>
                      <a:pt x="2513" y="3767"/>
                      <a:pt x="2502" y="3761"/>
                    </a:cubicBezTo>
                    <a:lnTo>
                      <a:pt x="2502" y="3735"/>
                    </a:lnTo>
                    <a:lnTo>
                      <a:pt x="2516" y="3735"/>
                    </a:lnTo>
                    <a:lnTo>
                      <a:pt x="2507" y="3726"/>
                    </a:lnTo>
                    <a:lnTo>
                      <a:pt x="2488" y="3726"/>
                    </a:lnTo>
                    <a:cubicBezTo>
                      <a:pt x="2479" y="3715"/>
                      <a:pt x="2470" y="3703"/>
                      <a:pt x="2461" y="3692"/>
                    </a:cubicBezTo>
                    <a:cubicBezTo>
                      <a:pt x="2455" y="3686"/>
                      <a:pt x="2448" y="3681"/>
                      <a:pt x="2442" y="3675"/>
                    </a:cubicBezTo>
                    <a:cubicBezTo>
                      <a:pt x="2430" y="3649"/>
                      <a:pt x="2418" y="3624"/>
                      <a:pt x="2406" y="3598"/>
                    </a:cubicBezTo>
                    <a:cubicBezTo>
                      <a:pt x="2386" y="3587"/>
                      <a:pt x="2366" y="3575"/>
                      <a:pt x="2346" y="3564"/>
                    </a:cubicBezTo>
                    <a:lnTo>
                      <a:pt x="2341" y="3564"/>
                    </a:lnTo>
                    <a:lnTo>
                      <a:pt x="2313" y="3530"/>
                    </a:lnTo>
                    <a:lnTo>
                      <a:pt x="2235" y="3530"/>
                    </a:lnTo>
                    <a:cubicBezTo>
                      <a:pt x="2232" y="3524"/>
                      <a:pt x="2229" y="3519"/>
                      <a:pt x="2226" y="3513"/>
                    </a:cubicBezTo>
                    <a:cubicBezTo>
                      <a:pt x="2220" y="3510"/>
                      <a:pt x="2213" y="3507"/>
                      <a:pt x="2207" y="3504"/>
                    </a:cubicBezTo>
                    <a:lnTo>
                      <a:pt x="2194" y="3504"/>
                    </a:lnTo>
                    <a:lnTo>
                      <a:pt x="2189" y="3504"/>
                    </a:lnTo>
                    <a:lnTo>
                      <a:pt x="2189" y="3530"/>
                    </a:lnTo>
                    <a:cubicBezTo>
                      <a:pt x="2186" y="3533"/>
                      <a:pt x="2183" y="3535"/>
                      <a:pt x="2180" y="3538"/>
                    </a:cubicBezTo>
                    <a:cubicBezTo>
                      <a:pt x="2171" y="3552"/>
                      <a:pt x="2161" y="3567"/>
                      <a:pt x="2152" y="3581"/>
                    </a:cubicBezTo>
                    <a:cubicBezTo>
                      <a:pt x="2155" y="3587"/>
                      <a:pt x="2158" y="3592"/>
                      <a:pt x="2161" y="3598"/>
                    </a:cubicBezTo>
                    <a:cubicBezTo>
                      <a:pt x="2172" y="3649"/>
                      <a:pt x="2183" y="3701"/>
                      <a:pt x="2194" y="3752"/>
                    </a:cubicBezTo>
                    <a:lnTo>
                      <a:pt x="2194" y="3735"/>
                    </a:lnTo>
                    <a:lnTo>
                      <a:pt x="2198" y="3735"/>
                    </a:lnTo>
                    <a:cubicBezTo>
                      <a:pt x="2195" y="3769"/>
                      <a:pt x="2192" y="3804"/>
                      <a:pt x="2189" y="3838"/>
                    </a:cubicBezTo>
                    <a:cubicBezTo>
                      <a:pt x="2181" y="3855"/>
                      <a:pt x="2174" y="3872"/>
                      <a:pt x="2166" y="3889"/>
                    </a:cubicBezTo>
                    <a:lnTo>
                      <a:pt x="2124" y="3889"/>
                    </a:lnTo>
                    <a:lnTo>
                      <a:pt x="2124" y="3923"/>
                    </a:lnTo>
                    <a:cubicBezTo>
                      <a:pt x="2127" y="3929"/>
                      <a:pt x="2131" y="3934"/>
                      <a:pt x="2134" y="3940"/>
                    </a:cubicBezTo>
                    <a:lnTo>
                      <a:pt x="2134" y="3966"/>
                    </a:lnTo>
                    <a:cubicBezTo>
                      <a:pt x="2129" y="3977"/>
                      <a:pt x="2125" y="3989"/>
                      <a:pt x="2120" y="4000"/>
                    </a:cubicBezTo>
                    <a:cubicBezTo>
                      <a:pt x="2115" y="4003"/>
                      <a:pt x="2111" y="4006"/>
                      <a:pt x="2106" y="4009"/>
                    </a:cubicBezTo>
                    <a:lnTo>
                      <a:pt x="2088" y="4000"/>
                    </a:lnTo>
                    <a:cubicBezTo>
                      <a:pt x="2083" y="3991"/>
                      <a:pt x="2079" y="3983"/>
                      <a:pt x="2074" y="3974"/>
                    </a:cubicBezTo>
                    <a:lnTo>
                      <a:pt x="2074" y="3940"/>
                    </a:lnTo>
                    <a:cubicBezTo>
                      <a:pt x="2075" y="3932"/>
                      <a:pt x="2077" y="3923"/>
                      <a:pt x="2078" y="3915"/>
                    </a:cubicBezTo>
                    <a:cubicBezTo>
                      <a:pt x="2081" y="3906"/>
                      <a:pt x="2085" y="3898"/>
                      <a:pt x="2088" y="3889"/>
                    </a:cubicBezTo>
                    <a:cubicBezTo>
                      <a:pt x="2092" y="3883"/>
                      <a:pt x="2097" y="3878"/>
                      <a:pt x="2101" y="3872"/>
                    </a:cubicBezTo>
                    <a:lnTo>
                      <a:pt x="2074" y="3812"/>
                    </a:lnTo>
                    <a:lnTo>
                      <a:pt x="2074" y="3786"/>
                    </a:lnTo>
                    <a:lnTo>
                      <a:pt x="2060" y="3786"/>
                    </a:lnTo>
                    <a:lnTo>
                      <a:pt x="2014" y="3829"/>
                    </a:lnTo>
                    <a:cubicBezTo>
                      <a:pt x="2009" y="3840"/>
                      <a:pt x="2005" y="3852"/>
                      <a:pt x="2000" y="3863"/>
                    </a:cubicBezTo>
                    <a:cubicBezTo>
                      <a:pt x="1995" y="3866"/>
                      <a:pt x="1991" y="3869"/>
                      <a:pt x="1986" y="3872"/>
                    </a:cubicBezTo>
                    <a:cubicBezTo>
                      <a:pt x="1977" y="3895"/>
                      <a:pt x="1968" y="3917"/>
                      <a:pt x="1959" y="3940"/>
                    </a:cubicBezTo>
                    <a:cubicBezTo>
                      <a:pt x="1954" y="3943"/>
                      <a:pt x="1950" y="3946"/>
                      <a:pt x="1945" y="3949"/>
                    </a:cubicBezTo>
                    <a:cubicBezTo>
                      <a:pt x="1943" y="3940"/>
                      <a:pt x="1942" y="3932"/>
                      <a:pt x="1940" y="3923"/>
                    </a:cubicBezTo>
                    <a:cubicBezTo>
                      <a:pt x="1932" y="3920"/>
                      <a:pt x="1925" y="3918"/>
                      <a:pt x="1917" y="3915"/>
                    </a:cubicBezTo>
                    <a:cubicBezTo>
                      <a:pt x="1911" y="3918"/>
                      <a:pt x="1905" y="3920"/>
                      <a:pt x="1899" y="3923"/>
                    </a:cubicBezTo>
                    <a:cubicBezTo>
                      <a:pt x="1893" y="3920"/>
                      <a:pt x="1886" y="3918"/>
                      <a:pt x="1880" y="3915"/>
                    </a:cubicBezTo>
                    <a:cubicBezTo>
                      <a:pt x="1871" y="3923"/>
                      <a:pt x="1862" y="3932"/>
                      <a:pt x="1853" y="3940"/>
                    </a:cubicBezTo>
                    <a:lnTo>
                      <a:pt x="1839" y="3940"/>
                    </a:lnTo>
                    <a:cubicBezTo>
                      <a:pt x="1828" y="3954"/>
                      <a:pt x="1817" y="3969"/>
                      <a:pt x="1806" y="3983"/>
                    </a:cubicBezTo>
                    <a:lnTo>
                      <a:pt x="1806" y="4000"/>
                    </a:lnTo>
                    <a:cubicBezTo>
                      <a:pt x="1803" y="4026"/>
                      <a:pt x="1800" y="4051"/>
                      <a:pt x="1797" y="4077"/>
                    </a:cubicBezTo>
                    <a:lnTo>
                      <a:pt x="1783" y="4077"/>
                    </a:lnTo>
                    <a:cubicBezTo>
                      <a:pt x="1782" y="4068"/>
                      <a:pt x="1780" y="4060"/>
                      <a:pt x="1779" y="4051"/>
                    </a:cubicBezTo>
                    <a:cubicBezTo>
                      <a:pt x="1774" y="4043"/>
                      <a:pt x="1770" y="4034"/>
                      <a:pt x="1765" y="4026"/>
                    </a:cubicBezTo>
                    <a:cubicBezTo>
                      <a:pt x="1760" y="4034"/>
                      <a:pt x="1756" y="4043"/>
                      <a:pt x="1751" y="4051"/>
                    </a:cubicBezTo>
                    <a:cubicBezTo>
                      <a:pt x="1746" y="4037"/>
                      <a:pt x="1742" y="4023"/>
                      <a:pt x="1737" y="4009"/>
                    </a:cubicBezTo>
                    <a:lnTo>
                      <a:pt x="1737" y="3966"/>
                    </a:lnTo>
                    <a:cubicBezTo>
                      <a:pt x="1736" y="3957"/>
                      <a:pt x="1734" y="3949"/>
                      <a:pt x="1733" y="3940"/>
                    </a:cubicBezTo>
                    <a:lnTo>
                      <a:pt x="1733" y="3923"/>
                    </a:lnTo>
                    <a:cubicBezTo>
                      <a:pt x="1738" y="3912"/>
                      <a:pt x="1742" y="3900"/>
                      <a:pt x="1747" y="3889"/>
                    </a:cubicBezTo>
                    <a:lnTo>
                      <a:pt x="1747" y="3863"/>
                    </a:lnTo>
                    <a:cubicBezTo>
                      <a:pt x="1744" y="3855"/>
                      <a:pt x="1740" y="3846"/>
                      <a:pt x="1737" y="3838"/>
                    </a:cubicBezTo>
                    <a:cubicBezTo>
                      <a:pt x="1736" y="3835"/>
                      <a:pt x="1734" y="3832"/>
                      <a:pt x="1733" y="3829"/>
                    </a:cubicBezTo>
                    <a:lnTo>
                      <a:pt x="1733" y="3846"/>
                    </a:lnTo>
                    <a:lnTo>
                      <a:pt x="1724" y="3846"/>
                    </a:lnTo>
                    <a:lnTo>
                      <a:pt x="1724" y="3829"/>
                    </a:lnTo>
                    <a:cubicBezTo>
                      <a:pt x="1728" y="3823"/>
                      <a:pt x="1733" y="3818"/>
                      <a:pt x="1737" y="3812"/>
                    </a:cubicBezTo>
                    <a:lnTo>
                      <a:pt x="1765" y="3812"/>
                    </a:lnTo>
                    <a:cubicBezTo>
                      <a:pt x="1770" y="3803"/>
                      <a:pt x="1774" y="3795"/>
                      <a:pt x="1779" y="3786"/>
                    </a:cubicBezTo>
                    <a:lnTo>
                      <a:pt x="1779" y="3786"/>
                    </a:lnTo>
                    <a:cubicBezTo>
                      <a:pt x="1770" y="3792"/>
                      <a:pt x="1760" y="3797"/>
                      <a:pt x="1751" y="3803"/>
                    </a:cubicBezTo>
                    <a:lnTo>
                      <a:pt x="1747" y="3803"/>
                    </a:lnTo>
                    <a:lnTo>
                      <a:pt x="1724" y="3803"/>
                    </a:lnTo>
                    <a:cubicBezTo>
                      <a:pt x="1716" y="3812"/>
                      <a:pt x="1708" y="3820"/>
                      <a:pt x="1700" y="3829"/>
                    </a:cubicBezTo>
                    <a:cubicBezTo>
                      <a:pt x="1702" y="3835"/>
                      <a:pt x="1703" y="3840"/>
                      <a:pt x="1705" y="3846"/>
                    </a:cubicBezTo>
                    <a:lnTo>
                      <a:pt x="1691" y="3846"/>
                    </a:lnTo>
                    <a:lnTo>
                      <a:pt x="1691" y="3863"/>
                    </a:lnTo>
                    <a:lnTo>
                      <a:pt x="1691" y="3915"/>
                    </a:lnTo>
                    <a:cubicBezTo>
                      <a:pt x="1686" y="3918"/>
                      <a:pt x="1682" y="3920"/>
                      <a:pt x="1677" y="3923"/>
                    </a:cubicBezTo>
                    <a:cubicBezTo>
                      <a:pt x="1676" y="3920"/>
                      <a:pt x="1674" y="3918"/>
                      <a:pt x="1673" y="3915"/>
                    </a:cubicBezTo>
                    <a:cubicBezTo>
                      <a:pt x="1670" y="3906"/>
                      <a:pt x="1667" y="3898"/>
                      <a:pt x="1664" y="3889"/>
                    </a:cubicBezTo>
                    <a:cubicBezTo>
                      <a:pt x="1667" y="3883"/>
                      <a:pt x="1670" y="3878"/>
                      <a:pt x="1673" y="3872"/>
                    </a:cubicBezTo>
                    <a:lnTo>
                      <a:pt x="1664" y="3872"/>
                    </a:lnTo>
                    <a:cubicBezTo>
                      <a:pt x="1655" y="3889"/>
                      <a:pt x="1645" y="3906"/>
                      <a:pt x="1636" y="3923"/>
                    </a:cubicBezTo>
                    <a:lnTo>
                      <a:pt x="1645" y="3923"/>
                    </a:lnTo>
                    <a:cubicBezTo>
                      <a:pt x="1647" y="3932"/>
                      <a:pt x="1648" y="3940"/>
                      <a:pt x="1650" y="3949"/>
                    </a:cubicBezTo>
                    <a:lnTo>
                      <a:pt x="1650" y="3983"/>
                    </a:lnTo>
                    <a:cubicBezTo>
                      <a:pt x="1645" y="3989"/>
                      <a:pt x="1641" y="3994"/>
                      <a:pt x="1636" y="4000"/>
                    </a:cubicBezTo>
                    <a:cubicBezTo>
                      <a:pt x="1634" y="4003"/>
                      <a:pt x="1633" y="4006"/>
                      <a:pt x="1631" y="4009"/>
                    </a:cubicBezTo>
                    <a:cubicBezTo>
                      <a:pt x="1627" y="3989"/>
                      <a:pt x="1622" y="3969"/>
                      <a:pt x="1618" y="3949"/>
                    </a:cubicBezTo>
                    <a:cubicBezTo>
                      <a:pt x="1607" y="3955"/>
                      <a:pt x="1596" y="3960"/>
                      <a:pt x="1585" y="3966"/>
                    </a:cubicBezTo>
                    <a:cubicBezTo>
                      <a:pt x="1587" y="3969"/>
                      <a:pt x="1588" y="3971"/>
                      <a:pt x="1590" y="3974"/>
                    </a:cubicBezTo>
                    <a:cubicBezTo>
                      <a:pt x="1575" y="3986"/>
                      <a:pt x="1559" y="3997"/>
                      <a:pt x="1544" y="4009"/>
                    </a:cubicBezTo>
                    <a:lnTo>
                      <a:pt x="1539" y="4009"/>
                    </a:lnTo>
                    <a:lnTo>
                      <a:pt x="1410" y="4188"/>
                    </a:lnTo>
                    <a:cubicBezTo>
                      <a:pt x="1409" y="4182"/>
                      <a:pt x="1407" y="4177"/>
                      <a:pt x="1406" y="4171"/>
                    </a:cubicBezTo>
                    <a:cubicBezTo>
                      <a:pt x="1403" y="4185"/>
                      <a:pt x="1399" y="4200"/>
                      <a:pt x="1396" y="4214"/>
                    </a:cubicBezTo>
                    <a:cubicBezTo>
                      <a:pt x="1399" y="4217"/>
                      <a:pt x="1403" y="4219"/>
                      <a:pt x="1406" y="4222"/>
                    </a:cubicBezTo>
                    <a:cubicBezTo>
                      <a:pt x="1401" y="4228"/>
                      <a:pt x="1397" y="4233"/>
                      <a:pt x="1392" y="4239"/>
                    </a:cubicBezTo>
                    <a:cubicBezTo>
                      <a:pt x="1384" y="4242"/>
                      <a:pt x="1377" y="4245"/>
                      <a:pt x="1369" y="4248"/>
                    </a:cubicBezTo>
                    <a:cubicBezTo>
                      <a:pt x="1364" y="4251"/>
                      <a:pt x="1360" y="4253"/>
                      <a:pt x="1355" y="4256"/>
                    </a:cubicBezTo>
                    <a:cubicBezTo>
                      <a:pt x="1353" y="4253"/>
                      <a:pt x="1352" y="4251"/>
                      <a:pt x="1350" y="4248"/>
                    </a:cubicBezTo>
                    <a:cubicBezTo>
                      <a:pt x="1344" y="4291"/>
                      <a:pt x="1338" y="4333"/>
                      <a:pt x="1332" y="4376"/>
                    </a:cubicBezTo>
                    <a:lnTo>
                      <a:pt x="1332" y="4436"/>
                    </a:lnTo>
                    <a:cubicBezTo>
                      <a:pt x="1329" y="4445"/>
                      <a:pt x="1326" y="4453"/>
                      <a:pt x="1323" y="4462"/>
                    </a:cubicBezTo>
                    <a:cubicBezTo>
                      <a:pt x="1317" y="4470"/>
                      <a:pt x="1310" y="4479"/>
                      <a:pt x="1304" y="4487"/>
                    </a:cubicBezTo>
                    <a:cubicBezTo>
                      <a:pt x="1299" y="4481"/>
                      <a:pt x="1295" y="4476"/>
                      <a:pt x="1290" y="4470"/>
                    </a:cubicBezTo>
                    <a:cubicBezTo>
                      <a:pt x="1281" y="4479"/>
                      <a:pt x="1272" y="4487"/>
                      <a:pt x="1263" y="4496"/>
                    </a:cubicBezTo>
                    <a:cubicBezTo>
                      <a:pt x="1261" y="4513"/>
                      <a:pt x="1260" y="4530"/>
                      <a:pt x="1258" y="4547"/>
                    </a:cubicBezTo>
                    <a:lnTo>
                      <a:pt x="1249" y="4487"/>
                    </a:lnTo>
                    <a:cubicBezTo>
                      <a:pt x="1244" y="4490"/>
                      <a:pt x="1240" y="4493"/>
                      <a:pt x="1235" y="4496"/>
                    </a:cubicBezTo>
                    <a:lnTo>
                      <a:pt x="1221" y="4496"/>
                    </a:lnTo>
                    <a:cubicBezTo>
                      <a:pt x="1220" y="4493"/>
                      <a:pt x="1218" y="4490"/>
                      <a:pt x="1217" y="4487"/>
                    </a:cubicBezTo>
                    <a:cubicBezTo>
                      <a:pt x="1211" y="4461"/>
                      <a:pt x="1204" y="4436"/>
                      <a:pt x="1198" y="4410"/>
                    </a:cubicBezTo>
                    <a:cubicBezTo>
                      <a:pt x="1184" y="4384"/>
                      <a:pt x="1171" y="4359"/>
                      <a:pt x="1157" y="4333"/>
                    </a:cubicBezTo>
                    <a:cubicBezTo>
                      <a:pt x="1154" y="4322"/>
                      <a:pt x="1150" y="4310"/>
                      <a:pt x="1147" y="4299"/>
                    </a:cubicBezTo>
                    <a:lnTo>
                      <a:pt x="1147" y="4274"/>
                    </a:lnTo>
                    <a:cubicBezTo>
                      <a:pt x="1152" y="4268"/>
                      <a:pt x="1156" y="4262"/>
                      <a:pt x="1161" y="4256"/>
                    </a:cubicBezTo>
                    <a:cubicBezTo>
                      <a:pt x="1164" y="4253"/>
                      <a:pt x="1168" y="4251"/>
                      <a:pt x="1171" y="4248"/>
                    </a:cubicBezTo>
                    <a:cubicBezTo>
                      <a:pt x="1172" y="4237"/>
                      <a:pt x="1174" y="4225"/>
                      <a:pt x="1175" y="4214"/>
                    </a:cubicBezTo>
                    <a:lnTo>
                      <a:pt x="1263" y="4171"/>
                    </a:lnTo>
                    <a:cubicBezTo>
                      <a:pt x="1258" y="4160"/>
                      <a:pt x="1254" y="4148"/>
                      <a:pt x="1249" y="4137"/>
                    </a:cubicBezTo>
                    <a:cubicBezTo>
                      <a:pt x="1247" y="4111"/>
                      <a:pt x="1246" y="4086"/>
                      <a:pt x="1244" y="4060"/>
                    </a:cubicBezTo>
                    <a:cubicBezTo>
                      <a:pt x="1239" y="4066"/>
                      <a:pt x="1235" y="4071"/>
                      <a:pt x="1230" y="4077"/>
                    </a:cubicBezTo>
                    <a:lnTo>
                      <a:pt x="1221" y="4026"/>
                    </a:lnTo>
                    <a:lnTo>
                      <a:pt x="1217" y="4026"/>
                    </a:lnTo>
                    <a:cubicBezTo>
                      <a:pt x="1215" y="4012"/>
                      <a:pt x="1214" y="3997"/>
                      <a:pt x="1212" y="3983"/>
                    </a:cubicBezTo>
                    <a:cubicBezTo>
                      <a:pt x="1209" y="3977"/>
                      <a:pt x="1206" y="3972"/>
                      <a:pt x="1203" y="3966"/>
                    </a:cubicBezTo>
                    <a:cubicBezTo>
                      <a:pt x="1192" y="3960"/>
                      <a:pt x="1182" y="3955"/>
                      <a:pt x="1171" y="3949"/>
                    </a:cubicBezTo>
                    <a:lnTo>
                      <a:pt x="1111" y="3940"/>
                    </a:lnTo>
                    <a:cubicBezTo>
                      <a:pt x="1106" y="3943"/>
                      <a:pt x="1102" y="3946"/>
                      <a:pt x="1097" y="3949"/>
                    </a:cubicBezTo>
                    <a:cubicBezTo>
                      <a:pt x="1077" y="3932"/>
                      <a:pt x="1057" y="3914"/>
                      <a:pt x="1037" y="3897"/>
                    </a:cubicBezTo>
                    <a:cubicBezTo>
                      <a:pt x="1038" y="3906"/>
                      <a:pt x="1040" y="3914"/>
                      <a:pt x="1041" y="3923"/>
                    </a:cubicBezTo>
                    <a:lnTo>
                      <a:pt x="1097" y="4009"/>
                    </a:lnTo>
                    <a:lnTo>
                      <a:pt x="1097" y="4120"/>
                    </a:lnTo>
                    <a:lnTo>
                      <a:pt x="1097" y="4162"/>
                    </a:lnTo>
                    <a:lnTo>
                      <a:pt x="1097" y="4197"/>
                    </a:lnTo>
                    <a:cubicBezTo>
                      <a:pt x="1089" y="4242"/>
                      <a:pt x="1082" y="4288"/>
                      <a:pt x="1074" y="4333"/>
                    </a:cubicBezTo>
                    <a:lnTo>
                      <a:pt x="1074" y="4376"/>
                    </a:lnTo>
                    <a:lnTo>
                      <a:pt x="1083" y="4385"/>
                    </a:lnTo>
                    <a:lnTo>
                      <a:pt x="1097" y="4385"/>
                    </a:lnTo>
                    <a:cubicBezTo>
                      <a:pt x="1102" y="4393"/>
                      <a:pt x="1106" y="4402"/>
                      <a:pt x="1111" y="4410"/>
                    </a:cubicBezTo>
                    <a:cubicBezTo>
                      <a:pt x="1115" y="4421"/>
                      <a:pt x="1120" y="4433"/>
                      <a:pt x="1124" y="4444"/>
                    </a:cubicBezTo>
                    <a:lnTo>
                      <a:pt x="1124" y="4470"/>
                    </a:lnTo>
                    <a:cubicBezTo>
                      <a:pt x="1121" y="4484"/>
                      <a:pt x="1118" y="4499"/>
                      <a:pt x="1115" y="4513"/>
                    </a:cubicBezTo>
                    <a:lnTo>
                      <a:pt x="1115" y="4530"/>
                    </a:lnTo>
                    <a:lnTo>
                      <a:pt x="1115" y="4573"/>
                    </a:lnTo>
                    <a:cubicBezTo>
                      <a:pt x="1110" y="4584"/>
                      <a:pt x="1106" y="4596"/>
                      <a:pt x="1101" y="4607"/>
                    </a:cubicBezTo>
                    <a:cubicBezTo>
                      <a:pt x="1100" y="4624"/>
                      <a:pt x="1098" y="4641"/>
                      <a:pt x="1097" y="4658"/>
                    </a:cubicBezTo>
                    <a:cubicBezTo>
                      <a:pt x="1098" y="4669"/>
                      <a:pt x="1100" y="4681"/>
                      <a:pt x="1101" y="4692"/>
                    </a:cubicBezTo>
                    <a:cubicBezTo>
                      <a:pt x="1100" y="4721"/>
                      <a:pt x="1098" y="4749"/>
                      <a:pt x="1097" y="4778"/>
                    </a:cubicBezTo>
                    <a:cubicBezTo>
                      <a:pt x="1092" y="4767"/>
                      <a:pt x="1088" y="4755"/>
                      <a:pt x="1083" y="4744"/>
                    </a:cubicBezTo>
                    <a:lnTo>
                      <a:pt x="1083" y="4718"/>
                    </a:lnTo>
                    <a:cubicBezTo>
                      <a:pt x="1080" y="4709"/>
                      <a:pt x="1077" y="4701"/>
                      <a:pt x="1074" y="4692"/>
                    </a:cubicBezTo>
                    <a:lnTo>
                      <a:pt x="1065" y="4692"/>
                    </a:lnTo>
                    <a:cubicBezTo>
                      <a:pt x="1060" y="4701"/>
                      <a:pt x="1056" y="4709"/>
                      <a:pt x="1051" y="4718"/>
                    </a:cubicBezTo>
                    <a:cubicBezTo>
                      <a:pt x="1052" y="4709"/>
                      <a:pt x="1054" y="4701"/>
                      <a:pt x="1055" y="4692"/>
                    </a:cubicBezTo>
                    <a:lnTo>
                      <a:pt x="1055" y="4667"/>
                    </a:lnTo>
                    <a:cubicBezTo>
                      <a:pt x="1046" y="4653"/>
                      <a:pt x="1037" y="4638"/>
                      <a:pt x="1028" y="4624"/>
                    </a:cubicBezTo>
                    <a:lnTo>
                      <a:pt x="1005" y="4624"/>
                    </a:lnTo>
                    <a:cubicBezTo>
                      <a:pt x="996" y="4610"/>
                      <a:pt x="986" y="4595"/>
                      <a:pt x="977" y="4581"/>
                    </a:cubicBezTo>
                    <a:cubicBezTo>
                      <a:pt x="972" y="4590"/>
                      <a:pt x="968" y="4598"/>
                      <a:pt x="963" y="4607"/>
                    </a:cubicBezTo>
                    <a:lnTo>
                      <a:pt x="963" y="4632"/>
                    </a:lnTo>
                    <a:cubicBezTo>
                      <a:pt x="948" y="4661"/>
                      <a:pt x="932" y="4689"/>
                      <a:pt x="917" y="4718"/>
                    </a:cubicBezTo>
                    <a:cubicBezTo>
                      <a:pt x="908" y="4727"/>
                      <a:pt x="898" y="4735"/>
                      <a:pt x="889" y="4744"/>
                    </a:cubicBezTo>
                    <a:lnTo>
                      <a:pt x="880" y="4744"/>
                    </a:lnTo>
                    <a:cubicBezTo>
                      <a:pt x="874" y="4752"/>
                      <a:pt x="868" y="4761"/>
                      <a:pt x="862" y="4769"/>
                    </a:cubicBezTo>
                    <a:cubicBezTo>
                      <a:pt x="860" y="4778"/>
                      <a:pt x="859" y="4786"/>
                      <a:pt x="857" y="4795"/>
                    </a:cubicBezTo>
                    <a:cubicBezTo>
                      <a:pt x="848" y="4812"/>
                      <a:pt x="838" y="4829"/>
                      <a:pt x="829" y="4846"/>
                    </a:cubicBezTo>
                    <a:cubicBezTo>
                      <a:pt x="825" y="4849"/>
                      <a:pt x="820" y="4852"/>
                      <a:pt x="816" y="4855"/>
                    </a:cubicBezTo>
                    <a:lnTo>
                      <a:pt x="816" y="4940"/>
                    </a:lnTo>
                    <a:cubicBezTo>
                      <a:pt x="837" y="5020"/>
                      <a:pt x="859" y="5099"/>
                      <a:pt x="880" y="5179"/>
                    </a:cubicBezTo>
                    <a:lnTo>
                      <a:pt x="880" y="5188"/>
                    </a:lnTo>
                    <a:cubicBezTo>
                      <a:pt x="874" y="5182"/>
                      <a:pt x="868" y="5177"/>
                      <a:pt x="862" y="5171"/>
                    </a:cubicBezTo>
                    <a:lnTo>
                      <a:pt x="857" y="5171"/>
                    </a:lnTo>
                    <a:cubicBezTo>
                      <a:pt x="845" y="5162"/>
                      <a:pt x="832" y="5154"/>
                      <a:pt x="820" y="5145"/>
                    </a:cubicBezTo>
                    <a:lnTo>
                      <a:pt x="820" y="5154"/>
                    </a:lnTo>
                    <a:cubicBezTo>
                      <a:pt x="819" y="5160"/>
                      <a:pt x="817" y="5165"/>
                      <a:pt x="816" y="5171"/>
                    </a:cubicBezTo>
                    <a:cubicBezTo>
                      <a:pt x="805" y="5162"/>
                      <a:pt x="794" y="5154"/>
                      <a:pt x="783" y="5145"/>
                    </a:cubicBezTo>
                    <a:lnTo>
                      <a:pt x="756" y="5103"/>
                    </a:lnTo>
                    <a:lnTo>
                      <a:pt x="742" y="5103"/>
                    </a:lnTo>
                    <a:cubicBezTo>
                      <a:pt x="737" y="5100"/>
                      <a:pt x="733" y="5097"/>
                      <a:pt x="728" y="5094"/>
                    </a:cubicBezTo>
                    <a:cubicBezTo>
                      <a:pt x="722" y="5103"/>
                      <a:pt x="716" y="5111"/>
                      <a:pt x="710" y="5120"/>
                    </a:cubicBezTo>
                    <a:cubicBezTo>
                      <a:pt x="707" y="5128"/>
                      <a:pt x="703" y="5137"/>
                      <a:pt x="700" y="5145"/>
                    </a:cubicBezTo>
                    <a:cubicBezTo>
                      <a:pt x="699" y="5131"/>
                      <a:pt x="697" y="5117"/>
                      <a:pt x="696" y="5103"/>
                    </a:cubicBezTo>
                    <a:cubicBezTo>
                      <a:pt x="702" y="5094"/>
                      <a:pt x="708" y="5086"/>
                      <a:pt x="714" y="5077"/>
                    </a:cubicBezTo>
                    <a:lnTo>
                      <a:pt x="682" y="5068"/>
                    </a:lnTo>
                    <a:cubicBezTo>
                      <a:pt x="679" y="5057"/>
                      <a:pt x="676" y="5045"/>
                      <a:pt x="673" y="5034"/>
                    </a:cubicBezTo>
                    <a:lnTo>
                      <a:pt x="636" y="4991"/>
                    </a:lnTo>
                    <a:cubicBezTo>
                      <a:pt x="631" y="4988"/>
                      <a:pt x="627" y="4986"/>
                      <a:pt x="622" y="4983"/>
                    </a:cubicBezTo>
                    <a:lnTo>
                      <a:pt x="622" y="5034"/>
                    </a:lnTo>
                    <a:cubicBezTo>
                      <a:pt x="617" y="5040"/>
                      <a:pt x="613" y="5045"/>
                      <a:pt x="608" y="5051"/>
                    </a:cubicBezTo>
                    <a:cubicBezTo>
                      <a:pt x="603" y="5057"/>
                      <a:pt x="599" y="5062"/>
                      <a:pt x="594" y="5068"/>
                    </a:cubicBezTo>
                    <a:cubicBezTo>
                      <a:pt x="599" y="5085"/>
                      <a:pt x="603" y="5103"/>
                      <a:pt x="608" y="5120"/>
                    </a:cubicBezTo>
                    <a:cubicBezTo>
                      <a:pt x="610" y="5123"/>
                      <a:pt x="611" y="5125"/>
                      <a:pt x="613" y="5128"/>
                    </a:cubicBezTo>
                    <a:cubicBezTo>
                      <a:pt x="618" y="5145"/>
                      <a:pt x="622" y="5162"/>
                      <a:pt x="627" y="5179"/>
                    </a:cubicBezTo>
                    <a:cubicBezTo>
                      <a:pt x="635" y="5191"/>
                      <a:pt x="642" y="5202"/>
                      <a:pt x="650" y="5214"/>
                    </a:cubicBezTo>
                    <a:cubicBezTo>
                      <a:pt x="662" y="5205"/>
                      <a:pt x="675" y="5197"/>
                      <a:pt x="687" y="5188"/>
                    </a:cubicBezTo>
                    <a:cubicBezTo>
                      <a:pt x="691" y="5234"/>
                      <a:pt x="696" y="5279"/>
                      <a:pt x="700" y="5325"/>
                    </a:cubicBezTo>
                    <a:cubicBezTo>
                      <a:pt x="703" y="5333"/>
                      <a:pt x="707" y="5342"/>
                      <a:pt x="710" y="5350"/>
                    </a:cubicBezTo>
                    <a:cubicBezTo>
                      <a:pt x="702" y="5342"/>
                      <a:pt x="695" y="5333"/>
                      <a:pt x="687" y="5325"/>
                    </a:cubicBezTo>
                    <a:cubicBezTo>
                      <a:pt x="681" y="5333"/>
                      <a:pt x="674" y="5342"/>
                      <a:pt x="668" y="5350"/>
                    </a:cubicBezTo>
                    <a:lnTo>
                      <a:pt x="668" y="5368"/>
                    </a:lnTo>
                    <a:lnTo>
                      <a:pt x="668" y="5376"/>
                    </a:lnTo>
                    <a:lnTo>
                      <a:pt x="581" y="5316"/>
                    </a:lnTo>
                    <a:cubicBezTo>
                      <a:pt x="576" y="5299"/>
                      <a:pt x="572" y="5282"/>
                      <a:pt x="567" y="5265"/>
                    </a:cubicBezTo>
                    <a:cubicBezTo>
                      <a:pt x="565" y="5262"/>
                      <a:pt x="564" y="5259"/>
                      <a:pt x="562" y="5256"/>
                    </a:cubicBezTo>
                    <a:cubicBezTo>
                      <a:pt x="557" y="5248"/>
                      <a:pt x="553" y="5239"/>
                      <a:pt x="548" y="5231"/>
                    </a:cubicBezTo>
                    <a:cubicBezTo>
                      <a:pt x="544" y="5225"/>
                      <a:pt x="539" y="5220"/>
                      <a:pt x="535" y="5214"/>
                    </a:cubicBezTo>
                    <a:cubicBezTo>
                      <a:pt x="532" y="5220"/>
                      <a:pt x="528" y="5225"/>
                      <a:pt x="525" y="5231"/>
                    </a:cubicBezTo>
                    <a:lnTo>
                      <a:pt x="521" y="5231"/>
                    </a:lnTo>
                    <a:cubicBezTo>
                      <a:pt x="512" y="5222"/>
                      <a:pt x="502" y="5214"/>
                      <a:pt x="493" y="5205"/>
                    </a:cubicBezTo>
                    <a:cubicBezTo>
                      <a:pt x="491" y="5196"/>
                      <a:pt x="490" y="5188"/>
                      <a:pt x="488" y="5179"/>
                    </a:cubicBezTo>
                    <a:cubicBezTo>
                      <a:pt x="484" y="5182"/>
                      <a:pt x="479" y="5185"/>
                      <a:pt x="475" y="5188"/>
                    </a:cubicBezTo>
                    <a:lnTo>
                      <a:pt x="475" y="5171"/>
                    </a:lnTo>
                    <a:cubicBezTo>
                      <a:pt x="479" y="5165"/>
                      <a:pt x="484" y="5160"/>
                      <a:pt x="488" y="5154"/>
                    </a:cubicBezTo>
                    <a:lnTo>
                      <a:pt x="488" y="5068"/>
                    </a:lnTo>
                    <a:cubicBezTo>
                      <a:pt x="484" y="5062"/>
                      <a:pt x="479" y="5057"/>
                      <a:pt x="475" y="5051"/>
                    </a:cubicBezTo>
                    <a:lnTo>
                      <a:pt x="475" y="5017"/>
                    </a:lnTo>
                    <a:cubicBezTo>
                      <a:pt x="467" y="4989"/>
                      <a:pt x="460" y="4960"/>
                      <a:pt x="452" y="4932"/>
                    </a:cubicBezTo>
                    <a:cubicBezTo>
                      <a:pt x="455" y="4926"/>
                      <a:pt x="458" y="4921"/>
                      <a:pt x="461" y="4915"/>
                    </a:cubicBezTo>
                    <a:cubicBezTo>
                      <a:pt x="466" y="4912"/>
                      <a:pt x="470" y="4909"/>
                      <a:pt x="475" y="4906"/>
                    </a:cubicBezTo>
                    <a:cubicBezTo>
                      <a:pt x="476" y="4872"/>
                      <a:pt x="478" y="4837"/>
                      <a:pt x="479" y="4803"/>
                    </a:cubicBezTo>
                    <a:lnTo>
                      <a:pt x="479" y="4778"/>
                    </a:lnTo>
                    <a:cubicBezTo>
                      <a:pt x="478" y="4772"/>
                      <a:pt x="476" y="4767"/>
                      <a:pt x="475" y="4761"/>
                    </a:cubicBezTo>
                    <a:cubicBezTo>
                      <a:pt x="472" y="4747"/>
                      <a:pt x="468" y="4732"/>
                      <a:pt x="465" y="4718"/>
                    </a:cubicBezTo>
                    <a:cubicBezTo>
                      <a:pt x="464" y="4715"/>
                      <a:pt x="462" y="4712"/>
                      <a:pt x="461" y="4709"/>
                    </a:cubicBezTo>
                    <a:cubicBezTo>
                      <a:pt x="455" y="4703"/>
                      <a:pt x="448" y="4698"/>
                      <a:pt x="442" y="4692"/>
                    </a:cubicBezTo>
                    <a:cubicBezTo>
                      <a:pt x="439" y="4684"/>
                      <a:pt x="436" y="4675"/>
                      <a:pt x="433" y="4667"/>
                    </a:cubicBezTo>
                    <a:lnTo>
                      <a:pt x="419" y="4667"/>
                    </a:lnTo>
                    <a:lnTo>
                      <a:pt x="401" y="4658"/>
                    </a:lnTo>
                    <a:lnTo>
                      <a:pt x="401" y="4624"/>
                    </a:lnTo>
                    <a:lnTo>
                      <a:pt x="401" y="4607"/>
                    </a:lnTo>
                    <a:lnTo>
                      <a:pt x="378" y="4607"/>
                    </a:lnTo>
                    <a:cubicBezTo>
                      <a:pt x="366" y="4581"/>
                      <a:pt x="353" y="4556"/>
                      <a:pt x="341" y="4530"/>
                    </a:cubicBezTo>
                    <a:cubicBezTo>
                      <a:pt x="343" y="4527"/>
                      <a:pt x="344" y="4524"/>
                      <a:pt x="346" y="4521"/>
                    </a:cubicBezTo>
                    <a:cubicBezTo>
                      <a:pt x="341" y="4510"/>
                      <a:pt x="337" y="4498"/>
                      <a:pt x="332" y="4487"/>
                    </a:cubicBezTo>
                    <a:cubicBezTo>
                      <a:pt x="330" y="4479"/>
                      <a:pt x="329" y="4470"/>
                      <a:pt x="327" y="4462"/>
                    </a:cubicBezTo>
                    <a:cubicBezTo>
                      <a:pt x="322" y="4453"/>
                      <a:pt x="318" y="4445"/>
                      <a:pt x="313" y="4436"/>
                    </a:cubicBezTo>
                    <a:cubicBezTo>
                      <a:pt x="309" y="4430"/>
                      <a:pt x="304" y="4425"/>
                      <a:pt x="300" y="4419"/>
                    </a:cubicBezTo>
                    <a:cubicBezTo>
                      <a:pt x="303" y="4410"/>
                      <a:pt x="306" y="4402"/>
                      <a:pt x="309" y="4393"/>
                    </a:cubicBezTo>
                    <a:cubicBezTo>
                      <a:pt x="317" y="4390"/>
                      <a:pt x="324" y="4388"/>
                      <a:pt x="332" y="4385"/>
                    </a:cubicBezTo>
                    <a:cubicBezTo>
                      <a:pt x="340" y="4396"/>
                      <a:pt x="347" y="4408"/>
                      <a:pt x="355" y="4419"/>
                    </a:cubicBezTo>
                    <a:lnTo>
                      <a:pt x="355" y="4444"/>
                    </a:lnTo>
                    <a:cubicBezTo>
                      <a:pt x="360" y="4453"/>
                      <a:pt x="364" y="4461"/>
                      <a:pt x="369" y="4470"/>
                    </a:cubicBezTo>
                    <a:cubicBezTo>
                      <a:pt x="380" y="4487"/>
                      <a:pt x="390" y="4504"/>
                      <a:pt x="401" y="4521"/>
                    </a:cubicBezTo>
                    <a:cubicBezTo>
                      <a:pt x="403" y="4518"/>
                      <a:pt x="404" y="4516"/>
                      <a:pt x="406" y="4513"/>
                    </a:cubicBezTo>
                    <a:lnTo>
                      <a:pt x="406" y="4496"/>
                    </a:lnTo>
                    <a:cubicBezTo>
                      <a:pt x="410" y="4504"/>
                      <a:pt x="415" y="4513"/>
                      <a:pt x="419" y="4521"/>
                    </a:cubicBezTo>
                    <a:cubicBezTo>
                      <a:pt x="422" y="4524"/>
                      <a:pt x="426" y="4527"/>
                      <a:pt x="429" y="4530"/>
                    </a:cubicBezTo>
                    <a:cubicBezTo>
                      <a:pt x="430" y="4527"/>
                      <a:pt x="432" y="4524"/>
                      <a:pt x="433" y="4521"/>
                    </a:cubicBezTo>
                    <a:lnTo>
                      <a:pt x="442" y="4530"/>
                    </a:lnTo>
                    <a:cubicBezTo>
                      <a:pt x="444" y="4527"/>
                      <a:pt x="445" y="4524"/>
                      <a:pt x="447" y="4521"/>
                    </a:cubicBezTo>
                    <a:lnTo>
                      <a:pt x="452" y="4521"/>
                    </a:lnTo>
                    <a:cubicBezTo>
                      <a:pt x="455" y="4538"/>
                      <a:pt x="458" y="4556"/>
                      <a:pt x="461" y="4573"/>
                    </a:cubicBezTo>
                    <a:cubicBezTo>
                      <a:pt x="467" y="4567"/>
                      <a:pt x="473" y="4562"/>
                      <a:pt x="479" y="4556"/>
                    </a:cubicBezTo>
                    <a:cubicBezTo>
                      <a:pt x="487" y="4562"/>
                      <a:pt x="494" y="4567"/>
                      <a:pt x="502" y="4573"/>
                    </a:cubicBezTo>
                    <a:cubicBezTo>
                      <a:pt x="504" y="4581"/>
                      <a:pt x="505" y="4590"/>
                      <a:pt x="507" y="4598"/>
                    </a:cubicBezTo>
                    <a:lnTo>
                      <a:pt x="525" y="4598"/>
                    </a:lnTo>
                    <a:cubicBezTo>
                      <a:pt x="528" y="4607"/>
                      <a:pt x="532" y="4615"/>
                      <a:pt x="535" y="4624"/>
                    </a:cubicBezTo>
                    <a:cubicBezTo>
                      <a:pt x="555" y="4635"/>
                      <a:pt x="574" y="4647"/>
                      <a:pt x="594" y="4658"/>
                    </a:cubicBezTo>
                    <a:lnTo>
                      <a:pt x="627" y="4658"/>
                    </a:lnTo>
                    <a:cubicBezTo>
                      <a:pt x="636" y="4667"/>
                      <a:pt x="645" y="4675"/>
                      <a:pt x="654" y="4684"/>
                    </a:cubicBezTo>
                    <a:cubicBezTo>
                      <a:pt x="659" y="4692"/>
                      <a:pt x="663" y="4701"/>
                      <a:pt x="668" y="4709"/>
                    </a:cubicBezTo>
                    <a:lnTo>
                      <a:pt x="747" y="4718"/>
                    </a:lnTo>
                    <a:cubicBezTo>
                      <a:pt x="751" y="4715"/>
                      <a:pt x="756" y="4712"/>
                      <a:pt x="760" y="4709"/>
                    </a:cubicBezTo>
                    <a:cubicBezTo>
                      <a:pt x="765" y="4703"/>
                      <a:pt x="769" y="4698"/>
                      <a:pt x="774" y="4692"/>
                    </a:cubicBezTo>
                    <a:lnTo>
                      <a:pt x="829" y="4658"/>
                    </a:lnTo>
                    <a:cubicBezTo>
                      <a:pt x="854" y="4604"/>
                      <a:pt x="878" y="4550"/>
                      <a:pt x="903" y="4496"/>
                    </a:cubicBezTo>
                    <a:cubicBezTo>
                      <a:pt x="908" y="4459"/>
                      <a:pt x="912" y="4422"/>
                      <a:pt x="917" y="4385"/>
                    </a:cubicBezTo>
                    <a:cubicBezTo>
                      <a:pt x="912" y="4382"/>
                      <a:pt x="908" y="4379"/>
                      <a:pt x="903" y="4376"/>
                    </a:cubicBezTo>
                    <a:lnTo>
                      <a:pt x="903" y="4376"/>
                    </a:lnTo>
                    <a:cubicBezTo>
                      <a:pt x="898" y="4330"/>
                      <a:pt x="894" y="4285"/>
                      <a:pt x="889" y="4239"/>
                    </a:cubicBezTo>
                    <a:cubicBezTo>
                      <a:pt x="886" y="4231"/>
                      <a:pt x="883" y="4222"/>
                      <a:pt x="880" y="4214"/>
                    </a:cubicBezTo>
                    <a:cubicBezTo>
                      <a:pt x="874" y="4205"/>
                      <a:pt x="868" y="4197"/>
                      <a:pt x="862" y="4188"/>
                    </a:cubicBezTo>
                    <a:cubicBezTo>
                      <a:pt x="860" y="4191"/>
                      <a:pt x="859" y="4194"/>
                      <a:pt x="857" y="4197"/>
                    </a:cubicBezTo>
                    <a:lnTo>
                      <a:pt x="848" y="4188"/>
                    </a:lnTo>
                    <a:lnTo>
                      <a:pt x="848" y="4162"/>
                    </a:lnTo>
                    <a:cubicBezTo>
                      <a:pt x="842" y="4148"/>
                      <a:pt x="835" y="4134"/>
                      <a:pt x="829" y="4120"/>
                    </a:cubicBezTo>
                    <a:cubicBezTo>
                      <a:pt x="826" y="4114"/>
                      <a:pt x="823" y="4109"/>
                      <a:pt x="820" y="4103"/>
                    </a:cubicBezTo>
                    <a:cubicBezTo>
                      <a:pt x="815" y="4094"/>
                      <a:pt x="811" y="4086"/>
                      <a:pt x="806" y="4077"/>
                    </a:cubicBezTo>
                    <a:cubicBezTo>
                      <a:pt x="809" y="4088"/>
                      <a:pt x="813" y="4100"/>
                      <a:pt x="816" y="4111"/>
                    </a:cubicBezTo>
                    <a:lnTo>
                      <a:pt x="802" y="4111"/>
                    </a:lnTo>
                    <a:cubicBezTo>
                      <a:pt x="791" y="4094"/>
                      <a:pt x="781" y="4077"/>
                      <a:pt x="770" y="4060"/>
                    </a:cubicBezTo>
                    <a:cubicBezTo>
                      <a:pt x="767" y="4066"/>
                      <a:pt x="763" y="4071"/>
                      <a:pt x="760" y="4077"/>
                    </a:cubicBezTo>
                    <a:lnTo>
                      <a:pt x="760" y="4060"/>
                    </a:lnTo>
                    <a:cubicBezTo>
                      <a:pt x="759" y="4051"/>
                      <a:pt x="757" y="4043"/>
                      <a:pt x="756" y="4034"/>
                    </a:cubicBezTo>
                    <a:cubicBezTo>
                      <a:pt x="751" y="4023"/>
                      <a:pt x="747" y="4011"/>
                      <a:pt x="742" y="4000"/>
                    </a:cubicBezTo>
                    <a:cubicBezTo>
                      <a:pt x="744" y="4011"/>
                      <a:pt x="745" y="4023"/>
                      <a:pt x="747" y="4034"/>
                    </a:cubicBezTo>
                    <a:cubicBezTo>
                      <a:pt x="739" y="4031"/>
                      <a:pt x="732" y="4029"/>
                      <a:pt x="724" y="4026"/>
                    </a:cubicBezTo>
                    <a:cubicBezTo>
                      <a:pt x="721" y="4017"/>
                      <a:pt x="717" y="4009"/>
                      <a:pt x="714" y="4000"/>
                    </a:cubicBezTo>
                    <a:lnTo>
                      <a:pt x="714" y="3983"/>
                    </a:lnTo>
                    <a:lnTo>
                      <a:pt x="553" y="3726"/>
                    </a:lnTo>
                    <a:cubicBezTo>
                      <a:pt x="538" y="3723"/>
                      <a:pt x="522" y="3721"/>
                      <a:pt x="507" y="3718"/>
                    </a:cubicBezTo>
                    <a:cubicBezTo>
                      <a:pt x="510" y="3721"/>
                      <a:pt x="513" y="3723"/>
                      <a:pt x="516" y="3726"/>
                    </a:cubicBezTo>
                    <a:lnTo>
                      <a:pt x="507" y="3735"/>
                    </a:lnTo>
                    <a:lnTo>
                      <a:pt x="502" y="3735"/>
                    </a:lnTo>
                    <a:lnTo>
                      <a:pt x="419" y="3675"/>
                    </a:lnTo>
                    <a:lnTo>
                      <a:pt x="419" y="3692"/>
                    </a:lnTo>
                    <a:lnTo>
                      <a:pt x="401" y="3701"/>
                    </a:lnTo>
                    <a:cubicBezTo>
                      <a:pt x="396" y="3707"/>
                      <a:pt x="392" y="3712"/>
                      <a:pt x="387" y="3718"/>
                    </a:cubicBezTo>
                    <a:lnTo>
                      <a:pt x="387" y="3692"/>
                    </a:lnTo>
                    <a:cubicBezTo>
                      <a:pt x="384" y="3686"/>
                      <a:pt x="381" y="3681"/>
                      <a:pt x="378" y="3675"/>
                    </a:cubicBezTo>
                    <a:lnTo>
                      <a:pt x="378" y="3650"/>
                    </a:lnTo>
                    <a:lnTo>
                      <a:pt x="378" y="3650"/>
                    </a:lnTo>
                    <a:cubicBezTo>
                      <a:pt x="370" y="3658"/>
                      <a:pt x="363" y="3667"/>
                      <a:pt x="355" y="3675"/>
                    </a:cubicBezTo>
                    <a:cubicBezTo>
                      <a:pt x="356" y="3664"/>
                      <a:pt x="358" y="3652"/>
                      <a:pt x="359" y="3641"/>
                    </a:cubicBezTo>
                    <a:cubicBezTo>
                      <a:pt x="355" y="3644"/>
                      <a:pt x="350" y="3647"/>
                      <a:pt x="346" y="3650"/>
                    </a:cubicBezTo>
                    <a:cubicBezTo>
                      <a:pt x="349" y="3641"/>
                      <a:pt x="352" y="3633"/>
                      <a:pt x="355" y="3624"/>
                    </a:cubicBezTo>
                    <a:lnTo>
                      <a:pt x="346" y="3624"/>
                    </a:lnTo>
                    <a:lnTo>
                      <a:pt x="341" y="3624"/>
                    </a:lnTo>
                    <a:cubicBezTo>
                      <a:pt x="333" y="3630"/>
                      <a:pt x="326" y="3635"/>
                      <a:pt x="318" y="3641"/>
                    </a:cubicBezTo>
                    <a:cubicBezTo>
                      <a:pt x="321" y="3635"/>
                      <a:pt x="324" y="3630"/>
                      <a:pt x="327" y="3624"/>
                    </a:cubicBezTo>
                    <a:lnTo>
                      <a:pt x="318" y="3615"/>
                    </a:lnTo>
                    <a:lnTo>
                      <a:pt x="318" y="3598"/>
                    </a:lnTo>
                    <a:lnTo>
                      <a:pt x="300" y="3598"/>
                    </a:lnTo>
                    <a:lnTo>
                      <a:pt x="309" y="3538"/>
                    </a:lnTo>
                    <a:cubicBezTo>
                      <a:pt x="310" y="3547"/>
                      <a:pt x="312" y="3555"/>
                      <a:pt x="313" y="3564"/>
                    </a:cubicBezTo>
                    <a:cubicBezTo>
                      <a:pt x="315" y="3570"/>
                      <a:pt x="316" y="3575"/>
                      <a:pt x="318" y="3581"/>
                    </a:cubicBezTo>
                    <a:cubicBezTo>
                      <a:pt x="321" y="3575"/>
                      <a:pt x="324" y="3570"/>
                      <a:pt x="327" y="3564"/>
                    </a:cubicBezTo>
                    <a:cubicBezTo>
                      <a:pt x="329" y="3573"/>
                      <a:pt x="330" y="3581"/>
                      <a:pt x="332" y="3590"/>
                    </a:cubicBezTo>
                    <a:lnTo>
                      <a:pt x="346" y="3590"/>
                    </a:lnTo>
                    <a:lnTo>
                      <a:pt x="355" y="3590"/>
                    </a:lnTo>
                    <a:cubicBezTo>
                      <a:pt x="360" y="3579"/>
                      <a:pt x="364" y="3567"/>
                      <a:pt x="369" y="3556"/>
                    </a:cubicBezTo>
                    <a:lnTo>
                      <a:pt x="369" y="3538"/>
                    </a:lnTo>
                    <a:cubicBezTo>
                      <a:pt x="361" y="3530"/>
                      <a:pt x="354" y="3521"/>
                      <a:pt x="346" y="3513"/>
                    </a:cubicBezTo>
                    <a:cubicBezTo>
                      <a:pt x="344" y="3519"/>
                      <a:pt x="343" y="3524"/>
                      <a:pt x="341" y="3530"/>
                    </a:cubicBezTo>
                    <a:cubicBezTo>
                      <a:pt x="336" y="3524"/>
                      <a:pt x="332" y="3519"/>
                      <a:pt x="327" y="3513"/>
                    </a:cubicBezTo>
                    <a:lnTo>
                      <a:pt x="327" y="3504"/>
                    </a:lnTo>
                    <a:cubicBezTo>
                      <a:pt x="316" y="3490"/>
                      <a:pt x="306" y="3476"/>
                      <a:pt x="295" y="3462"/>
                    </a:cubicBezTo>
                    <a:cubicBezTo>
                      <a:pt x="297" y="3468"/>
                      <a:pt x="298" y="3473"/>
                      <a:pt x="300" y="3479"/>
                    </a:cubicBezTo>
                    <a:cubicBezTo>
                      <a:pt x="298" y="3490"/>
                      <a:pt x="297" y="3502"/>
                      <a:pt x="295" y="3513"/>
                    </a:cubicBezTo>
                    <a:lnTo>
                      <a:pt x="286" y="3513"/>
                    </a:lnTo>
                    <a:lnTo>
                      <a:pt x="281" y="3513"/>
                    </a:lnTo>
                    <a:lnTo>
                      <a:pt x="281" y="3530"/>
                    </a:lnTo>
                    <a:lnTo>
                      <a:pt x="281" y="3556"/>
                    </a:lnTo>
                    <a:cubicBezTo>
                      <a:pt x="278" y="3559"/>
                      <a:pt x="275" y="3561"/>
                      <a:pt x="272" y="3564"/>
                    </a:cubicBezTo>
                    <a:lnTo>
                      <a:pt x="267" y="3564"/>
                    </a:lnTo>
                    <a:cubicBezTo>
                      <a:pt x="262" y="3555"/>
                      <a:pt x="258" y="3547"/>
                      <a:pt x="253" y="3538"/>
                    </a:cubicBezTo>
                    <a:cubicBezTo>
                      <a:pt x="244" y="3530"/>
                      <a:pt x="235" y="3521"/>
                      <a:pt x="226" y="3513"/>
                    </a:cubicBezTo>
                    <a:lnTo>
                      <a:pt x="226" y="3530"/>
                    </a:lnTo>
                    <a:lnTo>
                      <a:pt x="226" y="3530"/>
                    </a:lnTo>
                    <a:lnTo>
                      <a:pt x="226" y="3530"/>
                    </a:lnTo>
                    <a:lnTo>
                      <a:pt x="226" y="3556"/>
                    </a:lnTo>
                    <a:cubicBezTo>
                      <a:pt x="224" y="3570"/>
                      <a:pt x="223" y="3584"/>
                      <a:pt x="221" y="3598"/>
                    </a:cubicBezTo>
                    <a:lnTo>
                      <a:pt x="207" y="3598"/>
                    </a:lnTo>
                    <a:cubicBezTo>
                      <a:pt x="198" y="3592"/>
                      <a:pt x="189" y="3587"/>
                      <a:pt x="180" y="3581"/>
                    </a:cubicBezTo>
                    <a:lnTo>
                      <a:pt x="171" y="3641"/>
                    </a:lnTo>
                    <a:cubicBezTo>
                      <a:pt x="169" y="3644"/>
                      <a:pt x="168" y="3647"/>
                      <a:pt x="166" y="3650"/>
                    </a:cubicBezTo>
                    <a:lnTo>
                      <a:pt x="124" y="3701"/>
                    </a:lnTo>
                    <a:lnTo>
                      <a:pt x="124" y="3718"/>
                    </a:lnTo>
                    <a:cubicBezTo>
                      <a:pt x="123" y="3724"/>
                      <a:pt x="121" y="3729"/>
                      <a:pt x="120" y="3735"/>
                    </a:cubicBezTo>
                    <a:lnTo>
                      <a:pt x="120" y="3735"/>
                    </a:lnTo>
                    <a:cubicBezTo>
                      <a:pt x="117" y="3744"/>
                      <a:pt x="114" y="3752"/>
                      <a:pt x="111" y="3761"/>
                    </a:cubicBezTo>
                    <a:lnTo>
                      <a:pt x="106" y="3761"/>
                    </a:lnTo>
                    <a:lnTo>
                      <a:pt x="106" y="3761"/>
                    </a:lnTo>
                    <a:cubicBezTo>
                      <a:pt x="95" y="3784"/>
                      <a:pt x="85" y="3806"/>
                      <a:pt x="74" y="3829"/>
                    </a:cubicBezTo>
                    <a:cubicBezTo>
                      <a:pt x="75" y="3832"/>
                      <a:pt x="77" y="3835"/>
                      <a:pt x="78" y="3838"/>
                    </a:cubicBezTo>
                    <a:cubicBezTo>
                      <a:pt x="81" y="3841"/>
                      <a:pt x="85" y="3843"/>
                      <a:pt x="88" y="3846"/>
                    </a:cubicBezTo>
                    <a:cubicBezTo>
                      <a:pt x="80" y="3872"/>
                      <a:pt x="73" y="3897"/>
                      <a:pt x="65" y="3923"/>
                    </a:cubicBezTo>
                    <a:cubicBezTo>
                      <a:pt x="69" y="3957"/>
                      <a:pt x="74" y="3992"/>
                      <a:pt x="78" y="4026"/>
                    </a:cubicBezTo>
                    <a:cubicBezTo>
                      <a:pt x="81" y="4034"/>
                      <a:pt x="85" y="4043"/>
                      <a:pt x="88" y="4051"/>
                    </a:cubicBezTo>
                    <a:cubicBezTo>
                      <a:pt x="89" y="4054"/>
                      <a:pt x="91" y="4057"/>
                      <a:pt x="92" y="4060"/>
                    </a:cubicBezTo>
                    <a:lnTo>
                      <a:pt x="111" y="4060"/>
                    </a:lnTo>
                    <a:cubicBezTo>
                      <a:pt x="115" y="4068"/>
                      <a:pt x="120" y="4077"/>
                      <a:pt x="124" y="4085"/>
                    </a:cubicBezTo>
                    <a:cubicBezTo>
                      <a:pt x="138" y="4122"/>
                      <a:pt x="152" y="4160"/>
                      <a:pt x="166" y="4197"/>
                    </a:cubicBezTo>
                    <a:lnTo>
                      <a:pt x="166" y="4248"/>
                    </a:lnTo>
                    <a:cubicBezTo>
                      <a:pt x="151" y="4319"/>
                      <a:pt x="135" y="4391"/>
                      <a:pt x="120" y="4462"/>
                    </a:cubicBezTo>
                    <a:lnTo>
                      <a:pt x="120" y="4513"/>
                    </a:lnTo>
                    <a:cubicBezTo>
                      <a:pt x="140" y="4618"/>
                      <a:pt x="160" y="4724"/>
                      <a:pt x="180" y="4829"/>
                    </a:cubicBezTo>
                    <a:cubicBezTo>
                      <a:pt x="174" y="4838"/>
                      <a:pt x="167" y="4846"/>
                      <a:pt x="161" y="4855"/>
                    </a:cubicBezTo>
                    <a:cubicBezTo>
                      <a:pt x="158" y="4883"/>
                      <a:pt x="155" y="4912"/>
                      <a:pt x="152" y="4940"/>
                    </a:cubicBezTo>
                    <a:cubicBezTo>
                      <a:pt x="155" y="4949"/>
                      <a:pt x="158" y="4957"/>
                      <a:pt x="161" y="4966"/>
                    </a:cubicBezTo>
                    <a:lnTo>
                      <a:pt x="161" y="5009"/>
                    </a:lnTo>
                    <a:cubicBezTo>
                      <a:pt x="158" y="5017"/>
                      <a:pt x="155" y="5026"/>
                      <a:pt x="152" y="5034"/>
                    </a:cubicBezTo>
                    <a:lnTo>
                      <a:pt x="152" y="5077"/>
                    </a:lnTo>
                    <a:cubicBezTo>
                      <a:pt x="158" y="5083"/>
                      <a:pt x="165" y="5088"/>
                      <a:pt x="171" y="5094"/>
                    </a:cubicBezTo>
                    <a:cubicBezTo>
                      <a:pt x="174" y="5105"/>
                      <a:pt x="177" y="5117"/>
                      <a:pt x="180" y="5128"/>
                    </a:cubicBezTo>
                    <a:lnTo>
                      <a:pt x="180" y="5171"/>
                    </a:lnTo>
                    <a:cubicBezTo>
                      <a:pt x="181" y="5182"/>
                      <a:pt x="183" y="5194"/>
                      <a:pt x="184" y="5205"/>
                    </a:cubicBezTo>
                    <a:cubicBezTo>
                      <a:pt x="192" y="5216"/>
                      <a:pt x="199" y="5228"/>
                      <a:pt x="207" y="5239"/>
                    </a:cubicBezTo>
                    <a:lnTo>
                      <a:pt x="207" y="5282"/>
                    </a:lnTo>
                    <a:lnTo>
                      <a:pt x="180" y="5393"/>
                    </a:lnTo>
                    <a:cubicBezTo>
                      <a:pt x="185" y="5404"/>
                      <a:pt x="189" y="5416"/>
                      <a:pt x="194" y="5427"/>
                    </a:cubicBezTo>
                    <a:cubicBezTo>
                      <a:pt x="195" y="5439"/>
                      <a:pt x="197" y="5450"/>
                      <a:pt x="198" y="5462"/>
                    </a:cubicBezTo>
                    <a:cubicBezTo>
                      <a:pt x="210" y="5479"/>
                      <a:pt x="223" y="5496"/>
                      <a:pt x="235" y="5513"/>
                    </a:cubicBezTo>
                    <a:cubicBezTo>
                      <a:pt x="237" y="5527"/>
                      <a:pt x="238" y="5542"/>
                      <a:pt x="240" y="5556"/>
                    </a:cubicBezTo>
                    <a:cubicBezTo>
                      <a:pt x="244" y="5567"/>
                      <a:pt x="249" y="5579"/>
                      <a:pt x="253" y="5590"/>
                    </a:cubicBezTo>
                    <a:cubicBezTo>
                      <a:pt x="255" y="5584"/>
                      <a:pt x="256" y="5579"/>
                      <a:pt x="258" y="5573"/>
                    </a:cubicBezTo>
                    <a:lnTo>
                      <a:pt x="258" y="5667"/>
                    </a:lnTo>
                    <a:lnTo>
                      <a:pt x="14" y="6214"/>
                    </a:lnTo>
                    <a:lnTo>
                      <a:pt x="14" y="6214"/>
                    </a:lnTo>
                    <a:lnTo>
                      <a:pt x="37" y="6214"/>
                    </a:lnTo>
                    <a:cubicBezTo>
                      <a:pt x="42" y="6205"/>
                      <a:pt x="46" y="6197"/>
                      <a:pt x="51" y="6188"/>
                    </a:cubicBezTo>
                    <a:cubicBezTo>
                      <a:pt x="60" y="6179"/>
                      <a:pt x="69" y="6171"/>
                      <a:pt x="78" y="6162"/>
                    </a:cubicBezTo>
                    <a:lnTo>
                      <a:pt x="78" y="6188"/>
                    </a:lnTo>
                    <a:cubicBezTo>
                      <a:pt x="77" y="6191"/>
                      <a:pt x="75" y="6194"/>
                      <a:pt x="74" y="6197"/>
                    </a:cubicBezTo>
                    <a:lnTo>
                      <a:pt x="74" y="6231"/>
                    </a:lnTo>
                    <a:lnTo>
                      <a:pt x="74" y="6214"/>
                    </a:lnTo>
                    <a:lnTo>
                      <a:pt x="65" y="6214"/>
                    </a:lnTo>
                    <a:lnTo>
                      <a:pt x="65" y="6248"/>
                    </a:lnTo>
                    <a:cubicBezTo>
                      <a:pt x="68" y="6251"/>
                      <a:pt x="71" y="6253"/>
                      <a:pt x="74" y="6256"/>
                    </a:cubicBezTo>
                    <a:lnTo>
                      <a:pt x="78" y="6256"/>
                    </a:lnTo>
                    <a:cubicBezTo>
                      <a:pt x="87" y="6273"/>
                      <a:pt x="97" y="6291"/>
                      <a:pt x="106" y="6308"/>
                    </a:cubicBezTo>
                    <a:lnTo>
                      <a:pt x="138" y="6299"/>
                    </a:lnTo>
                    <a:lnTo>
                      <a:pt x="152" y="6299"/>
                    </a:lnTo>
                    <a:cubicBezTo>
                      <a:pt x="157" y="6308"/>
                      <a:pt x="161" y="6316"/>
                      <a:pt x="166" y="6325"/>
                    </a:cubicBezTo>
                    <a:lnTo>
                      <a:pt x="166" y="6333"/>
                    </a:lnTo>
                    <a:cubicBezTo>
                      <a:pt x="168" y="6339"/>
                      <a:pt x="169" y="6344"/>
                      <a:pt x="171" y="6350"/>
                    </a:cubicBezTo>
                    <a:lnTo>
                      <a:pt x="180" y="6350"/>
                    </a:lnTo>
                    <a:lnTo>
                      <a:pt x="180" y="6359"/>
                    </a:lnTo>
                    <a:lnTo>
                      <a:pt x="171" y="6368"/>
                    </a:lnTo>
                    <a:lnTo>
                      <a:pt x="106" y="6350"/>
                    </a:lnTo>
                    <a:cubicBezTo>
                      <a:pt x="104" y="6353"/>
                      <a:pt x="103" y="6356"/>
                      <a:pt x="101" y="6359"/>
                    </a:cubicBezTo>
                    <a:lnTo>
                      <a:pt x="101" y="6385"/>
                    </a:lnTo>
                    <a:cubicBezTo>
                      <a:pt x="93" y="6388"/>
                      <a:pt x="86" y="6390"/>
                      <a:pt x="78" y="6393"/>
                    </a:cubicBezTo>
                    <a:cubicBezTo>
                      <a:pt x="77" y="6390"/>
                      <a:pt x="75" y="6388"/>
                      <a:pt x="74" y="6385"/>
                    </a:cubicBezTo>
                    <a:cubicBezTo>
                      <a:pt x="71" y="6388"/>
                      <a:pt x="68" y="6390"/>
                      <a:pt x="65" y="6393"/>
                    </a:cubicBezTo>
                    <a:cubicBezTo>
                      <a:pt x="63" y="6402"/>
                      <a:pt x="62" y="6410"/>
                      <a:pt x="60" y="6419"/>
                    </a:cubicBezTo>
                    <a:lnTo>
                      <a:pt x="51" y="6419"/>
                    </a:lnTo>
                    <a:cubicBezTo>
                      <a:pt x="49" y="6416"/>
                      <a:pt x="48" y="6413"/>
                      <a:pt x="46" y="6410"/>
                    </a:cubicBezTo>
                    <a:cubicBezTo>
                      <a:pt x="43" y="6404"/>
                      <a:pt x="40" y="6399"/>
                      <a:pt x="37" y="6393"/>
                    </a:cubicBezTo>
                    <a:cubicBezTo>
                      <a:pt x="35" y="6402"/>
                      <a:pt x="34" y="6410"/>
                      <a:pt x="32" y="6419"/>
                    </a:cubicBezTo>
                    <a:cubicBezTo>
                      <a:pt x="34" y="6433"/>
                      <a:pt x="35" y="6448"/>
                      <a:pt x="37" y="6462"/>
                    </a:cubicBezTo>
                    <a:lnTo>
                      <a:pt x="46" y="6462"/>
                    </a:lnTo>
                    <a:cubicBezTo>
                      <a:pt x="48" y="6465"/>
                      <a:pt x="49" y="6467"/>
                      <a:pt x="51" y="6470"/>
                    </a:cubicBezTo>
                    <a:lnTo>
                      <a:pt x="51" y="6496"/>
                    </a:lnTo>
                    <a:lnTo>
                      <a:pt x="51" y="6504"/>
                    </a:lnTo>
                    <a:cubicBezTo>
                      <a:pt x="46" y="6513"/>
                      <a:pt x="42" y="6521"/>
                      <a:pt x="37" y="6530"/>
                    </a:cubicBezTo>
                    <a:cubicBezTo>
                      <a:pt x="31" y="6553"/>
                      <a:pt x="24" y="6575"/>
                      <a:pt x="18" y="6598"/>
                    </a:cubicBezTo>
                    <a:cubicBezTo>
                      <a:pt x="21" y="6609"/>
                      <a:pt x="25" y="6621"/>
                      <a:pt x="28" y="6632"/>
                    </a:cubicBezTo>
                    <a:cubicBezTo>
                      <a:pt x="25" y="6644"/>
                      <a:pt x="21" y="6655"/>
                      <a:pt x="18" y="6667"/>
                    </a:cubicBezTo>
                    <a:cubicBezTo>
                      <a:pt x="21" y="6675"/>
                      <a:pt x="25" y="6684"/>
                      <a:pt x="28" y="6692"/>
                    </a:cubicBezTo>
                    <a:lnTo>
                      <a:pt x="28" y="6709"/>
                    </a:lnTo>
                    <a:cubicBezTo>
                      <a:pt x="25" y="6712"/>
                      <a:pt x="21" y="6715"/>
                      <a:pt x="18" y="6718"/>
                    </a:cubicBezTo>
                    <a:cubicBezTo>
                      <a:pt x="14" y="6727"/>
                      <a:pt x="9" y="6735"/>
                      <a:pt x="5" y="6744"/>
                    </a:cubicBezTo>
                    <a:cubicBezTo>
                      <a:pt x="3" y="6752"/>
                      <a:pt x="2" y="6761"/>
                      <a:pt x="0" y="6769"/>
                    </a:cubicBezTo>
                    <a:cubicBezTo>
                      <a:pt x="2" y="6772"/>
                      <a:pt x="3" y="6775"/>
                      <a:pt x="5" y="6778"/>
                    </a:cubicBezTo>
                    <a:lnTo>
                      <a:pt x="32" y="6778"/>
                    </a:lnTo>
                    <a:cubicBezTo>
                      <a:pt x="37" y="6792"/>
                      <a:pt x="41" y="6807"/>
                      <a:pt x="46" y="6821"/>
                    </a:cubicBezTo>
                    <a:lnTo>
                      <a:pt x="46" y="6855"/>
                    </a:lnTo>
                    <a:lnTo>
                      <a:pt x="32" y="6855"/>
                    </a:lnTo>
                    <a:cubicBezTo>
                      <a:pt x="26" y="6844"/>
                      <a:pt x="20" y="6832"/>
                      <a:pt x="14" y="6821"/>
                    </a:cubicBezTo>
                    <a:lnTo>
                      <a:pt x="14" y="6846"/>
                    </a:lnTo>
                    <a:cubicBezTo>
                      <a:pt x="9" y="6863"/>
                      <a:pt x="5" y="6880"/>
                      <a:pt x="0" y="6897"/>
                    </a:cubicBezTo>
                    <a:lnTo>
                      <a:pt x="0" y="6915"/>
                    </a:lnTo>
                    <a:cubicBezTo>
                      <a:pt x="2" y="6921"/>
                      <a:pt x="3" y="6926"/>
                      <a:pt x="5" y="6932"/>
                    </a:cubicBezTo>
                    <a:cubicBezTo>
                      <a:pt x="8" y="6935"/>
                      <a:pt x="11" y="6937"/>
                      <a:pt x="14" y="6940"/>
                    </a:cubicBezTo>
                    <a:cubicBezTo>
                      <a:pt x="15" y="6946"/>
                      <a:pt x="17" y="6951"/>
                      <a:pt x="18" y="6957"/>
                    </a:cubicBezTo>
                    <a:cubicBezTo>
                      <a:pt x="21" y="6960"/>
                      <a:pt x="25" y="6963"/>
                      <a:pt x="28" y="6966"/>
                    </a:cubicBezTo>
                    <a:lnTo>
                      <a:pt x="28" y="6983"/>
                    </a:lnTo>
                    <a:cubicBezTo>
                      <a:pt x="25" y="7006"/>
                      <a:pt x="21" y="7028"/>
                      <a:pt x="18" y="7051"/>
                    </a:cubicBezTo>
                    <a:cubicBezTo>
                      <a:pt x="21" y="7057"/>
                      <a:pt x="25" y="7062"/>
                      <a:pt x="28" y="7068"/>
                    </a:cubicBezTo>
                    <a:lnTo>
                      <a:pt x="32" y="7068"/>
                    </a:lnTo>
                    <a:lnTo>
                      <a:pt x="32" y="7094"/>
                    </a:lnTo>
                    <a:cubicBezTo>
                      <a:pt x="41" y="7117"/>
                      <a:pt x="51" y="7139"/>
                      <a:pt x="60" y="7162"/>
                    </a:cubicBezTo>
                    <a:lnTo>
                      <a:pt x="60" y="7231"/>
                    </a:lnTo>
                    <a:lnTo>
                      <a:pt x="60" y="7239"/>
                    </a:lnTo>
                    <a:lnTo>
                      <a:pt x="78" y="7239"/>
                    </a:lnTo>
                    <a:lnTo>
                      <a:pt x="88" y="7239"/>
                    </a:lnTo>
                    <a:cubicBezTo>
                      <a:pt x="89" y="7245"/>
                      <a:pt x="91" y="7250"/>
                      <a:pt x="92" y="7256"/>
                    </a:cubicBezTo>
                    <a:lnTo>
                      <a:pt x="111" y="7256"/>
                    </a:lnTo>
                    <a:lnTo>
                      <a:pt x="120" y="7256"/>
                    </a:lnTo>
                    <a:cubicBezTo>
                      <a:pt x="125" y="7265"/>
                      <a:pt x="129" y="7273"/>
                      <a:pt x="134" y="7282"/>
                    </a:cubicBezTo>
                    <a:lnTo>
                      <a:pt x="134" y="7316"/>
                    </a:lnTo>
                    <a:cubicBezTo>
                      <a:pt x="140" y="7310"/>
                      <a:pt x="146" y="7305"/>
                      <a:pt x="152" y="7299"/>
                    </a:cubicBezTo>
                    <a:lnTo>
                      <a:pt x="161" y="7299"/>
                    </a:lnTo>
                    <a:cubicBezTo>
                      <a:pt x="163" y="7296"/>
                      <a:pt x="164" y="7294"/>
                      <a:pt x="166" y="7291"/>
                    </a:cubicBezTo>
                    <a:lnTo>
                      <a:pt x="194" y="7291"/>
                    </a:lnTo>
                    <a:cubicBezTo>
                      <a:pt x="198" y="7294"/>
                      <a:pt x="203" y="7296"/>
                      <a:pt x="207" y="7299"/>
                    </a:cubicBezTo>
                    <a:cubicBezTo>
                      <a:pt x="212" y="7313"/>
                      <a:pt x="216" y="7328"/>
                      <a:pt x="221" y="7342"/>
                    </a:cubicBezTo>
                    <a:lnTo>
                      <a:pt x="235" y="7342"/>
                    </a:lnTo>
                    <a:lnTo>
                      <a:pt x="235" y="7368"/>
                    </a:lnTo>
                    <a:cubicBezTo>
                      <a:pt x="232" y="7376"/>
                      <a:pt x="229" y="7385"/>
                      <a:pt x="226" y="7393"/>
                    </a:cubicBezTo>
                    <a:lnTo>
                      <a:pt x="226" y="7402"/>
                    </a:lnTo>
                    <a:cubicBezTo>
                      <a:pt x="229" y="7408"/>
                      <a:pt x="232" y="7413"/>
                      <a:pt x="235" y="7419"/>
                    </a:cubicBezTo>
                    <a:cubicBezTo>
                      <a:pt x="237" y="7425"/>
                      <a:pt x="238" y="7430"/>
                      <a:pt x="240" y="7436"/>
                    </a:cubicBezTo>
                    <a:cubicBezTo>
                      <a:pt x="238" y="7445"/>
                      <a:pt x="237" y="7453"/>
                      <a:pt x="235" y="7462"/>
                    </a:cubicBezTo>
                    <a:cubicBezTo>
                      <a:pt x="232" y="7468"/>
                      <a:pt x="229" y="7473"/>
                      <a:pt x="226" y="7479"/>
                    </a:cubicBezTo>
                    <a:lnTo>
                      <a:pt x="226" y="7504"/>
                    </a:lnTo>
                    <a:lnTo>
                      <a:pt x="226" y="7513"/>
                    </a:lnTo>
                    <a:cubicBezTo>
                      <a:pt x="231" y="7521"/>
                      <a:pt x="235" y="7530"/>
                      <a:pt x="240" y="7538"/>
                    </a:cubicBezTo>
                    <a:cubicBezTo>
                      <a:pt x="249" y="7572"/>
                      <a:pt x="258" y="7607"/>
                      <a:pt x="267" y="7641"/>
                    </a:cubicBezTo>
                    <a:cubicBezTo>
                      <a:pt x="272" y="7650"/>
                      <a:pt x="276" y="7658"/>
                      <a:pt x="281" y="7667"/>
                    </a:cubicBezTo>
                    <a:cubicBezTo>
                      <a:pt x="283" y="7670"/>
                      <a:pt x="284" y="7672"/>
                      <a:pt x="286" y="7675"/>
                    </a:cubicBezTo>
                    <a:lnTo>
                      <a:pt x="286" y="7692"/>
                    </a:lnTo>
                    <a:lnTo>
                      <a:pt x="286" y="7709"/>
                    </a:lnTo>
                    <a:cubicBezTo>
                      <a:pt x="289" y="7715"/>
                      <a:pt x="292" y="7720"/>
                      <a:pt x="295" y="7726"/>
                    </a:cubicBezTo>
                    <a:cubicBezTo>
                      <a:pt x="303" y="7720"/>
                      <a:pt x="310" y="7715"/>
                      <a:pt x="318" y="7709"/>
                    </a:cubicBezTo>
                    <a:cubicBezTo>
                      <a:pt x="321" y="7715"/>
                      <a:pt x="324" y="7720"/>
                      <a:pt x="327" y="7726"/>
                    </a:cubicBezTo>
                    <a:cubicBezTo>
                      <a:pt x="332" y="7729"/>
                      <a:pt x="336" y="7732"/>
                      <a:pt x="341" y="7735"/>
                    </a:cubicBezTo>
                    <a:cubicBezTo>
                      <a:pt x="338" y="7741"/>
                      <a:pt x="335" y="7746"/>
                      <a:pt x="332" y="7752"/>
                    </a:cubicBezTo>
                    <a:lnTo>
                      <a:pt x="341" y="7761"/>
                    </a:lnTo>
                    <a:lnTo>
                      <a:pt x="355" y="7761"/>
                    </a:lnTo>
                    <a:lnTo>
                      <a:pt x="355" y="7803"/>
                    </a:lnTo>
                    <a:cubicBezTo>
                      <a:pt x="341" y="7817"/>
                      <a:pt x="327" y="7832"/>
                      <a:pt x="313" y="7846"/>
                    </a:cubicBezTo>
                    <a:lnTo>
                      <a:pt x="295" y="7846"/>
                    </a:lnTo>
                    <a:cubicBezTo>
                      <a:pt x="290" y="7838"/>
                      <a:pt x="286" y="7829"/>
                      <a:pt x="281" y="7821"/>
                    </a:cubicBezTo>
                    <a:lnTo>
                      <a:pt x="272" y="7821"/>
                    </a:lnTo>
                    <a:cubicBezTo>
                      <a:pt x="270" y="7827"/>
                      <a:pt x="269" y="7832"/>
                      <a:pt x="267" y="7838"/>
                    </a:cubicBezTo>
                    <a:cubicBezTo>
                      <a:pt x="264" y="7841"/>
                      <a:pt x="261" y="7843"/>
                      <a:pt x="258" y="7846"/>
                    </a:cubicBezTo>
                    <a:cubicBezTo>
                      <a:pt x="256" y="7852"/>
                      <a:pt x="255" y="7857"/>
                      <a:pt x="253" y="7863"/>
                    </a:cubicBezTo>
                    <a:lnTo>
                      <a:pt x="253" y="7872"/>
                    </a:lnTo>
                    <a:cubicBezTo>
                      <a:pt x="258" y="7880"/>
                      <a:pt x="262" y="7889"/>
                      <a:pt x="267" y="7897"/>
                    </a:cubicBezTo>
                    <a:cubicBezTo>
                      <a:pt x="269" y="7903"/>
                      <a:pt x="270" y="7909"/>
                      <a:pt x="272" y="7915"/>
                    </a:cubicBezTo>
                    <a:cubicBezTo>
                      <a:pt x="270" y="7923"/>
                      <a:pt x="269" y="7932"/>
                      <a:pt x="267" y="7940"/>
                    </a:cubicBezTo>
                    <a:cubicBezTo>
                      <a:pt x="269" y="7943"/>
                      <a:pt x="270" y="7946"/>
                      <a:pt x="272" y="7949"/>
                    </a:cubicBezTo>
                    <a:lnTo>
                      <a:pt x="272" y="7957"/>
                    </a:lnTo>
                    <a:cubicBezTo>
                      <a:pt x="275" y="7963"/>
                      <a:pt x="278" y="7968"/>
                      <a:pt x="281" y="7974"/>
                    </a:cubicBezTo>
                    <a:cubicBezTo>
                      <a:pt x="283" y="7977"/>
                      <a:pt x="284" y="7980"/>
                      <a:pt x="286" y="7983"/>
                    </a:cubicBezTo>
                    <a:cubicBezTo>
                      <a:pt x="284" y="7992"/>
                      <a:pt x="283" y="8000"/>
                      <a:pt x="281" y="8009"/>
                    </a:cubicBezTo>
                    <a:cubicBezTo>
                      <a:pt x="283" y="8026"/>
                      <a:pt x="284" y="8043"/>
                      <a:pt x="286" y="8060"/>
                    </a:cubicBezTo>
                    <a:lnTo>
                      <a:pt x="286" y="8060"/>
                    </a:lnTo>
                    <a:cubicBezTo>
                      <a:pt x="289" y="8066"/>
                      <a:pt x="292" y="8071"/>
                      <a:pt x="295" y="8077"/>
                    </a:cubicBezTo>
                    <a:lnTo>
                      <a:pt x="309" y="8077"/>
                    </a:lnTo>
                    <a:cubicBezTo>
                      <a:pt x="310" y="8071"/>
                      <a:pt x="312" y="8066"/>
                      <a:pt x="313" y="8060"/>
                    </a:cubicBezTo>
                    <a:cubicBezTo>
                      <a:pt x="315" y="8057"/>
                      <a:pt x="316" y="8054"/>
                      <a:pt x="318" y="8051"/>
                    </a:cubicBezTo>
                    <a:lnTo>
                      <a:pt x="318" y="8034"/>
                    </a:lnTo>
                    <a:cubicBezTo>
                      <a:pt x="323" y="8031"/>
                      <a:pt x="327" y="8029"/>
                      <a:pt x="332" y="8026"/>
                    </a:cubicBezTo>
                    <a:cubicBezTo>
                      <a:pt x="341" y="8029"/>
                      <a:pt x="350" y="8031"/>
                      <a:pt x="359" y="8034"/>
                    </a:cubicBezTo>
                    <a:cubicBezTo>
                      <a:pt x="365" y="8031"/>
                      <a:pt x="372" y="8029"/>
                      <a:pt x="378" y="8026"/>
                    </a:cubicBezTo>
                    <a:lnTo>
                      <a:pt x="401" y="8026"/>
                    </a:lnTo>
                    <a:cubicBezTo>
                      <a:pt x="407" y="8020"/>
                      <a:pt x="413" y="8015"/>
                      <a:pt x="419" y="8009"/>
                    </a:cubicBezTo>
                    <a:cubicBezTo>
                      <a:pt x="424" y="8017"/>
                      <a:pt x="428" y="8026"/>
                      <a:pt x="433" y="8034"/>
                    </a:cubicBezTo>
                    <a:cubicBezTo>
                      <a:pt x="436" y="8043"/>
                      <a:pt x="439" y="8051"/>
                      <a:pt x="442" y="8060"/>
                    </a:cubicBezTo>
                    <a:lnTo>
                      <a:pt x="442" y="8077"/>
                    </a:lnTo>
                    <a:cubicBezTo>
                      <a:pt x="448" y="8088"/>
                      <a:pt x="455" y="8100"/>
                      <a:pt x="461" y="8111"/>
                    </a:cubicBezTo>
                    <a:lnTo>
                      <a:pt x="461" y="8137"/>
                    </a:lnTo>
                    <a:cubicBezTo>
                      <a:pt x="456" y="8140"/>
                      <a:pt x="452" y="8142"/>
                      <a:pt x="447" y="8145"/>
                    </a:cubicBezTo>
                    <a:lnTo>
                      <a:pt x="442" y="8145"/>
                    </a:lnTo>
                    <a:lnTo>
                      <a:pt x="442" y="8162"/>
                    </a:lnTo>
                    <a:lnTo>
                      <a:pt x="442" y="8171"/>
                    </a:lnTo>
                    <a:cubicBezTo>
                      <a:pt x="444" y="8185"/>
                      <a:pt x="445" y="8200"/>
                      <a:pt x="447" y="8214"/>
                    </a:cubicBezTo>
                    <a:cubicBezTo>
                      <a:pt x="453" y="8220"/>
                      <a:pt x="459" y="8225"/>
                      <a:pt x="465" y="8231"/>
                    </a:cubicBezTo>
                    <a:lnTo>
                      <a:pt x="488" y="8231"/>
                    </a:lnTo>
                    <a:lnTo>
                      <a:pt x="493" y="8231"/>
                    </a:lnTo>
                    <a:lnTo>
                      <a:pt x="502" y="8231"/>
                    </a:lnTo>
                    <a:cubicBezTo>
                      <a:pt x="504" y="8237"/>
                      <a:pt x="505" y="8242"/>
                      <a:pt x="507" y="8248"/>
                    </a:cubicBezTo>
                    <a:cubicBezTo>
                      <a:pt x="512" y="8257"/>
                      <a:pt x="516" y="8265"/>
                      <a:pt x="521" y="8274"/>
                    </a:cubicBezTo>
                    <a:cubicBezTo>
                      <a:pt x="522" y="8294"/>
                      <a:pt x="524" y="8313"/>
                      <a:pt x="525" y="8333"/>
                    </a:cubicBezTo>
                    <a:lnTo>
                      <a:pt x="525" y="8359"/>
                    </a:lnTo>
                    <a:lnTo>
                      <a:pt x="525" y="8368"/>
                    </a:lnTo>
                    <a:cubicBezTo>
                      <a:pt x="533" y="8376"/>
                      <a:pt x="540" y="8385"/>
                      <a:pt x="548" y="8393"/>
                    </a:cubicBezTo>
                    <a:cubicBezTo>
                      <a:pt x="550" y="8390"/>
                      <a:pt x="551" y="8388"/>
                      <a:pt x="553" y="8385"/>
                    </a:cubicBezTo>
                    <a:lnTo>
                      <a:pt x="562" y="8385"/>
                    </a:lnTo>
                    <a:lnTo>
                      <a:pt x="576" y="8385"/>
                    </a:lnTo>
                    <a:cubicBezTo>
                      <a:pt x="579" y="8393"/>
                      <a:pt x="582" y="8402"/>
                      <a:pt x="585" y="8410"/>
                    </a:cubicBezTo>
                    <a:lnTo>
                      <a:pt x="594" y="8410"/>
                    </a:lnTo>
                    <a:lnTo>
                      <a:pt x="608" y="8410"/>
                    </a:lnTo>
                    <a:cubicBezTo>
                      <a:pt x="623" y="8402"/>
                      <a:pt x="639" y="8393"/>
                      <a:pt x="654" y="8385"/>
                    </a:cubicBezTo>
                    <a:lnTo>
                      <a:pt x="659" y="8385"/>
                    </a:lnTo>
                    <a:cubicBezTo>
                      <a:pt x="671" y="8413"/>
                      <a:pt x="684" y="8442"/>
                      <a:pt x="696" y="8470"/>
                    </a:cubicBezTo>
                    <a:lnTo>
                      <a:pt x="700" y="8470"/>
                    </a:lnTo>
                    <a:cubicBezTo>
                      <a:pt x="703" y="8467"/>
                      <a:pt x="707" y="8465"/>
                      <a:pt x="710" y="8462"/>
                    </a:cubicBezTo>
                    <a:lnTo>
                      <a:pt x="714" y="8462"/>
                    </a:lnTo>
                    <a:cubicBezTo>
                      <a:pt x="717" y="8465"/>
                      <a:pt x="721" y="8467"/>
                      <a:pt x="724" y="8470"/>
                    </a:cubicBezTo>
                    <a:lnTo>
                      <a:pt x="733" y="8470"/>
                    </a:lnTo>
                    <a:cubicBezTo>
                      <a:pt x="736" y="8476"/>
                      <a:pt x="739" y="8481"/>
                      <a:pt x="742" y="8487"/>
                    </a:cubicBezTo>
                    <a:cubicBezTo>
                      <a:pt x="744" y="8490"/>
                      <a:pt x="745" y="8493"/>
                      <a:pt x="747" y="8496"/>
                    </a:cubicBezTo>
                    <a:lnTo>
                      <a:pt x="770" y="8496"/>
                    </a:lnTo>
                    <a:cubicBezTo>
                      <a:pt x="774" y="8504"/>
                      <a:pt x="779" y="8513"/>
                      <a:pt x="783" y="8521"/>
                    </a:cubicBezTo>
                    <a:lnTo>
                      <a:pt x="797" y="8521"/>
                    </a:lnTo>
                    <a:lnTo>
                      <a:pt x="806" y="8530"/>
                    </a:lnTo>
                    <a:cubicBezTo>
                      <a:pt x="814" y="8536"/>
                      <a:pt x="821" y="8541"/>
                      <a:pt x="829" y="8547"/>
                    </a:cubicBezTo>
                    <a:cubicBezTo>
                      <a:pt x="831" y="8550"/>
                      <a:pt x="832" y="8553"/>
                      <a:pt x="834" y="8556"/>
                    </a:cubicBezTo>
                    <a:lnTo>
                      <a:pt x="829" y="8556"/>
                    </a:lnTo>
                    <a:cubicBezTo>
                      <a:pt x="831" y="8573"/>
                      <a:pt x="832" y="8590"/>
                      <a:pt x="834" y="8607"/>
                    </a:cubicBezTo>
                    <a:cubicBezTo>
                      <a:pt x="832" y="8618"/>
                      <a:pt x="831" y="8630"/>
                      <a:pt x="829" y="8641"/>
                    </a:cubicBezTo>
                    <a:cubicBezTo>
                      <a:pt x="821" y="8647"/>
                      <a:pt x="814" y="8652"/>
                      <a:pt x="806" y="8658"/>
                    </a:cubicBezTo>
                    <a:cubicBezTo>
                      <a:pt x="809" y="8661"/>
                      <a:pt x="813" y="8664"/>
                      <a:pt x="816" y="8667"/>
                    </a:cubicBezTo>
                    <a:lnTo>
                      <a:pt x="820" y="8667"/>
                    </a:lnTo>
                    <a:cubicBezTo>
                      <a:pt x="823" y="8673"/>
                      <a:pt x="826" y="8678"/>
                      <a:pt x="829" y="8684"/>
                    </a:cubicBezTo>
                    <a:cubicBezTo>
                      <a:pt x="821" y="8687"/>
                      <a:pt x="814" y="8689"/>
                      <a:pt x="806" y="8692"/>
                    </a:cubicBezTo>
                    <a:cubicBezTo>
                      <a:pt x="805" y="8698"/>
                      <a:pt x="803" y="8703"/>
                      <a:pt x="802" y="8709"/>
                    </a:cubicBezTo>
                    <a:lnTo>
                      <a:pt x="802" y="8735"/>
                    </a:lnTo>
                    <a:cubicBezTo>
                      <a:pt x="803" y="8738"/>
                      <a:pt x="805" y="8741"/>
                      <a:pt x="806" y="8744"/>
                    </a:cubicBezTo>
                    <a:cubicBezTo>
                      <a:pt x="809" y="8747"/>
                      <a:pt x="813" y="8749"/>
                      <a:pt x="816" y="8752"/>
                    </a:cubicBezTo>
                    <a:cubicBezTo>
                      <a:pt x="813" y="8761"/>
                      <a:pt x="809" y="8769"/>
                      <a:pt x="806" y="8778"/>
                    </a:cubicBezTo>
                    <a:lnTo>
                      <a:pt x="820" y="8778"/>
                    </a:lnTo>
                    <a:cubicBezTo>
                      <a:pt x="815" y="8812"/>
                      <a:pt x="811" y="8846"/>
                      <a:pt x="806" y="8880"/>
                    </a:cubicBezTo>
                    <a:lnTo>
                      <a:pt x="797" y="8880"/>
                    </a:lnTo>
                    <a:cubicBezTo>
                      <a:pt x="792" y="8877"/>
                      <a:pt x="788" y="8875"/>
                      <a:pt x="783" y="8872"/>
                    </a:cubicBezTo>
                    <a:cubicBezTo>
                      <a:pt x="779" y="8875"/>
                      <a:pt x="774" y="8877"/>
                      <a:pt x="770" y="8880"/>
                    </a:cubicBezTo>
                    <a:cubicBezTo>
                      <a:pt x="765" y="8872"/>
                      <a:pt x="761" y="8863"/>
                      <a:pt x="756" y="8855"/>
                    </a:cubicBezTo>
                    <a:cubicBezTo>
                      <a:pt x="748" y="8872"/>
                      <a:pt x="741" y="8889"/>
                      <a:pt x="733" y="8906"/>
                    </a:cubicBezTo>
                    <a:cubicBezTo>
                      <a:pt x="727" y="8909"/>
                      <a:pt x="720" y="8912"/>
                      <a:pt x="714" y="8915"/>
                    </a:cubicBezTo>
                    <a:cubicBezTo>
                      <a:pt x="713" y="8923"/>
                      <a:pt x="711" y="8932"/>
                      <a:pt x="710" y="8940"/>
                    </a:cubicBezTo>
                    <a:lnTo>
                      <a:pt x="710" y="9009"/>
                    </a:lnTo>
                    <a:lnTo>
                      <a:pt x="728" y="8991"/>
                    </a:lnTo>
                    <a:lnTo>
                      <a:pt x="733" y="8991"/>
                    </a:lnTo>
                    <a:cubicBezTo>
                      <a:pt x="738" y="8988"/>
                      <a:pt x="742" y="8986"/>
                      <a:pt x="747" y="8983"/>
                    </a:cubicBezTo>
                    <a:lnTo>
                      <a:pt x="760" y="8983"/>
                    </a:lnTo>
                    <a:lnTo>
                      <a:pt x="770" y="8983"/>
                    </a:lnTo>
                    <a:lnTo>
                      <a:pt x="770" y="8991"/>
                    </a:lnTo>
                    <a:lnTo>
                      <a:pt x="783" y="8991"/>
                    </a:lnTo>
                    <a:lnTo>
                      <a:pt x="783" y="9009"/>
                    </a:lnTo>
                    <a:lnTo>
                      <a:pt x="783" y="9017"/>
                    </a:lnTo>
                    <a:lnTo>
                      <a:pt x="770" y="9017"/>
                    </a:lnTo>
                    <a:lnTo>
                      <a:pt x="724" y="9051"/>
                    </a:lnTo>
                    <a:lnTo>
                      <a:pt x="724" y="9068"/>
                    </a:lnTo>
                    <a:cubicBezTo>
                      <a:pt x="725" y="9071"/>
                      <a:pt x="727" y="9074"/>
                      <a:pt x="728" y="9077"/>
                    </a:cubicBezTo>
                    <a:lnTo>
                      <a:pt x="724" y="9077"/>
                    </a:lnTo>
                    <a:lnTo>
                      <a:pt x="710" y="9077"/>
                    </a:lnTo>
                    <a:lnTo>
                      <a:pt x="682" y="9077"/>
                    </a:lnTo>
                    <a:cubicBezTo>
                      <a:pt x="679" y="9086"/>
                      <a:pt x="676" y="9094"/>
                      <a:pt x="673" y="9103"/>
                    </a:cubicBezTo>
                    <a:cubicBezTo>
                      <a:pt x="678" y="9111"/>
                      <a:pt x="682" y="9120"/>
                      <a:pt x="687" y="9128"/>
                    </a:cubicBezTo>
                    <a:lnTo>
                      <a:pt x="700" y="9128"/>
                    </a:lnTo>
                    <a:cubicBezTo>
                      <a:pt x="709" y="9145"/>
                      <a:pt x="719" y="9162"/>
                      <a:pt x="728" y="9179"/>
                    </a:cubicBezTo>
                    <a:cubicBezTo>
                      <a:pt x="727" y="9182"/>
                      <a:pt x="725" y="9185"/>
                      <a:pt x="724" y="9188"/>
                    </a:cubicBezTo>
                    <a:cubicBezTo>
                      <a:pt x="719" y="9185"/>
                      <a:pt x="715" y="9182"/>
                      <a:pt x="710" y="9179"/>
                    </a:cubicBezTo>
                    <a:cubicBezTo>
                      <a:pt x="707" y="9188"/>
                      <a:pt x="703" y="9196"/>
                      <a:pt x="700" y="9205"/>
                    </a:cubicBezTo>
                    <a:lnTo>
                      <a:pt x="696" y="9205"/>
                    </a:lnTo>
                    <a:cubicBezTo>
                      <a:pt x="682" y="9236"/>
                      <a:pt x="668" y="9268"/>
                      <a:pt x="654" y="9299"/>
                    </a:cubicBezTo>
                    <a:lnTo>
                      <a:pt x="622" y="9299"/>
                    </a:lnTo>
                    <a:cubicBezTo>
                      <a:pt x="619" y="9305"/>
                      <a:pt x="616" y="9310"/>
                      <a:pt x="613" y="9316"/>
                    </a:cubicBezTo>
                    <a:lnTo>
                      <a:pt x="613" y="9325"/>
                    </a:lnTo>
                    <a:cubicBezTo>
                      <a:pt x="611" y="9331"/>
                      <a:pt x="610" y="9336"/>
                      <a:pt x="608" y="9342"/>
                    </a:cubicBezTo>
                    <a:lnTo>
                      <a:pt x="636" y="9376"/>
                    </a:lnTo>
                    <a:cubicBezTo>
                      <a:pt x="638" y="9385"/>
                      <a:pt x="639" y="9393"/>
                      <a:pt x="641" y="9402"/>
                    </a:cubicBezTo>
                    <a:cubicBezTo>
                      <a:pt x="645" y="9410"/>
                      <a:pt x="650" y="9419"/>
                      <a:pt x="654" y="9427"/>
                    </a:cubicBezTo>
                    <a:lnTo>
                      <a:pt x="668" y="9427"/>
                    </a:lnTo>
                    <a:lnTo>
                      <a:pt x="668" y="9427"/>
                    </a:lnTo>
                    <a:cubicBezTo>
                      <a:pt x="703" y="9467"/>
                      <a:pt x="739" y="9507"/>
                      <a:pt x="774" y="9547"/>
                    </a:cubicBezTo>
                    <a:cubicBezTo>
                      <a:pt x="782" y="9564"/>
                      <a:pt x="789" y="9581"/>
                      <a:pt x="797" y="9598"/>
                    </a:cubicBezTo>
                    <a:lnTo>
                      <a:pt x="802" y="9598"/>
                    </a:lnTo>
                    <a:cubicBezTo>
                      <a:pt x="807" y="9607"/>
                      <a:pt x="811" y="9615"/>
                      <a:pt x="816" y="9624"/>
                    </a:cubicBezTo>
                    <a:lnTo>
                      <a:pt x="843" y="9615"/>
                    </a:lnTo>
                    <a:cubicBezTo>
                      <a:pt x="848" y="9618"/>
                      <a:pt x="852" y="9621"/>
                      <a:pt x="857" y="9624"/>
                    </a:cubicBezTo>
                    <a:cubicBezTo>
                      <a:pt x="859" y="9621"/>
                      <a:pt x="860" y="9618"/>
                      <a:pt x="862" y="9615"/>
                    </a:cubicBezTo>
                    <a:lnTo>
                      <a:pt x="880" y="9624"/>
                    </a:lnTo>
                    <a:cubicBezTo>
                      <a:pt x="883" y="9630"/>
                      <a:pt x="886" y="9635"/>
                      <a:pt x="889" y="9641"/>
                    </a:cubicBezTo>
                    <a:lnTo>
                      <a:pt x="935" y="9675"/>
                    </a:lnTo>
                    <a:cubicBezTo>
                      <a:pt x="949" y="9672"/>
                      <a:pt x="963" y="9670"/>
                      <a:pt x="977" y="9667"/>
                    </a:cubicBezTo>
                    <a:cubicBezTo>
                      <a:pt x="983" y="9670"/>
                      <a:pt x="989" y="9672"/>
                      <a:pt x="995" y="9675"/>
                    </a:cubicBezTo>
                    <a:lnTo>
                      <a:pt x="1014" y="9675"/>
                    </a:lnTo>
                    <a:cubicBezTo>
                      <a:pt x="1032" y="9701"/>
                      <a:pt x="1051" y="9726"/>
                      <a:pt x="1069" y="9752"/>
                    </a:cubicBezTo>
                    <a:cubicBezTo>
                      <a:pt x="1071" y="9755"/>
                      <a:pt x="1072" y="9758"/>
                      <a:pt x="1074" y="9761"/>
                    </a:cubicBezTo>
                    <a:cubicBezTo>
                      <a:pt x="1077" y="9767"/>
                      <a:pt x="1080" y="9772"/>
                      <a:pt x="1083" y="9778"/>
                    </a:cubicBezTo>
                    <a:lnTo>
                      <a:pt x="1115" y="9752"/>
                    </a:lnTo>
                    <a:lnTo>
                      <a:pt x="1129" y="9752"/>
                    </a:lnTo>
                    <a:lnTo>
                      <a:pt x="1138" y="9761"/>
                    </a:lnTo>
                    <a:cubicBezTo>
                      <a:pt x="1140" y="9758"/>
                      <a:pt x="1141" y="9755"/>
                      <a:pt x="1143" y="9752"/>
                    </a:cubicBezTo>
                    <a:lnTo>
                      <a:pt x="1161" y="9761"/>
                    </a:lnTo>
                    <a:cubicBezTo>
                      <a:pt x="1164" y="9767"/>
                      <a:pt x="1168" y="9772"/>
                      <a:pt x="1171" y="9778"/>
                    </a:cubicBezTo>
                    <a:lnTo>
                      <a:pt x="1175" y="9778"/>
                    </a:lnTo>
                    <a:lnTo>
                      <a:pt x="1189" y="9778"/>
                    </a:lnTo>
                    <a:cubicBezTo>
                      <a:pt x="1192" y="9781"/>
                      <a:pt x="1195" y="9783"/>
                      <a:pt x="1198" y="9786"/>
                    </a:cubicBezTo>
                    <a:cubicBezTo>
                      <a:pt x="1200" y="9792"/>
                      <a:pt x="1201" y="9797"/>
                      <a:pt x="1203" y="9803"/>
                    </a:cubicBezTo>
                    <a:cubicBezTo>
                      <a:pt x="1201" y="9815"/>
                      <a:pt x="1200" y="9826"/>
                      <a:pt x="1198" y="9838"/>
                    </a:cubicBezTo>
                    <a:cubicBezTo>
                      <a:pt x="1203" y="9846"/>
                      <a:pt x="1207" y="9855"/>
                      <a:pt x="1212" y="9863"/>
                    </a:cubicBezTo>
                    <a:lnTo>
                      <a:pt x="1230" y="9872"/>
                    </a:lnTo>
                    <a:cubicBezTo>
                      <a:pt x="1236" y="9880"/>
                      <a:pt x="1243" y="9889"/>
                      <a:pt x="1249" y="9897"/>
                    </a:cubicBezTo>
                    <a:lnTo>
                      <a:pt x="1263" y="9897"/>
                    </a:lnTo>
                    <a:cubicBezTo>
                      <a:pt x="1267" y="9906"/>
                      <a:pt x="1272" y="9914"/>
                      <a:pt x="1276" y="9923"/>
                    </a:cubicBezTo>
                    <a:cubicBezTo>
                      <a:pt x="1278" y="9932"/>
                      <a:pt x="1279" y="9940"/>
                      <a:pt x="1281" y="9949"/>
                    </a:cubicBezTo>
                    <a:lnTo>
                      <a:pt x="1290" y="9949"/>
                    </a:lnTo>
                    <a:cubicBezTo>
                      <a:pt x="1292" y="9966"/>
                      <a:pt x="1293" y="9983"/>
                      <a:pt x="1295" y="10000"/>
                    </a:cubicBezTo>
                    <a:lnTo>
                      <a:pt x="1332" y="10000"/>
                    </a:lnTo>
                    <a:lnTo>
                      <a:pt x="1336" y="10000"/>
                    </a:lnTo>
                    <a:cubicBezTo>
                      <a:pt x="1339" y="9994"/>
                      <a:pt x="1343" y="9989"/>
                      <a:pt x="1346" y="9983"/>
                    </a:cubicBezTo>
                    <a:cubicBezTo>
                      <a:pt x="1347" y="9972"/>
                      <a:pt x="1349" y="9960"/>
                      <a:pt x="1350" y="9949"/>
                    </a:cubicBezTo>
                    <a:cubicBezTo>
                      <a:pt x="1356" y="9946"/>
                      <a:pt x="1363" y="9943"/>
                      <a:pt x="1369" y="9940"/>
                    </a:cubicBezTo>
                    <a:cubicBezTo>
                      <a:pt x="1372" y="9926"/>
                      <a:pt x="1375" y="9911"/>
                      <a:pt x="1378" y="9897"/>
                    </a:cubicBezTo>
                    <a:cubicBezTo>
                      <a:pt x="1375" y="9894"/>
                      <a:pt x="1372" y="9892"/>
                      <a:pt x="1369" y="9889"/>
                    </a:cubicBezTo>
                    <a:cubicBezTo>
                      <a:pt x="1352" y="9826"/>
                      <a:pt x="1335" y="9764"/>
                      <a:pt x="1318" y="9701"/>
                    </a:cubicBezTo>
                    <a:lnTo>
                      <a:pt x="1318" y="9650"/>
                    </a:lnTo>
                    <a:cubicBezTo>
                      <a:pt x="1320" y="9630"/>
                      <a:pt x="1321" y="9610"/>
                      <a:pt x="1323" y="9590"/>
                    </a:cubicBezTo>
                    <a:lnTo>
                      <a:pt x="1323" y="9564"/>
                    </a:lnTo>
                    <a:cubicBezTo>
                      <a:pt x="1318" y="9575"/>
                      <a:pt x="1314" y="9587"/>
                      <a:pt x="1309" y="9598"/>
                    </a:cubicBezTo>
                    <a:lnTo>
                      <a:pt x="1309" y="9590"/>
                    </a:lnTo>
                    <a:cubicBezTo>
                      <a:pt x="1307" y="9576"/>
                      <a:pt x="1306" y="9561"/>
                      <a:pt x="1304" y="9547"/>
                    </a:cubicBezTo>
                    <a:cubicBezTo>
                      <a:pt x="1295" y="9524"/>
                      <a:pt x="1285" y="9502"/>
                      <a:pt x="1276" y="9479"/>
                    </a:cubicBezTo>
                    <a:lnTo>
                      <a:pt x="1263" y="9479"/>
                    </a:lnTo>
                    <a:lnTo>
                      <a:pt x="1263" y="9453"/>
                    </a:lnTo>
                    <a:cubicBezTo>
                      <a:pt x="1266" y="9439"/>
                      <a:pt x="1269" y="9424"/>
                      <a:pt x="1272" y="9410"/>
                    </a:cubicBezTo>
                    <a:lnTo>
                      <a:pt x="1272" y="9393"/>
                    </a:lnTo>
                    <a:cubicBezTo>
                      <a:pt x="1275" y="9385"/>
                      <a:pt x="1278" y="9376"/>
                      <a:pt x="1281" y="9368"/>
                    </a:cubicBezTo>
                    <a:lnTo>
                      <a:pt x="1281" y="9368"/>
                    </a:lnTo>
                    <a:lnTo>
                      <a:pt x="1290" y="9368"/>
                    </a:lnTo>
                    <a:lnTo>
                      <a:pt x="1290" y="9342"/>
                    </a:lnTo>
                    <a:cubicBezTo>
                      <a:pt x="1295" y="9336"/>
                      <a:pt x="1299" y="9331"/>
                      <a:pt x="1304" y="9325"/>
                    </a:cubicBezTo>
                    <a:cubicBezTo>
                      <a:pt x="1306" y="9296"/>
                      <a:pt x="1307" y="9268"/>
                      <a:pt x="1309" y="9239"/>
                    </a:cubicBezTo>
                    <a:cubicBezTo>
                      <a:pt x="1312" y="9245"/>
                      <a:pt x="1315" y="9250"/>
                      <a:pt x="1318" y="9256"/>
                    </a:cubicBezTo>
                    <a:cubicBezTo>
                      <a:pt x="1320" y="9230"/>
                      <a:pt x="1321" y="9205"/>
                      <a:pt x="1323" y="9179"/>
                    </a:cubicBezTo>
                    <a:cubicBezTo>
                      <a:pt x="1318" y="9168"/>
                      <a:pt x="1314" y="9156"/>
                      <a:pt x="1309" y="9145"/>
                    </a:cubicBezTo>
                    <a:lnTo>
                      <a:pt x="1336" y="9154"/>
                    </a:lnTo>
                    <a:lnTo>
                      <a:pt x="1336" y="9162"/>
                    </a:lnTo>
                    <a:cubicBezTo>
                      <a:pt x="1341" y="9185"/>
                      <a:pt x="1345" y="9208"/>
                      <a:pt x="1350" y="9231"/>
                    </a:cubicBezTo>
                    <a:lnTo>
                      <a:pt x="1355" y="9231"/>
                    </a:lnTo>
                    <a:cubicBezTo>
                      <a:pt x="1358" y="9225"/>
                      <a:pt x="1361" y="9220"/>
                      <a:pt x="1364" y="9214"/>
                    </a:cubicBezTo>
                    <a:lnTo>
                      <a:pt x="1369" y="9214"/>
                    </a:lnTo>
                    <a:cubicBezTo>
                      <a:pt x="1373" y="9194"/>
                      <a:pt x="1378" y="9174"/>
                      <a:pt x="1382" y="9154"/>
                    </a:cubicBezTo>
                    <a:lnTo>
                      <a:pt x="1396" y="9154"/>
                    </a:lnTo>
                    <a:cubicBezTo>
                      <a:pt x="1391" y="9151"/>
                      <a:pt x="1387" y="9148"/>
                      <a:pt x="1382" y="9145"/>
                    </a:cubicBezTo>
                    <a:lnTo>
                      <a:pt x="1382" y="9128"/>
                    </a:lnTo>
                    <a:lnTo>
                      <a:pt x="1369" y="9128"/>
                    </a:lnTo>
                    <a:lnTo>
                      <a:pt x="1364" y="9128"/>
                    </a:lnTo>
                    <a:cubicBezTo>
                      <a:pt x="1361" y="9125"/>
                      <a:pt x="1358" y="9123"/>
                      <a:pt x="1355" y="9120"/>
                    </a:cubicBezTo>
                    <a:cubicBezTo>
                      <a:pt x="1353" y="9114"/>
                      <a:pt x="1352" y="9109"/>
                      <a:pt x="1350" y="9103"/>
                    </a:cubicBezTo>
                    <a:cubicBezTo>
                      <a:pt x="1352" y="9100"/>
                      <a:pt x="1353" y="9097"/>
                      <a:pt x="1355" y="9094"/>
                    </a:cubicBezTo>
                    <a:lnTo>
                      <a:pt x="1355" y="9068"/>
                    </a:lnTo>
                    <a:lnTo>
                      <a:pt x="1369" y="9068"/>
                    </a:lnTo>
                    <a:lnTo>
                      <a:pt x="1378" y="9077"/>
                    </a:lnTo>
                    <a:lnTo>
                      <a:pt x="1396" y="9068"/>
                    </a:lnTo>
                    <a:cubicBezTo>
                      <a:pt x="1391" y="9025"/>
                      <a:pt x="1387" y="8983"/>
                      <a:pt x="1382" y="8940"/>
                    </a:cubicBezTo>
                    <a:lnTo>
                      <a:pt x="1378" y="8940"/>
                    </a:lnTo>
                    <a:cubicBezTo>
                      <a:pt x="1373" y="8923"/>
                      <a:pt x="1369" y="8906"/>
                      <a:pt x="1364" y="8889"/>
                    </a:cubicBezTo>
                    <a:lnTo>
                      <a:pt x="1355" y="8880"/>
                    </a:lnTo>
                    <a:lnTo>
                      <a:pt x="1323" y="8880"/>
                    </a:lnTo>
                    <a:lnTo>
                      <a:pt x="1309" y="8880"/>
                    </a:lnTo>
                    <a:lnTo>
                      <a:pt x="1309" y="8889"/>
                    </a:lnTo>
                    <a:cubicBezTo>
                      <a:pt x="1304" y="8883"/>
                      <a:pt x="1300" y="8878"/>
                      <a:pt x="1295" y="8872"/>
                    </a:cubicBezTo>
                    <a:cubicBezTo>
                      <a:pt x="1293" y="8866"/>
                      <a:pt x="1292" y="8861"/>
                      <a:pt x="1290" y="8855"/>
                    </a:cubicBezTo>
                    <a:lnTo>
                      <a:pt x="1290" y="8829"/>
                    </a:lnTo>
                    <a:lnTo>
                      <a:pt x="1290" y="8821"/>
                    </a:lnTo>
                    <a:lnTo>
                      <a:pt x="1290" y="8803"/>
                    </a:lnTo>
                    <a:cubicBezTo>
                      <a:pt x="1287" y="8800"/>
                      <a:pt x="1284" y="8798"/>
                      <a:pt x="1281" y="8795"/>
                    </a:cubicBezTo>
                    <a:lnTo>
                      <a:pt x="1249" y="8769"/>
                    </a:lnTo>
                    <a:cubicBezTo>
                      <a:pt x="1254" y="8735"/>
                      <a:pt x="1258" y="8701"/>
                      <a:pt x="1263" y="8667"/>
                    </a:cubicBezTo>
                    <a:lnTo>
                      <a:pt x="1281" y="8658"/>
                    </a:lnTo>
                    <a:cubicBezTo>
                      <a:pt x="1284" y="8649"/>
                      <a:pt x="1287" y="8641"/>
                      <a:pt x="1290" y="8632"/>
                    </a:cubicBezTo>
                    <a:cubicBezTo>
                      <a:pt x="1287" y="8626"/>
                      <a:pt x="1284" y="8621"/>
                      <a:pt x="1281" y="8615"/>
                    </a:cubicBezTo>
                    <a:cubicBezTo>
                      <a:pt x="1278" y="8609"/>
                      <a:pt x="1275" y="8604"/>
                      <a:pt x="1272" y="8598"/>
                    </a:cubicBezTo>
                    <a:lnTo>
                      <a:pt x="1281" y="8496"/>
                    </a:lnTo>
                    <a:cubicBezTo>
                      <a:pt x="1286" y="8487"/>
                      <a:pt x="1290" y="8479"/>
                      <a:pt x="1295" y="8470"/>
                    </a:cubicBezTo>
                    <a:cubicBezTo>
                      <a:pt x="1298" y="8467"/>
                      <a:pt x="1301" y="8465"/>
                      <a:pt x="1304" y="8462"/>
                    </a:cubicBezTo>
                    <a:lnTo>
                      <a:pt x="1304" y="8444"/>
                    </a:lnTo>
                    <a:lnTo>
                      <a:pt x="1304" y="8419"/>
                    </a:lnTo>
                    <a:lnTo>
                      <a:pt x="1304" y="8410"/>
                    </a:lnTo>
                    <a:cubicBezTo>
                      <a:pt x="1306" y="8404"/>
                      <a:pt x="1307" y="8399"/>
                      <a:pt x="1309" y="8393"/>
                    </a:cubicBezTo>
                    <a:cubicBezTo>
                      <a:pt x="1312" y="8390"/>
                      <a:pt x="1315" y="8388"/>
                      <a:pt x="1318" y="8385"/>
                    </a:cubicBezTo>
                    <a:lnTo>
                      <a:pt x="1323" y="8385"/>
                    </a:lnTo>
                    <a:cubicBezTo>
                      <a:pt x="1326" y="8393"/>
                      <a:pt x="1329" y="8402"/>
                      <a:pt x="1332" y="8410"/>
                    </a:cubicBezTo>
                    <a:cubicBezTo>
                      <a:pt x="1337" y="8413"/>
                      <a:pt x="1341" y="8416"/>
                      <a:pt x="1346" y="8419"/>
                    </a:cubicBezTo>
                    <a:cubicBezTo>
                      <a:pt x="1352" y="8447"/>
                      <a:pt x="1358" y="8476"/>
                      <a:pt x="1364" y="8504"/>
                    </a:cubicBezTo>
                    <a:cubicBezTo>
                      <a:pt x="1366" y="8510"/>
                      <a:pt x="1367" y="8515"/>
                      <a:pt x="1369" y="8521"/>
                    </a:cubicBezTo>
                    <a:cubicBezTo>
                      <a:pt x="1381" y="8504"/>
                      <a:pt x="1394" y="8487"/>
                      <a:pt x="1406" y="8470"/>
                    </a:cubicBezTo>
                    <a:lnTo>
                      <a:pt x="1382" y="8359"/>
                    </a:lnTo>
                    <a:lnTo>
                      <a:pt x="1392" y="8359"/>
                    </a:lnTo>
                    <a:cubicBezTo>
                      <a:pt x="1407" y="8342"/>
                      <a:pt x="1423" y="8325"/>
                      <a:pt x="1438" y="8308"/>
                    </a:cubicBezTo>
                    <a:cubicBezTo>
                      <a:pt x="1439" y="8305"/>
                      <a:pt x="1441" y="8302"/>
                      <a:pt x="1442" y="8299"/>
                    </a:cubicBezTo>
                    <a:lnTo>
                      <a:pt x="1442" y="8256"/>
                    </a:lnTo>
                    <a:lnTo>
                      <a:pt x="1452" y="8256"/>
                    </a:lnTo>
                    <a:lnTo>
                      <a:pt x="1456" y="8256"/>
                    </a:lnTo>
                    <a:cubicBezTo>
                      <a:pt x="1461" y="8253"/>
                      <a:pt x="1465" y="8251"/>
                      <a:pt x="1470" y="8248"/>
                    </a:cubicBezTo>
                    <a:cubicBezTo>
                      <a:pt x="1473" y="8242"/>
                      <a:pt x="1476" y="8237"/>
                      <a:pt x="1479" y="8231"/>
                    </a:cubicBezTo>
                    <a:cubicBezTo>
                      <a:pt x="1484" y="8228"/>
                      <a:pt x="1488" y="8225"/>
                      <a:pt x="1493" y="8222"/>
                    </a:cubicBezTo>
                    <a:cubicBezTo>
                      <a:pt x="1495" y="8219"/>
                      <a:pt x="1496" y="8217"/>
                      <a:pt x="1498" y="8214"/>
                    </a:cubicBezTo>
                    <a:cubicBezTo>
                      <a:pt x="1499" y="8208"/>
                      <a:pt x="1501" y="8203"/>
                      <a:pt x="1502" y="8197"/>
                    </a:cubicBezTo>
                    <a:cubicBezTo>
                      <a:pt x="1505" y="8194"/>
                      <a:pt x="1509" y="8191"/>
                      <a:pt x="1512" y="8188"/>
                    </a:cubicBezTo>
                    <a:cubicBezTo>
                      <a:pt x="1513" y="8182"/>
                      <a:pt x="1515" y="8177"/>
                      <a:pt x="1516" y="8171"/>
                    </a:cubicBezTo>
                    <a:lnTo>
                      <a:pt x="1525" y="8162"/>
                    </a:lnTo>
                    <a:cubicBezTo>
                      <a:pt x="1530" y="8156"/>
                      <a:pt x="1534" y="8151"/>
                      <a:pt x="1539" y="8145"/>
                    </a:cubicBezTo>
                    <a:lnTo>
                      <a:pt x="1558" y="8145"/>
                    </a:lnTo>
                    <a:cubicBezTo>
                      <a:pt x="1559" y="8159"/>
                      <a:pt x="1561" y="8174"/>
                      <a:pt x="1562" y="8188"/>
                    </a:cubicBezTo>
                    <a:cubicBezTo>
                      <a:pt x="1570" y="8182"/>
                      <a:pt x="1577" y="8177"/>
                      <a:pt x="1585" y="8171"/>
                    </a:cubicBezTo>
                    <a:cubicBezTo>
                      <a:pt x="1587" y="8177"/>
                      <a:pt x="1588" y="8182"/>
                      <a:pt x="1590" y="8188"/>
                    </a:cubicBezTo>
                    <a:cubicBezTo>
                      <a:pt x="1593" y="8182"/>
                      <a:pt x="1596" y="8177"/>
                      <a:pt x="1599" y="8171"/>
                    </a:cubicBezTo>
                    <a:lnTo>
                      <a:pt x="1599" y="8162"/>
                    </a:lnTo>
                    <a:cubicBezTo>
                      <a:pt x="1601" y="8154"/>
                      <a:pt x="1602" y="8145"/>
                      <a:pt x="1604" y="8137"/>
                    </a:cubicBezTo>
                    <a:cubicBezTo>
                      <a:pt x="1609" y="8140"/>
                      <a:pt x="1613" y="8142"/>
                      <a:pt x="1618" y="8145"/>
                    </a:cubicBezTo>
                    <a:cubicBezTo>
                      <a:pt x="1621" y="8142"/>
                      <a:pt x="1624" y="8140"/>
                      <a:pt x="1627" y="8137"/>
                    </a:cubicBezTo>
                    <a:lnTo>
                      <a:pt x="1631" y="8137"/>
                    </a:lnTo>
                    <a:cubicBezTo>
                      <a:pt x="1633" y="8148"/>
                      <a:pt x="1634" y="8160"/>
                      <a:pt x="1636" y="8171"/>
                    </a:cubicBezTo>
                    <a:cubicBezTo>
                      <a:pt x="1639" y="8177"/>
                      <a:pt x="1642" y="8182"/>
                      <a:pt x="1645" y="8188"/>
                    </a:cubicBezTo>
                    <a:cubicBezTo>
                      <a:pt x="1651" y="8182"/>
                      <a:pt x="1658" y="8177"/>
                      <a:pt x="1664" y="8171"/>
                    </a:cubicBezTo>
                    <a:cubicBezTo>
                      <a:pt x="1667" y="8177"/>
                      <a:pt x="1670" y="8182"/>
                      <a:pt x="1673" y="8188"/>
                    </a:cubicBezTo>
                    <a:cubicBezTo>
                      <a:pt x="1679" y="8182"/>
                      <a:pt x="1685" y="8177"/>
                      <a:pt x="1691" y="8171"/>
                    </a:cubicBezTo>
                    <a:lnTo>
                      <a:pt x="1705" y="8171"/>
                    </a:lnTo>
                    <a:cubicBezTo>
                      <a:pt x="1710" y="8180"/>
                      <a:pt x="1714" y="8188"/>
                      <a:pt x="1719" y="8197"/>
                    </a:cubicBezTo>
                    <a:cubicBezTo>
                      <a:pt x="1721" y="8208"/>
                      <a:pt x="1722" y="8220"/>
                      <a:pt x="1724" y="8231"/>
                    </a:cubicBezTo>
                    <a:cubicBezTo>
                      <a:pt x="1733" y="8239"/>
                      <a:pt x="1742" y="8248"/>
                      <a:pt x="1751" y="8256"/>
                    </a:cubicBezTo>
                    <a:lnTo>
                      <a:pt x="1751" y="8274"/>
                    </a:lnTo>
                    <a:cubicBezTo>
                      <a:pt x="1754" y="8277"/>
                      <a:pt x="1757" y="8279"/>
                      <a:pt x="1760" y="8282"/>
                    </a:cubicBezTo>
                    <a:cubicBezTo>
                      <a:pt x="1763" y="8296"/>
                      <a:pt x="1767" y="8311"/>
                      <a:pt x="1770" y="8325"/>
                    </a:cubicBezTo>
                    <a:lnTo>
                      <a:pt x="1770" y="8350"/>
                    </a:lnTo>
                    <a:lnTo>
                      <a:pt x="1779" y="8368"/>
                    </a:lnTo>
                    <a:cubicBezTo>
                      <a:pt x="1780" y="8365"/>
                      <a:pt x="1782" y="8362"/>
                      <a:pt x="1783" y="8359"/>
                    </a:cubicBezTo>
                    <a:lnTo>
                      <a:pt x="1783" y="8308"/>
                    </a:lnTo>
                    <a:cubicBezTo>
                      <a:pt x="1782" y="8305"/>
                      <a:pt x="1780" y="8302"/>
                      <a:pt x="1779" y="8299"/>
                    </a:cubicBezTo>
                    <a:cubicBezTo>
                      <a:pt x="1780" y="8293"/>
                      <a:pt x="1782" y="8288"/>
                      <a:pt x="1783" y="8282"/>
                    </a:cubicBezTo>
                    <a:cubicBezTo>
                      <a:pt x="1788" y="8279"/>
                      <a:pt x="1792" y="8277"/>
                      <a:pt x="1797" y="8274"/>
                    </a:cubicBezTo>
                    <a:lnTo>
                      <a:pt x="1797" y="8299"/>
                    </a:lnTo>
                    <a:lnTo>
                      <a:pt x="1806" y="8308"/>
                    </a:lnTo>
                    <a:cubicBezTo>
                      <a:pt x="1808" y="8314"/>
                      <a:pt x="1809" y="8319"/>
                      <a:pt x="1811" y="8325"/>
                    </a:cubicBezTo>
                    <a:cubicBezTo>
                      <a:pt x="1814" y="8328"/>
                      <a:pt x="1817" y="8330"/>
                      <a:pt x="1820" y="8333"/>
                    </a:cubicBezTo>
                    <a:cubicBezTo>
                      <a:pt x="1831" y="8342"/>
                      <a:pt x="1842" y="8350"/>
                      <a:pt x="1853" y="8359"/>
                    </a:cubicBezTo>
                    <a:lnTo>
                      <a:pt x="1866" y="8359"/>
                    </a:lnTo>
                    <a:cubicBezTo>
                      <a:pt x="1872" y="8348"/>
                      <a:pt x="1879" y="8336"/>
                      <a:pt x="1885" y="8325"/>
                    </a:cubicBezTo>
                    <a:lnTo>
                      <a:pt x="1885" y="8308"/>
                    </a:lnTo>
                    <a:lnTo>
                      <a:pt x="1894" y="8299"/>
                    </a:lnTo>
                    <a:cubicBezTo>
                      <a:pt x="1896" y="8293"/>
                      <a:pt x="1897" y="8288"/>
                      <a:pt x="1899" y="8282"/>
                    </a:cubicBezTo>
                    <a:lnTo>
                      <a:pt x="1912" y="8282"/>
                    </a:lnTo>
                    <a:cubicBezTo>
                      <a:pt x="1914" y="8288"/>
                      <a:pt x="1915" y="8293"/>
                      <a:pt x="1917" y="8299"/>
                    </a:cubicBezTo>
                    <a:lnTo>
                      <a:pt x="1917" y="8274"/>
                    </a:lnTo>
                    <a:cubicBezTo>
                      <a:pt x="1925" y="8277"/>
                      <a:pt x="1932" y="8279"/>
                      <a:pt x="1940" y="8282"/>
                    </a:cubicBezTo>
                    <a:cubicBezTo>
                      <a:pt x="1942" y="8279"/>
                      <a:pt x="1943" y="8277"/>
                      <a:pt x="1945" y="8274"/>
                    </a:cubicBezTo>
                    <a:cubicBezTo>
                      <a:pt x="1954" y="8285"/>
                      <a:pt x="1963" y="8297"/>
                      <a:pt x="1972" y="8308"/>
                    </a:cubicBezTo>
                    <a:cubicBezTo>
                      <a:pt x="1977" y="8299"/>
                      <a:pt x="1981" y="8291"/>
                      <a:pt x="1986" y="8282"/>
                    </a:cubicBezTo>
                    <a:cubicBezTo>
                      <a:pt x="1988" y="8279"/>
                      <a:pt x="1989" y="8277"/>
                      <a:pt x="1991" y="8274"/>
                    </a:cubicBezTo>
                    <a:lnTo>
                      <a:pt x="2014" y="8274"/>
                    </a:lnTo>
                    <a:cubicBezTo>
                      <a:pt x="2015" y="8268"/>
                      <a:pt x="2017" y="8262"/>
                      <a:pt x="2018" y="8256"/>
                    </a:cubicBezTo>
                    <a:cubicBezTo>
                      <a:pt x="2026" y="8262"/>
                      <a:pt x="2033" y="8268"/>
                      <a:pt x="2041" y="8274"/>
                    </a:cubicBezTo>
                    <a:cubicBezTo>
                      <a:pt x="2043" y="8277"/>
                      <a:pt x="2044" y="8279"/>
                      <a:pt x="2046" y="8282"/>
                    </a:cubicBezTo>
                    <a:lnTo>
                      <a:pt x="2046" y="8325"/>
                    </a:lnTo>
                    <a:cubicBezTo>
                      <a:pt x="2051" y="8333"/>
                      <a:pt x="2055" y="8342"/>
                      <a:pt x="2060" y="8350"/>
                    </a:cubicBezTo>
                    <a:lnTo>
                      <a:pt x="2078" y="8350"/>
                    </a:lnTo>
                    <a:lnTo>
                      <a:pt x="2092" y="8350"/>
                    </a:lnTo>
                    <a:lnTo>
                      <a:pt x="2092" y="8350"/>
                    </a:lnTo>
                    <a:lnTo>
                      <a:pt x="2101" y="8368"/>
                    </a:lnTo>
                    <a:lnTo>
                      <a:pt x="2120" y="8368"/>
                    </a:lnTo>
                    <a:cubicBezTo>
                      <a:pt x="2121" y="8365"/>
                      <a:pt x="2123" y="8362"/>
                      <a:pt x="2124" y="8359"/>
                    </a:cubicBezTo>
                    <a:cubicBezTo>
                      <a:pt x="2129" y="8348"/>
                      <a:pt x="2133" y="8336"/>
                      <a:pt x="2138" y="8325"/>
                    </a:cubicBezTo>
                    <a:lnTo>
                      <a:pt x="2147" y="8325"/>
                    </a:lnTo>
                    <a:cubicBezTo>
                      <a:pt x="2152" y="8333"/>
                      <a:pt x="2156" y="8342"/>
                      <a:pt x="2161" y="8350"/>
                    </a:cubicBezTo>
                    <a:lnTo>
                      <a:pt x="2198" y="8350"/>
                    </a:lnTo>
                    <a:cubicBezTo>
                      <a:pt x="2201" y="8344"/>
                      <a:pt x="2204" y="8339"/>
                      <a:pt x="2207" y="8333"/>
                    </a:cubicBezTo>
                    <a:cubicBezTo>
                      <a:pt x="2213" y="8330"/>
                      <a:pt x="2220" y="8328"/>
                      <a:pt x="2226" y="8325"/>
                    </a:cubicBezTo>
                    <a:cubicBezTo>
                      <a:pt x="2234" y="8291"/>
                      <a:pt x="2241" y="8256"/>
                      <a:pt x="2249" y="8222"/>
                    </a:cubicBezTo>
                    <a:cubicBezTo>
                      <a:pt x="2244" y="8214"/>
                      <a:pt x="2240" y="8205"/>
                      <a:pt x="2235" y="8197"/>
                    </a:cubicBezTo>
                    <a:lnTo>
                      <a:pt x="2198" y="8197"/>
                    </a:lnTo>
                    <a:cubicBezTo>
                      <a:pt x="2195" y="8188"/>
                      <a:pt x="2192" y="8180"/>
                      <a:pt x="2189" y="8171"/>
                    </a:cubicBezTo>
                    <a:cubicBezTo>
                      <a:pt x="2180" y="8162"/>
                      <a:pt x="2170" y="8154"/>
                      <a:pt x="2161" y="8145"/>
                    </a:cubicBezTo>
                    <a:lnTo>
                      <a:pt x="2161" y="8137"/>
                    </a:lnTo>
                    <a:cubicBezTo>
                      <a:pt x="2158" y="8131"/>
                      <a:pt x="2155" y="8126"/>
                      <a:pt x="2152" y="8120"/>
                    </a:cubicBezTo>
                    <a:cubicBezTo>
                      <a:pt x="2147" y="8117"/>
                      <a:pt x="2143" y="8114"/>
                      <a:pt x="2138" y="8111"/>
                    </a:cubicBezTo>
                    <a:lnTo>
                      <a:pt x="2138" y="8094"/>
                    </a:lnTo>
                    <a:lnTo>
                      <a:pt x="2147" y="8085"/>
                    </a:lnTo>
                    <a:cubicBezTo>
                      <a:pt x="2152" y="8077"/>
                      <a:pt x="2156" y="8068"/>
                      <a:pt x="2161" y="8060"/>
                    </a:cubicBezTo>
                    <a:cubicBezTo>
                      <a:pt x="2173" y="8051"/>
                      <a:pt x="2186" y="8043"/>
                      <a:pt x="2198" y="8034"/>
                    </a:cubicBezTo>
                    <a:lnTo>
                      <a:pt x="2198" y="8026"/>
                    </a:lnTo>
                    <a:lnTo>
                      <a:pt x="2198" y="8000"/>
                    </a:lnTo>
                    <a:lnTo>
                      <a:pt x="2180" y="7940"/>
                    </a:lnTo>
                    <a:lnTo>
                      <a:pt x="2189" y="7940"/>
                    </a:lnTo>
                    <a:cubicBezTo>
                      <a:pt x="2192" y="7934"/>
                      <a:pt x="2195" y="7929"/>
                      <a:pt x="2198" y="7923"/>
                    </a:cubicBezTo>
                    <a:lnTo>
                      <a:pt x="2198" y="7897"/>
                    </a:lnTo>
                    <a:cubicBezTo>
                      <a:pt x="2201" y="7894"/>
                      <a:pt x="2204" y="7892"/>
                      <a:pt x="2207" y="7889"/>
                    </a:cubicBezTo>
                    <a:lnTo>
                      <a:pt x="2221" y="7889"/>
                    </a:lnTo>
                    <a:cubicBezTo>
                      <a:pt x="2223" y="7892"/>
                      <a:pt x="2224" y="7894"/>
                      <a:pt x="2226" y="7897"/>
                    </a:cubicBezTo>
                    <a:cubicBezTo>
                      <a:pt x="2229" y="7894"/>
                      <a:pt x="2232" y="7892"/>
                      <a:pt x="2235" y="7889"/>
                    </a:cubicBezTo>
                    <a:cubicBezTo>
                      <a:pt x="2240" y="7892"/>
                      <a:pt x="2244" y="7894"/>
                      <a:pt x="2249" y="7897"/>
                    </a:cubicBezTo>
                    <a:lnTo>
                      <a:pt x="2267" y="7897"/>
                    </a:lnTo>
                    <a:cubicBezTo>
                      <a:pt x="2269" y="7894"/>
                      <a:pt x="2270" y="7892"/>
                      <a:pt x="2272" y="7889"/>
                    </a:cubicBezTo>
                    <a:cubicBezTo>
                      <a:pt x="2275" y="7883"/>
                      <a:pt x="2278" y="7878"/>
                      <a:pt x="2281" y="7872"/>
                    </a:cubicBezTo>
                    <a:cubicBezTo>
                      <a:pt x="2278" y="7863"/>
                      <a:pt x="2275" y="7855"/>
                      <a:pt x="2272" y="7846"/>
                    </a:cubicBezTo>
                    <a:cubicBezTo>
                      <a:pt x="2266" y="7843"/>
                      <a:pt x="2259" y="7841"/>
                      <a:pt x="2253" y="7838"/>
                    </a:cubicBezTo>
                    <a:cubicBezTo>
                      <a:pt x="2242" y="7832"/>
                      <a:pt x="2232" y="7827"/>
                      <a:pt x="2221" y="7821"/>
                    </a:cubicBezTo>
                    <a:lnTo>
                      <a:pt x="2212" y="7812"/>
                    </a:lnTo>
                    <a:lnTo>
                      <a:pt x="2212" y="7803"/>
                    </a:lnTo>
                    <a:lnTo>
                      <a:pt x="2221" y="7803"/>
                    </a:lnTo>
                    <a:cubicBezTo>
                      <a:pt x="2226" y="7797"/>
                      <a:pt x="2230" y="7792"/>
                      <a:pt x="2235" y="7786"/>
                    </a:cubicBezTo>
                    <a:cubicBezTo>
                      <a:pt x="2237" y="7783"/>
                      <a:pt x="2238" y="7781"/>
                      <a:pt x="2240" y="7778"/>
                    </a:cubicBezTo>
                    <a:cubicBezTo>
                      <a:pt x="2235" y="7772"/>
                      <a:pt x="2231" y="7767"/>
                      <a:pt x="2226" y="7761"/>
                    </a:cubicBezTo>
                    <a:cubicBezTo>
                      <a:pt x="2224" y="7767"/>
                      <a:pt x="2223" y="7772"/>
                      <a:pt x="2221" y="7778"/>
                    </a:cubicBezTo>
                    <a:lnTo>
                      <a:pt x="2198" y="7778"/>
                    </a:lnTo>
                    <a:lnTo>
                      <a:pt x="2198" y="7752"/>
                    </a:lnTo>
                    <a:cubicBezTo>
                      <a:pt x="2201" y="7746"/>
                      <a:pt x="2204" y="7741"/>
                      <a:pt x="2207" y="7735"/>
                    </a:cubicBezTo>
                    <a:cubicBezTo>
                      <a:pt x="2209" y="7732"/>
                      <a:pt x="2210" y="7729"/>
                      <a:pt x="2212" y="7726"/>
                    </a:cubicBezTo>
                    <a:cubicBezTo>
                      <a:pt x="2207" y="7715"/>
                      <a:pt x="2203" y="7703"/>
                      <a:pt x="2198" y="7692"/>
                    </a:cubicBezTo>
                    <a:lnTo>
                      <a:pt x="2221" y="7692"/>
                    </a:lnTo>
                    <a:lnTo>
                      <a:pt x="2221" y="7675"/>
                    </a:lnTo>
                    <a:lnTo>
                      <a:pt x="2235" y="7675"/>
                    </a:lnTo>
                    <a:cubicBezTo>
                      <a:pt x="2237" y="7681"/>
                      <a:pt x="2238" y="7686"/>
                      <a:pt x="2240" y="7692"/>
                    </a:cubicBezTo>
                    <a:lnTo>
                      <a:pt x="2249" y="7692"/>
                    </a:lnTo>
                    <a:lnTo>
                      <a:pt x="2258" y="7692"/>
                    </a:lnTo>
                    <a:lnTo>
                      <a:pt x="2267" y="7692"/>
                    </a:lnTo>
                    <a:lnTo>
                      <a:pt x="2295" y="7692"/>
                    </a:lnTo>
                    <a:cubicBezTo>
                      <a:pt x="2297" y="7695"/>
                      <a:pt x="2298" y="7698"/>
                      <a:pt x="2300" y="7701"/>
                    </a:cubicBezTo>
                    <a:cubicBezTo>
                      <a:pt x="2304" y="7692"/>
                      <a:pt x="2309" y="7684"/>
                      <a:pt x="2313" y="7675"/>
                    </a:cubicBezTo>
                    <a:lnTo>
                      <a:pt x="2323" y="7675"/>
                    </a:lnTo>
                    <a:lnTo>
                      <a:pt x="2341" y="7675"/>
                    </a:lnTo>
                    <a:cubicBezTo>
                      <a:pt x="2343" y="7672"/>
                      <a:pt x="2344" y="7670"/>
                      <a:pt x="2346" y="7667"/>
                    </a:cubicBezTo>
                    <a:cubicBezTo>
                      <a:pt x="2350" y="7661"/>
                      <a:pt x="2355" y="7656"/>
                      <a:pt x="2359" y="7650"/>
                    </a:cubicBezTo>
                    <a:cubicBezTo>
                      <a:pt x="2364" y="7641"/>
                      <a:pt x="2368" y="7633"/>
                      <a:pt x="2373" y="7624"/>
                    </a:cubicBezTo>
                    <a:cubicBezTo>
                      <a:pt x="2376" y="7630"/>
                      <a:pt x="2379" y="7635"/>
                      <a:pt x="2382" y="7641"/>
                    </a:cubicBezTo>
                    <a:cubicBezTo>
                      <a:pt x="2387" y="7644"/>
                      <a:pt x="2391" y="7647"/>
                      <a:pt x="2396" y="7650"/>
                    </a:cubicBezTo>
                    <a:lnTo>
                      <a:pt x="2401" y="7650"/>
                    </a:lnTo>
                    <a:lnTo>
                      <a:pt x="2401" y="7624"/>
                    </a:lnTo>
                    <a:lnTo>
                      <a:pt x="2419" y="7624"/>
                    </a:lnTo>
                    <a:cubicBezTo>
                      <a:pt x="2424" y="7621"/>
                      <a:pt x="2428" y="7618"/>
                      <a:pt x="2433" y="7615"/>
                    </a:cubicBezTo>
                    <a:lnTo>
                      <a:pt x="2442" y="7615"/>
                    </a:lnTo>
                    <a:cubicBezTo>
                      <a:pt x="2444" y="7609"/>
                      <a:pt x="2445" y="7604"/>
                      <a:pt x="2447" y="7598"/>
                    </a:cubicBezTo>
                    <a:lnTo>
                      <a:pt x="2461" y="7598"/>
                    </a:lnTo>
                    <a:cubicBezTo>
                      <a:pt x="2462" y="7604"/>
                      <a:pt x="2464" y="7609"/>
                      <a:pt x="2465" y="7615"/>
                    </a:cubicBezTo>
                    <a:cubicBezTo>
                      <a:pt x="2470" y="7598"/>
                      <a:pt x="2474" y="7581"/>
                      <a:pt x="2479" y="7564"/>
                    </a:cubicBezTo>
                    <a:cubicBezTo>
                      <a:pt x="2482" y="7561"/>
                      <a:pt x="2485" y="7559"/>
                      <a:pt x="2488" y="7556"/>
                    </a:cubicBezTo>
                    <a:lnTo>
                      <a:pt x="2493" y="7556"/>
                    </a:lnTo>
                    <a:lnTo>
                      <a:pt x="2507" y="7556"/>
                    </a:lnTo>
                    <a:cubicBezTo>
                      <a:pt x="2515" y="7550"/>
                      <a:pt x="2522" y="7544"/>
                      <a:pt x="2530" y="7538"/>
                    </a:cubicBezTo>
                    <a:lnTo>
                      <a:pt x="2530" y="7556"/>
                    </a:lnTo>
                    <a:lnTo>
                      <a:pt x="2641" y="7504"/>
                    </a:lnTo>
                    <a:cubicBezTo>
                      <a:pt x="2645" y="7498"/>
                      <a:pt x="2650" y="7493"/>
                      <a:pt x="2654" y="7487"/>
                    </a:cubicBezTo>
                    <a:lnTo>
                      <a:pt x="2664" y="7487"/>
                    </a:lnTo>
                    <a:cubicBezTo>
                      <a:pt x="2665" y="7484"/>
                      <a:pt x="2667" y="7482"/>
                      <a:pt x="2668" y="7479"/>
                    </a:cubicBezTo>
                    <a:cubicBezTo>
                      <a:pt x="2670" y="7473"/>
                      <a:pt x="2671" y="7468"/>
                      <a:pt x="2673" y="7462"/>
                    </a:cubicBezTo>
                    <a:lnTo>
                      <a:pt x="2673" y="7427"/>
                    </a:lnTo>
                    <a:cubicBezTo>
                      <a:pt x="2678" y="7430"/>
                      <a:pt x="2682" y="7433"/>
                      <a:pt x="2687" y="7436"/>
                    </a:cubicBezTo>
                    <a:lnTo>
                      <a:pt x="2696" y="7427"/>
                    </a:lnTo>
                    <a:cubicBezTo>
                      <a:pt x="2697" y="7424"/>
                      <a:pt x="2699" y="7422"/>
                      <a:pt x="2700" y="7419"/>
                    </a:cubicBezTo>
                    <a:cubicBezTo>
                      <a:pt x="2703" y="7413"/>
                      <a:pt x="2707" y="7408"/>
                      <a:pt x="2710" y="7402"/>
                    </a:cubicBezTo>
                    <a:lnTo>
                      <a:pt x="2724" y="7402"/>
                    </a:lnTo>
                    <a:lnTo>
                      <a:pt x="2724" y="7393"/>
                    </a:lnTo>
                    <a:lnTo>
                      <a:pt x="2737" y="7393"/>
                    </a:lnTo>
                    <a:cubicBezTo>
                      <a:pt x="2739" y="7396"/>
                      <a:pt x="2740" y="7399"/>
                      <a:pt x="2742" y="7402"/>
                    </a:cubicBezTo>
                    <a:lnTo>
                      <a:pt x="2747" y="7402"/>
                    </a:lnTo>
                    <a:lnTo>
                      <a:pt x="2760" y="7402"/>
                    </a:lnTo>
                    <a:lnTo>
                      <a:pt x="2770" y="7402"/>
                    </a:lnTo>
                    <a:lnTo>
                      <a:pt x="2774" y="7402"/>
                    </a:lnTo>
                    <a:cubicBezTo>
                      <a:pt x="2777" y="7408"/>
                      <a:pt x="2780" y="7413"/>
                      <a:pt x="2783" y="7419"/>
                    </a:cubicBezTo>
                    <a:cubicBezTo>
                      <a:pt x="2789" y="7425"/>
                      <a:pt x="2796" y="7430"/>
                      <a:pt x="2802" y="7436"/>
                    </a:cubicBezTo>
                    <a:cubicBezTo>
                      <a:pt x="2807" y="7430"/>
                      <a:pt x="2811" y="7425"/>
                      <a:pt x="2816" y="7419"/>
                    </a:cubicBezTo>
                    <a:lnTo>
                      <a:pt x="2834" y="7419"/>
                    </a:lnTo>
                    <a:lnTo>
                      <a:pt x="2843" y="7419"/>
                    </a:lnTo>
                    <a:cubicBezTo>
                      <a:pt x="2845" y="7425"/>
                      <a:pt x="2846" y="7430"/>
                      <a:pt x="2848" y="7436"/>
                    </a:cubicBezTo>
                    <a:cubicBezTo>
                      <a:pt x="2851" y="7442"/>
                      <a:pt x="2854" y="7447"/>
                      <a:pt x="2857" y="7453"/>
                    </a:cubicBezTo>
                    <a:lnTo>
                      <a:pt x="2857" y="7504"/>
                    </a:lnTo>
                    <a:cubicBezTo>
                      <a:pt x="2859" y="7513"/>
                      <a:pt x="2860" y="7521"/>
                      <a:pt x="2862" y="7530"/>
                    </a:cubicBezTo>
                    <a:cubicBezTo>
                      <a:pt x="2867" y="7533"/>
                      <a:pt x="2871" y="7535"/>
                      <a:pt x="2876" y="7538"/>
                    </a:cubicBezTo>
                    <a:cubicBezTo>
                      <a:pt x="2874" y="7547"/>
                      <a:pt x="2873" y="7555"/>
                      <a:pt x="2871" y="7564"/>
                    </a:cubicBezTo>
                    <a:lnTo>
                      <a:pt x="2871" y="7598"/>
                    </a:lnTo>
                    <a:cubicBezTo>
                      <a:pt x="2866" y="7607"/>
                      <a:pt x="2862" y="7615"/>
                      <a:pt x="2857" y="7624"/>
                    </a:cubicBezTo>
                    <a:cubicBezTo>
                      <a:pt x="2859" y="7630"/>
                      <a:pt x="2860" y="7635"/>
                      <a:pt x="2862" y="7641"/>
                    </a:cubicBezTo>
                    <a:cubicBezTo>
                      <a:pt x="2865" y="7650"/>
                      <a:pt x="2868" y="7658"/>
                      <a:pt x="2871" y="7667"/>
                    </a:cubicBezTo>
                    <a:cubicBezTo>
                      <a:pt x="2874" y="7661"/>
                      <a:pt x="2877" y="7656"/>
                      <a:pt x="2880" y="7650"/>
                    </a:cubicBezTo>
                    <a:cubicBezTo>
                      <a:pt x="2885" y="7656"/>
                      <a:pt x="2889" y="7661"/>
                      <a:pt x="2894" y="7667"/>
                    </a:cubicBezTo>
                    <a:lnTo>
                      <a:pt x="2903" y="7667"/>
                    </a:lnTo>
                    <a:cubicBezTo>
                      <a:pt x="2905" y="7658"/>
                      <a:pt x="2906" y="7650"/>
                      <a:pt x="2908" y="7641"/>
                    </a:cubicBezTo>
                    <a:lnTo>
                      <a:pt x="2917" y="7641"/>
                    </a:lnTo>
                    <a:lnTo>
                      <a:pt x="2922" y="7641"/>
                    </a:lnTo>
                    <a:cubicBezTo>
                      <a:pt x="2925" y="7632"/>
                      <a:pt x="2928" y="7624"/>
                      <a:pt x="2931" y="7615"/>
                    </a:cubicBezTo>
                    <a:lnTo>
                      <a:pt x="2935" y="7615"/>
                    </a:lnTo>
                    <a:cubicBezTo>
                      <a:pt x="2938" y="7627"/>
                      <a:pt x="2942" y="7638"/>
                      <a:pt x="2945" y="7650"/>
                    </a:cubicBezTo>
                    <a:cubicBezTo>
                      <a:pt x="2946" y="7656"/>
                      <a:pt x="2948" y="7661"/>
                      <a:pt x="2949" y="7667"/>
                    </a:cubicBezTo>
                    <a:lnTo>
                      <a:pt x="2949" y="7675"/>
                    </a:lnTo>
                    <a:cubicBezTo>
                      <a:pt x="2948" y="7681"/>
                      <a:pt x="2946" y="7686"/>
                      <a:pt x="2945" y="7692"/>
                    </a:cubicBezTo>
                    <a:lnTo>
                      <a:pt x="2963" y="7701"/>
                    </a:lnTo>
                    <a:lnTo>
                      <a:pt x="2963" y="7675"/>
                    </a:lnTo>
                    <a:cubicBezTo>
                      <a:pt x="2960" y="7672"/>
                      <a:pt x="2957" y="7670"/>
                      <a:pt x="2954" y="7667"/>
                    </a:cubicBezTo>
                    <a:lnTo>
                      <a:pt x="2963" y="7667"/>
                    </a:lnTo>
                    <a:lnTo>
                      <a:pt x="2982" y="7667"/>
                    </a:lnTo>
                    <a:cubicBezTo>
                      <a:pt x="2985" y="7670"/>
                      <a:pt x="2988" y="7672"/>
                      <a:pt x="2991" y="7675"/>
                    </a:cubicBezTo>
                    <a:cubicBezTo>
                      <a:pt x="2992" y="7681"/>
                      <a:pt x="2994" y="7686"/>
                      <a:pt x="2995" y="7692"/>
                    </a:cubicBezTo>
                    <a:cubicBezTo>
                      <a:pt x="3000" y="7695"/>
                      <a:pt x="3004" y="7698"/>
                      <a:pt x="3009" y="7701"/>
                    </a:cubicBezTo>
                    <a:lnTo>
                      <a:pt x="3018" y="7701"/>
                    </a:lnTo>
                    <a:cubicBezTo>
                      <a:pt x="3020" y="7698"/>
                      <a:pt x="3021" y="7695"/>
                      <a:pt x="3023" y="7692"/>
                    </a:cubicBezTo>
                    <a:cubicBezTo>
                      <a:pt x="3025" y="7686"/>
                      <a:pt x="3026" y="7681"/>
                      <a:pt x="3028" y="7675"/>
                    </a:cubicBezTo>
                    <a:cubicBezTo>
                      <a:pt x="3031" y="7681"/>
                      <a:pt x="3034" y="7686"/>
                      <a:pt x="3037" y="7692"/>
                    </a:cubicBezTo>
                    <a:cubicBezTo>
                      <a:pt x="3034" y="7698"/>
                      <a:pt x="3031" y="7703"/>
                      <a:pt x="3028" y="7709"/>
                    </a:cubicBezTo>
                    <a:lnTo>
                      <a:pt x="3023" y="7709"/>
                    </a:lnTo>
                    <a:cubicBezTo>
                      <a:pt x="3021" y="7715"/>
                      <a:pt x="3020" y="7720"/>
                      <a:pt x="3018" y="7726"/>
                    </a:cubicBezTo>
                    <a:lnTo>
                      <a:pt x="3009" y="7735"/>
                    </a:lnTo>
                    <a:lnTo>
                      <a:pt x="3009" y="7761"/>
                    </a:lnTo>
                    <a:lnTo>
                      <a:pt x="3009" y="7778"/>
                    </a:lnTo>
                    <a:cubicBezTo>
                      <a:pt x="3012" y="7781"/>
                      <a:pt x="3015" y="7783"/>
                      <a:pt x="3018" y="7786"/>
                    </a:cubicBezTo>
                    <a:lnTo>
                      <a:pt x="3023" y="7786"/>
                    </a:lnTo>
                    <a:cubicBezTo>
                      <a:pt x="3025" y="7783"/>
                      <a:pt x="3026" y="7781"/>
                      <a:pt x="3028" y="7778"/>
                    </a:cubicBezTo>
                    <a:cubicBezTo>
                      <a:pt x="3036" y="7772"/>
                      <a:pt x="3043" y="7767"/>
                      <a:pt x="3051" y="7761"/>
                    </a:cubicBezTo>
                    <a:cubicBezTo>
                      <a:pt x="3052" y="7767"/>
                      <a:pt x="3054" y="7772"/>
                      <a:pt x="3055" y="7778"/>
                    </a:cubicBezTo>
                    <a:cubicBezTo>
                      <a:pt x="3058" y="7772"/>
                      <a:pt x="3062" y="7767"/>
                      <a:pt x="3065" y="7761"/>
                    </a:cubicBezTo>
                    <a:cubicBezTo>
                      <a:pt x="3066" y="7769"/>
                      <a:pt x="3068" y="7778"/>
                      <a:pt x="3069" y="7786"/>
                    </a:cubicBezTo>
                    <a:lnTo>
                      <a:pt x="3083" y="7786"/>
                    </a:lnTo>
                    <a:cubicBezTo>
                      <a:pt x="3081" y="7778"/>
                      <a:pt x="3080" y="7769"/>
                      <a:pt x="3078" y="7761"/>
                    </a:cubicBezTo>
                    <a:cubicBezTo>
                      <a:pt x="3080" y="7758"/>
                      <a:pt x="3081" y="7755"/>
                      <a:pt x="3083" y="7752"/>
                    </a:cubicBezTo>
                    <a:lnTo>
                      <a:pt x="3097" y="7752"/>
                    </a:lnTo>
                    <a:cubicBezTo>
                      <a:pt x="3102" y="7743"/>
                      <a:pt x="3106" y="7735"/>
                      <a:pt x="3111" y="7726"/>
                    </a:cubicBezTo>
                    <a:cubicBezTo>
                      <a:pt x="3115" y="7720"/>
                      <a:pt x="3120" y="7715"/>
                      <a:pt x="3124" y="7709"/>
                    </a:cubicBezTo>
                    <a:cubicBezTo>
                      <a:pt x="3130" y="7703"/>
                      <a:pt x="3137" y="7698"/>
                      <a:pt x="3143" y="7692"/>
                    </a:cubicBezTo>
                    <a:cubicBezTo>
                      <a:pt x="3146" y="7684"/>
                      <a:pt x="3149" y="7675"/>
                      <a:pt x="3152" y="7667"/>
                    </a:cubicBezTo>
                    <a:cubicBezTo>
                      <a:pt x="3154" y="7661"/>
                      <a:pt x="3155" y="7656"/>
                      <a:pt x="3157" y="7650"/>
                    </a:cubicBezTo>
                    <a:lnTo>
                      <a:pt x="3161" y="7650"/>
                    </a:lnTo>
                    <a:cubicBezTo>
                      <a:pt x="3170" y="7647"/>
                      <a:pt x="3180" y="7644"/>
                      <a:pt x="3189" y="7641"/>
                    </a:cubicBezTo>
                    <a:cubicBezTo>
                      <a:pt x="3192" y="7635"/>
                      <a:pt x="3195" y="7630"/>
                      <a:pt x="3198" y="7624"/>
                    </a:cubicBezTo>
                    <a:cubicBezTo>
                      <a:pt x="3204" y="7621"/>
                      <a:pt x="3211" y="7618"/>
                      <a:pt x="3217" y="7615"/>
                    </a:cubicBezTo>
                    <a:cubicBezTo>
                      <a:pt x="3223" y="7609"/>
                      <a:pt x="3229" y="7604"/>
                      <a:pt x="3235" y="7598"/>
                    </a:cubicBezTo>
                    <a:lnTo>
                      <a:pt x="3235" y="7615"/>
                    </a:lnTo>
                    <a:lnTo>
                      <a:pt x="3235" y="7641"/>
                    </a:lnTo>
                    <a:lnTo>
                      <a:pt x="3235" y="7650"/>
                    </a:lnTo>
                    <a:lnTo>
                      <a:pt x="3226" y="7650"/>
                    </a:lnTo>
                    <a:lnTo>
                      <a:pt x="3217" y="7650"/>
                    </a:lnTo>
                    <a:cubicBezTo>
                      <a:pt x="3215" y="7658"/>
                      <a:pt x="3214" y="7667"/>
                      <a:pt x="3212" y="7675"/>
                    </a:cubicBezTo>
                    <a:lnTo>
                      <a:pt x="3212" y="7675"/>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79" name="Freeform 696"/>
              <p:cNvSpPr>
                <a:spLocks/>
              </p:cNvSpPr>
              <p:nvPr/>
            </p:nvSpPr>
            <p:spPr bwMode="auto">
              <a:xfrm>
                <a:off x="6802776" y="2574874"/>
                <a:ext cx="185216" cy="144007"/>
              </a:xfrm>
              <a:custGeom>
                <a:avLst/>
                <a:gdLst/>
                <a:ahLst/>
                <a:cxnLst>
                  <a:cxn ang="0">
                    <a:pos x="67" y="27"/>
                  </a:cxn>
                  <a:cxn ang="0">
                    <a:pos x="64" y="17"/>
                  </a:cxn>
                  <a:cxn ang="0">
                    <a:pos x="70" y="11"/>
                  </a:cxn>
                  <a:cxn ang="0">
                    <a:pos x="79" y="8"/>
                  </a:cxn>
                  <a:cxn ang="0">
                    <a:pos x="85" y="7"/>
                  </a:cxn>
                  <a:cxn ang="0">
                    <a:pos x="82" y="3"/>
                  </a:cxn>
                  <a:cxn ang="0">
                    <a:pos x="88" y="1"/>
                  </a:cxn>
                  <a:cxn ang="0">
                    <a:pos x="101" y="8"/>
                  </a:cxn>
                  <a:cxn ang="0">
                    <a:pos x="108" y="11"/>
                  </a:cxn>
                  <a:cxn ang="0">
                    <a:pos x="111" y="17"/>
                  </a:cxn>
                  <a:cxn ang="0">
                    <a:pos x="109" y="23"/>
                  </a:cxn>
                  <a:cxn ang="0">
                    <a:pos x="114" y="29"/>
                  </a:cxn>
                  <a:cxn ang="0">
                    <a:pos x="128" y="27"/>
                  </a:cxn>
                  <a:cxn ang="0">
                    <a:pos x="137" y="35"/>
                  </a:cxn>
                  <a:cxn ang="0">
                    <a:pos x="143" y="43"/>
                  </a:cxn>
                  <a:cxn ang="0">
                    <a:pos x="146" y="55"/>
                  </a:cxn>
                  <a:cxn ang="0">
                    <a:pos x="186" y="84"/>
                  </a:cxn>
                  <a:cxn ang="0">
                    <a:pos x="192" y="83"/>
                  </a:cxn>
                  <a:cxn ang="0">
                    <a:pos x="202" y="90"/>
                  </a:cxn>
                  <a:cxn ang="0">
                    <a:pos x="196" y="100"/>
                  </a:cxn>
                  <a:cxn ang="0">
                    <a:pos x="188" y="99"/>
                  </a:cxn>
                  <a:cxn ang="0">
                    <a:pos x="186" y="103"/>
                  </a:cxn>
                  <a:cxn ang="0">
                    <a:pos x="179" y="103"/>
                  </a:cxn>
                  <a:cxn ang="0">
                    <a:pos x="176" y="106"/>
                  </a:cxn>
                  <a:cxn ang="0">
                    <a:pos x="173" y="113"/>
                  </a:cxn>
                  <a:cxn ang="0">
                    <a:pos x="167" y="122"/>
                  </a:cxn>
                  <a:cxn ang="0">
                    <a:pos x="162" y="126"/>
                  </a:cxn>
                  <a:cxn ang="0">
                    <a:pos x="153" y="128"/>
                  </a:cxn>
                  <a:cxn ang="0">
                    <a:pos x="153" y="132"/>
                  </a:cxn>
                  <a:cxn ang="0">
                    <a:pos x="149" y="136"/>
                  </a:cxn>
                  <a:cxn ang="0">
                    <a:pos x="141" y="138"/>
                  </a:cxn>
                  <a:cxn ang="0">
                    <a:pos x="137" y="135"/>
                  </a:cxn>
                  <a:cxn ang="0">
                    <a:pos x="130" y="133"/>
                  </a:cxn>
                  <a:cxn ang="0">
                    <a:pos x="127" y="128"/>
                  </a:cxn>
                  <a:cxn ang="0">
                    <a:pos x="124" y="113"/>
                  </a:cxn>
                  <a:cxn ang="0">
                    <a:pos x="101" y="100"/>
                  </a:cxn>
                  <a:cxn ang="0">
                    <a:pos x="92" y="94"/>
                  </a:cxn>
                  <a:cxn ang="0">
                    <a:pos x="67" y="83"/>
                  </a:cxn>
                  <a:cxn ang="0">
                    <a:pos x="56" y="87"/>
                  </a:cxn>
                  <a:cxn ang="0">
                    <a:pos x="43" y="87"/>
                  </a:cxn>
                  <a:cxn ang="0">
                    <a:pos x="22" y="99"/>
                  </a:cxn>
                  <a:cxn ang="0">
                    <a:pos x="24" y="71"/>
                  </a:cxn>
                  <a:cxn ang="0">
                    <a:pos x="14" y="64"/>
                  </a:cxn>
                  <a:cxn ang="0">
                    <a:pos x="16" y="58"/>
                  </a:cxn>
                  <a:cxn ang="0">
                    <a:pos x="21" y="55"/>
                  </a:cxn>
                  <a:cxn ang="0">
                    <a:pos x="9" y="52"/>
                  </a:cxn>
                  <a:cxn ang="0">
                    <a:pos x="5" y="46"/>
                  </a:cxn>
                  <a:cxn ang="0">
                    <a:pos x="6" y="32"/>
                  </a:cxn>
                  <a:cxn ang="0">
                    <a:pos x="19" y="40"/>
                  </a:cxn>
                  <a:cxn ang="0">
                    <a:pos x="29" y="39"/>
                  </a:cxn>
                  <a:cxn ang="0">
                    <a:pos x="29" y="36"/>
                  </a:cxn>
                  <a:cxn ang="0">
                    <a:pos x="22" y="19"/>
                  </a:cxn>
                  <a:cxn ang="0">
                    <a:pos x="8" y="17"/>
                  </a:cxn>
                  <a:cxn ang="0">
                    <a:pos x="6" y="23"/>
                  </a:cxn>
                  <a:cxn ang="0">
                    <a:pos x="2" y="23"/>
                  </a:cxn>
                  <a:cxn ang="0">
                    <a:pos x="24" y="7"/>
                  </a:cxn>
                  <a:cxn ang="0">
                    <a:pos x="41" y="26"/>
                  </a:cxn>
                  <a:cxn ang="0">
                    <a:pos x="51" y="27"/>
                  </a:cxn>
                </a:cxnLst>
                <a:rect l="0" t="0" r="r" b="b"/>
                <a:pathLst>
                  <a:path w="202" h="138">
                    <a:moveTo>
                      <a:pt x="51" y="27"/>
                    </a:moveTo>
                    <a:lnTo>
                      <a:pt x="66" y="29"/>
                    </a:lnTo>
                    <a:lnTo>
                      <a:pt x="67" y="27"/>
                    </a:lnTo>
                    <a:lnTo>
                      <a:pt x="66" y="24"/>
                    </a:lnTo>
                    <a:lnTo>
                      <a:pt x="66" y="22"/>
                    </a:lnTo>
                    <a:lnTo>
                      <a:pt x="64" y="17"/>
                    </a:lnTo>
                    <a:lnTo>
                      <a:pt x="66" y="16"/>
                    </a:lnTo>
                    <a:lnTo>
                      <a:pt x="67" y="14"/>
                    </a:lnTo>
                    <a:lnTo>
                      <a:pt x="70" y="11"/>
                    </a:lnTo>
                    <a:lnTo>
                      <a:pt x="76" y="10"/>
                    </a:lnTo>
                    <a:lnTo>
                      <a:pt x="77" y="10"/>
                    </a:lnTo>
                    <a:lnTo>
                      <a:pt x="79" y="8"/>
                    </a:lnTo>
                    <a:lnTo>
                      <a:pt x="79" y="6"/>
                    </a:lnTo>
                    <a:lnTo>
                      <a:pt x="80" y="6"/>
                    </a:lnTo>
                    <a:lnTo>
                      <a:pt x="85" y="7"/>
                    </a:lnTo>
                    <a:lnTo>
                      <a:pt x="86" y="8"/>
                    </a:lnTo>
                    <a:lnTo>
                      <a:pt x="85" y="4"/>
                    </a:lnTo>
                    <a:lnTo>
                      <a:pt x="82" y="3"/>
                    </a:lnTo>
                    <a:lnTo>
                      <a:pt x="85" y="1"/>
                    </a:lnTo>
                    <a:lnTo>
                      <a:pt x="86" y="1"/>
                    </a:lnTo>
                    <a:lnTo>
                      <a:pt x="88" y="1"/>
                    </a:lnTo>
                    <a:lnTo>
                      <a:pt x="89" y="0"/>
                    </a:lnTo>
                    <a:lnTo>
                      <a:pt x="99" y="8"/>
                    </a:lnTo>
                    <a:lnTo>
                      <a:pt x="101" y="8"/>
                    </a:lnTo>
                    <a:lnTo>
                      <a:pt x="104" y="8"/>
                    </a:lnTo>
                    <a:lnTo>
                      <a:pt x="106" y="10"/>
                    </a:lnTo>
                    <a:lnTo>
                      <a:pt x="108" y="11"/>
                    </a:lnTo>
                    <a:lnTo>
                      <a:pt x="108" y="13"/>
                    </a:lnTo>
                    <a:lnTo>
                      <a:pt x="108" y="16"/>
                    </a:lnTo>
                    <a:lnTo>
                      <a:pt x="111" y="17"/>
                    </a:lnTo>
                    <a:lnTo>
                      <a:pt x="109" y="19"/>
                    </a:lnTo>
                    <a:lnTo>
                      <a:pt x="109" y="20"/>
                    </a:lnTo>
                    <a:lnTo>
                      <a:pt x="109" y="23"/>
                    </a:lnTo>
                    <a:lnTo>
                      <a:pt x="109" y="24"/>
                    </a:lnTo>
                    <a:lnTo>
                      <a:pt x="109" y="26"/>
                    </a:lnTo>
                    <a:lnTo>
                      <a:pt x="114" y="29"/>
                    </a:lnTo>
                    <a:lnTo>
                      <a:pt x="127" y="30"/>
                    </a:lnTo>
                    <a:lnTo>
                      <a:pt x="128" y="30"/>
                    </a:lnTo>
                    <a:lnTo>
                      <a:pt x="128" y="27"/>
                    </a:lnTo>
                    <a:lnTo>
                      <a:pt x="131" y="27"/>
                    </a:lnTo>
                    <a:lnTo>
                      <a:pt x="137" y="32"/>
                    </a:lnTo>
                    <a:lnTo>
                      <a:pt x="137" y="35"/>
                    </a:lnTo>
                    <a:lnTo>
                      <a:pt x="138" y="39"/>
                    </a:lnTo>
                    <a:lnTo>
                      <a:pt x="138" y="40"/>
                    </a:lnTo>
                    <a:lnTo>
                      <a:pt x="143" y="43"/>
                    </a:lnTo>
                    <a:lnTo>
                      <a:pt x="143" y="48"/>
                    </a:lnTo>
                    <a:lnTo>
                      <a:pt x="143" y="49"/>
                    </a:lnTo>
                    <a:lnTo>
                      <a:pt x="146" y="55"/>
                    </a:lnTo>
                    <a:lnTo>
                      <a:pt x="166" y="69"/>
                    </a:lnTo>
                    <a:lnTo>
                      <a:pt x="170" y="71"/>
                    </a:lnTo>
                    <a:lnTo>
                      <a:pt x="186" y="84"/>
                    </a:lnTo>
                    <a:lnTo>
                      <a:pt x="188" y="84"/>
                    </a:lnTo>
                    <a:lnTo>
                      <a:pt x="191" y="83"/>
                    </a:lnTo>
                    <a:lnTo>
                      <a:pt x="192" y="83"/>
                    </a:lnTo>
                    <a:lnTo>
                      <a:pt x="198" y="85"/>
                    </a:lnTo>
                    <a:lnTo>
                      <a:pt x="199" y="87"/>
                    </a:lnTo>
                    <a:lnTo>
                      <a:pt x="202" y="90"/>
                    </a:lnTo>
                    <a:lnTo>
                      <a:pt x="201" y="93"/>
                    </a:lnTo>
                    <a:lnTo>
                      <a:pt x="201" y="101"/>
                    </a:lnTo>
                    <a:lnTo>
                      <a:pt x="196" y="100"/>
                    </a:lnTo>
                    <a:lnTo>
                      <a:pt x="191" y="97"/>
                    </a:lnTo>
                    <a:lnTo>
                      <a:pt x="188" y="97"/>
                    </a:lnTo>
                    <a:lnTo>
                      <a:pt x="188" y="99"/>
                    </a:lnTo>
                    <a:lnTo>
                      <a:pt x="188" y="100"/>
                    </a:lnTo>
                    <a:lnTo>
                      <a:pt x="186" y="101"/>
                    </a:lnTo>
                    <a:lnTo>
                      <a:pt x="186" y="103"/>
                    </a:lnTo>
                    <a:lnTo>
                      <a:pt x="182" y="103"/>
                    </a:lnTo>
                    <a:lnTo>
                      <a:pt x="180" y="101"/>
                    </a:lnTo>
                    <a:lnTo>
                      <a:pt x="179" y="103"/>
                    </a:lnTo>
                    <a:lnTo>
                      <a:pt x="178" y="104"/>
                    </a:lnTo>
                    <a:lnTo>
                      <a:pt x="176" y="104"/>
                    </a:lnTo>
                    <a:lnTo>
                      <a:pt x="176" y="106"/>
                    </a:lnTo>
                    <a:lnTo>
                      <a:pt x="176" y="107"/>
                    </a:lnTo>
                    <a:lnTo>
                      <a:pt x="175" y="112"/>
                    </a:lnTo>
                    <a:lnTo>
                      <a:pt x="173" y="113"/>
                    </a:lnTo>
                    <a:lnTo>
                      <a:pt x="173" y="119"/>
                    </a:lnTo>
                    <a:lnTo>
                      <a:pt x="169" y="122"/>
                    </a:lnTo>
                    <a:lnTo>
                      <a:pt x="167" y="122"/>
                    </a:lnTo>
                    <a:lnTo>
                      <a:pt x="166" y="123"/>
                    </a:lnTo>
                    <a:lnTo>
                      <a:pt x="163" y="125"/>
                    </a:lnTo>
                    <a:lnTo>
                      <a:pt x="162" y="126"/>
                    </a:lnTo>
                    <a:lnTo>
                      <a:pt x="154" y="128"/>
                    </a:lnTo>
                    <a:lnTo>
                      <a:pt x="153" y="128"/>
                    </a:lnTo>
                    <a:lnTo>
                      <a:pt x="153" y="128"/>
                    </a:lnTo>
                    <a:lnTo>
                      <a:pt x="154" y="131"/>
                    </a:lnTo>
                    <a:lnTo>
                      <a:pt x="154" y="131"/>
                    </a:lnTo>
                    <a:lnTo>
                      <a:pt x="153" y="132"/>
                    </a:lnTo>
                    <a:lnTo>
                      <a:pt x="153" y="135"/>
                    </a:lnTo>
                    <a:lnTo>
                      <a:pt x="151" y="135"/>
                    </a:lnTo>
                    <a:lnTo>
                      <a:pt x="149" y="136"/>
                    </a:lnTo>
                    <a:lnTo>
                      <a:pt x="147" y="138"/>
                    </a:lnTo>
                    <a:lnTo>
                      <a:pt x="144" y="138"/>
                    </a:lnTo>
                    <a:lnTo>
                      <a:pt x="141" y="138"/>
                    </a:lnTo>
                    <a:lnTo>
                      <a:pt x="141" y="138"/>
                    </a:lnTo>
                    <a:lnTo>
                      <a:pt x="140" y="136"/>
                    </a:lnTo>
                    <a:lnTo>
                      <a:pt x="137" y="135"/>
                    </a:lnTo>
                    <a:lnTo>
                      <a:pt x="135" y="135"/>
                    </a:lnTo>
                    <a:lnTo>
                      <a:pt x="133" y="135"/>
                    </a:lnTo>
                    <a:lnTo>
                      <a:pt x="130" y="133"/>
                    </a:lnTo>
                    <a:lnTo>
                      <a:pt x="130" y="133"/>
                    </a:lnTo>
                    <a:lnTo>
                      <a:pt x="125" y="131"/>
                    </a:lnTo>
                    <a:lnTo>
                      <a:pt x="127" y="128"/>
                    </a:lnTo>
                    <a:lnTo>
                      <a:pt x="125" y="125"/>
                    </a:lnTo>
                    <a:lnTo>
                      <a:pt x="125" y="115"/>
                    </a:lnTo>
                    <a:lnTo>
                      <a:pt x="124" y="113"/>
                    </a:lnTo>
                    <a:lnTo>
                      <a:pt x="118" y="113"/>
                    </a:lnTo>
                    <a:lnTo>
                      <a:pt x="101" y="103"/>
                    </a:lnTo>
                    <a:lnTo>
                      <a:pt x="101" y="100"/>
                    </a:lnTo>
                    <a:lnTo>
                      <a:pt x="98" y="96"/>
                    </a:lnTo>
                    <a:lnTo>
                      <a:pt x="95" y="94"/>
                    </a:lnTo>
                    <a:lnTo>
                      <a:pt x="92" y="94"/>
                    </a:lnTo>
                    <a:lnTo>
                      <a:pt x="89" y="94"/>
                    </a:lnTo>
                    <a:lnTo>
                      <a:pt x="73" y="88"/>
                    </a:lnTo>
                    <a:lnTo>
                      <a:pt x="67" y="83"/>
                    </a:lnTo>
                    <a:lnTo>
                      <a:pt x="57" y="83"/>
                    </a:lnTo>
                    <a:lnTo>
                      <a:pt x="57" y="85"/>
                    </a:lnTo>
                    <a:lnTo>
                      <a:pt x="56" y="87"/>
                    </a:lnTo>
                    <a:lnTo>
                      <a:pt x="53" y="87"/>
                    </a:lnTo>
                    <a:lnTo>
                      <a:pt x="50" y="85"/>
                    </a:lnTo>
                    <a:lnTo>
                      <a:pt x="43" y="87"/>
                    </a:lnTo>
                    <a:lnTo>
                      <a:pt x="29" y="97"/>
                    </a:lnTo>
                    <a:lnTo>
                      <a:pt x="22" y="99"/>
                    </a:lnTo>
                    <a:lnTo>
                      <a:pt x="22" y="99"/>
                    </a:lnTo>
                    <a:lnTo>
                      <a:pt x="19" y="80"/>
                    </a:lnTo>
                    <a:lnTo>
                      <a:pt x="21" y="74"/>
                    </a:lnTo>
                    <a:lnTo>
                      <a:pt x="24" y="71"/>
                    </a:lnTo>
                    <a:lnTo>
                      <a:pt x="21" y="69"/>
                    </a:lnTo>
                    <a:lnTo>
                      <a:pt x="16" y="64"/>
                    </a:lnTo>
                    <a:lnTo>
                      <a:pt x="14" y="64"/>
                    </a:lnTo>
                    <a:lnTo>
                      <a:pt x="14" y="64"/>
                    </a:lnTo>
                    <a:lnTo>
                      <a:pt x="21" y="59"/>
                    </a:lnTo>
                    <a:lnTo>
                      <a:pt x="16" y="58"/>
                    </a:lnTo>
                    <a:lnTo>
                      <a:pt x="14" y="56"/>
                    </a:lnTo>
                    <a:lnTo>
                      <a:pt x="16" y="53"/>
                    </a:lnTo>
                    <a:lnTo>
                      <a:pt x="21" y="55"/>
                    </a:lnTo>
                    <a:lnTo>
                      <a:pt x="19" y="52"/>
                    </a:lnTo>
                    <a:lnTo>
                      <a:pt x="14" y="51"/>
                    </a:lnTo>
                    <a:lnTo>
                      <a:pt x="9" y="52"/>
                    </a:lnTo>
                    <a:lnTo>
                      <a:pt x="8" y="53"/>
                    </a:lnTo>
                    <a:lnTo>
                      <a:pt x="6" y="53"/>
                    </a:lnTo>
                    <a:lnTo>
                      <a:pt x="5" y="46"/>
                    </a:lnTo>
                    <a:lnTo>
                      <a:pt x="5" y="42"/>
                    </a:lnTo>
                    <a:lnTo>
                      <a:pt x="8" y="39"/>
                    </a:lnTo>
                    <a:lnTo>
                      <a:pt x="6" y="32"/>
                    </a:lnTo>
                    <a:lnTo>
                      <a:pt x="9" y="38"/>
                    </a:lnTo>
                    <a:lnTo>
                      <a:pt x="15" y="38"/>
                    </a:lnTo>
                    <a:lnTo>
                      <a:pt x="19" y="40"/>
                    </a:lnTo>
                    <a:lnTo>
                      <a:pt x="22" y="39"/>
                    </a:lnTo>
                    <a:lnTo>
                      <a:pt x="27" y="40"/>
                    </a:lnTo>
                    <a:lnTo>
                      <a:pt x="29" y="39"/>
                    </a:lnTo>
                    <a:lnTo>
                      <a:pt x="27" y="39"/>
                    </a:lnTo>
                    <a:lnTo>
                      <a:pt x="27" y="38"/>
                    </a:lnTo>
                    <a:lnTo>
                      <a:pt x="29" y="36"/>
                    </a:lnTo>
                    <a:lnTo>
                      <a:pt x="34" y="32"/>
                    </a:lnTo>
                    <a:lnTo>
                      <a:pt x="24" y="23"/>
                    </a:lnTo>
                    <a:lnTo>
                      <a:pt x="22" y="19"/>
                    </a:lnTo>
                    <a:lnTo>
                      <a:pt x="19" y="14"/>
                    </a:lnTo>
                    <a:lnTo>
                      <a:pt x="15" y="13"/>
                    </a:lnTo>
                    <a:lnTo>
                      <a:pt x="8" y="17"/>
                    </a:lnTo>
                    <a:lnTo>
                      <a:pt x="5" y="20"/>
                    </a:lnTo>
                    <a:lnTo>
                      <a:pt x="5" y="23"/>
                    </a:lnTo>
                    <a:lnTo>
                      <a:pt x="6" y="23"/>
                    </a:lnTo>
                    <a:lnTo>
                      <a:pt x="6" y="30"/>
                    </a:lnTo>
                    <a:lnTo>
                      <a:pt x="5" y="29"/>
                    </a:lnTo>
                    <a:lnTo>
                      <a:pt x="2" y="23"/>
                    </a:lnTo>
                    <a:lnTo>
                      <a:pt x="0" y="19"/>
                    </a:lnTo>
                    <a:lnTo>
                      <a:pt x="9" y="11"/>
                    </a:lnTo>
                    <a:lnTo>
                      <a:pt x="24" y="7"/>
                    </a:lnTo>
                    <a:lnTo>
                      <a:pt x="25" y="7"/>
                    </a:lnTo>
                    <a:lnTo>
                      <a:pt x="32" y="11"/>
                    </a:lnTo>
                    <a:lnTo>
                      <a:pt x="41" y="26"/>
                    </a:lnTo>
                    <a:lnTo>
                      <a:pt x="43" y="27"/>
                    </a:lnTo>
                    <a:lnTo>
                      <a:pt x="48" y="29"/>
                    </a:lnTo>
                    <a:lnTo>
                      <a:pt x="51" y="27"/>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80" name="Freeform 697"/>
              <p:cNvSpPr>
                <a:spLocks/>
              </p:cNvSpPr>
              <p:nvPr/>
            </p:nvSpPr>
            <p:spPr bwMode="auto">
              <a:xfrm>
                <a:off x="6802776" y="2574874"/>
                <a:ext cx="185216" cy="144007"/>
              </a:xfrm>
              <a:custGeom>
                <a:avLst/>
                <a:gdLst/>
                <a:ahLst/>
                <a:cxnLst>
                  <a:cxn ang="0">
                    <a:pos x="67" y="27"/>
                  </a:cxn>
                  <a:cxn ang="0">
                    <a:pos x="64" y="17"/>
                  </a:cxn>
                  <a:cxn ang="0">
                    <a:pos x="70" y="11"/>
                  </a:cxn>
                  <a:cxn ang="0">
                    <a:pos x="79" y="8"/>
                  </a:cxn>
                  <a:cxn ang="0">
                    <a:pos x="85" y="7"/>
                  </a:cxn>
                  <a:cxn ang="0">
                    <a:pos x="82" y="3"/>
                  </a:cxn>
                  <a:cxn ang="0">
                    <a:pos x="88" y="1"/>
                  </a:cxn>
                  <a:cxn ang="0">
                    <a:pos x="101" y="8"/>
                  </a:cxn>
                  <a:cxn ang="0">
                    <a:pos x="108" y="11"/>
                  </a:cxn>
                  <a:cxn ang="0">
                    <a:pos x="111" y="17"/>
                  </a:cxn>
                  <a:cxn ang="0">
                    <a:pos x="109" y="23"/>
                  </a:cxn>
                  <a:cxn ang="0">
                    <a:pos x="114" y="29"/>
                  </a:cxn>
                  <a:cxn ang="0">
                    <a:pos x="128" y="27"/>
                  </a:cxn>
                  <a:cxn ang="0">
                    <a:pos x="137" y="35"/>
                  </a:cxn>
                  <a:cxn ang="0">
                    <a:pos x="143" y="43"/>
                  </a:cxn>
                  <a:cxn ang="0">
                    <a:pos x="146" y="55"/>
                  </a:cxn>
                  <a:cxn ang="0">
                    <a:pos x="186" y="84"/>
                  </a:cxn>
                  <a:cxn ang="0">
                    <a:pos x="192" y="83"/>
                  </a:cxn>
                  <a:cxn ang="0">
                    <a:pos x="202" y="90"/>
                  </a:cxn>
                  <a:cxn ang="0">
                    <a:pos x="196" y="100"/>
                  </a:cxn>
                  <a:cxn ang="0">
                    <a:pos x="188" y="99"/>
                  </a:cxn>
                  <a:cxn ang="0">
                    <a:pos x="186" y="103"/>
                  </a:cxn>
                  <a:cxn ang="0">
                    <a:pos x="179" y="103"/>
                  </a:cxn>
                  <a:cxn ang="0">
                    <a:pos x="176" y="106"/>
                  </a:cxn>
                  <a:cxn ang="0">
                    <a:pos x="173" y="113"/>
                  </a:cxn>
                  <a:cxn ang="0">
                    <a:pos x="167" y="122"/>
                  </a:cxn>
                  <a:cxn ang="0">
                    <a:pos x="162" y="126"/>
                  </a:cxn>
                  <a:cxn ang="0">
                    <a:pos x="153" y="128"/>
                  </a:cxn>
                  <a:cxn ang="0">
                    <a:pos x="153" y="132"/>
                  </a:cxn>
                  <a:cxn ang="0">
                    <a:pos x="149" y="136"/>
                  </a:cxn>
                  <a:cxn ang="0">
                    <a:pos x="141" y="138"/>
                  </a:cxn>
                  <a:cxn ang="0">
                    <a:pos x="137" y="135"/>
                  </a:cxn>
                  <a:cxn ang="0">
                    <a:pos x="130" y="133"/>
                  </a:cxn>
                  <a:cxn ang="0">
                    <a:pos x="127" y="128"/>
                  </a:cxn>
                  <a:cxn ang="0">
                    <a:pos x="124" y="113"/>
                  </a:cxn>
                  <a:cxn ang="0">
                    <a:pos x="101" y="100"/>
                  </a:cxn>
                  <a:cxn ang="0">
                    <a:pos x="92" y="94"/>
                  </a:cxn>
                  <a:cxn ang="0">
                    <a:pos x="67" y="83"/>
                  </a:cxn>
                  <a:cxn ang="0">
                    <a:pos x="56" y="87"/>
                  </a:cxn>
                  <a:cxn ang="0">
                    <a:pos x="43" y="87"/>
                  </a:cxn>
                  <a:cxn ang="0">
                    <a:pos x="22" y="99"/>
                  </a:cxn>
                  <a:cxn ang="0">
                    <a:pos x="24" y="71"/>
                  </a:cxn>
                  <a:cxn ang="0">
                    <a:pos x="14" y="64"/>
                  </a:cxn>
                  <a:cxn ang="0">
                    <a:pos x="16" y="58"/>
                  </a:cxn>
                  <a:cxn ang="0">
                    <a:pos x="21" y="55"/>
                  </a:cxn>
                  <a:cxn ang="0">
                    <a:pos x="9" y="52"/>
                  </a:cxn>
                  <a:cxn ang="0">
                    <a:pos x="5" y="46"/>
                  </a:cxn>
                  <a:cxn ang="0">
                    <a:pos x="6" y="32"/>
                  </a:cxn>
                  <a:cxn ang="0">
                    <a:pos x="19" y="40"/>
                  </a:cxn>
                  <a:cxn ang="0">
                    <a:pos x="29" y="39"/>
                  </a:cxn>
                  <a:cxn ang="0">
                    <a:pos x="29" y="36"/>
                  </a:cxn>
                  <a:cxn ang="0">
                    <a:pos x="22" y="19"/>
                  </a:cxn>
                  <a:cxn ang="0">
                    <a:pos x="8" y="17"/>
                  </a:cxn>
                  <a:cxn ang="0">
                    <a:pos x="6" y="23"/>
                  </a:cxn>
                  <a:cxn ang="0">
                    <a:pos x="2" y="23"/>
                  </a:cxn>
                  <a:cxn ang="0">
                    <a:pos x="24" y="7"/>
                  </a:cxn>
                  <a:cxn ang="0">
                    <a:pos x="41" y="26"/>
                  </a:cxn>
                  <a:cxn ang="0">
                    <a:pos x="51" y="27"/>
                  </a:cxn>
                </a:cxnLst>
                <a:rect l="0" t="0" r="r" b="b"/>
                <a:pathLst>
                  <a:path w="202" h="138">
                    <a:moveTo>
                      <a:pt x="51" y="27"/>
                    </a:moveTo>
                    <a:lnTo>
                      <a:pt x="66" y="29"/>
                    </a:lnTo>
                    <a:lnTo>
                      <a:pt x="67" y="27"/>
                    </a:lnTo>
                    <a:lnTo>
                      <a:pt x="66" y="24"/>
                    </a:lnTo>
                    <a:lnTo>
                      <a:pt x="66" y="22"/>
                    </a:lnTo>
                    <a:lnTo>
                      <a:pt x="64" y="17"/>
                    </a:lnTo>
                    <a:lnTo>
                      <a:pt x="66" y="16"/>
                    </a:lnTo>
                    <a:lnTo>
                      <a:pt x="67" y="14"/>
                    </a:lnTo>
                    <a:lnTo>
                      <a:pt x="70" y="11"/>
                    </a:lnTo>
                    <a:lnTo>
                      <a:pt x="76" y="10"/>
                    </a:lnTo>
                    <a:lnTo>
                      <a:pt x="77" y="10"/>
                    </a:lnTo>
                    <a:lnTo>
                      <a:pt x="79" y="8"/>
                    </a:lnTo>
                    <a:lnTo>
                      <a:pt x="79" y="6"/>
                    </a:lnTo>
                    <a:lnTo>
                      <a:pt x="80" y="6"/>
                    </a:lnTo>
                    <a:lnTo>
                      <a:pt x="85" y="7"/>
                    </a:lnTo>
                    <a:lnTo>
                      <a:pt x="86" y="8"/>
                    </a:lnTo>
                    <a:lnTo>
                      <a:pt x="85" y="4"/>
                    </a:lnTo>
                    <a:lnTo>
                      <a:pt x="82" y="3"/>
                    </a:lnTo>
                    <a:lnTo>
                      <a:pt x="85" y="1"/>
                    </a:lnTo>
                    <a:lnTo>
                      <a:pt x="86" y="1"/>
                    </a:lnTo>
                    <a:lnTo>
                      <a:pt x="88" y="1"/>
                    </a:lnTo>
                    <a:lnTo>
                      <a:pt x="89" y="0"/>
                    </a:lnTo>
                    <a:lnTo>
                      <a:pt x="99" y="8"/>
                    </a:lnTo>
                    <a:lnTo>
                      <a:pt x="101" y="8"/>
                    </a:lnTo>
                    <a:lnTo>
                      <a:pt x="104" y="8"/>
                    </a:lnTo>
                    <a:lnTo>
                      <a:pt x="106" y="10"/>
                    </a:lnTo>
                    <a:lnTo>
                      <a:pt x="108" y="11"/>
                    </a:lnTo>
                    <a:lnTo>
                      <a:pt x="108" y="13"/>
                    </a:lnTo>
                    <a:lnTo>
                      <a:pt x="108" y="16"/>
                    </a:lnTo>
                    <a:lnTo>
                      <a:pt x="111" y="17"/>
                    </a:lnTo>
                    <a:lnTo>
                      <a:pt x="109" y="19"/>
                    </a:lnTo>
                    <a:lnTo>
                      <a:pt x="109" y="20"/>
                    </a:lnTo>
                    <a:lnTo>
                      <a:pt x="109" y="23"/>
                    </a:lnTo>
                    <a:lnTo>
                      <a:pt x="109" y="24"/>
                    </a:lnTo>
                    <a:lnTo>
                      <a:pt x="109" y="26"/>
                    </a:lnTo>
                    <a:lnTo>
                      <a:pt x="114" y="29"/>
                    </a:lnTo>
                    <a:lnTo>
                      <a:pt x="127" y="30"/>
                    </a:lnTo>
                    <a:lnTo>
                      <a:pt x="128" y="30"/>
                    </a:lnTo>
                    <a:lnTo>
                      <a:pt x="128" y="27"/>
                    </a:lnTo>
                    <a:lnTo>
                      <a:pt x="131" y="27"/>
                    </a:lnTo>
                    <a:lnTo>
                      <a:pt x="137" y="32"/>
                    </a:lnTo>
                    <a:lnTo>
                      <a:pt x="137" y="35"/>
                    </a:lnTo>
                    <a:lnTo>
                      <a:pt x="138" y="39"/>
                    </a:lnTo>
                    <a:lnTo>
                      <a:pt x="138" y="40"/>
                    </a:lnTo>
                    <a:lnTo>
                      <a:pt x="143" y="43"/>
                    </a:lnTo>
                    <a:lnTo>
                      <a:pt x="143" y="48"/>
                    </a:lnTo>
                    <a:lnTo>
                      <a:pt x="143" y="49"/>
                    </a:lnTo>
                    <a:lnTo>
                      <a:pt x="146" y="55"/>
                    </a:lnTo>
                    <a:lnTo>
                      <a:pt x="166" y="69"/>
                    </a:lnTo>
                    <a:lnTo>
                      <a:pt x="170" y="71"/>
                    </a:lnTo>
                    <a:lnTo>
                      <a:pt x="186" y="84"/>
                    </a:lnTo>
                    <a:lnTo>
                      <a:pt x="188" y="84"/>
                    </a:lnTo>
                    <a:lnTo>
                      <a:pt x="191" y="83"/>
                    </a:lnTo>
                    <a:lnTo>
                      <a:pt x="192" y="83"/>
                    </a:lnTo>
                    <a:lnTo>
                      <a:pt x="198" y="85"/>
                    </a:lnTo>
                    <a:lnTo>
                      <a:pt x="199" y="87"/>
                    </a:lnTo>
                    <a:lnTo>
                      <a:pt x="202" y="90"/>
                    </a:lnTo>
                    <a:lnTo>
                      <a:pt x="201" y="93"/>
                    </a:lnTo>
                    <a:lnTo>
                      <a:pt x="201" y="101"/>
                    </a:lnTo>
                    <a:lnTo>
                      <a:pt x="196" y="100"/>
                    </a:lnTo>
                    <a:lnTo>
                      <a:pt x="191" y="97"/>
                    </a:lnTo>
                    <a:lnTo>
                      <a:pt x="188" y="97"/>
                    </a:lnTo>
                    <a:lnTo>
                      <a:pt x="188" y="99"/>
                    </a:lnTo>
                    <a:lnTo>
                      <a:pt x="188" y="100"/>
                    </a:lnTo>
                    <a:lnTo>
                      <a:pt x="186" y="101"/>
                    </a:lnTo>
                    <a:lnTo>
                      <a:pt x="186" y="103"/>
                    </a:lnTo>
                    <a:lnTo>
                      <a:pt x="182" y="103"/>
                    </a:lnTo>
                    <a:lnTo>
                      <a:pt x="180" y="101"/>
                    </a:lnTo>
                    <a:lnTo>
                      <a:pt x="179" y="103"/>
                    </a:lnTo>
                    <a:lnTo>
                      <a:pt x="178" y="104"/>
                    </a:lnTo>
                    <a:lnTo>
                      <a:pt x="176" y="104"/>
                    </a:lnTo>
                    <a:lnTo>
                      <a:pt x="176" y="106"/>
                    </a:lnTo>
                    <a:lnTo>
                      <a:pt x="176" y="107"/>
                    </a:lnTo>
                    <a:lnTo>
                      <a:pt x="175" y="112"/>
                    </a:lnTo>
                    <a:lnTo>
                      <a:pt x="173" y="113"/>
                    </a:lnTo>
                    <a:lnTo>
                      <a:pt x="173" y="119"/>
                    </a:lnTo>
                    <a:lnTo>
                      <a:pt x="169" y="122"/>
                    </a:lnTo>
                    <a:lnTo>
                      <a:pt x="167" y="122"/>
                    </a:lnTo>
                    <a:lnTo>
                      <a:pt x="166" y="123"/>
                    </a:lnTo>
                    <a:lnTo>
                      <a:pt x="163" y="125"/>
                    </a:lnTo>
                    <a:lnTo>
                      <a:pt x="162" y="126"/>
                    </a:lnTo>
                    <a:lnTo>
                      <a:pt x="154" y="128"/>
                    </a:lnTo>
                    <a:lnTo>
                      <a:pt x="153" y="128"/>
                    </a:lnTo>
                    <a:lnTo>
                      <a:pt x="153" y="128"/>
                    </a:lnTo>
                    <a:lnTo>
                      <a:pt x="154" y="131"/>
                    </a:lnTo>
                    <a:lnTo>
                      <a:pt x="154" y="131"/>
                    </a:lnTo>
                    <a:lnTo>
                      <a:pt x="153" y="132"/>
                    </a:lnTo>
                    <a:lnTo>
                      <a:pt x="153" y="135"/>
                    </a:lnTo>
                    <a:lnTo>
                      <a:pt x="151" y="135"/>
                    </a:lnTo>
                    <a:lnTo>
                      <a:pt x="149" y="136"/>
                    </a:lnTo>
                    <a:lnTo>
                      <a:pt x="147" y="138"/>
                    </a:lnTo>
                    <a:lnTo>
                      <a:pt x="144" y="138"/>
                    </a:lnTo>
                    <a:lnTo>
                      <a:pt x="141" y="138"/>
                    </a:lnTo>
                    <a:lnTo>
                      <a:pt x="141" y="138"/>
                    </a:lnTo>
                    <a:lnTo>
                      <a:pt x="140" y="136"/>
                    </a:lnTo>
                    <a:lnTo>
                      <a:pt x="137" y="135"/>
                    </a:lnTo>
                    <a:lnTo>
                      <a:pt x="135" y="135"/>
                    </a:lnTo>
                    <a:lnTo>
                      <a:pt x="133" y="135"/>
                    </a:lnTo>
                    <a:lnTo>
                      <a:pt x="130" y="133"/>
                    </a:lnTo>
                    <a:lnTo>
                      <a:pt x="130" y="133"/>
                    </a:lnTo>
                    <a:lnTo>
                      <a:pt x="125" y="131"/>
                    </a:lnTo>
                    <a:lnTo>
                      <a:pt x="127" y="128"/>
                    </a:lnTo>
                    <a:lnTo>
                      <a:pt x="125" y="125"/>
                    </a:lnTo>
                    <a:lnTo>
                      <a:pt x="125" y="115"/>
                    </a:lnTo>
                    <a:lnTo>
                      <a:pt x="124" y="113"/>
                    </a:lnTo>
                    <a:lnTo>
                      <a:pt x="118" y="113"/>
                    </a:lnTo>
                    <a:lnTo>
                      <a:pt x="101" y="103"/>
                    </a:lnTo>
                    <a:lnTo>
                      <a:pt x="101" y="100"/>
                    </a:lnTo>
                    <a:lnTo>
                      <a:pt x="98" y="96"/>
                    </a:lnTo>
                    <a:lnTo>
                      <a:pt x="95" y="94"/>
                    </a:lnTo>
                    <a:lnTo>
                      <a:pt x="92" y="94"/>
                    </a:lnTo>
                    <a:lnTo>
                      <a:pt x="89" y="94"/>
                    </a:lnTo>
                    <a:lnTo>
                      <a:pt x="73" y="88"/>
                    </a:lnTo>
                    <a:lnTo>
                      <a:pt x="67" y="83"/>
                    </a:lnTo>
                    <a:lnTo>
                      <a:pt x="57" y="83"/>
                    </a:lnTo>
                    <a:lnTo>
                      <a:pt x="57" y="85"/>
                    </a:lnTo>
                    <a:lnTo>
                      <a:pt x="56" y="87"/>
                    </a:lnTo>
                    <a:lnTo>
                      <a:pt x="53" y="87"/>
                    </a:lnTo>
                    <a:lnTo>
                      <a:pt x="50" y="85"/>
                    </a:lnTo>
                    <a:lnTo>
                      <a:pt x="43" y="87"/>
                    </a:lnTo>
                    <a:lnTo>
                      <a:pt x="29" y="97"/>
                    </a:lnTo>
                    <a:lnTo>
                      <a:pt x="22" y="99"/>
                    </a:lnTo>
                    <a:lnTo>
                      <a:pt x="22" y="99"/>
                    </a:lnTo>
                    <a:lnTo>
                      <a:pt x="19" y="80"/>
                    </a:lnTo>
                    <a:lnTo>
                      <a:pt x="21" y="74"/>
                    </a:lnTo>
                    <a:lnTo>
                      <a:pt x="24" y="71"/>
                    </a:lnTo>
                    <a:lnTo>
                      <a:pt x="21" y="69"/>
                    </a:lnTo>
                    <a:lnTo>
                      <a:pt x="16" y="64"/>
                    </a:lnTo>
                    <a:lnTo>
                      <a:pt x="14" y="64"/>
                    </a:lnTo>
                    <a:lnTo>
                      <a:pt x="14" y="64"/>
                    </a:lnTo>
                    <a:lnTo>
                      <a:pt x="21" y="59"/>
                    </a:lnTo>
                    <a:lnTo>
                      <a:pt x="16" y="58"/>
                    </a:lnTo>
                    <a:lnTo>
                      <a:pt x="14" y="56"/>
                    </a:lnTo>
                    <a:lnTo>
                      <a:pt x="16" y="53"/>
                    </a:lnTo>
                    <a:lnTo>
                      <a:pt x="21" y="55"/>
                    </a:lnTo>
                    <a:lnTo>
                      <a:pt x="19" y="52"/>
                    </a:lnTo>
                    <a:lnTo>
                      <a:pt x="14" y="51"/>
                    </a:lnTo>
                    <a:lnTo>
                      <a:pt x="9" y="52"/>
                    </a:lnTo>
                    <a:lnTo>
                      <a:pt x="8" y="53"/>
                    </a:lnTo>
                    <a:lnTo>
                      <a:pt x="6" y="53"/>
                    </a:lnTo>
                    <a:lnTo>
                      <a:pt x="5" y="46"/>
                    </a:lnTo>
                    <a:lnTo>
                      <a:pt x="5" y="42"/>
                    </a:lnTo>
                    <a:lnTo>
                      <a:pt x="8" y="39"/>
                    </a:lnTo>
                    <a:lnTo>
                      <a:pt x="6" y="32"/>
                    </a:lnTo>
                    <a:lnTo>
                      <a:pt x="9" y="38"/>
                    </a:lnTo>
                    <a:lnTo>
                      <a:pt x="15" y="38"/>
                    </a:lnTo>
                    <a:lnTo>
                      <a:pt x="19" y="40"/>
                    </a:lnTo>
                    <a:lnTo>
                      <a:pt x="22" y="39"/>
                    </a:lnTo>
                    <a:lnTo>
                      <a:pt x="27" y="40"/>
                    </a:lnTo>
                    <a:lnTo>
                      <a:pt x="29" y="39"/>
                    </a:lnTo>
                    <a:lnTo>
                      <a:pt x="27" y="39"/>
                    </a:lnTo>
                    <a:lnTo>
                      <a:pt x="27" y="38"/>
                    </a:lnTo>
                    <a:lnTo>
                      <a:pt x="29" y="36"/>
                    </a:lnTo>
                    <a:lnTo>
                      <a:pt x="34" y="32"/>
                    </a:lnTo>
                    <a:lnTo>
                      <a:pt x="24" y="23"/>
                    </a:lnTo>
                    <a:lnTo>
                      <a:pt x="22" y="19"/>
                    </a:lnTo>
                    <a:lnTo>
                      <a:pt x="19" y="14"/>
                    </a:lnTo>
                    <a:lnTo>
                      <a:pt x="15" y="13"/>
                    </a:lnTo>
                    <a:lnTo>
                      <a:pt x="8" y="17"/>
                    </a:lnTo>
                    <a:lnTo>
                      <a:pt x="5" y="20"/>
                    </a:lnTo>
                    <a:lnTo>
                      <a:pt x="5" y="23"/>
                    </a:lnTo>
                    <a:lnTo>
                      <a:pt x="6" y="23"/>
                    </a:lnTo>
                    <a:lnTo>
                      <a:pt x="6" y="30"/>
                    </a:lnTo>
                    <a:lnTo>
                      <a:pt x="5" y="29"/>
                    </a:lnTo>
                    <a:lnTo>
                      <a:pt x="2" y="23"/>
                    </a:lnTo>
                    <a:lnTo>
                      <a:pt x="0" y="19"/>
                    </a:lnTo>
                    <a:lnTo>
                      <a:pt x="9" y="11"/>
                    </a:lnTo>
                    <a:lnTo>
                      <a:pt x="24" y="7"/>
                    </a:lnTo>
                    <a:lnTo>
                      <a:pt x="25" y="7"/>
                    </a:lnTo>
                    <a:lnTo>
                      <a:pt x="32" y="11"/>
                    </a:lnTo>
                    <a:lnTo>
                      <a:pt x="41" y="26"/>
                    </a:lnTo>
                    <a:lnTo>
                      <a:pt x="43" y="27"/>
                    </a:lnTo>
                    <a:lnTo>
                      <a:pt x="48" y="29"/>
                    </a:lnTo>
                    <a:lnTo>
                      <a:pt x="51" y="27"/>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81" name="Freeform 698"/>
              <p:cNvSpPr>
                <a:spLocks/>
              </p:cNvSpPr>
              <p:nvPr/>
            </p:nvSpPr>
            <p:spPr bwMode="auto">
              <a:xfrm>
                <a:off x="7023104" y="2565747"/>
                <a:ext cx="143959" cy="77075"/>
              </a:xfrm>
              <a:custGeom>
                <a:avLst/>
                <a:gdLst/>
                <a:ahLst/>
                <a:cxnLst>
                  <a:cxn ang="0">
                    <a:pos x="65" y="67"/>
                  </a:cxn>
                  <a:cxn ang="0">
                    <a:pos x="76" y="58"/>
                  </a:cxn>
                  <a:cxn ang="0">
                    <a:pos x="78" y="57"/>
                  </a:cxn>
                  <a:cxn ang="0">
                    <a:pos x="83" y="54"/>
                  </a:cxn>
                  <a:cxn ang="0">
                    <a:pos x="90" y="52"/>
                  </a:cxn>
                  <a:cxn ang="0">
                    <a:pos x="100" y="55"/>
                  </a:cxn>
                  <a:cxn ang="0">
                    <a:pos x="106" y="48"/>
                  </a:cxn>
                  <a:cxn ang="0">
                    <a:pos x="128" y="41"/>
                  </a:cxn>
                  <a:cxn ang="0">
                    <a:pos x="134" y="33"/>
                  </a:cxn>
                  <a:cxn ang="0">
                    <a:pos x="157" y="20"/>
                  </a:cxn>
                  <a:cxn ang="0">
                    <a:pos x="155" y="17"/>
                  </a:cxn>
                  <a:cxn ang="0">
                    <a:pos x="145" y="13"/>
                  </a:cxn>
                  <a:cxn ang="0">
                    <a:pos x="134" y="7"/>
                  </a:cxn>
                  <a:cxn ang="0">
                    <a:pos x="115" y="6"/>
                  </a:cxn>
                  <a:cxn ang="0">
                    <a:pos x="109" y="4"/>
                  </a:cxn>
                  <a:cxn ang="0">
                    <a:pos x="84" y="6"/>
                  </a:cxn>
                  <a:cxn ang="0">
                    <a:pos x="80" y="4"/>
                  </a:cxn>
                  <a:cxn ang="0">
                    <a:pos x="70" y="0"/>
                  </a:cxn>
                  <a:cxn ang="0">
                    <a:pos x="65" y="1"/>
                  </a:cxn>
                  <a:cxn ang="0">
                    <a:pos x="60" y="4"/>
                  </a:cxn>
                  <a:cxn ang="0">
                    <a:pos x="60" y="9"/>
                  </a:cxn>
                  <a:cxn ang="0">
                    <a:pos x="57" y="15"/>
                  </a:cxn>
                  <a:cxn ang="0">
                    <a:pos x="33" y="9"/>
                  </a:cxn>
                  <a:cxn ang="0">
                    <a:pos x="25" y="9"/>
                  </a:cxn>
                  <a:cxn ang="0">
                    <a:pos x="25" y="13"/>
                  </a:cxn>
                  <a:cxn ang="0">
                    <a:pos x="28" y="19"/>
                  </a:cxn>
                  <a:cxn ang="0">
                    <a:pos x="23" y="22"/>
                  </a:cxn>
                  <a:cxn ang="0">
                    <a:pos x="15" y="33"/>
                  </a:cxn>
                  <a:cxn ang="0">
                    <a:pos x="17" y="35"/>
                  </a:cxn>
                  <a:cxn ang="0">
                    <a:pos x="22" y="38"/>
                  </a:cxn>
                  <a:cxn ang="0">
                    <a:pos x="29" y="39"/>
                  </a:cxn>
                  <a:cxn ang="0">
                    <a:pos x="32" y="36"/>
                  </a:cxn>
                  <a:cxn ang="0">
                    <a:pos x="35" y="33"/>
                  </a:cxn>
                  <a:cxn ang="0">
                    <a:pos x="36" y="38"/>
                  </a:cxn>
                  <a:cxn ang="0">
                    <a:pos x="44" y="41"/>
                  </a:cxn>
                  <a:cxn ang="0">
                    <a:pos x="51" y="45"/>
                  </a:cxn>
                  <a:cxn ang="0">
                    <a:pos x="55" y="45"/>
                  </a:cxn>
                  <a:cxn ang="0">
                    <a:pos x="49" y="48"/>
                  </a:cxn>
                  <a:cxn ang="0">
                    <a:pos x="46" y="51"/>
                  </a:cxn>
                  <a:cxn ang="0">
                    <a:pos x="44" y="52"/>
                  </a:cxn>
                  <a:cxn ang="0">
                    <a:pos x="39" y="54"/>
                  </a:cxn>
                  <a:cxn ang="0">
                    <a:pos x="38" y="57"/>
                  </a:cxn>
                  <a:cxn ang="0">
                    <a:pos x="29" y="55"/>
                  </a:cxn>
                  <a:cxn ang="0">
                    <a:pos x="23" y="58"/>
                  </a:cxn>
                  <a:cxn ang="0">
                    <a:pos x="20" y="61"/>
                  </a:cxn>
                  <a:cxn ang="0">
                    <a:pos x="15" y="60"/>
                  </a:cxn>
                  <a:cxn ang="0">
                    <a:pos x="0" y="61"/>
                  </a:cxn>
                  <a:cxn ang="0">
                    <a:pos x="1" y="70"/>
                  </a:cxn>
                  <a:cxn ang="0">
                    <a:pos x="6" y="68"/>
                  </a:cxn>
                  <a:cxn ang="0">
                    <a:pos x="17" y="68"/>
                  </a:cxn>
                  <a:cxn ang="0">
                    <a:pos x="20" y="71"/>
                  </a:cxn>
                  <a:cxn ang="0">
                    <a:pos x="30" y="68"/>
                  </a:cxn>
                  <a:cxn ang="0">
                    <a:pos x="35" y="70"/>
                  </a:cxn>
                  <a:cxn ang="0">
                    <a:pos x="41" y="74"/>
                  </a:cxn>
                  <a:cxn ang="0">
                    <a:pos x="46" y="73"/>
                  </a:cxn>
                  <a:cxn ang="0">
                    <a:pos x="54" y="73"/>
                  </a:cxn>
                  <a:cxn ang="0">
                    <a:pos x="60" y="73"/>
                  </a:cxn>
                  <a:cxn ang="0">
                    <a:pos x="65" y="70"/>
                  </a:cxn>
                </a:cxnLst>
                <a:rect l="0" t="0" r="r" b="b"/>
                <a:pathLst>
                  <a:path w="157" h="74">
                    <a:moveTo>
                      <a:pt x="65" y="70"/>
                    </a:moveTo>
                    <a:lnTo>
                      <a:pt x="65" y="67"/>
                    </a:lnTo>
                    <a:lnTo>
                      <a:pt x="67" y="61"/>
                    </a:lnTo>
                    <a:lnTo>
                      <a:pt x="76" y="58"/>
                    </a:lnTo>
                    <a:lnTo>
                      <a:pt x="77" y="57"/>
                    </a:lnTo>
                    <a:lnTo>
                      <a:pt x="78" y="57"/>
                    </a:lnTo>
                    <a:lnTo>
                      <a:pt x="80" y="52"/>
                    </a:lnTo>
                    <a:lnTo>
                      <a:pt x="83" y="54"/>
                    </a:lnTo>
                    <a:lnTo>
                      <a:pt x="87" y="52"/>
                    </a:lnTo>
                    <a:lnTo>
                      <a:pt x="90" y="52"/>
                    </a:lnTo>
                    <a:lnTo>
                      <a:pt x="91" y="55"/>
                    </a:lnTo>
                    <a:lnTo>
                      <a:pt x="100" y="55"/>
                    </a:lnTo>
                    <a:lnTo>
                      <a:pt x="105" y="52"/>
                    </a:lnTo>
                    <a:lnTo>
                      <a:pt x="106" y="48"/>
                    </a:lnTo>
                    <a:lnTo>
                      <a:pt x="107" y="45"/>
                    </a:lnTo>
                    <a:lnTo>
                      <a:pt x="128" y="41"/>
                    </a:lnTo>
                    <a:lnTo>
                      <a:pt x="129" y="38"/>
                    </a:lnTo>
                    <a:lnTo>
                      <a:pt x="134" y="33"/>
                    </a:lnTo>
                    <a:lnTo>
                      <a:pt x="155" y="25"/>
                    </a:lnTo>
                    <a:lnTo>
                      <a:pt x="157" y="20"/>
                    </a:lnTo>
                    <a:lnTo>
                      <a:pt x="157" y="17"/>
                    </a:lnTo>
                    <a:lnTo>
                      <a:pt x="155" y="17"/>
                    </a:lnTo>
                    <a:lnTo>
                      <a:pt x="150" y="15"/>
                    </a:lnTo>
                    <a:lnTo>
                      <a:pt x="145" y="13"/>
                    </a:lnTo>
                    <a:lnTo>
                      <a:pt x="142" y="9"/>
                    </a:lnTo>
                    <a:lnTo>
                      <a:pt x="134" y="7"/>
                    </a:lnTo>
                    <a:lnTo>
                      <a:pt x="132" y="7"/>
                    </a:lnTo>
                    <a:lnTo>
                      <a:pt x="115" y="6"/>
                    </a:lnTo>
                    <a:lnTo>
                      <a:pt x="112" y="4"/>
                    </a:lnTo>
                    <a:lnTo>
                      <a:pt x="109" y="4"/>
                    </a:lnTo>
                    <a:lnTo>
                      <a:pt x="106" y="6"/>
                    </a:lnTo>
                    <a:lnTo>
                      <a:pt x="84" y="6"/>
                    </a:lnTo>
                    <a:lnTo>
                      <a:pt x="83" y="4"/>
                    </a:lnTo>
                    <a:lnTo>
                      <a:pt x="80" y="4"/>
                    </a:lnTo>
                    <a:lnTo>
                      <a:pt x="77" y="4"/>
                    </a:lnTo>
                    <a:lnTo>
                      <a:pt x="70" y="0"/>
                    </a:lnTo>
                    <a:lnTo>
                      <a:pt x="67" y="1"/>
                    </a:lnTo>
                    <a:lnTo>
                      <a:pt x="65" y="1"/>
                    </a:lnTo>
                    <a:lnTo>
                      <a:pt x="64" y="1"/>
                    </a:lnTo>
                    <a:lnTo>
                      <a:pt x="60" y="4"/>
                    </a:lnTo>
                    <a:lnTo>
                      <a:pt x="60" y="7"/>
                    </a:lnTo>
                    <a:lnTo>
                      <a:pt x="60" y="9"/>
                    </a:lnTo>
                    <a:lnTo>
                      <a:pt x="58" y="13"/>
                    </a:lnTo>
                    <a:lnTo>
                      <a:pt x="57" y="15"/>
                    </a:lnTo>
                    <a:lnTo>
                      <a:pt x="35" y="9"/>
                    </a:lnTo>
                    <a:lnTo>
                      <a:pt x="33" y="9"/>
                    </a:lnTo>
                    <a:lnTo>
                      <a:pt x="32" y="7"/>
                    </a:lnTo>
                    <a:lnTo>
                      <a:pt x="25" y="9"/>
                    </a:lnTo>
                    <a:lnTo>
                      <a:pt x="25" y="12"/>
                    </a:lnTo>
                    <a:lnTo>
                      <a:pt x="25" y="13"/>
                    </a:lnTo>
                    <a:lnTo>
                      <a:pt x="23" y="17"/>
                    </a:lnTo>
                    <a:lnTo>
                      <a:pt x="28" y="19"/>
                    </a:lnTo>
                    <a:lnTo>
                      <a:pt x="28" y="20"/>
                    </a:lnTo>
                    <a:lnTo>
                      <a:pt x="23" y="22"/>
                    </a:lnTo>
                    <a:lnTo>
                      <a:pt x="15" y="31"/>
                    </a:lnTo>
                    <a:lnTo>
                      <a:pt x="15" y="33"/>
                    </a:lnTo>
                    <a:lnTo>
                      <a:pt x="16" y="33"/>
                    </a:lnTo>
                    <a:lnTo>
                      <a:pt x="17" y="35"/>
                    </a:lnTo>
                    <a:lnTo>
                      <a:pt x="20" y="33"/>
                    </a:lnTo>
                    <a:lnTo>
                      <a:pt x="22" y="38"/>
                    </a:lnTo>
                    <a:lnTo>
                      <a:pt x="28" y="39"/>
                    </a:lnTo>
                    <a:lnTo>
                      <a:pt x="29" y="39"/>
                    </a:lnTo>
                    <a:lnTo>
                      <a:pt x="30" y="38"/>
                    </a:lnTo>
                    <a:lnTo>
                      <a:pt x="32" y="36"/>
                    </a:lnTo>
                    <a:lnTo>
                      <a:pt x="33" y="32"/>
                    </a:lnTo>
                    <a:lnTo>
                      <a:pt x="35" y="33"/>
                    </a:lnTo>
                    <a:lnTo>
                      <a:pt x="36" y="35"/>
                    </a:lnTo>
                    <a:lnTo>
                      <a:pt x="36" y="38"/>
                    </a:lnTo>
                    <a:lnTo>
                      <a:pt x="42" y="41"/>
                    </a:lnTo>
                    <a:lnTo>
                      <a:pt x="44" y="41"/>
                    </a:lnTo>
                    <a:lnTo>
                      <a:pt x="46" y="44"/>
                    </a:lnTo>
                    <a:lnTo>
                      <a:pt x="51" y="45"/>
                    </a:lnTo>
                    <a:lnTo>
                      <a:pt x="54" y="45"/>
                    </a:lnTo>
                    <a:lnTo>
                      <a:pt x="55" y="45"/>
                    </a:lnTo>
                    <a:lnTo>
                      <a:pt x="54" y="47"/>
                    </a:lnTo>
                    <a:lnTo>
                      <a:pt x="49" y="48"/>
                    </a:lnTo>
                    <a:lnTo>
                      <a:pt x="49" y="51"/>
                    </a:lnTo>
                    <a:lnTo>
                      <a:pt x="46" y="51"/>
                    </a:lnTo>
                    <a:lnTo>
                      <a:pt x="45" y="51"/>
                    </a:lnTo>
                    <a:lnTo>
                      <a:pt x="44" y="52"/>
                    </a:lnTo>
                    <a:lnTo>
                      <a:pt x="42" y="52"/>
                    </a:lnTo>
                    <a:lnTo>
                      <a:pt x="39" y="54"/>
                    </a:lnTo>
                    <a:lnTo>
                      <a:pt x="39" y="55"/>
                    </a:lnTo>
                    <a:lnTo>
                      <a:pt x="38" y="57"/>
                    </a:lnTo>
                    <a:lnTo>
                      <a:pt x="33" y="57"/>
                    </a:lnTo>
                    <a:lnTo>
                      <a:pt x="29" y="55"/>
                    </a:lnTo>
                    <a:lnTo>
                      <a:pt x="23" y="55"/>
                    </a:lnTo>
                    <a:lnTo>
                      <a:pt x="23" y="58"/>
                    </a:lnTo>
                    <a:lnTo>
                      <a:pt x="20" y="58"/>
                    </a:lnTo>
                    <a:lnTo>
                      <a:pt x="20" y="61"/>
                    </a:lnTo>
                    <a:lnTo>
                      <a:pt x="17" y="61"/>
                    </a:lnTo>
                    <a:lnTo>
                      <a:pt x="15" y="60"/>
                    </a:lnTo>
                    <a:lnTo>
                      <a:pt x="6" y="58"/>
                    </a:lnTo>
                    <a:lnTo>
                      <a:pt x="0" y="61"/>
                    </a:lnTo>
                    <a:lnTo>
                      <a:pt x="0" y="68"/>
                    </a:lnTo>
                    <a:lnTo>
                      <a:pt x="1" y="70"/>
                    </a:lnTo>
                    <a:lnTo>
                      <a:pt x="3" y="70"/>
                    </a:lnTo>
                    <a:lnTo>
                      <a:pt x="6" y="68"/>
                    </a:lnTo>
                    <a:lnTo>
                      <a:pt x="9" y="70"/>
                    </a:lnTo>
                    <a:lnTo>
                      <a:pt x="17" y="68"/>
                    </a:lnTo>
                    <a:lnTo>
                      <a:pt x="20" y="70"/>
                    </a:lnTo>
                    <a:lnTo>
                      <a:pt x="20" y="71"/>
                    </a:lnTo>
                    <a:lnTo>
                      <a:pt x="23" y="71"/>
                    </a:lnTo>
                    <a:lnTo>
                      <a:pt x="30" y="68"/>
                    </a:lnTo>
                    <a:lnTo>
                      <a:pt x="33" y="70"/>
                    </a:lnTo>
                    <a:lnTo>
                      <a:pt x="35" y="70"/>
                    </a:lnTo>
                    <a:lnTo>
                      <a:pt x="36" y="74"/>
                    </a:lnTo>
                    <a:lnTo>
                      <a:pt x="41" y="74"/>
                    </a:lnTo>
                    <a:lnTo>
                      <a:pt x="42" y="74"/>
                    </a:lnTo>
                    <a:lnTo>
                      <a:pt x="46" y="73"/>
                    </a:lnTo>
                    <a:lnTo>
                      <a:pt x="51" y="73"/>
                    </a:lnTo>
                    <a:lnTo>
                      <a:pt x="54" y="73"/>
                    </a:lnTo>
                    <a:lnTo>
                      <a:pt x="57" y="73"/>
                    </a:lnTo>
                    <a:lnTo>
                      <a:pt x="60" y="73"/>
                    </a:lnTo>
                    <a:lnTo>
                      <a:pt x="60" y="68"/>
                    </a:lnTo>
                    <a:lnTo>
                      <a:pt x="65" y="7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82" name="Freeform 699"/>
              <p:cNvSpPr>
                <a:spLocks/>
              </p:cNvSpPr>
              <p:nvPr/>
            </p:nvSpPr>
            <p:spPr bwMode="auto">
              <a:xfrm>
                <a:off x="7023104" y="2565747"/>
                <a:ext cx="143959" cy="77075"/>
              </a:xfrm>
              <a:custGeom>
                <a:avLst/>
                <a:gdLst/>
                <a:ahLst/>
                <a:cxnLst>
                  <a:cxn ang="0">
                    <a:pos x="65" y="67"/>
                  </a:cxn>
                  <a:cxn ang="0">
                    <a:pos x="76" y="58"/>
                  </a:cxn>
                  <a:cxn ang="0">
                    <a:pos x="78" y="57"/>
                  </a:cxn>
                  <a:cxn ang="0">
                    <a:pos x="83" y="54"/>
                  </a:cxn>
                  <a:cxn ang="0">
                    <a:pos x="90" y="52"/>
                  </a:cxn>
                  <a:cxn ang="0">
                    <a:pos x="100" y="55"/>
                  </a:cxn>
                  <a:cxn ang="0">
                    <a:pos x="106" y="48"/>
                  </a:cxn>
                  <a:cxn ang="0">
                    <a:pos x="128" y="41"/>
                  </a:cxn>
                  <a:cxn ang="0">
                    <a:pos x="134" y="33"/>
                  </a:cxn>
                  <a:cxn ang="0">
                    <a:pos x="157" y="20"/>
                  </a:cxn>
                  <a:cxn ang="0">
                    <a:pos x="155" y="17"/>
                  </a:cxn>
                  <a:cxn ang="0">
                    <a:pos x="145" y="13"/>
                  </a:cxn>
                  <a:cxn ang="0">
                    <a:pos x="134" y="7"/>
                  </a:cxn>
                  <a:cxn ang="0">
                    <a:pos x="115" y="6"/>
                  </a:cxn>
                  <a:cxn ang="0">
                    <a:pos x="109" y="4"/>
                  </a:cxn>
                  <a:cxn ang="0">
                    <a:pos x="84" y="6"/>
                  </a:cxn>
                  <a:cxn ang="0">
                    <a:pos x="80" y="4"/>
                  </a:cxn>
                  <a:cxn ang="0">
                    <a:pos x="70" y="0"/>
                  </a:cxn>
                  <a:cxn ang="0">
                    <a:pos x="65" y="1"/>
                  </a:cxn>
                  <a:cxn ang="0">
                    <a:pos x="60" y="4"/>
                  </a:cxn>
                  <a:cxn ang="0">
                    <a:pos x="60" y="9"/>
                  </a:cxn>
                  <a:cxn ang="0">
                    <a:pos x="57" y="15"/>
                  </a:cxn>
                  <a:cxn ang="0">
                    <a:pos x="33" y="9"/>
                  </a:cxn>
                  <a:cxn ang="0">
                    <a:pos x="25" y="9"/>
                  </a:cxn>
                  <a:cxn ang="0">
                    <a:pos x="25" y="13"/>
                  </a:cxn>
                  <a:cxn ang="0">
                    <a:pos x="28" y="19"/>
                  </a:cxn>
                  <a:cxn ang="0">
                    <a:pos x="23" y="22"/>
                  </a:cxn>
                  <a:cxn ang="0">
                    <a:pos x="15" y="33"/>
                  </a:cxn>
                  <a:cxn ang="0">
                    <a:pos x="17" y="35"/>
                  </a:cxn>
                  <a:cxn ang="0">
                    <a:pos x="22" y="38"/>
                  </a:cxn>
                  <a:cxn ang="0">
                    <a:pos x="29" y="39"/>
                  </a:cxn>
                  <a:cxn ang="0">
                    <a:pos x="32" y="36"/>
                  </a:cxn>
                  <a:cxn ang="0">
                    <a:pos x="35" y="33"/>
                  </a:cxn>
                  <a:cxn ang="0">
                    <a:pos x="36" y="38"/>
                  </a:cxn>
                  <a:cxn ang="0">
                    <a:pos x="44" y="41"/>
                  </a:cxn>
                  <a:cxn ang="0">
                    <a:pos x="51" y="45"/>
                  </a:cxn>
                  <a:cxn ang="0">
                    <a:pos x="55" y="45"/>
                  </a:cxn>
                  <a:cxn ang="0">
                    <a:pos x="49" y="48"/>
                  </a:cxn>
                  <a:cxn ang="0">
                    <a:pos x="46" y="51"/>
                  </a:cxn>
                  <a:cxn ang="0">
                    <a:pos x="44" y="52"/>
                  </a:cxn>
                  <a:cxn ang="0">
                    <a:pos x="39" y="54"/>
                  </a:cxn>
                  <a:cxn ang="0">
                    <a:pos x="38" y="57"/>
                  </a:cxn>
                  <a:cxn ang="0">
                    <a:pos x="29" y="55"/>
                  </a:cxn>
                  <a:cxn ang="0">
                    <a:pos x="23" y="58"/>
                  </a:cxn>
                  <a:cxn ang="0">
                    <a:pos x="20" y="61"/>
                  </a:cxn>
                  <a:cxn ang="0">
                    <a:pos x="15" y="60"/>
                  </a:cxn>
                  <a:cxn ang="0">
                    <a:pos x="0" y="61"/>
                  </a:cxn>
                  <a:cxn ang="0">
                    <a:pos x="1" y="70"/>
                  </a:cxn>
                  <a:cxn ang="0">
                    <a:pos x="6" y="68"/>
                  </a:cxn>
                  <a:cxn ang="0">
                    <a:pos x="17" y="68"/>
                  </a:cxn>
                  <a:cxn ang="0">
                    <a:pos x="20" y="71"/>
                  </a:cxn>
                  <a:cxn ang="0">
                    <a:pos x="30" y="68"/>
                  </a:cxn>
                  <a:cxn ang="0">
                    <a:pos x="35" y="70"/>
                  </a:cxn>
                  <a:cxn ang="0">
                    <a:pos x="41" y="74"/>
                  </a:cxn>
                  <a:cxn ang="0">
                    <a:pos x="46" y="73"/>
                  </a:cxn>
                  <a:cxn ang="0">
                    <a:pos x="54" y="73"/>
                  </a:cxn>
                  <a:cxn ang="0">
                    <a:pos x="60" y="73"/>
                  </a:cxn>
                  <a:cxn ang="0">
                    <a:pos x="65" y="70"/>
                  </a:cxn>
                </a:cxnLst>
                <a:rect l="0" t="0" r="r" b="b"/>
                <a:pathLst>
                  <a:path w="157" h="74">
                    <a:moveTo>
                      <a:pt x="65" y="70"/>
                    </a:moveTo>
                    <a:lnTo>
                      <a:pt x="65" y="67"/>
                    </a:lnTo>
                    <a:lnTo>
                      <a:pt x="67" y="61"/>
                    </a:lnTo>
                    <a:lnTo>
                      <a:pt x="76" y="58"/>
                    </a:lnTo>
                    <a:lnTo>
                      <a:pt x="77" y="57"/>
                    </a:lnTo>
                    <a:lnTo>
                      <a:pt x="78" y="57"/>
                    </a:lnTo>
                    <a:lnTo>
                      <a:pt x="80" y="52"/>
                    </a:lnTo>
                    <a:lnTo>
                      <a:pt x="83" y="54"/>
                    </a:lnTo>
                    <a:lnTo>
                      <a:pt x="87" y="52"/>
                    </a:lnTo>
                    <a:lnTo>
                      <a:pt x="90" y="52"/>
                    </a:lnTo>
                    <a:lnTo>
                      <a:pt x="91" y="55"/>
                    </a:lnTo>
                    <a:lnTo>
                      <a:pt x="100" y="55"/>
                    </a:lnTo>
                    <a:lnTo>
                      <a:pt x="105" y="52"/>
                    </a:lnTo>
                    <a:lnTo>
                      <a:pt x="106" y="48"/>
                    </a:lnTo>
                    <a:lnTo>
                      <a:pt x="107" y="45"/>
                    </a:lnTo>
                    <a:lnTo>
                      <a:pt x="128" y="41"/>
                    </a:lnTo>
                    <a:lnTo>
                      <a:pt x="129" y="38"/>
                    </a:lnTo>
                    <a:lnTo>
                      <a:pt x="134" y="33"/>
                    </a:lnTo>
                    <a:lnTo>
                      <a:pt x="155" y="25"/>
                    </a:lnTo>
                    <a:lnTo>
                      <a:pt x="157" y="20"/>
                    </a:lnTo>
                    <a:lnTo>
                      <a:pt x="157" y="17"/>
                    </a:lnTo>
                    <a:lnTo>
                      <a:pt x="155" y="17"/>
                    </a:lnTo>
                    <a:lnTo>
                      <a:pt x="150" y="15"/>
                    </a:lnTo>
                    <a:lnTo>
                      <a:pt x="145" y="13"/>
                    </a:lnTo>
                    <a:lnTo>
                      <a:pt x="142" y="9"/>
                    </a:lnTo>
                    <a:lnTo>
                      <a:pt x="134" y="7"/>
                    </a:lnTo>
                    <a:lnTo>
                      <a:pt x="132" y="7"/>
                    </a:lnTo>
                    <a:lnTo>
                      <a:pt x="115" y="6"/>
                    </a:lnTo>
                    <a:lnTo>
                      <a:pt x="112" y="4"/>
                    </a:lnTo>
                    <a:lnTo>
                      <a:pt x="109" y="4"/>
                    </a:lnTo>
                    <a:lnTo>
                      <a:pt x="106" y="6"/>
                    </a:lnTo>
                    <a:lnTo>
                      <a:pt x="84" y="6"/>
                    </a:lnTo>
                    <a:lnTo>
                      <a:pt x="83" y="4"/>
                    </a:lnTo>
                    <a:lnTo>
                      <a:pt x="80" y="4"/>
                    </a:lnTo>
                    <a:lnTo>
                      <a:pt x="77" y="4"/>
                    </a:lnTo>
                    <a:lnTo>
                      <a:pt x="70" y="0"/>
                    </a:lnTo>
                    <a:lnTo>
                      <a:pt x="67" y="1"/>
                    </a:lnTo>
                    <a:lnTo>
                      <a:pt x="65" y="1"/>
                    </a:lnTo>
                    <a:lnTo>
                      <a:pt x="64" y="1"/>
                    </a:lnTo>
                    <a:lnTo>
                      <a:pt x="60" y="4"/>
                    </a:lnTo>
                    <a:lnTo>
                      <a:pt x="60" y="7"/>
                    </a:lnTo>
                    <a:lnTo>
                      <a:pt x="60" y="9"/>
                    </a:lnTo>
                    <a:lnTo>
                      <a:pt x="58" y="13"/>
                    </a:lnTo>
                    <a:lnTo>
                      <a:pt x="57" y="15"/>
                    </a:lnTo>
                    <a:lnTo>
                      <a:pt x="35" y="9"/>
                    </a:lnTo>
                    <a:lnTo>
                      <a:pt x="33" y="9"/>
                    </a:lnTo>
                    <a:lnTo>
                      <a:pt x="32" y="7"/>
                    </a:lnTo>
                    <a:lnTo>
                      <a:pt x="25" y="9"/>
                    </a:lnTo>
                    <a:lnTo>
                      <a:pt x="25" y="12"/>
                    </a:lnTo>
                    <a:lnTo>
                      <a:pt x="25" y="13"/>
                    </a:lnTo>
                    <a:lnTo>
                      <a:pt x="23" y="17"/>
                    </a:lnTo>
                    <a:lnTo>
                      <a:pt x="28" y="19"/>
                    </a:lnTo>
                    <a:lnTo>
                      <a:pt x="28" y="20"/>
                    </a:lnTo>
                    <a:lnTo>
                      <a:pt x="23" y="22"/>
                    </a:lnTo>
                    <a:lnTo>
                      <a:pt x="15" y="31"/>
                    </a:lnTo>
                    <a:lnTo>
                      <a:pt x="15" y="33"/>
                    </a:lnTo>
                    <a:lnTo>
                      <a:pt x="16" y="33"/>
                    </a:lnTo>
                    <a:lnTo>
                      <a:pt x="17" y="35"/>
                    </a:lnTo>
                    <a:lnTo>
                      <a:pt x="20" y="33"/>
                    </a:lnTo>
                    <a:lnTo>
                      <a:pt x="22" y="38"/>
                    </a:lnTo>
                    <a:lnTo>
                      <a:pt x="28" y="39"/>
                    </a:lnTo>
                    <a:lnTo>
                      <a:pt x="29" y="39"/>
                    </a:lnTo>
                    <a:lnTo>
                      <a:pt x="30" y="38"/>
                    </a:lnTo>
                    <a:lnTo>
                      <a:pt x="32" y="36"/>
                    </a:lnTo>
                    <a:lnTo>
                      <a:pt x="33" y="32"/>
                    </a:lnTo>
                    <a:lnTo>
                      <a:pt x="35" y="33"/>
                    </a:lnTo>
                    <a:lnTo>
                      <a:pt x="36" y="35"/>
                    </a:lnTo>
                    <a:lnTo>
                      <a:pt x="36" y="38"/>
                    </a:lnTo>
                    <a:lnTo>
                      <a:pt x="42" y="41"/>
                    </a:lnTo>
                    <a:lnTo>
                      <a:pt x="44" y="41"/>
                    </a:lnTo>
                    <a:lnTo>
                      <a:pt x="46" y="44"/>
                    </a:lnTo>
                    <a:lnTo>
                      <a:pt x="51" y="45"/>
                    </a:lnTo>
                    <a:lnTo>
                      <a:pt x="54" y="45"/>
                    </a:lnTo>
                    <a:lnTo>
                      <a:pt x="55" y="45"/>
                    </a:lnTo>
                    <a:lnTo>
                      <a:pt x="54" y="47"/>
                    </a:lnTo>
                    <a:lnTo>
                      <a:pt x="49" y="48"/>
                    </a:lnTo>
                    <a:lnTo>
                      <a:pt x="49" y="51"/>
                    </a:lnTo>
                    <a:lnTo>
                      <a:pt x="46" y="51"/>
                    </a:lnTo>
                    <a:lnTo>
                      <a:pt x="45" y="51"/>
                    </a:lnTo>
                    <a:lnTo>
                      <a:pt x="44" y="52"/>
                    </a:lnTo>
                    <a:lnTo>
                      <a:pt x="42" y="52"/>
                    </a:lnTo>
                    <a:lnTo>
                      <a:pt x="39" y="54"/>
                    </a:lnTo>
                    <a:lnTo>
                      <a:pt x="39" y="55"/>
                    </a:lnTo>
                    <a:lnTo>
                      <a:pt x="38" y="57"/>
                    </a:lnTo>
                    <a:lnTo>
                      <a:pt x="33" y="57"/>
                    </a:lnTo>
                    <a:lnTo>
                      <a:pt x="29" y="55"/>
                    </a:lnTo>
                    <a:lnTo>
                      <a:pt x="23" y="55"/>
                    </a:lnTo>
                    <a:lnTo>
                      <a:pt x="23" y="58"/>
                    </a:lnTo>
                    <a:lnTo>
                      <a:pt x="20" y="58"/>
                    </a:lnTo>
                    <a:lnTo>
                      <a:pt x="20" y="61"/>
                    </a:lnTo>
                    <a:lnTo>
                      <a:pt x="17" y="61"/>
                    </a:lnTo>
                    <a:lnTo>
                      <a:pt x="15" y="60"/>
                    </a:lnTo>
                    <a:lnTo>
                      <a:pt x="6" y="58"/>
                    </a:lnTo>
                    <a:lnTo>
                      <a:pt x="0" y="61"/>
                    </a:lnTo>
                    <a:lnTo>
                      <a:pt x="0" y="68"/>
                    </a:lnTo>
                    <a:lnTo>
                      <a:pt x="1" y="70"/>
                    </a:lnTo>
                    <a:lnTo>
                      <a:pt x="3" y="70"/>
                    </a:lnTo>
                    <a:lnTo>
                      <a:pt x="6" y="68"/>
                    </a:lnTo>
                    <a:lnTo>
                      <a:pt x="9" y="70"/>
                    </a:lnTo>
                    <a:lnTo>
                      <a:pt x="17" y="68"/>
                    </a:lnTo>
                    <a:lnTo>
                      <a:pt x="20" y="70"/>
                    </a:lnTo>
                    <a:lnTo>
                      <a:pt x="20" y="71"/>
                    </a:lnTo>
                    <a:lnTo>
                      <a:pt x="23" y="71"/>
                    </a:lnTo>
                    <a:lnTo>
                      <a:pt x="30" y="68"/>
                    </a:lnTo>
                    <a:lnTo>
                      <a:pt x="33" y="70"/>
                    </a:lnTo>
                    <a:lnTo>
                      <a:pt x="35" y="70"/>
                    </a:lnTo>
                    <a:lnTo>
                      <a:pt x="36" y="74"/>
                    </a:lnTo>
                    <a:lnTo>
                      <a:pt x="41" y="74"/>
                    </a:lnTo>
                    <a:lnTo>
                      <a:pt x="42" y="74"/>
                    </a:lnTo>
                    <a:lnTo>
                      <a:pt x="46" y="73"/>
                    </a:lnTo>
                    <a:lnTo>
                      <a:pt x="51" y="73"/>
                    </a:lnTo>
                    <a:lnTo>
                      <a:pt x="54" y="73"/>
                    </a:lnTo>
                    <a:lnTo>
                      <a:pt x="57" y="73"/>
                    </a:lnTo>
                    <a:lnTo>
                      <a:pt x="60" y="73"/>
                    </a:lnTo>
                    <a:lnTo>
                      <a:pt x="60" y="68"/>
                    </a:lnTo>
                    <a:lnTo>
                      <a:pt x="65" y="7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83" name="Freeform 700"/>
              <p:cNvSpPr>
                <a:spLocks/>
              </p:cNvSpPr>
              <p:nvPr/>
            </p:nvSpPr>
            <p:spPr bwMode="auto">
              <a:xfrm>
                <a:off x="5888986" y="3024134"/>
                <a:ext cx="82513" cy="66933"/>
              </a:xfrm>
              <a:custGeom>
                <a:avLst/>
                <a:gdLst/>
                <a:ahLst/>
                <a:cxnLst>
                  <a:cxn ang="0">
                    <a:pos x="13" y="44"/>
                  </a:cxn>
                  <a:cxn ang="0">
                    <a:pos x="5" y="29"/>
                  </a:cxn>
                  <a:cxn ang="0">
                    <a:pos x="2" y="31"/>
                  </a:cxn>
                  <a:cxn ang="0">
                    <a:pos x="2" y="29"/>
                  </a:cxn>
                  <a:cxn ang="0">
                    <a:pos x="11" y="24"/>
                  </a:cxn>
                  <a:cxn ang="0">
                    <a:pos x="16" y="9"/>
                  </a:cxn>
                  <a:cxn ang="0">
                    <a:pos x="21" y="3"/>
                  </a:cxn>
                  <a:cxn ang="0">
                    <a:pos x="28" y="3"/>
                  </a:cxn>
                  <a:cxn ang="0">
                    <a:pos x="32" y="2"/>
                  </a:cxn>
                  <a:cxn ang="0">
                    <a:pos x="35" y="2"/>
                  </a:cxn>
                  <a:cxn ang="0">
                    <a:pos x="38" y="0"/>
                  </a:cxn>
                  <a:cxn ang="0">
                    <a:pos x="47" y="2"/>
                  </a:cxn>
                  <a:cxn ang="0">
                    <a:pos x="51" y="6"/>
                  </a:cxn>
                  <a:cxn ang="0">
                    <a:pos x="56" y="8"/>
                  </a:cxn>
                  <a:cxn ang="0">
                    <a:pos x="59" y="9"/>
                  </a:cxn>
                  <a:cxn ang="0">
                    <a:pos x="63" y="16"/>
                  </a:cxn>
                  <a:cxn ang="0">
                    <a:pos x="64" y="18"/>
                  </a:cxn>
                  <a:cxn ang="0">
                    <a:pos x="67" y="18"/>
                  </a:cxn>
                  <a:cxn ang="0">
                    <a:pos x="69" y="21"/>
                  </a:cxn>
                  <a:cxn ang="0">
                    <a:pos x="69" y="22"/>
                  </a:cxn>
                  <a:cxn ang="0">
                    <a:pos x="72" y="24"/>
                  </a:cxn>
                  <a:cxn ang="0">
                    <a:pos x="74" y="26"/>
                  </a:cxn>
                  <a:cxn ang="0">
                    <a:pos x="79" y="29"/>
                  </a:cxn>
                  <a:cxn ang="0">
                    <a:pos x="79" y="34"/>
                  </a:cxn>
                  <a:cxn ang="0">
                    <a:pos x="79" y="35"/>
                  </a:cxn>
                  <a:cxn ang="0">
                    <a:pos x="82" y="41"/>
                  </a:cxn>
                  <a:cxn ang="0">
                    <a:pos x="80" y="45"/>
                  </a:cxn>
                  <a:cxn ang="0">
                    <a:pos x="83" y="50"/>
                  </a:cxn>
                  <a:cxn ang="0">
                    <a:pos x="86" y="50"/>
                  </a:cxn>
                  <a:cxn ang="0">
                    <a:pos x="88" y="53"/>
                  </a:cxn>
                  <a:cxn ang="0">
                    <a:pos x="89" y="56"/>
                  </a:cxn>
                  <a:cxn ang="0">
                    <a:pos x="89" y="57"/>
                  </a:cxn>
                  <a:cxn ang="0">
                    <a:pos x="89" y="60"/>
                  </a:cxn>
                  <a:cxn ang="0">
                    <a:pos x="90" y="63"/>
                  </a:cxn>
                  <a:cxn ang="0">
                    <a:pos x="86" y="64"/>
                  </a:cxn>
                  <a:cxn ang="0">
                    <a:pos x="79" y="64"/>
                  </a:cxn>
                  <a:cxn ang="0">
                    <a:pos x="74" y="64"/>
                  </a:cxn>
                  <a:cxn ang="0">
                    <a:pos x="70" y="63"/>
                  </a:cxn>
                  <a:cxn ang="0">
                    <a:pos x="67" y="63"/>
                  </a:cxn>
                  <a:cxn ang="0">
                    <a:pos x="64" y="60"/>
                  </a:cxn>
                  <a:cxn ang="0">
                    <a:pos x="60" y="58"/>
                  </a:cxn>
                  <a:cxn ang="0">
                    <a:pos x="19" y="63"/>
                  </a:cxn>
                  <a:cxn ang="0">
                    <a:pos x="13" y="64"/>
                  </a:cxn>
                  <a:cxn ang="0">
                    <a:pos x="12" y="63"/>
                  </a:cxn>
                  <a:cxn ang="0">
                    <a:pos x="13" y="53"/>
                  </a:cxn>
                  <a:cxn ang="0">
                    <a:pos x="27" y="50"/>
                  </a:cxn>
                  <a:cxn ang="0">
                    <a:pos x="32" y="50"/>
                  </a:cxn>
                  <a:cxn ang="0">
                    <a:pos x="35" y="47"/>
                  </a:cxn>
                  <a:cxn ang="0">
                    <a:pos x="40" y="48"/>
                  </a:cxn>
                  <a:cxn ang="0">
                    <a:pos x="47" y="51"/>
                  </a:cxn>
                  <a:cxn ang="0">
                    <a:pos x="51" y="51"/>
                  </a:cxn>
                  <a:cxn ang="0">
                    <a:pos x="56" y="48"/>
                  </a:cxn>
                  <a:cxn ang="0">
                    <a:pos x="54" y="47"/>
                  </a:cxn>
                  <a:cxn ang="0">
                    <a:pos x="48" y="48"/>
                  </a:cxn>
                  <a:cxn ang="0">
                    <a:pos x="44" y="45"/>
                  </a:cxn>
                  <a:cxn ang="0">
                    <a:pos x="38" y="44"/>
                  </a:cxn>
                  <a:cxn ang="0">
                    <a:pos x="34" y="44"/>
                  </a:cxn>
                  <a:cxn ang="0">
                    <a:pos x="29" y="47"/>
                  </a:cxn>
                </a:cxnLst>
                <a:rect l="0" t="0" r="r" b="b"/>
                <a:pathLst>
                  <a:path w="90" h="64">
                    <a:moveTo>
                      <a:pt x="15" y="47"/>
                    </a:moveTo>
                    <a:lnTo>
                      <a:pt x="15" y="47"/>
                    </a:lnTo>
                    <a:lnTo>
                      <a:pt x="13" y="44"/>
                    </a:lnTo>
                    <a:lnTo>
                      <a:pt x="12" y="42"/>
                    </a:lnTo>
                    <a:lnTo>
                      <a:pt x="12" y="40"/>
                    </a:lnTo>
                    <a:lnTo>
                      <a:pt x="5" y="29"/>
                    </a:lnTo>
                    <a:lnTo>
                      <a:pt x="3" y="29"/>
                    </a:lnTo>
                    <a:lnTo>
                      <a:pt x="3" y="29"/>
                    </a:lnTo>
                    <a:lnTo>
                      <a:pt x="2" y="31"/>
                    </a:lnTo>
                    <a:lnTo>
                      <a:pt x="2" y="29"/>
                    </a:lnTo>
                    <a:lnTo>
                      <a:pt x="0" y="29"/>
                    </a:lnTo>
                    <a:lnTo>
                      <a:pt x="2" y="29"/>
                    </a:lnTo>
                    <a:lnTo>
                      <a:pt x="2" y="29"/>
                    </a:lnTo>
                    <a:lnTo>
                      <a:pt x="5" y="28"/>
                    </a:lnTo>
                    <a:lnTo>
                      <a:pt x="11" y="24"/>
                    </a:lnTo>
                    <a:lnTo>
                      <a:pt x="15" y="15"/>
                    </a:lnTo>
                    <a:lnTo>
                      <a:pt x="15" y="9"/>
                    </a:lnTo>
                    <a:lnTo>
                      <a:pt x="16" y="9"/>
                    </a:lnTo>
                    <a:lnTo>
                      <a:pt x="18" y="6"/>
                    </a:lnTo>
                    <a:lnTo>
                      <a:pt x="19" y="3"/>
                    </a:lnTo>
                    <a:lnTo>
                      <a:pt x="21" y="3"/>
                    </a:lnTo>
                    <a:lnTo>
                      <a:pt x="21" y="3"/>
                    </a:lnTo>
                    <a:lnTo>
                      <a:pt x="25" y="3"/>
                    </a:lnTo>
                    <a:lnTo>
                      <a:pt x="28" y="3"/>
                    </a:lnTo>
                    <a:lnTo>
                      <a:pt x="29" y="3"/>
                    </a:lnTo>
                    <a:lnTo>
                      <a:pt x="29" y="3"/>
                    </a:lnTo>
                    <a:lnTo>
                      <a:pt x="32" y="2"/>
                    </a:lnTo>
                    <a:lnTo>
                      <a:pt x="35" y="2"/>
                    </a:lnTo>
                    <a:lnTo>
                      <a:pt x="35" y="2"/>
                    </a:lnTo>
                    <a:lnTo>
                      <a:pt x="35" y="2"/>
                    </a:lnTo>
                    <a:lnTo>
                      <a:pt x="35" y="2"/>
                    </a:lnTo>
                    <a:lnTo>
                      <a:pt x="38" y="2"/>
                    </a:lnTo>
                    <a:lnTo>
                      <a:pt x="38" y="0"/>
                    </a:lnTo>
                    <a:lnTo>
                      <a:pt x="44" y="2"/>
                    </a:lnTo>
                    <a:lnTo>
                      <a:pt x="45" y="2"/>
                    </a:lnTo>
                    <a:lnTo>
                      <a:pt x="47" y="2"/>
                    </a:lnTo>
                    <a:lnTo>
                      <a:pt x="47" y="3"/>
                    </a:lnTo>
                    <a:lnTo>
                      <a:pt x="48" y="3"/>
                    </a:lnTo>
                    <a:lnTo>
                      <a:pt x="51" y="6"/>
                    </a:lnTo>
                    <a:lnTo>
                      <a:pt x="51" y="8"/>
                    </a:lnTo>
                    <a:lnTo>
                      <a:pt x="54" y="9"/>
                    </a:lnTo>
                    <a:lnTo>
                      <a:pt x="56" y="8"/>
                    </a:lnTo>
                    <a:lnTo>
                      <a:pt x="56" y="9"/>
                    </a:lnTo>
                    <a:lnTo>
                      <a:pt x="57" y="9"/>
                    </a:lnTo>
                    <a:lnTo>
                      <a:pt x="59" y="9"/>
                    </a:lnTo>
                    <a:lnTo>
                      <a:pt x="59" y="9"/>
                    </a:lnTo>
                    <a:lnTo>
                      <a:pt x="63" y="15"/>
                    </a:lnTo>
                    <a:lnTo>
                      <a:pt x="63" y="16"/>
                    </a:lnTo>
                    <a:lnTo>
                      <a:pt x="64" y="16"/>
                    </a:lnTo>
                    <a:lnTo>
                      <a:pt x="64" y="18"/>
                    </a:lnTo>
                    <a:lnTo>
                      <a:pt x="64" y="18"/>
                    </a:lnTo>
                    <a:lnTo>
                      <a:pt x="66" y="18"/>
                    </a:lnTo>
                    <a:lnTo>
                      <a:pt x="66" y="18"/>
                    </a:lnTo>
                    <a:lnTo>
                      <a:pt x="67" y="18"/>
                    </a:lnTo>
                    <a:lnTo>
                      <a:pt x="67" y="21"/>
                    </a:lnTo>
                    <a:lnTo>
                      <a:pt x="69" y="21"/>
                    </a:lnTo>
                    <a:lnTo>
                      <a:pt x="69" y="21"/>
                    </a:lnTo>
                    <a:lnTo>
                      <a:pt x="67" y="22"/>
                    </a:lnTo>
                    <a:lnTo>
                      <a:pt x="67" y="22"/>
                    </a:lnTo>
                    <a:lnTo>
                      <a:pt x="69" y="22"/>
                    </a:lnTo>
                    <a:lnTo>
                      <a:pt x="70" y="24"/>
                    </a:lnTo>
                    <a:lnTo>
                      <a:pt x="70" y="24"/>
                    </a:lnTo>
                    <a:lnTo>
                      <a:pt x="72" y="24"/>
                    </a:lnTo>
                    <a:lnTo>
                      <a:pt x="73" y="25"/>
                    </a:lnTo>
                    <a:lnTo>
                      <a:pt x="74" y="25"/>
                    </a:lnTo>
                    <a:lnTo>
                      <a:pt x="74" y="26"/>
                    </a:lnTo>
                    <a:lnTo>
                      <a:pt x="74" y="26"/>
                    </a:lnTo>
                    <a:lnTo>
                      <a:pt x="76" y="28"/>
                    </a:lnTo>
                    <a:lnTo>
                      <a:pt x="79" y="29"/>
                    </a:lnTo>
                    <a:lnTo>
                      <a:pt x="79" y="31"/>
                    </a:lnTo>
                    <a:lnTo>
                      <a:pt x="77" y="32"/>
                    </a:lnTo>
                    <a:lnTo>
                      <a:pt x="79" y="34"/>
                    </a:lnTo>
                    <a:lnTo>
                      <a:pt x="79" y="34"/>
                    </a:lnTo>
                    <a:lnTo>
                      <a:pt x="79" y="35"/>
                    </a:lnTo>
                    <a:lnTo>
                      <a:pt x="79" y="35"/>
                    </a:lnTo>
                    <a:lnTo>
                      <a:pt x="80" y="37"/>
                    </a:lnTo>
                    <a:lnTo>
                      <a:pt x="80" y="40"/>
                    </a:lnTo>
                    <a:lnTo>
                      <a:pt x="82" y="41"/>
                    </a:lnTo>
                    <a:lnTo>
                      <a:pt x="82" y="42"/>
                    </a:lnTo>
                    <a:lnTo>
                      <a:pt x="80" y="44"/>
                    </a:lnTo>
                    <a:lnTo>
                      <a:pt x="80" y="45"/>
                    </a:lnTo>
                    <a:lnTo>
                      <a:pt x="82" y="48"/>
                    </a:lnTo>
                    <a:lnTo>
                      <a:pt x="83" y="50"/>
                    </a:lnTo>
                    <a:lnTo>
                      <a:pt x="83" y="50"/>
                    </a:lnTo>
                    <a:lnTo>
                      <a:pt x="85" y="50"/>
                    </a:lnTo>
                    <a:lnTo>
                      <a:pt x="85" y="48"/>
                    </a:lnTo>
                    <a:lnTo>
                      <a:pt x="86" y="50"/>
                    </a:lnTo>
                    <a:lnTo>
                      <a:pt x="86" y="50"/>
                    </a:lnTo>
                    <a:lnTo>
                      <a:pt x="88" y="51"/>
                    </a:lnTo>
                    <a:lnTo>
                      <a:pt x="88" y="53"/>
                    </a:lnTo>
                    <a:lnTo>
                      <a:pt x="88" y="53"/>
                    </a:lnTo>
                    <a:lnTo>
                      <a:pt x="89" y="54"/>
                    </a:lnTo>
                    <a:lnTo>
                      <a:pt x="89" y="56"/>
                    </a:lnTo>
                    <a:lnTo>
                      <a:pt x="90" y="56"/>
                    </a:lnTo>
                    <a:lnTo>
                      <a:pt x="89" y="56"/>
                    </a:lnTo>
                    <a:lnTo>
                      <a:pt x="89" y="57"/>
                    </a:lnTo>
                    <a:lnTo>
                      <a:pt x="90" y="57"/>
                    </a:lnTo>
                    <a:lnTo>
                      <a:pt x="90" y="58"/>
                    </a:lnTo>
                    <a:lnTo>
                      <a:pt x="89" y="60"/>
                    </a:lnTo>
                    <a:lnTo>
                      <a:pt x="89" y="61"/>
                    </a:lnTo>
                    <a:lnTo>
                      <a:pt x="90" y="63"/>
                    </a:lnTo>
                    <a:lnTo>
                      <a:pt x="90" y="63"/>
                    </a:lnTo>
                    <a:lnTo>
                      <a:pt x="90" y="63"/>
                    </a:lnTo>
                    <a:lnTo>
                      <a:pt x="88" y="63"/>
                    </a:lnTo>
                    <a:lnTo>
                      <a:pt x="86" y="64"/>
                    </a:lnTo>
                    <a:lnTo>
                      <a:pt x="82" y="63"/>
                    </a:lnTo>
                    <a:lnTo>
                      <a:pt x="82" y="64"/>
                    </a:lnTo>
                    <a:lnTo>
                      <a:pt x="79" y="64"/>
                    </a:lnTo>
                    <a:lnTo>
                      <a:pt x="77" y="64"/>
                    </a:lnTo>
                    <a:lnTo>
                      <a:pt x="76" y="64"/>
                    </a:lnTo>
                    <a:lnTo>
                      <a:pt x="74" y="64"/>
                    </a:lnTo>
                    <a:lnTo>
                      <a:pt x="73" y="64"/>
                    </a:lnTo>
                    <a:lnTo>
                      <a:pt x="72" y="63"/>
                    </a:lnTo>
                    <a:lnTo>
                      <a:pt x="70" y="63"/>
                    </a:lnTo>
                    <a:lnTo>
                      <a:pt x="67" y="61"/>
                    </a:lnTo>
                    <a:lnTo>
                      <a:pt x="67" y="61"/>
                    </a:lnTo>
                    <a:lnTo>
                      <a:pt x="67" y="63"/>
                    </a:lnTo>
                    <a:lnTo>
                      <a:pt x="66" y="63"/>
                    </a:lnTo>
                    <a:lnTo>
                      <a:pt x="66" y="61"/>
                    </a:lnTo>
                    <a:lnTo>
                      <a:pt x="64" y="60"/>
                    </a:lnTo>
                    <a:lnTo>
                      <a:pt x="63" y="60"/>
                    </a:lnTo>
                    <a:lnTo>
                      <a:pt x="61" y="60"/>
                    </a:lnTo>
                    <a:lnTo>
                      <a:pt x="60" y="58"/>
                    </a:lnTo>
                    <a:lnTo>
                      <a:pt x="35" y="60"/>
                    </a:lnTo>
                    <a:lnTo>
                      <a:pt x="28" y="63"/>
                    </a:lnTo>
                    <a:lnTo>
                      <a:pt x="19" y="63"/>
                    </a:lnTo>
                    <a:lnTo>
                      <a:pt x="16" y="64"/>
                    </a:lnTo>
                    <a:lnTo>
                      <a:pt x="15" y="64"/>
                    </a:lnTo>
                    <a:lnTo>
                      <a:pt x="13" y="64"/>
                    </a:lnTo>
                    <a:lnTo>
                      <a:pt x="12" y="63"/>
                    </a:lnTo>
                    <a:lnTo>
                      <a:pt x="12" y="64"/>
                    </a:lnTo>
                    <a:lnTo>
                      <a:pt x="12" y="63"/>
                    </a:lnTo>
                    <a:lnTo>
                      <a:pt x="12" y="63"/>
                    </a:lnTo>
                    <a:lnTo>
                      <a:pt x="12" y="54"/>
                    </a:lnTo>
                    <a:lnTo>
                      <a:pt x="13" y="53"/>
                    </a:lnTo>
                    <a:lnTo>
                      <a:pt x="25" y="51"/>
                    </a:lnTo>
                    <a:lnTo>
                      <a:pt x="27" y="51"/>
                    </a:lnTo>
                    <a:lnTo>
                      <a:pt x="27" y="50"/>
                    </a:lnTo>
                    <a:lnTo>
                      <a:pt x="28" y="50"/>
                    </a:lnTo>
                    <a:lnTo>
                      <a:pt x="29" y="50"/>
                    </a:lnTo>
                    <a:lnTo>
                      <a:pt x="32" y="50"/>
                    </a:lnTo>
                    <a:lnTo>
                      <a:pt x="34" y="48"/>
                    </a:lnTo>
                    <a:lnTo>
                      <a:pt x="35" y="47"/>
                    </a:lnTo>
                    <a:lnTo>
                      <a:pt x="35" y="47"/>
                    </a:lnTo>
                    <a:lnTo>
                      <a:pt x="37" y="47"/>
                    </a:lnTo>
                    <a:lnTo>
                      <a:pt x="38" y="48"/>
                    </a:lnTo>
                    <a:lnTo>
                      <a:pt x="40" y="48"/>
                    </a:lnTo>
                    <a:lnTo>
                      <a:pt x="43" y="50"/>
                    </a:lnTo>
                    <a:lnTo>
                      <a:pt x="44" y="50"/>
                    </a:lnTo>
                    <a:lnTo>
                      <a:pt x="47" y="51"/>
                    </a:lnTo>
                    <a:lnTo>
                      <a:pt x="48" y="51"/>
                    </a:lnTo>
                    <a:lnTo>
                      <a:pt x="50" y="51"/>
                    </a:lnTo>
                    <a:lnTo>
                      <a:pt x="51" y="51"/>
                    </a:lnTo>
                    <a:lnTo>
                      <a:pt x="54" y="50"/>
                    </a:lnTo>
                    <a:lnTo>
                      <a:pt x="56" y="50"/>
                    </a:lnTo>
                    <a:lnTo>
                      <a:pt x="56" y="48"/>
                    </a:lnTo>
                    <a:lnTo>
                      <a:pt x="54" y="47"/>
                    </a:lnTo>
                    <a:lnTo>
                      <a:pt x="54" y="47"/>
                    </a:lnTo>
                    <a:lnTo>
                      <a:pt x="54" y="47"/>
                    </a:lnTo>
                    <a:lnTo>
                      <a:pt x="53" y="47"/>
                    </a:lnTo>
                    <a:lnTo>
                      <a:pt x="51" y="47"/>
                    </a:lnTo>
                    <a:lnTo>
                      <a:pt x="48" y="48"/>
                    </a:lnTo>
                    <a:lnTo>
                      <a:pt x="47" y="48"/>
                    </a:lnTo>
                    <a:lnTo>
                      <a:pt x="45" y="47"/>
                    </a:lnTo>
                    <a:lnTo>
                      <a:pt x="44" y="45"/>
                    </a:lnTo>
                    <a:lnTo>
                      <a:pt x="44" y="45"/>
                    </a:lnTo>
                    <a:lnTo>
                      <a:pt x="41" y="45"/>
                    </a:lnTo>
                    <a:lnTo>
                      <a:pt x="38" y="44"/>
                    </a:lnTo>
                    <a:lnTo>
                      <a:pt x="37" y="42"/>
                    </a:lnTo>
                    <a:lnTo>
                      <a:pt x="37" y="42"/>
                    </a:lnTo>
                    <a:lnTo>
                      <a:pt x="34" y="44"/>
                    </a:lnTo>
                    <a:lnTo>
                      <a:pt x="32" y="44"/>
                    </a:lnTo>
                    <a:lnTo>
                      <a:pt x="31" y="44"/>
                    </a:lnTo>
                    <a:lnTo>
                      <a:pt x="29" y="47"/>
                    </a:lnTo>
                    <a:lnTo>
                      <a:pt x="15" y="47"/>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84" name="Freeform 703"/>
              <p:cNvSpPr>
                <a:spLocks/>
              </p:cNvSpPr>
              <p:nvPr/>
            </p:nvSpPr>
            <p:spPr bwMode="auto">
              <a:xfrm>
                <a:off x="4591596" y="2765531"/>
                <a:ext cx="394132" cy="292070"/>
              </a:xfrm>
              <a:custGeom>
                <a:avLst/>
                <a:gdLst/>
                <a:ahLst/>
                <a:cxnLst>
                  <a:cxn ang="0">
                    <a:pos x="48" y="19"/>
                  </a:cxn>
                  <a:cxn ang="0">
                    <a:pos x="61" y="36"/>
                  </a:cxn>
                  <a:cxn ang="0">
                    <a:pos x="67" y="48"/>
                  </a:cxn>
                  <a:cxn ang="0">
                    <a:pos x="75" y="65"/>
                  </a:cxn>
                  <a:cxn ang="0">
                    <a:pos x="93" y="83"/>
                  </a:cxn>
                  <a:cxn ang="0">
                    <a:pos x="106" y="97"/>
                  </a:cxn>
                  <a:cxn ang="0">
                    <a:pos x="112" y="107"/>
                  </a:cxn>
                  <a:cxn ang="0">
                    <a:pos x="117" y="116"/>
                  </a:cxn>
                  <a:cxn ang="0">
                    <a:pos x="132" y="131"/>
                  </a:cxn>
                  <a:cxn ang="0">
                    <a:pos x="164" y="163"/>
                  </a:cxn>
                  <a:cxn ang="0">
                    <a:pos x="170" y="177"/>
                  </a:cxn>
                  <a:cxn ang="0">
                    <a:pos x="170" y="192"/>
                  </a:cxn>
                  <a:cxn ang="0">
                    <a:pos x="181" y="213"/>
                  </a:cxn>
                  <a:cxn ang="0">
                    <a:pos x="193" y="222"/>
                  </a:cxn>
                  <a:cxn ang="0">
                    <a:pos x="203" y="228"/>
                  </a:cxn>
                  <a:cxn ang="0">
                    <a:pos x="229" y="240"/>
                  </a:cxn>
                  <a:cxn ang="0">
                    <a:pos x="273" y="258"/>
                  </a:cxn>
                  <a:cxn ang="0">
                    <a:pos x="302" y="263"/>
                  </a:cxn>
                  <a:cxn ang="0">
                    <a:pos x="354" y="280"/>
                  </a:cxn>
                  <a:cxn ang="0">
                    <a:pos x="357" y="267"/>
                  </a:cxn>
                  <a:cxn ang="0">
                    <a:pos x="374" y="250"/>
                  </a:cxn>
                  <a:cxn ang="0">
                    <a:pos x="405" y="224"/>
                  </a:cxn>
                  <a:cxn ang="0">
                    <a:pos x="414" y="222"/>
                  </a:cxn>
                  <a:cxn ang="0">
                    <a:pos x="418" y="209"/>
                  </a:cxn>
                  <a:cxn ang="0">
                    <a:pos x="428" y="187"/>
                  </a:cxn>
                  <a:cxn ang="0">
                    <a:pos x="412" y="174"/>
                  </a:cxn>
                  <a:cxn ang="0">
                    <a:pos x="373" y="211"/>
                  </a:cxn>
                  <a:cxn ang="0">
                    <a:pos x="357" y="221"/>
                  </a:cxn>
                  <a:cxn ang="0">
                    <a:pos x="325" y="227"/>
                  </a:cxn>
                  <a:cxn ang="0">
                    <a:pos x="303" y="218"/>
                  </a:cxn>
                  <a:cxn ang="0">
                    <a:pos x="281" y="181"/>
                  </a:cxn>
                  <a:cxn ang="0">
                    <a:pos x="276" y="142"/>
                  </a:cxn>
                  <a:cxn ang="0">
                    <a:pos x="277" y="119"/>
                  </a:cxn>
                  <a:cxn ang="0">
                    <a:pos x="284" y="113"/>
                  </a:cxn>
                  <a:cxn ang="0">
                    <a:pos x="274" y="107"/>
                  </a:cxn>
                  <a:cxn ang="0">
                    <a:pos x="244" y="78"/>
                  </a:cxn>
                  <a:cxn ang="0">
                    <a:pos x="203" y="48"/>
                  </a:cxn>
                  <a:cxn ang="0">
                    <a:pos x="154" y="19"/>
                  </a:cxn>
                  <a:cxn ang="0">
                    <a:pos x="32" y="0"/>
                  </a:cxn>
                  <a:cxn ang="0">
                    <a:pos x="6" y="13"/>
                  </a:cxn>
                  <a:cxn ang="0">
                    <a:pos x="14" y="29"/>
                  </a:cxn>
                  <a:cxn ang="0">
                    <a:pos x="22" y="48"/>
                  </a:cxn>
                  <a:cxn ang="0">
                    <a:pos x="35" y="58"/>
                  </a:cxn>
                  <a:cxn ang="0">
                    <a:pos x="45" y="74"/>
                  </a:cxn>
                  <a:cxn ang="0">
                    <a:pos x="43" y="80"/>
                  </a:cxn>
                  <a:cxn ang="0">
                    <a:pos x="36" y="84"/>
                  </a:cxn>
                  <a:cxn ang="0">
                    <a:pos x="45" y="91"/>
                  </a:cxn>
                  <a:cxn ang="0">
                    <a:pos x="58" y="97"/>
                  </a:cxn>
                  <a:cxn ang="0">
                    <a:pos x="71" y="128"/>
                  </a:cxn>
                  <a:cxn ang="0">
                    <a:pos x="77" y="131"/>
                  </a:cxn>
                  <a:cxn ang="0">
                    <a:pos x="101" y="157"/>
                  </a:cxn>
                  <a:cxn ang="0">
                    <a:pos x="104" y="141"/>
                  </a:cxn>
                  <a:cxn ang="0">
                    <a:pos x="91" y="126"/>
                  </a:cxn>
                  <a:cxn ang="0">
                    <a:pos x="83" y="104"/>
                  </a:cxn>
                  <a:cxn ang="0">
                    <a:pos x="77" y="100"/>
                  </a:cxn>
                  <a:cxn ang="0">
                    <a:pos x="71" y="87"/>
                  </a:cxn>
                  <a:cxn ang="0">
                    <a:pos x="59" y="70"/>
                  </a:cxn>
                  <a:cxn ang="0">
                    <a:pos x="51" y="55"/>
                  </a:cxn>
                  <a:cxn ang="0">
                    <a:pos x="35" y="27"/>
                  </a:cxn>
                </a:cxnLst>
                <a:rect l="0" t="0" r="r" b="b"/>
                <a:pathLst>
                  <a:path w="430" h="280">
                    <a:moveTo>
                      <a:pt x="33" y="14"/>
                    </a:moveTo>
                    <a:lnTo>
                      <a:pt x="36" y="14"/>
                    </a:lnTo>
                    <a:lnTo>
                      <a:pt x="39" y="17"/>
                    </a:lnTo>
                    <a:lnTo>
                      <a:pt x="39" y="17"/>
                    </a:lnTo>
                    <a:lnTo>
                      <a:pt x="39" y="17"/>
                    </a:lnTo>
                    <a:lnTo>
                      <a:pt x="43" y="20"/>
                    </a:lnTo>
                    <a:lnTo>
                      <a:pt x="48" y="19"/>
                    </a:lnTo>
                    <a:lnTo>
                      <a:pt x="49" y="20"/>
                    </a:lnTo>
                    <a:lnTo>
                      <a:pt x="49" y="22"/>
                    </a:lnTo>
                    <a:lnTo>
                      <a:pt x="55" y="25"/>
                    </a:lnTo>
                    <a:lnTo>
                      <a:pt x="56" y="25"/>
                    </a:lnTo>
                    <a:lnTo>
                      <a:pt x="58" y="26"/>
                    </a:lnTo>
                    <a:lnTo>
                      <a:pt x="58" y="33"/>
                    </a:lnTo>
                    <a:lnTo>
                      <a:pt x="61" y="36"/>
                    </a:lnTo>
                    <a:lnTo>
                      <a:pt x="61" y="39"/>
                    </a:lnTo>
                    <a:lnTo>
                      <a:pt x="61" y="39"/>
                    </a:lnTo>
                    <a:lnTo>
                      <a:pt x="62" y="41"/>
                    </a:lnTo>
                    <a:lnTo>
                      <a:pt x="64" y="45"/>
                    </a:lnTo>
                    <a:lnTo>
                      <a:pt x="64" y="46"/>
                    </a:lnTo>
                    <a:lnTo>
                      <a:pt x="65" y="48"/>
                    </a:lnTo>
                    <a:lnTo>
                      <a:pt x="67" y="48"/>
                    </a:lnTo>
                    <a:lnTo>
                      <a:pt x="67" y="54"/>
                    </a:lnTo>
                    <a:lnTo>
                      <a:pt x="68" y="55"/>
                    </a:lnTo>
                    <a:lnTo>
                      <a:pt x="70" y="56"/>
                    </a:lnTo>
                    <a:lnTo>
                      <a:pt x="71" y="58"/>
                    </a:lnTo>
                    <a:lnTo>
                      <a:pt x="72" y="61"/>
                    </a:lnTo>
                    <a:lnTo>
                      <a:pt x="74" y="62"/>
                    </a:lnTo>
                    <a:lnTo>
                      <a:pt x="75" y="65"/>
                    </a:lnTo>
                    <a:lnTo>
                      <a:pt x="78" y="68"/>
                    </a:lnTo>
                    <a:lnTo>
                      <a:pt x="80" y="70"/>
                    </a:lnTo>
                    <a:lnTo>
                      <a:pt x="84" y="75"/>
                    </a:lnTo>
                    <a:lnTo>
                      <a:pt x="87" y="77"/>
                    </a:lnTo>
                    <a:lnTo>
                      <a:pt x="93" y="78"/>
                    </a:lnTo>
                    <a:lnTo>
                      <a:pt x="93" y="78"/>
                    </a:lnTo>
                    <a:lnTo>
                      <a:pt x="93" y="83"/>
                    </a:lnTo>
                    <a:lnTo>
                      <a:pt x="93" y="84"/>
                    </a:lnTo>
                    <a:lnTo>
                      <a:pt x="94" y="86"/>
                    </a:lnTo>
                    <a:lnTo>
                      <a:pt x="97" y="90"/>
                    </a:lnTo>
                    <a:lnTo>
                      <a:pt x="101" y="91"/>
                    </a:lnTo>
                    <a:lnTo>
                      <a:pt x="104" y="96"/>
                    </a:lnTo>
                    <a:lnTo>
                      <a:pt x="106" y="97"/>
                    </a:lnTo>
                    <a:lnTo>
                      <a:pt x="106" y="97"/>
                    </a:lnTo>
                    <a:lnTo>
                      <a:pt x="109" y="97"/>
                    </a:lnTo>
                    <a:lnTo>
                      <a:pt x="112" y="99"/>
                    </a:lnTo>
                    <a:lnTo>
                      <a:pt x="112" y="102"/>
                    </a:lnTo>
                    <a:lnTo>
                      <a:pt x="113" y="103"/>
                    </a:lnTo>
                    <a:lnTo>
                      <a:pt x="113" y="103"/>
                    </a:lnTo>
                    <a:lnTo>
                      <a:pt x="112" y="106"/>
                    </a:lnTo>
                    <a:lnTo>
                      <a:pt x="112" y="107"/>
                    </a:lnTo>
                    <a:lnTo>
                      <a:pt x="110" y="112"/>
                    </a:lnTo>
                    <a:lnTo>
                      <a:pt x="110" y="113"/>
                    </a:lnTo>
                    <a:lnTo>
                      <a:pt x="112" y="115"/>
                    </a:lnTo>
                    <a:lnTo>
                      <a:pt x="115" y="115"/>
                    </a:lnTo>
                    <a:lnTo>
                      <a:pt x="117" y="113"/>
                    </a:lnTo>
                    <a:lnTo>
                      <a:pt x="117" y="115"/>
                    </a:lnTo>
                    <a:lnTo>
                      <a:pt x="117" y="116"/>
                    </a:lnTo>
                    <a:lnTo>
                      <a:pt x="117" y="118"/>
                    </a:lnTo>
                    <a:lnTo>
                      <a:pt x="123" y="120"/>
                    </a:lnTo>
                    <a:lnTo>
                      <a:pt x="125" y="120"/>
                    </a:lnTo>
                    <a:lnTo>
                      <a:pt x="126" y="120"/>
                    </a:lnTo>
                    <a:lnTo>
                      <a:pt x="132" y="125"/>
                    </a:lnTo>
                    <a:lnTo>
                      <a:pt x="132" y="129"/>
                    </a:lnTo>
                    <a:lnTo>
                      <a:pt x="132" y="131"/>
                    </a:lnTo>
                    <a:lnTo>
                      <a:pt x="146" y="142"/>
                    </a:lnTo>
                    <a:lnTo>
                      <a:pt x="146" y="144"/>
                    </a:lnTo>
                    <a:lnTo>
                      <a:pt x="146" y="145"/>
                    </a:lnTo>
                    <a:lnTo>
                      <a:pt x="148" y="147"/>
                    </a:lnTo>
                    <a:lnTo>
                      <a:pt x="149" y="147"/>
                    </a:lnTo>
                    <a:lnTo>
                      <a:pt x="152" y="152"/>
                    </a:lnTo>
                    <a:lnTo>
                      <a:pt x="164" y="163"/>
                    </a:lnTo>
                    <a:lnTo>
                      <a:pt x="164" y="164"/>
                    </a:lnTo>
                    <a:lnTo>
                      <a:pt x="164" y="164"/>
                    </a:lnTo>
                    <a:lnTo>
                      <a:pt x="164" y="165"/>
                    </a:lnTo>
                    <a:lnTo>
                      <a:pt x="165" y="171"/>
                    </a:lnTo>
                    <a:lnTo>
                      <a:pt x="167" y="174"/>
                    </a:lnTo>
                    <a:lnTo>
                      <a:pt x="168" y="176"/>
                    </a:lnTo>
                    <a:lnTo>
                      <a:pt x="170" y="177"/>
                    </a:lnTo>
                    <a:lnTo>
                      <a:pt x="171" y="181"/>
                    </a:lnTo>
                    <a:lnTo>
                      <a:pt x="171" y="184"/>
                    </a:lnTo>
                    <a:lnTo>
                      <a:pt x="170" y="186"/>
                    </a:lnTo>
                    <a:lnTo>
                      <a:pt x="168" y="189"/>
                    </a:lnTo>
                    <a:lnTo>
                      <a:pt x="167" y="189"/>
                    </a:lnTo>
                    <a:lnTo>
                      <a:pt x="168" y="189"/>
                    </a:lnTo>
                    <a:lnTo>
                      <a:pt x="170" y="192"/>
                    </a:lnTo>
                    <a:lnTo>
                      <a:pt x="170" y="192"/>
                    </a:lnTo>
                    <a:lnTo>
                      <a:pt x="165" y="195"/>
                    </a:lnTo>
                    <a:lnTo>
                      <a:pt x="164" y="196"/>
                    </a:lnTo>
                    <a:lnTo>
                      <a:pt x="165" y="196"/>
                    </a:lnTo>
                    <a:lnTo>
                      <a:pt x="168" y="203"/>
                    </a:lnTo>
                    <a:lnTo>
                      <a:pt x="178" y="213"/>
                    </a:lnTo>
                    <a:lnTo>
                      <a:pt x="181" y="213"/>
                    </a:lnTo>
                    <a:lnTo>
                      <a:pt x="183" y="213"/>
                    </a:lnTo>
                    <a:lnTo>
                      <a:pt x="187" y="218"/>
                    </a:lnTo>
                    <a:lnTo>
                      <a:pt x="190" y="218"/>
                    </a:lnTo>
                    <a:lnTo>
                      <a:pt x="191" y="221"/>
                    </a:lnTo>
                    <a:lnTo>
                      <a:pt x="191" y="221"/>
                    </a:lnTo>
                    <a:lnTo>
                      <a:pt x="191" y="222"/>
                    </a:lnTo>
                    <a:lnTo>
                      <a:pt x="193" y="222"/>
                    </a:lnTo>
                    <a:lnTo>
                      <a:pt x="194" y="224"/>
                    </a:lnTo>
                    <a:lnTo>
                      <a:pt x="194" y="224"/>
                    </a:lnTo>
                    <a:lnTo>
                      <a:pt x="194" y="225"/>
                    </a:lnTo>
                    <a:lnTo>
                      <a:pt x="196" y="227"/>
                    </a:lnTo>
                    <a:lnTo>
                      <a:pt x="199" y="227"/>
                    </a:lnTo>
                    <a:lnTo>
                      <a:pt x="202" y="228"/>
                    </a:lnTo>
                    <a:lnTo>
                      <a:pt x="203" y="228"/>
                    </a:lnTo>
                    <a:lnTo>
                      <a:pt x="203" y="228"/>
                    </a:lnTo>
                    <a:lnTo>
                      <a:pt x="215" y="231"/>
                    </a:lnTo>
                    <a:lnTo>
                      <a:pt x="216" y="231"/>
                    </a:lnTo>
                    <a:lnTo>
                      <a:pt x="221" y="234"/>
                    </a:lnTo>
                    <a:lnTo>
                      <a:pt x="222" y="235"/>
                    </a:lnTo>
                    <a:lnTo>
                      <a:pt x="222" y="237"/>
                    </a:lnTo>
                    <a:lnTo>
                      <a:pt x="229" y="240"/>
                    </a:lnTo>
                    <a:lnTo>
                      <a:pt x="229" y="241"/>
                    </a:lnTo>
                    <a:lnTo>
                      <a:pt x="231" y="242"/>
                    </a:lnTo>
                    <a:lnTo>
                      <a:pt x="232" y="242"/>
                    </a:lnTo>
                    <a:lnTo>
                      <a:pt x="260" y="253"/>
                    </a:lnTo>
                    <a:lnTo>
                      <a:pt x="261" y="253"/>
                    </a:lnTo>
                    <a:lnTo>
                      <a:pt x="270" y="258"/>
                    </a:lnTo>
                    <a:lnTo>
                      <a:pt x="273" y="258"/>
                    </a:lnTo>
                    <a:lnTo>
                      <a:pt x="274" y="260"/>
                    </a:lnTo>
                    <a:lnTo>
                      <a:pt x="290" y="264"/>
                    </a:lnTo>
                    <a:lnTo>
                      <a:pt x="292" y="264"/>
                    </a:lnTo>
                    <a:lnTo>
                      <a:pt x="293" y="266"/>
                    </a:lnTo>
                    <a:lnTo>
                      <a:pt x="299" y="266"/>
                    </a:lnTo>
                    <a:lnTo>
                      <a:pt x="300" y="264"/>
                    </a:lnTo>
                    <a:lnTo>
                      <a:pt x="302" y="263"/>
                    </a:lnTo>
                    <a:lnTo>
                      <a:pt x="306" y="261"/>
                    </a:lnTo>
                    <a:lnTo>
                      <a:pt x="312" y="258"/>
                    </a:lnTo>
                    <a:lnTo>
                      <a:pt x="315" y="257"/>
                    </a:lnTo>
                    <a:lnTo>
                      <a:pt x="319" y="257"/>
                    </a:lnTo>
                    <a:lnTo>
                      <a:pt x="335" y="263"/>
                    </a:lnTo>
                    <a:lnTo>
                      <a:pt x="353" y="280"/>
                    </a:lnTo>
                    <a:lnTo>
                      <a:pt x="354" y="280"/>
                    </a:lnTo>
                    <a:lnTo>
                      <a:pt x="354" y="276"/>
                    </a:lnTo>
                    <a:lnTo>
                      <a:pt x="356" y="276"/>
                    </a:lnTo>
                    <a:lnTo>
                      <a:pt x="356" y="274"/>
                    </a:lnTo>
                    <a:lnTo>
                      <a:pt x="354" y="273"/>
                    </a:lnTo>
                    <a:lnTo>
                      <a:pt x="356" y="273"/>
                    </a:lnTo>
                    <a:lnTo>
                      <a:pt x="357" y="269"/>
                    </a:lnTo>
                    <a:lnTo>
                      <a:pt x="357" y="267"/>
                    </a:lnTo>
                    <a:lnTo>
                      <a:pt x="364" y="258"/>
                    </a:lnTo>
                    <a:lnTo>
                      <a:pt x="377" y="257"/>
                    </a:lnTo>
                    <a:lnTo>
                      <a:pt x="377" y="257"/>
                    </a:lnTo>
                    <a:lnTo>
                      <a:pt x="377" y="257"/>
                    </a:lnTo>
                    <a:lnTo>
                      <a:pt x="377" y="254"/>
                    </a:lnTo>
                    <a:lnTo>
                      <a:pt x="377" y="253"/>
                    </a:lnTo>
                    <a:lnTo>
                      <a:pt x="374" y="250"/>
                    </a:lnTo>
                    <a:lnTo>
                      <a:pt x="374" y="248"/>
                    </a:lnTo>
                    <a:lnTo>
                      <a:pt x="363" y="238"/>
                    </a:lnTo>
                    <a:lnTo>
                      <a:pt x="363" y="240"/>
                    </a:lnTo>
                    <a:lnTo>
                      <a:pt x="372" y="240"/>
                    </a:lnTo>
                    <a:lnTo>
                      <a:pt x="372" y="232"/>
                    </a:lnTo>
                    <a:lnTo>
                      <a:pt x="401" y="231"/>
                    </a:lnTo>
                    <a:lnTo>
                      <a:pt x="405" y="224"/>
                    </a:lnTo>
                    <a:lnTo>
                      <a:pt x="406" y="224"/>
                    </a:lnTo>
                    <a:lnTo>
                      <a:pt x="408" y="224"/>
                    </a:lnTo>
                    <a:lnTo>
                      <a:pt x="408" y="222"/>
                    </a:lnTo>
                    <a:lnTo>
                      <a:pt x="411" y="218"/>
                    </a:lnTo>
                    <a:lnTo>
                      <a:pt x="412" y="218"/>
                    </a:lnTo>
                    <a:lnTo>
                      <a:pt x="412" y="222"/>
                    </a:lnTo>
                    <a:lnTo>
                      <a:pt x="414" y="222"/>
                    </a:lnTo>
                    <a:lnTo>
                      <a:pt x="414" y="224"/>
                    </a:lnTo>
                    <a:lnTo>
                      <a:pt x="414" y="227"/>
                    </a:lnTo>
                    <a:lnTo>
                      <a:pt x="414" y="229"/>
                    </a:lnTo>
                    <a:lnTo>
                      <a:pt x="415" y="228"/>
                    </a:lnTo>
                    <a:lnTo>
                      <a:pt x="419" y="211"/>
                    </a:lnTo>
                    <a:lnTo>
                      <a:pt x="419" y="209"/>
                    </a:lnTo>
                    <a:lnTo>
                      <a:pt x="418" y="209"/>
                    </a:lnTo>
                    <a:lnTo>
                      <a:pt x="419" y="208"/>
                    </a:lnTo>
                    <a:lnTo>
                      <a:pt x="419" y="206"/>
                    </a:lnTo>
                    <a:lnTo>
                      <a:pt x="418" y="205"/>
                    </a:lnTo>
                    <a:lnTo>
                      <a:pt x="421" y="200"/>
                    </a:lnTo>
                    <a:lnTo>
                      <a:pt x="421" y="197"/>
                    </a:lnTo>
                    <a:lnTo>
                      <a:pt x="424" y="192"/>
                    </a:lnTo>
                    <a:lnTo>
                      <a:pt x="428" y="187"/>
                    </a:lnTo>
                    <a:lnTo>
                      <a:pt x="430" y="181"/>
                    </a:lnTo>
                    <a:lnTo>
                      <a:pt x="430" y="179"/>
                    </a:lnTo>
                    <a:lnTo>
                      <a:pt x="428" y="177"/>
                    </a:lnTo>
                    <a:lnTo>
                      <a:pt x="419" y="176"/>
                    </a:lnTo>
                    <a:lnTo>
                      <a:pt x="417" y="179"/>
                    </a:lnTo>
                    <a:lnTo>
                      <a:pt x="417" y="176"/>
                    </a:lnTo>
                    <a:lnTo>
                      <a:pt x="412" y="174"/>
                    </a:lnTo>
                    <a:lnTo>
                      <a:pt x="403" y="177"/>
                    </a:lnTo>
                    <a:lnTo>
                      <a:pt x="401" y="179"/>
                    </a:lnTo>
                    <a:lnTo>
                      <a:pt x="383" y="181"/>
                    </a:lnTo>
                    <a:lnTo>
                      <a:pt x="380" y="183"/>
                    </a:lnTo>
                    <a:lnTo>
                      <a:pt x="376" y="202"/>
                    </a:lnTo>
                    <a:lnTo>
                      <a:pt x="374" y="203"/>
                    </a:lnTo>
                    <a:lnTo>
                      <a:pt x="373" y="211"/>
                    </a:lnTo>
                    <a:lnTo>
                      <a:pt x="370" y="213"/>
                    </a:lnTo>
                    <a:lnTo>
                      <a:pt x="366" y="215"/>
                    </a:lnTo>
                    <a:lnTo>
                      <a:pt x="367" y="219"/>
                    </a:lnTo>
                    <a:lnTo>
                      <a:pt x="363" y="222"/>
                    </a:lnTo>
                    <a:lnTo>
                      <a:pt x="360" y="222"/>
                    </a:lnTo>
                    <a:lnTo>
                      <a:pt x="358" y="222"/>
                    </a:lnTo>
                    <a:lnTo>
                      <a:pt x="357" y="221"/>
                    </a:lnTo>
                    <a:lnTo>
                      <a:pt x="357" y="219"/>
                    </a:lnTo>
                    <a:lnTo>
                      <a:pt x="356" y="219"/>
                    </a:lnTo>
                    <a:lnTo>
                      <a:pt x="350" y="219"/>
                    </a:lnTo>
                    <a:lnTo>
                      <a:pt x="340" y="222"/>
                    </a:lnTo>
                    <a:lnTo>
                      <a:pt x="338" y="222"/>
                    </a:lnTo>
                    <a:lnTo>
                      <a:pt x="331" y="224"/>
                    </a:lnTo>
                    <a:lnTo>
                      <a:pt x="325" y="227"/>
                    </a:lnTo>
                    <a:lnTo>
                      <a:pt x="321" y="227"/>
                    </a:lnTo>
                    <a:lnTo>
                      <a:pt x="318" y="225"/>
                    </a:lnTo>
                    <a:lnTo>
                      <a:pt x="315" y="221"/>
                    </a:lnTo>
                    <a:lnTo>
                      <a:pt x="313" y="219"/>
                    </a:lnTo>
                    <a:lnTo>
                      <a:pt x="313" y="221"/>
                    </a:lnTo>
                    <a:lnTo>
                      <a:pt x="309" y="221"/>
                    </a:lnTo>
                    <a:lnTo>
                      <a:pt x="303" y="218"/>
                    </a:lnTo>
                    <a:lnTo>
                      <a:pt x="299" y="212"/>
                    </a:lnTo>
                    <a:lnTo>
                      <a:pt x="297" y="212"/>
                    </a:lnTo>
                    <a:lnTo>
                      <a:pt x="297" y="212"/>
                    </a:lnTo>
                    <a:lnTo>
                      <a:pt x="292" y="197"/>
                    </a:lnTo>
                    <a:lnTo>
                      <a:pt x="287" y="193"/>
                    </a:lnTo>
                    <a:lnTo>
                      <a:pt x="281" y="183"/>
                    </a:lnTo>
                    <a:lnTo>
                      <a:pt x="281" y="181"/>
                    </a:lnTo>
                    <a:lnTo>
                      <a:pt x="283" y="180"/>
                    </a:lnTo>
                    <a:lnTo>
                      <a:pt x="283" y="179"/>
                    </a:lnTo>
                    <a:lnTo>
                      <a:pt x="283" y="177"/>
                    </a:lnTo>
                    <a:lnTo>
                      <a:pt x="277" y="171"/>
                    </a:lnTo>
                    <a:lnTo>
                      <a:pt x="276" y="167"/>
                    </a:lnTo>
                    <a:lnTo>
                      <a:pt x="277" y="145"/>
                    </a:lnTo>
                    <a:lnTo>
                      <a:pt x="276" y="142"/>
                    </a:lnTo>
                    <a:lnTo>
                      <a:pt x="276" y="141"/>
                    </a:lnTo>
                    <a:lnTo>
                      <a:pt x="274" y="131"/>
                    </a:lnTo>
                    <a:lnTo>
                      <a:pt x="274" y="129"/>
                    </a:lnTo>
                    <a:lnTo>
                      <a:pt x="274" y="129"/>
                    </a:lnTo>
                    <a:lnTo>
                      <a:pt x="276" y="125"/>
                    </a:lnTo>
                    <a:lnTo>
                      <a:pt x="277" y="123"/>
                    </a:lnTo>
                    <a:lnTo>
                      <a:pt x="277" y="119"/>
                    </a:lnTo>
                    <a:lnTo>
                      <a:pt x="279" y="118"/>
                    </a:lnTo>
                    <a:lnTo>
                      <a:pt x="281" y="119"/>
                    </a:lnTo>
                    <a:lnTo>
                      <a:pt x="283" y="118"/>
                    </a:lnTo>
                    <a:lnTo>
                      <a:pt x="284" y="115"/>
                    </a:lnTo>
                    <a:lnTo>
                      <a:pt x="284" y="112"/>
                    </a:lnTo>
                    <a:lnTo>
                      <a:pt x="284" y="112"/>
                    </a:lnTo>
                    <a:lnTo>
                      <a:pt x="284" y="113"/>
                    </a:lnTo>
                    <a:lnTo>
                      <a:pt x="283" y="115"/>
                    </a:lnTo>
                    <a:lnTo>
                      <a:pt x="283" y="115"/>
                    </a:lnTo>
                    <a:lnTo>
                      <a:pt x="283" y="115"/>
                    </a:lnTo>
                    <a:lnTo>
                      <a:pt x="283" y="113"/>
                    </a:lnTo>
                    <a:lnTo>
                      <a:pt x="284" y="110"/>
                    </a:lnTo>
                    <a:lnTo>
                      <a:pt x="280" y="109"/>
                    </a:lnTo>
                    <a:lnTo>
                      <a:pt x="274" y="107"/>
                    </a:lnTo>
                    <a:lnTo>
                      <a:pt x="268" y="107"/>
                    </a:lnTo>
                    <a:lnTo>
                      <a:pt x="264" y="104"/>
                    </a:lnTo>
                    <a:lnTo>
                      <a:pt x="261" y="104"/>
                    </a:lnTo>
                    <a:lnTo>
                      <a:pt x="257" y="102"/>
                    </a:lnTo>
                    <a:lnTo>
                      <a:pt x="252" y="94"/>
                    </a:lnTo>
                    <a:lnTo>
                      <a:pt x="248" y="83"/>
                    </a:lnTo>
                    <a:lnTo>
                      <a:pt x="244" y="78"/>
                    </a:lnTo>
                    <a:lnTo>
                      <a:pt x="241" y="74"/>
                    </a:lnTo>
                    <a:lnTo>
                      <a:pt x="236" y="70"/>
                    </a:lnTo>
                    <a:lnTo>
                      <a:pt x="232" y="58"/>
                    </a:lnTo>
                    <a:lnTo>
                      <a:pt x="221" y="46"/>
                    </a:lnTo>
                    <a:lnTo>
                      <a:pt x="209" y="46"/>
                    </a:lnTo>
                    <a:lnTo>
                      <a:pt x="206" y="46"/>
                    </a:lnTo>
                    <a:lnTo>
                      <a:pt x="203" y="48"/>
                    </a:lnTo>
                    <a:lnTo>
                      <a:pt x="197" y="61"/>
                    </a:lnTo>
                    <a:lnTo>
                      <a:pt x="191" y="59"/>
                    </a:lnTo>
                    <a:lnTo>
                      <a:pt x="175" y="46"/>
                    </a:lnTo>
                    <a:lnTo>
                      <a:pt x="173" y="33"/>
                    </a:lnTo>
                    <a:lnTo>
                      <a:pt x="160" y="23"/>
                    </a:lnTo>
                    <a:lnTo>
                      <a:pt x="157" y="20"/>
                    </a:lnTo>
                    <a:lnTo>
                      <a:pt x="154" y="19"/>
                    </a:lnTo>
                    <a:lnTo>
                      <a:pt x="152" y="16"/>
                    </a:lnTo>
                    <a:lnTo>
                      <a:pt x="148" y="13"/>
                    </a:lnTo>
                    <a:lnTo>
                      <a:pt x="125" y="13"/>
                    </a:lnTo>
                    <a:lnTo>
                      <a:pt x="125" y="22"/>
                    </a:lnTo>
                    <a:lnTo>
                      <a:pt x="87" y="22"/>
                    </a:lnTo>
                    <a:lnTo>
                      <a:pt x="32" y="1"/>
                    </a:lnTo>
                    <a:lnTo>
                      <a:pt x="32" y="0"/>
                    </a:lnTo>
                    <a:lnTo>
                      <a:pt x="0" y="3"/>
                    </a:lnTo>
                    <a:lnTo>
                      <a:pt x="1" y="4"/>
                    </a:lnTo>
                    <a:lnTo>
                      <a:pt x="1" y="6"/>
                    </a:lnTo>
                    <a:lnTo>
                      <a:pt x="3" y="7"/>
                    </a:lnTo>
                    <a:lnTo>
                      <a:pt x="4" y="10"/>
                    </a:lnTo>
                    <a:lnTo>
                      <a:pt x="6" y="11"/>
                    </a:lnTo>
                    <a:lnTo>
                      <a:pt x="6" y="13"/>
                    </a:lnTo>
                    <a:lnTo>
                      <a:pt x="7" y="13"/>
                    </a:lnTo>
                    <a:lnTo>
                      <a:pt x="7" y="14"/>
                    </a:lnTo>
                    <a:lnTo>
                      <a:pt x="7" y="19"/>
                    </a:lnTo>
                    <a:lnTo>
                      <a:pt x="13" y="27"/>
                    </a:lnTo>
                    <a:lnTo>
                      <a:pt x="13" y="27"/>
                    </a:lnTo>
                    <a:lnTo>
                      <a:pt x="13" y="29"/>
                    </a:lnTo>
                    <a:lnTo>
                      <a:pt x="14" y="29"/>
                    </a:lnTo>
                    <a:lnTo>
                      <a:pt x="14" y="30"/>
                    </a:lnTo>
                    <a:lnTo>
                      <a:pt x="17" y="35"/>
                    </a:lnTo>
                    <a:lnTo>
                      <a:pt x="17" y="38"/>
                    </a:lnTo>
                    <a:lnTo>
                      <a:pt x="17" y="38"/>
                    </a:lnTo>
                    <a:lnTo>
                      <a:pt x="17" y="38"/>
                    </a:lnTo>
                    <a:lnTo>
                      <a:pt x="19" y="38"/>
                    </a:lnTo>
                    <a:lnTo>
                      <a:pt x="22" y="48"/>
                    </a:lnTo>
                    <a:lnTo>
                      <a:pt x="22" y="49"/>
                    </a:lnTo>
                    <a:lnTo>
                      <a:pt x="24" y="49"/>
                    </a:lnTo>
                    <a:lnTo>
                      <a:pt x="26" y="51"/>
                    </a:lnTo>
                    <a:lnTo>
                      <a:pt x="27" y="51"/>
                    </a:lnTo>
                    <a:lnTo>
                      <a:pt x="29" y="54"/>
                    </a:lnTo>
                    <a:lnTo>
                      <a:pt x="32" y="54"/>
                    </a:lnTo>
                    <a:lnTo>
                      <a:pt x="35" y="58"/>
                    </a:lnTo>
                    <a:lnTo>
                      <a:pt x="35" y="59"/>
                    </a:lnTo>
                    <a:lnTo>
                      <a:pt x="38" y="62"/>
                    </a:lnTo>
                    <a:lnTo>
                      <a:pt x="39" y="62"/>
                    </a:lnTo>
                    <a:lnTo>
                      <a:pt x="45" y="70"/>
                    </a:lnTo>
                    <a:lnTo>
                      <a:pt x="45" y="71"/>
                    </a:lnTo>
                    <a:lnTo>
                      <a:pt x="45" y="72"/>
                    </a:lnTo>
                    <a:lnTo>
                      <a:pt x="45" y="74"/>
                    </a:lnTo>
                    <a:lnTo>
                      <a:pt x="45" y="74"/>
                    </a:lnTo>
                    <a:lnTo>
                      <a:pt x="45" y="75"/>
                    </a:lnTo>
                    <a:lnTo>
                      <a:pt x="43" y="77"/>
                    </a:lnTo>
                    <a:lnTo>
                      <a:pt x="42" y="77"/>
                    </a:lnTo>
                    <a:lnTo>
                      <a:pt x="42" y="78"/>
                    </a:lnTo>
                    <a:lnTo>
                      <a:pt x="43" y="78"/>
                    </a:lnTo>
                    <a:lnTo>
                      <a:pt x="43" y="80"/>
                    </a:lnTo>
                    <a:lnTo>
                      <a:pt x="42" y="78"/>
                    </a:lnTo>
                    <a:lnTo>
                      <a:pt x="36" y="80"/>
                    </a:lnTo>
                    <a:lnTo>
                      <a:pt x="32" y="80"/>
                    </a:lnTo>
                    <a:lnTo>
                      <a:pt x="32" y="81"/>
                    </a:lnTo>
                    <a:lnTo>
                      <a:pt x="32" y="81"/>
                    </a:lnTo>
                    <a:lnTo>
                      <a:pt x="33" y="81"/>
                    </a:lnTo>
                    <a:lnTo>
                      <a:pt x="36" y="84"/>
                    </a:lnTo>
                    <a:lnTo>
                      <a:pt x="38" y="84"/>
                    </a:lnTo>
                    <a:lnTo>
                      <a:pt x="39" y="86"/>
                    </a:lnTo>
                    <a:lnTo>
                      <a:pt x="39" y="88"/>
                    </a:lnTo>
                    <a:lnTo>
                      <a:pt x="40" y="90"/>
                    </a:lnTo>
                    <a:lnTo>
                      <a:pt x="43" y="90"/>
                    </a:lnTo>
                    <a:lnTo>
                      <a:pt x="45" y="90"/>
                    </a:lnTo>
                    <a:lnTo>
                      <a:pt x="45" y="91"/>
                    </a:lnTo>
                    <a:lnTo>
                      <a:pt x="49" y="93"/>
                    </a:lnTo>
                    <a:lnTo>
                      <a:pt x="49" y="96"/>
                    </a:lnTo>
                    <a:lnTo>
                      <a:pt x="52" y="96"/>
                    </a:lnTo>
                    <a:lnTo>
                      <a:pt x="55" y="97"/>
                    </a:lnTo>
                    <a:lnTo>
                      <a:pt x="58" y="93"/>
                    </a:lnTo>
                    <a:lnTo>
                      <a:pt x="58" y="94"/>
                    </a:lnTo>
                    <a:lnTo>
                      <a:pt x="58" y="97"/>
                    </a:lnTo>
                    <a:lnTo>
                      <a:pt x="62" y="103"/>
                    </a:lnTo>
                    <a:lnTo>
                      <a:pt x="67" y="104"/>
                    </a:lnTo>
                    <a:lnTo>
                      <a:pt x="68" y="104"/>
                    </a:lnTo>
                    <a:lnTo>
                      <a:pt x="72" y="113"/>
                    </a:lnTo>
                    <a:lnTo>
                      <a:pt x="72" y="120"/>
                    </a:lnTo>
                    <a:lnTo>
                      <a:pt x="71" y="126"/>
                    </a:lnTo>
                    <a:lnTo>
                      <a:pt x="71" y="128"/>
                    </a:lnTo>
                    <a:lnTo>
                      <a:pt x="71" y="126"/>
                    </a:lnTo>
                    <a:lnTo>
                      <a:pt x="72" y="126"/>
                    </a:lnTo>
                    <a:lnTo>
                      <a:pt x="72" y="128"/>
                    </a:lnTo>
                    <a:lnTo>
                      <a:pt x="74" y="128"/>
                    </a:lnTo>
                    <a:lnTo>
                      <a:pt x="75" y="129"/>
                    </a:lnTo>
                    <a:lnTo>
                      <a:pt x="75" y="131"/>
                    </a:lnTo>
                    <a:lnTo>
                      <a:pt x="77" y="131"/>
                    </a:lnTo>
                    <a:lnTo>
                      <a:pt x="80" y="132"/>
                    </a:lnTo>
                    <a:lnTo>
                      <a:pt x="80" y="134"/>
                    </a:lnTo>
                    <a:lnTo>
                      <a:pt x="94" y="145"/>
                    </a:lnTo>
                    <a:lnTo>
                      <a:pt x="96" y="145"/>
                    </a:lnTo>
                    <a:lnTo>
                      <a:pt x="99" y="148"/>
                    </a:lnTo>
                    <a:lnTo>
                      <a:pt x="100" y="155"/>
                    </a:lnTo>
                    <a:lnTo>
                      <a:pt x="101" y="157"/>
                    </a:lnTo>
                    <a:lnTo>
                      <a:pt x="103" y="157"/>
                    </a:lnTo>
                    <a:lnTo>
                      <a:pt x="104" y="155"/>
                    </a:lnTo>
                    <a:lnTo>
                      <a:pt x="107" y="154"/>
                    </a:lnTo>
                    <a:lnTo>
                      <a:pt x="110" y="151"/>
                    </a:lnTo>
                    <a:lnTo>
                      <a:pt x="110" y="148"/>
                    </a:lnTo>
                    <a:lnTo>
                      <a:pt x="109" y="147"/>
                    </a:lnTo>
                    <a:lnTo>
                      <a:pt x="104" y="141"/>
                    </a:lnTo>
                    <a:lnTo>
                      <a:pt x="104" y="139"/>
                    </a:lnTo>
                    <a:lnTo>
                      <a:pt x="99" y="135"/>
                    </a:lnTo>
                    <a:lnTo>
                      <a:pt x="97" y="138"/>
                    </a:lnTo>
                    <a:lnTo>
                      <a:pt x="96" y="136"/>
                    </a:lnTo>
                    <a:lnTo>
                      <a:pt x="94" y="135"/>
                    </a:lnTo>
                    <a:lnTo>
                      <a:pt x="91" y="131"/>
                    </a:lnTo>
                    <a:lnTo>
                      <a:pt x="91" y="126"/>
                    </a:lnTo>
                    <a:lnTo>
                      <a:pt x="88" y="120"/>
                    </a:lnTo>
                    <a:lnTo>
                      <a:pt x="88" y="120"/>
                    </a:lnTo>
                    <a:lnTo>
                      <a:pt x="88" y="116"/>
                    </a:lnTo>
                    <a:lnTo>
                      <a:pt x="85" y="115"/>
                    </a:lnTo>
                    <a:lnTo>
                      <a:pt x="84" y="112"/>
                    </a:lnTo>
                    <a:lnTo>
                      <a:pt x="83" y="104"/>
                    </a:lnTo>
                    <a:lnTo>
                      <a:pt x="83" y="104"/>
                    </a:lnTo>
                    <a:lnTo>
                      <a:pt x="81" y="102"/>
                    </a:lnTo>
                    <a:lnTo>
                      <a:pt x="80" y="97"/>
                    </a:lnTo>
                    <a:lnTo>
                      <a:pt x="78" y="96"/>
                    </a:lnTo>
                    <a:lnTo>
                      <a:pt x="77" y="96"/>
                    </a:lnTo>
                    <a:lnTo>
                      <a:pt x="77" y="99"/>
                    </a:lnTo>
                    <a:lnTo>
                      <a:pt x="78" y="100"/>
                    </a:lnTo>
                    <a:lnTo>
                      <a:pt x="77" y="100"/>
                    </a:lnTo>
                    <a:lnTo>
                      <a:pt x="75" y="99"/>
                    </a:lnTo>
                    <a:lnTo>
                      <a:pt x="75" y="97"/>
                    </a:lnTo>
                    <a:lnTo>
                      <a:pt x="74" y="93"/>
                    </a:lnTo>
                    <a:lnTo>
                      <a:pt x="74" y="91"/>
                    </a:lnTo>
                    <a:lnTo>
                      <a:pt x="72" y="91"/>
                    </a:lnTo>
                    <a:lnTo>
                      <a:pt x="71" y="90"/>
                    </a:lnTo>
                    <a:lnTo>
                      <a:pt x="71" y="87"/>
                    </a:lnTo>
                    <a:lnTo>
                      <a:pt x="70" y="84"/>
                    </a:lnTo>
                    <a:lnTo>
                      <a:pt x="64" y="80"/>
                    </a:lnTo>
                    <a:lnTo>
                      <a:pt x="62" y="71"/>
                    </a:lnTo>
                    <a:lnTo>
                      <a:pt x="62" y="71"/>
                    </a:lnTo>
                    <a:lnTo>
                      <a:pt x="61" y="70"/>
                    </a:lnTo>
                    <a:lnTo>
                      <a:pt x="61" y="70"/>
                    </a:lnTo>
                    <a:lnTo>
                      <a:pt x="59" y="70"/>
                    </a:lnTo>
                    <a:lnTo>
                      <a:pt x="56" y="64"/>
                    </a:lnTo>
                    <a:lnTo>
                      <a:pt x="56" y="64"/>
                    </a:lnTo>
                    <a:lnTo>
                      <a:pt x="55" y="64"/>
                    </a:lnTo>
                    <a:lnTo>
                      <a:pt x="54" y="62"/>
                    </a:lnTo>
                    <a:lnTo>
                      <a:pt x="54" y="62"/>
                    </a:lnTo>
                    <a:lnTo>
                      <a:pt x="51" y="58"/>
                    </a:lnTo>
                    <a:lnTo>
                      <a:pt x="51" y="55"/>
                    </a:lnTo>
                    <a:lnTo>
                      <a:pt x="43" y="51"/>
                    </a:lnTo>
                    <a:lnTo>
                      <a:pt x="43" y="49"/>
                    </a:lnTo>
                    <a:lnTo>
                      <a:pt x="42" y="48"/>
                    </a:lnTo>
                    <a:lnTo>
                      <a:pt x="40" y="48"/>
                    </a:lnTo>
                    <a:lnTo>
                      <a:pt x="38" y="42"/>
                    </a:lnTo>
                    <a:lnTo>
                      <a:pt x="36" y="29"/>
                    </a:lnTo>
                    <a:lnTo>
                      <a:pt x="35" y="27"/>
                    </a:lnTo>
                    <a:lnTo>
                      <a:pt x="33" y="17"/>
                    </a:lnTo>
                    <a:lnTo>
                      <a:pt x="33" y="16"/>
                    </a:lnTo>
                    <a:lnTo>
                      <a:pt x="33" y="14"/>
                    </a:lnTo>
                    <a:close/>
                  </a:path>
                </a:pathLst>
              </a:custGeom>
              <a:solidFill>
                <a:srgbClr val="00AFE6"/>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85" name="Freeform 705"/>
              <p:cNvSpPr>
                <a:spLocks/>
              </p:cNvSpPr>
              <p:nvPr/>
            </p:nvSpPr>
            <p:spPr bwMode="auto">
              <a:xfrm>
                <a:off x="5087554" y="3091067"/>
                <a:ext cx="158882" cy="245420"/>
              </a:xfrm>
              <a:custGeom>
                <a:avLst/>
                <a:gdLst/>
                <a:ahLst/>
                <a:cxnLst>
                  <a:cxn ang="0">
                    <a:pos x="112" y="3"/>
                  </a:cxn>
                  <a:cxn ang="0">
                    <a:pos x="102" y="2"/>
                  </a:cxn>
                  <a:cxn ang="0">
                    <a:pos x="99" y="3"/>
                  </a:cxn>
                  <a:cxn ang="0">
                    <a:pos x="76" y="16"/>
                  </a:cxn>
                  <a:cxn ang="0">
                    <a:pos x="64" y="23"/>
                  </a:cxn>
                  <a:cxn ang="0">
                    <a:pos x="58" y="21"/>
                  </a:cxn>
                  <a:cxn ang="0">
                    <a:pos x="47" y="41"/>
                  </a:cxn>
                  <a:cxn ang="0">
                    <a:pos x="31" y="54"/>
                  </a:cxn>
                  <a:cxn ang="0">
                    <a:pos x="32" y="63"/>
                  </a:cxn>
                  <a:cxn ang="0">
                    <a:pos x="24" y="54"/>
                  </a:cxn>
                  <a:cxn ang="0">
                    <a:pos x="24" y="58"/>
                  </a:cxn>
                  <a:cxn ang="0">
                    <a:pos x="25" y="63"/>
                  </a:cxn>
                  <a:cxn ang="0">
                    <a:pos x="19" y="69"/>
                  </a:cxn>
                  <a:cxn ang="0">
                    <a:pos x="16" y="73"/>
                  </a:cxn>
                  <a:cxn ang="0">
                    <a:pos x="24" y="96"/>
                  </a:cxn>
                  <a:cxn ang="0">
                    <a:pos x="22" y="119"/>
                  </a:cxn>
                  <a:cxn ang="0">
                    <a:pos x="29" y="121"/>
                  </a:cxn>
                  <a:cxn ang="0">
                    <a:pos x="19" y="138"/>
                  </a:cxn>
                  <a:cxn ang="0">
                    <a:pos x="8" y="143"/>
                  </a:cxn>
                  <a:cxn ang="0">
                    <a:pos x="3" y="151"/>
                  </a:cxn>
                  <a:cxn ang="0">
                    <a:pos x="2" y="157"/>
                  </a:cxn>
                  <a:cxn ang="0">
                    <a:pos x="25" y="175"/>
                  </a:cxn>
                  <a:cxn ang="0">
                    <a:pos x="42" y="173"/>
                  </a:cxn>
                  <a:cxn ang="0">
                    <a:pos x="61" y="182"/>
                  </a:cxn>
                  <a:cxn ang="0">
                    <a:pos x="69" y="192"/>
                  </a:cxn>
                  <a:cxn ang="0">
                    <a:pos x="74" y="194"/>
                  </a:cxn>
                  <a:cxn ang="0">
                    <a:pos x="79" y="202"/>
                  </a:cxn>
                  <a:cxn ang="0">
                    <a:pos x="83" y="209"/>
                  </a:cxn>
                  <a:cxn ang="0">
                    <a:pos x="92" y="212"/>
                  </a:cxn>
                  <a:cxn ang="0">
                    <a:pos x="99" y="211"/>
                  </a:cxn>
                  <a:cxn ang="0">
                    <a:pos x="106" y="209"/>
                  </a:cxn>
                  <a:cxn ang="0">
                    <a:pos x="114" y="209"/>
                  </a:cxn>
                  <a:cxn ang="0">
                    <a:pos x="127" y="218"/>
                  </a:cxn>
                  <a:cxn ang="0">
                    <a:pos x="121" y="231"/>
                  </a:cxn>
                  <a:cxn ang="0">
                    <a:pos x="128" y="236"/>
                  </a:cxn>
                  <a:cxn ang="0">
                    <a:pos x="131" y="225"/>
                  </a:cxn>
                  <a:cxn ang="0">
                    <a:pos x="135" y="188"/>
                  </a:cxn>
                  <a:cxn ang="0">
                    <a:pos x="138" y="169"/>
                  </a:cxn>
                  <a:cxn ang="0">
                    <a:pos x="140" y="169"/>
                  </a:cxn>
                  <a:cxn ang="0">
                    <a:pos x="134" y="163"/>
                  </a:cxn>
                  <a:cxn ang="0">
                    <a:pos x="131" y="162"/>
                  </a:cxn>
                  <a:cxn ang="0">
                    <a:pos x="151" y="153"/>
                  </a:cxn>
                  <a:cxn ang="0">
                    <a:pos x="154" y="150"/>
                  </a:cxn>
                  <a:cxn ang="0">
                    <a:pos x="162" y="148"/>
                  </a:cxn>
                  <a:cxn ang="0">
                    <a:pos x="170" y="160"/>
                  </a:cxn>
                  <a:cxn ang="0">
                    <a:pos x="160" y="138"/>
                  </a:cxn>
                  <a:cxn ang="0">
                    <a:pos x="166" y="131"/>
                  </a:cxn>
                  <a:cxn ang="0">
                    <a:pos x="166" y="127"/>
                  </a:cxn>
                  <a:cxn ang="0">
                    <a:pos x="160" y="121"/>
                  </a:cxn>
                  <a:cxn ang="0">
                    <a:pos x="160" y="108"/>
                  </a:cxn>
                  <a:cxn ang="0">
                    <a:pos x="163" y="96"/>
                  </a:cxn>
                  <a:cxn ang="0">
                    <a:pos x="164" y="89"/>
                  </a:cxn>
                  <a:cxn ang="0">
                    <a:pos x="148" y="90"/>
                  </a:cxn>
                  <a:cxn ang="0">
                    <a:pos x="137" y="90"/>
                  </a:cxn>
                  <a:cxn ang="0">
                    <a:pos x="128" y="79"/>
                  </a:cxn>
                  <a:cxn ang="0">
                    <a:pos x="99" y="74"/>
                  </a:cxn>
                  <a:cxn ang="0">
                    <a:pos x="95" y="60"/>
                  </a:cxn>
                  <a:cxn ang="0">
                    <a:pos x="90" y="55"/>
                  </a:cxn>
                  <a:cxn ang="0">
                    <a:pos x="87" y="28"/>
                  </a:cxn>
                </a:cxnLst>
                <a:rect l="0" t="0" r="r" b="b"/>
                <a:pathLst>
                  <a:path w="173" h="236">
                    <a:moveTo>
                      <a:pt x="109" y="9"/>
                    </a:moveTo>
                    <a:lnTo>
                      <a:pt x="111" y="8"/>
                    </a:lnTo>
                    <a:lnTo>
                      <a:pt x="112" y="6"/>
                    </a:lnTo>
                    <a:lnTo>
                      <a:pt x="112" y="3"/>
                    </a:lnTo>
                    <a:lnTo>
                      <a:pt x="109" y="2"/>
                    </a:lnTo>
                    <a:lnTo>
                      <a:pt x="105" y="0"/>
                    </a:lnTo>
                    <a:lnTo>
                      <a:pt x="103" y="2"/>
                    </a:lnTo>
                    <a:lnTo>
                      <a:pt x="102" y="2"/>
                    </a:lnTo>
                    <a:lnTo>
                      <a:pt x="102" y="2"/>
                    </a:lnTo>
                    <a:lnTo>
                      <a:pt x="102" y="3"/>
                    </a:lnTo>
                    <a:lnTo>
                      <a:pt x="101" y="3"/>
                    </a:lnTo>
                    <a:lnTo>
                      <a:pt x="99" y="3"/>
                    </a:lnTo>
                    <a:lnTo>
                      <a:pt x="99" y="5"/>
                    </a:lnTo>
                    <a:lnTo>
                      <a:pt x="99" y="6"/>
                    </a:lnTo>
                    <a:lnTo>
                      <a:pt x="98" y="8"/>
                    </a:lnTo>
                    <a:lnTo>
                      <a:pt x="76" y="16"/>
                    </a:lnTo>
                    <a:lnTo>
                      <a:pt x="69" y="16"/>
                    </a:lnTo>
                    <a:lnTo>
                      <a:pt x="69" y="16"/>
                    </a:lnTo>
                    <a:lnTo>
                      <a:pt x="66" y="23"/>
                    </a:lnTo>
                    <a:lnTo>
                      <a:pt x="64" y="23"/>
                    </a:lnTo>
                    <a:lnTo>
                      <a:pt x="64" y="23"/>
                    </a:lnTo>
                    <a:lnTo>
                      <a:pt x="64" y="22"/>
                    </a:lnTo>
                    <a:lnTo>
                      <a:pt x="63" y="21"/>
                    </a:lnTo>
                    <a:lnTo>
                      <a:pt x="58" y="21"/>
                    </a:lnTo>
                    <a:lnTo>
                      <a:pt x="57" y="21"/>
                    </a:lnTo>
                    <a:lnTo>
                      <a:pt x="50" y="26"/>
                    </a:lnTo>
                    <a:lnTo>
                      <a:pt x="48" y="28"/>
                    </a:lnTo>
                    <a:lnTo>
                      <a:pt x="47" y="41"/>
                    </a:lnTo>
                    <a:lnTo>
                      <a:pt x="45" y="42"/>
                    </a:lnTo>
                    <a:lnTo>
                      <a:pt x="42" y="44"/>
                    </a:lnTo>
                    <a:lnTo>
                      <a:pt x="35" y="51"/>
                    </a:lnTo>
                    <a:lnTo>
                      <a:pt x="31" y="54"/>
                    </a:lnTo>
                    <a:lnTo>
                      <a:pt x="31" y="55"/>
                    </a:lnTo>
                    <a:lnTo>
                      <a:pt x="31" y="55"/>
                    </a:lnTo>
                    <a:lnTo>
                      <a:pt x="31" y="57"/>
                    </a:lnTo>
                    <a:lnTo>
                      <a:pt x="32" y="63"/>
                    </a:lnTo>
                    <a:lnTo>
                      <a:pt x="31" y="64"/>
                    </a:lnTo>
                    <a:lnTo>
                      <a:pt x="31" y="64"/>
                    </a:lnTo>
                    <a:lnTo>
                      <a:pt x="29" y="63"/>
                    </a:lnTo>
                    <a:lnTo>
                      <a:pt x="24" y="54"/>
                    </a:lnTo>
                    <a:lnTo>
                      <a:pt x="22" y="55"/>
                    </a:lnTo>
                    <a:lnTo>
                      <a:pt x="22" y="57"/>
                    </a:lnTo>
                    <a:lnTo>
                      <a:pt x="22" y="58"/>
                    </a:lnTo>
                    <a:lnTo>
                      <a:pt x="24" y="58"/>
                    </a:lnTo>
                    <a:lnTo>
                      <a:pt x="25" y="60"/>
                    </a:lnTo>
                    <a:lnTo>
                      <a:pt x="25" y="63"/>
                    </a:lnTo>
                    <a:lnTo>
                      <a:pt x="25" y="63"/>
                    </a:lnTo>
                    <a:lnTo>
                      <a:pt x="25" y="63"/>
                    </a:lnTo>
                    <a:lnTo>
                      <a:pt x="25" y="64"/>
                    </a:lnTo>
                    <a:lnTo>
                      <a:pt x="21" y="69"/>
                    </a:lnTo>
                    <a:lnTo>
                      <a:pt x="19" y="69"/>
                    </a:lnTo>
                    <a:lnTo>
                      <a:pt x="19" y="69"/>
                    </a:lnTo>
                    <a:lnTo>
                      <a:pt x="18" y="70"/>
                    </a:lnTo>
                    <a:lnTo>
                      <a:pt x="16" y="71"/>
                    </a:lnTo>
                    <a:lnTo>
                      <a:pt x="16" y="73"/>
                    </a:lnTo>
                    <a:lnTo>
                      <a:pt x="16" y="73"/>
                    </a:lnTo>
                    <a:lnTo>
                      <a:pt x="19" y="80"/>
                    </a:lnTo>
                    <a:lnTo>
                      <a:pt x="22" y="83"/>
                    </a:lnTo>
                    <a:lnTo>
                      <a:pt x="24" y="85"/>
                    </a:lnTo>
                    <a:lnTo>
                      <a:pt x="24" y="96"/>
                    </a:lnTo>
                    <a:lnTo>
                      <a:pt x="22" y="99"/>
                    </a:lnTo>
                    <a:lnTo>
                      <a:pt x="22" y="101"/>
                    </a:lnTo>
                    <a:lnTo>
                      <a:pt x="24" y="114"/>
                    </a:lnTo>
                    <a:lnTo>
                      <a:pt x="22" y="119"/>
                    </a:lnTo>
                    <a:lnTo>
                      <a:pt x="22" y="122"/>
                    </a:lnTo>
                    <a:lnTo>
                      <a:pt x="25" y="122"/>
                    </a:lnTo>
                    <a:lnTo>
                      <a:pt x="28" y="122"/>
                    </a:lnTo>
                    <a:lnTo>
                      <a:pt x="29" y="121"/>
                    </a:lnTo>
                    <a:lnTo>
                      <a:pt x="29" y="122"/>
                    </a:lnTo>
                    <a:lnTo>
                      <a:pt x="28" y="124"/>
                    </a:lnTo>
                    <a:lnTo>
                      <a:pt x="22" y="131"/>
                    </a:lnTo>
                    <a:lnTo>
                      <a:pt x="19" y="138"/>
                    </a:lnTo>
                    <a:lnTo>
                      <a:pt x="18" y="140"/>
                    </a:lnTo>
                    <a:lnTo>
                      <a:pt x="15" y="140"/>
                    </a:lnTo>
                    <a:lnTo>
                      <a:pt x="11" y="140"/>
                    </a:lnTo>
                    <a:lnTo>
                      <a:pt x="8" y="143"/>
                    </a:lnTo>
                    <a:lnTo>
                      <a:pt x="6" y="147"/>
                    </a:lnTo>
                    <a:lnTo>
                      <a:pt x="6" y="150"/>
                    </a:lnTo>
                    <a:lnTo>
                      <a:pt x="6" y="151"/>
                    </a:lnTo>
                    <a:lnTo>
                      <a:pt x="3" y="151"/>
                    </a:lnTo>
                    <a:lnTo>
                      <a:pt x="2" y="153"/>
                    </a:lnTo>
                    <a:lnTo>
                      <a:pt x="0" y="154"/>
                    </a:lnTo>
                    <a:lnTo>
                      <a:pt x="0" y="156"/>
                    </a:lnTo>
                    <a:lnTo>
                      <a:pt x="2" y="157"/>
                    </a:lnTo>
                    <a:lnTo>
                      <a:pt x="2" y="159"/>
                    </a:lnTo>
                    <a:lnTo>
                      <a:pt x="3" y="159"/>
                    </a:lnTo>
                    <a:lnTo>
                      <a:pt x="24" y="169"/>
                    </a:lnTo>
                    <a:lnTo>
                      <a:pt x="25" y="175"/>
                    </a:lnTo>
                    <a:lnTo>
                      <a:pt x="40" y="175"/>
                    </a:lnTo>
                    <a:lnTo>
                      <a:pt x="40" y="175"/>
                    </a:lnTo>
                    <a:lnTo>
                      <a:pt x="41" y="173"/>
                    </a:lnTo>
                    <a:lnTo>
                      <a:pt x="42" y="173"/>
                    </a:lnTo>
                    <a:lnTo>
                      <a:pt x="51" y="178"/>
                    </a:lnTo>
                    <a:lnTo>
                      <a:pt x="58" y="180"/>
                    </a:lnTo>
                    <a:lnTo>
                      <a:pt x="60" y="180"/>
                    </a:lnTo>
                    <a:lnTo>
                      <a:pt x="61" y="182"/>
                    </a:lnTo>
                    <a:lnTo>
                      <a:pt x="63" y="183"/>
                    </a:lnTo>
                    <a:lnTo>
                      <a:pt x="66" y="185"/>
                    </a:lnTo>
                    <a:lnTo>
                      <a:pt x="67" y="191"/>
                    </a:lnTo>
                    <a:lnTo>
                      <a:pt x="69" y="192"/>
                    </a:lnTo>
                    <a:lnTo>
                      <a:pt x="70" y="192"/>
                    </a:lnTo>
                    <a:lnTo>
                      <a:pt x="72" y="194"/>
                    </a:lnTo>
                    <a:lnTo>
                      <a:pt x="73" y="194"/>
                    </a:lnTo>
                    <a:lnTo>
                      <a:pt x="74" y="194"/>
                    </a:lnTo>
                    <a:lnTo>
                      <a:pt x="76" y="195"/>
                    </a:lnTo>
                    <a:lnTo>
                      <a:pt x="77" y="196"/>
                    </a:lnTo>
                    <a:lnTo>
                      <a:pt x="77" y="202"/>
                    </a:lnTo>
                    <a:lnTo>
                      <a:pt x="79" y="202"/>
                    </a:lnTo>
                    <a:lnTo>
                      <a:pt x="79" y="204"/>
                    </a:lnTo>
                    <a:lnTo>
                      <a:pt x="82" y="204"/>
                    </a:lnTo>
                    <a:lnTo>
                      <a:pt x="83" y="204"/>
                    </a:lnTo>
                    <a:lnTo>
                      <a:pt x="83" y="209"/>
                    </a:lnTo>
                    <a:lnTo>
                      <a:pt x="85" y="212"/>
                    </a:lnTo>
                    <a:lnTo>
                      <a:pt x="87" y="212"/>
                    </a:lnTo>
                    <a:lnTo>
                      <a:pt x="89" y="212"/>
                    </a:lnTo>
                    <a:lnTo>
                      <a:pt x="92" y="212"/>
                    </a:lnTo>
                    <a:lnTo>
                      <a:pt x="95" y="212"/>
                    </a:lnTo>
                    <a:lnTo>
                      <a:pt x="98" y="212"/>
                    </a:lnTo>
                    <a:lnTo>
                      <a:pt x="98" y="212"/>
                    </a:lnTo>
                    <a:lnTo>
                      <a:pt x="99" y="211"/>
                    </a:lnTo>
                    <a:lnTo>
                      <a:pt x="99" y="211"/>
                    </a:lnTo>
                    <a:lnTo>
                      <a:pt x="101" y="209"/>
                    </a:lnTo>
                    <a:lnTo>
                      <a:pt x="102" y="209"/>
                    </a:lnTo>
                    <a:lnTo>
                      <a:pt x="106" y="209"/>
                    </a:lnTo>
                    <a:lnTo>
                      <a:pt x="108" y="211"/>
                    </a:lnTo>
                    <a:lnTo>
                      <a:pt x="109" y="211"/>
                    </a:lnTo>
                    <a:lnTo>
                      <a:pt x="111" y="211"/>
                    </a:lnTo>
                    <a:lnTo>
                      <a:pt x="114" y="209"/>
                    </a:lnTo>
                    <a:lnTo>
                      <a:pt x="117" y="209"/>
                    </a:lnTo>
                    <a:lnTo>
                      <a:pt x="124" y="214"/>
                    </a:lnTo>
                    <a:lnTo>
                      <a:pt x="127" y="217"/>
                    </a:lnTo>
                    <a:lnTo>
                      <a:pt x="127" y="218"/>
                    </a:lnTo>
                    <a:lnTo>
                      <a:pt x="119" y="228"/>
                    </a:lnTo>
                    <a:lnTo>
                      <a:pt x="119" y="231"/>
                    </a:lnTo>
                    <a:lnTo>
                      <a:pt x="119" y="231"/>
                    </a:lnTo>
                    <a:lnTo>
                      <a:pt x="121" y="231"/>
                    </a:lnTo>
                    <a:lnTo>
                      <a:pt x="122" y="231"/>
                    </a:lnTo>
                    <a:lnTo>
                      <a:pt x="124" y="231"/>
                    </a:lnTo>
                    <a:lnTo>
                      <a:pt x="127" y="236"/>
                    </a:lnTo>
                    <a:lnTo>
                      <a:pt x="128" y="236"/>
                    </a:lnTo>
                    <a:lnTo>
                      <a:pt x="130" y="234"/>
                    </a:lnTo>
                    <a:lnTo>
                      <a:pt x="130" y="233"/>
                    </a:lnTo>
                    <a:lnTo>
                      <a:pt x="131" y="227"/>
                    </a:lnTo>
                    <a:lnTo>
                      <a:pt x="131" y="225"/>
                    </a:lnTo>
                    <a:lnTo>
                      <a:pt x="133" y="215"/>
                    </a:lnTo>
                    <a:lnTo>
                      <a:pt x="134" y="215"/>
                    </a:lnTo>
                    <a:lnTo>
                      <a:pt x="137" y="195"/>
                    </a:lnTo>
                    <a:lnTo>
                      <a:pt x="135" y="188"/>
                    </a:lnTo>
                    <a:lnTo>
                      <a:pt x="128" y="180"/>
                    </a:lnTo>
                    <a:lnTo>
                      <a:pt x="128" y="170"/>
                    </a:lnTo>
                    <a:lnTo>
                      <a:pt x="135" y="167"/>
                    </a:lnTo>
                    <a:lnTo>
                      <a:pt x="138" y="169"/>
                    </a:lnTo>
                    <a:lnTo>
                      <a:pt x="138" y="169"/>
                    </a:lnTo>
                    <a:lnTo>
                      <a:pt x="138" y="169"/>
                    </a:lnTo>
                    <a:lnTo>
                      <a:pt x="140" y="169"/>
                    </a:lnTo>
                    <a:lnTo>
                      <a:pt x="140" y="169"/>
                    </a:lnTo>
                    <a:lnTo>
                      <a:pt x="138" y="164"/>
                    </a:lnTo>
                    <a:lnTo>
                      <a:pt x="138" y="163"/>
                    </a:lnTo>
                    <a:lnTo>
                      <a:pt x="135" y="163"/>
                    </a:lnTo>
                    <a:lnTo>
                      <a:pt x="134" y="163"/>
                    </a:lnTo>
                    <a:lnTo>
                      <a:pt x="133" y="163"/>
                    </a:lnTo>
                    <a:lnTo>
                      <a:pt x="131" y="162"/>
                    </a:lnTo>
                    <a:lnTo>
                      <a:pt x="131" y="162"/>
                    </a:lnTo>
                    <a:lnTo>
                      <a:pt x="131" y="162"/>
                    </a:lnTo>
                    <a:lnTo>
                      <a:pt x="131" y="162"/>
                    </a:lnTo>
                    <a:lnTo>
                      <a:pt x="131" y="153"/>
                    </a:lnTo>
                    <a:lnTo>
                      <a:pt x="131" y="153"/>
                    </a:lnTo>
                    <a:lnTo>
                      <a:pt x="151" y="153"/>
                    </a:lnTo>
                    <a:lnTo>
                      <a:pt x="153" y="153"/>
                    </a:lnTo>
                    <a:lnTo>
                      <a:pt x="153" y="150"/>
                    </a:lnTo>
                    <a:lnTo>
                      <a:pt x="154" y="150"/>
                    </a:lnTo>
                    <a:lnTo>
                      <a:pt x="154" y="150"/>
                    </a:lnTo>
                    <a:lnTo>
                      <a:pt x="156" y="150"/>
                    </a:lnTo>
                    <a:lnTo>
                      <a:pt x="157" y="151"/>
                    </a:lnTo>
                    <a:lnTo>
                      <a:pt x="157" y="151"/>
                    </a:lnTo>
                    <a:lnTo>
                      <a:pt x="162" y="148"/>
                    </a:lnTo>
                    <a:lnTo>
                      <a:pt x="164" y="148"/>
                    </a:lnTo>
                    <a:lnTo>
                      <a:pt x="166" y="150"/>
                    </a:lnTo>
                    <a:lnTo>
                      <a:pt x="169" y="153"/>
                    </a:lnTo>
                    <a:lnTo>
                      <a:pt x="170" y="160"/>
                    </a:lnTo>
                    <a:lnTo>
                      <a:pt x="173" y="160"/>
                    </a:lnTo>
                    <a:lnTo>
                      <a:pt x="173" y="159"/>
                    </a:lnTo>
                    <a:lnTo>
                      <a:pt x="164" y="141"/>
                    </a:lnTo>
                    <a:lnTo>
                      <a:pt x="160" y="138"/>
                    </a:lnTo>
                    <a:lnTo>
                      <a:pt x="160" y="137"/>
                    </a:lnTo>
                    <a:lnTo>
                      <a:pt x="164" y="132"/>
                    </a:lnTo>
                    <a:lnTo>
                      <a:pt x="166" y="132"/>
                    </a:lnTo>
                    <a:lnTo>
                      <a:pt x="166" y="131"/>
                    </a:lnTo>
                    <a:lnTo>
                      <a:pt x="167" y="131"/>
                    </a:lnTo>
                    <a:lnTo>
                      <a:pt x="167" y="130"/>
                    </a:lnTo>
                    <a:lnTo>
                      <a:pt x="167" y="128"/>
                    </a:lnTo>
                    <a:lnTo>
                      <a:pt x="166" y="127"/>
                    </a:lnTo>
                    <a:lnTo>
                      <a:pt x="164" y="124"/>
                    </a:lnTo>
                    <a:lnTo>
                      <a:pt x="163" y="122"/>
                    </a:lnTo>
                    <a:lnTo>
                      <a:pt x="162" y="121"/>
                    </a:lnTo>
                    <a:lnTo>
                      <a:pt x="160" y="121"/>
                    </a:lnTo>
                    <a:lnTo>
                      <a:pt x="160" y="114"/>
                    </a:lnTo>
                    <a:lnTo>
                      <a:pt x="159" y="112"/>
                    </a:lnTo>
                    <a:lnTo>
                      <a:pt x="159" y="109"/>
                    </a:lnTo>
                    <a:lnTo>
                      <a:pt x="160" y="108"/>
                    </a:lnTo>
                    <a:lnTo>
                      <a:pt x="160" y="105"/>
                    </a:lnTo>
                    <a:lnTo>
                      <a:pt x="160" y="102"/>
                    </a:lnTo>
                    <a:lnTo>
                      <a:pt x="163" y="99"/>
                    </a:lnTo>
                    <a:lnTo>
                      <a:pt x="163" y="96"/>
                    </a:lnTo>
                    <a:lnTo>
                      <a:pt x="163" y="95"/>
                    </a:lnTo>
                    <a:lnTo>
                      <a:pt x="164" y="93"/>
                    </a:lnTo>
                    <a:lnTo>
                      <a:pt x="164" y="92"/>
                    </a:lnTo>
                    <a:lnTo>
                      <a:pt x="164" y="89"/>
                    </a:lnTo>
                    <a:lnTo>
                      <a:pt x="163" y="89"/>
                    </a:lnTo>
                    <a:lnTo>
                      <a:pt x="163" y="89"/>
                    </a:lnTo>
                    <a:lnTo>
                      <a:pt x="153" y="92"/>
                    </a:lnTo>
                    <a:lnTo>
                      <a:pt x="148" y="90"/>
                    </a:lnTo>
                    <a:lnTo>
                      <a:pt x="144" y="89"/>
                    </a:lnTo>
                    <a:lnTo>
                      <a:pt x="141" y="90"/>
                    </a:lnTo>
                    <a:lnTo>
                      <a:pt x="141" y="90"/>
                    </a:lnTo>
                    <a:lnTo>
                      <a:pt x="137" y="90"/>
                    </a:lnTo>
                    <a:lnTo>
                      <a:pt x="137" y="90"/>
                    </a:lnTo>
                    <a:lnTo>
                      <a:pt x="137" y="90"/>
                    </a:lnTo>
                    <a:lnTo>
                      <a:pt x="128" y="80"/>
                    </a:lnTo>
                    <a:lnTo>
                      <a:pt x="128" y="79"/>
                    </a:lnTo>
                    <a:lnTo>
                      <a:pt x="121" y="76"/>
                    </a:lnTo>
                    <a:lnTo>
                      <a:pt x="109" y="77"/>
                    </a:lnTo>
                    <a:lnTo>
                      <a:pt x="101" y="76"/>
                    </a:lnTo>
                    <a:lnTo>
                      <a:pt x="99" y="74"/>
                    </a:lnTo>
                    <a:lnTo>
                      <a:pt x="98" y="73"/>
                    </a:lnTo>
                    <a:lnTo>
                      <a:pt x="95" y="71"/>
                    </a:lnTo>
                    <a:lnTo>
                      <a:pt x="95" y="71"/>
                    </a:lnTo>
                    <a:lnTo>
                      <a:pt x="95" y="60"/>
                    </a:lnTo>
                    <a:lnTo>
                      <a:pt x="93" y="58"/>
                    </a:lnTo>
                    <a:lnTo>
                      <a:pt x="92" y="58"/>
                    </a:lnTo>
                    <a:lnTo>
                      <a:pt x="92" y="57"/>
                    </a:lnTo>
                    <a:lnTo>
                      <a:pt x="90" y="55"/>
                    </a:lnTo>
                    <a:lnTo>
                      <a:pt x="87" y="47"/>
                    </a:lnTo>
                    <a:lnTo>
                      <a:pt x="87" y="47"/>
                    </a:lnTo>
                    <a:lnTo>
                      <a:pt x="82" y="47"/>
                    </a:lnTo>
                    <a:lnTo>
                      <a:pt x="87" y="28"/>
                    </a:lnTo>
                    <a:lnTo>
                      <a:pt x="102" y="10"/>
                    </a:lnTo>
                    <a:lnTo>
                      <a:pt x="105" y="9"/>
                    </a:lnTo>
                    <a:lnTo>
                      <a:pt x="109" y="9"/>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86" name="Freeform 707"/>
              <p:cNvSpPr>
                <a:spLocks/>
              </p:cNvSpPr>
              <p:nvPr/>
            </p:nvSpPr>
            <p:spPr bwMode="auto">
              <a:xfrm>
                <a:off x="5209568" y="3417618"/>
                <a:ext cx="155371" cy="203841"/>
              </a:xfrm>
              <a:custGeom>
                <a:avLst/>
                <a:gdLst/>
                <a:ahLst/>
                <a:cxnLst>
                  <a:cxn ang="0">
                    <a:pos x="1" y="18"/>
                  </a:cxn>
                  <a:cxn ang="0">
                    <a:pos x="7" y="19"/>
                  </a:cxn>
                  <a:cxn ang="0">
                    <a:pos x="30" y="15"/>
                  </a:cxn>
                  <a:cxn ang="0">
                    <a:pos x="60" y="0"/>
                  </a:cxn>
                  <a:cxn ang="0">
                    <a:pos x="62" y="3"/>
                  </a:cxn>
                  <a:cxn ang="0">
                    <a:pos x="60" y="22"/>
                  </a:cxn>
                  <a:cxn ang="0">
                    <a:pos x="62" y="29"/>
                  </a:cxn>
                  <a:cxn ang="0">
                    <a:pos x="74" y="39"/>
                  </a:cxn>
                  <a:cxn ang="0">
                    <a:pos x="91" y="44"/>
                  </a:cxn>
                  <a:cxn ang="0">
                    <a:pos x="94" y="47"/>
                  </a:cxn>
                  <a:cxn ang="0">
                    <a:pos x="111" y="55"/>
                  </a:cxn>
                  <a:cxn ang="0">
                    <a:pos x="127" y="60"/>
                  </a:cxn>
                  <a:cxn ang="0">
                    <a:pos x="132" y="70"/>
                  </a:cxn>
                  <a:cxn ang="0">
                    <a:pos x="133" y="80"/>
                  </a:cxn>
                  <a:cxn ang="0">
                    <a:pos x="130" y="83"/>
                  </a:cxn>
                  <a:cxn ang="0">
                    <a:pos x="158" y="97"/>
                  </a:cxn>
                  <a:cxn ang="0">
                    <a:pos x="161" y="97"/>
                  </a:cxn>
                  <a:cxn ang="0">
                    <a:pos x="159" y="103"/>
                  </a:cxn>
                  <a:cxn ang="0">
                    <a:pos x="165" y="112"/>
                  </a:cxn>
                  <a:cxn ang="0">
                    <a:pos x="169" y="121"/>
                  </a:cxn>
                  <a:cxn ang="0">
                    <a:pos x="166" y="144"/>
                  </a:cxn>
                  <a:cxn ang="0">
                    <a:pos x="168" y="150"/>
                  </a:cxn>
                  <a:cxn ang="0">
                    <a:pos x="168" y="153"/>
                  </a:cxn>
                  <a:cxn ang="0">
                    <a:pos x="165" y="154"/>
                  </a:cxn>
                  <a:cxn ang="0">
                    <a:pos x="140" y="141"/>
                  </a:cxn>
                  <a:cxn ang="0">
                    <a:pos x="110" y="154"/>
                  </a:cxn>
                  <a:cxn ang="0">
                    <a:pos x="104" y="173"/>
                  </a:cxn>
                  <a:cxn ang="0">
                    <a:pos x="97" y="186"/>
                  </a:cxn>
                  <a:cxn ang="0">
                    <a:pos x="79" y="182"/>
                  </a:cxn>
                  <a:cxn ang="0">
                    <a:pos x="76" y="192"/>
                  </a:cxn>
                  <a:cxn ang="0">
                    <a:pos x="72" y="189"/>
                  </a:cxn>
                  <a:cxn ang="0">
                    <a:pos x="71" y="186"/>
                  </a:cxn>
                  <a:cxn ang="0">
                    <a:pos x="55" y="185"/>
                  </a:cxn>
                  <a:cxn ang="0">
                    <a:pos x="50" y="179"/>
                  </a:cxn>
                  <a:cxn ang="0">
                    <a:pos x="39" y="192"/>
                  </a:cxn>
                  <a:cxn ang="0">
                    <a:pos x="36" y="195"/>
                  </a:cxn>
                  <a:cxn ang="0">
                    <a:pos x="33" y="195"/>
                  </a:cxn>
                  <a:cxn ang="0">
                    <a:pos x="26" y="196"/>
                  </a:cxn>
                  <a:cxn ang="0">
                    <a:pos x="21" y="175"/>
                  </a:cxn>
                  <a:cxn ang="0">
                    <a:pos x="18" y="166"/>
                  </a:cxn>
                  <a:cxn ang="0">
                    <a:pos x="15" y="161"/>
                  </a:cxn>
                  <a:cxn ang="0">
                    <a:pos x="14" y="157"/>
                  </a:cxn>
                  <a:cxn ang="0">
                    <a:pos x="13" y="151"/>
                  </a:cxn>
                  <a:cxn ang="0">
                    <a:pos x="15" y="150"/>
                  </a:cxn>
                  <a:cxn ang="0">
                    <a:pos x="15" y="148"/>
                  </a:cxn>
                  <a:cxn ang="0">
                    <a:pos x="15" y="145"/>
                  </a:cxn>
                  <a:cxn ang="0">
                    <a:pos x="15" y="141"/>
                  </a:cxn>
                  <a:cxn ang="0">
                    <a:pos x="7" y="122"/>
                  </a:cxn>
                  <a:cxn ang="0">
                    <a:pos x="4" y="119"/>
                  </a:cxn>
                  <a:cxn ang="0">
                    <a:pos x="1" y="115"/>
                  </a:cxn>
                  <a:cxn ang="0">
                    <a:pos x="0" y="113"/>
                  </a:cxn>
                  <a:cxn ang="0">
                    <a:pos x="8" y="100"/>
                  </a:cxn>
                  <a:cxn ang="0">
                    <a:pos x="8" y="96"/>
                  </a:cxn>
                  <a:cxn ang="0">
                    <a:pos x="5" y="95"/>
                  </a:cxn>
                  <a:cxn ang="0">
                    <a:pos x="4" y="93"/>
                  </a:cxn>
                  <a:cxn ang="0">
                    <a:pos x="5" y="83"/>
                  </a:cxn>
                  <a:cxn ang="0">
                    <a:pos x="7" y="80"/>
                  </a:cxn>
                  <a:cxn ang="0">
                    <a:pos x="7" y="77"/>
                  </a:cxn>
                  <a:cxn ang="0">
                    <a:pos x="4" y="73"/>
                  </a:cxn>
                  <a:cxn ang="0">
                    <a:pos x="8" y="70"/>
                  </a:cxn>
                  <a:cxn ang="0">
                    <a:pos x="8" y="47"/>
                  </a:cxn>
                  <a:cxn ang="0">
                    <a:pos x="13" y="41"/>
                  </a:cxn>
                  <a:cxn ang="0">
                    <a:pos x="0" y="19"/>
                  </a:cxn>
                </a:cxnLst>
                <a:rect l="0" t="0" r="r" b="b"/>
                <a:pathLst>
                  <a:path w="169" h="196">
                    <a:moveTo>
                      <a:pt x="0" y="19"/>
                    </a:moveTo>
                    <a:lnTo>
                      <a:pt x="1" y="18"/>
                    </a:lnTo>
                    <a:lnTo>
                      <a:pt x="2" y="18"/>
                    </a:lnTo>
                    <a:lnTo>
                      <a:pt x="7" y="19"/>
                    </a:lnTo>
                    <a:lnTo>
                      <a:pt x="18" y="20"/>
                    </a:lnTo>
                    <a:lnTo>
                      <a:pt x="30" y="15"/>
                    </a:lnTo>
                    <a:lnTo>
                      <a:pt x="43" y="2"/>
                    </a:lnTo>
                    <a:lnTo>
                      <a:pt x="60" y="0"/>
                    </a:lnTo>
                    <a:lnTo>
                      <a:pt x="60" y="2"/>
                    </a:lnTo>
                    <a:lnTo>
                      <a:pt x="62" y="3"/>
                    </a:lnTo>
                    <a:lnTo>
                      <a:pt x="62" y="19"/>
                    </a:lnTo>
                    <a:lnTo>
                      <a:pt x="60" y="22"/>
                    </a:lnTo>
                    <a:lnTo>
                      <a:pt x="60" y="23"/>
                    </a:lnTo>
                    <a:lnTo>
                      <a:pt x="62" y="29"/>
                    </a:lnTo>
                    <a:lnTo>
                      <a:pt x="66" y="35"/>
                    </a:lnTo>
                    <a:lnTo>
                      <a:pt x="74" y="39"/>
                    </a:lnTo>
                    <a:lnTo>
                      <a:pt x="90" y="42"/>
                    </a:lnTo>
                    <a:lnTo>
                      <a:pt x="91" y="44"/>
                    </a:lnTo>
                    <a:lnTo>
                      <a:pt x="92" y="45"/>
                    </a:lnTo>
                    <a:lnTo>
                      <a:pt x="94" y="47"/>
                    </a:lnTo>
                    <a:lnTo>
                      <a:pt x="105" y="50"/>
                    </a:lnTo>
                    <a:lnTo>
                      <a:pt x="111" y="55"/>
                    </a:lnTo>
                    <a:lnTo>
                      <a:pt x="121" y="55"/>
                    </a:lnTo>
                    <a:lnTo>
                      <a:pt x="127" y="60"/>
                    </a:lnTo>
                    <a:lnTo>
                      <a:pt x="132" y="66"/>
                    </a:lnTo>
                    <a:lnTo>
                      <a:pt x="132" y="70"/>
                    </a:lnTo>
                    <a:lnTo>
                      <a:pt x="133" y="73"/>
                    </a:lnTo>
                    <a:lnTo>
                      <a:pt x="133" y="80"/>
                    </a:lnTo>
                    <a:lnTo>
                      <a:pt x="130" y="80"/>
                    </a:lnTo>
                    <a:lnTo>
                      <a:pt x="130" y="83"/>
                    </a:lnTo>
                    <a:lnTo>
                      <a:pt x="136" y="96"/>
                    </a:lnTo>
                    <a:lnTo>
                      <a:pt x="158" y="97"/>
                    </a:lnTo>
                    <a:lnTo>
                      <a:pt x="159" y="97"/>
                    </a:lnTo>
                    <a:lnTo>
                      <a:pt x="161" y="97"/>
                    </a:lnTo>
                    <a:lnTo>
                      <a:pt x="161" y="99"/>
                    </a:lnTo>
                    <a:lnTo>
                      <a:pt x="159" y="103"/>
                    </a:lnTo>
                    <a:lnTo>
                      <a:pt x="161" y="111"/>
                    </a:lnTo>
                    <a:lnTo>
                      <a:pt x="165" y="112"/>
                    </a:lnTo>
                    <a:lnTo>
                      <a:pt x="166" y="112"/>
                    </a:lnTo>
                    <a:lnTo>
                      <a:pt x="169" y="121"/>
                    </a:lnTo>
                    <a:lnTo>
                      <a:pt x="169" y="138"/>
                    </a:lnTo>
                    <a:lnTo>
                      <a:pt x="166" y="144"/>
                    </a:lnTo>
                    <a:lnTo>
                      <a:pt x="166" y="148"/>
                    </a:lnTo>
                    <a:lnTo>
                      <a:pt x="168" y="150"/>
                    </a:lnTo>
                    <a:lnTo>
                      <a:pt x="168" y="153"/>
                    </a:lnTo>
                    <a:lnTo>
                      <a:pt x="168" y="153"/>
                    </a:lnTo>
                    <a:lnTo>
                      <a:pt x="165" y="153"/>
                    </a:lnTo>
                    <a:lnTo>
                      <a:pt x="165" y="154"/>
                    </a:lnTo>
                    <a:lnTo>
                      <a:pt x="155" y="141"/>
                    </a:lnTo>
                    <a:lnTo>
                      <a:pt x="140" y="141"/>
                    </a:lnTo>
                    <a:lnTo>
                      <a:pt x="111" y="148"/>
                    </a:lnTo>
                    <a:lnTo>
                      <a:pt x="110" y="154"/>
                    </a:lnTo>
                    <a:lnTo>
                      <a:pt x="104" y="163"/>
                    </a:lnTo>
                    <a:lnTo>
                      <a:pt x="104" y="173"/>
                    </a:lnTo>
                    <a:lnTo>
                      <a:pt x="100" y="188"/>
                    </a:lnTo>
                    <a:lnTo>
                      <a:pt x="97" y="186"/>
                    </a:lnTo>
                    <a:lnTo>
                      <a:pt x="94" y="183"/>
                    </a:lnTo>
                    <a:lnTo>
                      <a:pt x="79" y="182"/>
                    </a:lnTo>
                    <a:lnTo>
                      <a:pt x="76" y="192"/>
                    </a:lnTo>
                    <a:lnTo>
                      <a:pt x="76" y="192"/>
                    </a:lnTo>
                    <a:lnTo>
                      <a:pt x="74" y="190"/>
                    </a:lnTo>
                    <a:lnTo>
                      <a:pt x="72" y="189"/>
                    </a:lnTo>
                    <a:lnTo>
                      <a:pt x="72" y="189"/>
                    </a:lnTo>
                    <a:lnTo>
                      <a:pt x="71" y="186"/>
                    </a:lnTo>
                    <a:lnTo>
                      <a:pt x="71" y="186"/>
                    </a:lnTo>
                    <a:lnTo>
                      <a:pt x="55" y="185"/>
                    </a:lnTo>
                    <a:lnTo>
                      <a:pt x="50" y="179"/>
                    </a:lnTo>
                    <a:lnTo>
                      <a:pt x="50" y="179"/>
                    </a:lnTo>
                    <a:lnTo>
                      <a:pt x="39" y="190"/>
                    </a:lnTo>
                    <a:lnTo>
                      <a:pt x="39" y="192"/>
                    </a:lnTo>
                    <a:lnTo>
                      <a:pt x="37" y="193"/>
                    </a:lnTo>
                    <a:lnTo>
                      <a:pt x="36" y="195"/>
                    </a:lnTo>
                    <a:lnTo>
                      <a:pt x="34" y="195"/>
                    </a:lnTo>
                    <a:lnTo>
                      <a:pt x="33" y="195"/>
                    </a:lnTo>
                    <a:lnTo>
                      <a:pt x="31" y="196"/>
                    </a:lnTo>
                    <a:lnTo>
                      <a:pt x="26" y="196"/>
                    </a:lnTo>
                    <a:lnTo>
                      <a:pt x="24" y="195"/>
                    </a:lnTo>
                    <a:lnTo>
                      <a:pt x="21" y="175"/>
                    </a:lnTo>
                    <a:lnTo>
                      <a:pt x="20" y="172"/>
                    </a:lnTo>
                    <a:lnTo>
                      <a:pt x="18" y="166"/>
                    </a:lnTo>
                    <a:lnTo>
                      <a:pt x="15" y="163"/>
                    </a:lnTo>
                    <a:lnTo>
                      <a:pt x="15" y="161"/>
                    </a:lnTo>
                    <a:lnTo>
                      <a:pt x="15" y="157"/>
                    </a:lnTo>
                    <a:lnTo>
                      <a:pt x="14" y="157"/>
                    </a:lnTo>
                    <a:lnTo>
                      <a:pt x="13" y="156"/>
                    </a:lnTo>
                    <a:lnTo>
                      <a:pt x="13" y="151"/>
                    </a:lnTo>
                    <a:lnTo>
                      <a:pt x="13" y="150"/>
                    </a:lnTo>
                    <a:lnTo>
                      <a:pt x="15" y="150"/>
                    </a:lnTo>
                    <a:lnTo>
                      <a:pt x="15" y="150"/>
                    </a:lnTo>
                    <a:lnTo>
                      <a:pt x="15" y="148"/>
                    </a:lnTo>
                    <a:lnTo>
                      <a:pt x="15" y="147"/>
                    </a:lnTo>
                    <a:lnTo>
                      <a:pt x="15" y="145"/>
                    </a:lnTo>
                    <a:lnTo>
                      <a:pt x="15" y="144"/>
                    </a:lnTo>
                    <a:lnTo>
                      <a:pt x="15" y="141"/>
                    </a:lnTo>
                    <a:lnTo>
                      <a:pt x="10" y="135"/>
                    </a:lnTo>
                    <a:lnTo>
                      <a:pt x="7" y="122"/>
                    </a:lnTo>
                    <a:lnTo>
                      <a:pt x="5" y="119"/>
                    </a:lnTo>
                    <a:lnTo>
                      <a:pt x="4" y="119"/>
                    </a:lnTo>
                    <a:lnTo>
                      <a:pt x="1" y="115"/>
                    </a:lnTo>
                    <a:lnTo>
                      <a:pt x="1" y="115"/>
                    </a:lnTo>
                    <a:lnTo>
                      <a:pt x="0" y="113"/>
                    </a:lnTo>
                    <a:lnTo>
                      <a:pt x="0" y="113"/>
                    </a:lnTo>
                    <a:lnTo>
                      <a:pt x="0" y="112"/>
                    </a:lnTo>
                    <a:lnTo>
                      <a:pt x="8" y="100"/>
                    </a:lnTo>
                    <a:lnTo>
                      <a:pt x="10" y="97"/>
                    </a:lnTo>
                    <a:lnTo>
                      <a:pt x="8" y="96"/>
                    </a:lnTo>
                    <a:lnTo>
                      <a:pt x="7" y="95"/>
                    </a:lnTo>
                    <a:lnTo>
                      <a:pt x="5" y="95"/>
                    </a:lnTo>
                    <a:lnTo>
                      <a:pt x="5" y="93"/>
                    </a:lnTo>
                    <a:lnTo>
                      <a:pt x="4" y="93"/>
                    </a:lnTo>
                    <a:lnTo>
                      <a:pt x="4" y="86"/>
                    </a:lnTo>
                    <a:lnTo>
                      <a:pt x="5" y="83"/>
                    </a:lnTo>
                    <a:lnTo>
                      <a:pt x="7" y="82"/>
                    </a:lnTo>
                    <a:lnTo>
                      <a:pt x="7" y="80"/>
                    </a:lnTo>
                    <a:lnTo>
                      <a:pt x="7" y="79"/>
                    </a:lnTo>
                    <a:lnTo>
                      <a:pt x="7" y="77"/>
                    </a:lnTo>
                    <a:lnTo>
                      <a:pt x="4" y="74"/>
                    </a:lnTo>
                    <a:lnTo>
                      <a:pt x="4" y="73"/>
                    </a:lnTo>
                    <a:lnTo>
                      <a:pt x="5" y="71"/>
                    </a:lnTo>
                    <a:lnTo>
                      <a:pt x="8" y="70"/>
                    </a:lnTo>
                    <a:lnTo>
                      <a:pt x="10" y="70"/>
                    </a:lnTo>
                    <a:lnTo>
                      <a:pt x="8" y="47"/>
                    </a:lnTo>
                    <a:lnTo>
                      <a:pt x="10" y="44"/>
                    </a:lnTo>
                    <a:lnTo>
                      <a:pt x="13" y="41"/>
                    </a:lnTo>
                    <a:lnTo>
                      <a:pt x="13" y="39"/>
                    </a:lnTo>
                    <a:lnTo>
                      <a:pt x="0" y="19"/>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87" name="Freeform 709"/>
              <p:cNvSpPr>
                <a:spLocks/>
              </p:cNvSpPr>
              <p:nvPr/>
            </p:nvSpPr>
            <p:spPr bwMode="auto">
              <a:xfrm>
                <a:off x="5355283" y="3740112"/>
                <a:ext cx="70224" cy="85187"/>
              </a:xfrm>
              <a:custGeom>
                <a:avLst/>
                <a:gdLst/>
                <a:ahLst/>
                <a:cxnLst>
                  <a:cxn ang="0">
                    <a:pos x="0" y="65"/>
                  </a:cxn>
                  <a:cxn ang="0">
                    <a:pos x="0" y="65"/>
                  </a:cxn>
                  <a:cxn ang="0">
                    <a:pos x="3" y="65"/>
                  </a:cxn>
                  <a:cxn ang="0">
                    <a:pos x="7" y="71"/>
                  </a:cxn>
                  <a:cxn ang="0">
                    <a:pos x="7" y="72"/>
                  </a:cxn>
                  <a:cxn ang="0">
                    <a:pos x="18" y="74"/>
                  </a:cxn>
                  <a:cxn ang="0">
                    <a:pos x="32" y="81"/>
                  </a:cxn>
                  <a:cxn ang="0">
                    <a:pos x="42" y="80"/>
                  </a:cxn>
                  <a:cxn ang="0">
                    <a:pos x="51" y="81"/>
                  </a:cxn>
                  <a:cxn ang="0">
                    <a:pos x="58" y="78"/>
                  </a:cxn>
                  <a:cxn ang="0">
                    <a:pos x="66" y="72"/>
                  </a:cxn>
                  <a:cxn ang="0">
                    <a:pos x="66" y="71"/>
                  </a:cxn>
                  <a:cxn ang="0">
                    <a:pos x="70" y="65"/>
                  </a:cxn>
                  <a:cxn ang="0">
                    <a:pos x="71" y="62"/>
                  </a:cxn>
                  <a:cxn ang="0">
                    <a:pos x="73" y="61"/>
                  </a:cxn>
                  <a:cxn ang="0">
                    <a:pos x="71" y="61"/>
                  </a:cxn>
                  <a:cxn ang="0">
                    <a:pos x="71" y="59"/>
                  </a:cxn>
                  <a:cxn ang="0">
                    <a:pos x="71" y="52"/>
                  </a:cxn>
                  <a:cxn ang="0">
                    <a:pos x="73" y="48"/>
                  </a:cxn>
                  <a:cxn ang="0">
                    <a:pos x="74" y="48"/>
                  </a:cxn>
                  <a:cxn ang="0">
                    <a:pos x="74" y="46"/>
                  </a:cxn>
                  <a:cxn ang="0">
                    <a:pos x="76" y="45"/>
                  </a:cxn>
                  <a:cxn ang="0">
                    <a:pos x="76" y="45"/>
                  </a:cxn>
                  <a:cxn ang="0">
                    <a:pos x="76" y="42"/>
                  </a:cxn>
                  <a:cxn ang="0">
                    <a:pos x="70" y="39"/>
                  </a:cxn>
                  <a:cxn ang="0">
                    <a:pos x="68" y="33"/>
                  </a:cxn>
                  <a:cxn ang="0">
                    <a:pos x="67" y="32"/>
                  </a:cxn>
                  <a:cxn ang="0">
                    <a:pos x="63" y="29"/>
                  </a:cxn>
                  <a:cxn ang="0">
                    <a:pos x="63" y="29"/>
                  </a:cxn>
                  <a:cxn ang="0">
                    <a:pos x="60" y="27"/>
                  </a:cxn>
                  <a:cxn ang="0">
                    <a:pos x="58" y="27"/>
                  </a:cxn>
                  <a:cxn ang="0">
                    <a:pos x="57" y="23"/>
                  </a:cxn>
                  <a:cxn ang="0">
                    <a:pos x="55" y="23"/>
                  </a:cxn>
                  <a:cxn ang="0">
                    <a:pos x="52" y="21"/>
                  </a:cxn>
                  <a:cxn ang="0">
                    <a:pos x="50" y="20"/>
                  </a:cxn>
                  <a:cxn ang="0">
                    <a:pos x="48" y="20"/>
                  </a:cxn>
                  <a:cxn ang="0">
                    <a:pos x="47" y="20"/>
                  </a:cxn>
                  <a:cxn ang="0">
                    <a:pos x="47" y="19"/>
                  </a:cxn>
                  <a:cxn ang="0">
                    <a:pos x="44" y="14"/>
                  </a:cxn>
                  <a:cxn ang="0">
                    <a:pos x="42" y="13"/>
                  </a:cxn>
                  <a:cxn ang="0">
                    <a:pos x="42" y="13"/>
                  </a:cxn>
                  <a:cxn ang="0">
                    <a:pos x="38" y="16"/>
                  </a:cxn>
                  <a:cxn ang="0">
                    <a:pos x="38" y="16"/>
                  </a:cxn>
                  <a:cxn ang="0">
                    <a:pos x="35" y="16"/>
                  </a:cxn>
                  <a:cxn ang="0">
                    <a:pos x="34" y="8"/>
                  </a:cxn>
                  <a:cxn ang="0">
                    <a:pos x="23" y="1"/>
                  </a:cxn>
                  <a:cxn ang="0">
                    <a:pos x="22" y="0"/>
                  </a:cxn>
                  <a:cxn ang="0">
                    <a:pos x="21" y="0"/>
                  </a:cxn>
                  <a:cxn ang="0">
                    <a:pos x="19" y="1"/>
                  </a:cxn>
                  <a:cxn ang="0">
                    <a:pos x="19" y="3"/>
                  </a:cxn>
                  <a:cxn ang="0">
                    <a:pos x="16" y="3"/>
                  </a:cxn>
                  <a:cxn ang="0">
                    <a:pos x="12" y="3"/>
                  </a:cxn>
                  <a:cxn ang="0">
                    <a:pos x="12" y="4"/>
                  </a:cxn>
                  <a:cxn ang="0">
                    <a:pos x="9" y="7"/>
                  </a:cxn>
                  <a:cxn ang="0">
                    <a:pos x="7" y="26"/>
                  </a:cxn>
                  <a:cxn ang="0">
                    <a:pos x="6" y="32"/>
                  </a:cxn>
                  <a:cxn ang="0">
                    <a:pos x="5" y="48"/>
                  </a:cxn>
                  <a:cxn ang="0">
                    <a:pos x="5" y="49"/>
                  </a:cxn>
                  <a:cxn ang="0">
                    <a:pos x="3" y="52"/>
                  </a:cxn>
                  <a:cxn ang="0">
                    <a:pos x="0" y="65"/>
                  </a:cxn>
                </a:cxnLst>
                <a:rect l="0" t="0" r="r" b="b"/>
                <a:pathLst>
                  <a:path w="76" h="81">
                    <a:moveTo>
                      <a:pt x="0" y="65"/>
                    </a:moveTo>
                    <a:lnTo>
                      <a:pt x="0" y="65"/>
                    </a:lnTo>
                    <a:lnTo>
                      <a:pt x="3" y="65"/>
                    </a:lnTo>
                    <a:lnTo>
                      <a:pt x="7" y="71"/>
                    </a:lnTo>
                    <a:lnTo>
                      <a:pt x="7" y="72"/>
                    </a:lnTo>
                    <a:lnTo>
                      <a:pt x="18" y="74"/>
                    </a:lnTo>
                    <a:lnTo>
                      <a:pt x="32" y="81"/>
                    </a:lnTo>
                    <a:lnTo>
                      <a:pt x="42" y="80"/>
                    </a:lnTo>
                    <a:lnTo>
                      <a:pt x="51" y="81"/>
                    </a:lnTo>
                    <a:lnTo>
                      <a:pt x="58" y="78"/>
                    </a:lnTo>
                    <a:lnTo>
                      <a:pt x="66" y="72"/>
                    </a:lnTo>
                    <a:lnTo>
                      <a:pt x="66" y="71"/>
                    </a:lnTo>
                    <a:lnTo>
                      <a:pt x="70" y="65"/>
                    </a:lnTo>
                    <a:lnTo>
                      <a:pt x="71" y="62"/>
                    </a:lnTo>
                    <a:lnTo>
                      <a:pt x="73" y="61"/>
                    </a:lnTo>
                    <a:lnTo>
                      <a:pt x="71" y="61"/>
                    </a:lnTo>
                    <a:lnTo>
                      <a:pt x="71" y="59"/>
                    </a:lnTo>
                    <a:lnTo>
                      <a:pt x="71" y="52"/>
                    </a:lnTo>
                    <a:lnTo>
                      <a:pt x="73" y="48"/>
                    </a:lnTo>
                    <a:lnTo>
                      <a:pt x="74" y="48"/>
                    </a:lnTo>
                    <a:lnTo>
                      <a:pt x="74" y="46"/>
                    </a:lnTo>
                    <a:lnTo>
                      <a:pt x="76" y="45"/>
                    </a:lnTo>
                    <a:lnTo>
                      <a:pt x="76" y="45"/>
                    </a:lnTo>
                    <a:lnTo>
                      <a:pt x="76" y="42"/>
                    </a:lnTo>
                    <a:lnTo>
                      <a:pt x="70" y="39"/>
                    </a:lnTo>
                    <a:lnTo>
                      <a:pt x="68" y="33"/>
                    </a:lnTo>
                    <a:lnTo>
                      <a:pt x="67" y="32"/>
                    </a:lnTo>
                    <a:lnTo>
                      <a:pt x="63" y="29"/>
                    </a:lnTo>
                    <a:lnTo>
                      <a:pt x="63" y="29"/>
                    </a:lnTo>
                    <a:lnTo>
                      <a:pt x="60" y="27"/>
                    </a:lnTo>
                    <a:lnTo>
                      <a:pt x="58" y="27"/>
                    </a:lnTo>
                    <a:lnTo>
                      <a:pt x="57" y="23"/>
                    </a:lnTo>
                    <a:lnTo>
                      <a:pt x="55" y="23"/>
                    </a:lnTo>
                    <a:lnTo>
                      <a:pt x="52" y="21"/>
                    </a:lnTo>
                    <a:lnTo>
                      <a:pt x="50" y="20"/>
                    </a:lnTo>
                    <a:lnTo>
                      <a:pt x="48" y="20"/>
                    </a:lnTo>
                    <a:lnTo>
                      <a:pt x="47" y="20"/>
                    </a:lnTo>
                    <a:lnTo>
                      <a:pt x="47" y="19"/>
                    </a:lnTo>
                    <a:lnTo>
                      <a:pt x="44" y="14"/>
                    </a:lnTo>
                    <a:lnTo>
                      <a:pt x="42" y="13"/>
                    </a:lnTo>
                    <a:lnTo>
                      <a:pt x="42" y="13"/>
                    </a:lnTo>
                    <a:lnTo>
                      <a:pt x="38" y="16"/>
                    </a:lnTo>
                    <a:lnTo>
                      <a:pt x="38" y="16"/>
                    </a:lnTo>
                    <a:lnTo>
                      <a:pt x="35" y="16"/>
                    </a:lnTo>
                    <a:lnTo>
                      <a:pt x="34" y="8"/>
                    </a:lnTo>
                    <a:lnTo>
                      <a:pt x="23" y="1"/>
                    </a:lnTo>
                    <a:lnTo>
                      <a:pt x="22" y="0"/>
                    </a:lnTo>
                    <a:lnTo>
                      <a:pt x="21" y="0"/>
                    </a:lnTo>
                    <a:lnTo>
                      <a:pt x="19" y="1"/>
                    </a:lnTo>
                    <a:lnTo>
                      <a:pt x="19" y="3"/>
                    </a:lnTo>
                    <a:lnTo>
                      <a:pt x="16" y="3"/>
                    </a:lnTo>
                    <a:lnTo>
                      <a:pt x="12" y="3"/>
                    </a:lnTo>
                    <a:lnTo>
                      <a:pt x="12" y="4"/>
                    </a:lnTo>
                    <a:lnTo>
                      <a:pt x="9" y="7"/>
                    </a:lnTo>
                    <a:lnTo>
                      <a:pt x="7" y="26"/>
                    </a:lnTo>
                    <a:lnTo>
                      <a:pt x="6" y="32"/>
                    </a:lnTo>
                    <a:lnTo>
                      <a:pt x="5" y="48"/>
                    </a:lnTo>
                    <a:lnTo>
                      <a:pt x="5" y="49"/>
                    </a:lnTo>
                    <a:lnTo>
                      <a:pt x="3" y="52"/>
                    </a:lnTo>
                    <a:lnTo>
                      <a:pt x="0" y="6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88" name="Freeform 710"/>
              <p:cNvSpPr>
                <a:spLocks/>
              </p:cNvSpPr>
              <p:nvPr/>
            </p:nvSpPr>
            <p:spPr bwMode="auto">
              <a:xfrm>
                <a:off x="5355283" y="3740112"/>
                <a:ext cx="70224" cy="85187"/>
              </a:xfrm>
              <a:custGeom>
                <a:avLst/>
                <a:gdLst/>
                <a:ahLst/>
                <a:cxnLst>
                  <a:cxn ang="0">
                    <a:pos x="0" y="65"/>
                  </a:cxn>
                  <a:cxn ang="0">
                    <a:pos x="0" y="65"/>
                  </a:cxn>
                  <a:cxn ang="0">
                    <a:pos x="3" y="65"/>
                  </a:cxn>
                  <a:cxn ang="0">
                    <a:pos x="7" y="71"/>
                  </a:cxn>
                  <a:cxn ang="0">
                    <a:pos x="7" y="72"/>
                  </a:cxn>
                  <a:cxn ang="0">
                    <a:pos x="18" y="74"/>
                  </a:cxn>
                  <a:cxn ang="0">
                    <a:pos x="32" y="81"/>
                  </a:cxn>
                  <a:cxn ang="0">
                    <a:pos x="42" y="80"/>
                  </a:cxn>
                  <a:cxn ang="0">
                    <a:pos x="51" y="81"/>
                  </a:cxn>
                  <a:cxn ang="0">
                    <a:pos x="58" y="78"/>
                  </a:cxn>
                  <a:cxn ang="0">
                    <a:pos x="66" y="72"/>
                  </a:cxn>
                  <a:cxn ang="0">
                    <a:pos x="66" y="71"/>
                  </a:cxn>
                  <a:cxn ang="0">
                    <a:pos x="70" y="65"/>
                  </a:cxn>
                  <a:cxn ang="0">
                    <a:pos x="71" y="62"/>
                  </a:cxn>
                  <a:cxn ang="0">
                    <a:pos x="73" y="61"/>
                  </a:cxn>
                  <a:cxn ang="0">
                    <a:pos x="71" y="61"/>
                  </a:cxn>
                  <a:cxn ang="0">
                    <a:pos x="71" y="59"/>
                  </a:cxn>
                  <a:cxn ang="0">
                    <a:pos x="71" y="52"/>
                  </a:cxn>
                  <a:cxn ang="0">
                    <a:pos x="73" y="48"/>
                  </a:cxn>
                  <a:cxn ang="0">
                    <a:pos x="74" y="48"/>
                  </a:cxn>
                  <a:cxn ang="0">
                    <a:pos x="74" y="46"/>
                  </a:cxn>
                  <a:cxn ang="0">
                    <a:pos x="76" y="45"/>
                  </a:cxn>
                  <a:cxn ang="0">
                    <a:pos x="76" y="45"/>
                  </a:cxn>
                  <a:cxn ang="0">
                    <a:pos x="76" y="42"/>
                  </a:cxn>
                  <a:cxn ang="0">
                    <a:pos x="70" y="39"/>
                  </a:cxn>
                  <a:cxn ang="0">
                    <a:pos x="68" y="33"/>
                  </a:cxn>
                  <a:cxn ang="0">
                    <a:pos x="67" y="32"/>
                  </a:cxn>
                  <a:cxn ang="0">
                    <a:pos x="63" y="29"/>
                  </a:cxn>
                  <a:cxn ang="0">
                    <a:pos x="63" y="29"/>
                  </a:cxn>
                  <a:cxn ang="0">
                    <a:pos x="60" y="27"/>
                  </a:cxn>
                  <a:cxn ang="0">
                    <a:pos x="58" y="27"/>
                  </a:cxn>
                  <a:cxn ang="0">
                    <a:pos x="57" y="23"/>
                  </a:cxn>
                  <a:cxn ang="0">
                    <a:pos x="55" y="23"/>
                  </a:cxn>
                  <a:cxn ang="0">
                    <a:pos x="52" y="21"/>
                  </a:cxn>
                  <a:cxn ang="0">
                    <a:pos x="50" y="20"/>
                  </a:cxn>
                  <a:cxn ang="0">
                    <a:pos x="48" y="20"/>
                  </a:cxn>
                  <a:cxn ang="0">
                    <a:pos x="47" y="20"/>
                  </a:cxn>
                  <a:cxn ang="0">
                    <a:pos x="47" y="19"/>
                  </a:cxn>
                  <a:cxn ang="0">
                    <a:pos x="44" y="14"/>
                  </a:cxn>
                  <a:cxn ang="0">
                    <a:pos x="42" y="13"/>
                  </a:cxn>
                  <a:cxn ang="0">
                    <a:pos x="42" y="13"/>
                  </a:cxn>
                  <a:cxn ang="0">
                    <a:pos x="38" y="16"/>
                  </a:cxn>
                  <a:cxn ang="0">
                    <a:pos x="38" y="16"/>
                  </a:cxn>
                  <a:cxn ang="0">
                    <a:pos x="35" y="16"/>
                  </a:cxn>
                  <a:cxn ang="0">
                    <a:pos x="34" y="8"/>
                  </a:cxn>
                  <a:cxn ang="0">
                    <a:pos x="23" y="1"/>
                  </a:cxn>
                  <a:cxn ang="0">
                    <a:pos x="22" y="0"/>
                  </a:cxn>
                  <a:cxn ang="0">
                    <a:pos x="21" y="0"/>
                  </a:cxn>
                  <a:cxn ang="0">
                    <a:pos x="19" y="1"/>
                  </a:cxn>
                  <a:cxn ang="0">
                    <a:pos x="19" y="3"/>
                  </a:cxn>
                  <a:cxn ang="0">
                    <a:pos x="16" y="3"/>
                  </a:cxn>
                  <a:cxn ang="0">
                    <a:pos x="12" y="3"/>
                  </a:cxn>
                  <a:cxn ang="0">
                    <a:pos x="12" y="4"/>
                  </a:cxn>
                  <a:cxn ang="0">
                    <a:pos x="9" y="7"/>
                  </a:cxn>
                  <a:cxn ang="0">
                    <a:pos x="7" y="26"/>
                  </a:cxn>
                  <a:cxn ang="0">
                    <a:pos x="6" y="32"/>
                  </a:cxn>
                  <a:cxn ang="0">
                    <a:pos x="5" y="48"/>
                  </a:cxn>
                  <a:cxn ang="0">
                    <a:pos x="5" y="49"/>
                  </a:cxn>
                  <a:cxn ang="0">
                    <a:pos x="3" y="52"/>
                  </a:cxn>
                  <a:cxn ang="0">
                    <a:pos x="0" y="65"/>
                  </a:cxn>
                </a:cxnLst>
                <a:rect l="0" t="0" r="r" b="b"/>
                <a:pathLst>
                  <a:path w="76" h="81">
                    <a:moveTo>
                      <a:pt x="0" y="65"/>
                    </a:moveTo>
                    <a:lnTo>
                      <a:pt x="0" y="65"/>
                    </a:lnTo>
                    <a:lnTo>
                      <a:pt x="3" y="65"/>
                    </a:lnTo>
                    <a:lnTo>
                      <a:pt x="7" y="71"/>
                    </a:lnTo>
                    <a:lnTo>
                      <a:pt x="7" y="72"/>
                    </a:lnTo>
                    <a:lnTo>
                      <a:pt x="18" y="74"/>
                    </a:lnTo>
                    <a:lnTo>
                      <a:pt x="32" y="81"/>
                    </a:lnTo>
                    <a:lnTo>
                      <a:pt x="42" y="80"/>
                    </a:lnTo>
                    <a:lnTo>
                      <a:pt x="51" y="81"/>
                    </a:lnTo>
                    <a:lnTo>
                      <a:pt x="58" y="78"/>
                    </a:lnTo>
                    <a:lnTo>
                      <a:pt x="66" y="72"/>
                    </a:lnTo>
                    <a:lnTo>
                      <a:pt x="66" y="71"/>
                    </a:lnTo>
                    <a:lnTo>
                      <a:pt x="70" y="65"/>
                    </a:lnTo>
                    <a:lnTo>
                      <a:pt x="71" y="62"/>
                    </a:lnTo>
                    <a:lnTo>
                      <a:pt x="73" y="61"/>
                    </a:lnTo>
                    <a:lnTo>
                      <a:pt x="71" y="61"/>
                    </a:lnTo>
                    <a:lnTo>
                      <a:pt x="71" y="59"/>
                    </a:lnTo>
                    <a:lnTo>
                      <a:pt x="71" y="52"/>
                    </a:lnTo>
                    <a:lnTo>
                      <a:pt x="73" y="48"/>
                    </a:lnTo>
                    <a:lnTo>
                      <a:pt x="74" y="48"/>
                    </a:lnTo>
                    <a:lnTo>
                      <a:pt x="74" y="46"/>
                    </a:lnTo>
                    <a:lnTo>
                      <a:pt x="76" y="45"/>
                    </a:lnTo>
                    <a:lnTo>
                      <a:pt x="76" y="45"/>
                    </a:lnTo>
                    <a:lnTo>
                      <a:pt x="76" y="42"/>
                    </a:lnTo>
                    <a:lnTo>
                      <a:pt x="70" y="39"/>
                    </a:lnTo>
                    <a:lnTo>
                      <a:pt x="68" y="33"/>
                    </a:lnTo>
                    <a:lnTo>
                      <a:pt x="67" y="32"/>
                    </a:lnTo>
                    <a:lnTo>
                      <a:pt x="63" y="29"/>
                    </a:lnTo>
                    <a:lnTo>
                      <a:pt x="63" y="29"/>
                    </a:lnTo>
                    <a:lnTo>
                      <a:pt x="60" y="27"/>
                    </a:lnTo>
                    <a:lnTo>
                      <a:pt x="58" y="27"/>
                    </a:lnTo>
                    <a:lnTo>
                      <a:pt x="57" y="23"/>
                    </a:lnTo>
                    <a:lnTo>
                      <a:pt x="55" y="23"/>
                    </a:lnTo>
                    <a:lnTo>
                      <a:pt x="52" y="21"/>
                    </a:lnTo>
                    <a:lnTo>
                      <a:pt x="50" y="20"/>
                    </a:lnTo>
                    <a:lnTo>
                      <a:pt x="48" y="20"/>
                    </a:lnTo>
                    <a:lnTo>
                      <a:pt x="47" y="20"/>
                    </a:lnTo>
                    <a:lnTo>
                      <a:pt x="47" y="19"/>
                    </a:lnTo>
                    <a:lnTo>
                      <a:pt x="44" y="14"/>
                    </a:lnTo>
                    <a:lnTo>
                      <a:pt x="42" y="13"/>
                    </a:lnTo>
                    <a:lnTo>
                      <a:pt x="42" y="13"/>
                    </a:lnTo>
                    <a:lnTo>
                      <a:pt x="38" y="16"/>
                    </a:lnTo>
                    <a:lnTo>
                      <a:pt x="38" y="16"/>
                    </a:lnTo>
                    <a:lnTo>
                      <a:pt x="35" y="16"/>
                    </a:lnTo>
                    <a:lnTo>
                      <a:pt x="34" y="8"/>
                    </a:lnTo>
                    <a:lnTo>
                      <a:pt x="23" y="1"/>
                    </a:lnTo>
                    <a:lnTo>
                      <a:pt x="22" y="0"/>
                    </a:lnTo>
                    <a:lnTo>
                      <a:pt x="21" y="0"/>
                    </a:lnTo>
                    <a:lnTo>
                      <a:pt x="19" y="1"/>
                    </a:lnTo>
                    <a:lnTo>
                      <a:pt x="19" y="3"/>
                    </a:lnTo>
                    <a:lnTo>
                      <a:pt x="16" y="3"/>
                    </a:lnTo>
                    <a:lnTo>
                      <a:pt x="12" y="3"/>
                    </a:lnTo>
                    <a:lnTo>
                      <a:pt x="12" y="4"/>
                    </a:lnTo>
                    <a:lnTo>
                      <a:pt x="9" y="7"/>
                    </a:lnTo>
                    <a:lnTo>
                      <a:pt x="7" y="26"/>
                    </a:lnTo>
                    <a:lnTo>
                      <a:pt x="6" y="32"/>
                    </a:lnTo>
                    <a:lnTo>
                      <a:pt x="5" y="48"/>
                    </a:lnTo>
                    <a:lnTo>
                      <a:pt x="5" y="49"/>
                    </a:lnTo>
                    <a:lnTo>
                      <a:pt x="3" y="52"/>
                    </a:lnTo>
                    <a:lnTo>
                      <a:pt x="0" y="65"/>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89" name="Freeform 711"/>
              <p:cNvSpPr>
                <a:spLocks/>
              </p:cNvSpPr>
              <p:nvPr/>
            </p:nvSpPr>
            <p:spPr bwMode="auto">
              <a:xfrm>
                <a:off x="5320171" y="3150902"/>
                <a:ext cx="62324" cy="105469"/>
              </a:xfrm>
              <a:custGeom>
                <a:avLst/>
                <a:gdLst/>
                <a:ahLst/>
                <a:cxnLst>
                  <a:cxn ang="0">
                    <a:pos x="22" y="2"/>
                  </a:cxn>
                  <a:cxn ang="0">
                    <a:pos x="25" y="2"/>
                  </a:cxn>
                  <a:cxn ang="0">
                    <a:pos x="39" y="15"/>
                  </a:cxn>
                  <a:cxn ang="0">
                    <a:pos x="48" y="24"/>
                  </a:cxn>
                  <a:cxn ang="0">
                    <a:pos x="55" y="29"/>
                  </a:cxn>
                  <a:cxn ang="0">
                    <a:pos x="60" y="37"/>
                  </a:cxn>
                  <a:cxn ang="0">
                    <a:pos x="57" y="43"/>
                  </a:cxn>
                  <a:cxn ang="0">
                    <a:pos x="57" y="44"/>
                  </a:cxn>
                  <a:cxn ang="0">
                    <a:pos x="57" y="45"/>
                  </a:cxn>
                  <a:cxn ang="0">
                    <a:pos x="55" y="48"/>
                  </a:cxn>
                  <a:cxn ang="0">
                    <a:pos x="48" y="50"/>
                  </a:cxn>
                  <a:cxn ang="0">
                    <a:pos x="48" y="51"/>
                  </a:cxn>
                  <a:cxn ang="0">
                    <a:pos x="45" y="60"/>
                  </a:cxn>
                  <a:cxn ang="0">
                    <a:pos x="49" y="67"/>
                  </a:cxn>
                  <a:cxn ang="0">
                    <a:pos x="52" y="69"/>
                  </a:cxn>
                  <a:cxn ang="0">
                    <a:pos x="52" y="72"/>
                  </a:cxn>
                  <a:cxn ang="0">
                    <a:pos x="57" y="72"/>
                  </a:cxn>
                  <a:cxn ang="0">
                    <a:pos x="57" y="74"/>
                  </a:cxn>
                  <a:cxn ang="0">
                    <a:pos x="58" y="79"/>
                  </a:cxn>
                  <a:cxn ang="0">
                    <a:pos x="68" y="90"/>
                  </a:cxn>
                  <a:cxn ang="0">
                    <a:pos x="62" y="92"/>
                  </a:cxn>
                  <a:cxn ang="0">
                    <a:pos x="61" y="92"/>
                  </a:cxn>
                  <a:cxn ang="0">
                    <a:pos x="58" y="90"/>
                  </a:cxn>
                  <a:cxn ang="0">
                    <a:pos x="54" y="95"/>
                  </a:cxn>
                  <a:cxn ang="0">
                    <a:pos x="46" y="98"/>
                  </a:cxn>
                  <a:cxn ang="0">
                    <a:pos x="41" y="98"/>
                  </a:cxn>
                  <a:cxn ang="0">
                    <a:pos x="38" y="101"/>
                  </a:cxn>
                  <a:cxn ang="0">
                    <a:pos x="28" y="98"/>
                  </a:cxn>
                  <a:cxn ang="0">
                    <a:pos x="25" y="95"/>
                  </a:cxn>
                  <a:cxn ang="0">
                    <a:pos x="23" y="93"/>
                  </a:cxn>
                  <a:cxn ang="0">
                    <a:pos x="20" y="85"/>
                  </a:cxn>
                  <a:cxn ang="0">
                    <a:pos x="20" y="76"/>
                  </a:cxn>
                  <a:cxn ang="0">
                    <a:pos x="22" y="67"/>
                  </a:cxn>
                  <a:cxn ang="0">
                    <a:pos x="25" y="63"/>
                  </a:cxn>
                  <a:cxn ang="0">
                    <a:pos x="23" y="60"/>
                  </a:cxn>
                  <a:cxn ang="0">
                    <a:pos x="20" y="56"/>
                  </a:cxn>
                  <a:cxn ang="0">
                    <a:pos x="17" y="54"/>
                  </a:cxn>
                  <a:cxn ang="0">
                    <a:pos x="19" y="47"/>
                  </a:cxn>
                  <a:cxn ang="0">
                    <a:pos x="15" y="45"/>
                  </a:cxn>
                  <a:cxn ang="0">
                    <a:pos x="9" y="45"/>
                  </a:cxn>
                  <a:cxn ang="0">
                    <a:pos x="9" y="45"/>
                  </a:cxn>
                  <a:cxn ang="0">
                    <a:pos x="0" y="34"/>
                  </a:cxn>
                  <a:cxn ang="0">
                    <a:pos x="0" y="32"/>
                  </a:cxn>
                  <a:cxn ang="0">
                    <a:pos x="3" y="25"/>
                  </a:cxn>
                  <a:cxn ang="0">
                    <a:pos x="10" y="21"/>
                  </a:cxn>
                  <a:cxn ang="0">
                    <a:pos x="10" y="18"/>
                  </a:cxn>
                  <a:cxn ang="0">
                    <a:pos x="9" y="18"/>
                  </a:cxn>
                  <a:cxn ang="0">
                    <a:pos x="6" y="12"/>
                  </a:cxn>
                  <a:cxn ang="0">
                    <a:pos x="7" y="11"/>
                  </a:cxn>
                  <a:cxn ang="0">
                    <a:pos x="10" y="9"/>
                  </a:cxn>
                  <a:cxn ang="0">
                    <a:pos x="16" y="6"/>
                  </a:cxn>
                  <a:cxn ang="0">
                    <a:pos x="19" y="5"/>
                  </a:cxn>
                  <a:cxn ang="0">
                    <a:pos x="20" y="3"/>
                  </a:cxn>
                </a:cxnLst>
                <a:rect l="0" t="0" r="r" b="b"/>
                <a:pathLst>
                  <a:path w="68" h="101">
                    <a:moveTo>
                      <a:pt x="20" y="2"/>
                    </a:moveTo>
                    <a:lnTo>
                      <a:pt x="22" y="2"/>
                    </a:lnTo>
                    <a:lnTo>
                      <a:pt x="23" y="0"/>
                    </a:lnTo>
                    <a:lnTo>
                      <a:pt x="25" y="2"/>
                    </a:lnTo>
                    <a:lnTo>
                      <a:pt x="36" y="12"/>
                    </a:lnTo>
                    <a:lnTo>
                      <a:pt x="39" y="15"/>
                    </a:lnTo>
                    <a:lnTo>
                      <a:pt x="39" y="22"/>
                    </a:lnTo>
                    <a:lnTo>
                      <a:pt x="48" y="24"/>
                    </a:lnTo>
                    <a:lnTo>
                      <a:pt x="51" y="27"/>
                    </a:lnTo>
                    <a:lnTo>
                      <a:pt x="55" y="29"/>
                    </a:lnTo>
                    <a:lnTo>
                      <a:pt x="58" y="32"/>
                    </a:lnTo>
                    <a:lnTo>
                      <a:pt x="60" y="37"/>
                    </a:lnTo>
                    <a:lnTo>
                      <a:pt x="60" y="37"/>
                    </a:lnTo>
                    <a:lnTo>
                      <a:pt x="57" y="43"/>
                    </a:lnTo>
                    <a:lnTo>
                      <a:pt x="55" y="43"/>
                    </a:lnTo>
                    <a:lnTo>
                      <a:pt x="57" y="44"/>
                    </a:lnTo>
                    <a:lnTo>
                      <a:pt x="57" y="44"/>
                    </a:lnTo>
                    <a:lnTo>
                      <a:pt x="57" y="45"/>
                    </a:lnTo>
                    <a:lnTo>
                      <a:pt x="55" y="47"/>
                    </a:lnTo>
                    <a:lnTo>
                      <a:pt x="55" y="48"/>
                    </a:lnTo>
                    <a:lnTo>
                      <a:pt x="51" y="48"/>
                    </a:lnTo>
                    <a:lnTo>
                      <a:pt x="48" y="50"/>
                    </a:lnTo>
                    <a:lnTo>
                      <a:pt x="48" y="50"/>
                    </a:lnTo>
                    <a:lnTo>
                      <a:pt x="48" y="51"/>
                    </a:lnTo>
                    <a:lnTo>
                      <a:pt x="46" y="56"/>
                    </a:lnTo>
                    <a:lnTo>
                      <a:pt x="45" y="60"/>
                    </a:lnTo>
                    <a:lnTo>
                      <a:pt x="45" y="61"/>
                    </a:lnTo>
                    <a:lnTo>
                      <a:pt x="49" y="67"/>
                    </a:lnTo>
                    <a:lnTo>
                      <a:pt x="49" y="67"/>
                    </a:lnTo>
                    <a:lnTo>
                      <a:pt x="52" y="69"/>
                    </a:lnTo>
                    <a:lnTo>
                      <a:pt x="52" y="70"/>
                    </a:lnTo>
                    <a:lnTo>
                      <a:pt x="52" y="72"/>
                    </a:lnTo>
                    <a:lnTo>
                      <a:pt x="54" y="72"/>
                    </a:lnTo>
                    <a:lnTo>
                      <a:pt x="57" y="72"/>
                    </a:lnTo>
                    <a:lnTo>
                      <a:pt x="57" y="73"/>
                    </a:lnTo>
                    <a:lnTo>
                      <a:pt x="57" y="74"/>
                    </a:lnTo>
                    <a:lnTo>
                      <a:pt x="58" y="76"/>
                    </a:lnTo>
                    <a:lnTo>
                      <a:pt x="58" y="79"/>
                    </a:lnTo>
                    <a:lnTo>
                      <a:pt x="68" y="90"/>
                    </a:lnTo>
                    <a:lnTo>
                      <a:pt x="68" y="90"/>
                    </a:lnTo>
                    <a:lnTo>
                      <a:pt x="68" y="92"/>
                    </a:lnTo>
                    <a:lnTo>
                      <a:pt x="62" y="92"/>
                    </a:lnTo>
                    <a:lnTo>
                      <a:pt x="61" y="92"/>
                    </a:lnTo>
                    <a:lnTo>
                      <a:pt x="61" y="92"/>
                    </a:lnTo>
                    <a:lnTo>
                      <a:pt x="60" y="90"/>
                    </a:lnTo>
                    <a:lnTo>
                      <a:pt x="58" y="90"/>
                    </a:lnTo>
                    <a:lnTo>
                      <a:pt x="55" y="92"/>
                    </a:lnTo>
                    <a:lnTo>
                      <a:pt x="54" y="95"/>
                    </a:lnTo>
                    <a:lnTo>
                      <a:pt x="49" y="95"/>
                    </a:lnTo>
                    <a:lnTo>
                      <a:pt x="46" y="98"/>
                    </a:lnTo>
                    <a:lnTo>
                      <a:pt x="44" y="98"/>
                    </a:lnTo>
                    <a:lnTo>
                      <a:pt x="41" y="98"/>
                    </a:lnTo>
                    <a:lnTo>
                      <a:pt x="39" y="101"/>
                    </a:lnTo>
                    <a:lnTo>
                      <a:pt x="38" y="101"/>
                    </a:lnTo>
                    <a:lnTo>
                      <a:pt x="35" y="101"/>
                    </a:lnTo>
                    <a:lnTo>
                      <a:pt x="28" y="98"/>
                    </a:lnTo>
                    <a:lnTo>
                      <a:pt x="25" y="95"/>
                    </a:lnTo>
                    <a:lnTo>
                      <a:pt x="25" y="95"/>
                    </a:lnTo>
                    <a:lnTo>
                      <a:pt x="23" y="93"/>
                    </a:lnTo>
                    <a:lnTo>
                      <a:pt x="23" y="93"/>
                    </a:lnTo>
                    <a:lnTo>
                      <a:pt x="23" y="88"/>
                    </a:lnTo>
                    <a:lnTo>
                      <a:pt x="20" y="85"/>
                    </a:lnTo>
                    <a:lnTo>
                      <a:pt x="20" y="83"/>
                    </a:lnTo>
                    <a:lnTo>
                      <a:pt x="20" y="76"/>
                    </a:lnTo>
                    <a:lnTo>
                      <a:pt x="22" y="70"/>
                    </a:lnTo>
                    <a:lnTo>
                      <a:pt x="22" y="67"/>
                    </a:lnTo>
                    <a:lnTo>
                      <a:pt x="25" y="64"/>
                    </a:lnTo>
                    <a:lnTo>
                      <a:pt x="25" y="63"/>
                    </a:lnTo>
                    <a:lnTo>
                      <a:pt x="25" y="61"/>
                    </a:lnTo>
                    <a:lnTo>
                      <a:pt x="23" y="60"/>
                    </a:lnTo>
                    <a:lnTo>
                      <a:pt x="23" y="56"/>
                    </a:lnTo>
                    <a:lnTo>
                      <a:pt x="20" y="56"/>
                    </a:lnTo>
                    <a:lnTo>
                      <a:pt x="20" y="56"/>
                    </a:lnTo>
                    <a:lnTo>
                      <a:pt x="17" y="54"/>
                    </a:lnTo>
                    <a:lnTo>
                      <a:pt x="19" y="50"/>
                    </a:lnTo>
                    <a:lnTo>
                      <a:pt x="19" y="47"/>
                    </a:lnTo>
                    <a:lnTo>
                      <a:pt x="17" y="45"/>
                    </a:lnTo>
                    <a:lnTo>
                      <a:pt x="15" y="45"/>
                    </a:lnTo>
                    <a:lnTo>
                      <a:pt x="12" y="47"/>
                    </a:lnTo>
                    <a:lnTo>
                      <a:pt x="9" y="45"/>
                    </a:lnTo>
                    <a:lnTo>
                      <a:pt x="9" y="45"/>
                    </a:lnTo>
                    <a:lnTo>
                      <a:pt x="9" y="45"/>
                    </a:lnTo>
                    <a:lnTo>
                      <a:pt x="0" y="34"/>
                    </a:lnTo>
                    <a:lnTo>
                      <a:pt x="0" y="34"/>
                    </a:lnTo>
                    <a:lnTo>
                      <a:pt x="0" y="32"/>
                    </a:lnTo>
                    <a:lnTo>
                      <a:pt x="0" y="32"/>
                    </a:lnTo>
                    <a:lnTo>
                      <a:pt x="3" y="28"/>
                    </a:lnTo>
                    <a:lnTo>
                      <a:pt x="3" y="25"/>
                    </a:lnTo>
                    <a:lnTo>
                      <a:pt x="3" y="24"/>
                    </a:lnTo>
                    <a:lnTo>
                      <a:pt x="10" y="21"/>
                    </a:lnTo>
                    <a:lnTo>
                      <a:pt x="12" y="19"/>
                    </a:lnTo>
                    <a:lnTo>
                      <a:pt x="10" y="18"/>
                    </a:lnTo>
                    <a:lnTo>
                      <a:pt x="10" y="18"/>
                    </a:lnTo>
                    <a:lnTo>
                      <a:pt x="9" y="18"/>
                    </a:lnTo>
                    <a:lnTo>
                      <a:pt x="7" y="18"/>
                    </a:lnTo>
                    <a:lnTo>
                      <a:pt x="6" y="12"/>
                    </a:lnTo>
                    <a:lnTo>
                      <a:pt x="7" y="11"/>
                    </a:lnTo>
                    <a:lnTo>
                      <a:pt x="7" y="11"/>
                    </a:lnTo>
                    <a:lnTo>
                      <a:pt x="10" y="9"/>
                    </a:lnTo>
                    <a:lnTo>
                      <a:pt x="10" y="9"/>
                    </a:lnTo>
                    <a:lnTo>
                      <a:pt x="12" y="8"/>
                    </a:lnTo>
                    <a:lnTo>
                      <a:pt x="16" y="6"/>
                    </a:lnTo>
                    <a:lnTo>
                      <a:pt x="17" y="5"/>
                    </a:lnTo>
                    <a:lnTo>
                      <a:pt x="19" y="5"/>
                    </a:lnTo>
                    <a:lnTo>
                      <a:pt x="20" y="5"/>
                    </a:lnTo>
                    <a:lnTo>
                      <a:pt x="20" y="3"/>
                    </a:lnTo>
                    <a:lnTo>
                      <a:pt x="20"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90" name="Freeform 712"/>
              <p:cNvSpPr>
                <a:spLocks/>
              </p:cNvSpPr>
              <p:nvPr/>
            </p:nvSpPr>
            <p:spPr bwMode="auto">
              <a:xfrm>
                <a:off x="5320171" y="3150902"/>
                <a:ext cx="62324" cy="105469"/>
              </a:xfrm>
              <a:custGeom>
                <a:avLst/>
                <a:gdLst/>
                <a:ahLst/>
                <a:cxnLst>
                  <a:cxn ang="0">
                    <a:pos x="22" y="2"/>
                  </a:cxn>
                  <a:cxn ang="0">
                    <a:pos x="25" y="2"/>
                  </a:cxn>
                  <a:cxn ang="0">
                    <a:pos x="39" y="15"/>
                  </a:cxn>
                  <a:cxn ang="0">
                    <a:pos x="48" y="24"/>
                  </a:cxn>
                  <a:cxn ang="0">
                    <a:pos x="55" y="29"/>
                  </a:cxn>
                  <a:cxn ang="0">
                    <a:pos x="60" y="37"/>
                  </a:cxn>
                  <a:cxn ang="0">
                    <a:pos x="57" y="43"/>
                  </a:cxn>
                  <a:cxn ang="0">
                    <a:pos x="57" y="44"/>
                  </a:cxn>
                  <a:cxn ang="0">
                    <a:pos x="57" y="45"/>
                  </a:cxn>
                  <a:cxn ang="0">
                    <a:pos x="55" y="48"/>
                  </a:cxn>
                  <a:cxn ang="0">
                    <a:pos x="48" y="50"/>
                  </a:cxn>
                  <a:cxn ang="0">
                    <a:pos x="48" y="51"/>
                  </a:cxn>
                  <a:cxn ang="0">
                    <a:pos x="45" y="60"/>
                  </a:cxn>
                  <a:cxn ang="0">
                    <a:pos x="49" y="67"/>
                  </a:cxn>
                  <a:cxn ang="0">
                    <a:pos x="52" y="69"/>
                  </a:cxn>
                  <a:cxn ang="0">
                    <a:pos x="52" y="72"/>
                  </a:cxn>
                  <a:cxn ang="0">
                    <a:pos x="57" y="72"/>
                  </a:cxn>
                  <a:cxn ang="0">
                    <a:pos x="57" y="74"/>
                  </a:cxn>
                  <a:cxn ang="0">
                    <a:pos x="58" y="79"/>
                  </a:cxn>
                  <a:cxn ang="0">
                    <a:pos x="68" y="90"/>
                  </a:cxn>
                  <a:cxn ang="0">
                    <a:pos x="62" y="92"/>
                  </a:cxn>
                  <a:cxn ang="0">
                    <a:pos x="61" y="92"/>
                  </a:cxn>
                  <a:cxn ang="0">
                    <a:pos x="58" y="90"/>
                  </a:cxn>
                  <a:cxn ang="0">
                    <a:pos x="54" y="95"/>
                  </a:cxn>
                  <a:cxn ang="0">
                    <a:pos x="46" y="98"/>
                  </a:cxn>
                  <a:cxn ang="0">
                    <a:pos x="41" y="98"/>
                  </a:cxn>
                  <a:cxn ang="0">
                    <a:pos x="38" y="101"/>
                  </a:cxn>
                  <a:cxn ang="0">
                    <a:pos x="28" y="98"/>
                  </a:cxn>
                  <a:cxn ang="0">
                    <a:pos x="25" y="95"/>
                  </a:cxn>
                  <a:cxn ang="0">
                    <a:pos x="23" y="93"/>
                  </a:cxn>
                  <a:cxn ang="0">
                    <a:pos x="20" y="85"/>
                  </a:cxn>
                  <a:cxn ang="0">
                    <a:pos x="20" y="76"/>
                  </a:cxn>
                  <a:cxn ang="0">
                    <a:pos x="22" y="67"/>
                  </a:cxn>
                  <a:cxn ang="0">
                    <a:pos x="25" y="63"/>
                  </a:cxn>
                  <a:cxn ang="0">
                    <a:pos x="23" y="60"/>
                  </a:cxn>
                  <a:cxn ang="0">
                    <a:pos x="20" y="56"/>
                  </a:cxn>
                  <a:cxn ang="0">
                    <a:pos x="17" y="54"/>
                  </a:cxn>
                  <a:cxn ang="0">
                    <a:pos x="19" y="47"/>
                  </a:cxn>
                  <a:cxn ang="0">
                    <a:pos x="15" y="45"/>
                  </a:cxn>
                  <a:cxn ang="0">
                    <a:pos x="9" y="45"/>
                  </a:cxn>
                  <a:cxn ang="0">
                    <a:pos x="9" y="45"/>
                  </a:cxn>
                  <a:cxn ang="0">
                    <a:pos x="0" y="34"/>
                  </a:cxn>
                  <a:cxn ang="0">
                    <a:pos x="0" y="32"/>
                  </a:cxn>
                  <a:cxn ang="0">
                    <a:pos x="3" y="25"/>
                  </a:cxn>
                  <a:cxn ang="0">
                    <a:pos x="10" y="21"/>
                  </a:cxn>
                  <a:cxn ang="0">
                    <a:pos x="10" y="18"/>
                  </a:cxn>
                  <a:cxn ang="0">
                    <a:pos x="9" y="18"/>
                  </a:cxn>
                  <a:cxn ang="0">
                    <a:pos x="6" y="12"/>
                  </a:cxn>
                  <a:cxn ang="0">
                    <a:pos x="7" y="11"/>
                  </a:cxn>
                  <a:cxn ang="0">
                    <a:pos x="10" y="9"/>
                  </a:cxn>
                  <a:cxn ang="0">
                    <a:pos x="16" y="6"/>
                  </a:cxn>
                  <a:cxn ang="0">
                    <a:pos x="19" y="5"/>
                  </a:cxn>
                  <a:cxn ang="0">
                    <a:pos x="20" y="3"/>
                  </a:cxn>
                </a:cxnLst>
                <a:rect l="0" t="0" r="r" b="b"/>
                <a:pathLst>
                  <a:path w="68" h="101">
                    <a:moveTo>
                      <a:pt x="20" y="2"/>
                    </a:moveTo>
                    <a:lnTo>
                      <a:pt x="22" y="2"/>
                    </a:lnTo>
                    <a:lnTo>
                      <a:pt x="23" y="0"/>
                    </a:lnTo>
                    <a:lnTo>
                      <a:pt x="25" y="2"/>
                    </a:lnTo>
                    <a:lnTo>
                      <a:pt x="36" y="12"/>
                    </a:lnTo>
                    <a:lnTo>
                      <a:pt x="39" y="15"/>
                    </a:lnTo>
                    <a:lnTo>
                      <a:pt x="39" y="22"/>
                    </a:lnTo>
                    <a:lnTo>
                      <a:pt x="48" y="24"/>
                    </a:lnTo>
                    <a:lnTo>
                      <a:pt x="51" y="27"/>
                    </a:lnTo>
                    <a:lnTo>
                      <a:pt x="55" y="29"/>
                    </a:lnTo>
                    <a:lnTo>
                      <a:pt x="58" y="32"/>
                    </a:lnTo>
                    <a:lnTo>
                      <a:pt x="60" y="37"/>
                    </a:lnTo>
                    <a:lnTo>
                      <a:pt x="60" y="37"/>
                    </a:lnTo>
                    <a:lnTo>
                      <a:pt x="57" y="43"/>
                    </a:lnTo>
                    <a:lnTo>
                      <a:pt x="55" y="43"/>
                    </a:lnTo>
                    <a:lnTo>
                      <a:pt x="57" y="44"/>
                    </a:lnTo>
                    <a:lnTo>
                      <a:pt x="57" y="44"/>
                    </a:lnTo>
                    <a:lnTo>
                      <a:pt x="57" y="45"/>
                    </a:lnTo>
                    <a:lnTo>
                      <a:pt x="55" y="47"/>
                    </a:lnTo>
                    <a:lnTo>
                      <a:pt x="55" y="48"/>
                    </a:lnTo>
                    <a:lnTo>
                      <a:pt x="51" y="48"/>
                    </a:lnTo>
                    <a:lnTo>
                      <a:pt x="48" y="50"/>
                    </a:lnTo>
                    <a:lnTo>
                      <a:pt x="48" y="50"/>
                    </a:lnTo>
                    <a:lnTo>
                      <a:pt x="48" y="51"/>
                    </a:lnTo>
                    <a:lnTo>
                      <a:pt x="46" y="56"/>
                    </a:lnTo>
                    <a:lnTo>
                      <a:pt x="45" y="60"/>
                    </a:lnTo>
                    <a:lnTo>
                      <a:pt x="45" y="61"/>
                    </a:lnTo>
                    <a:lnTo>
                      <a:pt x="49" y="67"/>
                    </a:lnTo>
                    <a:lnTo>
                      <a:pt x="49" y="67"/>
                    </a:lnTo>
                    <a:lnTo>
                      <a:pt x="52" y="69"/>
                    </a:lnTo>
                    <a:lnTo>
                      <a:pt x="52" y="70"/>
                    </a:lnTo>
                    <a:lnTo>
                      <a:pt x="52" y="72"/>
                    </a:lnTo>
                    <a:lnTo>
                      <a:pt x="54" y="72"/>
                    </a:lnTo>
                    <a:lnTo>
                      <a:pt x="57" y="72"/>
                    </a:lnTo>
                    <a:lnTo>
                      <a:pt x="57" y="73"/>
                    </a:lnTo>
                    <a:lnTo>
                      <a:pt x="57" y="74"/>
                    </a:lnTo>
                    <a:lnTo>
                      <a:pt x="58" y="76"/>
                    </a:lnTo>
                    <a:lnTo>
                      <a:pt x="58" y="79"/>
                    </a:lnTo>
                    <a:lnTo>
                      <a:pt x="68" y="90"/>
                    </a:lnTo>
                    <a:lnTo>
                      <a:pt x="68" y="90"/>
                    </a:lnTo>
                    <a:lnTo>
                      <a:pt x="68" y="92"/>
                    </a:lnTo>
                    <a:lnTo>
                      <a:pt x="62" y="92"/>
                    </a:lnTo>
                    <a:lnTo>
                      <a:pt x="61" y="92"/>
                    </a:lnTo>
                    <a:lnTo>
                      <a:pt x="61" y="92"/>
                    </a:lnTo>
                    <a:lnTo>
                      <a:pt x="60" y="90"/>
                    </a:lnTo>
                    <a:lnTo>
                      <a:pt x="58" y="90"/>
                    </a:lnTo>
                    <a:lnTo>
                      <a:pt x="55" y="92"/>
                    </a:lnTo>
                    <a:lnTo>
                      <a:pt x="54" y="95"/>
                    </a:lnTo>
                    <a:lnTo>
                      <a:pt x="49" y="95"/>
                    </a:lnTo>
                    <a:lnTo>
                      <a:pt x="46" y="98"/>
                    </a:lnTo>
                    <a:lnTo>
                      <a:pt x="44" y="98"/>
                    </a:lnTo>
                    <a:lnTo>
                      <a:pt x="41" y="98"/>
                    </a:lnTo>
                    <a:lnTo>
                      <a:pt x="39" y="101"/>
                    </a:lnTo>
                    <a:lnTo>
                      <a:pt x="38" y="101"/>
                    </a:lnTo>
                    <a:lnTo>
                      <a:pt x="35" y="101"/>
                    </a:lnTo>
                    <a:lnTo>
                      <a:pt x="28" y="98"/>
                    </a:lnTo>
                    <a:lnTo>
                      <a:pt x="25" y="95"/>
                    </a:lnTo>
                    <a:lnTo>
                      <a:pt x="25" y="95"/>
                    </a:lnTo>
                    <a:lnTo>
                      <a:pt x="23" y="93"/>
                    </a:lnTo>
                    <a:lnTo>
                      <a:pt x="23" y="93"/>
                    </a:lnTo>
                    <a:lnTo>
                      <a:pt x="23" y="88"/>
                    </a:lnTo>
                    <a:lnTo>
                      <a:pt x="20" y="85"/>
                    </a:lnTo>
                    <a:lnTo>
                      <a:pt x="20" y="83"/>
                    </a:lnTo>
                    <a:lnTo>
                      <a:pt x="20" y="76"/>
                    </a:lnTo>
                    <a:lnTo>
                      <a:pt x="22" y="70"/>
                    </a:lnTo>
                    <a:lnTo>
                      <a:pt x="22" y="67"/>
                    </a:lnTo>
                    <a:lnTo>
                      <a:pt x="25" y="64"/>
                    </a:lnTo>
                    <a:lnTo>
                      <a:pt x="25" y="63"/>
                    </a:lnTo>
                    <a:lnTo>
                      <a:pt x="25" y="61"/>
                    </a:lnTo>
                    <a:lnTo>
                      <a:pt x="23" y="60"/>
                    </a:lnTo>
                    <a:lnTo>
                      <a:pt x="23" y="56"/>
                    </a:lnTo>
                    <a:lnTo>
                      <a:pt x="20" y="56"/>
                    </a:lnTo>
                    <a:lnTo>
                      <a:pt x="20" y="56"/>
                    </a:lnTo>
                    <a:lnTo>
                      <a:pt x="17" y="54"/>
                    </a:lnTo>
                    <a:lnTo>
                      <a:pt x="19" y="50"/>
                    </a:lnTo>
                    <a:lnTo>
                      <a:pt x="19" y="47"/>
                    </a:lnTo>
                    <a:lnTo>
                      <a:pt x="17" y="45"/>
                    </a:lnTo>
                    <a:lnTo>
                      <a:pt x="15" y="45"/>
                    </a:lnTo>
                    <a:lnTo>
                      <a:pt x="12" y="47"/>
                    </a:lnTo>
                    <a:lnTo>
                      <a:pt x="9" y="45"/>
                    </a:lnTo>
                    <a:lnTo>
                      <a:pt x="9" y="45"/>
                    </a:lnTo>
                    <a:lnTo>
                      <a:pt x="9" y="45"/>
                    </a:lnTo>
                    <a:lnTo>
                      <a:pt x="0" y="34"/>
                    </a:lnTo>
                    <a:lnTo>
                      <a:pt x="0" y="34"/>
                    </a:lnTo>
                    <a:lnTo>
                      <a:pt x="0" y="32"/>
                    </a:lnTo>
                    <a:lnTo>
                      <a:pt x="0" y="32"/>
                    </a:lnTo>
                    <a:lnTo>
                      <a:pt x="3" y="28"/>
                    </a:lnTo>
                    <a:lnTo>
                      <a:pt x="3" y="25"/>
                    </a:lnTo>
                    <a:lnTo>
                      <a:pt x="3" y="24"/>
                    </a:lnTo>
                    <a:lnTo>
                      <a:pt x="10" y="21"/>
                    </a:lnTo>
                    <a:lnTo>
                      <a:pt x="12" y="19"/>
                    </a:lnTo>
                    <a:lnTo>
                      <a:pt x="10" y="18"/>
                    </a:lnTo>
                    <a:lnTo>
                      <a:pt x="10" y="18"/>
                    </a:lnTo>
                    <a:lnTo>
                      <a:pt x="9" y="18"/>
                    </a:lnTo>
                    <a:lnTo>
                      <a:pt x="7" y="18"/>
                    </a:lnTo>
                    <a:lnTo>
                      <a:pt x="6" y="12"/>
                    </a:lnTo>
                    <a:lnTo>
                      <a:pt x="7" y="11"/>
                    </a:lnTo>
                    <a:lnTo>
                      <a:pt x="7" y="11"/>
                    </a:lnTo>
                    <a:lnTo>
                      <a:pt x="10" y="9"/>
                    </a:lnTo>
                    <a:lnTo>
                      <a:pt x="10" y="9"/>
                    </a:lnTo>
                    <a:lnTo>
                      <a:pt x="12" y="8"/>
                    </a:lnTo>
                    <a:lnTo>
                      <a:pt x="16" y="6"/>
                    </a:lnTo>
                    <a:lnTo>
                      <a:pt x="17" y="5"/>
                    </a:lnTo>
                    <a:lnTo>
                      <a:pt x="19" y="5"/>
                    </a:lnTo>
                    <a:lnTo>
                      <a:pt x="20" y="5"/>
                    </a:lnTo>
                    <a:lnTo>
                      <a:pt x="20" y="3"/>
                    </a:lnTo>
                    <a:lnTo>
                      <a:pt x="20"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91" name="Freeform 713"/>
              <p:cNvSpPr>
                <a:spLocks/>
              </p:cNvSpPr>
              <p:nvPr/>
            </p:nvSpPr>
            <p:spPr bwMode="auto">
              <a:xfrm>
                <a:off x="5408829" y="3192481"/>
                <a:ext cx="37745" cy="54763"/>
              </a:xfrm>
              <a:custGeom>
                <a:avLst/>
                <a:gdLst/>
                <a:ahLst/>
                <a:cxnLst>
                  <a:cxn ang="0">
                    <a:pos x="0" y="46"/>
                  </a:cxn>
                  <a:cxn ang="0">
                    <a:pos x="5" y="43"/>
                  </a:cxn>
                  <a:cxn ang="0">
                    <a:pos x="8" y="27"/>
                  </a:cxn>
                  <a:cxn ang="0">
                    <a:pos x="6" y="26"/>
                  </a:cxn>
                  <a:cxn ang="0">
                    <a:pos x="5" y="26"/>
                  </a:cxn>
                  <a:cxn ang="0">
                    <a:pos x="5" y="26"/>
                  </a:cxn>
                  <a:cxn ang="0">
                    <a:pos x="2" y="18"/>
                  </a:cxn>
                  <a:cxn ang="0">
                    <a:pos x="2" y="8"/>
                  </a:cxn>
                  <a:cxn ang="0">
                    <a:pos x="3" y="5"/>
                  </a:cxn>
                  <a:cxn ang="0">
                    <a:pos x="6" y="3"/>
                  </a:cxn>
                  <a:cxn ang="0">
                    <a:pos x="6" y="3"/>
                  </a:cxn>
                  <a:cxn ang="0">
                    <a:pos x="6" y="1"/>
                  </a:cxn>
                  <a:cxn ang="0">
                    <a:pos x="8" y="1"/>
                  </a:cxn>
                  <a:cxn ang="0">
                    <a:pos x="9" y="0"/>
                  </a:cxn>
                  <a:cxn ang="0">
                    <a:pos x="10" y="0"/>
                  </a:cxn>
                  <a:cxn ang="0">
                    <a:pos x="21" y="4"/>
                  </a:cxn>
                  <a:cxn ang="0">
                    <a:pos x="22" y="5"/>
                  </a:cxn>
                  <a:cxn ang="0">
                    <a:pos x="41" y="18"/>
                  </a:cxn>
                  <a:cxn ang="0">
                    <a:pos x="41" y="21"/>
                  </a:cxn>
                  <a:cxn ang="0">
                    <a:pos x="41" y="21"/>
                  </a:cxn>
                  <a:cxn ang="0">
                    <a:pos x="31" y="36"/>
                  </a:cxn>
                  <a:cxn ang="0">
                    <a:pos x="28" y="42"/>
                  </a:cxn>
                  <a:cxn ang="0">
                    <a:pos x="21" y="49"/>
                  </a:cxn>
                  <a:cxn ang="0">
                    <a:pos x="19" y="50"/>
                  </a:cxn>
                  <a:cxn ang="0">
                    <a:pos x="16" y="50"/>
                  </a:cxn>
                  <a:cxn ang="0">
                    <a:pos x="15" y="49"/>
                  </a:cxn>
                  <a:cxn ang="0">
                    <a:pos x="12" y="49"/>
                  </a:cxn>
                  <a:cxn ang="0">
                    <a:pos x="8" y="52"/>
                  </a:cxn>
                  <a:cxn ang="0">
                    <a:pos x="6" y="50"/>
                  </a:cxn>
                  <a:cxn ang="0">
                    <a:pos x="3" y="49"/>
                  </a:cxn>
                  <a:cxn ang="0">
                    <a:pos x="0" y="46"/>
                  </a:cxn>
                </a:cxnLst>
                <a:rect l="0" t="0" r="r" b="b"/>
                <a:pathLst>
                  <a:path w="41" h="52">
                    <a:moveTo>
                      <a:pt x="0" y="46"/>
                    </a:moveTo>
                    <a:lnTo>
                      <a:pt x="5" y="43"/>
                    </a:lnTo>
                    <a:lnTo>
                      <a:pt x="8" y="27"/>
                    </a:lnTo>
                    <a:lnTo>
                      <a:pt x="6" y="26"/>
                    </a:lnTo>
                    <a:lnTo>
                      <a:pt x="5" y="26"/>
                    </a:lnTo>
                    <a:lnTo>
                      <a:pt x="5" y="26"/>
                    </a:lnTo>
                    <a:lnTo>
                      <a:pt x="2" y="18"/>
                    </a:lnTo>
                    <a:lnTo>
                      <a:pt x="2" y="8"/>
                    </a:lnTo>
                    <a:lnTo>
                      <a:pt x="3" y="5"/>
                    </a:lnTo>
                    <a:lnTo>
                      <a:pt x="6" y="3"/>
                    </a:lnTo>
                    <a:lnTo>
                      <a:pt x="6" y="3"/>
                    </a:lnTo>
                    <a:lnTo>
                      <a:pt x="6" y="1"/>
                    </a:lnTo>
                    <a:lnTo>
                      <a:pt x="8" y="1"/>
                    </a:lnTo>
                    <a:lnTo>
                      <a:pt x="9" y="0"/>
                    </a:lnTo>
                    <a:lnTo>
                      <a:pt x="10" y="0"/>
                    </a:lnTo>
                    <a:lnTo>
                      <a:pt x="21" y="4"/>
                    </a:lnTo>
                    <a:lnTo>
                      <a:pt x="22" y="5"/>
                    </a:lnTo>
                    <a:lnTo>
                      <a:pt x="41" y="18"/>
                    </a:lnTo>
                    <a:lnTo>
                      <a:pt x="41" y="21"/>
                    </a:lnTo>
                    <a:lnTo>
                      <a:pt x="41" y="21"/>
                    </a:lnTo>
                    <a:lnTo>
                      <a:pt x="31" y="36"/>
                    </a:lnTo>
                    <a:lnTo>
                      <a:pt x="28" y="42"/>
                    </a:lnTo>
                    <a:lnTo>
                      <a:pt x="21" y="49"/>
                    </a:lnTo>
                    <a:lnTo>
                      <a:pt x="19" y="50"/>
                    </a:lnTo>
                    <a:lnTo>
                      <a:pt x="16" y="50"/>
                    </a:lnTo>
                    <a:lnTo>
                      <a:pt x="15" y="49"/>
                    </a:lnTo>
                    <a:lnTo>
                      <a:pt x="12" y="49"/>
                    </a:lnTo>
                    <a:lnTo>
                      <a:pt x="8" y="52"/>
                    </a:lnTo>
                    <a:lnTo>
                      <a:pt x="6" y="50"/>
                    </a:lnTo>
                    <a:lnTo>
                      <a:pt x="3" y="49"/>
                    </a:lnTo>
                    <a:lnTo>
                      <a:pt x="0" y="4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92" name="Freeform 714"/>
              <p:cNvSpPr>
                <a:spLocks/>
              </p:cNvSpPr>
              <p:nvPr/>
            </p:nvSpPr>
            <p:spPr bwMode="auto">
              <a:xfrm>
                <a:off x="5408829" y="3192481"/>
                <a:ext cx="37745" cy="54763"/>
              </a:xfrm>
              <a:custGeom>
                <a:avLst/>
                <a:gdLst/>
                <a:ahLst/>
                <a:cxnLst>
                  <a:cxn ang="0">
                    <a:pos x="0" y="46"/>
                  </a:cxn>
                  <a:cxn ang="0">
                    <a:pos x="5" y="43"/>
                  </a:cxn>
                  <a:cxn ang="0">
                    <a:pos x="8" y="27"/>
                  </a:cxn>
                  <a:cxn ang="0">
                    <a:pos x="6" y="26"/>
                  </a:cxn>
                  <a:cxn ang="0">
                    <a:pos x="5" y="26"/>
                  </a:cxn>
                  <a:cxn ang="0">
                    <a:pos x="5" y="26"/>
                  </a:cxn>
                  <a:cxn ang="0">
                    <a:pos x="2" y="18"/>
                  </a:cxn>
                  <a:cxn ang="0">
                    <a:pos x="2" y="8"/>
                  </a:cxn>
                  <a:cxn ang="0">
                    <a:pos x="3" y="5"/>
                  </a:cxn>
                  <a:cxn ang="0">
                    <a:pos x="6" y="3"/>
                  </a:cxn>
                  <a:cxn ang="0">
                    <a:pos x="6" y="3"/>
                  </a:cxn>
                  <a:cxn ang="0">
                    <a:pos x="6" y="1"/>
                  </a:cxn>
                  <a:cxn ang="0">
                    <a:pos x="8" y="1"/>
                  </a:cxn>
                  <a:cxn ang="0">
                    <a:pos x="9" y="0"/>
                  </a:cxn>
                  <a:cxn ang="0">
                    <a:pos x="10" y="0"/>
                  </a:cxn>
                  <a:cxn ang="0">
                    <a:pos x="21" y="4"/>
                  </a:cxn>
                  <a:cxn ang="0">
                    <a:pos x="22" y="5"/>
                  </a:cxn>
                  <a:cxn ang="0">
                    <a:pos x="41" y="18"/>
                  </a:cxn>
                  <a:cxn ang="0">
                    <a:pos x="41" y="21"/>
                  </a:cxn>
                  <a:cxn ang="0">
                    <a:pos x="41" y="21"/>
                  </a:cxn>
                  <a:cxn ang="0">
                    <a:pos x="31" y="36"/>
                  </a:cxn>
                  <a:cxn ang="0">
                    <a:pos x="28" y="42"/>
                  </a:cxn>
                  <a:cxn ang="0">
                    <a:pos x="21" y="49"/>
                  </a:cxn>
                  <a:cxn ang="0">
                    <a:pos x="19" y="50"/>
                  </a:cxn>
                  <a:cxn ang="0">
                    <a:pos x="16" y="50"/>
                  </a:cxn>
                  <a:cxn ang="0">
                    <a:pos x="15" y="49"/>
                  </a:cxn>
                  <a:cxn ang="0">
                    <a:pos x="12" y="49"/>
                  </a:cxn>
                  <a:cxn ang="0">
                    <a:pos x="8" y="52"/>
                  </a:cxn>
                  <a:cxn ang="0">
                    <a:pos x="6" y="50"/>
                  </a:cxn>
                  <a:cxn ang="0">
                    <a:pos x="3" y="49"/>
                  </a:cxn>
                  <a:cxn ang="0">
                    <a:pos x="0" y="46"/>
                  </a:cxn>
                </a:cxnLst>
                <a:rect l="0" t="0" r="r" b="b"/>
                <a:pathLst>
                  <a:path w="41" h="52">
                    <a:moveTo>
                      <a:pt x="0" y="46"/>
                    </a:moveTo>
                    <a:lnTo>
                      <a:pt x="5" y="43"/>
                    </a:lnTo>
                    <a:lnTo>
                      <a:pt x="8" y="27"/>
                    </a:lnTo>
                    <a:lnTo>
                      <a:pt x="6" y="26"/>
                    </a:lnTo>
                    <a:lnTo>
                      <a:pt x="5" y="26"/>
                    </a:lnTo>
                    <a:lnTo>
                      <a:pt x="5" y="26"/>
                    </a:lnTo>
                    <a:lnTo>
                      <a:pt x="2" y="18"/>
                    </a:lnTo>
                    <a:lnTo>
                      <a:pt x="2" y="8"/>
                    </a:lnTo>
                    <a:lnTo>
                      <a:pt x="3" y="5"/>
                    </a:lnTo>
                    <a:lnTo>
                      <a:pt x="6" y="3"/>
                    </a:lnTo>
                    <a:lnTo>
                      <a:pt x="6" y="3"/>
                    </a:lnTo>
                    <a:lnTo>
                      <a:pt x="6" y="1"/>
                    </a:lnTo>
                    <a:lnTo>
                      <a:pt x="8" y="1"/>
                    </a:lnTo>
                    <a:lnTo>
                      <a:pt x="9" y="0"/>
                    </a:lnTo>
                    <a:lnTo>
                      <a:pt x="10" y="0"/>
                    </a:lnTo>
                    <a:lnTo>
                      <a:pt x="21" y="4"/>
                    </a:lnTo>
                    <a:lnTo>
                      <a:pt x="22" y="5"/>
                    </a:lnTo>
                    <a:lnTo>
                      <a:pt x="41" y="18"/>
                    </a:lnTo>
                    <a:lnTo>
                      <a:pt x="41" y="21"/>
                    </a:lnTo>
                    <a:lnTo>
                      <a:pt x="41" y="21"/>
                    </a:lnTo>
                    <a:lnTo>
                      <a:pt x="31" y="36"/>
                    </a:lnTo>
                    <a:lnTo>
                      <a:pt x="28" y="42"/>
                    </a:lnTo>
                    <a:lnTo>
                      <a:pt x="21" y="49"/>
                    </a:lnTo>
                    <a:lnTo>
                      <a:pt x="19" y="50"/>
                    </a:lnTo>
                    <a:lnTo>
                      <a:pt x="16" y="50"/>
                    </a:lnTo>
                    <a:lnTo>
                      <a:pt x="15" y="49"/>
                    </a:lnTo>
                    <a:lnTo>
                      <a:pt x="12" y="49"/>
                    </a:lnTo>
                    <a:lnTo>
                      <a:pt x="8" y="52"/>
                    </a:lnTo>
                    <a:lnTo>
                      <a:pt x="6" y="50"/>
                    </a:lnTo>
                    <a:lnTo>
                      <a:pt x="3" y="49"/>
                    </a:lnTo>
                    <a:lnTo>
                      <a:pt x="0" y="4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93" name="Freeform 715"/>
              <p:cNvSpPr>
                <a:spLocks/>
              </p:cNvSpPr>
              <p:nvPr/>
            </p:nvSpPr>
            <p:spPr bwMode="auto">
              <a:xfrm>
                <a:off x="6459555" y="2590086"/>
                <a:ext cx="38623" cy="38537"/>
              </a:xfrm>
              <a:custGeom>
                <a:avLst/>
                <a:gdLst/>
                <a:ahLst/>
                <a:cxnLst>
                  <a:cxn ang="0">
                    <a:pos x="27" y="3"/>
                  </a:cxn>
                  <a:cxn ang="0">
                    <a:pos x="25" y="2"/>
                  </a:cxn>
                  <a:cxn ang="0">
                    <a:pos x="19" y="3"/>
                  </a:cxn>
                  <a:cxn ang="0">
                    <a:pos x="14" y="0"/>
                  </a:cxn>
                  <a:cxn ang="0">
                    <a:pos x="6" y="3"/>
                  </a:cxn>
                  <a:cxn ang="0">
                    <a:pos x="4" y="5"/>
                  </a:cxn>
                  <a:cxn ang="0">
                    <a:pos x="4" y="6"/>
                  </a:cxn>
                  <a:cxn ang="0">
                    <a:pos x="7" y="9"/>
                  </a:cxn>
                  <a:cxn ang="0">
                    <a:pos x="6" y="12"/>
                  </a:cxn>
                  <a:cxn ang="0">
                    <a:pos x="3" y="13"/>
                  </a:cxn>
                  <a:cxn ang="0">
                    <a:pos x="1" y="22"/>
                  </a:cxn>
                  <a:cxn ang="0">
                    <a:pos x="0" y="25"/>
                  </a:cxn>
                  <a:cxn ang="0">
                    <a:pos x="0" y="26"/>
                  </a:cxn>
                  <a:cxn ang="0">
                    <a:pos x="1" y="28"/>
                  </a:cxn>
                  <a:cxn ang="0">
                    <a:pos x="10" y="26"/>
                  </a:cxn>
                  <a:cxn ang="0">
                    <a:pos x="9" y="28"/>
                  </a:cxn>
                  <a:cxn ang="0">
                    <a:pos x="1" y="31"/>
                  </a:cxn>
                  <a:cxn ang="0">
                    <a:pos x="1" y="37"/>
                  </a:cxn>
                  <a:cxn ang="0">
                    <a:pos x="4" y="37"/>
                  </a:cxn>
                  <a:cxn ang="0">
                    <a:pos x="6" y="34"/>
                  </a:cxn>
                  <a:cxn ang="0">
                    <a:pos x="22" y="21"/>
                  </a:cxn>
                  <a:cxn ang="0">
                    <a:pos x="35" y="19"/>
                  </a:cxn>
                  <a:cxn ang="0">
                    <a:pos x="38" y="21"/>
                  </a:cxn>
                  <a:cxn ang="0">
                    <a:pos x="41" y="19"/>
                  </a:cxn>
                  <a:cxn ang="0">
                    <a:pos x="42" y="18"/>
                  </a:cxn>
                  <a:cxn ang="0">
                    <a:pos x="42" y="15"/>
                  </a:cxn>
                  <a:cxn ang="0">
                    <a:pos x="39" y="15"/>
                  </a:cxn>
                  <a:cxn ang="0">
                    <a:pos x="32" y="12"/>
                  </a:cxn>
                  <a:cxn ang="0">
                    <a:pos x="27" y="8"/>
                  </a:cxn>
                  <a:cxn ang="0">
                    <a:pos x="27" y="5"/>
                  </a:cxn>
                  <a:cxn ang="0">
                    <a:pos x="27" y="3"/>
                  </a:cxn>
                </a:cxnLst>
                <a:rect l="0" t="0" r="r" b="b"/>
                <a:pathLst>
                  <a:path w="42" h="37">
                    <a:moveTo>
                      <a:pt x="27" y="3"/>
                    </a:moveTo>
                    <a:lnTo>
                      <a:pt x="25" y="2"/>
                    </a:lnTo>
                    <a:lnTo>
                      <a:pt x="19" y="3"/>
                    </a:lnTo>
                    <a:lnTo>
                      <a:pt x="14" y="0"/>
                    </a:lnTo>
                    <a:lnTo>
                      <a:pt x="6" y="3"/>
                    </a:lnTo>
                    <a:lnTo>
                      <a:pt x="4" y="5"/>
                    </a:lnTo>
                    <a:lnTo>
                      <a:pt x="4" y="6"/>
                    </a:lnTo>
                    <a:lnTo>
                      <a:pt x="7" y="9"/>
                    </a:lnTo>
                    <a:lnTo>
                      <a:pt x="6" y="12"/>
                    </a:lnTo>
                    <a:lnTo>
                      <a:pt x="3" y="13"/>
                    </a:lnTo>
                    <a:lnTo>
                      <a:pt x="1" y="22"/>
                    </a:lnTo>
                    <a:lnTo>
                      <a:pt x="0" y="25"/>
                    </a:lnTo>
                    <a:lnTo>
                      <a:pt x="0" y="26"/>
                    </a:lnTo>
                    <a:lnTo>
                      <a:pt x="1" y="28"/>
                    </a:lnTo>
                    <a:lnTo>
                      <a:pt x="10" y="26"/>
                    </a:lnTo>
                    <a:lnTo>
                      <a:pt x="9" y="28"/>
                    </a:lnTo>
                    <a:lnTo>
                      <a:pt x="1" y="31"/>
                    </a:lnTo>
                    <a:lnTo>
                      <a:pt x="1" y="37"/>
                    </a:lnTo>
                    <a:lnTo>
                      <a:pt x="4" y="37"/>
                    </a:lnTo>
                    <a:lnTo>
                      <a:pt x="6" y="34"/>
                    </a:lnTo>
                    <a:lnTo>
                      <a:pt x="22" y="21"/>
                    </a:lnTo>
                    <a:lnTo>
                      <a:pt x="35" y="19"/>
                    </a:lnTo>
                    <a:lnTo>
                      <a:pt x="38" y="21"/>
                    </a:lnTo>
                    <a:lnTo>
                      <a:pt x="41" y="19"/>
                    </a:lnTo>
                    <a:lnTo>
                      <a:pt x="42" y="18"/>
                    </a:lnTo>
                    <a:lnTo>
                      <a:pt x="42" y="15"/>
                    </a:lnTo>
                    <a:lnTo>
                      <a:pt x="39" y="15"/>
                    </a:lnTo>
                    <a:lnTo>
                      <a:pt x="32" y="12"/>
                    </a:lnTo>
                    <a:lnTo>
                      <a:pt x="27" y="8"/>
                    </a:lnTo>
                    <a:lnTo>
                      <a:pt x="27" y="5"/>
                    </a:lnTo>
                    <a:lnTo>
                      <a:pt x="27"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94" name="Freeform 716"/>
              <p:cNvSpPr>
                <a:spLocks/>
              </p:cNvSpPr>
              <p:nvPr/>
            </p:nvSpPr>
            <p:spPr bwMode="auto">
              <a:xfrm>
                <a:off x="6459555" y="2590086"/>
                <a:ext cx="38623" cy="38537"/>
              </a:xfrm>
              <a:custGeom>
                <a:avLst/>
                <a:gdLst/>
                <a:ahLst/>
                <a:cxnLst>
                  <a:cxn ang="0">
                    <a:pos x="27" y="3"/>
                  </a:cxn>
                  <a:cxn ang="0">
                    <a:pos x="25" y="2"/>
                  </a:cxn>
                  <a:cxn ang="0">
                    <a:pos x="19" y="3"/>
                  </a:cxn>
                  <a:cxn ang="0">
                    <a:pos x="14" y="0"/>
                  </a:cxn>
                  <a:cxn ang="0">
                    <a:pos x="6" y="3"/>
                  </a:cxn>
                  <a:cxn ang="0">
                    <a:pos x="4" y="5"/>
                  </a:cxn>
                  <a:cxn ang="0">
                    <a:pos x="4" y="6"/>
                  </a:cxn>
                  <a:cxn ang="0">
                    <a:pos x="7" y="9"/>
                  </a:cxn>
                  <a:cxn ang="0">
                    <a:pos x="6" y="12"/>
                  </a:cxn>
                  <a:cxn ang="0">
                    <a:pos x="3" y="13"/>
                  </a:cxn>
                  <a:cxn ang="0">
                    <a:pos x="1" y="22"/>
                  </a:cxn>
                  <a:cxn ang="0">
                    <a:pos x="0" y="25"/>
                  </a:cxn>
                  <a:cxn ang="0">
                    <a:pos x="0" y="26"/>
                  </a:cxn>
                  <a:cxn ang="0">
                    <a:pos x="1" y="28"/>
                  </a:cxn>
                  <a:cxn ang="0">
                    <a:pos x="10" y="26"/>
                  </a:cxn>
                  <a:cxn ang="0">
                    <a:pos x="9" y="28"/>
                  </a:cxn>
                  <a:cxn ang="0">
                    <a:pos x="1" y="31"/>
                  </a:cxn>
                  <a:cxn ang="0">
                    <a:pos x="1" y="37"/>
                  </a:cxn>
                  <a:cxn ang="0">
                    <a:pos x="4" y="37"/>
                  </a:cxn>
                  <a:cxn ang="0">
                    <a:pos x="6" y="34"/>
                  </a:cxn>
                  <a:cxn ang="0">
                    <a:pos x="22" y="21"/>
                  </a:cxn>
                  <a:cxn ang="0">
                    <a:pos x="35" y="19"/>
                  </a:cxn>
                  <a:cxn ang="0">
                    <a:pos x="38" y="21"/>
                  </a:cxn>
                  <a:cxn ang="0">
                    <a:pos x="41" y="19"/>
                  </a:cxn>
                  <a:cxn ang="0">
                    <a:pos x="42" y="18"/>
                  </a:cxn>
                  <a:cxn ang="0">
                    <a:pos x="42" y="15"/>
                  </a:cxn>
                  <a:cxn ang="0">
                    <a:pos x="39" y="15"/>
                  </a:cxn>
                  <a:cxn ang="0">
                    <a:pos x="32" y="12"/>
                  </a:cxn>
                  <a:cxn ang="0">
                    <a:pos x="27" y="8"/>
                  </a:cxn>
                  <a:cxn ang="0">
                    <a:pos x="27" y="5"/>
                  </a:cxn>
                  <a:cxn ang="0">
                    <a:pos x="27" y="3"/>
                  </a:cxn>
                </a:cxnLst>
                <a:rect l="0" t="0" r="r" b="b"/>
                <a:pathLst>
                  <a:path w="42" h="37">
                    <a:moveTo>
                      <a:pt x="27" y="3"/>
                    </a:moveTo>
                    <a:lnTo>
                      <a:pt x="25" y="2"/>
                    </a:lnTo>
                    <a:lnTo>
                      <a:pt x="19" y="3"/>
                    </a:lnTo>
                    <a:lnTo>
                      <a:pt x="14" y="0"/>
                    </a:lnTo>
                    <a:lnTo>
                      <a:pt x="6" y="3"/>
                    </a:lnTo>
                    <a:lnTo>
                      <a:pt x="4" y="5"/>
                    </a:lnTo>
                    <a:lnTo>
                      <a:pt x="4" y="6"/>
                    </a:lnTo>
                    <a:lnTo>
                      <a:pt x="7" y="9"/>
                    </a:lnTo>
                    <a:lnTo>
                      <a:pt x="6" y="12"/>
                    </a:lnTo>
                    <a:lnTo>
                      <a:pt x="3" y="13"/>
                    </a:lnTo>
                    <a:lnTo>
                      <a:pt x="1" y="22"/>
                    </a:lnTo>
                    <a:lnTo>
                      <a:pt x="0" y="25"/>
                    </a:lnTo>
                    <a:lnTo>
                      <a:pt x="0" y="26"/>
                    </a:lnTo>
                    <a:lnTo>
                      <a:pt x="1" y="28"/>
                    </a:lnTo>
                    <a:lnTo>
                      <a:pt x="10" y="26"/>
                    </a:lnTo>
                    <a:lnTo>
                      <a:pt x="9" y="28"/>
                    </a:lnTo>
                    <a:lnTo>
                      <a:pt x="1" y="31"/>
                    </a:lnTo>
                    <a:lnTo>
                      <a:pt x="1" y="37"/>
                    </a:lnTo>
                    <a:lnTo>
                      <a:pt x="4" y="37"/>
                    </a:lnTo>
                    <a:lnTo>
                      <a:pt x="6" y="34"/>
                    </a:lnTo>
                    <a:lnTo>
                      <a:pt x="22" y="21"/>
                    </a:lnTo>
                    <a:lnTo>
                      <a:pt x="35" y="19"/>
                    </a:lnTo>
                    <a:lnTo>
                      <a:pt x="38" y="21"/>
                    </a:lnTo>
                    <a:lnTo>
                      <a:pt x="41" y="19"/>
                    </a:lnTo>
                    <a:lnTo>
                      <a:pt x="42" y="18"/>
                    </a:lnTo>
                    <a:lnTo>
                      <a:pt x="42" y="15"/>
                    </a:lnTo>
                    <a:lnTo>
                      <a:pt x="39" y="15"/>
                    </a:lnTo>
                    <a:lnTo>
                      <a:pt x="32" y="12"/>
                    </a:lnTo>
                    <a:lnTo>
                      <a:pt x="27" y="8"/>
                    </a:lnTo>
                    <a:lnTo>
                      <a:pt x="27" y="5"/>
                    </a:lnTo>
                    <a:lnTo>
                      <a:pt x="27"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95" name="Freeform 717"/>
              <p:cNvSpPr>
                <a:spLocks/>
              </p:cNvSpPr>
              <p:nvPr/>
            </p:nvSpPr>
            <p:spPr bwMode="auto">
              <a:xfrm>
                <a:off x="7322434" y="2839562"/>
                <a:ext cx="116747" cy="283957"/>
              </a:xfrm>
              <a:custGeom>
                <a:avLst/>
                <a:gdLst/>
                <a:ahLst/>
                <a:cxnLst>
                  <a:cxn ang="0">
                    <a:pos x="32" y="158"/>
                  </a:cxn>
                  <a:cxn ang="0">
                    <a:pos x="24" y="142"/>
                  </a:cxn>
                  <a:cxn ang="0">
                    <a:pos x="19" y="141"/>
                  </a:cxn>
                  <a:cxn ang="0">
                    <a:pos x="21" y="138"/>
                  </a:cxn>
                  <a:cxn ang="0">
                    <a:pos x="20" y="134"/>
                  </a:cxn>
                  <a:cxn ang="0">
                    <a:pos x="7" y="125"/>
                  </a:cxn>
                  <a:cxn ang="0">
                    <a:pos x="4" y="122"/>
                  </a:cxn>
                  <a:cxn ang="0">
                    <a:pos x="3" y="108"/>
                  </a:cxn>
                  <a:cxn ang="0">
                    <a:pos x="5" y="100"/>
                  </a:cxn>
                  <a:cxn ang="0">
                    <a:pos x="10" y="99"/>
                  </a:cxn>
                  <a:cxn ang="0">
                    <a:pos x="13" y="96"/>
                  </a:cxn>
                  <a:cxn ang="0">
                    <a:pos x="11" y="86"/>
                  </a:cxn>
                  <a:cxn ang="0">
                    <a:pos x="16" y="73"/>
                  </a:cxn>
                  <a:cxn ang="0">
                    <a:pos x="26" y="70"/>
                  </a:cxn>
                  <a:cxn ang="0">
                    <a:pos x="35" y="49"/>
                  </a:cxn>
                  <a:cxn ang="0">
                    <a:pos x="42" y="41"/>
                  </a:cxn>
                  <a:cxn ang="0">
                    <a:pos x="46" y="26"/>
                  </a:cxn>
                  <a:cxn ang="0">
                    <a:pos x="61" y="17"/>
                  </a:cxn>
                  <a:cxn ang="0">
                    <a:pos x="68" y="16"/>
                  </a:cxn>
                  <a:cxn ang="0">
                    <a:pos x="71" y="7"/>
                  </a:cxn>
                  <a:cxn ang="0">
                    <a:pos x="75" y="1"/>
                  </a:cxn>
                  <a:cxn ang="0">
                    <a:pos x="81" y="1"/>
                  </a:cxn>
                  <a:cxn ang="0">
                    <a:pos x="85" y="12"/>
                  </a:cxn>
                  <a:cxn ang="0">
                    <a:pos x="87" y="47"/>
                  </a:cxn>
                  <a:cxn ang="0">
                    <a:pos x="81" y="52"/>
                  </a:cxn>
                  <a:cxn ang="0">
                    <a:pos x="80" y="67"/>
                  </a:cxn>
                  <a:cxn ang="0">
                    <a:pos x="84" y="67"/>
                  </a:cxn>
                  <a:cxn ang="0">
                    <a:pos x="96" y="74"/>
                  </a:cxn>
                  <a:cxn ang="0">
                    <a:pos x="100" y="96"/>
                  </a:cxn>
                  <a:cxn ang="0">
                    <a:pos x="114" y="105"/>
                  </a:cxn>
                  <a:cxn ang="0">
                    <a:pos x="126" y="102"/>
                  </a:cxn>
                  <a:cxn ang="0">
                    <a:pos x="126" y="106"/>
                  </a:cxn>
                  <a:cxn ang="0">
                    <a:pos x="116" y="116"/>
                  </a:cxn>
                  <a:cxn ang="0">
                    <a:pos x="113" y="119"/>
                  </a:cxn>
                  <a:cxn ang="0">
                    <a:pos x="94" y="134"/>
                  </a:cxn>
                  <a:cxn ang="0">
                    <a:pos x="80" y="151"/>
                  </a:cxn>
                  <a:cxn ang="0">
                    <a:pos x="87" y="170"/>
                  </a:cxn>
                  <a:cxn ang="0">
                    <a:pos x="93" y="185"/>
                  </a:cxn>
                  <a:cxn ang="0">
                    <a:pos x="90" y="193"/>
                  </a:cxn>
                  <a:cxn ang="0">
                    <a:pos x="85" y="202"/>
                  </a:cxn>
                  <a:cxn ang="0">
                    <a:pos x="97" y="218"/>
                  </a:cxn>
                  <a:cxn ang="0">
                    <a:pos x="106" y="249"/>
                  </a:cxn>
                  <a:cxn ang="0">
                    <a:pos x="97" y="260"/>
                  </a:cxn>
                  <a:cxn ang="0">
                    <a:pos x="94" y="251"/>
                  </a:cxn>
                  <a:cxn ang="0">
                    <a:pos x="93" y="247"/>
                  </a:cxn>
                  <a:cxn ang="0">
                    <a:pos x="87" y="221"/>
                  </a:cxn>
                  <a:cxn ang="0">
                    <a:pos x="78" y="182"/>
                  </a:cxn>
                  <a:cxn ang="0">
                    <a:pos x="66" y="176"/>
                  </a:cxn>
                  <a:cxn ang="0">
                    <a:pos x="45" y="192"/>
                  </a:cxn>
                  <a:cxn ang="0">
                    <a:pos x="40" y="190"/>
                  </a:cxn>
                  <a:cxn ang="0">
                    <a:pos x="32" y="189"/>
                  </a:cxn>
                  <a:cxn ang="0">
                    <a:pos x="29" y="187"/>
                  </a:cxn>
                </a:cxnLst>
                <a:rect l="0" t="0" r="r" b="b"/>
                <a:pathLst>
                  <a:path w="127" h="273">
                    <a:moveTo>
                      <a:pt x="29" y="183"/>
                    </a:moveTo>
                    <a:lnTo>
                      <a:pt x="33" y="171"/>
                    </a:lnTo>
                    <a:lnTo>
                      <a:pt x="32" y="158"/>
                    </a:lnTo>
                    <a:lnTo>
                      <a:pt x="30" y="156"/>
                    </a:lnTo>
                    <a:lnTo>
                      <a:pt x="30" y="154"/>
                    </a:lnTo>
                    <a:lnTo>
                      <a:pt x="24" y="142"/>
                    </a:lnTo>
                    <a:lnTo>
                      <a:pt x="23" y="145"/>
                    </a:lnTo>
                    <a:lnTo>
                      <a:pt x="20" y="144"/>
                    </a:lnTo>
                    <a:lnTo>
                      <a:pt x="19" y="141"/>
                    </a:lnTo>
                    <a:lnTo>
                      <a:pt x="20" y="138"/>
                    </a:lnTo>
                    <a:lnTo>
                      <a:pt x="23" y="140"/>
                    </a:lnTo>
                    <a:lnTo>
                      <a:pt x="21" y="138"/>
                    </a:lnTo>
                    <a:lnTo>
                      <a:pt x="20" y="137"/>
                    </a:lnTo>
                    <a:lnTo>
                      <a:pt x="20" y="135"/>
                    </a:lnTo>
                    <a:lnTo>
                      <a:pt x="20" y="134"/>
                    </a:lnTo>
                    <a:lnTo>
                      <a:pt x="10" y="128"/>
                    </a:lnTo>
                    <a:lnTo>
                      <a:pt x="10" y="125"/>
                    </a:lnTo>
                    <a:lnTo>
                      <a:pt x="7" y="125"/>
                    </a:lnTo>
                    <a:lnTo>
                      <a:pt x="5" y="122"/>
                    </a:lnTo>
                    <a:lnTo>
                      <a:pt x="5" y="124"/>
                    </a:lnTo>
                    <a:lnTo>
                      <a:pt x="4" y="122"/>
                    </a:lnTo>
                    <a:lnTo>
                      <a:pt x="0" y="116"/>
                    </a:lnTo>
                    <a:lnTo>
                      <a:pt x="1" y="109"/>
                    </a:lnTo>
                    <a:lnTo>
                      <a:pt x="3" y="108"/>
                    </a:lnTo>
                    <a:lnTo>
                      <a:pt x="5" y="109"/>
                    </a:lnTo>
                    <a:lnTo>
                      <a:pt x="4" y="100"/>
                    </a:lnTo>
                    <a:lnTo>
                      <a:pt x="5" y="100"/>
                    </a:lnTo>
                    <a:lnTo>
                      <a:pt x="5" y="99"/>
                    </a:lnTo>
                    <a:lnTo>
                      <a:pt x="7" y="99"/>
                    </a:lnTo>
                    <a:lnTo>
                      <a:pt x="10" y="99"/>
                    </a:lnTo>
                    <a:lnTo>
                      <a:pt x="11" y="99"/>
                    </a:lnTo>
                    <a:lnTo>
                      <a:pt x="13" y="97"/>
                    </a:lnTo>
                    <a:lnTo>
                      <a:pt x="13" y="96"/>
                    </a:lnTo>
                    <a:lnTo>
                      <a:pt x="11" y="94"/>
                    </a:lnTo>
                    <a:lnTo>
                      <a:pt x="11" y="93"/>
                    </a:lnTo>
                    <a:lnTo>
                      <a:pt x="11" y="86"/>
                    </a:lnTo>
                    <a:lnTo>
                      <a:pt x="14" y="86"/>
                    </a:lnTo>
                    <a:lnTo>
                      <a:pt x="16" y="84"/>
                    </a:lnTo>
                    <a:lnTo>
                      <a:pt x="16" y="73"/>
                    </a:lnTo>
                    <a:lnTo>
                      <a:pt x="17" y="70"/>
                    </a:lnTo>
                    <a:lnTo>
                      <a:pt x="21" y="70"/>
                    </a:lnTo>
                    <a:lnTo>
                      <a:pt x="26" y="70"/>
                    </a:lnTo>
                    <a:lnTo>
                      <a:pt x="27" y="68"/>
                    </a:lnTo>
                    <a:lnTo>
                      <a:pt x="35" y="51"/>
                    </a:lnTo>
                    <a:lnTo>
                      <a:pt x="35" y="49"/>
                    </a:lnTo>
                    <a:lnTo>
                      <a:pt x="36" y="47"/>
                    </a:lnTo>
                    <a:lnTo>
                      <a:pt x="40" y="44"/>
                    </a:lnTo>
                    <a:lnTo>
                      <a:pt x="42" y="41"/>
                    </a:lnTo>
                    <a:lnTo>
                      <a:pt x="42" y="33"/>
                    </a:lnTo>
                    <a:lnTo>
                      <a:pt x="43" y="29"/>
                    </a:lnTo>
                    <a:lnTo>
                      <a:pt x="46" y="26"/>
                    </a:lnTo>
                    <a:lnTo>
                      <a:pt x="51" y="25"/>
                    </a:lnTo>
                    <a:lnTo>
                      <a:pt x="55" y="19"/>
                    </a:lnTo>
                    <a:lnTo>
                      <a:pt x="61" y="17"/>
                    </a:lnTo>
                    <a:lnTo>
                      <a:pt x="64" y="16"/>
                    </a:lnTo>
                    <a:lnTo>
                      <a:pt x="68" y="17"/>
                    </a:lnTo>
                    <a:lnTo>
                      <a:pt x="68" y="16"/>
                    </a:lnTo>
                    <a:lnTo>
                      <a:pt x="68" y="13"/>
                    </a:lnTo>
                    <a:lnTo>
                      <a:pt x="69" y="9"/>
                    </a:lnTo>
                    <a:lnTo>
                      <a:pt x="71" y="7"/>
                    </a:lnTo>
                    <a:lnTo>
                      <a:pt x="74" y="6"/>
                    </a:lnTo>
                    <a:lnTo>
                      <a:pt x="74" y="3"/>
                    </a:lnTo>
                    <a:lnTo>
                      <a:pt x="75" y="1"/>
                    </a:lnTo>
                    <a:lnTo>
                      <a:pt x="77" y="0"/>
                    </a:lnTo>
                    <a:lnTo>
                      <a:pt x="77" y="0"/>
                    </a:lnTo>
                    <a:lnTo>
                      <a:pt x="81" y="1"/>
                    </a:lnTo>
                    <a:lnTo>
                      <a:pt x="84" y="6"/>
                    </a:lnTo>
                    <a:lnTo>
                      <a:pt x="84" y="10"/>
                    </a:lnTo>
                    <a:lnTo>
                      <a:pt x="85" y="12"/>
                    </a:lnTo>
                    <a:lnTo>
                      <a:pt x="90" y="13"/>
                    </a:lnTo>
                    <a:lnTo>
                      <a:pt x="91" y="36"/>
                    </a:lnTo>
                    <a:lnTo>
                      <a:pt x="87" y="47"/>
                    </a:lnTo>
                    <a:lnTo>
                      <a:pt x="85" y="47"/>
                    </a:lnTo>
                    <a:lnTo>
                      <a:pt x="84" y="49"/>
                    </a:lnTo>
                    <a:lnTo>
                      <a:pt x="81" y="52"/>
                    </a:lnTo>
                    <a:lnTo>
                      <a:pt x="78" y="61"/>
                    </a:lnTo>
                    <a:lnTo>
                      <a:pt x="80" y="64"/>
                    </a:lnTo>
                    <a:lnTo>
                      <a:pt x="80" y="67"/>
                    </a:lnTo>
                    <a:lnTo>
                      <a:pt x="77" y="71"/>
                    </a:lnTo>
                    <a:lnTo>
                      <a:pt x="78" y="73"/>
                    </a:lnTo>
                    <a:lnTo>
                      <a:pt x="84" y="67"/>
                    </a:lnTo>
                    <a:lnTo>
                      <a:pt x="94" y="67"/>
                    </a:lnTo>
                    <a:lnTo>
                      <a:pt x="94" y="70"/>
                    </a:lnTo>
                    <a:lnTo>
                      <a:pt x="96" y="74"/>
                    </a:lnTo>
                    <a:lnTo>
                      <a:pt x="96" y="78"/>
                    </a:lnTo>
                    <a:lnTo>
                      <a:pt x="103" y="84"/>
                    </a:lnTo>
                    <a:lnTo>
                      <a:pt x="100" y="96"/>
                    </a:lnTo>
                    <a:lnTo>
                      <a:pt x="109" y="97"/>
                    </a:lnTo>
                    <a:lnTo>
                      <a:pt x="110" y="100"/>
                    </a:lnTo>
                    <a:lnTo>
                      <a:pt x="114" y="105"/>
                    </a:lnTo>
                    <a:lnTo>
                      <a:pt x="120" y="105"/>
                    </a:lnTo>
                    <a:lnTo>
                      <a:pt x="123" y="102"/>
                    </a:lnTo>
                    <a:lnTo>
                      <a:pt x="126" y="102"/>
                    </a:lnTo>
                    <a:lnTo>
                      <a:pt x="127" y="103"/>
                    </a:lnTo>
                    <a:lnTo>
                      <a:pt x="126" y="105"/>
                    </a:lnTo>
                    <a:lnTo>
                      <a:pt x="126" y="106"/>
                    </a:lnTo>
                    <a:lnTo>
                      <a:pt x="119" y="112"/>
                    </a:lnTo>
                    <a:lnTo>
                      <a:pt x="119" y="115"/>
                    </a:lnTo>
                    <a:lnTo>
                      <a:pt x="116" y="116"/>
                    </a:lnTo>
                    <a:lnTo>
                      <a:pt x="114" y="116"/>
                    </a:lnTo>
                    <a:lnTo>
                      <a:pt x="114" y="118"/>
                    </a:lnTo>
                    <a:lnTo>
                      <a:pt x="113" y="119"/>
                    </a:lnTo>
                    <a:lnTo>
                      <a:pt x="110" y="125"/>
                    </a:lnTo>
                    <a:lnTo>
                      <a:pt x="106" y="125"/>
                    </a:lnTo>
                    <a:lnTo>
                      <a:pt x="94" y="134"/>
                    </a:lnTo>
                    <a:lnTo>
                      <a:pt x="82" y="135"/>
                    </a:lnTo>
                    <a:lnTo>
                      <a:pt x="78" y="148"/>
                    </a:lnTo>
                    <a:lnTo>
                      <a:pt x="80" y="151"/>
                    </a:lnTo>
                    <a:lnTo>
                      <a:pt x="77" y="153"/>
                    </a:lnTo>
                    <a:lnTo>
                      <a:pt x="81" y="166"/>
                    </a:lnTo>
                    <a:lnTo>
                      <a:pt x="87" y="170"/>
                    </a:lnTo>
                    <a:lnTo>
                      <a:pt x="90" y="173"/>
                    </a:lnTo>
                    <a:lnTo>
                      <a:pt x="90" y="183"/>
                    </a:lnTo>
                    <a:lnTo>
                      <a:pt x="93" y="185"/>
                    </a:lnTo>
                    <a:lnTo>
                      <a:pt x="94" y="186"/>
                    </a:lnTo>
                    <a:lnTo>
                      <a:pt x="93" y="187"/>
                    </a:lnTo>
                    <a:lnTo>
                      <a:pt x="90" y="193"/>
                    </a:lnTo>
                    <a:lnTo>
                      <a:pt x="90" y="196"/>
                    </a:lnTo>
                    <a:lnTo>
                      <a:pt x="87" y="201"/>
                    </a:lnTo>
                    <a:lnTo>
                      <a:pt x="85" y="202"/>
                    </a:lnTo>
                    <a:lnTo>
                      <a:pt x="85" y="205"/>
                    </a:lnTo>
                    <a:lnTo>
                      <a:pt x="87" y="209"/>
                    </a:lnTo>
                    <a:lnTo>
                      <a:pt x="97" y="218"/>
                    </a:lnTo>
                    <a:lnTo>
                      <a:pt x="100" y="235"/>
                    </a:lnTo>
                    <a:lnTo>
                      <a:pt x="100" y="235"/>
                    </a:lnTo>
                    <a:lnTo>
                      <a:pt x="106" y="249"/>
                    </a:lnTo>
                    <a:lnTo>
                      <a:pt x="106" y="250"/>
                    </a:lnTo>
                    <a:lnTo>
                      <a:pt x="100" y="259"/>
                    </a:lnTo>
                    <a:lnTo>
                      <a:pt x="97" y="260"/>
                    </a:lnTo>
                    <a:lnTo>
                      <a:pt x="93" y="273"/>
                    </a:lnTo>
                    <a:lnTo>
                      <a:pt x="90" y="272"/>
                    </a:lnTo>
                    <a:lnTo>
                      <a:pt x="94" y="251"/>
                    </a:lnTo>
                    <a:lnTo>
                      <a:pt x="90" y="249"/>
                    </a:lnTo>
                    <a:lnTo>
                      <a:pt x="90" y="246"/>
                    </a:lnTo>
                    <a:lnTo>
                      <a:pt x="93" y="247"/>
                    </a:lnTo>
                    <a:lnTo>
                      <a:pt x="91" y="244"/>
                    </a:lnTo>
                    <a:lnTo>
                      <a:pt x="93" y="240"/>
                    </a:lnTo>
                    <a:lnTo>
                      <a:pt x="87" y="221"/>
                    </a:lnTo>
                    <a:lnTo>
                      <a:pt x="85" y="222"/>
                    </a:lnTo>
                    <a:lnTo>
                      <a:pt x="85" y="224"/>
                    </a:lnTo>
                    <a:lnTo>
                      <a:pt x="78" y="182"/>
                    </a:lnTo>
                    <a:lnTo>
                      <a:pt x="75" y="180"/>
                    </a:lnTo>
                    <a:lnTo>
                      <a:pt x="68" y="174"/>
                    </a:lnTo>
                    <a:lnTo>
                      <a:pt x="66" y="176"/>
                    </a:lnTo>
                    <a:lnTo>
                      <a:pt x="64" y="167"/>
                    </a:lnTo>
                    <a:lnTo>
                      <a:pt x="62" y="179"/>
                    </a:lnTo>
                    <a:lnTo>
                      <a:pt x="45" y="192"/>
                    </a:lnTo>
                    <a:lnTo>
                      <a:pt x="43" y="190"/>
                    </a:lnTo>
                    <a:lnTo>
                      <a:pt x="42" y="192"/>
                    </a:lnTo>
                    <a:lnTo>
                      <a:pt x="40" y="190"/>
                    </a:lnTo>
                    <a:lnTo>
                      <a:pt x="37" y="192"/>
                    </a:lnTo>
                    <a:lnTo>
                      <a:pt x="33" y="190"/>
                    </a:lnTo>
                    <a:lnTo>
                      <a:pt x="32" y="189"/>
                    </a:lnTo>
                    <a:lnTo>
                      <a:pt x="33" y="186"/>
                    </a:lnTo>
                    <a:lnTo>
                      <a:pt x="30" y="189"/>
                    </a:lnTo>
                    <a:lnTo>
                      <a:pt x="29" y="187"/>
                    </a:lnTo>
                    <a:lnTo>
                      <a:pt x="29" y="18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96" name="Freeform 719"/>
              <p:cNvSpPr>
                <a:spLocks/>
              </p:cNvSpPr>
              <p:nvPr/>
            </p:nvSpPr>
            <p:spPr bwMode="auto">
              <a:xfrm>
                <a:off x="7454104" y="3056587"/>
                <a:ext cx="69346" cy="62876"/>
              </a:xfrm>
              <a:custGeom>
                <a:avLst/>
                <a:gdLst/>
                <a:ahLst/>
                <a:cxnLst>
                  <a:cxn ang="0">
                    <a:pos x="29" y="61"/>
                  </a:cxn>
                  <a:cxn ang="0">
                    <a:pos x="28" y="59"/>
                  </a:cxn>
                  <a:cxn ang="0">
                    <a:pos x="21" y="59"/>
                  </a:cxn>
                  <a:cxn ang="0">
                    <a:pos x="18" y="56"/>
                  </a:cxn>
                  <a:cxn ang="0">
                    <a:pos x="19" y="52"/>
                  </a:cxn>
                  <a:cxn ang="0">
                    <a:pos x="16" y="52"/>
                  </a:cxn>
                  <a:cxn ang="0">
                    <a:pos x="13" y="55"/>
                  </a:cxn>
                  <a:cxn ang="0">
                    <a:pos x="11" y="48"/>
                  </a:cxn>
                  <a:cxn ang="0">
                    <a:pos x="12" y="48"/>
                  </a:cxn>
                  <a:cxn ang="0">
                    <a:pos x="9" y="43"/>
                  </a:cxn>
                  <a:cxn ang="0">
                    <a:pos x="9" y="41"/>
                  </a:cxn>
                  <a:cxn ang="0">
                    <a:pos x="3" y="30"/>
                  </a:cxn>
                  <a:cxn ang="0">
                    <a:pos x="0" y="17"/>
                  </a:cxn>
                  <a:cxn ang="0">
                    <a:pos x="3" y="13"/>
                  </a:cxn>
                  <a:cxn ang="0">
                    <a:pos x="11" y="6"/>
                  </a:cxn>
                  <a:cxn ang="0">
                    <a:pos x="37" y="4"/>
                  </a:cxn>
                  <a:cxn ang="0">
                    <a:pos x="41" y="6"/>
                  </a:cxn>
                  <a:cxn ang="0">
                    <a:pos x="51" y="10"/>
                  </a:cxn>
                  <a:cxn ang="0">
                    <a:pos x="54" y="6"/>
                  </a:cxn>
                  <a:cxn ang="0">
                    <a:pos x="63" y="3"/>
                  </a:cxn>
                  <a:cxn ang="0">
                    <a:pos x="67" y="4"/>
                  </a:cxn>
                  <a:cxn ang="0">
                    <a:pos x="73" y="1"/>
                  </a:cxn>
                  <a:cxn ang="0">
                    <a:pos x="73" y="13"/>
                  </a:cxn>
                  <a:cxn ang="0">
                    <a:pos x="74" y="33"/>
                  </a:cxn>
                  <a:cxn ang="0">
                    <a:pos x="70" y="35"/>
                  </a:cxn>
                  <a:cxn ang="0">
                    <a:pos x="64" y="38"/>
                  </a:cxn>
                  <a:cxn ang="0">
                    <a:pos x="59" y="42"/>
                  </a:cxn>
                  <a:cxn ang="0">
                    <a:pos x="51" y="48"/>
                  </a:cxn>
                  <a:cxn ang="0">
                    <a:pos x="48" y="54"/>
                  </a:cxn>
                  <a:cxn ang="0">
                    <a:pos x="43" y="56"/>
                  </a:cxn>
                  <a:cxn ang="0">
                    <a:pos x="38" y="55"/>
                  </a:cxn>
                  <a:cxn ang="0">
                    <a:pos x="37" y="59"/>
                  </a:cxn>
                </a:cxnLst>
                <a:rect l="0" t="0" r="r" b="b"/>
                <a:pathLst>
                  <a:path w="76" h="61">
                    <a:moveTo>
                      <a:pt x="31" y="61"/>
                    </a:moveTo>
                    <a:lnTo>
                      <a:pt x="29" y="61"/>
                    </a:lnTo>
                    <a:lnTo>
                      <a:pt x="29" y="59"/>
                    </a:lnTo>
                    <a:lnTo>
                      <a:pt x="28" y="59"/>
                    </a:lnTo>
                    <a:lnTo>
                      <a:pt x="24" y="59"/>
                    </a:lnTo>
                    <a:lnTo>
                      <a:pt x="21" y="59"/>
                    </a:lnTo>
                    <a:lnTo>
                      <a:pt x="18" y="59"/>
                    </a:lnTo>
                    <a:lnTo>
                      <a:pt x="18" y="56"/>
                    </a:lnTo>
                    <a:lnTo>
                      <a:pt x="19" y="55"/>
                    </a:lnTo>
                    <a:lnTo>
                      <a:pt x="19" y="52"/>
                    </a:lnTo>
                    <a:lnTo>
                      <a:pt x="18" y="52"/>
                    </a:lnTo>
                    <a:lnTo>
                      <a:pt x="16" y="52"/>
                    </a:lnTo>
                    <a:lnTo>
                      <a:pt x="15" y="55"/>
                    </a:lnTo>
                    <a:lnTo>
                      <a:pt x="13" y="55"/>
                    </a:lnTo>
                    <a:lnTo>
                      <a:pt x="11" y="48"/>
                    </a:lnTo>
                    <a:lnTo>
                      <a:pt x="11" y="48"/>
                    </a:lnTo>
                    <a:lnTo>
                      <a:pt x="12" y="48"/>
                    </a:lnTo>
                    <a:lnTo>
                      <a:pt x="12" y="48"/>
                    </a:lnTo>
                    <a:lnTo>
                      <a:pt x="9" y="45"/>
                    </a:lnTo>
                    <a:lnTo>
                      <a:pt x="9" y="43"/>
                    </a:lnTo>
                    <a:lnTo>
                      <a:pt x="9" y="42"/>
                    </a:lnTo>
                    <a:lnTo>
                      <a:pt x="9" y="41"/>
                    </a:lnTo>
                    <a:lnTo>
                      <a:pt x="6" y="33"/>
                    </a:lnTo>
                    <a:lnTo>
                      <a:pt x="3" y="30"/>
                    </a:lnTo>
                    <a:lnTo>
                      <a:pt x="0" y="22"/>
                    </a:lnTo>
                    <a:lnTo>
                      <a:pt x="0" y="17"/>
                    </a:lnTo>
                    <a:lnTo>
                      <a:pt x="2" y="16"/>
                    </a:lnTo>
                    <a:lnTo>
                      <a:pt x="3" y="13"/>
                    </a:lnTo>
                    <a:lnTo>
                      <a:pt x="6" y="11"/>
                    </a:lnTo>
                    <a:lnTo>
                      <a:pt x="11" y="6"/>
                    </a:lnTo>
                    <a:lnTo>
                      <a:pt x="13" y="4"/>
                    </a:lnTo>
                    <a:lnTo>
                      <a:pt x="37" y="4"/>
                    </a:lnTo>
                    <a:lnTo>
                      <a:pt x="40" y="7"/>
                    </a:lnTo>
                    <a:lnTo>
                      <a:pt x="41" y="6"/>
                    </a:lnTo>
                    <a:lnTo>
                      <a:pt x="44" y="9"/>
                    </a:lnTo>
                    <a:lnTo>
                      <a:pt x="51" y="10"/>
                    </a:lnTo>
                    <a:lnTo>
                      <a:pt x="54" y="10"/>
                    </a:lnTo>
                    <a:lnTo>
                      <a:pt x="54" y="6"/>
                    </a:lnTo>
                    <a:lnTo>
                      <a:pt x="60" y="3"/>
                    </a:lnTo>
                    <a:lnTo>
                      <a:pt x="63" y="3"/>
                    </a:lnTo>
                    <a:lnTo>
                      <a:pt x="64" y="4"/>
                    </a:lnTo>
                    <a:lnTo>
                      <a:pt x="67" y="4"/>
                    </a:lnTo>
                    <a:lnTo>
                      <a:pt x="70" y="3"/>
                    </a:lnTo>
                    <a:lnTo>
                      <a:pt x="73" y="1"/>
                    </a:lnTo>
                    <a:lnTo>
                      <a:pt x="73" y="0"/>
                    </a:lnTo>
                    <a:lnTo>
                      <a:pt x="73" y="13"/>
                    </a:lnTo>
                    <a:lnTo>
                      <a:pt x="76" y="17"/>
                    </a:lnTo>
                    <a:lnTo>
                      <a:pt x="74" y="33"/>
                    </a:lnTo>
                    <a:lnTo>
                      <a:pt x="73" y="35"/>
                    </a:lnTo>
                    <a:lnTo>
                      <a:pt x="70" y="35"/>
                    </a:lnTo>
                    <a:lnTo>
                      <a:pt x="66" y="38"/>
                    </a:lnTo>
                    <a:lnTo>
                      <a:pt x="64" y="38"/>
                    </a:lnTo>
                    <a:lnTo>
                      <a:pt x="59" y="41"/>
                    </a:lnTo>
                    <a:lnTo>
                      <a:pt x="59" y="42"/>
                    </a:lnTo>
                    <a:lnTo>
                      <a:pt x="51" y="43"/>
                    </a:lnTo>
                    <a:lnTo>
                      <a:pt x="51" y="48"/>
                    </a:lnTo>
                    <a:lnTo>
                      <a:pt x="51" y="52"/>
                    </a:lnTo>
                    <a:lnTo>
                      <a:pt x="48" y="54"/>
                    </a:lnTo>
                    <a:lnTo>
                      <a:pt x="45" y="55"/>
                    </a:lnTo>
                    <a:lnTo>
                      <a:pt x="43" y="56"/>
                    </a:lnTo>
                    <a:lnTo>
                      <a:pt x="40" y="55"/>
                    </a:lnTo>
                    <a:lnTo>
                      <a:pt x="38" y="55"/>
                    </a:lnTo>
                    <a:lnTo>
                      <a:pt x="38" y="58"/>
                    </a:lnTo>
                    <a:lnTo>
                      <a:pt x="37" y="59"/>
                    </a:lnTo>
                    <a:lnTo>
                      <a:pt x="31" y="6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97" name="Freeform 720"/>
              <p:cNvSpPr>
                <a:spLocks/>
              </p:cNvSpPr>
              <p:nvPr/>
            </p:nvSpPr>
            <p:spPr bwMode="auto">
              <a:xfrm>
                <a:off x="7454104" y="3056587"/>
                <a:ext cx="69346" cy="62876"/>
              </a:xfrm>
              <a:custGeom>
                <a:avLst/>
                <a:gdLst/>
                <a:ahLst/>
                <a:cxnLst>
                  <a:cxn ang="0">
                    <a:pos x="29" y="61"/>
                  </a:cxn>
                  <a:cxn ang="0">
                    <a:pos x="28" y="59"/>
                  </a:cxn>
                  <a:cxn ang="0">
                    <a:pos x="21" y="59"/>
                  </a:cxn>
                  <a:cxn ang="0">
                    <a:pos x="18" y="56"/>
                  </a:cxn>
                  <a:cxn ang="0">
                    <a:pos x="19" y="52"/>
                  </a:cxn>
                  <a:cxn ang="0">
                    <a:pos x="16" y="52"/>
                  </a:cxn>
                  <a:cxn ang="0">
                    <a:pos x="13" y="55"/>
                  </a:cxn>
                  <a:cxn ang="0">
                    <a:pos x="11" y="48"/>
                  </a:cxn>
                  <a:cxn ang="0">
                    <a:pos x="12" y="48"/>
                  </a:cxn>
                  <a:cxn ang="0">
                    <a:pos x="9" y="43"/>
                  </a:cxn>
                  <a:cxn ang="0">
                    <a:pos x="9" y="41"/>
                  </a:cxn>
                  <a:cxn ang="0">
                    <a:pos x="3" y="30"/>
                  </a:cxn>
                  <a:cxn ang="0">
                    <a:pos x="0" y="17"/>
                  </a:cxn>
                  <a:cxn ang="0">
                    <a:pos x="3" y="13"/>
                  </a:cxn>
                  <a:cxn ang="0">
                    <a:pos x="11" y="6"/>
                  </a:cxn>
                  <a:cxn ang="0">
                    <a:pos x="37" y="4"/>
                  </a:cxn>
                  <a:cxn ang="0">
                    <a:pos x="41" y="6"/>
                  </a:cxn>
                  <a:cxn ang="0">
                    <a:pos x="51" y="10"/>
                  </a:cxn>
                  <a:cxn ang="0">
                    <a:pos x="54" y="6"/>
                  </a:cxn>
                  <a:cxn ang="0">
                    <a:pos x="63" y="3"/>
                  </a:cxn>
                  <a:cxn ang="0">
                    <a:pos x="67" y="4"/>
                  </a:cxn>
                  <a:cxn ang="0">
                    <a:pos x="73" y="1"/>
                  </a:cxn>
                  <a:cxn ang="0">
                    <a:pos x="73" y="13"/>
                  </a:cxn>
                  <a:cxn ang="0">
                    <a:pos x="74" y="33"/>
                  </a:cxn>
                  <a:cxn ang="0">
                    <a:pos x="70" y="35"/>
                  </a:cxn>
                  <a:cxn ang="0">
                    <a:pos x="64" y="38"/>
                  </a:cxn>
                  <a:cxn ang="0">
                    <a:pos x="59" y="42"/>
                  </a:cxn>
                  <a:cxn ang="0">
                    <a:pos x="51" y="48"/>
                  </a:cxn>
                  <a:cxn ang="0">
                    <a:pos x="48" y="54"/>
                  </a:cxn>
                  <a:cxn ang="0">
                    <a:pos x="43" y="56"/>
                  </a:cxn>
                  <a:cxn ang="0">
                    <a:pos x="38" y="55"/>
                  </a:cxn>
                  <a:cxn ang="0">
                    <a:pos x="37" y="59"/>
                  </a:cxn>
                </a:cxnLst>
                <a:rect l="0" t="0" r="r" b="b"/>
                <a:pathLst>
                  <a:path w="76" h="61">
                    <a:moveTo>
                      <a:pt x="31" y="61"/>
                    </a:moveTo>
                    <a:lnTo>
                      <a:pt x="29" y="61"/>
                    </a:lnTo>
                    <a:lnTo>
                      <a:pt x="29" y="59"/>
                    </a:lnTo>
                    <a:lnTo>
                      <a:pt x="28" y="59"/>
                    </a:lnTo>
                    <a:lnTo>
                      <a:pt x="24" y="59"/>
                    </a:lnTo>
                    <a:lnTo>
                      <a:pt x="21" y="59"/>
                    </a:lnTo>
                    <a:lnTo>
                      <a:pt x="18" y="59"/>
                    </a:lnTo>
                    <a:lnTo>
                      <a:pt x="18" y="56"/>
                    </a:lnTo>
                    <a:lnTo>
                      <a:pt x="19" y="55"/>
                    </a:lnTo>
                    <a:lnTo>
                      <a:pt x="19" y="52"/>
                    </a:lnTo>
                    <a:lnTo>
                      <a:pt x="18" y="52"/>
                    </a:lnTo>
                    <a:lnTo>
                      <a:pt x="16" y="52"/>
                    </a:lnTo>
                    <a:lnTo>
                      <a:pt x="15" y="55"/>
                    </a:lnTo>
                    <a:lnTo>
                      <a:pt x="13" y="55"/>
                    </a:lnTo>
                    <a:lnTo>
                      <a:pt x="11" y="48"/>
                    </a:lnTo>
                    <a:lnTo>
                      <a:pt x="11" y="48"/>
                    </a:lnTo>
                    <a:lnTo>
                      <a:pt x="12" y="48"/>
                    </a:lnTo>
                    <a:lnTo>
                      <a:pt x="12" y="48"/>
                    </a:lnTo>
                    <a:lnTo>
                      <a:pt x="9" y="45"/>
                    </a:lnTo>
                    <a:lnTo>
                      <a:pt x="9" y="43"/>
                    </a:lnTo>
                    <a:lnTo>
                      <a:pt x="9" y="42"/>
                    </a:lnTo>
                    <a:lnTo>
                      <a:pt x="9" y="41"/>
                    </a:lnTo>
                    <a:lnTo>
                      <a:pt x="6" y="33"/>
                    </a:lnTo>
                    <a:lnTo>
                      <a:pt x="3" y="30"/>
                    </a:lnTo>
                    <a:lnTo>
                      <a:pt x="0" y="22"/>
                    </a:lnTo>
                    <a:lnTo>
                      <a:pt x="0" y="17"/>
                    </a:lnTo>
                    <a:lnTo>
                      <a:pt x="2" y="16"/>
                    </a:lnTo>
                    <a:lnTo>
                      <a:pt x="3" y="13"/>
                    </a:lnTo>
                    <a:lnTo>
                      <a:pt x="6" y="11"/>
                    </a:lnTo>
                    <a:lnTo>
                      <a:pt x="11" y="6"/>
                    </a:lnTo>
                    <a:lnTo>
                      <a:pt x="13" y="4"/>
                    </a:lnTo>
                    <a:lnTo>
                      <a:pt x="37" y="4"/>
                    </a:lnTo>
                    <a:lnTo>
                      <a:pt x="40" y="7"/>
                    </a:lnTo>
                    <a:lnTo>
                      <a:pt x="41" y="6"/>
                    </a:lnTo>
                    <a:lnTo>
                      <a:pt x="44" y="9"/>
                    </a:lnTo>
                    <a:lnTo>
                      <a:pt x="51" y="10"/>
                    </a:lnTo>
                    <a:lnTo>
                      <a:pt x="54" y="10"/>
                    </a:lnTo>
                    <a:lnTo>
                      <a:pt x="54" y="6"/>
                    </a:lnTo>
                    <a:lnTo>
                      <a:pt x="60" y="3"/>
                    </a:lnTo>
                    <a:lnTo>
                      <a:pt x="63" y="3"/>
                    </a:lnTo>
                    <a:lnTo>
                      <a:pt x="64" y="4"/>
                    </a:lnTo>
                    <a:lnTo>
                      <a:pt x="67" y="4"/>
                    </a:lnTo>
                    <a:lnTo>
                      <a:pt x="70" y="3"/>
                    </a:lnTo>
                    <a:lnTo>
                      <a:pt x="73" y="1"/>
                    </a:lnTo>
                    <a:lnTo>
                      <a:pt x="73" y="0"/>
                    </a:lnTo>
                    <a:lnTo>
                      <a:pt x="73" y="13"/>
                    </a:lnTo>
                    <a:lnTo>
                      <a:pt x="76" y="17"/>
                    </a:lnTo>
                    <a:lnTo>
                      <a:pt x="74" y="33"/>
                    </a:lnTo>
                    <a:lnTo>
                      <a:pt x="73" y="35"/>
                    </a:lnTo>
                    <a:lnTo>
                      <a:pt x="70" y="35"/>
                    </a:lnTo>
                    <a:lnTo>
                      <a:pt x="66" y="38"/>
                    </a:lnTo>
                    <a:lnTo>
                      <a:pt x="64" y="38"/>
                    </a:lnTo>
                    <a:lnTo>
                      <a:pt x="59" y="41"/>
                    </a:lnTo>
                    <a:lnTo>
                      <a:pt x="59" y="42"/>
                    </a:lnTo>
                    <a:lnTo>
                      <a:pt x="51" y="43"/>
                    </a:lnTo>
                    <a:lnTo>
                      <a:pt x="51" y="48"/>
                    </a:lnTo>
                    <a:lnTo>
                      <a:pt x="51" y="52"/>
                    </a:lnTo>
                    <a:lnTo>
                      <a:pt x="48" y="54"/>
                    </a:lnTo>
                    <a:lnTo>
                      <a:pt x="45" y="55"/>
                    </a:lnTo>
                    <a:lnTo>
                      <a:pt x="43" y="56"/>
                    </a:lnTo>
                    <a:lnTo>
                      <a:pt x="40" y="55"/>
                    </a:lnTo>
                    <a:lnTo>
                      <a:pt x="38" y="55"/>
                    </a:lnTo>
                    <a:lnTo>
                      <a:pt x="38" y="58"/>
                    </a:lnTo>
                    <a:lnTo>
                      <a:pt x="37" y="59"/>
                    </a:lnTo>
                    <a:lnTo>
                      <a:pt x="31" y="6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98" name="Freeform 721"/>
              <p:cNvSpPr>
                <a:spLocks/>
              </p:cNvSpPr>
              <p:nvPr/>
            </p:nvSpPr>
            <p:spPr bwMode="auto">
              <a:xfrm>
                <a:off x="7605963" y="3199579"/>
                <a:ext cx="18434" cy="15211"/>
              </a:xfrm>
              <a:custGeom>
                <a:avLst/>
                <a:gdLst/>
                <a:ahLst/>
                <a:cxnLst>
                  <a:cxn ang="0">
                    <a:pos x="17" y="3"/>
                  </a:cxn>
                  <a:cxn ang="0">
                    <a:pos x="19" y="3"/>
                  </a:cxn>
                  <a:cxn ang="0">
                    <a:pos x="20" y="6"/>
                  </a:cxn>
                  <a:cxn ang="0">
                    <a:pos x="20" y="9"/>
                  </a:cxn>
                  <a:cxn ang="0">
                    <a:pos x="20" y="10"/>
                  </a:cxn>
                  <a:cxn ang="0">
                    <a:pos x="19" y="10"/>
                  </a:cxn>
                  <a:cxn ang="0">
                    <a:pos x="17" y="9"/>
                  </a:cxn>
                  <a:cxn ang="0">
                    <a:pos x="16" y="6"/>
                  </a:cxn>
                  <a:cxn ang="0">
                    <a:pos x="14" y="4"/>
                  </a:cxn>
                  <a:cxn ang="0">
                    <a:pos x="14" y="4"/>
                  </a:cxn>
                  <a:cxn ang="0">
                    <a:pos x="13" y="4"/>
                  </a:cxn>
                  <a:cxn ang="0">
                    <a:pos x="12" y="6"/>
                  </a:cxn>
                  <a:cxn ang="0">
                    <a:pos x="12" y="13"/>
                  </a:cxn>
                  <a:cxn ang="0">
                    <a:pos x="10" y="14"/>
                  </a:cxn>
                  <a:cxn ang="0">
                    <a:pos x="10" y="14"/>
                  </a:cxn>
                  <a:cxn ang="0">
                    <a:pos x="9" y="14"/>
                  </a:cxn>
                  <a:cxn ang="0">
                    <a:pos x="1" y="7"/>
                  </a:cxn>
                  <a:cxn ang="0">
                    <a:pos x="0" y="7"/>
                  </a:cxn>
                  <a:cxn ang="0">
                    <a:pos x="1" y="7"/>
                  </a:cxn>
                  <a:cxn ang="0">
                    <a:pos x="7" y="6"/>
                  </a:cxn>
                  <a:cxn ang="0">
                    <a:pos x="14" y="0"/>
                  </a:cxn>
                  <a:cxn ang="0">
                    <a:pos x="14" y="1"/>
                  </a:cxn>
                  <a:cxn ang="0">
                    <a:pos x="17" y="3"/>
                  </a:cxn>
                </a:cxnLst>
                <a:rect l="0" t="0" r="r" b="b"/>
                <a:pathLst>
                  <a:path w="20" h="14">
                    <a:moveTo>
                      <a:pt x="17" y="3"/>
                    </a:moveTo>
                    <a:lnTo>
                      <a:pt x="19" y="3"/>
                    </a:lnTo>
                    <a:lnTo>
                      <a:pt x="20" y="6"/>
                    </a:lnTo>
                    <a:lnTo>
                      <a:pt x="20" y="9"/>
                    </a:lnTo>
                    <a:lnTo>
                      <a:pt x="20" y="10"/>
                    </a:lnTo>
                    <a:lnTo>
                      <a:pt x="19" y="10"/>
                    </a:lnTo>
                    <a:lnTo>
                      <a:pt x="17" y="9"/>
                    </a:lnTo>
                    <a:lnTo>
                      <a:pt x="16" y="6"/>
                    </a:lnTo>
                    <a:lnTo>
                      <a:pt x="14" y="4"/>
                    </a:lnTo>
                    <a:lnTo>
                      <a:pt x="14" y="4"/>
                    </a:lnTo>
                    <a:lnTo>
                      <a:pt x="13" y="4"/>
                    </a:lnTo>
                    <a:lnTo>
                      <a:pt x="12" y="6"/>
                    </a:lnTo>
                    <a:lnTo>
                      <a:pt x="12" y="13"/>
                    </a:lnTo>
                    <a:lnTo>
                      <a:pt x="10" y="14"/>
                    </a:lnTo>
                    <a:lnTo>
                      <a:pt x="10" y="14"/>
                    </a:lnTo>
                    <a:lnTo>
                      <a:pt x="9" y="14"/>
                    </a:lnTo>
                    <a:lnTo>
                      <a:pt x="1" y="7"/>
                    </a:lnTo>
                    <a:lnTo>
                      <a:pt x="0" y="7"/>
                    </a:lnTo>
                    <a:lnTo>
                      <a:pt x="1" y="7"/>
                    </a:lnTo>
                    <a:lnTo>
                      <a:pt x="7" y="6"/>
                    </a:lnTo>
                    <a:lnTo>
                      <a:pt x="14" y="0"/>
                    </a:lnTo>
                    <a:lnTo>
                      <a:pt x="14" y="1"/>
                    </a:lnTo>
                    <a:lnTo>
                      <a:pt x="17" y="3"/>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99" name="Freeform 722"/>
              <p:cNvSpPr>
                <a:spLocks/>
              </p:cNvSpPr>
              <p:nvPr/>
            </p:nvSpPr>
            <p:spPr bwMode="auto">
              <a:xfrm>
                <a:off x="7605963" y="3199579"/>
                <a:ext cx="18434" cy="15211"/>
              </a:xfrm>
              <a:custGeom>
                <a:avLst/>
                <a:gdLst/>
                <a:ahLst/>
                <a:cxnLst>
                  <a:cxn ang="0">
                    <a:pos x="17" y="3"/>
                  </a:cxn>
                  <a:cxn ang="0">
                    <a:pos x="19" y="3"/>
                  </a:cxn>
                  <a:cxn ang="0">
                    <a:pos x="20" y="6"/>
                  </a:cxn>
                  <a:cxn ang="0">
                    <a:pos x="20" y="9"/>
                  </a:cxn>
                  <a:cxn ang="0">
                    <a:pos x="20" y="10"/>
                  </a:cxn>
                  <a:cxn ang="0">
                    <a:pos x="19" y="10"/>
                  </a:cxn>
                  <a:cxn ang="0">
                    <a:pos x="17" y="9"/>
                  </a:cxn>
                  <a:cxn ang="0">
                    <a:pos x="16" y="6"/>
                  </a:cxn>
                  <a:cxn ang="0">
                    <a:pos x="14" y="4"/>
                  </a:cxn>
                  <a:cxn ang="0">
                    <a:pos x="14" y="4"/>
                  </a:cxn>
                  <a:cxn ang="0">
                    <a:pos x="13" y="4"/>
                  </a:cxn>
                  <a:cxn ang="0">
                    <a:pos x="12" y="6"/>
                  </a:cxn>
                  <a:cxn ang="0">
                    <a:pos x="12" y="13"/>
                  </a:cxn>
                  <a:cxn ang="0">
                    <a:pos x="10" y="14"/>
                  </a:cxn>
                  <a:cxn ang="0">
                    <a:pos x="10" y="14"/>
                  </a:cxn>
                  <a:cxn ang="0">
                    <a:pos x="9" y="14"/>
                  </a:cxn>
                  <a:cxn ang="0">
                    <a:pos x="1" y="7"/>
                  </a:cxn>
                  <a:cxn ang="0">
                    <a:pos x="0" y="7"/>
                  </a:cxn>
                  <a:cxn ang="0">
                    <a:pos x="1" y="7"/>
                  </a:cxn>
                  <a:cxn ang="0">
                    <a:pos x="7" y="6"/>
                  </a:cxn>
                  <a:cxn ang="0">
                    <a:pos x="14" y="0"/>
                  </a:cxn>
                  <a:cxn ang="0">
                    <a:pos x="14" y="1"/>
                  </a:cxn>
                  <a:cxn ang="0">
                    <a:pos x="17" y="3"/>
                  </a:cxn>
                </a:cxnLst>
                <a:rect l="0" t="0" r="r" b="b"/>
                <a:pathLst>
                  <a:path w="20" h="14">
                    <a:moveTo>
                      <a:pt x="17" y="3"/>
                    </a:moveTo>
                    <a:lnTo>
                      <a:pt x="19" y="3"/>
                    </a:lnTo>
                    <a:lnTo>
                      <a:pt x="20" y="6"/>
                    </a:lnTo>
                    <a:lnTo>
                      <a:pt x="20" y="9"/>
                    </a:lnTo>
                    <a:lnTo>
                      <a:pt x="20" y="10"/>
                    </a:lnTo>
                    <a:lnTo>
                      <a:pt x="19" y="10"/>
                    </a:lnTo>
                    <a:lnTo>
                      <a:pt x="17" y="9"/>
                    </a:lnTo>
                    <a:lnTo>
                      <a:pt x="16" y="6"/>
                    </a:lnTo>
                    <a:lnTo>
                      <a:pt x="14" y="4"/>
                    </a:lnTo>
                    <a:lnTo>
                      <a:pt x="14" y="4"/>
                    </a:lnTo>
                    <a:lnTo>
                      <a:pt x="13" y="4"/>
                    </a:lnTo>
                    <a:lnTo>
                      <a:pt x="12" y="6"/>
                    </a:lnTo>
                    <a:lnTo>
                      <a:pt x="12" y="13"/>
                    </a:lnTo>
                    <a:lnTo>
                      <a:pt x="10" y="14"/>
                    </a:lnTo>
                    <a:lnTo>
                      <a:pt x="10" y="14"/>
                    </a:lnTo>
                    <a:lnTo>
                      <a:pt x="9" y="14"/>
                    </a:lnTo>
                    <a:lnTo>
                      <a:pt x="1" y="7"/>
                    </a:lnTo>
                    <a:lnTo>
                      <a:pt x="0" y="7"/>
                    </a:lnTo>
                    <a:lnTo>
                      <a:pt x="1" y="7"/>
                    </a:lnTo>
                    <a:lnTo>
                      <a:pt x="7" y="6"/>
                    </a:lnTo>
                    <a:lnTo>
                      <a:pt x="14" y="0"/>
                    </a:lnTo>
                    <a:lnTo>
                      <a:pt x="14" y="1"/>
                    </a:lnTo>
                    <a:lnTo>
                      <a:pt x="17" y="3"/>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00" name="Freeform 723"/>
              <p:cNvSpPr>
                <a:spLocks/>
              </p:cNvSpPr>
              <p:nvPr/>
            </p:nvSpPr>
            <p:spPr bwMode="auto">
              <a:xfrm>
                <a:off x="6506079" y="3289837"/>
                <a:ext cx="142204" cy="158205"/>
              </a:xfrm>
              <a:custGeom>
                <a:avLst/>
                <a:gdLst/>
                <a:ahLst/>
                <a:cxnLst>
                  <a:cxn ang="0">
                    <a:pos x="138" y="52"/>
                  </a:cxn>
                  <a:cxn ang="0">
                    <a:pos x="136" y="80"/>
                  </a:cxn>
                  <a:cxn ang="0">
                    <a:pos x="141" y="87"/>
                  </a:cxn>
                  <a:cxn ang="0">
                    <a:pos x="139" y="90"/>
                  </a:cxn>
                  <a:cxn ang="0">
                    <a:pos x="139" y="98"/>
                  </a:cxn>
                  <a:cxn ang="0">
                    <a:pos x="138" y="101"/>
                  </a:cxn>
                  <a:cxn ang="0">
                    <a:pos x="141" y="110"/>
                  </a:cxn>
                  <a:cxn ang="0">
                    <a:pos x="143" y="117"/>
                  </a:cxn>
                  <a:cxn ang="0">
                    <a:pos x="143" y="122"/>
                  </a:cxn>
                  <a:cxn ang="0">
                    <a:pos x="145" y="126"/>
                  </a:cxn>
                  <a:cxn ang="0">
                    <a:pos x="149" y="132"/>
                  </a:cxn>
                  <a:cxn ang="0">
                    <a:pos x="155" y="133"/>
                  </a:cxn>
                  <a:cxn ang="0">
                    <a:pos x="129" y="148"/>
                  </a:cxn>
                  <a:cxn ang="0">
                    <a:pos x="122" y="146"/>
                  </a:cxn>
                  <a:cxn ang="0">
                    <a:pos x="103" y="151"/>
                  </a:cxn>
                  <a:cxn ang="0">
                    <a:pos x="95" y="152"/>
                  </a:cxn>
                  <a:cxn ang="0">
                    <a:pos x="90" y="149"/>
                  </a:cxn>
                  <a:cxn ang="0">
                    <a:pos x="75" y="151"/>
                  </a:cxn>
                  <a:cxn ang="0">
                    <a:pos x="71" y="145"/>
                  </a:cxn>
                  <a:cxn ang="0">
                    <a:pos x="68" y="126"/>
                  </a:cxn>
                  <a:cxn ang="0">
                    <a:pos x="61" y="123"/>
                  </a:cxn>
                  <a:cxn ang="0">
                    <a:pos x="58" y="122"/>
                  </a:cxn>
                  <a:cxn ang="0">
                    <a:pos x="53" y="122"/>
                  </a:cxn>
                  <a:cxn ang="0">
                    <a:pos x="46" y="119"/>
                  </a:cxn>
                  <a:cxn ang="0">
                    <a:pos x="24" y="107"/>
                  </a:cxn>
                  <a:cxn ang="0">
                    <a:pos x="13" y="91"/>
                  </a:cxn>
                  <a:cxn ang="0">
                    <a:pos x="3" y="77"/>
                  </a:cxn>
                  <a:cxn ang="0">
                    <a:pos x="4" y="69"/>
                  </a:cxn>
                  <a:cxn ang="0">
                    <a:pos x="1" y="58"/>
                  </a:cxn>
                  <a:cxn ang="0">
                    <a:pos x="1" y="48"/>
                  </a:cxn>
                  <a:cxn ang="0">
                    <a:pos x="17" y="29"/>
                  </a:cxn>
                  <a:cxn ang="0">
                    <a:pos x="13" y="26"/>
                  </a:cxn>
                  <a:cxn ang="0">
                    <a:pos x="13" y="21"/>
                  </a:cxn>
                  <a:cxn ang="0">
                    <a:pos x="11" y="0"/>
                  </a:cxn>
                  <a:cxn ang="0">
                    <a:pos x="19" y="0"/>
                  </a:cxn>
                  <a:cxn ang="0">
                    <a:pos x="30" y="21"/>
                  </a:cxn>
                  <a:cxn ang="0">
                    <a:pos x="33" y="24"/>
                  </a:cxn>
                  <a:cxn ang="0">
                    <a:pos x="36" y="20"/>
                  </a:cxn>
                  <a:cxn ang="0">
                    <a:pos x="43" y="21"/>
                  </a:cxn>
                  <a:cxn ang="0">
                    <a:pos x="48" y="26"/>
                  </a:cxn>
                  <a:cxn ang="0">
                    <a:pos x="49" y="21"/>
                  </a:cxn>
                  <a:cxn ang="0">
                    <a:pos x="58" y="18"/>
                  </a:cxn>
                  <a:cxn ang="0">
                    <a:pos x="53" y="17"/>
                  </a:cxn>
                  <a:cxn ang="0">
                    <a:pos x="55" y="13"/>
                  </a:cxn>
                  <a:cxn ang="0">
                    <a:pos x="56" y="11"/>
                  </a:cxn>
                  <a:cxn ang="0">
                    <a:pos x="59" y="7"/>
                  </a:cxn>
                  <a:cxn ang="0">
                    <a:pos x="62" y="5"/>
                  </a:cxn>
                  <a:cxn ang="0">
                    <a:pos x="62" y="1"/>
                  </a:cxn>
                </a:cxnLst>
                <a:rect l="0" t="0" r="r" b="b"/>
                <a:pathLst>
                  <a:path w="155" h="152">
                    <a:moveTo>
                      <a:pt x="114" y="29"/>
                    </a:moveTo>
                    <a:lnTo>
                      <a:pt x="117" y="39"/>
                    </a:lnTo>
                    <a:lnTo>
                      <a:pt x="138" y="52"/>
                    </a:lnTo>
                    <a:lnTo>
                      <a:pt x="130" y="72"/>
                    </a:lnTo>
                    <a:lnTo>
                      <a:pt x="132" y="77"/>
                    </a:lnTo>
                    <a:lnTo>
                      <a:pt x="136" y="80"/>
                    </a:lnTo>
                    <a:lnTo>
                      <a:pt x="138" y="81"/>
                    </a:lnTo>
                    <a:lnTo>
                      <a:pt x="139" y="84"/>
                    </a:lnTo>
                    <a:lnTo>
                      <a:pt x="141" y="87"/>
                    </a:lnTo>
                    <a:lnTo>
                      <a:pt x="141" y="88"/>
                    </a:lnTo>
                    <a:lnTo>
                      <a:pt x="141" y="88"/>
                    </a:lnTo>
                    <a:lnTo>
                      <a:pt x="139" y="90"/>
                    </a:lnTo>
                    <a:lnTo>
                      <a:pt x="139" y="96"/>
                    </a:lnTo>
                    <a:lnTo>
                      <a:pt x="139" y="97"/>
                    </a:lnTo>
                    <a:lnTo>
                      <a:pt x="139" y="98"/>
                    </a:lnTo>
                    <a:lnTo>
                      <a:pt x="139" y="100"/>
                    </a:lnTo>
                    <a:lnTo>
                      <a:pt x="139" y="101"/>
                    </a:lnTo>
                    <a:lnTo>
                      <a:pt x="138" y="101"/>
                    </a:lnTo>
                    <a:lnTo>
                      <a:pt x="138" y="104"/>
                    </a:lnTo>
                    <a:lnTo>
                      <a:pt x="139" y="110"/>
                    </a:lnTo>
                    <a:lnTo>
                      <a:pt x="141" y="110"/>
                    </a:lnTo>
                    <a:lnTo>
                      <a:pt x="141" y="112"/>
                    </a:lnTo>
                    <a:lnTo>
                      <a:pt x="139" y="112"/>
                    </a:lnTo>
                    <a:lnTo>
                      <a:pt x="143" y="117"/>
                    </a:lnTo>
                    <a:lnTo>
                      <a:pt x="143" y="119"/>
                    </a:lnTo>
                    <a:lnTo>
                      <a:pt x="143" y="120"/>
                    </a:lnTo>
                    <a:lnTo>
                      <a:pt x="143" y="122"/>
                    </a:lnTo>
                    <a:lnTo>
                      <a:pt x="145" y="123"/>
                    </a:lnTo>
                    <a:lnTo>
                      <a:pt x="145" y="125"/>
                    </a:lnTo>
                    <a:lnTo>
                      <a:pt x="145" y="126"/>
                    </a:lnTo>
                    <a:lnTo>
                      <a:pt x="145" y="127"/>
                    </a:lnTo>
                    <a:lnTo>
                      <a:pt x="148" y="130"/>
                    </a:lnTo>
                    <a:lnTo>
                      <a:pt x="149" y="132"/>
                    </a:lnTo>
                    <a:lnTo>
                      <a:pt x="152" y="133"/>
                    </a:lnTo>
                    <a:lnTo>
                      <a:pt x="154" y="133"/>
                    </a:lnTo>
                    <a:lnTo>
                      <a:pt x="155" y="133"/>
                    </a:lnTo>
                    <a:lnTo>
                      <a:pt x="155" y="136"/>
                    </a:lnTo>
                    <a:lnTo>
                      <a:pt x="146" y="142"/>
                    </a:lnTo>
                    <a:lnTo>
                      <a:pt x="129" y="148"/>
                    </a:lnTo>
                    <a:lnTo>
                      <a:pt x="127" y="148"/>
                    </a:lnTo>
                    <a:lnTo>
                      <a:pt x="123" y="146"/>
                    </a:lnTo>
                    <a:lnTo>
                      <a:pt x="122" y="146"/>
                    </a:lnTo>
                    <a:lnTo>
                      <a:pt x="117" y="146"/>
                    </a:lnTo>
                    <a:lnTo>
                      <a:pt x="114" y="151"/>
                    </a:lnTo>
                    <a:lnTo>
                      <a:pt x="103" y="151"/>
                    </a:lnTo>
                    <a:lnTo>
                      <a:pt x="100" y="152"/>
                    </a:lnTo>
                    <a:lnTo>
                      <a:pt x="98" y="152"/>
                    </a:lnTo>
                    <a:lnTo>
                      <a:pt x="95" y="152"/>
                    </a:lnTo>
                    <a:lnTo>
                      <a:pt x="95" y="152"/>
                    </a:lnTo>
                    <a:lnTo>
                      <a:pt x="93" y="149"/>
                    </a:lnTo>
                    <a:lnTo>
                      <a:pt x="90" y="149"/>
                    </a:lnTo>
                    <a:lnTo>
                      <a:pt x="88" y="149"/>
                    </a:lnTo>
                    <a:lnTo>
                      <a:pt x="87" y="151"/>
                    </a:lnTo>
                    <a:lnTo>
                      <a:pt x="75" y="151"/>
                    </a:lnTo>
                    <a:lnTo>
                      <a:pt x="75" y="149"/>
                    </a:lnTo>
                    <a:lnTo>
                      <a:pt x="74" y="148"/>
                    </a:lnTo>
                    <a:lnTo>
                      <a:pt x="71" y="145"/>
                    </a:lnTo>
                    <a:lnTo>
                      <a:pt x="71" y="143"/>
                    </a:lnTo>
                    <a:lnTo>
                      <a:pt x="71" y="139"/>
                    </a:lnTo>
                    <a:lnTo>
                      <a:pt x="68" y="126"/>
                    </a:lnTo>
                    <a:lnTo>
                      <a:pt x="65" y="123"/>
                    </a:lnTo>
                    <a:lnTo>
                      <a:pt x="61" y="122"/>
                    </a:lnTo>
                    <a:lnTo>
                      <a:pt x="61" y="123"/>
                    </a:lnTo>
                    <a:lnTo>
                      <a:pt x="59" y="122"/>
                    </a:lnTo>
                    <a:lnTo>
                      <a:pt x="58" y="122"/>
                    </a:lnTo>
                    <a:lnTo>
                      <a:pt x="58" y="122"/>
                    </a:lnTo>
                    <a:lnTo>
                      <a:pt x="55" y="123"/>
                    </a:lnTo>
                    <a:lnTo>
                      <a:pt x="53" y="123"/>
                    </a:lnTo>
                    <a:lnTo>
                      <a:pt x="53" y="122"/>
                    </a:lnTo>
                    <a:lnTo>
                      <a:pt x="50" y="122"/>
                    </a:lnTo>
                    <a:lnTo>
                      <a:pt x="48" y="120"/>
                    </a:lnTo>
                    <a:lnTo>
                      <a:pt x="46" y="119"/>
                    </a:lnTo>
                    <a:lnTo>
                      <a:pt x="46" y="117"/>
                    </a:lnTo>
                    <a:lnTo>
                      <a:pt x="30" y="113"/>
                    </a:lnTo>
                    <a:lnTo>
                      <a:pt x="24" y="107"/>
                    </a:lnTo>
                    <a:lnTo>
                      <a:pt x="23" y="107"/>
                    </a:lnTo>
                    <a:lnTo>
                      <a:pt x="21" y="107"/>
                    </a:lnTo>
                    <a:lnTo>
                      <a:pt x="13" y="91"/>
                    </a:lnTo>
                    <a:lnTo>
                      <a:pt x="13" y="85"/>
                    </a:lnTo>
                    <a:lnTo>
                      <a:pt x="8" y="80"/>
                    </a:lnTo>
                    <a:lnTo>
                      <a:pt x="3" y="77"/>
                    </a:lnTo>
                    <a:lnTo>
                      <a:pt x="1" y="74"/>
                    </a:lnTo>
                    <a:lnTo>
                      <a:pt x="3" y="71"/>
                    </a:lnTo>
                    <a:lnTo>
                      <a:pt x="4" y="69"/>
                    </a:lnTo>
                    <a:lnTo>
                      <a:pt x="3" y="64"/>
                    </a:lnTo>
                    <a:lnTo>
                      <a:pt x="3" y="59"/>
                    </a:lnTo>
                    <a:lnTo>
                      <a:pt x="1" y="58"/>
                    </a:lnTo>
                    <a:lnTo>
                      <a:pt x="0" y="56"/>
                    </a:lnTo>
                    <a:lnTo>
                      <a:pt x="0" y="48"/>
                    </a:lnTo>
                    <a:lnTo>
                      <a:pt x="1" y="48"/>
                    </a:lnTo>
                    <a:lnTo>
                      <a:pt x="7" y="46"/>
                    </a:lnTo>
                    <a:lnTo>
                      <a:pt x="17" y="30"/>
                    </a:lnTo>
                    <a:lnTo>
                      <a:pt x="17" y="29"/>
                    </a:lnTo>
                    <a:lnTo>
                      <a:pt x="16" y="27"/>
                    </a:lnTo>
                    <a:lnTo>
                      <a:pt x="14" y="26"/>
                    </a:lnTo>
                    <a:lnTo>
                      <a:pt x="13" y="26"/>
                    </a:lnTo>
                    <a:lnTo>
                      <a:pt x="13" y="24"/>
                    </a:lnTo>
                    <a:lnTo>
                      <a:pt x="13" y="23"/>
                    </a:lnTo>
                    <a:lnTo>
                      <a:pt x="13" y="21"/>
                    </a:lnTo>
                    <a:lnTo>
                      <a:pt x="17" y="16"/>
                    </a:lnTo>
                    <a:lnTo>
                      <a:pt x="17" y="13"/>
                    </a:lnTo>
                    <a:lnTo>
                      <a:pt x="11" y="0"/>
                    </a:lnTo>
                    <a:lnTo>
                      <a:pt x="17" y="1"/>
                    </a:lnTo>
                    <a:lnTo>
                      <a:pt x="19" y="0"/>
                    </a:lnTo>
                    <a:lnTo>
                      <a:pt x="19" y="0"/>
                    </a:lnTo>
                    <a:lnTo>
                      <a:pt x="30" y="0"/>
                    </a:lnTo>
                    <a:lnTo>
                      <a:pt x="29" y="16"/>
                    </a:lnTo>
                    <a:lnTo>
                      <a:pt x="30" y="21"/>
                    </a:lnTo>
                    <a:lnTo>
                      <a:pt x="30" y="23"/>
                    </a:lnTo>
                    <a:lnTo>
                      <a:pt x="32" y="24"/>
                    </a:lnTo>
                    <a:lnTo>
                      <a:pt x="33" y="24"/>
                    </a:lnTo>
                    <a:lnTo>
                      <a:pt x="35" y="21"/>
                    </a:lnTo>
                    <a:lnTo>
                      <a:pt x="36" y="21"/>
                    </a:lnTo>
                    <a:lnTo>
                      <a:pt x="36" y="20"/>
                    </a:lnTo>
                    <a:lnTo>
                      <a:pt x="37" y="18"/>
                    </a:lnTo>
                    <a:lnTo>
                      <a:pt x="42" y="23"/>
                    </a:lnTo>
                    <a:lnTo>
                      <a:pt x="43" y="21"/>
                    </a:lnTo>
                    <a:lnTo>
                      <a:pt x="45" y="21"/>
                    </a:lnTo>
                    <a:lnTo>
                      <a:pt x="46" y="27"/>
                    </a:lnTo>
                    <a:lnTo>
                      <a:pt x="48" y="26"/>
                    </a:lnTo>
                    <a:lnTo>
                      <a:pt x="48" y="24"/>
                    </a:lnTo>
                    <a:lnTo>
                      <a:pt x="48" y="21"/>
                    </a:lnTo>
                    <a:lnTo>
                      <a:pt x="49" y="21"/>
                    </a:lnTo>
                    <a:lnTo>
                      <a:pt x="53" y="21"/>
                    </a:lnTo>
                    <a:lnTo>
                      <a:pt x="55" y="20"/>
                    </a:lnTo>
                    <a:lnTo>
                      <a:pt x="58" y="18"/>
                    </a:lnTo>
                    <a:lnTo>
                      <a:pt x="59" y="17"/>
                    </a:lnTo>
                    <a:lnTo>
                      <a:pt x="58" y="16"/>
                    </a:lnTo>
                    <a:lnTo>
                      <a:pt x="53" y="17"/>
                    </a:lnTo>
                    <a:lnTo>
                      <a:pt x="52" y="16"/>
                    </a:lnTo>
                    <a:lnTo>
                      <a:pt x="52" y="14"/>
                    </a:lnTo>
                    <a:lnTo>
                      <a:pt x="55" y="13"/>
                    </a:lnTo>
                    <a:lnTo>
                      <a:pt x="53" y="13"/>
                    </a:lnTo>
                    <a:lnTo>
                      <a:pt x="55" y="11"/>
                    </a:lnTo>
                    <a:lnTo>
                      <a:pt x="56" y="11"/>
                    </a:lnTo>
                    <a:lnTo>
                      <a:pt x="56" y="10"/>
                    </a:lnTo>
                    <a:lnTo>
                      <a:pt x="58" y="8"/>
                    </a:lnTo>
                    <a:lnTo>
                      <a:pt x="59" y="7"/>
                    </a:lnTo>
                    <a:lnTo>
                      <a:pt x="59" y="7"/>
                    </a:lnTo>
                    <a:lnTo>
                      <a:pt x="61" y="4"/>
                    </a:lnTo>
                    <a:lnTo>
                      <a:pt x="62" y="5"/>
                    </a:lnTo>
                    <a:lnTo>
                      <a:pt x="62" y="4"/>
                    </a:lnTo>
                    <a:lnTo>
                      <a:pt x="61" y="3"/>
                    </a:lnTo>
                    <a:lnTo>
                      <a:pt x="62" y="1"/>
                    </a:lnTo>
                    <a:lnTo>
                      <a:pt x="65" y="0"/>
                    </a:lnTo>
                    <a:lnTo>
                      <a:pt x="114" y="29"/>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01" name="Freeform 724"/>
              <p:cNvSpPr>
                <a:spLocks/>
              </p:cNvSpPr>
              <p:nvPr/>
            </p:nvSpPr>
            <p:spPr bwMode="auto">
              <a:xfrm>
                <a:off x="6506079" y="3289837"/>
                <a:ext cx="142204" cy="158205"/>
              </a:xfrm>
              <a:custGeom>
                <a:avLst/>
                <a:gdLst/>
                <a:ahLst/>
                <a:cxnLst>
                  <a:cxn ang="0">
                    <a:pos x="138" y="52"/>
                  </a:cxn>
                  <a:cxn ang="0">
                    <a:pos x="136" y="80"/>
                  </a:cxn>
                  <a:cxn ang="0">
                    <a:pos x="141" y="87"/>
                  </a:cxn>
                  <a:cxn ang="0">
                    <a:pos x="139" y="90"/>
                  </a:cxn>
                  <a:cxn ang="0">
                    <a:pos x="139" y="98"/>
                  </a:cxn>
                  <a:cxn ang="0">
                    <a:pos x="138" y="101"/>
                  </a:cxn>
                  <a:cxn ang="0">
                    <a:pos x="141" y="110"/>
                  </a:cxn>
                  <a:cxn ang="0">
                    <a:pos x="143" y="117"/>
                  </a:cxn>
                  <a:cxn ang="0">
                    <a:pos x="143" y="122"/>
                  </a:cxn>
                  <a:cxn ang="0">
                    <a:pos x="145" y="126"/>
                  </a:cxn>
                  <a:cxn ang="0">
                    <a:pos x="149" y="132"/>
                  </a:cxn>
                  <a:cxn ang="0">
                    <a:pos x="155" y="133"/>
                  </a:cxn>
                  <a:cxn ang="0">
                    <a:pos x="129" y="148"/>
                  </a:cxn>
                  <a:cxn ang="0">
                    <a:pos x="122" y="146"/>
                  </a:cxn>
                  <a:cxn ang="0">
                    <a:pos x="103" y="151"/>
                  </a:cxn>
                  <a:cxn ang="0">
                    <a:pos x="95" y="152"/>
                  </a:cxn>
                  <a:cxn ang="0">
                    <a:pos x="90" y="149"/>
                  </a:cxn>
                  <a:cxn ang="0">
                    <a:pos x="75" y="151"/>
                  </a:cxn>
                  <a:cxn ang="0">
                    <a:pos x="71" y="145"/>
                  </a:cxn>
                  <a:cxn ang="0">
                    <a:pos x="68" y="126"/>
                  </a:cxn>
                  <a:cxn ang="0">
                    <a:pos x="61" y="123"/>
                  </a:cxn>
                  <a:cxn ang="0">
                    <a:pos x="58" y="122"/>
                  </a:cxn>
                  <a:cxn ang="0">
                    <a:pos x="53" y="122"/>
                  </a:cxn>
                  <a:cxn ang="0">
                    <a:pos x="46" y="119"/>
                  </a:cxn>
                  <a:cxn ang="0">
                    <a:pos x="24" y="107"/>
                  </a:cxn>
                  <a:cxn ang="0">
                    <a:pos x="13" y="91"/>
                  </a:cxn>
                  <a:cxn ang="0">
                    <a:pos x="3" y="77"/>
                  </a:cxn>
                  <a:cxn ang="0">
                    <a:pos x="4" y="69"/>
                  </a:cxn>
                  <a:cxn ang="0">
                    <a:pos x="1" y="58"/>
                  </a:cxn>
                  <a:cxn ang="0">
                    <a:pos x="1" y="48"/>
                  </a:cxn>
                  <a:cxn ang="0">
                    <a:pos x="17" y="29"/>
                  </a:cxn>
                  <a:cxn ang="0">
                    <a:pos x="13" y="26"/>
                  </a:cxn>
                  <a:cxn ang="0">
                    <a:pos x="13" y="21"/>
                  </a:cxn>
                  <a:cxn ang="0">
                    <a:pos x="11" y="0"/>
                  </a:cxn>
                  <a:cxn ang="0">
                    <a:pos x="19" y="0"/>
                  </a:cxn>
                  <a:cxn ang="0">
                    <a:pos x="30" y="21"/>
                  </a:cxn>
                  <a:cxn ang="0">
                    <a:pos x="33" y="24"/>
                  </a:cxn>
                  <a:cxn ang="0">
                    <a:pos x="36" y="20"/>
                  </a:cxn>
                  <a:cxn ang="0">
                    <a:pos x="43" y="21"/>
                  </a:cxn>
                  <a:cxn ang="0">
                    <a:pos x="48" y="26"/>
                  </a:cxn>
                  <a:cxn ang="0">
                    <a:pos x="49" y="21"/>
                  </a:cxn>
                  <a:cxn ang="0">
                    <a:pos x="58" y="18"/>
                  </a:cxn>
                  <a:cxn ang="0">
                    <a:pos x="53" y="17"/>
                  </a:cxn>
                  <a:cxn ang="0">
                    <a:pos x="55" y="13"/>
                  </a:cxn>
                  <a:cxn ang="0">
                    <a:pos x="56" y="11"/>
                  </a:cxn>
                  <a:cxn ang="0">
                    <a:pos x="59" y="7"/>
                  </a:cxn>
                  <a:cxn ang="0">
                    <a:pos x="62" y="5"/>
                  </a:cxn>
                  <a:cxn ang="0">
                    <a:pos x="62" y="1"/>
                  </a:cxn>
                </a:cxnLst>
                <a:rect l="0" t="0" r="r" b="b"/>
                <a:pathLst>
                  <a:path w="155" h="152">
                    <a:moveTo>
                      <a:pt x="114" y="29"/>
                    </a:moveTo>
                    <a:lnTo>
                      <a:pt x="117" y="39"/>
                    </a:lnTo>
                    <a:lnTo>
                      <a:pt x="138" y="52"/>
                    </a:lnTo>
                    <a:lnTo>
                      <a:pt x="130" y="72"/>
                    </a:lnTo>
                    <a:lnTo>
                      <a:pt x="132" y="77"/>
                    </a:lnTo>
                    <a:lnTo>
                      <a:pt x="136" y="80"/>
                    </a:lnTo>
                    <a:lnTo>
                      <a:pt x="138" y="81"/>
                    </a:lnTo>
                    <a:lnTo>
                      <a:pt x="139" y="84"/>
                    </a:lnTo>
                    <a:lnTo>
                      <a:pt x="141" y="87"/>
                    </a:lnTo>
                    <a:lnTo>
                      <a:pt x="141" y="88"/>
                    </a:lnTo>
                    <a:lnTo>
                      <a:pt x="141" y="88"/>
                    </a:lnTo>
                    <a:lnTo>
                      <a:pt x="139" y="90"/>
                    </a:lnTo>
                    <a:lnTo>
                      <a:pt x="139" y="96"/>
                    </a:lnTo>
                    <a:lnTo>
                      <a:pt x="139" y="97"/>
                    </a:lnTo>
                    <a:lnTo>
                      <a:pt x="139" y="98"/>
                    </a:lnTo>
                    <a:lnTo>
                      <a:pt x="139" y="100"/>
                    </a:lnTo>
                    <a:lnTo>
                      <a:pt x="139" y="101"/>
                    </a:lnTo>
                    <a:lnTo>
                      <a:pt x="138" y="101"/>
                    </a:lnTo>
                    <a:lnTo>
                      <a:pt x="138" y="104"/>
                    </a:lnTo>
                    <a:lnTo>
                      <a:pt x="139" y="110"/>
                    </a:lnTo>
                    <a:lnTo>
                      <a:pt x="141" y="110"/>
                    </a:lnTo>
                    <a:lnTo>
                      <a:pt x="141" y="112"/>
                    </a:lnTo>
                    <a:lnTo>
                      <a:pt x="139" y="112"/>
                    </a:lnTo>
                    <a:lnTo>
                      <a:pt x="143" y="117"/>
                    </a:lnTo>
                    <a:lnTo>
                      <a:pt x="143" y="119"/>
                    </a:lnTo>
                    <a:lnTo>
                      <a:pt x="143" y="120"/>
                    </a:lnTo>
                    <a:lnTo>
                      <a:pt x="143" y="122"/>
                    </a:lnTo>
                    <a:lnTo>
                      <a:pt x="145" y="123"/>
                    </a:lnTo>
                    <a:lnTo>
                      <a:pt x="145" y="125"/>
                    </a:lnTo>
                    <a:lnTo>
                      <a:pt x="145" y="126"/>
                    </a:lnTo>
                    <a:lnTo>
                      <a:pt x="145" y="127"/>
                    </a:lnTo>
                    <a:lnTo>
                      <a:pt x="148" y="130"/>
                    </a:lnTo>
                    <a:lnTo>
                      <a:pt x="149" y="132"/>
                    </a:lnTo>
                    <a:lnTo>
                      <a:pt x="152" y="133"/>
                    </a:lnTo>
                    <a:lnTo>
                      <a:pt x="154" y="133"/>
                    </a:lnTo>
                    <a:lnTo>
                      <a:pt x="155" y="133"/>
                    </a:lnTo>
                    <a:lnTo>
                      <a:pt x="155" y="136"/>
                    </a:lnTo>
                    <a:lnTo>
                      <a:pt x="146" y="142"/>
                    </a:lnTo>
                    <a:lnTo>
                      <a:pt x="129" y="148"/>
                    </a:lnTo>
                    <a:lnTo>
                      <a:pt x="127" y="148"/>
                    </a:lnTo>
                    <a:lnTo>
                      <a:pt x="123" y="146"/>
                    </a:lnTo>
                    <a:lnTo>
                      <a:pt x="122" y="146"/>
                    </a:lnTo>
                    <a:lnTo>
                      <a:pt x="117" y="146"/>
                    </a:lnTo>
                    <a:lnTo>
                      <a:pt x="114" y="151"/>
                    </a:lnTo>
                    <a:lnTo>
                      <a:pt x="103" y="151"/>
                    </a:lnTo>
                    <a:lnTo>
                      <a:pt x="100" y="152"/>
                    </a:lnTo>
                    <a:lnTo>
                      <a:pt x="98" y="152"/>
                    </a:lnTo>
                    <a:lnTo>
                      <a:pt x="95" y="152"/>
                    </a:lnTo>
                    <a:lnTo>
                      <a:pt x="95" y="152"/>
                    </a:lnTo>
                    <a:lnTo>
                      <a:pt x="93" y="149"/>
                    </a:lnTo>
                    <a:lnTo>
                      <a:pt x="90" y="149"/>
                    </a:lnTo>
                    <a:lnTo>
                      <a:pt x="88" y="149"/>
                    </a:lnTo>
                    <a:lnTo>
                      <a:pt x="87" y="151"/>
                    </a:lnTo>
                    <a:lnTo>
                      <a:pt x="75" y="151"/>
                    </a:lnTo>
                    <a:lnTo>
                      <a:pt x="75" y="149"/>
                    </a:lnTo>
                    <a:lnTo>
                      <a:pt x="74" y="148"/>
                    </a:lnTo>
                    <a:lnTo>
                      <a:pt x="71" y="145"/>
                    </a:lnTo>
                    <a:lnTo>
                      <a:pt x="71" y="143"/>
                    </a:lnTo>
                    <a:lnTo>
                      <a:pt x="71" y="139"/>
                    </a:lnTo>
                    <a:lnTo>
                      <a:pt x="68" y="126"/>
                    </a:lnTo>
                    <a:lnTo>
                      <a:pt x="65" y="123"/>
                    </a:lnTo>
                    <a:lnTo>
                      <a:pt x="61" y="122"/>
                    </a:lnTo>
                    <a:lnTo>
                      <a:pt x="61" y="123"/>
                    </a:lnTo>
                    <a:lnTo>
                      <a:pt x="59" y="122"/>
                    </a:lnTo>
                    <a:lnTo>
                      <a:pt x="58" y="122"/>
                    </a:lnTo>
                    <a:lnTo>
                      <a:pt x="58" y="122"/>
                    </a:lnTo>
                    <a:lnTo>
                      <a:pt x="55" y="123"/>
                    </a:lnTo>
                    <a:lnTo>
                      <a:pt x="53" y="123"/>
                    </a:lnTo>
                    <a:lnTo>
                      <a:pt x="53" y="122"/>
                    </a:lnTo>
                    <a:lnTo>
                      <a:pt x="50" y="122"/>
                    </a:lnTo>
                    <a:lnTo>
                      <a:pt x="48" y="120"/>
                    </a:lnTo>
                    <a:lnTo>
                      <a:pt x="46" y="119"/>
                    </a:lnTo>
                    <a:lnTo>
                      <a:pt x="46" y="117"/>
                    </a:lnTo>
                    <a:lnTo>
                      <a:pt x="30" y="113"/>
                    </a:lnTo>
                    <a:lnTo>
                      <a:pt x="24" y="107"/>
                    </a:lnTo>
                    <a:lnTo>
                      <a:pt x="23" y="107"/>
                    </a:lnTo>
                    <a:lnTo>
                      <a:pt x="21" y="107"/>
                    </a:lnTo>
                    <a:lnTo>
                      <a:pt x="13" y="91"/>
                    </a:lnTo>
                    <a:lnTo>
                      <a:pt x="13" y="85"/>
                    </a:lnTo>
                    <a:lnTo>
                      <a:pt x="8" y="80"/>
                    </a:lnTo>
                    <a:lnTo>
                      <a:pt x="3" y="77"/>
                    </a:lnTo>
                    <a:lnTo>
                      <a:pt x="1" y="74"/>
                    </a:lnTo>
                    <a:lnTo>
                      <a:pt x="3" y="71"/>
                    </a:lnTo>
                    <a:lnTo>
                      <a:pt x="4" y="69"/>
                    </a:lnTo>
                    <a:lnTo>
                      <a:pt x="3" y="64"/>
                    </a:lnTo>
                    <a:lnTo>
                      <a:pt x="3" y="59"/>
                    </a:lnTo>
                    <a:lnTo>
                      <a:pt x="1" y="58"/>
                    </a:lnTo>
                    <a:lnTo>
                      <a:pt x="0" y="56"/>
                    </a:lnTo>
                    <a:lnTo>
                      <a:pt x="0" y="48"/>
                    </a:lnTo>
                    <a:lnTo>
                      <a:pt x="1" y="48"/>
                    </a:lnTo>
                    <a:lnTo>
                      <a:pt x="7" y="46"/>
                    </a:lnTo>
                    <a:lnTo>
                      <a:pt x="17" y="30"/>
                    </a:lnTo>
                    <a:lnTo>
                      <a:pt x="17" y="29"/>
                    </a:lnTo>
                    <a:lnTo>
                      <a:pt x="16" y="27"/>
                    </a:lnTo>
                    <a:lnTo>
                      <a:pt x="14" y="26"/>
                    </a:lnTo>
                    <a:lnTo>
                      <a:pt x="13" y="26"/>
                    </a:lnTo>
                    <a:lnTo>
                      <a:pt x="13" y="24"/>
                    </a:lnTo>
                    <a:lnTo>
                      <a:pt x="13" y="23"/>
                    </a:lnTo>
                    <a:lnTo>
                      <a:pt x="13" y="21"/>
                    </a:lnTo>
                    <a:lnTo>
                      <a:pt x="17" y="16"/>
                    </a:lnTo>
                    <a:lnTo>
                      <a:pt x="17" y="13"/>
                    </a:lnTo>
                    <a:lnTo>
                      <a:pt x="11" y="0"/>
                    </a:lnTo>
                    <a:lnTo>
                      <a:pt x="17" y="1"/>
                    </a:lnTo>
                    <a:lnTo>
                      <a:pt x="19" y="0"/>
                    </a:lnTo>
                    <a:lnTo>
                      <a:pt x="19" y="0"/>
                    </a:lnTo>
                    <a:lnTo>
                      <a:pt x="30" y="0"/>
                    </a:lnTo>
                    <a:lnTo>
                      <a:pt x="29" y="16"/>
                    </a:lnTo>
                    <a:lnTo>
                      <a:pt x="30" y="21"/>
                    </a:lnTo>
                    <a:lnTo>
                      <a:pt x="30" y="23"/>
                    </a:lnTo>
                    <a:lnTo>
                      <a:pt x="32" y="24"/>
                    </a:lnTo>
                    <a:lnTo>
                      <a:pt x="33" y="24"/>
                    </a:lnTo>
                    <a:lnTo>
                      <a:pt x="35" y="21"/>
                    </a:lnTo>
                    <a:lnTo>
                      <a:pt x="36" y="21"/>
                    </a:lnTo>
                    <a:lnTo>
                      <a:pt x="36" y="20"/>
                    </a:lnTo>
                    <a:lnTo>
                      <a:pt x="37" y="18"/>
                    </a:lnTo>
                    <a:lnTo>
                      <a:pt x="42" y="23"/>
                    </a:lnTo>
                    <a:lnTo>
                      <a:pt x="43" y="21"/>
                    </a:lnTo>
                    <a:lnTo>
                      <a:pt x="45" y="21"/>
                    </a:lnTo>
                    <a:lnTo>
                      <a:pt x="46" y="27"/>
                    </a:lnTo>
                    <a:lnTo>
                      <a:pt x="48" y="26"/>
                    </a:lnTo>
                    <a:lnTo>
                      <a:pt x="48" y="24"/>
                    </a:lnTo>
                    <a:lnTo>
                      <a:pt x="48" y="21"/>
                    </a:lnTo>
                    <a:lnTo>
                      <a:pt x="49" y="21"/>
                    </a:lnTo>
                    <a:lnTo>
                      <a:pt x="53" y="21"/>
                    </a:lnTo>
                    <a:lnTo>
                      <a:pt x="55" y="20"/>
                    </a:lnTo>
                    <a:lnTo>
                      <a:pt x="58" y="18"/>
                    </a:lnTo>
                    <a:lnTo>
                      <a:pt x="59" y="17"/>
                    </a:lnTo>
                    <a:lnTo>
                      <a:pt x="58" y="16"/>
                    </a:lnTo>
                    <a:lnTo>
                      <a:pt x="53" y="17"/>
                    </a:lnTo>
                    <a:lnTo>
                      <a:pt x="52" y="16"/>
                    </a:lnTo>
                    <a:lnTo>
                      <a:pt x="52" y="14"/>
                    </a:lnTo>
                    <a:lnTo>
                      <a:pt x="55" y="13"/>
                    </a:lnTo>
                    <a:lnTo>
                      <a:pt x="53" y="13"/>
                    </a:lnTo>
                    <a:lnTo>
                      <a:pt x="55" y="11"/>
                    </a:lnTo>
                    <a:lnTo>
                      <a:pt x="56" y="11"/>
                    </a:lnTo>
                    <a:lnTo>
                      <a:pt x="56" y="10"/>
                    </a:lnTo>
                    <a:lnTo>
                      <a:pt x="58" y="8"/>
                    </a:lnTo>
                    <a:lnTo>
                      <a:pt x="59" y="7"/>
                    </a:lnTo>
                    <a:lnTo>
                      <a:pt x="59" y="7"/>
                    </a:lnTo>
                    <a:lnTo>
                      <a:pt x="61" y="4"/>
                    </a:lnTo>
                    <a:lnTo>
                      <a:pt x="62" y="5"/>
                    </a:lnTo>
                    <a:lnTo>
                      <a:pt x="62" y="4"/>
                    </a:lnTo>
                    <a:lnTo>
                      <a:pt x="61" y="3"/>
                    </a:lnTo>
                    <a:lnTo>
                      <a:pt x="62" y="1"/>
                    </a:lnTo>
                    <a:lnTo>
                      <a:pt x="65" y="0"/>
                    </a:lnTo>
                    <a:lnTo>
                      <a:pt x="114" y="29"/>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02" name="Freeform 725"/>
              <p:cNvSpPr>
                <a:spLocks/>
              </p:cNvSpPr>
              <p:nvPr/>
            </p:nvSpPr>
            <p:spPr bwMode="auto">
              <a:xfrm>
                <a:off x="5949554" y="2706711"/>
                <a:ext cx="157126" cy="141979"/>
              </a:xfrm>
              <a:custGeom>
                <a:avLst/>
                <a:gdLst/>
                <a:ahLst/>
                <a:cxnLst>
                  <a:cxn ang="0">
                    <a:pos x="62" y="137"/>
                  </a:cxn>
                  <a:cxn ang="0">
                    <a:pos x="1" y="134"/>
                  </a:cxn>
                  <a:cxn ang="0">
                    <a:pos x="29" y="121"/>
                  </a:cxn>
                  <a:cxn ang="0">
                    <a:pos x="36" y="116"/>
                  </a:cxn>
                  <a:cxn ang="0">
                    <a:pos x="40" y="112"/>
                  </a:cxn>
                  <a:cxn ang="0">
                    <a:pos x="48" y="95"/>
                  </a:cxn>
                  <a:cxn ang="0">
                    <a:pos x="46" y="77"/>
                  </a:cxn>
                  <a:cxn ang="0">
                    <a:pos x="51" y="68"/>
                  </a:cxn>
                  <a:cxn ang="0">
                    <a:pos x="53" y="67"/>
                  </a:cxn>
                  <a:cxn ang="0">
                    <a:pos x="55" y="58"/>
                  </a:cxn>
                  <a:cxn ang="0">
                    <a:pos x="87" y="35"/>
                  </a:cxn>
                  <a:cxn ang="0">
                    <a:pos x="93" y="28"/>
                  </a:cxn>
                  <a:cxn ang="0">
                    <a:pos x="103" y="3"/>
                  </a:cxn>
                  <a:cxn ang="0">
                    <a:pos x="109" y="0"/>
                  </a:cxn>
                  <a:cxn ang="0">
                    <a:pos x="120" y="13"/>
                  </a:cxn>
                  <a:cxn ang="0">
                    <a:pos x="129" y="12"/>
                  </a:cxn>
                  <a:cxn ang="0">
                    <a:pos x="142" y="10"/>
                  </a:cxn>
                  <a:cxn ang="0">
                    <a:pos x="149" y="15"/>
                  </a:cxn>
                  <a:cxn ang="0">
                    <a:pos x="157" y="15"/>
                  </a:cxn>
                  <a:cxn ang="0">
                    <a:pos x="158" y="18"/>
                  </a:cxn>
                  <a:cxn ang="0">
                    <a:pos x="159" y="19"/>
                  </a:cxn>
                  <a:cxn ang="0">
                    <a:pos x="161" y="20"/>
                  </a:cxn>
                  <a:cxn ang="0">
                    <a:pos x="162" y="22"/>
                  </a:cxn>
                  <a:cxn ang="0">
                    <a:pos x="161" y="23"/>
                  </a:cxn>
                  <a:cxn ang="0">
                    <a:pos x="162" y="28"/>
                  </a:cxn>
                  <a:cxn ang="0">
                    <a:pos x="162" y="36"/>
                  </a:cxn>
                  <a:cxn ang="0">
                    <a:pos x="164" y="39"/>
                  </a:cxn>
                  <a:cxn ang="0">
                    <a:pos x="164" y="44"/>
                  </a:cxn>
                  <a:cxn ang="0">
                    <a:pos x="165" y="48"/>
                  </a:cxn>
                  <a:cxn ang="0">
                    <a:pos x="167" y="54"/>
                  </a:cxn>
                  <a:cxn ang="0">
                    <a:pos x="171" y="58"/>
                  </a:cxn>
                  <a:cxn ang="0">
                    <a:pos x="168" y="60"/>
                  </a:cxn>
                  <a:cxn ang="0">
                    <a:pos x="168" y="64"/>
                  </a:cxn>
                  <a:cxn ang="0">
                    <a:pos x="168" y="64"/>
                  </a:cxn>
                  <a:cxn ang="0">
                    <a:pos x="159" y="63"/>
                  </a:cxn>
                  <a:cxn ang="0">
                    <a:pos x="148" y="64"/>
                  </a:cxn>
                  <a:cxn ang="0">
                    <a:pos x="146" y="66"/>
                  </a:cxn>
                  <a:cxn ang="0">
                    <a:pos x="144" y="64"/>
                  </a:cxn>
                  <a:cxn ang="0">
                    <a:pos x="144" y="67"/>
                  </a:cxn>
                  <a:cxn ang="0">
                    <a:pos x="142" y="70"/>
                  </a:cxn>
                  <a:cxn ang="0">
                    <a:pos x="133" y="71"/>
                  </a:cxn>
                  <a:cxn ang="0">
                    <a:pos x="130" y="73"/>
                  </a:cxn>
                  <a:cxn ang="0">
                    <a:pos x="130" y="76"/>
                  </a:cxn>
                  <a:cxn ang="0">
                    <a:pos x="132" y="76"/>
                  </a:cxn>
                  <a:cxn ang="0">
                    <a:pos x="130" y="77"/>
                  </a:cxn>
                  <a:cxn ang="0">
                    <a:pos x="130" y="80"/>
                  </a:cxn>
                  <a:cxn ang="0">
                    <a:pos x="132" y="80"/>
                  </a:cxn>
                  <a:cxn ang="0">
                    <a:pos x="133" y="82"/>
                  </a:cxn>
                  <a:cxn ang="0">
                    <a:pos x="133" y="84"/>
                  </a:cxn>
                  <a:cxn ang="0">
                    <a:pos x="122" y="89"/>
                  </a:cxn>
                  <a:cxn ang="0">
                    <a:pos x="116" y="90"/>
                  </a:cxn>
                  <a:cxn ang="0">
                    <a:pos x="113" y="95"/>
                  </a:cxn>
                  <a:cxn ang="0">
                    <a:pos x="112" y="98"/>
                  </a:cxn>
                  <a:cxn ang="0">
                    <a:pos x="100" y="102"/>
                  </a:cxn>
                  <a:cxn ang="0">
                    <a:pos x="97" y="103"/>
                  </a:cxn>
                  <a:cxn ang="0">
                    <a:pos x="91" y="103"/>
                  </a:cxn>
                  <a:cxn ang="0">
                    <a:pos x="91" y="106"/>
                  </a:cxn>
                  <a:cxn ang="0">
                    <a:pos x="87" y="105"/>
                  </a:cxn>
                  <a:cxn ang="0">
                    <a:pos x="84" y="105"/>
                  </a:cxn>
                  <a:cxn ang="0">
                    <a:pos x="81" y="108"/>
                  </a:cxn>
                  <a:cxn ang="0">
                    <a:pos x="78" y="111"/>
                  </a:cxn>
                  <a:cxn ang="0">
                    <a:pos x="62" y="119"/>
                  </a:cxn>
                </a:cxnLst>
                <a:rect l="0" t="0" r="r" b="b"/>
                <a:pathLst>
                  <a:path w="171" h="137">
                    <a:moveTo>
                      <a:pt x="62" y="119"/>
                    </a:moveTo>
                    <a:lnTo>
                      <a:pt x="62" y="137"/>
                    </a:lnTo>
                    <a:lnTo>
                      <a:pt x="0" y="137"/>
                    </a:lnTo>
                    <a:lnTo>
                      <a:pt x="1" y="134"/>
                    </a:lnTo>
                    <a:lnTo>
                      <a:pt x="20" y="129"/>
                    </a:lnTo>
                    <a:lnTo>
                      <a:pt x="29" y="121"/>
                    </a:lnTo>
                    <a:lnTo>
                      <a:pt x="33" y="119"/>
                    </a:lnTo>
                    <a:lnTo>
                      <a:pt x="36" y="116"/>
                    </a:lnTo>
                    <a:lnTo>
                      <a:pt x="38" y="115"/>
                    </a:lnTo>
                    <a:lnTo>
                      <a:pt x="40" y="112"/>
                    </a:lnTo>
                    <a:lnTo>
                      <a:pt x="48" y="100"/>
                    </a:lnTo>
                    <a:lnTo>
                      <a:pt x="48" y="95"/>
                    </a:lnTo>
                    <a:lnTo>
                      <a:pt x="45" y="90"/>
                    </a:lnTo>
                    <a:lnTo>
                      <a:pt x="46" y="77"/>
                    </a:lnTo>
                    <a:lnTo>
                      <a:pt x="51" y="70"/>
                    </a:lnTo>
                    <a:lnTo>
                      <a:pt x="51" y="68"/>
                    </a:lnTo>
                    <a:lnTo>
                      <a:pt x="53" y="67"/>
                    </a:lnTo>
                    <a:lnTo>
                      <a:pt x="53" y="67"/>
                    </a:lnTo>
                    <a:lnTo>
                      <a:pt x="56" y="61"/>
                    </a:lnTo>
                    <a:lnTo>
                      <a:pt x="55" y="58"/>
                    </a:lnTo>
                    <a:lnTo>
                      <a:pt x="67" y="45"/>
                    </a:lnTo>
                    <a:lnTo>
                      <a:pt x="87" y="35"/>
                    </a:lnTo>
                    <a:lnTo>
                      <a:pt x="90" y="32"/>
                    </a:lnTo>
                    <a:lnTo>
                      <a:pt x="93" y="28"/>
                    </a:lnTo>
                    <a:lnTo>
                      <a:pt x="96" y="23"/>
                    </a:lnTo>
                    <a:lnTo>
                      <a:pt x="103" y="3"/>
                    </a:lnTo>
                    <a:lnTo>
                      <a:pt x="104" y="2"/>
                    </a:lnTo>
                    <a:lnTo>
                      <a:pt x="109" y="0"/>
                    </a:lnTo>
                    <a:lnTo>
                      <a:pt x="112" y="5"/>
                    </a:lnTo>
                    <a:lnTo>
                      <a:pt x="120" y="13"/>
                    </a:lnTo>
                    <a:lnTo>
                      <a:pt x="123" y="13"/>
                    </a:lnTo>
                    <a:lnTo>
                      <a:pt x="129" y="12"/>
                    </a:lnTo>
                    <a:lnTo>
                      <a:pt x="141" y="12"/>
                    </a:lnTo>
                    <a:lnTo>
                      <a:pt x="142" y="10"/>
                    </a:lnTo>
                    <a:lnTo>
                      <a:pt x="146" y="13"/>
                    </a:lnTo>
                    <a:lnTo>
                      <a:pt x="149" y="15"/>
                    </a:lnTo>
                    <a:lnTo>
                      <a:pt x="152" y="15"/>
                    </a:lnTo>
                    <a:lnTo>
                      <a:pt x="157" y="15"/>
                    </a:lnTo>
                    <a:lnTo>
                      <a:pt x="157" y="16"/>
                    </a:lnTo>
                    <a:lnTo>
                      <a:pt x="158" y="18"/>
                    </a:lnTo>
                    <a:lnTo>
                      <a:pt x="159" y="19"/>
                    </a:lnTo>
                    <a:lnTo>
                      <a:pt x="159" y="19"/>
                    </a:lnTo>
                    <a:lnTo>
                      <a:pt x="161" y="20"/>
                    </a:lnTo>
                    <a:lnTo>
                      <a:pt x="161" y="20"/>
                    </a:lnTo>
                    <a:lnTo>
                      <a:pt x="162" y="22"/>
                    </a:lnTo>
                    <a:lnTo>
                      <a:pt x="162" y="22"/>
                    </a:lnTo>
                    <a:lnTo>
                      <a:pt x="161" y="22"/>
                    </a:lnTo>
                    <a:lnTo>
                      <a:pt x="161" y="23"/>
                    </a:lnTo>
                    <a:lnTo>
                      <a:pt x="162" y="26"/>
                    </a:lnTo>
                    <a:lnTo>
                      <a:pt x="162" y="28"/>
                    </a:lnTo>
                    <a:lnTo>
                      <a:pt x="162" y="32"/>
                    </a:lnTo>
                    <a:lnTo>
                      <a:pt x="162" y="36"/>
                    </a:lnTo>
                    <a:lnTo>
                      <a:pt x="162" y="38"/>
                    </a:lnTo>
                    <a:lnTo>
                      <a:pt x="164" y="39"/>
                    </a:lnTo>
                    <a:lnTo>
                      <a:pt x="164" y="42"/>
                    </a:lnTo>
                    <a:lnTo>
                      <a:pt x="164" y="44"/>
                    </a:lnTo>
                    <a:lnTo>
                      <a:pt x="164" y="45"/>
                    </a:lnTo>
                    <a:lnTo>
                      <a:pt x="165" y="48"/>
                    </a:lnTo>
                    <a:lnTo>
                      <a:pt x="164" y="50"/>
                    </a:lnTo>
                    <a:lnTo>
                      <a:pt x="167" y="54"/>
                    </a:lnTo>
                    <a:lnTo>
                      <a:pt x="171" y="58"/>
                    </a:lnTo>
                    <a:lnTo>
                      <a:pt x="171" y="58"/>
                    </a:lnTo>
                    <a:lnTo>
                      <a:pt x="170" y="58"/>
                    </a:lnTo>
                    <a:lnTo>
                      <a:pt x="168" y="60"/>
                    </a:lnTo>
                    <a:lnTo>
                      <a:pt x="168" y="63"/>
                    </a:lnTo>
                    <a:lnTo>
                      <a:pt x="168" y="64"/>
                    </a:lnTo>
                    <a:lnTo>
                      <a:pt x="168" y="64"/>
                    </a:lnTo>
                    <a:lnTo>
                      <a:pt x="168" y="64"/>
                    </a:lnTo>
                    <a:lnTo>
                      <a:pt x="167" y="64"/>
                    </a:lnTo>
                    <a:lnTo>
                      <a:pt x="159" y="63"/>
                    </a:lnTo>
                    <a:lnTo>
                      <a:pt x="159" y="63"/>
                    </a:lnTo>
                    <a:lnTo>
                      <a:pt x="148" y="64"/>
                    </a:lnTo>
                    <a:lnTo>
                      <a:pt x="148" y="64"/>
                    </a:lnTo>
                    <a:lnTo>
                      <a:pt x="146" y="66"/>
                    </a:lnTo>
                    <a:lnTo>
                      <a:pt x="145" y="64"/>
                    </a:lnTo>
                    <a:lnTo>
                      <a:pt x="144" y="64"/>
                    </a:lnTo>
                    <a:lnTo>
                      <a:pt x="144" y="66"/>
                    </a:lnTo>
                    <a:lnTo>
                      <a:pt x="144" y="67"/>
                    </a:lnTo>
                    <a:lnTo>
                      <a:pt x="144" y="68"/>
                    </a:lnTo>
                    <a:lnTo>
                      <a:pt x="142" y="70"/>
                    </a:lnTo>
                    <a:lnTo>
                      <a:pt x="135" y="71"/>
                    </a:lnTo>
                    <a:lnTo>
                      <a:pt x="133" y="71"/>
                    </a:lnTo>
                    <a:lnTo>
                      <a:pt x="132" y="71"/>
                    </a:lnTo>
                    <a:lnTo>
                      <a:pt x="130" y="73"/>
                    </a:lnTo>
                    <a:lnTo>
                      <a:pt x="130" y="73"/>
                    </a:lnTo>
                    <a:lnTo>
                      <a:pt x="130" y="76"/>
                    </a:lnTo>
                    <a:lnTo>
                      <a:pt x="130" y="76"/>
                    </a:lnTo>
                    <a:lnTo>
                      <a:pt x="132" y="76"/>
                    </a:lnTo>
                    <a:lnTo>
                      <a:pt x="132" y="77"/>
                    </a:lnTo>
                    <a:lnTo>
                      <a:pt x="130" y="77"/>
                    </a:lnTo>
                    <a:lnTo>
                      <a:pt x="130" y="80"/>
                    </a:lnTo>
                    <a:lnTo>
                      <a:pt x="130" y="80"/>
                    </a:lnTo>
                    <a:lnTo>
                      <a:pt x="132" y="80"/>
                    </a:lnTo>
                    <a:lnTo>
                      <a:pt x="132" y="80"/>
                    </a:lnTo>
                    <a:lnTo>
                      <a:pt x="133" y="82"/>
                    </a:lnTo>
                    <a:lnTo>
                      <a:pt x="133" y="82"/>
                    </a:lnTo>
                    <a:lnTo>
                      <a:pt x="135" y="83"/>
                    </a:lnTo>
                    <a:lnTo>
                      <a:pt x="133" y="84"/>
                    </a:lnTo>
                    <a:lnTo>
                      <a:pt x="128" y="84"/>
                    </a:lnTo>
                    <a:lnTo>
                      <a:pt x="122" y="89"/>
                    </a:lnTo>
                    <a:lnTo>
                      <a:pt x="120" y="89"/>
                    </a:lnTo>
                    <a:lnTo>
                      <a:pt x="116" y="90"/>
                    </a:lnTo>
                    <a:lnTo>
                      <a:pt x="113" y="93"/>
                    </a:lnTo>
                    <a:lnTo>
                      <a:pt x="113" y="95"/>
                    </a:lnTo>
                    <a:lnTo>
                      <a:pt x="113" y="96"/>
                    </a:lnTo>
                    <a:lnTo>
                      <a:pt x="112" y="98"/>
                    </a:lnTo>
                    <a:lnTo>
                      <a:pt x="109" y="99"/>
                    </a:lnTo>
                    <a:lnTo>
                      <a:pt x="100" y="102"/>
                    </a:lnTo>
                    <a:lnTo>
                      <a:pt x="98" y="102"/>
                    </a:lnTo>
                    <a:lnTo>
                      <a:pt x="97" y="103"/>
                    </a:lnTo>
                    <a:lnTo>
                      <a:pt x="93" y="102"/>
                    </a:lnTo>
                    <a:lnTo>
                      <a:pt x="91" y="103"/>
                    </a:lnTo>
                    <a:lnTo>
                      <a:pt x="91" y="106"/>
                    </a:lnTo>
                    <a:lnTo>
                      <a:pt x="91" y="106"/>
                    </a:lnTo>
                    <a:lnTo>
                      <a:pt x="88" y="106"/>
                    </a:lnTo>
                    <a:lnTo>
                      <a:pt x="87" y="105"/>
                    </a:lnTo>
                    <a:lnTo>
                      <a:pt x="85" y="106"/>
                    </a:lnTo>
                    <a:lnTo>
                      <a:pt x="84" y="105"/>
                    </a:lnTo>
                    <a:lnTo>
                      <a:pt x="83" y="106"/>
                    </a:lnTo>
                    <a:lnTo>
                      <a:pt x="81" y="108"/>
                    </a:lnTo>
                    <a:lnTo>
                      <a:pt x="80" y="109"/>
                    </a:lnTo>
                    <a:lnTo>
                      <a:pt x="78" y="111"/>
                    </a:lnTo>
                    <a:lnTo>
                      <a:pt x="74" y="111"/>
                    </a:lnTo>
                    <a:lnTo>
                      <a:pt x="62" y="119"/>
                    </a:lnTo>
                    <a:close/>
                  </a:path>
                </a:pathLst>
              </a:custGeom>
              <a:solidFill>
                <a:srgbClr val="00AFE6"/>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03" name="Freeform 727"/>
              <p:cNvSpPr>
                <a:spLocks/>
              </p:cNvSpPr>
              <p:nvPr/>
            </p:nvSpPr>
            <p:spPr bwMode="auto">
              <a:xfrm>
                <a:off x="5945165" y="3127576"/>
                <a:ext cx="40379" cy="43608"/>
              </a:xfrm>
              <a:custGeom>
                <a:avLst/>
                <a:gdLst/>
                <a:ahLst/>
                <a:cxnLst>
                  <a:cxn ang="0">
                    <a:pos x="2" y="13"/>
                  </a:cxn>
                  <a:cxn ang="0">
                    <a:pos x="5" y="12"/>
                  </a:cxn>
                  <a:cxn ang="0">
                    <a:pos x="8" y="9"/>
                  </a:cxn>
                  <a:cxn ang="0">
                    <a:pos x="9" y="7"/>
                  </a:cxn>
                  <a:cxn ang="0">
                    <a:pos x="12" y="3"/>
                  </a:cxn>
                  <a:cxn ang="0">
                    <a:pos x="13" y="2"/>
                  </a:cxn>
                  <a:cxn ang="0">
                    <a:pos x="16" y="2"/>
                  </a:cxn>
                  <a:cxn ang="0">
                    <a:pos x="21" y="0"/>
                  </a:cxn>
                  <a:cxn ang="0">
                    <a:pos x="31" y="2"/>
                  </a:cxn>
                  <a:cxn ang="0">
                    <a:pos x="34" y="4"/>
                  </a:cxn>
                  <a:cxn ang="0">
                    <a:pos x="35" y="6"/>
                  </a:cxn>
                  <a:cxn ang="0">
                    <a:pos x="35" y="7"/>
                  </a:cxn>
                  <a:cxn ang="0">
                    <a:pos x="37" y="9"/>
                  </a:cxn>
                  <a:cxn ang="0">
                    <a:pos x="38" y="9"/>
                  </a:cxn>
                  <a:cxn ang="0">
                    <a:pos x="38" y="12"/>
                  </a:cxn>
                  <a:cxn ang="0">
                    <a:pos x="38" y="13"/>
                  </a:cxn>
                  <a:cxn ang="0">
                    <a:pos x="40" y="15"/>
                  </a:cxn>
                  <a:cxn ang="0">
                    <a:pos x="41" y="18"/>
                  </a:cxn>
                  <a:cxn ang="0">
                    <a:pos x="38" y="19"/>
                  </a:cxn>
                  <a:cxn ang="0">
                    <a:pos x="38" y="23"/>
                  </a:cxn>
                  <a:cxn ang="0">
                    <a:pos x="43" y="20"/>
                  </a:cxn>
                  <a:cxn ang="0">
                    <a:pos x="43" y="22"/>
                  </a:cxn>
                  <a:cxn ang="0">
                    <a:pos x="44" y="25"/>
                  </a:cxn>
                  <a:cxn ang="0">
                    <a:pos x="41" y="25"/>
                  </a:cxn>
                  <a:cxn ang="0">
                    <a:pos x="40" y="28"/>
                  </a:cxn>
                  <a:cxn ang="0">
                    <a:pos x="38" y="32"/>
                  </a:cxn>
                  <a:cxn ang="0">
                    <a:pos x="37" y="34"/>
                  </a:cxn>
                  <a:cxn ang="0">
                    <a:pos x="34" y="35"/>
                  </a:cxn>
                  <a:cxn ang="0">
                    <a:pos x="29" y="38"/>
                  </a:cxn>
                  <a:cxn ang="0">
                    <a:pos x="29" y="39"/>
                  </a:cxn>
                  <a:cxn ang="0">
                    <a:pos x="28" y="42"/>
                  </a:cxn>
                  <a:cxn ang="0">
                    <a:pos x="27" y="42"/>
                  </a:cxn>
                  <a:cxn ang="0">
                    <a:pos x="13" y="36"/>
                  </a:cxn>
                  <a:cxn ang="0">
                    <a:pos x="6" y="31"/>
                  </a:cxn>
                  <a:cxn ang="0">
                    <a:pos x="6" y="28"/>
                  </a:cxn>
                  <a:cxn ang="0">
                    <a:pos x="5" y="26"/>
                  </a:cxn>
                  <a:cxn ang="0">
                    <a:pos x="2" y="23"/>
                  </a:cxn>
                  <a:cxn ang="0">
                    <a:pos x="2" y="22"/>
                  </a:cxn>
                  <a:cxn ang="0">
                    <a:pos x="3" y="22"/>
                  </a:cxn>
                  <a:cxn ang="0">
                    <a:pos x="3" y="20"/>
                  </a:cxn>
                  <a:cxn ang="0">
                    <a:pos x="2" y="20"/>
                  </a:cxn>
                  <a:cxn ang="0">
                    <a:pos x="2" y="16"/>
                  </a:cxn>
                  <a:cxn ang="0">
                    <a:pos x="0" y="15"/>
                  </a:cxn>
                  <a:cxn ang="0">
                    <a:pos x="0" y="12"/>
                  </a:cxn>
                </a:cxnLst>
                <a:rect l="0" t="0" r="r" b="b"/>
                <a:pathLst>
                  <a:path w="44" h="42">
                    <a:moveTo>
                      <a:pt x="0" y="12"/>
                    </a:moveTo>
                    <a:lnTo>
                      <a:pt x="2" y="13"/>
                    </a:lnTo>
                    <a:lnTo>
                      <a:pt x="5" y="13"/>
                    </a:lnTo>
                    <a:lnTo>
                      <a:pt x="5" y="12"/>
                    </a:lnTo>
                    <a:lnTo>
                      <a:pt x="6" y="10"/>
                    </a:lnTo>
                    <a:lnTo>
                      <a:pt x="8" y="9"/>
                    </a:lnTo>
                    <a:lnTo>
                      <a:pt x="8" y="9"/>
                    </a:lnTo>
                    <a:lnTo>
                      <a:pt x="9" y="7"/>
                    </a:lnTo>
                    <a:lnTo>
                      <a:pt x="9" y="7"/>
                    </a:lnTo>
                    <a:lnTo>
                      <a:pt x="12" y="3"/>
                    </a:lnTo>
                    <a:lnTo>
                      <a:pt x="12" y="2"/>
                    </a:lnTo>
                    <a:lnTo>
                      <a:pt x="13" y="2"/>
                    </a:lnTo>
                    <a:lnTo>
                      <a:pt x="15" y="0"/>
                    </a:lnTo>
                    <a:lnTo>
                      <a:pt x="16" y="2"/>
                    </a:lnTo>
                    <a:lnTo>
                      <a:pt x="21" y="0"/>
                    </a:lnTo>
                    <a:lnTo>
                      <a:pt x="21" y="0"/>
                    </a:lnTo>
                    <a:lnTo>
                      <a:pt x="31" y="0"/>
                    </a:lnTo>
                    <a:lnTo>
                      <a:pt x="31" y="2"/>
                    </a:lnTo>
                    <a:lnTo>
                      <a:pt x="32" y="3"/>
                    </a:lnTo>
                    <a:lnTo>
                      <a:pt x="34" y="4"/>
                    </a:lnTo>
                    <a:lnTo>
                      <a:pt x="35" y="4"/>
                    </a:lnTo>
                    <a:lnTo>
                      <a:pt x="35" y="6"/>
                    </a:lnTo>
                    <a:lnTo>
                      <a:pt x="35" y="6"/>
                    </a:lnTo>
                    <a:lnTo>
                      <a:pt x="35" y="7"/>
                    </a:lnTo>
                    <a:lnTo>
                      <a:pt x="35" y="7"/>
                    </a:lnTo>
                    <a:lnTo>
                      <a:pt x="37" y="9"/>
                    </a:lnTo>
                    <a:lnTo>
                      <a:pt x="38" y="9"/>
                    </a:lnTo>
                    <a:lnTo>
                      <a:pt x="38" y="9"/>
                    </a:lnTo>
                    <a:lnTo>
                      <a:pt x="38" y="10"/>
                    </a:lnTo>
                    <a:lnTo>
                      <a:pt x="38" y="12"/>
                    </a:lnTo>
                    <a:lnTo>
                      <a:pt x="38" y="12"/>
                    </a:lnTo>
                    <a:lnTo>
                      <a:pt x="38" y="13"/>
                    </a:lnTo>
                    <a:lnTo>
                      <a:pt x="38" y="13"/>
                    </a:lnTo>
                    <a:lnTo>
                      <a:pt x="40" y="15"/>
                    </a:lnTo>
                    <a:lnTo>
                      <a:pt x="40" y="15"/>
                    </a:lnTo>
                    <a:lnTo>
                      <a:pt x="41" y="18"/>
                    </a:lnTo>
                    <a:lnTo>
                      <a:pt x="40" y="18"/>
                    </a:lnTo>
                    <a:lnTo>
                      <a:pt x="38" y="19"/>
                    </a:lnTo>
                    <a:lnTo>
                      <a:pt x="38" y="23"/>
                    </a:lnTo>
                    <a:lnTo>
                      <a:pt x="38" y="23"/>
                    </a:lnTo>
                    <a:lnTo>
                      <a:pt x="41" y="22"/>
                    </a:lnTo>
                    <a:lnTo>
                      <a:pt x="43" y="20"/>
                    </a:lnTo>
                    <a:lnTo>
                      <a:pt x="43" y="20"/>
                    </a:lnTo>
                    <a:lnTo>
                      <a:pt x="43" y="22"/>
                    </a:lnTo>
                    <a:lnTo>
                      <a:pt x="43" y="23"/>
                    </a:lnTo>
                    <a:lnTo>
                      <a:pt x="44" y="25"/>
                    </a:lnTo>
                    <a:lnTo>
                      <a:pt x="44" y="25"/>
                    </a:lnTo>
                    <a:lnTo>
                      <a:pt x="41" y="25"/>
                    </a:lnTo>
                    <a:lnTo>
                      <a:pt x="40" y="26"/>
                    </a:lnTo>
                    <a:lnTo>
                      <a:pt x="40" y="28"/>
                    </a:lnTo>
                    <a:lnTo>
                      <a:pt x="40" y="31"/>
                    </a:lnTo>
                    <a:lnTo>
                      <a:pt x="38" y="32"/>
                    </a:lnTo>
                    <a:lnTo>
                      <a:pt x="38" y="32"/>
                    </a:lnTo>
                    <a:lnTo>
                      <a:pt x="37" y="34"/>
                    </a:lnTo>
                    <a:lnTo>
                      <a:pt x="35" y="35"/>
                    </a:lnTo>
                    <a:lnTo>
                      <a:pt x="34" y="35"/>
                    </a:lnTo>
                    <a:lnTo>
                      <a:pt x="31" y="38"/>
                    </a:lnTo>
                    <a:lnTo>
                      <a:pt x="29" y="38"/>
                    </a:lnTo>
                    <a:lnTo>
                      <a:pt x="29" y="39"/>
                    </a:lnTo>
                    <a:lnTo>
                      <a:pt x="29" y="39"/>
                    </a:lnTo>
                    <a:lnTo>
                      <a:pt x="28" y="41"/>
                    </a:lnTo>
                    <a:lnTo>
                      <a:pt x="28" y="42"/>
                    </a:lnTo>
                    <a:lnTo>
                      <a:pt x="27" y="42"/>
                    </a:lnTo>
                    <a:lnTo>
                      <a:pt x="27" y="42"/>
                    </a:lnTo>
                    <a:lnTo>
                      <a:pt x="13" y="38"/>
                    </a:lnTo>
                    <a:lnTo>
                      <a:pt x="13" y="36"/>
                    </a:lnTo>
                    <a:lnTo>
                      <a:pt x="12" y="35"/>
                    </a:lnTo>
                    <a:lnTo>
                      <a:pt x="6" y="31"/>
                    </a:lnTo>
                    <a:lnTo>
                      <a:pt x="6" y="29"/>
                    </a:lnTo>
                    <a:lnTo>
                      <a:pt x="6" y="28"/>
                    </a:lnTo>
                    <a:lnTo>
                      <a:pt x="6" y="28"/>
                    </a:lnTo>
                    <a:lnTo>
                      <a:pt x="5" y="26"/>
                    </a:lnTo>
                    <a:lnTo>
                      <a:pt x="3" y="26"/>
                    </a:lnTo>
                    <a:lnTo>
                      <a:pt x="2" y="23"/>
                    </a:lnTo>
                    <a:lnTo>
                      <a:pt x="2" y="22"/>
                    </a:lnTo>
                    <a:lnTo>
                      <a:pt x="2" y="22"/>
                    </a:lnTo>
                    <a:lnTo>
                      <a:pt x="3" y="22"/>
                    </a:lnTo>
                    <a:lnTo>
                      <a:pt x="3" y="22"/>
                    </a:lnTo>
                    <a:lnTo>
                      <a:pt x="3" y="22"/>
                    </a:lnTo>
                    <a:lnTo>
                      <a:pt x="3" y="20"/>
                    </a:lnTo>
                    <a:lnTo>
                      <a:pt x="2" y="20"/>
                    </a:lnTo>
                    <a:lnTo>
                      <a:pt x="2" y="20"/>
                    </a:lnTo>
                    <a:lnTo>
                      <a:pt x="2" y="18"/>
                    </a:lnTo>
                    <a:lnTo>
                      <a:pt x="2" y="16"/>
                    </a:lnTo>
                    <a:lnTo>
                      <a:pt x="2" y="16"/>
                    </a:lnTo>
                    <a:lnTo>
                      <a:pt x="0" y="15"/>
                    </a:lnTo>
                    <a:lnTo>
                      <a:pt x="0" y="13"/>
                    </a:lnTo>
                    <a:lnTo>
                      <a:pt x="0" y="1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04" name="Freeform 728"/>
              <p:cNvSpPr>
                <a:spLocks/>
              </p:cNvSpPr>
              <p:nvPr/>
            </p:nvSpPr>
            <p:spPr bwMode="auto">
              <a:xfrm>
                <a:off x="5945165" y="3127576"/>
                <a:ext cx="40379" cy="43608"/>
              </a:xfrm>
              <a:custGeom>
                <a:avLst/>
                <a:gdLst/>
                <a:ahLst/>
                <a:cxnLst>
                  <a:cxn ang="0">
                    <a:pos x="2" y="13"/>
                  </a:cxn>
                  <a:cxn ang="0">
                    <a:pos x="5" y="12"/>
                  </a:cxn>
                  <a:cxn ang="0">
                    <a:pos x="8" y="9"/>
                  </a:cxn>
                  <a:cxn ang="0">
                    <a:pos x="9" y="7"/>
                  </a:cxn>
                  <a:cxn ang="0">
                    <a:pos x="12" y="3"/>
                  </a:cxn>
                  <a:cxn ang="0">
                    <a:pos x="13" y="2"/>
                  </a:cxn>
                  <a:cxn ang="0">
                    <a:pos x="16" y="2"/>
                  </a:cxn>
                  <a:cxn ang="0">
                    <a:pos x="21" y="0"/>
                  </a:cxn>
                  <a:cxn ang="0">
                    <a:pos x="31" y="2"/>
                  </a:cxn>
                  <a:cxn ang="0">
                    <a:pos x="34" y="4"/>
                  </a:cxn>
                  <a:cxn ang="0">
                    <a:pos x="35" y="6"/>
                  </a:cxn>
                  <a:cxn ang="0">
                    <a:pos x="35" y="7"/>
                  </a:cxn>
                  <a:cxn ang="0">
                    <a:pos x="37" y="9"/>
                  </a:cxn>
                  <a:cxn ang="0">
                    <a:pos x="38" y="9"/>
                  </a:cxn>
                  <a:cxn ang="0">
                    <a:pos x="38" y="12"/>
                  </a:cxn>
                  <a:cxn ang="0">
                    <a:pos x="38" y="13"/>
                  </a:cxn>
                  <a:cxn ang="0">
                    <a:pos x="40" y="15"/>
                  </a:cxn>
                  <a:cxn ang="0">
                    <a:pos x="41" y="18"/>
                  </a:cxn>
                  <a:cxn ang="0">
                    <a:pos x="38" y="19"/>
                  </a:cxn>
                  <a:cxn ang="0">
                    <a:pos x="38" y="23"/>
                  </a:cxn>
                  <a:cxn ang="0">
                    <a:pos x="43" y="20"/>
                  </a:cxn>
                  <a:cxn ang="0">
                    <a:pos x="43" y="22"/>
                  </a:cxn>
                  <a:cxn ang="0">
                    <a:pos x="44" y="25"/>
                  </a:cxn>
                  <a:cxn ang="0">
                    <a:pos x="41" y="25"/>
                  </a:cxn>
                  <a:cxn ang="0">
                    <a:pos x="40" y="28"/>
                  </a:cxn>
                  <a:cxn ang="0">
                    <a:pos x="38" y="32"/>
                  </a:cxn>
                  <a:cxn ang="0">
                    <a:pos x="37" y="34"/>
                  </a:cxn>
                  <a:cxn ang="0">
                    <a:pos x="34" y="35"/>
                  </a:cxn>
                  <a:cxn ang="0">
                    <a:pos x="29" y="38"/>
                  </a:cxn>
                  <a:cxn ang="0">
                    <a:pos x="29" y="39"/>
                  </a:cxn>
                  <a:cxn ang="0">
                    <a:pos x="28" y="42"/>
                  </a:cxn>
                  <a:cxn ang="0">
                    <a:pos x="27" y="42"/>
                  </a:cxn>
                  <a:cxn ang="0">
                    <a:pos x="13" y="36"/>
                  </a:cxn>
                  <a:cxn ang="0">
                    <a:pos x="6" y="31"/>
                  </a:cxn>
                  <a:cxn ang="0">
                    <a:pos x="6" y="28"/>
                  </a:cxn>
                  <a:cxn ang="0">
                    <a:pos x="5" y="26"/>
                  </a:cxn>
                  <a:cxn ang="0">
                    <a:pos x="2" y="23"/>
                  </a:cxn>
                  <a:cxn ang="0">
                    <a:pos x="2" y="22"/>
                  </a:cxn>
                  <a:cxn ang="0">
                    <a:pos x="3" y="22"/>
                  </a:cxn>
                  <a:cxn ang="0">
                    <a:pos x="3" y="20"/>
                  </a:cxn>
                  <a:cxn ang="0">
                    <a:pos x="2" y="20"/>
                  </a:cxn>
                  <a:cxn ang="0">
                    <a:pos x="2" y="16"/>
                  </a:cxn>
                  <a:cxn ang="0">
                    <a:pos x="0" y="15"/>
                  </a:cxn>
                  <a:cxn ang="0">
                    <a:pos x="0" y="12"/>
                  </a:cxn>
                </a:cxnLst>
                <a:rect l="0" t="0" r="r" b="b"/>
                <a:pathLst>
                  <a:path w="44" h="42">
                    <a:moveTo>
                      <a:pt x="0" y="12"/>
                    </a:moveTo>
                    <a:lnTo>
                      <a:pt x="2" y="13"/>
                    </a:lnTo>
                    <a:lnTo>
                      <a:pt x="5" y="13"/>
                    </a:lnTo>
                    <a:lnTo>
                      <a:pt x="5" y="12"/>
                    </a:lnTo>
                    <a:lnTo>
                      <a:pt x="6" y="10"/>
                    </a:lnTo>
                    <a:lnTo>
                      <a:pt x="8" y="9"/>
                    </a:lnTo>
                    <a:lnTo>
                      <a:pt x="8" y="9"/>
                    </a:lnTo>
                    <a:lnTo>
                      <a:pt x="9" y="7"/>
                    </a:lnTo>
                    <a:lnTo>
                      <a:pt x="9" y="7"/>
                    </a:lnTo>
                    <a:lnTo>
                      <a:pt x="12" y="3"/>
                    </a:lnTo>
                    <a:lnTo>
                      <a:pt x="12" y="2"/>
                    </a:lnTo>
                    <a:lnTo>
                      <a:pt x="13" y="2"/>
                    </a:lnTo>
                    <a:lnTo>
                      <a:pt x="15" y="0"/>
                    </a:lnTo>
                    <a:lnTo>
                      <a:pt x="16" y="2"/>
                    </a:lnTo>
                    <a:lnTo>
                      <a:pt x="21" y="0"/>
                    </a:lnTo>
                    <a:lnTo>
                      <a:pt x="21" y="0"/>
                    </a:lnTo>
                    <a:lnTo>
                      <a:pt x="31" y="0"/>
                    </a:lnTo>
                    <a:lnTo>
                      <a:pt x="31" y="2"/>
                    </a:lnTo>
                    <a:lnTo>
                      <a:pt x="32" y="3"/>
                    </a:lnTo>
                    <a:lnTo>
                      <a:pt x="34" y="4"/>
                    </a:lnTo>
                    <a:lnTo>
                      <a:pt x="35" y="4"/>
                    </a:lnTo>
                    <a:lnTo>
                      <a:pt x="35" y="6"/>
                    </a:lnTo>
                    <a:lnTo>
                      <a:pt x="35" y="6"/>
                    </a:lnTo>
                    <a:lnTo>
                      <a:pt x="35" y="7"/>
                    </a:lnTo>
                    <a:lnTo>
                      <a:pt x="35" y="7"/>
                    </a:lnTo>
                    <a:lnTo>
                      <a:pt x="37" y="9"/>
                    </a:lnTo>
                    <a:lnTo>
                      <a:pt x="38" y="9"/>
                    </a:lnTo>
                    <a:lnTo>
                      <a:pt x="38" y="9"/>
                    </a:lnTo>
                    <a:lnTo>
                      <a:pt x="38" y="10"/>
                    </a:lnTo>
                    <a:lnTo>
                      <a:pt x="38" y="12"/>
                    </a:lnTo>
                    <a:lnTo>
                      <a:pt x="38" y="12"/>
                    </a:lnTo>
                    <a:lnTo>
                      <a:pt x="38" y="13"/>
                    </a:lnTo>
                    <a:lnTo>
                      <a:pt x="38" y="13"/>
                    </a:lnTo>
                    <a:lnTo>
                      <a:pt x="40" y="15"/>
                    </a:lnTo>
                    <a:lnTo>
                      <a:pt x="40" y="15"/>
                    </a:lnTo>
                    <a:lnTo>
                      <a:pt x="41" y="18"/>
                    </a:lnTo>
                    <a:lnTo>
                      <a:pt x="40" y="18"/>
                    </a:lnTo>
                    <a:lnTo>
                      <a:pt x="38" y="19"/>
                    </a:lnTo>
                    <a:lnTo>
                      <a:pt x="38" y="23"/>
                    </a:lnTo>
                    <a:lnTo>
                      <a:pt x="38" y="23"/>
                    </a:lnTo>
                    <a:lnTo>
                      <a:pt x="41" y="22"/>
                    </a:lnTo>
                    <a:lnTo>
                      <a:pt x="43" y="20"/>
                    </a:lnTo>
                    <a:lnTo>
                      <a:pt x="43" y="20"/>
                    </a:lnTo>
                    <a:lnTo>
                      <a:pt x="43" y="22"/>
                    </a:lnTo>
                    <a:lnTo>
                      <a:pt x="43" y="23"/>
                    </a:lnTo>
                    <a:lnTo>
                      <a:pt x="44" y="25"/>
                    </a:lnTo>
                    <a:lnTo>
                      <a:pt x="44" y="25"/>
                    </a:lnTo>
                    <a:lnTo>
                      <a:pt x="41" y="25"/>
                    </a:lnTo>
                    <a:lnTo>
                      <a:pt x="40" y="26"/>
                    </a:lnTo>
                    <a:lnTo>
                      <a:pt x="40" y="28"/>
                    </a:lnTo>
                    <a:lnTo>
                      <a:pt x="40" y="31"/>
                    </a:lnTo>
                    <a:lnTo>
                      <a:pt x="38" y="32"/>
                    </a:lnTo>
                    <a:lnTo>
                      <a:pt x="38" y="32"/>
                    </a:lnTo>
                    <a:lnTo>
                      <a:pt x="37" y="34"/>
                    </a:lnTo>
                    <a:lnTo>
                      <a:pt x="35" y="35"/>
                    </a:lnTo>
                    <a:lnTo>
                      <a:pt x="34" y="35"/>
                    </a:lnTo>
                    <a:lnTo>
                      <a:pt x="31" y="38"/>
                    </a:lnTo>
                    <a:lnTo>
                      <a:pt x="29" y="38"/>
                    </a:lnTo>
                    <a:lnTo>
                      <a:pt x="29" y="39"/>
                    </a:lnTo>
                    <a:lnTo>
                      <a:pt x="29" y="39"/>
                    </a:lnTo>
                    <a:lnTo>
                      <a:pt x="28" y="41"/>
                    </a:lnTo>
                    <a:lnTo>
                      <a:pt x="28" y="42"/>
                    </a:lnTo>
                    <a:lnTo>
                      <a:pt x="27" y="42"/>
                    </a:lnTo>
                    <a:lnTo>
                      <a:pt x="27" y="42"/>
                    </a:lnTo>
                    <a:lnTo>
                      <a:pt x="13" y="38"/>
                    </a:lnTo>
                    <a:lnTo>
                      <a:pt x="13" y="36"/>
                    </a:lnTo>
                    <a:lnTo>
                      <a:pt x="12" y="35"/>
                    </a:lnTo>
                    <a:lnTo>
                      <a:pt x="6" y="31"/>
                    </a:lnTo>
                    <a:lnTo>
                      <a:pt x="6" y="29"/>
                    </a:lnTo>
                    <a:lnTo>
                      <a:pt x="6" y="28"/>
                    </a:lnTo>
                    <a:lnTo>
                      <a:pt x="6" y="28"/>
                    </a:lnTo>
                    <a:lnTo>
                      <a:pt x="5" y="26"/>
                    </a:lnTo>
                    <a:lnTo>
                      <a:pt x="3" y="26"/>
                    </a:lnTo>
                    <a:lnTo>
                      <a:pt x="2" y="23"/>
                    </a:lnTo>
                    <a:lnTo>
                      <a:pt x="2" y="22"/>
                    </a:lnTo>
                    <a:lnTo>
                      <a:pt x="2" y="22"/>
                    </a:lnTo>
                    <a:lnTo>
                      <a:pt x="3" y="22"/>
                    </a:lnTo>
                    <a:lnTo>
                      <a:pt x="3" y="22"/>
                    </a:lnTo>
                    <a:lnTo>
                      <a:pt x="3" y="22"/>
                    </a:lnTo>
                    <a:lnTo>
                      <a:pt x="3" y="20"/>
                    </a:lnTo>
                    <a:lnTo>
                      <a:pt x="2" y="20"/>
                    </a:lnTo>
                    <a:lnTo>
                      <a:pt x="2" y="20"/>
                    </a:lnTo>
                    <a:lnTo>
                      <a:pt x="2" y="18"/>
                    </a:lnTo>
                    <a:lnTo>
                      <a:pt x="2" y="16"/>
                    </a:lnTo>
                    <a:lnTo>
                      <a:pt x="2" y="16"/>
                    </a:lnTo>
                    <a:lnTo>
                      <a:pt x="0" y="15"/>
                    </a:lnTo>
                    <a:lnTo>
                      <a:pt x="0" y="13"/>
                    </a:lnTo>
                    <a:lnTo>
                      <a:pt x="0" y="1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05" name="Freeform 729"/>
              <p:cNvSpPr>
                <a:spLocks/>
              </p:cNvSpPr>
              <p:nvPr/>
            </p:nvSpPr>
            <p:spPr bwMode="auto">
              <a:xfrm>
                <a:off x="6006611" y="3114393"/>
                <a:ext cx="81636" cy="96342"/>
              </a:xfrm>
              <a:custGeom>
                <a:avLst/>
                <a:gdLst/>
                <a:ahLst/>
                <a:cxnLst>
                  <a:cxn ang="0">
                    <a:pos x="63" y="80"/>
                  </a:cxn>
                  <a:cxn ang="0">
                    <a:pos x="82" y="80"/>
                  </a:cxn>
                  <a:cxn ang="0">
                    <a:pos x="83" y="73"/>
                  </a:cxn>
                  <a:cxn ang="0">
                    <a:pos x="79" y="56"/>
                  </a:cxn>
                  <a:cxn ang="0">
                    <a:pos x="82" y="46"/>
                  </a:cxn>
                  <a:cxn ang="0">
                    <a:pos x="87" y="38"/>
                  </a:cxn>
                  <a:cxn ang="0">
                    <a:pos x="84" y="24"/>
                  </a:cxn>
                  <a:cxn ang="0">
                    <a:pos x="84" y="21"/>
                  </a:cxn>
                  <a:cxn ang="0">
                    <a:pos x="83" y="19"/>
                  </a:cxn>
                  <a:cxn ang="0">
                    <a:pos x="77" y="12"/>
                  </a:cxn>
                  <a:cxn ang="0">
                    <a:pos x="63" y="14"/>
                  </a:cxn>
                  <a:cxn ang="0">
                    <a:pos x="58" y="15"/>
                  </a:cxn>
                  <a:cxn ang="0">
                    <a:pos x="57" y="15"/>
                  </a:cxn>
                  <a:cxn ang="0">
                    <a:pos x="52" y="12"/>
                  </a:cxn>
                  <a:cxn ang="0">
                    <a:pos x="50" y="9"/>
                  </a:cxn>
                  <a:cxn ang="0">
                    <a:pos x="50" y="6"/>
                  </a:cxn>
                  <a:cxn ang="0">
                    <a:pos x="44" y="5"/>
                  </a:cxn>
                  <a:cxn ang="0">
                    <a:pos x="38" y="6"/>
                  </a:cxn>
                  <a:cxn ang="0">
                    <a:pos x="35" y="3"/>
                  </a:cxn>
                  <a:cxn ang="0">
                    <a:pos x="34" y="0"/>
                  </a:cxn>
                  <a:cxn ang="0">
                    <a:pos x="31" y="3"/>
                  </a:cxn>
                  <a:cxn ang="0">
                    <a:pos x="28" y="3"/>
                  </a:cxn>
                  <a:cxn ang="0">
                    <a:pos x="23" y="6"/>
                  </a:cxn>
                  <a:cxn ang="0">
                    <a:pos x="21" y="8"/>
                  </a:cxn>
                  <a:cxn ang="0">
                    <a:pos x="18" y="8"/>
                  </a:cxn>
                  <a:cxn ang="0">
                    <a:pos x="15" y="5"/>
                  </a:cxn>
                  <a:cxn ang="0">
                    <a:pos x="12" y="6"/>
                  </a:cxn>
                  <a:cxn ang="0">
                    <a:pos x="9" y="9"/>
                  </a:cxn>
                  <a:cxn ang="0">
                    <a:pos x="7" y="19"/>
                  </a:cxn>
                  <a:cxn ang="0">
                    <a:pos x="10" y="24"/>
                  </a:cxn>
                  <a:cxn ang="0">
                    <a:pos x="12" y="25"/>
                  </a:cxn>
                  <a:cxn ang="0">
                    <a:pos x="12" y="30"/>
                  </a:cxn>
                  <a:cxn ang="0">
                    <a:pos x="13" y="35"/>
                  </a:cxn>
                  <a:cxn ang="0">
                    <a:pos x="10" y="34"/>
                  </a:cxn>
                  <a:cxn ang="0">
                    <a:pos x="5" y="34"/>
                  </a:cxn>
                  <a:cxn ang="0">
                    <a:pos x="6" y="37"/>
                  </a:cxn>
                  <a:cxn ang="0">
                    <a:pos x="9" y="38"/>
                  </a:cxn>
                  <a:cxn ang="0">
                    <a:pos x="7" y="44"/>
                  </a:cxn>
                  <a:cxn ang="0">
                    <a:pos x="2" y="47"/>
                  </a:cxn>
                  <a:cxn ang="0">
                    <a:pos x="5" y="53"/>
                  </a:cxn>
                  <a:cxn ang="0">
                    <a:pos x="0" y="62"/>
                  </a:cxn>
                  <a:cxn ang="0">
                    <a:pos x="3" y="62"/>
                  </a:cxn>
                  <a:cxn ang="0">
                    <a:pos x="6" y="64"/>
                  </a:cxn>
                  <a:cxn ang="0">
                    <a:pos x="10" y="67"/>
                  </a:cxn>
                  <a:cxn ang="0">
                    <a:pos x="16" y="72"/>
                  </a:cxn>
                  <a:cxn ang="0">
                    <a:pos x="18" y="75"/>
                  </a:cxn>
                  <a:cxn ang="0">
                    <a:pos x="16" y="79"/>
                  </a:cxn>
                  <a:cxn ang="0">
                    <a:pos x="15" y="82"/>
                  </a:cxn>
                </a:cxnLst>
                <a:rect l="0" t="0" r="r" b="b"/>
                <a:pathLst>
                  <a:path w="89" h="92">
                    <a:moveTo>
                      <a:pt x="15" y="92"/>
                    </a:moveTo>
                    <a:lnTo>
                      <a:pt x="16" y="92"/>
                    </a:lnTo>
                    <a:lnTo>
                      <a:pt x="21" y="92"/>
                    </a:lnTo>
                    <a:lnTo>
                      <a:pt x="63" y="80"/>
                    </a:lnTo>
                    <a:lnTo>
                      <a:pt x="79" y="83"/>
                    </a:lnTo>
                    <a:lnTo>
                      <a:pt x="80" y="80"/>
                    </a:lnTo>
                    <a:lnTo>
                      <a:pt x="80" y="80"/>
                    </a:lnTo>
                    <a:lnTo>
                      <a:pt x="82" y="80"/>
                    </a:lnTo>
                    <a:lnTo>
                      <a:pt x="83" y="80"/>
                    </a:lnTo>
                    <a:lnTo>
                      <a:pt x="84" y="80"/>
                    </a:lnTo>
                    <a:lnTo>
                      <a:pt x="84" y="73"/>
                    </a:lnTo>
                    <a:lnTo>
                      <a:pt x="83" y="73"/>
                    </a:lnTo>
                    <a:lnTo>
                      <a:pt x="82" y="73"/>
                    </a:lnTo>
                    <a:lnTo>
                      <a:pt x="80" y="72"/>
                    </a:lnTo>
                    <a:lnTo>
                      <a:pt x="77" y="63"/>
                    </a:lnTo>
                    <a:lnTo>
                      <a:pt x="79" y="56"/>
                    </a:lnTo>
                    <a:lnTo>
                      <a:pt x="79" y="54"/>
                    </a:lnTo>
                    <a:lnTo>
                      <a:pt x="80" y="53"/>
                    </a:lnTo>
                    <a:lnTo>
                      <a:pt x="82" y="51"/>
                    </a:lnTo>
                    <a:lnTo>
                      <a:pt x="82" y="46"/>
                    </a:lnTo>
                    <a:lnTo>
                      <a:pt x="84" y="40"/>
                    </a:lnTo>
                    <a:lnTo>
                      <a:pt x="84" y="40"/>
                    </a:lnTo>
                    <a:lnTo>
                      <a:pt x="86" y="38"/>
                    </a:lnTo>
                    <a:lnTo>
                      <a:pt x="87" y="38"/>
                    </a:lnTo>
                    <a:lnTo>
                      <a:pt x="87" y="37"/>
                    </a:lnTo>
                    <a:lnTo>
                      <a:pt x="89" y="37"/>
                    </a:lnTo>
                    <a:lnTo>
                      <a:pt x="86" y="25"/>
                    </a:lnTo>
                    <a:lnTo>
                      <a:pt x="84" y="24"/>
                    </a:lnTo>
                    <a:lnTo>
                      <a:pt x="84" y="24"/>
                    </a:lnTo>
                    <a:lnTo>
                      <a:pt x="84" y="24"/>
                    </a:lnTo>
                    <a:lnTo>
                      <a:pt x="86" y="22"/>
                    </a:lnTo>
                    <a:lnTo>
                      <a:pt x="84" y="21"/>
                    </a:lnTo>
                    <a:lnTo>
                      <a:pt x="84" y="19"/>
                    </a:lnTo>
                    <a:lnTo>
                      <a:pt x="84" y="18"/>
                    </a:lnTo>
                    <a:lnTo>
                      <a:pt x="84" y="19"/>
                    </a:lnTo>
                    <a:lnTo>
                      <a:pt x="83" y="19"/>
                    </a:lnTo>
                    <a:lnTo>
                      <a:pt x="82" y="18"/>
                    </a:lnTo>
                    <a:lnTo>
                      <a:pt x="80" y="15"/>
                    </a:lnTo>
                    <a:lnTo>
                      <a:pt x="79" y="14"/>
                    </a:lnTo>
                    <a:lnTo>
                      <a:pt x="77" y="12"/>
                    </a:lnTo>
                    <a:lnTo>
                      <a:pt x="77" y="12"/>
                    </a:lnTo>
                    <a:lnTo>
                      <a:pt x="76" y="14"/>
                    </a:lnTo>
                    <a:lnTo>
                      <a:pt x="71" y="12"/>
                    </a:lnTo>
                    <a:lnTo>
                      <a:pt x="63" y="14"/>
                    </a:lnTo>
                    <a:lnTo>
                      <a:pt x="61" y="16"/>
                    </a:lnTo>
                    <a:lnTo>
                      <a:pt x="61" y="16"/>
                    </a:lnTo>
                    <a:lnTo>
                      <a:pt x="58" y="15"/>
                    </a:lnTo>
                    <a:lnTo>
                      <a:pt x="58" y="15"/>
                    </a:lnTo>
                    <a:lnTo>
                      <a:pt x="58" y="15"/>
                    </a:lnTo>
                    <a:lnTo>
                      <a:pt x="57" y="15"/>
                    </a:lnTo>
                    <a:lnTo>
                      <a:pt x="57" y="15"/>
                    </a:lnTo>
                    <a:lnTo>
                      <a:pt x="57" y="15"/>
                    </a:lnTo>
                    <a:lnTo>
                      <a:pt x="54" y="15"/>
                    </a:lnTo>
                    <a:lnTo>
                      <a:pt x="54" y="14"/>
                    </a:lnTo>
                    <a:lnTo>
                      <a:pt x="52" y="12"/>
                    </a:lnTo>
                    <a:lnTo>
                      <a:pt x="52" y="12"/>
                    </a:lnTo>
                    <a:lnTo>
                      <a:pt x="52" y="12"/>
                    </a:lnTo>
                    <a:lnTo>
                      <a:pt x="52" y="11"/>
                    </a:lnTo>
                    <a:lnTo>
                      <a:pt x="51" y="11"/>
                    </a:lnTo>
                    <a:lnTo>
                      <a:pt x="50" y="9"/>
                    </a:lnTo>
                    <a:lnTo>
                      <a:pt x="50" y="9"/>
                    </a:lnTo>
                    <a:lnTo>
                      <a:pt x="50" y="8"/>
                    </a:lnTo>
                    <a:lnTo>
                      <a:pt x="50" y="6"/>
                    </a:lnTo>
                    <a:lnTo>
                      <a:pt x="50" y="6"/>
                    </a:lnTo>
                    <a:lnTo>
                      <a:pt x="48" y="6"/>
                    </a:lnTo>
                    <a:lnTo>
                      <a:pt x="45" y="6"/>
                    </a:lnTo>
                    <a:lnTo>
                      <a:pt x="45" y="6"/>
                    </a:lnTo>
                    <a:lnTo>
                      <a:pt x="44" y="5"/>
                    </a:lnTo>
                    <a:lnTo>
                      <a:pt x="44" y="5"/>
                    </a:lnTo>
                    <a:lnTo>
                      <a:pt x="39" y="5"/>
                    </a:lnTo>
                    <a:lnTo>
                      <a:pt x="39" y="6"/>
                    </a:lnTo>
                    <a:lnTo>
                      <a:pt x="38" y="6"/>
                    </a:lnTo>
                    <a:lnTo>
                      <a:pt x="36" y="8"/>
                    </a:lnTo>
                    <a:lnTo>
                      <a:pt x="35" y="8"/>
                    </a:lnTo>
                    <a:lnTo>
                      <a:pt x="35" y="8"/>
                    </a:lnTo>
                    <a:lnTo>
                      <a:pt x="35" y="3"/>
                    </a:lnTo>
                    <a:lnTo>
                      <a:pt x="34" y="3"/>
                    </a:lnTo>
                    <a:lnTo>
                      <a:pt x="35" y="3"/>
                    </a:lnTo>
                    <a:lnTo>
                      <a:pt x="34" y="2"/>
                    </a:lnTo>
                    <a:lnTo>
                      <a:pt x="34" y="0"/>
                    </a:lnTo>
                    <a:lnTo>
                      <a:pt x="34" y="0"/>
                    </a:lnTo>
                    <a:lnTo>
                      <a:pt x="32" y="0"/>
                    </a:lnTo>
                    <a:lnTo>
                      <a:pt x="31" y="3"/>
                    </a:lnTo>
                    <a:lnTo>
                      <a:pt x="31" y="3"/>
                    </a:lnTo>
                    <a:lnTo>
                      <a:pt x="29" y="2"/>
                    </a:lnTo>
                    <a:lnTo>
                      <a:pt x="28" y="2"/>
                    </a:lnTo>
                    <a:lnTo>
                      <a:pt x="28" y="2"/>
                    </a:lnTo>
                    <a:lnTo>
                      <a:pt x="28" y="3"/>
                    </a:lnTo>
                    <a:lnTo>
                      <a:pt x="28" y="5"/>
                    </a:lnTo>
                    <a:lnTo>
                      <a:pt x="28" y="6"/>
                    </a:lnTo>
                    <a:lnTo>
                      <a:pt x="25" y="6"/>
                    </a:lnTo>
                    <a:lnTo>
                      <a:pt x="23" y="6"/>
                    </a:lnTo>
                    <a:lnTo>
                      <a:pt x="23" y="8"/>
                    </a:lnTo>
                    <a:lnTo>
                      <a:pt x="22" y="9"/>
                    </a:lnTo>
                    <a:lnTo>
                      <a:pt x="22" y="9"/>
                    </a:lnTo>
                    <a:lnTo>
                      <a:pt x="21" y="8"/>
                    </a:lnTo>
                    <a:lnTo>
                      <a:pt x="19" y="8"/>
                    </a:lnTo>
                    <a:lnTo>
                      <a:pt x="19" y="6"/>
                    </a:lnTo>
                    <a:lnTo>
                      <a:pt x="18" y="8"/>
                    </a:lnTo>
                    <a:lnTo>
                      <a:pt x="18" y="8"/>
                    </a:lnTo>
                    <a:lnTo>
                      <a:pt x="18" y="8"/>
                    </a:lnTo>
                    <a:lnTo>
                      <a:pt x="18" y="6"/>
                    </a:lnTo>
                    <a:lnTo>
                      <a:pt x="16" y="5"/>
                    </a:lnTo>
                    <a:lnTo>
                      <a:pt x="15" y="5"/>
                    </a:lnTo>
                    <a:lnTo>
                      <a:pt x="15" y="5"/>
                    </a:lnTo>
                    <a:lnTo>
                      <a:pt x="13" y="5"/>
                    </a:lnTo>
                    <a:lnTo>
                      <a:pt x="13" y="5"/>
                    </a:lnTo>
                    <a:lnTo>
                      <a:pt x="12" y="6"/>
                    </a:lnTo>
                    <a:lnTo>
                      <a:pt x="12" y="8"/>
                    </a:lnTo>
                    <a:lnTo>
                      <a:pt x="10" y="8"/>
                    </a:lnTo>
                    <a:lnTo>
                      <a:pt x="9" y="8"/>
                    </a:lnTo>
                    <a:lnTo>
                      <a:pt x="9" y="9"/>
                    </a:lnTo>
                    <a:lnTo>
                      <a:pt x="7" y="11"/>
                    </a:lnTo>
                    <a:lnTo>
                      <a:pt x="7" y="12"/>
                    </a:lnTo>
                    <a:lnTo>
                      <a:pt x="6" y="12"/>
                    </a:lnTo>
                    <a:lnTo>
                      <a:pt x="7" y="19"/>
                    </a:lnTo>
                    <a:lnTo>
                      <a:pt x="7" y="19"/>
                    </a:lnTo>
                    <a:lnTo>
                      <a:pt x="9" y="21"/>
                    </a:lnTo>
                    <a:lnTo>
                      <a:pt x="10" y="21"/>
                    </a:lnTo>
                    <a:lnTo>
                      <a:pt x="10" y="24"/>
                    </a:lnTo>
                    <a:lnTo>
                      <a:pt x="12" y="24"/>
                    </a:lnTo>
                    <a:lnTo>
                      <a:pt x="12" y="25"/>
                    </a:lnTo>
                    <a:lnTo>
                      <a:pt x="12" y="25"/>
                    </a:lnTo>
                    <a:lnTo>
                      <a:pt x="12" y="25"/>
                    </a:lnTo>
                    <a:lnTo>
                      <a:pt x="10" y="27"/>
                    </a:lnTo>
                    <a:lnTo>
                      <a:pt x="10" y="30"/>
                    </a:lnTo>
                    <a:lnTo>
                      <a:pt x="10" y="30"/>
                    </a:lnTo>
                    <a:lnTo>
                      <a:pt x="12" y="30"/>
                    </a:lnTo>
                    <a:lnTo>
                      <a:pt x="12" y="30"/>
                    </a:lnTo>
                    <a:lnTo>
                      <a:pt x="12" y="31"/>
                    </a:lnTo>
                    <a:lnTo>
                      <a:pt x="13" y="32"/>
                    </a:lnTo>
                    <a:lnTo>
                      <a:pt x="13" y="35"/>
                    </a:lnTo>
                    <a:lnTo>
                      <a:pt x="13" y="35"/>
                    </a:lnTo>
                    <a:lnTo>
                      <a:pt x="12" y="34"/>
                    </a:lnTo>
                    <a:lnTo>
                      <a:pt x="12" y="34"/>
                    </a:lnTo>
                    <a:lnTo>
                      <a:pt x="10" y="34"/>
                    </a:lnTo>
                    <a:lnTo>
                      <a:pt x="10" y="32"/>
                    </a:lnTo>
                    <a:lnTo>
                      <a:pt x="7" y="32"/>
                    </a:lnTo>
                    <a:lnTo>
                      <a:pt x="5" y="34"/>
                    </a:lnTo>
                    <a:lnTo>
                      <a:pt x="5" y="34"/>
                    </a:lnTo>
                    <a:lnTo>
                      <a:pt x="6" y="34"/>
                    </a:lnTo>
                    <a:lnTo>
                      <a:pt x="6" y="35"/>
                    </a:lnTo>
                    <a:lnTo>
                      <a:pt x="6" y="37"/>
                    </a:lnTo>
                    <a:lnTo>
                      <a:pt x="6" y="37"/>
                    </a:lnTo>
                    <a:lnTo>
                      <a:pt x="7" y="37"/>
                    </a:lnTo>
                    <a:lnTo>
                      <a:pt x="9" y="37"/>
                    </a:lnTo>
                    <a:lnTo>
                      <a:pt x="9" y="38"/>
                    </a:lnTo>
                    <a:lnTo>
                      <a:pt x="9" y="38"/>
                    </a:lnTo>
                    <a:lnTo>
                      <a:pt x="9" y="38"/>
                    </a:lnTo>
                    <a:lnTo>
                      <a:pt x="9" y="40"/>
                    </a:lnTo>
                    <a:lnTo>
                      <a:pt x="7" y="40"/>
                    </a:lnTo>
                    <a:lnTo>
                      <a:pt x="7" y="44"/>
                    </a:lnTo>
                    <a:lnTo>
                      <a:pt x="6" y="46"/>
                    </a:lnTo>
                    <a:lnTo>
                      <a:pt x="6" y="47"/>
                    </a:lnTo>
                    <a:lnTo>
                      <a:pt x="3" y="47"/>
                    </a:lnTo>
                    <a:lnTo>
                      <a:pt x="2" y="47"/>
                    </a:lnTo>
                    <a:lnTo>
                      <a:pt x="3" y="50"/>
                    </a:lnTo>
                    <a:lnTo>
                      <a:pt x="3" y="51"/>
                    </a:lnTo>
                    <a:lnTo>
                      <a:pt x="5" y="51"/>
                    </a:lnTo>
                    <a:lnTo>
                      <a:pt x="5" y="53"/>
                    </a:lnTo>
                    <a:lnTo>
                      <a:pt x="5" y="53"/>
                    </a:lnTo>
                    <a:lnTo>
                      <a:pt x="5" y="57"/>
                    </a:lnTo>
                    <a:lnTo>
                      <a:pt x="2" y="60"/>
                    </a:lnTo>
                    <a:lnTo>
                      <a:pt x="0" y="62"/>
                    </a:lnTo>
                    <a:lnTo>
                      <a:pt x="2" y="62"/>
                    </a:lnTo>
                    <a:lnTo>
                      <a:pt x="2" y="62"/>
                    </a:lnTo>
                    <a:lnTo>
                      <a:pt x="2" y="62"/>
                    </a:lnTo>
                    <a:lnTo>
                      <a:pt x="3" y="62"/>
                    </a:lnTo>
                    <a:lnTo>
                      <a:pt x="3" y="63"/>
                    </a:lnTo>
                    <a:lnTo>
                      <a:pt x="3" y="63"/>
                    </a:lnTo>
                    <a:lnTo>
                      <a:pt x="5" y="63"/>
                    </a:lnTo>
                    <a:lnTo>
                      <a:pt x="6" y="64"/>
                    </a:lnTo>
                    <a:lnTo>
                      <a:pt x="9" y="64"/>
                    </a:lnTo>
                    <a:lnTo>
                      <a:pt x="9" y="64"/>
                    </a:lnTo>
                    <a:lnTo>
                      <a:pt x="10" y="66"/>
                    </a:lnTo>
                    <a:lnTo>
                      <a:pt x="10" y="67"/>
                    </a:lnTo>
                    <a:lnTo>
                      <a:pt x="12" y="67"/>
                    </a:lnTo>
                    <a:lnTo>
                      <a:pt x="13" y="70"/>
                    </a:lnTo>
                    <a:lnTo>
                      <a:pt x="15" y="70"/>
                    </a:lnTo>
                    <a:lnTo>
                      <a:pt x="16" y="72"/>
                    </a:lnTo>
                    <a:lnTo>
                      <a:pt x="18" y="70"/>
                    </a:lnTo>
                    <a:lnTo>
                      <a:pt x="18" y="72"/>
                    </a:lnTo>
                    <a:lnTo>
                      <a:pt x="18" y="73"/>
                    </a:lnTo>
                    <a:lnTo>
                      <a:pt x="18" y="75"/>
                    </a:lnTo>
                    <a:lnTo>
                      <a:pt x="18" y="78"/>
                    </a:lnTo>
                    <a:lnTo>
                      <a:pt x="18" y="78"/>
                    </a:lnTo>
                    <a:lnTo>
                      <a:pt x="18" y="79"/>
                    </a:lnTo>
                    <a:lnTo>
                      <a:pt x="16" y="79"/>
                    </a:lnTo>
                    <a:lnTo>
                      <a:pt x="16" y="79"/>
                    </a:lnTo>
                    <a:lnTo>
                      <a:pt x="16" y="82"/>
                    </a:lnTo>
                    <a:lnTo>
                      <a:pt x="16" y="82"/>
                    </a:lnTo>
                    <a:lnTo>
                      <a:pt x="15" y="82"/>
                    </a:lnTo>
                    <a:lnTo>
                      <a:pt x="16" y="83"/>
                    </a:lnTo>
                    <a:lnTo>
                      <a:pt x="15" y="85"/>
                    </a:lnTo>
                    <a:lnTo>
                      <a:pt x="15" y="9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06" name="Freeform 730"/>
              <p:cNvSpPr>
                <a:spLocks/>
              </p:cNvSpPr>
              <p:nvPr/>
            </p:nvSpPr>
            <p:spPr bwMode="auto">
              <a:xfrm>
                <a:off x="6006611" y="3114393"/>
                <a:ext cx="81636" cy="96342"/>
              </a:xfrm>
              <a:custGeom>
                <a:avLst/>
                <a:gdLst/>
                <a:ahLst/>
                <a:cxnLst>
                  <a:cxn ang="0">
                    <a:pos x="63" y="80"/>
                  </a:cxn>
                  <a:cxn ang="0">
                    <a:pos x="82" y="80"/>
                  </a:cxn>
                  <a:cxn ang="0">
                    <a:pos x="83" y="73"/>
                  </a:cxn>
                  <a:cxn ang="0">
                    <a:pos x="79" y="56"/>
                  </a:cxn>
                  <a:cxn ang="0">
                    <a:pos x="82" y="46"/>
                  </a:cxn>
                  <a:cxn ang="0">
                    <a:pos x="87" y="38"/>
                  </a:cxn>
                  <a:cxn ang="0">
                    <a:pos x="84" y="24"/>
                  </a:cxn>
                  <a:cxn ang="0">
                    <a:pos x="84" y="21"/>
                  </a:cxn>
                  <a:cxn ang="0">
                    <a:pos x="83" y="19"/>
                  </a:cxn>
                  <a:cxn ang="0">
                    <a:pos x="77" y="12"/>
                  </a:cxn>
                  <a:cxn ang="0">
                    <a:pos x="63" y="14"/>
                  </a:cxn>
                  <a:cxn ang="0">
                    <a:pos x="58" y="15"/>
                  </a:cxn>
                  <a:cxn ang="0">
                    <a:pos x="57" y="15"/>
                  </a:cxn>
                  <a:cxn ang="0">
                    <a:pos x="52" y="12"/>
                  </a:cxn>
                  <a:cxn ang="0">
                    <a:pos x="50" y="9"/>
                  </a:cxn>
                  <a:cxn ang="0">
                    <a:pos x="50" y="6"/>
                  </a:cxn>
                  <a:cxn ang="0">
                    <a:pos x="44" y="5"/>
                  </a:cxn>
                  <a:cxn ang="0">
                    <a:pos x="38" y="6"/>
                  </a:cxn>
                  <a:cxn ang="0">
                    <a:pos x="35" y="3"/>
                  </a:cxn>
                  <a:cxn ang="0">
                    <a:pos x="34" y="0"/>
                  </a:cxn>
                  <a:cxn ang="0">
                    <a:pos x="31" y="3"/>
                  </a:cxn>
                  <a:cxn ang="0">
                    <a:pos x="28" y="3"/>
                  </a:cxn>
                  <a:cxn ang="0">
                    <a:pos x="23" y="6"/>
                  </a:cxn>
                  <a:cxn ang="0">
                    <a:pos x="21" y="8"/>
                  </a:cxn>
                  <a:cxn ang="0">
                    <a:pos x="18" y="8"/>
                  </a:cxn>
                  <a:cxn ang="0">
                    <a:pos x="15" y="5"/>
                  </a:cxn>
                  <a:cxn ang="0">
                    <a:pos x="12" y="6"/>
                  </a:cxn>
                  <a:cxn ang="0">
                    <a:pos x="9" y="9"/>
                  </a:cxn>
                  <a:cxn ang="0">
                    <a:pos x="7" y="19"/>
                  </a:cxn>
                  <a:cxn ang="0">
                    <a:pos x="10" y="24"/>
                  </a:cxn>
                  <a:cxn ang="0">
                    <a:pos x="12" y="25"/>
                  </a:cxn>
                  <a:cxn ang="0">
                    <a:pos x="12" y="30"/>
                  </a:cxn>
                  <a:cxn ang="0">
                    <a:pos x="13" y="35"/>
                  </a:cxn>
                  <a:cxn ang="0">
                    <a:pos x="10" y="34"/>
                  </a:cxn>
                  <a:cxn ang="0">
                    <a:pos x="5" y="34"/>
                  </a:cxn>
                  <a:cxn ang="0">
                    <a:pos x="6" y="37"/>
                  </a:cxn>
                  <a:cxn ang="0">
                    <a:pos x="9" y="38"/>
                  </a:cxn>
                  <a:cxn ang="0">
                    <a:pos x="7" y="44"/>
                  </a:cxn>
                  <a:cxn ang="0">
                    <a:pos x="2" y="47"/>
                  </a:cxn>
                  <a:cxn ang="0">
                    <a:pos x="5" y="53"/>
                  </a:cxn>
                  <a:cxn ang="0">
                    <a:pos x="0" y="62"/>
                  </a:cxn>
                  <a:cxn ang="0">
                    <a:pos x="3" y="62"/>
                  </a:cxn>
                  <a:cxn ang="0">
                    <a:pos x="6" y="64"/>
                  </a:cxn>
                  <a:cxn ang="0">
                    <a:pos x="10" y="67"/>
                  </a:cxn>
                  <a:cxn ang="0">
                    <a:pos x="16" y="72"/>
                  </a:cxn>
                  <a:cxn ang="0">
                    <a:pos x="18" y="75"/>
                  </a:cxn>
                  <a:cxn ang="0">
                    <a:pos x="16" y="79"/>
                  </a:cxn>
                  <a:cxn ang="0">
                    <a:pos x="15" y="82"/>
                  </a:cxn>
                </a:cxnLst>
                <a:rect l="0" t="0" r="r" b="b"/>
                <a:pathLst>
                  <a:path w="89" h="92">
                    <a:moveTo>
                      <a:pt x="15" y="92"/>
                    </a:moveTo>
                    <a:lnTo>
                      <a:pt x="16" y="92"/>
                    </a:lnTo>
                    <a:lnTo>
                      <a:pt x="21" y="92"/>
                    </a:lnTo>
                    <a:lnTo>
                      <a:pt x="63" y="80"/>
                    </a:lnTo>
                    <a:lnTo>
                      <a:pt x="79" y="83"/>
                    </a:lnTo>
                    <a:lnTo>
                      <a:pt x="80" y="80"/>
                    </a:lnTo>
                    <a:lnTo>
                      <a:pt x="80" y="80"/>
                    </a:lnTo>
                    <a:lnTo>
                      <a:pt x="82" y="80"/>
                    </a:lnTo>
                    <a:lnTo>
                      <a:pt x="83" y="80"/>
                    </a:lnTo>
                    <a:lnTo>
                      <a:pt x="84" y="80"/>
                    </a:lnTo>
                    <a:lnTo>
                      <a:pt x="84" y="73"/>
                    </a:lnTo>
                    <a:lnTo>
                      <a:pt x="83" y="73"/>
                    </a:lnTo>
                    <a:lnTo>
                      <a:pt x="82" y="73"/>
                    </a:lnTo>
                    <a:lnTo>
                      <a:pt x="80" y="72"/>
                    </a:lnTo>
                    <a:lnTo>
                      <a:pt x="77" y="63"/>
                    </a:lnTo>
                    <a:lnTo>
                      <a:pt x="79" y="56"/>
                    </a:lnTo>
                    <a:lnTo>
                      <a:pt x="79" y="54"/>
                    </a:lnTo>
                    <a:lnTo>
                      <a:pt x="80" y="53"/>
                    </a:lnTo>
                    <a:lnTo>
                      <a:pt x="82" y="51"/>
                    </a:lnTo>
                    <a:lnTo>
                      <a:pt x="82" y="46"/>
                    </a:lnTo>
                    <a:lnTo>
                      <a:pt x="84" y="40"/>
                    </a:lnTo>
                    <a:lnTo>
                      <a:pt x="84" y="40"/>
                    </a:lnTo>
                    <a:lnTo>
                      <a:pt x="86" y="38"/>
                    </a:lnTo>
                    <a:lnTo>
                      <a:pt x="87" y="38"/>
                    </a:lnTo>
                    <a:lnTo>
                      <a:pt x="87" y="37"/>
                    </a:lnTo>
                    <a:lnTo>
                      <a:pt x="89" y="37"/>
                    </a:lnTo>
                    <a:lnTo>
                      <a:pt x="86" y="25"/>
                    </a:lnTo>
                    <a:lnTo>
                      <a:pt x="84" y="24"/>
                    </a:lnTo>
                    <a:lnTo>
                      <a:pt x="84" y="24"/>
                    </a:lnTo>
                    <a:lnTo>
                      <a:pt x="84" y="24"/>
                    </a:lnTo>
                    <a:lnTo>
                      <a:pt x="86" y="22"/>
                    </a:lnTo>
                    <a:lnTo>
                      <a:pt x="84" y="21"/>
                    </a:lnTo>
                    <a:lnTo>
                      <a:pt x="84" y="19"/>
                    </a:lnTo>
                    <a:lnTo>
                      <a:pt x="84" y="18"/>
                    </a:lnTo>
                    <a:lnTo>
                      <a:pt x="84" y="19"/>
                    </a:lnTo>
                    <a:lnTo>
                      <a:pt x="83" y="19"/>
                    </a:lnTo>
                    <a:lnTo>
                      <a:pt x="82" y="18"/>
                    </a:lnTo>
                    <a:lnTo>
                      <a:pt x="80" y="15"/>
                    </a:lnTo>
                    <a:lnTo>
                      <a:pt x="79" y="14"/>
                    </a:lnTo>
                    <a:lnTo>
                      <a:pt x="77" y="12"/>
                    </a:lnTo>
                    <a:lnTo>
                      <a:pt x="77" y="12"/>
                    </a:lnTo>
                    <a:lnTo>
                      <a:pt x="76" y="14"/>
                    </a:lnTo>
                    <a:lnTo>
                      <a:pt x="71" y="12"/>
                    </a:lnTo>
                    <a:lnTo>
                      <a:pt x="63" y="14"/>
                    </a:lnTo>
                    <a:lnTo>
                      <a:pt x="61" y="16"/>
                    </a:lnTo>
                    <a:lnTo>
                      <a:pt x="61" y="16"/>
                    </a:lnTo>
                    <a:lnTo>
                      <a:pt x="58" y="15"/>
                    </a:lnTo>
                    <a:lnTo>
                      <a:pt x="58" y="15"/>
                    </a:lnTo>
                    <a:lnTo>
                      <a:pt x="58" y="15"/>
                    </a:lnTo>
                    <a:lnTo>
                      <a:pt x="57" y="15"/>
                    </a:lnTo>
                    <a:lnTo>
                      <a:pt x="57" y="15"/>
                    </a:lnTo>
                    <a:lnTo>
                      <a:pt x="57" y="15"/>
                    </a:lnTo>
                    <a:lnTo>
                      <a:pt x="54" y="15"/>
                    </a:lnTo>
                    <a:lnTo>
                      <a:pt x="54" y="14"/>
                    </a:lnTo>
                    <a:lnTo>
                      <a:pt x="52" y="12"/>
                    </a:lnTo>
                    <a:lnTo>
                      <a:pt x="52" y="12"/>
                    </a:lnTo>
                    <a:lnTo>
                      <a:pt x="52" y="12"/>
                    </a:lnTo>
                    <a:lnTo>
                      <a:pt x="52" y="11"/>
                    </a:lnTo>
                    <a:lnTo>
                      <a:pt x="51" y="11"/>
                    </a:lnTo>
                    <a:lnTo>
                      <a:pt x="50" y="9"/>
                    </a:lnTo>
                    <a:lnTo>
                      <a:pt x="50" y="9"/>
                    </a:lnTo>
                    <a:lnTo>
                      <a:pt x="50" y="8"/>
                    </a:lnTo>
                    <a:lnTo>
                      <a:pt x="50" y="6"/>
                    </a:lnTo>
                    <a:lnTo>
                      <a:pt x="50" y="6"/>
                    </a:lnTo>
                    <a:lnTo>
                      <a:pt x="48" y="6"/>
                    </a:lnTo>
                    <a:lnTo>
                      <a:pt x="45" y="6"/>
                    </a:lnTo>
                    <a:lnTo>
                      <a:pt x="45" y="6"/>
                    </a:lnTo>
                    <a:lnTo>
                      <a:pt x="44" y="5"/>
                    </a:lnTo>
                    <a:lnTo>
                      <a:pt x="44" y="5"/>
                    </a:lnTo>
                    <a:lnTo>
                      <a:pt x="39" y="5"/>
                    </a:lnTo>
                    <a:lnTo>
                      <a:pt x="39" y="6"/>
                    </a:lnTo>
                    <a:lnTo>
                      <a:pt x="38" y="6"/>
                    </a:lnTo>
                    <a:lnTo>
                      <a:pt x="36" y="8"/>
                    </a:lnTo>
                    <a:lnTo>
                      <a:pt x="35" y="8"/>
                    </a:lnTo>
                    <a:lnTo>
                      <a:pt x="35" y="8"/>
                    </a:lnTo>
                    <a:lnTo>
                      <a:pt x="35" y="3"/>
                    </a:lnTo>
                    <a:lnTo>
                      <a:pt x="34" y="3"/>
                    </a:lnTo>
                    <a:lnTo>
                      <a:pt x="35" y="3"/>
                    </a:lnTo>
                    <a:lnTo>
                      <a:pt x="34" y="2"/>
                    </a:lnTo>
                    <a:lnTo>
                      <a:pt x="34" y="0"/>
                    </a:lnTo>
                    <a:lnTo>
                      <a:pt x="34" y="0"/>
                    </a:lnTo>
                    <a:lnTo>
                      <a:pt x="32" y="0"/>
                    </a:lnTo>
                    <a:lnTo>
                      <a:pt x="31" y="3"/>
                    </a:lnTo>
                    <a:lnTo>
                      <a:pt x="31" y="3"/>
                    </a:lnTo>
                    <a:lnTo>
                      <a:pt x="29" y="2"/>
                    </a:lnTo>
                    <a:lnTo>
                      <a:pt x="28" y="2"/>
                    </a:lnTo>
                    <a:lnTo>
                      <a:pt x="28" y="2"/>
                    </a:lnTo>
                    <a:lnTo>
                      <a:pt x="28" y="3"/>
                    </a:lnTo>
                    <a:lnTo>
                      <a:pt x="28" y="5"/>
                    </a:lnTo>
                    <a:lnTo>
                      <a:pt x="28" y="6"/>
                    </a:lnTo>
                    <a:lnTo>
                      <a:pt x="25" y="6"/>
                    </a:lnTo>
                    <a:lnTo>
                      <a:pt x="23" y="6"/>
                    </a:lnTo>
                    <a:lnTo>
                      <a:pt x="23" y="8"/>
                    </a:lnTo>
                    <a:lnTo>
                      <a:pt x="22" y="9"/>
                    </a:lnTo>
                    <a:lnTo>
                      <a:pt x="22" y="9"/>
                    </a:lnTo>
                    <a:lnTo>
                      <a:pt x="21" y="8"/>
                    </a:lnTo>
                    <a:lnTo>
                      <a:pt x="19" y="8"/>
                    </a:lnTo>
                    <a:lnTo>
                      <a:pt x="19" y="6"/>
                    </a:lnTo>
                    <a:lnTo>
                      <a:pt x="18" y="8"/>
                    </a:lnTo>
                    <a:lnTo>
                      <a:pt x="18" y="8"/>
                    </a:lnTo>
                    <a:lnTo>
                      <a:pt x="18" y="8"/>
                    </a:lnTo>
                    <a:lnTo>
                      <a:pt x="18" y="6"/>
                    </a:lnTo>
                    <a:lnTo>
                      <a:pt x="16" y="5"/>
                    </a:lnTo>
                    <a:lnTo>
                      <a:pt x="15" y="5"/>
                    </a:lnTo>
                    <a:lnTo>
                      <a:pt x="15" y="5"/>
                    </a:lnTo>
                    <a:lnTo>
                      <a:pt x="13" y="5"/>
                    </a:lnTo>
                    <a:lnTo>
                      <a:pt x="13" y="5"/>
                    </a:lnTo>
                    <a:lnTo>
                      <a:pt x="12" y="6"/>
                    </a:lnTo>
                    <a:lnTo>
                      <a:pt x="12" y="8"/>
                    </a:lnTo>
                    <a:lnTo>
                      <a:pt x="10" y="8"/>
                    </a:lnTo>
                    <a:lnTo>
                      <a:pt x="9" y="8"/>
                    </a:lnTo>
                    <a:lnTo>
                      <a:pt x="9" y="9"/>
                    </a:lnTo>
                    <a:lnTo>
                      <a:pt x="7" y="11"/>
                    </a:lnTo>
                    <a:lnTo>
                      <a:pt x="7" y="12"/>
                    </a:lnTo>
                    <a:lnTo>
                      <a:pt x="6" y="12"/>
                    </a:lnTo>
                    <a:lnTo>
                      <a:pt x="7" y="19"/>
                    </a:lnTo>
                    <a:lnTo>
                      <a:pt x="7" y="19"/>
                    </a:lnTo>
                    <a:lnTo>
                      <a:pt x="9" y="21"/>
                    </a:lnTo>
                    <a:lnTo>
                      <a:pt x="10" y="21"/>
                    </a:lnTo>
                    <a:lnTo>
                      <a:pt x="10" y="24"/>
                    </a:lnTo>
                    <a:lnTo>
                      <a:pt x="12" y="24"/>
                    </a:lnTo>
                    <a:lnTo>
                      <a:pt x="12" y="25"/>
                    </a:lnTo>
                    <a:lnTo>
                      <a:pt x="12" y="25"/>
                    </a:lnTo>
                    <a:lnTo>
                      <a:pt x="12" y="25"/>
                    </a:lnTo>
                    <a:lnTo>
                      <a:pt x="10" y="27"/>
                    </a:lnTo>
                    <a:lnTo>
                      <a:pt x="10" y="30"/>
                    </a:lnTo>
                    <a:lnTo>
                      <a:pt x="10" y="30"/>
                    </a:lnTo>
                    <a:lnTo>
                      <a:pt x="12" y="30"/>
                    </a:lnTo>
                    <a:lnTo>
                      <a:pt x="12" y="30"/>
                    </a:lnTo>
                    <a:lnTo>
                      <a:pt x="12" y="31"/>
                    </a:lnTo>
                    <a:lnTo>
                      <a:pt x="13" y="32"/>
                    </a:lnTo>
                    <a:lnTo>
                      <a:pt x="13" y="35"/>
                    </a:lnTo>
                    <a:lnTo>
                      <a:pt x="13" y="35"/>
                    </a:lnTo>
                    <a:lnTo>
                      <a:pt x="12" y="34"/>
                    </a:lnTo>
                    <a:lnTo>
                      <a:pt x="12" y="34"/>
                    </a:lnTo>
                    <a:lnTo>
                      <a:pt x="10" y="34"/>
                    </a:lnTo>
                    <a:lnTo>
                      <a:pt x="10" y="32"/>
                    </a:lnTo>
                    <a:lnTo>
                      <a:pt x="7" y="32"/>
                    </a:lnTo>
                    <a:lnTo>
                      <a:pt x="5" y="34"/>
                    </a:lnTo>
                    <a:lnTo>
                      <a:pt x="5" y="34"/>
                    </a:lnTo>
                    <a:lnTo>
                      <a:pt x="6" y="34"/>
                    </a:lnTo>
                    <a:lnTo>
                      <a:pt x="6" y="35"/>
                    </a:lnTo>
                    <a:lnTo>
                      <a:pt x="6" y="37"/>
                    </a:lnTo>
                    <a:lnTo>
                      <a:pt x="6" y="37"/>
                    </a:lnTo>
                    <a:lnTo>
                      <a:pt x="7" y="37"/>
                    </a:lnTo>
                    <a:lnTo>
                      <a:pt x="9" y="37"/>
                    </a:lnTo>
                    <a:lnTo>
                      <a:pt x="9" y="38"/>
                    </a:lnTo>
                    <a:lnTo>
                      <a:pt x="9" y="38"/>
                    </a:lnTo>
                    <a:lnTo>
                      <a:pt x="9" y="38"/>
                    </a:lnTo>
                    <a:lnTo>
                      <a:pt x="9" y="40"/>
                    </a:lnTo>
                    <a:lnTo>
                      <a:pt x="7" y="40"/>
                    </a:lnTo>
                    <a:lnTo>
                      <a:pt x="7" y="44"/>
                    </a:lnTo>
                    <a:lnTo>
                      <a:pt x="6" y="46"/>
                    </a:lnTo>
                    <a:lnTo>
                      <a:pt x="6" y="47"/>
                    </a:lnTo>
                    <a:lnTo>
                      <a:pt x="3" y="47"/>
                    </a:lnTo>
                    <a:lnTo>
                      <a:pt x="2" y="47"/>
                    </a:lnTo>
                    <a:lnTo>
                      <a:pt x="3" y="50"/>
                    </a:lnTo>
                    <a:lnTo>
                      <a:pt x="3" y="51"/>
                    </a:lnTo>
                    <a:lnTo>
                      <a:pt x="5" y="51"/>
                    </a:lnTo>
                    <a:lnTo>
                      <a:pt x="5" y="53"/>
                    </a:lnTo>
                    <a:lnTo>
                      <a:pt x="5" y="53"/>
                    </a:lnTo>
                    <a:lnTo>
                      <a:pt x="5" y="57"/>
                    </a:lnTo>
                    <a:lnTo>
                      <a:pt x="2" y="60"/>
                    </a:lnTo>
                    <a:lnTo>
                      <a:pt x="0" y="62"/>
                    </a:lnTo>
                    <a:lnTo>
                      <a:pt x="2" y="62"/>
                    </a:lnTo>
                    <a:lnTo>
                      <a:pt x="2" y="62"/>
                    </a:lnTo>
                    <a:lnTo>
                      <a:pt x="2" y="62"/>
                    </a:lnTo>
                    <a:lnTo>
                      <a:pt x="3" y="62"/>
                    </a:lnTo>
                    <a:lnTo>
                      <a:pt x="3" y="63"/>
                    </a:lnTo>
                    <a:lnTo>
                      <a:pt x="3" y="63"/>
                    </a:lnTo>
                    <a:lnTo>
                      <a:pt x="5" y="63"/>
                    </a:lnTo>
                    <a:lnTo>
                      <a:pt x="6" y="64"/>
                    </a:lnTo>
                    <a:lnTo>
                      <a:pt x="9" y="64"/>
                    </a:lnTo>
                    <a:lnTo>
                      <a:pt x="9" y="64"/>
                    </a:lnTo>
                    <a:lnTo>
                      <a:pt x="10" y="66"/>
                    </a:lnTo>
                    <a:lnTo>
                      <a:pt x="10" y="67"/>
                    </a:lnTo>
                    <a:lnTo>
                      <a:pt x="12" y="67"/>
                    </a:lnTo>
                    <a:lnTo>
                      <a:pt x="13" y="70"/>
                    </a:lnTo>
                    <a:lnTo>
                      <a:pt x="15" y="70"/>
                    </a:lnTo>
                    <a:lnTo>
                      <a:pt x="16" y="72"/>
                    </a:lnTo>
                    <a:lnTo>
                      <a:pt x="18" y="70"/>
                    </a:lnTo>
                    <a:lnTo>
                      <a:pt x="18" y="72"/>
                    </a:lnTo>
                    <a:lnTo>
                      <a:pt x="18" y="73"/>
                    </a:lnTo>
                    <a:lnTo>
                      <a:pt x="18" y="75"/>
                    </a:lnTo>
                    <a:lnTo>
                      <a:pt x="18" y="78"/>
                    </a:lnTo>
                    <a:lnTo>
                      <a:pt x="18" y="78"/>
                    </a:lnTo>
                    <a:lnTo>
                      <a:pt x="18" y="79"/>
                    </a:lnTo>
                    <a:lnTo>
                      <a:pt x="16" y="79"/>
                    </a:lnTo>
                    <a:lnTo>
                      <a:pt x="16" y="79"/>
                    </a:lnTo>
                    <a:lnTo>
                      <a:pt x="16" y="82"/>
                    </a:lnTo>
                    <a:lnTo>
                      <a:pt x="16" y="82"/>
                    </a:lnTo>
                    <a:lnTo>
                      <a:pt x="15" y="82"/>
                    </a:lnTo>
                    <a:lnTo>
                      <a:pt x="16" y="83"/>
                    </a:lnTo>
                    <a:lnTo>
                      <a:pt x="15" y="85"/>
                    </a:lnTo>
                    <a:lnTo>
                      <a:pt x="15" y="9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07" name="Freeform 731"/>
              <p:cNvSpPr>
                <a:spLocks/>
              </p:cNvSpPr>
              <p:nvPr/>
            </p:nvSpPr>
            <p:spPr bwMode="auto">
              <a:xfrm>
                <a:off x="6115458" y="3109322"/>
                <a:ext cx="29845" cy="77075"/>
              </a:xfrm>
              <a:custGeom>
                <a:avLst/>
                <a:gdLst/>
                <a:ahLst/>
                <a:cxnLst>
                  <a:cxn ang="0">
                    <a:pos x="22" y="74"/>
                  </a:cxn>
                  <a:cxn ang="0">
                    <a:pos x="21" y="72"/>
                  </a:cxn>
                  <a:cxn ang="0">
                    <a:pos x="15" y="65"/>
                  </a:cxn>
                  <a:cxn ang="0">
                    <a:pos x="10" y="24"/>
                  </a:cxn>
                  <a:cxn ang="0">
                    <a:pos x="9" y="23"/>
                  </a:cxn>
                  <a:cxn ang="0">
                    <a:pos x="8" y="14"/>
                  </a:cxn>
                  <a:cxn ang="0">
                    <a:pos x="5" y="8"/>
                  </a:cxn>
                  <a:cxn ang="0">
                    <a:pos x="2" y="7"/>
                  </a:cxn>
                  <a:cxn ang="0">
                    <a:pos x="2" y="5"/>
                  </a:cxn>
                  <a:cxn ang="0">
                    <a:pos x="3" y="4"/>
                  </a:cxn>
                  <a:cxn ang="0">
                    <a:pos x="3" y="3"/>
                  </a:cxn>
                  <a:cxn ang="0">
                    <a:pos x="3" y="1"/>
                  </a:cxn>
                  <a:cxn ang="0">
                    <a:pos x="3" y="1"/>
                  </a:cxn>
                  <a:cxn ang="0">
                    <a:pos x="2" y="1"/>
                  </a:cxn>
                  <a:cxn ang="0">
                    <a:pos x="0" y="1"/>
                  </a:cxn>
                  <a:cxn ang="0">
                    <a:pos x="0" y="0"/>
                  </a:cxn>
                  <a:cxn ang="0">
                    <a:pos x="0" y="0"/>
                  </a:cxn>
                  <a:cxn ang="0">
                    <a:pos x="9" y="1"/>
                  </a:cxn>
                  <a:cxn ang="0">
                    <a:pos x="10" y="3"/>
                  </a:cxn>
                  <a:cxn ang="0">
                    <a:pos x="12" y="3"/>
                  </a:cxn>
                  <a:cxn ang="0">
                    <a:pos x="12" y="3"/>
                  </a:cxn>
                  <a:cxn ang="0">
                    <a:pos x="16" y="3"/>
                  </a:cxn>
                  <a:cxn ang="0">
                    <a:pos x="16" y="3"/>
                  </a:cxn>
                  <a:cxn ang="0">
                    <a:pos x="16" y="3"/>
                  </a:cxn>
                  <a:cxn ang="0">
                    <a:pos x="15" y="5"/>
                  </a:cxn>
                  <a:cxn ang="0">
                    <a:pos x="15" y="7"/>
                  </a:cxn>
                  <a:cxn ang="0">
                    <a:pos x="13" y="10"/>
                  </a:cxn>
                  <a:cxn ang="0">
                    <a:pos x="15" y="11"/>
                  </a:cxn>
                  <a:cxn ang="0">
                    <a:pos x="15" y="13"/>
                  </a:cxn>
                  <a:cxn ang="0">
                    <a:pos x="18" y="13"/>
                  </a:cxn>
                  <a:cxn ang="0">
                    <a:pos x="18" y="13"/>
                  </a:cxn>
                  <a:cxn ang="0">
                    <a:pos x="19" y="14"/>
                  </a:cxn>
                  <a:cxn ang="0">
                    <a:pos x="22" y="19"/>
                  </a:cxn>
                  <a:cxn ang="0">
                    <a:pos x="29" y="68"/>
                  </a:cxn>
                  <a:cxn ang="0">
                    <a:pos x="31" y="71"/>
                  </a:cxn>
                  <a:cxn ang="0">
                    <a:pos x="32" y="71"/>
                  </a:cxn>
                  <a:cxn ang="0">
                    <a:pos x="22" y="74"/>
                  </a:cxn>
                </a:cxnLst>
                <a:rect l="0" t="0" r="r" b="b"/>
                <a:pathLst>
                  <a:path w="32" h="74">
                    <a:moveTo>
                      <a:pt x="22" y="74"/>
                    </a:moveTo>
                    <a:lnTo>
                      <a:pt x="21" y="72"/>
                    </a:lnTo>
                    <a:lnTo>
                      <a:pt x="15" y="65"/>
                    </a:lnTo>
                    <a:lnTo>
                      <a:pt x="10" y="24"/>
                    </a:lnTo>
                    <a:lnTo>
                      <a:pt x="9" y="23"/>
                    </a:lnTo>
                    <a:lnTo>
                      <a:pt x="8" y="14"/>
                    </a:lnTo>
                    <a:lnTo>
                      <a:pt x="5" y="8"/>
                    </a:lnTo>
                    <a:lnTo>
                      <a:pt x="2" y="7"/>
                    </a:lnTo>
                    <a:lnTo>
                      <a:pt x="2" y="5"/>
                    </a:lnTo>
                    <a:lnTo>
                      <a:pt x="3" y="4"/>
                    </a:lnTo>
                    <a:lnTo>
                      <a:pt x="3" y="3"/>
                    </a:lnTo>
                    <a:lnTo>
                      <a:pt x="3" y="1"/>
                    </a:lnTo>
                    <a:lnTo>
                      <a:pt x="3" y="1"/>
                    </a:lnTo>
                    <a:lnTo>
                      <a:pt x="2" y="1"/>
                    </a:lnTo>
                    <a:lnTo>
                      <a:pt x="0" y="1"/>
                    </a:lnTo>
                    <a:lnTo>
                      <a:pt x="0" y="0"/>
                    </a:lnTo>
                    <a:lnTo>
                      <a:pt x="0" y="0"/>
                    </a:lnTo>
                    <a:lnTo>
                      <a:pt x="9" y="1"/>
                    </a:lnTo>
                    <a:lnTo>
                      <a:pt x="10" y="3"/>
                    </a:lnTo>
                    <a:lnTo>
                      <a:pt x="12" y="3"/>
                    </a:lnTo>
                    <a:lnTo>
                      <a:pt x="12" y="3"/>
                    </a:lnTo>
                    <a:lnTo>
                      <a:pt x="16" y="3"/>
                    </a:lnTo>
                    <a:lnTo>
                      <a:pt x="16" y="3"/>
                    </a:lnTo>
                    <a:lnTo>
                      <a:pt x="16" y="3"/>
                    </a:lnTo>
                    <a:lnTo>
                      <a:pt x="15" y="5"/>
                    </a:lnTo>
                    <a:lnTo>
                      <a:pt x="15" y="7"/>
                    </a:lnTo>
                    <a:lnTo>
                      <a:pt x="13" y="10"/>
                    </a:lnTo>
                    <a:lnTo>
                      <a:pt x="15" y="11"/>
                    </a:lnTo>
                    <a:lnTo>
                      <a:pt x="15" y="13"/>
                    </a:lnTo>
                    <a:lnTo>
                      <a:pt x="18" y="13"/>
                    </a:lnTo>
                    <a:lnTo>
                      <a:pt x="18" y="13"/>
                    </a:lnTo>
                    <a:lnTo>
                      <a:pt x="19" y="14"/>
                    </a:lnTo>
                    <a:lnTo>
                      <a:pt x="22" y="19"/>
                    </a:lnTo>
                    <a:lnTo>
                      <a:pt x="29" y="68"/>
                    </a:lnTo>
                    <a:lnTo>
                      <a:pt x="31" y="71"/>
                    </a:lnTo>
                    <a:lnTo>
                      <a:pt x="32" y="71"/>
                    </a:lnTo>
                    <a:lnTo>
                      <a:pt x="22" y="7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08" name="Freeform 732"/>
              <p:cNvSpPr>
                <a:spLocks/>
              </p:cNvSpPr>
              <p:nvPr/>
            </p:nvSpPr>
            <p:spPr bwMode="auto">
              <a:xfrm>
                <a:off x="6115458" y="3109322"/>
                <a:ext cx="29845" cy="77075"/>
              </a:xfrm>
              <a:custGeom>
                <a:avLst/>
                <a:gdLst/>
                <a:ahLst/>
                <a:cxnLst>
                  <a:cxn ang="0">
                    <a:pos x="22" y="74"/>
                  </a:cxn>
                  <a:cxn ang="0">
                    <a:pos x="21" y="72"/>
                  </a:cxn>
                  <a:cxn ang="0">
                    <a:pos x="15" y="65"/>
                  </a:cxn>
                  <a:cxn ang="0">
                    <a:pos x="10" y="24"/>
                  </a:cxn>
                  <a:cxn ang="0">
                    <a:pos x="9" y="23"/>
                  </a:cxn>
                  <a:cxn ang="0">
                    <a:pos x="8" y="14"/>
                  </a:cxn>
                  <a:cxn ang="0">
                    <a:pos x="5" y="8"/>
                  </a:cxn>
                  <a:cxn ang="0">
                    <a:pos x="2" y="7"/>
                  </a:cxn>
                  <a:cxn ang="0">
                    <a:pos x="2" y="5"/>
                  </a:cxn>
                  <a:cxn ang="0">
                    <a:pos x="3" y="4"/>
                  </a:cxn>
                  <a:cxn ang="0">
                    <a:pos x="3" y="3"/>
                  </a:cxn>
                  <a:cxn ang="0">
                    <a:pos x="3" y="1"/>
                  </a:cxn>
                  <a:cxn ang="0">
                    <a:pos x="3" y="1"/>
                  </a:cxn>
                  <a:cxn ang="0">
                    <a:pos x="2" y="1"/>
                  </a:cxn>
                  <a:cxn ang="0">
                    <a:pos x="0" y="1"/>
                  </a:cxn>
                  <a:cxn ang="0">
                    <a:pos x="0" y="0"/>
                  </a:cxn>
                  <a:cxn ang="0">
                    <a:pos x="0" y="0"/>
                  </a:cxn>
                  <a:cxn ang="0">
                    <a:pos x="9" y="1"/>
                  </a:cxn>
                  <a:cxn ang="0">
                    <a:pos x="10" y="3"/>
                  </a:cxn>
                  <a:cxn ang="0">
                    <a:pos x="12" y="3"/>
                  </a:cxn>
                  <a:cxn ang="0">
                    <a:pos x="12" y="3"/>
                  </a:cxn>
                  <a:cxn ang="0">
                    <a:pos x="16" y="3"/>
                  </a:cxn>
                  <a:cxn ang="0">
                    <a:pos x="16" y="3"/>
                  </a:cxn>
                  <a:cxn ang="0">
                    <a:pos x="16" y="3"/>
                  </a:cxn>
                  <a:cxn ang="0">
                    <a:pos x="15" y="5"/>
                  </a:cxn>
                  <a:cxn ang="0">
                    <a:pos x="15" y="7"/>
                  </a:cxn>
                  <a:cxn ang="0">
                    <a:pos x="13" y="10"/>
                  </a:cxn>
                  <a:cxn ang="0">
                    <a:pos x="15" y="11"/>
                  </a:cxn>
                  <a:cxn ang="0">
                    <a:pos x="15" y="13"/>
                  </a:cxn>
                  <a:cxn ang="0">
                    <a:pos x="18" y="13"/>
                  </a:cxn>
                  <a:cxn ang="0">
                    <a:pos x="18" y="13"/>
                  </a:cxn>
                  <a:cxn ang="0">
                    <a:pos x="19" y="14"/>
                  </a:cxn>
                  <a:cxn ang="0">
                    <a:pos x="22" y="19"/>
                  </a:cxn>
                  <a:cxn ang="0">
                    <a:pos x="29" y="68"/>
                  </a:cxn>
                  <a:cxn ang="0">
                    <a:pos x="31" y="71"/>
                  </a:cxn>
                  <a:cxn ang="0">
                    <a:pos x="32" y="71"/>
                  </a:cxn>
                  <a:cxn ang="0">
                    <a:pos x="22" y="74"/>
                  </a:cxn>
                </a:cxnLst>
                <a:rect l="0" t="0" r="r" b="b"/>
                <a:pathLst>
                  <a:path w="32" h="74">
                    <a:moveTo>
                      <a:pt x="22" y="74"/>
                    </a:moveTo>
                    <a:lnTo>
                      <a:pt x="21" y="72"/>
                    </a:lnTo>
                    <a:lnTo>
                      <a:pt x="15" y="65"/>
                    </a:lnTo>
                    <a:lnTo>
                      <a:pt x="10" y="24"/>
                    </a:lnTo>
                    <a:lnTo>
                      <a:pt x="9" y="23"/>
                    </a:lnTo>
                    <a:lnTo>
                      <a:pt x="8" y="14"/>
                    </a:lnTo>
                    <a:lnTo>
                      <a:pt x="5" y="8"/>
                    </a:lnTo>
                    <a:lnTo>
                      <a:pt x="2" y="7"/>
                    </a:lnTo>
                    <a:lnTo>
                      <a:pt x="2" y="5"/>
                    </a:lnTo>
                    <a:lnTo>
                      <a:pt x="3" y="4"/>
                    </a:lnTo>
                    <a:lnTo>
                      <a:pt x="3" y="3"/>
                    </a:lnTo>
                    <a:lnTo>
                      <a:pt x="3" y="1"/>
                    </a:lnTo>
                    <a:lnTo>
                      <a:pt x="3" y="1"/>
                    </a:lnTo>
                    <a:lnTo>
                      <a:pt x="2" y="1"/>
                    </a:lnTo>
                    <a:lnTo>
                      <a:pt x="0" y="1"/>
                    </a:lnTo>
                    <a:lnTo>
                      <a:pt x="0" y="0"/>
                    </a:lnTo>
                    <a:lnTo>
                      <a:pt x="0" y="0"/>
                    </a:lnTo>
                    <a:lnTo>
                      <a:pt x="9" y="1"/>
                    </a:lnTo>
                    <a:lnTo>
                      <a:pt x="10" y="3"/>
                    </a:lnTo>
                    <a:lnTo>
                      <a:pt x="12" y="3"/>
                    </a:lnTo>
                    <a:lnTo>
                      <a:pt x="12" y="3"/>
                    </a:lnTo>
                    <a:lnTo>
                      <a:pt x="16" y="3"/>
                    </a:lnTo>
                    <a:lnTo>
                      <a:pt x="16" y="3"/>
                    </a:lnTo>
                    <a:lnTo>
                      <a:pt x="16" y="3"/>
                    </a:lnTo>
                    <a:lnTo>
                      <a:pt x="15" y="5"/>
                    </a:lnTo>
                    <a:lnTo>
                      <a:pt x="15" y="7"/>
                    </a:lnTo>
                    <a:lnTo>
                      <a:pt x="13" y="10"/>
                    </a:lnTo>
                    <a:lnTo>
                      <a:pt x="15" y="11"/>
                    </a:lnTo>
                    <a:lnTo>
                      <a:pt x="15" y="13"/>
                    </a:lnTo>
                    <a:lnTo>
                      <a:pt x="18" y="13"/>
                    </a:lnTo>
                    <a:lnTo>
                      <a:pt x="18" y="13"/>
                    </a:lnTo>
                    <a:lnTo>
                      <a:pt x="19" y="14"/>
                    </a:lnTo>
                    <a:lnTo>
                      <a:pt x="22" y="19"/>
                    </a:lnTo>
                    <a:lnTo>
                      <a:pt x="29" y="68"/>
                    </a:lnTo>
                    <a:lnTo>
                      <a:pt x="31" y="71"/>
                    </a:lnTo>
                    <a:lnTo>
                      <a:pt x="32" y="71"/>
                    </a:lnTo>
                    <a:lnTo>
                      <a:pt x="22" y="7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09" name="Freeform 733"/>
              <p:cNvSpPr>
                <a:spLocks/>
              </p:cNvSpPr>
              <p:nvPr/>
            </p:nvSpPr>
            <p:spPr bwMode="auto">
              <a:xfrm>
                <a:off x="6654428" y="3099181"/>
                <a:ext cx="133426" cy="200798"/>
              </a:xfrm>
              <a:custGeom>
                <a:avLst/>
                <a:gdLst/>
                <a:ahLst/>
                <a:cxnLst>
                  <a:cxn ang="0">
                    <a:pos x="9" y="191"/>
                  </a:cxn>
                  <a:cxn ang="0">
                    <a:pos x="0" y="129"/>
                  </a:cxn>
                  <a:cxn ang="0">
                    <a:pos x="13" y="114"/>
                  </a:cxn>
                  <a:cxn ang="0">
                    <a:pos x="13" y="113"/>
                  </a:cxn>
                  <a:cxn ang="0">
                    <a:pos x="33" y="101"/>
                  </a:cxn>
                  <a:cxn ang="0">
                    <a:pos x="58" y="98"/>
                  </a:cxn>
                  <a:cxn ang="0">
                    <a:pos x="100" y="55"/>
                  </a:cxn>
                  <a:cxn ang="0">
                    <a:pos x="43" y="40"/>
                  </a:cxn>
                  <a:cxn ang="0">
                    <a:pos x="36" y="34"/>
                  </a:cxn>
                  <a:cxn ang="0">
                    <a:pos x="33" y="30"/>
                  </a:cxn>
                  <a:cxn ang="0">
                    <a:pos x="29" y="26"/>
                  </a:cxn>
                  <a:cxn ang="0">
                    <a:pos x="27" y="23"/>
                  </a:cxn>
                  <a:cxn ang="0">
                    <a:pos x="32" y="7"/>
                  </a:cxn>
                  <a:cxn ang="0">
                    <a:pos x="33" y="7"/>
                  </a:cxn>
                  <a:cxn ang="0">
                    <a:pos x="43" y="18"/>
                  </a:cxn>
                  <a:cxn ang="0">
                    <a:pos x="51" y="21"/>
                  </a:cxn>
                  <a:cxn ang="0">
                    <a:pos x="67" y="15"/>
                  </a:cxn>
                  <a:cxn ang="0">
                    <a:pos x="67" y="15"/>
                  </a:cxn>
                  <a:cxn ang="0">
                    <a:pos x="70" y="15"/>
                  </a:cxn>
                  <a:cxn ang="0">
                    <a:pos x="71" y="15"/>
                  </a:cxn>
                  <a:cxn ang="0">
                    <a:pos x="75" y="17"/>
                  </a:cxn>
                  <a:cxn ang="0">
                    <a:pos x="84" y="14"/>
                  </a:cxn>
                  <a:cxn ang="0">
                    <a:pos x="87" y="13"/>
                  </a:cxn>
                  <a:cxn ang="0">
                    <a:pos x="94" y="11"/>
                  </a:cxn>
                  <a:cxn ang="0">
                    <a:pos x="107" y="8"/>
                  </a:cxn>
                  <a:cxn ang="0">
                    <a:pos x="117" y="7"/>
                  </a:cxn>
                  <a:cxn ang="0">
                    <a:pos x="120" y="7"/>
                  </a:cxn>
                  <a:cxn ang="0">
                    <a:pos x="133" y="2"/>
                  </a:cxn>
                  <a:cxn ang="0">
                    <a:pos x="136" y="0"/>
                  </a:cxn>
                  <a:cxn ang="0">
                    <a:pos x="142" y="1"/>
                  </a:cxn>
                  <a:cxn ang="0">
                    <a:pos x="145" y="2"/>
                  </a:cxn>
                  <a:cxn ang="0">
                    <a:pos x="145" y="5"/>
                  </a:cxn>
                  <a:cxn ang="0">
                    <a:pos x="142" y="8"/>
                  </a:cxn>
                  <a:cxn ang="0">
                    <a:pos x="144" y="13"/>
                  </a:cxn>
                  <a:cxn ang="0">
                    <a:pos x="144" y="15"/>
                  </a:cxn>
                  <a:cxn ang="0">
                    <a:pos x="144" y="20"/>
                  </a:cxn>
                  <a:cxn ang="0">
                    <a:pos x="142" y="21"/>
                  </a:cxn>
                  <a:cxn ang="0">
                    <a:pos x="144" y="21"/>
                  </a:cxn>
                  <a:cxn ang="0">
                    <a:pos x="144" y="21"/>
                  </a:cxn>
                  <a:cxn ang="0">
                    <a:pos x="146" y="21"/>
                  </a:cxn>
                  <a:cxn ang="0">
                    <a:pos x="145" y="23"/>
                  </a:cxn>
                  <a:cxn ang="0">
                    <a:pos x="144" y="23"/>
                  </a:cxn>
                  <a:cxn ang="0">
                    <a:pos x="141" y="23"/>
                  </a:cxn>
                  <a:cxn ang="0">
                    <a:pos x="138" y="36"/>
                  </a:cxn>
                  <a:cxn ang="0">
                    <a:pos x="138" y="40"/>
                  </a:cxn>
                  <a:cxn ang="0">
                    <a:pos x="129" y="53"/>
                  </a:cxn>
                  <a:cxn ang="0">
                    <a:pos x="125" y="58"/>
                  </a:cxn>
                  <a:cxn ang="0">
                    <a:pos x="112" y="90"/>
                  </a:cxn>
                  <a:cxn ang="0">
                    <a:pos x="109" y="91"/>
                  </a:cxn>
                  <a:cxn ang="0">
                    <a:pos x="107" y="93"/>
                  </a:cxn>
                  <a:cxn ang="0">
                    <a:pos x="101" y="101"/>
                  </a:cxn>
                  <a:cxn ang="0">
                    <a:pos x="94" y="111"/>
                  </a:cxn>
                  <a:cxn ang="0">
                    <a:pos x="77" y="127"/>
                  </a:cxn>
                  <a:cxn ang="0">
                    <a:pos x="72" y="135"/>
                  </a:cxn>
                  <a:cxn ang="0">
                    <a:pos x="59" y="142"/>
                  </a:cxn>
                  <a:cxn ang="0">
                    <a:pos x="27" y="171"/>
                  </a:cxn>
                  <a:cxn ang="0">
                    <a:pos x="23" y="171"/>
                  </a:cxn>
                  <a:cxn ang="0">
                    <a:pos x="23" y="172"/>
                  </a:cxn>
                  <a:cxn ang="0">
                    <a:pos x="23" y="174"/>
                  </a:cxn>
                  <a:cxn ang="0">
                    <a:pos x="22" y="177"/>
                  </a:cxn>
                  <a:cxn ang="0">
                    <a:pos x="9" y="193"/>
                  </a:cxn>
                </a:cxnLst>
                <a:rect l="0" t="0" r="r" b="b"/>
                <a:pathLst>
                  <a:path w="146" h="193">
                    <a:moveTo>
                      <a:pt x="9" y="193"/>
                    </a:moveTo>
                    <a:lnTo>
                      <a:pt x="9" y="191"/>
                    </a:lnTo>
                    <a:lnTo>
                      <a:pt x="0" y="181"/>
                    </a:lnTo>
                    <a:lnTo>
                      <a:pt x="0" y="129"/>
                    </a:lnTo>
                    <a:lnTo>
                      <a:pt x="1" y="129"/>
                    </a:lnTo>
                    <a:lnTo>
                      <a:pt x="13" y="114"/>
                    </a:lnTo>
                    <a:lnTo>
                      <a:pt x="13" y="113"/>
                    </a:lnTo>
                    <a:lnTo>
                      <a:pt x="13" y="113"/>
                    </a:lnTo>
                    <a:lnTo>
                      <a:pt x="26" y="107"/>
                    </a:lnTo>
                    <a:lnTo>
                      <a:pt x="33" y="101"/>
                    </a:lnTo>
                    <a:lnTo>
                      <a:pt x="40" y="98"/>
                    </a:lnTo>
                    <a:lnTo>
                      <a:pt x="58" y="98"/>
                    </a:lnTo>
                    <a:lnTo>
                      <a:pt x="100" y="55"/>
                    </a:lnTo>
                    <a:lnTo>
                      <a:pt x="100" y="55"/>
                    </a:lnTo>
                    <a:lnTo>
                      <a:pt x="87" y="55"/>
                    </a:lnTo>
                    <a:lnTo>
                      <a:pt x="43" y="40"/>
                    </a:lnTo>
                    <a:lnTo>
                      <a:pt x="42" y="37"/>
                    </a:lnTo>
                    <a:lnTo>
                      <a:pt x="36" y="34"/>
                    </a:lnTo>
                    <a:lnTo>
                      <a:pt x="35" y="31"/>
                    </a:lnTo>
                    <a:lnTo>
                      <a:pt x="33" y="30"/>
                    </a:lnTo>
                    <a:lnTo>
                      <a:pt x="32" y="29"/>
                    </a:lnTo>
                    <a:lnTo>
                      <a:pt x="29" y="26"/>
                    </a:lnTo>
                    <a:lnTo>
                      <a:pt x="29" y="24"/>
                    </a:lnTo>
                    <a:lnTo>
                      <a:pt x="27" y="23"/>
                    </a:lnTo>
                    <a:lnTo>
                      <a:pt x="26" y="17"/>
                    </a:lnTo>
                    <a:lnTo>
                      <a:pt x="32" y="7"/>
                    </a:lnTo>
                    <a:lnTo>
                      <a:pt x="32" y="5"/>
                    </a:lnTo>
                    <a:lnTo>
                      <a:pt x="33" y="7"/>
                    </a:lnTo>
                    <a:lnTo>
                      <a:pt x="35" y="7"/>
                    </a:lnTo>
                    <a:lnTo>
                      <a:pt x="43" y="18"/>
                    </a:lnTo>
                    <a:lnTo>
                      <a:pt x="49" y="21"/>
                    </a:lnTo>
                    <a:lnTo>
                      <a:pt x="51" y="21"/>
                    </a:lnTo>
                    <a:lnTo>
                      <a:pt x="56" y="21"/>
                    </a:lnTo>
                    <a:lnTo>
                      <a:pt x="67" y="15"/>
                    </a:lnTo>
                    <a:lnTo>
                      <a:pt x="67" y="15"/>
                    </a:lnTo>
                    <a:lnTo>
                      <a:pt x="67" y="15"/>
                    </a:lnTo>
                    <a:lnTo>
                      <a:pt x="68" y="15"/>
                    </a:lnTo>
                    <a:lnTo>
                      <a:pt x="70" y="15"/>
                    </a:lnTo>
                    <a:lnTo>
                      <a:pt x="70" y="15"/>
                    </a:lnTo>
                    <a:lnTo>
                      <a:pt x="71" y="15"/>
                    </a:lnTo>
                    <a:lnTo>
                      <a:pt x="74" y="15"/>
                    </a:lnTo>
                    <a:lnTo>
                      <a:pt x="75" y="17"/>
                    </a:lnTo>
                    <a:lnTo>
                      <a:pt x="81" y="17"/>
                    </a:lnTo>
                    <a:lnTo>
                      <a:pt x="84" y="14"/>
                    </a:lnTo>
                    <a:lnTo>
                      <a:pt x="85" y="14"/>
                    </a:lnTo>
                    <a:lnTo>
                      <a:pt x="87" y="13"/>
                    </a:lnTo>
                    <a:lnTo>
                      <a:pt x="91" y="11"/>
                    </a:lnTo>
                    <a:lnTo>
                      <a:pt x="94" y="11"/>
                    </a:lnTo>
                    <a:lnTo>
                      <a:pt x="103" y="11"/>
                    </a:lnTo>
                    <a:lnTo>
                      <a:pt x="107" y="8"/>
                    </a:lnTo>
                    <a:lnTo>
                      <a:pt x="112" y="10"/>
                    </a:lnTo>
                    <a:lnTo>
                      <a:pt x="117" y="7"/>
                    </a:lnTo>
                    <a:lnTo>
                      <a:pt x="119" y="7"/>
                    </a:lnTo>
                    <a:lnTo>
                      <a:pt x="120" y="7"/>
                    </a:lnTo>
                    <a:lnTo>
                      <a:pt x="129" y="5"/>
                    </a:lnTo>
                    <a:lnTo>
                      <a:pt x="133" y="2"/>
                    </a:lnTo>
                    <a:lnTo>
                      <a:pt x="135" y="0"/>
                    </a:lnTo>
                    <a:lnTo>
                      <a:pt x="136" y="0"/>
                    </a:lnTo>
                    <a:lnTo>
                      <a:pt x="139" y="0"/>
                    </a:lnTo>
                    <a:lnTo>
                      <a:pt x="142" y="1"/>
                    </a:lnTo>
                    <a:lnTo>
                      <a:pt x="144" y="1"/>
                    </a:lnTo>
                    <a:lnTo>
                      <a:pt x="145" y="2"/>
                    </a:lnTo>
                    <a:lnTo>
                      <a:pt x="144" y="4"/>
                    </a:lnTo>
                    <a:lnTo>
                      <a:pt x="145" y="5"/>
                    </a:lnTo>
                    <a:lnTo>
                      <a:pt x="142" y="7"/>
                    </a:lnTo>
                    <a:lnTo>
                      <a:pt x="142" y="8"/>
                    </a:lnTo>
                    <a:lnTo>
                      <a:pt x="142" y="11"/>
                    </a:lnTo>
                    <a:lnTo>
                      <a:pt x="144" y="13"/>
                    </a:lnTo>
                    <a:lnTo>
                      <a:pt x="144" y="13"/>
                    </a:lnTo>
                    <a:lnTo>
                      <a:pt x="144" y="15"/>
                    </a:lnTo>
                    <a:lnTo>
                      <a:pt x="144" y="17"/>
                    </a:lnTo>
                    <a:lnTo>
                      <a:pt x="144" y="20"/>
                    </a:lnTo>
                    <a:lnTo>
                      <a:pt x="144" y="20"/>
                    </a:lnTo>
                    <a:lnTo>
                      <a:pt x="142" y="21"/>
                    </a:lnTo>
                    <a:lnTo>
                      <a:pt x="142" y="21"/>
                    </a:lnTo>
                    <a:lnTo>
                      <a:pt x="144" y="21"/>
                    </a:lnTo>
                    <a:lnTo>
                      <a:pt x="144" y="21"/>
                    </a:lnTo>
                    <a:lnTo>
                      <a:pt x="144" y="21"/>
                    </a:lnTo>
                    <a:lnTo>
                      <a:pt x="145" y="21"/>
                    </a:lnTo>
                    <a:lnTo>
                      <a:pt x="146" y="21"/>
                    </a:lnTo>
                    <a:lnTo>
                      <a:pt x="146" y="23"/>
                    </a:lnTo>
                    <a:lnTo>
                      <a:pt x="145" y="23"/>
                    </a:lnTo>
                    <a:lnTo>
                      <a:pt x="145" y="23"/>
                    </a:lnTo>
                    <a:lnTo>
                      <a:pt x="144" y="23"/>
                    </a:lnTo>
                    <a:lnTo>
                      <a:pt x="142" y="23"/>
                    </a:lnTo>
                    <a:lnTo>
                      <a:pt x="141" y="23"/>
                    </a:lnTo>
                    <a:lnTo>
                      <a:pt x="141" y="24"/>
                    </a:lnTo>
                    <a:lnTo>
                      <a:pt x="138" y="36"/>
                    </a:lnTo>
                    <a:lnTo>
                      <a:pt x="138" y="37"/>
                    </a:lnTo>
                    <a:lnTo>
                      <a:pt x="138" y="40"/>
                    </a:lnTo>
                    <a:lnTo>
                      <a:pt x="135" y="43"/>
                    </a:lnTo>
                    <a:lnTo>
                      <a:pt x="129" y="53"/>
                    </a:lnTo>
                    <a:lnTo>
                      <a:pt x="126" y="55"/>
                    </a:lnTo>
                    <a:lnTo>
                      <a:pt x="125" y="58"/>
                    </a:lnTo>
                    <a:lnTo>
                      <a:pt x="125" y="62"/>
                    </a:lnTo>
                    <a:lnTo>
                      <a:pt x="112" y="90"/>
                    </a:lnTo>
                    <a:lnTo>
                      <a:pt x="110" y="91"/>
                    </a:lnTo>
                    <a:lnTo>
                      <a:pt x="109" y="91"/>
                    </a:lnTo>
                    <a:lnTo>
                      <a:pt x="109" y="93"/>
                    </a:lnTo>
                    <a:lnTo>
                      <a:pt x="107" y="93"/>
                    </a:lnTo>
                    <a:lnTo>
                      <a:pt x="103" y="98"/>
                    </a:lnTo>
                    <a:lnTo>
                      <a:pt x="101" y="101"/>
                    </a:lnTo>
                    <a:lnTo>
                      <a:pt x="101" y="101"/>
                    </a:lnTo>
                    <a:lnTo>
                      <a:pt x="94" y="111"/>
                    </a:lnTo>
                    <a:lnTo>
                      <a:pt x="94" y="111"/>
                    </a:lnTo>
                    <a:lnTo>
                      <a:pt x="77" y="127"/>
                    </a:lnTo>
                    <a:lnTo>
                      <a:pt x="77" y="129"/>
                    </a:lnTo>
                    <a:lnTo>
                      <a:pt x="72" y="135"/>
                    </a:lnTo>
                    <a:lnTo>
                      <a:pt x="65" y="140"/>
                    </a:lnTo>
                    <a:lnTo>
                      <a:pt x="59" y="142"/>
                    </a:lnTo>
                    <a:lnTo>
                      <a:pt x="58" y="142"/>
                    </a:lnTo>
                    <a:lnTo>
                      <a:pt x="27" y="171"/>
                    </a:lnTo>
                    <a:lnTo>
                      <a:pt x="25" y="172"/>
                    </a:lnTo>
                    <a:lnTo>
                      <a:pt x="23" y="171"/>
                    </a:lnTo>
                    <a:lnTo>
                      <a:pt x="22" y="172"/>
                    </a:lnTo>
                    <a:lnTo>
                      <a:pt x="23" y="172"/>
                    </a:lnTo>
                    <a:lnTo>
                      <a:pt x="23" y="174"/>
                    </a:lnTo>
                    <a:lnTo>
                      <a:pt x="23" y="174"/>
                    </a:lnTo>
                    <a:lnTo>
                      <a:pt x="22" y="175"/>
                    </a:lnTo>
                    <a:lnTo>
                      <a:pt x="22" y="177"/>
                    </a:lnTo>
                    <a:lnTo>
                      <a:pt x="9" y="191"/>
                    </a:lnTo>
                    <a:lnTo>
                      <a:pt x="9" y="19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10" name="Freeform 735"/>
              <p:cNvSpPr>
                <a:spLocks/>
              </p:cNvSpPr>
              <p:nvPr/>
            </p:nvSpPr>
            <p:spPr bwMode="auto">
              <a:xfrm>
                <a:off x="6448144" y="3506862"/>
                <a:ext cx="100069" cy="110541"/>
              </a:xfrm>
              <a:custGeom>
                <a:avLst/>
                <a:gdLst/>
                <a:ahLst/>
                <a:cxnLst>
                  <a:cxn ang="0">
                    <a:pos x="52" y="16"/>
                  </a:cxn>
                  <a:cxn ang="0">
                    <a:pos x="51" y="17"/>
                  </a:cxn>
                  <a:cxn ang="0">
                    <a:pos x="49" y="19"/>
                  </a:cxn>
                  <a:cxn ang="0">
                    <a:pos x="46" y="17"/>
                  </a:cxn>
                  <a:cxn ang="0">
                    <a:pos x="45" y="19"/>
                  </a:cxn>
                  <a:cxn ang="0">
                    <a:pos x="43" y="19"/>
                  </a:cxn>
                  <a:cxn ang="0">
                    <a:pos x="42" y="19"/>
                  </a:cxn>
                  <a:cxn ang="0">
                    <a:pos x="39" y="20"/>
                  </a:cxn>
                  <a:cxn ang="0">
                    <a:pos x="39" y="22"/>
                  </a:cxn>
                  <a:cxn ang="0">
                    <a:pos x="39" y="23"/>
                  </a:cxn>
                  <a:cxn ang="0">
                    <a:pos x="36" y="23"/>
                  </a:cxn>
                  <a:cxn ang="0">
                    <a:pos x="36" y="25"/>
                  </a:cxn>
                  <a:cxn ang="0">
                    <a:pos x="33" y="26"/>
                  </a:cxn>
                  <a:cxn ang="0">
                    <a:pos x="30" y="29"/>
                  </a:cxn>
                  <a:cxn ang="0">
                    <a:pos x="29" y="30"/>
                  </a:cxn>
                  <a:cxn ang="0">
                    <a:pos x="26" y="33"/>
                  </a:cxn>
                  <a:cxn ang="0">
                    <a:pos x="23" y="36"/>
                  </a:cxn>
                  <a:cxn ang="0">
                    <a:pos x="20" y="36"/>
                  </a:cxn>
                  <a:cxn ang="0">
                    <a:pos x="19" y="35"/>
                  </a:cxn>
                  <a:cxn ang="0">
                    <a:pos x="16" y="35"/>
                  </a:cxn>
                  <a:cxn ang="0">
                    <a:pos x="10" y="35"/>
                  </a:cxn>
                  <a:cxn ang="0">
                    <a:pos x="1" y="33"/>
                  </a:cxn>
                  <a:cxn ang="0">
                    <a:pos x="0" y="33"/>
                  </a:cxn>
                  <a:cxn ang="0">
                    <a:pos x="4" y="42"/>
                  </a:cxn>
                  <a:cxn ang="0">
                    <a:pos x="7" y="48"/>
                  </a:cxn>
                  <a:cxn ang="0">
                    <a:pos x="23" y="65"/>
                  </a:cxn>
                  <a:cxn ang="0">
                    <a:pos x="29" y="71"/>
                  </a:cxn>
                  <a:cxn ang="0">
                    <a:pos x="36" y="75"/>
                  </a:cxn>
                  <a:cxn ang="0">
                    <a:pos x="38" y="89"/>
                  </a:cxn>
                  <a:cxn ang="0">
                    <a:pos x="49" y="93"/>
                  </a:cxn>
                  <a:cxn ang="0">
                    <a:pos x="61" y="97"/>
                  </a:cxn>
                  <a:cxn ang="0">
                    <a:pos x="80" y="99"/>
                  </a:cxn>
                  <a:cxn ang="0">
                    <a:pos x="88" y="104"/>
                  </a:cxn>
                  <a:cxn ang="0">
                    <a:pos x="90" y="106"/>
                  </a:cxn>
                  <a:cxn ang="0">
                    <a:pos x="90" y="102"/>
                  </a:cxn>
                  <a:cxn ang="0">
                    <a:pos x="93" y="96"/>
                  </a:cxn>
                  <a:cxn ang="0">
                    <a:pos x="109" y="65"/>
                  </a:cxn>
                  <a:cxn ang="0">
                    <a:pos x="109" y="46"/>
                  </a:cxn>
                  <a:cxn ang="0">
                    <a:pos x="109" y="16"/>
                  </a:cxn>
                  <a:cxn ang="0">
                    <a:pos x="83" y="6"/>
                  </a:cxn>
                  <a:cxn ang="0">
                    <a:pos x="72" y="0"/>
                  </a:cxn>
                  <a:cxn ang="0">
                    <a:pos x="69" y="1"/>
                  </a:cxn>
                  <a:cxn ang="0">
                    <a:pos x="67" y="1"/>
                  </a:cxn>
                  <a:cxn ang="0">
                    <a:pos x="64" y="0"/>
                  </a:cxn>
                  <a:cxn ang="0">
                    <a:pos x="56" y="3"/>
                  </a:cxn>
                  <a:cxn ang="0">
                    <a:pos x="51" y="6"/>
                  </a:cxn>
                  <a:cxn ang="0">
                    <a:pos x="49" y="14"/>
                  </a:cxn>
                </a:cxnLst>
                <a:rect l="0" t="0" r="r" b="b"/>
                <a:pathLst>
                  <a:path w="110" h="106">
                    <a:moveTo>
                      <a:pt x="49" y="14"/>
                    </a:moveTo>
                    <a:lnTo>
                      <a:pt x="52" y="16"/>
                    </a:lnTo>
                    <a:lnTo>
                      <a:pt x="52" y="17"/>
                    </a:lnTo>
                    <a:lnTo>
                      <a:pt x="51" y="17"/>
                    </a:lnTo>
                    <a:lnTo>
                      <a:pt x="49" y="19"/>
                    </a:lnTo>
                    <a:lnTo>
                      <a:pt x="49" y="19"/>
                    </a:lnTo>
                    <a:lnTo>
                      <a:pt x="46" y="17"/>
                    </a:lnTo>
                    <a:lnTo>
                      <a:pt x="46" y="17"/>
                    </a:lnTo>
                    <a:lnTo>
                      <a:pt x="45" y="19"/>
                    </a:lnTo>
                    <a:lnTo>
                      <a:pt x="45" y="19"/>
                    </a:lnTo>
                    <a:lnTo>
                      <a:pt x="43" y="19"/>
                    </a:lnTo>
                    <a:lnTo>
                      <a:pt x="43" y="19"/>
                    </a:lnTo>
                    <a:lnTo>
                      <a:pt x="43" y="19"/>
                    </a:lnTo>
                    <a:lnTo>
                      <a:pt x="42" y="19"/>
                    </a:lnTo>
                    <a:lnTo>
                      <a:pt x="40" y="20"/>
                    </a:lnTo>
                    <a:lnTo>
                      <a:pt x="39" y="20"/>
                    </a:lnTo>
                    <a:lnTo>
                      <a:pt x="39" y="22"/>
                    </a:lnTo>
                    <a:lnTo>
                      <a:pt x="39" y="22"/>
                    </a:lnTo>
                    <a:lnTo>
                      <a:pt x="39" y="22"/>
                    </a:lnTo>
                    <a:lnTo>
                      <a:pt x="39" y="23"/>
                    </a:lnTo>
                    <a:lnTo>
                      <a:pt x="39" y="22"/>
                    </a:lnTo>
                    <a:lnTo>
                      <a:pt x="36" y="23"/>
                    </a:lnTo>
                    <a:lnTo>
                      <a:pt x="36" y="25"/>
                    </a:lnTo>
                    <a:lnTo>
                      <a:pt x="36" y="25"/>
                    </a:lnTo>
                    <a:lnTo>
                      <a:pt x="35" y="25"/>
                    </a:lnTo>
                    <a:lnTo>
                      <a:pt x="33" y="26"/>
                    </a:lnTo>
                    <a:lnTo>
                      <a:pt x="32" y="27"/>
                    </a:lnTo>
                    <a:lnTo>
                      <a:pt x="30" y="29"/>
                    </a:lnTo>
                    <a:lnTo>
                      <a:pt x="30" y="30"/>
                    </a:lnTo>
                    <a:lnTo>
                      <a:pt x="29" y="30"/>
                    </a:lnTo>
                    <a:lnTo>
                      <a:pt x="27" y="32"/>
                    </a:lnTo>
                    <a:lnTo>
                      <a:pt x="26" y="33"/>
                    </a:lnTo>
                    <a:lnTo>
                      <a:pt x="24" y="33"/>
                    </a:lnTo>
                    <a:lnTo>
                      <a:pt x="23" y="36"/>
                    </a:lnTo>
                    <a:lnTo>
                      <a:pt x="22" y="35"/>
                    </a:lnTo>
                    <a:lnTo>
                      <a:pt x="20" y="36"/>
                    </a:lnTo>
                    <a:lnTo>
                      <a:pt x="19" y="36"/>
                    </a:lnTo>
                    <a:lnTo>
                      <a:pt x="19" y="35"/>
                    </a:lnTo>
                    <a:lnTo>
                      <a:pt x="17" y="35"/>
                    </a:lnTo>
                    <a:lnTo>
                      <a:pt x="16" y="35"/>
                    </a:lnTo>
                    <a:lnTo>
                      <a:pt x="14" y="35"/>
                    </a:lnTo>
                    <a:lnTo>
                      <a:pt x="10" y="35"/>
                    </a:lnTo>
                    <a:lnTo>
                      <a:pt x="6" y="33"/>
                    </a:lnTo>
                    <a:lnTo>
                      <a:pt x="1" y="33"/>
                    </a:lnTo>
                    <a:lnTo>
                      <a:pt x="0" y="33"/>
                    </a:lnTo>
                    <a:lnTo>
                      <a:pt x="0" y="33"/>
                    </a:lnTo>
                    <a:lnTo>
                      <a:pt x="0" y="35"/>
                    </a:lnTo>
                    <a:lnTo>
                      <a:pt x="4" y="42"/>
                    </a:lnTo>
                    <a:lnTo>
                      <a:pt x="6" y="45"/>
                    </a:lnTo>
                    <a:lnTo>
                      <a:pt x="7" y="48"/>
                    </a:lnTo>
                    <a:lnTo>
                      <a:pt x="20" y="64"/>
                    </a:lnTo>
                    <a:lnTo>
                      <a:pt x="23" y="65"/>
                    </a:lnTo>
                    <a:lnTo>
                      <a:pt x="27" y="68"/>
                    </a:lnTo>
                    <a:lnTo>
                      <a:pt x="29" y="71"/>
                    </a:lnTo>
                    <a:lnTo>
                      <a:pt x="33" y="73"/>
                    </a:lnTo>
                    <a:lnTo>
                      <a:pt x="36" y="75"/>
                    </a:lnTo>
                    <a:lnTo>
                      <a:pt x="36" y="86"/>
                    </a:lnTo>
                    <a:lnTo>
                      <a:pt x="38" y="89"/>
                    </a:lnTo>
                    <a:lnTo>
                      <a:pt x="43" y="93"/>
                    </a:lnTo>
                    <a:lnTo>
                      <a:pt x="49" y="93"/>
                    </a:lnTo>
                    <a:lnTo>
                      <a:pt x="58" y="97"/>
                    </a:lnTo>
                    <a:lnTo>
                      <a:pt x="61" y="97"/>
                    </a:lnTo>
                    <a:lnTo>
                      <a:pt x="69" y="99"/>
                    </a:lnTo>
                    <a:lnTo>
                      <a:pt x="80" y="99"/>
                    </a:lnTo>
                    <a:lnTo>
                      <a:pt x="84" y="102"/>
                    </a:lnTo>
                    <a:lnTo>
                      <a:pt x="88" y="104"/>
                    </a:lnTo>
                    <a:lnTo>
                      <a:pt x="90" y="106"/>
                    </a:lnTo>
                    <a:lnTo>
                      <a:pt x="90" y="106"/>
                    </a:lnTo>
                    <a:lnTo>
                      <a:pt x="90" y="104"/>
                    </a:lnTo>
                    <a:lnTo>
                      <a:pt x="90" y="102"/>
                    </a:lnTo>
                    <a:lnTo>
                      <a:pt x="91" y="99"/>
                    </a:lnTo>
                    <a:lnTo>
                      <a:pt x="93" y="96"/>
                    </a:lnTo>
                    <a:lnTo>
                      <a:pt x="97" y="91"/>
                    </a:lnTo>
                    <a:lnTo>
                      <a:pt x="109" y="65"/>
                    </a:lnTo>
                    <a:lnTo>
                      <a:pt x="106" y="51"/>
                    </a:lnTo>
                    <a:lnTo>
                      <a:pt x="109" y="46"/>
                    </a:lnTo>
                    <a:lnTo>
                      <a:pt x="110" y="27"/>
                    </a:lnTo>
                    <a:lnTo>
                      <a:pt x="109" y="16"/>
                    </a:lnTo>
                    <a:lnTo>
                      <a:pt x="106" y="13"/>
                    </a:lnTo>
                    <a:lnTo>
                      <a:pt x="83" y="6"/>
                    </a:lnTo>
                    <a:lnTo>
                      <a:pt x="72" y="6"/>
                    </a:lnTo>
                    <a:lnTo>
                      <a:pt x="72" y="0"/>
                    </a:lnTo>
                    <a:lnTo>
                      <a:pt x="72" y="1"/>
                    </a:lnTo>
                    <a:lnTo>
                      <a:pt x="69" y="1"/>
                    </a:lnTo>
                    <a:lnTo>
                      <a:pt x="68" y="1"/>
                    </a:lnTo>
                    <a:lnTo>
                      <a:pt x="67" y="1"/>
                    </a:lnTo>
                    <a:lnTo>
                      <a:pt x="65" y="0"/>
                    </a:lnTo>
                    <a:lnTo>
                      <a:pt x="64" y="0"/>
                    </a:lnTo>
                    <a:lnTo>
                      <a:pt x="61" y="1"/>
                    </a:lnTo>
                    <a:lnTo>
                      <a:pt x="56" y="3"/>
                    </a:lnTo>
                    <a:lnTo>
                      <a:pt x="54" y="6"/>
                    </a:lnTo>
                    <a:lnTo>
                      <a:pt x="51" y="6"/>
                    </a:lnTo>
                    <a:lnTo>
                      <a:pt x="49" y="6"/>
                    </a:lnTo>
                    <a:lnTo>
                      <a:pt x="49" y="1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11" name="Freeform 736"/>
              <p:cNvSpPr>
                <a:spLocks/>
              </p:cNvSpPr>
              <p:nvPr/>
            </p:nvSpPr>
            <p:spPr bwMode="auto">
              <a:xfrm>
                <a:off x="6448144" y="3506862"/>
                <a:ext cx="100069" cy="110541"/>
              </a:xfrm>
              <a:custGeom>
                <a:avLst/>
                <a:gdLst/>
                <a:ahLst/>
                <a:cxnLst>
                  <a:cxn ang="0">
                    <a:pos x="52" y="16"/>
                  </a:cxn>
                  <a:cxn ang="0">
                    <a:pos x="51" y="17"/>
                  </a:cxn>
                  <a:cxn ang="0">
                    <a:pos x="49" y="19"/>
                  </a:cxn>
                  <a:cxn ang="0">
                    <a:pos x="46" y="17"/>
                  </a:cxn>
                  <a:cxn ang="0">
                    <a:pos x="45" y="19"/>
                  </a:cxn>
                  <a:cxn ang="0">
                    <a:pos x="43" y="19"/>
                  </a:cxn>
                  <a:cxn ang="0">
                    <a:pos x="42" y="19"/>
                  </a:cxn>
                  <a:cxn ang="0">
                    <a:pos x="39" y="20"/>
                  </a:cxn>
                  <a:cxn ang="0">
                    <a:pos x="39" y="22"/>
                  </a:cxn>
                  <a:cxn ang="0">
                    <a:pos x="39" y="23"/>
                  </a:cxn>
                  <a:cxn ang="0">
                    <a:pos x="36" y="23"/>
                  </a:cxn>
                  <a:cxn ang="0">
                    <a:pos x="36" y="25"/>
                  </a:cxn>
                  <a:cxn ang="0">
                    <a:pos x="33" y="26"/>
                  </a:cxn>
                  <a:cxn ang="0">
                    <a:pos x="30" y="29"/>
                  </a:cxn>
                  <a:cxn ang="0">
                    <a:pos x="29" y="30"/>
                  </a:cxn>
                  <a:cxn ang="0">
                    <a:pos x="26" y="33"/>
                  </a:cxn>
                  <a:cxn ang="0">
                    <a:pos x="23" y="36"/>
                  </a:cxn>
                  <a:cxn ang="0">
                    <a:pos x="20" y="36"/>
                  </a:cxn>
                  <a:cxn ang="0">
                    <a:pos x="19" y="35"/>
                  </a:cxn>
                  <a:cxn ang="0">
                    <a:pos x="16" y="35"/>
                  </a:cxn>
                  <a:cxn ang="0">
                    <a:pos x="10" y="35"/>
                  </a:cxn>
                  <a:cxn ang="0">
                    <a:pos x="1" y="33"/>
                  </a:cxn>
                  <a:cxn ang="0">
                    <a:pos x="0" y="33"/>
                  </a:cxn>
                  <a:cxn ang="0">
                    <a:pos x="4" y="42"/>
                  </a:cxn>
                  <a:cxn ang="0">
                    <a:pos x="7" y="48"/>
                  </a:cxn>
                  <a:cxn ang="0">
                    <a:pos x="23" y="65"/>
                  </a:cxn>
                  <a:cxn ang="0">
                    <a:pos x="29" y="71"/>
                  </a:cxn>
                  <a:cxn ang="0">
                    <a:pos x="36" y="75"/>
                  </a:cxn>
                  <a:cxn ang="0">
                    <a:pos x="38" y="89"/>
                  </a:cxn>
                  <a:cxn ang="0">
                    <a:pos x="49" y="93"/>
                  </a:cxn>
                  <a:cxn ang="0">
                    <a:pos x="61" y="97"/>
                  </a:cxn>
                  <a:cxn ang="0">
                    <a:pos x="80" y="99"/>
                  </a:cxn>
                  <a:cxn ang="0">
                    <a:pos x="88" y="104"/>
                  </a:cxn>
                  <a:cxn ang="0">
                    <a:pos x="90" y="106"/>
                  </a:cxn>
                  <a:cxn ang="0">
                    <a:pos x="90" y="102"/>
                  </a:cxn>
                  <a:cxn ang="0">
                    <a:pos x="93" y="96"/>
                  </a:cxn>
                  <a:cxn ang="0">
                    <a:pos x="109" y="65"/>
                  </a:cxn>
                  <a:cxn ang="0">
                    <a:pos x="109" y="46"/>
                  </a:cxn>
                  <a:cxn ang="0">
                    <a:pos x="109" y="16"/>
                  </a:cxn>
                  <a:cxn ang="0">
                    <a:pos x="83" y="6"/>
                  </a:cxn>
                  <a:cxn ang="0">
                    <a:pos x="72" y="0"/>
                  </a:cxn>
                  <a:cxn ang="0">
                    <a:pos x="69" y="1"/>
                  </a:cxn>
                  <a:cxn ang="0">
                    <a:pos x="67" y="1"/>
                  </a:cxn>
                  <a:cxn ang="0">
                    <a:pos x="64" y="0"/>
                  </a:cxn>
                  <a:cxn ang="0">
                    <a:pos x="56" y="3"/>
                  </a:cxn>
                  <a:cxn ang="0">
                    <a:pos x="51" y="6"/>
                  </a:cxn>
                  <a:cxn ang="0">
                    <a:pos x="49" y="14"/>
                  </a:cxn>
                </a:cxnLst>
                <a:rect l="0" t="0" r="r" b="b"/>
                <a:pathLst>
                  <a:path w="110" h="106">
                    <a:moveTo>
                      <a:pt x="49" y="14"/>
                    </a:moveTo>
                    <a:lnTo>
                      <a:pt x="52" y="16"/>
                    </a:lnTo>
                    <a:lnTo>
                      <a:pt x="52" y="17"/>
                    </a:lnTo>
                    <a:lnTo>
                      <a:pt x="51" y="17"/>
                    </a:lnTo>
                    <a:lnTo>
                      <a:pt x="49" y="19"/>
                    </a:lnTo>
                    <a:lnTo>
                      <a:pt x="49" y="19"/>
                    </a:lnTo>
                    <a:lnTo>
                      <a:pt x="46" y="17"/>
                    </a:lnTo>
                    <a:lnTo>
                      <a:pt x="46" y="17"/>
                    </a:lnTo>
                    <a:lnTo>
                      <a:pt x="45" y="19"/>
                    </a:lnTo>
                    <a:lnTo>
                      <a:pt x="45" y="19"/>
                    </a:lnTo>
                    <a:lnTo>
                      <a:pt x="43" y="19"/>
                    </a:lnTo>
                    <a:lnTo>
                      <a:pt x="43" y="19"/>
                    </a:lnTo>
                    <a:lnTo>
                      <a:pt x="43" y="19"/>
                    </a:lnTo>
                    <a:lnTo>
                      <a:pt x="42" y="19"/>
                    </a:lnTo>
                    <a:lnTo>
                      <a:pt x="40" y="20"/>
                    </a:lnTo>
                    <a:lnTo>
                      <a:pt x="39" y="20"/>
                    </a:lnTo>
                    <a:lnTo>
                      <a:pt x="39" y="22"/>
                    </a:lnTo>
                    <a:lnTo>
                      <a:pt x="39" y="22"/>
                    </a:lnTo>
                    <a:lnTo>
                      <a:pt x="39" y="22"/>
                    </a:lnTo>
                    <a:lnTo>
                      <a:pt x="39" y="23"/>
                    </a:lnTo>
                    <a:lnTo>
                      <a:pt x="39" y="22"/>
                    </a:lnTo>
                    <a:lnTo>
                      <a:pt x="36" y="23"/>
                    </a:lnTo>
                    <a:lnTo>
                      <a:pt x="36" y="25"/>
                    </a:lnTo>
                    <a:lnTo>
                      <a:pt x="36" y="25"/>
                    </a:lnTo>
                    <a:lnTo>
                      <a:pt x="35" y="25"/>
                    </a:lnTo>
                    <a:lnTo>
                      <a:pt x="33" y="26"/>
                    </a:lnTo>
                    <a:lnTo>
                      <a:pt x="32" y="27"/>
                    </a:lnTo>
                    <a:lnTo>
                      <a:pt x="30" y="29"/>
                    </a:lnTo>
                    <a:lnTo>
                      <a:pt x="30" y="30"/>
                    </a:lnTo>
                    <a:lnTo>
                      <a:pt x="29" y="30"/>
                    </a:lnTo>
                    <a:lnTo>
                      <a:pt x="27" y="32"/>
                    </a:lnTo>
                    <a:lnTo>
                      <a:pt x="26" y="33"/>
                    </a:lnTo>
                    <a:lnTo>
                      <a:pt x="24" y="33"/>
                    </a:lnTo>
                    <a:lnTo>
                      <a:pt x="23" y="36"/>
                    </a:lnTo>
                    <a:lnTo>
                      <a:pt x="22" y="35"/>
                    </a:lnTo>
                    <a:lnTo>
                      <a:pt x="20" y="36"/>
                    </a:lnTo>
                    <a:lnTo>
                      <a:pt x="19" y="36"/>
                    </a:lnTo>
                    <a:lnTo>
                      <a:pt x="19" y="35"/>
                    </a:lnTo>
                    <a:lnTo>
                      <a:pt x="17" y="35"/>
                    </a:lnTo>
                    <a:lnTo>
                      <a:pt x="16" y="35"/>
                    </a:lnTo>
                    <a:lnTo>
                      <a:pt x="14" y="35"/>
                    </a:lnTo>
                    <a:lnTo>
                      <a:pt x="10" y="35"/>
                    </a:lnTo>
                    <a:lnTo>
                      <a:pt x="6" y="33"/>
                    </a:lnTo>
                    <a:lnTo>
                      <a:pt x="1" y="33"/>
                    </a:lnTo>
                    <a:lnTo>
                      <a:pt x="0" y="33"/>
                    </a:lnTo>
                    <a:lnTo>
                      <a:pt x="0" y="33"/>
                    </a:lnTo>
                    <a:lnTo>
                      <a:pt x="0" y="35"/>
                    </a:lnTo>
                    <a:lnTo>
                      <a:pt x="4" y="42"/>
                    </a:lnTo>
                    <a:lnTo>
                      <a:pt x="6" y="45"/>
                    </a:lnTo>
                    <a:lnTo>
                      <a:pt x="7" y="48"/>
                    </a:lnTo>
                    <a:lnTo>
                      <a:pt x="20" y="64"/>
                    </a:lnTo>
                    <a:lnTo>
                      <a:pt x="23" y="65"/>
                    </a:lnTo>
                    <a:lnTo>
                      <a:pt x="27" y="68"/>
                    </a:lnTo>
                    <a:lnTo>
                      <a:pt x="29" y="71"/>
                    </a:lnTo>
                    <a:lnTo>
                      <a:pt x="33" y="73"/>
                    </a:lnTo>
                    <a:lnTo>
                      <a:pt x="36" y="75"/>
                    </a:lnTo>
                    <a:lnTo>
                      <a:pt x="36" y="86"/>
                    </a:lnTo>
                    <a:lnTo>
                      <a:pt x="38" y="89"/>
                    </a:lnTo>
                    <a:lnTo>
                      <a:pt x="43" y="93"/>
                    </a:lnTo>
                    <a:lnTo>
                      <a:pt x="49" y="93"/>
                    </a:lnTo>
                    <a:lnTo>
                      <a:pt x="58" y="97"/>
                    </a:lnTo>
                    <a:lnTo>
                      <a:pt x="61" y="97"/>
                    </a:lnTo>
                    <a:lnTo>
                      <a:pt x="69" y="99"/>
                    </a:lnTo>
                    <a:lnTo>
                      <a:pt x="80" y="99"/>
                    </a:lnTo>
                    <a:lnTo>
                      <a:pt x="84" y="102"/>
                    </a:lnTo>
                    <a:lnTo>
                      <a:pt x="88" y="104"/>
                    </a:lnTo>
                    <a:lnTo>
                      <a:pt x="90" y="106"/>
                    </a:lnTo>
                    <a:lnTo>
                      <a:pt x="90" y="106"/>
                    </a:lnTo>
                    <a:lnTo>
                      <a:pt x="90" y="104"/>
                    </a:lnTo>
                    <a:lnTo>
                      <a:pt x="90" y="102"/>
                    </a:lnTo>
                    <a:lnTo>
                      <a:pt x="91" y="99"/>
                    </a:lnTo>
                    <a:lnTo>
                      <a:pt x="93" y="96"/>
                    </a:lnTo>
                    <a:lnTo>
                      <a:pt x="97" y="91"/>
                    </a:lnTo>
                    <a:lnTo>
                      <a:pt x="109" y="65"/>
                    </a:lnTo>
                    <a:lnTo>
                      <a:pt x="106" y="51"/>
                    </a:lnTo>
                    <a:lnTo>
                      <a:pt x="109" y="46"/>
                    </a:lnTo>
                    <a:lnTo>
                      <a:pt x="110" y="27"/>
                    </a:lnTo>
                    <a:lnTo>
                      <a:pt x="109" y="16"/>
                    </a:lnTo>
                    <a:lnTo>
                      <a:pt x="106" y="13"/>
                    </a:lnTo>
                    <a:lnTo>
                      <a:pt x="83" y="6"/>
                    </a:lnTo>
                    <a:lnTo>
                      <a:pt x="72" y="6"/>
                    </a:lnTo>
                    <a:lnTo>
                      <a:pt x="72" y="0"/>
                    </a:lnTo>
                    <a:lnTo>
                      <a:pt x="72" y="1"/>
                    </a:lnTo>
                    <a:lnTo>
                      <a:pt x="69" y="1"/>
                    </a:lnTo>
                    <a:lnTo>
                      <a:pt x="68" y="1"/>
                    </a:lnTo>
                    <a:lnTo>
                      <a:pt x="67" y="1"/>
                    </a:lnTo>
                    <a:lnTo>
                      <a:pt x="65" y="0"/>
                    </a:lnTo>
                    <a:lnTo>
                      <a:pt x="64" y="0"/>
                    </a:lnTo>
                    <a:lnTo>
                      <a:pt x="61" y="1"/>
                    </a:lnTo>
                    <a:lnTo>
                      <a:pt x="56" y="3"/>
                    </a:lnTo>
                    <a:lnTo>
                      <a:pt x="54" y="6"/>
                    </a:lnTo>
                    <a:lnTo>
                      <a:pt x="51" y="6"/>
                    </a:lnTo>
                    <a:lnTo>
                      <a:pt x="49" y="6"/>
                    </a:lnTo>
                    <a:lnTo>
                      <a:pt x="49" y="1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12" name="Freeform 737"/>
              <p:cNvSpPr>
                <a:spLocks/>
              </p:cNvSpPr>
              <p:nvPr/>
            </p:nvSpPr>
            <p:spPr bwMode="auto">
              <a:xfrm>
                <a:off x="6404255" y="2923736"/>
                <a:ext cx="216817" cy="297140"/>
              </a:xfrm>
              <a:custGeom>
                <a:avLst/>
                <a:gdLst/>
                <a:ahLst/>
                <a:cxnLst>
                  <a:cxn ang="0">
                    <a:pos x="16" y="112"/>
                  </a:cxn>
                  <a:cxn ang="0">
                    <a:pos x="6" y="130"/>
                  </a:cxn>
                  <a:cxn ang="0">
                    <a:pos x="6" y="137"/>
                  </a:cxn>
                  <a:cxn ang="0">
                    <a:pos x="3" y="146"/>
                  </a:cxn>
                  <a:cxn ang="0">
                    <a:pos x="0" y="156"/>
                  </a:cxn>
                  <a:cxn ang="0">
                    <a:pos x="10" y="172"/>
                  </a:cxn>
                  <a:cxn ang="0">
                    <a:pos x="13" y="173"/>
                  </a:cxn>
                  <a:cxn ang="0">
                    <a:pos x="24" y="194"/>
                  </a:cxn>
                  <a:cxn ang="0">
                    <a:pos x="22" y="210"/>
                  </a:cxn>
                  <a:cxn ang="0">
                    <a:pos x="34" y="217"/>
                  </a:cxn>
                  <a:cxn ang="0">
                    <a:pos x="47" y="223"/>
                  </a:cxn>
                  <a:cxn ang="0">
                    <a:pos x="48" y="229"/>
                  </a:cxn>
                  <a:cxn ang="0">
                    <a:pos x="63" y="240"/>
                  </a:cxn>
                  <a:cxn ang="0">
                    <a:pos x="67" y="250"/>
                  </a:cxn>
                  <a:cxn ang="0">
                    <a:pos x="79" y="259"/>
                  </a:cxn>
                  <a:cxn ang="0">
                    <a:pos x="86" y="269"/>
                  </a:cxn>
                  <a:cxn ang="0">
                    <a:pos x="96" y="275"/>
                  </a:cxn>
                  <a:cxn ang="0">
                    <a:pos x="108" y="274"/>
                  </a:cxn>
                  <a:cxn ang="0">
                    <a:pos x="130" y="285"/>
                  </a:cxn>
                  <a:cxn ang="0">
                    <a:pos x="137" y="285"/>
                  </a:cxn>
                  <a:cxn ang="0">
                    <a:pos x="144" y="285"/>
                  </a:cxn>
                  <a:cxn ang="0">
                    <a:pos x="172" y="278"/>
                  </a:cxn>
                  <a:cxn ang="0">
                    <a:pos x="179" y="272"/>
                  </a:cxn>
                  <a:cxn ang="0">
                    <a:pos x="196" y="261"/>
                  </a:cxn>
                  <a:cxn ang="0">
                    <a:pos x="182" y="243"/>
                  </a:cxn>
                  <a:cxn ang="0">
                    <a:pos x="173" y="231"/>
                  </a:cxn>
                  <a:cxn ang="0">
                    <a:pos x="166" y="227"/>
                  </a:cxn>
                  <a:cxn ang="0">
                    <a:pos x="160" y="226"/>
                  </a:cxn>
                  <a:cxn ang="0">
                    <a:pos x="161" y="221"/>
                  </a:cxn>
                  <a:cxn ang="0">
                    <a:pos x="169" y="217"/>
                  </a:cxn>
                  <a:cxn ang="0">
                    <a:pos x="176" y="188"/>
                  </a:cxn>
                  <a:cxn ang="0">
                    <a:pos x="180" y="182"/>
                  </a:cxn>
                  <a:cxn ang="0">
                    <a:pos x="188" y="170"/>
                  </a:cxn>
                  <a:cxn ang="0">
                    <a:pos x="204" y="152"/>
                  </a:cxn>
                  <a:cxn ang="0">
                    <a:pos x="215" y="92"/>
                  </a:cxn>
                  <a:cxn ang="0">
                    <a:pos x="222" y="88"/>
                  </a:cxn>
                  <a:cxn ang="0">
                    <a:pos x="234" y="75"/>
                  </a:cxn>
                  <a:cxn ang="0">
                    <a:pos x="231" y="75"/>
                  </a:cxn>
                  <a:cxn ang="0">
                    <a:pos x="221" y="66"/>
                  </a:cxn>
                  <a:cxn ang="0">
                    <a:pos x="218" y="31"/>
                  </a:cxn>
                  <a:cxn ang="0">
                    <a:pos x="212" y="18"/>
                  </a:cxn>
                  <a:cxn ang="0">
                    <a:pos x="204" y="9"/>
                  </a:cxn>
                  <a:cxn ang="0">
                    <a:pos x="189" y="6"/>
                  </a:cxn>
                  <a:cxn ang="0">
                    <a:pos x="175" y="15"/>
                  </a:cxn>
                  <a:cxn ang="0">
                    <a:pos x="160" y="18"/>
                  </a:cxn>
                  <a:cxn ang="0">
                    <a:pos x="137" y="15"/>
                  </a:cxn>
                  <a:cxn ang="0">
                    <a:pos x="132" y="18"/>
                  </a:cxn>
                  <a:cxn ang="0">
                    <a:pos x="44" y="47"/>
                  </a:cxn>
                </a:cxnLst>
                <a:rect l="0" t="0" r="r" b="b"/>
                <a:pathLst>
                  <a:path w="236" h="285">
                    <a:moveTo>
                      <a:pt x="31" y="56"/>
                    </a:moveTo>
                    <a:lnTo>
                      <a:pt x="31" y="111"/>
                    </a:lnTo>
                    <a:lnTo>
                      <a:pt x="16" y="112"/>
                    </a:lnTo>
                    <a:lnTo>
                      <a:pt x="15" y="112"/>
                    </a:lnTo>
                    <a:lnTo>
                      <a:pt x="15" y="117"/>
                    </a:lnTo>
                    <a:lnTo>
                      <a:pt x="6" y="130"/>
                    </a:lnTo>
                    <a:lnTo>
                      <a:pt x="6" y="134"/>
                    </a:lnTo>
                    <a:lnTo>
                      <a:pt x="6" y="136"/>
                    </a:lnTo>
                    <a:lnTo>
                      <a:pt x="6" y="137"/>
                    </a:lnTo>
                    <a:lnTo>
                      <a:pt x="3" y="137"/>
                    </a:lnTo>
                    <a:lnTo>
                      <a:pt x="3" y="138"/>
                    </a:lnTo>
                    <a:lnTo>
                      <a:pt x="3" y="146"/>
                    </a:lnTo>
                    <a:lnTo>
                      <a:pt x="0" y="150"/>
                    </a:lnTo>
                    <a:lnTo>
                      <a:pt x="0" y="156"/>
                    </a:lnTo>
                    <a:lnTo>
                      <a:pt x="0" y="156"/>
                    </a:lnTo>
                    <a:lnTo>
                      <a:pt x="6" y="154"/>
                    </a:lnTo>
                    <a:lnTo>
                      <a:pt x="6" y="159"/>
                    </a:lnTo>
                    <a:lnTo>
                      <a:pt x="10" y="172"/>
                    </a:lnTo>
                    <a:lnTo>
                      <a:pt x="10" y="172"/>
                    </a:lnTo>
                    <a:lnTo>
                      <a:pt x="12" y="173"/>
                    </a:lnTo>
                    <a:lnTo>
                      <a:pt x="13" y="173"/>
                    </a:lnTo>
                    <a:lnTo>
                      <a:pt x="13" y="179"/>
                    </a:lnTo>
                    <a:lnTo>
                      <a:pt x="12" y="179"/>
                    </a:lnTo>
                    <a:lnTo>
                      <a:pt x="24" y="194"/>
                    </a:lnTo>
                    <a:lnTo>
                      <a:pt x="24" y="198"/>
                    </a:lnTo>
                    <a:lnTo>
                      <a:pt x="22" y="207"/>
                    </a:lnTo>
                    <a:lnTo>
                      <a:pt x="22" y="210"/>
                    </a:lnTo>
                    <a:lnTo>
                      <a:pt x="25" y="213"/>
                    </a:lnTo>
                    <a:lnTo>
                      <a:pt x="32" y="214"/>
                    </a:lnTo>
                    <a:lnTo>
                      <a:pt x="34" y="217"/>
                    </a:lnTo>
                    <a:lnTo>
                      <a:pt x="37" y="218"/>
                    </a:lnTo>
                    <a:lnTo>
                      <a:pt x="42" y="220"/>
                    </a:lnTo>
                    <a:lnTo>
                      <a:pt x="47" y="223"/>
                    </a:lnTo>
                    <a:lnTo>
                      <a:pt x="47" y="224"/>
                    </a:lnTo>
                    <a:lnTo>
                      <a:pt x="47" y="226"/>
                    </a:lnTo>
                    <a:lnTo>
                      <a:pt x="48" y="229"/>
                    </a:lnTo>
                    <a:lnTo>
                      <a:pt x="57" y="236"/>
                    </a:lnTo>
                    <a:lnTo>
                      <a:pt x="60" y="239"/>
                    </a:lnTo>
                    <a:lnTo>
                      <a:pt x="63" y="240"/>
                    </a:lnTo>
                    <a:lnTo>
                      <a:pt x="64" y="245"/>
                    </a:lnTo>
                    <a:lnTo>
                      <a:pt x="67" y="247"/>
                    </a:lnTo>
                    <a:lnTo>
                      <a:pt x="67" y="250"/>
                    </a:lnTo>
                    <a:lnTo>
                      <a:pt x="70" y="252"/>
                    </a:lnTo>
                    <a:lnTo>
                      <a:pt x="77" y="256"/>
                    </a:lnTo>
                    <a:lnTo>
                      <a:pt x="79" y="259"/>
                    </a:lnTo>
                    <a:lnTo>
                      <a:pt x="79" y="262"/>
                    </a:lnTo>
                    <a:lnTo>
                      <a:pt x="82" y="266"/>
                    </a:lnTo>
                    <a:lnTo>
                      <a:pt x="86" y="269"/>
                    </a:lnTo>
                    <a:lnTo>
                      <a:pt x="89" y="274"/>
                    </a:lnTo>
                    <a:lnTo>
                      <a:pt x="95" y="275"/>
                    </a:lnTo>
                    <a:lnTo>
                      <a:pt x="96" y="275"/>
                    </a:lnTo>
                    <a:lnTo>
                      <a:pt x="98" y="272"/>
                    </a:lnTo>
                    <a:lnTo>
                      <a:pt x="105" y="274"/>
                    </a:lnTo>
                    <a:lnTo>
                      <a:pt x="108" y="274"/>
                    </a:lnTo>
                    <a:lnTo>
                      <a:pt x="111" y="271"/>
                    </a:lnTo>
                    <a:lnTo>
                      <a:pt x="127" y="285"/>
                    </a:lnTo>
                    <a:lnTo>
                      <a:pt x="130" y="285"/>
                    </a:lnTo>
                    <a:lnTo>
                      <a:pt x="131" y="284"/>
                    </a:lnTo>
                    <a:lnTo>
                      <a:pt x="134" y="284"/>
                    </a:lnTo>
                    <a:lnTo>
                      <a:pt x="137" y="285"/>
                    </a:lnTo>
                    <a:lnTo>
                      <a:pt x="140" y="284"/>
                    </a:lnTo>
                    <a:lnTo>
                      <a:pt x="143" y="284"/>
                    </a:lnTo>
                    <a:lnTo>
                      <a:pt x="144" y="285"/>
                    </a:lnTo>
                    <a:lnTo>
                      <a:pt x="164" y="284"/>
                    </a:lnTo>
                    <a:lnTo>
                      <a:pt x="172" y="279"/>
                    </a:lnTo>
                    <a:lnTo>
                      <a:pt x="172" y="278"/>
                    </a:lnTo>
                    <a:lnTo>
                      <a:pt x="172" y="279"/>
                    </a:lnTo>
                    <a:lnTo>
                      <a:pt x="176" y="274"/>
                    </a:lnTo>
                    <a:lnTo>
                      <a:pt x="179" y="272"/>
                    </a:lnTo>
                    <a:lnTo>
                      <a:pt x="199" y="272"/>
                    </a:lnTo>
                    <a:lnTo>
                      <a:pt x="199" y="262"/>
                    </a:lnTo>
                    <a:lnTo>
                      <a:pt x="196" y="261"/>
                    </a:lnTo>
                    <a:lnTo>
                      <a:pt x="191" y="259"/>
                    </a:lnTo>
                    <a:lnTo>
                      <a:pt x="189" y="258"/>
                    </a:lnTo>
                    <a:lnTo>
                      <a:pt x="182" y="243"/>
                    </a:lnTo>
                    <a:lnTo>
                      <a:pt x="175" y="237"/>
                    </a:lnTo>
                    <a:lnTo>
                      <a:pt x="173" y="234"/>
                    </a:lnTo>
                    <a:lnTo>
                      <a:pt x="173" y="231"/>
                    </a:lnTo>
                    <a:lnTo>
                      <a:pt x="170" y="230"/>
                    </a:lnTo>
                    <a:lnTo>
                      <a:pt x="169" y="229"/>
                    </a:lnTo>
                    <a:lnTo>
                      <a:pt x="166" y="227"/>
                    </a:lnTo>
                    <a:lnTo>
                      <a:pt x="163" y="227"/>
                    </a:lnTo>
                    <a:lnTo>
                      <a:pt x="161" y="226"/>
                    </a:lnTo>
                    <a:lnTo>
                      <a:pt x="160" y="226"/>
                    </a:lnTo>
                    <a:lnTo>
                      <a:pt x="159" y="224"/>
                    </a:lnTo>
                    <a:lnTo>
                      <a:pt x="160" y="223"/>
                    </a:lnTo>
                    <a:lnTo>
                      <a:pt x="161" y="221"/>
                    </a:lnTo>
                    <a:lnTo>
                      <a:pt x="161" y="217"/>
                    </a:lnTo>
                    <a:lnTo>
                      <a:pt x="163" y="217"/>
                    </a:lnTo>
                    <a:lnTo>
                      <a:pt x="169" y="217"/>
                    </a:lnTo>
                    <a:lnTo>
                      <a:pt x="172" y="217"/>
                    </a:lnTo>
                    <a:lnTo>
                      <a:pt x="175" y="214"/>
                    </a:lnTo>
                    <a:lnTo>
                      <a:pt x="176" y="188"/>
                    </a:lnTo>
                    <a:lnTo>
                      <a:pt x="176" y="188"/>
                    </a:lnTo>
                    <a:lnTo>
                      <a:pt x="179" y="183"/>
                    </a:lnTo>
                    <a:lnTo>
                      <a:pt x="180" y="182"/>
                    </a:lnTo>
                    <a:lnTo>
                      <a:pt x="185" y="182"/>
                    </a:lnTo>
                    <a:lnTo>
                      <a:pt x="185" y="181"/>
                    </a:lnTo>
                    <a:lnTo>
                      <a:pt x="188" y="170"/>
                    </a:lnTo>
                    <a:lnTo>
                      <a:pt x="199" y="154"/>
                    </a:lnTo>
                    <a:lnTo>
                      <a:pt x="202" y="154"/>
                    </a:lnTo>
                    <a:lnTo>
                      <a:pt x="204" y="152"/>
                    </a:lnTo>
                    <a:lnTo>
                      <a:pt x="208" y="133"/>
                    </a:lnTo>
                    <a:lnTo>
                      <a:pt x="206" y="124"/>
                    </a:lnTo>
                    <a:lnTo>
                      <a:pt x="215" y="92"/>
                    </a:lnTo>
                    <a:lnTo>
                      <a:pt x="218" y="90"/>
                    </a:lnTo>
                    <a:lnTo>
                      <a:pt x="221" y="89"/>
                    </a:lnTo>
                    <a:lnTo>
                      <a:pt x="222" y="88"/>
                    </a:lnTo>
                    <a:lnTo>
                      <a:pt x="233" y="83"/>
                    </a:lnTo>
                    <a:lnTo>
                      <a:pt x="236" y="76"/>
                    </a:lnTo>
                    <a:lnTo>
                      <a:pt x="234" y="75"/>
                    </a:lnTo>
                    <a:lnTo>
                      <a:pt x="234" y="75"/>
                    </a:lnTo>
                    <a:lnTo>
                      <a:pt x="233" y="73"/>
                    </a:lnTo>
                    <a:lnTo>
                      <a:pt x="231" y="75"/>
                    </a:lnTo>
                    <a:lnTo>
                      <a:pt x="230" y="70"/>
                    </a:lnTo>
                    <a:lnTo>
                      <a:pt x="228" y="70"/>
                    </a:lnTo>
                    <a:lnTo>
                      <a:pt x="221" y="66"/>
                    </a:lnTo>
                    <a:lnTo>
                      <a:pt x="220" y="64"/>
                    </a:lnTo>
                    <a:lnTo>
                      <a:pt x="217" y="31"/>
                    </a:lnTo>
                    <a:lnTo>
                      <a:pt x="218" y="31"/>
                    </a:lnTo>
                    <a:lnTo>
                      <a:pt x="217" y="29"/>
                    </a:lnTo>
                    <a:lnTo>
                      <a:pt x="214" y="25"/>
                    </a:lnTo>
                    <a:lnTo>
                      <a:pt x="212" y="18"/>
                    </a:lnTo>
                    <a:lnTo>
                      <a:pt x="209" y="13"/>
                    </a:lnTo>
                    <a:lnTo>
                      <a:pt x="208" y="12"/>
                    </a:lnTo>
                    <a:lnTo>
                      <a:pt x="204" y="9"/>
                    </a:lnTo>
                    <a:lnTo>
                      <a:pt x="198" y="6"/>
                    </a:lnTo>
                    <a:lnTo>
                      <a:pt x="195" y="0"/>
                    </a:lnTo>
                    <a:lnTo>
                      <a:pt x="189" y="6"/>
                    </a:lnTo>
                    <a:lnTo>
                      <a:pt x="185" y="5"/>
                    </a:lnTo>
                    <a:lnTo>
                      <a:pt x="182" y="12"/>
                    </a:lnTo>
                    <a:lnTo>
                      <a:pt x="175" y="15"/>
                    </a:lnTo>
                    <a:lnTo>
                      <a:pt x="172" y="21"/>
                    </a:lnTo>
                    <a:lnTo>
                      <a:pt x="166" y="21"/>
                    </a:lnTo>
                    <a:lnTo>
                      <a:pt x="160" y="18"/>
                    </a:lnTo>
                    <a:lnTo>
                      <a:pt x="135" y="18"/>
                    </a:lnTo>
                    <a:lnTo>
                      <a:pt x="137" y="15"/>
                    </a:lnTo>
                    <a:lnTo>
                      <a:pt x="137" y="15"/>
                    </a:lnTo>
                    <a:lnTo>
                      <a:pt x="135" y="15"/>
                    </a:lnTo>
                    <a:lnTo>
                      <a:pt x="135" y="15"/>
                    </a:lnTo>
                    <a:lnTo>
                      <a:pt x="132" y="18"/>
                    </a:lnTo>
                    <a:lnTo>
                      <a:pt x="44" y="18"/>
                    </a:lnTo>
                    <a:lnTo>
                      <a:pt x="44" y="18"/>
                    </a:lnTo>
                    <a:lnTo>
                      <a:pt x="44" y="47"/>
                    </a:lnTo>
                    <a:lnTo>
                      <a:pt x="31" y="47"/>
                    </a:lnTo>
                    <a:lnTo>
                      <a:pt x="31" y="5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13" name="Freeform 738"/>
              <p:cNvSpPr>
                <a:spLocks/>
              </p:cNvSpPr>
              <p:nvPr/>
            </p:nvSpPr>
            <p:spPr bwMode="auto">
              <a:xfrm>
                <a:off x="6404255" y="2923736"/>
                <a:ext cx="216817" cy="297140"/>
              </a:xfrm>
              <a:custGeom>
                <a:avLst/>
                <a:gdLst/>
                <a:ahLst/>
                <a:cxnLst>
                  <a:cxn ang="0">
                    <a:pos x="16" y="112"/>
                  </a:cxn>
                  <a:cxn ang="0">
                    <a:pos x="6" y="130"/>
                  </a:cxn>
                  <a:cxn ang="0">
                    <a:pos x="6" y="137"/>
                  </a:cxn>
                  <a:cxn ang="0">
                    <a:pos x="3" y="146"/>
                  </a:cxn>
                  <a:cxn ang="0">
                    <a:pos x="0" y="156"/>
                  </a:cxn>
                  <a:cxn ang="0">
                    <a:pos x="10" y="172"/>
                  </a:cxn>
                  <a:cxn ang="0">
                    <a:pos x="13" y="173"/>
                  </a:cxn>
                  <a:cxn ang="0">
                    <a:pos x="24" y="194"/>
                  </a:cxn>
                  <a:cxn ang="0">
                    <a:pos x="22" y="210"/>
                  </a:cxn>
                  <a:cxn ang="0">
                    <a:pos x="34" y="217"/>
                  </a:cxn>
                  <a:cxn ang="0">
                    <a:pos x="47" y="223"/>
                  </a:cxn>
                  <a:cxn ang="0">
                    <a:pos x="48" y="229"/>
                  </a:cxn>
                  <a:cxn ang="0">
                    <a:pos x="63" y="240"/>
                  </a:cxn>
                  <a:cxn ang="0">
                    <a:pos x="67" y="250"/>
                  </a:cxn>
                  <a:cxn ang="0">
                    <a:pos x="79" y="259"/>
                  </a:cxn>
                  <a:cxn ang="0">
                    <a:pos x="86" y="269"/>
                  </a:cxn>
                  <a:cxn ang="0">
                    <a:pos x="96" y="275"/>
                  </a:cxn>
                  <a:cxn ang="0">
                    <a:pos x="108" y="274"/>
                  </a:cxn>
                  <a:cxn ang="0">
                    <a:pos x="130" y="285"/>
                  </a:cxn>
                  <a:cxn ang="0">
                    <a:pos x="137" y="285"/>
                  </a:cxn>
                  <a:cxn ang="0">
                    <a:pos x="144" y="285"/>
                  </a:cxn>
                  <a:cxn ang="0">
                    <a:pos x="172" y="278"/>
                  </a:cxn>
                  <a:cxn ang="0">
                    <a:pos x="179" y="272"/>
                  </a:cxn>
                  <a:cxn ang="0">
                    <a:pos x="196" y="261"/>
                  </a:cxn>
                  <a:cxn ang="0">
                    <a:pos x="182" y="243"/>
                  </a:cxn>
                  <a:cxn ang="0">
                    <a:pos x="173" y="231"/>
                  </a:cxn>
                  <a:cxn ang="0">
                    <a:pos x="166" y="227"/>
                  </a:cxn>
                  <a:cxn ang="0">
                    <a:pos x="160" y="226"/>
                  </a:cxn>
                  <a:cxn ang="0">
                    <a:pos x="161" y="221"/>
                  </a:cxn>
                  <a:cxn ang="0">
                    <a:pos x="169" y="217"/>
                  </a:cxn>
                  <a:cxn ang="0">
                    <a:pos x="176" y="188"/>
                  </a:cxn>
                  <a:cxn ang="0">
                    <a:pos x="180" y="182"/>
                  </a:cxn>
                  <a:cxn ang="0">
                    <a:pos x="188" y="170"/>
                  </a:cxn>
                  <a:cxn ang="0">
                    <a:pos x="204" y="152"/>
                  </a:cxn>
                  <a:cxn ang="0">
                    <a:pos x="215" y="92"/>
                  </a:cxn>
                  <a:cxn ang="0">
                    <a:pos x="222" y="88"/>
                  </a:cxn>
                  <a:cxn ang="0">
                    <a:pos x="234" y="75"/>
                  </a:cxn>
                  <a:cxn ang="0">
                    <a:pos x="231" y="75"/>
                  </a:cxn>
                  <a:cxn ang="0">
                    <a:pos x="221" y="66"/>
                  </a:cxn>
                  <a:cxn ang="0">
                    <a:pos x="218" y="31"/>
                  </a:cxn>
                  <a:cxn ang="0">
                    <a:pos x="212" y="18"/>
                  </a:cxn>
                  <a:cxn ang="0">
                    <a:pos x="204" y="9"/>
                  </a:cxn>
                  <a:cxn ang="0">
                    <a:pos x="189" y="6"/>
                  </a:cxn>
                  <a:cxn ang="0">
                    <a:pos x="175" y="15"/>
                  </a:cxn>
                  <a:cxn ang="0">
                    <a:pos x="160" y="18"/>
                  </a:cxn>
                  <a:cxn ang="0">
                    <a:pos x="137" y="15"/>
                  </a:cxn>
                  <a:cxn ang="0">
                    <a:pos x="132" y="18"/>
                  </a:cxn>
                  <a:cxn ang="0">
                    <a:pos x="44" y="47"/>
                  </a:cxn>
                </a:cxnLst>
                <a:rect l="0" t="0" r="r" b="b"/>
                <a:pathLst>
                  <a:path w="236" h="285">
                    <a:moveTo>
                      <a:pt x="31" y="56"/>
                    </a:moveTo>
                    <a:lnTo>
                      <a:pt x="31" y="111"/>
                    </a:lnTo>
                    <a:lnTo>
                      <a:pt x="16" y="112"/>
                    </a:lnTo>
                    <a:lnTo>
                      <a:pt x="15" y="112"/>
                    </a:lnTo>
                    <a:lnTo>
                      <a:pt x="15" y="117"/>
                    </a:lnTo>
                    <a:lnTo>
                      <a:pt x="6" y="130"/>
                    </a:lnTo>
                    <a:lnTo>
                      <a:pt x="6" y="134"/>
                    </a:lnTo>
                    <a:lnTo>
                      <a:pt x="6" y="136"/>
                    </a:lnTo>
                    <a:lnTo>
                      <a:pt x="6" y="137"/>
                    </a:lnTo>
                    <a:lnTo>
                      <a:pt x="3" y="137"/>
                    </a:lnTo>
                    <a:lnTo>
                      <a:pt x="3" y="138"/>
                    </a:lnTo>
                    <a:lnTo>
                      <a:pt x="3" y="146"/>
                    </a:lnTo>
                    <a:lnTo>
                      <a:pt x="0" y="150"/>
                    </a:lnTo>
                    <a:lnTo>
                      <a:pt x="0" y="156"/>
                    </a:lnTo>
                    <a:lnTo>
                      <a:pt x="0" y="156"/>
                    </a:lnTo>
                    <a:lnTo>
                      <a:pt x="6" y="154"/>
                    </a:lnTo>
                    <a:lnTo>
                      <a:pt x="6" y="159"/>
                    </a:lnTo>
                    <a:lnTo>
                      <a:pt x="10" y="172"/>
                    </a:lnTo>
                    <a:lnTo>
                      <a:pt x="10" y="172"/>
                    </a:lnTo>
                    <a:lnTo>
                      <a:pt x="12" y="173"/>
                    </a:lnTo>
                    <a:lnTo>
                      <a:pt x="13" y="173"/>
                    </a:lnTo>
                    <a:lnTo>
                      <a:pt x="13" y="179"/>
                    </a:lnTo>
                    <a:lnTo>
                      <a:pt x="12" y="179"/>
                    </a:lnTo>
                    <a:lnTo>
                      <a:pt x="24" y="194"/>
                    </a:lnTo>
                    <a:lnTo>
                      <a:pt x="24" y="198"/>
                    </a:lnTo>
                    <a:lnTo>
                      <a:pt x="22" y="207"/>
                    </a:lnTo>
                    <a:lnTo>
                      <a:pt x="22" y="210"/>
                    </a:lnTo>
                    <a:lnTo>
                      <a:pt x="25" y="213"/>
                    </a:lnTo>
                    <a:lnTo>
                      <a:pt x="32" y="214"/>
                    </a:lnTo>
                    <a:lnTo>
                      <a:pt x="34" y="217"/>
                    </a:lnTo>
                    <a:lnTo>
                      <a:pt x="37" y="218"/>
                    </a:lnTo>
                    <a:lnTo>
                      <a:pt x="42" y="220"/>
                    </a:lnTo>
                    <a:lnTo>
                      <a:pt x="47" y="223"/>
                    </a:lnTo>
                    <a:lnTo>
                      <a:pt x="47" y="224"/>
                    </a:lnTo>
                    <a:lnTo>
                      <a:pt x="47" y="226"/>
                    </a:lnTo>
                    <a:lnTo>
                      <a:pt x="48" y="229"/>
                    </a:lnTo>
                    <a:lnTo>
                      <a:pt x="57" y="236"/>
                    </a:lnTo>
                    <a:lnTo>
                      <a:pt x="60" y="239"/>
                    </a:lnTo>
                    <a:lnTo>
                      <a:pt x="63" y="240"/>
                    </a:lnTo>
                    <a:lnTo>
                      <a:pt x="64" y="245"/>
                    </a:lnTo>
                    <a:lnTo>
                      <a:pt x="67" y="247"/>
                    </a:lnTo>
                    <a:lnTo>
                      <a:pt x="67" y="250"/>
                    </a:lnTo>
                    <a:lnTo>
                      <a:pt x="70" y="252"/>
                    </a:lnTo>
                    <a:lnTo>
                      <a:pt x="77" y="256"/>
                    </a:lnTo>
                    <a:lnTo>
                      <a:pt x="79" y="259"/>
                    </a:lnTo>
                    <a:lnTo>
                      <a:pt x="79" y="262"/>
                    </a:lnTo>
                    <a:lnTo>
                      <a:pt x="82" y="266"/>
                    </a:lnTo>
                    <a:lnTo>
                      <a:pt x="86" y="269"/>
                    </a:lnTo>
                    <a:lnTo>
                      <a:pt x="89" y="274"/>
                    </a:lnTo>
                    <a:lnTo>
                      <a:pt x="95" y="275"/>
                    </a:lnTo>
                    <a:lnTo>
                      <a:pt x="96" y="275"/>
                    </a:lnTo>
                    <a:lnTo>
                      <a:pt x="98" y="272"/>
                    </a:lnTo>
                    <a:lnTo>
                      <a:pt x="105" y="274"/>
                    </a:lnTo>
                    <a:lnTo>
                      <a:pt x="108" y="274"/>
                    </a:lnTo>
                    <a:lnTo>
                      <a:pt x="111" y="271"/>
                    </a:lnTo>
                    <a:lnTo>
                      <a:pt x="127" y="285"/>
                    </a:lnTo>
                    <a:lnTo>
                      <a:pt x="130" y="285"/>
                    </a:lnTo>
                    <a:lnTo>
                      <a:pt x="131" y="284"/>
                    </a:lnTo>
                    <a:lnTo>
                      <a:pt x="134" y="284"/>
                    </a:lnTo>
                    <a:lnTo>
                      <a:pt x="137" y="285"/>
                    </a:lnTo>
                    <a:lnTo>
                      <a:pt x="140" y="284"/>
                    </a:lnTo>
                    <a:lnTo>
                      <a:pt x="143" y="284"/>
                    </a:lnTo>
                    <a:lnTo>
                      <a:pt x="144" y="285"/>
                    </a:lnTo>
                    <a:lnTo>
                      <a:pt x="164" y="284"/>
                    </a:lnTo>
                    <a:lnTo>
                      <a:pt x="172" y="279"/>
                    </a:lnTo>
                    <a:lnTo>
                      <a:pt x="172" y="278"/>
                    </a:lnTo>
                    <a:lnTo>
                      <a:pt x="172" y="279"/>
                    </a:lnTo>
                    <a:lnTo>
                      <a:pt x="176" y="274"/>
                    </a:lnTo>
                    <a:lnTo>
                      <a:pt x="179" y="272"/>
                    </a:lnTo>
                    <a:lnTo>
                      <a:pt x="199" y="272"/>
                    </a:lnTo>
                    <a:lnTo>
                      <a:pt x="199" y="262"/>
                    </a:lnTo>
                    <a:lnTo>
                      <a:pt x="196" y="261"/>
                    </a:lnTo>
                    <a:lnTo>
                      <a:pt x="191" y="259"/>
                    </a:lnTo>
                    <a:lnTo>
                      <a:pt x="189" y="258"/>
                    </a:lnTo>
                    <a:lnTo>
                      <a:pt x="182" y="243"/>
                    </a:lnTo>
                    <a:lnTo>
                      <a:pt x="175" y="237"/>
                    </a:lnTo>
                    <a:lnTo>
                      <a:pt x="173" y="234"/>
                    </a:lnTo>
                    <a:lnTo>
                      <a:pt x="173" y="231"/>
                    </a:lnTo>
                    <a:lnTo>
                      <a:pt x="170" y="230"/>
                    </a:lnTo>
                    <a:lnTo>
                      <a:pt x="169" y="229"/>
                    </a:lnTo>
                    <a:lnTo>
                      <a:pt x="166" y="227"/>
                    </a:lnTo>
                    <a:lnTo>
                      <a:pt x="163" y="227"/>
                    </a:lnTo>
                    <a:lnTo>
                      <a:pt x="161" y="226"/>
                    </a:lnTo>
                    <a:lnTo>
                      <a:pt x="160" y="226"/>
                    </a:lnTo>
                    <a:lnTo>
                      <a:pt x="159" y="224"/>
                    </a:lnTo>
                    <a:lnTo>
                      <a:pt x="160" y="223"/>
                    </a:lnTo>
                    <a:lnTo>
                      <a:pt x="161" y="221"/>
                    </a:lnTo>
                    <a:lnTo>
                      <a:pt x="161" y="217"/>
                    </a:lnTo>
                    <a:lnTo>
                      <a:pt x="163" y="217"/>
                    </a:lnTo>
                    <a:lnTo>
                      <a:pt x="169" y="217"/>
                    </a:lnTo>
                    <a:lnTo>
                      <a:pt x="172" y="217"/>
                    </a:lnTo>
                    <a:lnTo>
                      <a:pt x="175" y="214"/>
                    </a:lnTo>
                    <a:lnTo>
                      <a:pt x="176" y="188"/>
                    </a:lnTo>
                    <a:lnTo>
                      <a:pt x="176" y="188"/>
                    </a:lnTo>
                    <a:lnTo>
                      <a:pt x="179" y="183"/>
                    </a:lnTo>
                    <a:lnTo>
                      <a:pt x="180" y="182"/>
                    </a:lnTo>
                    <a:lnTo>
                      <a:pt x="185" y="182"/>
                    </a:lnTo>
                    <a:lnTo>
                      <a:pt x="185" y="181"/>
                    </a:lnTo>
                    <a:lnTo>
                      <a:pt x="188" y="170"/>
                    </a:lnTo>
                    <a:lnTo>
                      <a:pt x="199" y="154"/>
                    </a:lnTo>
                    <a:lnTo>
                      <a:pt x="202" y="154"/>
                    </a:lnTo>
                    <a:lnTo>
                      <a:pt x="204" y="152"/>
                    </a:lnTo>
                    <a:lnTo>
                      <a:pt x="208" y="133"/>
                    </a:lnTo>
                    <a:lnTo>
                      <a:pt x="206" y="124"/>
                    </a:lnTo>
                    <a:lnTo>
                      <a:pt x="215" y="92"/>
                    </a:lnTo>
                    <a:lnTo>
                      <a:pt x="218" y="90"/>
                    </a:lnTo>
                    <a:lnTo>
                      <a:pt x="221" y="89"/>
                    </a:lnTo>
                    <a:lnTo>
                      <a:pt x="222" y="88"/>
                    </a:lnTo>
                    <a:lnTo>
                      <a:pt x="233" y="83"/>
                    </a:lnTo>
                    <a:lnTo>
                      <a:pt x="236" y="76"/>
                    </a:lnTo>
                    <a:lnTo>
                      <a:pt x="234" y="75"/>
                    </a:lnTo>
                    <a:lnTo>
                      <a:pt x="234" y="75"/>
                    </a:lnTo>
                    <a:lnTo>
                      <a:pt x="233" y="73"/>
                    </a:lnTo>
                    <a:lnTo>
                      <a:pt x="231" y="75"/>
                    </a:lnTo>
                    <a:lnTo>
                      <a:pt x="230" y="70"/>
                    </a:lnTo>
                    <a:lnTo>
                      <a:pt x="228" y="70"/>
                    </a:lnTo>
                    <a:lnTo>
                      <a:pt x="221" y="66"/>
                    </a:lnTo>
                    <a:lnTo>
                      <a:pt x="220" y="64"/>
                    </a:lnTo>
                    <a:lnTo>
                      <a:pt x="217" y="31"/>
                    </a:lnTo>
                    <a:lnTo>
                      <a:pt x="218" y="31"/>
                    </a:lnTo>
                    <a:lnTo>
                      <a:pt x="217" y="29"/>
                    </a:lnTo>
                    <a:lnTo>
                      <a:pt x="214" y="25"/>
                    </a:lnTo>
                    <a:lnTo>
                      <a:pt x="212" y="18"/>
                    </a:lnTo>
                    <a:lnTo>
                      <a:pt x="209" y="13"/>
                    </a:lnTo>
                    <a:lnTo>
                      <a:pt x="208" y="12"/>
                    </a:lnTo>
                    <a:lnTo>
                      <a:pt x="204" y="9"/>
                    </a:lnTo>
                    <a:lnTo>
                      <a:pt x="198" y="6"/>
                    </a:lnTo>
                    <a:lnTo>
                      <a:pt x="195" y="0"/>
                    </a:lnTo>
                    <a:lnTo>
                      <a:pt x="189" y="6"/>
                    </a:lnTo>
                    <a:lnTo>
                      <a:pt x="185" y="5"/>
                    </a:lnTo>
                    <a:lnTo>
                      <a:pt x="182" y="12"/>
                    </a:lnTo>
                    <a:lnTo>
                      <a:pt x="175" y="15"/>
                    </a:lnTo>
                    <a:lnTo>
                      <a:pt x="172" y="21"/>
                    </a:lnTo>
                    <a:lnTo>
                      <a:pt x="166" y="21"/>
                    </a:lnTo>
                    <a:lnTo>
                      <a:pt x="160" y="18"/>
                    </a:lnTo>
                    <a:lnTo>
                      <a:pt x="135" y="18"/>
                    </a:lnTo>
                    <a:lnTo>
                      <a:pt x="137" y="15"/>
                    </a:lnTo>
                    <a:lnTo>
                      <a:pt x="137" y="15"/>
                    </a:lnTo>
                    <a:lnTo>
                      <a:pt x="135" y="15"/>
                    </a:lnTo>
                    <a:lnTo>
                      <a:pt x="135" y="15"/>
                    </a:lnTo>
                    <a:lnTo>
                      <a:pt x="132" y="18"/>
                    </a:lnTo>
                    <a:lnTo>
                      <a:pt x="44" y="18"/>
                    </a:lnTo>
                    <a:lnTo>
                      <a:pt x="44" y="18"/>
                    </a:lnTo>
                    <a:lnTo>
                      <a:pt x="44" y="47"/>
                    </a:lnTo>
                    <a:lnTo>
                      <a:pt x="31" y="47"/>
                    </a:lnTo>
                    <a:lnTo>
                      <a:pt x="31" y="5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14" name="Freeform 739"/>
              <p:cNvSpPr>
                <a:spLocks/>
              </p:cNvSpPr>
              <p:nvPr/>
            </p:nvSpPr>
            <p:spPr bwMode="auto">
              <a:xfrm>
                <a:off x="6120725" y="2916637"/>
                <a:ext cx="207161" cy="183558"/>
              </a:xfrm>
              <a:custGeom>
                <a:avLst/>
                <a:gdLst/>
                <a:ahLst/>
                <a:cxnLst>
                  <a:cxn ang="0">
                    <a:pos x="58" y="113"/>
                  </a:cxn>
                  <a:cxn ang="0">
                    <a:pos x="53" y="115"/>
                  </a:cxn>
                  <a:cxn ang="0">
                    <a:pos x="52" y="119"/>
                  </a:cxn>
                  <a:cxn ang="0">
                    <a:pos x="48" y="122"/>
                  </a:cxn>
                  <a:cxn ang="0">
                    <a:pos x="40" y="124"/>
                  </a:cxn>
                  <a:cxn ang="0">
                    <a:pos x="40" y="124"/>
                  </a:cxn>
                  <a:cxn ang="0">
                    <a:pos x="10" y="129"/>
                  </a:cxn>
                  <a:cxn ang="0">
                    <a:pos x="1" y="129"/>
                  </a:cxn>
                  <a:cxn ang="0">
                    <a:pos x="0" y="135"/>
                  </a:cxn>
                  <a:cxn ang="0">
                    <a:pos x="3" y="138"/>
                  </a:cxn>
                  <a:cxn ang="0">
                    <a:pos x="3" y="141"/>
                  </a:cxn>
                  <a:cxn ang="0">
                    <a:pos x="18" y="161"/>
                  </a:cxn>
                  <a:cxn ang="0">
                    <a:pos x="23" y="164"/>
                  </a:cxn>
                  <a:cxn ang="0">
                    <a:pos x="26" y="161"/>
                  </a:cxn>
                  <a:cxn ang="0">
                    <a:pos x="29" y="163"/>
                  </a:cxn>
                  <a:cxn ang="0">
                    <a:pos x="30" y="167"/>
                  </a:cxn>
                  <a:cxn ang="0">
                    <a:pos x="29" y="167"/>
                  </a:cxn>
                  <a:cxn ang="0">
                    <a:pos x="29" y="169"/>
                  </a:cxn>
                  <a:cxn ang="0">
                    <a:pos x="34" y="172"/>
                  </a:cxn>
                  <a:cxn ang="0">
                    <a:pos x="33" y="169"/>
                  </a:cxn>
                  <a:cxn ang="0">
                    <a:pos x="39" y="167"/>
                  </a:cxn>
                  <a:cxn ang="0">
                    <a:pos x="49" y="166"/>
                  </a:cxn>
                  <a:cxn ang="0">
                    <a:pos x="50" y="163"/>
                  </a:cxn>
                  <a:cxn ang="0">
                    <a:pos x="55" y="161"/>
                  </a:cxn>
                  <a:cxn ang="0">
                    <a:pos x="62" y="148"/>
                  </a:cxn>
                  <a:cxn ang="0">
                    <a:pos x="88" y="151"/>
                  </a:cxn>
                  <a:cxn ang="0">
                    <a:pos x="97" y="159"/>
                  </a:cxn>
                  <a:cxn ang="0">
                    <a:pos x="101" y="156"/>
                  </a:cxn>
                  <a:cxn ang="0">
                    <a:pos x="111" y="153"/>
                  </a:cxn>
                  <a:cxn ang="0">
                    <a:pos x="130" y="161"/>
                  </a:cxn>
                  <a:cxn ang="0">
                    <a:pos x="145" y="153"/>
                  </a:cxn>
                  <a:cxn ang="0">
                    <a:pos x="171" y="156"/>
                  </a:cxn>
                  <a:cxn ang="0">
                    <a:pos x="175" y="154"/>
                  </a:cxn>
                  <a:cxn ang="0">
                    <a:pos x="178" y="151"/>
                  </a:cxn>
                  <a:cxn ang="0">
                    <a:pos x="181" y="150"/>
                  </a:cxn>
                  <a:cxn ang="0">
                    <a:pos x="185" y="147"/>
                  </a:cxn>
                  <a:cxn ang="0">
                    <a:pos x="185" y="147"/>
                  </a:cxn>
                  <a:cxn ang="0">
                    <a:pos x="184" y="144"/>
                  </a:cxn>
                  <a:cxn ang="0">
                    <a:pos x="184" y="140"/>
                  </a:cxn>
                  <a:cxn ang="0">
                    <a:pos x="187" y="138"/>
                  </a:cxn>
                  <a:cxn ang="0">
                    <a:pos x="188" y="135"/>
                  </a:cxn>
                  <a:cxn ang="0">
                    <a:pos x="191" y="134"/>
                  </a:cxn>
                  <a:cxn ang="0">
                    <a:pos x="193" y="131"/>
                  </a:cxn>
                  <a:cxn ang="0">
                    <a:pos x="217" y="100"/>
                  </a:cxn>
                  <a:cxn ang="0">
                    <a:pos x="226" y="48"/>
                  </a:cxn>
                  <a:cxn ang="0">
                    <a:pos x="216" y="41"/>
                  </a:cxn>
                  <a:cxn ang="0">
                    <a:pos x="213" y="35"/>
                  </a:cxn>
                  <a:cxn ang="0">
                    <a:pos x="212" y="9"/>
                  </a:cxn>
                  <a:cxn ang="0">
                    <a:pos x="204" y="6"/>
                  </a:cxn>
                  <a:cxn ang="0">
                    <a:pos x="200" y="3"/>
                  </a:cxn>
                  <a:cxn ang="0">
                    <a:pos x="167" y="0"/>
                  </a:cxn>
                  <a:cxn ang="0">
                    <a:pos x="58" y="67"/>
                  </a:cxn>
                  <a:cxn ang="0">
                    <a:pos x="58" y="68"/>
                  </a:cxn>
                </a:cxnLst>
                <a:rect l="0" t="0" r="r" b="b"/>
                <a:pathLst>
                  <a:path w="226" h="176">
                    <a:moveTo>
                      <a:pt x="58" y="71"/>
                    </a:moveTo>
                    <a:lnTo>
                      <a:pt x="58" y="113"/>
                    </a:lnTo>
                    <a:lnTo>
                      <a:pt x="56" y="113"/>
                    </a:lnTo>
                    <a:lnTo>
                      <a:pt x="53" y="115"/>
                    </a:lnTo>
                    <a:lnTo>
                      <a:pt x="53" y="116"/>
                    </a:lnTo>
                    <a:lnTo>
                      <a:pt x="52" y="119"/>
                    </a:lnTo>
                    <a:lnTo>
                      <a:pt x="49" y="121"/>
                    </a:lnTo>
                    <a:lnTo>
                      <a:pt x="48" y="122"/>
                    </a:lnTo>
                    <a:lnTo>
                      <a:pt x="48" y="124"/>
                    </a:lnTo>
                    <a:lnTo>
                      <a:pt x="40" y="124"/>
                    </a:lnTo>
                    <a:lnTo>
                      <a:pt x="40" y="124"/>
                    </a:lnTo>
                    <a:lnTo>
                      <a:pt x="40" y="124"/>
                    </a:lnTo>
                    <a:lnTo>
                      <a:pt x="17" y="124"/>
                    </a:lnTo>
                    <a:lnTo>
                      <a:pt x="10" y="129"/>
                    </a:lnTo>
                    <a:lnTo>
                      <a:pt x="1" y="129"/>
                    </a:lnTo>
                    <a:lnTo>
                      <a:pt x="1" y="129"/>
                    </a:lnTo>
                    <a:lnTo>
                      <a:pt x="0" y="134"/>
                    </a:lnTo>
                    <a:lnTo>
                      <a:pt x="0" y="135"/>
                    </a:lnTo>
                    <a:lnTo>
                      <a:pt x="0" y="137"/>
                    </a:lnTo>
                    <a:lnTo>
                      <a:pt x="3" y="138"/>
                    </a:lnTo>
                    <a:lnTo>
                      <a:pt x="3" y="140"/>
                    </a:lnTo>
                    <a:lnTo>
                      <a:pt x="3" y="141"/>
                    </a:lnTo>
                    <a:lnTo>
                      <a:pt x="3" y="144"/>
                    </a:lnTo>
                    <a:lnTo>
                      <a:pt x="18" y="161"/>
                    </a:lnTo>
                    <a:lnTo>
                      <a:pt x="23" y="164"/>
                    </a:lnTo>
                    <a:lnTo>
                      <a:pt x="23" y="164"/>
                    </a:lnTo>
                    <a:lnTo>
                      <a:pt x="24" y="163"/>
                    </a:lnTo>
                    <a:lnTo>
                      <a:pt x="26" y="161"/>
                    </a:lnTo>
                    <a:lnTo>
                      <a:pt x="27" y="161"/>
                    </a:lnTo>
                    <a:lnTo>
                      <a:pt x="29" y="163"/>
                    </a:lnTo>
                    <a:lnTo>
                      <a:pt x="30" y="166"/>
                    </a:lnTo>
                    <a:lnTo>
                      <a:pt x="30" y="167"/>
                    </a:lnTo>
                    <a:lnTo>
                      <a:pt x="29" y="167"/>
                    </a:lnTo>
                    <a:lnTo>
                      <a:pt x="29" y="167"/>
                    </a:lnTo>
                    <a:lnTo>
                      <a:pt x="27" y="167"/>
                    </a:lnTo>
                    <a:lnTo>
                      <a:pt x="29" y="169"/>
                    </a:lnTo>
                    <a:lnTo>
                      <a:pt x="33" y="173"/>
                    </a:lnTo>
                    <a:lnTo>
                      <a:pt x="34" y="172"/>
                    </a:lnTo>
                    <a:lnTo>
                      <a:pt x="33" y="170"/>
                    </a:lnTo>
                    <a:lnTo>
                      <a:pt x="33" y="169"/>
                    </a:lnTo>
                    <a:lnTo>
                      <a:pt x="37" y="169"/>
                    </a:lnTo>
                    <a:lnTo>
                      <a:pt x="39" y="167"/>
                    </a:lnTo>
                    <a:lnTo>
                      <a:pt x="49" y="176"/>
                    </a:lnTo>
                    <a:lnTo>
                      <a:pt x="49" y="166"/>
                    </a:lnTo>
                    <a:lnTo>
                      <a:pt x="50" y="164"/>
                    </a:lnTo>
                    <a:lnTo>
                      <a:pt x="50" y="163"/>
                    </a:lnTo>
                    <a:lnTo>
                      <a:pt x="53" y="163"/>
                    </a:lnTo>
                    <a:lnTo>
                      <a:pt x="55" y="161"/>
                    </a:lnTo>
                    <a:lnTo>
                      <a:pt x="58" y="151"/>
                    </a:lnTo>
                    <a:lnTo>
                      <a:pt x="62" y="148"/>
                    </a:lnTo>
                    <a:lnTo>
                      <a:pt x="78" y="147"/>
                    </a:lnTo>
                    <a:lnTo>
                      <a:pt x="88" y="151"/>
                    </a:lnTo>
                    <a:lnTo>
                      <a:pt x="95" y="159"/>
                    </a:lnTo>
                    <a:lnTo>
                      <a:pt x="97" y="159"/>
                    </a:lnTo>
                    <a:lnTo>
                      <a:pt x="100" y="159"/>
                    </a:lnTo>
                    <a:lnTo>
                      <a:pt x="101" y="156"/>
                    </a:lnTo>
                    <a:lnTo>
                      <a:pt x="109" y="153"/>
                    </a:lnTo>
                    <a:lnTo>
                      <a:pt x="111" y="153"/>
                    </a:lnTo>
                    <a:lnTo>
                      <a:pt x="122" y="160"/>
                    </a:lnTo>
                    <a:lnTo>
                      <a:pt x="130" y="161"/>
                    </a:lnTo>
                    <a:lnTo>
                      <a:pt x="135" y="161"/>
                    </a:lnTo>
                    <a:lnTo>
                      <a:pt x="145" y="153"/>
                    </a:lnTo>
                    <a:lnTo>
                      <a:pt x="164" y="153"/>
                    </a:lnTo>
                    <a:lnTo>
                      <a:pt x="171" y="156"/>
                    </a:lnTo>
                    <a:lnTo>
                      <a:pt x="174" y="156"/>
                    </a:lnTo>
                    <a:lnTo>
                      <a:pt x="175" y="154"/>
                    </a:lnTo>
                    <a:lnTo>
                      <a:pt x="178" y="153"/>
                    </a:lnTo>
                    <a:lnTo>
                      <a:pt x="178" y="151"/>
                    </a:lnTo>
                    <a:lnTo>
                      <a:pt x="180" y="150"/>
                    </a:lnTo>
                    <a:lnTo>
                      <a:pt x="181" y="150"/>
                    </a:lnTo>
                    <a:lnTo>
                      <a:pt x="184" y="150"/>
                    </a:lnTo>
                    <a:lnTo>
                      <a:pt x="185" y="147"/>
                    </a:lnTo>
                    <a:lnTo>
                      <a:pt x="185" y="147"/>
                    </a:lnTo>
                    <a:lnTo>
                      <a:pt x="185" y="147"/>
                    </a:lnTo>
                    <a:lnTo>
                      <a:pt x="184" y="145"/>
                    </a:lnTo>
                    <a:lnTo>
                      <a:pt x="184" y="144"/>
                    </a:lnTo>
                    <a:lnTo>
                      <a:pt x="184" y="143"/>
                    </a:lnTo>
                    <a:lnTo>
                      <a:pt x="184" y="140"/>
                    </a:lnTo>
                    <a:lnTo>
                      <a:pt x="187" y="140"/>
                    </a:lnTo>
                    <a:lnTo>
                      <a:pt x="187" y="138"/>
                    </a:lnTo>
                    <a:lnTo>
                      <a:pt x="188" y="138"/>
                    </a:lnTo>
                    <a:lnTo>
                      <a:pt x="188" y="135"/>
                    </a:lnTo>
                    <a:lnTo>
                      <a:pt x="190" y="134"/>
                    </a:lnTo>
                    <a:lnTo>
                      <a:pt x="191" y="134"/>
                    </a:lnTo>
                    <a:lnTo>
                      <a:pt x="191" y="131"/>
                    </a:lnTo>
                    <a:lnTo>
                      <a:pt x="193" y="131"/>
                    </a:lnTo>
                    <a:lnTo>
                      <a:pt x="193" y="128"/>
                    </a:lnTo>
                    <a:lnTo>
                      <a:pt x="217" y="100"/>
                    </a:lnTo>
                    <a:lnTo>
                      <a:pt x="222" y="54"/>
                    </a:lnTo>
                    <a:lnTo>
                      <a:pt x="226" y="48"/>
                    </a:lnTo>
                    <a:lnTo>
                      <a:pt x="219" y="44"/>
                    </a:lnTo>
                    <a:lnTo>
                      <a:pt x="216" y="41"/>
                    </a:lnTo>
                    <a:lnTo>
                      <a:pt x="213" y="35"/>
                    </a:lnTo>
                    <a:lnTo>
                      <a:pt x="213" y="35"/>
                    </a:lnTo>
                    <a:lnTo>
                      <a:pt x="212" y="31"/>
                    </a:lnTo>
                    <a:lnTo>
                      <a:pt x="212" y="9"/>
                    </a:lnTo>
                    <a:lnTo>
                      <a:pt x="207" y="10"/>
                    </a:lnTo>
                    <a:lnTo>
                      <a:pt x="204" y="6"/>
                    </a:lnTo>
                    <a:lnTo>
                      <a:pt x="201" y="4"/>
                    </a:lnTo>
                    <a:lnTo>
                      <a:pt x="200" y="3"/>
                    </a:lnTo>
                    <a:lnTo>
                      <a:pt x="199" y="3"/>
                    </a:lnTo>
                    <a:lnTo>
                      <a:pt x="167" y="0"/>
                    </a:lnTo>
                    <a:lnTo>
                      <a:pt x="79" y="61"/>
                    </a:lnTo>
                    <a:lnTo>
                      <a:pt x="58" y="67"/>
                    </a:lnTo>
                    <a:lnTo>
                      <a:pt x="58" y="68"/>
                    </a:lnTo>
                    <a:lnTo>
                      <a:pt x="58" y="68"/>
                    </a:lnTo>
                    <a:lnTo>
                      <a:pt x="58" y="7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15" name="Freeform 740"/>
              <p:cNvSpPr>
                <a:spLocks/>
              </p:cNvSpPr>
              <p:nvPr/>
            </p:nvSpPr>
            <p:spPr bwMode="auto">
              <a:xfrm>
                <a:off x="6120725" y="2916637"/>
                <a:ext cx="207161" cy="183558"/>
              </a:xfrm>
              <a:custGeom>
                <a:avLst/>
                <a:gdLst/>
                <a:ahLst/>
                <a:cxnLst>
                  <a:cxn ang="0">
                    <a:pos x="58" y="113"/>
                  </a:cxn>
                  <a:cxn ang="0">
                    <a:pos x="53" y="115"/>
                  </a:cxn>
                  <a:cxn ang="0">
                    <a:pos x="52" y="119"/>
                  </a:cxn>
                  <a:cxn ang="0">
                    <a:pos x="48" y="122"/>
                  </a:cxn>
                  <a:cxn ang="0">
                    <a:pos x="40" y="124"/>
                  </a:cxn>
                  <a:cxn ang="0">
                    <a:pos x="40" y="124"/>
                  </a:cxn>
                  <a:cxn ang="0">
                    <a:pos x="10" y="129"/>
                  </a:cxn>
                  <a:cxn ang="0">
                    <a:pos x="1" y="129"/>
                  </a:cxn>
                  <a:cxn ang="0">
                    <a:pos x="0" y="135"/>
                  </a:cxn>
                  <a:cxn ang="0">
                    <a:pos x="3" y="138"/>
                  </a:cxn>
                  <a:cxn ang="0">
                    <a:pos x="3" y="141"/>
                  </a:cxn>
                  <a:cxn ang="0">
                    <a:pos x="18" y="161"/>
                  </a:cxn>
                  <a:cxn ang="0">
                    <a:pos x="23" y="164"/>
                  </a:cxn>
                  <a:cxn ang="0">
                    <a:pos x="26" y="161"/>
                  </a:cxn>
                  <a:cxn ang="0">
                    <a:pos x="29" y="163"/>
                  </a:cxn>
                  <a:cxn ang="0">
                    <a:pos x="30" y="167"/>
                  </a:cxn>
                  <a:cxn ang="0">
                    <a:pos x="29" y="167"/>
                  </a:cxn>
                  <a:cxn ang="0">
                    <a:pos x="29" y="169"/>
                  </a:cxn>
                  <a:cxn ang="0">
                    <a:pos x="34" y="172"/>
                  </a:cxn>
                  <a:cxn ang="0">
                    <a:pos x="33" y="169"/>
                  </a:cxn>
                  <a:cxn ang="0">
                    <a:pos x="39" y="167"/>
                  </a:cxn>
                  <a:cxn ang="0">
                    <a:pos x="49" y="166"/>
                  </a:cxn>
                  <a:cxn ang="0">
                    <a:pos x="50" y="163"/>
                  </a:cxn>
                  <a:cxn ang="0">
                    <a:pos x="55" y="161"/>
                  </a:cxn>
                  <a:cxn ang="0">
                    <a:pos x="62" y="148"/>
                  </a:cxn>
                  <a:cxn ang="0">
                    <a:pos x="88" y="151"/>
                  </a:cxn>
                  <a:cxn ang="0">
                    <a:pos x="97" y="159"/>
                  </a:cxn>
                  <a:cxn ang="0">
                    <a:pos x="101" y="156"/>
                  </a:cxn>
                  <a:cxn ang="0">
                    <a:pos x="111" y="153"/>
                  </a:cxn>
                  <a:cxn ang="0">
                    <a:pos x="130" y="161"/>
                  </a:cxn>
                  <a:cxn ang="0">
                    <a:pos x="145" y="153"/>
                  </a:cxn>
                  <a:cxn ang="0">
                    <a:pos x="171" y="156"/>
                  </a:cxn>
                  <a:cxn ang="0">
                    <a:pos x="175" y="154"/>
                  </a:cxn>
                  <a:cxn ang="0">
                    <a:pos x="178" y="151"/>
                  </a:cxn>
                  <a:cxn ang="0">
                    <a:pos x="181" y="150"/>
                  </a:cxn>
                  <a:cxn ang="0">
                    <a:pos x="185" y="147"/>
                  </a:cxn>
                  <a:cxn ang="0">
                    <a:pos x="185" y="147"/>
                  </a:cxn>
                  <a:cxn ang="0">
                    <a:pos x="184" y="144"/>
                  </a:cxn>
                  <a:cxn ang="0">
                    <a:pos x="184" y="140"/>
                  </a:cxn>
                  <a:cxn ang="0">
                    <a:pos x="187" y="138"/>
                  </a:cxn>
                  <a:cxn ang="0">
                    <a:pos x="188" y="135"/>
                  </a:cxn>
                  <a:cxn ang="0">
                    <a:pos x="191" y="134"/>
                  </a:cxn>
                  <a:cxn ang="0">
                    <a:pos x="193" y="131"/>
                  </a:cxn>
                  <a:cxn ang="0">
                    <a:pos x="217" y="100"/>
                  </a:cxn>
                  <a:cxn ang="0">
                    <a:pos x="226" y="48"/>
                  </a:cxn>
                  <a:cxn ang="0">
                    <a:pos x="216" y="41"/>
                  </a:cxn>
                  <a:cxn ang="0">
                    <a:pos x="213" y="35"/>
                  </a:cxn>
                  <a:cxn ang="0">
                    <a:pos x="212" y="9"/>
                  </a:cxn>
                  <a:cxn ang="0">
                    <a:pos x="204" y="6"/>
                  </a:cxn>
                  <a:cxn ang="0">
                    <a:pos x="200" y="3"/>
                  </a:cxn>
                  <a:cxn ang="0">
                    <a:pos x="167" y="0"/>
                  </a:cxn>
                  <a:cxn ang="0">
                    <a:pos x="58" y="67"/>
                  </a:cxn>
                  <a:cxn ang="0">
                    <a:pos x="58" y="68"/>
                  </a:cxn>
                </a:cxnLst>
                <a:rect l="0" t="0" r="r" b="b"/>
                <a:pathLst>
                  <a:path w="226" h="176">
                    <a:moveTo>
                      <a:pt x="58" y="71"/>
                    </a:moveTo>
                    <a:lnTo>
                      <a:pt x="58" y="113"/>
                    </a:lnTo>
                    <a:lnTo>
                      <a:pt x="56" y="113"/>
                    </a:lnTo>
                    <a:lnTo>
                      <a:pt x="53" y="115"/>
                    </a:lnTo>
                    <a:lnTo>
                      <a:pt x="53" y="116"/>
                    </a:lnTo>
                    <a:lnTo>
                      <a:pt x="52" y="119"/>
                    </a:lnTo>
                    <a:lnTo>
                      <a:pt x="49" y="121"/>
                    </a:lnTo>
                    <a:lnTo>
                      <a:pt x="48" y="122"/>
                    </a:lnTo>
                    <a:lnTo>
                      <a:pt x="48" y="124"/>
                    </a:lnTo>
                    <a:lnTo>
                      <a:pt x="40" y="124"/>
                    </a:lnTo>
                    <a:lnTo>
                      <a:pt x="40" y="124"/>
                    </a:lnTo>
                    <a:lnTo>
                      <a:pt x="40" y="124"/>
                    </a:lnTo>
                    <a:lnTo>
                      <a:pt x="17" y="124"/>
                    </a:lnTo>
                    <a:lnTo>
                      <a:pt x="10" y="129"/>
                    </a:lnTo>
                    <a:lnTo>
                      <a:pt x="1" y="129"/>
                    </a:lnTo>
                    <a:lnTo>
                      <a:pt x="1" y="129"/>
                    </a:lnTo>
                    <a:lnTo>
                      <a:pt x="0" y="134"/>
                    </a:lnTo>
                    <a:lnTo>
                      <a:pt x="0" y="135"/>
                    </a:lnTo>
                    <a:lnTo>
                      <a:pt x="0" y="137"/>
                    </a:lnTo>
                    <a:lnTo>
                      <a:pt x="3" y="138"/>
                    </a:lnTo>
                    <a:lnTo>
                      <a:pt x="3" y="140"/>
                    </a:lnTo>
                    <a:lnTo>
                      <a:pt x="3" y="141"/>
                    </a:lnTo>
                    <a:lnTo>
                      <a:pt x="3" y="144"/>
                    </a:lnTo>
                    <a:lnTo>
                      <a:pt x="18" y="161"/>
                    </a:lnTo>
                    <a:lnTo>
                      <a:pt x="23" y="164"/>
                    </a:lnTo>
                    <a:lnTo>
                      <a:pt x="23" y="164"/>
                    </a:lnTo>
                    <a:lnTo>
                      <a:pt x="24" y="163"/>
                    </a:lnTo>
                    <a:lnTo>
                      <a:pt x="26" y="161"/>
                    </a:lnTo>
                    <a:lnTo>
                      <a:pt x="27" y="161"/>
                    </a:lnTo>
                    <a:lnTo>
                      <a:pt x="29" y="163"/>
                    </a:lnTo>
                    <a:lnTo>
                      <a:pt x="30" y="166"/>
                    </a:lnTo>
                    <a:lnTo>
                      <a:pt x="30" y="167"/>
                    </a:lnTo>
                    <a:lnTo>
                      <a:pt x="29" y="167"/>
                    </a:lnTo>
                    <a:lnTo>
                      <a:pt x="29" y="167"/>
                    </a:lnTo>
                    <a:lnTo>
                      <a:pt x="27" y="167"/>
                    </a:lnTo>
                    <a:lnTo>
                      <a:pt x="29" y="169"/>
                    </a:lnTo>
                    <a:lnTo>
                      <a:pt x="33" y="173"/>
                    </a:lnTo>
                    <a:lnTo>
                      <a:pt x="34" y="172"/>
                    </a:lnTo>
                    <a:lnTo>
                      <a:pt x="33" y="170"/>
                    </a:lnTo>
                    <a:lnTo>
                      <a:pt x="33" y="169"/>
                    </a:lnTo>
                    <a:lnTo>
                      <a:pt x="37" y="169"/>
                    </a:lnTo>
                    <a:lnTo>
                      <a:pt x="39" y="167"/>
                    </a:lnTo>
                    <a:lnTo>
                      <a:pt x="49" y="176"/>
                    </a:lnTo>
                    <a:lnTo>
                      <a:pt x="49" y="166"/>
                    </a:lnTo>
                    <a:lnTo>
                      <a:pt x="50" y="164"/>
                    </a:lnTo>
                    <a:lnTo>
                      <a:pt x="50" y="163"/>
                    </a:lnTo>
                    <a:lnTo>
                      <a:pt x="53" y="163"/>
                    </a:lnTo>
                    <a:lnTo>
                      <a:pt x="55" y="161"/>
                    </a:lnTo>
                    <a:lnTo>
                      <a:pt x="58" y="151"/>
                    </a:lnTo>
                    <a:lnTo>
                      <a:pt x="62" y="148"/>
                    </a:lnTo>
                    <a:lnTo>
                      <a:pt x="78" y="147"/>
                    </a:lnTo>
                    <a:lnTo>
                      <a:pt x="88" y="151"/>
                    </a:lnTo>
                    <a:lnTo>
                      <a:pt x="95" y="159"/>
                    </a:lnTo>
                    <a:lnTo>
                      <a:pt x="97" y="159"/>
                    </a:lnTo>
                    <a:lnTo>
                      <a:pt x="100" y="159"/>
                    </a:lnTo>
                    <a:lnTo>
                      <a:pt x="101" y="156"/>
                    </a:lnTo>
                    <a:lnTo>
                      <a:pt x="109" y="153"/>
                    </a:lnTo>
                    <a:lnTo>
                      <a:pt x="111" y="153"/>
                    </a:lnTo>
                    <a:lnTo>
                      <a:pt x="122" y="160"/>
                    </a:lnTo>
                    <a:lnTo>
                      <a:pt x="130" y="161"/>
                    </a:lnTo>
                    <a:lnTo>
                      <a:pt x="135" y="161"/>
                    </a:lnTo>
                    <a:lnTo>
                      <a:pt x="145" y="153"/>
                    </a:lnTo>
                    <a:lnTo>
                      <a:pt x="164" y="153"/>
                    </a:lnTo>
                    <a:lnTo>
                      <a:pt x="171" y="156"/>
                    </a:lnTo>
                    <a:lnTo>
                      <a:pt x="174" y="156"/>
                    </a:lnTo>
                    <a:lnTo>
                      <a:pt x="175" y="154"/>
                    </a:lnTo>
                    <a:lnTo>
                      <a:pt x="178" y="153"/>
                    </a:lnTo>
                    <a:lnTo>
                      <a:pt x="178" y="151"/>
                    </a:lnTo>
                    <a:lnTo>
                      <a:pt x="180" y="150"/>
                    </a:lnTo>
                    <a:lnTo>
                      <a:pt x="181" y="150"/>
                    </a:lnTo>
                    <a:lnTo>
                      <a:pt x="184" y="150"/>
                    </a:lnTo>
                    <a:lnTo>
                      <a:pt x="185" y="147"/>
                    </a:lnTo>
                    <a:lnTo>
                      <a:pt x="185" y="147"/>
                    </a:lnTo>
                    <a:lnTo>
                      <a:pt x="185" y="147"/>
                    </a:lnTo>
                    <a:lnTo>
                      <a:pt x="184" y="145"/>
                    </a:lnTo>
                    <a:lnTo>
                      <a:pt x="184" y="144"/>
                    </a:lnTo>
                    <a:lnTo>
                      <a:pt x="184" y="143"/>
                    </a:lnTo>
                    <a:lnTo>
                      <a:pt x="184" y="140"/>
                    </a:lnTo>
                    <a:lnTo>
                      <a:pt x="187" y="140"/>
                    </a:lnTo>
                    <a:lnTo>
                      <a:pt x="187" y="138"/>
                    </a:lnTo>
                    <a:lnTo>
                      <a:pt x="188" y="138"/>
                    </a:lnTo>
                    <a:lnTo>
                      <a:pt x="188" y="135"/>
                    </a:lnTo>
                    <a:lnTo>
                      <a:pt x="190" y="134"/>
                    </a:lnTo>
                    <a:lnTo>
                      <a:pt x="191" y="134"/>
                    </a:lnTo>
                    <a:lnTo>
                      <a:pt x="191" y="131"/>
                    </a:lnTo>
                    <a:lnTo>
                      <a:pt x="193" y="131"/>
                    </a:lnTo>
                    <a:lnTo>
                      <a:pt x="193" y="128"/>
                    </a:lnTo>
                    <a:lnTo>
                      <a:pt x="217" y="100"/>
                    </a:lnTo>
                    <a:lnTo>
                      <a:pt x="222" y="54"/>
                    </a:lnTo>
                    <a:lnTo>
                      <a:pt x="226" y="48"/>
                    </a:lnTo>
                    <a:lnTo>
                      <a:pt x="219" y="44"/>
                    </a:lnTo>
                    <a:lnTo>
                      <a:pt x="216" y="41"/>
                    </a:lnTo>
                    <a:lnTo>
                      <a:pt x="213" y="35"/>
                    </a:lnTo>
                    <a:lnTo>
                      <a:pt x="213" y="35"/>
                    </a:lnTo>
                    <a:lnTo>
                      <a:pt x="212" y="31"/>
                    </a:lnTo>
                    <a:lnTo>
                      <a:pt x="212" y="9"/>
                    </a:lnTo>
                    <a:lnTo>
                      <a:pt x="207" y="10"/>
                    </a:lnTo>
                    <a:lnTo>
                      <a:pt x="204" y="6"/>
                    </a:lnTo>
                    <a:lnTo>
                      <a:pt x="201" y="4"/>
                    </a:lnTo>
                    <a:lnTo>
                      <a:pt x="200" y="3"/>
                    </a:lnTo>
                    <a:lnTo>
                      <a:pt x="199" y="3"/>
                    </a:lnTo>
                    <a:lnTo>
                      <a:pt x="167" y="0"/>
                    </a:lnTo>
                    <a:lnTo>
                      <a:pt x="79" y="61"/>
                    </a:lnTo>
                    <a:lnTo>
                      <a:pt x="58" y="67"/>
                    </a:lnTo>
                    <a:lnTo>
                      <a:pt x="58" y="68"/>
                    </a:lnTo>
                    <a:lnTo>
                      <a:pt x="58" y="68"/>
                    </a:lnTo>
                    <a:lnTo>
                      <a:pt x="58" y="7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16" name="Freeform 741"/>
              <p:cNvSpPr>
                <a:spLocks/>
              </p:cNvSpPr>
              <p:nvPr/>
            </p:nvSpPr>
            <p:spPr bwMode="auto">
              <a:xfrm>
                <a:off x="5620378" y="4225881"/>
                <a:ext cx="31601" cy="22311"/>
              </a:xfrm>
              <a:custGeom>
                <a:avLst/>
                <a:gdLst/>
                <a:ahLst/>
                <a:cxnLst>
                  <a:cxn ang="0">
                    <a:pos x="2" y="2"/>
                  </a:cxn>
                  <a:cxn ang="0">
                    <a:pos x="0" y="0"/>
                  </a:cxn>
                  <a:cxn ang="0">
                    <a:pos x="6" y="0"/>
                  </a:cxn>
                  <a:cxn ang="0">
                    <a:pos x="7" y="0"/>
                  </a:cxn>
                  <a:cxn ang="0">
                    <a:pos x="9" y="0"/>
                  </a:cxn>
                  <a:cxn ang="0">
                    <a:pos x="10" y="0"/>
                  </a:cxn>
                  <a:cxn ang="0">
                    <a:pos x="10" y="0"/>
                  </a:cxn>
                  <a:cxn ang="0">
                    <a:pos x="13" y="2"/>
                  </a:cxn>
                  <a:cxn ang="0">
                    <a:pos x="15" y="3"/>
                  </a:cxn>
                  <a:cxn ang="0">
                    <a:pos x="16" y="2"/>
                  </a:cxn>
                  <a:cxn ang="0">
                    <a:pos x="22" y="4"/>
                  </a:cxn>
                  <a:cxn ang="0">
                    <a:pos x="22" y="6"/>
                  </a:cxn>
                  <a:cxn ang="0">
                    <a:pos x="23" y="6"/>
                  </a:cxn>
                  <a:cxn ang="0">
                    <a:pos x="23" y="9"/>
                  </a:cxn>
                  <a:cxn ang="0">
                    <a:pos x="25" y="9"/>
                  </a:cxn>
                  <a:cxn ang="0">
                    <a:pos x="26" y="7"/>
                  </a:cxn>
                  <a:cxn ang="0">
                    <a:pos x="28" y="9"/>
                  </a:cxn>
                  <a:cxn ang="0">
                    <a:pos x="29" y="12"/>
                  </a:cxn>
                  <a:cxn ang="0">
                    <a:pos x="31" y="13"/>
                  </a:cxn>
                  <a:cxn ang="0">
                    <a:pos x="31" y="13"/>
                  </a:cxn>
                  <a:cxn ang="0">
                    <a:pos x="32" y="15"/>
                  </a:cxn>
                  <a:cxn ang="0">
                    <a:pos x="32" y="15"/>
                  </a:cxn>
                  <a:cxn ang="0">
                    <a:pos x="32" y="15"/>
                  </a:cxn>
                  <a:cxn ang="0">
                    <a:pos x="34" y="18"/>
                  </a:cxn>
                  <a:cxn ang="0">
                    <a:pos x="34" y="19"/>
                  </a:cxn>
                  <a:cxn ang="0">
                    <a:pos x="32" y="19"/>
                  </a:cxn>
                  <a:cxn ang="0">
                    <a:pos x="31" y="19"/>
                  </a:cxn>
                  <a:cxn ang="0">
                    <a:pos x="32" y="22"/>
                  </a:cxn>
                  <a:cxn ang="0">
                    <a:pos x="31" y="22"/>
                  </a:cxn>
                  <a:cxn ang="0">
                    <a:pos x="29" y="22"/>
                  </a:cxn>
                  <a:cxn ang="0">
                    <a:pos x="26" y="18"/>
                  </a:cxn>
                  <a:cxn ang="0">
                    <a:pos x="26" y="16"/>
                  </a:cxn>
                  <a:cxn ang="0">
                    <a:pos x="25" y="15"/>
                  </a:cxn>
                  <a:cxn ang="0">
                    <a:pos x="23" y="13"/>
                  </a:cxn>
                  <a:cxn ang="0">
                    <a:pos x="23" y="12"/>
                  </a:cxn>
                  <a:cxn ang="0">
                    <a:pos x="20" y="12"/>
                  </a:cxn>
                  <a:cxn ang="0">
                    <a:pos x="20" y="10"/>
                  </a:cxn>
                  <a:cxn ang="0">
                    <a:pos x="13" y="7"/>
                  </a:cxn>
                  <a:cxn ang="0">
                    <a:pos x="12" y="7"/>
                  </a:cxn>
                  <a:cxn ang="0">
                    <a:pos x="12" y="6"/>
                  </a:cxn>
                  <a:cxn ang="0">
                    <a:pos x="12" y="4"/>
                  </a:cxn>
                  <a:cxn ang="0">
                    <a:pos x="12" y="3"/>
                  </a:cxn>
                  <a:cxn ang="0">
                    <a:pos x="7" y="4"/>
                  </a:cxn>
                  <a:cxn ang="0">
                    <a:pos x="6" y="4"/>
                  </a:cxn>
                  <a:cxn ang="0">
                    <a:pos x="6" y="3"/>
                  </a:cxn>
                  <a:cxn ang="0">
                    <a:pos x="6" y="2"/>
                  </a:cxn>
                  <a:cxn ang="0">
                    <a:pos x="3" y="2"/>
                  </a:cxn>
                  <a:cxn ang="0">
                    <a:pos x="2" y="2"/>
                  </a:cxn>
                  <a:cxn ang="0">
                    <a:pos x="2" y="2"/>
                  </a:cxn>
                </a:cxnLst>
                <a:rect l="0" t="0" r="r" b="b"/>
                <a:pathLst>
                  <a:path w="34" h="22">
                    <a:moveTo>
                      <a:pt x="2" y="2"/>
                    </a:moveTo>
                    <a:lnTo>
                      <a:pt x="0" y="0"/>
                    </a:lnTo>
                    <a:lnTo>
                      <a:pt x="6" y="0"/>
                    </a:lnTo>
                    <a:lnTo>
                      <a:pt x="7" y="0"/>
                    </a:lnTo>
                    <a:lnTo>
                      <a:pt x="9" y="0"/>
                    </a:lnTo>
                    <a:lnTo>
                      <a:pt x="10" y="0"/>
                    </a:lnTo>
                    <a:lnTo>
                      <a:pt x="10" y="0"/>
                    </a:lnTo>
                    <a:lnTo>
                      <a:pt x="13" y="2"/>
                    </a:lnTo>
                    <a:lnTo>
                      <a:pt x="15" y="3"/>
                    </a:lnTo>
                    <a:lnTo>
                      <a:pt x="16" y="2"/>
                    </a:lnTo>
                    <a:lnTo>
                      <a:pt x="22" y="4"/>
                    </a:lnTo>
                    <a:lnTo>
                      <a:pt x="22" y="6"/>
                    </a:lnTo>
                    <a:lnTo>
                      <a:pt x="23" y="6"/>
                    </a:lnTo>
                    <a:lnTo>
                      <a:pt x="23" y="9"/>
                    </a:lnTo>
                    <a:lnTo>
                      <a:pt x="25" y="9"/>
                    </a:lnTo>
                    <a:lnTo>
                      <a:pt x="26" y="7"/>
                    </a:lnTo>
                    <a:lnTo>
                      <a:pt x="28" y="9"/>
                    </a:lnTo>
                    <a:lnTo>
                      <a:pt x="29" y="12"/>
                    </a:lnTo>
                    <a:lnTo>
                      <a:pt x="31" y="13"/>
                    </a:lnTo>
                    <a:lnTo>
                      <a:pt x="31" y="13"/>
                    </a:lnTo>
                    <a:lnTo>
                      <a:pt x="32" y="15"/>
                    </a:lnTo>
                    <a:lnTo>
                      <a:pt x="32" y="15"/>
                    </a:lnTo>
                    <a:lnTo>
                      <a:pt x="32" y="15"/>
                    </a:lnTo>
                    <a:lnTo>
                      <a:pt x="34" y="18"/>
                    </a:lnTo>
                    <a:lnTo>
                      <a:pt x="34" y="19"/>
                    </a:lnTo>
                    <a:lnTo>
                      <a:pt x="32" y="19"/>
                    </a:lnTo>
                    <a:lnTo>
                      <a:pt x="31" y="19"/>
                    </a:lnTo>
                    <a:lnTo>
                      <a:pt x="32" y="22"/>
                    </a:lnTo>
                    <a:lnTo>
                      <a:pt x="31" y="22"/>
                    </a:lnTo>
                    <a:lnTo>
                      <a:pt x="29" y="22"/>
                    </a:lnTo>
                    <a:lnTo>
                      <a:pt x="26" y="18"/>
                    </a:lnTo>
                    <a:lnTo>
                      <a:pt x="26" y="16"/>
                    </a:lnTo>
                    <a:lnTo>
                      <a:pt x="25" y="15"/>
                    </a:lnTo>
                    <a:lnTo>
                      <a:pt x="23" y="13"/>
                    </a:lnTo>
                    <a:lnTo>
                      <a:pt x="23" y="12"/>
                    </a:lnTo>
                    <a:lnTo>
                      <a:pt x="20" y="12"/>
                    </a:lnTo>
                    <a:lnTo>
                      <a:pt x="20" y="10"/>
                    </a:lnTo>
                    <a:lnTo>
                      <a:pt x="13" y="7"/>
                    </a:lnTo>
                    <a:lnTo>
                      <a:pt x="12" y="7"/>
                    </a:lnTo>
                    <a:lnTo>
                      <a:pt x="12" y="6"/>
                    </a:lnTo>
                    <a:lnTo>
                      <a:pt x="12" y="4"/>
                    </a:lnTo>
                    <a:lnTo>
                      <a:pt x="12" y="3"/>
                    </a:lnTo>
                    <a:lnTo>
                      <a:pt x="7" y="4"/>
                    </a:lnTo>
                    <a:lnTo>
                      <a:pt x="6" y="4"/>
                    </a:lnTo>
                    <a:lnTo>
                      <a:pt x="6" y="3"/>
                    </a:lnTo>
                    <a:lnTo>
                      <a:pt x="6" y="2"/>
                    </a:lnTo>
                    <a:lnTo>
                      <a:pt x="3" y="2"/>
                    </a:lnTo>
                    <a:lnTo>
                      <a:pt x="2" y="2"/>
                    </a:lnTo>
                    <a:lnTo>
                      <a:pt x="2" y="2"/>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17" name="Freeform 742"/>
              <p:cNvSpPr>
                <a:spLocks/>
              </p:cNvSpPr>
              <p:nvPr/>
            </p:nvSpPr>
            <p:spPr bwMode="auto">
              <a:xfrm>
                <a:off x="5620378" y="4225881"/>
                <a:ext cx="31601" cy="22311"/>
              </a:xfrm>
              <a:custGeom>
                <a:avLst/>
                <a:gdLst/>
                <a:ahLst/>
                <a:cxnLst>
                  <a:cxn ang="0">
                    <a:pos x="2" y="2"/>
                  </a:cxn>
                  <a:cxn ang="0">
                    <a:pos x="0" y="0"/>
                  </a:cxn>
                  <a:cxn ang="0">
                    <a:pos x="6" y="0"/>
                  </a:cxn>
                  <a:cxn ang="0">
                    <a:pos x="7" y="0"/>
                  </a:cxn>
                  <a:cxn ang="0">
                    <a:pos x="9" y="0"/>
                  </a:cxn>
                  <a:cxn ang="0">
                    <a:pos x="10" y="0"/>
                  </a:cxn>
                  <a:cxn ang="0">
                    <a:pos x="10" y="0"/>
                  </a:cxn>
                  <a:cxn ang="0">
                    <a:pos x="13" y="2"/>
                  </a:cxn>
                  <a:cxn ang="0">
                    <a:pos x="15" y="3"/>
                  </a:cxn>
                  <a:cxn ang="0">
                    <a:pos x="16" y="2"/>
                  </a:cxn>
                  <a:cxn ang="0">
                    <a:pos x="22" y="4"/>
                  </a:cxn>
                  <a:cxn ang="0">
                    <a:pos x="22" y="6"/>
                  </a:cxn>
                  <a:cxn ang="0">
                    <a:pos x="23" y="6"/>
                  </a:cxn>
                  <a:cxn ang="0">
                    <a:pos x="23" y="9"/>
                  </a:cxn>
                  <a:cxn ang="0">
                    <a:pos x="25" y="9"/>
                  </a:cxn>
                  <a:cxn ang="0">
                    <a:pos x="26" y="7"/>
                  </a:cxn>
                  <a:cxn ang="0">
                    <a:pos x="28" y="9"/>
                  </a:cxn>
                  <a:cxn ang="0">
                    <a:pos x="29" y="12"/>
                  </a:cxn>
                  <a:cxn ang="0">
                    <a:pos x="31" y="13"/>
                  </a:cxn>
                  <a:cxn ang="0">
                    <a:pos x="31" y="13"/>
                  </a:cxn>
                  <a:cxn ang="0">
                    <a:pos x="32" y="15"/>
                  </a:cxn>
                  <a:cxn ang="0">
                    <a:pos x="32" y="15"/>
                  </a:cxn>
                  <a:cxn ang="0">
                    <a:pos x="32" y="15"/>
                  </a:cxn>
                  <a:cxn ang="0">
                    <a:pos x="34" y="18"/>
                  </a:cxn>
                  <a:cxn ang="0">
                    <a:pos x="34" y="19"/>
                  </a:cxn>
                  <a:cxn ang="0">
                    <a:pos x="32" y="19"/>
                  </a:cxn>
                  <a:cxn ang="0">
                    <a:pos x="31" y="19"/>
                  </a:cxn>
                  <a:cxn ang="0">
                    <a:pos x="32" y="22"/>
                  </a:cxn>
                  <a:cxn ang="0">
                    <a:pos x="31" y="22"/>
                  </a:cxn>
                  <a:cxn ang="0">
                    <a:pos x="29" y="22"/>
                  </a:cxn>
                  <a:cxn ang="0">
                    <a:pos x="26" y="18"/>
                  </a:cxn>
                  <a:cxn ang="0">
                    <a:pos x="26" y="16"/>
                  </a:cxn>
                  <a:cxn ang="0">
                    <a:pos x="25" y="15"/>
                  </a:cxn>
                  <a:cxn ang="0">
                    <a:pos x="23" y="13"/>
                  </a:cxn>
                  <a:cxn ang="0">
                    <a:pos x="23" y="12"/>
                  </a:cxn>
                  <a:cxn ang="0">
                    <a:pos x="20" y="12"/>
                  </a:cxn>
                  <a:cxn ang="0">
                    <a:pos x="20" y="10"/>
                  </a:cxn>
                  <a:cxn ang="0">
                    <a:pos x="13" y="7"/>
                  </a:cxn>
                  <a:cxn ang="0">
                    <a:pos x="12" y="7"/>
                  </a:cxn>
                  <a:cxn ang="0">
                    <a:pos x="12" y="6"/>
                  </a:cxn>
                  <a:cxn ang="0">
                    <a:pos x="12" y="4"/>
                  </a:cxn>
                  <a:cxn ang="0">
                    <a:pos x="12" y="3"/>
                  </a:cxn>
                  <a:cxn ang="0">
                    <a:pos x="7" y="4"/>
                  </a:cxn>
                  <a:cxn ang="0">
                    <a:pos x="6" y="4"/>
                  </a:cxn>
                  <a:cxn ang="0">
                    <a:pos x="6" y="3"/>
                  </a:cxn>
                  <a:cxn ang="0">
                    <a:pos x="6" y="2"/>
                  </a:cxn>
                  <a:cxn ang="0">
                    <a:pos x="3" y="2"/>
                  </a:cxn>
                  <a:cxn ang="0">
                    <a:pos x="2" y="2"/>
                  </a:cxn>
                  <a:cxn ang="0">
                    <a:pos x="2" y="2"/>
                  </a:cxn>
                </a:cxnLst>
                <a:rect l="0" t="0" r="r" b="b"/>
                <a:pathLst>
                  <a:path w="34" h="22">
                    <a:moveTo>
                      <a:pt x="2" y="2"/>
                    </a:moveTo>
                    <a:lnTo>
                      <a:pt x="0" y="0"/>
                    </a:lnTo>
                    <a:lnTo>
                      <a:pt x="6" y="0"/>
                    </a:lnTo>
                    <a:lnTo>
                      <a:pt x="7" y="0"/>
                    </a:lnTo>
                    <a:lnTo>
                      <a:pt x="9" y="0"/>
                    </a:lnTo>
                    <a:lnTo>
                      <a:pt x="10" y="0"/>
                    </a:lnTo>
                    <a:lnTo>
                      <a:pt x="10" y="0"/>
                    </a:lnTo>
                    <a:lnTo>
                      <a:pt x="13" y="2"/>
                    </a:lnTo>
                    <a:lnTo>
                      <a:pt x="15" y="3"/>
                    </a:lnTo>
                    <a:lnTo>
                      <a:pt x="16" y="2"/>
                    </a:lnTo>
                    <a:lnTo>
                      <a:pt x="22" y="4"/>
                    </a:lnTo>
                    <a:lnTo>
                      <a:pt x="22" y="6"/>
                    </a:lnTo>
                    <a:lnTo>
                      <a:pt x="23" y="6"/>
                    </a:lnTo>
                    <a:lnTo>
                      <a:pt x="23" y="9"/>
                    </a:lnTo>
                    <a:lnTo>
                      <a:pt x="25" y="9"/>
                    </a:lnTo>
                    <a:lnTo>
                      <a:pt x="26" y="7"/>
                    </a:lnTo>
                    <a:lnTo>
                      <a:pt x="28" y="9"/>
                    </a:lnTo>
                    <a:lnTo>
                      <a:pt x="29" y="12"/>
                    </a:lnTo>
                    <a:lnTo>
                      <a:pt x="31" y="13"/>
                    </a:lnTo>
                    <a:lnTo>
                      <a:pt x="31" y="13"/>
                    </a:lnTo>
                    <a:lnTo>
                      <a:pt x="32" y="15"/>
                    </a:lnTo>
                    <a:lnTo>
                      <a:pt x="32" y="15"/>
                    </a:lnTo>
                    <a:lnTo>
                      <a:pt x="32" y="15"/>
                    </a:lnTo>
                    <a:lnTo>
                      <a:pt x="34" y="18"/>
                    </a:lnTo>
                    <a:lnTo>
                      <a:pt x="34" y="19"/>
                    </a:lnTo>
                    <a:lnTo>
                      <a:pt x="32" y="19"/>
                    </a:lnTo>
                    <a:lnTo>
                      <a:pt x="31" y="19"/>
                    </a:lnTo>
                    <a:lnTo>
                      <a:pt x="32" y="22"/>
                    </a:lnTo>
                    <a:lnTo>
                      <a:pt x="31" y="22"/>
                    </a:lnTo>
                    <a:lnTo>
                      <a:pt x="29" y="22"/>
                    </a:lnTo>
                    <a:lnTo>
                      <a:pt x="26" y="18"/>
                    </a:lnTo>
                    <a:lnTo>
                      <a:pt x="26" y="16"/>
                    </a:lnTo>
                    <a:lnTo>
                      <a:pt x="25" y="15"/>
                    </a:lnTo>
                    <a:lnTo>
                      <a:pt x="23" y="13"/>
                    </a:lnTo>
                    <a:lnTo>
                      <a:pt x="23" y="12"/>
                    </a:lnTo>
                    <a:lnTo>
                      <a:pt x="20" y="12"/>
                    </a:lnTo>
                    <a:lnTo>
                      <a:pt x="20" y="10"/>
                    </a:lnTo>
                    <a:lnTo>
                      <a:pt x="13" y="7"/>
                    </a:lnTo>
                    <a:lnTo>
                      <a:pt x="12" y="7"/>
                    </a:lnTo>
                    <a:lnTo>
                      <a:pt x="12" y="6"/>
                    </a:lnTo>
                    <a:lnTo>
                      <a:pt x="12" y="4"/>
                    </a:lnTo>
                    <a:lnTo>
                      <a:pt x="12" y="3"/>
                    </a:lnTo>
                    <a:lnTo>
                      <a:pt x="7" y="4"/>
                    </a:lnTo>
                    <a:lnTo>
                      <a:pt x="6" y="4"/>
                    </a:lnTo>
                    <a:lnTo>
                      <a:pt x="6" y="3"/>
                    </a:lnTo>
                    <a:lnTo>
                      <a:pt x="6" y="2"/>
                    </a:lnTo>
                    <a:lnTo>
                      <a:pt x="3" y="2"/>
                    </a:lnTo>
                    <a:lnTo>
                      <a:pt x="2" y="2"/>
                    </a:lnTo>
                    <a:lnTo>
                      <a:pt x="2" y="2"/>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18" name="Freeform 743"/>
              <p:cNvSpPr>
                <a:spLocks/>
              </p:cNvSpPr>
              <p:nvPr/>
            </p:nvSpPr>
            <p:spPr bwMode="auto">
              <a:xfrm>
                <a:off x="6306818" y="2705697"/>
                <a:ext cx="2634" cy="3043"/>
              </a:xfrm>
              <a:custGeom>
                <a:avLst/>
                <a:gdLst/>
                <a:ahLst/>
                <a:cxnLst>
                  <a:cxn ang="0">
                    <a:pos x="0" y="1"/>
                  </a:cxn>
                  <a:cxn ang="0">
                    <a:pos x="0" y="0"/>
                  </a:cxn>
                  <a:cxn ang="0">
                    <a:pos x="1" y="1"/>
                  </a:cxn>
                  <a:cxn ang="0">
                    <a:pos x="1" y="3"/>
                  </a:cxn>
                  <a:cxn ang="0">
                    <a:pos x="3" y="3"/>
                  </a:cxn>
                  <a:cxn ang="0">
                    <a:pos x="3" y="3"/>
                  </a:cxn>
                  <a:cxn ang="0">
                    <a:pos x="1" y="3"/>
                  </a:cxn>
                  <a:cxn ang="0">
                    <a:pos x="0" y="1"/>
                  </a:cxn>
                  <a:cxn ang="0">
                    <a:pos x="0" y="1"/>
                  </a:cxn>
                </a:cxnLst>
                <a:rect l="0" t="0" r="r" b="b"/>
                <a:pathLst>
                  <a:path w="3" h="3">
                    <a:moveTo>
                      <a:pt x="0" y="1"/>
                    </a:moveTo>
                    <a:lnTo>
                      <a:pt x="0" y="0"/>
                    </a:lnTo>
                    <a:lnTo>
                      <a:pt x="1" y="1"/>
                    </a:lnTo>
                    <a:lnTo>
                      <a:pt x="1" y="3"/>
                    </a:lnTo>
                    <a:lnTo>
                      <a:pt x="3" y="3"/>
                    </a:lnTo>
                    <a:lnTo>
                      <a:pt x="3" y="3"/>
                    </a:lnTo>
                    <a:lnTo>
                      <a:pt x="1" y="3"/>
                    </a:lnTo>
                    <a:lnTo>
                      <a:pt x="0" y="1"/>
                    </a:lnTo>
                    <a:lnTo>
                      <a:pt x="0"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19" name="Freeform 744"/>
              <p:cNvSpPr>
                <a:spLocks/>
              </p:cNvSpPr>
              <p:nvPr/>
            </p:nvSpPr>
            <p:spPr bwMode="auto">
              <a:xfrm>
                <a:off x="6306818" y="2705697"/>
                <a:ext cx="2634" cy="3043"/>
              </a:xfrm>
              <a:custGeom>
                <a:avLst/>
                <a:gdLst/>
                <a:ahLst/>
                <a:cxnLst>
                  <a:cxn ang="0">
                    <a:pos x="0" y="1"/>
                  </a:cxn>
                  <a:cxn ang="0">
                    <a:pos x="0" y="0"/>
                  </a:cxn>
                  <a:cxn ang="0">
                    <a:pos x="1" y="1"/>
                  </a:cxn>
                  <a:cxn ang="0">
                    <a:pos x="1" y="3"/>
                  </a:cxn>
                  <a:cxn ang="0">
                    <a:pos x="3" y="3"/>
                  </a:cxn>
                  <a:cxn ang="0">
                    <a:pos x="3" y="3"/>
                  </a:cxn>
                  <a:cxn ang="0">
                    <a:pos x="1" y="3"/>
                  </a:cxn>
                  <a:cxn ang="0">
                    <a:pos x="0" y="1"/>
                  </a:cxn>
                  <a:cxn ang="0">
                    <a:pos x="0" y="1"/>
                  </a:cxn>
                </a:cxnLst>
                <a:rect l="0" t="0" r="r" b="b"/>
                <a:pathLst>
                  <a:path w="3" h="3">
                    <a:moveTo>
                      <a:pt x="0" y="1"/>
                    </a:moveTo>
                    <a:lnTo>
                      <a:pt x="0" y="0"/>
                    </a:lnTo>
                    <a:lnTo>
                      <a:pt x="1" y="1"/>
                    </a:lnTo>
                    <a:lnTo>
                      <a:pt x="1" y="3"/>
                    </a:lnTo>
                    <a:lnTo>
                      <a:pt x="3" y="3"/>
                    </a:lnTo>
                    <a:lnTo>
                      <a:pt x="3" y="3"/>
                    </a:lnTo>
                    <a:lnTo>
                      <a:pt x="1" y="3"/>
                    </a:lnTo>
                    <a:lnTo>
                      <a:pt x="0" y="1"/>
                    </a:lnTo>
                    <a:lnTo>
                      <a:pt x="0"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20" name="Freeform 745"/>
              <p:cNvSpPr>
                <a:spLocks/>
              </p:cNvSpPr>
              <p:nvPr/>
            </p:nvSpPr>
            <p:spPr bwMode="auto">
              <a:xfrm>
                <a:off x="5896885" y="2762488"/>
                <a:ext cx="4389" cy="3043"/>
              </a:xfrm>
              <a:custGeom>
                <a:avLst/>
                <a:gdLst/>
                <a:ahLst/>
                <a:cxnLst>
                  <a:cxn ang="0">
                    <a:pos x="4" y="0"/>
                  </a:cxn>
                  <a:cxn ang="0">
                    <a:pos x="4" y="0"/>
                  </a:cxn>
                  <a:cxn ang="0">
                    <a:pos x="3" y="0"/>
                  </a:cxn>
                  <a:cxn ang="0">
                    <a:pos x="0" y="0"/>
                  </a:cxn>
                  <a:cxn ang="0">
                    <a:pos x="0" y="1"/>
                  </a:cxn>
                  <a:cxn ang="0">
                    <a:pos x="1" y="3"/>
                  </a:cxn>
                  <a:cxn ang="0">
                    <a:pos x="4" y="3"/>
                  </a:cxn>
                  <a:cxn ang="0">
                    <a:pos x="5" y="3"/>
                  </a:cxn>
                  <a:cxn ang="0">
                    <a:pos x="5" y="0"/>
                  </a:cxn>
                  <a:cxn ang="0">
                    <a:pos x="4" y="0"/>
                  </a:cxn>
                </a:cxnLst>
                <a:rect l="0" t="0" r="r" b="b"/>
                <a:pathLst>
                  <a:path w="5" h="3">
                    <a:moveTo>
                      <a:pt x="4" y="0"/>
                    </a:moveTo>
                    <a:lnTo>
                      <a:pt x="4" y="0"/>
                    </a:lnTo>
                    <a:lnTo>
                      <a:pt x="3" y="0"/>
                    </a:lnTo>
                    <a:lnTo>
                      <a:pt x="0" y="0"/>
                    </a:lnTo>
                    <a:lnTo>
                      <a:pt x="0" y="1"/>
                    </a:lnTo>
                    <a:lnTo>
                      <a:pt x="1" y="3"/>
                    </a:lnTo>
                    <a:lnTo>
                      <a:pt x="4" y="3"/>
                    </a:lnTo>
                    <a:lnTo>
                      <a:pt x="5" y="3"/>
                    </a:lnTo>
                    <a:lnTo>
                      <a:pt x="5" y="0"/>
                    </a:lnTo>
                    <a:lnTo>
                      <a:pt x="4"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21" name="Freeform 746"/>
              <p:cNvSpPr>
                <a:spLocks/>
              </p:cNvSpPr>
              <p:nvPr/>
            </p:nvSpPr>
            <p:spPr bwMode="auto">
              <a:xfrm>
                <a:off x="5896885" y="2762488"/>
                <a:ext cx="4389" cy="3043"/>
              </a:xfrm>
              <a:custGeom>
                <a:avLst/>
                <a:gdLst/>
                <a:ahLst/>
                <a:cxnLst>
                  <a:cxn ang="0">
                    <a:pos x="4" y="0"/>
                  </a:cxn>
                  <a:cxn ang="0">
                    <a:pos x="4" y="0"/>
                  </a:cxn>
                  <a:cxn ang="0">
                    <a:pos x="3" y="0"/>
                  </a:cxn>
                  <a:cxn ang="0">
                    <a:pos x="0" y="0"/>
                  </a:cxn>
                  <a:cxn ang="0">
                    <a:pos x="0" y="1"/>
                  </a:cxn>
                  <a:cxn ang="0">
                    <a:pos x="1" y="3"/>
                  </a:cxn>
                  <a:cxn ang="0">
                    <a:pos x="4" y="3"/>
                  </a:cxn>
                  <a:cxn ang="0">
                    <a:pos x="5" y="3"/>
                  </a:cxn>
                  <a:cxn ang="0">
                    <a:pos x="5" y="0"/>
                  </a:cxn>
                  <a:cxn ang="0">
                    <a:pos x="4" y="0"/>
                  </a:cxn>
                </a:cxnLst>
                <a:rect l="0" t="0" r="r" b="b"/>
                <a:pathLst>
                  <a:path w="5" h="3">
                    <a:moveTo>
                      <a:pt x="4" y="0"/>
                    </a:moveTo>
                    <a:lnTo>
                      <a:pt x="4" y="0"/>
                    </a:lnTo>
                    <a:lnTo>
                      <a:pt x="3" y="0"/>
                    </a:lnTo>
                    <a:lnTo>
                      <a:pt x="0" y="0"/>
                    </a:lnTo>
                    <a:lnTo>
                      <a:pt x="0" y="1"/>
                    </a:lnTo>
                    <a:lnTo>
                      <a:pt x="1" y="3"/>
                    </a:lnTo>
                    <a:lnTo>
                      <a:pt x="4" y="3"/>
                    </a:lnTo>
                    <a:lnTo>
                      <a:pt x="5" y="3"/>
                    </a:lnTo>
                    <a:lnTo>
                      <a:pt x="5" y="0"/>
                    </a:lnTo>
                    <a:lnTo>
                      <a:pt x="4"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22" name="Freeform 747"/>
              <p:cNvSpPr>
                <a:spLocks/>
              </p:cNvSpPr>
              <p:nvPr/>
            </p:nvSpPr>
            <p:spPr bwMode="auto">
              <a:xfrm>
                <a:off x="5905664" y="2756403"/>
                <a:ext cx="2633" cy="3043"/>
              </a:xfrm>
              <a:custGeom>
                <a:avLst/>
                <a:gdLst/>
                <a:ahLst/>
                <a:cxnLst>
                  <a:cxn ang="0">
                    <a:pos x="3" y="0"/>
                  </a:cxn>
                  <a:cxn ang="0">
                    <a:pos x="1" y="2"/>
                  </a:cxn>
                  <a:cxn ang="0">
                    <a:pos x="0" y="3"/>
                  </a:cxn>
                  <a:cxn ang="0">
                    <a:pos x="1" y="3"/>
                  </a:cxn>
                  <a:cxn ang="0">
                    <a:pos x="3" y="0"/>
                  </a:cxn>
                </a:cxnLst>
                <a:rect l="0" t="0" r="r" b="b"/>
                <a:pathLst>
                  <a:path w="3" h="3">
                    <a:moveTo>
                      <a:pt x="3" y="0"/>
                    </a:moveTo>
                    <a:lnTo>
                      <a:pt x="1" y="2"/>
                    </a:lnTo>
                    <a:lnTo>
                      <a:pt x="0" y="3"/>
                    </a:lnTo>
                    <a:lnTo>
                      <a:pt x="1" y="3"/>
                    </a:lnTo>
                    <a:lnTo>
                      <a:pt x="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23" name="Freeform 748"/>
              <p:cNvSpPr>
                <a:spLocks/>
              </p:cNvSpPr>
              <p:nvPr/>
            </p:nvSpPr>
            <p:spPr bwMode="auto">
              <a:xfrm>
                <a:off x="5905664" y="2756403"/>
                <a:ext cx="2633" cy="3043"/>
              </a:xfrm>
              <a:custGeom>
                <a:avLst/>
                <a:gdLst/>
                <a:ahLst/>
                <a:cxnLst>
                  <a:cxn ang="0">
                    <a:pos x="3" y="0"/>
                  </a:cxn>
                  <a:cxn ang="0">
                    <a:pos x="1" y="2"/>
                  </a:cxn>
                  <a:cxn ang="0">
                    <a:pos x="0" y="3"/>
                  </a:cxn>
                  <a:cxn ang="0">
                    <a:pos x="1" y="3"/>
                  </a:cxn>
                  <a:cxn ang="0">
                    <a:pos x="3" y="0"/>
                  </a:cxn>
                </a:cxnLst>
                <a:rect l="0" t="0" r="r" b="b"/>
                <a:pathLst>
                  <a:path w="3" h="3">
                    <a:moveTo>
                      <a:pt x="3" y="0"/>
                    </a:moveTo>
                    <a:lnTo>
                      <a:pt x="1" y="2"/>
                    </a:lnTo>
                    <a:lnTo>
                      <a:pt x="0" y="3"/>
                    </a:lnTo>
                    <a:lnTo>
                      <a:pt x="1" y="3"/>
                    </a:lnTo>
                    <a:lnTo>
                      <a:pt x="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24" name="Freeform 749"/>
              <p:cNvSpPr>
                <a:spLocks/>
              </p:cNvSpPr>
              <p:nvPr/>
            </p:nvSpPr>
            <p:spPr bwMode="auto">
              <a:xfrm>
                <a:off x="7016959" y="4099115"/>
                <a:ext cx="22823" cy="23325"/>
              </a:xfrm>
              <a:custGeom>
                <a:avLst/>
                <a:gdLst/>
                <a:ahLst/>
                <a:cxnLst>
                  <a:cxn ang="0">
                    <a:pos x="16" y="12"/>
                  </a:cxn>
                  <a:cxn ang="0">
                    <a:pos x="16" y="13"/>
                  </a:cxn>
                  <a:cxn ang="0">
                    <a:pos x="12" y="15"/>
                  </a:cxn>
                  <a:cxn ang="0">
                    <a:pos x="10" y="12"/>
                  </a:cxn>
                  <a:cxn ang="0">
                    <a:pos x="12" y="10"/>
                  </a:cxn>
                  <a:cxn ang="0">
                    <a:pos x="13" y="9"/>
                  </a:cxn>
                  <a:cxn ang="0">
                    <a:pos x="13" y="7"/>
                  </a:cxn>
                  <a:cxn ang="0">
                    <a:pos x="10" y="7"/>
                  </a:cxn>
                  <a:cxn ang="0">
                    <a:pos x="5" y="9"/>
                  </a:cxn>
                  <a:cxn ang="0">
                    <a:pos x="5" y="6"/>
                  </a:cxn>
                  <a:cxn ang="0">
                    <a:pos x="6" y="4"/>
                  </a:cxn>
                  <a:cxn ang="0">
                    <a:pos x="5" y="3"/>
                  </a:cxn>
                  <a:cxn ang="0">
                    <a:pos x="2" y="0"/>
                  </a:cxn>
                  <a:cxn ang="0">
                    <a:pos x="0" y="4"/>
                  </a:cxn>
                  <a:cxn ang="0">
                    <a:pos x="0" y="9"/>
                  </a:cxn>
                  <a:cxn ang="0">
                    <a:pos x="16" y="12"/>
                  </a:cxn>
                  <a:cxn ang="0">
                    <a:pos x="5" y="15"/>
                  </a:cxn>
                  <a:cxn ang="0">
                    <a:pos x="6" y="15"/>
                  </a:cxn>
                  <a:cxn ang="0">
                    <a:pos x="3" y="20"/>
                  </a:cxn>
                  <a:cxn ang="0">
                    <a:pos x="3" y="22"/>
                  </a:cxn>
                  <a:cxn ang="0">
                    <a:pos x="7" y="19"/>
                  </a:cxn>
                  <a:cxn ang="0">
                    <a:pos x="10" y="22"/>
                  </a:cxn>
                  <a:cxn ang="0">
                    <a:pos x="13" y="19"/>
                  </a:cxn>
                  <a:cxn ang="0">
                    <a:pos x="15" y="20"/>
                  </a:cxn>
                  <a:cxn ang="0">
                    <a:pos x="19" y="23"/>
                  </a:cxn>
                  <a:cxn ang="0">
                    <a:pos x="21" y="20"/>
                  </a:cxn>
                  <a:cxn ang="0">
                    <a:pos x="21" y="19"/>
                  </a:cxn>
                  <a:cxn ang="0">
                    <a:pos x="18" y="20"/>
                  </a:cxn>
                  <a:cxn ang="0">
                    <a:pos x="16" y="16"/>
                  </a:cxn>
                  <a:cxn ang="0">
                    <a:pos x="22" y="17"/>
                  </a:cxn>
                  <a:cxn ang="0">
                    <a:pos x="25" y="10"/>
                  </a:cxn>
                  <a:cxn ang="0">
                    <a:pos x="21" y="9"/>
                  </a:cxn>
                  <a:cxn ang="0">
                    <a:pos x="21" y="10"/>
                  </a:cxn>
                </a:cxnLst>
                <a:rect l="0" t="0" r="r" b="b"/>
                <a:pathLst>
                  <a:path w="25" h="23">
                    <a:moveTo>
                      <a:pt x="16" y="12"/>
                    </a:moveTo>
                    <a:lnTo>
                      <a:pt x="16" y="12"/>
                    </a:lnTo>
                    <a:lnTo>
                      <a:pt x="16" y="13"/>
                    </a:lnTo>
                    <a:lnTo>
                      <a:pt x="16" y="13"/>
                    </a:lnTo>
                    <a:lnTo>
                      <a:pt x="13" y="15"/>
                    </a:lnTo>
                    <a:lnTo>
                      <a:pt x="12" y="15"/>
                    </a:lnTo>
                    <a:lnTo>
                      <a:pt x="12" y="13"/>
                    </a:lnTo>
                    <a:lnTo>
                      <a:pt x="10" y="12"/>
                    </a:lnTo>
                    <a:lnTo>
                      <a:pt x="9" y="10"/>
                    </a:lnTo>
                    <a:lnTo>
                      <a:pt x="12" y="10"/>
                    </a:lnTo>
                    <a:lnTo>
                      <a:pt x="13" y="10"/>
                    </a:lnTo>
                    <a:lnTo>
                      <a:pt x="13" y="9"/>
                    </a:lnTo>
                    <a:lnTo>
                      <a:pt x="13" y="9"/>
                    </a:lnTo>
                    <a:lnTo>
                      <a:pt x="13" y="7"/>
                    </a:lnTo>
                    <a:lnTo>
                      <a:pt x="12" y="6"/>
                    </a:lnTo>
                    <a:lnTo>
                      <a:pt x="10" y="7"/>
                    </a:lnTo>
                    <a:lnTo>
                      <a:pt x="7" y="9"/>
                    </a:lnTo>
                    <a:lnTo>
                      <a:pt x="5" y="9"/>
                    </a:lnTo>
                    <a:lnTo>
                      <a:pt x="3" y="9"/>
                    </a:lnTo>
                    <a:lnTo>
                      <a:pt x="5" y="6"/>
                    </a:lnTo>
                    <a:lnTo>
                      <a:pt x="5" y="6"/>
                    </a:lnTo>
                    <a:lnTo>
                      <a:pt x="6" y="4"/>
                    </a:lnTo>
                    <a:lnTo>
                      <a:pt x="6" y="3"/>
                    </a:lnTo>
                    <a:lnTo>
                      <a:pt x="5" y="3"/>
                    </a:lnTo>
                    <a:lnTo>
                      <a:pt x="5" y="0"/>
                    </a:lnTo>
                    <a:lnTo>
                      <a:pt x="2" y="0"/>
                    </a:lnTo>
                    <a:lnTo>
                      <a:pt x="2" y="1"/>
                    </a:lnTo>
                    <a:lnTo>
                      <a:pt x="0" y="4"/>
                    </a:lnTo>
                    <a:lnTo>
                      <a:pt x="2" y="6"/>
                    </a:lnTo>
                    <a:lnTo>
                      <a:pt x="0" y="9"/>
                    </a:lnTo>
                    <a:lnTo>
                      <a:pt x="2" y="10"/>
                    </a:lnTo>
                    <a:lnTo>
                      <a:pt x="16" y="12"/>
                    </a:lnTo>
                    <a:lnTo>
                      <a:pt x="3" y="15"/>
                    </a:lnTo>
                    <a:lnTo>
                      <a:pt x="5" y="15"/>
                    </a:lnTo>
                    <a:lnTo>
                      <a:pt x="6" y="12"/>
                    </a:lnTo>
                    <a:lnTo>
                      <a:pt x="6" y="15"/>
                    </a:lnTo>
                    <a:lnTo>
                      <a:pt x="5" y="15"/>
                    </a:lnTo>
                    <a:lnTo>
                      <a:pt x="3" y="20"/>
                    </a:lnTo>
                    <a:lnTo>
                      <a:pt x="5" y="22"/>
                    </a:lnTo>
                    <a:lnTo>
                      <a:pt x="3" y="22"/>
                    </a:lnTo>
                    <a:lnTo>
                      <a:pt x="6" y="20"/>
                    </a:lnTo>
                    <a:lnTo>
                      <a:pt x="7" y="19"/>
                    </a:lnTo>
                    <a:lnTo>
                      <a:pt x="10" y="19"/>
                    </a:lnTo>
                    <a:lnTo>
                      <a:pt x="10" y="22"/>
                    </a:lnTo>
                    <a:lnTo>
                      <a:pt x="13" y="22"/>
                    </a:lnTo>
                    <a:lnTo>
                      <a:pt x="13" y="19"/>
                    </a:lnTo>
                    <a:lnTo>
                      <a:pt x="13" y="19"/>
                    </a:lnTo>
                    <a:lnTo>
                      <a:pt x="15" y="20"/>
                    </a:lnTo>
                    <a:lnTo>
                      <a:pt x="16" y="22"/>
                    </a:lnTo>
                    <a:lnTo>
                      <a:pt x="19" y="23"/>
                    </a:lnTo>
                    <a:lnTo>
                      <a:pt x="22" y="22"/>
                    </a:lnTo>
                    <a:lnTo>
                      <a:pt x="21" y="20"/>
                    </a:lnTo>
                    <a:lnTo>
                      <a:pt x="22" y="20"/>
                    </a:lnTo>
                    <a:lnTo>
                      <a:pt x="21" y="19"/>
                    </a:lnTo>
                    <a:lnTo>
                      <a:pt x="19" y="19"/>
                    </a:lnTo>
                    <a:lnTo>
                      <a:pt x="18" y="20"/>
                    </a:lnTo>
                    <a:lnTo>
                      <a:pt x="16" y="19"/>
                    </a:lnTo>
                    <a:lnTo>
                      <a:pt x="16" y="16"/>
                    </a:lnTo>
                    <a:lnTo>
                      <a:pt x="21" y="15"/>
                    </a:lnTo>
                    <a:lnTo>
                      <a:pt x="22" y="17"/>
                    </a:lnTo>
                    <a:lnTo>
                      <a:pt x="23" y="16"/>
                    </a:lnTo>
                    <a:lnTo>
                      <a:pt x="25" y="10"/>
                    </a:lnTo>
                    <a:lnTo>
                      <a:pt x="25" y="9"/>
                    </a:lnTo>
                    <a:lnTo>
                      <a:pt x="21" y="9"/>
                    </a:lnTo>
                    <a:lnTo>
                      <a:pt x="21" y="12"/>
                    </a:lnTo>
                    <a:lnTo>
                      <a:pt x="21" y="10"/>
                    </a:lnTo>
                    <a:lnTo>
                      <a:pt x="16" y="12"/>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25" name="Freeform 750"/>
              <p:cNvSpPr>
                <a:spLocks/>
              </p:cNvSpPr>
              <p:nvPr/>
            </p:nvSpPr>
            <p:spPr bwMode="auto">
              <a:xfrm>
                <a:off x="7016959" y="4099115"/>
                <a:ext cx="22823" cy="23325"/>
              </a:xfrm>
              <a:custGeom>
                <a:avLst/>
                <a:gdLst/>
                <a:ahLst/>
                <a:cxnLst>
                  <a:cxn ang="0">
                    <a:pos x="16" y="12"/>
                  </a:cxn>
                  <a:cxn ang="0">
                    <a:pos x="16" y="13"/>
                  </a:cxn>
                  <a:cxn ang="0">
                    <a:pos x="12" y="15"/>
                  </a:cxn>
                  <a:cxn ang="0">
                    <a:pos x="10" y="12"/>
                  </a:cxn>
                  <a:cxn ang="0">
                    <a:pos x="12" y="10"/>
                  </a:cxn>
                  <a:cxn ang="0">
                    <a:pos x="13" y="9"/>
                  </a:cxn>
                  <a:cxn ang="0">
                    <a:pos x="13" y="7"/>
                  </a:cxn>
                  <a:cxn ang="0">
                    <a:pos x="10" y="7"/>
                  </a:cxn>
                  <a:cxn ang="0">
                    <a:pos x="5" y="9"/>
                  </a:cxn>
                  <a:cxn ang="0">
                    <a:pos x="5" y="6"/>
                  </a:cxn>
                  <a:cxn ang="0">
                    <a:pos x="6" y="4"/>
                  </a:cxn>
                  <a:cxn ang="0">
                    <a:pos x="5" y="3"/>
                  </a:cxn>
                  <a:cxn ang="0">
                    <a:pos x="2" y="0"/>
                  </a:cxn>
                  <a:cxn ang="0">
                    <a:pos x="0" y="4"/>
                  </a:cxn>
                  <a:cxn ang="0">
                    <a:pos x="0" y="9"/>
                  </a:cxn>
                  <a:cxn ang="0">
                    <a:pos x="16" y="12"/>
                  </a:cxn>
                  <a:cxn ang="0">
                    <a:pos x="5" y="15"/>
                  </a:cxn>
                  <a:cxn ang="0">
                    <a:pos x="6" y="15"/>
                  </a:cxn>
                  <a:cxn ang="0">
                    <a:pos x="3" y="20"/>
                  </a:cxn>
                  <a:cxn ang="0">
                    <a:pos x="3" y="22"/>
                  </a:cxn>
                  <a:cxn ang="0">
                    <a:pos x="7" y="19"/>
                  </a:cxn>
                  <a:cxn ang="0">
                    <a:pos x="10" y="22"/>
                  </a:cxn>
                  <a:cxn ang="0">
                    <a:pos x="13" y="19"/>
                  </a:cxn>
                  <a:cxn ang="0">
                    <a:pos x="15" y="20"/>
                  </a:cxn>
                  <a:cxn ang="0">
                    <a:pos x="19" y="23"/>
                  </a:cxn>
                  <a:cxn ang="0">
                    <a:pos x="21" y="20"/>
                  </a:cxn>
                  <a:cxn ang="0">
                    <a:pos x="21" y="19"/>
                  </a:cxn>
                  <a:cxn ang="0">
                    <a:pos x="18" y="20"/>
                  </a:cxn>
                  <a:cxn ang="0">
                    <a:pos x="16" y="16"/>
                  </a:cxn>
                  <a:cxn ang="0">
                    <a:pos x="22" y="17"/>
                  </a:cxn>
                  <a:cxn ang="0">
                    <a:pos x="25" y="10"/>
                  </a:cxn>
                  <a:cxn ang="0">
                    <a:pos x="21" y="9"/>
                  </a:cxn>
                  <a:cxn ang="0">
                    <a:pos x="21" y="10"/>
                  </a:cxn>
                </a:cxnLst>
                <a:rect l="0" t="0" r="r" b="b"/>
                <a:pathLst>
                  <a:path w="25" h="23">
                    <a:moveTo>
                      <a:pt x="16" y="12"/>
                    </a:moveTo>
                    <a:lnTo>
                      <a:pt x="16" y="12"/>
                    </a:lnTo>
                    <a:lnTo>
                      <a:pt x="16" y="13"/>
                    </a:lnTo>
                    <a:lnTo>
                      <a:pt x="16" y="13"/>
                    </a:lnTo>
                    <a:lnTo>
                      <a:pt x="13" y="15"/>
                    </a:lnTo>
                    <a:lnTo>
                      <a:pt x="12" y="15"/>
                    </a:lnTo>
                    <a:lnTo>
                      <a:pt x="12" y="13"/>
                    </a:lnTo>
                    <a:lnTo>
                      <a:pt x="10" y="12"/>
                    </a:lnTo>
                    <a:lnTo>
                      <a:pt x="9" y="10"/>
                    </a:lnTo>
                    <a:lnTo>
                      <a:pt x="12" y="10"/>
                    </a:lnTo>
                    <a:lnTo>
                      <a:pt x="13" y="10"/>
                    </a:lnTo>
                    <a:lnTo>
                      <a:pt x="13" y="9"/>
                    </a:lnTo>
                    <a:lnTo>
                      <a:pt x="13" y="9"/>
                    </a:lnTo>
                    <a:lnTo>
                      <a:pt x="13" y="7"/>
                    </a:lnTo>
                    <a:lnTo>
                      <a:pt x="12" y="6"/>
                    </a:lnTo>
                    <a:lnTo>
                      <a:pt x="10" y="7"/>
                    </a:lnTo>
                    <a:lnTo>
                      <a:pt x="7" y="9"/>
                    </a:lnTo>
                    <a:lnTo>
                      <a:pt x="5" y="9"/>
                    </a:lnTo>
                    <a:lnTo>
                      <a:pt x="3" y="9"/>
                    </a:lnTo>
                    <a:lnTo>
                      <a:pt x="5" y="6"/>
                    </a:lnTo>
                    <a:lnTo>
                      <a:pt x="5" y="6"/>
                    </a:lnTo>
                    <a:lnTo>
                      <a:pt x="6" y="4"/>
                    </a:lnTo>
                    <a:lnTo>
                      <a:pt x="6" y="3"/>
                    </a:lnTo>
                    <a:lnTo>
                      <a:pt x="5" y="3"/>
                    </a:lnTo>
                    <a:lnTo>
                      <a:pt x="5" y="0"/>
                    </a:lnTo>
                    <a:lnTo>
                      <a:pt x="2" y="0"/>
                    </a:lnTo>
                    <a:lnTo>
                      <a:pt x="2" y="1"/>
                    </a:lnTo>
                    <a:lnTo>
                      <a:pt x="0" y="4"/>
                    </a:lnTo>
                    <a:lnTo>
                      <a:pt x="2" y="6"/>
                    </a:lnTo>
                    <a:lnTo>
                      <a:pt x="0" y="9"/>
                    </a:lnTo>
                    <a:lnTo>
                      <a:pt x="2" y="10"/>
                    </a:lnTo>
                    <a:lnTo>
                      <a:pt x="16" y="12"/>
                    </a:lnTo>
                    <a:lnTo>
                      <a:pt x="3" y="15"/>
                    </a:lnTo>
                    <a:lnTo>
                      <a:pt x="5" y="15"/>
                    </a:lnTo>
                    <a:lnTo>
                      <a:pt x="6" y="12"/>
                    </a:lnTo>
                    <a:lnTo>
                      <a:pt x="6" y="15"/>
                    </a:lnTo>
                    <a:lnTo>
                      <a:pt x="5" y="15"/>
                    </a:lnTo>
                    <a:lnTo>
                      <a:pt x="3" y="20"/>
                    </a:lnTo>
                    <a:lnTo>
                      <a:pt x="5" y="22"/>
                    </a:lnTo>
                    <a:lnTo>
                      <a:pt x="3" y="22"/>
                    </a:lnTo>
                    <a:lnTo>
                      <a:pt x="6" y="20"/>
                    </a:lnTo>
                    <a:lnTo>
                      <a:pt x="7" y="19"/>
                    </a:lnTo>
                    <a:lnTo>
                      <a:pt x="10" y="19"/>
                    </a:lnTo>
                    <a:lnTo>
                      <a:pt x="10" y="22"/>
                    </a:lnTo>
                    <a:lnTo>
                      <a:pt x="13" y="22"/>
                    </a:lnTo>
                    <a:lnTo>
                      <a:pt x="13" y="19"/>
                    </a:lnTo>
                    <a:lnTo>
                      <a:pt x="13" y="19"/>
                    </a:lnTo>
                    <a:lnTo>
                      <a:pt x="15" y="20"/>
                    </a:lnTo>
                    <a:lnTo>
                      <a:pt x="16" y="22"/>
                    </a:lnTo>
                    <a:lnTo>
                      <a:pt x="19" y="23"/>
                    </a:lnTo>
                    <a:lnTo>
                      <a:pt x="22" y="22"/>
                    </a:lnTo>
                    <a:lnTo>
                      <a:pt x="21" y="20"/>
                    </a:lnTo>
                    <a:lnTo>
                      <a:pt x="22" y="20"/>
                    </a:lnTo>
                    <a:lnTo>
                      <a:pt x="21" y="19"/>
                    </a:lnTo>
                    <a:lnTo>
                      <a:pt x="19" y="19"/>
                    </a:lnTo>
                    <a:lnTo>
                      <a:pt x="18" y="20"/>
                    </a:lnTo>
                    <a:lnTo>
                      <a:pt x="16" y="19"/>
                    </a:lnTo>
                    <a:lnTo>
                      <a:pt x="16" y="16"/>
                    </a:lnTo>
                    <a:lnTo>
                      <a:pt x="21" y="15"/>
                    </a:lnTo>
                    <a:lnTo>
                      <a:pt x="22" y="17"/>
                    </a:lnTo>
                    <a:lnTo>
                      <a:pt x="23" y="16"/>
                    </a:lnTo>
                    <a:lnTo>
                      <a:pt x="25" y="10"/>
                    </a:lnTo>
                    <a:lnTo>
                      <a:pt x="25" y="9"/>
                    </a:lnTo>
                    <a:lnTo>
                      <a:pt x="21" y="9"/>
                    </a:lnTo>
                    <a:lnTo>
                      <a:pt x="21" y="12"/>
                    </a:lnTo>
                    <a:lnTo>
                      <a:pt x="21" y="10"/>
                    </a:lnTo>
                    <a:lnTo>
                      <a:pt x="16" y="12"/>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26" name="Freeform 751"/>
              <p:cNvSpPr>
                <a:spLocks/>
              </p:cNvSpPr>
              <p:nvPr/>
            </p:nvSpPr>
            <p:spPr bwMode="auto">
              <a:xfrm>
                <a:off x="6776442" y="2873029"/>
                <a:ext cx="2633" cy="6085"/>
              </a:xfrm>
              <a:custGeom>
                <a:avLst/>
                <a:gdLst/>
                <a:ahLst/>
                <a:cxnLst>
                  <a:cxn ang="0">
                    <a:pos x="3" y="1"/>
                  </a:cxn>
                  <a:cxn ang="0">
                    <a:pos x="0" y="0"/>
                  </a:cxn>
                  <a:cxn ang="0">
                    <a:pos x="2" y="6"/>
                  </a:cxn>
                  <a:cxn ang="0">
                    <a:pos x="2" y="4"/>
                  </a:cxn>
                  <a:cxn ang="0">
                    <a:pos x="3" y="1"/>
                  </a:cxn>
                </a:cxnLst>
                <a:rect l="0" t="0" r="r" b="b"/>
                <a:pathLst>
                  <a:path w="3" h="6">
                    <a:moveTo>
                      <a:pt x="3" y="1"/>
                    </a:moveTo>
                    <a:lnTo>
                      <a:pt x="0" y="0"/>
                    </a:lnTo>
                    <a:lnTo>
                      <a:pt x="2" y="6"/>
                    </a:lnTo>
                    <a:lnTo>
                      <a:pt x="2" y="4"/>
                    </a:lnTo>
                    <a:lnTo>
                      <a:pt x="3"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27" name="Freeform 752"/>
              <p:cNvSpPr>
                <a:spLocks/>
              </p:cNvSpPr>
              <p:nvPr/>
            </p:nvSpPr>
            <p:spPr bwMode="auto">
              <a:xfrm>
                <a:off x="6776442" y="2873029"/>
                <a:ext cx="2633" cy="6085"/>
              </a:xfrm>
              <a:custGeom>
                <a:avLst/>
                <a:gdLst/>
                <a:ahLst/>
                <a:cxnLst>
                  <a:cxn ang="0">
                    <a:pos x="3" y="1"/>
                  </a:cxn>
                  <a:cxn ang="0">
                    <a:pos x="0" y="0"/>
                  </a:cxn>
                  <a:cxn ang="0">
                    <a:pos x="2" y="6"/>
                  </a:cxn>
                  <a:cxn ang="0">
                    <a:pos x="2" y="4"/>
                  </a:cxn>
                  <a:cxn ang="0">
                    <a:pos x="3" y="1"/>
                  </a:cxn>
                </a:cxnLst>
                <a:rect l="0" t="0" r="r" b="b"/>
                <a:pathLst>
                  <a:path w="3" h="6">
                    <a:moveTo>
                      <a:pt x="3" y="1"/>
                    </a:moveTo>
                    <a:lnTo>
                      <a:pt x="0" y="0"/>
                    </a:lnTo>
                    <a:lnTo>
                      <a:pt x="2" y="6"/>
                    </a:lnTo>
                    <a:lnTo>
                      <a:pt x="2" y="4"/>
                    </a:lnTo>
                    <a:lnTo>
                      <a:pt x="3"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28" name="Freeform 753"/>
              <p:cNvSpPr>
                <a:spLocks/>
              </p:cNvSpPr>
              <p:nvPr/>
            </p:nvSpPr>
            <p:spPr bwMode="auto">
              <a:xfrm>
                <a:off x="6837888" y="3590020"/>
                <a:ext cx="7900" cy="8113"/>
              </a:xfrm>
              <a:custGeom>
                <a:avLst/>
                <a:gdLst/>
                <a:ahLst/>
                <a:cxnLst>
                  <a:cxn ang="0">
                    <a:pos x="0" y="1"/>
                  </a:cxn>
                  <a:cxn ang="0">
                    <a:pos x="0" y="1"/>
                  </a:cxn>
                  <a:cxn ang="0">
                    <a:pos x="5" y="0"/>
                  </a:cxn>
                  <a:cxn ang="0">
                    <a:pos x="7" y="1"/>
                  </a:cxn>
                  <a:cxn ang="0">
                    <a:pos x="9" y="3"/>
                  </a:cxn>
                  <a:cxn ang="0">
                    <a:pos x="9" y="7"/>
                  </a:cxn>
                  <a:cxn ang="0">
                    <a:pos x="6" y="7"/>
                  </a:cxn>
                  <a:cxn ang="0">
                    <a:pos x="3" y="6"/>
                  </a:cxn>
                  <a:cxn ang="0">
                    <a:pos x="2" y="3"/>
                  </a:cxn>
                  <a:cxn ang="0">
                    <a:pos x="0" y="1"/>
                  </a:cxn>
                </a:cxnLst>
                <a:rect l="0" t="0" r="r" b="b"/>
                <a:pathLst>
                  <a:path w="9" h="7">
                    <a:moveTo>
                      <a:pt x="0" y="1"/>
                    </a:moveTo>
                    <a:lnTo>
                      <a:pt x="0" y="1"/>
                    </a:lnTo>
                    <a:lnTo>
                      <a:pt x="5" y="0"/>
                    </a:lnTo>
                    <a:lnTo>
                      <a:pt x="7" y="1"/>
                    </a:lnTo>
                    <a:lnTo>
                      <a:pt x="9" y="3"/>
                    </a:lnTo>
                    <a:lnTo>
                      <a:pt x="9" y="7"/>
                    </a:lnTo>
                    <a:lnTo>
                      <a:pt x="6" y="7"/>
                    </a:lnTo>
                    <a:lnTo>
                      <a:pt x="3" y="6"/>
                    </a:lnTo>
                    <a:lnTo>
                      <a:pt x="2" y="3"/>
                    </a:lnTo>
                    <a:lnTo>
                      <a:pt x="0"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29" name="Freeform 754"/>
              <p:cNvSpPr>
                <a:spLocks/>
              </p:cNvSpPr>
              <p:nvPr/>
            </p:nvSpPr>
            <p:spPr bwMode="auto">
              <a:xfrm>
                <a:off x="6837888" y="3590020"/>
                <a:ext cx="7900" cy="8113"/>
              </a:xfrm>
              <a:custGeom>
                <a:avLst/>
                <a:gdLst/>
                <a:ahLst/>
                <a:cxnLst>
                  <a:cxn ang="0">
                    <a:pos x="0" y="1"/>
                  </a:cxn>
                  <a:cxn ang="0">
                    <a:pos x="0" y="1"/>
                  </a:cxn>
                  <a:cxn ang="0">
                    <a:pos x="5" y="0"/>
                  </a:cxn>
                  <a:cxn ang="0">
                    <a:pos x="7" y="1"/>
                  </a:cxn>
                  <a:cxn ang="0">
                    <a:pos x="9" y="3"/>
                  </a:cxn>
                  <a:cxn ang="0">
                    <a:pos x="9" y="7"/>
                  </a:cxn>
                  <a:cxn ang="0">
                    <a:pos x="6" y="7"/>
                  </a:cxn>
                  <a:cxn ang="0">
                    <a:pos x="3" y="6"/>
                  </a:cxn>
                  <a:cxn ang="0">
                    <a:pos x="2" y="3"/>
                  </a:cxn>
                  <a:cxn ang="0">
                    <a:pos x="0" y="1"/>
                  </a:cxn>
                </a:cxnLst>
                <a:rect l="0" t="0" r="r" b="b"/>
                <a:pathLst>
                  <a:path w="9" h="7">
                    <a:moveTo>
                      <a:pt x="0" y="1"/>
                    </a:moveTo>
                    <a:lnTo>
                      <a:pt x="0" y="1"/>
                    </a:lnTo>
                    <a:lnTo>
                      <a:pt x="5" y="0"/>
                    </a:lnTo>
                    <a:lnTo>
                      <a:pt x="7" y="1"/>
                    </a:lnTo>
                    <a:lnTo>
                      <a:pt x="9" y="3"/>
                    </a:lnTo>
                    <a:lnTo>
                      <a:pt x="9" y="7"/>
                    </a:lnTo>
                    <a:lnTo>
                      <a:pt x="6" y="7"/>
                    </a:lnTo>
                    <a:lnTo>
                      <a:pt x="3" y="6"/>
                    </a:lnTo>
                    <a:lnTo>
                      <a:pt x="2" y="3"/>
                    </a:lnTo>
                    <a:lnTo>
                      <a:pt x="0"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30" name="Freeform 755"/>
              <p:cNvSpPr>
                <a:spLocks/>
              </p:cNvSpPr>
              <p:nvPr/>
            </p:nvSpPr>
            <p:spPr bwMode="auto">
              <a:xfrm>
                <a:off x="5245558" y="2533295"/>
                <a:ext cx="2633" cy="5071"/>
              </a:xfrm>
              <a:custGeom>
                <a:avLst/>
                <a:gdLst/>
                <a:ahLst/>
                <a:cxnLst>
                  <a:cxn ang="0">
                    <a:pos x="1" y="0"/>
                  </a:cxn>
                  <a:cxn ang="0">
                    <a:pos x="1" y="2"/>
                  </a:cxn>
                  <a:cxn ang="0">
                    <a:pos x="0" y="5"/>
                  </a:cxn>
                  <a:cxn ang="0">
                    <a:pos x="1" y="3"/>
                  </a:cxn>
                  <a:cxn ang="0">
                    <a:pos x="3" y="3"/>
                  </a:cxn>
                  <a:cxn ang="0">
                    <a:pos x="3" y="0"/>
                  </a:cxn>
                  <a:cxn ang="0">
                    <a:pos x="1" y="0"/>
                  </a:cxn>
                </a:cxnLst>
                <a:rect l="0" t="0" r="r" b="b"/>
                <a:pathLst>
                  <a:path w="3" h="5">
                    <a:moveTo>
                      <a:pt x="1" y="0"/>
                    </a:moveTo>
                    <a:lnTo>
                      <a:pt x="1" y="2"/>
                    </a:lnTo>
                    <a:lnTo>
                      <a:pt x="0" y="5"/>
                    </a:lnTo>
                    <a:lnTo>
                      <a:pt x="1" y="3"/>
                    </a:lnTo>
                    <a:lnTo>
                      <a:pt x="3" y="3"/>
                    </a:lnTo>
                    <a:lnTo>
                      <a:pt x="3" y="0"/>
                    </a:lnTo>
                    <a:lnTo>
                      <a:pt x="1"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31" name="Freeform 756"/>
              <p:cNvSpPr>
                <a:spLocks/>
              </p:cNvSpPr>
              <p:nvPr/>
            </p:nvSpPr>
            <p:spPr bwMode="auto">
              <a:xfrm>
                <a:off x="5245558" y="2533295"/>
                <a:ext cx="2633" cy="5071"/>
              </a:xfrm>
              <a:custGeom>
                <a:avLst/>
                <a:gdLst/>
                <a:ahLst/>
                <a:cxnLst>
                  <a:cxn ang="0">
                    <a:pos x="1" y="0"/>
                  </a:cxn>
                  <a:cxn ang="0">
                    <a:pos x="1" y="2"/>
                  </a:cxn>
                  <a:cxn ang="0">
                    <a:pos x="0" y="5"/>
                  </a:cxn>
                  <a:cxn ang="0">
                    <a:pos x="1" y="3"/>
                  </a:cxn>
                  <a:cxn ang="0">
                    <a:pos x="3" y="3"/>
                  </a:cxn>
                  <a:cxn ang="0">
                    <a:pos x="3" y="0"/>
                  </a:cxn>
                  <a:cxn ang="0">
                    <a:pos x="1" y="0"/>
                  </a:cxn>
                </a:cxnLst>
                <a:rect l="0" t="0" r="r" b="b"/>
                <a:pathLst>
                  <a:path w="3" h="5">
                    <a:moveTo>
                      <a:pt x="1" y="0"/>
                    </a:moveTo>
                    <a:lnTo>
                      <a:pt x="1" y="2"/>
                    </a:lnTo>
                    <a:lnTo>
                      <a:pt x="0" y="5"/>
                    </a:lnTo>
                    <a:lnTo>
                      <a:pt x="1" y="3"/>
                    </a:lnTo>
                    <a:lnTo>
                      <a:pt x="3" y="3"/>
                    </a:lnTo>
                    <a:lnTo>
                      <a:pt x="3" y="0"/>
                    </a:lnTo>
                    <a:lnTo>
                      <a:pt x="1"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32" name="Freeform 757"/>
              <p:cNvSpPr>
                <a:spLocks/>
              </p:cNvSpPr>
              <p:nvPr/>
            </p:nvSpPr>
            <p:spPr bwMode="auto">
              <a:xfrm>
                <a:off x="6229572" y="3083969"/>
                <a:ext cx="100069" cy="167331"/>
              </a:xfrm>
              <a:custGeom>
                <a:avLst/>
                <a:gdLst/>
                <a:ahLst/>
                <a:cxnLst>
                  <a:cxn ang="0">
                    <a:pos x="17" y="153"/>
                  </a:cxn>
                  <a:cxn ang="0">
                    <a:pos x="20" y="137"/>
                  </a:cxn>
                  <a:cxn ang="0">
                    <a:pos x="17" y="133"/>
                  </a:cxn>
                  <a:cxn ang="0">
                    <a:pos x="16" y="130"/>
                  </a:cxn>
                  <a:cxn ang="0">
                    <a:pos x="17" y="128"/>
                  </a:cxn>
                  <a:cxn ang="0">
                    <a:pos x="16" y="125"/>
                  </a:cxn>
                  <a:cxn ang="0">
                    <a:pos x="14" y="127"/>
                  </a:cxn>
                  <a:cxn ang="0">
                    <a:pos x="7" y="125"/>
                  </a:cxn>
                  <a:cxn ang="0">
                    <a:pos x="3" y="118"/>
                  </a:cxn>
                  <a:cxn ang="0">
                    <a:pos x="0" y="118"/>
                  </a:cxn>
                  <a:cxn ang="0">
                    <a:pos x="0" y="117"/>
                  </a:cxn>
                  <a:cxn ang="0">
                    <a:pos x="1" y="112"/>
                  </a:cxn>
                  <a:cxn ang="0">
                    <a:pos x="5" y="101"/>
                  </a:cxn>
                  <a:cxn ang="0">
                    <a:pos x="14" y="91"/>
                  </a:cxn>
                  <a:cxn ang="0">
                    <a:pos x="29" y="85"/>
                  </a:cxn>
                  <a:cxn ang="0">
                    <a:pos x="33" y="88"/>
                  </a:cxn>
                  <a:cxn ang="0">
                    <a:pos x="35" y="89"/>
                  </a:cxn>
                  <a:cxn ang="0">
                    <a:pos x="40" y="92"/>
                  </a:cxn>
                  <a:cxn ang="0">
                    <a:pos x="53" y="63"/>
                  </a:cxn>
                  <a:cxn ang="0">
                    <a:pos x="61" y="59"/>
                  </a:cxn>
                  <a:cxn ang="0">
                    <a:pos x="74" y="22"/>
                  </a:cxn>
                  <a:cxn ang="0">
                    <a:pos x="80" y="19"/>
                  </a:cxn>
                  <a:cxn ang="0">
                    <a:pos x="84" y="8"/>
                  </a:cxn>
                  <a:cxn ang="0">
                    <a:pos x="82" y="6"/>
                  </a:cxn>
                  <a:cxn ang="0">
                    <a:pos x="80" y="5"/>
                  </a:cxn>
                  <a:cxn ang="0">
                    <a:pos x="82" y="0"/>
                  </a:cxn>
                  <a:cxn ang="0">
                    <a:pos x="88" y="2"/>
                  </a:cxn>
                  <a:cxn ang="0">
                    <a:pos x="91" y="12"/>
                  </a:cxn>
                  <a:cxn ang="0">
                    <a:pos x="95" y="37"/>
                  </a:cxn>
                  <a:cxn ang="0">
                    <a:pos x="97" y="41"/>
                  </a:cxn>
                  <a:cxn ang="0">
                    <a:pos x="87" y="40"/>
                  </a:cxn>
                  <a:cxn ang="0">
                    <a:pos x="81" y="41"/>
                  </a:cxn>
                  <a:cxn ang="0">
                    <a:pos x="80" y="47"/>
                  </a:cxn>
                  <a:cxn ang="0">
                    <a:pos x="82" y="54"/>
                  </a:cxn>
                  <a:cxn ang="0">
                    <a:pos x="90" y="57"/>
                  </a:cxn>
                  <a:cxn ang="0">
                    <a:pos x="97" y="77"/>
                  </a:cxn>
                  <a:cxn ang="0">
                    <a:pos x="85" y="99"/>
                  </a:cxn>
                  <a:cxn ang="0">
                    <a:pos x="87" y="107"/>
                  </a:cxn>
                  <a:cxn ang="0">
                    <a:pos x="100" y="137"/>
                  </a:cxn>
                  <a:cxn ang="0">
                    <a:pos x="109" y="143"/>
                  </a:cxn>
                  <a:cxn ang="0">
                    <a:pos x="109" y="157"/>
                  </a:cxn>
                  <a:cxn ang="0">
                    <a:pos x="106" y="160"/>
                  </a:cxn>
                  <a:cxn ang="0">
                    <a:pos x="97" y="156"/>
                  </a:cxn>
                  <a:cxn ang="0">
                    <a:pos x="87" y="152"/>
                  </a:cxn>
                </a:cxnLst>
                <a:rect l="0" t="0" r="r" b="b"/>
                <a:pathLst>
                  <a:path w="109" h="160">
                    <a:moveTo>
                      <a:pt x="68" y="152"/>
                    </a:moveTo>
                    <a:lnTo>
                      <a:pt x="17" y="153"/>
                    </a:lnTo>
                    <a:lnTo>
                      <a:pt x="20" y="138"/>
                    </a:lnTo>
                    <a:lnTo>
                      <a:pt x="20" y="137"/>
                    </a:lnTo>
                    <a:lnTo>
                      <a:pt x="17" y="134"/>
                    </a:lnTo>
                    <a:lnTo>
                      <a:pt x="17" y="133"/>
                    </a:lnTo>
                    <a:lnTo>
                      <a:pt x="16" y="131"/>
                    </a:lnTo>
                    <a:lnTo>
                      <a:pt x="16" y="130"/>
                    </a:lnTo>
                    <a:lnTo>
                      <a:pt x="16" y="130"/>
                    </a:lnTo>
                    <a:lnTo>
                      <a:pt x="17" y="128"/>
                    </a:lnTo>
                    <a:lnTo>
                      <a:pt x="17" y="127"/>
                    </a:lnTo>
                    <a:lnTo>
                      <a:pt x="16" y="125"/>
                    </a:lnTo>
                    <a:lnTo>
                      <a:pt x="14" y="125"/>
                    </a:lnTo>
                    <a:lnTo>
                      <a:pt x="14" y="127"/>
                    </a:lnTo>
                    <a:lnTo>
                      <a:pt x="13" y="127"/>
                    </a:lnTo>
                    <a:lnTo>
                      <a:pt x="7" y="125"/>
                    </a:lnTo>
                    <a:lnTo>
                      <a:pt x="4" y="118"/>
                    </a:lnTo>
                    <a:lnTo>
                      <a:pt x="3" y="118"/>
                    </a:lnTo>
                    <a:lnTo>
                      <a:pt x="1" y="120"/>
                    </a:lnTo>
                    <a:lnTo>
                      <a:pt x="0" y="118"/>
                    </a:lnTo>
                    <a:lnTo>
                      <a:pt x="0" y="117"/>
                    </a:lnTo>
                    <a:lnTo>
                      <a:pt x="0" y="117"/>
                    </a:lnTo>
                    <a:lnTo>
                      <a:pt x="0" y="114"/>
                    </a:lnTo>
                    <a:lnTo>
                      <a:pt x="1" y="112"/>
                    </a:lnTo>
                    <a:lnTo>
                      <a:pt x="4" y="108"/>
                    </a:lnTo>
                    <a:lnTo>
                      <a:pt x="5" y="101"/>
                    </a:lnTo>
                    <a:lnTo>
                      <a:pt x="11" y="91"/>
                    </a:lnTo>
                    <a:lnTo>
                      <a:pt x="14" y="91"/>
                    </a:lnTo>
                    <a:lnTo>
                      <a:pt x="16" y="86"/>
                    </a:lnTo>
                    <a:lnTo>
                      <a:pt x="29" y="85"/>
                    </a:lnTo>
                    <a:lnTo>
                      <a:pt x="32" y="88"/>
                    </a:lnTo>
                    <a:lnTo>
                      <a:pt x="33" y="88"/>
                    </a:lnTo>
                    <a:lnTo>
                      <a:pt x="33" y="89"/>
                    </a:lnTo>
                    <a:lnTo>
                      <a:pt x="35" y="89"/>
                    </a:lnTo>
                    <a:lnTo>
                      <a:pt x="36" y="91"/>
                    </a:lnTo>
                    <a:lnTo>
                      <a:pt x="40" y="92"/>
                    </a:lnTo>
                    <a:lnTo>
                      <a:pt x="42" y="91"/>
                    </a:lnTo>
                    <a:lnTo>
                      <a:pt x="53" y="63"/>
                    </a:lnTo>
                    <a:lnTo>
                      <a:pt x="56" y="60"/>
                    </a:lnTo>
                    <a:lnTo>
                      <a:pt x="61" y="59"/>
                    </a:lnTo>
                    <a:lnTo>
                      <a:pt x="69" y="28"/>
                    </a:lnTo>
                    <a:lnTo>
                      <a:pt x="74" y="22"/>
                    </a:lnTo>
                    <a:lnTo>
                      <a:pt x="80" y="21"/>
                    </a:lnTo>
                    <a:lnTo>
                      <a:pt x="80" y="19"/>
                    </a:lnTo>
                    <a:lnTo>
                      <a:pt x="84" y="16"/>
                    </a:lnTo>
                    <a:lnTo>
                      <a:pt x="84" y="8"/>
                    </a:lnTo>
                    <a:lnTo>
                      <a:pt x="84" y="6"/>
                    </a:lnTo>
                    <a:lnTo>
                      <a:pt x="82" y="6"/>
                    </a:lnTo>
                    <a:lnTo>
                      <a:pt x="80" y="5"/>
                    </a:lnTo>
                    <a:lnTo>
                      <a:pt x="80" y="5"/>
                    </a:lnTo>
                    <a:lnTo>
                      <a:pt x="81" y="5"/>
                    </a:lnTo>
                    <a:lnTo>
                      <a:pt x="82" y="0"/>
                    </a:lnTo>
                    <a:lnTo>
                      <a:pt x="87" y="0"/>
                    </a:lnTo>
                    <a:lnTo>
                      <a:pt x="88" y="2"/>
                    </a:lnTo>
                    <a:lnTo>
                      <a:pt x="90" y="9"/>
                    </a:lnTo>
                    <a:lnTo>
                      <a:pt x="91" y="12"/>
                    </a:lnTo>
                    <a:lnTo>
                      <a:pt x="90" y="27"/>
                    </a:lnTo>
                    <a:lnTo>
                      <a:pt x="95" y="37"/>
                    </a:lnTo>
                    <a:lnTo>
                      <a:pt x="97" y="41"/>
                    </a:lnTo>
                    <a:lnTo>
                      <a:pt x="97" y="41"/>
                    </a:lnTo>
                    <a:lnTo>
                      <a:pt x="95" y="41"/>
                    </a:lnTo>
                    <a:lnTo>
                      <a:pt x="87" y="40"/>
                    </a:lnTo>
                    <a:lnTo>
                      <a:pt x="82" y="41"/>
                    </a:lnTo>
                    <a:lnTo>
                      <a:pt x="81" y="41"/>
                    </a:lnTo>
                    <a:lnTo>
                      <a:pt x="80" y="43"/>
                    </a:lnTo>
                    <a:lnTo>
                      <a:pt x="80" y="47"/>
                    </a:lnTo>
                    <a:lnTo>
                      <a:pt x="80" y="50"/>
                    </a:lnTo>
                    <a:lnTo>
                      <a:pt x="82" y="54"/>
                    </a:lnTo>
                    <a:lnTo>
                      <a:pt x="84" y="56"/>
                    </a:lnTo>
                    <a:lnTo>
                      <a:pt x="90" y="57"/>
                    </a:lnTo>
                    <a:lnTo>
                      <a:pt x="91" y="57"/>
                    </a:lnTo>
                    <a:lnTo>
                      <a:pt x="97" y="77"/>
                    </a:lnTo>
                    <a:lnTo>
                      <a:pt x="98" y="77"/>
                    </a:lnTo>
                    <a:lnTo>
                      <a:pt x="85" y="99"/>
                    </a:lnTo>
                    <a:lnTo>
                      <a:pt x="85" y="102"/>
                    </a:lnTo>
                    <a:lnTo>
                      <a:pt x="87" y="107"/>
                    </a:lnTo>
                    <a:lnTo>
                      <a:pt x="87" y="115"/>
                    </a:lnTo>
                    <a:lnTo>
                      <a:pt x="100" y="137"/>
                    </a:lnTo>
                    <a:lnTo>
                      <a:pt x="106" y="143"/>
                    </a:lnTo>
                    <a:lnTo>
                      <a:pt x="109" y="143"/>
                    </a:lnTo>
                    <a:lnTo>
                      <a:pt x="107" y="146"/>
                    </a:lnTo>
                    <a:lnTo>
                      <a:pt x="109" y="157"/>
                    </a:lnTo>
                    <a:lnTo>
                      <a:pt x="107" y="159"/>
                    </a:lnTo>
                    <a:lnTo>
                      <a:pt x="106" y="160"/>
                    </a:lnTo>
                    <a:lnTo>
                      <a:pt x="100" y="154"/>
                    </a:lnTo>
                    <a:lnTo>
                      <a:pt x="97" y="156"/>
                    </a:lnTo>
                    <a:lnTo>
                      <a:pt x="90" y="154"/>
                    </a:lnTo>
                    <a:lnTo>
                      <a:pt x="87" y="152"/>
                    </a:lnTo>
                    <a:lnTo>
                      <a:pt x="68" y="152"/>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33" name="Freeform 759"/>
              <p:cNvSpPr>
                <a:spLocks/>
              </p:cNvSpPr>
              <p:nvPr/>
            </p:nvSpPr>
            <p:spPr bwMode="auto">
              <a:xfrm>
                <a:off x="7276788" y="2839562"/>
                <a:ext cx="43890" cy="27382"/>
              </a:xfrm>
              <a:custGeom>
                <a:avLst/>
                <a:gdLst/>
                <a:ahLst/>
                <a:cxnLst>
                  <a:cxn ang="0">
                    <a:pos x="42" y="9"/>
                  </a:cxn>
                  <a:cxn ang="0">
                    <a:pos x="42" y="9"/>
                  </a:cxn>
                  <a:cxn ang="0">
                    <a:pos x="40" y="6"/>
                  </a:cxn>
                  <a:cxn ang="0">
                    <a:pos x="38" y="6"/>
                  </a:cxn>
                  <a:cxn ang="0">
                    <a:pos x="38" y="4"/>
                  </a:cxn>
                  <a:cxn ang="0">
                    <a:pos x="34" y="6"/>
                  </a:cxn>
                  <a:cxn ang="0">
                    <a:pos x="25" y="4"/>
                  </a:cxn>
                  <a:cxn ang="0">
                    <a:pos x="24" y="3"/>
                  </a:cxn>
                  <a:cxn ang="0">
                    <a:pos x="24" y="3"/>
                  </a:cxn>
                  <a:cxn ang="0">
                    <a:pos x="22" y="1"/>
                  </a:cxn>
                  <a:cxn ang="0">
                    <a:pos x="21" y="0"/>
                  </a:cxn>
                  <a:cxn ang="0">
                    <a:pos x="16" y="1"/>
                  </a:cxn>
                  <a:cxn ang="0">
                    <a:pos x="13" y="1"/>
                  </a:cxn>
                  <a:cxn ang="0">
                    <a:pos x="10" y="4"/>
                  </a:cxn>
                  <a:cxn ang="0">
                    <a:pos x="9" y="9"/>
                  </a:cxn>
                  <a:cxn ang="0">
                    <a:pos x="3" y="15"/>
                  </a:cxn>
                  <a:cxn ang="0">
                    <a:pos x="2" y="16"/>
                  </a:cxn>
                  <a:cxn ang="0">
                    <a:pos x="0" y="19"/>
                  </a:cxn>
                  <a:cxn ang="0">
                    <a:pos x="0" y="20"/>
                  </a:cxn>
                  <a:cxn ang="0">
                    <a:pos x="2" y="20"/>
                  </a:cxn>
                  <a:cxn ang="0">
                    <a:pos x="2" y="22"/>
                  </a:cxn>
                  <a:cxn ang="0">
                    <a:pos x="2" y="23"/>
                  </a:cxn>
                  <a:cxn ang="0">
                    <a:pos x="2" y="23"/>
                  </a:cxn>
                  <a:cxn ang="0">
                    <a:pos x="3" y="23"/>
                  </a:cxn>
                  <a:cxn ang="0">
                    <a:pos x="5" y="25"/>
                  </a:cxn>
                  <a:cxn ang="0">
                    <a:pos x="18" y="26"/>
                  </a:cxn>
                  <a:cxn ang="0">
                    <a:pos x="24" y="23"/>
                  </a:cxn>
                  <a:cxn ang="0">
                    <a:pos x="29" y="25"/>
                  </a:cxn>
                  <a:cxn ang="0">
                    <a:pos x="47" y="22"/>
                  </a:cxn>
                  <a:cxn ang="0">
                    <a:pos x="48" y="22"/>
                  </a:cxn>
                  <a:cxn ang="0">
                    <a:pos x="48" y="20"/>
                  </a:cxn>
                  <a:cxn ang="0">
                    <a:pos x="48" y="19"/>
                  </a:cxn>
                  <a:cxn ang="0">
                    <a:pos x="48" y="16"/>
                  </a:cxn>
                  <a:cxn ang="0">
                    <a:pos x="47" y="15"/>
                  </a:cxn>
                  <a:cxn ang="0">
                    <a:pos x="42" y="12"/>
                  </a:cxn>
                  <a:cxn ang="0">
                    <a:pos x="42" y="12"/>
                  </a:cxn>
                  <a:cxn ang="0">
                    <a:pos x="42" y="10"/>
                  </a:cxn>
                  <a:cxn ang="0">
                    <a:pos x="42" y="10"/>
                  </a:cxn>
                  <a:cxn ang="0">
                    <a:pos x="42" y="9"/>
                  </a:cxn>
                </a:cxnLst>
                <a:rect l="0" t="0" r="r" b="b"/>
                <a:pathLst>
                  <a:path w="48" h="26">
                    <a:moveTo>
                      <a:pt x="42" y="9"/>
                    </a:moveTo>
                    <a:lnTo>
                      <a:pt x="42" y="9"/>
                    </a:lnTo>
                    <a:lnTo>
                      <a:pt x="40" y="6"/>
                    </a:lnTo>
                    <a:lnTo>
                      <a:pt x="38" y="6"/>
                    </a:lnTo>
                    <a:lnTo>
                      <a:pt x="38" y="4"/>
                    </a:lnTo>
                    <a:lnTo>
                      <a:pt x="34" y="6"/>
                    </a:lnTo>
                    <a:lnTo>
                      <a:pt x="25" y="4"/>
                    </a:lnTo>
                    <a:lnTo>
                      <a:pt x="24" y="3"/>
                    </a:lnTo>
                    <a:lnTo>
                      <a:pt x="24" y="3"/>
                    </a:lnTo>
                    <a:lnTo>
                      <a:pt x="22" y="1"/>
                    </a:lnTo>
                    <a:lnTo>
                      <a:pt x="21" y="0"/>
                    </a:lnTo>
                    <a:lnTo>
                      <a:pt x="16" y="1"/>
                    </a:lnTo>
                    <a:lnTo>
                      <a:pt x="13" y="1"/>
                    </a:lnTo>
                    <a:lnTo>
                      <a:pt x="10" y="4"/>
                    </a:lnTo>
                    <a:lnTo>
                      <a:pt x="9" y="9"/>
                    </a:lnTo>
                    <a:lnTo>
                      <a:pt x="3" y="15"/>
                    </a:lnTo>
                    <a:lnTo>
                      <a:pt x="2" y="16"/>
                    </a:lnTo>
                    <a:lnTo>
                      <a:pt x="0" y="19"/>
                    </a:lnTo>
                    <a:lnTo>
                      <a:pt x="0" y="20"/>
                    </a:lnTo>
                    <a:lnTo>
                      <a:pt x="2" y="20"/>
                    </a:lnTo>
                    <a:lnTo>
                      <a:pt x="2" y="22"/>
                    </a:lnTo>
                    <a:lnTo>
                      <a:pt x="2" y="23"/>
                    </a:lnTo>
                    <a:lnTo>
                      <a:pt x="2" y="23"/>
                    </a:lnTo>
                    <a:lnTo>
                      <a:pt x="3" y="23"/>
                    </a:lnTo>
                    <a:lnTo>
                      <a:pt x="5" y="25"/>
                    </a:lnTo>
                    <a:lnTo>
                      <a:pt x="18" y="26"/>
                    </a:lnTo>
                    <a:lnTo>
                      <a:pt x="24" y="23"/>
                    </a:lnTo>
                    <a:lnTo>
                      <a:pt x="29" y="25"/>
                    </a:lnTo>
                    <a:lnTo>
                      <a:pt x="47" y="22"/>
                    </a:lnTo>
                    <a:lnTo>
                      <a:pt x="48" y="22"/>
                    </a:lnTo>
                    <a:lnTo>
                      <a:pt x="48" y="20"/>
                    </a:lnTo>
                    <a:lnTo>
                      <a:pt x="48" y="19"/>
                    </a:lnTo>
                    <a:lnTo>
                      <a:pt x="48" y="16"/>
                    </a:lnTo>
                    <a:lnTo>
                      <a:pt x="47" y="15"/>
                    </a:lnTo>
                    <a:lnTo>
                      <a:pt x="42" y="12"/>
                    </a:lnTo>
                    <a:lnTo>
                      <a:pt x="42" y="12"/>
                    </a:lnTo>
                    <a:lnTo>
                      <a:pt x="42" y="10"/>
                    </a:lnTo>
                    <a:lnTo>
                      <a:pt x="42" y="10"/>
                    </a:lnTo>
                    <a:lnTo>
                      <a:pt x="42" y="9"/>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34" name="Freeform 760"/>
              <p:cNvSpPr>
                <a:spLocks/>
              </p:cNvSpPr>
              <p:nvPr/>
            </p:nvSpPr>
            <p:spPr bwMode="auto">
              <a:xfrm>
                <a:off x="7276788" y="2839562"/>
                <a:ext cx="43890" cy="27382"/>
              </a:xfrm>
              <a:custGeom>
                <a:avLst/>
                <a:gdLst/>
                <a:ahLst/>
                <a:cxnLst>
                  <a:cxn ang="0">
                    <a:pos x="42" y="9"/>
                  </a:cxn>
                  <a:cxn ang="0">
                    <a:pos x="42" y="9"/>
                  </a:cxn>
                  <a:cxn ang="0">
                    <a:pos x="40" y="6"/>
                  </a:cxn>
                  <a:cxn ang="0">
                    <a:pos x="38" y="6"/>
                  </a:cxn>
                  <a:cxn ang="0">
                    <a:pos x="38" y="4"/>
                  </a:cxn>
                  <a:cxn ang="0">
                    <a:pos x="34" y="6"/>
                  </a:cxn>
                  <a:cxn ang="0">
                    <a:pos x="25" y="4"/>
                  </a:cxn>
                  <a:cxn ang="0">
                    <a:pos x="24" y="3"/>
                  </a:cxn>
                  <a:cxn ang="0">
                    <a:pos x="24" y="3"/>
                  </a:cxn>
                  <a:cxn ang="0">
                    <a:pos x="22" y="1"/>
                  </a:cxn>
                  <a:cxn ang="0">
                    <a:pos x="21" y="0"/>
                  </a:cxn>
                  <a:cxn ang="0">
                    <a:pos x="16" y="1"/>
                  </a:cxn>
                  <a:cxn ang="0">
                    <a:pos x="13" y="1"/>
                  </a:cxn>
                  <a:cxn ang="0">
                    <a:pos x="10" y="4"/>
                  </a:cxn>
                  <a:cxn ang="0">
                    <a:pos x="9" y="9"/>
                  </a:cxn>
                  <a:cxn ang="0">
                    <a:pos x="3" y="15"/>
                  </a:cxn>
                  <a:cxn ang="0">
                    <a:pos x="2" y="16"/>
                  </a:cxn>
                  <a:cxn ang="0">
                    <a:pos x="0" y="19"/>
                  </a:cxn>
                  <a:cxn ang="0">
                    <a:pos x="0" y="20"/>
                  </a:cxn>
                  <a:cxn ang="0">
                    <a:pos x="2" y="20"/>
                  </a:cxn>
                  <a:cxn ang="0">
                    <a:pos x="2" y="22"/>
                  </a:cxn>
                  <a:cxn ang="0">
                    <a:pos x="2" y="23"/>
                  </a:cxn>
                  <a:cxn ang="0">
                    <a:pos x="2" y="23"/>
                  </a:cxn>
                  <a:cxn ang="0">
                    <a:pos x="3" y="23"/>
                  </a:cxn>
                  <a:cxn ang="0">
                    <a:pos x="5" y="25"/>
                  </a:cxn>
                  <a:cxn ang="0">
                    <a:pos x="18" y="26"/>
                  </a:cxn>
                  <a:cxn ang="0">
                    <a:pos x="24" y="23"/>
                  </a:cxn>
                  <a:cxn ang="0">
                    <a:pos x="29" y="25"/>
                  </a:cxn>
                  <a:cxn ang="0">
                    <a:pos x="47" y="22"/>
                  </a:cxn>
                  <a:cxn ang="0">
                    <a:pos x="48" y="22"/>
                  </a:cxn>
                  <a:cxn ang="0">
                    <a:pos x="48" y="20"/>
                  </a:cxn>
                  <a:cxn ang="0">
                    <a:pos x="48" y="19"/>
                  </a:cxn>
                  <a:cxn ang="0">
                    <a:pos x="48" y="16"/>
                  </a:cxn>
                  <a:cxn ang="0">
                    <a:pos x="47" y="15"/>
                  </a:cxn>
                  <a:cxn ang="0">
                    <a:pos x="42" y="12"/>
                  </a:cxn>
                  <a:cxn ang="0">
                    <a:pos x="42" y="12"/>
                  </a:cxn>
                  <a:cxn ang="0">
                    <a:pos x="42" y="10"/>
                  </a:cxn>
                  <a:cxn ang="0">
                    <a:pos x="42" y="10"/>
                  </a:cxn>
                  <a:cxn ang="0">
                    <a:pos x="42" y="9"/>
                  </a:cxn>
                </a:cxnLst>
                <a:rect l="0" t="0" r="r" b="b"/>
                <a:pathLst>
                  <a:path w="48" h="26">
                    <a:moveTo>
                      <a:pt x="42" y="9"/>
                    </a:moveTo>
                    <a:lnTo>
                      <a:pt x="42" y="9"/>
                    </a:lnTo>
                    <a:lnTo>
                      <a:pt x="40" y="6"/>
                    </a:lnTo>
                    <a:lnTo>
                      <a:pt x="38" y="6"/>
                    </a:lnTo>
                    <a:lnTo>
                      <a:pt x="38" y="4"/>
                    </a:lnTo>
                    <a:lnTo>
                      <a:pt x="34" y="6"/>
                    </a:lnTo>
                    <a:lnTo>
                      <a:pt x="25" y="4"/>
                    </a:lnTo>
                    <a:lnTo>
                      <a:pt x="24" y="3"/>
                    </a:lnTo>
                    <a:lnTo>
                      <a:pt x="24" y="3"/>
                    </a:lnTo>
                    <a:lnTo>
                      <a:pt x="22" y="1"/>
                    </a:lnTo>
                    <a:lnTo>
                      <a:pt x="21" y="0"/>
                    </a:lnTo>
                    <a:lnTo>
                      <a:pt x="16" y="1"/>
                    </a:lnTo>
                    <a:lnTo>
                      <a:pt x="13" y="1"/>
                    </a:lnTo>
                    <a:lnTo>
                      <a:pt x="10" y="4"/>
                    </a:lnTo>
                    <a:lnTo>
                      <a:pt x="9" y="9"/>
                    </a:lnTo>
                    <a:lnTo>
                      <a:pt x="3" y="15"/>
                    </a:lnTo>
                    <a:lnTo>
                      <a:pt x="2" y="16"/>
                    </a:lnTo>
                    <a:lnTo>
                      <a:pt x="0" y="19"/>
                    </a:lnTo>
                    <a:lnTo>
                      <a:pt x="0" y="20"/>
                    </a:lnTo>
                    <a:lnTo>
                      <a:pt x="2" y="20"/>
                    </a:lnTo>
                    <a:lnTo>
                      <a:pt x="2" y="22"/>
                    </a:lnTo>
                    <a:lnTo>
                      <a:pt x="2" y="23"/>
                    </a:lnTo>
                    <a:lnTo>
                      <a:pt x="2" y="23"/>
                    </a:lnTo>
                    <a:lnTo>
                      <a:pt x="3" y="23"/>
                    </a:lnTo>
                    <a:lnTo>
                      <a:pt x="5" y="25"/>
                    </a:lnTo>
                    <a:lnTo>
                      <a:pt x="18" y="26"/>
                    </a:lnTo>
                    <a:lnTo>
                      <a:pt x="24" y="23"/>
                    </a:lnTo>
                    <a:lnTo>
                      <a:pt x="29" y="25"/>
                    </a:lnTo>
                    <a:lnTo>
                      <a:pt x="47" y="22"/>
                    </a:lnTo>
                    <a:lnTo>
                      <a:pt x="48" y="22"/>
                    </a:lnTo>
                    <a:lnTo>
                      <a:pt x="48" y="20"/>
                    </a:lnTo>
                    <a:lnTo>
                      <a:pt x="48" y="19"/>
                    </a:lnTo>
                    <a:lnTo>
                      <a:pt x="48" y="16"/>
                    </a:lnTo>
                    <a:lnTo>
                      <a:pt x="47" y="15"/>
                    </a:lnTo>
                    <a:lnTo>
                      <a:pt x="42" y="12"/>
                    </a:lnTo>
                    <a:lnTo>
                      <a:pt x="42" y="12"/>
                    </a:lnTo>
                    <a:lnTo>
                      <a:pt x="42" y="10"/>
                    </a:lnTo>
                    <a:lnTo>
                      <a:pt x="42" y="10"/>
                    </a:lnTo>
                    <a:lnTo>
                      <a:pt x="42" y="9"/>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35" name="Freeform 761"/>
              <p:cNvSpPr>
                <a:spLocks/>
              </p:cNvSpPr>
              <p:nvPr/>
            </p:nvSpPr>
            <p:spPr bwMode="auto">
              <a:xfrm>
                <a:off x="6359486" y="2502871"/>
                <a:ext cx="57057" cy="90258"/>
              </a:xfrm>
              <a:custGeom>
                <a:avLst/>
                <a:gdLst/>
                <a:ahLst/>
                <a:cxnLst>
                  <a:cxn ang="0">
                    <a:pos x="6" y="9"/>
                  </a:cxn>
                  <a:cxn ang="0">
                    <a:pos x="6" y="11"/>
                  </a:cxn>
                  <a:cxn ang="0">
                    <a:pos x="6" y="14"/>
                  </a:cxn>
                  <a:cxn ang="0">
                    <a:pos x="9" y="14"/>
                  </a:cxn>
                  <a:cxn ang="0">
                    <a:pos x="7" y="14"/>
                  </a:cxn>
                  <a:cxn ang="0">
                    <a:pos x="7" y="16"/>
                  </a:cxn>
                  <a:cxn ang="0">
                    <a:pos x="10" y="18"/>
                  </a:cxn>
                  <a:cxn ang="0">
                    <a:pos x="13" y="18"/>
                  </a:cxn>
                  <a:cxn ang="0">
                    <a:pos x="13" y="19"/>
                  </a:cxn>
                  <a:cxn ang="0">
                    <a:pos x="10" y="21"/>
                  </a:cxn>
                  <a:cxn ang="0">
                    <a:pos x="10" y="24"/>
                  </a:cxn>
                  <a:cxn ang="0">
                    <a:pos x="13" y="27"/>
                  </a:cxn>
                  <a:cxn ang="0">
                    <a:pos x="10" y="34"/>
                  </a:cxn>
                  <a:cxn ang="0">
                    <a:pos x="10" y="35"/>
                  </a:cxn>
                  <a:cxn ang="0">
                    <a:pos x="10" y="38"/>
                  </a:cxn>
                  <a:cxn ang="0">
                    <a:pos x="13" y="40"/>
                  </a:cxn>
                  <a:cxn ang="0">
                    <a:pos x="14" y="41"/>
                  </a:cxn>
                  <a:cxn ang="0">
                    <a:pos x="17" y="43"/>
                  </a:cxn>
                  <a:cxn ang="0">
                    <a:pos x="13" y="44"/>
                  </a:cxn>
                  <a:cxn ang="0">
                    <a:pos x="12" y="44"/>
                  </a:cxn>
                  <a:cxn ang="0">
                    <a:pos x="14" y="51"/>
                  </a:cxn>
                  <a:cxn ang="0">
                    <a:pos x="13" y="51"/>
                  </a:cxn>
                  <a:cxn ang="0">
                    <a:pos x="10" y="53"/>
                  </a:cxn>
                  <a:cxn ang="0">
                    <a:pos x="9" y="53"/>
                  </a:cxn>
                  <a:cxn ang="0">
                    <a:pos x="7" y="54"/>
                  </a:cxn>
                  <a:cxn ang="0">
                    <a:pos x="9" y="57"/>
                  </a:cxn>
                  <a:cxn ang="0">
                    <a:pos x="9" y="59"/>
                  </a:cxn>
                  <a:cxn ang="0">
                    <a:pos x="7" y="57"/>
                  </a:cxn>
                  <a:cxn ang="0">
                    <a:pos x="3" y="60"/>
                  </a:cxn>
                  <a:cxn ang="0">
                    <a:pos x="1" y="63"/>
                  </a:cxn>
                  <a:cxn ang="0">
                    <a:pos x="0" y="66"/>
                  </a:cxn>
                  <a:cxn ang="0">
                    <a:pos x="0" y="69"/>
                  </a:cxn>
                  <a:cxn ang="0">
                    <a:pos x="0" y="73"/>
                  </a:cxn>
                  <a:cxn ang="0">
                    <a:pos x="10" y="85"/>
                  </a:cxn>
                  <a:cxn ang="0">
                    <a:pos x="13" y="79"/>
                  </a:cxn>
                  <a:cxn ang="0">
                    <a:pos x="17" y="72"/>
                  </a:cxn>
                  <a:cxn ang="0">
                    <a:pos x="25" y="77"/>
                  </a:cxn>
                  <a:cxn ang="0">
                    <a:pos x="32" y="83"/>
                  </a:cxn>
                  <a:cxn ang="0">
                    <a:pos x="33" y="80"/>
                  </a:cxn>
                  <a:cxn ang="0">
                    <a:pos x="41" y="80"/>
                  </a:cxn>
                  <a:cxn ang="0">
                    <a:pos x="44" y="77"/>
                  </a:cxn>
                  <a:cxn ang="0">
                    <a:pos x="52" y="79"/>
                  </a:cxn>
                  <a:cxn ang="0">
                    <a:pos x="57" y="73"/>
                  </a:cxn>
                  <a:cxn ang="0">
                    <a:pos x="57" y="54"/>
                  </a:cxn>
                  <a:cxn ang="0">
                    <a:pos x="58" y="41"/>
                  </a:cxn>
                  <a:cxn ang="0">
                    <a:pos x="57" y="31"/>
                  </a:cxn>
                  <a:cxn ang="0">
                    <a:pos x="44" y="28"/>
                  </a:cxn>
                  <a:cxn ang="0">
                    <a:pos x="38" y="19"/>
                  </a:cxn>
                  <a:cxn ang="0">
                    <a:pos x="29" y="5"/>
                  </a:cxn>
                  <a:cxn ang="0">
                    <a:pos x="20" y="2"/>
                  </a:cxn>
                  <a:cxn ang="0">
                    <a:pos x="9" y="5"/>
                  </a:cxn>
                </a:cxnLst>
                <a:rect l="0" t="0" r="r" b="b"/>
                <a:pathLst>
                  <a:path w="62" h="86">
                    <a:moveTo>
                      <a:pt x="3" y="6"/>
                    </a:moveTo>
                    <a:lnTo>
                      <a:pt x="6" y="8"/>
                    </a:lnTo>
                    <a:lnTo>
                      <a:pt x="6" y="9"/>
                    </a:lnTo>
                    <a:lnTo>
                      <a:pt x="6" y="9"/>
                    </a:lnTo>
                    <a:lnTo>
                      <a:pt x="6" y="11"/>
                    </a:lnTo>
                    <a:lnTo>
                      <a:pt x="6" y="11"/>
                    </a:lnTo>
                    <a:lnTo>
                      <a:pt x="6" y="12"/>
                    </a:lnTo>
                    <a:lnTo>
                      <a:pt x="6" y="12"/>
                    </a:lnTo>
                    <a:lnTo>
                      <a:pt x="6" y="14"/>
                    </a:lnTo>
                    <a:lnTo>
                      <a:pt x="7" y="12"/>
                    </a:lnTo>
                    <a:lnTo>
                      <a:pt x="7" y="12"/>
                    </a:lnTo>
                    <a:lnTo>
                      <a:pt x="9" y="14"/>
                    </a:lnTo>
                    <a:lnTo>
                      <a:pt x="9" y="14"/>
                    </a:lnTo>
                    <a:lnTo>
                      <a:pt x="7" y="14"/>
                    </a:lnTo>
                    <a:lnTo>
                      <a:pt x="7" y="14"/>
                    </a:lnTo>
                    <a:lnTo>
                      <a:pt x="7" y="15"/>
                    </a:lnTo>
                    <a:lnTo>
                      <a:pt x="7" y="15"/>
                    </a:lnTo>
                    <a:lnTo>
                      <a:pt x="7" y="16"/>
                    </a:lnTo>
                    <a:lnTo>
                      <a:pt x="7" y="16"/>
                    </a:lnTo>
                    <a:lnTo>
                      <a:pt x="9" y="16"/>
                    </a:lnTo>
                    <a:lnTo>
                      <a:pt x="10" y="18"/>
                    </a:lnTo>
                    <a:lnTo>
                      <a:pt x="10" y="18"/>
                    </a:lnTo>
                    <a:lnTo>
                      <a:pt x="12" y="18"/>
                    </a:lnTo>
                    <a:lnTo>
                      <a:pt x="13" y="18"/>
                    </a:lnTo>
                    <a:lnTo>
                      <a:pt x="13" y="19"/>
                    </a:lnTo>
                    <a:lnTo>
                      <a:pt x="13" y="19"/>
                    </a:lnTo>
                    <a:lnTo>
                      <a:pt x="13" y="19"/>
                    </a:lnTo>
                    <a:lnTo>
                      <a:pt x="10" y="19"/>
                    </a:lnTo>
                    <a:lnTo>
                      <a:pt x="10" y="19"/>
                    </a:lnTo>
                    <a:lnTo>
                      <a:pt x="10" y="21"/>
                    </a:lnTo>
                    <a:lnTo>
                      <a:pt x="9" y="21"/>
                    </a:lnTo>
                    <a:lnTo>
                      <a:pt x="9" y="24"/>
                    </a:lnTo>
                    <a:lnTo>
                      <a:pt x="10" y="24"/>
                    </a:lnTo>
                    <a:lnTo>
                      <a:pt x="10" y="25"/>
                    </a:lnTo>
                    <a:lnTo>
                      <a:pt x="13" y="25"/>
                    </a:lnTo>
                    <a:lnTo>
                      <a:pt x="13" y="27"/>
                    </a:lnTo>
                    <a:lnTo>
                      <a:pt x="13" y="28"/>
                    </a:lnTo>
                    <a:lnTo>
                      <a:pt x="13" y="28"/>
                    </a:lnTo>
                    <a:lnTo>
                      <a:pt x="10" y="34"/>
                    </a:lnTo>
                    <a:lnTo>
                      <a:pt x="10" y="34"/>
                    </a:lnTo>
                    <a:lnTo>
                      <a:pt x="10" y="34"/>
                    </a:lnTo>
                    <a:lnTo>
                      <a:pt x="10" y="35"/>
                    </a:lnTo>
                    <a:lnTo>
                      <a:pt x="9" y="37"/>
                    </a:lnTo>
                    <a:lnTo>
                      <a:pt x="10" y="38"/>
                    </a:lnTo>
                    <a:lnTo>
                      <a:pt x="10" y="38"/>
                    </a:lnTo>
                    <a:lnTo>
                      <a:pt x="12" y="38"/>
                    </a:lnTo>
                    <a:lnTo>
                      <a:pt x="12" y="38"/>
                    </a:lnTo>
                    <a:lnTo>
                      <a:pt x="13" y="40"/>
                    </a:lnTo>
                    <a:lnTo>
                      <a:pt x="14" y="41"/>
                    </a:lnTo>
                    <a:lnTo>
                      <a:pt x="14" y="41"/>
                    </a:lnTo>
                    <a:lnTo>
                      <a:pt x="14" y="41"/>
                    </a:lnTo>
                    <a:lnTo>
                      <a:pt x="14" y="41"/>
                    </a:lnTo>
                    <a:lnTo>
                      <a:pt x="16" y="43"/>
                    </a:lnTo>
                    <a:lnTo>
                      <a:pt x="17" y="43"/>
                    </a:lnTo>
                    <a:lnTo>
                      <a:pt x="17" y="44"/>
                    </a:lnTo>
                    <a:lnTo>
                      <a:pt x="16" y="44"/>
                    </a:lnTo>
                    <a:lnTo>
                      <a:pt x="13" y="44"/>
                    </a:lnTo>
                    <a:lnTo>
                      <a:pt x="13" y="44"/>
                    </a:lnTo>
                    <a:lnTo>
                      <a:pt x="12" y="44"/>
                    </a:lnTo>
                    <a:lnTo>
                      <a:pt x="12" y="44"/>
                    </a:lnTo>
                    <a:lnTo>
                      <a:pt x="14" y="48"/>
                    </a:lnTo>
                    <a:lnTo>
                      <a:pt x="16" y="48"/>
                    </a:lnTo>
                    <a:lnTo>
                      <a:pt x="14" y="51"/>
                    </a:lnTo>
                    <a:lnTo>
                      <a:pt x="14" y="53"/>
                    </a:lnTo>
                    <a:lnTo>
                      <a:pt x="13" y="51"/>
                    </a:lnTo>
                    <a:lnTo>
                      <a:pt x="13" y="51"/>
                    </a:lnTo>
                    <a:lnTo>
                      <a:pt x="12" y="53"/>
                    </a:lnTo>
                    <a:lnTo>
                      <a:pt x="12" y="53"/>
                    </a:lnTo>
                    <a:lnTo>
                      <a:pt x="10" y="53"/>
                    </a:lnTo>
                    <a:lnTo>
                      <a:pt x="10" y="54"/>
                    </a:lnTo>
                    <a:lnTo>
                      <a:pt x="9" y="54"/>
                    </a:lnTo>
                    <a:lnTo>
                      <a:pt x="9" y="53"/>
                    </a:lnTo>
                    <a:lnTo>
                      <a:pt x="7" y="53"/>
                    </a:lnTo>
                    <a:lnTo>
                      <a:pt x="7" y="54"/>
                    </a:lnTo>
                    <a:lnTo>
                      <a:pt x="7" y="54"/>
                    </a:lnTo>
                    <a:lnTo>
                      <a:pt x="9" y="56"/>
                    </a:lnTo>
                    <a:lnTo>
                      <a:pt x="9" y="56"/>
                    </a:lnTo>
                    <a:lnTo>
                      <a:pt x="9" y="57"/>
                    </a:lnTo>
                    <a:lnTo>
                      <a:pt x="9" y="59"/>
                    </a:lnTo>
                    <a:lnTo>
                      <a:pt x="9" y="59"/>
                    </a:lnTo>
                    <a:lnTo>
                      <a:pt x="9" y="59"/>
                    </a:lnTo>
                    <a:lnTo>
                      <a:pt x="7" y="59"/>
                    </a:lnTo>
                    <a:lnTo>
                      <a:pt x="7" y="57"/>
                    </a:lnTo>
                    <a:lnTo>
                      <a:pt x="7" y="57"/>
                    </a:lnTo>
                    <a:lnTo>
                      <a:pt x="6" y="57"/>
                    </a:lnTo>
                    <a:lnTo>
                      <a:pt x="3" y="59"/>
                    </a:lnTo>
                    <a:lnTo>
                      <a:pt x="3" y="60"/>
                    </a:lnTo>
                    <a:lnTo>
                      <a:pt x="3" y="60"/>
                    </a:lnTo>
                    <a:lnTo>
                      <a:pt x="3" y="63"/>
                    </a:lnTo>
                    <a:lnTo>
                      <a:pt x="1" y="63"/>
                    </a:lnTo>
                    <a:lnTo>
                      <a:pt x="1" y="63"/>
                    </a:lnTo>
                    <a:lnTo>
                      <a:pt x="0" y="64"/>
                    </a:lnTo>
                    <a:lnTo>
                      <a:pt x="0" y="66"/>
                    </a:lnTo>
                    <a:lnTo>
                      <a:pt x="0" y="66"/>
                    </a:lnTo>
                    <a:lnTo>
                      <a:pt x="0" y="67"/>
                    </a:lnTo>
                    <a:lnTo>
                      <a:pt x="0" y="69"/>
                    </a:lnTo>
                    <a:lnTo>
                      <a:pt x="1" y="69"/>
                    </a:lnTo>
                    <a:lnTo>
                      <a:pt x="1" y="70"/>
                    </a:lnTo>
                    <a:lnTo>
                      <a:pt x="0" y="73"/>
                    </a:lnTo>
                    <a:lnTo>
                      <a:pt x="0" y="75"/>
                    </a:lnTo>
                    <a:lnTo>
                      <a:pt x="9" y="82"/>
                    </a:lnTo>
                    <a:lnTo>
                      <a:pt x="10" y="85"/>
                    </a:lnTo>
                    <a:lnTo>
                      <a:pt x="12" y="86"/>
                    </a:lnTo>
                    <a:lnTo>
                      <a:pt x="13" y="82"/>
                    </a:lnTo>
                    <a:lnTo>
                      <a:pt x="13" y="79"/>
                    </a:lnTo>
                    <a:lnTo>
                      <a:pt x="14" y="76"/>
                    </a:lnTo>
                    <a:lnTo>
                      <a:pt x="16" y="75"/>
                    </a:lnTo>
                    <a:lnTo>
                      <a:pt x="17" y="72"/>
                    </a:lnTo>
                    <a:lnTo>
                      <a:pt x="20" y="73"/>
                    </a:lnTo>
                    <a:lnTo>
                      <a:pt x="23" y="75"/>
                    </a:lnTo>
                    <a:lnTo>
                      <a:pt x="25" y="77"/>
                    </a:lnTo>
                    <a:lnTo>
                      <a:pt x="28" y="77"/>
                    </a:lnTo>
                    <a:lnTo>
                      <a:pt x="30" y="82"/>
                    </a:lnTo>
                    <a:lnTo>
                      <a:pt x="32" y="83"/>
                    </a:lnTo>
                    <a:lnTo>
                      <a:pt x="32" y="83"/>
                    </a:lnTo>
                    <a:lnTo>
                      <a:pt x="33" y="82"/>
                    </a:lnTo>
                    <a:lnTo>
                      <a:pt x="33" y="80"/>
                    </a:lnTo>
                    <a:lnTo>
                      <a:pt x="38" y="79"/>
                    </a:lnTo>
                    <a:lnTo>
                      <a:pt x="39" y="79"/>
                    </a:lnTo>
                    <a:lnTo>
                      <a:pt x="41" y="80"/>
                    </a:lnTo>
                    <a:lnTo>
                      <a:pt x="41" y="80"/>
                    </a:lnTo>
                    <a:lnTo>
                      <a:pt x="41" y="79"/>
                    </a:lnTo>
                    <a:lnTo>
                      <a:pt x="44" y="77"/>
                    </a:lnTo>
                    <a:lnTo>
                      <a:pt x="48" y="79"/>
                    </a:lnTo>
                    <a:lnTo>
                      <a:pt x="48" y="77"/>
                    </a:lnTo>
                    <a:lnTo>
                      <a:pt x="52" y="79"/>
                    </a:lnTo>
                    <a:lnTo>
                      <a:pt x="55" y="77"/>
                    </a:lnTo>
                    <a:lnTo>
                      <a:pt x="57" y="79"/>
                    </a:lnTo>
                    <a:lnTo>
                      <a:pt x="57" y="73"/>
                    </a:lnTo>
                    <a:lnTo>
                      <a:pt x="59" y="66"/>
                    </a:lnTo>
                    <a:lnTo>
                      <a:pt x="62" y="63"/>
                    </a:lnTo>
                    <a:lnTo>
                      <a:pt x="57" y="54"/>
                    </a:lnTo>
                    <a:lnTo>
                      <a:pt x="57" y="44"/>
                    </a:lnTo>
                    <a:lnTo>
                      <a:pt x="61" y="41"/>
                    </a:lnTo>
                    <a:lnTo>
                      <a:pt x="58" y="41"/>
                    </a:lnTo>
                    <a:lnTo>
                      <a:pt x="57" y="37"/>
                    </a:lnTo>
                    <a:lnTo>
                      <a:pt x="59" y="34"/>
                    </a:lnTo>
                    <a:lnTo>
                      <a:pt x="57" y="31"/>
                    </a:lnTo>
                    <a:lnTo>
                      <a:pt x="54" y="34"/>
                    </a:lnTo>
                    <a:lnTo>
                      <a:pt x="46" y="31"/>
                    </a:lnTo>
                    <a:lnTo>
                      <a:pt x="44" y="28"/>
                    </a:lnTo>
                    <a:lnTo>
                      <a:pt x="42" y="21"/>
                    </a:lnTo>
                    <a:lnTo>
                      <a:pt x="39" y="19"/>
                    </a:lnTo>
                    <a:lnTo>
                      <a:pt x="38" y="19"/>
                    </a:lnTo>
                    <a:lnTo>
                      <a:pt x="35" y="16"/>
                    </a:lnTo>
                    <a:lnTo>
                      <a:pt x="32" y="8"/>
                    </a:lnTo>
                    <a:lnTo>
                      <a:pt x="29" y="5"/>
                    </a:lnTo>
                    <a:lnTo>
                      <a:pt x="25" y="2"/>
                    </a:lnTo>
                    <a:lnTo>
                      <a:pt x="23" y="0"/>
                    </a:lnTo>
                    <a:lnTo>
                      <a:pt x="20" y="2"/>
                    </a:lnTo>
                    <a:lnTo>
                      <a:pt x="17" y="2"/>
                    </a:lnTo>
                    <a:lnTo>
                      <a:pt x="13" y="5"/>
                    </a:lnTo>
                    <a:lnTo>
                      <a:pt x="9" y="5"/>
                    </a:lnTo>
                    <a:lnTo>
                      <a:pt x="7" y="6"/>
                    </a:lnTo>
                    <a:lnTo>
                      <a:pt x="3" y="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36" name="Freeform 762"/>
              <p:cNvSpPr>
                <a:spLocks/>
              </p:cNvSpPr>
              <p:nvPr/>
            </p:nvSpPr>
            <p:spPr bwMode="auto">
              <a:xfrm>
                <a:off x="6359486" y="2502871"/>
                <a:ext cx="57057" cy="90258"/>
              </a:xfrm>
              <a:custGeom>
                <a:avLst/>
                <a:gdLst/>
                <a:ahLst/>
                <a:cxnLst>
                  <a:cxn ang="0">
                    <a:pos x="6" y="9"/>
                  </a:cxn>
                  <a:cxn ang="0">
                    <a:pos x="6" y="11"/>
                  </a:cxn>
                  <a:cxn ang="0">
                    <a:pos x="6" y="14"/>
                  </a:cxn>
                  <a:cxn ang="0">
                    <a:pos x="9" y="14"/>
                  </a:cxn>
                  <a:cxn ang="0">
                    <a:pos x="7" y="14"/>
                  </a:cxn>
                  <a:cxn ang="0">
                    <a:pos x="7" y="16"/>
                  </a:cxn>
                  <a:cxn ang="0">
                    <a:pos x="10" y="18"/>
                  </a:cxn>
                  <a:cxn ang="0">
                    <a:pos x="13" y="18"/>
                  </a:cxn>
                  <a:cxn ang="0">
                    <a:pos x="13" y="19"/>
                  </a:cxn>
                  <a:cxn ang="0">
                    <a:pos x="10" y="21"/>
                  </a:cxn>
                  <a:cxn ang="0">
                    <a:pos x="10" y="24"/>
                  </a:cxn>
                  <a:cxn ang="0">
                    <a:pos x="13" y="27"/>
                  </a:cxn>
                  <a:cxn ang="0">
                    <a:pos x="10" y="34"/>
                  </a:cxn>
                  <a:cxn ang="0">
                    <a:pos x="10" y="35"/>
                  </a:cxn>
                  <a:cxn ang="0">
                    <a:pos x="10" y="38"/>
                  </a:cxn>
                  <a:cxn ang="0">
                    <a:pos x="13" y="40"/>
                  </a:cxn>
                  <a:cxn ang="0">
                    <a:pos x="14" y="41"/>
                  </a:cxn>
                  <a:cxn ang="0">
                    <a:pos x="17" y="43"/>
                  </a:cxn>
                  <a:cxn ang="0">
                    <a:pos x="13" y="44"/>
                  </a:cxn>
                  <a:cxn ang="0">
                    <a:pos x="12" y="44"/>
                  </a:cxn>
                  <a:cxn ang="0">
                    <a:pos x="14" y="51"/>
                  </a:cxn>
                  <a:cxn ang="0">
                    <a:pos x="13" y="51"/>
                  </a:cxn>
                  <a:cxn ang="0">
                    <a:pos x="10" y="53"/>
                  </a:cxn>
                  <a:cxn ang="0">
                    <a:pos x="9" y="53"/>
                  </a:cxn>
                  <a:cxn ang="0">
                    <a:pos x="7" y="54"/>
                  </a:cxn>
                  <a:cxn ang="0">
                    <a:pos x="9" y="57"/>
                  </a:cxn>
                  <a:cxn ang="0">
                    <a:pos x="9" y="59"/>
                  </a:cxn>
                  <a:cxn ang="0">
                    <a:pos x="7" y="57"/>
                  </a:cxn>
                  <a:cxn ang="0">
                    <a:pos x="3" y="60"/>
                  </a:cxn>
                  <a:cxn ang="0">
                    <a:pos x="1" y="63"/>
                  </a:cxn>
                  <a:cxn ang="0">
                    <a:pos x="0" y="66"/>
                  </a:cxn>
                  <a:cxn ang="0">
                    <a:pos x="0" y="69"/>
                  </a:cxn>
                  <a:cxn ang="0">
                    <a:pos x="0" y="73"/>
                  </a:cxn>
                  <a:cxn ang="0">
                    <a:pos x="10" y="85"/>
                  </a:cxn>
                  <a:cxn ang="0">
                    <a:pos x="13" y="79"/>
                  </a:cxn>
                  <a:cxn ang="0">
                    <a:pos x="17" y="72"/>
                  </a:cxn>
                  <a:cxn ang="0">
                    <a:pos x="25" y="77"/>
                  </a:cxn>
                  <a:cxn ang="0">
                    <a:pos x="32" y="83"/>
                  </a:cxn>
                  <a:cxn ang="0">
                    <a:pos x="33" y="80"/>
                  </a:cxn>
                  <a:cxn ang="0">
                    <a:pos x="41" y="80"/>
                  </a:cxn>
                  <a:cxn ang="0">
                    <a:pos x="44" y="77"/>
                  </a:cxn>
                  <a:cxn ang="0">
                    <a:pos x="52" y="79"/>
                  </a:cxn>
                  <a:cxn ang="0">
                    <a:pos x="57" y="73"/>
                  </a:cxn>
                  <a:cxn ang="0">
                    <a:pos x="57" y="54"/>
                  </a:cxn>
                  <a:cxn ang="0">
                    <a:pos x="58" y="41"/>
                  </a:cxn>
                  <a:cxn ang="0">
                    <a:pos x="57" y="31"/>
                  </a:cxn>
                  <a:cxn ang="0">
                    <a:pos x="44" y="28"/>
                  </a:cxn>
                  <a:cxn ang="0">
                    <a:pos x="38" y="19"/>
                  </a:cxn>
                  <a:cxn ang="0">
                    <a:pos x="29" y="5"/>
                  </a:cxn>
                  <a:cxn ang="0">
                    <a:pos x="20" y="2"/>
                  </a:cxn>
                  <a:cxn ang="0">
                    <a:pos x="9" y="5"/>
                  </a:cxn>
                </a:cxnLst>
                <a:rect l="0" t="0" r="r" b="b"/>
                <a:pathLst>
                  <a:path w="62" h="86">
                    <a:moveTo>
                      <a:pt x="3" y="6"/>
                    </a:moveTo>
                    <a:lnTo>
                      <a:pt x="6" y="8"/>
                    </a:lnTo>
                    <a:lnTo>
                      <a:pt x="6" y="9"/>
                    </a:lnTo>
                    <a:lnTo>
                      <a:pt x="6" y="9"/>
                    </a:lnTo>
                    <a:lnTo>
                      <a:pt x="6" y="11"/>
                    </a:lnTo>
                    <a:lnTo>
                      <a:pt x="6" y="11"/>
                    </a:lnTo>
                    <a:lnTo>
                      <a:pt x="6" y="12"/>
                    </a:lnTo>
                    <a:lnTo>
                      <a:pt x="6" y="12"/>
                    </a:lnTo>
                    <a:lnTo>
                      <a:pt x="6" y="14"/>
                    </a:lnTo>
                    <a:lnTo>
                      <a:pt x="7" y="12"/>
                    </a:lnTo>
                    <a:lnTo>
                      <a:pt x="7" y="12"/>
                    </a:lnTo>
                    <a:lnTo>
                      <a:pt x="9" y="14"/>
                    </a:lnTo>
                    <a:lnTo>
                      <a:pt x="9" y="14"/>
                    </a:lnTo>
                    <a:lnTo>
                      <a:pt x="7" y="14"/>
                    </a:lnTo>
                    <a:lnTo>
                      <a:pt x="7" y="14"/>
                    </a:lnTo>
                    <a:lnTo>
                      <a:pt x="7" y="15"/>
                    </a:lnTo>
                    <a:lnTo>
                      <a:pt x="7" y="15"/>
                    </a:lnTo>
                    <a:lnTo>
                      <a:pt x="7" y="16"/>
                    </a:lnTo>
                    <a:lnTo>
                      <a:pt x="7" y="16"/>
                    </a:lnTo>
                    <a:lnTo>
                      <a:pt x="9" y="16"/>
                    </a:lnTo>
                    <a:lnTo>
                      <a:pt x="10" y="18"/>
                    </a:lnTo>
                    <a:lnTo>
                      <a:pt x="10" y="18"/>
                    </a:lnTo>
                    <a:lnTo>
                      <a:pt x="12" y="18"/>
                    </a:lnTo>
                    <a:lnTo>
                      <a:pt x="13" y="18"/>
                    </a:lnTo>
                    <a:lnTo>
                      <a:pt x="13" y="19"/>
                    </a:lnTo>
                    <a:lnTo>
                      <a:pt x="13" y="19"/>
                    </a:lnTo>
                    <a:lnTo>
                      <a:pt x="13" y="19"/>
                    </a:lnTo>
                    <a:lnTo>
                      <a:pt x="10" y="19"/>
                    </a:lnTo>
                    <a:lnTo>
                      <a:pt x="10" y="19"/>
                    </a:lnTo>
                    <a:lnTo>
                      <a:pt x="10" y="21"/>
                    </a:lnTo>
                    <a:lnTo>
                      <a:pt x="9" y="21"/>
                    </a:lnTo>
                    <a:lnTo>
                      <a:pt x="9" y="24"/>
                    </a:lnTo>
                    <a:lnTo>
                      <a:pt x="10" y="24"/>
                    </a:lnTo>
                    <a:lnTo>
                      <a:pt x="10" y="25"/>
                    </a:lnTo>
                    <a:lnTo>
                      <a:pt x="13" y="25"/>
                    </a:lnTo>
                    <a:lnTo>
                      <a:pt x="13" y="27"/>
                    </a:lnTo>
                    <a:lnTo>
                      <a:pt x="13" y="28"/>
                    </a:lnTo>
                    <a:lnTo>
                      <a:pt x="13" y="28"/>
                    </a:lnTo>
                    <a:lnTo>
                      <a:pt x="10" y="34"/>
                    </a:lnTo>
                    <a:lnTo>
                      <a:pt x="10" y="34"/>
                    </a:lnTo>
                    <a:lnTo>
                      <a:pt x="10" y="34"/>
                    </a:lnTo>
                    <a:lnTo>
                      <a:pt x="10" y="35"/>
                    </a:lnTo>
                    <a:lnTo>
                      <a:pt x="9" y="37"/>
                    </a:lnTo>
                    <a:lnTo>
                      <a:pt x="10" y="38"/>
                    </a:lnTo>
                    <a:lnTo>
                      <a:pt x="10" y="38"/>
                    </a:lnTo>
                    <a:lnTo>
                      <a:pt x="12" y="38"/>
                    </a:lnTo>
                    <a:lnTo>
                      <a:pt x="12" y="38"/>
                    </a:lnTo>
                    <a:lnTo>
                      <a:pt x="13" y="40"/>
                    </a:lnTo>
                    <a:lnTo>
                      <a:pt x="14" y="41"/>
                    </a:lnTo>
                    <a:lnTo>
                      <a:pt x="14" y="41"/>
                    </a:lnTo>
                    <a:lnTo>
                      <a:pt x="14" y="41"/>
                    </a:lnTo>
                    <a:lnTo>
                      <a:pt x="14" y="41"/>
                    </a:lnTo>
                    <a:lnTo>
                      <a:pt x="16" y="43"/>
                    </a:lnTo>
                    <a:lnTo>
                      <a:pt x="17" y="43"/>
                    </a:lnTo>
                    <a:lnTo>
                      <a:pt x="17" y="44"/>
                    </a:lnTo>
                    <a:lnTo>
                      <a:pt x="16" y="44"/>
                    </a:lnTo>
                    <a:lnTo>
                      <a:pt x="13" y="44"/>
                    </a:lnTo>
                    <a:lnTo>
                      <a:pt x="13" y="44"/>
                    </a:lnTo>
                    <a:lnTo>
                      <a:pt x="12" y="44"/>
                    </a:lnTo>
                    <a:lnTo>
                      <a:pt x="12" y="44"/>
                    </a:lnTo>
                    <a:lnTo>
                      <a:pt x="14" y="48"/>
                    </a:lnTo>
                    <a:lnTo>
                      <a:pt x="16" y="48"/>
                    </a:lnTo>
                    <a:lnTo>
                      <a:pt x="14" y="51"/>
                    </a:lnTo>
                    <a:lnTo>
                      <a:pt x="14" y="53"/>
                    </a:lnTo>
                    <a:lnTo>
                      <a:pt x="13" y="51"/>
                    </a:lnTo>
                    <a:lnTo>
                      <a:pt x="13" y="51"/>
                    </a:lnTo>
                    <a:lnTo>
                      <a:pt x="12" y="53"/>
                    </a:lnTo>
                    <a:lnTo>
                      <a:pt x="12" y="53"/>
                    </a:lnTo>
                    <a:lnTo>
                      <a:pt x="10" y="53"/>
                    </a:lnTo>
                    <a:lnTo>
                      <a:pt x="10" y="54"/>
                    </a:lnTo>
                    <a:lnTo>
                      <a:pt x="9" y="54"/>
                    </a:lnTo>
                    <a:lnTo>
                      <a:pt x="9" y="53"/>
                    </a:lnTo>
                    <a:lnTo>
                      <a:pt x="7" y="53"/>
                    </a:lnTo>
                    <a:lnTo>
                      <a:pt x="7" y="54"/>
                    </a:lnTo>
                    <a:lnTo>
                      <a:pt x="7" y="54"/>
                    </a:lnTo>
                    <a:lnTo>
                      <a:pt x="9" y="56"/>
                    </a:lnTo>
                    <a:lnTo>
                      <a:pt x="9" y="56"/>
                    </a:lnTo>
                    <a:lnTo>
                      <a:pt x="9" y="57"/>
                    </a:lnTo>
                    <a:lnTo>
                      <a:pt x="9" y="59"/>
                    </a:lnTo>
                    <a:lnTo>
                      <a:pt x="9" y="59"/>
                    </a:lnTo>
                    <a:lnTo>
                      <a:pt x="9" y="59"/>
                    </a:lnTo>
                    <a:lnTo>
                      <a:pt x="7" y="59"/>
                    </a:lnTo>
                    <a:lnTo>
                      <a:pt x="7" y="57"/>
                    </a:lnTo>
                    <a:lnTo>
                      <a:pt x="7" y="57"/>
                    </a:lnTo>
                    <a:lnTo>
                      <a:pt x="6" y="57"/>
                    </a:lnTo>
                    <a:lnTo>
                      <a:pt x="3" y="59"/>
                    </a:lnTo>
                    <a:lnTo>
                      <a:pt x="3" y="60"/>
                    </a:lnTo>
                    <a:lnTo>
                      <a:pt x="3" y="60"/>
                    </a:lnTo>
                    <a:lnTo>
                      <a:pt x="3" y="63"/>
                    </a:lnTo>
                    <a:lnTo>
                      <a:pt x="1" y="63"/>
                    </a:lnTo>
                    <a:lnTo>
                      <a:pt x="1" y="63"/>
                    </a:lnTo>
                    <a:lnTo>
                      <a:pt x="0" y="64"/>
                    </a:lnTo>
                    <a:lnTo>
                      <a:pt x="0" y="66"/>
                    </a:lnTo>
                    <a:lnTo>
                      <a:pt x="0" y="66"/>
                    </a:lnTo>
                    <a:lnTo>
                      <a:pt x="0" y="67"/>
                    </a:lnTo>
                    <a:lnTo>
                      <a:pt x="0" y="69"/>
                    </a:lnTo>
                    <a:lnTo>
                      <a:pt x="1" y="69"/>
                    </a:lnTo>
                    <a:lnTo>
                      <a:pt x="1" y="70"/>
                    </a:lnTo>
                    <a:lnTo>
                      <a:pt x="0" y="73"/>
                    </a:lnTo>
                    <a:lnTo>
                      <a:pt x="0" y="75"/>
                    </a:lnTo>
                    <a:lnTo>
                      <a:pt x="9" y="82"/>
                    </a:lnTo>
                    <a:lnTo>
                      <a:pt x="10" y="85"/>
                    </a:lnTo>
                    <a:lnTo>
                      <a:pt x="12" y="86"/>
                    </a:lnTo>
                    <a:lnTo>
                      <a:pt x="13" y="82"/>
                    </a:lnTo>
                    <a:lnTo>
                      <a:pt x="13" y="79"/>
                    </a:lnTo>
                    <a:lnTo>
                      <a:pt x="14" y="76"/>
                    </a:lnTo>
                    <a:lnTo>
                      <a:pt x="16" y="75"/>
                    </a:lnTo>
                    <a:lnTo>
                      <a:pt x="17" y="72"/>
                    </a:lnTo>
                    <a:lnTo>
                      <a:pt x="20" y="73"/>
                    </a:lnTo>
                    <a:lnTo>
                      <a:pt x="23" y="75"/>
                    </a:lnTo>
                    <a:lnTo>
                      <a:pt x="25" y="77"/>
                    </a:lnTo>
                    <a:lnTo>
                      <a:pt x="28" y="77"/>
                    </a:lnTo>
                    <a:lnTo>
                      <a:pt x="30" y="82"/>
                    </a:lnTo>
                    <a:lnTo>
                      <a:pt x="32" y="83"/>
                    </a:lnTo>
                    <a:lnTo>
                      <a:pt x="32" y="83"/>
                    </a:lnTo>
                    <a:lnTo>
                      <a:pt x="33" y="82"/>
                    </a:lnTo>
                    <a:lnTo>
                      <a:pt x="33" y="80"/>
                    </a:lnTo>
                    <a:lnTo>
                      <a:pt x="38" y="79"/>
                    </a:lnTo>
                    <a:lnTo>
                      <a:pt x="39" y="79"/>
                    </a:lnTo>
                    <a:lnTo>
                      <a:pt x="41" y="80"/>
                    </a:lnTo>
                    <a:lnTo>
                      <a:pt x="41" y="80"/>
                    </a:lnTo>
                    <a:lnTo>
                      <a:pt x="41" y="79"/>
                    </a:lnTo>
                    <a:lnTo>
                      <a:pt x="44" y="77"/>
                    </a:lnTo>
                    <a:lnTo>
                      <a:pt x="48" y="79"/>
                    </a:lnTo>
                    <a:lnTo>
                      <a:pt x="48" y="77"/>
                    </a:lnTo>
                    <a:lnTo>
                      <a:pt x="52" y="79"/>
                    </a:lnTo>
                    <a:lnTo>
                      <a:pt x="55" y="77"/>
                    </a:lnTo>
                    <a:lnTo>
                      <a:pt x="57" y="79"/>
                    </a:lnTo>
                    <a:lnTo>
                      <a:pt x="57" y="73"/>
                    </a:lnTo>
                    <a:lnTo>
                      <a:pt x="59" y="66"/>
                    </a:lnTo>
                    <a:lnTo>
                      <a:pt x="62" y="63"/>
                    </a:lnTo>
                    <a:lnTo>
                      <a:pt x="57" y="54"/>
                    </a:lnTo>
                    <a:lnTo>
                      <a:pt x="57" y="44"/>
                    </a:lnTo>
                    <a:lnTo>
                      <a:pt x="61" y="41"/>
                    </a:lnTo>
                    <a:lnTo>
                      <a:pt x="58" y="41"/>
                    </a:lnTo>
                    <a:lnTo>
                      <a:pt x="57" y="37"/>
                    </a:lnTo>
                    <a:lnTo>
                      <a:pt x="59" y="34"/>
                    </a:lnTo>
                    <a:lnTo>
                      <a:pt x="57" y="31"/>
                    </a:lnTo>
                    <a:lnTo>
                      <a:pt x="54" y="34"/>
                    </a:lnTo>
                    <a:lnTo>
                      <a:pt x="46" y="31"/>
                    </a:lnTo>
                    <a:lnTo>
                      <a:pt x="44" y="28"/>
                    </a:lnTo>
                    <a:lnTo>
                      <a:pt x="42" y="21"/>
                    </a:lnTo>
                    <a:lnTo>
                      <a:pt x="39" y="19"/>
                    </a:lnTo>
                    <a:lnTo>
                      <a:pt x="38" y="19"/>
                    </a:lnTo>
                    <a:lnTo>
                      <a:pt x="35" y="16"/>
                    </a:lnTo>
                    <a:lnTo>
                      <a:pt x="32" y="8"/>
                    </a:lnTo>
                    <a:lnTo>
                      <a:pt x="29" y="5"/>
                    </a:lnTo>
                    <a:lnTo>
                      <a:pt x="25" y="2"/>
                    </a:lnTo>
                    <a:lnTo>
                      <a:pt x="23" y="0"/>
                    </a:lnTo>
                    <a:lnTo>
                      <a:pt x="20" y="2"/>
                    </a:lnTo>
                    <a:lnTo>
                      <a:pt x="17" y="2"/>
                    </a:lnTo>
                    <a:lnTo>
                      <a:pt x="13" y="5"/>
                    </a:lnTo>
                    <a:lnTo>
                      <a:pt x="9" y="5"/>
                    </a:lnTo>
                    <a:lnTo>
                      <a:pt x="7" y="6"/>
                    </a:lnTo>
                    <a:lnTo>
                      <a:pt x="3" y="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37" name="Freeform 763"/>
              <p:cNvSpPr>
                <a:spLocks/>
              </p:cNvSpPr>
              <p:nvPr/>
            </p:nvSpPr>
            <p:spPr bwMode="auto">
              <a:xfrm>
                <a:off x="6374409" y="2279762"/>
                <a:ext cx="42134" cy="36509"/>
              </a:xfrm>
              <a:custGeom>
                <a:avLst/>
                <a:gdLst/>
                <a:ahLst/>
                <a:cxnLst>
                  <a:cxn ang="0">
                    <a:pos x="0" y="31"/>
                  </a:cxn>
                  <a:cxn ang="0">
                    <a:pos x="0" y="31"/>
                  </a:cxn>
                  <a:cxn ang="0">
                    <a:pos x="3" y="28"/>
                  </a:cxn>
                  <a:cxn ang="0">
                    <a:pos x="4" y="24"/>
                  </a:cxn>
                  <a:cxn ang="0">
                    <a:pos x="4" y="21"/>
                  </a:cxn>
                  <a:cxn ang="0">
                    <a:pos x="6" y="19"/>
                  </a:cxn>
                  <a:cxn ang="0">
                    <a:pos x="12" y="19"/>
                  </a:cxn>
                  <a:cxn ang="0">
                    <a:pos x="20" y="9"/>
                  </a:cxn>
                  <a:cxn ang="0">
                    <a:pos x="22" y="0"/>
                  </a:cxn>
                  <a:cxn ang="0">
                    <a:pos x="20" y="8"/>
                  </a:cxn>
                  <a:cxn ang="0">
                    <a:pos x="14" y="18"/>
                  </a:cxn>
                  <a:cxn ang="0">
                    <a:pos x="16" y="19"/>
                  </a:cxn>
                  <a:cxn ang="0">
                    <a:pos x="17" y="19"/>
                  </a:cxn>
                  <a:cxn ang="0">
                    <a:pos x="19" y="19"/>
                  </a:cxn>
                  <a:cxn ang="0">
                    <a:pos x="22" y="19"/>
                  </a:cxn>
                  <a:cxn ang="0">
                    <a:pos x="23" y="13"/>
                  </a:cxn>
                  <a:cxn ang="0">
                    <a:pos x="23" y="12"/>
                  </a:cxn>
                  <a:cxn ang="0">
                    <a:pos x="23" y="11"/>
                  </a:cxn>
                  <a:cxn ang="0">
                    <a:pos x="26" y="11"/>
                  </a:cxn>
                  <a:cxn ang="0">
                    <a:pos x="28" y="12"/>
                  </a:cxn>
                  <a:cxn ang="0">
                    <a:pos x="30" y="12"/>
                  </a:cxn>
                  <a:cxn ang="0">
                    <a:pos x="32" y="13"/>
                  </a:cxn>
                  <a:cxn ang="0">
                    <a:pos x="38" y="15"/>
                  </a:cxn>
                  <a:cxn ang="0">
                    <a:pos x="42" y="15"/>
                  </a:cxn>
                  <a:cxn ang="0">
                    <a:pos x="43" y="16"/>
                  </a:cxn>
                  <a:cxn ang="0">
                    <a:pos x="46" y="22"/>
                  </a:cxn>
                  <a:cxn ang="0">
                    <a:pos x="45" y="27"/>
                  </a:cxn>
                  <a:cxn ang="0">
                    <a:pos x="45" y="32"/>
                  </a:cxn>
                  <a:cxn ang="0">
                    <a:pos x="32" y="35"/>
                  </a:cxn>
                  <a:cxn ang="0">
                    <a:pos x="0" y="31"/>
                  </a:cxn>
                </a:cxnLst>
                <a:rect l="0" t="0" r="r" b="b"/>
                <a:pathLst>
                  <a:path w="46" h="35">
                    <a:moveTo>
                      <a:pt x="0" y="31"/>
                    </a:moveTo>
                    <a:lnTo>
                      <a:pt x="0" y="31"/>
                    </a:lnTo>
                    <a:lnTo>
                      <a:pt x="3" y="28"/>
                    </a:lnTo>
                    <a:lnTo>
                      <a:pt x="4" y="24"/>
                    </a:lnTo>
                    <a:lnTo>
                      <a:pt x="4" y="21"/>
                    </a:lnTo>
                    <a:lnTo>
                      <a:pt x="6" y="19"/>
                    </a:lnTo>
                    <a:lnTo>
                      <a:pt x="12" y="19"/>
                    </a:lnTo>
                    <a:lnTo>
                      <a:pt x="20" y="9"/>
                    </a:lnTo>
                    <a:lnTo>
                      <a:pt x="22" y="0"/>
                    </a:lnTo>
                    <a:lnTo>
                      <a:pt x="20" y="8"/>
                    </a:lnTo>
                    <a:lnTo>
                      <a:pt x="14" y="18"/>
                    </a:lnTo>
                    <a:lnTo>
                      <a:pt x="16" y="19"/>
                    </a:lnTo>
                    <a:lnTo>
                      <a:pt x="17" y="19"/>
                    </a:lnTo>
                    <a:lnTo>
                      <a:pt x="19" y="19"/>
                    </a:lnTo>
                    <a:lnTo>
                      <a:pt x="22" y="19"/>
                    </a:lnTo>
                    <a:lnTo>
                      <a:pt x="23" y="13"/>
                    </a:lnTo>
                    <a:lnTo>
                      <a:pt x="23" y="12"/>
                    </a:lnTo>
                    <a:lnTo>
                      <a:pt x="23" y="11"/>
                    </a:lnTo>
                    <a:lnTo>
                      <a:pt x="26" y="11"/>
                    </a:lnTo>
                    <a:lnTo>
                      <a:pt x="28" y="12"/>
                    </a:lnTo>
                    <a:lnTo>
                      <a:pt x="30" y="12"/>
                    </a:lnTo>
                    <a:lnTo>
                      <a:pt x="32" y="13"/>
                    </a:lnTo>
                    <a:lnTo>
                      <a:pt x="38" y="15"/>
                    </a:lnTo>
                    <a:lnTo>
                      <a:pt x="42" y="15"/>
                    </a:lnTo>
                    <a:lnTo>
                      <a:pt x="43" y="16"/>
                    </a:lnTo>
                    <a:lnTo>
                      <a:pt x="46" y="22"/>
                    </a:lnTo>
                    <a:lnTo>
                      <a:pt x="45" y="27"/>
                    </a:lnTo>
                    <a:lnTo>
                      <a:pt x="45" y="32"/>
                    </a:lnTo>
                    <a:lnTo>
                      <a:pt x="32" y="35"/>
                    </a:lnTo>
                    <a:lnTo>
                      <a:pt x="0" y="3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38" name="Freeform 764"/>
              <p:cNvSpPr>
                <a:spLocks/>
              </p:cNvSpPr>
              <p:nvPr/>
            </p:nvSpPr>
            <p:spPr bwMode="auto">
              <a:xfrm>
                <a:off x="6374409" y="2279762"/>
                <a:ext cx="42134" cy="36509"/>
              </a:xfrm>
              <a:custGeom>
                <a:avLst/>
                <a:gdLst/>
                <a:ahLst/>
                <a:cxnLst>
                  <a:cxn ang="0">
                    <a:pos x="0" y="31"/>
                  </a:cxn>
                  <a:cxn ang="0">
                    <a:pos x="0" y="31"/>
                  </a:cxn>
                  <a:cxn ang="0">
                    <a:pos x="3" y="28"/>
                  </a:cxn>
                  <a:cxn ang="0">
                    <a:pos x="4" y="24"/>
                  </a:cxn>
                  <a:cxn ang="0">
                    <a:pos x="4" y="21"/>
                  </a:cxn>
                  <a:cxn ang="0">
                    <a:pos x="6" y="19"/>
                  </a:cxn>
                  <a:cxn ang="0">
                    <a:pos x="12" y="19"/>
                  </a:cxn>
                  <a:cxn ang="0">
                    <a:pos x="20" y="9"/>
                  </a:cxn>
                  <a:cxn ang="0">
                    <a:pos x="22" y="0"/>
                  </a:cxn>
                  <a:cxn ang="0">
                    <a:pos x="20" y="8"/>
                  </a:cxn>
                  <a:cxn ang="0">
                    <a:pos x="14" y="18"/>
                  </a:cxn>
                  <a:cxn ang="0">
                    <a:pos x="16" y="19"/>
                  </a:cxn>
                  <a:cxn ang="0">
                    <a:pos x="17" y="19"/>
                  </a:cxn>
                  <a:cxn ang="0">
                    <a:pos x="19" y="19"/>
                  </a:cxn>
                  <a:cxn ang="0">
                    <a:pos x="22" y="19"/>
                  </a:cxn>
                  <a:cxn ang="0">
                    <a:pos x="23" y="13"/>
                  </a:cxn>
                  <a:cxn ang="0">
                    <a:pos x="23" y="12"/>
                  </a:cxn>
                  <a:cxn ang="0">
                    <a:pos x="23" y="11"/>
                  </a:cxn>
                  <a:cxn ang="0">
                    <a:pos x="26" y="11"/>
                  </a:cxn>
                  <a:cxn ang="0">
                    <a:pos x="28" y="12"/>
                  </a:cxn>
                  <a:cxn ang="0">
                    <a:pos x="30" y="12"/>
                  </a:cxn>
                  <a:cxn ang="0">
                    <a:pos x="32" y="13"/>
                  </a:cxn>
                  <a:cxn ang="0">
                    <a:pos x="38" y="15"/>
                  </a:cxn>
                  <a:cxn ang="0">
                    <a:pos x="42" y="15"/>
                  </a:cxn>
                  <a:cxn ang="0">
                    <a:pos x="43" y="16"/>
                  </a:cxn>
                  <a:cxn ang="0">
                    <a:pos x="46" y="22"/>
                  </a:cxn>
                  <a:cxn ang="0">
                    <a:pos x="45" y="27"/>
                  </a:cxn>
                  <a:cxn ang="0">
                    <a:pos x="45" y="32"/>
                  </a:cxn>
                  <a:cxn ang="0">
                    <a:pos x="32" y="35"/>
                  </a:cxn>
                  <a:cxn ang="0">
                    <a:pos x="0" y="31"/>
                  </a:cxn>
                </a:cxnLst>
                <a:rect l="0" t="0" r="r" b="b"/>
                <a:pathLst>
                  <a:path w="46" h="35">
                    <a:moveTo>
                      <a:pt x="0" y="31"/>
                    </a:moveTo>
                    <a:lnTo>
                      <a:pt x="0" y="31"/>
                    </a:lnTo>
                    <a:lnTo>
                      <a:pt x="3" y="28"/>
                    </a:lnTo>
                    <a:lnTo>
                      <a:pt x="4" y="24"/>
                    </a:lnTo>
                    <a:lnTo>
                      <a:pt x="4" y="21"/>
                    </a:lnTo>
                    <a:lnTo>
                      <a:pt x="6" y="19"/>
                    </a:lnTo>
                    <a:lnTo>
                      <a:pt x="12" y="19"/>
                    </a:lnTo>
                    <a:lnTo>
                      <a:pt x="20" y="9"/>
                    </a:lnTo>
                    <a:lnTo>
                      <a:pt x="22" y="0"/>
                    </a:lnTo>
                    <a:lnTo>
                      <a:pt x="20" y="8"/>
                    </a:lnTo>
                    <a:lnTo>
                      <a:pt x="14" y="18"/>
                    </a:lnTo>
                    <a:lnTo>
                      <a:pt x="16" y="19"/>
                    </a:lnTo>
                    <a:lnTo>
                      <a:pt x="17" y="19"/>
                    </a:lnTo>
                    <a:lnTo>
                      <a:pt x="19" y="19"/>
                    </a:lnTo>
                    <a:lnTo>
                      <a:pt x="22" y="19"/>
                    </a:lnTo>
                    <a:lnTo>
                      <a:pt x="23" y="13"/>
                    </a:lnTo>
                    <a:lnTo>
                      <a:pt x="23" y="12"/>
                    </a:lnTo>
                    <a:lnTo>
                      <a:pt x="23" y="11"/>
                    </a:lnTo>
                    <a:lnTo>
                      <a:pt x="26" y="11"/>
                    </a:lnTo>
                    <a:lnTo>
                      <a:pt x="28" y="12"/>
                    </a:lnTo>
                    <a:lnTo>
                      <a:pt x="30" y="12"/>
                    </a:lnTo>
                    <a:lnTo>
                      <a:pt x="32" y="13"/>
                    </a:lnTo>
                    <a:lnTo>
                      <a:pt x="38" y="15"/>
                    </a:lnTo>
                    <a:lnTo>
                      <a:pt x="42" y="15"/>
                    </a:lnTo>
                    <a:lnTo>
                      <a:pt x="43" y="16"/>
                    </a:lnTo>
                    <a:lnTo>
                      <a:pt x="46" y="22"/>
                    </a:lnTo>
                    <a:lnTo>
                      <a:pt x="45" y="27"/>
                    </a:lnTo>
                    <a:lnTo>
                      <a:pt x="45" y="32"/>
                    </a:lnTo>
                    <a:lnTo>
                      <a:pt x="32" y="35"/>
                    </a:lnTo>
                    <a:lnTo>
                      <a:pt x="0" y="3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39" name="Freeform 765"/>
              <p:cNvSpPr>
                <a:spLocks/>
              </p:cNvSpPr>
              <p:nvPr/>
            </p:nvSpPr>
            <p:spPr bwMode="auto">
              <a:xfrm>
                <a:off x="5270137" y="2998782"/>
                <a:ext cx="1756" cy="1014"/>
              </a:xfrm>
              <a:custGeom>
                <a:avLst/>
                <a:gdLst/>
                <a:ahLst/>
                <a:cxnLst>
                  <a:cxn ang="0">
                    <a:pos x="2" y="0"/>
                  </a:cxn>
                  <a:cxn ang="0">
                    <a:pos x="0" y="1"/>
                  </a:cxn>
                  <a:cxn ang="0">
                    <a:pos x="0" y="1"/>
                  </a:cxn>
                  <a:cxn ang="0">
                    <a:pos x="2" y="1"/>
                  </a:cxn>
                  <a:cxn ang="0">
                    <a:pos x="2" y="0"/>
                  </a:cxn>
                </a:cxnLst>
                <a:rect l="0" t="0" r="r" b="b"/>
                <a:pathLst>
                  <a:path w="2" h="1">
                    <a:moveTo>
                      <a:pt x="2" y="0"/>
                    </a:moveTo>
                    <a:lnTo>
                      <a:pt x="0" y="1"/>
                    </a:lnTo>
                    <a:lnTo>
                      <a:pt x="0" y="1"/>
                    </a:lnTo>
                    <a:lnTo>
                      <a:pt x="2" y="1"/>
                    </a:lnTo>
                    <a:lnTo>
                      <a:pt x="2"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40" name="Freeform 766"/>
              <p:cNvSpPr>
                <a:spLocks/>
              </p:cNvSpPr>
              <p:nvPr/>
            </p:nvSpPr>
            <p:spPr bwMode="auto">
              <a:xfrm>
                <a:off x="5270137" y="2998782"/>
                <a:ext cx="1756" cy="1014"/>
              </a:xfrm>
              <a:custGeom>
                <a:avLst/>
                <a:gdLst/>
                <a:ahLst/>
                <a:cxnLst>
                  <a:cxn ang="0">
                    <a:pos x="2" y="0"/>
                  </a:cxn>
                  <a:cxn ang="0">
                    <a:pos x="0" y="1"/>
                  </a:cxn>
                  <a:cxn ang="0">
                    <a:pos x="0" y="1"/>
                  </a:cxn>
                  <a:cxn ang="0">
                    <a:pos x="2" y="1"/>
                  </a:cxn>
                  <a:cxn ang="0">
                    <a:pos x="2" y="0"/>
                  </a:cxn>
                </a:cxnLst>
                <a:rect l="0" t="0" r="r" b="b"/>
                <a:pathLst>
                  <a:path w="2" h="1">
                    <a:moveTo>
                      <a:pt x="2" y="0"/>
                    </a:moveTo>
                    <a:lnTo>
                      <a:pt x="0" y="1"/>
                    </a:lnTo>
                    <a:lnTo>
                      <a:pt x="0" y="1"/>
                    </a:lnTo>
                    <a:lnTo>
                      <a:pt x="2" y="1"/>
                    </a:lnTo>
                    <a:lnTo>
                      <a:pt x="2"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41" name="Freeform 767"/>
              <p:cNvSpPr>
                <a:spLocks/>
              </p:cNvSpPr>
              <p:nvPr/>
            </p:nvSpPr>
            <p:spPr bwMode="auto">
              <a:xfrm>
                <a:off x="5272770" y="3008923"/>
                <a:ext cx="1756" cy="1014"/>
              </a:xfrm>
              <a:custGeom>
                <a:avLst/>
                <a:gdLst/>
                <a:ahLst/>
                <a:cxnLst>
                  <a:cxn ang="0">
                    <a:pos x="0" y="0"/>
                  </a:cxn>
                  <a:cxn ang="0">
                    <a:pos x="0" y="0"/>
                  </a:cxn>
                  <a:cxn ang="0">
                    <a:pos x="0" y="1"/>
                  </a:cxn>
                  <a:cxn ang="0">
                    <a:pos x="2" y="0"/>
                  </a:cxn>
                  <a:cxn ang="0">
                    <a:pos x="0" y="0"/>
                  </a:cxn>
                </a:cxnLst>
                <a:rect l="0" t="0" r="r" b="b"/>
                <a:pathLst>
                  <a:path w="2" h="1">
                    <a:moveTo>
                      <a:pt x="0" y="0"/>
                    </a:moveTo>
                    <a:lnTo>
                      <a:pt x="0" y="0"/>
                    </a:lnTo>
                    <a:lnTo>
                      <a:pt x="0" y="1"/>
                    </a:lnTo>
                    <a:lnTo>
                      <a:pt x="2" y="0"/>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42" name="Freeform 768"/>
              <p:cNvSpPr>
                <a:spLocks/>
              </p:cNvSpPr>
              <p:nvPr/>
            </p:nvSpPr>
            <p:spPr bwMode="auto">
              <a:xfrm>
                <a:off x="5272770" y="3008923"/>
                <a:ext cx="1756" cy="1014"/>
              </a:xfrm>
              <a:custGeom>
                <a:avLst/>
                <a:gdLst/>
                <a:ahLst/>
                <a:cxnLst>
                  <a:cxn ang="0">
                    <a:pos x="0" y="0"/>
                  </a:cxn>
                  <a:cxn ang="0">
                    <a:pos x="0" y="0"/>
                  </a:cxn>
                  <a:cxn ang="0">
                    <a:pos x="0" y="1"/>
                  </a:cxn>
                  <a:cxn ang="0">
                    <a:pos x="2" y="0"/>
                  </a:cxn>
                  <a:cxn ang="0">
                    <a:pos x="0" y="0"/>
                  </a:cxn>
                </a:cxnLst>
                <a:rect l="0" t="0" r="r" b="b"/>
                <a:pathLst>
                  <a:path w="2" h="1">
                    <a:moveTo>
                      <a:pt x="0" y="0"/>
                    </a:moveTo>
                    <a:lnTo>
                      <a:pt x="0" y="0"/>
                    </a:lnTo>
                    <a:lnTo>
                      <a:pt x="0" y="1"/>
                    </a:lnTo>
                    <a:lnTo>
                      <a:pt x="2" y="0"/>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43" name="Freeform 769"/>
              <p:cNvSpPr>
                <a:spLocks/>
              </p:cNvSpPr>
              <p:nvPr/>
            </p:nvSpPr>
            <p:spPr bwMode="auto">
              <a:xfrm>
                <a:off x="5319293" y="3042389"/>
                <a:ext cx="878" cy="6085"/>
              </a:xfrm>
              <a:custGeom>
                <a:avLst/>
                <a:gdLst/>
                <a:ahLst/>
                <a:cxnLst>
                  <a:cxn ang="0">
                    <a:pos x="0" y="0"/>
                  </a:cxn>
                  <a:cxn ang="0">
                    <a:pos x="0" y="0"/>
                  </a:cxn>
                  <a:cxn ang="0">
                    <a:pos x="0" y="3"/>
                  </a:cxn>
                  <a:cxn ang="0">
                    <a:pos x="0" y="6"/>
                  </a:cxn>
                  <a:cxn ang="0">
                    <a:pos x="1" y="6"/>
                  </a:cxn>
                  <a:cxn ang="0">
                    <a:pos x="1" y="3"/>
                  </a:cxn>
                  <a:cxn ang="0">
                    <a:pos x="1" y="0"/>
                  </a:cxn>
                  <a:cxn ang="0">
                    <a:pos x="0" y="0"/>
                  </a:cxn>
                </a:cxnLst>
                <a:rect l="0" t="0" r="r" b="b"/>
                <a:pathLst>
                  <a:path w="1" h="6">
                    <a:moveTo>
                      <a:pt x="0" y="0"/>
                    </a:moveTo>
                    <a:lnTo>
                      <a:pt x="0" y="0"/>
                    </a:lnTo>
                    <a:lnTo>
                      <a:pt x="0" y="3"/>
                    </a:lnTo>
                    <a:lnTo>
                      <a:pt x="0" y="6"/>
                    </a:lnTo>
                    <a:lnTo>
                      <a:pt x="1" y="6"/>
                    </a:lnTo>
                    <a:lnTo>
                      <a:pt x="1" y="3"/>
                    </a:lnTo>
                    <a:lnTo>
                      <a:pt x="1" y="0"/>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44" name="Freeform 770"/>
              <p:cNvSpPr>
                <a:spLocks/>
              </p:cNvSpPr>
              <p:nvPr/>
            </p:nvSpPr>
            <p:spPr bwMode="auto">
              <a:xfrm>
                <a:off x="5319293" y="3042389"/>
                <a:ext cx="878" cy="6085"/>
              </a:xfrm>
              <a:custGeom>
                <a:avLst/>
                <a:gdLst/>
                <a:ahLst/>
                <a:cxnLst>
                  <a:cxn ang="0">
                    <a:pos x="0" y="0"/>
                  </a:cxn>
                  <a:cxn ang="0">
                    <a:pos x="0" y="0"/>
                  </a:cxn>
                  <a:cxn ang="0">
                    <a:pos x="0" y="3"/>
                  </a:cxn>
                  <a:cxn ang="0">
                    <a:pos x="0" y="6"/>
                  </a:cxn>
                  <a:cxn ang="0">
                    <a:pos x="1" y="6"/>
                  </a:cxn>
                  <a:cxn ang="0">
                    <a:pos x="1" y="3"/>
                  </a:cxn>
                  <a:cxn ang="0">
                    <a:pos x="1" y="0"/>
                  </a:cxn>
                  <a:cxn ang="0">
                    <a:pos x="0" y="0"/>
                  </a:cxn>
                </a:cxnLst>
                <a:rect l="0" t="0" r="r" b="b"/>
                <a:pathLst>
                  <a:path w="1" h="6">
                    <a:moveTo>
                      <a:pt x="0" y="0"/>
                    </a:moveTo>
                    <a:lnTo>
                      <a:pt x="0" y="0"/>
                    </a:lnTo>
                    <a:lnTo>
                      <a:pt x="0" y="3"/>
                    </a:lnTo>
                    <a:lnTo>
                      <a:pt x="0" y="6"/>
                    </a:lnTo>
                    <a:lnTo>
                      <a:pt x="1" y="6"/>
                    </a:lnTo>
                    <a:lnTo>
                      <a:pt x="1" y="3"/>
                    </a:lnTo>
                    <a:lnTo>
                      <a:pt x="1" y="0"/>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45" name="Freeform 771"/>
              <p:cNvSpPr>
                <a:spLocks/>
              </p:cNvSpPr>
              <p:nvPr/>
            </p:nvSpPr>
            <p:spPr bwMode="auto">
              <a:xfrm>
                <a:off x="5314026" y="3094110"/>
                <a:ext cx="1756" cy="3042"/>
              </a:xfrm>
              <a:custGeom>
                <a:avLst/>
                <a:gdLst/>
                <a:ahLst/>
                <a:cxnLst>
                  <a:cxn ang="0">
                    <a:pos x="2" y="0"/>
                  </a:cxn>
                  <a:cxn ang="0">
                    <a:pos x="0" y="2"/>
                  </a:cxn>
                  <a:cxn ang="0">
                    <a:pos x="0" y="3"/>
                  </a:cxn>
                  <a:cxn ang="0">
                    <a:pos x="2" y="2"/>
                  </a:cxn>
                  <a:cxn ang="0">
                    <a:pos x="2" y="0"/>
                  </a:cxn>
                </a:cxnLst>
                <a:rect l="0" t="0" r="r" b="b"/>
                <a:pathLst>
                  <a:path w="2" h="3">
                    <a:moveTo>
                      <a:pt x="2" y="0"/>
                    </a:moveTo>
                    <a:lnTo>
                      <a:pt x="0" y="2"/>
                    </a:lnTo>
                    <a:lnTo>
                      <a:pt x="0" y="3"/>
                    </a:lnTo>
                    <a:lnTo>
                      <a:pt x="2" y="2"/>
                    </a:lnTo>
                    <a:lnTo>
                      <a:pt x="2"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46" name="Freeform 772"/>
              <p:cNvSpPr>
                <a:spLocks/>
              </p:cNvSpPr>
              <p:nvPr/>
            </p:nvSpPr>
            <p:spPr bwMode="auto">
              <a:xfrm>
                <a:off x="5314026" y="3094110"/>
                <a:ext cx="1756" cy="3042"/>
              </a:xfrm>
              <a:custGeom>
                <a:avLst/>
                <a:gdLst/>
                <a:ahLst/>
                <a:cxnLst>
                  <a:cxn ang="0">
                    <a:pos x="2" y="0"/>
                  </a:cxn>
                  <a:cxn ang="0">
                    <a:pos x="0" y="2"/>
                  </a:cxn>
                  <a:cxn ang="0">
                    <a:pos x="0" y="3"/>
                  </a:cxn>
                  <a:cxn ang="0">
                    <a:pos x="2" y="2"/>
                  </a:cxn>
                  <a:cxn ang="0">
                    <a:pos x="2" y="0"/>
                  </a:cxn>
                </a:cxnLst>
                <a:rect l="0" t="0" r="r" b="b"/>
                <a:pathLst>
                  <a:path w="2" h="3">
                    <a:moveTo>
                      <a:pt x="2" y="0"/>
                    </a:moveTo>
                    <a:lnTo>
                      <a:pt x="0" y="2"/>
                    </a:lnTo>
                    <a:lnTo>
                      <a:pt x="0" y="3"/>
                    </a:lnTo>
                    <a:lnTo>
                      <a:pt x="2" y="2"/>
                    </a:lnTo>
                    <a:lnTo>
                      <a:pt x="2"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47" name="Freeform 773"/>
              <p:cNvSpPr>
                <a:spLocks/>
              </p:cNvSpPr>
              <p:nvPr/>
            </p:nvSpPr>
            <p:spPr bwMode="auto">
              <a:xfrm>
                <a:off x="6574548" y="2752347"/>
                <a:ext cx="53546" cy="72004"/>
              </a:xfrm>
              <a:custGeom>
                <a:avLst/>
                <a:gdLst/>
                <a:ahLst/>
                <a:cxnLst>
                  <a:cxn ang="0">
                    <a:pos x="55" y="24"/>
                  </a:cxn>
                  <a:cxn ang="0">
                    <a:pos x="59" y="20"/>
                  </a:cxn>
                  <a:cxn ang="0">
                    <a:pos x="56" y="0"/>
                  </a:cxn>
                  <a:cxn ang="0">
                    <a:pos x="24" y="17"/>
                  </a:cxn>
                  <a:cxn ang="0">
                    <a:pos x="23" y="19"/>
                  </a:cxn>
                  <a:cxn ang="0">
                    <a:pos x="20" y="17"/>
                  </a:cxn>
                  <a:cxn ang="0">
                    <a:pos x="14" y="14"/>
                  </a:cxn>
                  <a:cxn ang="0">
                    <a:pos x="13" y="11"/>
                  </a:cxn>
                  <a:cxn ang="0">
                    <a:pos x="11" y="11"/>
                  </a:cxn>
                  <a:cxn ang="0">
                    <a:pos x="8" y="11"/>
                  </a:cxn>
                  <a:cxn ang="0">
                    <a:pos x="8" y="17"/>
                  </a:cxn>
                  <a:cxn ang="0">
                    <a:pos x="8" y="17"/>
                  </a:cxn>
                  <a:cxn ang="0">
                    <a:pos x="7" y="24"/>
                  </a:cxn>
                  <a:cxn ang="0">
                    <a:pos x="8" y="27"/>
                  </a:cxn>
                  <a:cxn ang="0">
                    <a:pos x="7" y="30"/>
                  </a:cxn>
                  <a:cxn ang="0">
                    <a:pos x="7" y="32"/>
                  </a:cxn>
                  <a:cxn ang="0">
                    <a:pos x="7" y="33"/>
                  </a:cxn>
                  <a:cxn ang="0">
                    <a:pos x="6" y="36"/>
                  </a:cxn>
                  <a:cxn ang="0">
                    <a:pos x="7" y="38"/>
                  </a:cxn>
                  <a:cxn ang="0">
                    <a:pos x="0" y="67"/>
                  </a:cxn>
                  <a:cxn ang="0">
                    <a:pos x="0" y="67"/>
                  </a:cxn>
                  <a:cxn ang="0">
                    <a:pos x="1" y="68"/>
                  </a:cxn>
                  <a:cxn ang="0">
                    <a:pos x="17" y="69"/>
                  </a:cxn>
                  <a:cxn ang="0">
                    <a:pos x="21" y="65"/>
                  </a:cxn>
                  <a:cxn ang="0">
                    <a:pos x="24" y="58"/>
                  </a:cxn>
                  <a:cxn ang="0">
                    <a:pos x="36" y="56"/>
                  </a:cxn>
                  <a:cxn ang="0">
                    <a:pos x="37" y="51"/>
                  </a:cxn>
                  <a:cxn ang="0">
                    <a:pos x="43" y="46"/>
                  </a:cxn>
                  <a:cxn ang="0">
                    <a:pos x="43" y="46"/>
                  </a:cxn>
                  <a:cxn ang="0">
                    <a:pos x="29" y="30"/>
                  </a:cxn>
                  <a:cxn ang="0">
                    <a:pos x="55" y="24"/>
                  </a:cxn>
                </a:cxnLst>
                <a:rect l="0" t="0" r="r" b="b"/>
                <a:pathLst>
                  <a:path w="59" h="69">
                    <a:moveTo>
                      <a:pt x="55" y="24"/>
                    </a:moveTo>
                    <a:lnTo>
                      <a:pt x="59" y="20"/>
                    </a:lnTo>
                    <a:lnTo>
                      <a:pt x="56" y="0"/>
                    </a:lnTo>
                    <a:lnTo>
                      <a:pt x="24" y="17"/>
                    </a:lnTo>
                    <a:lnTo>
                      <a:pt x="23" y="19"/>
                    </a:lnTo>
                    <a:lnTo>
                      <a:pt x="20" y="17"/>
                    </a:lnTo>
                    <a:lnTo>
                      <a:pt x="14" y="14"/>
                    </a:lnTo>
                    <a:lnTo>
                      <a:pt x="13" y="11"/>
                    </a:lnTo>
                    <a:lnTo>
                      <a:pt x="11" y="11"/>
                    </a:lnTo>
                    <a:lnTo>
                      <a:pt x="8" y="11"/>
                    </a:lnTo>
                    <a:lnTo>
                      <a:pt x="8" y="17"/>
                    </a:lnTo>
                    <a:lnTo>
                      <a:pt x="8" y="17"/>
                    </a:lnTo>
                    <a:lnTo>
                      <a:pt x="7" y="24"/>
                    </a:lnTo>
                    <a:lnTo>
                      <a:pt x="8" y="27"/>
                    </a:lnTo>
                    <a:lnTo>
                      <a:pt x="7" y="30"/>
                    </a:lnTo>
                    <a:lnTo>
                      <a:pt x="7" y="32"/>
                    </a:lnTo>
                    <a:lnTo>
                      <a:pt x="7" y="33"/>
                    </a:lnTo>
                    <a:lnTo>
                      <a:pt x="6" y="36"/>
                    </a:lnTo>
                    <a:lnTo>
                      <a:pt x="7" y="38"/>
                    </a:lnTo>
                    <a:lnTo>
                      <a:pt x="0" y="67"/>
                    </a:lnTo>
                    <a:lnTo>
                      <a:pt x="0" y="67"/>
                    </a:lnTo>
                    <a:lnTo>
                      <a:pt x="1" y="68"/>
                    </a:lnTo>
                    <a:lnTo>
                      <a:pt x="17" y="69"/>
                    </a:lnTo>
                    <a:lnTo>
                      <a:pt x="21" y="65"/>
                    </a:lnTo>
                    <a:lnTo>
                      <a:pt x="24" y="58"/>
                    </a:lnTo>
                    <a:lnTo>
                      <a:pt x="36" y="56"/>
                    </a:lnTo>
                    <a:lnTo>
                      <a:pt x="37" y="51"/>
                    </a:lnTo>
                    <a:lnTo>
                      <a:pt x="43" y="46"/>
                    </a:lnTo>
                    <a:lnTo>
                      <a:pt x="43" y="46"/>
                    </a:lnTo>
                    <a:lnTo>
                      <a:pt x="29" y="30"/>
                    </a:lnTo>
                    <a:lnTo>
                      <a:pt x="55" y="2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48" name="Freeform 774"/>
              <p:cNvSpPr>
                <a:spLocks/>
              </p:cNvSpPr>
              <p:nvPr/>
            </p:nvSpPr>
            <p:spPr bwMode="auto">
              <a:xfrm>
                <a:off x="6574548" y="2752347"/>
                <a:ext cx="53546" cy="72004"/>
              </a:xfrm>
              <a:custGeom>
                <a:avLst/>
                <a:gdLst/>
                <a:ahLst/>
                <a:cxnLst>
                  <a:cxn ang="0">
                    <a:pos x="55" y="24"/>
                  </a:cxn>
                  <a:cxn ang="0">
                    <a:pos x="59" y="20"/>
                  </a:cxn>
                  <a:cxn ang="0">
                    <a:pos x="56" y="0"/>
                  </a:cxn>
                  <a:cxn ang="0">
                    <a:pos x="24" y="17"/>
                  </a:cxn>
                  <a:cxn ang="0">
                    <a:pos x="23" y="19"/>
                  </a:cxn>
                  <a:cxn ang="0">
                    <a:pos x="20" y="17"/>
                  </a:cxn>
                  <a:cxn ang="0">
                    <a:pos x="14" y="14"/>
                  </a:cxn>
                  <a:cxn ang="0">
                    <a:pos x="13" y="11"/>
                  </a:cxn>
                  <a:cxn ang="0">
                    <a:pos x="11" y="11"/>
                  </a:cxn>
                  <a:cxn ang="0">
                    <a:pos x="8" y="11"/>
                  </a:cxn>
                  <a:cxn ang="0">
                    <a:pos x="8" y="17"/>
                  </a:cxn>
                  <a:cxn ang="0">
                    <a:pos x="8" y="17"/>
                  </a:cxn>
                  <a:cxn ang="0">
                    <a:pos x="7" y="24"/>
                  </a:cxn>
                  <a:cxn ang="0">
                    <a:pos x="8" y="27"/>
                  </a:cxn>
                  <a:cxn ang="0">
                    <a:pos x="7" y="30"/>
                  </a:cxn>
                  <a:cxn ang="0">
                    <a:pos x="7" y="32"/>
                  </a:cxn>
                  <a:cxn ang="0">
                    <a:pos x="7" y="33"/>
                  </a:cxn>
                  <a:cxn ang="0">
                    <a:pos x="6" y="36"/>
                  </a:cxn>
                  <a:cxn ang="0">
                    <a:pos x="7" y="38"/>
                  </a:cxn>
                  <a:cxn ang="0">
                    <a:pos x="0" y="67"/>
                  </a:cxn>
                  <a:cxn ang="0">
                    <a:pos x="0" y="67"/>
                  </a:cxn>
                  <a:cxn ang="0">
                    <a:pos x="1" y="68"/>
                  </a:cxn>
                  <a:cxn ang="0">
                    <a:pos x="17" y="69"/>
                  </a:cxn>
                  <a:cxn ang="0">
                    <a:pos x="21" y="65"/>
                  </a:cxn>
                  <a:cxn ang="0">
                    <a:pos x="24" y="58"/>
                  </a:cxn>
                  <a:cxn ang="0">
                    <a:pos x="36" y="56"/>
                  </a:cxn>
                  <a:cxn ang="0">
                    <a:pos x="37" y="51"/>
                  </a:cxn>
                  <a:cxn ang="0">
                    <a:pos x="43" y="46"/>
                  </a:cxn>
                  <a:cxn ang="0">
                    <a:pos x="43" y="46"/>
                  </a:cxn>
                  <a:cxn ang="0">
                    <a:pos x="29" y="30"/>
                  </a:cxn>
                  <a:cxn ang="0">
                    <a:pos x="55" y="24"/>
                  </a:cxn>
                </a:cxnLst>
                <a:rect l="0" t="0" r="r" b="b"/>
                <a:pathLst>
                  <a:path w="59" h="69">
                    <a:moveTo>
                      <a:pt x="55" y="24"/>
                    </a:moveTo>
                    <a:lnTo>
                      <a:pt x="59" y="20"/>
                    </a:lnTo>
                    <a:lnTo>
                      <a:pt x="56" y="0"/>
                    </a:lnTo>
                    <a:lnTo>
                      <a:pt x="24" y="17"/>
                    </a:lnTo>
                    <a:lnTo>
                      <a:pt x="23" y="19"/>
                    </a:lnTo>
                    <a:lnTo>
                      <a:pt x="20" y="17"/>
                    </a:lnTo>
                    <a:lnTo>
                      <a:pt x="14" y="14"/>
                    </a:lnTo>
                    <a:lnTo>
                      <a:pt x="13" y="11"/>
                    </a:lnTo>
                    <a:lnTo>
                      <a:pt x="11" y="11"/>
                    </a:lnTo>
                    <a:lnTo>
                      <a:pt x="8" y="11"/>
                    </a:lnTo>
                    <a:lnTo>
                      <a:pt x="8" y="17"/>
                    </a:lnTo>
                    <a:lnTo>
                      <a:pt x="8" y="17"/>
                    </a:lnTo>
                    <a:lnTo>
                      <a:pt x="7" y="24"/>
                    </a:lnTo>
                    <a:lnTo>
                      <a:pt x="8" y="27"/>
                    </a:lnTo>
                    <a:lnTo>
                      <a:pt x="7" y="30"/>
                    </a:lnTo>
                    <a:lnTo>
                      <a:pt x="7" y="32"/>
                    </a:lnTo>
                    <a:lnTo>
                      <a:pt x="7" y="33"/>
                    </a:lnTo>
                    <a:lnTo>
                      <a:pt x="6" y="36"/>
                    </a:lnTo>
                    <a:lnTo>
                      <a:pt x="7" y="38"/>
                    </a:lnTo>
                    <a:lnTo>
                      <a:pt x="0" y="67"/>
                    </a:lnTo>
                    <a:lnTo>
                      <a:pt x="0" y="67"/>
                    </a:lnTo>
                    <a:lnTo>
                      <a:pt x="1" y="68"/>
                    </a:lnTo>
                    <a:lnTo>
                      <a:pt x="17" y="69"/>
                    </a:lnTo>
                    <a:lnTo>
                      <a:pt x="21" y="65"/>
                    </a:lnTo>
                    <a:lnTo>
                      <a:pt x="24" y="58"/>
                    </a:lnTo>
                    <a:lnTo>
                      <a:pt x="36" y="56"/>
                    </a:lnTo>
                    <a:lnTo>
                      <a:pt x="37" y="51"/>
                    </a:lnTo>
                    <a:lnTo>
                      <a:pt x="43" y="46"/>
                    </a:lnTo>
                    <a:lnTo>
                      <a:pt x="43" y="46"/>
                    </a:lnTo>
                    <a:lnTo>
                      <a:pt x="29" y="30"/>
                    </a:lnTo>
                    <a:lnTo>
                      <a:pt x="55" y="2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49" name="Rectangle 775"/>
              <p:cNvSpPr>
                <a:spLocks noChangeArrowheads="1"/>
              </p:cNvSpPr>
              <p:nvPr/>
            </p:nvSpPr>
            <p:spPr bwMode="auto">
              <a:xfrm>
                <a:off x="6581570" y="2769587"/>
                <a:ext cx="878" cy="1014"/>
              </a:xfrm>
              <a:prstGeom prst="rect">
                <a:avLst/>
              </a:prstGeom>
              <a:solidFill>
                <a:schemeClr val="accent2"/>
              </a:solidFill>
              <a:ln w="9525">
                <a:noFill/>
                <a:miter lim="800000"/>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50" name="Freeform 776"/>
              <p:cNvSpPr>
                <a:spLocks/>
              </p:cNvSpPr>
              <p:nvPr/>
            </p:nvSpPr>
            <p:spPr bwMode="auto">
              <a:xfrm>
                <a:off x="6581570" y="2769587"/>
                <a:ext cx="878" cy="1014"/>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51" name="Freeform 777"/>
              <p:cNvSpPr>
                <a:spLocks/>
              </p:cNvSpPr>
              <p:nvPr/>
            </p:nvSpPr>
            <p:spPr bwMode="auto">
              <a:xfrm>
                <a:off x="5255213" y="1209852"/>
                <a:ext cx="7901" cy="4056"/>
              </a:xfrm>
              <a:custGeom>
                <a:avLst/>
                <a:gdLst/>
                <a:ahLst/>
                <a:cxnLst>
                  <a:cxn ang="0">
                    <a:pos x="8" y="0"/>
                  </a:cxn>
                  <a:cxn ang="0">
                    <a:pos x="0" y="0"/>
                  </a:cxn>
                  <a:cxn ang="0">
                    <a:pos x="3" y="4"/>
                  </a:cxn>
                  <a:cxn ang="0">
                    <a:pos x="8" y="0"/>
                  </a:cxn>
                  <a:cxn ang="0">
                    <a:pos x="8" y="0"/>
                  </a:cxn>
                </a:cxnLst>
                <a:rect l="0" t="0" r="r" b="b"/>
                <a:pathLst>
                  <a:path w="8" h="4">
                    <a:moveTo>
                      <a:pt x="8" y="0"/>
                    </a:moveTo>
                    <a:lnTo>
                      <a:pt x="0" y="0"/>
                    </a:lnTo>
                    <a:lnTo>
                      <a:pt x="3" y="4"/>
                    </a:lnTo>
                    <a:lnTo>
                      <a:pt x="8" y="0"/>
                    </a:lnTo>
                    <a:lnTo>
                      <a:pt x="8" y="0"/>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52" name="Freeform 778"/>
              <p:cNvSpPr>
                <a:spLocks/>
              </p:cNvSpPr>
              <p:nvPr/>
            </p:nvSpPr>
            <p:spPr bwMode="auto">
              <a:xfrm>
                <a:off x="5167433" y="1209852"/>
                <a:ext cx="721552" cy="951256"/>
              </a:xfrm>
              <a:custGeom>
                <a:avLst/>
                <a:gdLst/>
                <a:ahLst/>
                <a:cxnLst>
                  <a:cxn ang="0">
                    <a:pos x="83" y="73"/>
                  </a:cxn>
                  <a:cxn ang="0">
                    <a:pos x="15" y="110"/>
                  </a:cxn>
                  <a:cxn ang="0">
                    <a:pos x="22" y="161"/>
                  </a:cxn>
                  <a:cxn ang="0">
                    <a:pos x="92" y="169"/>
                  </a:cxn>
                  <a:cxn ang="0">
                    <a:pos x="96" y="206"/>
                  </a:cxn>
                  <a:cxn ang="0">
                    <a:pos x="61" y="238"/>
                  </a:cxn>
                  <a:cxn ang="0">
                    <a:pos x="112" y="276"/>
                  </a:cxn>
                  <a:cxn ang="0">
                    <a:pos x="175" y="275"/>
                  </a:cxn>
                  <a:cxn ang="0">
                    <a:pos x="211" y="328"/>
                  </a:cxn>
                  <a:cxn ang="0">
                    <a:pos x="239" y="391"/>
                  </a:cxn>
                  <a:cxn ang="0">
                    <a:pos x="259" y="450"/>
                  </a:cxn>
                  <a:cxn ang="0">
                    <a:pos x="268" y="498"/>
                  </a:cxn>
                  <a:cxn ang="0">
                    <a:pos x="292" y="519"/>
                  </a:cxn>
                  <a:cxn ang="0">
                    <a:pos x="311" y="554"/>
                  </a:cxn>
                  <a:cxn ang="0">
                    <a:pos x="317" y="586"/>
                  </a:cxn>
                  <a:cxn ang="0">
                    <a:pos x="311" y="625"/>
                  </a:cxn>
                  <a:cxn ang="0">
                    <a:pos x="308" y="645"/>
                  </a:cxn>
                  <a:cxn ang="0">
                    <a:pos x="275" y="668"/>
                  </a:cxn>
                  <a:cxn ang="0">
                    <a:pos x="276" y="718"/>
                  </a:cxn>
                  <a:cxn ang="0">
                    <a:pos x="292" y="753"/>
                  </a:cxn>
                  <a:cxn ang="0">
                    <a:pos x="326" y="772"/>
                  </a:cxn>
                  <a:cxn ang="0">
                    <a:pos x="316" y="822"/>
                  </a:cxn>
                  <a:cxn ang="0">
                    <a:pos x="333" y="852"/>
                  </a:cxn>
                  <a:cxn ang="0">
                    <a:pos x="352" y="869"/>
                  </a:cxn>
                  <a:cxn ang="0">
                    <a:pos x="353" y="889"/>
                  </a:cxn>
                  <a:cxn ang="0">
                    <a:pos x="381" y="891"/>
                  </a:cxn>
                  <a:cxn ang="0">
                    <a:pos x="398" y="902"/>
                  </a:cxn>
                  <a:cxn ang="0">
                    <a:pos x="424" y="897"/>
                  </a:cxn>
                  <a:cxn ang="0">
                    <a:pos x="433" y="836"/>
                  </a:cxn>
                  <a:cxn ang="0">
                    <a:pos x="445" y="817"/>
                  </a:cxn>
                  <a:cxn ang="0">
                    <a:pos x="456" y="801"/>
                  </a:cxn>
                  <a:cxn ang="0">
                    <a:pos x="449" y="761"/>
                  </a:cxn>
                  <a:cxn ang="0">
                    <a:pos x="472" y="737"/>
                  </a:cxn>
                  <a:cxn ang="0">
                    <a:pos x="493" y="725"/>
                  </a:cxn>
                  <a:cxn ang="0">
                    <a:pos x="500" y="725"/>
                  </a:cxn>
                  <a:cxn ang="0">
                    <a:pos x="525" y="725"/>
                  </a:cxn>
                  <a:cxn ang="0">
                    <a:pos x="548" y="698"/>
                  </a:cxn>
                  <a:cxn ang="0">
                    <a:pos x="562" y="668"/>
                  </a:cxn>
                  <a:cxn ang="0">
                    <a:pos x="574" y="631"/>
                  </a:cxn>
                  <a:cxn ang="0">
                    <a:pos x="594" y="645"/>
                  </a:cxn>
                  <a:cxn ang="0">
                    <a:pos x="613" y="639"/>
                  </a:cxn>
                  <a:cxn ang="0">
                    <a:pos x="648" y="631"/>
                  </a:cxn>
                  <a:cxn ang="0">
                    <a:pos x="673" y="612"/>
                  </a:cxn>
                  <a:cxn ang="0">
                    <a:pos x="692" y="593"/>
                  </a:cxn>
                  <a:cxn ang="0">
                    <a:pos x="708" y="577"/>
                  </a:cxn>
                  <a:cxn ang="0">
                    <a:pos x="657" y="562"/>
                  </a:cxn>
                  <a:cxn ang="0">
                    <a:pos x="644" y="527"/>
                  </a:cxn>
                  <a:cxn ang="0">
                    <a:pos x="663" y="503"/>
                  </a:cxn>
                  <a:cxn ang="0">
                    <a:pos x="728" y="548"/>
                  </a:cxn>
                  <a:cxn ang="0">
                    <a:pos x="724" y="498"/>
                  </a:cxn>
                  <a:cxn ang="0">
                    <a:pos x="676" y="477"/>
                  </a:cxn>
                  <a:cxn ang="0">
                    <a:pos x="681" y="436"/>
                  </a:cxn>
                  <a:cxn ang="0">
                    <a:pos x="690" y="401"/>
                  </a:cxn>
                  <a:cxn ang="0">
                    <a:pos x="718" y="385"/>
                  </a:cxn>
                  <a:cxn ang="0">
                    <a:pos x="760" y="353"/>
                  </a:cxn>
                  <a:cxn ang="0">
                    <a:pos x="725" y="304"/>
                  </a:cxn>
                  <a:cxn ang="0">
                    <a:pos x="738" y="260"/>
                  </a:cxn>
                  <a:cxn ang="0">
                    <a:pos x="719" y="243"/>
                  </a:cxn>
                  <a:cxn ang="0">
                    <a:pos x="777" y="196"/>
                  </a:cxn>
                  <a:cxn ang="0">
                    <a:pos x="748" y="171"/>
                  </a:cxn>
                  <a:cxn ang="0">
                    <a:pos x="738" y="105"/>
                  </a:cxn>
                  <a:cxn ang="0">
                    <a:pos x="758" y="48"/>
                  </a:cxn>
                  <a:cxn ang="0">
                    <a:pos x="747" y="6"/>
                  </a:cxn>
                </a:cxnLst>
                <a:rect l="0" t="0" r="r" b="b"/>
                <a:pathLst>
                  <a:path w="787" h="913">
                    <a:moveTo>
                      <a:pt x="112" y="6"/>
                    </a:moveTo>
                    <a:lnTo>
                      <a:pt x="115" y="7"/>
                    </a:lnTo>
                    <a:lnTo>
                      <a:pt x="118" y="7"/>
                    </a:lnTo>
                    <a:lnTo>
                      <a:pt x="121" y="13"/>
                    </a:lnTo>
                    <a:lnTo>
                      <a:pt x="120" y="17"/>
                    </a:lnTo>
                    <a:lnTo>
                      <a:pt x="115" y="17"/>
                    </a:lnTo>
                    <a:lnTo>
                      <a:pt x="111" y="16"/>
                    </a:lnTo>
                    <a:lnTo>
                      <a:pt x="109" y="25"/>
                    </a:lnTo>
                    <a:lnTo>
                      <a:pt x="112" y="26"/>
                    </a:lnTo>
                    <a:lnTo>
                      <a:pt x="115" y="35"/>
                    </a:lnTo>
                    <a:lnTo>
                      <a:pt x="115" y="41"/>
                    </a:lnTo>
                    <a:lnTo>
                      <a:pt x="111" y="48"/>
                    </a:lnTo>
                    <a:lnTo>
                      <a:pt x="108" y="54"/>
                    </a:lnTo>
                    <a:lnTo>
                      <a:pt x="105" y="55"/>
                    </a:lnTo>
                    <a:lnTo>
                      <a:pt x="98" y="73"/>
                    </a:lnTo>
                    <a:lnTo>
                      <a:pt x="95" y="74"/>
                    </a:lnTo>
                    <a:lnTo>
                      <a:pt x="95" y="73"/>
                    </a:lnTo>
                    <a:lnTo>
                      <a:pt x="92" y="73"/>
                    </a:lnTo>
                    <a:lnTo>
                      <a:pt x="86" y="70"/>
                    </a:lnTo>
                    <a:lnTo>
                      <a:pt x="83" y="73"/>
                    </a:lnTo>
                    <a:lnTo>
                      <a:pt x="80" y="68"/>
                    </a:lnTo>
                    <a:lnTo>
                      <a:pt x="72" y="71"/>
                    </a:lnTo>
                    <a:lnTo>
                      <a:pt x="72" y="74"/>
                    </a:lnTo>
                    <a:lnTo>
                      <a:pt x="69" y="73"/>
                    </a:lnTo>
                    <a:lnTo>
                      <a:pt x="60" y="74"/>
                    </a:lnTo>
                    <a:lnTo>
                      <a:pt x="51" y="83"/>
                    </a:lnTo>
                    <a:lnTo>
                      <a:pt x="53" y="86"/>
                    </a:lnTo>
                    <a:lnTo>
                      <a:pt x="56" y="86"/>
                    </a:lnTo>
                    <a:lnTo>
                      <a:pt x="56" y="90"/>
                    </a:lnTo>
                    <a:lnTo>
                      <a:pt x="51" y="89"/>
                    </a:lnTo>
                    <a:lnTo>
                      <a:pt x="50" y="89"/>
                    </a:lnTo>
                    <a:lnTo>
                      <a:pt x="48" y="92"/>
                    </a:lnTo>
                    <a:lnTo>
                      <a:pt x="47" y="93"/>
                    </a:lnTo>
                    <a:lnTo>
                      <a:pt x="40" y="93"/>
                    </a:lnTo>
                    <a:lnTo>
                      <a:pt x="37" y="96"/>
                    </a:lnTo>
                    <a:lnTo>
                      <a:pt x="30" y="99"/>
                    </a:lnTo>
                    <a:lnTo>
                      <a:pt x="27" y="108"/>
                    </a:lnTo>
                    <a:lnTo>
                      <a:pt x="22" y="105"/>
                    </a:lnTo>
                    <a:lnTo>
                      <a:pt x="16" y="106"/>
                    </a:lnTo>
                    <a:lnTo>
                      <a:pt x="15" y="110"/>
                    </a:lnTo>
                    <a:lnTo>
                      <a:pt x="8" y="113"/>
                    </a:lnTo>
                    <a:lnTo>
                      <a:pt x="5" y="116"/>
                    </a:lnTo>
                    <a:lnTo>
                      <a:pt x="3" y="121"/>
                    </a:lnTo>
                    <a:lnTo>
                      <a:pt x="2" y="126"/>
                    </a:lnTo>
                    <a:lnTo>
                      <a:pt x="2" y="129"/>
                    </a:lnTo>
                    <a:lnTo>
                      <a:pt x="6" y="131"/>
                    </a:lnTo>
                    <a:lnTo>
                      <a:pt x="3" y="131"/>
                    </a:lnTo>
                    <a:lnTo>
                      <a:pt x="2" y="137"/>
                    </a:lnTo>
                    <a:lnTo>
                      <a:pt x="0" y="138"/>
                    </a:lnTo>
                    <a:lnTo>
                      <a:pt x="0" y="141"/>
                    </a:lnTo>
                    <a:lnTo>
                      <a:pt x="5" y="145"/>
                    </a:lnTo>
                    <a:lnTo>
                      <a:pt x="9" y="147"/>
                    </a:lnTo>
                    <a:lnTo>
                      <a:pt x="9" y="150"/>
                    </a:lnTo>
                    <a:lnTo>
                      <a:pt x="9" y="153"/>
                    </a:lnTo>
                    <a:lnTo>
                      <a:pt x="11" y="154"/>
                    </a:lnTo>
                    <a:lnTo>
                      <a:pt x="15" y="157"/>
                    </a:lnTo>
                    <a:lnTo>
                      <a:pt x="16" y="155"/>
                    </a:lnTo>
                    <a:lnTo>
                      <a:pt x="19" y="158"/>
                    </a:lnTo>
                    <a:lnTo>
                      <a:pt x="24" y="158"/>
                    </a:lnTo>
                    <a:lnTo>
                      <a:pt x="22" y="161"/>
                    </a:lnTo>
                    <a:lnTo>
                      <a:pt x="24" y="166"/>
                    </a:lnTo>
                    <a:lnTo>
                      <a:pt x="40" y="160"/>
                    </a:lnTo>
                    <a:lnTo>
                      <a:pt x="35" y="167"/>
                    </a:lnTo>
                    <a:lnTo>
                      <a:pt x="34" y="171"/>
                    </a:lnTo>
                    <a:lnTo>
                      <a:pt x="41" y="171"/>
                    </a:lnTo>
                    <a:lnTo>
                      <a:pt x="47" y="169"/>
                    </a:lnTo>
                    <a:lnTo>
                      <a:pt x="47" y="171"/>
                    </a:lnTo>
                    <a:lnTo>
                      <a:pt x="40" y="176"/>
                    </a:lnTo>
                    <a:lnTo>
                      <a:pt x="41" y="180"/>
                    </a:lnTo>
                    <a:lnTo>
                      <a:pt x="56" y="185"/>
                    </a:lnTo>
                    <a:lnTo>
                      <a:pt x="61" y="182"/>
                    </a:lnTo>
                    <a:lnTo>
                      <a:pt x="61" y="179"/>
                    </a:lnTo>
                    <a:lnTo>
                      <a:pt x="60" y="173"/>
                    </a:lnTo>
                    <a:lnTo>
                      <a:pt x="61" y="171"/>
                    </a:lnTo>
                    <a:lnTo>
                      <a:pt x="66" y="177"/>
                    </a:lnTo>
                    <a:lnTo>
                      <a:pt x="67" y="180"/>
                    </a:lnTo>
                    <a:lnTo>
                      <a:pt x="82" y="179"/>
                    </a:lnTo>
                    <a:lnTo>
                      <a:pt x="85" y="173"/>
                    </a:lnTo>
                    <a:lnTo>
                      <a:pt x="89" y="169"/>
                    </a:lnTo>
                    <a:lnTo>
                      <a:pt x="92" y="169"/>
                    </a:lnTo>
                    <a:lnTo>
                      <a:pt x="92" y="171"/>
                    </a:lnTo>
                    <a:lnTo>
                      <a:pt x="88" y="173"/>
                    </a:lnTo>
                    <a:lnTo>
                      <a:pt x="89" y="176"/>
                    </a:lnTo>
                    <a:lnTo>
                      <a:pt x="92" y="174"/>
                    </a:lnTo>
                    <a:lnTo>
                      <a:pt x="93" y="171"/>
                    </a:lnTo>
                    <a:lnTo>
                      <a:pt x="98" y="170"/>
                    </a:lnTo>
                    <a:lnTo>
                      <a:pt x="98" y="173"/>
                    </a:lnTo>
                    <a:lnTo>
                      <a:pt x="99" y="177"/>
                    </a:lnTo>
                    <a:lnTo>
                      <a:pt x="102" y="179"/>
                    </a:lnTo>
                    <a:lnTo>
                      <a:pt x="101" y="185"/>
                    </a:lnTo>
                    <a:lnTo>
                      <a:pt x="99" y="186"/>
                    </a:lnTo>
                    <a:lnTo>
                      <a:pt x="95" y="186"/>
                    </a:lnTo>
                    <a:lnTo>
                      <a:pt x="92" y="189"/>
                    </a:lnTo>
                    <a:lnTo>
                      <a:pt x="93" y="192"/>
                    </a:lnTo>
                    <a:lnTo>
                      <a:pt x="95" y="195"/>
                    </a:lnTo>
                    <a:lnTo>
                      <a:pt x="102" y="199"/>
                    </a:lnTo>
                    <a:lnTo>
                      <a:pt x="104" y="201"/>
                    </a:lnTo>
                    <a:lnTo>
                      <a:pt x="104" y="202"/>
                    </a:lnTo>
                    <a:lnTo>
                      <a:pt x="102" y="205"/>
                    </a:lnTo>
                    <a:lnTo>
                      <a:pt x="96" y="206"/>
                    </a:lnTo>
                    <a:lnTo>
                      <a:pt x="96" y="209"/>
                    </a:lnTo>
                    <a:lnTo>
                      <a:pt x="93" y="209"/>
                    </a:lnTo>
                    <a:lnTo>
                      <a:pt x="75" y="203"/>
                    </a:lnTo>
                    <a:lnTo>
                      <a:pt x="67" y="205"/>
                    </a:lnTo>
                    <a:lnTo>
                      <a:pt x="38" y="202"/>
                    </a:lnTo>
                    <a:lnTo>
                      <a:pt x="31" y="205"/>
                    </a:lnTo>
                    <a:lnTo>
                      <a:pt x="31" y="208"/>
                    </a:lnTo>
                    <a:lnTo>
                      <a:pt x="28" y="208"/>
                    </a:lnTo>
                    <a:lnTo>
                      <a:pt x="21" y="218"/>
                    </a:lnTo>
                    <a:lnTo>
                      <a:pt x="22" y="218"/>
                    </a:lnTo>
                    <a:lnTo>
                      <a:pt x="30" y="221"/>
                    </a:lnTo>
                    <a:lnTo>
                      <a:pt x="30" y="224"/>
                    </a:lnTo>
                    <a:lnTo>
                      <a:pt x="30" y="227"/>
                    </a:lnTo>
                    <a:lnTo>
                      <a:pt x="34" y="230"/>
                    </a:lnTo>
                    <a:lnTo>
                      <a:pt x="38" y="230"/>
                    </a:lnTo>
                    <a:lnTo>
                      <a:pt x="46" y="215"/>
                    </a:lnTo>
                    <a:lnTo>
                      <a:pt x="47" y="217"/>
                    </a:lnTo>
                    <a:lnTo>
                      <a:pt x="41" y="227"/>
                    </a:lnTo>
                    <a:lnTo>
                      <a:pt x="43" y="232"/>
                    </a:lnTo>
                    <a:lnTo>
                      <a:pt x="61" y="238"/>
                    </a:lnTo>
                    <a:lnTo>
                      <a:pt x="67" y="237"/>
                    </a:lnTo>
                    <a:lnTo>
                      <a:pt x="67" y="240"/>
                    </a:lnTo>
                    <a:lnTo>
                      <a:pt x="63" y="244"/>
                    </a:lnTo>
                    <a:lnTo>
                      <a:pt x="57" y="244"/>
                    </a:lnTo>
                    <a:lnTo>
                      <a:pt x="48" y="254"/>
                    </a:lnTo>
                    <a:lnTo>
                      <a:pt x="67" y="276"/>
                    </a:lnTo>
                    <a:lnTo>
                      <a:pt x="95" y="286"/>
                    </a:lnTo>
                    <a:lnTo>
                      <a:pt x="86" y="273"/>
                    </a:lnTo>
                    <a:lnTo>
                      <a:pt x="82" y="270"/>
                    </a:lnTo>
                    <a:lnTo>
                      <a:pt x="85" y="264"/>
                    </a:lnTo>
                    <a:lnTo>
                      <a:pt x="89" y="264"/>
                    </a:lnTo>
                    <a:lnTo>
                      <a:pt x="93" y="272"/>
                    </a:lnTo>
                    <a:lnTo>
                      <a:pt x="95" y="272"/>
                    </a:lnTo>
                    <a:lnTo>
                      <a:pt x="96" y="266"/>
                    </a:lnTo>
                    <a:lnTo>
                      <a:pt x="99" y="262"/>
                    </a:lnTo>
                    <a:lnTo>
                      <a:pt x="106" y="264"/>
                    </a:lnTo>
                    <a:lnTo>
                      <a:pt x="105" y="267"/>
                    </a:lnTo>
                    <a:lnTo>
                      <a:pt x="105" y="275"/>
                    </a:lnTo>
                    <a:lnTo>
                      <a:pt x="109" y="279"/>
                    </a:lnTo>
                    <a:lnTo>
                      <a:pt x="112" y="276"/>
                    </a:lnTo>
                    <a:lnTo>
                      <a:pt x="114" y="270"/>
                    </a:lnTo>
                    <a:lnTo>
                      <a:pt x="118" y="269"/>
                    </a:lnTo>
                    <a:lnTo>
                      <a:pt x="120" y="270"/>
                    </a:lnTo>
                    <a:lnTo>
                      <a:pt x="121" y="266"/>
                    </a:lnTo>
                    <a:lnTo>
                      <a:pt x="124" y="263"/>
                    </a:lnTo>
                    <a:lnTo>
                      <a:pt x="127" y="260"/>
                    </a:lnTo>
                    <a:lnTo>
                      <a:pt x="128" y="266"/>
                    </a:lnTo>
                    <a:lnTo>
                      <a:pt x="131" y="270"/>
                    </a:lnTo>
                    <a:lnTo>
                      <a:pt x="136" y="266"/>
                    </a:lnTo>
                    <a:lnTo>
                      <a:pt x="138" y="259"/>
                    </a:lnTo>
                    <a:lnTo>
                      <a:pt x="144" y="260"/>
                    </a:lnTo>
                    <a:lnTo>
                      <a:pt x="146" y="264"/>
                    </a:lnTo>
                    <a:lnTo>
                      <a:pt x="149" y="266"/>
                    </a:lnTo>
                    <a:lnTo>
                      <a:pt x="151" y="266"/>
                    </a:lnTo>
                    <a:lnTo>
                      <a:pt x="170" y="270"/>
                    </a:lnTo>
                    <a:lnTo>
                      <a:pt x="172" y="276"/>
                    </a:lnTo>
                    <a:lnTo>
                      <a:pt x="175" y="278"/>
                    </a:lnTo>
                    <a:lnTo>
                      <a:pt x="175" y="279"/>
                    </a:lnTo>
                    <a:lnTo>
                      <a:pt x="175" y="275"/>
                    </a:lnTo>
                    <a:lnTo>
                      <a:pt x="175" y="275"/>
                    </a:lnTo>
                    <a:lnTo>
                      <a:pt x="185" y="282"/>
                    </a:lnTo>
                    <a:lnTo>
                      <a:pt x="188" y="282"/>
                    </a:lnTo>
                    <a:lnTo>
                      <a:pt x="189" y="285"/>
                    </a:lnTo>
                    <a:lnTo>
                      <a:pt x="188" y="291"/>
                    </a:lnTo>
                    <a:lnTo>
                      <a:pt x="192" y="291"/>
                    </a:lnTo>
                    <a:lnTo>
                      <a:pt x="195" y="286"/>
                    </a:lnTo>
                    <a:lnTo>
                      <a:pt x="196" y="292"/>
                    </a:lnTo>
                    <a:lnTo>
                      <a:pt x="198" y="292"/>
                    </a:lnTo>
                    <a:lnTo>
                      <a:pt x="199" y="295"/>
                    </a:lnTo>
                    <a:lnTo>
                      <a:pt x="204" y="294"/>
                    </a:lnTo>
                    <a:lnTo>
                      <a:pt x="207" y="301"/>
                    </a:lnTo>
                    <a:lnTo>
                      <a:pt x="208" y="304"/>
                    </a:lnTo>
                    <a:lnTo>
                      <a:pt x="208" y="304"/>
                    </a:lnTo>
                    <a:lnTo>
                      <a:pt x="208" y="307"/>
                    </a:lnTo>
                    <a:lnTo>
                      <a:pt x="205" y="315"/>
                    </a:lnTo>
                    <a:lnTo>
                      <a:pt x="208" y="312"/>
                    </a:lnTo>
                    <a:lnTo>
                      <a:pt x="208" y="315"/>
                    </a:lnTo>
                    <a:lnTo>
                      <a:pt x="208" y="317"/>
                    </a:lnTo>
                    <a:lnTo>
                      <a:pt x="211" y="323"/>
                    </a:lnTo>
                    <a:lnTo>
                      <a:pt x="211" y="328"/>
                    </a:lnTo>
                    <a:lnTo>
                      <a:pt x="214" y="331"/>
                    </a:lnTo>
                    <a:lnTo>
                      <a:pt x="227" y="341"/>
                    </a:lnTo>
                    <a:lnTo>
                      <a:pt x="228" y="344"/>
                    </a:lnTo>
                    <a:lnTo>
                      <a:pt x="226" y="346"/>
                    </a:lnTo>
                    <a:lnTo>
                      <a:pt x="226" y="347"/>
                    </a:lnTo>
                    <a:lnTo>
                      <a:pt x="226" y="350"/>
                    </a:lnTo>
                    <a:lnTo>
                      <a:pt x="230" y="352"/>
                    </a:lnTo>
                    <a:lnTo>
                      <a:pt x="237" y="362"/>
                    </a:lnTo>
                    <a:lnTo>
                      <a:pt x="236" y="363"/>
                    </a:lnTo>
                    <a:lnTo>
                      <a:pt x="228" y="365"/>
                    </a:lnTo>
                    <a:lnTo>
                      <a:pt x="234" y="366"/>
                    </a:lnTo>
                    <a:lnTo>
                      <a:pt x="237" y="366"/>
                    </a:lnTo>
                    <a:lnTo>
                      <a:pt x="237" y="369"/>
                    </a:lnTo>
                    <a:lnTo>
                      <a:pt x="231" y="369"/>
                    </a:lnTo>
                    <a:lnTo>
                      <a:pt x="237" y="373"/>
                    </a:lnTo>
                    <a:lnTo>
                      <a:pt x="239" y="375"/>
                    </a:lnTo>
                    <a:lnTo>
                      <a:pt x="237" y="385"/>
                    </a:lnTo>
                    <a:lnTo>
                      <a:pt x="240" y="385"/>
                    </a:lnTo>
                    <a:lnTo>
                      <a:pt x="242" y="387"/>
                    </a:lnTo>
                    <a:lnTo>
                      <a:pt x="239" y="391"/>
                    </a:lnTo>
                    <a:lnTo>
                      <a:pt x="244" y="395"/>
                    </a:lnTo>
                    <a:lnTo>
                      <a:pt x="243" y="401"/>
                    </a:lnTo>
                    <a:lnTo>
                      <a:pt x="244" y="403"/>
                    </a:lnTo>
                    <a:lnTo>
                      <a:pt x="242" y="401"/>
                    </a:lnTo>
                    <a:lnTo>
                      <a:pt x="242" y="407"/>
                    </a:lnTo>
                    <a:lnTo>
                      <a:pt x="247" y="411"/>
                    </a:lnTo>
                    <a:lnTo>
                      <a:pt x="247" y="416"/>
                    </a:lnTo>
                    <a:lnTo>
                      <a:pt x="246" y="421"/>
                    </a:lnTo>
                    <a:lnTo>
                      <a:pt x="249" y="420"/>
                    </a:lnTo>
                    <a:lnTo>
                      <a:pt x="253" y="417"/>
                    </a:lnTo>
                    <a:lnTo>
                      <a:pt x="252" y="420"/>
                    </a:lnTo>
                    <a:lnTo>
                      <a:pt x="249" y="426"/>
                    </a:lnTo>
                    <a:lnTo>
                      <a:pt x="252" y="427"/>
                    </a:lnTo>
                    <a:lnTo>
                      <a:pt x="249" y="430"/>
                    </a:lnTo>
                    <a:lnTo>
                      <a:pt x="249" y="433"/>
                    </a:lnTo>
                    <a:lnTo>
                      <a:pt x="246" y="434"/>
                    </a:lnTo>
                    <a:lnTo>
                      <a:pt x="259" y="440"/>
                    </a:lnTo>
                    <a:lnTo>
                      <a:pt x="262" y="445"/>
                    </a:lnTo>
                    <a:lnTo>
                      <a:pt x="260" y="449"/>
                    </a:lnTo>
                    <a:lnTo>
                      <a:pt x="259" y="450"/>
                    </a:lnTo>
                    <a:lnTo>
                      <a:pt x="260" y="464"/>
                    </a:lnTo>
                    <a:lnTo>
                      <a:pt x="257" y="464"/>
                    </a:lnTo>
                    <a:lnTo>
                      <a:pt x="259" y="468"/>
                    </a:lnTo>
                    <a:lnTo>
                      <a:pt x="257" y="471"/>
                    </a:lnTo>
                    <a:lnTo>
                      <a:pt x="256" y="474"/>
                    </a:lnTo>
                    <a:lnTo>
                      <a:pt x="250" y="482"/>
                    </a:lnTo>
                    <a:lnTo>
                      <a:pt x="247" y="484"/>
                    </a:lnTo>
                    <a:lnTo>
                      <a:pt x="252" y="488"/>
                    </a:lnTo>
                    <a:lnTo>
                      <a:pt x="257" y="485"/>
                    </a:lnTo>
                    <a:lnTo>
                      <a:pt x="252" y="494"/>
                    </a:lnTo>
                    <a:lnTo>
                      <a:pt x="247" y="496"/>
                    </a:lnTo>
                    <a:lnTo>
                      <a:pt x="244" y="500"/>
                    </a:lnTo>
                    <a:lnTo>
                      <a:pt x="250" y="511"/>
                    </a:lnTo>
                    <a:lnTo>
                      <a:pt x="253" y="509"/>
                    </a:lnTo>
                    <a:lnTo>
                      <a:pt x="256" y="511"/>
                    </a:lnTo>
                    <a:lnTo>
                      <a:pt x="262" y="514"/>
                    </a:lnTo>
                    <a:lnTo>
                      <a:pt x="269" y="510"/>
                    </a:lnTo>
                    <a:lnTo>
                      <a:pt x="269" y="506"/>
                    </a:lnTo>
                    <a:lnTo>
                      <a:pt x="266" y="501"/>
                    </a:lnTo>
                    <a:lnTo>
                      <a:pt x="268" y="498"/>
                    </a:lnTo>
                    <a:lnTo>
                      <a:pt x="271" y="501"/>
                    </a:lnTo>
                    <a:lnTo>
                      <a:pt x="272" y="498"/>
                    </a:lnTo>
                    <a:lnTo>
                      <a:pt x="271" y="496"/>
                    </a:lnTo>
                    <a:lnTo>
                      <a:pt x="275" y="493"/>
                    </a:lnTo>
                    <a:lnTo>
                      <a:pt x="276" y="485"/>
                    </a:lnTo>
                    <a:lnTo>
                      <a:pt x="281" y="494"/>
                    </a:lnTo>
                    <a:lnTo>
                      <a:pt x="284" y="490"/>
                    </a:lnTo>
                    <a:lnTo>
                      <a:pt x="282" y="496"/>
                    </a:lnTo>
                    <a:lnTo>
                      <a:pt x="282" y="498"/>
                    </a:lnTo>
                    <a:lnTo>
                      <a:pt x="287" y="501"/>
                    </a:lnTo>
                    <a:lnTo>
                      <a:pt x="287" y="501"/>
                    </a:lnTo>
                    <a:lnTo>
                      <a:pt x="289" y="501"/>
                    </a:lnTo>
                    <a:lnTo>
                      <a:pt x="300" y="500"/>
                    </a:lnTo>
                    <a:lnTo>
                      <a:pt x="297" y="504"/>
                    </a:lnTo>
                    <a:lnTo>
                      <a:pt x="287" y="507"/>
                    </a:lnTo>
                    <a:lnTo>
                      <a:pt x="284" y="511"/>
                    </a:lnTo>
                    <a:lnTo>
                      <a:pt x="291" y="513"/>
                    </a:lnTo>
                    <a:lnTo>
                      <a:pt x="300" y="510"/>
                    </a:lnTo>
                    <a:lnTo>
                      <a:pt x="294" y="513"/>
                    </a:lnTo>
                    <a:lnTo>
                      <a:pt x="292" y="519"/>
                    </a:lnTo>
                    <a:lnTo>
                      <a:pt x="289" y="523"/>
                    </a:lnTo>
                    <a:lnTo>
                      <a:pt x="302" y="514"/>
                    </a:lnTo>
                    <a:lnTo>
                      <a:pt x="295" y="525"/>
                    </a:lnTo>
                    <a:lnTo>
                      <a:pt x="307" y="523"/>
                    </a:lnTo>
                    <a:lnTo>
                      <a:pt x="305" y="526"/>
                    </a:lnTo>
                    <a:lnTo>
                      <a:pt x="307" y="529"/>
                    </a:lnTo>
                    <a:lnTo>
                      <a:pt x="307" y="530"/>
                    </a:lnTo>
                    <a:lnTo>
                      <a:pt x="300" y="527"/>
                    </a:lnTo>
                    <a:lnTo>
                      <a:pt x="302" y="532"/>
                    </a:lnTo>
                    <a:lnTo>
                      <a:pt x="311" y="535"/>
                    </a:lnTo>
                    <a:lnTo>
                      <a:pt x="314" y="539"/>
                    </a:lnTo>
                    <a:lnTo>
                      <a:pt x="316" y="543"/>
                    </a:lnTo>
                    <a:lnTo>
                      <a:pt x="311" y="541"/>
                    </a:lnTo>
                    <a:lnTo>
                      <a:pt x="314" y="543"/>
                    </a:lnTo>
                    <a:lnTo>
                      <a:pt x="314" y="546"/>
                    </a:lnTo>
                    <a:lnTo>
                      <a:pt x="311" y="546"/>
                    </a:lnTo>
                    <a:lnTo>
                      <a:pt x="313" y="549"/>
                    </a:lnTo>
                    <a:lnTo>
                      <a:pt x="308" y="548"/>
                    </a:lnTo>
                    <a:lnTo>
                      <a:pt x="308" y="551"/>
                    </a:lnTo>
                    <a:lnTo>
                      <a:pt x="311" y="554"/>
                    </a:lnTo>
                    <a:lnTo>
                      <a:pt x="317" y="552"/>
                    </a:lnTo>
                    <a:lnTo>
                      <a:pt x="317" y="555"/>
                    </a:lnTo>
                    <a:lnTo>
                      <a:pt x="317" y="558"/>
                    </a:lnTo>
                    <a:lnTo>
                      <a:pt x="302" y="554"/>
                    </a:lnTo>
                    <a:lnTo>
                      <a:pt x="287" y="541"/>
                    </a:lnTo>
                    <a:lnTo>
                      <a:pt x="269" y="538"/>
                    </a:lnTo>
                    <a:lnTo>
                      <a:pt x="266" y="539"/>
                    </a:lnTo>
                    <a:lnTo>
                      <a:pt x="262" y="543"/>
                    </a:lnTo>
                    <a:lnTo>
                      <a:pt x="271" y="557"/>
                    </a:lnTo>
                    <a:lnTo>
                      <a:pt x="287" y="562"/>
                    </a:lnTo>
                    <a:lnTo>
                      <a:pt x="292" y="570"/>
                    </a:lnTo>
                    <a:lnTo>
                      <a:pt x="305" y="573"/>
                    </a:lnTo>
                    <a:lnTo>
                      <a:pt x="307" y="570"/>
                    </a:lnTo>
                    <a:lnTo>
                      <a:pt x="311" y="571"/>
                    </a:lnTo>
                    <a:lnTo>
                      <a:pt x="313" y="573"/>
                    </a:lnTo>
                    <a:lnTo>
                      <a:pt x="320" y="573"/>
                    </a:lnTo>
                    <a:lnTo>
                      <a:pt x="320" y="575"/>
                    </a:lnTo>
                    <a:lnTo>
                      <a:pt x="321" y="580"/>
                    </a:lnTo>
                    <a:lnTo>
                      <a:pt x="317" y="581"/>
                    </a:lnTo>
                    <a:lnTo>
                      <a:pt x="317" y="586"/>
                    </a:lnTo>
                    <a:lnTo>
                      <a:pt x="314" y="589"/>
                    </a:lnTo>
                    <a:lnTo>
                      <a:pt x="316" y="591"/>
                    </a:lnTo>
                    <a:lnTo>
                      <a:pt x="316" y="593"/>
                    </a:lnTo>
                    <a:lnTo>
                      <a:pt x="313" y="594"/>
                    </a:lnTo>
                    <a:lnTo>
                      <a:pt x="313" y="602"/>
                    </a:lnTo>
                    <a:lnTo>
                      <a:pt x="316" y="605"/>
                    </a:lnTo>
                    <a:lnTo>
                      <a:pt x="320" y="600"/>
                    </a:lnTo>
                    <a:lnTo>
                      <a:pt x="323" y="605"/>
                    </a:lnTo>
                    <a:lnTo>
                      <a:pt x="318" y="607"/>
                    </a:lnTo>
                    <a:lnTo>
                      <a:pt x="320" y="610"/>
                    </a:lnTo>
                    <a:lnTo>
                      <a:pt x="317" y="610"/>
                    </a:lnTo>
                    <a:lnTo>
                      <a:pt x="316" y="607"/>
                    </a:lnTo>
                    <a:lnTo>
                      <a:pt x="311" y="606"/>
                    </a:lnTo>
                    <a:lnTo>
                      <a:pt x="310" y="609"/>
                    </a:lnTo>
                    <a:lnTo>
                      <a:pt x="310" y="616"/>
                    </a:lnTo>
                    <a:lnTo>
                      <a:pt x="311" y="618"/>
                    </a:lnTo>
                    <a:lnTo>
                      <a:pt x="308" y="622"/>
                    </a:lnTo>
                    <a:lnTo>
                      <a:pt x="310" y="623"/>
                    </a:lnTo>
                    <a:lnTo>
                      <a:pt x="313" y="622"/>
                    </a:lnTo>
                    <a:lnTo>
                      <a:pt x="311" y="625"/>
                    </a:lnTo>
                    <a:lnTo>
                      <a:pt x="310" y="629"/>
                    </a:lnTo>
                    <a:lnTo>
                      <a:pt x="304" y="631"/>
                    </a:lnTo>
                    <a:lnTo>
                      <a:pt x="295" y="629"/>
                    </a:lnTo>
                    <a:lnTo>
                      <a:pt x="289" y="631"/>
                    </a:lnTo>
                    <a:lnTo>
                      <a:pt x="289" y="634"/>
                    </a:lnTo>
                    <a:lnTo>
                      <a:pt x="285" y="636"/>
                    </a:lnTo>
                    <a:lnTo>
                      <a:pt x="287" y="639"/>
                    </a:lnTo>
                    <a:lnTo>
                      <a:pt x="285" y="639"/>
                    </a:lnTo>
                    <a:lnTo>
                      <a:pt x="287" y="644"/>
                    </a:lnTo>
                    <a:lnTo>
                      <a:pt x="289" y="641"/>
                    </a:lnTo>
                    <a:lnTo>
                      <a:pt x="292" y="644"/>
                    </a:lnTo>
                    <a:lnTo>
                      <a:pt x="307" y="639"/>
                    </a:lnTo>
                    <a:lnTo>
                      <a:pt x="304" y="635"/>
                    </a:lnTo>
                    <a:lnTo>
                      <a:pt x="310" y="635"/>
                    </a:lnTo>
                    <a:lnTo>
                      <a:pt x="310" y="636"/>
                    </a:lnTo>
                    <a:lnTo>
                      <a:pt x="308" y="639"/>
                    </a:lnTo>
                    <a:lnTo>
                      <a:pt x="305" y="641"/>
                    </a:lnTo>
                    <a:lnTo>
                      <a:pt x="311" y="644"/>
                    </a:lnTo>
                    <a:lnTo>
                      <a:pt x="307" y="644"/>
                    </a:lnTo>
                    <a:lnTo>
                      <a:pt x="308" y="645"/>
                    </a:lnTo>
                    <a:lnTo>
                      <a:pt x="313" y="648"/>
                    </a:lnTo>
                    <a:lnTo>
                      <a:pt x="311" y="650"/>
                    </a:lnTo>
                    <a:lnTo>
                      <a:pt x="308" y="648"/>
                    </a:lnTo>
                    <a:lnTo>
                      <a:pt x="304" y="650"/>
                    </a:lnTo>
                    <a:lnTo>
                      <a:pt x="300" y="650"/>
                    </a:lnTo>
                    <a:lnTo>
                      <a:pt x="289" y="645"/>
                    </a:lnTo>
                    <a:lnTo>
                      <a:pt x="285" y="647"/>
                    </a:lnTo>
                    <a:lnTo>
                      <a:pt x="285" y="648"/>
                    </a:lnTo>
                    <a:lnTo>
                      <a:pt x="279" y="645"/>
                    </a:lnTo>
                    <a:lnTo>
                      <a:pt x="278" y="648"/>
                    </a:lnTo>
                    <a:lnTo>
                      <a:pt x="282" y="648"/>
                    </a:lnTo>
                    <a:lnTo>
                      <a:pt x="287" y="652"/>
                    </a:lnTo>
                    <a:lnTo>
                      <a:pt x="285" y="652"/>
                    </a:lnTo>
                    <a:lnTo>
                      <a:pt x="281" y="651"/>
                    </a:lnTo>
                    <a:lnTo>
                      <a:pt x="284" y="654"/>
                    </a:lnTo>
                    <a:lnTo>
                      <a:pt x="279" y="654"/>
                    </a:lnTo>
                    <a:lnTo>
                      <a:pt x="276" y="657"/>
                    </a:lnTo>
                    <a:lnTo>
                      <a:pt x="276" y="664"/>
                    </a:lnTo>
                    <a:lnTo>
                      <a:pt x="276" y="664"/>
                    </a:lnTo>
                    <a:lnTo>
                      <a:pt x="275" y="668"/>
                    </a:lnTo>
                    <a:lnTo>
                      <a:pt x="276" y="670"/>
                    </a:lnTo>
                    <a:lnTo>
                      <a:pt x="278" y="668"/>
                    </a:lnTo>
                    <a:lnTo>
                      <a:pt x="273" y="673"/>
                    </a:lnTo>
                    <a:lnTo>
                      <a:pt x="273" y="676"/>
                    </a:lnTo>
                    <a:lnTo>
                      <a:pt x="272" y="677"/>
                    </a:lnTo>
                    <a:lnTo>
                      <a:pt x="271" y="680"/>
                    </a:lnTo>
                    <a:lnTo>
                      <a:pt x="271" y="686"/>
                    </a:lnTo>
                    <a:lnTo>
                      <a:pt x="275" y="690"/>
                    </a:lnTo>
                    <a:lnTo>
                      <a:pt x="275" y="693"/>
                    </a:lnTo>
                    <a:lnTo>
                      <a:pt x="279" y="692"/>
                    </a:lnTo>
                    <a:lnTo>
                      <a:pt x="284" y="693"/>
                    </a:lnTo>
                    <a:lnTo>
                      <a:pt x="282" y="698"/>
                    </a:lnTo>
                    <a:lnTo>
                      <a:pt x="281" y="699"/>
                    </a:lnTo>
                    <a:lnTo>
                      <a:pt x="278" y="703"/>
                    </a:lnTo>
                    <a:lnTo>
                      <a:pt x="282" y="706"/>
                    </a:lnTo>
                    <a:lnTo>
                      <a:pt x="276" y="706"/>
                    </a:lnTo>
                    <a:lnTo>
                      <a:pt x="275" y="709"/>
                    </a:lnTo>
                    <a:lnTo>
                      <a:pt x="276" y="715"/>
                    </a:lnTo>
                    <a:lnTo>
                      <a:pt x="279" y="715"/>
                    </a:lnTo>
                    <a:lnTo>
                      <a:pt x="276" y="718"/>
                    </a:lnTo>
                    <a:lnTo>
                      <a:pt x="278" y="719"/>
                    </a:lnTo>
                    <a:lnTo>
                      <a:pt x="282" y="719"/>
                    </a:lnTo>
                    <a:lnTo>
                      <a:pt x="285" y="718"/>
                    </a:lnTo>
                    <a:lnTo>
                      <a:pt x="278" y="724"/>
                    </a:lnTo>
                    <a:lnTo>
                      <a:pt x="278" y="727"/>
                    </a:lnTo>
                    <a:lnTo>
                      <a:pt x="282" y="728"/>
                    </a:lnTo>
                    <a:lnTo>
                      <a:pt x="282" y="729"/>
                    </a:lnTo>
                    <a:lnTo>
                      <a:pt x="287" y="728"/>
                    </a:lnTo>
                    <a:lnTo>
                      <a:pt x="285" y="729"/>
                    </a:lnTo>
                    <a:lnTo>
                      <a:pt x="284" y="732"/>
                    </a:lnTo>
                    <a:lnTo>
                      <a:pt x="284" y="734"/>
                    </a:lnTo>
                    <a:lnTo>
                      <a:pt x="282" y="737"/>
                    </a:lnTo>
                    <a:lnTo>
                      <a:pt x="285" y="735"/>
                    </a:lnTo>
                    <a:lnTo>
                      <a:pt x="288" y="734"/>
                    </a:lnTo>
                    <a:lnTo>
                      <a:pt x="288" y="743"/>
                    </a:lnTo>
                    <a:lnTo>
                      <a:pt x="292" y="743"/>
                    </a:lnTo>
                    <a:lnTo>
                      <a:pt x="292" y="744"/>
                    </a:lnTo>
                    <a:lnTo>
                      <a:pt x="295" y="744"/>
                    </a:lnTo>
                    <a:lnTo>
                      <a:pt x="291" y="748"/>
                    </a:lnTo>
                    <a:lnTo>
                      <a:pt x="292" y="753"/>
                    </a:lnTo>
                    <a:lnTo>
                      <a:pt x="295" y="748"/>
                    </a:lnTo>
                    <a:lnTo>
                      <a:pt x="295" y="753"/>
                    </a:lnTo>
                    <a:lnTo>
                      <a:pt x="294" y="754"/>
                    </a:lnTo>
                    <a:lnTo>
                      <a:pt x="294" y="757"/>
                    </a:lnTo>
                    <a:lnTo>
                      <a:pt x="295" y="759"/>
                    </a:lnTo>
                    <a:lnTo>
                      <a:pt x="297" y="766"/>
                    </a:lnTo>
                    <a:lnTo>
                      <a:pt x="298" y="763"/>
                    </a:lnTo>
                    <a:lnTo>
                      <a:pt x="298" y="764"/>
                    </a:lnTo>
                    <a:lnTo>
                      <a:pt x="300" y="764"/>
                    </a:lnTo>
                    <a:lnTo>
                      <a:pt x="297" y="769"/>
                    </a:lnTo>
                    <a:lnTo>
                      <a:pt x="297" y="785"/>
                    </a:lnTo>
                    <a:lnTo>
                      <a:pt x="298" y="783"/>
                    </a:lnTo>
                    <a:lnTo>
                      <a:pt x="302" y="783"/>
                    </a:lnTo>
                    <a:lnTo>
                      <a:pt x="308" y="770"/>
                    </a:lnTo>
                    <a:lnTo>
                      <a:pt x="311" y="770"/>
                    </a:lnTo>
                    <a:lnTo>
                      <a:pt x="314" y="769"/>
                    </a:lnTo>
                    <a:lnTo>
                      <a:pt x="317" y="764"/>
                    </a:lnTo>
                    <a:lnTo>
                      <a:pt x="321" y="767"/>
                    </a:lnTo>
                    <a:lnTo>
                      <a:pt x="324" y="767"/>
                    </a:lnTo>
                    <a:lnTo>
                      <a:pt x="326" y="772"/>
                    </a:lnTo>
                    <a:lnTo>
                      <a:pt x="318" y="769"/>
                    </a:lnTo>
                    <a:lnTo>
                      <a:pt x="316" y="772"/>
                    </a:lnTo>
                    <a:lnTo>
                      <a:pt x="316" y="775"/>
                    </a:lnTo>
                    <a:lnTo>
                      <a:pt x="318" y="776"/>
                    </a:lnTo>
                    <a:lnTo>
                      <a:pt x="324" y="776"/>
                    </a:lnTo>
                    <a:lnTo>
                      <a:pt x="313" y="780"/>
                    </a:lnTo>
                    <a:lnTo>
                      <a:pt x="313" y="785"/>
                    </a:lnTo>
                    <a:lnTo>
                      <a:pt x="310" y="786"/>
                    </a:lnTo>
                    <a:lnTo>
                      <a:pt x="305" y="786"/>
                    </a:lnTo>
                    <a:lnTo>
                      <a:pt x="304" y="789"/>
                    </a:lnTo>
                    <a:lnTo>
                      <a:pt x="305" y="795"/>
                    </a:lnTo>
                    <a:lnTo>
                      <a:pt x="305" y="801"/>
                    </a:lnTo>
                    <a:lnTo>
                      <a:pt x="308" y="801"/>
                    </a:lnTo>
                    <a:lnTo>
                      <a:pt x="305" y="804"/>
                    </a:lnTo>
                    <a:lnTo>
                      <a:pt x="308" y="811"/>
                    </a:lnTo>
                    <a:lnTo>
                      <a:pt x="310" y="809"/>
                    </a:lnTo>
                    <a:lnTo>
                      <a:pt x="311" y="815"/>
                    </a:lnTo>
                    <a:lnTo>
                      <a:pt x="314" y="821"/>
                    </a:lnTo>
                    <a:lnTo>
                      <a:pt x="316" y="821"/>
                    </a:lnTo>
                    <a:lnTo>
                      <a:pt x="316" y="822"/>
                    </a:lnTo>
                    <a:lnTo>
                      <a:pt x="317" y="824"/>
                    </a:lnTo>
                    <a:lnTo>
                      <a:pt x="320" y="824"/>
                    </a:lnTo>
                    <a:lnTo>
                      <a:pt x="321" y="828"/>
                    </a:lnTo>
                    <a:lnTo>
                      <a:pt x="321" y="830"/>
                    </a:lnTo>
                    <a:lnTo>
                      <a:pt x="323" y="833"/>
                    </a:lnTo>
                    <a:lnTo>
                      <a:pt x="324" y="831"/>
                    </a:lnTo>
                    <a:lnTo>
                      <a:pt x="326" y="830"/>
                    </a:lnTo>
                    <a:lnTo>
                      <a:pt x="324" y="834"/>
                    </a:lnTo>
                    <a:lnTo>
                      <a:pt x="324" y="838"/>
                    </a:lnTo>
                    <a:lnTo>
                      <a:pt x="324" y="840"/>
                    </a:lnTo>
                    <a:lnTo>
                      <a:pt x="327" y="840"/>
                    </a:lnTo>
                    <a:lnTo>
                      <a:pt x="329" y="841"/>
                    </a:lnTo>
                    <a:lnTo>
                      <a:pt x="329" y="843"/>
                    </a:lnTo>
                    <a:lnTo>
                      <a:pt x="329" y="846"/>
                    </a:lnTo>
                    <a:lnTo>
                      <a:pt x="332" y="847"/>
                    </a:lnTo>
                    <a:lnTo>
                      <a:pt x="333" y="847"/>
                    </a:lnTo>
                    <a:lnTo>
                      <a:pt x="332" y="849"/>
                    </a:lnTo>
                    <a:lnTo>
                      <a:pt x="332" y="850"/>
                    </a:lnTo>
                    <a:lnTo>
                      <a:pt x="334" y="850"/>
                    </a:lnTo>
                    <a:lnTo>
                      <a:pt x="333" y="852"/>
                    </a:lnTo>
                    <a:lnTo>
                      <a:pt x="330" y="852"/>
                    </a:lnTo>
                    <a:lnTo>
                      <a:pt x="332" y="853"/>
                    </a:lnTo>
                    <a:lnTo>
                      <a:pt x="332" y="854"/>
                    </a:lnTo>
                    <a:lnTo>
                      <a:pt x="334" y="854"/>
                    </a:lnTo>
                    <a:lnTo>
                      <a:pt x="340" y="850"/>
                    </a:lnTo>
                    <a:lnTo>
                      <a:pt x="340" y="852"/>
                    </a:lnTo>
                    <a:lnTo>
                      <a:pt x="342" y="853"/>
                    </a:lnTo>
                    <a:lnTo>
                      <a:pt x="334" y="857"/>
                    </a:lnTo>
                    <a:lnTo>
                      <a:pt x="336" y="859"/>
                    </a:lnTo>
                    <a:lnTo>
                      <a:pt x="337" y="860"/>
                    </a:lnTo>
                    <a:lnTo>
                      <a:pt x="340" y="862"/>
                    </a:lnTo>
                    <a:lnTo>
                      <a:pt x="340" y="863"/>
                    </a:lnTo>
                    <a:lnTo>
                      <a:pt x="342" y="865"/>
                    </a:lnTo>
                    <a:lnTo>
                      <a:pt x="340" y="866"/>
                    </a:lnTo>
                    <a:lnTo>
                      <a:pt x="336" y="868"/>
                    </a:lnTo>
                    <a:lnTo>
                      <a:pt x="337" y="869"/>
                    </a:lnTo>
                    <a:lnTo>
                      <a:pt x="340" y="870"/>
                    </a:lnTo>
                    <a:lnTo>
                      <a:pt x="347" y="868"/>
                    </a:lnTo>
                    <a:lnTo>
                      <a:pt x="349" y="868"/>
                    </a:lnTo>
                    <a:lnTo>
                      <a:pt x="352" y="869"/>
                    </a:lnTo>
                    <a:lnTo>
                      <a:pt x="340" y="872"/>
                    </a:lnTo>
                    <a:lnTo>
                      <a:pt x="342" y="873"/>
                    </a:lnTo>
                    <a:lnTo>
                      <a:pt x="343" y="873"/>
                    </a:lnTo>
                    <a:lnTo>
                      <a:pt x="346" y="873"/>
                    </a:lnTo>
                    <a:lnTo>
                      <a:pt x="347" y="873"/>
                    </a:lnTo>
                    <a:lnTo>
                      <a:pt x="346" y="875"/>
                    </a:lnTo>
                    <a:lnTo>
                      <a:pt x="346" y="876"/>
                    </a:lnTo>
                    <a:lnTo>
                      <a:pt x="347" y="878"/>
                    </a:lnTo>
                    <a:lnTo>
                      <a:pt x="349" y="878"/>
                    </a:lnTo>
                    <a:lnTo>
                      <a:pt x="352" y="876"/>
                    </a:lnTo>
                    <a:lnTo>
                      <a:pt x="353" y="878"/>
                    </a:lnTo>
                    <a:lnTo>
                      <a:pt x="353" y="881"/>
                    </a:lnTo>
                    <a:lnTo>
                      <a:pt x="353" y="881"/>
                    </a:lnTo>
                    <a:lnTo>
                      <a:pt x="356" y="881"/>
                    </a:lnTo>
                    <a:lnTo>
                      <a:pt x="359" y="882"/>
                    </a:lnTo>
                    <a:lnTo>
                      <a:pt x="359" y="882"/>
                    </a:lnTo>
                    <a:lnTo>
                      <a:pt x="361" y="882"/>
                    </a:lnTo>
                    <a:lnTo>
                      <a:pt x="361" y="884"/>
                    </a:lnTo>
                    <a:lnTo>
                      <a:pt x="353" y="888"/>
                    </a:lnTo>
                    <a:lnTo>
                      <a:pt x="353" y="889"/>
                    </a:lnTo>
                    <a:lnTo>
                      <a:pt x="355" y="888"/>
                    </a:lnTo>
                    <a:lnTo>
                      <a:pt x="358" y="889"/>
                    </a:lnTo>
                    <a:lnTo>
                      <a:pt x="363" y="888"/>
                    </a:lnTo>
                    <a:lnTo>
                      <a:pt x="362" y="886"/>
                    </a:lnTo>
                    <a:lnTo>
                      <a:pt x="362" y="885"/>
                    </a:lnTo>
                    <a:lnTo>
                      <a:pt x="363" y="885"/>
                    </a:lnTo>
                    <a:lnTo>
                      <a:pt x="366" y="886"/>
                    </a:lnTo>
                    <a:lnTo>
                      <a:pt x="368" y="885"/>
                    </a:lnTo>
                    <a:lnTo>
                      <a:pt x="374" y="886"/>
                    </a:lnTo>
                    <a:lnTo>
                      <a:pt x="379" y="882"/>
                    </a:lnTo>
                    <a:lnTo>
                      <a:pt x="379" y="884"/>
                    </a:lnTo>
                    <a:lnTo>
                      <a:pt x="384" y="882"/>
                    </a:lnTo>
                    <a:lnTo>
                      <a:pt x="384" y="884"/>
                    </a:lnTo>
                    <a:lnTo>
                      <a:pt x="384" y="885"/>
                    </a:lnTo>
                    <a:lnTo>
                      <a:pt x="385" y="886"/>
                    </a:lnTo>
                    <a:lnTo>
                      <a:pt x="388" y="885"/>
                    </a:lnTo>
                    <a:lnTo>
                      <a:pt x="388" y="886"/>
                    </a:lnTo>
                    <a:lnTo>
                      <a:pt x="381" y="889"/>
                    </a:lnTo>
                    <a:lnTo>
                      <a:pt x="384" y="889"/>
                    </a:lnTo>
                    <a:lnTo>
                      <a:pt x="381" y="891"/>
                    </a:lnTo>
                    <a:lnTo>
                      <a:pt x="382" y="892"/>
                    </a:lnTo>
                    <a:lnTo>
                      <a:pt x="382" y="892"/>
                    </a:lnTo>
                    <a:lnTo>
                      <a:pt x="385" y="891"/>
                    </a:lnTo>
                    <a:lnTo>
                      <a:pt x="387" y="891"/>
                    </a:lnTo>
                    <a:lnTo>
                      <a:pt x="390" y="888"/>
                    </a:lnTo>
                    <a:lnTo>
                      <a:pt x="391" y="885"/>
                    </a:lnTo>
                    <a:lnTo>
                      <a:pt x="393" y="886"/>
                    </a:lnTo>
                    <a:lnTo>
                      <a:pt x="391" y="889"/>
                    </a:lnTo>
                    <a:lnTo>
                      <a:pt x="388" y="891"/>
                    </a:lnTo>
                    <a:lnTo>
                      <a:pt x="387" y="894"/>
                    </a:lnTo>
                    <a:lnTo>
                      <a:pt x="388" y="894"/>
                    </a:lnTo>
                    <a:lnTo>
                      <a:pt x="390" y="899"/>
                    </a:lnTo>
                    <a:lnTo>
                      <a:pt x="393" y="895"/>
                    </a:lnTo>
                    <a:lnTo>
                      <a:pt x="394" y="894"/>
                    </a:lnTo>
                    <a:lnTo>
                      <a:pt x="394" y="894"/>
                    </a:lnTo>
                    <a:lnTo>
                      <a:pt x="394" y="899"/>
                    </a:lnTo>
                    <a:lnTo>
                      <a:pt x="394" y="901"/>
                    </a:lnTo>
                    <a:lnTo>
                      <a:pt x="397" y="899"/>
                    </a:lnTo>
                    <a:lnTo>
                      <a:pt x="398" y="897"/>
                    </a:lnTo>
                    <a:lnTo>
                      <a:pt x="398" y="902"/>
                    </a:lnTo>
                    <a:lnTo>
                      <a:pt x="395" y="907"/>
                    </a:lnTo>
                    <a:lnTo>
                      <a:pt x="395" y="908"/>
                    </a:lnTo>
                    <a:lnTo>
                      <a:pt x="395" y="908"/>
                    </a:lnTo>
                    <a:lnTo>
                      <a:pt x="397" y="910"/>
                    </a:lnTo>
                    <a:lnTo>
                      <a:pt x="397" y="910"/>
                    </a:lnTo>
                    <a:lnTo>
                      <a:pt x="400" y="910"/>
                    </a:lnTo>
                    <a:lnTo>
                      <a:pt x="403" y="913"/>
                    </a:lnTo>
                    <a:lnTo>
                      <a:pt x="406" y="911"/>
                    </a:lnTo>
                    <a:lnTo>
                      <a:pt x="411" y="905"/>
                    </a:lnTo>
                    <a:lnTo>
                      <a:pt x="411" y="908"/>
                    </a:lnTo>
                    <a:lnTo>
                      <a:pt x="424" y="910"/>
                    </a:lnTo>
                    <a:lnTo>
                      <a:pt x="424" y="908"/>
                    </a:lnTo>
                    <a:lnTo>
                      <a:pt x="424" y="907"/>
                    </a:lnTo>
                    <a:lnTo>
                      <a:pt x="424" y="905"/>
                    </a:lnTo>
                    <a:lnTo>
                      <a:pt x="423" y="901"/>
                    </a:lnTo>
                    <a:lnTo>
                      <a:pt x="422" y="901"/>
                    </a:lnTo>
                    <a:lnTo>
                      <a:pt x="417" y="898"/>
                    </a:lnTo>
                    <a:lnTo>
                      <a:pt x="422" y="898"/>
                    </a:lnTo>
                    <a:lnTo>
                      <a:pt x="423" y="898"/>
                    </a:lnTo>
                    <a:lnTo>
                      <a:pt x="424" y="897"/>
                    </a:lnTo>
                    <a:lnTo>
                      <a:pt x="427" y="898"/>
                    </a:lnTo>
                    <a:lnTo>
                      <a:pt x="427" y="897"/>
                    </a:lnTo>
                    <a:lnTo>
                      <a:pt x="429" y="886"/>
                    </a:lnTo>
                    <a:lnTo>
                      <a:pt x="430" y="885"/>
                    </a:lnTo>
                    <a:lnTo>
                      <a:pt x="432" y="876"/>
                    </a:lnTo>
                    <a:lnTo>
                      <a:pt x="430" y="876"/>
                    </a:lnTo>
                    <a:lnTo>
                      <a:pt x="430" y="875"/>
                    </a:lnTo>
                    <a:lnTo>
                      <a:pt x="433" y="873"/>
                    </a:lnTo>
                    <a:lnTo>
                      <a:pt x="435" y="870"/>
                    </a:lnTo>
                    <a:lnTo>
                      <a:pt x="433" y="870"/>
                    </a:lnTo>
                    <a:lnTo>
                      <a:pt x="438" y="862"/>
                    </a:lnTo>
                    <a:lnTo>
                      <a:pt x="439" y="860"/>
                    </a:lnTo>
                    <a:lnTo>
                      <a:pt x="438" y="859"/>
                    </a:lnTo>
                    <a:lnTo>
                      <a:pt x="439" y="856"/>
                    </a:lnTo>
                    <a:lnTo>
                      <a:pt x="438" y="854"/>
                    </a:lnTo>
                    <a:lnTo>
                      <a:pt x="436" y="853"/>
                    </a:lnTo>
                    <a:lnTo>
                      <a:pt x="436" y="841"/>
                    </a:lnTo>
                    <a:lnTo>
                      <a:pt x="435" y="840"/>
                    </a:lnTo>
                    <a:lnTo>
                      <a:pt x="435" y="840"/>
                    </a:lnTo>
                    <a:lnTo>
                      <a:pt x="433" y="836"/>
                    </a:lnTo>
                    <a:lnTo>
                      <a:pt x="429" y="834"/>
                    </a:lnTo>
                    <a:lnTo>
                      <a:pt x="433" y="833"/>
                    </a:lnTo>
                    <a:lnTo>
                      <a:pt x="433" y="831"/>
                    </a:lnTo>
                    <a:lnTo>
                      <a:pt x="433" y="830"/>
                    </a:lnTo>
                    <a:lnTo>
                      <a:pt x="435" y="830"/>
                    </a:lnTo>
                    <a:lnTo>
                      <a:pt x="436" y="828"/>
                    </a:lnTo>
                    <a:lnTo>
                      <a:pt x="438" y="830"/>
                    </a:lnTo>
                    <a:lnTo>
                      <a:pt x="445" y="828"/>
                    </a:lnTo>
                    <a:lnTo>
                      <a:pt x="445" y="827"/>
                    </a:lnTo>
                    <a:lnTo>
                      <a:pt x="448" y="827"/>
                    </a:lnTo>
                    <a:lnTo>
                      <a:pt x="448" y="824"/>
                    </a:lnTo>
                    <a:lnTo>
                      <a:pt x="445" y="824"/>
                    </a:lnTo>
                    <a:lnTo>
                      <a:pt x="439" y="820"/>
                    </a:lnTo>
                    <a:lnTo>
                      <a:pt x="440" y="820"/>
                    </a:lnTo>
                    <a:lnTo>
                      <a:pt x="442" y="821"/>
                    </a:lnTo>
                    <a:lnTo>
                      <a:pt x="443" y="821"/>
                    </a:lnTo>
                    <a:lnTo>
                      <a:pt x="449" y="821"/>
                    </a:lnTo>
                    <a:lnTo>
                      <a:pt x="449" y="820"/>
                    </a:lnTo>
                    <a:lnTo>
                      <a:pt x="446" y="820"/>
                    </a:lnTo>
                    <a:lnTo>
                      <a:pt x="445" y="817"/>
                    </a:lnTo>
                    <a:lnTo>
                      <a:pt x="446" y="817"/>
                    </a:lnTo>
                    <a:lnTo>
                      <a:pt x="448" y="817"/>
                    </a:lnTo>
                    <a:lnTo>
                      <a:pt x="446" y="814"/>
                    </a:lnTo>
                    <a:lnTo>
                      <a:pt x="446" y="814"/>
                    </a:lnTo>
                    <a:lnTo>
                      <a:pt x="449" y="815"/>
                    </a:lnTo>
                    <a:lnTo>
                      <a:pt x="452" y="817"/>
                    </a:lnTo>
                    <a:lnTo>
                      <a:pt x="451" y="814"/>
                    </a:lnTo>
                    <a:lnTo>
                      <a:pt x="453" y="814"/>
                    </a:lnTo>
                    <a:lnTo>
                      <a:pt x="452" y="812"/>
                    </a:lnTo>
                    <a:lnTo>
                      <a:pt x="452" y="809"/>
                    </a:lnTo>
                    <a:lnTo>
                      <a:pt x="453" y="811"/>
                    </a:lnTo>
                    <a:lnTo>
                      <a:pt x="455" y="811"/>
                    </a:lnTo>
                    <a:lnTo>
                      <a:pt x="456" y="809"/>
                    </a:lnTo>
                    <a:lnTo>
                      <a:pt x="456" y="806"/>
                    </a:lnTo>
                    <a:lnTo>
                      <a:pt x="458" y="806"/>
                    </a:lnTo>
                    <a:lnTo>
                      <a:pt x="458" y="804"/>
                    </a:lnTo>
                    <a:lnTo>
                      <a:pt x="456" y="802"/>
                    </a:lnTo>
                    <a:lnTo>
                      <a:pt x="448" y="799"/>
                    </a:lnTo>
                    <a:lnTo>
                      <a:pt x="449" y="798"/>
                    </a:lnTo>
                    <a:lnTo>
                      <a:pt x="456" y="801"/>
                    </a:lnTo>
                    <a:lnTo>
                      <a:pt x="461" y="799"/>
                    </a:lnTo>
                    <a:lnTo>
                      <a:pt x="458" y="792"/>
                    </a:lnTo>
                    <a:lnTo>
                      <a:pt x="459" y="791"/>
                    </a:lnTo>
                    <a:lnTo>
                      <a:pt x="459" y="789"/>
                    </a:lnTo>
                    <a:lnTo>
                      <a:pt x="458" y="786"/>
                    </a:lnTo>
                    <a:lnTo>
                      <a:pt x="448" y="785"/>
                    </a:lnTo>
                    <a:lnTo>
                      <a:pt x="448" y="782"/>
                    </a:lnTo>
                    <a:lnTo>
                      <a:pt x="449" y="782"/>
                    </a:lnTo>
                    <a:lnTo>
                      <a:pt x="455" y="779"/>
                    </a:lnTo>
                    <a:lnTo>
                      <a:pt x="461" y="779"/>
                    </a:lnTo>
                    <a:lnTo>
                      <a:pt x="462" y="780"/>
                    </a:lnTo>
                    <a:lnTo>
                      <a:pt x="464" y="779"/>
                    </a:lnTo>
                    <a:lnTo>
                      <a:pt x="461" y="779"/>
                    </a:lnTo>
                    <a:lnTo>
                      <a:pt x="459" y="776"/>
                    </a:lnTo>
                    <a:lnTo>
                      <a:pt x="458" y="770"/>
                    </a:lnTo>
                    <a:lnTo>
                      <a:pt x="456" y="769"/>
                    </a:lnTo>
                    <a:lnTo>
                      <a:pt x="455" y="764"/>
                    </a:lnTo>
                    <a:lnTo>
                      <a:pt x="453" y="764"/>
                    </a:lnTo>
                    <a:lnTo>
                      <a:pt x="452" y="761"/>
                    </a:lnTo>
                    <a:lnTo>
                      <a:pt x="449" y="761"/>
                    </a:lnTo>
                    <a:lnTo>
                      <a:pt x="452" y="756"/>
                    </a:lnTo>
                    <a:lnTo>
                      <a:pt x="453" y="757"/>
                    </a:lnTo>
                    <a:lnTo>
                      <a:pt x="456" y="757"/>
                    </a:lnTo>
                    <a:lnTo>
                      <a:pt x="459" y="759"/>
                    </a:lnTo>
                    <a:lnTo>
                      <a:pt x="459" y="754"/>
                    </a:lnTo>
                    <a:lnTo>
                      <a:pt x="461" y="756"/>
                    </a:lnTo>
                    <a:lnTo>
                      <a:pt x="462" y="757"/>
                    </a:lnTo>
                    <a:lnTo>
                      <a:pt x="464" y="756"/>
                    </a:lnTo>
                    <a:lnTo>
                      <a:pt x="465" y="759"/>
                    </a:lnTo>
                    <a:lnTo>
                      <a:pt x="467" y="756"/>
                    </a:lnTo>
                    <a:lnTo>
                      <a:pt x="468" y="754"/>
                    </a:lnTo>
                    <a:lnTo>
                      <a:pt x="471" y="750"/>
                    </a:lnTo>
                    <a:lnTo>
                      <a:pt x="469" y="747"/>
                    </a:lnTo>
                    <a:lnTo>
                      <a:pt x="469" y="745"/>
                    </a:lnTo>
                    <a:lnTo>
                      <a:pt x="469" y="744"/>
                    </a:lnTo>
                    <a:lnTo>
                      <a:pt x="465" y="741"/>
                    </a:lnTo>
                    <a:lnTo>
                      <a:pt x="468" y="741"/>
                    </a:lnTo>
                    <a:lnTo>
                      <a:pt x="468" y="740"/>
                    </a:lnTo>
                    <a:lnTo>
                      <a:pt x="469" y="741"/>
                    </a:lnTo>
                    <a:lnTo>
                      <a:pt x="472" y="737"/>
                    </a:lnTo>
                    <a:lnTo>
                      <a:pt x="474" y="737"/>
                    </a:lnTo>
                    <a:lnTo>
                      <a:pt x="474" y="740"/>
                    </a:lnTo>
                    <a:lnTo>
                      <a:pt x="477" y="740"/>
                    </a:lnTo>
                    <a:lnTo>
                      <a:pt x="478" y="735"/>
                    </a:lnTo>
                    <a:lnTo>
                      <a:pt x="481" y="738"/>
                    </a:lnTo>
                    <a:lnTo>
                      <a:pt x="481" y="740"/>
                    </a:lnTo>
                    <a:lnTo>
                      <a:pt x="487" y="738"/>
                    </a:lnTo>
                    <a:lnTo>
                      <a:pt x="485" y="735"/>
                    </a:lnTo>
                    <a:lnTo>
                      <a:pt x="490" y="735"/>
                    </a:lnTo>
                    <a:lnTo>
                      <a:pt x="493" y="737"/>
                    </a:lnTo>
                    <a:lnTo>
                      <a:pt x="493" y="735"/>
                    </a:lnTo>
                    <a:lnTo>
                      <a:pt x="494" y="735"/>
                    </a:lnTo>
                    <a:lnTo>
                      <a:pt x="494" y="732"/>
                    </a:lnTo>
                    <a:lnTo>
                      <a:pt x="494" y="731"/>
                    </a:lnTo>
                    <a:lnTo>
                      <a:pt x="493" y="731"/>
                    </a:lnTo>
                    <a:lnTo>
                      <a:pt x="491" y="731"/>
                    </a:lnTo>
                    <a:lnTo>
                      <a:pt x="490" y="728"/>
                    </a:lnTo>
                    <a:lnTo>
                      <a:pt x="490" y="725"/>
                    </a:lnTo>
                    <a:lnTo>
                      <a:pt x="493" y="728"/>
                    </a:lnTo>
                    <a:lnTo>
                      <a:pt x="493" y="725"/>
                    </a:lnTo>
                    <a:lnTo>
                      <a:pt x="494" y="727"/>
                    </a:lnTo>
                    <a:lnTo>
                      <a:pt x="496" y="727"/>
                    </a:lnTo>
                    <a:lnTo>
                      <a:pt x="497" y="724"/>
                    </a:lnTo>
                    <a:lnTo>
                      <a:pt x="494" y="721"/>
                    </a:lnTo>
                    <a:lnTo>
                      <a:pt x="497" y="719"/>
                    </a:lnTo>
                    <a:lnTo>
                      <a:pt x="497" y="718"/>
                    </a:lnTo>
                    <a:lnTo>
                      <a:pt x="498" y="716"/>
                    </a:lnTo>
                    <a:lnTo>
                      <a:pt x="500" y="716"/>
                    </a:lnTo>
                    <a:lnTo>
                      <a:pt x="496" y="713"/>
                    </a:lnTo>
                    <a:lnTo>
                      <a:pt x="496" y="712"/>
                    </a:lnTo>
                    <a:lnTo>
                      <a:pt x="498" y="713"/>
                    </a:lnTo>
                    <a:lnTo>
                      <a:pt x="498" y="709"/>
                    </a:lnTo>
                    <a:lnTo>
                      <a:pt x="501" y="713"/>
                    </a:lnTo>
                    <a:lnTo>
                      <a:pt x="504" y="713"/>
                    </a:lnTo>
                    <a:lnTo>
                      <a:pt x="506" y="713"/>
                    </a:lnTo>
                    <a:lnTo>
                      <a:pt x="509" y="713"/>
                    </a:lnTo>
                    <a:lnTo>
                      <a:pt x="503" y="719"/>
                    </a:lnTo>
                    <a:lnTo>
                      <a:pt x="501" y="722"/>
                    </a:lnTo>
                    <a:lnTo>
                      <a:pt x="500" y="724"/>
                    </a:lnTo>
                    <a:lnTo>
                      <a:pt x="500" y="725"/>
                    </a:lnTo>
                    <a:lnTo>
                      <a:pt x="500" y="727"/>
                    </a:lnTo>
                    <a:lnTo>
                      <a:pt x="501" y="728"/>
                    </a:lnTo>
                    <a:lnTo>
                      <a:pt x="503" y="728"/>
                    </a:lnTo>
                    <a:lnTo>
                      <a:pt x="507" y="731"/>
                    </a:lnTo>
                    <a:lnTo>
                      <a:pt x="507" y="729"/>
                    </a:lnTo>
                    <a:lnTo>
                      <a:pt x="506" y="727"/>
                    </a:lnTo>
                    <a:lnTo>
                      <a:pt x="507" y="728"/>
                    </a:lnTo>
                    <a:lnTo>
                      <a:pt x="507" y="721"/>
                    </a:lnTo>
                    <a:lnTo>
                      <a:pt x="510" y="724"/>
                    </a:lnTo>
                    <a:lnTo>
                      <a:pt x="512" y="728"/>
                    </a:lnTo>
                    <a:lnTo>
                      <a:pt x="514" y="728"/>
                    </a:lnTo>
                    <a:lnTo>
                      <a:pt x="516" y="731"/>
                    </a:lnTo>
                    <a:lnTo>
                      <a:pt x="519" y="724"/>
                    </a:lnTo>
                    <a:lnTo>
                      <a:pt x="520" y="722"/>
                    </a:lnTo>
                    <a:lnTo>
                      <a:pt x="519" y="727"/>
                    </a:lnTo>
                    <a:lnTo>
                      <a:pt x="520" y="725"/>
                    </a:lnTo>
                    <a:lnTo>
                      <a:pt x="522" y="727"/>
                    </a:lnTo>
                    <a:lnTo>
                      <a:pt x="523" y="725"/>
                    </a:lnTo>
                    <a:lnTo>
                      <a:pt x="525" y="728"/>
                    </a:lnTo>
                    <a:lnTo>
                      <a:pt x="525" y="725"/>
                    </a:lnTo>
                    <a:lnTo>
                      <a:pt x="526" y="721"/>
                    </a:lnTo>
                    <a:lnTo>
                      <a:pt x="529" y="722"/>
                    </a:lnTo>
                    <a:lnTo>
                      <a:pt x="529" y="719"/>
                    </a:lnTo>
                    <a:lnTo>
                      <a:pt x="530" y="716"/>
                    </a:lnTo>
                    <a:lnTo>
                      <a:pt x="528" y="713"/>
                    </a:lnTo>
                    <a:lnTo>
                      <a:pt x="528" y="712"/>
                    </a:lnTo>
                    <a:lnTo>
                      <a:pt x="528" y="709"/>
                    </a:lnTo>
                    <a:lnTo>
                      <a:pt x="530" y="713"/>
                    </a:lnTo>
                    <a:lnTo>
                      <a:pt x="536" y="715"/>
                    </a:lnTo>
                    <a:lnTo>
                      <a:pt x="538" y="715"/>
                    </a:lnTo>
                    <a:lnTo>
                      <a:pt x="536" y="712"/>
                    </a:lnTo>
                    <a:lnTo>
                      <a:pt x="538" y="709"/>
                    </a:lnTo>
                    <a:lnTo>
                      <a:pt x="539" y="712"/>
                    </a:lnTo>
                    <a:lnTo>
                      <a:pt x="541" y="713"/>
                    </a:lnTo>
                    <a:lnTo>
                      <a:pt x="542" y="712"/>
                    </a:lnTo>
                    <a:lnTo>
                      <a:pt x="544" y="712"/>
                    </a:lnTo>
                    <a:lnTo>
                      <a:pt x="545" y="711"/>
                    </a:lnTo>
                    <a:lnTo>
                      <a:pt x="545" y="708"/>
                    </a:lnTo>
                    <a:lnTo>
                      <a:pt x="545" y="706"/>
                    </a:lnTo>
                    <a:lnTo>
                      <a:pt x="548" y="698"/>
                    </a:lnTo>
                    <a:lnTo>
                      <a:pt x="548" y="702"/>
                    </a:lnTo>
                    <a:lnTo>
                      <a:pt x="549" y="699"/>
                    </a:lnTo>
                    <a:lnTo>
                      <a:pt x="551" y="702"/>
                    </a:lnTo>
                    <a:lnTo>
                      <a:pt x="552" y="698"/>
                    </a:lnTo>
                    <a:lnTo>
                      <a:pt x="552" y="696"/>
                    </a:lnTo>
                    <a:lnTo>
                      <a:pt x="554" y="696"/>
                    </a:lnTo>
                    <a:lnTo>
                      <a:pt x="552" y="695"/>
                    </a:lnTo>
                    <a:lnTo>
                      <a:pt x="555" y="696"/>
                    </a:lnTo>
                    <a:lnTo>
                      <a:pt x="554" y="693"/>
                    </a:lnTo>
                    <a:lnTo>
                      <a:pt x="554" y="692"/>
                    </a:lnTo>
                    <a:lnTo>
                      <a:pt x="555" y="690"/>
                    </a:lnTo>
                    <a:lnTo>
                      <a:pt x="557" y="689"/>
                    </a:lnTo>
                    <a:lnTo>
                      <a:pt x="559" y="686"/>
                    </a:lnTo>
                    <a:lnTo>
                      <a:pt x="559" y="680"/>
                    </a:lnTo>
                    <a:lnTo>
                      <a:pt x="561" y="680"/>
                    </a:lnTo>
                    <a:lnTo>
                      <a:pt x="561" y="677"/>
                    </a:lnTo>
                    <a:lnTo>
                      <a:pt x="559" y="676"/>
                    </a:lnTo>
                    <a:lnTo>
                      <a:pt x="561" y="676"/>
                    </a:lnTo>
                    <a:lnTo>
                      <a:pt x="561" y="673"/>
                    </a:lnTo>
                    <a:lnTo>
                      <a:pt x="562" y="668"/>
                    </a:lnTo>
                    <a:lnTo>
                      <a:pt x="565" y="668"/>
                    </a:lnTo>
                    <a:lnTo>
                      <a:pt x="564" y="663"/>
                    </a:lnTo>
                    <a:lnTo>
                      <a:pt x="567" y="664"/>
                    </a:lnTo>
                    <a:lnTo>
                      <a:pt x="570" y="663"/>
                    </a:lnTo>
                    <a:lnTo>
                      <a:pt x="573" y="658"/>
                    </a:lnTo>
                    <a:lnTo>
                      <a:pt x="573" y="657"/>
                    </a:lnTo>
                    <a:lnTo>
                      <a:pt x="575" y="655"/>
                    </a:lnTo>
                    <a:lnTo>
                      <a:pt x="575" y="657"/>
                    </a:lnTo>
                    <a:lnTo>
                      <a:pt x="578" y="655"/>
                    </a:lnTo>
                    <a:lnTo>
                      <a:pt x="578" y="657"/>
                    </a:lnTo>
                    <a:lnTo>
                      <a:pt x="578" y="654"/>
                    </a:lnTo>
                    <a:lnTo>
                      <a:pt x="580" y="654"/>
                    </a:lnTo>
                    <a:lnTo>
                      <a:pt x="580" y="650"/>
                    </a:lnTo>
                    <a:lnTo>
                      <a:pt x="581" y="650"/>
                    </a:lnTo>
                    <a:lnTo>
                      <a:pt x="580" y="647"/>
                    </a:lnTo>
                    <a:lnTo>
                      <a:pt x="575" y="644"/>
                    </a:lnTo>
                    <a:lnTo>
                      <a:pt x="577" y="644"/>
                    </a:lnTo>
                    <a:lnTo>
                      <a:pt x="571" y="634"/>
                    </a:lnTo>
                    <a:lnTo>
                      <a:pt x="571" y="631"/>
                    </a:lnTo>
                    <a:lnTo>
                      <a:pt x="574" y="631"/>
                    </a:lnTo>
                    <a:lnTo>
                      <a:pt x="574" y="628"/>
                    </a:lnTo>
                    <a:lnTo>
                      <a:pt x="577" y="631"/>
                    </a:lnTo>
                    <a:lnTo>
                      <a:pt x="577" y="636"/>
                    </a:lnTo>
                    <a:lnTo>
                      <a:pt x="578" y="634"/>
                    </a:lnTo>
                    <a:lnTo>
                      <a:pt x="580" y="634"/>
                    </a:lnTo>
                    <a:lnTo>
                      <a:pt x="580" y="636"/>
                    </a:lnTo>
                    <a:lnTo>
                      <a:pt x="581" y="639"/>
                    </a:lnTo>
                    <a:lnTo>
                      <a:pt x="581" y="641"/>
                    </a:lnTo>
                    <a:lnTo>
                      <a:pt x="587" y="642"/>
                    </a:lnTo>
                    <a:lnTo>
                      <a:pt x="586" y="644"/>
                    </a:lnTo>
                    <a:lnTo>
                      <a:pt x="584" y="644"/>
                    </a:lnTo>
                    <a:lnTo>
                      <a:pt x="584" y="647"/>
                    </a:lnTo>
                    <a:lnTo>
                      <a:pt x="587" y="648"/>
                    </a:lnTo>
                    <a:lnTo>
                      <a:pt x="587" y="650"/>
                    </a:lnTo>
                    <a:lnTo>
                      <a:pt x="589" y="648"/>
                    </a:lnTo>
                    <a:lnTo>
                      <a:pt x="591" y="648"/>
                    </a:lnTo>
                    <a:lnTo>
                      <a:pt x="596" y="650"/>
                    </a:lnTo>
                    <a:lnTo>
                      <a:pt x="594" y="647"/>
                    </a:lnTo>
                    <a:lnTo>
                      <a:pt x="594" y="647"/>
                    </a:lnTo>
                    <a:lnTo>
                      <a:pt x="594" y="645"/>
                    </a:lnTo>
                    <a:lnTo>
                      <a:pt x="596" y="645"/>
                    </a:lnTo>
                    <a:lnTo>
                      <a:pt x="596" y="645"/>
                    </a:lnTo>
                    <a:lnTo>
                      <a:pt x="600" y="650"/>
                    </a:lnTo>
                    <a:lnTo>
                      <a:pt x="603" y="650"/>
                    </a:lnTo>
                    <a:lnTo>
                      <a:pt x="603" y="647"/>
                    </a:lnTo>
                    <a:lnTo>
                      <a:pt x="600" y="645"/>
                    </a:lnTo>
                    <a:lnTo>
                      <a:pt x="600" y="641"/>
                    </a:lnTo>
                    <a:lnTo>
                      <a:pt x="602" y="642"/>
                    </a:lnTo>
                    <a:lnTo>
                      <a:pt x="604" y="642"/>
                    </a:lnTo>
                    <a:lnTo>
                      <a:pt x="604" y="645"/>
                    </a:lnTo>
                    <a:lnTo>
                      <a:pt x="607" y="648"/>
                    </a:lnTo>
                    <a:lnTo>
                      <a:pt x="609" y="645"/>
                    </a:lnTo>
                    <a:lnTo>
                      <a:pt x="607" y="644"/>
                    </a:lnTo>
                    <a:lnTo>
                      <a:pt x="607" y="642"/>
                    </a:lnTo>
                    <a:lnTo>
                      <a:pt x="610" y="644"/>
                    </a:lnTo>
                    <a:lnTo>
                      <a:pt x="609" y="639"/>
                    </a:lnTo>
                    <a:lnTo>
                      <a:pt x="610" y="638"/>
                    </a:lnTo>
                    <a:lnTo>
                      <a:pt x="612" y="636"/>
                    </a:lnTo>
                    <a:lnTo>
                      <a:pt x="612" y="636"/>
                    </a:lnTo>
                    <a:lnTo>
                      <a:pt x="613" y="639"/>
                    </a:lnTo>
                    <a:lnTo>
                      <a:pt x="618" y="642"/>
                    </a:lnTo>
                    <a:lnTo>
                      <a:pt x="618" y="642"/>
                    </a:lnTo>
                    <a:lnTo>
                      <a:pt x="619" y="641"/>
                    </a:lnTo>
                    <a:lnTo>
                      <a:pt x="619" y="639"/>
                    </a:lnTo>
                    <a:lnTo>
                      <a:pt x="622" y="641"/>
                    </a:lnTo>
                    <a:lnTo>
                      <a:pt x="622" y="638"/>
                    </a:lnTo>
                    <a:lnTo>
                      <a:pt x="629" y="636"/>
                    </a:lnTo>
                    <a:lnTo>
                      <a:pt x="632" y="635"/>
                    </a:lnTo>
                    <a:lnTo>
                      <a:pt x="634" y="636"/>
                    </a:lnTo>
                    <a:lnTo>
                      <a:pt x="634" y="634"/>
                    </a:lnTo>
                    <a:lnTo>
                      <a:pt x="636" y="634"/>
                    </a:lnTo>
                    <a:lnTo>
                      <a:pt x="638" y="634"/>
                    </a:lnTo>
                    <a:lnTo>
                      <a:pt x="638" y="631"/>
                    </a:lnTo>
                    <a:lnTo>
                      <a:pt x="641" y="632"/>
                    </a:lnTo>
                    <a:lnTo>
                      <a:pt x="642" y="634"/>
                    </a:lnTo>
                    <a:lnTo>
                      <a:pt x="642" y="634"/>
                    </a:lnTo>
                    <a:lnTo>
                      <a:pt x="642" y="631"/>
                    </a:lnTo>
                    <a:lnTo>
                      <a:pt x="645" y="631"/>
                    </a:lnTo>
                    <a:lnTo>
                      <a:pt x="647" y="632"/>
                    </a:lnTo>
                    <a:lnTo>
                      <a:pt x="648" y="631"/>
                    </a:lnTo>
                    <a:lnTo>
                      <a:pt x="648" y="629"/>
                    </a:lnTo>
                    <a:lnTo>
                      <a:pt x="649" y="629"/>
                    </a:lnTo>
                    <a:lnTo>
                      <a:pt x="651" y="629"/>
                    </a:lnTo>
                    <a:lnTo>
                      <a:pt x="652" y="629"/>
                    </a:lnTo>
                    <a:lnTo>
                      <a:pt x="654" y="626"/>
                    </a:lnTo>
                    <a:lnTo>
                      <a:pt x="654" y="626"/>
                    </a:lnTo>
                    <a:lnTo>
                      <a:pt x="657" y="625"/>
                    </a:lnTo>
                    <a:lnTo>
                      <a:pt x="658" y="626"/>
                    </a:lnTo>
                    <a:lnTo>
                      <a:pt x="658" y="625"/>
                    </a:lnTo>
                    <a:lnTo>
                      <a:pt x="663" y="625"/>
                    </a:lnTo>
                    <a:lnTo>
                      <a:pt x="663" y="623"/>
                    </a:lnTo>
                    <a:lnTo>
                      <a:pt x="663" y="622"/>
                    </a:lnTo>
                    <a:lnTo>
                      <a:pt x="668" y="620"/>
                    </a:lnTo>
                    <a:lnTo>
                      <a:pt x="668" y="619"/>
                    </a:lnTo>
                    <a:lnTo>
                      <a:pt x="668" y="618"/>
                    </a:lnTo>
                    <a:lnTo>
                      <a:pt x="671" y="618"/>
                    </a:lnTo>
                    <a:lnTo>
                      <a:pt x="673" y="615"/>
                    </a:lnTo>
                    <a:lnTo>
                      <a:pt x="674" y="615"/>
                    </a:lnTo>
                    <a:lnTo>
                      <a:pt x="673" y="613"/>
                    </a:lnTo>
                    <a:lnTo>
                      <a:pt x="673" y="612"/>
                    </a:lnTo>
                    <a:lnTo>
                      <a:pt x="673" y="609"/>
                    </a:lnTo>
                    <a:lnTo>
                      <a:pt x="677" y="612"/>
                    </a:lnTo>
                    <a:lnTo>
                      <a:pt x="677" y="609"/>
                    </a:lnTo>
                    <a:lnTo>
                      <a:pt x="679" y="609"/>
                    </a:lnTo>
                    <a:lnTo>
                      <a:pt x="680" y="609"/>
                    </a:lnTo>
                    <a:lnTo>
                      <a:pt x="680" y="607"/>
                    </a:lnTo>
                    <a:lnTo>
                      <a:pt x="680" y="605"/>
                    </a:lnTo>
                    <a:lnTo>
                      <a:pt x="677" y="605"/>
                    </a:lnTo>
                    <a:lnTo>
                      <a:pt x="680" y="602"/>
                    </a:lnTo>
                    <a:lnTo>
                      <a:pt x="681" y="603"/>
                    </a:lnTo>
                    <a:lnTo>
                      <a:pt x="684" y="605"/>
                    </a:lnTo>
                    <a:lnTo>
                      <a:pt x="684" y="603"/>
                    </a:lnTo>
                    <a:lnTo>
                      <a:pt x="683" y="603"/>
                    </a:lnTo>
                    <a:lnTo>
                      <a:pt x="684" y="602"/>
                    </a:lnTo>
                    <a:lnTo>
                      <a:pt x="687" y="600"/>
                    </a:lnTo>
                    <a:lnTo>
                      <a:pt x="687" y="597"/>
                    </a:lnTo>
                    <a:lnTo>
                      <a:pt x="690" y="597"/>
                    </a:lnTo>
                    <a:lnTo>
                      <a:pt x="690" y="594"/>
                    </a:lnTo>
                    <a:lnTo>
                      <a:pt x="693" y="596"/>
                    </a:lnTo>
                    <a:lnTo>
                      <a:pt x="692" y="593"/>
                    </a:lnTo>
                    <a:lnTo>
                      <a:pt x="695" y="594"/>
                    </a:lnTo>
                    <a:lnTo>
                      <a:pt x="693" y="591"/>
                    </a:lnTo>
                    <a:lnTo>
                      <a:pt x="690" y="590"/>
                    </a:lnTo>
                    <a:lnTo>
                      <a:pt x="692" y="590"/>
                    </a:lnTo>
                    <a:lnTo>
                      <a:pt x="695" y="590"/>
                    </a:lnTo>
                    <a:lnTo>
                      <a:pt x="696" y="589"/>
                    </a:lnTo>
                    <a:lnTo>
                      <a:pt x="696" y="590"/>
                    </a:lnTo>
                    <a:lnTo>
                      <a:pt x="699" y="591"/>
                    </a:lnTo>
                    <a:lnTo>
                      <a:pt x="700" y="589"/>
                    </a:lnTo>
                    <a:lnTo>
                      <a:pt x="699" y="587"/>
                    </a:lnTo>
                    <a:lnTo>
                      <a:pt x="700" y="587"/>
                    </a:lnTo>
                    <a:lnTo>
                      <a:pt x="697" y="584"/>
                    </a:lnTo>
                    <a:lnTo>
                      <a:pt x="700" y="583"/>
                    </a:lnTo>
                    <a:lnTo>
                      <a:pt x="705" y="581"/>
                    </a:lnTo>
                    <a:lnTo>
                      <a:pt x="706" y="578"/>
                    </a:lnTo>
                    <a:lnTo>
                      <a:pt x="710" y="581"/>
                    </a:lnTo>
                    <a:lnTo>
                      <a:pt x="709" y="580"/>
                    </a:lnTo>
                    <a:lnTo>
                      <a:pt x="708" y="580"/>
                    </a:lnTo>
                    <a:lnTo>
                      <a:pt x="706" y="578"/>
                    </a:lnTo>
                    <a:lnTo>
                      <a:pt x="708" y="577"/>
                    </a:lnTo>
                    <a:lnTo>
                      <a:pt x="708" y="575"/>
                    </a:lnTo>
                    <a:lnTo>
                      <a:pt x="710" y="575"/>
                    </a:lnTo>
                    <a:lnTo>
                      <a:pt x="712" y="574"/>
                    </a:lnTo>
                    <a:lnTo>
                      <a:pt x="713" y="575"/>
                    </a:lnTo>
                    <a:lnTo>
                      <a:pt x="716" y="575"/>
                    </a:lnTo>
                    <a:lnTo>
                      <a:pt x="716" y="573"/>
                    </a:lnTo>
                    <a:lnTo>
                      <a:pt x="719" y="575"/>
                    </a:lnTo>
                    <a:lnTo>
                      <a:pt x="722" y="570"/>
                    </a:lnTo>
                    <a:lnTo>
                      <a:pt x="724" y="567"/>
                    </a:lnTo>
                    <a:lnTo>
                      <a:pt x="722" y="567"/>
                    </a:lnTo>
                    <a:lnTo>
                      <a:pt x="716" y="570"/>
                    </a:lnTo>
                    <a:lnTo>
                      <a:pt x="699" y="568"/>
                    </a:lnTo>
                    <a:lnTo>
                      <a:pt x="683" y="559"/>
                    </a:lnTo>
                    <a:lnTo>
                      <a:pt x="681" y="561"/>
                    </a:lnTo>
                    <a:lnTo>
                      <a:pt x="681" y="558"/>
                    </a:lnTo>
                    <a:lnTo>
                      <a:pt x="680" y="558"/>
                    </a:lnTo>
                    <a:lnTo>
                      <a:pt x="677" y="559"/>
                    </a:lnTo>
                    <a:lnTo>
                      <a:pt x="676" y="557"/>
                    </a:lnTo>
                    <a:lnTo>
                      <a:pt x="661" y="565"/>
                    </a:lnTo>
                    <a:lnTo>
                      <a:pt x="657" y="562"/>
                    </a:lnTo>
                    <a:lnTo>
                      <a:pt x="651" y="565"/>
                    </a:lnTo>
                    <a:lnTo>
                      <a:pt x="648" y="573"/>
                    </a:lnTo>
                    <a:lnTo>
                      <a:pt x="629" y="571"/>
                    </a:lnTo>
                    <a:lnTo>
                      <a:pt x="635" y="567"/>
                    </a:lnTo>
                    <a:lnTo>
                      <a:pt x="639" y="568"/>
                    </a:lnTo>
                    <a:lnTo>
                      <a:pt x="651" y="561"/>
                    </a:lnTo>
                    <a:lnTo>
                      <a:pt x="655" y="559"/>
                    </a:lnTo>
                    <a:lnTo>
                      <a:pt x="660" y="558"/>
                    </a:lnTo>
                    <a:lnTo>
                      <a:pt x="658" y="555"/>
                    </a:lnTo>
                    <a:lnTo>
                      <a:pt x="632" y="557"/>
                    </a:lnTo>
                    <a:lnTo>
                      <a:pt x="629" y="554"/>
                    </a:lnTo>
                    <a:lnTo>
                      <a:pt x="625" y="552"/>
                    </a:lnTo>
                    <a:lnTo>
                      <a:pt x="634" y="549"/>
                    </a:lnTo>
                    <a:lnTo>
                      <a:pt x="635" y="546"/>
                    </a:lnTo>
                    <a:lnTo>
                      <a:pt x="638" y="539"/>
                    </a:lnTo>
                    <a:lnTo>
                      <a:pt x="635" y="535"/>
                    </a:lnTo>
                    <a:lnTo>
                      <a:pt x="635" y="532"/>
                    </a:lnTo>
                    <a:lnTo>
                      <a:pt x="639" y="532"/>
                    </a:lnTo>
                    <a:lnTo>
                      <a:pt x="642" y="533"/>
                    </a:lnTo>
                    <a:lnTo>
                      <a:pt x="644" y="527"/>
                    </a:lnTo>
                    <a:lnTo>
                      <a:pt x="647" y="532"/>
                    </a:lnTo>
                    <a:lnTo>
                      <a:pt x="658" y="532"/>
                    </a:lnTo>
                    <a:lnTo>
                      <a:pt x="667" y="526"/>
                    </a:lnTo>
                    <a:lnTo>
                      <a:pt x="671" y="522"/>
                    </a:lnTo>
                    <a:lnTo>
                      <a:pt x="668" y="517"/>
                    </a:lnTo>
                    <a:lnTo>
                      <a:pt x="673" y="520"/>
                    </a:lnTo>
                    <a:lnTo>
                      <a:pt x="673" y="513"/>
                    </a:lnTo>
                    <a:lnTo>
                      <a:pt x="668" y="509"/>
                    </a:lnTo>
                    <a:lnTo>
                      <a:pt x="663" y="509"/>
                    </a:lnTo>
                    <a:lnTo>
                      <a:pt x="658" y="510"/>
                    </a:lnTo>
                    <a:lnTo>
                      <a:pt x="652" y="507"/>
                    </a:lnTo>
                    <a:lnTo>
                      <a:pt x="648" y="509"/>
                    </a:lnTo>
                    <a:lnTo>
                      <a:pt x="649" y="506"/>
                    </a:lnTo>
                    <a:lnTo>
                      <a:pt x="641" y="503"/>
                    </a:lnTo>
                    <a:lnTo>
                      <a:pt x="645" y="501"/>
                    </a:lnTo>
                    <a:lnTo>
                      <a:pt x="644" y="494"/>
                    </a:lnTo>
                    <a:lnTo>
                      <a:pt x="649" y="498"/>
                    </a:lnTo>
                    <a:lnTo>
                      <a:pt x="654" y="504"/>
                    </a:lnTo>
                    <a:lnTo>
                      <a:pt x="658" y="504"/>
                    </a:lnTo>
                    <a:lnTo>
                      <a:pt x="663" y="503"/>
                    </a:lnTo>
                    <a:lnTo>
                      <a:pt x="665" y="504"/>
                    </a:lnTo>
                    <a:lnTo>
                      <a:pt x="670" y="506"/>
                    </a:lnTo>
                    <a:lnTo>
                      <a:pt x="680" y="516"/>
                    </a:lnTo>
                    <a:lnTo>
                      <a:pt x="684" y="516"/>
                    </a:lnTo>
                    <a:lnTo>
                      <a:pt x="687" y="517"/>
                    </a:lnTo>
                    <a:lnTo>
                      <a:pt x="687" y="522"/>
                    </a:lnTo>
                    <a:lnTo>
                      <a:pt x="692" y="527"/>
                    </a:lnTo>
                    <a:lnTo>
                      <a:pt x="695" y="541"/>
                    </a:lnTo>
                    <a:lnTo>
                      <a:pt x="697" y="548"/>
                    </a:lnTo>
                    <a:lnTo>
                      <a:pt x="703" y="552"/>
                    </a:lnTo>
                    <a:lnTo>
                      <a:pt x="709" y="555"/>
                    </a:lnTo>
                    <a:lnTo>
                      <a:pt x="715" y="554"/>
                    </a:lnTo>
                    <a:lnTo>
                      <a:pt x="716" y="538"/>
                    </a:lnTo>
                    <a:lnTo>
                      <a:pt x="718" y="538"/>
                    </a:lnTo>
                    <a:lnTo>
                      <a:pt x="719" y="552"/>
                    </a:lnTo>
                    <a:lnTo>
                      <a:pt x="724" y="551"/>
                    </a:lnTo>
                    <a:lnTo>
                      <a:pt x="725" y="555"/>
                    </a:lnTo>
                    <a:lnTo>
                      <a:pt x="729" y="552"/>
                    </a:lnTo>
                    <a:lnTo>
                      <a:pt x="729" y="548"/>
                    </a:lnTo>
                    <a:lnTo>
                      <a:pt x="728" y="548"/>
                    </a:lnTo>
                    <a:lnTo>
                      <a:pt x="728" y="542"/>
                    </a:lnTo>
                    <a:lnTo>
                      <a:pt x="726" y="538"/>
                    </a:lnTo>
                    <a:lnTo>
                      <a:pt x="728" y="536"/>
                    </a:lnTo>
                    <a:lnTo>
                      <a:pt x="726" y="532"/>
                    </a:lnTo>
                    <a:lnTo>
                      <a:pt x="726" y="530"/>
                    </a:lnTo>
                    <a:lnTo>
                      <a:pt x="725" y="527"/>
                    </a:lnTo>
                    <a:lnTo>
                      <a:pt x="722" y="527"/>
                    </a:lnTo>
                    <a:lnTo>
                      <a:pt x="726" y="525"/>
                    </a:lnTo>
                    <a:lnTo>
                      <a:pt x="726" y="520"/>
                    </a:lnTo>
                    <a:lnTo>
                      <a:pt x="725" y="517"/>
                    </a:lnTo>
                    <a:lnTo>
                      <a:pt x="726" y="516"/>
                    </a:lnTo>
                    <a:lnTo>
                      <a:pt x="728" y="509"/>
                    </a:lnTo>
                    <a:lnTo>
                      <a:pt x="725" y="507"/>
                    </a:lnTo>
                    <a:lnTo>
                      <a:pt x="722" y="511"/>
                    </a:lnTo>
                    <a:lnTo>
                      <a:pt x="719" y="510"/>
                    </a:lnTo>
                    <a:lnTo>
                      <a:pt x="718" y="517"/>
                    </a:lnTo>
                    <a:lnTo>
                      <a:pt x="716" y="517"/>
                    </a:lnTo>
                    <a:lnTo>
                      <a:pt x="716" y="510"/>
                    </a:lnTo>
                    <a:lnTo>
                      <a:pt x="722" y="501"/>
                    </a:lnTo>
                    <a:lnTo>
                      <a:pt x="724" y="498"/>
                    </a:lnTo>
                    <a:lnTo>
                      <a:pt x="721" y="498"/>
                    </a:lnTo>
                    <a:lnTo>
                      <a:pt x="716" y="503"/>
                    </a:lnTo>
                    <a:lnTo>
                      <a:pt x="715" y="504"/>
                    </a:lnTo>
                    <a:lnTo>
                      <a:pt x="716" y="500"/>
                    </a:lnTo>
                    <a:lnTo>
                      <a:pt x="716" y="496"/>
                    </a:lnTo>
                    <a:lnTo>
                      <a:pt x="712" y="498"/>
                    </a:lnTo>
                    <a:lnTo>
                      <a:pt x="709" y="503"/>
                    </a:lnTo>
                    <a:lnTo>
                      <a:pt x="708" y="504"/>
                    </a:lnTo>
                    <a:lnTo>
                      <a:pt x="709" y="498"/>
                    </a:lnTo>
                    <a:lnTo>
                      <a:pt x="713" y="496"/>
                    </a:lnTo>
                    <a:lnTo>
                      <a:pt x="716" y="490"/>
                    </a:lnTo>
                    <a:lnTo>
                      <a:pt x="708" y="485"/>
                    </a:lnTo>
                    <a:lnTo>
                      <a:pt x="706" y="482"/>
                    </a:lnTo>
                    <a:lnTo>
                      <a:pt x="699" y="480"/>
                    </a:lnTo>
                    <a:lnTo>
                      <a:pt x="697" y="477"/>
                    </a:lnTo>
                    <a:lnTo>
                      <a:pt x="686" y="466"/>
                    </a:lnTo>
                    <a:lnTo>
                      <a:pt x="683" y="465"/>
                    </a:lnTo>
                    <a:lnTo>
                      <a:pt x="679" y="468"/>
                    </a:lnTo>
                    <a:lnTo>
                      <a:pt x="677" y="471"/>
                    </a:lnTo>
                    <a:lnTo>
                      <a:pt x="676" y="477"/>
                    </a:lnTo>
                    <a:lnTo>
                      <a:pt x="674" y="481"/>
                    </a:lnTo>
                    <a:lnTo>
                      <a:pt x="676" y="468"/>
                    </a:lnTo>
                    <a:lnTo>
                      <a:pt x="673" y="468"/>
                    </a:lnTo>
                    <a:lnTo>
                      <a:pt x="673" y="465"/>
                    </a:lnTo>
                    <a:lnTo>
                      <a:pt x="684" y="462"/>
                    </a:lnTo>
                    <a:lnTo>
                      <a:pt x="683" y="453"/>
                    </a:lnTo>
                    <a:lnTo>
                      <a:pt x="674" y="448"/>
                    </a:lnTo>
                    <a:lnTo>
                      <a:pt x="670" y="448"/>
                    </a:lnTo>
                    <a:lnTo>
                      <a:pt x="661" y="456"/>
                    </a:lnTo>
                    <a:lnTo>
                      <a:pt x="661" y="456"/>
                    </a:lnTo>
                    <a:lnTo>
                      <a:pt x="661" y="452"/>
                    </a:lnTo>
                    <a:lnTo>
                      <a:pt x="655" y="452"/>
                    </a:lnTo>
                    <a:lnTo>
                      <a:pt x="657" y="450"/>
                    </a:lnTo>
                    <a:lnTo>
                      <a:pt x="660" y="449"/>
                    </a:lnTo>
                    <a:lnTo>
                      <a:pt x="657" y="448"/>
                    </a:lnTo>
                    <a:lnTo>
                      <a:pt x="664" y="448"/>
                    </a:lnTo>
                    <a:lnTo>
                      <a:pt x="670" y="446"/>
                    </a:lnTo>
                    <a:lnTo>
                      <a:pt x="673" y="443"/>
                    </a:lnTo>
                    <a:lnTo>
                      <a:pt x="677" y="442"/>
                    </a:lnTo>
                    <a:lnTo>
                      <a:pt x="681" y="436"/>
                    </a:lnTo>
                    <a:lnTo>
                      <a:pt x="679" y="434"/>
                    </a:lnTo>
                    <a:lnTo>
                      <a:pt x="673" y="434"/>
                    </a:lnTo>
                    <a:lnTo>
                      <a:pt x="670" y="430"/>
                    </a:lnTo>
                    <a:lnTo>
                      <a:pt x="665" y="429"/>
                    </a:lnTo>
                    <a:lnTo>
                      <a:pt x="660" y="430"/>
                    </a:lnTo>
                    <a:lnTo>
                      <a:pt x="655" y="433"/>
                    </a:lnTo>
                    <a:lnTo>
                      <a:pt x="652" y="430"/>
                    </a:lnTo>
                    <a:lnTo>
                      <a:pt x="658" y="429"/>
                    </a:lnTo>
                    <a:lnTo>
                      <a:pt x="660" y="426"/>
                    </a:lnTo>
                    <a:lnTo>
                      <a:pt x="654" y="423"/>
                    </a:lnTo>
                    <a:lnTo>
                      <a:pt x="660" y="421"/>
                    </a:lnTo>
                    <a:lnTo>
                      <a:pt x="664" y="426"/>
                    </a:lnTo>
                    <a:lnTo>
                      <a:pt x="668" y="426"/>
                    </a:lnTo>
                    <a:lnTo>
                      <a:pt x="674" y="421"/>
                    </a:lnTo>
                    <a:lnTo>
                      <a:pt x="676" y="417"/>
                    </a:lnTo>
                    <a:lnTo>
                      <a:pt x="683" y="414"/>
                    </a:lnTo>
                    <a:lnTo>
                      <a:pt x="681" y="405"/>
                    </a:lnTo>
                    <a:lnTo>
                      <a:pt x="686" y="410"/>
                    </a:lnTo>
                    <a:lnTo>
                      <a:pt x="689" y="410"/>
                    </a:lnTo>
                    <a:lnTo>
                      <a:pt x="690" y="401"/>
                    </a:lnTo>
                    <a:lnTo>
                      <a:pt x="692" y="400"/>
                    </a:lnTo>
                    <a:lnTo>
                      <a:pt x="695" y="400"/>
                    </a:lnTo>
                    <a:lnTo>
                      <a:pt x="696" y="407"/>
                    </a:lnTo>
                    <a:lnTo>
                      <a:pt x="709" y="421"/>
                    </a:lnTo>
                    <a:lnTo>
                      <a:pt x="718" y="426"/>
                    </a:lnTo>
                    <a:lnTo>
                      <a:pt x="722" y="424"/>
                    </a:lnTo>
                    <a:lnTo>
                      <a:pt x="724" y="421"/>
                    </a:lnTo>
                    <a:lnTo>
                      <a:pt x="728" y="418"/>
                    </a:lnTo>
                    <a:lnTo>
                      <a:pt x="732" y="414"/>
                    </a:lnTo>
                    <a:lnTo>
                      <a:pt x="737" y="416"/>
                    </a:lnTo>
                    <a:lnTo>
                      <a:pt x="742" y="416"/>
                    </a:lnTo>
                    <a:lnTo>
                      <a:pt x="745" y="413"/>
                    </a:lnTo>
                    <a:lnTo>
                      <a:pt x="744" y="410"/>
                    </a:lnTo>
                    <a:lnTo>
                      <a:pt x="745" y="403"/>
                    </a:lnTo>
                    <a:lnTo>
                      <a:pt x="747" y="398"/>
                    </a:lnTo>
                    <a:lnTo>
                      <a:pt x="747" y="395"/>
                    </a:lnTo>
                    <a:lnTo>
                      <a:pt x="731" y="389"/>
                    </a:lnTo>
                    <a:lnTo>
                      <a:pt x="729" y="387"/>
                    </a:lnTo>
                    <a:lnTo>
                      <a:pt x="722" y="388"/>
                    </a:lnTo>
                    <a:lnTo>
                      <a:pt x="718" y="385"/>
                    </a:lnTo>
                    <a:lnTo>
                      <a:pt x="718" y="384"/>
                    </a:lnTo>
                    <a:lnTo>
                      <a:pt x="719" y="384"/>
                    </a:lnTo>
                    <a:lnTo>
                      <a:pt x="719" y="379"/>
                    </a:lnTo>
                    <a:lnTo>
                      <a:pt x="722" y="376"/>
                    </a:lnTo>
                    <a:lnTo>
                      <a:pt x="722" y="373"/>
                    </a:lnTo>
                    <a:lnTo>
                      <a:pt x="716" y="373"/>
                    </a:lnTo>
                    <a:lnTo>
                      <a:pt x="725" y="369"/>
                    </a:lnTo>
                    <a:lnTo>
                      <a:pt x="724" y="359"/>
                    </a:lnTo>
                    <a:lnTo>
                      <a:pt x="726" y="360"/>
                    </a:lnTo>
                    <a:lnTo>
                      <a:pt x="728" y="363"/>
                    </a:lnTo>
                    <a:lnTo>
                      <a:pt x="735" y="363"/>
                    </a:lnTo>
                    <a:lnTo>
                      <a:pt x="740" y="365"/>
                    </a:lnTo>
                    <a:lnTo>
                      <a:pt x="744" y="363"/>
                    </a:lnTo>
                    <a:lnTo>
                      <a:pt x="748" y="365"/>
                    </a:lnTo>
                    <a:lnTo>
                      <a:pt x="751" y="375"/>
                    </a:lnTo>
                    <a:lnTo>
                      <a:pt x="758" y="376"/>
                    </a:lnTo>
                    <a:lnTo>
                      <a:pt x="766" y="366"/>
                    </a:lnTo>
                    <a:lnTo>
                      <a:pt x="764" y="362"/>
                    </a:lnTo>
                    <a:lnTo>
                      <a:pt x="761" y="359"/>
                    </a:lnTo>
                    <a:lnTo>
                      <a:pt x="760" y="353"/>
                    </a:lnTo>
                    <a:lnTo>
                      <a:pt x="754" y="356"/>
                    </a:lnTo>
                    <a:lnTo>
                      <a:pt x="750" y="355"/>
                    </a:lnTo>
                    <a:lnTo>
                      <a:pt x="742" y="353"/>
                    </a:lnTo>
                    <a:lnTo>
                      <a:pt x="738" y="353"/>
                    </a:lnTo>
                    <a:lnTo>
                      <a:pt x="738" y="353"/>
                    </a:lnTo>
                    <a:lnTo>
                      <a:pt x="741" y="352"/>
                    </a:lnTo>
                    <a:lnTo>
                      <a:pt x="742" y="334"/>
                    </a:lnTo>
                    <a:lnTo>
                      <a:pt x="740" y="331"/>
                    </a:lnTo>
                    <a:lnTo>
                      <a:pt x="737" y="331"/>
                    </a:lnTo>
                    <a:lnTo>
                      <a:pt x="734" y="334"/>
                    </a:lnTo>
                    <a:lnTo>
                      <a:pt x="729" y="336"/>
                    </a:lnTo>
                    <a:lnTo>
                      <a:pt x="734" y="330"/>
                    </a:lnTo>
                    <a:lnTo>
                      <a:pt x="740" y="327"/>
                    </a:lnTo>
                    <a:lnTo>
                      <a:pt x="744" y="327"/>
                    </a:lnTo>
                    <a:lnTo>
                      <a:pt x="742" y="324"/>
                    </a:lnTo>
                    <a:lnTo>
                      <a:pt x="731" y="311"/>
                    </a:lnTo>
                    <a:lnTo>
                      <a:pt x="725" y="311"/>
                    </a:lnTo>
                    <a:lnTo>
                      <a:pt x="722" y="308"/>
                    </a:lnTo>
                    <a:lnTo>
                      <a:pt x="731" y="308"/>
                    </a:lnTo>
                    <a:lnTo>
                      <a:pt x="725" y="304"/>
                    </a:lnTo>
                    <a:lnTo>
                      <a:pt x="750" y="317"/>
                    </a:lnTo>
                    <a:lnTo>
                      <a:pt x="753" y="320"/>
                    </a:lnTo>
                    <a:lnTo>
                      <a:pt x="753" y="325"/>
                    </a:lnTo>
                    <a:lnTo>
                      <a:pt x="755" y="327"/>
                    </a:lnTo>
                    <a:lnTo>
                      <a:pt x="758" y="327"/>
                    </a:lnTo>
                    <a:lnTo>
                      <a:pt x="758" y="294"/>
                    </a:lnTo>
                    <a:lnTo>
                      <a:pt x="751" y="283"/>
                    </a:lnTo>
                    <a:lnTo>
                      <a:pt x="748" y="285"/>
                    </a:lnTo>
                    <a:lnTo>
                      <a:pt x="745" y="283"/>
                    </a:lnTo>
                    <a:lnTo>
                      <a:pt x="742" y="280"/>
                    </a:lnTo>
                    <a:lnTo>
                      <a:pt x="738" y="280"/>
                    </a:lnTo>
                    <a:lnTo>
                      <a:pt x="738" y="279"/>
                    </a:lnTo>
                    <a:lnTo>
                      <a:pt x="748" y="278"/>
                    </a:lnTo>
                    <a:lnTo>
                      <a:pt x="753" y="276"/>
                    </a:lnTo>
                    <a:lnTo>
                      <a:pt x="755" y="275"/>
                    </a:lnTo>
                    <a:lnTo>
                      <a:pt x="755" y="272"/>
                    </a:lnTo>
                    <a:lnTo>
                      <a:pt x="754" y="266"/>
                    </a:lnTo>
                    <a:lnTo>
                      <a:pt x="750" y="264"/>
                    </a:lnTo>
                    <a:lnTo>
                      <a:pt x="745" y="266"/>
                    </a:lnTo>
                    <a:lnTo>
                      <a:pt x="738" y="260"/>
                    </a:lnTo>
                    <a:lnTo>
                      <a:pt x="744" y="269"/>
                    </a:lnTo>
                    <a:lnTo>
                      <a:pt x="741" y="269"/>
                    </a:lnTo>
                    <a:lnTo>
                      <a:pt x="738" y="264"/>
                    </a:lnTo>
                    <a:lnTo>
                      <a:pt x="735" y="263"/>
                    </a:lnTo>
                    <a:lnTo>
                      <a:pt x="737" y="267"/>
                    </a:lnTo>
                    <a:lnTo>
                      <a:pt x="732" y="266"/>
                    </a:lnTo>
                    <a:lnTo>
                      <a:pt x="732" y="264"/>
                    </a:lnTo>
                    <a:lnTo>
                      <a:pt x="729" y="264"/>
                    </a:lnTo>
                    <a:lnTo>
                      <a:pt x="729" y="257"/>
                    </a:lnTo>
                    <a:lnTo>
                      <a:pt x="729" y="256"/>
                    </a:lnTo>
                    <a:lnTo>
                      <a:pt x="729" y="253"/>
                    </a:lnTo>
                    <a:lnTo>
                      <a:pt x="721" y="254"/>
                    </a:lnTo>
                    <a:lnTo>
                      <a:pt x="716" y="251"/>
                    </a:lnTo>
                    <a:lnTo>
                      <a:pt x="718" y="250"/>
                    </a:lnTo>
                    <a:lnTo>
                      <a:pt x="726" y="251"/>
                    </a:lnTo>
                    <a:lnTo>
                      <a:pt x="725" y="250"/>
                    </a:lnTo>
                    <a:lnTo>
                      <a:pt x="726" y="247"/>
                    </a:lnTo>
                    <a:lnTo>
                      <a:pt x="722" y="246"/>
                    </a:lnTo>
                    <a:lnTo>
                      <a:pt x="721" y="243"/>
                    </a:lnTo>
                    <a:lnTo>
                      <a:pt x="719" y="243"/>
                    </a:lnTo>
                    <a:lnTo>
                      <a:pt x="716" y="246"/>
                    </a:lnTo>
                    <a:lnTo>
                      <a:pt x="716" y="243"/>
                    </a:lnTo>
                    <a:lnTo>
                      <a:pt x="715" y="235"/>
                    </a:lnTo>
                    <a:lnTo>
                      <a:pt x="718" y="232"/>
                    </a:lnTo>
                    <a:lnTo>
                      <a:pt x="718" y="230"/>
                    </a:lnTo>
                    <a:lnTo>
                      <a:pt x="722" y="230"/>
                    </a:lnTo>
                    <a:lnTo>
                      <a:pt x="728" y="238"/>
                    </a:lnTo>
                    <a:lnTo>
                      <a:pt x="732" y="235"/>
                    </a:lnTo>
                    <a:lnTo>
                      <a:pt x="735" y="231"/>
                    </a:lnTo>
                    <a:lnTo>
                      <a:pt x="741" y="230"/>
                    </a:lnTo>
                    <a:lnTo>
                      <a:pt x="729" y="225"/>
                    </a:lnTo>
                    <a:lnTo>
                      <a:pt x="731" y="224"/>
                    </a:lnTo>
                    <a:lnTo>
                      <a:pt x="741" y="225"/>
                    </a:lnTo>
                    <a:lnTo>
                      <a:pt x="742" y="224"/>
                    </a:lnTo>
                    <a:lnTo>
                      <a:pt x="742" y="222"/>
                    </a:lnTo>
                    <a:lnTo>
                      <a:pt x="728" y="219"/>
                    </a:lnTo>
                    <a:lnTo>
                      <a:pt x="757" y="222"/>
                    </a:lnTo>
                    <a:lnTo>
                      <a:pt x="774" y="230"/>
                    </a:lnTo>
                    <a:lnTo>
                      <a:pt x="777" y="225"/>
                    </a:lnTo>
                    <a:lnTo>
                      <a:pt x="777" y="196"/>
                    </a:lnTo>
                    <a:lnTo>
                      <a:pt x="777" y="196"/>
                    </a:lnTo>
                    <a:lnTo>
                      <a:pt x="774" y="198"/>
                    </a:lnTo>
                    <a:lnTo>
                      <a:pt x="769" y="193"/>
                    </a:lnTo>
                    <a:lnTo>
                      <a:pt x="767" y="196"/>
                    </a:lnTo>
                    <a:lnTo>
                      <a:pt x="767" y="201"/>
                    </a:lnTo>
                    <a:lnTo>
                      <a:pt x="766" y="202"/>
                    </a:lnTo>
                    <a:lnTo>
                      <a:pt x="761" y="201"/>
                    </a:lnTo>
                    <a:lnTo>
                      <a:pt x="761" y="196"/>
                    </a:lnTo>
                    <a:lnTo>
                      <a:pt x="757" y="192"/>
                    </a:lnTo>
                    <a:lnTo>
                      <a:pt x="744" y="190"/>
                    </a:lnTo>
                    <a:lnTo>
                      <a:pt x="750" y="190"/>
                    </a:lnTo>
                    <a:lnTo>
                      <a:pt x="750" y="187"/>
                    </a:lnTo>
                    <a:lnTo>
                      <a:pt x="742" y="185"/>
                    </a:lnTo>
                    <a:lnTo>
                      <a:pt x="745" y="185"/>
                    </a:lnTo>
                    <a:lnTo>
                      <a:pt x="745" y="182"/>
                    </a:lnTo>
                    <a:lnTo>
                      <a:pt x="750" y="182"/>
                    </a:lnTo>
                    <a:lnTo>
                      <a:pt x="742" y="176"/>
                    </a:lnTo>
                    <a:lnTo>
                      <a:pt x="742" y="174"/>
                    </a:lnTo>
                    <a:lnTo>
                      <a:pt x="744" y="169"/>
                    </a:lnTo>
                    <a:lnTo>
                      <a:pt x="748" y="171"/>
                    </a:lnTo>
                    <a:lnTo>
                      <a:pt x="755" y="171"/>
                    </a:lnTo>
                    <a:lnTo>
                      <a:pt x="763" y="179"/>
                    </a:lnTo>
                    <a:lnTo>
                      <a:pt x="767" y="177"/>
                    </a:lnTo>
                    <a:lnTo>
                      <a:pt x="766" y="171"/>
                    </a:lnTo>
                    <a:lnTo>
                      <a:pt x="764" y="169"/>
                    </a:lnTo>
                    <a:lnTo>
                      <a:pt x="744" y="158"/>
                    </a:lnTo>
                    <a:lnTo>
                      <a:pt x="744" y="154"/>
                    </a:lnTo>
                    <a:lnTo>
                      <a:pt x="741" y="153"/>
                    </a:lnTo>
                    <a:lnTo>
                      <a:pt x="738" y="154"/>
                    </a:lnTo>
                    <a:lnTo>
                      <a:pt x="732" y="173"/>
                    </a:lnTo>
                    <a:lnTo>
                      <a:pt x="728" y="173"/>
                    </a:lnTo>
                    <a:lnTo>
                      <a:pt x="726" y="169"/>
                    </a:lnTo>
                    <a:lnTo>
                      <a:pt x="731" y="151"/>
                    </a:lnTo>
                    <a:lnTo>
                      <a:pt x="734" y="147"/>
                    </a:lnTo>
                    <a:lnTo>
                      <a:pt x="734" y="144"/>
                    </a:lnTo>
                    <a:lnTo>
                      <a:pt x="732" y="139"/>
                    </a:lnTo>
                    <a:lnTo>
                      <a:pt x="740" y="108"/>
                    </a:lnTo>
                    <a:lnTo>
                      <a:pt x="735" y="108"/>
                    </a:lnTo>
                    <a:lnTo>
                      <a:pt x="734" y="106"/>
                    </a:lnTo>
                    <a:lnTo>
                      <a:pt x="738" y="105"/>
                    </a:lnTo>
                    <a:lnTo>
                      <a:pt x="738" y="97"/>
                    </a:lnTo>
                    <a:lnTo>
                      <a:pt x="737" y="96"/>
                    </a:lnTo>
                    <a:lnTo>
                      <a:pt x="738" y="93"/>
                    </a:lnTo>
                    <a:lnTo>
                      <a:pt x="740" y="94"/>
                    </a:lnTo>
                    <a:lnTo>
                      <a:pt x="745" y="90"/>
                    </a:lnTo>
                    <a:lnTo>
                      <a:pt x="750" y="92"/>
                    </a:lnTo>
                    <a:lnTo>
                      <a:pt x="754" y="87"/>
                    </a:lnTo>
                    <a:lnTo>
                      <a:pt x="754" y="71"/>
                    </a:lnTo>
                    <a:lnTo>
                      <a:pt x="754" y="71"/>
                    </a:lnTo>
                    <a:lnTo>
                      <a:pt x="757" y="70"/>
                    </a:lnTo>
                    <a:lnTo>
                      <a:pt x="758" y="71"/>
                    </a:lnTo>
                    <a:lnTo>
                      <a:pt x="758" y="71"/>
                    </a:lnTo>
                    <a:lnTo>
                      <a:pt x="758" y="65"/>
                    </a:lnTo>
                    <a:lnTo>
                      <a:pt x="760" y="61"/>
                    </a:lnTo>
                    <a:lnTo>
                      <a:pt x="763" y="60"/>
                    </a:lnTo>
                    <a:lnTo>
                      <a:pt x="763" y="65"/>
                    </a:lnTo>
                    <a:lnTo>
                      <a:pt x="766" y="57"/>
                    </a:lnTo>
                    <a:lnTo>
                      <a:pt x="758" y="55"/>
                    </a:lnTo>
                    <a:lnTo>
                      <a:pt x="755" y="68"/>
                    </a:lnTo>
                    <a:lnTo>
                      <a:pt x="758" y="48"/>
                    </a:lnTo>
                    <a:lnTo>
                      <a:pt x="757" y="45"/>
                    </a:lnTo>
                    <a:lnTo>
                      <a:pt x="760" y="28"/>
                    </a:lnTo>
                    <a:lnTo>
                      <a:pt x="761" y="22"/>
                    </a:lnTo>
                    <a:lnTo>
                      <a:pt x="764" y="20"/>
                    </a:lnTo>
                    <a:lnTo>
                      <a:pt x="773" y="23"/>
                    </a:lnTo>
                    <a:lnTo>
                      <a:pt x="780" y="20"/>
                    </a:lnTo>
                    <a:lnTo>
                      <a:pt x="783" y="15"/>
                    </a:lnTo>
                    <a:lnTo>
                      <a:pt x="783" y="10"/>
                    </a:lnTo>
                    <a:lnTo>
                      <a:pt x="786" y="6"/>
                    </a:lnTo>
                    <a:lnTo>
                      <a:pt x="787" y="1"/>
                    </a:lnTo>
                    <a:lnTo>
                      <a:pt x="787" y="0"/>
                    </a:lnTo>
                    <a:lnTo>
                      <a:pt x="757" y="0"/>
                    </a:lnTo>
                    <a:lnTo>
                      <a:pt x="753" y="7"/>
                    </a:lnTo>
                    <a:lnTo>
                      <a:pt x="751" y="13"/>
                    </a:lnTo>
                    <a:lnTo>
                      <a:pt x="751" y="16"/>
                    </a:lnTo>
                    <a:lnTo>
                      <a:pt x="754" y="17"/>
                    </a:lnTo>
                    <a:lnTo>
                      <a:pt x="750" y="20"/>
                    </a:lnTo>
                    <a:lnTo>
                      <a:pt x="747" y="13"/>
                    </a:lnTo>
                    <a:lnTo>
                      <a:pt x="744" y="13"/>
                    </a:lnTo>
                    <a:lnTo>
                      <a:pt x="747" y="6"/>
                    </a:lnTo>
                    <a:lnTo>
                      <a:pt x="747" y="3"/>
                    </a:lnTo>
                    <a:lnTo>
                      <a:pt x="745" y="0"/>
                    </a:lnTo>
                    <a:lnTo>
                      <a:pt x="117" y="0"/>
                    </a:lnTo>
                    <a:lnTo>
                      <a:pt x="112" y="6"/>
                    </a:lnTo>
                    <a:lnTo>
                      <a:pt x="112" y="6"/>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53" name="Freeform 779"/>
              <p:cNvSpPr>
                <a:spLocks/>
              </p:cNvSpPr>
              <p:nvPr/>
            </p:nvSpPr>
            <p:spPr bwMode="auto">
              <a:xfrm>
                <a:off x="7307511" y="1209852"/>
                <a:ext cx="33356" cy="30424"/>
              </a:xfrm>
              <a:custGeom>
                <a:avLst/>
                <a:gdLst/>
                <a:ahLst/>
                <a:cxnLst>
                  <a:cxn ang="0">
                    <a:pos x="0" y="6"/>
                  </a:cxn>
                  <a:cxn ang="0">
                    <a:pos x="4" y="9"/>
                  </a:cxn>
                  <a:cxn ang="0">
                    <a:pos x="4" y="13"/>
                  </a:cxn>
                  <a:cxn ang="0">
                    <a:pos x="3" y="15"/>
                  </a:cxn>
                  <a:cxn ang="0">
                    <a:pos x="11" y="17"/>
                  </a:cxn>
                  <a:cxn ang="0">
                    <a:pos x="16" y="22"/>
                  </a:cxn>
                  <a:cxn ang="0">
                    <a:pos x="16" y="23"/>
                  </a:cxn>
                  <a:cxn ang="0">
                    <a:pos x="13" y="23"/>
                  </a:cxn>
                  <a:cxn ang="0">
                    <a:pos x="10" y="26"/>
                  </a:cxn>
                  <a:cxn ang="0">
                    <a:pos x="7" y="23"/>
                  </a:cxn>
                  <a:cxn ang="0">
                    <a:pos x="3" y="22"/>
                  </a:cxn>
                  <a:cxn ang="0">
                    <a:pos x="3" y="23"/>
                  </a:cxn>
                  <a:cxn ang="0">
                    <a:pos x="10" y="29"/>
                  </a:cxn>
                  <a:cxn ang="0">
                    <a:pos x="14" y="26"/>
                  </a:cxn>
                  <a:cxn ang="0">
                    <a:pos x="17" y="26"/>
                  </a:cxn>
                  <a:cxn ang="0">
                    <a:pos x="20" y="28"/>
                  </a:cxn>
                  <a:cxn ang="0">
                    <a:pos x="24" y="25"/>
                  </a:cxn>
                  <a:cxn ang="0">
                    <a:pos x="33" y="15"/>
                  </a:cxn>
                  <a:cxn ang="0">
                    <a:pos x="35" y="15"/>
                  </a:cxn>
                  <a:cxn ang="0">
                    <a:pos x="36" y="10"/>
                  </a:cxn>
                  <a:cxn ang="0">
                    <a:pos x="36" y="9"/>
                  </a:cxn>
                  <a:cxn ang="0">
                    <a:pos x="29" y="3"/>
                  </a:cxn>
                  <a:cxn ang="0">
                    <a:pos x="3" y="0"/>
                  </a:cxn>
                  <a:cxn ang="0">
                    <a:pos x="0" y="4"/>
                  </a:cxn>
                  <a:cxn ang="0">
                    <a:pos x="0" y="6"/>
                  </a:cxn>
                  <a:cxn ang="0">
                    <a:pos x="0" y="6"/>
                  </a:cxn>
                </a:cxnLst>
                <a:rect l="0" t="0" r="r" b="b"/>
                <a:pathLst>
                  <a:path w="36" h="29">
                    <a:moveTo>
                      <a:pt x="0" y="6"/>
                    </a:moveTo>
                    <a:lnTo>
                      <a:pt x="4" y="9"/>
                    </a:lnTo>
                    <a:lnTo>
                      <a:pt x="4" y="13"/>
                    </a:lnTo>
                    <a:lnTo>
                      <a:pt x="3" y="15"/>
                    </a:lnTo>
                    <a:lnTo>
                      <a:pt x="11" y="17"/>
                    </a:lnTo>
                    <a:lnTo>
                      <a:pt x="16" y="22"/>
                    </a:lnTo>
                    <a:lnTo>
                      <a:pt x="16" y="23"/>
                    </a:lnTo>
                    <a:lnTo>
                      <a:pt x="13" y="23"/>
                    </a:lnTo>
                    <a:lnTo>
                      <a:pt x="10" y="26"/>
                    </a:lnTo>
                    <a:lnTo>
                      <a:pt x="7" y="23"/>
                    </a:lnTo>
                    <a:lnTo>
                      <a:pt x="3" y="22"/>
                    </a:lnTo>
                    <a:lnTo>
                      <a:pt x="3" y="23"/>
                    </a:lnTo>
                    <a:lnTo>
                      <a:pt x="10" y="29"/>
                    </a:lnTo>
                    <a:lnTo>
                      <a:pt x="14" y="26"/>
                    </a:lnTo>
                    <a:lnTo>
                      <a:pt x="17" y="26"/>
                    </a:lnTo>
                    <a:lnTo>
                      <a:pt x="20" y="28"/>
                    </a:lnTo>
                    <a:lnTo>
                      <a:pt x="24" y="25"/>
                    </a:lnTo>
                    <a:lnTo>
                      <a:pt x="33" y="15"/>
                    </a:lnTo>
                    <a:lnTo>
                      <a:pt x="35" y="15"/>
                    </a:lnTo>
                    <a:lnTo>
                      <a:pt x="36" y="10"/>
                    </a:lnTo>
                    <a:lnTo>
                      <a:pt x="36" y="9"/>
                    </a:lnTo>
                    <a:lnTo>
                      <a:pt x="29" y="3"/>
                    </a:lnTo>
                    <a:lnTo>
                      <a:pt x="3" y="0"/>
                    </a:lnTo>
                    <a:lnTo>
                      <a:pt x="0" y="4"/>
                    </a:lnTo>
                    <a:lnTo>
                      <a:pt x="0" y="6"/>
                    </a:lnTo>
                    <a:lnTo>
                      <a:pt x="0" y="6"/>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54" name="Freeform 780"/>
              <p:cNvSpPr>
                <a:spLocks/>
              </p:cNvSpPr>
              <p:nvPr/>
            </p:nvSpPr>
            <p:spPr bwMode="auto">
              <a:xfrm>
                <a:off x="7341745" y="1209852"/>
                <a:ext cx="1756" cy="1014"/>
              </a:xfrm>
              <a:custGeom>
                <a:avLst/>
                <a:gdLst/>
                <a:ahLst/>
                <a:cxnLst>
                  <a:cxn ang="0">
                    <a:pos x="2" y="0"/>
                  </a:cxn>
                  <a:cxn ang="0">
                    <a:pos x="0" y="0"/>
                  </a:cxn>
                  <a:cxn ang="0">
                    <a:pos x="2" y="0"/>
                  </a:cxn>
                  <a:cxn ang="0">
                    <a:pos x="2" y="0"/>
                  </a:cxn>
                  <a:cxn ang="0">
                    <a:pos x="2" y="0"/>
                  </a:cxn>
                </a:cxnLst>
                <a:rect l="0" t="0" r="r" b="b"/>
                <a:pathLst>
                  <a:path w="2">
                    <a:moveTo>
                      <a:pt x="2" y="0"/>
                    </a:moveTo>
                    <a:lnTo>
                      <a:pt x="0" y="0"/>
                    </a:lnTo>
                    <a:lnTo>
                      <a:pt x="2" y="0"/>
                    </a:lnTo>
                    <a:lnTo>
                      <a:pt x="2" y="0"/>
                    </a:lnTo>
                    <a:lnTo>
                      <a:pt x="2" y="0"/>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55" name="Freeform 781"/>
              <p:cNvSpPr>
                <a:spLocks/>
              </p:cNvSpPr>
              <p:nvPr/>
            </p:nvSpPr>
            <p:spPr bwMode="auto">
              <a:xfrm>
                <a:off x="7330334" y="1209852"/>
                <a:ext cx="95681" cy="101413"/>
              </a:xfrm>
              <a:custGeom>
                <a:avLst/>
                <a:gdLst/>
                <a:ahLst/>
                <a:cxnLst>
                  <a:cxn ang="0">
                    <a:pos x="21" y="13"/>
                  </a:cxn>
                  <a:cxn ang="0">
                    <a:pos x="24" y="17"/>
                  </a:cxn>
                  <a:cxn ang="0">
                    <a:pos x="15" y="20"/>
                  </a:cxn>
                  <a:cxn ang="0">
                    <a:pos x="5" y="38"/>
                  </a:cxn>
                  <a:cxn ang="0">
                    <a:pos x="3" y="39"/>
                  </a:cxn>
                  <a:cxn ang="0">
                    <a:pos x="5" y="44"/>
                  </a:cxn>
                  <a:cxn ang="0">
                    <a:pos x="8" y="38"/>
                  </a:cxn>
                  <a:cxn ang="0">
                    <a:pos x="12" y="41"/>
                  </a:cxn>
                  <a:cxn ang="0">
                    <a:pos x="13" y="44"/>
                  </a:cxn>
                  <a:cxn ang="0">
                    <a:pos x="19" y="42"/>
                  </a:cxn>
                  <a:cxn ang="0">
                    <a:pos x="22" y="65"/>
                  </a:cxn>
                  <a:cxn ang="0">
                    <a:pos x="27" y="73"/>
                  </a:cxn>
                  <a:cxn ang="0">
                    <a:pos x="31" y="78"/>
                  </a:cxn>
                  <a:cxn ang="0">
                    <a:pos x="43" y="78"/>
                  </a:cxn>
                  <a:cxn ang="0">
                    <a:pos x="45" y="78"/>
                  </a:cxn>
                  <a:cxn ang="0">
                    <a:pos x="48" y="81"/>
                  </a:cxn>
                  <a:cxn ang="0">
                    <a:pos x="61" y="89"/>
                  </a:cxn>
                  <a:cxn ang="0">
                    <a:pos x="67" y="93"/>
                  </a:cxn>
                  <a:cxn ang="0">
                    <a:pos x="85" y="97"/>
                  </a:cxn>
                  <a:cxn ang="0">
                    <a:pos x="90" y="96"/>
                  </a:cxn>
                  <a:cxn ang="0">
                    <a:pos x="95" y="92"/>
                  </a:cxn>
                  <a:cxn ang="0">
                    <a:pos x="98" y="84"/>
                  </a:cxn>
                  <a:cxn ang="0">
                    <a:pos x="98" y="77"/>
                  </a:cxn>
                  <a:cxn ang="0">
                    <a:pos x="95" y="68"/>
                  </a:cxn>
                  <a:cxn ang="0">
                    <a:pos x="88" y="61"/>
                  </a:cxn>
                  <a:cxn ang="0">
                    <a:pos x="96" y="61"/>
                  </a:cxn>
                  <a:cxn ang="0">
                    <a:pos x="98" y="42"/>
                  </a:cxn>
                  <a:cxn ang="0">
                    <a:pos x="101" y="31"/>
                  </a:cxn>
                  <a:cxn ang="0">
                    <a:pos x="103" y="28"/>
                  </a:cxn>
                  <a:cxn ang="0">
                    <a:pos x="101" y="23"/>
                  </a:cxn>
                  <a:cxn ang="0">
                    <a:pos x="101" y="17"/>
                  </a:cxn>
                  <a:cxn ang="0">
                    <a:pos x="96" y="6"/>
                  </a:cxn>
                  <a:cxn ang="0">
                    <a:pos x="93" y="0"/>
                  </a:cxn>
                  <a:cxn ang="0">
                    <a:pos x="88" y="1"/>
                  </a:cxn>
                  <a:cxn ang="0">
                    <a:pos x="79" y="0"/>
                  </a:cxn>
                  <a:cxn ang="0">
                    <a:pos x="79" y="9"/>
                  </a:cxn>
                  <a:cxn ang="0">
                    <a:pos x="70" y="20"/>
                  </a:cxn>
                  <a:cxn ang="0">
                    <a:pos x="61" y="25"/>
                  </a:cxn>
                  <a:cxn ang="0">
                    <a:pos x="67" y="17"/>
                  </a:cxn>
                  <a:cxn ang="0">
                    <a:pos x="69" y="12"/>
                  </a:cxn>
                  <a:cxn ang="0">
                    <a:pos x="76" y="1"/>
                  </a:cxn>
                  <a:cxn ang="0">
                    <a:pos x="25" y="0"/>
                  </a:cxn>
                  <a:cxn ang="0">
                    <a:pos x="21" y="9"/>
                  </a:cxn>
                </a:cxnLst>
                <a:rect l="0" t="0" r="r" b="b"/>
                <a:pathLst>
                  <a:path w="105" h="97">
                    <a:moveTo>
                      <a:pt x="21" y="9"/>
                    </a:moveTo>
                    <a:lnTo>
                      <a:pt x="21" y="13"/>
                    </a:lnTo>
                    <a:lnTo>
                      <a:pt x="24" y="15"/>
                    </a:lnTo>
                    <a:lnTo>
                      <a:pt x="24" y="17"/>
                    </a:lnTo>
                    <a:lnTo>
                      <a:pt x="21" y="19"/>
                    </a:lnTo>
                    <a:lnTo>
                      <a:pt x="15" y="20"/>
                    </a:lnTo>
                    <a:lnTo>
                      <a:pt x="12" y="28"/>
                    </a:lnTo>
                    <a:lnTo>
                      <a:pt x="5" y="38"/>
                    </a:lnTo>
                    <a:lnTo>
                      <a:pt x="0" y="36"/>
                    </a:lnTo>
                    <a:lnTo>
                      <a:pt x="3" y="39"/>
                    </a:lnTo>
                    <a:lnTo>
                      <a:pt x="5" y="44"/>
                    </a:lnTo>
                    <a:lnTo>
                      <a:pt x="5" y="44"/>
                    </a:lnTo>
                    <a:lnTo>
                      <a:pt x="6" y="38"/>
                    </a:lnTo>
                    <a:lnTo>
                      <a:pt x="8" y="38"/>
                    </a:lnTo>
                    <a:lnTo>
                      <a:pt x="11" y="42"/>
                    </a:lnTo>
                    <a:lnTo>
                      <a:pt x="12" y="41"/>
                    </a:lnTo>
                    <a:lnTo>
                      <a:pt x="13" y="42"/>
                    </a:lnTo>
                    <a:lnTo>
                      <a:pt x="13" y="44"/>
                    </a:lnTo>
                    <a:lnTo>
                      <a:pt x="16" y="42"/>
                    </a:lnTo>
                    <a:lnTo>
                      <a:pt x="19" y="42"/>
                    </a:lnTo>
                    <a:lnTo>
                      <a:pt x="21" y="61"/>
                    </a:lnTo>
                    <a:lnTo>
                      <a:pt x="22" y="65"/>
                    </a:lnTo>
                    <a:lnTo>
                      <a:pt x="25" y="67"/>
                    </a:lnTo>
                    <a:lnTo>
                      <a:pt x="27" y="73"/>
                    </a:lnTo>
                    <a:lnTo>
                      <a:pt x="29" y="76"/>
                    </a:lnTo>
                    <a:lnTo>
                      <a:pt x="31" y="78"/>
                    </a:lnTo>
                    <a:lnTo>
                      <a:pt x="41" y="67"/>
                    </a:lnTo>
                    <a:lnTo>
                      <a:pt x="43" y="78"/>
                    </a:lnTo>
                    <a:lnTo>
                      <a:pt x="43" y="80"/>
                    </a:lnTo>
                    <a:lnTo>
                      <a:pt x="45" y="78"/>
                    </a:lnTo>
                    <a:lnTo>
                      <a:pt x="48" y="80"/>
                    </a:lnTo>
                    <a:lnTo>
                      <a:pt x="48" y="81"/>
                    </a:lnTo>
                    <a:lnTo>
                      <a:pt x="60" y="86"/>
                    </a:lnTo>
                    <a:lnTo>
                      <a:pt x="61" y="89"/>
                    </a:lnTo>
                    <a:lnTo>
                      <a:pt x="66" y="90"/>
                    </a:lnTo>
                    <a:lnTo>
                      <a:pt x="67" y="93"/>
                    </a:lnTo>
                    <a:lnTo>
                      <a:pt x="69" y="96"/>
                    </a:lnTo>
                    <a:lnTo>
                      <a:pt x="85" y="97"/>
                    </a:lnTo>
                    <a:lnTo>
                      <a:pt x="88" y="96"/>
                    </a:lnTo>
                    <a:lnTo>
                      <a:pt x="90" y="96"/>
                    </a:lnTo>
                    <a:lnTo>
                      <a:pt x="92" y="92"/>
                    </a:lnTo>
                    <a:lnTo>
                      <a:pt x="95" y="92"/>
                    </a:lnTo>
                    <a:lnTo>
                      <a:pt x="98" y="89"/>
                    </a:lnTo>
                    <a:lnTo>
                      <a:pt x="98" y="84"/>
                    </a:lnTo>
                    <a:lnTo>
                      <a:pt x="98" y="81"/>
                    </a:lnTo>
                    <a:lnTo>
                      <a:pt x="98" y="77"/>
                    </a:lnTo>
                    <a:lnTo>
                      <a:pt x="95" y="73"/>
                    </a:lnTo>
                    <a:lnTo>
                      <a:pt x="95" y="68"/>
                    </a:lnTo>
                    <a:lnTo>
                      <a:pt x="92" y="68"/>
                    </a:lnTo>
                    <a:lnTo>
                      <a:pt x="88" y="61"/>
                    </a:lnTo>
                    <a:lnTo>
                      <a:pt x="88" y="55"/>
                    </a:lnTo>
                    <a:lnTo>
                      <a:pt x="96" y="61"/>
                    </a:lnTo>
                    <a:lnTo>
                      <a:pt x="98" y="57"/>
                    </a:lnTo>
                    <a:lnTo>
                      <a:pt x="98" y="42"/>
                    </a:lnTo>
                    <a:lnTo>
                      <a:pt x="98" y="42"/>
                    </a:lnTo>
                    <a:lnTo>
                      <a:pt x="101" y="31"/>
                    </a:lnTo>
                    <a:lnTo>
                      <a:pt x="105" y="28"/>
                    </a:lnTo>
                    <a:lnTo>
                      <a:pt x="103" y="28"/>
                    </a:lnTo>
                    <a:lnTo>
                      <a:pt x="101" y="28"/>
                    </a:lnTo>
                    <a:lnTo>
                      <a:pt x="101" y="23"/>
                    </a:lnTo>
                    <a:lnTo>
                      <a:pt x="102" y="16"/>
                    </a:lnTo>
                    <a:lnTo>
                      <a:pt x="101" y="17"/>
                    </a:lnTo>
                    <a:lnTo>
                      <a:pt x="101" y="15"/>
                    </a:lnTo>
                    <a:lnTo>
                      <a:pt x="96" y="6"/>
                    </a:lnTo>
                    <a:lnTo>
                      <a:pt x="95" y="1"/>
                    </a:lnTo>
                    <a:lnTo>
                      <a:pt x="93" y="0"/>
                    </a:lnTo>
                    <a:lnTo>
                      <a:pt x="89" y="0"/>
                    </a:lnTo>
                    <a:lnTo>
                      <a:pt x="88" y="1"/>
                    </a:lnTo>
                    <a:lnTo>
                      <a:pt x="86" y="0"/>
                    </a:lnTo>
                    <a:lnTo>
                      <a:pt x="79" y="0"/>
                    </a:lnTo>
                    <a:lnTo>
                      <a:pt x="80" y="1"/>
                    </a:lnTo>
                    <a:lnTo>
                      <a:pt x="79" y="9"/>
                    </a:lnTo>
                    <a:lnTo>
                      <a:pt x="73" y="13"/>
                    </a:lnTo>
                    <a:lnTo>
                      <a:pt x="70" y="20"/>
                    </a:lnTo>
                    <a:lnTo>
                      <a:pt x="66" y="20"/>
                    </a:lnTo>
                    <a:lnTo>
                      <a:pt x="61" y="25"/>
                    </a:lnTo>
                    <a:lnTo>
                      <a:pt x="58" y="25"/>
                    </a:lnTo>
                    <a:lnTo>
                      <a:pt x="67" y="17"/>
                    </a:lnTo>
                    <a:lnTo>
                      <a:pt x="69" y="17"/>
                    </a:lnTo>
                    <a:lnTo>
                      <a:pt x="69" y="12"/>
                    </a:lnTo>
                    <a:lnTo>
                      <a:pt x="76" y="9"/>
                    </a:lnTo>
                    <a:lnTo>
                      <a:pt x="76" y="1"/>
                    </a:lnTo>
                    <a:lnTo>
                      <a:pt x="76" y="0"/>
                    </a:lnTo>
                    <a:lnTo>
                      <a:pt x="25" y="0"/>
                    </a:lnTo>
                    <a:lnTo>
                      <a:pt x="22" y="4"/>
                    </a:lnTo>
                    <a:lnTo>
                      <a:pt x="21" y="9"/>
                    </a:lnTo>
                    <a:lnTo>
                      <a:pt x="21" y="9"/>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56" name="Freeform 782"/>
              <p:cNvSpPr>
                <a:spLocks/>
              </p:cNvSpPr>
              <p:nvPr/>
            </p:nvSpPr>
            <p:spPr bwMode="auto">
              <a:xfrm>
                <a:off x="6740452" y="1209852"/>
                <a:ext cx="4389" cy="4056"/>
              </a:xfrm>
              <a:custGeom>
                <a:avLst/>
                <a:gdLst/>
                <a:ahLst/>
                <a:cxnLst>
                  <a:cxn ang="0">
                    <a:pos x="5" y="1"/>
                  </a:cxn>
                  <a:cxn ang="0">
                    <a:pos x="5" y="0"/>
                  </a:cxn>
                  <a:cxn ang="0">
                    <a:pos x="0" y="0"/>
                  </a:cxn>
                  <a:cxn ang="0">
                    <a:pos x="0" y="4"/>
                  </a:cxn>
                  <a:cxn ang="0">
                    <a:pos x="5" y="1"/>
                  </a:cxn>
                  <a:cxn ang="0">
                    <a:pos x="5" y="1"/>
                  </a:cxn>
                </a:cxnLst>
                <a:rect l="0" t="0" r="r" b="b"/>
                <a:pathLst>
                  <a:path w="5" h="4">
                    <a:moveTo>
                      <a:pt x="5" y="1"/>
                    </a:moveTo>
                    <a:lnTo>
                      <a:pt x="5" y="0"/>
                    </a:lnTo>
                    <a:lnTo>
                      <a:pt x="0" y="0"/>
                    </a:lnTo>
                    <a:lnTo>
                      <a:pt x="0" y="4"/>
                    </a:lnTo>
                    <a:lnTo>
                      <a:pt x="5" y="1"/>
                    </a:lnTo>
                    <a:lnTo>
                      <a:pt x="5" y="1"/>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57" name="Freeform 783"/>
              <p:cNvSpPr>
                <a:spLocks/>
              </p:cNvSpPr>
              <p:nvPr/>
            </p:nvSpPr>
            <p:spPr bwMode="auto">
              <a:xfrm>
                <a:off x="6883534" y="1209852"/>
                <a:ext cx="15800" cy="13184"/>
              </a:xfrm>
              <a:custGeom>
                <a:avLst/>
                <a:gdLst/>
                <a:ahLst/>
                <a:cxnLst>
                  <a:cxn ang="0">
                    <a:pos x="0" y="4"/>
                  </a:cxn>
                  <a:cxn ang="0">
                    <a:pos x="2" y="7"/>
                  </a:cxn>
                  <a:cxn ang="0">
                    <a:pos x="2" y="9"/>
                  </a:cxn>
                  <a:cxn ang="0">
                    <a:pos x="2" y="10"/>
                  </a:cxn>
                  <a:cxn ang="0">
                    <a:pos x="4" y="7"/>
                  </a:cxn>
                  <a:cxn ang="0">
                    <a:pos x="7" y="10"/>
                  </a:cxn>
                  <a:cxn ang="0">
                    <a:pos x="7" y="10"/>
                  </a:cxn>
                  <a:cxn ang="0">
                    <a:pos x="7" y="12"/>
                  </a:cxn>
                  <a:cxn ang="0">
                    <a:pos x="7" y="13"/>
                  </a:cxn>
                  <a:cxn ang="0">
                    <a:pos x="13" y="10"/>
                  </a:cxn>
                  <a:cxn ang="0">
                    <a:pos x="13" y="9"/>
                  </a:cxn>
                  <a:cxn ang="0">
                    <a:pos x="16" y="9"/>
                  </a:cxn>
                  <a:cxn ang="0">
                    <a:pos x="17" y="7"/>
                  </a:cxn>
                  <a:cxn ang="0">
                    <a:pos x="16" y="6"/>
                  </a:cxn>
                  <a:cxn ang="0">
                    <a:pos x="16" y="0"/>
                  </a:cxn>
                  <a:cxn ang="0">
                    <a:pos x="16" y="0"/>
                  </a:cxn>
                  <a:cxn ang="0">
                    <a:pos x="2" y="0"/>
                  </a:cxn>
                  <a:cxn ang="0">
                    <a:pos x="0" y="1"/>
                  </a:cxn>
                  <a:cxn ang="0">
                    <a:pos x="0" y="4"/>
                  </a:cxn>
                  <a:cxn ang="0">
                    <a:pos x="0" y="4"/>
                  </a:cxn>
                </a:cxnLst>
                <a:rect l="0" t="0" r="r" b="b"/>
                <a:pathLst>
                  <a:path w="17" h="13">
                    <a:moveTo>
                      <a:pt x="0" y="4"/>
                    </a:moveTo>
                    <a:lnTo>
                      <a:pt x="2" y="7"/>
                    </a:lnTo>
                    <a:lnTo>
                      <a:pt x="2" y="9"/>
                    </a:lnTo>
                    <a:lnTo>
                      <a:pt x="2" y="10"/>
                    </a:lnTo>
                    <a:lnTo>
                      <a:pt x="4" y="7"/>
                    </a:lnTo>
                    <a:lnTo>
                      <a:pt x="7" y="10"/>
                    </a:lnTo>
                    <a:lnTo>
                      <a:pt x="7" y="10"/>
                    </a:lnTo>
                    <a:lnTo>
                      <a:pt x="7" y="12"/>
                    </a:lnTo>
                    <a:lnTo>
                      <a:pt x="7" y="13"/>
                    </a:lnTo>
                    <a:lnTo>
                      <a:pt x="13" y="10"/>
                    </a:lnTo>
                    <a:lnTo>
                      <a:pt x="13" y="9"/>
                    </a:lnTo>
                    <a:lnTo>
                      <a:pt x="16" y="9"/>
                    </a:lnTo>
                    <a:lnTo>
                      <a:pt x="17" y="7"/>
                    </a:lnTo>
                    <a:lnTo>
                      <a:pt x="16" y="6"/>
                    </a:lnTo>
                    <a:lnTo>
                      <a:pt x="16" y="0"/>
                    </a:lnTo>
                    <a:lnTo>
                      <a:pt x="16" y="0"/>
                    </a:lnTo>
                    <a:lnTo>
                      <a:pt x="2" y="0"/>
                    </a:lnTo>
                    <a:lnTo>
                      <a:pt x="0" y="1"/>
                    </a:lnTo>
                    <a:lnTo>
                      <a:pt x="0" y="4"/>
                    </a:lnTo>
                    <a:lnTo>
                      <a:pt x="0" y="4"/>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58" name="Freeform 784"/>
              <p:cNvSpPr>
                <a:spLocks/>
              </p:cNvSpPr>
              <p:nvPr/>
            </p:nvSpPr>
            <p:spPr bwMode="auto">
              <a:xfrm>
                <a:off x="6790487" y="2876071"/>
                <a:ext cx="63202" cy="55777"/>
              </a:xfrm>
              <a:custGeom>
                <a:avLst/>
                <a:gdLst/>
                <a:ahLst/>
                <a:cxnLst>
                  <a:cxn ang="0">
                    <a:pos x="51" y="54"/>
                  </a:cxn>
                  <a:cxn ang="0">
                    <a:pos x="0" y="30"/>
                  </a:cxn>
                  <a:cxn ang="0">
                    <a:pos x="2" y="29"/>
                  </a:cxn>
                  <a:cxn ang="0">
                    <a:pos x="3" y="29"/>
                  </a:cxn>
                  <a:cxn ang="0">
                    <a:pos x="5" y="32"/>
                  </a:cxn>
                  <a:cxn ang="0">
                    <a:pos x="12" y="32"/>
                  </a:cxn>
                  <a:cxn ang="0">
                    <a:pos x="16" y="30"/>
                  </a:cxn>
                  <a:cxn ang="0">
                    <a:pos x="24" y="30"/>
                  </a:cxn>
                  <a:cxn ang="0">
                    <a:pos x="28" y="32"/>
                  </a:cxn>
                  <a:cxn ang="0">
                    <a:pos x="37" y="30"/>
                  </a:cxn>
                  <a:cxn ang="0">
                    <a:pos x="40" y="29"/>
                  </a:cxn>
                  <a:cxn ang="0">
                    <a:pos x="41" y="28"/>
                  </a:cxn>
                  <a:cxn ang="0">
                    <a:pos x="41" y="26"/>
                  </a:cxn>
                  <a:cxn ang="0">
                    <a:pos x="41" y="26"/>
                  </a:cxn>
                  <a:cxn ang="0">
                    <a:pos x="44" y="25"/>
                  </a:cxn>
                  <a:cxn ang="0">
                    <a:pos x="44" y="23"/>
                  </a:cxn>
                  <a:cxn ang="0">
                    <a:pos x="45" y="22"/>
                  </a:cxn>
                  <a:cxn ang="0">
                    <a:pos x="48" y="19"/>
                  </a:cxn>
                  <a:cxn ang="0">
                    <a:pos x="50" y="17"/>
                  </a:cxn>
                  <a:cxn ang="0">
                    <a:pos x="53" y="14"/>
                  </a:cxn>
                  <a:cxn ang="0">
                    <a:pos x="56" y="13"/>
                  </a:cxn>
                  <a:cxn ang="0">
                    <a:pos x="56" y="12"/>
                  </a:cxn>
                  <a:cxn ang="0">
                    <a:pos x="57" y="9"/>
                  </a:cxn>
                  <a:cxn ang="0">
                    <a:pos x="58" y="9"/>
                  </a:cxn>
                  <a:cxn ang="0">
                    <a:pos x="60" y="6"/>
                  </a:cxn>
                  <a:cxn ang="0">
                    <a:pos x="64" y="0"/>
                  </a:cxn>
                  <a:cxn ang="0">
                    <a:pos x="66" y="3"/>
                  </a:cxn>
                  <a:cxn ang="0">
                    <a:pos x="66" y="4"/>
                  </a:cxn>
                  <a:cxn ang="0">
                    <a:pos x="66" y="6"/>
                  </a:cxn>
                  <a:cxn ang="0">
                    <a:pos x="69" y="9"/>
                  </a:cxn>
                  <a:cxn ang="0">
                    <a:pos x="60" y="19"/>
                  </a:cxn>
                  <a:cxn ang="0">
                    <a:pos x="60" y="29"/>
                  </a:cxn>
                  <a:cxn ang="0">
                    <a:pos x="63" y="29"/>
                  </a:cxn>
                  <a:cxn ang="0">
                    <a:pos x="58" y="33"/>
                  </a:cxn>
                  <a:cxn ang="0">
                    <a:pos x="53" y="52"/>
                  </a:cxn>
                </a:cxnLst>
                <a:rect l="0" t="0" r="r" b="b"/>
                <a:pathLst>
                  <a:path w="69" h="54">
                    <a:moveTo>
                      <a:pt x="53" y="52"/>
                    </a:moveTo>
                    <a:lnTo>
                      <a:pt x="51" y="54"/>
                    </a:lnTo>
                    <a:lnTo>
                      <a:pt x="15" y="49"/>
                    </a:lnTo>
                    <a:lnTo>
                      <a:pt x="0" y="30"/>
                    </a:lnTo>
                    <a:lnTo>
                      <a:pt x="0" y="29"/>
                    </a:lnTo>
                    <a:lnTo>
                      <a:pt x="2" y="29"/>
                    </a:lnTo>
                    <a:lnTo>
                      <a:pt x="2" y="28"/>
                    </a:lnTo>
                    <a:lnTo>
                      <a:pt x="3" y="29"/>
                    </a:lnTo>
                    <a:lnTo>
                      <a:pt x="3" y="32"/>
                    </a:lnTo>
                    <a:lnTo>
                      <a:pt x="5" y="32"/>
                    </a:lnTo>
                    <a:lnTo>
                      <a:pt x="12" y="33"/>
                    </a:lnTo>
                    <a:lnTo>
                      <a:pt x="12" y="32"/>
                    </a:lnTo>
                    <a:lnTo>
                      <a:pt x="13" y="30"/>
                    </a:lnTo>
                    <a:lnTo>
                      <a:pt x="16" y="30"/>
                    </a:lnTo>
                    <a:lnTo>
                      <a:pt x="22" y="30"/>
                    </a:lnTo>
                    <a:lnTo>
                      <a:pt x="24" y="30"/>
                    </a:lnTo>
                    <a:lnTo>
                      <a:pt x="27" y="30"/>
                    </a:lnTo>
                    <a:lnTo>
                      <a:pt x="28" y="32"/>
                    </a:lnTo>
                    <a:lnTo>
                      <a:pt x="35" y="32"/>
                    </a:lnTo>
                    <a:lnTo>
                      <a:pt x="37" y="30"/>
                    </a:lnTo>
                    <a:lnTo>
                      <a:pt x="38" y="29"/>
                    </a:lnTo>
                    <a:lnTo>
                      <a:pt x="40" y="29"/>
                    </a:lnTo>
                    <a:lnTo>
                      <a:pt x="40" y="28"/>
                    </a:lnTo>
                    <a:lnTo>
                      <a:pt x="41" y="28"/>
                    </a:lnTo>
                    <a:lnTo>
                      <a:pt x="42" y="28"/>
                    </a:lnTo>
                    <a:lnTo>
                      <a:pt x="41" y="26"/>
                    </a:lnTo>
                    <a:lnTo>
                      <a:pt x="41" y="26"/>
                    </a:lnTo>
                    <a:lnTo>
                      <a:pt x="41" y="26"/>
                    </a:lnTo>
                    <a:lnTo>
                      <a:pt x="44" y="25"/>
                    </a:lnTo>
                    <a:lnTo>
                      <a:pt x="44" y="25"/>
                    </a:lnTo>
                    <a:lnTo>
                      <a:pt x="44" y="25"/>
                    </a:lnTo>
                    <a:lnTo>
                      <a:pt x="44" y="23"/>
                    </a:lnTo>
                    <a:lnTo>
                      <a:pt x="45" y="22"/>
                    </a:lnTo>
                    <a:lnTo>
                      <a:pt x="45" y="22"/>
                    </a:lnTo>
                    <a:lnTo>
                      <a:pt x="45" y="20"/>
                    </a:lnTo>
                    <a:lnTo>
                      <a:pt x="48" y="19"/>
                    </a:lnTo>
                    <a:lnTo>
                      <a:pt x="48" y="17"/>
                    </a:lnTo>
                    <a:lnTo>
                      <a:pt x="50" y="17"/>
                    </a:lnTo>
                    <a:lnTo>
                      <a:pt x="51" y="16"/>
                    </a:lnTo>
                    <a:lnTo>
                      <a:pt x="53" y="14"/>
                    </a:lnTo>
                    <a:lnTo>
                      <a:pt x="54" y="13"/>
                    </a:lnTo>
                    <a:lnTo>
                      <a:pt x="56" y="13"/>
                    </a:lnTo>
                    <a:lnTo>
                      <a:pt x="56" y="12"/>
                    </a:lnTo>
                    <a:lnTo>
                      <a:pt x="56" y="12"/>
                    </a:lnTo>
                    <a:lnTo>
                      <a:pt x="56" y="10"/>
                    </a:lnTo>
                    <a:lnTo>
                      <a:pt x="57" y="9"/>
                    </a:lnTo>
                    <a:lnTo>
                      <a:pt x="57" y="9"/>
                    </a:lnTo>
                    <a:lnTo>
                      <a:pt x="58" y="9"/>
                    </a:lnTo>
                    <a:lnTo>
                      <a:pt x="58" y="7"/>
                    </a:lnTo>
                    <a:lnTo>
                      <a:pt x="60" y="6"/>
                    </a:lnTo>
                    <a:lnTo>
                      <a:pt x="63" y="3"/>
                    </a:lnTo>
                    <a:lnTo>
                      <a:pt x="64" y="0"/>
                    </a:lnTo>
                    <a:lnTo>
                      <a:pt x="64" y="1"/>
                    </a:lnTo>
                    <a:lnTo>
                      <a:pt x="66" y="3"/>
                    </a:lnTo>
                    <a:lnTo>
                      <a:pt x="64" y="4"/>
                    </a:lnTo>
                    <a:lnTo>
                      <a:pt x="66" y="4"/>
                    </a:lnTo>
                    <a:lnTo>
                      <a:pt x="64" y="6"/>
                    </a:lnTo>
                    <a:lnTo>
                      <a:pt x="66" y="6"/>
                    </a:lnTo>
                    <a:lnTo>
                      <a:pt x="67" y="7"/>
                    </a:lnTo>
                    <a:lnTo>
                      <a:pt x="69" y="9"/>
                    </a:lnTo>
                    <a:lnTo>
                      <a:pt x="69" y="19"/>
                    </a:lnTo>
                    <a:lnTo>
                      <a:pt x="60" y="19"/>
                    </a:lnTo>
                    <a:lnTo>
                      <a:pt x="61" y="28"/>
                    </a:lnTo>
                    <a:lnTo>
                      <a:pt x="60" y="29"/>
                    </a:lnTo>
                    <a:lnTo>
                      <a:pt x="61" y="30"/>
                    </a:lnTo>
                    <a:lnTo>
                      <a:pt x="63" y="29"/>
                    </a:lnTo>
                    <a:lnTo>
                      <a:pt x="61" y="32"/>
                    </a:lnTo>
                    <a:lnTo>
                      <a:pt x="58" y="33"/>
                    </a:lnTo>
                    <a:lnTo>
                      <a:pt x="53" y="52"/>
                    </a:lnTo>
                    <a:lnTo>
                      <a:pt x="53" y="52"/>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59" name="Freeform 785"/>
              <p:cNvSpPr>
                <a:spLocks/>
              </p:cNvSpPr>
              <p:nvPr/>
            </p:nvSpPr>
            <p:spPr bwMode="auto">
              <a:xfrm>
                <a:off x="6675495" y="2989654"/>
                <a:ext cx="135181" cy="97357"/>
              </a:xfrm>
              <a:custGeom>
                <a:avLst/>
                <a:gdLst/>
                <a:ahLst/>
                <a:cxnLst>
                  <a:cxn ang="0">
                    <a:pos x="141" y="39"/>
                  </a:cxn>
                  <a:cxn ang="0">
                    <a:pos x="137" y="46"/>
                  </a:cxn>
                  <a:cxn ang="0">
                    <a:pos x="137" y="51"/>
                  </a:cxn>
                  <a:cxn ang="0">
                    <a:pos x="135" y="51"/>
                  </a:cxn>
                  <a:cxn ang="0">
                    <a:pos x="128" y="52"/>
                  </a:cxn>
                  <a:cxn ang="0">
                    <a:pos x="92" y="67"/>
                  </a:cxn>
                  <a:cxn ang="0">
                    <a:pos x="84" y="74"/>
                  </a:cxn>
                  <a:cxn ang="0">
                    <a:pos x="74" y="75"/>
                  </a:cxn>
                  <a:cxn ang="0">
                    <a:pos x="70" y="78"/>
                  </a:cxn>
                  <a:cxn ang="0">
                    <a:pos x="57" y="83"/>
                  </a:cxn>
                  <a:cxn ang="0">
                    <a:pos x="45" y="83"/>
                  </a:cxn>
                  <a:cxn ang="0">
                    <a:pos x="41" y="89"/>
                  </a:cxn>
                  <a:cxn ang="0">
                    <a:pos x="26" y="93"/>
                  </a:cxn>
                  <a:cxn ang="0">
                    <a:pos x="20" y="93"/>
                  </a:cxn>
                  <a:cxn ang="0">
                    <a:pos x="16" y="93"/>
                  </a:cxn>
                  <a:cxn ang="0">
                    <a:pos x="10" y="89"/>
                  </a:cxn>
                  <a:cxn ang="0">
                    <a:pos x="7" y="77"/>
                  </a:cxn>
                  <a:cxn ang="0">
                    <a:pos x="3" y="59"/>
                  </a:cxn>
                  <a:cxn ang="0">
                    <a:pos x="0" y="55"/>
                  </a:cxn>
                  <a:cxn ang="0">
                    <a:pos x="2" y="55"/>
                  </a:cxn>
                  <a:cxn ang="0">
                    <a:pos x="0" y="52"/>
                  </a:cxn>
                  <a:cxn ang="0">
                    <a:pos x="0" y="49"/>
                  </a:cxn>
                  <a:cxn ang="0">
                    <a:pos x="2" y="46"/>
                  </a:cxn>
                  <a:cxn ang="0">
                    <a:pos x="0" y="39"/>
                  </a:cxn>
                  <a:cxn ang="0">
                    <a:pos x="4" y="36"/>
                  </a:cxn>
                  <a:cxn ang="0">
                    <a:pos x="9" y="32"/>
                  </a:cxn>
                  <a:cxn ang="0">
                    <a:pos x="12" y="29"/>
                  </a:cxn>
                  <a:cxn ang="0">
                    <a:pos x="23" y="23"/>
                  </a:cxn>
                  <a:cxn ang="0">
                    <a:pos x="62" y="30"/>
                  </a:cxn>
                  <a:cxn ang="0">
                    <a:pos x="68" y="29"/>
                  </a:cxn>
                  <a:cxn ang="0">
                    <a:pos x="78" y="13"/>
                  </a:cxn>
                  <a:cxn ang="0">
                    <a:pos x="134" y="0"/>
                  </a:cxn>
                  <a:cxn ang="0">
                    <a:pos x="148" y="36"/>
                  </a:cxn>
                </a:cxnLst>
                <a:rect l="0" t="0" r="r" b="b"/>
                <a:pathLst>
                  <a:path w="148" h="94">
                    <a:moveTo>
                      <a:pt x="148" y="36"/>
                    </a:moveTo>
                    <a:lnTo>
                      <a:pt x="141" y="39"/>
                    </a:lnTo>
                    <a:lnTo>
                      <a:pt x="138" y="42"/>
                    </a:lnTo>
                    <a:lnTo>
                      <a:pt x="137" y="46"/>
                    </a:lnTo>
                    <a:lnTo>
                      <a:pt x="137" y="49"/>
                    </a:lnTo>
                    <a:lnTo>
                      <a:pt x="137" y="51"/>
                    </a:lnTo>
                    <a:lnTo>
                      <a:pt x="137" y="51"/>
                    </a:lnTo>
                    <a:lnTo>
                      <a:pt x="135" y="51"/>
                    </a:lnTo>
                    <a:lnTo>
                      <a:pt x="134" y="51"/>
                    </a:lnTo>
                    <a:lnTo>
                      <a:pt x="128" y="52"/>
                    </a:lnTo>
                    <a:lnTo>
                      <a:pt x="126" y="55"/>
                    </a:lnTo>
                    <a:lnTo>
                      <a:pt x="92" y="67"/>
                    </a:lnTo>
                    <a:lnTo>
                      <a:pt x="90" y="71"/>
                    </a:lnTo>
                    <a:lnTo>
                      <a:pt x="84" y="74"/>
                    </a:lnTo>
                    <a:lnTo>
                      <a:pt x="84" y="75"/>
                    </a:lnTo>
                    <a:lnTo>
                      <a:pt x="74" y="75"/>
                    </a:lnTo>
                    <a:lnTo>
                      <a:pt x="71" y="77"/>
                    </a:lnTo>
                    <a:lnTo>
                      <a:pt x="70" y="78"/>
                    </a:lnTo>
                    <a:lnTo>
                      <a:pt x="60" y="83"/>
                    </a:lnTo>
                    <a:lnTo>
                      <a:pt x="57" y="83"/>
                    </a:lnTo>
                    <a:lnTo>
                      <a:pt x="54" y="83"/>
                    </a:lnTo>
                    <a:lnTo>
                      <a:pt x="45" y="83"/>
                    </a:lnTo>
                    <a:lnTo>
                      <a:pt x="42" y="86"/>
                    </a:lnTo>
                    <a:lnTo>
                      <a:pt x="41" y="89"/>
                    </a:lnTo>
                    <a:lnTo>
                      <a:pt x="32" y="93"/>
                    </a:lnTo>
                    <a:lnTo>
                      <a:pt x="26" y="93"/>
                    </a:lnTo>
                    <a:lnTo>
                      <a:pt x="22" y="94"/>
                    </a:lnTo>
                    <a:lnTo>
                      <a:pt x="20" y="93"/>
                    </a:lnTo>
                    <a:lnTo>
                      <a:pt x="17" y="94"/>
                    </a:lnTo>
                    <a:lnTo>
                      <a:pt x="16" y="93"/>
                    </a:lnTo>
                    <a:lnTo>
                      <a:pt x="12" y="93"/>
                    </a:lnTo>
                    <a:lnTo>
                      <a:pt x="10" y="89"/>
                    </a:lnTo>
                    <a:lnTo>
                      <a:pt x="9" y="86"/>
                    </a:lnTo>
                    <a:lnTo>
                      <a:pt x="7" y="77"/>
                    </a:lnTo>
                    <a:lnTo>
                      <a:pt x="6" y="75"/>
                    </a:lnTo>
                    <a:lnTo>
                      <a:pt x="3" y="59"/>
                    </a:lnTo>
                    <a:lnTo>
                      <a:pt x="0" y="55"/>
                    </a:lnTo>
                    <a:lnTo>
                      <a:pt x="0" y="55"/>
                    </a:lnTo>
                    <a:lnTo>
                      <a:pt x="0" y="55"/>
                    </a:lnTo>
                    <a:lnTo>
                      <a:pt x="2" y="55"/>
                    </a:lnTo>
                    <a:lnTo>
                      <a:pt x="2" y="54"/>
                    </a:lnTo>
                    <a:lnTo>
                      <a:pt x="0" y="52"/>
                    </a:lnTo>
                    <a:lnTo>
                      <a:pt x="0" y="51"/>
                    </a:lnTo>
                    <a:lnTo>
                      <a:pt x="0" y="49"/>
                    </a:lnTo>
                    <a:lnTo>
                      <a:pt x="2" y="48"/>
                    </a:lnTo>
                    <a:lnTo>
                      <a:pt x="2" y="46"/>
                    </a:lnTo>
                    <a:lnTo>
                      <a:pt x="2" y="39"/>
                    </a:lnTo>
                    <a:lnTo>
                      <a:pt x="0" y="39"/>
                    </a:lnTo>
                    <a:lnTo>
                      <a:pt x="3" y="38"/>
                    </a:lnTo>
                    <a:lnTo>
                      <a:pt x="4" y="36"/>
                    </a:lnTo>
                    <a:lnTo>
                      <a:pt x="6" y="35"/>
                    </a:lnTo>
                    <a:lnTo>
                      <a:pt x="9" y="32"/>
                    </a:lnTo>
                    <a:lnTo>
                      <a:pt x="10" y="30"/>
                    </a:lnTo>
                    <a:lnTo>
                      <a:pt x="12" y="29"/>
                    </a:lnTo>
                    <a:lnTo>
                      <a:pt x="17" y="29"/>
                    </a:lnTo>
                    <a:lnTo>
                      <a:pt x="23" y="23"/>
                    </a:lnTo>
                    <a:lnTo>
                      <a:pt x="58" y="25"/>
                    </a:lnTo>
                    <a:lnTo>
                      <a:pt x="62" y="30"/>
                    </a:lnTo>
                    <a:lnTo>
                      <a:pt x="64" y="30"/>
                    </a:lnTo>
                    <a:lnTo>
                      <a:pt x="68" y="29"/>
                    </a:lnTo>
                    <a:lnTo>
                      <a:pt x="70" y="23"/>
                    </a:lnTo>
                    <a:lnTo>
                      <a:pt x="78" y="13"/>
                    </a:lnTo>
                    <a:lnTo>
                      <a:pt x="92" y="6"/>
                    </a:lnTo>
                    <a:lnTo>
                      <a:pt x="134" y="0"/>
                    </a:lnTo>
                    <a:lnTo>
                      <a:pt x="148" y="36"/>
                    </a:lnTo>
                    <a:lnTo>
                      <a:pt x="148" y="36"/>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60" name="Freeform 786"/>
              <p:cNvSpPr>
                <a:spLocks/>
              </p:cNvSpPr>
              <p:nvPr/>
            </p:nvSpPr>
            <p:spPr bwMode="auto">
              <a:xfrm>
                <a:off x="6270829" y="3360826"/>
                <a:ext cx="163271" cy="183558"/>
              </a:xfrm>
              <a:custGeom>
                <a:avLst/>
                <a:gdLst/>
                <a:ahLst/>
                <a:cxnLst>
                  <a:cxn ang="0">
                    <a:pos x="1" y="147"/>
                  </a:cxn>
                  <a:cxn ang="0">
                    <a:pos x="10" y="116"/>
                  </a:cxn>
                  <a:cxn ang="0">
                    <a:pos x="11" y="113"/>
                  </a:cxn>
                  <a:cxn ang="0">
                    <a:pos x="13" y="107"/>
                  </a:cxn>
                  <a:cxn ang="0">
                    <a:pos x="17" y="102"/>
                  </a:cxn>
                  <a:cxn ang="0">
                    <a:pos x="27" y="93"/>
                  </a:cxn>
                  <a:cxn ang="0">
                    <a:pos x="30" y="73"/>
                  </a:cxn>
                  <a:cxn ang="0">
                    <a:pos x="26" y="65"/>
                  </a:cxn>
                  <a:cxn ang="0">
                    <a:pos x="23" y="61"/>
                  </a:cxn>
                  <a:cxn ang="0">
                    <a:pos x="20" y="46"/>
                  </a:cxn>
                  <a:cxn ang="0">
                    <a:pos x="23" y="39"/>
                  </a:cxn>
                  <a:cxn ang="0">
                    <a:pos x="20" y="33"/>
                  </a:cxn>
                  <a:cxn ang="0">
                    <a:pos x="10" y="7"/>
                  </a:cxn>
                  <a:cxn ang="0">
                    <a:pos x="10" y="6"/>
                  </a:cxn>
                  <a:cxn ang="0">
                    <a:pos x="39" y="0"/>
                  </a:cxn>
                  <a:cxn ang="0">
                    <a:pos x="65" y="0"/>
                  </a:cxn>
                  <a:cxn ang="0">
                    <a:pos x="66" y="3"/>
                  </a:cxn>
                  <a:cxn ang="0">
                    <a:pos x="69" y="3"/>
                  </a:cxn>
                  <a:cxn ang="0">
                    <a:pos x="84" y="32"/>
                  </a:cxn>
                  <a:cxn ang="0">
                    <a:pos x="91" y="33"/>
                  </a:cxn>
                  <a:cxn ang="0">
                    <a:pos x="109" y="30"/>
                  </a:cxn>
                  <a:cxn ang="0">
                    <a:pos x="110" y="25"/>
                  </a:cxn>
                  <a:cxn ang="0">
                    <a:pos x="123" y="17"/>
                  </a:cxn>
                  <a:cxn ang="0">
                    <a:pos x="130" y="16"/>
                  </a:cxn>
                  <a:cxn ang="0">
                    <a:pos x="142" y="22"/>
                  </a:cxn>
                  <a:cxn ang="0">
                    <a:pos x="146" y="45"/>
                  </a:cxn>
                  <a:cxn ang="0">
                    <a:pos x="145" y="55"/>
                  </a:cxn>
                  <a:cxn ang="0">
                    <a:pos x="151" y="70"/>
                  </a:cxn>
                  <a:cxn ang="0">
                    <a:pos x="146" y="75"/>
                  </a:cxn>
                  <a:cxn ang="0">
                    <a:pos x="148" y="77"/>
                  </a:cxn>
                  <a:cxn ang="0">
                    <a:pos x="149" y="78"/>
                  </a:cxn>
                  <a:cxn ang="0">
                    <a:pos x="152" y="78"/>
                  </a:cxn>
                  <a:cxn ang="0">
                    <a:pos x="155" y="74"/>
                  </a:cxn>
                  <a:cxn ang="0">
                    <a:pos x="171" y="74"/>
                  </a:cxn>
                  <a:cxn ang="0">
                    <a:pos x="174" y="74"/>
                  </a:cxn>
                  <a:cxn ang="0">
                    <a:pos x="177" y="73"/>
                  </a:cxn>
                  <a:cxn ang="0">
                    <a:pos x="177" y="74"/>
                  </a:cxn>
                  <a:cxn ang="0">
                    <a:pos x="177" y="75"/>
                  </a:cxn>
                  <a:cxn ang="0">
                    <a:pos x="175" y="100"/>
                  </a:cxn>
                  <a:cxn ang="0">
                    <a:pos x="177" y="102"/>
                  </a:cxn>
                  <a:cxn ang="0">
                    <a:pos x="148" y="103"/>
                  </a:cxn>
                  <a:cxn ang="0">
                    <a:pos x="149" y="157"/>
                  </a:cxn>
                  <a:cxn ang="0">
                    <a:pos x="161" y="168"/>
                  </a:cxn>
                  <a:cxn ang="0">
                    <a:pos x="165" y="171"/>
                  </a:cxn>
                  <a:cxn ang="0">
                    <a:pos x="139" y="177"/>
                  </a:cxn>
                  <a:cxn ang="0">
                    <a:pos x="100" y="173"/>
                  </a:cxn>
                  <a:cxn ang="0">
                    <a:pos x="94" y="167"/>
                  </a:cxn>
                  <a:cxn ang="0">
                    <a:pos x="29" y="164"/>
                  </a:cxn>
                  <a:cxn ang="0">
                    <a:pos x="23" y="161"/>
                  </a:cxn>
                  <a:cxn ang="0">
                    <a:pos x="13" y="161"/>
                  </a:cxn>
                  <a:cxn ang="0">
                    <a:pos x="8" y="164"/>
                  </a:cxn>
                  <a:cxn ang="0">
                    <a:pos x="0" y="167"/>
                  </a:cxn>
                  <a:cxn ang="0">
                    <a:pos x="0" y="157"/>
                  </a:cxn>
                </a:cxnLst>
                <a:rect l="0" t="0" r="r" b="b"/>
                <a:pathLst>
                  <a:path w="178" h="177">
                    <a:moveTo>
                      <a:pt x="0" y="154"/>
                    </a:moveTo>
                    <a:lnTo>
                      <a:pt x="1" y="147"/>
                    </a:lnTo>
                    <a:lnTo>
                      <a:pt x="3" y="144"/>
                    </a:lnTo>
                    <a:lnTo>
                      <a:pt x="10" y="116"/>
                    </a:lnTo>
                    <a:lnTo>
                      <a:pt x="10" y="115"/>
                    </a:lnTo>
                    <a:lnTo>
                      <a:pt x="11" y="113"/>
                    </a:lnTo>
                    <a:lnTo>
                      <a:pt x="11" y="112"/>
                    </a:lnTo>
                    <a:lnTo>
                      <a:pt x="13" y="107"/>
                    </a:lnTo>
                    <a:lnTo>
                      <a:pt x="17" y="105"/>
                    </a:lnTo>
                    <a:lnTo>
                      <a:pt x="17" y="102"/>
                    </a:lnTo>
                    <a:lnTo>
                      <a:pt x="23" y="99"/>
                    </a:lnTo>
                    <a:lnTo>
                      <a:pt x="27" y="93"/>
                    </a:lnTo>
                    <a:lnTo>
                      <a:pt x="29" y="75"/>
                    </a:lnTo>
                    <a:lnTo>
                      <a:pt x="30" y="73"/>
                    </a:lnTo>
                    <a:lnTo>
                      <a:pt x="29" y="68"/>
                    </a:lnTo>
                    <a:lnTo>
                      <a:pt x="26" y="65"/>
                    </a:lnTo>
                    <a:lnTo>
                      <a:pt x="24" y="62"/>
                    </a:lnTo>
                    <a:lnTo>
                      <a:pt x="23" y="61"/>
                    </a:lnTo>
                    <a:lnTo>
                      <a:pt x="20" y="48"/>
                    </a:lnTo>
                    <a:lnTo>
                      <a:pt x="20" y="46"/>
                    </a:lnTo>
                    <a:lnTo>
                      <a:pt x="23" y="44"/>
                    </a:lnTo>
                    <a:lnTo>
                      <a:pt x="23" y="39"/>
                    </a:lnTo>
                    <a:lnTo>
                      <a:pt x="23" y="35"/>
                    </a:lnTo>
                    <a:lnTo>
                      <a:pt x="20" y="33"/>
                    </a:lnTo>
                    <a:lnTo>
                      <a:pt x="16" y="17"/>
                    </a:lnTo>
                    <a:lnTo>
                      <a:pt x="10" y="7"/>
                    </a:lnTo>
                    <a:lnTo>
                      <a:pt x="10" y="7"/>
                    </a:lnTo>
                    <a:lnTo>
                      <a:pt x="10" y="6"/>
                    </a:lnTo>
                    <a:lnTo>
                      <a:pt x="23" y="1"/>
                    </a:lnTo>
                    <a:lnTo>
                      <a:pt x="39" y="0"/>
                    </a:lnTo>
                    <a:lnTo>
                      <a:pt x="40" y="1"/>
                    </a:lnTo>
                    <a:lnTo>
                      <a:pt x="65" y="0"/>
                    </a:lnTo>
                    <a:lnTo>
                      <a:pt x="66" y="0"/>
                    </a:lnTo>
                    <a:lnTo>
                      <a:pt x="66" y="3"/>
                    </a:lnTo>
                    <a:lnTo>
                      <a:pt x="68" y="3"/>
                    </a:lnTo>
                    <a:lnTo>
                      <a:pt x="69" y="3"/>
                    </a:lnTo>
                    <a:lnTo>
                      <a:pt x="75" y="22"/>
                    </a:lnTo>
                    <a:lnTo>
                      <a:pt x="84" y="32"/>
                    </a:lnTo>
                    <a:lnTo>
                      <a:pt x="87" y="33"/>
                    </a:lnTo>
                    <a:lnTo>
                      <a:pt x="91" y="33"/>
                    </a:lnTo>
                    <a:lnTo>
                      <a:pt x="100" y="30"/>
                    </a:lnTo>
                    <a:lnTo>
                      <a:pt x="109" y="30"/>
                    </a:lnTo>
                    <a:lnTo>
                      <a:pt x="110" y="26"/>
                    </a:lnTo>
                    <a:lnTo>
                      <a:pt x="110" y="25"/>
                    </a:lnTo>
                    <a:lnTo>
                      <a:pt x="113" y="17"/>
                    </a:lnTo>
                    <a:lnTo>
                      <a:pt x="123" y="17"/>
                    </a:lnTo>
                    <a:lnTo>
                      <a:pt x="125" y="16"/>
                    </a:lnTo>
                    <a:lnTo>
                      <a:pt x="130" y="16"/>
                    </a:lnTo>
                    <a:lnTo>
                      <a:pt x="130" y="22"/>
                    </a:lnTo>
                    <a:lnTo>
                      <a:pt x="142" y="22"/>
                    </a:lnTo>
                    <a:lnTo>
                      <a:pt x="143" y="25"/>
                    </a:lnTo>
                    <a:lnTo>
                      <a:pt x="146" y="45"/>
                    </a:lnTo>
                    <a:lnTo>
                      <a:pt x="145" y="49"/>
                    </a:lnTo>
                    <a:lnTo>
                      <a:pt x="145" y="55"/>
                    </a:lnTo>
                    <a:lnTo>
                      <a:pt x="151" y="68"/>
                    </a:lnTo>
                    <a:lnTo>
                      <a:pt x="151" y="70"/>
                    </a:lnTo>
                    <a:lnTo>
                      <a:pt x="146" y="74"/>
                    </a:lnTo>
                    <a:lnTo>
                      <a:pt x="146" y="75"/>
                    </a:lnTo>
                    <a:lnTo>
                      <a:pt x="146" y="75"/>
                    </a:lnTo>
                    <a:lnTo>
                      <a:pt x="148" y="77"/>
                    </a:lnTo>
                    <a:lnTo>
                      <a:pt x="148" y="77"/>
                    </a:lnTo>
                    <a:lnTo>
                      <a:pt x="149" y="78"/>
                    </a:lnTo>
                    <a:lnTo>
                      <a:pt x="151" y="78"/>
                    </a:lnTo>
                    <a:lnTo>
                      <a:pt x="152" y="78"/>
                    </a:lnTo>
                    <a:lnTo>
                      <a:pt x="154" y="75"/>
                    </a:lnTo>
                    <a:lnTo>
                      <a:pt x="155" y="74"/>
                    </a:lnTo>
                    <a:lnTo>
                      <a:pt x="168" y="74"/>
                    </a:lnTo>
                    <a:lnTo>
                      <a:pt x="171" y="74"/>
                    </a:lnTo>
                    <a:lnTo>
                      <a:pt x="172" y="74"/>
                    </a:lnTo>
                    <a:lnTo>
                      <a:pt x="174" y="74"/>
                    </a:lnTo>
                    <a:lnTo>
                      <a:pt x="175" y="73"/>
                    </a:lnTo>
                    <a:lnTo>
                      <a:pt x="177" y="73"/>
                    </a:lnTo>
                    <a:lnTo>
                      <a:pt x="177" y="73"/>
                    </a:lnTo>
                    <a:lnTo>
                      <a:pt x="177" y="74"/>
                    </a:lnTo>
                    <a:lnTo>
                      <a:pt x="177" y="74"/>
                    </a:lnTo>
                    <a:lnTo>
                      <a:pt x="177" y="75"/>
                    </a:lnTo>
                    <a:lnTo>
                      <a:pt x="177" y="77"/>
                    </a:lnTo>
                    <a:lnTo>
                      <a:pt x="175" y="100"/>
                    </a:lnTo>
                    <a:lnTo>
                      <a:pt x="175" y="102"/>
                    </a:lnTo>
                    <a:lnTo>
                      <a:pt x="177" y="102"/>
                    </a:lnTo>
                    <a:lnTo>
                      <a:pt x="178" y="103"/>
                    </a:lnTo>
                    <a:lnTo>
                      <a:pt x="148" y="103"/>
                    </a:lnTo>
                    <a:lnTo>
                      <a:pt x="148" y="155"/>
                    </a:lnTo>
                    <a:lnTo>
                      <a:pt x="149" y="157"/>
                    </a:lnTo>
                    <a:lnTo>
                      <a:pt x="151" y="160"/>
                    </a:lnTo>
                    <a:lnTo>
                      <a:pt x="161" y="168"/>
                    </a:lnTo>
                    <a:lnTo>
                      <a:pt x="162" y="170"/>
                    </a:lnTo>
                    <a:lnTo>
                      <a:pt x="165" y="171"/>
                    </a:lnTo>
                    <a:lnTo>
                      <a:pt x="164" y="171"/>
                    </a:lnTo>
                    <a:lnTo>
                      <a:pt x="139" y="177"/>
                    </a:lnTo>
                    <a:lnTo>
                      <a:pt x="139" y="177"/>
                    </a:lnTo>
                    <a:lnTo>
                      <a:pt x="100" y="173"/>
                    </a:lnTo>
                    <a:lnTo>
                      <a:pt x="98" y="170"/>
                    </a:lnTo>
                    <a:lnTo>
                      <a:pt x="94" y="167"/>
                    </a:lnTo>
                    <a:lnTo>
                      <a:pt x="32" y="167"/>
                    </a:lnTo>
                    <a:lnTo>
                      <a:pt x="29" y="164"/>
                    </a:lnTo>
                    <a:lnTo>
                      <a:pt x="24" y="163"/>
                    </a:lnTo>
                    <a:lnTo>
                      <a:pt x="23" y="161"/>
                    </a:lnTo>
                    <a:lnTo>
                      <a:pt x="14" y="160"/>
                    </a:lnTo>
                    <a:lnTo>
                      <a:pt x="13" y="161"/>
                    </a:lnTo>
                    <a:lnTo>
                      <a:pt x="10" y="164"/>
                    </a:lnTo>
                    <a:lnTo>
                      <a:pt x="8" y="164"/>
                    </a:lnTo>
                    <a:lnTo>
                      <a:pt x="5" y="163"/>
                    </a:lnTo>
                    <a:lnTo>
                      <a:pt x="0" y="167"/>
                    </a:lnTo>
                    <a:lnTo>
                      <a:pt x="0" y="157"/>
                    </a:lnTo>
                    <a:lnTo>
                      <a:pt x="0" y="157"/>
                    </a:lnTo>
                    <a:lnTo>
                      <a:pt x="0" y="154"/>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61" name="Freeform 788"/>
              <p:cNvSpPr>
                <a:spLocks/>
              </p:cNvSpPr>
              <p:nvPr/>
            </p:nvSpPr>
            <p:spPr bwMode="auto">
              <a:xfrm>
                <a:off x="6274340" y="3340544"/>
                <a:ext cx="14045" cy="21297"/>
              </a:xfrm>
              <a:custGeom>
                <a:avLst/>
                <a:gdLst/>
                <a:ahLst/>
                <a:cxnLst>
                  <a:cxn ang="0">
                    <a:pos x="15" y="3"/>
                  </a:cxn>
                  <a:cxn ang="0">
                    <a:pos x="13" y="0"/>
                  </a:cxn>
                  <a:cxn ang="0">
                    <a:pos x="12" y="0"/>
                  </a:cxn>
                  <a:cxn ang="0">
                    <a:pos x="9" y="1"/>
                  </a:cxn>
                  <a:cxn ang="0">
                    <a:pos x="7" y="4"/>
                  </a:cxn>
                  <a:cxn ang="0">
                    <a:pos x="0" y="9"/>
                  </a:cxn>
                  <a:cxn ang="0">
                    <a:pos x="1" y="10"/>
                  </a:cxn>
                  <a:cxn ang="0">
                    <a:pos x="3" y="17"/>
                  </a:cxn>
                  <a:cxn ang="0">
                    <a:pos x="6" y="20"/>
                  </a:cxn>
                  <a:cxn ang="0">
                    <a:pos x="7" y="19"/>
                  </a:cxn>
                  <a:cxn ang="0">
                    <a:pos x="9" y="7"/>
                  </a:cxn>
                  <a:cxn ang="0">
                    <a:pos x="15" y="3"/>
                  </a:cxn>
                  <a:cxn ang="0">
                    <a:pos x="15" y="3"/>
                  </a:cxn>
                </a:cxnLst>
                <a:rect l="0" t="0" r="r" b="b"/>
                <a:pathLst>
                  <a:path w="15" h="20">
                    <a:moveTo>
                      <a:pt x="15" y="3"/>
                    </a:moveTo>
                    <a:lnTo>
                      <a:pt x="13" y="0"/>
                    </a:lnTo>
                    <a:lnTo>
                      <a:pt x="12" y="0"/>
                    </a:lnTo>
                    <a:lnTo>
                      <a:pt x="9" y="1"/>
                    </a:lnTo>
                    <a:lnTo>
                      <a:pt x="7" y="4"/>
                    </a:lnTo>
                    <a:lnTo>
                      <a:pt x="0" y="9"/>
                    </a:lnTo>
                    <a:lnTo>
                      <a:pt x="1" y="10"/>
                    </a:lnTo>
                    <a:lnTo>
                      <a:pt x="3" y="17"/>
                    </a:lnTo>
                    <a:lnTo>
                      <a:pt x="6" y="20"/>
                    </a:lnTo>
                    <a:lnTo>
                      <a:pt x="7" y="19"/>
                    </a:lnTo>
                    <a:lnTo>
                      <a:pt x="9" y="7"/>
                    </a:lnTo>
                    <a:lnTo>
                      <a:pt x="15" y="3"/>
                    </a:lnTo>
                    <a:lnTo>
                      <a:pt x="15"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62" name="Freeform 789"/>
              <p:cNvSpPr>
                <a:spLocks/>
              </p:cNvSpPr>
              <p:nvPr/>
            </p:nvSpPr>
            <p:spPr bwMode="auto">
              <a:xfrm>
                <a:off x="6274340" y="3340544"/>
                <a:ext cx="14045" cy="21297"/>
              </a:xfrm>
              <a:custGeom>
                <a:avLst/>
                <a:gdLst/>
                <a:ahLst/>
                <a:cxnLst>
                  <a:cxn ang="0">
                    <a:pos x="15" y="3"/>
                  </a:cxn>
                  <a:cxn ang="0">
                    <a:pos x="13" y="0"/>
                  </a:cxn>
                  <a:cxn ang="0">
                    <a:pos x="12" y="0"/>
                  </a:cxn>
                  <a:cxn ang="0">
                    <a:pos x="9" y="1"/>
                  </a:cxn>
                  <a:cxn ang="0">
                    <a:pos x="7" y="4"/>
                  </a:cxn>
                  <a:cxn ang="0">
                    <a:pos x="0" y="9"/>
                  </a:cxn>
                  <a:cxn ang="0">
                    <a:pos x="1" y="10"/>
                  </a:cxn>
                  <a:cxn ang="0">
                    <a:pos x="3" y="17"/>
                  </a:cxn>
                  <a:cxn ang="0">
                    <a:pos x="6" y="20"/>
                  </a:cxn>
                  <a:cxn ang="0">
                    <a:pos x="7" y="19"/>
                  </a:cxn>
                  <a:cxn ang="0">
                    <a:pos x="9" y="7"/>
                  </a:cxn>
                  <a:cxn ang="0">
                    <a:pos x="15" y="3"/>
                  </a:cxn>
                  <a:cxn ang="0">
                    <a:pos x="15" y="3"/>
                  </a:cxn>
                </a:cxnLst>
                <a:rect l="0" t="0" r="r" b="b"/>
                <a:pathLst>
                  <a:path w="15" h="20">
                    <a:moveTo>
                      <a:pt x="15" y="3"/>
                    </a:moveTo>
                    <a:lnTo>
                      <a:pt x="13" y="0"/>
                    </a:lnTo>
                    <a:lnTo>
                      <a:pt x="12" y="0"/>
                    </a:lnTo>
                    <a:lnTo>
                      <a:pt x="9" y="1"/>
                    </a:lnTo>
                    <a:lnTo>
                      <a:pt x="7" y="4"/>
                    </a:lnTo>
                    <a:lnTo>
                      <a:pt x="0" y="9"/>
                    </a:lnTo>
                    <a:lnTo>
                      <a:pt x="1" y="10"/>
                    </a:lnTo>
                    <a:lnTo>
                      <a:pt x="3" y="17"/>
                    </a:lnTo>
                    <a:lnTo>
                      <a:pt x="6" y="20"/>
                    </a:lnTo>
                    <a:lnTo>
                      <a:pt x="7" y="19"/>
                    </a:lnTo>
                    <a:lnTo>
                      <a:pt x="9" y="7"/>
                    </a:lnTo>
                    <a:lnTo>
                      <a:pt x="15" y="3"/>
                    </a:lnTo>
                    <a:lnTo>
                      <a:pt x="15"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63" name="Freeform 790"/>
              <p:cNvSpPr>
                <a:spLocks/>
              </p:cNvSpPr>
              <p:nvPr/>
            </p:nvSpPr>
            <p:spPr bwMode="auto">
              <a:xfrm>
                <a:off x="6333152" y="3608275"/>
                <a:ext cx="214183" cy="212968"/>
              </a:xfrm>
              <a:custGeom>
                <a:avLst/>
                <a:gdLst/>
                <a:ahLst/>
                <a:cxnLst>
                  <a:cxn ang="0">
                    <a:pos x="49" y="100"/>
                  </a:cxn>
                  <a:cxn ang="0">
                    <a:pos x="36" y="109"/>
                  </a:cxn>
                  <a:cxn ang="0">
                    <a:pos x="23" y="109"/>
                  </a:cxn>
                  <a:cxn ang="0">
                    <a:pos x="16" y="106"/>
                  </a:cxn>
                  <a:cxn ang="0">
                    <a:pos x="9" y="98"/>
                  </a:cxn>
                  <a:cxn ang="0">
                    <a:pos x="3" y="103"/>
                  </a:cxn>
                  <a:cxn ang="0">
                    <a:pos x="0" y="103"/>
                  </a:cxn>
                  <a:cxn ang="0">
                    <a:pos x="1" y="106"/>
                  </a:cxn>
                  <a:cxn ang="0">
                    <a:pos x="26" y="157"/>
                  </a:cxn>
                  <a:cxn ang="0">
                    <a:pos x="23" y="173"/>
                  </a:cxn>
                  <a:cxn ang="0">
                    <a:pos x="20" y="173"/>
                  </a:cxn>
                  <a:cxn ang="0">
                    <a:pos x="20" y="176"/>
                  </a:cxn>
                  <a:cxn ang="0">
                    <a:pos x="23" y="179"/>
                  </a:cxn>
                  <a:cxn ang="0">
                    <a:pos x="23" y="182"/>
                  </a:cxn>
                  <a:cxn ang="0">
                    <a:pos x="28" y="188"/>
                  </a:cxn>
                  <a:cxn ang="0">
                    <a:pos x="28" y="192"/>
                  </a:cxn>
                  <a:cxn ang="0">
                    <a:pos x="29" y="199"/>
                  </a:cxn>
                  <a:cxn ang="0">
                    <a:pos x="29" y="195"/>
                  </a:cxn>
                  <a:cxn ang="0">
                    <a:pos x="33" y="195"/>
                  </a:cxn>
                  <a:cxn ang="0">
                    <a:pos x="33" y="199"/>
                  </a:cxn>
                  <a:cxn ang="0">
                    <a:pos x="39" y="199"/>
                  </a:cxn>
                  <a:cxn ang="0">
                    <a:pos x="41" y="202"/>
                  </a:cxn>
                  <a:cxn ang="0">
                    <a:pos x="45" y="205"/>
                  </a:cxn>
                  <a:cxn ang="0">
                    <a:pos x="51" y="205"/>
                  </a:cxn>
                  <a:cxn ang="0">
                    <a:pos x="55" y="201"/>
                  </a:cxn>
                  <a:cxn ang="0">
                    <a:pos x="61" y="199"/>
                  </a:cxn>
                  <a:cxn ang="0">
                    <a:pos x="68" y="201"/>
                  </a:cxn>
                  <a:cxn ang="0">
                    <a:pos x="75" y="199"/>
                  </a:cxn>
                  <a:cxn ang="0">
                    <a:pos x="77" y="198"/>
                  </a:cxn>
                  <a:cxn ang="0">
                    <a:pos x="83" y="193"/>
                  </a:cxn>
                  <a:cxn ang="0">
                    <a:pos x="94" y="195"/>
                  </a:cxn>
                  <a:cxn ang="0">
                    <a:pos x="99" y="193"/>
                  </a:cxn>
                  <a:cxn ang="0">
                    <a:pos x="119" y="196"/>
                  </a:cxn>
                  <a:cxn ang="0">
                    <a:pos x="125" y="192"/>
                  </a:cxn>
                  <a:cxn ang="0">
                    <a:pos x="132" y="192"/>
                  </a:cxn>
                  <a:cxn ang="0">
                    <a:pos x="133" y="189"/>
                  </a:cxn>
                  <a:cxn ang="0">
                    <a:pos x="218" y="109"/>
                  </a:cxn>
                  <a:cxn ang="0">
                    <a:pos x="225" y="103"/>
                  </a:cxn>
                  <a:cxn ang="0">
                    <a:pos x="234" y="73"/>
                  </a:cxn>
                  <a:cxn ang="0">
                    <a:pos x="221" y="73"/>
                  </a:cxn>
                  <a:cxn ang="0">
                    <a:pos x="218" y="80"/>
                  </a:cxn>
                  <a:cxn ang="0">
                    <a:pos x="205" y="70"/>
                  </a:cxn>
                  <a:cxn ang="0">
                    <a:pos x="213" y="57"/>
                  </a:cxn>
                  <a:cxn ang="0">
                    <a:pos x="222" y="58"/>
                  </a:cxn>
                  <a:cxn ang="0">
                    <a:pos x="215" y="9"/>
                  </a:cxn>
                  <a:cxn ang="0">
                    <a:pos x="209" y="5"/>
                  </a:cxn>
                  <a:cxn ang="0">
                    <a:pos x="197" y="3"/>
                  </a:cxn>
                  <a:cxn ang="0">
                    <a:pos x="183" y="0"/>
                  </a:cxn>
                  <a:cxn ang="0">
                    <a:pos x="167" y="10"/>
                  </a:cxn>
                  <a:cxn ang="0">
                    <a:pos x="145" y="34"/>
                  </a:cxn>
                  <a:cxn ang="0">
                    <a:pos x="133" y="44"/>
                  </a:cxn>
                  <a:cxn ang="0">
                    <a:pos x="129" y="54"/>
                  </a:cxn>
                  <a:cxn ang="0">
                    <a:pos x="113" y="55"/>
                  </a:cxn>
                  <a:cxn ang="0">
                    <a:pos x="100" y="51"/>
                  </a:cxn>
                  <a:cxn ang="0">
                    <a:pos x="88" y="64"/>
                  </a:cxn>
                  <a:cxn ang="0">
                    <a:pos x="81" y="71"/>
                  </a:cxn>
                  <a:cxn ang="0">
                    <a:pos x="61" y="73"/>
                  </a:cxn>
                  <a:cxn ang="0">
                    <a:pos x="62" y="61"/>
                  </a:cxn>
                  <a:cxn ang="0">
                    <a:pos x="49" y="41"/>
                  </a:cxn>
                </a:cxnLst>
                <a:rect l="0" t="0" r="r" b="b"/>
                <a:pathLst>
                  <a:path w="234" h="205">
                    <a:moveTo>
                      <a:pt x="49" y="41"/>
                    </a:moveTo>
                    <a:lnTo>
                      <a:pt x="49" y="100"/>
                    </a:lnTo>
                    <a:lnTo>
                      <a:pt x="45" y="103"/>
                    </a:lnTo>
                    <a:lnTo>
                      <a:pt x="36" y="109"/>
                    </a:lnTo>
                    <a:lnTo>
                      <a:pt x="26" y="108"/>
                    </a:lnTo>
                    <a:lnTo>
                      <a:pt x="23" y="109"/>
                    </a:lnTo>
                    <a:lnTo>
                      <a:pt x="19" y="109"/>
                    </a:lnTo>
                    <a:lnTo>
                      <a:pt x="16" y="106"/>
                    </a:lnTo>
                    <a:lnTo>
                      <a:pt x="16" y="102"/>
                    </a:lnTo>
                    <a:lnTo>
                      <a:pt x="9" y="98"/>
                    </a:lnTo>
                    <a:lnTo>
                      <a:pt x="6" y="98"/>
                    </a:lnTo>
                    <a:lnTo>
                      <a:pt x="3" y="103"/>
                    </a:lnTo>
                    <a:lnTo>
                      <a:pt x="1" y="103"/>
                    </a:lnTo>
                    <a:lnTo>
                      <a:pt x="0" y="103"/>
                    </a:lnTo>
                    <a:lnTo>
                      <a:pt x="1" y="105"/>
                    </a:lnTo>
                    <a:lnTo>
                      <a:pt x="1" y="106"/>
                    </a:lnTo>
                    <a:lnTo>
                      <a:pt x="4" y="111"/>
                    </a:lnTo>
                    <a:lnTo>
                      <a:pt x="26" y="157"/>
                    </a:lnTo>
                    <a:lnTo>
                      <a:pt x="26" y="169"/>
                    </a:lnTo>
                    <a:lnTo>
                      <a:pt x="23" y="173"/>
                    </a:lnTo>
                    <a:lnTo>
                      <a:pt x="20" y="172"/>
                    </a:lnTo>
                    <a:lnTo>
                      <a:pt x="20" y="173"/>
                    </a:lnTo>
                    <a:lnTo>
                      <a:pt x="20" y="176"/>
                    </a:lnTo>
                    <a:lnTo>
                      <a:pt x="20" y="176"/>
                    </a:lnTo>
                    <a:lnTo>
                      <a:pt x="22" y="178"/>
                    </a:lnTo>
                    <a:lnTo>
                      <a:pt x="23" y="179"/>
                    </a:lnTo>
                    <a:lnTo>
                      <a:pt x="22" y="179"/>
                    </a:lnTo>
                    <a:lnTo>
                      <a:pt x="23" y="182"/>
                    </a:lnTo>
                    <a:lnTo>
                      <a:pt x="25" y="183"/>
                    </a:lnTo>
                    <a:lnTo>
                      <a:pt x="28" y="188"/>
                    </a:lnTo>
                    <a:lnTo>
                      <a:pt x="28" y="191"/>
                    </a:lnTo>
                    <a:lnTo>
                      <a:pt x="28" y="192"/>
                    </a:lnTo>
                    <a:lnTo>
                      <a:pt x="28" y="198"/>
                    </a:lnTo>
                    <a:lnTo>
                      <a:pt x="29" y="199"/>
                    </a:lnTo>
                    <a:lnTo>
                      <a:pt x="29" y="199"/>
                    </a:lnTo>
                    <a:lnTo>
                      <a:pt x="29" y="195"/>
                    </a:lnTo>
                    <a:lnTo>
                      <a:pt x="29" y="195"/>
                    </a:lnTo>
                    <a:lnTo>
                      <a:pt x="33" y="195"/>
                    </a:lnTo>
                    <a:lnTo>
                      <a:pt x="33" y="198"/>
                    </a:lnTo>
                    <a:lnTo>
                      <a:pt x="33" y="199"/>
                    </a:lnTo>
                    <a:lnTo>
                      <a:pt x="35" y="199"/>
                    </a:lnTo>
                    <a:lnTo>
                      <a:pt x="39" y="199"/>
                    </a:lnTo>
                    <a:lnTo>
                      <a:pt x="41" y="201"/>
                    </a:lnTo>
                    <a:lnTo>
                      <a:pt x="41" y="202"/>
                    </a:lnTo>
                    <a:lnTo>
                      <a:pt x="43" y="205"/>
                    </a:lnTo>
                    <a:lnTo>
                      <a:pt x="45" y="205"/>
                    </a:lnTo>
                    <a:lnTo>
                      <a:pt x="48" y="205"/>
                    </a:lnTo>
                    <a:lnTo>
                      <a:pt x="51" y="205"/>
                    </a:lnTo>
                    <a:lnTo>
                      <a:pt x="54" y="205"/>
                    </a:lnTo>
                    <a:lnTo>
                      <a:pt x="55" y="201"/>
                    </a:lnTo>
                    <a:lnTo>
                      <a:pt x="61" y="201"/>
                    </a:lnTo>
                    <a:lnTo>
                      <a:pt x="61" y="199"/>
                    </a:lnTo>
                    <a:lnTo>
                      <a:pt x="64" y="199"/>
                    </a:lnTo>
                    <a:lnTo>
                      <a:pt x="68" y="201"/>
                    </a:lnTo>
                    <a:lnTo>
                      <a:pt x="70" y="199"/>
                    </a:lnTo>
                    <a:lnTo>
                      <a:pt x="75" y="199"/>
                    </a:lnTo>
                    <a:lnTo>
                      <a:pt x="77" y="199"/>
                    </a:lnTo>
                    <a:lnTo>
                      <a:pt x="77" y="198"/>
                    </a:lnTo>
                    <a:lnTo>
                      <a:pt x="81" y="195"/>
                    </a:lnTo>
                    <a:lnTo>
                      <a:pt x="83" y="193"/>
                    </a:lnTo>
                    <a:lnTo>
                      <a:pt x="88" y="193"/>
                    </a:lnTo>
                    <a:lnTo>
                      <a:pt x="94" y="195"/>
                    </a:lnTo>
                    <a:lnTo>
                      <a:pt x="97" y="195"/>
                    </a:lnTo>
                    <a:lnTo>
                      <a:pt x="99" y="193"/>
                    </a:lnTo>
                    <a:lnTo>
                      <a:pt x="103" y="193"/>
                    </a:lnTo>
                    <a:lnTo>
                      <a:pt x="119" y="196"/>
                    </a:lnTo>
                    <a:lnTo>
                      <a:pt x="122" y="193"/>
                    </a:lnTo>
                    <a:lnTo>
                      <a:pt x="125" y="192"/>
                    </a:lnTo>
                    <a:lnTo>
                      <a:pt x="132" y="195"/>
                    </a:lnTo>
                    <a:lnTo>
                      <a:pt x="132" y="192"/>
                    </a:lnTo>
                    <a:lnTo>
                      <a:pt x="131" y="191"/>
                    </a:lnTo>
                    <a:lnTo>
                      <a:pt x="133" y="189"/>
                    </a:lnTo>
                    <a:lnTo>
                      <a:pt x="147" y="188"/>
                    </a:lnTo>
                    <a:lnTo>
                      <a:pt x="218" y="109"/>
                    </a:lnTo>
                    <a:lnTo>
                      <a:pt x="219" y="108"/>
                    </a:lnTo>
                    <a:lnTo>
                      <a:pt x="225" y="103"/>
                    </a:lnTo>
                    <a:lnTo>
                      <a:pt x="228" y="100"/>
                    </a:lnTo>
                    <a:lnTo>
                      <a:pt x="234" y="73"/>
                    </a:lnTo>
                    <a:lnTo>
                      <a:pt x="222" y="73"/>
                    </a:lnTo>
                    <a:lnTo>
                      <a:pt x="221" y="73"/>
                    </a:lnTo>
                    <a:lnTo>
                      <a:pt x="219" y="77"/>
                    </a:lnTo>
                    <a:lnTo>
                      <a:pt x="218" y="80"/>
                    </a:lnTo>
                    <a:lnTo>
                      <a:pt x="208" y="79"/>
                    </a:lnTo>
                    <a:lnTo>
                      <a:pt x="205" y="70"/>
                    </a:lnTo>
                    <a:lnTo>
                      <a:pt x="210" y="58"/>
                    </a:lnTo>
                    <a:lnTo>
                      <a:pt x="213" y="57"/>
                    </a:lnTo>
                    <a:lnTo>
                      <a:pt x="219" y="60"/>
                    </a:lnTo>
                    <a:lnTo>
                      <a:pt x="222" y="58"/>
                    </a:lnTo>
                    <a:lnTo>
                      <a:pt x="215" y="9"/>
                    </a:lnTo>
                    <a:lnTo>
                      <a:pt x="215" y="9"/>
                    </a:lnTo>
                    <a:lnTo>
                      <a:pt x="213" y="7"/>
                    </a:lnTo>
                    <a:lnTo>
                      <a:pt x="209" y="5"/>
                    </a:lnTo>
                    <a:lnTo>
                      <a:pt x="205" y="2"/>
                    </a:lnTo>
                    <a:lnTo>
                      <a:pt x="197" y="3"/>
                    </a:lnTo>
                    <a:lnTo>
                      <a:pt x="186" y="0"/>
                    </a:lnTo>
                    <a:lnTo>
                      <a:pt x="183" y="0"/>
                    </a:lnTo>
                    <a:lnTo>
                      <a:pt x="183" y="2"/>
                    </a:lnTo>
                    <a:lnTo>
                      <a:pt x="167" y="10"/>
                    </a:lnTo>
                    <a:lnTo>
                      <a:pt x="152" y="22"/>
                    </a:lnTo>
                    <a:lnTo>
                      <a:pt x="145" y="34"/>
                    </a:lnTo>
                    <a:lnTo>
                      <a:pt x="138" y="38"/>
                    </a:lnTo>
                    <a:lnTo>
                      <a:pt x="133" y="44"/>
                    </a:lnTo>
                    <a:lnTo>
                      <a:pt x="131" y="53"/>
                    </a:lnTo>
                    <a:lnTo>
                      <a:pt x="129" y="54"/>
                    </a:lnTo>
                    <a:lnTo>
                      <a:pt x="118" y="57"/>
                    </a:lnTo>
                    <a:lnTo>
                      <a:pt x="113" y="55"/>
                    </a:lnTo>
                    <a:lnTo>
                      <a:pt x="104" y="51"/>
                    </a:lnTo>
                    <a:lnTo>
                      <a:pt x="100" y="51"/>
                    </a:lnTo>
                    <a:lnTo>
                      <a:pt x="97" y="53"/>
                    </a:lnTo>
                    <a:lnTo>
                      <a:pt x="88" y="64"/>
                    </a:lnTo>
                    <a:lnTo>
                      <a:pt x="86" y="66"/>
                    </a:lnTo>
                    <a:lnTo>
                      <a:pt x="81" y="71"/>
                    </a:lnTo>
                    <a:lnTo>
                      <a:pt x="73" y="74"/>
                    </a:lnTo>
                    <a:lnTo>
                      <a:pt x="61" y="73"/>
                    </a:lnTo>
                    <a:lnTo>
                      <a:pt x="59" y="70"/>
                    </a:lnTo>
                    <a:lnTo>
                      <a:pt x="62" y="61"/>
                    </a:lnTo>
                    <a:lnTo>
                      <a:pt x="62" y="55"/>
                    </a:lnTo>
                    <a:lnTo>
                      <a:pt x="49" y="41"/>
                    </a:lnTo>
                    <a:lnTo>
                      <a:pt x="49" y="41"/>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64" name="Freeform 791"/>
              <p:cNvSpPr>
                <a:spLocks/>
              </p:cNvSpPr>
              <p:nvPr/>
            </p:nvSpPr>
            <p:spPr bwMode="auto">
              <a:xfrm>
                <a:off x="6333119" y="3608199"/>
                <a:ext cx="214590" cy="213487"/>
              </a:xfrm>
              <a:custGeom>
                <a:avLst/>
                <a:gdLst>
                  <a:gd name="T0" fmla="*/ 2147483647 w 234"/>
                  <a:gd name="T1" fmla="*/ 2147483647 h 205"/>
                  <a:gd name="T2" fmla="*/ 2147483647 w 234"/>
                  <a:gd name="T3" fmla="*/ 2147483647 h 205"/>
                  <a:gd name="T4" fmla="*/ 2147483647 w 234"/>
                  <a:gd name="T5" fmla="*/ 2147483647 h 205"/>
                  <a:gd name="T6" fmla="*/ 2147483647 w 234"/>
                  <a:gd name="T7" fmla="*/ 2147483647 h 205"/>
                  <a:gd name="T8" fmla="*/ 2147483647 w 234"/>
                  <a:gd name="T9" fmla="*/ 2147483647 h 205"/>
                  <a:gd name="T10" fmla="*/ 2147483647 w 234"/>
                  <a:gd name="T11" fmla="*/ 2147483647 h 205"/>
                  <a:gd name="T12" fmla="*/ 0 w 234"/>
                  <a:gd name="T13" fmla="*/ 2147483647 h 205"/>
                  <a:gd name="T14" fmla="*/ 2147483647 w 234"/>
                  <a:gd name="T15" fmla="*/ 2147483647 h 205"/>
                  <a:gd name="T16" fmla="*/ 2147483647 w 234"/>
                  <a:gd name="T17" fmla="*/ 2147483647 h 205"/>
                  <a:gd name="T18" fmla="*/ 2147483647 w 234"/>
                  <a:gd name="T19" fmla="*/ 2147483647 h 205"/>
                  <a:gd name="T20" fmla="*/ 2147483647 w 234"/>
                  <a:gd name="T21" fmla="*/ 2147483647 h 205"/>
                  <a:gd name="T22" fmla="*/ 2147483647 w 234"/>
                  <a:gd name="T23" fmla="*/ 2147483647 h 205"/>
                  <a:gd name="T24" fmla="*/ 2147483647 w 234"/>
                  <a:gd name="T25" fmla="*/ 2147483647 h 205"/>
                  <a:gd name="T26" fmla="*/ 2147483647 w 234"/>
                  <a:gd name="T27" fmla="*/ 2147483647 h 205"/>
                  <a:gd name="T28" fmla="*/ 2147483647 w 234"/>
                  <a:gd name="T29" fmla="*/ 2147483647 h 205"/>
                  <a:gd name="T30" fmla="*/ 2147483647 w 234"/>
                  <a:gd name="T31" fmla="*/ 2147483647 h 205"/>
                  <a:gd name="T32" fmla="*/ 2147483647 w 234"/>
                  <a:gd name="T33" fmla="*/ 2147483647 h 205"/>
                  <a:gd name="T34" fmla="*/ 2147483647 w 234"/>
                  <a:gd name="T35" fmla="*/ 2147483647 h 205"/>
                  <a:gd name="T36" fmla="*/ 2147483647 w 234"/>
                  <a:gd name="T37" fmla="*/ 2147483647 h 205"/>
                  <a:gd name="T38" fmla="*/ 2147483647 w 234"/>
                  <a:gd name="T39" fmla="*/ 2147483647 h 205"/>
                  <a:gd name="T40" fmla="*/ 2147483647 w 234"/>
                  <a:gd name="T41" fmla="*/ 2147483647 h 205"/>
                  <a:gd name="T42" fmla="*/ 2147483647 w 234"/>
                  <a:gd name="T43" fmla="*/ 2147483647 h 205"/>
                  <a:gd name="T44" fmla="*/ 2147483647 w 234"/>
                  <a:gd name="T45" fmla="*/ 2147483647 h 205"/>
                  <a:gd name="T46" fmla="*/ 2147483647 w 234"/>
                  <a:gd name="T47" fmla="*/ 2147483647 h 205"/>
                  <a:gd name="T48" fmla="*/ 2147483647 w 234"/>
                  <a:gd name="T49" fmla="*/ 2147483647 h 205"/>
                  <a:gd name="T50" fmla="*/ 2147483647 w 234"/>
                  <a:gd name="T51" fmla="*/ 2147483647 h 205"/>
                  <a:gd name="T52" fmla="*/ 2147483647 w 234"/>
                  <a:gd name="T53" fmla="*/ 2147483647 h 205"/>
                  <a:gd name="T54" fmla="*/ 2147483647 w 234"/>
                  <a:gd name="T55" fmla="*/ 2147483647 h 205"/>
                  <a:gd name="T56" fmla="*/ 2147483647 w 234"/>
                  <a:gd name="T57" fmla="*/ 2147483647 h 205"/>
                  <a:gd name="T58" fmla="*/ 2147483647 w 234"/>
                  <a:gd name="T59" fmla="*/ 2147483647 h 205"/>
                  <a:gd name="T60" fmla="*/ 2147483647 w 234"/>
                  <a:gd name="T61" fmla="*/ 2147483647 h 205"/>
                  <a:gd name="T62" fmla="*/ 2147483647 w 234"/>
                  <a:gd name="T63" fmla="*/ 2147483647 h 205"/>
                  <a:gd name="T64" fmla="*/ 2147483647 w 234"/>
                  <a:gd name="T65" fmla="*/ 2147483647 h 205"/>
                  <a:gd name="T66" fmla="*/ 2147483647 w 234"/>
                  <a:gd name="T67" fmla="*/ 2147483647 h 205"/>
                  <a:gd name="T68" fmla="*/ 2147483647 w 234"/>
                  <a:gd name="T69" fmla="*/ 2147483647 h 205"/>
                  <a:gd name="T70" fmla="*/ 2147483647 w 234"/>
                  <a:gd name="T71" fmla="*/ 2147483647 h 205"/>
                  <a:gd name="T72" fmla="*/ 2147483647 w 234"/>
                  <a:gd name="T73" fmla="*/ 2147483647 h 205"/>
                  <a:gd name="T74" fmla="*/ 2147483647 w 234"/>
                  <a:gd name="T75" fmla="*/ 2147483647 h 205"/>
                  <a:gd name="T76" fmla="*/ 2147483647 w 234"/>
                  <a:gd name="T77" fmla="*/ 2147483647 h 205"/>
                  <a:gd name="T78" fmla="*/ 2147483647 w 234"/>
                  <a:gd name="T79" fmla="*/ 2147483647 h 205"/>
                  <a:gd name="T80" fmla="*/ 2147483647 w 234"/>
                  <a:gd name="T81" fmla="*/ 2147483647 h 205"/>
                  <a:gd name="T82" fmla="*/ 2147483647 w 234"/>
                  <a:gd name="T83" fmla="*/ 2147483647 h 205"/>
                  <a:gd name="T84" fmla="*/ 2147483647 w 234"/>
                  <a:gd name="T85" fmla="*/ 2147483647 h 205"/>
                  <a:gd name="T86" fmla="*/ 2147483647 w 234"/>
                  <a:gd name="T87" fmla="*/ 2147483647 h 205"/>
                  <a:gd name="T88" fmla="*/ 2147483647 w 234"/>
                  <a:gd name="T89" fmla="*/ 2147483647 h 205"/>
                  <a:gd name="T90" fmla="*/ 2147483647 w 234"/>
                  <a:gd name="T91" fmla="*/ 2147483647 h 205"/>
                  <a:gd name="T92" fmla="*/ 2147483647 w 234"/>
                  <a:gd name="T93" fmla="*/ 2147483647 h 205"/>
                  <a:gd name="T94" fmla="*/ 2147483647 w 234"/>
                  <a:gd name="T95" fmla="*/ 0 h 205"/>
                  <a:gd name="T96" fmla="*/ 2147483647 w 234"/>
                  <a:gd name="T97" fmla="*/ 2147483647 h 205"/>
                  <a:gd name="T98" fmla="*/ 2147483647 w 234"/>
                  <a:gd name="T99" fmla="*/ 2147483647 h 205"/>
                  <a:gd name="T100" fmla="*/ 2147483647 w 234"/>
                  <a:gd name="T101" fmla="*/ 2147483647 h 205"/>
                  <a:gd name="T102" fmla="*/ 2147483647 w 234"/>
                  <a:gd name="T103" fmla="*/ 2147483647 h 205"/>
                  <a:gd name="T104" fmla="*/ 2147483647 w 234"/>
                  <a:gd name="T105" fmla="*/ 2147483647 h 205"/>
                  <a:gd name="T106" fmla="*/ 2147483647 w 234"/>
                  <a:gd name="T107" fmla="*/ 2147483647 h 205"/>
                  <a:gd name="T108" fmla="*/ 2147483647 w 234"/>
                  <a:gd name="T109" fmla="*/ 2147483647 h 205"/>
                  <a:gd name="T110" fmla="*/ 2147483647 w 234"/>
                  <a:gd name="T111" fmla="*/ 2147483647 h 205"/>
                  <a:gd name="T112" fmla="*/ 2147483647 w 234"/>
                  <a:gd name="T113" fmla="*/ 2147483647 h 205"/>
                  <a:gd name="T114" fmla="*/ 2147483647 w 234"/>
                  <a:gd name="T115" fmla="*/ 2147483647 h 205"/>
                  <a:gd name="T116" fmla="*/ 2147483647 w 234"/>
                  <a:gd name="T117" fmla="*/ 2147483647 h 2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205"/>
                  <a:gd name="T179" fmla="*/ 234 w 234"/>
                  <a:gd name="T180" fmla="*/ 205 h 20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205">
                    <a:moveTo>
                      <a:pt x="49" y="41"/>
                    </a:moveTo>
                    <a:lnTo>
                      <a:pt x="49" y="100"/>
                    </a:lnTo>
                    <a:lnTo>
                      <a:pt x="45" y="103"/>
                    </a:lnTo>
                    <a:lnTo>
                      <a:pt x="36" y="109"/>
                    </a:lnTo>
                    <a:lnTo>
                      <a:pt x="26" y="108"/>
                    </a:lnTo>
                    <a:lnTo>
                      <a:pt x="23" y="109"/>
                    </a:lnTo>
                    <a:lnTo>
                      <a:pt x="19" y="109"/>
                    </a:lnTo>
                    <a:lnTo>
                      <a:pt x="16" y="106"/>
                    </a:lnTo>
                    <a:lnTo>
                      <a:pt x="16" y="102"/>
                    </a:lnTo>
                    <a:lnTo>
                      <a:pt x="9" y="98"/>
                    </a:lnTo>
                    <a:lnTo>
                      <a:pt x="6" y="98"/>
                    </a:lnTo>
                    <a:lnTo>
                      <a:pt x="3" y="103"/>
                    </a:lnTo>
                    <a:lnTo>
                      <a:pt x="1" y="103"/>
                    </a:lnTo>
                    <a:lnTo>
                      <a:pt x="0" y="103"/>
                    </a:lnTo>
                    <a:lnTo>
                      <a:pt x="1" y="105"/>
                    </a:lnTo>
                    <a:lnTo>
                      <a:pt x="1" y="106"/>
                    </a:lnTo>
                    <a:lnTo>
                      <a:pt x="4" y="111"/>
                    </a:lnTo>
                    <a:lnTo>
                      <a:pt x="26" y="157"/>
                    </a:lnTo>
                    <a:lnTo>
                      <a:pt x="26" y="169"/>
                    </a:lnTo>
                    <a:lnTo>
                      <a:pt x="23" y="173"/>
                    </a:lnTo>
                    <a:lnTo>
                      <a:pt x="20" y="172"/>
                    </a:lnTo>
                    <a:lnTo>
                      <a:pt x="20" y="173"/>
                    </a:lnTo>
                    <a:lnTo>
                      <a:pt x="20" y="176"/>
                    </a:lnTo>
                    <a:lnTo>
                      <a:pt x="22" y="178"/>
                    </a:lnTo>
                    <a:lnTo>
                      <a:pt x="23" y="179"/>
                    </a:lnTo>
                    <a:lnTo>
                      <a:pt x="22" y="179"/>
                    </a:lnTo>
                    <a:lnTo>
                      <a:pt x="23" y="182"/>
                    </a:lnTo>
                    <a:lnTo>
                      <a:pt x="25" y="183"/>
                    </a:lnTo>
                    <a:lnTo>
                      <a:pt x="28" y="188"/>
                    </a:lnTo>
                    <a:lnTo>
                      <a:pt x="28" y="191"/>
                    </a:lnTo>
                    <a:lnTo>
                      <a:pt x="28" y="192"/>
                    </a:lnTo>
                    <a:lnTo>
                      <a:pt x="28" y="198"/>
                    </a:lnTo>
                    <a:lnTo>
                      <a:pt x="29" y="199"/>
                    </a:lnTo>
                    <a:lnTo>
                      <a:pt x="29" y="195"/>
                    </a:lnTo>
                    <a:lnTo>
                      <a:pt x="33" y="195"/>
                    </a:lnTo>
                    <a:lnTo>
                      <a:pt x="33" y="198"/>
                    </a:lnTo>
                    <a:lnTo>
                      <a:pt x="33" y="199"/>
                    </a:lnTo>
                    <a:lnTo>
                      <a:pt x="35" y="199"/>
                    </a:lnTo>
                    <a:lnTo>
                      <a:pt x="39" y="199"/>
                    </a:lnTo>
                    <a:lnTo>
                      <a:pt x="41" y="201"/>
                    </a:lnTo>
                    <a:lnTo>
                      <a:pt x="41" y="202"/>
                    </a:lnTo>
                    <a:lnTo>
                      <a:pt x="43" y="205"/>
                    </a:lnTo>
                    <a:lnTo>
                      <a:pt x="45" y="205"/>
                    </a:lnTo>
                    <a:lnTo>
                      <a:pt x="48" y="205"/>
                    </a:lnTo>
                    <a:lnTo>
                      <a:pt x="51" y="205"/>
                    </a:lnTo>
                    <a:lnTo>
                      <a:pt x="54" y="205"/>
                    </a:lnTo>
                    <a:lnTo>
                      <a:pt x="55" y="201"/>
                    </a:lnTo>
                    <a:lnTo>
                      <a:pt x="61" y="201"/>
                    </a:lnTo>
                    <a:lnTo>
                      <a:pt x="61" y="199"/>
                    </a:lnTo>
                    <a:lnTo>
                      <a:pt x="64" y="199"/>
                    </a:lnTo>
                    <a:lnTo>
                      <a:pt x="68" y="201"/>
                    </a:lnTo>
                    <a:lnTo>
                      <a:pt x="70" y="199"/>
                    </a:lnTo>
                    <a:lnTo>
                      <a:pt x="75" y="199"/>
                    </a:lnTo>
                    <a:lnTo>
                      <a:pt x="77" y="199"/>
                    </a:lnTo>
                    <a:lnTo>
                      <a:pt x="77" y="198"/>
                    </a:lnTo>
                    <a:lnTo>
                      <a:pt x="81" y="195"/>
                    </a:lnTo>
                    <a:lnTo>
                      <a:pt x="83" y="193"/>
                    </a:lnTo>
                    <a:lnTo>
                      <a:pt x="88" y="193"/>
                    </a:lnTo>
                    <a:lnTo>
                      <a:pt x="94" y="195"/>
                    </a:lnTo>
                    <a:lnTo>
                      <a:pt x="97" y="195"/>
                    </a:lnTo>
                    <a:lnTo>
                      <a:pt x="99" y="193"/>
                    </a:lnTo>
                    <a:lnTo>
                      <a:pt x="103" y="193"/>
                    </a:lnTo>
                    <a:lnTo>
                      <a:pt x="119" y="196"/>
                    </a:lnTo>
                    <a:lnTo>
                      <a:pt x="122" y="193"/>
                    </a:lnTo>
                    <a:lnTo>
                      <a:pt x="125" y="192"/>
                    </a:lnTo>
                    <a:lnTo>
                      <a:pt x="132" y="195"/>
                    </a:lnTo>
                    <a:lnTo>
                      <a:pt x="132" y="192"/>
                    </a:lnTo>
                    <a:lnTo>
                      <a:pt x="131" y="191"/>
                    </a:lnTo>
                    <a:lnTo>
                      <a:pt x="133" y="189"/>
                    </a:lnTo>
                    <a:lnTo>
                      <a:pt x="147" y="188"/>
                    </a:lnTo>
                    <a:lnTo>
                      <a:pt x="218" y="109"/>
                    </a:lnTo>
                    <a:lnTo>
                      <a:pt x="219" y="108"/>
                    </a:lnTo>
                    <a:lnTo>
                      <a:pt x="225" y="103"/>
                    </a:lnTo>
                    <a:lnTo>
                      <a:pt x="228" y="100"/>
                    </a:lnTo>
                    <a:lnTo>
                      <a:pt x="234" y="73"/>
                    </a:lnTo>
                    <a:lnTo>
                      <a:pt x="222" y="73"/>
                    </a:lnTo>
                    <a:lnTo>
                      <a:pt x="221" y="73"/>
                    </a:lnTo>
                    <a:lnTo>
                      <a:pt x="219" y="77"/>
                    </a:lnTo>
                    <a:lnTo>
                      <a:pt x="218" y="80"/>
                    </a:lnTo>
                    <a:lnTo>
                      <a:pt x="208" y="79"/>
                    </a:lnTo>
                    <a:lnTo>
                      <a:pt x="205" y="70"/>
                    </a:lnTo>
                    <a:lnTo>
                      <a:pt x="210" y="58"/>
                    </a:lnTo>
                    <a:lnTo>
                      <a:pt x="213" y="57"/>
                    </a:lnTo>
                    <a:lnTo>
                      <a:pt x="219" y="60"/>
                    </a:lnTo>
                    <a:lnTo>
                      <a:pt x="222" y="58"/>
                    </a:lnTo>
                    <a:lnTo>
                      <a:pt x="215" y="9"/>
                    </a:lnTo>
                    <a:lnTo>
                      <a:pt x="213" y="7"/>
                    </a:lnTo>
                    <a:lnTo>
                      <a:pt x="209" y="5"/>
                    </a:lnTo>
                    <a:lnTo>
                      <a:pt x="205" y="2"/>
                    </a:lnTo>
                    <a:lnTo>
                      <a:pt x="197" y="3"/>
                    </a:lnTo>
                    <a:lnTo>
                      <a:pt x="186" y="0"/>
                    </a:lnTo>
                    <a:lnTo>
                      <a:pt x="183" y="0"/>
                    </a:lnTo>
                    <a:lnTo>
                      <a:pt x="183" y="2"/>
                    </a:lnTo>
                    <a:lnTo>
                      <a:pt x="167" y="10"/>
                    </a:lnTo>
                    <a:lnTo>
                      <a:pt x="152" y="22"/>
                    </a:lnTo>
                    <a:lnTo>
                      <a:pt x="145" y="34"/>
                    </a:lnTo>
                    <a:lnTo>
                      <a:pt x="138" y="38"/>
                    </a:lnTo>
                    <a:lnTo>
                      <a:pt x="133" y="44"/>
                    </a:lnTo>
                    <a:lnTo>
                      <a:pt x="131" y="53"/>
                    </a:lnTo>
                    <a:lnTo>
                      <a:pt x="129" y="54"/>
                    </a:lnTo>
                    <a:lnTo>
                      <a:pt x="118" y="57"/>
                    </a:lnTo>
                    <a:lnTo>
                      <a:pt x="113" y="55"/>
                    </a:lnTo>
                    <a:lnTo>
                      <a:pt x="104" y="51"/>
                    </a:lnTo>
                    <a:lnTo>
                      <a:pt x="100" y="51"/>
                    </a:lnTo>
                    <a:lnTo>
                      <a:pt x="97" y="53"/>
                    </a:lnTo>
                    <a:lnTo>
                      <a:pt x="88" y="64"/>
                    </a:lnTo>
                    <a:lnTo>
                      <a:pt x="86" y="66"/>
                    </a:lnTo>
                    <a:lnTo>
                      <a:pt x="81" y="71"/>
                    </a:lnTo>
                    <a:lnTo>
                      <a:pt x="73" y="74"/>
                    </a:lnTo>
                    <a:lnTo>
                      <a:pt x="61" y="73"/>
                    </a:lnTo>
                    <a:lnTo>
                      <a:pt x="59" y="70"/>
                    </a:lnTo>
                    <a:lnTo>
                      <a:pt x="62" y="61"/>
                    </a:lnTo>
                    <a:lnTo>
                      <a:pt x="62" y="55"/>
                    </a:lnTo>
                    <a:lnTo>
                      <a:pt x="49" y="41"/>
                    </a:lnTo>
                  </a:path>
                </a:pathLst>
              </a:custGeom>
              <a:solidFill>
                <a:srgbClr val="00AFE6"/>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65" name="Freeform 792"/>
              <p:cNvSpPr>
                <a:spLocks/>
              </p:cNvSpPr>
              <p:nvPr/>
            </p:nvSpPr>
            <p:spPr bwMode="auto">
              <a:xfrm>
                <a:off x="5217469" y="3091067"/>
                <a:ext cx="4389" cy="5071"/>
              </a:xfrm>
              <a:custGeom>
                <a:avLst/>
                <a:gdLst/>
                <a:ahLst/>
                <a:cxnLst>
                  <a:cxn ang="0">
                    <a:pos x="2" y="2"/>
                  </a:cxn>
                  <a:cxn ang="0">
                    <a:pos x="0" y="0"/>
                  </a:cxn>
                  <a:cxn ang="0">
                    <a:pos x="0" y="2"/>
                  </a:cxn>
                  <a:cxn ang="0">
                    <a:pos x="2" y="3"/>
                  </a:cxn>
                  <a:cxn ang="0">
                    <a:pos x="5" y="5"/>
                  </a:cxn>
                  <a:cxn ang="0">
                    <a:pos x="5" y="3"/>
                  </a:cxn>
                  <a:cxn ang="0">
                    <a:pos x="3" y="3"/>
                  </a:cxn>
                  <a:cxn ang="0">
                    <a:pos x="2" y="2"/>
                  </a:cxn>
                </a:cxnLst>
                <a:rect l="0" t="0" r="r" b="b"/>
                <a:pathLst>
                  <a:path w="5" h="5">
                    <a:moveTo>
                      <a:pt x="2" y="2"/>
                    </a:moveTo>
                    <a:lnTo>
                      <a:pt x="0" y="0"/>
                    </a:lnTo>
                    <a:lnTo>
                      <a:pt x="0" y="2"/>
                    </a:lnTo>
                    <a:lnTo>
                      <a:pt x="2" y="3"/>
                    </a:lnTo>
                    <a:lnTo>
                      <a:pt x="5" y="5"/>
                    </a:lnTo>
                    <a:lnTo>
                      <a:pt x="5" y="3"/>
                    </a:lnTo>
                    <a:lnTo>
                      <a:pt x="3" y="3"/>
                    </a:lnTo>
                    <a:lnTo>
                      <a:pt x="2"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66" name="Freeform 793"/>
              <p:cNvSpPr>
                <a:spLocks/>
              </p:cNvSpPr>
              <p:nvPr/>
            </p:nvSpPr>
            <p:spPr bwMode="auto">
              <a:xfrm>
                <a:off x="5217469" y="3091067"/>
                <a:ext cx="4389" cy="5071"/>
              </a:xfrm>
              <a:custGeom>
                <a:avLst/>
                <a:gdLst/>
                <a:ahLst/>
                <a:cxnLst>
                  <a:cxn ang="0">
                    <a:pos x="2" y="2"/>
                  </a:cxn>
                  <a:cxn ang="0">
                    <a:pos x="0" y="0"/>
                  </a:cxn>
                  <a:cxn ang="0">
                    <a:pos x="0" y="2"/>
                  </a:cxn>
                  <a:cxn ang="0">
                    <a:pos x="2" y="3"/>
                  </a:cxn>
                  <a:cxn ang="0">
                    <a:pos x="5" y="5"/>
                  </a:cxn>
                  <a:cxn ang="0">
                    <a:pos x="5" y="3"/>
                  </a:cxn>
                  <a:cxn ang="0">
                    <a:pos x="3" y="3"/>
                  </a:cxn>
                  <a:cxn ang="0">
                    <a:pos x="2" y="2"/>
                  </a:cxn>
                </a:cxnLst>
                <a:rect l="0" t="0" r="r" b="b"/>
                <a:pathLst>
                  <a:path w="5" h="5">
                    <a:moveTo>
                      <a:pt x="2" y="2"/>
                    </a:moveTo>
                    <a:lnTo>
                      <a:pt x="0" y="0"/>
                    </a:lnTo>
                    <a:lnTo>
                      <a:pt x="0" y="2"/>
                    </a:lnTo>
                    <a:lnTo>
                      <a:pt x="2" y="3"/>
                    </a:lnTo>
                    <a:lnTo>
                      <a:pt x="5" y="5"/>
                    </a:lnTo>
                    <a:lnTo>
                      <a:pt x="5" y="3"/>
                    </a:lnTo>
                    <a:lnTo>
                      <a:pt x="3" y="3"/>
                    </a:lnTo>
                    <a:lnTo>
                      <a:pt x="2"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67" name="Freeform 794"/>
              <p:cNvSpPr>
                <a:spLocks/>
              </p:cNvSpPr>
              <p:nvPr/>
            </p:nvSpPr>
            <p:spPr bwMode="auto">
              <a:xfrm>
                <a:off x="5226246" y="3093095"/>
                <a:ext cx="2633" cy="3043"/>
              </a:xfrm>
              <a:custGeom>
                <a:avLst/>
                <a:gdLst/>
                <a:ahLst/>
                <a:cxnLst>
                  <a:cxn ang="0">
                    <a:pos x="0" y="0"/>
                  </a:cxn>
                  <a:cxn ang="0">
                    <a:pos x="0" y="0"/>
                  </a:cxn>
                  <a:cxn ang="0">
                    <a:pos x="0" y="0"/>
                  </a:cxn>
                  <a:cxn ang="0">
                    <a:pos x="2" y="1"/>
                  </a:cxn>
                  <a:cxn ang="0">
                    <a:pos x="2" y="3"/>
                  </a:cxn>
                  <a:cxn ang="0">
                    <a:pos x="3" y="3"/>
                  </a:cxn>
                  <a:cxn ang="0">
                    <a:pos x="3" y="1"/>
                  </a:cxn>
                  <a:cxn ang="0">
                    <a:pos x="2" y="0"/>
                  </a:cxn>
                  <a:cxn ang="0">
                    <a:pos x="0" y="0"/>
                  </a:cxn>
                </a:cxnLst>
                <a:rect l="0" t="0" r="r" b="b"/>
                <a:pathLst>
                  <a:path w="3" h="3">
                    <a:moveTo>
                      <a:pt x="0" y="0"/>
                    </a:moveTo>
                    <a:lnTo>
                      <a:pt x="0" y="0"/>
                    </a:lnTo>
                    <a:lnTo>
                      <a:pt x="0" y="0"/>
                    </a:lnTo>
                    <a:lnTo>
                      <a:pt x="2" y="1"/>
                    </a:lnTo>
                    <a:lnTo>
                      <a:pt x="2" y="3"/>
                    </a:lnTo>
                    <a:lnTo>
                      <a:pt x="3" y="3"/>
                    </a:lnTo>
                    <a:lnTo>
                      <a:pt x="3" y="1"/>
                    </a:lnTo>
                    <a:lnTo>
                      <a:pt x="2" y="0"/>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68" name="Freeform 795"/>
              <p:cNvSpPr>
                <a:spLocks/>
              </p:cNvSpPr>
              <p:nvPr/>
            </p:nvSpPr>
            <p:spPr bwMode="auto">
              <a:xfrm>
                <a:off x="5226246" y="3093095"/>
                <a:ext cx="2633" cy="3043"/>
              </a:xfrm>
              <a:custGeom>
                <a:avLst/>
                <a:gdLst/>
                <a:ahLst/>
                <a:cxnLst>
                  <a:cxn ang="0">
                    <a:pos x="0" y="0"/>
                  </a:cxn>
                  <a:cxn ang="0">
                    <a:pos x="0" y="0"/>
                  </a:cxn>
                  <a:cxn ang="0">
                    <a:pos x="0" y="0"/>
                  </a:cxn>
                  <a:cxn ang="0">
                    <a:pos x="2" y="1"/>
                  </a:cxn>
                  <a:cxn ang="0">
                    <a:pos x="2" y="3"/>
                  </a:cxn>
                  <a:cxn ang="0">
                    <a:pos x="3" y="3"/>
                  </a:cxn>
                  <a:cxn ang="0">
                    <a:pos x="3" y="1"/>
                  </a:cxn>
                  <a:cxn ang="0">
                    <a:pos x="2" y="0"/>
                  </a:cxn>
                  <a:cxn ang="0">
                    <a:pos x="0" y="0"/>
                  </a:cxn>
                </a:cxnLst>
                <a:rect l="0" t="0" r="r" b="b"/>
                <a:pathLst>
                  <a:path w="3" h="3">
                    <a:moveTo>
                      <a:pt x="0" y="0"/>
                    </a:moveTo>
                    <a:lnTo>
                      <a:pt x="0" y="0"/>
                    </a:lnTo>
                    <a:lnTo>
                      <a:pt x="0" y="0"/>
                    </a:lnTo>
                    <a:lnTo>
                      <a:pt x="2" y="1"/>
                    </a:lnTo>
                    <a:lnTo>
                      <a:pt x="2" y="3"/>
                    </a:lnTo>
                    <a:lnTo>
                      <a:pt x="3" y="3"/>
                    </a:lnTo>
                    <a:lnTo>
                      <a:pt x="3" y="1"/>
                    </a:lnTo>
                    <a:lnTo>
                      <a:pt x="2" y="0"/>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69" name="Freeform 796"/>
              <p:cNvSpPr>
                <a:spLocks/>
              </p:cNvSpPr>
              <p:nvPr/>
            </p:nvSpPr>
            <p:spPr bwMode="auto">
              <a:xfrm>
                <a:off x="5326316" y="3106280"/>
                <a:ext cx="2633" cy="3042"/>
              </a:xfrm>
              <a:custGeom>
                <a:avLst/>
                <a:gdLst/>
                <a:ahLst/>
                <a:cxnLst>
                  <a:cxn ang="0">
                    <a:pos x="3" y="0"/>
                  </a:cxn>
                  <a:cxn ang="0">
                    <a:pos x="2" y="1"/>
                  </a:cxn>
                  <a:cxn ang="0">
                    <a:pos x="0" y="3"/>
                  </a:cxn>
                  <a:cxn ang="0">
                    <a:pos x="0" y="3"/>
                  </a:cxn>
                  <a:cxn ang="0">
                    <a:pos x="3" y="1"/>
                  </a:cxn>
                  <a:cxn ang="0">
                    <a:pos x="3" y="0"/>
                  </a:cxn>
                </a:cxnLst>
                <a:rect l="0" t="0" r="r" b="b"/>
                <a:pathLst>
                  <a:path w="3" h="3">
                    <a:moveTo>
                      <a:pt x="3" y="0"/>
                    </a:moveTo>
                    <a:lnTo>
                      <a:pt x="2" y="1"/>
                    </a:lnTo>
                    <a:lnTo>
                      <a:pt x="0" y="3"/>
                    </a:lnTo>
                    <a:lnTo>
                      <a:pt x="0" y="3"/>
                    </a:lnTo>
                    <a:lnTo>
                      <a:pt x="3" y="1"/>
                    </a:lnTo>
                    <a:lnTo>
                      <a:pt x="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70" name="Freeform 797"/>
              <p:cNvSpPr>
                <a:spLocks/>
              </p:cNvSpPr>
              <p:nvPr/>
            </p:nvSpPr>
            <p:spPr bwMode="auto">
              <a:xfrm>
                <a:off x="5326316" y="3106280"/>
                <a:ext cx="2633" cy="3042"/>
              </a:xfrm>
              <a:custGeom>
                <a:avLst/>
                <a:gdLst/>
                <a:ahLst/>
                <a:cxnLst>
                  <a:cxn ang="0">
                    <a:pos x="3" y="0"/>
                  </a:cxn>
                  <a:cxn ang="0">
                    <a:pos x="2" y="1"/>
                  </a:cxn>
                  <a:cxn ang="0">
                    <a:pos x="0" y="3"/>
                  </a:cxn>
                  <a:cxn ang="0">
                    <a:pos x="0" y="3"/>
                  </a:cxn>
                  <a:cxn ang="0">
                    <a:pos x="3" y="1"/>
                  </a:cxn>
                  <a:cxn ang="0">
                    <a:pos x="3" y="0"/>
                  </a:cxn>
                </a:cxnLst>
                <a:rect l="0" t="0" r="r" b="b"/>
                <a:pathLst>
                  <a:path w="3" h="3">
                    <a:moveTo>
                      <a:pt x="3" y="0"/>
                    </a:moveTo>
                    <a:lnTo>
                      <a:pt x="2" y="1"/>
                    </a:lnTo>
                    <a:lnTo>
                      <a:pt x="0" y="3"/>
                    </a:lnTo>
                    <a:lnTo>
                      <a:pt x="0" y="3"/>
                    </a:lnTo>
                    <a:lnTo>
                      <a:pt x="3" y="1"/>
                    </a:lnTo>
                    <a:lnTo>
                      <a:pt x="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71" name="Freeform 798"/>
              <p:cNvSpPr>
                <a:spLocks/>
              </p:cNvSpPr>
              <p:nvPr/>
            </p:nvSpPr>
            <p:spPr bwMode="auto">
              <a:xfrm>
                <a:off x="5311393" y="3114393"/>
                <a:ext cx="12289" cy="11155"/>
              </a:xfrm>
              <a:custGeom>
                <a:avLst/>
                <a:gdLst/>
                <a:ahLst/>
                <a:cxnLst>
                  <a:cxn ang="0">
                    <a:pos x="13" y="0"/>
                  </a:cxn>
                  <a:cxn ang="0">
                    <a:pos x="12" y="2"/>
                  </a:cxn>
                  <a:cxn ang="0">
                    <a:pos x="12" y="5"/>
                  </a:cxn>
                  <a:cxn ang="0">
                    <a:pos x="12" y="6"/>
                  </a:cxn>
                  <a:cxn ang="0">
                    <a:pos x="12" y="6"/>
                  </a:cxn>
                  <a:cxn ang="0">
                    <a:pos x="12" y="9"/>
                  </a:cxn>
                  <a:cxn ang="0">
                    <a:pos x="10" y="11"/>
                  </a:cxn>
                  <a:cxn ang="0">
                    <a:pos x="0" y="11"/>
                  </a:cxn>
                  <a:cxn ang="0">
                    <a:pos x="0" y="11"/>
                  </a:cxn>
                  <a:cxn ang="0">
                    <a:pos x="5" y="9"/>
                  </a:cxn>
                  <a:cxn ang="0">
                    <a:pos x="6" y="8"/>
                  </a:cxn>
                  <a:cxn ang="0">
                    <a:pos x="6" y="3"/>
                  </a:cxn>
                  <a:cxn ang="0">
                    <a:pos x="6" y="3"/>
                  </a:cxn>
                  <a:cxn ang="0">
                    <a:pos x="5" y="3"/>
                  </a:cxn>
                  <a:cxn ang="0">
                    <a:pos x="3" y="3"/>
                  </a:cxn>
                  <a:cxn ang="0">
                    <a:pos x="3" y="2"/>
                  </a:cxn>
                  <a:cxn ang="0">
                    <a:pos x="5" y="2"/>
                  </a:cxn>
                  <a:cxn ang="0">
                    <a:pos x="5" y="0"/>
                  </a:cxn>
                  <a:cxn ang="0">
                    <a:pos x="13" y="0"/>
                  </a:cxn>
                  <a:cxn ang="0">
                    <a:pos x="13" y="0"/>
                  </a:cxn>
                </a:cxnLst>
                <a:rect l="0" t="0" r="r" b="b"/>
                <a:pathLst>
                  <a:path w="13" h="11">
                    <a:moveTo>
                      <a:pt x="13" y="0"/>
                    </a:moveTo>
                    <a:lnTo>
                      <a:pt x="12" y="2"/>
                    </a:lnTo>
                    <a:lnTo>
                      <a:pt x="12" y="5"/>
                    </a:lnTo>
                    <a:lnTo>
                      <a:pt x="12" y="6"/>
                    </a:lnTo>
                    <a:lnTo>
                      <a:pt x="12" y="6"/>
                    </a:lnTo>
                    <a:lnTo>
                      <a:pt x="12" y="9"/>
                    </a:lnTo>
                    <a:lnTo>
                      <a:pt x="10" y="11"/>
                    </a:lnTo>
                    <a:lnTo>
                      <a:pt x="0" y="11"/>
                    </a:lnTo>
                    <a:lnTo>
                      <a:pt x="0" y="11"/>
                    </a:lnTo>
                    <a:lnTo>
                      <a:pt x="5" y="9"/>
                    </a:lnTo>
                    <a:lnTo>
                      <a:pt x="6" y="8"/>
                    </a:lnTo>
                    <a:lnTo>
                      <a:pt x="6" y="3"/>
                    </a:lnTo>
                    <a:lnTo>
                      <a:pt x="6" y="3"/>
                    </a:lnTo>
                    <a:lnTo>
                      <a:pt x="5" y="3"/>
                    </a:lnTo>
                    <a:lnTo>
                      <a:pt x="3" y="3"/>
                    </a:lnTo>
                    <a:lnTo>
                      <a:pt x="3" y="2"/>
                    </a:lnTo>
                    <a:lnTo>
                      <a:pt x="5" y="2"/>
                    </a:lnTo>
                    <a:lnTo>
                      <a:pt x="5" y="0"/>
                    </a:lnTo>
                    <a:lnTo>
                      <a:pt x="13" y="0"/>
                    </a:lnTo>
                    <a:lnTo>
                      <a:pt x="1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72" name="Freeform 799"/>
              <p:cNvSpPr>
                <a:spLocks/>
              </p:cNvSpPr>
              <p:nvPr/>
            </p:nvSpPr>
            <p:spPr bwMode="auto">
              <a:xfrm>
                <a:off x="5311393" y="3114393"/>
                <a:ext cx="12289" cy="11155"/>
              </a:xfrm>
              <a:custGeom>
                <a:avLst/>
                <a:gdLst/>
                <a:ahLst/>
                <a:cxnLst>
                  <a:cxn ang="0">
                    <a:pos x="13" y="0"/>
                  </a:cxn>
                  <a:cxn ang="0">
                    <a:pos x="12" y="2"/>
                  </a:cxn>
                  <a:cxn ang="0">
                    <a:pos x="12" y="5"/>
                  </a:cxn>
                  <a:cxn ang="0">
                    <a:pos x="12" y="6"/>
                  </a:cxn>
                  <a:cxn ang="0">
                    <a:pos x="12" y="6"/>
                  </a:cxn>
                  <a:cxn ang="0">
                    <a:pos x="12" y="9"/>
                  </a:cxn>
                  <a:cxn ang="0">
                    <a:pos x="10" y="11"/>
                  </a:cxn>
                  <a:cxn ang="0">
                    <a:pos x="0" y="11"/>
                  </a:cxn>
                  <a:cxn ang="0">
                    <a:pos x="0" y="11"/>
                  </a:cxn>
                  <a:cxn ang="0">
                    <a:pos x="5" y="9"/>
                  </a:cxn>
                  <a:cxn ang="0">
                    <a:pos x="6" y="8"/>
                  </a:cxn>
                  <a:cxn ang="0">
                    <a:pos x="6" y="3"/>
                  </a:cxn>
                  <a:cxn ang="0">
                    <a:pos x="6" y="3"/>
                  </a:cxn>
                  <a:cxn ang="0">
                    <a:pos x="5" y="3"/>
                  </a:cxn>
                  <a:cxn ang="0">
                    <a:pos x="3" y="3"/>
                  </a:cxn>
                  <a:cxn ang="0">
                    <a:pos x="3" y="2"/>
                  </a:cxn>
                  <a:cxn ang="0">
                    <a:pos x="5" y="2"/>
                  </a:cxn>
                  <a:cxn ang="0">
                    <a:pos x="5" y="0"/>
                  </a:cxn>
                  <a:cxn ang="0">
                    <a:pos x="13" y="0"/>
                  </a:cxn>
                  <a:cxn ang="0">
                    <a:pos x="13" y="0"/>
                  </a:cxn>
                </a:cxnLst>
                <a:rect l="0" t="0" r="r" b="b"/>
                <a:pathLst>
                  <a:path w="13" h="11">
                    <a:moveTo>
                      <a:pt x="13" y="0"/>
                    </a:moveTo>
                    <a:lnTo>
                      <a:pt x="12" y="2"/>
                    </a:lnTo>
                    <a:lnTo>
                      <a:pt x="12" y="5"/>
                    </a:lnTo>
                    <a:lnTo>
                      <a:pt x="12" y="6"/>
                    </a:lnTo>
                    <a:lnTo>
                      <a:pt x="12" y="6"/>
                    </a:lnTo>
                    <a:lnTo>
                      <a:pt x="12" y="9"/>
                    </a:lnTo>
                    <a:lnTo>
                      <a:pt x="10" y="11"/>
                    </a:lnTo>
                    <a:lnTo>
                      <a:pt x="0" y="11"/>
                    </a:lnTo>
                    <a:lnTo>
                      <a:pt x="0" y="11"/>
                    </a:lnTo>
                    <a:lnTo>
                      <a:pt x="5" y="9"/>
                    </a:lnTo>
                    <a:lnTo>
                      <a:pt x="6" y="8"/>
                    </a:lnTo>
                    <a:lnTo>
                      <a:pt x="6" y="3"/>
                    </a:lnTo>
                    <a:lnTo>
                      <a:pt x="6" y="3"/>
                    </a:lnTo>
                    <a:lnTo>
                      <a:pt x="5" y="3"/>
                    </a:lnTo>
                    <a:lnTo>
                      <a:pt x="3" y="3"/>
                    </a:lnTo>
                    <a:lnTo>
                      <a:pt x="3" y="2"/>
                    </a:lnTo>
                    <a:lnTo>
                      <a:pt x="5" y="2"/>
                    </a:lnTo>
                    <a:lnTo>
                      <a:pt x="5" y="0"/>
                    </a:lnTo>
                    <a:lnTo>
                      <a:pt x="13" y="0"/>
                    </a:lnTo>
                    <a:lnTo>
                      <a:pt x="1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73" name="Freeform 800"/>
              <p:cNvSpPr>
                <a:spLocks/>
              </p:cNvSpPr>
              <p:nvPr/>
            </p:nvSpPr>
            <p:spPr bwMode="auto">
              <a:xfrm>
                <a:off x="5461497" y="3267526"/>
                <a:ext cx="8778" cy="8113"/>
              </a:xfrm>
              <a:custGeom>
                <a:avLst/>
                <a:gdLst/>
                <a:ahLst/>
                <a:cxnLst>
                  <a:cxn ang="0">
                    <a:pos x="2" y="0"/>
                  </a:cxn>
                  <a:cxn ang="0">
                    <a:pos x="0" y="3"/>
                  </a:cxn>
                  <a:cxn ang="0">
                    <a:pos x="0" y="5"/>
                  </a:cxn>
                  <a:cxn ang="0">
                    <a:pos x="2" y="6"/>
                  </a:cxn>
                  <a:cxn ang="0">
                    <a:pos x="6" y="8"/>
                  </a:cxn>
                  <a:cxn ang="0">
                    <a:pos x="8" y="8"/>
                  </a:cxn>
                  <a:cxn ang="0">
                    <a:pos x="9" y="5"/>
                  </a:cxn>
                  <a:cxn ang="0">
                    <a:pos x="8" y="3"/>
                  </a:cxn>
                  <a:cxn ang="0">
                    <a:pos x="5" y="3"/>
                  </a:cxn>
                  <a:cxn ang="0">
                    <a:pos x="3" y="2"/>
                  </a:cxn>
                  <a:cxn ang="0">
                    <a:pos x="2" y="0"/>
                  </a:cxn>
                </a:cxnLst>
                <a:rect l="0" t="0" r="r" b="b"/>
                <a:pathLst>
                  <a:path w="9" h="8">
                    <a:moveTo>
                      <a:pt x="2" y="0"/>
                    </a:moveTo>
                    <a:lnTo>
                      <a:pt x="0" y="3"/>
                    </a:lnTo>
                    <a:lnTo>
                      <a:pt x="0" y="5"/>
                    </a:lnTo>
                    <a:lnTo>
                      <a:pt x="2" y="6"/>
                    </a:lnTo>
                    <a:lnTo>
                      <a:pt x="6" y="8"/>
                    </a:lnTo>
                    <a:lnTo>
                      <a:pt x="8" y="8"/>
                    </a:lnTo>
                    <a:lnTo>
                      <a:pt x="9" y="5"/>
                    </a:lnTo>
                    <a:lnTo>
                      <a:pt x="8" y="3"/>
                    </a:lnTo>
                    <a:lnTo>
                      <a:pt x="5" y="3"/>
                    </a:lnTo>
                    <a:lnTo>
                      <a:pt x="3" y="2"/>
                    </a:lnTo>
                    <a:lnTo>
                      <a:pt x="2"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74" name="Freeform 801"/>
              <p:cNvSpPr>
                <a:spLocks/>
              </p:cNvSpPr>
              <p:nvPr/>
            </p:nvSpPr>
            <p:spPr bwMode="auto">
              <a:xfrm>
                <a:off x="5461497" y="3267526"/>
                <a:ext cx="8778" cy="8113"/>
              </a:xfrm>
              <a:custGeom>
                <a:avLst/>
                <a:gdLst/>
                <a:ahLst/>
                <a:cxnLst>
                  <a:cxn ang="0">
                    <a:pos x="2" y="0"/>
                  </a:cxn>
                  <a:cxn ang="0">
                    <a:pos x="0" y="3"/>
                  </a:cxn>
                  <a:cxn ang="0">
                    <a:pos x="0" y="5"/>
                  </a:cxn>
                  <a:cxn ang="0">
                    <a:pos x="2" y="6"/>
                  </a:cxn>
                  <a:cxn ang="0">
                    <a:pos x="6" y="8"/>
                  </a:cxn>
                  <a:cxn ang="0">
                    <a:pos x="8" y="8"/>
                  </a:cxn>
                  <a:cxn ang="0">
                    <a:pos x="9" y="5"/>
                  </a:cxn>
                  <a:cxn ang="0">
                    <a:pos x="8" y="3"/>
                  </a:cxn>
                  <a:cxn ang="0">
                    <a:pos x="5" y="3"/>
                  </a:cxn>
                  <a:cxn ang="0">
                    <a:pos x="3" y="2"/>
                  </a:cxn>
                  <a:cxn ang="0">
                    <a:pos x="2" y="0"/>
                  </a:cxn>
                </a:cxnLst>
                <a:rect l="0" t="0" r="r" b="b"/>
                <a:pathLst>
                  <a:path w="9" h="8">
                    <a:moveTo>
                      <a:pt x="2" y="0"/>
                    </a:moveTo>
                    <a:lnTo>
                      <a:pt x="0" y="3"/>
                    </a:lnTo>
                    <a:lnTo>
                      <a:pt x="0" y="5"/>
                    </a:lnTo>
                    <a:lnTo>
                      <a:pt x="2" y="6"/>
                    </a:lnTo>
                    <a:lnTo>
                      <a:pt x="6" y="8"/>
                    </a:lnTo>
                    <a:lnTo>
                      <a:pt x="8" y="8"/>
                    </a:lnTo>
                    <a:lnTo>
                      <a:pt x="9" y="5"/>
                    </a:lnTo>
                    <a:lnTo>
                      <a:pt x="8" y="3"/>
                    </a:lnTo>
                    <a:lnTo>
                      <a:pt x="5" y="3"/>
                    </a:lnTo>
                    <a:lnTo>
                      <a:pt x="3" y="2"/>
                    </a:lnTo>
                    <a:lnTo>
                      <a:pt x="2"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75" name="Freeform 802"/>
              <p:cNvSpPr>
                <a:spLocks/>
              </p:cNvSpPr>
              <p:nvPr/>
            </p:nvSpPr>
            <p:spPr bwMode="auto">
              <a:xfrm>
                <a:off x="5470275" y="3273611"/>
                <a:ext cx="5267" cy="4056"/>
              </a:xfrm>
              <a:custGeom>
                <a:avLst/>
                <a:gdLst/>
                <a:ahLst/>
                <a:cxnLst>
                  <a:cxn ang="0">
                    <a:pos x="4" y="3"/>
                  </a:cxn>
                  <a:cxn ang="0">
                    <a:pos x="3" y="4"/>
                  </a:cxn>
                  <a:cxn ang="0">
                    <a:pos x="2" y="4"/>
                  </a:cxn>
                  <a:cxn ang="0">
                    <a:pos x="0" y="3"/>
                  </a:cxn>
                  <a:cxn ang="0">
                    <a:pos x="0" y="3"/>
                  </a:cxn>
                  <a:cxn ang="0">
                    <a:pos x="2" y="3"/>
                  </a:cxn>
                  <a:cxn ang="0">
                    <a:pos x="2" y="3"/>
                  </a:cxn>
                  <a:cxn ang="0">
                    <a:pos x="3" y="2"/>
                  </a:cxn>
                  <a:cxn ang="0">
                    <a:pos x="3" y="0"/>
                  </a:cxn>
                  <a:cxn ang="0">
                    <a:pos x="4" y="0"/>
                  </a:cxn>
                  <a:cxn ang="0">
                    <a:pos x="6" y="2"/>
                  </a:cxn>
                  <a:cxn ang="0">
                    <a:pos x="6" y="2"/>
                  </a:cxn>
                  <a:cxn ang="0">
                    <a:pos x="4" y="3"/>
                  </a:cxn>
                </a:cxnLst>
                <a:rect l="0" t="0" r="r" b="b"/>
                <a:pathLst>
                  <a:path w="6" h="4">
                    <a:moveTo>
                      <a:pt x="4" y="3"/>
                    </a:moveTo>
                    <a:lnTo>
                      <a:pt x="3" y="4"/>
                    </a:lnTo>
                    <a:lnTo>
                      <a:pt x="2" y="4"/>
                    </a:lnTo>
                    <a:lnTo>
                      <a:pt x="0" y="3"/>
                    </a:lnTo>
                    <a:lnTo>
                      <a:pt x="0" y="3"/>
                    </a:lnTo>
                    <a:lnTo>
                      <a:pt x="2" y="3"/>
                    </a:lnTo>
                    <a:lnTo>
                      <a:pt x="2" y="3"/>
                    </a:lnTo>
                    <a:lnTo>
                      <a:pt x="3" y="2"/>
                    </a:lnTo>
                    <a:lnTo>
                      <a:pt x="3" y="0"/>
                    </a:lnTo>
                    <a:lnTo>
                      <a:pt x="4" y="0"/>
                    </a:lnTo>
                    <a:lnTo>
                      <a:pt x="6" y="2"/>
                    </a:lnTo>
                    <a:lnTo>
                      <a:pt x="6" y="2"/>
                    </a:lnTo>
                    <a:lnTo>
                      <a:pt x="4"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76" name="Freeform 803"/>
              <p:cNvSpPr>
                <a:spLocks/>
              </p:cNvSpPr>
              <p:nvPr/>
            </p:nvSpPr>
            <p:spPr bwMode="auto">
              <a:xfrm>
                <a:off x="5470275" y="3273611"/>
                <a:ext cx="5267" cy="4056"/>
              </a:xfrm>
              <a:custGeom>
                <a:avLst/>
                <a:gdLst/>
                <a:ahLst/>
                <a:cxnLst>
                  <a:cxn ang="0">
                    <a:pos x="4" y="3"/>
                  </a:cxn>
                  <a:cxn ang="0">
                    <a:pos x="3" y="4"/>
                  </a:cxn>
                  <a:cxn ang="0">
                    <a:pos x="2" y="4"/>
                  </a:cxn>
                  <a:cxn ang="0">
                    <a:pos x="0" y="3"/>
                  </a:cxn>
                  <a:cxn ang="0">
                    <a:pos x="0" y="3"/>
                  </a:cxn>
                  <a:cxn ang="0">
                    <a:pos x="2" y="3"/>
                  </a:cxn>
                  <a:cxn ang="0">
                    <a:pos x="2" y="3"/>
                  </a:cxn>
                  <a:cxn ang="0">
                    <a:pos x="3" y="2"/>
                  </a:cxn>
                  <a:cxn ang="0">
                    <a:pos x="3" y="0"/>
                  </a:cxn>
                  <a:cxn ang="0">
                    <a:pos x="4" y="0"/>
                  </a:cxn>
                  <a:cxn ang="0">
                    <a:pos x="6" y="2"/>
                  </a:cxn>
                  <a:cxn ang="0">
                    <a:pos x="6" y="2"/>
                  </a:cxn>
                  <a:cxn ang="0">
                    <a:pos x="4" y="3"/>
                  </a:cxn>
                </a:cxnLst>
                <a:rect l="0" t="0" r="r" b="b"/>
                <a:pathLst>
                  <a:path w="6" h="4">
                    <a:moveTo>
                      <a:pt x="4" y="3"/>
                    </a:moveTo>
                    <a:lnTo>
                      <a:pt x="3" y="4"/>
                    </a:lnTo>
                    <a:lnTo>
                      <a:pt x="2" y="4"/>
                    </a:lnTo>
                    <a:lnTo>
                      <a:pt x="0" y="3"/>
                    </a:lnTo>
                    <a:lnTo>
                      <a:pt x="0" y="3"/>
                    </a:lnTo>
                    <a:lnTo>
                      <a:pt x="2" y="3"/>
                    </a:lnTo>
                    <a:lnTo>
                      <a:pt x="2" y="3"/>
                    </a:lnTo>
                    <a:lnTo>
                      <a:pt x="3" y="2"/>
                    </a:lnTo>
                    <a:lnTo>
                      <a:pt x="3" y="0"/>
                    </a:lnTo>
                    <a:lnTo>
                      <a:pt x="4" y="0"/>
                    </a:lnTo>
                    <a:lnTo>
                      <a:pt x="6" y="2"/>
                    </a:lnTo>
                    <a:lnTo>
                      <a:pt x="6" y="2"/>
                    </a:lnTo>
                    <a:lnTo>
                      <a:pt x="4"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77" name="Freeform 804"/>
              <p:cNvSpPr>
                <a:spLocks/>
              </p:cNvSpPr>
              <p:nvPr/>
            </p:nvSpPr>
            <p:spPr bwMode="auto">
              <a:xfrm>
                <a:off x="5458863" y="3277667"/>
                <a:ext cx="28968" cy="23325"/>
              </a:xfrm>
              <a:custGeom>
                <a:avLst/>
                <a:gdLst/>
                <a:ahLst/>
                <a:cxnLst>
                  <a:cxn ang="0">
                    <a:pos x="31" y="2"/>
                  </a:cxn>
                  <a:cxn ang="0">
                    <a:pos x="31" y="9"/>
                  </a:cxn>
                  <a:cxn ang="0">
                    <a:pos x="25" y="16"/>
                  </a:cxn>
                  <a:cxn ang="0">
                    <a:pos x="18" y="21"/>
                  </a:cxn>
                  <a:cxn ang="0">
                    <a:pos x="11" y="22"/>
                  </a:cxn>
                  <a:cxn ang="0">
                    <a:pos x="11" y="22"/>
                  </a:cxn>
                  <a:cxn ang="0">
                    <a:pos x="5" y="22"/>
                  </a:cxn>
                  <a:cxn ang="0">
                    <a:pos x="2" y="21"/>
                  </a:cxn>
                  <a:cxn ang="0">
                    <a:pos x="2" y="19"/>
                  </a:cxn>
                  <a:cxn ang="0">
                    <a:pos x="0" y="3"/>
                  </a:cxn>
                  <a:cxn ang="0">
                    <a:pos x="2" y="3"/>
                  </a:cxn>
                  <a:cxn ang="0">
                    <a:pos x="3" y="2"/>
                  </a:cxn>
                  <a:cxn ang="0">
                    <a:pos x="5" y="0"/>
                  </a:cxn>
                  <a:cxn ang="0">
                    <a:pos x="6" y="0"/>
                  </a:cxn>
                  <a:cxn ang="0">
                    <a:pos x="12" y="0"/>
                  </a:cxn>
                  <a:cxn ang="0">
                    <a:pos x="15" y="2"/>
                  </a:cxn>
                  <a:cxn ang="0">
                    <a:pos x="25" y="0"/>
                  </a:cxn>
                  <a:cxn ang="0">
                    <a:pos x="28" y="0"/>
                  </a:cxn>
                  <a:cxn ang="0">
                    <a:pos x="29" y="0"/>
                  </a:cxn>
                  <a:cxn ang="0">
                    <a:pos x="29" y="2"/>
                  </a:cxn>
                  <a:cxn ang="0">
                    <a:pos x="29" y="2"/>
                  </a:cxn>
                  <a:cxn ang="0">
                    <a:pos x="31" y="2"/>
                  </a:cxn>
                </a:cxnLst>
                <a:rect l="0" t="0" r="r" b="b"/>
                <a:pathLst>
                  <a:path w="31" h="22">
                    <a:moveTo>
                      <a:pt x="31" y="2"/>
                    </a:moveTo>
                    <a:lnTo>
                      <a:pt x="31" y="9"/>
                    </a:lnTo>
                    <a:lnTo>
                      <a:pt x="25" y="16"/>
                    </a:lnTo>
                    <a:lnTo>
                      <a:pt x="18" y="21"/>
                    </a:lnTo>
                    <a:lnTo>
                      <a:pt x="11" y="22"/>
                    </a:lnTo>
                    <a:lnTo>
                      <a:pt x="11" y="22"/>
                    </a:lnTo>
                    <a:lnTo>
                      <a:pt x="5" y="22"/>
                    </a:lnTo>
                    <a:lnTo>
                      <a:pt x="2" y="21"/>
                    </a:lnTo>
                    <a:lnTo>
                      <a:pt x="2" y="19"/>
                    </a:lnTo>
                    <a:lnTo>
                      <a:pt x="0" y="3"/>
                    </a:lnTo>
                    <a:lnTo>
                      <a:pt x="2" y="3"/>
                    </a:lnTo>
                    <a:lnTo>
                      <a:pt x="3" y="2"/>
                    </a:lnTo>
                    <a:lnTo>
                      <a:pt x="5" y="0"/>
                    </a:lnTo>
                    <a:lnTo>
                      <a:pt x="6" y="0"/>
                    </a:lnTo>
                    <a:lnTo>
                      <a:pt x="12" y="0"/>
                    </a:lnTo>
                    <a:lnTo>
                      <a:pt x="15" y="2"/>
                    </a:lnTo>
                    <a:lnTo>
                      <a:pt x="25" y="0"/>
                    </a:lnTo>
                    <a:lnTo>
                      <a:pt x="28" y="0"/>
                    </a:lnTo>
                    <a:lnTo>
                      <a:pt x="29" y="0"/>
                    </a:lnTo>
                    <a:lnTo>
                      <a:pt x="29" y="2"/>
                    </a:lnTo>
                    <a:lnTo>
                      <a:pt x="29" y="2"/>
                    </a:lnTo>
                    <a:lnTo>
                      <a:pt x="31"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78" name="Freeform 805"/>
              <p:cNvSpPr>
                <a:spLocks/>
              </p:cNvSpPr>
              <p:nvPr/>
            </p:nvSpPr>
            <p:spPr bwMode="auto">
              <a:xfrm>
                <a:off x="5458863" y="3277667"/>
                <a:ext cx="28968" cy="23325"/>
              </a:xfrm>
              <a:custGeom>
                <a:avLst/>
                <a:gdLst/>
                <a:ahLst/>
                <a:cxnLst>
                  <a:cxn ang="0">
                    <a:pos x="31" y="2"/>
                  </a:cxn>
                  <a:cxn ang="0">
                    <a:pos x="31" y="9"/>
                  </a:cxn>
                  <a:cxn ang="0">
                    <a:pos x="25" y="16"/>
                  </a:cxn>
                  <a:cxn ang="0">
                    <a:pos x="18" y="21"/>
                  </a:cxn>
                  <a:cxn ang="0">
                    <a:pos x="11" y="22"/>
                  </a:cxn>
                  <a:cxn ang="0">
                    <a:pos x="11" y="22"/>
                  </a:cxn>
                  <a:cxn ang="0">
                    <a:pos x="5" y="22"/>
                  </a:cxn>
                  <a:cxn ang="0">
                    <a:pos x="2" y="21"/>
                  </a:cxn>
                  <a:cxn ang="0">
                    <a:pos x="2" y="19"/>
                  </a:cxn>
                  <a:cxn ang="0">
                    <a:pos x="0" y="3"/>
                  </a:cxn>
                  <a:cxn ang="0">
                    <a:pos x="2" y="3"/>
                  </a:cxn>
                  <a:cxn ang="0">
                    <a:pos x="3" y="2"/>
                  </a:cxn>
                  <a:cxn ang="0">
                    <a:pos x="5" y="0"/>
                  </a:cxn>
                  <a:cxn ang="0">
                    <a:pos x="6" y="0"/>
                  </a:cxn>
                  <a:cxn ang="0">
                    <a:pos x="12" y="0"/>
                  </a:cxn>
                  <a:cxn ang="0">
                    <a:pos x="15" y="2"/>
                  </a:cxn>
                  <a:cxn ang="0">
                    <a:pos x="25" y="0"/>
                  </a:cxn>
                  <a:cxn ang="0">
                    <a:pos x="28" y="0"/>
                  </a:cxn>
                  <a:cxn ang="0">
                    <a:pos x="29" y="0"/>
                  </a:cxn>
                  <a:cxn ang="0">
                    <a:pos x="29" y="2"/>
                  </a:cxn>
                  <a:cxn ang="0">
                    <a:pos x="29" y="2"/>
                  </a:cxn>
                  <a:cxn ang="0">
                    <a:pos x="31" y="2"/>
                  </a:cxn>
                </a:cxnLst>
                <a:rect l="0" t="0" r="r" b="b"/>
                <a:pathLst>
                  <a:path w="31" h="22">
                    <a:moveTo>
                      <a:pt x="31" y="2"/>
                    </a:moveTo>
                    <a:lnTo>
                      <a:pt x="31" y="9"/>
                    </a:lnTo>
                    <a:lnTo>
                      <a:pt x="25" y="16"/>
                    </a:lnTo>
                    <a:lnTo>
                      <a:pt x="18" y="21"/>
                    </a:lnTo>
                    <a:lnTo>
                      <a:pt x="11" y="22"/>
                    </a:lnTo>
                    <a:lnTo>
                      <a:pt x="11" y="22"/>
                    </a:lnTo>
                    <a:lnTo>
                      <a:pt x="5" y="22"/>
                    </a:lnTo>
                    <a:lnTo>
                      <a:pt x="2" y="21"/>
                    </a:lnTo>
                    <a:lnTo>
                      <a:pt x="2" y="19"/>
                    </a:lnTo>
                    <a:lnTo>
                      <a:pt x="0" y="3"/>
                    </a:lnTo>
                    <a:lnTo>
                      <a:pt x="2" y="3"/>
                    </a:lnTo>
                    <a:lnTo>
                      <a:pt x="3" y="2"/>
                    </a:lnTo>
                    <a:lnTo>
                      <a:pt x="5" y="0"/>
                    </a:lnTo>
                    <a:lnTo>
                      <a:pt x="6" y="0"/>
                    </a:lnTo>
                    <a:lnTo>
                      <a:pt x="12" y="0"/>
                    </a:lnTo>
                    <a:lnTo>
                      <a:pt x="15" y="2"/>
                    </a:lnTo>
                    <a:lnTo>
                      <a:pt x="25" y="0"/>
                    </a:lnTo>
                    <a:lnTo>
                      <a:pt x="28" y="0"/>
                    </a:lnTo>
                    <a:lnTo>
                      <a:pt x="29" y="0"/>
                    </a:lnTo>
                    <a:lnTo>
                      <a:pt x="29" y="2"/>
                    </a:lnTo>
                    <a:lnTo>
                      <a:pt x="29" y="2"/>
                    </a:lnTo>
                    <a:lnTo>
                      <a:pt x="31"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79" name="Freeform 806"/>
              <p:cNvSpPr>
                <a:spLocks/>
              </p:cNvSpPr>
              <p:nvPr/>
            </p:nvSpPr>
            <p:spPr bwMode="auto">
              <a:xfrm>
                <a:off x="5452719" y="3275639"/>
                <a:ext cx="6144" cy="11156"/>
              </a:xfrm>
              <a:custGeom>
                <a:avLst/>
                <a:gdLst/>
                <a:ahLst/>
                <a:cxnLst>
                  <a:cxn ang="0">
                    <a:pos x="7" y="4"/>
                  </a:cxn>
                  <a:cxn ang="0">
                    <a:pos x="7" y="4"/>
                  </a:cxn>
                  <a:cxn ang="0">
                    <a:pos x="6" y="5"/>
                  </a:cxn>
                  <a:cxn ang="0">
                    <a:pos x="6" y="7"/>
                  </a:cxn>
                  <a:cxn ang="0">
                    <a:pos x="3" y="10"/>
                  </a:cxn>
                  <a:cxn ang="0">
                    <a:pos x="0" y="10"/>
                  </a:cxn>
                  <a:cxn ang="0">
                    <a:pos x="0" y="8"/>
                  </a:cxn>
                  <a:cxn ang="0">
                    <a:pos x="0" y="7"/>
                  </a:cxn>
                  <a:cxn ang="0">
                    <a:pos x="0" y="7"/>
                  </a:cxn>
                  <a:cxn ang="0">
                    <a:pos x="0" y="5"/>
                  </a:cxn>
                  <a:cxn ang="0">
                    <a:pos x="2" y="4"/>
                  </a:cxn>
                  <a:cxn ang="0">
                    <a:pos x="2" y="2"/>
                  </a:cxn>
                  <a:cxn ang="0">
                    <a:pos x="3" y="1"/>
                  </a:cxn>
                  <a:cxn ang="0">
                    <a:pos x="3" y="1"/>
                  </a:cxn>
                  <a:cxn ang="0">
                    <a:pos x="6" y="0"/>
                  </a:cxn>
                  <a:cxn ang="0">
                    <a:pos x="6" y="0"/>
                  </a:cxn>
                  <a:cxn ang="0">
                    <a:pos x="7" y="0"/>
                  </a:cxn>
                  <a:cxn ang="0">
                    <a:pos x="7" y="0"/>
                  </a:cxn>
                  <a:cxn ang="0">
                    <a:pos x="6" y="1"/>
                  </a:cxn>
                  <a:cxn ang="0">
                    <a:pos x="5" y="2"/>
                  </a:cxn>
                  <a:cxn ang="0">
                    <a:pos x="5" y="2"/>
                  </a:cxn>
                  <a:cxn ang="0">
                    <a:pos x="7" y="2"/>
                  </a:cxn>
                  <a:cxn ang="0">
                    <a:pos x="7" y="4"/>
                  </a:cxn>
                  <a:cxn ang="0">
                    <a:pos x="7" y="4"/>
                  </a:cxn>
                </a:cxnLst>
                <a:rect l="0" t="0" r="r" b="b"/>
                <a:pathLst>
                  <a:path w="7" h="10">
                    <a:moveTo>
                      <a:pt x="7" y="4"/>
                    </a:moveTo>
                    <a:lnTo>
                      <a:pt x="7" y="4"/>
                    </a:lnTo>
                    <a:lnTo>
                      <a:pt x="6" y="5"/>
                    </a:lnTo>
                    <a:lnTo>
                      <a:pt x="6" y="7"/>
                    </a:lnTo>
                    <a:lnTo>
                      <a:pt x="3" y="10"/>
                    </a:lnTo>
                    <a:lnTo>
                      <a:pt x="0" y="10"/>
                    </a:lnTo>
                    <a:lnTo>
                      <a:pt x="0" y="8"/>
                    </a:lnTo>
                    <a:lnTo>
                      <a:pt x="0" y="7"/>
                    </a:lnTo>
                    <a:lnTo>
                      <a:pt x="0" y="7"/>
                    </a:lnTo>
                    <a:lnTo>
                      <a:pt x="0" y="5"/>
                    </a:lnTo>
                    <a:lnTo>
                      <a:pt x="2" y="4"/>
                    </a:lnTo>
                    <a:lnTo>
                      <a:pt x="2" y="2"/>
                    </a:lnTo>
                    <a:lnTo>
                      <a:pt x="3" y="1"/>
                    </a:lnTo>
                    <a:lnTo>
                      <a:pt x="3" y="1"/>
                    </a:lnTo>
                    <a:lnTo>
                      <a:pt x="6" y="0"/>
                    </a:lnTo>
                    <a:lnTo>
                      <a:pt x="6" y="0"/>
                    </a:lnTo>
                    <a:lnTo>
                      <a:pt x="7" y="0"/>
                    </a:lnTo>
                    <a:lnTo>
                      <a:pt x="7" y="0"/>
                    </a:lnTo>
                    <a:lnTo>
                      <a:pt x="6" y="1"/>
                    </a:lnTo>
                    <a:lnTo>
                      <a:pt x="5" y="2"/>
                    </a:lnTo>
                    <a:lnTo>
                      <a:pt x="5" y="2"/>
                    </a:lnTo>
                    <a:lnTo>
                      <a:pt x="7" y="2"/>
                    </a:lnTo>
                    <a:lnTo>
                      <a:pt x="7" y="4"/>
                    </a:lnTo>
                    <a:lnTo>
                      <a:pt x="7" y="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80" name="Freeform 807"/>
              <p:cNvSpPr>
                <a:spLocks/>
              </p:cNvSpPr>
              <p:nvPr/>
            </p:nvSpPr>
            <p:spPr bwMode="auto">
              <a:xfrm>
                <a:off x="5452719" y="3275639"/>
                <a:ext cx="6144" cy="11156"/>
              </a:xfrm>
              <a:custGeom>
                <a:avLst/>
                <a:gdLst/>
                <a:ahLst/>
                <a:cxnLst>
                  <a:cxn ang="0">
                    <a:pos x="7" y="4"/>
                  </a:cxn>
                  <a:cxn ang="0">
                    <a:pos x="7" y="4"/>
                  </a:cxn>
                  <a:cxn ang="0">
                    <a:pos x="6" y="5"/>
                  </a:cxn>
                  <a:cxn ang="0">
                    <a:pos x="6" y="7"/>
                  </a:cxn>
                  <a:cxn ang="0">
                    <a:pos x="3" y="10"/>
                  </a:cxn>
                  <a:cxn ang="0">
                    <a:pos x="0" y="10"/>
                  </a:cxn>
                  <a:cxn ang="0">
                    <a:pos x="0" y="8"/>
                  </a:cxn>
                  <a:cxn ang="0">
                    <a:pos x="0" y="7"/>
                  </a:cxn>
                  <a:cxn ang="0">
                    <a:pos x="0" y="7"/>
                  </a:cxn>
                  <a:cxn ang="0">
                    <a:pos x="0" y="5"/>
                  </a:cxn>
                  <a:cxn ang="0">
                    <a:pos x="2" y="4"/>
                  </a:cxn>
                  <a:cxn ang="0">
                    <a:pos x="2" y="2"/>
                  </a:cxn>
                  <a:cxn ang="0">
                    <a:pos x="3" y="1"/>
                  </a:cxn>
                  <a:cxn ang="0">
                    <a:pos x="3" y="1"/>
                  </a:cxn>
                  <a:cxn ang="0">
                    <a:pos x="6" y="0"/>
                  </a:cxn>
                  <a:cxn ang="0">
                    <a:pos x="6" y="0"/>
                  </a:cxn>
                  <a:cxn ang="0">
                    <a:pos x="7" y="0"/>
                  </a:cxn>
                  <a:cxn ang="0">
                    <a:pos x="7" y="0"/>
                  </a:cxn>
                  <a:cxn ang="0">
                    <a:pos x="6" y="1"/>
                  </a:cxn>
                  <a:cxn ang="0">
                    <a:pos x="5" y="2"/>
                  </a:cxn>
                  <a:cxn ang="0">
                    <a:pos x="5" y="2"/>
                  </a:cxn>
                  <a:cxn ang="0">
                    <a:pos x="7" y="2"/>
                  </a:cxn>
                  <a:cxn ang="0">
                    <a:pos x="7" y="4"/>
                  </a:cxn>
                  <a:cxn ang="0">
                    <a:pos x="7" y="4"/>
                  </a:cxn>
                </a:cxnLst>
                <a:rect l="0" t="0" r="r" b="b"/>
                <a:pathLst>
                  <a:path w="7" h="10">
                    <a:moveTo>
                      <a:pt x="7" y="4"/>
                    </a:moveTo>
                    <a:lnTo>
                      <a:pt x="7" y="4"/>
                    </a:lnTo>
                    <a:lnTo>
                      <a:pt x="6" y="5"/>
                    </a:lnTo>
                    <a:lnTo>
                      <a:pt x="6" y="7"/>
                    </a:lnTo>
                    <a:lnTo>
                      <a:pt x="3" y="10"/>
                    </a:lnTo>
                    <a:lnTo>
                      <a:pt x="0" y="10"/>
                    </a:lnTo>
                    <a:lnTo>
                      <a:pt x="0" y="8"/>
                    </a:lnTo>
                    <a:lnTo>
                      <a:pt x="0" y="7"/>
                    </a:lnTo>
                    <a:lnTo>
                      <a:pt x="0" y="7"/>
                    </a:lnTo>
                    <a:lnTo>
                      <a:pt x="0" y="5"/>
                    </a:lnTo>
                    <a:lnTo>
                      <a:pt x="2" y="4"/>
                    </a:lnTo>
                    <a:lnTo>
                      <a:pt x="2" y="2"/>
                    </a:lnTo>
                    <a:lnTo>
                      <a:pt x="3" y="1"/>
                    </a:lnTo>
                    <a:lnTo>
                      <a:pt x="3" y="1"/>
                    </a:lnTo>
                    <a:lnTo>
                      <a:pt x="6" y="0"/>
                    </a:lnTo>
                    <a:lnTo>
                      <a:pt x="6" y="0"/>
                    </a:lnTo>
                    <a:lnTo>
                      <a:pt x="7" y="0"/>
                    </a:lnTo>
                    <a:lnTo>
                      <a:pt x="7" y="0"/>
                    </a:lnTo>
                    <a:lnTo>
                      <a:pt x="6" y="1"/>
                    </a:lnTo>
                    <a:lnTo>
                      <a:pt x="5" y="2"/>
                    </a:lnTo>
                    <a:lnTo>
                      <a:pt x="5" y="2"/>
                    </a:lnTo>
                    <a:lnTo>
                      <a:pt x="7" y="2"/>
                    </a:lnTo>
                    <a:lnTo>
                      <a:pt x="7" y="4"/>
                    </a:lnTo>
                    <a:lnTo>
                      <a:pt x="7" y="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81" name="Freeform 808"/>
              <p:cNvSpPr>
                <a:spLocks/>
              </p:cNvSpPr>
              <p:nvPr/>
            </p:nvSpPr>
            <p:spPr bwMode="auto">
              <a:xfrm>
                <a:off x="5466764" y="3267526"/>
                <a:ext cx="878" cy="2028"/>
              </a:xfrm>
              <a:custGeom>
                <a:avLst/>
                <a:gdLst/>
                <a:ahLst/>
                <a:cxnLst>
                  <a:cxn ang="0">
                    <a:pos x="1" y="0"/>
                  </a:cxn>
                  <a:cxn ang="0">
                    <a:pos x="1" y="2"/>
                  </a:cxn>
                  <a:cxn ang="0">
                    <a:pos x="1" y="2"/>
                  </a:cxn>
                  <a:cxn ang="0">
                    <a:pos x="0" y="2"/>
                  </a:cxn>
                  <a:cxn ang="0">
                    <a:pos x="0" y="2"/>
                  </a:cxn>
                  <a:cxn ang="0">
                    <a:pos x="0" y="0"/>
                  </a:cxn>
                  <a:cxn ang="0">
                    <a:pos x="0" y="0"/>
                  </a:cxn>
                  <a:cxn ang="0">
                    <a:pos x="1" y="0"/>
                  </a:cxn>
                </a:cxnLst>
                <a:rect l="0" t="0" r="r" b="b"/>
                <a:pathLst>
                  <a:path w="1" h="2">
                    <a:moveTo>
                      <a:pt x="1" y="0"/>
                    </a:moveTo>
                    <a:lnTo>
                      <a:pt x="1" y="2"/>
                    </a:lnTo>
                    <a:lnTo>
                      <a:pt x="1" y="2"/>
                    </a:lnTo>
                    <a:lnTo>
                      <a:pt x="0" y="2"/>
                    </a:lnTo>
                    <a:lnTo>
                      <a:pt x="0" y="2"/>
                    </a:lnTo>
                    <a:lnTo>
                      <a:pt x="0" y="0"/>
                    </a:lnTo>
                    <a:lnTo>
                      <a:pt x="0" y="0"/>
                    </a:lnTo>
                    <a:lnTo>
                      <a:pt x="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82" name="Freeform 810"/>
              <p:cNvSpPr>
                <a:spLocks/>
              </p:cNvSpPr>
              <p:nvPr/>
            </p:nvSpPr>
            <p:spPr bwMode="auto">
              <a:xfrm>
                <a:off x="5466764" y="3267526"/>
                <a:ext cx="878" cy="2028"/>
              </a:xfrm>
              <a:custGeom>
                <a:avLst/>
                <a:gdLst/>
                <a:ahLst/>
                <a:cxnLst>
                  <a:cxn ang="0">
                    <a:pos x="1" y="0"/>
                  </a:cxn>
                  <a:cxn ang="0">
                    <a:pos x="1" y="2"/>
                  </a:cxn>
                  <a:cxn ang="0">
                    <a:pos x="1" y="2"/>
                  </a:cxn>
                  <a:cxn ang="0">
                    <a:pos x="0" y="2"/>
                  </a:cxn>
                  <a:cxn ang="0">
                    <a:pos x="0" y="2"/>
                  </a:cxn>
                  <a:cxn ang="0">
                    <a:pos x="0" y="0"/>
                  </a:cxn>
                  <a:cxn ang="0">
                    <a:pos x="0" y="0"/>
                  </a:cxn>
                  <a:cxn ang="0">
                    <a:pos x="1" y="0"/>
                  </a:cxn>
                </a:cxnLst>
                <a:rect l="0" t="0" r="r" b="b"/>
                <a:pathLst>
                  <a:path w="1" h="2">
                    <a:moveTo>
                      <a:pt x="1" y="0"/>
                    </a:moveTo>
                    <a:lnTo>
                      <a:pt x="1" y="2"/>
                    </a:lnTo>
                    <a:lnTo>
                      <a:pt x="1" y="2"/>
                    </a:lnTo>
                    <a:lnTo>
                      <a:pt x="0" y="2"/>
                    </a:lnTo>
                    <a:lnTo>
                      <a:pt x="0" y="2"/>
                    </a:lnTo>
                    <a:lnTo>
                      <a:pt x="0" y="0"/>
                    </a:lnTo>
                    <a:lnTo>
                      <a:pt x="0" y="0"/>
                    </a:lnTo>
                    <a:lnTo>
                      <a:pt x="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83" name="Freeform 811"/>
              <p:cNvSpPr>
                <a:spLocks/>
              </p:cNvSpPr>
              <p:nvPr/>
            </p:nvSpPr>
            <p:spPr bwMode="auto">
              <a:xfrm>
                <a:off x="5460619" y="3273611"/>
                <a:ext cx="3511" cy="3043"/>
              </a:xfrm>
              <a:custGeom>
                <a:avLst/>
                <a:gdLst/>
                <a:ahLst/>
                <a:cxnLst>
                  <a:cxn ang="0">
                    <a:pos x="1" y="0"/>
                  </a:cxn>
                  <a:cxn ang="0">
                    <a:pos x="3" y="2"/>
                  </a:cxn>
                  <a:cxn ang="0">
                    <a:pos x="3" y="3"/>
                  </a:cxn>
                  <a:cxn ang="0">
                    <a:pos x="1" y="3"/>
                  </a:cxn>
                  <a:cxn ang="0">
                    <a:pos x="0" y="2"/>
                  </a:cxn>
                  <a:cxn ang="0">
                    <a:pos x="1" y="0"/>
                  </a:cxn>
                </a:cxnLst>
                <a:rect l="0" t="0" r="r" b="b"/>
                <a:pathLst>
                  <a:path w="3" h="3">
                    <a:moveTo>
                      <a:pt x="1" y="0"/>
                    </a:moveTo>
                    <a:lnTo>
                      <a:pt x="3" y="2"/>
                    </a:lnTo>
                    <a:lnTo>
                      <a:pt x="3" y="3"/>
                    </a:lnTo>
                    <a:lnTo>
                      <a:pt x="1" y="3"/>
                    </a:lnTo>
                    <a:lnTo>
                      <a:pt x="0" y="2"/>
                    </a:lnTo>
                    <a:lnTo>
                      <a:pt x="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84" name="Freeform 812"/>
              <p:cNvSpPr>
                <a:spLocks/>
              </p:cNvSpPr>
              <p:nvPr/>
            </p:nvSpPr>
            <p:spPr bwMode="auto">
              <a:xfrm>
                <a:off x="5460619" y="3273611"/>
                <a:ext cx="3511" cy="3043"/>
              </a:xfrm>
              <a:custGeom>
                <a:avLst/>
                <a:gdLst/>
                <a:ahLst/>
                <a:cxnLst>
                  <a:cxn ang="0">
                    <a:pos x="1" y="0"/>
                  </a:cxn>
                  <a:cxn ang="0">
                    <a:pos x="3" y="2"/>
                  </a:cxn>
                  <a:cxn ang="0">
                    <a:pos x="3" y="3"/>
                  </a:cxn>
                  <a:cxn ang="0">
                    <a:pos x="1" y="3"/>
                  </a:cxn>
                  <a:cxn ang="0">
                    <a:pos x="0" y="2"/>
                  </a:cxn>
                  <a:cxn ang="0">
                    <a:pos x="1" y="0"/>
                  </a:cxn>
                </a:cxnLst>
                <a:rect l="0" t="0" r="r" b="b"/>
                <a:pathLst>
                  <a:path w="3" h="3">
                    <a:moveTo>
                      <a:pt x="1" y="0"/>
                    </a:moveTo>
                    <a:lnTo>
                      <a:pt x="3" y="2"/>
                    </a:lnTo>
                    <a:lnTo>
                      <a:pt x="3" y="3"/>
                    </a:lnTo>
                    <a:lnTo>
                      <a:pt x="1" y="3"/>
                    </a:lnTo>
                    <a:lnTo>
                      <a:pt x="0" y="2"/>
                    </a:lnTo>
                    <a:lnTo>
                      <a:pt x="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85" name="Freeform 813"/>
              <p:cNvSpPr>
                <a:spLocks/>
              </p:cNvSpPr>
              <p:nvPr/>
            </p:nvSpPr>
            <p:spPr bwMode="auto">
              <a:xfrm>
                <a:off x="6098780" y="2141839"/>
                <a:ext cx="7022" cy="23325"/>
              </a:xfrm>
              <a:custGeom>
                <a:avLst/>
                <a:gdLst/>
                <a:ahLst/>
                <a:cxnLst>
                  <a:cxn ang="0">
                    <a:pos x="5" y="0"/>
                  </a:cxn>
                  <a:cxn ang="0">
                    <a:pos x="5" y="0"/>
                  </a:cxn>
                  <a:cxn ang="0">
                    <a:pos x="3" y="2"/>
                  </a:cxn>
                  <a:cxn ang="0">
                    <a:pos x="2" y="3"/>
                  </a:cxn>
                  <a:cxn ang="0">
                    <a:pos x="2" y="3"/>
                  </a:cxn>
                  <a:cxn ang="0">
                    <a:pos x="2" y="4"/>
                  </a:cxn>
                  <a:cxn ang="0">
                    <a:pos x="2" y="7"/>
                  </a:cxn>
                  <a:cxn ang="0">
                    <a:pos x="3" y="9"/>
                  </a:cxn>
                  <a:cxn ang="0">
                    <a:pos x="0" y="12"/>
                  </a:cxn>
                  <a:cxn ang="0">
                    <a:pos x="0" y="13"/>
                  </a:cxn>
                  <a:cxn ang="0">
                    <a:pos x="2" y="13"/>
                  </a:cxn>
                  <a:cxn ang="0">
                    <a:pos x="5" y="12"/>
                  </a:cxn>
                  <a:cxn ang="0">
                    <a:pos x="5" y="13"/>
                  </a:cxn>
                  <a:cxn ang="0">
                    <a:pos x="3" y="22"/>
                  </a:cxn>
                  <a:cxn ang="0">
                    <a:pos x="8" y="18"/>
                  </a:cxn>
                  <a:cxn ang="0">
                    <a:pos x="8" y="10"/>
                  </a:cxn>
                  <a:cxn ang="0">
                    <a:pos x="8" y="10"/>
                  </a:cxn>
                  <a:cxn ang="0">
                    <a:pos x="8" y="6"/>
                  </a:cxn>
                  <a:cxn ang="0">
                    <a:pos x="5" y="4"/>
                  </a:cxn>
                  <a:cxn ang="0">
                    <a:pos x="5" y="0"/>
                  </a:cxn>
                </a:cxnLst>
                <a:rect l="0" t="0" r="r" b="b"/>
                <a:pathLst>
                  <a:path w="8" h="22">
                    <a:moveTo>
                      <a:pt x="5" y="0"/>
                    </a:moveTo>
                    <a:lnTo>
                      <a:pt x="5" y="0"/>
                    </a:lnTo>
                    <a:lnTo>
                      <a:pt x="3" y="2"/>
                    </a:lnTo>
                    <a:lnTo>
                      <a:pt x="2" y="3"/>
                    </a:lnTo>
                    <a:lnTo>
                      <a:pt x="2" y="3"/>
                    </a:lnTo>
                    <a:lnTo>
                      <a:pt x="2" y="4"/>
                    </a:lnTo>
                    <a:lnTo>
                      <a:pt x="2" y="7"/>
                    </a:lnTo>
                    <a:lnTo>
                      <a:pt x="3" y="9"/>
                    </a:lnTo>
                    <a:lnTo>
                      <a:pt x="0" y="12"/>
                    </a:lnTo>
                    <a:lnTo>
                      <a:pt x="0" y="13"/>
                    </a:lnTo>
                    <a:lnTo>
                      <a:pt x="2" y="13"/>
                    </a:lnTo>
                    <a:lnTo>
                      <a:pt x="5" y="12"/>
                    </a:lnTo>
                    <a:lnTo>
                      <a:pt x="5" y="13"/>
                    </a:lnTo>
                    <a:lnTo>
                      <a:pt x="3" y="22"/>
                    </a:lnTo>
                    <a:lnTo>
                      <a:pt x="8" y="18"/>
                    </a:lnTo>
                    <a:lnTo>
                      <a:pt x="8" y="10"/>
                    </a:lnTo>
                    <a:lnTo>
                      <a:pt x="8" y="10"/>
                    </a:lnTo>
                    <a:lnTo>
                      <a:pt x="8" y="6"/>
                    </a:lnTo>
                    <a:lnTo>
                      <a:pt x="5" y="4"/>
                    </a:lnTo>
                    <a:lnTo>
                      <a:pt x="5"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86" name="Freeform 814"/>
              <p:cNvSpPr>
                <a:spLocks/>
              </p:cNvSpPr>
              <p:nvPr/>
            </p:nvSpPr>
            <p:spPr bwMode="auto">
              <a:xfrm>
                <a:off x="6098780" y="2141839"/>
                <a:ext cx="7022" cy="23325"/>
              </a:xfrm>
              <a:custGeom>
                <a:avLst/>
                <a:gdLst/>
                <a:ahLst/>
                <a:cxnLst>
                  <a:cxn ang="0">
                    <a:pos x="5" y="0"/>
                  </a:cxn>
                  <a:cxn ang="0">
                    <a:pos x="5" y="0"/>
                  </a:cxn>
                  <a:cxn ang="0">
                    <a:pos x="3" y="2"/>
                  </a:cxn>
                  <a:cxn ang="0">
                    <a:pos x="2" y="3"/>
                  </a:cxn>
                  <a:cxn ang="0">
                    <a:pos x="2" y="3"/>
                  </a:cxn>
                  <a:cxn ang="0">
                    <a:pos x="2" y="4"/>
                  </a:cxn>
                  <a:cxn ang="0">
                    <a:pos x="2" y="7"/>
                  </a:cxn>
                  <a:cxn ang="0">
                    <a:pos x="3" y="9"/>
                  </a:cxn>
                  <a:cxn ang="0">
                    <a:pos x="0" y="12"/>
                  </a:cxn>
                  <a:cxn ang="0">
                    <a:pos x="0" y="13"/>
                  </a:cxn>
                  <a:cxn ang="0">
                    <a:pos x="2" y="13"/>
                  </a:cxn>
                  <a:cxn ang="0">
                    <a:pos x="5" y="12"/>
                  </a:cxn>
                  <a:cxn ang="0">
                    <a:pos x="5" y="13"/>
                  </a:cxn>
                  <a:cxn ang="0">
                    <a:pos x="3" y="22"/>
                  </a:cxn>
                  <a:cxn ang="0">
                    <a:pos x="8" y="18"/>
                  </a:cxn>
                  <a:cxn ang="0">
                    <a:pos x="8" y="10"/>
                  </a:cxn>
                  <a:cxn ang="0">
                    <a:pos x="8" y="10"/>
                  </a:cxn>
                  <a:cxn ang="0">
                    <a:pos x="8" y="6"/>
                  </a:cxn>
                  <a:cxn ang="0">
                    <a:pos x="5" y="4"/>
                  </a:cxn>
                  <a:cxn ang="0">
                    <a:pos x="5" y="0"/>
                  </a:cxn>
                </a:cxnLst>
                <a:rect l="0" t="0" r="r" b="b"/>
                <a:pathLst>
                  <a:path w="8" h="22">
                    <a:moveTo>
                      <a:pt x="5" y="0"/>
                    </a:moveTo>
                    <a:lnTo>
                      <a:pt x="5" y="0"/>
                    </a:lnTo>
                    <a:lnTo>
                      <a:pt x="3" y="2"/>
                    </a:lnTo>
                    <a:lnTo>
                      <a:pt x="2" y="3"/>
                    </a:lnTo>
                    <a:lnTo>
                      <a:pt x="2" y="3"/>
                    </a:lnTo>
                    <a:lnTo>
                      <a:pt x="2" y="4"/>
                    </a:lnTo>
                    <a:lnTo>
                      <a:pt x="2" y="7"/>
                    </a:lnTo>
                    <a:lnTo>
                      <a:pt x="3" y="9"/>
                    </a:lnTo>
                    <a:lnTo>
                      <a:pt x="0" y="12"/>
                    </a:lnTo>
                    <a:lnTo>
                      <a:pt x="0" y="13"/>
                    </a:lnTo>
                    <a:lnTo>
                      <a:pt x="2" y="13"/>
                    </a:lnTo>
                    <a:lnTo>
                      <a:pt x="5" y="12"/>
                    </a:lnTo>
                    <a:lnTo>
                      <a:pt x="5" y="13"/>
                    </a:lnTo>
                    <a:lnTo>
                      <a:pt x="3" y="22"/>
                    </a:lnTo>
                    <a:lnTo>
                      <a:pt x="8" y="18"/>
                    </a:lnTo>
                    <a:lnTo>
                      <a:pt x="8" y="10"/>
                    </a:lnTo>
                    <a:lnTo>
                      <a:pt x="8" y="10"/>
                    </a:lnTo>
                    <a:lnTo>
                      <a:pt x="8" y="6"/>
                    </a:lnTo>
                    <a:lnTo>
                      <a:pt x="5" y="4"/>
                    </a:lnTo>
                    <a:lnTo>
                      <a:pt x="5"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87" name="Freeform 815"/>
              <p:cNvSpPr>
                <a:spLocks/>
              </p:cNvSpPr>
              <p:nvPr/>
            </p:nvSpPr>
            <p:spPr bwMode="auto">
              <a:xfrm>
                <a:off x="6027678" y="2205730"/>
                <a:ext cx="12289" cy="19268"/>
              </a:xfrm>
              <a:custGeom>
                <a:avLst/>
                <a:gdLst/>
                <a:ahLst/>
                <a:cxnLst>
                  <a:cxn ang="0">
                    <a:pos x="12" y="0"/>
                  </a:cxn>
                  <a:cxn ang="0">
                    <a:pos x="11" y="0"/>
                  </a:cxn>
                  <a:cxn ang="0">
                    <a:pos x="3" y="5"/>
                  </a:cxn>
                  <a:cxn ang="0">
                    <a:pos x="3" y="6"/>
                  </a:cxn>
                  <a:cxn ang="0">
                    <a:pos x="5" y="7"/>
                  </a:cxn>
                  <a:cxn ang="0">
                    <a:pos x="3" y="9"/>
                  </a:cxn>
                  <a:cxn ang="0">
                    <a:pos x="0" y="7"/>
                  </a:cxn>
                  <a:cxn ang="0">
                    <a:pos x="0" y="9"/>
                  </a:cxn>
                  <a:cxn ang="0">
                    <a:pos x="0" y="13"/>
                  </a:cxn>
                  <a:cxn ang="0">
                    <a:pos x="2" y="15"/>
                  </a:cxn>
                  <a:cxn ang="0">
                    <a:pos x="0" y="16"/>
                  </a:cxn>
                  <a:cxn ang="0">
                    <a:pos x="0" y="18"/>
                  </a:cxn>
                  <a:cxn ang="0">
                    <a:pos x="0" y="19"/>
                  </a:cxn>
                  <a:cxn ang="0">
                    <a:pos x="3" y="18"/>
                  </a:cxn>
                  <a:cxn ang="0">
                    <a:pos x="3" y="16"/>
                  </a:cxn>
                  <a:cxn ang="0">
                    <a:pos x="5" y="16"/>
                  </a:cxn>
                  <a:cxn ang="0">
                    <a:pos x="6" y="15"/>
                  </a:cxn>
                  <a:cxn ang="0">
                    <a:pos x="8" y="15"/>
                  </a:cxn>
                  <a:cxn ang="0">
                    <a:pos x="9" y="13"/>
                  </a:cxn>
                  <a:cxn ang="0">
                    <a:pos x="11" y="10"/>
                  </a:cxn>
                  <a:cxn ang="0">
                    <a:pos x="9" y="10"/>
                  </a:cxn>
                  <a:cxn ang="0">
                    <a:pos x="9" y="9"/>
                  </a:cxn>
                  <a:cxn ang="0">
                    <a:pos x="11" y="7"/>
                  </a:cxn>
                  <a:cxn ang="0">
                    <a:pos x="12" y="7"/>
                  </a:cxn>
                  <a:cxn ang="0">
                    <a:pos x="13" y="6"/>
                  </a:cxn>
                  <a:cxn ang="0">
                    <a:pos x="12" y="6"/>
                  </a:cxn>
                  <a:cxn ang="0">
                    <a:pos x="12" y="6"/>
                  </a:cxn>
                  <a:cxn ang="0">
                    <a:pos x="12" y="0"/>
                  </a:cxn>
                </a:cxnLst>
                <a:rect l="0" t="0" r="r" b="b"/>
                <a:pathLst>
                  <a:path w="13" h="19">
                    <a:moveTo>
                      <a:pt x="12" y="0"/>
                    </a:moveTo>
                    <a:lnTo>
                      <a:pt x="11" y="0"/>
                    </a:lnTo>
                    <a:lnTo>
                      <a:pt x="3" y="5"/>
                    </a:lnTo>
                    <a:lnTo>
                      <a:pt x="3" y="6"/>
                    </a:lnTo>
                    <a:lnTo>
                      <a:pt x="5" y="7"/>
                    </a:lnTo>
                    <a:lnTo>
                      <a:pt x="3" y="9"/>
                    </a:lnTo>
                    <a:lnTo>
                      <a:pt x="0" y="7"/>
                    </a:lnTo>
                    <a:lnTo>
                      <a:pt x="0" y="9"/>
                    </a:lnTo>
                    <a:lnTo>
                      <a:pt x="0" y="13"/>
                    </a:lnTo>
                    <a:lnTo>
                      <a:pt x="2" y="15"/>
                    </a:lnTo>
                    <a:lnTo>
                      <a:pt x="0" y="16"/>
                    </a:lnTo>
                    <a:lnTo>
                      <a:pt x="0" y="18"/>
                    </a:lnTo>
                    <a:lnTo>
                      <a:pt x="0" y="19"/>
                    </a:lnTo>
                    <a:lnTo>
                      <a:pt x="3" y="18"/>
                    </a:lnTo>
                    <a:lnTo>
                      <a:pt x="3" y="16"/>
                    </a:lnTo>
                    <a:lnTo>
                      <a:pt x="5" y="16"/>
                    </a:lnTo>
                    <a:lnTo>
                      <a:pt x="6" y="15"/>
                    </a:lnTo>
                    <a:lnTo>
                      <a:pt x="8" y="15"/>
                    </a:lnTo>
                    <a:lnTo>
                      <a:pt x="9" y="13"/>
                    </a:lnTo>
                    <a:lnTo>
                      <a:pt x="11" y="10"/>
                    </a:lnTo>
                    <a:lnTo>
                      <a:pt x="9" y="10"/>
                    </a:lnTo>
                    <a:lnTo>
                      <a:pt x="9" y="9"/>
                    </a:lnTo>
                    <a:lnTo>
                      <a:pt x="11" y="7"/>
                    </a:lnTo>
                    <a:lnTo>
                      <a:pt x="12" y="7"/>
                    </a:lnTo>
                    <a:lnTo>
                      <a:pt x="13" y="6"/>
                    </a:lnTo>
                    <a:lnTo>
                      <a:pt x="12" y="6"/>
                    </a:lnTo>
                    <a:lnTo>
                      <a:pt x="12" y="6"/>
                    </a:lnTo>
                    <a:lnTo>
                      <a:pt x="12"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88" name="Freeform 816"/>
              <p:cNvSpPr>
                <a:spLocks/>
              </p:cNvSpPr>
              <p:nvPr/>
            </p:nvSpPr>
            <p:spPr bwMode="auto">
              <a:xfrm>
                <a:off x="6027678" y="2205730"/>
                <a:ext cx="12289" cy="19268"/>
              </a:xfrm>
              <a:custGeom>
                <a:avLst/>
                <a:gdLst/>
                <a:ahLst/>
                <a:cxnLst>
                  <a:cxn ang="0">
                    <a:pos x="12" y="0"/>
                  </a:cxn>
                  <a:cxn ang="0">
                    <a:pos x="11" y="0"/>
                  </a:cxn>
                  <a:cxn ang="0">
                    <a:pos x="3" y="5"/>
                  </a:cxn>
                  <a:cxn ang="0">
                    <a:pos x="3" y="6"/>
                  </a:cxn>
                  <a:cxn ang="0">
                    <a:pos x="5" y="7"/>
                  </a:cxn>
                  <a:cxn ang="0">
                    <a:pos x="3" y="9"/>
                  </a:cxn>
                  <a:cxn ang="0">
                    <a:pos x="0" y="7"/>
                  </a:cxn>
                  <a:cxn ang="0">
                    <a:pos x="0" y="9"/>
                  </a:cxn>
                  <a:cxn ang="0">
                    <a:pos x="0" y="13"/>
                  </a:cxn>
                  <a:cxn ang="0">
                    <a:pos x="2" y="15"/>
                  </a:cxn>
                  <a:cxn ang="0">
                    <a:pos x="0" y="16"/>
                  </a:cxn>
                  <a:cxn ang="0">
                    <a:pos x="0" y="18"/>
                  </a:cxn>
                  <a:cxn ang="0">
                    <a:pos x="0" y="19"/>
                  </a:cxn>
                  <a:cxn ang="0">
                    <a:pos x="3" y="18"/>
                  </a:cxn>
                  <a:cxn ang="0">
                    <a:pos x="3" y="16"/>
                  </a:cxn>
                  <a:cxn ang="0">
                    <a:pos x="5" y="16"/>
                  </a:cxn>
                  <a:cxn ang="0">
                    <a:pos x="6" y="15"/>
                  </a:cxn>
                  <a:cxn ang="0">
                    <a:pos x="8" y="15"/>
                  </a:cxn>
                  <a:cxn ang="0">
                    <a:pos x="9" y="13"/>
                  </a:cxn>
                  <a:cxn ang="0">
                    <a:pos x="11" y="10"/>
                  </a:cxn>
                  <a:cxn ang="0">
                    <a:pos x="9" y="10"/>
                  </a:cxn>
                  <a:cxn ang="0">
                    <a:pos x="9" y="9"/>
                  </a:cxn>
                  <a:cxn ang="0">
                    <a:pos x="11" y="7"/>
                  </a:cxn>
                  <a:cxn ang="0">
                    <a:pos x="12" y="7"/>
                  </a:cxn>
                  <a:cxn ang="0">
                    <a:pos x="13" y="6"/>
                  </a:cxn>
                  <a:cxn ang="0">
                    <a:pos x="12" y="6"/>
                  </a:cxn>
                  <a:cxn ang="0">
                    <a:pos x="12" y="6"/>
                  </a:cxn>
                  <a:cxn ang="0">
                    <a:pos x="12" y="0"/>
                  </a:cxn>
                </a:cxnLst>
                <a:rect l="0" t="0" r="r" b="b"/>
                <a:pathLst>
                  <a:path w="13" h="19">
                    <a:moveTo>
                      <a:pt x="12" y="0"/>
                    </a:moveTo>
                    <a:lnTo>
                      <a:pt x="11" y="0"/>
                    </a:lnTo>
                    <a:lnTo>
                      <a:pt x="3" y="5"/>
                    </a:lnTo>
                    <a:lnTo>
                      <a:pt x="3" y="6"/>
                    </a:lnTo>
                    <a:lnTo>
                      <a:pt x="5" y="7"/>
                    </a:lnTo>
                    <a:lnTo>
                      <a:pt x="3" y="9"/>
                    </a:lnTo>
                    <a:lnTo>
                      <a:pt x="0" y="7"/>
                    </a:lnTo>
                    <a:lnTo>
                      <a:pt x="0" y="9"/>
                    </a:lnTo>
                    <a:lnTo>
                      <a:pt x="0" y="13"/>
                    </a:lnTo>
                    <a:lnTo>
                      <a:pt x="2" y="15"/>
                    </a:lnTo>
                    <a:lnTo>
                      <a:pt x="0" y="16"/>
                    </a:lnTo>
                    <a:lnTo>
                      <a:pt x="0" y="18"/>
                    </a:lnTo>
                    <a:lnTo>
                      <a:pt x="0" y="19"/>
                    </a:lnTo>
                    <a:lnTo>
                      <a:pt x="3" y="18"/>
                    </a:lnTo>
                    <a:lnTo>
                      <a:pt x="3" y="16"/>
                    </a:lnTo>
                    <a:lnTo>
                      <a:pt x="5" y="16"/>
                    </a:lnTo>
                    <a:lnTo>
                      <a:pt x="6" y="15"/>
                    </a:lnTo>
                    <a:lnTo>
                      <a:pt x="8" y="15"/>
                    </a:lnTo>
                    <a:lnTo>
                      <a:pt x="9" y="13"/>
                    </a:lnTo>
                    <a:lnTo>
                      <a:pt x="11" y="10"/>
                    </a:lnTo>
                    <a:lnTo>
                      <a:pt x="9" y="10"/>
                    </a:lnTo>
                    <a:lnTo>
                      <a:pt x="9" y="9"/>
                    </a:lnTo>
                    <a:lnTo>
                      <a:pt x="11" y="7"/>
                    </a:lnTo>
                    <a:lnTo>
                      <a:pt x="12" y="7"/>
                    </a:lnTo>
                    <a:lnTo>
                      <a:pt x="13" y="6"/>
                    </a:lnTo>
                    <a:lnTo>
                      <a:pt x="12" y="6"/>
                    </a:lnTo>
                    <a:lnTo>
                      <a:pt x="12" y="6"/>
                    </a:lnTo>
                    <a:lnTo>
                      <a:pt x="12"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89" name="Freeform 817"/>
              <p:cNvSpPr>
                <a:spLocks/>
              </p:cNvSpPr>
              <p:nvPr/>
            </p:nvSpPr>
            <p:spPr bwMode="auto">
              <a:xfrm>
                <a:off x="6023289" y="2228040"/>
                <a:ext cx="4389" cy="3042"/>
              </a:xfrm>
              <a:custGeom>
                <a:avLst/>
                <a:gdLst/>
                <a:ahLst/>
                <a:cxnLst>
                  <a:cxn ang="0">
                    <a:pos x="4" y="1"/>
                  </a:cxn>
                  <a:cxn ang="0">
                    <a:pos x="5" y="0"/>
                  </a:cxn>
                  <a:cxn ang="0">
                    <a:pos x="4" y="0"/>
                  </a:cxn>
                  <a:cxn ang="0">
                    <a:pos x="0" y="0"/>
                  </a:cxn>
                  <a:cxn ang="0">
                    <a:pos x="0" y="1"/>
                  </a:cxn>
                  <a:cxn ang="0">
                    <a:pos x="1" y="3"/>
                  </a:cxn>
                  <a:cxn ang="0">
                    <a:pos x="4" y="3"/>
                  </a:cxn>
                  <a:cxn ang="0">
                    <a:pos x="4" y="1"/>
                  </a:cxn>
                </a:cxnLst>
                <a:rect l="0" t="0" r="r" b="b"/>
                <a:pathLst>
                  <a:path w="5" h="3">
                    <a:moveTo>
                      <a:pt x="4" y="1"/>
                    </a:moveTo>
                    <a:lnTo>
                      <a:pt x="5" y="0"/>
                    </a:lnTo>
                    <a:lnTo>
                      <a:pt x="4" y="0"/>
                    </a:lnTo>
                    <a:lnTo>
                      <a:pt x="0" y="0"/>
                    </a:lnTo>
                    <a:lnTo>
                      <a:pt x="0" y="1"/>
                    </a:lnTo>
                    <a:lnTo>
                      <a:pt x="1" y="3"/>
                    </a:lnTo>
                    <a:lnTo>
                      <a:pt x="4" y="3"/>
                    </a:lnTo>
                    <a:lnTo>
                      <a:pt x="4" y="1"/>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90" name="Freeform 818"/>
              <p:cNvSpPr>
                <a:spLocks/>
              </p:cNvSpPr>
              <p:nvPr/>
            </p:nvSpPr>
            <p:spPr bwMode="auto">
              <a:xfrm>
                <a:off x="6023289" y="2228040"/>
                <a:ext cx="4389" cy="3042"/>
              </a:xfrm>
              <a:custGeom>
                <a:avLst/>
                <a:gdLst/>
                <a:ahLst/>
                <a:cxnLst>
                  <a:cxn ang="0">
                    <a:pos x="4" y="1"/>
                  </a:cxn>
                  <a:cxn ang="0">
                    <a:pos x="5" y="0"/>
                  </a:cxn>
                  <a:cxn ang="0">
                    <a:pos x="4" y="0"/>
                  </a:cxn>
                  <a:cxn ang="0">
                    <a:pos x="0" y="0"/>
                  </a:cxn>
                  <a:cxn ang="0">
                    <a:pos x="0" y="1"/>
                  </a:cxn>
                  <a:cxn ang="0">
                    <a:pos x="1" y="3"/>
                  </a:cxn>
                  <a:cxn ang="0">
                    <a:pos x="4" y="3"/>
                  </a:cxn>
                  <a:cxn ang="0">
                    <a:pos x="4" y="1"/>
                  </a:cxn>
                </a:cxnLst>
                <a:rect l="0" t="0" r="r" b="b"/>
                <a:pathLst>
                  <a:path w="5" h="3">
                    <a:moveTo>
                      <a:pt x="4" y="1"/>
                    </a:moveTo>
                    <a:lnTo>
                      <a:pt x="5" y="0"/>
                    </a:lnTo>
                    <a:lnTo>
                      <a:pt x="4" y="0"/>
                    </a:lnTo>
                    <a:lnTo>
                      <a:pt x="0" y="0"/>
                    </a:lnTo>
                    <a:lnTo>
                      <a:pt x="0" y="1"/>
                    </a:lnTo>
                    <a:lnTo>
                      <a:pt x="1" y="3"/>
                    </a:lnTo>
                    <a:lnTo>
                      <a:pt x="4" y="3"/>
                    </a:lnTo>
                    <a:lnTo>
                      <a:pt x="4" y="1"/>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91" name="Freeform 819"/>
              <p:cNvSpPr>
                <a:spLocks/>
              </p:cNvSpPr>
              <p:nvPr/>
            </p:nvSpPr>
            <p:spPr bwMode="auto">
              <a:xfrm>
                <a:off x="6076835" y="2185447"/>
                <a:ext cx="8778" cy="6085"/>
              </a:xfrm>
              <a:custGeom>
                <a:avLst/>
                <a:gdLst/>
                <a:ahLst/>
                <a:cxnLst>
                  <a:cxn ang="0">
                    <a:pos x="7" y="6"/>
                  </a:cxn>
                  <a:cxn ang="0">
                    <a:pos x="9" y="5"/>
                  </a:cxn>
                  <a:cxn ang="0">
                    <a:pos x="7" y="5"/>
                  </a:cxn>
                  <a:cxn ang="0">
                    <a:pos x="3" y="5"/>
                  </a:cxn>
                  <a:cxn ang="0">
                    <a:pos x="3" y="2"/>
                  </a:cxn>
                  <a:cxn ang="0">
                    <a:pos x="2" y="0"/>
                  </a:cxn>
                  <a:cxn ang="0">
                    <a:pos x="0" y="0"/>
                  </a:cxn>
                  <a:cxn ang="0">
                    <a:pos x="0" y="5"/>
                  </a:cxn>
                  <a:cxn ang="0">
                    <a:pos x="2" y="6"/>
                  </a:cxn>
                  <a:cxn ang="0">
                    <a:pos x="5" y="5"/>
                  </a:cxn>
                  <a:cxn ang="0">
                    <a:pos x="7" y="6"/>
                  </a:cxn>
                  <a:cxn ang="0">
                    <a:pos x="7" y="6"/>
                  </a:cxn>
                </a:cxnLst>
                <a:rect l="0" t="0" r="r" b="b"/>
                <a:pathLst>
                  <a:path w="9" h="6">
                    <a:moveTo>
                      <a:pt x="7" y="6"/>
                    </a:moveTo>
                    <a:lnTo>
                      <a:pt x="9" y="5"/>
                    </a:lnTo>
                    <a:lnTo>
                      <a:pt x="7" y="5"/>
                    </a:lnTo>
                    <a:lnTo>
                      <a:pt x="3" y="5"/>
                    </a:lnTo>
                    <a:lnTo>
                      <a:pt x="3" y="2"/>
                    </a:lnTo>
                    <a:lnTo>
                      <a:pt x="2" y="0"/>
                    </a:lnTo>
                    <a:lnTo>
                      <a:pt x="0" y="0"/>
                    </a:lnTo>
                    <a:lnTo>
                      <a:pt x="0" y="5"/>
                    </a:lnTo>
                    <a:lnTo>
                      <a:pt x="2" y="6"/>
                    </a:lnTo>
                    <a:lnTo>
                      <a:pt x="5" y="5"/>
                    </a:lnTo>
                    <a:lnTo>
                      <a:pt x="7" y="6"/>
                    </a:lnTo>
                    <a:lnTo>
                      <a:pt x="7" y="6"/>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92" name="Freeform 820"/>
              <p:cNvSpPr>
                <a:spLocks/>
              </p:cNvSpPr>
              <p:nvPr/>
            </p:nvSpPr>
            <p:spPr bwMode="auto">
              <a:xfrm>
                <a:off x="6076835" y="2185447"/>
                <a:ext cx="8778" cy="6085"/>
              </a:xfrm>
              <a:custGeom>
                <a:avLst/>
                <a:gdLst/>
                <a:ahLst/>
                <a:cxnLst>
                  <a:cxn ang="0">
                    <a:pos x="7" y="6"/>
                  </a:cxn>
                  <a:cxn ang="0">
                    <a:pos x="9" y="5"/>
                  </a:cxn>
                  <a:cxn ang="0">
                    <a:pos x="7" y="5"/>
                  </a:cxn>
                  <a:cxn ang="0">
                    <a:pos x="3" y="5"/>
                  </a:cxn>
                  <a:cxn ang="0">
                    <a:pos x="3" y="2"/>
                  </a:cxn>
                  <a:cxn ang="0">
                    <a:pos x="2" y="0"/>
                  </a:cxn>
                  <a:cxn ang="0">
                    <a:pos x="0" y="0"/>
                  </a:cxn>
                  <a:cxn ang="0">
                    <a:pos x="0" y="5"/>
                  </a:cxn>
                  <a:cxn ang="0">
                    <a:pos x="2" y="6"/>
                  </a:cxn>
                  <a:cxn ang="0">
                    <a:pos x="5" y="5"/>
                  </a:cxn>
                  <a:cxn ang="0">
                    <a:pos x="7" y="6"/>
                  </a:cxn>
                  <a:cxn ang="0">
                    <a:pos x="7" y="6"/>
                  </a:cxn>
                </a:cxnLst>
                <a:rect l="0" t="0" r="r" b="b"/>
                <a:pathLst>
                  <a:path w="9" h="6">
                    <a:moveTo>
                      <a:pt x="7" y="6"/>
                    </a:moveTo>
                    <a:lnTo>
                      <a:pt x="9" y="5"/>
                    </a:lnTo>
                    <a:lnTo>
                      <a:pt x="7" y="5"/>
                    </a:lnTo>
                    <a:lnTo>
                      <a:pt x="3" y="5"/>
                    </a:lnTo>
                    <a:lnTo>
                      <a:pt x="3" y="2"/>
                    </a:lnTo>
                    <a:lnTo>
                      <a:pt x="2" y="0"/>
                    </a:lnTo>
                    <a:lnTo>
                      <a:pt x="0" y="0"/>
                    </a:lnTo>
                    <a:lnTo>
                      <a:pt x="0" y="5"/>
                    </a:lnTo>
                    <a:lnTo>
                      <a:pt x="2" y="6"/>
                    </a:lnTo>
                    <a:lnTo>
                      <a:pt x="5" y="5"/>
                    </a:lnTo>
                    <a:lnTo>
                      <a:pt x="7" y="6"/>
                    </a:lnTo>
                    <a:lnTo>
                      <a:pt x="7" y="6"/>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93" name="Freeform 821"/>
              <p:cNvSpPr>
                <a:spLocks/>
              </p:cNvSpPr>
              <p:nvPr/>
            </p:nvSpPr>
            <p:spPr bwMode="auto">
              <a:xfrm>
                <a:off x="6075957" y="2191532"/>
                <a:ext cx="3511" cy="3042"/>
              </a:xfrm>
              <a:custGeom>
                <a:avLst/>
                <a:gdLst/>
                <a:ahLst/>
                <a:cxnLst>
                  <a:cxn ang="0">
                    <a:pos x="3" y="3"/>
                  </a:cxn>
                  <a:cxn ang="0">
                    <a:pos x="3" y="2"/>
                  </a:cxn>
                  <a:cxn ang="0">
                    <a:pos x="1" y="0"/>
                  </a:cxn>
                  <a:cxn ang="0">
                    <a:pos x="0" y="0"/>
                  </a:cxn>
                  <a:cxn ang="0">
                    <a:pos x="0" y="3"/>
                  </a:cxn>
                  <a:cxn ang="0">
                    <a:pos x="0" y="3"/>
                  </a:cxn>
                  <a:cxn ang="0">
                    <a:pos x="3" y="3"/>
                  </a:cxn>
                </a:cxnLst>
                <a:rect l="0" t="0" r="r" b="b"/>
                <a:pathLst>
                  <a:path w="3" h="3">
                    <a:moveTo>
                      <a:pt x="3" y="3"/>
                    </a:moveTo>
                    <a:lnTo>
                      <a:pt x="3" y="2"/>
                    </a:lnTo>
                    <a:lnTo>
                      <a:pt x="1" y="0"/>
                    </a:lnTo>
                    <a:lnTo>
                      <a:pt x="0" y="0"/>
                    </a:lnTo>
                    <a:lnTo>
                      <a:pt x="0" y="3"/>
                    </a:lnTo>
                    <a:lnTo>
                      <a:pt x="0" y="3"/>
                    </a:lnTo>
                    <a:lnTo>
                      <a:pt x="3" y="3"/>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94" name="Freeform 822"/>
              <p:cNvSpPr>
                <a:spLocks/>
              </p:cNvSpPr>
              <p:nvPr/>
            </p:nvSpPr>
            <p:spPr bwMode="auto">
              <a:xfrm>
                <a:off x="6075957" y="2191532"/>
                <a:ext cx="3511" cy="3042"/>
              </a:xfrm>
              <a:custGeom>
                <a:avLst/>
                <a:gdLst/>
                <a:ahLst/>
                <a:cxnLst>
                  <a:cxn ang="0">
                    <a:pos x="3" y="3"/>
                  </a:cxn>
                  <a:cxn ang="0">
                    <a:pos x="3" y="2"/>
                  </a:cxn>
                  <a:cxn ang="0">
                    <a:pos x="1" y="0"/>
                  </a:cxn>
                  <a:cxn ang="0">
                    <a:pos x="0" y="0"/>
                  </a:cxn>
                  <a:cxn ang="0">
                    <a:pos x="0" y="3"/>
                  </a:cxn>
                  <a:cxn ang="0">
                    <a:pos x="0" y="3"/>
                  </a:cxn>
                  <a:cxn ang="0">
                    <a:pos x="3" y="3"/>
                  </a:cxn>
                </a:cxnLst>
                <a:rect l="0" t="0" r="r" b="b"/>
                <a:pathLst>
                  <a:path w="3" h="3">
                    <a:moveTo>
                      <a:pt x="3" y="3"/>
                    </a:moveTo>
                    <a:lnTo>
                      <a:pt x="3" y="2"/>
                    </a:lnTo>
                    <a:lnTo>
                      <a:pt x="1" y="0"/>
                    </a:lnTo>
                    <a:lnTo>
                      <a:pt x="0" y="0"/>
                    </a:lnTo>
                    <a:lnTo>
                      <a:pt x="0" y="3"/>
                    </a:lnTo>
                    <a:lnTo>
                      <a:pt x="0" y="3"/>
                    </a:lnTo>
                    <a:lnTo>
                      <a:pt x="3" y="3"/>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95" name="Freeform 823"/>
              <p:cNvSpPr>
                <a:spLocks/>
              </p:cNvSpPr>
              <p:nvPr/>
            </p:nvSpPr>
            <p:spPr bwMode="auto">
              <a:xfrm>
                <a:off x="6039967" y="2201674"/>
                <a:ext cx="102703" cy="219053"/>
              </a:xfrm>
              <a:custGeom>
                <a:avLst/>
                <a:gdLst/>
                <a:ahLst/>
                <a:cxnLst>
                  <a:cxn ang="0">
                    <a:pos x="59" y="197"/>
                  </a:cxn>
                  <a:cxn ang="0">
                    <a:pos x="69" y="193"/>
                  </a:cxn>
                  <a:cxn ang="0">
                    <a:pos x="75" y="193"/>
                  </a:cxn>
                  <a:cxn ang="0">
                    <a:pos x="102" y="189"/>
                  </a:cxn>
                  <a:cxn ang="0">
                    <a:pos x="98" y="179"/>
                  </a:cxn>
                  <a:cxn ang="0">
                    <a:pos x="101" y="173"/>
                  </a:cxn>
                  <a:cxn ang="0">
                    <a:pos x="105" y="170"/>
                  </a:cxn>
                  <a:cxn ang="0">
                    <a:pos x="111" y="163"/>
                  </a:cxn>
                  <a:cxn ang="0">
                    <a:pos x="95" y="144"/>
                  </a:cxn>
                  <a:cxn ang="0">
                    <a:pos x="92" y="139"/>
                  </a:cxn>
                  <a:cxn ang="0">
                    <a:pos x="83" y="125"/>
                  </a:cxn>
                  <a:cxn ang="0">
                    <a:pos x="89" y="123"/>
                  </a:cxn>
                  <a:cxn ang="0">
                    <a:pos x="72" y="103"/>
                  </a:cxn>
                  <a:cxn ang="0">
                    <a:pos x="51" y="68"/>
                  </a:cxn>
                  <a:cxn ang="0">
                    <a:pos x="41" y="67"/>
                  </a:cxn>
                  <a:cxn ang="0">
                    <a:pos x="47" y="58"/>
                  </a:cxn>
                  <a:cxn ang="0">
                    <a:pos x="51" y="52"/>
                  </a:cxn>
                  <a:cxn ang="0">
                    <a:pos x="60" y="26"/>
                  </a:cxn>
                  <a:cxn ang="0">
                    <a:pos x="28" y="29"/>
                  </a:cxn>
                  <a:cxn ang="0">
                    <a:pos x="31" y="25"/>
                  </a:cxn>
                  <a:cxn ang="0">
                    <a:pos x="32" y="17"/>
                  </a:cxn>
                  <a:cxn ang="0">
                    <a:pos x="40" y="0"/>
                  </a:cxn>
                  <a:cxn ang="0">
                    <a:pos x="15" y="7"/>
                  </a:cxn>
                  <a:cxn ang="0">
                    <a:pos x="11" y="16"/>
                  </a:cxn>
                  <a:cxn ang="0">
                    <a:pos x="8" y="29"/>
                  </a:cxn>
                  <a:cxn ang="0">
                    <a:pos x="9" y="33"/>
                  </a:cxn>
                  <a:cxn ang="0">
                    <a:pos x="8" y="40"/>
                  </a:cxn>
                  <a:cxn ang="0">
                    <a:pos x="5" y="45"/>
                  </a:cxn>
                  <a:cxn ang="0">
                    <a:pos x="3" y="52"/>
                  </a:cxn>
                  <a:cxn ang="0">
                    <a:pos x="12" y="55"/>
                  </a:cxn>
                  <a:cxn ang="0">
                    <a:pos x="9" y="75"/>
                  </a:cxn>
                  <a:cxn ang="0">
                    <a:pos x="12" y="75"/>
                  </a:cxn>
                  <a:cxn ang="0">
                    <a:pos x="12" y="72"/>
                  </a:cxn>
                  <a:cxn ang="0">
                    <a:pos x="16" y="71"/>
                  </a:cxn>
                  <a:cxn ang="0">
                    <a:pos x="19" y="71"/>
                  </a:cxn>
                  <a:cxn ang="0">
                    <a:pos x="21" y="83"/>
                  </a:cxn>
                  <a:cxn ang="0">
                    <a:pos x="16" y="102"/>
                  </a:cxn>
                  <a:cxn ang="0">
                    <a:pos x="19" y="99"/>
                  </a:cxn>
                  <a:cxn ang="0">
                    <a:pos x="35" y="97"/>
                  </a:cxn>
                  <a:cxn ang="0">
                    <a:pos x="41" y="96"/>
                  </a:cxn>
                  <a:cxn ang="0">
                    <a:pos x="40" y="113"/>
                  </a:cxn>
                  <a:cxn ang="0">
                    <a:pos x="48" y="113"/>
                  </a:cxn>
                  <a:cxn ang="0">
                    <a:pos x="46" y="123"/>
                  </a:cxn>
                  <a:cxn ang="0">
                    <a:pos x="47" y="132"/>
                  </a:cxn>
                  <a:cxn ang="0">
                    <a:pos x="22" y="147"/>
                  </a:cxn>
                  <a:cxn ang="0">
                    <a:pos x="30" y="160"/>
                  </a:cxn>
                  <a:cxn ang="0">
                    <a:pos x="18" y="174"/>
                  </a:cxn>
                  <a:cxn ang="0">
                    <a:pos x="27" y="174"/>
                  </a:cxn>
                  <a:cxn ang="0">
                    <a:pos x="34" y="174"/>
                  </a:cxn>
                  <a:cxn ang="0">
                    <a:pos x="44" y="177"/>
                  </a:cxn>
                  <a:cxn ang="0">
                    <a:pos x="44" y="183"/>
                  </a:cxn>
                  <a:cxn ang="0">
                    <a:pos x="9" y="208"/>
                  </a:cxn>
                  <a:cxn ang="0">
                    <a:pos x="12" y="211"/>
                  </a:cxn>
                  <a:cxn ang="0">
                    <a:pos x="19" y="206"/>
                  </a:cxn>
                  <a:cxn ang="0">
                    <a:pos x="37" y="203"/>
                  </a:cxn>
                  <a:cxn ang="0">
                    <a:pos x="53" y="199"/>
                  </a:cxn>
                </a:cxnLst>
                <a:rect l="0" t="0" r="r" b="b"/>
                <a:pathLst>
                  <a:path w="112" h="211">
                    <a:moveTo>
                      <a:pt x="53" y="199"/>
                    </a:moveTo>
                    <a:lnTo>
                      <a:pt x="53" y="199"/>
                    </a:lnTo>
                    <a:lnTo>
                      <a:pt x="53" y="197"/>
                    </a:lnTo>
                    <a:lnTo>
                      <a:pt x="56" y="197"/>
                    </a:lnTo>
                    <a:lnTo>
                      <a:pt x="59" y="197"/>
                    </a:lnTo>
                    <a:lnTo>
                      <a:pt x="60" y="197"/>
                    </a:lnTo>
                    <a:lnTo>
                      <a:pt x="59" y="196"/>
                    </a:lnTo>
                    <a:lnTo>
                      <a:pt x="66" y="195"/>
                    </a:lnTo>
                    <a:lnTo>
                      <a:pt x="66" y="195"/>
                    </a:lnTo>
                    <a:lnTo>
                      <a:pt x="69" y="193"/>
                    </a:lnTo>
                    <a:lnTo>
                      <a:pt x="69" y="192"/>
                    </a:lnTo>
                    <a:lnTo>
                      <a:pt x="70" y="192"/>
                    </a:lnTo>
                    <a:lnTo>
                      <a:pt x="72" y="193"/>
                    </a:lnTo>
                    <a:lnTo>
                      <a:pt x="75" y="192"/>
                    </a:lnTo>
                    <a:lnTo>
                      <a:pt x="75" y="193"/>
                    </a:lnTo>
                    <a:lnTo>
                      <a:pt x="76" y="195"/>
                    </a:lnTo>
                    <a:lnTo>
                      <a:pt x="86" y="193"/>
                    </a:lnTo>
                    <a:lnTo>
                      <a:pt x="89" y="193"/>
                    </a:lnTo>
                    <a:lnTo>
                      <a:pt x="102" y="190"/>
                    </a:lnTo>
                    <a:lnTo>
                      <a:pt x="102" y="189"/>
                    </a:lnTo>
                    <a:lnTo>
                      <a:pt x="108" y="184"/>
                    </a:lnTo>
                    <a:lnTo>
                      <a:pt x="108" y="181"/>
                    </a:lnTo>
                    <a:lnTo>
                      <a:pt x="108" y="181"/>
                    </a:lnTo>
                    <a:lnTo>
                      <a:pt x="98" y="181"/>
                    </a:lnTo>
                    <a:lnTo>
                      <a:pt x="98" y="179"/>
                    </a:lnTo>
                    <a:lnTo>
                      <a:pt x="96" y="177"/>
                    </a:lnTo>
                    <a:lnTo>
                      <a:pt x="99" y="176"/>
                    </a:lnTo>
                    <a:lnTo>
                      <a:pt x="99" y="174"/>
                    </a:lnTo>
                    <a:lnTo>
                      <a:pt x="101" y="173"/>
                    </a:lnTo>
                    <a:lnTo>
                      <a:pt x="101" y="173"/>
                    </a:lnTo>
                    <a:lnTo>
                      <a:pt x="99" y="171"/>
                    </a:lnTo>
                    <a:lnTo>
                      <a:pt x="101" y="170"/>
                    </a:lnTo>
                    <a:lnTo>
                      <a:pt x="102" y="170"/>
                    </a:lnTo>
                    <a:lnTo>
                      <a:pt x="104" y="171"/>
                    </a:lnTo>
                    <a:lnTo>
                      <a:pt x="105" y="170"/>
                    </a:lnTo>
                    <a:lnTo>
                      <a:pt x="106" y="168"/>
                    </a:lnTo>
                    <a:lnTo>
                      <a:pt x="105" y="165"/>
                    </a:lnTo>
                    <a:lnTo>
                      <a:pt x="106" y="167"/>
                    </a:lnTo>
                    <a:lnTo>
                      <a:pt x="108" y="165"/>
                    </a:lnTo>
                    <a:lnTo>
                      <a:pt x="111" y="163"/>
                    </a:lnTo>
                    <a:lnTo>
                      <a:pt x="112" y="154"/>
                    </a:lnTo>
                    <a:lnTo>
                      <a:pt x="111" y="149"/>
                    </a:lnTo>
                    <a:lnTo>
                      <a:pt x="109" y="147"/>
                    </a:lnTo>
                    <a:lnTo>
                      <a:pt x="105" y="144"/>
                    </a:lnTo>
                    <a:lnTo>
                      <a:pt x="95" y="144"/>
                    </a:lnTo>
                    <a:lnTo>
                      <a:pt x="93" y="148"/>
                    </a:lnTo>
                    <a:lnTo>
                      <a:pt x="92" y="147"/>
                    </a:lnTo>
                    <a:lnTo>
                      <a:pt x="88" y="147"/>
                    </a:lnTo>
                    <a:lnTo>
                      <a:pt x="89" y="144"/>
                    </a:lnTo>
                    <a:lnTo>
                      <a:pt x="92" y="139"/>
                    </a:lnTo>
                    <a:lnTo>
                      <a:pt x="93" y="138"/>
                    </a:lnTo>
                    <a:lnTo>
                      <a:pt x="93" y="136"/>
                    </a:lnTo>
                    <a:lnTo>
                      <a:pt x="88" y="129"/>
                    </a:lnTo>
                    <a:lnTo>
                      <a:pt x="86" y="129"/>
                    </a:lnTo>
                    <a:lnTo>
                      <a:pt x="83" y="125"/>
                    </a:lnTo>
                    <a:lnTo>
                      <a:pt x="85" y="125"/>
                    </a:lnTo>
                    <a:lnTo>
                      <a:pt x="86" y="128"/>
                    </a:lnTo>
                    <a:lnTo>
                      <a:pt x="91" y="128"/>
                    </a:lnTo>
                    <a:lnTo>
                      <a:pt x="91" y="128"/>
                    </a:lnTo>
                    <a:lnTo>
                      <a:pt x="89" y="123"/>
                    </a:lnTo>
                    <a:lnTo>
                      <a:pt x="85" y="119"/>
                    </a:lnTo>
                    <a:lnTo>
                      <a:pt x="85" y="115"/>
                    </a:lnTo>
                    <a:lnTo>
                      <a:pt x="79" y="106"/>
                    </a:lnTo>
                    <a:lnTo>
                      <a:pt x="73" y="104"/>
                    </a:lnTo>
                    <a:lnTo>
                      <a:pt x="72" y="103"/>
                    </a:lnTo>
                    <a:lnTo>
                      <a:pt x="66" y="90"/>
                    </a:lnTo>
                    <a:lnTo>
                      <a:pt x="66" y="81"/>
                    </a:lnTo>
                    <a:lnTo>
                      <a:pt x="60" y="75"/>
                    </a:lnTo>
                    <a:lnTo>
                      <a:pt x="59" y="72"/>
                    </a:lnTo>
                    <a:lnTo>
                      <a:pt x="51" y="68"/>
                    </a:lnTo>
                    <a:lnTo>
                      <a:pt x="50" y="68"/>
                    </a:lnTo>
                    <a:lnTo>
                      <a:pt x="46" y="70"/>
                    </a:lnTo>
                    <a:lnTo>
                      <a:pt x="41" y="70"/>
                    </a:lnTo>
                    <a:lnTo>
                      <a:pt x="41" y="68"/>
                    </a:lnTo>
                    <a:lnTo>
                      <a:pt x="41" y="67"/>
                    </a:lnTo>
                    <a:lnTo>
                      <a:pt x="43" y="65"/>
                    </a:lnTo>
                    <a:lnTo>
                      <a:pt x="48" y="64"/>
                    </a:lnTo>
                    <a:lnTo>
                      <a:pt x="50" y="62"/>
                    </a:lnTo>
                    <a:lnTo>
                      <a:pt x="48" y="59"/>
                    </a:lnTo>
                    <a:lnTo>
                      <a:pt x="47" y="58"/>
                    </a:lnTo>
                    <a:lnTo>
                      <a:pt x="46" y="56"/>
                    </a:lnTo>
                    <a:lnTo>
                      <a:pt x="48" y="58"/>
                    </a:lnTo>
                    <a:lnTo>
                      <a:pt x="50" y="56"/>
                    </a:lnTo>
                    <a:lnTo>
                      <a:pt x="51" y="54"/>
                    </a:lnTo>
                    <a:lnTo>
                      <a:pt x="51" y="52"/>
                    </a:lnTo>
                    <a:lnTo>
                      <a:pt x="56" y="46"/>
                    </a:lnTo>
                    <a:lnTo>
                      <a:pt x="59" y="38"/>
                    </a:lnTo>
                    <a:lnTo>
                      <a:pt x="61" y="33"/>
                    </a:lnTo>
                    <a:lnTo>
                      <a:pt x="61" y="27"/>
                    </a:lnTo>
                    <a:lnTo>
                      <a:pt x="60" y="26"/>
                    </a:lnTo>
                    <a:lnTo>
                      <a:pt x="44" y="26"/>
                    </a:lnTo>
                    <a:lnTo>
                      <a:pt x="41" y="25"/>
                    </a:lnTo>
                    <a:lnTo>
                      <a:pt x="31" y="27"/>
                    </a:lnTo>
                    <a:lnTo>
                      <a:pt x="30" y="29"/>
                    </a:lnTo>
                    <a:lnTo>
                      <a:pt x="28" y="29"/>
                    </a:lnTo>
                    <a:lnTo>
                      <a:pt x="30" y="27"/>
                    </a:lnTo>
                    <a:lnTo>
                      <a:pt x="30" y="26"/>
                    </a:lnTo>
                    <a:lnTo>
                      <a:pt x="27" y="26"/>
                    </a:lnTo>
                    <a:lnTo>
                      <a:pt x="27" y="26"/>
                    </a:lnTo>
                    <a:lnTo>
                      <a:pt x="31" y="25"/>
                    </a:lnTo>
                    <a:lnTo>
                      <a:pt x="32" y="22"/>
                    </a:lnTo>
                    <a:lnTo>
                      <a:pt x="28" y="22"/>
                    </a:lnTo>
                    <a:lnTo>
                      <a:pt x="30" y="19"/>
                    </a:lnTo>
                    <a:lnTo>
                      <a:pt x="30" y="20"/>
                    </a:lnTo>
                    <a:lnTo>
                      <a:pt x="32" y="17"/>
                    </a:lnTo>
                    <a:lnTo>
                      <a:pt x="37" y="13"/>
                    </a:lnTo>
                    <a:lnTo>
                      <a:pt x="40" y="10"/>
                    </a:lnTo>
                    <a:lnTo>
                      <a:pt x="43" y="7"/>
                    </a:lnTo>
                    <a:lnTo>
                      <a:pt x="43" y="1"/>
                    </a:lnTo>
                    <a:lnTo>
                      <a:pt x="40" y="0"/>
                    </a:lnTo>
                    <a:lnTo>
                      <a:pt x="25" y="3"/>
                    </a:lnTo>
                    <a:lnTo>
                      <a:pt x="25" y="3"/>
                    </a:lnTo>
                    <a:lnTo>
                      <a:pt x="21" y="1"/>
                    </a:lnTo>
                    <a:lnTo>
                      <a:pt x="18" y="1"/>
                    </a:lnTo>
                    <a:lnTo>
                      <a:pt x="15" y="7"/>
                    </a:lnTo>
                    <a:lnTo>
                      <a:pt x="15" y="10"/>
                    </a:lnTo>
                    <a:lnTo>
                      <a:pt x="12" y="10"/>
                    </a:lnTo>
                    <a:lnTo>
                      <a:pt x="12" y="14"/>
                    </a:lnTo>
                    <a:lnTo>
                      <a:pt x="11" y="14"/>
                    </a:lnTo>
                    <a:lnTo>
                      <a:pt x="11" y="16"/>
                    </a:lnTo>
                    <a:lnTo>
                      <a:pt x="14" y="19"/>
                    </a:lnTo>
                    <a:lnTo>
                      <a:pt x="6" y="22"/>
                    </a:lnTo>
                    <a:lnTo>
                      <a:pt x="6" y="27"/>
                    </a:lnTo>
                    <a:lnTo>
                      <a:pt x="8" y="29"/>
                    </a:lnTo>
                    <a:lnTo>
                      <a:pt x="8" y="29"/>
                    </a:lnTo>
                    <a:lnTo>
                      <a:pt x="6" y="29"/>
                    </a:lnTo>
                    <a:lnTo>
                      <a:pt x="5" y="29"/>
                    </a:lnTo>
                    <a:lnTo>
                      <a:pt x="5" y="33"/>
                    </a:lnTo>
                    <a:lnTo>
                      <a:pt x="6" y="33"/>
                    </a:lnTo>
                    <a:lnTo>
                      <a:pt x="9" y="33"/>
                    </a:lnTo>
                    <a:lnTo>
                      <a:pt x="9" y="35"/>
                    </a:lnTo>
                    <a:lnTo>
                      <a:pt x="8" y="35"/>
                    </a:lnTo>
                    <a:lnTo>
                      <a:pt x="9" y="36"/>
                    </a:lnTo>
                    <a:lnTo>
                      <a:pt x="8" y="39"/>
                    </a:lnTo>
                    <a:lnTo>
                      <a:pt x="8" y="40"/>
                    </a:lnTo>
                    <a:lnTo>
                      <a:pt x="8" y="40"/>
                    </a:lnTo>
                    <a:lnTo>
                      <a:pt x="6" y="42"/>
                    </a:lnTo>
                    <a:lnTo>
                      <a:pt x="6" y="43"/>
                    </a:lnTo>
                    <a:lnTo>
                      <a:pt x="6" y="43"/>
                    </a:lnTo>
                    <a:lnTo>
                      <a:pt x="5" y="45"/>
                    </a:lnTo>
                    <a:lnTo>
                      <a:pt x="5" y="49"/>
                    </a:lnTo>
                    <a:lnTo>
                      <a:pt x="2" y="51"/>
                    </a:lnTo>
                    <a:lnTo>
                      <a:pt x="0" y="51"/>
                    </a:lnTo>
                    <a:lnTo>
                      <a:pt x="0" y="52"/>
                    </a:lnTo>
                    <a:lnTo>
                      <a:pt x="3" y="52"/>
                    </a:lnTo>
                    <a:lnTo>
                      <a:pt x="3" y="55"/>
                    </a:lnTo>
                    <a:lnTo>
                      <a:pt x="6" y="56"/>
                    </a:lnTo>
                    <a:lnTo>
                      <a:pt x="12" y="52"/>
                    </a:lnTo>
                    <a:lnTo>
                      <a:pt x="12" y="54"/>
                    </a:lnTo>
                    <a:lnTo>
                      <a:pt x="12" y="55"/>
                    </a:lnTo>
                    <a:lnTo>
                      <a:pt x="8" y="71"/>
                    </a:lnTo>
                    <a:lnTo>
                      <a:pt x="8" y="72"/>
                    </a:lnTo>
                    <a:lnTo>
                      <a:pt x="9" y="72"/>
                    </a:lnTo>
                    <a:lnTo>
                      <a:pt x="9" y="74"/>
                    </a:lnTo>
                    <a:lnTo>
                      <a:pt x="9" y="75"/>
                    </a:lnTo>
                    <a:lnTo>
                      <a:pt x="8" y="80"/>
                    </a:lnTo>
                    <a:lnTo>
                      <a:pt x="6" y="86"/>
                    </a:lnTo>
                    <a:lnTo>
                      <a:pt x="8" y="86"/>
                    </a:lnTo>
                    <a:lnTo>
                      <a:pt x="8" y="86"/>
                    </a:lnTo>
                    <a:lnTo>
                      <a:pt x="12" y="75"/>
                    </a:lnTo>
                    <a:lnTo>
                      <a:pt x="11" y="68"/>
                    </a:lnTo>
                    <a:lnTo>
                      <a:pt x="15" y="64"/>
                    </a:lnTo>
                    <a:lnTo>
                      <a:pt x="15" y="65"/>
                    </a:lnTo>
                    <a:lnTo>
                      <a:pt x="12" y="70"/>
                    </a:lnTo>
                    <a:lnTo>
                      <a:pt x="12" y="72"/>
                    </a:lnTo>
                    <a:lnTo>
                      <a:pt x="14" y="72"/>
                    </a:lnTo>
                    <a:lnTo>
                      <a:pt x="14" y="71"/>
                    </a:lnTo>
                    <a:lnTo>
                      <a:pt x="15" y="71"/>
                    </a:lnTo>
                    <a:lnTo>
                      <a:pt x="15" y="70"/>
                    </a:lnTo>
                    <a:lnTo>
                      <a:pt x="16" y="71"/>
                    </a:lnTo>
                    <a:lnTo>
                      <a:pt x="18" y="71"/>
                    </a:lnTo>
                    <a:lnTo>
                      <a:pt x="18" y="67"/>
                    </a:lnTo>
                    <a:lnTo>
                      <a:pt x="19" y="68"/>
                    </a:lnTo>
                    <a:lnTo>
                      <a:pt x="21" y="70"/>
                    </a:lnTo>
                    <a:lnTo>
                      <a:pt x="19" y="71"/>
                    </a:lnTo>
                    <a:lnTo>
                      <a:pt x="19" y="72"/>
                    </a:lnTo>
                    <a:lnTo>
                      <a:pt x="18" y="77"/>
                    </a:lnTo>
                    <a:lnTo>
                      <a:pt x="19" y="78"/>
                    </a:lnTo>
                    <a:lnTo>
                      <a:pt x="21" y="80"/>
                    </a:lnTo>
                    <a:lnTo>
                      <a:pt x="21" y="83"/>
                    </a:lnTo>
                    <a:lnTo>
                      <a:pt x="16" y="94"/>
                    </a:lnTo>
                    <a:lnTo>
                      <a:pt x="16" y="96"/>
                    </a:lnTo>
                    <a:lnTo>
                      <a:pt x="15" y="94"/>
                    </a:lnTo>
                    <a:lnTo>
                      <a:pt x="14" y="96"/>
                    </a:lnTo>
                    <a:lnTo>
                      <a:pt x="16" y="102"/>
                    </a:lnTo>
                    <a:lnTo>
                      <a:pt x="18" y="103"/>
                    </a:lnTo>
                    <a:lnTo>
                      <a:pt x="18" y="103"/>
                    </a:lnTo>
                    <a:lnTo>
                      <a:pt x="18" y="99"/>
                    </a:lnTo>
                    <a:lnTo>
                      <a:pt x="18" y="99"/>
                    </a:lnTo>
                    <a:lnTo>
                      <a:pt x="19" y="99"/>
                    </a:lnTo>
                    <a:lnTo>
                      <a:pt x="25" y="102"/>
                    </a:lnTo>
                    <a:lnTo>
                      <a:pt x="25" y="100"/>
                    </a:lnTo>
                    <a:lnTo>
                      <a:pt x="25" y="99"/>
                    </a:lnTo>
                    <a:lnTo>
                      <a:pt x="31" y="99"/>
                    </a:lnTo>
                    <a:lnTo>
                      <a:pt x="35" y="97"/>
                    </a:lnTo>
                    <a:lnTo>
                      <a:pt x="37" y="96"/>
                    </a:lnTo>
                    <a:lnTo>
                      <a:pt x="38" y="94"/>
                    </a:lnTo>
                    <a:lnTo>
                      <a:pt x="44" y="96"/>
                    </a:lnTo>
                    <a:lnTo>
                      <a:pt x="43" y="96"/>
                    </a:lnTo>
                    <a:lnTo>
                      <a:pt x="41" y="96"/>
                    </a:lnTo>
                    <a:lnTo>
                      <a:pt x="40" y="99"/>
                    </a:lnTo>
                    <a:lnTo>
                      <a:pt x="35" y="107"/>
                    </a:lnTo>
                    <a:lnTo>
                      <a:pt x="37" y="109"/>
                    </a:lnTo>
                    <a:lnTo>
                      <a:pt x="38" y="112"/>
                    </a:lnTo>
                    <a:lnTo>
                      <a:pt x="40" y="113"/>
                    </a:lnTo>
                    <a:lnTo>
                      <a:pt x="40" y="113"/>
                    </a:lnTo>
                    <a:lnTo>
                      <a:pt x="40" y="113"/>
                    </a:lnTo>
                    <a:lnTo>
                      <a:pt x="41" y="116"/>
                    </a:lnTo>
                    <a:lnTo>
                      <a:pt x="46" y="115"/>
                    </a:lnTo>
                    <a:lnTo>
                      <a:pt x="48" y="113"/>
                    </a:lnTo>
                    <a:lnTo>
                      <a:pt x="48" y="113"/>
                    </a:lnTo>
                    <a:lnTo>
                      <a:pt x="48" y="115"/>
                    </a:lnTo>
                    <a:lnTo>
                      <a:pt x="47" y="119"/>
                    </a:lnTo>
                    <a:lnTo>
                      <a:pt x="46" y="120"/>
                    </a:lnTo>
                    <a:lnTo>
                      <a:pt x="46" y="123"/>
                    </a:lnTo>
                    <a:lnTo>
                      <a:pt x="47" y="125"/>
                    </a:lnTo>
                    <a:lnTo>
                      <a:pt x="46" y="126"/>
                    </a:lnTo>
                    <a:lnTo>
                      <a:pt x="44" y="131"/>
                    </a:lnTo>
                    <a:lnTo>
                      <a:pt x="46" y="132"/>
                    </a:lnTo>
                    <a:lnTo>
                      <a:pt x="47" y="132"/>
                    </a:lnTo>
                    <a:lnTo>
                      <a:pt x="46" y="133"/>
                    </a:lnTo>
                    <a:lnTo>
                      <a:pt x="44" y="135"/>
                    </a:lnTo>
                    <a:lnTo>
                      <a:pt x="34" y="135"/>
                    </a:lnTo>
                    <a:lnTo>
                      <a:pt x="21" y="147"/>
                    </a:lnTo>
                    <a:lnTo>
                      <a:pt x="22" y="147"/>
                    </a:lnTo>
                    <a:lnTo>
                      <a:pt x="27" y="145"/>
                    </a:lnTo>
                    <a:lnTo>
                      <a:pt x="30" y="144"/>
                    </a:lnTo>
                    <a:lnTo>
                      <a:pt x="30" y="152"/>
                    </a:lnTo>
                    <a:lnTo>
                      <a:pt x="31" y="154"/>
                    </a:lnTo>
                    <a:lnTo>
                      <a:pt x="30" y="160"/>
                    </a:lnTo>
                    <a:lnTo>
                      <a:pt x="14" y="168"/>
                    </a:lnTo>
                    <a:lnTo>
                      <a:pt x="14" y="170"/>
                    </a:lnTo>
                    <a:lnTo>
                      <a:pt x="15" y="174"/>
                    </a:lnTo>
                    <a:lnTo>
                      <a:pt x="16" y="174"/>
                    </a:lnTo>
                    <a:lnTo>
                      <a:pt x="18" y="174"/>
                    </a:lnTo>
                    <a:lnTo>
                      <a:pt x="19" y="174"/>
                    </a:lnTo>
                    <a:lnTo>
                      <a:pt x="22" y="171"/>
                    </a:lnTo>
                    <a:lnTo>
                      <a:pt x="24" y="171"/>
                    </a:lnTo>
                    <a:lnTo>
                      <a:pt x="25" y="171"/>
                    </a:lnTo>
                    <a:lnTo>
                      <a:pt x="27" y="174"/>
                    </a:lnTo>
                    <a:lnTo>
                      <a:pt x="27" y="176"/>
                    </a:lnTo>
                    <a:lnTo>
                      <a:pt x="30" y="176"/>
                    </a:lnTo>
                    <a:lnTo>
                      <a:pt x="32" y="174"/>
                    </a:lnTo>
                    <a:lnTo>
                      <a:pt x="32" y="174"/>
                    </a:lnTo>
                    <a:lnTo>
                      <a:pt x="34" y="174"/>
                    </a:lnTo>
                    <a:lnTo>
                      <a:pt x="37" y="179"/>
                    </a:lnTo>
                    <a:lnTo>
                      <a:pt x="40" y="180"/>
                    </a:lnTo>
                    <a:lnTo>
                      <a:pt x="41" y="180"/>
                    </a:lnTo>
                    <a:lnTo>
                      <a:pt x="43" y="179"/>
                    </a:lnTo>
                    <a:lnTo>
                      <a:pt x="44" y="177"/>
                    </a:lnTo>
                    <a:lnTo>
                      <a:pt x="51" y="171"/>
                    </a:lnTo>
                    <a:lnTo>
                      <a:pt x="51" y="174"/>
                    </a:lnTo>
                    <a:lnTo>
                      <a:pt x="46" y="180"/>
                    </a:lnTo>
                    <a:lnTo>
                      <a:pt x="46" y="183"/>
                    </a:lnTo>
                    <a:lnTo>
                      <a:pt x="44" y="183"/>
                    </a:lnTo>
                    <a:lnTo>
                      <a:pt x="30" y="184"/>
                    </a:lnTo>
                    <a:lnTo>
                      <a:pt x="28" y="187"/>
                    </a:lnTo>
                    <a:lnTo>
                      <a:pt x="25" y="189"/>
                    </a:lnTo>
                    <a:lnTo>
                      <a:pt x="24" y="193"/>
                    </a:lnTo>
                    <a:lnTo>
                      <a:pt x="9" y="208"/>
                    </a:lnTo>
                    <a:lnTo>
                      <a:pt x="8" y="209"/>
                    </a:lnTo>
                    <a:lnTo>
                      <a:pt x="8" y="211"/>
                    </a:lnTo>
                    <a:lnTo>
                      <a:pt x="9" y="209"/>
                    </a:lnTo>
                    <a:lnTo>
                      <a:pt x="9" y="208"/>
                    </a:lnTo>
                    <a:lnTo>
                      <a:pt x="12" y="211"/>
                    </a:lnTo>
                    <a:lnTo>
                      <a:pt x="14" y="209"/>
                    </a:lnTo>
                    <a:lnTo>
                      <a:pt x="15" y="211"/>
                    </a:lnTo>
                    <a:lnTo>
                      <a:pt x="16" y="209"/>
                    </a:lnTo>
                    <a:lnTo>
                      <a:pt x="16" y="208"/>
                    </a:lnTo>
                    <a:lnTo>
                      <a:pt x="19" y="206"/>
                    </a:lnTo>
                    <a:lnTo>
                      <a:pt x="21" y="203"/>
                    </a:lnTo>
                    <a:lnTo>
                      <a:pt x="28" y="203"/>
                    </a:lnTo>
                    <a:lnTo>
                      <a:pt x="34" y="205"/>
                    </a:lnTo>
                    <a:lnTo>
                      <a:pt x="35" y="205"/>
                    </a:lnTo>
                    <a:lnTo>
                      <a:pt x="37" y="203"/>
                    </a:lnTo>
                    <a:lnTo>
                      <a:pt x="38" y="197"/>
                    </a:lnTo>
                    <a:lnTo>
                      <a:pt x="40" y="196"/>
                    </a:lnTo>
                    <a:lnTo>
                      <a:pt x="41" y="196"/>
                    </a:lnTo>
                    <a:lnTo>
                      <a:pt x="48" y="195"/>
                    </a:lnTo>
                    <a:lnTo>
                      <a:pt x="53" y="199"/>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96" name="Freeform 824"/>
              <p:cNvSpPr>
                <a:spLocks/>
              </p:cNvSpPr>
              <p:nvPr/>
            </p:nvSpPr>
            <p:spPr bwMode="auto">
              <a:xfrm>
                <a:off x="6039967" y="2201674"/>
                <a:ext cx="102703" cy="219053"/>
              </a:xfrm>
              <a:custGeom>
                <a:avLst/>
                <a:gdLst/>
                <a:ahLst/>
                <a:cxnLst>
                  <a:cxn ang="0">
                    <a:pos x="59" y="197"/>
                  </a:cxn>
                  <a:cxn ang="0">
                    <a:pos x="69" y="193"/>
                  </a:cxn>
                  <a:cxn ang="0">
                    <a:pos x="75" y="193"/>
                  </a:cxn>
                  <a:cxn ang="0">
                    <a:pos x="102" y="189"/>
                  </a:cxn>
                  <a:cxn ang="0">
                    <a:pos x="98" y="179"/>
                  </a:cxn>
                  <a:cxn ang="0">
                    <a:pos x="101" y="173"/>
                  </a:cxn>
                  <a:cxn ang="0">
                    <a:pos x="105" y="170"/>
                  </a:cxn>
                  <a:cxn ang="0">
                    <a:pos x="111" y="163"/>
                  </a:cxn>
                  <a:cxn ang="0">
                    <a:pos x="95" y="144"/>
                  </a:cxn>
                  <a:cxn ang="0">
                    <a:pos x="92" y="139"/>
                  </a:cxn>
                  <a:cxn ang="0">
                    <a:pos x="83" y="125"/>
                  </a:cxn>
                  <a:cxn ang="0">
                    <a:pos x="89" y="123"/>
                  </a:cxn>
                  <a:cxn ang="0">
                    <a:pos x="72" y="103"/>
                  </a:cxn>
                  <a:cxn ang="0">
                    <a:pos x="51" y="68"/>
                  </a:cxn>
                  <a:cxn ang="0">
                    <a:pos x="41" y="67"/>
                  </a:cxn>
                  <a:cxn ang="0">
                    <a:pos x="47" y="58"/>
                  </a:cxn>
                  <a:cxn ang="0">
                    <a:pos x="51" y="52"/>
                  </a:cxn>
                  <a:cxn ang="0">
                    <a:pos x="60" y="26"/>
                  </a:cxn>
                  <a:cxn ang="0">
                    <a:pos x="28" y="29"/>
                  </a:cxn>
                  <a:cxn ang="0">
                    <a:pos x="31" y="25"/>
                  </a:cxn>
                  <a:cxn ang="0">
                    <a:pos x="32" y="17"/>
                  </a:cxn>
                  <a:cxn ang="0">
                    <a:pos x="40" y="0"/>
                  </a:cxn>
                  <a:cxn ang="0">
                    <a:pos x="15" y="7"/>
                  </a:cxn>
                  <a:cxn ang="0">
                    <a:pos x="11" y="16"/>
                  </a:cxn>
                  <a:cxn ang="0">
                    <a:pos x="8" y="29"/>
                  </a:cxn>
                  <a:cxn ang="0">
                    <a:pos x="9" y="33"/>
                  </a:cxn>
                  <a:cxn ang="0">
                    <a:pos x="8" y="40"/>
                  </a:cxn>
                  <a:cxn ang="0">
                    <a:pos x="5" y="45"/>
                  </a:cxn>
                  <a:cxn ang="0">
                    <a:pos x="3" y="52"/>
                  </a:cxn>
                  <a:cxn ang="0">
                    <a:pos x="12" y="55"/>
                  </a:cxn>
                  <a:cxn ang="0">
                    <a:pos x="9" y="75"/>
                  </a:cxn>
                  <a:cxn ang="0">
                    <a:pos x="12" y="75"/>
                  </a:cxn>
                  <a:cxn ang="0">
                    <a:pos x="12" y="72"/>
                  </a:cxn>
                  <a:cxn ang="0">
                    <a:pos x="16" y="71"/>
                  </a:cxn>
                  <a:cxn ang="0">
                    <a:pos x="19" y="71"/>
                  </a:cxn>
                  <a:cxn ang="0">
                    <a:pos x="21" y="83"/>
                  </a:cxn>
                  <a:cxn ang="0">
                    <a:pos x="16" y="102"/>
                  </a:cxn>
                  <a:cxn ang="0">
                    <a:pos x="19" y="99"/>
                  </a:cxn>
                  <a:cxn ang="0">
                    <a:pos x="35" y="97"/>
                  </a:cxn>
                  <a:cxn ang="0">
                    <a:pos x="41" y="96"/>
                  </a:cxn>
                  <a:cxn ang="0">
                    <a:pos x="40" y="113"/>
                  </a:cxn>
                  <a:cxn ang="0">
                    <a:pos x="48" y="113"/>
                  </a:cxn>
                  <a:cxn ang="0">
                    <a:pos x="46" y="123"/>
                  </a:cxn>
                  <a:cxn ang="0">
                    <a:pos x="47" y="132"/>
                  </a:cxn>
                  <a:cxn ang="0">
                    <a:pos x="22" y="147"/>
                  </a:cxn>
                  <a:cxn ang="0">
                    <a:pos x="30" y="160"/>
                  </a:cxn>
                  <a:cxn ang="0">
                    <a:pos x="18" y="174"/>
                  </a:cxn>
                  <a:cxn ang="0">
                    <a:pos x="27" y="174"/>
                  </a:cxn>
                  <a:cxn ang="0">
                    <a:pos x="34" y="174"/>
                  </a:cxn>
                  <a:cxn ang="0">
                    <a:pos x="44" y="177"/>
                  </a:cxn>
                  <a:cxn ang="0">
                    <a:pos x="44" y="183"/>
                  </a:cxn>
                  <a:cxn ang="0">
                    <a:pos x="9" y="208"/>
                  </a:cxn>
                  <a:cxn ang="0">
                    <a:pos x="12" y="211"/>
                  </a:cxn>
                  <a:cxn ang="0">
                    <a:pos x="19" y="206"/>
                  </a:cxn>
                  <a:cxn ang="0">
                    <a:pos x="37" y="203"/>
                  </a:cxn>
                  <a:cxn ang="0">
                    <a:pos x="53" y="199"/>
                  </a:cxn>
                </a:cxnLst>
                <a:rect l="0" t="0" r="r" b="b"/>
                <a:pathLst>
                  <a:path w="112" h="211">
                    <a:moveTo>
                      <a:pt x="53" y="199"/>
                    </a:moveTo>
                    <a:lnTo>
                      <a:pt x="53" y="199"/>
                    </a:lnTo>
                    <a:lnTo>
                      <a:pt x="53" y="197"/>
                    </a:lnTo>
                    <a:lnTo>
                      <a:pt x="56" y="197"/>
                    </a:lnTo>
                    <a:lnTo>
                      <a:pt x="59" y="197"/>
                    </a:lnTo>
                    <a:lnTo>
                      <a:pt x="60" y="197"/>
                    </a:lnTo>
                    <a:lnTo>
                      <a:pt x="59" y="196"/>
                    </a:lnTo>
                    <a:lnTo>
                      <a:pt x="66" y="195"/>
                    </a:lnTo>
                    <a:lnTo>
                      <a:pt x="66" y="195"/>
                    </a:lnTo>
                    <a:lnTo>
                      <a:pt x="69" y="193"/>
                    </a:lnTo>
                    <a:lnTo>
                      <a:pt x="69" y="192"/>
                    </a:lnTo>
                    <a:lnTo>
                      <a:pt x="70" y="192"/>
                    </a:lnTo>
                    <a:lnTo>
                      <a:pt x="72" y="193"/>
                    </a:lnTo>
                    <a:lnTo>
                      <a:pt x="75" y="192"/>
                    </a:lnTo>
                    <a:lnTo>
                      <a:pt x="75" y="193"/>
                    </a:lnTo>
                    <a:lnTo>
                      <a:pt x="76" y="195"/>
                    </a:lnTo>
                    <a:lnTo>
                      <a:pt x="86" y="193"/>
                    </a:lnTo>
                    <a:lnTo>
                      <a:pt x="89" y="193"/>
                    </a:lnTo>
                    <a:lnTo>
                      <a:pt x="102" y="190"/>
                    </a:lnTo>
                    <a:lnTo>
                      <a:pt x="102" y="189"/>
                    </a:lnTo>
                    <a:lnTo>
                      <a:pt x="108" y="184"/>
                    </a:lnTo>
                    <a:lnTo>
                      <a:pt x="108" y="181"/>
                    </a:lnTo>
                    <a:lnTo>
                      <a:pt x="108" y="181"/>
                    </a:lnTo>
                    <a:lnTo>
                      <a:pt x="98" y="181"/>
                    </a:lnTo>
                    <a:lnTo>
                      <a:pt x="98" y="179"/>
                    </a:lnTo>
                    <a:lnTo>
                      <a:pt x="96" y="177"/>
                    </a:lnTo>
                    <a:lnTo>
                      <a:pt x="99" y="176"/>
                    </a:lnTo>
                    <a:lnTo>
                      <a:pt x="99" y="174"/>
                    </a:lnTo>
                    <a:lnTo>
                      <a:pt x="101" y="173"/>
                    </a:lnTo>
                    <a:lnTo>
                      <a:pt x="101" y="173"/>
                    </a:lnTo>
                    <a:lnTo>
                      <a:pt x="99" y="171"/>
                    </a:lnTo>
                    <a:lnTo>
                      <a:pt x="101" y="170"/>
                    </a:lnTo>
                    <a:lnTo>
                      <a:pt x="102" y="170"/>
                    </a:lnTo>
                    <a:lnTo>
                      <a:pt x="104" y="171"/>
                    </a:lnTo>
                    <a:lnTo>
                      <a:pt x="105" y="170"/>
                    </a:lnTo>
                    <a:lnTo>
                      <a:pt x="106" y="168"/>
                    </a:lnTo>
                    <a:lnTo>
                      <a:pt x="105" y="165"/>
                    </a:lnTo>
                    <a:lnTo>
                      <a:pt x="106" y="167"/>
                    </a:lnTo>
                    <a:lnTo>
                      <a:pt x="108" y="165"/>
                    </a:lnTo>
                    <a:lnTo>
                      <a:pt x="111" y="163"/>
                    </a:lnTo>
                    <a:lnTo>
                      <a:pt x="112" y="154"/>
                    </a:lnTo>
                    <a:lnTo>
                      <a:pt x="111" y="149"/>
                    </a:lnTo>
                    <a:lnTo>
                      <a:pt x="109" y="147"/>
                    </a:lnTo>
                    <a:lnTo>
                      <a:pt x="105" y="144"/>
                    </a:lnTo>
                    <a:lnTo>
                      <a:pt x="95" y="144"/>
                    </a:lnTo>
                    <a:lnTo>
                      <a:pt x="93" y="148"/>
                    </a:lnTo>
                    <a:lnTo>
                      <a:pt x="92" y="147"/>
                    </a:lnTo>
                    <a:lnTo>
                      <a:pt x="88" y="147"/>
                    </a:lnTo>
                    <a:lnTo>
                      <a:pt x="89" y="144"/>
                    </a:lnTo>
                    <a:lnTo>
                      <a:pt x="92" y="139"/>
                    </a:lnTo>
                    <a:lnTo>
                      <a:pt x="93" y="138"/>
                    </a:lnTo>
                    <a:lnTo>
                      <a:pt x="93" y="136"/>
                    </a:lnTo>
                    <a:lnTo>
                      <a:pt x="88" y="129"/>
                    </a:lnTo>
                    <a:lnTo>
                      <a:pt x="86" y="129"/>
                    </a:lnTo>
                    <a:lnTo>
                      <a:pt x="83" y="125"/>
                    </a:lnTo>
                    <a:lnTo>
                      <a:pt x="85" y="125"/>
                    </a:lnTo>
                    <a:lnTo>
                      <a:pt x="86" y="128"/>
                    </a:lnTo>
                    <a:lnTo>
                      <a:pt x="91" y="128"/>
                    </a:lnTo>
                    <a:lnTo>
                      <a:pt x="91" y="128"/>
                    </a:lnTo>
                    <a:lnTo>
                      <a:pt x="89" y="123"/>
                    </a:lnTo>
                    <a:lnTo>
                      <a:pt x="85" y="119"/>
                    </a:lnTo>
                    <a:lnTo>
                      <a:pt x="85" y="115"/>
                    </a:lnTo>
                    <a:lnTo>
                      <a:pt x="79" y="106"/>
                    </a:lnTo>
                    <a:lnTo>
                      <a:pt x="73" y="104"/>
                    </a:lnTo>
                    <a:lnTo>
                      <a:pt x="72" y="103"/>
                    </a:lnTo>
                    <a:lnTo>
                      <a:pt x="66" y="90"/>
                    </a:lnTo>
                    <a:lnTo>
                      <a:pt x="66" y="81"/>
                    </a:lnTo>
                    <a:lnTo>
                      <a:pt x="60" y="75"/>
                    </a:lnTo>
                    <a:lnTo>
                      <a:pt x="59" y="72"/>
                    </a:lnTo>
                    <a:lnTo>
                      <a:pt x="51" y="68"/>
                    </a:lnTo>
                    <a:lnTo>
                      <a:pt x="50" y="68"/>
                    </a:lnTo>
                    <a:lnTo>
                      <a:pt x="46" y="70"/>
                    </a:lnTo>
                    <a:lnTo>
                      <a:pt x="41" y="70"/>
                    </a:lnTo>
                    <a:lnTo>
                      <a:pt x="41" y="68"/>
                    </a:lnTo>
                    <a:lnTo>
                      <a:pt x="41" y="67"/>
                    </a:lnTo>
                    <a:lnTo>
                      <a:pt x="43" y="65"/>
                    </a:lnTo>
                    <a:lnTo>
                      <a:pt x="48" y="64"/>
                    </a:lnTo>
                    <a:lnTo>
                      <a:pt x="50" y="62"/>
                    </a:lnTo>
                    <a:lnTo>
                      <a:pt x="48" y="59"/>
                    </a:lnTo>
                    <a:lnTo>
                      <a:pt x="47" y="58"/>
                    </a:lnTo>
                    <a:lnTo>
                      <a:pt x="46" y="56"/>
                    </a:lnTo>
                    <a:lnTo>
                      <a:pt x="48" y="58"/>
                    </a:lnTo>
                    <a:lnTo>
                      <a:pt x="50" y="56"/>
                    </a:lnTo>
                    <a:lnTo>
                      <a:pt x="51" y="54"/>
                    </a:lnTo>
                    <a:lnTo>
                      <a:pt x="51" y="52"/>
                    </a:lnTo>
                    <a:lnTo>
                      <a:pt x="56" y="46"/>
                    </a:lnTo>
                    <a:lnTo>
                      <a:pt x="59" y="38"/>
                    </a:lnTo>
                    <a:lnTo>
                      <a:pt x="61" y="33"/>
                    </a:lnTo>
                    <a:lnTo>
                      <a:pt x="61" y="27"/>
                    </a:lnTo>
                    <a:lnTo>
                      <a:pt x="60" y="26"/>
                    </a:lnTo>
                    <a:lnTo>
                      <a:pt x="44" y="26"/>
                    </a:lnTo>
                    <a:lnTo>
                      <a:pt x="41" y="25"/>
                    </a:lnTo>
                    <a:lnTo>
                      <a:pt x="31" y="27"/>
                    </a:lnTo>
                    <a:lnTo>
                      <a:pt x="30" y="29"/>
                    </a:lnTo>
                    <a:lnTo>
                      <a:pt x="28" y="29"/>
                    </a:lnTo>
                    <a:lnTo>
                      <a:pt x="30" y="27"/>
                    </a:lnTo>
                    <a:lnTo>
                      <a:pt x="30" y="26"/>
                    </a:lnTo>
                    <a:lnTo>
                      <a:pt x="27" y="26"/>
                    </a:lnTo>
                    <a:lnTo>
                      <a:pt x="27" y="26"/>
                    </a:lnTo>
                    <a:lnTo>
                      <a:pt x="31" y="25"/>
                    </a:lnTo>
                    <a:lnTo>
                      <a:pt x="32" y="22"/>
                    </a:lnTo>
                    <a:lnTo>
                      <a:pt x="28" y="22"/>
                    </a:lnTo>
                    <a:lnTo>
                      <a:pt x="30" y="19"/>
                    </a:lnTo>
                    <a:lnTo>
                      <a:pt x="30" y="20"/>
                    </a:lnTo>
                    <a:lnTo>
                      <a:pt x="32" y="17"/>
                    </a:lnTo>
                    <a:lnTo>
                      <a:pt x="37" y="13"/>
                    </a:lnTo>
                    <a:lnTo>
                      <a:pt x="40" y="10"/>
                    </a:lnTo>
                    <a:lnTo>
                      <a:pt x="43" y="7"/>
                    </a:lnTo>
                    <a:lnTo>
                      <a:pt x="43" y="1"/>
                    </a:lnTo>
                    <a:lnTo>
                      <a:pt x="40" y="0"/>
                    </a:lnTo>
                    <a:lnTo>
                      <a:pt x="25" y="3"/>
                    </a:lnTo>
                    <a:lnTo>
                      <a:pt x="25" y="3"/>
                    </a:lnTo>
                    <a:lnTo>
                      <a:pt x="21" y="1"/>
                    </a:lnTo>
                    <a:lnTo>
                      <a:pt x="18" y="1"/>
                    </a:lnTo>
                    <a:lnTo>
                      <a:pt x="15" y="7"/>
                    </a:lnTo>
                    <a:lnTo>
                      <a:pt x="15" y="10"/>
                    </a:lnTo>
                    <a:lnTo>
                      <a:pt x="12" y="10"/>
                    </a:lnTo>
                    <a:lnTo>
                      <a:pt x="12" y="14"/>
                    </a:lnTo>
                    <a:lnTo>
                      <a:pt x="11" y="14"/>
                    </a:lnTo>
                    <a:lnTo>
                      <a:pt x="11" y="16"/>
                    </a:lnTo>
                    <a:lnTo>
                      <a:pt x="14" y="19"/>
                    </a:lnTo>
                    <a:lnTo>
                      <a:pt x="6" y="22"/>
                    </a:lnTo>
                    <a:lnTo>
                      <a:pt x="6" y="27"/>
                    </a:lnTo>
                    <a:lnTo>
                      <a:pt x="8" y="29"/>
                    </a:lnTo>
                    <a:lnTo>
                      <a:pt x="8" y="29"/>
                    </a:lnTo>
                    <a:lnTo>
                      <a:pt x="6" y="29"/>
                    </a:lnTo>
                    <a:lnTo>
                      <a:pt x="5" y="29"/>
                    </a:lnTo>
                    <a:lnTo>
                      <a:pt x="5" y="33"/>
                    </a:lnTo>
                    <a:lnTo>
                      <a:pt x="6" y="33"/>
                    </a:lnTo>
                    <a:lnTo>
                      <a:pt x="9" y="33"/>
                    </a:lnTo>
                    <a:lnTo>
                      <a:pt x="9" y="35"/>
                    </a:lnTo>
                    <a:lnTo>
                      <a:pt x="8" y="35"/>
                    </a:lnTo>
                    <a:lnTo>
                      <a:pt x="9" y="36"/>
                    </a:lnTo>
                    <a:lnTo>
                      <a:pt x="8" y="39"/>
                    </a:lnTo>
                    <a:lnTo>
                      <a:pt x="8" y="40"/>
                    </a:lnTo>
                    <a:lnTo>
                      <a:pt x="8" y="40"/>
                    </a:lnTo>
                    <a:lnTo>
                      <a:pt x="6" y="42"/>
                    </a:lnTo>
                    <a:lnTo>
                      <a:pt x="6" y="43"/>
                    </a:lnTo>
                    <a:lnTo>
                      <a:pt x="6" y="43"/>
                    </a:lnTo>
                    <a:lnTo>
                      <a:pt x="5" y="45"/>
                    </a:lnTo>
                    <a:lnTo>
                      <a:pt x="5" y="49"/>
                    </a:lnTo>
                    <a:lnTo>
                      <a:pt x="2" y="51"/>
                    </a:lnTo>
                    <a:lnTo>
                      <a:pt x="0" y="51"/>
                    </a:lnTo>
                    <a:lnTo>
                      <a:pt x="0" y="52"/>
                    </a:lnTo>
                    <a:lnTo>
                      <a:pt x="3" y="52"/>
                    </a:lnTo>
                    <a:lnTo>
                      <a:pt x="3" y="55"/>
                    </a:lnTo>
                    <a:lnTo>
                      <a:pt x="6" y="56"/>
                    </a:lnTo>
                    <a:lnTo>
                      <a:pt x="12" y="52"/>
                    </a:lnTo>
                    <a:lnTo>
                      <a:pt x="12" y="54"/>
                    </a:lnTo>
                    <a:lnTo>
                      <a:pt x="12" y="55"/>
                    </a:lnTo>
                    <a:lnTo>
                      <a:pt x="8" y="71"/>
                    </a:lnTo>
                    <a:lnTo>
                      <a:pt x="8" y="72"/>
                    </a:lnTo>
                    <a:lnTo>
                      <a:pt x="9" y="72"/>
                    </a:lnTo>
                    <a:lnTo>
                      <a:pt x="9" y="74"/>
                    </a:lnTo>
                    <a:lnTo>
                      <a:pt x="9" y="75"/>
                    </a:lnTo>
                    <a:lnTo>
                      <a:pt x="8" y="80"/>
                    </a:lnTo>
                    <a:lnTo>
                      <a:pt x="6" y="86"/>
                    </a:lnTo>
                    <a:lnTo>
                      <a:pt x="8" y="86"/>
                    </a:lnTo>
                    <a:lnTo>
                      <a:pt x="8" y="86"/>
                    </a:lnTo>
                    <a:lnTo>
                      <a:pt x="12" y="75"/>
                    </a:lnTo>
                    <a:lnTo>
                      <a:pt x="11" y="68"/>
                    </a:lnTo>
                    <a:lnTo>
                      <a:pt x="15" y="64"/>
                    </a:lnTo>
                    <a:lnTo>
                      <a:pt x="15" y="65"/>
                    </a:lnTo>
                    <a:lnTo>
                      <a:pt x="12" y="70"/>
                    </a:lnTo>
                    <a:lnTo>
                      <a:pt x="12" y="72"/>
                    </a:lnTo>
                    <a:lnTo>
                      <a:pt x="14" y="72"/>
                    </a:lnTo>
                    <a:lnTo>
                      <a:pt x="14" y="71"/>
                    </a:lnTo>
                    <a:lnTo>
                      <a:pt x="15" y="71"/>
                    </a:lnTo>
                    <a:lnTo>
                      <a:pt x="15" y="70"/>
                    </a:lnTo>
                    <a:lnTo>
                      <a:pt x="16" y="71"/>
                    </a:lnTo>
                    <a:lnTo>
                      <a:pt x="18" y="71"/>
                    </a:lnTo>
                    <a:lnTo>
                      <a:pt x="18" y="67"/>
                    </a:lnTo>
                    <a:lnTo>
                      <a:pt x="19" y="68"/>
                    </a:lnTo>
                    <a:lnTo>
                      <a:pt x="21" y="70"/>
                    </a:lnTo>
                    <a:lnTo>
                      <a:pt x="19" y="71"/>
                    </a:lnTo>
                    <a:lnTo>
                      <a:pt x="19" y="72"/>
                    </a:lnTo>
                    <a:lnTo>
                      <a:pt x="18" y="77"/>
                    </a:lnTo>
                    <a:lnTo>
                      <a:pt x="19" y="78"/>
                    </a:lnTo>
                    <a:lnTo>
                      <a:pt x="21" y="80"/>
                    </a:lnTo>
                    <a:lnTo>
                      <a:pt x="21" y="83"/>
                    </a:lnTo>
                    <a:lnTo>
                      <a:pt x="16" y="94"/>
                    </a:lnTo>
                    <a:lnTo>
                      <a:pt x="16" y="96"/>
                    </a:lnTo>
                    <a:lnTo>
                      <a:pt x="15" y="94"/>
                    </a:lnTo>
                    <a:lnTo>
                      <a:pt x="14" y="96"/>
                    </a:lnTo>
                    <a:lnTo>
                      <a:pt x="16" y="102"/>
                    </a:lnTo>
                    <a:lnTo>
                      <a:pt x="18" y="103"/>
                    </a:lnTo>
                    <a:lnTo>
                      <a:pt x="18" y="103"/>
                    </a:lnTo>
                    <a:lnTo>
                      <a:pt x="18" y="99"/>
                    </a:lnTo>
                    <a:lnTo>
                      <a:pt x="18" y="99"/>
                    </a:lnTo>
                    <a:lnTo>
                      <a:pt x="19" y="99"/>
                    </a:lnTo>
                    <a:lnTo>
                      <a:pt x="25" y="102"/>
                    </a:lnTo>
                    <a:lnTo>
                      <a:pt x="25" y="100"/>
                    </a:lnTo>
                    <a:lnTo>
                      <a:pt x="25" y="99"/>
                    </a:lnTo>
                    <a:lnTo>
                      <a:pt x="31" y="99"/>
                    </a:lnTo>
                    <a:lnTo>
                      <a:pt x="35" y="97"/>
                    </a:lnTo>
                    <a:lnTo>
                      <a:pt x="37" y="96"/>
                    </a:lnTo>
                    <a:lnTo>
                      <a:pt x="38" y="94"/>
                    </a:lnTo>
                    <a:lnTo>
                      <a:pt x="44" y="96"/>
                    </a:lnTo>
                    <a:lnTo>
                      <a:pt x="43" y="96"/>
                    </a:lnTo>
                    <a:lnTo>
                      <a:pt x="41" y="96"/>
                    </a:lnTo>
                    <a:lnTo>
                      <a:pt x="40" y="99"/>
                    </a:lnTo>
                    <a:lnTo>
                      <a:pt x="35" y="107"/>
                    </a:lnTo>
                    <a:lnTo>
                      <a:pt x="37" y="109"/>
                    </a:lnTo>
                    <a:lnTo>
                      <a:pt x="38" y="112"/>
                    </a:lnTo>
                    <a:lnTo>
                      <a:pt x="40" y="113"/>
                    </a:lnTo>
                    <a:lnTo>
                      <a:pt x="40" y="113"/>
                    </a:lnTo>
                    <a:lnTo>
                      <a:pt x="40" y="113"/>
                    </a:lnTo>
                    <a:lnTo>
                      <a:pt x="41" y="116"/>
                    </a:lnTo>
                    <a:lnTo>
                      <a:pt x="46" y="115"/>
                    </a:lnTo>
                    <a:lnTo>
                      <a:pt x="48" y="113"/>
                    </a:lnTo>
                    <a:lnTo>
                      <a:pt x="48" y="113"/>
                    </a:lnTo>
                    <a:lnTo>
                      <a:pt x="48" y="115"/>
                    </a:lnTo>
                    <a:lnTo>
                      <a:pt x="47" y="119"/>
                    </a:lnTo>
                    <a:lnTo>
                      <a:pt x="46" y="120"/>
                    </a:lnTo>
                    <a:lnTo>
                      <a:pt x="46" y="123"/>
                    </a:lnTo>
                    <a:lnTo>
                      <a:pt x="47" y="125"/>
                    </a:lnTo>
                    <a:lnTo>
                      <a:pt x="46" y="126"/>
                    </a:lnTo>
                    <a:lnTo>
                      <a:pt x="44" y="131"/>
                    </a:lnTo>
                    <a:lnTo>
                      <a:pt x="46" y="132"/>
                    </a:lnTo>
                    <a:lnTo>
                      <a:pt x="47" y="132"/>
                    </a:lnTo>
                    <a:lnTo>
                      <a:pt x="46" y="133"/>
                    </a:lnTo>
                    <a:lnTo>
                      <a:pt x="44" y="135"/>
                    </a:lnTo>
                    <a:lnTo>
                      <a:pt x="34" y="135"/>
                    </a:lnTo>
                    <a:lnTo>
                      <a:pt x="21" y="147"/>
                    </a:lnTo>
                    <a:lnTo>
                      <a:pt x="22" y="147"/>
                    </a:lnTo>
                    <a:lnTo>
                      <a:pt x="27" y="145"/>
                    </a:lnTo>
                    <a:lnTo>
                      <a:pt x="30" y="144"/>
                    </a:lnTo>
                    <a:lnTo>
                      <a:pt x="30" y="152"/>
                    </a:lnTo>
                    <a:lnTo>
                      <a:pt x="31" y="154"/>
                    </a:lnTo>
                    <a:lnTo>
                      <a:pt x="30" y="160"/>
                    </a:lnTo>
                    <a:lnTo>
                      <a:pt x="14" y="168"/>
                    </a:lnTo>
                    <a:lnTo>
                      <a:pt x="14" y="170"/>
                    </a:lnTo>
                    <a:lnTo>
                      <a:pt x="15" y="174"/>
                    </a:lnTo>
                    <a:lnTo>
                      <a:pt x="16" y="174"/>
                    </a:lnTo>
                    <a:lnTo>
                      <a:pt x="18" y="174"/>
                    </a:lnTo>
                    <a:lnTo>
                      <a:pt x="19" y="174"/>
                    </a:lnTo>
                    <a:lnTo>
                      <a:pt x="22" y="171"/>
                    </a:lnTo>
                    <a:lnTo>
                      <a:pt x="24" y="171"/>
                    </a:lnTo>
                    <a:lnTo>
                      <a:pt x="25" y="171"/>
                    </a:lnTo>
                    <a:lnTo>
                      <a:pt x="27" y="174"/>
                    </a:lnTo>
                    <a:lnTo>
                      <a:pt x="27" y="176"/>
                    </a:lnTo>
                    <a:lnTo>
                      <a:pt x="30" y="176"/>
                    </a:lnTo>
                    <a:lnTo>
                      <a:pt x="32" y="174"/>
                    </a:lnTo>
                    <a:lnTo>
                      <a:pt x="32" y="174"/>
                    </a:lnTo>
                    <a:lnTo>
                      <a:pt x="34" y="174"/>
                    </a:lnTo>
                    <a:lnTo>
                      <a:pt x="37" y="179"/>
                    </a:lnTo>
                    <a:lnTo>
                      <a:pt x="40" y="180"/>
                    </a:lnTo>
                    <a:lnTo>
                      <a:pt x="41" y="180"/>
                    </a:lnTo>
                    <a:lnTo>
                      <a:pt x="43" y="179"/>
                    </a:lnTo>
                    <a:lnTo>
                      <a:pt x="44" y="177"/>
                    </a:lnTo>
                    <a:lnTo>
                      <a:pt x="51" y="171"/>
                    </a:lnTo>
                    <a:lnTo>
                      <a:pt x="51" y="174"/>
                    </a:lnTo>
                    <a:lnTo>
                      <a:pt x="46" y="180"/>
                    </a:lnTo>
                    <a:lnTo>
                      <a:pt x="46" y="183"/>
                    </a:lnTo>
                    <a:lnTo>
                      <a:pt x="44" y="183"/>
                    </a:lnTo>
                    <a:lnTo>
                      <a:pt x="30" y="184"/>
                    </a:lnTo>
                    <a:lnTo>
                      <a:pt x="28" y="187"/>
                    </a:lnTo>
                    <a:lnTo>
                      <a:pt x="25" y="189"/>
                    </a:lnTo>
                    <a:lnTo>
                      <a:pt x="24" y="193"/>
                    </a:lnTo>
                    <a:lnTo>
                      <a:pt x="9" y="208"/>
                    </a:lnTo>
                    <a:lnTo>
                      <a:pt x="8" y="209"/>
                    </a:lnTo>
                    <a:lnTo>
                      <a:pt x="8" y="211"/>
                    </a:lnTo>
                    <a:lnTo>
                      <a:pt x="9" y="209"/>
                    </a:lnTo>
                    <a:lnTo>
                      <a:pt x="9" y="208"/>
                    </a:lnTo>
                    <a:lnTo>
                      <a:pt x="12" y="211"/>
                    </a:lnTo>
                    <a:lnTo>
                      <a:pt x="14" y="209"/>
                    </a:lnTo>
                    <a:lnTo>
                      <a:pt x="15" y="211"/>
                    </a:lnTo>
                    <a:lnTo>
                      <a:pt x="16" y="209"/>
                    </a:lnTo>
                    <a:lnTo>
                      <a:pt x="16" y="208"/>
                    </a:lnTo>
                    <a:lnTo>
                      <a:pt x="19" y="206"/>
                    </a:lnTo>
                    <a:lnTo>
                      <a:pt x="21" y="203"/>
                    </a:lnTo>
                    <a:lnTo>
                      <a:pt x="28" y="203"/>
                    </a:lnTo>
                    <a:lnTo>
                      <a:pt x="34" y="205"/>
                    </a:lnTo>
                    <a:lnTo>
                      <a:pt x="35" y="205"/>
                    </a:lnTo>
                    <a:lnTo>
                      <a:pt x="37" y="203"/>
                    </a:lnTo>
                    <a:lnTo>
                      <a:pt x="38" y="197"/>
                    </a:lnTo>
                    <a:lnTo>
                      <a:pt x="40" y="196"/>
                    </a:lnTo>
                    <a:lnTo>
                      <a:pt x="41" y="196"/>
                    </a:lnTo>
                    <a:lnTo>
                      <a:pt x="48" y="195"/>
                    </a:lnTo>
                    <a:lnTo>
                      <a:pt x="53" y="199"/>
                    </a:lnTo>
                  </a:path>
                </a:pathLst>
              </a:custGeom>
              <a:solidFill>
                <a:srgbClr val="29CCFF"/>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97" name="Freeform 825"/>
              <p:cNvSpPr>
                <a:spLocks/>
              </p:cNvSpPr>
              <p:nvPr/>
            </p:nvSpPr>
            <p:spPr bwMode="auto">
              <a:xfrm>
                <a:off x="6101413" y="2404500"/>
                <a:ext cx="5267" cy="2028"/>
              </a:xfrm>
              <a:custGeom>
                <a:avLst/>
                <a:gdLst/>
                <a:ahLst/>
                <a:cxnLst>
                  <a:cxn ang="0">
                    <a:pos x="3" y="0"/>
                  </a:cxn>
                  <a:cxn ang="0">
                    <a:pos x="3" y="0"/>
                  </a:cxn>
                  <a:cxn ang="0">
                    <a:pos x="2" y="0"/>
                  </a:cxn>
                  <a:cxn ang="0">
                    <a:pos x="0" y="1"/>
                  </a:cxn>
                  <a:cxn ang="0">
                    <a:pos x="0" y="1"/>
                  </a:cxn>
                  <a:cxn ang="0">
                    <a:pos x="0" y="2"/>
                  </a:cxn>
                  <a:cxn ang="0">
                    <a:pos x="3" y="2"/>
                  </a:cxn>
                  <a:cxn ang="0">
                    <a:pos x="5" y="2"/>
                  </a:cxn>
                  <a:cxn ang="0">
                    <a:pos x="6" y="1"/>
                  </a:cxn>
                  <a:cxn ang="0">
                    <a:pos x="6" y="1"/>
                  </a:cxn>
                  <a:cxn ang="0">
                    <a:pos x="3" y="0"/>
                  </a:cxn>
                </a:cxnLst>
                <a:rect l="0" t="0" r="r" b="b"/>
                <a:pathLst>
                  <a:path w="6" h="2">
                    <a:moveTo>
                      <a:pt x="3" y="0"/>
                    </a:moveTo>
                    <a:lnTo>
                      <a:pt x="3" y="0"/>
                    </a:lnTo>
                    <a:lnTo>
                      <a:pt x="2" y="0"/>
                    </a:lnTo>
                    <a:lnTo>
                      <a:pt x="0" y="1"/>
                    </a:lnTo>
                    <a:lnTo>
                      <a:pt x="0" y="1"/>
                    </a:lnTo>
                    <a:lnTo>
                      <a:pt x="0" y="2"/>
                    </a:lnTo>
                    <a:lnTo>
                      <a:pt x="3" y="2"/>
                    </a:lnTo>
                    <a:lnTo>
                      <a:pt x="5" y="2"/>
                    </a:lnTo>
                    <a:lnTo>
                      <a:pt x="6" y="1"/>
                    </a:lnTo>
                    <a:lnTo>
                      <a:pt x="6" y="1"/>
                    </a:lnTo>
                    <a:lnTo>
                      <a:pt x="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98" name="Freeform 826"/>
              <p:cNvSpPr>
                <a:spLocks/>
              </p:cNvSpPr>
              <p:nvPr/>
            </p:nvSpPr>
            <p:spPr bwMode="auto">
              <a:xfrm>
                <a:off x="6101413" y="2404500"/>
                <a:ext cx="5267" cy="2028"/>
              </a:xfrm>
              <a:custGeom>
                <a:avLst/>
                <a:gdLst/>
                <a:ahLst/>
                <a:cxnLst>
                  <a:cxn ang="0">
                    <a:pos x="3" y="0"/>
                  </a:cxn>
                  <a:cxn ang="0">
                    <a:pos x="3" y="0"/>
                  </a:cxn>
                  <a:cxn ang="0">
                    <a:pos x="2" y="0"/>
                  </a:cxn>
                  <a:cxn ang="0">
                    <a:pos x="0" y="1"/>
                  </a:cxn>
                  <a:cxn ang="0">
                    <a:pos x="0" y="1"/>
                  </a:cxn>
                  <a:cxn ang="0">
                    <a:pos x="0" y="2"/>
                  </a:cxn>
                  <a:cxn ang="0">
                    <a:pos x="3" y="2"/>
                  </a:cxn>
                  <a:cxn ang="0">
                    <a:pos x="5" y="2"/>
                  </a:cxn>
                  <a:cxn ang="0">
                    <a:pos x="6" y="1"/>
                  </a:cxn>
                  <a:cxn ang="0">
                    <a:pos x="6" y="1"/>
                  </a:cxn>
                  <a:cxn ang="0">
                    <a:pos x="3" y="0"/>
                  </a:cxn>
                </a:cxnLst>
                <a:rect l="0" t="0" r="r" b="b"/>
                <a:pathLst>
                  <a:path w="6" h="2">
                    <a:moveTo>
                      <a:pt x="3" y="0"/>
                    </a:moveTo>
                    <a:lnTo>
                      <a:pt x="3" y="0"/>
                    </a:lnTo>
                    <a:lnTo>
                      <a:pt x="2" y="0"/>
                    </a:lnTo>
                    <a:lnTo>
                      <a:pt x="0" y="1"/>
                    </a:lnTo>
                    <a:lnTo>
                      <a:pt x="0" y="1"/>
                    </a:lnTo>
                    <a:lnTo>
                      <a:pt x="0" y="2"/>
                    </a:lnTo>
                    <a:lnTo>
                      <a:pt x="3" y="2"/>
                    </a:lnTo>
                    <a:lnTo>
                      <a:pt x="5" y="2"/>
                    </a:lnTo>
                    <a:lnTo>
                      <a:pt x="6" y="1"/>
                    </a:lnTo>
                    <a:lnTo>
                      <a:pt x="6" y="1"/>
                    </a:lnTo>
                    <a:lnTo>
                      <a:pt x="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99" name="Freeform 827"/>
              <p:cNvSpPr>
                <a:spLocks/>
              </p:cNvSpPr>
              <p:nvPr/>
            </p:nvSpPr>
            <p:spPr bwMode="auto">
              <a:xfrm>
                <a:off x="6062790" y="2338581"/>
                <a:ext cx="4389" cy="4056"/>
              </a:xfrm>
              <a:custGeom>
                <a:avLst/>
                <a:gdLst/>
                <a:ahLst/>
                <a:cxnLst>
                  <a:cxn ang="0">
                    <a:pos x="3" y="4"/>
                  </a:cxn>
                  <a:cxn ang="0">
                    <a:pos x="5" y="3"/>
                  </a:cxn>
                  <a:cxn ang="0">
                    <a:pos x="2" y="1"/>
                  </a:cxn>
                  <a:cxn ang="0">
                    <a:pos x="0" y="0"/>
                  </a:cxn>
                  <a:cxn ang="0">
                    <a:pos x="3" y="4"/>
                  </a:cxn>
                </a:cxnLst>
                <a:rect l="0" t="0" r="r" b="b"/>
                <a:pathLst>
                  <a:path w="5" h="4">
                    <a:moveTo>
                      <a:pt x="3" y="4"/>
                    </a:moveTo>
                    <a:lnTo>
                      <a:pt x="5" y="3"/>
                    </a:lnTo>
                    <a:lnTo>
                      <a:pt x="2" y="1"/>
                    </a:lnTo>
                    <a:lnTo>
                      <a:pt x="0" y="0"/>
                    </a:lnTo>
                    <a:lnTo>
                      <a:pt x="3" y="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00" name="Freeform 828"/>
              <p:cNvSpPr>
                <a:spLocks/>
              </p:cNvSpPr>
              <p:nvPr/>
            </p:nvSpPr>
            <p:spPr bwMode="auto">
              <a:xfrm>
                <a:off x="6062790" y="2338581"/>
                <a:ext cx="4389" cy="4056"/>
              </a:xfrm>
              <a:custGeom>
                <a:avLst/>
                <a:gdLst/>
                <a:ahLst/>
                <a:cxnLst>
                  <a:cxn ang="0">
                    <a:pos x="3" y="4"/>
                  </a:cxn>
                  <a:cxn ang="0">
                    <a:pos x="5" y="3"/>
                  </a:cxn>
                  <a:cxn ang="0">
                    <a:pos x="2" y="1"/>
                  </a:cxn>
                  <a:cxn ang="0">
                    <a:pos x="0" y="0"/>
                  </a:cxn>
                  <a:cxn ang="0">
                    <a:pos x="3" y="4"/>
                  </a:cxn>
                </a:cxnLst>
                <a:rect l="0" t="0" r="r" b="b"/>
                <a:pathLst>
                  <a:path w="5" h="4">
                    <a:moveTo>
                      <a:pt x="3" y="4"/>
                    </a:moveTo>
                    <a:lnTo>
                      <a:pt x="5" y="3"/>
                    </a:lnTo>
                    <a:lnTo>
                      <a:pt x="2" y="1"/>
                    </a:lnTo>
                    <a:lnTo>
                      <a:pt x="0" y="0"/>
                    </a:lnTo>
                    <a:lnTo>
                      <a:pt x="3" y="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01" name="Freeform 829"/>
              <p:cNvSpPr>
                <a:spLocks/>
              </p:cNvSpPr>
              <p:nvPr/>
            </p:nvSpPr>
            <p:spPr bwMode="auto">
              <a:xfrm>
                <a:off x="6057523" y="2315256"/>
                <a:ext cx="7022" cy="9127"/>
              </a:xfrm>
              <a:custGeom>
                <a:avLst/>
                <a:gdLst/>
                <a:ahLst/>
                <a:cxnLst>
                  <a:cxn ang="0">
                    <a:pos x="6" y="0"/>
                  </a:cxn>
                  <a:cxn ang="0">
                    <a:pos x="0" y="9"/>
                  </a:cxn>
                  <a:cxn ang="0">
                    <a:pos x="3" y="7"/>
                  </a:cxn>
                  <a:cxn ang="0">
                    <a:pos x="6" y="6"/>
                  </a:cxn>
                  <a:cxn ang="0">
                    <a:pos x="8" y="4"/>
                  </a:cxn>
                  <a:cxn ang="0">
                    <a:pos x="8" y="1"/>
                  </a:cxn>
                  <a:cxn ang="0">
                    <a:pos x="6" y="0"/>
                  </a:cxn>
                </a:cxnLst>
                <a:rect l="0" t="0" r="r" b="b"/>
                <a:pathLst>
                  <a:path w="8" h="9">
                    <a:moveTo>
                      <a:pt x="6" y="0"/>
                    </a:moveTo>
                    <a:lnTo>
                      <a:pt x="0" y="9"/>
                    </a:lnTo>
                    <a:lnTo>
                      <a:pt x="3" y="7"/>
                    </a:lnTo>
                    <a:lnTo>
                      <a:pt x="6" y="6"/>
                    </a:lnTo>
                    <a:lnTo>
                      <a:pt x="8" y="4"/>
                    </a:lnTo>
                    <a:lnTo>
                      <a:pt x="8" y="1"/>
                    </a:lnTo>
                    <a:lnTo>
                      <a:pt x="6"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02" name="Freeform 830"/>
              <p:cNvSpPr>
                <a:spLocks/>
              </p:cNvSpPr>
              <p:nvPr/>
            </p:nvSpPr>
            <p:spPr bwMode="auto">
              <a:xfrm>
                <a:off x="6057523" y="2315256"/>
                <a:ext cx="7022" cy="9127"/>
              </a:xfrm>
              <a:custGeom>
                <a:avLst/>
                <a:gdLst/>
                <a:ahLst/>
                <a:cxnLst>
                  <a:cxn ang="0">
                    <a:pos x="6" y="0"/>
                  </a:cxn>
                  <a:cxn ang="0">
                    <a:pos x="0" y="9"/>
                  </a:cxn>
                  <a:cxn ang="0">
                    <a:pos x="3" y="7"/>
                  </a:cxn>
                  <a:cxn ang="0">
                    <a:pos x="6" y="6"/>
                  </a:cxn>
                  <a:cxn ang="0">
                    <a:pos x="8" y="4"/>
                  </a:cxn>
                  <a:cxn ang="0">
                    <a:pos x="8" y="1"/>
                  </a:cxn>
                  <a:cxn ang="0">
                    <a:pos x="6" y="0"/>
                  </a:cxn>
                </a:cxnLst>
                <a:rect l="0" t="0" r="r" b="b"/>
                <a:pathLst>
                  <a:path w="8" h="9">
                    <a:moveTo>
                      <a:pt x="6" y="0"/>
                    </a:moveTo>
                    <a:lnTo>
                      <a:pt x="0" y="9"/>
                    </a:lnTo>
                    <a:lnTo>
                      <a:pt x="3" y="7"/>
                    </a:lnTo>
                    <a:lnTo>
                      <a:pt x="6" y="6"/>
                    </a:lnTo>
                    <a:lnTo>
                      <a:pt x="8" y="4"/>
                    </a:lnTo>
                    <a:lnTo>
                      <a:pt x="8" y="1"/>
                    </a:lnTo>
                    <a:lnTo>
                      <a:pt x="6"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03" name="Freeform 831"/>
              <p:cNvSpPr>
                <a:spLocks/>
              </p:cNvSpPr>
              <p:nvPr/>
            </p:nvSpPr>
            <p:spPr bwMode="auto">
              <a:xfrm>
                <a:off x="6050501" y="2281790"/>
                <a:ext cx="2634" cy="7099"/>
              </a:xfrm>
              <a:custGeom>
                <a:avLst/>
                <a:gdLst/>
                <a:ahLst/>
                <a:cxnLst>
                  <a:cxn ang="0">
                    <a:pos x="0" y="0"/>
                  </a:cxn>
                  <a:cxn ang="0">
                    <a:pos x="0" y="0"/>
                  </a:cxn>
                  <a:cxn ang="0">
                    <a:pos x="0" y="4"/>
                  </a:cxn>
                  <a:cxn ang="0">
                    <a:pos x="2" y="7"/>
                  </a:cxn>
                  <a:cxn ang="0">
                    <a:pos x="3" y="6"/>
                  </a:cxn>
                  <a:cxn ang="0">
                    <a:pos x="3" y="3"/>
                  </a:cxn>
                  <a:cxn ang="0">
                    <a:pos x="3" y="0"/>
                  </a:cxn>
                  <a:cxn ang="0">
                    <a:pos x="0" y="0"/>
                  </a:cxn>
                </a:cxnLst>
                <a:rect l="0" t="0" r="r" b="b"/>
                <a:pathLst>
                  <a:path w="3" h="7">
                    <a:moveTo>
                      <a:pt x="0" y="0"/>
                    </a:moveTo>
                    <a:lnTo>
                      <a:pt x="0" y="0"/>
                    </a:lnTo>
                    <a:lnTo>
                      <a:pt x="0" y="4"/>
                    </a:lnTo>
                    <a:lnTo>
                      <a:pt x="2" y="7"/>
                    </a:lnTo>
                    <a:lnTo>
                      <a:pt x="3" y="6"/>
                    </a:lnTo>
                    <a:lnTo>
                      <a:pt x="3" y="3"/>
                    </a:lnTo>
                    <a:lnTo>
                      <a:pt x="3" y="0"/>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04" name="Freeform 832"/>
              <p:cNvSpPr>
                <a:spLocks/>
              </p:cNvSpPr>
              <p:nvPr/>
            </p:nvSpPr>
            <p:spPr bwMode="auto">
              <a:xfrm>
                <a:off x="6050501" y="2281790"/>
                <a:ext cx="2634" cy="7099"/>
              </a:xfrm>
              <a:custGeom>
                <a:avLst/>
                <a:gdLst/>
                <a:ahLst/>
                <a:cxnLst>
                  <a:cxn ang="0">
                    <a:pos x="0" y="0"/>
                  </a:cxn>
                  <a:cxn ang="0">
                    <a:pos x="0" y="0"/>
                  </a:cxn>
                  <a:cxn ang="0">
                    <a:pos x="0" y="4"/>
                  </a:cxn>
                  <a:cxn ang="0">
                    <a:pos x="2" y="7"/>
                  </a:cxn>
                  <a:cxn ang="0">
                    <a:pos x="3" y="6"/>
                  </a:cxn>
                  <a:cxn ang="0">
                    <a:pos x="3" y="3"/>
                  </a:cxn>
                  <a:cxn ang="0">
                    <a:pos x="3" y="0"/>
                  </a:cxn>
                  <a:cxn ang="0">
                    <a:pos x="0" y="0"/>
                  </a:cxn>
                </a:cxnLst>
                <a:rect l="0" t="0" r="r" b="b"/>
                <a:pathLst>
                  <a:path w="3" h="7">
                    <a:moveTo>
                      <a:pt x="0" y="0"/>
                    </a:moveTo>
                    <a:lnTo>
                      <a:pt x="0" y="0"/>
                    </a:lnTo>
                    <a:lnTo>
                      <a:pt x="0" y="4"/>
                    </a:lnTo>
                    <a:lnTo>
                      <a:pt x="2" y="7"/>
                    </a:lnTo>
                    <a:lnTo>
                      <a:pt x="3" y="6"/>
                    </a:lnTo>
                    <a:lnTo>
                      <a:pt x="3" y="3"/>
                    </a:lnTo>
                    <a:lnTo>
                      <a:pt x="3" y="0"/>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05" name="Freeform 833"/>
              <p:cNvSpPr>
                <a:spLocks/>
              </p:cNvSpPr>
              <p:nvPr/>
            </p:nvSpPr>
            <p:spPr bwMode="auto">
              <a:xfrm>
                <a:off x="6034700" y="2276719"/>
                <a:ext cx="5267" cy="6085"/>
              </a:xfrm>
              <a:custGeom>
                <a:avLst/>
                <a:gdLst/>
                <a:ahLst/>
                <a:cxnLst>
                  <a:cxn ang="0">
                    <a:pos x="5" y="0"/>
                  </a:cxn>
                  <a:cxn ang="0">
                    <a:pos x="5" y="0"/>
                  </a:cxn>
                  <a:cxn ang="0">
                    <a:pos x="4" y="0"/>
                  </a:cxn>
                  <a:cxn ang="0">
                    <a:pos x="1" y="2"/>
                  </a:cxn>
                  <a:cxn ang="0">
                    <a:pos x="0" y="5"/>
                  </a:cxn>
                  <a:cxn ang="0">
                    <a:pos x="1" y="5"/>
                  </a:cxn>
                  <a:cxn ang="0">
                    <a:pos x="3" y="3"/>
                  </a:cxn>
                  <a:cxn ang="0">
                    <a:pos x="4" y="6"/>
                  </a:cxn>
                  <a:cxn ang="0">
                    <a:pos x="5" y="5"/>
                  </a:cxn>
                  <a:cxn ang="0">
                    <a:pos x="5" y="3"/>
                  </a:cxn>
                  <a:cxn ang="0">
                    <a:pos x="5" y="0"/>
                  </a:cxn>
                </a:cxnLst>
                <a:rect l="0" t="0" r="r" b="b"/>
                <a:pathLst>
                  <a:path w="5" h="6">
                    <a:moveTo>
                      <a:pt x="5" y="0"/>
                    </a:moveTo>
                    <a:lnTo>
                      <a:pt x="5" y="0"/>
                    </a:lnTo>
                    <a:lnTo>
                      <a:pt x="4" y="0"/>
                    </a:lnTo>
                    <a:lnTo>
                      <a:pt x="1" y="2"/>
                    </a:lnTo>
                    <a:lnTo>
                      <a:pt x="0" y="5"/>
                    </a:lnTo>
                    <a:lnTo>
                      <a:pt x="1" y="5"/>
                    </a:lnTo>
                    <a:lnTo>
                      <a:pt x="3" y="3"/>
                    </a:lnTo>
                    <a:lnTo>
                      <a:pt x="4" y="6"/>
                    </a:lnTo>
                    <a:lnTo>
                      <a:pt x="5" y="5"/>
                    </a:lnTo>
                    <a:lnTo>
                      <a:pt x="5" y="3"/>
                    </a:lnTo>
                    <a:lnTo>
                      <a:pt x="5"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06" name="Freeform 834"/>
              <p:cNvSpPr>
                <a:spLocks/>
              </p:cNvSpPr>
              <p:nvPr/>
            </p:nvSpPr>
            <p:spPr bwMode="auto">
              <a:xfrm>
                <a:off x="6034700" y="2276719"/>
                <a:ext cx="5267" cy="6085"/>
              </a:xfrm>
              <a:custGeom>
                <a:avLst/>
                <a:gdLst/>
                <a:ahLst/>
                <a:cxnLst>
                  <a:cxn ang="0">
                    <a:pos x="5" y="0"/>
                  </a:cxn>
                  <a:cxn ang="0">
                    <a:pos x="5" y="0"/>
                  </a:cxn>
                  <a:cxn ang="0">
                    <a:pos x="4" y="0"/>
                  </a:cxn>
                  <a:cxn ang="0">
                    <a:pos x="1" y="2"/>
                  </a:cxn>
                  <a:cxn ang="0">
                    <a:pos x="0" y="5"/>
                  </a:cxn>
                  <a:cxn ang="0">
                    <a:pos x="1" y="5"/>
                  </a:cxn>
                  <a:cxn ang="0">
                    <a:pos x="3" y="3"/>
                  </a:cxn>
                  <a:cxn ang="0">
                    <a:pos x="4" y="6"/>
                  </a:cxn>
                  <a:cxn ang="0">
                    <a:pos x="5" y="5"/>
                  </a:cxn>
                  <a:cxn ang="0">
                    <a:pos x="5" y="3"/>
                  </a:cxn>
                  <a:cxn ang="0">
                    <a:pos x="5" y="0"/>
                  </a:cxn>
                </a:cxnLst>
                <a:rect l="0" t="0" r="r" b="b"/>
                <a:pathLst>
                  <a:path w="5" h="6">
                    <a:moveTo>
                      <a:pt x="5" y="0"/>
                    </a:moveTo>
                    <a:lnTo>
                      <a:pt x="5" y="0"/>
                    </a:lnTo>
                    <a:lnTo>
                      <a:pt x="4" y="0"/>
                    </a:lnTo>
                    <a:lnTo>
                      <a:pt x="1" y="2"/>
                    </a:lnTo>
                    <a:lnTo>
                      <a:pt x="0" y="5"/>
                    </a:lnTo>
                    <a:lnTo>
                      <a:pt x="1" y="5"/>
                    </a:lnTo>
                    <a:lnTo>
                      <a:pt x="3" y="3"/>
                    </a:lnTo>
                    <a:lnTo>
                      <a:pt x="4" y="6"/>
                    </a:lnTo>
                    <a:lnTo>
                      <a:pt x="5" y="5"/>
                    </a:lnTo>
                    <a:lnTo>
                      <a:pt x="5" y="3"/>
                    </a:lnTo>
                    <a:lnTo>
                      <a:pt x="5"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07" name="Freeform 835"/>
              <p:cNvSpPr>
                <a:spLocks/>
              </p:cNvSpPr>
              <p:nvPr/>
            </p:nvSpPr>
            <p:spPr bwMode="auto">
              <a:xfrm>
                <a:off x="6041723" y="2270634"/>
                <a:ext cx="3511" cy="8113"/>
              </a:xfrm>
              <a:custGeom>
                <a:avLst/>
                <a:gdLst/>
                <a:ahLst/>
                <a:cxnLst>
                  <a:cxn ang="0">
                    <a:pos x="4" y="0"/>
                  </a:cxn>
                  <a:cxn ang="0">
                    <a:pos x="3" y="1"/>
                  </a:cxn>
                  <a:cxn ang="0">
                    <a:pos x="1" y="3"/>
                  </a:cxn>
                  <a:cxn ang="0">
                    <a:pos x="1" y="4"/>
                  </a:cxn>
                  <a:cxn ang="0">
                    <a:pos x="0" y="5"/>
                  </a:cxn>
                  <a:cxn ang="0">
                    <a:pos x="0" y="7"/>
                  </a:cxn>
                  <a:cxn ang="0">
                    <a:pos x="1" y="7"/>
                  </a:cxn>
                  <a:cxn ang="0">
                    <a:pos x="4" y="0"/>
                  </a:cxn>
                </a:cxnLst>
                <a:rect l="0" t="0" r="r" b="b"/>
                <a:pathLst>
                  <a:path w="4" h="7">
                    <a:moveTo>
                      <a:pt x="4" y="0"/>
                    </a:moveTo>
                    <a:lnTo>
                      <a:pt x="3" y="1"/>
                    </a:lnTo>
                    <a:lnTo>
                      <a:pt x="1" y="3"/>
                    </a:lnTo>
                    <a:lnTo>
                      <a:pt x="1" y="4"/>
                    </a:lnTo>
                    <a:lnTo>
                      <a:pt x="0" y="5"/>
                    </a:lnTo>
                    <a:lnTo>
                      <a:pt x="0" y="7"/>
                    </a:lnTo>
                    <a:lnTo>
                      <a:pt x="1" y="7"/>
                    </a:lnTo>
                    <a:lnTo>
                      <a:pt x="4"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08" name="Freeform 836"/>
              <p:cNvSpPr>
                <a:spLocks/>
              </p:cNvSpPr>
              <p:nvPr/>
            </p:nvSpPr>
            <p:spPr bwMode="auto">
              <a:xfrm>
                <a:off x="6041723" y="2270634"/>
                <a:ext cx="3511" cy="8113"/>
              </a:xfrm>
              <a:custGeom>
                <a:avLst/>
                <a:gdLst/>
                <a:ahLst/>
                <a:cxnLst>
                  <a:cxn ang="0">
                    <a:pos x="4" y="0"/>
                  </a:cxn>
                  <a:cxn ang="0">
                    <a:pos x="3" y="1"/>
                  </a:cxn>
                  <a:cxn ang="0">
                    <a:pos x="1" y="3"/>
                  </a:cxn>
                  <a:cxn ang="0">
                    <a:pos x="1" y="4"/>
                  </a:cxn>
                  <a:cxn ang="0">
                    <a:pos x="0" y="5"/>
                  </a:cxn>
                  <a:cxn ang="0">
                    <a:pos x="0" y="7"/>
                  </a:cxn>
                  <a:cxn ang="0">
                    <a:pos x="1" y="7"/>
                  </a:cxn>
                  <a:cxn ang="0">
                    <a:pos x="4" y="0"/>
                  </a:cxn>
                </a:cxnLst>
                <a:rect l="0" t="0" r="r" b="b"/>
                <a:pathLst>
                  <a:path w="4" h="7">
                    <a:moveTo>
                      <a:pt x="4" y="0"/>
                    </a:moveTo>
                    <a:lnTo>
                      <a:pt x="3" y="1"/>
                    </a:lnTo>
                    <a:lnTo>
                      <a:pt x="1" y="3"/>
                    </a:lnTo>
                    <a:lnTo>
                      <a:pt x="1" y="4"/>
                    </a:lnTo>
                    <a:lnTo>
                      <a:pt x="0" y="5"/>
                    </a:lnTo>
                    <a:lnTo>
                      <a:pt x="0" y="7"/>
                    </a:lnTo>
                    <a:lnTo>
                      <a:pt x="1" y="7"/>
                    </a:lnTo>
                    <a:lnTo>
                      <a:pt x="4"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09" name="Freeform 837"/>
              <p:cNvSpPr>
                <a:spLocks/>
              </p:cNvSpPr>
              <p:nvPr/>
            </p:nvSpPr>
            <p:spPr bwMode="auto">
              <a:xfrm>
                <a:off x="6038212" y="2257450"/>
                <a:ext cx="7022" cy="8113"/>
              </a:xfrm>
              <a:custGeom>
                <a:avLst/>
                <a:gdLst/>
                <a:ahLst/>
                <a:cxnLst>
                  <a:cxn ang="0">
                    <a:pos x="0" y="7"/>
                  </a:cxn>
                  <a:cxn ang="0">
                    <a:pos x="0" y="7"/>
                  </a:cxn>
                  <a:cxn ang="0">
                    <a:pos x="0" y="8"/>
                  </a:cxn>
                  <a:cxn ang="0">
                    <a:pos x="1" y="8"/>
                  </a:cxn>
                  <a:cxn ang="0">
                    <a:pos x="4" y="8"/>
                  </a:cxn>
                  <a:cxn ang="0">
                    <a:pos x="5" y="7"/>
                  </a:cxn>
                  <a:cxn ang="0">
                    <a:pos x="8" y="5"/>
                  </a:cxn>
                  <a:cxn ang="0">
                    <a:pos x="8" y="4"/>
                  </a:cxn>
                  <a:cxn ang="0">
                    <a:pos x="4" y="1"/>
                  </a:cxn>
                  <a:cxn ang="0">
                    <a:pos x="2" y="0"/>
                  </a:cxn>
                  <a:cxn ang="0">
                    <a:pos x="1" y="0"/>
                  </a:cxn>
                  <a:cxn ang="0">
                    <a:pos x="1" y="1"/>
                  </a:cxn>
                  <a:cxn ang="0">
                    <a:pos x="1" y="2"/>
                  </a:cxn>
                  <a:cxn ang="0">
                    <a:pos x="2" y="4"/>
                  </a:cxn>
                  <a:cxn ang="0">
                    <a:pos x="2" y="5"/>
                  </a:cxn>
                  <a:cxn ang="0">
                    <a:pos x="2" y="5"/>
                  </a:cxn>
                  <a:cxn ang="0">
                    <a:pos x="2" y="7"/>
                  </a:cxn>
                  <a:cxn ang="0">
                    <a:pos x="1" y="7"/>
                  </a:cxn>
                  <a:cxn ang="0">
                    <a:pos x="0" y="7"/>
                  </a:cxn>
                </a:cxnLst>
                <a:rect l="0" t="0" r="r" b="b"/>
                <a:pathLst>
                  <a:path w="8" h="8">
                    <a:moveTo>
                      <a:pt x="0" y="7"/>
                    </a:moveTo>
                    <a:lnTo>
                      <a:pt x="0" y="7"/>
                    </a:lnTo>
                    <a:lnTo>
                      <a:pt x="0" y="8"/>
                    </a:lnTo>
                    <a:lnTo>
                      <a:pt x="1" y="8"/>
                    </a:lnTo>
                    <a:lnTo>
                      <a:pt x="4" y="8"/>
                    </a:lnTo>
                    <a:lnTo>
                      <a:pt x="5" y="7"/>
                    </a:lnTo>
                    <a:lnTo>
                      <a:pt x="8" y="5"/>
                    </a:lnTo>
                    <a:lnTo>
                      <a:pt x="8" y="4"/>
                    </a:lnTo>
                    <a:lnTo>
                      <a:pt x="4" y="1"/>
                    </a:lnTo>
                    <a:lnTo>
                      <a:pt x="2" y="0"/>
                    </a:lnTo>
                    <a:lnTo>
                      <a:pt x="1" y="0"/>
                    </a:lnTo>
                    <a:lnTo>
                      <a:pt x="1" y="1"/>
                    </a:lnTo>
                    <a:lnTo>
                      <a:pt x="1" y="2"/>
                    </a:lnTo>
                    <a:lnTo>
                      <a:pt x="2" y="4"/>
                    </a:lnTo>
                    <a:lnTo>
                      <a:pt x="2" y="5"/>
                    </a:lnTo>
                    <a:lnTo>
                      <a:pt x="2" y="5"/>
                    </a:lnTo>
                    <a:lnTo>
                      <a:pt x="2" y="7"/>
                    </a:lnTo>
                    <a:lnTo>
                      <a:pt x="1" y="7"/>
                    </a:lnTo>
                    <a:lnTo>
                      <a:pt x="0" y="7"/>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10" name="Freeform 838"/>
              <p:cNvSpPr>
                <a:spLocks/>
              </p:cNvSpPr>
              <p:nvPr/>
            </p:nvSpPr>
            <p:spPr bwMode="auto">
              <a:xfrm>
                <a:off x="6038212" y="2257450"/>
                <a:ext cx="7022" cy="8113"/>
              </a:xfrm>
              <a:custGeom>
                <a:avLst/>
                <a:gdLst/>
                <a:ahLst/>
                <a:cxnLst>
                  <a:cxn ang="0">
                    <a:pos x="0" y="7"/>
                  </a:cxn>
                  <a:cxn ang="0">
                    <a:pos x="0" y="7"/>
                  </a:cxn>
                  <a:cxn ang="0">
                    <a:pos x="0" y="8"/>
                  </a:cxn>
                  <a:cxn ang="0">
                    <a:pos x="1" y="8"/>
                  </a:cxn>
                  <a:cxn ang="0">
                    <a:pos x="4" y="8"/>
                  </a:cxn>
                  <a:cxn ang="0">
                    <a:pos x="5" y="7"/>
                  </a:cxn>
                  <a:cxn ang="0">
                    <a:pos x="8" y="5"/>
                  </a:cxn>
                  <a:cxn ang="0">
                    <a:pos x="8" y="4"/>
                  </a:cxn>
                  <a:cxn ang="0">
                    <a:pos x="4" y="1"/>
                  </a:cxn>
                  <a:cxn ang="0">
                    <a:pos x="2" y="0"/>
                  </a:cxn>
                  <a:cxn ang="0">
                    <a:pos x="1" y="0"/>
                  </a:cxn>
                  <a:cxn ang="0">
                    <a:pos x="1" y="1"/>
                  </a:cxn>
                  <a:cxn ang="0">
                    <a:pos x="1" y="2"/>
                  </a:cxn>
                  <a:cxn ang="0">
                    <a:pos x="2" y="4"/>
                  </a:cxn>
                  <a:cxn ang="0">
                    <a:pos x="2" y="5"/>
                  </a:cxn>
                  <a:cxn ang="0">
                    <a:pos x="2" y="5"/>
                  </a:cxn>
                  <a:cxn ang="0">
                    <a:pos x="2" y="7"/>
                  </a:cxn>
                  <a:cxn ang="0">
                    <a:pos x="1" y="7"/>
                  </a:cxn>
                  <a:cxn ang="0">
                    <a:pos x="0" y="7"/>
                  </a:cxn>
                </a:cxnLst>
                <a:rect l="0" t="0" r="r" b="b"/>
                <a:pathLst>
                  <a:path w="8" h="8">
                    <a:moveTo>
                      <a:pt x="0" y="7"/>
                    </a:moveTo>
                    <a:lnTo>
                      <a:pt x="0" y="7"/>
                    </a:lnTo>
                    <a:lnTo>
                      <a:pt x="0" y="8"/>
                    </a:lnTo>
                    <a:lnTo>
                      <a:pt x="1" y="8"/>
                    </a:lnTo>
                    <a:lnTo>
                      <a:pt x="4" y="8"/>
                    </a:lnTo>
                    <a:lnTo>
                      <a:pt x="5" y="7"/>
                    </a:lnTo>
                    <a:lnTo>
                      <a:pt x="8" y="5"/>
                    </a:lnTo>
                    <a:lnTo>
                      <a:pt x="8" y="4"/>
                    </a:lnTo>
                    <a:lnTo>
                      <a:pt x="4" y="1"/>
                    </a:lnTo>
                    <a:lnTo>
                      <a:pt x="2" y="0"/>
                    </a:lnTo>
                    <a:lnTo>
                      <a:pt x="1" y="0"/>
                    </a:lnTo>
                    <a:lnTo>
                      <a:pt x="1" y="1"/>
                    </a:lnTo>
                    <a:lnTo>
                      <a:pt x="1" y="2"/>
                    </a:lnTo>
                    <a:lnTo>
                      <a:pt x="2" y="4"/>
                    </a:lnTo>
                    <a:lnTo>
                      <a:pt x="2" y="5"/>
                    </a:lnTo>
                    <a:lnTo>
                      <a:pt x="2" y="5"/>
                    </a:lnTo>
                    <a:lnTo>
                      <a:pt x="2" y="7"/>
                    </a:lnTo>
                    <a:lnTo>
                      <a:pt x="1" y="7"/>
                    </a:lnTo>
                    <a:lnTo>
                      <a:pt x="0" y="7"/>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11" name="Freeform 839"/>
              <p:cNvSpPr>
                <a:spLocks/>
              </p:cNvSpPr>
              <p:nvPr/>
            </p:nvSpPr>
            <p:spPr bwMode="auto">
              <a:xfrm>
                <a:off x="6032067" y="2227026"/>
                <a:ext cx="13166" cy="18254"/>
              </a:xfrm>
              <a:custGeom>
                <a:avLst/>
                <a:gdLst/>
                <a:ahLst/>
                <a:cxnLst>
                  <a:cxn ang="0">
                    <a:pos x="6" y="0"/>
                  </a:cxn>
                  <a:cxn ang="0">
                    <a:pos x="6" y="0"/>
                  </a:cxn>
                  <a:cxn ang="0">
                    <a:pos x="4" y="5"/>
                  </a:cxn>
                  <a:cxn ang="0">
                    <a:pos x="3" y="4"/>
                  </a:cxn>
                  <a:cxn ang="0">
                    <a:pos x="1" y="5"/>
                  </a:cxn>
                  <a:cxn ang="0">
                    <a:pos x="0" y="8"/>
                  </a:cxn>
                  <a:cxn ang="0">
                    <a:pos x="1" y="8"/>
                  </a:cxn>
                  <a:cxn ang="0">
                    <a:pos x="3" y="8"/>
                  </a:cxn>
                  <a:cxn ang="0">
                    <a:pos x="4" y="11"/>
                  </a:cxn>
                  <a:cxn ang="0">
                    <a:pos x="6" y="13"/>
                  </a:cxn>
                  <a:cxn ang="0">
                    <a:pos x="6" y="14"/>
                  </a:cxn>
                  <a:cxn ang="0">
                    <a:pos x="11" y="14"/>
                  </a:cxn>
                  <a:cxn ang="0">
                    <a:pos x="11" y="17"/>
                  </a:cxn>
                  <a:cxn ang="0">
                    <a:pos x="13" y="15"/>
                  </a:cxn>
                  <a:cxn ang="0">
                    <a:pos x="14" y="13"/>
                  </a:cxn>
                  <a:cxn ang="0">
                    <a:pos x="10" y="11"/>
                  </a:cxn>
                  <a:cxn ang="0">
                    <a:pos x="10" y="11"/>
                  </a:cxn>
                  <a:cxn ang="0">
                    <a:pos x="10" y="8"/>
                  </a:cxn>
                  <a:cxn ang="0">
                    <a:pos x="8" y="5"/>
                  </a:cxn>
                  <a:cxn ang="0">
                    <a:pos x="7" y="2"/>
                  </a:cxn>
                  <a:cxn ang="0">
                    <a:pos x="6" y="0"/>
                  </a:cxn>
                </a:cxnLst>
                <a:rect l="0" t="0" r="r" b="b"/>
                <a:pathLst>
                  <a:path w="14" h="17">
                    <a:moveTo>
                      <a:pt x="6" y="0"/>
                    </a:moveTo>
                    <a:lnTo>
                      <a:pt x="6" y="0"/>
                    </a:lnTo>
                    <a:lnTo>
                      <a:pt x="4" y="5"/>
                    </a:lnTo>
                    <a:lnTo>
                      <a:pt x="3" y="4"/>
                    </a:lnTo>
                    <a:lnTo>
                      <a:pt x="1" y="5"/>
                    </a:lnTo>
                    <a:lnTo>
                      <a:pt x="0" y="8"/>
                    </a:lnTo>
                    <a:lnTo>
                      <a:pt x="1" y="8"/>
                    </a:lnTo>
                    <a:lnTo>
                      <a:pt x="3" y="8"/>
                    </a:lnTo>
                    <a:lnTo>
                      <a:pt x="4" y="11"/>
                    </a:lnTo>
                    <a:lnTo>
                      <a:pt x="6" y="13"/>
                    </a:lnTo>
                    <a:lnTo>
                      <a:pt x="6" y="14"/>
                    </a:lnTo>
                    <a:lnTo>
                      <a:pt x="11" y="14"/>
                    </a:lnTo>
                    <a:lnTo>
                      <a:pt x="11" y="17"/>
                    </a:lnTo>
                    <a:lnTo>
                      <a:pt x="13" y="15"/>
                    </a:lnTo>
                    <a:lnTo>
                      <a:pt x="14" y="13"/>
                    </a:lnTo>
                    <a:lnTo>
                      <a:pt x="10" y="11"/>
                    </a:lnTo>
                    <a:lnTo>
                      <a:pt x="10" y="11"/>
                    </a:lnTo>
                    <a:lnTo>
                      <a:pt x="10" y="8"/>
                    </a:lnTo>
                    <a:lnTo>
                      <a:pt x="8" y="5"/>
                    </a:lnTo>
                    <a:lnTo>
                      <a:pt x="7" y="2"/>
                    </a:lnTo>
                    <a:lnTo>
                      <a:pt x="6"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12" name="Freeform 840"/>
              <p:cNvSpPr>
                <a:spLocks/>
              </p:cNvSpPr>
              <p:nvPr/>
            </p:nvSpPr>
            <p:spPr bwMode="auto">
              <a:xfrm>
                <a:off x="6032067" y="2227026"/>
                <a:ext cx="13166" cy="18254"/>
              </a:xfrm>
              <a:custGeom>
                <a:avLst/>
                <a:gdLst/>
                <a:ahLst/>
                <a:cxnLst>
                  <a:cxn ang="0">
                    <a:pos x="6" y="0"/>
                  </a:cxn>
                  <a:cxn ang="0">
                    <a:pos x="6" y="0"/>
                  </a:cxn>
                  <a:cxn ang="0">
                    <a:pos x="4" y="5"/>
                  </a:cxn>
                  <a:cxn ang="0">
                    <a:pos x="3" y="4"/>
                  </a:cxn>
                  <a:cxn ang="0">
                    <a:pos x="1" y="5"/>
                  </a:cxn>
                  <a:cxn ang="0">
                    <a:pos x="0" y="8"/>
                  </a:cxn>
                  <a:cxn ang="0">
                    <a:pos x="1" y="8"/>
                  </a:cxn>
                  <a:cxn ang="0">
                    <a:pos x="3" y="8"/>
                  </a:cxn>
                  <a:cxn ang="0">
                    <a:pos x="4" y="11"/>
                  </a:cxn>
                  <a:cxn ang="0">
                    <a:pos x="6" y="13"/>
                  </a:cxn>
                  <a:cxn ang="0">
                    <a:pos x="6" y="14"/>
                  </a:cxn>
                  <a:cxn ang="0">
                    <a:pos x="11" y="14"/>
                  </a:cxn>
                  <a:cxn ang="0">
                    <a:pos x="11" y="17"/>
                  </a:cxn>
                  <a:cxn ang="0">
                    <a:pos x="13" y="15"/>
                  </a:cxn>
                  <a:cxn ang="0">
                    <a:pos x="14" y="13"/>
                  </a:cxn>
                  <a:cxn ang="0">
                    <a:pos x="10" y="11"/>
                  </a:cxn>
                  <a:cxn ang="0">
                    <a:pos x="10" y="11"/>
                  </a:cxn>
                  <a:cxn ang="0">
                    <a:pos x="10" y="8"/>
                  </a:cxn>
                  <a:cxn ang="0">
                    <a:pos x="8" y="5"/>
                  </a:cxn>
                  <a:cxn ang="0">
                    <a:pos x="7" y="2"/>
                  </a:cxn>
                  <a:cxn ang="0">
                    <a:pos x="6" y="0"/>
                  </a:cxn>
                </a:cxnLst>
                <a:rect l="0" t="0" r="r" b="b"/>
                <a:pathLst>
                  <a:path w="14" h="17">
                    <a:moveTo>
                      <a:pt x="6" y="0"/>
                    </a:moveTo>
                    <a:lnTo>
                      <a:pt x="6" y="0"/>
                    </a:lnTo>
                    <a:lnTo>
                      <a:pt x="4" y="5"/>
                    </a:lnTo>
                    <a:lnTo>
                      <a:pt x="3" y="4"/>
                    </a:lnTo>
                    <a:lnTo>
                      <a:pt x="1" y="5"/>
                    </a:lnTo>
                    <a:lnTo>
                      <a:pt x="0" y="8"/>
                    </a:lnTo>
                    <a:lnTo>
                      <a:pt x="1" y="8"/>
                    </a:lnTo>
                    <a:lnTo>
                      <a:pt x="3" y="8"/>
                    </a:lnTo>
                    <a:lnTo>
                      <a:pt x="4" y="11"/>
                    </a:lnTo>
                    <a:lnTo>
                      <a:pt x="6" y="13"/>
                    </a:lnTo>
                    <a:lnTo>
                      <a:pt x="6" y="14"/>
                    </a:lnTo>
                    <a:lnTo>
                      <a:pt x="11" y="14"/>
                    </a:lnTo>
                    <a:lnTo>
                      <a:pt x="11" y="17"/>
                    </a:lnTo>
                    <a:lnTo>
                      <a:pt x="13" y="15"/>
                    </a:lnTo>
                    <a:lnTo>
                      <a:pt x="14" y="13"/>
                    </a:lnTo>
                    <a:lnTo>
                      <a:pt x="10" y="11"/>
                    </a:lnTo>
                    <a:lnTo>
                      <a:pt x="10" y="11"/>
                    </a:lnTo>
                    <a:lnTo>
                      <a:pt x="10" y="8"/>
                    </a:lnTo>
                    <a:lnTo>
                      <a:pt x="8" y="5"/>
                    </a:lnTo>
                    <a:lnTo>
                      <a:pt x="7" y="2"/>
                    </a:lnTo>
                    <a:lnTo>
                      <a:pt x="6"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13" name="Freeform 841"/>
              <p:cNvSpPr>
                <a:spLocks/>
              </p:cNvSpPr>
              <p:nvPr/>
            </p:nvSpPr>
            <p:spPr bwMode="auto">
              <a:xfrm>
                <a:off x="6305063" y="1850784"/>
                <a:ext cx="28968" cy="30424"/>
              </a:xfrm>
              <a:custGeom>
                <a:avLst/>
                <a:gdLst/>
                <a:ahLst/>
                <a:cxnLst>
                  <a:cxn ang="0">
                    <a:pos x="19" y="1"/>
                  </a:cxn>
                  <a:cxn ang="0">
                    <a:pos x="22" y="0"/>
                  </a:cxn>
                  <a:cxn ang="0">
                    <a:pos x="24" y="4"/>
                  </a:cxn>
                  <a:cxn ang="0">
                    <a:pos x="22" y="7"/>
                  </a:cxn>
                  <a:cxn ang="0">
                    <a:pos x="24" y="5"/>
                  </a:cxn>
                  <a:cxn ang="0">
                    <a:pos x="24" y="8"/>
                  </a:cxn>
                  <a:cxn ang="0">
                    <a:pos x="22" y="14"/>
                  </a:cxn>
                  <a:cxn ang="0">
                    <a:pos x="22" y="13"/>
                  </a:cxn>
                  <a:cxn ang="0">
                    <a:pos x="24" y="13"/>
                  </a:cxn>
                  <a:cxn ang="0">
                    <a:pos x="25" y="8"/>
                  </a:cxn>
                  <a:cxn ang="0">
                    <a:pos x="28" y="7"/>
                  </a:cxn>
                  <a:cxn ang="0">
                    <a:pos x="27" y="5"/>
                  </a:cxn>
                  <a:cxn ang="0">
                    <a:pos x="28" y="3"/>
                  </a:cxn>
                  <a:cxn ang="0">
                    <a:pos x="31" y="4"/>
                  </a:cxn>
                  <a:cxn ang="0">
                    <a:pos x="32" y="7"/>
                  </a:cxn>
                  <a:cxn ang="0">
                    <a:pos x="32" y="10"/>
                  </a:cxn>
                  <a:cxn ang="0">
                    <a:pos x="32" y="13"/>
                  </a:cxn>
                  <a:cxn ang="0">
                    <a:pos x="31" y="14"/>
                  </a:cxn>
                  <a:cxn ang="0">
                    <a:pos x="28" y="16"/>
                  </a:cxn>
                  <a:cxn ang="0">
                    <a:pos x="27" y="17"/>
                  </a:cxn>
                  <a:cxn ang="0">
                    <a:pos x="25" y="20"/>
                  </a:cxn>
                  <a:cxn ang="0">
                    <a:pos x="24" y="19"/>
                  </a:cxn>
                  <a:cxn ang="0">
                    <a:pos x="21" y="21"/>
                  </a:cxn>
                  <a:cxn ang="0">
                    <a:pos x="21" y="23"/>
                  </a:cxn>
                  <a:cxn ang="0">
                    <a:pos x="19" y="24"/>
                  </a:cxn>
                  <a:cxn ang="0">
                    <a:pos x="18" y="23"/>
                  </a:cxn>
                  <a:cxn ang="0">
                    <a:pos x="18" y="20"/>
                  </a:cxn>
                  <a:cxn ang="0">
                    <a:pos x="18" y="19"/>
                  </a:cxn>
                  <a:cxn ang="0">
                    <a:pos x="13" y="24"/>
                  </a:cxn>
                  <a:cxn ang="0">
                    <a:pos x="8" y="29"/>
                  </a:cxn>
                  <a:cxn ang="0">
                    <a:pos x="9" y="26"/>
                  </a:cxn>
                  <a:cxn ang="0">
                    <a:pos x="6" y="26"/>
                  </a:cxn>
                  <a:cxn ang="0">
                    <a:pos x="5" y="29"/>
                  </a:cxn>
                  <a:cxn ang="0">
                    <a:pos x="0" y="30"/>
                  </a:cxn>
                  <a:cxn ang="0">
                    <a:pos x="0" y="29"/>
                  </a:cxn>
                  <a:cxn ang="0">
                    <a:pos x="0" y="26"/>
                  </a:cxn>
                  <a:cxn ang="0">
                    <a:pos x="2" y="24"/>
                  </a:cxn>
                  <a:cxn ang="0">
                    <a:pos x="3" y="23"/>
                  </a:cxn>
                  <a:cxn ang="0">
                    <a:pos x="5" y="23"/>
                  </a:cxn>
                  <a:cxn ang="0">
                    <a:pos x="6" y="21"/>
                  </a:cxn>
                  <a:cxn ang="0">
                    <a:pos x="8" y="21"/>
                  </a:cxn>
                  <a:cxn ang="0">
                    <a:pos x="9" y="20"/>
                  </a:cxn>
                  <a:cxn ang="0">
                    <a:pos x="15" y="19"/>
                  </a:cxn>
                  <a:cxn ang="0">
                    <a:pos x="13" y="16"/>
                  </a:cxn>
                  <a:cxn ang="0">
                    <a:pos x="18" y="13"/>
                  </a:cxn>
                  <a:cxn ang="0">
                    <a:pos x="18" y="10"/>
                  </a:cxn>
                  <a:cxn ang="0">
                    <a:pos x="18" y="8"/>
                  </a:cxn>
                  <a:cxn ang="0">
                    <a:pos x="19" y="4"/>
                  </a:cxn>
                  <a:cxn ang="0">
                    <a:pos x="19" y="1"/>
                  </a:cxn>
                </a:cxnLst>
                <a:rect l="0" t="0" r="r" b="b"/>
                <a:pathLst>
                  <a:path w="32" h="30">
                    <a:moveTo>
                      <a:pt x="19" y="1"/>
                    </a:moveTo>
                    <a:lnTo>
                      <a:pt x="22" y="0"/>
                    </a:lnTo>
                    <a:lnTo>
                      <a:pt x="24" y="4"/>
                    </a:lnTo>
                    <a:lnTo>
                      <a:pt x="22" y="7"/>
                    </a:lnTo>
                    <a:lnTo>
                      <a:pt x="24" y="5"/>
                    </a:lnTo>
                    <a:lnTo>
                      <a:pt x="24" y="8"/>
                    </a:lnTo>
                    <a:lnTo>
                      <a:pt x="22" y="14"/>
                    </a:lnTo>
                    <a:lnTo>
                      <a:pt x="22" y="13"/>
                    </a:lnTo>
                    <a:lnTo>
                      <a:pt x="24" y="13"/>
                    </a:lnTo>
                    <a:lnTo>
                      <a:pt x="25" y="8"/>
                    </a:lnTo>
                    <a:lnTo>
                      <a:pt x="28" y="7"/>
                    </a:lnTo>
                    <a:lnTo>
                      <a:pt x="27" y="5"/>
                    </a:lnTo>
                    <a:lnTo>
                      <a:pt x="28" y="3"/>
                    </a:lnTo>
                    <a:lnTo>
                      <a:pt x="31" y="4"/>
                    </a:lnTo>
                    <a:lnTo>
                      <a:pt x="32" y="7"/>
                    </a:lnTo>
                    <a:lnTo>
                      <a:pt x="32" y="10"/>
                    </a:lnTo>
                    <a:lnTo>
                      <a:pt x="32" y="13"/>
                    </a:lnTo>
                    <a:lnTo>
                      <a:pt x="31" y="14"/>
                    </a:lnTo>
                    <a:lnTo>
                      <a:pt x="28" y="16"/>
                    </a:lnTo>
                    <a:lnTo>
                      <a:pt x="27" y="17"/>
                    </a:lnTo>
                    <a:lnTo>
                      <a:pt x="25" y="20"/>
                    </a:lnTo>
                    <a:lnTo>
                      <a:pt x="24" y="19"/>
                    </a:lnTo>
                    <a:lnTo>
                      <a:pt x="21" y="21"/>
                    </a:lnTo>
                    <a:lnTo>
                      <a:pt x="21" y="23"/>
                    </a:lnTo>
                    <a:lnTo>
                      <a:pt x="19" y="24"/>
                    </a:lnTo>
                    <a:lnTo>
                      <a:pt x="18" y="23"/>
                    </a:lnTo>
                    <a:lnTo>
                      <a:pt x="18" y="20"/>
                    </a:lnTo>
                    <a:lnTo>
                      <a:pt x="18" y="19"/>
                    </a:lnTo>
                    <a:lnTo>
                      <a:pt x="13" y="24"/>
                    </a:lnTo>
                    <a:lnTo>
                      <a:pt x="8" y="29"/>
                    </a:lnTo>
                    <a:lnTo>
                      <a:pt x="9" y="26"/>
                    </a:lnTo>
                    <a:lnTo>
                      <a:pt x="6" y="26"/>
                    </a:lnTo>
                    <a:lnTo>
                      <a:pt x="5" y="29"/>
                    </a:lnTo>
                    <a:lnTo>
                      <a:pt x="0" y="30"/>
                    </a:lnTo>
                    <a:lnTo>
                      <a:pt x="0" y="29"/>
                    </a:lnTo>
                    <a:lnTo>
                      <a:pt x="0" y="26"/>
                    </a:lnTo>
                    <a:lnTo>
                      <a:pt x="2" y="24"/>
                    </a:lnTo>
                    <a:lnTo>
                      <a:pt x="3" y="23"/>
                    </a:lnTo>
                    <a:lnTo>
                      <a:pt x="5" y="23"/>
                    </a:lnTo>
                    <a:lnTo>
                      <a:pt x="6" y="21"/>
                    </a:lnTo>
                    <a:lnTo>
                      <a:pt x="8" y="21"/>
                    </a:lnTo>
                    <a:lnTo>
                      <a:pt x="9" y="20"/>
                    </a:lnTo>
                    <a:lnTo>
                      <a:pt x="15" y="19"/>
                    </a:lnTo>
                    <a:lnTo>
                      <a:pt x="13" y="16"/>
                    </a:lnTo>
                    <a:lnTo>
                      <a:pt x="18" y="13"/>
                    </a:lnTo>
                    <a:lnTo>
                      <a:pt x="18" y="10"/>
                    </a:lnTo>
                    <a:lnTo>
                      <a:pt x="18" y="8"/>
                    </a:lnTo>
                    <a:lnTo>
                      <a:pt x="19" y="4"/>
                    </a:lnTo>
                    <a:lnTo>
                      <a:pt x="19"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14" name="Freeform 842"/>
              <p:cNvSpPr>
                <a:spLocks/>
              </p:cNvSpPr>
              <p:nvPr/>
            </p:nvSpPr>
            <p:spPr bwMode="auto">
              <a:xfrm>
                <a:off x="6305063" y="1850784"/>
                <a:ext cx="28968" cy="30424"/>
              </a:xfrm>
              <a:custGeom>
                <a:avLst/>
                <a:gdLst/>
                <a:ahLst/>
                <a:cxnLst>
                  <a:cxn ang="0">
                    <a:pos x="19" y="1"/>
                  </a:cxn>
                  <a:cxn ang="0">
                    <a:pos x="22" y="0"/>
                  </a:cxn>
                  <a:cxn ang="0">
                    <a:pos x="24" y="4"/>
                  </a:cxn>
                  <a:cxn ang="0">
                    <a:pos x="22" y="7"/>
                  </a:cxn>
                  <a:cxn ang="0">
                    <a:pos x="24" y="5"/>
                  </a:cxn>
                  <a:cxn ang="0">
                    <a:pos x="24" y="8"/>
                  </a:cxn>
                  <a:cxn ang="0">
                    <a:pos x="22" y="14"/>
                  </a:cxn>
                  <a:cxn ang="0">
                    <a:pos x="22" y="13"/>
                  </a:cxn>
                  <a:cxn ang="0">
                    <a:pos x="24" y="13"/>
                  </a:cxn>
                  <a:cxn ang="0">
                    <a:pos x="25" y="8"/>
                  </a:cxn>
                  <a:cxn ang="0">
                    <a:pos x="28" y="7"/>
                  </a:cxn>
                  <a:cxn ang="0">
                    <a:pos x="27" y="5"/>
                  </a:cxn>
                  <a:cxn ang="0">
                    <a:pos x="28" y="3"/>
                  </a:cxn>
                  <a:cxn ang="0">
                    <a:pos x="31" y="4"/>
                  </a:cxn>
                  <a:cxn ang="0">
                    <a:pos x="32" y="7"/>
                  </a:cxn>
                  <a:cxn ang="0">
                    <a:pos x="32" y="10"/>
                  </a:cxn>
                  <a:cxn ang="0">
                    <a:pos x="32" y="13"/>
                  </a:cxn>
                  <a:cxn ang="0">
                    <a:pos x="31" y="14"/>
                  </a:cxn>
                  <a:cxn ang="0">
                    <a:pos x="28" y="16"/>
                  </a:cxn>
                  <a:cxn ang="0">
                    <a:pos x="27" y="17"/>
                  </a:cxn>
                  <a:cxn ang="0">
                    <a:pos x="25" y="20"/>
                  </a:cxn>
                  <a:cxn ang="0">
                    <a:pos x="24" y="19"/>
                  </a:cxn>
                  <a:cxn ang="0">
                    <a:pos x="21" y="21"/>
                  </a:cxn>
                  <a:cxn ang="0">
                    <a:pos x="21" y="23"/>
                  </a:cxn>
                  <a:cxn ang="0">
                    <a:pos x="19" y="24"/>
                  </a:cxn>
                  <a:cxn ang="0">
                    <a:pos x="18" y="23"/>
                  </a:cxn>
                  <a:cxn ang="0">
                    <a:pos x="18" y="20"/>
                  </a:cxn>
                  <a:cxn ang="0">
                    <a:pos x="18" y="19"/>
                  </a:cxn>
                  <a:cxn ang="0">
                    <a:pos x="13" y="24"/>
                  </a:cxn>
                  <a:cxn ang="0">
                    <a:pos x="8" y="29"/>
                  </a:cxn>
                  <a:cxn ang="0">
                    <a:pos x="9" y="26"/>
                  </a:cxn>
                  <a:cxn ang="0">
                    <a:pos x="6" y="26"/>
                  </a:cxn>
                  <a:cxn ang="0">
                    <a:pos x="5" y="29"/>
                  </a:cxn>
                  <a:cxn ang="0">
                    <a:pos x="0" y="30"/>
                  </a:cxn>
                  <a:cxn ang="0">
                    <a:pos x="0" y="29"/>
                  </a:cxn>
                  <a:cxn ang="0">
                    <a:pos x="0" y="26"/>
                  </a:cxn>
                  <a:cxn ang="0">
                    <a:pos x="2" y="24"/>
                  </a:cxn>
                  <a:cxn ang="0">
                    <a:pos x="3" y="23"/>
                  </a:cxn>
                  <a:cxn ang="0">
                    <a:pos x="5" y="23"/>
                  </a:cxn>
                  <a:cxn ang="0">
                    <a:pos x="6" y="21"/>
                  </a:cxn>
                  <a:cxn ang="0">
                    <a:pos x="8" y="21"/>
                  </a:cxn>
                  <a:cxn ang="0">
                    <a:pos x="9" y="20"/>
                  </a:cxn>
                  <a:cxn ang="0">
                    <a:pos x="15" y="19"/>
                  </a:cxn>
                  <a:cxn ang="0">
                    <a:pos x="13" y="16"/>
                  </a:cxn>
                  <a:cxn ang="0">
                    <a:pos x="18" y="13"/>
                  </a:cxn>
                  <a:cxn ang="0">
                    <a:pos x="18" y="10"/>
                  </a:cxn>
                  <a:cxn ang="0">
                    <a:pos x="18" y="8"/>
                  </a:cxn>
                  <a:cxn ang="0">
                    <a:pos x="19" y="4"/>
                  </a:cxn>
                  <a:cxn ang="0">
                    <a:pos x="19" y="1"/>
                  </a:cxn>
                </a:cxnLst>
                <a:rect l="0" t="0" r="r" b="b"/>
                <a:pathLst>
                  <a:path w="32" h="30">
                    <a:moveTo>
                      <a:pt x="19" y="1"/>
                    </a:moveTo>
                    <a:lnTo>
                      <a:pt x="22" y="0"/>
                    </a:lnTo>
                    <a:lnTo>
                      <a:pt x="24" y="4"/>
                    </a:lnTo>
                    <a:lnTo>
                      <a:pt x="22" y="7"/>
                    </a:lnTo>
                    <a:lnTo>
                      <a:pt x="24" y="5"/>
                    </a:lnTo>
                    <a:lnTo>
                      <a:pt x="24" y="8"/>
                    </a:lnTo>
                    <a:lnTo>
                      <a:pt x="22" y="14"/>
                    </a:lnTo>
                    <a:lnTo>
                      <a:pt x="22" y="13"/>
                    </a:lnTo>
                    <a:lnTo>
                      <a:pt x="24" y="13"/>
                    </a:lnTo>
                    <a:lnTo>
                      <a:pt x="25" y="8"/>
                    </a:lnTo>
                    <a:lnTo>
                      <a:pt x="28" y="7"/>
                    </a:lnTo>
                    <a:lnTo>
                      <a:pt x="27" y="5"/>
                    </a:lnTo>
                    <a:lnTo>
                      <a:pt x="28" y="3"/>
                    </a:lnTo>
                    <a:lnTo>
                      <a:pt x="31" y="4"/>
                    </a:lnTo>
                    <a:lnTo>
                      <a:pt x="32" y="7"/>
                    </a:lnTo>
                    <a:lnTo>
                      <a:pt x="32" y="10"/>
                    </a:lnTo>
                    <a:lnTo>
                      <a:pt x="32" y="13"/>
                    </a:lnTo>
                    <a:lnTo>
                      <a:pt x="31" y="14"/>
                    </a:lnTo>
                    <a:lnTo>
                      <a:pt x="28" y="16"/>
                    </a:lnTo>
                    <a:lnTo>
                      <a:pt x="27" y="17"/>
                    </a:lnTo>
                    <a:lnTo>
                      <a:pt x="25" y="20"/>
                    </a:lnTo>
                    <a:lnTo>
                      <a:pt x="24" y="19"/>
                    </a:lnTo>
                    <a:lnTo>
                      <a:pt x="21" y="21"/>
                    </a:lnTo>
                    <a:lnTo>
                      <a:pt x="21" y="23"/>
                    </a:lnTo>
                    <a:lnTo>
                      <a:pt x="19" y="24"/>
                    </a:lnTo>
                    <a:lnTo>
                      <a:pt x="18" y="23"/>
                    </a:lnTo>
                    <a:lnTo>
                      <a:pt x="18" y="20"/>
                    </a:lnTo>
                    <a:lnTo>
                      <a:pt x="18" y="19"/>
                    </a:lnTo>
                    <a:lnTo>
                      <a:pt x="13" y="24"/>
                    </a:lnTo>
                    <a:lnTo>
                      <a:pt x="8" y="29"/>
                    </a:lnTo>
                    <a:lnTo>
                      <a:pt x="9" y="26"/>
                    </a:lnTo>
                    <a:lnTo>
                      <a:pt x="6" y="26"/>
                    </a:lnTo>
                    <a:lnTo>
                      <a:pt x="5" y="29"/>
                    </a:lnTo>
                    <a:lnTo>
                      <a:pt x="0" y="30"/>
                    </a:lnTo>
                    <a:lnTo>
                      <a:pt x="0" y="29"/>
                    </a:lnTo>
                    <a:lnTo>
                      <a:pt x="0" y="26"/>
                    </a:lnTo>
                    <a:lnTo>
                      <a:pt x="2" y="24"/>
                    </a:lnTo>
                    <a:lnTo>
                      <a:pt x="3" y="23"/>
                    </a:lnTo>
                    <a:lnTo>
                      <a:pt x="5" y="23"/>
                    </a:lnTo>
                    <a:lnTo>
                      <a:pt x="6" y="21"/>
                    </a:lnTo>
                    <a:lnTo>
                      <a:pt x="8" y="21"/>
                    </a:lnTo>
                    <a:lnTo>
                      <a:pt x="9" y="20"/>
                    </a:lnTo>
                    <a:lnTo>
                      <a:pt x="15" y="19"/>
                    </a:lnTo>
                    <a:lnTo>
                      <a:pt x="13" y="16"/>
                    </a:lnTo>
                    <a:lnTo>
                      <a:pt x="18" y="13"/>
                    </a:lnTo>
                    <a:lnTo>
                      <a:pt x="18" y="10"/>
                    </a:lnTo>
                    <a:lnTo>
                      <a:pt x="18" y="8"/>
                    </a:lnTo>
                    <a:lnTo>
                      <a:pt x="19" y="4"/>
                    </a:lnTo>
                    <a:lnTo>
                      <a:pt x="19"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15" name="Freeform 843"/>
              <p:cNvSpPr>
                <a:spLocks/>
              </p:cNvSpPr>
              <p:nvPr/>
            </p:nvSpPr>
            <p:spPr bwMode="auto">
              <a:xfrm>
                <a:off x="6306818" y="1850784"/>
                <a:ext cx="11412" cy="14197"/>
              </a:xfrm>
              <a:custGeom>
                <a:avLst/>
                <a:gdLst/>
                <a:ahLst/>
                <a:cxnLst>
                  <a:cxn ang="0">
                    <a:pos x="1" y="10"/>
                  </a:cxn>
                  <a:cxn ang="0">
                    <a:pos x="1" y="10"/>
                  </a:cxn>
                  <a:cxn ang="0">
                    <a:pos x="1" y="8"/>
                  </a:cxn>
                  <a:cxn ang="0">
                    <a:pos x="1" y="7"/>
                  </a:cxn>
                  <a:cxn ang="0">
                    <a:pos x="3" y="8"/>
                  </a:cxn>
                  <a:cxn ang="0">
                    <a:pos x="3" y="7"/>
                  </a:cxn>
                  <a:cxn ang="0">
                    <a:pos x="6" y="7"/>
                  </a:cxn>
                  <a:cxn ang="0">
                    <a:pos x="6" y="5"/>
                  </a:cxn>
                  <a:cxn ang="0">
                    <a:pos x="6" y="3"/>
                  </a:cxn>
                  <a:cxn ang="0">
                    <a:pos x="7" y="5"/>
                  </a:cxn>
                  <a:cxn ang="0">
                    <a:pos x="10" y="5"/>
                  </a:cxn>
                  <a:cxn ang="0">
                    <a:pos x="10" y="0"/>
                  </a:cxn>
                  <a:cxn ang="0">
                    <a:pos x="13" y="5"/>
                  </a:cxn>
                  <a:cxn ang="0">
                    <a:pos x="13" y="13"/>
                  </a:cxn>
                  <a:cxn ang="0">
                    <a:pos x="11" y="13"/>
                  </a:cxn>
                  <a:cxn ang="0">
                    <a:pos x="10" y="14"/>
                  </a:cxn>
                  <a:cxn ang="0">
                    <a:pos x="7" y="14"/>
                  </a:cxn>
                  <a:cxn ang="0">
                    <a:pos x="7" y="13"/>
                  </a:cxn>
                  <a:cxn ang="0">
                    <a:pos x="9" y="11"/>
                  </a:cxn>
                  <a:cxn ang="0">
                    <a:pos x="10" y="8"/>
                  </a:cxn>
                  <a:cxn ang="0">
                    <a:pos x="7" y="11"/>
                  </a:cxn>
                  <a:cxn ang="0">
                    <a:pos x="6" y="11"/>
                  </a:cxn>
                  <a:cxn ang="0">
                    <a:pos x="1" y="14"/>
                  </a:cxn>
                  <a:cxn ang="0">
                    <a:pos x="0" y="13"/>
                  </a:cxn>
                  <a:cxn ang="0">
                    <a:pos x="1" y="10"/>
                  </a:cxn>
                </a:cxnLst>
                <a:rect l="0" t="0" r="r" b="b"/>
                <a:pathLst>
                  <a:path w="13" h="14">
                    <a:moveTo>
                      <a:pt x="1" y="10"/>
                    </a:moveTo>
                    <a:lnTo>
                      <a:pt x="1" y="10"/>
                    </a:lnTo>
                    <a:lnTo>
                      <a:pt x="1" y="8"/>
                    </a:lnTo>
                    <a:lnTo>
                      <a:pt x="1" y="7"/>
                    </a:lnTo>
                    <a:lnTo>
                      <a:pt x="3" y="8"/>
                    </a:lnTo>
                    <a:lnTo>
                      <a:pt x="3" y="7"/>
                    </a:lnTo>
                    <a:lnTo>
                      <a:pt x="6" y="7"/>
                    </a:lnTo>
                    <a:lnTo>
                      <a:pt x="6" y="5"/>
                    </a:lnTo>
                    <a:lnTo>
                      <a:pt x="6" y="3"/>
                    </a:lnTo>
                    <a:lnTo>
                      <a:pt x="7" y="5"/>
                    </a:lnTo>
                    <a:lnTo>
                      <a:pt x="10" y="5"/>
                    </a:lnTo>
                    <a:lnTo>
                      <a:pt x="10" y="0"/>
                    </a:lnTo>
                    <a:lnTo>
                      <a:pt x="13" y="5"/>
                    </a:lnTo>
                    <a:lnTo>
                      <a:pt x="13" y="13"/>
                    </a:lnTo>
                    <a:lnTo>
                      <a:pt x="11" y="13"/>
                    </a:lnTo>
                    <a:lnTo>
                      <a:pt x="10" y="14"/>
                    </a:lnTo>
                    <a:lnTo>
                      <a:pt x="7" y="14"/>
                    </a:lnTo>
                    <a:lnTo>
                      <a:pt x="7" y="13"/>
                    </a:lnTo>
                    <a:lnTo>
                      <a:pt x="9" y="11"/>
                    </a:lnTo>
                    <a:lnTo>
                      <a:pt x="10" y="8"/>
                    </a:lnTo>
                    <a:lnTo>
                      <a:pt x="7" y="11"/>
                    </a:lnTo>
                    <a:lnTo>
                      <a:pt x="6" y="11"/>
                    </a:lnTo>
                    <a:lnTo>
                      <a:pt x="1" y="14"/>
                    </a:lnTo>
                    <a:lnTo>
                      <a:pt x="0" y="13"/>
                    </a:lnTo>
                    <a:lnTo>
                      <a:pt x="1" y="1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16" name="Freeform 844"/>
              <p:cNvSpPr>
                <a:spLocks/>
              </p:cNvSpPr>
              <p:nvPr/>
            </p:nvSpPr>
            <p:spPr bwMode="auto">
              <a:xfrm>
                <a:off x="6306818" y="1850784"/>
                <a:ext cx="11412" cy="14197"/>
              </a:xfrm>
              <a:custGeom>
                <a:avLst/>
                <a:gdLst/>
                <a:ahLst/>
                <a:cxnLst>
                  <a:cxn ang="0">
                    <a:pos x="1" y="10"/>
                  </a:cxn>
                  <a:cxn ang="0">
                    <a:pos x="1" y="10"/>
                  </a:cxn>
                  <a:cxn ang="0">
                    <a:pos x="1" y="8"/>
                  </a:cxn>
                  <a:cxn ang="0">
                    <a:pos x="1" y="7"/>
                  </a:cxn>
                  <a:cxn ang="0">
                    <a:pos x="3" y="8"/>
                  </a:cxn>
                  <a:cxn ang="0">
                    <a:pos x="3" y="7"/>
                  </a:cxn>
                  <a:cxn ang="0">
                    <a:pos x="6" y="7"/>
                  </a:cxn>
                  <a:cxn ang="0">
                    <a:pos x="6" y="5"/>
                  </a:cxn>
                  <a:cxn ang="0">
                    <a:pos x="6" y="3"/>
                  </a:cxn>
                  <a:cxn ang="0">
                    <a:pos x="7" y="5"/>
                  </a:cxn>
                  <a:cxn ang="0">
                    <a:pos x="10" y="5"/>
                  </a:cxn>
                  <a:cxn ang="0">
                    <a:pos x="10" y="0"/>
                  </a:cxn>
                  <a:cxn ang="0">
                    <a:pos x="13" y="5"/>
                  </a:cxn>
                  <a:cxn ang="0">
                    <a:pos x="13" y="13"/>
                  </a:cxn>
                  <a:cxn ang="0">
                    <a:pos x="11" y="13"/>
                  </a:cxn>
                  <a:cxn ang="0">
                    <a:pos x="10" y="14"/>
                  </a:cxn>
                  <a:cxn ang="0">
                    <a:pos x="7" y="14"/>
                  </a:cxn>
                  <a:cxn ang="0">
                    <a:pos x="7" y="13"/>
                  </a:cxn>
                  <a:cxn ang="0">
                    <a:pos x="9" y="11"/>
                  </a:cxn>
                  <a:cxn ang="0">
                    <a:pos x="10" y="8"/>
                  </a:cxn>
                  <a:cxn ang="0">
                    <a:pos x="7" y="11"/>
                  </a:cxn>
                  <a:cxn ang="0">
                    <a:pos x="6" y="11"/>
                  </a:cxn>
                  <a:cxn ang="0">
                    <a:pos x="1" y="14"/>
                  </a:cxn>
                  <a:cxn ang="0">
                    <a:pos x="0" y="13"/>
                  </a:cxn>
                  <a:cxn ang="0">
                    <a:pos x="1" y="10"/>
                  </a:cxn>
                </a:cxnLst>
                <a:rect l="0" t="0" r="r" b="b"/>
                <a:pathLst>
                  <a:path w="13" h="14">
                    <a:moveTo>
                      <a:pt x="1" y="10"/>
                    </a:moveTo>
                    <a:lnTo>
                      <a:pt x="1" y="10"/>
                    </a:lnTo>
                    <a:lnTo>
                      <a:pt x="1" y="8"/>
                    </a:lnTo>
                    <a:lnTo>
                      <a:pt x="1" y="7"/>
                    </a:lnTo>
                    <a:lnTo>
                      <a:pt x="3" y="8"/>
                    </a:lnTo>
                    <a:lnTo>
                      <a:pt x="3" y="7"/>
                    </a:lnTo>
                    <a:lnTo>
                      <a:pt x="6" y="7"/>
                    </a:lnTo>
                    <a:lnTo>
                      <a:pt x="6" y="5"/>
                    </a:lnTo>
                    <a:lnTo>
                      <a:pt x="6" y="3"/>
                    </a:lnTo>
                    <a:lnTo>
                      <a:pt x="7" y="5"/>
                    </a:lnTo>
                    <a:lnTo>
                      <a:pt x="10" y="5"/>
                    </a:lnTo>
                    <a:lnTo>
                      <a:pt x="10" y="0"/>
                    </a:lnTo>
                    <a:lnTo>
                      <a:pt x="13" y="5"/>
                    </a:lnTo>
                    <a:lnTo>
                      <a:pt x="13" y="13"/>
                    </a:lnTo>
                    <a:lnTo>
                      <a:pt x="11" y="13"/>
                    </a:lnTo>
                    <a:lnTo>
                      <a:pt x="10" y="14"/>
                    </a:lnTo>
                    <a:lnTo>
                      <a:pt x="7" y="14"/>
                    </a:lnTo>
                    <a:lnTo>
                      <a:pt x="7" y="13"/>
                    </a:lnTo>
                    <a:lnTo>
                      <a:pt x="9" y="11"/>
                    </a:lnTo>
                    <a:lnTo>
                      <a:pt x="10" y="8"/>
                    </a:lnTo>
                    <a:lnTo>
                      <a:pt x="7" y="11"/>
                    </a:lnTo>
                    <a:lnTo>
                      <a:pt x="6" y="11"/>
                    </a:lnTo>
                    <a:lnTo>
                      <a:pt x="1" y="14"/>
                    </a:lnTo>
                    <a:lnTo>
                      <a:pt x="0" y="13"/>
                    </a:lnTo>
                    <a:lnTo>
                      <a:pt x="1" y="1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17" name="Freeform 845"/>
              <p:cNvSpPr>
                <a:spLocks/>
              </p:cNvSpPr>
              <p:nvPr/>
            </p:nvSpPr>
            <p:spPr bwMode="auto">
              <a:xfrm>
                <a:off x="6320863" y="1834558"/>
                <a:ext cx="9656" cy="13184"/>
              </a:xfrm>
              <a:custGeom>
                <a:avLst/>
                <a:gdLst/>
                <a:ahLst/>
                <a:cxnLst>
                  <a:cxn ang="0">
                    <a:pos x="4" y="5"/>
                  </a:cxn>
                  <a:cxn ang="0">
                    <a:pos x="6" y="5"/>
                  </a:cxn>
                  <a:cxn ang="0">
                    <a:pos x="6" y="0"/>
                  </a:cxn>
                  <a:cxn ang="0">
                    <a:pos x="7" y="0"/>
                  </a:cxn>
                  <a:cxn ang="0">
                    <a:pos x="10" y="2"/>
                  </a:cxn>
                  <a:cxn ang="0">
                    <a:pos x="7" y="10"/>
                  </a:cxn>
                  <a:cxn ang="0">
                    <a:pos x="3" y="13"/>
                  </a:cxn>
                  <a:cxn ang="0">
                    <a:pos x="1" y="13"/>
                  </a:cxn>
                  <a:cxn ang="0">
                    <a:pos x="0" y="12"/>
                  </a:cxn>
                  <a:cxn ang="0">
                    <a:pos x="1" y="9"/>
                  </a:cxn>
                  <a:cxn ang="0">
                    <a:pos x="4" y="6"/>
                  </a:cxn>
                  <a:cxn ang="0">
                    <a:pos x="4" y="5"/>
                  </a:cxn>
                </a:cxnLst>
                <a:rect l="0" t="0" r="r" b="b"/>
                <a:pathLst>
                  <a:path w="10" h="13">
                    <a:moveTo>
                      <a:pt x="4" y="5"/>
                    </a:moveTo>
                    <a:lnTo>
                      <a:pt x="6" y="5"/>
                    </a:lnTo>
                    <a:lnTo>
                      <a:pt x="6" y="0"/>
                    </a:lnTo>
                    <a:lnTo>
                      <a:pt x="7" y="0"/>
                    </a:lnTo>
                    <a:lnTo>
                      <a:pt x="10" y="2"/>
                    </a:lnTo>
                    <a:lnTo>
                      <a:pt x="7" y="10"/>
                    </a:lnTo>
                    <a:lnTo>
                      <a:pt x="3" y="13"/>
                    </a:lnTo>
                    <a:lnTo>
                      <a:pt x="1" y="13"/>
                    </a:lnTo>
                    <a:lnTo>
                      <a:pt x="0" y="12"/>
                    </a:lnTo>
                    <a:lnTo>
                      <a:pt x="1" y="9"/>
                    </a:lnTo>
                    <a:lnTo>
                      <a:pt x="4" y="6"/>
                    </a:lnTo>
                    <a:lnTo>
                      <a:pt x="4" y="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18" name="Freeform 846"/>
              <p:cNvSpPr>
                <a:spLocks/>
              </p:cNvSpPr>
              <p:nvPr/>
            </p:nvSpPr>
            <p:spPr bwMode="auto">
              <a:xfrm>
                <a:off x="6320863" y="1834558"/>
                <a:ext cx="9656" cy="13184"/>
              </a:xfrm>
              <a:custGeom>
                <a:avLst/>
                <a:gdLst/>
                <a:ahLst/>
                <a:cxnLst>
                  <a:cxn ang="0">
                    <a:pos x="4" y="5"/>
                  </a:cxn>
                  <a:cxn ang="0">
                    <a:pos x="6" y="5"/>
                  </a:cxn>
                  <a:cxn ang="0">
                    <a:pos x="6" y="0"/>
                  </a:cxn>
                  <a:cxn ang="0">
                    <a:pos x="7" y="0"/>
                  </a:cxn>
                  <a:cxn ang="0">
                    <a:pos x="10" y="2"/>
                  </a:cxn>
                  <a:cxn ang="0">
                    <a:pos x="7" y="10"/>
                  </a:cxn>
                  <a:cxn ang="0">
                    <a:pos x="3" y="13"/>
                  </a:cxn>
                  <a:cxn ang="0">
                    <a:pos x="1" y="13"/>
                  </a:cxn>
                  <a:cxn ang="0">
                    <a:pos x="0" y="12"/>
                  </a:cxn>
                  <a:cxn ang="0">
                    <a:pos x="1" y="9"/>
                  </a:cxn>
                  <a:cxn ang="0">
                    <a:pos x="4" y="6"/>
                  </a:cxn>
                  <a:cxn ang="0">
                    <a:pos x="4" y="5"/>
                  </a:cxn>
                </a:cxnLst>
                <a:rect l="0" t="0" r="r" b="b"/>
                <a:pathLst>
                  <a:path w="10" h="13">
                    <a:moveTo>
                      <a:pt x="4" y="5"/>
                    </a:moveTo>
                    <a:lnTo>
                      <a:pt x="6" y="5"/>
                    </a:lnTo>
                    <a:lnTo>
                      <a:pt x="6" y="0"/>
                    </a:lnTo>
                    <a:lnTo>
                      <a:pt x="7" y="0"/>
                    </a:lnTo>
                    <a:lnTo>
                      <a:pt x="10" y="2"/>
                    </a:lnTo>
                    <a:lnTo>
                      <a:pt x="7" y="10"/>
                    </a:lnTo>
                    <a:lnTo>
                      <a:pt x="3" y="13"/>
                    </a:lnTo>
                    <a:lnTo>
                      <a:pt x="1" y="13"/>
                    </a:lnTo>
                    <a:lnTo>
                      <a:pt x="0" y="12"/>
                    </a:lnTo>
                    <a:lnTo>
                      <a:pt x="1" y="9"/>
                    </a:lnTo>
                    <a:lnTo>
                      <a:pt x="4" y="6"/>
                    </a:lnTo>
                    <a:lnTo>
                      <a:pt x="4" y="5"/>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19" name="Freeform 847"/>
              <p:cNvSpPr>
                <a:spLocks/>
              </p:cNvSpPr>
              <p:nvPr/>
            </p:nvSpPr>
            <p:spPr bwMode="auto">
              <a:xfrm>
                <a:off x="6310330" y="1892363"/>
                <a:ext cx="7901" cy="9128"/>
              </a:xfrm>
              <a:custGeom>
                <a:avLst/>
                <a:gdLst/>
                <a:ahLst/>
                <a:cxnLst>
                  <a:cxn ang="0">
                    <a:pos x="3" y="5"/>
                  </a:cxn>
                  <a:cxn ang="0">
                    <a:pos x="3" y="5"/>
                  </a:cxn>
                  <a:cxn ang="0">
                    <a:pos x="2" y="2"/>
                  </a:cxn>
                  <a:cxn ang="0">
                    <a:pos x="5" y="3"/>
                  </a:cxn>
                  <a:cxn ang="0">
                    <a:pos x="6" y="2"/>
                  </a:cxn>
                  <a:cxn ang="0">
                    <a:pos x="9" y="0"/>
                  </a:cxn>
                  <a:cxn ang="0">
                    <a:pos x="9" y="2"/>
                  </a:cxn>
                  <a:cxn ang="0">
                    <a:pos x="9" y="3"/>
                  </a:cxn>
                  <a:cxn ang="0">
                    <a:pos x="7" y="5"/>
                  </a:cxn>
                  <a:cxn ang="0">
                    <a:pos x="6" y="8"/>
                  </a:cxn>
                  <a:cxn ang="0">
                    <a:pos x="3" y="9"/>
                  </a:cxn>
                  <a:cxn ang="0">
                    <a:pos x="2" y="9"/>
                  </a:cxn>
                  <a:cxn ang="0">
                    <a:pos x="0" y="8"/>
                  </a:cxn>
                  <a:cxn ang="0">
                    <a:pos x="2" y="6"/>
                  </a:cxn>
                  <a:cxn ang="0">
                    <a:pos x="5" y="5"/>
                  </a:cxn>
                  <a:cxn ang="0">
                    <a:pos x="3" y="5"/>
                  </a:cxn>
                </a:cxnLst>
                <a:rect l="0" t="0" r="r" b="b"/>
                <a:pathLst>
                  <a:path w="9" h="9">
                    <a:moveTo>
                      <a:pt x="3" y="5"/>
                    </a:moveTo>
                    <a:lnTo>
                      <a:pt x="3" y="5"/>
                    </a:lnTo>
                    <a:lnTo>
                      <a:pt x="2" y="2"/>
                    </a:lnTo>
                    <a:lnTo>
                      <a:pt x="5" y="3"/>
                    </a:lnTo>
                    <a:lnTo>
                      <a:pt x="6" y="2"/>
                    </a:lnTo>
                    <a:lnTo>
                      <a:pt x="9" y="0"/>
                    </a:lnTo>
                    <a:lnTo>
                      <a:pt x="9" y="2"/>
                    </a:lnTo>
                    <a:lnTo>
                      <a:pt x="9" y="3"/>
                    </a:lnTo>
                    <a:lnTo>
                      <a:pt x="7" y="5"/>
                    </a:lnTo>
                    <a:lnTo>
                      <a:pt x="6" y="8"/>
                    </a:lnTo>
                    <a:lnTo>
                      <a:pt x="3" y="9"/>
                    </a:lnTo>
                    <a:lnTo>
                      <a:pt x="2" y="9"/>
                    </a:lnTo>
                    <a:lnTo>
                      <a:pt x="0" y="8"/>
                    </a:lnTo>
                    <a:lnTo>
                      <a:pt x="2" y="6"/>
                    </a:lnTo>
                    <a:lnTo>
                      <a:pt x="5" y="5"/>
                    </a:lnTo>
                    <a:lnTo>
                      <a:pt x="3" y="5"/>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20" name="Freeform 848"/>
              <p:cNvSpPr>
                <a:spLocks/>
              </p:cNvSpPr>
              <p:nvPr/>
            </p:nvSpPr>
            <p:spPr bwMode="auto">
              <a:xfrm>
                <a:off x="6310330" y="1892363"/>
                <a:ext cx="7901" cy="9128"/>
              </a:xfrm>
              <a:custGeom>
                <a:avLst/>
                <a:gdLst/>
                <a:ahLst/>
                <a:cxnLst>
                  <a:cxn ang="0">
                    <a:pos x="3" y="5"/>
                  </a:cxn>
                  <a:cxn ang="0">
                    <a:pos x="3" y="5"/>
                  </a:cxn>
                  <a:cxn ang="0">
                    <a:pos x="2" y="2"/>
                  </a:cxn>
                  <a:cxn ang="0">
                    <a:pos x="5" y="3"/>
                  </a:cxn>
                  <a:cxn ang="0">
                    <a:pos x="6" y="2"/>
                  </a:cxn>
                  <a:cxn ang="0">
                    <a:pos x="9" y="0"/>
                  </a:cxn>
                  <a:cxn ang="0">
                    <a:pos x="9" y="2"/>
                  </a:cxn>
                  <a:cxn ang="0">
                    <a:pos x="9" y="3"/>
                  </a:cxn>
                  <a:cxn ang="0">
                    <a:pos x="7" y="5"/>
                  </a:cxn>
                  <a:cxn ang="0">
                    <a:pos x="6" y="8"/>
                  </a:cxn>
                  <a:cxn ang="0">
                    <a:pos x="3" y="9"/>
                  </a:cxn>
                  <a:cxn ang="0">
                    <a:pos x="2" y="9"/>
                  </a:cxn>
                  <a:cxn ang="0">
                    <a:pos x="0" y="8"/>
                  </a:cxn>
                  <a:cxn ang="0">
                    <a:pos x="2" y="6"/>
                  </a:cxn>
                  <a:cxn ang="0">
                    <a:pos x="5" y="5"/>
                  </a:cxn>
                  <a:cxn ang="0">
                    <a:pos x="3" y="5"/>
                  </a:cxn>
                </a:cxnLst>
                <a:rect l="0" t="0" r="r" b="b"/>
                <a:pathLst>
                  <a:path w="9" h="9">
                    <a:moveTo>
                      <a:pt x="3" y="5"/>
                    </a:moveTo>
                    <a:lnTo>
                      <a:pt x="3" y="5"/>
                    </a:lnTo>
                    <a:lnTo>
                      <a:pt x="2" y="2"/>
                    </a:lnTo>
                    <a:lnTo>
                      <a:pt x="5" y="3"/>
                    </a:lnTo>
                    <a:lnTo>
                      <a:pt x="6" y="2"/>
                    </a:lnTo>
                    <a:lnTo>
                      <a:pt x="9" y="0"/>
                    </a:lnTo>
                    <a:lnTo>
                      <a:pt x="9" y="2"/>
                    </a:lnTo>
                    <a:lnTo>
                      <a:pt x="9" y="3"/>
                    </a:lnTo>
                    <a:lnTo>
                      <a:pt x="7" y="5"/>
                    </a:lnTo>
                    <a:lnTo>
                      <a:pt x="6" y="8"/>
                    </a:lnTo>
                    <a:lnTo>
                      <a:pt x="3" y="9"/>
                    </a:lnTo>
                    <a:lnTo>
                      <a:pt x="2" y="9"/>
                    </a:lnTo>
                    <a:lnTo>
                      <a:pt x="0" y="8"/>
                    </a:lnTo>
                    <a:lnTo>
                      <a:pt x="2" y="6"/>
                    </a:lnTo>
                    <a:lnTo>
                      <a:pt x="5" y="5"/>
                    </a:lnTo>
                    <a:lnTo>
                      <a:pt x="3" y="5"/>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21" name="Freeform 849"/>
              <p:cNvSpPr>
                <a:spLocks/>
              </p:cNvSpPr>
              <p:nvPr/>
            </p:nvSpPr>
            <p:spPr bwMode="auto">
              <a:xfrm>
                <a:off x="6338420" y="1824416"/>
                <a:ext cx="14923" cy="22311"/>
              </a:xfrm>
              <a:custGeom>
                <a:avLst/>
                <a:gdLst/>
                <a:ahLst/>
                <a:cxnLst>
                  <a:cxn ang="0">
                    <a:pos x="1" y="15"/>
                  </a:cxn>
                  <a:cxn ang="0">
                    <a:pos x="0" y="13"/>
                  </a:cxn>
                  <a:cxn ang="0">
                    <a:pos x="1" y="15"/>
                  </a:cxn>
                  <a:cxn ang="0">
                    <a:pos x="3" y="13"/>
                  </a:cxn>
                  <a:cxn ang="0">
                    <a:pos x="3" y="12"/>
                  </a:cxn>
                  <a:cxn ang="0">
                    <a:pos x="1" y="10"/>
                  </a:cxn>
                  <a:cxn ang="0">
                    <a:pos x="3" y="10"/>
                  </a:cxn>
                  <a:cxn ang="0">
                    <a:pos x="1" y="9"/>
                  </a:cxn>
                  <a:cxn ang="0">
                    <a:pos x="3" y="7"/>
                  </a:cxn>
                  <a:cxn ang="0">
                    <a:pos x="6" y="9"/>
                  </a:cxn>
                  <a:cxn ang="0">
                    <a:pos x="7" y="6"/>
                  </a:cxn>
                  <a:cxn ang="0">
                    <a:pos x="6" y="4"/>
                  </a:cxn>
                  <a:cxn ang="0">
                    <a:pos x="7" y="3"/>
                  </a:cxn>
                  <a:cxn ang="0">
                    <a:pos x="8" y="4"/>
                  </a:cxn>
                  <a:cxn ang="0">
                    <a:pos x="10" y="3"/>
                  </a:cxn>
                  <a:cxn ang="0">
                    <a:pos x="8" y="0"/>
                  </a:cxn>
                  <a:cxn ang="0">
                    <a:pos x="10" y="3"/>
                  </a:cxn>
                  <a:cxn ang="0">
                    <a:pos x="11" y="0"/>
                  </a:cxn>
                  <a:cxn ang="0">
                    <a:pos x="13" y="0"/>
                  </a:cxn>
                  <a:cxn ang="0">
                    <a:pos x="14" y="3"/>
                  </a:cxn>
                  <a:cxn ang="0">
                    <a:pos x="16" y="4"/>
                  </a:cxn>
                  <a:cxn ang="0">
                    <a:pos x="16" y="9"/>
                  </a:cxn>
                  <a:cxn ang="0">
                    <a:pos x="14" y="12"/>
                  </a:cxn>
                  <a:cxn ang="0">
                    <a:pos x="14" y="16"/>
                  </a:cxn>
                  <a:cxn ang="0">
                    <a:pos x="10" y="17"/>
                  </a:cxn>
                  <a:cxn ang="0">
                    <a:pos x="10" y="15"/>
                  </a:cxn>
                  <a:cxn ang="0">
                    <a:pos x="8" y="16"/>
                  </a:cxn>
                  <a:cxn ang="0">
                    <a:pos x="7" y="19"/>
                  </a:cxn>
                  <a:cxn ang="0">
                    <a:pos x="3" y="20"/>
                  </a:cxn>
                  <a:cxn ang="0">
                    <a:pos x="0" y="22"/>
                  </a:cxn>
                  <a:cxn ang="0">
                    <a:pos x="0" y="19"/>
                  </a:cxn>
                  <a:cxn ang="0">
                    <a:pos x="3" y="17"/>
                  </a:cxn>
                  <a:cxn ang="0">
                    <a:pos x="3" y="16"/>
                  </a:cxn>
                  <a:cxn ang="0">
                    <a:pos x="1" y="15"/>
                  </a:cxn>
                </a:cxnLst>
                <a:rect l="0" t="0" r="r" b="b"/>
                <a:pathLst>
                  <a:path w="16" h="22">
                    <a:moveTo>
                      <a:pt x="1" y="15"/>
                    </a:moveTo>
                    <a:lnTo>
                      <a:pt x="0" y="13"/>
                    </a:lnTo>
                    <a:lnTo>
                      <a:pt x="1" y="15"/>
                    </a:lnTo>
                    <a:lnTo>
                      <a:pt x="3" y="13"/>
                    </a:lnTo>
                    <a:lnTo>
                      <a:pt x="3" y="12"/>
                    </a:lnTo>
                    <a:lnTo>
                      <a:pt x="1" y="10"/>
                    </a:lnTo>
                    <a:lnTo>
                      <a:pt x="3" y="10"/>
                    </a:lnTo>
                    <a:lnTo>
                      <a:pt x="1" y="9"/>
                    </a:lnTo>
                    <a:lnTo>
                      <a:pt x="3" y="7"/>
                    </a:lnTo>
                    <a:lnTo>
                      <a:pt x="6" y="9"/>
                    </a:lnTo>
                    <a:lnTo>
                      <a:pt x="7" y="6"/>
                    </a:lnTo>
                    <a:lnTo>
                      <a:pt x="6" y="4"/>
                    </a:lnTo>
                    <a:lnTo>
                      <a:pt x="7" y="3"/>
                    </a:lnTo>
                    <a:lnTo>
                      <a:pt x="8" y="4"/>
                    </a:lnTo>
                    <a:lnTo>
                      <a:pt x="10" y="3"/>
                    </a:lnTo>
                    <a:lnTo>
                      <a:pt x="8" y="0"/>
                    </a:lnTo>
                    <a:lnTo>
                      <a:pt x="10" y="3"/>
                    </a:lnTo>
                    <a:lnTo>
                      <a:pt x="11" y="0"/>
                    </a:lnTo>
                    <a:lnTo>
                      <a:pt x="13" y="0"/>
                    </a:lnTo>
                    <a:lnTo>
                      <a:pt x="14" y="3"/>
                    </a:lnTo>
                    <a:lnTo>
                      <a:pt x="16" y="4"/>
                    </a:lnTo>
                    <a:lnTo>
                      <a:pt x="16" y="9"/>
                    </a:lnTo>
                    <a:lnTo>
                      <a:pt x="14" y="12"/>
                    </a:lnTo>
                    <a:lnTo>
                      <a:pt x="14" y="16"/>
                    </a:lnTo>
                    <a:lnTo>
                      <a:pt x="10" y="17"/>
                    </a:lnTo>
                    <a:lnTo>
                      <a:pt x="10" y="15"/>
                    </a:lnTo>
                    <a:lnTo>
                      <a:pt x="8" y="16"/>
                    </a:lnTo>
                    <a:lnTo>
                      <a:pt x="7" y="19"/>
                    </a:lnTo>
                    <a:lnTo>
                      <a:pt x="3" y="20"/>
                    </a:lnTo>
                    <a:lnTo>
                      <a:pt x="0" y="22"/>
                    </a:lnTo>
                    <a:lnTo>
                      <a:pt x="0" y="19"/>
                    </a:lnTo>
                    <a:lnTo>
                      <a:pt x="3" y="17"/>
                    </a:lnTo>
                    <a:lnTo>
                      <a:pt x="3" y="16"/>
                    </a:lnTo>
                    <a:lnTo>
                      <a:pt x="1" y="1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22" name="Freeform 851"/>
              <p:cNvSpPr>
                <a:spLocks/>
              </p:cNvSpPr>
              <p:nvPr/>
            </p:nvSpPr>
            <p:spPr bwMode="auto">
              <a:xfrm>
                <a:off x="6354219" y="1812247"/>
                <a:ext cx="12289" cy="13184"/>
              </a:xfrm>
              <a:custGeom>
                <a:avLst/>
                <a:gdLst/>
                <a:ahLst/>
                <a:cxnLst>
                  <a:cxn ang="0">
                    <a:pos x="3" y="6"/>
                  </a:cxn>
                  <a:cxn ang="0">
                    <a:pos x="6" y="6"/>
                  </a:cxn>
                  <a:cxn ang="0">
                    <a:pos x="7" y="6"/>
                  </a:cxn>
                  <a:cxn ang="0">
                    <a:pos x="7" y="3"/>
                  </a:cxn>
                  <a:cxn ang="0">
                    <a:pos x="9" y="5"/>
                  </a:cxn>
                  <a:cxn ang="0">
                    <a:pos x="9" y="5"/>
                  </a:cxn>
                  <a:cxn ang="0">
                    <a:pos x="10" y="2"/>
                  </a:cxn>
                  <a:cxn ang="0">
                    <a:pos x="10" y="0"/>
                  </a:cxn>
                  <a:cxn ang="0">
                    <a:pos x="13" y="2"/>
                  </a:cxn>
                  <a:cxn ang="0">
                    <a:pos x="13" y="3"/>
                  </a:cxn>
                  <a:cxn ang="0">
                    <a:pos x="12" y="8"/>
                  </a:cxn>
                  <a:cxn ang="0">
                    <a:pos x="12" y="11"/>
                  </a:cxn>
                  <a:cxn ang="0">
                    <a:pos x="5" y="13"/>
                  </a:cxn>
                  <a:cxn ang="0">
                    <a:pos x="0" y="12"/>
                  </a:cxn>
                  <a:cxn ang="0">
                    <a:pos x="0" y="11"/>
                  </a:cxn>
                  <a:cxn ang="0">
                    <a:pos x="3" y="11"/>
                  </a:cxn>
                  <a:cxn ang="0">
                    <a:pos x="3" y="9"/>
                  </a:cxn>
                  <a:cxn ang="0">
                    <a:pos x="3" y="6"/>
                  </a:cxn>
                </a:cxnLst>
                <a:rect l="0" t="0" r="r" b="b"/>
                <a:pathLst>
                  <a:path w="13" h="13">
                    <a:moveTo>
                      <a:pt x="3" y="6"/>
                    </a:moveTo>
                    <a:lnTo>
                      <a:pt x="6" y="6"/>
                    </a:lnTo>
                    <a:lnTo>
                      <a:pt x="7" y="6"/>
                    </a:lnTo>
                    <a:lnTo>
                      <a:pt x="7" y="3"/>
                    </a:lnTo>
                    <a:lnTo>
                      <a:pt x="9" y="5"/>
                    </a:lnTo>
                    <a:lnTo>
                      <a:pt x="9" y="5"/>
                    </a:lnTo>
                    <a:lnTo>
                      <a:pt x="10" y="2"/>
                    </a:lnTo>
                    <a:lnTo>
                      <a:pt x="10" y="0"/>
                    </a:lnTo>
                    <a:lnTo>
                      <a:pt x="13" y="2"/>
                    </a:lnTo>
                    <a:lnTo>
                      <a:pt x="13" y="3"/>
                    </a:lnTo>
                    <a:lnTo>
                      <a:pt x="12" y="8"/>
                    </a:lnTo>
                    <a:lnTo>
                      <a:pt x="12" y="11"/>
                    </a:lnTo>
                    <a:lnTo>
                      <a:pt x="5" y="13"/>
                    </a:lnTo>
                    <a:lnTo>
                      <a:pt x="0" y="12"/>
                    </a:lnTo>
                    <a:lnTo>
                      <a:pt x="0" y="11"/>
                    </a:lnTo>
                    <a:lnTo>
                      <a:pt x="3" y="11"/>
                    </a:lnTo>
                    <a:lnTo>
                      <a:pt x="3" y="9"/>
                    </a:lnTo>
                    <a:lnTo>
                      <a:pt x="3" y="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23" name="Freeform 852"/>
              <p:cNvSpPr>
                <a:spLocks/>
              </p:cNvSpPr>
              <p:nvPr/>
            </p:nvSpPr>
            <p:spPr bwMode="auto">
              <a:xfrm>
                <a:off x="6354219" y="1812247"/>
                <a:ext cx="12289" cy="13184"/>
              </a:xfrm>
              <a:custGeom>
                <a:avLst/>
                <a:gdLst/>
                <a:ahLst/>
                <a:cxnLst>
                  <a:cxn ang="0">
                    <a:pos x="3" y="6"/>
                  </a:cxn>
                  <a:cxn ang="0">
                    <a:pos x="6" y="6"/>
                  </a:cxn>
                  <a:cxn ang="0">
                    <a:pos x="7" y="6"/>
                  </a:cxn>
                  <a:cxn ang="0">
                    <a:pos x="7" y="3"/>
                  </a:cxn>
                  <a:cxn ang="0">
                    <a:pos x="9" y="5"/>
                  </a:cxn>
                  <a:cxn ang="0">
                    <a:pos x="9" y="5"/>
                  </a:cxn>
                  <a:cxn ang="0">
                    <a:pos x="10" y="2"/>
                  </a:cxn>
                  <a:cxn ang="0">
                    <a:pos x="10" y="0"/>
                  </a:cxn>
                  <a:cxn ang="0">
                    <a:pos x="13" y="2"/>
                  </a:cxn>
                  <a:cxn ang="0">
                    <a:pos x="13" y="3"/>
                  </a:cxn>
                  <a:cxn ang="0">
                    <a:pos x="12" y="8"/>
                  </a:cxn>
                  <a:cxn ang="0">
                    <a:pos x="12" y="11"/>
                  </a:cxn>
                  <a:cxn ang="0">
                    <a:pos x="5" y="13"/>
                  </a:cxn>
                  <a:cxn ang="0">
                    <a:pos x="0" y="12"/>
                  </a:cxn>
                  <a:cxn ang="0">
                    <a:pos x="0" y="11"/>
                  </a:cxn>
                  <a:cxn ang="0">
                    <a:pos x="3" y="11"/>
                  </a:cxn>
                  <a:cxn ang="0">
                    <a:pos x="3" y="9"/>
                  </a:cxn>
                  <a:cxn ang="0">
                    <a:pos x="3" y="6"/>
                  </a:cxn>
                </a:cxnLst>
                <a:rect l="0" t="0" r="r" b="b"/>
                <a:pathLst>
                  <a:path w="13" h="13">
                    <a:moveTo>
                      <a:pt x="3" y="6"/>
                    </a:moveTo>
                    <a:lnTo>
                      <a:pt x="6" y="6"/>
                    </a:lnTo>
                    <a:lnTo>
                      <a:pt x="7" y="6"/>
                    </a:lnTo>
                    <a:lnTo>
                      <a:pt x="7" y="3"/>
                    </a:lnTo>
                    <a:lnTo>
                      <a:pt x="9" y="5"/>
                    </a:lnTo>
                    <a:lnTo>
                      <a:pt x="9" y="5"/>
                    </a:lnTo>
                    <a:lnTo>
                      <a:pt x="10" y="2"/>
                    </a:lnTo>
                    <a:lnTo>
                      <a:pt x="10" y="0"/>
                    </a:lnTo>
                    <a:lnTo>
                      <a:pt x="13" y="2"/>
                    </a:lnTo>
                    <a:lnTo>
                      <a:pt x="13" y="3"/>
                    </a:lnTo>
                    <a:lnTo>
                      <a:pt x="12" y="8"/>
                    </a:lnTo>
                    <a:lnTo>
                      <a:pt x="12" y="11"/>
                    </a:lnTo>
                    <a:lnTo>
                      <a:pt x="5" y="13"/>
                    </a:lnTo>
                    <a:lnTo>
                      <a:pt x="0" y="12"/>
                    </a:lnTo>
                    <a:lnTo>
                      <a:pt x="0" y="11"/>
                    </a:lnTo>
                    <a:lnTo>
                      <a:pt x="3" y="11"/>
                    </a:lnTo>
                    <a:lnTo>
                      <a:pt x="3" y="9"/>
                    </a:lnTo>
                    <a:lnTo>
                      <a:pt x="3" y="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24" name="Freeform 853"/>
              <p:cNvSpPr>
                <a:spLocks/>
              </p:cNvSpPr>
              <p:nvPr/>
            </p:nvSpPr>
            <p:spPr bwMode="auto">
              <a:xfrm>
                <a:off x="6362120" y="1801091"/>
                <a:ext cx="12289" cy="13184"/>
              </a:xfrm>
              <a:custGeom>
                <a:avLst/>
                <a:gdLst/>
                <a:ahLst/>
                <a:cxnLst>
                  <a:cxn ang="0">
                    <a:pos x="3" y="3"/>
                  </a:cxn>
                  <a:cxn ang="0">
                    <a:pos x="1" y="5"/>
                  </a:cxn>
                  <a:cxn ang="0">
                    <a:pos x="1" y="5"/>
                  </a:cxn>
                  <a:cxn ang="0">
                    <a:pos x="0" y="2"/>
                  </a:cxn>
                  <a:cxn ang="0">
                    <a:pos x="1" y="0"/>
                  </a:cxn>
                  <a:cxn ang="0">
                    <a:pos x="3" y="2"/>
                  </a:cxn>
                  <a:cxn ang="0">
                    <a:pos x="6" y="2"/>
                  </a:cxn>
                  <a:cxn ang="0">
                    <a:pos x="7" y="2"/>
                  </a:cxn>
                  <a:cxn ang="0">
                    <a:pos x="7" y="3"/>
                  </a:cxn>
                  <a:cxn ang="0">
                    <a:pos x="7" y="6"/>
                  </a:cxn>
                  <a:cxn ang="0">
                    <a:pos x="7" y="6"/>
                  </a:cxn>
                  <a:cxn ang="0">
                    <a:pos x="9" y="5"/>
                  </a:cxn>
                  <a:cxn ang="0">
                    <a:pos x="10" y="5"/>
                  </a:cxn>
                  <a:cxn ang="0">
                    <a:pos x="13" y="5"/>
                  </a:cxn>
                  <a:cxn ang="0">
                    <a:pos x="10" y="12"/>
                  </a:cxn>
                  <a:cxn ang="0">
                    <a:pos x="9" y="12"/>
                  </a:cxn>
                  <a:cxn ang="0">
                    <a:pos x="3" y="9"/>
                  </a:cxn>
                  <a:cxn ang="0">
                    <a:pos x="1" y="6"/>
                  </a:cxn>
                  <a:cxn ang="0">
                    <a:pos x="3" y="7"/>
                  </a:cxn>
                  <a:cxn ang="0">
                    <a:pos x="4" y="3"/>
                  </a:cxn>
                  <a:cxn ang="0">
                    <a:pos x="3" y="3"/>
                  </a:cxn>
                </a:cxnLst>
                <a:rect l="0" t="0" r="r" b="b"/>
                <a:pathLst>
                  <a:path w="13" h="12">
                    <a:moveTo>
                      <a:pt x="3" y="3"/>
                    </a:moveTo>
                    <a:lnTo>
                      <a:pt x="1" y="5"/>
                    </a:lnTo>
                    <a:lnTo>
                      <a:pt x="1" y="5"/>
                    </a:lnTo>
                    <a:lnTo>
                      <a:pt x="0" y="2"/>
                    </a:lnTo>
                    <a:lnTo>
                      <a:pt x="1" y="0"/>
                    </a:lnTo>
                    <a:lnTo>
                      <a:pt x="3" y="2"/>
                    </a:lnTo>
                    <a:lnTo>
                      <a:pt x="6" y="2"/>
                    </a:lnTo>
                    <a:lnTo>
                      <a:pt x="7" y="2"/>
                    </a:lnTo>
                    <a:lnTo>
                      <a:pt x="7" y="3"/>
                    </a:lnTo>
                    <a:lnTo>
                      <a:pt x="7" y="6"/>
                    </a:lnTo>
                    <a:lnTo>
                      <a:pt x="7" y="6"/>
                    </a:lnTo>
                    <a:lnTo>
                      <a:pt x="9" y="5"/>
                    </a:lnTo>
                    <a:lnTo>
                      <a:pt x="10" y="5"/>
                    </a:lnTo>
                    <a:lnTo>
                      <a:pt x="13" y="5"/>
                    </a:lnTo>
                    <a:lnTo>
                      <a:pt x="10" y="12"/>
                    </a:lnTo>
                    <a:lnTo>
                      <a:pt x="9" y="12"/>
                    </a:lnTo>
                    <a:lnTo>
                      <a:pt x="3" y="9"/>
                    </a:lnTo>
                    <a:lnTo>
                      <a:pt x="1" y="6"/>
                    </a:lnTo>
                    <a:lnTo>
                      <a:pt x="3" y="7"/>
                    </a:lnTo>
                    <a:lnTo>
                      <a:pt x="4" y="3"/>
                    </a:lnTo>
                    <a:lnTo>
                      <a:pt x="3"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25" name="Freeform 854"/>
              <p:cNvSpPr>
                <a:spLocks/>
              </p:cNvSpPr>
              <p:nvPr/>
            </p:nvSpPr>
            <p:spPr bwMode="auto">
              <a:xfrm>
                <a:off x="6362120" y="1801091"/>
                <a:ext cx="12289" cy="13184"/>
              </a:xfrm>
              <a:custGeom>
                <a:avLst/>
                <a:gdLst/>
                <a:ahLst/>
                <a:cxnLst>
                  <a:cxn ang="0">
                    <a:pos x="3" y="3"/>
                  </a:cxn>
                  <a:cxn ang="0">
                    <a:pos x="1" y="5"/>
                  </a:cxn>
                  <a:cxn ang="0">
                    <a:pos x="1" y="5"/>
                  </a:cxn>
                  <a:cxn ang="0">
                    <a:pos x="0" y="2"/>
                  </a:cxn>
                  <a:cxn ang="0">
                    <a:pos x="1" y="0"/>
                  </a:cxn>
                  <a:cxn ang="0">
                    <a:pos x="3" y="2"/>
                  </a:cxn>
                  <a:cxn ang="0">
                    <a:pos x="6" y="2"/>
                  </a:cxn>
                  <a:cxn ang="0">
                    <a:pos x="7" y="2"/>
                  </a:cxn>
                  <a:cxn ang="0">
                    <a:pos x="7" y="3"/>
                  </a:cxn>
                  <a:cxn ang="0">
                    <a:pos x="7" y="6"/>
                  </a:cxn>
                  <a:cxn ang="0">
                    <a:pos x="7" y="6"/>
                  </a:cxn>
                  <a:cxn ang="0">
                    <a:pos x="9" y="5"/>
                  </a:cxn>
                  <a:cxn ang="0">
                    <a:pos x="10" y="5"/>
                  </a:cxn>
                  <a:cxn ang="0">
                    <a:pos x="13" y="5"/>
                  </a:cxn>
                  <a:cxn ang="0">
                    <a:pos x="10" y="12"/>
                  </a:cxn>
                  <a:cxn ang="0">
                    <a:pos x="9" y="12"/>
                  </a:cxn>
                  <a:cxn ang="0">
                    <a:pos x="3" y="9"/>
                  </a:cxn>
                  <a:cxn ang="0">
                    <a:pos x="1" y="6"/>
                  </a:cxn>
                  <a:cxn ang="0">
                    <a:pos x="3" y="7"/>
                  </a:cxn>
                  <a:cxn ang="0">
                    <a:pos x="4" y="3"/>
                  </a:cxn>
                  <a:cxn ang="0">
                    <a:pos x="3" y="3"/>
                  </a:cxn>
                </a:cxnLst>
                <a:rect l="0" t="0" r="r" b="b"/>
                <a:pathLst>
                  <a:path w="13" h="12">
                    <a:moveTo>
                      <a:pt x="3" y="3"/>
                    </a:moveTo>
                    <a:lnTo>
                      <a:pt x="1" y="5"/>
                    </a:lnTo>
                    <a:lnTo>
                      <a:pt x="1" y="5"/>
                    </a:lnTo>
                    <a:lnTo>
                      <a:pt x="0" y="2"/>
                    </a:lnTo>
                    <a:lnTo>
                      <a:pt x="1" y="0"/>
                    </a:lnTo>
                    <a:lnTo>
                      <a:pt x="3" y="2"/>
                    </a:lnTo>
                    <a:lnTo>
                      <a:pt x="6" y="2"/>
                    </a:lnTo>
                    <a:lnTo>
                      <a:pt x="7" y="2"/>
                    </a:lnTo>
                    <a:lnTo>
                      <a:pt x="7" y="3"/>
                    </a:lnTo>
                    <a:lnTo>
                      <a:pt x="7" y="6"/>
                    </a:lnTo>
                    <a:lnTo>
                      <a:pt x="7" y="6"/>
                    </a:lnTo>
                    <a:lnTo>
                      <a:pt x="9" y="5"/>
                    </a:lnTo>
                    <a:lnTo>
                      <a:pt x="10" y="5"/>
                    </a:lnTo>
                    <a:lnTo>
                      <a:pt x="13" y="5"/>
                    </a:lnTo>
                    <a:lnTo>
                      <a:pt x="10" y="12"/>
                    </a:lnTo>
                    <a:lnTo>
                      <a:pt x="9" y="12"/>
                    </a:lnTo>
                    <a:lnTo>
                      <a:pt x="3" y="9"/>
                    </a:lnTo>
                    <a:lnTo>
                      <a:pt x="1" y="6"/>
                    </a:lnTo>
                    <a:lnTo>
                      <a:pt x="3" y="7"/>
                    </a:lnTo>
                    <a:lnTo>
                      <a:pt x="4" y="3"/>
                    </a:lnTo>
                    <a:lnTo>
                      <a:pt x="3"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26" name="Freeform 855"/>
              <p:cNvSpPr>
                <a:spLocks/>
              </p:cNvSpPr>
              <p:nvPr/>
            </p:nvSpPr>
            <p:spPr bwMode="auto">
              <a:xfrm>
                <a:off x="6374409" y="1795006"/>
                <a:ext cx="6144" cy="9128"/>
              </a:xfrm>
              <a:custGeom>
                <a:avLst/>
                <a:gdLst/>
                <a:ahLst/>
                <a:cxnLst>
                  <a:cxn ang="0">
                    <a:pos x="3" y="3"/>
                  </a:cxn>
                  <a:cxn ang="0">
                    <a:pos x="4" y="3"/>
                  </a:cxn>
                  <a:cxn ang="0">
                    <a:pos x="4" y="5"/>
                  </a:cxn>
                  <a:cxn ang="0">
                    <a:pos x="6" y="5"/>
                  </a:cxn>
                  <a:cxn ang="0">
                    <a:pos x="7" y="8"/>
                  </a:cxn>
                  <a:cxn ang="0">
                    <a:pos x="6" y="9"/>
                  </a:cxn>
                  <a:cxn ang="0">
                    <a:pos x="1" y="8"/>
                  </a:cxn>
                  <a:cxn ang="0">
                    <a:pos x="0" y="0"/>
                  </a:cxn>
                  <a:cxn ang="0">
                    <a:pos x="0" y="0"/>
                  </a:cxn>
                  <a:cxn ang="0">
                    <a:pos x="1" y="0"/>
                  </a:cxn>
                  <a:cxn ang="0">
                    <a:pos x="3" y="5"/>
                  </a:cxn>
                  <a:cxn ang="0">
                    <a:pos x="3" y="3"/>
                  </a:cxn>
                </a:cxnLst>
                <a:rect l="0" t="0" r="r" b="b"/>
                <a:pathLst>
                  <a:path w="7" h="9">
                    <a:moveTo>
                      <a:pt x="3" y="3"/>
                    </a:moveTo>
                    <a:lnTo>
                      <a:pt x="4" y="3"/>
                    </a:lnTo>
                    <a:lnTo>
                      <a:pt x="4" y="5"/>
                    </a:lnTo>
                    <a:lnTo>
                      <a:pt x="6" y="5"/>
                    </a:lnTo>
                    <a:lnTo>
                      <a:pt x="7" y="8"/>
                    </a:lnTo>
                    <a:lnTo>
                      <a:pt x="6" y="9"/>
                    </a:lnTo>
                    <a:lnTo>
                      <a:pt x="1" y="8"/>
                    </a:lnTo>
                    <a:lnTo>
                      <a:pt x="0" y="0"/>
                    </a:lnTo>
                    <a:lnTo>
                      <a:pt x="0" y="0"/>
                    </a:lnTo>
                    <a:lnTo>
                      <a:pt x="1" y="0"/>
                    </a:lnTo>
                    <a:lnTo>
                      <a:pt x="3" y="5"/>
                    </a:lnTo>
                    <a:lnTo>
                      <a:pt x="3"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27" name="Freeform 856"/>
              <p:cNvSpPr>
                <a:spLocks/>
              </p:cNvSpPr>
              <p:nvPr/>
            </p:nvSpPr>
            <p:spPr bwMode="auto">
              <a:xfrm>
                <a:off x="6374409" y="1795006"/>
                <a:ext cx="6144" cy="9128"/>
              </a:xfrm>
              <a:custGeom>
                <a:avLst/>
                <a:gdLst/>
                <a:ahLst/>
                <a:cxnLst>
                  <a:cxn ang="0">
                    <a:pos x="3" y="3"/>
                  </a:cxn>
                  <a:cxn ang="0">
                    <a:pos x="4" y="3"/>
                  </a:cxn>
                  <a:cxn ang="0">
                    <a:pos x="4" y="5"/>
                  </a:cxn>
                  <a:cxn ang="0">
                    <a:pos x="6" y="5"/>
                  </a:cxn>
                  <a:cxn ang="0">
                    <a:pos x="7" y="8"/>
                  </a:cxn>
                  <a:cxn ang="0">
                    <a:pos x="6" y="9"/>
                  </a:cxn>
                  <a:cxn ang="0">
                    <a:pos x="1" y="8"/>
                  </a:cxn>
                  <a:cxn ang="0">
                    <a:pos x="0" y="0"/>
                  </a:cxn>
                  <a:cxn ang="0">
                    <a:pos x="0" y="0"/>
                  </a:cxn>
                  <a:cxn ang="0">
                    <a:pos x="1" y="0"/>
                  </a:cxn>
                  <a:cxn ang="0">
                    <a:pos x="3" y="5"/>
                  </a:cxn>
                  <a:cxn ang="0">
                    <a:pos x="3" y="3"/>
                  </a:cxn>
                </a:cxnLst>
                <a:rect l="0" t="0" r="r" b="b"/>
                <a:pathLst>
                  <a:path w="7" h="9">
                    <a:moveTo>
                      <a:pt x="3" y="3"/>
                    </a:moveTo>
                    <a:lnTo>
                      <a:pt x="4" y="3"/>
                    </a:lnTo>
                    <a:lnTo>
                      <a:pt x="4" y="5"/>
                    </a:lnTo>
                    <a:lnTo>
                      <a:pt x="6" y="5"/>
                    </a:lnTo>
                    <a:lnTo>
                      <a:pt x="7" y="8"/>
                    </a:lnTo>
                    <a:lnTo>
                      <a:pt x="6" y="9"/>
                    </a:lnTo>
                    <a:lnTo>
                      <a:pt x="1" y="8"/>
                    </a:lnTo>
                    <a:lnTo>
                      <a:pt x="0" y="0"/>
                    </a:lnTo>
                    <a:lnTo>
                      <a:pt x="0" y="0"/>
                    </a:lnTo>
                    <a:lnTo>
                      <a:pt x="1" y="0"/>
                    </a:lnTo>
                    <a:lnTo>
                      <a:pt x="3" y="5"/>
                    </a:lnTo>
                    <a:lnTo>
                      <a:pt x="3"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28" name="Freeform 857"/>
              <p:cNvSpPr>
                <a:spLocks/>
              </p:cNvSpPr>
              <p:nvPr/>
            </p:nvSpPr>
            <p:spPr bwMode="auto">
              <a:xfrm>
                <a:off x="6386698" y="1795006"/>
                <a:ext cx="3511" cy="9128"/>
              </a:xfrm>
              <a:custGeom>
                <a:avLst/>
                <a:gdLst/>
                <a:ahLst/>
                <a:cxnLst>
                  <a:cxn ang="0">
                    <a:pos x="3" y="2"/>
                  </a:cxn>
                  <a:cxn ang="0">
                    <a:pos x="3" y="0"/>
                  </a:cxn>
                  <a:cxn ang="0">
                    <a:pos x="4" y="3"/>
                  </a:cxn>
                  <a:cxn ang="0">
                    <a:pos x="4" y="8"/>
                  </a:cxn>
                  <a:cxn ang="0">
                    <a:pos x="3" y="9"/>
                  </a:cxn>
                  <a:cxn ang="0">
                    <a:pos x="1" y="9"/>
                  </a:cxn>
                  <a:cxn ang="0">
                    <a:pos x="1" y="6"/>
                  </a:cxn>
                  <a:cxn ang="0">
                    <a:pos x="1" y="8"/>
                  </a:cxn>
                  <a:cxn ang="0">
                    <a:pos x="0" y="6"/>
                  </a:cxn>
                  <a:cxn ang="0">
                    <a:pos x="0" y="3"/>
                  </a:cxn>
                  <a:cxn ang="0">
                    <a:pos x="0" y="2"/>
                  </a:cxn>
                  <a:cxn ang="0">
                    <a:pos x="3" y="2"/>
                  </a:cxn>
                </a:cxnLst>
                <a:rect l="0" t="0" r="r" b="b"/>
                <a:pathLst>
                  <a:path w="4" h="9">
                    <a:moveTo>
                      <a:pt x="3" y="2"/>
                    </a:moveTo>
                    <a:lnTo>
                      <a:pt x="3" y="0"/>
                    </a:lnTo>
                    <a:lnTo>
                      <a:pt x="4" y="3"/>
                    </a:lnTo>
                    <a:lnTo>
                      <a:pt x="4" y="8"/>
                    </a:lnTo>
                    <a:lnTo>
                      <a:pt x="3" y="9"/>
                    </a:lnTo>
                    <a:lnTo>
                      <a:pt x="1" y="9"/>
                    </a:lnTo>
                    <a:lnTo>
                      <a:pt x="1" y="6"/>
                    </a:lnTo>
                    <a:lnTo>
                      <a:pt x="1" y="8"/>
                    </a:lnTo>
                    <a:lnTo>
                      <a:pt x="0" y="6"/>
                    </a:lnTo>
                    <a:lnTo>
                      <a:pt x="0" y="3"/>
                    </a:lnTo>
                    <a:lnTo>
                      <a:pt x="0" y="2"/>
                    </a:lnTo>
                    <a:lnTo>
                      <a:pt x="3"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29" name="Freeform 858"/>
              <p:cNvSpPr>
                <a:spLocks/>
              </p:cNvSpPr>
              <p:nvPr/>
            </p:nvSpPr>
            <p:spPr bwMode="auto">
              <a:xfrm>
                <a:off x="6386698" y="1795006"/>
                <a:ext cx="3511" cy="9128"/>
              </a:xfrm>
              <a:custGeom>
                <a:avLst/>
                <a:gdLst/>
                <a:ahLst/>
                <a:cxnLst>
                  <a:cxn ang="0">
                    <a:pos x="3" y="2"/>
                  </a:cxn>
                  <a:cxn ang="0">
                    <a:pos x="3" y="0"/>
                  </a:cxn>
                  <a:cxn ang="0">
                    <a:pos x="4" y="3"/>
                  </a:cxn>
                  <a:cxn ang="0">
                    <a:pos x="4" y="8"/>
                  </a:cxn>
                  <a:cxn ang="0">
                    <a:pos x="3" y="9"/>
                  </a:cxn>
                  <a:cxn ang="0">
                    <a:pos x="1" y="9"/>
                  </a:cxn>
                  <a:cxn ang="0">
                    <a:pos x="1" y="6"/>
                  </a:cxn>
                  <a:cxn ang="0">
                    <a:pos x="1" y="8"/>
                  </a:cxn>
                  <a:cxn ang="0">
                    <a:pos x="0" y="6"/>
                  </a:cxn>
                  <a:cxn ang="0">
                    <a:pos x="0" y="3"/>
                  </a:cxn>
                  <a:cxn ang="0">
                    <a:pos x="0" y="2"/>
                  </a:cxn>
                  <a:cxn ang="0">
                    <a:pos x="3" y="2"/>
                  </a:cxn>
                </a:cxnLst>
                <a:rect l="0" t="0" r="r" b="b"/>
                <a:pathLst>
                  <a:path w="4" h="9">
                    <a:moveTo>
                      <a:pt x="3" y="2"/>
                    </a:moveTo>
                    <a:lnTo>
                      <a:pt x="3" y="0"/>
                    </a:lnTo>
                    <a:lnTo>
                      <a:pt x="4" y="3"/>
                    </a:lnTo>
                    <a:lnTo>
                      <a:pt x="4" y="8"/>
                    </a:lnTo>
                    <a:lnTo>
                      <a:pt x="3" y="9"/>
                    </a:lnTo>
                    <a:lnTo>
                      <a:pt x="1" y="9"/>
                    </a:lnTo>
                    <a:lnTo>
                      <a:pt x="1" y="6"/>
                    </a:lnTo>
                    <a:lnTo>
                      <a:pt x="1" y="8"/>
                    </a:lnTo>
                    <a:lnTo>
                      <a:pt x="0" y="6"/>
                    </a:lnTo>
                    <a:lnTo>
                      <a:pt x="0" y="3"/>
                    </a:lnTo>
                    <a:lnTo>
                      <a:pt x="0" y="2"/>
                    </a:lnTo>
                    <a:lnTo>
                      <a:pt x="3"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30" name="Freeform 859"/>
              <p:cNvSpPr>
                <a:spLocks/>
              </p:cNvSpPr>
              <p:nvPr/>
            </p:nvSpPr>
            <p:spPr bwMode="auto">
              <a:xfrm>
                <a:off x="6412154" y="1789936"/>
                <a:ext cx="6145" cy="5071"/>
              </a:xfrm>
              <a:custGeom>
                <a:avLst/>
                <a:gdLst/>
                <a:ahLst/>
                <a:cxnLst>
                  <a:cxn ang="0">
                    <a:pos x="4" y="5"/>
                  </a:cxn>
                  <a:cxn ang="0">
                    <a:pos x="0" y="2"/>
                  </a:cxn>
                  <a:cxn ang="0">
                    <a:pos x="0" y="1"/>
                  </a:cxn>
                  <a:cxn ang="0">
                    <a:pos x="1" y="0"/>
                  </a:cxn>
                  <a:cxn ang="0">
                    <a:pos x="5" y="1"/>
                  </a:cxn>
                  <a:cxn ang="0">
                    <a:pos x="7" y="2"/>
                  </a:cxn>
                  <a:cxn ang="0">
                    <a:pos x="7" y="5"/>
                  </a:cxn>
                  <a:cxn ang="0">
                    <a:pos x="4" y="5"/>
                  </a:cxn>
                </a:cxnLst>
                <a:rect l="0" t="0" r="r" b="b"/>
                <a:pathLst>
                  <a:path w="7" h="5">
                    <a:moveTo>
                      <a:pt x="4" y="5"/>
                    </a:moveTo>
                    <a:lnTo>
                      <a:pt x="0" y="2"/>
                    </a:lnTo>
                    <a:lnTo>
                      <a:pt x="0" y="1"/>
                    </a:lnTo>
                    <a:lnTo>
                      <a:pt x="1" y="0"/>
                    </a:lnTo>
                    <a:lnTo>
                      <a:pt x="5" y="1"/>
                    </a:lnTo>
                    <a:lnTo>
                      <a:pt x="7" y="2"/>
                    </a:lnTo>
                    <a:lnTo>
                      <a:pt x="7" y="5"/>
                    </a:lnTo>
                    <a:lnTo>
                      <a:pt x="4" y="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31" name="Freeform 860"/>
              <p:cNvSpPr>
                <a:spLocks/>
              </p:cNvSpPr>
              <p:nvPr/>
            </p:nvSpPr>
            <p:spPr bwMode="auto">
              <a:xfrm>
                <a:off x="6412154" y="1789936"/>
                <a:ext cx="6145" cy="5071"/>
              </a:xfrm>
              <a:custGeom>
                <a:avLst/>
                <a:gdLst/>
                <a:ahLst/>
                <a:cxnLst>
                  <a:cxn ang="0">
                    <a:pos x="4" y="5"/>
                  </a:cxn>
                  <a:cxn ang="0">
                    <a:pos x="0" y="2"/>
                  </a:cxn>
                  <a:cxn ang="0">
                    <a:pos x="0" y="1"/>
                  </a:cxn>
                  <a:cxn ang="0">
                    <a:pos x="1" y="0"/>
                  </a:cxn>
                  <a:cxn ang="0">
                    <a:pos x="5" y="1"/>
                  </a:cxn>
                  <a:cxn ang="0">
                    <a:pos x="7" y="2"/>
                  </a:cxn>
                  <a:cxn ang="0">
                    <a:pos x="7" y="5"/>
                  </a:cxn>
                  <a:cxn ang="0">
                    <a:pos x="4" y="5"/>
                  </a:cxn>
                </a:cxnLst>
                <a:rect l="0" t="0" r="r" b="b"/>
                <a:pathLst>
                  <a:path w="7" h="5">
                    <a:moveTo>
                      <a:pt x="4" y="5"/>
                    </a:moveTo>
                    <a:lnTo>
                      <a:pt x="0" y="2"/>
                    </a:lnTo>
                    <a:lnTo>
                      <a:pt x="0" y="1"/>
                    </a:lnTo>
                    <a:lnTo>
                      <a:pt x="1" y="0"/>
                    </a:lnTo>
                    <a:lnTo>
                      <a:pt x="5" y="1"/>
                    </a:lnTo>
                    <a:lnTo>
                      <a:pt x="7" y="2"/>
                    </a:lnTo>
                    <a:lnTo>
                      <a:pt x="7" y="5"/>
                    </a:lnTo>
                    <a:lnTo>
                      <a:pt x="4" y="5"/>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32" name="Freeform 861"/>
              <p:cNvSpPr>
                <a:spLocks/>
              </p:cNvSpPr>
              <p:nvPr/>
            </p:nvSpPr>
            <p:spPr bwMode="auto">
              <a:xfrm>
                <a:off x="6406887" y="1774724"/>
                <a:ext cx="14045" cy="12170"/>
              </a:xfrm>
              <a:custGeom>
                <a:avLst/>
                <a:gdLst/>
                <a:ahLst/>
                <a:cxnLst>
                  <a:cxn ang="0">
                    <a:pos x="4" y="3"/>
                  </a:cxn>
                  <a:cxn ang="0">
                    <a:pos x="6" y="3"/>
                  </a:cxn>
                  <a:cxn ang="0">
                    <a:pos x="6" y="1"/>
                  </a:cxn>
                  <a:cxn ang="0">
                    <a:pos x="7" y="1"/>
                  </a:cxn>
                  <a:cxn ang="0">
                    <a:pos x="7" y="0"/>
                  </a:cxn>
                  <a:cxn ang="0">
                    <a:pos x="7" y="1"/>
                  </a:cxn>
                  <a:cxn ang="0">
                    <a:pos x="7" y="4"/>
                  </a:cxn>
                  <a:cxn ang="0">
                    <a:pos x="10" y="3"/>
                  </a:cxn>
                  <a:cxn ang="0">
                    <a:pos x="10" y="0"/>
                  </a:cxn>
                  <a:cxn ang="0">
                    <a:pos x="11" y="0"/>
                  </a:cxn>
                  <a:cxn ang="0">
                    <a:pos x="13" y="1"/>
                  </a:cxn>
                  <a:cxn ang="0">
                    <a:pos x="14" y="3"/>
                  </a:cxn>
                  <a:cxn ang="0">
                    <a:pos x="16" y="4"/>
                  </a:cxn>
                  <a:cxn ang="0">
                    <a:pos x="14" y="6"/>
                  </a:cxn>
                  <a:cxn ang="0">
                    <a:pos x="13" y="6"/>
                  </a:cxn>
                  <a:cxn ang="0">
                    <a:pos x="13" y="7"/>
                  </a:cxn>
                  <a:cxn ang="0">
                    <a:pos x="11" y="9"/>
                  </a:cxn>
                  <a:cxn ang="0">
                    <a:pos x="10" y="7"/>
                  </a:cxn>
                  <a:cxn ang="0">
                    <a:pos x="8" y="9"/>
                  </a:cxn>
                  <a:cxn ang="0">
                    <a:pos x="7" y="10"/>
                  </a:cxn>
                  <a:cxn ang="0">
                    <a:pos x="7" y="9"/>
                  </a:cxn>
                  <a:cxn ang="0">
                    <a:pos x="4" y="10"/>
                  </a:cxn>
                  <a:cxn ang="0">
                    <a:pos x="4" y="9"/>
                  </a:cxn>
                  <a:cxn ang="0">
                    <a:pos x="3" y="12"/>
                  </a:cxn>
                  <a:cxn ang="0">
                    <a:pos x="3" y="6"/>
                  </a:cxn>
                  <a:cxn ang="0">
                    <a:pos x="0" y="6"/>
                  </a:cxn>
                  <a:cxn ang="0">
                    <a:pos x="1" y="3"/>
                  </a:cxn>
                  <a:cxn ang="0">
                    <a:pos x="4" y="4"/>
                  </a:cxn>
                  <a:cxn ang="0">
                    <a:pos x="4" y="3"/>
                  </a:cxn>
                </a:cxnLst>
                <a:rect l="0" t="0" r="r" b="b"/>
                <a:pathLst>
                  <a:path w="16" h="12">
                    <a:moveTo>
                      <a:pt x="4" y="3"/>
                    </a:moveTo>
                    <a:lnTo>
                      <a:pt x="6" y="3"/>
                    </a:lnTo>
                    <a:lnTo>
                      <a:pt x="6" y="1"/>
                    </a:lnTo>
                    <a:lnTo>
                      <a:pt x="7" y="1"/>
                    </a:lnTo>
                    <a:lnTo>
                      <a:pt x="7" y="0"/>
                    </a:lnTo>
                    <a:lnTo>
                      <a:pt x="7" y="1"/>
                    </a:lnTo>
                    <a:lnTo>
                      <a:pt x="7" y="4"/>
                    </a:lnTo>
                    <a:lnTo>
                      <a:pt x="10" y="3"/>
                    </a:lnTo>
                    <a:lnTo>
                      <a:pt x="10" y="0"/>
                    </a:lnTo>
                    <a:lnTo>
                      <a:pt x="11" y="0"/>
                    </a:lnTo>
                    <a:lnTo>
                      <a:pt x="13" y="1"/>
                    </a:lnTo>
                    <a:lnTo>
                      <a:pt x="14" y="3"/>
                    </a:lnTo>
                    <a:lnTo>
                      <a:pt x="16" y="4"/>
                    </a:lnTo>
                    <a:lnTo>
                      <a:pt x="14" y="6"/>
                    </a:lnTo>
                    <a:lnTo>
                      <a:pt x="13" y="6"/>
                    </a:lnTo>
                    <a:lnTo>
                      <a:pt x="13" y="7"/>
                    </a:lnTo>
                    <a:lnTo>
                      <a:pt x="11" y="9"/>
                    </a:lnTo>
                    <a:lnTo>
                      <a:pt x="10" y="7"/>
                    </a:lnTo>
                    <a:lnTo>
                      <a:pt x="8" y="9"/>
                    </a:lnTo>
                    <a:lnTo>
                      <a:pt x="7" y="10"/>
                    </a:lnTo>
                    <a:lnTo>
                      <a:pt x="7" y="9"/>
                    </a:lnTo>
                    <a:lnTo>
                      <a:pt x="4" y="10"/>
                    </a:lnTo>
                    <a:lnTo>
                      <a:pt x="4" y="9"/>
                    </a:lnTo>
                    <a:lnTo>
                      <a:pt x="3" y="12"/>
                    </a:lnTo>
                    <a:lnTo>
                      <a:pt x="3" y="6"/>
                    </a:lnTo>
                    <a:lnTo>
                      <a:pt x="0" y="6"/>
                    </a:lnTo>
                    <a:lnTo>
                      <a:pt x="1" y="3"/>
                    </a:lnTo>
                    <a:lnTo>
                      <a:pt x="4" y="4"/>
                    </a:lnTo>
                    <a:lnTo>
                      <a:pt x="4"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33" name="Freeform 862"/>
              <p:cNvSpPr>
                <a:spLocks/>
              </p:cNvSpPr>
              <p:nvPr/>
            </p:nvSpPr>
            <p:spPr bwMode="auto">
              <a:xfrm>
                <a:off x="6406887" y="1774724"/>
                <a:ext cx="14045" cy="12170"/>
              </a:xfrm>
              <a:custGeom>
                <a:avLst/>
                <a:gdLst/>
                <a:ahLst/>
                <a:cxnLst>
                  <a:cxn ang="0">
                    <a:pos x="4" y="3"/>
                  </a:cxn>
                  <a:cxn ang="0">
                    <a:pos x="6" y="3"/>
                  </a:cxn>
                  <a:cxn ang="0">
                    <a:pos x="6" y="1"/>
                  </a:cxn>
                  <a:cxn ang="0">
                    <a:pos x="7" y="1"/>
                  </a:cxn>
                  <a:cxn ang="0">
                    <a:pos x="7" y="0"/>
                  </a:cxn>
                  <a:cxn ang="0">
                    <a:pos x="7" y="1"/>
                  </a:cxn>
                  <a:cxn ang="0">
                    <a:pos x="7" y="4"/>
                  </a:cxn>
                  <a:cxn ang="0">
                    <a:pos x="10" y="3"/>
                  </a:cxn>
                  <a:cxn ang="0">
                    <a:pos x="10" y="0"/>
                  </a:cxn>
                  <a:cxn ang="0">
                    <a:pos x="11" y="0"/>
                  </a:cxn>
                  <a:cxn ang="0">
                    <a:pos x="13" y="1"/>
                  </a:cxn>
                  <a:cxn ang="0">
                    <a:pos x="14" y="3"/>
                  </a:cxn>
                  <a:cxn ang="0">
                    <a:pos x="16" y="4"/>
                  </a:cxn>
                  <a:cxn ang="0">
                    <a:pos x="14" y="6"/>
                  </a:cxn>
                  <a:cxn ang="0">
                    <a:pos x="13" y="6"/>
                  </a:cxn>
                  <a:cxn ang="0">
                    <a:pos x="13" y="7"/>
                  </a:cxn>
                  <a:cxn ang="0">
                    <a:pos x="11" y="9"/>
                  </a:cxn>
                  <a:cxn ang="0">
                    <a:pos x="10" y="7"/>
                  </a:cxn>
                  <a:cxn ang="0">
                    <a:pos x="8" y="9"/>
                  </a:cxn>
                  <a:cxn ang="0">
                    <a:pos x="7" y="10"/>
                  </a:cxn>
                  <a:cxn ang="0">
                    <a:pos x="7" y="9"/>
                  </a:cxn>
                  <a:cxn ang="0">
                    <a:pos x="4" y="10"/>
                  </a:cxn>
                  <a:cxn ang="0">
                    <a:pos x="4" y="9"/>
                  </a:cxn>
                  <a:cxn ang="0">
                    <a:pos x="3" y="12"/>
                  </a:cxn>
                  <a:cxn ang="0">
                    <a:pos x="3" y="6"/>
                  </a:cxn>
                  <a:cxn ang="0">
                    <a:pos x="0" y="6"/>
                  </a:cxn>
                  <a:cxn ang="0">
                    <a:pos x="1" y="3"/>
                  </a:cxn>
                  <a:cxn ang="0">
                    <a:pos x="4" y="4"/>
                  </a:cxn>
                  <a:cxn ang="0">
                    <a:pos x="4" y="3"/>
                  </a:cxn>
                </a:cxnLst>
                <a:rect l="0" t="0" r="r" b="b"/>
                <a:pathLst>
                  <a:path w="16" h="12">
                    <a:moveTo>
                      <a:pt x="4" y="3"/>
                    </a:moveTo>
                    <a:lnTo>
                      <a:pt x="6" y="3"/>
                    </a:lnTo>
                    <a:lnTo>
                      <a:pt x="6" y="1"/>
                    </a:lnTo>
                    <a:lnTo>
                      <a:pt x="7" y="1"/>
                    </a:lnTo>
                    <a:lnTo>
                      <a:pt x="7" y="0"/>
                    </a:lnTo>
                    <a:lnTo>
                      <a:pt x="7" y="1"/>
                    </a:lnTo>
                    <a:lnTo>
                      <a:pt x="7" y="4"/>
                    </a:lnTo>
                    <a:lnTo>
                      <a:pt x="10" y="3"/>
                    </a:lnTo>
                    <a:lnTo>
                      <a:pt x="10" y="0"/>
                    </a:lnTo>
                    <a:lnTo>
                      <a:pt x="11" y="0"/>
                    </a:lnTo>
                    <a:lnTo>
                      <a:pt x="13" y="1"/>
                    </a:lnTo>
                    <a:lnTo>
                      <a:pt x="14" y="3"/>
                    </a:lnTo>
                    <a:lnTo>
                      <a:pt x="16" y="4"/>
                    </a:lnTo>
                    <a:lnTo>
                      <a:pt x="14" y="6"/>
                    </a:lnTo>
                    <a:lnTo>
                      <a:pt x="13" y="6"/>
                    </a:lnTo>
                    <a:lnTo>
                      <a:pt x="13" y="7"/>
                    </a:lnTo>
                    <a:lnTo>
                      <a:pt x="11" y="9"/>
                    </a:lnTo>
                    <a:lnTo>
                      <a:pt x="10" y="7"/>
                    </a:lnTo>
                    <a:lnTo>
                      <a:pt x="8" y="9"/>
                    </a:lnTo>
                    <a:lnTo>
                      <a:pt x="7" y="10"/>
                    </a:lnTo>
                    <a:lnTo>
                      <a:pt x="7" y="9"/>
                    </a:lnTo>
                    <a:lnTo>
                      <a:pt x="4" y="10"/>
                    </a:lnTo>
                    <a:lnTo>
                      <a:pt x="4" y="9"/>
                    </a:lnTo>
                    <a:lnTo>
                      <a:pt x="3" y="12"/>
                    </a:lnTo>
                    <a:lnTo>
                      <a:pt x="3" y="6"/>
                    </a:lnTo>
                    <a:lnTo>
                      <a:pt x="0" y="6"/>
                    </a:lnTo>
                    <a:lnTo>
                      <a:pt x="1" y="3"/>
                    </a:lnTo>
                    <a:lnTo>
                      <a:pt x="4" y="4"/>
                    </a:lnTo>
                    <a:lnTo>
                      <a:pt x="4"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34" name="Freeform 863"/>
              <p:cNvSpPr>
                <a:spLocks/>
              </p:cNvSpPr>
              <p:nvPr/>
            </p:nvSpPr>
            <p:spPr bwMode="auto">
              <a:xfrm>
                <a:off x="6418299" y="1780808"/>
                <a:ext cx="8778" cy="13184"/>
              </a:xfrm>
              <a:custGeom>
                <a:avLst/>
                <a:gdLst/>
                <a:ahLst/>
                <a:cxnLst>
                  <a:cxn ang="0">
                    <a:pos x="6" y="10"/>
                  </a:cxn>
                  <a:cxn ang="0">
                    <a:pos x="6" y="10"/>
                  </a:cxn>
                  <a:cxn ang="0">
                    <a:pos x="6" y="11"/>
                  </a:cxn>
                  <a:cxn ang="0">
                    <a:pos x="4" y="13"/>
                  </a:cxn>
                  <a:cxn ang="0">
                    <a:pos x="1" y="11"/>
                  </a:cxn>
                  <a:cxn ang="0">
                    <a:pos x="0" y="10"/>
                  </a:cxn>
                  <a:cxn ang="0">
                    <a:pos x="0" y="9"/>
                  </a:cxn>
                  <a:cxn ang="0">
                    <a:pos x="0" y="7"/>
                  </a:cxn>
                  <a:cxn ang="0">
                    <a:pos x="0" y="6"/>
                  </a:cxn>
                  <a:cxn ang="0">
                    <a:pos x="1" y="4"/>
                  </a:cxn>
                  <a:cxn ang="0">
                    <a:pos x="3" y="4"/>
                  </a:cxn>
                  <a:cxn ang="0">
                    <a:pos x="3" y="1"/>
                  </a:cxn>
                  <a:cxn ang="0">
                    <a:pos x="6" y="3"/>
                  </a:cxn>
                  <a:cxn ang="0">
                    <a:pos x="7" y="0"/>
                  </a:cxn>
                  <a:cxn ang="0">
                    <a:pos x="9" y="3"/>
                  </a:cxn>
                  <a:cxn ang="0">
                    <a:pos x="9" y="6"/>
                  </a:cxn>
                  <a:cxn ang="0">
                    <a:pos x="6" y="10"/>
                  </a:cxn>
                </a:cxnLst>
                <a:rect l="0" t="0" r="r" b="b"/>
                <a:pathLst>
                  <a:path w="9" h="13">
                    <a:moveTo>
                      <a:pt x="6" y="10"/>
                    </a:moveTo>
                    <a:lnTo>
                      <a:pt x="6" y="10"/>
                    </a:lnTo>
                    <a:lnTo>
                      <a:pt x="6" y="11"/>
                    </a:lnTo>
                    <a:lnTo>
                      <a:pt x="4" y="13"/>
                    </a:lnTo>
                    <a:lnTo>
                      <a:pt x="1" y="11"/>
                    </a:lnTo>
                    <a:lnTo>
                      <a:pt x="0" y="10"/>
                    </a:lnTo>
                    <a:lnTo>
                      <a:pt x="0" y="9"/>
                    </a:lnTo>
                    <a:lnTo>
                      <a:pt x="0" y="7"/>
                    </a:lnTo>
                    <a:lnTo>
                      <a:pt x="0" y="6"/>
                    </a:lnTo>
                    <a:lnTo>
                      <a:pt x="1" y="4"/>
                    </a:lnTo>
                    <a:lnTo>
                      <a:pt x="3" y="4"/>
                    </a:lnTo>
                    <a:lnTo>
                      <a:pt x="3" y="1"/>
                    </a:lnTo>
                    <a:lnTo>
                      <a:pt x="6" y="3"/>
                    </a:lnTo>
                    <a:lnTo>
                      <a:pt x="7" y="0"/>
                    </a:lnTo>
                    <a:lnTo>
                      <a:pt x="9" y="3"/>
                    </a:lnTo>
                    <a:lnTo>
                      <a:pt x="9" y="6"/>
                    </a:lnTo>
                    <a:lnTo>
                      <a:pt x="6" y="1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35" name="Freeform 864"/>
              <p:cNvSpPr>
                <a:spLocks/>
              </p:cNvSpPr>
              <p:nvPr/>
            </p:nvSpPr>
            <p:spPr bwMode="auto">
              <a:xfrm>
                <a:off x="6418299" y="1780808"/>
                <a:ext cx="8778" cy="13184"/>
              </a:xfrm>
              <a:custGeom>
                <a:avLst/>
                <a:gdLst/>
                <a:ahLst/>
                <a:cxnLst>
                  <a:cxn ang="0">
                    <a:pos x="6" y="10"/>
                  </a:cxn>
                  <a:cxn ang="0">
                    <a:pos x="6" y="10"/>
                  </a:cxn>
                  <a:cxn ang="0">
                    <a:pos x="6" y="11"/>
                  </a:cxn>
                  <a:cxn ang="0">
                    <a:pos x="4" y="13"/>
                  </a:cxn>
                  <a:cxn ang="0">
                    <a:pos x="1" y="11"/>
                  </a:cxn>
                  <a:cxn ang="0">
                    <a:pos x="0" y="10"/>
                  </a:cxn>
                  <a:cxn ang="0">
                    <a:pos x="0" y="9"/>
                  </a:cxn>
                  <a:cxn ang="0">
                    <a:pos x="0" y="7"/>
                  </a:cxn>
                  <a:cxn ang="0">
                    <a:pos x="0" y="6"/>
                  </a:cxn>
                  <a:cxn ang="0">
                    <a:pos x="1" y="4"/>
                  </a:cxn>
                  <a:cxn ang="0">
                    <a:pos x="3" y="4"/>
                  </a:cxn>
                  <a:cxn ang="0">
                    <a:pos x="3" y="1"/>
                  </a:cxn>
                  <a:cxn ang="0">
                    <a:pos x="6" y="3"/>
                  </a:cxn>
                  <a:cxn ang="0">
                    <a:pos x="7" y="0"/>
                  </a:cxn>
                  <a:cxn ang="0">
                    <a:pos x="9" y="3"/>
                  </a:cxn>
                  <a:cxn ang="0">
                    <a:pos x="9" y="6"/>
                  </a:cxn>
                  <a:cxn ang="0">
                    <a:pos x="6" y="10"/>
                  </a:cxn>
                </a:cxnLst>
                <a:rect l="0" t="0" r="r" b="b"/>
                <a:pathLst>
                  <a:path w="9" h="13">
                    <a:moveTo>
                      <a:pt x="6" y="10"/>
                    </a:moveTo>
                    <a:lnTo>
                      <a:pt x="6" y="10"/>
                    </a:lnTo>
                    <a:lnTo>
                      <a:pt x="6" y="11"/>
                    </a:lnTo>
                    <a:lnTo>
                      <a:pt x="4" y="13"/>
                    </a:lnTo>
                    <a:lnTo>
                      <a:pt x="1" y="11"/>
                    </a:lnTo>
                    <a:lnTo>
                      <a:pt x="0" y="10"/>
                    </a:lnTo>
                    <a:lnTo>
                      <a:pt x="0" y="9"/>
                    </a:lnTo>
                    <a:lnTo>
                      <a:pt x="0" y="7"/>
                    </a:lnTo>
                    <a:lnTo>
                      <a:pt x="0" y="6"/>
                    </a:lnTo>
                    <a:lnTo>
                      <a:pt x="1" y="4"/>
                    </a:lnTo>
                    <a:lnTo>
                      <a:pt x="3" y="4"/>
                    </a:lnTo>
                    <a:lnTo>
                      <a:pt x="3" y="1"/>
                    </a:lnTo>
                    <a:lnTo>
                      <a:pt x="6" y="3"/>
                    </a:lnTo>
                    <a:lnTo>
                      <a:pt x="7" y="0"/>
                    </a:lnTo>
                    <a:lnTo>
                      <a:pt x="9" y="3"/>
                    </a:lnTo>
                    <a:lnTo>
                      <a:pt x="9" y="6"/>
                    </a:lnTo>
                    <a:lnTo>
                      <a:pt x="6" y="1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36" name="Freeform 865"/>
              <p:cNvSpPr>
                <a:spLocks/>
              </p:cNvSpPr>
              <p:nvPr/>
            </p:nvSpPr>
            <p:spPr bwMode="auto">
              <a:xfrm>
                <a:off x="6427955" y="1773710"/>
                <a:ext cx="5267" cy="10141"/>
              </a:xfrm>
              <a:custGeom>
                <a:avLst/>
                <a:gdLst/>
                <a:ahLst/>
                <a:cxnLst>
                  <a:cxn ang="0">
                    <a:pos x="4" y="10"/>
                  </a:cxn>
                  <a:cxn ang="0">
                    <a:pos x="3" y="10"/>
                  </a:cxn>
                  <a:cxn ang="0">
                    <a:pos x="0" y="1"/>
                  </a:cxn>
                  <a:cxn ang="0">
                    <a:pos x="1" y="0"/>
                  </a:cxn>
                  <a:cxn ang="0">
                    <a:pos x="1" y="2"/>
                  </a:cxn>
                  <a:cxn ang="0">
                    <a:pos x="3" y="2"/>
                  </a:cxn>
                  <a:cxn ang="0">
                    <a:pos x="4" y="4"/>
                  </a:cxn>
                  <a:cxn ang="0">
                    <a:pos x="6" y="7"/>
                  </a:cxn>
                  <a:cxn ang="0">
                    <a:pos x="6" y="8"/>
                  </a:cxn>
                  <a:cxn ang="0">
                    <a:pos x="4" y="10"/>
                  </a:cxn>
                </a:cxnLst>
                <a:rect l="0" t="0" r="r" b="b"/>
                <a:pathLst>
                  <a:path w="6" h="10">
                    <a:moveTo>
                      <a:pt x="4" y="10"/>
                    </a:moveTo>
                    <a:lnTo>
                      <a:pt x="3" y="10"/>
                    </a:lnTo>
                    <a:lnTo>
                      <a:pt x="0" y="1"/>
                    </a:lnTo>
                    <a:lnTo>
                      <a:pt x="1" y="0"/>
                    </a:lnTo>
                    <a:lnTo>
                      <a:pt x="1" y="2"/>
                    </a:lnTo>
                    <a:lnTo>
                      <a:pt x="3" y="2"/>
                    </a:lnTo>
                    <a:lnTo>
                      <a:pt x="4" y="4"/>
                    </a:lnTo>
                    <a:lnTo>
                      <a:pt x="6" y="7"/>
                    </a:lnTo>
                    <a:lnTo>
                      <a:pt x="6" y="8"/>
                    </a:lnTo>
                    <a:lnTo>
                      <a:pt x="4" y="1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37" name="Freeform 866"/>
              <p:cNvSpPr>
                <a:spLocks/>
              </p:cNvSpPr>
              <p:nvPr/>
            </p:nvSpPr>
            <p:spPr bwMode="auto">
              <a:xfrm>
                <a:off x="6427955" y="1773710"/>
                <a:ext cx="5267" cy="10141"/>
              </a:xfrm>
              <a:custGeom>
                <a:avLst/>
                <a:gdLst/>
                <a:ahLst/>
                <a:cxnLst>
                  <a:cxn ang="0">
                    <a:pos x="4" y="10"/>
                  </a:cxn>
                  <a:cxn ang="0">
                    <a:pos x="3" y="10"/>
                  </a:cxn>
                  <a:cxn ang="0">
                    <a:pos x="0" y="1"/>
                  </a:cxn>
                  <a:cxn ang="0">
                    <a:pos x="1" y="0"/>
                  </a:cxn>
                  <a:cxn ang="0">
                    <a:pos x="1" y="2"/>
                  </a:cxn>
                  <a:cxn ang="0">
                    <a:pos x="3" y="2"/>
                  </a:cxn>
                  <a:cxn ang="0">
                    <a:pos x="4" y="4"/>
                  </a:cxn>
                  <a:cxn ang="0">
                    <a:pos x="6" y="7"/>
                  </a:cxn>
                  <a:cxn ang="0">
                    <a:pos x="6" y="8"/>
                  </a:cxn>
                  <a:cxn ang="0">
                    <a:pos x="4" y="10"/>
                  </a:cxn>
                </a:cxnLst>
                <a:rect l="0" t="0" r="r" b="b"/>
                <a:pathLst>
                  <a:path w="6" h="10">
                    <a:moveTo>
                      <a:pt x="4" y="10"/>
                    </a:moveTo>
                    <a:lnTo>
                      <a:pt x="3" y="10"/>
                    </a:lnTo>
                    <a:lnTo>
                      <a:pt x="0" y="1"/>
                    </a:lnTo>
                    <a:lnTo>
                      <a:pt x="1" y="0"/>
                    </a:lnTo>
                    <a:lnTo>
                      <a:pt x="1" y="2"/>
                    </a:lnTo>
                    <a:lnTo>
                      <a:pt x="3" y="2"/>
                    </a:lnTo>
                    <a:lnTo>
                      <a:pt x="4" y="4"/>
                    </a:lnTo>
                    <a:lnTo>
                      <a:pt x="6" y="7"/>
                    </a:lnTo>
                    <a:lnTo>
                      <a:pt x="6" y="8"/>
                    </a:lnTo>
                    <a:lnTo>
                      <a:pt x="4" y="1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38" name="Freeform 867"/>
              <p:cNvSpPr>
                <a:spLocks/>
              </p:cNvSpPr>
              <p:nvPr/>
            </p:nvSpPr>
            <p:spPr bwMode="auto">
              <a:xfrm>
                <a:off x="6449022" y="1756469"/>
                <a:ext cx="8778" cy="8113"/>
              </a:xfrm>
              <a:custGeom>
                <a:avLst/>
                <a:gdLst/>
                <a:ahLst/>
                <a:cxnLst>
                  <a:cxn ang="0">
                    <a:pos x="7" y="2"/>
                  </a:cxn>
                  <a:cxn ang="0">
                    <a:pos x="10" y="5"/>
                  </a:cxn>
                  <a:cxn ang="0">
                    <a:pos x="10" y="7"/>
                  </a:cxn>
                  <a:cxn ang="0">
                    <a:pos x="7" y="7"/>
                  </a:cxn>
                  <a:cxn ang="0">
                    <a:pos x="6" y="8"/>
                  </a:cxn>
                  <a:cxn ang="0">
                    <a:pos x="5" y="7"/>
                  </a:cxn>
                  <a:cxn ang="0">
                    <a:pos x="2" y="8"/>
                  </a:cxn>
                  <a:cxn ang="0">
                    <a:pos x="2" y="7"/>
                  </a:cxn>
                  <a:cxn ang="0">
                    <a:pos x="3" y="5"/>
                  </a:cxn>
                  <a:cxn ang="0">
                    <a:pos x="5" y="4"/>
                  </a:cxn>
                  <a:cxn ang="0">
                    <a:pos x="0" y="4"/>
                  </a:cxn>
                  <a:cxn ang="0">
                    <a:pos x="0" y="2"/>
                  </a:cxn>
                  <a:cxn ang="0">
                    <a:pos x="3" y="2"/>
                  </a:cxn>
                  <a:cxn ang="0">
                    <a:pos x="5" y="2"/>
                  </a:cxn>
                  <a:cxn ang="0">
                    <a:pos x="6" y="1"/>
                  </a:cxn>
                  <a:cxn ang="0">
                    <a:pos x="5" y="0"/>
                  </a:cxn>
                  <a:cxn ang="0">
                    <a:pos x="7" y="2"/>
                  </a:cxn>
                </a:cxnLst>
                <a:rect l="0" t="0" r="r" b="b"/>
                <a:pathLst>
                  <a:path w="10" h="8">
                    <a:moveTo>
                      <a:pt x="7" y="2"/>
                    </a:moveTo>
                    <a:lnTo>
                      <a:pt x="10" y="5"/>
                    </a:lnTo>
                    <a:lnTo>
                      <a:pt x="10" y="7"/>
                    </a:lnTo>
                    <a:lnTo>
                      <a:pt x="7" y="7"/>
                    </a:lnTo>
                    <a:lnTo>
                      <a:pt x="6" y="8"/>
                    </a:lnTo>
                    <a:lnTo>
                      <a:pt x="5" y="7"/>
                    </a:lnTo>
                    <a:lnTo>
                      <a:pt x="2" y="8"/>
                    </a:lnTo>
                    <a:lnTo>
                      <a:pt x="2" y="7"/>
                    </a:lnTo>
                    <a:lnTo>
                      <a:pt x="3" y="5"/>
                    </a:lnTo>
                    <a:lnTo>
                      <a:pt x="5" y="4"/>
                    </a:lnTo>
                    <a:lnTo>
                      <a:pt x="0" y="4"/>
                    </a:lnTo>
                    <a:lnTo>
                      <a:pt x="0" y="2"/>
                    </a:lnTo>
                    <a:lnTo>
                      <a:pt x="3" y="2"/>
                    </a:lnTo>
                    <a:lnTo>
                      <a:pt x="5" y="2"/>
                    </a:lnTo>
                    <a:lnTo>
                      <a:pt x="6" y="1"/>
                    </a:lnTo>
                    <a:lnTo>
                      <a:pt x="5" y="0"/>
                    </a:lnTo>
                    <a:lnTo>
                      <a:pt x="7"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39" name="Freeform 868"/>
              <p:cNvSpPr>
                <a:spLocks/>
              </p:cNvSpPr>
              <p:nvPr/>
            </p:nvSpPr>
            <p:spPr bwMode="auto">
              <a:xfrm>
                <a:off x="6449022" y="1756469"/>
                <a:ext cx="8778" cy="8113"/>
              </a:xfrm>
              <a:custGeom>
                <a:avLst/>
                <a:gdLst/>
                <a:ahLst/>
                <a:cxnLst>
                  <a:cxn ang="0">
                    <a:pos x="7" y="2"/>
                  </a:cxn>
                  <a:cxn ang="0">
                    <a:pos x="10" y="5"/>
                  </a:cxn>
                  <a:cxn ang="0">
                    <a:pos x="10" y="7"/>
                  </a:cxn>
                  <a:cxn ang="0">
                    <a:pos x="7" y="7"/>
                  </a:cxn>
                  <a:cxn ang="0">
                    <a:pos x="6" y="8"/>
                  </a:cxn>
                  <a:cxn ang="0">
                    <a:pos x="5" y="7"/>
                  </a:cxn>
                  <a:cxn ang="0">
                    <a:pos x="2" y="8"/>
                  </a:cxn>
                  <a:cxn ang="0">
                    <a:pos x="2" y="7"/>
                  </a:cxn>
                  <a:cxn ang="0">
                    <a:pos x="3" y="5"/>
                  </a:cxn>
                  <a:cxn ang="0">
                    <a:pos x="5" y="4"/>
                  </a:cxn>
                  <a:cxn ang="0">
                    <a:pos x="0" y="4"/>
                  </a:cxn>
                  <a:cxn ang="0">
                    <a:pos x="0" y="2"/>
                  </a:cxn>
                  <a:cxn ang="0">
                    <a:pos x="3" y="2"/>
                  </a:cxn>
                  <a:cxn ang="0">
                    <a:pos x="5" y="2"/>
                  </a:cxn>
                  <a:cxn ang="0">
                    <a:pos x="6" y="1"/>
                  </a:cxn>
                  <a:cxn ang="0">
                    <a:pos x="5" y="0"/>
                  </a:cxn>
                  <a:cxn ang="0">
                    <a:pos x="7" y="2"/>
                  </a:cxn>
                </a:cxnLst>
                <a:rect l="0" t="0" r="r" b="b"/>
                <a:pathLst>
                  <a:path w="10" h="8">
                    <a:moveTo>
                      <a:pt x="7" y="2"/>
                    </a:moveTo>
                    <a:lnTo>
                      <a:pt x="10" y="5"/>
                    </a:lnTo>
                    <a:lnTo>
                      <a:pt x="10" y="7"/>
                    </a:lnTo>
                    <a:lnTo>
                      <a:pt x="7" y="7"/>
                    </a:lnTo>
                    <a:lnTo>
                      <a:pt x="6" y="8"/>
                    </a:lnTo>
                    <a:lnTo>
                      <a:pt x="5" y="7"/>
                    </a:lnTo>
                    <a:lnTo>
                      <a:pt x="2" y="8"/>
                    </a:lnTo>
                    <a:lnTo>
                      <a:pt x="2" y="7"/>
                    </a:lnTo>
                    <a:lnTo>
                      <a:pt x="3" y="5"/>
                    </a:lnTo>
                    <a:lnTo>
                      <a:pt x="5" y="4"/>
                    </a:lnTo>
                    <a:lnTo>
                      <a:pt x="0" y="4"/>
                    </a:lnTo>
                    <a:lnTo>
                      <a:pt x="0" y="2"/>
                    </a:lnTo>
                    <a:lnTo>
                      <a:pt x="3" y="2"/>
                    </a:lnTo>
                    <a:lnTo>
                      <a:pt x="5" y="2"/>
                    </a:lnTo>
                    <a:lnTo>
                      <a:pt x="6" y="1"/>
                    </a:lnTo>
                    <a:lnTo>
                      <a:pt x="5" y="0"/>
                    </a:lnTo>
                    <a:lnTo>
                      <a:pt x="7"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40" name="Freeform 869"/>
              <p:cNvSpPr>
                <a:spLocks/>
              </p:cNvSpPr>
              <p:nvPr/>
            </p:nvSpPr>
            <p:spPr bwMode="auto">
              <a:xfrm>
                <a:off x="6229572" y="2045497"/>
                <a:ext cx="8778" cy="7099"/>
              </a:xfrm>
              <a:custGeom>
                <a:avLst/>
                <a:gdLst/>
                <a:ahLst/>
                <a:cxnLst>
                  <a:cxn ang="0">
                    <a:pos x="0" y="3"/>
                  </a:cxn>
                  <a:cxn ang="0">
                    <a:pos x="1" y="3"/>
                  </a:cxn>
                  <a:cxn ang="0">
                    <a:pos x="1" y="3"/>
                  </a:cxn>
                  <a:cxn ang="0">
                    <a:pos x="3" y="3"/>
                  </a:cxn>
                  <a:cxn ang="0">
                    <a:pos x="4" y="2"/>
                  </a:cxn>
                  <a:cxn ang="0">
                    <a:pos x="4" y="2"/>
                  </a:cxn>
                  <a:cxn ang="0">
                    <a:pos x="7" y="0"/>
                  </a:cxn>
                  <a:cxn ang="0">
                    <a:pos x="10" y="0"/>
                  </a:cxn>
                  <a:cxn ang="0">
                    <a:pos x="8" y="0"/>
                  </a:cxn>
                  <a:cxn ang="0">
                    <a:pos x="10" y="2"/>
                  </a:cxn>
                  <a:cxn ang="0">
                    <a:pos x="10" y="3"/>
                  </a:cxn>
                  <a:cxn ang="0">
                    <a:pos x="4" y="4"/>
                  </a:cxn>
                  <a:cxn ang="0">
                    <a:pos x="1" y="7"/>
                  </a:cxn>
                  <a:cxn ang="0">
                    <a:pos x="0" y="4"/>
                  </a:cxn>
                  <a:cxn ang="0">
                    <a:pos x="0" y="3"/>
                  </a:cxn>
                </a:cxnLst>
                <a:rect l="0" t="0" r="r" b="b"/>
                <a:pathLst>
                  <a:path w="10" h="7">
                    <a:moveTo>
                      <a:pt x="0" y="3"/>
                    </a:moveTo>
                    <a:lnTo>
                      <a:pt x="1" y="3"/>
                    </a:lnTo>
                    <a:lnTo>
                      <a:pt x="1" y="3"/>
                    </a:lnTo>
                    <a:lnTo>
                      <a:pt x="3" y="3"/>
                    </a:lnTo>
                    <a:lnTo>
                      <a:pt x="4" y="2"/>
                    </a:lnTo>
                    <a:lnTo>
                      <a:pt x="4" y="2"/>
                    </a:lnTo>
                    <a:lnTo>
                      <a:pt x="7" y="0"/>
                    </a:lnTo>
                    <a:lnTo>
                      <a:pt x="10" y="0"/>
                    </a:lnTo>
                    <a:lnTo>
                      <a:pt x="8" y="0"/>
                    </a:lnTo>
                    <a:lnTo>
                      <a:pt x="10" y="2"/>
                    </a:lnTo>
                    <a:lnTo>
                      <a:pt x="10" y="3"/>
                    </a:lnTo>
                    <a:lnTo>
                      <a:pt x="4" y="4"/>
                    </a:lnTo>
                    <a:lnTo>
                      <a:pt x="1" y="7"/>
                    </a:lnTo>
                    <a:lnTo>
                      <a:pt x="0" y="4"/>
                    </a:lnTo>
                    <a:lnTo>
                      <a:pt x="0" y="3"/>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41" name="Freeform 870"/>
              <p:cNvSpPr>
                <a:spLocks/>
              </p:cNvSpPr>
              <p:nvPr/>
            </p:nvSpPr>
            <p:spPr bwMode="auto">
              <a:xfrm>
                <a:off x="6229572" y="2045497"/>
                <a:ext cx="8778" cy="7099"/>
              </a:xfrm>
              <a:custGeom>
                <a:avLst/>
                <a:gdLst/>
                <a:ahLst/>
                <a:cxnLst>
                  <a:cxn ang="0">
                    <a:pos x="0" y="3"/>
                  </a:cxn>
                  <a:cxn ang="0">
                    <a:pos x="1" y="3"/>
                  </a:cxn>
                  <a:cxn ang="0">
                    <a:pos x="1" y="3"/>
                  </a:cxn>
                  <a:cxn ang="0">
                    <a:pos x="3" y="3"/>
                  </a:cxn>
                  <a:cxn ang="0">
                    <a:pos x="4" y="2"/>
                  </a:cxn>
                  <a:cxn ang="0">
                    <a:pos x="4" y="2"/>
                  </a:cxn>
                  <a:cxn ang="0">
                    <a:pos x="7" y="0"/>
                  </a:cxn>
                  <a:cxn ang="0">
                    <a:pos x="10" y="0"/>
                  </a:cxn>
                  <a:cxn ang="0">
                    <a:pos x="8" y="0"/>
                  </a:cxn>
                  <a:cxn ang="0">
                    <a:pos x="10" y="2"/>
                  </a:cxn>
                  <a:cxn ang="0">
                    <a:pos x="10" y="3"/>
                  </a:cxn>
                  <a:cxn ang="0">
                    <a:pos x="4" y="4"/>
                  </a:cxn>
                  <a:cxn ang="0">
                    <a:pos x="1" y="7"/>
                  </a:cxn>
                  <a:cxn ang="0">
                    <a:pos x="0" y="4"/>
                  </a:cxn>
                  <a:cxn ang="0">
                    <a:pos x="0" y="3"/>
                  </a:cxn>
                </a:cxnLst>
                <a:rect l="0" t="0" r="r" b="b"/>
                <a:pathLst>
                  <a:path w="10" h="7">
                    <a:moveTo>
                      <a:pt x="0" y="3"/>
                    </a:moveTo>
                    <a:lnTo>
                      <a:pt x="1" y="3"/>
                    </a:lnTo>
                    <a:lnTo>
                      <a:pt x="1" y="3"/>
                    </a:lnTo>
                    <a:lnTo>
                      <a:pt x="3" y="3"/>
                    </a:lnTo>
                    <a:lnTo>
                      <a:pt x="4" y="2"/>
                    </a:lnTo>
                    <a:lnTo>
                      <a:pt x="4" y="2"/>
                    </a:lnTo>
                    <a:lnTo>
                      <a:pt x="7" y="0"/>
                    </a:lnTo>
                    <a:lnTo>
                      <a:pt x="10" y="0"/>
                    </a:lnTo>
                    <a:lnTo>
                      <a:pt x="8" y="0"/>
                    </a:lnTo>
                    <a:lnTo>
                      <a:pt x="10" y="2"/>
                    </a:lnTo>
                    <a:lnTo>
                      <a:pt x="10" y="3"/>
                    </a:lnTo>
                    <a:lnTo>
                      <a:pt x="4" y="4"/>
                    </a:lnTo>
                    <a:lnTo>
                      <a:pt x="1" y="7"/>
                    </a:lnTo>
                    <a:lnTo>
                      <a:pt x="0" y="4"/>
                    </a:lnTo>
                    <a:lnTo>
                      <a:pt x="0" y="3"/>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42" name="Freeform 871"/>
              <p:cNvSpPr>
                <a:spLocks/>
              </p:cNvSpPr>
              <p:nvPr/>
            </p:nvSpPr>
            <p:spPr bwMode="auto">
              <a:xfrm>
                <a:off x="6181293" y="2127642"/>
                <a:ext cx="2633" cy="4056"/>
              </a:xfrm>
              <a:custGeom>
                <a:avLst/>
                <a:gdLst/>
                <a:ahLst/>
                <a:cxnLst>
                  <a:cxn ang="0">
                    <a:pos x="3" y="0"/>
                  </a:cxn>
                  <a:cxn ang="0">
                    <a:pos x="3" y="0"/>
                  </a:cxn>
                  <a:cxn ang="0">
                    <a:pos x="0" y="1"/>
                  </a:cxn>
                  <a:cxn ang="0">
                    <a:pos x="0" y="4"/>
                  </a:cxn>
                  <a:cxn ang="0">
                    <a:pos x="0" y="4"/>
                  </a:cxn>
                  <a:cxn ang="0">
                    <a:pos x="2" y="3"/>
                  </a:cxn>
                  <a:cxn ang="0">
                    <a:pos x="3" y="0"/>
                  </a:cxn>
                </a:cxnLst>
                <a:rect l="0" t="0" r="r" b="b"/>
                <a:pathLst>
                  <a:path w="3" h="4">
                    <a:moveTo>
                      <a:pt x="3" y="0"/>
                    </a:moveTo>
                    <a:lnTo>
                      <a:pt x="3" y="0"/>
                    </a:lnTo>
                    <a:lnTo>
                      <a:pt x="0" y="1"/>
                    </a:lnTo>
                    <a:lnTo>
                      <a:pt x="0" y="4"/>
                    </a:lnTo>
                    <a:lnTo>
                      <a:pt x="0" y="4"/>
                    </a:lnTo>
                    <a:lnTo>
                      <a:pt x="2" y="3"/>
                    </a:lnTo>
                    <a:lnTo>
                      <a:pt x="3"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43" name="Freeform 872"/>
              <p:cNvSpPr>
                <a:spLocks/>
              </p:cNvSpPr>
              <p:nvPr/>
            </p:nvSpPr>
            <p:spPr bwMode="auto">
              <a:xfrm>
                <a:off x="6181293" y="2127642"/>
                <a:ext cx="2633" cy="4056"/>
              </a:xfrm>
              <a:custGeom>
                <a:avLst/>
                <a:gdLst/>
                <a:ahLst/>
                <a:cxnLst>
                  <a:cxn ang="0">
                    <a:pos x="3" y="0"/>
                  </a:cxn>
                  <a:cxn ang="0">
                    <a:pos x="3" y="0"/>
                  </a:cxn>
                  <a:cxn ang="0">
                    <a:pos x="0" y="1"/>
                  </a:cxn>
                  <a:cxn ang="0">
                    <a:pos x="0" y="4"/>
                  </a:cxn>
                  <a:cxn ang="0">
                    <a:pos x="0" y="4"/>
                  </a:cxn>
                  <a:cxn ang="0">
                    <a:pos x="2" y="3"/>
                  </a:cxn>
                  <a:cxn ang="0">
                    <a:pos x="3" y="0"/>
                  </a:cxn>
                </a:cxnLst>
                <a:rect l="0" t="0" r="r" b="b"/>
                <a:pathLst>
                  <a:path w="3" h="4">
                    <a:moveTo>
                      <a:pt x="3" y="0"/>
                    </a:moveTo>
                    <a:lnTo>
                      <a:pt x="3" y="0"/>
                    </a:lnTo>
                    <a:lnTo>
                      <a:pt x="0" y="1"/>
                    </a:lnTo>
                    <a:lnTo>
                      <a:pt x="0" y="4"/>
                    </a:lnTo>
                    <a:lnTo>
                      <a:pt x="0" y="4"/>
                    </a:lnTo>
                    <a:lnTo>
                      <a:pt x="2" y="3"/>
                    </a:lnTo>
                    <a:lnTo>
                      <a:pt x="3"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44" name="Freeform 873"/>
              <p:cNvSpPr>
                <a:spLocks/>
              </p:cNvSpPr>
              <p:nvPr/>
            </p:nvSpPr>
            <p:spPr bwMode="auto">
              <a:xfrm>
                <a:off x="6194460" y="2088091"/>
                <a:ext cx="2634" cy="4056"/>
              </a:xfrm>
              <a:custGeom>
                <a:avLst/>
                <a:gdLst/>
                <a:ahLst/>
                <a:cxnLst>
                  <a:cxn ang="0">
                    <a:pos x="1" y="4"/>
                  </a:cxn>
                  <a:cxn ang="0">
                    <a:pos x="3" y="1"/>
                  </a:cxn>
                  <a:cxn ang="0">
                    <a:pos x="3" y="0"/>
                  </a:cxn>
                  <a:cxn ang="0">
                    <a:pos x="1" y="0"/>
                  </a:cxn>
                  <a:cxn ang="0">
                    <a:pos x="0" y="0"/>
                  </a:cxn>
                  <a:cxn ang="0">
                    <a:pos x="0" y="4"/>
                  </a:cxn>
                  <a:cxn ang="0">
                    <a:pos x="1" y="4"/>
                  </a:cxn>
                </a:cxnLst>
                <a:rect l="0" t="0" r="r" b="b"/>
                <a:pathLst>
                  <a:path w="3" h="4">
                    <a:moveTo>
                      <a:pt x="1" y="4"/>
                    </a:moveTo>
                    <a:lnTo>
                      <a:pt x="3" y="1"/>
                    </a:lnTo>
                    <a:lnTo>
                      <a:pt x="3" y="0"/>
                    </a:lnTo>
                    <a:lnTo>
                      <a:pt x="1" y="0"/>
                    </a:lnTo>
                    <a:lnTo>
                      <a:pt x="0" y="0"/>
                    </a:lnTo>
                    <a:lnTo>
                      <a:pt x="0" y="4"/>
                    </a:lnTo>
                    <a:lnTo>
                      <a:pt x="1" y="4"/>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45" name="Freeform 874"/>
              <p:cNvSpPr>
                <a:spLocks/>
              </p:cNvSpPr>
              <p:nvPr/>
            </p:nvSpPr>
            <p:spPr bwMode="auto">
              <a:xfrm>
                <a:off x="6194460" y="2088091"/>
                <a:ext cx="2634" cy="4056"/>
              </a:xfrm>
              <a:custGeom>
                <a:avLst/>
                <a:gdLst/>
                <a:ahLst/>
                <a:cxnLst>
                  <a:cxn ang="0">
                    <a:pos x="1" y="4"/>
                  </a:cxn>
                  <a:cxn ang="0">
                    <a:pos x="3" y="1"/>
                  </a:cxn>
                  <a:cxn ang="0">
                    <a:pos x="3" y="0"/>
                  </a:cxn>
                  <a:cxn ang="0">
                    <a:pos x="1" y="0"/>
                  </a:cxn>
                  <a:cxn ang="0">
                    <a:pos x="0" y="0"/>
                  </a:cxn>
                  <a:cxn ang="0">
                    <a:pos x="0" y="4"/>
                  </a:cxn>
                  <a:cxn ang="0">
                    <a:pos x="1" y="4"/>
                  </a:cxn>
                </a:cxnLst>
                <a:rect l="0" t="0" r="r" b="b"/>
                <a:pathLst>
                  <a:path w="3" h="4">
                    <a:moveTo>
                      <a:pt x="1" y="4"/>
                    </a:moveTo>
                    <a:lnTo>
                      <a:pt x="3" y="1"/>
                    </a:lnTo>
                    <a:lnTo>
                      <a:pt x="3" y="0"/>
                    </a:lnTo>
                    <a:lnTo>
                      <a:pt x="1" y="0"/>
                    </a:lnTo>
                    <a:lnTo>
                      <a:pt x="0" y="0"/>
                    </a:lnTo>
                    <a:lnTo>
                      <a:pt x="0" y="4"/>
                    </a:lnTo>
                    <a:lnTo>
                      <a:pt x="1" y="4"/>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46" name="Freeform 875"/>
              <p:cNvSpPr>
                <a:spLocks/>
              </p:cNvSpPr>
              <p:nvPr/>
            </p:nvSpPr>
            <p:spPr bwMode="auto">
              <a:xfrm>
                <a:off x="6183926" y="2104317"/>
                <a:ext cx="2634" cy="3042"/>
              </a:xfrm>
              <a:custGeom>
                <a:avLst/>
                <a:gdLst/>
                <a:ahLst/>
                <a:cxnLst>
                  <a:cxn ang="0">
                    <a:pos x="0" y="3"/>
                  </a:cxn>
                  <a:cxn ang="0">
                    <a:pos x="2" y="1"/>
                  </a:cxn>
                  <a:cxn ang="0">
                    <a:pos x="3" y="1"/>
                  </a:cxn>
                  <a:cxn ang="0">
                    <a:pos x="3" y="0"/>
                  </a:cxn>
                  <a:cxn ang="0">
                    <a:pos x="0" y="0"/>
                  </a:cxn>
                  <a:cxn ang="0">
                    <a:pos x="0" y="3"/>
                  </a:cxn>
                </a:cxnLst>
                <a:rect l="0" t="0" r="r" b="b"/>
                <a:pathLst>
                  <a:path w="3" h="3">
                    <a:moveTo>
                      <a:pt x="0" y="3"/>
                    </a:moveTo>
                    <a:lnTo>
                      <a:pt x="2" y="1"/>
                    </a:lnTo>
                    <a:lnTo>
                      <a:pt x="3" y="1"/>
                    </a:lnTo>
                    <a:lnTo>
                      <a:pt x="3" y="0"/>
                    </a:lnTo>
                    <a:lnTo>
                      <a:pt x="0" y="0"/>
                    </a:lnTo>
                    <a:lnTo>
                      <a:pt x="0" y="3"/>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47" name="Freeform 876"/>
              <p:cNvSpPr>
                <a:spLocks/>
              </p:cNvSpPr>
              <p:nvPr/>
            </p:nvSpPr>
            <p:spPr bwMode="auto">
              <a:xfrm>
                <a:off x="6183926" y="2104317"/>
                <a:ext cx="2634" cy="3042"/>
              </a:xfrm>
              <a:custGeom>
                <a:avLst/>
                <a:gdLst/>
                <a:ahLst/>
                <a:cxnLst>
                  <a:cxn ang="0">
                    <a:pos x="0" y="3"/>
                  </a:cxn>
                  <a:cxn ang="0">
                    <a:pos x="2" y="1"/>
                  </a:cxn>
                  <a:cxn ang="0">
                    <a:pos x="3" y="1"/>
                  </a:cxn>
                  <a:cxn ang="0">
                    <a:pos x="3" y="0"/>
                  </a:cxn>
                  <a:cxn ang="0">
                    <a:pos x="0" y="0"/>
                  </a:cxn>
                  <a:cxn ang="0">
                    <a:pos x="0" y="3"/>
                  </a:cxn>
                </a:cxnLst>
                <a:rect l="0" t="0" r="r" b="b"/>
                <a:pathLst>
                  <a:path w="3" h="3">
                    <a:moveTo>
                      <a:pt x="0" y="3"/>
                    </a:moveTo>
                    <a:lnTo>
                      <a:pt x="2" y="1"/>
                    </a:lnTo>
                    <a:lnTo>
                      <a:pt x="3" y="1"/>
                    </a:lnTo>
                    <a:lnTo>
                      <a:pt x="3" y="0"/>
                    </a:lnTo>
                    <a:lnTo>
                      <a:pt x="0" y="0"/>
                    </a:lnTo>
                    <a:lnTo>
                      <a:pt x="0" y="3"/>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48" name="Freeform 877"/>
              <p:cNvSpPr>
                <a:spLocks/>
              </p:cNvSpPr>
              <p:nvPr/>
            </p:nvSpPr>
            <p:spPr bwMode="auto">
              <a:xfrm>
                <a:off x="6188316" y="2162122"/>
                <a:ext cx="2633" cy="6085"/>
              </a:xfrm>
              <a:custGeom>
                <a:avLst/>
                <a:gdLst/>
                <a:ahLst/>
                <a:cxnLst>
                  <a:cxn ang="0">
                    <a:pos x="3" y="6"/>
                  </a:cxn>
                  <a:cxn ang="0">
                    <a:pos x="3" y="3"/>
                  </a:cxn>
                  <a:cxn ang="0">
                    <a:pos x="1" y="0"/>
                  </a:cxn>
                  <a:cxn ang="0">
                    <a:pos x="0" y="1"/>
                  </a:cxn>
                  <a:cxn ang="0">
                    <a:pos x="0" y="4"/>
                  </a:cxn>
                  <a:cxn ang="0">
                    <a:pos x="3" y="6"/>
                  </a:cxn>
                </a:cxnLst>
                <a:rect l="0" t="0" r="r" b="b"/>
                <a:pathLst>
                  <a:path w="3" h="6">
                    <a:moveTo>
                      <a:pt x="3" y="6"/>
                    </a:moveTo>
                    <a:lnTo>
                      <a:pt x="3" y="3"/>
                    </a:lnTo>
                    <a:lnTo>
                      <a:pt x="1" y="0"/>
                    </a:lnTo>
                    <a:lnTo>
                      <a:pt x="0" y="1"/>
                    </a:lnTo>
                    <a:lnTo>
                      <a:pt x="0" y="4"/>
                    </a:lnTo>
                    <a:lnTo>
                      <a:pt x="3" y="6"/>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49" name="Freeform 878"/>
              <p:cNvSpPr>
                <a:spLocks/>
              </p:cNvSpPr>
              <p:nvPr/>
            </p:nvSpPr>
            <p:spPr bwMode="auto">
              <a:xfrm>
                <a:off x="6188316" y="2162122"/>
                <a:ext cx="2633" cy="6085"/>
              </a:xfrm>
              <a:custGeom>
                <a:avLst/>
                <a:gdLst/>
                <a:ahLst/>
                <a:cxnLst>
                  <a:cxn ang="0">
                    <a:pos x="3" y="6"/>
                  </a:cxn>
                  <a:cxn ang="0">
                    <a:pos x="3" y="3"/>
                  </a:cxn>
                  <a:cxn ang="0">
                    <a:pos x="1" y="0"/>
                  </a:cxn>
                  <a:cxn ang="0">
                    <a:pos x="0" y="1"/>
                  </a:cxn>
                  <a:cxn ang="0">
                    <a:pos x="0" y="4"/>
                  </a:cxn>
                  <a:cxn ang="0">
                    <a:pos x="3" y="6"/>
                  </a:cxn>
                </a:cxnLst>
                <a:rect l="0" t="0" r="r" b="b"/>
                <a:pathLst>
                  <a:path w="3" h="6">
                    <a:moveTo>
                      <a:pt x="3" y="6"/>
                    </a:moveTo>
                    <a:lnTo>
                      <a:pt x="3" y="3"/>
                    </a:lnTo>
                    <a:lnTo>
                      <a:pt x="1" y="0"/>
                    </a:lnTo>
                    <a:lnTo>
                      <a:pt x="0" y="1"/>
                    </a:lnTo>
                    <a:lnTo>
                      <a:pt x="0" y="4"/>
                    </a:lnTo>
                    <a:lnTo>
                      <a:pt x="3" y="6"/>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50" name="Freeform 879"/>
              <p:cNvSpPr>
                <a:spLocks/>
              </p:cNvSpPr>
              <p:nvPr/>
            </p:nvSpPr>
            <p:spPr bwMode="auto">
              <a:xfrm>
                <a:off x="6186560" y="2179363"/>
                <a:ext cx="1756" cy="6085"/>
              </a:xfrm>
              <a:custGeom>
                <a:avLst/>
                <a:gdLst/>
                <a:ahLst/>
                <a:cxnLst>
                  <a:cxn ang="0">
                    <a:pos x="2" y="6"/>
                  </a:cxn>
                  <a:cxn ang="0">
                    <a:pos x="2" y="0"/>
                  </a:cxn>
                  <a:cxn ang="0">
                    <a:pos x="0" y="0"/>
                  </a:cxn>
                  <a:cxn ang="0">
                    <a:pos x="0" y="0"/>
                  </a:cxn>
                  <a:cxn ang="0">
                    <a:pos x="0" y="6"/>
                  </a:cxn>
                  <a:cxn ang="0">
                    <a:pos x="2" y="6"/>
                  </a:cxn>
                </a:cxnLst>
                <a:rect l="0" t="0" r="r" b="b"/>
                <a:pathLst>
                  <a:path w="2" h="6">
                    <a:moveTo>
                      <a:pt x="2" y="6"/>
                    </a:moveTo>
                    <a:lnTo>
                      <a:pt x="2" y="0"/>
                    </a:lnTo>
                    <a:lnTo>
                      <a:pt x="0" y="0"/>
                    </a:lnTo>
                    <a:lnTo>
                      <a:pt x="0" y="0"/>
                    </a:lnTo>
                    <a:lnTo>
                      <a:pt x="0" y="6"/>
                    </a:lnTo>
                    <a:lnTo>
                      <a:pt x="2" y="6"/>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51" name="Freeform 880"/>
              <p:cNvSpPr>
                <a:spLocks/>
              </p:cNvSpPr>
              <p:nvPr/>
            </p:nvSpPr>
            <p:spPr bwMode="auto">
              <a:xfrm>
                <a:off x="6186560" y="2179363"/>
                <a:ext cx="1756" cy="6085"/>
              </a:xfrm>
              <a:custGeom>
                <a:avLst/>
                <a:gdLst/>
                <a:ahLst/>
                <a:cxnLst>
                  <a:cxn ang="0">
                    <a:pos x="2" y="6"/>
                  </a:cxn>
                  <a:cxn ang="0">
                    <a:pos x="2" y="0"/>
                  </a:cxn>
                  <a:cxn ang="0">
                    <a:pos x="0" y="0"/>
                  </a:cxn>
                  <a:cxn ang="0">
                    <a:pos x="0" y="0"/>
                  </a:cxn>
                  <a:cxn ang="0">
                    <a:pos x="0" y="6"/>
                  </a:cxn>
                  <a:cxn ang="0">
                    <a:pos x="2" y="6"/>
                  </a:cxn>
                </a:cxnLst>
                <a:rect l="0" t="0" r="r" b="b"/>
                <a:pathLst>
                  <a:path w="2" h="6">
                    <a:moveTo>
                      <a:pt x="2" y="6"/>
                    </a:moveTo>
                    <a:lnTo>
                      <a:pt x="2" y="0"/>
                    </a:lnTo>
                    <a:lnTo>
                      <a:pt x="0" y="0"/>
                    </a:lnTo>
                    <a:lnTo>
                      <a:pt x="0" y="0"/>
                    </a:lnTo>
                    <a:lnTo>
                      <a:pt x="0" y="6"/>
                    </a:lnTo>
                    <a:lnTo>
                      <a:pt x="2" y="6"/>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52" name="Freeform 881"/>
              <p:cNvSpPr>
                <a:spLocks/>
              </p:cNvSpPr>
              <p:nvPr/>
            </p:nvSpPr>
            <p:spPr bwMode="auto">
              <a:xfrm>
                <a:off x="6136525" y="2646877"/>
                <a:ext cx="5267" cy="5071"/>
              </a:xfrm>
              <a:custGeom>
                <a:avLst/>
                <a:gdLst/>
                <a:ahLst/>
                <a:cxnLst>
                  <a:cxn ang="0">
                    <a:pos x="3" y="0"/>
                  </a:cxn>
                  <a:cxn ang="0">
                    <a:pos x="3" y="0"/>
                  </a:cxn>
                  <a:cxn ang="0">
                    <a:pos x="3" y="0"/>
                  </a:cxn>
                  <a:cxn ang="0">
                    <a:pos x="5" y="2"/>
                  </a:cxn>
                  <a:cxn ang="0">
                    <a:pos x="2" y="5"/>
                  </a:cxn>
                  <a:cxn ang="0">
                    <a:pos x="0" y="3"/>
                  </a:cxn>
                  <a:cxn ang="0">
                    <a:pos x="0" y="2"/>
                  </a:cxn>
                  <a:cxn ang="0">
                    <a:pos x="3" y="0"/>
                  </a:cxn>
                </a:cxnLst>
                <a:rect l="0" t="0" r="r" b="b"/>
                <a:pathLst>
                  <a:path w="5" h="5">
                    <a:moveTo>
                      <a:pt x="3" y="0"/>
                    </a:moveTo>
                    <a:lnTo>
                      <a:pt x="3" y="0"/>
                    </a:lnTo>
                    <a:lnTo>
                      <a:pt x="3" y="0"/>
                    </a:lnTo>
                    <a:lnTo>
                      <a:pt x="5" y="2"/>
                    </a:lnTo>
                    <a:lnTo>
                      <a:pt x="2" y="5"/>
                    </a:lnTo>
                    <a:lnTo>
                      <a:pt x="0" y="3"/>
                    </a:lnTo>
                    <a:lnTo>
                      <a:pt x="0" y="2"/>
                    </a:lnTo>
                    <a:lnTo>
                      <a:pt x="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53" name="Freeform 882"/>
              <p:cNvSpPr>
                <a:spLocks/>
              </p:cNvSpPr>
              <p:nvPr/>
            </p:nvSpPr>
            <p:spPr bwMode="auto">
              <a:xfrm>
                <a:off x="6136525" y="2646877"/>
                <a:ext cx="5267" cy="5071"/>
              </a:xfrm>
              <a:custGeom>
                <a:avLst/>
                <a:gdLst/>
                <a:ahLst/>
                <a:cxnLst>
                  <a:cxn ang="0">
                    <a:pos x="3" y="0"/>
                  </a:cxn>
                  <a:cxn ang="0">
                    <a:pos x="3" y="0"/>
                  </a:cxn>
                  <a:cxn ang="0">
                    <a:pos x="3" y="0"/>
                  </a:cxn>
                  <a:cxn ang="0">
                    <a:pos x="5" y="2"/>
                  </a:cxn>
                  <a:cxn ang="0">
                    <a:pos x="2" y="5"/>
                  </a:cxn>
                  <a:cxn ang="0">
                    <a:pos x="0" y="3"/>
                  </a:cxn>
                  <a:cxn ang="0">
                    <a:pos x="0" y="2"/>
                  </a:cxn>
                  <a:cxn ang="0">
                    <a:pos x="3" y="0"/>
                  </a:cxn>
                </a:cxnLst>
                <a:rect l="0" t="0" r="r" b="b"/>
                <a:pathLst>
                  <a:path w="5" h="5">
                    <a:moveTo>
                      <a:pt x="3" y="0"/>
                    </a:moveTo>
                    <a:lnTo>
                      <a:pt x="3" y="0"/>
                    </a:lnTo>
                    <a:lnTo>
                      <a:pt x="3" y="0"/>
                    </a:lnTo>
                    <a:lnTo>
                      <a:pt x="5" y="2"/>
                    </a:lnTo>
                    <a:lnTo>
                      <a:pt x="2" y="5"/>
                    </a:lnTo>
                    <a:lnTo>
                      <a:pt x="0" y="3"/>
                    </a:lnTo>
                    <a:lnTo>
                      <a:pt x="0" y="2"/>
                    </a:lnTo>
                    <a:lnTo>
                      <a:pt x="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54" name="Freeform 883"/>
              <p:cNvSpPr>
                <a:spLocks/>
              </p:cNvSpPr>
              <p:nvPr/>
            </p:nvSpPr>
            <p:spPr bwMode="auto">
              <a:xfrm>
                <a:off x="6151448" y="2630651"/>
                <a:ext cx="14045" cy="14197"/>
              </a:xfrm>
              <a:custGeom>
                <a:avLst/>
                <a:gdLst/>
                <a:ahLst/>
                <a:cxnLst>
                  <a:cxn ang="0">
                    <a:pos x="11" y="0"/>
                  </a:cxn>
                  <a:cxn ang="0">
                    <a:pos x="11" y="3"/>
                  </a:cxn>
                  <a:cxn ang="0">
                    <a:pos x="11" y="5"/>
                  </a:cxn>
                  <a:cxn ang="0">
                    <a:pos x="14" y="5"/>
                  </a:cxn>
                  <a:cxn ang="0">
                    <a:pos x="15" y="6"/>
                  </a:cxn>
                  <a:cxn ang="0">
                    <a:pos x="14" y="11"/>
                  </a:cxn>
                  <a:cxn ang="0">
                    <a:pos x="11" y="14"/>
                  </a:cxn>
                  <a:cxn ang="0">
                    <a:pos x="6" y="11"/>
                  </a:cxn>
                  <a:cxn ang="0">
                    <a:pos x="5" y="9"/>
                  </a:cxn>
                  <a:cxn ang="0">
                    <a:pos x="3" y="9"/>
                  </a:cxn>
                  <a:cxn ang="0">
                    <a:pos x="2" y="9"/>
                  </a:cxn>
                  <a:cxn ang="0">
                    <a:pos x="0" y="8"/>
                  </a:cxn>
                  <a:cxn ang="0">
                    <a:pos x="3" y="5"/>
                  </a:cxn>
                  <a:cxn ang="0">
                    <a:pos x="11" y="0"/>
                  </a:cxn>
                  <a:cxn ang="0">
                    <a:pos x="12" y="0"/>
                  </a:cxn>
                  <a:cxn ang="0">
                    <a:pos x="11" y="0"/>
                  </a:cxn>
                </a:cxnLst>
                <a:rect l="0" t="0" r="r" b="b"/>
                <a:pathLst>
                  <a:path w="15" h="14">
                    <a:moveTo>
                      <a:pt x="11" y="0"/>
                    </a:moveTo>
                    <a:lnTo>
                      <a:pt x="11" y="3"/>
                    </a:lnTo>
                    <a:lnTo>
                      <a:pt x="11" y="5"/>
                    </a:lnTo>
                    <a:lnTo>
                      <a:pt x="14" y="5"/>
                    </a:lnTo>
                    <a:lnTo>
                      <a:pt x="15" y="6"/>
                    </a:lnTo>
                    <a:lnTo>
                      <a:pt x="14" y="11"/>
                    </a:lnTo>
                    <a:lnTo>
                      <a:pt x="11" y="14"/>
                    </a:lnTo>
                    <a:lnTo>
                      <a:pt x="6" y="11"/>
                    </a:lnTo>
                    <a:lnTo>
                      <a:pt x="5" y="9"/>
                    </a:lnTo>
                    <a:lnTo>
                      <a:pt x="3" y="9"/>
                    </a:lnTo>
                    <a:lnTo>
                      <a:pt x="2" y="9"/>
                    </a:lnTo>
                    <a:lnTo>
                      <a:pt x="0" y="8"/>
                    </a:lnTo>
                    <a:lnTo>
                      <a:pt x="3" y="5"/>
                    </a:lnTo>
                    <a:lnTo>
                      <a:pt x="11" y="0"/>
                    </a:lnTo>
                    <a:lnTo>
                      <a:pt x="12" y="0"/>
                    </a:lnTo>
                    <a:lnTo>
                      <a:pt x="1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55" name="Freeform 884"/>
              <p:cNvSpPr>
                <a:spLocks/>
              </p:cNvSpPr>
              <p:nvPr/>
            </p:nvSpPr>
            <p:spPr bwMode="auto">
              <a:xfrm>
                <a:off x="6151448" y="2630651"/>
                <a:ext cx="14045" cy="14197"/>
              </a:xfrm>
              <a:custGeom>
                <a:avLst/>
                <a:gdLst/>
                <a:ahLst/>
                <a:cxnLst>
                  <a:cxn ang="0">
                    <a:pos x="11" y="0"/>
                  </a:cxn>
                  <a:cxn ang="0">
                    <a:pos x="11" y="3"/>
                  </a:cxn>
                  <a:cxn ang="0">
                    <a:pos x="11" y="5"/>
                  </a:cxn>
                  <a:cxn ang="0">
                    <a:pos x="14" y="5"/>
                  </a:cxn>
                  <a:cxn ang="0">
                    <a:pos x="15" y="6"/>
                  </a:cxn>
                  <a:cxn ang="0">
                    <a:pos x="14" y="11"/>
                  </a:cxn>
                  <a:cxn ang="0">
                    <a:pos x="11" y="14"/>
                  </a:cxn>
                  <a:cxn ang="0">
                    <a:pos x="6" y="11"/>
                  </a:cxn>
                  <a:cxn ang="0">
                    <a:pos x="5" y="9"/>
                  </a:cxn>
                  <a:cxn ang="0">
                    <a:pos x="3" y="9"/>
                  </a:cxn>
                  <a:cxn ang="0">
                    <a:pos x="2" y="9"/>
                  </a:cxn>
                  <a:cxn ang="0">
                    <a:pos x="0" y="8"/>
                  </a:cxn>
                  <a:cxn ang="0">
                    <a:pos x="3" y="5"/>
                  </a:cxn>
                  <a:cxn ang="0">
                    <a:pos x="11" y="0"/>
                  </a:cxn>
                  <a:cxn ang="0">
                    <a:pos x="12" y="0"/>
                  </a:cxn>
                  <a:cxn ang="0">
                    <a:pos x="11" y="0"/>
                  </a:cxn>
                </a:cxnLst>
                <a:rect l="0" t="0" r="r" b="b"/>
                <a:pathLst>
                  <a:path w="15" h="14">
                    <a:moveTo>
                      <a:pt x="11" y="0"/>
                    </a:moveTo>
                    <a:lnTo>
                      <a:pt x="11" y="3"/>
                    </a:lnTo>
                    <a:lnTo>
                      <a:pt x="11" y="5"/>
                    </a:lnTo>
                    <a:lnTo>
                      <a:pt x="14" y="5"/>
                    </a:lnTo>
                    <a:lnTo>
                      <a:pt x="15" y="6"/>
                    </a:lnTo>
                    <a:lnTo>
                      <a:pt x="14" y="11"/>
                    </a:lnTo>
                    <a:lnTo>
                      <a:pt x="11" y="14"/>
                    </a:lnTo>
                    <a:lnTo>
                      <a:pt x="6" y="11"/>
                    </a:lnTo>
                    <a:lnTo>
                      <a:pt x="5" y="9"/>
                    </a:lnTo>
                    <a:lnTo>
                      <a:pt x="3" y="9"/>
                    </a:lnTo>
                    <a:lnTo>
                      <a:pt x="2" y="9"/>
                    </a:lnTo>
                    <a:lnTo>
                      <a:pt x="0" y="8"/>
                    </a:lnTo>
                    <a:lnTo>
                      <a:pt x="3" y="5"/>
                    </a:lnTo>
                    <a:lnTo>
                      <a:pt x="11" y="0"/>
                    </a:lnTo>
                    <a:lnTo>
                      <a:pt x="12" y="0"/>
                    </a:lnTo>
                    <a:lnTo>
                      <a:pt x="1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56" name="Freeform 885"/>
              <p:cNvSpPr>
                <a:spLocks/>
              </p:cNvSpPr>
              <p:nvPr/>
            </p:nvSpPr>
            <p:spPr bwMode="auto">
              <a:xfrm>
                <a:off x="6170760" y="2629638"/>
                <a:ext cx="5267" cy="3042"/>
              </a:xfrm>
              <a:custGeom>
                <a:avLst/>
                <a:gdLst/>
                <a:ahLst/>
                <a:cxnLst>
                  <a:cxn ang="0">
                    <a:pos x="4" y="0"/>
                  </a:cxn>
                  <a:cxn ang="0">
                    <a:pos x="6" y="0"/>
                  </a:cxn>
                  <a:cxn ang="0">
                    <a:pos x="6" y="3"/>
                  </a:cxn>
                  <a:cxn ang="0">
                    <a:pos x="4" y="3"/>
                  </a:cxn>
                  <a:cxn ang="0">
                    <a:pos x="1" y="3"/>
                  </a:cxn>
                  <a:cxn ang="0">
                    <a:pos x="0" y="1"/>
                  </a:cxn>
                  <a:cxn ang="0">
                    <a:pos x="1" y="0"/>
                  </a:cxn>
                  <a:cxn ang="0">
                    <a:pos x="3" y="0"/>
                  </a:cxn>
                  <a:cxn ang="0">
                    <a:pos x="4" y="0"/>
                  </a:cxn>
                  <a:cxn ang="0">
                    <a:pos x="4" y="0"/>
                  </a:cxn>
                </a:cxnLst>
                <a:rect l="0" t="0" r="r" b="b"/>
                <a:pathLst>
                  <a:path w="6" h="3">
                    <a:moveTo>
                      <a:pt x="4" y="0"/>
                    </a:moveTo>
                    <a:lnTo>
                      <a:pt x="6" y="0"/>
                    </a:lnTo>
                    <a:lnTo>
                      <a:pt x="6" y="3"/>
                    </a:lnTo>
                    <a:lnTo>
                      <a:pt x="4" y="3"/>
                    </a:lnTo>
                    <a:lnTo>
                      <a:pt x="1" y="3"/>
                    </a:lnTo>
                    <a:lnTo>
                      <a:pt x="0" y="1"/>
                    </a:lnTo>
                    <a:lnTo>
                      <a:pt x="1" y="0"/>
                    </a:lnTo>
                    <a:lnTo>
                      <a:pt x="3" y="0"/>
                    </a:lnTo>
                    <a:lnTo>
                      <a:pt x="4" y="0"/>
                    </a:lnTo>
                    <a:lnTo>
                      <a:pt x="4"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57" name="Freeform 886"/>
              <p:cNvSpPr>
                <a:spLocks/>
              </p:cNvSpPr>
              <p:nvPr/>
            </p:nvSpPr>
            <p:spPr bwMode="auto">
              <a:xfrm>
                <a:off x="6170760" y="2629638"/>
                <a:ext cx="5267" cy="3042"/>
              </a:xfrm>
              <a:custGeom>
                <a:avLst/>
                <a:gdLst/>
                <a:ahLst/>
                <a:cxnLst>
                  <a:cxn ang="0">
                    <a:pos x="4" y="0"/>
                  </a:cxn>
                  <a:cxn ang="0">
                    <a:pos x="6" y="0"/>
                  </a:cxn>
                  <a:cxn ang="0">
                    <a:pos x="6" y="3"/>
                  </a:cxn>
                  <a:cxn ang="0">
                    <a:pos x="4" y="3"/>
                  </a:cxn>
                  <a:cxn ang="0">
                    <a:pos x="1" y="3"/>
                  </a:cxn>
                  <a:cxn ang="0">
                    <a:pos x="0" y="1"/>
                  </a:cxn>
                  <a:cxn ang="0">
                    <a:pos x="1" y="0"/>
                  </a:cxn>
                  <a:cxn ang="0">
                    <a:pos x="3" y="0"/>
                  </a:cxn>
                  <a:cxn ang="0">
                    <a:pos x="4" y="0"/>
                  </a:cxn>
                  <a:cxn ang="0">
                    <a:pos x="4" y="0"/>
                  </a:cxn>
                </a:cxnLst>
                <a:rect l="0" t="0" r="r" b="b"/>
                <a:pathLst>
                  <a:path w="6" h="3">
                    <a:moveTo>
                      <a:pt x="4" y="0"/>
                    </a:moveTo>
                    <a:lnTo>
                      <a:pt x="6" y="0"/>
                    </a:lnTo>
                    <a:lnTo>
                      <a:pt x="6" y="3"/>
                    </a:lnTo>
                    <a:lnTo>
                      <a:pt x="4" y="3"/>
                    </a:lnTo>
                    <a:lnTo>
                      <a:pt x="1" y="3"/>
                    </a:lnTo>
                    <a:lnTo>
                      <a:pt x="0" y="1"/>
                    </a:lnTo>
                    <a:lnTo>
                      <a:pt x="1" y="0"/>
                    </a:lnTo>
                    <a:lnTo>
                      <a:pt x="3" y="0"/>
                    </a:lnTo>
                    <a:lnTo>
                      <a:pt x="4" y="0"/>
                    </a:lnTo>
                    <a:lnTo>
                      <a:pt x="4"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58" name="Freeform 887"/>
              <p:cNvSpPr>
                <a:spLocks/>
              </p:cNvSpPr>
              <p:nvPr/>
            </p:nvSpPr>
            <p:spPr bwMode="auto">
              <a:xfrm>
                <a:off x="7473416" y="3251301"/>
                <a:ext cx="3511" cy="5071"/>
              </a:xfrm>
              <a:custGeom>
                <a:avLst/>
                <a:gdLst/>
                <a:ahLst/>
                <a:cxnLst>
                  <a:cxn ang="0">
                    <a:pos x="4" y="3"/>
                  </a:cxn>
                  <a:cxn ang="0">
                    <a:pos x="4" y="2"/>
                  </a:cxn>
                  <a:cxn ang="0">
                    <a:pos x="3" y="0"/>
                  </a:cxn>
                  <a:cxn ang="0">
                    <a:pos x="0" y="2"/>
                  </a:cxn>
                  <a:cxn ang="0">
                    <a:pos x="0" y="3"/>
                  </a:cxn>
                  <a:cxn ang="0">
                    <a:pos x="0" y="5"/>
                  </a:cxn>
                  <a:cxn ang="0">
                    <a:pos x="1" y="5"/>
                  </a:cxn>
                  <a:cxn ang="0">
                    <a:pos x="3" y="3"/>
                  </a:cxn>
                  <a:cxn ang="0">
                    <a:pos x="4" y="3"/>
                  </a:cxn>
                </a:cxnLst>
                <a:rect l="0" t="0" r="r" b="b"/>
                <a:pathLst>
                  <a:path w="4" h="5">
                    <a:moveTo>
                      <a:pt x="4" y="3"/>
                    </a:moveTo>
                    <a:lnTo>
                      <a:pt x="4" y="2"/>
                    </a:lnTo>
                    <a:lnTo>
                      <a:pt x="3" y="0"/>
                    </a:lnTo>
                    <a:lnTo>
                      <a:pt x="0" y="2"/>
                    </a:lnTo>
                    <a:lnTo>
                      <a:pt x="0" y="3"/>
                    </a:lnTo>
                    <a:lnTo>
                      <a:pt x="0" y="5"/>
                    </a:lnTo>
                    <a:lnTo>
                      <a:pt x="1" y="5"/>
                    </a:lnTo>
                    <a:lnTo>
                      <a:pt x="3" y="3"/>
                    </a:lnTo>
                    <a:lnTo>
                      <a:pt x="4" y="3"/>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59" name="Freeform 888"/>
              <p:cNvSpPr>
                <a:spLocks/>
              </p:cNvSpPr>
              <p:nvPr/>
            </p:nvSpPr>
            <p:spPr bwMode="auto">
              <a:xfrm>
                <a:off x="7473416" y="3251301"/>
                <a:ext cx="3511" cy="5071"/>
              </a:xfrm>
              <a:custGeom>
                <a:avLst/>
                <a:gdLst/>
                <a:ahLst/>
                <a:cxnLst>
                  <a:cxn ang="0">
                    <a:pos x="4" y="3"/>
                  </a:cxn>
                  <a:cxn ang="0">
                    <a:pos x="4" y="2"/>
                  </a:cxn>
                  <a:cxn ang="0">
                    <a:pos x="3" y="0"/>
                  </a:cxn>
                  <a:cxn ang="0">
                    <a:pos x="0" y="2"/>
                  </a:cxn>
                  <a:cxn ang="0">
                    <a:pos x="0" y="3"/>
                  </a:cxn>
                  <a:cxn ang="0">
                    <a:pos x="0" y="5"/>
                  </a:cxn>
                  <a:cxn ang="0">
                    <a:pos x="1" y="5"/>
                  </a:cxn>
                  <a:cxn ang="0">
                    <a:pos x="3" y="3"/>
                  </a:cxn>
                  <a:cxn ang="0">
                    <a:pos x="4" y="3"/>
                  </a:cxn>
                </a:cxnLst>
                <a:rect l="0" t="0" r="r" b="b"/>
                <a:pathLst>
                  <a:path w="4" h="5">
                    <a:moveTo>
                      <a:pt x="4" y="3"/>
                    </a:moveTo>
                    <a:lnTo>
                      <a:pt x="4" y="2"/>
                    </a:lnTo>
                    <a:lnTo>
                      <a:pt x="3" y="0"/>
                    </a:lnTo>
                    <a:lnTo>
                      <a:pt x="0" y="2"/>
                    </a:lnTo>
                    <a:lnTo>
                      <a:pt x="0" y="3"/>
                    </a:lnTo>
                    <a:lnTo>
                      <a:pt x="0" y="5"/>
                    </a:lnTo>
                    <a:lnTo>
                      <a:pt x="1" y="5"/>
                    </a:lnTo>
                    <a:lnTo>
                      <a:pt x="3" y="3"/>
                    </a:lnTo>
                    <a:lnTo>
                      <a:pt x="4" y="3"/>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60" name="Freeform 889"/>
              <p:cNvSpPr>
                <a:spLocks/>
              </p:cNvSpPr>
              <p:nvPr/>
            </p:nvSpPr>
            <p:spPr bwMode="auto">
              <a:xfrm>
                <a:off x="8033452" y="3304035"/>
                <a:ext cx="6144" cy="4056"/>
              </a:xfrm>
              <a:custGeom>
                <a:avLst/>
                <a:gdLst/>
                <a:ahLst/>
                <a:cxnLst>
                  <a:cxn ang="0">
                    <a:pos x="0" y="0"/>
                  </a:cxn>
                  <a:cxn ang="0">
                    <a:pos x="0" y="0"/>
                  </a:cxn>
                  <a:cxn ang="0">
                    <a:pos x="1" y="0"/>
                  </a:cxn>
                  <a:cxn ang="0">
                    <a:pos x="1" y="0"/>
                  </a:cxn>
                  <a:cxn ang="0">
                    <a:pos x="7" y="0"/>
                  </a:cxn>
                  <a:cxn ang="0">
                    <a:pos x="6" y="3"/>
                  </a:cxn>
                  <a:cxn ang="0">
                    <a:pos x="4" y="3"/>
                  </a:cxn>
                  <a:cxn ang="0">
                    <a:pos x="3" y="3"/>
                  </a:cxn>
                  <a:cxn ang="0">
                    <a:pos x="3" y="3"/>
                  </a:cxn>
                  <a:cxn ang="0">
                    <a:pos x="0" y="4"/>
                  </a:cxn>
                  <a:cxn ang="0">
                    <a:pos x="0" y="3"/>
                  </a:cxn>
                  <a:cxn ang="0">
                    <a:pos x="0" y="2"/>
                  </a:cxn>
                  <a:cxn ang="0">
                    <a:pos x="0" y="2"/>
                  </a:cxn>
                  <a:cxn ang="0">
                    <a:pos x="0" y="0"/>
                  </a:cxn>
                </a:cxnLst>
                <a:rect l="0" t="0" r="r" b="b"/>
                <a:pathLst>
                  <a:path w="7" h="4">
                    <a:moveTo>
                      <a:pt x="0" y="0"/>
                    </a:moveTo>
                    <a:lnTo>
                      <a:pt x="0" y="0"/>
                    </a:lnTo>
                    <a:lnTo>
                      <a:pt x="1" y="0"/>
                    </a:lnTo>
                    <a:lnTo>
                      <a:pt x="1" y="0"/>
                    </a:lnTo>
                    <a:lnTo>
                      <a:pt x="7" y="0"/>
                    </a:lnTo>
                    <a:lnTo>
                      <a:pt x="6" y="3"/>
                    </a:lnTo>
                    <a:lnTo>
                      <a:pt x="4" y="3"/>
                    </a:lnTo>
                    <a:lnTo>
                      <a:pt x="3" y="3"/>
                    </a:lnTo>
                    <a:lnTo>
                      <a:pt x="3" y="3"/>
                    </a:lnTo>
                    <a:lnTo>
                      <a:pt x="0" y="4"/>
                    </a:lnTo>
                    <a:lnTo>
                      <a:pt x="0" y="3"/>
                    </a:lnTo>
                    <a:lnTo>
                      <a:pt x="0" y="2"/>
                    </a:lnTo>
                    <a:lnTo>
                      <a:pt x="0" y="2"/>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61" name="Freeform 890"/>
              <p:cNvSpPr>
                <a:spLocks/>
              </p:cNvSpPr>
              <p:nvPr/>
            </p:nvSpPr>
            <p:spPr bwMode="auto">
              <a:xfrm>
                <a:off x="8033452" y="3304035"/>
                <a:ext cx="6144" cy="4056"/>
              </a:xfrm>
              <a:custGeom>
                <a:avLst/>
                <a:gdLst/>
                <a:ahLst/>
                <a:cxnLst>
                  <a:cxn ang="0">
                    <a:pos x="0" y="0"/>
                  </a:cxn>
                  <a:cxn ang="0">
                    <a:pos x="0" y="0"/>
                  </a:cxn>
                  <a:cxn ang="0">
                    <a:pos x="1" y="0"/>
                  </a:cxn>
                  <a:cxn ang="0">
                    <a:pos x="1" y="0"/>
                  </a:cxn>
                  <a:cxn ang="0">
                    <a:pos x="7" y="0"/>
                  </a:cxn>
                  <a:cxn ang="0">
                    <a:pos x="6" y="3"/>
                  </a:cxn>
                  <a:cxn ang="0">
                    <a:pos x="4" y="3"/>
                  </a:cxn>
                  <a:cxn ang="0">
                    <a:pos x="3" y="3"/>
                  </a:cxn>
                  <a:cxn ang="0">
                    <a:pos x="3" y="3"/>
                  </a:cxn>
                  <a:cxn ang="0">
                    <a:pos x="0" y="4"/>
                  </a:cxn>
                  <a:cxn ang="0">
                    <a:pos x="0" y="3"/>
                  </a:cxn>
                  <a:cxn ang="0">
                    <a:pos x="0" y="2"/>
                  </a:cxn>
                  <a:cxn ang="0">
                    <a:pos x="0" y="2"/>
                  </a:cxn>
                  <a:cxn ang="0">
                    <a:pos x="0" y="0"/>
                  </a:cxn>
                </a:cxnLst>
                <a:rect l="0" t="0" r="r" b="b"/>
                <a:pathLst>
                  <a:path w="7" h="4">
                    <a:moveTo>
                      <a:pt x="0" y="0"/>
                    </a:moveTo>
                    <a:lnTo>
                      <a:pt x="0" y="0"/>
                    </a:lnTo>
                    <a:lnTo>
                      <a:pt x="1" y="0"/>
                    </a:lnTo>
                    <a:lnTo>
                      <a:pt x="1" y="0"/>
                    </a:lnTo>
                    <a:lnTo>
                      <a:pt x="7" y="0"/>
                    </a:lnTo>
                    <a:lnTo>
                      <a:pt x="6" y="3"/>
                    </a:lnTo>
                    <a:lnTo>
                      <a:pt x="4" y="3"/>
                    </a:lnTo>
                    <a:lnTo>
                      <a:pt x="3" y="3"/>
                    </a:lnTo>
                    <a:lnTo>
                      <a:pt x="3" y="3"/>
                    </a:lnTo>
                    <a:lnTo>
                      <a:pt x="0" y="4"/>
                    </a:lnTo>
                    <a:lnTo>
                      <a:pt x="0" y="3"/>
                    </a:lnTo>
                    <a:lnTo>
                      <a:pt x="0" y="2"/>
                    </a:lnTo>
                    <a:lnTo>
                      <a:pt x="0" y="2"/>
                    </a:lnTo>
                    <a:lnTo>
                      <a:pt x="0"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62" name="Freeform 891"/>
              <p:cNvSpPr>
                <a:spLocks/>
              </p:cNvSpPr>
              <p:nvPr/>
            </p:nvSpPr>
            <p:spPr bwMode="auto">
              <a:xfrm>
                <a:off x="8071197" y="3293894"/>
                <a:ext cx="3511" cy="4056"/>
              </a:xfrm>
              <a:custGeom>
                <a:avLst/>
                <a:gdLst/>
                <a:ahLst/>
                <a:cxnLst>
                  <a:cxn ang="0">
                    <a:pos x="1" y="1"/>
                  </a:cxn>
                  <a:cxn ang="0">
                    <a:pos x="1" y="0"/>
                  </a:cxn>
                  <a:cxn ang="0">
                    <a:pos x="4" y="3"/>
                  </a:cxn>
                  <a:cxn ang="0">
                    <a:pos x="3" y="4"/>
                  </a:cxn>
                  <a:cxn ang="0">
                    <a:pos x="1" y="3"/>
                  </a:cxn>
                  <a:cxn ang="0">
                    <a:pos x="0" y="1"/>
                  </a:cxn>
                  <a:cxn ang="0">
                    <a:pos x="1" y="1"/>
                  </a:cxn>
                </a:cxnLst>
                <a:rect l="0" t="0" r="r" b="b"/>
                <a:pathLst>
                  <a:path w="4" h="4">
                    <a:moveTo>
                      <a:pt x="1" y="1"/>
                    </a:moveTo>
                    <a:lnTo>
                      <a:pt x="1" y="0"/>
                    </a:lnTo>
                    <a:lnTo>
                      <a:pt x="4" y="3"/>
                    </a:lnTo>
                    <a:lnTo>
                      <a:pt x="3" y="4"/>
                    </a:lnTo>
                    <a:lnTo>
                      <a:pt x="1" y="3"/>
                    </a:lnTo>
                    <a:lnTo>
                      <a:pt x="0" y="1"/>
                    </a:lnTo>
                    <a:lnTo>
                      <a:pt x="1"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63" name="Freeform 892"/>
              <p:cNvSpPr>
                <a:spLocks/>
              </p:cNvSpPr>
              <p:nvPr/>
            </p:nvSpPr>
            <p:spPr bwMode="auto">
              <a:xfrm>
                <a:off x="8071197" y="3293894"/>
                <a:ext cx="3511" cy="4056"/>
              </a:xfrm>
              <a:custGeom>
                <a:avLst/>
                <a:gdLst/>
                <a:ahLst/>
                <a:cxnLst>
                  <a:cxn ang="0">
                    <a:pos x="1" y="1"/>
                  </a:cxn>
                  <a:cxn ang="0">
                    <a:pos x="1" y="0"/>
                  </a:cxn>
                  <a:cxn ang="0">
                    <a:pos x="4" y="3"/>
                  </a:cxn>
                  <a:cxn ang="0">
                    <a:pos x="3" y="4"/>
                  </a:cxn>
                  <a:cxn ang="0">
                    <a:pos x="1" y="3"/>
                  </a:cxn>
                  <a:cxn ang="0">
                    <a:pos x="0" y="1"/>
                  </a:cxn>
                  <a:cxn ang="0">
                    <a:pos x="1" y="1"/>
                  </a:cxn>
                </a:cxnLst>
                <a:rect l="0" t="0" r="r" b="b"/>
                <a:pathLst>
                  <a:path w="4" h="4">
                    <a:moveTo>
                      <a:pt x="1" y="1"/>
                    </a:moveTo>
                    <a:lnTo>
                      <a:pt x="1" y="0"/>
                    </a:lnTo>
                    <a:lnTo>
                      <a:pt x="4" y="3"/>
                    </a:lnTo>
                    <a:lnTo>
                      <a:pt x="3" y="4"/>
                    </a:lnTo>
                    <a:lnTo>
                      <a:pt x="1" y="3"/>
                    </a:lnTo>
                    <a:lnTo>
                      <a:pt x="0" y="1"/>
                    </a:lnTo>
                    <a:lnTo>
                      <a:pt x="1" y="1"/>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64" name="Freeform 893"/>
              <p:cNvSpPr>
                <a:spLocks/>
              </p:cNvSpPr>
              <p:nvPr/>
            </p:nvSpPr>
            <p:spPr bwMode="auto">
              <a:xfrm>
                <a:off x="8077342" y="3310120"/>
                <a:ext cx="5267" cy="4056"/>
              </a:xfrm>
              <a:custGeom>
                <a:avLst/>
                <a:gdLst/>
                <a:ahLst/>
                <a:cxnLst>
                  <a:cxn ang="0">
                    <a:pos x="0" y="1"/>
                  </a:cxn>
                  <a:cxn ang="0">
                    <a:pos x="0" y="0"/>
                  </a:cxn>
                  <a:cxn ang="0">
                    <a:pos x="6" y="0"/>
                  </a:cxn>
                  <a:cxn ang="0">
                    <a:pos x="6" y="3"/>
                  </a:cxn>
                  <a:cxn ang="0">
                    <a:pos x="6" y="3"/>
                  </a:cxn>
                  <a:cxn ang="0">
                    <a:pos x="3" y="4"/>
                  </a:cxn>
                  <a:cxn ang="0">
                    <a:pos x="0" y="1"/>
                  </a:cxn>
                  <a:cxn ang="0">
                    <a:pos x="0" y="1"/>
                  </a:cxn>
                </a:cxnLst>
                <a:rect l="0" t="0" r="r" b="b"/>
                <a:pathLst>
                  <a:path w="6" h="4">
                    <a:moveTo>
                      <a:pt x="0" y="1"/>
                    </a:moveTo>
                    <a:lnTo>
                      <a:pt x="0" y="0"/>
                    </a:lnTo>
                    <a:lnTo>
                      <a:pt x="6" y="0"/>
                    </a:lnTo>
                    <a:lnTo>
                      <a:pt x="6" y="3"/>
                    </a:lnTo>
                    <a:lnTo>
                      <a:pt x="6" y="3"/>
                    </a:lnTo>
                    <a:lnTo>
                      <a:pt x="3" y="4"/>
                    </a:lnTo>
                    <a:lnTo>
                      <a:pt x="0" y="1"/>
                    </a:lnTo>
                    <a:lnTo>
                      <a:pt x="0"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65" name="Freeform 894"/>
              <p:cNvSpPr>
                <a:spLocks/>
              </p:cNvSpPr>
              <p:nvPr/>
            </p:nvSpPr>
            <p:spPr bwMode="auto">
              <a:xfrm>
                <a:off x="8077342" y="3310120"/>
                <a:ext cx="5267" cy="4056"/>
              </a:xfrm>
              <a:custGeom>
                <a:avLst/>
                <a:gdLst/>
                <a:ahLst/>
                <a:cxnLst>
                  <a:cxn ang="0">
                    <a:pos x="0" y="1"/>
                  </a:cxn>
                  <a:cxn ang="0">
                    <a:pos x="0" y="0"/>
                  </a:cxn>
                  <a:cxn ang="0">
                    <a:pos x="6" y="0"/>
                  </a:cxn>
                  <a:cxn ang="0">
                    <a:pos x="6" y="3"/>
                  </a:cxn>
                  <a:cxn ang="0">
                    <a:pos x="6" y="3"/>
                  </a:cxn>
                  <a:cxn ang="0">
                    <a:pos x="3" y="4"/>
                  </a:cxn>
                  <a:cxn ang="0">
                    <a:pos x="0" y="1"/>
                  </a:cxn>
                  <a:cxn ang="0">
                    <a:pos x="0" y="1"/>
                  </a:cxn>
                </a:cxnLst>
                <a:rect l="0" t="0" r="r" b="b"/>
                <a:pathLst>
                  <a:path w="6" h="4">
                    <a:moveTo>
                      <a:pt x="0" y="1"/>
                    </a:moveTo>
                    <a:lnTo>
                      <a:pt x="0" y="0"/>
                    </a:lnTo>
                    <a:lnTo>
                      <a:pt x="6" y="0"/>
                    </a:lnTo>
                    <a:lnTo>
                      <a:pt x="6" y="3"/>
                    </a:lnTo>
                    <a:lnTo>
                      <a:pt x="6" y="3"/>
                    </a:lnTo>
                    <a:lnTo>
                      <a:pt x="3" y="4"/>
                    </a:lnTo>
                    <a:lnTo>
                      <a:pt x="0" y="1"/>
                    </a:lnTo>
                    <a:lnTo>
                      <a:pt x="0" y="1"/>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66" name="Freeform 895"/>
              <p:cNvSpPr>
                <a:spLocks/>
              </p:cNvSpPr>
              <p:nvPr/>
            </p:nvSpPr>
            <p:spPr bwMode="auto">
              <a:xfrm>
                <a:off x="8088754" y="3313163"/>
                <a:ext cx="29845" cy="31438"/>
              </a:xfrm>
              <a:custGeom>
                <a:avLst/>
                <a:gdLst/>
                <a:ahLst/>
                <a:cxnLst>
                  <a:cxn ang="0">
                    <a:pos x="0" y="0"/>
                  </a:cxn>
                  <a:cxn ang="0">
                    <a:pos x="0" y="0"/>
                  </a:cxn>
                  <a:cxn ang="0">
                    <a:pos x="14" y="9"/>
                  </a:cxn>
                  <a:cxn ang="0">
                    <a:pos x="17" y="9"/>
                  </a:cxn>
                  <a:cxn ang="0">
                    <a:pos x="24" y="14"/>
                  </a:cxn>
                  <a:cxn ang="0">
                    <a:pos x="26" y="17"/>
                  </a:cxn>
                  <a:cxn ang="0">
                    <a:pos x="27" y="19"/>
                  </a:cxn>
                  <a:cxn ang="0">
                    <a:pos x="30" y="19"/>
                  </a:cxn>
                  <a:cxn ang="0">
                    <a:pos x="31" y="20"/>
                  </a:cxn>
                  <a:cxn ang="0">
                    <a:pos x="33" y="25"/>
                  </a:cxn>
                  <a:cxn ang="0">
                    <a:pos x="33" y="26"/>
                  </a:cxn>
                  <a:cxn ang="0">
                    <a:pos x="31" y="30"/>
                  </a:cxn>
                  <a:cxn ang="0">
                    <a:pos x="29" y="30"/>
                  </a:cxn>
                  <a:cxn ang="0">
                    <a:pos x="23" y="13"/>
                  </a:cxn>
                  <a:cxn ang="0">
                    <a:pos x="21" y="13"/>
                  </a:cxn>
                  <a:cxn ang="0">
                    <a:pos x="17" y="11"/>
                  </a:cxn>
                  <a:cxn ang="0">
                    <a:pos x="11" y="7"/>
                  </a:cxn>
                  <a:cxn ang="0">
                    <a:pos x="10" y="7"/>
                  </a:cxn>
                  <a:cxn ang="0">
                    <a:pos x="2" y="3"/>
                  </a:cxn>
                  <a:cxn ang="0">
                    <a:pos x="0" y="1"/>
                  </a:cxn>
                  <a:cxn ang="0">
                    <a:pos x="0" y="0"/>
                  </a:cxn>
                </a:cxnLst>
                <a:rect l="0" t="0" r="r" b="b"/>
                <a:pathLst>
                  <a:path w="33" h="30">
                    <a:moveTo>
                      <a:pt x="0" y="0"/>
                    </a:moveTo>
                    <a:lnTo>
                      <a:pt x="0" y="0"/>
                    </a:lnTo>
                    <a:lnTo>
                      <a:pt x="14" y="9"/>
                    </a:lnTo>
                    <a:lnTo>
                      <a:pt x="17" y="9"/>
                    </a:lnTo>
                    <a:lnTo>
                      <a:pt x="24" y="14"/>
                    </a:lnTo>
                    <a:lnTo>
                      <a:pt x="26" y="17"/>
                    </a:lnTo>
                    <a:lnTo>
                      <a:pt x="27" y="19"/>
                    </a:lnTo>
                    <a:lnTo>
                      <a:pt x="30" y="19"/>
                    </a:lnTo>
                    <a:lnTo>
                      <a:pt x="31" y="20"/>
                    </a:lnTo>
                    <a:lnTo>
                      <a:pt x="33" y="25"/>
                    </a:lnTo>
                    <a:lnTo>
                      <a:pt x="33" y="26"/>
                    </a:lnTo>
                    <a:lnTo>
                      <a:pt x="31" y="30"/>
                    </a:lnTo>
                    <a:lnTo>
                      <a:pt x="29" y="30"/>
                    </a:lnTo>
                    <a:lnTo>
                      <a:pt x="23" y="13"/>
                    </a:lnTo>
                    <a:lnTo>
                      <a:pt x="21" y="13"/>
                    </a:lnTo>
                    <a:lnTo>
                      <a:pt x="17" y="11"/>
                    </a:lnTo>
                    <a:lnTo>
                      <a:pt x="11" y="7"/>
                    </a:lnTo>
                    <a:lnTo>
                      <a:pt x="10" y="7"/>
                    </a:lnTo>
                    <a:lnTo>
                      <a:pt x="2" y="3"/>
                    </a:lnTo>
                    <a:lnTo>
                      <a:pt x="0" y="1"/>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67" name="Freeform 896"/>
              <p:cNvSpPr>
                <a:spLocks/>
              </p:cNvSpPr>
              <p:nvPr/>
            </p:nvSpPr>
            <p:spPr bwMode="auto">
              <a:xfrm>
                <a:off x="8088754" y="3313163"/>
                <a:ext cx="29845" cy="31438"/>
              </a:xfrm>
              <a:custGeom>
                <a:avLst/>
                <a:gdLst/>
                <a:ahLst/>
                <a:cxnLst>
                  <a:cxn ang="0">
                    <a:pos x="0" y="0"/>
                  </a:cxn>
                  <a:cxn ang="0">
                    <a:pos x="0" y="0"/>
                  </a:cxn>
                  <a:cxn ang="0">
                    <a:pos x="14" y="9"/>
                  </a:cxn>
                  <a:cxn ang="0">
                    <a:pos x="17" y="9"/>
                  </a:cxn>
                  <a:cxn ang="0">
                    <a:pos x="24" y="14"/>
                  </a:cxn>
                  <a:cxn ang="0">
                    <a:pos x="26" y="17"/>
                  </a:cxn>
                  <a:cxn ang="0">
                    <a:pos x="27" y="19"/>
                  </a:cxn>
                  <a:cxn ang="0">
                    <a:pos x="30" y="19"/>
                  </a:cxn>
                  <a:cxn ang="0">
                    <a:pos x="31" y="20"/>
                  </a:cxn>
                  <a:cxn ang="0">
                    <a:pos x="33" y="25"/>
                  </a:cxn>
                  <a:cxn ang="0">
                    <a:pos x="33" y="26"/>
                  </a:cxn>
                  <a:cxn ang="0">
                    <a:pos x="31" y="30"/>
                  </a:cxn>
                  <a:cxn ang="0">
                    <a:pos x="29" y="30"/>
                  </a:cxn>
                  <a:cxn ang="0">
                    <a:pos x="23" y="13"/>
                  </a:cxn>
                  <a:cxn ang="0">
                    <a:pos x="21" y="13"/>
                  </a:cxn>
                  <a:cxn ang="0">
                    <a:pos x="17" y="11"/>
                  </a:cxn>
                  <a:cxn ang="0">
                    <a:pos x="11" y="7"/>
                  </a:cxn>
                  <a:cxn ang="0">
                    <a:pos x="10" y="7"/>
                  </a:cxn>
                  <a:cxn ang="0">
                    <a:pos x="2" y="3"/>
                  </a:cxn>
                  <a:cxn ang="0">
                    <a:pos x="0" y="1"/>
                  </a:cxn>
                  <a:cxn ang="0">
                    <a:pos x="0" y="0"/>
                  </a:cxn>
                </a:cxnLst>
                <a:rect l="0" t="0" r="r" b="b"/>
                <a:pathLst>
                  <a:path w="33" h="30">
                    <a:moveTo>
                      <a:pt x="0" y="0"/>
                    </a:moveTo>
                    <a:lnTo>
                      <a:pt x="0" y="0"/>
                    </a:lnTo>
                    <a:lnTo>
                      <a:pt x="14" y="9"/>
                    </a:lnTo>
                    <a:lnTo>
                      <a:pt x="17" y="9"/>
                    </a:lnTo>
                    <a:lnTo>
                      <a:pt x="24" y="14"/>
                    </a:lnTo>
                    <a:lnTo>
                      <a:pt x="26" y="17"/>
                    </a:lnTo>
                    <a:lnTo>
                      <a:pt x="27" y="19"/>
                    </a:lnTo>
                    <a:lnTo>
                      <a:pt x="30" y="19"/>
                    </a:lnTo>
                    <a:lnTo>
                      <a:pt x="31" y="20"/>
                    </a:lnTo>
                    <a:lnTo>
                      <a:pt x="33" y="25"/>
                    </a:lnTo>
                    <a:lnTo>
                      <a:pt x="33" y="26"/>
                    </a:lnTo>
                    <a:lnTo>
                      <a:pt x="31" y="30"/>
                    </a:lnTo>
                    <a:lnTo>
                      <a:pt x="29" y="30"/>
                    </a:lnTo>
                    <a:lnTo>
                      <a:pt x="23" y="13"/>
                    </a:lnTo>
                    <a:lnTo>
                      <a:pt x="21" y="13"/>
                    </a:lnTo>
                    <a:lnTo>
                      <a:pt x="17" y="11"/>
                    </a:lnTo>
                    <a:lnTo>
                      <a:pt x="11" y="7"/>
                    </a:lnTo>
                    <a:lnTo>
                      <a:pt x="10" y="7"/>
                    </a:lnTo>
                    <a:lnTo>
                      <a:pt x="2" y="3"/>
                    </a:lnTo>
                    <a:lnTo>
                      <a:pt x="0" y="1"/>
                    </a:lnTo>
                    <a:lnTo>
                      <a:pt x="0"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68" name="Freeform 897"/>
              <p:cNvSpPr>
                <a:spLocks/>
              </p:cNvSpPr>
              <p:nvPr/>
            </p:nvSpPr>
            <p:spPr bwMode="auto">
              <a:xfrm>
                <a:off x="8038720" y="3352713"/>
                <a:ext cx="2633" cy="3043"/>
              </a:xfrm>
              <a:custGeom>
                <a:avLst/>
                <a:gdLst/>
                <a:ahLst/>
                <a:cxnLst>
                  <a:cxn ang="0">
                    <a:pos x="0" y="0"/>
                  </a:cxn>
                  <a:cxn ang="0">
                    <a:pos x="1" y="0"/>
                  </a:cxn>
                  <a:cxn ang="0">
                    <a:pos x="3" y="0"/>
                  </a:cxn>
                  <a:cxn ang="0">
                    <a:pos x="3" y="1"/>
                  </a:cxn>
                  <a:cxn ang="0">
                    <a:pos x="1" y="3"/>
                  </a:cxn>
                  <a:cxn ang="0">
                    <a:pos x="1" y="3"/>
                  </a:cxn>
                  <a:cxn ang="0">
                    <a:pos x="0" y="1"/>
                  </a:cxn>
                  <a:cxn ang="0">
                    <a:pos x="0" y="0"/>
                  </a:cxn>
                </a:cxnLst>
                <a:rect l="0" t="0" r="r" b="b"/>
                <a:pathLst>
                  <a:path w="3" h="3">
                    <a:moveTo>
                      <a:pt x="0" y="0"/>
                    </a:moveTo>
                    <a:lnTo>
                      <a:pt x="1" y="0"/>
                    </a:lnTo>
                    <a:lnTo>
                      <a:pt x="3" y="0"/>
                    </a:lnTo>
                    <a:lnTo>
                      <a:pt x="3" y="1"/>
                    </a:lnTo>
                    <a:lnTo>
                      <a:pt x="1" y="3"/>
                    </a:lnTo>
                    <a:lnTo>
                      <a:pt x="1" y="3"/>
                    </a:lnTo>
                    <a:lnTo>
                      <a:pt x="0" y="1"/>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69" name="Freeform 898"/>
              <p:cNvSpPr>
                <a:spLocks/>
              </p:cNvSpPr>
              <p:nvPr/>
            </p:nvSpPr>
            <p:spPr bwMode="auto">
              <a:xfrm>
                <a:off x="8038720" y="3352713"/>
                <a:ext cx="2633" cy="3043"/>
              </a:xfrm>
              <a:custGeom>
                <a:avLst/>
                <a:gdLst/>
                <a:ahLst/>
                <a:cxnLst>
                  <a:cxn ang="0">
                    <a:pos x="0" y="0"/>
                  </a:cxn>
                  <a:cxn ang="0">
                    <a:pos x="1" y="0"/>
                  </a:cxn>
                  <a:cxn ang="0">
                    <a:pos x="3" y="0"/>
                  </a:cxn>
                  <a:cxn ang="0">
                    <a:pos x="3" y="1"/>
                  </a:cxn>
                  <a:cxn ang="0">
                    <a:pos x="1" y="3"/>
                  </a:cxn>
                  <a:cxn ang="0">
                    <a:pos x="1" y="3"/>
                  </a:cxn>
                  <a:cxn ang="0">
                    <a:pos x="0" y="1"/>
                  </a:cxn>
                  <a:cxn ang="0">
                    <a:pos x="0" y="0"/>
                  </a:cxn>
                </a:cxnLst>
                <a:rect l="0" t="0" r="r" b="b"/>
                <a:pathLst>
                  <a:path w="3" h="3">
                    <a:moveTo>
                      <a:pt x="0" y="0"/>
                    </a:moveTo>
                    <a:lnTo>
                      <a:pt x="1" y="0"/>
                    </a:lnTo>
                    <a:lnTo>
                      <a:pt x="3" y="0"/>
                    </a:lnTo>
                    <a:lnTo>
                      <a:pt x="3" y="1"/>
                    </a:lnTo>
                    <a:lnTo>
                      <a:pt x="1" y="3"/>
                    </a:lnTo>
                    <a:lnTo>
                      <a:pt x="1" y="3"/>
                    </a:lnTo>
                    <a:lnTo>
                      <a:pt x="0" y="1"/>
                    </a:lnTo>
                    <a:lnTo>
                      <a:pt x="0"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70" name="Freeform 899"/>
              <p:cNvSpPr>
                <a:spLocks/>
              </p:cNvSpPr>
              <p:nvPr/>
            </p:nvSpPr>
            <p:spPr bwMode="auto">
              <a:xfrm>
                <a:off x="8049253" y="3355756"/>
                <a:ext cx="2633" cy="5071"/>
              </a:xfrm>
              <a:custGeom>
                <a:avLst/>
                <a:gdLst/>
                <a:ahLst/>
                <a:cxnLst>
                  <a:cxn ang="0">
                    <a:pos x="0" y="1"/>
                  </a:cxn>
                  <a:cxn ang="0">
                    <a:pos x="0" y="0"/>
                  </a:cxn>
                  <a:cxn ang="0">
                    <a:pos x="2" y="1"/>
                  </a:cxn>
                  <a:cxn ang="0">
                    <a:pos x="3" y="1"/>
                  </a:cxn>
                  <a:cxn ang="0">
                    <a:pos x="3" y="4"/>
                  </a:cxn>
                  <a:cxn ang="0">
                    <a:pos x="2" y="4"/>
                  </a:cxn>
                  <a:cxn ang="0">
                    <a:pos x="0" y="1"/>
                  </a:cxn>
                </a:cxnLst>
                <a:rect l="0" t="0" r="r" b="b"/>
                <a:pathLst>
                  <a:path w="3" h="4">
                    <a:moveTo>
                      <a:pt x="0" y="1"/>
                    </a:moveTo>
                    <a:lnTo>
                      <a:pt x="0" y="0"/>
                    </a:lnTo>
                    <a:lnTo>
                      <a:pt x="2" y="1"/>
                    </a:lnTo>
                    <a:lnTo>
                      <a:pt x="3" y="1"/>
                    </a:lnTo>
                    <a:lnTo>
                      <a:pt x="3" y="4"/>
                    </a:lnTo>
                    <a:lnTo>
                      <a:pt x="2" y="4"/>
                    </a:lnTo>
                    <a:lnTo>
                      <a:pt x="0"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71" name="Freeform 900"/>
              <p:cNvSpPr>
                <a:spLocks/>
              </p:cNvSpPr>
              <p:nvPr/>
            </p:nvSpPr>
            <p:spPr bwMode="auto">
              <a:xfrm>
                <a:off x="8049253" y="3355756"/>
                <a:ext cx="2633" cy="5071"/>
              </a:xfrm>
              <a:custGeom>
                <a:avLst/>
                <a:gdLst/>
                <a:ahLst/>
                <a:cxnLst>
                  <a:cxn ang="0">
                    <a:pos x="0" y="1"/>
                  </a:cxn>
                  <a:cxn ang="0">
                    <a:pos x="0" y="0"/>
                  </a:cxn>
                  <a:cxn ang="0">
                    <a:pos x="2" y="1"/>
                  </a:cxn>
                  <a:cxn ang="0">
                    <a:pos x="3" y="1"/>
                  </a:cxn>
                  <a:cxn ang="0">
                    <a:pos x="3" y="4"/>
                  </a:cxn>
                  <a:cxn ang="0">
                    <a:pos x="2" y="4"/>
                  </a:cxn>
                  <a:cxn ang="0">
                    <a:pos x="0" y="1"/>
                  </a:cxn>
                </a:cxnLst>
                <a:rect l="0" t="0" r="r" b="b"/>
                <a:pathLst>
                  <a:path w="3" h="4">
                    <a:moveTo>
                      <a:pt x="0" y="1"/>
                    </a:moveTo>
                    <a:lnTo>
                      <a:pt x="0" y="0"/>
                    </a:lnTo>
                    <a:lnTo>
                      <a:pt x="2" y="1"/>
                    </a:lnTo>
                    <a:lnTo>
                      <a:pt x="3" y="1"/>
                    </a:lnTo>
                    <a:lnTo>
                      <a:pt x="3" y="4"/>
                    </a:lnTo>
                    <a:lnTo>
                      <a:pt x="2" y="4"/>
                    </a:lnTo>
                    <a:lnTo>
                      <a:pt x="0" y="1"/>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72" name="Freeform 901"/>
              <p:cNvSpPr>
                <a:spLocks/>
              </p:cNvSpPr>
              <p:nvPr/>
            </p:nvSpPr>
            <p:spPr bwMode="auto">
              <a:xfrm>
                <a:off x="8056275" y="3337502"/>
                <a:ext cx="53546" cy="30424"/>
              </a:xfrm>
              <a:custGeom>
                <a:avLst/>
                <a:gdLst/>
                <a:ahLst/>
                <a:cxnLst>
                  <a:cxn ang="0">
                    <a:pos x="0" y="18"/>
                  </a:cxn>
                  <a:cxn ang="0">
                    <a:pos x="1" y="18"/>
                  </a:cxn>
                  <a:cxn ang="0">
                    <a:pos x="3" y="18"/>
                  </a:cxn>
                  <a:cxn ang="0">
                    <a:pos x="20" y="18"/>
                  </a:cxn>
                  <a:cxn ang="0">
                    <a:pos x="21" y="18"/>
                  </a:cxn>
                  <a:cxn ang="0">
                    <a:pos x="21" y="15"/>
                  </a:cxn>
                  <a:cxn ang="0">
                    <a:pos x="23" y="12"/>
                  </a:cxn>
                  <a:cxn ang="0">
                    <a:pos x="24" y="12"/>
                  </a:cxn>
                  <a:cxn ang="0">
                    <a:pos x="26" y="12"/>
                  </a:cxn>
                  <a:cxn ang="0">
                    <a:pos x="24" y="15"/>
                  </a:cxn>
                  <a:cxn ang="0">
                    <a:pos x="24" y="18"/>
                  </a:cxn>
                  <a:cxn ang="0">
                    <a:pos x="26" y="18"/>
                  </a:cxn>
                  <a:cxn ang="0">
                    <a:pos x="30" y="18"/>
                  </a:cxn>
                  <a:cxn ang="0">
                    <a:pos x="32" y="18"/>
                  </a:cxn>
                  <a:cxn ang="0">
                    <a:pos x="35" y="18"/>
                  </a:cxn>
                  <a:cxn ang="0">
                    <a:pos x="36" y="18"/>
                  </a:cxn>
                  <a:cxn ang="0">
                    <a:pos x="40" y="12"/>
                  </a:cxn>
                  <a:cxn ang="0">
                    <a:pos x="43" y="10"/>
                  </a:cxn>
                  <a:cxn ang="0">
                    <a:pos x="45" y="10"/>
                  </a:cxn>
                  <a:cxn ang="0">
                    <a:pos x="48" y="9"/>
                  </a:cxn>
                  <a:cxn ang="0">
                    <a:pos x="48" y="6"/>
                  </a:cxn>
                  <a:cxn ang="0">
                    <a:pos x="46" y="2"/>
                  </a:cxn>
                  <a:cxn ang="0">
                    <a:pos x="46" y="0"/>
                  </a:cxn>
                  <a:cxn ang="0">
                    <a:pos x="48" y="0"/>
                  </a:cxn>
                  <a:cxn ang="0">
                    <a:pos x="51" y="0"/>
                  </a:cxn>
                  <a:cxn ang="0">
                    <a:pos x="52" y="0"/>
                  </a:cxn>
                  <a:cxn ang="0">
                    <a:pos x="52" y="0"/>
                  </a:cxn>
                  <a:cxn ang="0">
                    <a:pos x="53" y="0"/>
                  </a:cxn>
                  <a:cxn ang="0">
                    <a:pos x="56" y="0"/>
                  </a:cxn>
                  <a:cxn ang="0">
                    <a:pos x="58" y="3"/>
                  </a:cxn>
                  <a:cxn ang="0">
                    <a:pos x="58" y="6"/>
                  </a:cxn>
                  <a:cxn ang="0">
                    <a:pos x="56" y="9"/>
                  </a:cxn>
                  <a:cxn ang="0">
                    <a:pos x="55" y="10"/>
                  </a:cxn>
                  <a:cxn ang="0">
                    <a:pos x="53" y="10"/>
                  </a:cxn>
                  <a:cxn ang="0">
                    <a:pos x="53" y="13"/>
                  </a:cxn>
                  <a:cxn ang="0">
                    <a:pos x="53" y="16"/>
                  </a:cxn>
                  <a:cxn ang="0">
                    <a:pos x="52" y="19"/>
                  </a:cxn>
                  <a:cxn ang="0">
                    <a:pos x="51" y="19"/>
                  </a:cxn>
                  <a:cxn ang="0">
                    <a:pos x="46" y="19"/>
                  </a:cxn>
                  <a:cxn ang="0">
                    <a:pos x="46" y="20"/>
                  </a:cxn>
                  <a:cxn ang="0">
                    <a:pos x="46" y="22"/>
                  </a:cxn>
                  <a:cxn ang="0">
                    <a:pos x="43" y="25"/>
                  </a:cxn>
                  <a:cxn ang="0">
                    <a:pos x="33" y="29"/>
                  </a:cxn>
                  <a:cxn ang="0">
                    <a:pos x="20" y="29"/>
                  </a:cxn>
                  <a:cxn ang="0">
                    <a:pos x="16" y="26"/>
                  </a:cxn>
                  <a:cxn ang="0">
                    <a:pos x="11" y="28"/>
                  </a:cxn>
                  <a:cxn ang="0">
                    <a:pos x="6" y="25"/>
                  </a:cxn>
                  <a:cxn ang="0">
                    <a:pos x="3" y="23"/>
                  </a:cxn>
                  <a:cxn ang="0">
                    <a:pos x="0" y="20"/>
                  </a:cxn>
                  <a:cxn ang="0">
                    <a:pos x="0" y="18"/>
                  </a:cxn>
                </a:cxnLst>
                <a:rect l="0" t="0" r="r" b="b"/>
                <a:pathLst>
                  <a:path w="58" h="29">
                    <a:moveTo>
                      <a:pt x="0" y="18"/>
                    </a:moveTo>
                    <a:lnTo>
                      <a:pt x="1" y="18"/>
                    </a:lnTo>
                    <a:lnTo>
                      <a:pt x="3" y="18"/>
                    </a:lnTo>
                    <a:lnTo>
                      <a:pt x="20" y="18"/>
                    </a:lnTo>
                    <a:lnTo>
                      <a:pt x="21" y="18"/>
                    </a:lnTo>
                    <a:lnTo>
                      <a:pt x="21" y="15"/>
                    </a:lnTo>
                    <a:lnTo>
                      <a:pt x="23" y="12"/>
                    </a:lnTo>
                    <a:lnTo>
                      <a:pt x="24" y="12"/>
                    </a:lnTo>
                    <a:lnTo>
                      <a:pt x="26" y="12"/>
                    </a:lnTo>
                    <a:lnTo>
                      <a:pt x="24" y="15"/>
                    </a:lnTo>
                    <a:lnTo>
                      <a:pt x="24" y="18"/>
                    </a:lnTo>
                    <a:lnTo>
                      <a:pt x="26" y="18"/>
                    </a:lnTo>
                    <a:lnTo>
                      <a:pt x="30" y="18"/>
                    </a:lnTo>
                    <a:lnTo>
                      <a:pt x="32" y="18"/>
                    </a:lnTo>
                    <a:lnTo>
                      <a:pt x="35" y="18"/>
                    </a:lnTo>
                    <a:lnTo>
                      <a:pt x="36" y="18"/>
                    </a:lnTo>
                    <a:lnTo>
                      <a:pt x="40" y="12"/>
                    </a:lnTo>
                    <a:lnTo>
                      <a:pt x="43" y="10"/>
                    </a:lnTo>
                    <a:lnTo>
                      <a:pt x="45" y="10"/>
                    </a:lnTo>
                    <a:lnTo>
                      <a:pt x="48" y="9"/>
                    </a:lnTo>
                    <a:lnTo>
                      <a:pt x="48" y="6"/>
                    </a:lnTo>
                    <a:lnTo>
                      <a:pt x="46" y="2"/>
                    </a:lnTo>
                    <a:lnTo>
                      <a:pt x="46" y="0"/>
                    </a:lnTo>
                    <a:lnTo>
                      <a:pt x="48" y="0"/>
                    </a:lnTo>
                    <a:lnTo>
                      <a:pt x="51" y="0"/>
                    </a:lnTo>
                    <a:lnTo>
                      <a:pt x="52" y="0"/>
                    </a:lnTo>
                    <a:lnTo>
                      <a:pt x="52" y="0"/>
                    </a:lnTo>
                    <a:lnTo>
                      <a:pt x="53" y="0"/>
                    </a:lnTo>
                    <a:lnTo>
                      <a:pt x="56" y="0"/>
                    </a:lnTo>
                    <a:lnTo>
                      <a:pt x="58" y="3"/>
                    </a:lnTo>
                    <a:lnTo>
                      <a:pt x="58" y="6"/>
                    </a:lnTo>
                    <a:lnTo>
                      <a:pt x="56" y="9"/>
                    </a:lnTo>
                    <a:lnTo>
                      <a:pt x="55" y="10"/>
                    </a:lnTo>
                    <a:lnTo>
                      <a:pt x="53" y="10"/>
                    </a:lnTo>
                    <a:lnTo>
                      <a:pt x="53" y="13"/>
                    </a:lnTo>
                    <a:lnTo>
                      <a:pt x="53" y="16"/>
                    </a:lnTo>
                    <a:lnTo>
                      <a:pt x="52" y="19"/>
                    </a:lnTo>
                    <a:lnTo>
                      <a:pt x="51" y="19"/>
                    </a:lnTo>
                    <a:lnTo>
                      <a:pt x="46" y="19"/>
                    </a:lnTo>
                    <a:lnTo>
                      <a:pt x="46" y="20"/>
                    </a:lnTo>
                    <a:lnTo>
                      <a:pt x="46" y="22"/>
                    </a:lnTo>
                    <a:lnTo>
                      <a:pt x="43" y="25"/>
                    </a:lnTo>
                    <a:lnTo>
                      <a:pt x="33" y="29"/>
                    </a:lnTo>
                    <a:lnTo>
                      <a:pt x="20" y="29"/>
                    </a:lnTo>
                    <a:lnTo>
                      <a:pt x="16" y="26"/>
                    </a:lnTo>
                    <a:lnTo>
                      <a:pt x="11" y="28"/>
                    </a:lnTo>
                    <a:lnTo>
                      <a:pt x="6" y="25"/>
                    </a:lnTo>
                    <a:lnTo>
                      <a:pt x="3" y="23"/>
                    </a:lnTo>
                    <a:lnTo>
                      <a:pt x="0" y="20"/>
                    </a:lnTo>
                    <a:lnTo>
                      <a:pt x="0" y="18"/>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73" name="Freeform 902"/>
              <p:cNvSpPr>
                <a:spLocks/>
              </p:cNvSpPr>
              <p:nvPr/>
            </p:nvSpPr>
            <p:spPr bwMode="auto">
              <a:xfrm>
                <a:off x="8056275" y="3337502"/>
                <a:ext cx="53546" cy="30424"/>
              </a:xfrm>
              <a:custGeom>
                <a:avLst/>
                <a:gdLst/>
                <a:ahLst/>
                <a:cxnLst>
                  <a:cxn ang="0">
                    <a:pos x="0" y="18"/>
                  </a:cxn>
                  <a:cxn ang="0">
                    <a:pos x="1" y="18"/>
                  </a:cxn>
                  <a:cxn ang="0">
                    <a:pos x="3" y="18"/>
                  </a:cxn>
                  <a:cxn ang="0">
                    <a:pos x="20" y="18"/>
                  </a:cxn>
                  <a:cxn ang="0">
                    <a:pos x="21" y="18"/>
                  </a:cxn>
                  <a:cxn ang="0">
                    <a:pos x="21" y="15"/>
                  </a:cxn>
                  <a:cxn ang="0">
                    <a:pos x="23" y="12"/>
                  </a:cxn>
                  <a:cxn ang="0">
                    <a:pos x="24" y="12"/>
                  </a:cxn>
                  <a:cxn ang="0">
                    <a:pos x="26" y="12"/>
                  </a:cxn>
                  <a:cxn ang="0">
                    <a:pos x="24" y="15"/>
                  </a:cxn>
                  <a:cxn ang="0">
                    <a:pos x="24" y="18"/>
                  </a:cxn>
                  <a:cxn ang="0">
                    <a:pos x="26" y="18"/>
                  </a:cxn>
                  <a:cxn ang="0">
                    <a:pos x="30" y="18"/>
                  </a:cxn>
                  <a:cxn ang="0">
                    <a:pos x="32" y="18"/>
                  </a:cxn>
                  <a:cxn ang="0">
                    <a:pos x="35" y="18"/>
                  </a:cxn>
                  <a:cxn ang="0">
                    <a:pos x="36" y="18"/>
                  </a:cxn>
                  <a:cxn ang="0">
                    <a:pos x="40" y="12"/>
                  </a:cxn>
                  <a:cxn ang="0">
                    <a:pos x="43" y="10"/>
                  </a:cxn>
                  <a:cxn ang="0">
                    <a:pos x="45" y="10"/>
                  </a:cxn>
                  <a:cxn ang="0">
                    <a:pos x="48" y="9"/>
                  </a:cxn>
                  <a:cxn ang="0">
                    <a:pos x="48" y="6"/>
                  </a:cxn>
                  <a:cxn ang="0">
                    <a:pos x="46" y="2"/>
                  </a:cxn>
                  <a:cxn ang="0">
                    <a:pos x="46" y="0"/>
                  </a:cxn>
                  <a:cxn ang="0">
                    <a:pos x="48" y="0"/>
                  </a:cxn>
                  <a:cxn ang="0">
                    <a:pos x="51" y="0"/>
                  </a:cxn>
                  <a:cxn ang="0">
                    <a:pos x="52" y="0"/>
                  </a:cxn>
                  <a:cxn ang="0">
                    <a:pos x="52" y="0"/>
                  </a:cxn>
                  <a:cxn ang="0">
                    <a:pos x="53" y="0"/>
                  </a:cxn>
                  <a:cxn ang="0">
                    <a:pos x="56" y="0"/>
                  </a:cxn>
                  <a:cxn ang="0">
                    <a:pos x="58" y="3"/>
                  </a:cxn>
                  <a:cxn ang="0">
                    <a:pos x="58" y="6"/>
                  </a:cxn>
                  <a:cxn ang="0">
                    <a:pos x="56" y="9"/>
                  </a:cxn>
                  <a:cxn ang="0">
                    <a:pos x="55" y="10"/>
                  </a:cxn>
                  <a:cxn ang="0">
                    <a:pos x="53" y="10"/>
                  </a:cxn>
                  <a:cxn ang="0">
                    <a:pos x="53" y="13"/>
                  </a:cxn>
                  <a:cxn ang="0">
                    <a:pos x="53" y="16"/>
                  </a:cxn>
                  <a:cxn ang="0">
                    <a:pos x="52" y="19"/>
                  </a:cxn>
                  <a:cxn ang="0">
                    <a:pos x="51" y="19"/>
                  </a:cxn>
                  <a:cxn ang="0">
                    <a:pos x="46" y="19"/>
                  </a:cxn>
                  <a:cxn ang="0">
                    <a:pos x="46" y="20"/>
                  </a:cxn>
                  <a:cxn ang="0">
                    <a:pos x="46" y="22"/>
                  </a:cxn>
                  <a:cxn ang="0">
                    <a:pos x="43" y="25"/>
                  </a:cxn>
                  <a:cxn ang="0">
                    <a:pos x="33" y="29"/>
                  </a:cxn>
                  <a:cxn ang="0">
                    <a:pos x="20" y="29"/>
                  </a:cxn>
                  <a:cxn ang="0">
                    <a:pos x="16" y="26"/>
                  </a:cxn>
                  <a:cxn ang="0">
                    <a:pos x="11" y="28"/>
                  </a:cxn>
                  <a:cxn ang="0">
                    <a:pos x="6" y="25"/>
                  </a:cxn>
                  <a:cxn ang="0">
                    <a:pos x="3" y="23"/>
                  </a:cxn>
                  <a:cxn ang="0">
                    <a:pos x="0" y="20"/>
                  </a:cxn>
                  <a:cxn ang="0">
                    <a:pos x="0" y="18"/>
                  </a:cxn>
                </a:cxnLst>
                <a:rect l="0" t="0" r="r" b="b"/>
                <a:pathLst>
                  <a:path w="58" h="29">
                    <a:moveTo>
                      <a:pt x="0" y="18"/>
                    </a:moveTo>
                    <a:lnTo>
                      <a:pt x="1" y="18"/>
                    </a:lnTo>
                    <a:lnTo>
                      <a:pt x="3" y="18"/>
                    </a:lnTo>
                    <a:lnTo>
                      <a:pt x="20" y="18"/>
                    </a:lnTo>
                    <a:lnTo>
                      <a:pt x="21" y="18"/>
                    </a:lnTo>
                    <a:lnTo>
                      <a:pt x="21" y="15"/>
                    </a:lnTo>
                    <a:lnTo>
                      <a:pt x="23" y="12"/>
                    </a:lnTo>
                    <a:lnTo>
                      <a:pt x="24" y="12"/>
                    </a:lnTo>
                    <a:lnTo>
                      <a:pt x="26" y="12"/>
                    </a:lnTo>
                    <a:lnTo>
                      <a:pt x="24" y="15"/>
                    </a:lnTo>
                    <a:lnTo>
                      <a:pt x="24" y="18"/>
                    </a:lnTo>
                    <a:lnTo>
                      <a:pt x="26" y="18"/>
                    </a:lnTo>
                    <a:lnTo>
                      <a:pt x="30" y="18"/>
                    </a:lnTo>
                    <a:lnTo>
                      <a:pt x="32" y="18"/>
                    </a:lnTo>
                    <a:lnTo>
                      <a:pt x="35" y="18"/>
                    </a:lnTo>
                    <a:lnTo>
                      <a:pt x="36" y="18"/>
                    </a:lnTo>
                    <a:lnTo>
                      <a:pt x="40" y="12"/>
                    </a:lnTo>
                    <a:lnTo>
                      <a:pt x="43" y="10"/>
                    </a:lnTo>
                    <a:lnTo>
                      <a:pt x="45" y="10"/>
                    </a:lnTo>
                    <a:lnTo>
                      <a:pt x="48" y="9"/>
                    </a:lnTo>
                    <a:lnTo>
                      <a:pt x="48" y="6"/>
                    </a:lnTo>
                    <a:lnTo>
                      <a:pt x="46" y="2"/>
                    </a:lnTo>
                    <a:lnTo>
                      <a:pt x="46" y="0"/>
                    </a:lnTo>
                    <a:lnTo>
                      <a:pt x="48" y="0"/>
                    </a:lnTo>
                    <a:lnTo>
                      <a:pt x="51" y="0"/>
                    </a:lnTo>
                    <a:lnTo>
                      <a:pt x="52" y="0"/>
                    </a:lnTo>
                    <a:lnTo>
                      <a:pt x="52" y="0"/>
                    </a:lnTo>
                    <a:lnTo>
                      <a:pt x="53" y="0"/>
                    </a:lnTo>
                    <a:lnTo>
                      <a:pt x="56" y="0"/>
                    </a:lnTo>
                    <a:lnTo>
                      <a:pt x="58" y="3"/>
                    </a:lnTo>
                    <a:lnTo>
                      <a:pt x="58" y="6"/>
                    </a:lnTo>
                    <a:lnTo>
                      <a:pt x="56" y="9"/>
                    </a:lnTo>
                    <a:lnTo>
                      <a:pt x="55" y="10"/>
                    </a:lnTo>
                    <a:lnTo>
                      <a:pt x="53" y="10"/>
                    </a:lnTo>
                    <a:lnTo>
                      <a:pt x="53" y="13"/>
                    </a:lnTo>
                    <a:lnTo>
                      <a:pt x="53" y="16"/>
                    </a:lnTo>
                    <a:lnTo>
                      <a:pt x="52" y="19"/>
                    </a:lnTo>
                    <a:lnTo>
                      <a:pt x="51" y="19"/>
                    </a:lnTo>
                    <a:lnTo>
                      <a:pt x="46" y="19"/>
                    </a:lnTo>
                    <a:lnTo>
                      <a:pt x="46" y="20"/>
                    </a:lnTo>
                    <a:lnTo>
                      <a:pt x="46" y="22"/>
                    </a:lnTo>
                    <a:lnTo>
                      <a:pt x="43" y="25"/>
                    </a:lnTo>
                    <a:lnTo>
                      <a:pt x="33" y="29"/>
                    </a:lnTo>
                    <a:lnTo>
                      <a:pt x="20" y="29"/>
                    </a:lnTo>
                    <a:lnTo>
                      <a:pt x="16" y="26"/>
                    </a:lnTo>
                    <a:lnTo>
                      <a:pt x="11" y="28"/>
                    </a:lnTo>
                    <a:lnTo>
                      <a:pt x="6" y="25"/>
                    </a:lnTo>
                    <a:lnTo>
                      <a:pt x="3" y="23"/>
                    </a:lnTo>
                    <a:lnTo>
                      <a:pt x="0" y="20"/>
                    </a:lnTo>
                    <a:lnTo>
                      <a:pt x="0" y="18"/>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74" name="Freeform 903"/>
              <p:cNvSpPr>
                <a:spLocks/>
              </p:cNvSpPr>
              <p:nvPr/>
            </p:nvSpPr>
            <p:spPr bwMode="auto">
              <a:xfrm>
                <a:off x="8112454" y="3407477"/>
                <a:ext cx="3511" cy="4056"/>
              </a:xfrm>
              <a:custGeom>
                <a:avLst/>
                <a:gdLst/>
                <a:ahLst/>
                <a:cxnLst>
                  <a:cxn ang="0">
                    <a:pos x="0" y="0"/>
                  </a:cxn>
                  <a:cxn ang="0">
                    <a:pos x="4" y="3"/>
                  </a:cxn>
                  <a:cxn ang="0">
                    <a:pos x="4" y="4"/>
                  </a:cxn>
                  <a:cxn ang="0">
                    <a:pos x="3" y="4"/>
                  </a:cxn>
                  <a:cxn ang="0">
                    <a:pos x="1" y="3"/>
                  </a:cxn>
                  <a:cxn ang="0">
                    <a:pos x="0" y="0"/>
                  </a:cxn>
                </a:cxnLst>
                <a:rect l="0" t="0" r="r" b="b"/>
                <a:pathLst>
                  <a:path w="4" h="4">
                    <a:moveTo>
                      <a:pt x="0" y="0"/>
                    </a:moveTo>
                    <a:lnTo>
                      <a:pt x="4" y="3"/>
                    </a:lnTo>
                    <a:lnTo>
                      <a:pt x="4" y="4"/>
                    </a:lnTo>
                    <a:lnTo>
                      <a:pt x="3" y="4"/>
                    </a:lnTo>
                    <a:lnTo>
                      <a:pt x="1" y="3"/>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75" name="Freeform 904"/>
              <p:cNvSpPr>
                <a:spLocks/>
              </p:cNvSpPr>
              <p:nvPr/>
            </p:nvSpPr>
            <p:spPr bwMode="auto">
              <a:xfrm>
                <a:off x="8112454" y="3407477"/>
                <a:ext cx="3511" cy="4056"/>
              </a:xfrm>
              <a:custGeom>
                <a:avLst/>
                <a:gdLst/>
                <a:ahLst/>
                <a:cxnLst>
                  <a:cxn ang="0">
                    <a:pos x="0" y="0"/>
                  </a:cxn>
                  <a:cxn ang="0">
                    <a:pos x="4" y="3"/>
                  </a:cxn>
                  <a:cxn ang="0">
                    <a:pos x="4" y="4"/>
                  </a:cxn>
                  <a:cxn ang="0">
                    <a:pos x="3" y="4"/>
                  </a:cxn>
                  <a:cxn ang="0">
                    <a:pos x="1" y="3"/>
                  </a:cxn>
                  <a:cxn ang="0">
                    <a:pos x="0" y="0"/>
                  </a:cxn>
                </a:cxnLst>
                <a:rect l="0" t="0" r="r" b="b"/>
                <a:pathLst>
                  <a:path w="4" h="4">
                    <a:moveTo>
                      <a:pt x="0" y="0"/>
                    </a:moveTo>
                    <a:lnTo>
                      <a:pt x="4" y="3"/>
                    </a:lnTo>
                    <a:lnTo>
                      <a:pt x="4" y="4"/>
                    </a:lnTo>
                    <a:lnTo>
                      <a:pt x="3" y="4"/>
                    </a:lnTo>
                    <a:lnTo>
                      <a:pt x="1" y="3"/>
                    </a:lnTo>
                    <a:lnTo>
                      <a:pt x="0"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76" name="Freeform 905"/>
              <p:cNvSpPr>
                <a:spLocks/>
              </p:cNvSpPr>
              <p:nvPr/>
            </p:nvSpPr>
            <p:spPr bwMode="auto">
              <a:xfrm>
                <a:off x="8083487" y="3413561"/>
                <a:ext cx="7022" cy="6085"/>
              </a:xfrm>
              <a:custGeom>
                <a:avLst/>
                <a:gdLst/>
                <a:ahLst/>
                <a:cxnLst>
                  <a:cxn ang="0">
                    <a:pos x="0" y="0"/>
                  </a:cxn>
                  <a:cxn ang="0">
                    <a:pos x="5" y="1"/>
                  </a:cxn>
                  <a:cxn ang="0">
                    <a:pos x="6" y="3"/>
                  </a:cxn>
                  <a:cxn ang="0">
                    <a:pos x="7" y="6"/>
                  </a:cxn>
                  <a:cxn ang="0">
                    <a:pos x="2" y="4"/>
                  </a:cxn>
                  <a:cxn ang="0">
                    <a:pos x="0" y="1"/>
                  </a:cxn>
                  <a:cxn ang="0">
                    <a:pos x="0" y="0"/>
                  </a:cxn>
                </a:cxnLst>
                <a:rect l="0" t="0" r="r" b="b"/>
                <a:pathLst>
                  <a:path w="7" h="6">
                    <a:moveTo>
                      <a:pt x="0" y="0"/>
                    </a:moveTo>
                    <a:lnTo>
                      <a:pt x="5" y="1"/>
                    </a:lnTo>
                    <a:lnTo>
                      <a:pt x="6" y="3"/>
                    </a:lnTo>
                    <a:lnTo>
                      <a:pt x="7" y="6"/>
                    </a:lnTo>
                    <a:lnTo>
                      <a:pt x="2" y="4"/>
                    </a:lnTo>
                    <a:lnTo>
                      <a:pt x="0" y="1"/>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77" name="Freeform 906"/>
              <p:cNvSpPr>
                <a:spLocks/>
              </p:cNvSpPr>
              <p:nvPr/>
            </p:nvSpPr>
            <p:spPr bwMode="auto">
              <a:xfrm>
                <a:off x="8083487" y="3413561"/>
                <a:ext cx="7022" cy="6085"/>
              </a:xfrm>
              <a:custGeom>
                <a:avLst/>
                <a:gdLst/>
                <a:ahLst/>
                <a:cxnLst>
                  <a:cxn ang="0">
                    <a:pos x="0" y="0"/>
                  </a:cxn>
                  <a:cxn ang="0">
                    <a:pos x="5" y="1"/>
                  </a:cxn>
                  <a:cxn ang="0">
                    <a:pos x="6" y="3"/>
                  </a:cxn>
                  <a:cxn ang="0">
                    <a:pos x="7" y="6"/>
                  </a:cxn>
                  <a:cxn ang="0">
                    <a:pos x="2" y="4"/>
                  </a:cxn>
                  <a:cxn ang="0">
                    <a:pos x="0" y="1"/>
                  </a:cxn>
                  <a:cxn ang="0">
                    <a:pos x="0" y="0"/>
                  </a:cxn>
                </a:cxnLst>
                <a:rect l="0" t="0" r="r" b="b"/>
                <a:pathLst>
                  <a:path w="7" h="6">
                    <a:moveTo>
                      <a:pt x="0" y="0"/>
                    </a:moveTo>
                    <a:lnTo>
                      <a:pt x="5" y="1"/>
                    </a:lnTo>
                    <a:lnTo>
                      <a:pt x="6" y="3"/>
                    </a:lnTo>
                    <a:lnTo>
                      <a:pt x="7" y="6"/>
                    </a:lnTo>
                    <a:lnTo>
                      <a:pt x="2" y="4"/>
                    </a:lnTo>
                    <a:lnTo>
                      <a:pt x="0" y="1"/>
                    </a:lnTo>
                    <a:lnTo>
                      <a:pt x="0"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78" name="Freeform 907"/>
              <p:cNvSpPr>
                <a:spLocks/>
              </p:cNvSpPr>
              <p:nvPr/>
            </p:nvSpPr>
            <p:spPr bwMode="auto">
              <a:xfrm>
                <a:off x="8088754" y="3420660"/>
                <a:ext cx="6145" cy="4056"/>
              </a:xfrm>
              <a:custGeom>
                <a:avLst/>
                <a:gdLst/>
                <a:ahLst/>
                <a:cxnLst>
                  <a:cxn ang="0">
                    <a:pos x="0" y="0"/>
                  </a:cxn>
                  <a:cxn ang="0">
                    <a:pos x="2" y="1"/>
                  </a:cxn>
                  <a:cxn ang="0">
                    <a:pos x="4" y="1"/>
                  </a:cxn>
                  <a:cxn ang="0">
                    <a:pos x="5" y="1"/>
                  </a:cxn>
                  <a:cxn ang="0">
                    <a:pos x="5" y="1"/>
                  </a:cxn>
                  <a:cxn ang="0">
                    <a:pos x="7" y="4"/>
                  </a:cxn>
                  <a:cxn ang="0">
                    <a:pos x="4" y="4"/>
                  </a:cxn>
                  <a:cxn ang="0">
                    <a:pos x="1" y="1"/>
                  </a:cxn>
                  <a:cxn ang="0">
                    <a:pos x="0" y="0"/>
                  </a:cxn>
                </a:cxnLst>
                <a:rect l="0" t="0" r="r" b="b"/>
                <a:pathLst>
                  <a:path w="7" h="4">
                    <a:moveTo>
                      <a:pt x="0" y="0"/>
                    </a:moveTo>
                    <a:lnTo>
                      <a:pt x="2" y="1"/>
                    </a:lnTo>
                    <a:lnTo>
                      <a:pt x="4" y="1"/>
                    </a:lnTo>
                    <a:lnTo>
                      <a:pt x="5" y="1"/>
                    </a:lnTo>
                    <a:lnTo>
                      <a:pt x="5" y="1"/>
                    </a:lnTo>
                    <a:lnTo>
                      <a:pt x="7" y="4"/>
                    </a:lnTo>
                    <a:lnTo>
                      <a:pt x="4" y="4"/>
                    </a:lnTo>
                    <a:lnTo>
                      <a:pt x="1" y="1"/>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79" name="Freeform 908"/>
              <p:cNvSpPr>
                <a:spLocks/>
              </p:cNvSpPr>
              <p:nvPr/>
            </p:nvSpPr>
            <p:spPr bwMode="auto">
              <a:xfrm>
                <a:off x="8088754" y="3420660"/>
                <a:ext cx="6145" cy="4056"/>
              </a:xfrm>
              <a:custGeom>
                <a:avLst/>
                <a:gdLst/>
                <a:ahLst/>
                <a:cxnLst>
                  <a:cxn ang="0">
                    <a:pos x="0" y="0"/>
                  </a:cxn>
                  <a:cxn ang="0">
                    <a:pos x="2" y="1"/>
                  </a:cxn>
                  <a:cxn ang="0">
                    <a:pos x="4" y="1"/>
                  </a:cxn>
                  <a:cxn ang="0">
                    <a:pos x="5" y="1"/>
                  </a:cxn>
                  <a:cxn ang="0">
                    <a:pos x="5" y="1"/>
                  </a:cxn>
                  <a:cxn ang="0">
                    <a:pos x="7" y="4"/>
                  </a:cxn>
                  <a:cxn ang="0">
                    <a:pos x="4" y="4"/>
                  </a:cxn>
                  <a:cxn ang="0">
                    <a:pos x="1" y="1"/>
                  </a:cxn>
                  <a:cxn ang="0">
                    <a:pos x="0" y="0"/>
                  </a:cxn>
                </a:cxnLst>
                <a:rect l="0" t="0" r="r" b="b"/>
                <a:pathLst>
                  <a:path w="7" h="4">
                    <a:moveTo>
                      <a:pt x="0" y="0"/>
                    </a:moveTo>
                    <a:lnTo>
                      <a:pt x="2" y="1"/>
                    </a:lnTo>
                    <a:lnTo>
                      <a:pt x="4" y="1"/>
                    </a:lnTo>
                    <a:lnTo>
                      <a:pt x="5" y="1"/>
                    </a:lnTo>
                    <a:lnTo>
                      <a:pt x="5" y="1"/>
                    </a:lnTo>
                    <a:lnTo>
                      <a:pt x="7" y="4"/>
                    </a:lnTo>
                    <a:lnTo>
                      <a:pt x="4" y="4"/>
                    </a:lnTo>
                    <a:lnTo>
                      <a:pt x="1" y="1"/>
                    </a:lnTo>
                    <a:lnTo>
                      <a:pt x="0"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80" name="Freeform 909"/>
              <p:cNvSpPr>
                <a:spLocks/>
              </p:cNvSpPr>
              <p:nvPr/>
            </p:nvSpPr>
            <p:spPr bwMode="auto">
              <a:xfrm>
                <a:off x="8430218" y="3534243"/>
                <a:ext cx="17556" cy="13184"/>
              </a:xfrm>
              <a:custGeom>
                <a:avLst/>
                <a:gdLst/>
                <a:ahLst/>
                <a:cxnLst>
                  <a:cxn ang="0">
                    <a:pos x="8" y="1"/>
                  </a:cxn>
                  <a:cxn ang="0">
                    <a:pos x="10" y="1"/>
                  </a:cxn>
                  <a:cxn ang="0">
                    <a:pos x="13" y="0"/>
                  </a:cxn>
                  <a:cxn ang="0">
                    <a:pos x="13" y="1"/>
                  </a:cxn>
                  <a:cxn ang="0">
                    <a:pos x="14" y="3"/>
                  </a:cxn>
                  <a:cxn ang="0">
                    <a:pos x="16" y="3"/>
                  </a:cxn>
                  <a:cxn ang="0">
                    <a:pos x="17" y="4"/>
                  </a:cxn>
                  <a:cxn ang="0">
                    <a:pos x="19" y="10"/>
                  </a:cxn>
                  <a:cxn ang="0">
                    <a:pos x="19" y="12"/>
                  </a:cxn>
                  <a:cxn ang="0">
                    <a:pos x="14" y="12"/>
                  </a:cxn>
                  <a:cxn ang="0">
                    <a:pos x="13" y="13"/>
                  </a:cxn>
                  <a:cxn ang="0">
                    <a:pos x="5" y="13"/>
                  </a:cxn>
                  <a:cxn ang="0">
                    <a:pos x="5" y="12"/>
                  </a:cxn>
                  <a:cxn ang="0">
                    <a:pos x="1" y="12"/>
                  </a:cxn>
                  <a:cxn ang="0">
                    <a:pos x="0" y="10"/>
                  </a:cxn>
                  <a:cxn ang="0">
                    <a:pos x="0" y="9"/>
                  </a:cxn>
                  <a:cxn ang="0">
                    <a:pos x="1" y="4"/>
                  </a:cxn>
                  <a:cxn ang="0">
                    <a:pos x="4" y="1"/>
                  </a:cxn>
                  <a:cxn ang="0">
                    <a:pos x="5" y="1"/>
                  </a:cxn>
                  <a:cxn ang="0">
                    <a:pos x="7" y="1"/>
                  </a:cxn>
                  <a:cxn ang="0">
                    <a:pos x="8" y="1"/>
                  </a:cxn>
                </a:cxnLst>
                <a:rect l="0" t="0" r="r" b="b"/>
                <a:pathLst>
                  <a:path w="19" h="13">
                    <a:moveTo>
                      <a:pt x="8" y="1"/>
                    </a:moveTo>
                    <a:lnTo>
                      <a:pt x="10" y="1"/>
                    </a:lnTo>
                    <a:lnTo>
                      <a:pt x="13" y="0"/>
                    </a:lnTo>
                    <a:lnTo>
                      <a:pt x="13" y="1"/>
                    </a:lnTo>
                    <a:lnTo>
                      <a:pt x="14" y="3"/>
                    </a:lnTo>
                    <a:lnTo>
                      <a:pt x="16" y="3"/>
                    </a:lnTo>
                    <a:lnTo>
                      <a:pt x="17" y="4"/>
                    </a:lnTo>
                    <a:lnTo>
                      <a:pt x="19" y="10"/>
                    </a:lnTo>
                    <a:lnTo>
                      <a:pt x="19" y="12"/>
                    </a:lnTo>
                    <a:lnTo>
                      <a:pt x="14" y="12"/>
                    </a:lnTo>
                    <a:lnTo>
                      <a:pt x="13" y="13"/>
                    </a:lnTo>
                    <a:lnTo>
                      <a:pt x="5" y="13"/>
                    </a:lnTo>
                    <a:lnTo>
                      <a:pt x="5" y="12"/>
                    </a:lnTo>
                    <a:lnTo>
                      <a:pt x="1" y="12"/>
                    </a:lnTo>
                    <a:lnTo>
                      <a:pt x="0" y="10"/>
                    </a:lnTo>
                    <a:lnTo>
                      <a:pt x="0" y="9"/>
                    </a:lnTo>
                    <a:lnTo>
                      <a:pt x="1" y="4"/>
                    </a:lnTo>
                    <a:lnTo>
                      <a:pt x="4" y="1"/>
                    </a:lnTo>
                    <a:lnTo>
                      <a:pt x="5" y="1"/>
                    </a:lnTo>
                    <a:lnTo>
                      <a:pt x="7" y="1"/>
                    </a:lnTo>
                    <a:lnTo>
                      <a:pt x="8"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81" name="Freeform 910"/>
              <p:cNvSpPr>
                <a:spLocks/>
              </p:cNvSpPr>
              <p:nvPr/>
            </p:nvSpPr>
            <p:spPr bwMode="auto">
              <a:xfrm>
                <a:off x="8430218" y="3534243"/>
                <a:ext cx="17556" cy="13184"/>
              </a:xfrm>
              <a:custGeom>
                <a:avLst/>
                <a:gdLst/>
                <a:ahLst/>
                <a:cxnLst>
                  <a:cxn ang="0">
                    <a:pos x="8" y="1"/>
                  </a:cxn>
                  <a:cxn ang="0">
                    <a:pos x="10" y="1"/>
                  </a:cxn>
                  <a:cxn ang="0">
                    <a:pos x="13" y="0"/>
                  </a:cxn>
                  <a:cxn ang="0">
                    <a:pos x="13" y="1"/>
                  </a:cxn>
                  <a:cxn ang="0">
                    <a:pos x="14" y="3"/>
                  </a:cxn>
                  <a:cxn ang="0">
                    <a:pos x="16" y="3"/>
                  </a:cxn>
                  <a:cxn ang="0">
                    <a:pos x="17" y="4"/>
                  </a:cxn>
                  <a:cxn ang="0">
                    <a:pos x="19" y="10"/>
                  </a:cxn>
                  <a:cxn ang="0">
                    <a:pos x="19" y="12"/>
                  </a:cxn>
                  <a:cxn ang="0">
                    <a:pos x="14" y="12"/>
                  </a:cxn>
                  <a:cxn ang="0">
                    <a:pos x="13" y="13"/>
                  </a:cxn>
                  <a:cxn ang="0">
                    <a:pos x="5" y="13"/>
                  </a:cxn>
                  <a:cxn ang="0">
                    <a:pos x="5" y="12"/>
                  </a:cxn>
                  <a:cxn ang="0">
                    <a:pos x="1" y="12"/>
                  </a:cxn>
                  <a:cxn ang="0">
                    <a:pos x="0" y="10"/>
                  </a:cxn>
                  <a:cxn ang="0">
                    <a:pos x="0" y="9"/>
                  </a:cxn>
                  <a:cxn ang="0">
                    <a:pos x="1" y="4"/>
                  </a:cxn>
                  <a:cxn ang="0">
                    <a:pos x="4" y="1"/>
                  </a:cxn>
                  <a:cxn ang="0">
                    <a:pos x="5" y="1"/>
                  </a:cxn>
                  <a:cxn ang="0">
                    <a:pos x="7" y="1"/>
                  </a:cxn>
                  <a:cxn ang="0">
                    <a:pos x="8" y="1"/>
                  </a:cxn>
                </a:cxnLst>
                <a:rect l="0" t="0" r="r" b="b"/>
                <a:pathLst>
                  <a:path w="19" h="13">
                    <a:moveTo>
                      <a:pt x="8" y="1"/>
                    </a:moveTo>
                    <a:lnTo>
                      <a:pt x="10" y="1"/>
                    </a:lnTo>
                    <a:lnTo>
                      <a:pt x="13" y="0"/>
                    </a:lnTo>
                    <a:lnTo>
                      <a:pt x="13" y="1"/>
                    </a:lnTo>
                    <a:lnTo>
                      <a:pt x="14" y="3"/>
                    </a:lnTo>
                    <a:lnTo>
                      <a:pt x="16" y="3"/>
                    </a:lnTo>
                    <a:lnTo>
                      <a:pt x="17" y="4"/>
                    </a:lnTo>
                    <a:lnTo>
                      <a:pt x="19" y="10"/>
                    </a:lnTo>
                    <a:lnTo>
                      <a:pt x="19" y="12"/>
                    </a:lnTo>
                    <a:lnTo>
                      <a:pt x="14" y="12"/>
                    </a:lnTo>
                    <a:lnTo>
                      <a:pt x="13" y="13"/>
                    </a:lnTo>
                    <a:lnTo>
                      <a:pt x="5" y="13"/>
                    </a:lnTo>
                    <a:lnTo>
                      <a:pt x="5" y="12"/>
                    </a:lnTo>
                    <a:lnTo>
                      <a:pt x="1" y="12"/>
                    </a:lnTo>
                    <a:lnTo>
                      <a:pt x="0" y="10"/>
                    </a:lnTo>
                    <a:lnTo>
                      <a:pt x="0" y="9"/>
                    </a:lnTo>
                    <a:lnTo>
                      <a:pt x="1" y="4"/>
                    </a:lnTo>
                    <a:lnTo>
                      <a:pt x="4" y="1"/>
                    </a:lnTo>
                    <a:lnTo>
                      <a:pt x="5" y="1"/>
                    </a:lnTo>
                    <a:lnTo>
                      <a:pt x="7" y="1"/>
                    </a:lnTo>
                    <a:lnTo>
                      <a:pt x="8"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82" name="Freeform 911"/>
              <p:cNvSpPr>
                <a:spLocks/>
              </p:cNvSpPr>
              <p:nvPr/>
            </p:nvSpPr>
            <p:spPr bwMode="auto">
              <a:xfrm>
                <a:off x="8446019" y="3517003"/>
                <a:ext cx="18433" cy="13184"/>
              </a:xfrm>
              <a:custGeom>
                <a:avLst/>
                <a:gdLst/>
                <a:ahLst/>
                <a:cxnLst>
                  <a:cxn ang="0">
                    <a:pos x="6" y="4"/>
                  </a:cxn>
                  <a:cxn ang="0">
                    <a:pos x="6" y="5"/>
                  </a:cxn>
                  <a:cxn ang="0">
                    <a:pos x="7" y="4"/>
                  </a:cxn>
                  <a:cxn ang="0">
                    <a:pos x="20" y="0"/>
                  </a:cxn>
                  <a:cxn ang="0">
                    <a:pos x="20" y="1"/>
                  </a:cxn>
                  <a:cxn ang="0">
                    <a:pos x="16" y="4"/>
                  </a:cxn>
                  <a:cxn ang="0">
                    <a:pos x="15" y="7"/>
                  </a:cxn>
                  <a:cxn ang="0">
                    <a:pos x="19" y="4"/>
                  </a:cxn>
                  <a:cxn ang="0">
                    <a:pos x="19" y="8"/>
                  </a:cxn>
                  <a:cxn ang="0">
                    <a:pos x="12" y="10"/>
                  </a:cxn>
                  <a:cxn ang="0">
                    <a:pos x="10" y="7"/>
                  </a:cxn>
                  <a:cxn ang="0">
                    <a:pos x="10" y="7"/>
                  </a:cxn>
                  <a:cxn ang="0">
                    <a:pos x="9" y="8"/>
                  </a:cxn>
                  <a:cxn ang="0">
                    <a:pos x="7" y="11"/>
                  </a:cxn>
                  <a:cxn ang="0">
                    <a:pos x="6" y="11"/>
                  </a:cxn>
                  <a:cxn ang="0">
                    <a:pos x="4" y="11"/>
                  </a:cxn>
                  <a:cxn ang="0">
                    <a:pos x="4" y="13"/>
                  </a:cxn>
                  <a:cxn ang="0">
                    <a:pos x="2" y="10"/>
                  </a:cxn>
                  <a:cxn ang="0">
                    <a:pos x="0" y="10"/>
                  </a:cxn>
                  <a:cxn ang="0">
                    <a:pos x="0" y="7"/>
                  </a:cxn>
                  <a:cxn ang="0">
                    <a:pos x="2" y="7"/>
                  </a:cxn>
                  <a:cxn ang="0">
                    <a:pos x="6" y="4"/>
                  </a:cxn>
                </a:cxnLst>
                <a:rect l="0" t="0" r="r" b="b"/>
                <a:pathLst>
                  <a:path w="20" h="13">
                    <a:moveTo>
                      <a:pt x="6" y="4"/>
                    </a:moveTo>
                    <a:lnTo>
                      <a:pt x="6" y="5"/>
                    </a:lnTo>
                    <a:lnTo>
                      <a:pt x="7" y="4"/>
                    </a:lnTo>
                    <a:lnTo>
                      <a:pt x="20" y="0"/>
                    </a:lnTo>
                    <a:lnTo>
                      <a:pt x="20" y="1"/>
                    </a:lnTo>
                    <a:lnTo>
                      <a:pt x="16" y="4"/>
                    </a:lnTo>
                    <a:lnTo>
                      <a:pt x="15" y="7"/>
                    </a:lnTo>
                    <a:lnTo>
                      <a:pt x="19" y="4"/>
                    </a:lnTo>
                    <a:lnTo>
                      <a:pt x="19" y="8"/>
                    </a:lnTo>
                    <a:lnTo>
                      <a:pt x="12" y="10"/>
                    </a:lnTo>
                    <a:lnTo>
                      <a:pt x="10" y="7"/>
                    </a:lnTo>
                    <a:lnTo>
                      <a:pt x="10" y="7"/>
                    </a:lnTo>
                    <a:lnTo>
                      <a:pt x="9" y="8"/>
                    </a:lnTo>
                    <a:lnTo>
                      <a:pt x="7" y="11"/>
                    </a:lnTo>
                    <a:lnTo>
                      <a:pt x="6" y="11"/>
                    </a:lnTo>
                    <a:lnTo>
                      <a:pt x="4" y="11"/>
                    </a:lnTo>
                    <a:lnTo>
                      <a:pt x="4" y="13"/>
                    </a:lnTo>
                    <a:lnTo>
                      <a:pt x="2" y="10"/>
                    </a:lnTo>
                    <a:lnTo>
                      <a:pt x="0" y="10"/>
                    </a:lnTo>
                    <a:lnTo>
                      <a:pt x="0" y="7"/>
                    </a:lnTo>
                    <a:lnTo>
                      <a:pt x="2" y="7"/>
                    </a:lnTo>
                    <a:lnTo>
                      <a:pt x="6" y="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83" name="Freeform 912"/>
              <p:cNvSpPr>
                <a:spLocks/>
              </p:cNvSpPr>
              <p:nvPr/>
            </p:nvSpPr>
            <p:spPr bwMode="auto">
              <a:xfrm>
                <a:off x="8446019" y="3517003"/>
                <a:ext cx="18433" cy="13184"/>
              </a:xfrm>
              <a:custGeom>
                <a:avLst/>
                <a:gdLst/>
                <a:ahLst/>
                <a:cxnLst>
                  <a:cxn ang="0">
                    <a:pos x="6" y="4"/>
                  </a:cxn>
                  <a:cxn ang="0">
                    <a:pos x="6" y="5"/>
                  </a:cxn>
                  <a:cxn ang="0">
                    <a:pos x="7" y="4"/>
                  </a:cxn>
                  <a:cxn ang="0">
                    <a:pos x="20" y="0"/>
                  </a:cxn>
                  <a:cxn ang="0">
                    <a:pos x="20" y="1"/>
                  </a:cxn>
                  <a:cxn ang="0">
                    <a:pos x="16" y="4"/>
                  </a:cxn>
                  <a:cxn ang="0">
                    <a:pos x="15" y="7"/>
                  </a:cxn>
                  <a:cxn ang="0">
                    <a:pos x="19" y="4"/>
                  </a:cxn>
                  <a:cxn ang="0">
                    <a:pos x="19" y="8"/>
                  </a:cxn>
                  <a:cxn ang="0">
                    <a:pos x="12" y="10"/>
                  </a:cxn>
                  <a:cxn ang="0">
                    <a:pos x="10" y="7"/>
                  </a:cxn>
                  <a:cxn ang="0">
                    <a:pos x="10" y="7"/>
                  </a:cxn>
                  <a:cxn ang="0">
                    <a:pos x="9" y="8"/>
                  </a:cxn>
                  <a:cxn ang="0">
                    <a:pos x="7" y="11"/>
                  </a:cxn>
                  <a:cxn ang="0">
                    <a:pos x="6" y="11"/>
                  </a:cxn>
                  <a:cxn ang="0">
                    <a:pos x="4" y="11"/>
                  </a:cxn>
                  <a:cxn ang="0">
                    <a:pos x="4" y="13"/>
                  </a:cxn>
                  <a:cxn ang="0">
                    <a:pos x="2" y="10"/>
                  </a:cxn>
                  <a:cxn ang="0">
                    <a:pos x="0" y="10"/>
                  </a:cxn>
                  <a:cxn ang="0">
                    <a:pos x="0" y="7"/>
                  </a:cxn>
                  <a:cxn ang="0">
                    <a:pos x="2" y="7"/>
                  </a:cxn>
                  <a:cxn ang="0">
                    <a:pos x="6" y="4"/>
                  </a:cxn>
                </a:cxnLst>
                <a:rect l="0" t="0" r="r" b="b"/>
                <a:pathLst>
                  <a:path w="20" h="13">
                    <a:moveTo>
                      <a:pt x="6" y="4"/>
                    </a:moveTo>
                    <a:lnTo>
                      <a:pt x="6" y="5"/>
                    </a:lnTo>
                    <a:lnTo>
                      <a:pt x="7" y="4"/>
                    </a:lnTo>
                    <a:lnTo>
                      <a:pt x="20" y="0"/>
                    </a:lnTo>
                    <a:lnTo>
                      <a:pt x="20" y="1"/>
                    </a:lnTo>
                    <a:lnTo>
                      <a:pt x="16" y="4"/>
                    </a:lnTo>
                    <a:lnTo>
                      <a:pt x="15" y="7"/>
                    </a:lnTo>
                    <a:lnTo>
                      <a:pt x="19" y="4"/>
                    </a:lnTo>
                    <a:lnTo>
                      <a:pt x="19" y="8"/>
                    </a:lnTo>
                    <a:lnTo>
                      <a:pt x="12" y="10"/>
                    </a:lnTo>
                    <a:lnTo>
                      <a:pt x="10" y="7"/>
                    </a:lnTo>
                    <a:lnTo>
                      <a:pt x="10" y="7"/>
                    </a:lnTo>
                    <a:lnTo>
                      <a:pt x="9" y="8"/>
                    </a:lnTo>
                    <a:lnTo>
                      <a:pt x="7" y="11"/>
                    </a:lnTo>
                    <a:lnTo>
                      <a:pt x="6" y="11"/>
                    </a:lnTo>
                    <a:lnTo>
                      <a:pt x="4" y="11"/>
                    </a:lnTo>
                    <a:lnTo>
                      <a:pt x="4" y="13"/>
                    </a:lnTo>
                    <a:lnTo>
                      <a:pt x="2" y="10"/>
                    </a:lnTo>
                    <a:lnTo>
                      <a:pt x="0" y="10"/>
                    </a:lnTo>
                    <a:lnTo>
                      <a:pt x="0" y="7"/>
                    </a:lnTo>
                    <a:lnTo>
                      <a:pt x="2" y="7"/>
                    </a:lnTo>
                    <a:lnTo>
                      <a:pt x="6" y="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84" name="Freeform 913"/>
              <p:cNvSpPr>
                <a:spLocks/>
              </p:cNvSpPr>
              <p:nvPr/>
            </p:nvSpPr>
            <p:spPr bwMode="auto">
              <a:xfrm>
                <a:off x="6681639" y="3455141"/>
                <a:ext cx="92169" cy="209925"/>
              </a:xfrm>
              <a:custGeom>
                <a:avLst/>
                <a:gdLst/>
                <a:ahLst/>
                <a:cxnLst>
                  <a:cxn ang="0">
                    <a:pos x="18" y="59"/>
                  </a:cxn>
                  <a:cxn ang="0">
                    <a:pos x="24" y="59"/>
                  </a:cxn>
                  <a:cxn ang="0">
                    <a:pos x="28" y="56"/>
                  </a:cxn>
                  <a:cxn ang="0">
                    <a:pos x="29" y="59"/>
                  </a:cxn>
                  <a:cxn ang="0">
                    <a:pos x="32" y="57"/>
                  </a:cxn>
                  <a:cxn ang="0">
                    <a:pos x="34" y="54"/>
                  </a:cxn>
                  <a:cxn ang="0">
                    <a:pos x="38" y="54"/>
                  </a:cxn>
                  <a:cxn ang="0">
                    <a:pos x="41" y="53"/>
                  </a:cxn>
                  <a:cxn ang="0">
                    <a:pos x="44" y="57"/>
                  </a:cxn>
                  <a:cxn ang="0">
                    <a:pos x="48" y="57"/>
                  </a:cxn>
                  <a:cxn ang="0">
                    <a:pos x="45" y="53"/>
                  </a:cxn>
                  <a:cxn ang="0">
                    <a:pos x="48" y="47"/>
                  </a:cxn>
                  <a:cxn ang="0">
                    <a:pos x="53" y="47"/>
                  </a:cxn>
                  <a:cxn ang="0">
                    <a:pos x="55" y="50"/>
                  </a:cxn>
                  <a:cxn ang="0">
                    <a:pos x="54" y="44"/>
                  </a:cxn>
                  <a:cxn ang="0">
                    <a:pos x="57" y="40"/>
                  </a:cxn>
                  <a:cxn ang="0">
                    <a:pos x="60" y="40"/>
                  </a:cxn>
                  <a:cxn ang="0">
                    <a:pos x="64" y="37"/>
                  </a:cxn>
                  <a:cxn ang="0">
                    <a:pos x="67" y="37"/>
                  </a:cxn>
                  <a:cxn ang="0">
                    <a:pos x="64" y="35"/>
                  </a:cxn>
                  <a:cxn ang="0">
                    <a:pos x="66" y="28"/>
                  </a:cxn>
                  <a:cxn ang="0">
                    <a:pos x="67" y="27"/>
                  </a:cxn>
                  <a:cxn ang="0">
                    <a:pos x="67" y="21"/>
                  </a:cxn>
                  <a:cxn ang="0">
                    <a:pos x="70" y="24"/>
                  </a:cxn>
                  <a:cxn ang="0">
                    <a:pos x="74" y="16"/>
                  </a:cxn>
                  <a:cxn ang="0">
                    <a:pos x="79" y="16"/>
                  </a:cxn>
                  <a:cxn ang="0">
                    <a:pos x="79" y="5"/>
                  </a:cxn>
                  <a:cxn ang="0">
                    <a:pos x="82" y="2"/>
                  </a:cxn>
                  <a:cxn ang="0">
                    <a:pos x="92" y="9"/>
                  </a:cxn>
                  <a:cxn ang="0">
                    <a:pos x="99" y="56"/>
                  </a:cxn>
                  <a:cxn ang="0">
                    <a:pos x="95" y="48"/>
                  </a:cxn>
                  <a:cxn ang="0">
                    <a:pos x="92" y="59"/>
                  </a:cxn>
                  <a:cxn ang="0">
                    <a:pos x="93" y="66"/>
                  </a:cxn>
                  <a:cxn ang="0">
                    <a:pos x="83" y="104"/>
                  </a:cxn>
                  <a:cxn ang="0">
                    <a:pos x="54" y="192"/>
                  </a:cxn>
                  <a:cxn ang="0">
                    <a:pos x="50" y="195"/>
                  </a:cxn>
                  <a:cxn ang="0">
                    <a:pos x="40" y="197"/>
                  </a:cxn>
                  <a:cxn ang="0">
                    <a:pos x="28" y="202"/>
                  </a:cxn>
                  <a:cxn ang="0">
                    <a:pos x="9" y="186"/>
                  </a:cxn>
                  <a:cxn ang="0">
                    <a:pos x="8" y="170"/>
                  </a:cxn>
                  <a:cxn ang="0">
                    <a:pos x="2" y="160"/>
                  </a:cxn>
                  <a:cxn ang="0">
                    <a:pos x="0" y="144"/>
                  </a:cxn>
                  <a:cxn ang="0">
                    <a:pos x="8" y="134"/>
                  </a:cxn>
                  <a:cxn ang="0">
                    <a:pos x="16" y="117"/>
                  </a:cxn>
                  <a:cxn ang="0">
                    <a:pos x="18" y="111"/>
                  </a:cxn>
                  <a:cxn ang="0">
                    <a:pos x="13" y="91"/>
                  </a:cxn>
                  <a:cxn ang="0">
                    <a:pos x="9" y="79"/>
                  </a:cxn>
                  <a:cxn ang="0">
                    <a:pos x="16" y="60"/>
                  </a:cxn>
                </a:cxnLst>
                <a:rect l="0" t="0" r="r" b="b"/>
                <a:pathLst>
                  <a:path w="101" h="202">
                    <a:moveTo>
                      <a:pt x="16" y="60"/>
                    </a:moveTo>
                    <a:lnTo>
                      <a:pt x="18" y="59"/>
                    </a:lnTo>
                    <a:lnTo>
                      <a:pt x="19" y="60"/>
                    </a:lnTo>
                    <a:lnTo>
                      <a:pt x="24" y="59"/>
                    </a:lnTo>
                    <a:lnTo>
                      <a:pt x="25" y="59"/>
                    </a:lnTo>
                    <a:lnTo>
                      <a:pt x="28" y="56"/>
                    </a:lnTo>
                    <a:lnTo>
                      <a:pt x="28" y="57"/>
                    </a:lnTo>
                    <a:lnTo>
                      <a:pt x="29" y="59"/>
                    </a:lnTo>
                    <a:lnTo>
                      <a:pt x="31" y="57"/>
                    </a:lnTo>
                    <a:lnTo>
                      <a:pt x="32" y="57"/>
                    </a:lnTo>
                    <a:lnTo>
                      <a:pt x="34" y="56"/>
                    </a:lnTo>
                    <a:lnTo>
                      <a:pt x="34" y="54"/>
                    </a:lnTo>
                    <a:lnTo>
                      <a:pt x="37" y="53"/>
                    </a:lnTo>
                    <a:lnTo>
                      <a:pt x="38" y="54"/>
                    </a:lnTo>
                    <a:lnTo>
                      <a:pt x="40" y="53"/>
                    </a:lnTo>
                    <a:lnTo>
                      <a:pt x="41" y="53"/>
                    </a:lnTo>
                    <a:lnTo>
                      <a:pt x="42" y="56"/>
                    </a:lnTo>
                    <a:lnTo>
                      <a:pt x="44" y="57"/>
                    </a:lnTo>
                    <a:lnTo>
                      <a:pt x="47" y="57"/>
                    </a:lnTo>
                    <a:lnTo>
                      <a:pt x="48" y="57"/>
                    </a:lnTo>
                    <a:lnTo>
                      <a:pt x="47" y="56"/>
                    </a:lnTo>
                    <a:lnTo>
                      <a:pt x="45" y="53"/>
                    </a:lnTo>
                    <a:lnTo>
                      <a:pt x="45" y="50"/>
                    </a:lnTo>
                    <a:lnTo>
                      <a:pt x="48" y="47"/>
                    </a:lnTo>
                    <a:lnTo>
                      <a:pt x="51" y="46"/>
                    </a:lnTo>
                    <a:lnTo>
                      <a:pt x="53" y="47"/>
                    </a:lnTo>
                    <a:lnTo>
                      <a:pt x="53" y="50"/>
                    </a:lnTo>
                    <a:lnTo>
                      <a:pt x="55" y="50"/>
                    </a:lnTo>
                    <a:lnTo>
                      <a:pt x="57" y="48"/>
                    </a:lnTo>
                    <a:lnTo>
                      <a:pt x="54" y="44"/>
                    </a:lnTo>
                    <a:lnTo>
                      <a:pt x="58" y="40"/>
                    </a:lnTo>
                    <a:lnTo>
                      <a:pt x="57" y="40"/>
                    </a:lnTo>
                    <a:lnTo>
                      <a:pt x="60" y="37"/>
                    </a:lnTo>
                    <a:lnTo>
                      <a:pt x="60" y="40"/>
                    </a:lnTo>
                    <a:lnTo>
                      <a:pt x="60" y="43"/>
                    </a:lnTo>
                    <a:lnTo>
                      <a:pt x="64" y="37"/>
                    </a:lnTo>
                    <a:lnTo>
                      <a:pt x="66" y="37"/>
                    </a:lnTo>
                    <a:lnTo>
                      <a:pt x="67" y="37"/>
                    </a:lnTo>
                    <a:lnTo>
                      <a:pt x="67" y="35"/>
                    </a:lnTo>
                    <a:lnTo>
                      <a:pt x="64" y="35"/>
                    </a:lnTo>
                    <a:lnTo>
                      <a:pt x="63" y="32"/>
                    </a:lnTo>
                    <a:lnTo>
                      <a:pt x="66" y="28"/>
                    </a:lnTo>
                    <a:lnTo>
                      <a:pt x="67" y="30"/>
                    </a:lnTo>
                    <a:lnTo>
                      <a:pt x="67" y="27"/>
                    </a:lnTo>
                    <a:lnTo>
                      <a:pt x="66" y="22"/>
                    </a:lnTo>
                    <a:lnTo>
                      <a:pt x="67" y="21"/>
                    </a:lnTo>
                    <a:lnTo>
                      <a:pt x="69" y="22"/>
                    </a:lnTo>
                    <a:lnTo>
                      <a:pt x="70" y="24"/>
                    </a:lnTo>
                    <a:lnTo>
                      <a:pt x="73" y="19"/>
                    </a:lnTo>
                    <a:lnTo>
                      <a:pt x="74" y="16"/>
                    </a:lnTo>
                    <a:lnTo>
                      <a:pt x="76" y="18"/>
                    </a:lnTo>
                    <a:lnTo>
                      <a:pt x="79" y="16"/>
                    </a:lnTo>
                    <a:lnTo>
                      <a:pt x="80" y="6"/>
                    </a:lnTo>
                    <a:lnTo>
                      <a:pt x="79" y="5"/>
                    </a:lnTo>
                    <a:lnTo>
                      <a:pt x="80" y="5"/>
                    </a:lnTo>
                    <a:lnTo>
                      <a:pt x="82" y="2"/>
                    </a:lnTo>
                    <a:lnTo>
                      <a:pt x="85" y="0"/>
                    </a:lnTo>
                    <a:lnTo>
                      <a:pt x="92" y="9"/>
                    </a:lnTo>
                    <a:lnTo>
                      <a:pt x="101" y="51"/>
                    </a:lnTo>
                    <a:lnTo>
                      <a:pt x="99" y="56"/>
                    </a:lnTo>
                    <a:lnTo>
                      <a:pt x="98" y="56"/>
                    </a:lnTo>
                    <a:lnTo>
                      <a:pt x="95" y="48"/>
                    </a:lnTo>
                    <a:lnTo>
                      <a:pt x="93" y="48"/>
                    </a:lnTo>
                    <a:lnTo>
                      <a:pt x="92" y="59"/>
                    </a:lnTo>
                    <a:lnTo>
                      <a:pt x="93" y="61"/>
                    </a:lnTo>
                    <a:lnTo>
                      <a:pt x="93" y="66"/>
                    </a:lnTo>
                    <a:lnTo>
                      <a:pt x="89" y="75"/>
                    </a:lnTo>
                    <a:lnTo>
                      <a:pt x="83" y="104"/>
                    </a:lnTo>
                    <a:lnTo>
                      <a:pt x="83" y="104"/>
                    </a:lnTo>
                    <a:lnTo>
                      <a:pt x="54" y="192"/>
                    </a:lnTo>
                    <a:lnTo>
                      <a:pt x="53" y="194"/>
                    </a:lnTo>
                    <a:lnTo>
                      <a:pt x="50" y="195"/>
                    </a:lnTo>
                    <a:lnTo>
                      <a:pt x="48" y="195"/>
                    </a:lnTo>
                    <a:lnTo>
                      <a:pt x="40" y="197"/>
                    </a:lnTo>
                    <a:lnTo>
                      <a:pt x="31" y="201"/>
                    </a:lnTo>
                    <a:lnTo>
                      <a:pt x="28" y="202"/>
                    </a:lnTo>
                    <a:lnTo>
                      <a:pt x="12" y="192"/>
                    </a:lnTo>
                    <a:lnTo>
                      <a:pt x="9" y="186"/>
                    </a:lnTo>
                    <a:lnTo>
                      <a:pt x="6" y="173"/>
                    </a:lnTo>
                    <a:lnTo>
                      <a:pt x="8" y="170"/>
                    </a:lnTo>
                    <a:lnTo>
                      <a:pt x="5" y="163"/>
                    </a:lnTo>
                    <a:lnTo>
                      <a:pt x="2" y="160"/>
                    </a:lnTo>
                    <a:lnTo>
                      <a:pt x="0" y="156"/>
                    </a:lnTo>
                    <a:lnTo>
                      <a:pt x="0" y="144"/>
                    </a:lnTo>
                    <a:lnTo>
                      <a:pt x="6" y="136"/>
                    </a:lnTo>
                    <a:lnTo>
                      <a:pt x="8" y="134"/>
                    </a:lnTo>
                    <a:lnTo>
                      <a:pt x="15" y="120"/>
                    </a:lnTo>
                    <a:lnTo>
                      <a:pt x="16" y="117"/>
                    </a:lnTo>
                    <a:lnTo>
                      <a:pt x="18" y="114"/>
                    </a:lnTo>
                    <a:lnTo>
                      <a:pt x="18" y="111"/>
                    </a:lnTo>
                    <a:lnTo>
                      <a:pt x="19" y="109"/>
                    </a:lnTo>
                    <a:lnTo>
                      <a:pt x="13" y="91"/>
                    </a:lnTo>
                    <a:lnTo>
                      <a:pt x="12" y="83"/>
                    </a:lnTo>
                    <a:lnTo>
                      <a:pt x="9" y="79"/>
                    </a:lnTo>
                    <a:lnTo>
                      <a:pt x="16" y="64"/>
                    </a:lnTo>
                    <a:lnTo>
                      <a:pt x="16" y="6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85" name="Freeform 915"/>
              <p:cNvSpPr>
                <a:spLocks/>
              </p:cNvSpPr>
              <p:nvPr/>
            </p:nvSpPr>
            <p:spPr bwMode="auto">
              <a:xfrm>
                <a:off x="6256784" y="2743220"/>
                <a:ext cx="2633" cy="4056"/>
              </a:xfrm>
              <a:custGeom>
                <a:avLst/>
                <a:gdLst/>
                <a:ahLst/>
                <a:cxnLst>
                  <a:cxn ang="0">
                    <a:pos x="3" y="1"/>
                  </a:cxn>
                  <a:cxn ang="0">
                    <a:pos x="3" y="0"/>
                  </a:cxn>
                  <a:cxn ang="0">
                    <a:pos x="3" y="1"/>
                  </a:cxn>
                  <a:cxn ang="0">
                    <a:pos x="3" y="4"/>
                  </a:cxn>
                  <a:cxn ang="0">
                    <a:pos x="0" y="4"/>
                  </a:cxn>
                  <a:cxn ang="0">
                    <a:pos x="0" y="1"/>
                  </a:cxn>
                  <a:cxn ang="0">
                    <a:pos x="2" y="0"/>
                  </a:cxn>
                  <a:cxn ang="0">
                    <a:pos x="3" y="1"/>
                  </a:cxn>
                </a:cxnLst>
                <a:rect l="0" t="0" r="r" b="b"/>
                <a:pathLst>
                  <a:path w="3" h="4">
                    <a:moveTo>
                      <a:pt x="3" y="1"/>
                    </a:moveTo>
                    <a:lnTo>
                      <a:pt x="3" y="0"/>
                    </a:lnTo>
                    <a:lnTo>
                      <a:pt x="3" y="1"/>
                    </a:lnTo>
                    <a:lnTo>
                      <a:pt x="3" y="4"/>
                    </a:lnTo>
                    <a:lnTo>
                      <a:pt x="0" y="4"/>
                    </a:lnTo>
                    <a:lnTo>
                      <a:pt x="0" y="1"/>
                    </a:lnTo>
                    <a:lnTo>
                      <a:pt x="2" y="0"/>
                    </a:lnTo>
                    <a:lnTo>
                      <a:pt x="3"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86" name="Freeform 916"/>
              <p:cNvSpPr>
                <a:spLocks/>
              </p:cNvSpPr>
              <p:nvPr/>
            </p:nvSpPr>
            <p:spPr bwMode="auto">
              <a:xfrm>
                <a:off x="6256784" y="2743220"/>
                <a:ext cx="2633" cy="4056"/>
              </a:xfrm>
              <a:custGeom>
                <a:avLst/>
                <a:gdLst/>
                <a:ahLst/>
                <a:cxnLst>
                  <a:cxn ang="0">
                    <a:pos x="3" y="1"/>
                  </a:cxn>
                  <a:cxn ang="0">
                    <a:pos x="3" y="0"/>
                  </a:cxn>
                  <a:cxn ang="0">
                    <a:pos x="3" y="1"/>
                  </a:cxn>
                  <a:cxn ang="0">
                    <a:pos x="3" y="4"/>
                  </a:cxn>
                  <a:cxn ang="0">
                    <a:pos x="0" y="4"/>
                  </a:cxn>
                  <a:cxn ang="0">
                    <a:pos x="0" y="1"/>
                  </a:cxn>
                  <a:cxn ang="0">
                    <a:pos x="2" y="0"/>
                  </a:cxn>
                  <a:cxn ang="0">
                    <a:pos x="3" y="1"/>
                  </a:cxn>
                </a:cxnLst>
                <a:rect l="0" t="0" r="r" b="b"/>
                <a:pathLst>
                  <a:path w="3" h="4">
                    <a:moveTo>
                      <a:pt x="3" y="1"/>
                    </a:moveTo>
                    <a:lnTo>
                      <a:pt x="3" y="0"/>
                    </a:lnTo>
                    <a:lnTo>
                      <a:pt x="3" y="1"/>
                    </a:lnTo>
                    <a:lnTo>
                      <a:pt x="3" y="4"/>
                    </a:lnTo>
                    <a:lnTo>
                      <a:pt x="0" y="4"/>
                    </a:lnTo>
                    <a:lnTo>
                      <a:pt x="0" y="1"/>
                    </a:lnTo>
                    <a:lnTo>
                      <a:pt x="2" y="0"/>
                    </a:lnTo>
                    <a:lnTo>
                      <a:pt x="3"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87" name="Freeform 917"/>
              <p:cNvSpPr>
                <a:spLocks/>
              </p:cNvSpPr>
              <p:nvPr/>
            </p:nvSpPr>
            <p:spPr bwMode="auto">
              <a:xfrm>
                <a:off x="8366139" y="2348722"/>
                <a:ext cx="12289" cy="7099"/>
              </a:xfrm>
              <a:custGeom>
                <a:avLst/>
                <a:gdLst/>
                <a:ahLst/>
                <a:cxnLst>
                  <a:cxn ang="0">
                    <a:pos x="1" y="2"/>
                  </a:cxn>
                  <a:cxn ang="0">
                    <a:pos x="0" y="2"/>
                  </a:cxn>
                  <a:cxn ang="0">
                    <a:pos x="3" y="0"/>
                  </a:cxn>
                  <a:cxn ang="0">
                    <a:pos x="3" y="0"/>
                  </a:cxn>
                  <a:cxn ang="0">
                    <a:pos x="6" y="0"/>
                  </a:cxn>
                  <a:cxn ang="0">
                    <a:pos x="7" y="0"/>
                  </a:cxn>
                  <a:cxn ang="0">
                    <a:pos x="10" y="0"/>
                  </a:cxn>
                  <a:cxn ang="0">
                    <a:pos x="10" y="2"/>
                  </a:cxn>
                  <a:cxn ang="0">
                    <a:pos x="12" y="2"/>
                  </a:cxn>
                  <a:cxn ang="0">
                    <a:pos x="13" y="3"/>
                  </a:cxn>
                  <a:cxn ang="0">
                    <a:pos x="12" y="5"/>
                  </a:cxn>
                  <a:cxn ang="0">
                    <a:pos x="9" y="5"/>
                  </a:cxn>
                  <a:cxn ang="0">
                    <a:pos x="7" y="6"/>
                  </a:cxn>
                  <a:cxn ang="0">
                    <a:pos x="6" y="5"/>
                  </a:cxn>
                  <a:cxn ang="0">
                    <a:pos x="6" y="5"/>
                  </a:cxn>
                  <a:cxn ang="0">
                    <a:pos x="6" y="3"/>
                  </a:cxn>
                  <a:cxn ang="0">
                    <a:pos x="4" y="3"/>
                  </a:cxn>
                  <a:cxn ang="0">
                    <a:pos x="1" y="2"/>
                  </a:cxn>
                  <a:cxn ang="0">
                    <a:pos x="1" y="2"/>
                  </a:cxn>
                </a:cxnLst>
                <a:rect l="0" t="0" r="r" b="b"/>
                <a:pathLst>
                  <a:path w="13" h="6">
                    <a:moveTo>
                      <a:pt x="1" y="2"/>
                    </a:moveTo>
                    <a:lnTo>
                      <a:pt x="0" y="2"/>
                    </a:lnTo>
                    <a:lnTo>
                      <a:pt x="3" y="0"/>
                    </a:lnTo>
                    <a:lnTo>
                      <a:pt x="3" y="0"/>
                    </a:lnTo>
                    <a:lnTo>
                      <a:pt x="6" y="0"/>
                    </a:lnTo>
                    <a:lnTo>
                      <a:pt x="7" y="0"/>
                    </a:lnTo>
                    <a:lnTo>
                      <a:pt x="10" y="0"/>
                    </a:lnTo>
                    <a:lnTo>
                      <a:pt x="10" y="2"/>
                    </a:lnTo>
                    <a:lnTo>
                      <a:pt x="12" y="2"/>
                    </a:lnTo>
                    <a:lnTo>
                      <a:pt x="13" y="3"/>
                    </a:lnTo>
                    <a:lnTo>
                      <a:pt x="12" y="5"/>
                    </a:lnTo>
                    <a:lnTo>
                      <a:pt x="9" y="5"/>
                    </a:lnTo>
                    <a:lnTo>
                      <a:pt x="7" y="6"/>
                    </a:lnTo>
                    <a:lnTo>
                      <a:pt x="6" y="5"/>
                    </a:lnTo>
                    <a:lnTo>
                      <a:pt x="6" y="5"/>
                    </a:lnTo>
                    <a:lnTo>
                      <a:pt x="6" y="3"/>
                    </a:lnTo>
                    <a:lnTo>
                      <a:pt x="4" y="3"/>
                    </a:lnTo>
                    <a:lnTo>
                      <a:pt x="1" y="2"/>
                    </a:lnTo>
                    <a:lnTo>
                      <a:pt x="1"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88" name="Freeform 918"/>
              <p:cNvSpPr>
                <a:spLocks/>
              </p:cNvSpPr>
              <p:nvPr/>
            </p:nvSpPr>
            <p:spPr bwMode="auto">
              <a:xfrm>
                <a:off x="8366139" y="2348722"/>
                <a:ext cx="12289" cy="7099"/>
              </a:xfrm>
              <a:custGeom>
                <a:avLst/>
                <a:gdLst/>
                <a:ahLst/>
                <a:cxnLst>
                  <a:cxn ang="0">
                    <a:pos x="1" y="2"/>
                  </a:cxn>
                  <a:cxn ang="0">
                    <a:pos x="0" y="2"/>
                  </a:cxn>
                  <a:cxn ang="0">
                    <a:pos x="3" y="0"/>
                  </a:cxn>
                  <a:cxn ang="0">
                    <a:pos x="3" y="0"/>
                  </a:cxn>
                  <a:cxn ang="0">
                    <a:pos x="6" y="0"/>
                  </a:cxn>
                  <a:cxn ang="0">
                    <a:pos x="7" y="0"/>
                  </a:cxn>
                  <a:cxn ang="0">
                    <a:pos x="10" y="0"/>
                  </a:cxn>
                  <a:cxn ang="0">
                    <a:pos x="10" y="2"/>
                  </a:cxn>
                  <a:cxn ang="0">
                    <a:pos x="12" y="2"/>
                  </a:cxn>
                  <a:cxn ang="0">
                    <a:pos x="13" y="3"/>
                  </a:cxn>
                  <a:cxn ang="0">
                    <a:pos x="12" y="5"/>
                  </a:cxn>
                  <a:cxn ang="0">
                    <a:pos x="9" y="5"/>
                  </a:cxn>
                  <a:cxn ang="0">
                    <a:pos x="7" y="6"/>
                  </a:cxn>
                  <a:cxn ang="0">
                    <a:pos x="6" y="5"/>
                  </a:cxn>
                  <a:cxn ang="0">
                    <a:pos x="6" y="5"/>
                  </a:cxn>
                  <a:cxn ang="0">
                    <a:pos x="6" y="3"/>
                  </a:cxn>
                  <a:cxn ang="0">
                    <a:pos x="4" y="3"/>
                  </a:cxn>
                  <a:cxn ang="0">
                    <a:pos x="1" y="2"/>
                  </a:cxn>
                  <a:cxn ang="0">
                    <a:pos x="1" y="2"/>
                  </a:cxn>
                </a:cxnLst>
                <a:rect l="0" t="0" r="r" b="b"/>
                <a:pathLst>
                  <a:path w="13" h="6">
                    <a:moveTo>
                      <a:pt x="1" y="2"/>
                    </a:moveTo>
                    <a:lnTo>
                      <a:pt x="0" y="2"/>
                    </a:lnTo>
                    <a:lnTo>
                      <a:pt x="3" y="0"/>
                    </a:lnTo>
                    <a:lnTo>
                      <a:pt x="3" y="0"/>
                    </a:lnTo>
                    <a:lnTo>
                      <a:pt x="6" y="0"/>
                    </a:lnTo>
                    <a:lnTo>
                      <a:pt x="7" y="0"/>
                    </a:lnTo>
                    <a:lnTo>
                      <a:pt x="10" y="0"/>
                    </a:lnTo>
                    <a:lnTo>
                      <a:pt x="10" y="2"/>
                    </a:lnTo>
                    <a:lnTo>
                      <a:pt x="12" y="2"/>
                    </a:lnTo>
                    <a:lnTo>
                      <a:pt x="13" y="3"/>
                    </a:lnTo>
                    <a:lnTo>
                      <a:pt x="12" y="5"/>
                    </a:lnTo>
                    <a:lnTo>
                      <a:pt x="9" y="5"/>
                    </a:lnTo>
                    <a:lnTo>
                      <a:pt x="7" y="6"/>
                    </a:lnTo>
                    <a:lnTo>
                      <a:pt x="6" y="5"/>
                    </a:lnTo>
                    <a:lnTo>
                      <a:pt x="6" y="5"/>
                    </a:lnTo>
                    <a:lnTo>
                      <a:pt x="6" y="3"/>
                    </a:lnTo>
                    <a:lnTo>
                      <a:pt x="4" y="3"/>
                    </a:lnTo>
                    <a:lnTo>
                      <a:pt x="1" y="2"/>
                    </a:lnTo>
                    <a:lnTo>
                      <a:pt x="1"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89" name="Freeform 919"/>
              <p:cNvSpPr>
                <a:spLocks/>
              </p:cNvSpPr>
              <p:nvPr/>
            </p:nvSpPr>
            <p:spPr bwMode="auto">
              <a:xfrm>
                <a:off x="8430218" y="2369005"/>
                <a:ext cx="4389" cy="9128"/>
              </a:xfrm>
              <a:custGeom>
                <a:avLst/>
                <a:gdLst/>
                <a:ahLst/>
                <a:cxnLst>
                  <a:cxn ang="0">
                    <a:pos x="4" y="2"/>
                  </a:cxn>
                  <a:cxn ang="0">
                    <a:pos x="4" y="0"/>
                  </a:cxn>
                  <a:cxn ang="0">
                    <a:pos x="5" y="3"/>
                  </a:cxn>
                  <a:cxn ang="0">
                    <a:pos x="4" y="4"/>
                  </a:cxn>
                  <a:cxn ang="0">
                    <a:pos x="4" y="4"/>
                  </a:cxn>
                  <a:cxn ang="0">
                    <a:pos x="1" y="6"/>
                  </a:cxn>
                  <a:cxn ang="0">
                    <a:pos x="0" y="9"/>
                  </a:cxn>
                  <a:cxn ang="0">
                    <a:pos x="0" y="6"/>
                  </a:cxn>
                  <a:cxn ang="0">
                    <a:pos x="3" y="3"/>
                  </a:cxn>
                  <a:cxn ang="0">
                    <a:pos x="4" y="2"/>
                  </a:cxn>
                </a:cxnLst>
                <a:rect l="0" t="0" r="r" b="b"/>
                <a:pathLst>
                  <a:path w="5" h="9">
                    <a:moveTo>
                      <a:pt x="4" y="2"/>
                    </a:moveTo>
                    <a:lnTo>
                      <a:pt x="4" y="0"/>
                    </a:lnTo>
                    <a:lnTo>
                      <a:pt x="5" y="3"/>
                    </a:lnTo>
                    <a:lnTo>
                      <a:pt x="4" y="4"/>
                    </a:lnTo>
                    <a:lnTo>
                      <a:pt x="4" y="4"/>
                    </a:lnTo>
                    <a:lnTo>
                      <a:pt x="1" y="6"/>
                    </a:lnTo>
                    <a:lnTo>
                      <a:pt x="0" y="9"/>
                    </a:lnTo>
                    <a:lnTo>
                      <a:pt x="0" y="6"/>
                    </a:lnTo>
                    <a:lnTo>
                      <a:pt x="3" y="3"/>
                    </a:lnTo>
                    <a:lnTo>
                      <a:pt x="4"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90" name="Freeform 920"/>
              <p:cNvSpPr>
                <a:spLocks/>
              </p:cNvSpPr>
              <p:nvPr/>
            </p:nvSpPr>
            <p:spPr bwMode="auto">
              <a:xfrm>
                <a:off x="8430218" y="2369005"/>
                <a:ext cx="4389" cy="9128"/>
              </a:xfrm>
              <a:custGeom>
                <a:avLst/>
                <a:gdLst/>
                <a:ahLst/>
                <a:cxnLst>
                  <a:cxn ang="0">
                    <a:pos x="4" y="2"/>
                  </a:cxn>
                  <a:cxn ang="0">
                    <a:pos x="4" y="0"/>
                  </a:cxn>
                  <a:cxn ang="0">
                    <a:pos x="5" y="3"/>
                  </a:cxn>
                  <a:cxn ang="0">
                    <a:pos x="4" y="4"/>
                  </a:cxn>
                  <a:cxn ang="0">
                    <a:pos x="4" y="4"/>
                  </a:cxn>
                  <a:cxn ang="0">
                    <a:pos x="1" y="6"/>
                  </a:cxn>
                  <a:cxn ang="0">
                    <a:pos x="0" y="9"/>
                  </a:cxn>
                  <a:cxn ang="0">
                    <a:pos x="0" y="6"/>
                  </a:cxn>
                  <a:cxn ang="0">
                    <a:pos x="3" y="3"/>
                  </a:cxn>
                  <a:cxn ang="0">
                    <a:pos x="4" y="2"/>
                  </a:cxn>
                </a:cxnLst>
                <a:rect l="0" t="0" r="r" b="b"/>
                <a:pathLst>
                  <a:path w="5" h="9">
                    <a:moveTo>
                      <a:pt x="4" y="2"/>
                    </a:moveTo>
                    <a:lnTo>
                      <a:pt x="4" y="0"/>
                    </a:lnTo>
                    <a:lnTo>
                      <a:pt x="5" y="3"/>
                    </a:lnTo>
                    <a:lnTo>
                      <a:pt x="4" y="4"/>
                    </a:lnTo>
                    <a:lnTo>
                      <a:pt x="4" y="4"/>
                    </a:lnTo>
                    <a:lnTo>
                      <a:pt x="1" y="6"/>
                    </a:lnTo>
                    <a:lnTo>
                      <a:pt x="0" y="9"/>
                    </a:lnTo>
                    <a:lnTo>
                      <a:pt x="0" y="6"/>
                    </a:lnTo>
                    <a:lnTo>
                      <a:pt x="3" y="3"/>
                    </a:lnTo>
                    <a:lnTo>
                      <a:pt x="4"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91" name="Freeform 921"/>
              <p:cNvSpPr>
                <a:spLocks/>
              </p:cNvSpPr>
              <p:nvPr/>
            </p:nvSpPr>
            <p:spPr bwMode="auto">
              <a:xfrm>
                <a:off x="8447774" y="2381175"/>
                <a:ext cx="10534" cy="7099"/>
              </a:xfrm>
              <a:custGeom>
                <a:avLst/>
                <a:gdLst/>
                <a:ahLst/>
                <a:cxnLst>
                  <a:cxn ang="0">
                    <a:pos x="0" y="0"/>
                  </a:cxn>
                  <a:cxn ang="0">
                    <a:pos x="1" y="0"/>
                  </a:cxn>
                  <a:cxn ang="0">
                    <a:pos x="2" y="0"/>
                  </a:cxn>
                  <a:cxn ang="0">
                    <a:pos x="8" y="4"/>
                  </a:cxn>
                  <a:cxn ang="0">
                    <a:pos x="11" y="6"/>
                  </a:cxn>
                  <a:cxn ang="0">
                    <a:pos x="11" y="7"/>
                  </a:cxn>
                  <a:cxn ang="0">
                    <a:pos x="10" y="7"/>
                  </a:cxn>
                  <a:cxn ang="0">
                    <a:pos x="8" y="7"/>
                  </a:cxn>
                  <a:cxn ang="0">
                    <a:pos x="0" y="1"/>
                  </a:cxn>
                  <a:cxn ang="0">
                    <a:pos x="0" y="0"/>
                  </a:cxn>
                </a:cxnLst>
                <a:rect l="0" t="0" r="r" b="b"/>
                <a:pathLst>
                  <a:path w="11" h="7">
                    <a:moveTo>
                      <a:pt x="0" y="0"/>
                    </a:moveTo>
                    <a:lnTo>
                      <a:pt x="1" y="0"/>
                    </a:lnTo>
                    <a:lnTo>
                      <a:pt x="2" y="0"/>
                    </a:lnTo>
                    <a:lnTo>
                      <a:pt x="8" y="4"/>
                    </a:lnTo>
                    <a:lnTo>
                      <a:pt x="11" y="6"/>
                    </a:lnTo>
                    <a:lnTo>
                      <a:pt x="11" y="7"/>
                    </a:lnTo>
                    <a:lnTo>
                      <a:pt x="10" y="7"/>
                    </a:lnTo>
                    <a:lnTo>
                      <a:pt x="8" y="7"/>
                    </a:lnTo>
                    <a:lnTo>
                      <a:pt x="0" y="1"/>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92" name="Freeform 922"/>
              <p:cNvSpPr>
                <a:spLocks/>
              </p:cNvSpPr>
              <p:nvPr/>
            </p:nvSpPr>
            <p:spPr bwMode="auto">
              <a:xfrm>
                <a:off x="8447774" y="2381175"/>
                <a:ext cx="10534" cy="7099"/>
              </a:xfrm>
              <a:custGeom>
                <a:avLst/>
                <a:gdLst/>
                <a:ahLst/>
                <a:cxnLst>
                  <a:cxn ang="0">
                    <a:pos x="0" y="0"/>
                  </a:cxn>
                  <a:cxn ang="0">
                    <a:pos x="1" y="0"/>
                  </a:cxn>
                  <a:cxn ang="0">
                    <a:pos x="2" y="0"/>
                  </a:cxn>
                  <a:cxn ang="0">
                    <a:pos x="8" y="4"/>
                  </a:cxn>
                  <a:cxn ang="0">
                    <a:pos x="11" y="6"/>
                  </a:cxn>
                  <a:cxn ang="0">
                    <a:pos x="11" y="7"/>
                  </a:cxn>
                  <a:cxn ang="0">
                    <a:pos x="10" y="7"/>
                  </a:cxn>
                  <a:cxn ang="0">
                    <a:pos x="8" y="7"/>
                  </a:cxn>
                  <a:cxn ang="0">
                    <a:pos x="0" y="1"/>
                  </a:cxn>
                  <a:cxn ang="0">
                    <a:pos x="0" y="0"/>
                  </a:cxn>
                </a:cxnLst>
                <a:rect l="0" t="0" r="r" b="b"/>
                <a:pathLst>
                  <a:path w="11" h="7">
                    <a:moveTo>
                      <a:pt x="0" y="0"/>
                    </a:moveTo>
                    <a:lnTo>
                      <a:pt x="1" y="0"/>
                    </a:lnTo>
                    <a:lnTo>
                      <a:pt x="2" y="0"/>
                    </a:lnTo>
                    <a:lnTo>
                      <a:pt x="8" y="4"/>
                    </a:lnTo>
                    <a:lnTo>
                      <a:pt x="11" y="6"/>
                    </a:lnTo>
                    <a:lnTo>
                      <a:pt x="11" y="7"/>
                    </a:lnTo>
                    <a:lnTo>
                      <a:pt x="10" y="7"/>
                    </a:lnTo>
                    <a:lnTo>
                      <a:pt x="8" y="7"/>
                    </a:lnTo>
                    <a:lnTo>
                      <a:pt x="0" y="1"/>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93" name="Freeform 923"/>
              <p:cNvSpPr>
                <a:spLocks/>
              </p:cNvSpPr>
              <p:nvPr/>
            </p:nvSpPr>
            <p:spPr bwMode="auto">
              <a:xfrm>
                <a:off x="8458308" y="2372048"/>
                <a:ext cx="4389" cy="4056"/>
              </a:xfrm>
              <a:custGeom>
                <a:avLst/>
                <a:gdLst/>
                <a:ahLst/>
                <a:cxnLst>
                  <a:cxn ang="0">
                    <a:pos x="2" y="0"/>
                  </a:cxn>
                  <a:cxn ang="0">
                    <a:pos x="5" y="1"/>
                  </a:cxn>
                  <a:cxn ang="0">
                    <a:pos x="5" y="3"/>
                  </a:cxn>
                  <a:cxn ang="0">
                    <a:pos x="3" y="3"/>
                  </a:cxn>
                  <a:cxn ang="0">
                    <a:pos x="2" y="4"/>
                  </a:cxn>
                  <a:cxn ang="0">
                    <a:pos x="0" y="3"/>
                  </a:cxn>
                  <a:cxn ang="0">
                    <a:pos x="2" y="0"/>
                  </a:cxn>
                </a:cxnLst>
                <a:rect l="0" t="0" r="r" b="b"/>
                <a:pathLst>
                  <a:path w="5" h="4">
                    <a:moveTo>
                      <a:pt x="2" y="0"/>
                    </a:moveTo>
                    <a:lnTo>
                      <a:pt x="5" y="1"/>
                    </a:lnTo>
                    <a:lnTo>
                      <a:pt x="5" y="3"/>
                    </a:lnTo>
                    <a:lnTo>
                      <a:pt x="3" y="3"/>
                    </a:lnTo>
                    <a:lnTo>
                      <a:pt x="2" y="4"/>
                    </a:lnTo>
                    <a:lnTo>
                      <a:pt x="0" y="3"/>
                    </a:lnTo>
                    <a:lnTo>
                      <a:pt x="2"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94" name="Freeform 924"/>
              <p:cNvSpPr>
                <a:spLocks/>
              </p:cNvSpPr>
              <p:nvPr/>
            </p:nvSpPr>
            <p:spPr bwMode="auto">
              <a:xfrm>
                <a:off x="8458308" y="2372048"/>
                <a:ext cx="4389" cy="4056"/>
              </a:xfrm>
              <a:custGeom>
                <a:avLst/>
                <a:gdLst/>
                <a:ahLst/>
                <a:cxnLst>
                  <a:cxn ang="0">
                    <a:pos x="2" y="0"/>
                  </a:cxn>
                  <a:cxn ang="0">
                    <a:pos x="5" y="1"/>
                  </a:cxn>
                  <a:cxn ang="0">
                    <a:pos x="5" y="3"/>
                  </a:cxn>
                  <a:cxn ang="0">
                    <a:pos x="3" y="3"/>
                  </a:cxn>
                  <a:cxn ang="0">
                    <a:pos x="2" y="4"/>
                  </a:cxn>
                  <a:cxn ang="0">
                    <a:pos x="0" y="3"/>
                  </a:cxn>
                  <a:cxn ang="0">
                    <a:pos x="2" y="0"/>
                  </a:cxn>
                </a:cxnLst>
                <a:rect l="0" t="0" r="r" b="b"/>
                <a:pathLst>
                  <a:path w="5" h="4">
                    <a:moveTo>
                      <a:pt x="2" y="0"/>
                    </a:moveTo>
                    <a:lnTo>
                      <a:pt x="5" y="1"/>
                    </a:lnTo>
                    <a:lnTo>
                      <a:pt x="5" y="3"/>
                    </a:lnTo>
                    <a:lnTo>
                      <a:pt x="3" y="3"/>
                    </a:lnTo>
                    <a:lnTo>
                      <a:pt x="2" y="4"/>
                    </a:lnTo>
                    <a:lnTo>
                      <a:pt x="0" y="3"/>
                    </a:lnTo>
                    <a:lnTo>
                      <a:pt x="2"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95" name="Freeform 925"/>
              <p:cNvSpPr>
                <a:spLocks/>
              </p:cNvSpPr>
              <p:nvPr/>
            </p:nvSpPr>
            <p:spPr bwMode="auto">
              <a:xfrm>
                <a:off x="6365631" y="1585081"/>
                <a:ext cx="5267" cy="9127"/>
              </a:xfrm>
              <a:custGeom>
                <a:avLst/>
                <a:gdLst/>
                <a:ahLst/>
                <a:cxnLst>
                  <a:cxn ang="0">
                    <a:pos x="0" y="3"/>
                  </a:cxn>
                  <a:cxn ang="0">
                    <a:pos x="0" y="5"/>
                  </a:cxn>
                  <a:cxn ang="0">
                    <a:pos x="3" y="6"/>
                  </a:cxn>
                  <a:cxn ang="0">
                    <a:pos x="1" y="9"/>
                  </a:cxn>
                  <a:cxn ang="0">
                    <a:pos x="3" y="9"/>
                  </a:cxn>
                  <a:cxn ang="0">
                    <a:pos x="4" y="8"/>
                  </a:cxn>
                  <a:cxn ang="0">
                    <a:pos x="6" y="2"/>
                  </a:cxn>
                  <a:cxn ang="0">
                    <a:pos x="3" y="0"/>
                  </a:cxn>
                  <a:cxn ang="0">
                    <a:pos x="3" y="2"/>
                  </a:cxn>
                  <a:cxn ang="0">
                    <a:pos x="0" y="2"/>
                  </a:cxn>
                  <a:cxn ang="0">
                    <a:pos x="0" y="3"/>
                  </a:cxn>
                </a:cxnLst>
                <a:rect l="0" t="0" r="r" b="b"/>
                <a:pathLst>
                  <a:path w="6" h="9">
                    <a:moveTo>
                      <a:pt x="0" y="3"/>
                    </a:moveTo>
                    <a:lnTo>
                      <a:pt x="0" y="5"/>
                    </a:lnTo>
                    <a:lnTo>
                      <a:pt x="3" y="6"/>
                    </a:lnTo>
                    <a:lnTo>
                      <a:pt x="1" y="9"/>
                    </a:lnTo>
                    <a:lnTo>
                      <a:pt x="3" y="9"/>
                    </a:lnTo>
                    <a:lnTo>
                      <a:pt x="4" y="8"/>
                    </a:lnTo>
                    <a:lnTo>
                      <a:pt x="6" y="2"/>
                    </a:lnTo>
                    <a:lnTo>
                      <a:pt x="3" y="0"/>
                    </a:lnTo>
                    <a:lnTo>
                      <a:pt x="3" y="2"/>
                    </a:lnTo>
                    <a:lnTo>
                      <a:pt x="0" y="2"/>
                    </a:lnTo>
                    <a:lnTo>
                      <a:pt x="0"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96" name="Freeform 926"/>
              <p:cNvSpPr>
                <a:spLocks/>
              </p:cNvSpPr>
              <p:nvPr/>
            </p:nvSpPr>
            <p:spPr bwMode="auto">
              <a:xfrm>
                <a:off x="6365631" y="1585081"/>
                <a:ext cx="5267" cy="9127"/>
              </a:xfrm>
              <a:custGeom>
                <a:avLst/>
                <a:gdLst/>
                <a:ahLst/>
                <a:cxnLst>
                  <a:cxn ang="0">
                    <a:pos x="0" y="3"/>
                  </a:cxn>
                  <a:cxn ang="0">
                    <a:pos x="0" y="5"/>
                  </a:cxn>
                  <a:cxn ang="0">
                    <a:pos x="3" y="6"/>
                  </a:cxn>
                  <a:cxn ang="0">
                    <a:pos x="1" y="9"/>
                  </a:cxn>
                  <a:cxn ang="0">
                    <a:pos x="3" y="9"/>
                  </a:cxn>
                  <a:cxn ang="0">
                    <a:pos x="4" y="8"/>
                  </a:cxn>
                  <a:cxn ang="0">
                    <a:pos x="6" y="2"/>
                  </a:cxn>
                  <a:cxn ang="0">
                    <a:pos x="3" y="0"/>
                  </a:cxn>
                  <a:cxn ang="0">
                    <a:pos x="3" y="2"/>
                  </a:cxn>
                  <a:cxn ang="0">
                    <a:pos x="0" y="2"/>
                  </a:cxn>
                  <a:cxn ang="0">
                    <a:pos x="0" y="3"/>
                  </a:cxn>
                </a:cxnLst>
                <a:rect l="0" t="0" r="r" b="b"/>
                <a:pathLst>
                  <a:path w="6" h="9">
                    <a:moveTo>
                      <a:pt x="0" y="3"/>
                    </a:moveTo>
                    <a:lnTo>
                      <a:pt x="0" y="5"/>
                    </a:lnTo>
                    <a:lnTo>
                      <a:pt x="3" y="6"/>
                    </a:lnTo>
                    <a:lnTo>
                      <a:pt x="1" y="9"/>
                    </a:lnTo>
                    <a:lnTo>
                      <a:pt x="3" y="9"/>
                    </a:lnTo>
                    <a:lnTo>
                      <a:pt x="4" y="8"/>
                    </a:lnTo>
                    <a:lnTo>
                      <a:pt x="6" y="2"/>
                    </a:lnTo>
                    <a:lnTo>
                      <a:pt x="3" y="0"/>
                    </a:lnTo>
                    <a:lnTo>
                      <a:pt x="3" y="2"/>
                    </a:lnTo>
                    <a:lnTo>
                      <a:pt x="0" y="2"/>
                    </a:lnTo>
                    <a:lnTo>
                      <a:pt x="0"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97" name="Freeform 927"/>
              <p:cNvSpPr>
                <a:spLocks/>
              </p:cNvSpPr>
              <p:nvPr/>
            </p:nvSpPr>
            <p:spPr bwMode="auto">
              <a:xfrm>
                <a:off x="4955005" y="2998782"/>
                <a:ext cx="14045" cy="37523"/>
              </a:xfrm>
              <a:custGeom>
                <a:avLst/>
                <a:gdLst/>
                <a:ahLst/>
                <a:cxnLst>
                  <a:cxn ang="0">
                    <a:pos x="12" y="0"/>
                  </a:cxn>
                  <a:cxn ang="0">
                    <a:pos x="10" y="0"/>
                  </a:cxn>
                  <a:cxn ang="0">
                    <a:pos x="9" y="0"/>
                  </a:cxn>
                  <a:cxn ang="0">
                    <a:pos x="5" y="7"/>
                  </a:cxn>
                  <a:cxn ang="0">
                    <a:pos x="0" y="8"/>
                  </a:cxn>
                  <a:cxn ang="0">
                    <a:pos x="0" y="36"/>
                  </a:cxn>
                  <a:cxn ang="0">
                    <a:pos x="0" y="36"/>
                  </a:cxn>
                  <a:cxn ang="0">
                    <a:pos x="2" y="36"/>
                  </a:cxn>
                  <a:cxn ang="0">
                    <a:pos x="5" y="36"/>
                  </a:cxn>
                  <a:cxn ang="0">
                    <a:pos x="5" y="36"/>
                  </a:cxn>
                  <a:cxn ang="0">
                    <a:pos x="5" y="34"/>
                  </a:cxn>
                  <a:cxn ang="0">
                    <a:pos x="5" y="33"/>
                  </a:cxn>
                  <a:cxn ang="0">
                    <a:pos x="12" y="27"/>
                  </a:cxn>
                  <a:cxn ang="0">
                    <a:pos x="12" y="26"/>
                  </a:cxn>
                  <a:cxn ang="0">
                    <a:pos x="12" y="26"/>
                  </a:cxn>
                  <a:cxn ang="0">
                    <a:pos x="13" y="10"/>
                  </a:cxn>
                  <a:cxn ang="0">
                    <a:pos x="16" y="4"/>
                  </a:cxn>
                  <a:cxn ang="0">
                    <a:pos x="16" y="3"/>
                  </a:cxn>
                  <a:cxn ang="0">
                    <a:pos x="15" y="1"/>
                  </a:cxn>
                  <a:cxn ang="0">
                    <a:pos x="12" y="0"/>
                  </a:cxn>
                  <a:cxn ang="0">
                    <a:pos x="12" y="0"/>
                  </a:cxn>
                </a:cxnLst>
                <a:rect l="0" t="0" r="r" b="b"/>
                <a:pathLst>
                  <a:path w="16" h="36">
                    <a:moveTo>
                      <a:pt x="12" y="0"/>
                    </a:moveTo>
                    <a:lnTo>
                      <a:pt x="10" y="0"/>
                    </a:lnTo>
                    <a:lnTo>
                      <a:pt x="9" y="0"/>
                    </a:lnTo>
                    <a:lnTo>
                      <a:pt x="5" y="7"/>
                    </a:lnTo>
                    <a:lnTo>
                      <a:pt x="0" y="8"/>
                    </a:lnTo>
                    <a:lnTo>
                      <a:pt x="0" y="36"/>
                    </a:lnTo>
                    <a:lnTo>
                      <a:pt x="0" y="36"/>
                    </a:lnTo>
                    <a:lnTo>
                      <a:pt x="2" y="36"/>
                    </a:lnTo>
                    <a:lnTo>
                      <a:pt x="5" y="36"/>
                    </a:lnTo>
                    <a:lnTo>
                      <a:pt x="5" y="36"/>
                    </a:lnTo>
                    <a:lnTo>
                      <a:pt x="5" y="34"/>
                    </a:lnTo>
                    <a:lnTo>
                      <a:pt x="5" y="33"/>
                    </a:lnTo>
                    <a:lnTo>
                      <a:pt x="12" y="27"/>
                    </a:lnTo>
                    <a:lnTo>
                      <a:pt x="12" y="26"/>
                    </a:lnTo>
                    <a:lnTo>
                      <a:pt x="12" y="26"/>
                    </a:lnTo>
                    <a:lnTo>
                      <a:pt x="13" y="10"/>
                    </a:lnTo>
                    <a:lnTo>
                      <a:pt x="16" y="4"/>
                    </a:lnTo>
                    <a:lnTo>
                      <a:pt x="16" y="3"/>
                    </a:lnTo>
                    <a:lnTo>
                      <a:pt x="15" y="1"/>
                    </a:lnTo>
                    <a:lnTo>
                      <a:pt x="12" y="0"/>
                    </a:lnTo>
                    <a:lnTo>
                      <a:pt x="12"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98" name="Freeform 928"/>
              <p:cNvSpPr>
                <a:spLocks/>
              </p:cNvSpPr>
              <p:nvPr/>
            </p:nvSpPr>
            <p:spPr bwMode="auto">
              <a:xfrm>
                <a:off x="4955005" y="2998782"/>
                <a:ext cx="14045" cy="37523"/>
              </a:xfrm>
              <a:custGeom>
                <a:avLst/>
                <a:gdLst/>
                <a:ahLst/>
                <a:cxnLst>
                  <a:cxn ang="0">
                    <a:pos x="12" y="0"/>
                  </a:cxn>
                  <a:cxn ang="0">
                    <a:pos x="10" y="0"/>
                  </a:cxn>
                  <a:cxn ang="0">
                    <a:pos x="9" y="0"/>
                  </a:cxn>
                  <a:cxn ang="0">
                    <a:pos x="5" y="7"/>
                  </a:cxn>
                  <a:cxn ang="0">
                    <a:pos x="0" y="8"/>
                  </a:cxn>
                  <a:cxn ang="0">
                    <a:pos x="0" y="36"/>
                  </a:cxn>
                  <a:cxn ang="0">
                    <a:pos x="0" y="36"/>
                  </a:cxn>
                  <a:cxn ang="0">
                    <a:pos x="2" y="36"/>
                  </a:cxn>
                  <a:cxn ang="0">
                    <a:pos x="5" y="36"/>
                  </a:cxn>
                  <a:cxn ang="0">
                    <a:pos x="5" y="36"/>
                  </a:cxn>
                  <a:cxn ang="0">
                    <a:pos x="5" y="34"/>
                  </a:cxn>
                  <a:cxn ang="0">
                    <a:pos x="5" y="33"/>
                  </a:cxn>
                  <a:cxn ang="0">
                    <a:pos x="12" y="27"/>
                  </a:cxn>
                  <a:cxn ang="0">
                    <a:pos x="12" y="26"/>
                  </a:cxn>
                  <a:cxn ang="0">
                    <a:pos x="12" y="26"/>
                  </a:cxn>
                  <a:cxn ang="0">
                    <a:pos x="13" y="10"/>
                  </a:cxn>
                  <a:cxn ang="0">
                    <a:pos x="16" y="4"/>
                  </a:cxn>
                  <a:cxn ang="0">
                    <a:pos x="16" y="3"/>
                  </a:cxn>
                  <a:cxn ang="0">
                    <a:pos x="15" y="1"/>
                  </a:cxn>
                  <a:cxn ang="0">
                    <a:pos x="12" y="0"/>
                  </a:cxn>
                  <a:cxn ang="0">
                    <a:pos x="12" y="0"/>
                  </a:cxn>
                </a:cxnLst>
                <a:rect l="0" t="0" r="r" b="b"/>
                <a:pathLst>
                  <a:path w="16" h="36">
                    <a:moveTo>
                      <a:pt x="12" y="0"/>
                    </a:moveTo>
                    <a:lnTo>
                      <a:pt x="10" y="0"/>
                    </a:lnTo>
                    <a:lnTo>
                      <a:pt x="9" y="0"/>
                    </a:lnTo>
                    <a:lnTo>
                      <a:pt x="5" y="7"/>
                    </a:lnTo>
                    <a:lnTo>
                      <a:pt x="0" y="8"/>
                    </a:lnTo>
                    <a:lnTo>
                      <a:pt x="0" y="36"/>
                    </a:lnTo>
                    <a:lnTo>
                      <a:pt x="0" y="36"/>
                    </a:lnTo>
                    <a:lnTo>
                      <a:pt x="2" y="36"/>
                    </a:lnTo>
                    <a:lnTo>
                      <a:pt x="5" y="36"/>
                    </a:lnTo>
                    <a:lnTo>
                      <a:pt x="5" y="36"/>
                    </a:lnTo>
                    <a:lnTo>
                      <a:pt x="5" y="34"/>
                    </a:lnTo>
                    <a:lnTo>
                      <a:pt x="5" y="33"/>
                    </a:lnTo>
                    <a:lnTo>
                      <a:pt x="12" y="27"/>
                    </a:lnTo>
                    <a:lnTo>
                      <a:pt x="12" y="26"/>
                    </a:lnTo>
                    <a:lnTo>
                      <a:pt x="12" y="26"/>
                    </a:lnTo>
                    <a:lnTo>
                      <a:pt x="13" y="10"/>
                    </a:lnTo>
                    <a:lnTo>
                      <a:pt x="16" y="4"/>
                    </a:lnTo>
                    <a:lnTo>
                      <a:pt x="16" y="3"/>
                    </a:lnTo>
                    <a:lnTo>
                      <a:pt x="15" y="1"/>
                    </a:lnTo>
                    <a:lnTo>
                      <a:pt x="12" y="0"/>
                    </a:lnTo>
                    <a:lnTo>
                      <a:pt x="12"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99" name="Freeform 929"/>
              <p:cNvSpPr>
                <a:spLocks/>
              </p:cNvSpPr>
              <p:nvPr/>
            </p:nvSpPr>
            <p:spPr bwMode="auto">
              <a:xfrm>
                <a:off x="4944472" y="3059630"/>
                <a:ext cx="29845" cy="19268"/>
              </a:xfrm>
              <a:custGeom>
                <a:avLst/>
                <a:gdLst/>
                <a:ahLst/>
                <a:cxnLst>
                  <a:cxn ang="0">
                    <a:pos x="8" y="0"/>
                  </a:cxn>
                  <a:cxn ang="0">
                    <a:pos x="7" y="1"/>
                  </a:cxn>
                  <a:cxn ang="0">
                    <a:pos x="7" y="3"/>
                  </a:cxn>
                  <a:cxn ang="0">
                    <a:pos x="5" y="4"/>
                  </a:cxn>
                  <a:cxn ang="0">
                    <a:pos x="4" y="6"/>
                  </a:cxn>
                  <a:cxn ang="0">
                    <a:pos x="2" y="7"/>
                  </a:cxn>
                  <a:cxn ang="0">
                    <a:pos x="1" y="7"/>
                  </a:cxn>
                  <a:cxn ang="0">
                    <a:pos x="0" y="10"/>
                  </a:cxn>
                  <a:cxn ang="0">
                    <a:pos x="0" y="11"/>
                  </a:cxn>
                  <a:cxn ang="0">
                    <a:pos x="1" y="13"/>
                  </a:cxn>
                  <a:cxn ang="0">
                    <a:pos x="18" y="19"/>
                  </a:cxn>
                  <a:cxn ang="0">
                    <a:pos x="26" y="19"/>
                  </a:cxn>
                  <a:cxn ang="0">
                    <a:pos x="30" y="17"/>
                  </a:cxn>
                  <a:cxn ang="0">
                    <a:pos x="32" y="16"/>
                  </a:cxn>
                  <a:cxn ang="0">
                    <a:pos x="32" y="16"/>
                  </a:cxn>
                  <a:cxn ang="0">
                    <a:pos x="32" y="10"/>
                  </a:cxn>
                  <a:cxn ang="0">
                    <a:pos x="32" y="10"/>
                  </a:cxn>
                  <a:cxn ang="0">
                    <a:pos x="30" y="8"/>
                  </a:cxn>
                  <a:cxn ang="0">
                    <a:pos x="27" y="8"/>
                  </a:cxn>
                  <a:cxn ang="0">
                    <a:pos x="27" y="7"/>
                  </a:cxn>
                  <a:cxn ang="0">
                    <a:pos x="26" y="7"/>
                  </a:cxn>
                  <a:cxn ang="0">
                    <a:pos x="24" y="8"/>
                  </a:cxn>
                  <a:cxn ang="0">
                    <a:pos x="23" y="8"/>
                  </a:cxn>
                  <a:cxn ang="0">
                    <a:pos x="21" y="8"/>
                  </a:cxn>
                  <a:cxn ang="0">
                    <a:pos x="20" y="7"/>
                  </a:cxn>
                  <a:cxn ang="0">
                    <a:pos x="20" y="7"/>
                  </a:cxn>
                  <a:cxn ang="0">
                    <a:pos x="18" y="7"/>
                  </a:cxn>
                  <a:cxn ang="0">
                    <a:pos x="18" y="7"/>
                  </a:cxn>
                  <a:cxn ang="0">
                    <a:pos x="17" y="6"/>
                  </a:cxn>
                  <a:cxn ang="0">
                    <a:pos x="17" y="6"/>
                  </a:cxn>
                  <a:cxn ang="0">
                    <a:pos x="14" y="4"/>
                  </a:cxn>
                  <a:cxn ang="0">
                    <a:pos x="13" y="1"/>
                  </a:cxn>
                  <a:cxn ang="0">
                    <a:pos x="10" y="1"/>
                  </a:cxn>
                  <a:cxn ang="0">
                    <a:pos x="8" y="0"/>
                  </a:cxn>
                </a:cxnLst>
                <a:rect l="0" t="0" r="r" b="b"/>
                <a:pathLst>
                  <a:path w="32" h="19">
                    <a:moveTo>
                      <a:pt x="8" y="0"/>
                    </a:moveTo>
                    <a:lnTo>
                      <a:pt x="7" y="1"/>
                    </a:lnTo>
                    <a:lnTo>
                      <a:pt x="7" y="3"/>
                    </a:lnTo>
                    <a:lnTo>
                      <a:pt x="5" y="4"/>
                    </a:lnTo>
                    <a:lnTo>
                      <a:pt x="4" y="6"/>
                    </a:lnTo>
                    <a:lnTo>
                      <a:pt x="2" y="7"/>
                    </a:lnTo>
                    <a:lnTo>
                      <a:pt x="1" y="7"/>
                    </a:lnTo>
                    <a:lnTo>
                      <a:pt x="0" y="10"/>
                    </a:lnTo>
                    <a:lnTo>
                      <a:pt x="0" y="11"/>
                    </a:lnTo>
                    <a:lnTo>
                      <a:pt x="1" y="13"/>
                    </a:lnTo>
                    <a:lnTo>
                      <a:pt x="18" y="19"/>
                    </a:lnTo>
                    <a:lnTo>
                      <a:pt x="26" y="19"/>
                    </a:lnTo>
                    <a:lnTo>
                      <a:pt x="30" y="17"/>
                    </a:lnTo>
                    <a:lnTo>
                      <a:pt x="32" y="16"/>
                    </a:lnTo>
                    <a:lnTo>
                      <a:pt x="32" y="16"/>
                    </a:lnTo>
                    <a:lnTo>
                      <a:pt x="32" y="10"/>
                    </a:lnTo>
                    <a:lnTo>
                      <a:pt x="32" y="10"/>
                    </a:lnTo>
                    <a:lnTo>
                      <a:pt x="30" y="8"/>
                    </a:lnTo>
                    <a:lnTo>
                      <a:pt x="27" y="8"/>
                    </a:lnTo>
                    <a:lnTo>
                      <a:pt x="27" y="7"/>
                    </a:lnTo>
                    <a:lnTo>
                      <a:pt x="26" y="7"/>
                    </a:lnTo>
                    <a:lnTo>
                      <a:pt x="24" y="8"/>
                    </a:lnTo>
                    <a:lnTo>
                      <a:pt x="23" y="8"/>
                    </a:lnTo>
                    <a:lnTo>
                      <a:pt x="21" y="8"/>
                    </a:lnTo>
                    <a:lnTo>
                      <a:pt x="20" y="7"/>
                    </a:lnTo>
                    <a:lnTo>
                      <a:pt x="20" y="7"/>
                    </a:lnTo>
                    <a:lnTo>
                      <a:pt x="18" y="7"/>
                    </a:lnTo>
                    <a:lnTo>
                      <a:pt x="18" y="7"/>
                    </a:lnTo>
                    <a:lnTo>
                      <a:pt x="17" y="6"/>
                    </a:lnTo>
                    <a:lnTo>
                      <a:pt x="17" y="6"/>
                    </a:lnTo>
                    <a:lnTo>
                      <a:pt x="14" y="4"/>
                    </a:lnTo>
                    <a:lnTo>
                      <a:pt x="13" y="1"/>
                    </a:lnTo>
                    <a:lnTo>
                      <a:pt x="10" y="1"/>
                    </a:lnTo>
                    <a:lnTo>
                      <a:pt x="8"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00" name="Freeform 930"/>
              <p:cNvSpPr>
                <a:spLocks/>
              </p:cNvSpPr>
              <p:nvPr/>
            </p:nvSpPr>
            <p:spPr bwMode="auto">
              <a:xfrm>
                <a:off x="4944472" y="3059630"/>
                <a:ext cx="29845" cy="19268"/>
              </a:xfrm>
              <a:custGeom>
                <a:avLst/>
                <a:gdLst/>
                <a:ahLst/>
                <a:cxnLst>
                  <a:cxn ang="0">
                    <a:pos x="8" y="0"/>
                  </a:cxn>
                  <a:cxn ang="0">
                    <a:pos x="7" y="1"/>
                  </a:cxn>
                  <a:cxn ang="0">
                    <a:pos x="7" y="3"/>
                  </a:cxn>
                  <a:cxn ang="0">
                    <a:pos x="5" y="4"/>
                  </a:cxn>
                  <a:cxn ang="0">
                    <a:pos x="4" y="6"/>
                  </a:cxn>
                  <a:cxn ang="0">
                    <a:pos x="2" y="7"/>
                  </a:cxn>
                  <a:cxn ang="0">
                    <a:pos x="1" y="7"/>
                  </a:cxn>
                  <a:cxn ang="0">
                    <a:pos x="0" y="10"/>
                  </a:cxn>
                  <a:cxn ang="0">
                    <a:pos x="0" y="11"/>
                  </a:cxn>
                  <a:cxn ang="0">
                    <a:pos x="1" y="13"/>
                  </a:cxn>
                  <a:cxn ang="0">
                    <a:pos x="18" y="19"/>
                  </a:cxn>
                  <a:cxn ang="0">
                    <a:pos x="26" y="19"/>
                  </a:cxn>
                  <a:cxn ang="0">
                    <a:pos x="30" y="17"/>
                  </a:cxn>
                  <a:cxn ang="0">
                    <a:pos x="32" y="16"/>
                  </a:cxn>
                  <a:cxn ang="0">
                    <a:pos x="32" y="16"/>
                  </a:cxn>
                  <a:cxn ang="0">
                    <a:pos x="32" y="10"/>
                  </a:cxn>
                  <a:cxn ang="0">
                    <a:pos x="32" y="10"/>
                  </a:cxn>
                  <a:cxn ang="0">
                    <a:pos x="30" y="8"/>
                  </a:cxn>
                  <a:cxn ang="0">
                    <a:pos x="27" y="8"/>
                  </a:cxn>
                  <a:cxn ang="0">
                    <a:pos x="27" y="7"/>
                  </a:cxn>
                  <a:cxn ang="0">
                    <a:pos x="26" y="7"/>
                  </a:cxn>
                  <a:cxn ang="0">
                    <a:pos x="24" y="8"/>
                  </a:cxn>
                  <a:cxn ang="0">
                    <a:pos x="23" y="8"/>
                  </a:cxn>
                  <a:cxn ang="0">
                    <a:pos x="21" y="8"/>
                  </a:cxn>
                  <a:cxn ang="0">
                    <a:pos x="20" y="7"/>
                  </a:cxn>
                  <a:cxn ang="0">
                    <a:pos x="20" y="7"/>
                  </a:cxn>
                  <a:cxn ang="0">
                    <a:pos x="18" y="7"/>
                  </a:cxn>
                  <a:cxn ang="0">
                    <a:pos x="18" y="7"/>
                  </a:cxn>
                  <a:cxn ang="0">
                    <a:pos x="17" y="6"/>
                  </a:cxn>
                  <a:cxn ang="0">
                    <a:pos x="17" y="6"/>
                  </a:cxn>
                  <a:cxn ang="0">
                    <a:pos x="14" y="4"/>
                  </a:cxn>
                  <a:cxn ang="0">
                    <a:pos x="13" y="1"/>
                  </a:cxn>
                  <a:cxn ang="0">
                    <a:pos x="10" y="1"/>
                  </a:cxn>
                  <a:cxn ang="0">
                    <a:pos x="8" y="0"/>
                  </a:cxn>
                </a:cxnLst>
                <a:rect l="0" t="0" r="r" b="b"/>
                <a:pathLst>
                  <a:path w="32" h="19">
                    <a:moveTo>
                      <a:pt x="8" y="0"/>
                    </a:moveTo>
                    <a:lnTo>
                      <a:pt x="7" y="1"/>
                    </a:lnTo>
                    <a:lnTo>
                      <a:pt x="7" y="3"/>
                    </a:lnTo>
                    <a:lnTo>
                      <a:pt x="5" y="4"/>
                    </a:lnTo>
                    <a:lnTo>
                      <a:pt x="4" y="6"/>
                    </a:lnTo>
                    <a:lnTo>
                      <a:pt x="2" y="7"/>
                    </a:lnTo>
                    <a:lnTo>
                      <a:pt x="1" y="7"/>
                    </a:lnTo>
                    <a:lnTo>
                      <a:pt x="0" y="10"/>
                    </a:lnTo>
                    <a:lnTo>
                      <a:pt x="0" y="11"/>
                    </a:lnTo>
                    <a:lnTo>
                      <a:pt x="1" y="13"/>
                    </a:lnTo>
                    <a:lnTo>
                      <a:pt x="18" y="19"/>
                    </a:lnTo>
                    <a:lnTo>
                      <a:pt x="26" y="19"/>
                    </a:lnTo>
                    <a:lnTo>
                      <a:pt x="30" y="17"/>
                    </a:lnTo>
                    <a:lnTo>
                      <a:pt x="32" y="16"/>
                    </a:lnTo>
                    <a:lnTo>
                      <a:pt x="32" y="16"/>
                    </a:lnTo>
                    <a:lnTo>
                      <a:pt x="32" y="10"/>
                    </a:lnTo>
                    <a:lnTo>
                      <a:pt x="32" y="10"/>
                    </a:lnTo>
                    <a:lnTo>
                      <a:pt x="30" y="8"/>
                    </a:lnTo>
                    <a:lnTo>
                      <a:pt x="27" y="8"/>
                    </a:lnTo>
                    <a:lnTo>
                      <a:pt x="27" y="7"/>
                    </a:lnTo>
                    <a:lnTo>
                      <a:pt x="26" y="7"/>
                    </a:lnTo>
                    <a:lnTo>
                      <a:pt x="24" y="8"/>
                    </a:lnTo>
                    <a:lnTo>
                      <a:pt x="23" y="8"/>
                    </a:lnTo>
                    <a:lnTo>
                      <a:pt x="21" y="8"/>
                    </a:lnTo>
                    <a:lnTo>
                      <a:pt x="20" y="7"/>
                    </a:lnTo>
                    <a:lnTo>
                      <a:pt x="20" y="7"/>
                    </a:lnTo>
                    <a:lnTo>
                      <a:pt x="18" y="7"/>
                    </a:lnTo>
                    <a:lnTo>
                      <a:pt x="18" y="7"/>
                    </a:lnTo>
                    <a:lnTo>
                      <a:pt x="17" y="6"/>
                    </a:lnTo>
                    <a:lnTo>
                      <a:pt x="17" y="6"/>
                    </a:lnTo>
                    <a:lnTo>
                      <a:pt x="14" y="4"/>
                    </a:lnTo>
                    <a:lnTo>
                      <a:pt x="13" y="1"/>
                    </a:lnTo>
                    <a:lnTo>
                      <a:pt x="10" y="1"/>
                    </a:lnTo>
                    <a:lnTo>
                      <a:pt x="8"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01" name="Freeform 931"/>
              <p:cNvSpPr>
                <a:spLocks/>
              </p:cNvSpPr>
              <p:nvPr/>
            </p:nvSpPr>
            <p:spPr bwMode="auto">
              <a:xfrm>
                <a:off x="4998896" y="3109322"/>
                <a:ext cx="43013" cy="41580"/>
              </a:xfrm>
              <a:custGeom>
                <a:avLst/>
                <a:gdLst/>
                <a:ahLst/>
                <a:cxnLst>
                  <a:cxn ang="0">
                    <a:pos x="31" y="4"/>
                  </a:cxn>
                  <a:cxn ang="0">
                    <a:pos x="25" y="5"/>
                  </a:cxn>
                  <a:cxn ang="0">
                    <a:pos x="19" y="3"/>
                  </a:cxn>
                  <a:cxn ang="0">
                    <a:pos x="13" y="3"/>
                  </a:cxn>
                  <a:cxn ang="0">
                    <a:pos x="4" y="0"/>
                  </a:cxn>
                  <a:cxn ang="0">
                    <a:pos x="3" y="0"/>
                  </a:cxn>
                  <a:cxn ang="0">
                    <a:pos x="0" y="1"/>
                  </a:cxn>
                  <a:cxn ang="0">
                    <a:pos x="0" y="3"/>
                  </a:cxn>
                  <a:cxn ang="0">
                    <a:pos x="0" y="4"/>
                  </a:cxn>
                  <a:cxn ang="0">
                    <a:pos x="2" y="5"/>
                  </a:cxn>
                  <a:cxn ang="0">
                    <a:pos x="2" y="8"/>
                  </a:cxn>
                  <a:cxn ang="0">
                    <a:pos x="0" y="11"/>
                  </a:cxn>
                  <a:cxn ang="0">
                    <a:pos x="2" y="16"/>
                  </a:cxn>
                  <a:cxn ang="0">
                    <a:pos x="3" y="17"/>
                  </a:cxn>
                  <a:cxn ang="0">
                    <a:pos x="4" y="19"/>
                  </a:cxn>
                  <a:cxn ang="0">
                    <a:pos x="6" y="19"/>
                  </a:cxn>
                  <a:cxn ang="0">
                    <a:pos x="10" y="21"/>
                  </a:cxn>
                  <a:cxn ang="0">
                    <a:pos x="12" y="21"/>
                  </a:cxn>
                  <a:cxn ang="0">
                    <a:pos x="13" y="19"/>
                  </a:cxn>
                  <a:cxn ang="0">
                    <a:pos x="12" y="17"/>
                  </a:cxn>
                  <a:cxn ang="0">
                    <a:pos x="10" y="17"/>
                  </a:cxn>
                  <a:cxn ang="0">
                    <a:pos x="10" y="16"/>
                  </a:cxn>
                  <a:cxn ang="0">
                    <a:pos x="12" y="16"/>
                  </a:cxn>
                  <a:cxn ang="0">
                    <a:pos x="13" y="16"/>
                  </a:cxn>
                  <a:cxn ang="0">
                    <a:pos x="16" y="20"/>
                  </a:cxn>
                  <a:cxn ang="0">
                    <a:pos x="18" y="21"/>
                  </a:cxn>
                  <a:cxn ang="0">
                    <a:pos x="19" y="24"/>
                  </a:cxn>
                  <a:cxn ang="0">
                    <a:pos x="20" y="24"/>
                  </a:cxn>
                  <a:cxn ang="0">
                    <a:pos x="28" y="27"/>
                  </a:cxn>
                  <a:cxn ang="0">
                    <a:pos x="31" y="30"/>
                  </a:cxn>
                  <a:cxn ang="0">
                    <a:pos x="31" y="37"/>
                  </a:cxn>
                  <a:cxn ang="0">
                    <a:pos x="31" y="37"/>
                  </a:cxn>
                  <a:cxn ang="0">
                    <a:pos x="33" y="39"/>
                  </a:cxn>
                  <a:cxn ang="0">
                    <a:pos x="35" y="39"/>
                  </a:cxn>
                  <a:cxn ang="0">
                    <a:pos x="36" y="39"/>
                  </a:cxn>
                  <a:cxn ang="0">
                    <a:pos x="35" y="36"/>
                  </a:cxn>
                  <a:cxn ang="0">
                    <a:pos x="36" y="35"/>
                  </a:cxn>
                  <a:cxn ang="0">
                    <a:pos x="38" y="36"/>
                  </a:cxn>
                  <a:cxn ang="0">
                    <a:pos x="39" y="37"/>
                  </a:cxn>
                  <a:cxn ang="0">
                    <a:pos x="39" y="40"/>
                  </a:cxn>
                  <a:cxn ang="0">
                    <a:pos x="41" y="40"/>
                  </a:cxn>
                  <a:cxn ang="0">
                    <a:pos x="42" y="39"/>
                  </a:cxn>
                  <a:cxn ang="0">
                    <a:pos x="44" y="37"/>
                  </a:cxn>
                  <a:cxn ang="0">
                    <a:pos x="42" y="33"/>
                  </a:cxn>
                  <a:cxn ang="0">
                    <a:pos x="44" y="33"/>
                  </a:cxn>
                  <a:cxn ang="0">
                    <a:pos x="44" y="32"/>
                  </a:cxn>
                  <a:cxn ang="0">
                    <a:pos x="45" y="30"/>
                  </a:cxn>
                  <a:cxn ang="0">
                    <a:pos x="42" y="29"/>
                  </a:cxn>
                  <a:cxn ang="0">
                    <a:pos x="42" y="24"/>
                  </a:cxn>
                  <a:cxn ang="0">
                    <a:pos x="44" y="23"/>
                  </a:cxn>
                  <a:cxn ang="0">
                    <a:pos x="45" y="23"/>
                  </a:cxn>
                  <a:cxn ang="0">
                    <a:pos x="45" y="23"/>
                  </a:cxn>
                  <a:cxn ang="0">
                    <a:pos x="47" y="23"/>
                  </a:cxn>
                  <a:cxn ang="0">
                    <a:pos x="47" y="23"/>
                  </a:cxn>
                  <a:cxn ang="0">
                    <a:pos x="33" y="11"/>
                  </a:cxn>
                  <a:cxn ang="0">
                    <a:pos x="31" y="4"/>
                  </a:cxn>
                  <a:cxn ang="0">
                    <a:pos x="31" y="4"/>
                  </a:cxn>
                </a:cxnLst>
                <a:rect l="0" t="0" r="r" b="b"/>
                <a:pathLst>
                  <a:path w="47" h="40">
                    <a:moveTo>
                      <a:pt x="31" y="4"/>
                    </a:moveTo>
                    <a:lnTo>
                      <a:pt x="25" y="5"/>
                    </a:lnTo>
                    <a:lnTo>
                      <a:pt x="19" y="3"/>
                    </a:lnTo>
                    <a:lnTo>
                      <a:pt x="13" y="3"/>
                    </a:lnTo>
                    <a:lnTo>
                      <a:pt x="4" y="0"/>
                    </a:lnTo>
                    <a:lnTo>
                      <a:pt x="3" y="0"/>
                    </a:lnTo>
                    <a:lnTo>
                      <a:pt x="0" y="1"/>
                    </a:lnTo>
                    <a:lnTo>
                      <a:pt x="0" y="3"/>
                    </a:lnTo>
                    <a:lnTo>
                      <a:pt x="0" y="4"/>
                    </a:lnTo>
                    <a:lnTo>
                      <a:pt x="2" y="5"/>
                    </a:lnTo>
                    <a:lnTo>
                      <a:pt x="2" y="8"/>
                    </a:lnTo>
                    <a:lnTo>
                      <a:pt x="0" y="11"/>
                    </a:lnTo>
                    <a:lnTo>
                      <a:pt x="2" y="16"/>
                    </a:lnTo>
                    <a:lnTo>
                      <a:pt x="3" y="17"/>
                    </a:lnTo>
                    <a:lnTo>
                      <a:pt x="4" y="19"/>
                    </a:lnTo>
                    <a:lnTo>
                      <a:pt x="6" y="19"/>
                    </a:lnTo>
                    <a:lnTo>
                      <a:pt x="10" y="21"/>
                    </a:lnTo>
                    <a:lnTo>
                      <a:pt x="12" y="21"/>
                    </a:lnTo>
                    <a:lnTo>
                      <a:pt x="13" y="19"/>
                    </a:lnTo>
                    <a:lnTo>
                      <a:pt x="12" y="17"/>
                    </a:lnTo>
                    <a:lnTo>
                      <a:pt x="10" y="17"/>
                    </a:lnTo>
                    <a:lnTo>
                      <a:pt x="10" y="16"/>
                    </a:lnTo>
                    <a:lnTo>
                      <a:pt x="12" y="16"/>
                    </a:lnTo>
                    <a:lnTo>
                      <a:pt x="13" y="16"/>
                    </a:lnTo>
                    <a:lnTo>
                      <a:pt x="16" y="20"/>
                    </a:lnTo>
                    <a:lnTo>
                      <a:pt x="18" y="21"/>
                    </a:lnTo>
                    <a:lnTo>
                      <a:pt x="19" y="24"/>
                    </a:lnTo>
                    <a:lnTo>
                      <a:pt x="20" y="24"/>
                    </a:lnTo>
                    <a:lnTo>
                      <a:pt x="28" y="27"/>
                    </a:lnTo>
                    <a:lnTo>
                      <a:pt x="31" y="30"/>
                    </a:lnTo>
                    <a:lnTo>
                      <a:pt x="31" y="37"/>
                    </a:lnTo>
                    <a:lnTo>
                      <a:pt x="31" y="37"/>
                    </a:lnTo>
                    <a:lnTo>
                      <a:pt x="33" y="39"/>
                    </a:lnTo>
                    <a:lnTo>
                      <a:pt x="35" y="39"/>
                    </a:lnTo>
                    <a:lnTo>
                      <a:pt x="36" y="39"/>
                    </a:lnTo>
                    <a:lnTo>
                      <a:pt x="35" y="36"/>
                    </a:lnTo>
                    <a:lnTo>
                      <a:pt x="36" y="35"/>
                    </a:lnTo>
                    <a:lnTo>
                      <a:pt x="38" y="36"/>
                    </a:lnTo>
                    <a:lnTo>
                      <a:pt x="39" y="37"/>
                    </a:lnTo>
                    <a:lnTo>
                      <a:pt x="39" y="40"/>
                    </a:lnTo>
                    <a:lnTo>
                      <a:pt x="41" y="40"/>
                    </a:lnTo>
                    <a:lnTo>
                      <a:pt x="42" y="39"/>
                    </a:lnTo>
                    <a:lnTo>
                      <a:pt x="44" y="37"/>
                    </a:lnTo>
                    <a:lnTo>
                      <a:pt x="42" y="33"/>
                    </a:lnTo>
                    <a:lnTo>
                      <a:pt x="44" y="33"/>
                    </a:lnTo>
                    <a:lnTo>
                      <a:pt x="44" y="32"/>
                    </a:lnTo>
                    <a:lnTo>
                      <a:pt x="45" y="30"/>
                    </a:lnTo>
                    <a:lnTo>
                      <a:pt x="42" y="29"/>
                    </a:lnTo>
                    <a:lnTo>
                      <a:pt x="42" y="24"/>
                    </a:lnTo>
                    <a:lnTo>
                      <a:pt x="44" y="23"/>
                    </a:lnTo>
                    <a:lnTo>
                      <a:pt x="45" y="23"/>
                    </a:lnTo>
                    <a:lnTo>
                      <a:pt x="45" y="23"/>
                    </a:lnTo>
                    <a:lnTo>
                      <a:pt x="47" y="23"/>
                    </a:lnTo>
                    <a:lnTo>
                      <a:pt x="47" y="23"/>
                    </a:lnTo>
                    <a:lnTo>
                      <a:pt x="33" y="11"/>
                    </a:lnTo>
                    <a:lnTo>
                      <a:pt x="31" y="4"/>
                    </a:lnTo>
                    <a:lnTo>
                      <a:pt x="31" y="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02" name="Freeform 932"/>
              <p:cNvSpPr>
                <a:spLocks/>
              </p:cNvSpPr>
              <p:nvPr/>
            </p:nvSpPr>
            <p:spPr bwMode="auto">
              <a:xfrm>
                <a:off x="4998896" y="3109322"/>
                <a:ext cx="43013" cy="41580"/>
              </a:xfrm>
              <a:custGeom>
                <a:avLst/>
                <a:gdLst/>
                <a:ahLst/>
                <a:cxnLst>
                  <a:cxn ang="0">
                    <a:pos x="31" y="4"/>
                  </a:cxn>
                  <a:cxn ang="0">
                    <a:pos x="25" y="5"/>
                  </a:cxn>
                  <a:cxn ang="0">
                    <a:pos x="19" y="3"/>
                  </a:cxn>
                  <a:cxn ang="0">
                    <a:pos x="13" y="3"/>
                  </a:cxn>
                  <a:cxn ang="0">
                    <a:pos x="4" y="0"/>
                  </a:cxn>
                  <a:cxn ang="0">
                    <a:pos x="3" y="0"/>
                  </a:cxn>
                  <a:cxn ang="0">
                    <a:pos x="0" y="1"/>
                  </a:cxn>
                  <a:cxn ang="0">
                    <a:pos x="0" y="3"/>
                  </a:cxn>
                  <a:cxn ang="0">
                    <a:pos x="0" y="4"/>
                  </a:cxn>
                  <a:cxn ang="0">
                    <a:pos x="2" y="5"/>
                  </a:cxn>
                  <a:cxn ang="0">
                    <a:pos x="2" y="8"/>
                  </a:cxn>
                  <a:cxn ang="0">
                    <a:pos x="0" y="11"/>
                  </a:cxn>
                  <a:cxn ang="0">
                    <a:pos x="2" y="16"/>
                  </a:cxn>
                  <a:cxn ang="0">
                    <a:pos x="3" y="17"/>
                  </a:cxn>
                  <a:cxn ang="0">
                    <a:pos x="4" y="19"/>
                  </a:cxn>
                  <a:cxn ang="0">
                    <a:pos x="6" y="19"/>
                  </a:cxn>
                  <a:cxn ang="0">
                    <a:pos x="10" y="21"/>
                  </a:cxn>
                  <a:cxn ang="0">
                    <a:pos x="12" y="21"/>
                  </a:cxn>
                  <a:cxn ang="0">
                    <a:pos x="13" y="19"/>
                  </a:cxn>
                  <a:cxn ang="0">
                    <a:pos x="12" y="17"/>
                  </a:cxn>
                  <a:cxn ang="0">
                    <a:pos x="10" y="17"/>
                  </a:cxn>
                  <a:cxn ang="0">
                    <a:pos x="10" y="16"/>
                  </a:cxn>
                  <a:cxn ang="0">
                    <a:pos x="12" y="16"/>
                  </a:cxn>
                  <a:cxn ang="0">
                    <a:pos x="13" y="16"/>
                  </a:cxn>
                  <a:cxn ang="0">
                    <a:pos x="16" y="20"/>
                  </a:cxn>
                  <a:cxn ang="0">
                    <a:pos x="18" y="21"/>
                  </a:cxn>
                  <a:cxn ang="0">
                    <a:pos x="19" y="24"/>
                  </a:cxn>
                  <a:cxn ang="0">
                    <a:pos x="20" y="24"/>
                  </a:cxn>
                  <a:cxn ang="0">
                    <a:pos x="28" y="27"/>
                  </a:cxn>
                  <a:cxn ang="0">
                    <a:pos x="31" y="30"/>
                  </a:cxn>
                  <a:cxn ang="0">
                    <a:pos x="31" y="37"/>
                  </a:cxn>
                  <a:cxn ang="0">
                    <a:pos x="31" y="37"/>
                  </a:cxn>
                  <a:cxn ang="0">
                    <a:pos x="33" y="39"/>
                  </a:cxn>
                  <a:cxn ang="0">
                    <a:pos x="35" y="39"/>
                  </a:cxn>
                  <a:cxn ang="0">
                    <a:pos x="36" y="39"/>
                  </a:cxn>
                  <a:cxn ang="0">
                    <a:pos x="35" y="36"/>
                  </a:cxn>
                  <a:cxn ang="0">
                    <a:pos x="36" y="35"/>
                  </a:cxn>
                  <a:cxn ang="0">
                    <a:pos x="38" y="36"/>
                  </a:cxn>
                  <a:cxn ang="0">
                    <a:pos x="39" y="37"/>
                  </a:cxn>
                  <a:cxn ang="0">
                    <a:pos x="39" y="40"/>
                  </a:cxn>
                  <a:cxn ang="0">
                    <a:pos x="41" y="40"/>
                  </a:cxn>
                  <a:cxn ang="0">
                    <a:pos x="42" y="39"/>
                  </a:cxn>
                  <a:cxn ang="0">
                    <a:pos x="44" y="37"/>
                  </a:cxn>
                  <a:cxn ang="0">
                    <a:pos x="42" y="33"/>
                  </a:cxn>
                  <a:cxn ang="0">
                    <a:pos x="44" y="33"/>
                  </a:cxn>
                  <a:cxn ang="0">
                    <a:pos x="44" y="32"/>
                  </a:cxn>
                  <a:cxn ang="0">
                    <a:pos x="45" y="30"/>
                  </a:cxn>
                  <a:cxn ang="0">
                    <a:pos x="42" y="29"/>
                  </a:cxn>
                  <a:cxn ang="0">
                    <a:pos x="42" y="24"/>
                  </a:cxn>
                  <a:cxn ang="0">
                    <a:pos x="44" y="23"/>
                  </a:cxn>
                  <a:cxn ang="0">
                    <a:pos x="45" y="23"/>
                  </a:cxn>
                  <a:cxn ang="0">
                    <a:pos x="45" y="23"/>
                  </a:cxn>
                  <a:cxn ang="0">
                    <a:pos x="47" y="23"/>
                  </a:cxn>
                  <a:cxn ang="0">
                    <a:pos x="47" y="23"/>
                  </a:cxn>
                  <a:cxn ang="0">
                    <a:pos x="33" y="11"/>
                  </a:cxn>
                  <a:cxn ang="0">
                    <a:pos x="31" y="4"/>
                  </a:cxn>
                  <a:cxn ang="0">
                    <a:pos x="31" y="4"/>
                  </a:cxn>
                </a:cxnLst>
                <a:rect l="0" t="0" r="r" b="b"/>
                <a:pathLst>
                  <a:path w="47" h="40">
                    <a:moveTo>
                      <a:pt x="31" y="4"/>
                    </a:moveTo>
                    <a:lnTo>
                      <a:pt x="25" y="5"/>
                    </a:lnTo>
                    <a:lnTo>
                      <a:pt x="19" y="3"/>
                    </a:lnTo>
                    <a:lnTo>
                      <a:pt x="13" y="3"/>
                    </a:lnTo>
                    <a:lnTo>
                      <a:pt x="4" y="0"/>
                    </a:lnTo>
                    <a:lnTo>
                      <a:pt x="3" y="0"/>
                    </a:lnTo>
                    <a:lnTo>
                      <a:pt x="0" y="1"/>
                    </a:lnTo>
                    <a:lnTo>
                      <a:pt x="0" y="3"/>
                    </a:lnTo>
                    <a:lnTo>
                      <a:pt x="0" y="4"/>
                    </a:lnTo>
                    <a:lnTo>
                      <a:pt x="2" y="5"/>
                    </a:lnTo>
                    <a:lnTo>
                      <a:pt x="2" y="8"/>
                    </a:lnTo>
                    <a:lnTo>
                      <a:pt x="0" y="11"/>
                    </a:lnTo>
                    <a:lnTo>
                      <a:pt x="2" y="16"/>
                    </a:lnTo>
                    <a:lnTo>
                      <a:pt x="3" y="17"/>
                    </a:lnTo>
                    <a:lnTo>
                      <a:pt x="4" y="19"/>
                    </a:lnTo>
                    <a:lnTo>
                      <a:pt x="6" y="19"/>
                    </a:lnTo>
                    <a:lnTo>
                      <a:pt x="10" y="21"/>
                    </a:lnTo>
                    <a:lnTo>
                      <a:pt x="12" y="21"/>
                    </a:lnTo>
                    <a:lnTo>
                      <a:pt x="13" y="19"/>
                    </a:lnTo>
                    <a:lnTo>
                      <a:pt x="12" y="17"/>
                    </a:lnTo>
                    <a:lnTo>
                      <a:pt x="10" y="17"/>
                    </a:lnTo>
                    <a:lnTo>
                      <a:pt x="10" y="16"/>
                    </a:lnTo>
                    <a:lnTo>
                      <a:pt x="12" y="16"/>
                    </a:lnTo>
                    <a:lnTo>
                      <a:pt x="13" y="16"/>
                    </a:lnTo>
                    <a:lnTo>
                      <a:pt x="16" y="20"/>
                    </a:lnTo>
                    <a:lnTo>
                      <a:pt x="18" y="21"/>
                    </a:lnTo>
                    <a:lnTo>
                      <a:pt x="19" y="24"/>
                    </a:lnTo>
                    <a:lnTo>
                      <a:pt x="20" y="24"/>
                    </a:lnTo>
                    <a:lnTo>
                      <a:pt x="28" y="27"/>
                    </a:lnTo>
                    <a:lnTo>
                      <a:pt x="31" y="30"/>
                    </a:lnTo>
                    <a:lnTo>
                      <a:pt x="31" y="37"/>
                    </a:lnTo>
                    <a:lnTo>
                      <a:pt x="31" y="37"/>
                    </a:lnTo>
                    <a:lnTo>
                      <a:pt x="33" y="39"/>
                    </a:lnTo>
                    <a:lnTo>
                      <a:pt x="35" y="39"/>
                    </a:lnTo>
                    <a:lnTo>
                      <a:pt x="36" y="39"/>
                    </a:lnTo>
                    <a:lnTo>
                      <a:pt x="35" y="36"/>
                    </a:lnTo>
                    <a:lnTo>
                      <a:pt x="36" y="35"/>
                    </a:lnTo>
                    <a:lnTo>
                      <a:pt x="38" y="36"/>
                    </a:lnTo>
                    <a:lnTo>
                      <a:pt x="39" y="37"/>
                    </a:lnTo>
                    <a:lnTo>
                      <a:pt x="39" y="40"/>
                    </a:lnTo>
                    <a:lnTo>
                      <a:pt x="41" y="40"/>
                    </a:lnTo>
                    <a:lnTo>
                      <a:pt x="42" y="39"/>
                    </a:lnTo>
                    <a:lnTo>
                      <a:pt x="44" y="37"/>
                    </a:lnTo>
                    <a:lnTo>
                      <a:pt x="42" y="33"/>
                    </a:lnTo>
                    <a:lnTo>
                      <a:pt x="44" y="33"/>
                    </a:lnTo>
                    <a:lnTo>
                      <a:pt x="44" y="32"/>
                    </a:lnTo>
                    <a:lnTo>
                      <a:pt x="45" y="30"/>
                    </a:lnTo>
                    <a:lnTo>
                      <a:pt x="42" y="29"/>
                    </a:lnTo>
                    <a:lnTo>
                      <a:pt x="42" y="24"/>
                    </a:lnTo>
                    <a:lnTo>
                      <a:pt x="44" y="23"/>
                    </a:lnTo>
                    <a:lnTo>
                      <a:pt x="45" y="23"/>
                    </a:lnTo>
                    <a:lnTo>
                      <a:pt x="45" y="23"/>
                    </a:lnTo>
                    <a:lnTo>
                      <a:pt x="47" y="23"/>
                    </a:lnTo>
                    <a:lnTo>
                      <a:pt x="47" y="23"/>
                    </a:lnTo>
                    <a:lnTo>
                      <a:pt x="33" y="11"/>
                    </a:lnTo>
                    <a:lnTo>
                      <a:pt x="31" y="4"/>
                    </a:lnTo>
                    <a:lnTo>
                      <a:pt x="31" y="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03" name="Freeform 933"/>
              <p:cNvSpPr>
                <a:spLocks/>
              </p:cNvSpPr>
              <p:nvPr/>
            </p:nvSpPr>
            <p:spPr bwMode="auto">
              <a:xfrm>
                <a:off x="5167433" y="2973427"/>
                <a:ext cx="2634" cy="1015"/>
              </a:xfrm>
              <a:custGeom>
                <a:avLst/>
                <a:gdLst/>
                <a:ahLst/>
                <a:cxnLst>
                  <a:cxn ang="0">
                    <a:pos x="2" y="0"/>
                  </a:cxn>
                  <a:cxn ang="0">
                    <a:pos x="2" y="0"/>
                  </a:cxn>
                  <a:cxn ang="0">
                    <a:pos x="3" y="0"/>
                  </a:cxn>
                  <a:cxn ang="0">
                    <a:pos x="3" y="1"/>
                  </a:cxn>
                  <a:cxn ang="0">
                    <a:pos x="0" y="1"/>
                  </a:cxn>
                  <a:cxn ang="0">
                    <a:pos x="0" y="1"/>
                  </a:cxn>
                  <a:cxn ang="0">
                    <a:pos x="0" y="0"/>
                  </a:cxn>
                  <a:cxn ang="0">
                    <a:pos x="0" y="0"/>
                  </a:cxn>
                  <a:cxn ang="0">
                    <a:pos x="0" y="0"/>
                  </a:cxn>
                  <a:cxn ang="0">
                    <a:pos x="2" y="0"/>
                  </a:cxn>
                </a:cxnLst>
                <a:rect l="0" t="0" r="r" b="b"/>
                <a:pathLst>
                  <a:path w="3" h="1">
                    <a:moveTo>
                      <a:pt x="2" y="0"/>
                    </a:moveTo>
                    <a:lnTo>
                      <a:pt x="2" y="0"/>
                    </a:lnTo>
                    <a:lnTo>
                      <a:pt x="3" y="0"/>
                    </a:lnTo>
                    <a:lnTo>
                      <a:pt x="3" y="1"/>
                    </a:lnTo>
                    <a:lnTo>
                      <a:pt x="0" y="1"/>
                    </a:lnTo>
                    <a:lnTo>
                      <a:pt x="0" y="1"/>
                    </a:lnTo>
                    <a:lnTo>
                      <a:pt x="0" y="0"/>
                    </a:lnTo>
                    <a:lnTo>
                      <a:pt x="0" y="0"/>
                    </a:lnTo>
                    <a:lnTo>
                      <a:pt x="0" y="0"/>
                    </a:lnTo>
                    <a:lnTo>
                      <a:pt x="2"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04" name="Freeform 934"/>
              <p:cNvSpPr>
                <a:spLocks/>
              </p:cNvSpPr>
              <p:nvPr/>
            </p:nvSpPr>
            <p:spPr bwMode="auto">
              <a:xfrm>
                <a:off x="5167433" y="2973427"/>
                <a:ext cx="2634" cy="1015"/>
              </a:xfrm>
              <a:custGeom>
                <a:avLst/>
                <a:gdLst/>
                <a:ahLst/>
                <a:cxnLst>
                  <a:cxn ang="0">
                    <a:pos x="2" y="0"/>
                  </a:cxn>
                  <a:cxn ang="0">
                    <a:pos x="2" y="0"/>
                  </a:cxn>
                  <a:cxn ang="0">
                    <a:pos x="3" y="0"/>
                  </a:cxn>
                  <a:cxn ang="0">
                    <a:pos x="3" y="1"/>
                  </a:cxn>
                  <a:cxn ang="0">
                    <a:pos x="0" y="1"/>
                  </a:cxn>
                  <a:cxn ang="0">
                    <a:pos x="0" y="1"/>
                  </a:cxn>
                  <a:cxn ang="0">
                    <a:pos x="0" y="0"/>
                  </a:cxn>
                  <a:cxn ang="0">
                    <a:pos x="0" y="0"/>
                  </a:cxn>
                  <a:cxn ang="0">
                    <a:pos x="0" y="0"/>
                  </a:cxn>
                  <a:cxn ang="0">
                    <a:pos x="2" y="0"/>
                  </a:cxn>
                </a:cxnLst>
                <a:rect l="0" t="0" r="r" b="b"/>
                <a:pathLst>
                  <a:path w="3" h="1">
                    <a:moveTo>
                      <a:pt x="2" y="0"/>
                    </a:moveTo>
                    <a:lnTo>
                      <a:pt x="2" y="0"/>
                    </a:lnTo>
                    <a:lnTo>
                      <a:pt x="3" y="0"/>
                    </a:lnTo>
                    <a:lnTo>
                      <a:pt x="3" y="1"/>
                    </a:lnTo>
                    <a:lnTo>
                      <a:pt x="0" y="1"/>
                    </a:lnTo>
                    <a:lnTo>
                      <a:pt x="0" y="1"/>
                    </a:lnTo>
                    <a:lnTo>
                      <a:pt x="0" y="0"/>
                    </a:lnTo>
                    <a:lnTo>
                      <a:pt x="0" y="0"/>
                    </a:lnTo>
                    <a:lnTo>
                      <a:pt x="0" y="0"/>
                    </a:lnTo>
                    <a:lnTo>
                      <a:pt x="2"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05" name="Freeform 935"/>
              <p:cNvSpPr>
                <a:spLocks/>
              </p:cNvSpPr>
              <p:nvPr/>
            </p:nvSpPr>
            <p:spPr bwMode="auto">
              <a:xfrm>
                <a:off x="5163044" y="2989654"/>
                <a:ext cx="4389" cy="4056"/>
              </a:xfrm>
              <a:custGeom>
                <a:avLst/>
                <a:gdLst/>
                <a:ahLst/>
                <a:cxnLst>
                  <a:cxn ang="0">
                    <a:pos x="3" y="1"/>
                  </a:cxn>
                  <a:cxn ang="0">
                    <a:pos x="5" y="1"/>
                  </a:cxn>
                  <a:cxn ang="0">
                    <a:pos x="5" y="4"/>
                  </a:cxn>
                  <a:cxn ang="0">
                    <a:pos x="4" y="3"/>
                  </a:cxn>
                  <a:cxn ang="0">
                    <a:pos x="1" y="3"/>
                  </a:cxn>
                  <a:cxn ang="0">
                    <a:pos x="0" y="1"/>
                  </a:cxn>
                  <a:cxn ang="0">
                    <a:pos x="1" y="0"/>
                  </a:cxn>
                  <a:cxn ang="0">
                    <a:pos x="3" y="1"/>
                  </a:cxn>
                </a:cxnLst>
                <a:rect l="0" t="0" r="r" b="b"/>
                <a:pathLst>
                  <a:path w="5" h="4">
                    <a:moveTo>
                      <a:pt x="3" y="1"/>
                    </a:moveTo>
                    <a:lnTo>
                      <a:pt x="5" y="1"/>
                    </a:lnTo>
                    <a:lnTo>
                      <a:pt x="5" y="4"/>
                    </a:lnTo>
                    <a:lnTo>
                      <a:pt x="4" y="3"/>
                    </a:lnTo>
                    <a:lnTo>
                      <a:pt x="1" y="3"/>
                    </a:lnTo>
                    <a:lnTo>
                      <a:pt x="0" y="1"/>
                    </a:lnTo>
                    <a:lnTo>
                      <a:pt x="1" y="0"/>
                    </a:lnTo>
                    <a:lnTo>
                      <a:pt x="3"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06" name="Freeform 936"/>
              <p:cNvSpPr>
                <a:spLocks/>
              </p:cNvSpPr>
              <p:nvPr/>
            </p:nvSpPr>
            <p:spPr bwMode="auto">
              <a:xfrm>
                <a:off x="5163044" y="2989654"/>
                <a:ext cx="4389" cy="4056"/>
              </a:xfrm>
              <a:custGeom>
                <a:avLst/>
                <a:gdLst/>
                <a:ahLst/>
                <a:cxnLst>
                  <a:cxn ang="0">
                    <a:pos x="3" y="1"/>
                  </a:cxn>
                  <a:cxn ang="0">
                    <a:pos x="5" y="1"/>
                  </a:cxn>
                  <a:cxn ang="0">
                    <a:pos x="5" y="4"/>
                  </a:cxn>
                  <a:cxn ang="0">
                    <a:pos x="4" y="3"/>
                  </a:cxn>
                  <a:cxn ang="0">
                    <a:pos x="1" y="3"/>
                  </a:cxn>
                  <a:cxn ang="0">
                    <a:pos x="0" y="1"/>
                  </a:cxn>
                  <a:cxn ang="0">
                    <a:pos x="1" y="0"/>
                  </a:cxn>
                  <a:cxn ang="0">
                    <a:pos x="3" y="1"/>
                  </a:cxn>
                </a:cxnLst>
                <a:rect l="0" t="0" r="r" b="b"/>
                <a:pathLst>
                  <a:path w="5" h="4">
                    <a:moveTo>
                      <a:pt x="3" y="1"/>
                    </a:moveTo>
                    <a:lnTo>
                      <a:pt x="5" y="1"/>
                    </a:lnTo>
                    <a:lnTo>
                      <a:pt x="5" y="4"/>
                    </a:lnTo>
                    <a:lnTo>
                      <a:pt x="4" y="3"/>
                    </a:lnTo>
                    <a:lnTo>
                      <a:pt x="1" y="3"/>
                    </a:lnTo>
                    <a:lnTo>
                      <a:pt x="0" y="1"/>
                    </a:lnTo>
                    <a:lnTo>
                      <a:pt x="1" y="0"/>
                    </a:lnTo>
                    <a:lnTo>
                      <a:pt x="3"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07" name="Freeform 937"/>
              <p:cNvSpPr>
                <a:spLocks/>
              </p:cNvSpPr>
              <p:nvPr/>
            </p:nvSpPr>
            <p:spPr bwMode="auto">
              <a:xfrm>
                <a:off x="5148121" y="2974442"/>
                <a:ext cx="36868" cy="29409"/>
              </a:xfrm>
              <a:custGeom>
                <a:avLst/>
                <a:gdLst/>
                <a:ahLst/>
                <a:cxnLst>
                  <a:cxn ang="0">
                    <a:pos x="37" y="29"/>
                  </a:cxn>
                  <a:cxn ang="0">
                    <a:pos x="37" y="29"/>
                  </a:cxn>
                  <a:cxn ang="0">
                    <a:pos x="37" y="25"/>
                  </a:cxn>
                  <a:cxn ang="0">
                    <a:pos x="37" y="24"/>
                  </a:cxn>
                  <a:cxn ang="0">
                    <a:pos x="36" y="22"/>
                  </a:cxn>
                  <a:cxn ang="0">
                    <a:pos x="36" y="21"/>
                  </a:cxn>
                  <a:cxn ang="0">
                    <a:pos x="36" y="21"/>
                  </a:cxn>
                  <a:cxn ang="0">
                    <a:pos x="39" y="19"/>
                  </a:cxn>
                  <a:cxn ang="0">
                    <a:pos x="39" y="15"/>
                  </a:cxn>
                  <a:cxn ang="0">
                    <a:pos x="39" y="13"/>
                  </a:cxn>
                  <a:cxn ang="0">
                    <a:pos x="40" y="12"/>
                  </a:cxn>
                  <a:cxn ang="0">
                    <a:pos x="39" y="11"/>
                  </a:cxn>
                  <a:cxn ang="0">
                    <a:pos x="39" y="8"/>
                  </a:cxn>
                  <a:cxn ang="0">
                    <a:pos x="39" y="5"/>
                  </a:cxn>
                  <a:cxn ang="0">
                    <a:pos x="37" y="3"/>
                  </a:cxn>
                  <a:cxn ang="0">
                    <a:pos x="37" y="3"/>
                  </a:cxn>
                  <a:cxn ang="0">
                    <a:pos x="36" y="3"/>
                  </a:cxn>
                  <a:cxn ang="0">
                    <a:pos x="35" y="3"/>
                  </a:cxn>
                  <a:cxn ang="0">
                    <a:pos x="27" y="3"/>
                  </a:cxn>
                  <a:cxn ang="0">
                    <a:pos x="23" y="2"/>
                  </a:cxn>
                  <a:cxn ang="0">
                    <a:pos x="20" y="0"/>
                  </a:cxn>
                  <a:cxn ang="0">
                    <a:pos x="16" y="2"/>
                  </a:cxn>
                  <a:cxn ang="0">
                    <a:pos x="14" y="3"/>
                  </a:cxn>
                  <a:cxn ang="0">
                    <a:pos x="14" y="3"/>
                  </a:cxn>
                  <a:cxn ang="0">
                    <a:pos x="14" y="6"/>
                  </a:cxn>
                  <a:cxn ang="0">
                    <a:pos x="14" y="6"/>
                  </a:cxn>
                  <a:cxn ang="0">
                    <a:pos x="20" y="6"/>
                  </a:cxn>
                  <a:cxn ang="0">
                    <a:pos x="23" y="8"/>
                  </a:cxn>
                  <a:cxn ang="0">
                    <a:pos x="23" y="9"/>
                  </a:cxn>
                  <a:cxn ang="0">
                    <a:pos x="23" y="15"/>
                  </a:cxn>
                  <a:cxn ang="0">
                    <a:pos x="23" y="16"/>
                  </a:cxn>
                  <a:cxn ang="0">
                    <a:pos x="29" y="19"/>
                  </a:cxn>
                  <a:cxn ang="0">
                    <a:pos x="29" y="21"/>
                  </a:cxn>
                  <a:cxn ang="0">
                    <a:pos x="27" y="22"/>
                  </a:cxn>
                  <a:cxn ang="0">
                    <a:pos x="11" y="22"/>
                  </a:cxn>
                  <a:cxn ang="0">
                    <a:pos x="8" y="21"/>
                  </a:cxn>
                  <a:cxn ang="0">
                    <a:pos x="0" y="21"/>
                  </a:cxn>
                  <a:cxn ang="0">
                    <a:pos x="0" y="22"/>
                  </a:cxn>
                  <a:cxn ang="0">
                    <a:pos x="0" y="24"/>
                  </a:cxn>
                  <a:cxn ang="0">
                    <a:pos x="3" y="27"/>
                  </a:cxn>
                  <a:cxn ang="0">
                    <a:pos x="6" y="28"/>
                  </a:cxn>
                  <a:cxn ang="0">
                    <a:pos x="7" y="29"/>
                  </a:cxn>
                  <a:cxn ang="0">
                    <a:pos x="8" y="29"/>
                  </a:cxn>
                  <a:cxn ang="0">
                    <a:pos x="8" y="28"/>
                  </a:cxn>
                  <a:cxn ang="0">
                    <a:pos x="8" y="27"/>
                  </a:cxn>
                  <a:cxn ang="0">
                    <a:pos x="10" y="27"/>
                  </a:cxn>
                  <a:cxn ang="0">
                    <a:pos x="23" y="28"/>
                  </a:cxn>
                  <a:cxn ang="0">
                    <a:pos x="29" y="27"/>
                  </a:cxn>
                  <a:cxn ang="0">
                    <a:pos x="33" y="27"/>
                  </a:cxn>
                  <a:cxn ang="0">
                    <a:pos x="37" y="29"/>
                  </a:cxn>
                  <a:cxn ang="0">
                    <a:pos x="37" y="29"/>
                  </a:cxn>
                </a:cxnLst>
                <a:rect l="0" t="0" r="r" b="b"/>
                <a:pathLst>
                  <a:path w="40" h="29">
                    <a:moveTo>
                      <a:pt x="37" y="29"/>
                    </a:moveTo>
                    <a:lnTo>
                      <a:pt x="37" y="29"/>
                    </a:lnTo>
                    <a:lnTo>
                      <a:pt x="37" y="25"/>
                    </a:lnTo>
                    <a:lnTo>
                      <a:pt x="37" y="24"/>
                    </a:lnTo>
                    <a:lnTo>
                      <a:pt x="36" y="22"/>
                    </a:lnTo>
                    <a:lnTo>
                      <a:pt x="36" y="21"/>
                    </a:lnTo>
                    <a:lnTo>
                      <a:pt x="36" y="21"/>
                    </a:lnTo>
                    <a:lnTo>
                      <a:pt x="39" y="19"/>
                    </a:lnTo>
                    <a:lnTo>
                      <a:pt x="39" y="15"/>
                    </a:lnTo>
                    <a:lnTo>
                      <a:pt x="39" y="13"/>
                    </a:lnTo>
                    <a:lnTo>
                      <a:pt x="40" y="12"/>
                    </a:lnTo>
                    <a:lnTo>
                      <a:pt x="39" y="11"/>
                    </a:lnTo>
                    <a:lnTo>
                      <a:pt x="39" y="8"/>
                    </a:lnTo>
                    <a:lnTo>
                      <a:pt x="39" y="5"/>
                    </a:lnTo>
                    <a:lnTo>
                      <a:pt x="37" y="3"/>
                    </a:lnTo>
                    <a:lnTo>
                      <a:pt x="37" y="3"/>
                    </a:lnTo>
                    <a:lnTo>
                      <a:pt x="36" y="3"/>
                    </a:lnTo>
                    <a:lnTo>
                      <a:pt x="35" y="3"/>
                    </a:lnTo>
                    <a:lnTo>
                      <a:pt x="27" y="3"/>
                    </a:lnTo>
                    <a:lnTo>
                      <a:pt x="23" y="2"/>
                    </a:lnTo>
                    <a:lnTo>
                      <a:pt x="20" y="0"/>
                    </a:lnTo>
                    <a:lnTo>
                      <a:pt x="16" y="2"/>
                    </a:lnTo>
                    <a:lnTo>
                      <a:pt x="14" y="3"/>
                    </a:lnTo>
                    <a:lnTo>
                      <a:pt x="14" y="3"/>
                    </a:lnTo>
                    <a:lnTo>
                      <a:pt x="14" y="6"/>
                    </a:lnTo>
                    <a:lnTo>
                      <a:pt x="14" y="6"/>
                    </a:lnTo>
                    <a:lnTo>
                      <a:pt x="20" y="6"/>
                    </a:lnTo>
                    <a:lnTo>
                      <a:pt x="23" y="8"/>
                    </a:lnTo>
                    <a:lnTo>
                      <a:pt x="23" y="9"/>
                    </a:lnTo>
                    <a:lnTo>
                      <a:pt x="23" y="15"/>
                    </a:lnTo>
                    <a:lnTo>
                      <a:pt x="23" y="16"/>
                    </a:lnTo>
                    <a:lnTo>
                      <a:pt x="29" y="19"/>
                    </a:lnTo>
                    <a:lnTo>
                      <a:pt x="29" y="21"/>
                    </a:lnTo>
                    <a:lnTo>
                      <a:pt x="27" y="22"/>
                    </a:lnTo>
                    <a:lnTo>
                      <a:pt x="11" y="22"/>
                    </a:lnTo>
                    <a:lnTo>
                      <a:pt x="8" y="21"/>
                    </a:lnTo>
                    <a:lnTo>
                      <a:pt x="0" y="21"/>
                    </a:lnTo>
                    <a:lnTo>
                      <a:pt x="0" y="22"/>
                    </a:lnTo>
                    <a:lnTo>
                      <a:pt x="0" y="24"/>
                    </a:lnTo>
                    <a:lnTo>
                      <a:pt x="3" y="27"/>
                    </a:lnTo>
                    <a:lnTo>
                      <a:pt x="6" y="28"/>
                    </a:lnTo>
                    <a:lnTo>
                      <a:pt x="7" y="29"/>
                    </a:lnTo>
                    <a:lnTo>
                      <a:pt x="8" y="29"/>
                    </a:lnTo>
                    <a:lnTo>
                      <a:pt x="8" y="28"/>
                    </a:lnTo>
                    <a:lnTo>
                      <a:pt x="8" y="27"/>
                    </a:lnTo>
                    <a:lnTo>
                      <a:pt x="10" y="27"/>
                    </a:lnTo>
                    <a:lnTo>
                      <a:pt x="23" y="28"/>
                    </a:lnTo>
                    <a:lnTo>
                      <a:pt x="29" y="27"/>
                    </a:lnTo>
                    <a:lnTo>
                      <a:pt x="33" y="27"/>
                    </a:lnTo>
                    <a:lnTo>
                      <a:pt x="37" y="29"/>
                    </a:lnTo>
                    <a:lnTo>
                      <a:pt x="37" y="29"/>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08" name="Freeform 938"/>
              <p:cNvSpPr>
                <a:spLocks/>
              </p:cNvSpPr>
              <p:nvPr/>
            </p:nvSpPr>
            <p:spPr bwMode="auto">
              <a:xfrm>
                <a:off x="5148121" y="2974442"/>
                <a:ext cx="36868" cy="29409"/>
              </a:xfrm>
              <a:custGeom>
                <a:avLst/>
                <a:gdLst/>
                <a:ahLst/>
                <a:cxnLst>
                  <a:cxn ang="0">
                    <a:pos x="37" y="29"/>
                  </a:cxn>
                  <a:cxn ang="0">
                    <a:pos x="37" y="29"/>
                  </a:cxn>
                  <a:cxn ang="0">
                    <a:pos x="37" y="25"/>
                  </a:cxn>
                  <a:cxn ang="0">
                    <a:pos x="37" y="24"/>
                  </a:cxn>
                  <a:cxn ang="0">
                    <a:pos x="36" y="22"/>
                  </a:cxn>
                  <a:cxn ang="0">
                    <a:pos x="36" y="21"/>
                  </a:cxn>
                  <a:cxn ang="0">
                    <a:pos x="36" y="21"/>
                  </a:cxn>
                  <a:cxn ang="0">
                    <a:pos x="39" y="19"/>
                  </a:cxn>
                  <a:cxn ang="0">
                    <a:pos x="39" y="15"/>
                  </a:cxn>
                  <a:cxn ang="0">
                    <a:pos x="39" y="13"/>
                  </a:cxn>
                  <a:cxn ang="0">
                    <a:pos x="40" y="12"/>
                  </a:cxn>
                  <a:cxn ang="0">
                    <a:pos x="39" y="11"/>
                  </a:cxn>
                  <a:cxn ang="0">
                    <a:pos x="39" y="8"/>
                  </a:cxn>
                  <a:cxn ang="0">
                    <a:pos x="39" y="5"/>
                  </a:cxn>
                  <a:cxn ang="0">
                    <a:pos x="37" y="3"/>
                  </a:cxn>
                  <a:cxn ang="0">
                    <a:pos x="37" y="3"/>
                  </a:cxn>
                  <a:cxn ang="0">
                    <a:pos x="36" y="3"/>
                  </a:cxn>
                  <a:cxn ang="0">
                    <a:pos x="35" y="3"/>
                  </a:cxn>
                  <a:cxn ang="0">
                    <a:pos x="27" y="3"/>
                  </a:cxn>
                  <a:cxn ang="0">
                    <a:pos x="23" y="2"/>
                  </a:cxn>
                  <a:cxn ang="0">
                    <a:pos x="20" y="0"/>
                  </a:cxn>
                  <a:cxn ang="0">
                    <a:pos x="16" y="2"/>
                  </a:cxn>
                  <a:cxn ang="0">
                    <a:pos x="14" y="3"/>
                  </a:cxn>
                  <a:cxn ang="0">
                    <a:pos x="14" y="3"/>
                  </a:cxn>
                  <a:cxn ang="0">
                    <a:pos x="14" y="6"/>
                  </a:cxn>
                  <a:cxn ang="0">
                    <a:pos x="14" y="6"/>
                  </a:cxn>
                  <a:cxn ang="0">
                    <a:pos x="20" y="6"/>
                  </a:cxn>
                  <a:cxn ang="0">
                    <a:pos x="23" y="8"/>
                  </a:cxn>
                  <a:cxn ang="0">
                    <a:pos x="23" y="9"/>
                  </a:cxn>
                  <a:cxn ang="0">
                    <a:pos x="23" y="15"/>
                  </a:cxn>
                  <a:cxn ang="0">
                    <a:pos x="23" y="16"/>
                  </a:cxn>
                  <a:cxn ang="0">
                    <a:pos x="29" y="19"/>
                  </a:cxn>
                  <a:cxn ang="0">
                    <a:pos x="29" y="21"/>
                  </a:cxn>
                  <a:cxn ang="0">
                    <a:pos x="27" y="22"/>
                  </a:cxn>
                  <a:cxn ang="0">
                    <a:pos x="11" y="22"/>
                  </a:cxn>
                  <a:cxn ang="0">
                    <a:pos x="8" y="21"/>
                  </a:cxn>
                  <a:cxn ang="0">
                    <a:pos x="0" y="21"/>
                  </a:cxn>
                  <a:cxn ang="0">
                    <a:pos x="0" y="22"/>
                  </a:cxn>
                  <a:cxn ang="0">
                    <a:pos x="0" y="24"/>
                  </a:cxn>
                  <a:cxn ang="0">
                    <a:pos x="3" y="27"/>
                  </a:cxn>
                  <a:cxn ang="0">
                    <a:pos x="6" y="28"/>
                  </a:cxn>
                  <a:cxn ang="0">
                    <a:pos x="7" y="29"/>
                  </a:cxn>
                  <a:cxn ang="0">
                    <a:pos x="8" y="29"/>
                  </a:cxn>
                  <a:cxn ang="0">
                    <a:pos x="8" y="28"/>
                  </a:cxn>
                  <a:cxn ang="0">
                    <a:pos x="8" y="27"/>
                  </a:cxn>
                  <a:cxn ang="0">
                    <a:pos x="10" y="27"/>
                  </a:cxn>
                  <a:cxn ang="0">
                    <a:pos x="23" y="28"/>
                  </a:cxn>
                  <a:cxn ang="0">
                    <a:pos x="29" y="27"/>
                  </a:cxn>
                  <a:cxn ang="0">
                    <a:pos x="33" y="27"/>
                  </a:cxn>
                  <a:cxn ang="0">
                    <a:pos x="37" y="29"/>
                  </a:cxn>
                  <a:cxn ang="0">
                    <a:pos x="37" y="29"/>
                  </a:cxn>
                </a:cxnLst>
                <a:rect l="0" t="0" r="r" b="b"/>
                <a:pathLst>
                  <a:path w="40" h="29">
                    <a:moveTo>
                      <a:pt x="37" y="29"/>
                    </a:moveTo>
                    <a:lnTo>
                      <a:pt x="37" y="29"/>
                    </a:lnTo>
                    <a:lnTo>
                      <a:pt x="37" y="25"/>
                    </a:lnTo>
                    <a:lnTo>
                      <a:pt x="37" y="24"/>
                    </a:lnTo>
                    <a:lnTo>
                      <a:pt x="36" y="22"/>
                    </a:lnTo>
                    <a:lnTo>
                      <a:pt x="36" y="21"/>
                    </a:lnTo>
                    <a:lnTo>
                      <a:pt x="36" y="21"/>
                    </a:lnTo>
                    <a:lnTo>
                      <a:pt x="39" y="19"/>
                    </a:lnTo>
                    <a:lnTo>
                      <a:pt x="39" y="15"/>
                    </a:lnTo>
                    <a:lnTo>
                      <a:pt x="39" y="13"/>
                    </a:lnTo>
                    <a:lnTo>
                      <a:pt x="40" y="12"/>
                    </a:lnTo>
                    <a:lnTo>
                      <a:pt x="39" y="11"/>
                    </a:lnTo>
                    <a:lnTo>
                      <a:pt x="39" y="8"/>
                    </a:lnTo>
                    <a:lnTo>
                      <a:pt x="39" y="5"/>
                    </a:lnTo>
                    <a:lnTo>
                      <a:pt x="37" y="3"/>
                    </a:lnTo>
                    <a:lnTo>
                      <a:pt x="37" y="3"/>
                    </a:lnTo>
                    <a:lnTo>
                      <a:pt x="36" y="3"/>
                    </a:lnTo>
                    <a:lnTo>
                      <a:pt x="35" y="3"/>
                    </a:lnTo>
                    <a:lnTo>
                      <a:pt x="27" y="3"/>
                    </a:lnTo>
                    <a:lnTo>
                      <a:pt x="23" y="2"/>
                    </a:lnTo>
                    <a:lnTo>
                      <a:pt x="20" y="0"/>
                    </a:lnTo>
                    <a:lnTo>
                      <a:pt x="16" y="2"/>
                    </a:lnTo>
                    <a:lnTo>
                      <a:pt x="14" y="3"/>
                    </a:lnTo>
                    <a:lnTo>
                      <a:pt x="14" y="3"/>
                    </a:lnTo>
                    <a:lnTo>
                      <a:pt x="14" y="6"/>
                    </a:lnTo>
                    <a:lnTo>
                      <a:pt x="14" y="6"/>
                    </a:lnTo>
                    <a:lnTo>
                      <a:pt x="20" y="6"/>
                    </a:lnTo>
                    <a:lnTo>
                      <a:pt x="23" y="8"/>
                    </a:lnTo>
                    <a:lnTo>
                      <a:pt x="23" y="9"/>
                    </a:lnTo>
                    <a:lnTo>
                      <a:pt x="23" y="15"/>
                    </a:lnTo>
                    <a:lnTo>
                      <a:pt x="23" y="16"/>
                    </a:lnTo>
                    <a:lnTo>
                      <a:pt x="29" y="19"/>
                    </a:lnTo>
                    <a:lnTo>
                      <a:pt x="29" y="21"/>
                    </a:lnTo>
                    <a:lnTo>
                      <a:pt x="27" y="22"/>
                    </a:lnTo>
                    <a:lnTo>
                      <a:pt x="11" y="22"/>
                    </a:lnTo>
                    <a:lnTo>
                      <a:pt x="8" y="21"/>
                    </a:lnTo>
                    <a:lnTo>
                      <a:pt x="0" y="21"/>
                    </a:lnTo>
                    <a:lnTo>
                      <a:pt x="0" y="22"/>
                    </a:lnTo>
                    <a:lnTo>
                      <a:pt x="0" y="24"/>
                    </a:lnTo>
                    <a:lnTo>
                      <a:pt x="3" y="27"/>
                    </a:lnTo>
                    <a:lnTo>
                      <a:pt x="6" y="28"/>
                    </a:lnTo>
                    <a:lnTo>
                      <a:pt x="7" y="29"/>
                    </a:lnTo>
                    <a:lnTo>
                      <a:pt x="8" y="29"/>
                    </a:lnTo>
                    <a:lnTo>
                      <a:pt x="8" y="28"/>
                    </a:lnTo>
                    <a:lnTo>
                      <a:pt x="8" y="27"/>
                    </a:lnTo>
                    <a:lnTo>
                      <a:pt x="10" y="27"/>
                    </a:lnTo>
                    <a:lnTo>
                      <a:pt x="23" y="28"/>
                    </a:lnTo>
                    <a:lnTo>
                      <a:pt x="29" y="27"/>
                    </a:lnTo>
                    <a:lnTo>
                      <a:pt x="33" y="27"/>
                    </a:lnTo>
                    <a:lnTo>
                      <a:pt x="37" y="29"/>
                    </a:lnTo>
                    <a:lnTo>
                      <a:pt x="37" y="29"/>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09" name="Freeform 939"/>
              <p:cNvSpPr>
                <a:spLocks/>
              </p:cNvSpPr>
              <p:nvPr/>
            </p:nvSpPr>
            <p:spPr bwMode="auto">
              <a:xfrm>
                <a:off x="5156022" y="3197551"/>
                <a:ext cx="507369" cy="606451"/>
              </a:xfrm>
              <a:custGeom>
                <a:avLst/>
                <a:gdLst/>
                <a:ahLst/>
                <a:cxnLst>
                  <a:cxn ang="0">
                    <a:pos x="172" y="15"/>
                  </a:cxn>
                  <a:cxn ang="0">
                    <a:pos x="130" y="16"/>
                  </a:cxn>
                  <a:cxn ang="0">
                    <a:pos x="149" y="41"/>
                  </a:cxn>
                  <a:cxn ang="0">
                    <a:pos x="138" y="48"/>
                  </a:cxn>
                  <a:cxn ang="0">
                    <a:pos x="117" y="63"/>
                  </a:cxn>
                  <a:cxn ang="0">
                    <a:pos x="95" y="50"/>
                  </a:cxn>
                  <a:cxn ang="0">
                    <a:pos x="79" y="47"/>
                  </a:cxn>
                  <a:cxn ang="0">
                    <a:pos x="59" y="59"/>
                  </a:cxn>
                  <a:cxn ang="0">
                    <a:pos x="64" y="66"/>
                  </a:cxn>
                  <a:cxn ang="0">
                    <a:pos x="60" y="112"/>
                  </a:cxn>
                  <a:cxn ang="0">
                    <a:pos x="11" y="157"/>
                  </a:cxn>
                  <a:cxn ang="0">
                    <a:pos x="3" y="191"/>
                  </a:cxn>
                  <a:cxn ang="0">
                    <a:pos x="22" y="211"/>
                  </a:cxn>
                  <a:cxn ang="0">
                    <a:pos x="48" y="230"/>
                  </a:cxn>
                  <a:cxn ang="0">
                    <a:pos x="66" y="230"/>
                  </a:cxn>
                  <a:cxn ang="0">
                    <a:pos x="119" y="233"/>
                  </a:cxn>
                  <a:cxn ang="0">
                    <a:pos x="153" y="258"/>
                  </a:cxn>
                  <a:cxn ang="0">
                    <a:pos x="192" y="284"/>
                  </a:cxn>
                  <a:cxn ang="0">
                    <a:pos x="218" y="314"/>
                  </a:cxn>
                  <a:cxn ang="0">
                    <a:pos x="227" y="361"/>
                  </a:cxn>
                  <a:cxn ang="0">
                    <a:pos x="225" y="371"/>
                  </a:cxn>
                  <a:cxn ang="0">
                    <a:pos x="256" y="399"/>
                  </a:cxn>
                  <a:cxn ang="0">
                    <a:pos x="276" y="423"/>
                  </a:cxn>
                  <a:cxn ang="0">
                    <a:pos x="279" y="477"/>
                  </a:cxn>
                  <a:cxn ang="0">
                    <a:pos x="230" y="524"/>
                  </a:cxn>
                  <a:cxn ang="0">
                    <a:pos x="256" y="537"/>
                  </a:cxn>
                  <a:cxn ang="0">
                    <a:pos x="270" y="542"/>
                  </a:cxn>
                  <a:cxn ang="0">
                    <a:pos x="294" y="563"/>
                  </a:cxn>
                  <a:cxn ang="0">
                    <a:pos x="289" y="580"/>
                  </a:cxn>
                  <a:cxn ang="0">
                    <a:pos x="349" y="500"/>
                  </a:cxn>
                  <a:cxn ang="0">
                    <a:pos x="359" y="470"/>
                  </a:cxn>
                  <a:cxn ang="0">
                    <a:pos x="371" y="438"/>
                  </a:cxn>
                  <a:cxn ang="0">
                    <a:pos x="407" y="417"/>
                  </a:cxn>
                  <a:cxn ang="0">
                    <a:pos x="417" y="407"/>
                  </a:cxn>
                  <a:cxn ang="0">
                    <a:pos x="430" y="407"/>
                  </a:cxn>
                  <a:cxn ang="0">
                    <a:pos x="466" y="381"/>
                  </a:cxn>
                  <a:cxn ang="0">
                    <a:pos x="503" y="259"/>
                  </a:cxn>
                  <a:cxn ang="0">
                    <a:pos x="527" y="147"/>
                  </a:cxn>
                  <a:cxn ang="0">
                    <a:pos x="433" y="109"/>
                  </a:cxn>
                  <a:cxn ang="0">
                    <a:pos x="420" y="105"/>
                  </a:cxn>
                  <a:cxn ang="0">
                    <a:pos x="413" y="95"/>
                  </a:cxn>
                  <a:cxn ang="0">
                    <a:pos x="398" y="91"/>
                  </a:cxn>
                  <a:cxn ang="0">
                    <a:pos x="365" y="89"/>
                  </a:cxn>
                  <a:cxn ang="0">
                    <a:pos x="349" y="109"/>
                  </a:cxn>
                  <a:cxn ang="0">
                    <a:pos x="334" y="101"/>
                  </a:cxn>
                  <a:cxn ang="0">
                    <a:pos x="320" y="101"/>
                  </a:cxn>
                  <a:cxn ang="0">
                    <a:pos x="324" y="101"/>
                  </a:cxn>
                  <a:cxn ang="0">
                    <a:pos x="329" y="91"/>
                  </a:cxn>
                  <a:cxn ang="0">
                    <a:pos x="327" y="86"/>
                  </a:cxn>
                  <a:cxn ang="0">
                    <a:pos x="320" y="79"/>
                  </a:cxn>
                  <a:cxn ang="0">
                    <a:pos x="334" y="48"/>
                  </a:cxn>
                  <a:cxn ang="0">
                    <a:pos x="304" y="37"/>
                  </a:cxn>
                  <a:cxn ang="0">
                    <a:pos x="279" y="44"/>
                  </a:cxn>
                  <a:cxn ang="0">
                    <a:pos x="256" y="47"/>
                  </a:cxn>
                  <a:cxn ang="0">
                    <a:pos x="237" y="45"/>
                  </a:cxn>
                  <a:cxn ang="0">
                    <a:pos x="217" y="56"/>
                  </a:cxn>
                  <a:cxn ang="0">
                    <a:pos x="199" y="40"/>
                  </a:cxn>
                  <a:cxn ang="0">
                    <a:pos x="202" y="15"/>
                  </a:cxn>
                  <a:cxn ang="0">
                    <a:pos x="194" y="0"/>
                  </a:cxn>
                </a:cxnLst>
                <a:rect l="0" t="0" r="r" b="b"/>
                <a:pathLst>
                  <a:path w="554" h="582">
                    <a:moveTo>
                      <a:pt x="188" y="0"/>
                    </a:moveTo>
                    <a:lnTo>
                      <a:pt x="188" y="5"/>
                    </a:lnTo>
                    <a:lnTo>
                      <a:pt x="183" y="9"/>
                    </a:lnTo>
                    <a:lnTo>
                      <a:pt x="183" y="9"/>
                    </a:lnTo>
                    <a:lnTo>
                      <a:pt x="179" y="11"/>
                    </a:lnTo>
                    <a:lnTo>
                      <a:pt x="175" y="12"/>
                    </a:lnTo>
                    <a:lnTo>
                      <a:pt x="173" y="15"/>
                    </a:lnTo>
                    <a:lnTo>
                      <a:pt x="172" y="15"/>
                    </a:lnTo>
                    <a:lnTo>
                      <a:pt x="156" y="18"/>
                    </a:lnTo>
                    <a:lnTo>
                      <a:pt x="154" y="19"/>
                    </a:lnTo>
                    <a:lnTo>
                      <a:pt x="154" y="19"/>
                    </a:lnTo>
                    <a:lnTo>
                      <a:pt x="149" y="19"/>
                    </a:lnTo>
                    <a:lnTo>
                      <a:pt x="130" y="13"/>
                    </a:lnTo>
                    <a:lnTo>
                      <a:pt x="130" y="13"/>
                    </a:lnTo>
                    <a:lnTo>
                      <a:pt x="128" y="13"/>
                    </a:lnTo>
                    <a:lnTo>
                      <a:pt x="130" y="16"/>
                    </a:lnTo>
                    <a:lnTo>
                      <a:pt x="130" y="18"/>
                    </a:lnTo>
                    <a:lnTo>
                      <a:pt x="135" y="21"/>
                    </a:lnTo>
                    <a:lnTo>
                      <a:pt x="137" y="22"/>
                    </a:lnTo>
                    <a:lnTo>
                      <a:pt x="135" y="32"/>
                    </a:lnTo>
                    <a:lnTo>
                      <a:pt x="138" y="40"/>
                    </a:lnTo>
                    <a:lnTo>
                      <a:pt x="141" y="41"/>
                    </a:lnTo>
                    <a:lnTo>
                      <a:pt x="143" y="41"/>
                    </a:lnTo>
                    <a:lnTo>
                      <a:pt x="149" y="41"/>
                    </a:lnTo>
                    <a:lnTo>
                      <a:pt x="149" y="43"/>
                    </a:lnTo>
                    <a:lnTo>
                      <a:pt x="149" y="44"/>
                    </a:lnTo>
                    <a:lnTo>
                      <a:pt x="146" y="44"/>
                    </a:lnTo>
                    <a:lnTo>
                      <a:pt x="144" y="45"/>
                    </a:lnTo>
                    <a:lnTo>
                      <a:pt x="143" y="45"/>
                    </a:lnTo>
                    <a:lnTo>
                      <a:pt x="141" y="47"/>
                    </a:lnTo>
                    <a:lnTo>
                      <a:pt x="140" y="47"/>
                    </a:lnTo>
                    <a:lnTo>
                      <a:pt x="138" y="48"/>
                    </a:lnTo>
                    <a:lnTo>
                      <a:pt x="137" y="53"/>
                    </a:lnTo>
                    <a:lnTo>
                      <a:pt x="135" y="54"/>
                    </a:lnTo>
                    <a:lnTo>
                      <a:pt x="134" y="54"/>
                    </a:lnTo>
                    <a:lnTo>
                      <a:pt x="133" y="54"/>
                    </a:lnTo>
                    <a:lnTo>
                      <a:pt x="131" y="56"/>
                    </a:lnTo>
                    <a:lnTo>
                      <a:pt x="130" y="57"/>
                    </a:lnTo>
                    <a:lnTo>
                      <a:pt x="119" y="60"/>
                    </a:lnTo>
                    <a:lnTo>
                      <a:pt x="117" y="63"/>
                    </a:lnTo>
                    <a:lnTo>
                      <a:pt x="108" y="64"/>
                    </a:lnTo>
                    <a:lnTo>
                      <a:pt x="106" y="63"/>
                    </a:lnTo>
                    <a:lnTo>
                      <a:pt x="106" y="63"/>
                    </a:lnTo>
                    <a:lnTo>
                      <a:pt x="102" y="60"/>
                    </a:lnTo>
                    <a:lnTo>
                      <a:pt x="99" y="56"/>
                    </a:lnTo>
                    <a:lnTo>
                      <a:pt x="99" y="57"/>
                    </a:lnTo>
                    <a:lnTo>
                      <a:pt x="96" y="57"/>
                    </a:lnTo>
                    <a:lnTo>
                      <a:pt x="95" y="50"/>
                    </a:lnTo>
                    <a:lnTo>
                      <a:pt x="90" y="45"/>
                    </a:lnTo>
                    <a:lnTo>
                      <a:pt x="88" y="45"/>
                    </a:lnTo>
                    <a:lnTo>
                      <a:pt x="83" y="48"/>
                    </a:lnTo>
                    <a:lnTo>
                      <a:pt x="83" y="48"/>
                    </a:lnTo>
                    <a:lnTo>
                      <a:pt x="82" y="47"/>
                    </a:lnTo>
                    <a:lnTo>
                      <a:pt x="80" y="47"/>
                    </a:lnTo>
                    <a:lnTo>
                      <a:pt x="80" y="47"/>
                    </a:lnTo>
                    <a:lnTo>
                      <a:pt x="79" y="47"/>
                    </a:lnTo>
                    <a:lnTo>
                      <a:pt x="79" y="50"/>
                    </a:lnTo>
                    <a:lnTo>
                      <a:pt x="77" y="50"/>
                    </a:lnTo>
                    <a:lnTo>
                      <a:pt x="57" y="50"/>
                    </a:lnTo>
                    <a:lnTo>
                      <a:pt x="57" y="50"/>
                    </a:lnTo>
                    <a:lnTo>
                      <a:pt x="57" y="59"/>
                    </a:lnTo>
                    <a:lnTo>
                      <a:pt x="57" y="59"/>
                    </a:lnTo>
                    <a:lnTo>
                      <a:pt x="57" y="59"/>
                    </a:lnTo>
                    <a:lnTo>
                      <a:pt x="59" y="59"/>
                    </a:lnTo>
                    <a:lnTo>
                      <a:pt x="59" y="60"/>
                    </a:lnTo>
                    <a:lnTo>
                      <a:pt x="60" y="60"/>
                    </a:lnTo>
                    <a:lnTo>
                      <a:pt x="61" y="60"/>
                    </a:lnTo>
                    <a:lnTo>
                      <a:pt x="64" y="60"/>
                    </a:lnTo>
                    <a:lnTo>
                      <a:pt x="66" y="61"/>
                    </a:lnTo>
                    <a:lnTo>
                      <a:pt x="66" y="66"/>
                    </a:lnTo>
                    <a:lnTo>
                      <a:pt x="66" y="66"/>
                    </a:lnTo>
                    <a:lnTo>
                      <a:pt x="64" y="66"/>
                    </a:lnTo>
                    <a:lnTo>
                      <a:pt x="64" y="66"/>
                    </a:lnTo>
                    <a:lnTo>
                      <a:pt x="64" y="66"/>
                    </a:lnTo>
                    <a:lnTo>
                      <a:pt x="61" y="64"/>
                    </a:lnTo>
                    <a:lnTo>
                      <a:pt x="54" y="67"/>
                    </a:lnTo>
                    <a:lnTo>
                      <a:pt x="54" y="77"/>
                    </a:lnTo>
                    <a:lnTo>
                      <a:pt x="61" y="85"/>
                    </a:lnTo>
                    <a:lnTo>
                      <a:pt x="63" y="92"/>
                    </a:lnTo>
                    <a:lnTo>
                      <a:pt x="60" y="112"/>
                    </a:lnTo>
                    <a:lnTo>
                      <a:pt x="59" y="112"/>
                    </a:lnTo>
                    <a:lnTo>
                      <a:pt x="57" y="122"/>
                    </a:lnTo>
                    <a:lnTo>
                      <a:pt x="57" y="124"/>
                    </a:lnTo>
                    <a:lnTo>
                      <a:pt x="54" y="134"/>
                    </a:lnTo>
                    <a:lnTo>
                      <a:pt x="53" y="134"/>
                    </a:lnTo>
                    <a:lnTo>
                      <a:pt x="47" y="134"/>
                    </a:lnTo>
                    <a:lnTo>
                      <a:pt x="22" y="144"/>
                    </a:lnTo>
                    <a:lnTo>
                      <a:pt x="11" y="157"/>
                    </a:lnTo>
                    <a:lnTo>
                      <a:pt x="11" y="159"/>
                    </a:lnTo>
                    <a:lnTo>
                      <a:pt x="11" y="168"/>
                    </a:lnTo>
                    <a:lnTo>
                      <a:pt x="6" y="168"/>
                    </a:lnTo>
                    <a:lnTo>
                      <a:pt x="5" y="169"/>
                    </a:lnTo>
                    <a:lnTo>
                      <a:pt x="0" y="181"/>
                    </a:lnTo>
                    <a:lnTo>
                      <a:pt x="0" y="182"/>
                    </a:lnTo>
                    <a:lnTo>
                      <a:pt x="3" y="188"/>
                    </a:lnTo>
                    <a:lnTo>
                      <a:pt x="3" y="191"/>
                    </a:lnTo>
                    <a:lnTo>
                      <a:pt x="11" y="200"/>
                    </a:lnTo>
                    <a:lnTo>
                      <a:pt x="13" y="201"/>
                    </a:lnTo>
                    <a:lnTo>
                      <a:pt x="13" y="204"/>
                    </a:lnTo>
                    <a:lnTo>
                      <a:pt x="12" y="207"/>
                    </a:lnTo>
                    <a:lnTo>
                      <a:pt x="12" y="208"/>
                    </a:lnTo>
                    <a:lnTo>
                      <a:pt x="21" y="208"/>
                    </a:lnTo>
                    <a:lnTo>
                      <a:pt x="22" y="210"/>
                    </a:lnTo>
                    <a:lnTo>
                      <a:pt x="22" y="211"/>
                    </a:lnTo>
                    <a:lnTo>
                      <a:pt x="24" y="214"/>
                    </a:lnTo>
                    <a:lnTo>
                      <a:pt x="24" y="214"/>
                    </a:lnTo>
                    <a:lnTo>
                      <a:pt x="28" y="215"/>
                    </a:lnTo>
                    <a:lnTo>
                      <a:pt x="34" y="215"/>
                    </a:lnTo>
                    <a:lnTo>
                      <a:pt x="47" y="205"/>
                    </a:lnTo>
                    <a:lnTo>
                      <a:pt x="47" y="207"/>
                    </a:lnTo>
                    <a:lnTo>
                      <a:pt x="47" y="230"/>
                    </a:lnTo>
                    <a:lnTo>
                      <a:pt x="48" y="230"/>
                    </a:lnTo>
                    <a:lnTo>
                      <a:pt x="50" y="231"/>
                    </a:lnTo>
                    <a:lnTo>
                      <a:pt x="53" y="231"/>
                    </a:lnTo>
                    <a:lnTo>
                      <a:pt x="53" y="230"/>
                    </a:lnTo>
                    <a:lnTo>
                      <a:pt x="54" y="230"/>
                    </a:lnTo>
                    <a:lnTo>
                      <a:pt x="59" y="230"/>
                    </a:lnTo>
                    <a:lnTo>
                      <a:pt x="60" y="229"/>
                    </a:lnTo>
                    <a:lnTo>
                      <a:pt x="61" y="229"/>
                    </a:lnTo>
                    <a:lnTo>
                      <a:pt x="66" y="230"/>
                    </a:lnTo>
                    <a:lnTo>
                      <a:pt x="77" y="231"/>
                    </a:lnTo>
                    <a:lnTo>
                      <a:pt x="89" y="226"/>
                    </a:lnTo>
                    <a:lnTo>
                      <a:pt x="102" y="213"/>
                    </a:lnTo>
                    <a:lnTo>
                      <a:pt x="119" y="211"/>
                    </a:lnTo>
                    <a:lnTo>
                      <a:pt x="119" y="213"/>
                    </a:lnTo>
                    <a:lnTo>
                      <a:pt x="121" y="214"/>
                    </a:lnTo>
                    <a:lnTo>
                      <a:pt x="121" y="230"/>
                    </a:lnTo>
                    <a:lnTo>
                      <a:pt x="119" y="233"/>
                    </a:lnTo>
                    <a:lnTo>
                      <a:pt x="119" y="234"/>
                    </a:lnTo>
                    <a:lnTo>
                      <a:pt x="121" y="240"/>
                    </a:lnTo>
                    <a:lnTo>
                      <a:pt x="124" y="243"/>
                    </a:lnTo>
                    <a:lnTo>
                      <a:pt x="133" y="250"/>
                    </a:lnTo>
                    <a:lnTo>
                      <a:pt x="149" y="253"/>
                    </a:lnTo>
                    <a:lnTo>
                      <a:pt x="150" y="255"/>
                    </a:lnTo>
                    <a:lnTo>
                      <a:pt x="151" y="256"/>
                    </a:lnTo>
                    <a:lnTo>
                      <a:pt x="153" y="258"/>
                    </a:lnTo>
                    <a:lnTo>
                      <a:pt x="164" y="261"/>
                    </a:lnTo>
                    <a:lnTo>
                      <a:pt x="170" y="266"/>
                    </a:lnTo>
                    <a:lnTo>
                      <a:pt x="180" y="266"/>
                    </a:lnTo>
                    <a:lnTo>
                      <a:pt x="186" y="271"/>
                    </a:lnTo>
                    <a:lnTo>
                      <a:pt x="191" y="277"/>
                    </a:lnTo>
                    <a:lnTo>
                      <a:pt x="191" y="281"/>
                    </a:lnTo>
                    <a:lnTo>
                      <a:pt x="191" y="282"/>
                    </a:lnTo>
                    <a:lnTo>
                      <a:pt x="192" y="284"/>
                    </a:lnTo>
                    <a:lnTo>
                      <a:pt x="192" y="291"/>
                    </a:lnTo>
                    <a:lnTo>
                      <a:pt x="189" y="291"/>
                    </a:lnTo>
                    <a:lnTo>
                      <a:pt x="189" y="294"/>
                    </a:lnTo>
                    <a:lnTo>
                      <a:pt x="195" y="307"/>
                    </a:lnTo>
                    <a:lnTo>
                      <a:pt x="218" y="308"/>
                    </a:lnTo>
                    <a:lnTo>
                      <a:pt x="220" y="308"/>
                    </a:lnTo>
                    <a:lnTo>
                      <a:pt x="220" y="310"/>
                    </a:lnTo>
                    <a:lnTo>
                      <a:pt x="218" y="314"/>
                    </a:lnTo>
                    <a:lnTo>
                      <a:pt x="220" y="322"/>
                    </a:lnTo>
                    <a:lnTo>
                      <a:pt x="224" y="323"/>
                    </a:lnTo>
                    <a:lnTo>
                      <a:pt x="225" y="323"/>
                    </a:lnTo>
                    <a:lnTo>
                      <a:pt x="230" y="335"/>
                    </a:lnTo>
                    <a:lnTo>
                      <a:pt x="230" y="349"/>
                    </a:lnTo>
                    <a:lnTo>
                      <a:pt x="225" y="355"/>
                    </a:lnTo>
                    <a:lnTo>
                      <a:pt x="225" y="359"/>
                    </a:lnTo>
                    <a:lnTo>
                      <a:pt x="227" y="361"/>
                    </a:lnTo>
                    <a:lnTo>
                      <a:pt x="227" y="364"/>
                    </a:lnTo>
                    <a:lnTo>
                      <a:pt x="227" y="364"/>
                    </a:lnTo>
                    <a:lnTo>
                      <a:pt x="224" y="364"/>
                    </a:lnTo>
                    <a:lnTo>
                      <a:pt x="224" y="365"/>
                    </a:lnTo>
                    <a:lnTo>
                      <a:pt x="224" y="365"/>
                    </a:lnTo>
                    <a:lnTo>
                      <a:pt x="224" y="367"/>
                    </a:lnTo>
                    <a:lnTo>
                      <a:pt x="225" y="370"/>
                    </a:lnTo>
                    <a:lnTo>
                      <a:pt x="225" y="371"/>
                    </a:lnTo>
                    <a:lnTo>
                      <a:pt x="225" y="391"/>
                    </a:lnTo>
                    <a:lnTo>
                      <a:pt x="227" y="394"/>
                    </a:lnTo>
                    <a:lnTo>
                      <a:pt x="234" y="397"/>
                    </a:lnTo>
                    <a:lnTo>
                      <a:pt x="246" y="397"/>
                    </a:lnTo>
                    <a:lnTo>
                      <a:pt x="246" y="396"/>
                    </a:lnTo>
                    <a:lnTo>
                      <a:pt x="249" y="396"/>
                    </a:lnTo>
                    <a:lnTo>
                      <a:pt x="250" y="397"/>
                    </a:lnTo>
                    <a:lnTo>
                      <a:pt x="256" y="399"/>
                    </a:lnTo>
                    <a:lnTo>
                      <a:pt x="257" y="400"/>
                    </a:lnTo>
                    <a:lnTo>
                      <a:pt x="260" y="419"/>
                    </a:lnTo>
                    <a:lnTo>
                      <a:pt x="262" y="422"/>
                    </a:lnTo>
                    <a:lnTo>
                      <a:pt x="265" y="423"/>
                    </a:lnTo>
                    <a:lnTo>
                      <a:pt x="268" y="423"/>
                    </a:lnTo>
                    <a:lnTo>
                      <a:pt x="269" y="422"/>
                    </a:lnTo>
                    <a:lnTo>
                      <a:pt x="275" y="422"/>
                    </a:lnTo>
                    <a:lnTo>
                      <a:pt x="276" y="423"/>
                    </a:lnTo>
                    <a:lnTo>
                      <a:pt x="278" y="425"/>
                    </a:lnTo>
                    <a:lnTo>
                      <a:pt x="275" y="448"/>
                    </a:lnTo>
                    <a:lnTo>
                      <a:pt x="282" y="448"/>
                    </a:lnTo>
                    <a:lnTo>
                      <a:pt x="284" y="449"/>
                    </a:lnTo>
                    <a:lnTo>
                      <a:pt x="286" y="460"/>
                    </a:lnTo>
                    <a:lnTo>
                      <a:pt x="286" y="471"/>
                    </a:lnTo>
                    <a:lnTo>
                      <a:pt x="285" y="473"/>
                    </a:lnTo>
                    <a:lnTo>
                      <a:pt x="279" y="477"/>
                    </a:lnTo>
                    <a:lnTo>
                      <a:pt x="272" y="480"/>
                    </a:lnTo>
                    <a:lnTo>
                      <a:pt x="256" y="494"/>
                    </a:lnTo>
                    <a:lnTo>
                      <a:pt x="256" y="496"/>
                    </a:lnTo>
                    <a:lnTo>
                      <a:pt x="249" y="505"/>
                    </a:lnTo>
                    <a:lnTo>
                      <a:pt x="249" y="506"/>
                    </a:lnTo>
                    <a:lnTo>
                      <a:pt x="236" y="518"/>
                    </a:lnTo>
                    <a:lnTo>
                      <a:pt x="234" y="519"/>
                    </a:lnTo>
                    <a:lnTo>
                      <a:pt x="230" y="524"/>
                    </a:lnTo>
                    <a:lnTo>
                      <a:pt x="234" y="524"/>
                    </a:lnTo>
                    <a:lnTo>
                      <a:pt x="237" y="524"/>
                    </a:lnTo>
                    <a:lnTo>
                      <a:pt x="237" y="522"/>
                    </a:lnTo>
                    <a:lnTo>
                      <a:pt x="239" y="521"/>
                    </a:lnTo>
                    <a:lnTo>
                      <a:pt x="240" y="521"/>
                    </a:lnTo>
                    <a:lnTo>
                      <a:pt x="252" y="529"/>
                    </a:lnTo>
                    <a:lnTo>
                      <a:pt x="253" y="537"/>
                    </a:lnTo>
                    <a:lnTo>
                      <a:pt x="256" y="537"/>
                    </a:lnTo>
                    <a:lnTo>
                      <a:pt x="256" y="537"/>
                    </a:lnTo>
                    <a:lnTo>
                      <a:pt x="260" y="534"/>
                    </a:lnTo>
                    <a:lnTo>
                      <a:pt x="262" y="534"/>
                    </a:lnTo>
                    <a:lnTo>
                      <a:pt x="263" y="538"/>
                    </a:lnTo>
                    <a:lnTo>
                      <a:pt x="265" y="541"/>
                    </a:lnTo>
                    <a:lnTo>
                      <a:pt x="266" y="541"/>
                    </a:lnTo>
                    <a:lnTo>
                      <a:pt x="268" y="541"/>
                    </a:lnTo>
                    <a:lnTo>
                      <a:pt x="270" y="542"/>
                    </a:lnTo>
                    <a:lnTo>
                      <a:pt x="273" y="544"/>
                    </a:lnTo>
                    <a:lnTo>
                      <a:pt x="275" y="544"/>
                    </a:lnTo>
                    <a:lnTo>
                      <a:pt x="276" y="548"/>
                    </a:lnTo>
                    <a:lnTo>
                      <a:pt x="278" y="548"/>
                    </a:lnTo>
                    <a:lnTo>
                      <a:pt x="285" y="553"/>
                    </a:lnTo>
                    <a:lnTo>
                      <a:pt x="286" y="554"/>
                    </a:lnTo>
                    <a:lnTo>
                      <a:pt x="288" y="560"/>
                    </a:lnTo>
                    <a:lnTo>
                      <a:pt x="294" y="563"/>
                    </a:lnTo>
                    <a:lnTo>
                      <a:pt x="294" y="566"/>
                    </a:lnTo>
                    <a:lnTo>
                      <a:pt x="294" y="566"/>
                    </a:lnTo>
                    <a:lnTo>
                      <a:pt x="292" y="567"/>
                    </a:lnTo>
                    <a:lnTo>
                      <a:pt x="292" y="569"/>
                    </a:lnTo>
                    <a:lnTo>
                      <a:pt x="291" y="569"/>
                    </a:lnTo>
                    <a:lnTo>
                      <a:pt x="289" y="573"/>
                    </a:lnTo>
                    <a:lnTo>
                      <a:pt x="289" y="580"/>
                    </a:lnTo>
                    <a:lnTo>
                      <a:pt x="289" y="580"/>
                    </a:lnTo>
                    <a:lnTo>
                      <a:pt x="291" y="582"/>
                    </a:lnTo>
                    <a:lnTo>
                      <a:pt x="291" y="582"/>
                    </a:lnTo>
                    <a:lnTo>
                      <a:pt x="291" y="580"/>
                    </a:lnTo>
                    <a:lnTo>
                      <a:pt x="297" y="576"/>
                    </a:lnTo>
                    <a:lnTo>
                      <a:pt x="302" y="567"/>
                    </a:lnTo>
                    <a:lnTo>
                      <a:pt x="305" y="558"/>
                    </a:lnTo>
                    <a:lnTo>
                      <a:pt x="321" y="547"/>
                    </a:lnTo>
                    <a:lnTo>
                      <a:pt x="349" y="500"/>
                    </a:lnTo>
                    <a:lnTo>
                      <a:pt x="355" y="497"/>
                    </a:lnTo>
                    <a:lnTo>
                      <a:pt x="356" y="494"/>
                    </a:lnTo>
                    <a:lnTo>
                      <a:pt x="358" y="493"/>
                    </a:lnTo>
                    <a:lnTo>
                      <a:pt x="359" y="477"/>
                    </a:lnTo>
                    <a:lnTo>
                      <a:pt x="359" y="476"/>
                    </a:lnTo>
                    <a:lnTo>
                      <a:pt x="360" y="476"/>
                    </a:lnTo>
                    <a:lnTo>
                      <a:pt x="362" y="474"/>
                    </a:lnTo>
                    <a:lnTo>
                      <a:pt x="359" y="470"/>
                    </a:lnTo>
                    <a:lnTo>
                      <a:pt x="359" y="467"/>
                    </a:lnTo>
                    <a:lnTo>
                      <a:pt x="358" y="465"/>
                    </a:lnTo>
                    <a:lnTo>
                      <a:pt x="358" y="463"/>
                    </a:lnTo>
                    <a:lnTo>
                      <a:pt x="358" y="460"/>
                    </a:lnTo>
                    <a:lnTo>
                      <a:pt x="358" y="458"/>
                    </a:lnTo>
                    <a:lnTo>
                      <a:pt x="358" y="457"/>
                    </a:lnTo>
                    <a:lnTo>
                      <a:pt x="359" y="452"/>
                    </a:lnTo>
                    <a:lnTo>
                      <a:pt x="371" y="438"/>
                    </a:lnTo>
                    <a:lnTo>
                      <a:pt x="372" y="438"/>
                    </a:lnTo>
                    <a:lnTo>
                      <a:pt x="390" y="423"/>
                    </a:lnTo>
                    <a:lnTo>
                      <a:pt x="392" y="423"/>
                    </a:lnTo>
                    <a:lnTo>
                      <a:pt x="394" y="422"/>
                    </a:lnTo>
                    <a:lnTo>
                      <a:pt x="395" y="420"/>
                    </a:lnTo>
                    <a:lnTo>
                      <a:pt x="403" y="419"/>
                    </a:lnTo>
                    <a:lnTo>
                      <a:pt x="406" y="417"/>
                    </a:lnTo>
                    <a:lnTo>
                      <a:pt x="407" y="417"/>
                    </a:lnTo>
                    <a:lnTo>
                      <a:pt x="408" y="415"/>
                    </a:lnTo>
                    <a:lnTo>
                      <a:pt x="413" y="413"/>
                    </a:lnTo>
                    <a:lnTo>
                      <a:pt x="416" y="413"/>
                    </a:lnTo>
                    <a:lnTo>
                      <a:pt x="416" y="412"/>
                    </a:lnTo>
                    <a:lnTo>
                      <a:pt x="416" y="412"/>
                    </a:lnTo>
                    <a:lnTo>
                      <a:pt x="414" y="410"/>
                    </a:lnTo>
                    <a:lnTo>
                      <a:pt x="414" y="410"/>
                    </a:lnTo>
                    <a:lnTo>
                      <a:pt x="417" y="407"/>
                    </a:lnTo>
                    <a:lnTo>
                      <a:pt x="417" y="407"/>
                    </a:lnTo>
                    <a:lnTo>
                      <a:pt x="417" y="407"/>
                    </a:lnTo>
                    <a:lnTo>
                      <a:pt x="417" y="409"/>
                    </a:lnTo>
                    <a:lnTo>
                      <a:pt x="420" y="409"/>
                    </a:lnTo>
                    <a:lnTo>
                      <a:pt x="426" y="407"/>
                    </a:lnTo>
                    <a:lnTo>
                      <a:pt x="427" y="407"/>
                    </a:lnTo>
                    <a:lnTo>
                      <a:pt x="427" y="407"/>
                    </a:lnTo>
                    <a:lnTo>
                      <a:pt x="430" y="407"/>
                    </a:lnTo>
                    <a:lnTo>
                      <a:pt x="435" y="406"/>
                    </a:lnTo>
                    <a:lnTo>
                      <a:pt x="436" y="406"/>
                    </a:lnTo>
                    <a:lnTo>
                      <a:pt x="437" y="407"/>
                    </a:lnTo>
                    <a:lnTo>
                      <a:pt x="451" y="406"/>
                    </a:lnTo>
                    <a:lnTo>
                      <a:pt x="452" y="400"/>
                    </a:lnTo>
                    <a:lnTo>
                      <a:pt x="462" y="396"/>
                    </a:lnTo>
                    <a:lnTo>
                      <a:pt x="464" y="393"/>
                    </a:lnTo>
                    <a:lnTo>
                      <a:pt x="466" y="381"/>
                    </a:lnTo>
                    <a:lnTo>
                      <a:pt x="484" y="355"/>
                    </a:lnTo>
                    <a:lnTo>
                      <a:pt x="487" y="336"/>
                    </a:lnTo>
                    <a:lnTo>
                      <a:pt x="491" y="329"/>
                    </a:lnTo>
                    <a:lnTo>
                      <a:pt x="496" y="262"/>
                    </a:lnTo>
                    <a:lnTo>
                      <a:pt x="497" y="262"/>
                    </a:lnTo>
                    <a:lnTo>
                      <a:pt x="498" y="259"/>
                    </a:lnTo>
                    <a:lnTo>
                      <a:pt x="500" y="259"/>
                    </a:lnTo>
                    <a:lnTo>
                      <a:pt x="503" y="259"/>
                    </a:lnTo>
                    <a:lnTo>
                      <a:pt x="503" y="259"/>
                    </a:lnTo>
                    <a:lnTo>
                      <a:pt x="551" y="200"/>
                    </a:lnTo>
                    <a:lnTo>
                      <a:pt x="551" y="200"/>
                    </a:lnTo>
                    <a:lnTo>
                      <a:pt x="554" y="169"/>
                    </a:lnTo>
                    <a:lnTo>
                      <a:pt x="551" y="156"/>
                    </a:lnTo>
                    <a:lnTo>
                      <a:pt x="545" y="149"/>
                    </a:lnTo>
                    <a:lnTo>
                      <a:pt x="543" y="147"/>
                    </a:lnTo>
                    <a:lnTo>
                      <a:pt x="527" y="147"/>
                    </a:lnTo>
                    <a:lnTo>
                      <a:pt x="527" y="146"/>
                    </a:lnTo>
                    <a:lnTo>
                      <a:pt x="525" y="146"/>
                    </a:lnTo>
                    <a:lnTo>
                      <a:pt x="523" y="146"/>
                    </a:lnTo>
                    <a:lnTo>
                      <a:pt x="482" y="115"/>
                    </a:lnTo>
                    <a:lnTo>
                      <a:pt x="458" y="115"/>
                    </a:lnTo>
                    <a:lnTo>
                      <a:pt x="436" y="109"/>
                    </a:lnTo>
                    <a:lnTo>
                      <a:pt x="433" y="109"/>
                    </a:lnTo>
                    <a:lnTo>
                      <a:pt x="433" y="109"/>
                    </a:lnTo>
                    <a:lnTo>
                      <a:pt x="432" y="108"/>
                    </a:lnTo>
                    <a:lnTo>
                      <a:pt x="421" y="112"/>
                    </a:lnTo>
                    <a:lnTo>
                      <a:pt x="419" y="112"/>
                    </a:lnTo>
                    <a:lnTo>
                      <a:pt x="419" y="111"/>
                    </a:lnTo>
                    <a:lnTo>
                      <a:pt x="419" y="109"/>
                    </a:lnTo>
                    <a:lnTo>
                      <a:pt x="420" y="108"/>
                    </a:lnTo>
                    <a:lnTo>
                      <a:pt x="420" y="106"/>
                    </a:lnTo>
                    <a:lnTo>
                      <a:pt x="420" y="105"/>
                    </a:lnTo>
                    <a:lnTo>
                      <a:pt x="417" y="105"/>
                    </a:lnTo>
                    <a:lnTo>
                      <a:pt x="417" y="105"/>
                    </a:lnTo>
                    <a:lnTo>
                      <a:pt x="416" y="105"/>
                    </a:lnTo>
                    <a:lnTo>
                      <a:pt x="416" y="105"/>
                    </a:lnTo>
                    <a:lnTo>
                      <a:pt x="416" y="104"/>
                    </a:lnTo>
                    <a:lnTo>
                      <a:pt x="417" y="104"/>
                    </a:lnTo>
                    <a:lnTo>
                      <a:pt x="417" y="101"/>
                    </a:lnTo>
                    <a:lnTo>
                      <a:pt x="413" y="95"/>
                    </a:lnTo>
                    <a:lnTo>
                      <a:pt x="411" y="96"/>
                    </a:lnTo>
                    <a:lnTo>
                      <a:pt x="410" y="96"/>
                    </a:lnTo>
                    <a:lnTo>
                      <a:pt x="408" y="98"/>
                    </a:lnTo>
                    <a:lnTo>
                      <a:pt x="406" y="99"/>
                    </a:lnTo>
                    <a:lnTo>
                      <a:pt x="406" y="95"/>
                    </a:lnTo>
                    <a:lnTo>
                      <a:pt x="404" y="92"/>
                    </a:lnTo>
                    <a:lnTo>
                      <a:pt x="401" y="92"/>
                    </a:lnTo>
                    <a:lnTo>
                      <a:pt x="398" y="91"/>
                    </a:lnTo>
                    <a:lnTo>
                      <a:pt x="395" y="91"/>
                    </a:lnTo>
                    <a:lnTo>
                      <a:pt x="394" y="89"/>
                    </a:lnTo>
                    <a:lnTo>
                      <a:pt x="388" y="88"/>
                    </a:lnTo>
                    <a:lnTo>
                      <a:pt x="378" y="83"/>
                    </a:lnTo>
                    <a:lnTo>
                      <a:pt x="371" y="83"/>
                    </a:lnTo>
                    <a:lnTo>
                      <a:pt x="368" y="85"/>
                    </a:lnTo>
                    <a:lnTo>
                      <a:pt x="366" y="88"/>
                    </a:lnTo>
                    <a:lnTo>
                      <a:pt x="365" y="89"/>
                    </a:lnTo>
                    <a:lnTo>
                      <a:pt x="362" y="95"/>
                    </a:lnTo>
                    <a:lnTo>
                      <a:pt x="356" y="96"/>
                    </a:lnTo>
                    <a:lnTo>
                      <a:pt x="355" y="98"/>
                    </a:lnTo>
                    <a:lnTo>
                      <a:pt x="352" y="105"/>
                    </a:lnTo>
                    <a:lnTo>
                      <a:pt x="352" y="105"/>
                    </a:lnTo>
                    <a:lnTo>
                      <a:pt x="350" y="106"/>
                    </a:lnTo>
                    <a:lnTo>
                      <a:pt x="350" y="109"/>
                    </a:lnTo>
                    <a:lnTo>
                      <a:pt x="349" y="109"/>
                    </a:lnTo>
                    <a:lnTo>
                      <a:pt x="349" y="109"/>
                    </a:lnTo>
                    <a:lnTo>
                      <a:pt x="349" y="105"/>
                    </a:lnTo>
                    <a:lnTo>
                      <a:pt x="349" y="101"/>
                    </a:lnTo>
                    <a:lnTo>
                      <a:pt x="349" y="101"/>
                    </a:lnTo>
                    <a:lnTo>
                      <a:pt x="346" y="101"/>
                    </a:lnTo>
                    <a:lnTo>
                      <a:pt x="345" y="101"/>
                    </a:lnTo>
                    <a:lnTo>
                      <a:pt x="334" y="101"/>
                    </a:lnTo>
                    <a:lnTo>
                      <a:pt x="334" y="101"/>
                    </a:lnTo>
                    <a:lnTo>
                      <a:pt x="333" y="101"/>
                    </a:lnTo>
                    <a:lnTo>
                      <a:pt x="331" y="101"/>
                    </a:lnTo>
                    <a:lnTo>
                      <a:pt x="330" y="101"/>
                    </a:lnTo>
                    <a:lnTo>
                      <a:pt x="327" y="102"/>
                    </a:lnTo>
                    <a:lnTo>
                      <a:pt x="324" y="102"/>
                    </a:lnTo>
                    <a:lnTo>
                      <a:pt x="321" y="101"/>
                    </a:lnTo>
                    <a:lnTo>
                      <a:pt x="320" y="101"/>
                    </a:lnTo>
                    <a:lnTo>
                      <a:pt x="320" y="101"/>
                    </a:lnTo>
                    <a:lnTo>
                      <a:pt x="320" y="104"/>
                    </a:lnTo>
                    <a:lnTo>
                      <a:pt x="318" y="104"/>
                    </a:lnTo>
                    <a:lnTo>
                      <a:pt x="318" y="104"/>
                    </a:lnTo>
                    <a:lnTo>
                      <a:pt x="318" y="102"/>
                    </a:lnTo>
                    <a:lnTo>
                      <a:pt x="318" y="101"/>
                    </a:lnTo>
                    <a:lnTo>
                      <a:pt x="320" y="99"/>
                    </a:lnTo>
                    <a:lnTo>
                      <a:pt x="321" y="99"/>
                    </a:lnTo>
                    <a:lnTo>
                      <a:pt x="324" y="101"/>
                    </a:lnTo>
                    <a:lnTo>
                      <a:pt x="327" y="101"/>
                    </a:lnTo>
                    <a:lnTo>
                      <a:pt x="330" y="99"/>
                    </a:lnTo>
                    <a:lnTo>
                      <a:pt x="330" y="99"/>
                    </a:lnTo>
                    <a:lnTo>
                      <a:pt x="330" y="98"/>
                    </a:lnTo>
                    <a:lnTo>
                      <a:pt x="330" y="92"/>
                    </a:lnTo>
                    <a:lnTo>
                      <a:pt x="330" y="92"/>
                    </a:lnTo>
                    <a:lnTo>
                      <a:pt x="329" y="92"/>
                    </a:lnTo>
                    <a:lnTo>
                      <a:pt x="329" y="91"/>
                    </a:lnTo>
                    <a:lnTo>
                      <a:pt x="327" y="91"/>
                    </a:lnTo>
                    <a:lnTo>
                      <a:pt x="327" y="89"/>
                    </a:lnTo>
                    <a:lnTo>
                      <a:pt x="327" y="89"/>
                    </a:lnTo>
                    <a:lnTo>
                      <a:pt x="327" y="88"/>
                    </a:lnTo>
                    <a:lnTo>
                      <a:pt x="329" y="88"/>
                    </a:lnTo>
                    <a:lnTo>
                      <a:pt x="329" y="86"/>
                    </a:lnTo>
                    <a:lnTo>
                      <a:pt x="327" y="86"/>
                    </a:lnTo>
                    <a:lnTo>
                      <a:pt x="327" y="86"/>
                    </a:lnTo>
                    <a:lnTo>
                      <a:pt x="326" y="86"/>
                    </a:lnTo>
                    <a:lnTo>
                      <a:pt x="324" y="89"/>
                    </a:lnTo>
                    <a:lnTo>
                      <a:pt x="324" y="91"/>
                    </a:lnTo>
                    <a:lnTo>
                      <a:pt x="321" y="91"/>
                    </a:lnTo>
                    <a:lnTo>
                      <a:pt x="320" y="89"/>
                    </a:lnTo>
                    <a:lnTo>
                      <a:pt x="321" y="85"/>
                    </a:lnTo>
                    <a:lnTo>
                      <a:pt x="320" y="83"/>
                    </a:lnTo>
                    <a:lnTo>
                      <a:pt x="320" y="79"/>
                    </a:lnTo>
                    <a:lnTo>
                      <a:pt x="336" y="63"/>
                    </a:lnTo>
                    <a:lnTo>
                      <a:pt x="337" y="63"/>
                    </a:lnTo>
                    <a:lnTo>
                      <a:pt x="339" y="60"/>
                    </a:lnTo>
                    <a:lnTo>
                      <a:pt x="340" y="51"/>
                    </a:lnTo>
                    <a:lnTo>
                      <a:pt x="340" y="51"/>
                    </a:lnTo>
                    <a:lnTo>
                      <a:pt x="340" y="50"/>
                    </a:lnTo>
                    <a:lnTo>
                      <a:pt x="337" y="50"/>
                    </a:lnTo>
                    <a:lnTo>
                      <a:pt x="334" y="48"/>
                    </a:lnTo>
                    <a:lnTo>
                      <a:pt x="326" y="21"/>
                    </a:lnTo>
                    <a:lnTo>
                      <a:pt x="321" y="15"/>
                    </a:lnTo>
                    <a:lnTo>
                      <a:pt x="320" y="13"/>
                    </a:lnTo>
                    <a:lnTo>
                      <a:pt x="320" y="15"/>
                    </a:lnTo>
                    <a:lnTo>
                      <a:pt x="318" y="16"/>
                    </a:lnTo>
                    <a:lnTo>
                      <a:pt x="317" y="16"/>
                    </a:lnTo>
                    <a:lnTo>
                      <a:pt x="307" y="31"/>
                    </a:lnTo>
                    <a:lnTo>
                      <a:pt x="304" y="37"/>
                    </a:lnTo>
                    <a:lnTo>
                      <a:pt x="297" y="44"/>
                    </a:lnTo>
                    <a:lnTo>
                      <a:pt x="295" y="45"/>
                    </a:lnTo>
                    <a:lnTo>
                      <a:pt x="292" y="45"/>
                    </a:lnTo>
                    <a:lnTo>
                      <a:pt x="291" y="44"/>
                    </a:lnTo>
                    <a:lnTo>
                      <a:pt x="288" y="44"/>
                    </a:lnTo>
                    <a:lnTo>
                      <a:pt x="284" y="47"/>
                    </a:lnTo>
                    <a:lnTo>
                      <a:pt x="282" y="45"/>
                    </a:lnTo>
                    <a:lnTo>
                      <a:pt x="279" y="44"/>
                    </a:lnTo>
                    <a:lnTo>
                      <a:pt x="276" y="41"/>
                    </a:lnTo>
                    <a:lnTo>
                      <a:pt x="269" y="38"/>
                    </a:lnTo>
                    <a:lnTo>
                      <a:pt x="263" y="41"/>
                    </a:lnTo>
                    <a:lnTo>
                      <a:pt x="262" y="41"/>
                    </a:lnTo>
                    <a:lnTo>
                      <a:pt x="259" y="40"/>
                    </a:lnTo>
                    <a:lnTo>
                      <a:pt x="257" y="40"/>
                    </a:lnTo>
                    <a:lnTo>
                      <a:pt x="256" y="41"/>
                    </a:lnTo>
                    <a:lnTo>
                      <a:pt x="256" y="47"/>
                    </a:lnTo>
                    <a:lnTo>
                      <a:pt x="256" y="48"/>
                    </a:lnTo>
                    <a:lnTo>
                      <a:pt x="252" y="48"/>
                    </a:lnTo>
                    <a:lnTo>
                      <a:pt x="247" y="47"/>
                    </a:lnTo>
                    <a:lnTo>
                      <a:pt x="241" y="47"/>
                    </a:lnTo>
                    <a:lnTo>
                      <a:pt x="240" y="47"/>
                    </a:lnTo>
                    <a:lnTo>
                      <a:pt x="240" y="47"/>
                    </a:lnTo>
                    <a:lnTo>
                      <a:pt x="239" y="45"/>
                    </a:lnTo>
                    <a:lnTo>
                      <a:pt x="237" y="45"/>
                    </a:lnTo>
                    <a:lnTo>
                      <a:pt x="234" y="47"/>
                    </a:lnTo>
                    <a:lnTo>
                      <a:pt x="233" y="50"/>
                    </a:lnTo>
                    <a:lnTo>
                      <a:pt x="228" y="50"/>
                    </a:lnTo>
                    <a:lnTo>
                      <a:pt x="225" y="53"/>
                    </a:lnTo>
                    <a:lnTo>
                      <a:pt x="223" y="53"/>
                    </a:lnTo>
                    <a:lnTo>
                      <a:pt x="220" y="53"/>
                    </a:lnTo>
                    <a:lnTo>
                      <a:pt x="218" y="56"/>
                    </a:lnTo>
                    <a:lnTo>
                      <a:pt x="217" y="56"/>
                    </a:lnTo>
                    <a:lnTo>
                      <a:pt x="214" y="56"/>
                    </a:lnTo>
                    <a:lnTo>
                      <a:pt x="207" y="53"/>
                    </a:lnTo>
                    <a:lnTo>
                      <a:pt x="204" y="50"/>
                    </a:lnTo>
                    <a:lnTo>
                      <a:pt x="204" y="50"/>
                    </a:lnTo>
                    <a:lnTo>
                      <a:pt x="202" y="48"/>
                    </a:lnTo>
                    <a:lnTo>
                      <a:pt x="202" y="48"/>
                    </a:lnTo>
                    <a:lnTo>
                      <a:pt x="202" y="43"/>
                    </a:lnTo>
                    <a:lnTo>
                      <a:pt x="199" y="40"/>
                    </a:lnTo>
                    <a:lnTo>
                      <a:pt x="199" y="38"/>
                    </a:lnTo>
                    <a:lnTo>
                      <a:pt x="199" y="31"/>
                    </a:lnTo>
                    <a:lnTo>
                      <a:pt x="201" y="25"/>
                    </a:lnTo>
                    <a:lnTo>
                      <a:pt x="201" y="22"/>
                    </a:lnTo>
                    <a:lnTo>
                      <a:pt x="204" y="19"/>
                    </a:lnTo>
                    <a:lnTo>
                      <a:pt x="204" y="18"/>
                    </a:lnTo>
                    <a:lnTo>
                      <a:pt x="204" y="16"/>
                    </a:lnTo>
                    <a:lnTo>
                      <a:pt x="202" y="15"/>
                    </a:lnTo>
                    <a:lnTo>
                      <a:pt x="202" y="11"/>
                    </a:lnTo>
                    <a:lnTo>
                      <a:pt x="199" y="11"/>
                    </a:lnTo>
                    <a:lnTo>
                      <a:pt x="199" y="11"/>
                    </a:lnTo>
                    <a:lnTo>
                      <a:pt x="196" y="9"/>
                    </a:lnTo>
                    <a:lnTo>
                      <a:pt x="198" y="5"/>
                    </a:lnTo>
                    <a:lnTo>
                      <a:pt x="198" y="2"/>
                    </a:lnTo>
                    <a:lnTo>
                      <a:pt x="196" y="0"/>
                    </a:lnTo>
                    <a:lnTo>
                      <a:pt x="194" y="0"/>
                    </a:lnTo>
                    <a:lnTo>
                      <a:pt x="191" y="2"/>
                    </a:lnTo>
                    <a:lnTo>
                      <a:pt x="188" y="0"/>
                    </a:lnTo>
                    <a:close/>
                  </a:path>
                </a:pathLst>
              </a:custGeom>
              <a:solidFill>
                <a:srgbClr val="1375A1"/>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10" name="Freeform 941"/>
              <p:cNvSpPr>
                <a:spLocks/>
              </p:cNvSpPr>
              <p:nvPr/>
            </p:nvSpPr>
            <p:spPr bwMode="auto">
              <a:xfrm>
                <a:off x="6014512" y="2290917"/>
                <a:ext cx="33356" cy="34480"/>
              </a:xfrm>
              <a:custGeom>
                <a:avLst/>
                <a:gdLst/>
                <a:ahLst/>
                <a:cxnLst>
                  <a:cxn ang="0">
                    <a:pos x="7" y="10"/>
                  </a:cxn>
                  <a:cxn ang="0">
                    <a:pos x="7" y="13"/>
                  </a:cxn>
                  <a:cxn ang="0">
                    <a:pos x="6" y="16"/>
                  </a:cxn>
                  <a:cxn ang="0">
                    <a:pos x="3" y="16"/>
                  </a:cxn>
                  <a:cxn ang="0">
                    <a:pos x="3" y="18"/>
                  </a:cxn>
                  <a:cxn ang="0">
                    <a:pos x="0" y="21"/>
                  </a:cxn>
                  <a:cxn ang="0">
                    <a:pos x="4" y="24"/>
                  </a:cxn>
                  <a:cxn ang="0">
                    <a:pos x="6" y="29"/>
                  </a:cxn>
                  <a:cxn ang="0">
                    <a:pos x="9" y="30"/>
                  </a:cxn>
                  <a:cxn ang="0">
                    <a:pos x="12" y="27"/>
                  </a:cxn>
                  <a:cxn ang="0">
                    <a:pos x="14" y="24"/>
                  </a:cxn>
                  <a:cxn ang="0">
                    <a:pos x="22" y="21"/>
                  </a:cxn>
                  <a:cxn ang="0">
                    <a:pos x="25" y="26"/>
                  </a:cxn>
                  <a:cxn ang="0">
                    <a:pos x="26" y="32"/>
                  </a:cxn>
                  <a:cxn ang="0">
                    <a:pos x="26" y="33"/>
                  </a:cxn>
                  <a:cxn ang="0">
                    <a:pos x="27" y="33"/>
                  </a:cxn>
                  <a:cxn ang="0">
                    <a:pos x="30" y="30"/>
                  </a:cxn>
                  <a:cxn ang="0">
                    <a:pos x="30" y="27"/>
                  </a:cxn>
                  <a:cxn ang="0">
                    <a:pos x="35" y="27"/>
                  </a:cxn>
                  <a:cxn ang="0">
                    <a:pos x="36" y="26"/>
                  </a:cxn>
                  <a:cxn ang="0">
                    <a:pos x="33" y="20"/>
                  </a:cxn>
                  <a:cxn ang="0">
                    <a:pos x="36" y="23"/>
                  </a:cxn>
                  <a:cxn ang="0">
                    <a:pos x="36" y="20"/>
                  </a:cxn>
                  <a:cxn ang="0">
                    <a:pos x="35" y="17"/>
                  </a:cxn>
                  <a:cxn ang="0">
                    <a:pos x="33" y="17"/>
                  </a:cxn>
                  <a:cxn ang="0">
                    <a:pos x="30" y="17"/>
                  </a:cxn>
                  <a:cxn ang="0">
                    <a:pos x="32" y="14"/>
                  </a:cxn>
                  <a:cxn ang="0">
                    <a:pos x="32" y="10"/>
                  </a:cxn>
                  <a:cxn ang="0">
                    <a:pos x="27" y="4"/>
                  </a:cxn>
                  <a:cxn ang="0">
                    <a:pos x="23" y="2"/>
                  </a:cxn>
                  <a:cxn ang="0">
                    <a:pos x="17" y="4"/>
                  </a:cxn>
                  <a:cxn ang="0">
                    <a:pos x="14" y="5"/>
                  </a:cxn>
                  <a:cxn ang="0">
                    <a:pos x="13" y="7"/>
                  </a:cxn>
                  <a:cxn ang="0">
                    <a:pos x="13" y="5"/>
                  </a:cxn>
                  <a:cxn ang="0">
                    <a:pos x="16" y="2"/>
                  </a:cxn>
                  <a:cxn ang="0">
                    <a:pos x="14" y="1"/>
                  </a:cxn>
                  <a:cxn ang="0">
                    <a:pos x="13" y="0"/>
                  </a:cxn>
                  <a:cxn ang="0">
                    <a:pos x="10" y="0"/>
                  </a:cxn>
                  <a:cxn ang="0">
                    <a:pos x="10" y="1"/>
                  </a:cxn>
                  <a:cxn ang="0">
                    <a:pos x="9" y="1"/>
                  </a:cxn>
                  <a:cxn ang="0">
                    <a:pos x="9" y="4"/>
                  </a:cxn>
                  <a:cxn ang="0">
                    <a:pos x="9" y="7"/>
                  </a:cxn>
                  <a:cxn ang="0">
                    <a:pos x="9" y="8"/>
                  </a:cxn>
                  <a:cxn ang="0">
                    <a:pos x="7" y="10"/>
                  </a:cxn>
                </a:cxnLst>
                <a:rect l="0" t="0" r="r" b="b"/>
                <a:pathLst>
                  <a:path w="36" h="33">
                    <a:moveTo>
                      <a:pt x="7" y="10"/>
                    </a:moveTo>
                    <a:lnTo>
                      <a:pt x="7" y="13"/>
                    </a:lnTo>
                    <a:lnTo>
                      <a:pt x="6" y="16"/>
                    </a:lnTo>
                    <a:lnTo>
                      <a:pt x="3" y="16"/>
                    </a:lnTo>
                    <a:lnTo>
                      <a:pt x="3" y="18"/>
                    </a:lnTo>
                    <a:lnTo>
                      <a:pt x="0" y="21"/>
                    </a:lnTo>
                    <a:lnTo>
                      <a:pt x="4" y="24"/>
                    </a:lnTo>
                    <a:lnTo>
                      <a:pt x="6" y="29"/>
                    </a:lnTo>
                    <a:lnTo>
                      <a:pt x="9" y="30"/>
                    </a:lnTo>
                    <a:lnTo>
                      <a:pt x="12" y="27"/>
                    </a:lnTo>
                    <a:lnTo>
                      <a:pt x="14" y="24"/>
                    </a:lnTo>
                    <a:lnTo>
                      <a:pt x="22" y="21"/>
                    </a:lnTo>
                    <a:lnTo>
                      <a:pt x="25" y="26"/>
                    </a:lnTo>
                    <a:lnTo>
                      <a:pt x="26" y="32"/>
                    </a:lnTo>
                    <a:lnTo>
                      <a:pt x="26" y="33"/>
                    </a:lnTo>
                    <a:lnTo>
                      <a:pt x="27" y="33"/>
                    </a:lnTo>
                    <a:lnTo>
                      <a:pt x="30" y="30"/>
                    </a:lnTo>
                    <a:lnTo>
                      <a:pt x="30" y="27"/>
                    </a:lnTo>
                    <a:lnTo>
                      <a:pt x="35" y="27"/>
                    </a:lnTo>
                    <a:lnTo>
                      <a:pt x="36" y="26"/>
                    </a:lnTo>
                    <a:lnTo>
                      <a:pt x="33" y="20"/>
                    </a:lnTo>
                    <a:lnTo>
                      <a:pt x="36" y="23"/>
                    </a:lnTo>
                    <a:lnTo>
                      <a:pt x="36" y="20"/>
                    </a:lnTo>
                    <a:lnTo>
                      <a:pt x="35" y="17"/>
                    </a:lnTo>
                    <a:lnTo>
                      <a:pt x="33" y="17"/>
                    </a:lnTo>
                    <a:lnTo>
                      <a:pt x="30" y="17"/>
                    </a:lnTo>
                    <a:lnTo>
                      <a:pt x="32" y="14"/>
                    </a:lnTo>
                    <a:lnTo>
                      <a:pt x="32" y="10"/>
                    </a:lnTo>
                    <a:lnTo>
                      <a:pt x="27" y="4"/>
                    </a:lnTo>
                    <a:lnTo>
                      <a:pt x="23" y="2"/>
                    </a:lnTo>
                    <a:lnTo>
                      <a:pt x="17" y="4"/>
                    </a:lnTo>
                    <a:lnTo>
                      <a:pt x="14" y="5"/>
                    </a:lnTo>
                    <a:lnTo>
                      <a:pt x="13" y="7"/>
                    </a:lnTo>
                    <a:lnTo>
                      <a:pt x="13" y="5"/>
                    </a:lnTo>
                    <a:lnTo>
                      <a:pt x="16" y="2"/>
                    </a:lnTo>
                    <a:lnTo>
                      <a:pt x="14" y="1"/>
                    </a:lnTo>
                    <a:lnTo>
                      <a:pt x="13" y="0"/>
                    </a:lnTo>
                    <a:lnTo>
                      <a:pt x="10" y="0"/>
                    </a:lnTo>
                    <a:lnTo>
                      <a:pt x="10" y="1"/>
                    </a:lnTo>
                    <a:lnTo>
                      <a:pt x="9" y="1"/>
                    </a:lnTo>
                    <a:lnTo>
                      <a:pt x="9" y="4"/>
                    </a:lnTo>
                    <a:lnTo>
                      <a:pt x="9" y="7"/>
                    </a:lnTo>
                    <a:lnTo>
                      <a:pt x="9" y="8"/>
                    </a:lnTo>
                    <a:lnTo>
                      <a:pt x="7" y="1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11" name="Freeform 942"/>
              <p:cNvSpPr>
                <a:spLocks/>
              </p:cNvSpPr>
              <p:nvPr/>
            </p:nvSpPr>
            <p:spPr bwMode="auto">
              <a:xfrm>
                <a:off x="6014512" y="2290917"/>
                <a:ext cx="33356" cy="34480"/>
              </a:xfrm>
              <a:custGeom>
                <a:avLst/>
                <a:gdLst/>
                <a:ahLst/>
                <a:cxnLst>
                  <a:cxn ang="0">
                    <a:pos x="7" y="10"/>
                  </a:cxn>
                  <a:cxn ang="0">
                    <a:pos x="7" y="13"/>
                  </a:cxn>
                  <a:cxn ang="0">
                    <a:pos x="6" y="16"/>
                  </a:cxn>
                  <a:cxn ang="0">
                    <a:pos x="3" y="16"/>
                  </a:cxn>
                  <a:cxn ang="0">
                    <a:pos x="3" y="18"/>
                  </a:cxn>
                  <a:cxn ang="0">
                    <a:pos x="0" y="21"/>
                  </a:cxn>
                  <a:cxn ang="0">
                    <a:pos x="4" y="24"/>
                  </a:cxn>
                  <a:cxn ang="0">
                    <a:pos x="6" y="29"/>
                  </a:cxn>
                  <a:cxn ang="0">
                    <a:pos x="9" y="30"/>
                  </a:cxn>
                  <a:cxn ang="0">
                    <a:pos x="12" y="27"/>
                  </a:cxn>
                  <a:cxn ang="0">
                    <a:pos x="14" y="24"/>
                  </a:cxn>
                  <a:cxn ang="0">
                    <a:pos x="22" y="21"/>
                  </a:cxn>
                  <a:cxn ang="0">
                    <a:pos x="25" y="26"/>
                  </a:cxn>
                  <a:cxn ang="0">
                    <a:pos x="26" y="32"/>
                  </a:cxn>
                  <a:cxn ang="0">
                    <a:pos x="26" y="33"/>
                  </a:cxn>
                  <a:cxn ang="0">
                    <a:pos x="27" y="33"/>
                  </a:cxn>
                  <a:cxn ang="0">
                    <a:pos x="30" y="30"/>
                  </a:cxn>
                  <a:cxn ang="0">
                    <a:pos x="30" y="27"/>
                  </a:cxn>
                  <a:cxn ang="0">
                    <a:pos x="35" y="27"/>
                  </a:cxn>
                  <a:cxn ang="0">
                    <a:pos x="36" y="26"/>
                  </a:cxn>
                  <a:cxn ang="0">
                    <a:pos x="33" y="20"/>
                  </a:cxn>
                  <a:cxn ang="0">
                    <a:pos x="36" y="23"/>
                  </a:cxn>
                  <a:cxn ang="0">
                    <a:pos x="36" y="20"/>
                  </a:cxn>
                  <a:cxn ang="0">
                    <a:pos x="35" y="17"/>
                  </a:cxn>
                  <a:cxn ang="0">
                    <a:pos x="33" y="17"/>
                  </a:cxn>
                  <a:cxn ang="0">
                    <a:pos x="30" y="17"/>
                  </a:cxn>
                  <a:cxn ang="0">
                    <a:pos x="32" y="14"/>
                  </a:cxn>
                  <a:cxn ang="0">
                    <a:pos x="32" y="10"/>
                  </a:cxn>
                  <a:cxn ang="0">
                    <a:pos x="27" y="4"/>
                  </a:cxn>
                  <a:cxn ang="0">
                    <a:pos x="23" y="2"/>
                  </a:cxn>
                  <a:cxn ang="0">
                    <a:pos x="17" y="4"/>
                  </a:cxn>
                  <a:cxn ang="0">
                    <a:pos x="14" y="5"/>
                  </a:cxn>
                  <a:cxn ang="0">
                    <a:pos x="13" y="7"/>
                  </a:cxn>
                  <a:cxn ang="0">
                    <a:pos x="13" y="5"/>
                  </a:cxn>
                  <a:cxn ang="0">
                    <a:pos x="16" y="2"/>
                  </a:cxn>
                  <a:cxn ang="0">
                    <a:pos x="14" y="1"/>
                  </a:cxn>
                  <a:cxn ang="0">
                    <a:pos x="13" y="0"/>
                  </a:cxn>
                  <a:cxn ang="0">
                    <a:pos x="10" y="0"/>
                  </a:cxn>
                  <a:cxn ang="0">
                    <a:pos x="10" y="1"/>
                  </a:cxn>
                  <a:cxn ang="0">
                    <a:pos x="9" y="1"/>
                  </a:cxn>
                  <a:cxn ang="0">
                    <a:pos x="9" y="4"/>
                  </a:cxn>
                  <a:cxn ang="0">
                    <a:pos x="9" y="7"/>
                  </a:cxn>
                  <a:cxn ang="0">
                    <a:pos x="9" y="8"/>
                  </a:cxn>
                  <a:cxn ang="0">
                    <a:pos x="7" y="10"/>
                  </a:cxn>
                </a:cxnLst>
                <a:rect l="0" t="0" r="r" b="b"/>
                <a:pathLst>
                  <a:path w="36" h="33">
                    <a:moveTo>
                      <a:pt x="7" y="10"/>
                    </a:moveTo>
                    <a:lnTo>
                      <a:pt x="7" y="13"/>
                    </a:lnTo>
                    <a:lnTo>
                      <a:pt x="6" y="16"/>
                    </a:lnTo>
                    <a:lnTo>
                      <a:pt x="3" y="16"/>
                    </a:lnTo>
                    <a:lnTo>
                      <a:pt x="3" y="18"/>
                    </a:lnTo>
                    <a:lnTo>
                      <a:pt x="0" y="21"/>
                    </a:lnTo>
                    <a:lnTo>
                      <a:pt x="4" y="24"/>
                    </a:lnTo>
                    <a:lnTo>
                      <a:pt x="6" y="29"/>
                    </a:lnTo>
                    <a:lnTo>
                      <a:pt x="9" y="30"/>
                    </a:lnTo>
                    <a:lnTo>
                      <a:pt x="12" y="27"/>
                    </a:lnTo>
                    <a:lnTo>
                      <a:pt x="14" y="24"/>
                    </a:lnTo>
                    <a:lnTo>
                      <a:pt x="22" y="21"/>
                    </a:lnTo>
                    <a:lnTo>
                      <a:pt x="25" y="26"/>
                    </a:lnTo>
                    <a:lnTo>
                      <a:pt x="26" y="32"/>
                    </a:lnTo>
                    <a:lnTo>
                      <a:pt x="26" y="33"/>
                    </a:lnTo>
                    <a:lnTo>
                      <a:pt x="27" y="33"/>
                    </a:lnTo>
                    <a:lnTo>
                      <a:pt x="30" y="30"/>
                    </a:lnTo>
                    <a:lnTo>
                      <a:pt x="30" y="27"/>
                    </a:lnTo>
                    <a:lnTo>
                      <a:pt x="35" y="27"/>
                    </a:lnTo>
                    <a:lnTo>
                      <a:pt x="36" y="26"/>
                    </a:lnTo>
                    <a:lnTo>
                      <a:pt x="33" y="20"/>
                    </a:lnTo>
                    <a:lnTo>
                      <a:pt x="36" y="23"/>
                    </a:lnTo>
                    <a:lnTo>
                      <a:pt x="36" y="20"/>
                    </a:lnTo>
                    <a:lnTo>
                      <a:pt x="35" y="17"/>
                    </a:lnTo>
                    <a:lnTo>
                      <a:pt x="33" y="17"/>
                    </a:lnTo>
                    <a:lnTo>
                      <a:pt x="30" y="17"/>
                    </a:lnTo>
                    <a:lnTo>
                      <a:pt x="32" y="14"/>
                    </a:lnTo>
                    <a:lnTo>
                      <a:pt x="32" y="10"/>
                    </a:lnTo>
                    <a:lnTo>
                      <a:pt x="27" y="4"/>
                    </a:lnTo>
                    <a:lnTo>
                      <a:pt x="23" y="2"/>
                    </a:lnTo>
                    <a:lnTo>
                      <a:pt x="17" y="4"/>
                    </a:lnTo>
                    <a:lnTo>
                      <a:pt x="14" y="5"/>
                    </a:lnTo>
                    <a:lnTo>
                      <a:pt x="13" y="7"/>
                    </a:lnTo>
                    <a:lnTo>
                      <a:pt x="13" y="5"/>
                    </a:lnTo>
                    <a:lnTo>
                      <a:pt x="16" y="2"/>
                    </a:lnTo>
                    <a:lnTo>
                      <a:pt x="14" y="1"/>
                    </a:lnTo>
                    <a:lnTo>
                      <a:pt x="13" y="0"/>
                    </a:lnTo>
                    <a:lnTo>
                      <a:pt x="10" y="0"/>
                    </a:lnTo>
                    <a:lnTo>
                      <a:pt x="10" y="1"/>
                    </a:lnTo>
                    <a:lnTo>
                      <a:pt x="9" y="1"/>
                    </a:lnTo>
                    <a:lnTo>
                      <a:pt x="9" y="4"/>
                    </a:lnTo>
                    <a:lnTo>
                      <a:pt x="9" y="7"/>
                    </a:lnTo>
                    <a:lnTo>
                      <a:pt x="9" y="8"/>
                    </a:lnTo>
                    <a:lnTo>
                      <a:pt x="7" y="1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12" name="Freeform 943"/>
              <p:cNvSpPr>
                <a:spLocks/>
              </p:cNvSpPr>
              <p:nvPr/>
            </p:nvSpPr>
            <p:spPr bwMode="auto">
              <a:xfrm>
                <a:off x="6183926" y="1757484"/>
                <a:ext cx="339709" cy="460416"/>
              </a:xfrm>
              <a:custGeom>
                <a:avLst/>
                <a:gdLst/>
                <a:ahLst/>
                <a:cxnLst>
                  <a:cxn ang="0">
                    <a:pos x="350" y="57"/>
                  </a:cxn>
                  <a:cxn ang="0">
                    <a:pos x="337" y="39"/>
                  </a:cxn>
                  <a:cxn ang="0">
                    <a:pos x="356" y="16"/>
                  </a:cxn>
                  <a:cxn ang="0">
                    <a:pos x="340" y="10"/>
                  </a:cxn>
                  <a:cxn ang="0">
                    <a:pos x="328" y="17"/>
                  </a:cxn>
                  <a:cxn ang="0">
                    <a:pos x="317" y="20"/>
                  </a:cxn>
                  <a:cxn ang="0">
                    <a:pos x="292" y="35"/>
                  </a:cxn>
                  <a:cxn ang="0">
                    <a:pos x="288" y="10"/>
                  </a:cxn>
                  <a:cxn ang="0">
                    <a:pos x="273" y="23"/>
                  </a:cxn>
                  <a:cxn ang="0">
                    <a:pos x="254" y="42"/>
                  </a:cxn>
                  <a:cxn ang="0">
                    <a:pos x="240" y="36"/>
                  </a:cxn>
                  <a:cxn ang="0">
                    <a:pos x="231" y="54"/>
                  </a:cxn>
                  <a:cxn ang="0">
                    <a:pos x="215" y="74"/>
                  </a:cxn>
                  <a:cxn ang="0">
                    <a:pos x="206" y="79"/>
                  </a:cxn>
                  <a:cxn ang="0">
                    <a:pos x="189" y="73"/>
                  </a:cxn>
                  <a:cxn ang="0">
                    <a:pos x="182" y="97"/>
                  </a:cxn>
                  <a:cxn ang="0">
                    <a:pos x="170" y="106"/>
                  </a:cxn>
                  <a:cxn ang="0">
                    <a:pos x="161" y="112"/>
                  </a:cxn>
                  <a:cxn ang="0">
                    <a:pos x="153" y="122"/>
                  </a:cxn>
                  <a:cxn ang="0">
                    <a:pos x="147" y="141"/>
                  </a:cxn>
                  <a:cxn ang="0">
                    <a:pos x="134" y="154"/>
                  </a:cxn>
                  <a:cxn ang="0">
                    <a:pos x="119" y="173"/>
                  </a:cxn>
                  <a:cxn ang="0">
                    <a:pos x="115" y="189"/>
                  </a:cxn>
                  <a:cxn ang="0">
                    <a:pos x="112" y="203"/>
                  </a:cxn>
                  <a:cxn ang="0">
                    <a:pos x="105" y="218"/>
                  </a:cxn>
                  <a:cxn ang="0">
                    <a:pos x="98" y="228"/>
                  </a:cxn>
                  <a:cxn ang="0">
                    <a:pos x="89" y="249"/>
                  </a:cxn>
                  <a:cxn ang="0">
                    <a:pos x="70" y="276"/>
                  </a:cxn>
                  <a:cxn ang="0">
                    <a:pos x="74" y="282"/>
                  </a:cxn>
                  <a:cxn ang="0">
                    <a:pos x="63" y="283"/>
                  </a:cxn>
                  <a:cxn ang="0">
                    <a:pos x="45" y="291"/>
                  </a:cxn>
                  <a:cxn ang="0">
                    <a:pos x="31" y="304"/>
                  </a:cxn>
                  <a:cxn ang="0">
                    <a:pos x="21" y="312"/>
                  </a:cxn>
                  <a:cxn ang="0">
                    <a:pos x="16" y="326"/>
                  </a:cxn>
                  <a:cxn ang="0">
                    <a:pos x="18" y="330"/>
                  </a:cxn>
                  <a:cxn ang="0">
                    <a:pos x="0" y="339"/>
                  </a:cxn>
                  <a:cxn ang="0">
                    <a:pos x="19" y="353"/>
                  </a:cxn>
                  <a:cxn ang="0">
                    <a:pos x="34" y="352"/>
                  </a:cxn>
                  <a:cxn ang="0">
                    <a:pos x="18" y="356"/>
                  </a:cxn>
                  <a:cxn ang="0">
                    <a:pos x="2" y="365"/>
                  </a:cxn>
                  <a:cxn ang="0">
                    <a:pos x="5" y="382"/>
                  </a:cxn>
                  <a:cxn ang="0">
                    <a:pos x="19" y="372"/>
                  </a:cxn>
                  <a:cxn ang="0">
                    <a:pos x="16" y="385"/>
                  </a:cxn>
                  <a:cxn ang="0">
                    <a:pos x="3" y="404"/>
                  </a:cxn>
                  <a:cxn ang="0">
                    <a:pos x="16" y="405"/>
                  </a:cxn>
                  <a:cxn ang="0">
                    <a:pos x="25" y="432"/>
                  </a:cxn>
                  <a:cxn ang="0">
                    <a:pos x="55" y="427"/>
                  </a:cxn>
                  <a:cxn ang="0">
                    <a:pos x="74" y="403"/>
                  </a:cxn>
                  <a:cxn ang="0">
                    <a:pos x="79" y="391"/>
                  </a:cxn>
                  <a:cxn ang="0">
                    <a:pos x="93" y="417"/>
                  </a:cxn>
                  <a:cxn ang="0">
                    <a:pos x="106" y="356"/>
                  </a:cxn>
                  <a:cxn ang="0">
                    <a:pos x="100" y="285"/>
                  </a:cxn>
                  <a:cxn ang="0">
                    <a:pos x="141" y="195"/>
                  </a:cxn>
                  <a:cxn ang="0">
                    <a:pos x="183" y="128"/>
                  </a:cxn>
                  <a:cxn ang="0">
                    <a:pos x="217" y="94"/>
                  </a:cxn>
                  <a:cxn ang="0">
                    <a:pos x="236" y="76"/>
                  </a:cxn>
                  <a:cxn ang="0">
                    <a:pos x="289" y="92"/>
                  </a:cxn>
                  <a:cxn ang="0">
                    <a:pos x="340" y="80"/>
                  </a:cxn>
                  <a:cxn ang="0">
                    <a:pos x="369" y="60"/>
                  </a:cxn>
                </a:cxnLst>
                <a:rect l="0" t="0" r="r" b="b"/>
                <a:pathLst>
                  <a:path w="371" h="442">
                    <a:moveTo>
                      <a:pt x="369" y="57"/>
                    </a:moveTo>
                    <a:lnTo>
                      <a:pt x="363" y="55"/>
                    </a:lnTo>
                    <a:lnTo>
                      <a:pt x="362" y="61"/>
                    </a:lnTo>
                    <a:lnTo>
                      <a:pt x="360" y="61"/>
                    </a:lnTo>
                    <a:lnTo>
                      <a:pt x="360" y="60"/>
                    </a:lnTo>
                    <a:lnTo>
                      <a:pt x="359" y="58"/>
                    </a:lnTo>
                    <a:lnTo>
                      <a:pt x="357" y="57"/>
                    </a:lnTo>
                    <a:lnTo>
                      <a:pt x="357" y="60"/>
                    </a:lnTo>
                    <a:lnTo>
                      <a:pt x="357" y="61"/>
                    </a:lnTo>
                    <a:lnTo>
                      <a:pt x="356" y="58"/>
                    </a:lnTo>
                    <a:lnTo>
                      <a:pt x="353" y="58"/>
                    </a:lnTo>
                    <a:lnTo>
                      <a:pt x="350" y="61"/>
                    </a:lnTo>
                    <a:lnTo>
                      <a:pt x="350" y="57"/>
                    </a:lnTo>
                    <a:lnTo>
                      <a:pt x="353" y="55"/>
                    </a:lnTo>
                    <a:lnTo>
                      <a:pt x="355" y="55"/>
                    </a:lnTo>
                    <a:lnTo>
                      <a:pt x="356" y="54"/>
                    </a:lnTo>
                    <a:lnTo>
                      <a:pt x="355" y="52"/>
                    </a:lnTo>
                    <a:lnTo>
                      <a:pt x="353" y="51"/>
                    </a:lnTo>
                    <a:lnTo>
                      <a:pt x="349" y="51"/>
                    </a:lnTo>
                    <a:lnTo>
                      <a:pt x="349" y="49"/>
                    </a:lnTo>
                    <a:lnTo>
                      <a:pt x="347" y="48"/>
                    </a:lnTo>
                    <a:lnTo>
                      <a:pt x="344" y="47"/>
                    </a:lnTo>
                    <a:lnTo>
                      <a:pt x="342" y="44"/>
                    </a:lnTo>
                    <a:lnTo>
                      <a:pt x="339" y="42"/>
                    </a:lnTo>
                    <a:lnTo>
                      <a:pt x="337" y="41"/>
                    </a:lnTo>
                    <a:lnTo>
                      <a:pt x="337" y="39"/>
                    </a:lnTo>
                    <a:lnTo>
                      <a:pt x="337" y="39"/>
                    </a:lnTo>
                    <a:lnTo>
                      <a:pt x="356" y="44"/>
                    </a:lnTo>
                    <a:lnTo>
                      <a:pt x="366" y="36"/>
                    </a:lnTo>
                    <a:lnTo>
                      <a:pt x="369" y="35"/>
                    </a:lnTo>
                    <a:lnTo>
                      <a:pt x="371" y="32"/>
                    </a:lnTo>
                    <a:lnTo>
                      <a:pt x="371" y="29"/>
                    </a:lnTo>
                    <a:lnTo>
                      <a:pt x="368" y="28"/>
                    </a:lnTo>
                    <a:lnTo>
                      <a:pt x="365" y="23"/>
                    </a:lnTo>
                    <a:lnTo>
                      <a:pt x="360" y="23"/>
                    </a:lnTo>
                    <a:lnTo>
                      <a:pt x="359" y="23"/>
                    </a:lnTo>
                    <a:lnTo>
                      <a:pt x="360" y="22"/>
                    </a:lnTo>
                    <a:lnTo>
                      <a:pt x="357" y="19"/>
                    </a:lnTo>
                    <a:lnTo>
                      <a:pt x="356" y="16"/>
                    </a:lnTo>
                    <a:lnTo>
                      <a:pt x="355" y="19"/>
                    </a:lnTo>
                    <a:lnTo>
                      <a:pt x="352" y="19"/>
                    </a:lnTo>
                    <a:lnTo>
                      <a:pt x="352" y="17"/>
                    </a:lnTo>
                    <a:lnTo>
                      <a:pt x="352" y="16"/>
                    </a:lnTo>
                    <a:lnTo>
                      <a:pt x="347" y="19"/>
                    </a:lnTo>
                    <a:lnTo>
                      <a:pt x="346" y="17"/>
                    </a:lnTo>
                    <a:lnTo>
                      <a:pt x="346" y="16"/>
                    </a:lnTo>
                    <a:lnTo>
                      <a:pt x="346" y="16"/>
                    </a:lnTo>
                    <a:lnTo>
                      <a:pt x="346" y="13"/>
                    </a:lnTo>
                    <a:lnTo>
                      <a:pt x="344" y="12"/>
                    </a:lnTo>
                    <a:lnTo>
                      <a:pt x="344" y="10"/>
                    </a:lnTo>
                    <a:lnTo>
                      <a:pt x="342" y="12"/>
                    </a:lnTo>
                    <a:lnTo>
                      <a:pt x="340" y="10"/>
                    </a:lnTo>
                    <a:lnTo>
                      <a:pt x="339" y="10"/>
                    </a:lnTo>
                    <a:lnTo>
                      <a:pt x="336" y="15"/>
                    </a:lnTo>
                    <a:lnTo>
                      <a:pt x="336" y="28"/>
                    </a:lnTo>
                    <a:lnTo>
                      <a:pt x="333" y="29"/>
                    </a:lnTo>
                    <a:lnTo>
                      <a:pt x="330" y="26"/>
                    </a:lnTo>
                    <a:lnTo>
                      <a:pt x="327" y="28"/>
                    </a:lnTo>
                    <a:lnTo>
                      <a:pt x="327" y="26"/>
                    </a:lnTo>
                    <a:lnTo>
                      <a:pt x="330" y="23"/>
                    </a:lnTo>
                    <a:lnTo>
                      <a:pt x="331" y="20"/>
                    </a:lnTo>
                    <a:lnTo>
                      <a:pt x="331" y="17"/>
                    </a:lnTo>
                    <a:lnTo>
                      <a:pt x="327" y="20"/>
                    </a:lnTo>
                    <a:lnTo>
                      <a:pt x="324" y="20"/>
                    </a:lnTo>
                    <a:lnTo>
                      <a:pt x="328" y="17"/>
                    </a:lnTo>
                    <a:lnTo>
                      <a:pt x="326" y="15"/>
                    </a:lnTo>
                    <a:lnTo>
                      <a:pt x="327" y="12"/>
                    </a:lnTo>
                    <a:lnTo>
                      <a:pt x="331" y="13"/>
                    </a:lnTo>
                    <a:lnTo>
                      <a:pt x="334" y="9"/>
                    </a:lnTo>
                    <a:lnTo>
                      <a:pt x="334" y="4"/>
                    </a:lnTo>
                    <a:lnTo>
                      <a:pt x="331" y="4"/>
                    </a:lnTo>
                    <a:lnTo>
                      <a:pt x="331" y="3"/>
                    </a:lnTo>
                    <a:lnTo>
                      <a:pt x="330" y="1"/>
                    </a:lnTo>
                    <a:lnTo>
                      <a:pt x="328" y="1"/>
                    </a:lnTo>
                    <a:lnTo>
                      <a:pt x="324" y="3"/>
                    </a:lnTo>
                    <a:lnTo>
                      <a:pt x="321" y="0"/>
                    </a:lnTo>
                    <a:lnTo>
                      <a:pt x="317" y="17"/>
                    </a:lnTo>
                    <a:lnTo>
                      <a:pt x="317" y="20"/>
                    </a:lnTo>
                    <a:lnTo>
                      <a:pt x="315" y="20"/>
                    </a:lnTo>
                    <a:lnTo>
                      <a:pt x="314" y="23"/>
                    </a:lnTo>
                    <a:lnTo>
                      <a:pt x="314" y="28"/>
                    </a:lnTo>
                    <a:lnTo>
                      <a:pt x="311" y="28"/>
                    </a:lnTo>
                    <a:lnTo>
                      <a:pt x="307" y="31"/>
                    </a:lnTo>
                    <a:lnTo>
                      <a:pt x="310" y="22"/>
                    </a:lnTo>
                    <a:lnTo>
                      <a:pt x="307" y="19"/>
                    </a:lnTo>
                    <a:lnTo>
                      <a:pt x="308" y="16"/>
                    </a:lnTo>
                    <a:lnTo>
                      <a:pt x="308" y="7"/>
                    </a:lnTo>
                    <a:lnTo>
                      <a:pt x="307" y="7"/>
                    </a:lnTo>
                    <a:lnTo>
                      <a:pt x="305" y="9"/>
                    </a:lnTo>
                    <a:lnTo>
                      <a:pt x="289" y="36"/>
                    </a:lnTo>
                    <a:lnTo>
                      <a:pt x="292" y="35"/>
                    </a:lnTo>
                    <a:lnTo>
                      <a:pt x="286" y="44"/>
                    </a:lnTo>
                    <a:lnTo>
                      <a:pt x="283" y="45"/>
                    </a:lnTo>
                    <a:lnTo>
                      <a:pt x="283" y="38"/>
                    </a:lnTo>
                    <a:lnTo>
                      <a:pt x="285" y="36"/>
                    </a:lnTo>
                    <a:lnTo>
                      <a:pt x="286" y="35"/>
                    </a:lnTo>
                    <a:lnTo>
                      <a:pt x="286" y="33"/>
                    </a:lnTo>
                    <a:lnTo>
                      <a:pt x="288" y="29"/>
                    </a:lnTo>
                    <a:lnTo>
                      <a:pt x="288" y="28"/>
                    </a:lnTo>
                    <a:lnTo>
                      <a:pt x="296" y="12"/>
                    </a:lnTo>
                    <a:lnTo>
                      <a:pt x="294" y="10"/>
                    </a:lnTo>
                    <a:lnTo>
                      <a:pt x="291" y="13"/>
                    </a:lnTo>
                    <a:lnTo>
                      <a:pt x="288" y="13"/>
                    </a:lnTo>
                    <a:lnTo>
                      <a:pt x="288" y="10"/>
                    </a:lnTo>
                    <a:lnTo>
                      <a:pt x="286" y="9"/>
                    </a:lnTo>
                    <a:lnTo>
                      <a:pt x="285" y="7"/>
                    </a:lnTo>
                    <a:lnTo>
                      <a:pt x="285" y="6"/>
                    </a:lnTo>
                    <a:lnTo>
                      <a:pt x="282" y="9"/>
                    </a:lnTo>
                    <a:lnTo>
                      <a:pt x="282" y="7"/>
                    </a:lnTo>
                    <a:lnTo>
                      <a:pt x="279" y="7"/>
                    </a:lnTo>
                    <a:lnTo>
                      <a:pt x="279" y="13"/>
                    </a:lnTo>
                    <a:lnTo>
                      <a:pt x="275" y="12"/>
                    </a:lnTo>
                    <a:lnTo>
                      <a:pt x="276" y="16"/>
                    </a:lnTo>
                    <a:lnTo>
                      <a:pt x="279" y="17"/>
                    </a:lnTo>
                    <a:lnTo>
                      <a:pt x="279" y="19"/>
                    </a:lnTo>
                    <a:lnTo>
                      <a:pt x="276" y="20"/>
                    </a:lnTo>
                    <a:lnTo>
                      <a:pt x="273" y="23"/>
                    </a:lnTo>
                    <a:lnTo>
                      <a:pt x="275" y="28"/>
                    </a:lnTo>
                    <a:lnTo>
                      <a:pt x="269" y="28"/>
                    </a:lnTo>
                    <a:lnTo>
                      <a:pt x="265" y="31"/>
                    </a:lnTo>
                    <a:lnTo>
                      <a:pt x="265" y="33"/>
                    </a:lnTo>
                    <a:lnTo>
                      <a:pt x="260" y="38"/>
                    </a:lnTo>
                    <a:lnTo>
                      <a:pt x="260" y="39"/>
                    </a:lnTo>
                    <a:lnTo>
                      <a:pt x="260" y="41"/>
                    </a:lnTo>
                    <a:lnTo>
                      <a:pt x="260" y="48"/>
                    </a:lnTo>
                    <a:lnTo>
                      <a:pt x="257" y="48"/>
                    </a:lnTo>
                    <a:lnTo>
                      <a:pt x="256" y="47"/>
                    </a:lnTo>
                    <a:lnTo>
                      <a:pt x="256" y="44"/>
                    </a:lnTo>
                    <a:lnTo>
                      <a:pt x="257" y="44"/>
                    </a:lnTo>
                    <a:lnTo>
                      <a:pt x="254" y="42"/>
                    </a:lnTo>
                    <a:lnTo>
                      <a:pt x="256" y="39"/>
                    </a:lnTo>
                    <a:lnTo>
                      <a:pt x="256" y="39"/>
                    </a:lnTo>
                    <a:lnTo>
                      <a:pt x="249" y="38"/>
                    </a:lnTo>
                    <a:lnTo>
                      <a:pt x="249" y="41"/>
                    </a:lnTo>
                    <a:lnTo>
                      <a:pt x="247" y="42"/>
                    </a:lnTo>
                    <a:lnTo>
                      <a:pt x="246" y="41"/>
                    </a:lnTo>
                    <a:lnTo>
                      <a:pt x="246" y="39"/>
                    </a:lnTo>
                    <a:lnTo>
                      <a:pt x="244" y="36"/>
                    </a:lnTo>
                    <a:lnTo>
                      <a:pt x="244" y="38"/>
                    </a:lnTo>
                    <a:lnTo>
                      <a:pt x="243" y="35"/>
                    </a:lnTo>
                    <a:lnTo>
                      <a:pt x="241" y="36"/>
                    </a:lnTo>
                    <a:lnTo>
                      <a:pt x="241" y="35"/>
                    </a:lnTo>
                    <a:lnTo>
                      <a:pt x="240" y="36"/>
                    </a:lnTo>
                    <a:lnTo>
                      <a:pt x="240" y="41"/>
                    </a:lnTo>
                    <a:lnTo>
                      <a:pt x="237" y="35"/>
                    </a:lnTo>
                    <a:lnTo>
                      <a:pt x="236" y="35"/>
                    </a:lnTo>
                    <a:lnTo>
                      <a:pt x="236" y="41"/>
                    </a:lnTo>
                    <a:lnTo>
                      <a:pt x="240" y="44"/>
                    </a:lnTo>
                    <a:lnTo>
                      <a:pt x="241" y="44"/>
                    </a:lnTo>
                    <a:lnTo>
                      <a:pt x="241" y="52"/>
                    </a:lnTo>
                    <a:lnTo>
                      <a:pt x="243" y="55"/>
                    </a:lnTo>
                    <a:lnTo>
                      <a:pt x="243" y="58"/>
                    </a:lnTo>
                    <a:lnTo>
                      <a:pt x="233" y="45"/>
                    </a:lnTo>
                    <a:lnTo>
                      <a:pt x="233" y="51"/>
                    </a:lnTo>
                    <a:lnTo>
                      <a:pt x="231" y="51"/>
                    </a:lnTo>
                    <a:lnTo>
                      <a:pt x="231" y="54"/>
                    </a:lnTo>
                    <a:lnTo>
                      <a:pt x="230" y="54"/>
                    </a:lnTo>
                    <a:lnTo>
                      <a:pt x="228" y="55"/>
                    </a:lnTo>
                    <a:lnTo>
                      <a:pt x="227" y="54"/>
                    </a:lnTo>
                    <a:lnTo>
                      <a:pt x="227" y="52"/>
                    </a:lnTo>
                    <a:lnTo>
                      <a:pt x="228" y="49"/>
                    </a:lnTo>
                    <a:lnTo>
                      <a:pt x="227" y="51"/>
                    </a:lnTo>
                    <a:lnTo>
                      <a:pt x="224" y="54"/>
                    </a:lnTo>
                    <a:lnTo>
                      <a:pt x="224" y="57"/>
                    </a:lnTo>
                    <a:lnTo>
                      <a:pt x="222" y="57"/>
                    </a:lnTo>
                    <a:lnTo>
                      <a:pt x="222" y="63"/>
                    </a:lnTo>
                    <a:lnTo>
                      <a:pt x="220" y="67"/>
                    </a:lnTo>
                    <a:lnTo>
                      <a:pt x="217" y="71"/>
                    </a:lnTo>
                    <a:lnTo>
                      <a:pt x="215" y="74"/>
                    </a:lnTo>
                    <a:lnTo>
                      <a:pt x="218" y="68"/>
                    </a:lnTo>
                    <a:lnTo>
                      <a:pt x="218" y="49"/>
                    </a:lnTo>
                    <a:lnTo>
                      <a:pt x="215" y="51"/>
                    </a:lnTo>
                    <a:lnTo>
                      <a:pt x="211" y="58"/>
                    </a:lnTo>
                    <a:lnTo>
                      <a:pt x="209" y="70"/>
                    </a:lnTo>
                    <a:lnTo>
                      <a:pt x="209" y="55"/>
                    </a:lnTo>
                    <a:lnTo>
                      <a:pt x="202" y="57"/>
                    </a:lnTo>
                    <a:lnTo>
                      <a:pt x="199" y="61"/>
                    </a:lnTo>
                    <a:lnTo>
                      <a:pt x="201" y="68"/>
                    </a:lnTo>
                    <a:lnTo>
                      <a:pt x="202" y="71"/>
                    </a:lnTo>
                    <a:lnTo>
                      <a:pt x="205" y="73"/>
                    </a:lnTo>
                    <a:lnTo>
                      <a:pt x="206" y="76"/>
                    </a:lnTo>
                    <a:lnTo>
                      <a:pt x="206" y="79"/>
                    </a:lnTo>
                    <a:lnTo>
                      <a:pt x="205" y="79"/>
                    </a:lnTo>
                    <a:lnTo>
                      <a:pt x="202" y="74"/>
                    </a:lnTo>
                    <a:lnTo>
                      <a:pt x="199" y="73"/>
                    </a:lnTo>
                    <a:lnTo>
                      <a:pt x="195" y="65"/>
                    </a:lnTo>
                    <a:lnTo>
                      <a:pt x="192" y="67"/>
                    </a:lnTo>
                    <a:lnTo>
                      <a:pt x="193" y="71"/>
                    </a:lnTo>
                    <a:lnTo>
                      <a:pt x="198" y="74"/>
                    </a:lnTo>
                    <a:lnTo>
                      <a:pt x="195" y="77"/>
                    </a:lnTo>
                    <a:lnTo>
                      <a:pt x="193" y="74"/>
                    </a:lnTo>
                    <a:lnTo>
                      <a:pt x="192" y="76"/>
                    </a:lnTo>
                    <a:lnTo>
                      <a:pt x="191" y="73"/>
                    </a:lnTo>
                    <a:lnTo>
                      <a:pt x="189" y="74"/>
                    </a:lnTo>
                    <a:lnTo>
                      <a:pt x="189" y="73"/>
                    </a:lnTo>
                    <a:lnTo>
                      <a:pt x="191" y="70"/>
                    </a:lnTo>
                    <a:lnTo>
                      <a:pt x="189" y="68"/>
                    </a:lnTo>
                    <a:lnTo>
                      <a:pt x="186" y="76"/>
                    </a:lnTo>
                    <a:lnTo>
                      <a:pt x="186" y="77"/>
                    </a:lnTo>
                    <a:lnTo>
                      <a:pt x="188" y="80"/>
                    </a:lnTo>
                    <a:lnTo>
                      <a:pt x="180" y="84"/>
                    </a:lnTo>
                    <a:lnTo>
                      <a:pt x="179" y="89"/>
                    </a:lnTo>
                    <a:lnTo>
                      <a:pt x="179" y="92"/>
                    </a:lnTo>
                    <a:lnTo>
                      <a:pt x="182" y="90"/>
                    </a:lnTo>
                    <a:lnTo>
                      <a:pt x="183" y="93"/>
                    </a:lnTo>
                    <a:lnTo>
                      <a:pt x="180" y="93"/>
                    </a:lnTo>
                    <a:lnTo>
                      <a:pt x="182" y="94"/>
                    </a:lnTo>
                    <a:lnTo>
                      <a:pt x="182" y="97"/>
                    </a:lnTo>
                    <a:lnTo>
                      <a:pt x="177" y="96"/>
                    </a:lnTo>
                    <a:lnTo>
                      <a:pt x="176" y="96"/>
                    </a:lnTo>
                    <a:lnTo>
                      <a:pt x="179" y="99"/>
                    </a:lnTo>
                    <a:lnTo>
                      <a:pt x="177" y="100"/>
                    </a:lnTo>
                    <a:lnTo>
                      <a:pt x="175" y="99"/>
                    </a:lnTo>
                    <a:lnTo>
                      <a:pt x="173" y="100"/>
                    </a:lnTo>
                    <a:lnTo>
                      <a:pt x="172" y="100"/>
                    </a:lnTo>
                    <a:lnTo>
                      <a:pt x="167" y="102"/>
                    </a:lnTo>
                    <a:lnTo>
                      <a:pt x="166" y="103"/>
                    </a:lnTo>
                    <a:lnTo>
                      <a:pt x="164" y="105"/>
                    </a:lnTo>
                    <a:lnTo>
                      <a:pt x="164" y="106"/>
                    </a:lnTo>
                    <a:lnTo>
                      <a:pt x="167" y="108"/>
                    </a:lnTo>
                    <a:lnTo>
                      <a:pt x="170" y="106"/>
                    </a:lnTo>
                    <a:lnTo>
                      <a:pt x="172" y="105"/>
                    </a:lnTo>
                    <a:lnTo>
                      <a:pt x="175" y="108"/>
                    </a:lnTo>
                    <a:lnTo>
                      <a:pt x="177" y="106"/>
                    </a:lnTo>
                    <a:lnTo>
                      <a:pt x="179" y="106"/>
                    </a:lnTo>
                    <a:lnTo>
                      <a:pt x="180" y="109"/>
                    </a:lnTo>
                    <a:lnTo>
                      <a:pt x="177" y="109"/>
                    </a:lnTo>
                    <a:lnTo>
                      <a:pt x="176" y="110"/>
                    </a:lnTo>
                    <a:lnTo>
                      <a:pt x="176" y="113"/>
                    </a:lnTo>
                    <a:lnTo>
                      <a:pt x="172" y="112"/>
                    </a:lnTo>
                    <a:lnTo>
                      <a:pt x="169" y="112"/>
                    </a:lnTo>
                    <a:lnTo>
                      <a:pt x="169" y="110"/>
                    </a:lnTo>
                    <a:lnTo>
                      <a:pt x="164" y="109"/>
                    </a:lnTo>
                    <a:lnTo>
                      <a:pt x="161" y="112"/>
                    </a:lnTo>
                    <a:lnTo>
                      <a:pt x="160" y="113"/>
                    </a:lnTo>
                    <a:lnTo>
                      <a:pt x="163" y="118"/>
                    </a:lnTo>
                    <a:lnTo>
                      <a:pt x="163" y="121"/>
                    </a:lnTo>
                    <a:lnTo>
                      <a:pt x="161" y="119"/>
                    </a:lnTo>
                    <a:lnTo>
                      <a:pt x="163" y="124"/>
                    </a:lnTo>
                    <a:lnTo>
                      <a:pt x="163" y="126"/>
                    </a:lnTo>
                    <a:lnTo>
                      <a:pt x="161" y="125"/>
                    </a:lnTo>
                    <a:lnTo>
                      <a:pt x="161" y="128"/>
                    </a:lnTo>
                    <a:lnTo>
                      <a:pt x="159" y="129"/>
                    </a:lnTo>
                    <a:lnTo>
                      <a:pt x="157" y="119"/>
                    </a:lnTo>
                    <a:lnTo>
                      <a:pt x="156" y="119"/>
                    </a:lnTo>
                    <a:lnTo>
                      <a:pt x="154" y="124"/>
                    </a:lnTo>
                    <a:lnTo>
                      <a:pt x="153" y="122"/>
                    </a:lnTo>
                    <a:lnTo>
                      <a:pt x="151" y="124"/>
                    </a:lnTo>
                    <a:lnTo>
                      <a:pt x="154" y="125"/>
                    </a:lnTo>
                    <a:lnTo>
                      <a:pt x="154" y="125"/>
                    </a:lnTo>
                    <a:lnTo>
                      <a:pt x="151" y="126"/>
                    </a:lnTo>
                    <a:lnTo>
                      <a:pt x="150" y="128"/>
                    </a:lnTo>
                    <a:lnTo>
                      <a:pt x="150" y="129"/>
                    </a:lnTo>
                    <a:lnTo>
                      <a:pt x="150" y="132"/>
                    </a:lnTo>
                    <a:lnTo>
                      <a:pt x="151" y="134"/>
                    </a:lnTo>
                    <a:lnTo>
                      <a:pt x="150" y="135"/>
                    </a:lnTo>
                    <a:lnTo>
                      <a:pt x="151" y="137"/>
                    </a:lnTo>
                    <a:lnTo>
                      <a:pt x="150" y="137"/>
                    </a:lnTo>
                    <a:lnTo>
                      <a:pt x="148" y="140"/>
                    </a:lnTo>
                    <a:lnTo>
                      <a:pt x="147" y="141"/>
                    </a:lnTo>
                    <a:lnTo>
                      <a:pt x="145" y="141"/>
                    </a:lnTo>
                    <a:lnTo>
                      <a:pt x="147" y="142"/>
                    </a:lnTo>
                    <a:lnTo>
                      <a:pt x="148" y="142"/>
                    </a:lnTo>
                    <a:lnTo>
                      <a:pt x="154" y="141"/>
                    </a:lnTo>
                    <a:lnTo>
                      <a:pt x="148" y="145"/>
                    </a:lnTo>
                    <a:lnTo>
                      <a:pt x="144" y="145"/>
                    </a:lnTo>
                    <a:lnTo>
                      <a:pt x="143" y="144"/>
                    </a:lnTo>
                    <a:lnTo>
                      <a:pt x="143" y="142"/>
                    </a:lnTo>
                    <a:lnTo>
                      <a:pt x="141" y="142"/>
                    </a:lnTo>
                    <a:lnTo>
                      <a:pt x="138" y="145"/>
                    </a:lnTo>
                    <a:lnTo>
                      <a:pt x="137" y="150"/>
                    </a:lnTo>
                    <a:lnTo>
                      <a:pt x="134" y="151"/>
                    </a:lnTo>
                    <a:lnTo>
                      <a:pt x="134" y="154"/>
                    </a:lnTo>
                    <a:lnTo>
                      <a:pt x="135" y="154"/>
                    </a:lnTo>
                    <a:lnTo>
                      <a:pt x="135" y="157"/>
                    </a:lnTo>
                    <a:lnTo>
                      <a:pt x="132" y="158"/>
                    </a:lnTo>
                    <a:lnTo>
                      <a:pt x="131" y="163"/>
                    </a:lnTo>
                    <a:lnTo>
                      <a:pt x="130" y="163"/>
                    </a:lnTo>
                    <a:lnTo>
                      <a:pt x="128" y="163"/>
                    </a:lnTo>
                    <a:lnTo>
                      <a:pt x="127" y="163"/>
                    </a:lnTo>
                    <a:lnTo>
                      <a:pt x="124" y="166"/>
                    </a:lnTo>
                    <a:lnTo>
                      <a:pt x="125" y="169"/>
                    </a:lnTo>
                    <a:lnTo>
                      <a:pt x="125" y="170"/>
                    </a:lnTo>
                    <a:lnTo>
                      <a:pt x="122" y="170"/>
                    </a:lnTo>
                    <a:lnTo>
                      <a:pt x="122" y="173"/>
                    </a:lnTo>
                    <a:lnTo>
                      <a:pt x="119" y="173"/>
                    </a:lnTo>
                    <a:lnTo>
                      <a:pt x="119" y="174"/>
                    </a:lnTo>
                    <a:lnTo>
                      <a:pt x="118" y="176"/>
                    </a:lnTo>
                    <a:lnTo>
                      <a:pt x="118" y="179"/>
                    </a:lnTo>
                    <a:lnTo>
                      <a:pt x="121" y="179"/>
                    </a:lnTo>
                    <a:lnTo>
                      <a:pt x="121" y="180"/>
                    </a:lnTo>
                    <a:lnTo>
                      <a:pt x="118" y="182"/>
                    </a:lnTo>
                    <a:lnTo>
                      <a:pt x="116" y="180"/>
                    </a:lnTo>
                    <a:lnTo>
                      <a:pt x="116" y="185"/>
                    </a:lnTo>
                    <a:lnTo>
                      <a:pt x="118" y="187"/>
                    </a:lnTo>
                    <a:lnTo>
                      <a:pt x="119" y="185"/>
                    </a:lnTo>
                    <a:lnTo>
                      <a:pt x="121" y="186"/>
                    </a:lnTo>
                    <a:lnTo>
                      <a:pt x="121" y="189"/>
                    </a:lnTo>
                    <a:lnTo>
                      <a:pt x="115" y="189"/>
                    </a:lnTo>
                    <a:lnTo>
                      <a:pt x="114" y="190"/>
                    </a:lnTo>
                    <a:lnTo>
                      <a:pt x="114" y="195"/>
                    </a:lnTo>
                    <a:lnTo>
                      <a:pt x="111" y="196"/>
                    </a:lnTo>
                    <a:lnTo>
                      <a:pt x="109" y="196"/>
                    </a:lnTo>
                    <a:lnTo>
                      <a:pt x="108" y="201"/>
                    </a:lnTo>
                    <a:lnTo>
                      <a:pt x="109" y="201"/>
                    </a:lnTo>
                    <a:lnTo>
                      <a:pt x="112" y="198"/>
                    </a:lnTo>
                    <a:lnTo>
                      <a:pt x="115" y="196"/>
                    </a:lnTo>
                    <a:lnTo>
                      <a:pt x="115" y="199"/>
                    </a:lnTo>
                    <a:lnTo>
                      <a:pt x="116" y="202"/>
                    </a:lnTo>
                    <a:lnTo>
                      <a:pt x="111" y="201"/>
                    </a:lnTo>
                    <a:lnTo>
                      <a:pt x="111" y="203"/>
                    </a:lnTo>
                    <a:lnTo>
                      <a:pt x="112" y="203"/>
                    </a:lnTo>
                    <a:lnTo>
                      <a:pt x="111" y="205"/>
                    </a:lnTo>
                    <a:lnTo>
                      <a:pt x="109" y="206"/>
                    </a:lnTo>
                    <a:lnTo>
                      <a:pt x="111" y="209"/>
                    </a:lnTo>
                    <a:lnTo>
                      <a:pt x="109" y="209"/>
                    </a:lnTo>
                    <a:lnTo>
                      <a:pt x="108" y="209"/>
                    </a:lnTo>
                    <a:lnTo>
                      <a:pt x="106" y="211"/>
                    </a:lnTo>
                    <a:lnTo>
                      <a:pt x="108" y="214"/>
                    </a:lnTo>
                    <a:lnTo>
                      <a:pt x="109" y="215"/>
                    </a:lnTo>
                    <a:lnTo>
                      <a:pt x="109" y="219"/>
                    </a:lnTo>
                    <a:lnTo>
                      <a:pt x="108" y="218"/>
                    </a:lnTo>
                    <a:lnTo>
                      <a:pt x="106" y="217"/>
                    </a:lnTo>
                    <a:lnTo>
                      <a:pt x="105" y="214"/>
                    </a:lnTo>
                    <a:lnTo>
                      <a:pt x="105" y="218"/>
                    </a:lnTo>
                    <a:lnTo>
                      <a:pt x="103" y="219"/>
                    </a:lnTo>
                    <a:lnTo>
                      <a:pt x="102" y="219"/>
                    </a:lnTo>
                    <a:lnTo>
                      <a:pt x="100" y="222"/>
                    </a:lnTo>
                    <a:lnTo>
                      <a:pt x="102" y="224"/>
                    </a:lnTo>
                    <a:lnTo>
                      <a:pt x="103" y="222"/>
                    </a:lnTo>
                    <a:lnTo>
                      <a:pt x="105" y="221"/>
                    </a:lnTo>
                    <a:lnTo>
                      <a:pt x="105" y="221"/>
                    </a:lnTo>
                    <a:lnTo>
                      <a:pt x="105" y="224"/>
                    </a:lnTo>
                    <a:lnTo>
                      <a:pt x="106" y="227"/>
                    </a:lnTo>
                    <a:lnTo>
                      <a:pt x="103" y="228"/>
                    </a:lnTo>
                    <a:lnTo>
                      <a:pt x="100" y="227"/>
                    </a:lnTo>
                    <a:lnTo>
                      <a:pt x="99" y="228"/>
                    </a:lnTo>
                    <a:lnTo>
                      <a:pt x="98" y="228"/>
                    </a:lnTo>
                    <a:lnTo>
                      <a:pt x="96" y="230"/>
                    </a:lnTo>
                    <a:lnTo>
                      <a:pt x="96" y="233"/>
                    </a:lnTo>
                    <a:lnTo>
                      <a:pt x="93" y="234"/>
                    </a:lnTo>
                    <a:lnTo>
                      <a:pt x="92" y="235"/>
                    </a:lnTo>
                    <a:lnTo>
                      <a:pt x="90" y="240"/>
                    </a:lnTo>
                    <a:lnTo>
                      <a:pt x="93" y="240"/>
                    </a:lnTo>
                    <a:lnTo>
                      <a:pt x="96" y="238"/>
                    </a:lnTo>
                    <a:lnTo>
                      <a:pt x="96" y="238"/>
                    </a:lnTo>
                    <a:lnTo>
                      <a:pt x="92" y="241"/>
                    </a:lnTo>
                    <a:lnTo>
                      <a:pt x="92" y="244"/>
                    </a:lnTo>
                    <a:lnTo>
                      <a:pt x="93" y="246"/>
                    </a:lnTo>
                    <a:lnTo>
                      <a:pt x="92" y="249"/>
                    </a:lnTo>
                    <a:lnTo>
                      <a:pt x="89" y="249"/>
                    </a:lnTo>
                    <a:lnTo>
                      <a:pt x="86" y="246"/>
                    </a:lnTo>
                    <a:lnTo>
                      <a:pt x="85" y="246"/>
                    </a:lnTo>
                    <a:lnTo>
                      <a:pt x="83" y="250"/>
                    </a:lnTo>
                    <a:lnTo>
                      <a:pt x="80" y="251"/>
                    </a:lnTo>
                    <a:lnTo>
                      <a:pt x="79" y="253"/>
                    </a:lnTo>
                    <a:lnTo>
                      <a:pt x="73" y="263"/>
                    </a:lnTo>
                    <a:lnTo>
                      <a:pt x="73" y="266"/>
                    </a:lnTo>
                    <a:lnTo>
                      <a:pt x="73" y="266"/>
                    </a:lnTo>
                    <a:lnTo>
                      <a:pt x="67" y="270"/>
                    </a:lnTo>
                    <a:lnTo>
                      <a:pt x="67" y="272"/>
                    </a:lnTo>
                    <a:lnTo>
                      <a:pt x="69" y="273"/>
                    </a:lnTo>
                    <a:lnTo>
                      <a:pt x="71" y="272"/>
                    </a:lnTo>
                    <a:lnTo>
                      <a:pt x="70" y="276"/>
                    </a:lnTo>
                    <a:lnTo>
                      <a:pt x="73" y="279"/>
                    </a:lnTo>
                    <a:lnTo>
                      <a:pt x="74" y="280"/>
                    </a:lnTo>
                    <a:lnTo>
                      <a:pt x="89" y="270"/>
                    </a:lnTo>
                    <a:lnTo>
                      <a:pt x="90" y="269"/>
                    </a:lnTo>
                    <a:lnTo>
                      <a:pt x="92" y="270"/>
                    </a:lnTo>
                    <a:lnTo>
                      <a:pt x="90" y="272"/>
                    </a:lnTo>
                    <a:lnTo>
                      <a:pt x="87" y="273"/>
                    </a:lnTo>
                    <a:lnTo>
                      <a:pt x="86" y="273"/>
                    </a:lnTo>
                    <a:lnTo>
                      <a:pt x="80" y="278"/>
                    </a:lnTo>
                    <a:lnTo>
                      <a:pt x="82" y="279"/>
                    </a:lnTo>
                    <a:lnTo>
                      <a:pt x="82" y="280"/>
                    </a:lnTo>
                    <a:lnTo>
                      <a:pt x="77" y="282"/>
                    </a:lnTo>
                    <a:lnTo>
                      <a:pt x="74" y="282"/>
                    </a:lnTo>
                    <a:lnTo>
                      <a:pt x="74" y="283"/>
                    </a:lnTo>
                    <a:lnTo>
                      <a:pt x="74" y="285"/>
                    </a:lnTo>
                    <a:lnTo>
                      <a:pt x="73" y="285"/>
                    </a:lnTo>
                    <a:lnTo>
                      <a:pt x="71" y="285"/>
                    </a:lnTo>
                    <a:lnTo>
                      <a:pt x="71" y="282"/>
                    </a:lnTo>
                    <a:lnTo>
                      <a:pt x="69" y="279"/>
                    </a:lnTo>
                    <a:lnTo>
                      <a:pt x="67" y="278"/>
                    </a:lnTo>
                    <a:lnTo>
                      <a:pt x="66" y="278"/>
                    </a:lnTo>
                    <a:lnTo>
                      <a:pt x="66" y="279"/>
                    </a:lnTo>
                    <a:lnTo>
                      <a:pt x="64" y="279"/>
                    </a:lnTo>
                    <a:lnTo>
                      <a:pt x="61" y="280"/>
                    </a:lnTo>
                    <a:lnTo>
                      <a:pt x="61" y="282"/>
                    </a:lnTo>
                    <a:lnTo>
                      <a:pt x="63" y="283"/>
                    </a:lnTo>
                    <a:lnTo>
                      <a:pt x="64" y="285"/>
                    </a:lnTo>
                    <a:lnTo>
                      <a:pt x="60" y="286"/>
                    </a:lnTo>
                    <a:lnTo>
                      <a:pt x="60" y="285"/>
                    </a:lnTo>
                    <a:lnTo>
                      <a:pt x="60" y="283"/>
                    </a:lnTo>
                    <a:lnTo>
                      <a:pt x="58" y="280"/>
                    </a:lnTo>
                    <a:lnTo>
                      <a:pt x="53" y="283"/>
                    </a:lnTo>
                    <a:lnTo>
                      <a:pt x="51" y="285"/>
                    </a:lnTo>
                    <a:lnTo>
                      <a:pt x="50" y="288"/>
                    </a:lnTo>
                    <a:lnTo>
                      <a:pt x="48" y="288"/>
                    </a:lnTo>
                    <a:lnTo>
                      <a:pt x="48" y="291"/>
                    </a:lnTo>
                    <a:lnTo>
                      <a:pt x="48" y="291"/>
                    </a:lnTo>
                    <a:lnTo>
                      <a:pt x="45" y="291"/>
                    </a:lnTo>
                    <a:lnTo>
                      <a:pt x="45" y="291"/>
                    </a:lnTo>
                    <a:lnTo>
                      <a:pt x="45" y="289"/>
                    </a:lnTo>
                    <a:lnTo>
                      <a:pt x="44" y="289"/>
                    </a:lnTo>
                    <a:lnTo>
                      <a:pt x="44" y="291"/>
                    </a:lnTo>
                    <a:lnTo>
                      <a:pt x="44" y="292"/>
                    </a:lnTo>
                    <a:lnTo>
                      <a:pt x="44" y="292"/>
                    </a:lnTo>
                    <a:lnTo>
                      <a:pt x="41" y="292"/>
                    </a:lnTo>
                    <a:lnTo>
                      <a:pt x="38" y="294"/>
                    </a:lnTo>
                    <a:lnTo>
                      <a:pt x="35" y="301"/>
                    </a:lnTo>
                    <a:lnTo>
                      <a:pt x="34" y="299"/>
                    </a:lnTo>
                    <a:lnTo>
                      <a:pt x="31" y="299"/>
                    </a:lnTo>
                    <a:lnTo>
                      <a:pt x="29" y="301"/>
                    </a:lnTo>
                    <a:lnTo>
                      <a:pt x="28" y="302"/>
                    </a:lnTo>
                    <a:lnTo>
                      <a:pt x="31" y="304"/>
                    </a:lnTo>
                    <a:lnTo>
                      <a:pt x="29" y="305"/>
                    </a:lnTo>
                    <a:lnTo>
                      <a:pt x="32" y="307"/>
                    </a:lnTo>
                    <a:lnTo>
                      <a:pt x="35" y="305"/>
                    </a:lnTo>
                    <a:lnTo>
                      <a:pt x="37" y="307"/>
                    </a:lnTo>
                    <a:lnTo>
                      <a:pt x="37" y="308"/>
                    </a:lnTo>
                    <a:lnTo>
                      <a:pt x="35" y="310"/>
                    </a:lnTo>
                    <a:lnTo>
                      <a:pt x="37" y="311"/>
                    </a:lnTo>
                    <a:lnTo>
                      <a:pt x="34" y="311"/>
                    </a:lnTo>
                    <a:lnTo>
                      <a:pt x="25" y="310"/>
                    </a:lnTo>
                    <a:lnTo>
                      <a:pt x="24" y="311"/>
                    </a:lnTo>
                    <a:lnTo>
                      <a:pt x="22" y="311"/>
                    </a:lnTo>
                    <a:lnTo>
                      <a:pt x="19" y="312"/>
                    </a:lnTo>
                    <a:lnTo>
                      <a:pt x="21" y="312"/>
                    </a:lnTo>
                    <a:lnTo>
                      <a:pt x="22" y="314"/>
                    </a:lnTo>
                    <a:lnTo>
                      <a:pt x="21" y="314"/>
                    </a:lnTo>
                    <a:lnTo>
                      <a:pt x="21" y="315"/>
                    </a:lnTo>
                    <a:lnTo>
                      <a:pt x="22" y="315"/>
                    </a:lnTo>
                    <a:lnTo>
                      <a:pt x="24" y="314"/>
                    </a:lnTo>
                    <a:lnTo>
                      <a:pt x="22" y="317"/>
                    </a:lnTo>
                    <a:lnTo>
                      <a:pt x="24" y="323"/>
                    </a:lnTo>
                    <a:lnTo>
                      <a:pt x="22" y="323"/>
                    </a:lnTo>
                    <a:lnTo>
                      <a:pt x="21" y="320"/>
                    </a:lnTo>
                    <a:lnTo>
                      <a:pt x="19" y="318"/>
                    </a:lnTo>
                    <a:lnTo>
                      <a:pt x="18" y="320"/>
                    </a:lnTo>
                    <a:lnTo>
                      <a:pt x="15" y="324"/>
                    </a:lnTo>
                    <a:lnTo>
                      <a:pt x="16" y="326"/>
                    </a:lnTo>
                    <a:lnTo>
                      <a:pt x="16" y="327"/>
                    </a:lnTo>
                    <a:lnTo>
                      <a:pt x="15" y="326"/>
                    </a:lnTo>
                    <a:lnTo>
                      <a:pt x="13" y="324"/>
                    </a:lnTo>
                    <a:lnTo>
                      <a:pt x="12" y="324"/>
                    </a:lnTo>
                    <a:lnTo>
                      <a:pt x="8" y="324"/>
                    </a:lnTo>
                    <a:lnTo>
                      <a:pt x="8" y="326"/>
                    </a:lnTo>
                    <a:lnTo>
                      <a:pt x="8" y="327"/>
                    </a:lnTo>
                    <a:lnTo>
                      <a:pt x="3" y="324"/>
                    </a:lnTo>
                    <a:lnTo>
                      <a:pt x="3" y="326"/>
                    </a:lnTo>
                    <a:lnTo>
                      <a:pt x="5" y="328"/>
                    </a:lnTo>
                    <a:lnTo>
                      <a:pt x="3" y="330"/>
                    </a:lnTo>
                    <a:lnTo>
                      <a:pt x="3" y="331"/>
                    </a:lnTo>
                    <a:lnTo>
                      <a:pt x="18" y="330"/>
                    </a:lnTo>
                    <a:lnTo>
                      <a:pt x="13" y="331"/>
                    </a:lnTo>
                    <a:lnTo>
                      <a:pt x="15" y="333"/>
                    </a:lnTo>
                    <a:lnTo>
                      <a:pt x="19" y="331"/>
                    </a:lnTo>
                    <a:lnTo>
                      <a:pt x="21" y="331"/>
                    </a:lnTo>
                    <a:lnTo>
                      <a:pt x="18" y="334"/>
                    </a:lnTo>
                    <a:lnTo>
                      <a:pt x="10" y="334"/>
                    </a:lnTo>
                    <a:lnTo>
                      <a:pt x="8" y="333"/>
                    </a:lnTo>
                    <a:lnTo>
                      <a:pt x="6" y="333"/>
                    </a:lnTo>
                    <a:lnTo>
                      <a:pt x="3" y="336"/>
                    </a:lnTo>
                    <a:lnTo>
                      <a:pt x="3" y="337"/>
                    </a:lnTo>
                    <a:lnTo>
                      <a:pt x="2" y="337"/>
                    </a:lnTo>
                    <a:lnTo>
                      <a:pt x="2" y="337"/>
                    </a:lnTo>
                    <a:lnTo>
                      <a:pt x="0" y="339"/>
                    </a:lnTo>
                    <a:lnTo>
                      <a:pt x="5" y="340"/>
                    </a:lnTo>
                    <a:lnTo>
                      <a:pt x="5" y="342"/>
                    </a:lnTo>
                    <a:lnTo>
                      <a:pt x="5" y="343"/>
                    </a:lnTo>
                    <a:lnTo>
                      <a:pt x="2" y="347"/>
                    </a:lnTo>
                    <a:lnTo>
                      <a:pt x="2" y="349"/>
                    </a:lnTo>
                    <a:lnTo>
                      <a:pt x="2" y="350"/>
                    </a:lnTo>
                    <a:lnTo>
                      <a:pt x="2" y="352"/>
                    </a:lnTo>
                    <a:lnTo>
                      <a:pt x="2" y="353"/>
                    </a:lnTo>
                    <a:lnTo>
                      <a:pt x="2" y="355"/>
                    </a:lnTo>
                    <a:lnTo>
                      <a:pt x="6" y="355"/>
                    </a:lnTo>
                    <a:lnTo>
                      <a:pt x="15" y="352"/>
                    </a:lnTo>
                    <a:lnTo>
                      <a:pt x="16" y="353"/>
                    </a:lnTo>
                    <a:lnTo>
                      <a:pt x="19" y="353"/>
                    </a:lnTo>
                    <a:lnTo>
                      <a:pt x="22" y="346"/>
                    </a:lnTo>
                    <a:lnTo>
                      <a:pt x="22" y="349"/>
                    </a:lnTo>
                    <a:lnTo>
                      <a:pt x="22" y="352"/>
                    </a:lnTo>
                    <a:lnTo>
                      <a:pt x="24" y="353"/>
                    </a:lnTo>
                    <a:lnTo>
                      <a:pt x="26" y="353"/>
                    </a:lnTo>
                    <a:lnTo>
                      <a:pt x="28" y="352"/>
                    </a:lnTo>
                    <a:lnTo>
                      <a:pt x="29" y="353"/>
                    </a:lnTo>
                    <a:lnTo>
                      <a:pt x="32" y="350"/>
                    </a:lnTo>
                    <a:lnTo>
                      <a:pt x="34" y="344"/>
                    </a:lnTo>
                    <a:lnTo>
                      <a:pt x="37" y="343"/>
                    </a:lnTo>
                    <a:lnTo>
                      <a:pt x="37" y="343"/>
                    </a:lnTo>
                    <a:lnTo>
                      <a:pt x="35" y="347"/>
                    </a:lnTo>
                    <a:lnTo>
                      <a:pt x="34" y="352"/>
                    </a:lnTo>
                    <a:lnTo>
                      <a:pt x="35" y="352"/>
                    </a:lnTo>
                    <a:lnTo>
                      <a:pt x="37" y="350"/>
                    </a:lnTo>
                    <a:lnTo>
                      <a:pt x="38" y="352"/>
                    </a:lnTo>
                    <a:lnTo>
                      <a:pt x="35" y="355"/>
                    </a:lnTo>
                    <a:lnTo>
                      <a:pt x="29" y="356"/>
                    </a:lnTo>
                    <a:lnTo>
                      <a:pt x="29" y="358"/>
                    </a:lnTo>
                    <a:lnTo>
                      <a:pt x="31" y="360"/>
                    </a:lnTo>
                    <a:lnTo>
                      <a:pt x="28" y="362"/>
                    </a:lnTo>
                    <a:lnTo>
                      <a:pt x="28" y="359"/>
                    </a:lnTo>
                    <a:lnTo>
                      <a:pt x="26" y="358"/>
                    </a:lnTo>
                    <a:lnTo>
                      <a:pt x="25" y="356"/>
                    </a:lnTo>
                    <a:lnTo>
                      <a:pt x="22" y="356"/>
                    </a:lnTo>
                    <a:lnTo>
                      <a:pt x="18" y="356"/>
                    </a:lnTo>
                    <a:lnTo>
                      <a:pt x="15" y="356"/>
                    </a:lnTo>
                    <a:lnTo>
                      <a:pt x="13" y="356"/>
                    </a:lnTo>
                    <a:lnTo>
                      <a:pt x="10" y="356"/>
                    </a:lnTo>
                    <a:lnTo>
                      <a:pt x="8" y="358"/>
                    </a:lnTo>
                    <a:lnTo>
                      <a:pt x="3" y="358"/>
                    </a:lnTo>
                    <a:lnTo>
                      <a:pt x="2" y="360"/>
                    </a:lnTo>
                    <a:lnTo>
                      <a:pt x="2" y="363"/>
                    </a:lnTo>
                    <a:lnTo>
                      <a:pt x="5" y="363"/>
                    </a:lnTo>
                    <a:lnTo>
                      <a:pt x="5" y="362"/>
                    </a:lnTo>
                    <a:lnTo>
                      <a:pt x="5" y="366"/>
                    </a:lnTo>
                    <a:lnTo>
                      <a:pt x="3" y="365"/>
                    </a:lnTo>
                    <a:lnTo>
                      <a:pt x="2" y="363"/>
                    </a:lnTo>
                    <a:lnTo>
                      <a:pt x="2" y="365"/>
                    </a:lnTo>
                    <a:lnTo>
                      <a:pt x="0" y="365"/>
                    </a:lnTo>
                    <a:lnTo>
                      <a:pt x="0" y="365"/>
                    </a:lnTo>
                    <a:lnTo>
                      <a:pt x="3" y="371"/>
                    </a:lnTo>
                    <a:lnTo>
                      <a:pt x="5" y="371"/>
                    </a:lnTo>
                    <a:lnTo>
                      <a:pt x="8" y="368"/>
                    </a:lnTo>
                    <a:lnTo>
                      <a:pt x="10" y="368"/>
                    </a:lnTo>
                    <a:lnTo>
                      <a:pt x="6" y="373"/>
                    </a:lnTo>
                    <a:lnTo>
                      <a:pt x="8" y="373"/>
                    </a:lnTo>
                    <a:lnTo>
                      <a:pt x="5" y="376"/>
                    </a:lnTo>
                    <a:lnTo>
                      <a:pt x="3" y="378"/>
                    </a:lnTo>
                    <a:lnTo>
                      <a:pt x="3" y="379"/>
                    </a:lnTo>
                    <a:lnTo>
                      <a:pt x="5" y="381"/>
                    </a:lnTo>
                    <a:lnTo>
                      <a:pt x="5" y="382"/>
                    </a:lnTo>
                    <a:lnTo>
                      <a:pt x="8" y="381"/>
                    </a:lnTo>
                    <a:lnTo>
                      <a:pt x="9" y="379"/>
                    </a:lnTo>
                    <a:lnTo>
                      <a:pt x="9" y="382"/>
                    </a:lnTo>
                    <a:lnTo>
                      <a:pt x="10" y="385"/>
                    </a:lnTo>
                    <a:lnTo>
                      <a:pt x="9" y="385"/>
                    </a:lnTo>
                    <a:lnTo>
                      <a:pt x="6" y="387"/>
                    </a:lnTo>
                    <a:lnTo>
                      <a:pt x="6" y="388"/>
                    </a:lnTo>
                    <a:lnTo>
                      <a:pt x="8" y="389"/>
                    </a:lnTo>
                    <a:lnTo>
                      <a:pt x="10" y="388"/>
                    </a:lnTo>
                    <a:lnTo>
                      <a:pt x="12" y="385"/>
                    </a:lnTo>
                    <a:lnTo>
                      <a:pt x="12" y="382"/>
                    </a:lnTo>
                    <a:lnTo>
                      <a:pt x="15" y="381"/>
                    </a:lnTo>
                    <a:lnTo>
                      <a:pt x="19" y="372"/>
                    </a:lnTo>
                    <a:lnTo>
                      <a:pt x="22" y="369"/>
                    </a:lnTo>
                    <a:lnTo>
                      <a:pt x="24" y="371"/>
                    </a:lnTo>
                    <a:lnTo>
                      <a:pt x="24" y="372"/>
                    </a:lnTo>
                    <a:lnTo>
                      <a:pt x="26" y="371"/>
                    </a:lnTo>
                    <a:lnTo>
                      <a:pt x="29" y="372"/>
                    </a:lnTo>
                    <a:lnTo>
                      <a:pt x="25" y="373"/>
                    </a:lnTo>
                    <a:lnTo>
                      <a:pt x="24" y="378"/>
                    </a:lnTo>
                    <a:lnTo>
                      <a:pt x="24" y="375"/>
                    </a:lnTo>
                    <a:lnTo>
                      <a:pt x="22" y="375"/>
                    </a:lnTo>
                    <a:lnTo>
                      <a:pt x="18" y="381"/>
                    </a:lnTo>
                    <a:lnTo>
                      <a:pt x="19" y="382"/>
                    </a:lnTo>
                    <a:lnTo>
                      <a:pt x="19" y="384"/>
                    </a:lnTo>
                    <a:lnTo>
                      <a:pt x="16" y="385"/>
                    </a:lnTo>
                    <a:lnTo>
                      <a:pt x="10" y="391"/>
                    </a:lnTo>
                    <a:lnTo>
                      <a:pt x="13" y="392"/>
                    </a:lnTo>
                    <a:lnTo>
                      <a:pt x="18" y="392"/>
                    </a:lnTo>
                    <a:lnTo>
                      <a:pt x="19" y="391"/>
                    </a:lnTo>
                    <a:lnTo>
                      <a:pt x="19" y="392"/>
                    </a:lnTo>
                    <a:lnTo>
                      <a:pt x="15" y="394"/>
                    </a:lnTo>
                    <a:lnTo>
                      <a:pt x="13" y="395"/>
                    </a:lnTo>
                    <a:lnTo>
                      <a:pt x="13" y="397"/>
                    </a:lnTo>
                    <a:lnTo>
                      <a:pt x="10" y="397"/>
                    </a:lnTo>
                    <a:lnTo>
                      <a:pt x="9" y="398"/>
                    </a:lnTo>
                    <a:lnTo>
                      <a:pt x="8" y="397"/>
                    </a:lnTo>
                    <a:lnTo>
                      <a:pt x="3" y="403"/>
                    </a:lnTo>
                    <a:lnTo>
                      <a:pt x="3" y="404"/>
                    </a:lnTo>
                    <a:lnTo>
                      <a:pt x="5" y="405"/>
                    </a:lnTo>
                    <a:lnTo>
                      <a:pt x="5" y="407"/>
                    </a:lnTo>
                    <a:lnTo>
                      <a:pt x="8" y="405"/>
                    </a:lnTo>
                    <a:lnTo>
                      <a:pt x="9" y="404"/>
                    </a:lnTo>
                    <a:lnTo>
                      <a:pt x="9" y="405"/>
                    </a:lnTo>
                    <a:lnTo>
                      <a:pt x="10" y="405"/>
                    </a:lnTo>
                    <a:lnTo>
                      <a:pt x="12" y="404"/>
                    </a:lnTo>
                    <a:lnTo>
                      <a:pt x="10" y="403"/>
                    </a:lnTo>
                    <a:lnTo>
                      <a:pt x="13" y="404"/>
                    </a:lnTo>
                    <a:lnTo>
                      <a:pt x="16" y="403"/>
                    </a:lnTo>
                    <a:lnTo>
                      <a:pt x="18" y="400"/>
                    </a:lnTo>
                    <a:lnTo>
                      <a:pt x="19" y="401"/>
                    </a:lnTo>
                    <a:lnTo>
                      <a:pt x="16" y="405"/>
                    </a:lnTo>
                    <a:lnTo>
                      <a:pt x="18" y="405"/>
                    </a:lnTo>
                    <a:lnTo>
                      <a:pt x="18" y="408"/>
                    </a:lnTo>
                    <a:lnTo>
                      <a:pt x="15" y="413"/>
                    </a:lnTo>
                    <a:lnTo>
                      <a:pt x="13" y="414"/>
                    </a:lnTo>
                    <a:lnTo>
                      <a:pt x="13" y="417"/>
                    </a:lnTo>
                    <a:lnTo>
                      <a:pt x="12" y="417"/>
                    </a:lnTo>
                    <a:lnTo>
                      <a:pt x="10" y="417"/>
                    </a:lnTo>
                    <a:lnTo>
                      <a:pt x="10" y="416"/>
                    </a:lnTo>
                    <a:lnTo>
                      <a:pt x="9" y="416"/>
                    </a:lnTo>
                    <a:lnTo>
                      <a:pt x="8" y="423"/>
                    </a:lnTo>
                    <a:lnTo>
                      <a:pt x="19" y="435"/>
                    </a:lnTo>
                    <a:lnTo>
                      <a:pt x="22" y="436"/>
                    </a:lnTo>
                    <a:lnTo>
                      <a:pt x="25" y="432"/>
                    </a:lnTo>
                    <a:lnTo>
                      <a:pt x="24" y="440"/>
                    </a:lnTo>
                    <a:lnTo>
                      <a:pt x="25" y="439"/>
                    </a:lnTo>
                    <a:lnTo>
                      <a:pt x="28" y="440"/>
                    </a:lnTo>
                    <a:lnTo>
                      <a:pt x="29" y="437"/>
                    </a:lnTo>
                    <a:lnTo>
                      <a:pt x="32" y="439"/>
                    </a:lnTo>
                    <a:lnTo>
                      <a:pt x="31" y="440"/>
                    </a:lnTo>
                    <a:lnTo>
                      <a:pt x="35" y="442"/>
                    </a:lnTo>
                    <a:lnTo>
                      <a:pt x="38" y="440"/>
                    </a:lnTo>
                    <a:lnTo>
                      <a:pt x="41" y="437"/>
                    </a:lnTo>
                    <a:lnTo>
                      <a:pt x="42" y="435"/>
                    </a:lnTo>
                    <a:lnTo>
                      <a:pt x="45" y="437"/>
                    </a:lnTo>
                    <a:lnTo>
                      <a:pt x="50" y="435"/>
                    </a:lnTo>
                    <a:lnTo>
                      <a:pt x="55" y="427"/>
                    </a:lnTo>
                    <a:lnTo>
                      <a:pt x="58" y="426"/>
                    </a:lnTo>
                    <a:lnTo>
                      <a:pt x="58" y="423"/>
                    </a:lnTo>
                    <a:lnTo>
                      <a:pt x="61" y="421"/>
                    </a:lnTo>
                    <a:lnTo>
                      <a:pt x="61" y="420"/>
                    </a:lnTo>
                    <a:lnTo>
                      <a:pt x="66" y="416"/>
                    </a:lnTo>
                    <a:lnTo>
                      <a:pt x="66" y="413"/>
                    </a:lnTo>
                    <a:lnTo>
                      <a:pt x="69" y="414"/>
                    </a:lnTo>
                    <a:lnTo>
                      <a:pt x="71" y="414"/>
                    </a:lnTo>
                    <a:lnTo>
                      <a:pt x="74" y="414"/>
                    </a:lnTo>
                    <a:lnTo>
                      <a:pt x="74" y="408"/>
                    </a:lnTo>
                    <a:lnTo>
                      <a:pt x="77" y="407"/>
                    </a:lnTo>
                    <a:lnTo>
                      <a:pt x="77" y="404"/>
                    </a:lnTo>
                    <a:lnTo>
                      <a:pt x="74" y="403"/>
                    </a:lnTo>
                    <a:lnTo>
                      <a:pt x="74" y="400"/>
                    </a:lnTo>
                    <a:lnTo>
                      <a:pt x="74" y="400"/>
                    </a:lnTo>
                    <a:lnTo>
                      <a:pt x="74" y="398"/>
                    </a:lnTo>
                    <a:lnTo>
                      <a:pt x="74" y="395"/>
                    </a:lnTo>
                    <a:lnTo>
                      <a:pt x="76" y="397"/>
                    </a:lnTo>
                    <a:lnTo>
                      <a:pt x="76" y="398"/>
                    </a:lnTo>
                    <a:lnTo>
                      <a:pt x="76" y="400"/>
                    </a:lnTo>
                    <a:lnTo>
                      <a:pt x="79" y="400"/>
                    </a:lnTo>
                    <a:lnTo>
                      <a:pt x="79" y="398"/>
                    </a:lnTo>
                    <a:lnTo>
                      <a:pt x="77" y="395"/>
                    </a:lnTo>
                    <a:lnTo>
                      <a:pt x="77" y="392"/>
                    </a:lnTo>
                    <a:lnTo>
                      <a:pt x="77" y="391"/>
                    </a:lnTo>
                    <a:lnTo>
                      <a:pt x="79" y="391"/>
                    </a:lnTo>
                    <a:lnTo>
                      <a:pt x="80" y="391"/>
                    </a:lnTo>
                    <a:lnTo>
                      <a:pt x="82" y="391"/>
                    </a:lnTo>
                    <a:lnTo>
                      <a:pt x="82" y="392"/>
                    </a:lnTo>
                    <a:lnTo>
                      <a:pt x="79" y="394"/>
                    </a:lnTo>
                    <a:lnTo>
                      <a:pt x="82" y="408"/>
                    </a:lnTo>
                    <a:lnTo>
                      <a:pt x="83" y="408"/>
                    </a:lnTo>
                    <a:lnTo>
                      <a:pt x="86" y="411"/>
                    </a:lnTo>
                    <a:lnTo>
                      <a:pt x="87" y="410"/>
                    </a:lnTo>
                    <a:lnTo>
                      <a:pt x="89" y="413"/>
                    </a:lnTo>
                    <a:lnTo>
                      <a:pt x="89" y="420"/>
                    </a:lnTo>
                    <a:lnTo>
                      <a:pt x="89" y="416"/>
                    </a:lnTo>
                    <a:lnTo>
                      <a:pt x="90" y="419"/>
                    </a:lnTo>
                    <a:lnTo>
                      <a:pt x="93" y="417"/>
                    </a:lnTo>
                    <a:lnTo>
                      <a:pt x="95" y="407"/>
                    </a:lnTo>
                    <a:lnTo>
                      <a:pt x="93" y="400"/>
                    </a:lnTo>
                    <a:lnTo>
                      <a:pt x="96" y="394"/>
                    </a:lnTo>
                    <a:lnTo>
                      <a:pt x="96" y="391"/>
                    </a:lnTo>
                    <a:lnTo>
                      <a:pt x="103" y="388"/>
                    </a:lnTo>
                    <a:lnTo>
                      <a:pt x="105" y="385"/>
                    </a:lnTo>
                    <a:lnTo>
                      <a:pt x="106" y="381"/>
                    </a:lnTo>
                    <a:lnTo>
                      <a:pt x="105" y="378"/>
                    </a:lnTo>
                    <a:lnTo>
                      <a:pt x="106" y="371"/>
                    </a:lnTo>
                    <a:lnTo>
                      <a:pt x="105" y="362"/>
                    </a:lnTo>
                    <a:lnTo>
                      <a:pt x="102" y="359"/>
                    </a:lnTo>
                    <a:lnTo>
                      <a:pt x="102" y="358"/>
                    </a:lnTo>
                    <a:lnTo>
                      <a:pt x="106" y="356"/>
                    </a:lnTo>
                    <a:lnTo>
                      <a:pt x="109" y="353"/>
                    </a:lnTo>
                    <a:lnTo>
                      <a:pt x="111" y="347"/>
                    </a:lnTo>
                    <a:lnTo>
                      <a:pt x="109" y="343"/>
                    </a:lnTo>
                    <a:lnTo>
                      <a:pt x="105" y="339"/>
                    </a:lnTo>
                    <a:lnTo>
                      <a:pt x="102" y="334"/>
                    </a:lnTo>
                    <a:lnTo>
                      <a:pt x="102" y="318"/>
                    </a:lnTo>
                    <a:lnTo>
                      <a:pt x="100" y="314"/>
                    </a:lnTo>
                    <a:lnTo>
                      <a:pt x="100" y="314"/>
                    </a:lnTo>
                    <a:lnTo>
                      <a:pt x="102" y="296"/>
                    </a:lnTo>
                    <a:lnTo>
                      <a:pt x="103" y="295"/>
                    </a:lnTo>
                    <a:lnTo>
                      <a:pt x="102" y="294"/>
                    </a:lnTo>
                    <a:lnTo>
                      <a:pt x="100" y="289"/>
                    </a:lnTo>
                    <a:lnTo>
                      <a:pt x="100" y="285"/>
                    </a:lnTo>
                    <a:lnTo>
                      <a:pt x="102" y="276"/>
                    </a:lnTo>
                    <a:lnTo>
                      <a:pt x="109" y="267"/>
                    </a:lnTo>
                    <a:lnTo>
                      <a:pt x="114" y="265"/>
                    </a:lnTo>
                    <a:lnTo>
                      <a:pt x="119" y="263"/>
                    </a:lnTo>
                    <a:lnTo>
                      <a:pt x="127" y="265"/>
                    </a:lnTo>
                    <a:lnTo>
                      <a:pt x="130" y="262"/>
                    </a:lnTo>
                    <a:lnTo>
                      <a:pt x="131" y="253"/>
                    </a:lnTo>
                    <a:lnTo>
                      <a:pt x="125" y="247"/>
                    </a:lnTo>
                    <a:lnTo>
                      <a:pt x="125" y="244"/>
                    </a:lnTo>
                    <a:lnTo>
                      <a:pt x="134" y="227"/>
                    </a:lnTo>
                    <a:lnTo>
                      <a:pt x="137" y="196"/>
                    </a:lnTo>
                    <a:lnTo>
                      <a:pt x="138" y="195"/>
                    </a:lnTo>
                    <a:lnTo>
                      <a:pt x="141" y="195"/>
                    </a:lnTo>
                    <a:lnTo>
                      <a:pt x="145" y="192"/>
                    </a:lnTo>
                    <a:lnTo>
                      <a:pt x="150" y="179"/>
                    </a:lnTo>
                    <a:lnTo>
                      <a:pt x="163" y="158"/>
                    </a:lnTo>
                    <a:lnTo>
                      <a:pt x="161" y="156"/>
                    </a:lnTo>
                    <a:lnTo>
                      <a:pt x="159" y="150"/>
                    </a:lnTo>
                    <a:lnTo>
                      <a:pt x="160" y="145"/>
                    </a:lnTo>
                    <a:lnTo>
                      <a:pt x="164" y="138"/>
                    </a:lnTo>
                    <a:lnTo>
                      <a:pt x="166" y="131"/>
                    </a:lnTo>
                    <a:lnTo>
                      <a:pt x="173" y="122"/>
                    </a:lnTo>
                    <a:lnTo>
                      <a:pt x="176" y="122"/>
                    </a:lnTo>
                    <a:lnTo>
                      <a:pt x="180" y="124"/>
                    </a:lnTo>
                    <a:lnTo>
                      <a:pt x="182" y="126"/>
                    </a:lnTo>
                    <a:lnTo>
                      <a:pt x="183" y="128"/>
                    </a:lnTo>
                    <a:lnTo>
                      <a:pt x="188" y="115"/>
                    </a:lnTo>
                    <a:lnTo>
                      <a:pt x="188" y="109"/>
                    </a:lnTo>
                    <a:lnTo>
                      <a:pt x="189" y="106"/>
                    </a:lnTo>
                    <a:lnTo>
                      <a:pt x="191" y="105"/>
                    </a:lnTo>
                    <a:lnTo>
                      <a:pt x="192" y="105"/>
                    </a:lnTo>
                    <a:lnTo>
                      <a:pt x="211" y="110"/>
                    </a:lnTo>
                    <a:lnTo>
                      <a:pt x="214" y="109"/>
                    </a:lnTo>
                    <a:lnTo>
                      <a:pt x="215" y="108"/>
                    </a:lnTo>
                    <a:lnTo>
                      <a:pt x="212" y="105"/>
                    </a:lnTo>
                    <a:lnTo>
                      <a:pt x="212" y="102"/>
                    </a:lnTo>
                    <a:lnTo>
                      <a:pt x="214" y="99"/>
                    </a:lnTo>
                    <a:lnTo>
                      <a:pt x="215" y="96"/>
                    </a:lnTo>
                    <a:lnTo>
                      <a:pt x="217" y="94"/>
                    </a:lnTo>
                    <a:lnTo>
                      <a:pt x="217" y="92"/>
                    </a:lnTo>
                    <a:lnTo>
                      <a:pt x="217" y="89"/>
                    </a:lnTo>
                    <a:lnTo>
                      <a:pt x="215" y="87"/>
                    </a:lnTo>
                    <a:lnTo>
                      <a:pt x="215" y="84"/>
                    </a:lnTo>
                    <a:lnTo>
                      <a:pt x="217" y="84"/>
                    </a:lnTo>
                    <a:lnTo>
                      <a:pt x="222" y="84"/>
                    </a:lnTo>
                    <a:lnTo>
                      <a:pt x="222" y="83"/>
                    </a:lnTo>
                    <a:lnTo>
                      <a:pt x="225" y="81"/>
                    </a:lnTo>
                    <a:lnTo>
                      <a:pt x="227" y="83"/>
                    </a:lnTo>
                    <a:lnTo>
                      <a:pt x="230" y="81"/>
                    </a:lnTo>
                    <a:lnTo>
                      <a:pt x="228" y="76"/>
                    </a:lnTo>
                    <a:lnTo>
                      <a:pt x="233" y="74"/>
                    </a:lnTo>
                    <a:lnTo>
                      <a:pt x="236" y="76"/>
                    </a:lnTo>
                    <a:lnTo>
                      <a:pt x="246" y="90"/>
                    </a:lnTo>
                    <a:lnTo>
                      <a:pt x="247" y="94"/>
                    </a:lnTo>
                    <a:lnTo>
                      <a:pt x="249" y="96"/>
                    </a:lnTo>
                    <a:lnTo>
                      <a:pt x="256" y="97"/>
                    </a:lnTo>
                    <a:lnTo>
                      <a:pt x="260" y="100"/>
                    </a:lnTo>
                    <a:lnTo>
                      <a:pt x="263" y="99"/>
                    </a:lnTo>
                    <a:lnTo>
                      <a:pt x="266" y="97"/>
                    </a:lnTo>
                    <a:lnTo>
                      <a:pt x="270" y="92"/>
                    </a:lnTo>
                    <a:lnTo>
                      <a:pt x="273" y="93"/>
                    </a:lnTo>
                    <a:lnTo>
                      <a:pt x="276" y="99"/>
                    </a:lnTo>
                    <a:lnTo>
                      <a:pt x="279" y="100"/>
                    </a:lnTo>
                    <a:lnTo>
                      <a:pt x="286" y="96"/>
                    </a:lnTo>
                    <a:lnTo>
                      <a:pt x="289" y="92"/>
                    </a:lnTo>
                    <a:lnTo>
                      <a:pt x="295" y="87"/>
                    </a:lnTo>
                    <a:lnTo>
                      <a:pt x="296" y="64"/>
                    </a:lnTo>
                    <a:lnTo>
                      <a:pt x="299" y="55"/>
                    </a:lnTo>
                    <a:lnTo>
                      <a:pt x="302" y="52"/>
                    </a:lnTo>
                    <a:lnTo>
                      <a:pt x="328" y="44"/>
                    </a:lnTo>
                    <a:lnTo>
                      <a:pt x="330" y="45"/>
                    </a:lnTo>
                    <a:lnTo>
                      <a:pt x="333" y="51"/>
                    </a:lnTo>
                    <a:lnTo>
                      <a:pt x="336" y="52"/>
                    </a:lnTo>
                    <a:lnTo>
                      <a:pt x="340" y="54"/>
                    </a:lnTo>
                    <a:lnTo>
                      <a:pt x="344" y="58"/>
                    </a:lnTo>
                    <a:lnTo>
                      <a:pt x="347" y="70"/>
                    </a:lnTo>
                    <a:lnTo>
                      <a:pt x="342" y="77"/>
                    </a:lnTo>
                    <a:lnTo>
                      <a:pt x="340" y="80"/>
                    </a:lnTo>
                    <a:lnTo>
                      <a:pt x="340" y="83"/>
                    </a:lnTo>
                    <a:lnTo>
                      <a:pt x="343" y="84"/>
                    </a:lnTo>
                    <a:lnTo>
                      <a:pt x="344" y="84"/>
                    </a:lnTo>
                    <a:lnTo>
                      <a:pt x="346" y="81"/>
                    </a:lnTo>
                    <a:lnTo>
                      <a:pt x="346" y="81"/>
                    </a:lnTo>
                    <a:lnTo>
                      <a:pt x="347" y="79"/>
                    </a:lnTo>
                    <a:lnTo>
                      <a:pt x="347" y="77"/>
                    </a:lnTo>
                    <a:lnTo>
                      <a:pt x="356" y="71"/>
                    </a:lnTo>
                    <a:lnTo>
                      <a:pt x="357" y="70"/>
                    </a:lnTo>
                    <a:lnTo>
                      <a:pt x="359" y="63"/>
                    </a:lnTo>
                    <a:lnTo>
                      <a:pt x="365" y="65"/>
                    </a:lnTo>
                    <a:lnTo>
                      <a:pt x="368" y="65"/>
                    </a:lnTo>
                    <a:lnTo>
                      <a:pt x="369" y="60"/>
                    </a:lnTo>
                    <a:lnTo>
                      <a:pt x="369" y="57"/>
                    </a:lnTo>
                    <a:lnTo>
                      <a:pt x="369" y="57"/>
                    </a:lnTo>
                    <a:close/>
                  </a:path>
                </a:pathLst>
              </a:custGeom>
              <a:solidFill>
                <a:srgbClr val="00AFE6"/>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13" name="Freeform 945"/>
              <p:cNvSpPr>
                <a:spLocks/>
              </p:cNvSpPr>
              <p:nvPr/>
            </p:nvSpPr>
            <p:spPr bwMode="auto">
              <a:xfrm>
                <a:off x="6406887" y="2362920"/>
                <a:ext cx="236129" cy="178488"/>
              </a:xfrm>
              <a:custGeom>
                <a:avLst/>
                <a:gdLst/>
                <a:ahLst/>
                <a:cxnLst>
                  <a:cxn ang="0">
                    <a:pos x="36" y="98"/>
                  </a:cxn>
                  <a:cxn ang="0">
                    <a:pos x="6" y="74"/>
                  </a:cxn>
                  <a:cxn ang="0">
                    <a:pos x="29" y="41"/>
                  </a:cxn>
                  <a:cxn ang="0">
                    <a:pos x="24" y="18"/>
                  </a:cxn>
                  <a:cxn ang="0">
                    <a:pos x="46" y="10"/>
                  </a:cxn>
                  <a:cxn ang="0">
                    <a:pos x="72" y="19"/>
                  </a:cxn>
                  <a:cxn ang="0">
                    <a:pos x="83" y="21"/>
                  </a:cxn>
                  <a:cxn ang="0">
                    <a:pos x="94" y="22"/>
                  </a:cxn>
                  <a:cxn ang="0">
                    <a:pos x="107" y="24"/>
                  </a:cxn>
                  <a:cxn ang="0">
                    <a:pos x="122" y="19"/>
                  </a:cxn>
                  <a:cxn ang="0">
                    <a:pos x="132" y="8"/>
                  </a:cxn>
                  <a:cxn ang="0">
                    <a:pos x="145" y="6"/>
                  </a:cxn>
                  <a:cxn ang="0">
                    <a:pos x="164" y="2"/>
                  </a:cxn>
                  <a:cxn ang="0">
                    <a:pos x="177" y="15"/>
                  </a:cxn>
                  <a:cxn ang="0">
                    <a:pos x="186" y="26"/>
                  </a:cxn>
                  <a:cxn ang="0">
                    <a:pos x="196" y="45"/>
                  </a:cxn>
                  <a:cxn ang="0">
                    <a:pos x="209" y="47"/>
                  </a:cxn>
                  <a:cxn ang="0">
                    <a:pos x="232" y="53"/>
                  </a:cxn>
                  <a:cxn ang="0">
                    <a:pos x="250" y="60"/>
                  </a:cxn>
                  <a:cxn ang="0">
                    <a:pos x="257" y="74"/>
                  </a:cxn>
                  <a:cxn ang="0">
                    <a:pos x="251" y="82"/>
                  </a:cxn>
                  <a:cxn ang="0">
                    <a:pos x="252" y="102"/>
                  </a:cxn>
                  <a:cxn ang="0">
                    <a:pos x="236" y="105"/>
                  </a:cxn>
                  <a:cxn ang="0">
                    <a:pos x="218" y="119"/>
                  </a:cxn>
                  <a:cxn ang="0">
                    <a:pos x="202" y="125"/>
                  </a:cxn>
                  <a:cxn ang="0">
                    <a:pos x="186" y="137"/>
                  </a:cxn>
                  <a:cxn ang="0">
                    <a:pos x="186" y="134"/>
                  </a:cxn>
                  <a:cxn ang="0">
                    <a:pos x="181" y="138"/>
                  </a:cxn>
                  <a:cxn ang="0">
                    <a:pos x="178" y="137"/>
                  </a:cxn>
                  <a:cxn ang="0">
                    <a:pos x="173" y="137"/>
                  </a:cxn>
                  <a:cxn ang="0">
                    <a:pos x="173" y="141"/>
                  </a:cxn>
                  <a:cxn ang="0">
                    <a:pos x="180" y="141"/>
                  </a:cxn>
                  <a:cxn ang="0">
                    <a:pos x="184" y="146"/>
                  </a:cxn>
                  <a:cxn ang="0">
                    <a:pos x="194" y="154"/>
                  </a:cxn>
                  <a:cxn ang="0">
                    <a:pos x="207" y="151"/>
                  </a:cxn>
                  <a:cxn ang="0">
                    <a:pos x="193" y="157"/>
                  </a:cxn>
                  <a:cxn ang="0">
                    <a:pos x="177" y="167"/>
                  </a:cxn>
                  <a:cxn ang="0">
                    <a:pos x="167" y="172"/>
                  </a:cxn>
                  <a:cxn ang="0">
                    <a:pos x="159" y="157"/>
                  </a:cxn>
                  <a:cxn ang="0">
                    <a:pos x="159" y="144"/>
                  </a:cxn>
                  <a:cxn ang="0">
                    <a:pos x="164" y="138"/>
                  </a:cxn>
                  <a:cxn ang="0">
                    <a:pos x="146" y="137"/>
                  </a:cxn>
                  <a:cxn ang="0">
                    <a:pos x="142" y="131"/>
                  </a:cxn>
                  <a:cxn ang="0">
                    <a:pos x="145" y="128"/>
                  </a:cxn>
                  <a:cxn ang="0">
                    <a:pos x="132" y="127"/>
                  </a:cxn>
                  <a:cxn ang="0">
                    <a:pos x="117" y="134"/>
                  </a:cxn>
                  <a:cxn ang="0">
                    <a:pos x="113" y="143"/>
                  </a:cxn>
                  <a:cxn ang="0">
                    <a:pos x="109" y="143"/>
                  </a:cxn>
                  <a:cxn ang="0">
                    <a:pos x="96" y="154"/>
                  </a:cxn>
                  <a:cxn ang="0">
                    <a:pos x="91" y="149"/>
                  </a:cxn>
                  <a:cxn ang="0">
                    <a:pos x="97" y="138"/>
                  </a:cxn>
                  <a:cxn ang="0">
                    <a:pos x="110" y="131"/>
                  </a:cxn>
                  <a:cxn ang="0">
                    <a:pos x="112" y="121"/>
                  </a:cxn>
                  <a:cxn ang="0">
                    <a:pos x="103" y="109"/>
                  </a:cxn>
                  <a:cxn ang="0">
                    <a:pos x="93" y="95"/>
                  </a:cxn>
                  <a:cxn ang="0">
                    <a:pos x="68" y="89"/>
                  </a:cxn>
                </a:cxnLst>
                <a:rect l="0" t="0" r="r" b="b"/>
                <a:pathLst>
                  <a:path w="258" h="172">
                    <a:moveTo>
                      <a:pt x="65" y="93"/>
                    </a:moveTo>
                    <a:lnTo>
                      <a:pt x="62" y="93"/>
                    </a:lnTo>
                    <a:lnTo>
                      <a:pt x="53" y="98"/>
                    </a:lnTo>
                    <a:lnTo>
                      <a:pt x="45" y="99"/>
                    </a:lnTo>
                    <a:lnTo>
                      <a:pt x="40" y="102"/>
                    </a:lnTo>
                    <a:lnTo>
                      <a:pt x="36" y="98"/>
                    </a:lnTo>
                    <a:lnTo>
                      <a:pt x="13" y="98"/>
                    </a:lnTo>
                    <a:lnTo>
                      <a:pt x="10" y="99"/>
                    </a:lnTo>
                    <a:lnTo>
                      <a:pt x="10" y="96"/>
                    </a:lnTo>
                    <a:lnTo>
                      <a:pt x="0" y="90"/>
                    </a:lnTo>
                    <a:lnTo>
                      <a:pt x="6" y="74"/>
                    </a:lnTo>
                    <a:lnTo>
                      <a:pt x="6" y="74"/>
                    </a:lnTo>
                    <a:lnTo>
                      <a:pt x="8" y="74"/>
                    </a:lnTo>
                    <a:lnTo>
                      <a:pt x="8" y="71"/>
                    </a:lnTo>
                    <a:lnTo>
                      <a:pt x="8" y="67"/>
                    </a:lnTo>
                    <a:lnTo>
                      <a:pt x="17" y="53"/>
                    </a:lnTo>
                    <a:lnTo>
                      <a:pt x="27" y="45"/>
                    </a:lnTo>
                    <a:lnTo>
                      <a:pt x="29" y="41"/>
                    </a:lnTo>
                    <a:lnTo>
                      <a:pt x="26" y="38"/>
                    </a:lnTo>
                    <a:lnTo>
                      <a:pt x="27" y="35"/>
                    </a:lnTo>
                    <a:lnTo>
                      <a:pt x="24" y="31"/>
                    </a:lnTo>
                    <a:lnTo>
                      <a:pt x="20" y="19"/>
                    </a:lnTo>
                    <a:lnTo>
                      <a:pt x="22" y="18"/>
                    </a:lnTo>
                    <a:lnTo>
                      <a:pt x="24" y="18"/>
                    </a:lnTo>
                    <a:lnTo>
                      <a:pt x="26" y="18"/>
                    </a:lnTo>
                    <a:lnTo>
                      <a:pt x="30" y="16"/>
                    </a:lnTo>
                    <a:lnTo>
                      <a:pt x="32" y="15"/>
                    </a:lnTo>
                    <a:lnTo>
                      <a:pt x="32" y="12"/>
                    </a:lnTo>
                    <a:lnTo>
                      <a:pt x="45" y="10"/>
                    </a:lnTo>
                    <a:lnTo>
                      <a:pt x="46" y="10"/>
                    </a:lnTo>
                    <a:lnTo>
                      <a:pt x="53" y="10"/>
                    </a:lnTo>
                    <a:lnTo>
                      <a:pt x="61" y="13"/>
                    </a:lnTo>
                    <a:lnTo>
                      <a:pt x="64" y="15"/>
                    </a:lnTo>
                    <a:lnTo>
                      <a:pt x="65" y="13"/>
                    </a:lnTo>
                    <a:lnTo>
                      <a:pt x="71" y="16"/>
                    </a:lnTo>
                    <a:lnTo>
                      <a:pt x="72" y="19"/>
                    </a:lnTo>
                    <a:lnTo>
                      <a:pt x="74" y="21"/>
                    </a:lnTo>
                    <a:lnTo>
                      <a:pt x="78" y="19"/>
                    </a:lnTo>
                    <a:lnTo>
                      <a:pt x="78" y="22"/>
                    </a:lnTo>
                    <a:lnTo>
                      <a:pt x="80" y="24"/>
                    </a:lnTo>
                    <a:lnTo>
                      <a:pt x="81" y="22"/>
                    </a:lnTo>
                    <a:lnTo>
                      <a:pt x="83" y="21"/>
                    </a:lnTo>
                    <a:lnTo>
                      <a:pt x="85" y="21"/>
                    </a:lnTo>
                    <a:lnTo>
                      <a:pt x="87" y="19"/>
                    </a:lnTo>
                    <a:lnTo>
                      <a:pt x="88" y="21"/>
                    </a:lnTo>
                    <a:lnTo>
                      <a:pt x="91" y="22"/>
                    </a:lnTo>
                    <a:lnTo>
                      <a:pt x="93" y="21"/>
                    </a:lnTo>
                    <a:lnTo>
                      <a:pt x="94" y="22"/>
                    </a:lnTo>
                    <a:lnTo>
                      <a:pt x="96" y="24"/>
                    </a:lnTo>
                    <a:lnTo>
                      <a:pt x="100" y="19"/>
                    </a:lnTo>
                    <a:lnTo>
                      <a:pt x="104" y="22"/>
                    </a:lnTo>
                    <a:lnTo>
                      <a:pt x="104" y="24"/>
                    </a:lnTo>
                    <a:lnTo>
                      <a:pt x="106" y="25"/>
                    </a:lnTo>
                    <a:lnTo>
                      <a:pt x="107" y="24"/>
                    </a:lnTo>
                    <a:lnTo>
                      <a:pt x="116" y="24"/>
                    </a:lnTo>
                    <a:lnTo>
                      <a:pt x="119" y="24"/>
                    </a:lnTo>
                    <a:lnTo>
                      <a:pt x="120" y="26"/>
                    </a:lnTo>
                    <a:lnTo>
                      <a:pt x="122" y="25"/>
                    </a:lnTo>
                    <a:lnTo>
                      <a:pt x="123" y="24"/>
                    </a:lnTo>
                    <a:lnTo>
                      <a:pt x="122" y="19"/>
                    </a:lnTo>
                    <a:lnTo>
                      <a:pt x="123" y="16"/>
                    </a:lnTo>
                    <a:lnTo>
                      <a:pt x="123" y="15"/>
                    </a:lnTo>
                    <a:lnTo>
                      <a:pt x="123" y="13"/>
                    </a:lnTo>
                    <a:lnTo>
                      <a:pt x="128" y="8"/>
                    </a:lnTo>
                    <a:lnTo>
                      <a:pt x="130" y="8"/>
                    </a:lnTo>
                    <a:lnTo>
                      <a:pt x="132" y="8"/>
                    </a:lnTo>
                    <a:lnTo>
                      <a:pt x="135" y="6"/>
                    </a:lnTo>
                    <a:lnTo>
                      <a:pt x="139" y="6"/>
                    </a:lnTo>
                    <a:lnTo>
                      <a:pt x="139" y="6"/>
                    </a:lnTo>
                    <a:lnTo>
                      <a:pt x="141" y="8"/>
                    </a:lnTo>
                    <a:lnTo>
                      <a:pt x="144" y="8"/>
                    </a:lnTo>
                    <a:lnTo>
                      <a:pt x="145" y="6"/>
                    </a:lnTo>
                    <a:lnTo>
                      <a:pt x="146" y="5"/>
                    </a:lnTo>
                    <a:lnTo>
                      <a:pt x="146" y="3"/>
                    </a:lnTo>
                    <a:lnTo>
                      <a:pt x="149" y="2"/>
                    </a:lnTo>
                    <a:lnTo>
                      <a:pt x="155" y="3"/>
                    </a:lnTo>
                    <a:lnTo>
                      <a:pt x="159" y="2"/>
                    </a:lnTo>
                    <a:lnTo>
                      <a:pt x="164" y="2"/>
                    </a:lnTo>
                    <a:lnTo>
                      <a:pt x="168" y="0"/>
                    </a:lnTo>
                    <a:lnTo>
                      <a:pt x="171" y="3"/>
                    </a:lnTo>
                    <a:lnTo>
                      <a:pt x="173" y="6"/>
                    </a:lnTo>
                    <a:lnTo>
                      <a:pt x="173" y="8"/>
                    </a:lnTo>
                    <a:lnTo>
                      <a:pt x="177" y="12"/>
                    </a:lnTo>
                    <a:lnTo>
                      <a:pt x="177" y="15"/>
                    </a:lnTo>
                    <a:lnTo>
                      <a:pt x="174" y="16"/>
                    </a:lnTo>
                    <a:lnTo>
                      <a:pt x="173" y="16"/>
                    </a:lnTo>
                    <a:lnTo>
                      <a:pt x="174" y="24"/>
                    </a:lnTo>
                    <a:lnTo>
                      <a:pt x="183" y="28"/>
                    </a:lnTo>
                    <a:lnTo>
                      <a:pt x="184" y="26"/>
                    </a:lnTo>
                    <a:lnTo>
                      <a:pt x="186" y="26"/>
                    </a:lnTo>
                    <a:lnTo>
                      <a:pt x="187" y="28"/>
                    </a:lnTo>
                    <a:lnTo>
                      <a:pt x="190" y="31"/>
                    </a:lnTo>
                    <a:lnTo>
                      <a:pt x="191" y="38"/>
                    </a:lnTo>
                    <a:lnTo>
                      <a:pt x="191" y="41"/>
                    </a:lnTo>
                    <a:lnTo>
                      <a:pt x="191" y="42"/>
                    </a:lnTo>
                    <a:lnTo>
                      <a:pt x="196" y="45"/>
                    </a:lnTo>
                    <a:lnTo>
                      <a:pt x="197" y="44"/>
                    </a:lnTo>
                    <a:lnTo>
                      <a:pt x="199" y="44"/>
                    </a:lnTo>
                    <a:lnTo>
                      <a:pt x="202" y="44"/>
                    </a:lnTo>
                    <a:lnTo>
                      <a:pt x="204" y="47"/>
                    </a:lnTo>
                    <a:lnTo>
                      <a:pt x="206" y="47"/>
                    </a:lnTo>
                    <a:lnTo>
                      <a:pt x="209" y="47"/>
                    </a:lnTo>
                    <a:lnTo>
                      <a:pt x="219" y="44"/>
                    </a:lnTo>
                    <a:lnTo>
                      <a:pt x="220" y="44"/>
                    </a:lnTo>
                    <a:lnTo>
                      <a:pt x="228" y="56"/>
                    </a:lnTo>
                    <a:lnTo>
                      <a:pt x="229" y="54"/>
                    </a:lnTo>
                    <a:lnTo>
                      <a:pt x="231" y="53"/>
                    </a:lnTo>
                    <a:lnTo>
                      <a:pt x="232" y="53"/>
                    </a:lnTo>
                    <a:lnTo>
                      <a:pt x="234" y="54"/>
                    </a:lnTo>
                    <a:lnTo>
                      <a:pt x="238" y="56"/>
                    </a:lnTo>
                    <a:lnTo>
                      <a:pt x="239" y="57"/>
                    </a:lnTo>
                    <a:lnTo>
                      <a:pt x="244" y="57"/>
                    </a:lnTo>
                    <a:lnTo>
                      <a:pt x="247" y="60"/>
                    </a:lnTo>
                    <a:lnTo>
                      <a:pt x="250" y="60"/>
                    </a:lnTo>
                    <a:lnTo>
                      <a:pt x="252" y="61"/>
                    </a:lnTo>
                    <a:lnTo>
                      <a:pt x="257" y="63"/>
                    </a:lnTo>
                    <a:lnTo>
                      <a:pt x="258" y="64"/>
                    </a:lnTo>
                    <a:lnTo>
                      <a:pt x="257" y="64"/>
                    </a:lnTo>
                    <a:lnTo>
                      <a:pt x="258" y="70"/>
                    </a:lnTo>
                    <a:lnTo>
                      <a:pt x="257" y="74"/>
                    </a:lnTo>
                    <a:lnTo>
                      <a:pt x="252" y="76"/>
                    </a:lnTo>
                    <a:lnTo>
                      <a:pt x="254" y="77"/>
                    </a:lnTo>
                    <a:lnTo>
                      <a:pt x="255" y="77"/>
                    </a:lnTo>
                    <a:lnTo>
                      <a:pt x="257" y="79"/>
                    </a:lnTo>
                    <a:lnTo>
                      <a:pt x="252" y="80"/>
                    </a:lnTo>
                    <a:lnTo>
                      <a:pt x="251" y="82"/>
                    </a:lnTo>
                    <a:lnTo>
                      <a:pt x="251" y="85"/>
                    </a:lnTo>
                    <a:lnTo>
                      <a:pt x="252" y="86"/>
                    </a:lnTo>
                    <a:lnTo>
                      <a:pt x="254" y="87"/>
                    </a:lnTo>
                    <a:lnTo>
                      <a:pt x="252" y="90"/>
                    </a:lnTo>
                    <a:lnTo>
                      <a:pt x="255" y="90"/>
                    </a:lnTo>
                    <a:lnTo>
                      <a:pt x="252" y="102"/>
                    </a:lnTo>
                    <a:lnTo>
                      <a:pt x="250" y="102"/>
                    </a:lnTo>
                    <a:lnTo>
                      <a:pt x="247" y="101"/>
                    </a:lnTo>
                    <a:lnTo>
                      <a:pt x="244" y="102"/>
                    </a:lnTo>
                    <a:lnTo>
                      <a:pt x="241" y="99"/>
                    </a:lnTo>
                    <a:lnTo>
                      <a:pt x="239" y="101"/>
                    </a:lnTo>
                    <a:lnTo>
                      <a:pt x="236" y="105"/>
                    </a:lnTo>
                    <a:lnTo>
                      <a:pt x="232" y="106"/>
                    </a:lnTo>
                    <a:lnTo>
                      <a:pt x="231" y="109"/>
                    </a:lnTo>
                    <a:lnTo>
                      <a:pt x="231" y="117"/>
                    </a:lnTo>
                    <a:lnTo>
                      <a:pt x="222" y="118"/>
                    </a:lnTo>
                    <a:lnTo>
                      <a:pt x="219" y="121"/>
                    </a:lnTo>
                    <a:lnTo>
                      <a:pt x="218" y="119"/>
                    </a:lnTo>
                    <a:lnTo>
                      <a:pt x="212" y="122"/>
                    </a:lnTo>
                    <a:lnTo>
                      <a:pt x="212" y="125"/>
                    </a:lnTo>
                    <a:lnTo>
                      <a:pt x="209" y="124"/>
                    </a:lnTo>
                    <a:lnTo>
                      <a:pt x="203" y="127"/>
                    </a:lnTo>
                    <a:lnTo>
                      <a:pt x="202" y="127"/>
                    </a:lnTo>
                    <a:lnTo>
                      <a:pt x="202" y="125"/>
                    </a:lnTo>
                    <a:lnTo>
                      <a:pt x="199" y="127"/>
                    </a:lnTo>
                    <a:lnTo>
                      <a:pt x="196" y="127"/>
                    </a:lnTo>
                    <a:lnTo>
                      <a:pt x="193" y="131"/>
                    </a:lnTo>
                    <a:lnTo>
                      <a:pt x="191" y="131"/>
                    </a:lnTo>
                    <a:lnTo>
                      <a:pt x="189" y="137"/>
                    </a:lnTo>
                    <a:lnTo>
                      <a:pt x="186" y="137"/>
                    </a:lnTo>
                    <a:lnTo>
                      <a:pt x="187" y="137"/>
                    </a:lnTo>
                    <a:lnTo>
                      <a:pt x="189" y="135"/>
                    </a:lnTo>
                    <a:lnTo>
                      <a:pt x="190" y="134"/>
                    </a:lnTo>
                    <a:lnTo>
                      <a:pt x="189" y="130"/>
                    </a:lnTo>
                    <a:lnTo>
                      <a:pt x="187" y="130"/>
                    </a:lnTo>
                    <a:lnTo>
                      <a:pt x="186" y="134"/>
                    </a:lnTo>
                    <a:lnTo>
                      <a:pt x="184" y="137"/>
                    </a:lnTo>
                    <a:lnTo>
                      <a:pt x="184" y="143"/>
                    </a:lnTo>
                    <a:lnTo>
                      <a:pt x="183" y="143"/>
                    </a:lnTo>
                    <a:lnTo>
                      <a:pt x="183" y="141"/>
                    </a:lnTo>
                    <a:lnTo>
                      <a:pt x="181" y="138"/>
                    </a:lnTo>
                    <a:lnTo>
                      <a:pt x="181" y="138"/>
                    </a:lnTo>
                    <a:lnTo>
                      <a:pt x="181" y="137"/>
                    </a:lnTo>
                    <a:lnTo>
                      <a:pt x="180" y="138"/>
                    </a:lnTo>
                    <a:lnTo>
                      <a:pt x="178" y="140"/>
                    </a:lnTo>
                    <a:lnTo>
                      <a:pt x="178" y="140"/>
                    </a:lnTo>
                    <a:lnTo>
                      <a:pt x="178" y="138"/>
                    </a:lnTo>
                    <a:lnTo>
                      <a:pt x="178" y="137"/>
                    </a:lnTo>
                    <a:lnTo>
                      <a:pt x="174" y="137"/>
                    </a:lnTo>
                    <a:lnTo>
                      <a:pt x="174" y="137"/>
                    </a:lnTo>
                    <a:lnTo>
                      <a:pt x="174" y="134"/>
                    </a:lnTo>
                    <a:lnTo>
                      <a:pt x="173" y="133"/>
                    </a:lnTo>
                    <a:lnTo>
                      <a:pt x="173" y="137"/>
                    </a:lnTo>
                    <a:lnTo>
                      <a:pt x="173" y="137"/>
                    </a:lnTo>
                    <a:lnTo>
                      <a:pt x="167" y="135"/>
                    </a:lnTo>
                    <a:lnTo>
                      <a:pt x="170" y="138"/>
                    </a:lnTo>
                    <a:lnTo>
                      <a:pt x="171" y="137"/>
                    </a:lnTo>
                    <a:lnTo>
                      <a:pt x="171" y="138"/>
                    </a:lnTo>
                    <a:lnTo>
                      <a:pt x="173" y="140"/>
                    </a:lnTo>
                    <a:lnTo>
                      <a:pt x="173" y="141"/>
                    </a:lnTo>
                    <a:lnTo>
                      <a:pt x="173" y="143"/>
                    </a:lnTo>
                    <a:lnTo>
                      <a:pt x="174" y="141"/>
                    </a:lnTo>
                    <a:lnTo>
                      <a:pt x="174" y="140"/>
                    </a:lnTo>
                    <a:lnTo>
                      <a:pt x="177" y="140"/>
                    </a:lnTo>
                    <a:lnTo>
                      <a:pt x="178" y="141"/>
                    </a:lnTo>
                    <a:lnTo>
                      <a:pt x="180" y="141"/>
                    </a:lnTo>
                    <a:lnTo>
                      <a:pt x="178" y="144"/>
                    </a:lnTo>
                    <a:lnTo>
                      <a:pt x="178" y="144"/>
                    </a:lnTo>
                    <a:lnTo>
                      <a:pt x="180" y="144"/>
                    </a:lnTo>
                    <a:lnTo>
                      <a:pt x="181" y="144"/>
                    </a:lnTo>
                    <a:lnTo>
                      <a:pt x="180" y="147"/>
                    </a:lnTo>
                    <a:lnTo>
                      <a:pt x="184" y="146"/>
                    </a:lnTo>
                    <a:lnTo>
                      <a:pt x="186" y="149"/>
                    </a:lnTo>
                    <a:lnTo>
                      <a:pt x="186" y="154"/>
                    </a:lnTo>
                    <a:lnTo>
                      <a:pt x="187" y="153"/>
                    </a:lnTo>
                    <a:lnTo>
                      <a:pt x="191" y="154"/>
                    </a:lnTo>
                    <a:lnTo>
                      <a:pt x="191" y="153"/>
                    </a:lnTo>
                    <a:lnTo>
                      <a:pt x="194" y="154"/>
                    </a:lnTo>
                    <a:lnTo>
                      <a:pt x="197" y="151"/>
                    </a:lnTo>
                    <a:lnTo>
                      <a:pt x="199" y="151"/>
                    </a:lnTo>
                    <a:lnTo>
                      <a:pt x="200" y="153"/>
                    </a:lnTo>
                    <a:lnTo>
                      <a:pt x="202" y="151"/>
                    </a:lnTo>
                    <a:lnTo>
                      <a:pt x="204" y="150"/>
                    </a:lnTo>
                    <a:lnTo>
                      <a:pt x="207" y="151"/>
                    </a:lnTo>
                    <a:lnTo>
                      <a:pt x="207" y="153"/>
                    </a:lnTo>
                    <a:lnTo>
                      <a:pt x="206" y="154"/>
                    </a:lnTo>
                    <a:lnTo>
                      <a:pt x="206" y="159"/>
                    </a:lnTo>
                    <a:lnTo>
                      <a:pt x="202" y="159"/>
                    </a:lnTo>
                    <a:lnTo>
                      <a:pt x="200" y="160"/>
                    </a:lnTo>
                    <a:lnTo>
                      <a:pt x="193" y="157"/>
                    </a:lnTo>
                    <a:lnTo>
                      <a:pt x="186" y="164"/>
                    </a:lnTo>
                    <a:lnTo>
                      <a:pt x="183" y="163"/>
                    </a:lnTo>
                    <a:lnTo>
                      <a:pt x="178" y="164"/>
                    </a:lnTo>
                    <a:lnTo>
                      <a:pt x="180" y="166"/>
                    </a:lnTo>
                    <a:lnTo>
                      <a:pt x="178" y="166"/>
                    </a:lnTo>
                    <a:lnTo>
                      <a:pt x="177" y="167"/>
                    </a:lnTo>
                    <a:lnTo>
                      <a:pt x="177" y="169"/>
                    </a:lnTo>
                    <a:lnTo>
                      <a:pt x="175" y="170"/>
                    </a:lnTo>
                    <a:lnTo>
                      <a:pt x="174" y="170"/>
                    </a:lnTo>
                    <a:lnTo>
                      <a:pt x="171" y="172"/>
                    </a:lnTo>
                    <a:lnTo>
                      <a:pt x="167" y="172"/>
                    </a:lnTo>
                    <a:lnTo>
                      <a:pt x="167" y="172"/>
                    </a:lnTo>
                    <a:lnTo>
                      <a:pt x="162" y="169"/>
                    </a:lnTo>
                    <a:lnTo>
                      <a:pt x="164" y="167"/>
                    </a:lnTo>
                    <a:lnTo>
                      <a:pt x="164" y="160"/>
                    </a:lnTo>
                    <a:lnTo>
                      <a:pt x="162" y="157"/>
                    </a:lnTo>
                    <a:lnTo>
                      <a:pt x="161" y="156"/>
                    </a:lnTo>
                    <a:lnTo>
                      <a:pt x="159" y="157"/>
                    </a:lnTo>
                    <a:lnTo>
                      <a:pt x="155" y="153"/>
                    </a:lnTo>
                    <a:lnTo>
                      <a:pt x="151" y="153"/>
                    </a:lnTo>
                    <a:lnTo>
                      <a:pt x="151" y="151"/>
                    </a:lnTo>
                    <a:lnTo>
                      <a:pt x="151" y="150"/>
                    </a:lnTo>
                    <a:lnTo>
                      <a:pt x="154" y="149"/>
                    </a:lnTo>
                    <a:lnTo>
                      <a:pt x="159" y="144"/>
                    </a:lnTo>
                    <a:lnTo>
                      <a:pt x="167" y="141"/>
                    </a:lnTo>
                    <a:lnTo>
                      <a:pt x="168" y="141"/>
                    </a:lnTo>
                    <a:lnTo>
                      <a:pt x="167" y="140"/>
                    </a:lnTo>
                    <a:lnTo>
                      <a:pt x="167" y="138"/>
                    </a:lnTo>
                    <a:lnTo>
                      <a:pt x="164" y="137"/>
                    </a:lnTo>
                    <a:lnTo>
                      <a:pt x="164" y="138"/>
                    </a:lnTo>
                    <a:lnTo>
                      <a:pt x="161" y="137"/>
                    </a:lnTo>
                    <a:lnTo>
                      <a:pt x="161" y="135"/>
                    </a:lnTo>
                    <a:lnTo>
                      <a:pt x="158" y="137"/>
                    </a:lnTo>
                    <a:lnTo>
                      <a:pt x="158" y="137"/>
                    </a:lnTo>
                    <a:lnTo>
                      <a:pt x="151" y="138"/>
                    </a:lnTo>
                    <a:lnTo>
                      <a:pt x="146" y="137"/>
                    </a:lnTo>
                    <a:lnTo>
                      <a:pt x="145" y="135"/>
                    </a:lnTo>
                    <a:lnTo>
                      <a:pt x="144" y="135"/>
                    </a:lnTo>
                    <a:lnTo>
                      <a:pt x="141" y="135"/>
                    </a:lnTo>
                    <a:lnTo>
                      <a:pt x="139" y="134"/>
                    </a:lnTo>
                    <a:lnTo>
                      <a:pt x="144" y="131"/>
                    </a:lnTo>
                    <a:lnTo>
                      <a:pt x="142" y="131"/>
                    </a:lnTo>
                    <a:lnTo>
                      <a:pt x="139" y="131"/>
                    </a:lnTo>
                    <a:lnTo>
                      <a:pt x="138" y="130"/>
                    </a:lnTo>
                    <a:lnTo>
                      <a:pt x="139" y="130"/>
                    </a:lnTo>
                    <a:lnTo>
                      <a:pt x="145" y="130"/>
                    </a:lnTo>
                    <a:lnTo>
                      <a:pt x="146" y="130"/>
                    </a:lnTo>
                    <a:lnTo>
                      <a:pt x="145" y="128"/>
                    </a:lnTo>
                    <a:lnTo>
                      <a:pt x="144" y="128"/>
                    </a:lnTo>
                    <a:lnTo>
                      <a:pt x="141" y="124"/>
                    </a:lnTo>
                    <a:lnTo>
                      <a:pt x="141" y="125"/>
                    </a:lnTo>
                    <a:lnTo>
                      <a:pt x="136" y="127"/>
                    </a:lnTo>
                    <a:lnTo>
                      <a:pt x="136" y="124"/>
                    </a:lnTo>
                    <a:lnTo>
                      <a:pt x="132" y="127"/>
                    </a:lnTo>
                    <a:lnTo>
                      <a:pt x="125" y="130"/>
                    </a:lnTo>
                    <a:lnTo>
                      <a:pt x="123" y="131"/>
                    </a:lnTo>
                    <a:lnTo>
                      <a:pt x="120" y="137"/>
                    </a:lnTo>
                    <a:lnTo>
                      <a:pt x="120" y="135"/>
                    </a:lnTo>
                    <a:lnTo>
                      <a:pt x="119" y="134"/>
                    </a:lnTo>
                    <a:lnTo>
                      <a:pt x="117" y="134"/>
                    </a:lnTo>
                    <a:lnTo>
                      <a:pt x="116" y="133"/>
                    </a:lnTo>
                    <a:lnTo>
                      <a:pt x="116" y="134"/>
                    </a:lnTo>
                    <a:lnTo>
                      <a:pt x="119" y="135"/>
                    </a:lnTo>
                    <a:lnTo>
                      <a:pt x="119" y="138"/>
                    </a:lnTo>
                    <a:lnTo>
                      <a:pt x="116" y="143"/>
                    </a:lnTo>
                    <a:lnTo>
                      <a:pt x="113" y="143"/>
                    </a:lnTo>
                    <a:lnTo>
                      <a:pt x="112" y="144"/>
                    </a:lnTo>
                    <a:lnTo>
                      <a:pt x="110" y="146"/>
                    </a:lnTo>
                    <a:lnTo>
                      <a:pt x="110" y="147"/>
                    </a:lnTo>
                    <a:lnTo>
                      <a:pt x="109" y="147"/>
                    </a:lnTo>
                    <a:lnTo>
                      <a:pt x="109" y="144"/>
                    </a:lnTo>
                    <a:lnTo>
                      <a:pt x="109" y="143"/>
                    </a:lnTo>
                    <a:lnTo>
                      <a:pt x="109" y="151"/>
                    </a:lnTo>
                    <a:lnTo>
                      <a:pt x="109" y="153"/>
                    </a:lnTo>
                    <a:lnTo>
                      <a:pt x="107" y="151"/>
                    </a:lnTo>
                    <a:lnTo>
                      <a:pt x="104" y="151"/>
                    </a:lnTo>
                    <a:lnTo>
                      <a:pt x="99" y="153"/>
                    </a:lnTo>
                    <a:lnTo>
                      <a:pt x="96" y="154"/>
                    </a:lnTo>
                    <a:lnTo>
                      <a:pt x="93" y="154"/>
                    </a:lnTo>
                    <a:lnTo>
                      <a:pt x="90" y="150"/>
                    </a:lnTo>
                    <a:lnTo>
                      <a:pt x="87" y="151"/>
                    </a:lnTo>
                    <a:lnTo>
                      <a:pt x="87" y="150"/>
                    </a:lnTo>
                    <a:lnTo>
                      <a:pt x="90" y="150"/>
                    </a:lnTo>
                    <a:lnTo>
                      <a:pt x="91" y="149"/>
                    </a:lnTo>
                    <a:lnTo>
                      <a:pt x="91" y="147"/>
                    </a:lnTo>
                    <a:lnTo>
                      <a:pt x="93" y="144"/>
                    </a:lnTo>
                    <a:lnTo>
                      <a:pt x="94" y="143"/>
                    </a:lnTo>
                    <a:lnTo>
                      <a:pt x="94" y="141"/>
                    </a:lnTo>
                    <a:lnTo>
                      <a:pt x="96" y="140"/>
                    </a:lnTo>
                    <a:lnTo>
                      <a:pt x="97" y="138"/>
                    </a:lnTo>
                    <a:lnTo>
                      <a:pt x="99" y="133"/>
                    </a:lnTo>
                    <a:lnTo>
                      <a:pt x="100" y="131"/>
                    </a:lnTo>
                    <a:lnTo>
                      <a:pt x="101" y="130"/>
                    </a:lnTo>
                    <a:lnTo>
                      <a:pt x="103" y="131"/>
                    </a:lnTo>
                    <a:lnTo>
                      <a:pt x="104" y="130"/>
                    </a:lnTo>
                    <a:lnTo>
                      <a:pt x="110" y="131"/>
                    </a:lnTo>
                    <a:lnTo>
                      <a:pt x="112" y="131"/>
                    </a:lnTo>
                    <a:lnTo>
                      <a:pt x="113" y="128"/>
                    </a:lnTo>
                    <a:lnTo>
                      <a:pt x="112" y="127"/>
                    </a:lnTo>
                    <a:lnTo>
                      <a:pt x="113" y="125"/>
                    </a:lnTo>
                    <a:lnTo>
                      <a:pt x="112" y="122"/>
                    </a:lnTo>
                    <a:lnTo>
                      <a:pt x="112" y="121"/>
                    </a:lnTo>
                    <a:lnTo>
                      <a:pt x="107" y="119"/>
                    </a:lnTo>
                    <a:lnTo>
                      <a:pt x="106" y="115"/>
                    </a:lnTo>
                    <a:lnTo>
                      <a:pt x="106" y="114"/>
                    </a:lnTo>
                    <a:lnTo>
                      <a:pt x="106" y="111"/>
                    </a:lnTo>
                    <a:lnTo>
                      <a:pt x="103" y="111"/>
                    </a:lnTo>
                    <a:lnTo>
                      <a:pt x="103" y="109"/>
                    </a:lnTo>
                    <a:lnTo>
                      <a:pt x="101" y="108"/>
                    </a:lnTo>
                    <a:lnTo>
                      <a:pt x="101" y="99"/>
                    </a:lnTo>
                    <a:lnTo>
                      <a:pt x="100" y="98"/>
                    </a:lnTo>
                    <a:lnTo>
                      <a:pt x="99" y="98"/>
                    </a:lnTo>
                    <a:lnTo>
                      <a:pt x="96" y="95"/>
                    </a:lnTo>
                    <a:lnTo>
                      <a:pt x="93" y="95"/>
                    </a:lnTo>
                    <a:lnTo>
                      <a:pt x="90" y="95"/>
                    </a:lnTo>
                    <a:lnTo>
                      <a:pt x="87" y="95"/>
                    </a:lnTo>
                    <a:lnTo>
                      <a:pt x="81" y="89"/>
                    </a:lnTo>
                    <a:lnTo>
                      <a:pt x="77" y="87"/>
                    </a:lnTo>
                    <a:lnTo>
                      <a:pt x="69" y="89"/>
                    </a:lnTo>
                    <a:lnTo>
                      <a:pt x="68" y="89"/>
                    </a:lnTo>
                    <a:lnTo>
                      <a:pt x="67" y="90"/>
                    </a:lnTo>
                    <a:lnTo>
                      <a:pt x="65" y="9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14" name="Freeform 946"/>
              <p:cNvSpPr>
                <a:spLocks/>
              </p:cNvSpPr>
              <p:nvPr/>
            </p:nvSpPr>
            <p:spPr bwMode="auto">
              <a:xfrm>
                <a:off x="6406887" y="2362920"/>
                <a:ext cx="236129" cy="178488"/>
              </a:xfrm>
              <a:custGeom>
                <a:avLst/>
                <a:gdLst/>
                <a:ahLst/>
                <a:cxnLst>
                  <a:cxn ang="0">
                    <a:pos x="36" y="98"/>
                  </a:cxn>
                  <a:cxn ang="0">
                    <a:pos x="6" y="74"/>
                  </a:cxn>
                  <a:cxn ang="0">
                    <a:pos x="29" y="41"/>
                  </a:cxn>
                  <a:cxn ang="0">
                    <a:pos x="24" y="18"/>
                  </a:cxn>
                  <a:cxn ang="0">
                    <a:pos x="46" y="10"/>
                  </a:cxn>
                  <a:cxn ang="0">
                    <a:pos x="72" y="19"/>
                  </a:cxn>
                  <a:cxn ang="0">
                    <a:pos x="83" y="21"/>
                  </a:cxn>
                  <a:cxn ang="0">
                    <a:pos x="94" y="22"/>
                  </a:cxn>
                  <a:cxn ang="0">
                    <a:pos x="107" y="24"/>
                  </a:cxn>
                  <a:cxn ang="0">
                    <a:pos x="122" y="19"/>
                  </a:cxn>
                  <a:cxn ang="0">
                    <a:pos x="132" y="8"/>
                  </a:cxn>
                  <a:cxn ang="0">
                    <a:pos x="145" y="6"/>
                  </a:cxn>
                  <a:cxn ang="0">
                    <a:pos x="164" y="2"/>
                  </a:cxn>
                  <a:cxn ang="0">
                    <a:pos x="177" y="15"/>
                  </a:cxn>
                  <a:cxn ang="0">
                    <a:pos x="186" y="26"/>
                  </a:cxn>
                  <a:cxn ang="0">
                    <a:pos x="196" y="45"/>
                  </a:cxn>
                  <a:cxn ang="0">
                    <a:pos x="209" y="47"/>
                  </a:cxn>
                  <a:cxn ang="0">
                    <a:pos x="232" y="53"/>
                  </a:cxn>
                  <a:cxn ang="0">
                    <a:pos x="250" y="60"/>
                  </a:cxn>
                  <a:cxn ang="0">
                    <a:pos x="257" y="74"/>
                  </a:cxn>
                  <a:cxn ang="0">
                    <a:pos x="251" y="82"/>
                  </a:cxn>
                  <a:cxn ang="0">
                    <a:pos x="252" y="102"/>
                  </a:cxn>
                  <a:cxn ang="0">
                    <a:pos x="236" y="105"/>
                  </a:cxn>
                  <a:cxn ang="0">
                    <a:pos x="218" y="119"/>
                  </a:cxn>
                  <a:cxn ang="0">
                    <a:pos x="202" y="125"/>
                  </a:cxn>
                  <a:cxn ang="0">
                    <a:pos x="186" y="137"/>
                  </a:cxn>
                  <a:cxn ang="0">
                    <a:pos x="186" y="134"/>
                  </a:cxn>
                  <a:cxn ang="0">
                    <a:pos x="181" y="138"/>
                  </a:cxn>
                  <a:cxn ang="0">
                    <a:pos x="178" y="137"/>
                  </a:cxn>
                  <a:cxn ang="0">
                    <a:pos x="173" y="137"/>
                  </a:cxn>
                  <a:cxn ang="0">
                    <a:pos x="173" y="141"/>
                  </a:cxn>
                  <a:cxn ang="0">
                    <a:pos x="180" y="141"/>
                  </a:cxn>
                  <a:cxn ang="0">
                    <a:pos x="184" y="146"/>
                  </a:cxn>
                  <a:cxn ang="0">
                    <a:pos x="194" y="154"/>
                  </a:cxn>
                  <a:cxn ang="0">
                    <a:pos x="207" y="151"/>
                  </a:cxn>
                  <a:cxn ang="0">
                    <a:pos x="193" y="157"/>
                  </a:cxn>
                  <a:cxn ang="0">
                    <a:pos x="177" y="167"/>
                  </a:cxn>
                  <a:cxn ang="0">
                    <a:pos x="167" y="172"/>
                  </a:cxn>
                  <a:cxn ang="0">
                    <a:pos x="159" y="157"/>
                  </a:cxn>
                  <a:cxn ang="0">
                    <a:pos x="159" y="144"/>
                  </a:cxn>
                  <a:cxn ang="0">
                    <a:pos x="164" y="138"/>
                  </a:cxn>
                  <a:cxn ang="0">
                    <a:pos x="146" y="137"/>
                  </a:cxn>
                  <a:cxn ang="0">
                    <a:pos x="142" y="131"/>
                  </a:cxn>
                  <a:cxn ang="0">
                    <a:pos x="145" y="128"/>
                  </a:cxn>
                  <a:cxn ang="0">
                    <a:pos x="132" y="127"/>
                  </a:cxn>
                  <a:cxn ang="0">
                    <a:pos x="117" y="134"/>
                  </a:cxn>
                  <a:cxn ang="0">
                    <a:pos x="113" y="143"/>
                  </a:cxn>
                  <a:cxn ang="0">
                    <a:pos x="109" y="143"/>
                  </a:cxn>
                  <a:cxn ang="0">
                    <a:pos x="96" y="154"/>
                  </a:cxn>
                  <a:cxn ang="0">
                    <a:pos x="91" y="149"/>
                  </a:cxn>
                  <a:cxn ang="0">
                    <a:pos x="97" y="138"/>
                  </a:cxn>
                  <a:cxn ang="0">
                    <a:pos x="110" y="131"/>
                  </a:cxn>
                  <a:cxn ang="0">
                    <a:pos x="112" y="121"/>
                  </a:cxn>
                  <a:cxn ang="0">
                    <a:pos x="103" y="109"/>
                  </a:cxn>
                  <a:cxn ang="0">
                    <a:pos x="93" y="95"/>
                  </a:cxn>
                  <a:cxn ang="0">
                    <a:pos x="68" y="89"/>
                  </a:cxn>
                </a:cxnLst>
                <a:rect l="0" t="0" r="r" b="b"/>
                <a:pathLst>
                  <a:path w="258" h="172">
                    <a:moveTo>
                      <a:pt x="65" y="93"/>
                    </a:moveTo>
                    <a:lnTo>
                      <a:pt x="62" y="93"/>
                    </a:lnTo>
                    <a:lnTo>
                      <a:pt x="53" y="98"/>
                    </a:lnTo>
                    <a:lnTo>
                      <a:pt x="45" y="99"/>
                    </a:lnTo>
                    <a:lnTo>
                      <a:pt x="40" y="102"/>
                    </a:lnTo>
                    <a:lnTo>
                      <a:pt x="36" y="98"/>
                    </a:lnTo>
                    <a:lnTo>
                      <a:pt x="13" y="98"/>
                    </a:lnTo>
                    <a:lnTo>
                      <a:pt x="10" y="99"/>
                    </a:lnTo>
                    <a:lnTo>
                      <a:pt x="10" y="96"/>
                    </a:lnTo>
                    <a:lnTo>
                      <a:pt x="0" y="90"/>
                    </a:lnTo>
                    <a:lnTo>
                      <a:pt x="6" y="74"/>
                    </a:lnTo>
                    <a:lnTo>
                      <a:pt x="6" y="74"/>
                    </a:lnTo>
                    <a:lnTo>
                      <a:pt x="8" y="74"/>
                    </a:lnTo>
                    <a:lnTo>
                      <a:pt x="8" y="71"/>
                    </a:lnTo>
                    <a:lnTo>
                      <a:pt x="8" y="67"/>
                    </a:lnTo>
                    <a:lnTo>
                      <a:pt x="17" y="53"/>
                    </a:lnTo>
                    <a:lnTo>
                      <a:pt x="27" y="45"/>
                    </a:lnTo>
                    <a:lnTo>
                      <a:pt x="29" y="41"/>
                    </a:lnTo>
                    <a:lnTo>
                      <a:pt x="26" y="38"/>
                    </a:lnTo>
                    <a:lnTo>
                      <a:pt x="27" y="35"/>
                    </a:lnTo>
                    <a:lnTo>
                      <a:pt x="24" y="31"/>
                    </a:lnTo>
                    <a:lnTo>
                      <a:pt x="20" y="19"/>
                    </a:lnTo>
                    <a:lnTo>
                      <a:pt x="22" y="18"/>
                    </a:lnTo>
                    <a:lnTo>
                      <a:pt x="24" y="18"/>
                    </a:lnTo>
                    <a:lnTo>
                      <a:pt x="26" y="18"/>
                    </a:lnTo>
                    <a:lnTo>
                      <a:pt x="30" y="16"/>
                    </a:lnTo>
                    <a:lnTo>
                      <a:pt x="32" y="15"/>
                    </a:lnTo>
                    <a:lnTo>
                      <a:pt x="32" y="12"/>
                    </a:lnTo>
                    <a:lnTo>
                      <a:pt x="45" y="10"/>
                    </a:lnTo>
                    <a:lnTo>
                      <a:pt x="46" y="10"/>
                    </a:lnTo>
                    <a:lnTo>
                      <a:pt x="53" y="10"/>
                    </a:lnTo>
                    <a:lnTo>
                      <a:pt x="61" y="13"/>
                    </a:lnTo>
                    <a:lnTo>
                      <a:pt x="64" y="15"/>
                    </a:lnTo>
                    <a:lnTo>
                      <a:pt x="65" y="13"/>
                    </a:lnTo>
                    <a:lnTo>
                      <a:pt x="71" y="16"/>
                    </a:lnTo>
                    <a:lnTo>
                      <a:pt x="72" y="19"/>
                    </a:lnTo>
                    <a:lnTo>
                      <a:pt x="74" y="21"/>
                    </a:lnTo>
                    <a:lnTo>
                      <a:pt x="78" y="19"/>
                    </a:lnTo>
                    <a:lnTo>
                      <a:pt x="78" y="22"/>
                    </a:lnTo>
                    <a:lnTo>
                      <a:pt x="80" y="24"/>
                    </a:lnTo>
                    <a:lnTo>
                      <a:pt x="81" y="22"/>
                    </a:lnTo>
                    <a:lnTo>
                      <a:pt x="83" y="21"/>
                    </a:lnTo>
                    <a:lnTo>
                      <a:pt x="85" y="21"/>
                    </a:lnTo>
                    <a:lnTo>
                      <a:pt x="87" y="19"/>
                    </a:lnTo>
                    <a:lnTo>
                      <a:pt x="88" y="21"/>
                    </a:lnTo>
                    <a:lnTo>
                      <a:pt x="91" y="22"/>
                    </a:lnTo>
                    <a:lnTo>
                      <a:pt x="93" y="21"/>
                    </a:lnTo>
                    <a:lnTo>
                      <a:pt x="94" y="22"/>
                    </a:lnTo>
                    <a:lnTo>
                      <a:pt x="96" y="24"/>
                    </a:lnTo>
                    <a:lnTo>
                      <a:pt x="100" y="19"/>
                    </a:lnTo>
                    <a:lnTo>
                      <a:pt x="104" y="22"/>
                    </a:lnTo>
                    <a:lnTo>
                      <a:pt x="104" y="24"/>
                    </a:lnTo>
                    <a:lnTo>
                      <a:pt x="106" y="25"/>
                    </a:lnTo>
                    <a:lnTo>
                      <a:pt x="107" y="24"/>
                    </a:lnTo>
                    <a:lnTo>
                      <a:pt x="116" y="24"/>
                    </a:lnTo>
                    <a:lnTo>
                      <a:pt x="119" y="24"/>
                    </a:lnTo>
                    <a:lnTo>
                      <a:pt x="120" y="26"/>
                    </a:lnTo>
                    <a:lnTo>
                      <a:pt x="122" y="25"/>
                    </a:lnTo>
                    <a:lnTo>
                      <a:pt x="123" y="24"/>
                    </a:lnTo>
                    <a:lnTo>
                      <a:pt x="122" y="19"/>
                    </a:lnTo>
                    <a:lnTo>
                      <a:pt x="123" y="16"/>
                    </a:lnTo>
                    <a:lnTo>
                      <a:pt x="123" y="15"/>
                    </a:lnTo>
                    <a:lnTo>
                      <a:pt x="123" y="13"/>
                    </a:lnTo>
                    <a:lnTo>
                      <a:pt x="128" y="8"/>
                    </a:lnTo>
                    <a:lnTo>
                      <a:pt x="130" y="8"/>
                    </a:lnTo>
                    <a:lnTo>
                      <a:pt x="132" y="8"/>
                    </a:lnTo>
                    <a:lnTo>
                      <a:pt x="135" y="6"/>
                    </a:lnTo>
                    <a:lnTo>
                      <a:pt x="139" y="6"/>
                    </a:lnTo>
                    <a:lnTo>
                      <a:pt x="139" y="6"/>
                    </a:lnTo>
                    <a:lnTo>
                      <a:pt x="141" y="8"/>
                    </a:lnTo>
                    <a:lnTo>
                      <a:pt x="144" y="8"/>
                    </a:lnTo>
                    <a:lnTo>
                      <a:pt x="145" y="6"/>
                    </a:lnTo>
                    <a:lnTo>
                      <a:pt x="146" y="5"/>
                    </a:lnTo>
                    <a:lnTo>
                      <a:pt x="146" y="3"/>
                    </a:lnTo>
                    <a:lnTo>
                      <a:pt x="149" y="2"/>
                    </a:lnTo>
                    <a:lnTo>
                      <a:pt x="155" y="3"/>
                    </a:lnTo>
                    <a:lnTo>
                      <a:pt x="159" y="2"/>
                    </a:lnTo>
                    <a:lnTo>
                      <a:pt x="164" y="2"/>
                    </a:lnTo>
                    <a:lnTo>
                      <a:pt x="168" y="0"/>
                    </a:lnTo>
                    <a:lnTo>
                      <a:pt x="171" y="3"/>
                    </a:lnTo>
                    <a:lnTo>
                      <a:pt x="173" y="6"/>
                    </a:lnTo>
                    <a:lnTo>
                      <a:pt x="173" y="8"/>
                    </a:lnTo>
                    <a:lnTo>
                      <a:pt x="177" y="12"/>
                    </a:lnTo>
                    <a:lnTo>
                      <a:pt x="177" y="15"/>
                    </a:lnTo>
                    <a:lnTo>
                      <a:pt x="174" y="16"/>
                    </a:lnTo>
                    <a:lnTo>
                      <a:pt x="173" y="16"/>
                    </a:lnTo>
                    <a:lnTo>
                      <a:pt x="174" y="24"/>
                    </a:lnTo>
                    <a:lnTo>
                      <a:pt x="183" y="28"/>
                    </a:lnTo>
                    <a:lnTo>
                      <a:pt x="184" y="26"/>
                    </a:lnTo>
                    <a:lnTo>
                      <a:pt x="186" y="26"/>
                    </a:lnTo>
                    <a:lnTo>
                      <a:pt x="187" y="28"/>
                    </a:lnTo>
                    <a:lnTo>
                      <a:pt x="190" y="31"/>
                    </a:lnTo>
                    <a:lnTo>
                      <a:pt x="191" y="38"/>
                    </a:lnTo>
                    <a:lnTo>
                      <a:pt x="191" y="41"/>
                    </a:lnTo>
                    <a:lnTo>
                      <a:pt x="191" y="42"/>
                    </a:lnTo>
                    <a:lnTo>
                      <a:pt x="196" y="45"/>
                    </a:lnTo>
                    <a:lnTo>
                      <a:pt x="197" y="44"/>
                    </a:lnTo>
                    <a:lnTo>
                      <a:pt x="199" y="44"/>
                    </a:lnTo>
                    <a:lnTo>
                      <a:pt x="202" y="44"/>
                    </a:lnTo>
                    <a:lnTo>
                      <a:pt x="204" y="47"/>
                    </a:lnTo>
                    <a:lnTo>
                      <a:pt x="206" y="47"/>
                    </a:lnTo>
                    <a:lnTo>
                      <a:pt x="209" y="47"/>
                    </a:lnTo>
                    <a:lnTo>
                      <a:pt x="219" y="44"/>
                    </a:lnTo>
                    <a:lnTo>
                      <a:pt x="220" y="44"/>
                    </a:lnTo>
                    <a:lnTo>
                      <a:pt x="228" y="56"/>
                    </a:lnTo>
                    <a:lnTo>
                      <a:pt x="229" y="54"/>
                    </a:lnTo>
                    <a:lnTo>
                      <a:pt x="231" y="53"/>
                    </a:lnTo>
                    <a:lnTo>
                      <a:pt x="232" y="53"/>
                    </a:lnTo>
                    <a:lnTo>
                      <a:pt x="234" y="54"/>
                    </a:lnTo>
                    <a:lnTo>
                      <a:pt x="238" y="56"/>
                    </a:lnTo>
                    <a:lnTo>
                      <a:pt x="239" y="57"/>
                    </a:lnTo>
                    <a:lnTo>
                      <a:pt x="244" y="57"/>
                    </a:lnTo>
                    <a:lnTo>
                      <a:pt x="247" y="60"/>
                    </a:lnTo>
                    <a:lnTo>
                      <a:pt x="250" y="60"/>
                    </a:lnTo>
                    <a:lnTo>
                      <a:pt x="252" y="61"/>
                    </a:lnTo>
                    <a:lnTo>
                      <a:pt x="257" y="63"/>
                    </a:lnTo>
                    <a:lnTo>
                      <a:pt x="258" y="64"/>
                    </a:lnTo>
                    <a:lnTo>
                      <a:pt x="257" y="64"/>
                    </a:lnTo>
                    <a:lnTo>
                      <a:pt x="258" y="70"/>
                    </a:lnTo>
                    <a:lnTo>
                      <a:pt x="257" y="74"/>
                    </a:lnTo>
                    <a:lnTo>
                      <a:pt x="252" y="76"/>
                    </a:lnTo>
                    <a:lnTo>
                      <a:pt x="254" y="77"/>
                    </a:lnTo>
                    <a:lnTo>
                      <a:pt x="255" y="77"/>
                    </a:lnTo>
                    <a:lnTo>
                      <a:pt x="257" y="79"/>
                    </a:lnTo>
                    <a:lnTo>
                      <a:pt x="252" y="80"/>
                    </a:lnTo>
                    <a:lnTo>
                      <a:pt x="251" y="82"/>
                    </a:lnTo>
                    <a:lnTo>
                      <a:pt x="251" y="85"/>
                    </a:lnTo>
                    <a:lnTo>
                      <a:pt x="252" y="86"/>
                    </a:lnTo>
                    <a:lnTo>
                      <a:pt x="254" y="87"/>
                    </a:lnTo>
                    <a:lnTo>
                      <a:pt x="252" y="90"/>
                    </a:lnTo>
                    <a:lnTo>
                      <a:pt x="255" y="90"/>
                    </a:lnTo>
                    <a:lnTo>
                      <a:pt x="252" y="102"/>
                    </a:lnTo>
                    <a:lnTo>
                      <a:pt x="250" y="102"/>
                    </a:lnTo>
                    <a:lnTo>
                      <a:pt x="247" y="101"/>
                    </a:lnTo>
                    <a:lnTo>
                      <a:pt x="244" y="102"/>
                    </a:lnTo>
                    <a:lnTo>
                      <a:pt x="241" y="99"/>
                    </a:lnTo>
                    <a:lnTo>
                      <a:pt x="239" y="101"/>
                    </a:lnTo>
                    <a:lnTo>
                      <a:pt x="236" y="105"/>
                    </a:lnTo>
                    <a:lnTo>
                      <a:pt x="232" y="106"/>
                    </a:lnTo>
                    <a:lnTo>
                      <a:pt x="231" y="109"/>
                    </a:lnTo>
                    <a:lnTo>
                      <a:pt x="231" y="117"/>
                    </a:lnTo>
                    <a:lnTo>
                      <a:pt x="222" y="118"/>
                    </a:lnTo>
                    <a:lnTo>
                      <a:pt x="219" y="121"/>
                    </a:lnTo>
                    <a:lnTo>
                      <a:pt x="218" y="119"/>
                    </a:lnTo>
                    <a:lnTo>
                      <a:pt x="212" y="122"/>
                    </a:lnTo>
                    <a:lnTo>
                      <a:pt x="212" y="125"/>
                    </a:lnTo>
                    <a:lnTo>
                      <a:pt x="209" y="124"/>
                    </a:lnTo>
                    <a:lnTo>
                      <a:pt x="203" y="127"/>
                    </a:lnTo>
                    <a:lnTo>
                      <a:pt x="202" y="127"/>
                    </a:lnTo>
                    <a:lnTo>
                      <a:pt x="202" y="125"/>
                    </a:lnTo>
                    <a:lnTo>
                      <a:pt x="199" y="127"/>
                    </a:lnTo>
                    <a:lnTo>
                      <a:pt x="196" y="127"/>
                    </a:lnTo>
                    <a:lnTo>
                      <a:pt x="193" y="131"/>
                    </a:lnTo>
                    <a:lnTo>
                      <a:pt x="191" y="131"/>
                    </a:lnTo>
                    <a:lnTo>
                      <a:pt x="189" y="137"/>
                    </a:lnTo>
                    <a:lnTo>
                      <a:pt x="186" y="137"/>
                    </a:lnTo>
                    <a:lnTo>
                      <a:pt x="187" y="137"/>
                    </a:lnTo>
                    <a:lnTo>
                      <a:pt x="189" y="135"/>
                    </a:lnTo>
                    <a:lnTo>
                      <a:pt x="190" y="134"/>
                    </a:lnTo>
                    <a:lnTo>
                      <a:pt x="189" y="130"/>
                    </a:lnTo>
                    <a:lnTo>
                      <a:pt x="187" y="130"/>
                    </a:lnTo>
                    <a:lnTo>
                      <a:pt x="186" y="134"/>
                    </a:lnTo>
                    <a:lnTo>
                      <a:pt x="184" y="137"/>
                    </a:lnTo>
                    <a:lnTo>
                      <a:pt x="184" y="143"/>
                    </a:lnTo>
                    <a:lnTo>
                      <a:pt x="183" y="143"/>
                    </a:lnTo>
                    <a:lnTo>
                      <a:pt x="183" y="141"/>
                    </a:lnTo>
                    <a:lnTo>
                      <a:pt x="181" y="138"/>
                    </a:lnTo>
                    <a:lnTo>
                      <a:pt x="181" y="138"/>
                    </a:lnTo>
                    <a:lnTo>
                      <a:pt x="181" y="137"/>
                    </a:lnTo>
                    <a:lnTo>
                      <a:pt x="180" y="138"/>
                    </a:lnTo>
                    <a:lnTo>
                      <a:pt x="178" y="140"/>
                    </a:lnTo>
                    <a:lnTo>
                      <a:pt x="178" y="140"/>
                    </a:lnTo>
                    <a:lnTo>
                      <a:pt x="178" y="138"/>
                    </a:lnTo>
                    <a:lnTo>
                      <a:pt x="178" y="137"/>
                    </a:lnTo>
                    <a:lnTo>
                      <a:pt x="174" y="137"/>
                    </a:lnTo>
                    <a:lnTo>
                      <a:pt x="174" y="137"/>
                    </a:lnTo>
                    <a:lnTo>
                      <a:pt x="174" y="134"/>
                    </a:lnTo>
                    <a:lnTo>
                      <a:pt x="173" y="133"/>
                    </a:lnTo>
                    <a:lnTo>
                      <a:pt x="173" y="137"/>
                    </a:lnTo>
                    <a:lnTo>
                      <a:pt x="173" y="137"/>
                    </a:lnTo>
                    <a:lnTo>
                      <a:pt x="167" y="135"/>
                    </a:lnTo>
                    <a:lnTo>
                      <a:pt x="170" y="138"/>
                    </a:lnTo>
                    <a:lnTo>
                      <a:pt x="171" y="137"/>
                    </a:lnTo>
                    <a:lnTo>
                      <a:pt x="171" y="138"/>
                    </a:lnTo>
                    <a:lnTo>
                      <a:pt x="173" y="140"/>
                    </a:lnTo>
                    <a:lnTo>
                      <a:pt x="173" y="141"/>
                    </a:lnTo>
                    <a:lnTo>
                      <a:pt x="173" y="143"/>
                    </a:lnTo>
                    <a:lnTo>
                      <a:pt x="174" y="141"/>
                    </a:lnTo>
                    <a:lnTo>
                      <a:pt x="174" y="140"/>
                    </a:lnTo>
                    <a:lnTo>
                      <a:pt x="177" y="140"/>
                    </a:lnTo>
                    <a:lnTo>
                      <a:pt x="178" y="141"/>
                    </a:lnTo>
                    <a:lnTo>
                      <a:pt x="180" y="141"/>
                    </a:lnTo>
                    <a:lnTo>
                      <a:pt x="178" y="144"/>
                    </a:lnTo>
                    <a:lnTo>
                      <a:pt x="178" y="144"/>
                    </a:lnTo>
                    <a:lnTo>
                      <a:pt x="180" y="144"/>
                    </a:lnTo>
                    <a:lnTo>
                      <a:pt x="181" y="144"/>
                    </a:lnTo>
                    <a:lnTo>
                      <a:pt x="180" y="147"/>
                    </a:lnTo>
                    <a:lnTo>
                      <a:pt x="184" y="146"/>
                    </a:lnTo>
                    <a:lnTo>
                      <a:pt x="186" y="149"/>
                    </a:lnTo>
                    <a:lnTo>
                      <a:pt x="186" y="154"/>
                    </a:lnTo>
                    <a:lnTo>
                      <a:pt x="187" y="153"/>
                    </a:lnTo>
                    <a:lnTo>
                      <a:pt x="191" y="154"/>
                    </a:lnTo>
                    <a:lnTo>
                      <a:pt x="191" y="153"/>
                    </a:lnTo>
                    <a:lnTo>
                      <a:pt x="194" y="154"/>
                    </a:lnTo>
                    <a:lnTo>
                      <a:pt x="197" y="151"/>
                    </a:lnTo>
                    <a:lnTo>
                      <a:pt x="199" y="151"/>
                    </a:lnTo>
                    <a:lnTo>
                      <a:pt x="200" y="153"/>
                    </a:lnTo>
                    <a:lnTo>
                      <a:pt x="202" y="151"/>
                    </a:lnTo>
                    <a:lnTo>
                      <a:pt x="204" y="150"/>
                    </a:lnTo>
                    <a:lnTo>
                      <a:pt x="207" y="151"/>
                    </a:lnTo>
                    <a:lnTo>
                      <a:pt x="207" y="153"/>
                    </a:lnTo>
                    <a:lnTo>
                      <a:pt x="206" y="154"/>
                    </a:lnTo>
                    <a:lnTo>
                      <a:pt x="206" y="159"/>
                    </a:lnTo>
                    <a:lnTo>
                      <a:pt x="202" y="159"/>
                    </a:lnTo>
                    <a:lnTo>
                      <a:pt x="200" y="160"/>
                    </a:lnTo>
                    <a:lnTo>
                      <a:pt x="193" y="157"/>
                    </a:lnTo>
                    <a:lnTo>
                      <a:pt x="186" y="164"/>
                    </a:lnTo>
                    <a:lnTo>
                      <a:pt x="183" y="163"/>
                    </a:lnTo>
                    <a:lnTo>
                      <a:pt x="178" y="164"/>
                    </a:lnTo>
                    <a:lnTo>
                      <a:pt x="180" y="166"/>
                    </a:lnTo>
                    <a:lnTo>
                      <a:pt x="178" y="166"/>
                    </a:lnTo>
                    <a:lnTo>
                      <a:pt x="177" y="167"/>
                    </a:lnTo>
                    <a:lnTo>
                      <a:pt x="177" y="169"/>
                    </a:lnTo>
                    <a:lnTo>
                      <a:pt x="175" y="170"/>
                    </a:lnTo>
                    <a:lnTo>
                      <a:pt x="174" y="170"/>
                    </a:lnTo>
                    <a:lnTo>
                      <a:pt x="171" y="172"/>
                    </a:lnTo>
                    <a:lnTo>
                      <a:pt x="167" y="172"/>
                    </a:lnTo>
                    <a:lnTo>
                      <a:pt x="167" y="172"/>
                    </a:lnTo>
                    <a:lnTo>
                      <a:pt x="162" y="169"/>
                    </a:lnTo>
                    <a:lnTo>
                      <a:pt x="164" y="167"/>
                    </a:lnTo>
                    <a:lnTo>
                      <a:pt x="164" y="160"/>
                    </a:lnTo>
                    <a:lnTo>
                      <a:pt x="162" y="157"/>
                    </a:lnTo>
                    <a:lnTo>
                      <a:pt x="161" y="156"/>
                    </a:lnTo>
                    <a:lnTo>
                      <a:pt x="159" y="157"/>
                    </a:lnTo>
                    <a:lnTo>
                      <a:pt x="155" y="153"/>
                    </a:lnTo>
                    <a:lnTo>
                      <a:pt x="151" y="153"/>
                    </a:lnTo>
                    <a:lnTo>
                      <a:pt x="151" y="151"/>
                    </a:lnTo>
                    <a:lnTo>
                      <a:pt x="151" y="150"/>
                    </a:lnTo>
                    <a:lnTo>
                      <a:pt x="154" y="149"/>
                    </a:lnTo>
                    <a:lnTo>
                      <a:pt x="159" y="144"/>
                    </a:lnTo>
                    <a:lnTo>
                      <a:pt x="167" y="141"/>
                    </a:lnTo>
                    <a:lnTo>
                      <a:pt x="168" y="141"/>
                    </a:lnTo>
                    <a:lnTo>
                      <a:pt x="167" y="140"/>
                    </a:lnTo>
                    <a:lnTo>
                      <a:pt x="167" y="138"/>
                    </a:lnTo>
                    <a:lnTo>
                      <a:pt x="164" y="137"/>
                    </a:lnTo>
                    <a:lnTo>
                      <a:pt x="164" y="138"/>
                    </a:lnTo>
                    <a:lnTo>
                      <a:pt x="161" y="137"/>
                    </a:lnTo>
                    <a:lnTo>
                      <a:pt x="161" y="135"/>
                    </a:lnTo>
                    <a:lnTo>
                      <a:pt x="158" y="137"/>
                    </a:lnTo>
                    <a:lnTo>
                      <a:pt x="158" y="137"/>
                    </a:lnTo>
                    <a:lnTo>
                      <a:pt x="151" y="138"/>
                    </a:lnTo>
                    <a:lnTo>
                      <a:pt x="146" y="137"/>
                    </a:lnTo>
                    <a:lnTo>
                      <a:pt x="145" y="135"/>
                    </a:lnTo>
                    <a:lnTo>
                      <a:pt x="144" y="135"/>
                    </a:lnTo>
                    <a:lnTo>
                      <a:pt x="141" y="135"/>
                    </a:lnTo>
                    <a:lnTo>
                      <a:pt x="139" y="134"/>
                    </a:lnTo>
                    <a:lnTo>
                      <a:pt x="144" y="131"/>
                    </a:lnTo>
                    <a:lnTo>
                      <a:pt x="142" y="131"/>
                    </a:lnTo>
                    <a:lnTo>
                      <a:pt x="139" y="131"/>
                    </a:lnTo>
                    <a:lnTo>
                      <a:pt x="138" y="130"/>
                    </a:lnTo>
                    <a:lnTo>
                      <a:pt x="139" y="130"/>
                    </a:lnTo>
                    <a:lnTo>
                      <a:pt x="145" y="130"/>
                    </a:lnTo>
                    <a:lnTo>
                      <a:pt x="146" y="130"/>
                    </a:lnTo>
                    <a:lnTo>
                      <a:pt x="145" y="128"/>
                    </a:lnTo>
                    <a:lnTo>
                      <a:pt x="144" y="128"/>
                    </a:lnTo>
                    <a:lnTo>
                      <a:pt x="141" y="124"/>
                    </a:lnTo>
                    <a:lnTo>
                      <a:pt x="141" y="125"/>
                    </a:lnTo>
                    <a:lnTo>
                      <a:pt x="136" y="127"/>
                    </a:lnTo>
                    <a:lnTo>
                      <a:pt x="136" y="124"/>
                    </a:lnTo>
                    <a:lnTo>
                      <a:pt x="132" y="127"/>
                    </a:lnTo>
                    <a:lnTo>
                      <a:pt x="125" y="130"/>
                    </a:lnTo>
                    <a:lnTo>
                      <a:pt x="123" y="131"/>
                    </a:lnTo>
                    <a:lnTo>
                      <a:pt x="120" y="137"/>
                    </a:lnTo>
                    <a:lnTo>
                      <a:pt x="120" y="135"/>
                    </a:lnTo>
                    <a:lnTo>
                      <a:pt x="119" y="134"/>
                    </a:lnTo>
                    <a:lnTo>
                      <a:pt x="117" y="134"/>
                    </a:lnTo>
                    <a:lnTo>
                      <a:pt x="116" y="133"/>
                    </a:lnTo>
                    <a:lnTo>
                      <a:pt x="116" y="134"/>
                    </a:lnTo>
                    <a:lnTo>
                      <a:pt x="119" y="135"/>
                    </a:lnTo>
                    <a:lnTo>
                      <a:pt x="119" y="138"/>
                    </a:lnTo>
                    <a:lnTo>
                      <a:pt x="116" y="143"/>
                    </a:lnTo>
                    <a:lnTo>
                      <a:pt x="113" y="143"/>
                    </a:lnTo>
                    <a:lnTo>
                      <a:pt x="112" y="144"/>
                    </a:lnTo>
                    <a:lnTo>
                      <a:pt x="110" y="146"/>
                    </a:lnTo>
                    <a:lnTo>
                      <a:pt x="110" y="147"/>
                    </a:lnTo>
                    <a:lnTo>
                      <a:pt x="109" y="147"/>
                    </a:lnTo>
                    <a:lnTo>
                      <a:pt x="109" y="144"/>
                    </a:lnTo>
                    <a:lnTo>
                      <a:pt x="109" y="143"/>
                    </a:lnTo>
                    <a:lnTo>
                      <a:pt x="109" y="151"/>
                    </a:lnTo>
                    <a:lnTo>
                      <a:pt x="109" y="153"/>
                    </a:lnTo>
                    <a:lnTo>
                      <a:pt x="107" y="151"/>
                    </a:lnTo>
                    <a:lnTo>
                      <a:pt x="104" y="151"/>
                    </a:lnTo>
                    <a:lnTo>
                      <a:pt x="99" y="153"/>
                    </a:lnTo>
                    <a:lnTo>
                      <a:pt x="96" y="154"/>
                    </a:lnTo>
                    <a:lnTo>
                      <a:pt x="93" y="154"/>
                    </a:lnTo>
                    <a:lnTo>
                      <a:pt x="90" y="150"/>
                    </a:lnTo>
                    <a:lnTo>
                      <a:pt x="87" y="151"/>
                    </a:lnTo>
                    <a:lnTo>
                      <a:pt x="87" y="150"/>
                    </a:lnTo>
                    <a:lnTo>
                      <a:pt x="90" y="150"/>
                    </a:lnTo>
                    <a:lnTo>
                      <a:pt x="91" y="149"/>
                    </a:lnTo>
                    <a:lnTo>
                      <a:pt x="91" y="147"/>
                    </a:lnTo>
                    <a:lnTo>
                      <a:pt x="93" y="144"/>
                    </a:lnTo>
                    <a:lnTo>
                      <a:pt x="94" y="143"/>
                    </a:lnTo>
                    <a:lnTo>
                      <a:pt x="94" y="141"/>
                    </a:lnTo>
                    <a:lnTo>
                      <a:pt x="96" y="140"/>
                    </a:lnTo>
                    <a:lnTo>
                      <a:pt x="97" y="138"/>
                    </a:lnTo>
                    <a:lnTo>
                      <a:pt x="99" y="133"/>
                    </a:lnTo>
                    <a:lnTo>
                      <a:pt x="100" y="131"/>
                    </a:lnTo>
                    <a:lnTo>
                      <a:pt x="101" y="130"/>
                    </a:lnTo>
                    <a:lnTo>
                      <a:pt x="103" y="131"/>
                    </a:lnTo>
                    <a:lnTo>
                      <a:pt x="104" y="130"/>
                    </a:lnTo>
                    <a:lnTo>
                      <a:pt x="110" y="131"/>
                    </a:lnTo>
                    <a:lnTo>
                      <a:pt x="112" y="131"/>
                    </a:lnTo>
                    <a:lnTo>
                      <a:pt x="113" y="128"/>
                    </a:lnTo>
                    <a:lnTo>
                      <a:pt x="112" y="127"/>
                    </a:lnTo>
                    <a:lnTo>
                      <a:pt x="113" y="125"/>
                    </a:lnTo>
                    <a:lnTo>
                      <a:pt x="112" y="122"/>
                    </a:lnTo>
                    <a:lnTo>
                      <a:pt x="112" y="121"/>
                    </a:lnTo>
                    <a:lnTo>
                      <a:pt x="107" y="119"/>
                    </a:lnTo>
                    <a:lnTo>
                      <a:pt x="106" y="115"/>
                    </a:lnTo>
                    <a:lnTo>
                      <a:pt x="106" y="114"/>
                    </a:lnTo>
                    <a:lnTo>
                      <a:pt x="106" y="111"/>
                    </a:lnTo>
                    <a:lnTo>
                      <a:pt x="103" y="111"/>
                    </a:lnTo>
                    <a:lnTo>
                      <a:pt x="103" y="109"/>
                    </a:lnTo>
                    <a:lnTo>
                      <a:pt x="101" y="108"/>
                    </a:lnTo>
                    <a:lnTo>
                      <a:pt x="101" y="99"/>
                    </a:lnTo>
                    <a:lnTo>
                      <a:pt x="100" y="98"/>
                    </a:lnTo>
                    <a:lnTo>
                      <a:pt x="99" y="98"/>
                    </a:lnTo>
                    <a:lnTo>
                      <a:pt x="96" y="95"/>
                    </a:lnTo>
                    <a:lnTo>
                      <a:pt x="93" y="95"/>
                    </a:lnTo>
                    <a:lnTo>
                      <a:pt x="90" y="95"/>
                    </a:lnTo>
                    <a:lnTo>
                      <a:pt x="87" y="95"/>
                    </a:lnTo>
                    <a:lnTo>
                      <a:pt x="81" y="89"/>
                    </a:lnTo>
                    <a:lnTo>
                      <a:pt x="77" y="87"/>
                    </a:lnTo>
                    <a:lnTo>
                      <a:pt x="69" y="89"/>
                    </a:lnTo>
                    <a:lnTo>
                      <a:pt x="68" y="89"/>
                    </a:lnTo>
                    <a:lnTo>
                      <a:pt x="67" y="90"/>
                    </a:lnTo>
                    <a:lnTo>
                      <a:pt x="65" y="9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15" name="Freeform 947"/>
              <p:cNvSpPr>
                <a:spLocks/>
              </p:cNvSpPr>
              <p:nvPr/>
            </p:nvSpPr>
            <p:spPr bwMode="auto">
              <a:xfrm>
                <a:off x="6274340" y="2393344"/>
                <a:ext cx="88658" cy="59834"/>
              </a:xfrm>
              <a:custGeom>
                <a:avLst/>
                <a:gdLst/>
                <a:ahLst/>
                <a:cxnLst>
                  <a:cxn ang="0">
                    <a:pos x="96" y="38"/>
                  </a:cxn>
                  <a:cxn ang="0">
                    <a:pos x="90" y="41"/>
                  </a:cxn>
                  <a:cxn ang="0">
                    <a:pos x="87" y="44"/>
                  </a:cxn>
                  <a:cxn ang="0">
                    <a:pos x="86" y="48"/>
                  </a:cxn>
                  <a:cxn ang="0">
                    <a:pos x="84" y="51"/>
                  </a:cxn>
                  <a:cxn ang="0">
                    <a:pos x="77" y="54"/>
                  </a:cxn>
                  <a:cxn ang="0">
                    <a:pos x="74" y="53"/>
                  </a:cxn>
                  <a:cxn ang="0">
                    <a:pos x="70" y="58"/>
                  </a:cxn>
                  <a:cxn ang="0">
                    <a:pos x="68" y="53"/>
                  </a:cxn>
                  <a:cxn ang="0">
                    <a:pos x="54" y="48"/>
                  </a:cxn>
                  <a:cxn ang="0">
                    <a:pos x="42" y="53"/>
                  </a:cxn>
                  <a:cxn ang="0">
                    <a:pos x="38" y="56"/>
                  </a:cxn>
                  <a:cxn ang="0">
                    <a:pos x="29" y="54"/>
                  </a:cxn>
                  <a:cxn ang="0">
                    <a:pos x="6" y="34"/>
                  </a:cxn>
                  <a:cxn ang="0">
                    <a:pos x="1" y="25"/>
                  </a:cxn>
                  <a:cxn ang="0">
                    <a:pos x="0" y="19"/>
                  </a:cxn>
                  <a:cxn ang="0">
                    <a:pos x="4" y="22"/>
                  </a:cxn>
                  <a:cxn ang="0">
                    <a:pos x="6" y="19"/>
                  </a:cxn>
                  <a:cxn ang="0">
                    <a:pos x="20" y="11"/>
                  </a:cxn>
                  <a:cxn ang="0">
                    <a:pos x="32" y="0"/>
                  </a:cxn>
                  <a:cxn ang="0">
                    <a:pos x="38" y="8"/>
                  </a:cxn>
                  <a:cxn ang="0">
                    <a:pos x="41" y="8"/>
                  </a:cxn>
                  <a:cxn ang="0">
                    <a:pos x="48" y="6"/>
                  </a:cxn>
                  <a:cxn ang="0">
                    <a:pos x="51" y="8"/>
                  </a:cxn>
                  <a:cxn ang="0">
                    <a:pos x="60" y="12"/>
                  </a:cxn>
                  <a:cxn ang="0">
                    <a:pos x="62" y="13"/>
                  </a:cxn>
                  <a:cxn ang="0">
                    <a:pos x="61" y="16"/>
                  </a:cxn>
                  <a:cxn ang="0">
                    <a:pos x="68" y="22"/>
                  </a:cxn>
                  <a:cxn ang="0">
                    <a:pos x="70" y="19"/>
                  </a:cxn>
                  <a:cxn ang="0">
                    <a:pos x="81" y="21"/>
                  </a:cxn>
                  <a:cxn ang="0">
                    <a:pos x="84" y="27"/>
                  </a:cxn>
                  <a:cxn ang="0">
                    <a:pos x="89" y="27"/>
                  </a:cxn>
                  <a:cxn ang="0">
                    <a:pos x="97" y="37"/>
                  </a:cxn>
                </a:cxnLst>
                <a:rect l="0" t="0" r="r" b="b"/>
                <a:pathLst>
                  <a:path w="97" h="58">
                    <a:moveTo>
                      <a:pt x="97" y="37"/>
                    </a:moveTo>
                    <a:lnTo>
                      <a:pt x="96" y="38"/>
                    </a:lnTo>
                    <a:lnTo>
                      <a:pt x="93" y="38"/>
                    </a:lnTo>
                    <a:lnTo>
                      <a:pt x="90" y="41"/>
                    </a:lnTo>
                    <a:lnTo>
                      <a:pt x="89" y="42"/>
                    </a:lnTo>
                    <a:lnTo>
                      <a:pt x="87" y="44"/>
                    </a:lnTo>
                    <a:lnTo>
                      <a:pt x="87" y="47"/>
                    </a:lnTo>
                    <a:lnTo>
                      <a:pt x="86" y="48"/>
                    </a:lnTo>
                    <a:lnTo>
                      <a:pt x="84" y="50"/>
                    </a:lnTo>
                    <a:lnTo>
                      <a:pt x="84" y="51"/>
                    </a:lnTo>
                    <a:lnTo>
                      <a:pt x="80" y="54"/>
                    </a:lnTo>
                    <a:lnTo>
                      <a:pt x="77" y="54"/>
                    </a:lnTo>
                    <a:lnTo>
                      <a:pt x="76" y="53"/>
                    </a:lnTo>
                    <a:lnTo>
                      <a:pt x="74" y="53"/>
                    </a:lnTo>
                    <a:lnTo>
                      <a:pt x="70" y="58"/>
                    </a:lnTo>
                    <a:lnTo>
                      <a:pt x="70" y="58"/>
                    </a:lnTo>
                    <a:lnTo>
                      <a:pt x="70" y="56"/>
                    </a:lnTo>
                    <a:lnTo>
                      <a:pt x="68" y="53"/>
                    </a:lnTo>
                    <a:lnTo>
                      <a:pt x="60" y="53"/>
                    </a:lnTo>
                    <a:lnTo>
                      <a:pt x="54" y="48"/>
                    </a:lnTo>
                    <a:lnTo>
                      <a:pt x="45" y="48"/>
                    </a:lnTo>
                    <a:lnTo>
                      <a:pt x="42" y="53"/>
                    </a:lnTo>
                    <a:lnTo>
                      <a:pt x="39" y="56"/>
                    </a:lnTo>
                    <a:lnTo>
                      <a:pt x="38" y="56"/>
                    </a:lnTo>
                    <a:lnTo>
                      <a:pt x="32" y="56"/>
                    </a:lnTo>
                    <a:lnTo>
                      <a:pt x="29" y="54"/>
                    </a:lnTo>
                    <a:lnTo>
                      <a:pt x="26" y="54"/>
                    </a:lnTo>
                    <a:lnTo>
                      <a:pt x="6" y="34"/>
                    </a:lnTo>
                    <a:lnTo>
                      <a:pt x="6" y="27"/>
                    </a:lnTo>
                    <a:lnTo>
                      <a:pt x="1" y="25"/>
                    </a:lnTo>
                    <a:lnTo>
                      <a:pt x="0" y="22"/>
                    </a:lnTo>
                    <a:lnTo>
                      <a:pt x="0" y="19"/>
                    </a:lnTo>
                    <a:lnTo>
                      <a:pt x="0" y="19"/>
                    </a:lnTo>
                    <a:lnTo>
                      <a:pt x="4" y="22"/>
                    </a:lnTo>
                    <a:lnTo>
                      <a:pt x="4" y="22"/>
                    </a:lnTo>
                    <a:lnTo>
                      <a:pt x="6" y="19"/>
                    </a:lnTo>
                    <a:lnTo>
                      <a:pt x="19" y="13"/>
                    </a:lnTo>
                    <a:lnTo>
                      <a:pt x="20" y="11"/>
                    </a:lnTo>
                    <a:lnTo>
                      <a:pt x="31" y="6"/>
                    </a:lnTo>
                    <a:lnTo>
                      <a:pt x="32" y="0"/>
                    </a:lnTo>
                    <a:lnTo>
                      <a:pt x="35" y="2"/>
                    </a:lnTo>
                    <a:lnTo>
                      <a:pt x="38" y="8"/>
                    </a:lnTo>
                    <a:lnTo>
                      <a:pt x="39" y="8"/>
                    </a:lnTo>
                    <a:lnTo>
                      <a:pt x="41" y="8"/>
                    </a:lnTo>
                    <a:lnTo>
                      <a:pt x="45" y="5"/>
                    </a:lnTo>
                    <a:lnTo>
                      <a:pt x="48" y="6"/>
                    </a:lnTo>
                    <a:lnTo>
                      <a:pt x="49" y="8"/>
                    </a:lnTo>
                    <a:lnTo>
                      <a:pt x="51" y="8"/>
                    </a:lnTo>
                    <a:lnTo>
                      <a:pt x="57" y="9"/>
                    </a:lnTo>
                    <a:lnTo>
                      <a:pt x="60" y="12"/>
                    </a:lnTo>
                    <a:lnTo>
                      <a:pt x="62" y="12"/>
                    </a:lnTo>
                    <a:lnTo>
                      <a:pt x="62" y="13"/>
                    </a:lnTo>
                    <a:lnTo>
                      <a:pt x="62" y="13"/>
                    </a:lnTo>
                    <a:lnTo>
                      <a:pt x="61" y="16"/>
                    </a:lnTo>
                    <a:lnTo>
                      <a:pt x="67" y="21"/>
                    </a:lnTo>
                    <a:lnTo>
                      <a:pt x="68" y="22"/>
                    </a:lnTo>
                    <a:lnTo>
                      <a:pt x="71" y="21"/>
                    </a:lnTo>
                    <a:lnTo>
                      <a:pt x="70" y="19"/>
                    </a:lnTo>
                    <a:lnTo>
                      <a:pt x="71" y="16"/>
                    </a:lnTo>
                    <a:lnTo>
                      <a:pt x="81" y="21"/>
                    </a:lnTo>
                    <a:lnTo>
                      <a:pt x="83" y="24"/>
                    </a:lnTo>
                    <a:lnTo>
                      <a:pt x="84" y="27"/>
                    </a:lnTo>
                    <a:lnTo>
                      <a:pt x="86" y="25"/>
                    </a:lnTo>
                    <a:lnTo>
                      <a:pt x="89" y="27"/>
                    </a:lnTo>
                    <a:lnTo>
                      <a:pt x="93" y="34"/>
                    </a:lnTo>
                    <a:lnTo>
                      <a:pt x="97" y="37"/>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16" name="Freeform 948"/>
              <p:cNvSpPr>
                <a:spLocks/>
              </p:cNvSpPr>
              <p:nvPr/>
            </p:nvSpPr>
            <p:spPr bwMode="auto">
              <a:xfrm>
                <a:off x="6274340" y="2393344"/>
                <a:ext cx="88658" cy="59834"/>
              </a:xfrm>
              <a:custGeom>
                <a:avLst/>
                <a:gdLst/>
                <a:ahLst/>
                <a:cxnLst>
                  <a:cxn ang="0">
                    <a:pos x="96" y="38"/>
                  </a:cxn>
                  <a:cxn ang="0">
                    <a:pos x="90" y="41"/>
                  </a:cxn>
                  <a:cxn ang="0">
                    <a:pos x="87" y="44"/>
                  </a:cxn>
                  <a:cxn ang="0">
                    <a:pos x="86" y="48"/>
                  </a:cxn>
                  <a:cxn ang="0">
                    <a:pos x="84" y="51"/>
                  </a:cxn>
                  <a:cxn ang="0">
                    <a:pos x="77" y="54"/>
                  </a:cxn>
                  <a:cxn ang="0">
                    <a:pos x="74" y="53"/>
                  </a:cxn>
                  <a:cxn ang="0">
                    <a:pos x="70" y="58"/>
                  </a:cxn>
                  <a:cxn ang="0">
                    <a:pos x="68" y="53"/>
                  </a:cxn>
                  <a:cxn ang="0">
                    <a:pos x="54" y="48"/>
                  </a:cxn>
                  <a:cxn ang="0">
                    <a:pos x="42" y="53"/>
                  </a:cxn>
                  <a:cxn ang="0">
                    <a:pos x="38" y="56"/>
                  </a:cxn>
                  <a:cxn ang="0">
                    <a:pos x="29" y="54"/>
                  </a:cxn>
                  <a:cxn ang="0">
                    <a:pos x="6" y="34"/>
                  </a:cxn>
                  <a:cxn ang="0">
                    <a:pos x="1" y="25"/>
                  </a:cxn>
                  <a:cxn ang="0">
                    <a:pos x="0" y="19"/>
                  </a:cxn>
                  <a:cxn ang="0">
                    <a:pos x="4" y="22"/>
                  </a:cxn>
                  <a:cxn ang="0">
                    <a:pos x="6" y="19"/>
                  </a:cxn>
                  <a:cxn ang="0">
                    <a:pos x="20" y="11"/>
                  </a:cxn>
                  <a:cxn ang="0">
                    <a:pos x="32" y="0"/>
                  </a:cxn>
                  <a:cxn ang="0">
                    <a:pos x="38" y="8"/>
                  </a:cxn>
                  <a:cxn ang="0">
                    <a:pos x="41" y="8"/>
                  </a:cxn>
                  <a:cxn ang="0">
                    <a:pos x="48" y="6"/>
                  </a:cxn>
                  <a:cxn ang="0">
                    <a:pos x="51" y="8"/>
                  </a:cxn>
                  <a:cxn ang="0">
                    <a:pos x="60" y="12"/>
                  </a:cxn>
                  <a:cxn ang="0">
                    <a:pos x="62" y="13"/>
                  </a:cxn>
                  <a:cxn ang="0">
                    <a:pos x="61" y="16"/>
                  </a:cxn>
                  <a:cxn ang="0">
                    <a:pos x="68" y="22"/>
                  </a:cxn>
                  <a:cxn ang="0">
                    <a:pos x="70" y="19"/>
                  </a:cxn>
                  <a:cxn ang="0">
                    <a:pos x="81" y="21"/>
                  </a:cxn>
                  <a:cxn ang="0">
                    <a:pos x="84" y="27"/>
                  </a:cxn>
                  <a:cxn ang="0">
                    <a:pos x="89" y="27"/>
                  </a:cxn>
                  <a:cxn ang="0">
                    <a:pos x="97" y="37"/>
                  </a:cxn>
                </a:cxnLst>
                <a:rect l="0" t="0" r="r" b="b"/>
                <a:pathLst>
                  <a:path w="97" h="58">
                    <a:moveTo>
                      <a:pt x="97" y="37"/>
                    </a:moveTo>
                    <a:lnTo>
                      <a:pt x="96" y="38"/>
                    </a:lnTo>
                    <a:lnTo>
                      <a:pt x="93" y="38"/>
                    </a:lnTo>
                    <a:lnTo>
                      <a:pt x="90" y="41"/>
                    </a:lnTo>
                    <a:lnTo>
                      <a:pt x="89" y="42"/>
                    </a:lnTo>
                    <a:lnTo>
                      <a:pt x="87" y="44"/>
                    </a:lnTo>
                    <a:lnTo>
                      <a:pt x="87" y="47"/>
                    </a:lnTo>
                    <a:lnTo>
                      <a:pt x="86" y="48"/>
                    </a:lnTo>
                    <a:lnTo>
                      <a:pt x="84" y="50"/>
                    </a:lnTo>
                    <a:lnTo>
                      <a:pt x="84" y="51"/>
                    </a:lnTo>
                    <a:lnTo>
                      <a:pt x="80" y="54"/>
                    </a:lnTo>
                    <a:lnTo>
                      <a:pt x="77" y="54"/>
                    </a:lnTo>
                    <a:lnTo>
                      <a:pt x="76" y="53"/>
                    </a:lnTo>
                    <a:lnTo>
                      <a:pt x="74" y="53"/>
                    </a:lnTo>
                    <a:lnTo>
                      <a:pt x="70" y="58"/>
                    </a:lnTo>
                    <a:lnTo>
                      <a:pt x="70" y="58"/>
                    </a:lnTo>
                    <a:lnTo>
                      <a:pt x="70" y="56"/>
                    </a:lnTo>
                    <a:lnTo>
                      <a:pt x="68" y="53"/>
                    </a:lnTo>
                    <a:lnTo>
                      <a:pt x="60" y="53"/>
                    </a:lnTo>
                    <a:lnTo>
                      <a:pt x="54" y="48"/>
                    </a:lnTo>
                    <a:lnTo>
                      <a:pt x="45" y="48"/>
                    </a:lnTo>
                    <a:lnTo>
                      <a:pt x="42" y="53"/>
                    </a:lnTo>
                    <a:lnTo>
                      <a:pt x="39" y="56"/>
                    </a:lnTo>
                    <a:lnTo>
                      <a:pt x="38" y="56"/>
                    </a:lnTo>
                    <a:lnTo>
                      <a:pt x="32" y="56"/>
                    </a:lnTo>
                    <a:lnTo>
                      <a:pt x="29" y="54"/>
                    </a:lnTo>
                    <a:lnTo>
                      <a:pt x="26" y="54"/>
                    </a:lnTo>
                    <a:lnTo>
                      <a:pt x="6" y="34"/>
                    </a:lnTo>
                    <a:lnTo>
                      <a:pt x="6" y="27"/>
                    </a:lnTo>
                    <a:lnTo>
                      <a:pt x="1" y="25"/>
                    </a:lnTo>
                    <a:lnTo>
                      <a:pt x="0" y="22"/>
                    </a:lnTo>
                    <a:lnTo>
                      <a:pt x="0" y="19"/>
                    </a:lnTo>
                    <a:lnTo>
                      <a:pt x="0" y="19"/>
                    </a:lnTo>
                    <a:lnTo>
                      <a:pt x="4" y="22"/>
                    </a:lnTo>
                    <a:lnTo>
                      <a:pt x="4" y="22"/>
                    </a:lnTo>
                    <a:lnTo>
                      <a:pt x="6" y="19"/>
                    </a:lnTo>
                    <a:lnTo>
                      <a:pt x="19" y="13"/>
                    </a:lnTo>
                    <a:lnTo>
                      <a:pt x="20" y="11"/>
                    </a:lnTo>
                    <a:lnTo>
                      <a:pt x="31" y="6"/>
                    </a:lnTo>
                    <a:lnTo>
                      <a:pt x="32" y="0"/>
                    </a:lnTo>
                    <a:lnTo>
                      <a:pt x="35" y="2"/>
                    </a:lnTo>
                    <a:lnTo>
                      <a:pt x="38" y="8"/>
                    </a:lnTo>
                    <a:lnTo>
                      <a:pt x="39" y="8"/>
                    </a:lnTo>
                    <a:lnTo>
                      <a:pt x="41" y="8"/>
                    </a:lnTo>
                    <a:lnTo>
                      <a:pt x="45" y="5"/>
                    </a:lnTo>
                    <a:lnTo>
                      <a:pt x="48" y="6"/>
                    </a:lnTo>
                    <a:lnTo>
                      <a:pt x="49" y="8"/>
                    </a:lnTo>
                    <a:lnTo>
                      <a:pt x="51" y="8"/>
                    </a:lnTo>
                    <a:lnTo>
                      <a:pt x="57" y="9"/>
                    </a:lnTo>
                    <a:lnTo>
                      <a:pt x="60" y="12"/>
                    </a:lnTo>
                    <a:lnTo>
                      <a:pt x="62" y="12"/>
                    </a:lnTo>
                    <a:lnTo>
                      <a:pt x="62" y="13"/>
                    </a:lnTo>
                    <a:lnTo>
                      <a:pt x="62" y="13"/>
                    </a:lnTo>
                    <a:lnTo>
                      <a:pt x="61" y="16"/>
                    </a:lnTo>
                    <a:lnTo>
                      <a:pt x="67" y="21"/>
                    </a:lnTo>
                    <a:lnTo>
                      <a:pt x="68" y="22"/>
                    </a:lnTo>
                    <a:lnTo>
                      <a:pt x="71" y="21"/>
                    </a:lnTo>
                    <a:lnTo>
                      <a:pt x="70" y="19"/>
                    </a:lnTo>
                    <a:lnTo>
                      <a:pt x="71" y="16"/>
                    </a:lnTo>
                    <a:lnTo>
                      <a:pt x="81" y="21"/>
                    </a:lnTo>
                    <a:lnTo>
                      <a:pt x="83" y="24"/>
                    </a:lnTo>
                    <a:lnTo>
                      <a:pt x="84" y="27"/>
                    </a:lnTo>
                    <a:lnTo>
                      <a:pt x="86" y="25"/>
                    </a:lnTo>
                    <a:lnTo>
                      <a:pt x="89" y="27"/>
                    </a:lnTo>
                    <a:lnTo>
                      <a:pt x="93" y="34"/>
                    </a:lnTo>
                    <a:lnTo>
                      <a:pt x="97" y="37"/>
                    </a:lnTo>
                  </a:path>
                </a:pathLst>
              </a:custGeom>
              <a:solidFill>
                <a:schemeClr val="accent5">
                  <a:lumMod val="40000"/>
                  <a:lumOff val="6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17" name="Freeform 949"/>
              <p:cNvSpPr>
                <a:spLocks/>
              </p:cNvSpPr>
              <p:nvPr/>
            </p:nvSpPr>
            <p:spPr bwMode="auto">
              <a:xfrm>
                <a:off x="6197094" y="2473461"/>
                <a:ext cx="57057" cy="38537"/>
              </a:xfrm>
              <a:custGeom>
                <a:avLst/>
                <a:gdLst/>
                <a:ahLst/>
                <a:cxnLst>
                  <a:cxn ang="0">
                    <a:pos x="14" y="37"/>
                  </a:cxn>
                  <a:cxn ang="0">
                    <a:pos x="13" y="34"/>
                  </a:cxn>
                  <a:cxn ang="0">
                    <a:pos x="11" y="34"/>
                  </a:cxn>
                  <a:cxn ang="0">
                    <a:pos x="10" y="27"/>
                  </a:cxn>
                  <a:cxn ang="0">
                    <a:pos x="10" y="25"/>
                  </a:cxn>
                  <a:cxn ang="0">
                    <a:pos x="6" y="25"/>
                  </a:cxn>
                  <a:cxn ang="0">
                    <a:pos x="3" y="31"/>
                  </a:cxn>
                  <a:cxn ang="0">
                    <a:pos x="0" y="31"/>
                  </a:cxn>
                  <a:cxn ang="0">
                    <a:pos x="0" y="31"/>
                  </a:cxn>
                  <a:cxn ang="0">
                    <a:pos x="1" y="22"/>
                  </a:cxn>
                  <a:cxn ang="0">
                    <a:pos x="1" y="21"/>
                  </a:cxn>
                  <a:cxn ang="0">
                    <a:pos x="3" y="19"/>
                  </a:cxn>
                  <a:cxn ang="0">
                    <a:pos x="4" y="18"/>
                  </a:cxn>
                  <a:cxn ang="0">
                    <a:pos x="6" y="18"/>
                  </a:cxn>
                  <a:cxn ang="0">
                    <a:pos x="6" y="15"/>
                  </a:cxn>
                  <a:cxn ang="0">
                    <a:pos x="13" y="6"/>
                  </a:cxn>
                  <a:cxn ang="0">
                    <a:pos x="13" y="5"/>
                  </a:cxn>
                  <a:cxn ang="0">
                    <a:pos x="13" y="3"/>
                  </a:cxn>
                  <a:cxn ang="0">
                    <a:pos x="17" y="3"/>
                  </a:cxn>
                  <a:cxn ang="0">
                    <a:pos x="20" y="2"/>
                  </a:cxn>
                  <a:cxn ang="0">
                    <a:pos x="22" y="0"/>
                  </a:cxn>
                  <a:cxn ang="0">
                    <a:pos x="23" y="2"/>
                  </a:cxn>
                  <a:cxn ang="0">
                    <a:pos x="39" y="0"/>
                  </a:cxn>
                  <a:cxn ang="0">
                    <a:pos x="49" y="3"/>
                  </a:cxn>
                  <a:cxn ang="0">
                    <a:pos x="51" y="5"/>
                  </a:cxn>
                  <a:cxn ang="0">
                    <a:pos x="49" y="11"/>
                  </a:cxn>
                  <a:cxn ang="0">
                    <a:pos x="52" y="13"/>
                  </a:cxn>
                  <a:cxn ang="0">
                    <a:pos x="56" y="16"/>
                  </a:cxn>
                  <a:cxn ang="0">
                    <a:pos x="58" y="16"/>
                  </a:cxn>
                  <a:cxn ang="0">
                    <a:pos x="61" y="15"/>
                  </a:cxn>
                  <a:cxn ang="0">
                    <a:pos x="62" y="16"/>
                  </a:cxn>
                  <a:cxn ang="0">
                    <a:pos x="61" y="19"/>
                  </a:cxn>
                  <a:cxn ang="0">
                    <a:pos x="62" y="21"/>
                  </a:cxn>
                  <a:cxn ang="0">
                    <a:pos x="61" y="22"/>
                  </a:cxn>
                  <a:cxn ang="0">
                    <a:pos x="58" y="22"/>
                  </a:cxn>
                  <a:cxn ang="0">
                    <a:pos x="58" y="24"/>
                  </a:cxn>
                  <a:cxn ang="0">
                    <a:pos x="58" y="25"/>
                  </a:cxn>
                  <a:cxn ang="0">
                    <a:pos x="58" y="27"/>
                  </a:cxn>
                  <a:cxn ang="0">
                    <a:pos x="58" y="28"/>
                  </a:cxn>
                  <a:cxn ang="0">
                    <a:pos x="49" y="27"/>
                  </a:cxn>
                  <a:cxn ang="0">
                    <a:pos x="48" y="25"/>
                  </a:cxn>
                  <a:cxn ang="0">
                    <a:pos x="46" y="25"/>
                  </a:cxn>
                  <a:cxn ang="0">
                    <a:pos x="45" y="28"/>
                  </a:cxn>
                  <a:cxn ang="0">
                    <a:pos x="43" y="32"/>
                  </a:cxn>
                  <a:cxn ang="0">
                    <a:pos x="42" y="35"/>
                  </a:cxn>
                  <a:cxn ang="0">
                    <a:pos x="42" y="37"/>
                  </a:cxn>
                  <a:cxn ang="0">
                    <a:pos x="40" y="35"/>
                  </a:cxn>
                  <a:cxn ang="0">
                    <a:pos x="39" y="32"/>
                  </a:cxn>
                  <a:cxn ang="0">
                    <a:pos x="35" y="31"/>
                  </a:cxn>
                  <a:cxn ang="0">
                    <a:pos x="33" y="25"/>
                  </a:cxn>
                  <a:cxn ang="0">
                    <a:pos x="30" y="28"/>
                  </a:cxn>
                  <a:cxn ang="0">
                    <a:pos x="29" y="29"/>
                  </a:cxn>
                  <a:cxn ang="0">
                    <a:pos x="29" y="31"/>
                  </a:cxn>
                  <a:cxn ang="0">
                    <a:pos x="26" y="35"/>
                  </a:cxn>
                  <a:cxn ang="0">
                    <a:pos x="14" y="37"/>
                  </a:cxn>
                </a:cxnLst>
                <a:rect l="0" t="0" r="r" b="b"/>
                <a:pathLst>
                  <a:path w="62" h="37">
                    <a:moveTo>
                      <a:pt x="14" y="37"/>
                    </a:moveTo>
                    <a:lnTo>
                      <a:pt x="13" y="34"/>
                    </a:lnTo>
                    <a:lnTo>
                      <a:pt x="11" y="34"/>
                    </a:lnTo>
                    <a:lnTo>
                      <a:pt x="10" y="27"/>
                    </a:lnTo>
                    <a:lnTo>
                      <a:pt x="10" y="25"/>
                    </a:lnTo>
                    <a:lnTo>
                      <a:pt x="6" y="25"/>
                    </a:lnTo>
                    <a:lnTo>
                      <a:pt x="3" y="31"/>
                    </a:lnTo>
                    <a:lnTo>
                      <a:pt x="0" y="31"/>
                    </a:lnTo>
                    <a:lnTo>
                      <a:pt x="0" y="31"/>
                    </a:lnTo>
                    <a:lnTo>
                      <a:pt x="1" y="22"/>
                    </a:lnTo>
                    <a:lnTo>
                      <a:pt x="1" y="21"/>
                    </a:lnTo>
                    <a:lnTo>
                      <a:pt x="3" y="19"/>
                    </a:lnTo>
                    <a:lnTo>
                      <a:pt x="4" y="18"/>
                    </a:lnTo>
                    <a:lnTo>
                      <a:pt x="6" y="18"/>
                    </a:lnTo>
                    <a:lnTo>
                      <a:pt x="6" y="15"/>
                    </a:lnTo>
                    <a:lnTo>
                      <a:pt x="13" y="6"/>
                    </a:lnTo>
                    <a:lnTo>
                      <a:pt x="13" y="5"/>
                    </a:lnTo>
                    <a:lnTo>
                      <a:pt x="13" y="3"/>
                    </a:lnTo>
                    <a:lnTo>
                      <a:pt x="17" y="3"/>
                    </a:lnTo>
                    <a:lnTo>
                      <a:pt x="20" y="2"/>
                    </a:lnTo>
                    <a:lnTo>
                      <a:pt x="22" y="0"/>
                    </a:lnTo>
                    <a:lnTo>
                      <a:pt x="23" y="2"/>
                    </a:lnTo>
                    <a:lnTo>
                      <a:pt x="39" y="0"/>
                    </a:lnTo>
                    <a:lnTo>
                      <a:pt x="49" y="3"/>
                    </a:lnTo>
                    <a:lnTo>
                      <a:pt x="51" y="5"/>
                    </a:lnTo>
                    <a:lnTo>
                      <a:pt x="49" y="11"/>
                    </a:lnTo>
                    <a:lnTo>
                      <a:pt x="52" y="13"/>
                    </a:lnTo>
                    <a:lnTo>
                      <a:pt x="56" y="16"/>
                    </a:lnTo>
                    <a:lnTo>
                      <a:pt x="58" y="16"/>
                    </a:lnTo>
                    <a:lnTo>
                      <a:pt x="61" y="15"/>
                    </a:lnTo>
                    <a:lnTo>
                      <a:pt x="62" y="16"/>
                    </a:lnTo>
                    <a:lnTo>
                      <a:pt x="61" y="19"/>
                    </a:lnTo>
                    <a:lnTo>
                      <a:pt x="62" y="21"/>
                    </a:lnTo>
                    <a:lnTo>
                      <a:pt x="61" y="22"/>
                    </a:lnTo>
                    <a:lnTo>
                      <a:pt x="58" y="22"/>
                    </a:lnTo>
                    <a:lnTo>
                      <a:pt x="58" y="24"/>
                    </a:lnTo>
                    <a:lnTo>
                      <a:pt x="58" y="25"/>
                    </a:lnTo>
                    <a:lnTo>
                      <a:pt x="58" y="27"/>
                    </a:lnTo>
                    <a:lnTo>
                      <a:pt x="58" y="28"/>
                    </a:lnTo>
                    <a:lnTo>
                      <a:pt x="49" y="27"/>
                    </a:lnTo>
                    <a:lnTo>
                      <a:pt x="48" y="25"/>
                    </a:lnTo>
                    <a:lnTo>
                      <a:pt x="46" y="25"/>
                    </a:lnTo>
                    <a:lnTo>
                      <a:pt x="45" y="28"/>
                    </a:lnTo>
                    <a:lnTo>
                      <a:pt x="43" y="32"/>
                    </a:lnTo>
                    <a:lnTo>
                      <a:pt x="42" y="35"/>
                    </a:lnTo>
                    <a:lnTo>
                      <a:pt x="42" y="37"/>
                    </a:lnTo>
                    <a:lnTo>
                      <a:pt x="40" y="35"/>
                    </a:lnTo>
                    <a:lnTo>
                      <a:pt x="39" y="32"/>
                    </a:lnTo>
                    <a:lnTo>
                      <a:pt x="35" y="31"/>
                    </a:lnTo>
                    <a:lnTo>
                      <a:pt x="33" y="25"/>
                    </a:lnTo>
                    <a:lnTo>
                      <a:pt x="30" y="28"/>
                    </a:lnTo>
                    <a:lnTo>
                      <a:pt x="29" y="29"/>
                    </a:lnTo>
                    <a:lnTo>
                      <a:pt x="29" y="31"/>
                    </a:lnTo>
                    <a:lnTo>
                      <a:pt x="26" y="35"/>
                    </a:lnTo>
                    <a:lnTo>
                      <a:pt x="14" y="37"/>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18" name="Freeform 950"/>
              <p:cNvSpPr>
                <a:spLocks/>
              </p:cNvSpPr>
              <p:nvPr/>
            </p:nvSpPr>
            <p:spPr bwMode="auto">
              <a:xfrm>
                <a:off x="6197094" y="2473461"/>
                <a:ext cx="57057" cy="38537"/>
              </a:xfrm>
              <a:custGeom>
                <a:avLst/>
                <a:gdLst/>
                <a:ahLst/>
                <a:cxnLst>
                  <a:cxn ang="0">
                    <a:pos x="14" y="37"/>
                  </a:cxn>
                  <a:cxn ang="0">
                    <a:pos x="13" y="34"/>
                  </a:cxn>
                  <a:cxn ang="0">
                    <a:pos x="11" y="34"/>
                  </a:cxn>
                  <a:cxn ang="0">
                    <a:pos x="10" y="27"/>
                  </a:cxn>
                  <a:cxn ang="0">
                    <a:pos x="10" y="25"/>
                  </a:cxn>
                  <a:cxn ang="0">
                    <a:pos x="6" y="25"/>
                  </a:cxn>
                  <a:cxn ang="0">
                    <a:pos x="3" y="31"/>
                  </a:cxn>
                  <a:cxn ang="0">
                    <a:pos x="0" y="31"/>
                  </a:cxn>
                  <a:cxn ang="0">
                    <a:pos x="0" y="31"/>
                  </a:cxn>
                  <a:cxn ang="0">
                    <a:pos x="1" y="22"/>
                  </a:cxn>
                  <a:cxn ang="0">
                    <a:pos x="1" y="21"/>
                  </a:cxn>
                  <a:cxn ang="0">
                    <a:pos x="3" y="19"/>
                  </a:cxn>
                  <a:cxn ang="0">
                    <a:pos x="4" y="18"/>
                  </a:cxn>
                  <a:cxn ang="0">
                    <a:pos x="6" y="18"/>
                  </a:cxn>
                  <a:cxn ang="0">
                    <a:pos x="6" y="15"/>
                  </a:cxn>
                  <a:cxn ang="0">
                    <a:pos x="13" y="6"/>
                  </a:cxn>
                  <a:cxn ang="0">
                    <a:pos x="13" y="5"/>
                  </a:cxn>
                  <a:cxn ang="0">
                    <a:pos x="13" y="3"/>
                  </a:cxn>
                  <a:cxn ang="0">
                    <a:pos x="17" y="3"/>
                  </a:cxn>
                  <a:cxn ang="0">
                    <a:pos x="20" y="2"/>
                  </a:cxn>
                  <a:cxn ang="0">
                    <a:pos x="22" y="0"/>
                  </a:cxn>
                  <a:cxn ang="0">
                    <a:pos x="23" y="2"/>
                  </a:cxn>
                  <a:cxn ang="0">
                    <a:pos x="39" y="0"/>
                  </a:cxn>
                  <a:cxn ang="0">
                    <a:pos x="49" y="3"/>
                  </a:cxn>
                  <a:cxn ang="0">
                    <a:pos x="51" y="5"/>
                  </a:cxn>
                  <a:cxn ang="0">
                    <a:pos x="49" y="11"/>
                  </a:cxn>
                  <a:cxn ang="0">
                    <a:pos x="52" y="13"/>
                  </a:cxn>
                  <a:cxn ang="0">
                    <a:pos x="56" y="16"/>
                  </a:cxn>
                  <a:cxn ang="0">
                    <a:pos x="58" y="16"/>
                  </a:cxn>
                  <a:cxn ang="0">
                    <a:pos x="61" y="15"/>
                  </a:cxn>
                  <a:cxn ang="0">
                    <a:pos x="62" y="16"/>
                  </a:cxn>
                  <a:cxn ang="0">
                    <a:pos x="61" y="19"/>
                  </a:cxn>
                  <a:cxn ang="0">
                    <a:pos x="62" y="21"/>
                  </a:cxn>
                  <a:cxn ang="0">
                    <a:pos x="61" y="22"/>
                  </a:cxn>
                  <a:cxn ang="0">
                    <a:pos x="58" y="22"/>
                  </a:cxn>
                  <a:cxn ang="0">
                    <a:pos x="58" y="24"/>
                  </a:cxn>
                  <a:cxn ang="0">
                    <a:pos x="58" y="25"/>
                  </a:cxn>
                  <a:cxn ang="0">
                    <a:pos x="58" y="27"/>
                  </a:cxn>
                  <a:cxn ang="0">
                    <a:pos x="58" y="28"/>
                  </a:cxn>
                  <a:cxn ang="0">
                    <a:pos x="49" y="27"/>
                  </a:cxn>
                  <a:cxn ang="0">
                    <a:pos x="48" y="25"/>
                  </a:cxn>
                  <a:cxn ang="0">
                    <a:pos x="46" y="25"/>
                  </a:cxn>
                  <a:cxn ang="0">
                    <a:pos x="45" y="28"/>
                  </a:cxn>
                  <a:cxn ang="0">
                    <a:pos x="43" y="32"/>
                  </a:cxn>
                  <a:cxn ang="0">
                    <a:pos x="42" y="35"/>
                  </a:cxn>
                  <a:cxn ang="0">
                    <a:pos x="42" y="37"/>
                  </a:cxn>
                  <a:cxn ang="0">
                    <a:pos x="40" y="35"/>
                  </a:cxn>
                  <a:cxn ang="0">
                    <a:pos x="39" y="32"/>
                  </a:cxn>
                  <a:cxn ang="0">
                    <a:pos x="35" y="31"/>
                  </a:cxn>
                  <a:cxn ang="0">
                    <a:pos x="33" y="25"/>
                  </a:cxn>
                  <a:cxn ang="0">
                    <a:pos x="30" y="28"/>
                  </a:cxn>
                  <a:cxn ang="0">
                    <a:pos x="29" y="29"/>
                  </a:cxn>
                  <a:cxn ang="0">
                    <a:pos x="29" y="31"/>
                  </a:cxn>
                  <a:cxn ang="0">
                    <a:pos x="26" y="35"/>
                  </a:cxn>
                  <a:cxn ang="0">
                    <a:pos x="14" y="37"/>
                  </a:cxn>
                </a:cxnLst>
                <a:rect l="0" t="0" r="r" b="b"/>
                <a:pathLst>
                  <a:path w="62" h="37">
                    <a:moveTo>
                      <a:pt x="14" y="37"/>
                    </a:moveTo>
                    <a:lnTo>
                      <a:pt x="13" y="34"/>
                    </a:lnTo>
                    <a:lnTo>
                      <a:pt x="11" y="34"/>
                    </a:lnTo>
                    <a:lnTo>
                      <a:pt x="10" y="27"/>
                    </a:lnTo>
                    <a:lnTo>
                      <a:pt x="10" y="25"/>
                    </a:lnTo>
                    <a:lnTo>
                      <a:pt x="6" y="25"/>
                    </a:lnTo>
                    <a:lnTo>
                      <a:pt x="3" y="31"/>
                    </a:lnTo>
                    <a:lnTo>
                      <a:pt x="0" y="31"/>
                    </a:lnTo>
                    <a:lnTo>
                      <a:pt x="0" y="31"/>
                    </a:lnTo>
                    <a:lnTo>
                      <a:pt x="1" y="22"/>
                    </a:lnTo>
                    <a:lnTo>
                      <a:pt x="1" y="21"/>
                    </a:lnTo>
                    <a:lnTo>
                      <a:pt x="3" y="19"/>
                    </a:lnTo>
                    <a:lnTo>
                      <a:pt x="4" y="18"/>
                    </a:lnTo>
                    <a:lnTo>
                      <a:pt x="6" y="18"/>
                    </a:lnTo>
                    <a:lnTo>
                      <a:pt x="6" y="15"/>
                    </a:lnTo>
                    <a:lnTo>
                      <a:pt x="13" y="6"/>
                    </a:lnTo>
                    <a:lnTo>
                      <a:pt x="13" y="5"/>
                    </a:lnTo>
                    <a:lnTo>
                      <a:pt x="13" y="3"/>
                    </a:lnTo>
                    <a:lnTo>
                      <a:pt x="17" y="3"/>
                    </a:lnTo>
                    <a:lnTo>
                      <a:pt x="20" y="2"/>
                    </a:lnTo>
                    <a:lnTo>
                      <a:pt x="22" y="0"/>
                    </a:lnTo>
                    <a:lnTo>
                      <a:pt x="23" y="2"/>
                    </a:lnTo>
                    <a:lnTo>
                      <a:pt x="39" y="0"/>
                    </a:lnTo>
                    <a:lnTo>
                      <a:pt x="49" y="3"/>
                    </a:lnTo>
                    <a:lnTo>
                      <a:pt x="51" y="5"/>
                    </a:lnTo>
                    <a:lnTo>
                      <a:pt x="49" y="11"/>
                    </a:lnTo>
                    <a:lnTo>
                      <a:pt x="52" y="13"/>
                    </a:lnTo>
                    <a:lnTo>
                      <a:pt x="56" y="16"/>
                    </a:lnTo>
                    <a:lnTo>
                      <a:pt x="58" y="16"/>
                    </a:lnTo>
                    <a:lnTo>
                      <a:pt x="61" y="15"/>
                    </a:lnTo>
                    <a:lnTo>
                      <a:pt x="62" y="16"/>
                    </a:lnTo>
                    <a:lnTo>
                      <a:pt x="61" y="19"/>
                    </a:lnTo>
                    <a:lnTo>
                      <a:pt x="62" y="21"/>
                    </a:lnTo>
                    <a:lnTo>
                      <a:pt x="61" y="22"/>
                    </a:lnTo>
                    <a:lnTo>
                      <a:pt x="58" y="22"/>
                    </a:lnTo>
                    <a:lnTo>
                      <a:pt x="58" y="24"/>
                    </a:lnTo>
                    <a:lnTo>
                      <a:pt x="58" y="25"/>
                    </a:lnTo>
                    <a:lnTo>
                      <a:pt x="58" y="27"/>
                    </a:lnTo>
                    <a:lnTo>
                      <a:pt x="58" y="28"/>
                    </a:lnTo>
                    <a:lnTo>
                      <a:pt x="49" y="27"/>
                    </a:lnTo>
                    <a:lnTo>
                      <a:pt x="48" y="25"/>
                    </a:lnTo>
                    <a:lnTo>
                      <a:pt x="46" y="25"/>
                    </a:lnTo>
                    <a:lnTo>
                      <a:pt x="45" y="28"/>
                    </a:lnTo>
                    <a:lnTo>
                      <a:pt x="43" y="32"/>
                    </a:lnTo>
                    <a:lnTo>
                      <a:pt x="42" y="35"/>
                    </a:lnTo>
                    <a:lnTo>
                      <a:pt x="42" y="37"/>
                    </a:lnTo>
                    <a:lnTo>
                      <a:pt x="40" y="35"/>
                    </a:lnTo>
                    <a:lnTo>
                      <a:pt x="39" y="32"/>
                    </a:lnTo>
                    <a:lnTo>
                      <a:pt x="35" y="31"/>
                    </a:lnTo>
                    <a:lnTo>
                      <a:pt x="33" y="25"/>
                    </a:lnTo>
                    <a:lnTo>
                      <a:pt x="30" y="28"/>
                    </a:lnTo>
                    <a:lnTo>
                      <a:pt x="29" y="29"/>
                    </a:lnTo>
                    <a:lnTo>
                      <a:pt x="29" y="31"/>
                    </a:lnTo>
                    <a:lnTo>
                      <a:pt x="26" y="35"/>
                    </a:lnTo>
                    <a:lnTo>
                      <a:pt x="14" y="37"/>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19" name="Freeform 951"/>
              <p:cNvSpPr>
                <a:spLocks/>
              </p:cNvSpPr>
              <p:nvPr/>
            </p:nvSpPr>
            <p:spPr bwMode="auto">
              <a:xfrm>
                <a:off x="6155837" y="2387259"/>
                <a:ext cx="43890" cy="41580"/>
              </a:xfrm>
              <a:custGeom>
                <a:avLst/>
                <a:gdLst/>
                <a:ahLst/>
                <a:cxnLst>
                  <a:cxn ang="0">
                    <a:pos x="40" y="40"/>
                  </a:cxn>
                  <a:cxn ang="0">
                    <a:pos x="39" y="40"/>
                  </a:cxn>
                  <a:cxn ang="0">
                    <a:pos x="36" y="40"/>
                  </a:cxn>
                  <a:cxn ang="0">
                    <a:pos x="30" y="36"/>
                  </a:cxn>
                  <a:cxn ang="0">
                    <a:pos x="32" y="34"/>
                  </a:cxn>
                  <a:cxn ang="0">
                    <a:pos x="30" y="34"/>
                  </a:cxn>
                  <a:cxn ang="0">
                    <a:pos x="30" y="29"/>
                  </a:cxn>
                  <a:cxn ang="0">
                    <a:pos x="29" y="29"/>
                  </a:cxn>
                  <a:cxn ang="0">
                    <a:pos x="26" y="33"/>
                  </a:cxn>
                  <a:cxn ang="0">
                    <a:pos x="23" y="33"/>
                  </a:cxn>
                  <a:cxn ang="0">
                    <a:pos x="20" y="32"/>
                  </a:cxn>
                  <a:cxn ang="0">
                    <a:pos x="19" y="26"/>
                  </a:cxn>
                  <a:cxn ang="0">
                    <a:pos x="17" y="24"/>
                  </a:cxn>
                  <a:cxn ang="0">
                    <a:pos x="9" y="20"/>
                  </a:cxn>
                  <a:cxn ang="0">
                    <a:pos x="6" y="14"/>
                  </a:cxn>
                  <a:cxn ang="0">
                    <a:pos x="3" y="16"/>
                  </a:cxn>
                  <a:cxn ang="0">
                    <a:pos x="0" y="14"/>
                  </a:cxn>
                  <a:cxn ang="0">
                    <a:pos x="0" y="11"/>
                  </a:cxn>
                  <a:cxn ang="0">
                    <a:pos x="0" y="7"/>
                  </a:cxn>
                  <a:cxn ang="0">
                    <a:pos x="9" y="1"/>
                  </a:cxn>
                  <a:cxn ang="0">
                    <a:pos x="10" y="1"/>
                  </a:cxn>
                  <a:cxn ang="0">
                    <a:pos x="10" y="1"/>
                  </a:cxn>
                  <a:cxn ang="0">
                    <a:pos x="14" y="4"/>
                  </a:cxn>
                  <a:cxn ang="0">
                    <a:pos x="23" y="0"/>
                  </a:cxn>
                  <a:cxn ang="0">
                    <a:pos x="30" y="0"/>
                  </a:cxn>
                  <a:cxn ang="0">
                    <a:pos x="32" y="1"/>
                  </a:cxn>
                  <a:cxn ang="0">
                    <a:pos x="32" y="1"/>
                  </a:cxn>
                  <a:cxn ang="0">
                    <a:pos x="33" y="2"/>
                  </a:cxn>
                  <a:cxn ang="0">
                    <a:pos x="35" y="4"/>
                  </a:cxn>
                  <a:cxn ang="0">
                    <a:pos x="38" y="4"/>
                  </a:cxn>
                  <a:cxn ang="0">
                    <a:pos x="39" y="5"/>
                  </a:cxn>
                  <a:cxn ang="0">
                    <a:pos x="40" y="13"/>
                  </a:cxn>
                  <a:cxn ang="0">
                    <a:pos x="42" y="14"/>
                  </a:cxn>
                  <a:cxn ang="0">
                    <a:pos x="45" y="14"/>
                  </a:cxn>
                  <a:cxn ang="0">
                    <a:pos x="46" y="17"/>
                  </a:cxn>
                  <a:cxn ang="0">
                    <a:pos x="46" y="18"/>
                  </a:cxn>
                  <a:cxn ang="0">
                    <a:pos x="48" y="21"/>
                  </a:cxn>
                  <a:cxn ang="0">
                    <a:pos x="48" y="23"/>
                  </a:cxn>
                  <a:cxn ang="0">
                    <a:pos x="45" y="27"/>
                  </a:cxn>
                  <a:cxn ang="0">
                    <a:pos x="43" y="27"/>
                  </a:cxn>
                  <a:cxn ang="0">
                    <a:pos x="40" y="30"/>
                  </a:cxn>
                  <a:cxn ang="0">
                    <a:pos x="39" y="33"/>
                  </a:cxn>
                  <a:cxn ang="0">
                    <a:pos x="40" y="36"/>
                  </a:cxn>
                  <a:cxn ang="0">
                    <a:pos x="40" y="40"/>
                  </a:cxn>
                </a:cxnLst>
                <a:rect l="0" t="0" r="r" b="b"/>
                <a:pathLst>
                  <a:path w="48" h="40">
                    <a:moveTo>
                      <a:pt x="40" y="40"/>
                    </a:moveTo>
                    <a:lnTo>
                      <a:pt x="39" y="40"/>
                    </a:lnTo>
                    <a:lnTo>
                      <a:pt x="36" y="40"/>
                    </a:lnTo>
                    <a:lnTo>
                      <a:pt x="30" y="36"/>
                    </a:lnTo>
                    <a:lnTo>
                      <a:pt x="32" y="34"/>
                    </a:lnTo>
                    <a:lnTo>
                      <a:pt x="30" y="34"/>
                    </a:lnTo>
                    <a:lnTo>
                      <a:pt x="30" y="29"/>
                    </a:lnTo>
                    <a:lnTo>
                      <a:pt x="29" y="29"/>
                    </a:lnTo>
                    <a:lnTo>
                      <a:pt x="26" y="33"/>
                    </a:lnTo>
                    <a:lnTo>
                      <a:pt x="23" y="33"/>
                    </a:lnTo>
                    <a:lnTo>
                      <a:pt x="20" y="32"/>
                    </a:lnTo>
                    <a:lnTo>
                      <a:pt x="19" y="26"/>
                    </a:lnTo>
                    <a:lnTo>
                      <a:pt x="17" y="24"/>
                    </a:lnTo>
                    <a:lnTo>
                      <a:pt x="9" y="20"/>
                    </a:lnTo>
                    <a:lnTo>
                      <a:pt x="6" y="14"/>
                    </a:lnTo>
                    <a:lnTo>
                      <a:pt x="3" y="16"/>
                    </a:lnTo>
                    <a:lnTo>
                      <a:pt x="0" y="14"/>
                    </a:lnTo>
                    <a:lnTo>
                      <a:pt x="0" y="11"/>
                    </a:lnTo>
                    <a:lnTo>
                      <a:pt x="0" y="7"/>
                    </a:lnTo>
                    <a:lnTo>
                      <a:pt x="9" y="1"/>
                    </a:lnTo>
                    <a:lnTo>
                      <a:pt x="10" y="1"/>
                    </a:lnTo>
                    <a:lnTo>
                      <a:pt x="10" y="1"/>
                    </a:lnTo>
                    <a:lnTo>
                      <a:pt x="14" y="4"/>
                    </a:lnTo>
                    <a:lnTo>
                      <a:pt x="23" y="0"/>
                    </a:lnTo>
                    <a:lnTo>
                      <a:pt x="30" y="0"/>
                    </a:lnTo>
                    <a:lnTo>
                      <a:pt x="32" y="1"/>
                    </a:lnTo>
                    <a:lnTo>
                      <a:pt x="32" y="1"/>
                    </a:lnTo>
                    <a:lnTo>
                      <a:pt x="33" y="2"/>
                    </a:lnTo>
                    <a:lnTo>
                      <a:pt x="35" y="4"/>
                    </a:lnTo>
                    <a:lnTo>
                      <a:pt x="38" y="4"/>
                    </a:lnTo>
                    <a:lnTo>
                      <a:pt x="39" y="5"/>
                    </a:lnTo>
                    <a:lnTo>
                      <a:pt x="40" y="13"/>
                    </a:lnTo>
                    <a:lnTo>
                      <a:pt x="42" y="14"/>
                    </a:lnTo>
                    <a:lnTo>
                      <a:pt x="45" y="14"/>
                    </a:lnTo>
                    <a:lnTo>
                      <a:pt x="46" y="17"/>
                    </a:lnTo>
                    <a:lnTo>
                      <a:pt x="46" y="18"/>
                    </a:lnTo>
                    <a:lnTo>
                      <a:pt x="48" y="21"/>
                    </a:lnTo>
                    <a:lnTo>
                      <a:pt x="48" y="23"/>
                    </a:lnTo>
                    <a:lnTo>
                      <a:pt x="45" y="27"/>
                    </a:lnTo>
                    <a:lnTo>
                      <a:pt x="43" y="27"/>
                    </a:lnTo>
                    <a:lnTo>
                      <a:pt x="40" y="30"/>
                    </a:lnTo>
                    <a:lnTo>
                      <a:pt x="39" y="33"/>
                    </a:lnTo>
                    <a:lnTo>
                      <a:pt x="40" y="36"/>
                    </a:lnTo>
                    <a:lnTo>
                      <a:pt x="40" y="4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20" name="Freeform 952"/>
              <p:cNvSpPr>
                <a:spLocks/>
              </p:cNvSpPr>
              <p:nvPr/>
            </p:nvSpPr>
            <p:spPr bwMode="auto">
              <a:xfrm>
                <a:off x="6155837" y="2387259"/>
                <a:ext cx="43890" cy="41580"/>
              </a:xfrm>
              <a:custGeom>
                <a:avLst/>
                <a:gdLst/>
                <a:ahLst/>
                <a:cxnLst>
                  <a:cxn ang="0">
                    <a:pos x="40" y="40"/>
                  </a:cxn>
                  <a:cxn ang="0">
                    <a:pos x="39" y="40"/>
                  </a:cxn>
                  <a:cxn ang="0">
                    <a:pos x="36" y="40"/>
                  </a:cxn>
                  <a:cxn ang="0">
                    <a:pos x="30" y="36"/>
                  </a:cxn>
                  <a:cxn ang="0">
                    <a:pos x="32" y="34"/>
                  </a:cxn>
                  <a:cxn ang="0">
                    <a:pos x="30" y="34"/>
                  </a:cxn>
                  <a:cxn ang="0">
                    <a:pos x="30" y="29"/>
                  </a:cxn>
                  <a:cxn ang="0">
                    <a:pos x="29" y="29"/>
                  </a:cxn>
                  <a:cxn ang="0">
                    <a:pos x="26" y="33"/>
                  </a:cxn>
                  <a:cxn ang="0">
                    <a:pos x="23" y="33"/>
                  </a:cxn>
                  <a:cxn ang="0">
                    <a:pos x="20" y="32"/>
                  </a:cxn>
                  <a:cxn ang="0">
                    <a:pos x="19" y="26"/>
                  </a:cxn>
                  <a:cxn ang="0">
                    <a:pos x="17" y="24"/>
                  </a:cxn>
                  <a:cxn ang="0">
                    <a:pos x="9" y="20"/>
                  </a:cxn>
                  <a:cxn ang="0">
                    <a:pos x="6" y="14"/>
                  </a:cxn>
                  <a:cxn ang="0">
                    <a:pos x="3" y="16"/>
                  </a:cxn>
                  <a:cxn ang="0">
                    <a:pos x="0" y="14"/>
                  </a:cxn>
                  <a:cxn ang="0">
                    <a:pos x="0" y="11"/>
                  </a:cxn>
                  <a:cxn ang="0">
                    <a:pos x="0" y="7"/>
                  </a:cxn>
                  <a:cxn ang="0">
                    <a:pos x="9" y="1"/>
                  </a:cxn>
                  <a:cxn ang="0">
                    <a:pos x="10" y="1"/>
                  </a:cxn>
                  <a:cxn ang="0">
                    <a:pos x="10" y="1"/>
                  </a:cxn>
                  <a:cxn ang="0">
                    <a:pos x="14" y="4"/>
                  </a:cxn>
                  <a:cxn ang="0">
                    <a:pos x="23" y="0"/>
                  </a:cxn>
                  <a:cxn ang="0">
                    <a:pos x="30" y="0"/>
                  </a:cxn>
                  <a:cxn ang="0">
                    <a:pos x="32" y="1"/>
                  </a:cxn>
                  <a:cxn ang="0">
                    <a:pos x="32" y="1"/>
                  </a:cxn>
                  <a:cxn ang="0">
                    <a:pos x="33" y="2"/>
                  </a:cxn>
                  <a:cxn ang="0">
                    <a:pos x="35" y="4"/>
                  </a:cxn>
                  <a:cxn ang="0">
                    <a:pos x="38" y="4"/>
                  </a:cxn>
                  <a:cxn ang="0">
                    <a:pos x="39" y="5"/>
                  </a:cxn>
                  <a:cxn ang="0">
                    <a:pos x="40" y="13"/>
                  </a:cxn>
                  <a:cxn ang="0">
                    <a:pos x="42" y="14"/>
                  </a:cxn>
                  <a:cxn ang="0">
                    <a:pos x="45" y="14"/>
                  </a:cxn>
                  <a:cxn ang="0">
                    <a:pos x="46" y="17"/>
                  </a:cxn>
                  <a:cxn ang="0">
                    <a:pos x="46" y="18"/>
                  </a:cxn>
                  <a:cxn ang="0">
                    <a:pos x="48" y="21"/>
                  </a:cxn>
                  <a:cxn ang="0">
                    <a:pos x="48" y="23"/>
                  </a:cxn>
                  <a:cxn ang="0">
                    <a:pos x="45" y="27"/>
                  </a:cxn>
                  <a:cxn ang="0">
                    <a:pos x="43" y="27"/>
                  </a:cxn>
                  <a:cxn ang="0">
                    <a:pos x="40" y="30"/>
                  </a:cxn>
                  <a:cxn ang="0">
                    <a:pos x="39" y="33"/>
                  </a:cxn>
                  <a:cxn ang="0">
                    <a:pos x="40" y="36"/>
                  </a:cxn>
                  <a:cxn ang="0">
                    <a:pos x="40" y="40"/>
                  </a:cxn>
                </a:cxnLst>
                <a:rect l="0" t="0" r="r" b="b"/>
                <a:pathLst>
                  <a:path w="48" h="40">
                    <a:moveTo>
                      <a:pt x="40" y="40"/>
                    </a:moveTo>
                    <a:lnTo>
                      <a:pt x="39" y="40"/>
                    </a:lnTo>
                    <a:lnTo>
                      <a:pt x="36" y="40"/>
                    </a:lnTo>
                    <a:lnTo>
                      <a:pt x="30" y="36"/>
                    </a:lnTo>
                    <a:lnTo>
                      <a:pt x="32" y="34"/>
                    </a:lnTo>
                    <a:lnTo>
                      <a:pt x="30" y="34"/>
                    </a:lnTo>
                    <a:lnTo>
                      <a:pt x="30" y="29"/>
                    </a:lnTo>
                    <a:lnTo>
                      <a:pt x="29" y="29"/>
                    </a:lnTo>
                    <a:lnTo>
                      <a:pt x="26" y="33"/>
                    </a:lnTo>
                    <a:lnTo>
                      <a:pt x="23" y="33"/>
                    </a:lnTo>
                    <a:lnTo>
                      <a:pt x="20" y="32"/>
                    </a:lnTo>
                    <a:lnTo>
                      <a:pt x="19" y="26"/>
                    </a:lnTo>
                    <a:lnTo>
                      <a:pt x="17" y="24"/>
                    </a:lnTo>
                    <a:lnTo>
                      <a:pt x="9" y="20"/>
                    </a:lnTo>
                    <a:lnTo>
                      <a:pt x="6" y="14"/>
                    </a:lnTo>
                    <a:lnTo>
                      <a:pt x="3" y="16"/>
                    </a:lnTo>
                    <a:lnTo>
                      <a:pt x="0" y="14"/>
                    </a:lnTo>
                    <a:lnTo>
                      <a:pt x="0" y="11"/>
                    </a:lnTo>
                    <a:lnTo>
                      <a:pt x="0" y="7"/>
                    </a:lnTo>
                    <a:lnTo>
                      <a:pt x="9" y="1"/>
                    </a:lnTo>
                    <a:lnTo>
                      <a:pt x="10" y="1"/>
                    </a:lnTo>
                    <a:lnTo>
                      <a:pt x="10" y="1"/>
                    </a:lnTo>
                    <a:lnTo>
                      <a:pt x="14" y="4"/>
                    </a:lnTo>
                    <a:lnTo>
                      <a:pt x="23" y="0"/>
                    </a:lnTo>
                    <a:lnTo>
                      <a:pt x="30" y="0"/>
                    </a:lnTo>
                    <a:lnTo>
                      <a:pt x="32" y="1"/>
                    </a:lnTo>
                    <a:lnTo>
                      <a:pt x="32" y="1"/>
                    </a:lnTo>
                    <a:lnTo>
                      <a:pt x="33" y="2"/>
                    </a:lnTo>
                    <a:lnTo>
                      <a:pt x="35" y="4"/>
                    </a:lnTo>
                    <a:lnTo>
                      <a:pt x="38" y="4"/>
                    </a:lnTo>
                    <a:lnTo>
                      <a:pt x="39" y="5"/>
                    </a:lnTo>
                    <a:lnTo>
                      <a:pt x="40" y="13"/>
                    </a:lnTo>
                    <a:lnTo>
                      <a:pt x="42" y="14"/>
                    </a:lnTo>
                    <a:lnTo>
                      <a:pt x="45" y="14"/>
                    </a:lnTo>
                    <a:lnTo>
                      <a:pt x="46" y="17"/>
                    </a:lnTo>
                    <a:lnTo>
                      <a:pt x="46" y="18"/>
                    </a:lnTo>
                    <a:lnTo>
                      <a:pt x="48" y="21"/>
                    </a:lnTo>
                    <a:lnTo>
                      <a:pt x="48" y="23"/>
                    </a:lnTo>
                    <a:lnTo>
                      <a:pt x="45" y="27"/>
                    </a:lnTo>
                    <a:lnTo>
                      <a:pt x="43" y="27"/>
                    </a:lnTo>
                    <a:lnTo>
                      <a:pt x="40" y="30"/>
                    </a:lnTo>
                    <a:lnTo>
                      <a:pt x="39" y="33"/>
                    </a:lnTo>
                    <a:lnTo>
                      <a:pt x="40" y="36"/>
                    </a:lnTo>
                    <a:lnTo>
                      <a:pt x="40" y="40"/>
                    </a:lnTo>
                  </a:path>
                </a:pathLst>
              </a:custGeom>
              <a:solidFill>
                <a:schemeClr val="accent5">
                  <a:lumMod val="40000"/>
                  <a:lumOff val="6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21" name="Freeform 953"/>
              <p:cNvSpPr>
                <a:spLocks/>
              </p:cNvSpPr>
              <p:nvPr/>
            </p:nvSpPr>
            <p:spPr bwMode="auto">
              <a:xfrm>
                <a:off x="6136525" y="2578931"/>
                <a:ext cx="6145" cy="3042"/>
              </a:xfrm>
              <a:custGeom>
                <a:avLst/>
                <a:gdLst/>
                <a:ahLst/>
                <a:cxnLst>
                  <a:cxn ang="0">
                    <a:pos x="5" y="2"/>
                  </a:cxn>
                  <a:cxn ang="0">
                    <a:pos x="6" y="3"/>
                  </a:cxn>
                  <a:cxn ang="0">
                    <a:pos x="5" y="3"/>
                  </a:cxn>
                  <a:cxn ang="0">
                    <a:pos x="3" y="3"/>
                  </a:cxn>
                  <a:cxn ang="0">
                    <a:pos x="2" y="2"/>
                  </a:cxn>
                  <a:cxn ang="0">
                    <a:pos x="0" y="0"/>
                  </a:cxn>
                  <a:cxn ang="0">
                    <a:pos x="3" y="0"/>
                  </a:cxn>
                  <a:cxn ang="0">
                    <a:pos x="5" y="2"/>
                  </a:cxn>
                </a:cxnLst>
                <a:rect l="0" t="0" r="r" b="b"/>
                <a:pathLst>
                  <a:path w="6" h="3">
                    <a:moveTo>
                      <a:pt x="5" y="2"/>
                    </a:moveTo>
                    <a:lnTo>
                      <a:pt x="6" y="3"/>
                    </a:lnTo>
                    <a:lnTo>
                      <a:pt x="5" y="3"/>
                    </a:lnTo>
                    <a:lnTo>
                      <a:pt x="3" y="3"/>
                    </a:lnTo>
                    <a:lnTo>
                      <a:pt x="2" y="2"/>
                    </a:lnTo>
                    <a:lnTo>
                      <a:pt x="0" y="0"/>
                    </a:lnTo>
                    <a:lnTo>
                      <a:pt x="3" y="0"/>
                    </a:lnTo>
                    <a:lnTo>
                      <a:pt x="5" y="2"/>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22" name="Freeform 954"/>
              <p:cNvSpPr>
                <a:spLocks/>
              </p:cNvSpPr>
              <p:nvPr/>
            </p:nvSpPr>
            <p:spPr bwMode="auto">
              <a:xfrm>
                <a:off x="6136525" y="2578931"/>
                <a:ext cx="6145" cy="3042"/>
              </a:xfrm>
              <a:custGeom>
                <a:avLst/>
                <a:gdLst/>
                <a:ahLst/>
                <a:cxnLst>
                  <a:cxn ang="0">
                    <a:pos x="5" y="2"/>
                  </a:cxn>
                  <a:cxn ang="0">
                    <a:pos x="6" y="3"/>
                  </a:cxn>
                  <a:cxn ang="0">
                    <a:pos x="5" y="3"/>
                  </a:cxn>
                  <a:cxn ang="0">
                    <a:pos x="3" y="3"/>
                  </a:cxn>
                  <a:cxn ang="0">
                    <a:pos x="2" y="2"/>
                  </a:cxn>
                  <a:cxn ang="0">
                    <a:pos x="0" y="0"/>
                  </a:cxn>
                  <a:cxn ang="0">
                    <a:pos x="3" y="0"/>
                  </a:cxn>
                  <a:cxn ang="0">
                    <a:pos x="5" y="2"/>
                  </a:cxn>
                </a:cxnLst>
                <a:rect l="0" t="0" r="r" b="b"/>
                <a:pathLst>
                  <a:path w="6" h="3">
                    <a:moveTo>
                      <a:pt x="5" y="2"/>
                    </a:moveTo>
                    <a:lnTo>
                      <a:pt x="6" y="3"/>
                    </a:lnTo>
                    <a:lnTo>
                      <a:pt x="5" y="3"/>
                    </a:lnTo>
                    <a:lnTo>
                      <a:pt x="3" y="3"/>
                    </a:lnTo>
                    <a:lnTo>
                      <a:pt x="2" y="2"/>
                    </a:lnTo>
                    <a:lnTo>
                      <a:pt x="0" y="0"/>
                    </a:lnTo>
                    <a:lnTo>
                      <a:pt x="3" y="0"/>
                    </a:lnTo>
                    <a:lnTo>
                      <a:pt x="5" y="2"/>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23" name="Freeform 955"/>
              <p:cNvSpPr>
                <a:spLocks/>
              </p:cNvSpPr>
              <p:nvPr/>
            </p:nvSpPr>
            <p:spPr bwMode="auto">
              <a:xfrm>
                <a:off x="6000466" y="2556619"/>
                <a:ext cx="162393" cy="147048"/>
              </a:xfrm>
              <a:custGeom>
                <a:avLst/>
                <a:gdLst/>
                <a:ahLst/>
                <a:cxnLst>
                  <a:cxn ang="0">
                    <a:pos x="26" y="114"/>
                  </a:cxn>
                  <a:cxn ang="0">
                    <a:pos x="32" y="103"/>
                  </a:cxn>
                  <a:cxn ang="0">
                    <a:pos x="29" y="98"/>
                  </a:cxn>
                  <a:cxn ang="0">
                    <a:pos x="32" y="89"/>
                  </a:cxn>
                  <a:cxn ang="0">
                    <a:pos x="28" y="79"/>
                  </a:cxn>
                  <a:cxn ang="0">
                    <a:pos x="32" y="76"/>
                  </a:cxn>
                  <a:cxn ang="0">
                    <a:pos x="35" y="70"/>
                  </a:cxn>
                  <a:cxn ang="0">
                    <a:pos x="36" y="53"/>
                  </a:cxn>
                  <a:cxn ang="0">
                    <a:pos x="43" y="41"/>
                  </a:cxn>
                  <a:cxn ang="0">
                    <a:pos x="32" y="35"/>
                  </a:cxn>
                  <a:cxn ang="0">
                    <a:pos x="19" y="37"/>
                  </a:cxn>
                  <a:cxn ang="0">
                    <a:pos x="16" y="32"/>
                  </a:cxn>
                  <a:cxn ang="0">
                    <a:pos x="7" y="37"/>
                  </a:cxn>
                  <a:cxn ang="0">
                    <a:pos x="6" y="34"/>
                  </a:cxn>
                  <a:cxn ang="0">
                    <a:pos x="9" y="28"/>
                  </a:cxn>
                  <a:cxn ang="0">
                    <a:pos x="7" y="26"/>
                  </a:cxn>
                  <a:cxn ang="0">
                    <a:pos x="6" y="21"/>
                  </a:cxn>
                  <a:cxn ang="0">
                    <a:pos x="3" y="21"/>
                  </a:cxn>
                  <a:cxn ang="0">
                    <a:pos x="0" y="15"/>
                  </a:cxn>
                  <a:cxn ang="0">
                    <a:pos x="4" y="9"/>
                  </a:cxn>
                  <a:cxn ang="0">
                    <a:pos x="12" y="8"/>
                  </a:cxn>
                  <a:cxn ang="0">
                    <a:pos x="13" y="5"/>
                  </a:cxn>
                  <a:cxn ang="0">
                    <a:pos x="22" y="0"/>
                  </a:cxn>
                  <a:cxn ang="0">
                    <a:pos x="43" y="3"/>
                  </a:cxn>
                  <a:cxn ang="0">
                    <a:pos x="106" y="8"/>
                  </a:cxn>
                  <a:cxn ang="0">
                    <a:pos x="113" y="13"/>
                  </a:cxn>
                  <a:cxn ang="0">
                    <a:pos x="122" y="18"/>
                  </a:cxn>
                  <a:cxn ang="0">
                    <a:pos x="139" y="21"/>
                  </a:cxn>
                  <a:cxn ang="0">
                    <a:pos x="144" y="19"/>
                  </a:cxn>
                  <a:cxn ang="0">
                    <a:pos x="152" y="25"/>
                  </a:cxn>
                  <a:cxn ang="0">
                    <a:pos x="155" y="25"/>
                  </a:cxn>
                  <a:cxn ang="0">
                    <a:pos x="157" y="26"/>
                  </a:cxn>
                  <a:cxn ang="0">
                    <a:pos x="176" y="26"/>
                  </a:cxn>
                  <a:cxn ang="0">
                    <a:pos x="177" y="28"/>
                  </a:cxn>
                  <a:cxn ang="0">
                    <a:pos x="176" y="32"/>
                  </a:cxn>
                  <a:cxn ang="0">
                    <a:pos x="174" y="38"/>
                  </a:cxn>
                  <a:cxn ang="0">
                    <a:pos x="145" y="53"/>
                  </a:cxn>
                  <a:cxn ang="0">
                    <a:pos x="142" y="58"/>
                  </a:cxn>
                  <a:cxn ang="0">
                    <a:pos x="126" y="83"/>
                  </a:cxn>
                  <a:cxn ang="0">
                    <a:pos x="128" y="85"/>
                  </a:cxn>
                  <a:cxn ang="0">
                    <a:pos x="129" y="90"/>
                  </a:cxn>
                  <a:cxn ang="0">
                    <a:pos x="134" y="92"/>
                  </a:cxn>
                  <a:cxn ang="0">
                    <a:pos x="132" y="96"/>
                  </a:cxn>
                  <a:cxn ang="0">
                    <a:pos x="120" y="114"/>
                  </a:cxn>
                  <a:cxn ang="0">
                    <a:pos x="112" y="115"/>
                  </a:cxn>
                  <a:cxn ang="0">
                    <a:pos x="104" y="127"/>
                  </a:cxn>
                  <a:cxn ang="0">
                    <a:pos x="102" y="130"/>
                  </a:cxn>
                  <a:cxn ang="0">
                    <a:pos x="94" y="130"/>
                  </a:cxn>
                  <a:cxn ang="0">
                    <a:pos x="83" y="130"/>
                  </a:cxn>
                  <a:cxn ang="0">
                    <a:pos x="70" y="131"/>
                  </a:cxn>
                  <a:cxn ang="0">
                    <a:pos x="64" y="134"/>
                  </a:cxn>
                  <a:cxn ang="0">
                    <a:pos x="58" y="138"/>
                  </a:cxn>
                  <a:cxn ang="0">
                    <a:pos x="57" y="140"/>
                  </a:cxn>
                  <a:cxn ang="0">
                    <a:pos x="49" y="141"/>
                  </a:cxn>
                  <a:cxn ang="0">
                    <a:pos x="43" y="134"/>
                  </a:cxn>
                  <a:cxn ang="0">
                    <a:pos x="42" y="131"/>
                  </a:cxn>
                  <a:cxn ang="0">
                    <a:pos x="38" y="124"/>
                  </a:cxn>
                  <a:cxn ang="0">
                    <a:pos x="32" y="121"/>
                  </a:cxn>
                </a:cxnLst>
                <a:rect l="0" t="0" r="r" b="b"/>
                <a:pathLst>
                  <a:path w="177" h="141">
                    <a:moveTo>
                      <a:pt x="26" y="121"/>
                    </a:moveTo>
                    <a:lnTo>
                      <a:pt x="26" y="114"/>
                    </a:lnTo>
                    <a:lnTo>
                      <a:pt x="33" y="106"/>
                    </a:lnTo>
                    <a:lnTo>
                      <a:pt x="32" y="103"/>
                    </a:lnTo>
                    <a:lnTo>
                      <a:pt x="29" y="101"/>
                    </a:lnTo>
                    <a:lnTo>
                      <a:pt x="29" y="98"/>
                    </a:lnTo>
                    <a:lnTo>
                      <a:pt x="29" y="93"/>
                    </a:lnTo>
                    <a:lnTo>
                      <a:pt x="32" y="89"/>
                    </a:lnTo>
                    <a:lnTo>
                      <a:pt x="28" y="82"/>
                    </a:lnTo>
                    <a:lnTo>
                      <a:pt x="28" y="79"/>
                    </a:lnTo>
                    <a:lnTo>
                      <a:pt x="29" y="76"/>
                    </a:lnTo>
                    <a:lnTo>
                      <a:pt x="32" y="76"/>
                    </a:lnTo>
                    <a:lnTo>
                      <a:pt x="35" y="73"/>
                    </a:lnTo>
                    <a:lnTo>
                      <a:pt x="35" y="70"/>
                    </a:lnTo>
                    <a:lnTo>
                      <a:pt x="33" y="67"/>
                    </a:lnTo>
                    <a:lnTo>
                      <a:pt x="36" y="53"/>
                    </a:lnTo>
                    <a:lnTo>
                      <a:pt x="43" y="42"/>
                    </a:lnTo>
                    <a:lnTo>
                      <a:pt x="43" y="41"/>
                    </a:lnTo>
                    <a:lnTo>
                      <a:pt x="39" y="35"/>
                    </a:lnTo>
                    <a:lnTo>
                      <a:pt x="32" y="35"/>
                    </a:lnTo>
                    <a:lnTo>
                      <a:pt x="28" y="37"/>
                    </a:lnTo>
                    <a:lnTo>
                      <a:pt x="19" y="37"/>
                    </a:lnTo>
                    <a:lnTo>
                      <a:pt x="16" y="35"/>
                    </a:lnTo>
                    <a:lnTo>
                      <a:pt x="16" y="32"/>
                    </a:lnTo>
                    <a:lnTo>
                      <a:pt x="9" y="34"/>
                    </a:lnTo>
                    <a:lnTo>
                      <a:pt x="7" y="37"/>
                    </a:lnTo>
                    <a:lnTo>
                      <a:pt x="6" y="35"/>
                    </a:lnTo>
                    <a:lnTo>
                      <a:pt x="6" y="34"/>
                    </a:lnTo>
                    <a:lnTo>
                      <a:pt x="7" y="31"/>
                    </a:lnTo>
                    <a:lnTo>
                      <a:pt x="9" y="28"/>
                    </a:lnTo>
                    <a:lnTo>
                      <a:pt x="6" y="28"/>
                    </a:lnTo>
                    <a:lnTo>
                      <a:pt x="7" y="26"/>
                    </a:lnTo>
                    <a:lnTo>
                      <a:pt x="4" y="25"/>
                    </a:lnTo>
                    <a:lnTo>
                      <a:pt x="6" y="21"/>
                    </a:lnTo>
                    <a:lnTo>
                      <a:pt x="6" y="22"/>
                    </a:lnTo>
                    <a:lnTo>
                      <a:pt x="3" y="21"/>
                    </a:lnTo>
                    <a:lnTo>
                      <a:pt x="4" y="18"/>
                    </a:lnTo>
                    <a:lnTo>
                      <a:pt x="0" y="15"/>
                    </a:lnTo>
                    <a:lnTo>
                      <a:pt x="1" y="12"/>
                    </a:lnTo>
                    <a:lnTo>
                      <a:pt x="4" y="9"/>
                    </a:lnTo>
                    <a:lnTo>
                      <a:pt x="7" y="8"/>
                    </a:lnTo>
                    <a:lnTo>
                      <a:pt x="12" y="8"/>
                    </a:lnTo>
                    <a:lnTo>
                      <a:pt x="14" y="6"/>
                    </a:lnTo>
                    <a:lnTo>
                      <a:pt x="13" y="5"/>
                    </a:lnTo>
                    <a:lnTo>
                      <a:pt x="16" y="2"/>
                    </a:lnTo>
                    <a:lnTo>
                      <a:pt x="22" y="0"/>
                    </a:lnTo>
                    <a:lnTo>
                      <a:pt x="28" y="2"/>
                    </a:lnTo>
                    <a:lnTo>
                      <a:pt x="43" y="3"/>
                    </a:lnTo>
                    <a:lnTo>
                      <a:pt x="46" y="2"/>
                    </a:lnTo>
                    <a:lnTo>
                      <a:pt x="106" y="8"/>
                    </a:lnTo>
                    <a:lnTo>
                      <a:pt x="106" y="8"/>
                    </a:lnTo>
                    <a:lnTo>
                      <a:pt x="113" y="13"/>
                    </a:lnTo>
                    <a:lnTo>
                      <a:pt x="116" y="15"/>
                    </a:lnTo>
                    <a:lnTo>
                      <a:pt x="122" y="18"/>
                    </a:lnTo>
                    <a:lnTo>
                      <a:pt x="136" y="22"/>
                    </a:lnTo>
                    <a:lnTo>
                      <a:pt x="139" y="21"/>
                    </a:lnTo>
                    <a:lnTo>
                      <a:pt x="141" y="19"/>
                    </a:lnTo>
                    <a:lnTo>
                      <a:pt x="144" y="19"/>
                    </a:lnTo>
                    <a:lnTo>
                      <a:pt x="151" y="24"/>
                    </a:lnTo>
                    <a:lnTo>
                      <a:pt x="152" y="25"/>
                    </a:lnTo>
                    <a:lnTo>
                      <a:pt x="154" y="25"/>
                    </a:lnTo>
                    <a:lnTo>
                      <a:pt x="155" y="25"/>
                    </a:lnTo>
                    <a:lnTo>
                      <a:pt x="154" y="24"/>
                    </a:lnTo>
                    <a:lnTo>
                      <a:pt x="157" y="26"/>
                    </a:lnTo>
                    <a:lnTo>
                      <a:pt x="160" y="26"/>
                    </a:lnTo>
                    <a:lnTo>
                      <a:pt x="176" y="26"/>
                    </a:lnTo>
                    <a:lnTo>
                      <a:pt x="177" y="26"/>
                    </a:lnTo>
                    <a:lnTo>
                      <a:pt x="177" y="28"/>
                    </a:lnTo>
                    <a:lnTo>
                      <a:pt x="176" y="29"/>
                    </a:lnTo>
                    <a:lnTo>
                      <a:pt x="176" y="32"/>
                    </a:lnTo>
                    <a:lnTo>
                      <a:pt x="177" y="34"/>
                    </a:lnTo>
                    <a:lnTo>
                      <a:pt x="174" y="38"/>
                    </a:lnTo>
                    <a:lnTo>
                      <a:pt x="161" y="47"/>
                    </a:lnTo>
                    <a:lnTo>
                      <a:pt x="145" y="53"/>
                    </a:lnTo>
                    <a:lnTo>
                      <a:pt x="142" y="57"/>
                    </a:lnTo>
                    <a:lnTo>
                      <a:pt x="142" y="58"/>
                    </a:lnTo>
                    <a:lnTo>
                      <a:pt x="128" y="77"/>
                    </a:lnTo>
                    <a:lnTo>
                      <a:pt x="126" y="83"/>
                    </a:lnTo>
                    <a:lnTo>
                      <a:pt x="126" y="83"/>
                    </a:lnTo>
                    <a:lnTo>
                      <a:pt x="128" y="85"/>
                    </a:lnTo>
                    <a:lnTo>
                      <a:pt x="128" y="89"/>
                    </a:lnTo>
                    <a:lnTo>
                      <a:pt x="129" y="90"/>
                    </a:lnTo>
                    <a:lnTo>
                      <a:pt x="131" y="92"/>
                    </a:lnTo>
                    <a:lnTo>
                      <a:pt x="134" y="92"/>
                    </a:lnTo>
                    <a:lnTo>
                      <a:pt x="134" y="93"/>
                    </a:lnTo>
                    <a:lnTo>
                      <a:pt x="132" y="96"/>
                    </a:lnTo>
                    <a:lnTo>
                      <a:pt x="125" y="102"/>
                    </a:lnTo>
                    <a:lnTo>
                      <a:pt x="120" y="114"/>
                    </a:lnTo>
                    <a:lnTo>
                      <a:pt x="120" y="115"/>
                    </a:lnTo>
                    <a:lnTo>
                      <a:pt x="112" y="115"/>
                    </a:lnTo>
                    <a:lnTo>
                      <a:pt x="107" y="121"/>
                    </a:lnTo>
                    <a:lnTo>
                      <a:pt x="104" y="127"/>
                    </a:lnTo>
                    <a:lnTo>
                      <a:pt x="103" y="130"/>
                    </a:lnTo>
                    <a:lnTo>
                      <a:pt x="102" y="130"/>
                    </a:lnTo>
                    <a:lnTo>
                      <a:pt x="97" y="128"/>
                    </a:lnTo>
                    <a:lnTo>
                      <a:pt x="94" y="130"/>
                    </a:lnTo>
                    <a:lnTo>
                      <a:pt x="87" y="130"/>
                    </a:lnTo>
                    <a:lnTo>
                      <a:pt x="83" y="130"/>
                    </a:lnTo>
                    <a:lnTo>
                      <a:pt x="78" y="130"/>
                    </a:lnTo>
                    <a:lnTo>
                      <a:pt x="70" y="131"/>
                    </a:lnTo>
                    <a:lnTo>
                      <a:pt x="67" y="134"/>
                    </a:lnTo>
                    <a:lnTo>
                      <a:pt x="64" y="134"/>
                    </a:lnTo>
                    <a:lnTo>
                      <a:pt x="61" y="135"/>
                    </a:lnTo>
                    <a:lnTo>
                      <a:pt x="58" y="138"/>
                    </a:lnTo>
                    <a:lnTo>
                      <a:pt x="57" y="140"/>
                    </a:lnTo>
                    <a:lnTo>
                      <a:pt x="57" y="140"/>
                    </a:lnTo>
                    <a:lnTo>
                      <a:pt x="54" y="141"/>
                    </a:lnTo>
                    <a:lnTo>
                      <a:pt x="49" y="141"/>
                    </a:lnTo>
                    <a:lnTo>
                      <a:pt x="46" y="138"/>
                    </a:lnTo>
                    <a:lnTo>
                      <a:pt x="43" y="134"/>
                    </a:lnTo>
                    <a:lnTo>
                      <a:pt x="43" y="133"/>
                    </a:lnTo>
                    <a:lnTo>
                      <a:pt x="42" y="131"/>
                    </a:lnTo>
                    <a:lnTo>
                      <a:pt x="41" y="127"/>
                    </a:lnTo>
                    <a:lnTo>
                      <a:pt x="38" y="124"/>
                    </a:lnTo>
                    <a:lnTo>
                      <a:pt x="33" y="121"/>
                    </a:lnTo>
                    <a:lnTo>
                      <a:pt x="32" y="121"/>
                    </a:lnTo>
                    <a:lnTo>
                      <a:pt x="26" y="121"/>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24" name="Freeform 957"/>
              <p:cNvSpPr>
                <a:spLocks/>
              </p:cNvSpPr>
              <p:nvPr/>
            </p:nvSpPr>
            <p:spPr bwMode="auto">
              <a:xfrm>
                <a:off x="6563136" y="2753362"/>
                <a:ext cx="20190" cy="68961"/>
              </a:xfrm>
              <a:custGeom>
                <a:avLst/>
                <a:gdLst/>
                <a:ahLst/>
                <a:cxnLst>
                  <a:cxn ang="0">
                    <a:pos x="12" y="66"/>
                  </a:cxn>
                  <a:cxn ang="0">
                    <a:pos x="16" y="42"/>
                  </a:cxn>
                  <a:cxn ang="0">
                    <a:pos x="19" y="37"/>
                  </a:cxn>
                  <a:cxn ang="0">
                    <a:pos x="18" y="35"/>
                  </a:cxn>
                  <a:cxn ang="0">
                    <a:pos x="19" y="32"/>
                  </a:cxn>
                  <a:cxn ang="0">
                    <a:pos x="19" y="31"/>
                  </a:cxn>
                  <a:cxn ang="0">
                    <a:pos x="18" y="31"/>
                  </a:cxn>
                  <a:cxn ang="0">
                    <a:pos x="15" y="32"/>
                  </a:cxn>
                  <a:cxn ang="0">
                    <a:pos x="12" y="34"/>
                  </a:cxn>
                  <a:cxn ang="0">
                    <a:pos x="12" y="34"/>
                  </a:cxn>
                  <a:cxn ang="0">
                    <a:pos x="10" y="32"/>
                  </a:cxn>
                  <a:cxn ang="0">
                    <a:pos x="10" y="31"/>
                  </a:cxn>
                  <a:cxn ang="0">
                    <a:pos x="12" y="31"/>
                  </a:cxn>
                  <a:cxn ang="0">
                    <a:pos x="13" y="28"/>
                  </a:cxn>
                  <a:cxn ang="0">
                    <a:pos x="13" y="26"/>
                  </a:cxn>
                  <a:cxn ang="0">
                    <a:pos x="15" y="26"/>
                  </a:cxn>
                  <a:cxn ang="0">
                    <a:pos x="16" y="26"/>
                  </a:cxn>
                  <a:cxn ang="0">
                    <a:pos x="15" y="25"/>
                  </a:cxn>
                  <a:cxn ang="0">
                    <a:pos x="15" y="25"/>
                  </a:cxn>
                  <a:cxn ang="0">
                    <a:pos x="12" y="25"/>
                  </a:cxn>
                  <a:cxn ang="0">
                    <a:pos x="12" y="23"/>
                  </a:cxn>
                  <a:cxn ang="0">
                    <a:pos x="12" y="22"/>
                  </a:cxn>
                  <a:cxn ang="0">
                    <a:pos x="12" y="19"/>
                  </a:cxn>
                  <a:cxn ang="0">
                    <a:pos x="13" y="16"/>
                  </a:cxn>
                  <a:cxn ang="0">
                    <a:pos x="13" y="15"/>
                  </a:cxn>
                  <a:cxn ang="0">
                    <a:pos x="13" y="13"/>
                  </a:cxn>
                  <a:cxn ang="0">
                    <a:pos x="15" y="13"/>
                  </a:cxn>
                  <a:cxn ang="0">
                    <a:pos x="16" y="13"/>
                  </a:cxn>
                  <a:cxn ang="0">
                    <a:pos x="18" y="13"/>
                  </a:cxn>
                  <a:cxn ang="0">
                    <a:pos x="18" y="15"/>
                  </a:cxn>
                  <a:cxn ang="0">
                    <a:pos x="19" y="16"/>
                  </a:cxn>
                  <a:cxn ang="0">
                    <a:pos x="20" y="16"/>
                  </a:cxn>
                  <a:cxn ang="0">
                    <a:pos x="20" y="10"/>
                  </a:cxn>
                  <a:cxn ang="0">
                    <a:pos x="22" y="9"/>
                  </a:cxn>
                  <a:cxn ang="0">
                    <a:pos x="20" y="7"/>
                  </a:cxn>
                  <a:cxn ang="0">
                    <a:pos x="20" y="6"/>
                  </a:cxn>
                  <a:cxn ang="0">
                    <a:pos x="20" y="5"/>
                  </a:cxn>
                  <a:cxn ang="0">
                    <a:pos x="22" y="5"/>
                  </a:cxn>
                  <a:cxn ang="0">
                    <a:pos x="22" y="0"/>
                  </a:cxn>
                  <a:cxn ang="0">
                    <a:pos x="20" y="0"/>
                  </a:cxn>
                  <a:cxn ang="0">
                    <a:pos x="20" y="2"/>
                  </a:cxn>
                  <a:cxn ang="0">
                    <a:pos x="20" y="5"/>
                  </a:cxn>
                  <a:cxn ang="0">
                    <a:pos x="19" y="5"/>
                  </a:cxn>
                  <a:cxn ang="0">
                    <a:pos x="18" y="5"/>
                  </a:cxn>
                  <a:cxn ang="0">
                    <a:pos x="18" y="5"/>
                  </a:cxn>
                  <a:cxn ang="0">
                    <a:pos x="16" y="5"/>
                  </a:cxn>
                  <a:cxn ang="0">
                    <a:pos x="13" y="5"/>
                  </a:cxn>
                  <a:cxn ang="0">
                    <a:pos x="13" y="3"/>
                  </a:cxn>
                  <a:cxn ang="0">
                    <a:pos x="6" y="28"/>
                  </a:cxn>
                  <a:cxn ang="0">
                    <a:pos x="4" y="29"/>
                  </a:cxn>
                  <a:cxn ang="0">
                    <a:pos x="4" y="31"/>
                  </a:cxn>
                  <a:cxn ang="0">
                    <a:pos x="2" y="34"/>
                  </a:cxn>
                  <a:cxn ang="0">
                    <a:pos x="2" y="35"/>
                  </a:cxn>
                  <a:cxn ang="0">
                    <a:pos x="0" y="37"/>
                  </a:cxn>
                  <a:cxn ang="0">
                    <a:pos x="10" y="66"/>
                  </a:cxn>
                  <a:cxn ang="0">
                    <a:pos x="12" y="66"/>
                  </a:cxn>
                </a:cxnLst>
                <a:rect l="0" t="0" r="r" b="b"/>
                <a:pathLst>
                  <a:path w="22" h="66">
                    <a:moveTo>
                      <a:pt x="12" y="66"/>
                    </a:moveTo>
                    <a:lnTo>
                      <a:pt x="16" y="42"/>
                    </a:lnTo>
                    <a:lnTo>
                      <a:pt x="19" y="37"/>
                    </a:lnTo>
                    <a:lnTo>
                      <a:pt x="18" y="35"/>
                    </a:lnTo>
                    <a:lnTo>
                      <a:pt x="19" y="32"/>
                    </a:lnTo>
                    <a:lnTo>
                      <a:pt x="19" y="31"/>
                    </a:lnTo>
                    <a:lnTo>
                      <a:pt x="18" y="31"/>
                    </a:lnTo>
                    <a:lnTo>
                      <a:pt x="15" y="32"/>
                    </a:lnTo>
                    <a:lnTo>
                      <a:pt x="12" y="34"/>
                    </a:lnTo>
                    <a:lnTo>
                      <a:pt x="12" y="34"/>
                    </a:lnTo>
                    <a:lnTo>
                      <a:pt x="10" y="32"/>
                    </a:lnTo>
                    <a:lnTo>
                      <a:pt x="10" y="31"/>
                    </a:lnTo>
                    <a:lnTo>
                      <a:pt x="12" y="31"/>
                    </a:lnTo>
                    <a:lnTo>
                      <a:pt x="13" y="28"/>
                    </a:lnTo>
                    <a:lnTo>
                      <a:pt x="13" y="26"/>
                    </a:lnTo>
                    <a:lnTo>
                      <a:pt x="15" y="26"/>
                    </a:lnTo>
                    <a:lnTo>
                      <a:pt x="16" y="26"/>
                    </a:lnTo>
                    <a:lnTo>
                      <a:pt x="15" y="25"/>
                    </a:lnTo>
                    <a:lnTo>
                      <a:pt x="15" y="25"/>
                    </a:lnTo>
                    <a:lnTo>
                      <a:pt x="12" y="25"/>
                    </a:lnTo>
                    <a:lnTo>
                      <a:pt x="12" y="23"/>
                    </a:lnTo>
                    <a:lnTo>
                      <a:pt x="12" y="22"/>
                    </a:lnTo>
                    <a:lnTo>
                      <a:pt x="12" y="19"/>
                    </a:lnTo>
                    <a:lnTo>
                      <a:pt x="13" y="16"/>
                    </a:lnTo>
                    <a:lnTo>
                      <a:pt x="13" y="15"/>
                    </a:lnTo>
                    <a:lnTo>
                      <a:pt x="13" y="13"/>
                    </a:lnTo>
                    <a:lnTo>
                      <a:pt x="15" y="13"/>
                    </a:lnTo>
                    <a:lnTo>
                      <a:pt x="16" y="13"/>
                    </a:lnTo>
                    <a:lnTo>
                      <a:pt x="18" y="13"/>
                    </a:lnTo>
                    <a:lnTo>
                      <a:pt x="18" y="15"/>
                    </a:lnTo>
                    <a:lnTo>
                      <a:pt x="19" y="16"/>
                    </a:lnTo>
                    <a:lnTo>
                      <a:pt x="20" y="16"/>
                    </a:lnTo>
                    <a:lnTo>
                      <a:pt x="20" y="10"/>
                    </a:lnTo>
                    <a:lnTo>
                      <a:pt x="22" y="9"/>
                    </a:lnTo>
                    <a:lnTo>
                      <a:pt x="20" y="7"/>
                    </a:lnTo>
                    <a:lnTo>
                      <a:pt x="20" y="6"/>
                    </a:lnTo>
                    <a:lnTo>
                      <a:pt x="20" y="5"/>
                    </a:lnTo>
                    <a:lnTo>
                      <a:pt x="22" y="5"/>
                    </a:lnTo>
                    <a:lnTo>
                      <a:pt x="22" y="0"/>
                    </a:lnTo>
                    <a:lnTo>
                      <a:pt x="20" y="0"/>
                    </a:lnTo>
                    <a:lnTo>
                      <a:pt x="20" y="2"/>
                    </a:lnTo>
                    <a:lnTo>
                      <a:pt x="20" y="5"/>
                    </a:lnTo>
                    <a:lnTo>
                      <a:pt x="19" y="5"/>
                    </a:lnTo>
                    <a:lnTo>
                      <a:pt x="18" y="5"/>
                    </a:lnTo>
                    <a:lnTo>
                      <a:pt x="18" y="5"/>
                    </a:lnTo>
                    <a:lnTo>
                      <a:pt x="16" y="5"/>
                    </a:lnTo>
                    <a:lnTo>
                      <a:pt x="13" y="5"/>
                    </a:lnTo>
                    <a:lnTo>
                      <a:pt x="13" y="3"/>
                    </a:lnTo>
                    <a:lnTo>
                      <a:pt x="6" y="28"/>
                    </a:lnTo>
                    <a:lnTo>
                      <a:pt x="4" y="29"/>
                    </a:lnTo>
                    <a:lnTo>
                      <a:pt x="4" y="31"/>
                    </a:lnTo>
                    <a:lnTo>
                      <a:pt x="2" y="34"/>
                    </a:lnTo>
                    <a:lnTo>
                      <a:pt x="2" y="35"/>
                    </a:lnTo>
                    <a:lnTo>
                      <a:pt x="0" y="37"/>
                    </a:lnTo>
                    <a:lnTo>
                      <a:pt x="10" y="66"/>
                    </a:lnTo>
                    <a:lnTo>
                      <a:pt x="12" y="6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25" name="Freeform 958"/>
              <p:cNvSpPr>
                <a:spLocks/>
              </p:cNvSpPr>
              <p:nvPr/>
            </p:nvSpPr>
            <p:spPr bwMode="auto">
              <a:xfrm>
                <a:off x="6563136" y="2753362"/>
                <a:ext cx="20190" cy="68961"/>
              </a:xfrm>
              <a:custGeom>
                <a:avLst/>
                <a:gdLst/>
                <a:ahLst/>
                <a:cxnLst>
                  <a:cxn ang="0">
                    <a:pos x="12" y="66"/>
                  </a:cxn>
                  <a:cxn ang="0">
                    <a:pos x="16" y="42"/>
                  </a:cxn>
                  <a:cxn ang="0">
                    <a:pos x="19" y="37"/>
                  </a:cxn>
                  <a:cxn ang="0">
                    <a:pos x="18" y="35"/>
                  </a:cxn>
                  <a:cxn ang="0">
                    <a:pos x="19" y="32"/>
                  </a:cxn>
                  <a:cxn ang="0">
                    <a:pos x="19" y="31"/>
                  </a:cxn>
                  <a:cxn ang="0">
                    <a:pos x="18" y="31"/>
                  </a:cxn>
                  <a:cxn ang="0">
                    <a:pos x="15" y="32"/>
                  </a:cxn>
                  <a:cxn ang="0">
                    <a:pos x="12" y="34"/>
                  </a:cxn>
                  <a:cxn ang="0">
                    <a:pos x="12" y="34"/>
                  </a:cxn>
                  <a:cxn ang="0">
                    <a:pos x="10" y="32"/>
                  </a:cxn>
                  <a:cxn ang="0">
                    <a:pos x="10" y="31"/>
                  </a:cxn>
                  <a:cxn ang="0">
                    <a:pos x="12" y="31"/>
                  </a:cxn>
                  <a:cxn ang="0">
                    <a:pos x="13" y="28"/>
                  </a:cxn>
                  <a:cxn ang="0">
                    <a:pos x="13" y="26"/>
                  </a:cxn>
                  <a:cxn ang="0">
                    <a:pos x="15" y="26"/>
                  </a:cxn>
                  <a:cxn ang="0">
                    <a:pos x="16" y="26"/>
                  </a:cxn>
                  <a:cxn ang="0">
                    <a:pos x="15" y="25"/>
                  </a:cxn>
                  <a:cxn ang="0">
                    <a:pos x="15" y="25"/>
                  </a:cxn>
                  <a:cxn ang="0">
                    <a:pos x="12" y="25"/>
                  </a:cxn>
                  <a:cxn ang="0">
                    <a:pos x="12" y="23"/>
                  </a:cxn>
                  <a:cxn ang="0">
                    <a:pos x="12" y="22"/>
                  </a:cxn>
                  <a:cxn ang="0">
                    <a:pos x="12" y="19"/>
                  </a:cxn>
                  <a:cxn ang="0">
                    <a:pos x="13" y="16"/>
                  </a:cxn>
                  <a:cxn ang="0">
                    <a:pos x="13" y="15"/>
                  </a:cxn>
                  <a:cxn ang="0">
                    <a:pos x="13" y="13"/>
                  </a:cxn>
                  <a:cxn ang="0">
                    <a:pos x="15" y="13"/>
                  </a:cxn>
                  <a:cxn ang="0">
                    <a:pos x="16" y="13"/>
                  </a:cxn>
                  <a:cxn ang="0">
                    <a:pos x="18" y="13"/>
                  </a:cxn>
                  <a:cxn ang="0">
                    <a:pos x="18" y="15"/>
                  </a:cxn>
                  <a:cxn ang="0">
                    <a:pos x="19" y="16"/>
                  </a:cxn>
                  <a:cxn ang="0">
                    <a:pos x="20" y="16"/>
                  </a:cxn>
                  <a:cxn ang="0">
                    <a:pos x="20" y="10"/>
                  </a:cxn>
                  <a:cxn ang="0">
                    <a:pos x="22" y="9"/>
                  </a:cxn>
                  <a:cxn ang="0">
                    <a:pos x="20" y="7"/>
                  </a:cxn>
                  <a:cxn ang="0">
                    <a:pos x="20" y="6"/>
                  </a:cxn>
                  <a:cxn ang="0">
                    <a:pos x="20" y="5"/>
                  </a:cxn>
                  <a:cxn ang="0">
                    <a:pos x="22" y="5"/>
                  </a:cxn>
                  <a:cxn ang="0">
                    <a:pos x="22" y="0"/>
                  </a:cxn>
                  <a:cxn ang="0">
                    <a:pos x="20" y="0"/>
                  </a:cxn>
                  <a:cxn ang="0">
                    <a:pos x="20" y="2"/>
                  </a:cxn>
                  <a:cxn ang="0">
                    <a:pos x="20" y="5"/>
                  </a:cxn>
                  <a:cxn ang="0">
                    <a:pos x="19" y="5"/>
                  </a:cxn>
                  <a:cxn ang="0">
                    <a:pos x="18" y="5"/>
                  </a:cxn>
                  <a:cxn ang="0">
                    <a:pos x="18" y="5"/>
                  </a:cxn>
                  <a:cxn ang="0">
                    <a:pos x="16" y="5"/>
                  </a:cxn>
                  <a:cxn ang="0">
                    <a:pos x="13" y="5"/>
                  </a:cxn>
                  <a:cxn ang="0">
                    <a:pos x="13" y="3"/>
                  </a:cxn>
                  <a:cxn ang="0">
                    <a:pos x="6" y="28"/>
                  </a:cxn>
                  <a:cxn ang="0">
                    <a:pos x="4" y="29"/>
                  </a:cxn>
                  <a:cxn ang="0">
                    <a:pos x="4" y="31"/>
                  </a:cxn>
                  <a:cxn ang="0">
                    <a:pos x="2" y="34"/>
                  </a:cxn>
                  <a:cxn ang="0">
                    <a:pos x="2" y="35"/>
                  </a:cxn>
                  <a:cxn ang="0">
                    <a:pos x="0" y="37"/>
                  </a:cxn>
                  <a:cxn ang="0">
                    <a:pos x="10" y="66"/>
                  </a:cxn>
                  <a:cxn ang="0">
                    <a:pos x="12" y="66"/>
                  </a:cxn>
                </a:cxnLst>
                <a:rect l="0" t="0" r="r" b="b"/>
                <a:pathLst>
                  <a:path w="22" h="66">
                    <a:moveTo>
                      <a:pt x="12" y="66"/>
                    </a:moveTo>
                    <a:lnTo>
                      <a:pt x="16" y="42"/>
                    </a:lnTo>
                    <a:lnTo>
                      <a:pt x="19" y="37"/>
                    </a:lnTo>
                    <a:lnTo>
                      <a:pt x="18" y="35"/>
                    </a:lnTo>
                    <a:lnTo>
                      <a:pt x="19" y="32"/>
                    </a:lnTo>
                    <a:lnTo>
                      <a:pt x="19" y="31"/>
                    </a:lnTo>
                    <a:lnTo>
                      <a:pt x="18" y="31"/>
                    </a:lnTo>
                    <a:lnTo>
                      <a:pt x="15" y="32"/>
                    </a:lnTo>
                    <a:lnTo>
                      <a:pt x="12" y="34"/>
                    </a:lnTo>
                    <a:lnTo>
                      <a:pt x="12" y="34"/>
                    </a:lnTo>
                    <a:lnTo>
                      <a:pt x="10" y="32"/>
                    </a:lnTo>
                    <a:lnTo>
                      <a:pt x="10" y="31"/>
                    </a:lnTo>
                    <a:lnTo>
                      <a:pt x="12" y="31"/>
                    </a:lnTo>
                    <a:lnTo>
                      <a:pt x="13" y="28"/>
                    </a:lnTo>
                    <a:lnTo>
                      <a:pt x="13" y="26"/>
                    </a:lnTo>
                    <a:lnTo>
                      <a:pt x="15" y="26"/>
                    </a:lnTo>
                    <a:lnTo>
                      <a:pt x="16" y="26"/>
                    </a:lnTo>
                    <a:lnTo>
                      <a:pt x="15" y="25"/>
                    </a:lnTo>
                    <a:lnTo>
                      <a:pt x="15" y="25"/>
                    </a:lnTo>
                    <a:lnTo>
                      <a:pt x="12" y="25"/>
                    </a:lnTo>
                    <a:lnTo>
                      <a:pt x="12" y="23"/>
                    </a:lnTo>
                    <a:lnTo>
                      <a:pt x="12" y="22"/>
                    </a:lnTo>
                    <a:lnTo>
                      <a:pt x="12" y="19"/>
                    </a:lnTo>
                    <a:lnTo>
                      <a:pt x="13" y="16"/>
                    </a:lnTo>
                    <a:lnTo>
                      <a:pt x="13" y="15"/>
                    </a:lnTo>
                    <a:lnTo>
                      <a:pt x="13" y="13"/>
                    </a:lnTo>
                    <a:lnTo>
                      <a:pt x="15" y="13"/>
                    </a:lnTo>
                    <a:lnTo>
                      <a:pt x="16" y="13"/>
                    </a:lnTo>
                    <a:lnTo>
                      <a:pt x="18" y="13"/>
                    </a:lnTo>
                    <a:lnTo>
                      <a:pt x="18" y="15"/>
                    </a:lnTo>
                    <a:lnTo>
                      <a:pt x="19" y="16"/>
                    </a:lnTo>
                    <a:lnTo>
                      <a:pt x="20" y="16"/>
                    </a:lnTo>
                    <a:lnTo>
                      <a:pt x="20" y="10"/>
                    </a:lnTo>
                    <a:lnTo>
                      <a:pt x="22" y="9"/>
                    </a:lnTo>
                    <a:lnTo>
                      <a:pt x="20" y="7"/>
                    </a:lnTo>
                    <a:lnTo>
                      <a:pt x="20" y="6"/>
                    </a:lnTo>
                    <a:lnTo>
                      <a:pt x="20" y="5"/>
                    </a:lnTo>
                    <a:lnTo>
                      <a:pt x="22" y="5"/>
                    </a:lnTo>
                    <a:lnTo>
                      <a:pt x="22" y="0"/>
                    </a:lnTo>
                    <a:lnTo>
                      <a:pt x="20" y="0"/>
                    </a:lnTo>
                    <a:lnTo>
                      <a:pt x="20" y="2"/>
                    </a:lnTo>
                    <a:lnTo>
                      <a:pt x="20" y="5"/>
                    </a:lnTo>
                    <a:lnTo>
                      <a:pt x="19" y="5"/>
                    </a:lnTo>
                    <a:lnTo>
                      <a:pt x="18" y="5"/>
                    </a:lnTo>
                    <a:lnTo>
                      <a:pt x="18" y="5"/>
                    </a:lnTo>
                    <a:lnTo>
                      <a:pt x="16" y="5"/>
                    </a:lnTo>
                    <a:lnTo>
                      <a:pt x="13" y="5"/>
                    </a:lnTo>
                    <a:lnTo>
                      <a:pt x="13" y="3"/>
                    </a:lnTo>
                    <a:lnTo>
                      <a:pt x="6" y="28"/>
                    </a:lnTo>
                    <a:lnTo>
                      <a:pt x="4" y="29"/>
                    </a:lnTo>
                    <a:lnTo>
                      <a:pt x="4" y="31"/>
                    </a:lnTo>
                    <a:lnTo>
                      <a:pt x="2" y="34"/>
                    </a:lnTo>
                    <a:lnTo>
                      <a:pt x="2" y="35"/>
                    </a:lnTo>
                    <a:lnTo>
                      <a:pt x="0" y="37"/>
                    </a:lnTo>
                    <a:lnTo>
                      <a:pt x="10" y="66"/>
                    </a:lnTo>
                    <a:lnTo>
                      <a:pt x="12" y="6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26" name="Freeform 959"/>
              <p:cNvSpPr>
                <a:spLocks/>
              </p:cNvSpPr>
              <p:nvPr/>
            </p:nvSpPr>
            <p:spPr bwMode="auto">
              <a:xfrm>
                <a:off x="6625460" y="2678315"/>
                <a:ext cx="126403" cy="148064"/>
              </a:xfrm>
              <a:custGeom>
                <a:avLst/>
                <a:gdLst/>
                <a:ahLst/>
                <a:cxnLst>
                  <a:cxn ang="0">
                    <a:pos x="138" y="126"/>
                  </a:cxn>
                  <a:cxn ang="0">
                    <a:pos x="137" y="129"/>
                  </a:cxn>
                  <a:cxn ang="0">
                    <a:pos x="132" y="126"/>
                  </a:cxn>
                  <a:cxn ang="0">
                    <a:pos x="131" y="126"/>
                  </a:cxn>
                  <a:cxn ang="0">
                    <a:pos x="131" y="127"/>
                  </a:cxn>
                  <a:cxn ang="0">
                    <a:pos x="124" y="126"/>
                  </a:cxn>
                  <a:cxn ang="0">
                    <a:pos x="119" y="127"/>
                  </a:cxn>
                  <a:cxn ang="0">
                    <a:pos x="115" y="138"/>
                  </a:cxn>
                  <a:cxn ang="0">
                    <a:pos x="111" y="142"/>
                  </a:cxn>
                  <a:cxn ang="0">
                    <a:pos x="85" y="140"/>
                  </a:cxn>
                  <a:cxn ang="0">
                    <a:pos x="69" y="133"/>
                  </a:cxn>
                  <a:cxn ang="0">
                    <a:pos x="69" y="132"/>
                  </a:cxn>
                  <a:cxn ang="0">
                    <a:pos x="69" y="122"/>
                  </a:cxn>
                  <a:cxn ang="0">
                    <a:pos x="67" y="122"/>
                  </a:cxn>
                  <a:cxn ang="0">
                    <a:pos x="60" y="120"/>
                  </a:cxn>
                  <a:cxn ang="0">
                    <a:pos x="58" y="116"/>
                  </a:cxn>
                  <a:cxn ang="0">
                    <a:pos x="3" y="91"/>
                  </a:cxn>
                  <a:cxn ang="0">
                    <a:pos x="3" y="91"/>
                  </a:cxn>
                  <a:cxn ang="0">
                    <a:pos x="0" y="71"/>
                  </a:cxn>
                  <a:cxn ang="0">
                    <a:pos x="31" y="52"/>
                  </a:cxn>
                  <a:cxn ang="0">
                    <a:pos x="34" y="46"/>
                  </a:cxn>
                  <a:cxn ang="0">
                    <a:pos x="35" y="18"/>
                  </a:cxn>
                  <a:cxn ang="0">
                    <a:pos x="44" y="16"/>
                  </a:cxn>
                  <a:cxn ang="0">
                    <a:pos x="48" y="7"/>
                  </a:cxn>
                  <a:cxn ang="0">
                    <a:pos x="58" y="0"/>
                  </a:cxn>
                  <a:cxn ang="0">
                    <a:pos x="64" y="1"/>
                  </a:cxn>
                  <a:cxn ang="0">
                    <a:pos x="77" y="1"/>
                  </a:cxn>
                  <a:cxn ang="0">
                    <a:pos x="79" y="4"/>
                  </a:cxn>
                  <a:cxn ang="0">
                    <a:pos x="83" y="5"/>
                  </a:cxn>
                  <a:cxn ang="0">
                    <a:pos x="85" y="2"/>
                  </a:cxn>
                  <a:cxn ang="0">
                    <a:pos x="86" y="11"/>
                  </a:cxn>
                  <a:cxn ang="0">
                    <a:pos x="89" y="16"/>
                  </a:cxn>
                  <a:cxn ang="0">
                    <a:pos x="92" y="18"/>
                  </a:cxn>
                  <a:cxn ang="0">
                    <a:pos x="93" y="24"/>
                  </a:cxn>
                  <a:cxn ang="0">
                    <a:pos x="96" y="27"/>
                  </a:cxn>
                  <a:cxn ang="0">
                    <a:pos x="106" y="29"/>
                  </a:cxn>
                  <a:cxn ang="0">
                    <a:pos x="105" y="30"/>
                  </a:cxn>
                  <a:cxn ang="0">
                    <a:pos x="103" y="34"/>
                  </a:cxn>
                  <a:cxn ang="0">
                    <a:pos x="105" y="39"/>
                  </a:cxn>
                  <a:cxn ang="0">
                    <a:pos x="99" y="47"/>
                  </a:cxn>
                  <a:cxn ang="0">
                    <a:pos x="99" y="49"/>
                  </a:cxn>
                  <a:cxn ang="0">
                    <a:pos x="96" y="50"/>
                  </a:cxn>
                  <a:cxn ang="0">
                    <a:pos x="96" y="52"/>
                  </a:cxn>
                  <a:cxn ang="0">
                    <a:pos x="95" y="58"/>
                  </a:cxn>
                  <a:cxn ang="0">
                    <a:pos x="93" y="59"/>
                  </a:cxn>
                  <a:cxn ang="0">
                    <a:pos x="93" y="61"/>
                  </a:cxn>
                  <a:cxn ang="0">
                    <a:pos x="93" y="63"/>
                  </a:cxn>
                  <a:cxn ang="0">
                    <a:pos x="95" y="65"/>
                  </a:cxn>
                  <a:cxn ang="0">
                    <a:pos x="98" y="65"/>
                  </a:cxn>
                  <a:cxn ang="0">
                    <a:pos x="98" y="68"/>
                  </a:cxn>
                  <a:cxn ang="0">
                    <a:pos x="101" y="69"/>
                  </a:cxn>
                  <a:cxn ang="0">
                    <a:pos x="102" y="72"/>
                  </a:cxn>
                  <a:cxn ang="0">
                    <a:pos x="102" y="75"/>
                  </a:cxn>
                  <a:cxn ang="0">
                    <a:pos x="115" y="84"/>
                  </a:cxn>
                  <a:cxn ang="0">
                    <a:pos x="118" y="85"/>
                  </a:cxn>
                  <a:cxn ang="0">
                    <a:pos x="125" y="98"/>
                  </a:cxn>
                  <a:cxn ang="0">
                    <a:pos x="125" y="110"/>
                  </a:cxn>
                  <a:cxn ang="0">
                    <a:pos x="128" y="113"/>
                  </a:cxn>
                  <a:cxn ang="0">
                    <a:pos x="130" y="117"/>
                  </a:cxn>
                  <a:cxn ang="0">
                    <a:pos x="138" y="126"/>
                  </a:cxn>
                </a:cxnLst>
                <a:rect l="0" t="0" r="r" b="b"/>
                <a:pathLst>
                  <a:path w="138" h="142">
                    <a:moveTo>
                      <a:pt x="138" y="126"/>
                    </a:moveTo>
                    <a:lnTo>
                      <a:pt x="137" y="129"/>
                    </a:lnTo>
                    <a:lnTo>
                      <a:pt x="132" y="126"/>
                    </a:lnTo>
                    <a:lnTo>
                      <a:pt x="131" y="126"/>
                    </a:lnTo>
                    <a:lnTo>
                      <a:pt x="131" y="127"/>
                    </a:lnTo>
                    <a:lnTo>
                      <a:pt x="124" y="126"/>
                    </a:lnTo>
                    <a:lnTo>
                      <a:pt x="119" y="127"/>
                    </a:lnTo>
                    <a:lnTo>
                      <a:pt x="115" y="138"/>
                    </a:lnTo>
                    <a:lnTo>
                      <a:pt x="111" y="142"/>
                    </a:lnTo>
                    <a:lnTo>
                      <a:pt x="85" y="140"/>
                    </a:lnTo>
                    <a:lnTo>
                      <a:pt x="69" y="133"/>
                    </a:lnTo>
                    <a:lnTo>
                      <a:pt x="69" y="132"/>
                    </a:lnTo>
                    <a:lnTo>
                      <a:pt x="69" y="122"/>
                    </a:lnTo>
                    <a:lnTo>
                      <a:pt x="67" y="122"/>
                    </a:lnTo>
                    <a:lnTo>
                      <a:pt x="60" y="120"/>
                    </a:lnTo>
                    <a:lnTo>
                      <a:pt x="58" y="116"/>
                    </a:lnTo>
                    <a:lnTo>
                      <a:pt x="3" y="91"/>
                    </a:lnTo>
                    <a:lnTo>
                      <a:pt x="3" y="91"/>
                    </a:lnTo>
                    <a:lnTo>
                      <a:pt x="0" y="71"/>
                    </a:lnTo>
                    <a:lnTo>
                      <a:pt x="31" y="52"/>
                    </a:lnTo>
                    <a:lnTo>
                      <a:pt x="34" y="46"/>
                    </a:lnTo>
                    <a:lnTo>
                      <a:pt x="35" y="18"/>
                    </a:lnTo>
                    <a:lnTo>
                      <a:pt x="44" y="16"/>
                    </a:lnTo>
                    <a:lnTo>
                      <a:pt x="48" y="7"/>
                    </a:lnTo>
                    <a:lnTo>
                      <a:pt x="58" y="0"/>
                    </a:lnTo>
                    <a:lnTo>
                      <a:pt x="64" y="1"/>
                    </a:lnTo>
                    <a:lnTo>
                      <a:pt x="77" y="1"/>
                    </a:lnTo>
                    <a:lnTo>
                      <a:pt x="79" y="4"/>
                    </a:lnTo>
                    <a:lnTo>
                      <a:pt x="83" y="5"/>
                    </a:lnTo>
                    <a:lnTo>
                      <a:pt x="85" y="2"/>
                    </a:lnTo>
                    <a:lnTo>
                      <a:pt x="86" y="11"/>
                    </a:lnTo>
                    <a:lnTo>
                      <a:pt x="89" y="16"/>
                    </a:lnTo>
                    <a:lnTo>
                      <a:pt x="92" y="18"/>
                    </a:lnTo>
                    <a:lnTo>
                      <a:pt x="93" y="24"/>
                    </a:lnTo>
                    <a:lnTo>
                      <a:pt x="96" y="27"/>
                    </a:lnTo>
                    <a:lnTo>
                      <a:pt x="106" y="29"/>
                    </a:lnTo>
                    <a:lnTo>
                      <a:pt x="105" y="30"/>
                    </a:lnTo>
                    <a:lnTo>
                      <a:pt x="103" y="34"/>
                    </a:lnTo>
                    <a:lnTo>
                      <a:pt x="105" y="39"/>
                    </a:lnTo>
                    <a:lnTo>
                      <a:pt x="99" y="47"/>
                    </a:lnTo>
                    <a:lnTo>
                      <a:pt x="99" y="49"/>
                    </a:lnTo>
                    <a:lnTo>
                      <a:pt x="96" y="50"/>
                    </a:lnTo>
                    <a:lnTo>
                      <a:pt x="96" y="52"/>
                    </a:lnTo>
                    <a:lnTo>
                      <a:pt x="95" y="58"/>
                    </a:lnTo>
                    <a:lnTo>
                      <a:pt x="93" y="59"/>
                    </a:lnTo>
                    <a:lnTo>
                      <a:pt x="93" y="61"/>
                    </a:lnTo>
                    <a:lnTo>
                      <a:pt x="93" y="63"/>
                    </a:lnTo>
                    <a:lnTo>
                      <a:pt x="95" y="65"/>
                    </a:lnTo>
                    <a:lnTo>
                      <a:pt x="98" y="65"/>
                    </a:lnTo>
                    <a:lnTo>
                      <a:pt x="98" y="68"/>
                    </a:lnTo>
                    <a:lnTo>
                      <a:pt x="101" y="69"/>
                    </a:lnTo>
                    <a:lnTo>
                      <a:pt x="102" y="72"/>
                    </a:lnTo>
                    <a:lnTo>
                      <a:pt x="102" y="75"/>
                    </a:lnTo>
                    <a:lnTo>
                      <a:pt x="115" y="84"/>
                    </a:lnTo>
                    <a:lnTo>
                      <a:pt x="118" y="85"/>
                    </a:lnTo>
                    <a:lnTo>
                      <a:pt x="125" y="98"/>
                    </a:lnTo>
                    <a:lnTo>
                      <a:pt x="125" y="110"/>
                    </a:lnTo>
                    <a:lnTo>
                      <a:pt x="128" y="113"/>
                    </a:lnTo>
                    <a:lnTo>
                      <a:pt x="130" y="117"/>
                    </a:lnTo>
                    <a:lnTo>
                      <a:pt x="138" y="12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27" name="Freeform 960"/>
              <p:cNvSpPr>
                <a:spLocks/>
              </p:cNvSpPr>
              <p:nvPr/>
            </p:nvSpPr>
            <p:spPr bwMode="auto">
              <a:xfrm>
                <a:off x="6625460" y="2678315"/>
                <a:ext cx="126403" cy="148064"/>
              </a:xfrm>
              <a:custGeom>
                <a:avLst/>
                <a:gdLst/>
                <a:ahLst/>
                <a:cxnLst>
                  <a:cxn ang="0">
                    <a:pos x="138" y="126"/>
                  </a:cxn>
                  <a:cxn ang="0">
                    <a:pos x="137" y="129"/>
                  </a:cxn>
                  <a:cxn ang="0">
                    <a:pos x="132" y="126"/>
                  </a:cxn>
                  <a:cxn ang="0">
                    <a:pos x="131" y="126"/>
                  </a:cxn>
                  <a:cxn ang="0">
                    <a:pos x="131" y="127"/>
                  </a:cxn>
                  <a:cxn ang="0">
                    <a:pos x="124" y="126"/>
                  </a:cxn>
                  <a:cxn ang="0">
                    <a:pos x="119" y="127"/>
                  </a:cxn>
                  <a:cxn ang="0">
                    <a:pos x="115" y="138"/>
                  </a:cxn>
                  <a:cxn ang="0">
                    <a:pos x="111" y="142"/>
                  </a:cxn>
                  <a:cxn ang="0">
                    <a:pos x="85" y="140"/>
                  </a:cxn>
                  <a:cxn ang="0">
                    <a:pos x="69" y="133"/>
                  </a:cxn>
                  <a:cxn ang="0">
                    <a:pos x="69" y="132"/>
                  </a:cxn>
                  <a:cxn ang="0">
                    <a:pos x="69" y="122"/>
                  </a:cxn>
                  <a:cxn ang="0">
                    <a:pos x="67" y="122"/>
                  </a:cxn>
                  <a:cxn ang="0">
                    <a:pos x="60" y="120"/>
                  </a:cxn>
                  <a:cxn ang="0">
                    <a:pos x="58" y="116"/>
                  </a:cxn>
                  <a:cxn ang="0">
                    <a:pos x="3" y="91"/>
                  </a:cxn>
                  <a:cxn ang="0">
                    <a:pos x="3" y="91"/>
                  </a:cxn>
                  <a:cxn ang="0">
                    <a:pos x="0" y="71"/>
                  </a:cxn>
                  <a:cxn ang="0">
                    <a:pos x="31" y="52"/>
                  </a:cxn>
                  <a:cxn ang="0">
                    <a:pos x="34" y="46"/>
                  </a:cxn>
                  <a:cxn ang="0">
                    <a:pos x="35" y="18"/>
                  </a:cxn>
                  <a:cxn ang="0">
                    <a:pos x="44" y="16"/>
                  </a:cxn>
                  <a:cxn ang="0">
                    <a:pos x="48" y="7"/>
                  </a:cxn>
                  <a:cxn ang="0">
                    <a:pos x="58" y="0"/>
                  </a:cxn>
                  <a:cxn ang="0">
                    <a:pos x="64" y="1"/>
                  </a:cxn>
                  <a:cxn ang="0">
                    <a:pos x="77" y="1"/>
                  </a:cxn>
                  <a:cxn ang="0">
                    <a:pos x="79" y="4"/>
                  </a:cxn>
                  <a:cxn ang="0">
                    <a:pos x="83" y="5"/>
                  </a:cxn>
                  <a:cxn ang="0">
                    <a:pos x="85" y="2"/>
                  </a:cxn>
                  <a:cxn ang="0">
                    <a:pos x="86" y="11"/>
                  </a:cxn>
                  <a:cxn ang="0">
                    <a:pos x="89" y="16"/>
                  </a:cxn>
                  <a:cxn ang="0">
                    <a:pos x="92" y="18"/>
                  </a:cxn>
                  <a:cxn ang="0">
                    <a:pos x="93" y="24"/>
                  </a:cxn>
                  <a:cxn ang="0">
                    <a:pos x="96" y="27"/>
                  </a:cxn>
                  <a:cxn ang="0">
                    <a:pos x="106" y="29"/>
                  </a:cxn>
                  <a:cxn ang="0">
                    <a:pos x="105" y="30"/>
                  </a:cxn>
                  <a:cxn ang="0">
                    <a:pos x="103" y="34"/>
                  </a:cxn>
                  <a:cxn ang="0">
                    <a:pos x="105" y="39"/>
                  </a:cxn>
                  <a:cxn ang="0">
                    <a:pos x="99" y="47"/>
                  </a:cxn>
                  <a:cxn ang="0">
                    <a:pos x="99" y="49"/>
                  </a:cxn>
                  <a:cxn ang="0">
                    <a:pos x="96" y="50"/>
                  </a:cxn>
                  <a:cxn ang="0">
                    <a:pos x="96" y="52"/>
                  </a:cxn>
                  <a:cxn ang="0">
                    <a:pos x="95" y="58"/>
                  </a:cxn>
                  <a:cxn ang="0">
                    <a:pos x="93" y="59"/>
                  </a:cxn>
                  <a:cxn ang="0">
                    <a:pos x="93" y="61"/>
                  </a:cxn>
                  <a:cxn ang="0">
                    <a:pos x="93" y="63"/>
                  </a:cxn>
                  <a:cxn ang="0">
                    <a:pos x="95" y="65"/>
                  </a:cxn>
                  <a:cxn ang="0">
                    <a:pos x="98" y="65"/>
                  </a:cxn>
                  <a:cxn ang="0">
                    <a:pos x="98" y="68"/>
                  </a:cxn>
                  <a:cxn ang="0">
                    <a:pos x="101" y="69"/>
                  </a:cxn>
                  <a:cxn ang="0">
                    <a:pos x="102" y="72"/>
                  </a:cxn>
                  <a:cxn ang="0">
                    <a:pos x="102" y="75"/>
                  </a:cxn>
                  <a:cxn ang="0">
                    <a:pos x="115" y="84"/>
                  </a:cxn>
                  <a:cxn ang="0">
                    <a:pos x="118" y="85"/>
                  </a:cxn>
                  <a:cxn ang="0">
                    <a:pos x="125" y="98"/>
                  </a:cxn>
                  <a:cxn ang="0">
                    <a:pos x="125" y="110"/>
                  </a:cxn>
                  <a:cxn ang="0">
                    <a:pos x="128" y="113"/>
                  </a:cxn>
                  <a:cxn ang="0">
                    <a:pos x="130" y="117"/>
                  </a:cxn>
                  <a:cxn ang="0">
                    <a:pos x="138" y="126"/>
                  </a:cxn>
                </a:cxnLst>
                <a:rect l="0" t="0" r="r" b="b"/>
                <a:pathLst>
                  <a:path w="138" h="142">
                    <a:moveTo>
                      <a:pt x="138" y="126"/>
                    </a:moveTo>
                    <a:lnTo>
                      <a:pt x="137" y="129"/>
                    </a:lnTo>
                    <a:lnTo>
                      <a:pt x="132" y="126"/>
                    </a:lnTo>
                    <a:lnTo>
                      <a:pt x="131" y="126"/>
                    </a:lnTo>
                    <a:lnTo>
                      <a:pt x="131" y="127"/>
                    </a:lnTo>
                    <a:lnTo>
                      <a:pt x="124" y="126"/>
                    </a:lnTo>
                    <a:lnTo>
                      <a:pt x="119" y="127"/>
                    </a:lnTo>
                    <a:lnTo>
                      <a:pt x="115" y="138"/>
                    </a:lnTo>
                    <a:lnTo>
                      <a:pt x="111" y="142"/>
                    </a:lnTo>
                    <a:lnTo>
                      <a:pt x="85" y="140"/>
                    </a:lnTo>
                    <a:lnTo>
                      <a:pt x="69" y="133"/>
                    </a:lnTo>
                    <a:lnTo>
                      <a:pt x="69" y="132"/>
                    </a:lnTo>
                    <a:lnTo>
                      <a:pt x="69" y="122"/>
                    </a:lnTo>
                    <a:lnTo>
                      <a:pt x="67" y="122"/>
                    </a:lnTo>
                    <a:lnTo>
                      <a:pt x="60" y="120"/>
                    </a:lnTo>
                    <a:lnTo>
                      <a:pt x="58" y="116"/>
                    </a:lnTo>
                    <a:lnTo>
                      <a:pt x="3" y="91"/>
                    </a:lnTo>
                    <a:lnTo>
                      <a:pt x="3" y="91"/>
                    </a:lnTo>
                    <a:lnTo>
                      <a:pt x="0" y="71"/>
                    </a:lnTo>
                    <a:lnTo>
                      <a:pt x="31" y="52"/>
                    </a:lnTo>
                    <a:lnTo>
                      <a:pt x="34" y="46"/>
                    </a:lnTo>
                    <a:lnTo>
                      <a:pt x="35" y="18"/>
                    </a:lnTo>
                    <a:lnTo>
                      <a:pt x="44" y="16"/>
                    </a:lnTo>
                    <a:lnTo>
                      <a:pt x="48" y="7"/>
                    </a:lnTo>
                    <a:lnTo>
                      <a:pt x="58" y="0"/>
                    </a:lnTo>
                    <a:lnTo>
                      <a:pt x="64" y="1"/>
                    </a:lnTo>
                    <a:lnTo>
                      <a:pt x="77" y="1"/>
                    </a:lnTo>
                    <a:lnTo>
                      <a:pt x="79" y="4"/>
                    </a:lnTo>
                    <a:lnTo>
                      <a:pt x="83" y="5"/>
                    </a:lnTo>
                    <a:lnTo>
                      <a:pt x="85" y="2"/>
                    </a:lnTo>
                    <a:lnTo>
                      <a:pt x="86" y="11"/>
                    </a:lnTo>
                    <a:lnTo>
                      <a:pt x="89" y="16"/>
                    </a:lnTo>
                    <a:lnTo>
                      <a:pt x="92" y="18"/>
                    </a:lnTo>
                    <a:lnTo>
                      <a:pt x="93" y="24"/>
                    </a:lnTo>
                    <a:lnTo>
                      <a:pt x="96" y="27"/>
                    </a:lnTo>
                    <a:lnTo>
                      <a:pt x="106" y="29"/>
                    </a:lnTo>
                    <a:lnTo>
                      <a:pt x="105" y="30"/>
                    </a:lnTo>
                    <a:lnTo>
                      <a:pt x="103" y="34"/>
                    </a:lnTo>
                    <a:lnTo>
                      <a:pt x="105" y="39"/>
                    </a:lnTo>
                    <a:lnTo>
                      <a:pt x="99" y="47"/>
                    </a:lnTo>
                    <a:lnTo>
                      <a:pt x="99" y="49"/>
                    </a:lnTo>
                    <a:lnTo>
                      <a:pt x="96" y="50"/>
                    </a:lnTo>
                    <a:lnTo>
                      <a:pt x="96" y="52"/>
                    </a:lnTo>
                    <a:lnTo>
                      <a:pt x="95" y="58"/>
                    </a:lnTo>
                    <a:lnTo>
                      <a:pt x="93" y="59"/>
                    </a:lnTo>
                    <a:lnTo>
                      <a:pt x="93" y="61"/>
                    </a:lnTo>
                    <a:lnTo>
                      <a:pt x="93" y="63"/>
                    </a:lnTo>
                    <a:lnTo>
                      <a:pt x="95" y="65"/>
                    </a:lnTo>
                    <a:lnTo>
                      <a:pt x="98" y="65"/>
                    </a:lnTo>
                    <a:lnTo>
                      <a:pt x="98" y="68"/>
                    </a:lnTo>
                    <a:lnTo>
                      <a:pt x="101" y="69"/>
                    </a:lnTo>
                    <a:lnTo>
                      <a:pt x="102" y="72"/>
                    </a:lnTo>
                    <a:lnTo>
                      <a:pt x="102" y="75"/>
                    </a:lnTo>
                    <a:lnTo>
                      <a:pt x="115" y="84"/>
                    </a:lnTo>
                    <a:lnTo>
                      <a:pt x="118" y="85"/>
                    </a:lnTo>
                    <a:lnTo>
                      <a:pt x="125" y="98"/>
                    </a:lnTo>
                    <a:lnTo>
                      <a:pt x="125" y="110"/>
                    </a:lnTo>
                    <a:lnTo>
                      <a:pt x="128" y="113"/>
                    </a:lnTo>
                    <a:lnTo>
                      <a:pt x="130" y="117"/>
                    </a:lnTo>
                    <a:lnTo>
                      <a:pt x="138" y="12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28" name="Freeform 961"/>
              <p:cNvSpPr>
                <a:spLocks/>
              </p:cNvSpPr>
              <p:nvPr/>
            </p:nvSpPr>
            <p:spPr bwMode="auto">
              <a:xfrm>
                <a:off x="6780831" y="2874043"/>
                <a:ext cx="9656" cy="28396"/>
              </a:xfrm>
              <a:custGeom>
                <a:avLst/>
                <a:gdLst/>
                <a:ahLst/>
                <a:cxnLst>
                  <a:cxn ang="0">
                    <a:pos x="4" y="27"/>
                  </a:cxn>
                  <a:cxn ang="0">
                    <a:pos x="10" y="24"/>
                  </a:cxn>
                  <a:cxn ang="0">
                    <a:pos x="10" y="24"/>
                  </a:cxn>
                  <a:cxn ang="0">
                    <a:pos x="10" y="22"/>
                  </a:cxn>
                  <a:cxn ang="0">
                    <a:pos x="11" y="21"/>
                  </a:cxn>
                  <a:cxn ang="0">
                    <a:pos x="11" y="19"/>
                  </a:cxn>
                  <a:cxn ang="0">
                    <a:pos x="11" y="15"/>
                  </a:cxn>
                  <a:cxn ang="0">
                    <a:pos x="11" y="14"/>
                  </a:cxn>
                  <a:cxn ang="0">
                    <a:pos x="11" y="9"/>
                  </a:cxn>
                  <a:cxn ang="0">
                    <a:pos x="11" y="9"/>
                  </a:cxn>
                  <a:cxn ang="0">
                    <a:pos x="11" y="9"/>
                  </a:cxn>
                  <a:cxn ang="0">
                    <a:pos x="11" y="8"/>
                  </a:cxn>
                  <a:cxn ang="0">
                    <a:pos x="11" y="6"/>
                  </a:cxn>
                  <a:cxn ang="0">
                    <a:pos x="11" y="5"/>
                  </a:cxn>
                  <a:cxn ang="0">
                    <a:pos x="11" y="5"/>
                  </a:cxn>
                  <a:cxn ang="0">
                    <a:pos x="10" y="5"/>
                  </a:cxn>
                  <a:cxn ang="0">
                    <a:pos x="8" y="2"/>
                  </a:cxn>
                  <a:cxn ang="0">
                    <a:pos x="8" y="2"/>
                  </a:cxn>
                  <a:cxn ang="0">
                    <a:pos x="7" y="0"/>
                  </a:cxn>
                  <a:cxn ang="0">
                    <a:pos x="6" y="2"/>
                  </a:cxn>
                  <a:cxn ang="0">
                    <a:pos x="3" y="11"/>
                  </a:cxn>
                  <a:cxn ang="0">
                    <a:pos x="1" y="12"/>
                  </a:cxn>
                  <a:cxn ang="0">
                    <a:pos x="1" y="14"/>
                  </a:cxn>
                  <a:cxn ang="0">
                    <a:pos x="0" y="15"/>
                  </a:cxn>
                  <a:cxn ang="0">
                    <a:pos x="1" y="16"/>
                  </a:cxn>
                  <a:cxn ang="0">
                    <a:pos x="0" y="18"/>
                  </a:cxn>
                  <a:cxn ang="0">
                    <a:pos x="1" y="19"/>
                  </a:cxn>
                  <a:cxn ang="0">
                    <a:pos x="1" y="21"/>
                  </a:cxn>
                  <a:cxn ang="0">
                    <a:pos x="1" y="22"/>
                  </a:cxn>
                  <a:cxn ang="0">
                    <a:pos x="1" y="22"/>
                  </a:cxn>
                  <a:cxn ang="0">
                    <a:pos x="1" y="24"/>
                  </a:cxn>
                  <a:cxn ang="0">
                    <a:pos x="3" y="27"/>
                  </a:cxn>
                  <a:cxn ang="0">
                    <a:pos x="4" y="27"/>
                  </a:cxn>
                </a:cxnLst>
                <a:rect l="0" t="0" r="r" b="b"/>
                <a:pathLst>
                  <a:path w="11" h="27">
                    <a:moveTo>
                      <a:pt x="4" y="27"/>
                    </a:moveTo>
                    <a:lnTo>
                      <a:pt x="10" y="24"/>
                    </a:lnTo>
                    <a:lnTo>
                      <a:pt x="10" y="24"/>
                    </a:lnTo>
                    <a:lnTo>
                      <a:pt x="10" y="22"/>
                    </a:lnTo>
                    <a:lnTo>
                      <a:pt x="11" y="21"/>
                    </a:lnTo>
                    <a:lnTo>
                      <a:pt x="11" y="19"/>
                    </a:lnTo>
                    <a:lnTo>
                      <a:pt x="11" y="15"/>
                    </a:lnTo>
                    <a:lnTo>
                      <a:pt x="11" y="14"/>
                    </a:lnTo>
                    <a:lnTo>
                      <a:pt x="11" y="9"/>
                    </a:lnTo>
                    <a:lnTo>
                      <a:pt x="11" y="9"/>
                    </a:lnTo>
                    <a:lnTo>
                      <a:pt x="11" y="9"/>
                    </a:lnTo>
                    <a:lnTo>
                      <a:pt x="11" y="8"/>
                    </a:lnTo>
                    <a:lnTo>
                      <a:pt x="11" y="6"/>
                    </a:lnTo>
                    <a:lnTo>
                      <a:pt x="11" y="5"/>
                    </a:lnTo>
                    <a:lnTo>
                      <a:pt x="11" y="5"/>
                    </a:lnTo>
                    <a:lnTo>
                      <a:pt x="10" y="5"/>
                    </a:lnTo>
                    <a:lnTo>
                      <a:pt x="8" y="2"/>
                    </a:lnTo>
                    <a:lnTo>
                      <a:pt x="8" y="2"/>
                    </a:lnTo>
                    <a:lnTo>
                      <a:pt x="7" y="0"/>
                    </a:lnTo>
                    <a:lnTo>
                      <a:pt x="6" y="2"/>
                    </a:lnTo>
                    <a:lnTo>
                      <a:pt x="3" y="11"/>
                    </a:lnTo>
                    <a:lnTo>
                      <a:pt x="1" y="12"/>
                    </a:lnTo>
                    <a:lnTo>
                      <a:pt x="1" y="14"/>
                    </a:lnTo>
                    <a:lnTo>
                      <a:pt x="0" y="15"/>
                    </a:lnTo>
                    <a:lnTo>
                      <a:pt x="1" y="16"/>
                    </a:lnTo>
                    <a:lnTo>
                      <a:pt x="0" y="18"/>
                    </a:lnTo>
                    <a:lnTo>
                      <a:pt x="1" y="19"/>
                    </a:lnTo>
                    <a:lnTo>
                      <a:pt x="1" y="21"/>
                    </a:lnTo>
                    <a:lnTo>
                      <a:pt x="1" y="22"/>
                    </a:lnTo>
                    <a:lnTo>
                      <a:pt x="1" y="22"/>
                    </a:lnTo>
                    <a:lnTo>
                      <a:pt x="1" y="24"/>
                    </a:lnTo>
                    <a:lnTo>
                      <a:pt x="3" y="27"/>
                    </a:lnTo>
                    <a:lnTo>
                      <a:pt x="4" y="27"/>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29" name="Freeform 962"/>
              <p:cNvSpPr>
                <a:spLocks/>
              </p:cNvSpPr>
              <p:nvPr/>
            </p:nvSpPr>
            <p:spPr bwMode="auto">
              <a:xfrm>
                <a:off x="6780831" y="2874043"/>
                <a:ext cx="9656" cy="28396"/>
              </a:xfrm>
              <a:custGeom>
                <a:avLst/>
                <a:gdLst/>
                <a:ahLst/>
                <a:cxnLst>
                  <a:cxn ang="0">
                    <a:pos x="4" y="27"/>
                  </a:cxn>
                  <a:cxn ang="0">
                    <a:pos x="10" y="24"/>
                  </a:cxn>
                  <a:cxn ang="0">
                    <a:pos x="10" y="24"/>
                  </a:cxn>
                  <a:cxn ang="0">
                    <a:pos x="10" y="22"/>
                  </a:cxn>
                  <a:cxn ang="0">
                    <a:pos x="11" y="21"/>
                  </a:cxn>
                  <a:cxn ang="0">
                    <a:pos x="11" y="19"/>
                  </a:cxn>
                  <a:cxn ang="0">
                    <a:pos x="11" y="15"/>
                  </a:cxn>
                  <a:cxn ang="0">
                    <a:pos x="11" y="14"/>
                  </a:cxn>
                  <a:cxn ang="0">
                    <a:pos x="11" y="9"/>
                  </a:cxn>
                  <a:cxn ang="0">
                    <a:pos x="11" y="9"/>
                  </a:cxn>
                  <a:cxn ang="0">
                    <a:pos x="11" y="9"/>
                  </a:cxn>
                  <a:cxn ang="0">
                    <a:pos x="11" y="8"/>
                  </a:cxn>
                  <a:cxn ang="0">
                    <a:pos x="11" y="6"/>
                  </a:cxn>
                  <a:cxn ang="0">
                    <a:pos x="11" y="5"/>
                  </a:cxn>
                  <a:cxn ang="0">
                    <a:pos x="11" y="5"/>
                  </a:cxn>
                  <a:cxn ang="0">
                    <a:pos x="10" y="5"/>
                  </a:cxn>
                  <a:cxn ang="0">
                    <a:pos x="8" y="2"/>
                  </a:cxn>
                  <a:cxn ang="0">
                    <a:pos x="8" y="2"/>
                  </a:cxn>
                  <a:cxn ang="0">
                    <a:pos x="7" y="0"/>
                  </a:cxn>
                  <a:cxn ang="0">
                    <a:pos x="6" y="2"/>
                  </a:cxn>
                  <a:cxn ang="0">
                    <a:pos x="3" y="11"/>
                  </a:cxn>
                  <a:cxn ang="0">
                    <a:pos x="1" y="12"/>
                  </a:cxn>
                  <a:cxn ang="0">
                    <a:pos x="1" y="14"/>
                  </a:cxn>
                  <a:cxn ang="0">
                    <a:pos x="0" y="15"/>
                  </a:cxn>
                  <a:cxn ang="0">
                    <a:pos x="1" y="16"/>
                  </a:cxn>
                  <a:cxn ang="0">
                    <a:pos x="0" y="18"/>
                  </a:cxn>
                  <a:cxn ang="0">
                    <a:pos x="1" y="19"/>
                  </a:cxn>
                  <a:cxn ang="0">
                    <a:pos x="1" y="21"/>
                  </a:cxn>
                  <a:cxn ang="0">
                    <a:pos x="1" y="22"/>
                  </a:cxn>
                  <a:cxn ang="0">
                    <a:pos x="1" y="22"/>
                  </a:cxn>
                  <a:cxn ang="0">
                    <a:pos x="1" y="24"/>
                  </a:cxn>
                  <a:cxn ang="0">
                    <a:pos x="3" y="27"/>
                  </a:cxn>
                  <a:cxn ang="0">
                    <a:pos x="4" y="27"/>
                  </a:cxn>
                </a:cxnLst>
                <a:rect l="0" t="0" r="r" b="b"/>
                <a:pathLst>
                  <a:path w="11" h="27">
                    <a:moveTo>
                      <a:pt x="4" y="27"/>
                    </a:moveTo>
                    <a:lnTo>
                      <a:pt x="10" y="24"/>
                    </a:lnTo>
                    <a:lnTo>
                      <a:pt x="10" y="24"/>
                    </a:lnTo>
                    <a:lnTo>
                      <a:pt x="10" y="22"/>
                    </a:lnTo>
                    <a:lnTo>
                      <a:pt x="11" y="21"/>
                    </a:lnTo>
                    <a:lnTo>
                      <a:pt x="11" y="19"/>
                    </a:lnTo>
                    <a:lnTo>
                      <a:pt x="11" y="15"/>
                    </a:lnTo>
                    <a:lnTo>
                      <a:pt x="11" y="14"/>
                    </a:lnTo>
                    <a:lnTo>
                      <a:pt x="11" y="9"/>
                    </a:lnTo>
                    <a:lnTo>
                      <a:pt x="11" y="9"/>
                    </a:lnTo>
                    <a:lnTo>
                      <a:pt x="11" y="9"/>
                    </a:lnTo>
                    <a:lnTo>
                      <a:pt x="11" y="8"/>
                    </a:lnTo>
                    <a:lnTo>
                      <a:pt x="11" y="6"/>
                    </a:lnTo>
                    <a:lnTo>
                      <a:pt x="11" y="5"/>
                    </a:lnTo>
                    <a:lnTo>
                      <a:pt x="11" y="5"/>
                    </a:lnTo>
                    <a:lnTo>
                      <a:pt x="10" y="5"/>
                    </a:lnTo>
                    <a:lnTo>
                      <a:pt x="8" y="2"/>
                    </a:lnTo>
                    <a:lnTo>
                      <a:pt x="8" y="2"/>
                    </a:lnTo>
                    <a:lnTo>
                      <a:pt x="7" y="0"/>
                    </a:lnTo>
                    <a:lnTo>
                      <a:pt x="6" y="2"/>
                    </a:lnTo>
                    <a:lnTo>
                      <a:pt x="3" y="11"/>
                    </a:lnTo>
                    <a:lnTo>
                      <a:pt x="1" y="12"/>
                    </a:lnTo>
                    <a:lnTo>
                      <a:pt x="1" y="14"/>
                    </a:lnTo>
                    <a:lnTo>
                      <a:pt x="0" y="15"/>
                    </a:lnTo>
                    <a:lnTo>
                      <a:pt x="1" y="16"/>
                    </a:lnTo>
                    <a:lnTo>
                      <a:pt x="0" y="18"/>
                    </a:lnTo>
                    <a:lnTo>
                      <a:pt x="1" y="19"/>
                    </a:lnTo>
                    <a:lnTo>
                      <a:pt x="1" y="21"/>
                    </a:lnTo>
                    <a:lnTo>
                      <a:pt x="1" y="22"/>
                    </a:lnTo>
                    <a:lnTo>
                      <a:pt x="1" y="22"/>
                    </a:lnTo>
                    <a:lnTo>
                      <a:pt x="1" y="24"/>
                    </a:lnTo>
                    <a:lnTo>
                      <a:pt x="3" y="27"/>
                    </a:lnTo>
                    <a:lnTo>
                      <a:pt x="4" y="27"/>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30" name="Freeform 963"/>
              <p:cNvSpPr>
                <a:spLocks/>
              </p:cNvSpPr>
              <p:nvPr/>
            </p:nvSpPr>
            <p:spPr bwMode="auto">
              <a:xfrm>
                <a:off x="7959717" y="3313163"/>
                <a:ext cx="129914" cy="119667"/>
              </a:xfrm>
              <a:custGeom>
                <a:avLst/>
                <a:gdLst/>
                <a:ahLst/>
                <a:cxnLst>
                  <a:cxn ang="0">
                    <a:pos x="0" y="58"/>
                  </a:cxn>
                  <a:cxn ang="0">
                    <a:pos x="2" y="64"/>
                  </a:cxn>
                  <a:cxn ang="0">
                    <a:pos x="6" y="93"/>
                  </a:cxn>
                  <a:cxn ang="0">
                    <a:pos x="12" y="94"/>
                  </a:cxn>
                  <a:cxn ang="0">
                    <a:pos x="23" y="94"/>
                  </a:cxn>
                  <a:cxn ang="0">
                    <a:pos x="34" y="90"/>
                  </a:cxn>
                  <a:cxn ang="0">
                    <a:pos x="29" y="81"/>
                  </a:cxn>
                  <a:cxn ang="0">
                    <a:pos x="35" y="78"/>
                  </a:cxn>
                  <a:cxn ang="0">
                    <a:pos x="39" y="77"/>
                  </a:cxn>
                  <a:cxn ang="0">
                    <a:pos x="39" y="70"/>
                  </a:cxn>
                  <a:cxn ang="0">
                    <a:pos x="45" y="73"/>
                  </a:cxn>
                  <a:cxn ang="0">
                    <a:pos x="50" y="70"/>
                  </a:cxn>
                  <a:cxn ang="0">
                    <a:pos x="52" y="70"/>
                  </a:cxn>
                  <a:cxn ang="0">
                    <a:pos x="54" y="71"/>
                  </a:cxn>
                  <a:cxn ang="0">
                    <a:pos x="61" y="74"/>
                  </a:cxn>
                  <a:cxn ang="0">
                    <a:pos x="71" y="78"/>
                  </a:cxn>
                  <a:cxn ang="0">
                    <a:pos x="76" y="83"/>
                  </a:cxn>
                  <a:cxn ang="0">
                    <a:pos x="86" y="91"/>
                  </a:cxn>
                  <a:cxn ang="0">
                    <a:pos x="86" y="94"/>
                  </a:cxn>
                  <a:cxn ang="0">
                    <a:pos x="90" y="99"/>
                  </a:cxn>
                  <a:cxn ang="0">
                    <a:pos x="97" y="106"/>
                  </a:cxn>
                  <a:cxn ang="0">
                    <a:pos x="128" y="112"/>
                  </a:cxn>
                  <a:cxn ang="0">
                    <a:pos x="129" y="115"/>
                  </a:cxn>
                  <a:cxn ang="0">
                    <a:pos x="137" y="115"/>
                  </a:cxn>
                  <a:cxn ang="0">
                    <a:pos x="135" y="110"/>
                  </a:cxn>
                  <a:cxn ang="0">
                    <a:pos x="138" y="110"/>
                  </a:cxn>
                  <a:cxn ang="0">
                    <a:pos x="141" y="109"/>
                  </a:cxn>
                  <a:cxn ang="0">
                    <a:pos x="126" y="104"/>
                  </a:cxn>
                  <a:cxn ang="0">
                    <a:pos x="128" y="100"/>
                  </a:cxn>
                  <a:cxn ang="0">
                    <a:pos x="119" y="99"/>
                  </a:cxn>
                  <a:cxn ang="0">
                    <a:pos x="118" y="93"/>
                  </a:cxn>
                  <a:cxn ang="0">
                    <a:pos x="111" y="91"/>
                  </a:cxn>
                  <a:cxn ang="0">
                    <a:pos x="106" y="87"/>
                  </a:cxn>
                  <a:cxn ang="0">
                    <a:pos x="103" y="83"/>
                  </a:cxn>
                  <a:cxn ang="0">
                    <a:pos x="102" y="78"/>
                  </a:cxn>
                  <a:cxn ang="0">
                    <a:pos x="92" y="70"/>
                  </a:cxn>
                  <a:cxn ang="0">
                    <a:pos x="86" y="61"/>
                  </a:cxn>
                  <a:cxn ang="0">
                    <a:pos x="95" y="59"/>
                  </a:cxn>
                  <a:cxn ang="0">
                    <a:pos x="97" y="58"/>
                  </a:cxn>
                  <a:cxn ang="0">
                    <a:pos x="95" y="49"/>
                  </a:cxn>
                  <a:cxn ang="0">
                    <a:pos x="90" y="48"/>
                  </a:cxn>
                  <a:cxn ang="0">
                    <a:pos x="77" y="42"/>
                  </a:cxn>
                  <a:cxn ang="0">
                    <a:pos x="68" y="39"/>
                  </a:cxn>
                  <a:cxn ang="0">
                    <a:pos x="67" y="32"/>
                  </a:cxn>
                  <a:cxn ang="0">
                    <a:pos x="52" y="20"/>
                  </a:cxn>
                  <a:cxn ang="0">
                    <a:pos x="45" y="16"/>
                  </a:cxn>
                </a:cxnLst>
                <a:rect l="0" t="0" r="r" b="b"/>
                <a:pathLst>
                  <a:path w="141" h="115">
                    <a:moveTo>
                      <a:pt x="0" y="0"/>
                    </a:moveTo>
                    <a:lnTo>
                      <a:pt x="0" y="58"/>
                    </a:lnTo>
                    <a:lnTo>
                      <a:pt x="0" y="59"/>
                    </a:lnTo>
                    <a:lnTo>
                      <a:pt x="2" y="64"/>
                    </a:lnTo>
                    <a:lnTo>
                      <a:pt x="3" y="93"/>
                    </a:lnTo>
                    <a:lnTo>
                      <a:pt x="6" y="93"/>
                    </a:lnTo>
                    <a:lnTo>
                      <a:pt x="7" y="93"/>
                    </a:lnTo>
                    <a:lnTo>
                      <a:pt x="12" y="94"/>
                    </a:lnTo>
                    <a:lnTo>
                      <a:pt x="19" y="93"/>
                    </a:lnTo>
                    <a:lnTo>
                      <a:pt x="23" y="94"/>
                    </a:lnTo>
                    <a:lnTo>
                      <a:pt x="32" y="91"/>
                    </a:lnTo>
                    <a:lnTo>
                      <a:pt x="34" y="90"/>
                    </a:lnTo>
                    <a:lnTo>
                      <a:pt x="32" y="86"/>
                    </a:lnTo>
                    <a:lnTo>
                      <a:pt x="29" y="81"/>
                    </a:lnTo>
                    <a:lnTo>
                      <a:pt x="35" y="80"/>
                    </a:lnTo>
                    <a:lnTo>
                      <a:pt x="35" y="78"/>
                    </a:lnTo>
                    <a:lnTo>
                      <a:pt x="36" y="77"/>
                    </a:lnTo>
                    <a:lnTo>
                      <a:pt x="39" y="77"/>
                    </a:lnTo>
                    <a:lnTo>
                      <a:pt x="41" y="75"/>
                    </a:lnTo>
                    <a:lnTo>
                      <a:pt x="39" y="70"/>
                    </a:lnTo>
                    <a:lnTo>
                      <a:pt x="42" y="71"/>
                    </a:lnTo>
                    <a:lnTo>
                      <a:pt x="45" y="73"/>
                    </a:lnTo>
                    <a:lnTo>
                      <a:pt x="47" y="71"/>
                    </a:lnTo>
                    <a:lnTo>
                      <a:pt x="50" y="70"/>
                    </a:lnTo>
                    <a:lnTo>
                      <a:pt x="51" y="71"/>
                    </a:lnTo>
                    <a:lnTo>
                      <a:pt x="52" y="70"/>
                    </a:lnTo>
                    <a:lnTo>
                      <a:pt x="54" y="71"/>
                    </a:lnTo>
                    <a:lnTo>
                      <a:pt x="54" y="71"/>
                    </a:lnTo>
                    <a:lnTo>
                      <a:pt x="60" y="74"/>
                    </a:lnTo>
                    <a:lnTo>
                      <a:pt x="61" y="74"/>
                    </a:lnTo>
                    <a:lnTo>
                      <a:pt x="64" y="75"/>
                    </a:lnTo>
                    <a:lnTo>
                      <a:pt x="71" y="78"/>
                    </a:lnTo>
                    <a:lnTo>
                      <a:pt x="74" y="80"/>
                    </a:lnTo>
                    <a:lnTo>
                      <a:pt x="76" y="83"/>
                    </a:lnTo>
                    <a:lnTo>
                      <a:pt x="80" y="91"/>
                    </a:lnTo>
                    <a:lnTo>
                      <a:pt x="86" y="91"/>
                    </a:lnTo>
                    <a:lnTo>
                      <a:pt x="84" y="94"/>
                    </a:lnTo>
                    <a:lnTo>
                      <a:pt x="86" y="94"/>
                    </a:lnTo>
                    <a:lnTo>
                      <a:pt x="87" y="97"/>
                    </a:lnTo>
                    <a:lnTo>
                      <a:pt x="90" y="99"/>
                    </a:lnTo>
                    <a:lnTo>
                      <a:pt x="96" y="106"/>
                    </a:lnTo>
                    <a:lnTo>
                      <a:pt x="97" y="106"/>
                    </a:lnTo>
                    <a:lnTo>
                      <a:pt x="100" y="107"/>
                    </a:lnTo>
                    <a:lnTo>
                      <a:pt x="128" y="112"/>
                    </a:lnTo>
                    <a:lnTo>
                      <a:pt x="128" y="112"/>
                    </a:lnTo>
                    <a:lnTo>
                      <a:pt x="129" y="115"/>
                    </a:lnTo>
                    <a:lnTo>
                      <a:pt x="132" y="115"/>
                    </a:lnTo>
                    <a:lnTo>
                      <a:pt x="137" y="115"/>
                    </a:lnTo>
                    <a:lnTo>
                      <a:pt x="138" y="112"/>
                    </a:lnTo>
                    <a:lnTo>
                      <a:pt x="135" y="110"/>
                    </a:lnTo>
                    <a:lnTo>
                      <a:pt x="134" y="110"/>
                    </a:lnTo>
                    <a:lnTo>
                      <a:pt x="138" y="110"/>
                    </a:lnTo>
                    <a:lnTo>
                      <a:pt x="141" y="110"/>
                    </a:lnTo>
                    <a:lnTo>
                      <a:pt x="141" y="109"/>
                    </a:lnTo>
                    <a:lnTo>
                      <a:pt x="131" y="106"/>
                    </a:lnTo>
                    <a:lnTo>
                      <a:pt x="126" y="104"/>
                    </a:lnTo>
                    <a:lnTo>
                      <a:pt x="126" y="102"/>
                    </a:lnTo>
                    <a:lnTo>
                      <a:pt x="128" y="100"/>
                    </a:lnTo>
                    <a:lnTo>
                      <a:pt x="126" y="99"/>
                    </a:lnTo>
                    <a:lnTo>
                      <a:pt x="119" y="99"/>
                    </a:lnTo>
                    <a:lnTo>
                      <a:pt x="118" y="97"/>
                    </a:lnTo>
                    <a:lnTo>
                      <a:pt x="118" y="93"/>
                    </a:lnTo>
                    <a:lnTo>
                      <a:pt x="116" y="91"/>
                    </a:lnTo>
                    <a:lnTo>
                      <a:pt x="111" y="91"/>
                    </a:lnTo>
                    <a:lnTo>
                      <a:pt x="108" y="91"/>
                    </a:lnTo>
                    <a:lnTo>
                      <a:pt x="106" y="87"/>
                    </a:lnTo>
                    <a:lnTo>
                      <a:pt x="105" y="86"/>
                    </a:lnTo>
                    <a:lnTo>
                      <a:pt x="103" y="83"/>
                    </a:lnTo>
                    <a:lnTo>
                      <a:pt x="102" y="78"/>
                    </a:lnTo>
                    <a:lnTo>
                      <a:pt x="102" y="78"/>
                    </a:lnTo>
                    <a:lnTo>
                      <a:pt x="100" y="77"/>
                    </a:lnTo>
                    <a:lnTo>
                      <a:pt x="92" y="70"/>
                    </a:lnTo>
                    <a:lnTo>
                      <a:pt x="90" y="70"/>
                    </a:lnTo>
                    <a:lnTo>
                      <a:pt x="86" y="61"/>
                    </a:lnTo>
                    <a:lnTo>
                      <a:pt x="87" y="59"/>
                    </a:lnTo>
                    <a:lnTo>
                      <a:pt x="95" y="59"/>
                    </a:lnTo>
                    <a:lnTo>
                      <a:pt x="96" y="58"/>
                    </a:lnTo>
                    <a:lnTo>
                      <a:pt x="97" y="58"/>
                    </a:lnTo>
                    <a:lnTo>
                      <a:pt x="99" y="55"/>
                    </a:lnTo>
                    <a:lnTo>
                      <a:pt x="95" y="49"/>
                    </a:lnTo>
                    <a:lnTo>
                      <a:pt x="92" y="48"/>
                    </a:lnTo>
                    <a:lnTo>
                      <a:pt x="90" y="48"/>
                    </a:lnTo>
                    <a:lnTo>
                      <a:pt x="81" y="45"/>
                    </a:lnTo>
                    <a:lnTo>
                      <a:pt x="77" y="42"/>
                    </a:lnTo>
                    <a:lnTo>
                      <a:pt x="70" y="41"/>
                    </a:lnTo>
                    <a:lnTo>
                      <a:pt x="68" y="39"/>
                    </a:lnTo>
                    <a:lnTo>
                      <a:pt x="68" y="35"/>
                    </a:lnTo>
                    <a:lnTo>
                      <a:pt x="67" y="32"/>
                    </a:lnTo>
                    <a:lnTo>
                      <a:pt x="65" y="29"/>
                    </a:lnTo>
                    <a:lnTo>
                      <a:pt x="52" y="20"/>
                    </a:lnTo>
                    <a:lnTo>
                      <a:pt x="48" y="16"/>
                    </a:lnTo>
                    <a:lnTo>
                      <a:pt x="45" y="16"/>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31" name="Freeform 965"/>
              <p:cNvSpPr>
                <a:spLocks/>
              </p:cNvSpPr>
              <p:nvPr/>
            </p:nvSpPr>
            <p:spPr bwMode="auto">
              <a:xfrm>
                <a:off x="6050501" y="3051517"/>
                <a:ext cx="100069" cy="83159"/>
              </a:xfrm>
              <a:custGeom>
                <a:avLst/>
                <a:gdLst/>
                <a:ahLst/>
                <a:cxnLst>
                  <a:cxn ang="0">
                    <a:pos x="68" y="0"/>
                  </a:cxn>
                  <a:cxn ang="0">
                    <a:pos x="44" y="16"/>
                  </a:cxn>
                  <a:cxn ang="0">
                    <a:pos x="22" y="25"/>
                  </a:cxn>
                  <a:cxn ang="0">
                    <a:pos x="12" y="43"/>
                  </a:cxn>
                  <a:cxn ang="0">
                    <a:pos x="0" y="59"/>
                  </a:cxn>
                  <a:cxn ang="0">
                    <a:pos x="2" y="67"/>
                  </a:cxn>
                  <a:cxn ang="0">
                    <a:pos x="2" y="69"/>
                  </a:cxn>
                  <a:cxn ang="0">
                    <a:pos x="2" y="70"/>
                  </a:cxn>
                  <a:cxn ang="0">
                    <a:pos x="4" y="72"/>
                  </a:cxn>
                  <a:cxn ang="0">
                    <a:pos x="4" y="73"/>
                  </a:cxn>
                  <a:cxn ang="0">
                    <a:pos x="6" y="75"/>
                  </a:cxn>
                  <a:cxn ang="0">
                    <a:pos x="9" y="76"/>
                  </a:cxn>
                  <a:cxn ang="0">
                    <a:pos x="9" y="76"/>
                  </a:cxn>
                  <a:cxn ang="0">
                    <a:pos x="10" y="76"/>
                  </a:cxn>
                  <a:cxn ang="0">
                    <a:pos x="13" y="77"/>
                  </a:cxn>
                  <a:cxn ang="0">
                    <a:pos x="15" y="75"/>
                  </a:cxn>
                  <a:cxn ang="0">
                    <a:pos x="28" y="75"/>
                  </a:cxn>
                  <a:cxn ang="0">
                    <a:pos x="29" y="73"/>
                  </a:cxn>
                  <a:cxn ang="0">
                    <a:pos x="32" y="76"/>
                  </a:cxn>
                  <a:cxn ang="0">
                    <a:pos x="35" y="80"/>
                  </a:cxn>
                  <a:cxn ang="0">
                    <a:pos x="36" y="79"/>
                  </a:cxn>
                  <a:cxn ang="0">
                    <a:pos x="36" y="73"/>
                  </a:cxn>
                  <a:cxn ang="0">
                    <a:pos x="35" y="67"/>
                  </a:cxn>
                  <a:cxn ang="0">
                    <a:pos x="35" y="66"/>
                  </a:cxn>
                  <a:cxn ang="0">
                    <a:pos x="34" y="63"/>
                  </a:cxn>
                  <a:cxn ang="0">
                    <a:pos x="35" y="59"/>
                  </a:cxn>
                  <a:cxn ang="0">
                    <a:pos x="64" y="59"/>
                  </a:cxn>
                  <a:cxn ang="0">
                    <a:pos x="71" y="56"/>
                  </a:cxn>
                  <a:cxn ang="0">
                    <a:pos x="80" y="57"/>
                  </a:cxn>
                  <a:cxn ang="0">
                    <a:pos x="83" y="59"/>
                  </a:cxn>
                  <a:cxn ang="0">
                    <a:pos x="87" y="59"/>
                  </a:cxn>
                  <a:cxn ang="0">
                    <a:pos x="89" y="57"/>
                  </a:cxn>
                  <a:cxn ang="0">
                    <a:pos x="90" y="56"/>
                  </a:cxn>
                  <a:cxn ang="0">
                    <a:pos x="92" y="54"/>
                  </a:cxn>
                  <a:cxn ang="0">
                    <a:pos x="94" y="51"/>
                  </a:cxn>
                  <a:cxn ang="0">
                    <a:pos x="96" y="51"/>
                  </a:cxn>
                  <a:cxn ang="0">
                    <a:pos x="100" y="51"/>
                  </a:cxn>
                  <a:cxn ang="0">
                    <a:pos x="103" y="51"/>
                  </a:cxn>
                  <a:cxn ang="0">
                    <a:pos x="108" y="47"/>
                  </a:cxn>
                  <a:cxn ang="0">
                    <a:pos x="108" y="46"/>
                  </a:cxn>
                  <a:cxn ang="0">
                    <a:pos x="109" y="44"/>
                  </a:cxn>
                  <a:cxn ang="0">
                    <a:pos x="105" y="40"/>
                  </a:cxn>
                  <a:cxn ang="0">
                    <a:pos x="105" y="38"/>
                  </a:cxn>
                  <a:cxn ang="0">
                    <a:pos x="106" y="38"/>
                  </a:cxn>
                  <a:cxn ang="0">
                    <a:pos x="105" y="34"/>
                  </a:cxn>
                  <a:cxn ang="0">
                    <a:pos x="102" y="32"/>
                  </a:cxn>
                  <a:cxn ang="0">
                    <a:pos x="99" y="35"/>
                  </a:cxn>
                  <a:cxn ang="0">
                    <a:pos x="94" y="32"/>
                  </a:cxn>
                  <a:cxn ang="0">
                    <a:pos x="79" y="12"/>
                  </a:cxn>
                  <a:cxn ang="0">
                    <a:pos x="79" y="9"/>
                  </a:cxn>
                  <a:cxn ang="0">
                    <a:pos x="76" y="6"/>
                  </a:cxn>
                  <a:cxn ang="0">
                    <a:pos x="77" y="2"/>
                  </a:cxn>
                </a:cxnLst>
                <a:rect l="0" t="0" r="r" b="b"/>
                <a:pathLst>
                  <a:path w="109" h="80">
                    <a:moveTo>
                      <a:pt x="77" y="0"/>
                    </a:moveTo>
                    <a:lnTo>
                      <a:pt x="68" y="0"/>
                    </a:lnTo>
                    <a:lnTo>
                      <a:pt x="48" y="14"/>
                    </a:lnTo>
                    <a:lnTo>
                      <a:pt x="44" y="16"/>
                    </a:lnTo>
                    <a:lnTo>
                      <a:pt x="39" y="21"/>
                    </a:lnTo>
                    <a:lnTo>
                      <a:pt x="22" y="25"/>
                    </a:lnTo>
                    <a:lnTo>
                      <a:pt x="19" y="27"/>
                    </a:lnTo>
                    <a:lnTo>
                      <a:pt x="12" y="43"/>
                    </a:lnTo>
                    <a:lnTo>
                      <a:pt x="4" y="48"/>
                    </a:lnTo>
                    <a:lnTo>
                      <a:pt x="0" y="59"/>
                    </a:lnTo>
                    <a:lnTo>
                      <a:pt x="0" y="67"/>
                    </a:lnTo>
                    <a:lnTo>
                      <a:pt x="2" y="67"/>
                    </a:lnTo>
                    <a:lnTo>
                      <a:pt x="2" y="67"/>
                    </a:lnTo>
                    <a:lnTo>
                      <a:pt x="2" y="69"/>
                    </a:lnTo>
                    <a:lnTo>
                      <a:pt x="2" y="70"/>
                    </a:lnTo>
                    <a:lnTo>
                      <a:pt x="2" y="70"/>
                    </a:lnTo>
                    <a:lnTo>
                      <a:pt x="3" y="72"/>
                    </a:lnTo>
                    <a:lnTo>
                      <a:pt x="4" y="72"/>
                    </a:lnTo>
                    <a:lnTo>
                      <a:pt x="4" y="73"/>
                    </a:lnTo>
                    <a:lnTo>
                      <a:pt x="4" y="73"/>
                    </a:lnTo>
                    <a:lnTo>
                      <a:pt x="4" y="73"/>
                    </a:lnTo>
                    <a:lnTo>
                      <a:pt x="6" y="75"/>
                    </a:lnTo>
                    <a:lnTo>
                      <a:pt x="6" y="76"/>
                    </a:lnTo>
                    <a:lnTo>
                      <a:pt x="9" y="76"/>
                    </a:lnTo>
                    <a:lnTo>
                      <a:pt x="9" y="76"/>
                    </a:lnTo>
                    <a:lnTo>
                      <a:pt x="9" y="76"/>
                    </a:lnTo>
                    <a:lnTo>
                      <a:pt x="10" y="76"/>
                    </a:lnTo>
                    <a:lnTo>
                      <a:pt x="10" y="76"/>
                    </a:lnTo>
                    <a:lnTo>
                      <a:pt x="10" y="76"/>
                    </a:lnTo>
                    <a:lnTo>
                      <a:pt x="13" y="77"/>
                    </a:lnTo>
                    <a:lnTo>
                      <a:pt x="13" y="77"/>
                    </a:lnTo>
                    <a:lnTo>
                      <a:pt x="15" y="75"/>
                    </a:lnTo>
                    <a:lnTo>
                      <a:pt x="23" y="73"/>
                    </a:lnTo>
                    <a:lnTo>
                      <a:pt x="28" y="75"/>
                    </a:lnTo>
                    <a:lnTo>
                      <a:pt x="29" y="73"/>
                    </a:lnTo>
                    <a:lnTo>
                      <a:pt x="29" y="73"/>
                    </a:lnTo>
                    <a:lnTo>
                      <a:pt x="31" y="75"/>
                    </a:lnTo>
                    <a:lnTo>
                      <a:pt x="32" y="76"/>
                    </a:lnTo>
                    <a:lnTo>
                      <a:pt x="34" y="79"/>
                    </a:lnTo>
                    <a:lnTo>
                      <a:pt x="35" y="80"/>
                    </a:lnTo>
                    <a:lnTo>
                      <a:pt x="36" y="80"/>
                    </a:lnTo>
                    <a:lnTo>
                      <a:pt x="36" y="79"/>
                    </a:lnTo>
                    <a:lnTo>
                      <a:pt x="36" y="77"/>
                    </a:lnTo>
                    <a:lnTo>
                      <a:pt x="36" y="73"/>
                    </a:lnTo>
                    <a:lnTo>
                      <a:pt x="35" y="70"/>
                    </a:lnTo>
                    <a:lnTo>
                      <a:pt x="35" y="67"/>
                    </a:lnTo>
                    <a:lnTo>
                      <a:pt x="35" y="67"/>
                    </a:lnTo>
                    <a:lnTo>
                      <a:pt x="35" y="66"/>
                    </a:lnTo>
                    <a:lnTo>
                      <a:pt x="34" y="64"/>
                    </a:lnTo>
                    <a:lnTo>
                      <a:pt x="34" y="63"/>
                    </a:lnTo>
                    <a:lnTo>
                      <a:pt x="34" y="60"/>
                    </a:lnTo>
                    <a:lnTo>
                      <a:pt x="35" y="59"/>
                    </a:lnTo>
                    <a:lnTo>
                      <a:pt x="63" y="59"/>
                    </a:lnTo>
                    <a:lnTo>
                      <a:pt x="64" y="59"/>
                    </a:lnTo>
                    <a:lnTo>
                      <a:pt x="67" y="57"/>
                    </a:lnTo>
                    <a:lnTo>
                      <a:pt x="71" y="56"/>
                    </a:lnTo>
                    <a:lnTo>
                      <a:pt x="71" y="56"/>
                    </a:lnTo>
                    <a:lnTo>
                      <a:pt x="80" y="57"/>
                    </a:lnTo>
                    <a:lnTo>
                      <a:pt x="81" y="59"/>
                    </a:lnTo>
                    <a:lnTo>
                      <a:pt x="83" y="59"/>
                    </a:lnTo>
                    <a:lnTo>
                      <a:pt x="83" y="59"/>
                    </a:lnTo>
                    <a:lnTo>
                      <a:pt x="87" y="59"/>
                    </a:lnTo>
                    <a:lnTo>
                      <a:pt x="89" y="57"/>
                    </a:lnTo>
                    <a:lnTo>
                      <a:pt x="89" y="57"/>
                    </a:lnTo>
                    <a:lnTo>
                      <a:pt x="90" y="56"/>
                    </a:lnTo>
                    <a:lnTo>
                      <a:pt x="90" y="56"/>
                    </a:lnTo>
                    <a:lnTo>
                      <a:pt x="90" y="54"/>
                    </a:lnTo>
                    <a:lnTo>
                      <a:pt x="92" y="54"/>
                    </a:lnTo>
                    <a:lnTo>
                      <a:pt x="92" y="54"/>
                    </a:lnTo>
                    <a:lnTo>
                      <a:pt x="94" y="51"/>
                    </a:lnTo>
                    <a:lnTo>
                      <a:pt x="94" y="51"/>
                    </a:lnTo>
                    <a:lnTo>
                      <a:pt x="96" y="51"/>
                    </a:lnTo>
                    <a:lnTo>
                      <a:pt x="99" y="51"/>
                    </a:lnTo>
                    <a:lnTo>
                      <a:pt x="100" y="51"/>
                    </a:lnTo>
                    <a:lnTo>
                      <a:pt x="102" y="51"/>
                    </a:lnTo>
                    <a:lnTo>
                      <a:pt x="103" y="51"/>
                    </a:lnTo>
                    <a:lnTo>
                      <a:pt x="106" y="48"/>
                    </a:lnTo>
                    <a:lnTo>
                      <a:pt x="108" y="47"/>
                    </a:lnTo>
                    <a:lnTo>
                      <a:pt x="108" y="47"/>
                    </a:lnTo>
                    <a:lnTo>
                      <a:pt x="108" y="46"/>
                    </a:lnTo>
                    <a:lnTo>
                      <a:pt x="109" y="44"/>
                    </a:lnTo>
                    <a:lnTo>
                      <a:pt x="109" y="44"/>
                    </a:lnTo>
                    <a:lnTo>
                      <a:pt x="109" y="44"/>
                    </a:lnTo>
                    <a:lnTo>
                      <a:pt x="105" y="40"/>
                    </a:lnTo>
                    <a:lnTo>
                      <a:pt x="103" y="38"/>
                    </a:lnTo>
                    <a:lnTo>
                      <a:pt x="105" y="38"/>
                    </a:lnTo>
                    <a:lnTo>
                      <a:pt x="105" y="38"/>
                    </a:lnTo>
                    <a:lnTo>
                      <a:pt x="106" y="38"/>
                    </a:lnTo>
                    <a:lnTo>
                      <a:pt x="106" y="37"/>
                    </a:lnTo>
                    <a:lnTo>
                      <a:pt x="105" y="34"/>
                    </a:lnTo>
                    <a:lnTo>
                      <a:pt x="103" y="32"/>
                    </a:lnTo>
                    <a:lnTo>
                      <a:pt x="102" y="32"/>
                    </a:lnTo>
                    <a:lnTo>
                      <a:pt x="100" y="34"/>
                    </a:lnTo>
                    <a:lnTo>
                      <a:pt x="99" y="35"/>
                    </a:lnTo>
                    <a:lnTo>
                      <a:pt x="99" y="35"/>
                    </a:lnTo>
                    <a:lnTo>
                      <a:pt x="94" y="32"/>
                    </a:lnTo>
                    <a:lnTo>
                      <a:pt x="79" y="15"/>
                    </a:lnTo>
                    <a:lnTo>
                      <a:pt x="79" y="12"/>
                    </a:lnTo>
                    <a:lnTo>
                      <a:pt x="79" y="11"/>
                    </a:lnTo>
                    <a:lnTo>
                      <a:pt x="79" y="9"/>
                    </a:lnTo>
                    <a:lnTo>
                      <a:pt x="76" y="8"/>
                    </a:lnTo>
                    <a:lnTo>
                      <a:pt x="76" y="6"/>
                    </a:lnTo>
                    <a:lnTo>
                      <a:pt x="76" y="5"/>
                    </a:lnTo>
                    <a:lnTo>
                      <a:pt x="77" y="2"/>
                    </a:lnTo>
                    <a:lnTo>
                      <a:pt x="77"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32" name="Freeform 966"/>
              <p:cNvSpPr>
                <a:spLocks/>
              </p:cNvSpPr>
              <p:nvPr/>
            </p:nvSpPr>
            <p:spPr bwMode="auto">
              <a:xfrm>
                <a:off x="6050501" y="3051517"/>
                <a:ext cx="100069" cy="83159"/>
              </a:xfrm>
              <a:custGeom>
                <a:avLst/>
                <a:gdLst/>
                <a:ahLst/>
                <a:cxnLst>
                  <a:cxn ang="0">
                    <a:pos x="68" y="0"/>
                  </a:cxn>
                  <a:cxn ang="0">
                    <a:pos x="44" y="16"/>
                  </a:cxn>
                  <a:cxn ang="0">
                    <a:pos x="22" y="25"/>
                  </a:cxn>
                  <a:cxn ang="0">
                    <a:pos x="12" y="43"/>
                  </a:cxn>
                  <a:cxn ang="0">
                    <a:pos x="0" y="59"/>
                  </a:cxn>
                  <a:cxn ang="0">
                    <a:pos x="2" y="67"/>
                  </a:cxn>
                  <a:cxn ang="0">
                    <a:pos x="2" y="69"/>
                  </a:cxn>
                  <a:cxn ang="0">
                    <a:pos x="2" y="70"/>
                  </a:cxn>
                  <a:cxn ang="0">
                    <a:pos x="4" y="72"/>
                  </a:cxn>
                  <a:cxn ang="0">
                    <a:pos x="4" y="73"/>
                  </a:cxn>
                  <a:cxn ang="0">
                    <a:pos x="6" y="75"/>
                  </a:cxn>
                  <a:cxn ang="0">
                    <a:pos x="9" y="76"/>
                  </a:cxn>
                  <a:cxn ang="0">
                    <a:pos x="9" y="76"/>
                  </a:cxn>
                  <a:cxn ang="0">
                    <a:pos x="10" y="76"/>
                  </a:cxn>
                  <a:cxn ang="0">
                    <a:pos x="13" y="77"/>
                  </a:cxn>
                  <a:cxn ang="0">
                    <a:pos x="15" y="75"/>
                  </a:cxn>
                  <a:cxn ang="0">
                    <a:pos x="28" y="75"/>
                  </a:cxn>
                  <a:cxn ang="0">
                    <a:pos x="29" y="73"/>
                  </a:cxn>
                  <a:cxn ang="0">
                    <a:pos x="32" y="76"/>
                  </a:cxn>
                  <a:cxn ang="0">
                    <a:pos x="35" y="80"/>
                  </a:cxn>
                  <a:cxn ang="0">
                    <a:pos x="36" y="79"/>
                  </a:cxn>
                  <a:cxn ang="0">
                    <a:pos x="36" y="73"/>
                  </a:cxn>
                  <a:cxn ang="0">
                    <a:pos x="35" y="67"/>
                  </a:cxn>
                  <a:cxn ang="0">
                    <a:pos x="35" y="66"/>
                  </a:cxn>
                  <a:cxn ang="0">
                    <a:pos x="34" y="63"/>
                  </a:cxn>
                  <a:cxn ang="0">
                    <a:pos x="35" y="59"/>
                  </a:cxn>
                  <a:cxn ang="0">
                    <a:pos x="64" y="59"/>
                  </a:cxn>
                  <a:cxn ang="0">
                    <a:pos x="71" y="56"/>
                  </a:cxn>
                  <a:cxn ang="0">
                    <a:pos x="80" y="57"/>
                  </a:cxn>
                  <a:cxn ang="0">
                    <a:pos x="83" y="59"/>
                  </a:cxn>
                  <a:cxn ang="0">
                    <a:pos x="87" y="59"/>
                  </a:cxn>
                  <a:cxn ang="0">
                    <a:pos x="89" y="57"/>
                  </a:cxn>
                  <a:cxn ang="0">
                    <a:pos x="90" y="56"/>
                  </a:cxn>
                  <a:cxn ang="0">
                    <a:pos x="92" y="54"/>
                  </a:cxn>
                  <a:cxn ang="0">
                    <a:pos x="94" y="51"/>
                  </a:cxn>
                  <a:cxn ang="0">
                    <a:pos x="96" y="51"/>
                  </a:cxn>
                  <a:cxn ang="0">
                    <a:pos x="100" y="51"/>
                  </a:cxn>
                  <a:cxn ang="0">
                    <a:pos x="103" y="51"/>
                  </a:cxn>
                  <a:cxn ang="0">
                    <a:pos x="108" y="47"/>
                  </a:cxn>
                  <a:cxn ang="0">
                    <a:pos x="108" y="46"/>
                  </a:cxn>
                  <a:cxn ang="0">
                    <a:pos x="109" y="44"/>
                  </a:cxn>
                  <a:cxn ang="0">
                    <a:pos x="105" y="40"/>
                  </a:cxn>
                  <a:cxn ang="0">
                    <a:pos x="105" y="38"/>
                  </a:cxn>
                  <a:cxn ang="0">
                    <a:pos x="106" y="38"/>
                  </a:cxn>
                  <a:cxn ang="0">
                    <a:pos x="105" y="34"/>
                  </a:cxn>
                  <a:cxn ang="0">
                    <a:pos x="102" y="32"/>
                  </a:cxn>
                  <a:cxn ang="0">
                    <a:pos x="99" y="35"/>
                  </a:cxn>
                  <a:cxn ang="0">
                    <a:pos x="94" y="32"/>
                  </a:cxn>
                  <a:cxn ang="0">
                    <a:pos x="79" y="12"/>
                  </a:cxn>
                  <a:cxn ang="0">
                    <a:pos x="79" y="9"/>
                  </a:cxn>
                  <a:cxn ang="0">
                    <a:pos x="76" y="6"/>
                  </a:cxn>
                  <a:cxn ang="0">
                    <a:pos x="77" y="2"/>
                  </a:cxn>
                </a:cxnLst>
                <a:rect l="0" t="0" r="r" b="b"/>
                <a:pathLst>
                  <a:path w="109" h="80">
                    <a:moveTo>
                      <a:pt x="77" y="0"/>
                    </a:moveTo>
                    <a:lnTo>
                      <a:pt x="68" y="0"/>
                    </a:lnTo>
                    <a:lnTo>
                      <a:pt x="48" y="14"/>
                    </a:lnTo>
                    <a:lnTo>
                      <a:pt x="44" y="16"/>
                    </a:lnTo>
                    <a:lnTo>
                      <a:pt x="39" y="21"/>
                    </a:lnTo>
                    <a:lnTo>
                      <a:pt x="22" y="25"/>
                    </a:lnTo>
                    <a:lnTo>
                      <a:pt x="19" y="27"/>
                    </a:lnTo>
                    <a:lnTo>
                      <a:pt x="12" y="43"/>
                    </a:lnTo>
                    <a:lnTo>
                      <a:pt x="4" y="48"/>
                    </a:lnTo>
                    <a:lnTo>
                      <a:pt x="0" y="59"/>
                    </a:lnTo>
                    <a:lnTo>
                      <a:pt x="0" y="67"/>
                    </a:lnTo>
                    <a:lnTo>
                      <a:pt x="2" y="67"/>
                    </a:lnTo>
                    <a:lnTo>
                      <a:pt x="2" y="67"/>
                    </a:lnTo>
                    <a:lnTo>
                      <a:pt x="2" y="69"/>
                    </a:lnTo>
                    <a:lnTo>
                      <a:pt x="2" y="70"/>
                    </a:lnTo>
                    <a:lnTo>
                      <a:pt x="2" y="70"/>
                    </a:lnTo>
                    <a:lnTo>
                      <a:pt x="3" y="72"/>
                    </a:lnTo>
                    <a:lnTo>
                      <a:pt x="4" y="72"/>
                    </a:lnTo>
                    <a:lnTo>
                      <a:pt x="4" y="73"/>
                    </a:lnTo>
                    <a:lnTo>
                      <a:pt x="4" y="73"/>
                    </a:lnTo>
                    <a:lnTo>
                      <a:pt x="4" y="73"/>
                    </a:lnTo>
                    <a:lnTo>
                      <a:pt x="6" y="75"/>
                    </a:lnTo>
                    <a:lnTo>
                      <a:pt x="6" y="76"/>
                    </a:lnTo>
                    <a:lnTo>
                      <a:pt x="9" y="76"/>
                    </a:lnTo>
                    <a:lnTo>
                      <a:pt x="9" y="76"/>
                    </a:lnTo>
                    <a:lnTo>
                      <a:pt x="9" y="76"/>
                    </a:lnTo>
                    <a:lnTo>
                      <a:pt x="10" y="76"/>
                    </a:lnTo>
                    <a:lnTo>
                      <a:pt x="10" y="76"/>
                    </a:lnTo>
                    <a:lnTo>
                      <a:pt x="10" y="76"/>
                    </a:lnTo>
                    <a:lnTo>
                      <a:pt x="13" y="77"/>
                    </a:lnTo>
                    <a:lnTo>
                      <a:pt x="13" y="77"/>
                    </a:lnTo>
                    <a:lnTo>
                      <a:pt x="15" y="75"/>
                    </a:lnTo>
                    <a:lnTo>
                      <a:pt x="23" y="73"/>
                    </a:lnTo>
                    <a:lnTo>
                      <a:pt x="28" y="75"/>
                    </a:lnTo>
                    <a:lnTo>
                      <a:pt x="29" y="73"/>
                    </a:lnTo>
                    <a:lnTo>
                      <a:pt x="29" y="73"/>
                    </a:lnTo>
                    <a:lnTo>
                      <a:pt x="31" y="75"/>
                    </a:lnTo>
                    <a:lnTo>
                      <a:pt x="32" y="76"/>
                    </a:lnTo>
                    <a:lnTo>
                      <a:pt x="34" y="79"/>
                    </a:lnTo>
                    <a:lnTo>
                      <a:pt x="35" y="80"/>
                    </a:lnTo>
                    <a:lnTo>
                      <a:pt x="36" y="80"/>
                    </a:lnTo>
                    <a:lnTo>
                      <a:pt x="36" y="79"/>
                    </a:lnTo>
                    <a:lnTo>
                      <a:pt x="36" y="77"/>
                    </a:lnTo>
                    <a:lnTo>
                      <a:pt x="36" y="73"/>
                    </a:lnTo>
                    <a:lnTo>
                      <a:pt x="35" y="70"/>
                    </a:lnTo>
                    <a:lnTo>
                      <a:pt x="35" y="67"/>
                    </a:lnTo>
                    <a:lnTo>
                      <a:pt x="35" y="67"/>
                    </a:lnTo>
                    <a:lnTo>
                      <a:pt x="35" y="66"/>
                    </a:lnTo>
                    <a:lnTo>
                      <a:pt x="34" y="64"/>
                    </a:lnTo>
                    <a:lnTo>
                      <a:pt x="34" y="63"/>
                    </a:lnTo>
                    <a:lnTo>
                      <a:pt x="34" y="60"/>
                    </a:lnTo>
                    <a:lnTo>
                      <a:pt x="35" y="59"/>
                    </a:lnTo>
                    <a:lnTo>
                      <a:pt x="63" y="59"/>
                    </a:lnTo>
                    <a:lnTo>
                      <a:pt x="64" y="59"/>
                    </a:lnTo>
                    <a:lnTo>
                      <a:pt x="67" y="57"/>
                    </a:lnTo>
                    <a:lnTo>
                      <a:pt x="71" y="56"/>
                    </a:lnTo>
                    <a:lnTo>
                      <a:pt x="71" y="56"/>
                    </a:lnTo>
                    <a:lnTo>
                      <a:pt x="80" y="57"/>
                    </a:lnTo>
                    <a:lnTo>
                      <a:pt x="81" y="59"/>
                    </a:lnTo>
                    <a:lnTo>
                      <a:pt x="83" y="59"/>
                    </a:lnTo>
                    <a:lnTo>
                      <a:pt x="83" y="59"/>
                    </a:lnTo>
                    <a:lnTo>
                      <a:pt x="87" y="59"/>
                    </a:lnTo>
                    <a:lnTo>
                      <a:pt x="89" y="57"/>
                    </a:lnTo>
                    <a:lnTo>
                      <a:pt x="89" y="57"/>
                    </a:lnTo>
                    <a:lnTo>
                      <a:pt x="90" y="56"/>
                    </a:lnTo>
                    <a:lnTo>
                      <a:pt x="90" y="56"/>
                    </a:lnTo>
                    <a:lnTo>
                      <a:pt x="90" y="54"/>
                    </a:lnTo>
                    <a:lnTo>
                      <a:pt x="92" y="54"/>
                    </a:lnTo>
                    <a:lnTo>
                      <a:pt x="92" y="54"/>
                    </a:lnTo>
                    <a:lnTo>
                      <a:pt x="94" y="51"/>
                    </a:lnTo>
                    <a:lnTo>
                      <a:pt x="94" y="51"/>
                    </a:lnTo>
                    <a:lnTo>
                      <a:pt x="96" y="51"/>
                    </a:lnTo>
                    <a:lnTo>
                      <a:pt x="99" y="51"/>
                    </a:lnTo>
                    <a:lnTo>
                      <a:pt x="100" y="51"/>
                    </a:lnTo>
                    <a:lnTo>
                      <a:pt x="102" y="51"/>
                    </a:lnTo>
                    <a:lnTo>
                      <a:pt x="103" y="51"/>
                    </a:lnTo>
                    <a:lnTo>
                      <a:pt x="106" y="48"/>
                    </a:lnTo>
                    <a:lnTo>
                      <a:pt x="108" y="47"/>
                    </a:lnTo>
                    <a:lnTo>
                      <a:pt x="108" y="47"/>
                    </a:lnTo>
                    <a:lnTo>
                      <a:pt x="108" y="46"/>
                    </a:lnTo>
                    <a:lnTo>
                      <a:pt x="109" y="44"/>
                    </a:lnTo>
                    <a:lnTo>
                      <a:pt x="109" y="44"/>
                    </a:lnTo>
                    <a:lnTo>
                      <a:pt x="109" y="44"/>
                    </a:lnTo>
                    <a:lnTo>
                      <a:pt x="105" y="40"/>
                    </a:lnTo>
                    <a:lnTo>
                      <a:pt x="103" y="38"/>
                    </a:lnTo>
                    <a:lnTo>
                      <a:pt x="105" y="38"/>
                    </a:lnTo>
                    <a:lnTo>
                      <a:pt x="105" y="38"/>
                    </a:lnTo>
                    <a:lnTo>
                      <a:pt x="106" y="38"/>
                    </a:lnTo>
                    <a:lnTo>
                      <a:pt x="106" y="37"/>
                    </a:lnTo>
                    <a:lnTo>
                      <a:pt x="105" y="34"/>
                    </a:lnTo>
                    <a:lnTo>
                      <a:pt x="103" y="32"/>
                    </a:lnTo>
                    <a:lnTo>
                      <a:pt x="102" y="32"/>
                    </a:lnTo>
                    <a:lnTo>
                      <a:pt x="100" y="34"/>
                    </a:lnTo>
                    <a:lnTo>
                      <a:pt x="99" y="35"/>
                    </a:lnTo>
                    <a:lnTo>
                      <a:pt x="99" y="35"/>
                    </a:lnTo>
                    <a:lnTo>
                      <a:pt x="94" y="32"/>
                    </a:lnTo>
                    <a:lnTo>
                      <a:pt x="79" y="15"/>
                    </a:lnTo>
                    <a:lnTo>
                      <a:pt x="79" y="12"/>
                    </a:lnTo>
                    <a:lnTo>
                      <a:pt x="79" y="11"/>
                    </a:lnTo>
                    <a:lnTo>
                      <a:pt x="79" y="9"/>
                    </a:lnTo>
                    <a:lnTo>
                      <a:pt x="76" y="8"/>
                    </a:lnTo>
                    <a:lnTo>
                      <a:pt x="76" y="6"/>
                    </a:lnTo>
                    <a:lnTo>
                      <a:pt x="76" y="5"/>
                    </a:lnTo>
                    <a:lnTo>
                      <a:pt x="77" y="2"/>
                    </a:lnTo>
                    <a:lnTo>
                      <a:pt x="77"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33" name="Freeform 967"/>
              <p:cNvSpPr>
                <a:spLocks/>
              </p:cNvSpPr>
              <p:nvPr/>
            </p:nvSpPr>
            <p:spPr bwMode="auto">
              <a:xfrm>
                <a:off x="5923219" y="3083969"/>
                <a:ext cx="95680" cy="84173"/>
              </a:xfrm>
              <a:custGeom>
                <a:avLst/>
                <a:gdLst/>
                <a:ahLst/>
                <a:cxnLst>
                  <a:cxn ang="0">
                    <a:pos x="45" y="5"/>
                  </a:cxn>
                  <a:cxn ang="0">
                    <a:pos x="39" y="6"/>
                  </a:cxn>
                  <a:cxn ang="0">
                    <a:pos x="33" y="5"/>
                  </a:cxn>
                  <a:cxn ang="0">
                    <a:pos x="29" y="5"/>
                  </a:cxn>
                  <a:cxn ang="0">
                    <a:pos x="24" y="2"/>
                  </a:cxn>
                  <a:cxn ang="0">
                    <a:pos x="20" y="5"/>
                  </a:cxn>
                  <a:cxn ang="0">
                    <a:pos x="17" y="8"/>
                  </a:cxn>
                  <a:cxn ang="0">
                    <a:pos x="19" y="11"/>
                  </a:cxn>
                  <a:cxn ang="0">
                    <a:pos x="11" y="16"/>
                  </a:cxn>
                  <a:cxn ang="0">
                    <a:pos x="1" y="27"/>
                  </a:cxn>
                  <a:cxn ang="0">
                    <a:pos x="1" y="29"/>
                  </a:cxn>
                  <a:cxn ang="0">
                    <a:pos x="4" y="27"/>
                  </a:cxn>
                  <a:cxn ang="0">
                    <a:pos x="7" y="34"/>
                  </a:cxn>
                  <a:cxn ang="0">
                    <a:pos x="19" y="47"/>
                  </a:cxn>
                  <a:cxn ang="0">
                    <a:pos x="23" y="51"/>
                  </a:cxn>
                  <a:cxn ang="0">
                    <a:pos x="29" y="54"/>
                  </a:cxn>
                  <a:cxn ang="0">
                    <a:pos x="32" y="50"/>
                  </a:cxn>
                  <a:cxn ang="0">
                    <a:pos x="36" y="43"/>
                  </a:cxn>
                  <a:cxn ang="0">
                    <a:pos x="45" y="41"/>
                  </a:cxn>
                  <a:cxn ang="0">
                    <a:pos x="56" y="44"/>
                  </a:cxn>
                  <a:cxn ang="0">
                    <a:pos x="59" y="47"/>
                  </a:cxn>
                  <a:cxn ang="0">
                    <a:pos x="62" y="50"/>
                  </a:cxn>
                  <a:cxn ang="0">
                    <a:pos x="62" y="53"/>
                  </a:cxn>
                  <a:cxn ang="0">
                    <a:pos x="64" y="56"/>
                  </a:cxn>
                  <a:cxn ang="0">
                    <a:pos x="62" y="64"/>
                  </a:cxn>
                  <a:cxn ang="0">
                    <a:pos x="67" y="61"/>
                  </a:cxn>
                  <a:cxn ang="0">
                    <a:pos x="68" y="61"/>
                  </a:cxn>
                  <a:cxn ang="0">
                    <a:pos x="72" y="63"/>
                  </a:cxn>
                  <a:cxn ang="0">
                    <a:pos x="77" y="63"/>
                  </a:cxn>
                  <a:cxn ang="0">
                    <a:pos x="80" y="72"/>
                  </a:cxn>
                  <a:cxn ang="0">
                    <a:pos x="78" y="77"/>
                  </a:cxn>
                  <a:cxn ang="0">
                    <a:pos x="81" y="77"/>
                  </a:cxn>
                  <a:cxn ang="0">
                    <a:pos x="87" y="80"/>
                  </a:cxn>
                  <a:cxn ang="0">
                    <a:pos x="90" y="75"/>
                  </a:cxn>
                  <a:cxn ang="0">
                    <a:pos x="94" y="76"/>
                  </a:cxn>
                  <a:cxn ang="0">
                    <a:pos x="98" y="69"/>
                  </a:cxn>
                  <a:cxn ang="0">
                    <a:pos x="100" y="67"/>
                  </a:cxn>
                  <a:cxn ang="0">
                    <a:pos x="97" y="66"/>
                  </a:cxn>
                  <a:cxn ang="0">
                    <a:pos x="96" y="63"/>
                  </a:cxn>
                  <a:cxn ang="0">
                    <a:pos x="103" y="63"/>
                  </a:cxn>
                  <a:cxn ang="0">
                    <a:pos x="104" y="61"/>
                  </a:cxn>
                  <a:cxn ang="0">
                    <a:pos x="101" y="59"/>
                  </a:cxn>
                  <a:cxn ang="0">
                    <a:pos x="103" y="54"/>
                  </a:cxn>
                  <a:cxn ang="0">
                    <a:pos x="101" y="50"/>
                  </a:cxn>
                  <a:cxn ang="0">
                    <a:pos x="97" y="41"/>
                  </a:cxn>
                  <a:cxn ang="0">
                    <a:pos x="100" y="37"/>
                  </a:cxn>
                  <a:cxn ang="0">
                    <a:pos x="97" y="34"/>
                  </a:cxn>
                  <a:cxn ang="0">
                    <a:pos x="93" y="25"/>
                  </a:cxn>
                  <a:cxn ang="0">
                    <a:pos x="91" y="24"/>
                  </a:cxn>
                  <a:cxn ang="0">
                    <a:pos x="94" y="22"/>
                  </a:cxn>
                  <a:cxn ang="0">
                    <a:pos x="93" y="19"/>
                  </a:cxn>
                  <a:cxn ang="0">
                    <a:pos x="88" y="16"/>
                  </a:cxn>
                  <a:cxn ang="0">
                    <a:pos x="87" y="11"/>
                  </a:cxn>
                  <a:cxn ang="0">
                    <a:pos x="85" y="8"/>
                  </a:cxn>
                  <a:cxn ang="0">
                    <a:pos x="84" y="3"/>
                  </a:cxn>
                  <a:cxn ang="0">
                    <a:pos x="81" y="3"/>
                  </a:cxn>
                  <a:cxn ang="0">
                    <a:pos x="77" y="8"/>
                  </a:cxn>
                  <a:cxn ang="0">
                    <a:pos x="69" y="8"/>
                  </a:cxn>
                  <a:cxn ang="0">
                    <a:pos x="64" y="11"/>
                  </a:cxn>
                  <a:cxn ang="0">
                    <a:pos x="58" y="8"/>
                  </a:cxn>
                  <a:cxn ang="0">
                    <a:pos x="53" y="11"/>
                  </a:cxn>
                  <a:cxn ang="0">
                    <a:pos x="52" y="6"/>
                  </a:cxn>
                </a:cxnLst>
                <a:rect l="0" t="0" r="r" b="b"/>
                <a:pathLst>
                  <a:path w="104" h="80">
                    <a:moveTo>
                      <a:pt x="53" y="5"/>
                    </a:moveTo>
                    <a:lnTo>
                      <a:pt x="51" y="5"/>
                    </a:lnTo>
                    <a:lnTo>
                      <a:pt x="49" y="6"/>
                    </a:lnTo>
                    <a:lnTo>
                      <a:pt x="45" y="5"/>
                    </a:lnTo>
                    <a:lnTo>
                      <a:pt x="45" y="6"/>
                    </a:lnTo>
                    <a:lnTo>
                      <a:pt x="42" y="6"/>
                    </a:lnTo>
                    <a:lnTo>
                      <a:pt x="40" y="6"/>
                    </a:lnTo>
                    <a:lnTo>
                      <a:pt x="39" y="6"/>
                    </a:lnTo>
                    <a:lnTo>
                      <a:pt x="37" y="6"/>
                    </a:lnTo>
                    <a:lnTo>
                      <a:pt x="36" y="6"/>
                    </a:lnTo>
                    <a:lnTo>
                      <a:pt x="35" y="5"/>
                    </a:lnTo>
                    <a:lnTo>
                      <a:pt x="33" y="5"/>
                    </a:lnTo>
                    <a:lnTo>
                      <a:pt x="30" y="3"/>
                    </a:lnTo>
                    <a:lnTo>
                      <a:pt x="30" y="3"/>
                    </a:lnTo>
                    <a:lnTo>
                      <a:pt x="30" y="5"/>
                    </a:lnTo>
                    <a:lnTo>
                      <a:pt x="29" y="5"/>
                    </a:lnTo>
                    <a:lnTo>
                      <a:pt x="29" y="3"/>
                    </a:lnTo>
                    <a:lnTo>
                      <a:pt x="27" y="2"/>
                    </a:lnTo>
                    <a:lnTo>
                      <a:pt x="26" y="2"/>
                    </a:lnTo>
                    <a:lnTo>
                      <a:pt x="24" y="2"/>
                    </a:lnTo>
                    <a:lnTo>
                      <a:pt x="23" y="0"/>
                    </a:lnTo>
                    <a:lnTo>
                      <a:pt x="19" y="0"/>
                    </a:lnTo>
                    <a:lnTo>
                      <a:pt x="19" y="3"/>
                    </a:lnTo>
                    <a:lnTo>
                      <a:pt x="20" y="5"/>
                    </a:lnTo>
                    <a:lnTo>
                      <a:pt x="20" y="6"/>
                    </a:lnTo>
                    <a:lnTo>
                      <a:pt x="20" y="8"/>
                    </a:lnTo>
                    <a:lnTo>
                      <a:pt x="19" y="8"/>
                    </a:lnTo>
                    <a:lnTo>
                      <a:pt x="17" y="8"/>
                    </a:lnTo>
                    <a:lnTo>
                      <a:pt x="17" y="8"/>
                    </a:lnTo>
                    <a:lnTo>
                      <a:pt x="16" y="9"/>
                    </a:lnTo>
                    <a:lnTo>
                      <a:pt x="17" y="11"/>
                    </a:lnTo>
                    <a:lnTo>
                      <a:pt x="19" y="11"/>
                    </a:lnTo>
                    <a:lnTo>
                      <a:pt x="19" y="16"/>
                    </a:lnTo>
                    <a:lnTo>
                      <a:pt x="17" y="16"/>
                    </a:lnTo>
                    <a:lnTo>
                      <a:pt x="16" y="16"/>
                    </a:lnTo>
                    <a:lnTo>
                      <a:pt x="11" y="16"/>
                    </a:lnTo>
                    <a:lnTo>
                      <a:pt x="7" y="18"/>
                    </a:lnTo>
                    <a:lnTo>
                      <a:pt x="6" y="19"/>
                    </a:lnTo>
                    <a:lnTo>
                      <a:pt x="3" y="25"/>
                    </a:lnTo>
                    <a:lnTo>
                      <a:pt x="1" y="27"/>
                    </a:lnTo>
                    <a:lnTo>
                      <a:pt x="0" y="27"/>
                    </a:lnTo>
                    <a:lnTo>
                      <a:pt x="0" y="29"/>
                    </a:lnTo>
                    <a:lnTo>
                      <a:pt x="1" y="29"/>
                    </a:lnTo>
                    <a:lnTo>
                      <a:pt x="1" y="29"/>
                    </a:lnTo>
                    <a:lnTo>
                      <a:pt x="1" y="29"/>
                    </a:lnTo>
                    <a:lnTo>
                      <a:pt x="3" y="28"/>
                    </a:lnTo>
                    <a:lnTo>
                      <a:pt x="4" y="27"/>
                    </a:lnTo>
                    <a:lnTo>
                      <a:pt x="4" y="27"/>
                    </a:lnTo>
                    <a:lnTo>
                      <a:pt x="4" y="31"/>
                    </a:lnTo>
                    <a:lnTo>
                      <a:pt x="7" y="31"/>
                    </a:lnTo>
                    <a:lnTo>
                      <a:pt x="7" y="31"/>
                    </a:lnTo>
                    <a:lnTo>
                      <a:pt x="7" y="34"/>
                    </a:lnTo>
                    <a:lnTo>
                      <a:pt x="10" y="38"/>
                    </a:lnTo>
                    <a:lnTo>
                      <a:pt x="17" y="43"/>
                    </a:lnTo>
                    <a:lnTo>
                      <a:pt x="19" y="44"/>
                    </a:lnTo>
                    <a:lnTo>
                      <a:pt x="19" y="47"/>
                    </a:lnTo>
                    <a:lnTo>
                      <a:pt x="22" y="48"/>
                    </a:lnTo>
                    <a:lnTo>
                      <a:pt x="22" y="50"/>
                    </a:lnTo>
                    <a:lnTo>
                      <a:pt x="23" y="50"/>
                    </a:lnTo>
                    <a:lnTo>
                      <a:pt x="23" y="51"/>
                    </a:lnTo>
                    <a:lnTo>
                      <a:pt x="23" y="51"/>
                    </a:lnTo>
                    <a:lnTo>
                      <a:pt x="24" y="53"/>
                    </a:lnTo>
                    <a:lnTo>
                      <a:pt x="26" y="54"/>
                    </a:lnTo>
                    <a:lnTo>
                      <a:pt x="29" y="54"/>
                    </a:lnTo>
                    <a:lnTo>
                      <a:pt x="29" y="53"/>
                    </a:lnTo>
                    <a:lnTo>
                      <a:pt x="30" y="51"/>
                    </a:lnTo>
                    <a:lnTo>
                      <a:pt x="32" y="50"/>
                    </a:lnTo>
                    <a:lnTo>
                      <a:pt x="32" y="50"/>
                    </a:lnTo>
                    <a:lnTo>
                      <a:pt x="33" y="48"/>
                    </a:lnTo>
                    <a:lnTo>
                      <a:pt x="33" y="48"/>
                    </a:lnTo>
                    <a:lnTo>
                      <a:pt x="36" y="44"/>
                    </a:lnTo>
                    <a:lnTo>
                      <a:pt x="36" y="43"/>
                    </a:lnTo>
                    <a:lnTo>
                      <a:pt x="37" y="43"/>
                    </a:lnTo>
                    <a:lnTo>
                      <a:pt x="39" y="41"/>
                    </a:lnTo>
                    <a:lnTo>
                      <a:pt x="40" y="43"/>
                    </a:lnTo>
                    <a:lnTo>
                      <a:pt x="45" y="41"/>
                    </a:lnTo>
                    <a:lnTo>
                      <a:pt x="45" y="41"/>
                    </a:lnTo>
                    <a:lnTo>
                      <a:pt x="55" y="41"/>
                    </a:lnTo>
                    <a:lnTo>
                      <a:pt x="55" y="43"/>
                    </a:lnTo>
                    <a:lnTo>
                      <a:pt x="56" y="44"/>
                    </a:lnTo>
                    <a:lnTo>
                      <a:pt x="58" y="45"/>
                    </a:lnTo>
                    <a:lnTo>
                      <a:pt x="59" y="45"/>
                    </a:lnTo>
                    <a:lnTo>
                      <a:pt x="59" y="47"/>
                    </a:lnTo>
                    <a:lnTo>
                      <a:pt x="59" y="47"/>
                    </a:lnTo>
                    <a:lnTo>
                      <a:pt x="59" y="48"/>
                    </a:lnTo>
                    <a:lnTo>
                      <a:pt x="59" y="48"/>
                    </a:lnTo>
                    <a:lnTo>
                      <a:pt x="61" y="50"/>
                    </a:lnTo>
                    <a:lnTo>
                      <a:pt x="62" y="50"/>
                    </a:lnTo>
                    <a:lnTo>
                      <a:pt x="62" y="50"/>
                    </a:lnTo>
                    <a:lnTo>
                      <a:pt x="62" y="51"/>
                    </a:lnTo>
                    <a:lnTo>
                      <a:pt x="62" y="53"/>
                    </a:lnTo>
                    <a:lnTo>
                      <a:pt x="62" y="53"/>
                    </a:lnTo>
                    <a:lnTo>
                      <a:pt x="62" y="54"/>
                    </a:lnTo>
                    <a:lnTo>
                      <a:pt x="62" y="54"/>
                    </a:lnTo>
                    <a:lnTo>
                      <a:pt x="64" y="56"/>
                    </a:lnTo>
                    <a:lnTo>
                      <a:pt x="64" y="56"/>
                    </a:lnTo>
                    <a:lnTo>
                      <a:pt x="65" y="59"/>
                    </a:lnTo>
                    <a:lnTo>
                      <a:pt x="64" y="59"/>
                    </a:lnTo>
                    <a:lnTo>
                      <a:pt x="62" y="60"/>
                    </a:lnTo>
                    <a:lnTo>
                      <a:pt x="62" y="64"/>
                    </a:lnTo>
                    <a:lnTo>
                      <a:pt x="62" y="64"/>
                    </a:lnTo>
                    <a:lnTo>
                      <a:pt x="65" y="63"/>
                    </a:lnTo>
                    <a:lnTo>
                      <a:pt x="67" y="61"/>
                    </a:lnTo>
                    <a:lnTo>
                      <a:pt x="67" y="61"/>
                    </a:lnTo>
                    <a:lnTo>
                      <a:pt x="67" y="63"/>
                    </a:lnTo>
                    <a:lnTo>
                      <a:pt x="67" y="63"/>
                    </a:lnTo>
                    <a:lnTo>
                      <a:pt x="68" y="63"/>
                    </a:lnTo>
                    <a:lnTo>
                      <a:pt x="68" y="61"/>
                    </a:lnTo>
                    <a:lnTo>
                      <a:pt x="69" y="61"/>
                    </a:lnTo>
                    <a:lnTo>
                      <a:pt x="72" y="63"/>
                    </a:lnTo>
                    <a:lnTo>
                      <a:pt x="72" y="63"/>
                    </a:lnTo>
                    <a:lnTo>
                      <a:pt x="72" y="63"/>
                    </a:lnTo>
                    <a:lnTo>
                      <a:pt x="75" y="61"/>
                    </a:lnTo>
                    <a:lnTo>
                      <a:pt x="75" y="61"/>
                    </a:lnTo>
                    <a:lnTo>
                      <a:pt x="75" y="61"/>
                    </a:lnTo>
                    <a:lnTo>
                      <a:pt x="77" y="63"/>
                    </a:lnTo>
                    <a:lnTo>
                      <a:pt x="78" y="64"/>
                    </a:lnTo>
                    <a:lnTo>
                      <a:pt x="78" y="66"/>
                    </a:lnTo>
                    <a:lnTo>
                      <a:pt x="80" y="67"/>
                    </a:lnTo>
                    <a:lnTo>
                      <a:pt x="80" y="72"/>
                    </a:lnTo>
                    <a:lnTo>
                      <a:pt x="81" y="72"/>
                    </a:lnTo>
                    <a:lnTo>
                      <a:pt x="81" y="76"/>
                    </a:lnTo>
                    <a:lnTo>
                      <a:pt x="80" y="77"/>
                    </a:lnTo>
                    <a:lnTo>
                      <a:pt x="78" y="77"/>
                    </a:lnTo>
                    <a:lnTo>
                      <a:pt x="78" y="77"/>
                    </a:lnTo>
                    <a:lnTo>
                      <a:pt x="78" y="79"/>
                    </a:lnTo>
                    <a:lnTo>
                      <a:pt x="80" y="79"/>
                    </a:lnTo>
                    <a:lnTo>
                      <a:pt x="81" y="77"/>
                    </a:lnTo>
                    <a:lnTo>
                      <a:pt x="81" y="77"/>
                    </a:lnTo>
                    <a:lnTo>
                      <a:pt x="84" y="80"/>
                    </a:lnTo>
                    <a:lnTo>
                      <a:pt x="85" y="80"/>
                    </a:lnTo>
                    <a:lnTo>
                      <a:pt x="87" y="80"/>
                    </a:lnTo>
                    <a:lnTo>
                      <a:pt x="88" y="79"/>
                    </a:lnTo>
                    <a:lnTo>
                      <a:pt x="88" y="79"/>
                    </a:lnTo>
                    <a:lnTo>
                      <a:pt x="90" y="77"/>
                    </a:lnTo>
                    <a:lnTo>
                      <a:pt x="90" y="75"/>
                    </a:lnTo>
                    <a:lnTo>
                      <a:pt x="90" y="75"/>
                    </a:lnTo>
                    <a:lnTo>
                      <a:pt x="93" y="75"/>
                    </a:lnTo>
                    <a:lnTo>
                      <a:pt x="93" y="76"/>
                    </a:lnTo>
                    <a:lnTo>
                      <a:pt x="94" y="76"/>
                    </a:lnTo>
                    <a:lnTo>
                      <a:pt x="97" y="76"/>
                    </a:lnTo>
                    <a:lnTo>
                      <a:pt x="97" y="75"/>
                    </a:lnTo>
                    <a:lnTo>
                      <a:pt x="98" y="73"/>
                    </a:lnTo>
                    <a:lnTo>
                      <a:pt x="98" y="69"/>
                    </a:lnTo>
                    <a:lnTo>
                      <a:pt x="100" y="69"/>
                    </a:lnTo>
                    <a:lnTo>
                      <a:pt x="100" y="67"/>
                    </a:lnTo>
                    <a:lnTo>
                      <a:pt x="100" y="67"/>
                    </a:lnTo>
                    <a:lnTo>
                      <a:pt x="100" y="67"/>
                    </a:lnTo>
                    <a:lnTo>
                      <a:pt x="100" y="66"/>
                    </a:lnTo>
                    <a:lnTo>
                      <a:pt x="98" y="66"/>
                    </a:lnTo>
                    <a:lnTo>
                      <a:pt x="97" y="66"/>
                    </a:lnTo>
                    <a:lnTo>
                      <a:pt x="97" y="66"/>
                    </a:lnTo>
                    <a:lnTo>
                      <a:pt x="97" y="64"/>
                    </a:lnTo>
                    <a:lnTo>
                      <a:pt x="97" y="63"/>
                    </a:lnTo>
                    <a:lnTo>
                      <a:pt x="96" y="63"/>
                    </a:lnTo>
                    <a:lnTo>
                      <a:pt x="96" y="63"/>
                    </a:lnTo>
                    <a:lnTo>
                      <a:pt x="98" y="61"/>
                    </a:lnTo>
                    <a:lnTo>
                      <a:pt x="101" y="61"/>
                    </a:lnTo>
                    <a:lnTo>
                      <a:pt x="101" y="63"/>
                    </a:lnTo>
                    <a:lnTo>
                      <a:pt x="103" y="63"/>
                    </a:lnTo>
                    <a:lnTo>
                      <a:pt x="103" y="63"/>
                    </a:lnTo>
                    <a:lnTo>
                      <a:pt x="104" y="64"/>
                    </a:lnTo>
                    <a:lnTo>
                      <a:pt x="104" y="64"/>
                    </a:lnTo>
                    <a:lnTo>
                      <a:pt x="104" y="61"/>
                    </a:lnTo>
                    <a:lnTo>
                      <a:pt x="103" y="60"/>
                    </a:lnTo>
                    <a:lnTo>
                      <a:pt x="103" y="59"/>
                    </a:lnTo>
                    <a:lnTo>
                      <a:pt x="103" y="59"/>
                    </a:lnTo>
                    <a:lnTo>
                      <a:pt x="101" y="59"/>
                    </a:lnTo>
                    <a:lnTo>
                      <a:pt x="101" y="59"/>
                    </a:lnTo>
                    <a:lnTo>
                      <a:pt x="101" y="56"/>
                    </a:lnTo>
                    <a:lnTo>
                      <a:pt x="103" y="54"/>
                    </a:lnTo>
                    <a:lnTo>
                      <a:pt x="103" y="54"/>
                    </a:lnTo>
                    <a:lnTo>
                      <a:pt x="103" y="54"/>
                    </a:lnTo>
                    <a:lnTo>
                      <a:pt x="103" y="53"/>
                    </a:lnTo>
                    <a:lnTo>
                      <a:pt x="101" y="53"/>
                    </a:lnTo>
                    <a:lnTo>
                      <a:pt x="101" y="50"/>
                    </a:lnTo>
                    <a:lnTo>
                      <a:pt x="100" y="50"/>
                    </a:lnTo>
                    <a:lnTo>
                      <a:pt x="98" y="48"/>
                    </a:lnTo>
                    <a:lnTo>
                      <a:pt x="98" y="48"/>
                    </a:lnTo>
                    <a:lnTo>
                      <a:pt x="97" y="41"/>
                    </a:lnTo>
                    <a:lnTo>
                      <a:pt x="98" y="41"/>
                    </a:lnTo>
                    <a:lnTo>
                      <a:pt x="98" y="40"/>
                    </a:lnTo>
                    <a:lnTo>
                      <a:pt x="100" y="38"/>
                    </a:lnTo>
                    <a:lnTo>
                      <a:pt x="100" y="37"/>
                    </a:lnTo>
                    <a:lnTo>
                      <a:pt x="100" y="35"/>
                    </a:lnTo>
                    <a:lnTo>
                      <a:pt x="98" y="35"/>
                    </a:lnTo>
                    <a:lnTo>
                      <a:pt x="98" y="34"/>
                    </a:lnTo>
                    <a:lnTo>
                      <a:pt x="97" y="34"/>
                    </a:lnTo>
                    <a:lnTo>
                      <a:pt x="96" y="32"/>
                    </a:lnTo>
                    <a:lnTo>
                      <a:pt x="96" y="25"/>
                    </a:lnTo>
                    <a:lnTo>
                      <a:pt x="94" y="25"/>
                    </a:lnTo>
                    <a:lnTo>
                      <a:pt x="93" y="25"/>
                    </a:lnTo>
                    <a:lnTo>
                      <a:pt x="91" y="27"/>
                    </a:lnTo>
                    <a:lnTo>
                      <a:pt x="91" y="27"/>
                    </a:lnTo>
                    <a:lnTo>
                      <a:pt x="91" y="25"/>
                    </a:lnTo>
                    <a:lnTo>
                      <a:pt x="91" y="24"/>
                    </a:lnTo>
                    <a:lnTo>
                      <a:pt x="93" y="24"/>
                    </a:lnTo>
                    <a:lnTo>
                      <a:pt x="93" y="22"/>
                    </a:lnTo>
                    <a:lnTo>
                      <a:pt x="93" y="22"/>
                    </a:lnTo>
                    <a:lnTo>
                      <a:pt x="94" y="22"/>
                    </a:lnTo>
                    <a:lnTo>
                      <a:pt x="94" y="22"/>
                    </a:lnTo>
                    <a:lnTo>
                      <a:pt x="94" y="21"/>
                    </a:lnTo>
                    <a:lnTo>
                      <a:pt x="94" y="19"/>
                    </a:lnTo>
                    <a:lnTo>
                      <a:pt x="93" y="19"/>
                    </a:lnTo>
                    <a:lnTo>
                      <a:pt x="93" y="19"/>
                    </a:lnTo>
                    <a:lnTo>
                      <a:pt x="91" y="18"/>
                    </a:lnTo>
                    <a:lnTo>
                      <a:pt x="90" y="16"/>
                    </a:lnTo>
                    <a:lnTo>
                      <a:pt x="88" y="16"/>
                    </a:lnTo>
                    <a:lnTo>
                      <a:pt x="88" y="16"/>
                    </a:lnTo>
                    <a:lnTo>
                      <a:pt x="88" y="12"/>
                    </a:lnTo>
                    <a:lnTo>
                      <a:pt x="88" y="11"/>
                    </a:lnTo>
                    <a:lnTo>
                      <a:pt x="87" y="11"/>
                    </a:lnTo>
                    <a:lnTo>
                      <a:pt x="87" y="9"/>
                    </a:lnTo>
                    <a:lnTo>
                      <a:pt x="87" y="8"/>
                    </a:lnTo>
                    <a:lnTo>
                      <a:pt x="85" y="8"/>
                    </a:lnTo>
                    <a:lnTo>
                      <a:pt x="85" y="8"/>
                    </a:lnTo>
                    <a:lnTo>
                      <a:pt x="85" y="5"/>
                    </a:lnTo>
                    <a:lnTo>
                      <a:pt x="85" y="5"/>
                    </a:lnTo>
                    <a:lnTo>
                      <a:pt x="85" y="3"/>
                    </a:lnTo>
                    <a:lnTo>
                      <a:pt x="84" y="3"/>
                    </a:lnTo>
                    <a:lnTo>
                      <a:pt x="84" y="5"/>
                    </a:lnTo>
                    <a:lnTo>
                      <a:pt x="82" y="5"/>
                    </a:lnTo>
                    <a:lnTo>
                      <a:pt x="81" y="3"/>
                    </a:lnTo>
                    <a:lnTo>
                      <a:pt x="81" y="3"/>
                    </a:lnTo>
                    <a:lnTo>
                      <a:pt x="81" y="5"/>
                    </a:lnTo>
                    <a:lnTo>
                      <a:pt x="81" y="6"/>
                    </a:lnTo>
                    <a:lnTo>
                      <a:pt x="80" y="8"/>
                    </a:lnTo>
                    <a:lnTo>
                      <a:pt x="77" y="8"/>
                    </a:lnTo>
                    <a:lnTo>
                      <a:pt x="77" y="9"/>
                    </a:lnTo>
                    <a:lnTo>
                      <a:pt x="75" y="11"/>
                    </a:lnTo>
                    <a:lnTo>
                      <a:pt x="72" y="9"/>
                    </a:lnTo>
                    <a:lnTo>
                      <a:pt x="69" y="8"/>
                    </a:lnTo>
                    <a:lnTo>
                      <a:pt x="68" y="8"/>
                    </a:lnTo>
                    <a:lnTo>
                      <a:pt x="67" y="8"/>
                    </a:lnTo>
                    <a:lnTo>
                      <a:pt x="65" y="9"/>
                    </a:lnTo>
                    <a:lnTo>
                      <a:pt x="64" y="11"/>
                    </a:lnTo>
                    <a:lnTo>
                      <a:pt x="64" y="12"/>
                    </a:lnTo>
                    <a:lnTo>
                      <a:pt x="62" y="12"/>
                    </a:lnTo>
                    <a:lnTo>
                      <a:pt x="61" y="12"/>
                    </a:lnTo>
                    <a:lnTo>
                      <a:pt x="58" y="8"/>
                    </a:lnTo>
                    <a:lnTo>
                      <a:pt x="56" y="8"/>
                    </a:lnTo>
                    <a:lnTo>
                      <a:pt x="55" y="11"/>
                    </a:lnTo>
                    <a:lnTo>
                      <a:pt x="55" y="11"/>
                    </a:lnTo>
                    <a:lnTo>
                      <a:pt x="53" y="11"/>
                    </a:lnTo>
                    <a:lnTo>
                      <a:pt x="52" y="11"/>
                    </a:lnTo>
                    <a:lnTo>
                      <a:pt x="51" y="9"/>
                    </a:lnTo>
                    <a:lnTo>
                      <a:pt x="51" y="8"/>
                    </a:lnTo>
                    <a:lnTo>
                      <a:pt x="52" y="6"/>
                    </a:lnTo>
                    <a:lnTo>
                      <a:pt x="52" y="6"/>
                    </a:lnTo>
                    <a:lnTo>
                      <a:pt x="53" y="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34" name="Freeform 968"/>
              <p:cNvSpPr>
                <a:spLocks/>
              </p:cNvSpPr>
              <p:nvPr/>
            </p:nvSpPr>
            <p:spPr bwMode="auto">
              <a:xfrm>
                <a:off x="5923219" y="3083969"/>
                <a:ext cx="95680" cy="84173"/>
              </a:xfrm>
              <a:custGeom>
                <a:avLst/>
                <a:gdLst/>
                <a:ahLst/>
                <a:cxnLst>
                  <a:cxn ang="0">
                    <a:pos x="45" y="5"/>
                  </a:cxn>
                  <a:cxn ang="0">
                    <a:pos x="39" y="6"/>
                  </a:cxn>
                  <a:cxn ang="0">
                    <a:pos x="33" y="5"/>
                  </a:cxn>
                  <a:cxn ang="0">
                    <a:pos x="29" y="5"/>
                  </a:cxn>
                  <a:cxn ang="0">
                    <a:pos x="24" y="2"/>
                  </a:cxn>
                  <a:cxn ang="0">
                    <a:pos x="20" y="5"/>
                  </a:cxn>
                  <a:cxn ang="0">
                    <a:pos x="17" y="8"/>
                  </a:cxn>
                  <a:cxn ang="0">
                    <a:pos x="19" y="11"/>
                  </a:cxn>
                  <a:cxn ang="0">
                    <a:pos x="11" y="16"/>
                  </a:cxn>
                  <a:cxn ang="0">
                    <a:pos x="1" y="27"/>
                  </a:cxn>
                  <a:cxn ang="0">
                    <a:pos x="1" y="29"/>
                  </a:cxn>
                  <a:cxn ang="0">
                    <a:pos x="4" y="27"/>
                  </a:cxn>
                  <a:cxn ang="0">
                    <a:pos x="7" y="34"/>
                  </a:cxn>
                  <a:cxn ang="0">
                    <a:pos x="19" y="47"/>
                  </a:cxn>
                  <a:cxn ang="0">
                    <a:pos x="23" y="51"/>
                  </a:cxn>
                  <a:cxn ang="0">
                    <a:pos x="29" y="54"/>
                  </a:cxn>
                  <a:cxn ang="0">
                    <a:pos x="32" y="50"/>
                  </a:cxn>
                  <a:cxn ang="0">
                    <a:pos x="36" y="43"/>
                  </a:cxn>
                  <a:cxn ang="0">
                    <a:pos x="45" y="41"/>
                  </a:cxn>
                  <a:cxn ang="0">
                    <a:pos x="56" y="44"/>
                  </a:cxn>
                  <a:cxn ang="0">
                    <a:pos x="59" y="47"/>
                  </a:cxn>
                  <a:cxn ang="0">
                    <a:pos x="62" y="50"/>
                  </a:cxn>
                  <a:cxn ang="0">
                    <a:pos x="62" y="53"/>
                  </a:cxn>
                  <a:cxn ang="0">
                    <a:pos x="64" y="56"/>
                  </a:cxn>
                  <a:cxn ang="0">
                    <a:pos x="62" y="64"/>
                  </a:cxn>
                  <a:cxn ang="0">
                    <a:pos x="67" y="61"/>
                  </a:cxn>
                  <a:cxn ang="0">
                    <a:pos x="68" y="61"/>
                  </a:cxn>
                  <a:cxn ang="0">
                    <a:pos x="72" y="63"/>
                  </a:cxn>
                  <a:cxn ang="0">
                    <a:pos x="77" y="63"/>
                  </a:cxn>
                  <a:cxn ang="0">
                    <a:pos x="80" y="72"/>
                  </a:cxn>
                  <a:cxn ang="0">
                    <a:pos x="78" y="77"/>
                  </a:cxn>
                  <a:cxn ang="0">
                    <a:pos x="81" y="77"/>
                  </a:cxn>
                  <a:cxn ang="0">
                    <a:pos x="87" y="80"/>
                  </a:cxn>
                  <a:cxn ang="0">
                    <a:pos x="90" y="75"/>
                  </a:cxn>
                  <a:cxn ang="0">
                    <a:pos x="94" y="76"/>
                  </a:cxn>
                  <a:cxn ang="0">
                    <a:pos x="98" y="69"/>
                  </a:cxn>
                  <a:cxn ang="0">
                    <a:pos x="100" y="67"/>
                  </a:cxn>
                  <a:cxn ang="0">
                    <a:pos x="97" y="66"/>
                  </a:cxn>
                  <a:cxn ang="0">
                    <a:pos x="96" y="63"/>
                  </a:cxn>
                  <a:cxn ang="0">
                    <a:pos x="103" y="63"/>
                  </a:cxn>
                  <a:cxn ang="0">
                    <a:pos x="104" y="61"/>
                  </a:cxn>
                  <a:cxn ang="0">
                    <a:pos x="101" y="59"/>
                  </a:cxn>
                  <a:cxn ang="0">
                    <a:pos x="103" y="54"/>
                  </a:cxn>
                  <a:cxn ang="0">
                    <a:pos x="101" y="50"/>
                  </a:cxn>
                  <a:cxn ang="0">
                    <a:pos x="97" y="41"/>
                  </a:cxn>
                  <a:cxn ang="0">
                    <a:pos x="100" y="37"/>
                  </a:cxn>
                  <a:cxn ang="0">
                    <a:pos x="97" y="34"/>
                  </a:cxn>
                  <a:cxn ang="0">
                    <a:pos x="93" y="25"/>
                  </a:cxn>
                  <a:cxn ang="0">
                    <a:pos x="91" y="24"/>
                  </a:cxn>
                  <a:cxn ang="0">
                    <a:pos x="94" y="22"/>
                  </a:cxn>
                  <a:cxn ang="0">
                    <a:pos x="93" y="19"/>
                  </a:cxn>
                  <a:cxn ang="0">
                    <a:pos x="88" y="16"/>
                  </a:cxn>
                  <a:cxn ang="0">
                    <a:pos x="87" y="11"/>
                  </a:cxn>
                  <a:cxn ang="0">
                    <a:pos x="85" y="8"/>
                  </a:cxn>
                  <a:cxn ang="0">
                    <a:pos x="84" y="3"/>
                  </a:cxn>
                  <a:cxn ang="0">
                    <a:pos x="81" y="3"/>
                  </a:cxn>
                  <a:cxn ang="0">
                    <a:pos x="77" y="8"/>
                  </a:cxn>
                  <a:cxn ang="0">
                    <a:pos x="69" y="8"/>
                  </a:cxn>
                  <a:cxn ang="0">
                    <a:pos x="64" y="11"/>
                  </a:cxn>
                  <a:cxn ang="0">
                    <a:pos x="58" y="8"/>
                  </a:cxn>
                  <a:cxn ang="0">
                    <a:pos x="53" y="11"/>
                  </a:cxn>
                  <a:cxn ang="0">
                    <a:pos x="52" y="6"/>
                  </a:cxn>
                </a:cxnLst>
                <a:rect l="0" t="0" r="r" b="b"/>
                <a:pathLst>
                  <a:path w="104" h="80">
                    <a:moveTo>
                      <a:pt x="53" y="5"/>
                    </a:moveTo>
                    <a:lnTo>
                      <a:pt x="51" y="5"/>
                    </a:lnTo>
                    <a:lnTo>
                      <a:pt x="49" y="6"/>
                    </a:lnTo>
                    <a:lnTo>
                      <a:pt x="45" y="5"/>
                    </a:lnTo>
                    <a:lnTo>
                      <a:pt x="45" y="6"/>
                    </a:lnTo>
                    <a:lnTo>
                      <a:pt x="42" y="6"/>
                    </a:lnTo>
                    <a:lnTo>
                      <a:pt x="40" y="6"/>
                    </a:lnTo>
                    <a:lnTo>
                      <a:pt x="39" y="6"/>
                    </a:lnTo>
                    <a:lnTo>
                      <a:pt x="37" y="6"/>
                    </a:lnTo>
                    <a:lnTo>
                      <a:pt x="36" y="6"/>
                    </a:lnTo>
                    <a:lnTo>
                      <a:pt x="35" y="5"/>
                    </a:lnTo>
                    <a:lnTo>
                      <a:pt x="33" y="5"/>
                    </a:lnTo>
                    <a:lnTo>
                      <a:pt x="30" y="3"/>
                    </a:lnTo>
                    <a:lnTo>
                      <a:pt x="30" y="3"/>
                    </a:lnTo>
                    <a:lnTo>
                      <a:pt x="30" y="5"/>
                    </a:lnTo>
                    <a:lnTo>
                      <a:pt x="29" y="5"/>
                    </a:lnTo>
                    <a:lnTo>
                      <a:pt x="29" y="3"/>
                    </a:lnTo>
                    <a:lnTo>
                      <a:pt x="27" y="2"/>
                    </a:lnTo>
                    <a:lnTo>
                      <a:pt x="26" y="2"/>
                    </a:lnTo>
                    <a:lnTo>
                      <a:pt x="24" y="2"/>
                    </a:lnTo>
                    <a:lnTo>
                      <a:pt x="23" y="0"/>
                    </a:lnTo>
                    <a:lnTo>
                      <a:pt x="19" y="0"/>
                    </a:lnTo>
                    <a:lnTo>
                      <a:pt x="19" y="3"/>
                    </a:lnTo>
                    <a:lnTo>
                      <a:pt x="20" y="5"/>
                    </a:lnTo>
                    <a:lnTo>
                      <a:pt x="20" y="6"/>
                    </a:lnTo>
                    <a:lnTo>
                      <a:pt x="20" y="8"/>
                    </a:lnTo>
                    <a:lnTo>
                      <a:pt x="19" y="8"/>
                    </a:lnTo>
                    <a:lnTo>
                      <a:pt x="17" y="8"/>
                    </a:lnTo>
                    <a:lnTo>
                      <a:pt x="17" y="8"/>
                    </a:lnTo>
                    <a:lnTo>
                      <a:pt x="16" y="9"/>
                    </a:lnTo>
                    <a:lnTo>
                      <a:pt x="17" y="11"/>
                    </a:lnTo>
                    <a:lnTo>
                      <a:pt x="19" y="11"/>
                    </a:lnTo>
                    <a:lnTo>
                      <a:pt x="19" y="16"/>
                    </a:lnTo>
                    <a:lnTo>
                      <a:pt x="17" y="16"/>
                    </a:lnTo>
                    <a:lnTo>
                      <a:pt x="16" y="16"/>
                    </a:lnTo>
                    <a:lnTo>
                      <a:pt x="11" y="16"/>
                    </a:lnTo>
                    <a:lnTo>
                      <a:pt x="7" y="18"/>
                    </a:lnTo>
                    <a:lnTo>
                      <a:pt x="6" y="19"/>
                    </a:lnTo>
                    <a:lnTo>
                      <a:pt x="3" y="25"/>
                    </a:lnTo>
                    <a:lnTo>
                      <a:pt x="1" y="27"/>
                    </a:lnTo>
                    <a:lnTo>
                      <a:pt x="0" y="27"/>
                    </a:lnTo>
                    <a:lnTo>
                      <a:pt x="0" y="29"/>
                    </a:lnTo>
                    <a:lnTo>
                      <a:pt x="1" y="29"/>
                    </a:lnTo>
                    <a:lnTo>
                      <a:pt x="1" y="29"/>
                    </a:lnTo>
                    <a:lnTo>
                      <a:pt x="1" y="29"/>
                    </a:lnTo>
                    <a:lnTo>
                      <a:pt x="3" y="28"/>
                    </a:lnTo>
                    <a:lnTo>
                      <a:pt x="4" y="27"/>
                    </a:lnTo>
                    <a:lnTo>
                      <a:pt x="4" y="27"/>
                    </a:lnTo>
                    <a:lnTo>
                      <a:pt x="4" y="31"/>
                    </a:lnTo>
                    <a:lnTo>
                      <a:pt x="7" y="31"/>
                    </a:lnTo>
                    <a:lnTo>
                      <a:pt x="7" y="31"/>
                    </a:lnTo>
                    <a:lnTo>
                      <a:pt x="7" y="34"/>
                    </a:lnTo>
                    <a:lnTo>
                      <a:pt x="10" y="38"/>
                    </a:lnTo>
                    <a:lnTo>
                      <a:pt x="17" y="43"/>
                    </a:lnTo>
                    <a:lnTo>
                      <a:pt x="19" y="44"/>
                    </a:lnTo>
                    <a:lnTo>
                      <a:pt x="19" y="47"/>
                    </a:lnTo>
                    <a:lnTo>
                      <a:pt x="22" y="48"/>
                    </a:lnTo>
                    <a:lnTo>
                      <a:pt x="22" y="50"/>
                    </a:lnTo>
                    <a:lnTo>
                      <a:pt x="23" y="50"/>
                    </a:lnTo>
                    <a:lnTo>
                      <a:pt x="23" y="51"/>
                    </a:lnTo>
                    <a:lnTo>
                      <a:pt x="23" y="51"/>
                    </a:lnTo>
                    <a:lnTo>
                      <a:pt x="24" y="53"/>
                    </a:lnTo>
                    <a:lnTo>
                      <a:pt x="26" y="54"/>
                    </a:lnTo>
                    <a:lnTo>
                      <a:pt x="29" y="54"/>
                    </a:lnTo>
                    <a:lnTo>
                      <a:pt x="29" y="53"/>
                    </a:lnTo>
                    <a:lnTo>
                      <a:pt x="30" y="51"/>
                    </a:lnTo>
                    <a:lnTo>
                      <a:pt x="32" y="50"/>
                    </a:lnTo>
                    <a:lnTo>
                      <a:pt x="32" y="50"/>
                    </a:lnTo>
                    <a:lnTo>
                      <a:pt x="33" y="48"/>
                    </a:lnTo>
                    <a:lnTo>
                      <a:pt x="33" y="48"/>
                    </a:lnTo>
                    <a:lnTo>
                      <a:pt x="36" y="44"/>
                    </a:lnTo>
                    <a:lnTo>
                      <a:pt x="36" y="43"/>
                    </a:lnTo>
                    <a:lnTo>
                      <a:pt x="37" y="43"/>
                    </a:lnTo>
                    <a:lnTo>
                      <a:pt x="39" y="41"/>
                    </a:lnTo>
                    <a:lnTo>
                      <a:pt x="40" y="43"/>
                    </a:lnTo>
                    <a:lnTo>
                      <a:pt x="45" y="41"/>
                    </a:lnTo>
                    <a:lnTo>
                      <a:pt x="45" y="41"/>
                    </a:lnTo>
                    <a:lnTo>
                      <a:pt x="55" y="41"/>
                    </a:lnTo>
                    <a:lnTo>
                      <a:pt x="55" y="43"/>
                    </a:lnTo>
                    <a:lnTo>
                      <a:pt x="56" y="44"/>
                    </a:lnTo>
                    <a:lnTo>
                      <a:pt x="58" y="45"/>
                    </a:lnTo>
                    <a:lnTo>
                      <a:pt x="59" y="45"/>
                    </a:lnTo>
                    <a:lnTo>
                      <a:pt x="59" y="47"/>
                    </a:lnTo>
                    <a:lnTo>
                      <a:pt x="59" y="47"/>
                    </a:lnTo>
                    <a:lnTo>
                      <a:pt x="59" y="48"/>
                    </a:lnTo>
                    <a:lnTo>
                      <a:pt x="59" y="48"/>
                    </a:lnTo>
                    <a:lnTo>
                      <a:pt x="61" y="50"/>
                    </a:lnTo>
                    <a:lnTo>
                      <a:pt x="62" y="50"/>
                    </a:lnTo>
                    <a:lnTo>
                      <a:pt x="62" y="50"/>
                    </a:lnTo>
                    <a:lnTo>
                      <a:pt x="62" y="51"/>
                    </a:lnTo>
                    <a:lnTo>
                      <a:pt x="62" y="53"/>
                    </a:lnTo>
                    <a:lnTo>
                      <a:pt x="62" y="53"/>
                    </a:lnTo>
                    <a:lnTo>
                      <a:pt x="62" y="54"/>
                    </a:lnTo>
                    <a:lnTo>
                      <a:pt x="62" y="54"/>
                    </a:lnTo>
                    <a:lnTo>
                      <a:pt x="64" y="56"/>
                    </a:lnTo>
                    <a:lnTo>
                      <a:pt x="64" y="56"/>
                    </a:lnTo>
                    <a:lnTo>
                      <a:pt x="65" y="59"/>
                    </a:lnTo>
                    <a:lnTo>
                      <a:pt x="64" y="59"/>
                    </a:lnTo>
                    <a:lnTo>
                      <a:pt x="62" y="60"/>
                    </a:lnTo>
                    <a:lnTo>
                      <a:pt x="62" y="64"/>
                    </a:lnTo>
                    <a:lnTo>
                      <a:pt x="62" y="64"/>
                    </a:lnTo>
                    <a:lnTo>
                      <a:pt x="65" y="63"/>
                    </a:lnTo>
                    <a:lnTo>
                      <a:pt x="67" y="61"/>
                    </a:lnTo>
                    <a:lnTo>
                      <a:pt x="67" y="61"/>
                    </a:lnTo>
                    <a:lnTo>
                      <a:pt x="67" y="63"/>
                    </a:lnTo>
                    <a:lnTo>
                      <a:pt x="67" y="63"/>
                    </a:lnTo>
                    <a:lnTo>
                      <a:pt x="68" y="63"/>
                    </a:lnTo>
                    <a:lnTo>
                      <a:pt x="68" y="61"/>
                    </a:lnTo>
                    <a:lnTo>
                      <a:pt x="69" y="61"/>
                    </a:lnTo>
                    <a:lnTo>
                      <a:pt x="72" y="63"/>
                    </a:lnTo>
                    <a:lnTo>
                      <a:pt x="72" y="63"/>
                    </a:lnTo>
                    <a:lnTo>
                      <a:pt x="72" y="63"/>
                    </a:lnTo>
                    <a:lnTo>
                      <a:pt x="75" y="61"/>
                    </a:lnTo>
                    <a:lnTo>
                      <a:pt x="75" y="61"/>
                    </a:lnTo>
                    <a:lnTo>
                      <a:pt x="75" y="61"/>
                    </a:lnTo>
                    <a:lnTo>
                      <a:pt x="77" y="63"/>
                    </a:lnTo>
                    <a:lnTo>
                      <a:pt x="78" y="64"/>
                    </a:lnTo>
                    <a:lnTo>
                      <a:pt x="78" y="66"/>
                    </a:lnTo>
                    <a:lnTo>
                      <a:pt x="80" y="67"/>
                    </a:lnTo>
                    <a:lnTo>
                      <a:pt x="80" y="72"/>
                    </a:lnTo>
                    <a:lnTo>
                      <a:pt x="81" y="72"/>
                    </a:lnTo>
                    <a:lnTo>
                      <a:pt x="81" y="76"/>
                    </a:lnTo>
                    <a:lnTo>
                      <a:pt x="80" y="77"/>
                    </a:lnTo>
                    <a:lnTo>
                      <a:pt x="78" y="77"/>
                    </a:lnTo>
                    <a:lnTo>
                      <a:pt x="78" y="77"/>
                    </a:lnTo>
                    <a:lnTo>
                      <a:pt x="78" y="79"/>
                    </a:lnTo>
                    <a:lnTo>
                      <a:pt x="80" y="79"/>
                    </a:lnTo>
                    <a:lnTo>
                      <a:pt x="81" y="77"/>
                    </a:lnTo>
                    <a:lnTo>
                      <a:pt x="81" y="77"/>
                    </a:lnTo>
                    <a:lnTo>
                      <a:pt x="84" y="80"/>
                    </a:lnTo>
                    <a:lnTo>
                      <a:pt x="85" y="80"/>
                    </a:lnTo>
                    <a:lnTo>
                      <a:pt x="87" y="80"/>
                    </a:lnTo>
                    <a:lnTo>
                      <a:pt x="88" y="79"/>
                    </a:lnTo>
                    <a:lnTo>
                      <a:pt x="88" y="79"/>
                    </a:lnTo>
                    <a:lnTo>
                      <a:pt x="90" y="77"/>
                    </a:lnTo>
                    <a:lnTo>
                      <a:pt x="90" y="75"/>
                    </a:lnTo>
                    <a:lnTo>
                      <a:pt x="90" y="75"/>
                    </a:lnTo>
                    <a:lnTo>
                      <a:pt x="93" y="75"/>
                    </a:lnTo>
                    <a:lnTo>
                      <a:pt x="93" y="76"/>
                    </a:lnTo>
                    <a:lnTo>
                      <a:pt x="94" y="76"/>
                    </a:lnTo>
                    <a:lnTo>
                      <a:pt x="97" y="76"/>
                    </a:lnTo>
                    <a:lnTo>
                      <a:pt x="97" y="75"/>
                    </a:lnTo>
                    <a:lnTo>
                      <a:pt x="98" y="73"/>
                    </a:lnTo>
                    <a:lnTo>
                      <a:pt x="98" y="69"/>
                    </a:lnTo>
                    <a:lnTo>
                      <a:pt x="100" y="69"/>
                    </a:lnTo>
                    <a:lnTo>
                      <a:pt x="100" y="67"/>
                    </a:lnTo>
                    <a:lnTo>
                      <a:pt x="100" y="67"/>
                    </a:lnTo>
                    <a:lnTo>
                      <a:pt x="100" y="67"/>
                    </a:lnTo>
                    <a:lnTo>
                      <a:pt x="100" y="66"/>
                    </a:lnTo>
                    <a:lnTo>
                      <a:pt x="98" y="66"/>
                    </a:lnTo>
                    <a:lnTo>
                      <a:pt x="97" y="66"/>
                    </a:lnTo>
                    <a:lnTo>
                      <a:pt x="97" y="66"/>
                    </a:lnTo>
                    <a:lnTo>
                      <a:pt x="97" y="64"/>
                    </a:lnTo>
                    <a:lnTo>
                      <a:pt x="97" y="63"/>
                    </a:lnTo>
                    <a:lnTo>
                      <a:pt x="96" y="63"/>
                    </a:lnTo>
                    <a:lnTo>
                      <a:pt x="96" y="63"/>
                    </a:lnTo>
                    <a:lnTo>
                      <a:pt x="98" y="61"/>
                    </a:lnTo>
                    <a:lnTo>
                      <a:pt x="101" y="61"/>
                    </a:lnTo>
                    <a:lnTo>
                      <a:pt x="101" y="63"/>
                    </a:lnTo>
                    <a:lnTo>
                      <a:pt x="103" y="63"/>
                    </a:lnTo>
                    <a:lnTo>
                      <a:pt x="103" y="63"/>
                    </a:lnTo>
                    <a:lnTo>
                      <a:pt x="104" y="64"/>
                    </a:lnTo>
                    <a:lnTo>
                      <a:pt x="104" y="64"/>
                    </a:lnTo>
                    <a:lnTo>
                      <a:pt x="104" y="61"/>
                    </a:lnTo>
                    <a:lnTo>
                      <a:pt x="103" y="60"/>
                    </a:lnTo>
                    <a:lnTo>
                      <a:pt x="103" y="59"/>
                    </a:lnTo>
                    <a:lnTo>
                      <a:pt x="103" y="59"/>
                    </a:lnTo>
                    <a:lnTo>
                      <a:pt x="101" y="59"/>
                    </a:lnTo>
                    <a:lnTo>
                      <a:pt x="101" y="59"/>
                    </a:lnTo>
                    <a:lnTo>
                      <a:pt x="101" y="56"/>
                    </a:lnTo>
                    <a:lnTo>
                      <a:pt x="103" y="54"/>
                    </a:lnTo>
                    <a:lnTo>
                      <a:pt x="103" y="54"/>
                    </a:lnTo>
                    <a:lnTo>
                      <a:pt x="103" y="54"/>
                    </a:lnTo>
                    <a:lnTo>
                      <a:pt x="103" y="53"/>
                    </a:lnTo>
                    <a:lnTo>
                      <a:pt x="101" y="53"/>
                    </a:lnTo>
                    <a:lnTo>
                      <a:pt x="101" y="50"/>
                    </a:lnTo>
                    <a:lnTo>
                      <a:pt x="100" y="50"/>
                    </a:lnTo>
                    <a:lnTo>
                      <a:pt x="98" y="48"/>
                    </a:lnTo>
                    <a:lnTo>
                      <a:pt x="98" y="48"/>
                    </a:lnTo>
                    <a:lnTo>
                      <a:pt x="97" y="41"/>
                    </a:lnTo>
                    <a:lnTo>
                      <a:pt x="98" y="41"/>
                    </a:lnTo>
                    <a:lnTo>
                      <a:pt x="98" y="40"/>
                    </a:lnTo>
                    <a:lnTo>
                      <a:pt x="100" y="38"/>
                    </a:lnTo>
                    <a:lnTo>
                      <a:pt x="100" y="37"/>
                    </a:lnTo>
                    <a:lnTo>
                      <a:pt x="100" y="35"/>
                    </a:lnTo>
                    <a:lnTo>
                      <a:pt x="98" y="35"/>
                    </a:lnTo>
                    <a:lnTo>
                      <a:pt x="98" y="34"/>
                    </a:lnTo>
                    <a:lnTo>
                      <a:pt x="97" y="34"/>
                    </a:lnTo>
                    <a:lnTo>
                      <a:pt x="96" y="32"/>
                    </a:lnTo>
                    <a:lnTo>
                      <a:pt x="96" y="25"/>
                    </a:lnTo>
                    <a:lnTo>
                      <a:pt x="94" y="25"/>
                    </a:lnTo>
                    <a:lnTo>
                      <a:pt x="93" y="25"/>
                    </a:lnTo>
                    <a:lnTo>
                      <a:pt x="91" y="27"/>
                    </a:lnTo>
                    <a:lnTo>
                      <a:pt x="91" y="27"/>
                    </a:lnTo>
                    <a:lnTo>
                      <a:pt x="91" y="25"/>
                    </a:lnTo>
                    <a:lnTo>
                      <a:pt x="91" y="24"/>
                    </a:lnTo>
                    <a:lnTo>
                      <a:pt x="93" y="24"/>
                    </a:lnTo>
                    <a:lnTo>
                      <a:pt x="93" y="22"/>
                    </a:lnTo>
                    <a:lnTo>
                      <a:pt x="93" y="22"/>
                    </a:lnTo>
                    <a:lnTo>
                      <a:pt x="94" y="22"/>
                    </a:lnTo>
                    <a:lnTo>
                      <a:pt x="94" y="22"/>
                    </a:lnTo>
                    <a:lnTo>
                      <a:pt x="94" y="21"/>
                    </a:lnTo>
                    <a:lnTo>
                      <a:pt x="94" y="19"/>
                    </a:lnTo>
                    <a:lnTo>
                      <a:pt x="93" y="19"/>
                    </a:lnTo>
                    <a:lnTo>
                      <a:pt x="93" y="19"/>
                    </a:lnTo>
                    <a:lnTo>
                      <a:pt x="91" y="18"/>
                    </a:lnTo>
                    <a:lnTo>
                      <a:pt x="90" y="16"/>
                    </a:lnTo>
                    <a:lnTo>
                      <a:pt x="88" y="16"/>
                    </a:lnTo>
                    <a:lnTo>
                      <a:pt x="88" y="16"/>
                    </a:lnTo>
                    <a:lnTo>
                      <a:pt x="88" y="12"/>
                    </a:lnTo>
                    <a:lnTo>
                      <a:pt x="88" y="11"/>
                    </a:lnTo>
                    <a:lnTo>
                      <a:pt x="87" y="11"/>
                    </a:lnTo>
                    <a:lnTo>
                      <a:pt x="87" y="9"/>
                    </a:lnTo>
                    <a:lnTo>
                      <a:pt x="87" y="8"/>
                    </a:lnTo>
                    <a:lnTo>
                      <a:pt x="85" y="8"/>
                    </a:lnTo>
                    <a:lnTo>
                      <a:pt x="85" y="8"/>
                    </a:lnTo>
                    <a:lnTo>
                      <a:pt x="85" y="5"/>
                    </a:lnTo>
                    <a:lnTo>
                      <a:pt x="85" y="5"/>
                    </a:lnTo>
                    <a:lnTo>
                      <a:pt x="85" y="3"/>
                    </a:lnTo>
                    <a:lnTo>
                      <a:pt x="84" y="3"/>
                    </a:lnTo>
                    <a:lnTo>
                      <a:pt x="84" y="5"/>
                    </a:lnTo>
                    <a:lnTo>
                      <a:pt x="82" y="5"/>
                    </a:lnTo>
                    <a:lnTo>
                      <a:pt x="81" y="3"/>
                    </a:lnTo>
                    <a:lnTo>
                      <a:pt x="81" y="3"/>
                    </a:lnTo>
                    <a:lnTo>
                      <a:pt x="81" y="5"/>
                    </a:lnTo>
                    <a:lnTo>
                      <a:pt x="81" y="6"/>
                    </a:lnTo>
                    <a:lnTo>
                      <a:pt x="80" y="8"/>
                    </a:lnTo>
                    <a:lnTo>
                      <a:pt x="77" y="8"/>
                    </a:lnTo>
                    <a:lnTo>
                      <a:pt x="77" y="9"/>
                    </a:lnTo>
                    <a:lnTo>
                      <a:pt x="75" y="11"/>
                    </a:lnTo>
                    <a:lnTo>
                      <a:pt x="72" y="9"/>
                    </a:lnTo>
                    <a:lnTo>
                      <a:pt x="69" y="8"/>
                    </a:lnTo>
                    <a:lnTo>
                      <a:pt x="68" y="8"/>
                    </a:lnTo>
                    <a:lnTo>
                      <a:pt x="67" y="8"/>
                    </a:lnTo>
                    <a:lnTo>
                      <a:pt x="65" y="9"/>
                    </a:lnTo>
                    <a:lnTo>
                      <a:pt x="64" y="11"/>
                    </a:lnTo>
                    <a:lnTo>
                      <a:pt x="64" y="12"/>
                    </a:lnTo>
                    <a:lnTo>
                      <a:pt x="62" y="12"/>
                    </a:lnTo>
                    <a:lnTo>
                      <a:pt x="61" y="12"/>
                    </a:lnTo>
                    <a:lnTo>
                      <a:pt x="58" y="8"/>
                    </a:lnTo>
                    <a:lnTo>
                      <a:pt x="56" y="8"/>
                    </a:lnTo>
                    <a:lnTo>
                      <a:pt x="55" y="11"/>
                    </a:lnTo>
                    <a:lnTo>
                      <a:pt x="55" y="11"/>
                    </a:lnTo>
                    <a:lnTo>
                      <a:pt x="53" y="11"/>
                    </a:lnTo>
                    <a:lnTo>
                      <a:pt x="52" y="11"/>
                    </a:lnTo>
                    <a:lnTo>
                      <a:pt x="51" y="9"/>
                    </a:lnTo>
                    <a:lnTo>
                      <a:pt x="51" y="8"/>
                    </a:lnTo>
                    <a:lnTo>
                      <a:pt x="52" y="6"/>
                    </a:lnTo>
                    <a:lnTo>
                      <a:pt x="52" y="6"/>
                    </a:lnTo>
                    <a:lnTo>
                      <a:pt x="53" y="5"/>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35" name="Freeform 969"/>
              <p:cNvSpPr>
                <a:spLocks/>
              </p:cNvSpPr>
              <p:nvPr/>
            </p:nvSpPr>
            <p:spPr bwMode="auto">
              <a:xfrm>
                <a:off x="6214650" y="2680344"/>
                <a:ext cx="51790" cy="124738"/>
              </a:xfrm>
              <a:custGeom>
                <a:avLst/>
                <a:gdLst/>
                <a:ahLst/>
                <a:cxnLst>
                  <a:cxn ang="0">
                    <a:pos x="32" y="120"/>
                  </a:cxn>
                  <a:cxn ang="0">
                    <a:pos x="39" y="112"/>
                  </a:cxn>
                  <a:cxn ang="0">
                    <a:pos x="37" y="104"/>
                  </a:cxn>
                  <a:cxn ang="0">
                    <a:pos x="39" y="98"/>
                  </a:cxn>
                  <a:cxn ang="0">
                    <a:pos x="46" y="92"/>
                  </a:cxn>
                  <a:cxn ang="0">
                    <a:pos x="56" y="83"/>
                  </a:cxn>
                  <a:cxn ang="0">
                    <a:pos x="55" y="72"/>
                  </a:cxn>
                  <a:cxn ang="0">
                    <a:pos x="52" y="72"/>
                  </a:cxn>
                  <a:cxn ang="0">
                    <a:pos x="52" y="70"/>
                  </a:cxn>
                  <a:cxn ang="0">
                    <a:pos x="49" y="66"/>
                  </a:cxn>
                  <a:cxn ang="0">
                    <a:pos x="45" y="66"/>
                  </a:cxn>
                  <a:cxn ang="0">
                    <a:pos x="43" y="64"/>
                  </a:cxn>
                  <a:cxn ang="0">
                    <a:pos x="36" y="61"/>
                  </a:cxn>
                  <a:cxn ang="0">
                    <a:pos x="36" y="56"/>
                  </a:cxn>
                  <a:cxn ang="0">
                    <a:pos x="39" y="53"/>
                  </a:cxn>
                  <a:cxn ang="0">
                    <a:pos x="43" y="51"/>
                  </a:cxn>
                  <a:cxn ang="0">
                    <a:pos x="51" y="45"/>
                  </a:cxn>
                  <a:cxn ang="0">
                    <a:pos x="52" y="31"/>
                  </a:cxn>
                  <a:cxn ang="0">
                    <a:pos x="49" y="27"/>
                  </a:cxn>
                  <a:cxn ang="0">
                    <a:pos x="46" y="25"/>
                  </a:cxn>
                  <a:cxn ang="0">
                    <a:pos x="46" y="18"/>
                  </a:cxn>
                  <a:cxn ang="0">
                    <a:pos x="51" y="15"/>
                  </a:cxn>
                  <a:cxn ang="0">
                    <a:pos x="52" y="5"/>
                  </a:cxn>
                  <a:cxn ang="0">
                    <a:pos x="49" y="8"/>
                  </a:cxn>
                  <a:cxn ang="0">
                    <a:pos x="46" y="9"/>
                  </a:cxn>
                  <a:cxn ang="0">
                    <a:pos x="42" y="9"/>
                  </a:cxn>
                  <a:cxn ang="0">
                    <a:pos x="40" y="3"/>
                  </a:cxn>
                  <a:cxn ang="0">
                    <a:pos x="33" y="0"/>
                  </a:cxn>
                  <a:cxn ang="0">
                    <a:pos x="21" y="5"/>
                  </a:cxn>
                  <a:cxn ang="0">
                    <a:pos x="20" y="6"/>
                  </a:cxn>
                  <a:cxn ang="0">
                    <a:pos x="14" y="14"/>
                  </a:cxn>
                  <a:cxn ang="0">
                    <a:pos x="14" y="15"/>
                  </a:cxn>
                  <a:cxn ang="0">
                    <a:pos x="14" y="35"/>
                  </a:cxn>
                  <a:cxn ang="0">
                    <a:pos x="13" y="48"/>
                  </a:cxn>
                  <a:cxn ang="0">
                    <a:pos x="7" y="54"/>
                  </a:cxn>
                  <a:cxn ang="0">
                    <a:pos x="4" y="57"/>
                  </a:cxn>
                  <a:cxn ang="0">
                    <a:pos x="1" y="59"/>
                  </a:cxn>
                  <a:cxn ang="0">
                    <a:pos x="4" y="70"/>
                  </a:cxn>
                  <a:cxn ang="0">
                    <a:pos x="10" y="75"/>
                  </a:cxn>
                  <a:cxn ang="0">
                    <a:pos x="11" y="85"/>
                  </a:cxn>
                  <a:cxn ang="0">
                    <a:pos x="24" y="91"/>
                  </a:cxn>
                </a:cxnLst>
                <a:rect l="0" t="0" r="r" b="b"/>
                <a:pathLst>
                  <a:path w="56" h="120">
                    <a:moveTo>
                      <a:pt x="29" y="120"/>
                    </a:moveTo>
                    <a:lnTo>
                      <a:pt x="32" y="120"/>
                    </a:lnTo>
                    <a:lnTo>
                      <a:pt x="37" y="115"/>
                    </a:lnTo>
                    <a:lnTo>
                      <a:pt x="39" y="112"/>
                    </a:lnTo>
                    <a:lnTo>
                      <a:pt x="39" y="111"/>
                    </a:lnTo>
                    <a:lnTo>
                      <a:pt x="37" y="104"/>
                    </a:lnTo>
                    <a:lnTo>
                      <a:pt x="39" y="101"/>
                    </a:lnTo>
                    <a:lnTo>
                      <a:pt x="39" y="98"/>
                    </a:lnTo>
                    <a:lnTo>
                      <a:pt x="45" y="95"/>
                    </a:lnTo>
                    <a:lnTo>
                      <a:pt x="46" y="92"/>
                    </a:lnTo>
                    <a:lnTo>
                      <a:pt x="55" y="86"/>
                    </a:lnTo>
                    <a:lnTo>
                      <a:pt x="56" y="83"/>
                    </a:lnTo>
                    <a:lnTo>
                      <a:pt x="56" y="73"/>
                    </a:lnTo>
                    <a:lnTo>
                      <a:pt x="55" y="72"/>
                    </a:lnTo>
                    <a:lnTo>
                      <a:pt x="53" y="72"/>
                    </a:lnTo>
                    <a:lnTo>
                      <a:pt x="52" y="72"/>
                    </a:lnTo>
                    <a:lnTo>
                      <a:pt x="52" y="72"/>
                    </a:lnTo>
                    <a:lnTo>
                      <a:pt x="52" y="70"/>
                    </a:lnTo>
                    <a:lnTo>
                      <a:pt x="49" y="66"/>
                    </a:lnTo>
                    <a:lnTo>
                      <a:pt x="49" y="66"/>
                    </a:lnTo>
                    <a:lnTo>
                      <a:pt x="46" y="67"/>
                    </a:lnTo>
                    <a:lnTo>
                      <a:pt x="45" y="66"/>
                    </a:lnTo>
                    <a:lnTo>
                      <a:pt x="45" y="64"/>
                    </a:lnTo>
                    <a:lnTo>
                      <a:pt x="43" y="64"/>
                    </a:lnTo>
                    <a:lnTo>
                      <a:pt x="42" y="64"/>
                    </a:lnTo>
                    <a:lnTo>
                      <a:pt x="36" y="61"/>
                    </a:lnTo>
                    <a:lnTo>
                      <a:pt x="36" y="59"/>
                    </a:lnTo>
                    <a:lnTo>
                      <a:pt x="36" y="56"/>
                    </a:lnTo>
                    <a:lnTo>
                      <a:pt x="39" y="57"/>
                    </a:lnTo>
                    <a:lnTo>
                      <a:pt x="39" y="53"/>
                    </a:lnTo>
                    <a:lnTo>
                      <a:pt x="42" y="53"/>
                    </a:lnTo>
                    <a:lnTo>
                      <a:pt x="43" y="51"/>
                    </a:lnTo>
                    <a:lnTo>
                      <a:pt x="45" y="50"/>
                    </a:lnTo>
                    <a:lnTo>
                      <a:pt x="51" y="45"/>
                    </a:lnTo>
                    <a:lnTo>
                      <a:pt x="53" y="37"/>
                    </a:lnTo>
                    <a:lnTo>
                      <a:pt x="52" y="31"/>
                    </a:lnTo>
                    <a:lnTo>
                      <a:pt x="51" y="30"/>
                    </a:lnTo>
                    <a:lnTo>
                      <a:pt x="49" y="27"/>
                    </a:lnTo>
                    <a:lnTo>
                      <a:pt x="48" y="27"/>
                    </a:lnTo>
                    <a:lnTo>
                      <a:pt x="46" y="25"/>
                    </a:lnTo>
                    <a:lnTo>
                      <a:pt x="45" y="21"/>
                    </a:lnTo>
                    <a:lnTo>
                      <a:pt x="46" y="18"/>
                    </a:lnTo>
                    <a:lnTo>
                      <a:pt x="48" y="15"/>
                    </a:lnTo>
                    <a:lnTo>
                      <a:pt x="51" y="15"/>
                    </a:lnTo>
                    <a:lnTo>
                      <a:pt x="53" y="8"/>
                    </a:lnTo>
                    <a:lnTo>
                      <a:pt x="52" y="5"/>
                    </a:lnTo>
                    <a:lnTo>
                      <a:pt x="51" y="5"/>
                    </a:lnTo>
                    <a:lnTo>
                      <a:pt x="49" y="8"/>
                    </a:lnTo>
                    <a:lnTo>
                      <a:pt x="48" y="9"/>
                    </a:lnTo>
                    <a:lnTo>
                      <a:pt x="46" y="9"/>
                    </a:lnTo>
                    <a:lnTo>
                      <a:pt x="45" y="11"/>
                    </a:lnTo>
                    <a:lnTo>
                      <a:pt x="42" y="9"/>
                    </a:lnTo>
                    <a:lnTo>
                      <a:pt x="42" y="6"/>
                    </a:lnTo>
                    <a:lnTo>
                      <a:pt x="40" y="3"/>
                    </a:lnTo>
                    <a:lnTo>
                      <a:pt x="40" y="2"/>
                    </a:lnTo>
                    <a:lnTo>
                      <a:pt x="33" y="0"/>
                    </a:lnTo>
                    <a:lnTo>
                      <a:pt x="27" y="2"/>
                    </a:lnTo>
                    <a:lnTo>
                      <a:pt x="21" y="5"/>
                    </a:lnTo>
                    <a:lnTo>
                      <a:pt x="20" y="6"/>
                    </a:lnTo>
                    <a:lnTo>
                      <a:pt x="20" y="6"/>
                    </a:lnTo>
                    <a:lnTo>
                      <a:pt x="19" y="8"/>
                    </a:lnTo>
                    <a:lnTo>
                      <a:pt x="14" y="14"/>
                    </a:lnTo>
                    <a:lnTo>
                      <a:pt x="13" y="15"/>
                    </a:lnTo>
                    <a:lnTo>
                      <a:pt x="14" y="15"/>
                    </a:lnTo>
                    <a:lnTo>
                      <a:pt x="16" y="16"/>
                    </a:lnTo>
                    <a:lnTo>
                      <a:pt x="14" y="35"/>
                    </a:lnTo>
                    <a:lnTo>
                      <a:pt x="16" y="37"/>
                    </a:lnTo>
                    <a:lnTo>
                      <a:pt x="13" y="48"/>
                    </a:lnTo>
                    <a:lnTo>
                      <a:pt x="8" y="51"/>
                    </a:lnTo>
                    <a:lnTo>
                      <a:pt x="7" y="54"/>
                    </a:lnTo>
                    <a:lnTo>
                      <a:pt x="6" y="56"/>
                    </a:lnTo>
                    <a:lnTo>
                      <a:pt x="4" y="57"/>
                    </a:lnTo>
                    <a:lnTo>
                      <a:pt x="3" y="57"/>
                    </a:lnTo>
                    <a:lnTo>
                      <a:pt x="1" y="59"/>
                    </a:lnTo>
                    <a:lnTo>
                      <a:pt x="0" y="59"/>
                    </a:lnTo>
                    <a:lnTo>
                      <a:pt x="4" y="70"/>
                    </a:lnTo>
                    <a:lnTo>
                      <a:pt x="8" y="73"/>
                    </a:lnTo>
                    <a:lnTo>
                      <a:pt x="10" y="75"/>
                    </a:lnTo>
                    <a:lnTo>
                      <a:pt x="11" y="79"/>
                    </a:lnTo>
                    <a:lnTo>
                      <a:pt x="11" y="85"/>
                    </a:lnTo>
                    <a:lnTo>
                      <a:pt x="23" y="91"/>
                    </a:lnTo>
                    <a:lnTo>
                      <a:pt x="24" y="91"/>
                    </a:lnTo>
                    <a:lnTo>
                      <a:pt x="29" y="12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36" name="Freeform 970"/>
              <p:cNvSpPr>
                <a:spLocks/>
              </p:cNvSpPr>
              <p:nvPr/>
            </p:nvSpPr>
            <p:spPr bwMode="auto">
              <a:xfrm>
                <a:off x="6214650" y="2680344"/>
                <a:ext cx="51790" cy="124738"/>
              </a:xfrm>
              <a:custGeom>
                <a:avLst/>
                <a:gdLst/>
                <a:ahLst/>
                <a:cxnLst>
                  <a:cxn ang="0">
                    <a:pos x="32" y="120"/>
                  </a:cxn>
                  <a:cxn ang="0">
                    <a:pos x="39" y="112"/>
                  </a:cxn>
                  <a:cxn ang="0">
                    <a:pos x="37" y="104"/>
                  </a:cxn>
                  <a:cxn ang="0">
                    <a:pos x="39" y="98"/>
                  </a:cxn>
                  <a:cxn ang="0">
                    <a:pos x="46" y="92"/>
                  </a:cxn>
                  <a:cxn ang="0">
                    <a:pos x="56" y="83"/>
                  </a:cxn>
                  <a:cxn ang="0">
                    <a:pos x="55" y="72"/>
                  </a:cxn>
                  <a:cxn ang="0">
                    <a:pos x="52" y="72"/>
                  </a:cxn>
                  <a:cxn ang="0">
                    <a:pos x="52" y="70"/>
                  </a:cxn>
                  <a:cxn ang="0">
                    <a:pos x="49" y="66"/>
                  </a:cxn>
                  <a:cxn ang="0">
                    <a:pos x="45" y="66"/>
                  </a:cxn>
                  <a:cxn ang="0">
                    <a:pos x="43" y="64"/>
                  </a:cxn>
                  <a:cxn ang="0">
                    <a:pos x="36" y="61"/>
                  </a:cxn>
                  <a:cxn ang="0">
                    <a:pos x="36" y="56"/>
                  </a:cxn>
                  <a:cxn ang="0">
                    <a:pos x="39" y="53"/>
                  </a:cxn>
                  <a:cxn ang="0">
                    <a:pos x="43" y="51"/>
                  </a:cxn>
                  <a:cxn ang="0">
                    <a:pos x="51" y="45"/>
                  </a:cxn>
                  <a:cxn ang="0">
                    <a:pos x="52" y="31"/>
                  </a:cxn>
                  <a:cxn ang="0">
                    <a:pos x="49" y="27"/>
                  </a:cxn>
                  <a:cxn ang="0">
                    <a:pos x="46" y="25"/>
                  </a:cxn>
                  <a:cxn ang="0">
                    <a:pos x="46" y="18"/>
                  </a:cxn>
                  <a:cxn ang="0">
                    <a:pos x="51" y="15"/>
                  </a:cxn>
                  <a:cxn ang="0">
                    <a:pos x="52" y="5"/>
                  </a:cxn>
                  <a:cxn ang="0">
                    <a:pos x="49" y="8"/>
                  </a:cxn>
                  <a:cxn ang="0">
                    <a:pos x="46" y="9"/>
                  </a:cxn>
                  <a:cxn ang="0">
                    <a:pos x="42" y="9"/>
                  </a:cxn>
                  <a:cxn ang="0">
                    <a:pos x="40" y="3"/>
                  </a:cxn>
                  <a:cxn ang="0">
                    <a:pos x="33" y="0"/>
                  </a:cxn>
                  <a:cxn ang="0">
                    <a:pos x="21" y="5"/>
                  </a:cxn>
                  <a:cxn ang="0">
                    <a:pos x="20" y="6"/>
                  </a:cxn>
                  <a:cxn ang="0">
                    <a:pos x="14" y="14"/>
                  </a:cxn>
                  <a:cxn ang="0">
                    <a:pos x="14" y="15"/>
                  </a:cxn>
                  <a:cxn ang="0">
                    <a:pos x="14" y="35"/>
                  </a:cxn>
                  <a:cxn ang="0">
                    <a:pos x="13" y="48"/>
                  </a:cxn>
                  <a:cxn ang="0">
                    <a:pos x="7" y="54"/>
                  </a:cxn>
                  <a:cxn ang="0">
                    <a:pos x="4" y="57"/>
                  </a:cxn>
                  <a:cxn ang="0">
                    <a:pos x="1" y="59"/>
                  </a:cxn>
                  <a:cxn ang="0">
                    <a:pos x="4" y="70"/>
                  </a:cxn>
                  <a:cxn ang="0">
                    <a:pos x="10" y="75"/>
                  </a:cxn>
                  <a:cxn ang="0">
                    <a:pos x="11" y="85"/>
                  </a:cxn>
                  <a:cxn ang="0">
                    <a:pos x="24" y="91"/>
                  </a:cxn>
                </a:cxnLst>
                <a:rect l="0" t="0" r="r" b="b"/>
                <a:pathLst>
                  <a:path w="56" h="120">
                    <a:moveTo>
                      <a:pt x="29" y="120"/>
                    </a:moveTo>
                    <a:lnTo>
                      <a:pt x="32" y="120"/>
                    </a:lnTo>
                    <a:lnTo>
                      <a:pt x="37" y="115"/>
                    </a:lnTo>
                    <a:lnTo>
                      <a:pt x="39" y="112"/>
                    </a:lnTo>
                    <a:lnTo>
                      <a:pt x="39" y="111"/>
                    </a:lnTo>
                    <a:lnTo>
                      <a:pt x="37" y="104"/>
                    </a:lnTo>
                    <a:lnTo>
                      <a:pt x="39" y="101"/>
                    </a:lnTo>
                    <a:lnTo>
                      <a:pt x="39" y="98"/>
                    </a:lnTo>
                    <a:lnTo>
                      <a:pt x="45" y="95"/>
                    </a:lnTo>
                    <a:lnTo>
                      <a:pt x="46" y="92"/>
                    </a:lnTo>
                    <a:lnTo>
                      <a:pt x="55" y="86"/>
                    </a:lnTo>
                    <a:lnTo>
                      <a:pt x="56" y="83"/>
                    </a:lnTo>
                    <a:lnTo>
                      <a:pt x="56" y="73"/>
                    </a:lnTo>
                    <a:lnTo>
                      <a:pt x="55" y="72"/>
                    </a:lnTo>
                    <a:lnTo>
                      <a:pt x="53" y="72"/>
                    </a:lnTo>
                    <a:lnTo>
                      <a:pt x="52" y="72"/>
                    </a:lnTo>
                    <a:lnTo>
                      <a:pt x="52" y="72"/>
                    </a:lnTo>
                    <a:lnTo>
                      <a:pt x="52" y="70"/>
                    </a:lnTo>
                    <a:lnTo>
                      <a:pt x="49" y="66"/>
                    </a:lnTo>
                    <a:lnTo>
                      <a:pt x="49" y="66"/>
                    </a:lnTo>
                    <a:lnTo>
                      <a:pt x="46" y="67"/>
                    </a:lnTo>
                    <a:lnTo>
                      <a:pt x="45" y="66"/>
                    </a:lnTo>
                    <a:lnTo>
                      <a:pt x="45" y="64"/>
                    </a:lnTo>
                    <a:lnTo>
                      <a:pt x="43" y="64"/>
                    </a:lnTo>
                    <a:lnTo>
                      <a:pt x="42" y="64"/>
                    </a:lnTo>
                    <a:lnTo>
                      <a:pt x="36" y="61"/>
                    </a:lnTo>
                    <a:lnTo>
                      <a:pt x="36" y="59"/>
                    </a:lnTo>
                    <a:lnTo>
                      <a:pt x="36" y="56"/>
                    </a:lnTo>
                    <a:lnTo>
                      <a:pt x="39" y="57"/>
                    </a:lnTo>
                    <a:lnTo>
                      <a:pt x="39" y="53"/>
                    </a:lnTo>
                    <a:lnTo>
                      <a:pt x="42" y="53"/>
                    </a:lnTo>
                    <a:lnTo>
                      <a:pt x="43" y="51"/>
                    </a:lnTo>
                    <a:lnTo>
                      <a:pt x="45" y="50"/>
                    </a:lnTo>
                    <a:lnTo>
                      <a:pt x="51" y="45"/>
                    </a:lnTo>
                    <a:lnTo>
                      <a:pt x="53" y="37"/>
                    </a:lnTo>
                    <a:lnTo>
                      <a:pt x="52" y="31"/>
                    </a:lnTo>
                    <a:lnTo>
                      <a:pt x="51" y="30"/>
                    </a:lnTo>
                    <a:lnTo>
                      <a:pt x="49" y="27"/>
                    </a:lnTo>
                    <a:lnTo>
                      <a:pt x="48" y="27"/>
                    </a:lnTo>
                    <a:lnTo>
                      <a:pt x="46" y="25"/>
                    </a:lnTo>
                    <a:lnTo>
                      <a:pt x="45" y="21"/>
                    </a:lnTo>
                    <a:lnTo>
                      <a:pt x="46" y="18"/>
                    </a:lnTo>
                    <a:lnTo>
                      <a:pt x="48" y="15"/>
                    </a:lnTo>
                    <a:lnTo>
                      <a:pt x="51" y="15"/>
                    </a:lnTo>
                    <a:lnTo>
                      <a:pt x="53" y="8"/>
                    </a:lnTo>
                    <a:lnTo>
                      <a:pt x="52" y="5"/>
                    </a:lnTo>
                    <a:lnTo>
                      <a:pt x="51" y="5"/>
                    </a:lnTo>
                    <a:lnTo>
                      <a:pt x="49" y="8"/>
                    </a:lnTo>
                    <a:lnTo>
                      <a:pt x="48" y="9"/>
                    </a:lnTo>
                    <a:lnTo>
                      <a:pt x="46" y="9"/>
                    </a:lnTo>
                    <a:lnTo>
                      <a:pt x="45" y="11"/>
                    </a:lnTo>
                    <a:lnTo>
                      <a:pt x="42" y="9"/>
                    </a:lnTo>
                    <a:lnTo>
                      <a:pt x="42" y="6"/>
                    </a:lnTo>
                    <a:lnTo>
                      <a:pt x="40" y="3"/>
                    </a:lnTo>
                    <a:lnTo>
                      <a:pt x="40" y="2"/>
                    </a:lnTo>
                    <a:lnTo>
                      <a:pt x="33" y="0"/>
                    </a:lnTo>
                    <a:lnTo>
                      <a:pt x="27" y="2"/>
                    </a:lnTo>
                    <a:lnTo>
                      <a:pt x="21" y="5"/>
                    </a:lnTo>
                    <a:lnTo>
                      <a:pt x="20" y="6"/>
                    </a:lnTo>
                    <a:lnTo>
                      <a:pt x="20" y="6"/>
                    </a:lnTo>
                    <a:lnTo>
                      <a:pt x="19" y="8"/>
                    </a:lnTo>
                    <a:lnTo>
                      <a:pt x="14" y="14"/>
                    </a:lnTo>
                    <a:lnTo>
                      <a:pt x="13" y="15"/>
                    </a:lnTo>
                    <a:lnTo>
                      <a:pt x="14" y="15"/>
                    </a:lnTo>
                    <a:lnTo>
                      <a:pt x="16" y="16"/>
                    </a:lnTo>
                    <a:lnTo>
                      <a:pt x="14" y="35"/>
                    </a:lnTo>
                    <a:lnTo>
                      <a:pt x="16" y="37"/>
                    </a:lnTo>
                    <a:lnTo>
                      <a:pt x="13" y="48"/>
                    </a:lnTo>
                    <a:lnTo>
                      <a:pt x="8" y="51"/>
                    </a:lnTo>
                    <a:lnTo>
                      <a:pt x="7" y="54"/>
                    </a:lnTo>
                    <a:lnTo>
                      <a:pt x="6" y="56"/>
                    </a:lnTo>
                    <a:lnTo>
                      <a:pt x="4" y="57"/>
                    </a:lnTo>
                    <a:lnTo>
                      <a:pt x="3" y="57"/>
                    </a:lnTo>
                    <a:lnTo>
                      <a:pt x="1" y="59"/>
                    </a:lnTo>
                    <a:lnTo>
                      <a:pt x="0" y="59"/>
                    </a:lnTo>
                    <a:lnTo>
                      <a:pt x="4" y="70"/>
                    </a:lnTo>
                    <a:lnTo>
                      <a:pt x="8" y="73"/>
                    </a:lnTo>
                    <a:lnTo>
                      <a:pt x="10" y="75"/>
                    </a:lnTo>
                    <a:lnTo>
                      <a:pt x="11" y="79"/>
                    </a:lnTo>
                    <a:lnTo>
                      <a:pt x="11" y="85"/>
                    </a:lnTo>
                    <a:lnTo>
                      <a:pt x="23" y="91"/>
                    </a:lnTo>
                    <a:lnTo>
                      <a:pt x="24" y="91"/>
                    </a:lnTo>
                    <a:lnTo>
                      <a:pt x="29" y="12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37" name="Freeform 971"/>
              <p:cNvSpPr>
                <a:spLocks/>
              </p:cNvSpPr>
              <p:nvPr/>
            </p:nvSpPr>
            <p:spPr bwMode="auto">
              <a:xfrm>
                <a:off x="6307697" y="3110336"/>
                <a:ext cx="170293" cy="122710"/>
              </a:xfrm>
              <a:custGeom>
                <a:avLst/>
                <a:gdLst/>
                <a:ahLst/>
                <a:cxnLst>
                  <a:cxn ang="0">
                    <a:pos x="106" y="3"/>
                  </a:cxn>
                  <a:cxn ang="0">
                    <a:pos x="103" y="7"/>
                  </a:cxn>
                  <a:cxn ang="0">
                    <a:pos x="102" y="12"/>
                  </a:cxn>
                  <a:cxn ang="0">
                    <a:pos x="99" y="15"/>
                  </a:cxn>
                  <a:cxn ang="0">
                    <a:pos x="95" y="19"/>
                  </a:cxn>
                  <a:cxn ang="0">
                    <a:pos x="92" y="23"/>
                  </a:cxn>
                  <a:cxn ang="0">
                    <a:pos x="86" y="26"/>
                  </a:cxn>
                  <a:cxn ang="0">
                    <a:pos x="82" y="28"/>
                  </a:cxn>
                  <a:cxn ang="0">
                    <a:pos x="76" y="29"/>
                  </a:cxn>
                  <a:cxn ang="0">
                    <a:pos x="64" y="31"/>
                  </a:cxn>
                  <a:cxn ang="0">
                    <a:pos x="64" y="32"/>
                  </a:cxn>
                  <a:cxn ang="0">
                    <a:pos x="66" y="36"/>
                  </a:cxn>
                  <a:cxn ang="0">
                    <a:pos x="64" y="38"/>
                  </a:cxn>
                  <a:cxn ang="0">
                    <a:pos x="63" y="41"/>
                  </a:cxn>
                  <a:cxn ang="0">
                    <a:pos x="60" y="42"/>
                  </a:cxn>
                  <a:cxn ang="0">
                    <a:pos x="60" y="44"/>
                  </a:cxn>
                  <a:cxn ang="0">
                    <a:pos x="51" y="45"/>
                  </a:cxn>
                  <a:cxn ang="0">
                    <a:pos x="41" y="47"/>
                  </a:cxn>
                  <a:cxn ang="0">
                    <a:pos x="37" y="50"/>
                  </a:cxn>
                  <a:cxn ang="0">
                    <a:pos x="35" y="51"/>
                  </a:cxn>
                  <a:cxn ang="0">
                    <a:pos x="32" y="48"/>
                  </a:cxn>
                  <a:cxn ang="0">
                    <a:pos x="31" y="47"/>
                  </a:cxn>
                  <a:cxn ang="0">
                    <a:pos x="29" y="47"/>
                  </a:cxn>
                  <a:cxn ang="0">
                    <a:pos x="28" y="50"/>
                  </a:cxn>
                  <a:cxn ang="0">
                    <a:pos x="22" y="51"/>
                  </a:cxn>
                  <a:cxn ang="0">
                    <a:pos x="19" y="51"/>
                  </a:cxn>
                  <a:cxn ang="0">
                    <a:pos x="13" y="52"/>
                  </a:cxn>
                  <a:cxn ang="0">
                    <a:pos x="0" y="77"/>
                  </a:cxn>
                  <a:cxn ang="0">
                    <a:pos x="2" y="90"/>
                  </a:cxn>
                  <a:cxn ang="0">
                    <a:pos x="21" y="118"/>
                  </a:cxn>
                  <a:cxn ang="0">
                    <a:pos x="25" y="113"/>
                  </a:cxn>
                  <a:cxn ang="0">
                    <a:pos x="41" y="105"/>
                  </a:cxn>
                  <a:cxn ang="0">
                    <a:pos x="58" y="106"/>
                  </a:cxn>
                  <a:cxn ang="0">
                    <a:pos x="63" y="105"/>
                  </a:cxn>
                  <a:cxn ang="0">
                    <a:pos x="63" y="95"/>
                  </a:cxn>
                  <a:cxn ang="0">
                    <a:pos x="67" y="89"/>
                  </a:cxn>
                  <a:cxn ang="0">
                    <a:pos x="79" y="84"/>
                  </a:cxn>
                  <a:cxn ang="0">
                    <a:pos x="82" y="90"/>
                  </a:cxn>
                  <a:cxn ang="0">
                    <a:pos x="89" y="95"/>
                  </a:cxn>
                  <a:cxn ang="0">
                    <a:pos x="95" y="95"/>
                  </a:cxn>
                  <a:cxn ang="0">
                    <a:pos x="114" y="96"/>
                  </a:cxn>
                  <a:cxn ang="0">
                    <a:pos x="116" y="92"/>
                  </a:cxn>
                  <a:cxn ang="0">
                    <a:pos x="125" y="90"/>
                  </a:cxn>
                  <a:cxn ang="0">
                    <a:pos x="144" y="86"/>
                  </a:cxn>
                  <a:cxn ang="0">
                    <a:pos x="146" y="87"/>
                  </a:cxn>
                  <a:cxn ang="0">
                    <a:pos x="148" y="87"/>
                  </a:cxn>
                  <a:cxn ang="0">
                    <a:pos x="153" y="87"/>
                  </a:cxn>
                  <a:cxn ang="0">
                    <a:pos x="159" y="84"/>
                  </a:cxn>
                  <a:cxn ang="0">
                    <a:pos x="173" y="87"/>
                  </a:cxn>
                  <a:cxn ang="0">
                    <a:pos x="177" y="87"/>
                  </a:cxn>
                  <a:cxn ang="0">
                    <a:pos x="186" y="84"/>
                  </a:cxn>
                  <a:cxn ang="0">
                    <a:pos x="185" y="80"/>
                  </a:cxn>
                  <a:cxn ang="0">
                    <a:pos x="176" y="73"/>
                  </a:cxn>
                  <a:cxn ang="0">
                    <a:pos x="173" y="68"/>
                  </a:cxn>
                  <a:cxn ang="0">
                    <a:pos x="169" y="61"/>
                  </a:cxn>
                  <a:cxn ang="0">
                    <a:pos x="163" y="57"/>
                  </a:cxn>
                  <a:cxn ang="0">
                    <a:pos x="153" y="47"/>
                  </a:cxn>
                  <a:cxn ang="0">
                    <a:pos x="153" y="44"/>
                  </a:cxn>
                  <a:cxn ang="0">
                    <a:pos x="143" y="39"/>
                  </a:cxn>
                  <a:cxn ang="0">
                    <a:pos x="138" y="35"/>
                  </a:cxn>
                  <a:cxn ang="0">
                    <a:pos x="128" y="31"/>
                  </a:cxn>
                  <a:cxn ang="0">
                    <a:pos x="130" y="19"/>
                  </a:cxn>
                  <a:cxn ang="0">
                    <a:pos x="118" y="0"/>
                  </a:cxn>
                </a:cxnLst>
                <a:rect l="0" t="0" r="r" b="b"/>
                <a:pathLst>
                  <a:path w="186" h="118">
                    <a:moveTo>
                      <a:pt x="118" y="0"/>
                    </a:moveTo>
                    <a:lnTo>
                      <a:pt x="106" y="3"/>
                    </a:lnTo>
                    <a:lnTo>
                      <a:pt x="105" y="4"/>
                    </a:lnTo>
                    <a:lnTo>
                      <a:pt x="103" y="7"/>
                    </a:lnTo>
                    <a:lnTo>
                      <a:pt x="103" y="12"/>
                    </a:lnTo>
                    <a:lnTo>
                      <a:pt x="102" y="12"/>
                    </a:lnTo>
                    <a:lnTo>
                      <a:pt x="101" y="15"/>
                    </a:lnTo>
                    <a:lnTo>
                      <a:pt x="99" y="15"/>
                    </a:lnTo>
                    <a:lnTo>
                      <a:pt x="99" y="16"/>
                    </a:lnTo>
                    <a:lnTo>
                      <a:pt x="95" y="19"/>
                    </a:lnTo>
                    <a:lnTo>
                      <a:pt x="93" y="22"/>
                    </a:lnTo>
                    <a:lnTo>
                      <a:pt x="92" y="23"/>
                    </a:lnTo>
                    <a:lnTo>
                      <a:pt x="87" y="25"/>
                    </a:lnTo>
                    <a:lnTo>
                      <a:pt x="86" y="26"/>
                    </a:lnTo>
                    <a:lnTo>
                      <a:pt x="83" y="28"/>
                    </a:lnTo>
                    <a:lnTo>
                      <a:pt x="82" y="28"/>
                    </a:lnTo>
                    <a:lnTo>
                      <a:pt x="76" y="29"/>
                    </a:lnTo>
                    <a:lnTo>
                      <a:pt x="76" y="29"/>
                    </a:lnTo>
                    <a:lnTo>
                      <a:pt x="67" y="29"/>
                    </a:lnTo>
                    <a:lnTo>
                      <a:pt x="64" y="31"/>
                    </a:lnTo>
                    <a:lnTo>
                      <a:pt x="64" y="32"/>
                    </a:lnTo>
                    <a:lnTo>
                      <a:pt x="64" y="32"/>
                    </a:lnTo>
                    <a:lnTo>
                      <a:pt x="66" y="34"/>
                    </a:lnTo>
                    <a:lnTo>
                      <a:pt x="66" y="36"/>
                    </a:lnTo>
                    <a:lnTo>
                      <a:pt x="66" y="36"/>
                    </a:lnTo>
                    <a:lnTo>
                      <a:pt x="64" y="38"/>
                    </a:lnTo>
                    <a:lnTo>
                      <a:pt x="63" y="39"/>
                    </a:lnTo>
                    <a:lnTo>
                      <a:pt x="63" y="41"/>
                    </a:lnTo>
                    <a:lnTo>
                      <a:pt x="61" y="41"/>
                    </a:lnTo>
                    <a:lnTo>
                      <a:pt x="60" y="42"/>
                    </a:lnTo>
                    <a:lnTo>
                      <a:pt x="60" y="44"/>
                    </a:lnTo>
                    <a:lnTo>
                      <a:pt x="60" y="44"/>
                    </a:lnTo>
                    <a:lnTo>
                      <a:pt x="54" y="44"/>
                    </a:lnTo>
                    <a:lnTo>
                      <a:pt x="51" y="45"/>
                    </a:lnTo>
                    <a:lnTo>
                      <a:pt x="48" y="44"/>
                    </a:lnTo>
                    <a:lnTo>
                      <a:pt x="41" y="47"/>
                    </a:lnTo>
                    <a:lnTo>
                      <a:pt x="40" y="48"/>
                    </a:lnTo>
                    <a:lnTo>
                      <a:pt x="37" y="50"/>
                    </a:lnTo>
                    <a:lnTo>
                      <a:pt x="35" y="50"/>
                    </a:lnTo>
                    <a:lnTo>
                      <a:pt x="35" y="51"/>
                    </a:lnTo>
                    <a:lnTo>
                      <a:pt x="32" y="48"/>
                    </a:lnTo>
                    <a:lnTo>
                      <a:pt x="32" y="48"/>
                    </a:lnTo>
                    <a:lnTo>
                      <a:pt x="31" y="47"/>
                    </a:lnTo>
                    <a:lnTo>
                      <a:pt x="31" y="47"/>
                    </a:lnTo>
                    <a:lnTo>
                      <a:pt x="29" y="47"/>
                    </a:lnTo>
                    <a:lnTo>
                      <a:pt x="29" y="47"/>
                    </a:lnTo>
                    <a:lnTo>
                      <a:pt x="28" y="47"/>
                    </a:lnTo>
                    <a:lnTo>
                      <a:pt x="28" y="50"/>
                    </a:lnTo>
                    <a:lnTo>
                      <a:pt x="24" y="50"/>
                    </a:lnTo>
                    <a:lnTo>
                      <a:pt x="22" y="51"/>
                    </a:lnTo>
                    <a:lnTo>
                      <a:pt x="21" y="52"/>
                    </a:lnTo>
                    <a:lnTo>
                      <a:pt x="19" y="51"/>
                    </a:lnTo>
                    <a:lnTo>
                      <a:pt x="13" y="52"/>
                    </a:lnTo>
                    <a:lnTo>
                      <a:pt x="13" y="52"/>
                    </a:lnTo>
                    <a:lnTo>
                      <a:pt x="0" y="74"/>
                    </a:lnTo>
                    <a:lnTo>
                      <a:pt x="0" y="77"/>
                    </a:lnTo>
                    <a:lnTo>
                      <a:pt x="2" y="82"/>
                    </a:lnTo>
                    <a:lnTo>
                      <a:pt x="2" y="90"/>
                    </a:lnTo>
                    <a:lnTo>
                      <a:pt x="15" y="112"/>
                    </a:lnTo>
                    <a:lnTo>
                      <a:pt x="21" y="118"/>
                    </a:lnTo>
                    <a:lnTo>
                      <a:pt x="24" y="118"/>
                    </a:lnTo>
                    <a:lnTo>
                      <a:pt x="25" y="113"/>
                    </a:lnTo>
                    <a:lnTo>
                      <a:pt x="37" y="106"/>
                    </a:lnTo>
                    <a:lnTo>
                      <a:pt x="41" y="105"/>
                    </a:lnTo>
                    <a:lnTo>
                      <a:pt x="50" y="109"/>
                    </a:lnTo>
                    <a:lnTo>
                      <a:pt x="58" y="106"/>
                    </a:lnTo>
                    <a:lnTo>
                      <a:pt x="60" y="105"/>
                    </a:lnTo>
                    <a:lnTo>
                      <a:pt x="63" y="105"/>
                    </a:lnTo>
                    <a:lnTo>
                      <a:pt x="61" y="103"/>
                    </a:lnTo>
                    <a:lnTo>
                      <a:pt x="63" y="95"/>
                    </a:lnTo>
                    <a:lnTo>
                      <a:pt x="66" y="93"/>
                    </a:lnTo>
                    <a:lnTo>
                      <a:pt x="67" y="89"/>
                    </a:lnTo>
                    <a:lnTo>
                      <a:pt x="71" y="84"/>
                    </a:lnTo>
                    <a:lnTo>
                      <a:pt x="79" y="84"/>
                    </a:lnTo>
                    <a:lnTo>
                      <a:pt x="82" y="87"/>
                    </a:lnTo>
                    <a:lnTo>
                      <a:pt x="82" y="90"/>
                    </a:lnTo>
                    <a:lnTo>
                      <a:pt x="87" y="95"/>
                    </a:lnTo>
                    <a:lnTo>
                      <a:pt x="89" y="95"/>
                    </a:lnTo>
                    <a:lnTo>
                      <a:pt x="92" y="93"/>
                    </a:lnTo>
                    <a:lnTo>
                      <a:pt x="95" y="95"/>
                    </a:lnTo>
                    <a:lnTo>
                      <a:pt x="101" y="96"/>
                    </a:lnTo>
                    <a:lnTo>
                      <a:pt x="114" y="96"/>
                    </a:lnTo>
                    <a:lnTo>
                      <a:pt x="116" y="96"/>
                    </a:lnTo>
                    <a:lnTo>
                      <a:pt x="116" y="92"/>
                    </a:lnTo>
                    <a:lnTo>
                      <a:pt x="119" y="89"/>
                    </a:lnTo>
                    <a:lnTo>
                      <a:pt x="125" y="90"/>
                    </a:lnTo>
                    <a:lnTo>
                      <a:pt x="127" y="92"/>
                    </a:lnTo>
                    <a:lnTo>
                      <a:pt x="144" y="86"/>
                    </a:lnTo>
                    <a:lnTo>
                      <a:pt x="146" y="86"/>
                    </a:lnTo>
                    <a:lnTo>
                      <a:pt x="146" y="87"/>
                    </a:lnTo>
                    <a:lnTo>
                      <a:pt x="146" y="87"/>
                    </a:lnTo>
                    <a:lnTo>
                      <a:pt x="148" y="87"/>
                    </a:lnTo>
                    <a:lnTo>
                      <a:pt x="150" y="87"/>
                    </a:lnTo>
                    <a:lnTo>
                      <a:pt x="153" y="87"/>
                    </a:lnTo>
                    <a:lnTo>
                      <a:pt x="154" y="84"/>
                    </a:lnTo>
                    <a:lnTo>
                      <a:pt x="159" y="84"/>
                    </a:lnTo>
                    <a:lnTo>
                      <a:pt x="169" y="83"/>
                    </a:lnTo>
                    <a:lnTo>
                      <a:pt x="173" y="87"/>
                    </a:lnTo>
                    <a:lnTo>
                      <a:pt x="175" y="84"/>
                    </a:lnTo>
                    <a:lnTo>
                      <a:pt x="177" y="87"/>
                    </a:lnTo>
                    <a:lnTo>
                      <a:pt x="179" y="84"/>
                    </a:lnTo>
                    <a:lnTo>
                      <a:pt x="186" y="84"/>
                    </a:lnTo>
                    <a:lnTo>
                      <a:pt x="185" y="83"/>
                    </a:lnTo>
                    <a:lnTo>
                      <a:pt x="185" y="80"/>
                    </a:lnTo>
                    <a:lnTo>
                      <a:pt x="183" y="77"/>
                    </a:lnTo>
                    <a:lnTo>
                      <a:pt x="176" y="73"/>
                    </a:lnTo>
                    <a:lnTo>
                      <a:pt x="173" y="71"/>
                    </a:lnTo>
                    <a:lnTo>
                      <a:pt x="173" y="68"/>
                    </a:lnTo>
                    <a:lnTo>
                      <a:pt x="170" y="66"/>
                    </a:lnTo>
                    <a:lnTo>
                      <a:pt x="169" y="61"/>
                    </a:lnTo>
                    <a:lnTo>
                      <a:pt x="166" y="60"/>
                    </a:lnTo>
                    <a:lnTo>
                      <a:pt x="163" y="57"/>
                    </a:lnTo>
                    <a:lnTo>
                      <a:pt x="154" y="50"/>
                    </a:lnTo>
                    <a:lnTo>
                      <a:pt x="153" y="47"/>
                    </a:lnTo>
                    <a:lnTo>
                      <a:pt x="153" y="45"/>
                    </a:lnTo>
                    <a:lnTo>
                      <a:pt x="153" y="44"/>
                    </a:lnTo>
                    <a:lnTo>
                      <a:pt x="148" y="41"/>
                    </a:lnTo>
                    <a:lnTo>
                      <a:pt x="143" y="39"/>
                    </a:lnTo>
                    <a:lnTo>
                      <a:pt x="140" y="38"/>
                    </a:lnTo>
                    <a:lnTo>
                      <a:pt x="138" y="35"/>
                    </a:lnTo>
                    <a:lnTo>
                      <a:pt x="131" y="34"/>
                    </a:lnTo>
                    <a:lnTo>
                      <a:pt x="128" y="31"/>
                    </a:lnTo>
                    <a:lnTo>
                      <a:pt x="128" y="28"/>
                    </a:lnTo>
                    <a:lnTo>
                      <a:pt x="130" y="19"/>
                    </a:lnTo>
                    <a:lnTo>
                      <a:pt x="130" y="15"/>
                    </a:lnTo>
                    <a:lnTo>
                      <a:pt x="118"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38" name="Freeform 972"/>
              <p:cNvSpPr>
                <a:spLocks/>
              </p:cNvSpPr>
              <p:nvPr/>
            </p:nvSpPr>
            <p:spPr bwMode="auto">
              <a:xfrm>
                <a:off x="6307697" y="3110336"/>
                <a:ext cx="170293" cy="122710"/>
              </a:xfrm>
              <a:custGeom>
                <a:avLst/>
                <a:gdLst/>
                <a:ahLst/>
                <a:cxnLst>
                  <a:cxn ang="0">
                    <a:pos x="106" y="3"/>
                  </a:cxn>
                  <a:cxn ang="0">
                    <a:pos x="103" y="7"/>
                  </a:cxn>
                  <a:cxn ang="0">
                    <a:pos x="102" y="12"/>
                  </a:cxn>
                  <a:cxn ang="0">
                    <a:pos x="99" y="15"/>
                  </a:cxn>
                  <a:cxn ang="0">
                    <a:pos x="95" y="19"/>
                  </a:cxn>
                  <a:cxn ang="0">
                    <a:pos x="92" y="23"/>
                  </a:cxn>
                  <a:cxn ang="0">
                    <a:pos x="86" y="26"/>
                  </a:cxn>
                  <a:cxn ang="0">
                    <a:pos x="82" y="28"/>
                  </a:cxn>
                  <a:cxn ang="0">
                    <a:pos x="76" y="29"/>
                  </a:cxn>
                  <a:cxn ang="0">
                    <a:pos x="64" y="31"/>
                  </a:cxn>
                  <a:cxn ang="0">
                    <a:pos x="64" y="32"/>
                  </a:cxn>
                  <a:cxn ang="0">
                    <a:pos x="66" y="36"/>
                  </a:cxn>
                  <a:cxn ang="0">
                    <a:pos x="64" y="38"/>
                  </a:cxn>
                  <a:cxn ang="0">
                    <a:pos x="63" y="41"/>
                  </a:cxn>
                  <a:cxn ang="0">
                    <a:pos x="60" y="42"/>
                  </a:cxn>
                  <a:cxn ang="0">
                    <a:pos x="60" y="44"/>
                  </a:cxn>
                  <a:cxn ang="0">
                    <a:pos x="51" y="45"/>
                  </a:cxn>
                  <a:cxn ang="0">
                    <a:pos x="41" y="47"/>
                  </a:cxn>
                  <a:cxn ang="0">
                    <a:pos x="37" y="50"/>
                  </a:cxn>
                  <a:cxn ang="0">
                    <a:pos x="35" y="51"/>
                  </a:cxn>
                  <a:cxn ang="0">
                    <a:pos x="32" y="48"/>
                  </a:cxn>
                  <a:cxn ang="0">
                    <a:pos x="31" y="47"/>
                  </a:cxn>
                  <a:cxn ang="0">
                    <a:pos x="29" y="47"/>
                  </a:cxn>
                  <a:cxn ang="0">
                    <a:pos x="28" y="50"/>
                  </a:cxn>
                  <a:cxn ang="0">
                    <a:pos x="22" y="51"/>
                  </a:cxn>
                  <a:cxn ang="0">
                    <a:pos x="19" y="51"/>
                  </a:cxn>
                  <a:cxn ang="0">
                    <a:pos x="13" y="52"/>
                  </a:cxn>
                  <a:cxn ang="0">
                    <a:pos x="0" y="77"/>
                  </a:cxn>
                  <a:cxn ang="0">
                    <a:pos x="2" y="90"/>
                  </a:cxn>
                  <a:cxn ang="0">
                    <a:pos x="21" y="118"/>
                  </a:cxn>
                  <a:cxn ang="0">
                    <a:pos x="25" y="113"/>
                  </a:cxn>
                  <a:cxn ang="0">
                    <a:pos x="41" y="105"/>
                  </a:cxn>
                  <a:cxn ang="0">
                    <a:pos x="58" y="106"/>
                  </a:cxn>
                  <a:cxn ang="0">
                    <a:pos x="63" y="105"/>
                  </a:cxn>
                  <a:cxn ang="0">
                    <a:pos x="63" y="95"/>
                  </a:cxn>
                  <a:cxn ang="0">
                    <a:pos x="67" y="89"/>
                  </a:cxn>
                  <a:cxn ang="0">
                    <a:pos x="79" y="84"/>
                  </a:cxn>
                  <a:cxn ang="0">
                    <a:pos x="82" y="90"/>
                  </a:cxn>
                  <a:cxn ang="0">
                    <a:pos x="89" y="95"/>
                  </a:cxn>
                  <a:cxn ang="0">
                    <a:pos x="95" y="95"/>
                  </a:cxn>
                  <a:cxn ang="0">
                    <a:pos x="114" y="96"/>
                  </a:cxn>
                  <a:cxn ang="0">
                    <a:pos x="116" y="92"/>
                  </a:cxn>
                  <a:cxn ang="0">
                    <a:pos x="125" y="90"/>
                  </a:cxn>
                  <a:cxn ang="0">
                    <a:pos x="144" y="86"/>
                  </a:cxn>
                  <a:cxn ang="0">
                    <a:pos x="146" y="87"/>
                  </a:cxn>
                  <a:cxn ang="0">
                    <a:pos x="148" y="87"/>
                  </a:cxn>
                  <a:cxn ang="0">
                    <a:pos x="153" y="87"/>
                  </a:cxn>
                  <a:cxn ang="0">
                    <a:pos x="159" y="84"/>
                  </a:cxn>
                  <a:cxn ang="0">
                    <a:pos x="173" y="87"/>
                  </a:cxn>
                  <a:cxn ang="0">
                    <a:pos x="177" y="87"/>
                  </a:cxn>
                  <a:cxn ang="0">
                    <a:pos x="186" y="84"/>
                  </a:cxn>
                  <a:cxn ang="0">
                    <a:pos x="185" y="80"/>
                  </a:cxn>
                  <a:cxn ang="0">
                    <a:pos x="176" y="73"/>
                  </a:cxn>
                  <a:cxn ang="0">
                    <a:pos x="173" y="68"/>
                  </a:cxn>
                  <a:cxn ang="0">
                    <a:pos x="169" y="61"/>
                  </a:cxn>
                  <a:cxn ang="0">
                    <a:pos x="163" y="57"/>
                  </a:cxn>
                  <a:cxn ang="0">
                    <a:pos x="153" y="47"/>
                  </a:cxn>
                  <a:cxn ang="0">
                    <a:pos x="153" y="44"/>
                  </a:cxn>
                  <a:cxn ang="0">
                    <a:pos x="143" y="39"/>
                  </a:cxn>
                  <a:cxn ang="0">
                    <a:pos x="138" y="35"/>
                  </a:cxn>
                  <a:cxn ang="0">
                    <a:pos x="128" y="31"/>
                  </a:cxn>
                  <a:cxn ang="0">
                    <a:pos x="130" y="19"/>
                  </a:cxn>
                  <a:cxn ang="0">
                    <a:pos x="118" y="0"/>
                  </a:cxn>
                </a:cxnLst>
                <a:rect l="0" t="0" r="r" b="b"/>
                <a:pathLst>
                  <a:path w="186" h="118">
                    <a:moveTo>
                      <a:pt x="118" y="0"/>
                    </a:moveTo>
                    <a:lnTo>
                      <a:pt x="106" y="3"/>
                    </a:lnTo>
                    <a:lnTo>
                      <a:pt x="105" y="4"/>
                    </a:lnTo>
                    <a:lnTo>
                      <a:pt x="103" y="7"/>
                    </a:lnTo>
                    <a:lnTo>
                      <a:pt x="103" y="12"/>
                    </a:lnTo>
                    <a:lnTo>
                      <a:pt x="102" y="12"/>
                    </a:lnTo>
                    <a:lnTo>
                      <a:pt x="101" y="15"/>
                    </a:lnTo>
                    <a:lnTo>
                      <a:pt x="99" y="15"/>
                    </a:lnTo>
                    <a:lnTo>
                      <a:pt x="99" y="16"/>
                    </a:lnTo>
                    <a:lnTo>
                      <a:pt x="95" y="19"/>
                    </a:lnTo>
                    <a:lnTo>
                      <a:pt x="93" y="22"/>
                    </a:lnTo>
                    <a:lnTo>
                      <a:pt x="92" y="23"/>
                    </a:lnTo>
                    <a:lnTo>
                      <a:pt x="87" y="25"/>
                    </a:lnTo>
                    <a:lnTo>
                      <a:pt x="86" y="26"/>
                    </a:lnTo>
                    <a:lnTo>
                      <a:pt x="83" y="28"/>
                    </a:lnTo>
                    <a:lnTo>
                      <a:pt x="82" y="28"/>
                    </a:lnTo>
                    <a:lnTo>
                      <a:pt x="76" y="29"/>
                    </a:lnTo>
                    <a:lnTo>
                      <a:pt x="76" y="29"/>
                    </a:lnTo>
                    <a:lnTo>
                      <a:pt x="67" y="29"/>
                    </a:lnTo>
                    <a:lnTo>
                      <a:pt x="64" y="31"/>
                    </a:lnTo>
                    <a:lnTo>
                      <a:pt x="64" y="32"/>
                    </a:lnTo>
                    <a:lnTo>
                      <a:pt x="64" y="32"/>
                    </a:lnTo>
                    <a:lnTo>
                      <a:pt x="66" y="34"/>
                    </a:lnTo>
                    <a:lnTo>
                      <a:pt x="66" y="36"/>
                    </a:lnTo>
                    <a:lnTo>
                      <a:pt x="66" y="36"/>
                    </a:lnTo>
                    <a:lnTo>
                      <a:pt x="64" y="38"/>
                    </a:lnTo>
                    <a:lnTo>
                      <a:pt x="63" y="39"/>
                    </a:lnTo>
                    <a:lnTo>
                      <a:pt x="63" y="41"/>
                    </a:lnTo>
                    <a:lnTo>
                      <a:pt x="61" y="41"/>
                    </a:lnTo>
                    <a:lnTo>
                      <a:pt x="60" y="42"/>
                    </a:lnTo>
                    <a:lnTo>
                      <a:pt x="60" y="44"/>
                    </a:lnTo>
                    <a:lnTo>
                      <a:pt x="60" y="44"/>
                    </a:lnTo>
                    <a:lnTo>
                      <a:pt x="54" y="44"/>
                    </a:lnTo>
                    <a:lnTo>
                      <a:pt x="51" y="45"/>
                    </a:lnTo>
                    <a:lnTo>
                      <a:pt x="48" y="44"/>
                    </a:lnTo>
                    <a:lnTo>
                      <a:pt x="41" y="47"/>
                    </a:lnTo>
                    <a:lnTo>
                      <a:pt x="40" y="48"/>
                    </a:lnTo>
                    <a:lnTo>
                      <a:pt x="37" y="50"/>
                    </a:lnTo>
                    <a:lnTo>
                      <a:pt x="35" y="50"/>
                    </a:lnTo>
                    <a:lnTo>
                      <a:pt x="35" y="51"/>
                    </a:lnTo>
                    <a:lnTo>
                      <a:pt x="32" y="48"/>
                    </a:lnTo>
                    <a:lnTo>
                      <a:pt x="32" y="48"/>
                    </a:lnTo>
                    <a:lnTo>
                      <a:pt x="31" y="47"/>
                    </a:lnTo>
                    <a:lnTo>
                      <a:pt x="31" y="47"/>
                    </a:lnTo>
                    <a:lnTo>
                      <a:pt x="29" y="47"/>
                    </a:lnTo>
                    <a:lnTo>
                      <a:pt x="29" y="47"/>
                    </a:lnTo>
                    <a:lnTo>
                      <a:pt x="28" y="47"/>
                    </a:lnTo>
                    <a:lnTo>
                      <a:pt x="28" y="50"/>
                    </a:lnTo>
                    <a:lnTo>
                      <a:pt x="24" y="50"/>
                    </a:lnTo>
                    <a:lnTo>
                      <a:pt x="22" y="51"/>
                    </a:lnTo>
                    <a:lnTo>
                      <a:pt x="21" y="52"/>
                    </a:lnTo>
                    <a:lnTo>
                      <a:pt x="19" y="51"/>
                    </a:lnTo>
                    <a:lnTo>
                      <a:pt x="13" y="52"/>
                    </a:lnTo>
                    <a:lnTo>
                      <a:pt x="13" y="52"/>
                    </a:lnTo>
                    <a:lnTo>
                      <a:pt x="0" y="74"/>
                    </a:lnTo>
                    <a:lnTo>
                      <a:pt x="0" y="77"/>
                    </a:lnTo>
                    <a:lnTo>
                      <a:pt x="2" y="82"/>
                    </a:lnTo>
                    <a:lnTo>
                      <a:pt x="2" y="90"/>
                    </a:lnTo>
                    <a:lnTo>
                      <a:pt x="15" y="112"/>
                    </a:lnTo>
                    <a:lnTo>
                      <a:pt x="21" y="118"/>
                    </a:lnTo>
                    <a:lnTo>
                      <a:pt x="24" y="118"/>
                    </a:lnTo>
                    <a:lnTo>
                      <a:pt x="25" y="113"/>
                    </a:lnTo>
                    <a:lnTo>
                      <a:pt x="37" y="106"/>
                    </a:lnTo>
                    <a:lnTo>
                      <a:pt x="41" y="105"/>
                    </a:lnTo>
                    <a:lnTo>
                      <a:pt x="50" y="109"/>
                    </a:lnTo>
                    <a:lnTo>
                      <a:pt x="58" y="106"/>
                    </a:lnTo>
                    <a:lnTo>
                      <a:pt x="60" y="105"/>
                    </a:lnTo>
                    <a:lnTo>
                      <a:pt x="63" y="105"/>
                    </a:lnTo>
                    <a:lnTo>
                      <a:pt x="61" y="103"/>
                    </a:lnTo>
                    <a:lnTo>
                      <a:pt x="63" y="95"/>
                    </a:lnTo>
                    <a:lnTo>
                      <a:pt x="66" y="93"/>
                    </a:lnTo>
                    <a:lnTo>
                      <a:pt x="67" y="89"/>
                    </a:lnTo>
                    <a:lnTo>
                      <a:pt x="71" y="84"/>
                    </a:lnTo>
                    <a:lnTo>
                      <a:pt x="79" y="84"/>
                    </a:lnTo>
                    <a:lnTo>
                      <a:pt x="82" y="87"/>
                    </a:lnTo>
                    <a:lnTo>
                      <a:pt x="82" y="90"/>
                    </a:lnTo>
                    <a:lnTo>
                      <a:pt x="87" y="95"/>
                    </a:lnTo>
                    <a:lnTo>
                      <a:pt x="89" y="95"/>
                    </a:lnTo>
                    <a:lnTo>
                      <a:pt x="92" y="93"/>
                    </a:lnTo>
                    <a:lnTo>
                      <a:pt x="95" y="95"/>
                    </a:lnTo>
                    <a:lnTo>
                      <a:pt x="101" y="96"/>
                    </a:lnTo>
                    <a:lnTo>
                      <a:pt x="114" y="96"/>
                    </a:lnTo>
                    <a:lnTo>
                      <a:pt x="116" y="96"/>
                    </a:lnTo>
                    <a:lnTo>
                      <a:pt x="116" y="92"/>
                    </a:lnTo>
                    <a:lnTo>
                      <a:pt x="119" y="89"/>
                    </a:lnTo>
                    <a:lnTo>
                      <a:pt x="125" y="90"/>
                    </a:lnTo>
                    <a:lnTo>
                      <a:pt x="127" y="92"/>
                    </a:lnTo>
                    <a:lnTo>
                      <a:pt x="144" y="86"/>
                    </a:lnTo>
                    <a:lnTo>
                      <a:pt x="146" y="86"/>
                    </a:lnTo>
                    <a:lnTo>
                      <a:pt x="146" y="87"/>
                    </a:lnTo>
                    <a:lnTo>
                      <a:pt x="146" y="87"/>
                    </a:lnTo>
                    <a:lnTo>
                      <a:pt x="148" y="87"/>
                    </a:lnTo>
                    <a:lnTo>
                      <a:pt x="150" y="87"/>
                    </a:lnTo>
                    <a:lnTo>
                      <a:pt x="153" y="87"/>
                    </a:lnTo>
                    <a:lnTo>
                      <a:pt x="154" y="84"/>
                    </a:lnTo>
                    <a:lnTo>
                      <a:pt x="159" y="84"/>
                    </a:lnTo>
                    <a:lnTo>
                      <a:pt x="169" y="83"/>
                    </a:lnTo>
                    <a:lnTo>
                      <a:pt x="173" y="87"/>
                    </a:lnTo>
                    <a:lnTo>
                      <a:pt x="175" y="84"/>
                    </a:lnTo>
                    <a:lnTo>
                      <a:pt x="177" y="87"/>
                    </a:lnTo>
                    <a:lnTo>
                      <a:pt x="179" y="84"/>
                    </a:lnTo>
                    <a:lnTo>
                      <a:pt x="186" y="84"/>
                    </a:lnTo>
                    <a:lnTo>
                      <a:pt x="185" y="83"/>
                    </a:lnTo>
                    <a:lnTo>
                      <a:pt x="185" y="80"/>
                    </a:lnTo>
                    <a:lnTo>
                      <a:pt x="183" y="77"/>
                    </a:lnTo>
                    <a:lnTo>
                      <a:pt x="176" y="73"/>
                    </a:lnTo>
                    <a:lnTo>
                      <a:pt x="173" y="71"/>
                    </a:lnTo>
                    <a:lnTo>
                      <a:pt x="173" y="68"/>
                    </a:lnTo>
                    <a:lnTo>
                      <a:pt x="170" y="66"/>
                    </a:lnTo>
                    <a:lnTo>
                      <a:pt x="169" y="61"/>
                    </a:lnTo>
                    <a:lnTo>
                      <a:pt x="166" y="60"/>
                    </a:lnTo>
                    <a:lnTo>
                      <a:pt x="163" y="57"/>
                    </a:lnTo>
                    <a:lnTo>
                      <a:pt x="154" y="50"/>
                    </a:lnTo>
                    <a:lnTo>
                      <a:pt x="153" y="47"/>
                    </a:lnTo>
                    <a:lnTo>
                      <a:pt x="153" y="45"/>
                    </a:lnTo>
                    <a:lnTo>
                      <a:pt x="153" y="44"/>
                    </a:lnTo>
                    <a:lnTo>
                      <a:pt x="148" y="41"/>
                    </a:lnTo>
                    <a:lnTo>
                      <a:pt x="143" y="39"/>
                    </a:lnTo>
                    <a:lnTo>
                      <a:pt x="140" y="38"/>
                    </a:lnTo>
                    <a:lnTo>
                      <a:pt x="138" y="35"/>
                    </a:lnTo>
                    <a:lnTo>
                      <a:pt x="131" y="34"/>
                    </a:lnTo>
                    <a:lnTo>
                      <a:pt x="128" y="31"/>
                    </a:lnTo>
                    <a:lnTo>
                      <a:pt x="128" y="28"/>
                    </a:lnTo>
                    <a:lnTo>
                      <a:pt x="130" y="19"/>
                    </a:lnTo>
                    <a:lnTo>
                      <a:pt x="130" y="15"/>
                    </a:lnTo>
                    <a:lnTo>
                      <a:pt x="118"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39" name="Freeform 973"/>
              <p:cNvSpPr>
                <a:spLocks/>
              </p:cNvSpPr>
              <p:nvPr/>
            </p:nvSpPr>
            <p:spPr bwMode="auto">
              <a:xfrm>
                <a:off x="6664083" y="3083969"/>
                <a:ext cx="20189" cy="29409"/>
              </a:xfrm>
              <a:custGeom>
                <a:avLst/>
                <a:gdLst/>
                <a:ahLst/>
                <a:cxnLst>
                  <a:cxn ang="0">
                    <a:pos x="18" y="0"/>
                  </a:cxn>
                  <a:cxn ang="0">
                    <a:pos x="6" y="8"/>
                  </a:cxn>
                  <a:cxn ang="0">
                    <a:pos x="5" y="16"/>
                  </a:cxn>
                  <a:cxn ang="0">
                    <a:pos x="0" y="24"/>
                  </a:cxn>
                  <a:cxn ang="0">
                    <a:pos x="0" y="25"/>
                  </a:cxn>
                  <a:cxn ang="0">
                    <a:pos x="2" y="28"/>
                  </a:cxn>
                  <a:cxn ang="0">
                    <a:pos x="6" y="28"/>
                  </a:cxn>
                  <a:cxn ang="0">
                    <a:pos x="8" y="27"/>
                  </a:cxn>
                  <a:cxn ang="0">
                    <a:pos x="9" y="28"/>
                  </a:cxn>
                  <a:cxn ang="0">
                    <a:pos x="9" y="28"/>
                  </a:cxn>
                  <a:cxn ang="0">
                    <a:pos x="9" y="27"/>
                  </a:cxn>
                  <a:cxn ang="0">
                    <a:pos x="12" y="25"/>
                  </a:cxn>
                  <a:cxn ang="0">
                    <a:pos x="14" y="25"/>
                  </a:cxn>
                  <a:cxn ang="0">
                    <a:pos x="16" y="28"/>
                  </a:cxn>
                  <a:cxn ang="0">
                    <a:pos x="16" y="28"/>
                  </a:cxn>
                  <a:cxn ang="0">
                    <a:pos x="16" y="27"/>
                  </a:cxn>
                  <a:cxn ang="0">
                    <a:pos x="19" y="24"/>
                  </a:cxn>
                  <a:cxn ang="0">
                    <a:pos x="21" y="21"/>
                  </a:cxn>
                  <a:cxn ang="0">
                    <a:pos x="21" y="19"/>
                  </a:cxn>
                  <a:cxn ang="0">
                    <a:pos x="21" y="19"/>
                  </a:cxn>
                  <a:cxn ang="0">
                    <a:pos x="19" y="19"/>
                  </a:cxn>
                  <a:cxn ang="0">
                    <a:pos x="19" y="18"/>
                  </a:cxn>
                  <a:cxn ang="0">
                    <a:pos x="18" y="19"/>
                  </a:cxn>
                  <a:cxn ang="0">
                    <a:pos x="15" y="18"/>
                  </a:cxn>
                  <a:cxn ang="0">
                    <a:pos x="14" y="19"/>
                  </a:cxn>
                  <a:cxn ang="0">
                    <a:pos x="12" y="19"/>
                  </a:cxn>
                  <a:cxn ang="0">
                    <a:pos x="12" y="21"/>
                  </a:cxn>
                  <a:cxn ang="0">
                    <a:pos x="11" y="19"/>
                  </a:cxn>
                  <a:cxn ang="0">
                    <a:pos x="11" y="19"/>
                  </a:cxn>
                  <a:cxn ang="0">
                    <a:pos x="11" y="18"/>
                  </a:cxn>
                  <a:cxn ang="0">
                    <a:pos x="12" y="19"/>
                  </a:cxn>
                  <a:cxn ang="0">
                    <a:pos x="12" y="19"/>
                  </a:cxn>
                  <a:cxn ang="0">
                    <a:pos x="14" y="18"/>
                  </a:cxn>
                  <a:cxn ang="0">
                    <a:pos x="15" y="16"/>
                  </a:cxn>
                  <a:cxn ang="0">
                    <a:pos x="15" y="15"/>
                  </a:cxn>
                  <a:cxn ang="0">
                    <a:pos x="16" y="15"/>
                  </a:cxn>
                  <a:cxn ang="0">
                    <a:pos x="18" y="14"/>
                  </a:cxn>
                  <a:cxn ang="0">
                    <a:pos x="21" y="14"/>
                  </a:cxn>
                  <a:cxn ang="0">
                    <a:pos x="22" y="12"/>
                  </a:cxn>
                  <a:cxn ang="0">
                    <a:pos x="22" y="11"/>
                  </a:cxn>
                  <a:cxn ang="0">
                    <a:pos x="22" y="6"/>
                  </a:cxn>
                  <a:cxn ang="0">
                    <a:pos x="21" y="5"/>
                  </a:cxn>
                  <a:cxn ang="0">
                    <a:pos x="19" y="3"/>
                  </a:cxn>
                  <a:cxn ang="0">
                    <a:pos x="18" y="2"/>
                  </a:cxn>
                  <a:cxn ang="0">
                    <a:pos x="18" y="0"/>
                  </a:cxn>
                </a:cxnLst>
                <a:rect l="0" t="0" r="r" b="b"/>
                <a:pathLst>
                  <a:path w="22" h="28">
                    <a:moveTo>
                      <a:pt x="18" y="0"/>
                    </a:moveTo>
                    <a:lnTo>
                      <a:pt x="6" y="8"/>
                    </a:lnTo>
                    <a:lnTo>
                      <a:pt x="5" y="16"/>
                    </a:lnTo>
                    <a:lnTo>
                      <a:pt x="0" y="24"/>
                    </a:lnTo>
                    <a:lnTo>
                      <a:pt x="0" y="25"/>
                    </a:lnTo>
                    <a:lnTo>
                      <a:pt x="2" y="28"/>
                    </a:lnTo>
                    <a:lnTo>
                      <a:pt x="6" y="28"/>
                    </a:lnTo>
                    <a:lnTo>
                      <a:pt x="8" y="27"/>
                    </a:lnTo>
                    <a:lnTo>
                      <a:pt x="9" y="28"/>
                    </a:lnTo>
                    <a:lnTo>
                      <a:pt x="9" y="28"/>
                    </a:lnTo>
                    <a:lnTo>
                      <a:pt x="9" y="27"/>
                    </a:lnTo>
                    <a:lnTo>
                      <a:pt x="12" y="25"/>
                    </a:lnTo>
                    <a:lnTo>
                      <a:pt x="14" y="25"/>
                    </a:lnTo>
                    <a:lnTo>
                      <a:pt x="16" y="28"/>
                    </a:lnTo>
                    <a:lnTo>
                      <a:pt x="16" y="28"/>
                    </a:lnTo>
                    <a:lnTo>
                      <a:pt x="16" y="27"/>
                    </a:lnTo>
                    <a:lnTo>
                      <a:pt x="19" y="24"/>
                    </a:lnTo>
                    <a:lnTo>
                      <a:pt x="21" y="21"/>
                    </a:lnTo>
                    <a:lnTo>
                      <a:pt x="21" y="19"/>
                    </a:lnTo>
                    <a:lnTo>
                      <a:pt x="21" y="19"/>
                    </a:lnTo>
                    <a:lnTo>
                      <a:pt x="19" y="19"/>
                    </a:lnTo>
                    <a:lnTo>
                      <a:pt x="19" y="18"/>
                    </a:lnTo>
                    <a:lnTo>
                      <a:pt x="18" y="19"/>
                    </a:lnTo>
                    <a:lnTo>
                      <a:pt x="15" y="18"/>
                    </a:lnTo>
                    <a:lnTo>
                      <a:pt x="14" y="19"/>
                    </a:lnTo>
                    <a:lnTo>
                      <a:pt x="12" y="19"/>
                    </a:lnTo>
                    <a:lnTo>
                      <a:pt x="12" y="21"/>
                    </a:lnTo>
                    <a:lnTo>
                      <a:pt x="11" y="19"/>
                    </a:lnTo>
                    <a:lnTo>
                      <a:pt x="11" y="19"/>
                    </a:lnTo>
                    <a:lnTo>
                      <a:pt x="11" y="18"/>
                    </a:lnTo>
                    <a:lnTo>
                      <a:pt x="12" y="19"/>
                    </a:lnTo>
                    <a:lnTo>
                      <a:pt x="12" y="19"/>
                    </a:lnTo>
                    <a:lnTo>
                      <a:pt x="14" y="18"/>
                    </a:lnTo>
                    <a:lnTo>
                      <a:pt x="15" y="16"/>
                    </a:lnTo>
                    <a:lnTo>
                      <a:pt x="15" y="15"/>
                    </a:lnTo>
                    <a:lnTo>
                      <a:pt x="16" y="15"/>
                    </a:lnTo>
                    <a:lnTo>
                      <a:pt x="18" y="14"/>
                    </a:lnTo>
                    <a:lnTo>
                      <a:pt x="21" y="14"/>
                    </a:lnTo>
                    <a:lnTo>
                      <a:pt x="22" y="12"/>
                    </a:lnTo>
                    <a:lnTo>
                      <a:pt x="22" y="11"/>
                    </a:lnTo>
                    <a:lnTo>
                      <a:pt x="22" y="6"/>
                    </a:lnTo>
                    <a:lnTo>
                      <a:pt x="21" y="5"/>
                    </a:lnTo>
                    <a:lnTo>
                      <a:pt x="19" y="3"/>
                    </a:lnTo>
                    <a:lnTo>
                      <a:pt x="18" y="2"/>
                    </a:lnTo>
                    <a:lnTo>
                      <a:pt x="18"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40" name="Freeform 974"/>
              <p:cNvSpPr>
                <a:spLocks/>
              </p:cNvSpPr>
              <p:nvPr/>
            </p:nvSpPr>
            <p:spPr bwMode="auto">
              <a:xfrm>
                <a:off x="6664083" y="3083969"/>
                <a:ext cx="20189" cy="29409"/>
              </a:xfrm>
              <a:custGeom>
                <a:avLst/>
                <a:gdLst/>
                <a:ahLst/>
                <a:cxnLst>
                  <a:cxn ang="0">
                    <a:pos x="18" y="0"/>
                  </a:cxn>
                  <a:cxn ang="0">
                    <a:pos x="6" y="8"/>
                  </a:cxn>
                  <a:cxn ang="0">
                    <a:pos x="5" y="16"/>
                  </a:cxn>
                  <a:cxn ang="0">
                    <a:pos x="0" y="24"/>
                  </a:cxn>
                  <a:cxn ang="0">
                    <a:pos x="0" y="25"/>
                  </a:cxn>
                  <a:cxn ang="0">
                    <a:pos x="2" y="28"/>
                  </a:cxn>
                  <a:cxn ang="0">
                    <a:pos x="6" y="28"/>
                  </a:cxn>
                  <a:cxn ang="0">
                    <a:pos x="8" y="27"/>
                  </a:cxn>
                  <a:cxn ang="0">
                    <a:pos x="9" y="28"/>
                  </a:cxn>
                  <a:cxn ang="0">
                    <a:pos x="9" y="28"/>
                  </a:cxn>
                  <a:cxn ang="0">
                    <a:pos x="9" y="27"/>
                  </a:cxn>
                  <a:cxn ang="0">
                    <a:pos x="12" y="25"/>
                  </a:cxn>
                  <a:cxn ang="0">
                    <a:pos x="14" y="25"/>
                  </a:cxn>
                  <a:cxn ang="0">
                    <a:pos x="16" y="28"/>
                  </a:cxn>
                  <a:cxn ang="0">
                    <a:pos x="16" y="28"/>
                  </a:cxn>
                  <a:cxn ang="0">
                    <a:pos x="16" y="27"/>
                  </a:cxn>
                  <a:cxn ang="0">
                    <a:pos x="19" y="24"/>
                  </a:cxn>
                  <a:cxn ang="0">
                    <a:pos x="21" y="21"/>
                  </a:cxn>
                  <a:cxn ang="0">
                    <a:pos x="21" y="19"/>
                  </a:cxn>
                  <a:cxn ang="0">
                    <a:pos x="21" y="19"/>
                  </a:cxn>
                  <a:cxn ang="0">
                    <a:pos x="19" y="19"/>
                  </a:cxn>
                  <a:cxn ang="0">
                    <a:pos x="19" y="18"/>
                  </a:cxn>
                  <a:cxn ang="0">
                    <a:pos x="18" y="19"/>
                  </a:cxn>
                  <a:cxn ang="0">
                    <a:pos x="15" y="18"/>
                  </a:cxn>
                  <a:cxn ang="0">
                    <a:pos x="14" y="19"/>
                  </a:cxn>
                  <a:cxn ang="0">
                    <a:pos x="12" y="19"/>
                  </a:cxn>
                  <a:cxn ang="0">
                    <a:pos x="12" y="21"/>
                  </a:cxn>
                  <a:cxn ang="0">
                    <a:pos x="11" y="19"/>
                  </a:cxn>
                  <a:cxn ang="0">
                    <a:pos x="11" y="19"/>
                  </a:cxn>
                  <a:cxn ang="0">
                    <a:pos x="11" y="18"/>
                  </a:cxn>
                  <a:cxn ang="0">
                    <a:pos x="12" y="19"/>
                  </a:cxn>
                  <a:cxn ang="0">
                    <a:pos x="12" y="19"/>
                  </a:cxn>
                  <a:cxn ang="0">
                    <a:pos x="14" y="18"/>
                  </a:cxn>
                  <a:cxn ang="0">
                    <a:pos x="15" y="16"/>
                  </a:cxn>
                  <a:cxn ang="0">
                    <a:pos x="15" y="15"/>
                  </a:cxn>
                  <a:cxn ang="0">
                    <a:pos x="16" y="15"/>
                  </a:cxn>
                  <a:cxn ang="0">
                    <a:pos x="18" y="14"/>
                  </a:cxn>
                  <a:cxn ang="0">
                    <a:pos x="21" y="14"/>
                  </a:cxn>
                  <a:cxn ang="0">
                    <a:pos x="22" y="12"/>
                  </a:cxn>
                  <a:cxn ang="0">
                    <a:pos x="22" y="11"/>
                  </a:cxn>
                  <a:cxn ang="0">
                    <a:pos x="22" y="6"/>
                  </a:cxn>
                  <a:cxn ang="0">
                    <a:pos x="21" y="5"/>
                  </a:cxn>
                  <a:cxn ang="0">
                    <a:pos x="19" y="3"/>
                  </a:cxn>
                  <a:cxn ang="0">
                    <a:pos x="18" y="2"/>
                  </a:cxn>
                  <a:cxn ang="0">
                    <a:pos x="18" y="0"/>
                  </a:cxn>
                </a:cxnLst>
                <a:rect l="0" t="0" r="r" b="b"/>
                <a:pathLst>
                  <a:path w="22" h="28">
                    <a:moveTo>
                      <a:pt x="18" y="0"/>
                    </a:moveTo>
                    <a:lnTo>
                      <a:pt x="6" y="8"/>
                    </a:lnTo>
                    <a:lnTo>
                      <a:pt x="5" y="16"/>
                    </a:lnTo>
                    <a:lnTo>
                      <a:pt x="0" y="24"/>
                    </a:lnTo>
                    <a:lnTo>
                      <a:pt x="0" y="25"/>
                    </a:lnTo>
                    <a:lnTo>
                      <a:pt x="2" y="28"/>
                    </a:lnTo>
                    <a:lnTo>
                      <a:pt x="6" y="28"/>
                    </a:lnTo>
                    <a:lnTo>
                      <a:pt x="8" y="27"/>
                    </a:lnTo>
                    <a:lnTo>
                      <a:pt x="9" y="28"/>
                    </a:lnTo>
                    <a:lnTo>
                      <a:pt x="9" y="28"/>
                    </a:lnTo>
                    <a:lnTo>
                      <a:pt x="9" y="27"/>
                    </a:lnTo>
                    <a:lnTo>
                      <a:pt x="12" y="25"/>
                    </a:lnTo>
                    <a:lnTo>
                      <a:pt x="14" y="25"/>
                    </a:lnTo>
                    <a:lnTo>
                      <a:pt x="16" y="28"/>
                    </a:lnTo>
                    <a:lnTo>
                      <a:pt x="16" y="28"/>
                    </a:lnTo>
                    <a:lnTo>
                      <a:pt x="16" y="27"/>
                    </a:lnTo>
                    <a:lnTo>
                      <a:pt x="19" y="24"/>
                    </a:lnTo>
                    <a:lnTo>
                      <a:pt x="21" y="21"/>
                    </a:lnTo>
                    <a:lnTo>
                      <a:pt x="21" y="19"/>
                    </a:lnTo>
                    <a:lnTo>
                      <a:pt x="21" y="19"/>
                    </a:lnTo>
                    <a:lnTo>
                      <a:pt x="19" y="19"/>
                    </a:lnTo>
                    <a:lnTo>
                      <a:pt x="19" y="18"/>
                    </a:lnTo>
                    <a:lnTo>
                      <a:pt x="18" y="19"/>
                    </a:lnTo>
                    <a:lnTo>
                      <a:pt x="15" y="18"/>
                    </a:lnTo>
                    <a:lnTo>
                      <a:pt x="14" y="19"/>
                    </a:lnTo>
                    <a:lnTo>
                      <a:pt x="12" y="19"/>
                    </a:lnTo>
                    <a:lnTo>
                      <a:pt x="12" y="21"/>
                    </a:lnTo>
                    <a:lnTo>
                      <a:pt x="11" y="19"/>
                    </a:lnTo>
                    <a:lnTo>
                      <a:pt x="11" y="19"/>
                    </a:lnTo>
                    <a:lnTo>
                      <a:pt x="11" y="18"/>
                    </a:lnTo>
                    <a:lnTo>
                      <a:pt x="12" y="19"/>
                    </a:lnTo>
                    <a:lnTo>
                      <a:pt x="12" y="19"/>
                    </a:lnTo>
                    <a:lnTo>
                      <a:pt x="14" y="18"/>
                    </a:lnTo>
                    <a:lnTo>
                      <a:pt x="15" y="16"/>
                    </a:lnTo>
                    <a:lnTo>
                      <a:pt x="15" y="15"/>
                    </a:lnTo>
                    <a:lnTo>
                      <a:pt x="16" y="15"/>
                    </a:lnTo>
                    <a:lnTo>
                      <a:pt x="18" y="14"/>
                    </a:lnTo>
                    <a:lnTo>
                      <a:pt x="21" y="14"/>
                    </a:lnTo>
                    <a:lnTo>
                      <a:pt x="22" y="12"/>
                    </a:lnTo>
                    <a:lnTo>
                      <a:pt x="22" y="11"/>
                    </a:lnTo>
                    <a:lnTo>
                      <a:pt x="22" y="6"/>
                    </a:lnTo>
                    <a:lnTo>
                      <a:pt x="21" y="5"/>
                    </a:lnTo>
                    <a:lnTo>
                      <a:pt x="19" y="3"/>
                    </a:lnTo>
                    <a:lnTo>
                      <a:pt x="18" y="2"/>
                    </a:lnTo>
                    <a:lnTo>
                      <a:pt x="18"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41" name="Freeform 975"/>
              <p:cNvSpPr>
                <a:spLocks/>
              </p:cNvSpPr>
              <p:nvPr/>
            </p:nvSpPr>
            <p:spPr bwMode="auto">
              <a:xfrm>
                <a:off x="6498179" y="3289837"/>
                <a:ext cx="23701" cy="24339"/>
              </a:xfrm>
              <a:custGeom>
                <a:avLst/>
                <a:gdLst/>
                <a:ahLst/>
                <a:cxnLst>
                  <a:cxn ang="0">
                    <a:pos x="1" y="24"/>
                  </a:cxn>
                  <a:cxn ang="0">
                    <a:pos x="1" y="24"/>
                  </a:cxn>
                  <a:cxn ang="0">
                    <a:pos x="1" y="21"/>
                  </a:cxn>
                  <a:cxn ang="0">
                    <a:pos x="3" y="20"/>
                  </a:cxn>
                  <a:cxn ang="0">
                    <a:pos x="4" y="20"/>
                  </a:cxn>
                  <a:cxn ang="0">
                    <a:pos x="4" y="21"/>
                  </a:cxn>
                  <a:cxn ang="0">
                    <a:pos x="6" y="24"/>
                  </a:cxn>
                  <a:cxn ang="0">
                    <a:pos x="7" y="24"/>
                  </a:cxn>
                  <a:cxn ang="0">
                    <a:pos x="9" y="24"/>
                  </a:cxn>
                  <a:cxn ang="0">
                    <a:pos x="10" y="24"/>
                  </a:cxn>
                  <a:cxn ang="0">
                    <a:pos x="12" y="24"/>
                  </a:cxn>
                  <a:cxn ang="0">
                    <a:pos x="13" y="23"/>
                  </a:cxn>
                  <a:cxn ang="0">
                    <a:pos x="13" y="20"/>
                  </a:cxn>
                  <a:cxn ang="0">
                    <a:pos x="13" y="20"/>
                  </a:cxn>
                  <a:cxn ang="0">
                    <a:pos x="14" y="18"/>
                  </a:cxn>
                  <a:cxn ang="0">
                    <a:pos x="16" y="20"/>
                  </a:cxn>
                  <a:cxn ang="0">
                    <a:pos x="20" y="18"/>
                  </a:cxn>
                  <a:cxn ang="0">
                    <a:pos x="22" y="18"/>
                  </a:cxn>
                  <a:cxn ang="0">
                    <a:pos x="22" y="18"/>
                  </a:cxn>
                  <a:cxn ang="0">
                    <a:pos x="22" y="18"/>
                  </a:cxn>
                  <a:cxn ang="0">
                    <a:pos x="23" y="20"/>
                  </a:cxn>
                  <a:cxn ang="0">
                    <a:pos x="26" y="16"/>
                  </a:cxn>
                  <a:cxn ang="0">
                    <a:pos x="26" y="13"/>
                  </a:cxn>
                  <a:cxn ang="0">
                    <a:pos x="20" y="0"/>
                  </a:cxn>
                  <a:cxn ang="0">
                    <a:pos x="19" y="1"/>
                  </a:cxn>
                  <a:cxn ang="0">
                    <a:pos x="17" y="1"/>
                  </a:cxn>
                  <a:cxn ang="0">
                    <a:pos x="16" y="3"/>
                  </a:cxn>
                  <a:cxn ang="0">
                    <a:pos x="14" y="5"/>
                  </a:cxn>
                  <a:cxn ang="0">
                    <a:pos x="13" y="5"/>
                  </a:cxn>
                  <a:cxn ang="0">
                    <a:pos x="10" y="5"/>
                  </a:cxn>
                  <a:cxn ang="0">
                    <a:pos x="10" y="4"/>
                  </a:cxn>
                  <a:cxn ang="0">
                    <a:pos x="9" y="4"/>
                  </a:cxn>
                  <a:cxn ang="0">
                    <a:pos x="0" y="20"/>
                  </a:cxn>
                  <a:cxn ang="0">
                    <a:pos x="0" y="21"/>
                  </a:cxn>
                  <a:cxn ang="0">
                    <a:pos x="1" y="24"/>
                  </a:cxn>
                </a:cxnLst>
                <a:rect l="0" t="0" r="r" b="b"/>
                <a:pathLst>
                  <a:path w="26" h="24">
                    <a:moveTo>
                      <a:pt x="1" y="24"/>
                    </a:moveTo>
                    <a:lnTo>
                      <a:pt x="1" y="24"/>
                    </a:lnTo>
                    <a:lnTo>
                      <a:pt x="1" y="21"/>
                    </a:lnTo>
                    <a:lnTo>
                      <a:pt x="3" y="20"/>
                    </a:lnTo>
                    <a:lnTo>
                      <a:pt x="4" y="20"/>
                    </a:lnTo>
                    <a:lnTo>
                      <a:pt x="4" y="21"/>
                    </a:lnTo>
                    <a:lnTo>
                      <a:pt x="6" y="24"/>
                    </a:lnTo>
                    <a:lnTo>
                      <a:pt x="7" y="24"/>
                    </a:lnTo>
                    <a:lnTo>
                      <a:pt x="9" y="24"/>
                    </a:lnTo>
                    <a:lnTo>
                      <a:pt x="10" y="24"/>
                    </a:lnTo>
                    <a:lnTo>
                      <a:pt x="12" y="24"/>
                    </a:lnTo>
                    <a:lnTo>
                      <a:pt x="13" y="23"/>
                    </a:lnTo>
                    <a:lnTo>
                      <a:pt x="13" y="20"/>
                    </a:lnTo>
                    <a:lnTo>
                      <a:pt x="13" y="20"/>
                    </a:lnTo>
                    <a:lnTo>
                      <a:pt x="14" y="18"/>
                    </a:lnTo>
                    <a:lnTo>
                      <a:pt x="16" y="20"/>
                    </a:lnTo>
                    <a:lnTo>
                      <a:pt x="20" y="18"/>
                    </a:lnTo>
                    <a:lnTo>
                      <a:pt x="22" y="18"/>
                    </a:lnTo>
                    <a:lnTo>
                      <a:pt x="22" y="18"/>
                    </a:lnTo>
                    <a:lnTo>
                      <a:pt x="22" y="18"/>
                    </a:lnTo>
                    <a:lnTo>
                      <a:pt x="23" y="20"/>
                    </a:lnTo>
                    <a:lnTo>
                      <a:pt x="26" y="16"/>
                    </a:lnTo>
                    <a:lnTo>
                      <a:pt x="26" y="13"/>
                    </a:lnTo>
                    <a:lnTo>
                      <a:pt x="20" y="0"/>
                    </a:lnTo>
                    <a:lnTo>
                      <a:pt x="19" y="1"/>
                    </a:lnTo>
                    <a:lnTo>
                      <a:pt x="17" y="1"/>
                    </a:lnTo>
                    <a:lnTo>
                      <a:pt x="16" y="3"/>
                    </a:lnTo>
                    <a:lnTo>
                      <a:pt x="14" y="5"/>
                    </a:lnTo>
                    <a:lnTo>
                      <a:pt x="13" y="5"/>
                    </a:lnTo>
                    <a:lnTo>
                      <a:pt x="10" y="5"/>
                    </a:lnTo>
                    <a:lnTo>
                      <a:pt x="10" y="4"/>
                    </a:lnTo>
                    <a:lnTo>
                      <a:pt x="9" y="4"/>
                    </a:lnTo>
                    <a:lnTo>
                      <a:pt x="0" y="20"/>
                    </a:lnTo>
                    <a:lnTo>
                      <a:pt x="0" y="21"/>
                    </a:lnTo>
                    <a:lnTo>
                      <a:pt x="1" y="2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42" name="Freeform 976"/>
              <p:cNvSpPr>
                <a:spLocks/>
              </p:cNvSpPr>
              <p:nvPr/>
            </p:nvSpPr>
            <p:spPr bwMode="auto">
              <a:xfrm>
                <a:off x="6498179" y="3289837"/>
                <a:ext cx="23701" cy="24339"/>
              </a:xfrm>
              <a:custGeom>
                <a:avLst/>
                <a:gdLst/>
                <a:ahLst/>
                <a:cxnLst>
                  <a:cxn ang="0">
                    <a:pos x="1" y="24"/>
                  </a:cxn>
                  <a:cxn ang="0">
                    <a:pos x="1" y="24"/>
                  </a:cxn>
                  <a:cxn ang="0">
                    <a:pos x="1" y="21"/>
                  </a:cxn>
                  <a:cxn ang="0">
                    <a:pos x="3" y="20"/>
                  </a:cxn>
                  <a:cxn ang="0">
                    <a:pos x="4" y="20"/>
                  </a:cxn>
                  <a:cxn ang="0">
                    <a:pos x="4" y="21"/>
                  </a:cxn>
                  <a:cxn ang="0">
                    <a:pos x="6" y="24"/>
                  </a:cxn>
                  <a:cxn ang="0">
                    <a:pos x="7" y="24"/>
                  </a:cxn>
                  <a:cxn ang="0">
                    <a:pos x="9" y="24"/>
                  </a:cxn>
                  <a:cxn ang="0">
                    <a:pos x="10" y="24"/>
                  </a:cxn>
                  <a:cxn ang="0">
                    <a:pos x="12" y="24"/>
                  </a:cxn>
                  <a:cxn ang="0">
                    <a:pos x="13" y="23"/>
                  </a:cxn>
                  <a:cxn ang="0">
                    <a:pos x="13" y="20"/>
                  </a:cxn>
                  <a:cxn ang="0">
                    <a:pos x="13" y="20"/>
                  </a:cxn>
                  <a:cxn ang="0">
                    <a:pos x="14" y="18"/>
                  </a:cxn>
                  <a:cxn ang="0">
                    <a:pos x="16" y="20"/>
                  </a:cxn>
                  <a:cxn ang="0">
                    <a:pos x="20" y="18"/>
                  </a:cxn>
                  <a:cxn ang="0">
                    <a:pos x="22" y="18"/>
                  </a:cxn>
                  <a:cxn ang="0">
                    <a:pos x="22" y="18"/>
                  </a:cxn>
                  <a:cxn ang="0">
                    <a:pos x="22" y="18"/>
                  </a:cxn>
                  <a:cxn ang="0">
                    <a:pos x="23" y="20"/>
                  </a:cxn>
                  <a:cxn ang="0">
                    <a:pos x="26" y="16"/>
                  </a:cxn>
                  <a:cxn ang="0">
                    <a:pos x="26" y="13"/>
                  </a:cxn>
                  <a:cxn ang="0">
                    <a:pos x="20" y="0"/>
                  </a:cxn>
                  <a:cxn ang="0">
                    <a:pos x="19" y="1"/>
                  </a:cxn>
                  <a:cxn ang="0">
                    <a:pos x="17" y="1"/>
                  </a:cxn>
                  <a:cxn ang="0">
                    <a:pos x="16" y="3"/>
                  </a:cxn>
                  <a:cxn ang="0">
                    <a:pos x="14" y="5"/>
                  </a:cxn>
                  <a:cxn ang="0">
                    <a:pos x="13" y="5"/>
                  </a:cxn>
                  <a:cxn ang="0">
                    <a:pos x="10" y="5"/>
                  </a:cxn>
                  <a:cxn ang="0">
                    <a:pos x="10" y="4"/>
                  </a:cxn>
                  <a:cxn ang="0">
                    <a:pos x="9" y="4"/>
                  </a:cxn>
                  <a:cxn ang="0">
                    <a:pos x="0" y="20"/>
                  </a:cxn>
                  <a:cxn ang="0">
                    <a:pos x="0" y="21"/>
                  </a:cxn>
                  <a:cxn ang="0">
                    <a:pos x="1" y="24"/>
                  </a:cxn>
                </a:cxnLst>
                <a:rect l="0" t="0" r="r" b="b"/>
                <a:pathLst>
                  <a:path w="26" h="24">
                    <a:moveTo>
                      <a:pt x="1" y="24"/>
                    </a:moveTo>
                    <a:lnTo>
                      <a:pt x="1" y="24"/>
                    </a:lnTo>
                    <a:lnTo>
                      <a:pt x="1" y="21"/>
                    </a:lnTo>
                    <a:lnTo>
                      <a:pt x="3" y="20"/>
                    </a:lnTo>
                    <a:lnTo>
                      <a:pt x="4" y="20"/>
                    </a:lnTo>
                    <a:lnTo>
                      <a:pt x="4" y="21"/>
                    </a:lnTo>
                    <a:lnTo>
                      <a:pt x="6" y="24"/>
                    </a:lnTo>
                    <a:lnTo>
                      <a:pt x="7" y="24"/>
                    </a:lnTo>
                    <a:lnTo>
                      <a:pt x="9" y="24"/>
                    </a:lnTo>
                    <a:lnTo>
                      <a:pt x="10" y="24"/>
                    </a:lnTo>
                    <a:lnTo>
                      <a:pt x="12" y="24"/>
                    </a:lnTo>
                    <a:lnTo>
                      <a:pt x="13" y="23"/>
                    </a:lnTo>
                    <a:lnTo>
                      <a:pt x="13" y="20"/>
                    </a:lnTo>
                    <a:lnTo>
                      <a:pt x="13" y="20"/>
                    </a:lnTo>
                    <a:lnTo>
                      <a:pt x="14" y="18"/>
                    </a:lnTo>
                    <a:lnTo>
                      <a:pt x="16" y="20"/>
                    </a:lnTo>
                    <a:lnTo>
                      <a:pt x="20" y="18"/>
                    </a:lnTo>
                    <a:lnTo>
                      <a:pt x="22" y="18"/>
                    </a:lnTo>
                    <a:lnTo>
                      <a:pt x="22" y="18"/>
                    </a:lnTo>
                    <a:lnTo>
                      <a:pt x="22" y="18"/>
                    </a:lnTo>
                    <a:lnTo>
                      <a:pt x="23" y="20"/>
                    </a:lnTo>
                    <a:lnTo>
                      <a:pt x="26" y="16"/>
                    </a:lnTo>
                    <a:lnTo>
                      <a:pt x="26" y="13"/>
                    </a:lnTo>
                    <a:lnTo>
                      <a:pt x="20" y="0"/>
                    </a:lnTo>
                    <a:lnTo>
                      <a:pt x="19" y="1"/>
                    </a:lnTo>
                    <a:lnTo>
                      <a:pt x="17" y="1"/>
                    </a:lnTo>
                    <a:lnTo>
                      <a:pt x="16" y="3"/>
                    </a:lnTo>
                    <a:lnTo>
                      <a:pt x="14" y="5"/>
                    </a:lnTo>
                    <a:lnTo>
                      <a:pt x="13" y="5"/>
                    </a:lnTo>
                    <a:lnTo>
                      <a:pt x="10" y="5"/>
                    </a:lnTo>
                    <a:lnTo>
                      <a:pt x="10" y="4"/>
                    </a:lnTo>
                    <a:lnTo>
                      <a:pt x="9" y="4"/>
                    </a:lnTo>
                    <a:lnTo>
                      <a:pt x="0" y="20"/>
                    </a:lnTo>
                    <a:lnTo>
                      <a:pt x="0" y="21"/>
                    </a:lnTo>
                    <a:lnTo>
                      <a:pt x="1" y="2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43" name="Freeform 977"/>
              <p:cNvSpPr>
                <a:spLocks/>
              </p:cNvSpPr>
              <p:nvPr/>
            </p:nvSpPr>
            <p:spPr bwMode="auto">
              <a:xfrm>
                <a:off x="6684273" y="2603270"/>
                <a:ext cx="41257" cy="46651"/>
              </a:xfrm>
              <a:custGeom>
                <a:avLst/>
                <a:gdLst/>
                <a:ahLst/>
                <a:cxnLst>
                  <a:cxn ang="0">
                    <a:pos x="21" y="31"/>
                  </a:cxn>
                  <a:cxn ang="0">
                    <a:pos x="18" y="26"/>
                  </a:cxn>
                  <a:cxn ang="0">
                    <a:pos x="15" y="26"/>
                  </a:cxn>
                  <a:cxn ang="0">
                    <a:pos x="13" y="24"/>
                  </a:cxn>
                  <a:cxn ang="0">
                    <a:pos x="7" y="21"/>
                  </a:cxn>
                  <a:cxn ang="0">
                    <a:pos x="6" y="18"/>
                  </a:cxn>
                  <a:cxn ang="0">
                    <a:pos x="5" y="9"/>
                  </a:cxn>
                  <a:cxn ang="0">
                    <a:pos x="3" y="6"/>
                  </a:cxn>
                  <a:cxn ang="0">
                    <a:pos x="0" y="5"/>
                  </a:cxn>
                  <a:cxn ang="0">
                    <a:pos x="6" y="3"/>
                  </a:cxn>
                  <a:cxn ang="0">
                    <a:pos x="7" y="3"/>
                  </a:cxn>
                  <a:cxn ang="0">
                    <a:pos x="12" y="2"/>
                  </a:cxn>
                  <a:cxn ang="0">
                    <a:pos x="13" y="2"/>
                  </a:cxn>
                  <a:cxn ang="0">
                    <a:pos x="18" y="2"/>
                  </a:cxn>
                  <a:cxn ang="0">
                    <a:pos x="23" y="0"/>
                  </a:cxn>
                  <a:cxn ang="0">
                    <a:pos x="23" y="0"/>
                  </a:cxn>
                  <a:cxn ang="0">
                    <a:pos x="26" y="6"/>
                  </a:cxn>
                  <a:cxn ang="0">
                    <a:pos x="28" y="6"/>
                  </a:cxn>
                  <a:cxn ang="0">
                    <a:pos x="31" y="8"/>
                  </a:cxn>
                  <a:cxn ang="0">
                    <a:pos x="31" y="9"/>
                  </a:cxn>
                  <a:cxn ang="0">
                    <a:pos x="29" y="11"/>
                  </a:cxn>
                  <a:cxn ang="0">
                    <a:pos x="29" y="13"/>
                  </a:cxn>
                  <a:cxn ang="0">
                    <a:pos x="29" y="15"/>
                  </a:cxn>
                  <a:cxn ang="0">
                    <a:pos x="32" y="18"/>
                  </a:cxn>
                  <a:cxn ang="0">
                    <a:pos x="37" y="21"/>
                  </a:cxn>
                  <a:cxn ang="0">
                    <a:pos x="37" y="22"/>
                  </a:cxn>
                  <a:cxn ang="0">
                    <a:pos x="35" y="24"/>
                  </a:cxn>
                  <a:cxn ang="0">
                    <a:pos x="34" y="25"/>
                  </a:cxn>
                  <a:cxn ang="0">
                    <a:pos x="34" y="26"/>
                  </a:cxn>
                  <a:cxn ang="0">
                    <a:pos x="37" y="29"/>
                  </a:cxn>
                  <a:cxn ang="0">
                    <a:pos x="41" y="32"/>
                  </a:cxn>
                  <a:cxn ang="0">
                    <a:pos x="42" y="32"/>
                  </a:cxn>
                  <a:cxn ang="0">
                    <a:pos x="44" y="32"/>
                  </a:cxn>
                  <a:cxn ang="0">
                    <a:pos x="44" y="37"/>
                  </a:cxn>
                  <a:cxn ang="0">
                    <a:pos x="45" y="38"/>
                  </a:cxn>
                  <a:cxn ang="0">
                    <a:pos x="44" y="40"/>
                  </a:cxn>
                  <a:cxn ang="0">
                    <a:pos x="42" y="40"/>
                  </a:cxn>
                  <a:cxn ang="0">
                    <a:pos x="45" y="44"/>
                  </a:cxn>
                  <a:cxn ang="0">
                    <a:pos x="45" y="45"/>
                  </a:cxn>
                  <a:cxn ang="0">
                    <a:pos x="38" y="45"/>
                  </a:cxn>
                  <a:cxn ang="0">
                    <a:pos x="37" y="40"/>
                  </a:cxn>
                  <a:cxn ang="0">
                    <a:pos x="34" y="34"/>
                  </a:cxn>
                  <a:cxn ang="0">
                    <a:pos x="32" y="32"/>
                  </a:cxn>
                  <a:cxn ang="0">
                    <a:pos x="31" y="34"/>
                  </a:cxn>
                  <a:cxn ang="0">
                    <a:pos x="28" y="34"/>
                  </a:cxn>
                  <a:cxn ang="0">
                    <a:pos x="26" y="32"/>
                  </a:cxn>
                  <a:cxn ang="0">
                    <a:pos x="25" y="31"/>
                  </a:cxn>
                  <a:cxn ang="0">
                    <a:pos x="23" y="31"/>
                  </a:cxn>
                  <a:cxn ang="0">
                    <a:pos x="21" y="31"/>
                  </a:cxn>
                </a:cxnLst>
                <a:rect l="0" t="0" r="r" b="b"/>
                <a:pathLst>
                  <a:path w="45" h="45">
                    <a:moveTo>
                      <a:pt x="21" y="31"/>
                    </a:moveTo>
                    <a:lnTo>
                      <a:pt x="18" y="26"/>
                    </a:lnTo>
                    <a:lnTo>
                      <a:pt x="15" y="26"/>
                    </a:lnTo>
                    <a:lnTo>
                      <a:pt x="13" y="24"/>
                    </a:lnTo>
                    <a:lnTo>
                      <a:pt x="7" y="21"/>
                    </a:lnTo>
                    <a:lnTo>
                      <a:pt x="6" y="18"/>
                    </a:lnTo>
                    <a:lnTo>
                      <a:pt x="5" y="9"/>
                    </a:lnTo>
                    <a:lnTo>
                      <a:pt x="3" y="6"/>
                    </a:lnTo>
                    <a:lnTo>
                      <a:pt x="0" y="5"/>
                    </a:lnTo>
                    <a:lnTo>
                      <a:pt x="6" y="3"/>
                    </a:lnTo>
                    <a:lnTo>
                      <a:pt x="7" y="3"/>
                    </a:lnTo>
                    <a:lnTo>
                      <a:pt x="12" y="2"/>
                    </a:lnTo>
                    <a:lnTo>
                      <a:pt x="13" y="2"/>
                    </a:lnTo>
                    <a:lnTo>
                      <a:pt x="18" y="2"/>
                    </a:lnTo>
                    <a:lnTo>
                      <a:pt x="23" y="0"/>
                    </a:lnTo>
                    <a:lnTo>
                      <a:pt x="23" y="0"/>
                    </a:lnTo>
                    <a:lnTo>
                      <a:pt x="26" y="6"/>
                    </a:lnTo>
                    <a:lnTo>
                      <a:pt x="28" y="6"/>
                    </a:lnTo>
                    <a:lnTo>
                      <a:pt x="31" y="8"/>
                    </a:lnTo>
                    <a:lnTo>
                      <a:pt x="31" y="9"/>
                    </a:lnTo>
                    <a:lnTo>
                      <a:pt x="29" y="11"/>
                    </a:lnTo>
                    <a:lnTo>
                      <a:pt x="29" y="13"/>
                    </a:lnTo>
                    <a:lnTo>
                      <a:pt x="29" y="15"/>
                    </a:lnTo>
                    <a:lnTo>
                      <a:pt x="32" y="18"/>
                    </a:lnTo>
                    <a:lnTo>
                      <a:pt x="37" y="21"/>
                    </a:lnTo>
                    <a:lnTo>
                      <a:pt x="37" y="22"/>
                    </a:lnTo>
                    <a:lnTo>
                      <a:pt x="35" y="24"/>
                    </a:lnTo>
                    <a:lnTo>
                      <a:pt x="34" y="25"/>
                    </a:lnTo>
                    <a:lnTo>
                      <a:pt x="34" y="26"/>
                    </a:lnTo>
                    <a:lnTo>
                      <a:pt x="37" y="29"/>
                    </a:lnTo>
                    <a:lnTo>
                      <a:pt x="41" y="32"/>
                    </a:lnTo>
                    <a:lnTo>
                      <a:pt x="42" y="32"/>
                    </a:lnTo>
                    <a:lnTo>
                      <a:pt x="44" y="32"/>
                    </a:lnTo>
                    <a:lnTo>
                      <a:pt x="44" y="37"/>
                    </a:lnTo>
                    <a:lnTo>
                      <a:pt x="45" y="38"/>
                    </a:lnTo>
                    <a:lnTo>
                      <a:pt x="44" y="40"/>
                    </a:lnTo>
                    <a:lnTo>
                      <a:pt x="42" y="40"/>
                    </a:lnTo>
                    <a:lnTo>
                      <a:pt x="45" y="44"/>
                    </a:lnTo>
                    <a:lnTo>
                      <a:pt x="45" y="45"/>
                    </a:lnTo>
                    <a:lnTo>
                      <a:pt x="38" y="45"/>
                    </a:lnTo>
                    <a:lnTo>
                      <a:pt x="37" y="40"/>
                    </a:lnTo>
                    <a:lnTo>
                      <a:pt x="34" y="34"/>
                    </a:lnTo>
                    <a:lnTo>
                      <a:pt x="32" y="32"/>
                    </a:lnTo>
                    <a:lnTo>
                      <a:pt x="31" y="34"/>
                    </a:lnTo>
                    <a:lnTo>
                      <a:pt x="28" y="34"/>
                    </a:lnTo>
                    <a:lnTo>
                      <a:pt x="26" y="32"/>
                    </a:lnTo>
                    <a:lnTo>
                      <a:pt x="25" y="31"/>
                    </a:lnTo>
                    <a:lnTo>
                      <a:pt x="23" y="31"/>
                    </a:lnTo>
                    <a:lnTo>
                      <a:pt x="21" y="3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44" name="Freeform 978"/>
              <p:cNvSpPr>
                <a:spLocks/>
              </p:cNvSpPr>
              <p:nvPr/>
            </p:nvSpPr>
            <p:spPr bwMode="auto">
              <a:xfrm>
                <a:off x="6684273" y="2603270"/>
                <a:ext cx="41257" cy="46651"/>
              </a:xfrm>
              <a:custGeom>
                <a:avLst/>
                <a:gdLst/>
                <a:ahLst/>
                <a:cxnLst>
                  <a:cxn ang="0">
                    <a:pos x="21" y="31"/>
                  </a:cxn>
                  <a:cxn ang="0">
                    <a:pos x="18" y="26"/>
                  </a:cxn>
                  <a:cxn ang="0">
                    <a:pos x="15" y="26"/>
                  </a:cxn>
                  <a:cxn ang="0">
                    <a:pos x="13" y="24"/>
                  </a:cxn>
                  <a:cxn ang="0">
                    <a:pos x="7" y="21"/>
                  </a:cxn>
                  <a:cxn ang="0">
                    <a:pos x="6" y="18"/>
                  </a:cxn>
                  <a:cxn ang="0">
                    <a:pos x="5" y="9"/>
                  </a:cxn>
                  <a:cxn ang="0">
                    <a:pos x="3" y="6"/>
                  </a:cxn>
                  <a:cxn ang="0">
                    <a:pos x="0" y="5"/>
                  </a:cxn>
                  <a:cxn ang="0">
                    <a:pos x="6" y="3"/>
                  </a:cxn>
                  <a:cxn ang="0">
                    <a:pos x="7" y="3"/>
                  </a:cxn>
                  <a:cxn ang="0">
                    <a:pos x="12" y="2"/>
                  </a:cxn>
                  <a:cxn ang="0">
                    <a:pos x="13" y="2"/>
                  </a:cxn>
                  <a:cxn ang="0">
                    <a:pos x="18" y="2"/>
                  </a:cxn>
                  <a:cxn ang="0">
                    <a:pos x="23" y="0"/>
                  </a:cxn>
                  <a:cxn ang="0">
                    <a:pos x="23" y="0"/>
                  </a:cxn>
                  <a:cxn ang="0">
                    <a:pos x="26" y="6"/>
                  </a:cxn>
                  <a:cxn ang="0">
                    <a:pos x="28" y="6"/>
                  </a:cxn>
                  <a:cxn ang="0">
                    <a:pos x="31" y="8"/>
                  </a:cxn>
                  <a:cxn ang="0">
                    <a:pos x="31" y="9"/>
                  </a:cxn>
                  <a:cxn ang="0">
                    <a:pos x="29" y="11"/>
                  </a:cxn>
                  <a:cxn ang="0">
                    <a:pos x="29" y="13"/>
                  </a:cxn>
                  <a:cxn ang="0">
                    <a:pos x="29" y="15"/>
                  </a:cxn>
                  <a:cxn ang="0">
                    <a:pos x="32" y="18"/>
                  </a:cxn>
                  <a:cxn ang="0">
                    <a:pos x="37" y="21"/>
                  </a:cxn>
                  <a:cxn ang="0">
                    <a:pos x="37" y="22"/>
                  </a:cxn>
                  <a:cxn ang="0">
                    <a:pos x="35" y="24"/>
                  </a:cxn>
                  <a:cxn ang="0">
                    <a:pos x="34" y="25"/>
                  </a:cxn>
                  <a:cxn ang="0">
                    <a:pos x="34" y="26"/>
                  </a:cxn>
                  <a:cxn ang="0">
                    <a:pos x="37" y="29"/>
                  </a:cxn>
                  <a:cxn ang="0">
                    <a:pos x="41" y="32"/>
                  </a:cxn>
                  <a:cxn ang="0">
                    <a:pos x="42" y="32"/>
                  </a:cxn>
                  <a:cxn ang="0">
                    <a:pos x="44" y="32"/>
                  </a:cxn>
                  <a:cxn ang="0">
                    <a:pos x="44" y="37"/>
                  </a:cxn>
                  <a:cxn ang="0">
                    <a:pos x="45" y="38"/>
                  </a:cxn>
                  <a:cxn ang="0">
                    <a:pos x="44" y="40"/>
                  </a:cxn>
                  <a:cxn ang="0">
                    <a:pos x="42" y="40"/>
                  </a:cxn>
                  <a:cxn ang="0">
                    <a:pos x="45" y="44"/>
                  </a:cxn>
                  <a:cxn ang="0">
                    <a:pos x="45" y="45"/>
                  </a:cxn>
                  <a:cxn ang="0">
                    <a:pos x="38" y="45"/>
                  </a:cxn>
                  <a:cxn ang="0">
                    <a:pos x="37" y="40"/>
                  </a:cxn>
                  <a:cxn ang="0">
                    <a:pos x="34" y="34"/>
                  </a:cxn>
                  <a:cxn ang="0">
                    <a:pos x="32" y="32"/>
                  </a:cxn>
                  <a:cxn ang="0">
                    <a:pos x="31" y="34"/>
                  </a:cxn>
                  <a:cxn ang="0">
                    <a:pos x="28" y="34"/>
                  </a:cxn>
                  <a:cxn ang="0">
                    <a:pos x="26" y="32"/>
                  </a:cxn>
                  <a:cxn ang="0">
                    <a:pos x="25" y="31"/>
                  </a:cxn>
                  <a:cxn ang="0">
                    <a:pos x="23" y="31"/>
                  </a:cxn>
                  <a:cxn ang="0">
                    <a:pos x="21" y="31"/>
                  </a:cxn>
                </a:cxnLst>
                <a:rect l="0" t="0" r="r" b="b"/>
                <a:pathLst>
                  <a:path w="45" h="45">
                    <a:moveTo>
                      <a:pt x="21" y="31"/>
                    </a:moveTo>
                    <a:lnTo>
                      <a:pt x="18" y="26"/>
                    </a:lnTo>
                    <a:lnTo>
                      <a:pt x="15" y="26"/>
                    </a:lnTo>
                    <a:lnTo>
                      <a:pt x="13" y="24"/>
                    </a:lnTo>
                    <a:lnTo>
                      <a:pt x="7" y="21"/>
                    </a:lnTo>
                    <a:lnTo>
                      <a:pt x="6" y="18"/>
                    </a:lnTo>
                    <a:lnTo>
                      <a:pt x="5" y="9"/>
                    </a:lnTo>
                    <a:lnTo>
                      <a:pt x="3" y="6"/>
                    </a:lnTo>
                    <a:lnTo>
                      <a:pt x="0" y="5"/>
                    </a:lnTo>
                    <a:lnTo>
                      <a:pt x="6" y="3"/>
                    </a:lnTo>
                    <a:lnTo>
                      <a:pt x="7" y="3"/>
                    </a:lnTo>
                    <a:lnTo>
                      <a:pt x="12" y="2"/>
                    </a:lnTo>
                    <a:lnTo>
                      <a:pt x="13" y="2"/>
                    </a:lnTo>
                    <a:lnTo>
                      <a:pt x="18" y="2"/>
                    </a:lnTo>
                    <a:lnTo>
                      <a:pt x="23" y="0"/>
                    </a:lnTo>
                    <a:lnTo>
                      <a:pt x="23" y="0"/>
                    </a:lnTo>
                    <a:lnTo>
                      <a:pt x="26" y="6"/>
                    </a:lnTo>
                    <a:lnTo>
                      <a:pt x="28" y="6"/>
                    </a:lnTo>
                    <a:lnTo>
                      <a:pt x="31" y="8"/>
                    </a:lnTo>
                    <a:lnTo>
                      <a:pt x="31" y="9"/>
                    </a:lnTo>
                    <a:lnTo>
                      <a:pt x="29" y="11"/>
                    </a:lnTo>
                    <a:lnTo>
                      <a:pt x="29" y="13"/>
                    </a:lnTo>
                    <a:lnTo>
                      <a:pt x="29" y="15"/>
                    </a:lnTo>
                    <a:lnTo>
                      <a:pt x="32" y="18"/>
                    </a:lnTo>
                    <a:lnTo>
                      <a:pt x="37" y="21"/>
                    </a:lnTo>
                    <a:lnTo>
                      <a:pt x="37" y="22"/>
                    </a:lnTo>
                    <a:lnTo>
                      <a:pt x="35" y="24"/>
                    </a:lnTo>
                    <a:lnTo>
                      <a:pt x="34" y="25"/>
                    </a:lnTo>
                    <a:lnTo>
                      <a:pt x="34" y="26"/>
                    </a:lnTo>
                    <a:lnTo>
                      <a:pt x="37" y="29"/>
                    </a:lnTo>
                    <a:lnTo>
                      <a:pt x="41" y="32"/>
                    </a:lnTo>
                    <a:lnTo>
                      <a:pt x="42" y="32"/>
                    </a:lnTo>
                    <a:lnTo>
                      <a:pt x="44" y="32"/>
                    </a:lnTo>
                    <a:lnTo>
                      <a:pt x="44" y="37"/>
                    </a:lnTo>
                    <a:lnTo>
                      <a:pt x="45" y="38"/>
                    </a:lnTo>
                    <a:lnTo>
                      <a:pt x="44" y="40"/>
                    </a:lnTo>
                    <a:lnTo>
                      <a:pt x="42" y="40"/>
                    </a:lnTo>
                    <a:lnTo>
                      <a:pt x="45" y="44"/>
                    </a:lnTo>
                    <a:lnTo>
                      <a:pt x="45" y="45"/>
                    </a:lnTo>
                    <a:lnTo>
                      <a:pt x="38" y="45"/>
                    </a:lnTo>
                    <a:lnTo>
                      <a:pt x="37" y="40"/>
                    </a:lnTo>
                    <a:lnTo>
                      <a:pt x="34" y="34"/>
                    </a:lnTo>
                    <a:lnTo>
                      <a:pt x="32" y="32"/>
                    </a:lnTo>
                    <a:lnTo>
                      <a:pt x="31" y="34"/>
                    </a:lnTo>
                    <a:lnTo>
                      <a:pt x="28" y="34"/>
                    </a:lnTo>
                    <a:lnTo>
                      <a:pt x="26" y="32"/>
                    </a:lnTo>
                    <a:lnTo>
                      <a:pt x="25" y="31"/>
                    </a:lnTo>
                    <a:lnTo>
                      <a:pt x="23" y="31"/>
                    </a:lnTo>
                    <a:lnTo>
                      <a:pt x="21" y="3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45" name="Freeform 979"/>
              <p:cNvSpPr>
                <a:spLocks/>
              </p:cNvSpPr>
              <p:nvPr/>
            </p:nvSpPr>
            <p:spPr bwMode="auto">
              <a:xfrm>
                <a:off x="7038027" y="2632679"/>
                <a:ext cx="2633" cy="1015"/>
              </a:xfrm>
              <a:custGeom>
                <a:avLst/>
                <a:gdLst/>
                <a:ahLst/>
                <a:cxnLst>
                  <a:cxn ang="0">
                    <a:pos x="3" y="1"/>
                  </a:cxn>
                  <a:cxn ang="0">
                    <a:pos x="2" y="0"/>
                  </a:cxn>
                  <a:cxn ang="0">
                    <a:pos x="0" y="0"/>
                  </a:cxn>
                  <a:cxn ang="0">
                    <a:pos x="0" y="1"/>
                  </a:cxn>
                  <a:cxn ang="0">
                    <a:pos x="3" y="1"/>
                  </a:cxn>
                  <a:cxn ang="0">
                    <a:pos x="3" y="1"/>
                  </a:cxn>
                </a:cxnLst>
                <a:rect l="0" t="0" r="r" b="b"/>
                <a:pathLst>
                  <a:path w="3" h="1">
                    <a:moveTo>
                      <a:pt x="3" y="1"/>
                    </a:moveTo>
                    <a:lnTo>
                      <a:pt x="2" y="0"/>
                    </a:lnTo>
                    <a:lnTo>
                      <a:pt x="0" y="0"/>
                    </a:lnTo>
                    <a:lnTo>
                      <a:pt x="0" y="1"/>
                    </a:lnTo>
                    <a:lnTo>
                      <a:pt x="3" y="1"/>
                    </a:lnTo>
                    <a:lnTo>
                      <a:pt x="3"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46" name="Freeform 980"/>
              <p:cNvSpPr>
                <a:spLocks/>
              </p:cNvSpPr>
              <p:nvPr/>
            </p:nvSpPr>
            <p:spPr bwMode="auto">
              <a:xfrm>
                <a:off x="7038027" y="2632679"/>
                <a:ext cx="2633" cy="1015"/>
              </a:xfrm>
              <a:custGeom>
                <a:avLst/>
                <a:gdLst/>
                <a:ahLst/>
                <a:cxnLst>
                  <a:cxn ang="0">
                    <a:pos x="3" y="1"/>
                  </a:cxn>
                  <a:cxn ang="0">
                    <a:pos x="2" y="0"/>
                  </a:cxn>
                  <a:cxn ang="0">
                    <a:pos x="0" y="0"/>
                  </a:cxn>
                  <a:cxn ang="0">
                    <a:pos x="0" y="1"/>
                  </a:cxn>
                  <a:cxn ang="0">
                    <a:pos x="3" y="1"/>
                  </a:cxn>
                  <a:cxn ang="0">
                    <a:pos x="3" y="1"/>
                  </a:cxn>
                </a:cxnLst>
                <a:rect l="0" t="0" r="r" b="b"/>
                <a:pathLst>
                  <a:path w="3" h="1">
                    <a:moveTo>
                      <a:pt x="3" y="1"/>
                    </a:moveTo>
                    <a:lnTo>
                      <a:pt x="2" y="0"/>
                    </a:lnTo>
                    <a:lnTo>
                      <a:pt x="0" y="0"/>
                    </a:lnTo>
                    <a:lnTo>
                      <a:pt x="0" y="1"/>
                    </a:lnTo>
                    <a:lnTo>
                      <a:pt x="3" y="1"/>
                    </a:lnTo>
                    <a:lnTo>
                      <a:pt x="3"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47" name="Freeform 981"/>
              <p:cNvSpPr>
                <a:spLocks/>
              </p:cNvSpPr>
              <p:nvPr/>
            </p:nvSpPr>
            <p:spPr bwMode="auto">
              <a:xfrm>
                <a:off x="5897764" y="2857817"/>
                <a:ext cx="156248" cy="196741"/>
              </a:xfrm>
              <a:custGeom>
                <a:avLst/>
                <a:gdLst/>
                <a:ahLst/>
                <a:cxnLst>
                  <a:cxn ang="0">
                    <a:pos x="4" y="91"/>
                  </a:cxn>
                  <a:cxn ang="0">
                    <a:pos x="2" y="95"/>
                  </a:cxn>
                  <a:cxn ang="0">
                    <a:pos x="0" y="96"/>
                  </a:cxn>
                  <a:cxn ang="0">
                    <a:pos x="0" y="96"/>
                  </a:cxn>
                  <a:cxn ang="0">
                    <a:pos x="6" y="102"/>
                  </a:cxn>
                  <a:cxn ang="0">
                    <a:pos x="9" y="102"/>
                  </a:cxn>
                  <a:cxn ang="0">
                    <a:pos x="12" y="114"/>
                  </a:cxn>
                  <a:cxn ang="0">
                    <a:pos x="9" y="120"/>
                  </a:cxn>
                  <a:cxn ang="0">
                    <a:pos x="7" y="121"/>
                  </a:cxn>
                  <a:cxn ang="0">
                    <a:pos x="13" y="146"/>
                  </a:cxn>
                  <a:cxn ang="0">
                    <a:pos x="7" y="169"/>
                  </a:cxn>
                  <a:cxn ang="0">
                    <a:pos x="10" y="163"/>
                  </a:cxn>
                  <a:cxn ang="0">
                    <a:pos x="12" y="163"/>
                  </a:cxn>
                  <a:cxn ang="0">
                    <a:pos x="19" y="163"/>
                  </a:cxn>
                  <a:cxn ang="0">
                    <a:pos x="20" y="163"/>
                  </a:cxn>
                  <a:cxn ang="0">
                    <a:pos x="26" y="162"/>
                  </a:cxn>
                  <a:cxn ang="0">
                    <a:pos x="26" y="162"/>
                  </a:cxn>
                  <a:cxn ang="0">
                    <a:pos x="29" y="162"/>
                  </a:cxn>
                  <a:cxn ang="0">
                    <a:pos x="35" y="162"/>
                  </a:cxn>
                  <a:cxn ang="0">
                    <a:pos x="38" y="162"/>
                  </a:cxn>
                  <a:cxn ang="0">
                    <a:pos x="39" y="163"/>
                  </a:cxn>
                  <a:cxn ang="0">
                    <a:pos x="42" y="168"/>
                  </a:cxn>
                  <a:cxn ang="0">
                    <a:pos x="47" y="168"/>
                  </a:cxn>
                  <a:cxn ang="0">
                    <a:pos x="48" y="169"/>
                  </a:cxn>
                  <a:cxn ang="0">
                    <a:pos x="50" y="169"/>
                  </a:cxn>
                  <a:cxn ang="0">
                    <a:pos x="54" y="176"/>
                  </a:cxn>
                  <a:cxn ang="0">
                    <a:pos x="55" y="178"/>
                  </a:cxn>
                  <a:cxn ang="0">
                    <a:pos x="57" y="178"/>
                  </a:cxn>
                  <a:cxn ang="0">
                    <a:pos x="58" y="178"/>
                  </a:cxn>
                  <a:cxn ang="0">
                    <a:pos x="60" y="181"/>
                  </a:cxn>
                  <a:cxn ang="0">
                    <a:pos x="58" y="182"/>
                  </a:cxn>
                  <a:cxn ang="0">
                    <a:pos x="60" y="182"/>
                  </a:cxn>
                  <a:cxn ang="0">
                    <a:pos x="61" y="184"/>
                  </a:cxn>
                  <a:cxn ang="0">
                    <a:pos x="64" y="185"/>
                  </a:cxn>
                  <a:cxn ang="0">
                    <a:pos x="65" y="186"/>
                  </a:cxn>
                  <a:cxn ang="0">
                    <a:pos x="67" y="188"/>
                  </a:cxn>
                  <a:cxn ang="0">
                    <a:pos x="74" y="184"/>
                  </a:cxn>
                  <a:cxn ang="0">
                    <a:pos x="80" y="173"/>
                  </a:cxn>
                  <a:cxn ang="0">
                    <a:pos x="80" y="173"/>
                  </a:cxn>
                  <a:cxn ang="0">
                    <a:pos x="83" y="175"/>
                  </a:cxn>
                  <a:cxn ang="0">
                    <a:pos x="92" y="184"/>
                  </a:cxn>
                  <a:cxn ang="0">
                    <a:pos x="163" y="179"/>
                  </a:cxn>
                  <a:cxn ang="0">
                    <a:pos x="160" y="165"/>
                  </a:cxn>
                  <a:cxn ang="0">
                    <a:pos x="171" y="35"/>
                  </a:cxn>
                  <a:cxn ang="0">
                    <a:pos x="119" y="18"/>
                  </a:cxn>
                  <a:cxn ang="0">
                    <a:pos x="74" y="59"/>
                  </a:cxn>
                  <a:cxn ang="0">
                    <a:pos x="58" y="63"/>
                  </a:cxn>
                  <a:cxn ang="0">
                    <a:pos x="58" y="91"/>
                  </a:cxn>
                </a:cxnLst>
                <a:rect l="0" t="0" r="r" b="b"/>
                <a:pathLst>
                  <a:path w="171" h="189">
                    <a:moveTo>
                      <a:pt x="52" y="91"/>
                    </a:moveTo>
                    <a:lnTo>
                      <a:pt x="4" y="91"/>
                    </a:lnTo>
                    <a:lnTo>
                      <a:pt x="4" y="92"/>
                    </a:lnTo>
                    <a:lnTo>
                      <a:pt x="2" y="95"/>
                    </a:lnTo>
                    <a:lnTo>
                      <a:pt x="2" y="95"/>
                    </a:lnTo>
                    <a:lnTo>
                      <a:pt x="0" y="96"/>
                    </a:lnTo>
                    <a:lnTo>
                      <a:pt x="0" y="96"/>
                    </a:lnTo>
                    <a:lnTo>
                      <a:pt x="0" y="96"/>
                    </a:lnTo>
                    <a:lnTo>
                      <a:pt x="3" y="95"/>
                    </a:lnTo>
                    <a:lnTo>
                      <a:pt x="6" y="102"/>
                    </a:lnTo>
                    <a:lnTo>
                      <a:pt x="7" y="102"/>
                    </a:lnTo>
                    <a:lnTo>
                      <a:pt x="9" y="102"/>
                    </a:lnTo>
                    <a:lnTo>
                      <a:pt x="12" y="108"/>
                    </a:lnTo>
                    <a:lnTo>
                      <a:pt x="12" y="114"/>
                    </a:lnTo>
                    <a:lnTo>
                      <a:pt x="10" y="118"/>
                    </a:lnTo>
                    <a:lnTo>
                      <a:pt x="9" y="120"/>
                    </a:lnTo>
                    <a:lnTo>
                      <a:pt x="7" y="120"/>
                    </a:lnTo>
                    <a:lnTo>
                      <a:pt x="7" y="121"/>
                    </a:lnTo>
                    <a:lnTo>
                      <a:pt x="12" y="127"/>
                    </a:lnTo>
                    <a:lnTo>
                      <a:pt x="13" y="146"/>
                    </a:lnTo>
                    <a:lnTo>
                      <a:pt x="6" y="169"/>
                    </a:lnTo>
                    <a:lnTo>
                      <a:pt x="7" y="169"/>
                    </a:lnTo>
                    <a:lnTo>
                      <a:pt x="9" y="166"/>
                    </a:lnTo>
                    <a:lnTo>
                      <a:pt x="10" y="163"/>
                    </a:lnTo>
                    <a:lnTo>
                      <a:pt x="12" y="163"/>
                    </a:lnTo>
                    <a:lnTo>
                      <a:pt x="12" y="163"/>
                    </a:lnTo>
                    <a:lnTo>
                      <a:pt x="16" y="163"/>
                    </a:lnTo>
                    <a:lnTo>
                      <a:pt x="19" y="163"/>
                    </a:lnTo>
                    <a:lnTo>
                      <a:pt x="20" y="163"/>
                    </a:lnTo>
                    <a:lnTo>
                      <a:pt x="20" y="163"/>
                    </a:lnTo>
                    <a:lnTo>
                      <a:pt x="23" y="162"/>
                    </a:lnTo>
                    <a:lnTo>
                      <a:pt x="26" y="162"/>
                    </a:lnTo>
                    <a:lnTo>
                      <a:pt x="26" y="162"/>
                    </a:lnTo>
                    <a:lnTo>
                      <a:pt x="26" y="162"/>
                    </a:lnTo>
                    <a:lnTo>
                      <a:pt x="26" y="162"/>
                    </a:lnTo>
                    <a:lnTo>
                      <a:pt x="29" y="162"/>
                    </a:lnTo>
                    <a:lnTo>
                      <a:pt x="29" y="160"/>
                    </a:lnTo>
                    <a:lnTo>
                      <a:pt x="35" y="162"/>
                    </a:lnTo>
                    <a:lnTo>
                      <a:pt x="36" y="162"/>
                    </a:lnTo>
                    <a:lnTo>
                      <a:pt x="38" y="162"/>
                    </a:lnTo>
                    <a:lnTo>
                      <a:pt x="38" y="163"/>
                    </a:lnTo>
                    <a:lnTo>
                      <a:pt x="39" y="163"/>
                    </a:lnTo>
                    <a:lnTo>
                      <a:pt x="42" y="166"/>
                    </a:lnTo>
                    <a:lnTo>
                      <a:pt x="42" y="168"/>
                    </a:lnTo>
                    <a:lnTo>
                      <a:pt x="45" y="169"/>
                    </a:lnTo>
                    <a:lnTo>
                      <a:pt x="47" y="168"/>
                    </a:lnTo>
                    <a:lnTo>
                      <a:pt x="47" y="169"/>
                    </a:lnTo>
                    <a:lnTo>
                      <a:pt x="48" y="169"/>
                    </a:lnTo>
                    <a:lnTo>
                      <a:pt x="50" y="169"/>
                    </a:lnTo>
                    <a:lnTo>
                      <a:pt x="50" y="169"/>
                    </a:lnTo>
                    <a:lnTo>
                      <a:pt x="54" y="175"/>
                    </a:lnTo>
                    <a:lnTo>
                      <a:pt x="54" y="176"/>
                    </a:lnTo>
                    <a:lnTo>
                      <a:pt x="55" y="176"/>
                    </a:lnTo>
                    <a:lnTo>
                      <a:pt x="55" y="178"/>
                    </a:lnTo>
                    <a:lnTo>
                      <a:pt x="55" y="178"/>
                    </a:lnTo>
                    <a:lnTo>
                      <a:pt x="57" y="178"/>
                    </a:lnTo>
                    <a:lnTo>
                      <a:pt x="57" y="178"/>
                    </a:lnTo>
                    <a:lnTo>
                      <a:pt x="58" y="178"/>
                    </a:lnTo>
                    <a:lnTo>
                      <a:pt x="58" y="181"/>
                    </a:lnTo>
                    <a:lnTo>
                      <a:pt x="60" y="181"/>
                    </a:lnTo>
                    <a:lnTo>
                      <a:pt x="60" y="181"/>
                    </a:lnTo>
                    <a:lnTo>
                      <a:pt x="58" y="182"/>
                    </a:lnTo>
                    <a:lnTo>
                      <a:pt x="58" y="182"/>
                    </a:lnTo>
                    <a:lnTo>
                      <a:pt x="60" y="182"/>
                    </a:lnTo>
                    <a:lnTo>
                      <a:pt x="61" y="184"/>
                    </a:lnTo>
                    <a:lnTo>
                      <a:pt x="61" y="184"/>
                    </a:lnTo>
                    <a:lnTo>
                      <a:pt x="63" y="184"/>
                    </a:lnTo>
                    <a:lnTo>
                      <a:pt x="64" y="185"/>
                    </a:lnTo>
                    <a:lnTo>
                      <a:pt x="65" y="185"/>
                    </a:lnTo>
                    <a:lnTo>
                      <a:pt x="65" y="186"/>
                    </a:lnTo>
                    <a:lnTo>
                      <a:pt x="65" y="186"/>
                    </a:lnTo>
                    <a:lnTo>
                      <a:pt x="67" y="188"/>
                    </a:lnTo>
                    <a:lnTo>
                      <a:pt x="68" y="189"/>
                    </a:lnTo>
                    <a:lnTo>
                      <a:pt x="74" y="184"/>
                    </a:lnTo>
                    <a:lnTo>
                      <a:pt x="79" y="173"/>
                    </a:lnTo>
                    <a:lnTo>
                      <a:pt x="80" y="173"/>
                    </a:lnTo>
                    <a:lnTo>
                      <a:pt x="80" y="173"/>
                    </a:lnTo>
                    <a:lnTo>
                      <a:pt x="80" y="173"/>
                    </a:lnTo>
                    <a:lnTo>
                      <a:pt x="81" y="173"/>
                    </a:lnTo>
                    <a:lnTo>
                      <a:pt x="83" y="175"/>
                    </a:lnTo>
                    <a:lnTo>
                      <a:pt x="87" y="182"/>
                    </a:lnTo>
                    <a:lnTo>
                      <a:pt x="92" y="184"/>
                    </a:lnTo>
                    <a:lnTo>
                      <a:pt x="97" y="178"/>
                    </a:lnTo>
                    <a:lnTo>
                      <a:pt x="163" y="179"/>
                    </a:lnTo>
                    <a:lnTo>
                      <a:pt x="166" y="166"/>
                    </a:lnTo>
                    <a:lnTo>
                      <a:pt x="160" y="165"/>
                    </a:lnTo>
                    <a:lnTo>
                      <a:pt x="147" y="35"/>
                    </a:lnTo>
                    <a:lnTo>
                      <a:pt x="171" y="35"/>
                    </a:lnTo>
                    <a:lnTo>
                      <a:pt x="119" y="0"/>
                    </a:lnTo>
                    <a:lnTo>
                      <a:pt x="119" y="18"/>
                    </a:lnTo>
                    <a:lnTo>
                      <a:pt x="74" y="18"/>
                    </a:lnTo>
                    <a:lnTo>
                      <a:pt x="74" y="59"/>
                    </a:lnTo>
                    <a:lnTo>
                      <a:pt x="60" y="61"/>
                    </a:lnTo>
                    <a:lnTo>
                      <a:pt x="58" y="63"/>
                    </a:lnTo>
                    <a:lnTo>
                      <a:pt x="57" y="67"/>
                    </a:lnTo>
                    <a:lnTo>
                      <a:pt x="58" y="91"/>
                    </a:lnTo>
                    <a:lnTo>
                      <a:pt x="52" y="9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48" name="Freeform 982"/>
              <p:cNvSpPr>
                <a:spLocks/>
              </p:cNvSpPr>
              <p:nvPr/>
            </p:nvSpPr>
            <p:spPr bwMode="auto">
              <a:xfrm>
                <a:off x="5897764" y="2857817"/>
                <a:ext cx="156248" cy="196741"/>
              </a:xfrm>
              <a:custGeom>
                <a:avLst/>
                <a:gdLst/>
                <a:ahLst/>
                <a:cxnLst>
                  <a:cxn ang="0">
                    <a:pos x="4" y="91"/>
                  </a:cxn>
                  <a:cxn ang="0">
                    <a:pos x="2" y="95"/>
                  </a:cxn>
                  <a:cxn ang="0">
                    <a:pos x="0" y="96"/>
                  </a:cxn>
                  <a:cxn ang="0">
                    <a:pos x="0" y="96"/>
                  </a:cxn>
                  <a:cxn ang="0">
                    <a:pos x="6" y="102"/>
                  </a:cxn>
                  <a:cxn ang="0">
                    <a:pos x="9" y="102"/>
                  </a:cxn>
                  <a:cxn ang="0">
                    <a:pos x="12" y="114"/>
                  </a:cxn>
                  <a:cxn ang="0">
                    <a:pos x="9" y="120"/>
                  </a:cxn>
                  <a:cxn ang="0">
                    <a:pos x="7" y="121"/>
                  </a:cxn>
                  <a:cxn ang="0">
                    <a:pos x="13" y="146"/>
                  </a:cxn>
                  <a:cxn ang="0">
                    <a:pos x="7" y="169"/>
                  </a:cxn>
                  <a:cxn ang="0">
                    <a:pos x="10" y="163"/>
                  </a:cxn>
                  <a:cxn ang="0">
                    <a:pos x="12" y="163"/>
                  </a:cxn>
                  <a:cxn ang="0">
                    <a:pos x="19" y="163"/>
                  </a:cxn>
                  <a:cxn ang="0">
                    <a:pos x="20" y="163"/>
                  </a:cxn>
                  <a:cxn ang="0">
                    <a:pos x="26" y="162"/>
                  </a:cxn>
                  <a:cxn ang="0">
                    <a:pos x="26" y="162"/>
                  </a:cxn>
                  <a:cxn ang="0">
                    <a:pos x="29" y="162"/>
                  </a:cxn>
                  <a:cxn ang="0">
                    <a:pos x="35" y="162"/>
                  </a:cxn>
                  <a:cxn ang="0">
                    <a:pos x="38" y="162"/>
                  </a:cxn>
                  <a:cxn ang="0">
                    <a:pos x="39" y="163"/>
                  </a:cxn>
                  <a:cxn ang="0">
                    <a:pos x="42" y="168"/>
                  </a:cxn>
                  <a:cxn ang="0">
                    <a:pos x="47" y="168"/>
                  </a:cxn>
                  <a:cxn ang="0">
                    <a:pos x="48" y="169"/>
                  </a:cxn>
                  <a:cxn ang="0">
                    <a:pos x="50" y="169"/>
                  </a:cxn>
                  <a:cxn ang="0">
                    <a:pos x="54" y="176"/>
                  </a:cxn>
                  <a:cxn ang="0">
                    <a:pos x="55" y="178"/>
                  </a:cxn>
                  <a:cxn ang="0">
                    <a:pos x="57" y="178"/>
                  </a:cxn>
                  <a:cxn ang="0">
                    <a:pos x="58" y="178"/>
                  </a:cxn>
                  <a:cxn ang="0">
                    <a:pos x="60" y="181"/>
                  </a:cxn>
                  <a:cxn ang="0">
                    <a:pos x="58" y="182"/>
                  </a:cxn>
                  <a:cxn ang="0">
                    <a:pos x="60" y="182"/>
                  </a:cxn>
                  <a:cxn ang="0">
                    <a:pos x="61" y="184"/>
                  </a:cxn>
                  <a:cxn ang="0">
                    <a:pos x="64" y="185"/>
                  </a:cxn>
                  <a:cxn ang="0">
                    <a:pos x="65" y="186"/>
                  </a:cxn>
                  <a:cxn ang="0">
                    <a:pos x="67" y="188"/>
                  </a:cxn>
                  <a:cxn ang="0">
                    <a:pos x="74" y="184"/>
                  </a:cxn>
                  <a:cxn ang="0">
                    <a:pos x="80" y="173"/>
                  </a:cxn>
                  <a:cxn ang="0">
                    <a:pos x="80" y="173"/>
                  </a:cxn>
                  <a:cxn ang="0">
                    <a:pos x="83" y="175"/>
                  </a:cxn>
                  <a:cxn ang="0">
                    <a:pos x="92" y="184"/>
                  </a:cxn>
                  <a:cxn ang="0">
                    <a:pos x="163" y="179"/>
                  </a:cxn>
                  <a:cxn ang="0">
                    <a:pos x="160" y="165"/>
                  </a:cxn>
                  <a:cxn ang="0">
                    <a:pos x="171" y="35"/>
                  </a:cxn>
                  <a:cxn ang="0">
                    <a:pos x="119" y="18"/>
                  </a:cxn>
                  <a:cxn ang="0">
                    <a:pos x="74" y="59"/>
                  </a:cxn>
                  <a:cxn ang="0">
                    <a:pos x="58" y="63"/>
                  </a:cxn>
                  <a:cxn ang="0">
                    <a:pos x="58" y="91"/>
                  </a:cxn>
                </a:cxnLst>
                <a:rect l="0" t="0" r="r" b="b"/>
                <a:pathLst>
                  <a:path w="171" h="189">
                    <a:moveTo>
                      <a:pt x="52" y="91"/>
                    </a:moveTo>
                    <a:lnTo>
                      <a:pt x="4" y="91"/>
                    </a:lnTo>
                    <a:lnTo>
                      <a:pt x="4" y="92"/>
                    </a:lnTo>
                    <a:lnTo>
                      <a:pt x="2" y="95"/>
                    </a:lnTo>
                    <a:lnTo>
                      <a:pt x="2" y="95"/>
                    </a:lnTo>
                    <a:lnTo>
                      <a:pt x="0" y="96"/>
                    </a:lnTo>
                    <a:lnTo>
                      <a:pt x="0" y="96"/>
                    </a:lnTo>
                    <a:lnTo>
                      <a:pt x="0" y="96"/>
                    </a:lnTo>
                    <a:lnTo>
                      <a:pt x="3" y="95"/>
                    </a:lnTo>
                    <a:lnTo>
                      <a:pt x="6" y="102"/>
                    </a:lnTo>
                    <a:lnTo>
                      <a:pt x="7" y="102"/>
                    </a:lnTo>
                    <a:lnTo>
                      <a:pt x="9" y="102"/>
                    </a:lnTo>
                    <a:lnTo>
                      <a:pt x="12" y="108"/>
                    </a:lnTo>
                    <a:lnTo>
                      <a:pt x="12" y="114"/>
                    </a:lnTo>
                    <a:lnTo>
                      <a:pt x="10" y="118"/>
                    </a:lnTo>
                    <a:lnTo>
                      <a:pt x="9" y="120"/>
                    </a:lnTo>
                    <a:lnTo>
                      <a:pt x="7" y="120"/>
                    </a:lnTo>
                    <a:lnTo>
                      <a:pt x="7" y="121"/>
                    </a:lnTo>
                    <a:lnTo>
                      <a:pt x="12" y="127"/>
                    </a:lnTo>
                    <a:lnTo>
                      <a:pt x="13" y="146"/>
                    </a:lnTo>
                    <a:lnTo>
                      <a:pt x="6" y="169"/>
                    </a:lnTo>
                    <a:lnTo>
                      <a:pt x="7" y="169"/>
                    </a:lnTo>
                    <a:lnTo>
                      <a:pt x="9" y="166"/>
                    </a:lnTo>
                    <a:lnTo>
                      <a:pt x="10" y="163"/>
                    </a:lnTo>
                    <a:lnTo>
                      <a:pt x="12" y="163"/>
                    </a:lnTo>
                    <a:lnTo>
                      <a:pt x="12" y="163"/>
                    </a:lnTo>
                    <a:lnTo>
                      <a:pt x="16" y="163"/>
                    </a:lnTo>
                    <a:lnTo>
                      <a:pt x="19" y="163"/>
                    </a:lnTo>
                    <a:lnTo>
                      <a:pt x="20" y="163"/>
                    </a:lnTo>
                    <a:lnTo>
                      <a:pt x="20" y="163"/>
                    </a:lnTo>
                    <a:lnTo>
                      <a:pt x="23" y="162"/>
                    </a:lnTo>
                    <a:lnTo>
                      <a:pt x="26" y="162"/>
                    </a:lnTo>
                    <a:lnTo>
                      <a:pt x="26" y="162"/>
                    </a:lnTo>
                    <a:lnTo>
                      <a:pt x="26" y="162"/>
                    </a:lnTo>
                    <a:lnTo>
                      <a:pt x="26" y="162"/>
                    </a:lnTo>
                    <a:lnTo>
                      <a:pt x="29" y="162"/>
                    </a:lnTo>
                    <a:lnTo>
                      <a:pt x="29" y="160"/>
                    </a:lnTo>
                    <a:lnTo>
                      <a:pt x="35" y="162"/>
                    </a:lnTo>
                    <a:lnTo>
                      <a:pt x="36" y="162"/>
                    </a:lnTo>
                    <a:lnTo>
                      <a:pt x="38" y="162"/>
                    </a:lnTo>
                    <a:lnTo>
                      <a:pt x="38" y="163"/>
                    </a:lnTo>
                    <a:lnTo>
                      <a:pt x="39" y="163"/>
                    </a:lnTo>
                    <a:lnTo>
                      <a:pt x="42" y="166"/>
                    </a:lnTo>
                    <a:lnTo>
                      <a:pt x="42" y="168"/>
                    </a:lnTo>
                    <a:lnTo>
                      <a:pt x="45" y="169"/>
                    </a:lnTo>
                    <a:lnTo>
                      <a:pt x="47" y="168"/>
                    </a:lnTo>
                    <a:lnTo>
                      <a:pt x="47" y="169"/>
                    </a:lnTo>
                    <a:lnTo>
                      <a:pt x="48" y="169"/>
                    </a:lnTo>
                    <a:lnTo>
                      <a:pt x="50" y="169"/>
                    </a:lnTo>
                    <a:lnTo>
                      <a:pt x="50" y="169"/>
                    </a:lnTo>
                    <a:lnTo>
                      <a:pt x="54" y="175"/>
                    </a:lnTo>
                    <a:lnTo>
                      <a:pt x="54" y="176"/>
                    </a:lnTo>
                    <a:lnTo>
                      <a:pt x="55" y="176"/>
                    </a:lnTo>
                    <a:lnTo>
                      <a:pt x="55" y="178"/>
                    </a:lnTo>
                    <a:lnTo>
                      <a:pt x="55" y="178"/>
                    </a:lnTo>
                    <a:lnTo>
                      <a:pt x="57" y="178"/>
                    </a:lnTo>
                    <a:lnTo>
                      <a:pt x="57" y="178"/>
                    </a:lnTo>
                    <a:lnTo>
                      <a:pt x="58" y="178"/>
                    </a:lnTo>
                    <a:lnTo>
                      <a:pt x="58" y="181"/>
                    </a:lnTo>
                    <a:lnTo>
                      <a:pt x="60" y="181"/>
                    </a:lnTo>
                    <a:lnTo>
                      <a:pt x="60" y="181"/>
                    </a:lnTo>
                    <a:lnTo>
                      <a:pt x="58" y="182"/>
                    </a:lnTo>
                    <a:lnTo>
                      <a:pt x="58" y="182"/>
                    </a:lnTo>
                    <a:lnTo>
                      <a:pt x="60" y="182"/>
                    </a:lnTo>
                    <a:lnTo>
                      <a:pt x="61" y="184"/>
                    </a:lnTo>
                    <a:lnTo>
                      <a:pt x="61" y="184"/>
                    </a:lnTo>
                    <a:lnTo>
                      <a:pt x="63" y="184"/>
                    </a:lnTo>
                    <a:lnTo>
                      <a:pt x="64" y="185"/>
                    </a:lnTo>
                    <a:lnTo>
                      <a:pt x="65" y="185"/>
                    </a:lnTo>
                    <a:lnTo>
                      <a:pt x="65" y="186"/>
                    </a:lnTo>
                    <a:lnTo>
                      <a:pt x="65" y="186"/>
                    </a:lnTo>
                    <a:lnTo>
                      <a:pt x="67" y="188"/>
                    </a:lnTo>
                    <a:lnTo>
                      <a:pt x="68" y="189"/>
                    </a:lnTo>
                    <a:lnTo>
                      <a:pt x="74" y="184"/>
                    </a:lnTo>
                    <a:lnTo>
                      <a:pt x="79" y="173"/>
                    </a:lnTo>
                    <a:lnTo>
                      <a:pt x="80" y="173"/>
                    </a:lnTo>
                    <a:lnTo>
                      <a:pt x="80" y="173"/>
                    </a:lnTo>
                    <a:lnTo>
                      <a:pt x="80" y="173"/>
                    </a:lnTo>
                    <a:lnTo>
                      <a:pt x="81" y="173"/>
                    </a:lnTo>
                    <a:lnTo>
                      <a:pt x="83" y="175"/>
                    </a:lnTo>
                    <a:lnTo>
                      <a:pt x="87" y="182"/>
                    </a:lnTo>
                    <a:lnTo>
                      <a:pt x="92" y="184"/>
                    </a:lnTo>
                    <a:lnTo>
                      <a:pt x="97" y="178"/>
                    </a:lnTo>
                    <a:lnTo>
                      <a:pt x="163" y="179"/>
                    </a:lnTo>
                    <a:lnTo>
                      <a:pt x="166" y="166"/>
                    </a:lnTo>
                    <a:lnTo>
                      <a:pt x="160" y="165"/>
                    </a:lnTo>
                    <a:lnTo>
                      <a:pt x="147" y="35"/>
                    </a:lnTo>
                    <a:lnTo>
                      <a:pt x="171" y="35"/>
                    </a:lnTo>
                    <a:lnTo>
                      <a:pt x="119" y="0"/>
                    </a:lnTo>
                    <a:lnTo>
                      <a:pt x="119" y="18"/>
                    </a:lnTo>
                    <a:lnTo>
                      <a:pt x="74" y="18"/>
                    </a:lnTo>
                    <a:lnTo>
                      <a:pt x="74" y="59"/>
                    </a:lnTo>
                    <a:lnTo>
                      <a:pt x="60" y="61"/>
                    </a:lnTo>
                    <a:lnTo>
                      <a:pt x="58" y="63"/>
                    </a:lnTo>
                    <a:lnTo>
                      <a:pt x="57" y="67"/>
                    </a:lnTo>
                    <a:lnTo>
                      <a:pt x="58" y="91"/>
                    </a:lnTo>
                    <a:lnTo>
                      <a:pt x="52" y="9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49" name="Freeform 983"/>
              <p:cNvSpPr>
                <a:spLocks/>
              </p:cNvSpPr>
              <p:nvPr/>
            </p:nvSpPr>
            <p:spPr bwMode="auto">
              <a:xfrm>
                <a:off x="6406887" y="3394293"/>
                <a:ext cx="150982" cy="150091"/>
              </a:xfrm>
              <a:custGeom>
                <a:avLst/>
                <a:gdLst/>
                <a:ahLst/>
                <a:cxnLst>
                  <a:cxn ang="0">
                    <a:pos x="30" y="70"/>
                  </a:cxn>
                  <a:cxn ang="0">
                    <a:pos x="27" y="67"/>
                  </a:cxn>
                  <a:cxn ang="0">
                    <a:pos x="29" y="41"/>
                  </a:cxn>
                  <a:cxn ang="0">
                    <a:pos x="29" y="40"/>
                  </a:cxn>
                  <a:cxn ang="0">
                    <a:pos x="35" y="41"/>
                  </a:cxn>
                  <a:cxn ang="0">
                    <a:pos x="35" y="45"/>
                  </a:cxn>
                  <a:cxn ang="0">
                    <a:pos x="45" y="42"/>
                  </a:cxn>
                  <a:cxn ang="0">
                    <a:pos x="48" y="48"/>
                  </a:cxn>
                  <a:cxn ang="0">
                    <a:pos x="71" y="53"/>
                  </a:cxn>
                  <a:cxn ang="0">
                    <a:pos x="84" y="60"/>
                  </a:cxn>
                  <a:cxn ang="0">
                    <a:pos x="90" y="66"/>
                  </a:cxn>
                  <a:cxn ang="0">
                    <a:pos x="103" y="73"/>
                  </a:cxn>
                  <a:cxn ang="0">
                    <a:pos x="107" y="74"/>
                  </a:cxn>
                  <a:cxn ang="0">
                    <a:pos x="110" y="74"/>
                  </a:cxn>
                  <a:cxn ang="0">
                    <a:pos x="107" y="58"/>
                  </a:cxn>
                  <a:cxn ang="0">
                    <a:pos x="97" y="58"/>
                  </a:cxn>
                  <a:cxn ang="0">
                    <a:pos x="99" y="26"/>
                  </a:cxn>
                  <a:cxn ang="0">
                    <a:pos x="101" y="5"/>
                  </a:cxn>
                  <a:cxn ang="0">
                    <a:pos x="122" y="5"/>
                  </a:cxn>
                  <a:cxn ang="0">
                    <a:pos x="125" y="8"/>
                  </a:cxn>
                  <a:cxn ang="0">
                    <a:pos x="132" y="6"/>
                  </a:cxn>
                  <a:cxn ang="0">
                    <a:pos x="155" y="16"/>
                  </a:cxn>
                  <a:cxn ang="0">
                    <a:pos x="155" y="19"/>
                  </a:cxn>
                  <a:cxn ang="0">
                    <a:pos x="157" y="22"/>
                  </a:cxn>
                  <a:cxn ang="0">
                    <a:pos x="162" y="28"/>
                  </a:cxn>
                  <a:cxn ang="0">
                    <a:pos x="165" y="35"/>
                  </a:cxn>
                  <a:cxn ang="0">
                    <a:pos x="164" y="40"/>
                  </a:cxn>
                  <a:cxn ang="0">
                    <a:pos x="162" y="45"/>
                  </a:cxn>
                  <a:cxn ang="0">
                    <a:pos x="161" y="61"/>
                  </a:cxn>
                  <a:cxn ang="0">
                    <a:pos x="162" y="64"/>
                  </a:cxn>
                  <a:cxn ang="0">
                    <a:pos x="157" y="66"/>
                  </a:cxn>
                  <a:cxn ang="0">
                    <a:pos x="152" y="79"/>
                  </a:cxn>
                  <a:cxn ang="0">
                    <a:pos x="155" y="83"/>
                  </a:cxn>
                  <a:cxn ang="0">
                    <a:pos x="158" y="85"/>
                  </a:cxn>
                  <a:cxn ang="0">
                    <a:pos x="116" y="108"/>
                  </a:cxn>
                  <a:cxn ang="0">
                    <a:pos x="114" y="109"/>
                  </a:cxn>
                  <a:cxn ang="0">
                    <a:pos x="110" y="108"/>
                  </a:cxn>
                  <a:cxn ang="0">
                    <a:pos x="101" y="111"/>
                  </a:cxn>
                  <a:cxn ang="0">
                    <a:pos x="94" y="114"/>
                  </a:cxn>
                  <a:cxn ang="0">
                    <a:pos x="87" y="122"/>
                  </a:cxn>
                  <a:cxn ang="0">
                    <a:pos x="84" y="127"/>
                  </a:cxn>
                  <a:cxn ang="0">
                    <a:pos x="80" y="127"/>
                  </a:cxn>
                  <a:cxn ang="0">
                    <a:pos x="77" y="131"/>
                  </a:cxn>
                  <a:cxn ang="0">
                    <a:pos x="74" y="137"/>
                  </a:cxn>
                  <a:cxn ang="0">
                    <a:pos x="65" y="144"/>
                  </a:cxn>
                  <a:cxn ang="0">
                    <a:pos x="62" y="143"/>
                  </a:cxn>
                  <a:cxn ang="0">
                    <a:pos x="55" y="143"/>
                  </a:cxn>
                  <a:cxn ang="0">
                    <a:pos x="45" y="141"/>
                  </a:cxn>
                  <a:cxn ang="0">
                    <a:pos x="40" y="137"/>
                  </a:cxn>
                  <a:cxn ang="0">
                    <a:pos x="30" y="134"/>
                  </a:cxn>
                  <a:cxn ang="0">
                    <a:pos x="13" y="135"/>
                  </a:cxn>
                  <a:cxn ang="0">
                    <a:pos x="0" y="122"/>
                  </a:cxn>
                </a:cxnLst>
                <a:rect l="0" t="0" r="r" b="b"/>
                <a:pathLst>
                  <a:path w="165" h="144">
                    <a:moveTo>
                      <a:pt x="0" y="122"/>
                    </a:moveTo>
                    <a:lnTo>
                      <a:pt x="0" y="70"/>
                    </a:lnTo>
                    <a:lnTo>
                      <a:pt x="30" y="70"/>
                    </a:lnTo>
                    <a:lnTo>
                      <a:pt x="29" y="69"/>
                    </a:lnTo>
                    <a:lnTo>
                      <a:pt x="27" y="69"/>
                    </a:lnTo>
                    <a:lnTo>
                      <a:pt x="27" y="67"/>
                    </a:lnTo>
                    <a:lnTo>
                      <a:pt x="29" y="44"/>
                    </a:lnTo>
                    <a:lnTo>
                      <a:pt x="29" y="42"/>
                    </a:lnTo>
                    <a:lnTo>
                      <a:pt x="29" y="41"/>
                    </a:lnTo>
                    <a:lnTo>
                      <a:pt x="29" y="41"/>
                    </a:lnTo>
                    <a:lnTo>
                      <a:pt x="29" y="40"/>
                    </a:lnTo>
                    <a:lnTo>
                      <a:pt x="29" y="40"/>
                    </a:lnTo>
                    <a:lnTo>
                      <a:pt x="32" y="38"/>
                    </a:lnTo>
                    <a:lnTo>
                      <a:pt x="32" y="38"/>
                    </a:lnTo>
                    <a:lnTo>
                      <a:pt x="35" y="41"/>
                    </a:lnTo>
                    <a:lnTo>
                      <a:pt x="33" y="44"/>
                    </a:lnTo>
                    <a:lnTo>
                      <a:pt x="35" y="45"/>
                    </a:lnTo>
                    <a:lnTo>
                      <a:pt x="35" y="45"/>
                    </a:lnTo>
                    <a:lnTo>
                      <a:pt x="40" y="44"/>
                    </a:lnTo>
                    <a:lnTo>
                      <a:pt x="42" y="44"/>
                    </a:lnTo>
                    <a:lnTo>
                      <a:pt x="45" y="42"/>
                    </a:lnTo>
                    <a:lnTo>
                      <a:pt x="46" y="45"/>
                    </a:lnTo>
                    <a:lnTo>
                      <a:pt x="48" y="47"/>
                    </a:lnTo>
                    <a:lnTo>
                      <a:pt x="48" y="48"/>
                    </a:lnTo>
                    <a:lnTo>
                      <a:pt x="59" y="54"/>
                    </a:lnTo>
                    <a:lnTo>
                      <a:pt x="62" y="54"/>
                    </a:lnTo>
                    <a:lnTo>
                      <a:pt x="71" y="53"/>
                    </a:lnTo>
                    <a:lnTo>
                      <a:pt x="72" y="53"/>
                    </a:lnTo>
                    <a:lnTo>
                      <a:pt x="77" y="57"/>
                    </a:lnTo>
                    <a:lnTo>
                      <a:pt x="84" y="60"/>
                    </a:lnTo>
                    <a:lnTo>
                      <a:pt x="87" y="60"/>
                    </a:lnTo>
                    <a:lnTo>
                      <a:pt x="88" y="61"/>
                    </a:lnTo>
                    <a:lnTo>
                      <a:pt x="90" y="66"/>
                    </a:lnTo>
                    <a:lnTo>
                      <a:pt x="97" y="72"/>
                    </a:lnTo>
                    <a:lnTo>
                      <a:pt x="103" y="73"/>
                    </a:lnTo>
                    <a:lnTo>
                      <a:pt x="103" y="73"/>
                    </a:lnTo>
                    <a:lnTo>
                      <a:pt x="106" y="72"/>
                    </a:lnTo>
                    <a:lnTo>
                      <a:pt x="106" y="72"/>
                    </a:lnTo>
                    <a:lnTo>
                      <a:pt x="107" y="74"/>
                    </a:lnTo>
                    <a:lnTo>
                      <a:pt x="109" y="74"/>
                    </a:lnTo>
                    <a:lnTo>
                      <a:pt x="110" y="74"/>
                    </a:lnTo>
                    <a:lnTo>
                      <a:pt x="110" y="74"/>
                    </a:lnTo>
                    <a:lnTo>
                      <a:pt x="110" y="61"/>
                    </a:lnTo>
                    <a:lnTo>
                      <a:pt x="109" y="58"/>
                    </a:lnTo>
                    <a:lnTo>
                      <a:pt x="107" y="58"/>
                    </a:lnTo>
                    <a:lnTo>
                      <a:pt x="106" y="60"/>
                    </a:lnTo>
                    <a:lnTo>
                      <a:pt x="99" y="60"/>
                    </a:lnTo>
                    <a:lnTo>
                      <a:pt x="97" y="58"/>
                    </a:lnTo>
                    <a:lnTo>
                      <a:pt x="93" y="53"/>
                    </a:lnTo>
                    <a:lnTo>
                      <a:pt x="93" y="50"/>
                    </a:lnTo>
                    <a:lnTo>
                      <a:pt x="99" y="26"/>
                    </a:lnTo>
                    <a:lnTo>
                      <a:pt x="96" y="15"/>
                    </a:lnTo>
                    <a:lnTo>
                      <a:pt x="100" y="6"/>
                    </a:lnTo>
                    <a:lnTo>
                      <a:pt x="101" y="5"/>
                    </a:lnTo>
                    <a:lnTo>
                      <a:pt x="122" y="0"/>
                    </a:lnTo>
                    <a:lnTo>
                      <a:pt x="122" y="3"/>
                    </a:lnTo>
                    <a:lnTo>
                      <a:pt x="122" y="5"/>
                    </a:lnTo>
                    <a:lnTo>
                      <a:pt x="122" y="6"/>
                    </a:lnTo>
                    <a:lnTo>
                      <a:pt x="123" y="8"/>
                    </a:lnTo>
                    <a:lnTo>
                      <a:pt x="125" y="8"/>
                    </a:lnTo>
                    <a:lnTo>
                      <a:pt x="128" y="9"/>
                    </a:lnTo>
                    <a:lnTo>
                      <a:pt x="130" y="6"/>
                    </a:lnTo>
                    <a:lnTo>
                      <a:pt x="132" y="6"/>
                    </a:lnTo>
                    <a:lnTo>
                      <a:pt x="133" y="6"/>
                    </a:lnTo>
                    <a:lnTo>
                      <a:pt x="139" y="12"/>
                    </a:lnTo>
                    <a:lnTo>
                      <a:pt x="155" y="16"/>
                    </a:lnTo>
                    <a:lnTo>
                      <a:pt x="155" y="18"/>
                    </a:lnTo>
                    <a:lnTo>
                      <a:pt x="157" y="19"/>
                    </a:lnTo>
                    <a:lnTo>
                      <a:pt x="155" y="19"/>
                    </a:lnTo>
                    <a:lnTo>
                      <a:pt x="155" y="21"/>
                    </a:lnTo>
                    <a:lnTo>
                      <a:pt x="157" y="21"/>
                    </a:lnTo>
                    <a:lnTo>
                      <a:pt x="157" y="22"/>
                    </a:lnTo>
                    <a:lnTo>
                      <a:pt x="159" y="22"/>
                    </a:lnTo>
                    <a:lnTo>
                      <a:pt x="161" y="25"/>
                    </a:lnTo>
                    <a:lnTo>
                      <a:pt x="162" y="28"/>
                    </a:lnTo>
                    <a:lnTo>
                      <a:pt x="164" y="29"/>
                    </a:lnTo>
                    <a:lnTo>
                      <a:pt x="164" y="35"/>
                    </a:lnTo>
                    <a:lnTo>
                      <a:pt x="165" y="35"/>
                    </a:lnTo>
                    <a:lnTo>
                      <a:pt x="165" y="37"/>
                    </a:lnTo>
                    <a:lnTo>
                      <a:pt x="165" y="38"/>
                    </a:lnTo>
                    <a:lnTo>
                      <a:pt x="164" y="40"/>
                    </a:lnTo>
                    <a:lnTo>
                      <a:pt x="162" y="40"/>
                    </a:lnTo>
                    <a:lnTo>
                      <a:pt x="162" y="40"/>
                    </a:lnTo>
                    <a:lnTo>
                      <a:pt x="162" y="45"/>
                    </a:lnTo>
                    <a:lnTo>
                      <a:pt x="161" y="50"/>
                    </a:lnTo>
                    <a:lnTo>
                      <a:pt x="161" y="60"/>
                    </a:lnTo>
                    <a:lnTo>
                      <a:pt x="161" y="61"/>
                    </a:lnTo>
                    <a:lnTo>
                      <a:pt x="162" y="61"/>
                    </a:lnTo>
                    <a:lnTo>
                      <a:pt x="162" y="63"/>
                    </a:lnTo>
                    <a:lnTo>
                      <a:pt x="162" y="64"/>
                    </a:lnTo>
                    <a:lnTo>
                      <a:pt x="161" y="64"/>
                    </a:lnTo>
                    <a:lnTo>
                      <a:pt x="158" y="66"/>
                    </a:lnTo>
                    <a:lnTo>
                      <a:pt x="157" y="66"/>
                    </a:lnTo>
                    <a:lnTo>
                      <a:pt x="157" y="66"/>
                    </a:lnTo>
                    <a:lnTo>
                      <a:pt x="155" y="77"/>
                    </a:lnTo>
                    <a:lnTo>
                      <a:pt x="152" y="79"/>
                    </a:lnTo>
                    <a:lnTo>
                      <a:pt x="152" y="80"/>
                    </a:lnTo>
                    <a:lnTo>
                      <a:pt x="154" y="83"/>
                    </a:lnTo>
                    <a:lnTo>
                      <a:pt x="155" y="83"/>
                    </a:lnTo>
                    <a:lnTo>
                      <a:pt x="155" y="85"/>
                    </a:lnTo>
                    <a:lnTo>
                      <a:pt x="158" y="85"/>
                    </a:lnTo>
                    <a:lnTo>
                      <a:pt x="158" y="85"/>
                    </a:lnTo>
                    <a:lnTo>
                      <a:pt x="158" y="85"/>
                    </a:lnTo>
                    <a:lnTo>
                      <a:pt x="113" y="101"/>
                    </a:lnTo>
                    <a:lnTo>
                      <a:pt x="116" y="108"/>
                    </a:lnTo>
                    <a:lnTo>
                      <a:pt x="117" y="108"/>
                    </a:lnTo>
                    <a:lnTo>
                      <a:pt x="117" y="109"/>
                    </a:lnTo>
                    <a:lnTo>
                      <a:pt x="114" y="109"/>
                    </a:lnTo>
                    <a:lnTo>
                      <a:pt x="113" y="109"/>
                    </a:lnTo>
                    <a:lnTo>
                      <a:pt x="112" y="109"/>
                    </a:lnTo>
                    <a:lnTo>
                      <a:pt x="110" y="108"/>
                    </a:lnTo>
                    <a:lnTo>
                      <a:pt x="109" y="108"/>
                    </a:lnTo>
                    <a:lnTo>
                      <a:pt x="106" y="109"/>
                    </a:lnTo>
                    <a:lnTo>
                      <a:pt x="101" y="111"/>
                    </a:lnTo>
                    <a:lnTo>
                      <a:pt x="99" y="114"/>
                    </a:lnTo>
                    <a:lnTo>
                      <a:pt x="96" y="114"/>
                    </a:lnTo>
                    <a:lnTo>
                      <a:pt x="94" y="114"/>
                    </a:lnTo>
                    <a:lnTo>
                      <a:pt x="94" y="122"/>
                    </a:lnTo>
                    <a:lnTo>
                      <a:pt x="88" y="122"/>
                    </a:lnTo>
                    <a:lnTo>
                      <a:pt x="87" y="122"/>
                    </a:lnTo>
                    <a:lnTo>
                      <a:pt x="87" y="124"/>
                    </a:lnTo>
                    <a:lnTo>
                      <a:pt x="85" y="124"/>
                    </a:lnTo>
                    <a:lnTo>
                      <a:pt x="84" y="127"/>
                    </a:lnTo>
                    <a:lnTo>
                      <a:pt x="81" y="125"/>
                    </a:lnTo>
                    <a:lnTo>
                      <a:pt x="81" y="127"/>
                    </a:lnTo>
                    <a:lnTo>
                      <a:pt x="80" y="127"/>
                    </a:lnTo>
                    <a:lnTo>
                      <a:pt x="80" y="128"/>
                    </a:lnTo>
                    <a:lnTo>
                      <a:pt x="78" y="128"/>
                    </a:lnTo>
                    <a:lnTo>
                      <a:pt x="77" y="131"/>
                    </a:lnTo>
                    <a:lnTo>
                      <a:pt x="74" y="134"/>
                    </a:lnTo>
                    <a:lnTo>
                      <a:pt x="74" y="135"/>
                    </a:lnTo>
                    <a:lnTo>
                      <a:pt x="74" y="137"/>
                    </a:lnTo>
                    <a:lnTo>
                      <a:pt x="68" y="144"/>
                    </a:lnTo>
                    <a:lnTo>
                      <a:pt x="67" y="143"/>
                    </a:lnTo>
                    <a:lnTo>
                      <a:pt x="65" y="144"/>
                    </a:lnTo>
                    <a:lnTo>
                      <a:pt x="64" y="144"/>
                    </a:lnTo>
                    <a:lnTo>
                      <a:pt x="64" y="143"/>
                    </a:lnTo>
                    <a:lnTo>
                      <a:pt x="62" y="143"/>
                    </a:lnTo>
                    <a:lnTo>
                      <a:pt x="61" y="143"/>
                    </a:lnTo>
                    <a:lnTo>
                      <a:pt x="59" y="143"/>
                    </a:lnTo>
                    <a:lnTo>
                      <a:pt x="55" y="143"/>
                    </a:lnTo>
                    <a:lnTo>
                      <a:pt x="51" y="141"/>
                    </a:lnTo>
                    <a:lnTo>
                      <a:pt x="46" y="141"/>
                    </a:lnTo>
                    <a:lnTo>
                      <a:pt x="45" y="141"/>
                    </a:lnTo>
                    <a:lnTo>
                      <a:pt x="45" y="141"/>
                    </a:lnTo>
                    <a:lnTo>
                      <a:pt x="42" y="140"/>
                    </a:lnTo>
                    <a:lnTo>
                      <a:pt x="40" y="137"/>
                    </a:lnTo>
                    <a:lnTo>
                      <a:pt x="39" y="137"/>
                    </a:lnTo>
                    <a:lnTo>
                      <a:pt x="30" y="135"/>
                    </a:lnTo>
                    <a:lnTo>
                      <a:pt x="30" y="134"/>
                    </a:lnTo>
                    <a:lnTo>
                      <a:pt x="17" y="138"/>
                    </a:lnTo>
                    <a:lnTo>
                      <a:pt x="14" y="137"/>
                    </a:lnTo>
                    <a:lnTo>
                      <a:pt x="13" y="135"/>
                    </a:lnTo>
                    <a:lnTo>
                      <a:pt x="3" y="127"/>
                    </a:lnTo>
                    <a:lnTo>
                      <a:pt x="1" y="124"/>
                    </a:lnTo>
                    <a:lnTo>
                      <a:pt x="0" y="122"/>
                    </a:lnTo>
                    <a:lnTo>
                      <a:pt x="0" y="12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50" name="Freeform 984"/>
              <p:cNvSpPr>
                <a:spLocks/>
              </p:cNvSpPr>
              <p:nvPr/>
            </p:nvSpPr>
            <p:spPr bwMode="auto">
              <a:xfrm>
                <a:off x="6406887" y="3394293"/>
                <a:ext cx="150982" cy="150091"/>
              </a:xfrm>
              <a:custGeom>
                <a:avLst/>
                <a:gdLst/>
                <a:ahLst/>
                <a:cxnLst>
                  <a:cxn ang="0">
                    <a:pos x="30" y="70"/>
                  </a:cxn>
                  <a:cxn ang="0">
                    <a:pos x="27" y="67"/>
                  </a:cxn>
                  <a:cxn ang="0">
                    <a:pos x="29" y="41"/>
                  </a:cxn>
                  <a:cxn ang="0">
                    <a:pos x="29" y="40"/>
                  </a:cxn>
                  <a:cxn ang="0">
                    <a:pos x="35" y="41"/>
                  </a:cxn>
                  <a:cxn ang="0">
                    <a:pos x="35" y="45"/>
                  </a:cxn>
                  <a:cxn ang="0">
                    <a:pos x="45" y="42"/>
                  </a:cxn>
                  <a:cxn ang="0">
                    <a:pos x="48" y="48"/>
                  </a:cxn>
                  <a:cxn ang="0">
                    <a:pos x="71" y="53"/>
                  </a:cxn>
                  <a:cxn ang="0">
                    <a:pos x="84" y="60"/>
                  </a:cxn>
                  <a:cxn ang="0">
                    <a:pos x="90" y="66"/>
                  </a:cxn>
                  <a:cxn ang="0">
                    <a:pos x="103" y="73"/>
                  </a:cxn>
                  <a:cxn ang="0">
                    <a:pos x="107" y="74"/>
                  </a:cxn>
                  <a:cxn ang="0">
                    <a:pos x="110" y="74"/>
                  </a:cxn>
                  <a:cxn ang="0">
                    <a:pos x="107" y="58"/>
                  </a:cxn>
                  <a:cxn ang="0">
                    <a:pos x="97" y="58"/>
                  </a:cxn>
                  <a:cxn ang="0">
                    <a:pos x="99" y="26"/>
                  </a:cxn>
                  <a:cxn ang="0">
                    <a:pos x="101" y="5"/>
                  </a:cxn>
                  <a:cxn ang="0">
                    <a:pos x="122" y="5"/>
                  </a:cxn>
                  <a:cxn ang="0">
                    <a:pos x="125" y="8"/>
                  </a:cxn>
                  <a:cxn ang="0">
                    <a:pos x="132" y="6"/>
                  </a:cxn>
                  <a:cxn ang="0">
                    <a:pos x="155" y="16"/>
                  </a:cxn>
                  <a:cxn ang="0">
                    <a:pos x="155" y="19"/>
                  </a:cxn>
                  <a:cxn ang="0">
                    <a:pos x="157" y="22"/>
                  </a:cxn>
                  <a:cxn ang="0">
                    <a:pos x="162" y="28"/>
                  </a:cxn>
                  <a:cxn ang="0">
                    <a:pos x="165" y="35"/>
                  </a:cxn>
                  <a:cxn ang="0">
                    <a:pos x="164" y="40"/>
                  </a:cxn>
                  <a:cxn ang="0">
                    <a:pos x="162" y="45"/>
                  </a:cxn>
                  <a:cxn ang="0">
                    <a:pos x="161" y="61"/>
                  </a:cxn>
                  <a:cxn ang="0">
                    <a:pos x="162" y="64"/>
                  </a:cxn>
                  <a:cxn ang="0">
                    <a:pos x="157" y="66"/>
                  </a:cxn>
                  <a:cxn ang="0">
                    <a:pos x="152" y="79"/>
                  </a:cxn>
                  <a:cxn ang="0">
                    <a:pos x="155" y="83"/>
                  </a:cxn>
                  <a:cxn ang="0">
                    <a:pos x="158" y="85"/>
                  </a:cxn>
                  <a:cxn ang="0">
                    <a:pos x="116" y="108"/>
                  </a:cxn>
                  <a:cxn ang="0">
                    <a:pos x="114" y="109"/>
                  </a:cxn>
                  <a:cxn ang="0">
                    <a:pos x="110" y="108"/>
                  </a:cxn>
                  <a:cxn ang="0">
                    <a:pos x="101" y="111"/>
                  </a:cxn>
                  <a:cxn ang="0">
                    <a:pos x="94" y="114"/>
                  </a:cxn>
                  <a:cxn ang="0">
                    <a:pos x="87" y="122"/>
                  </a:cxn>
                  <a:cxn ang="0">
                    <a:pos x="84" y="127"/>
                  </a:cxn>
                  <a:cxn ang="0">
                    <a:pos x="80" y="127"/>
                  </a:cxn>
                  <a:cxn ang="0">
                    <a:pos x="77" y="131"/>
                  </a:cxn>
                  <a:cxn ang="0">
                    <a:pos x="74" y="137"/>
                  </a:cxn>
                  <a:cxn ang="0">
                    <a:pos x="65" y="144"/>
                  </a:cxn>
                  <a:cxn ang="0">
                    <a:pos x="62" y="143"/>
                  </a:cxn>
                  <a:cxn ang="0">
                    <a:pos x="55" y="143"/>
                  </a:cxn>
                  <a:cxn ang="0">
                    <a:pos x="45" y="141"/>
                  </a:cxn>
                  <a:cxn ang="0">
                    <a:pos x="40" y="137"/>
                  </a:cxn>
                  <a:cxn ang="0">
                    <a:pos x="30" y="134"/>
                  </a:cxn>
                  <a:cxn ang="0">
                    <a:pos x="13" y="135"/>
                  </a:cxn>
                  <a:cxn ang="0">
                    <a:pos x="0" y="122"/>
                  </a:cxn>
                </a:cxnLst>
                <a:rect l="0" t="0" r="r" b="b"/>
                <a:pathLst>
                  <a:path w="165" h="144">
                    <a:moveTo>
                      <a:pt x="0" y="122"/>
                    </a:moveTo>
                    <a:lnTo>
                      <a:pt x="0" y="70"/>
                    </a:lnTo>
                    <a:lnTo>
                      <a:pt x="30" y="70"/>
                    </a:lnTo>
                    <a:lnTo>
                      <a:pt x="29" y="69"/>
                    </a:lnTo>
                    <a:lnTo>
                      <a:pt x="27" y="69"/>
                    </a:lnTo>
                    <a:lnTo>
                      <a:pt x="27" y="67"/>
                    </a:lnTo>
                    <a:lnTo>
                      <a:pt x="29" y="44"/>
                    </a:lnTo>
                    <a:lnTo>
                      <a:pt x="29" y="42"/>
                    </a:lnTo>
                    <a:lnTo>
                      <a:pt x="29" y="41"/>
                    </a:lnTo>
                    <a:lnTo>
                      <a:pt x="29" y="41"/>
                    </a:lnTo>
                    <a:lnTo>
                      <a:pt x="29" y="40"/>
                    </a:lnTo>
                    <a:lnTo>
                      <a:pt x="29" y="40"/>
                    </a:lnTo>
                    <a:lnTo>
                      <a:pt x="32" y="38"/>
                    </a:lnTo>
                    <a:lnTo>
                      <a:pt x="32" y="38"/>
                    </a:lnTo>
                    <a:lnTo>
                      <a:pt x="35" y="41"/>
                    </a:lnTo>
                    <a:lnTo>
                      <a:pt x="33" y="44"/>
                    </a:lnTo>
                    <a:lnTo>
                      <a:pt x="35" y="45"/>
                    </a:lnTo>
                    <a:lnTo>
                      <a:pt x="35" y="45"/>
                    </a:lnTo>
                    <a:lnTo>
                      <a:pt x="40" y="44"/>
                    </a:lnTo>
                    <a:lnTo>
                      <a:pt x="42" y="44"/>
                    </a:lnTo>
                    <a:lnTo>
                      <a:pt x="45" y="42"/>
                    </a:lnTo>
                    <a:lnTo>
                      <a:pt x="46" y="45"/>
                    </a:lnTo>
                    <a:lnTo>
                      <a:pt x="48" y="47"/>
                    </a:lnTo>
                    <a:lnTo>
                      <a:pt x="48" y="48"/>
                    </a:lnTo>
                    <a:lnTo>
                      <a:pt x="59" y="54"/>
                    </a:lnTo>
                    <a:lnTo>
                      <a:pt x="62" y="54"/>
                    </a:lnTo>
                    <a:lnTo>
                      <a:pt x="71" y="53"/>
                    </a:lnTo>
                    <a:lnTo>
                      <a:pt x="72" y="53"/>
                    </a:lnTo>
                    <a:lnTo>
                      <a:pt x="77" y="57"/>
                    </a:lnTo>
                    <a:lnTo>
                      <a:pt x="84" y="60"/>
                    </a:lnTo>
                    <a:lnTo>
                      <a:pt x="87" y="60"/>
                    </a:lnTo>
                    <a:lnTo>
                      <a:pt x="88" y="61"/>
                    </a:lnTo>
                    <a:lnTo>
                      <a:pt x="90" y="66"/>
                    </a:lnTo>
                    <a:lnTo>
                      <a:pt x="97" y="72"/>
                    </a:lnTo>
                    <a:lnTo>
                      <a:pt x="103" y="73"/>
                    </a:lnTo>
                    <a:lnTo>
                      <a:pt x="103" y="73"/>
                    </a:lnTo>
                    <a:lnTo>
                      <a:pt x="106" y="72"/>
                    </a:lnTo>
                    <a:lnTo>
                      <a:pt x="106" y="72"/>
                    </a:lnTo>
                    <a:lnTo>
                      <a:pt x="107" y="74"/>
                    </a:lnTo>
                    <a:lnTo>
                      <a:pt x="109" y="74"/>
                    </a:lnTo>
                    <a:lnTo>
                      <a:pt x="110" y="74"/>
                    </a:lnTo>
                    <a:lnTo>
                      <a:pt x="110" y="74"/>
                    </a:lnTo>
                    <a:lnTo>
                      <a:pt x="110" y="61"/>
                    </a:lnTo>
                    <a:lnTo>
                      <a:pt x="109" y="58"/>
                    </a:lnTo>
                    <a:lnTo>
                      <a:pt x="107" y="58"/>
                    </a:lnTo>
                    <a:lnTo>
                      <a:pt x="106" y="60"/>
                    </a:lnTo>
                    <a:lnTo>
                      <a:pt x="99" y="60"/>
                    </a:lnTo>
                    <a:lnTo>
                      <a:pt x="97" y="58"/>
                    </a:lnTo>
                    <a:lnTo>
                      <a:pt x="93" y="53"/>
                    </a:lnTo>
                    <a:lnTo>
                      <a:pt x="93" y="50"/>
                    </a:lnTo>
                    <a:lnTo>
                      <a:pt x="99" y="26"/>
                    </a:lnTo>
                    <a:lnTo>
                      <a:pt x="96" y="15"/>
                    </a:lnTo>
                    <a:lnTo>
                      <a:pt x="100" y="6"/>
                    </a:lnTo>
                    <a:lnTo>
                      <a:pt x="101" y="5"/>
                    </a:lnTo>
                    <a:lnTo>
                      <a:pt x="122" y="0"/>
                    </a:lnTo>
                    <a:lnTo>
                      <a:pt x="122" y="3"/>
                    </a:lnTo>
                    <a:lnTo>
                      <a:pt x="122" y="5"/>
                    </a:lnTo>
                    <a:lnTo>
                      <a:pt x="122" y="6"/>
                    </a:lnTo>
                    <a:lnTo>
                      <a:pt x="123" y="8"/>
                    </a:lnTo>
                    <a:lnTo>
                      <a:pt x="125" y="8"/>
                    </a:lnTo>
                    <a:lnTo>
                      <a:pt x="128" y="9"/>
                    </a:lnTo>
                    <a:lnTo>
                      <a:pt x="130" y="6"/>
                    </a:lnTo>
                    <a:lnTo>
                      <a:pt x="132" y="6"/>
                    </a:lnTo>
                    <a:lnTo>
                      <a:pt x="133" y="6"/>
                    </a:lnTo>
                    <a:lnTo>
                      <a:pt x="139" y="12"/>
                    </a:lnTo>
                    <a:lnTo>
                      <a:pt x="155" y="16"/>
                    </a:lnTo>
                    <a:lnTo>
                      <a:pt x="155" y="18"/>
                    </a:lnTo>
                    <a:lnTo>
                      <a:pt x="157" y="19"/>
                    </a:lnTo>
                    <a:lnTo>
                      <a:pt x="155" y="19"/>
                    </a:lnTo>
                    <a:lnTo>
                      <a:pt x="155" y="21"/>
                    </a:lnTo>
                    <a:lnTo>
                      <a:pt x="157" y="21"/>
                    </a:lnTo>
                    <a:lnTo>
                      <a:pt x="157" y="22"/>
                    </a:lnTo>
                    <a:lnTo>
                      <a:pt x="159" y="22"/>
                    </a:lnTo>
                    <a:lnTo>
                      <a:pt x="161" y="25"/>
                    </a:lnTo>
                    <a:lnTo>
                      <a:pt x="162" y="28"/>
                    </a:lnTo>
                    <a:lnTo>
                      <a:pt x="164" y="29"/>
                    </a:lnTo>
                    <a:lnTo>
                      <a:pt x="164" y="35"/>
                    </a:lnTo>
                    <a:lnTo>
                      <a:pt x="165" y="35"/>
                    </a:lnTo>
                    <a:lnTo>
                      <a:pt x="165" y="37"/>
                    </a:lnTo>
                    <a:lnTo>
                      <a:pt x="165" y="38"/>
                    </a:lnTo>
                    <a:lnTo>
                      <a:pt x="164" y="40"/>
                    </a:lnTo>
                    <a:lnTo>
                      <a:pt x="162" y="40"/>
                    </a:lnTo>
                    <a:lnTo>
                      <a:pt x="162" y="40"/>
                    </a:lnTo>
                    <a:lnTo>
                      <a:pt x="162" y="45"/>
                    </a:lnTo>
                    <a:lnTo>
                      <a:pt x="161" y="50"/>
                    </a:lnTo>
                    <a:lnTo>
                      <a:pt x="161" y="60"/>
                    </a:lnTo>
                    <a:lnTo>
                      <a:pt x="161" y="61"/>
                    </a:lnTo>
                    <a:lnTo>
                      <a:pt x="162" y="61"/>
                    </a:lnTo>
                    <a:lnTo>
                      <a:pt x="162" y="63"/>
                    </a:lnTo>
                    <a:lnTo>
                      <a:pt x="162" y="64"/>
                    </a:lnTo>
                    <a:lnTo>
                      <a:pt x="161" y="64"/>
                    </a:lnTo>
                    <a:lnTo>
                      <a:pt x="158" y="66"/>
                    </a:lnTo>
                    <a:lnTo>
                      <a:pt x="157" y="66"/>
                    </a:lnTo>
                    <a:lnTo>
                      <a:pt x="157" y="66"/>
                    </a:lnTo>
                    <a:lnTo>
                      <a:pt x="155" y="77"/>
                    </a:lnTo>
                    <a:lnTo>
                      <a:pt x="152" y="79"/>
                    </a:lnTo>
                    <a:lnTo>
                      <a:pt x="152" y="80"/>
                    </a:lnTo>
                    <a:lnTo>
                      <a:pt x="154" y="83"/>
                    </a:lnTo>
                    <a:lnTo>
                      <a:pt x="155" y="83"/>
                    </a:lnTo>
                    <a:lnTo>
                      <a:pt x="155" y="85"/>
                    </a:lnTo>
                    <a:lnTo>
                      <a:pt x="158" y="85"/>
                    </a:lnTo>
                    <a:lnTo>
                      <a:pt x="158" y="85"/>
                    </a:lnTo>
                    <a:lnTo>
                      <a:pt x="158" y="85"/>
                    </a:lnTo>
                    <a:lnTo>
                      <a:pt x="113" y="101"/>
                    </a:lnTo>
                    <a:lnTo>
                      <a:pt x="116" y="108"/>
                    </a:lnTo>
                    <a:lnTo>
                      <a:pt x="117" y="108"/>
                    </a:lnTo>
                    <a:lnTo>
                      <a:pt x="117" y="109"/>
                    </a:lnTo>
                    <a:lnTo>
                      <a:pt x="114" y="109"/>
                    </a:lnTo>
                    <a:lnTo>
                      <a:pt x="113" y="109"/>
                    </a:lnTo>
                    <a:lnTo>
                      <a:pt x="112" y="109"/>
                    </a:lnTo>
                    <a:lnTo>
                      <a:pt x="110" y="108"/>
                    </a:lnTo>
                    <a:lnTo>
                      <a:pt x="109" y="108"/>
                    </a:lnTo>
                    <a:lnTo>
                      <a:pt x="106" y="109"/>
                    </a:lnTo>
                    <a:lnTo>
                      <a:pt x="101" y="111"/>
                    </a:lnTo>
                    <a:lnTo>
                      <a:pt x="99" y="114"/>
                    </a:lnTo>
                    <a:lnTo>
                      <a:pt x="96" y="114"/>
                    </a:lnTo>
                    <a:lnTo>
                      <a:pt x="94" y="114"/>
                    </a:lnTo>
                    <a:lnTo>
                      <a:pt x="94" y="122"/>
                    </a:lnTo>
                    <a:lnTo>
                      <a:pt x="88" y="122"/>
                    </a:lnTo>
                    <a:lnTo>
                      <a:pt x="87" y="122"/>
                    </a:lnTo>
                    <a:lnTo>
                      <a:pt x="87" y="124"/>
                    </a:lnTo>
                    <a:lnTo>
                      <a:pt x="85" y="124"/>
                    </a:lnTo>
                    <a:lnTo>
                      <a:pt x="84" y="127"/>
                    </a:lnTo>
                    <a:lnTo>
                      <a:pt x="81" y="125"/>
                    </a:lnTo>
                    <a:lnTo>
                      <a:pt x="81" y="127"/>
                    </a:lnTo>
                    <a:lnTo>
                      <a:pt x="80" y="127"/>
                    </a:lnTo>
                    <a:lnTo>
                      <a:pt x="80" y="128"/>
                    </a:lnTo>
                    <a:lnTo>
                      <a:pt x="78" y="128"/>
                    </a:lnTo>
                    <a:lnTo>
                      <a:pt x="77" y="131"/>
                    </a:lnTo>
                    <a:lnTo>
                      <a:pt x="74" y="134"/>
                    </a:lnTo>
                    <a:lnTo>
                      <a:pt x="74" y="135"/>
                    </a:lnTo>
                    <a:lnTo>
                      <a:pt x="74" y="137"/>
                    </a:lnTo>
                    <a:lnTo>
                      <a:pt x="68" y="144"/>
                    </a:lnTo>
                    <a:lnTo>
                      <a:pt x="67" y="143"/>
                    </a:lnTo>
                    <a:lnTo>
                      <a:pt x="65" y="144"/>
                    </a:lnTo>
                    <a:lnTo>
                      <a:pt x="64" y="144"/>
                    </a:lnTo>
                    <a:lnTo>
                      <a:pt x="64" y="143"/>
                    </a:lnTo>
                    <a:lnTo>
                      <a:pt x="62" y="143"/>
                    </a:lnTo>
                    <a:lnTo>
                      <a:pt x="61" y="143"/>
                    </a:lnTo>
                    <a:lnTo>
                      <a:pt x="59" y="143"/>
                    </a:lnTo>
                    <a:lnTo>
                      <a:pt x="55" y="143"/>
                    </a:lnTo>
                    <a:lnTo>
                      <a:pt x="51" y="141"/>
                    </a:lnTo>
                    <a:lnTo>
                      <a:pt x="46" y="141"/>
                    </a:lnTo>
                    <a:lnTo>
                      <a:pt x="45" y="141"/>
                    </a:lnTo>
                    <a:lnTo>
                      <a:pt x="45" y="141"/>
                    </a:lnTo>
                    <a:lnTo>
                      <a:pt x="42" y="140"/>
                    </a:lnTo>
                    <a:lnTo>
                      <a:pt x="40" y="137"/>
                    </a:lnTo>
                    <a:lnTo>
                      <a:pt x="39" y="137"/>
                    </a:lnTo>
                    <a:lnTo>
                      <a:pt x="30" y="135"/>
                    </a:lnTo>
                    <a:lnTo>
                      <a:pt x="30" y="134"/>
                    </a:lnTo>
                    <a:lnTo>
                      <a:pt x="17" y="138"/>
                    </a:lnTo>
                    <a:lnTo>
                      <a:pt x="14" y="137"/>
                    </a:lnTo>
                    <a:lnTo>
                      <a:pt x="13" y="135"/>
                    </a:lnTo>
                    <a:lnTo>
                      <a:pt x="3" y="127"/>
                    </a:lnTo>
                    <a:lnTo>
                      <a:pt x="1" y="124"/>
                    </a:lnTo>
                    <a:lnTo>
                      <a:pt x="0" y="122"/>
                    </a:lnTo>
                    <a:lnTo>
                      <a:pt x="0" y="12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51" name="Freeform 985"/>
              <p:cNvSpPr>
                <a:spLocks/>
              </p:cNvSpPr>
              <p:nvPr/>
            </p:nvSpPr>
            <p:spPr bwMode="auto">
              <a:xfrm>
                <a:off x="5241169" y="2996753"/>
                <a:ext cx="20190" cy="9127"/>
              </a:xfrm>
              <a:custGeom>
                <a:avLst/>
                <a:gdLst/>
                <a:ahLst/>
                <a:cxnLst>
                  <a:cxn ang="0">
                    <a:pos x="21" y="2"/>
                  </a:cxn>
                  <a:cxn ang="0">
                    <a:pos x="22" y="3"/>
                  </a:cxn>
                  <a:cxn ang="0">
                    <a:pos x="22" y="5"/>
                  </a:cxn>
                  <a:cxn ang="0">
                    <a:pos x="19" y="7"/>
                  </a:cxn>
                  <a:cxn ang="0">
                    <a:pos x="3" y="9"/>
                  </a:cxn>
                  <a:cxn ang="0">
                    <a:pos x="2" y="9"/>
                  </a:cxn>
                  <a:cxn ang="0">
                    <a:pos x="2" y="6"/>
                  </a:cxn>
                  <a:cxn ang="0">
                    <a:pos x="0" y="3"/>
                  </a:cxn>
                  <a:cxn ang="0">
                    <a:pos x="0" y="2"/>
                  </a:cxn>
                  <a:cxn ang="0">
                    <a:pos x="2" y="0"/>
                  </a:cxn>
                  <a:cxn ang="0">
                    <a:pos x="19" y="0"/>
                  </a:cxn>
                  <a:cxn ang="0">
                    <a:pos x="21" y="2"/>
                  </a:cxn>
                  <a:cxn ang="0">
                    <a:pos x="21" y="2"/>
                  </a:cxn>
                </a:cxnLst>
                <a:rect l="0" t="0" r="r" b="b"/>
                <a:pathLst>
                  <a:path w="22" h="9">
                    <a:moveTo>
                      <a:pt x="21" y="2"/>
                    </a:moveTo>
                    <a:lnTo>
                      <a:pt x="22" y="3"/>
                    </a:lnTo>
                    <a:lnTo>
                      <a:pt x="22" y="5"/>
                    </a:lnTo>
                    <a:lnTo>
                      <a:pt x="19" y="7"/>
                    </a:lnTo>
                    <a:lnTo>
                      <a:pt x="3" y="9"/>
                    </a:lnTo>
                    <a:lnTo>
                      <a:pt x="2" y="9"/>
                    </a:lnTo>
                    <a:lnTo>
                      <a:pt x="2" y="6"/>
                    </a:lnTo>
                    <a:lnTo>
                      <a:pt x="0" y="3"/>
                    </a:lnTo>
                    <a:lnTo>
                      <a:pt x="0" y="2"/>
                    </a:lnTo>
                    <a:lnTo>
                      <a:pt x="2" y="0"/>
                    </a:lnTo>
                    <a:lnTo>
                      <a:pt x="19" y="0"/>
                    </a:lnTo>
                    <a:lnTo>
                      <a:pt x="21" y="2"/>
                    </a:lnTo>
                    <a:lnTo>
                      <a:pt x="21"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52" name="Freeform 986"/>
              <p:cNvSpPr>
                <a:spLocks/>
              </p:cNvSpPr>
              <p:nvPr/>
            </p:nvSpPr>
            <p:spPr bwMode="auto">
              <a:xfrm>
                <a:off x="5241169" y="2996753"/>
                <a:ext cx="20190" cy="9127"/>
              </a:xfrm>
              <a:custGeom>
                <a:avLst/>
                <a:gdLst/>
                <a:ahLst/>
                <a:cxnLst>
                  <a:cxn ang="0">
                    <a:pos x="21" y="2"/>
                  </a:cxn>
                  <a:cxn ang="0">
                    <a:pos x="22" y="3"/>
                  </a:cxn>
                  <a:cxn ang="0">
                    <a:pos x="22" y="5"/>
                  </a:cxn>
                  <a:cxn ang="0">
                    <a:pos x="19" y="7"/>
                  </a:cxn>
                  <a:cxn ang="0">
                    <a:pos x="3" y="9"/>
                  </a:cxn>
                  <a:cxn ang="0">
                    <a:pos x="2" y="9"/>
                  </a:cxn>
                  <a:cxn ang="0">
                    <a:pos x="2" y="6"/>
                  </a:cxn>
                  <a:cxn ang="0">
                    <a:pos x="0" y="3"/>
                  </a:cxn>
                  <a:cxn ang="0">
                    <a:pos x="0" y="2"/>
                  </a:cxn>
                  <a:cxn ang="0">
                    <a:pos x="2" y="0"/>
                  </a:cxn>
                  <a:cxn ang="0">
                    <a:pos x="19" y="0"/>
                  </a:cxn>
                  <a:cxn ang="0">
                    <a:pos x="21" y="2"/>
                  </a:cxn>
                  <a:cxn ang="0">
                    <a:pos x="21" y="2"/>
                  </a:cxn>
                </a:cxnLst>
                <a:rect l="0" t="0" r="r" b="b"/>
                <a:pathLst>
                  <a:path w="22" h="9">
                    <a:moveTo>
                      <a:pt x="21" y="2"/>
                    </a:moveTo>
                    <a:lnTo>
                      <a:pt x="22" y="3"/>
                    </a:lnTo>
                    <a:lnTo>
                      <a:pt x="22" y="5"/>
                    </a:lnTo>
                    <a:lnTo>
                      <a:pt x="19" y="7"/>
                    </a:lnTo>
                    <a:lnTo>
                      <a:pt x="3" y="9"/>
                    </a:lnTo>
                    <a:lnTo>
                      <a:pt x="2" y="9"/>
                    </a:lnTo>
                    <a:lnTo>
                      <a:pt x="2" y="6"/>
                    </a:lnTo>
                    <a:lnTo>
                      <a:pt x="0" y="3"/>
                    </a:lnTo>
                    <a:lnTo>
                      <a:pt x="0" y="2"/>
                    </a:lnTo>
                    <a:lnTo>
                      <a:pt x="2" y="0"/>
                    </a:lnTo>
                    <a:lnTo>
                      <a:pt x="19" y="0"/>
                    </a:lnTo>
                    <a:lnTo>
                      <a:pt x="21" y="2"/>
                    </a:lnTo>
                    <a:lnTo>
                      <a:pt x="21"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53" name="Rectangle 987"/>
              <p:cNvSpPr>
                <a:spLocks noChangeArrowheads="1"/>
              </p:cNvSpPr>
              <p:nvPr/>
            </p:nvSpPr>
            <p:spPr bwMode="auto">
              <a:xfrm>
                <a:off x="5322805" y="3076869"/>
                <a:ext cx="878" cy="3043"/>
              </a:xfrm>
              <a:prstGeom prst="rect">
                <a:avLst/>
              </a:prstGeom>
              <a:solidFill>
                <a:schemeClr val="accent2"/>
              </a:solidFill>
              <a:ln w="9525">
                <a:noFill/>
                <a:miter lim="800000"/>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54" name="Rectangle 988"/>
              <p:cNvSpPr>
                <a:spLocks noChangeArrowheads="1"/>
              </p:cNvSpPr>
              <p:nvPr/>
            </p:nvSpPr>
            <p:spPr bwMode="auto">
              <a:xfrm>
                <a:off x="5322805" y="3076869"/>
                <a:ext cx="878" cy="3043"/>
              </a:xfrm>
              <a:prstGeom prst="rect">
                <a:avLst/>
              </a:prstGeom>
              <a:solidFill>
                <a:schemeClr val="accent2"/>
              </a:solidFill>
              <a:ln w="1">
                <a:solidFill>
                  <a:srgbClr val="FFFFFF"/>
                </a:solidFill>
                <a:prstDash val="solid"/>
                <a:miter lim="800000"/>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55" name="Freeform 989"/>
              <p:cNvSpPr>
                <a:spLocks/>
              </p:cNvSpPr>
              <p:nvPr/>
            </p:nvSpPr>
            <p:spPr bwMode="auto">
              <a:xfrm>
                <a:off x="5313148" y="3029206"/>
                <a:ext cx="7022" cy="7099"/>
              </a:xfrm>
              <a:custGeom>
                <a:avLst/>
                <a:gdLst/>
                <a:ahLst/>
                <a:cxnLst>
                  <a:cxn ang="0">
                    <a:pos x="4" y="0"/>
                  </a:cxn>
                  <a:cxn ang="0">
                    <a:pos x="4" y="0"/>
                  </a:cxn>
                  <a:cxn ang="0">
                    <a:pos x="3" y="1"/>
                  </a:cxn>
                  <a:cxn ang="0">
                    <a:pos x="0" y="1"/>
                  </a:cxn>
                  <a:cxn ang="0">
                    <a:pos x="0" y="4"/>
                  </a:cxn>
                  <a:cxn ang="0">
                    <a:pos x="0" y="7"/>
                  </a:cxn>
                  <a:cxn ang="0">
                    <a:pos x="1" y="7"/>
                  </a:cxn>
                  <a:cxn ang="0">
                    <a:pos x="3" y="4"/>
                  </a:cxn>
                  <a:cxn ang="0">
                    <a:pos x="3" y="4"/>
                  </a:cxn>
                  <a:cxn ang="0">
                    <a:pos x="6" y="4"/>
                  </a:cxn>
                  <a:cxn ang="0">
                    <a:pos x="7" y="3"/>
                  </a:cxn>
                  <a:cxn ang="0">
                    <a:pos x="7" y="1"/>
                  </a:cxn>
                  <a:cxn ang="0">
                    <a:pos x="6" y="1"/>
                  </a:cxn>
                  <a:cxn ang="0">
                    <a:pos x="4" y="0"/>
                  </a:cxn>
                </a:cxnLst>
                <a:rect l="0" t="0" r="r" b="b"/>
                <a:pathLst>
                  <a:path w="7" h="7">
                    <a:moveTo>
                      <a:pt x="4" y="0"/>
                    </a:moveTo>
                    <a:lnTo>
                      <a:pt x="4" y="0"/>
                    </a:lnTo>
                    <a:lnTo>
                      <a:pt x="3" y="1"/>
                    </a:lnTo>
                    <a:lnTo>
                      <a:pt x="0" y="1"/>
                    </a:lnTo>
                    <a:lnTo>
                      <a:pt x="0" y="4"/>
                    </a:lnTo>
                    <a:lnTo>
                      <a:pt x="0" y="7"/>
                    </a:lnTo>
                    <a:lnTo>
                      <a:pt x="1" y="7"/>
                    </a:lnTo>
                    <a:lnTo>
                      <a:pt x="3" y="4"/>
                    </a:lnTo>
                    <a:lnTo>
                      <a:pt x="3" y="4"/>
                    </a:lnTo>
                    <a:lnTo>
                      <a:pt x="6" y="4"/>
                    </a:lnTo>
                    <a:lnTo>
                      <a:pt x="7" y="3"/>
                    </a:lnTo>
                    <a:lnTo>
                      <a:pt x="7" y="1"/>
                    </a:lnTo>
                    <a:lnTo>
                      <a:pt x="6" y="1"/>
                    </a:lnTo>
                    <a:lnTo>
                      <a:pt x="4"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56" name="Freeform 990"/>
              <p:cNvSpPr>
                <a:spLocks/>
              </p:cNvSpPr>
              <p:nvPr/>
            </p:nvSpPr>
            <p:spPr bwMode="auto">
              <a:xfrm>
                <a:off x="5313148" y="3029206"/>
                <a:ext cx="7022" cy="7099"/>
              </a:xfrm>
              <a:custGeom>
                <a:avLst/>
                <a:gdLst/>
                <a:ahLst/>
                <a:cxnLst>
                  <a:cxn ang="0">
                    <a:pos x="4" y="0"/>
                  </a:cxn>
                  <a:cxn ang="0">
                    <a:pos x="4" y="0"/>
                  </a:cxn>
                  <a:cxn ang="0">
                    <a:pos x="3" y="1"/>
                  </a:cxn>
                  <a:cxn ang="0">
                    <a:pos x="0" y="1"/>
                  </a:cxn>
                  <a:cxn ang="0">
                    <a:pos x="0" y="4"/>
                  </a:cxn>
                  <a:cxn ang="0">
                    <a:pos x="0" y="7"/>
                  </a:cxn>
                  <a:cxn ang="0">
                    <a:pos x="1" y="7"/>
                  </a:cxn>
                  <a:cxn ang="0">
                    <a:pos x="3" y="4"/>
                  </a:cxn>
                  <a:cxn ang="0">
                    <a:pos x="3" y="4"/>
                  </a:cxn>
                  <a:cxn ang="0">
                    <a:pos x="6" y="4"/>
                  </a:cxn>
                  <a:cxn ang="0">
                    <a:pos x="7" y="3"/>
                  </a:cxn>
                  <a:cxn ang="0">
                    <a:pos x="7" y="1"/>
                  </a:cxn>
                  <a:cxn ang="0">
                    <a:pos x="6" y="1"/>
                  </a:cxn>
                  <a:cxn ang="0">
                    <a:pos x="4" y="0"/>
                  </a:cxn>
                </a:cxnLst>
                <a:rect l="0" t="0" r="r" b="b"/>
                <a:pathLst>
                  <a:path w="7" h="7">
                    <a:moveTo>
                      <a:pt x="4" y="0"/>
                    </a:moveTo>
                    <a:lnTo>
                      <a:pt x="4" y="0"/>
                    </a:lnTo>
                    <a:lnTo>
                      <a:pt x="3" y="1"/>
                    </a:lnTo>
                    <a:lnTo>
                      <a:pt x="0" y="1"/>
                    </a:lnTo>
                    <a:lnTo>
                      <a:pt x="0" y="4"/>
                    </a:lnTo>
                    <a:lnTo>
                      <a:pt x="0" y="7"/>
                    </a:lnTo>
                    <a:lnTo>
                      <a:pt x="1" y="7"/>
                    </a:lnTo>
                    <a:lnTo>
                      <a:pt x="3" y="4"/>
                    </a:lnTo>
                    <a:lnTo>
                      <a:pt x="3" y="4"/>
                    </a:lnTo>
                    <a:lnTo>
                      <a:pt x="6" y="4"/>
                    </a:lnTo>
                    <a:lnTo>
                      <a:pt x="7" y="3"/>
                    </a:lnTo>
                    <a:lnTo>
                      <a:pt x="7" y="1"/>
                    </a:lnTo>
                    <a:lnTo>
                      <a:pt x="6" y="1"/>
                    </a:lnTo>
                    <a:lnTo>
                      <a:pt x="4"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57" name="Freeform 991"/>
              <p:cNvSpPr>
                <a:spLocks/>
              </p:cNvSpPr>
              <p:nvPr/>
            </p:nvSpPr>
            <p:spPr bwMode="auto">
              <a:xfrm>
                <a:off x="6000466" y="1753427"/>
                <a:ext cx="14045" cy="16227"/>
              </a:xfrm>
              <a:custGeom>
                <a:avLst/>
                <a:gdLst/>
                <a:ahLst/>
                <a:cxnLst>
                  <a:cxn ang="0">
                    <a:pos x="10" y="4"/>
                  </a:cxn>
                  <a:cxn ang="0">
                    <a:pos x="9" y="7"/>
                  </a:cxn>
                  <a:cxn ang="0">
                    <a:pos x="1" y="11"/>
                  </a:cxn>
                  <a:cxn ang="0">
                    <a:pos x="0" y="14"/>
                  </a:cxn>
                  <a:cxn ang="0">
                    <a:pos x="0" y="16"/>
                  </a:cxn>
                  <a:cxn ang="0">
                    <a:pos x="3" y="14"/>
                  </a:cxn>
                  <a:cxn ang="0">
                    <a:pos x="3" y="11"/>
                  </a:cxn>
                  <a:cxn ang="0">
                    <a:pos x="13" y="8"/>
                  </a:cxn>
                  <a:cxn ang="0">
                    <a:pos x="16" y="4"/>
                  </a:cxn>
                  <a:cxn ang="0">
                    <a:pos x="16" y="0"/>
                  </a:cxn>
                  <a:cxn ang="0">
                    <a:pos x="13" y="1"/>
                  </a:cxn>
                  <a:cxn ang="0">
                    <a:pos x="10" y="4"/>
                  </a:cxn>
                </a:cxnLst>
                <a:rect l="0" t="0" r="r" b="b"/>
                <a:pathLst>
                  <a:path w="16" h="16">
                    <a:moveTo>
                      <a:pt x="10" y="4"/>
                    </a:moveTo>
                    <a:lnTo>
                      <a:pt x="9" y="7"/>
                    </a:lnTo>
                    <a:lnTo>
                      <a:pt x="1" y="11"/>
                    </a:lnTo>
                    <a:lnTo>
                      <a:pt x="0" y="14"/>
                    </a:lnTo>
                    <a:lnTo>
                      <a:pt x="0" y="16"/>
                    </a:lnTo>
                    <a:lnTo>
                      <a:pt x="3" y="14"/>
                    </a:lnTo>
                    <a:lnTo>
                      <a:pt x="3" y="11"/>
                    </a:lnTo>
                    <a:lnTo>
                      <a:pt x="13" y="8"/>
                    </a:lnTo>
                    <a:lnTo>
                      <a:pt x="16" y="4"/>
                    </a:lnTo>
                    <a:lnTo>
                      <a:pt x="16" y="0"/>
                    </a:lnTo>
                    <a:lnTo>
                      <a:pt x="13" y="1"/>
                    </a:lnTo>
                    <a:lnTo>
                      <a:pt x="10" y="4"/>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58" name="Freeform 992"/>
              <p:cNvSpPr>
                <a:spLocks/>
              </p:cNvSpPr>
              <p:nvPr/>
            </p:nvSpPr>
            <p:spPr bwMode="auto">
              <a:xfrm>
                <a:off x="6000466" y="1753427"/>
                <a:ext cx="14045" cy="16227"/>
              </a:xfrm>
              <a:custGeom>
                <a:avLst/>
                <a:gdLst/>
                <a:ahLst/>
                <a:cxnLst>
                  <a:cxn ang="0">
                    <a:pos x="10" y="4"/>
                  </a:cxn>
                  <a:cxn ang="0">
                    <a:pos x="9" y="7"/>
                  </a:cxn>
                  <a:cxn ang="0">
                    <a:pos x="1" y="11"/>
                  </a:cxn>
                  <a:cxn ang="0">
                    <a:pos x="0" y="14"/>
                  </a:cxn>
                  <a:cxn ang="0">
                    <a:pos x="0" y="16"/>
                  </a:cxn>
                  <a:cxn ang="0">
                    <a:pos x="3" y="14"/>
                  </a:cxn>
                  <a:cxn ang="0">
                    <a:pos x="3" y="11"/>
                  </a:cxn>
                  <a:cxn ang="0">
                    <a:pos x="13" y="8"/>
                  </a:cxn>
                  <a:cxn ang="0">
                    <a:pos x="16" y="4"/>
                  </a:cxn>
                  <a:cxn ang="0">
                    <a:pos x="16" y="0"/>
                  </a:cxn>
                  <a:cxn ang="0">
                    <a:pos x="13" y="1"/>
                  </a:cxn>
                  <a:cxn ang="0">
                    <a:pos x="10" y="4"/>
                  </a:cxn>
                </a:cxnLst>
                <a:rect l="0" t="0" r="r" b="b"/>
                <a:pathLst>
                  <a:path w="16" h="16">
                    <a:moveTo>
                      <a:pt x="10" y="4"/>
                    </a:moveTo>
                    <a:lnTo>
                      <a:pt x="9" y="7"/>
                    </a:lnTo>
                    <a:lnTo>
                      <a:pt x="1" y="11"/>
                    </a:lnTo>
                    <a:lnTo>
                      <a:pt x="0" y="14"/>
                    </a:lnTo>
                    <a:lnTo>
                      <a:pt x="0" y="16"/>
                    </a:lnTo>
                    <a:lnTo>
                      <a:pt x="3" y="14"/>
                    </a:lnTo>
                    <a:lnTo>
                      <a:pt x="3" y="11"/>
                    </a:lnTo>
                    <a:lnTo>
                      <a:pt x="13" y="8"/>
                    </a:lnTo>
                    <a:lnTo>
                      <a:pt x="16" y="4"/>
                    </a:lnTo>
                    <a:lnTo>
                      <a:pt x="16" y="0"/>
                    </a:lnTo>
                    <a:lnTo>
                      <a:pt x="13" y="1"/>
                    </a:lnTo>
                    <a:lnTo>
                      <a:pt x="10" y="4"/>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59" name="Freeform 993"/>
              <p:cNvSpPr>
                <a:spLocks/>
              </p:cNvSpPr>
              <p:nvPr/>
            </p:nvSpPr>
            <p:spPr bwMode="auto">
              <a:xfrm>
                <a:off x="7944795" y="2520111"/>
                <a:ext cx="77246" cy="83159"/>
              </a:xfrm>
              <a:custGeom>
                <a:avLst/>
                <a:gdLst/>
                <a:ahLst/>
                <a:cxnLst>
                  <a:cxn ang="0">
                    <a:pos x="78" y="25"/>
                  </a:cxn>
                  <a:cxn ang="0">
                    <a:pos x="75" y="34"/>
                  </a:cxn>
                  <a:cxn ang="0">
                    <a:pos x="78" y="38"/>
                  </a:cxn>
                  <a:cxn ang="0">
                    <a:pos x="81" y="43"/>
                  </a:cxn>
                  <a:cxn ang="0">
                    <a:pos x="84" y="44"/>
                  </a:cxn>
                  <a:cxn ang="0">
                    <a:pos x="74" y="50"/>
                  </a:cxn>
                  <a:cxn ang="0">
                    <a:pos x="69" y="51"/>
                  </a:cxn>
                  <a:cxn ang="0">
                    <a:pos x="62" y="51"/>
                  </a:cxn>
                  <a:cxn ang="0">
                    <a:pos x="51" y="63"/>
                  </a:cxn>
                  <a:cxn ang="0">
                    <a:pos x="49" y="70"/>
                  </a:cxn>
                  <a:cxn ang="0">
                    <a:pos x="24" y="57"/>
                  </a:cxn>
                  <a:cxn ang="0">
                    <a:pos x="19" y="61"/>
                  </a:cxn>
                  <a:cxn ang="0">
                    <a:pos x="13" y="59"/>
                  </a:cxn>
                  <a:cxn ang="0">
                    <a:pos x="7" y="63"/>
                  </a:cxn>
                  <a:cxn ang="0">
                    <a:pos x="14" y="69"/>
                  </a:cxn>
                  <a:cxn ang="0">
                    <a:pos x="19" y="75"/>
                  </a:cxn>
                  <a:cxn ang="0">
                    <a:pos x="10" y="76"/>
                  </a:cxn>
                  <a:cxn ang="0">
                    <a:pos x="6" y="80"/>
                  </a:cxn>
                  <a:cxn ang="0">
                    <a:pos x="3" y="77"/>
                  </a:cxn>
                  <a:cxn ang="0">
                    <a:pos x="0" y="64"/>
                  </a:cxn>
                  <a:cxn ang="0">
                    <a:pos x="3" y="56"/>
                  </a:cxn>
                  <a:cxn ang="0">
                    <a:pos x="8" y="51"/>
                  </a:cxn>
                  <a:cxn ang="0">
                    <a:pos x="8" y="45"/>
                  </a:cxn>
                  <a:cxn ang="0">
                    <a:pos x="16" y="45"/>
                  </a:cxn>
                  <a:cxn ang="0">
                    <a:pos x="23" y="41"/>
                  </a:cxn>
                  <a:cxn ang="0">
                    <a:pos x="24" y="34"/>
                  </a:cxn>
                  <a:cxn ang="0">
                    <a:pos x="26" y="6"/>
                  </a:cxn>
                  <a:cxn ang="0">
                    <a:pos x="29" y="0"/>
                  </a:cxn>
                  <a:cxn ang="0">
                    <a:pos x="32" y="2"/>
                  </a:cxn>
                  <a:cxn ang="0">
                    <a:pos x="46" y="19"/>
                  </a:cxn>
                  <a:cxn ang="0">
                    <a:pos x="62" y="28"/>
                  </a:cxn>
                  <a:cxn ang="0">
                    <a:pos x="68" y="31"/>
                  </a:cxn>
                  <a:cxn ang="0">
                    <a:pos x="74" y="28"/>
                  </a:cxn>
                </a:cxnLst>
                <a:rect l="0" t="0" r="r" b="b"/>
                <a:pathLst>
                  <a:path w="85" h="80">
                    <a:moveTo>
                      <a:pt x="74" y="28"/>
                    </a:moveTo>
                    <a:lnTo>
                      <a:pt x="78" y="25"/>
                    </a:lnTo>
                    <a:lnTo>
                      <a:pt x="78" y="25"/>
                    </a:lnTo>
                    <a:lnTo>
                      <a:pt x="75" y="34"/>
                    </a:lnTo>
                    <a:lnTo>
                      <a:pt x="75" y="37"/>
                    </a:lnTo>
                    <a:lnTo>
                      <a:pt x="78" y="38"/>
                    </a:lnTo>
                    <a:lnTo>
                      <a:pt x="78" y="43"/>
                    </a:lnTo>
                    <a:lnTo>
                      <a:pt x="81" y="43"/>
                    </a:lnTo>
                    <a:lnTo>
                      <a:pt x="85" y="41"/>
                    </a:lnTo>
                    <a:lnTo>
                      <a:pt x="84" y="44"/>
                    </a:lnTo>
                    <a:lnTo>
                      <a:pt x="75" y="50"/>
                    </a:lnTo>
                    <a:lnTo>
                      <a:pt x="74" y="50"/>
                    </a:lnTo>
                    <a:lnTo>
                      <a:pt x="72" y="48"/>
                    </a:lnTo>
                    <a:lnTo>
                      <a:pt x="69" y="51"/>
                    </a:lnTo>
                    <a:lnTo>
                      <a:pt x="65" y="50"/>
                    </a:lnTo>
                    <a:lnTo>
                      <a:pt x="62" y="51"/>
                    </a:lnTo>
                    <a:lnTo>
                      <a:pt x="58" y="53"/>
                    </a:lnTo>
                    <a:lnTo>
                      <a:pt x="51" y="63"/>
                    </a:lnTo>
                    <a:lnTo>
                      <a:pt x="51" y="67"/>
                    </a:lnTo>
                    <a:lnTo>
                      <a:pt x="49" y="70"/>
                    </a:lnTo>
                    <a:lnTo>
                      <a:pt x="29" y="59"/>
                    </a:lnTo>
                    <a:lnTo>
                      <a:pt x="24" y="57"/>
                    </a:lnTo>
                    <a:lnTo>
                      <a:pt x="22" y="60"/>
                    </a:lnTo>
                    <a:lnTo>
                      <a:pt x="19" y="61"/>
                    </a:lnTo>
                    <a:lnTo>
                      <a:pt x="16" y="61"/>
                    </a:lnTo>
                    <a:lnTo>
                      <a:pt x="13" y="59"/>
                    </a:lnTo>
                    <a:lnTo>
                      <a:pt x="10" y="59"/>
                    </a:lnTo>
                    <a:lnTo>
                      <a:pt x="7" y="63"/>
                    </a:lnTo>
                    <a:lnTo>
                      <a:pt x="8" y="66"/>
                    </a:lnTo>
                    <a:lnTo>
                      <a:pt x="14" y="69"/>
                    </a:lnTo>
                    <a:lnTo>
                      <a:pt x="19" y="72"/>
                    </a:lnTo>
                    <a:lnTo>
                      <a:pt x="19" y="75"/>
                    </a:lnTo>
                    <a:lnTo>
                      <a:pt x="13" y="75"/>
                    </a:lnTo>
                    <a:lnTo>
                      <a:pt x="10" y="76"/>
                    </a:lnTo>
                    <a:lnTo>
                      <a:pt x="8" y="77"/>
                    </a:lnTo>
                    <a:lnTo>
                      <a:pt x="6" y="80"/>
                    </a:lnTo>
                    <a:lnTo>
                      <a:pt x="3" y="79"/>
                    </a:lnTo>
                    <a:lnTo>
                      <a:pt x="3" y="77"/>
                    </a:lnTo>
                    <a:lnTo>
                      <a:pt x="4" y="69"/>
                    </a:lnTo>
                    <a:lnTo>
                      <a:pt x="0" y="64"/>
                    </a:lnTo>
                    <a:lnTo>
                      <a:pt x="0" y="59"/>
                    </a:lnTo>
                    <a:lnTo>
                      <a:pt x="3" y="56"/>
                    </a:lnTo>
                    <a:lnTo>
                      <a:pt x="6" y="54"/>
                    </a:lnTo>
                    <a:lnTo>
                      <a:pt x="8" y="51"/>
                    </a:lnTo>
                    <a:lnTo>
                      <a:pt x="10" y="48"/>
                    </a:lnTo>
                    <a:lnTo>
                      <a:pt x="8" y="45"/>
                    </a:lnTo>
                    <a:lnTo>
                      <a:pt x="8" y="44"/>
                    </a:lnTo>
                    <a:lnTo>
                      <a:pt x="16" y="45"/>
                    </a:lnTo>
                    <a:lnTo>
                      <a:pt x="20" y="45"/>
                    </a:lnTo>
                    <a:lnTo>
                      <a:pt x="23" y="41"/>
                    </a:lnTo>
                    <a:lnTo>
                      <a:pt x="22" y="35"/>
                    </a:lnTo>
                    <a:lnTo>
                      <a:pt x="24" y="34"/>
                    </a:lnTo>
                    <a:lnTo>
                      <a:pt x="27" y="15"/>
                    </a:lnTo>
                    <a:lnTo>
                      <a:pt x="26" y="6"/>
                    </a:lnTo>
                    <a:lnTo>
                      <a:pt x="26" y="3"/>
                    </a:lnTo>
                    <a:lnTo>
                      <a:pt x="29" y="0"/>
                    </a:lnTo>
                    <a:lnTo>
                      <a:pt x="30" y="0"/>
                    </a:lnTo>
                    <a:lnTo>
                      <a:pt x="32" y="2"/>
                    </a:lnTo>
                    <a:lnTo>
                      <a:pt x="32" y="3"/>
                    </a:lnTo>
                    <a:lnTo>
                      <a:pt x="46" y="19"/>
                    </a:lnTo>
                    <a:lnTo>
                      <a:pt x="58" y="27"/>
                    </a:lnTo>
                    <a:lnTo>
                      <a:pt x="62" y="28"/>
                    </a:lnTo>
                    <a:lnTo>
                      <a:pt x="65" y="29"/>
                    </a:lnTo>
                    <a:lnTo>
                      <a:pt x="68" y="31"/>
                    </a:lnTo>
                    <a:lnTo>
                      <a:pt x="71" y="31"/>
                    </a:lnTo>
                    <a:lnTo>
                      <a:pt x="74" y="28"/>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60" name="Freeform 995"/>
              <p:cNvSpPr>
                <a:spLocks/>
              </p:cNvSpPr>
              <p:nvPr/>
            </p:nvSpPr>
            <p:spPr bwMode="auto">
              <a:xfrm>
                <a:off x="7959717" y="2525181"/>
                <a:ext cx="2633" cy="3043"/>
              </a:xfrm>
              <a:custGeom>
                <a:avLst/>
                <a:gdLst/>
                <a:ahLst/>
                <a:cxnLst>
                  <a:cxn ang="0">
                    <a:pos x="2" y="0"/>
                  </a:cxn>
                  <a:cxn ang="0">
                    <a:pos x="0" y="1"/>
                  </a:cxn>
                  <a:cxn ang="0">
                    <a:pos x="2" y="3"/>
                  </a:cxn>
                  <a:cxn ang="0">
                    <a:pos x="3" y="3"/>
                  </a:cxn>
                  <a:cxn ang="0">
                    <a:pos x="3" y="0"/>
                  </a:cxn>
                  <a:cxn ang="0">
                    <a:pos x="2" y="0"/>
                  </a:cxn>
                </a:cxnLst>
                <a:rect l="0" t="0" r="r" b="b"/>
                <a:pathLst>
                  <a:path w="3" h="3">
                    <a:moveTo>
                      <a:pt x="2" y="0"/>
                    </a:moveTo>
                    <a:lnTo>
                      <a:pt x="0" y="1"/>
                    </a:lnTo>
                    <a:lnTo>
                      <a:pt x="2" y="3"/>
                    </a:lnTo>
                    <a:lnTo>
                      <a:pt x="3" y="3"/>
                    </a:lnTo>
                    <a:lnTo>
                      <a:pt x="3" y="0"/>
                    </a:lnTo>
                    <a:lnTo>
                      <a:pt x="2"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61" name="Freeform 996"/>
              <p:cNvSpPr>
                <a:spLocks/>
              </p:cNvSpPr>
              <p:nvPr/>
            </p:nvSpPr>
            <p:spPr bwMode="auto">
              <a:xfrm>
                <a:off x="7959717" y="2525181"/>
                <a:ext cx="2633" cy="3043"/>
              </a:xfrm>
              <a:custGeom>
                <a:avLst/>
                <a:gdLst/>
                <a:ahLst/>
                <a:cxnLst>
                  <a:cxn ang="0">
                    <a:pos x="2" y="0"/>
                  </a:cxn>
                  <a:cxn ang="0">
                    <a:pos x="0" y="1"/>
                  </a:cxn>
                  <a:cxn ang="0">
                    <a:pos x="2" y="3"/>
                  </a:cxn>
                  <a:cxn ang="0">
                    <a:pos x="3" y="3"/>
                  </a:cxn>
                  <a:cxn ang="0">
                    <a:pos x="3" y="0"/>
                  </a:cxn>
                  <a:cxn ang="0">
                    <a:pos x="2" y="0"/>
                  </a:cxn>
                </a:cxnLst>
                <a:rect l="0" t="0" r="r" b="b"/>
                <a:pathLst>
                  <a:path w="3" h="3">
                    <a:moveTo>
                      <a:pt x="2" y="0"/>
                    </a:moveTo>
                    <a:lnTo>
                      <a:pt x="0" y="1"/>
                    </a:lnTo>
                    <a:lnTo>
                      <a:pt x="2" y="3"/>
                    </a:lnTo>
                    <a:lnTo>
                      <a:pt x="3" y="3"/>
                    </a:lnTo>
                    <a:lnTo>
                      <a:pt x="3" y="0"/>
                    </a:lnTo>
                    <a:lnTo>
                      <a:pt x="2"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62" name="Freeform 997"/>
              <p:cNvSpPr>
                <a:spLocks/>
              </p:cNvSpPr>
              <p:nvPr/>
            </p:nvSpPr>
            <p:spPr bwMode="auto">
              <a:xfrm>
                <a:off x="7828047" y="2602255"/>
                <a:ext cx="145715" cy="148064"/>
              </a:xfrm>
              <a:custGeom>
                <a:avLst/>
                <a:gdLst/>
                <a:ahLst/>
                <a:cxnLst>
                  <a:cxn ang="0">
                    <a:pos x="150" y="3"/>
                  </a:cxn>
                  <a:cxn ang="0">
                    <a:pos x="154" y="22"/>
                  </a:cxn>
                  <a:cxn ang="0">
                    <a:pos x="157" y="41"/>
                  </a:cxn>
                  <a:cxn ang="0">
                    <a:pos x="154" y="46"/>
                  </a:cxn>
                  <a:cxn ang="0">
                    <a:pos x="149" y="58"/>
                  </a:cxn>
                  <a:cxn ang="0">
                    <a:pos x="144" y="83"/>
                  </a:cxn>
                  <a:cxn ang="0">
                    <a:pos x="138" y="100"/>
                  </a:cxn>
                  <a:cxn ang="0">
                    <a:pos x="140" y="106"/>
                  </a:cxn>
                  <a:cxn ang="0">
                    <a:pos x="128" y="116"/>
                  </a:cxn>
                  <a:cxn ang="0">
                    <a:pos x="131" y="106"/>
                  </a:cxn>
                  <a:cxn ang="0">
                    <a:pos x="125" y="113"/>
                  </a:cxn>
                  <a:cxn ang="0">
                    <a:pos x="118" y="115"/>
                  </a:cxn>
                  <a:cxn ang="0">
                    <a:pos x="114" y="123"/>
                  </a:cxn>
                  <a:cxn ang="0">
                    <a:pos x="111" y="116"/>
                  </a:cxn>
                  <a:cxn ang="0">
                    <a:pos x="89" y="125"/>
                  </a:cxn>
                  <a:cxn ang="0">
                    <a:pos x="88" y="120"/>
                  </a:cxn>
                  <a:cxn ang="0">
                    <a:pos x="85" y="119"/>
                  </a:cxn>
                  <a:cxn ang="0">
                    <a:pos x="80" y="123"/>
                  </a:cxn>
                  <a:cxn ang="0">
                    <a:pos x="83" y="129"/>
                  </a:cxn>
                  <a:cxn ang="0">
                    <a:pos x="77" y="131"/>
                  </a:cxn>
                  <a:cxn ang="0">
                    <a:pos x="66" y="141"/>
                  </a:cxn>
                  <a:cxn ang="0">
                    <a:pos x="60" y="134"/>
                  </a:cxn>
                  <a:cxn ang="0">
                    <a:pos x="64" y="123"/>
                  </a:cxn>
                  <a:cxn ang="0">
                    <a:pos x="53" y="120"/>
                  </a:cxn>
                  <a:cxn ang="0">
                    <a:pos x="41" y="125"/>
                  </a:cxn>
                  <a:cxn ang="0">
                    <a:pos x="21" y="129"/>
                  </a:cxn>
                  <a:cxn ang="0">
                    <a:pos x="11" y="134"/>
                  </a:cxn>
                  <a:cxn ang="0">
                    <a:pos x="5" y="135"/>
                  </a:cxn>
                  <a:cxn ang="0">
                    <a:pos x="6" y="126"/>
                  </a:cxn>
                  <a:cxn ang="0">
                    <a:pos x="22" y="113"/>
                  </a:cxn>
                  <a:cxn ang="0">
                    <a:pos x="35" y="109"/>
                  </a:cxn>
                  <a:cxn ang="0">
                    <a:pos x="67" y="109"/>
                  </a:cxn>
                  <a:cxn ang="0">
                    <a:pos x="73" y="96"/>
                  </a:cxn>
                  <a:cxn ang="0">
                    <a:pos x="85" y="75"/>
                  </a:cxn>
                  <a:cxn ang="0">
                    <a:pos x="90" y="75"/>
                  </a:cxn>
                  <a:cxn ang="0">
                    <a:pos x="86" y="80"/>
                  </a:cxn>
                  <a:cxn ang="0">
                    <a:pos x="92" y="86"/>
                  </a:cxn>
                  <a:cxn ang="0">
                    <a:pos x="109" y="74"/>
                  </a:cxn>
                  <a:cxn ang="0">
                    <a:pos x="119" y="64"/>
                  </a:cxn>
                  <a:cxn ang="0">
                    <a:pos x="128" y="30"/>
                  </a:cxn>
                  <a:cxn ang="0">
                    <a:pos x="130" y="16"/>
                  </a:cxn>
                  <a:cxn ang="0">
                    <a:pos x="133" y="9"/>
                  </a:cxn>
                  <a:cxn ang="0">
                    <a:pos x="137" y="7"/>
                  </a:cxn>
                  <a:cxn ang="0">
                    <a:pos x="141" y="10"/>
                  </a:cxn>
                  <a:cxn ang="0">
                    <a:pos x="147" y="7"/>
                  </a:cxn>
                  <a:cxn ang="0">
                    <a:pos x="141" y="6"/>
                  </a:cxn>
                  <a:cxn ang="0">
                    <a:pos x="143" y="0"/>
                  </a:cxn>
                </a:cxnLst>
                <a:rect l="0" t="0" r="r" b="b"/>
                <a:pathLst>
                  <a:path w="159" h="142">
                    <a:moveTo>
                      <a:pt x="146" y="1"/>
                    </a:moveTo>
                    <a:lnTo>
                      <a:pt x="150" y="1"/>
                    </a:lnTo>
                    <a:lnTo>
                      <a:pt x="150" y="3"/>
                    </a:lnTo>
                    <a:lnTo>
                      <a:pt x="150" y="13"/>
                    </a:lnTo>
                    <a:lnTo>
                      <a:pt x="151" y="17"/>
                    </a:lnTo>
                    <a:lnTo>
                      <a:pt x="154" y="22"/>
                    </a:lnTo>
                    <a:lnTo>
                      <a:pt x="159" y="36"/>
                    </a:lnTo>
                    <a:lnTo>
                      <a:pt x="159" y="39"/>
                    </a:lnTo>
                    <a:lnTo>
                      <a:pt x="157" y="41"/>
                    </a:lnTo>
                    <a:lnTo>
                      <a:pt x="157" y="43"/>
                    </a:lnTo>
                    <a:lnTo>
                      <a:pt x="156" y="46"/>
                    </a:lnTo>
                    <a:lnTo>
                      <a:pt x="154" y="46"/>
                    </a:lnTo>
                    <a:lnTo>
                      <a:pt x="151" y="54"/>
                    </a:lnTo>
                    <a:lnTo>
                      <a:pt x="151" y="58"/>
                    </a:lnTo>
                    <a:lnTo>
                      <a:pt x="149" y="58"/>
                    </a:lnTo>
                    <a:lnTo>
                      <a:pt x="144" y="59"/>
                    </a:lnTo>
                    <a:lnTo>
                      <a:pt x="143" y="65"/>
                    </a:lnTo>
                    <a:lnTo>
                      <a:pt x="144" y="83"/>
                    </a:lnTo>
                    <a:lnTo>
                      <a:pt x="143" y="84"/>
                    </a:lnTo>
                    <a:lnTo>
                      <a:pt x="140" y="90"/>
                    </a:lnTo>
                    <a:lnTo>
                      <a:pt x="138" y="100"/>
                    </a:lnTo>
                    <a:lnTo>
                      <a:pt x="141" y="103"/>
                    </a:lnTo>
                    <a:lnTo>
                      <a:pt x="141" y="105"/>
                    </a:lnTo>
                    <a:lnTo>
                      <a:pt x="140" y="106"/>
                    </a:lnTo>
                    <a:lnTo>
                      <a:pt x="135" y="113"/>
                    </a:lnTo>
                    <a:lnTo>
                      <a:pt x="128" y="119"/>
                    </a:lnTo>
                    <a:lnTo>
                      <a:pt x="128" y="116"/>
                    </a:lnTo>
                    <a:lnTo>
                      <a:pt x="128" y="110"/>
                    </a:lnTo>
                    <a:lnTo>
                      <a:pt x="131" y="107"/>
                    </a:lnTo>
                    <a:lnTo>
                      <a:pt x="131" y="106"/>
                    </a:lnTo>
                    <a:lnTo>
                      <a:pt x="128" y="106"/>
                    </a:lnTo>
                    <a:lnTo>
                      <a:pt x="125" y="112"/>
                    </a:lnTo>
                    <a:lnTo>
                      <a:pt x="125" y="113"/>
                    </a:lnTo>
                    <a:lnTo>
                      <a:pt x="124" y="112"/>
                    </a:lnTo>
                    <a:lnTo>
                      <a:pt x="119" y="112"/>
                    </a:lnTo>
                    <a:lnTo>
                      <a:pt x="118" y="115"/>
                    </a:lnTo>
                    <a:lnTo>
                      <a:pt x="117" y="120"/>
                    </a:lnTo>
                    <a:lnTo>
                      <a:pt x="115" y="123"/>
                    </a:lnTo>
                    <a:lnTo>
                      <a:pt x="114" y="123"/>
                    </a:lnTo>
                    <a:lnTo>
                      <a:pt x="112" y="119"/>
                    </a:lnTo>
                    <a:lnTo>
                      <a:pt x="114" y="116"/>
                    </a:lnTo>
                    <a:lnTo>
                      <a:pt x="111" y="116"/>
                    </a:lnTo>
                    <a:lnTo>
                      <a:pt x="105" y="125"/>
                    </a:lnTo>
                    <a:lnTo>
                      <a:pt x="92" y="123"/>
                    </a:lnTo>
                    <a:lnTo>
                      <a:pt x="89" y="125"/>
                    </a:lnTo>
                    <a:lnTo>
                      <a:pt x="89" y="123"/>
                    </a:lnTo>
                    <a:lnTo>
                      <a:pt x="90" y="122"/>
                    </a:lnTo>
                    <a:lnTo>
                      <a:pt x="88" y="120"/>
                    </a:lnTo>
                    <a:lnTo>
                      <a:pt x="88" y="120"/>
                    </a:lnTo>
                    <a:lnTo>
                      <a:pt x="86" y="122"/>
                    </a:lnTo>
                    <a:lnTo>
                      <a:pt x="85" y="119"/>
                    </a:lnTo>
                    <a:lnTo>
                      <a:pt x="85" y="116"/>
                    </a:lnTo>
                    <a:lnTo>
                      <a:pt x="83" y="116"/>
                    </a:lnTo>
                    <a:lnTo>
                      <a:pt x="80" y="123"/>
                    </a:lnTo>
                    <a:lnTo>
                      <a:pt x="85" y="126"/>
                    </a:lnTo>
                    <a:lnTo>
                      <a:pt x="85" y="131"/>
                    </a:lnTo>
                    <a:lnTo>
                      <a:pt x="83" y="129"/>
                    </a:lnTo>
                    <a:lnTo>
                      <a:pt x="82" y="131"/>
                    </a:lnTo>
                    <a:lnTo>
                      <a:pt x="80" y="131"/>
                    </a:lnTo>
                    <a:lnTo>
                      <a:pt x="77" y="131"/>
                    </a:lnTo>
                    <a:lnTo>
                      <a:pt x="73" y="141"/>
                    </a:lnTo>
                    <a:lnTo>
                      <a:pt x="69" y="142"/>
                    </a:lnTo>
                    <a:lnTo>
                      <a:pt x="66" y="141"/>
                    </a:lnTo>
                    <a:lnTo>
                      <a:pt x="64" y="139"/>
                    </a:lnTo>
                    <a:lnTo>
                      <a:pt x="61" y="136"/>
                    </a:lnTo>
                    <a:lnTo>
                      <a:pt x="60" y="134"/>
                    </a:lnTo>
                    <a:lnTo>
                      <a:pt x="60" y="129"/>
                    </a:lnTo>
                    <a:lnTo>
                      <a:pt x="64" y="123"/>
                    </a:lnTo>
                    <a:lnTo>
                      <a:pt x="64" y="123"/>
                    </a:lnTo>
                    <a:lnTo>
                      <a:pt x="64" y="122"/>
                    </a:lnTo>
                    <a:lnTo>
                      <a:pt x="60" y="123"/>
                    </a:lnTo>
                    <a:lnTo>
                      <a:pt x="53" y="120"/>
                    </a:lnTo>
                    <a:lnTo>
                      <a:pt x="50" y="122"/>
                    </a:lnTo>
                    <a:lnTo>
                      <a:pt x="43" y="126"/>
                    </a:lnTo>
                    <a:lnTo>
                      <a:pt x="41" y="125"/>
                    </a:lnTo>
                    <a:lnTo>
                      <a:pt x="24" y="131"/>
                    </a:lnTo>
                    <a:lnTo>
                      <a:pt x="22" y="129"/>
                    </a:lnTo>
                    <a:lnTo>
                      <a:pt x="21" y="129"/>
                    </a:lnTo>
                    <a:lnTo>
                      <a:pt x="18" y="135"/>
                    </a:lnTo>
                    <a:lnTo>
                      <a:pt x="16" y="136"/>
                    </a:lnTo>
                    <a:lnTo>
                      <a:pt x="11" y="134"/>
                    </a:lnTo>
                    <a:lnTo>
                      <a:pt x="8" y="135"/>
                    </a:lnTo>
                    <a:lnTo>
                      <a:pt x="6" y="135"/>
                    </a:lnTo>
                    <a:lnTo>
                      <a:pt x="5" y="135"/>
                    </a:lnTo>
                    <a:lnTo>
                      <a:pt x="0" y="134"/>
                    </a:lnTo>
                    <a:lnTo>
                      <a:pt x="0" y="128"/>
                    </a:lnTo>
                    <a:lnTo>
                      <a:pt x="6" y="126"/>
                    </a:lnTo>
                    <a:lnTo>
                      <a:pt x="16" y="119"/>
                    </a:lnTo>
                    <a:lnTo>
                      <a:pt x="19" y="116"/>
                    </a:lnTo>
                    <a:lnTo>
                      <a:pt x="22" y="113"/>
                    </a:lnTo>
                    <a:lnTo>
                      <a:pt x="25" y="110"/>
                    </a:lnTo>
                    <a:lnTo>
                      <a:pt x="31" y="107"/>
                    </a:lnTo>
                    <a:lnTo>
                      <a:pt x="35" y="109"/>
                    </a:lnTo>
                    <a:lnTo>
                      <a:pt x="61" y="105"/>
                    </a:lnTo>
                    <a:lnTo>
                      <a:pt x="61" y="107"/>
                    </a:lnTo>
                    <a:lnTo>
                      <a:pt x="67" y="109"/>
                    </a:lnTo>
                    <a:lnTo>
                      <a:pt x="69" y="107"/>
                    </a:lnTo>
                    <a:lnTo>
                      <a:pt x="73" y="105"/>
                    </a:lnTo>
                    <a:lnTo>
                      <a:pt x="73" y="96"/>
                    </a:lnTo>
                    <a:lnTo>
                      <a:pt x="82" y="89"/>
                    </a:lnTo>
                    <a:lnTo>
                      <a:pt x="83" y="83"/>
                    </a:lnTo>
                    <a:lnTo>
                      <a:pt x="85" y="75"/>
                    </a:lnTo>
                    <a:lnTo>
                      <a:pt x="89" y="73"/>
                    </a:lnTo>
                    <a:lnTo>
                      <a:pt x="90" y="74"/>
                    </a:lnTo>
                    <a:lnTo>
                      <a:pt x="90" y="75"/>
                    </a:lnTo>
                    <a:lnTo>
                      <a:pt x="89" y="77"/>
                    </a:lnTo>
                    <a:lnTo>
                      <a:pt x="86" y="80"/>
                    </a:lnTo>
                    <a:lnTo>
                      <a:pt x="86" y="80"/>
                    </a:lnTo>
                    <a:lnTo>
                      <a:pt x="88" y="83"/>
                    </a:lnTo>
                    <a:lnTo>
                      <a:pt x="88" y="86"/>
                    </a:lnTo>
                    <a:lnTo>
                      <a:pt x="92" y="86"/>
                    </a:lnTo>
                    <a:lnTo>
                      <a:pt x="95" y="83"/>
                    </a:lnTo>
                    <a:lnTo>
                      <a:pt x="102" y="80"/>
                    </a:lnTo>
                    <a:lnTo>
                      <a:pt x="109" y="74"/>
                    </a:lnTo>
                    <a:lnTo>
                      <a:pt x="114" y="67"/>
                    </a:lnTo>
                    <a:lnTo>
                      <a:pt x="118" y="64"/>
                    </a:lnTo>
                    <a:lnTo>
                      <a:pt x="119" y="64"/>
                    </a:lnTo>
                    <a:lnTo>
                      <a:pt x="121" y="61"/>
                    </a:lnTo>
                    <a:lnTo>
                      <a:pt x="131" y="32"/>
                    </a:lnTo>
                    <a:lnTo>
                      <a:pt x="128" y="30"/>
                    </a:lnTo>
                    <a:lnTo>
                      <a:pt x="125" y="29"/>
                    </a:lnTo>
                    <a:lnTo>
                      <a:pt x="130" y="23"/>
                    </a:lnTo>
                    <a:lnTo>
                      <a:pt x="130" y="16"/>
                    </a:lnTo>
                    <a:lnTo>
                      <a:pt x="131" y="13"/>
                    </a:lnTo>
                    <a:lnTo>
                      <a:pt x="133" y="13"/>
                    </a:lnTo>
                    <a:lnTo>
                      <a:pt x="133" y="9"/>
                    </a:lnTo>
                    <a:lnTo>
                      <a:pt x="134" y="6"/>
                    </a:lnTo>
                    <a:lnTo>
                      <a:pt x="135" y="6"/>
                    </a:lnTo>
                    <a:lnTo>
                      <a:pt x="137" y="7"/>
                    </a:lnTo>
                    <a:lnTo>
                      <a:pt x="138" y="10"/>
                    </a:lnTo>
                    <a:lnTo>
                      <a:pt x="140" y="12"/>
                    </a:lnTo>
                    <a:lnTo>
                      <a:pt x="141" y="10"/>
                    </a:lnTo>
                    <a:lnTo>
                      <a:pt x="144" y="10"/>
                    </a:lnTo>
                    <a:lnTo>
                      <a:pt x="146" y="10"/>
                    </a:lnTo>
                    <a:lnTo>
                      <a:pt x="147" y="7"/>
                    </a:lnTo>
                    <a:lnTo>
                      <a:pt x="147" y="4"/>
                    </a:lnTo>
                    <a:lnTo>
                      <a:pt x="146" y="6"/>
                    </a:lnTo>
                    <a:lnTo>
                      <a:pt x="141" y="6"/>
                    </a:lnTo>
                    <a:lnTo>
                      <a:pt x="141" y="3"/>
                    </a:lnTo>
                    <a:lnTo>
                      <a:pt x="141" y="0"/>
                    </a:lnTo>
                    <a:lnTo>
                      <a:pt x="143" y="0"/>
                    </a:lnTo>
                    <a:lnTo>
                      <a:pt x="146"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63" name="Freeform 999"/>
              <p:cNvSpPr>
                <a:spLocks/>
              </p:cNvSpPr>
              <p:nvPr/>
            </p:nvSpPr>
            <p:spPr bwMode="auto">
              <a:xfrm>
                <a:off x="7924605" y="2663103"/>
                <a:ext cx="3511" cy="9128"/>
              </a:xfrm>
              <a:custGeom>
                <a:avLst/>
                <a:gdLst/>
                <a:ahLst/>
                <a:cxnLst>
                  <a:cxn ang="0">
                    <a:pos x="3" y="0"/>
                  </a:cxn>
                  <a:cxn ang="0">
                    <a:pos x="3" y="4"/>
                  </a:cxn>
                  <a:cxn ang="0">
                    <a:pos x="4" y="4"/>
                  </a:cxn>
                  <a:cxn ang="0">
                    <a:pos x="1" y="9"/>
                  </a:cxn>
                  <a:cxn ang="0">
                    <a:pos x="0" y="9"/>
                  </a:cxn>
                  <a:cxn ang="0">
                    <a:pos x="0" y="6"/>
                  </a:cxn>
                  <a:cxn ang="0">
                    <a:pos x="1" y="1"/>
                  </a:cxn>
                  <a:cxn ang="0">
                    <a:pos x="3" y="0"/>
                  </a:cxn>
                </a:cxnLst>
                <a:rect l="0" t="0" r="r" b="b"/>
                <a:pathLst>
                  <a:path w="4" h="9">
                    <a:moveTo>
                      <a:pt x="3" y="0"/>
                    </a:moveTo>
                    <a:lnTo>
                      <a:pt x="3" y="4"/>
                    </a:lnTo>
                    <a:lnTo>
                      <a:pt x="4" y="4"/>
                    </a:lnTo>
                    <a:lnTo>
                      <a:pt x="1" y="9"/>
                    </a:lnTo>
                    <a:lnTo>
                      <a:pt x="0" y="9"/>
                    </a:lnTo>
                    <a:lnTo>
                      <a:pt x="0" y="6"/>
                    </a:lnTo>
                    <a:lnTo>
                      <a:pt x="1" y="1"/>
                    </a:lnTo>
                    <a:lnTo>
                      <a:pt x="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64" name="Freeform 1000"/>
              <p:cNvSpPr>
                <a:spLocks/>
              </p:cNvSpPr>
              <p:nvPr/>
            </p:nvSpPr>
            <p:spPr bwMode="auto">
              <a:xfrm>
                <a:off x="7924605" y="2663103"/>
                <a:ext cx="3511" cy="9128"/>
              </a:xfrm>
              <a:custGeom>
                <a:avLst/>
                <a:gdLst/>
                <a:ahLst/>
                <a:cxnLst>
                  <a:cxn ang="0">
                    <a:pos x="3" y="0"/>
                  </a:cxn>
                  <a:cxn ang="0">
                    <a:pos x="3" y="4"/>
                  </a:cxn>
                  <a:cxn ang="0">
                    <a:pos x="4" y="4"/>
                  </a:cxn>
                  <a:cxn ang="0">
                    <a:pos x="1" y="9"/>
                  </a:cxn>
                  <a:cxn ang="0">
                    <a:pos x="0" y="9"/>
                  </a:cxn>
                  <a:cxn ang="0">
                    <a:pos x="0" y="6"/>
                  </a:cxn>
                  <a:cxn ang="0">
                    <a:pos x="1" y="1"/>
                  </a:cxn>
                  <a:cxn ang="0">
                    <a:pos x="3" y="0"/>
                  </a:cxn>
                </a:cxnLst>
                <a:rect l="0" t="0" r="r" b="b"/>
                <a:pathLst>
                  <a:path w="4" h="9">
                    <a:moveTo>
                      <a:pt x="3" y="0"/>
                    </a:moveTo>
                    <a:lnTo>
                      <a:pt x="3" y="4"/>
                    </a:lnTo>
                    <a:lnTo>
                      <a:pt x="4" y="4"/>
                    </a:lnTo>
                    <a:lnTo>
                      <a:pt x="1" y="9"/>
                    </a:lnTo>
                    <a:lnTo>
                      <a:pt x="0" y="9"/>
                    </a:lnTo>
                    <a:lnTo>
                      <a:pt x="0" y="6"/>
                    </a:lnTo>
                    <a:lnTo>
                      <a:pt x="1" y="1"/>
                    </a:lnTo>
                    <a:lnTo>
                      <a:pt x="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65" name="Freeform 1001"/>
              <p:cNvSpPr>
                <a:spLocks/>
              </p:cNvSpPr>
              <p:nvPr/>
            </p:nvSpPr>
            <p:spPr bwMode="auto">
              <a:xfrm>
                <a:off x="7844725" y="2735107"/>
                <a:ext cx="32479" cy="28396"/>
              </a:xfrm>
              <a:custGeom>
                <a:avLst/>
                <a:gdLst/>
                <a:ahLst/>
                <a:cxnLst>
                  <a:cxn ang="0">
                    <a:pos x="29" y="19"/>
                  </a:cxn>
                  <a:cxn ang="0">
                    <a:pos x="22" y="14"/>
                  </a:cxn>
                  <a:cxn ang="0">
                    <a:pos x="19" y="16"/>
                  </a:cxn>
                  <a:cxn ang="0">
                    <a:pos x="16" y="17"/>
                  </a:cxn>
                  <a:cxn ang="0">
                    <a:pos x="11" y="24"/>
                  </a:cxn>
                  <a:cxn ang="0">
                    <a:pos x="11" y="27"/>
                  </a:cxn>
                  <a:cxn ang="0">
                    <a:pos x="10" y="27"/>
                  </a:cxn>
                  <a:cxn ang="0">
                    <a:pos x="6" y="24"/>
                  </a:cxn>
                  <a:cxn ang="0">
                    <a:pos x="4" y="22"/>
                  </a:cxn>
                  <a:cxn ang="0">
                    <a:pos x="4" y="20"/>
                  </a:cxn>
                  <a:cxn ang="0">
                    <a:pos x="4" y="19"/>
                  </a:cxn>
                  <a:cxn ang="0">
                    <a:pos x="1" y="17"/>
                  </a:cxn>
                  <a:cxn ang="0">
                    <a:pos x="0" y="17"/>
                  </a:cxn>
                  <a:cxn ang="0">
                    <a:pos x="9" y="6"/>
                  </a:cxn>
                  <a:cxn ang="0">
                    <a:pos x="14" y="7"/>
                  </a:cxn>
                  <a:cxn ang="0">
                    <a:pos x="17" y="7"/>
                  </a:cxn>
                  <a:cxn ang="0">
                    <a:pos x="20" y="6"/>
                  </a:cxn>
                  <a:cxn ang="0">
                    <a:pos x="20" y="3"/>
                  </a:cxn>
                  <a:cxn ang="0">
                    <a:pos x="25" y="0"/>
                  </a:cxn>
                  <a:cxn ang="0">
                    <a:pos x="26" y="0"/>
                  </a:cxn>
                  <a:cxn ang="0">
                    <a:pos x="29" y="1"/>
                  </a:cxn>
                  <a:cxn ang="0">
                    <a:pos x="32" y="3"/>
                  </a:cxn>
                  <a:cxn ang="0">
                    <a:pos x="33" y="3"/>
                  </a:cxn>
                  <a:cxn ang="0">
                    <a:pos x="35" y="8"/>
                  </a:cxn>
                  <a:cxn ang="0">
                    <a:pos x="36" y="8"/>
                  </a:cxn>
                  <a:cxn ang="0">
                    <a:pos x="35" y="11"/>
                  </a:cxn>
                  <a:cxn ang="0">
                    <a:pos x="33" y="13"/>
                  </a:cxn>
                  <a:cxn ang="0">
                    <a:pos x="29" y="19"/>
                  </a:cxn>
                </a:cxnLst>
                <a:rect l="0" t="0" r="r" b="b"/>
                <a:pathLst>
                  <a:path w="36" h="27">
                    <a:moveTo>
                      <a:pt x="29" y="19"/>
                    </a:moveTo>
                    <a:lnTo>
                      <a:pt x="22" y="14"/>
                    </a:lnTo>
                    <a:lnTo>
                      <a:pt x="19" y="16"/>
                    </a:lnTo>
                    <a:lnTo>
                      <a:pt x="16" y="17"/>
                    </a:lnTo>
                    <a:lnTo>
                      <a:pt x="11" y="24"/>
                    </a:lnTo>
                    <a:lnTo>
                      <a:pt x="11" y="27"/>
                    </a:lnTo>
                    <a:lnTo>
                      <a:pt x="10" y="27"/>
                    </a:lnTo>
                    <a:lnTo>
                      <a:pt x="6" y="24"/>
                    </a:lnTo>
                    <a:lnTo>
                      <a:pt x="4" y="22"/>
                    </a:lnTo>
                    <a:lnTo>
                      <a:pt x="4" y="20"/>
                    </a:lnTo>
                    <a:lnTo>
                      <a:pt x="4" y="19"/>
                    </a:lnTo>
                    <a:lnTo>
                      <a:pt x="1" y="17"/>
                    </a:lnTo>
                    <a:lnTo>
                      <a:pt x="0" y="17"/>
                    </a:lnTo>
                    <a:lnTo>
                      <a:pt x="9" y="6"/>
                    </a:lnTo>
                    <a:lnTo>
                      <a:pt x="14" y="7"/>
                    </a:lnTo>
                    <a:lnTo>
                      <a:pt x="17" y="7"/>
                    </a:lnTo>
                    <a:lnTo>
                      <a:pt x="20" y="6"/>
                    </a:lnTo>
                    <a:lnTo>
                      <a:pt x="20" y="3"/>
                    </a:lnTo>
                    <a:lnTo>
                      <a:pt x="25" y="0"/>
                    </a:lnTo>
                    <a:lnTo>
                      <a:pt x="26" y="0"/>
                    </a:lnTo>
                    <a:lnTo>
                      <a:pt x="29" y="1"/>
                    </a:lnTo>
                    <a:lnTo>
                      <a:pt x="32" y="3"/>
                    </a:lnTo>
                    <a:lnTo>
                      <a:pt x="33" y="3"/>
                    </a:lnTo>
                    <a:lnTo>
                      <a:pt x="35" y="8"/>
                    </a:lnTo>
                    <a:lnTo>
                      <a:pt x="36" y="8"/>
                    </a:lnTo>
                    <a:lnTo>
                      <a:pt x="35" y="11"/>
                    </a:lnTo>
                    <a:lnTo>
                      <a:pt x="33" y="13"/>
                    </a:lnTo>
                    <a:lnTo>
                      <a:pt x="29" y="19"/>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66" name="Freeform 1002"/>
              <p:cNvSpPr>
                <a:spLocks/>
              </p:cNvSpPr>
              <p:nvPr/>
            </p:nvSpPr>
            <p:spPr bwMode="auto">
              <a:xfrm>
                <a:off x="7844725" y="2735107"/>
                <a:ext cx="32479" cy="28396"/>
              </a:xfrm>
              <a:custGeom>
                <a:avLst/>
                <a:gdLst/>
                <a:ahLst/>
                <a:cxnLst>
                  <a:cxn ang="0">
                    <a:pos x="29" y="19"/>
                  </a:cxn>
                  <a:cxn ang="0">
                    <a:pos x="22" y="14"/>
                  </a:cxn>
                  <a:cxn ang="0">
                    <a:pos x="19" y="16"/>
                  </a:cxn>
                  <a:cxn ang="0">
                    <a:pos x="16" y="17"/>
                  </a:cxn>
                  <a:cxn ang="0">
                    <a:pos x="11" y="24"/>
                  </a:cxn>
                  <a:cxn ang="0">
                    <a:pos x="11" y="27"/>
                  </a:cxn>
                  <a:cxn ang="0">
                    <a:pos x="10" y="27"/>
                  </a:cxn>
                  <a:cxn ang="0">
                    <a:pos x="6" y="24"/>
                  </a:cxn>
                  <a:cxn ang="0">
                    <a:pos x="4" y="22"/>
                  </a:cxn>
                  <a:cxn ang="0">
                    <a:pos x="4" y="20"/>
                  </a:cxn>
                  <a:cxn ang="0">
                    <a:pos x="4" y="19"/>
                  </a:cxn>
                  <a:cxn ang="0">
                    <a:pos x="1" y="17"/>
                  </a:cxn>
                  <a:cxn ang="0">
                    <a:pos x="0" y="17"/>
                  </a:cxn>
                  <a:cxn ang="0">
                    <a:pos x="9" y="6"/>
                  </a:cxn>
                  <a:cxn ang="0">
                    <a:pos x="14" y="7"/>
                  </a:cxn>
                  <a:cxn ang="0">
                    <a:pos x="17" y="7"/>
                  </a:cxn>
                  <a:cxn ang="0">
                    <a:pos x="20" y="6"/>
                  </a:cxn>
                  <a:cxn ang="0">
                    <a:pos x="20" y="3"/>
                  </a:cxn>
                  <a:cxn ang="0">
                    <a:pos x="25" y="0"/>
                  </a:cxn>
                  <a:cxn ang="0">
                    <a:pos x="26" y="0"/>
                  </a:cxn>
                  <a:cxn ang="0">
                    <a:pos x="29" y="1"/>
                  </a:cxn>
                  <a:cxn ang="0">
                    <a:pos x="32" y="3"/>
                  </a:cxn>
                  <a:cxn ang="0">
                    <a:pos x="33" y="3"/>
                  </a:cxn>
                  <a:cxn ang="0">
                    <a:pos x="35" y="8"/>
                  </a:cxn>
                  <a:cxn ang="0">
                    <a:pos x="36" y="8"/>
                  </a:cxn>
                  <a:cxn ang="0">
                    <a:pos x="35" y="11"/>
                  </a:cxn>
                  <a:cxn ang="0">
                    <a:pos x="33" y="13"/>
                  </a:cxn>
                  <a:cxn ang="0">
                    <a:pos x="29" y="19"/>
                  </a:cxn>
                </a:cxnLst>
                <a:rect l="0" t="0" r="r" b="b"/>
                <a:pathLst>
                  <a:path w="36" h="27">
                    <a:moveTo>
                      <a:pt x="29" y="19"/>
                    </a:moveTo>
                    <a:lnTo>
                      <a:pt x="22" y="14"/>
                    </a:lnTo>
                    <a:lnTo>
                      <a:pt x="19" y="16"/>
                    </a:lnTo>
                    <a:lnTo>
                      <a:pt x="16" y="17"/>
                    </a:lnTo>
                    <a:lnTo>
                      <a:pt x="11" y="24"/>
                    </a:lnTo>
                    <a:lnTo>
                      <a:pt x="11" y="27"/>
                    </a:lnTo>
                    <a:lnTo>
                      <a:pt x="10" y="27"/>
                    </a:lnTo>
                    <a:lnTo>
                      <a:pt x="6" y="24"/>
                    </a:lnTo>
                    <a:lnTo>
                      <a:pt x="4" y="22"/>
                    </a:lnTo>
                    <a:lnTo>
                      <a:pt x="4" y="20"/>
                    </a:lnTo>
                    <a:lnTo>
                      <a:pt x="4" y="19"/>
                    </a:lnTo>
                    <a:lnTo>
                      <a:pt x="1" y="17"/>
                    </a:lnTo>
                    <a:lnTo>
                      <a:pt x="0" y="17"/>
                    </a:lnTo>
                    <a:lnTo>
                      <a:pt x="9" y="6"/>
                    </a:lnTo>
                    <a:lnTo>
                      <a:pt x="14" y="7"/>
                    </a:lnTo>
                    <a:lnTo>
                      <a:pt x="17" y="7"/>
                    </a:lnTo>
                    <a:lnTo>
                      <a:pt x="20" y="6"/>
                    </a:lnTo>
                    <a:lnTo>
                      <a:pt x="20" y="3"/>
                    </a:lnTo>
                    <a:lnTo>
                      <a:pt x="25" y="0"/>
                    </a:lnTo>
                    <a:lnTo>
                      <a:pt x="26" y="0"/>
                    </a:lnTo>
                    <a:lnTo>
                      <a:pt x="29" y="1"/>
                    </a:lnTo>
                    <a:lnTo>
                      <a:pt x="32" y="3"/>
                    </a:lnTo>
                    <a:lnTo>
                      <a:pt x="33" y="3"/>
                    </a:lnTo>
                    <a:lnTo>
                      <a:pt x="35" y="8"/>
                    </a:lnTo>
                    <a:lnTo>
                      <a:pt x="36" y="8"/>
                    </a:lnTo>
                    <a:lnTo>
                      <a:pt x="35" y="11"/>
                    </a:lnTo>
                    <a:lnTo>
                      <a:pt x="33" y="13"/>
                    </a:lnTo>
                    <a:lnTo>
                      <a:pt x="29" y="19"/>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67" name="Freeform 1003"/>
              <p:cNvSpPr>
                <a:spLocks/>
              </p:cNvSpPr>
              <p:nvPr/>
            </p:nvSpPr>
            <p:spPr bwMode="auto">
              <a:xfrm>
                <a:off x="7877204" y="2730036"/>
                <a:ext cx="3511" cy="8113"/>
              </a:xfrm>
              <a:custGeom>
                <a:avLst/>
                <a:gdLst/>
                <a:ahLst/>
                <a:cxnLst>
                  <a:cxn ang="0">
                    <a:pos x="4" y="0"/>
                  </a:cxn>
                  <a:cxn ang="0">
                    <a:pos x="0" y="8"/>
                  </a:cxn>
                  <a:cxn ang="0">
                    <a:pos x="2" y="8"/>
                  </a:cxn>
                  <a:cxn ang="0">
                    <a:pos x="3" y="6"/>
                  </a:cxn>
                  <a:cxn ang="0">
                    <a:pos x="4" y="0"/>
                  </a:cxn>
                </a:cxnLst>
                <a:rect l="0" t="0" r="r" b="b"/>
                <a:pathLst>
                  <a:path w="4" h="8">
                    <a:moveTo>
                      <a:pt x="4" y="0"/>
                    </a:moveTo>
                    <a:lnTo>
                      <a:pt x="0" y="8"/>
                    </a:lnTo>
                    <a:lnTo>
                      <a:pt x="2" y="8"/>
                    </a:lnTo>
                    <a:lnTo>
                      <a:pt x="3" y="6"/>
                    </a:lnTo>
                    <a:lnTo>
                      <a:pt x="4"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68" name="Freeform 1004"/>
              <p:cNvSpPr>
                <a:spLocks/>
              </p:cNvSpPr>
              <p:nvPr/>
            </p:nvSpPr>
            <p:spPr bwMode="auto">
              <a:xfrm>
                <a:off x="7877204" y="2730036"/>
                <a:ext cx="3511" cy="8113"/>
              </a:xfrm>
              <a:custGeom>
                <a:avLst/>
                <a:gdLst/>
                <a:ahLst/>
                <a:cxnLst>
                  <a:cxn ang="0">
                    <a:pos x="4" y="0"/>
                  </a:cxn>
                  <a:cxn ang="0">
                    <a:pos x="0" y="8"/>
                  </a:cxn>
                  <a:cxn ang="0">
                    <a:pos x="2" y="8"/>
                  </a:cxn>
                  <a:cxn ang="0">
                    <a:pos x="3" y="6"/>
                  </a:cxn>
                  <a:cxn ang="0">
                    <a:pos x="4" y="0"/>
                  </a:cxn>
                </a:cxnLst>
                <a:rect l="0" t="0" r="r" b="b"/>
                <a:pathLst>
                  <a:path w="4" h="8">
                    <a:moveTo>
                      <a:pt x="4" y="0"/>
                    </a:moveTo>
                    <a:lnTo>
                      <a:pt x="0" y="8"/>
                    </a:lnTo>
                    <a:lnTo>
                      <a:pt x="2" y="8"/>
                    </a:lnTo>
                    <a:lnTo>
                      <a:pt x="3" y="6"/>
                    </a:lnTo>
                    <a:lnTo>
                      <a:pt x="4"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69" name="Freeform 1005"/>
              <p:cNvSpPr>
                <a:spLocks/>
              </p:cNvSpPr>
              <p:nvPr/>
            </p:nvSpPr>
            <p:spPr bwMode="auto">
              <a:xfrm>
                <a:off x="7811369" y="2743220"/>
                <a:ext cx="30723" cy="50707"/>
              </a:xfrm>
              <a:custGeom>
                <a:avLst/>
                <a:gdLst/>
                <a:ahLst/>
                <a:cxnLst>
                  <a:cxn ang="0">
                    <a:pos x="17" y="1"/>
                  </a:cxn>
                  <a:cxn ang="0">
                    <a:pos x="17" y="0"/>
                  </a:cxn>
                  <a:cxn ang="0">
                    <a:pos x="16" y="0"/>
                  </a:cxn>
                  <a:cxn ang="0">
                    <a:pos x="14" y="1"/>
                  </a:cxn>
                  <a:cxn ang="0">
                    <a:pos x="11" y="3"/>
                  </a:cxn>
                  <a:cxn ang="0">
                    <a:pos x="10" y="6"/>
                  </a:cxn>
                  <a:cxn ang="0">
                    <a:pos x="8" y="6"/>
                  </a:cxn>
                  <a:cxn ang="0">
                    <a:pos x="7" y="7"/>
                  </a:cxn>
                  <a:cxn ang="0">
                    <a:pos x="4" y="9"/>
                  </a:cxn>
                  <a:cxn ang="0">
                    <a:pos x="4" y="7"/>
                  </a:cxn>
                  <a:cxn ang="0">
                    <a:pos x="2" y="9"/>
                  </a:cxn>
                  <a:cxn ang="0">
                    <a:pos x="0" y="13"/>
                  </a:cxn>
                  <a:cxn ang="0">
                    <a:pos x="4" y="17"/>
                  </a:cxn>
                  <a:cxn ang="0">
                    <a:pos x="4" y="19"/>
                  </a:cxn>
                  <a:cxn ang="0">
                    <a:pos x="2" y="16"/>
                  </a:cxn>
                  <a:cxn ang="0">
                    <a:pos x="1" y="16"/>
                  </a:cxn>
                  <a:cxn ang="0">
                    <a:pos x="1" y="23"/>
                  </a:cxn>
                  <a:cxn ang="0">
                    <a:pos x="2" y="22"/>
                  </a:cxn>
                  <a:cxn ang="0">
                    <a:pos x="5" y="20"/>
                  </a:cxn>
                  <a:cxn ang="0">
                    <a:pos x="8" y="22"/>
                  </a:cxn>
                  <a:cxn ang="0">
                    <a:pos x="10" y="20"/>
                  </a:cxn>
                  <a:cxn ang="0">
                    <a:pos x="8" y="19"/>
                  </a:cxn>
                  <a:cxn ang="0">
                    <a:pos x="7" y="17"/>
                  </a:cxn>
                  <a:cxn ang="0">
                    <a:pos x="7" y="15"/>
                  </a:cxn>
                  <a:cxn ang="0">
                    <a:pos x="8" y="13"/>
                  </a:cxn>
                  <a:cxn ang="0">
                    <a:pos x="13" y="19"/>
                  </a:cxn>
                  <a:cxn ang="0">
                    <a:pos x="13" y="22"/>
                  </a:cxn>
                  <a:cxn ang="0">
                    <a:pos x="13" y="23"/>
                  </a:cxn>
                  <a:cxn ang="0">
                    <a:pos x="13" y="26"/>
                  </a:cxn>
                  <a:cxn ang="0">
                    <a:pos x="11" y="29"/>
                  </a:cxn>
                  <a:cxn ang="0">
                    <a:pos x="10" y="31"/>
                  </a:cxn>
                  <a:cxn ang="0">
                    <a:pos x="8" y="33"/>
                  </a:cxn>
                  <a:cxn ang="0">
                    <a:pos x="8" y="41"/>
                  </a:cxn>
                  <a:cxn ang="0">
                    <a:pos x="8" y="44"/>
                  </a:cxn>
                  <a:cxn ang="0">
                    <a:pos x="10" y="45"/>
                  </a:cxn>
                  <a:cxn ang="0">
                    <a:pos x="13" y="47"/>
                  </a:cxn>
                  <a:cxn ang="0">
                    <a:pos x="14" y="44"/>
                  </a:cxn>
                  <a:cxn ang="0">
                    <a:pos x="13" y="41"/>
                  </a:cxn>
                  <a:cxn ang="0">
                    <a:pos x="14" y="38"/>
                  </a:cxn>
                  <a:cxn ang="0">
                    <a:pos x="16" y="39"/>
                  </a:cxn>
                  <a:cxn ang="0">
                    <a:pos x="16" y="39"/>
                  </a:cxn>
                  <a:cxn ang="0">
                    <a:pos x="14" y="42"/>
                  </a:cxn>
                  <a:cxn ang="0">
                    <a:pos x="16" y="49"/>
                  </a:cxn>
                  <a:cxn ang="0">
                    <a:pos x="17" y="48"/>
                  </a:cxn>
                  <a:cxn ang="0">
                    <a:pos x="20" y="47"/>
                  </a:cxn>
                  <a:cxn ang="0">
                    <a:pos x="20" y="44"/>
                  </a:cxn>
                  <a:cxn ang="0">
                    <a:pos x="21" y="42"/>
                  </a:cxn>
                  <a:cxn ang="0">
                    <a:pos x="23" y="42"/>
                  </a:cxn>
                  <a:cxn ang="0">
                    <a:pos x="33" y="19"/>
                  </a:cxn>
                  <a:cxn ang="0">
                    <a:pos x="33" y="16"/>
                  </a:cxn>
                  <a:cxn ang="0">
                    <a:pos x="31" y="13"/>
                  </a:cxn>
                  <a:cxn ang="0">
                    <a:pos x="27" y="12"/>
                  </a:cxn>
                  <a:cxn ang="0">
                    <a:pos x="27" y="10"/>
                  </a:cxn>
                  <a:cxn ang="0">
                    <a:pos x="29" y="7"/>
                  </a:cxn>
                  <a:cxn ang="0">
                    <a:pos x="29" y="4"/>
                  </a:cxn>
                  <a:cxn ang="0">
                    <a:pos x="26" y="6"/>
                  </a:cxn>
                  <a:cxn ang="0">
                    <a:pos x="21" y="6"/>
                  </a:cxn>
                  <a:cxn ang="0">
                    <a:pos x="18" y="3"/>
                  </a:cxn>
                  <a:cxn ang="0">
                    <a:pos x="18" y="1"/>
                  </a:cxn>
                  <a:cxn ang="0">
                    <a:pos x="17" y="1"/>
                  </a:cxn>
                </a:cxnLst>
                <a:rect l="0" t="0" r="r" b="b"/>
                <a:pathLst>
                  <a:path w="33" h="49">
                    <a:moveTo>
                      <a:pt x="17" y="1"/>
                    </a:moveTo>
                    <a:lnTo>
                      <a:pt x="17" y="0"/>
                    </a:lnTo>
                    <a:lnTo>
                      <a:pt x="16" y="0"/>
                    </a:lnTo>
                    <a:lnTo>
                      <a:pt x="14" y="1"/>
                    </a:lnTo>
                    <a:lnTo>
                      <a:pt x="11" y="3"/>
                    </a:lnTo>
                    <a:lnTo>
                      <a:pt x="10" y="6"/>
                    </a:lnTo>
                    <a:lnTo>
                      <a:pt x="8" y="6"/>
                    </a:lnTo>
                    <a:lnTo>
                      <a:pt x="7" y="7"/>
                    </a:lnTo>
                    <a:lnTo>
                      <a:pt x="4" y="9"/>
                    </a:lnTo>
                    <a:lnTo>
                      <a:pt x="4" y="7"/>
                    </a:lnTo>
                    <a:lnTo>
                      <a:pt x="2" y="9"/>
                    </a:lnTo>
                    <a:lnTo>
                      <a:pt x="0" y="13"/>
                    </a:lnTo>
                    <a:lnTo>
                      <a:pt x="4" y="17"/>
                    </a:lnTo>
                    <a:lnTo>
                      <a:pt x="4" y="19"/>
                    </a:lnTo>
                    <a:lnTo>
                      <a:pt x="2" y="16"/>
                    </a:lnTo>
                    <a:lnTo>
                      <a:pt x="1" y="16"/>
                    </a:lnTo>
                    <a:lnTo>
                      <a:pt x="1" y="23"/>
                    </a:lnTo>
                    <a:lnTo>
                      <a:pt x="2" y="22"/>
                    </a:lnTo>
                    <a:lnTo>
                      <a:pt x="5" y="20"/>
                    </a:lnTo>
                    <a:lnTo>
                      <a:pt x="8" y="22"/>
                    </a:lnTo>
                    <a:lnTo>
                      <a:pt x="10" y="20"/>
                    </a:lnTo>
                    <a:lnTo>
                      <a:pt x="8" y="19"/>
                    </a:lnTo>
                    <a:lnTo>
                      <a:pt x="7" y="17"/>
                    </a:lnTo>
                    <a:lnTo>
                      <a:pt x="7" y="15"/>
                    </a:lnTo>
                    <a:lnTo>
                      <a:pt x="8" y="13"/>
                    </a:lnTo>
                    <a:lnTo>
                      <a:pt x="13" y="19"/>
                    </a:lnTo>
                    <a:lnTo>
                      <a:pt x="13" y="22"/>
                    </a:lnTo>
                    <a:lnTo>
                      <a:pt x="13" y="23"/>
                    </a:lnTo>
                    <a:lnTo>
                      <a:pt x="13" y="26"/>
                    </a:lnTo>
                    <a:lnTo>
                      <a:pt x="11" y="29"/>
                    </a:lnTo>
                    <a:lnTo>
                      <a:pt x="10" y="31"/>
                    </a:lnTo>
                    <a:lnTo>
                      <a:pt x="8" y="33"/>
                    </a:lnTo>
                    <a:lnTo>
                      <a:pt x="8" y="41"/>
                    </a:lnTo>
                    <a:lnTo>
                      <a:pt x="8" y="44"/>
                    </a:lnTo>
                    <a:lnTo>
                      <a:pt x="10" y="45"/>
                    </a:lnTo>
                    <a:lnTo>
                      <a:pt x="13" y="47"/>
                    </a:lnTo>
                    <a:lnTo>
                      <a:pt x="14" y="44"/>
                    </a:lnTo>
                    <a:lnTo>
                      <a:pt x="13" y="41"/>
                    </a:lnTo>
                    <a:lnTo>
                      <a:pt x="14" y="38"/>
                    </a:lnTo>
                    <a:lnTo>
                      <a:pt x="16" y="39"/>
                    </a:lnTo>
                    <a:lnTo>
                      <a:pt x="16" y="39"/>
                    </a:lnTo>
                    <a:lnTo>
                      <a:pt x="14" y="42"/>
                    </a:lnTo>
                    <a:lnTo>
                      <a:pt x="16" y="49"/>
                    </a:lnTo>
                    <a:lnTo>
                      <a:pt x="17" y="48"/>
                    </a:lnTo>
                    <a:lnTo>
                      <a:pt x="20" y="47"/>
                    </a:lnTo>
                    <a:lnTo>
                      <a:pt x="20" y="44"/>
                    </a:lnTo>
                    <a:lnTo>
                      <a:pt x="21" y="42"/>
                    </a:lnTo>
                    <a:lnTo>
                      <a:pt x="23" y="42"/>
                    </a:lnTo>
                    <a:lnTo>
                      <a:pt x="33" y="19"/>
                    </a:lnTo>
                    <a:lnTo>
                      <a:pt x="33" y="16"/>
                    </a:lnTo>
                    <a:lnTo>
                      <a:pt x="31" y="13"/>
                    </a:lnTo>
                    <a:lnTo>
                      <a:pt x="27" y="12"/>
                    </a:lnTo>
                    <a:lnTo>
                      <a:pt x="27" y="10"/>
                    </a:lnTo>
                    <a:lnTo>
                      <a:pt x="29" y="7"/>
                    </a:lnTo>
                    <a:lnTo>
                      <a:pt x="29" y="4"/>
                    </a:lnTo>
                    <a:lnTo>
                      <a:pt x="26" y="6"/>
                    </a:lnTo>
                    <a:lnTo>
                      <a:pt x="21" y="6"/>
                    </a:lnTo>
                    <a:lnTo>
                      <a:pt x="18" y="3"/>
                    </a:lnTo>
                    <a:lnTo>
                      <a:pt x="18" y="1"/>
                    </a:lnTo>
                    <a:lnTo>
                      <a:pt x="17"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70" name="Freeform 1006"/>
              <p:cNvSpPr>
                <a:spLocks/>
              </p:cNvSpPr>
              <p:nvPr/>
            </p:nvSpPr>
            <p:spPr bwMode="auto">
              <a:xfrm>
                <a:off x="7811369" y="2743220"/>
                <a:ext cx="30723" cy="50707"/>
              </a:xfrm>
              <a:custGeom>
                <a:avLst/>
                <a:gdLst/>
                <a:ahLst/>
                <a:cxnLst>
                  <a:cxn ang="0">
                    <a:pos x="17" y="1"/>
                  </a:cxn>
                  <a:cxn ang="0">
                    <a:pos x="17" y="0"/>
                  </a:cxn>
                  <a:cxn ang="0">
                    <a:pos x="16" y="0"/>
                  </a:cxn>
                  <a:cxn ang="0">
                    <a:pos x="14" y="1"/>
                  </a:cxn>
                  <a:cxn ang="0">
                    <a:pos x="11" y="3"/>
                  </a:cxn>
                  <a:cxn ang="0">
                    <a:pos x="10" y="6"/>
                  </a:cxn>
                  <a:cxn ang="0">
                    <a:pos x="8" y="6"/>
                  </a:cxn>
                  <a:cxn ang="0">
                    <a:pos x="7" y="7"/>
                  </a:cxn>
                  <a:cxn ang="0">
                    <a:pos x="4" y="9"/>
                  </a:cxn>
                  <a:cxn ang="0">
                    <a:pos x="4" y="7"/>
                  </a:cxn>
                  <a:cxn ang="0">
                    <a:pos x="2" y="9"/>
                  </a:cxn>
                  <a:cxn ang="0">
                    <a:pos x="0" y="13"/>
                  </a:cxn>
                  <a:cxn ang="0">
                    <a:pos x="4" y="17"/>
                  </a:cxn>
                  <a:cxn ang="0">
                    <a:pos x="4" y="19"/>
                  </a:cxn>
                  <a:cxn ang="0">
                    <a:pos x="2" y="16"/>
                  </a:cxn>
                  <a:cxn ang="0">
                    <a:pos x="1" y="16"/>
                  </a:cxn>
                  <a:cxn ang="0">
                    <a:pos x="1" y="23"/>
                  </a:cxn>
                  <a:cxn ang="0">
                    <a:pos x="2" y="22"/>
                  </a:cxn>
                  <a:cxn ang="0">
                    <a:pos x="5" y="20"/>
                  </a:cxn>
                  <a:cxn ang="0">
                    <a:pos x="8" y="22"/>
                  </a:cxn>
                  <a:cxn ang="0">
                    <a:pos x="10" y="20"/>
                  </a:cxn>
                  <a:cxn ang="0">
                    <a:pos x="8" y="19"/>
                  </a:cxn>
                  <a:cxn ang="0">
                    <a:pos x="7" y="17"/>
                  </a:cxn>
                  <a:cxn ang="0">
                    <a:pos x="7" y="15"/>
                  </a:cxn>
                  <a:cxn ang="0">
                    <a:pos x="8" y="13"/>
                  </a:cxn>
                  <a:cxn ang="0">
                    <a:pos x="13" y="19"/>
                  </a:cxn>
                  <a:cxn ang="0">
                    <a:pos x="13" y="22"/>
                  </a:cxn>
                  <a:cxn ang="0">
                    <a:pos x="13" y="23"/>
                  </a:cxn>
                  <a:cxn ang="0">
                    <a:pos x="13" y="26"/>
                  </a:cxn>
                  <a:cxn ang="0">
                    <a:pos x="11" y="29"/>
                  </a:cxn>
                  <a:cxn ang="0">
                    <a:pos x="10" y="31"/>
                  </a:cxn>
                  <a:cxn ang="0">
                    <a:pos x="8" y="33"/>
                  </a:cxn>
                  <a:cxn ang="0">
                    <a:pos x="8" y="41"/>
                  </a:cxn>
                  <a:cxn ang="0">
                    <a:pos x="8" y="44"/>
                  </a:cxn>
                  <a:cxn ang="0">
                    <a:pos x="10" y="45"/>
                  </a:cxn>
                  <a:cxn ang="0">
                    <a:pos x="13" y="47"/>
                  </a:cxn>
                  <a:cxn ang="0">
                    <a:pos x="14" y="44"/>
                  </a:cxn>
                  <a:cxn ang="0">
                    <a:pos x="13" y="41"/>
                  </a:cxn>
                  <a:cxn ang="0">
                    <a:pos x="14" y="38"/>
                  </a:cxn>
                  <a:cxn ang="0">
                    <a:pos x="16" y="39"/>
                  </a:cxn>
                  <a:cxn ang="0">
                    <a:pos x="16" y="39"/>
                  </a:cxn>
                  <a:cxn ang="0">
                    <a:pos x="14" y="42"/>
                  </a:cxn>
                  <a:cxn ang="0">
                    <a:pos x="16" y="49"/>
                  </a:cxn>
                  <a:cxn ang="0">
                    <a:pos x="17" y="48"/>
                  </a:cxn>
                  <a:cxn ang="0">
                    <a:pos x="20" y="47"/>
                  </a:cxn>
                  <a:cxn ang="0">
                    <a:pos x="20" y="44"/>
                  </a:cxn>
                  <a:cxn ang="0">
                    <a:pos x="21" y="42"/>
                  </a:cxn>
                  <a:cxn ang="0">
                    <a:pos x="23" y="42"/>
                  </a:cxn>
                  <a:cxn ang="0">
                    <a:pos x="33" y="19"/>
                  </a:cxn>
                  <a:cxn ang="0">
                    <a:pos x="33" y="16"/>
                  </a:cxn>
                  <a:cxn ang="0">
                    <a:pos x="31" y="13"/>
                  </a:cxn>
                  <a:cxn ang="0">
                    <a:pos x="27" y="12"/>
                  </a:cxn>
                  <a:cxn ang="0">
                    <a:pos x="27" y="10"/>
                  </a:cxn>
                  <a:cxn ang="0">
                    <a:pos x="29" y="7"/>
                  </a:cxn>
                  <a:cxn ang="0">
                    <a:pos x="29" y="4"/>
                  </a:cxn>
                  <a:cxn ang="0">
                    <a:pos x="26" y="6"/>
                  </a:cxn>
                  <a:cxn ang="0">
                    <a:pos x="21" y="6"/>
                  </a:cxn>
                  <a:cxn ang="0">
                    <a:pos x="18" y="3"/>
                  </a:cxn>
                  <a:cxn ang="0">
                    <a:pos x="18" y="1"/>
                  </a:cxn>
                  <a:cxn ang="0">
                    <a:pos x="17" y="1"/>
                  </a:cxn>
                </a:cxnLst>
                <a:rect l="0" t="0" r="r" b="b"/>
                <a:pathLst>
                  <a:path w="33" h="49">
                    <a:moveTo>
                      <a:pt x="17" y="1"/>
                    </a:moveTo>
                    <a:lnTo>
                      <a:pt x="17" y="0"/>
                    </a:lnTo>
                    <a:lnTo>
                      <a:pt x="16" y="0"/>
                    </a:lnTo>
                    <a:lnTo>
                      <a:pt x="14" y="1"/>
                    </a:lnTo>
                    <a:lnTo>
                      <a:pt x="11" y="3"/>
                    </a:lnTo>
                    <a:lnTo>
                      <a:pt x="10" y="6"/>
                    </a:lnTo>
                    <a:lnTo>
                      <a:pt x="8" y="6"/>
                    </a:lnTo>
                    <a:lnTo>
                      <a:pt x="7" y="7"/>
                    </a:lnTo>
                    <a:lnTo>
                      <a:pt x="4" y="9"/>
                    </a:lnTo>
                    <a:lnTo>
                      <a:pt x="4" y="7"/>
                    </a:lnTo>
                    <a:lnTo>
                      <a:pt x="2" y="9"/>
                    </a:lnTo>
                    <a:lnTo>
                      <a:pt x="0" y="13"/>
                    </a:lnTo>
                    <a:lnTo>
                      <a:pt x="4" y="17"/>
                    </a:lnTo>
                    <a:lnTo>
                      <a:pt x="4" y="19"/>
                    </a:lnTo>
                    <a:lnTo>
                      <a:pt x="2" y="16"/>
                    </a:lnTo>
                    <a:lnTo>
                      <a:pt x="1" y="16"/>
                    </a:lnTo>
                    <a:lnTo>
                      <a:pt x="1" y="23"/>
                    </a:lnTo>
                    <a:lnTo>
                      <a:pt x="2" y="22"/>
                    </a:lnTo>
                    <a:lnTo>
                      <a:pt x="5" y="20"/>
                    </a:lnTo>
                    <a:lnTo>
                      <a:pt x="8" y="22"/>
                    </a:lnTo>
                    <a:lnTo>
                      <a:pt x="10" y="20"/>
                    </a:lnTo>
                    <a:lnTo>
                      <a:pt x="8" y="19"/>
                    </a:lnTo>
                    <a:lnTo>
                      <a:pt x="7" y="17"/>
                    </a:lnTo>
                    <a:lnTo>
                      <a:pt x="7" y="15"/>
                    </a:lnTo>
                    <a:lnTo>
                      <a:pt x="8" y="13"/>
                    </a:lnTo>
                    <a:lnTo>
                      <a:pt x="13" y="19"/>
                    </a:lnTo>
                    <a:lnTo>
                      <a:pt x="13" y="22"/>
                    </a:lnTo>
                    <a:lnTo>
                      <a:pt x="13" y="23"/>
                    </a:lnTo>
                    <a:lnTo>
                      <a:pt x="13" y="26"/>
                    </a:lnTo>
                    <a:lnTo>
                      <a:pt x="11" y="29"/>
                    </a:lnTo>
                    <a:lnTo>
                      <a:pt x="10" y="31"/>
                    </a:lnTo>
                    <a:lnTo>
                      <a:pt x="8" y="33"/>
                    </a:lnTo>
                    <a:lnTo>
                      <a:pt x="8" y="41"/>
                    </a:lnTo>
                    <a:lnTo>
                      <a:pt x="8" y="44"/>
                    </a:lnTo>
                    <a:lnTo>
                      <a:pt x="10" y="45"/>
                    </a:lnTo>
                    <a:lnTo>
                      <a:pt x="13" y="47"/>
                    </a:lnTo>
                    <a:lnTo>
                      <a:pt x="14" y="44"/>
                    </a:lnTo>
                    <a:lnTo>
                      <a:pt x="13" y="41"/>
                    </a:lnTo>
                    <a:lnTo>
                      <a:pt x="14" y="38"/>
                    </a:lnTo>
                    <a:lnTo>
                      <a:pt x="16" y="39"/>
                    </a:lnTo>
                    <a:lnTo>
                      <a:pt x="16" y="39"/>
                    </a:lnTo>
                    <a:lnTo>
                      <a:pt x="14" y="42"/>
                    </a:lnTo>
                    <a:lnTo>
                      <a:pt x="16" y="49"/>
                    </a:lnTo>
                    <a:lnTo>
                      <a:pt x="17" y="48"/>
                    </a:lnTo>
                    <a:lnTo>
                      <a:pt x="20" y="47"/>
                    </a:lnTo>
                    <a:lnTo>
                      <a:pt x="20" y="44"/>
                    </a:lnTo>
                    <a:lnTo>
                      <a:pt x="21" y="42"/>
                    </a:lnTo>
                    <a:lnTo>
                      <a:pt x="23" y="42"/>
                    </a:lnTo>
                    <a:lnTo>
                      <a:pt x="33" y="19"/>
                    </a:lnTo>
                    <a:lnTo>
                      <a:pt x="33" y="16"/>
                    </a:lnTo>
                    <a:lnTo>
                      <a:pt x="31" y="13"/>
                    </a:lnTo>
                    <a:lnTo>
                      <a:pt x="27" y="12"/>
                    </a:lnTo>
                    <a:lnTo>
                      <a:pt x="27" y="10"/>
                    </a:lnTo>
                    <a:lnTo>
                      <a:pt x="29" y="7"/>
                    </a:lnTo>
                    <a:lnTo>
                      <a:pt x="29" y="4"/>
                    </a:lnTo>
                    <a:lnTo>
                      <a:pt x="26" y="6"/>
                    </a:lnTo>
                    <a:lnTo>
                      <a:pt x="21" y="6"/>
                    </a:lnTo>
                    <a:lnTo>
                      <a:pt x="18" y="3"/>
                    </a:lnTo>
                    <a:lnTo>
                      <a:pt x="18" y="1"/>
                    </a:lnTo>
                    <a:lnTo>
                      <a:pt x="17"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71" name="Freeform 1007"/>
              <p:cNvSpPr>
                <a:spLocks/>
              </p:cNvSpPr>
              <p:nvPr/>
            </p:nvSpPr>
            <p:spPr bwMode="auto">
              <a:xfrm>
                <a:off x="7815758" y="2768573"/>
                <a:ext cx="1756" cy="6085"/>
              </a:xfrm>
              <a:custGeom>
                <a:avLst/>
                <a:gdLst/>
                <a:ahLst/>
                <a:cxnLst>
                  <a:cxn ang="0">
                    <a:pos x="0" y="0"/>
                  </a:cxn>
                  <a:cxn ang="0">
                    <a:pos x="0" y="1"/>
                  </a:cxn>
                  <a:cxn ang="0">
                    <a:pos x="0" y="4"/>
                  </a:cxn>
                  <a:cxn ang="0">
                    <a:pos x="0" y="6"/>
                  </a:cxn>
                  <a:cxn ang="0">
                    <a:pos x="2" y="0"/>
                  </a:cxn>
                  <a:cxn ang="0">
                    <a:pos x="0" y="0"/>
                  </a:cxn>
                </a:cxnLst>
                <a:rect l="0" t="0" r="r" b="b"/>
                <a:pathLst>
                  <a:path w="2" h="6">
                    <a:moveTo>
                      <a:pt x="0" y="0"/>
                    </a:moveTo>
                    <a:lnTo>
                      <a:pt x="0" y="1"/>
                    </a:lnTo>
                    <a:lnTo>
                      <a:pt x="0" y="4"/>
                    </a:lnTo>
                    <a:lnTo>
                      <a:pt x="0" y="6"/>
                    </a:lnTo>
                    <a:lnTo>
                      <a:pt x="2" y="0"/>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72" name="Freeform 1008"/>
              <p:cNvSpPr>
                <a:spLocks/>
              </p:cNvSpPr>
              <p:nvPr/>
            </p:nvSpPr>
            <p:spPr bwMode="auto">
              <a:xfrm>
                <a:off x="7815758" y="2768573"/>
                <a:ext cx="1756" cy="6085"/>
              </a:xfrm>
              <a:custGeom>
                <a:avLst/>
                <a:gdLst/>
                <a:ahLst/>
                <a:cxnLst>
                  <a:cxn ang="0">
                    <a:pos x="0" y="0"/>
                  </a:cxn>
                  <a:cxn ang="0">
                    <a:pos x="0" y="1"/>
                  </a:cxn>
                  <a:cxn ang="0">
                    <a:pos x="0" y="4"/>
                  </a:cxn>
                  <a:cxn ang="0">
                    <a:pos x="0" y="6"/>
                  </a:cxn>
                  <a:cxn ang="0">
                    <a:pos x="2" y="0"/>
                  </a:cxn>
                  <a:cxn ang="0">
                    <a:pos x="0" y="0"/>
                  </a:cxn>
                </a:cxnLst>
                <a:rect l="0" t="0" r="r" b="b"/>
                <a:pathLst>
                  <a:path w="2" h="6">
                    <a:moveTo>
                      <a:pt x="0" y="0"/>
                    </a:moveTo>
                    <a:lnTo>
                      <a:pt x="0" y="1"/>
                    </a:lnTo>
                    <a:lnTo>
                      <a:pt x="0" y="4"/>
                    </a:lnTo>
                    <a:lnTo>
                      <a:pt x="0" y="6"/>
                    </a:lnTo>
                    <a:lnTo>
                      <a:pt x="2" y="0"/>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73" name="Freeform 1009"/>
              <p:cNvSpPr>
                <a:spLocks/>
              </p:cNvSpPr>
              <p:nvPr/>
            </p:nvSpPr>
            <p:spPr bwMode="auto">
              <a:xfrm>
                <a:off x="7828047" y="2796969"/>
                <a:ext cx="1756" cy="8113"/>
              </a:xfrm>
              <a:custGeom>
                <a:avLst/>
                <a:gdLst/>
                <a:ahLst/>
                <a:cxnLst>
                  <a:cxn ang="0">
                    <a:pos x="2" y="3"/>
                  </a:cxn>
                  <a:cxn ang="0">
                    <a:pos x="2" y="0"/>
                  </a:cxn>
                  <a:cxn ang="0">
                    <a:pos x="0" y="6"/>
                  </a:cxn>
                  <a:cxn ang="0">
                    <a:pos x="0" y="8"/>
                  </a:cxn>
                  <a:cxn ang="0">
                    <a:pos x="2" y="3"/>
                  </a:cxn>
                </a:cxnLst>
                <a:rect l="0" t="0" r="r" b="b"/>
                <a:pathLst>
                  <a:path w="2" h="8">
                    <a:moveTo>
                      <a:pt x="2" y="3"/>
                    </a:moveTo>
                    <a:lnTo>
                      <a:pt x="2" y="0"/>
                    </a:lnTo>
                    <a:lnTo>
                      <a:pt x="0" y="6"/>
                    </a:lnTo>
                    <a:lnTo>
                      <a:pt x="0" y="8"/>
                    </a:lnTo>
                    <a:lnTo>
                      <a:pt x="2"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74" name="Freeform 1011"/>
              <p:cNvSpPr>
                <a:spLocks/>
              </p:cNvSpPr>
              <p:nvPr/>
            </p:nvSpPr>
            <p:spPr bwMode="auto">
              <a:xfrm>
                <a:off x="7828047" y="2796969"/>
                <a:ext cx="1756" cy="8113"/>
              </a:xfrm>
              <a:custGeom>
                <a:avLst/>
                <a:gdLst/>
                <a:ahLst/>
                <a:cxnLst>
                  <a:cxn ang="0">
                    <a:pos x="2" y="3"/>
                  </a:cxn>
                  <a:cxn ang="0">
                    <a:pos x="2" y="0"/>
                  </a:cxn>
                  <a:cxn ang="0">
                    <a:pos x="0" y="6"/>
                  </a:cxn>
                  <a:cxn ang="0">
                    <a:pos x="0" y="8"/>
                  </a:cxn>
                  <a:cxn ang="0">
                    <a:pos x="2" y="3"/>
                  </a:cxn>
                </a:cxnLst>
                <a:rect l="0" t="0" r="r" b="b"/>
                <a:pathLst>
                  <a:path w="2" h="8">
                    <a:moveTo>
                      <a:pt x="2" y="3"/>
                    </a:moveTo>
                    <a:lnTo>
                      <a:pt x="2" y="0"/>
                    </a:lnTo>
                    <a:lnTo>
                      <a:pt x="0" y="6"/>
                    </a:lnTo>
                    <a:lnTo>
                      <a:pt x="0" y="8"/>
                    </a:lnTo>
                    <a:lnTo>
                      <a:pt x="2"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75" name="Freeform 1012"/>
              <p:cNvSpPr>
                <a:spLocks/>
              </p:cNvSpPr>
              <p:nvPr/>
            </p:nvSpPr>
            <p:spPr bwMode="auto">
              <a:xfrm>
                <a:off x="7821902" y="2803054"/>
                <a:ext cx="2634" cy="5071"/>
              </a:xfrm>
              <a:custGeom>
                <a:avLst/>
                <a:gdLst/>
                <a:ahLst/>
                <a:cxnLst>
                  <a:cxn ang="0">
                    <a:pos x="0" y="2"/>
                  </a:cxn>
                  <a:cxn ang="0">
                    <a:pos x="0" y="0"/>
                  </a:cxn>
                  <a:cxn ang="0">
                    <a:pos x="0" y="2"/>
                  </a:cxn>
                  <a:cxn ang="0">
                    <a:pos x="0" y="5"/>
                  </a:cxn>
                  <a:cxn ang="0">
                    <a:pos x="3" y="5"/>
                  </a:cxn>
                  <a:cxn ang="0">
                    <a:pos x="3" y="2"/>
                  </a:cxn>
                  <a:cxn ang="0">
                    <a:pos x="0" y="2"/>
                  </a:cxn>
                </a:cxnLst>
                <a:rect l="0" t="0" r="r" b="b"/>
                <a:pathLst>
                  <a:path w="3" h="5">
                    <a:moveTo>
                      <a:pt x="0" y="2"/>
                    </a:moveTo>
                    <a:lnTo>
                      <a:pt x="0" y="0"/>
                    </a:lnTo>
                    <a:lnTo>
                      <a:pt x="0" y="2"/>
                    </a:lnTo>
                    <a:lnTo>
                      <a:pt x="0" y="5"/>
                    </a:lnTo>
                    <a:lnTo>
                      <a:pt x="3" y="5"/>
                    </a:lnTo>
                    <a:lnTo>
                      <a:pt x="3" y="2"/>
                    </a:lnTo>
                    <a:lnTo>
                      <a:pt x="0"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76" name="Freeform 1013"/>
              <p:cNvSpPr>
                <a:spLocks/>
              </p:cNvSpPr>
              <p:nvPr/>
            </p:nvSpPr>
            <p:spPr bwMode="auto">
              <a:xfrm>
                <a:off x="7821902" y="2803054"/>
                <a:ext cx="2634" cy="5071"/>
              </a:xfrm>
              <a:custGeom>
                <a:avLst/>
                <a:gdLst/>
                <a:ahLst/>
                <a:cxnLst>
                  <a:cxn ang="0">
                    <a:pos x="0" y="2"/>
                  </a:cxn>
                  <a:cxn ang="0">
                    <a:pos x="0" y="0"/>
                  </a:cxn>
                  <a:cxn ang="0">
                    <a:pos x="0" y="2"/>
                  </a:cxn>
                  <a:cxn ang="0">
                    <a:pos x="0" y="5"/>
                  </a:cxn>
                  <a:cxn ang="0">
                    <a:pos x="3" y="5"/>
                  </a:cxn>
                  <a:cxn ang="0">
                    <a:pos x="3" y="2"/>
                  </a:cxn>
                  <a:cxn ang="0">
                    <a:pos x="0" y="2"/>
                  </a:cxn>
                </a:cxnLst>
                <a:rect l="0" t="0" r="r" b="b"/>
                <a:pathLst>
                  <a:path w="3" h="5">
                    <a:moveTo>
                      <a:pt x="0" y="2"/>
                    </a:moveTo>
                    <a:lnTo>
                      <a:pt x="0" y="0"/>
                    </a:lnTo>
                    <a:lnTo>
                      <a:pt x="0" y="2"/>
                    </a:lnTo>
                    <a:lnTo>
                      <a:pt x="0" y="5"/>
                    </a:lnTo>
                    <a:lnTo>
                      <a:pt x="3" y="5"/>
                    </a:lnTo>
                    <a:lnTo>
                      <a:pt x="3" y="2"/>
                    </a:lnTo>
                    <a:lnTo>
                      <a:pt x="0"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77" name="Freeform 1014"/>
              <p:cNvSpPr>
                <a:spLocks/>
              </p:cNvSpPr>
              <p:nvPr/>
            </p:nvSpPr>
            <p:spPr bwMode="auto">
              <a:xfrm>
                <a:off x="7797324" y="2763503"/>
                <a:ext cx="2634" cy="3042"/>
              </a:xfrm>
              <a:custGeom>
                <a:avLst/>
                <a:gdLst/>
                <a:ahLst/>
                <a:cxnLst>
                  <a:cxn ang="0">
                    <a:pos x="3" y="0"/>
                  </a:cxn>
                  <a:cxn ang="0">
                    <a:pos x="0" y="2"/>
                  </a:cxn>
                  <a:cxn ang="0">
                    <a:pos x="0" y="3"/>
                  </a:cxn>
                  <a:cxn ang="0">
                    <a:pos x="3" y="3"/>
                  </a:cxn>
                  <a:cxn ang="0">
                    <a:pos x="3" y="0"/>
                  </a:cxn>
                </a:cxnLst>
                <a:rect l="0" t="0" r="r" b="b"/>
                <a:pathLst>
                  <a:path w="3" h="3">
                    <a:moveTo>
                      <a:pt x="3" y="0"/>
                    </a:moveTo>
                    <a:lnTo>
                      <a:pt x="0" y="2"/>
                    </a:lnTo>
                    <a:lnTo>
                      <a:pt x="0" y="3"/>
                    </a:lnTo>
                    <a:lnTo>
                      <a:pt x="3" y="3"/>
                    </a:lnTo>
                    <a:lnTo>
                      <a:pt x="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78" name="Freeform 1015"/>
              <p:cNvSpPr>
                <a:spLocks/>
              </p:cNvSpPr>
              <p:nvPr/>
            </p:nvSpPr>
            <p:spPr bwMode="auto">
              <a:xfrm>
                <a:off x="7797324" y="2763503"/>
                <a:ext cx="2634" cy="3042"/>
              </a:xfrm>
              <a:custGeom>
                <a:avLst/>
                <a:gdLst/>
                <a:ahLst/>
                <a:cxnLst>
                  <a:cxn ang="0">
                    <a:pos x="3" y="0"/>
                  </a:cxn>
                  <a:cxn ang="0">
                    <a:pos x="0" y="2"/>
                  </a:cxn>
                  <a:cxn ang="0">
                    <a:pos x="0" y="3"/>
                  </a:cxn>
                  <a:cxn ang="0">
                    <a:pos x="3" y="3"/>
                  </a:cxn>
                  <a:cxn ang="0">
                    <a:pos x="3" y="0"/>
                  </a:cxn>
                </a:cxnLst>
                <a:rect l="0" t="0" r="r" b="b"/>
                <a:pathLst>
                  <a:path w="3" h="3">
                    <a:moveTo>
                      <a:pt x="3" y="0"/>
                    </a:moveTo>
                    <a:lnTo>
                      <a:pt x="0" y="2"/>
                    </a:lnTo>
                    <a:lnTo>
                      <a:pt x="0" y="3"/>
                    </a:lnTo>
                    <a:lnTo>
                      <a:pt x="3" y="3"/>
                    </a:lnTo>
                    <a:lnTo>
                      <a:pt x="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79" name="Freeform 1016"/>
              <p:cNvSpPr>
                <a:spLocks/>
              </p:cNvSpPr>
              <p:nvPr/>
            </p:nvSpPr>
            <p:spPr bwMode="auto">
              <a:xfrm>
                <a:off x="7803469" y="2758432"/>
                <a:ext cx="878" cy="4056"/>
              </a:xfrm>
              <a:custGeom>
                <a:avLst/>
                <a:gdLst/>
                <a:ahLst/>
                <a:cxnLst>
                  <a:cxn ang="0">
                    <a:pos x="1" y="1"/>
                  </a:cxn>
                  <a:cxn ang="0">
                    <a:pos x="1" y="0"/>
                  </a:cxn>
                  <a:cxn ang="0">
                    <a:pos x="1" y="0"/>
                  </a:cxn>
                  <a:cxn ang="0">
                    <a:pos x="0" y="2"/>
                  </a:cxn>
                  <a:cxn ang="0">
                    <a:pos x="0" y="4"/>
                  </a:cxn>
                  <a:cxn ang="0">
                    <a:pos x="1" y="2"/>
                  </a:cxn>
                  <a:cxn ang="0">
                    <a:pos x="1" y="1"/>
                  </a:cxn>
                </a:cxnLst>
                <a:rect l="0" t="0" r="r" b="b"/>
                <a:pathLst>
                  <a:path w="1" h="4">
                    <a:moveTo>
                      <a:pt x="1" y="1"/>
                    </a:moveTo>
                    <a:lnTo>
                      <a:pt x="1" y="0"/>
                    </a:lnTo>
                    <a:lnTo>
                      <a:pt x="1" y="0"/>
                    </a:lnTo>
                    <a:lnTo>
                      <a:pt x="0" y="2"/>
                    </a:lnTo>
                    <a:lnTo>
                      <a:pt x="0" y="4"/>
                    </a:lnTo>
                    <a:lnTo>
                      <a:pt x="1" y="2"/>
                    </a:lnTo>
                    <a:lnTo>
                      <a:pt x="1"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80" name="Freeform 1017"/>
              <p:cNvSpPr>
                <a:spLocks/>
              </p:cNvSpPr>
              <p:nvPr/>
            </p:nvSpPr>
            <p:spPr bwMode="auto">
              <a:xfrm>
                <a:off x="7803469" y="2758432"/>
                <a:ext cx="878" cy="4056"/>
              </a:xfrm>
              <a:custGeom>
                <a:avLst/>
                <a:gdLst/>
                <a:ahLst/>
                <a:cxnLst>
                  <a:cxn ang="0">
                    <a:pos x="1" y="1"/>
                  </a:cxn>
                  <a:cxn ang="0">
                    <a:pos x="1" y="0"/>
                  </a:cxn>
                  <a:cxn ang="0">
                    <a:pos x="1" y="0"/>
                  </a:cxn>
                  <a:cxn ang="0">
                    <a:pos x="0" y="2"/>
                  </a:cxn>
                  <a:cxn ang="0">
                    <a:pos x="0" y="4"/>
                  </a:cxn>
                  <a:cxn ang="0">
                    <a:pos x="1" y="2"/>
                  </a:cxn>
                  <a:cxn ang="0">
                    <a:pos x="1" y="1"/>
                  </a:cxn>
                </a:cxnLst>
                <a:rect l="0" t="0" r="r" b="b"/>
                <a:pathLst>
                  <a:path w="1" h="4">
                    <a:moveTo>
                      <a:pt x="1" y="1"/>
                    </a:moveTo>
                    <a:lnTo>
                      <a:pt x="1" y="0"/>
                    </a:lnTo>
                    <a:lnTo>
                      <a:pt x="1" y="0"/>
                    </a:lnTo>
                    <a:lnTo>
                      <a:pt x="0" y="2"/>
                    </a:lnTo>
                    <a:lnTo>
                      <a:pt x="0" y="4"/>
                    </a:lnTo>
                    <a:lnTo>
                      <a:pt x="1" y="2"/>
                    </a:lnTo>
                    <a:lnTo>
                      <a:pt x="1"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81" name="Freeform 1018"/>
              <p:cNvSpPr>
                <a:spLocks/>
              </p:cNvSpPr>
              <p:nvPr/>
            </p:nvSpPr>
            <p:spPr bwMode="auto">
              <a:xfrm>
                <a:off x="7811369" y="2744234"/>
                <a:ext cx="878" cy="3043"/>
              </a:xfrm>
              <a:custGeom>
                <a:avLst/>
                <a:gdLst/>
                <a:ahLst/>
                <a:cxnLst>
                  <a:cxn ang="0">
                    <a:pos x="1" y="0"/>
                  </a:cxn>
                  <a:cxn ang="0">
                    <a:pos x="0" y="2"/>
                  </a:cxn>
                  <a:cxn ang="0">
                    <a:pos x="1" y="3"/>
                  </a:cxn>
                  <a:cxn ang="0">
                    <a:pos x="1" y="2"/>
                  </a:cxn>
                  <a:cxn ang="0">
                    <a:pos x="1" y="0"/>
                  </a:cxn>
                </a:cxnLst>
                <a:rect l="0" t="0" r="r" b="b"/>
                <a:pathLst>
                  <a:path w="1" h="3">
                    <a:moveTo>
                      <a:pt x="1" y="0"/>
                    </a:moveTo>
                    <a:lnTo>
                      <a:pt x="0" y="2"/>
                    </a:lnTo>
                    <a:lnTo>
                      <a:pt x="1" y="3"/>
                    </a:lnTo>
                    <a:lnTo>
                      <a:pt x="1" y="2"/>
                    </a:lnTo>
                    <a:lnTo>
                      <a:pt x="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82" name="Freeform 1019"/>
              <p:cNvSpPr>
                <a:spLocks/>
              </p:cNvSpPr>
              <p:nvPr/>
            </p:nvSpPr>
            <p:spPr bwMode="auto">
              <a:xfrm>
                <a:off x="7811369" y="2744234"/>
                <a:ext cx="878" cy="3043"/>
              </a:xfrm>
              <a:custGeom>
                <a:avLst/>
                <a:gdLst/>
                <a:ahLst/>
                <a:cxnLst>
                  <a:cxn ang="0">
                    <a:pos x="1" y="0"/>
                  </a:cxn>
                  <a:cxn ang="0">
                    <a:pos x="0" y="2"/>
                  </a:cxn>
                  <a:cxn ang="0">
                    <a:pos x="1" y="3"/>
                  </a:cxn>
                  <a:cxn ang="0">
                    <a:pos x="1" y="2"/>
                  </a:cxn>
                  <a:cxn ang="0">
                    <a:pos x="1" y="0"/>
                  </a:cxn>
                </a:cxnLst>
                <a:rect l="0" t="0" r="r" b="b"/>
                <a:pathLst>
                  <a:path w="1" h="3">
                    <a:moveTo>
                      <a:pt x="1" y="0"/>
                    </a:moveTo>
                    <a:lnTo>
                      <a:pt x="0" y="2"/>
                    </a:lnTo>
                    <a:lnTo>
                      <a:pt x="1" y="3"/>
                    </a:lnTo>
                    <a:lnTo>
                      <a:pt x="1" y="2"/>
                    </a:lnTo>
                    <a:lnTo>
                      <a:pt x="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83" name="Freeform 1020"/>
              <p:cNvSpPr>
                <a:spLocks/>
              </p:cNvSpPr>
              <p:nvPr/>
            </p:nvSpPr>
            <p:spPr bwMode="auto">
              <a:xfrm>
                <a:off x="7685844" y="2889255"/>
                <a:ext cx="22823" cy="53749"/>
              </a:xfrm>
              <a:custGeom>
                <a:avLst/>
                <a:gdLst/>
                <a:ahLst/>
                <a:cxnLst>
                  <a:cxn ang="0">
                    <a:pos x="19" y="0"/>
                  </a:cxn>
                  <a:cxn ang="0">
                    <a:pos x="20" y="1"/>
                  </a:cxn>
                  <a:cxn ang="0">
                    <a:pos x="22" y="1"/>
                  </a:cxn>
                  <a:cxn ang="0">
                    <a:pos x="23" y="1"/>
                  </a:cxn>
                  <a:cxn ang="0">
                    <a:pos x="25" y="3"/>
                  </a:cxn>
                  <a:cxn ang="0">
                    <a:pos x="25" y="4"/>
                  </a:cxn>
                  <a:cxn ang="0">
                    <a:pos x="23" y="9"/>
                  </a:cxn>
                  <a:cxn ang="0">
                    <a:pos x="25" y="10"/>
                  </a:cxn>
                  <a:cxn ang="0">
                    <a:pos x="10" y="51"/>
                  </a:cxn>
                  <a:cxn ang="0">
                    <a:pos x="9" y="51"/>
                  </a:cxn>
                  <a:cxn ang="0">
                    <a:pos x="6" y="44"/>
                  </a:cxn>
                  <a:cxn ang="0">
                    <a:pos x="4" y="42"/>
                  </a:cxn>
                  <a:cxn ang="0">
                    <a:pos x="2" y="38"/>
                  </a:cxn>
                  <a:cxn ang="0">
                    <a:pos x="0" y="26"/>
                  </a:cxn>
                  <a:cxn ang="0">
                    <a:pos x="0" y="23"/>
                  </a:cxn>
                  <a:cxn ang="0">
                    <a:pos x="12" y="4"/>
                  </a:cxn>
                  <a:cxn ang="0">
                    <a:pos x="16" y="1"/>
                  </a:cxn>
                  <a:cxn ang="0">
                    <a:pos x="17" y="0"/>
                  </a:cxn>
                  <a:cxn ang="0">
                    <a:pos x="19" y="0"/>
                  </a:cxn>
                </a:cxnLst>
                <a:rect l="0" t="0" r="r" b="b"/>
                <a:pathLst>
                  <a:path w="25" h="51">
                    <a:moveTo>
                      <a:pt x="19" y="0"/>
                    </a:moveTo>
                    <a:lnTo>
                      <a:pt x="20" y="1"/>
                    </a:lnTo>
                    <a:lnTo>
                      <a:pt x="22" y="1"/>
                    </a:lnTo>
                    <a:lnTo>
                      <a:pt x="23" y="1"/>
                    </a:lnTo>
                    <a:lnTo>
                      <a:pt x="25" y="3"/>
                    </a:lnTo>
                    <a:lnTo>
                      <a:pt x="25" y="4"/>
                    </a:lnTo>
                    <a:lnTo>
                      <a:pt x="23" y="9"/>
                    </a:lnTo>
                    <a:lnTo>
                      <a:pt x="25" y="10"/>
                    </a:lnTo>
                    <a:lnTo>
                      <a:pt x="10" y="51"/>
                    </a:lnTo>
                    <a:lnTo>
                      <a:pt x="9" y="51"/>
                    </a:lnTo>
                    <a:lnTo>
                      <a:pt x="6" y="44"/>
                    </a:lnTo>
                    <a:lnTo>
                      <a:pt x="4" y="42"/>
                    </a:lnTo>
                    <a:lnTo>
                      <a:pt x="2" y="38"/>
                    </a:lnTo>
                    <a:lnTo>
                      <a:pt x="0" y="26"/>
                    </a:lnTo>
                    <a:lnTo>
                      <a:pt x="0" y="23"/>
                    </a:lnTo>
                    <a:lnTo>
                      <a:pt x="12" y="4"/>
                    </a:lnTo>
                    <a:lnTo>
                      <a:pt x="16" y="1"/>
                    </a:lnTo>
                    <a:lnTo>
                      <a:pt x="17" y="0"/>
                    </a:lnTo>
                    <a:lnTo>
                      <a:pt x="19"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84" name="Freeform 1021"/>
              <p:cNvSpPr>
                <a:spLocks/>
              </p:cNvSpPr>
              <p:nvPr/>
            </p:nvSpPr>
            <p:spPr bwMode="auto">
              <a:xfrm>
                <a:off x="7685844" y="2889255"/>
                <a:ext cx="22823" cy="53749"/>
              </a:xfrm>
              <a:custGeom>
                <a:avLst/>
                <a:gdLst/>
                <a:ahLst/>
                <a:cxnLst>
                  <a:cxn ang="0">
                    <a:pos x="19" y="0"/>
                  </a:cxn>
                  <a:cxn ang="0">
                    <a:pos x="20" y="1"/>
                  </a:cxn>
                  <a:cxn ang="0">
                    <a:pos x="22" y="1"/>
                  </a:cxn>
                  <a:cxn ang="0">
                    <a:pos x="23" y="1"/>
                  </a:cxn>
                  <a:cxn ang="0">
                    <a:pos x="25" y="3"/>
                  </a:cxn>
                  <a:cxn ang="0">
                    <a:pos x="25" y="4"/>
                  </a:cxn>
                  <a:cxn ang="0">
                    <a:pos x="23" y="9"/>
                  </a:cxn>
                  <a:cxn ang="0">
                    <a:pos x="25" y="10"/>
                  </a:cxn>
                  <a:cxn ang="0">
                    <a:pos x="10" y="51"/>
                  </a:cxn>
                  <a:cxn ang="0">
                    <a:pos x="9" y="51"/>
                  </a:cxn>
                  <a:cxn ang="0">
                    <a:pos x="6" y="44"/>
                  </a:cxn>
                  <a:cxn ang="0">
                    <a:pos x="4" y="42"/>
                  </a:cxn>
                  <a:cxn ang="0">
                    <a:pos x="2" y="38"/>
                  </a:cxn>
                  <a:cxn ang="0">
                    <a:pos x="0" y="26"/>
                  </a:cxn>
                  <a:cxn ang="0">
                    <a:pos x="0" y="23"/>
                  </a:cxn>
                  <a:cxn ang="0">
                    <a:pos x="12" y="4"/>
                  </a:cxn>
                  <a:cxn ang="0">
                    <a:pos x="16" y="1"/>
                  </a:cxn>
                  <a:cxn ang="0">
                    <a:pos x="17" y="0"/>
                  </a:cxn>
                  <a:cxn ang="0">
                    <a:pos x="19" y="0"/>
                  </a:cxn>
                </a:cxnLst>
                <a:rect l="0" t="0" r="r" b="b"/>
                <a:pathLst>
                  <a:path w="25" h="51">
                    <a:moveTo>
                      <a:pt x="19" y="0"/>
                    </a:moveTo>
                    <a:lnTo>
                      <a:pt x="20" y="1"/>
                    </a:lnTo>
                    <a:lnTo>
                      <a:pt x="22" y="1"/>
                    </a:lnTo>
                    <a:lnTo>
                      <a:pt x="23" y="1"/>
                    </a:lnTo>
                    <a:lnTo>
                      <a:pt x="25" y="3"/>
                    </a:lnTo>
                    <a:lnTo>
                      <a:pt x="25" y="4"/>
                    </a:lnTo>
                    <a:lnTo>
                      <a:pt x="23" y="9"/>
                    </a:lnTo>
                    <a:lnTo>
                      <a:pt x="25" y="10"/>
                    </a:lnTo>
                    <a:lnTo>
                      <a:pt x="10" y="51"/>
                    </a:lnTo>
                    <a:lnTo>
                      <a:pt x="9" y="51"/>
                    </a:lnTo>
                    <a:lnTo>
                      <a:pt x="6" y="44"/>
                    </a:lnTo>
                    <a:lnTo>
                      <a:pt x="4" y="42"/>
                    </a:lnTo>
                    <a:lnTo>
                      <a:pt x="2" y="38"/>
                    </a:lnTo>
                    <a:lnTo>
                      <a:pt x="0" y="26"/>
                    </a:lnTo>
                    <a:lnTo>
                      <a:pt x="0" y="23"/>
                    </a:lnTo>
                    <a:lnTo>
                      <a:pt x="12" y="4"/>
                    </a:lnTo>
                    <a:lnTo>
                      <a:pt x="16" y="1"/>
                    </a:lnTo>
                    <a:lnTo>
                      <a:pt x="17" y="0"/>
                    </a:lnTo>
                    <a:lnTo>
                      <a:pt x="19"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85" name="Freeform 1022"/>
              <p:cNvSpPr>
                <a:spLocks/>
              </p:cNvSpPr>
              <p:nvPr/>
            </p:nvSpPr>
            <p:spPr bwMode="auto">
              <a:xfrm>
                <a:off x="7732367" y="2903453"/>
                <a:ext cx="2634" cy="3042"/>
              </a:xfrm>
              <a:custGeom>
                <a:avLst/>
                <a:gdLst/>
                <a:ahLst/>
                <a:cxnLst>
                  <a:cxn ang="0">
                    <a:pos x="1" y="0"/>
                  </a:cxn>
                  <a:cxn ang="0">
                    <a:pos x="1" y="0"/>
                  </a:cxn>
                  <a:cxn ang="0">
                    <a:pos x="3" y="2"/>
                  </a:cxn>
                  <a:cxn ang="0">
                    <a:pos x="3" y="2"/>
                  </a:cxn>
                  <a:cxn ang="0">
                    <a:pos x="3" y="3"/>
                  </a:cxn>
                  <a:cxn ang="0">
                    <a:pos x="1" y="3"/>
                  </a:cxn>
                  <a:cxn ang="0">
                    <a:pos x="0" y="2"/>
                  </a:cxn>
                  <a:cxn ang="0">
                    <a:pos x="1" y="0"/>
                  </a:cxn>
                </a:cxnLst>
                <a:rect l="0" t="0" r="r" b="b"/>
                <a:pathLst>
                  <a:path w="3" h="3">
                    <a:moveTo>
                      <a:pt x="1" y="0"/>
                    </a:moveTo>
                    <a:lnTo>
                      <a:pt x="1" y="0"/>
                    </a:lnTo>
                    <a:lnTo>
                      <a:pt x="3" y="2"/>
                    </a:lnTo>
                    <a:lnTo>
                      <a:pt x="3" y="2"/>
                    </a:lnTo>
                    <a:lnTo>
                      <a:pt x="3" y="3"/>
                    </a:lnTo>
                    <a:lnTo>
                      <a:pt x="1" y="3"/>
                    </a:lnTo>
                    <a:lnTo>
                      <a:pt x="0" y="2"/>
                    </a:lnTo>
                    <a:lnTo>
                      <a:pt x="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86" name="Freeform 1023"/>
              <p:cNvSpPr>
                <a:spLocks/>
              </p:cNvSpPr>
              <p:nvPr/>
            </p:nvSpPr>
            <p:spPr bwMode="auto">
              <a:xfrm>
                <a:off x="7732367" y="2903453"/>
                <a:ext cx="2634" cy="3042"/>
              </a:xfrm>
              <a:custGeom>
                <a:avLst/>
                <a:gdLst/>
                <a:ahLst/>
                <a:cxnLst>
                  <a:cxn ang="0">
                    <a:pos x="1" y="0"/>
                  </a:cxn>
                  <a:cxn ang="0">
                    <a:pos x="1" y="0"/>
                  </a:cxn>
                  <a:cxn ang="0">
                    <a:pos x="3" y="2"/>
                  </a:cxn>
                  <a:cxn ang="0">
                    <a:pos x="3" y="2"/>
                  </a:cxn>
                  <a:cxn ang="0">
                    <a:pos x="3" y="3"/>
                  </a:cxn>
                  <a:cxn ang="0">
                    <a:pos x="1" y="3"/>
                  </a:cxn>
                  <a:cxn ang="0">
                    <a:pos x="0" y="2"/>
                  </a:cxn>
                  <a:cxn ang="0">
                    <a:pos x="1" y="0"/>
                  </a:cxn>
                </a:cxnLst>
                <a:rect l="0" t="0" r="r" b="b"/>
                <a:pathLst>
                  <a:path w="3" h="3">
                    <a:moveTo>
                      <a:pt x="1" y="0"/>
                    </a:moveTo>
                    <a:lnTo>
                      <a:pt x="1" y="0"/>
                    </a:lnTo>
                    <a:lnTo>
                      <a:pt x="3" y="2"/>
                    </a:lnTo>
                    <a:lnTo>
                      <a:pt x="3" y="2"/>
                    </a:lnTo>
                    <a:lnTo>
                      <a:pt x="3" y="3"/>
                    </a:lnTo>
                    <a:lnTo>
                      <a:pt x="1" y="3"/>
                    </a:lnTo>
                    <a:lnTo>
                      <a:pt x="0" y="2"/>
                    </a:lnTo>
                    <a:lnTo>
                      <a:pt x="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87" name="Freeform 1024"/>
              <p:cNvSpPr>
                <a:spLocks/>
              </p:cNvSpPr>
              <p:nvPr/>
            </p:nvSpPr>
            <p:spPr bwMode="auto">
              <a:xfrm>
                <a:off x="7737633" y="2902439"/>
                <a:ext cx="3511" cy="3043"/>
              </a:xfrm>
              <a:custGeom>
                <a:avLst/>
                <a:gdLst/>
                <a:ahLst/>
                <a:cxnLst>
                  <a:cxn ang="0">
                    <a:pos x="0" y="3"/>
                  </a:cxn>
                  <a:cxn ang="0">
                    <a:pos x="0" y="1"/>
                  </a:cxn>
                  <a:cxn ang="0">
                    <a:pos x="1" y="1"/>
                  </a:cxn>
                  <a:cxn ang="0">
                    <a:pos x="3" y="0"/>
                  </a:cxn>
                  <a:cxn ang="0">
                    <a:pos x="3" y="1"/>
                  </a:cxn>
                  <a:cxn ang="0">
                    <a:pos x="1" y="3"/>
                  </a:cxn>
                  <a:cxn ang="0">
                    <a:pos x="1" y="3"/>
                  </a:cxn>
                  <a:cxn ang="0">
                    <a:pos x="0" y="3"/>
                  </a:cxn>
                </a:cxnLst>
                <a:rect l="0" t="0" r="r" b="b"/>
                <a:pathLst>
                  <a:path w="3" h="3">
                    <a:moveTo>
                      <a:pt x="0" y="3"/>
                    </a:moveTo>
                    <a:lnTo>
                      <a:pt x="0" y="1"/>
                    </a:lnTo>
                    <a:lnTo>
                      <a:pt x="1" y="1"/>
                    </a:lnTo>
                    <a:lnTo>
                      <a:pt x="3" y="0"/>
                    </a:lnTo>
                    <a:lnTo>
                      <a:pt x="3" y="1"/>
                    </a:lnTo>
                    <a:lnTo>
                      <a:pt x="1" y="3"/>
                    </a:lnTo>
                    <a:lnTo>
                      <a:pt x="1" y="3"/>
                    </a:lnTo>
                    <a:lnTo>
                      <a:pt x="0"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88" name="Freeform 1025"/>
              <p:cNvSpPr>
                <a:spLocks/>
              </p:cNvSpPr>
              <p:nvPr/>
            </p:nvSpPr>
            <p:spPr bwMode="auto">
              <a:xfrm>
                <a:off x="7737633" y="2902439"/>
                <a:ext cx="3511" cy="3043"/>
              </a:xfrm>
              <a:custGeom>
                <a:avLst/>
                <a:gdLst/>
                <a:ahLst/>
                <a:cxnLst>
                  <a:cxn ang="0">
                    <a:pos x="0" y="3"/>
                  </a:cxn>
                  <a:cxn ang="0">
                    <a:pos x="0" y="1"/>
                  </a:cxn>
                  <a:cxn ang="0">
                    <a:pos x="1" y="1"/>
                  </a:cxn>
                  <a:cxn ang="0">
                    <a:pos x="3" y="0"/>
                  </a:cxn>
                  <a:cxn ang="0">
                    <a:pos x="3" y="1"/>
                  </a:cxn>
                  <a:cxn ang="0">
                    <a:pos x="1" y="3"/>
                  </a:cxn>
                  <a:cxn ang="0">
                    <a:pos x="1" y="3"/>
                  </a:cxn>
                  <a:cxn ang="0">
                    <a:pos x="0" y="3"/>
                  </a:cxn>
                </a:cxnLst>
                <a:rect l="0" t="0" r="r" b="b"/>
                <a:pathLst>
                  <a:path w="3" h="3">
                    <a:moveTo>
                      <a:pt x="0" y="3"/>
                    </a:moveTo>
                    <a:lnTo>
                      <a:pt x="0" y="1"/>
                    </a:lnTo>
                    <a:lnTo>
                      <a:pt x="1" y="1"/>
                    </a:lnTo>
                    <a:lnTo>
                      <a:pt x="3" y="0"/>
                    </a:lnTo>
                    <a:lnTo>
                      <a:pt x="3" y="1"/>
                    </a:lnTo>
                    <a:lnTo>
                      <a:pt x="1" y="3"/>
                    </a:lnTo>
                    <a:lnTo>
                      <a:pt x="1" y="3"/>
                    </a:lnTo>
                    <a:lnTo>
                      <a:pt x="0"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89" name="Freeform 1026"/>
              <p:cNvSpPr>
                <a:spLocks/>
              </p:cNvSpPr>
              <p:nvPr/>
            </p:nvSpPr>
            <p:spPr bwMode="auto">
              <a:xfrm>
                <a:off x="7785035" y="2863902"/>
                <a:ext cx="6145" cy="12170"/>
              </a:xfrm>
              <a:custGeom>
                <a:avLst/>
                <a:gdLst/>
                <a:ahLst/>
                <a:cxnLst>
                  <a:cxn ang="0">
                    <a:pos x="1" y="6"/>
                  </a:cxn>
                  <a:cxn ang="0">
                    <a:pos x="2" y="5"/>
                  </a:cxn>
                  <a:cxn ang="0">
                    <a:pos x="2" y="3"/>
                  </a:cxn>
                  <a:cxn ang="0">
                    <a:pos x="4" y="3"/>
                  </a:cxn>
                  <a:cxn ang="0">
                    <a:pos x="7" y="2"/>
                  </a:cxn>
                  <a:cxn ang="0">
                    <a:pos x="7" y="0"/>
                  </a:cxn>
                  <a:cxn ang="0">
                    <a:pos x="7" y="2"/>
                  </a:cxn>
                  <a:cxn ang="0">
                    <a:pos x="7" y="5"/>
                  </a:cxn>
                  <a:cxn ang="0">
                    <a:pos x="5" y="6"/>
                  </a:cxn>
                  <a:cxn ang="0">
                    <a:pos x="2" y="8"/>
                  </a:cxn>
                  <a:cxn ang="0">
                    <a:pos x="2" y="8"/>
                  </a:cxn>
                  <a:cxn ang="0">
                    <a:pos x="1" y="9"/>
                  </a:cxn>
                  <a:cxn ang="0">
                    <a:pos x="1" y="10"/>
                  </a:cxn>
                  <a:cxn ang="0">
                    <a:pos x="1" y="12"/>
                  </a:cxn>
                  <a:cxn ang="0">
                    <a:pos x="0" y="9"/>
                  </a:cxn>
                  <a:cxn ang="0">
                    <a:pos x="1" y="8"/>
                  </a:cxn>
                  <a:cxn ang="0">
                    <a:pos x="1" y="6"/>
                  </a:cxn>
                </a:cxnLst>
                <a:rect l="0" t="0" r="r" b="b"/>
                <a:pathLst>
                  <a:path w="7" h="12">
                    <a:moveTo>
                      <a:pt x="1" y="6"/>
                    </a:moveTo>
                    <a:lnTo>
                      <a:pt x="2" y="5"/>
                    </a:lnTo>
                    <a:lnTo>
                      <a:pt x="2" y="3"/>
                    </a:lnTo>
                    <a:lnTo>
                      <a:pt x="4" y="3"/>
                    </a:lnTo>
                    <a:lnTo>
                      <a:pt x="7" y="2"/>
                    </a:lnTo>
                    <a:lnTo>
                      <a:pt x="7" y="0"/>
                    </a:lnTo>
                    <a:lnTo>
                      <a:pt x="7" y="2"/>
                    </a:lnTo>
                    <a:lnTo>
                      <a:pt x="7" y="5"/>
                    </a:lnTo>
                    <a:lnTo>
                      <a:pt x="5" y="6"/>
                    </a:lnTo>
                    <a:lnTo>
                      <a:pt x="2" y="8"/>
                    </a:lnTo>
                    <a:lnTo>
                      <a:pt x="2" y="8"/>
                    </a:lnTo>
                    <a:lnTo>
                      <a:pt x="1" y="9"/>
                    </a:lnTo>
                    <a:lnTo>
                      <a:pt x="1" y="10"/>
                    </a:lnTo>
                    <a:lnTo>
                      <a:pt x="1" y="12"/>
                    </a:lnTo>
                    <a:lnTo>
                      <a:pt x="0" y="9"/>
                    </a:lnTo>
                    <a:lnTo>
                      <a:pt x="1" y="8"/>
                    </a:lnTo>
                    <a:lnTo>
                      <a:pt x="1" y="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90" name="Freeform 1027"/>
              <p:cNvSpPr>
                <a:spLocks/>
              </p:cNvSpPr>
              <p:nvPr/>
            </p:nvSpPr>
            <p:spPr bwMode="auto">
              <a:xfrm>
                <a:off x="7785035" y="2863902"/>
                <a:ext cx="6145" cy="12170"/>
              </a:xfrm>
              <a:custGeom>
                <a:avLst/>
                <a:gdLst/>
                <a:ahLst/>
                <a:cxnLst>
                  <a:cxn ang="0">
                    <a:pos x="1" y="6"/>
                  </a:cxn>
                  <a:cxn ang="0">
                    <a:pos x="2" y="5"/>
                  </a:cxn>
                  <a:cxn ang="0">
                    <a:pos x="2" y="3"/>
                  </a:cxn>
                  <a:cxn ang="0">
                    <a:pos x="4" y="3"/>
                  </a:cxn>
                  <a:cxn ang="0">
                    <a:pos x="7" y="2"/>
                  </a:cxn>
                  <a:cxn ang="0">
                    <a:pos x="7" y="0"/>
                  </a:cxn>
                  <a:cxn ang="0">
                    <a:pos x="7" y="2"/>
                  </a:cxn>
                  <a:cxn ang="0">
                    <a:pos x="7" y="5"/>
                  </a:cxn>
                  <a:cxn ang="0">
                    <a:pos x="5" y="6"/>
                  </a:cxn>
                  <a:cxn ang="0">
                    <a:pos x="2" y="8"/>
                  </a:cxn>
                  <a:cxn ang="0">
                    <a:pos x="2" y="8"/>
                  </a:cxn>
                  <a:cxn ang="0">
                    <a:pos x="1" y="9"/>
                  </a:cxn>
                  <a:cxn ang="0">
                    <a:pos x="1" y="10"/>
                  </a:cxn>
                  <a:cxn ang="0">
                    <a:pos x="1" y="12"/>
                  </a:cxn>
                  <a:cxn ang="0">
                    <a:pos x="0" y="9"/>
                  </a:cxn>
                  <a:cxn ang="0">
                    <a:pos x="1" y="8"/>
                  </a:cxn>
                  <a:cxn ang="0">
                    <a:pos x="1" y="6"/>
                  </a:cxn>
                </a:cxnLst>
                <a:rect l="0" t="0" r="r" b="b"/>
                <a:pathLst>
                  <a:path w="7" h="12">
                    <a:moveTo>
                      <a:pt x="1" y="6"/>
                    </a:moveTo>
                    <a:lnTo>
                      <a:pt x="2" y="5"/>
                    </a:lnTo>
                    <a:lnTo>
                      <a:pt x="2" y="3"/>
                    </a:lnTo>
                    <a:lnTo>
                      <a:pt x="4" y="3"/>
                    </a:lnTo>
                    <a:lnTo>
                      <a:pt x="7" y="2"/>
                    </a:lnTo>
                    <a:lnTo>
                      <a:pt x="7" y="0"/>
                    </a:lnTo>
                    <a:lnTo>
                      <a:pt x="7" y="2"/>
                    </a:lnTo>
                    <a:lnTo>
                      <a:pt x="7" y="5"/>
                    </a:lnTo>
                    <a:lnTo>
                      <a:pt x="5" y="6"/>
                    </a:lnTo>
                    <a:lnTo>
                      <a:pt x="2" y="8"/>
                    </a:lnTo>
                    <a:lnTo>
                      <a:pt x="2" y="8"/>
                    </a:lnTo>
                    <a:lnTo>
                      <a:pt x="1" y="9"/>
                    </a:lnTo>
                    <a:lnTo>
                      <a:pt x="1" y="10"/>
                    </a:lnTo>
                    <a:lnTo>
                      <a:pt x="1" y="12"/>
                    </a:lnTo>
                    <a:lnTo>
                      <a:pt x="0" y="9"/>
                    </a:lnTo>
                    <a:lnTo>
                      <a:pt x="1" y="8"/>
                    </a:lnTo>
                    <a:lnTo>
                      <a:pt x="1" y="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91" name="Freeform 1028"/>
              <p:cNvSpPr>
                <a:spLocks/>
              </p:cNvSpPr>
              <p:nvPr/>
            </p:nvSpPr>
            <p:spPr bwMode="auto">
              <a:xfrm>
                <a:off x="7799957" y="2845647"/>
                <a:ext cx="1756" cy="4056"/>
              </a:xfrm>
              <a:custGeom>
                <a:avLst/>
                <a:gdLst/>
                <a:ahLst/>
                <a:cxnLst>
                  <a:cxn ang="0">
                    <a:pos x="1" y="3"/>
                  </a:cxn>
                  <a:cxn ang="0">
                    <a:pos x="1" y="3"/>
                  </a:cxn>
                  <a:cxn ang="0">
                    <a:pos x="0" y="4"/>
                  </a:cxn>
                  <a:cxn ang="0">
                    <a:pos x="0" y="3"/>
                  </a:cxn>
                  <a:cxn ang="0">
                    <a:pos x="0" y="1"/>
                  </a:cxn>
                  <a:cxn ang="0">
                    <a:pos x="0" y="0"/>
                  </a:cxn>
                  <a:cxn ang="0">
                    <a:pos x="0" y="1"/>
                  </a:cxn>
                  <a:cxn ang="0">
                    <a:pos x="1" y="3"/>
                  </a:cxn>
                </a:cxnLst>
                <a:rect l="0" t="0" r="r" b="b"/>
                <a:pathLst>
                  <a:path w="1" h="4">
                    <a:moveTo>
                      <a:pt x="1" y="3"/>
                    </a:moveTo>
                    <a:lnTo>
                      <a:pt x="1" y="3"/>
                    </a:lnTo>
                    <a:lnTo>
                      <a:pt x="0" y="4"/>
                    </a:lnTo>
                    <a:lnTo>
                      <a:pt x="0" y="3"/>
                    </a:lnTo>
                    <a:lnTo>
                      <a:pt x="0" y="1"/>
                    </a:lnTo>
                    <a:lnTo>
                      <a:pt x="0" y="0"/>
                    </a:lnTo>
                    <a:lnTo>
                      <a:pt x="0" y="1"/>
                    </a:lnTo>
                    <a:lnTo>
                      <a:pt x="1"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92" name="Freeform 1029"/>
              <p:cNvSpPr>
                <a:spLocks/>
              </p:cNvSpPr>
              <p:nvPr/>
            </p:nvSpPr>
            <p:spPr bwMode="auto">
              <a:xfrm>
                <a:off x="7799957" y="2845647"/>
                <a:ext cx="1756" cy="4056"/>
              </a:xfrm>
              <a:custGeom>
                <a:avLst/>
                <a:gdLst/>
                <a:ahLst/>
                <a:cxnLst>
                  <a:cxn ang="0">
                    <a:pos x="1" y="3"/>
                  </a:cxn>
                  <a:cxn ang="0">
                    <a:pos x="1" y="3"/>
                  </a:cxn>
                  <a:cxn ang="0">
                    <a:pos x="0" y="4"/>
                  </a:cxn>
                  <a:cxn ang="0">
                    <a:pos x="0" y="3"/>
                  </a:cxn>
                  <a:cxn ang="0">
                    <a:pos x="0" y="1"/>
                  </a:cxn>
                  <a:cxn ang="0">
                    <a:pos x="0" y="0"/>
                  </a:cxn>
                  <a:cxn ang="0">
                    <a:pos x="0" y="1"/>
                  </a:cxn>
                  <a:cxn ang="0">
                    <a:pos x="1" y="3"/>
                  </a:cxn>
                </a:cxnLst>
                <a:rect l="0" t="0" r="r" b="b"/>
                <a:pathLst>
                  <a:path w="1" h="4">
                    <a:moveTo>
                      <a:pt x="1" y="3"/>
                    </a:moveTo>
                    <a:lnTo>
                      <a:pt x="1" y="3"/>
                    </a:lnTo>
                    <a:lnTo>
                      <a:pt x="0" y="4"/>
                    </a:lnTo>
                    <a:lnTo>
                      <a:pt x="0" y="3"/>
                    </a:lnTo>
                    <a:lnTo>
                      <a:pt x="0" y="1"/>
                    </a:lnTo>
                    <a:lnTo>
                      <a:pt x="0" y="0"/>
                    </a:lnTo>
                    <a:lnTo>
                      <a:pt x="0" y="1"/>
                    </a:lnTo>
                    <a:lnTo>
                      <a:pt x="1"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93" name="Freeform 1030"/>
              <p:cNvSpPr>
                <a:spLocks/>
              </p:cNvSpPr>
              <p:nvPr/>
            </p:nvSpPr>
            <p:spPr bwMode="auto">
              <a:xfrm>
                <a:off x="7806102" y="2836520"/>
                <a:ext cx="3511" cy="4056"/>
              </a:xfrm>
              <a:custGeom>
                <a:avLst/>
                <a:gdLst/>
                <a:ahLst/>
                <a:cxnLst>
                  <a:cxn ang="0">
                    <a:pos x="1" y="2"/>
                  </a:cxn>
                  <a:cxn ang="0">
                    <a:pos x="4" y="0"/>
                  </a:cxn>
                  <a:cxn ang="0">
                    <a:pos x="4" y="0"/>
                  </a:cxn>
                  <a:cxn ang="0">
                    <a:pos x="4" y="2"/>
                  </a:cxn>
                  <a:cxn ang="0">
                    <a:pos x="3" y="3"/>
                  </a:cxn>
                  <a:cxn ang="0">
                    <a:pos x="3" y="4"/>
                  </a:cxn>
                  <a:cxn ang="0">
                    <a:pos x="1" y="4"/>
                  </a:cxn>
                  <a:cxn ang="0">
                    <a:pos x="0" y="4"/>
                  </a:cxn>
                  <a:cxn ang="0">
                    <a:pos x="0" y="4"/>
                  </a:cxn>
                  <a:cxn ang="0">
                    <a:pos x="0" y="3"/>
                  </a:cxn>
                  <a:cxn ang="0">
                    <a:pos x="1" y="2"/>
                  </a:cxn>
                  <a:cxn ang="0">
                    <a:pos x="1" y="2"/>
                  </a:cxn>
                </a:cxnLst>
                <a:rect l="0" t="0" r="r" b="b"/>
                <a:pathLst>
                  <a:path w="4" h="4">
                    <a:moveTo>
                      <a:pt x="1" y="2"/>
                    </a:moveTo>
                    <a:lnTo>
                      <a:pt x="4" y="0"/>
                    </a:lnTo>
                    <a:lnTo>
                      <a:pt x="4" y="0"/>
                    </a:lnTo>
                    <a:lnTo>
                      <a:pt x="4" y="2"/>
                    </a:lnTo>
                    <a:lnTo>
                      <a:pt x="3" y="3"/>
                    </a:lnTo>
                    <a:lnTo>
                      <a:pt x="3" y="4"/>
                    </a:lnTo>
                    <a:lnTo>
                      <a:pt x="1" y="4"/>
                    </a:lnTo>
                    <a:lnTo>
                      <a:pt x="0" y="4"/>
                    </a:lnTo>
                    <a:lnTo>
                      <a:pt x="0" y="4"/>
                    </a:lnTo>
                    <a:lnTo>
                      <a:pt x="0" y="3"/>
                    </a:lnTo>
                    <a:lnTo>
                      <a:pt x="1" y="2"/>
                    </a:lnTo>
                    <a:lnTo>
                      <a:pt x="1"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94" name="Freeform 1031"/>
              <p:cNvSpPr>
                <a:spLocks/>
              </p:cNvSpPr>
              <p:nvPr/>
            </p:nvSpPr>
            <p:spPr bwMode="auto">
              <a:xfrm>
                <a:off x="7806102" y="2836520"/>
                <a:ext cx="3511" cy="4056"/>
              </a:xfrm>
              <a:custGeom>
                <a:avLst/>
                <a:gdLst/>
                <a:ahLst/>
                <a:cxnLst>
                  <a:cxn ang="0">
                    <a:pos x="1" y="2"/>
                  </a:cxn>
                  <a:cxn ang="0">
                    <a:pos x="4" y="0"/>
                  </a:cxn>
                  <a:cxn ang="0">
                    <a:pos x="4" y="0"/>
                  </a:cxn>
                  <a:cxn ang="0">
                    <a:pos x="4" y="2"/>
                  </a:cxn>
                  <a:cxn ang="0">
                    <a:pos x="3" y="3"/>
                  </a:cxn>
                  <a:cxn ang="0">
                    <a:pos x="3" y="4"/>
                  </a:cxn>
                  <a:cxn ang="0">
                    <a:pos x="1" y="4"/>
                  </a:cxn>
                  <a:cxn ang="0">
                    <a:pos x="0" y="4"/>
                  </a:cxn>
                  <a:cxn ang="0">
                    <a:pos x="0" y="4"/>
                  </a:cxn>
                  <a:cxn ang="0">
                    <a:pos x="0" y="3"/>
                  </a:cxn>
                  <a:cxn ang="0">
                    <a:pos x="1" y="2"/>
                  </a:cxn>
                  <a:cxn ang="0">
                    <a:pos x="1" y="2"/>
                  </a:cxn>
                </a:cxnLst>
                <a:rect l="0" t="0" r="r" b="b"/>
                <a:pathLst>
                  <a:path w="4" h="4">
                    <a:moveTo>
                      <a:pt x="1" y="2"/>
                    </a:moveTo>
                    <a:lnTo>
                      <a:pt x="4" y="0"/>
                    </a:lnTo>
                    <a:lnTo>
                      <a:pt x="4" y="0"/>
                    </a:lnTo>
                    <a:lnTo>
                      <a:pt x="4" y="2"/>
                    </a:lnTo>
                    <a:lnTo>
                      <a:pt x="3" y="3"/>
                    </a:lnTo>
                    <a:lnTo>
                      <a:pt x="3" y="4"/>
                    </a:lnTo>
                    <a:lnTo>
                      <a:pt x="1" y="4"/>
                    </a:lnTo>
                    <a:lnTo>
                      <a:pt x="0" y="4"/>
                    </a:lnTo>
                    <a:lnTo>
                      <a:pt x="0" y="4"/>
                    </a:lnTo>
                    <a:lnTo>
                      <a:pt x="0" y="3"/>
                    </a:lnTo>
                    <a:lnTo>
                      <a:pt x="1" y="2"/>
                    </a:lnTo>
                    <a:lnTo>
                      <a:pt x="1"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95" name="Freeform 1032"/>
              <p:cNvSpPr>
                <a:spLocks/>
              </p:cNvSpPr>
              <p:nvPr/>
            </p:nvSpPr>
            <p:spPr bwMode="auto">
              <a:xfrm>
                <a:off x="7753434" y="2897368"/>
                <a:ext cx="1756" cy="2028"/>
              </a:xfrm>
              <a:custGeom>
                <a:avLst/>
                <a:gdLst/>
                <a:ahLst/>
                <a:cxnLst>
                  <a:cxn ang="0">
                    <a:pos x="0" y="0"/>
                  </a:cxn>
                  <a:cxn ang="0">
                    <a:pos x="0" y="0"/>
                  </a:cxn>
                  <a:cxn ang="0">
                    <a:pos x="0" y="0"/>
                  </a:cxn>
                  <a:cxn ang="0">
                    <a:pos x="0" y="0"/>
                  </a:cxn>
                  <a:cxn ang="0">
                    <a:pos x="2" y="2"/>
                  </a:cxn>
                  <a:cxn ang="0">
                    <a:pos x="2" y="2"/>
                  </a:cxn>
                  <a:cxn ang="0">
                    <a:pos x="2" y="2"/>
                  </a:cxn>
                  <a:cxn ang="0">
                    <a:pos x="0" y="2"/>
                  </a:cxn>
                  <a:cxn ang="0">
                    <a:pos x="0" y="0"/>
                  </a:cxn>
                </a:cxnLst>
                <a:rect l="0" t="0" r="r" b="b"/>
                <a:pathLst>
                  <a:path w="2" h="2">
                    <a:moveTo>
                      <a:pt x="0" y="0"/>
                    </a:moveTo>
                    <a:lnTo>
                      <a:pt x="0" y="0"/>
                    </a:lnTo>
                    <a:lnTo>
                      <a:pt x="0" y="0"/>
                    </a:lnTo>
                    <a:lnTo>
                      <a:pt x="0" y="0"/>
                    </a:lnTo>
                    <a:lnTo>
                      <a:pt x="2" y="2"/>
                    </a:lnTo>
                    <a:lnTo>
                      <a:pt x="2" y="2"/>
                    </a:lnTo>
                    <a:lnTo>
                      <a:pt x="2" y="2"/>
                    </a:lnTo>
                    <a:lnTo>
                      <a:pt x="0" y="2"/>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96" name="Freeform 1033"/>
              <p:cNvSpPr>
                <a:spLocks/>
              </p:cNvSpPr>
              <p:nvPr/>
            </p:nvSpPr>
            <p:spPr bwMode="auto">
              <a:xfrm>
                <a:off x="7753434" y="2897368"/>
                <a:ext cx="1756" cy="2028"/>
              </a:xfrm>
              <a:custGeom>
                <a:avLst/>
                <a:gdLst/>
                <a:ahLst/>
                <a:cxnLst>
                  <a:cxn ang="0">
                    <a:pos x="0" y="0"/>
                  </a:cxn>
                  <a:cxn ang="0">
                    <a:pos x="0" y="0"/>
                  </a:cxn>
                  <a:cxn ang="0">
                    <a:pos x="0" y="0"/>
                  </a:cxn>
                  <a:cxn ang="0">
                    <a:pos x="0" y="0"/>
                  </a:cxn>
                  <a:cxn ang="0">
                    <a:pos x="2" y="2"/>
                  </a:cxn>
                  <a:cxn ang="0">
                    <a:pos x="2" y="2"/>
                  </a:cxn>
                  <a:cxn ang="0">
                    <a:pos x="2" y="2"/>
                  </a:cxn>
                  <a:cxn ang="0">
                    <a:pos x="0" y="2"/>
                  </a:cxn>
                  <a:cxn ang="0">
                    <a:pos x="0" y="0"/>
                  </a:cxn>
                </a:cxnLst>
                <a:rect l="0" t="0" r="r" b="b"/>
                <a:pathLst>
                  <a:path w="2" h="2">
                    <a:moveTo>
                      <a:pt x="0" y="0"/>
                    </a:moveTo>
                    <a:lnTo>
                      <a:pt x="0" y="0"/>
                    </a:lnTo>
                    <a:lnTo>
                      <a:pt x="0" y="0"/>
                    </a:lnTo>
                    <a:lnTo>
                      <a:pt x="0" y="0"/>
                    </a:lnTo>
                    <a:lnTo>
                      <a:pt x="2" y="2"/>
                    </a:lnTo>
                    <a:lnTo>
                      <a:pt x="2" y="2"/>
                    </a:lnTo>
                    <a:lnTo>
                      <a:pt x="2" y="2"/>
                    </a:lnTo>
                    <a:lnTo>
                      <a:pt x="0" y="2"/>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97" name="Freeform 1034"/>
              <p:cNvSpPr>
                <a:spLocks/>
              </p:cNvSpPr>
              <p:nvPr/>
            </p:nvSpPr>
            <p:spPr bwMode="auto">
              <a:xfrm>
                <a:off x="8289770" y="3493678"/>
                <a:ext cx="8778" cy="13184"/>
              </a:xfrm>
              <a:custGeom>
                <a:avLst/>
                <a:gdLst/>
                <a:ahLst/>
                <a:cxnLst>
                  <a:cxn ang="0">
                    <a:pos x="0" y="1"/>
                  </a:cxn>
                  <a:cxn ang="0">
                    <a:pos x="0" y="0"/>
                  </a:cxn>
                  <a:cxn ang="0">
                    <a:pos x="2" y="1"/>
                  </a:cxn>
                  <a:cxn ang="0">
                    <a:pos x="2" y="3"/>
                  </a:cxn>
                  <a:cxn ang="0">
                    <a:pos x="2" y="4"/>
                  </a:cxn>
                  <a:cxn ang="0">
                    <a:pos x="3" y="7"/>
                  </a:cxn>
                  <a:cxn ang="0">
                    <a:pos x="5" y="7"/>
                  </a:cxn>
                  <a:cxn ang="0">
                    <a:pos x="5" y="7"/>
                  </a:cxn>
                  <a:cxn ang="0">
                    <a:pos x="6" y="4"/>
                  </a:cxn>
                  <a:cxn ang="0">
                    <a:pos x="7" y="4"/>
                  </a:cxn>
                  <a:cxn ang="0">
                    <a:pos x="7" y="6"/>
                  </a:cxn>
                  <a:cxn ang="0">
                    <a:pos x="7" y="7"/>
                  </a:cxn>
                  <a:cxn ang="0">
                    <a:pos x="9" y="7"/>
                  </a:cxn>
                  <a:cxn ang="0">
                    <a:pos x="9" y="11"/>
                  </a:cxn>
                  <a:cxn ang="0">
                    <a:pos x="9" y="13"/>
                  </a:cxn>
                  <a:cxn ang="0">
                    <a:pos x="6" y="13"/>
                  </a:cxn>
                  <a:cxn ang="0">
                    <a:pos x="5" y="13"/>
                  </a:cxn>
                  <a:cxn ang="0">
                    <a:pos x="3" y="13"/>
                  </a:cxn>
                  <a:cxn ang="0">
                    <a:pos x="0" y="1"/>
                  </a:cxn>
                </a:cxnLst>
                <a:rect l="0" t="0" r="r" b="b"/>
                <a:pathLst>
                  <a:path w="9" h="13">
                    <a:moveTo>
                      <a:pt x="0" y="1"/>
                    </a:moveTo>
                    <a:lnTo>
                      <a:pt x="0" y="0"/>
                    </a:lnTo>
                    <a:lnTo>
                      <a:pt x="2" y="1"/>
                    </a:lnTo>
                    <a:lnTo>
                      <a:pt x="2" y="3"/>
                    </a:lnTo>
                    <a:lnTo>
                      <a:pt x="2" y="4"/>
                    </a:lnTo>
                    <a:lnTo>
                      <a:pt x="3" y="7"/>
                    </a:lnTo>
                    <a:lnTo>
                      <a:pt x="5" y="7"/>
                    </a:lnTo>
                    <a:lnTo>
                      <a:pt x="5" y="7"/>
                    </a:lnTo>
                    <a:lnTo>
                      <a:pt x="6" y="4"/>
                    </a:lnTo>
                    <a:lnTo>
                      <a:pt x="7" y="4"/>
                    </a:lnTo>
                    <a:lnTo>
                      <a:pt x="7" y="6"/>
                    </a:lnTo>
                    <a:lnTo>
                      <a:pt x="7" y="7"/>
                    </a:lnTo>
                    <a:lnTo>
                      <a:pt x="9" y="7"/>
                    </a:lnTo>
                    <a:lnTo>
                      <a:pt x="9" y="11"/>
                    </a:lnTo>
                    <a:lnTo>
                      <a:pt x="9" y="13"/>
                    </a:lnTo>
                    <a:lnTo>
                      <a:pt x="6" y="13"/>
                    </a:lnTo>
                    <a:lnTo>
                      <a:pt x="5" y="13"/>
                    </a:lnTo>
                    <a:lnTo>
                      <a:pt x="3" y="13"/>
                    </a:lnTo>
                    <a:lnTo>
                      <a:pt x="0"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98" name="Freeform 1035"/>
              <p:cNvSpPr>
                <a:spLocks/>
              </p:cNvSpPr>
              <p:nvPr/>
            </p:nvSpPr>
            <p:spPr bwMode="auto">
              <a:xfrm>
                <a:off x="8289770" y="3493678"/>
                <a:ext cx="8778" cy="13184"/>
              </a:xfrm>
              <a:custGeom>
                <a:avLst/>
                <a:gdLst/>
                <a:ahLst/>
                <a:cxnLst>
                  <a:cxn ang="0">
                    <a:pos x="0" y="1"/>
                  </a:cxn>
                  <a:cxn ang="0">
                    <a:pos x="0" y="0"/>
                  </a:cxn>
                  <a:cxn ang="0">
                    <a:pos x="2" y="1"/>
                  </a:cxn>
                  <a:cxn ang="0">
                    <a:pos x="2" y="3"/>
                  </a:cxn>
                  <a:cxn ang="0">
                    <a:pos x="2" y="4"/>
                  </a:cxn>
                  <a:cxn ang="0">
                    <a:pos x="3" y="7"/>
                  </a:cxn>
                  <a:cxn ang="0">
                    <a:pos x="5" y="7"/>
                  </a:cxn>
                  <a:cxn ang="0">
                    <a:pos x="5" y="7"/>
                  </a:cxn>
                  <a:cxn ang="0">
                    <a:pos x="6" y="4"/>
                  </a:cxn>
                  <a:cxn ang="0">
                    <a:pos x="7" y="4"/>
                  </a:cxn>
                  <a:cxn ang="0">
                    <a:pos x="7" y="6"/>
                  </a:cxn>
                  <a:cxn ang="0">
                    <a:pos x="7" y="7"/>
                  </a:cxn>
                  <a:cxn ang="0">
                    <a:pos x="9" y="7"/>
                  </a:cxn>
                  <a:cxn ang="0">
                    <a:pos x="9" y="11"/>
                  </a:cxn>
                  <a:cxn ang="0">
                    <a:pos x="9" y="13"/>
                  </a:cxn>
                  <a:cxn ang="0">
                    <a:pos x="6" y="13"/>
                  </a:cxn>
                  <a:cxn ang="0">
                    <a:pos x="5" y="13"/>
                  </a:cxn>
                  <a:cxn ang="0">
                    <a:pos x="3" y="13"/>
                  </a:cxn>
                  <a:cxn ang="0">
                    <a:pos x="0" y="1"/>
                  </a:cxn>
                </a:cxnLst>
                <a:rect l="0" t="0" r="r" b="b"/>
                <a:pathLst>
                  <a:path w="9" h="13">
                    <a:moveTo>
                      <a:pt x="0" y="1"/>
                    </a:moveTo>
                    <a:lnTo>
                      <a:pt x="0" y="0"/>
                    </a:lnTo>
                    <a:lnTo>
                      <a:pt x="2" y="1"/>
                    </a:lnTo>
                    <a:lnTo>
                      <a:pt x="2" y="3"/>
                    </a:lnTo>
                    <a:lnTo>
                      <a:pt x="2" y="4"/>
                    </a:lnTo>
                    <a:lnTo>
                      <a:pt x="3" y="7"/>
                    </a:lnTo>
                    <a:lnTo>
                      <a:pt x="5" y="7"/>
                    </a:lnTo>
                    <a:lnTo>
                      <a:pt x="5" y="7"/>
                    </a:lnTo>
                    <a:lnTo>
                      <a:pt x="6" y="4"/>
                    </a:lnTo>
                    <a:lnTo>
                      <a:pt x="7" y="4"/>
                    </a:lnTo>
                    <a:lnTo>
                      <a:pt x="7" y="6"/>
                    </a:lnTo>
                    <a:lnTo>
                      <a:pt x="7" y="7"/>
                    </a:lnTo>
                    <a:lnTo>
                      <a:pt x="9" y="7"/>
                    </a:lnTo>
                    <a:lnTo>
                      <a:pt x="9" y="11"/>
                    </a:lnTo>
                    <a:lnTo>
                      <a:pt x="9" y="13"/>
                    </a:lnTo>
                    <a:lnTo>
                      <a:pt x="6" y="13"/>
                    </a:lnTo>
                    <a:lnTo>
                      <a:pt x="5" y="13"/>
                    </a:lnTo>
                    <a:lnTo>
                      <a:pt x="3" y="13"/>
                    </a:lnTo>
                    <a:lnTo>
                      <a:pt x="0"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99" name="Freeform 1036"/>
              <p:cNvSpPr>
                <a:spLocks/>
              </p:cNvSpPr>
              <p:nvPr/>
            </p:nvSpPr>
            <p:spPr bwMode="auto">
              <a:xfrm>
                <a:off x="8298549" y="3510918"/>
                <a:ext cx="7900" cy="11156"/>
              </a:xfrm>
              <a:custGeom>
                <a:avLst/>
                <a:gdLst/>
                <a:ahLst/>
                <a:cxnLst>
                  <a:cxn ang="0">
                    <a:pos x="0" y="0"/>
                  </a:cxn>
                  <a:cxn ang="0">
                    <a:pos x="1" y="0"/>
                  </a:cxn>
                  <a:cxn ang="0">
                    <a:pos x="3" y="2"/>
                  </a:cxn>
                  <a:cxn ang="0">
                    <a:pos x="3" y="3"/>
                  </a:cxn>
                  <a:cxn ang="0">
                    <a:pos x="4" y="3"/>
                  </a:cxn>
                  <a:cxn ang="0">
                    <a:pos x="6" y="6"/>
                  </a:cxn>
                  <a:cxn ang="0">
                    <a:pos x="7" y="7"/>
                  </a:cxn>
                  <a:cxn ang="0">
                    <a:pos x="9" y="9"/>
                  </a:cxn>
                  <a:cxn ang="0">
                    <a:pos x="9" y="9"/>
                  </a:cxn>
                  <a:cxn ang="0">
                    <a:pos x="3" y="10"/>
                  </a:cxn>
                  <a:cxn ang="0">
                    <a:pos x="3" y="3"/>
                  </a:cxn>
                  <a:cxn ang="0">
                    <a:pos x="1" y="3"/>
                  </a:cxn>
                  <a:cxn ang="0">
                    <a:pos x="0" y="3"/>
                  </a:cxn>
                  <a:cxn ang="0">
                    <a:pos x="0" y="0"/>
                  </a:cxn>
                </a:cxnLst>
                <a:rect l="0" t="0" r="r" b="b"/>
                <a:pathLst>
                  <a:path w="9" h="10">
                    <a:moveTo>
                      <a:pt x="0" y="0"/>
                    </a:moveTo>
                    <a:lnTo>
                      <a:pt x="1" y="0"/>
                    </a:lnTo>
                    <a:lnTo>
                      <a:pt x="3" y="2"/>
                    </a:lnTo>
                    <a:lnTo>
                      <a:pt x="3" y="3"/>
                    </a:lnTo>
                    <a:lnTo>
                      <a:pt x="4" y="3"/>
                    </a:lnTo>
                    <a:lnTo>
                      <a:pt x="6" y="6"/>
                    </a:lnTo>
                    <a:lnTo>
                      <a:pt x="7" y="7"/>
                    </a:lnTo>
                    <a:lnTo>
                      <a:pt x="9" y="9"/>
                    </a:lnTo>
                    <a:lnTo>
                      <a:pt x="9" y="9"/>
                    </a:lnTo>
                    <a:lnTo>
                      <a:pt x="3" y="10"/>
                    </a:lnTo>
                    <a:lnTo>
                      <a:pt x="3" y="3"/>
                    </a:lnTo>
                    <a:lnTo>
                      <a:pt x="1" y="3"/>
                    </a:lnTo>
                    <a:lnTo>
                      <a:pt x="0" y="3"/>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00" name="Freeform 1037"/>
              <p:cNvSpPr>
                <a:spLocks/>
              </p:cNvSpPr>
              <p:nvPr/>
            </p:nvSpPr>
            <p:spPr bwMode="auto">
              <a:xfrm>
                <a:off x="8298549" y="3510918"/>
                <a:ext cx="7900" cy="11156"/>
              </a:xfrm>
              <a:custGeom>
                <a:avLst/>
                <a:gdLst/>
                <a:ahLst/>
                <a:cxnLst>
                  <a:cxn ang="0">
                    <a:pos x="0" y="0"/>
                  </a:cxn>
                  <a:cxn ang="0">
                    <a:pos x="1" y="0"/>
                  </a:cxn>
                  <a:cxn ang="0">
                    <a:pos x="3" y="2"/>
                  </a:cxn>
                  <a:cxn ang="0">
                    <a:pos x="3" y="3"/>
                  </a:cxn>
                  <a:cxn ang="0">
                    <a:pos x="4" y="3"/>
                  </a:cxn>
                  <a:cxn ang="0">
                    <a:pos x="6" y="6"/>
                  </a:cxn>
                  <a:cxn ang="0">
                    <a:pos x="7" y="7"/>
                  </a:cxn>
                  <a:cxn ang="0">
                    <a:pos x="9" y="9"/>
                  </a:cxn>
                  <a:cxn ang="0">
                    <a:pos x="9" y="9"/>
                  </a:cxn>
                  <a:cxn ang="0">
                    <a:pos x="3" y="10"/>
                  </a:cxn>
                  <a:cxn ang="0">
                    <a:pos x="3" y="3"/>
                  </a:cxn>
                  <a:cxn ang="0">
                    <a:pos x="1" y="3"/>
                  </a:cxn>
                  <a:cxn ang="0">
                    <a:pos x="0" y="3"/>
                  </a:cxn>
                  <a:cxn ang="0">
                    <a:pos x="0" y="0"/>
                  </a:cxn>
                </a:cxnLst>
                <a:rect l="0" t="0" r="r" b="b"/>
                <a:pathLst>
                  <a:path w="9" h="10">
                    <a:moveTo>
                      <a:pt x="0" y="0"/>
                    </a:moveTo>
                    <a:lnTo>
                      <a:pt x="1" y="0"/>
                    </a:lnTo>
                    <a:lnTo>
                      <a:pt x="3" y="2"/>
                    </a:lnTo>
                    <a:lnTo>
                      <a:pt x="3" y="3"/>
                    </a:lnTo>
                    <a:lnTo>
                      <a:pt x="4" y="3"/>
                    </a:lnTo>
                    <a:lnTo>
                      <a:pt x="6" y="6"/>
                    </a:lnTo>
                    <a:lnTo>
                      <a:pt x="7" y="7"/>
                    </a:lnTo>
                    <a:lnTo>
                      <a:pt x="9" y="9"/>
                    </a:lnTo>
                    <a:lnTo>
                      <a:pt x="9" y="9"/>
                    </a:lnTo>
                    <a:lnTo>
                      <a:pt x="3" y="10"/>
                    </a:lnTo>
                    <a:lnTo>
                      <a:pt x="3" y="3"/>
                    </a:lnTo>
                    <a:lnTo>
                      <a:pt x="1" y="3"/>
                    </a:lnTo>
                    <a:lnTo>
                      <a:pt x="0" y="3"/>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01" name="Freeform 1038"/>
              <p:cNvSpPr>
                <a:spLocks/>
              </p:cNvSpPr>
              <p:nvPr/>
            </p:nvSpPr>
            <p:spPr bwMode="auto">
              <a:xfrm>
                <a:off x="8310838" y="3504833"/>
                <a:ext cx="1756" cy="8113"/>
              </a:xfrm>
              <a:custGeom>
                <a:avLst/>
                <a:gdLst/>
                <a:ahLst/>
                <a:cxnLst>
                  <a:cxn ang="0">
                    <a:pos x="0" y="0"/>
                  </a:cxn>
                  <a:cxn ang="0">
                    <a:pos x="0" y="0"/>
                  </a:cxn>
                  <a:cxn ang="0">
                    <a:pos x="0" y="3"/>
                  </a:cxn>
                  <a:cxn ang="0">
                    <a:pos x="2" y="5"/>
                  </a:cxn>
                  <a:cxn ang="0">
                    <a:pos x="2" y="6"/>
                  </a:cxn>
                  <a:cxn ang="0">
                    <a:pos x="0" y="8"/>
                  </a:cxn>
                  <a:cxn ang="0">
                    <a:pos x="0" y="3"/>
                  </a:cxn>
                  <a:cxn ang="0">
                    <a:pos x="0" y="0"/>
                  </a:cxn>
                </a:cxnLst>
                <a:rect l="0" t="0" r="r" b="b"/>
                <a:pathLst>
                  <a:path w="2" h="8">
                    <a:moveTo>
                      <a:pt x="0" y="0"/>
                    </a:moveTo>
                    <a:lnTo>
                      <a:pt x="0" y="0"/>
                    </a:lnTo>
                    <a:lnTo>
                      <a:pt x="0" y="3"/>
                    </a:lnTo>
                    <a:lnTo>
                      <a:pt x="2" y="5"/>
                    </a:lnTo>
                    <a:lnTo>
                      <a:pt x="2" y="6"/>
                    </a:lnTo>
                    <a:lnTo>
                      <a:pt x="0" y="8"/>
                    </a:lnTo>
                    <a:lnTo>
                      <a:pt x="0" y="3"/>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02" name="Freeform 1039"/>
              <p:cNvSpPr>
                <a:spLocks/>
              </p:cNvSpPr>
              <p:nvPr/>
            </p:nvSpPr>
            <p:spPr bwMode="auto">
              <a:xfrm>
                <a:off x="8310838" y="3504833"/>
                <a:ext cx="1756" cy="8113"/>
              </a:xfrm>
              <a:custGeom>
                <a:avLst/>
                <a:gdLst/>
                <a:ahLst/>
                <a:cxnLst>
                  <a:cxn ang="0">
                    <a:pos x="0" y="0"/>
                  </a:cxn>
                  <a:cxn ang="0">
                    <a:pos x="0" y="0"/>
                  </a:cxn>
                  <a:cxn ang="0">
                    <a:pos x="0" y="3"/>
                  </a:cxn>
                  <a:cxn ang="0">
                    <a:pos x="2" y="5"/>
                  </a:cxn>
                  <a:cxn ang="0">
                    <a:pos x="2" y="6"/>
                  </a:cxn>
                  <a:cxn ang="0">
                    <a:pos x="0" y="8"/>
                  </a:cxn>
                  <a:cxn ang="0">
                    <a:pos x="0" y="3"/>
                  </a:cxn>
                  <a:cxn ang="0">
                    <a:pos x="0" y="0"/>
                  </a:cxn>
                </a:cxnLst>
                <a:rect l="0" t="0" r="r" b="b"/>
                <a:pathLst>
                  <a:path w="2" h="8">
                    <a:moveTo>
                      <a:pt x="0" y="0"/>
                    </a:moveTo>
                    <a:lnTo>
                      <a:pt x="0" y="0"/>
                    </a:lnTo>
                    <a:lnTo>
                      <a:pt x="0" y="3"/>
                    </a:lnTo>
                    <a:lnTo>
                      <a:pt x="2" y="5"/>
                    </a:lnTo>
                    <a:lnTo>
                      <a:pt x="2" y="6"/>
                    </a:lnTo>
                    <a:lnTo>
                      <a:pt x="0" y="8"/>
                    </a:lnTo>
                    <a:lnTo>
                      <a:pt x="0" y="3"/>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03" name="Freeform 1040"/>
              <p:cNvSpPr>
                <a:spLocks/>
              </p:cNvSpPr>
              <p:nvPr/>
            </p:nvSpPr>
            <p:spPr bwMode="auto">
              <a:xfrm>
                <a:off x="8309082" y="3514974"/>
                <a:ext cx="3511" cy="4056"/>
              </a:xfrm>
              <a:custGeom>
                <a:avLst/>
                <a:gdLst/>
                <a:ahLst/>
                <a:cxnLst>
                  <a:cxn ang="0">
                    <a:pos x="2" y="0"/>
                  </a:cxn>
                  <a:cxn ang="0">
                    <a:pos x="2" y="0"/>
                  </a:cxn>
                  <a:cxn ang="0">
                    <a:pos x="2" y="3"/>
                  </a:cxn>
                  <a:cxn ang="0">
                    <a:pos x="4" y="4"/>
                  </a:cxn>
                  <a:cxn ang="0">
                    <a:pos x="1" y="4"/>
                  </a:cxn>
                  <a:cxn ang="0">
                    <a:pos x="0" y="4"/>
                  </a:cxn>
                  <a:cxn ang="0">
                    <a:pos x="0" y="3"/>
                  </a:cxn>
                  <a:cxn ang="0">
                    <a:pos x="0" y="2"/>
                  </a:cxn>
                  <a:cxn ang="0">
                    <a:pos x="1" y="2"/>
                  </a:cxn>
                  <a:cxn ang="0">
                    <a:pos x="1" y="2"/>
                  </a:cxn>
                  <a:cxn ang="0">
                    <a:pos x="2" y="0"/>
                  </a:cxn>
                </a:cxnLst>
                <a:rect l="0" t="0" r="r" b="b"/>
                <a:pathLst>
                  <a:path w="4" h="4">
                    <a:moveTo>
                      <a:pt x="2" y="0"/>
                    </a:moveTo>
                    <a:lnTo>
                      <a:pt x="2" y="0"/>
                    </a:lnTo>
                    <a:lnTo>
                      <a:pt x="2" y="3"/>
                    </a:lnTo>
                    <a:lnTo>
                      <a:pt x="4" y="4"/>
                    </a:lnTo>
                    <a:lnTo>
                      <a:pt x="1" y="4"/>
                    </a:lnTo>
                    <a:lnTo>
                      <a:pt x="0" y="4"/>
                    </a:lnTo>
                    <a:lnTo>
                      <a:pt x="0" y="3"/>
                    </a:lnTo>
                    <a:lnTo>
                      <a:pt x="0" y="2"/>
                    </a:lnTo>
                    <a:lnTo>
                      <a:pt x="1" y="2"/>
                    </a:lnTo>
                    <a:lnTo>
                      <a:pt x="1" y="2"/>
                    </a:lnTo>
                    <a:lnTo>
                      <a:pt x="2"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04" name="Freeform 1041"/>
              <p:cNvSpPr>
                <a:spLocks/>
              </p:cNvSpPr>
              <p:nvPr/>
            </p:nvSpPr>
            <p:spPr bwMode="auto">
              <a:xfrm>
                <a:off x="8309082" y="3514974"/>
                <a:ext cx="3511" cy="4056"/>
              </a:xfrm>
              <a:custGeom>
                <a:avLst/>
                <a:gdLst/>
                <a:ahLst/>
                <a:cxnLst>
                  <a:cxn ang="0">
                    <a:pos x="2" y="0"/>
                  </a:cxn>
                  <a:cxn ang="0">
                    <a:pos x="2" y="0"/>
                  </a:cxn>
                  <a:cxn ang="0">
                    <a:pos x="2" y="3"/>
                  </a:cxn>
                  <a:cxn ang="0">
                    <a:pos x="4" y="4"/>
                  </a:cxn>
                  <a:cxn ang="0">
                    <a:pos x="1" y="4"/>
                  </a:cxn>
                  <a:cxn ang="0">
                    <a:pos x="0" y="4"/>
                  </a:cxn>
                  <a:cxn ang="0">
                    <a:pos x="0" y="3"/>
                  </a:cxn>
                  <a:cxn ang="0">
                    <a:pos x="0" y="2"/>
                  </a:cxn>
                  <a:cxn ang="0">
                    <a:pos x="1" y="2"/>
                  </a:cxn>
                  <a:cxn ang="0">
                    <a:pos x="1" y="2"/>
                  </a:cxn>
                  <a:cxn ang="0">
                    <a:pos x="2" y="0"/>
                  </a:cxn>
                </a:cxnLst>
                <a:rect l="0" t="0" r="r" b="b"/>
                <a:pathLst>
                  <a:path w="4" h="4">
                    <a:moveTo>
                      <a:pt x="2" y="0"/>
                    </a:moveTo>
                    <a:lnTo>
                      <a:pt x="2" y="0"/>
                    </a:lnTo>
                    <a:lnTo>
                      <a:pt x="2" y="3"/>
                    </a:lnTo>
                    <a:lnTo>
                      <a:pt x="4" y="4"/>
                    </a:lnTo>
                    <a:lnTo>
                      <a:pt x="1" y="4"/>
                    </a:lnTo>
                    <a:lnTo>
                      <a:pt x="0" y="4"/>
                    </a:lnTo>
                    <a:lnTo>
                      <a:pt x="0" y="3"/>
                    </a:lnTo>
                    <a:lnTo>
                      <a:pt x="0" y="2"/>
                    </a:lnTo>
                    <a:lnTo>
                      <a:pt x="1" y="2"/>
                    </a:lnTo>
                    <a:lnTo>
                      <a:pt x="1" y="2"/>
                    </a:lnTo>
                    <a:lnTo>
                      <a:pt x="2"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05" name="Freeform 1042"/>
              <p:cNvSpPr>
                <a:spLocks/>
              </p:cNvSpPr>
              <p:nvPr/>
            </p:nvSpPr>
            <p:spPr bwMode="auto">
              <a:xfrm>
                <a:off x="8310838" y="3537286"/>
                <a:ext cx="5267" cy="4056"/>
              </a:xfrm>
              <a:custGeom>
                <a:avLst/>
                <a:gdLst/>
                <a:ahLst/>
                <a:cxnLst>
                  <a:cxn ang="0">
                    <a:pos x="3" y="0"/>
                  </a:cxn>
                  <a:cxn ang="0">
                    <a:pos x="5" y="1"/>
                  </a:cxn>
                  <a:cxn ang="0">
                    <a:pos x="5" y="4"/>
                  </a:cxn>
                  <a:cxn ang="0">
                    <a:pos x="5" y="4"/>
                  </a:cxn>
                  <a:cxn ang="0">
                    <a:pos x="2" y="4"/>
                  </a:cxn>
                  <a:cxn ang="0">
                    <a:pos x="0" y="3"/>
                  </a:cxn>
                  <a:cxn ang="0">
                    <a:pos x="0" y="1"/>
                  </a:cxn>
                  <a:cxn ang="0">
                    <a:pos x="2" y="1"/>
                  </a:cxn>
                  <a:cxn ang="0">
                    <a:pos x="3" y="0"/>
                  </a:cxn>
                  <a:cxn ang="0">
                    <a:pos x="3" y="0"/>
                  </a:cxn>
                </a:cxnLst>
                <a:rect l="0" t="0" r="r" b="b"/>
                <a:pathLst>
                  <a:path w="5" h="4">
                    <a:moveTo>
                      <a:pt x="3" y="0"/>
                    </a:moveTo>
                    <a:lnTo>
                      <a:pt x="5" y="1"/>
                    </a:lnTo>
                    <a:lnTo>
                      <a:pt x="5" y="4"/>
                    </a:lnTo>
                    <a:lnTo>
                      <a:pt x="5" y="4"/>
                    </a:lnTo>
                    <a:lnTo>
                      <a:pt x="2" y="4"/>
                    </a:lnTo>
                    <a:lnTo>
                      <a:pt x="0" y="3"/>
                    </a:lnTo>
                    <a:lnTo>
                      <a:pt x="0" y="1"/>
                    </a:lnTo>
                    <a:lnTo>
                      <a:pt x="2" y="1"/>
                    </a:lnTo>
                    <a:lnTo>
                      <a:pt x="3" y="0"/>
                    </a:lnTo>
                    <a:lnTo>
                      <a:pt x="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06" name="Freeform 1043"/>
              <p:cNvSpPr>
                <a:spLocks/>
              </p:cNvSpPr>
              <p:nvPr/>
            </p:nvSpPr>
            <p:spPr bwMode="auto">
              <a:xfrm>
                <a:off x="8310838" y="3537286"/>
                <a:ext cx="5267" cy="4056"/>
              </a:xfrm>
              <a:custGeom>
                <a:avLst/>
                <a:gdLst/>
                <a:ahLst/>
                <a:cxnLst>
                  <a:cxn ang="0">
                    <a:pos x="3" y="0"/>
                  </a:cxn>
                  <a:cxn ang="0">
                    <a:pos x="5" y="1"/>
                  </a:cxn>
                  <a:cxn ang="0">
                    <a:pos x="5" y="4"/>
                  </a:cxn>
                  <a:cxn ang="0">
                    <a:pos x="5" y="4"/>
                  </a:cxn>
                  <a:cxn ang="0">
                    <a:pos x="2" y="4"/>
                  </a:cxn>
                  <a:cxn ang="0">
                    <a:pos x="0" y="3"/>
                  </a:cxn>
                  <a:cxn ang="0">
                    <a:pos x="0" y="1"/>
                  </a:cxn>
                  <a:cxn ang="0">
                    <a:pos x="2" y="1"/>
                  </a:cxn>
                  <a:cxn ang="0">
                    <a:pos x="3" y="0"/>
                  </a:cxn>
                  <a:cxn ang="0">
                    <a:pos x="3" y="0"/>
                  </a:cxn>
                </a:cxnLst>
                <a:rect l="0" t="0" r="r" b="b"/>
                <a:pathLst>
                  <a:path w="5" h="4">
                    <a:moveTo>
                      <a:pt x="3" y="0"/>
                    </a:moveTo>
                    <a:lnTo>
                      <a:pt x="5" y="1"/>
                    </a:lnTo>
                    <a:lnTo>
                      <a:pt x="5" y="4"/>
                    </a:lnTo>
                    <a:lnTo>
                      <a:pt x="5" y="4"/>
                    </a:lnTo>
                    <a:lnTo>
                      <a:pt x="2" y="4"/>
                    </a:lnTo>
                    <a:lnTo>
                      <a:pt x="0" y="3"/>
                    </a:lnTo>
                    <a:lnTo>
                      <a:pt x="0" y="1"/>
                    </a:lnTo>
                    <a:lnTo>
                      <a:pt x="2" y="1"/>
                    </a:lnTo>
                    <a:lnTo>
                      <a:pt x="3" y="0"/>
                    </a:lnTo>
                    <a:lnTo>
                      <a:pt x="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07" name="Freeform 1044"/>
              <p:cNvSpPr>
                <a:spLocks/>
              </p:cNvSpPr>
              <p:nvPr/>
            </p:nvSpPr>
            <p:spPr bwMode="auto">
              <a:xfrm>
                <a:off x="8322249" y="3554526"/>
                <a:ext cx="1756" cy="4056"/>
              </a:xfrm>
              <a:custGeom>
                <a:avLst/>
                <a:gdLst/>
                <a:ahLst/>
                <a:cxnLst>
                  <a:cxn ang="0">
                    <a:pos x="0" y="0"/>
                  </a:cxn>
                  <a:cxn ang="0">
                    <a:pos x="0" y="0"/>
                  </a:cxn>
                  <a:cxn ang="0">
                    <a:pos x="0" y="0"/>
                  </a:cxn>
                  <a:cxn ang="0">
                    <a:pos x="2" y="1"/>
                  </a:cxn>
                  <a:cxn ang="0">
                    <a:pos x="2" y="1"/>
                  </a:cxn>
                  <a:cxn ang="0">
                    <a:pos x="2" y="3"/>
                  </a:cxn>
                  <a:cxn ang="0">
                    <a:pos x="2" y="4"/>
                  </a:cxn>
                  <a:cxn ang="0">
                    <a:pos x="2" y="4"/>
                  </a:cxn>
                  <a:cxn ang="0">
                    <a:pos x="0" y="4"/>
                  </a:cxn>
                  <a:cxn ang="0">
                    <a:pos x="0" y="1"/>
                  </a:cxn>
                  <a:cxn ang="0">
                    <a:pos x="0" y="0"/>
                  </a:cxn>
                  <a:cxn ang="0">
                    <a:pos x="0" y="4"/>
                  </a:cxn>
                  <a:cxn ang="0">
                    <a:pos x="0" y="1"/>
                  </a:cxn>
                  <a:cxn ang="0">
                    <a:pos x="0" y="0"/>
                  </a:cxn>
                </a:cxnLst>
                <a:rect l="0" t="0" r="r" b="b"/>
                <a:pathLst>
                  <a:path w="2" h="4">
                    <a:moveTo>
                      <a:pt x="0" y="0"/>
                    </a:moveTo>
                    <a:lnTo>
                      <a:pt x="0" y="0"/>
                    </a:lnTo>
                    <a:lnTo>
                      <a:pt x="0" y="0"/>
                    </a:lnTo>
                    <a:lnTo>
                      <a:pt x="2" y="1"/>
                    </a:lnTo>
                    <a:lnTo>
                      <a:pt x="2" y="1"/>
                    </a:lnTo>
                    <a:lnTo>
                      <a:pt x="2" y="3"/>
                    </a:lnTo>
                    <a:lnTo>
                      <a:pt x="2" y="4"/>
                    </a:lnTo>
                    <a:lnTo>
                      <a:pt x="2" y="4"/>
                    </a:lnTo>
                    <a:lnTo>
                      <a:pt x="0" y="4"/>
                    </a:lnTo>
                    <a:lnTo>
                      <a:pt x="0" y="1"/>
                    </a:lnTo>
                    <a:lnTo>
                      <a:pt x="0" y="0"/>
                    </a:lnTo>
                    <a:lnTo>
                      <a:pt x="0" y="4"/>
                    </a:lnTo>
                    <a:lnTo>
                      <a:pt x="0" y="1"/>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08" name="Freeform 1045"/>
              <p:cNvSpPr>
                <a:spLocks/>
              </p:cNvSpPr>
              <p:nvPr/>
            </p:nvSpPr>
            <p:spPr bwMode="auto">
              <a:xfrm>
                <a:off x="8322249" y="3554526"/>
                <a:ext cx="1756" cy="4056"/>
              </a:xfrm>
              <a:custGeom>
                <a:avLst/>
                <a:gdLst/>
                <a:ahLst/>
                <a:cxnLst>
                  <a:cxn ang="0">
                    <a:pos x="0" y="0"/>
                  </a:cxn>
                  <a:cxn ang="0">
                    <a:pos x="0" y="0"/>
                  </a:cxn>
                  <a:cxn ang="0">
                    <a:pos x="0" y="0"/>
                  </a:cxn>
                  <a:cxn ang="0">
                    <a:pos x="2" y="1"/>
                  </a:cxn>
                  <a:cxn ang="0">
                    <a:pos x="2" y="1"/>
                  </a:cxn>
                  <a:cxn ang="0">
                    <a:pos x="2" y="3"/>
                  </a:cxn>
                  <a:cxn ang="0">
                    <a:pos x="2" y="4"/>
                  </a:cxn>
                  <a:cxn ang="0">
                    <a:pos x="2" y="4"/>
                  </a:cxn>
                  <a:cxn ang="0">
                    <a:pos x="0" y="4"/>
                  </a:cxn>
                  <a:cxn ang="0">
                    <a:pos x="0" y="1"/>
                  </a:cxn>
                  <a:cxn ang="0">
                    <a:pos x="0" y="0"/>
                  </a:cxn>
                  <a:cxn ang="0">
                    <a:pos x="0" y="4"/>
                  </a:cxn>
                  <a:cxn ang="0">
                    <a:pos x="0" y="1"/>
                  </a:cxn>
                  <a:cxn ang="0">
                    <a:pos x="0" y="0"/>
                  </a:cxn>
                </a:cxnLst>
                <a:rect l="0" t="0" r="r" b="b"/>
                <a:pathLst>
                  <a:path w="2" h="4">
                    <a:moveTo>
                      <a:pt x="0" y="0"/>
                    </a:moveTo>
                    <a:lnTo>
                      <a:pt x="0" y="0"/>
                    </a:lnTo>
                    <a:lnTo>
                      <a:pt x="0" y="0"/>
                    </a:lnTo>
                    <a:lnTo>
                      <a:pt x="2" y="1"/>
                    </a:lnTo>
                    <a:lnTo>
                      <a:pt x="2" y="1"/>
                    </a:lnTo>
                    <a:lnTo>
                      <a:pt x="2" y="3"/>
                    </a:lnTo>
                    <a:lnTo>
                      <a:pt x="2" y="4"/>
                    </a:lnTo>
                    <a:lnTo>
                      <a:pt x="2" y="4"/>
                    </a:lnTo>
                    <a:lnTo>
                      <a:pt x="0" y="4"/>
                    </a:lnTo>
                    <a:lnTo>
                      <a:pt x="0" y="1"/>
                    </a:lnTo>
                    <a:lnTo>
                      <a:pt x="0" y="0"/>
                    </a:lnTo>
                    <a:lnTo>
                      <a:pt x="0" y="4"/>
                    </a:lnTo>
                    <a:lnTo>
                      <a:pt x="0" y="1"/>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09" name="Freeform 1046"/>
              <p:cNvSpPr>
                <a:spLocks/>
              </p:cNvSpPr>
              <p:nvPr/>
            </p:nvSpPr>
            <p:spPr bwMode="auto">
              <a:xfrm>
                <a:off x="8324882" y="3566696"/>
                <a:ext cx="2633" cy="2028"/>
              </a:xfrm>
              <a:custGeom>
                <a:avLst/>
                <a:gdLst/>
                <a:ahLst/>
                <a:cxnLst>
                  <a:cxn ang="0">
                    <a:pos x="0" y="0"/>
                  </a:cxn>
                  <a:cxn ang="0">
                    <a:pos x="1" y="0"/>
                  </a:cxn>
                  <a:cxn ang="0">
                    <a:pos x="3" y="1"/>
                  </a:cxn>
                  <a:cxn ang="0">
                    <a:pos x="1" y="2"/>
                  </a:cxn>
                  <a:cxn ang="0">
                    <a:pos x="0" y="2"/>
                  </a:cxn>
                  <a:cxn ang="0">
                    <a:pos x="0" y="1"/>
                  </a:cxn>
                  <a:cxn ang="0">
                    <a:pos x="0" y="0"/>
                  </a:cxn>
                  <a:cxn ang="0">
                    <a:pos x="0" y="0"/>
                  </a:cxn>
                </a:cxnLst>
                <a:rect l="0" t="0" r="r" b="b"/>
                <a:pathLst>
                  <a:path w="3" h="2">
                    <a:moveTo>
                      <a:pt x="0" y="0"/>
                    </a:moveTo>
                    <a:lnTo>
                      <a:pt x="1" y="0"/>
                    </a:lnTo>
                    <a:lnTo>
                      <a:pt x="3" y="1"/>
                    </a:lnTo>
                    <a:lnTo>
                      <a:pt x="1" y="2"/>
                    </a:lnTo>
                    <a:lnTo>
                      <a:pt x="0" y="2"/>
                    </a:lnTo>
                    <a:lnTo>
                      <a:pt x="0" y="1"/>
                    </a:lnTo>
                    <a:lnTo>
                      <a:pt x="0" y="0"/>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10" name="Freeform 1047"/>
              <p:cNvSpPr>
                <a:spLocks/>
              </p:cNvSpPr>
              <p:nvPr/>
            </p:nvSpPr>
            <p:spPr bwMode="auto">
              <a:xfrm>
                <a:off x="8324882" y="3566696"/>
                <a:ext cx="2633" cy="2028"/>
              </a:xfrm>
              <a:custGeom>
                <a:avLst/>
                <a:gdLst/>
                <a:ahLst/>
                <a:cxnLst>
                  <a:cxn ang="0">
                    <a:pos x="0" y="0"/>
                  </a:cxn>
                  <a:cxn ang="0">
                    <a:pos x="1" y="0"/>
                  </a:cxn>
                  <a:cxn ang="0">
                    <a:pos x="3" y="1"/>
                  </a:cxn>
                  <a:cxn ang="0">
                    <a:pos x="1" y="2"/>
                  </a:cxn>
                  <a:cxn ang="0">
                    <a:pos x="0" y="2"/>
                  </a:cxn>
                  <a:cxn ang="0">
                    <a:pos x="0" y="1"/>
                  </a:cxn>
                  <a:cxn ang="0">
                    <a:pos x="0" y="0"/>
                  </a:cxn>
                  <a:cxn ang="0">
                    <a:pos x="0" y="0"/>
                  </a:cxn>
                </a:cxnLst>
                <a:rect l="0" t="0" r="r" b="b"/>
                <a:pathLst>
                  <a:path w="3" h="2">
                    <a:moveTo>
                      <a:pt x="0" y="0"/>
                    </a:moveTo>
                    <a:lnTo>
                      <a:pt x="1" y="0"/>
                    </a:lnTo>
                    <a:lnTo>
                      <a:pt x="3" y="1"/>
                    </a:lnTo>
                    <a:lnTo>
                      <a:pt x="1" y="2"/>
                    </a:lnTo>
                    <a:lnTo>
                      <a:pt x="0" y="2"/>
                    </a:lnTo>
                    <a:lnTo>
                      <a:pt x="0" y="1"/>
                    </a:lnTo>
                    <a:lnTo>
                      <a:pt x="0" y="0"/>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11" name="Freeform 1048"/>
              <p:cNvSpPr>
                <a:spLocks/>
              </p:cNvSpPr>
              <p:nvPr/>
            </p:nvSpPr>
            <p:spPr bwMode="auto">
              <a:xfrm>
                <a:off x="7604208" y="2936919"/>
                <a:ext cx="2634" cy="3043"/>
              </a:xfrm>
              <a:custGeom>
                <a:avLst/>
                <a:gdLst/>
                <a:ahLst/>
                <a:cxnLst>
                  <a:cxn ang="0">
                    <a:pos x="3" y="0"/>
                  </a:cxn>
                  <a:cxn ang="0">
                    <a:pos x="2" y="1"/>
                  </a:cxn>
                  <a:cxn ang="0">
                    <a:pos x="0" y="1"/>
                  </a:cxn>
                  <a:cxn ang="0">
                    <a:pos x="0" y="3"/>
                  </a:cxn>
                  <a:cxn ang="0">
                    <a:pos x="0" y="3"/>
                  </a:cxn>
                  <a:cxn ang="0">
                    <a:pos x="0" y="3"/>
                  </a:cxn>
                  <a:cxn ang="0">
                    <a:pos x="0" y="3"/>
                  </a:cxn>
                  <a:cxn ang="0">
                    <a:pos x="0" y="3"/>
                  </a:cxn>
                  <a:cxn ang="0">
                    <a:pos x="2" y="3"/>
                  </a:cxn>
                  <a:cxn ang="0">
                    <a:pos x="2" y="3"/>
                  </a:cxn>
                  <a:cxn ang="0">
                    <a:pos x="2" y="3"/>
                  </a:cxn>
                  <a:cxn ang="0">
                    <a:pos x="2" y="1"/>
                  </a:cxn>
                  <a:cxn ang="0">
                    <a:pos x="2" y="1"/>
                  </a:cxn>
                  <a:cxn ang="0">
                    <a:pos x="2" y="1"/>
                  </a:cxn>
                  <a:cxn ang="0">
                    <a:pos x="3" y="1"/>
                  </a:cxn>
                  <a:cxn ang="0">
                    <a:pos x="3" y="0"/>
                  </a:cxn>
                </a:cxnLst>
                <a:rect l="0" t="0" r="r" b="b"/>
                <a:pathLst>
                  <a:path w="3" h="3">
                    <a:moveTo>
                      <a:pt x="3" y="0"/>
                    </a:moveTo>
                    <a:lnTo>
                      <a:pt x="2" y="1"/>
                    </a:lnTo>
                    <a:lnTo>
                      <a:pt x="0" y="1"/>
                    </a:lnTo>
                    <a:lnTo>
                      <a:pt x="0" y="3"/>
                    </a:lnTo>
                    <a:lnTo>
                      <a:pt x="0" y="3"/>
                    </a:lnTo>
                    <a:lnTo>
                      <a:pt x="0" y="3"/>
                    </a:lnTo>
                    <a:lnTo>
                      <a:pt x="0" y="3"/>
                    </a:lnTo>
                    <a:lnTo>
                      <a:pt x="0" y="3"/>
                    </a:lnTo>
                    <a:lnTo>
                      <a:pt x="2" y="3"/>
                    </a:lnTo>
                    <a:lnTo>
                      <a:pt x="2" y="3"/>
                    </a:lnTo>
                    <a:lnTo>
                      <a:pt x="2" y="3"/>
                    </a:lnTo>
                    <a:lnTo>
                      <a:pt x="2" y="1"/>
                    </a:lnTo>
                    <a:lnTo>
                      <a:pt x="2" y="1"/>
                    </a:lnTo>
                    <a:lnTo>
                      <a:pt x="2" y="1"/>
                    </a:lnTo>
                    <a:lnTo>
                      <a:pt x="3" y="1"/>
                    </a:lnTo>
                    <a:lnTo>
                      <a:pt x="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12" name="Freeform 1049"/>
              <p:cNvSpPr>
                <a:spLocks/>
              </p:cNvSpPr>
              <p:nvPr/>
            </p:nvSpPr>
            <p:spPr bwMode="auto">
              <a:xfrm>
                <a:off x="7604208" y="2936919"/>
                <a:ext cx="2634" cy="3043"/>
              </a:xfrm>
              <a:custGeom>
                <a:avLst/>
                <a:gdLst/>
                <a:ahLst/>
                <a:cxnLst>
                  <a:cxn ang="0">
                    <a:pos x="3" y="0"/>
                  </a:cxn>
                  <a:cxn ang="0">
                    <a:pos x="2" y="1"/>
                  </a:cxn>
                  <a:cxn ang="0">
                    <a:pos x="0" y="1"/>
                  </a:cxn>
                  <a:cxn ang="0">
                    <a:pos x="0" y="3"/>
                  </a:cxn>
                  <a:cxn ang="0">
                    <a:pos x="0" y="3"/>
                  </a:cxn>
                  <a:cxn ang="0">
                    <a:pos x="0" y="3"/>
                  </a:cxn>
                  <a:cxn ang="0">
                    <a:pos x="0" y="3"/>
                  </a:cxn>
                  <a:cxn ang="0">
                    <a:pos x="0" y="3"/>
                  </a:cxn>
                  <a:cxn ang="0">
                    <a:pos x="2" y="3"/>
                  </a:cxn>
                  <a:cxn ang="0">
                    <a:pos x="2" y="3"/>
                  </a:cxn>
                  <a:cxn ang="0">
                    <a:pos x="2" y="3"/>
                  </a:cxn>
                  <a:cxn ang="0">
                    <a:pos x="2" y="1"/>
                  </a:cxn>
                  <a:cxn ang="0">
                    <a:pos x="2" y="1"/>
                  </a:cxn>
                  <a:cxn ang="0">
                    <a:pos x="2" y="1"/>
                  </a:cxn>
                  <a:cxn ang="0">
                    <a:pos x="3" y="1"/>
                  </a:cxn>
                  <a:cxn ang="0">
                    <a:pos x="3" y="0"/>
                  </a:cxn>
                </a:cxnLst>
                <a:rect l="0" t="0" r="r" b="b"/>
                <a:pathLst>
                  <a:path w="3" h="3">
                    <a:moveTo>
                      <a:pt x="3" y="0"/>
                    </a:moveTo>
                    <a:lnTo>
                      <a:pt x="2" y="1"/>
                    </a:lnTo>
                    <a:lnTo>
                      <a:pt x="0" y="1"/>
                    </a:lnTo>
                    <a:lnTo>
                      <a:pt x="0" y="3"/>
                    </a:lnTo>
                    <a:lnTo>
                      <a:pt x="0" y="3"/>
                    </a:lnTo>
                    <a:lnTo>
                      <a:pt x="0" y="3"/>
                    </a:lnTo>
                    <a:lnTo>
                      <a:pt x="0" y="3"/>
                    </a:lnTo>
                    <a:lnTo>
                      <a:pt x="0" y="3"/>
                    </a:lnTo>
                    <a:lnTo>
                      <a:pt x="2" y="3"/>
                    </a:lnTo>
                    <a:lnTo>
                      <a:pt x="2" y="3"/>
                    </a:lnTo>
                    <a:lnTo>
                      <a:pt x="2" y="3"/>
                    </a:lnTo>
                    <a:lnTo>
                      <a:pt x="2" y="1"/>
                    </a:lnTo>
                    <a:lnTo>
                      <a:pt x="2" y="1"/>
                    </a:lnTo>
                    <a:lnTo>
                      <a:pt x="2" y="1"/>
                    </a:lnTo>
                    <a:lnTo>
                      <a:pt x="3" y="1"/>
                    </a:lnTo>
                    <a:lnTo>
                      <a:pt x="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13" name="Freeform 1050"/>
              <p:cNvSpPr>
                <a:spLocks/>
              </p:cNvSpPr>
              <p:nvPr/>
            </p:nvSpPr>
            <p:spPr bwMode="auto">
              <a:xfrm>
                <a:off x="7608597" y="2937934"/>
                <a:ext cx="878" cy="2028"/>
              </a:xfrm>
              <a:custGeom>
                <a:avLst/>
                <a:gdLst/>
                <a:ahLst/>
                <a:cxnLst>
                  <a:cxn ang="0">
                    <a:pos x="0" y="0"/>
                  </a:cxn>
                  <a:cxn ang="0">
                    <a:pos x="0" y="0"/>
                  </a:cxn>
                  <a:cxn ang="0">
                    <a:pos x="0" y="0"/>
                  </a:cxn>
                  <a:cxn ang="0">
                    <a:pos x="0" y="0"/>
                  </a:cxn>
                  <a:cxn ang="0">
                    <a:pos x="0" y="2"/>
                  </a:cxn>
                  <a:cxn ang="0">
                    <a:pos x="0" y="0"/>
                  </a:cxn>
                  <a:cxn ang="0">
                    <a:pos x="1" y="2"/>
                  </a:cxn>
                  <a:cxn ang="0">
                    <a:pos x="1" y="0"/>
                  </a:cxn>
                  <a:cxn ang="0">
                    <a:pos x="0" y="0"/>
                  </a:cxn>
                </a:cxnLst>
                <a:rect l="0" t="0" r="r" b="b"/>
                <a:pathLst>
                  <a:path w="1" h="2">
                    <a:moveTo>
                      <a:pt x="0" y="0"/>
                    </a:moveTo>
                    <a:lnTo>
                      <a:pt x="0" y="0"/>
                    </a:lnTo>
                    <a:lnTo>
                      <a:pt x="0" y="0"/>
                    </a:lnTo>
                    <a:lnTo>
                      <a:pt x="0" y="0"/>
                    </a:lnTo>
                    <a:lnTo>
                      <a:pt x="0" y="2"/>
                    </a:lnTo>
                    <a:lnTo>
                      <a:pt x="0" y="0"/>
                    </a:lnTo>
                    <a:lnTo>
                      <a:pt x="1" y="2"/>
                    </a:lnTo>
                    <a:lnTo>
                      <a:pt x="1" y="0"/>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14" name="Freeform 1051"/>
              <p:cNvSpPr>
                <a:spLocks/>
              </p:cNvSpPr>
              <p:nvPr/>
            </p:nvSpPr>
            <p:spPr bwMode="auto">
              <a:xfrm>
                <a:off x="7608597" y="2937934"/>
                <a:ext cx="878" cy="2028"/>
              </a:xfrm>
              <a:custGeom>
                <a:avLst/>
                <a:gdLst/>
                <a:ahLst/>
                <a:cxnLst>
                  <a:cxn ang="0">
                    <a:pos x="0" y="0"/>
                  </a:cxn>
                  <a:cxn ang="0">
                    <a:pos x="0" y="0"/>
                  </a:cxn>
                  <a:cxn ang="0">
                    <a:pos x="0" y="0"/>
                  </a:cxn>
                  <a:cxn ang="0">
                    <a:pos x="0" y="0"/>
                  </a:cxn>
                  <a:cxn ang="0">
                    <a:pos x="0" y="2"/>
                  </a:cxn>
                  <a:cxn ang="0">
                    <a:pos x="0" y="0"/>
                  </a:cxn>
                  <a:cxn ang="0">
                    <a:pos x="1" y="2"/>
                  </a:cxn>
                  <a:cxn ang="0">
                    <a:pos x="1" y="0"/>
                  </a:cxn>
                  <a:cxn ang="0">
                    <a:pos x="0" y="0"/>
                  </a:cxn>
                </a:cxnLst>
                <a:rect l="0" t="0" r="r" b="b"/>
                <a:pathLst>
                  <a:path w="1" h="2">
                    <a:moveTo>
                      <a:pt x="0" y="0"/>
                    </a:moveTo>
                    <a:lnTo>
                      <a:pt x="0" y="0"/>
                    </a:lnTo>
                    <a:lnTo>
                      <a:pt x="0" y="0"/>
                    </a:lnTo>
                    <a:lnTo>
                      <a:pt x="0" y="0"/>
                    </a:lnTo>
                    <a:lnTo>
                      <a:pt x="0" y="2"/>
                    </a:lnTo>
                    <a:lnTo>
                      <a:pt x="0" y="0"/>
                    </a:lnTo>
                    <a:lnTo>
                      <a:pt x="1" y="2"/>
                    </a:lnTo>
                    <a:lnTo>
                      <a:pt x="1" y="0"/>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15" name="Freeform 1052"/>
              <p:cNvSpPr>
                <a:spLocks/>
              </p:cNvSpPr>
              <p:nvPr/>
            </p:nvSpPr>
            <p:spPr bwMode="auto">
              <a:xfrm>
                <a:off x="7536618" y="2970386"/>
                <a:ext cx="30723" cy="31438"/>
              </a:xfrm>
              <a:custGeom>
                <a:avLst/>
                <a:gdLst/>
                <a:ahLst/>
                <a:cxnLst>
                  <a:cxn ang="0">
                    <a:pos x="27" y="2"/>
                  </a:cxn>
                  <a:cxn ang="0">
                    <a:pos x="27" y="2"/>
                  </a:cxn>
                  <a:cxn ang="0">
                    <a:pos x="27" y="0"/>
                  </a:cxn>
                  <a:cxn ang="0">
                    <a:pos x="29" y="2"/>
                  </a:cxn>
                  <a:cxn ang="0">
                    <a:pos x="32" y="2"/>
                  </a:cxn>
                  <a:cxn ang="0">
                    <a:pos x="34" y="8"/>
                  </a:cxn>
                  <a:cxn ang="0">
                    <a:pos x="31" y="11"/>
                  </a:cxn>
                  <a:cxn ang="0">
                    <a:pos x="25" y="21"/>
                  </a:cxn>
                  <a:cxn ang="0">
                    <a:pos x="21" y="27"/>
                  </a:cxn>
                  <a:cxn ang="0">
                    <a:pos x="18" y="27"/>
                  </a:cxn>
                  <a:cxn ang="0">
                    <a:pos x="15" y="30"/>
                  </a:cxn>
                  <a:cxn ang="0">
                    <a:pos x="14" y="30"/>
                  </a:cxn>
                  <a:cxn ang="0">
                    <a:pos x="12" y="30"/>
                  </a:cxn>
                  <a:cxn ang="0">
                    <a:pos x="3" y="27"/>
                  </a:cxn>
                  <a:cxn ang="0">
                    <a:pos x="0" y="24"/>
                  </a:cxn>
                  <a:cxn ang="0">
                    <a:pos x="0" y="14"/>
                  </a:cxn>
                  <a:cxn ang="0">
                    <a:pos x="8" y="6"/>
                  </a:cxn>
                  <a:cxn ang="0">
                    <a:pos x="8" y="6"/>
                  </a:cxn>
                  <a:cxn ang="0">
                    <a:pos x="14" y="3"/>
                  </a:cxn>
                  <a:cxn ang="0">
                    <a:pos x="21" y="3"/>
                  </a:cxn>
                  <a:cxn ang="0">
                    <a:pos x="22" y="2"/>
                  </a:cxn>
                  <a:cxn ang="0">
                    <a:pos x="27" y="2"/>
                  </a:cxn>
                </a:cxnLst>
                <a:rect l="0" t="0" r="r" b="b"/>
                <a:pathLst>
                  <a:path w="34" h="30">
                    <a:moveTo>
                      <a:pt x="27" y="2"/>
                    </a:moveTo>
                    <a:lnTo>
                      <a:pt x="27" y="2"/>
                    </a:lnTo>
                    <a:lnTo>
                      <a:pt x="27" y="0"/>
                    </a:lnTo>
                    <a:lnTo>
                      <a:pt x="29" y="2"/>
                    </a:lnTo>
                    <a:lnTo>
                      <a:pt x="32" y="2"/>
                    </a:lnTo>
                    <a:lnTo>
                      <a:pt x="34" y="8"/>
                    </a:lnTo>
                    <a:lnTo>
                      <a:pt x="31" y="11"/>
                    </a:lnTo>
                    <a:lnTo>
                      <a:pt x="25" y="21"/>
                    </a:lnTo>
                    <a:lnTo>
                      <a:pt x="21" y="27"/>
                    </a:lnTo>
                    <a:lnTo>
                      <a:pt x="18" y="27"/>
                    </a:lnTo>
                    <a:lnTo>
                      <a:pt x="15" y="30"/>
                    </a:lnTo>
                    <a:lnTo>
                      <a:pt x="14" y="30"/>
                    </a:lnTo>
                    <a:lnTo>
                      <a:pt x="12" y="30"/>
                    </a:lnTo>
                    <a:lnTo>
                      <a:pt x="3" y="27"/>
                    </a:lnTo>
                    <a:lnTo>
                      <a:pt x="0" y="24"/>
                    </a:lnTo>
                    <a:lnTo>
                      <a:pt x="0" y="14"/>
                    </a:lnTo>
                    <a:lnTo>
                      <a:pt x="8" y="6"/>
                    </a:lnTo>
                    <a:lnTo>
                      <a:pt x="8" y="6"/>
                    </a:lnTo>
                    <a:lnTo>
                      <a:pt x="14" y="3"/>
                    </a:lnTo>
                    <a:lnTo>
                      <a:pt x="21" y="3"/>
                    </a:lnTo>
                    <a:lnTo>
                      <a:pt x="22" y="2"/>
                    </a:lnTo>
                    <a:lnTo>
                      <a:pt x="27"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16" name="Freeform 1053"/>
              <p:cNvSpPr>
                <a:spLocks/>
              </p:cNvSpPr>
              <p:nvPr/>
            </p:nvSpPr>
            <p:spPr bwMode="auto">
              <a:xfrm>
                <a:off x="7536618" y="2970386"/>
                <a:ext cx="30723" cy="31438"/>
              </a:xfrm>
              <a:custGeom>
                <a:avLst/>
                <a:gdLst/>
                <a:ahLst/>
                <a:cxnLst>
                  <a:cxn ang="0">
                    <a:pos x="27" y="2"/>
                  </a:cxn>
                  <a:cxn ang="0">
                    <a:pos x="27" y="2"/>
                  </a:cxn>
                  <a:cxn ang="0">
                    <a:pos x="27" y="0"/>
                  </a:cxn>
                  <a:cxn ang="0">
                    <a:pos x="29" y="2"/>
                  </a:cxn>
                  <a:cxn ang="0">
                    <a:pos x="32" y="2"/>
                  </a:cxn>
                  <a:cxn ang="0">
                    <a:pos x="34" y="8"/>
                  </a:cxn>
                  <a:cxn ang="0">
                    <a:pos x="31" y="11"/>
                  </a:cxn>
                  <a:cxn ang="0">
                    <a:pos x="25" y="21"/>
                  </a:cxn>
                  <a:cxn ang="0">
                    <a:pos x="21" y="27"/>
                  </a:cxn>
                  <a:cxn ang="0">
                    <a:pos x="18" y="27"/>
                  </a:cxn>
                  <a:cxn ang="0">
                    <a:pos x="15" y="30"/>
                  </a:cxn>
                  <a:cxn ang="0">
                    <a:pos x="14" y="30"/>
                  </a:cxn>
                  <a:cxn ang="0">
                    <a:pos x="12" y="30"/>
                  </a:cxn>
                  <a:cxn ang="0">
                    <a:pos x="3" y="27"/>
                  </a:cxn>
                  <a:cxn ang="0">
                    <a:pos x="0" y="24"/>
                  </a:cxn>
                  <a:cxn ang="0">
                    <a:pos x="0" y="14"/>
                  </a:cxn>
                  <a:cxn ang="0">
                    <a:pos x="8" y="6"/>
                  </a:cxn>
                  <a:cxn ang="0">
                    <a:pos x="8" y="6"/>
                  </a:cxn>
                  <a:cxn ang="0">
                    <a:pos x="14" y="3"/>
                  </a:cxn>
                  <a:cxn ang="0">
                    <a:pos x="21" y="3"/>
                  </a:cxn>
                  <a:cxn ang="0">
                    <a:pos x="22" y="2"/>
                  </a:cxn>
                  <a:cxn ang="0">
                    <a:pos x="27" y="2"/>
                  </a:cxn>
                </a:cxnLst>
                <a:rect l="0" t="0" r="r" b="b"/>
                <a:pathLst>
                  <a:path w="34" h="30">
                    <a:moveTo>
                      <a:pt x="27" y="2"/>
                    </a:moveTo>
                    <a:lnTo>
                      <a:pt x="27" y="2"/>
                    </a:lnTo>
                    <a:lnTo>
                      <a:pt x="27" y="0"/>
                    </a:lnTo>
                    <a:lnTo>
                      <a:pt x="29" y="2"/>
                    </a:lnTo>
                    <a:lnTo>
                      <a:pt x="32" y="2"/>
                    </a:lnTo>
                    <a:lnTo>
                      <a:pt x="34" y="8"/>
                    </a:lnTo>
                    <a:lnTo>
                      <a:pt x="31" y="11"/>
                    </a:lnTo>
                    <a:lnTo>
                      <a:pt x="25" y="21"/>
                    </a:lnTo>
                    <a:lnTo>
                      <a:pt x="21" y="27"/>
                    </a:lnTo>
                    <a:lnTo>
                      <a:pt x="18" y="27"/>
                    </a:lnTo>
                    <a:lnTo>
                      <a:pt x="15" y="30"/>
                    </a:lnTo>
                    <a:lnTo>
                      <a:pt x="14" y="30"/>
                    </a:lnTo>
                    <a:lnTo>
                      <a:pt x="12" y="30"/>
                    </a:lnTo>
                    <a:lnTo>
                      <a:pt x="3" y="27"/>
                    </a:lnTo>
                    <a:lnTo>
                      <a:pt x="0" y="24"/>
                    </a:lnTo>
                    <a:lnTo>
                      <a:pt x="0" y="14"/>
                    </a:lnTo>
                    <a:lnTo>
                      <a:pt x="8" y="6"/>
                    </a:lnTo>
                    <a:lnTo>
                      <a:pt x="8" y="6"/>
                    </a:lnTo>
                    <a:lnTo>
                      <a:pt x="14" y="3"/>
                    </a:lnTo>
                    <a:lnTo>
                      <a:pt x="21" y="3"/>
                    </a:lnTo>
                    <a:lnTo>
                      <a:pt x="22" y="2"/>
                    </a:lnTo>
                    <a:lnTo>
                      <a:pt x="27"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17" name="Freeform 1054"/>
              <p:cNvSpPr>
                <a:spLocks/>
              </p:cNvSpPr>
              <p:nvPr/>
            </p:nvSpPr>
            <p:spPr bwMode="auto">
              <a:xfrm>
                <a:off x="5900397" y="2835506"/>
                <a:ext cx="7900" cy="8113"/>
              </a:xfrm>
              <a:custGeom>
                <a:avLst/>
                <a:gdLst/>
                <a:ahLst/>
                <a:cxnLst>
                  <a:cxn ang="0">
                    <a:pos x="9" y="0"/>
                  </a:cxn>
                  <a:cxn ang="0">
                    <a:pos x="7" y="0"/>
                  </a:cxn>
                  <a:cxn ang="0">
                    <a:pos x="3" y="3"/>
                  </a:cxn>
                  <a:cxn ang="0">
                    <a:pos x="0" y="4"/>
                  </a:cxn>
                  <a:cxn ang="0">
                    <a:pos x="0" y="7"/>
                  </a:cxn>
                  <a:cxn ang="0">
                    <a:pos x="3" y="8"/>
                  </a:cxn>
                  <a:cxn ang="0">
                    <a:pos x="4" y="8"/>
                  </a:cxn>
                  <a:cxn ang="0">
                    <a:pos x="6" y="4"/>
                  </a:cxn>
                  <a:cxn ang="0">
                    <a:pos x="9" y="3"/>
                  </a:cxn>
                  <a:cxn ang="0">
                    <a:pos x="9" y="1"/>
                  </a:cxn>
                  <a:cxn ang="0">
                    <a:pos x="9" y="0"/>
                  </a:cxn>
                  <a:cxn ang="0">
                    <a:pos x="9" y="0"/>
                  </a:cxn>
                </a:cxnLst>
                <a:rect l="0" t="0" r="r" b="b"/>
                <a:pathLst>
                  <a:path w="9" h="8">
                    <a:moveTo>
                      <a:pt x="9" y="0"/>
                    </a:moveTo>
                    <a:lnTo>
                      <a:pt x="7" y="0"/>
                    </a:lnTo>
                    <a:lnTo>
                      <a:pt x="3" y="3"/>
                    </a:lnTo>
                    <a:lnTo>
                      <a:pt x="0" y="4"/>
                    </a:lnTo>
                    <a:lnTo>
                      <a:pt x="0" y="7"/>
                    </a:lnTo>
                    <a:lnTo>
                      <a:pt x="3" y="8"/>
                    </a:lnTo>
                    <a:lnTo>
                      <a:pt x="4" y="8"/>
                    </a:lnTo>
                    <a:lnTo>
                      <a:pt x="6" y="4"/>
                    </a:lnTo>
                    <a:lnTo>
                      <a:pt x="9" y="3"/>
                    </a:lnTo>
                    <a:lnTo>
                      <a:pt x="9" y="1"/>
                    </a:lnTo>
                    <a:lnTo>
                      <a:pt x="9" y="0"/>
                    </a:lnTo>
                    <a:lnTo>
                      <a:pt x="9"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18" name="Freeform 1055"/>
              <p:cNvSpPr>
                <a:spLocks/>
              </p:cNvSpPr>
              <p:nvPr/>
            </p:nvSpPr>
            <p:spPr bwMode="auto">
              <a:xfrm>
                <a:off x="5900397" y="2835506"/>
                <a:ext cx="7900" cy="8113"/>
              </a:xfrm>
              <a:custGeom>
                <a:avLst/>
                <a:gdLst/>
                <a:ahLst/>
                <a:cxnLst>
                  <a:cxn ang="0">
                    <a:pos x="9" y="0"/>
                  </a:cxn>
                  <a:cxn ang="0">
                    <a:pos x="7" y="0"/>
                  </a:cxn>
                  <a:cxn ang="0">
                    <a:pos x="3" y="3"/>
                  </a:cxn>
                  <a:cxn ang="0">
                    <a:pos x="0" y="4"/>
                  </a:cxn>
                  <a:cxn ang="0">
                    <a:pos x="0" y="7"/>
                  </a:cxn>
                  <a:cxn ang="0">
                    <a:pos x="3" y="8"/>
                  </a:cxn>
                  <a:cxn ang="0">
                    <a:pos x="4" y="8"/>
                  </a:cxn>
                  <a:cxn ang="0">
                    <a:pos x="6" y="4"/>
                  </a:cxn>
                  <a:cxn ang="0">
                    <a:pos x="9" y="3"/>
                  </a:cxn>
                  <a:cxn ang="0">
                    <a:pos x="9" y="1"/>
                  </a:cxn>
                  <a:cxn ang="0">
                    <a:pos x="9" y="0"/>
                  </a:cxn>
                  <a:cxn ang="0">
                    <a:pos x="9" y="0"/>
                  </a:cxn>
                </a:cxnLst>
                <a:rect l="0" t="0" r="r" b="b"/>
                <a:pathLst>
                  <a:path w="9" h="8">
                    <a:moveTo>
                      <a:pt x="9" y="0"/>
                    </a:moveTo>
                    <a:lnTo>
                      <a:pt x="7" y="0"/>
                    </a:lnTo>
                    <a:lnTo>
                      <a:pt x="3" y="3"/>
                    </a:lnTo>
                    <a:lnTo>
                      <a:pt x="0" y="4"/>
                    </a:lnTo>
                    <a:lnTo>
                      <a:pt x="0" y="7"/>
                    </a:lnTo>
                    <a:lnTo>
                      <a:pt x="3" y="8"/>
                    </a:lnTo>
                    <a:lnTo>
                      <a:pt x="4" y="8"/>
                    </a:lnTo>
                    <a:lnTo>
                      <a:pt x="6" y="4"/>
                    </a:lnTo>
                    <a:lnTo>
                      <a:pt x="9" y="3"/>
                    </a:lnTo>
                    <a:lnTo>
                      <a:pt x="9" y="1"/>
                    </a:lnTo>
                    <a:lnTo>
                      <a:pt x="9" y="0"/>
                    </a:lnTo>
                    <a:lnTo>
                      <a:pt x="9"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19" name="Freeform 1056"/>
              <p:cNvSpPr>
                <a:spLocks/>
              </p:cNvSpPr>
              <p:nvPr/>
            </p:nvSpPr>
            <p:spPr bwMode="auto">
              <a:xfrm>
                <a:off x="5914442" y="2842605"/>
                <a:ext cx="4389" cy="6085"/>
              </a:xfrm>
              <a:custGeom>
                <a:avLst/>
                <a:gdLst/>
                <a:ahLst/>
                <a:cxnLst>
                  <a:cxn ang="0">
                    <a:pos x="1" y="0"/>
                  </a:cxn>
                  <a:cxn ang="0">
                    <a:pos x="0" y="3"/>
                  </a:cxn>
                  <a:cxn ang="0">
                    <a:pos x="0" y="6"/>
                  </a:cxn>
                  <a:cxn ang="0">
                    <a:pos x="1" y="6"/>
                  </a:cxn>
                  <a:cxn ang="0">
                    <a:pos x="2" y="6"/>
                  </a:cxn>
                  <a:cxn ang="0">
                    <a:pos x="4" y="6"/>
                  </a:cxn>
                  <a:cxn ang="0">
                    <a:pos x="5" y="4"/>
                  </a:cxn>
                  <a:cxn ang="0">
                    <a:pos x="5" y="4"/>
                  </a:cxn>
                  <a:cxn ang="0">
                    <a:pos x="5" y="1"/>
                  </a:cxn>
                  <a:cxn ang="0">
                    <a:pos x="5" y="0"/>
                  </a:cxn>
                  <a:cxn ang="0">
                    <a:pos x="1" y="0"/>
                  </a:cxn>
                </a:cxnLst>
                <a:rect l="0" t="0" r="r" b="b"/>
                <a:pathLst>
                  <a:path w="5" h="6">
                    <a:moveTo>
                      <a:pt x="1" y="0"/>
                    </a:moveTo>
                    <a:lnTo>
                      <a:pt x="0" y="3"/>
                    </a:lnTo>
                    <a:lnTo>
                      <a:pt x="0" y="6"/>
                    </a:lnTo>
                    <a:lnTo>
                      <a:pt x="1" y="6"/>
                    </a:lnTo>
                    <a:lnTo>
                      <a:pt x="2" y="6"/>
                    </a:lnTo>
                    <a:lnTo>
                      <a:pt x="4" y="6"/>
                    </a:lnTo>
                    <a:lnTo>
                      <a:pt x="5" y="4"/>
                    </a:lnTo>
                    <a:lnTo>
                      <a:pt x="5" y="4"/>
                    </a:lnTo>
                    <a:lnTo>
                      <a:pt x="5" y="1"/>
                    </a:lnTo>
                    <a:lnTo>
                      <a:pt x="5" y="0"/>
                    </a:lnTo>
                    <a:lnTo>
                      <a:pt x="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20" name="Freeform 1057"/>
              <p:cNvSpPr>
                <a:spLocks/>
              </p:cNvSpPr>
              <p:nvPr/>
            </p:nvSpPr>
            <p:spPr bwMode="auto">
              <a:xfrm>
                <a:off x="5914442" y="2842605"/>
                <a:ext cx="4389" cy="6085"/>
              </a:xfrm>
              <a:custGeom>
                <a:avLst/>
                <a:gdLst/>
                <a:ahLst/>
                <a:cxnLst>
                  <a:cxn ang="0">
                    <a:pos x="1" y="0"/>
                  </a:cxn>
                  <a:cxn ang="0">
                    <a:pos x="0" y="3"/>
                  </a:cxn>
                  <a:cxn ang="0">
                    <a:pos x="0" y="6"/>
                  </a:cxn>
                  <a:cxn ang="0">
                    <a:pos x="1" y="6"/>
                  </a:cxn>
                  <a:cxn ang="0">
                    <a:pos x="2" y="6"/>
                  </a:cxn>
                  <a:cxn ang="0">
                    <a:pos x="4" y="6"/>
                  </a:cxn>
                  <a:cxn ang="0">
                    <a:pos x="5" y="4"/>
                  </a:cxn>
                  <a:cxn ang="0">
                    <a:pos x="5" y="4"/>
                  </a:cxn>
                  <a:cxn ang="0">
                    <a:pos x="5" y="1"/>
                  </a:cxn>
                  <a:cxn ang="0">
                    <a:pos x="5" y="0"/>
                  </a:cxn>
                  <a:cxn ang="0">
                    <a:pos x="1" y="0"/>
                  </a:cxn>
                </a:cxnLst>
                <a:rect l="0" t="0" r="r" b="b"/>
                <a:pathLst>
                  <a:path w="5" h="6">
                    <a:moveTo>
                      <a:pt x="1" y="0"/>
                    </a:moveTo>
                    <a:lnTo>
                      <a:pt x="0" y="3"/>
                    </a:lnTo>
                    <a:lnTo>
                      <a:pt x="0" y="6"/>
                    </a:lnTo>
                    <a:lnTo>
                      <a:pt x="1" y="6"/>
                    </a:lnTo>
                    <a:lnTo>
                      <a:pt x="2" y="6"/>
                    </a:lnTo>
                    <a:lnTo>
                      <a:pt x="4" y="6"/>
                    </a:lnTo>
                    <a:lnTo>
                      <a:pt x="5" y="4"/>
                    </a:lnTo>
                    <a:lnTo>
                      <a:pt x="5" y="4"/>
                    </a:lnTo>
                    <a:lnTo>
                      <a:pt x="5" y="1"/>
                    </a:lnTo>
                    <a:lnTo>
                      <a:pt x="5" y="0"/>
                    </a:lnTo>
                    <a:lnTo>
                      <a:pt x="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21" name="Freeform 1058"/>
              <p:cNvSpPr>
                <a:spLocks/>
              </p:cNvSpPr>
              <p:nvPr/>
            </p:nvSpPr>
            <p:spPr bwMode="auto">
              <a:xfrm>
                <a:off x="5931998" y="2832464"/>
                <a:ext cx="7022" cy="11155"/>
              </a:xfrm>
              <a:custGeom>
                <a:avLst/>
                <a:gdLst/>
                <a:ahLst/>
                <a:cxnLst>
                  <a:cxn ang="0">
                    <a:pos x="7" y="1"/>
                  </a:cxn>
                  <a:cxn ang="0">
                    <a:pos x="7" y="0"/>
                  </a:cxn>
                  <a:cxn ang="0">
                    <a:pos x="6" y="1"/>
                  </a:cxn>
                  <a:cxn ang="0">
                    <a:pos x="1" y="8"/>
                  </a:cxn>
                  <a:cxn ang="0">
                    <a:pos x="1" y="10"/>
                  </a:cxn>
                  <a:cxn ang="0">
                    <a:pos x="0" y="11"/>
                  </a:cxn>
                  <a:cxn ang="0">
                    <a:pos x="4" y="8"/>
                  </a:cxn>
                  <a:cxn ang="0">
                    <a:pos x="6" y="7"/>
                  </a:cxn>
                  <a:cxn ang="0">
                    <a:pos x="7" y="4"/>
                  </a:cxn>
                  <a:cxn ang="0">
                    <a:pos x="7" y="1"/>
                  </a:cxn>
                </a:cxnLst>
                <a:rect l="0" t="0" r="r" b="b"/>
                <a:pathLst>
                  <a:path w="7" h="11">
                    <a:moveTo>
                      <a:pt x="7" y="1"/>
                    </a:moveTo>
                    <a:lnTo>
                      <a:pt x="7" y="0"/>
                    </a:lnTo>
                    <a:lnTo>
                      <a:pt x="6" y="1"/>
                    </a:lnTo>
                    <a:lnTo>
                      <a:pt x="1" y="8"/>
                    </a:lnTo>
                    <a:lnTo>
                      <a:pt x="1" y="10"/>
                    </a:lnTo>
                    <a:lnTo>
                      <a:pt x="0" y="11"/>
                    </a:lnTo>
                    <a:lnTo>
                      <a:pt x="4" y="8"/>
                    </a:lnTo>
                    <a:lnTo>
                      <a:pt x="6" y="7"/>
                    </a:lnTo>
                    <a:lnTo>
                      <a:pt x="7" y="4"/>
                    </a:lnTo>
                    <a:lnTo>
                      <a:pt x="7"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22" name="Freeform 1059"/>
              <p:cNvSpPr>
                <a:spLocks/>
              </p:cNvSpPr>
              <p:nvPr/>
            </p:nvSpPr>
            <p:spPr bwMode="auto">
              <a:xfrm>
                <a:off x="5931998" y="2832464"/>
                <a:ext cx="7022" cy="11155"/>
              </a:xfrm>
              <a:custGeom>
                <a:avLst/>
                <a:gdLst/>
                <a:ahLst/>
                <a:cxnLst>
                  <a:cxn ang="0">
                    <a:pos x="7" y="1"/>
                  </a:cxn>
                  <a:cxn ang="0">
                    <a:pos x="7" y="0"/>
                  </a:cxn>
                  <a:cxn ang="0">
                    <a:pos x="6" y="1"/>
                  </a:cxn>
                  <a:cxn ang="0">
                    <a:pos x="1" y="8"/>
                  </a:cxn>
                  <a:cxn ang="0">
                    <a:pos x="1" y="10"/>
                  </a:cxn>
                  <a:cxn ang="0">
                    <a:pos x="0" y="11"/>
                  </a:cxn>
                  <a:cxn ang="0">
                    <a:pos x="4" y="8"/>
                  </a:cxn>
                  <a:cxn ang="0">
                    <a:pos x="6" y="7"/>
                  </a:cxn>
                  <a:cxn ang="0">
                    <a:pos x="7" y="4"/>
                  </a:cxn>
                  <a:cxn ang="0">
                    <a:pos x="7" y="1"/>
                  </a:cxn>
                </a:cxnLst>
                <a:rect l="0" t="0" r="r" b="b"/>
                <a:pathLst>
                  <a:path w="7" h="11">
                    <a:moveTo>
                      <a:pt x="7" y="1"/>
                    </a:moveTo>
                    <a:lnTo>
                      <a:pt x="7" y="0"/>
                    </a:lnTo>
                    <a:lnTo>
                      <a:pt x="6" y="1"/>
                    </a:lnTo>
                    <a:lnTo>
                      <a:pt x="1" y="8"/>
                    </a:lnTo>
                    <a:lnTo>
                      <a:pt x="1" y="10"/>
                    </a:lnTo>
                    <a:lnTo>
                      <a:pt x="0" y="11"/>
                    </a:lnTo>
                    <a:lnTo>
                      <a:pt x="4" y="8"/>
                    </a:lnTo>
                    <a:lnTo>
                      <a:pt x="6" y="7"/>
                    </a:lnTo>
                    <a:lnTo>
                      <a:pt x="7" y="4"/>
                    </a:lnTo>
                    <a:lnTo>
                      <a:pt x="7"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23" name="Freeform 1060"/>
              <p:cNvSpPr>
                <a:spLocks/>
              </p:cNvSpPr>
              <p:nvPr/>
            </p:nvSpPr>
            <p:spPr bwMode="auto">
              <a:xfrm>
                <a:off x="5939020" y="2824350"/>
                <a:ext cx="5267" cy="6085"/>
              </a:xfrm>
              <a:custGeom>
                <a:avLst/>
                <a:gdLst/>
                <a:ahLst/>
                <a:cxnLst>
                  <a:cxn ang="0">
                    <a:pos x="6" y="0"/>
                  </a:cxn>
                  <a:cxn ang="0">
                    <a:pos x="5" y="0"/>
                  </a:cxn>
                  <a:cxn ang="0">
                    <a:pos x="5" y="2"/>
                  </a:cxn>
                  <a:cxn ang="0">
                    <a:pos x="2" y="3"/>
                  </a:cxn>
                  <a:cxn ang="0">
                    <a:pos x="0" y="5"/>
                  </a:cxn>
                  <a:cxn ang="0">
                    <a:pos x="0" y="6"/>
                  </a:cxn>
                  <a:cxn ang="0">
                    <a:pos x="3" y="5"/>
                  </a:cxn>
                  <a:cxn ang="0">
                    <a:pos x="5" y="5"/>
                  </a:cxn>
                  <a:cxn ang="0">
                    <a:pos x="6" y="0"/>
                  </a:cxn>
                </a:cxnLst>
                <a:rect l="0" t="0" r="r" b="b"/>
                <a:pathLst>
                  <a:path w="6" h="6">
                    <a:moveTo>
                      <a:pt x="6" y="0"/>
                    </a:moveTo>
                    <a:lnTo>
                      <a:pt x="5" y="0"/>
                    </a:lnTo>
                    <a:lnTo>
                      <a:pt x="5" y="2"/>
                    </a:lnTo>
                    <a:lnTo>
                      <a:pt x="2" y="3"/>
                    </a:lnTo>
                    <a:lnTo>
                      <a:pt x="0" y="5"/>
                    </a:lnTo>
                    <a:lnTo>
                      <a:pt x="0" y="6"/>
                    </a:lnTo>
                    <a:lnTo>
                      <a:pt x="3" y="5"/>
                    </a:lnTo>
                    <a:lnTo>
                      <a:pt x="5" y="5"/>
                    </a:lnTo>
                    <a:lnTo>
                      <a:pt x="6"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24" name="Freeform 1061"/>
              <p:cNvSpPr>
                <a:spLocks/>
              </p:cNvSpPr>
              <p:nvPr/>
            </p:nvSpPr>
            <p:spPr bwMode="auto">
              <a:xfrm>
                <a:off x="5939020" y="2824350"/>
                <a:ext cx="5267" cy="6085"/>
              </a:xfrm>
              <a:custGeom>
                <a:avLst/>
                <a:gdLst/>
                <a:ahLst/>
                <a:cxnLst>
                  <a:cxn ang="0">
                    <a:pos x="6" y="0"/>
                  </a:cxn>
                  <a:cxn ang="0">
                    <a:pos x="5" y="0"/>
                  </a:cxn>
                  <a:cxn ang="0">
                    <a:pos x="5" y="2"/>
                  </a:cxn>
                  <a:cxn ang="0">
                    <a:pos x="2" y="3"/>
                  </a:cxn>
                  <a:cxn ang="0">
                    <a:pos x="0" y="5"/>
                  </a:cxn>
                  <a:cxn ang="0">
                    <a:pos x="0" y="6"/>
                  </a:cxn>
                  <a:cxn ang="0">
                    <a:pos x="3" y="5"/>
                  </a:cxn>
                  <a:cxn ang="0">
                    <a:pos x="5" y="5"/>
                  </a:cxn>
                  <a:cxn ang="0">
                    <a:pos x="6" y="0"/>
                  </a:cxn>
                </a:cxnLst>
                <a:rect l="0" t="0" r="r" b="b"/>
                <a:pathLst>
                  <a:path w="6" h="6">
                    <a:moveTo>
                      <a:pt x="6" y="0"/>
                    </a:moveTo>
                    <a:lnTo>
                      <a:pt x="5" y="0"/>
                    </a:lnTo>
                    <a:lnTo>
                      <a:pt x="5" y="2"/>
                    </a:lnTo>
                    <a:lnTo>
                      <a:pt x="2" y="3"/>
                    </a:lnTo>
                    <a:lnTo>
                      <a:pt x="0" y="5"/>
                    </a:lnTo>
                    <a:lnTo>
                      <a:pt x="0" y="6"/>
                    </a:lnTo>
                    <a:lnTo>
                      <a:pt x="3" y="5"/>
                    </a:lnTo>
                    <a:lnTo>
                      <a:pt x="5" y="5"/>
                    </a:lnTo>
                    <a:lnTo>
                      <a:pt x="6"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25" name="Freeform 1062"/>
              <p:cNvSpPr>
                <a:spLocks/>
              </p:cNvSpPr>
              <p:nvPr/>
            </p:nvSpPr>
            <p:spPr bwMode="auto">
              <a:xfrm>
                <a:off x="6212894" y="3250286"/>
                <a:ext cx="1756" cy="3042"/>
              </a:xfrm>
              <a:custGeom>
                <a:avLst/>
                <a:gdLst/>
                <a:ahLst/>
                <a:cxnLst>
                  <a:cxn ang="0">
                    <a:pos x="2" y="0"/>
                  </a:cxn>
                  <a:cxn ang="0">
                    <a:pos x="2" y="0"/>
                  </a:cxn>
                  <a:cxn ang="0">
                    <a:pos x="2" y="0"/>
                  </a:cxn>
                  <a:cxn ang="0">
                    <a:pos x="2" y="1"/>
                  </a:cxn>
                  <a:cxn ang="0">
                    <a:pos x="0" y="3"/>
                  </a:cxn>
                  <a:cxn ang="0">
                    <a:pos x="0" y="0"/>
                  </a:cxn>
                  <a:cxn ang="0">
                    <a:pos x="0" y="0"/>
                  </a:cxn>
                  <a:cxn ang="0">
                    <a:pos x="2" y="0"/>
                  </a:cxn>
                </a:cxnLst>
                <a:rect l="0" t="0" r="r" b="b"/>
                <a:pathLst>
                  <a:path w="2" h="3">
                    <a:moveTo>
                      <a:pt x="2" y="0"/>
                    </a:moveTo>
                    <a:lnTo>
                      <a:pt x="2" y="0"/>
                    </a:lnTo>
                    <a:lnTo>
                      <a:pt x="2" y="0"/>
                    </a:lnTo>
                    <a:lnTo>
                      <a:pt x="2" y="1"/>
                    </a:lnTo>
                    <a:lnTo>
                      <a:pt x="0" y="3"/>
                    </a:lnTo>
                    <a:lnTo>
                      <a:pt x="0" y="0"/>
                    </a:lnTo>
                    <a:lnTo>
                      <a:pt x="0" y="0"/>
                    </a:lnTo>
                    <a:lnTo>
                      <a:pt x="2"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26" name="Freeform 1063"/>
              <p:cNvSpPr>
                <a:spLocks/>
              </p:cNvSpPr>
              <p:nvPr/>
            </p:nvSpPr>
            <p:spPr bwMode="auto">
              <a:xfrm>
                <a:off x="6212894" y="3250286"/>
                <a:ext cx="1756" cy="3042"/>
              </a:xfrm>
              <a:custGeom>
                <a:avLst/>
                <a:gdLst/>
                <a:ahLst/>
                <a:cxnLst>
                  <a:cxn ang="0">
                    <a:pos x="2" y="0"/>
                  </a:cxn>
                  <a:cxn ang="0">
                    <a:pos x="2" y="0"/>
                  </a:cxn>
                  <a:cxn ang="0">
                    <a:pos x="2" y="0"/>
                  </a:cxn>
                  <a:cxn ang="0">
                    <a:pos x="2" y="1"/>
                  </a:cxn>
                  <a:cxn ang="0">
                    <a:pos x="0" y="3"/>
                  </a:cxn>
                  <a:cxn ang="0">
                    <a:pos x="0" y="0"/>
                  </a:cxn>
                  <a:cxn ang="0">
                    <a:pos x="0" y="0"/>
                  </a:cxn>
                  <a:cxn ang="0">
                    <a:pos x="2" y="0"/>
                  </a:cxn>
                </a:cxnLst>
                <a:rect l="0" t="0" r="r" b="b"/>
                <a:pathLst>
                  <a:path w="2" h="3">
                    <a:moveTo>
                      <a:pt x="2" y="0"/>
                    </a:moveTo>
                    <a:lnTo>
                      <a:pt x="2" y="0"/>
                    </a:lnTo>
                    <a:lnTo>
                      <a:pt x="2" y="0"/>
                    </a:lnTo>
                    <a:lnTo>
                      <a:pt x="2" y="1"/>
                    </a:lnTo>
                    <a:lnTo>
                      <a:pt x="0" y="3"/>
                    </a:lnTo>
                    <a:lnTo>
                      <a:pt x="0" y="0"/>
                    </a:lnTo>
                    <a:lnTo>
                      <a:pt x="0" y="0"/>
                    </a:lnTo>
                    <a:lnTo>
                      <a:pt x="2"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27" name="Freeform 1064"/>
              <p:cNvSpPr>
                <a:spLocks/>
              </p:cNvSpPr>
              <p:nvPr/>
            </p:nvSpPr>
            <p:spPr bwMode="auto">
              <a:xfrm>
                <a:off x="6203238" y="3267526"/>
                <a:ext cx="3511" cy="5071"/>
              </a:xfrm>
              <a:custGeom>
                <a:avLst/>
                <a:gdLst/>
                <a:ahLst/>
                <a:cxnLst>
                  <a:cxn ang="0">
                    <a:pos x="3" y="0"/>
                  </a:cxn>
                  <a:cxn ang="0">
                    <a:pos x="4" y="0"/>
                  </a:cxn>
                  <a:cxn ang="0">
                    <a:pos x="4" y="0"/>
                  </a:cxn>
                  <a:cxn ang="0">
                    <a:pos x="4" y="3"/>
                  </a:cxn>
                  <a:cxn ang="0">
                    <a:pos x="3" y="5"/>
                  </a:cxn>
                  <a:cxn ang="0">
                    <a:pos x="1" y="5"/>
                  </a:cxn>
                  <a:cxn ang="0">
                    <a:pos x="0" y="5"/>
                  </a:cxn>
                  <a:cxn ang="0">
                    <a:pos x="0" y="3"/>
                  </a:cxn>
                  <a:cxn ang="0">
                    <a:pos x="0" y="2"/>
                  </a:cxn>
                  <a:cxn ang="0">
                    <a:pos x="1" y="0"/>
                  </a:cxn>
                  <a:cxn ang="0">
                    <a:pos x="3" y="0"/>
                  </a:cxn>
                </a:cxnLst>
                <a:rect l="0" t="0" r="r" b="b"/>
                <a:pathLst>
                  <a:path w="4" h="5">
                    <a:moveTo>
                      <a:pt x="3" y="0"/>
                    </a:moveTo>
                    <a:lnTo>
                      <a:pt x="4" y="0"/>
                    </a:lnTo>
                    <a:lnTo>
                      <a:pt x="4" y="0"/>
                    </a:lnTo>
                    <a:lnTo>
                      <a:pt x="4" y="3"/>
                    </a:lnTo>
                    <a:lnTo>
                      <a:pt x="3" y="5"/>
                    </a:lnTo>
                    <a:lnTo>
                      <a:pt x="1" y="5"/>
                    </a:lnTo>
                    <a:lnTo>
                      <a:pt x="0" y="5"/>
                    </a:lnTo>
                    <a:lnTo>
                      <a:pt x="0" y="3"/>
                    </a:lnTo>
                    <a:lnTo>
                      <a:pt x="0" y="2"/>
                    </a:lnTo>
                    <a:lnTo>
                      <a:pt x="1" y="0"/>
                    </a:lnTo>
                    <a:lnTo>
                      <a:pt x="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28" name="Freeform 1065"/>
              <p:cNvSpPr>
                <a:spLocks/>
              </p:cNvSpPr>
              <p:nvPr/>
            </p:nvSpPr>
            <p:spPr bwMode="auto">
              <a:xfrm>
                <a:off x="6203238" y="3267526"/>
                <a:ext cx="3511" cy="5071"/>
              </a:xfrm>
              <a:custGeom>
                <a:avLst/>
                <a:gdLst/>
                <a:ahLst/>
                <a:cxnLst>
                  <a:cxn ang="0">
                    <a:pos x="3" y="0"/>
                  </a:cxn>
                  <a:cxn ang="0">
                    <a:pos x="4" y="0"/>
                  </a:cxn>
                  <a:cxn ang="0">
                    <a:pos x="4" y="0"/>
                  </a:cxn>
                  <a:cxn ang="0">
                    <a:pos x="4" y="3"/>
                  </a:cxn>
                  <a:cxn ang="0">
                    <a:pos x="3" y="5"/>
                  </a:cxn>
                  <a:cxn ang="0">
                    <a:pos x="1" y="5"/>
                  </a:cxn>
                  <a:cxn ang="0">
                    <a:pos x="0" y="5"/>
                  </a:cxn>
                  <a:cxn ang="0">
                    <a:pos x="0" y="3"/>
                  </a:cxn>
                  <a:cxn ang="0">
                    <a:pos x="0" y="2"/>
                  </a:cxn>
                  <a:cxn ang="0">
                    <a:pos x="1" y="0"/>
                  </a:cxn>
                  <a:cxn ang="0">
                    <a:pos x="3" y="0"/>
                  </a:cxn>
                </a:cxnLst>
                <a:rect l="0" t="0" r="r" b="b"/>
                <a:pathLst>
                  <a:path w="4" h="5">
                    <a:moveTo>
                      <a:pt x="3" y="0"/>
                    </a:moveTo>
                    <a:lnTo>
                      <a:pt x="4" y="0"/>
                    </a:lnTo>
                    <a:lnTo>
                      <a:pt x="4" y="0"/>
                    </a:lnTo>
                    <a:lnTo>
                      <a:pt x="4" y="3"/>
                    </a:lnTo>
                    <a:lnTo>
                      <a:pt x="3" y="5"/>
                    </a:lnTo>
                    <a:lnTo>
                      <a:pt x="1" y="5"/>
                    </a:lnTo>
                    <a:lnTo>
                      <a:pt x="0" y="5"/>
                    </a:lnTo>
                    <a:lnTo>
                      <a:pt x="0" y="3"/>
                    </a:lnTo>
                    <a:lnTo>
                      <a:pt x="0" y="2"/>
                    </a:lnTo>
                    <a:lnTo>
                      <a:pt x="1" y="0"/>
                    </a:lnTo>
                    <a:lnTo>
                      <a:pt x="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29" name="Freeform 1066"/>
              <p:cNvSpPr>
                <a:spLocks/>
              </p:cNvSpPr>
              <p:nvPr/>
            </p:nvSpPr>
            <p:spPr bwMode="auto">
              <a:xfrm>
                <a:off x="7079283" y="2338581"/>
                <a:ext cx="799677" cy="630790"/>
              </a:xfrm>
              <a:custGeom>
                <a:avLst/>
                <a:gdLst/>
                <a:ahLst/>
                <a:cxnLst>
                  <a:cxn ang="0">
                    <a:pos x="574" y="571"/>
                  </a:cxn>
                  <a:cxn ang="0">
                    <a:pos x="554" y="583"/>
                  </a:cxn>
                  <a:cxn ang="0">
                    <a:pos x="523" y="602"/>
                  </a:cxn>
                  <a:cxn ang="0">
                    <a:pos x="496" y="586"/>
                  </a:cxn>
                  <a:cxn ang="0">
                    <a:pos x="461" y="567"/>
                  </a:cxn>
                  <a:cxn ang="0">
                    <a:pos x="417" y="571"/>
                  </a:cxn>
                  <a:cxn ang="0">
                    <a:pos x="400" y="590"/>
                  </a:cxn>
                  <a:cxn ang="0">
                    <a:pos x="359" y="551"/>
                  </a:cxn>
                  <a:cxn ang="0">
                    <a:pos x="355" y="494"/>
                  </a:cxn>
                  <a:cxn ang="0">
                    <a:pos x="323" y="478"/>
                  </a:cxn>
                  <a:cxn ang="0">
                    <a:pos x="291" y="471"/>
                  </a:cxn>
                  <a:cxn ang="0">
                    <a:pos x="239" y="484"/>
                  </a:cxn>
                  <a:cxn ang="0">
                    <a:pos x="215" y="490"/>
                  </a:cxn>
                  <a:cxn ang="0">
                    <a:pos x="195" y="490"/>
                  </a:cxn>
                  <a:cxn ang="0">
                    <a:pos x="173" y="485"/>
                  </a:cxn>
                  <a:cxn ang="0">
                    <a:pos x="154" y="475"/>
                  </a:cxn>
                  <a:cxn ang="0">
                    <a:pos x="146" y="466"/>
                  </a:cxn>
                  <a:cxn ang="0">
                    <a:pos x="109" y="449"/>
                  </a:cxn>
                  <a:cxn ang="0">
                    <a:pos x="95" y="443"/>
                  </a:cxn>
                  <a:cxn ang="0">
                    <a:pos x="79" y="437"/>
                  </a:cxn>
                  <a:cxn ang="0">
                    <a:pos x="73" y="421"/>
                  </a:cxn>
                  <a:cxn ang="0">
                    <a:pos x="77" y="414"/>
                  </a:cxn>
                  <a:cxn ang="0">
                    <a:pos x="82" y="401"/>
                  </a:cxn>
                  <a:cxn ang="0">
                    <a:pos x="77" y="387"/>
                  </a:cxn>
                  <a:cxn ang="0">
                    <a:pos x="92" y="372"/>
                  </a:cxn>
                  <a:cxn ang="0">
                    <a:pos x="89" y="359"/>
                  </a:cxn>
                  <a:cxn ang="0">
                    <a:pos x="79" y="353"/>
                  </a:cxn>
                  <a:cxn ang="0">
                    <a:pos x="43" y="356"/>
                  </a:cxn>
                  <a:cxn ang="0">
                    <a:pos x="34" y="349"/>
                  </a:cxn>
                  <a:cxn ang="0">
                    <a:pos x="21" y="334"/>
                  </a:cxn>
                  <a:cxn ang="0">
                    <a:pos x="19" y="330"/>
                  </a:cxn>
                  <a:cxn ang="0">
                    <a:pos x="15" y="275"/>
                  </a:cxn>
                  <a:cxn ang="0">
                    <a:pos x="72" y="251"/>
                  </a:cxn>
                  <a:cxn ang="0">
                    <a:pos x="122" y="170"/>
                  </a:cxn>
                  <a:cxn ang="0">
                    <a:pos x="188" y="108"/>
                  </a:cxn>
                  <a:cxn ang="0">
                    <a:pos x="234" y="126"/>
                  </a:cxn>
                  <a:cxn ang="0">
                    <a:pos x="397" y="230"/>
                  </a:cxn>
                  <a:cxn ang="0">
                    <a:pos x="496" y="233"/>
                  </a:cxn>
                  <a:cxn ang="0">
                    <a:pos x="558" y="187"/>
                  </a:cxn>
                  <a:cxn ang="0">
                    <a:pos x="647" y="134"/>
                  </a:cxn>
                  <a:cxn ang="0">
                    <a:pos x="629" y="87"/>
                  </a:cxn>
                  <a:cxn ang="0">
                    <a:pos x="667" y="22"/>
                  </a:cxn>
                  <a:cxn ang="0">
                    <a:pos x="745" y="22"/>
                  </a:cxn>
                  <a:cxn ang="0">
                    <a:pos x="806" y="102"/>
                  </a:cxn>
                  <a:cxn ang="0">
                    <a:pos x="854" y="119"/>
                  </a:cxn>
                  <a:cxn ang="0">
                    <a:pos x="829" y="179"/>
                  </a:cxn>
                  <a:cxn ang="0">
                    <a:pos x="777" y="244"/>
                  </a:cxn>
                  <a:cxn ang="0">
                    <a:pos x="694" y="292"/>
                  </a:cxn>
                  <a:cxn ang="0">
                    <a:pos x="681" y="288"/>
                  </a:cxn>
                  <a:cxn ang="0">
                    <a:pos x="651" y="292"/>
                  </a:cxn>
                  <a:cxn ang="0">
                    <a:pos x="641" y="321"/>
                  </a:cxn>
                  <a:cxn ang="0">
                    <a:pos x="683" y="328"/>
                  </a:cxn>
                  <a:cxn ang="0">
                    <a:pos x="687" y="336"/>
                  </a:cxn>
                  <a:cxn ang="0">
                    <a:pos x="661" y="352"/>
                  </a:cxn>
                  <a:cxn ang="0">
                    <a:pos x="680" y="417"/>
                  </a:cxn>
                  <a:cxn ang="0">
                    <a:pos x="680" y="430"/>
                  </a:cxn>
                  <a:cxn ang="0">
                    <a:pos x="677" y="449"/>
                  </a:cxn>
                  <a:cxn ang="0">
                    <a:pos x="681" y="468"/>
                  </a:cxn>
                  <a:cxn ang="0">
                    <a:pos x="661" y="504"/>
                  </a:cxn>
                  <a:cxn ang="0">
                    <a:pos x="652" y="523"/>
                  </a:cxn>
                  <a:cxn ang="0">
                    <a:pos x="641" y="538"/>
                  </a:cxn>
                  <a:cxn ang="0">
                    <a:pos x="623" y="554"/>
                  </a:cxn>
                  <a:cxn ang="0">
                    <a:pos x="593" y="568"/>
                  </a:cxn>
                </a:cxnLst>
                <a:rect l="0" t="0" r="r" b="b"/>
                <a:pathLst>
                  <a:path w="872" h="606">
                    <a:moveTo>
                      <a:pt x="583" y="571"/>
                    </a:moveTo>
                    <a:lnTo>
                      <a:pt x="581" y="573"/>
                    </a:lnTo>
                    <a:lnTo>
                      <a:pt x="581" y="573"/>
                    </a:lnTo>
                    <a:lnTo>
                      <a:pt x="581" y="571"/>
                    </a:lnTo>
                    <a:lnTo>
                      <a:pt x="580" y="571"/>
                    </a:lnTo>
                    <a:lnTo>
                      <a:pt x="578" y="571"/>
                    </a:lnTo>
                    <a:lnTo>
                      <a:pt x="577" y="571"/>
                    </a:lnTo>
                    <a:lnTo>
                      <a:pt x="577" y="573"/>
                    </a:lnTo>
                    <a:lnTo>
                      <a:pt x="578" y="574"/>
                    </a:lnTo>
                    <a:lnTo>
                      <a:pt x="574" y="574"/>
                    </a:lnTo>
                    <a:lnTo>
                      <a:pt x="574" y="573"/>
                    </a:lnTo>
                    <a:lnTo>
                      <a:pt x="574" y="573"/>
                    </a:lnTo>
                    <a:lnTo>
                      <a:pt x="574" y="571"/>
                    </a:lnTo>
                    <a:lnTo>
                      <a:pt x="571" y="570"/>
                    </a:lnTo>
                    <a:lnTo>
                      <a:pt x="568" y="568"/>
                    </a:lnTo>
                    <a:lnTo>
                      <a:pt x="568" y="567"/>
                    </a:lnTo>
                    <a:lnTo>
                      <a:pt x="568" y="575"/>
                    </a:lnTo>
                    <a:lnTo>
                      <a:pt x="567" y="575"/>
                    </a:lnTo>
                    <a:lnTo>
                      <a:pt x="565" y="575"/>
                    </a:lnTo>
                    <a:lnTo>
                      <a:pt x="562" y="571"/>
                    </a:lnTo>
                    <a:lnTo>
                      <a:pt x="561" y="570"/>
                    </a:lnTo>
                    <a:lnTo>
                      <a:pt x="559" y="577"/>
                    </a:lnTo>
                    <a:lnTo>
                      <a:pt x="559" y="580"/>
                    </a:lnTo>
                    <a:lnTo>
                      <a:pt x="559" y="581"/>
                    </a:lnTo>
                    <a:lnTo>
                      <a:pt x="558" y="580"/>
                    </a:lnTo>
                    <a:lnTo>
                      <a:pt x="554" y="583"/>
                    </a:lnTo>
                    <a:lnTo>
                      <a:pt x="551" y="583"/>
                    </a:lnTo>
                    <a:lnTo>
                      <a:pt x="549" y="584"/>
                    </a:lnTo>
                    <a:lnTo>
                      <a:pt x="546" y="584"/>
                    </a:lnTo>
                    <a:lnTo>
                      <a:pt x="546" y="583"/>
                    </a:lnTo>
                    <a:lnTo>
                      <a:pt x="543" y="583"/>
                    </a:lnTo>
                    <a:lnTo>
                      <a:pt x="541" y="586"/>
                    </a:lnTo>
                    <a:lnTo>
                      <a:pt x="535" y="587"/>
                    </a:lnTo>
                    <a:lnTo>
                      <a:pt x="532" y="587"/>
                    </a:lnTo>
                    <a:lnTo>
                      <a:pt x="532" y="587"/>
                    </a:lnTo>
                    <a:lnTo>
                      <a:pt x="526" y="590"/>
                    </a:lnTo>
                    <a:lnTo>
                      <a:pt x="523" y="589"/>
                    </a:lnTo>
                    <a:lnTo>
                      <a:pt x="520" y="596"/>
                    </a:lnTo>
                    <a:lnTo>
                      <a:pt x="523" y="602"/>
                    </a:lnTo>
                    <a:lnTo>
                      <a:pt x="523" y="605"/>
                    </a:lnTo>
                    <a:lnTo>
                      <a:pt x="519" y="606"/>
                    </a:lnTo>
                    <a:lnTo>
                      <a:pt x="516" y="605"/>
                    </a:lnTo>
                    <a:lnTo>
                      <a:pt x="512" y="594"/>
                    </a:lnTo>
                    <a:lnTo>
                      <a:pt x="513" y="589"/>
                    </a:lnTo>
                    <a:lnTo>
                      <a:pt x="513" y="586"/>
                    </a:lnTo>
                    <a:lnTo>
                      <a:pt x="509" y="589"/>
                    </a:lnTo>
                    <a:lnTo>
                      <a:pt x="506" y="589"/>
                    </a:lnTo>
                    <a:lnTo>
                      <a:pt x="504" y="587"/>
                    </a:lnTo>
                    <a:lnTo>
                      <a:pt x="504" y="586"/>
                    </a:lnTo>
                    <a:lnTo>
                      <a:pt x="497" y="584"/>
                    </a:lnTo>
                    <a:lnTo>
                      <a:pt x="496" y="584"/>
                    </a:lnTo>
                    <a:lnTo>
                      <a:pt x="496" y="586"/>
                    </a:lnTo>
                    <a:lnTo>
                      <a:pt x="493" y="587"/>
                    </a:lnTo>
                    <a:lnTo>
                      <a:pt x="493" y="589"/>
                    </a:lnTo>
                    <a:lnTo>
                      <a:pt x="491" y="586"/>
                    </a:lnTo>
                    <a:lnTo>
                      <a:pt x="488" y="587"/>
                    </a:lnTo>
                    <a:lnTo>
                      <a:pt x="487" y="587"/>
                    </a:lnTo>
                    <a:lnTo>
                      <a:pt x="480" y="586"/>
                    </a:lnTo>
                    <a:lnTo>
                      <a:pt x="478" y="584"/>
                    </a:lnTo>
                    <a:lnTo>
                      <a:pt x="472" y="581"/>
                    </a:lnTo>
                    <a:lnTo>
                      <a:pt x="469" y="578"/>
                    </a:lnTo>
                    <a:lnTo>
                      <a:pt x="468" y="574"/>
                    </a:lnTo>
                    <a:lnTo>
                      <a:pt x="469" y="570"/>
                    </a:lnTo>
                    <a:lnTo>
                      <a:pt x="469" y="568"/>
                    </a:lnTo>
                    <a:lnTo>
                      <a:pt x="461" y="567"/>
                    </a:lnTo>
                    <a:lnTo>
                      <a:pt x="449" y="561"/>
                    </a:lnTo>
                    <a:lnTo>
                      <a:pt x="448" y="561"/>
                    </a:lnTo>
                    <a:lnTo>
                      <a:pt x="442" y="567"/>
                    </a:lnTo>
                    <a:lnTo>
                      <a:pt x="437" y="568"/>
                    </a:lnTo>
                    <a:lnTo>
                      <a:pt x="435" y="568"/>
                    </a:lnTo>
                    <a:lnTo>
                      <a:pt x="433" y="570"/>
                    </a:lnTo>
                    <a:lnTo>
                      <a:pt x="430" y="571"/>
                    </a:lnTo>
                    <a:lnTo>
                      <a:pt x="429" y="570"/>
                    </a:lnTo>
                    <a:lnTo>
                      <a:pt x="426" y="571"/>
                    </a:lnTo>
                    <a:lnTo>
                      <a:pt x="424" y="570"/>
                    </a:lnTo>
                    <a:lnTo>
                      <a:pt x="423" y="570"/>
                    </a:lnTo>
                    <a:lnTo>
                      <a:pt x="419" y="573"/>
                    </a:lnTo>
                    <a:lnTo>
                      <a:pt x="417" y="571"/>
                    </a:lnTo>
                    <a:lnTo>
                      <a:pt x="416" y="570"/>
                    </a:lnTo>
                    <a:lnTo>
                      <a:pt x="411" y="570"/>
                    </a:lnTo>
                    <a:lnTo>
                      <a:pt x="411" y="568"/>
                    </a:lnTo>
                    <a:lnTo>
                      <a:pt x="410" y="570"/>
                    </a:lnTo>
                    <a:lnTo>
                      <a:pt x="407" y="573"/>
                    </a:lnTo>
                    <a:lnTo>
                      <a:pt x="407" y="574"/>
                    </a:lnTo>
                    <a:lnTo>
                      <a:pt x="406" y="573"/>
                    </a:lnTo>
                    <a:lnTo>
                      <a:pt x="406" y="573"/>
                    </a:lnTo>
                    <a:lnTo>
                      <a:pt x="400" y="571"/>
                    </a:lnTo>
                    <a:lnTo>
                      <a:pt x="398" y="574"/>
                    </a:lnTo>
                    <a:lnTo>
                      <a:pt x="398" y="581"/>
                    </a:lnTo>
                    <a:lnTo>
                      <a:pt x="400" y="586"/>
                    </a:lnTo>
                    <a:lnTo>
                      <a:pt x="400" y="590"/>
                    </a:lnTo>
                    <a:lnTo>
                      <a:pt x="398" y="590"/>
                    </a:lnTo>
                    <a:lnTo>
                      <a:pt x="394" y="591"/>
                    </a:lnTo>
                    <a:lnTo>
                      <a:pt x="391" y="583"/>
                    </a:lnTo>
                    <a:lnTo>
                      <a:pt x="388" y="583"/>
                    </a:lnTo>
                    <a:lnTo>
                      <a:pt x="385" y="586"/>
                    </a:lnTo>
                    <a:lnTo>
                      <a:pt x="379" y="586"/>
                    </a:lnTo>
                    <a:lnTo>
                      <a:pt x="375" y="581"/>
                    </a:lnTo>
                    <a:lnTo>
                      <a:pt x="374" y="578"/>
                    </a:lnTo>
                    <a:lnTo>
                      <a:pt x="365" y="577"/>
                    </a:lnTo>
                    <a:lnTo>
                      <a:pt x="368" y="565"/>
                    </a:lnTo>
                    <a:lnTo>
                      <a:pt x="361" y="559"/>
                    </a:lnTo>
                    <a:lnTo>
                      <a:pt x="361" y="555"/>
                    </a:lnTo>
                    <a:lnTo>
                      <a:pt x="359" y="551"/>
                    </a:lnTo>
                    <a:lnTo>
                      <a:pt x="359" y="548"/>
                    </a:lnTo>
                    <a:lnTo>
                      <a:pt x="349" y="548"/>
                    </a:lnTo>
                    <a:lnTo>
                      <a:pt x="343" y="554"/>
                    </a:lnTo>
                    <a:lnTo>
                      <a:pt x="342" y="552"/>
                    </a:lnTo>
                    <a:lnTo>
                      <a:pt x="345" y="548"/>
                    </a:lnTo>
                    <a:lnTo>
                      <a:pt x="345" y="545"/>
                    </a:lnTo>
                    <a:lnTo>
                      <a:pt x="343" y="542"/>
                    </a:lnTo>
                    <a:lnTo>
                      <a:pt x="346" y="533"/>
                    </a:lnTo>
                    <a:lnTo>
                      <a:pt x="349" y="530"/>
                    </a:lnTo>
                    <a:lnTo>
                      <a:pt x="350" y="528"/>
                    </a:lnTo>
                    <a:lnTo>
                      <a:pt x="352" y="528"/>
                    </a:lnTo>
                    <a:lnTo>
                      <a:pt x="356" y="517"/>
                    </a:lnTo>
                    <a:lnTo>
                      <a:pt x="355" y="494"/>
                    </a:lnTo>
                    <a:lnTo>
                      <a:pt x="350" y="493"/>
                    </a:lnTo>
                    <a:lnTo>
                      <a:pt x="349" y="491"/>
                    </a:lnTo>
                    <a:lnTo>
                      <a:pt x="349" y="487"/>
                    </a:lnTo>
                    <a:lnTo>
                      <a:pt x="346" y="482"/>
                    </a:lnTo>
                    <a:lnTo>
                      <a:pt x="342" y="481"/>
                    </a:lnTo>
                    <a:lnTo>
                      <a:pt x="342" y="481"/>
                    </a:lnTo>
                    <a:lnTo>
                      <a:pt x="340" y="482"/>
                    </a:lnTo>
                    <a:lnTo>
                      <a:pt x="339" y="484"/>
                    </a:lnTo>
                    <a:lnTo>
                      <a:pt x="337" y="481"/>
                    </a:lnTo>
                    <a:lnTo>
                      <a:pt x="334" y="480"/>
                    </a:lnTo>
                    <a:lnTo>
                      <a:pt x="330" y="480"/>
                    </a:lnTo>
                    <a:lnTo>
                      <a:pt x="329" y="478"/>
                    </a:lnTo>
                    <a:lnTo>
                      <a:pt x="323" y="478"/>
                    </a:lnTo>
                    <a:lnTo>
                      <a:pt x="324" y="471"/>
                    </a:lnTo>
                    <a:lnTo>
                      <a:pt x="321" y="469"/>
                    </a:lnTo>
                    <a:lnTo>
                      <a:pt x="321" y="466"/>
                    </a:lnTo>
                    <a:lnTo>
                      <a:pt x="321" y="465"/>
                    </a:lnTo>
                    <a:lnTo>
                      <a:pt x="318" y="462"/>
                    </a:lnTo>
                    <a:lnTo>
                      <a:pt x="316" y="464"/>
                    </a:lnTo>
                    <a:lnTo>
                      <a:pt x="311" y="465"/>
                    </a:lnTo>
                    <a:lnTo>
                      <a:pt x="308" y="466"/>
                    </a:lnTo>
                    <a:lnTo>
                      <a:pt x="301" y="466"/>
                    </a:lnTo>
                    <a:lnTo>
                      <a:pt x="300" y="465"/>
                    </a:lnTo>
                    <a:lnTo>
                      <a:pt x="298" y="465"/>
                    </a:lnTo>
                    <a:lnTo>
                      <a:pt x="292" y="468"/>
                    </a:lnTo>
                    <a:lnTo>
                      <a:pt x="291" y="471"/>
                    </a:lnTo>
                    <a:lnTo>
                      <a:pt x="286" y="475"/>
                    </a:lnTo>
                    <a:lnTo>
                      <a:pt x="282" y="477"/>
                    </a:lnTo>
                    <a:lnTo>
                      <a:pt x="276" y="482"/>
                    </a:lnTo>
                    <a:lnTo>
                      <a:pt x="257" y="490"/>
                    </a:lnTo>
                    <a:lnTo>
                      <a:pt x="257" y="490"/>
                    </a:lnTo>
                    <a:lnTo>
                      <a:pt x="257" y="490"/>
                    </a:lnTo>
                    <a:lnTo>
                      <a:pt x="255" y="487"/>
                    </a:lnTo>
                    <a:lnTo>
                      <a:pt x="253" y="487"/>
                    </a:lnTo>
                    <a:lnTo>
                      <a:pt x="253" y="485"/>
                    </a:lnTo>
                    <a:lnTo>
                      <a:pt x="249" y="487"/>
                    </a:lnTo>
                    <a:lnTo>
                      <a:pt x="240" y="485"/>
                    </a:lnTo>
                    <a:lnTo>
                      <a:pt x="239" y="484"/>
                    </a:lnTo>
                    <a:lnTo>
                      <a:pt x="239" y="484"/>
                    </a:lnTo>
                    <a:lnTo>
                      <a:pt x="237" y="482"/>
                    </a:lnTo>
                    <a:lnTo>
                      <a:pt x="236" y="481"/>
                    </a:lnTo>
                    <a:lnTo>
                      <a:pt x="231" y="482"/>
                    </a:lnTo>
                    <a:lnTo>
                      <a:pt x="228" y="482"/>
                    </a:lnTo>
                    <a:lnTo>
                      <a:pt x="225" y="485"/>
                    </a:lnTo>
                    <a:lnTo>
                      <a:pt x="224" y="490"/>
                    </a:lnTo>
                    <a:lnTo>
                      <a:pt x="218" y="496"/>
                    </a:lnTo>
                    <a:lnTo>
                      <a:pt x="218" y="497"/>
                    </a:lnTo>
                    <a:lnTo>
                      <a:pt x="217" y="497"/>
                    </a:lnTo>
                    <a:lnTo>
                      <a:pt x="215" y="496"/>
                    </a:lnTo>
                    <a:lnTo>
                      <a:pt x="215" y="496"/>
                    </a:lnTo>
                    <a:lnTo>
                      <a:pt x="215" y="494"/>
                    </a:lnTo>
                    <a:lnTo>
                      <a:pt x="215" y="490"/>
                    </a:lnTo>
                    <a:lnTo>
                      <a:pt x="215" y="487"/>
                    </a:lnTo>
                    <a:lnTo>
                      <a:pt x="215" y="485"/>
                    </a:lnTo>
                    <a:lnTo>
                      <a:pt x="214" y="485"/>
                    </a:lnTo>
                    <a:lnTo>
                      <a:pt x="212" y="485"/>
                    </a:lnTo>
                    <a:lnTo>
                      <a:pt x="210" y="487"/>
                    </a:lnTo>
                    <a:lnTo>
                      <a:pt x="208" y="487"/>
                    </a:lnTo>
                    <a:lnTo>
                      <a:pt x="205" y="488"/>
                    </a:lnTo>
                    <a:lnTo>
                      <a:pt x="205" y="488"/>
                    </a:lnTo>
                    <a:lnTo>
                      <a:pt x="205" y="487"/>
                    </a:lnTo>
                    <a:lnTo>
                      <a:pt x="202" y="488"/>
                    </a:lnTo>
                    <a:lnTo>
                      <a:pt x="201" y="490"/>
                    </a:lnTo>
                    <a:lnTo>
                      <a:pt x="196" y="490"/>
                    </a:lnTo>
                    <a:lnTo>
                      <a:pt x="195" y="490"/>
                    </a:lnTo>
                    <a:lnTo>
                      <a:pt x="194" y="490"/>
                    </a:lnTo>
                    <a:lnTo>
                      <a:pt x="189" y="488"/>
                    </a:lnTo>
                    <a:lnTo>
                      <a:pt x="188" y="485"/>
                    </a:lnTo>
                    <a:lnTo>
                      <a:pt x="185" y="485"/>
                    </a:lnTo>
                    <a:lnTo>
                      <a:pt x="183" y="487"/>
                    </a:lnTo>
                    <a:lnTo>
                      <a:pt x="183" y="488"/>
                    </a:lnTo>
                    <a:lnTo>
                      <a:pt x="182" y="488"/>
                    </a:lnTo>
                    <a:lnTo>
                      <a:pt x="180" y="487"/>
                    </a:lnTo>
                    <a:lnTo>
                      <a:pt x="179" y="488"/>
                    </a:lnTo>
                    <a:lnTo>
                      <a:pt x="178" y="487"/>
                    </a:lnTo>
                    <a:lnTo>
                      <a:pt x="178" y="487"/>
                    </a:lnTo>
                    <a:lnTo>
                      <a:pt x="175" y="488"/>
                    </a:lnTo>
                    <a:lnTo>
                      <a:pt x="173" y="485"/>
                    </a:lnTo>
                    <a:lnTo>
                      <a:pt x="173" y="485"/>
                    </a:lnTo>
                    <a:lnTo>
                      <a:pt x="172" y="482"/>
                    </a:lnTo>
                    <a:lnTo>
                      <a:pt x="169" y="482"/>
                    </a:lnTo>
                    <a:lnTo>
                      <a:pt x="167" y="484"/>
                    </a:lnTo>
                    <a:lnTo>
                      <a:pt x="165" y="481"/>
                    </a:lnTo>
                    <a:lnTo>
                      <a:pt x="163" y="480"/>
                    </a:lnTo>
                    <a:lnTo>
                      <a:pt x="165" y="475"/>
                    </a:lnTo>
                    <a:lnTo>
                      <a:pt x="163" y="475"/>
                    </a:lnTo>
                    <a:lnTo>
                      <a:pt x="162" y="477"/>
                    </a:lnTo>
                    <a:lnTo>
                      <a:pt x="159" y="477"/>
                    </a:lnTo>
                    <a:lnTo>
                      <a:pt x="157" y="475"/>
                    </a:lnTo>
                    <a:lnTo>
                      <a:pt x="156" y="475"/>
                    </a:lnTo>
                    <a:lnTo>
                      <a:pt x="154" y="475"/>
                    </a:lnTo>
                    <a:lnTo>
                      <a:pt x="153" y="475"/>
                    </a:lnTo>
                    <a:lnTo>
                      <a:pt x="151" y="474"/>
                    </a:lnTo>
                    <a:lnTo>
                      <a:pt x="151" y="472"/>
                    </a:lnTo>
                    <a:lnTo>
                      <a:pt x="150" y="474"/>
                    </a:lnTo>
                    <a:lnTo>
                      <a:pt x="150" y="472"/>
                    </a:lnTo>
                    <a:lnTo>
                      <a:pt x="150" y="469"/>
                    </a:lnTo>
                    <a:lnTo>
                      <a:pt x="150" y="468"/>
                    </a:lnTo>
                    <a:lnTo>
                      <a:pt x="151" y="466"/>
                    </a:lnTo>
                    <a:lnTo>
                      <a:pt x="150" y="465"/>
                    </a:lnTo>
                    <a:lnTo>
                      <a:pt x="149" y="465"/>
                    </a:lnTo>
                    <a:lnTo>
                      <a:pt x="147" y="465"/>
                    </a:lnTo>
                    <a:lnTo>
                      <a:pt x="147" y="465"/>
                    </a:lnTo>
                    <a:lnTo>
                      <a:pt x="146" y="466"/>
                    </a:lnTo>
                    <a:lnTo>
                      <a:pt x="146" y="466"/>
                    </a:lnTo>
                    <a:lnTo>
                      <a:pt x="144" y="468"/>
                    </a:lnTo>
                    <a:lnTo>
                      <a:pt x="144" y="468"/>
                    </a:lnTo>
                    <a:lnTo>
                      <a:pt x="143" y="469"/>
                    </a:lnTo>
                    <a:lnTo>
                      <a:pt x="140" y="468"/>
                    </a:lnTo>
                    <a:lnTo>
                      <a:pt x="140" y="468"/>
                    </a:lnTo>
                    <a:lnTo>
                      <a:pt x="138" y="464"/>
                    </a:lnTo>
                    <a:lnTo>
                      <a:pt x="134" y="458"/>
                    </a:lnTo>
                    <a:lnTo>
                      <a:pt x="131" y="458"/>
                    </a:lnTo>
                    <a:lnTo>
                      <a:pt x="127" y="453"/>
                    </a:lnTo>
                    <a:lnTo>
                      <a:pt x="115" y="449"/>
                    </a:lnTo>
                    <a:lnTo>
                      <a:pt x="115" y="449"/>
                    </a:lnTo>
                    <a:lnTo>
                      <a:pt x="109" y="449"/>
                    </a:lnTo>
                    <a:lnTo>
                      <a:pt x="109" y="449"/>
                    </a:lnTo>
                    <a:lnTo>
                      <a:pt x="109" y="451"/>
                    </a:lnTo>
                    <a:lnTo>
                      <a:pt x="109" y="452"/>
                    </a:lnTo>
                    <a:lnTo>
                      <a:pt x="109" y="452"/>
                    </a:lnTo>
                    <a:lnTo>
                      <a:pt x="109" y="453"/>
                    </a:lnTo>
                    <a:lnTo>
                      <a:pt x="106" y="452"/>
                    </a:lnTo>
                    <a:lnTo>
                      <a:pt x="106" y="451"/>
                    </a:lnTo>
                    <a:lnTo>
                      <a:pt x="105" y="449"/>
                    </a:lnTo>
                    <a:lnTo>
                      <a:pt x="101" y="448"/>
                    </a:lnTo>
                    <a:lnTo>
                      <a:pt x="99" y="448"/>
                    </a:lnTo>
                    <a:lnTo>
                      <a:pt x="99" y="446"/>
                    </a:lnTo>
                    <a:lnTo>
                      <a:pt x="98" y="446"/>
                    </a:lnTo>
                    <a:lnTo>
                      <a:pt x="95" y="443"/>
                    </a:lnTo>
                    <a:lnTo>
                      <a:pt x="90" y="442"/>
                    </a:lnTo>
                    <a:lnTo>
                      <a:pt x="90" y="442"/>
                    </a:lnTo>
                    <a:lnTo>
                      <a:pt x="90" y="440"/>
                    </a:lnTo>
                    <a:lnTo>
                      <a:pt x="90" y="439"/>
                    </a:lnTo>
                    <a:lnTo>
                      <a:pt x="89" y="439"/>
                    </a:lnTo>
                    <a:lnTo>
                      <a:pt x="88" y="439"/>
                    </a:lnTo>
                    <a:lnTo>
                      <a:pt x="88" y="437"/>
                    </a:lnTo>
                    <a:lnTo>
                      <a:pt x="85" y="439"/>
                    </a:lnTo>
                    <a:lnTo>
                      <a:pt x="85" y="439"/>
                    </a:lnTo>
                    <a:lnTo>
                      <a:pt x="85" y="437"/>
                    </a:lnTo>
                    <a:lnTo>
                      <a:pt x="83" y="436"/>
                    </a:lnTo>
                    <a:lnTo>
                      <a:pt x="83" y="436"/>
                    </a:lnTo>
                    <a:lnTo>
                      <a:pt x="79" y="437"/>
                    </a:lnTo>
                    <a:lnTo>
                      <a:pt x="77" y="437"/>
                    </a:lnTo>
                    <a:lnTo>
                      <a:pt x="76" y="437"/>
                    </a:lnTo>
                    <a:lnTo>
                      <a:pt x="76" y="437"/>
                    </a:lnTo>
                    <a:lnTo>
                      <a:pt x="76" y="435"/>
                    </a:lnTo>
                    <a:lnTo>
                      <a:pt x="74" y="433"/>
                    </a:lnTo>
                    <a:lnTo>
                      <a:pt x="73" y="432"/>
                    </a:lnTo>
                    <a:lnTo>
                      <a:pt x="73" y="432"/>
                    </a:lnTo>
                    <a:lnTo>
                      <a:pt x="72" y="430"/>
                    </a:lnTo>
                    <a:lnTo>
                      <a:pt x="72" y="429"/>
                    </a:lnTo>
                    <a:lnTo>
                      <a:pt x="73" y="427"/>
                    </a:lnTo>
                    <a:lnTo>
                      <a:pt x="72" y="426"/>
                    </a:lnTo>
                    <a:lnTo>
                      <a:pt x="73" y="423"/>
                    </a:lnTo>
                    <a:lnTo>
                      <a:pt x="73" y="421"/>
                    </a:lnTo>
                    <a:lnTo>
                      <a:pt x="69" y="417"/>
                    </a:lnTo>
                    <a:lnTo>
                      <a:pt x="69" y="414"/>
                    </a:lnTo>
                    <a:lnTo>
                      <a:pt x="69" y="411"/>
                    </a:lnTo>
                    <a:lnTo>
                      <a:pt x="69" y="411"/>
                    </a:lnTo>
                    <a:lnTo>
                      <a:pt x="72" y="411"/>
                    </a:lnTo>
                    <a:lnTo>
                      <a:pt x="73" y="410"/>
                    </a:lnTo>
                    <a:lnTo>
                      <a:pt x="73" y="410"/>
                    </a:lnTo>
                    <a:lnTo>
                      <a:pt x="73" y="411"/>
                    </a:lnTo>
                    <a:lnTo>
                      <a:pt x="73" y="413"/>
                    </a:lnTo>
                    <a:lnTo>
                      <a:pt x="74" y="414"/>
                    </a:lnTo>
                    <a:lnTo>
                      <a:pt x="76" y="414"/>
                    </a:lnTo>
                    <a:lnTo>
                      <a:pt x="77" y="414"/>
                    </a:lnTo>
                    <a:lnTo>
                      <a:pt x="77" y="414"/>
                    </a:lnTo>
                    <a:lnTo>
                      <a:pt x="79" y="414"/>
                    </a:lnTo>
                    <a:lnTo>
                      <a:pt x="79" y="413"/>
                    </a:lnTo>
                    <a:lnTo>
                      <a:pt x="80" y="411"/>
                    </a:lnTo>
                    <a:lnTo>
                      <a:pt x="80" y="410"/>
                    </a:lnTo>
                    <a:lnTo>
                      <a:pt x="80" y="410"/>
                    </a:lnTo>
                    <a:lnTo>
                      <a:pt x="82" y="411"/>
                    </a:lnTo>
                    <a:lnTo>
                      <a:pt x="82" y="411"/>
                    </a:lnTo>
                    <a:lnTo>
                      <a:pt x="85" y="408"/>
                    </a:lnTo>
                    <a:lnTo>
                      <a:pt x="85" y="408"/>
                    </a:lnTo>
                    <a:lnTo>
                      <a:pt x="82" y="404"/>
                    </a:lnTo>
                    <a:lnTo>
                      <a:pt x="82" y="403"/>
                    </a:lnTo>
                    <a:lnTo>
                      <a:pt x="82" y="403"/>
                    </a:lnTo>
                    <a:lnTo>
                      <a:pt x="82" y="401"/>
                    </a:lnTo>
                    <a:lnTo>
                      <a:pt x="80" y="400"/>
                    </a:lnTo>
                    <a:lnTo>
                      <a:pt x="79" y="400"/>
                    </a:lnTo>
                    <a:lnTo>
                      <a:pt x="77" y="400"/>
                    </a:lnTo>
                    <a:lnTo>
                      <a:pt x="76" y="397"/>
                    </a:lnTo>
                    <a:lnTo>
                      <a:pt x="76" y="394"/>
                    </a:lnTo>
                    <a:lnTo>
                      <a:pt x="77" y="394"/>
                    </a:lnTo>
                    <a:lnTo>
                      <a:pt x="76" y="392"/>
                    </a:lnTo>
                    <a:lnTo>
                      <a:pt x="76" y="391"/>
                    </a:lnTo>
                    <a:lnTo>
                      <a:pt x="77" y="391"/>
                    </a:lnTo>
                    <a:lnTo>
                      <a:pt x="76" y="389"/>
                    </a:lnTo>
                    <a:lnTo>
                      <a:pt x="76" y="387"/>
                    </a:lnTo>
                    <a:lnTo>
                      <a:pt x="76" y="387"/>
                    </a:lnTo>
                    <a:lnTo>
                      <a:pt x="77" y="387"/>
                    </a:lnTo>
                    <a:lnTo>
                      <a:pt x="79" y="387"/>
                    </a:lnTo>
                    <a:lnTo>
                      <a:pt x="82" y="387"/>
                    </a:lnTo>
                    <a:lnTo>
                      <a:pt x="83" y="387"/>
                    </a:lnTo>
                    <a:lnTo>
                      <a:pt x="85" y="382"/>
                    </a:lnTo>
                    <a:lnTo>
                      <a:pt x="85" y="379"/>
                    </a:lnTo>
                    <a:lnTo>
                      <a:pt x="88" y="379"/>
                    </a:lnTo>
                    <a:lnTo>
                      <a:pt x="88" y="379"/>
                    </a:lnTo>
                    <a:lnTo>
                      <a:pt x="88" y="378"/>
                    </a:lnTo>
                    <a:lnTo>
                      <a:pt x="88" y="378"/>
                    </a:lnTo>
                    <a:lnTo>
                      <a:pt x="89" y="376"/>
                    </a:lnTo>
                    <a:lnTo>
                      <a:pt x="89" y="376"/>
                    </a:lnTo>
                    <a:lnTo>
                      <a:pt x="92" y="373"/>
                    </a:lnTo>
                    <a:lnTo>
                      <a:pt x="92" y="372"/>
                    </a:lnTo>
                    <a:lnTo>
                      <a:pt x="93" y="371"/>
                    </a:lnTo>
                    <a:lnTo>
                      <a:pt x="93" y="366"/>
                    </a:lnTo>
                    <a:lnTo>
                      <a:pt x="95" y="365"/>
                    </a:lnTo>
                    <a:lnTo>
                      <a:pt x="95" y="363"/>
                    </a:lnTo>
                    <a:lnTo>
                      <a:pt x="96" y="362"/>
                    </a:lnTo>
                    <a:lnTo>
                      <a:pt x="96" y="360"/>
                    </a:lnTo>
                    <a:lnTo>
                      <a:pt x="95" y="360"/>
                    </a:lnTo>
                    <a:lnTo>
                      <a:pt x="93" y="360"/>
                    </a:lnTo>
                    <a:lnTo>
                      <a:pt x="92" y="362"/>
                    </a:lnTo>
                    <a:lnTo>
                      <a:pt x="92" y="362"/>
                    </a:lnTo>
                    <a:lnTo>
                      <a:pt x="90" y="362"/>
                    </a:lnTo>
                    <a:lnTo>
                      <a:pt x="90" y="359"/>
                    </a:lnTo>
                    <a:lnTo>
                      <a:pt x="89" y="359"/>
                    </a:lnTo>
                    <a:lnTo>
                      <a:pt x="88" y="359"/>
                    </a:lnTo>
                    <a:lnTo>
                      <a:pt x="88" y="358"/>
                    </a:lnTo>
                    <a:lnTo>
                      <a:pt x="86" y="358"/>
                    </a:lnTo>
                    <a:lnTo>
                      <a:pt x="86" y="358"/>
                    </a:lnTo>
                    <a:lnTo>
                      <a:pt x="86" y="355"/>
                    </a:lnTo>
                    <a:lnTo>
                      <a:pt x="85" y="355"/>
                    </a:lnTo>
                    <a:lnTo>
                      <a:pt x="85" y="355"/>
                    </a:lnTo>
                    <a:lnTo>
                      <a:pt x="83" y="355"/>
                    </a:lnTo>
                    <a:lnTo>
                      <a:pt x="83" y="355"/>
                    </a:lnTo>
                    <a:lnTo>
                      <a:pt x="82" y="353"/>
                    </a:lnTo>
                    <a:lnTo>
                      <a:pt x="82" y="352"/>
                    </a:lnTo>
                    <a:lnTo>
                      <a:pt x="80" y="352"/>
                    </a:lnTo>
                    <a:lnTo>
                      <a:pt x="79" y="353"/>
                    </a:lnTo>
                    <a:lnTo>
                      <a:pt x="77" y="353"/>
                    </a:lnTo>
                    <a:lnTo>
                      <a:pt x="76" y="353"/>
                    </a:lnTo>
                    <a:lnTo>
                      <a:pt x="73" y="355"/>
                    </a:lnTo>
                    <a:lnTo>
                      <a:pt x="66" y="359"/>
                    </a:lnTo>
                    <a:lnTo>
                      <a:pt x="64" y="360"/>
                    </a:lnTo>
                    <a:lnTo>
                      <a:pt x="63" y="360"/>
                    </a:lnTo>
                    <a:lnTo>
                      <a:pt x="61" y="362"/>
                    </a:lnTo>
                    <a:lnTo>
                      <a:pt x="60" y="360"/>
                    </a:lnTo>
                    <a:lnTo>
                      <a:pt x="59" y="362"/>
                    </a:lnTo>
                    <a:lnTo>
                      <a:pt x="54" y="362"/>
                    </a:lnTo>
                    <a:lnTo>
                      <a:pt x="53" y="360"/>
                    </a:lnTo>
                    <a:lnTo>
                      <a:pt x="51" y="360"/>
                    </a:lnTo>
                    <a:lnTo>
                      <a:pt x="43" y="356"/>
                    </a:lnTo>
                    <a:lnTo>
                      <a:pt x="43" y="355"/>
                    </a:lnTo>
                    <a:lnTo>
                      <a:pt x="41" y="353"/>
                    </a:lnTo>
                    <a:lnTo>
                      <a:pt x="41" y="353"/>
                    </a:lnTo>
                    <a:lnTo>
                      <a:pt x="40" y="355"/>
                    </a:lnTo>
                    <a:lnTo>
                      <a:pt x="38" y="355"/>
                    </a:lnTo>
                    <a:lnTo>
                      <a:pt x="37" y="355"/>
                    </a:lnTo>
                    <a:lnTo>
                      <a:pt x="37" y="355"/>
                    </a:lnTo>
                    <a:lnTo>
                      <a:pt x="35" y="352"/>
                    </a:lnTo>
                    <a:lnTo>
                      <a:pt x="32" y="352"/>
                    </a:lnTo>
                    <a:lnTo>
                      <a:pt x="32" y="350"/>
                    </a:lnTo>
                    <a:lnTo>
                      <a:pt x="32" y="350"/>
                    </a:lnTo>
                    <a:lnTo>
                      <a:pt x="34" y="349"/>
                    </a:lnTo>
                    <a:lnTo>
                      <a:pt x="34" y="349"/>
                    </a:lnTo>
                    <a:lnTo>
                      <a:pt x="34" y="347"/>
                    </a:lnTo>
                    <a:lnTo>
                      <a:pt x="34" y="347"/>
                    </a:lnTo>
                    <a:lnTo>
                      <a:pt x="34" y="343"/>
                    </a:lnTo>
                    <a:lnTo>
                      <a:pt x="32" y="342"/>
                    </a:lnTo>
                    <a:lnTo>
                      <a:pt x="28" y="339"/>
                    </a:lnTo>
                    <a:lnTo>
                      <a:pt x="28" y="339"/>
                    </a:lnTo>
                    <a:lnTo>
                      <a:pt x="25" y="340"/>
                    </a:lnTo>
                    <a:lnTo>
                      <a:pt x="25" y="339"/>
                    </a:lnTo>
                    <a:lnTo>
                      <a:pt x="25" y="336"/>
                    </a:lnTo>
                    <a:lnTo>
                      <a:pt x="25" y="336"/>
                    </a:lnTo>
                    <a:lnTo>
                      <a:pt x="24" y="336"/>
                    </a:lnTo>
                    <a:lnTo>
                      <a:pt x="22" y="334"/>
                    </a:lnTo>
                    <a:lnTo>
                      <a:pt x="21" y="334"/>
                    </a:lnTo>
                    <a:lnTo>
                      <a:pt x="16" y="336"/>
                    </a:lnTo>
                    <a:lnTo>
                      <a:pt x="15" y="334"/>
                    </a:lnTo>
                    <a:lnTo>
                      <a:pt x="15" y="334"/>
                    </a:lnTo>
                    <a:lnTo>
                      <a:pt x="14" y="333"/>
                    </a:lnTo>
                    <a:lnTo>
                      <a:pt x="12" y="333"/>
                    </a:lnTo>
                    <a:lnTo>
                      <a:pt x="12" y="331"/>
                    </a:lnTo>
                    <a:lnTo>
                      <a:pt x="14" y="330"/>
                    </a:lnTo>
                    <a:lnTo>
                      <a:pt x="15" y="328"/>
                    </a:lnTo>
                    <a:lnTo>
                      <a:pt x="16" y="330"/>
                    </a:lnTo>
                    <a:lnTo>
                      <a:pt x="16" y="330"/>
                    </a:lnTo>
                    <a:lnTo>
                      <a:pt x="16" y="330"/>
                    </a:lnTo>
                    <a:lnTo>
                      <a:pt x="18" y="330"/>
                    </a:lnTo>
                    <a:lnTo>
                      <a:pt x="19" y="330"/>
                    </a:lnTo>
                    <a:lnTo>
                      <a:pt x="19" y="321"/>
                    </a:lnTo>
                    <a:lnTo>
                      <a:pt x="16" y="314"/>
                    </a:lnTo>
                    <a:lnTo>
                      <a:pt x="16" y="310"/>
                    </a:lnTo>
                    <a:lnTo>
                      <a:pt x="15" y="307"/>
                    </a:lnTo>
                    <a:lnTo>
                      <a:pt x="11" y="307"/>
                    </a:lnTo>
                    <a:lnTo>
                      <a:pt x="5" y="308"/>
                    </a:lnTo>
                    <a:lnTo>
                      <a:pt x="2" y="305"/>
                    </a:lnTo>
                    <a:lnTo>
                      <a:pt x="0" y="296"/>
                    </a:lnTo>
                    <a:lnTo>
                      <a:pt x="3" y="288"/>
                    </a:lnTo>
                    <a:lnTo>
                      <a:pt x="3" y="285"/>
                    </a:lnTo>
                    <a:lnTo>
                      <a:pt x="5" y="279"/>
                    </a:lnTo>
                    <a:lnTo>
                      <a:pt x="14" y="276"/>
                    </a:lnTo>
                    <a:lnTo>
                      <a:pt x="15" y="275"/>
                    </a:lnTo>
                    <a:lnTo>
                      <a:pt x="16" y="275"/>
                    </a:lnTo>
                    <a:lnTo>
                      <a:pt x="18" y="270"/>
                    </a:lnTo>
                    <a:lnTo>
                      <a:pt x="21" y="272"/>
                    </a:lnTo>
                    <a:lnTo>
                      <a:pt x="25" y="270"/>
                    </a:lnTo>
                    <a:lnTo>
                      <a:pt x="28" y="270"/>
                    </a:lnTo>
                    <a:lnTo>
                      <a:pt x="29" y="273"/>
                    </a:lnTo>
                    <a:lnTo>
                      <a:pt x="38" y="273"/>
                    </a:lnTo>
                    <a:lnTo>
                      <a:pt x="43" y="270"/>
                    </a:lnTo>
                    <a:lnTo>
                      <a:pt x="44" y="266"/>
                    </a:lnTo>
                    <a:lnTo>
                      <a:pt x="45" y="263"/>
                    </a:lnTo>
                    <a:lnTo>
                      <a:pt x="66" y="259"/>
                    </a:lnTo>
                    <a:lnTo>
                      <a:pt x="67" y="256"/>
                    </a:lnTo>
                    <a:lnTo>
                      <a:pt x="72" y="251"/>
                    </a:lnTo>
                    <a:lnTo>
                      <a:pt x="93" y="243"/>
                    </a:lnTo>
                    <a:lnTo>
                      <a:pt x="95" y="238"/>
                    </a:lnTo>
                    <a:lnTo>
                      <a:pt x="95" y="228"/>
                    </a:lnTo>
                    <a:lnTo>
                      <a:pt x="98" y="225"/>
                    </a:lnTo>
                    <a:lnTo>
                      <a:pt x="96" y="222"/>
                    </a:lnTo>
                    <a:lnTo>
                      <a:pt x="101" y="219"/>
                    </a:lnTo>
                    <a:lnTo>
                      <a:pt x="95" y="192"/>
                    </a:lnTo>
                    <a:lnTo>
                      <a:pt x="92" y="189"/>
                    </a:lnTo>
                    <a:lnTo>
                      <a:pt x="90" y="186"/>
                    </a:lnTo>
                    <a:lnTo>
                      <a:pt x="92" y="185"/>
                    </a:lnTo>
                    <a:lnTo>
                      <a:pt x="122" y="179"/>
                    </a:lnTo>
                    <a:lnTo>
                      <a:pt x="124" y="177"/>
                    </a:lnTo>
                    <a:lnTo>
                      <a:pt x="122" y="170"/>
                    </a:lnTo>
                    <a:lnTo>
                      <a:pt x="133" y="138"/>
                    </a:lnTo>
                    <a:lnTo>
                      <a:pt x="138" y="140"/>
                    </a:lnTo>
                    <a:lnTo>
                      <a:pt x="141" y="141"/>
                    </a:lnTo>
                    <a:lnTo>
                      <a:pt x="146" y="142"/>
                    </a:lnTo>
                    <a:lnTo>
                      <a:pt x="156" y="141"/>
                    </a:lnTo>
                    <a:lnTo>
                      <a:pt x="160" y="145"/>
                    </a:lnTo>
                    <a:lnTo>
                      <a:pt x="163" y="142"/>
                    </a:lnTo>
                    <a:lnTo>
                      <a:pt x="170" y="141"/>
                    </a:lnTo>
                    <a:lnTo>
                      <a:pt x="172" y="119"/>
                    </a:lnTo>
                    <a:lnTo>
                      <a:pt x="173" y="113"/>
                    </a:lnTo>
                    <a:lnTo>
                      <a:pt x="178" y="113"/>
                    </a:lnTo>
                    <a:lnTo>
                      <a:pt x="183" y="112"/>
                    </a:lnTo>
                    <a:lnTo>
                      <a:pt x="188" y="108"/>
                    </a:lnTo>
                    <a:lnTo>
                      <a:pt x="191" y="103"/>
                    </a:lnTo>
                    <a:lnTo>
                      <a:pt x="196" y="105"/>
                    </a:lnTo>
                    <a:lnTo>
                      <a:pt x="201" y="100"/>
                    </a:lnTo>
                    <a:lnTo>
                      <a:pt x="202" y="100"/>
                    </a:lnTo>
                    <a:lnTo>
                      <a:pt x="202" y="102"/>
                    </a:lnTo>
                    <a:lnTo>
                      <a:pt x="205" y="110"/>
                    </a:lnTo>
                    <a:lnTo>
                      <a:pt x="214" y="118"/>
                    </a:lnTo>
                    <a:lnTo>
                      <a:pt x="215" y="122"/>
                    </a:lnTo>
                    <a:lnTo>
                      <a:pt x="220" y="125"/>
                    </a:lnTo>
                    <a:lnTo>
                      <a:pt x="221" y="122"/>
                    </a:lnTo>
                    <a:lnTo>
                      <a:pt x="225" y="124"/>
                    </a:lnTo>
                    <a:lnTo>
                      <a:pt x="230" y="125"/>
                    </a:lnTo>
                    <a:lnTo>
                      <a:pt x="234" y="126"/>
                    </a:lnTo>
                    <a:lnTo>
                      <a:pt x="244" y="151"/>
                    </a:lnTo>
                    <a:lnTo>
                      <a:pt x="244" y="169"/>
                    </a:lnTo>
                    <a:lnTo>
                      <a:pt x="243" y="173"/>
                    </a:lnTo>
                    <a:lnTo>
                      <a:pt x="243" y="177"/>
                    </a:lnTo>
                    <a:lnTo>
                      <a:pt x="244" y="179"/>
                    </a:lnTo>
                    <a:lnTo>
                      <a:pt x="268" y="185"/>
                    </a:lnTo>
                    <a:lnTo>
                      <a:pt x="275" y="183"/>
                    </a:lnTo>
                    <a:lnTo>
                      <a:pt x="305" y="196"/>
                    </a:lnTo>
                    <a:lnTo>
                      <a:pt x="308" y="196"/>
                    </a:lnTo>
                    <a:lnTo>
                      <a:pt x="330" y="227"/>
                    </a:lnTo>
                    <a:lnTo>
                      <a:pt x="333" y="228"/>
                    </a:lnTo>
                    <a:lnTo>
                      <a:pt x="381" y="225"/>
                    </a:lnTo>
                    <a:lnTo>
                      <a:pt x="397" y="230"/>
                    </a:lnTo>
                    <a:lnTo>
                      <a:pt x="404" y="235"/>
                    </a:lnTo>
                    <a:lnTo>
                      <a:pt x="429" y="246"/>
                    </a:lnTo>
                    <a:lnTo>
                      <a:pt x="436" y="246"/>
                    </a:lnTo>
                    <a:lnTo>
                      <a:pt x="437" y="247"/>
                    </a:lnTo>
                    <a:lnTo>
                      <a:pt x="440" y="249"/>
                    </a:lnTo>
                    <a:lnTo>
                      <a:pt x="443" y="250"/>
                    </a:lnTo>
                    <a:lnTo>
                      <a:pt x="446" y="250"/>
                    </a:lnTo>
                    <a:lnTo>
                      <a:pt x="451" y="246"/>
                    </a:lnTo>
                    <a:lnTo>
                      <a:pt x="465" y="241"/>
                    </a:lnTo>
                    <a:lnTo>
                      <a:pt x="467" y="238"/>
                    </a:lnTo>
                    <a:lnTo>
                      <a:pt x="484" y="234"/>
                    </a:lnTo>
                    <a:lnTo>
                      <a:pt x="491" y="234"/>
                    </a:lnTo>
                    <a:lnTo>
                      <a:pt x="496" y="233"/>
                    </a:lnTo>
                    <a:lnTo>
                      <a:pt x="503" y="235"/>
                    </a:lnTo>
                    <a:lnTo>
                      <a:pt x="504" y="234"/>
                    </a:lnTo>
                    <a:lnTo>
                      <a:pt x="512" y="234"/>
                    </a:lnTo>
                    <a:lnTo>
                      <a:pt x="527" y="225"/>
                    </a:lnTo>
                    <a:lnTo>
                      <a:pt x="530" y="221"/>
                    </a:lnTo>
                    <a:lnTo>
                      <a:pt x="545" y="208"/>
                    </a:lnTo>
                    <a:lnTo>
                      <a:pt x="545" y="205"/>
                    </a:lnTo>
                    <a:lnTo>
                      <a:pt x="539" y="198"/>
                    </a:lnTo>
                    <a:lnTo>
                      <a:pt x="539" y="193"/>
                    </a:lnTo>
                    <a:lnTo>
                      <a:pt x="545" y="185"/>
                    </a:lnTo>
                    <a:lnTo>
                      <a:pt x="551" y="182"/>
                    </a:lnTo>
                    <a:lnTo>
                      <a:pt x="555" y="183"/>
                    </a:lnTo>
                    <a:lnTo>
                      <a:pt x="558" y="187"/>
                    </a:lnTo>
                    <a:lnTo>
                      <a:pt x="568" y="187"/>
                    </a:lnTo>
                    <a:lnTo>
                      <a:pt x="575" y="183"/>
                    </a:lnTo>
                    <a:lnTo>
                      <a:pt x="586" y="173"/>
                    </a:lnTo>
                    <a:lnTo>
                      <a:pt x="591" y="173"/>
                    </a:lnTo>
                    <a:lnTo>
                      <a:pt x="597" y="169"/>
                    </a:lnTo>
                    <a:lnTo>
                      <a:pt x="615" y="151"/>
                    </a:lnTo>
                    <a:lnTo>
                      <a:pt x="639" y="148"/>
                    </a:lnTo>
                    <a:lnTo>
                      <a:pt x="649" y="150"/>
                    </a:lnTo>
                    <a:lnTo>
                      <a:pt x="652" y="148"/>
                    </a:lnTo>
                    <a:lnTo>
                      <a:pt x="651" y="145"/>
                    </a:lnTo>
                    <a:lnTo>
                      <a:pt x="648" y="142"/>
                    </a:lnTo>
                    <a:lnTo>
                      <a:pt x="648" y="137"/>
                    </a:lnTo>
                    <a:lnTo>
                      <a:pt x="647" y="134"/>
                    </a:lnTo>
                    <a:lnTo>
                      <a:pt x="636" y="124"/>
                    </a:lnTo>
                    <a:lnTo>
                      <a:pt x="635" y="121"/>
                    </a:lnTo>
                    <a:lnTo>
                      <a:pt x="622" y="129"/>
                    </a:lnTo>
                    <a:lnTo>
                      <a:pt x="609" y="131"/>
                    </a:lnTo>
                    <a:lnTo>
                      <a:pt x="599" y="129"/>
                    </a:lnTo>
                    <a:lnTo>
                      <a:pt x="596" y="125"/>
                    </a:lnTo>
                    <a:lnTo>
                      <a:pt x="596" y="113"/>
                    </a:lnTo>
                    <a:lnTo>
                      <a:pt x="597" y="109"/>
                    </a:lnTo>
                    <a:lnTo>
                      <a:pt x="597" y="96"/>
                    </a:lnTo>
                    <a:lnTo>
                      <a:pt x="606" y="83"/>
                    </a:lnTo>
                    <a:lnTo>
                      <a:pt x="607" y="80"/>
                    </a:lnTo>
                    <a:lnTo>
                      <a:pt x="607" y="79"/>
                    </a:lnTo>
                    <a:lnTo>
                      <a:pt x="629" y="87"/>
                    </a:lnTo>
                    <a:lnTo>
                      <a:pt x="632" y="87"/>
                    </a:lnTo>
                    <a:lnTo>
                      <a:pt x="648" y="77"/>
                    </a:lnTo>
                    <a:lnTo>
                      <a:pt x="649" y="74"/>
                    </a:lnTo>
                    <a:lnTo>
                      <a:pt x="648" y="71"/>
                    </a:lnTo>
                    <a:lnTo>
                      <a:pt x="649" y="68"/>
                    </a:lnTo>
                    <a:lnTo>
                      <a:pt x="654" y="61"/>
                    </a:lnTo>
                    <a:lnTo>
                      <a:pt x="660" y="44"/>
                    </a:lnTo>
                    <a:lnTo>
                      <a:pt x="664" y="41"/>
                    </a:lnTo>
                    <a:lnTo>
                      <a:pt x="670" y="33"/>
                    </a:lnTo>
                    <a:lnTo>
                      <a:pt x="670" y="33"/>
                    </a:lnTo>
                    <a:lnTo>
                      <a:pt x="668" y="31"/>
                    </a:lnTo>
                    <a:lnTo>
                      <a:pt x="668" y="23"/>
                    </a:lnTo>
                    <a:lnTo>
                      <a:pt x="667" y="22"/>
                    </a:lnTo>
                    <a:lnTo>
                      <a:pt x="660" y="23"/>
                    </a:lnTo>
                    <a:lnTo>
                      <a:pt x="660" y="22"/>
                    </a:lnTo>
                    <a:lnTo>
                      <a:pt x="660" y="19"/>
                    </a:lnTo>
                    <a:lnTo>
                      <a:pt x="667" y="13"/>
                    </a:lnTo>
                    <a:lnTo>
                      <a:pt x="668" y="9"/>
                    </a:lnTo>
                    <a:lnTo>
                      <a:pt x="673" y="6"/>
                    </a:lnTo>
                    <a:lnTo>
                      <a:pt x="710" y="0"/>
                    </a:lnTo>
                    <a:lnTo>
                      <a:pt x="723" y="7"/>
                    </a:lnTo>
                    <a:lnTo>
                      <a:pt x="726" y="9"/>
                    </a:lnTo>
                    <a:lnTo>
                      <a:pt x="732" y="9"/>
                    </a:lnTo>
                    <a:lnTo>
                      <a:pt x="739" y="12"/>
                    </a:lnTo>
                    <a:lnTo>
                      <a:pt x="745" y="19"/>
                    </a:lnTo>
                    <a:lnTo>
                      <a:pt x="745" y="22"/>
                    </a:lnTo>
                    <a:lnTo>
                      <a:pt x="750" y="26"/>
                    </a:lnTo>
                    <a:lnTo>
                      <a:pt x="750" y="28"/>
                    </a:lnTo>
                    <a:lnTo>
                      <a:pt x="750" y="26"/>
                    </a:lnTo>
                    <a:lnTo>
                      <a:pt x="766" y="74"/>
                    </a:lnTo>
                    <a:lnTo>
                      <a:pt x="766" y="76"/>
                    </a:lnTo>
                    <a:lnTo>
                      <a:pt x="766" y="76"/>
                    </a:lnTo>
                    <a:lnTo>
                      <a:pt x="767" y="86"/>
                    </a:lnTo>
                    <a:lnTo>
                      <a:pt x="770" y="89"/>
                    </a:lnTo>
                    <a:lnTo>
                      <a:pt x="776" y="90"/>
                    </a:lnTo>
                    <a:lnTo>
                      <a:pt x="782" y="87"/>
                    </a:lnTo>
                    <a:lnTo>
                      <a:pt x="795" y="93"/>
                    </a:lnTo>
                    <a:lnTo>
                      <a:pt x="803" y="100"/>
                    </a:lnTo>
                    <a:lnTo>
                      <a:pt x="806" y="102"/>
                    </a:lnTo>
                    <a:lnTo>
                      <a:pt x="811" y="102"/>
                    </a:lnTo>
                    <a:lnTo>
                      <a:pt x="811" y="105"/>
                    </a:lnTo>
                    <a:lnTo>
                      <a:pt x="811" y="105"/>
                    </a:lnTo>
                    <a:lnTo>
                      <a:pt x="812" y="105"/>
                    </a:lnTo>
                    <a:lnTo>
                      <a:pt x="812" y="109"/>
                    </a:lnTo>
                    <a:lnTo>
                      <a:pt x="814" y="112"/>
                    </a:lnTo>
                    <a:lnTo>
                      <a:pt x="814" y="121"/>
                    </a:lnTo>
                    <a:lnTo>
                      <a:pt x="818" y="128"/>
                    </a:lnTo>
                    <a:lnTo>
                      <a:pt x="822" y="128"/>
                    </a:lnTo>
                    <a:lnTo>
                      <a:pt x="828" y="129"/>
                    </a:lnTo>
                    <a:lnTo>
                      <a:pt x="832" y="128"/>
                    </a:lnTo>
                    <a:lnTo>
                      <a:pt x="848" y="119"/>
                    </a:lnTo>
                    <a:lnTo>
                      <a:pt x="854" y="119"/>
                    </a:lnTo>
                    <a:lnTo>
                      <a:pt x="872" y="112"/>
                    </a:lnTo>
                    <a:lnTo>
                      <a:pt x="872" y="112"/>
                    </a:lnTo>
                    <a:lnTo>
                      <a:pt x="869" y="116"/>
                    </a:lnTo>
                    <a:lnTo>
                      <a:pt x="869" y="121"/>
                    </a:lnTo>
                    <a:lnTo>
                      <a:pt x="870" y="125"/>
                    </a:lnTo>
                    <a:lnTo>
                      <a:pt x="870" y="131"/>
                    </a:lnTo>
                    <a:lnTo>
                      <a:pt x="863" y="137"/>
                    </a:lnTo>
                    <a:lnTo>
                      <a:pt x="857" y="161"/>
                    </a:lnTo>
                    <a:lnTo>
                      <a:pt x="848" y="176"/>
                    </a:lnTo>
                    <a:lnTo>
                      <a:pt x="847" y="182"/>
                    </a:lnTo>
                    <a:lnTo>
                      <a:pt x="844" y="183"/>
                    </a:lnTo>
                    <a:lnTo>
                      <a:pt x="843" y="183"/>
                    </a:lnTo>
                    <a:lnTo>
                      <a:pt x="829" y="179"/>
                    </a:lnTo>
                    <a:lnTo>
                      <a:pt x="816" y="190"/>
                    </a:lnTo>
                    <a:lnTo>
                      <a:pt x="819" y="193"/>
                    </a:lnTo>
                    <a:lnTo>
                      <a:pt x="821" y="217"/>
                    </a:lnTo>
                    <a:lnTo>
                      <a:pt x="816" y="222"/>
                    </a:lnTo>
                    <a:lnTo>
                      <a:pt x="811" y="227"/>
                    </a:lnTo>
                    <a:lnTo>
                      <a:pt x="811" y="231"/>
                    </a:lnTo>
                    <a:lnTo>
                      <a:pt x="809" y="231"/>
                    </a:lnTo>
                    <a:lnTo>
                      <a:pt x="806" y="228"/>
                    </a:lnTo>
                    <a:lnTo>
                      <a:pt x="803" y="225"/>
                    </a:lnTo>
                    <a:lnTo>
                      <a:pt x="800" y="227"/>
                    </a:lnTo>
                    <a:lnTo>
                      <a:pt x="796" y="237"/>
                    </a:lnTo>
                    <a:lnTo>
                      <a:pt x="789" y="243"/>
                    </a:lnTo>
                    <a:lnTo>
                      <a:pt x="777" y="244"/>
                    </a:lnTo>
                    <a:lnTo>
                      <a:pt x="776" y="246"/>
                    </a:lnTo>
                    <a:lnTo>
                      <a:pt x="777" y="254"/>
                    </a:lnTo>
                    <a:lnTo>
                      <a:pt x="767" y="256"/>
                    </a:lnTo>
                    <a:lnTo>
                      <a:pt x="763" y="253"/>
                    </a:lnTo>
                    <a:lnTo>
                      <a:pt x="758" y="251"/>
                    </a:lnTo>
                    <a:lnTo>
                      <a:pt x="734" y="270"/>
                    </a:lnTo>
                    <a:lnTo>
                      <a:pt x="729" y="272"/>
                    </a:lnTo>
                    <a:lnTo>
                      <a:pt x="722" y="282"/>
                    </a:lnTo>
                    <a:lnTo>
                      <a:pt x="722" y="282"/>
                    </a:lnTo>
                    <a:lnTo>
                      <a:pt x="709" y="286"/>
                    </a:lnTo>
                    <a:lnTo>
                      <a:pt x="708" y="285"/>
                    </a:lnTo>
                    <a:lnTo>
                      <a:pt x="703" y="288"/>
                    </a:lnTo>
                    <a:lnTo>
                      <a:pt x="694" y="292"/>
                    </a:lnTo>
                    <a:lnTo>
                      <a:pt x="692" y="295"/>
                    </a:lnTo>
                    <a:lnTo>
                      <a:pt x="690" y="298"/>
                    </a:lnTo>
                    <a:lnTo>
                      <a:pt x="687" y="299"/>
                    </a:lnTo>
                    <a:lnTo>
                      <a:pt x="684" y="299"/>
                    </a:lnTo>
                    <a:lnTo>
                      <a:pt x="683" y="301"/>
                    </a:lnTo>
                    <a:lnTo>
                      <a:pt x="678" y="304"/>
                    </a:lnTo>
                    <a:lnTo>
                      <a:pt x="677" y="302"/>
                    </a:lnTo>
                    <a:lnTo>
                      <a:pt x="678" y="299"/>
                    </a:lnTo>
                    <a:lnTo>
                      <a:pt x="683" y="298"/>
                    </a:lnTo>
                    <a:lnTo>
                      <a:pt x="684" y="292"/>
                    </a:lnTo>
                    <a:lnTo>
                      <a:pt x="680" y="291"/>
                    </a:lnTo>
                    <a:lnTo>
                      <a:pt x="678" y="289"/>
                    </a:lnTo>
                    <a:lnTo>
                      <a:pt x="681" y="288"/>
                    </a:lnTo>
                    <a:lnTo>
                      <a:pt x="681" y="285"/>
                    </a:lnTo>
                    <a:lnTo>
                      <a:pt x="684" y="283"/>
                    </a:lnTo>
                    <a:lnTo>
                      <a:pt x="692" y="272"/>
                    </a:lnTo>
                    <a:lnTo>
                      <a:pt x="692" y="270"/>
                    </a:lnTo>
                    <a:lnTo>
                      <a:pt x="689" y="266"/>
                    </a:lnTo>
                    <a:lnTo>
                      <a:pt x="687" y="263"/>
                    </a:lnTo>
                    <a:lnTo>
                      <a:pt x="686" y="262"/>
                    </a:lnTo>
                    <a:lnTo>
                      <a:pt x="684" y="263"/>
                    </a:lnTo>
                    <a:lnTo>
                      <a:pt x="678" y="263"/>
                    </a:lnTo>
                    <a:lnTo>
                      <a:pt x="677" y="265"/>
                    </a:lnTo>
                    <a:lnTo>
                      <a:pt x="667" y="278"/>
                    </a:lnTo>
                    <a:lnTo>
                      <a:pt x="652" y="285"/>
                    </a:lnTo>
                    <a:lnTo>
                      <a:pt x="651" y="292"/>
                    </a:lnTo>
                    <a:lnTo>
                      <a:pt x="648" y="294"/>
                    </a:lnTo>
                    <a:lnTo>
                      <a:pt x="645" y="296"/>
                    </a:lnTo>
                    <a:lnTo>
                      <a:pt x="636" y="298"/>
                    </a:lnTo>
                    <a:lnTo>
                      <a:pt x="635" y="296"/>
                    </a:lnTo>
                    <a:lnTo>
                      <a:pt x="632" y="296"/>
                    </a:lnTo>
                    <a:lnTo>
                      <a:pt x="629" y="298"/>
                    </a:lnTo>
                    <a:lnTo>
                      <a:pt x="626" y="308"/>
                    </a:lnTo>
                    <a:lnTo>
                      <a:pt x="632" y="315"/>
                    </a:lnTo>
                    <a:lnTo>
                      <a:pt x="635" y="317"/>
                    </a:lnTo>
                    <a:lnTo>
                      <a:pt x="636" y="317"/>
                    </a:lnTo>
                    <a:lnTo>
                      <a:pt x="638" y="318"/>
                    </a:lnTo>
                    <a:lnTo>
                      <a:pt x="639" y="318"/>
                    </a:lnTo>
                    <a:lnTo>
                      <a:pt x="641" y="321"/>
                    </a:lnTo>
                    <a:lnTo>
                      <a:pt x="644" y="323"/>
                    </a:lnTo>
                    <a:lnTo>
                      <a:pt x="644" y="328"/>
                    </a:lnTo>
                    <a:lnTo>
                      <a:pt x="647" y="331"/>
                    </a:lnTo>
                    <a:lnTo>
                      <a:pt x="654" y="334"/>
                    </a:lnTo>
                    <a:lnTo>
                      <a:pt x="657" y="333"/>
                    </a:lnTo>
                    <a:lnTo>
                      <a:pt x="660" y="328"/>
                    </a:lnTo>
                    <a:lnTo>
                      <a:pt x="663" y="327"/>
                    </a:lnTo>
                    <a:lnTo>
                      <a:pt x="665" y="324"/>
                    </a:lnTo>
                    <a:lnTo>
                      <a:pt x="671" y="321"/>
                    </a:lnTo>
                    <a:lnTo>
                      <a:pt x="673" y="321"/>
                    </a:lnTo>
                    <a:lnTo>
                      <a:pt x="678" y="326"/>
                    </a:lnTo>
                    <a:lnTo>
                      <a:pt x="680" y="326"/>
                    </a:lnTo>
                    <a:lnTo>
                      <a:pt x="683" y="328"/>
                    </a:lnTo>
                    <a:lnTo>
                      <a:pt x="687" y="327"/>
                    </a:lnTo>
                    <a:lnTo>
                      <a:pt x="690" y="326"/>
                    </a:lnTo>
                    <a:lnTo>
                      <a:pt x="693" y="328"/>
                    </a:lnTo>
                    <a:lnTo>
                      <a:pt x="696" y="328"/>
                    </a:lnTo>
                    <a:lnTo>
                      <a:pt x="697" y="328"/>
                    </a:lnTo>
                    <a:lnTo>
                      <a:pt x="697" y="333"/>
                    </a:lnTo>
                    <a:lnTo>
                      <a:pt x="696" y="334"/>
                    </a:lnTo>
                    <a:lnTo>
                      <a:pt x="696" y="336"/>
                    </a:lnTo>
                    <a:lnTo>
                      <a:pt x="693" y="339"/>
                    </a:lnTo>
                    <a:lnTo>
                      <a:pt x="692" y="339"/>
                    </a:lnTo>
                    <a:lnTo>
                      <a:pt x="692" y="336"/>
                    </a:lnTo>
                    <a:lnTo>
                      <a:pt x="690" y="336"/>
                    </a:lnTo>
                    <a:lnTo>
                      <a:pt x="687" y="336"/>
                    </a:lnTo>
                    <a:lnTo>
                      <a:pt x="686" y="337"/>
                    </a:lnTo>
                    <a:lnTo>
                      <a:pt x="684" y="340"/>
                    </a:lnTo>
                    <a:lnTo>
                      <a:pt x="678" y="340"/>
                    </a:lnTo>
                    <a:lnTo>
                      <a:pt x="676" y="342"/>
                    </a:lnTo>
                    <a:lnTo>
                      <a:pt x="673" y="342"/>
                    </a:lnTo>
                    <a:lnTo>
                      <a:pt x="673" y="346"/>
                    </a:lnTo>
                    <a:lnTo>
                      <a:pt x="673" y="346"/>
                    </a:lnTo>
                    <a:lnTo>
                      <a:pt x="671" y="347"/>
                    </a:lnTo>
                    <a:lnTo>
                      <a:pt x="670" y="352"/>
                    </a:lnTo>
                    <a:lnTo>
                      <a:pt x="667" y="352"/>
                    </a:lnTo>
                    <a:lnTo>
                      <a:pt x="665" y="349"/>
                    </a:lnTo>
                    <a:lnTo>
                      <a:pt x="663" y="349"/>
                    </a:lnTo>
                    <a:lnTo>
                      <a:pt x="661" y="352"/>
                    </a:lnTo>
                    <a:lnTo>
                      <a:pt x="664" y="353"/>
                    </a:lnTo>
                    <a:lnTo>
                      <a:pt x="660" y="358"/>
                    </a:lnTo>
                    <a:lnTo>
                      <a:pt x="655" y="360"/>
                    </a:lnTo>
                    <a:lnTo>
                      <a:pt x="649" y="372"/>
                    </a:lnTo>
                    <a:lnTo>
                      <a:pt x="649" y="375"/>
                    </a:lnTo>
                    <a:lnTo>
                      <a:pt x="664" y="382"/>
                    </a:lnTo>
                    <a:lnTo>
                      <a:pt x="665" y="384"/>
                    </a:lnTo>
                    <a:lnTo>
                      <a:pt x="667" y="388"/>
                    </a:lnTo>
                    <a:lnTo>
                      <a:pt x="668" y="391"/>
                    </a:lnTo>
                    <a:lnTo>
                      <a:pt x="673" y="410"/>
                    </a:lnTo>
                    <a:lnTo>
                      <a:pt x="676" y="413"/>
                    </a:lnTo>
                    <a:lnTo>
                      <a:pt x="678" y="414"/>
                    </a:lnTo>
                    <a:lnTo>
                      <a:pt x="680" y="417"/>
                    </a:lnTo>
                    <a:lnTo>
                      <a:pt x="687" y="426"/>
                    </a:lnTo>
                    <a:lnTo>
                      <a:pt x="687" y="427"/>
                    </a:lnTo>
                    <a:lnTo>
                      <a:pt x="678" y="423"/>
                    </a:lnTo>
                    <a:lnTo>
                      <a:pt x="676" y="423"/>
                    </a:lnTo>
                    <a:lnTo>
                      <a:pt x="668" y="420"/>
                    </a:lnTo>
                    <a:lnTo>
                      <a:pt x="663" y="421"/>
                    </a:lnTo>
                    <a:lnTo>
                      <a:pt x="663" y="423"/>
                    </a:lnTo>
                    <a:lnTo>
                      <a:pt x="668" y="421"/>
                    </a:lnTo>
                    <a:lnTo>
                      <a:pt x="670" y="423"/>
                    </a:lnTo>
                    <a:lnTo>
                      <a:pt x="671" y="424"/>
                    </a:lnTo>
                    <a:lnTo>
                      <a:pt x="674" y="424"/>
                    </a:lnTo>
                    <a:lnTo>
                      <a:pt x="677" y="427"/>
                    </a:lnTo>
                    <a:lnTo>
                      <a:pt x="680" y="430"/>
                    </a:lnTo>
                    <a:lnTo>
                      <a:pt x="683" y="433"/>
                    </a:lnTo>
                    <a:lnTo>
                      <a:pt x="687" y="439"/>
                    </a:lnTo>
                    <a:lnTo>
                      <a:pt x="687" y="440"/>
                    </a:lnTo>
                    <a:lnTo>
                      <a:pt x="683" y="440"/>
                    </a:lnTo>
                    <a:lnTo>
                      <a:pt x="680" y="443"/>
                    </a:lnTo>
                    <a:lnTo>
                      <a:pt x="676" y="445"/>
                    </a:lnTo>
                    <a:lnTo>
                      <a:pt x="674" y="446"/>
                    </a:lnTo>
                    <a:lnTo>
                      <a:pt x="671" y="448"/>
                    </a:lnTo>
                    <a:lnTo>
                      <a:pt x="665" y="449"/>
                    </a:lnTo>
                    <a:lnTo>
                      <a:pt x="663" y="451"/>
                    </a:lnTo>
                    <a:lnTo>
                      <a:pt x="665" y="449"/>
                    </a:lnTo>
                    <a:lnTo>
                      <a:pt x="671" y="452"/>
                    </a:lnTo>
                    <a:lnTo>
                      <a:pt x="677" y="449"/>
                    </a:lnTo>
                    <a:lnTo>
                      <a:pt x="678" y="451"/>
                    </a:lnTo>
                    <a:lnTo>
                      <a:pt x="681" y="452"/>
                    </a:lnTo>
                    <a:lnTo>
                      <a:pt x="681" y="453"/>
                    </a:lnTo>
                    <a:lnTo>
                      <a:pt x="686" y="455"/>
                    </a:lnTo>
                    <a:lnTo>
                      <a:pt x="687" y="455"/>
                    </a:lnTo>
                    <a:lnTo>
                      <a:pt x="689" y="456"/>
                    </a:lnTo>
                    <a:lnTo>
                      <a:pt x="681" y="462"/>
                    </a:lnTo>
                    <a:lnTo>
                      <a:pt x="681" y="462"/>
                    </a:lnTo>
                    <a:lnTo>
                      <a:pt x="686" y="461"/>
                    </a:lnTo>
                    <a:lnTo>
                      <a:pt x="686" y="466"/>
                    </a:lnTo>
                    <a:lnTo>
                      <a:pt x="686" y="465"/>
                    </a:lnTo>
                    <a:lnTo>
                      <a:pt x="684" y="466"/>
                    </a:lnTo>
                    <a:lnTo>
                      <a:pt x="681" y="468"/>
                    </a:lnTo>
                    <a:lnTo>
                      <a:pt x="681" y="468"/>
                    </a:lnTo>
                    <a:lnTo>
                      <a:pt x="681" y="471"/>
                    </a:lnTo>
                    <a:lnTo>
                      <a:pt x="681" y="474"/>
                    </a:lnTo>
                    <a:lnTo>
                      <a:pt x="680" y="475"/>
                    </a:lnTo>
                    <a:lnTo>
                      <a:pt x="680" y="480"/>
                    </a:lnTo>
                    <a:lnTo>
                      <a:pt x="678" y="484"/>
                    </a:lnTo>
                    <a:lnTo>
                      <a:pt x="678" y="482"/>
                    </a:lnTo>
                    <a:lnTo>
                      <a:pt x="677" y="481"/>
                    </a:lnTo>
                    <a:lnTo>
                      <a:pt x="676" y="482"/>
                    </a:lnTo>
                    <a:lnTo>
                      <a:pt x="667" y="494"/>
                    </a:lnTo>
                    <a:lnTo>
                      <a:pt x="667" y="496"/>
                    </a:lnTo>
                    <a:lnTo>
                      <a:pt x="665" y="500"/>
                    </a:lnTo>
                    <a:lnTo>
                      <a:pt x="661" y="504"/>
                    </a:lnTo>
                    <a:lnTo>
                      <a:pt x="660" y="507"/>
                    </a:lnTo>
                    <a:lnTo>
                      <a:pt x="658" y="510"/>
                    </a:lnTo>
                    <a:lnTo>
                      <a:pt x="658" y="509"/>
                    </a:lnTo>
                    <a:lnTo>
                      <a:pt x="658" y="506"/>
                    </a:lnTo>
                    <a:lnTo>
                      <a:pt x="655" y="506"/>
                    </a:lnTo>
                    <a:lnTo>
                      <a:pt x="654" y="507"/>
                    </a:lnTo>
                    <a:lnTo>
                      <a:pt x="655" y="512"/>
                    </a:lnTo>
                    <a:lnTo>
                      <a:pt x="655" y="513"/>
                    </a:lnTo>
                    <a:lnTo>
                      <a:pt x="654" y="517"/>
                    </a:lnTo>
                    <a:lnTo>
                      <a:pt x="654" y="519"/>
                    </a:lnTo>
                    <a:lnTo>
                      <a:pt x="654" y="522"/>
                    </a:lnTo>
                    <a:lnTo>
                      <a:pt x="652" y="522"/>
                    </a:lnTo>
                    <a:lnTo>
                      <a:pt x="652" y="523"/>
                    </a:lnTo>
                    <a:lnTo>
                      <a:pt x="652" y="525"/>
                    </a:lnTo>
                    <a:lnTo>
                      <a:pt x="652" y="526"/>
                    </a:lnTo>
                    <a:lnTo>
                      <a:pt x="652" y="528"/>
                    </a:lnTo>
                    <a:lnTo>
                      <a:pt x="651" y="526"/>
                    </a:lnTo>
                    <a:lnTo>
                      <a:pt x="649" y="526"/>
                    </a:lnTo>
                    <a:lnTo>
                      <a:pt x="648" y="528"/>
                    </a:lnTo>
                    <a:lnTo>
                      <a:pt x="648" y="529"/>
                    </a:lnTo>
                    <a:lnTo>
                      <a:pt x="648" y="530"/>
                    </a:lnTo>
                    <a:lnTo>
                      <a:pt x="647" y="530"/>
                    </a:lnTo>
                    <a:lnTo>
                      <a:pt x="645" y="530"/>
                    </a:lnTo>
                    <a:lnTo>
                      <a:pt x="644" y="535"/>
                    </a:lnTo>
                    <a:lnTo>
                      <a:pt x="641" y="536"/>
                    </a:lnTo>
                    <a:lnTo>
                      <a:pt x="641" y="538"/>
                    </a:lnTo>
                    <a:lnTo>
                      <a:pt x="639" y="539"/>
                    </a:lnTo>
                    <a:lnTo>
                      <a:pt x="635" y="541"/>
                    </a:lnTo>
                    <a:lnTo>
                      <a:pt x="633" y="541"/>
                    </a:lnTo>
                    <a:lnTo>
                      <a:pt x="631" y="542"/>
                    </a:lnTo>
                    <a:lnTo>
                      <a:pt x="631" y="542"/>
                    </a:lnTo>
                    <a:lnTo>
                      <a:pt x="632" y="544"/>
                    </a:lnTo>
                    <a:lnTo>
                      <a:pt x="631" y="546"/>
                    </a:lnTo>
                    <a:lnTo>
                      <a:pt x="628" y="549"/>
                    </a:lnTo>
                    <a:lnTo>
                      <a:pt x="626" y="549"/>
                    </a:lnTo>
                    <a:lnTo>
                      <a:pt x="626" y="552"/>
                    </a:lnTo>
                    <a:lnTo>
                      <a:pt x="625" y="551"/>
                    </a:lnTo>
                    <a:lnTo>
                      <a:pt x="623" y="552"/>
                    </a:lnTo>
                    <a:lnTo>
                      <a:pt x="623" y="554"/>
                    </a:lnTo>
                    <a:lnTo>
                      <a:pt x="622" y="554"/>
                    </a:lnTo>
                    <a:lnTo>
                      <a:pt x="622" y="554"/>
                    </a:lnTo>
                    <a:lnTo>
                      <a:pt x="619" y="555"/>
                    </a:lnTo>
                    <a:lnTo>
                      <a:pt x="618" y="555"/>
                    </a:lnTo>
                    <a:lnTo>
                      <a:pt x="616" y="555"/>
                    </a:lnTo>
                    <a:lnTo>
                      <a:pt x="610" y="564"/>
                    </a:lnTo>
                    <a:lnTo>
                      <a:pt x="602" y="568"/>
                    </a:lnTo>
                    <a:lnTo>
                      <a:pt x="597" y="567"/>
                    </a:lnTo>
                    <a:lnTo>
                      <a:pt x="597" y="568"/>
                    </a:lnTo>
                    <a:lnTo>
                      <a:pt x="596" y="570"/>
                    </a:lnTo>
                    <a:lnTo>
                      <a:pt x="594" y="570"/>
                    </a:lnTo>
                    <a:lnTo>
                      <a:pt x="593" y="568"/>
                    </a:lnTo>
                    <a:lnTo>
                      <a:pt x="593" y="568"/>
                    </a:lnTo>
                    <a:lnTo>
                      <a:pt x="591" y="567"/>
                    </a:lnTo>
                    <a:lnTo>
                      <a:pt x="588" y="568"/>
                    </a:lnTo>
                    <a:lnTo>
                      <a:pt x="587" y="571"/>
                    </a:lnTo>
                    <a:lnTo>
                      <a:pt x="586" y="571"/>
                    </a:lnTo>
                    <a:lnTo>
                      <a:pt x="584" y="570"/>
                    </a:lnTo>
                    <a:lnTo>
                      <a:pt x="584" y="568"/>
                    </a:lnTo>
                    <a:lnTo>
                      <a:pt x="583" y="568"/>
                    </a:lnTo>
                    <a:lnTo>
                      <a:pt x="583" y="571"/>
                    </a:lnTo>
                    <a:lnTo>
                      <a:pt x="583" y="571"/>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30" name="Freeform 1067"/>
              <p:cNvSpPr>
                <a:spLocks/>
              </p:cNvSpPr>
              <p:nvPr/>
            </p:nvSpPr>
            <p:spPr bwMode="auto">
              <a:xfrm>
                <a:off x="7077528" y="2337210"/>
                <a:ext cx="803049" cy="633760"/>
              </a:xfrm>
              <a:custGeom>
                <a:avLst/>
                <a:gdLst>
                  <a:gd name="T0" fmla="*/ 2147483647 w 872"/>
                  <a:gd name="T1" fmla="*/ 2147483647 h 606"/>
                  <a:gd name="T2" fmla="*/ 2147483647 w 872"/>
                  <a:gd name="T3" fmla="*/ 2147483647 h 606"/>
                  <a:gd name="T4" fmla="*/ 2147483647 w 872"/>
                  <a:gd name="T5" fmla="*/ 2147483647 h 606"/>
                  <a:gd name="T6" fmla="*/ 2147483647 w 872"/>
                  <a:gd name="T7" fmla="*/ 2147483647 h 606"/>
                  <a:gd name="T8" fmla="*/ 2147483647 w 872"/>
                  <a:gd name="T9" fmla="*/ 2147483647 h 606"/>
                  <a:gd name="T10" fmla="*/ 2147483647 w 872"/>
                  <a:gd name="T11" fmla="*/ 2147483647 h 606"/>
                  <a:gd name="T12" fmla="*/ 2147483647 w 872"/>
                  <a:gd name="T13" fmla="*/ 2147483647 h 606"/>
                  <a:gd name="T14" fmla="*/ 2147483647 w 872"/>
                  <a:gd name="T15" fmla="*/ 2147483647 h 606"/>
                  <a:gd name="T16" fmla="*/ 2147483647 w 872"/>
                  <a:gd name="T17" fmla="*/ 2147483647 h 606"/>
                  <a:gd name="T18" fmla="*/ 2147483647 w 872"/>
                  <a:gd name="T19" fmla="*/ 2147483647 h 606"/>
                  <a:gd name="T20" fmla="*/ 2147483647 w 872"/>
                  <a:gd name="T21" fmla="*/ 2147483647 h 606"/>
                  <a:gd name="T22" fmla="*/ 2147483647 w 872"/>
                  <a:gd name="T23" fmla="*/ 2147483647 h 606"/>
                  <a:gd name="T24" fmla="*/ 2147483647 w 872"/>
                  <a:gd name="T25" fmla="*/ 2147483647 h 606"/>
                  <a:gd name="T26" fmla="*/ 2147483647 w 872"/>
                  <a:gd name="T27" fmla="*/ 2147483647 h 606"/>
                  <a:gd name="T28" fmla="*/ 2147483647 w 872"/>
                  <a:gd name="T29" fmla="*/ 2147483647 h 606"/>
                  <a:gd name="T30" fmla="*/ 2147483647 w 872"/>
                  <a:gd name="T31" fmla="*/ 2147483647 h 606"/>
                  <a:gd name="T32" fmla="*/ 2147483647 w 872"/>
                  <a:gd name="T33" fmla="*/ 2147483647 h 606"/>
                  <a:gd name="T34" fmla="*/ 2147483647 w 872"/>
                  <a:gd name="T35" fmla="*/ 2147483647 h 606"/>
                  <a:gd name="T36" fmla="*/ 2147483647 w 872"/>
                  <a:gd name="T37" fmla="*/ 2147483647 h 606"/>
                  <a:gd name="T38" fmla="*/ 2147483647 w 872"/>
                  <a:gd name="T39" fmla="*/ 2147483647 h 606"/>
                  <a:gd name="T40" fmla="*/ 2147483647 w 872"/>
                  <a:gd name="T41" fmla="*/ 2147483647 h 606"/>
                  <a:gd name="T42" fmla="*/ 2147483647 w 872"/>
                  <a:gd name="T43" fmla="*/ 2147483647 h 606"/>
                  <a:gd name="T44" fmla="*/ 2147483647 w 872"/>
                  <a:gd name="T45" fmla="*/ 2147483647 h 606"/>
                  <a:gd name="T46" fmla="*/ 2147483647 w 872"/>
                  <a:gd name="T47" fmla="*/ 2147483647 h 606"/>
                  <a:gd name="T48" fmla="*/ 2147483647 w 872"/>
                  <a:gd name="T49" fmla="*/ 2147483647 h 606"/>
                  <a:gd name="T50" fmla="*/ 2147483647 w 872"/>
                  <a:gd name="T51" fmla="*/ 2147483647 h 606"/>
                  <a:gd name="T52" fmla="*/ 2147483647 w 872"/>
                  <a:gd name="T53" fmla="*/ 2147483647 h 606"/>
                  <a:gd name="T54" fmla="*/ 2147483647 w 872"/>
                  <a:gd name="T55" fmla="*/ 2147483647 h 606"/>
                  <a:gd name="T56" fmla="*/ 2147483647 w 872"/>
                  <a:gd name="T57" fmla="*/ 2147483647 h 606"/>
                  <a:gd name="T58" fmla="*/ 2147483647 w 872"/>
                  <a:gd name="T59" fmla="*/ 2147483647 h 606"/>
                  <a:gd name="T60" fmla="*/ 2147483647 w 872"/>
                  <a:gd name="T61" fmla="*/ 2147483647 h 606"/>
                  <a:gd name="T62" fmla="*/ 2147483647 w 872"/>
                  <a:gd name="T63" fmla="*/ 2147483647 h 606"/>
                  <a:gd name="T64" fmla="*/ 2147483647 w 872"/>
                  <a:gd name="T65" fmla="*/ 2147483647 h 606"/>
                  <a:gd name="T66" fmla="*/ 2147483647 w 872"/>
                  <a:gd name="T67" fmla="*/ 2147483647 h 606"/>
                  <a:gd name="T68" fmla="*/ 2147483647 w 872"/>
                  <a:gd name="T69" fmla="*/ 2147483647 h 606"/>
                  <a:gd name="T70" fmla="*/ 2147483647 w 872"/>
                  <a:gd name="T71" fmla="*/ 2147483647 h 606"/>
                  <a:gd name="T72" fmla="*/ 2147483647 w 872"/>
                  <a:gd name="T73" fmla="*/ 2147483647 h 606"/>
                  <a:gd name="T74" fmla="*/ 2147483647 w 872"/>
                  <a:gd name="T75" fmla="*/ 2147483647 h 606"/>
                  <a:gd name="T76" fmla="*/ 2147483647 w 872"/>
                  <a:gd name="T77" fmla="*/ 2147483647 h 606"/>
                  <a:gd name="T78" fmla="*/ 2147483647 w 872"/>
                  <a:gd name="T79" fmla="*/ 2147483647 h 606"/>
                  <a:gd name="T80" fmla="*/ 2147483647 w 872"/>
                  <a:gd name="T81" fmla="*/ 2147483647 h 606"/>
                  <a:gd name="T82" fmla="*/ 2147483647 w 872"/>
                  <a:gd name="T83" fmla="*/ 2147483647 h 606"/>
                  <a:gd name="T84" fmla="*/ 2147483647 w 872"/>
                  <a:gd name="T85" fmla="*/ 2147483647 h 606"/>
                  <a:gd name="T86" fmla="*/ 2147483647 w 872"/>
                  <a:gd name="T87" fmla="*/ 2147483647 h 606"/>
                  <a:gd name="T88" fmla="*/ 2147483647 w 872"/>
                  <a:gd name="T89" fmla="*/ 2147483647 h 606"/>
                  <a:gd name="T90" fmla="*/ 2147483647 w 872"/>
                  <a:gd name="T91" fmla="*/ 2147483647 h 606"/>
                  <a:gd name="T92" fmla="*/ 2147483647 w 872"/>
                  <a:gd name="T93" fmla="*/ 2147483647 h 606"/>
                  <a:gd name="T94" fmla="*/ 2147483647 w 872"/>
                  <a:gd name="T95" fmla="*/ 2147483647 h 606"/>
                  <a:gd name="T96" fmla="*/ 2147483647 w 872"/>
                  <a:gd name="T97" fmla="*/ 2147483647 h 606"/>
                  <a:gd name="T98" fmla="*/ 2147483647 w 872"/>
                  <a:gd name="T99" fmla="*/ 2147483647 h 606"/>
                  <a:gd name="T100" fmla="*/ 2147483647 w 872"/>
                  <a:gd name="T101" fmla="*/ 2147483647 h 606"/>
                  <a:gd name="T102" fmla="*/ 2147483647 w 872"/>
                  <a:gd name="T103" fmla="*/ 2147483647 h 606"/>
                  <a:gd name="T104" fmla="*/ 2147483647 w 872"/>
                  <a:gd name="T105" fmla="*/ 2147483647 h 606"/>
                  <a:gd name="T106" fmla="*/ 2147483647 w 872"/>
                  <a:gd name="T107" fmla="*/ 2147483647 h 606"/>
                  <a:gd name="T108" fmla="*/ 2147483647 w 872"/>
                  <a:gd name="T109" fmla="*/ 2147483647 h 606"/>
                  <a:gd name="T110" fmla="*/ 2147483647 w 872"/>
                  <a:gd name="T111" fmla="*/ 2147483647 h 606"/>
                  <a:gd name="T112" fmla="*/ 2147483647 w 872"/>
                  <a:gd name="T113" fmla="*/ 2147483647 h 606"/>
                  <a:gd name="T114" fmla="*/ 2147483647 w 872"/>
                  <a:gd name="T115" fmla="*/ 2147483647 h 606"/>
                  <a:gd name="T116" fmla="*/ 2147483647 w 872"/>
                  <a:gd name="T117" fmla="*/ 2147483647 h 606"/>
                  <a:gd name="T118" fmla="*/ 2147483647 w 872"/>
                  <a:gd name="T119" fmla="*/ 2147483647 h 606"/>
                  <a:gd name="T120" fmla="*/ 2147483647 w 872"/>
                  <a:gd name="T121" fmla="*/ 2147483647 h 606"/>
                  <a:gd name="T122" fmla="*/ 2147483647 w 872"/>
                  <a:gd name="T123" fmla="*/ 2147483647 h 606"/>
                  <a:gd name="T124" fmla="*/ 2147483647 w 872"/>
                  <a:gd name="T125" fmla="*/ 2147483647 h 60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72"/>
                  <a:gd name="T190" fmla="*/ 0 h 606"/>
                  <a:gd name="T191" fmla="*/ 872 w 872"/>
                  <a:gd name="T192" fmla="*/ 606 h 606"/>
                  <a:gd name="connsiteX0" fmla="*/ 6686 w 10000"/>
                  <a:gd name="connsiteY0" fmla="*/ 9422 h 10000"/>
                  <a:gd name="connsiteX1" fmla="*/ 6663 w 10000"/>
                  <a:gd name="connsiteY1" fmla="*/ 9455 h 10000"/>
                  <a:gd name="connsiteX2" fmla="*/ 6663 w 10000"/>
                  <a:gd name="connsiteY2" fmla="*/ 9422 h 10000"/>
                  <a:gd name="connsiteX3" fmla="*/ 6651 w 10000"/>
                  <a:gd name="connsiteY3" fmla="*/ 9422 h 10000"/>
                  <a:gd name="connsiteX4" fmla="*/ 6628 w 10000"/>
                  <a:gd name="connsiteY4" fmla="*/ 9422 h 10000"/>
                  <a:gd name="connsiteX5" fmla="*/ 6617 w 10000"/>
                  <a:gd name="connsiteY5" fmla="*/ 9422 h 10000"/>
                  <a:gd name="connsiteX6" fmla="*/ 6617 w 10000"/>
                  <a:gd name="connsiteY6" fmla="*/ 9455 h 10000"/>
                  <a:gd name="connsiteX7" fmla="*/ 6628 w 10000"/>
                  <a:gd name="connsiteY7" fmla="*/ 9472 h 10000"/>
                  <a:gd name="connsiteX8" fmla="*/ 6583 w 10000"/>
                  <a:gd name="connsiteY8" fmla="*/ 9472 h 10000"/>
                  <a:gd name="connsiteX9" fmla="*/ 6583 w 10000"/>
                  <a:gd name="connsiteY9" fmla="*/ 9455 h 10000"/>
                  <a:gd name="connsiteX10" fmla="*/ 6583 w 10000"/>
                  <a:gd name="connsiteY10" fmla="*/ 9422 h 10000"/>
                  <a:gd name="connsiteX11" fmla="*/ 6548 w 10000"/>
                  <a:gd name="connsiteY11" fmla="*/ 9406 h 10000"/>
                  <a:gd name="connsiteX12" fmla="*/ 6514 w 10000"/>
                  <a:gd name="connsiteY12" fmla="*/ 9373 h 10000"/>
                  <a:gd name="connsiteX13" fmla="*/ 6514 w 10000"/>
                  <a:gd name="connsiteY13" fmla="*/ 9356 h 10000"/>
                  <a:gd name="connsiteX14" fmla="*/ 6514 w 10000"/>
                  <a:gd name="connsiteY14" fmla="*/ 9488 h 10000"/>
                  <a:gd name="connsiteX15" fmla="*/ 6502 w 10000"/>
                  <a:gd name="connsiteY15" fmla="*/ 9488 h 10000"/>
                  <a:gd name="connsiteX16" fmla="*/ 6479 w 10000"/>
                  <a:gd name="connsiteY16" fmla="*/ 9488 h 10000"/>
                  <a:gd name="connsiteX17" fmla="*/ 6445 w 10000"/>
                  <a:gd name="connsiteY17" fmla="*/ 9422 h 10000"/>
                  <a:gd name="connsiteX18" fmla="*/ 6433 w 10000"/>
                  <a:gd name="connsiteY18" fmla="*/ 9406 h 10000"/>
                  <a:gd name="connsiteX19" fmla="*/ 6411 w 10000"/>
                  <a:gd name="connsiteY19" fmla="*/ 9521 h 10000"/>
                  <a:gd name="connsiteX20" fmla="*/ 6411 w 10000"/>
                  <a:gd name="connsiteY20" fmla="*/ 9571 h 10000"/>
                  <a:gd name="connsiteX21" fmla="*/ 6411 w 10000"/>
                  <a:gd name="connsiteY21" fmla="*/ 9587 h 10000"/>
                  <a:gd name="connsiteX22" fmla="*/ 6399 w 10000"/>
                  <a:gd name="connsiteY22" fmla="*/ 9571 h 10000"/>
                  <a:gd name="connsiteX23" fmla="*/ 6353 w 10000"/>
                  <a:gd name="connsiteY23" fmla="*/ 9620 h 10000"/>
                  <a:gd name="connsiteX24" fmla="*/ 6319 w 10000"/>
                  <a:gd name="connsiteY24" fmla="*/ 9620 h 10000"/>
                  <a:gd name="connsiteX25" fmla="*/ 6296 w 10000"/>
                  <a:gd name="connsiteY25" fmla="*/ 9637 h 10000"/>
                  <a:gd name="connsiteX26" fmla="*/ 6261 w 10000"/>
                  <a:gd name="connsiteY26" fmla="*/ 9637 h 10000"/>
                  <a:gd name="connsiteX27" fmla="*/ 6261 w 10000"/>
                  <a:gd name="connsiteY27" fmla="*/ 9620 h 10000"/>
                  <a:gd name="connsiteX28" fmla="*/ 6227 w 10000"/>
                  <a:gd name="connsiteY28" fmla="*/ 9620 h 10000"/>
                  <a:gd name="connsiteX29" fmla="*/ 6204 w 10000"/>
                  <a:gd name="connsiteY29" fmla="*/ 9670 h 10000"/>
                  <a:gd name="connsiteX30" fmla="*/ 6135 w 10000"/>
                  <a:gd name="connsiteY30" fmla="*/ 9686 h 10000"/>
                  <a:gd name="connsiteX31" fmla="*/ 6101 w 10000"/>
                  <a:gd name="connsiteY31" fmla="*/ 9686 h 10000"/>
                  <a:gd name="connsiteX32" fmla="*/ 6032 w 10000"/>
                  <a:gd name="connsiteY32" fmla="*/ 9736 h 10000"/>
                  <a:gd name="connsiteX33" fmla="*/ 5998 w 10000"/>
                  <a:gd name="connsiteY33" fmla="*/ 9719 h 10000"/>
                  <a:gd name="connsiteX34" fmla="*/ 5963 w 10000"/>
                  <a:gd name="connsiteY34" fmla="*/ 9835 h 10000"/>
                  <a:gd name="connsiteX35" fmla="*/ 5998 w 10000"/>
                  <a:gd name="connsiteY35" fmla="*/ 9934 h 10000"/>
                  <a:gd name="connsiteX36" fmla="*/ 5998 w 10000"/>
                  <a:gd name="connsiteY36" fmla="*/ 9983 h 10000"/>
                  <a:gd name="connsiteX37" fmla="*/ 5952 w 10000"/>
                  <a:gd name="connsiteY37" fmla="*/ 10000 h 10000"/>
                  <a:gd name="connsiteX38" fmla="*/ 5917 w 10000"/>
                  <a:gd name="connsiteY38" fmla="*/ 9983 h 10000"/>
                  <a:gd name="connsiteX39" fmla="*/ 5872 w 10000"/>
                  <a:gd name="connsiteY39" fmla="*/ 9802 h 10000"/>
                  <a:gd name="connsiteX40" fmla="*/ 5883 w 10000"/>
                  <a:gd name="connsiteY40" fmla="*/ 9719 h 10000"/>
                  <a:gd name="connsiteX41" fmla="*/ 5883 w 10000"/>
                  <a:gd name="connsiteY41" fmla="*/ 9670 h 10000"/>
                  <a:gd name="connsiteX42" fmla="*/ 5837 w 10000"/>
                  <a:gd name="connsiteY42" fmla="*/ 9719 h 10000"/>
                  <a:gd name="connsiteX43" fmla="*/ 5803 w 10000"/>
                  <a:gd name="connsiteY43" fmla="*/ 9719 h 10000"/>
                  <a:gd name="connsiteX44" fmla="*/ 5780 w 10000"/>
                  <a:gd name="connsiteY44" fmla="*/ 9686 h 10000"/>
                  <a:gd name="connsiteX45" fmla="*/ 5780 w 10000"/>
                  <a:gd name="connsiteY45" fmla="*/ 9670 h 10000"/>
                  <a:gd name="connsiteX46" fmla="*/ 5700 w 10000"/>
                  <a:gd name="connsiteY46" fmla="*/ 9637 h 10000"/>
                  <a:gd name="connsiteX47" fmla="*/ 5688 w 10000"/>
                  <a:gd name="connsiteY47" fmla="*/ 9637 h 10000"/>
                  <a:gd name="connsiteX48" fmla="*/ 5688 w 10000"/>
                  <a:gd name="connsiteY48" fmla="*/ 9670 h 10000"/>
                  <a:gd name="connsiteX49" fmla="*/ 5654 w 10000"/>
                  <a:gd name="connsiteY49" fmla="*/ 9686 h 10000"/>
                  <a:gd name="connsiteX50" fmla="*/ 5654 w 10000"/>
                  <a:gd name="connsiteY50" fmla="*/ 9719 h 10000"/>
                  <a:gd name="connsiteX51" fmla="*/ 5631 w 10000"/>
                  <a:gd name="connsiteY51" fmla="*/ 9670 h 10000"/>
                  <a:gd name="connsiteX52" fmla="*/ 5596 w 10000"/>
                  <a:gd name="connsiteY52" fmla="*/ 9686 h 10000"/>
                  <a:gd name="connsiteX53" fmla="*/ 5585 w 10000"/>
                  <a:gd name="connsiteY53" fmla="*/ 9686 h 10000"/>
                  <a:gd name="connsiteX54" fmla="*/ 5505 w 10000"/>
                  <a:gd name="connsiteY54" fmla="*/ 9670 h 10000"/>
                  <a:gd name="connsiteX55" fmla="*/ 5482 w 10000"/>
                  <a:gd name="connsiteY55" fmla="*/ 9637 h 10000"/>
                  <a:gd name="connsiteX56" fmla="*/ 5413 w 10000"/>
                  <a:gd name="connsiteY56" fmla="*/ 9587 h 10000"/>
                  <a:gd name="connsiteX57" fmla="*/ 5378 w 10000"/>
                  <a:gd name="connsiteY57" fmla="*/ 9538 h 10000"/>
                  <a:gd name="connsiteX58" fmla="*/ 5367 w 10000"/>
                  <a:gd name="connsiteY58" fmla="*/ 9472 h 10000"/>
                  <a:gd name="connsiteX59" fmla="*/ 5378 w 10000"/>
                  <a:gd name="connsiteY59" fmla="*/ 9406 h 10000"/>
                  <a:gd name="connsiteX60" fmla="*/ 5378 w 10000"/>
                  <a:gd name="connsiteY60" fmla="*/ 9373 h 10000"/>
                  <a:gd name="connsiteX61" fmla="*/ 5287 w 10000"/>
                  <a:gd name="connsiteY61" fmla="*/ 9356 h 10000"/>
                  <a:gd name="connsiteX62" fmla="*/ 5149 w 10000"/>
                  <a:gd name="connsiteY62" fmla="*/ 9257 h 10000"/>
                  <a:gd name="connsiteX63" fmla="*/ 5138 w 10000"/>
                  <a:gd name="connsiteY63" fmla="*/ 9257 h 10000"/>
                  <a:gd name="connsiteX64" fmla="*/ 5069 w 10000"/>
                  <a:gd name="connsiteY64" fmla="*/ 9356 h 10000"/>
                  <a:gd name="connsiteX65" fmla="*/ 5011 w 10000"/>
                  <a:gd name="connsiteY65" fmla="*/ 9373 h 10000"/>
                  <a:gd name="connsiteX66" fmla="*/ 4989 w 10000"/>
                  <a:gd name="connsiteY66" fmla="*/ 9373 h 10000"/>
                  <a:gd name="connsiteX67" fmla="*/ 4966 w 10000"/>
                  <a:gd name="connsiteY67" fmla="*/ 9406 h 10000"/>
                  <a:gd name="connsiteX68" fmla="*/ 4931 w 10000"/>
                  <a:gd name="connsiteY68" fmla="*/ 9422 h 10000"/>
                  <a:gd name="connsiteX69" fmla="*/ 4920 w 10000"/>
                  <a:gd name="connsiteY69" fmla="*/ 9406 h 10000"/>
                  <a:gd name="connsiteX70" fmla="*/ 4885 w 10000"/>
                  <a:gd name="connsiteY70" fmla="*/ 9422 h 10000"/>
                  <a:gd name="connsiteX71" fmla="*/ 4862 w 10000"/>
                  <a:gd name="connsiteY71" fmla="*/ 9406 h 10000"/>
                  <a:gd name="connsiteX72" fmla="*/ 4851 w 10000"/>
                  <a:gd name="connsiteY72" fmla="*/ 9406 h 10000"/>
                  <a:gd name="connsiteX73" fmla="*/ 4805 w 10000"/>
                  <a:gd name="connsiteY73" fmla="*/ 9455 h 10000"/>
                  <a:gd name="connsiteX74" fmla="*/ 4782 w 10000"/>
                  <a:gd name="connsiteY74" fmla="*/ 9422 h 10000"/>
                  <a:gd name="connsiteX75" fmla="*/ 4771 w 10000"/>
                  <a:gd name="connsiteY75" fmla="*/ 9406 h 10000"/>
                  <a:gd name="connsiteX76" fmla="*/ 4713 w 10000"/>
                  <a:gd name="connsiteY76" fmla="*/ 9406 h 10000"/>
                  <a:gd name="connsiteX77" fmla="*/ 4713 w 10000"/>
                  <a:gd name="connsiteY77" fmla="*/ 9373 h 10000"/>
                  <a:gd name="connsiteX78" fmla="*/ 4702 w 10000"/>
                  <a:gd name="connsiteY78" fmla="*/ 9406 h 10000"/>
                  <a:gd name="connsiteX79" fmla="*/ 4667 w 10000"/>
                  <a:gd name="connsiteY79" fmla="*/ 9455 h 10000"/>
                  <a:gd name="connsiteX80" fmla="*/ 4667 w 10000"/>
                  <a:gd name="connsiteY80" fmla="*/ 9472 h 10000"/>
                  <a:gd name="connsiteX81" fmla="*/ 4656 w 10000"/>
                  <a:gd name="connsiteY81" fmla="*/ 9455 h 10000"/>
                  <a:gd name="connsiteX82" fmla="*/ 4587 w 10000"/>
                  <a:gd name="connsiteY82" fmla="*/ 9422 h 10000"/>
                  <a:gd name="connsiteX83" fmla="*/ 4564 w 10000"/>
                  <a:gd name="connsiteY83" fmla="*/ 9472 h 10000"/>
                  <a:gd name="connsiteX84" fmla="*/ 4564 w 10000"/>
                  <a:gd name="connsiteY84" fmla="*/ 9587 h 10000"/>
                  <a:gd name="connsiteX85" fmla="*/ 4587 w 10000"/>
                  <a:gd name="connsiteY85" fmla="*/ 9670 h 10000"/>
                  <a:gd name="connsiteX86" fmla="*/ 4587 w 10000"/>
                  <a:gd name="connsiteY86" fmla="*/ 9736 h 10000"/>
                  <a:gd name="connsiteX87" fmla="*/ 4564 w 10000"/>
                  <a:gd name="connsiteY87" fmla="*/ 9736 h 10000"/>
                  <a:gd name="connsiteX88" fmla="*/ 4518 w 10000"/>
                  <a:gd name="connsiteY88" fmla="*/ 9752 h 10000"/>
                  <a:gd name="connsiteX89" fmla="*/ 4484 w 10000"/>
                  <a:gd name="connsiteY89" fmla="*/ 9620 h 10000"/>
                  <a:gd name="connsiteX90" fmla="*/ 4450 w 10000"/>
                  <a:gd name="connsiteY90" fmla="*/ 9620 h 10000"/>
                  <a:gd name="connsiteX91" fmla="*/ 4415 w 10000"/>
                  <a:gd name="connsiteY91" fmla="*/ 9670 h 10000"/>
                  <a:gd name="connsiteX92" fmla="*/ 4346 w 10000"/>
                  <a:gd name="connsiteY92" fmla="*/ 9670 h 10000"/>
                  <a:gd name="connsiteX93" fmla="*/ 4300 w 10000"/>
                  <a:gd name="connsiteY93" fmla="*/ 9587 h 10000"/>
                  <a:gd name="connsiteX94" fmla="*/ 4289 w 10000"/>
                  <a:gd name="connsiteY94" fmla="*/ 9538 h 10000"/>
                  <a:gd name="connsiteX95" fmla="*/ 4186 w 10000"/>
                  <a:gd name="connsiteY95" fmla="*/ 9521 h 10000"/>
                  <a:gd name="connsiteX96" fmla="*/ 4220 w 10000"/>
                  <a:gd name="connsiteY96" fmla="*/ 9323 h 10000"/>
                  <a:gd name="connsiteX97" fmla="*/ 4140 w 10000"/>
                  <a:gd name="connsiteY97" fmla="*/ 9224 h 10000"/>
                  <a:gd name="connsiteX98" fmla="*/ 4140 w 10000"/>
                  <a:gd name="connsiteY98" fmla="*/ 9158 h 10000"/>
                  <a:gd name="connsiteX99" fmla="*/ 4117 w 10000"/>
                  <a:gd name="connsiteY99" fmla="*/ 9092 h 10000"/>
                  <a:gd name="connsiteX100" fmla="*/ 4117 w 10000"/>
                  <a:gd name="connsiteY100" fmla="*/ 9043 h 10000"/>
                  <a:gd name="connsiteX101" fmla="*/ 4002 w 10000"/>
                  <a:gd name="connsiteY101" fmla="*/ 9043 h 10000"/>
                  <a:gd name="connsiteX102" fmla="*/ 3933 w 10000"/>
                  <a:gd name="connsiteY102" fmla="*/ 9142 h 10000"/>
                  <a:gd name="connsiteX103" fmla="*/ 3922 w 10000"/>
                  <a:gd name="connsiteY103" fmla="*/ 9109 h 10000"/>
                  <a:gd name="connsiteX104" fmla="*/ 3956 w 10000"/>
                  <a:gd name="connsiteY104" fmla="*/ 9043 h 10000"/>
                  <a:gd name="connsiteX105" fmla="*/ 3956 w 10000"/>
                  <a:gd name="connsiteY105" fmla="*/ 8993 h 10000"/>
                  <a:gd name="connsiteX106" fmla="*/ 3933 w 10000"/>
                  <a:gd name="connsiteY106" fmla="*/ 8944 h 10000"/>
                  <a:gd name="connsiteX107" fmla="*/ 3968 w 10000"/>
                  <a:gd name="connsiteY107" fmla="*/ 8795 h 10000"/>
                  <a:gd name="connsiteX108" fmla="*/ 4002 w 10000"/>
                  <a:gd name="connsiteY108" fmla="*/ 8746 h 10000"/>
                  <a:gd name="connsiteX109" fmla="*/ 4014 w 10000"/>
                  <a:gd name="connsiteY109" fmla="*/ 8713 h 10000"/>
                  <a:gd name="connsiteX110" fmla="*/ 4037 w 10000"/>
                  <a:gd name="connsiteY110" fmla="*/ 8713 h 10000"/>
                  <a:gd name="connsiteX111" fmla="*/ 4083 w 10000"/>
                  <a:gd name="connsiteY111" fmla="*/ 8531 h 10000"/>
                  <a:gd name="connsiteX112" fmla="*/ 4071 w 10000"/>
                  <a:gd name="connsiteY112" fmla="*/ 8152 h 10000"/>
                  <a:gd name="connsiteX113" fmla="*/ 4014 w 10000"/>
                  <a:gd name="connsiteY113" fmla="*/ 8135 h 10000"/>
                  <a:gd name="connsiteX114" fmla="*/ 4002 w 10000"/>
                  <a:gd name="connsiteY114" fmla="*/ 8102 h 10000"/>
                  <a:gd name="connsiteX115" fmla="*/ 4002 w 10000"/>
                  <a:gd name="connsiteY115" fmla="*/ 8036 h 10000"/>
                  <a:gd name="connsiteX116" fmla="*/ 3968 w 10000"/>
                  <a:gd name="connsiteY116" fmla="*/ 7954 h 10000"/>
                  <a:gd name="connsiteX117" fmla="*/ 3922 w 10000"/>
                  <a:gd name="connsiteY117" fmla="*/ 7937 h 10000"/>
                  <a:gd name="connsiteX118" fmla="*/ 3899 w 10000"/>
                  <a:gd name="connsiteY118" fmla="*/ 7954 h 10000"/>
                  <a:gd name="connsiteX119" fmla="*/ 3888 w 10000"/>
                  <a:gd name="connsiteY119" fmla="*/ 7987 h 10000"/>
                  <a:gd name="connsiteX120" fmla="*/ 3865 w 10000"/>
                  <a:gd name="connsiteY120" fmla="*/ 7937 h 10000"/>
                  <a:gd name="connsiteX121" fmla="*/ 3830 w 10000"/>
                  <a:gd name="connsiteY121" fmla="*/ 7921 h 10000"/>
                  <a:gd name="connsiteX122" fmla="*/ 3784 w 10000"/>
                  <a:gd name="connsiteY122" fmla="*/ 7921 h 10000"/>
                  <a:gd name="connsiteX123" fmla="*/ 3773 w 10000"/>
                  <a:gd name="connsiteY123" fmla="*/ 7888 h 10000"/>
                  <a:gd name="connsiteX124" fmla="*/ 3704 w 10000"/>
                  <a:gd name="connsiteY124" fmla="*/ 7888 h 10000"/>
                  <a:gd name="connsiteX125" fmla="*/ 3716 w 10000"/>
                  <a:gd name="connsiteY125" fmla="*/ 7772 h 10000"/>
                  <a:gd name="connsiteX126" fmla="*/ 3681 w 10000"/>
                  <a:gd name="connsiteY126" fmla="*/ 7739 h 10000"/>
                  <a:gd name="connsiteX127" fmla="*/ 3681 w 10000"/>
                  <a:gd name="connsiteY127" fmla="*/ 7690 h 10000"/>
                  <a:gd name="connsiteX128" fmla="*/ 3681 w 10000"/>
                  <a:gd name="connsiteY128" fmla="*/ 7673 h 10000"/>
                  <a:gd name="connsiteX129" fmla="*/ 3647 w 10000"/>
                  <a:gd name="connsiteY129" fmla="*/ 7624 h 10000"/>
                  <a:gd name="connsiteX130" fmla="*/ 3624 w 10000"/>
                  <a:gd name="connsiteY130" fmla="*/ 7657 h 10000"/>
                  <a:gd name="connsiteX131" fmla="*/ 3567 w 10000"/>
                  <a:gd name="connsiteY131" fmla="*/ 7673 h 10000"/>
                  <a:gd name="connsiteX132" fmla="*/ 3532 w 10000"/>
                  <a:gd name="connsiteY132" fmla="*/ 7690 h 10000"/>
                  <a:gd name="connsiteX133" fmla="*/ 3452 w 10000"/>
                  <a:gd name="connsiteY133" fmla="*/ 7690 h 10000"/>
                  <a:gd name="connsiteX134" fmla="*/ 3440 w 10000"/>
                  <a:gd name="connsiteY134" fmla="*/ 7673 h 10000"/>
                  <a:gd name="connsiteX135" fmla="*/ 3417 w 10000"/>
                  <a:gd name="connsiteY135" fmla="*/ 7673 h 10000"/>
                  <a:gd name="connsiteX136" fmla="*/ 3349 w 10000"/>
                  <a:gd name="connsiteY136" fmla="*/ 7723 h 10000"/>
                  <a:gd name="connsiteX137" fmla="*/ 3337 w 10000"/>
                  <a:gd name="connsiteY137" fmla="*/ 7772 h 10000"/>
                  <a:gd name="connsiteX138" fmla="*/ 3280 w 10000"/>
                  <a:gd name="connsiteY138" fmla="*/ 7838 h 10000"/>
                  <a:gd name="connsiteX139" fmla="*/ 3234 w 10000"/>
                  <a:gd name="connsiteY139" fmla="*/ 7871 h 10000"/>
                  <a:gd name="connsiteX140" fmla="*/ 3165 w 10000"/>
                  <a:gd name="connsiteY140" fmla="*/ 7954 h 10000"/>
                  <a:gd name="connsiteX141" fmla="*/ 2947 w 10000"/>
                  <a:gd name="connsiteY141" fmla="*/ 8086 h 10000"/>
                  <a:gd name="connsiteX142" fmla="*/ 2924 w 10000"/>
                  <a:gd name="connsiteY142" fmla="*/ 8036 h 10000"/>
                  <a:gd name="connsiteX143" fmla="*/ 2901 w 10000"/>
                  <a:gd name="connsiteY143" fmla="*/ 8036 h 10000"/>
                  <a:gd name="connsiteX144" fmla="*/ 2901 w 10000"/>
                  <a:gd name="connsiteY144" fmla="*/ 8003 h 10000"/>
                  <a:gd name="connsiteX145" fmla="*/ 2856 w 10000"/>
                  <a:gd name="connsiteY145" fmla="*/ 8036 h 10000"/>
                  <a:gd name="connsiteX146" fmla="*/ 2752 w 10000"/>
                  <a:gd name="connsiteY146" fmla="*/ 8003 h 10000"/>
                  <a:gd name="connsiteX147" fmla="*/ 2741 w 10000"/>
                  <a:gd name="connsiteY147" fmla="*/ 7987 h 10000"/>
                  <a:gd name="connsiteX148" fmla="*/ 2718 w 10000"/>
                  <a:gd name="connsiteY148" fmla="*/ 7954 h 10000"/>
                  <a:gd name="connsiteX149" fmla="*/ 2706 w 10000"/>
                  <a:gd name="connsiteY149" fmla="*/ 7937 h 10000"/>
                  <a:gd name="connsiteX150" fmla="*/ 2649 w 10000"/>
                  <a:gd name="connsiteY150" fmla="*/ 7954 h 10000"/>
                  <a:gd name="connsiteX151" fmla="*/ 2615 w 10000"/>
                  <a:gd name="connsiteY151" fmla="*/ 7954 h 10000"/>
                  <a:gd name="connsiteX152" fmla="*/ 2580 w 10000"/>
                  <a:gd name="connsiteY152" fmla="*/ 8003 h 10000"/>
                  <a:gd name="connsiteX153" fmla="*/ 2569 w 10000"/>
                  <a:gd name="connsiteY153" fmla="*/ 8086 h 10000"/>
                  <a:gd name="connsiteX154" fmla="*/ 2500 w 10000"/>
                  <a:gd name="connsiteY154" fmla="*/ 8185 h 10000"/>
                  <a:gd name="connsiteX155" fmla="*/ 2500 w 10000"/>
                  <a:gd name="connsiteY155" fmla="*/ 8201 h 10000"/>
                  <a:gd name="connsiteX156" fmla="*/ 2489 w 10000"/>
                  <a:gd name="connsiteY156" fmla="*/ 8201 h 10000"/>
                  <a:gd name="connsiteX157" fmla="*/ 2466 w 10000"/>
                  <a:gd name="connsiteY157" fmla="*/ 8185 h 10000"/>
                  <a:gd name="connsiteX158" fmla="*/ 2466 w 10000"/>
                  <a:gd name="connsiteY158" fmla="*/ 8152 h 10000"/>
                  <a:gd name="connsiteX159" fmla="*/ 2466 w 10000"/>
                  <a:gd name="connsiteY159" fmla="*/ 8086 h 10000"/>
                  <a:gd name="connsiteX160" fmla="*/ 2466 w 10000"/>
                  <a:gd name="connsiteY160" fmla="*/ 8036 h 10000"/>
                  <a:gd name="connsiteX161" fmla="*/ 2466 w 10000"/>
                  <a:gd name="connsiteY161" fmla="*/ 8003 h 10000"/>
                  <a:gd name="connsiteX162" fmla="*/ 2454 w 10000"/>
                  <a:gd name="connsiteY162" fmla="*/ 8003 h 10000"/>
                  <a:gd name="connsiteX163" fmla="*/ 2431 w 10000"/>
                  <a:gd name="connsiteY163" fmla="*/ 8003 h 10000"/>
                  <a:gd name="connsiteX164" fmla="*/ 2408 w 10000"/>
                  <a:gd name="connsiteY164" fmla="*/ 8036 h 10000"/>
                  <a:gd name="connsiteX165" fmla="*/ 2385 w 10000"/>
                  <a:gd name="connsiteY165" fmla="*/ 8036 h 10000"/>
                  <a:gd name="connsiteX166" fmla="*/ 2351 w 10000"/>
                  <a:gd name="connsiteY166" fmla="*/ 8053 h 10000"/>
                  <a:gd name="connsiteX167" fmla="*/ 2351 w 10000"/>
                  <a:gd name="connsiteY167" fmla="*/ 8036 h 10000"/>
                  <a:gd name="connsiteX168" fmla="*/ 2317 w 10000"/>
                  <a:gd name="connsiteY168" fmla="*/ 8053 h 10000"/>
                  <a:gd name="connsiteX169" fmla="*/ 2305 w 10000"/>
                  <a:gd name="connsiteY169" fmla="*/ 8086 h 10000"/>
                  <a:gd name="connsiteX170" fmla="*/ 2248 w 10000"/>
                  <a:gd name="connsiteY170" fmla="*/ 8086 h 10000"/>
                  <a:gd name="connsiteX171" fmla="*/ 2236 w 10000"/>
                  <a:gd name="connsiteY171" fmla="*/ 8086 h 10000"/>
                  <a:gd name="connsiteX172" fmla="*/ 2225 w 10000"/>
                  <a:gd name="connsiteY172" fmla="*/ 8086 h 10000"/>
                  <a:gd name="connsiteX173" fmla="*/ 2167 w 10000"/>
                  <a:gd name="connsiteY173" fmla="*/ 8053 h 10000"/>
                  <a:gd name="connsiteX174" fmla="*/ 2156 w 10000"/>
                  <a:gd name="connsiteY174" fmla="*/ 8003 h 10000"/>
                  <a:gd name="connsiteX175" fmla="*/ 2122 w 10000"/>
                  <a:gd name="connsiteY175" fmla="*/ 8003 h 10000"/>
                  <a:gd name="connsiteX176" fmla="*/ 2099 w 10000"/>
                  <a:gd name="connsiteY176" fmla="*/ 8036 h 10000"/>
                  <a:gd name="connsiteX177" fmla="*/ 2099 w 10000"/>
                  <a:gd name="connsiteY177" fmla="*/ 8053 h 10000"/>
                  <a:gd name="connsiteX178" fmla="*/ 2087 w 10000"/>
                  <a:gd name="connsiteY178" fmla="*/ 8053 h 10000"/>
                  <a:gd name="connsiteX179" fmla="*/ 2064 w 10000"/>
                  <a:gd name="connsiteY179" fmla="*/ 8036 h 10000"/>
                  <a:gd name="connsiteX180" fmla="*/ 2053 w 10000"/>
                  <a:gd name="connsiteY180" fmla="*/ 8053 h 10000"/>
                  <a:gd name="connsiteX181" fmla="*/ 2041 w 10000"/>
                  <a:gd name="connsiteY181" fmla="*/ 8036 h 10000"/>
                  <a:gd name="connsiteX182" fmla="*/ 2007 w 10000"/>
                  <a:gd name="connsiteY182" fmla="*/ 8053 h 10000"/>
                  <a:gd name="connsiteX183" fmla="*/ 1984 w 10000"/>
                  <a:gd name="connsiteY183" fmla="*/ 8003 h 10000"/>
                  <a:gd name="connsiteX184" fmla="*/ 1972 w 10000"/>
                  <a:gd name="connsiteY184" fmla="*/ 7954 h 10000"/>
                  <a:gd name="connsiteX185" fmla="*/ 1938 w 10000"/>
                  <a:gd name="connsiteY185" fmla="*/ 7954 h 10000"/>
                  <a:gd name="connsiteX186" fmla="*/ 1915 w 10000"/>
                  <a:gd name="connsiteY186" fmla="*/ 7987 h 10000"/>
                  <a:gd name="connsiteX187" fmla="*/ 1892 w 10000"/>
                  <a:gd name="connsiteY187" fmla="*/ 7937 h 10000"/>
                  <a:gd name="connsiteX188" fmla="*/ 1869 w 10000"/>
                  <a:gd name="connsiteY188" fmla="*/ 7921 h 10000"/>
                  <a:gd name="connsiteX189" fmla="*/ 1892 w 10000"/>
                  <a:gd name="connsiteY189" fmla="*/ 7838 h 10000"/>
                  <a:gd name="connsiteX190" fmla="*/ 1869 w 10000"/>
                  <a:gd name="connsiteY190" fmla="*/ 7838 h 10000"/>
                  <a:gd name="connsiteX191" fmla="*/ 1858 w 10000"/>
                  <a:gd name="connsiteY191" fmla="*/ 7871 h 10000"/>
                  <a:gd name="connsiteX192" fmla="*/ 1823 w 10000"/>
                  <a:gd name="connsiteY192" fmla="*/ 7871 h 10000"/>
                  <a:gd name="connsiteX193" fmla="*/ 1800 w 10000"/>
                  <a:gd name="connsiteY193" fmla="*/ 7838 h 10000"/>
                  <a:gd name="connsiteX194" fmla="*/ 1789 w 10000"/>
                  <a:gd name="connsiteY194" fmla="*/ 7838 h 10000"/>
                  <a:gd name="connsiteX195" fmla="*/ 1766 w 10000"/>
                  <a:gd name="connsiteY195" fmla="*/ 7838 h 10000"/>
                  <a:gd name="connsiteX196" fmla="*/ 1755 w 10000"/>
                  <a:gd name="connsiteY196" fmla="*/ 7838 h 10000"/>
                  <a:gd name="connsiteX197" fmla="*/ 1732 w 10000"/>
                  <a:gd name="connsiteY197" fmla="*/ 7822 h 10000"/>
                  <a:gd name="connsiteX198" fmla="*/ 1732 w 10000"/>
                  <a:gd name="connsiteY198" fmla="*/ 7789 h 10000"/>
                  <a:gd name="connsiteX199" fmla="*/ 1720 w 10000"/>
                  <a:gd name="connsiteY199" fmla="*/ 7822 h 10000"/>
                  <a:gd name="connsiteX200" fmla="*/ 1720 w 10000"/>
                  <a:gd name="connsiteY200" fmla="*/ 7789 h 10000"/>
                  <a:gd name="connsiteX201" fmla="*/ 1720 w 10000"/>
                  <a:gd name="connsiteY201" fmla="*/ 7739 h 10000"/>
                  <a:gd name="connsiteX202" fmla="*/ 1720 w 10000"/>
                  <a:gd name="connsiteY202" fmla="*/ 7723 h 10000"/>
                  <a:gd name="connsiteX203" fmla="*/ 1732 w 10000"/>
                  <a:gd name="connsiteY203" fmla="*/ 7690 h 10000"/>
                  <a:gd name="connsiteX204" fmla="*/ 1720 w 10000"/>
                  <a:gd name="connsiteY204" fmla="*/ 7673 h 10000"/>
                  <a:gd name="connsiteX205" fmla="*/ 1709 w 10000"/>
                  <a:gd name="connsiteY205" fmla="*/ 7673 h 10000"/>
                  <a:gd name="connsiteX206" fmla="*/ 1686 w 10000"/>
                  <a:gd name="connsiteY206" fmla="*/ 7673 h 10000"/>
                  <a:gd name="connsiteX207" fmla="*/ 1674 w 10000"/>
                  <a:gd name="connsiteY207" fmla="*/ 7690 h 10000"/>
                  <a:gd name="connsiteX208" fmla="*/ 1651 w 10000"/>
                  <a:gd name="connsiteY208" fmla="*/ 7723 h 10000"/>
                  <a:gd name="connsiteX209" fmla="*/ 1640 w 10000"/>
                  <a:gd name="connsiteY209" fmla="*/ 7739 h 10000"/>
                  <a:gd name="connsiteX210" fmla="*/ 1606 w 10000"/>
                  <a:gd name="connsiteY210" fmla="*/ 7723 h 10000"/>
                  <a:gd name="connsiteX211" fmla="*/ 1583 w 10000"/>
                  <a:gd name="connsiteY211" fmla="*/ 7657 h 10000"/>
                  <a:gd name="connsiteX212" fmla="*/ 1537 w 10000"/>
                  <a:gd name="connsiteY212" fmla="*/ 7558 h 10000"/>
                  <a:gd name="connsiteX213" fmla="*/ 1502 w 10000"/>
                  <a:gd name="connsiteY213" fmla="*/ 7558 h 10000"/>
                  <a:gd name="connsiteX214" fmla="*/ 1456 w 10000"/>
                  <a:gd name="connsiteY214" fmla="*/ 7475 h 10000"/>
                  <a:gd name="connsiteX215" fmla="*/ 1319 w 10000"/>
                  <a:gd name="connsiteY215" fmla="*/ 7409 h 10000"/>
                  <a:gd name="connsiteX216" fmla="*/ 1250 w 10000"/>
                  <a:gd name="connsiteY216" fmla="*/ 7409 h 10000"/>
                  <a:gd name="connsiteX217" fmla="*/ 1250 w 10000"/>
                  <a:gd name="connsiteY217" fmla="*/ 7442 h 10000"/>
                  <a:gd name="connsiteX218" fmla="*/ 1250 w 10000"/>
                  <a:gd name="connsiteY218" fmla="*/ 7459 h 10000"/>
                  <a:gd name="connsiteX219" fmla="*/ 1250 w 10000"/>
                  <a:gd name="connsiteY219" fmla="*/ 7475 h 10000"/>
                  <a:gd name="connsiteX220" fmla="*/ 1216 w 10000"/>
                  <a:gd name="connsiteY220" fmla="*/ 7459 h 10000"/>
                  <a:gd name="connsiteX221" fmla="*/ 1216 w 10000"/>
                  <a:gd name="connsiteY221" fmla="*/ 7442 h 10000"/>
                  <a:gd name="connsiteX222" fmla="*/ 1204 w 10000"/>
                  <a:gd name="connsiteY222" fmla="*/ 7409 h 10000"/>
                  <a:gd name="connsiteX223" fmla="*/ 1158 w 10000"/>
                  <a:gd name="connsiteY223" fmla="*/ 7393 h 10000"/>
                  <a:gd name="connsiteX224" fmla="*/ 1135 w 10000"/>
                  <a:gd name="connsiteY224" fmla="*/ 7393 h 10000"/>
                  <a:gd name="connsiteX225" fmla="*/ 1135 w 10000"/>
                  <a:gd name="connsiteY225" fmla="*/ 7360 h 10000"/>
                  <a:gd name="connsiteX226" fmla="*/ 1124 w 10000"/>
                  <a:gd name="connsiteY226" fmla="*/ 7360 h 10000"/>
                  <a:gd name="connsiteX227" fmla="*/ 1089 w 10000"/>
                  <a:gd name="connsiteY227" fmla="*/ 7310 h 10000"/>
                  <a:gd name="connsiteX228" fmla="*/ 1032 w 10000"/>
                  <a:gd name="connsiteY228" fmla="*/ 7294 h 10000"/>
                  <a:gd name="connsiteX229" fmla="*/ 1032 w 10000"/>
                  <a:gd name="connsiteY229" fmla="*/ 7261 h 10000"/>
                  <a:gd name="connsiteX230" fmla="*/ 1032 w 10000"/>
                  <a:gd name="connsiteY230" fmla="*/ 7244 h 10000"/>
                  <a:gd name="connsiteX231" fmla="*/ 1021 w 10000"/>
                  <a:gd name="connsiteY231" fmla="*/ 7244 h 10000"/>
                  <a:gd name="connsiteX232" fmla="*/ 1009 w 10000"/>
                  <a:gd name="connsiteY232" fmla="*/ 7244 h 10000"/>
                  <a:gd name="connsiteX233" fmla="*/ 1009 w 10000"/>
                  <a:gd name="connsiteY233" fmla="*/ 7211 h 10000"/>
                  <a:gd name="connsiteX234" fmla="*/ 975 w 10000"/>
                  <a:gd name="connsiteY234" fmla="*/ 7244 h 10000"/>
                  <a:gd name="connsiteX235" fmla="*/ 975 w 10000"/>
                  <a:gd name="connsiteY235" fmla="*/ 7211 h 10000"/>
                  <a:gd name="connsiteX236" fmla="*/ 952 w 10000"/>
                  <a:gd name="connsiteY236" fmla="*/ 7195 h 10000"/>
                  <a:gd name="connsiteX237" fmla="*/ 906 w 10000"/>
                  <a:gd name="connsiteY237" fmla="*/ 7211 h 10000"/>
                  <a:gd name="connsiteX238" fmla="*/ 883 w 10000"/>
                  <a:gd name="connsiteY238" fmla="*/ 7211 h 10000"/>
                  <a:gd name="connsiteX239" fmla="*/ 872 w 10000"/>
                  <a:gd name="connsiteY239" fmla="*/ 7211 h 10000"/>
                  <a:gd name="connsiteX240" fmla="*/ 872 w 10000"/>
                  <a:gd name="connsiteY240" fmla="*/ 7178 h 10000"/>
                  <a:gd name="connsiteX241" fmla="*/ 849 w 10000"/>
                  <a:gd name="connsiteY241" fmla="*/ 7145 h 10000"/>
                  <a:gd name="connsiteX242" fmla="*/ 837 w 10000"/>
                  <a:gd name="connsiteY242" fmla="*/ 7129 h 10000"/>
                  <a:gd name="connsiteX243" fmla="*/ 826 w 10000"/>
                  <a:gd name="connsiteY243" fmla="*/ 7096 h 10000"/>
                  <a:gd name="connsiteX244" fmla="*/ 826 w 10000"/>
                  <a:gd name="connsiteY244" fmla="*/ 7079 h 10000"/>
                  <a:gd name="connsiteX245" fmla="*/ 837 w 10000"/>
                  <a:gd name="connsiteY245" fmla="*/ 7046 h 10000"/>
                  <a:gd name="connsiteX246" fmla="*/ 826 w 10000"/>
                  <a:gd name="connsiteY246" fmla="*/ 7030 h 10000"/>
                  <a:gd name="connsiteX247" fmla="*/ 837 w 10000"/>
                  <a:gd name="connsiteY247" fmla="*/ 6980 h 10000"/>
                  <a:gd name="connsiteX248" fmla="*/ 837 w 10000"/>
                  <a:gd name="connsiteY248" fmla="*/ 6947 h 10000"/>
                  <a:gd name="connsiteX249" fmla="*/ 791 w 10000"/>
                  <a:gd name="connsiteY249" fmla="*/ 6881 h 10000"/>
                  <a:gd name="connsiteX250" fmla="*/ 791 w 10000"/>
                  <a:gd name="connsiteY250" fmla="*/ 6832 h 10000"/>
                  <a:gd name="connsiteX251" fmla="*/ 791 w 10000"/>
                  <a:gd name="connsiteY251" fmla="*/ 6782 h 10000"/>
                  <a:gd name="connsiteX252" fmla="*/ 826 w 10000"/>
                  <a:gd name="connsiteY252" fmla="*/ 6782 h 10000"/>
                  <a:gd name="connsiteX253" fmla="*/ 837 w 10000"/>
                  <a:gd name="connsiteY253" fmla="*/ 6766 h 10000"/>
                  <a:gd name="connsiteX254" fmla="*/ 837 w 10000"/>
                  <a:gd name="connsiteY254" fmla="*/ 6782 h 10000"/>
                  <a:gd name="connsiteX255" fmla="*/ 837 w 10000"/>
                  <a:gd name="connsiteY255" fmla="*/ 6815 h 10000"/>
                  <a:gd name="connsiteX256" fmla="*/ 849 w 10000"/>
                  <a:gd name="connsiteY256" fmla="*/ 6832 h 10000"/>
                  <a:gd name="connsiteX257" fmla="*/ 872 w 10000"/>
                  <a:gd name="connsiteY257" fmla="*/ 6832 h 10000"/>
                  <a:gd name="connsiteX258" fmla="*/ 883 w 10000"/>
                  <a:gd name="connsiteY258" fmla="*/ 6832 h 10000"/>
                  <a:gd name="connsiteX259" fmla="*/ 906 w 10000"/>
                  <a:gd name="connsiteY259" fmla="*/ 6832 h 10000"/>
                  <a:gd name="connsiteX260" fmla="*/ 906 w 10000"/>
                  <a:gd name="connsiteY260" fmla="*/ 6815 h 10000"/>
                  <a:gd name="connsiteX261" fmla="*/ 917 w 10000"/>
                  <a:gd name="connsiteY261" fmla="*/ 6782 h 10000"/>
                  <a:gd name="connsiteX262" fmla="*/ 917 w 10000"/>
                  <a:gd name="connsiteY262" fmla="*/ 6766 h 10000"/>
                  <a:gd name="connsiteX263" fmla="*/ 940 w 10000"/>
                  <a:gd name="connsiteY263" fmla="*/ 6782 h 10000"/>
                  <a:gd name="connsiteX264" fmla="*/ 975 w 10000"/>
                  <a:gd name="connsiteY264" fmla="*/ 6733 h 10000"/>
                  <a:gd name="connsiteX265" fmla="*/ 940 w 10000"/>
                  <a:gd name="connsiteY265" fmla="*/ 6667 h 10000"/>
                  <a:gd name="connsiteX266" fmla="*/ 940 w 10000"/>
                  <a:gd name="connsiteY266" fmla="*/ 6650 h 10000"/>
                  <a:gd name="connsiteX267" fmla="*/ 940 w 10000"/>
                  <a:gd name="connsiteY267" fmla="*/ 6617 h 10000"/>
                  <a:gd name="connsiteX268" fmla="*/ 917 w 10000"/>
                  <a:gd name="connsiteY268" fmla="*/ 6601 h 10000"/>
                  <a:gd name="connsiteX269" fmla="*/ 906 w 10000"/>
                  <a:gd name="connsiteY269" fmla="*/ 6601 h 10000"/>
                  <a:gd name="connsiteX270" fmla="*/ 883 w 10000"/>
                  <a:gd name="connsiteY270" fmla="*/ 6601 h 10000"/>
                  <a:gd name="connsiteX271" fmla="*/ 872 w 10000"/>
                  <a:gd name="connsiteY271" fmla="*/ 6551 h 10000"/>
                  <a:gd name="connsiteX272" fmla="*/ 872 w 10000"/>
                  <a:gd name="connsiteY272" fmla="*/ 6502 h 10000"/>
                  <a:gd name="connsiteX273" fmla="*/ 883 w 10000"/>
                  <a:gd name="connsiteY273" fmla="*/ 6502 h 10000"/>
                  <a:gd name="connsiteX274" fmla="*/ 872 w 10000"/>
                  <a:gd name="connsiteY274" fmla="*/ 6469 h 10000"/>
                  <a:gd name="connsiteX275" fmla="*/ 872 w 10000"/>
                  <a:gd name="connsiteY275" fmla="*/ 6452 h 10000"/>
                  <a:gd name="connsiteX276" fmla="*/ 883 w 10000"/>
                  <a:gd name="connsiteY276" fmla="*/ 6452 h 10000"/>
                  <a:gd name="connsiteX277" fmla="*/ 872 w 10000"/>
                  <a:gd name="connsiteY277" fmla="*/ 6419 h 10000"/>
                  <a:gd name="connsiteX278" fmla="*/ 872 w 10000"/>
                  <a:gd name="connsiteY278" fmla="*/ 6386 h 10000"/>
                  <a:gd name="connsiteX279" fmla="*/ 883 w 10000"/>
                  <a:gd name="connsiteY279" fmla="*/ 6386 h 10000"/>
                  <a:gd name="connsiteX280" fmla="*/ 906 w 10000"/>
                  <a:gd name="connsiteY280" fmla="*/ 6386 h 10000"/>
                  <a:gd name="connsiteX281" fmla="*/ 940 w 10000"/>
                  <a:gd name="connsiteY281" fmla="*/ 6386 h 10000"/>
                  <a:gd name="connsiteX282" fmla="*/ 952 w 10000"/>
                  <a:gd name="connsiteY282" fmla="*/ 6386 h 10000"/>
                  <a:gd name="connsiteX283" fmla="*/ 975 w 10000"/>
                  <a:gd name="connsiteY283" fmla="*/ 6304 h 10000"/>
                  <a:gd name="connsiteX284" fmla="*/ 975 w 10000"/>
                  <a:gd name="connsiteY284" fmla="*/ 6254 h 10000"/>
                  <a:gd name="connsiteX285" fmla="*/ 1009 w 10000"/>
                  <a:gd name="connsiteY285" fmla="*/ 6254 h 10000"/>
                  <a:gd name="connsiteX286" fmla="*/ 1009 w 10000"/>
                  <a:gd name="connsiteY286" fmla="*/ 6238 h 10000"/>
                  <a:gd name="connsiteX287" fmla="*/ 1021 w 10000"/>
                  <a:gd name="connsiteY287" fmla="*/ 6205 h 10000"/>
                  <a:gd name="connsiteX288" fmla="*/ 1055 w 10000"/>
                  <a:gd name="connsiteY288" fmla="*/ 6155 h 10000"/>
                  <a:gd name="connsiteX289" fmla="*/ 1055 w 10000"/>
                  <a:gd name="connsiteY289" fmla="*/ 6139 h 10000"/>
                  <a:gd name="connsiteX290" fmla="*/ 1067 w 10000"/>
                  <a:gd name="connsiteY290" fmla="*/ 6122 h 10000"/>
                  <a:gd name="connsiteX291" fmla="*/ 1067 w 10000"/>
                  <a:gd name="connsiteY291" fmla="*/ 6040 h 10000"/>
                  <a:gd name="connsiteX292" fmla="*/ 1089 w 10000"/>
                  <a:gd name="connsiteY292" fmla="*/ 6023 h 10000"/>
                  <a:gd name="connsiteX293" fmla="*/ 1089 w 10000"/>
                  <a:gd name="connsiteY293" fmla="*/ 5990 h 10000"/>
                  <a:gd name="connsiteX294" fmla="*/ 1101 w 10000"/>
                  <a:gd name="connsiteY294" fmla="*/ 5974 h 10000"/>
                  <a:gd name="connsiteX295" fmla="*/ 1101 w 10000"/>
                  <a:gd name="connsiteY295" fmla="*/ 5941 h 10000"/>
                  <a:gd name="connsiteX296" fmla="*/ 1089 w 10000"/>
                  <a:gd name="connsiteY296" fmla="*/ 5941 h 10000"/>
                  <a:gd name="connsiteX297" fmla="*/ 1067 w 10000"/>
                  <a:gd name="connsiteY297" fmla="*/ 5941 h 10000"/>
                  <a:gd name="connsiteX298" fmla="*/ 1055 w 10000"/>
                  <a:gd name="connsiteY298" fmla="*/ 5974 h 10000"/>
                  <a:gd name="connsiteX299" fmla="*/ 1032 w 10000"/>
                  <a:gd name="connsiteY299" fmla="*/ 5974 h 10000"/>
                  <a:gd name="connsiteX300" fmla="*/ 1032 w 10000"/>
                  <a:gd name="connsiteY300" fmla="*/ 5924 h 10000"/>
                  <a:gd name="connsiteX301" fmla="*/ 1021 w 10000"/>
                  <a:gd name="connsiteY301" fmla="*/ 5924 h 10000"/>
                  <a:gd name="connsiteX302" fmla="*/ 1009 w 10000"/>
                  <a:gd name="connsiteY302" fmla="*/ 5924 h 10000"/>
                  <a:gd name="connsiteX303" fmla="*/ 943 w 10000"/>
                  <a:gd name="connsiteY303" fmla="*/ 5932 h 10000"/>
                  <a:gd name="connsiteX304" fmla="*/ 986 w 10000"/>
                  <a:gd name="connsiteY304" fmla="*/ 5908 h 10000"/>
                  <a:gd name="connsiteX305" fmla="*/ 986 w 10000"/>
                  <a:gd name="connsiteY305" fmla="*/ 5858 h 10000"/>
                  <a:gd name="connsiteX306" fmla="*/ 975 w 10000"/>
                  <a:gd name="connsiteY306" fmla="*/ 5858 h 10000"/>
                  <a:gd name="connsiteX307" fmla="*/ 952 w 10000"/>
                  <a:gd name="connsiteY307" fmla="*/ 5858 h 10000"/>
                  <a:gd name="connsiteX308" fmla="*/ 940 w 10000"/>
                  <a:gd name="connsiteY308" fmla="*/ 5825 h 10000"/>
                  <a:gd name="connsiteX309" fmla="*/ 940 w 10000"/>
                  <a:gd name="connsiteY309" fmla="*/ 5809 h 10000"/>
                  <a:gd name="connsiteX310" fmla="*/ 917 w 10000"/>
                  <a:gd name="connsiteY310" fmla="*/ 5809 h 10000"/>
                  <a:gd name="connsiteX311" fmla="*/ 906 w 10000"/>
                  <a:gd name="connsiteY311" fmla="*/ 5825 h 10000"/>
                  <a:gd name="connsiteX312" fmla="*/ 883 w 10000"/>
                  <a:gd name="connsiteY312" fmla="*/ 5825 h 10000"/>
                  <a:gd name="connsiteX313" fmla="*/ 872 w 10000"/>
                  <a:gd name="connsiteY313" fmla="*/ 5825 h 10000"/>
                  <a:gd name="connsiteX314" fmla="*/ 837 w 10000"/>
                  <a:gd name="connsiteY314" fmla="*/ 5858 h 10000"/>
                  <a:gd name="connsiteX315" fmla="*/ 757 w 10000"/>
                  <a:gd name="connsiteY315" fmla="*/ 5924 h 10000"/>
                  <a:gd name="connsiteX316" fmla="*/ 734 w 10000"/>
                  <a:gd name="connsiteY316" fmla="*/ 5941 h 10000"/>
                  <a:gd name="connsiteX317" fmla="*/ 722 w 10000"/>
                  <a:gd name="connsiteY317" fmla="*/ 5941 h 10000"/>
                  <a:gd name="connsiteX318" fmla="*/ 700 w 10000"/>
                  <a:gd name="connsiteY318" fmla="*/ 5974 h 10000"/>
                  <a:gd name="connsiteX319" fmla="*/ 688 w 10000"/>
                  <a:gd name="connsiteY319" fmla="*/ 5941 h 10000"/>
                  <a:gd name="connsiteX320" fmla="*/ 677 w 10000"/>
                  <a:gd name="connsiteY320" fmla="*/ 5974 h 10000"/>
                  <a:gd name="connsiteX321" fmla="*/ 619 w 10000"/>
                  <a:gd name="connsiteY321" fmla="*/ 5974 h 10000"/>
                  <a:gd name="connsiteX322" fmla="*/ 608 w 10000"/>
                  <a:gd name="connsiteY322" fmla="*/ 5941 h 10000"/>
                  <a:gd name="connsiteX323" fmla="*/ 585 w 10000"/>
                  <a:gd name="connsiteY323" fmla="*/ 5941 h 10000"/>
                  <a:gd name="connsiteX324" fmla="*/ 493 w 10000"/>
                  <a:gd name="connsiteY324" fmla="*/ 5875 h 10000"/>
                  <a:gd name="connsiteX325" fmla="*/ 493 w 10000"/>
                  <a:gd name="connsiteY325" fmla="*/ 5858 h 10000"/>
                  <a:gd name="connsiteX326" fmla="*/ 470 w 10000"/>
                  <a:gd name="connsiteY326" fmla="*/ 5825 h 10000"/>
                  <a:gd name="connsiteX327" fmla="*/ 459 w 10000"/>
                  <a:gd name="connsiteY327" fmla="*/ 5858 h 10000"/>
                  <a:gd name="connsiteX328" fmla="*/ 436 w 10000"/>
                  <a:gd name="connsiteY328" fmla="*/ 5858 h 10000"/>
                  <a:gd name="connsiteX329" fmla="*/ 424 w 10000"/>
                  <a:gd name="connsiteY329" fmla="*/ 5858 h 10000"/>
                  <a:gd name="connsiteX330" fmla="*/ 401 w 10000"/>
                  <a:gd name="connsiteY330" fmla="*/ 5809 h 10000"/>
                  <a:gd name="connsiteX331" fmla="*/ 367 w 10000"/>
                  <a:gd name="connsiteY331" fmla="*/ 5809 h 10000"/>
                  <a:gd name="connsiteX332" fmla="*/ 367 w 10000"/>
                  <a:gd name="connsiteY332" fmla="*/ 5776 h 10000"/>
                  <a:gd name="connsiteX333" fmla="*/ 390 w 10000"/>
                  <a:gd name="connsiteY333" fmla="*/ 5759 h 10000"/>
                  <a:gd name="connsiteX334" fmla="*/ 390 w 10000"/>
                  <a:gd name="connsiteY334" fmla="*/ 5726 h 10000"/>
                  <a:gd name="connsiteX335" fmla="*/ 390 w 10000"/>
                  <a:gd name="connsiteY335" fmla="*/ 5660 h 10000"/>
                  <a:gd name="connsiteX336" fmla="*/ 367 w 10000"/>
                  <a:gd name="connsiteY336" fmla="*/ 5644 h 10000"/>
                  <a:gd name="connsiteX337" fmla="*/ 321 w 10000"/>
                  <a:gd name="connsiteY337" fmla="*/ 5594 h 10000"/>
                  <a:gd name="connsiteX338" fmla="*/ 287 w 10000"/>
                  <a:gd name="connsiteY338" fmla="*/ 5611 h 10000"/>
                  <a:gd name="connsiteX339" fmla="*/ 287 w 10000"/>
                  <a:gd name="connsiteY339" fmla="*/ 5594 h 10000"/>
                  <a:gd name="connsiteX340" fmla="*/ 287 w 10000"/>
                  <a:gd name="connsiteY340" fmla="*/ 5545 h 10000"/>
                  <a:gd name="connsiteX341" fmla="*/ 275 w 10000"/>
                  <a:gd name="connsiteY341" fmla="*/ 5545 h 10000"/>
                  <a:gd name="connsiteX342" fmla="*/ 252 w 10000"/>
                  <a:gd name="connsiteY342" fmla="*/ 5512 h 10000"/>
                  <a:gd name="connsiteX343" fmla="*/ 241 w 10000"/>
                  <a:gd name="connsiteY343" fmla="*/ 5512 h 10000"/>
                  <a:gd name="connsiteX344" fmla="*/ 183 w 10000"/>
                  <a:gd name="connsiteY344" fmla="*/ 5545 h 10000"/>
                  <a:gd name="connsiteX345" fmla="*/ 172 w 10000"/>
                  <a:gd name="connsiteY345" fmla="*/ 5512 h 10000"/>
                  <a:gd name="connsiteX346" fmla="*/ 161 w 10000"/>
                  <a:gd name="connsiteY346" fmla="*/ 5495 h 10000"/>
                  <a:gd name="connsiteX347" fmla="*/ 138 w 10000"/>
                  <a:gd name="connsiteY347" fmla="*/ 5495 h 10000"/>
                  <a:gd name="connsiteX348" fmla="*/ 138 w 10000"/>
                  <a:gd name="connsiteY348" fmla="*/ 5462 h 10000"/>
                  <a:gd name="connsiteX349" fmla="*/ 161 w 10000"/>
                  <a:gd name="connsiteY349" fmla="*/ 5446 h 10000"/>
                  <a:gd name="connsiteX350" fmla="*/ 172 w 10000"/>
                  <a:gd name="connsiteY350" fmla="*/ 5413 h 10000"/>
                  <a:gd name="connsiteX351" fmla="*/ 183 w 10000"/>
                  <a:gd name="connsiteY351" fmla="*/ 5446 h 10000"/>
                  <a:gd name="connsiteX352" fmla="*/ 206 w 10000"/>
                  <a:gd name="connsiteY352" fmla="*/ 5446 h 10000"/>
                  <a:gd name="connsiteX353" fmla="*/ 218 w 10000"/>
                  <a:gd name="connsiteY353" fmla="*/ 5446 h 10000"/>
                  <a:gd name="connsiteX354" fmla="*/ 218 w 10000"/>
                  <a:gd name="connsiteY354" fmla="*/ 5297 h 10000"/>
                  <a:gd name="connsiteX355" fmla="*/ 183 w 10000"/>
                  <a:gd name="connsiteY355" fmla="*/ 5182 h 10000"/>
                  <a:gd name="connsiteX356" fmla="*/ 183 w 10000"/>
                  <a:gd name="connsiteY356" fmla="*/ 5116 h 10000"/>
                  <a:gd name="connsiteX357" fmla="*/ 172 w 10000"/>
                  <a:gd name="connsiteY357" fmla="*/ 5066 h 10000"/>
                  <a:gd name="connsiteX358" fmla="*/ 126 w 10000"/>
                  <a:gd name="connsiteY358" fmla="*/ 5066 h 10000"/>
                  <a:gd name="connsiteX359" fmla="*/ 57 w 10000"/>
                  <a:gd name="connsiteY359" fmla="*/ 5083 h 10000"/>
                  <a:gd name="connsiteX360" fmla="*/ 23 w 10000"/>
                  <a:gd name="connsiteY360" fmla="*/ 5033 h 10000"/>
                  <a:gd name="connsiteX361" fmla="*/ 0 w 10000"/>
                  <a:gd name="connsiteY361" fmla="*/ 4884 h 10000"/>
                  <a:gd name="connsiteX362" fmla="*/ 34 w 10000"/>
                  <a:gd name="connsiteY362" fmla="*/ 4752 h 10000"/>
                  <a:gd name="connsiteX363" fmla="*/ 34 w 10000"/>
                  <a:gd name="connsiteY363" fmla="*/ 4703 h 10000"/>
                  <a:gd name="connsiteX364" fmla="*/ 57 w 10000"/>
                  <a:gd name="connsiteY364" fmla="*/ 4604 h 10000"/>
                  <a:gd name="connsiteX365" fmla="*/ 161 w 10000"/>
                  <a:gd name="connsiteY365" fmla="*/ 4554 h 10000"/>
                  <a:gd name="connsiteX366" fmla="*/ 172 w 10000"/>
                  <a:gd name="connsiteY366" fmla="*/ 4538 h 10000"/>
                  <a:gd name="connsiteX367" fmla="*/ 183 w 10000"/>
                  <a:gd name="connsiteY367" fmla="*/ 4538 h 10000"/>
                  <a:gd name="connsiteX368" fmla="*/ 206 w 10000"/>
                  <a:gd name="connsiteY368" fmla="*/ 4455 h 10000"/>
                  <a:gd name="connsiteX369" fmla="*/ 241 w 10000"/>
                  <a:gd name="connsiteY369" fmla="*/ 4488 h 10000"/>
                  <a:gd name="connsiteX370" fmla="*/ 287 w 10000"/>
                  <a:gd name="connsiteY370" fmla="*/ 4455 h 10000"/>
                  <a:gd name="connsiteX371" fmla="*/ 321 w 10000"/>
                  <a:gd name="connsiteY371" fmla="*/ 4455 h 10000"/>
                  <a:gd name="connsiteX372" fmla="*/ 333 w 10000"/>
                  <a:gd name="connsiteY372" fmla="*/ 4505 h 10000"/>
                  <a:gd name="connsiteX373" fmla="*/ 436 w 10000"/>
                  <a:gd name="connsiteY373" fmla="*/ 4505 h 10000"/>
                  <a:gd name="connsiteX374" fmla="*/ 493 w 10000"/>
                  <a:gd name="connsiteY374" fmla="*/ 4455 h 10000"/>
                  <a:gd name="connsiteX375" fmla="*/ 505 w 10000"/>
                  <a:gd name="connsiteY375" fmla="*/ 4389 h 10000"/>
                  <a:gd name="connsiteX376" fmla="*/ 516 w 10000"/>
                  <a:gd name="connsiteY376" fmla="*/ 4340 h 10000"/>
                  <a:gd name="connsiteX377" fmla="*/ 757 w 10000"/>
                  <a:gd name="connsiteY377" fmla="*/ 4274 h 10000"/>
                  <a:gd name="connsiteX378" fmla="*/ 768 w 10000"/>
                  <a:gd name="connsiteY378" fmla="*/ 4224 h 10000"/>
                  <a:gd name="connsiteX379" fmla="*/ 826 w 10000"/>
                  <a:gd name="connsiteY379" fmla="*/ 4142 h 10000"/>
                  <a:gd name="connsiteX380" fmla="*/ 1067 w 10000"/>
                  <a:gd name="connsiteY380" fmla="*/ 4010 h 10000"/>
                  <a:gd name="connsiteX381" fmla="*/ 1089 w 10000"/>
                  <a:gd name="connsiteY381" fmla="*/ 3927 h 10000"/>
                  <a:gd name="connsiteX382" fmla="*/ 1089 w 10000"/>
                  <a:gd name="connsiteY382" fmla="*/ 3762 h 10000"/>
                  <a:gd name="connsiteX383" fmla="*/ 1124 w 10000"/>
                  <a:gd name="connsiteY383" fmla="*/ 3713 h 10000"/>
                  <a:gd name="connsiteX384" fmla="*/ 1101 w 10000"/>
                  <a:gd name="connsiteY384" fmla="*/ 3663 h 10000"/>
                  <a:gd name="connsiteX385" fmla="*/ 1158 w 10000"/>
                  <a:gd name="connsiteY385" fmla="*/ 3614 h 10000"/>
                  <a:gd name="connsiteX386" fmla="*/ 1089 w 10000"/>
                  <a:gd name="connsiteY386" fmla="*/ 3168 h 10000"/>
                  <a:gd name="connsiteX387" fmla="*/ 1055 w 10000"/>
                  <a:gd name="connsiteY387" fmla="*/ 3119 h 10000"/>
                  <a:gd name="connsiteX388" fmla="*/ 1032 w 10000"/>
                  <a:gd name="connsiteY388" fmla="*/ 3069 h 10000"/>
                  <a:gd name="connsiteX389" fmla="*/ 1055 w 10000"/>
                  <a:gd name="connsiteY389" fmla="*/ 3053 h 10000"/>
                  <a:gd name="connsiteX390" fmla="*/ 1399 w 10000"/>
                  <a:gd name="connsiteY390" fmla="*/ 2954 h 10000"/>
                  <a:gd name="connsiteX391" fmla="*/ 1422 w 10000"/>
                  <a:gd name="connsiteY391" fmla="*/ 2921 h 10000"/>
                  <a:gd name="connsiteX392" fmla="*/ 1399 w 10000"/>
                  <a:gd name="connsiteY392" fmla="*/ 2805 h 10000"/>
                  <a:gd name="connsiteX393" fmla="*/ 1525 w 10000"/>
                  <a:gd name="connsiteY393" fmla="*/ 2277 h 10000"/>
                  <a:gd name="connsiteX394" fmla="*/ 1583 w 10000"/>
                  <a:gd name="connsiteY394" fmla="*/ 2310 h 10000"/>
                  <a:gd name="connsiteX395" fmla="*/ 1617 w 10000"/>
                  <a:gd name="connsiteY395" fmla="*/ 2327 h 10000"/>
                  <a:gd name="connsiteX396" fmla="*/ 1674 w 10000"/>
                  <a:gd name="connsiteY396" fmla="*/ 2343 h 10000"/>
                  <a:gd name="connsiteX397" fmla="*/ 1789 w 10000"/>
                  <a:gd name="connsiteY397" fmla="*/ 2327 h 10000"/>
                  <a:gd name="connsiteX398" fmla="*/ 1835 w 10000"/>
                  <a:gd name="connsiteY398" fmla="*/ 2393 h 10000"/>
                  <a:gd name="connsiteX399" fmla="*/ 1869 w 10000"/>
                  <a:gd name="connsiteY399" fmla="*/ 2343 h 10000"/>
                  <a:gd name="connsiteX400" fmla="*/ 1950 w 10000"/>
                  <a:gd name="connsiteY400" fmla="*/ 2327 h 10000"/>
                  <a:gd name="connsiteX401" fmla="*/ 1972 w 10000"/>
                  <a:gd name="connsiteY401" fmla="*/ 1964 h 10000"/>
                  <a:gd name="connsiteX402" fmla="*/ 1984 w 10000"/>
                  <a:gd name="connsiteY402" fmla="*/ 1865 h 10000"/>
                  <a:gd name="connsiteX403" fmla="*/ 2041 w 10000"/>
                  <a:gd name="connsiteY403" fmla="*/ 1865 h 10000"/>
                  <a:gd name="connsiteX404" fmla="*/ 2099 w 10000"/>
                  <a:gd name="connsiteY404" fmla="*/ 1848 h 10000"/>
                  <a:gd name="connsiteX405" fmla="*/ 2156 w 10000"/>
                  <a:gd name="connsiteY405" fmla="*/ 1782 h 10000"/>
                  <a:gd name="connsiteX406" fmla="*/ 2190 w 10000"/>
                  <a:gd name="connsiteY406" fmla="*/ 1700 h 10000"/>
                  <a:gd name="connsiteX407" fmla="*/ 2248 w 10000"/>
                  <a:gd name="connsiteY407" fmla="*/ 1733 h 10000"/>
                  <a:gd name="connsiteX408" fmla="*/ 2305 w 10000"/>
                  <a:gd name="connsiteY408" fmla="*/ 1650 h 10000"/>
                  <a:gd name="connsiteX409" fmla="*/ 2317 w 10000"/>
                  <a:gd name="connsiteY409" fmla="*/ 1650 h 10000"/>
                  <a:gd name="connsiteX410" fmla="*/ 2317 w 10000"/>
                  <a:gd name="connsiteY410" fmla="*/ 1683 h 10000"/>
                  <a:gd name="connsiteX411" fmla="*/ 2351 w 10000"/>
                  <a:gd name="connsiteY411" fmla="*/ 1815 h 10000"/>
                  <a:gd name="connsiteX412" fmla="*/ 2454 w 10000"/>
                  <a:gd name="connsiteY412" fmla="*/ 1947 h 10000"/>
                  <a:gd name="connsiteX413" fmla="*/ 2466 w 10000"/>
                  <a:gd name="connsiteY413" fmla="*/ 2013 h 10000"/>
                  <a:gd name="connsiteX414" fmla="*/ 2523 w 10000"/>
                  <a:gd name="connsiteY414" fmla="*/ 2063 h 10000"/>
                  <a:gd name="connsiteX415" fmla="*/ 2534 w 10000"/>
                  <a:gd name="connsiteY415" fmla="*/ 2013 h 10000"/>
                  <a:gd name="connsiteX416" fmla="*/ 2580 w 10000"/>
                  <a:gd name="connsiteY416" fmla="*/ 2046 h 10000"/>
                  <a:gd name="connsiteX417" fmla="*/ 2638 w 10000"/>
                  <a:gd name="connsiteY417" fmla="*/ 2063 h 10000"/>
                  <a:gd name="connsiteX418" fmla="*/ 2683 w 10000"/>
                  <a:gd name="connsiteY418" fmla="*/ 2079 h 10000"/>
                  <a:gd name="connsiteX419" fmla="*/ 2798 w 10000"/>
                  <a:gd name="connsiteY419" fmla="*/ 2492 h 10000"/>
                  <a:gd name="connsiteX420" fmla="*/ 2798 w 10000"/>
                  <a:gd name="connsiteY420" fmla="*/ 2789 h 10000"/>
                  <a:gd name="connsiteX421" fmla="*/ 2787 w 10000"/>
                  <a:gd name="connsiteY421" fmla="*/ 2855 h 10000"/>
                  <a:gd name="connsiteX422" fmla="*/ 2787 w 10000"/>
                  <a:gd name="connsiteY422" fmla="*/ 2921 h 10000"/>
                  <a:gd name="connsiteX423" fmla="*/ 2798 w 10000"/>
                  <a:gd name="connsiteY423" fmla="*/ 2954 h 10000"/>
                  <a:gd name="connsiteX424" fmla="*/ 3073 w 10000"/>
                  <a:gd name="connsiteY424" fmla="*/ 3053 h 10000"/>
                  <a:gd name="connsiteX425" fmla="*/ 3154 w 10000"/>
                  <a:gd name="connsiteY425" fmla="*/ 3020 h 10000"/>
                  <a:gd name="connsiteX426" fmla="*/ 3498 w 10000"/>
                  <a:gd name="connsiteY426" fmla="*/ 3234 h 10000"/>
                  <a:gd name="connsiteX427" fmla="*/ 3532 w 10000"/>
                  <a:gd name="connsiteY427" fmla="*/ 3234 h 10000"/>
                  <a:gd name="connsiteX428" fmla="*/ 3784 w 10000"/>
                  <a:gd name="connsiteY428" fmla="*/ 3746 h 10000"/>
                  <a:gd name="connsiteX429" fmla="*/ 3819 w 10000"/>
                  <a:gd name="connsiteY429" fmla="*/ 3762 h 10000"/>
                  <a:gd name="connsiteX430" fmla="*/ 4369 w 10000"/>
                  <a:gd name="connsiteY430" fmla="*/ 3713 h 10000"/>
                  <a:gd name="connsiteX431" fmla="*/ 4553 w 10000"/>
                  <a:gd name="connsiteY431" fmla="*/ 3795 h 10000"/>
                  <a:gd name="connsiteX432" fmla="*/ 4633 w 10000"/>
                  <a:gd name="connsiteY432" fmla="*/ 3878 h 10000"/>
                  <a:gd name="connsiteX433" fmla="*/ 4920 w 10000"/>
                  <a:gd name="connsiteY433" fmla="*/ 4059 h 10000"/>
                  <a:gd name="connsiteX434" fmla="*/ 5000 w 10000"/>
                  <a:gd name="connsiteY434" fmla="*/ 4059 h 10000"/>
                  <a:gd name="connsiteX435" fmla="*/ 5011 w 10000"/>
                  <a:gd name="connsiteY435" fmla="*/ 4076 h 10000"/>
                  <a:gd name="connsiteX436" fmla="*/ 5046 w 10000"/>
                  <a:gd name="connsiteY436" fmla="*/ 4109 h 10000"/>
                  <a:gd name="connsiteX437" fmla="*/ 5080 w 10000"/>
                  <a:gd name="connsiteY437" fmla="*/ 4125 h 10000"/>
                  <a:gd name="connsiteX438" fmla="*/ 5115 w 10000"/>
                  <a:gd name="connsiteY438" fmla="*/ 4125 h 10000"/>
                  <a:gd name="connsiteX439" fmla="*/ 5172 w 10000"/>
                  <a:gd name="connsiteY439" fmla="*/ 4059 h 10000"/>
                  <a:gd name="connsiteX440" fmla="*/ 5333 w 10000"/>
                  <a:gd name="connsiteY440" fmla="*/ 3977 h 10000"/>
                  <a:gd name="connsiteX441" fmla="*/ 5356 w 10000"/>
                  <a:gd name="connsiteY441" fmla="*/ 3927 h 10000"/>
                  <a:gd name="connsiteX442" fmla="*/ 5550 w 10000"/>
                  <a:gd name="connsiteY442" fmla="*/ 3861 h 10000"/>
                  <a:gd name="connsiteX443" fmla="*/ 5631 w 10000"/>
                  <a:gd name="connsiteY443" fmla="*/ 3861 h 10000"/>
                  <a:gd name="connsiteX444" fmla="*/ 5688 w 10000"/>
                  <a:gd name="connsiteY444" fmla="*/ 3845 h 10000"/>
                  <a:gd name="connsiteX445" fmla="*/ 5768 w 10000"/>
                  <a:gd name="connsiteY445" fmla="*/ 3878 h 10000"/>
                  <a:gd name="connsiteX446" fmla="*/ 5780 w 10000"/>
                  <a:gd name="connsiteY446" fmla="*/ 3861 h 10000"/>
                  <a:gd name="connsiteX447" fmla="*/ 5872 w 10000"/>
                  <a:gd name="connsiteY447" fmla="*/ 3861 h 10000"/>
                  <a:gd name="connsiteX448" fmla="*/ 6044 w 10000"/>
                  <a:gd name="connsiteY448" fmla="*/ 3713 h 10000"/>
                  <a:gd name="connsiteX449" fmla="*/ 6078 w 10000"/>
                  <a:gd name="connsiteY449" fmla="*/ 3647 h 10000"/>
                  <a:gd name="connsiteX450" fmla="*/ 6250 w 10000"/>
                  <a:gd name="connsiteY450" fmla="*/ 3432 h 10000"/>
                  <a:gd name="connsiteX451" fmla="*/ 6250 w 10000"/>
                  <a:gd name="connsiteY451" fmla="*/ 3383 h 10000"/>
                  <a:gd name="connsiteX452" fmla="*/ 6181 w 10000"/>
                  <a:gd name="connsiteY452" fmla="*/ 3267 h 10000"/>
                  <a:gd name="connsiteX453" fmla="*/ 6181 w 10000"/>
                  <a:gd name="connsiteY453" fmla="*/ 3185 h 10000"/>
                  <a:gd name="connsiteX454" fmla="*/ 6250 w 10000"/>
                  <a:gd name="connsiteY454" fmla="*/ 3053 h 10000"/>
                  <a:gd name="connsiteX455" fmla="*/ 6319 w 10000"/>
                  <a:gd name="connsiteY455" fmla="*/ 3003 h 10000"/>
                  <a:gd name="connsiteX456" fmla="*/ 6365 w 10000"/>
                  <a:gd name="connsiteY456" fmla="*/ 3020 h 10000"/>
                  <a:gd name="connsiteX457" fmla="*/ 6399 w 10000"/>
                  <a:gd name="connsiteY457" fmla="*/ 3086 h 10000"/>
                  <a:gd name="connsiteX458" fmla="*/ 6514 w 10000"/>
                  <a:gd name="connsiteY458" fmla="*/ 3086 h 10000"/>
                  <a:gd name="connsiteX459" fmla="*/ 6594 w 10000"/>
                  <a:gd name="connsiteY459" fmla="*/ 3020 h 10000"/>
                  <a:gd name="connsiteX460" fmla="*/ 6720 w 10000"/>
                  <a:gd name="connsiteY460" fmla="*/ 2855 h 10000"/>
                  <a:gd name="connsiteX461" fmla="*/ 6778 w 10000"/>
                  <a:gd name="connsiteY461" fmla="*/ 2855 h 10000"/>
                  <a:gd name="connsiteX462" fmla="*/ 6846 w 10000"/>
                  <a:gd name="connsiteY462" fmla="*/ 2789 h 10000"/>
                  <a:gd name="connsiteX463" fmla="*/ 7053 w 10000"/>
                  <a:gd name="connsiteY463" fmla="*/ 2492 h 10000"/>
                  <a:gd name="connsiteX464" fmla="*/ 7328 w 10000"/>
                  <a:gd name="connsiteY464" fmla="*/ 2442 h 10000"/>
                  <a:gd name="connsiteX465" fmla="*/ 7443 w 10000"/>
                  <a:gd name="connsiteY465" fmla="*/ 2475 h 10000"/>
                  <a:gd name="connsiteX466" fmla="*/ 7477 w 10000"/>
                  <a:gd name="connsiteY466" fmla="*/ 2442 h 10000"/>
                  <a:gd name="connsiteX467" fmla="*/ 7466 w 10000"/>
                  <a:gd name="connsiteY467" fmla="*/ 2393 h 10000"/>
                  <a:gd name="connsiteX468" fmla="*/ 7431 w 10000"/>
                  <a:gd name="connsiteY468" fmla="*/ 2343 h 10000"/>
                  <a:gd name="connsiteX469" fmla="*/ 7431 w 10000"/>
                  <a:gd name="connsiteY469" fmla="*/ 2261 h 10000"/>
                  <a:gd name="connsiteX470" fmla="*/ 7420 w 10000"/>
                  <a:gd name="connsiteY470" fmla="*/ 2211 h 10000"/>
                  <a:gd name="connsiteX471" fmla="*/ 7294 w 10000"/>
                  <a:gd name="connsiteY471" fmla="*/ 2046 h 10000"/>
                  <a:gd name="connsiteX472" fmla="*/ 7282 w 10000"/>
                  <a:gd name="connsiteY472" fmla="*/ 1997 h 10000"/>
                  <a:gd name="connsiteX473" fmla="*/ 7133 w 10000"/>
                  <a:gd name="connsiteY473" fmla="*/ 2129 h 10000"/>
                  <a:gd name="connsiteX474" fmla="*/ 6984 w 10000"/>
                  <a:gd name="connsiteY474" fmla="*/ 2162 h 10000"/>
                  <a:gd name="connsiteX475" fmla="*/ 6869 w 10000"/>
                  <a:gd name="connsiteY475" fmla="*/ 2129 h 10000"/>
                  <a:gd name="connsiteX476" fmla="*/ 6835 w 10000"/>
                  <a:gd name="connsiteY476" fmla="*/ 2063 h 10000"/>
                  <a:gd name="connsiteX477" fmla="*/ 6835 w 10000"/>
                  <a:gd name="connsiteY477" fmla="*/ 1865 h 10000"/>
                  <a:gd name="connsiteX478" fmla="*/ 6846 w 10000"/>
                  <a:gd name="connsiteY478" fmla="*/ 1799 h 10000"/>
                  <a:gd name="connsiteX479" fmla="*/ 6846 w 10000"/>
                  <a:gd name="connsiteY479" fmla="*/ 1584 h 10000"/>
                  <a:gd name="connsiteX480" fmla="*/ 6950 w 10000"/>
                  <a:gd name="connsiteY480" fmla="*/ 1370 h 10000"/>
                  <a:gd name="connsiteX481" fmla="*/ 6961 w 10000"/>
                  <a:gd name="connsiteY481" fmla="*/ 1320 h 10000"/>
                  <a:gd name="connsiteX482" fmla="*/ 6961 w 10000"/>
                  <a:gd name="connsiteY482" fmla="*/ 1304 h 10000"/>
                  <a:gd name="connsiteX483" fmla="*/ 7213 w 10000"/>
                  <a:gd name="connsiteY483" fmla="*/ 1436 h 10000"/>
                  <a:gd name="connsiteX484" fmla="*/ 7248 w 10000"/>
                  <a:gd name="connsiteY484" fmla="*/ 1436 h 10000"/>
                  <a:gd name="connsiteX485" fmla="*/ 7431 w 10000"/>
                  <a:gd name="connsiteY485" fmla="*/ 1271 h 10000"/>
                  <a:gd name="connsiteX486" fmla="*/ 7443 w 10000"/>
                  <a:gd name="connsiteY486" fmla="*/ 1221 h 10000"/>
                  <a:gd name="connsiteX487" fmla="*/ 7431 w 10000"/>
                  <a:gd name="connsiteY487" fmla="*/ 1172 h 10000"/>
                  <a:gd name="connsiteX488" fmla="*/ 7443 w 10000"/>
                  <a:gd name="connsiteY488" fmla="*/ 1122 h 10000"/>
                  <a:gd name="connsiteX489" fmla="*/ 7500 w 10000"/>
                  <a:gd name="connsiteY489" fmla="*/ 1007 h 10000"/>
                  <a:gd name="connsiteX490" fmla="*/ 7569 w 10000"/>
                  <a:gd name="connsiteY490" fmla="*/ 726 h 10000"/>
                  <a:gd name="connsiteX491" fmla="*/ 7615 w 10000"/>
                  <a:gd name="connsiteY491" fmla="*/ 677 h 10000"/>
                  <a:gd name="connsiteX492" fmla="*/ 7683 w 10000"/>
                  <a:gd name="connsiteY492" fmla="*/ 545 h 10000"/>
                  <a:gd name="connsiteX493" fmla="*/ 7661 w 10000"/>
                  <a:gd name="connsiteY493" fmla="*/ 512 h 10000"/>
                  <a:gd name="connsiteX494" fmla="*/ 7661 w 10000"/>
                  <a:gd name="connsiteY494" fmla="*/ 380 h 10000"/>
                  <a:gd name="connsiteX495" fmla="*/ 7649 w 10000"/>
                  <a:gd name="connsiteY495" fmla="*/ 363 h 10000"/>
                  <a:gd name="connsiteX496" fmla="*/ 7569 w 10000"/>
                  <a:gd name="connsiteY496" fmla="*/ 380 h 10000"/>
                  <a:gd name="connsiteX497" fmla="*/ 7569 w 10000"/>
                  <a:gd name="connsiteY497" fmla="*/ 363 h 10000"/>
                  <a:gd name="connsiteX498" fmla="*/ 7569 w 10000"/>
                  <a:gd name="connsiteY498" fmla="*/ 314 h 10000"/>
                  <a:gd name="connsiteX499" fmla="*/ 7649 w 10000"/>
                  <a:gd name="connsiteY499" fmla="*/ 215 h 10000"/>
                  <a:gd name="connsiteX500" fmla="*/ 7661 w 10000"/>
                  <a:gd name="connsiteY500" fmla="*/ 149 h 10000"/>
                  <a:gd name="connsiteX501" fmla="*/ 7718 w 10000"/>
                  <a:gd name="connsiteY501" fmla="*/ 99 h 10000"/>
                  <a:gd name="connsiteX502" fmla="*/ 8142 w 10000"/>
                  <a:gd name="connsiteY502" fmla="*/ 0 h 10000"/>
                  <a:gd name="connsiteX503" fmla="*/ 8291 w 10000"/>
                  <a:gd name="connsiteY503" fmla="*/ 116 h 10000"/>
                  <a:gd name="connsiteX504" fmla="*/ 8326 w 10000"/>
                  <a:gd name="connsiteY504" fmla="*/ 149 h 10000"/>
                  <a:gd name="connsiteX505" fmla="*/ 8394 w 10000"/>
                  <a:gd name="connsiteY505" fmla="*/ 149 h 10000"/>
                  <a:gd name="connsiteX506" fmla="*/ 8475 w 10000"/>
                  <a:gd name="connsiteY506" fmla="*/ 198 h 10000"/>
                  <a:gd name="connsiteX507" fmla="*/ 8544 w 10000"/>
                  <a:gd name="connsiteY507" fmla="*/ 314 h 10000"/>
                  <a:gd name="connsiteX508" fmla="*/ 8544 w 10000"/>
                  <a:gd name="connsiteY508" fmla="*/ 363 h 10000"/>
                  <a:gd name="connsiteX509" fmla="*/ 8601 w 10000"/>
                  <a:gd name="connsiteY509" fmla="*/ 429 h 10000"/>
                  <a:gd name="connsiteX510" fmla="*/ 8601 w 10000"/>
                  <a:gd name="connsiteY510" fmla="*/ 462 h 10000"/>
                  <a:gd name="connsiteX511" fmla="*/ 8601 w 10000"/>
                  <a:gd name="connsiteY511" fmla="*/ 429 h 10000"/>
                  <a:gd name="connsiteX512" fmla="*/ 8784 w 10000"/>
                  <a:gd name="connsiteY512" fmla="*/ 1221 h 10000"/>
                  <a:gd name="connsiteX513" fmla="*/ 8784 w 10000"/>
                  <a:gd name="connsiteY513" fmla="*/ 1254 h 10000"/>
                  <a:gd name="connsiteX514" fmla="*/ 8796 w 10000"/>
                  <a:gd name="connsiteY514" fmla="*/ 1419 h 10000"/>
                  <a:gd name="connsiteX515" fmla="*/ 8830 w 10000"/>
                  <a:gd name="connsiteY515" fmla="*/ 1469 h 10000"/>
                  <a:gd name="connsiteX516" fmla="*/ 8899 w 10000"/>
                  <a:gd name="connsiteY516" fmla="*/ 1485 h 10000"/>
                  <a:gd name="connsiteX517" fmla="*/ 8968 w 10000"/>
                  <a:gd name="connsiteY517" fmla="*/ 1436 h 10000"/>
                  <a:gd name="connsiteX518" fmla="*/ 9117 w 10000"/>
                  <a:gd name="connsiteY518" fmla="*/ 1535 h 10000"/>
                  <a:gd name="connsiteX519" fmla="*/ 9209 w 10000"/>
                  <a:gd name="connsiteY519" fmla="*/ 1650 h 10000"/>
                  <a:gd name="connsiteX520" fmla="*/ 9243 w 10000"/>
                  <a:gd name="connsiteY520" fmla="*/ 1683 h 10000"/>
                  <a:gd name="connsiteX521" fmla="*/ 9300 w 10000"/>
                  <a:gd name="connsiteY521" fmla="*/ 1683 h 10000"/>
                  <a:gd name="connsiteX522" fmla="*/ 9300 w 10000"/>
                  <a:gd name="connsiteY522" fmla="*/ 1733 h 10000"/>
                  <a:gd name="connsiteX523" fmla="*/ 9312 w 10000"/>
                  <a:gd name="connsiteY523" fmla="*/ 1733 h 10000"/>
                  <a:gd name="connsiteX524" fmla="*/ 9312 w 10000"/>
                  <a:gd name="connsiteY524" fmla="*/ 1799 h 10000"/>
                  <a:gd name="connsiteX525" fmla="*/ 9335 w 10000"/>
                  <a:gd name="connsiteY525" fmla="*/ 1848 h 10000"/>
                  <a:gd name="connsiteX526" fmla="*/ 9335 w 10000"/>
                  <a:gd name="connsiteY526" fmla="*/ 1997 h 10000"/>
                  <a:gd name="connsiteX527" fmla="*/ 9381 w 10000"/>
                  <a:gd name="connsiteY527" fmla="*/ 2112 h 10000"/>
                  <a:gd name="connsiteX528" fmla="*/ 9427 w 10000"/>
                  <a:gd name="connsiteY528" fmla="*/ 2112 h 10000"/>
                  <a:gd name="connsiteX529" fmla="*/ 9495 w 10000"/>
                  <a:gd name="connsiteY529" fmla="*/ 2129 h 10000"/>
                  <a:gd name="connsiteX530" fmla="*/ 9541 w 10000"/>
                  <a:gd name="connsiteY530" fmla="*/ 2112 h 10000"/>
                  <a:gd name="connsiteX531" fmla="*/ 9725 w 10000"/>
                  <a:gd name="connsiteY531" fmla="*/ 1964 h 10000"/>
                  <a:gd name="connsiteX532" fmla="*/ 9794 w 10000"/>
                  <a:gd name="connsiteY532" fmla="*/ 1964 h 10000"/>
                  <a:gd name="connsiteX533" fmla="*/ 10000 w 10000"/>
                  <a:gd name="connsiteY533" fmla="*/ 1848 h 10000"/>
                  <a:gd name="connsiteX534" fmla="*/ 9966 w 10000"/>
                  <a:gd name="connsiteY534" fmla="*/ 1914 h 10000"/>
                  <a:gd name="connsiteX535" fmla="*/ 9966 w 10000"/>
                  <a:gd name="connsiteY535" fmla="*/ 1997 h 10000"/>
                  <a:gd name="connsiteX536" fmla="*/ 9977 w 10000"/>
                  <a:gd name="connsiteY536" fmla="*/ 2063 h 10000"/>
                  <a:gd name="connsiteX537" fmla="*/ 9977 w 10000"/>
                  <a:gd name="connsiteY537" fmla="*/ 2162 h 10000"/>
                  <a:gd name="connsiteX538" fmla="*/ 9897 w 10000"/>
                  <a:gd name="connsiteY538" fmla="*/ 2261 h 10000"/>
                  <a:gd name="connsiteX539" fmla="*/ 9828 w 10000"/>
                  <a:gd name="connsiteY539" fmla="*/ 2657 h 10000"/>
                  <a:gd name="connsiteX540" fmla="*/ 9725 w 10000"/>
                  <a:gd name="connsiteY540" fmla="*/ 2904 h 10000"/>
                  <a:gd name="connsiteX541" fmla="*/ 9713 w 10000"/>
                  <a:gd name="connsiteY541" fmla="*/ 3003 h 10000"/>
                  <a:gd name="connsiteX542" fmla="*/ 9679 w 10000"/>
                  <a:gd name="connsiteY542" fmla="*/ 3020 h 10000"/>
                  <a:gd name="connsiteX543" fmla="*/ 9667 w 10000"/>
                  <a:gd name="connsiteY543" fmla="*/ 3020 h 10000"/>
                  <a:gd name="connsiteX544" fmla="*/ 9507 w 10000"/>
                  <a:gd name="connsiteY544" fmla="*/ 2954 h 10000"/>
                  <a:gd name="connsiteX545" fmla="*/ 9358 w 10000"/>
                  <a:gd name="connsiteY545" fmla="*/ 3135 h 10000"/>
                  <a:gd name="connsiteX546" fmla="*/ 9392 w 10000"/>
                  <a:gd name="connsiteY546" fmla="*/ 3185 h 10000"/>
                  <a:gd name="connsiteX547" fmla="*/ 9415 w 10000"/>
                  <a:gd name="connsiteY547" fmla="*/ 3581 h 10000"/>
                  <a:gd name="connsiteX548" fmla="*/ 9358 w 10000"/>
                  <a:gd name="connsiteY548" fmla="*/ 3663 h 10000"/>
                  <a:gd name="connsiteX549" fmla="*/ 9300 w 10000"/>
                  <a:gd name="connsiteY549" fmla="*/ 3746 h 10000"/>
                  <a:gd name="connsiteX550" fmla="*/ 9300 w 10000"/>
                  <a:gd name="connsiteY550" fmla="*/ 3812 h 10000"/>
                  <a:gd name="connsiteX551" fmla="*/ 9278 w 10000"/>
                  <a:gd name="connsiteY551" fmla="*/ 3812 h 10000"/>
                  <a:gd name="connsiteX552" fmla="*/ 9243 w 10000"/>
                  <a:gd name="connsiteY552" fmla="*/ 3762 h 10000"/>
                  <a:gd name="connsiteX553" fmla="*/ 9209 w 10000"/>
                  <a:gd name="connsiteY553" fmla="*/ 3713 h 10000"/>
                  <a:gd name="connsiteX554" fmla="*/ 9174 w 10000"/>
                  <a:gd name="connsiteY554" fmla="*/ 3746 h 10000"/>
                  <a:gd name="connsiteX555" fmla="*/ 9128 w 10000"/>
                  <a:gd name="connsiteY555" fmla="*/ 3911 h 10000"/>
                  <a:gd name="connsiteX556" fmla="*/ 9048 w 10000"/>
                  <a:gd name="connsiteY556" fmla="*/ 4010 h 10000"/>
                  <a:gd name="connsiteX557" fmla="*/ 8911 w 10000"/>
                  <a:gd name="connsiteY557" fmla="*/ 4026 h 10000"/>
                  <a:gd name="connsiteX558" fmla="*/ 8899 w 10000"/>
                  <a:gd name="connsiteY558" fmla="*/ 4059 h 10000"/>
                  <a:gd name="connsiteX559" fmla="*/ 8911 w 10000"/>
                  <a:gd name="connsiteY559" fmla="*/ 4191 h 10000"/>
                  <a:gd name="connsiteX560" fmla="*/ 8796 w 10000"/>
                  <a:gd name="connsiteY560" fmla="*/ 4224 h 10000"/>
                  <a:gd name="connsiteX561" fmla="*/ 8750 w 10000"/>
                  <a:gd name="connsiteY561" fmla="*/ 4175 h 10000"/>
                  <a:gd name="connsiteX562" fmla="*/ 8693 w 10000"/>
                  <a:gd name="connsiteY562" fmla="*/ 4142 h 10000"/>
                  <a:gd name="connsiteX563" fmla="*/ 8417 w 10000"/>
                  <a:gd name="connsiteY563" fmla="*/ 4455 h 10000"/>
                  <a:gd name="connsiteX564" fmla="*/ 8360 w 10000"/>
                  <a:gd name="connsiteY564" fmla="*/ 4488 h 10000"/>
                  <a:gd name="connsiteX565" fmla="*/ 8280 w 10000"/>
                  <a:gd name="connsiteY565" fmla="*/ 4653 h 10000"/>
                  <a:gd name="connsiteX566" fmla="*/ 8131 w 10000"/>
                  <a:gd name="connsiteY566" fmla="*/ 4719 h 10000"/>
                  <a:gd name="connsiteX567" fmla="*/ 8119 w 10000"/>
                  <a:gd name="connsiteY567" fmla="*/ 4703 h 10000"/>
                  <a:gd name="connsiteX568" fmla="*/ 8062 w 10000"/>
                  <a:gd name="connsiteY568" fmla="*/ 4752 h 10000"/>
                  <a:gd name="connsiteX569" fmla="*/ 7959 w 10000"/>
                  <a:gd name="connsiteY569" fmla="*/ 4818 h 10000"/>
                  <a:gd name="connsiteX570" fmla="*/ 7936 w 10000"/>
                  <a:gd name="connsiteY570" fmla="*/ 4868 h 10000"/>
                  <a:gd name="connsiteX571" fmla="*/ 7913 w 10000"/>
                  <a:gd name="connsiteY571" fmla="*/ 4917 h 10000"/>
                  <a:gd name="connsiteX572" fmla="*/ 7878 w 10000"/>
                  <a:gd name="connsiteY572" fmla="*/ 4934 h 10000"/>
                  <a:gd name="connsiteX573" fmla="*/ 7844 w 10000"/>
                  <a:gd name="connsiteY573" fmla="*/ 4934 h 10000"/>
                  <a:gd name="connsiteX574" fmla="*/ 7833 w 10000"/>
                  <a:gd name="connsiteY574" fmla="*/ 4967 h 10000"/>
                  <a:gd name="connsiteX575" fmla="*/ 7775 w 10000"/>
                  <a:gd name="connsiteY575" fmla="*/ 5017 h 10000"/>
                  <a:gd name="connsiteX576" fmla="*/ 7764 w 10000"/>
                  <a:gd name="connsiteY576" fmla="*/ 4983 h 10000"/>
                  <a:gd name="connsiteX577" fmla="*/ 7775 w 10000"/>
                  <a:gd name="connsiteY577" fmla="*/ 4934 h 10000"/>
                  <a:gd name="connsiteX578" fmla="*/ 7833 w 10000"/>
                  <a:gd name="connsiteY578" fmla="*/ 4917 h 10000"/>
                  <a:gd name="connsiteX579" fmla="*/ 7844 w 10000"/>
                  <a:gd name="connsiteY579" fmla="*/ 4818 h 10000"/>
                  <a:gd name="connsiteX580" fmla="*/ 7798 w 10000"/>
                  <a:gd name="connsiteY580" fmla="*/ 4802 h 10000"/>
                  <a:gd name="connsiteX581" fmla="*/ 7775 w 10000"/>
                  <a:gd name="connsiteY581" fmla="*/ 4769 h 10000"/>
                  <a:gd name="connsiteX582" fmla="*/ 7810 w 10000"/>
                  <a:gd name="connsiteY582" fmla="*/ 4752 h 10000"/>
                  <a:gd name="connsiteX583" fmla="*/ 7810 w 10000"/>
                  <a:gd name="connsiteY583" fmla="*/ 4703 h 10000"/>
                  <a:gd name="connsiteX584" fmla="*/ 7844 w 10000"/>
                  <a:gd name="connsiteY584" fmla="*/ 4670 h 10000"/>
                  <a:gd name="connsiteX585" fmla="*/ 7936 w 10000"/>
                  <a:gd name="connsiteY585" fmla="*/ 4488 h 10000"/>
                  <a:gd name="connsiteX586" fmla="*/ 7936 w 10000"/>
                  <a:gd name="connsiteY586" fmla="*/ 4455 h 10000"/>
                  <a:gd name="connsiteX587" fmla="*/ 7901 w 10000"/>
                  <a:gd name="connsiteY587" fmla="*/ 4389 h 10000"/>
                  <a:gd name="connsiteX588" fmla="*/ 7878 w 10000"/>
                  <a:gd name="connsiteY588" fmla="*/ 4340 h 10000"/>
                  <a:gd name="connsiteX589" fmla="*/ 7867 w 10000"/>
                  <a:gd name="connsiteY589" fmla="*/ 4323 h 10000"/>
                  <a:gd name="connsiteX590" fmla="*/ 7844 w 10000"/>
                  <a:gd name="connsiteY590" fmla="*/ 4340 h 10000"/>
                  <a:gd name="connsiteX591" fmla="*/ 7775 w 10000"/>
                  <a:gd name="connsiteY591" fmla="*/ 4340 h 10000"/>
                  <a:gd name="connsiteX592" fmla="*/ 7764 w 10000"/>
                  <a:gd name="connsiteY592" fmla="*/ 4373 h 10000"/>
                  <a:gd name="connsiteX593" fmla="*/ 7649 w 10000"/>
                  <a:gd name="connsiteY593" fmla="*/ 4587 h 10000"/>
                  <a:gd name="connsiteX594" fmla="*/ 7477 w 10000"/>
                  <a:gd name="connsiteY594" fmla="*/ 4703 h 10000"/>
                  <a:gd name="connsiteX595" fmla="*/ 7466 w 10000"/>
                  <a:gd name="connsiteY595" fmla="*/ 4818 h 10000"/>
                  <a:gd name="connsiteX596" fmla="*/ 7431 w 10000"/>
                  <a:gd name="connsiteY596" fmla="*/ 4851 h 10000"/>
                  <a:gd name="connsiteX597" fmla="*/ 7397 w 10000"/>
                  <a:gd name="connsiteY597" fmla="*/ 4884 h 10000"/>
                  <a:gd name="connsiteX598" fmla="*/ 7294 w 10000"/>
                  <a:gd name="connsiteY598" fmla="*/ 4917 h 10000"/>
                  <a:gd name="connsiteX599" fmla="*/ 7282 w 10000"/>
                  <a:gd name="connsiteY599" fmla="*/ 4884 h 10000"/>
                  <a:gd name="connsiteX600" fmla="*/ 7248 w 10000"/>
                  <a:gd name="connsiteY600" fmla="*/ 4884 h 10000"/>
                  <a:gd name="connsiteX601" fmla="*/ 7213 w 10000"/>
                  <a:gd name="connsiteY601" fmla="*/ 4917 h 10000"/>
                  <a:gd name="connsiteX602" fmla="*/ 7179 w 10000"/>
                  <a:gd name="connsiteY602" fmla="*/ 5083 h 10000"/>
                  <a:gd name="connsiteX603" fmla="*/ 7248 w 10000"/>
                  <a:gd name="connsiteY603" fmla="*/ 5198 h 10000"/>
                  <a:gd name="connsiteX604" fmla="*/ 7282 w 10000"/>
                  <a:gd name="connsiteY604" fmla="*/ 5231 h 10000"/>
                  <a:gd name="connsiteX605" fmla="*/ 7294 w 10000"/>
                  <a:gd name="connsiteY605" fmla="*/ 5231 h 10000"/>
                  <a:gd name="connsiteX606" fmla="*/ 7317 w 10000"/>
                  <a:gd name="connsiteY606" fmla="*/ 5248 h 10000"/>
                  <a:gd name="connsiteX607" fmla="*/ 7328 w 10000"/>
                  <a:gd name="connsiteY607" fmla="*/ 5248 h 10000"/>
                  <a:gd name="connsiteX608" fmla="*/ 7351 w 10000"/>
                  <a:gd name="connsiteY608" fmla="*/ 5297 h 10000"/>
                  <a:gd name="connsiteX609" fmla="*/ 7385 w 10000"/>
                  <a:gd name="connsiteY609" fmla="*/ 5330 h 10000"/>
                  <a:gd name="connsiteX610" fmla="*/ 7385 w 10000"/>
                  <a:gd name="connsiteY610" fmla="*/ 5413 h 10000"/>
                  <a:gd name="connsiteX611" fmla="*/ 7420 w 10000"/>
                  <a:gd name="connsiteY611" fmla="*/ 5462 h 10000"/>
                  <a:gd name="connsiteX612" fmla="*/ 7500 w 10000"/>
                  <a:gd name="connsiteY612" fmla="*/ 5512 h 10000"/>
                  <a:gd name="connsiteX613" fmla="*/ 7534 w 10000"/>
                  <a:gd name="connsiteY613" fmla="*/ 5495 h 10000"/>
                  <a:gd name="connsiteX614" fmla="*/ 7569 w 10000"/>
                  <a:gd name="connsiteY614" fmla="*/ 5413 h 10000"/>
                  <a:gd name="connsiteX615" fmla="*/ 7603 w 10000"/>
                  <a:gd name="connsiteY615" fmla="*/ 5396 h 10000"/>
                  <a:gd name="connsiteX616" fmla="*/ 7626 w 10000"/>
                  <a:gd name="connsiteY616" fmla="*/ 5347 h 10000"/>
                  <a:gd name="connsiteX617" fmla="*/ 7695 w 10000"/>
                  <a:gd name="connsiteY617" fmla="*/ 5297 h 10000"/>
                  <a:gd name="connsiteX618" fmla="*/ 7718 w 10000"/>
                  <a:gd name="connsiteY618" fmla="*/ 5297 h 10000"/>
                  <a:gd name="connsiteX619" fmla="*/ 7775 w 10000"/>
                  <a:gd name="connsiteY619" fmla="*/ 5380 h 10000"/>
                  <a:gd name="connsiteX620" fmla="*/ 7798 w 10000"/>
                  <a:gd name="connsiteY620" fmla="*/ 5380 h 10000"/>
                  <a:gd name="connsiteX621" fmla="*/ 7833 w 10000"/>
                  <a:gd name="connsiteY621" fmla="*/ 5413 h 10000"/>
                  <a:gd name="connsiteX622" fmla="*/ 7878 w 10000"/>
                  <a:gd name="connsiteY622" fmla="*/ 5396 h 10000"/>
                  <a:gd name="connsiteX623" fmla="*/ 7913 w 10000"/>
                  <a:gd name="connsiteY623" fmla="*/ 5380 h 10000"/>
                  <a:gd name="connsiteX624" fmla="*/ 7947 w 10000"/>
                  <a:gd name="connsiteY624" fmla="*/ 5413 h 10000"/>
                  <a:gd name="connsiteX625" fmla="*/ 7982 w 10000"/>
                  <a:gd name="connsiteY625" fmla="*/ 5413 h 10000"/>
                  <a:gd name="connsiteX626" fmla="*/ 7993 w 10000"/>
                  <a:gd name="connsiteY626" fmla="*/ 5413 h 10000"/>
                  <a:gd name="connsiteX627" fmla="*/ 7993 w 10000"/>
                  <a:gd name="connsiteY627" fmla="*/ 5495 h 10000"/>
                  <a:gd name="connsiteX628" fmla="*/ 7982 w 10000"/>
                  <a:gd name="connsiteY628" fmla="*/ 5512 h 10000"/>
                  <a:gd name="connsiteX629" fmla="*/ 7982 w 10000"/>
                  <a:gd name="connsiteY629" fmla="*/ 5545 h 10000"/>
                  <a:gd name="connsiteX630" fmla="*/ 7947 w 10000"/>
                  <a:gd name="connsiteY630" fmla="*/ 5594 h 10000"/>
                  <a:gd name="connsiteX631" fmla="*/ 7936 w 10000"/>
                  <a:gd name="connsiteY631" fmla="*/ 5594 h 10000"/>
                  <a:gd name="connsiteX632" fmla="*/ 7936 w 10000"/>
                  <a:gd name="connsiteY632" fmla="*/ 5545 h 10000"/>
                  <a:gd name="connsiteX633" fmla="*/ 7913 w 10000"/>
                  <a:gd name="connsiteY633" fmla="*/ 5545 h 10000"/>
                  <a:gd name="connsiteX634" fmla="*/ 7878 w 10000"/>
                  <a:gd name="connsiteY634" fmla="*/ 5545 h 10000"/>
                  <a:gd name="connsiteX635" fmla="*/ 7867 w 10000"/>
                  <a:gd name="connsiteY635" fmla="*/ 5561 h 10000"/>
                  <a:gd name="connsiteX636" fmla="*/ 7844 w 10000"/>
                  <a:gd name="connsiteY636" fmla="*/ 5611 h 10000"/>
                  <a:gd name="connsiteX637" fmla="*/ 7775 w 10000"/>
                  <a:gd name="connsiteY637" fmla="*/ 5611 h 10000"/>
                  <a:gd name="connsiteX638" fmla="*/ 7752 w 10000"/>
                  <a:gd name="connsiteY638" fmla="*/ 5644 h 10000"/>
                  <a:gd name="connsiteX639" fmla="*/ 7718 w 10000"/>
                  <a:gd name="connsiteY639" fmla="*/ 5644 h 10000"/>
                  <a:gd name="connsiteX640" fmla="*/ 7718 w 10000"/>
                  <a:gd name="connsiteY640" fmla="*/ 5710 h 10000"/>
                  <a:gd name="connsiteX641" fmla="*/ 7695 w 10000"/>
                  <a:gd name="connsiteY641" fmla="*/ 5726 h 10000"/>
                  <a:gd name="connsiteX642" fmla="*/ 7683 w 10000"/>
                  <a:gd name="connsiteY642" fmla="*/ 5809 h 10000"/>
                  <a:gd name="connsiteX643" fmla="*/ 7649 w 10000"/>
                  <a:gd name="connsiteY643" fmla="*/ 5809 h 10000"/>
                  <a:gd name="connsiteX644" fmla="*/ 7626 w 10000"/>
                  <a:gd name="connsiteY644" fmla="*/ 5759 h 10000"/>
                  <a:gd name="connsiteX645" fmla="*/ 7603 w 10000"/>
                  <a:gd name="connsiteY645" fmla="*/ 5759 h 10000"/>
                  <a:gd name="connsiteX646" fmla="*/ 7580 w 10000"/>
                  <a:gd name="connsiteY646" fmla="*/ 5809 h 10000"/>
                  <a:gd name="connsiteX647" fmla="*/ 7615 w 10000"/>
                  <a:gd name="connsiteY647" fmla="*/ 5825 h 10000"/>
                  <a:gd name="connsiteX648" fmla="*/ 7569 w 10000"/>
                  <a:gd name="connsiteY648" fmla="*/ 5908 h 10000"/>
                  <a:gd name="connsiteX649" fmla="*/ 7511 w 10000"/>
                  <a:gd name="connsiteY649" fmla="*/ 5941 h 10000"/>
                  <a:gd name="connsiteX650" fmla="*/ 7443 w 10000"/>
                  <a:gd name="connsiteY650" fmla="*/ 6139 h 10000"/>
                  <a:gd name="connsiteX651" fmla="*/ 7443 w 10000"/>
                  <a:gd name="connsiteY651" fmla="*/ 6188 h 10000"/>
                  <a:gd name="connsiteX652" fmla="*/ 7615 w 10000"/>
                  <a:gd name="connsiteY652" fmla="*/ 6304 h 10000"/>
                  <a:gd name="connsiteX653" fmla="*/ 7626 w 10000"/>
                  <a:gd name="connsiteY653" fmla="*/ 6337 h 10000"/>
                  <a:gd name="connsiteX654" fmla="*/ 7649 w 10000"/>
                  <a:gd name="connsiteY654" fmla="*/ 6403 h 10000"/>
                  <a:gd name="connsiteX655" fmla="*/ 7661 w 10000"/>
                  <a:gd name="connsiteY655" fmla="*/ 6452 h 10000"/>
                  <a:gd name="connsiteX656" fmla="*/ 7718 w 10000"/>
                  <a:gd name="connsiteY656" fmla="*/ 6766 h 10000"/>
                  <a:gd name="connsiteX657" fmla="*/ 7752 w 10000"/>
                  <a:gd name="connsiteY657" fmla="*/ 6815 h 10000"/>
                  <a:gd name="connsiteX658" fmla="*/ 7775 w 10000"/>
                  <a:gd name="connsiteY658" fmla="*/ 6832 h 10000"/>
                  <a:gd name="connsiteX659" fmla="*/ 7798 w 10000"/>
                  <a:gd name="connsiteY659" fmla="*/ 6881 h 10000"/>
                  <a:gd name="connsiteX660" fmla="*/ 7878 w 10000"/>
                  <a:gd name="connsiteY660" fmla="*/ 7030 h 10000"/>
                  <a:gd name="connsiteX661" fmla="*/ 7878 w 10000"/>
                  <a:gd name="connsiteY661" fmla="*/ 7046 h 10000"/>
                  <a:gd name="connsiteX662" fmla="*/ 7775 w 10000"/>
                  <a:gd name="connsiteY662" fmla="*/ 6980 h 10000"/>
                  <a:gd name="connsiteX663" fmla="*/ 7752 w 10000"/>
                  <a:gd name="connsiteY663" fmla="*/ 6980 h 10000"/>
                  <a:gd name="connsiteX664" fmla="*/ 7661 w 10000"/>
                  <a:gd name="connsiteY664" fmla="*/ 6931 h 10000"/>
                  <a:gd name="connsiteX665" fmla="*/ 7603 w 10000"/>
                  <a:gd name="connsiteY665" fmla="*/ 6947 h 10000"/>
                  <a:gd name="connsiteX666" fmla="*/ 7603 w 10000"/>
                  <a:gd name="connsiteY666" fmla="*/ 6980 h 10000"/>
                  <a:gd name="connsiteX667" fmla="*/ 7661 w 10000"/>
                  <a:gd name="connsiteY667" fmla="*/ 6947 h 10000"/>
                  <a:gd name="connsiteX668" fmla="*/ 7683 w 10000"/>
                  <a:gd name="connsiteY668" fmla="*/ 6980 h 10000"/>
                  <a:gd name="connsiteX669" fmla="*/ 7695 w 10000"/>
                  <a:gd name="connsiteY669" fmla="*/ 6997 h 10000"/>
                  <a:gd name="connsiteX670" fmla="*/ 7729 w 10000"/>
                  <a:gd name="connsiteY670" fmla="*/ 6997 h 10000"/>
                  <a:gd name="connsiteX671" fmla="*/ 7764 w 10000"/>
                  <a:gd name="connsiteY671" fmla="*/ 7046 h 10000"/>
                  <a:gd name="connsiteX672" fmla="*/ 7798 w 10000"/>
                  <a:gd name="connsiteY672" fmla="*/ 7096 h 10000"/>
                  <a:gd name="connsiteX673" fmla="*/ 7833 w 10000"/>
                  <a:gd name="connsiteY673" fmla="*/ 7145 h 10000"/>
                  <a:gd name="connsiteX674" fmla="*/ 7878 w 10000"/>
                  <a:gd name="connsiteY674" fmla="*/ 7244 h 10000"/>
                  <a:gd name="connsiteX675" fmla="*/ 7878 w 10000"/>
                  <a:gd name="connsiteY675" fmla="*/ 7261 h 10000"/>
                  <a:gd name="connsiteX676" fmla="*/ 7833 w 10000"/>
                  <a:gd name="connsiteY676" fmla="*/ 7261 h 10000"/>
                  <a:gd name="connsiteX677" fmla="*/ 7798 w 10000"/>
                  <a:gd name="connsiteY677" fmla="*/ 7310 h 10000"/>
                  <a:gd name="connsiteX678" fmla="*/ 7752 w 10000"/>
                  <a:gd name="connsiteY678" fmla="*/ 7343 h 10000"/>
                  <a:gd name="connsiteX679" fmla="*/ 7729 w 10000"/>
                  <a:gd name="connsiteY679" fmla="*/ 7360 h 10000"/>
                  <a:gd name="connsiteX680" fmla="*/ 7695 w 10000"/>
                  <a:gd name="connsiteY680" fmla="*/ 7393 h 10000"/>
                  <a:gd name="connsiteX681" fmla="*/ 7626 w 10000"/>
                  <a:gd name="connsiteY681" fmla="*/ 7409 h 10000"/>
                  <a:gd name="connsiteX682" fmla="*/ 7603 w 10000"/>
                  <a:gd name="connsiteY682" fmla="*/ 7442 h 10000"/>
                  <a:gd name="connsiteX683" fmla="*/ 7626 w 10000"/>
                  <a:gd name="connsiteY683" fmla="*/ 7409 h 10000"/>
                  <a:gd name="connsiteX684" fmla="*/ 7695 w 10000"/>
                  <a:gd name="connsiteY684" fmla="*/ 7459 h 10000"/>
                  <a:gd name="connsiteX685" fmla="*/ 7764 w 10000"/>
                  <a:gd name="connsiteY685" fmla="*/ 7409 h 10000"/>
                  <a:gd name="connsiteX686" fmla="*/ 7775 w 10000"/>
                  <a:gd name="connsiteY686" fmla="*/ 7442 h 10000"/>
                  <a:gd name="connsiteX687" fmla="*/ 7810 w 10000"/>
                  <a:gd name="connsiteY687" fmla="*/ 7459 h 10000"/>
                  <a:gd name="connsiteX688" fmla="*/ 7810 w 10000"/>
                  <a:gd name="connsiteY688" fmla="*/ 7475 h 10000"/>
                  <a:gd name="connsiteX689" fmla="*/ 7867 w 10000"/>
                  <a:gd name="connsiteY689" fmla="*/ 7508 h 10000"/>
                  <a:gd name="connsiteX690" fmla="*/ 7878 w 10000"/>
                  <a:gd name="connsiteY690" fmla="*/ 7508 h 10000"/>
                  <a:gd name="connsiteX691" fmla="*/ 7901 w 10000"/>
                  <a:gd name="connsiteY691" fmla="*/ 7525 h 10000"/>
                  <a:gd name="connsiteX692" fmla="*/ 7810 w 10000"/>
                  <a:gd name="connsiteY692" fmla="*/ 7624 h 10000"/>
                  <a:gd name="connsiteX693" fmla="*/ 7867 w 10000"/>
                  <a:gd name="connsiteY693" fmla="*/ 7607 h 10000"/>
                  <a:gd name="connsiteX694" fmla="*/ 7867 w 10000"/>
                  <a:gd name="connsiteY694" fmla="*/ 7690 h 10000"/>
                  <a:gd name="connsiteX695" fmla="*/ 7867 w 10000"/>
                  <a:gd name="connsiteY695" fmla="*/ 7673 h 10000"/>
                  <a:gd name="connsiteX696" fmla="*/ 7844 w 10000"/>
                  <a:gd name="connsiteY696" fmla="*/ 7690 h 10000"/>
                  <a:gd name="connsiteX697" fmla="*/ 7810 w 10000"/>
                  <a:gd name="connsiteY697" fmla="*/ 7723 h 10000"/>
                  <a:gd name="connsiteX698" fmla="*/ 7810 w 10000"/>
                  <a:gd name="connsiteY698" fmla="*/ 7772 h 10000"/>
                  <a:gd name="connsiteX699" fmla="*/ 7810 w 10000"/>
                  <a:gd name="connsiteY699" fmla="*/ 7822 h 10000"/>
                  <a:gd name="connsiteX700" fmla="*/ 7798 w 10000"/>
                  <a:gd name="connsiteY700" fmla="*/ 7838 h 10000"/>
                  <a:gd name="connsiteX701" fmla="*/ 7798 w 10000"/>
                  <a:gd name="connsiteY701" fmla="*/ 7921 h 10000"/>
                  <a:gd name="connsiteX702" fmla="*/ 7775 w 10000"/>
                  <a:gd name="connsiteY702" fmla="*/ 7987 h 10000"/>
                  <a:gd name="connsiteX703" fmla="*/ 7775 w 10000"/>
                  <a:gd name="connsiteY703" fmla="*/ 7954 h 10000"/>
                  <a:gd name="connsiteX704" fmla="*/ 7764 w 10000"/>
                  <a:gd name="connsiteY704" fmla="*/ 7937 h 10000"/>
                  <a:gd name="connsiteX705" fmla="*/ 7752 w 10000"/>
                  <a:gd name="connsiteY705" fmla="*/ 7954 h 10000"/>
                  <a:gd name="connsiteX706" fmla="*/ 7649 w 10000"/>
                  <a:gd name="connsiteY706" fmla="*/ 8152 h 10000"/>
                  <a:gd name="connsiteX707" fmla="*/ 7649 w 10000"/>
                  <a:gd name="connsiteY707" fmla="*/ 8185 h 10000"/>
                  <a:gd name="connsiteX708" fmla="*/ 7626 w 10000"/>
                  <a:gd name="connsiteY708" fmla="*/ 8251 h 10000"/>
                  <a:gd name="connsiteX709" fmla="*/ 7580 w 10000"/>
                  <a:gd name="connsiteY709" fmla="*/ 8317 h 10000"/>
                  <a:gd name="connsiteX710" fmla="*/ 7569 w 10000"/>
                  <a:gd name="connsiteY710" fmla="*/ 8366 h 10000"/>
                  <a:gd name="connsiteX711" fmla="*/ 7546 w 10000"/>
                  <a:gd name="connsiteY711" fmla="*/ 8416 h 10000"/>
                  <a:gd name="connsiteX712" fmla="*/ 7546 w 10000"/>
                  <a:gd name="connsiteY712" fmla="*/ 8399 h 10000"/>
                  <a:gd name="connsiteX713" fmla="*/ 7546 w 10000"/>
                  <a:gd name="connsiteY713" fmla="*/ 8350 h 10000"/>
                  <a:gd name="connsiteX714" fmla="*/ 7511 w 10000"/>
                  <a:gd name="connsiteY714" fmla="*/ 8350 h 10000"/>
                  <a:gd name="connsiteX715" fmla="*/ 7500 w 10000"/>
                  <a:gd name="connsiteY715" fmla="*/ 8366 h 10000"/>
                  <a:gd name="connsiteX716" fmla="*/ 7511 w 10000"/>
                  <a:gd name="connsiteY716" fmla="*/ 8449 h 10000"/>
                  <a:gd name="connsiteX717" fmla="*/ 7511 w 10000"/>
                  <a:gd name="connsiteY717" fmla="*/ 8465 h 10000"/>
                  <a:gd name="connsiteX718" fmla="*/ 7500 w 10000"/>
                  <a:gd name="connsiteY718" fmla="*/ 8531 h 10000"/>
                  <a:gd name="connsiteX719" fmla="*/ 7500 w 10000"/>
                  <a:gd name="connsiteY719" fmla="*/ 8564 h 10000"/>
                  <a:gd name="connsiteX720" fmla="*/ 7500 w 10000"/>
                  <a:gd name="connsiteY720" fmla="*/ 8614 h 10000"/>
                  <a:gd name="connsiteX721" fmla="*/ 7477 w 10000"/>
                  <a:gd name="connsiteY721" fmla="*/ 8614 h 10000"/>
                  <a:gd name="connsiteX722" fmla="*/ 7477 w 10000"/>
                  <a:gd name="connsiteY722" fmla="*/ 8630 h 10000"/>
                  <a:gd name="connsiteX723" fmla="*/ 7477 w 10000"/>
                  <a:gd name="connsiteY723" fmla="*/ 8663 h 10000"/>
                  <a:gd name="connsiteX724" fmla="*/ 7477 w 10000"/>
                  <a:gd name="connsiteY724" fmla="*/ 8680 h 10000"/>
                  <a:gd name="connsiteX725" fmla="*/ 7477 w 10000"/>
                  <a:gd name="connsiteY725" fmla="*/ 8713 h 10000"/>
                  <a:gd name="connsiteX726" fmla="*/ 7466 w 10000"/>
                  <a:gd name="connsiteY726" fmla="*/ 8680 h 10000"/>
                  <a:gd name="connsiteX727" fmla="*/ 7443 w 10000"/>
                  <a:gd name="connsiteY727" fmla="*/ 8680 h 10000"/>
                  <a:gd name="connsiteX728" fmla="*/ 7431 w 10000"/>
                  <a:gd name="connsiteY728" fmla="*/ 8713 h 10000"/>
                  <a:gd name="connsiteX729" fmla="*/ 7431 w 10000"/>
                  <a:gd name="connsiteY729" fmla="*/ 8729 h 10000"/>
                  <a:gd name="connsiteX730" fmla="*/ 7431 w 10000"/>
                  <a:gd name="connsiteY730" fmla="*/ 8746 h 10000"/>
                  <a:gd name="connsiteX731" fmla="*/ 7420 w 10000"/>
                  <a:gd name="connsiteY731" fmla="*/ 8746 h 10000"/>
                  <a:gd name="connsiteX732" fmla="*/ 7397 w 10000"/>
                  <a:gd name="connsiteY732" fmla="*/ 8746 h 10000"/>
                  <a:gd name="connsiteX733" fmla="*/ 7385 w 10000"/>
                  <a:gd name="connsiteY733" fmla="*/ 8828 h 10000"/>
                  <a:gd name="connsiteX734" fmla="*/ 7351 w 10000"/>
                  <a:gd name="connsiteY734" fmla="*/ 8845 h 10000"/>
                  <a:gd name="connsiteX735" fmla="*/ 7351 w 10000"/>
                  <a:gd name="connsiteY735" fmla="*/ 8878 h 10000"/>
                  <a:gd name="connsiteX736" fmla="*/ 7328 w 10000"/>
                  <a:gd name="connsiteY736" fmla="*/ 8894 h 10000"/>
                  <a:gd name="connsiteX737" fmla="*/ 7282 w 10000"/>
                  <a:gd name="connsiteY737" fmla="*/ 8927 h 10000"/>
                  <a:gd name="connsiteX738" fmla="*/ 7259 w 10000"/>
                  <a:gd name="connsiteY738" fmla="*/ 8927 h 10000"/>
                  <a:gd name="connsiteX739" fmla="*/ 7236 w 10000"/>
                  <a:gd name="connsiteY739" fmla="*/ 8944 h 10000"/>
                  <a:gd name="connsiteX740" fmla="*/ 7248 w 10000"/>
                  <a:gd name="connsiteY740" fmla="*/ 8977 h 10000"/>
                  <a:gd name="connsiteX741" fmla="*/ 7236 w 10000"/>
                  <a:gd name="connsiteY741" fmla="*/ 9010 h 10000"/>
                  <a:gd name="connsiteX742" fmla="*/ 7202 w 10000"/>
                  <a:gd name="connsiteY742" fmla="*/ 9059 h 10000"/>
                  <a:gd name="connsiteX743" fmla="*/ 7179 w 10000"/>
                  <a:gd name="connsiteY743" fmla="*/ 9059 h 10000"/>
                  <a:gd name="connsiteX744" fmla="*/ 7179 w 10000"/>
                  <a:gd name="connsiteY744" fmla="*/ 9109 h 10000"/>
                  <a:gd name="connsiteX745" fmla="*/ 7167 w 10000"/>
                  <a:gd name="connsiteY745" fmla="*/ 9092 h 10000"/>
                  <a:gd name="connsiteX746" fmla="*/ 7144 w 10000"/>
                  <a:gd name="connsiteY746" fmla="*/ 9109 h 10000"/>
                  <a:gd name="connsiteX747" fmla="*/ 7144 w 10000"/>
                  <a:gd name="connsiteY747" fmla="*/ 9142 h 10000"/>
                  <a:gd name="connsiteX748" fmla="*/ 7133 w 10000"/>
                  <a:gd name="connsiteY748" fmla="*/ 9142 h 10000"/>
                  <a:gd name="connsiteX749" fmla="*/ 7099 w 10000"/>
                  <a:gd name="connsiteY749" fmla="*/ 9158 h 10000"/>
                  <a:gd name="connsiteX750" fmla="*/ 7087 w 10000"/>
                  <a:gd name="connsiteY750" fmla="*/ 9158 h 10000"/>
                  <a:gd name="connsiteX751" fmla="*/ 7064 w 10000"/>
                  <a:gd name="connsiteY751" fmla="*/ 9158 h 10000"/>
                  <a:gd name="connsiteX752" fmla="*/ 6995 w 10000"/>
                  <a:gd name="connsiteY752" fmla="*/ 9307 h 10000"/>
                  <a:gd name="connsiteX753" fmla="*/ 6904 w 10000"/>
                  <a:gd name="connsiteY753" fmla="*/ 9373 h 10000"/>
                  <a:gd name="connsiteX754" fmla="*/ 6846 w 10000"/>
                  <a:gd name="connsiteY754" fmla="*/ 9356 h 10000"/>
                  <a:gd name="connsiteX755" fmla="*/ 6846 w 10000"/>
                  <a:gd name="connsiteY755" fmla="*/ 9373 h 10000"/>
                  <a:gd name="connsiteX756" fmla="*/ 6835 w 10000"/>
                  <a:gd name="connsiteY756" fmla="*/ 9406 h 10000"/>
                  <a:gd name="connsiteX757" fmla="*/ 6812 w 10000"/>
                  <a:gd name="connsiteY757" fmla="*/ 9406 h 10000"/>
                  <a:gd name="connsiteX758" fmla="*/ 6800 w 10000"/>
                  <a:gd name="connsiteY758" fmla="*/ 9373 h 10000"/>
                  <a:gd name="connsiteX759" fmla="*/ 6778 w 10000"/>
                  <a:gd name="connsiteY759" fmla="*/ 9356 h 10000"/>
                  <a:gd name="connsiteX760" fmla="*/ 6743 w 10000"/>
                  <a:gd name="connsiteY760" fmla="*/ 9373 h 10000"/>
                  <a:gd name="connsiteX761" fmla="*/ 6732 w 10000"/>
                  <a:gd name="connsiteY761" fmla="*/ 9422 h 10000"/>
                  <a:gd name="connsiteX762" fmla="*/ 6720 w 10000"/>
                  <a:gd name="connsiteY762" fmla="*/ 9422 h 10000"/>
                  <a:gd name="connsiteX763" fmla="*/ 6697 w 10000"/>
                  <a:gd name="connsiteY763" fmla="*/ 9406 h 10000"/>
                  <a:gd name="connsiteX764" fmla="*/ 6697 w 10000"/>
                  <a:gd name="connsiteY764" fmla="*/ 9373 h 10000"/>
                  <a:gd name="connsiteX765" fmla="*/ 6686 w 10000"/>
                  <a:gd name="connsiteY765" fmla="*/ 9373 h 10000"/>
                  <a:gd name="connsiteX766" fmla="*/ 6686 w 10000"/>
                  <a:gd name="connsiteY766" fmla="*/ 94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Lst>
                <a:rect l="l" t="t" r="r" b="b"/>
                <a:pathLst>
                  <a:path w="10000" h="10000">
                    <a:moveTo>
                      <a:pt x="6686" y="9422"/>
                    </a:moveTo>
                    <a:cubicBezTo>
                      <a:pt x="6678" y="9433"/>
                      <a:pt x="6671" y="9444"/>
                      <a:pt x="6663" y="9455"/>
                    </a:cubicBezTo>
                    <a:lnTo>
                      <a:pt x="6663" y="9422"/>
                    </a:lnTo>
                    <a:lnTo>
                      <a:pt x="6651" y="9422"/>
                    </a:lnTo>
                    <a:lnTo>
                      <a:pt x="6628" y="9422"/>
                    </a:lnTo>
                    <a:lnTo>
                      <a:pt x="6617" y="9422"/>
                    </a:lnTo>
                    <a:lnTo>
                      <a:pt x="6617" y="9455"/>
                    </a:lnTo>
                    <a:cubicBezTo>
                      <a:pt x="6621" y="9461"/>
                      <a:pt x="6624" y="9466"/>
                      <a:pt x="6628" y="9472"/>
                    </a:cubicBezTo>
                    <a:lnTo>
                      <a:pt x="6583" y="9472"/>
                    </a:lnTo>
                    <a:lnTo>
                      <a:pt x="6583" y="9455"/>
                    </a:lnTo>
                    <a:lnTo>
                      <a:pt x="6583" y="9422"/>
                    </a:lnTo>
                    <a:cubicBezTo>
                      <a:pt x="6571" y="9417"/>
                      <a:pt x="6560" y="9411"/>
                      <a:pt x="6548" y="9406"/>
                    </a:cubicBezTo>
                    <a:cubicBezTo>
                      <a:pt x="6537" y="9395"/>
                      <a:pt x="6525" y="9384"/>
                      <a:pt x="6514" y="9373"/>
                    </a:cubicBezTo>
                    <a:lnTo>
                      <a:pt x="6514" y="9356"/>
                    </a:lnTo>
                    <a:lnTo>
                      <a:pt x="6514" y="9488"/>
                    </a:lnTo>
                    <a:lnTo>
                      <a:pt x="6502" y="9488"/>
                    </a:lnTo>
                    <a:lnTo>
                      <a:pt x="6479" y="9488"/>
                    </a:lnTo>
                    <a:cubicBezTo>
                      <a:pt x="6468" y="9466"/>
                      <a:pt x="6456" y="9444"/>
                      <a:pt x="6445" y="9422"/>
                    </a:cubicBezTo>
                    <a:cubicBezTo>
                      <a:pt x="6441" y="9417"/>
                      <a:pt x="6437" y="9411"/>
                      <a:pt x="6433" y="9406"/>
                    </a:cubicBezTo>
                    <a:cubicBezTo>
                      <a:pt x="6426" y="9444"/>
                      <a:pt x="6418" y="9483"/>
                      <a:pt x="6411" y="9521"/>
                    </a:cubicBezTo>
                    <a:lnTo>
                      <a:pt x="6411" y="9571"/>
                    </a:lnTo>
                    <a:lnTo>
                      <a:pt x="6411" y="9587"/>
                    </a:lnTo>
                    <a:cubicBezTo>
                      <a:pt x="6407" y="9582"/>
                      <a:pt x="6403" y="9576"/>
                      <a:pt x="6399" y="9571"/>
                    </a:cubicBezTo>
                    <a:lnTo>
                      <a:pt x="6353" y="9620"/>
                    </a:lnTo>
                    <a:lnTo>
                      <a:pt x="6319" y="9620"/>
                    </a:lnTo>
                    <a:cubicBezTo>
                      <a:pt x="6311" y="9626"/>
                      <a:pt x="6304" y="9631"/>
                      <a:pt x="6296" y="9637"/>
                    </a:cubicBezTo>
                    <a:lnTo>
                      <a:pt x="6261" y="9637"/>
                    </a:lnTo>
                    <a:lnTo>
                      <a:pt x="6261" y="9620"/>
                    </a:lnTo>
                    <a:lnTo>
                      <a:pt x="6227" y="9620"/>
                    </a:lnTo>
                    <a:cubicBezTo>
                      <a:pt x="6219" y="9637"/>
                      <a:pt x="6212" y="9653"/>
                      <a:pt x="6204" y="9670"/>
                    </a:cubicBezTo>
                    <a:cubicBezTo>
                      <a:pt x="6181" y="9675"/>
                      <a:pt x="6158" y="9681"/>
                      <a:pt x="6135" y="9686"/>
                    </a:cubicBezTo>
                    <a:lnTo>
                      <a:pt x="6101" y="9686"/>
                    </a:lnTo>
                    <a:cubicBezTo>
                      <a:pt x="6078" y="9703"/>
                      <a:pt x="6055" y="9719"/>
                      <a:pt x="6032" y="9736"/>
                    </a:cubicBezTo>
                    <a:cubicBezTo>
                      <a:pt x="6021" y="9730"/>
                      <a:pt x="6009" y="9725"/>
                      <a:pt x="5998" y="9719"/>
                    </a:cubicBezTo>
                    <a:cubicBezTo>
                      <a:pt x="5986" y="9758"/>
                      <a:pt x="5975" y="9796"/>
                      <a:pt x="5963" y="9835"/>
                    </a:cubicBezTo>
                    <a:cubicBezTo>
                      <a:pt x="5975" y="9868"/>
                      <a:pt x="5986" y="9901"/>
                      <a:pt x="5998" y="9934"/>
                    </a:cubicBezTo>
                    <a:lnTo>
                      <a:pt x="5998" y="9983"/>
                    </a:lnTo>
                    <a:cubicBezTo>
                      <a:pt x="5983" y="9989"/>
                      <a:pt x="5967" y="9994"/>
                      <a:pt x="5952" y="10000"/>
                    </a:cubicBezTo>
                    <a:cubicBezTo>
                      <a:pt x="5940" y="9994"/>
                      <a:pt x="5929" y="9989"/>
                      <a:pt x="5917" y="9983"/>
                    </a:cubicBezTo>
                    <a:cubicBezTo>
                      <a:pt x="5902" y="9923"/>
                      <a:pt x="5887" y="9862"/>
                      <a:pt x="5872" y="9802"/>
                    </a:cubicBezTo>
                    <a:cubicBezTo>
                      <a:pt x="5876" y="9774"/>
                      <a:pt x="5879" y="9747"/>
                      <a:pt x="5883" y="9719"/>
                    </a:cubicBezTo>
                    <a:lnTo>
                      <a:pt x="5883" y="9670"/>
                    </a:lnTo>
                    <a:lnTo>
                      <a:pt x="5837" y="9719"/>
                    </a:lnTo>
                    <a:lnTo>
                      <a:pt x="5803" y="9719"/>
                    </a:lnTo>
                    <a:cubicBezTo>
                      <a:pt x="5795" y="9708"/>
                      <a:pt x="5788" y="9697"/>
                      <a:pt x="5780" y="9686"/>
                    </a:cubicBezTo>
                    <a:lnTo>
                      <a:pt x="5780" y="9670"/>
                    </a:lnTo>
                    <a:lnTo>
                      <a:pt x="5700" y="9637"/>
                    </a:lnTo>
                    <a:lnTo>
                      <a:pt x="5688" y="9637"/>
                    </a:lnTo>
                    <a:lnTo>
                      <a:pt x="5688" y="9670"/>
                    </a:lnTo>
                    <a:cubicBezTo>
                      <a:pt x="5677" y="9675"/>
                      <a:pt x="5665" y="9681"/>
                      <a:pt x="5654" y="9686"/>
                    </a:cubicBezTo>
                    <a:lnTo>
                      <a:pt x="5654" y="9719"/>
                    </a:lnTo>
                    <a:cubicBezTo>
                      <a:pt x="5646" y="9703"/>
                      <a:pt x="5639" y="9686"/>
                      <a:pt x="5631" y="9670"/>
                    </a:cubicBezTo>
                    <a:cubicBezTo>
                      <a:pt x="5619" y="9675"/>
                      <a:pt x="5608" y="9681"/>
                      <a:pt x="5596" y="9686"/>
                    </a:cubicBezTo>
                    <a:lnTo>
                      <a:pt x="5585" y="9686"/>
                    </a:lnTo>
                    <a:cubicBezTo>
                      <a:pt x="5558" y="9681"/>
                      <a:pt x="5532" y="9675"/>
                      <a:pt x="5505" y="9670"/>
                    </a:cubicBezTo>
                    <a:cubicBezTo>
                      <a:pt x="5497" y="9659"/>
                      <a:pt x="5490" y="9648"/>
                      <a:pt x="5482" y="9637"/>
                    </a:cubicBezTo>
                    <a:cubicBezTo>
                      <a:pt x="5459" y="9620"/>
                      <a:pt x="5436" y="9604"/>
                      <a:pt x="5413" y="9587"/>
                    </a:cubicBezTo>
                    <a:cubicBezTo>
                      <a:pt x="5401" y="9571"/>
                      <a:pt x="5390" y="9554"/>
                      <a:pt x="5378" y="9538"/>
                    </a:cubicBezTo>
                    <a:cubicBezTo>
                      <a:pt x="5374" y="9516"/>
                      <a:pt x="5371" y="9494"/>
                      <a:pt x="5367" y="9472"/>
                    </a:cubicBezTo>
                    <a:cubicBezTo>
                      <a:pt x="5371" y="9450"/>
                      <a:pt x="5374" y="9428"/>
                      <a:pt x="5378" y="9406"/>
                    </a:cubicBezTo>
                    <a:lnTo>
                      <a:pt x="5378" y="9373"/>
                    </a:lnTo>
                    <a:cubicBezTo>
                      <a:pt x="5348" y="9367"/>
                      <a:pt x="5317" y="9362"/>
                      <a:pt x="5287" y="9356"/>
                    </a:cubicBezTo>
                    <a:lnTo>
                      <a:pt x="5149" y="9257"/>
                    </a:lnTo>
                    <a:lnTo>
                      <a:pt x="5138" y="9257"/>
                    </a:lnTo>
                    <a:lnTo>
                      <a:pt x="5069" y="9356"/>
                    </a:lnTo>
                    <a:cubicBezTo>
                      <a:pt x="5050" y="9362"/>
                      <a:pt x="5030" y="9367"/>
                      <a:pt x="5011" y="9373"/>
                    </a:cubicBezTo>
                    <a:lnTo>
                      <a:pt x="4989" y="9373"/>
                    </a:lnTo>
                    <a:cubicBezTo>
                      <a:pt x="4981" y="9384"/>
                      <a:pt x="4974" y="9395"/>
                      <a:pt x="4966" y="9406"/>
                    </a:cubicBezTo>
                    <a:cubicBezTo>
                      <a:pt x="4954" y="9411"/>
                      <a:pt x="4943" y="9417"/>
                      <a:pt x="4931" y="9422"/>
                    </a:cubicBezTo>
                    <a:cubicBezTo>
                      <a:pt x="4927" y="9417"/>
                      <a:pt x="4924" y="9411"/>
                      <a:pt x="4920" y="9406"/>
                    </a:cubicBezTo>
                    <a:cubicBezTo>
                      <a:pt x="4908" y="9411"/>
                      <a:pt x="4897" y="9417"/>
                      <a:pt x="4885" y="9422"/>
                    </a:cubicBezTo>
                    <a:cubicBezTo>
                      <a:pt x="4877" y="9417"/>
                      <a:pt x="4870" y="9411"/>
                      <a:pt x="4862" y="9406"/>
                    </a:cubicBezTo>
                    <a:lnTo>
                      <a:pt x="4851" y="9406"/>
                    </a:lnTo>
                    <a:lnTo>
                      <a:pt x="4805" y="9455"/>
                    </a:lnTo>
                    <a:cubicBezTo>
                      <a:pt x="4797" y="9444"/>
                      <a:pt x="4790" y="9433"/>
                      <a:pt x="4782" y="9422"/>
                    </a:cubicBezTo>
                    <a:cubicBezTo>
                      <a:pt x="4778" y="9417"/>
                      <a:pt x="4775" y="9411"/>
                      <a:pt x="4771" y="9406"/>
                    </a:cubicBezTo>
                    <a:lnTo>
                      <a:pt x="4713" y="9406"/>
                    </a:lnTo>
                    <a:lnTo>
                      <a:pt x="4713" y="9373"/>
                    </a:lnTo>
                    <a:cubicBezTo>
                      <a:pt x="4709" y="9384"/>
                      <a:pt x="4706" y="9395"/>
                      <a:pt x="4702" y="9406"/>
                    </a:cubicBezTo>
                    <a:cubicBezTo>
                      <a:pt x="4690" y="9422"/>
                      <a:pt x="4679" y="9439"/>
                      <a:pt x="4667" y="9455"/>
                    </a:cubicBezTo>
                    <a:lnTo>
                      <a:pt x="4667" y="9472"/>
                    </a:lnTo>
                    <a:cubicBezTo>
                      <a:pt x="4663" y="9466"/>
                      <a:pt x="4660" y="9461"/>
                      <a:pt x="4656" y="9455"/>
                    </a:cubicBezTo>
                    <a:lnTo>
                      <a:pt x="4587" y="9422"/>
                    </a:lnTo>
                    <a:cubicBezTo>
                      <a:pt x="4579" y="9439"/>
                      <a:pt x="4572" y="9455"/>
                      <a:pt x="4564" y="9472"/>
                    </a:cubicBezTo>
                    <a:lnTo>
                      <a:pt x="4564" y="9587"/>
                    </a:lnTo>
                    <a:cubicBezTo>
                      <a:pt x="4572" y="9615"/>
                      <a:pt x="4579" y="9642"/>
                      <a:pt x="4587" y="9670"/>
                    </a:cubicBezTo>
                    <a:lnTo>
                      <a:pt x="4587" y="9736"/>
                    </a:lnTo>
                    <a:lnTo>
                      <a:pt x="4564" y="9736"/>
                    </a:lnTo>
                    <a:cubicBezTo>
                      <a:pt x="4549" y="9741"/>
                      <a:pt x="4533" y="9747"/>
                      <a:pt x="4518" y="9752"/>
                    </a:cubicBezTo>
                    <a:cubicBezTo>
                      <a:pt x="4507" y="9708"/>
                      <a:pt x="4495" y="9664"/>
                      <a:pt x="4484" y="9620"/>
                    </a:cubicBezTo>
                    <a:lnTo>
                      <a:pt x="4450" y="9620"/>
                    </a:lnTo>
                    <a:cubicBezTo>
                      <a:pt x="4438" y="9637"/>
                      <a:pt x="4427" y="9653"/>
                      <a:pt x="4415" y="9670"/>
                    </a:cubicBezTo>
                    <a:lnTo>
                      <a:pt x="4346" y="9670"/>
                    </a:lnTo>
                    <a:cubicBezTo>
                      <a:pt x="4331" y="9642"/>
                      <a:pt x="4315" y="9615"/>
                      <a:pt x="4300" y="9587"/>
                    </a:cubicBezTo>
                    <a:cubicBezTo>
                      <a:pt x="4296" y="9571"/>
                      <a:pt x="4293" y="9554"/>
                      <a:pt x="4289" y="9538"/>
                    </a:cubicBezTo>
                    <a:cubicBezTo>
                      <a:pt x="4255" y="9532"/>
                      <a:pt x="4220" y="9527"/>
                      <a:pt x="4186" y="9521"/>
                    </a:cubicBezTo>
                    <a:cubicBezTo>
                      <a:pt x="4197" y="9455"/>
                      <a:pt x="4209" y="9389"/>
                      <a:pt x="4220" y="9323"/>
                    </a:cubicBezTo>
                    <a:cubicBezTo>
                      <a:pt x="4193" y="9290"/>
                      <a:pt x="4167" y="9257"/>
                      <a:pt x="4140" y="9224"/>
                    </a:cubicBezTo>
                    <a:lnTo>
                      <a:pt x="4140" y="9158"/>
                    </a:lnTo>
                    <a:cubicBezTo>
                      <a:pt x="4132" y="9136"/>
                      <a:pt x="4125" y="9114"/>
                      <a:pt x="4117" y="9092"/>
                    </a:cubicBezTo>
                    <a:lnTo>
                      <a:pt x="4117" y="9043"/>
                    </a:lnTo>
                    <a:lnTo>
                      <a:pt x="4002" y="9043"/>
                    </a:lnTo>
                    <a:lnTo>
                      <a:pt x="3933" y="9142"/>
                    </a:lnTo>
                    <a:cubicBezTo>
                      <a:pt x="3929" y="9131"/>
                      <a:pt x="3926" y="9120"/>
                      <a:pt x="3922" y="9109"/>
                    </a:cubicBezTo>
                    <a:cubicBezTo>
                      <a:pt x="3933" y="9087"/>
                      <a:pt x="3945" y="9065"/>
                      <a:pt x="3956" y="9043"/>
                    </a:cubicBezTo>
                    <a:lnTo>
                      <a:pt x="3956" y="8993"/>
                    </a:lnTo>
                    <a:cubicBezTo>
                      <a:pt x="3948" y="8977"/>
                      <a:pt x="3941" y="8960"/>
                      <a:pt x="3933" y="8944"/>
                    </a:cubicBezTo>
                    <a:cubicBezTo>
                      <a:pt x="3945" y="8894"/>
                      <a:pt x="3956" y="8845"/>
                      <a:pt x="3968" y="8795"/>
                    </a:cubicBezTo>
                    <a:cubicBezTo>
                      <a:pt x="3979" y="8779"/>
                      <a:pt x="3991" y="8762"/>
                      <a:pt x="4002" y="8746"/>
                    </a:cubicBezTo>
                    <a:lnTo>
                      <a:pt x="4014" y="8713"/>
                    </a:lnTo>
                    <a:lnTo>
                      <a:pt x="4037" y="8713"/>
                    </a:lnTo>
                    <a:cubicBezTo>
                      <a:pt x="4052" y="8652"/>
                      <a:pt x="4068" y="8592"/>
                      <a:pt x="4083" y="8531"/>
                    </a:cubicBezTo>
                    <a:cubicBezTo>
                      <a:pt x="4079" y="8405"/>
                      <a:pt x="4075" y="8278"/>
                      <a:pt x="4071" y="8152"/>
                    </a:cubicBezTo>
                    <a:cubicBezTo>
                      <a:pt x="4052" y="8146"/>
                      <a:pt x="4033" y="8141"/>
                      <a:pt x="4014" y="8135"/>
                    </a:cubicBezTo>
                    <a:lnTo>
                      <a:pt x="4002" y="8102"/>
                    </a:lnTo>
                    <a:lnTo>
                      <a:pt x="4002" y="8036"/>
                    </a:lnTo>
                    <a:cubicBezTo>
                      <a:pt x="3991" y="8009"/>
                      <a:pt x="3979" y="7981"/>
                      <a:pt x="3968" y="7954"/>
                    </a:cubicBezTo>
                    <a:cubicBezTo>
                      <a:pt x="3953" y="7948"/>
                      <a:pt x="3937" y="7943"/>
                      <a:pt x="3922" y="7937"/>
                    </a:cubicBezTo>
                    <a:cubicBezTo>
                      <a:pt x="3914" y="7943"/>
                      <a:pt x="3907" y="7948"/>
                      <a:pt x="3899" y="7954"/>
                    </a:cubicBezTo>
                    <a:cubicBezTo>
                      <a:pt x="3895" y="7965"/>
                      <a:pt x="3892" y="7976"/>
                      <a:pt x="3888" y="7987"/>
                    </a:cubicBezTo>
                    <a:cubicBezTo>
                      <a:pt x="3880" y="7970"/>
                      <a:pt x="3873" y="7954"/>
                      <a:pt x="3865" y="7937"/>
                    </a:cubicBezTo>
                    <a:cubicBezTo>
                      <a:pt x="3853" y="7932"/>
                      <a:pt x="3842" y="7926"/>
                      <a:pt x="3830" y="7921"/>
                    </a:cubicBezTo>
                    <a:lnTo>
                      <a:pt x="3784" y="7921"/>
                    </a:lnTo>
                    <a:cubicBezTo>
                      <a:pt x="3780" y="7910"/>
                      <a:pt x="3777" y="7899"/>
                      <a:pt x="3773" y="7888"/>
                    </a:cubicBezTo>
                    <a:lnTo>
                      <a:pt x="3704" y="7888"/>
                    </a:lnTo>
                    <a:cubicBezTo>
                      <a:pt x="3708" y="7849"/>
                      <a:pt x="3712" y="7811"/>
                      <a:pt x="3716" y="7772"/>
                    </a:cubicBezTo>
                    <a:cubicBezTo>
                      <a:pt x="3704" y="7761"/>
                      <a:pt x="3693" y="7750"/>
                      <a:pt x="3681" y="7739"/>
                    </a:cubicBezTo>
                    <a:lnTo>
                      <a:pt x="3681" y="7690"/>
                    </a:lnTo>
                    <a:lnTo>
                      <a:pt x="3681" y="7673"/>
                    </a:lnTo>
                    <a:cubicBezTo>
                      <a:pt x="3670" y="7657"/>
                      <a:pt x="3658" y="7640"/>
                      <a:pt x="3647" y="7624"/>
                    </a:cubicBezTo>
                    <a:cubicBezTo>
                      <a:pt x="3639" y="7635"/>
                      <a:pt x="3632" y="7646"/>
                      <a:pt x="3624" y="7657"/>
                    </a:cubicBezTo>
                    <a:cubicBezTo>
                      <a:pt x="3605" y="7662"/>
                      <a:pt x="3586" y="7668"/>
                      <a:pt x="3567" y="7673"/>
                    </a:cubicBezTo>
                    <a:cubicBezTo>
                      <a:pt x="3555" y="7679"/>
                      <a:pt x="3544" y="7684"/>
                      <a:pt x="3532" y="7690"/>
                    </a:cubicBezTo>
                    <a:lnTo>
                      <a:pt x="3452" y="7690"/>
                    </a:lnTo>
                    <a:cubicBezTo>
                      <a:pt x="3448" y="7684"/>
                      <a:pt x="3444" y="7679"/>
                      <a:pt x="3440" y="7673"/>
                    </a:cubicBezTo>
                    <a:lnTo>
                      <a:pt x="3417" y="7673"/>
                    </a:lnTo>
                    <a:lnTo>
                      <a:pt x="3349" y="7723"/>
                    </a:lnTo>
                    <a:cubicBezTo>
                      <a:pt x="3345" y="7739"/>
                      <a:pt x="3341" y="7756"/>
                      <a:pt x="3337" y="7772"/>
                    </a:cubicBezTo>
                    <a:lnTo>
                      <a:pt x="3280" y="7838"/>
                    </a:lnTo>
                    <a:cubicBezTo>
                      <a:pt x="3265" y="7849"/>
                      <a:pt x="3249" y="7860"/>
                      <a:pt x="3234" y="7871"/>
                    </a:cubicBezTo>
                    <a:cubicBezTo>
                      <a:pt x="3211" y="7899"/>
                      <a:pt x="3188" y="7926"/>
                      <a:pt x="3165" y="7954"/>
                    </a:cubicBezTo>
                    <a:lnTo>
                      <a:pt x="2947" y="8086"/>
                    </a:lnTo>
                    <a:cubicBezTo>
                      <a:pt x="2939" y="8069"/>
                      <a:pt x="2932" y="8053"/>
                      <a:pt x="2924" y="8036"/>
                    </a:cubicBezTo>
                    <a:lnTo>
                      <a:pt x="2901" y="8036"/>
                    </a:lnTo>
                    <a:lnTo>
                      <a:pt x="2901" y="8003"/>
                    </a:lnTo>
                    <a:lnTo>
                      <a:pt x="2856" y="8036"/>
                    </a:lnTo>
                    <a:lnTo>
                      <a:pt x="2752" y="8003"/>
                    </a:lnTo>
                    <a:cubicBezTo>
                      <a:pt x="2748" y="7998"/>
                      <a:pt x="2745" y="7992"/>
                      <a:pt x="2741" y="7987"/>
                    </a:cubicBezTo>
                    <a:cubicBezTo>
                      <a:pt x="2733" y="7976"/>
                      <a:pt x="2726" y="7965"/>
                      <a:pt x="2718" y="7954"/>
                    </a:cubicBezTo>
                    <a:cubicBezTo>
                      <a:pt x="2714" y="7948"/>
                      <a:pt x="2710" y="7943"/>
                      <a:pt x="2706" y="7937"/>
                    </a:cubicBezTo>
                    <a:cubicBezTo>
                      <a:pt x="2687" y="7943"/>
                      <a:pt x="2668" y="7948"/>
                      <a:pt x="2649" y="7954"/>
                    </a:cubicBezTo>
                    <a:lnTo>
                      <a:pt x="2615" y="7954"/>
                    </a:lnTo>
                    <a:cubicBezTo>
                      <a:pt x="2603" y="7970"/>
                      <a:pt x="2592" y="7987"/>
                      <a:pt x="2580" y="8003"/>
                    </a:cubicBezTo>
                    <a:cubicBezTo>
                      <a:pt x="2576" y="8031"/>
                      <a:pt x="2573" y="8058"/>
                      <a:pt x="2569" y="8086"/>
                    </a:cubicBezTo>
                    <a:lnTo>
                      <a:pt x="2500" y="8185"/>
                    </a:lnTo>
                    <a:lnTo>
                      <a:pt x="2500" y="8201"/>
                    </a:lnTo>
                    <a:lnTo>
                      <a:pt x="2489" y="8201"/>
                    </a:lnTo>
                    <a:cubicBezTo>
                      <a:pt x="2481" y="8196"/>
                      <a:pt x="2474" y="8190"/>
                      <a:pt x="2466" y="8185"/>
                    </a:cubicBezTo>
                    <a:lnTo>
                      <a:pt x="2466" y="8152"/>
                    </a:lnTo>
                    <a:lnTo>
                      <a:pt x="2466" y="8086"/>
                    </a:lnTo>
                    <a:lnTo>
                      <a:pt x="2466" y="8036"/>
                    </a:lnTo>
                    <a:lnTo>
                      <a:pt x="2466" y="8003"/>
                    </a:lnTo>
                    <a:lnTo>
                      <a:pt x="2454" y="8003"/>
                    </a:lnTo>
                    <a:lnTo>
                      <a:pt x="2431" y="8003"/>
                    </a:lnTo>
                    <a:cubicBezTo>
                      <a:pt x="2423" y="8014"/>
                      <a:pt x="2416" y="8025"/>
                      <a:pt x="2408" y="8036"/>
                    </a:cubicBezTo>
                    <a:lnTo>
                      <a:pt x="2385" y="8036"/>
                    </a:lnTo>
                    <a:cubicBezTo>
                      <a:pt x="2374" y="8042"/>
                      <a:pt x="2362" y="8047"/>
                      <a:pt x="2351" y="8053"/>
                    </a:cubicBezTo>
                    <a:lnTo>
                      <a:pt x="2351" y="8036"/>
                    </a:lnTo>
                    <a:cubicBezTo>
                      <a:pt x="2340" y="8042"/>
                      <a:pt x="2328" y="8047"/>
                      <a:pt x="2317" y="8053"/>
                    </a:cubicBezTo>
                    <a:lnTo>
                      <a:pt x="2305" y="8086"/>
                    </a:lnTo>
                    <a:lnTo>
                      <a:pt x="2248" y="8086"/>
                    </a:lnTo>
                    <a:lnTo>
                      <a:pt x="2236" y="8086"/>
                    </a:lnTo>
                    <a:lnTo>
                      <a:pt x="2225" y="8086"/>
                    </a:lnTo>
                    <a:lnTo>
                      <a:pt x="2167" y="8053"/>
                    </a:lnTo>
                    <a:cubicBezTo>
                      <a:pt x="2163" y="8036"/>
                      <a:pt x="2160" y="8020"/>
                      <a:pt x="2156" y="8003"/>
                    </a:cubicBezTo>
                    <a:lnTo>
                      <a:pt x="2122" y="8003"/>
                    </a:lnTo>
                    <a:cubicBezTo>
                      <a:pt x="2114" y="8014"/>
                      <a:pt x="2107" y="8025"/>
                      <a:pt x="2099" y="8036"/>
                    </a:cubicBezTo>
                    <a:lnTo>
                      <a:pt x="2099" y="8053"/>
                    </a:lnTo>
                    <a:lnTo>
                      <a:pt x="2087" y="8053"/>
                    </a:lnTo>
                    <a:cubicBezTo>
                      <a:pt x="2079" y="8047"/>
                      <a:pt x="2072" y="8042"/>
                      <a:pt x="2064" y="8036"/>
                    </a:cubicBezTo>
                    <a:cubicBezTo>
                      <a:pt x="2060" y="8042"/>
                      <a:pt x="2057" y="8047"/>
                      <a:pt x="2053" y="8053"/>
                    </a:cubicBezTo>
                    <a:cubicBezTo>
                      <a:pt x="2049" y="8047"/>
                      <a:pt x="2045" y="8042"/>
                      <a:pt x="2041" y="8036"/>
                    </a:cubicBezTo>
                    <a:cubicBezTo>
                      <a:pt x="2030" y="8042"/>
                      <a:pt x="2018" y="8047"/>
                      <a:pt x="2007" y="8053"/>
                    </a:cubicBezTo>
                    <a:cubicBezTo>
                      <a:pt x="1999" y="8036"/>
                      <a:pt x="1992" y="8020"/>
                      <a:pt x="1984" y="8003"/>
                    </a:cubicBezTo>
                    <a:cubicBezTo>
                      <a:pt x="1980" y="7987"/>
                      <a:pt x="1976" y="7970"/>
                      <a:pt x="1972" y="7954"/>
                    </a:cubicBezTo>
                    <a:lnTo>
                      <a:pt x="1938" y="7954"/>
                    </a:lnTo>
                    <a:cubicBezTo>
                      <a:pt x="1930" y="7965"/>
                      <a:pt x="1923" y="7976"/>
                      <a:pt x="1915" y="7987"/>
                    </a:cubicBezTo>
                    <a:cubicBezTo>
                      <a:pt x="1907" y="7970"/>
                      <a:pt x="1900" y="7954"/>
                      <a:pt x="1892" y="7937"/>
                    </a:cubicBezTo>
                    <a:cubicBezTo>
                      <a:pt x="1884" y="7932"/>
                      <a:pt x="1877" y="7926"/>
                      <a:pt x="1869" y="7921"/>
                    </a:cubicBezTo>
                    <a:cubicBezTo>
                      <a:pt x="1877" y="7893"/>
                      <a:pt x="1884" y="7866"/>
                      <a:pt x="1892" y="7838"/>
                    </a:cubicBezTo>
                    <a:lnTo>
                      <a:pt x="1869" y="7838"/>
                    </a:lnTo>
                    <a:cubicBezTo>
                      <a:pt x="1865" y="7849"/>
                      <a:pt x="1862" y="7860"/>
                      <a:pt x="1858" y="7871"/>
                    </a:cubicBezTo>
                    <a:lnTo>
                      <a:pt x="1823" y="7871"/>
                    </a:lnTo>
                    <a:cubicBezTo>
                      <a:pt x="1815" y="7860"/>
                      <a:pt x="1808" y="7849"/>
                      <a:pt x="1800" y="7838"/>
                    </a:cubicBezTo>
                    <a:lnTo>
                      <a:pt x="1789" y="7838"/>
                    </a:lnTo>
                    <a:lnTo>
                      <a:pt x="1766" y="7838"/>
                    </a:lnTo>
                    <a:lnTo>
                      <a:pt x="1755" y="7838"/>
                    </a:lnTo>
                    <a:cubicBezTo>
                      <a:pt x="1747" y="7833"/>
                      <a:pt x="1740" y="7827"/>
                      <a:pt x="1732" y="7822"/>
                    </a:cubicBezTo>
                    <a:lnTo>
                      <a:pt x="1732" y="7789"/>
                    </a:lnTo>
                    <a:lnTo>
                      <a:pt x="1720" y="7822"/>
                    </a:lnTo>
                    <a:lnTo>
                      <a:pt x="1720" y="7789"/>
                    </a:lnTo>
                    <a:lnTo>
                      <a:pt x="1720" y="7739"/>
                    </a:lnTo>
                    <a:lnTo>
                      <a:pt x="1720" y="7723"/>
                    </a:lnTo>
                    <a:lnTo>
                      <a:pt x="1732" y="7690"/>
                    </a:lnTo>
                    <a:cubicBezTo>
                      <a:pt x="1728" y="7684"/>
                      <a:pt x="1724" y="7679"/>
                      <a:pt x="1720" y="7673"/>
                    </a:cubicBezTo>
                    <a:lnTo>
                      <a:pt x="1709" y="7673"/>
                    </a:lnTo>
                    <a:lnTo>
                      <a:pt x="1686" y="7673"/>
                    </a:lnTo>
                    <a:cubicBezTo>
                      <a:pt x="1682" y="7679"/>
                      <a:pt x="1678" y="7684"/>
                      <a:pt x="1674" y="7690"/>
                    </a:cubicBezTo>
                    <a:cubicBezTo>
                      <a:pt x="1666" y="7701"/>
                      <a:pt x="1659" y="7712"/>
                      <a:pt x="1651" y="7723"/>
                    </a:cubicBezTo>
                    <a:cubicBezTo>
                      <a:pt x="1647" y="7728"/>
                      <a:pt x="1644" y="7734"/>
                      <a:pt x="1640" y="7739"/>
                    </a:cubicBezTo>
                    <a:cubicBezTo>
                      <a:pt x="1629" y="7734"/>
                      <a:pt x="1617" y="7728"/>
                      <a:pt x="1606" y="7723"/>
                    </a:cubicBezTo>
                    <a:cubicBezTo>
                      <a:pt x="1598" y="7701"/>
                      <a:pt x="1591" y="7679"/>
                      <a:pt x="1583" y="7657"/>
                    </a:cubicBezTo>
                    <a:cubicBezTo>
                      <a:pt x="1568" y="7624"/>
                      <a:pt x="1552" y="7591"/>
                      <a:pt x="1537" y="7558"/>
                    </a:cubicBezTo>
                    <a:lnTo>
                      <a:pt x="1502" y="7558"/>
                    </a:lnTo>
                    <a:cubicBezTo>
                      <a:pt x="1487" y="7530"/>
                      <a:pt x="1471" y="7503"/>
                      <a:pt x="1456" y="7475"/>
                    </a:cubicBezTo>
                    <a:lnTo>
                      <a:pt x="1319" y="7409"/>
                    </a:lnTo>
                    <a:lnTo>
                      <a:pt x="1250" y="7409"/>
                    </a:lnTo>
                    <a:lnTo>
                      <a:pt x="1250" y="7442"/>
                    </a:lnTo>
                    <a:lnTo>
                      <a:pt x="1250" y="7459"/>
                    </a:lnTo>
                    <a:lnTo>
                      <a:pt x="1250" y="7475"/>
                    </a:lnTo>
                    <a:cubicBezTo>
                      <a:pt x="1239" y="7470"/>
                      <a:pt x="1227" y="7464"/>
                      <a:pt x="1216" y="7459"/>
                    </a:cubicBezTo>
                    <a:lnTo>
                      <a:pt x="1216" y="7442"/>
                    </a:lnTo>
                    <a:lnTo>
                      <a:pt x="1204" y="7409"/>
                    </a:lnTo>
                    <a:cubicBezTo>
                      <a:pt x="1189" y="7404"/>
                      <a:pt x="1173" y="7398"/>
                      <a:pt x="1158" y="7393"/>
                    </a:cubicBezTo>
                    <a:lnTo>
                      <a:pt x="1135" y="7393"/>
                    </a:lnTo>
                    <a:lnTo>
                      <a:pt x="1135" y="7360"/>
                    </a:lnTo>
                    <a:lnTo>
                      <a:pt x="1124" y="7360"/>
                    </a:lnTo>
                    <a:cubicBezTo>
                      <a:pt x="1112" y="7343"/>
                      <a:pt x="1101" y="7327"/>
                      <a:pt x="1089" y="7310"/>
                    </a:cubicBezTo>
                    <a:cubicBezTo>
                      <a:pt x="1070" y="7305"/>
                      <a:pt x="1051" y="7299"/>
                      <a:pt x="1032" y="7294"/>
                    </a:cubicBezTo>
                    <a:lnTo>
                      <a:pt x="1032" y="7261"/>
                    </a:lnTo>
                    <a:lnTo>
                      <a:pt x="1032" y="7244"/>
                    </a:lnTo>
                    <a:lnTo>
                      <a:pt x="1021" y="7244"/>
                    </a:lnTo>
                    <a:lnTo>
                      <a:pt x="1009" y="7244"/>
                    </a:lnTo>
                    <a:lnTo>
                      <a:pt x="1009" y="7211"/>
                    </a:lnTo>
                    <a:cubicBezTo>
                      <a:pt x="998" y="7222"/>
                      <a:pt x="986" y="7233"/>
                      <a:pt x="975" y="7244"/>
                    </a:cubicBezTo>
                    <a:lnTo>
                      <a:pt x="975" y="7211"/>
                    </a:lnTo>
                    <a:cubicBezTo>
                      <a:pt x="967" y="7206"/>
                      <a:pt x="960" y="7200"/>
                      <a:pt x="952" y="7195"/>
                    </a:cubicBezTo>
                    <a:cubicBezTo>
                      <a:pt x="937" y="7200"/>
                      <a:pt x="921" y="7206"/>
                      <a:pt x="906" y="7211"/>
                    </a:cubicBezTo>
                    <a:lnTo>
                      <a:pt x="883" y="7211"/>
                    </a:lnTo>
                    <a:lnTo>
                      <a:pt x="872" y="7211"/>
                    </a:lnTo>
                    <a:lnTo>
                      <a:pt x="872" y="7178"/>
                    </a:lnTo>
                    <a:cubicBezTo>
                      <a:pt x="864" y="7167"/>
                      <a:pt x="857" y="7156"/>
                      <a:pt x="849" y="7145"/>
                    </a:cubicBezTo>
                    <a:cubicBezTo>
                      <a:pt x="845" y="7140"/>
                      <a:pt x="841" y="7134"/>
                      <a:pt x="837" y="7129"/>
                    </a:cubicBezTo>
                    <a:cubicBezTo>
                      <a:pt x="833" y="7118"/>
                      <a:pt x="830" y="7107"/>
                      <a:pt x="826" y="7096"/>
                    </a:cubicBezTo>
                    <a:lnTo>
                      <a:pt x="826" y="7079"/>
                    </a:lnTo>
                    <a:cubicBezTo>
                      <a:pt x="830" y="7068"/>
                      <a:pt x="833" y="7057"/>
                      <a:pt x="837" y="7046"/>
                    </a:cubicBezTo>
                    <a:cubicBezTo>
                      <a:pt x="833" y="7041"/>
                      <a:pt x="830" y="7035"/>
                      <a:pt x="826" y="7030"/>
                    </a:cubicBezTo>
                    <a:cubicBezTo>
                      <a:pt x="830" y="7013"/>
                      <a:pt x="833" y="6997"/>
                      <a:pt x="837" y="6980"/>
                    </a:cubicBezTo>
                    <a:lnTo>
                      <a:pt x="837" y="6947"/>
                    </a:lnTo>
                    <a:cubicBezTo>
                      <a:pt x="822" y="6925"/>
                      <a:pt x="806" y="6903"/>
                      <a:pt x="791" y="6881"/>
                    </a:cubicBezTo>
                    <a:lnTo>
                      <a:pt x="791" y="6832"/>
                    </a:lnTo>
                    <a:lnTo>
                      <a:pt x="791" y="6782"/>
                    </a:lnTo>
                    <a:lnTo>
                      <a:pt x="826" y="6782"/>
                    </a:lnTo>
                    <a:cubicBezTo>
                      <a:pt x="830" y="6777"/>
                      <a:pt x="833" y="6771"/>
                      <a:pt x="837" y="6766"/>
                    </a:cubicBezTo>
                    <a:lnTo>
                      <a:pt x="837" y="6782"/>
                    </a:lnTo>
                    <a:lnTo>
                      <a:pt x="837" y="6815"/>
                    </a:lnTo>
                    <a:cubicBezTo>
                      <a:pt x="841" y="6821"/>
                      <a:pt x="845" y="6826"/>
                      <a:pt x="849" y="6832"/>
                    </a:cubicBezTo>
                    <a:lnTo>
                      <a:pt x="872" y="6832"/>
                    </a:lnTo>
                    <a:lnTo>
                      <a:pt x="883" y="6832"/>
                    </a:lnTo>
                    <a:lnTo>
                      <a:pt x="906" y="6832"/>
                    </a:lnTo>
                    <a:lnTo>
                      <a:pt x="906" y="6815"/>
                    </a:lnTo>
                    <a:cubicBezTo>
                      <a:pt x="910" y="6804"/>
                      <a:pt x="913" y="6793"/>
                      <a:pt x="917" y="6782"/>
                    </a:cubicBezTo>
                    <a:lnTo>
                      <a:pt x="917" y="6766"/>
                    </a:lnTo>
                    <a:cubicBezTo>
                      <a:pt x="925" y="6771"/>
                      <a:pt x="932" y="6777"/>
                      <a:pt x="940" y="6782"/>
                    </a:cubicBezTo>
                    <a:cubicBezTo>
                      <a:pt x="952" y="6766"/>
                      <a:pt x="963" y="6749"/>
                      <a:pt x="975" y="6733"/>
                    </a:cubicBezTo>
                    <a:cubicBezTo>
                      <a:pt x="963" y="6711"/>
                      <a:pt x="952" y="6689"/>
                      <a:pt x="940" y="6667"/>
                    </a:cubicBezTo>
                    <a:lnTo>
                      <a:pt x="940" y="6650"/>
                    </a:lnTo>
                    <a:lnTo>
                      <a:pt x="940" y="6617"/>
                    </a:lnTo>
                    <a:cubicBezTo>
                      <a:pt x="932" y="6612"/>
                      <a:pt x="925" y="6606"/>
                      <a:pt x="917" y="6601"/>
                    </a:cubicBezTo>
                    <a:lnTo>
                      <a:pt x="906" y="6601"/>
                    </a:lnTo>
                    <a:lnTo>
                      <a:pt x="883" y="6601"/>
                    </a:lnTo>
                    <a:cubicBezTo>
                      <a:pt x="879" y="6584"/>
                      <a:pt x="876" y="6568"/>
                      <a:pt x="872" y="6551"/>
                    </a:cubicBezTo>
                    <a:lnTo>
                      <a:pt x="872" y="6502"/>
                    </a:lnTo>
                    <a:lnTo>
                      <a:pt x="883" y="6502"/>
                    </a:lnTo>
                    <a:cubicBezTo>
                      <a:pt x="879" y="6491"/>
                      <a:pt x="876" y="6480"/>
                      <a:pt x="872" y="6469"/>
                    </a:cubicBezTo>
                    <a:lnTo>
                      <a:pt x="872" y="6452"/>
                    </a:lnTo>
                    <a:lnTo>
                      <a:pt x="883" y="6452"/>
                    </a:lnTo>
                    <a:cubicBezTo>
                      <a:pt x="879" y="6441"/>
                      <a:pt x="876" y="6430"/>
                      <a:pt x="872" y="6419"/>
                    </a:cubicBezTo>
                    <a:lnTo>
                      <a:pt x="872" y="6386"/>
                    </a:lnTo>
                    <a:lnTo>
                      <a:pt x="883" y="6386"/>
                    </a:lnTo>
                    <a:lnTo>
                      <a:pt x="906" y="6386"/>
                    </a:lnTo>
                    <a:lnTo>
                      <a:pt x="940" y="6386"/>
                    </a:lnTo>
                    <a:lnTo>
                      <a:pt x="952" y="6386"/>
                    </a:lnTo>
                    <a:cubicBezTo>
                      <a:pt x="960" y="6359"/>
                      <a:pt x="967" y="6331"/>
                      <a:pt x="975" y="6304"/>
                    </a:cubicBezTo>
                    <a:lnTo>
                      <a:pt x="975" y="6254"/>
                    </a:lnTo>
                    <a:lnTo>
                      <a:pt x="1009" y="6254"/>
                    </a:lnTo>
                    <a:lnTo>
                      <a:pt x="1009" y="6238"/>
                    </a:lnTo>
                    <a:lnTo>
                      <a:pt x="1021" y="6205"/>
                    </a:lnTo>
                    <a:cubicBezTo>
                      <a:pt x="1032" y="6188"/>
                      <a:pt x="1044" y="6172"/>
                      <a:pt x="1055" y="6155"/>
                    </a:cubicBezTo>
                    <a:lnTo>
                      <a:pt x="1055" y="6139"/>
                    </a:lnTo>
                    <a:cubicBezTo>
                      <a:pt x="1059" y="6133"/>
                      <a:pt x="1063" y="6128"/>
                      <a:pt x="1067" y="6122"/>
                    </a:cubicBezTo>
                    <a:lnTo>
                      <a:pt x="1067" y="6040"/>
                    </a:lnTo>
                    <a:cubicBezTo>
                      <a:pt x="1074" y="6034"/>
                      <a:pt x="1082" y="6029"/>
                      <a:pt x="1089" y="6023"/>
                    </a:cubicBezTo>
                    <a:lnTo>
                      <a:pt x="1089" y="5990"/>
                    </a:lnTo>
                    <a:cubicBezTo>
                      <a:pt x="1093" y="5985"/>
                      <a:pt x="1097" y="5979"/>
                      <a:pt x="1101" y="5974"/>
                    </a:cubicBezTo>
                    <a:lnTo>
                      <a:pt x="1101" y="5941"/>
                    </a:lnTo>
                    <a:lnTo>
                      <a:pt x="1089" y="5941"/>
                    </a:lnTo>
                    <a:lnTo>
                      <a:pt x="1067" y="5941"/>
                    </a:lnTo>
                    <a:lnTo>
                      <a:pt x="1055" y="5974"/>
                    </a:lnTo>
                    <a:lnTo>
                      <a:pt x="1032" y="5974"/>
                    </a:lnTo>
                    <a:lnTo>
                      <a:pt x="1032" y="5924"/>
                    </a:lnTo>
                    <a:lnTo>
                      <a:pt x="1021" y="5924"/>
                    </a:lnTo>
                    <a:lnTo>
                      <a:pt x="1009" y="5924"/>
                    </a:lnTo>
                    <a:cubicBezTo>
                      <a:pt x="987" y="5927"/>
                      <a:pt x="965" y="5929"/>
                      <a:pt x="943" y="5932"/>
                    </a:cubicBezTo>
                    <a:cubicBezTo>
                      <a:pt x="957" y="5924"/>
                      <a:pt x="972" y="5916"/>
                      <a:pt x="986" y="5908"/>
                    </a:cubicBezTo>
                    <a:lnTo>
                      <a:pt x="986" y="5858"/>
                    </a:lnTo>
                    <a:lnTo>
                      <a:pt x="975" y="5858"/>
                    </a:lnTo>
                    <a:lnTo>
                      <a:pt x="952" y="5858"/>
                    </a:lnTo>
                    <a:lnTo>
                      <a:pt x="940" y="5825"/>
                    </a:lnTo>
                    <a:lnTo>
                      <a:pt x="940" y="5809"/>
                    </a:lnTo>
                    <a:lnTo>
                      <a:pt x="917" y="5809"/>
                    </a:lnTo>
                    <a:cubicBezTo>
                      <a:pt x="913" y="5814"/>
                      <a:pt x="910" y="5820"/>
                      <a:pt x="906" y="5825"/>
                    </a:cubicBezTo>
                    <a:lnTo>
                      <a:pt x="883" y="5825"/>
                    </a:lnTo>
                    <a:lnTo>
                      <a:pt x="872" y="5825"/>
                    </a:lnTo>
                    <a:cubicBezTo>
                      <a:pt x="860" y="5836"/>
                      <a:pt x="849" y="5847"/>
                      <a:pt x="837" y="5858"/>
                    </a:cubicBezTo>
                    <a:cubicBezTo>
                      <a:pt x="810" y="5880"/>
                      <a:pt x="784" y="5902"/>
                      <a:pt x="757" y="5924"/>
                    </a:cubicBezTo>
                    <a:cubicBezTo>
                      <a:pt x="749" y="5930"/>
                      <a:pt x="742" y="5935"/>
                      <a:pt x="734" y="5941"/>
                    </a:cubicBezTo>
                    <a:lnTo>
                      <a:pt x="722" y="5941"/>
                    </a:lnTo>
                    <a:cubicBezTo>
                      <a:pt x="715" y="5952"/>
                      <a:pt x="707" y="5963"/>
                      <a:pt x="700" y="5974"/>
                    </a:cubicBezTo>
                    <a:lnTo>
                      <a:pt x="688" y="5941"/>
                    </a:lnTo>
                    <a:cubicBezTo>
                      <a:pt x="684" y="5952"/>
                      <a:pt x="681" y="5963"/>
                      <a:pt x="677" y="5974"/>
                    </a:cubicBezTo>
                    <a:lnTo>
                      <a:pt x="619" y="5974"/>
                    </a:lnTo>
                    <a:cubicBezTo>
                      <a:pt x="615" y="5963"/>
                      <a:pt x="612" y="5952"/>
                      <a:pt x="608" y="5941"/>
                    </a:cubicBezTo>
                    <a:lnTo>
                      <a:pt x="585" y="5941"/>
                    </a:lnTo>
                    <a:lnTo>
                      <a:pt x="493" y="5875"/>
                    </a:lnTo>
                    <a:lnTo>
                      <a:pt x="493" y="5858"/>
                    </a:lnTo>
                    <a:cubicBezTo>
                      <a:pt x="485" y="5847"/>
                      <a:pt x="478" y="5836"/>
                      <a:pt x="470" y="5825"/>
                    </a:cubicBezTo>
                    <a:cubicBezTo>
                      <a:pt x="466" y="5836"/>
                      <a:pt x="463" y="5847"/>
                      <a:pt x="459" y="5858"/>
                    </a:cubicBezTo>
                    <a:lnTo>
                      <a:pt x="436" y="5858"/>
                    </a:lnTo>
                    <a:lnTo>
                      <a:pt x="424" y="5858"/>
                    </a:lnTo>
                    <a:cubicBezTo>
                      <a:pt x="416" y="5842"/>
                      <a:pt x="409" y="5825"/>
                      <a:pt x="401" y="5809"/>
                    </a:cubicBezTo>
                    <a:lnTo>
                      <a:pt x="367" y="5809"/>
                    </a:lnTo>
                    <a:lnTo>
                      <a:pt x="367" y="5776"/>
                    </a:lnTo>
                    <a:cubicBezTo>
                      <a:pt x="375" y="5770"/>
                      <a:pt x="382" y="5765"/>
                      <a:pt x="390" y="5759"/>
                    </a:cubicBezTo>
                    <a:lnTo>
                      <a:pt x="390" y="5726"/>
                    </a:lnTo>
                    <a:lnTo>
                      <a:pt x="390" y="5660"/>
                    </a:lnTo>
                    <a:cubicBezTo>
                      <a:pt x="382" y="5655"/>
                      <a:pt x="375" y="5649"/>
                      <a:pt x="367" y="5644"/>
                    </a:cubicBezTo>
                    <a:cubicBezTo>
                      <a:pt x="352" y="5627"/>
                      <a:pt x="336" y="5611"/>
                      <a:pt x="321" y="5594"/>
                    </a:cubicBezTo>
                    <a:cubicBezTo>
                      <a:pt x="310" y="5600"/>
                      <a:pt x="298" y="5605"/>
                      <a:pt x="287" y="5611"/>
                    </a:cubicBezTo>
                    <a:lnTo>
                      <a:pt x="287" y="5594"/>
                    </a:lnTo>
                    <a:lnTo>
                      <a:pt x="287" y="5545"/>
                    </a:lnTo>
                    <a:lnTo>
                      <a:pt x="275" y="5545"/>
                    </a:lnTo>
                    <a:cubicBezTo>
                      <a:pt x="267" y="5534"/>
                      <a:pt x="260" y="5523"/>
                      <a:pt x="252" y="5512"/>
                    </a:cubicBezTo>
                    <a:lnTo>
                      <a:pt x="241" y="5512"/>
                    </a:lnTo>
                    <a:lnTo>
                      <a:pt x="183" y="5545"/>
                    </a:lnTo>
                    <a:cubicBezTo>
                      <a:pt x="179" y="5534"/>
                      <a:pt x="176" y="5523"/>
                      <a:pt x="172" y="5512"/>
                    </a:cubicBezTo>
                    <a:cubicBezTo>
                      <a:pt x="168" y="5506"/>
                      <a:pt x="165" y="5501"/>
                      <a:pt x="161" y="5495"/>
                    </a:cubicBezTo>
                    <a:lnTo>
                      <a:pt x="138" y="5495"/>
                    </a:lnTo>
                    <a:lnTo>
                      <a:pt x="138" y="5462"/>
                    </a:lnTo>
                    <a:cubicBezTo>
                      <a:pt x="146" y="5457"/>
                      <a:pt x="153" y="5451"/>
                      <a:pt x="161" y="5446"/>
                    </a:cubicBezTo>
                    <a:cubicBezTo>
                      <a:pt x="165" y="5435"/>
                      <a:pt x="168" y="5424"/>
                      <a:pt x="172" y="5413"/>
                    </a:cubicBezTo>
                    <a:cubicBezTo>
                      <a:pt x="176" y="5424"/>
                      <a:pt x="179" y="5435"/>
                      <a:pt x="183" y="5446"/>
                    </a:cubicBezTo>
                    <a:lnTo>
                      <a:pt x="206" y="5446"/>
                    </a:lnTo>
                    <a:lnTo>
                      <a:pt x="218" y="5446"/>
                    </a:lnTo>
                    <a:lnTo>
                      <a:pt x="218" y="5297"/>
                    </a:lnTo>
                    <a:cubicBezTo>
                      <a:pt x="206" y="5259"/>
                      <a:pt x="195" y="5220"/>
                      <a:pt x="183" y="5182"/>
                    </a:cubicBezTo>
                    <a:lnTo>
                      <a:pt x="183" y="5116"/>
                    </a:lnTo>
                    <a:cubicBezTo>
                      <a:pt x="179" y="5099"/>
                      <a:pt x="176" y="5083"/>
                      <a:pt x="172" y="5066"/>
                    </a:cubicBezTo>
                    <a:lnTo>
                      <a:pt x="126" y="5066"/>
                    </a:lnTo>
                    <a:cubicBezTo>
                      <a:pt x="103" y="5072"/>
                      <a:pt x="80" y="5077"/>
                      <a:pt x="57" y="5083"/>
                    </a:cubicBezTo>
                    <a:cubicBezTo>
                      <a:pt x="46" y="5066"/>
                      <a:pt x="34" y="5050"/>
                      <a:pt x="23" y="5033"/>
                    </a:cubicBezTo>
                    <a:cubicBezTo>
                      <a:pt x="15" y="4983"/>
                      <a:pt x="8" y="4934"/>
                      <a:pt x="0" y="4884"/>
                    </a:cubicBezTo>
                    <a:cubicBezTo>
                      <a:pt x="11" y="4840"/>
                      <a:pt x="23" y="4796"/>
                      <a:pt x="34" y="4752"/>
                    </a:cubicBezTo>
                    <a:lnTo>
                      <a:pt x="34" y="4703"/>
                    </a:lnTo>
                    <a:cubicBezTo>
                      <a:pt x="42" y="4670"/>
                      <a:pt x="49" y="4637"/>
                      <a:pt x="57" y="4604"/>
                    </a:cubicBezTo>
                    <a:lnTo>
                      <a:pt x="161" y="4554"/>
                    </a:lnTo>
                    <a:cubicBezTo>
                      <a:pt x="165" y="4549"/>
                      <a:pt x="168" y="4543"/>
                      <a:pt x="172" y="4538"/>
                    </a:cubicBezTo>
                    <a:lnTo>
                      <a:pt x="183" y="4538"/>
                    </a:lnTo>
                    <a:cubicBezTo>
                      <a:pt x="191" y="4510"/>
                      <a:pt x="198" y="4483"/>
                      <a:pt x="206" y="4455"/>
                    </a:cubicBezTo>
                    <a:cubicBezTo>
                      <a:pt x="218" y="4466"/>
                      <a:pt x="229" y="4477"/>
                      <a:pt x="241" y="4488"/>
                    </a:cubicBezTo>
                    <a:cubicBezTo>
                      <a:pt x="256" y="4477"/>
                      <a:pt x="272" y="4466"/>
                      <a:pt x="287" y="4455"/>
                    </a:cubicBezTo>
                    <a:lnTo>
                      <a:pt x="321" y="4455"/>
                    </a:lnTo>
                    <a:cubicBezTo>
                      <a:pt x="325" y="4472"/>
                      <a:pt x="329" y="4488"/>
                      <a:pt x="333" y="4505"/>
                    </a:cubicBezTo>
                    <a:lnTo>
                      <a:pt x="436" y="4505"/>
                    </a:lnTo>
                    <a:cubicBezTo>
                      <a:pt x="455" y="4488"/>
                      <a:pt x="474" y="4472"/>
                      <a:pt x="493" y="4455"/>
                    </a:cubicBezTo>
                    <a:lnTo>
                      <a:pt x="505" y="4389"/>
                    </a:lnTo>
                    <a:cubicBezTo>
                      <a:pt x="509" y="4373"/>
                      <a:pt x="512" y="4356"/>
                      <a:pt x="516" y="4340"/>
                    </a:cubicBezTo>
                    <a:lnTo>
                      <a:pt x="757" y="4274"/>
                    </a:lnTo>
                    <a:cubicBezTo>
                      <a:pt x="761" y="4257"/>
                      <a:pt x="764" y="4241"/>
                      <a:pt x="768" y="4224"/>
                    </a:cubicBezTo>
                    <a:lnTo>
                      <a:pt x="826" y="4142"/>
                    </a:lnTo>
                    <a:lnTo>
                      <a:pt x="1067" y="4010"/>
                    </a:lnTo>
                    <a:cubicBezTo>
                      <a:pt x="1074" y="3982"/>
                      <a:pt x="1082" y="3955"/>
                      <a:pt x="1089" y="3927"/>
                    </a:cubicBezTo>
                    <a:lnTo>
                      <a:pt x="1089" y="3762"/>
                    </a:lnTo>
                    <a:cubicBezTo>
                      <a:pt x="1101" y="3746"/>
                      <a:pt x="1112" y="3729"/>
                      <a:pt x="1124" y="3713"/>
                    </a:cubicBezTo>
                    <a:cubicBezTo>
                      <a:pt x="1116" y="3696"/>
                      <a:pt x="1109" y="3680"/>
                      <a:pt x="1101" y="3663"/>
                    </a:cubicBezTo>
                    <a:cubicBezTo>
                      <a:pt x="1120" y="3647"/>
                      <a:pt x="1139" y="3630"/>
                      <a:pt x="1158" y="3614"/>
                    </a:cubicBezTo>
                    <a:cubicBezTo>
                      <a:pt x="1135" y="3465"/>
                      <a:pt x="1112" y="3317"/>
                      <a:pt x="1089" y="3168"/>
                    </a:cubicBezTo>
                    <a:cubicBezTo>
                      <a:pt x="1078" y="3152"/>
                      <a:pt x="1066" y="3135"/>
                      <a:pt x="1055" y="3119"/>
                    </a:cubicBezTo>
                    <a:cubicBezTo>
                      <a:pt x="1047" y="3102"/>
                      <a:pt x="1040" y="3086"/>
                      <a:pt x="1032" y="3069"/>
                    </a:cubicBezTo>
                    <a:cubicBezTo>
                      <a:pt x="1040" y="3064"/>
                      <a:pt x="1047" y="3058"/>
                      <a:pt x="1055" y="3053"/>
                    </a:cubicBezTo>
                    <a:lnTo>
                      <a:pt x="1399" y="2954"/>
                    </a:lnTo>
                    <a:cubicBezTo>
                      <a:pt x="1407" y="2943"/>
                      <a:pt x="1414" y="2932"/>
                      <a:pt x="1422" y="2921"/>
                    </a:cubicBezTo>
                    <a:cubicBezTo>
                      <a:pt x="1414" y="2882"/>
                      <a:pt x="1407" y="2844"/>
                      <a:pt x="1399" y="2805"/>
                    </a:cubicBezTo>
                    <a:lnTo>
                      <a:pt x="1525" y="2277"/>
                    </a:lnTo>
                    <a:lnTo>
                      <a:pt x="1583" y="2310"/>
                    </a:lnTo>
                    <a:cubicBezTo>
                      <a:pt x="1594" y="2316"/>
                      <a:pt x="1606" y="2321"/>
                      <a:pt x="1617" y="2327"/>
                    </a:cubicBezTo>
                    <a:cubicBezTo>
                      <a:pt x="1636" y="2332"/>
                      <a:pt x="1655" y="2338"/>
                      <a:pt x="1674" y="2343"/>
                    </a:cubicBezTo>
                    <a:lnTo>
                      <a:pt x="1789" y="2327"/>
                    </a:lnTo>
                    <a:cubicBezTo>
                      <a:pt x="1804" y="2349"/>
                      <a:pt x="1820" y="2371"/>
                      <a:pt x="1835" y="2393"/>
                    </a:cubicBezTo>
                    <a:cubicBezTo>
                      <a:pt x="1846" y="2376"/>
                      <a:pt x="1858" y="2360"/>
                      <a:pt x="1869" y="2343"/>
                    </a:cubicBezTo>
                    <a:cubicBezTo>
                      <a:pt x="1896" y="2338"/>
                      <a:pt x="1923" y="2332"/>
                      <a:pt x="1950" y="2327"/>
                    </a:cubicBezTo>
                    <a:cubicBezTo>
                      <a:pt x="1957" y="2206"/>
                      <a:pt x="1965" y="2085"/>
                      <a:pt x="1972" y="1964"/>
                    </a:cubicBezTo>
                    <a:lnTo>
                      <a:pt x="1984" y="1865"/>
                    </a:lnTo>
                    <a:lnTo>
                      <a:pt x="2041" y="1865"/>
                    </a:lnTo>
                    <a:cubicBezTo>
                      <a:pt x="2060" y="1859"/>
                      <a:pt x="2080" y="1854"/>
                      <a:pt x="2099" y="1848"/>
                    </a:cubicBezTo>
                    <a:lnTo>
                      <a:pt x="2156" y="1782"/>
                    </a:lnTo>
                    <a:cubicBezTo>
                      <a:pt x="2167" y="1755"/>
                      <a:pt x="2179" y="1727"/>
                      <a:pt x="2190" y="1700"/>
                    </a:cubicBezTo>
                    <a:lnTo>
                      <a:pt x="2248" y="1733"/>
                    </a:lnTo>
                    <a:cubicBezTo>
                      <a:pt x="2267" y="1705"/>
                      <a:pt x="2286" y="1678"/>
                      <a:pt x="2305" y="1650"/>
                    </a:cubicBezTo>
                    <a:lnTo>
                      <a:pt x="2317" y="1650"/>
                    </a:lnTo>
                    <a:lnTo>
                      <a:pt x="2317" y="1683"/>
                    </a:lnTo>
                    <a:cubicBezTo>
                      <a:pt x="2328" y="1727"/>
                      <a:pt x="2340" y="1771"/>
                      <a:pt x="2351" y="1815"/>
                    </a:cubicBezTo>
                    <a:cubicBezTo>
                      <a:pt x="2385" y="1859"/>
                      <a:pt x="2420" y="1903"/>
                      <a:pt x="2454" y="1947"/>
                    </a:cubicBezTo>
                    <a:lnTo>
                      <a:pt x="2466" y="2013"/>
                    </a:lnTo>
                    <a:cubicBezTo>
                      <a:pt x="2485" y="2030"/>
                      <a:pt x="2504" y="2046"/>
                      <a:pt x="2523" y="2063"/>
                    </a:cubicBezTo>
                    <a:cubicBezTo>
                      <a:pt x="2527" y="2046"/>
                      <a:pt x="2530" y="2030"/>
                      <a:pt x="2534" y="2013"/>
                    </a:cubicBezTo>
                    <a:cubicBezTo>
                      <a:pt x="2549" y="2024"/>
                      <a:pt x="2565" y="2035"/>
                      <a:pt x="2580" y="2046"/>
                    </a:cubicBezTo>
                    <a:cubicBezTo>
                      <a:pt x="2599" y="2052"/>
                      <a:pt x="2619" y="2057"/>
                      <a:pt x="2638" y="2063"/>
                    </a:cubicBezTo>
                    <a:cubicBezTo>
                      <a:pt x="2653" y="2068"/>
                      <a:pt x="2668" y="2074"/>
                      <a:pt x="2683" y="2079"/>
                    </a:cubicBezTo>
                    <a:cubicBezTo>
                      <a:pt x="2721" y="2217"/>
                      <a:pt x="2760" y="2354"/>
                      <a:pt x="2798" y="2492"/>
                    </a:cubicBezTo>
                    <a:lnTo>
                      <a:pt x="2798" y="2789"/>
                    </a:lnTo>
                    <a:cubicBezTo>
                      <a:pt x="2794" y="2811"/>
                      <a:pt x="2791" y="2833"/>
                      <a:pt x="2787" y="2855"/>
                    </a:cubicBezTo>
                    <a:lnTo>
                      <a:pt x="2787" y="2921"/>
                    </a:lnTo>
                    <a:cubicBezTo>
                      <a:pt x="2791" y="2932"/>
                      <a:pt x="2794" y="2943"/>
                      <a:pt x="2798" y="2954"/>
                    </a:cubicBezTo>
                    <a:lnTo>
                      <a:pt x="3073" y="3053"/>
                    </a:lnTo>
                    <a:lnTo>
                      <a:pt x="3154" y="3020"/>
                    </a:lnTo>
                    <a:lnTo>
                      <a:pt x="3498" y="3234"/>
                    </a:lnTo>
                    <a:lnTo>
                      <a:pt x="3532" y="3234"/>
                    </a:lnTo>
                    <a:lnTo>
                      <a:pt x="3784" y="3746"/>
                    </a:lnTo>
                    <a:cubicBezTo>
                      <a:pt x="3796" y="3751"/>
                      <a:pt x="3807" y="3757"/>
                      <a:pt x="3819" y="3762"/>
                    </a:cubicBezTo>
                    <a:lnTo>
                      <a:pt x="4369" y="3713"/>
                    </a:lnTo>
                    <a:lnTo>
                      <a:pt x="4553" y="3795"/>
                    </a:lnTo>
                    <a:lnTo>
                      <a:pt x="4633" y="3878"/>
                    </a:lnTo>
                    <a:lnTo>
                      <a:pt x="4920" y="4059"/>
                    </a:lnTo>
                    <a:lnTo>
                      <a:pt x="5000" y="4059"/>
                    </a:lnTo>
                    <a:cubicBezTo>
                      <a:pt x="5004" y="4065"/>
                      <a:pt x="5007" y="4070"/>
                      <a:pt x="5011" y="4076"/>
                    </a:cubicBezTo>
                    <a:cubicBezTo>
                      <a:pt x="5023" y="4087"/>
                      <a:pt x="5034" y="4098"/>
                      <a:pt x="5046" y="4109"/>
                    </a:cubicBezTo>
                    <a:cubicBezTo>
                      <a:pt x="5057" y="4114"/>
                      <a:pt x="5069" y="4120"/>
                      <a:pt x="5080" y="4125"/>
                    </a:cubicBezTo>
                    <a:lnTo>
                      <a:pt x="5115" y="4125"/>
                    </a:lnTo>
                    <a:lnTo>
                      <a:pt x="5172" y="4059"/>
                    </a:lnTo>
                    <a:lnTo>
                      <a:pt x="5333" y="3977"/>
                    </a:lnTo>
                    <a:cubicBezTo>
                      <a:pt x="5341" y="3960"/>
                      <a:pt x="5348" y="3944"/>
                      <a:pt x="5356" y="3927"/>
                    </a:cubicBezTo>
                    <a:lnTo>
                      <a:pt x="5550" y="3861"/>
                    </a:lnTo>
                    <a:lnTo>
                      <a:pt x="5631" y="3861"/>
                    </a:lnTo>
                    <a:cubicBezTo>
                      <a:pt x="5650" y="3856"/>
                      <a:pt x="5669" y="3850"/>
                      <a:pt x="5688" y="3845"/>
                    </a:cubicBezTo>
                    <a:lnTo>
                      <a:pt x="5768" y="3878"/>
                    </a:lnTo>
                    <a:cubicBezTo>
                      <a:pt x="5772" y="3872"/>
                      <a:pt x="5776" y="3867"/>
                      <a:pt x="5780" y="3861"/>
                    </a:cubicBezTo>
                    <a:lnTo>
                      <a:pt x="5872" y="3861"/>
                    </a:lnTo>
                    <a:lnTo>
                      <a:pt x="6044" y="3713"/>
                    </a:lnTo>
                    <a:cubicBezTo>
                      <a:pt x="6055" y="3691"/>
                      <a:pt x="6067" y="3669"/>
                      <a:pt x="6078" y="3647"/>
                    </a:cubicBezTo>
                    <a:cubicBezTo>
                      <a:pt x="6135" y="3575"/>
                      <a:pt x="6193" y="3504"/>
                      <a:pt x="6250" y="3432"/>
                    </a:cubicBezTo>
                    <a:lnTo>
                      <a:pt x="6250" y="3383"/>
                    </a:lnTo>
                    <a:cubicBezTo>
                      <a:pt x="6227" y="3344"/>
                      <a:pt x="6204" y="3306"/>
                      <a:pt x="6181" y="3267"/>
                    </a:cubicBezTo>
                    <a:lnTo>
                      <a:pt x="6181" y="3185"/>
                    </a:lnTo>
                    <a:lnTo>
                      <a:pt x="6250" y="3053"/>
                    </a:lnTo>
                    <a:cubicBezTo>
                      <a:pt x="6273" y="3036"/>
                      <a:pt x="6296" y="3020"/>
                      <a:pt x="6319" y="3003"/>
                    </a:cubicBezTo>
                    <a:cubicBezTo>
                      <a:pt x="6334" y="3009"/>
                      <a:pt x="6350" y="3014"/>
                      <a:pt x="6365" y="3020"/>
                    </a:cubicBezTo>
                    <a:cubicBezTo>
                      <a:pt x="6376" y="3042"/>
                      <a:pt x="6388" y="3064"/>
                      <a:pt x="6399" y="3086"/>
                    </a:cubicBezTo>
                    <a:lnTo>
                      <a:pt x="6514" y="3086"/>
                    </a:lnTo>
                    <a:cubicBezTo>
                      <a:pt x="6541" y="3064"/>
                      <a:pt x="6567" y="3042"/>
                      <a:pt x="6594" y="3020"/>
                    </a:cubicBezTo>
                    <a:lnTo>
                      <a:pt x="6720" y="2855"/>
                    </a:lnTo>
                    <a:lnTo>
                      <a:pt x="6778" y="2855"/>
                    </a:lnTo>
                    <a:cubicBezTo>
                      <a:pt x="6801" y="2833"/>
                      <a:pt x="6823" y="2811"/>
                      <a:pt x="6846" y="2789"/>
                    </a:cubicBezTo>
                    <a:lnTo>
                      <a:pt x="7053" y="2492"/>
                    </a:lnTo>
                    <a:lnTo>
                      <a:pt x="7328" y="2442"/>
                    </a:lnTo>
                    <a:lnTo>
                      <a:pt x="7443" y="2475"/>
                    </a:lnTo>
                    <a:cubicBezTo>
                      <a:pt x="7454" y="2464"/>
                      <a:pt x="7466" y="2453"/>
                      <a:pt x="7477" y="2442"/>
                    </a:cubicBezTo>
                    <a:cubicBezTo>
                      <a:pt x="7473" y="2426"/>
                      <a:pt x="7470" y="2409"/>
                      <a:pt x="7466" y="2393"/>
                    </a:cubicBezTo>
                    <a:cubicBezTo>
                      <a:pt x="7454" y="2376"/>
                      <a:pt x="7443" y="2360"/>
                      <a:pt x="7431" y="2343"/>
                    </a:cubicBezTo>
                    <a:lnTo>
                      <a:pt x="7431" y="2261"/>
                    </a:lnTo>
                    <a:cubicBezTo>
                      <a:pt x="7427" y="2244"/>
                      <a:pt x="7424" y="2228"/>
                      <a:pt x="7420" y="2211"/>
                    </a:cubicBezTo>
                    <a:lnTo>
                      <a:pt x="7294" y="2046"/>
                    </a:lnTo>
                    <a:cubicBezTo>
                      <a:pt x="7290" y="2030"/>
                      <a:pt x="7286" y="2013"/>
                      <a:pt x="7282" y="1997"/>
                    </a:cubicBezTo>
                    <a:lnTo>
                      <a:pt x="7133" y="2129"/>
                    </a:lnTo>
                    <a:lnTo>
                      <a:pt x="6984" y="2162"/>
                    </a:lnTo>
                    <a:lnTo>
                      <a:pt x="6869" y="2129"/>
                    </a:lnTo>
                    <a:cubicBezTo>
                      <a:pt x="6858" y="2107"/>
                      <a:pt x="6846" y="2085"/>
                      <a:pt x="6835" y="2063"/>
                    </a:cubicBezTo>
                    <a:lnTo>
                      <a:pt x="6835" y="1865"/>
                    </a:lnTo>
                    <a:cubicBezTo>
                      <a:pt x="6839" y="1843"/>
                      <a:pt x="6842" y="1821"/>
                      <a:pt x="6846" y="1799"/>
                    </a:cubicBezTo>
                    <a:lnTo>
                      <a:pt x="6846" y="1584"/>
                    </a:lnTo>
                    <a:cubicBezTo>
                      <a:pt x="6881" y="1513"/>
                      <a:pt x="6915" y="1441"/>
                      <a:pt x="6950" y="1370"/>
                    </a:cubicBezTo>
                    <a:cubicBezTo>
                      <a:pt x="6954" y="1353"/>
                      <a:pt x="6957" y="1337"/>
                      <a:pt x="6961" y="1320"/>
                    </a:cubicBezTo>
                    <a:lnTo>
                      <a:pt x="6961" y="1304"/>
                    </a:lnTo>
                    <a:lnTo>
                      <a:pt x="7213" y="1436"/>
                    </a:lnTo>
                    <a:lnTo>
                      <a:pt x="7248" y="1436"/>
                    </a:lnTo>
                    <a:lnTo>
                      <a:pt x="7431" y="1271"/>
                    </a:lnTo>
                    <a:cubicBezTo>
                      <a:pt x="7435" y="1254"/>
                      <a:pt x="7439" y="1238"/>
                      <a:pt x="7443" y="1221"/>
                    </a:cubicBezTo>
                    <a:cubicBezTo>
                      <a:pt x="7439" y="1205"/>
                      <a:pt x="7435" y="1188"/>
                      <a:pt x="7431" y="1172"/>
                    </a:cubicBezTo>
                    <a:cubicBezTo>
                      <a:pt x="7435" y="1155"/>
                      <a:pt x="7439" y="1139"/>
                      <a:pt x="7443" y="1122"/>
                    </a:cubicBezTo>
                    <a:cubicBezTo>
                      <a:pt x="7462" y="1084"/>
                      <a:pt x="7481" y="1045"/>
                      <a:pt x="7500" y="1007"/>
                    </a:cubicBezTo>
                    <a:cubicBezTo>
                      <a:pt x="7523" y="913"/>
                      <a:pt x="7546" y="820"/>
                      <a:pt x="7569" y="726"/>
                    </a:cubicBezTo>
                    <a:lnTo>
                      <a:pt x="7615" y="677"/>
                    </a:lnTo>
                    <a:cubicBezTo>
                      <a:pt x="7638" y="633"/>
                      <a:pt x="7660" y="589"/>
                      <a:pt x="7683" y="545"/>
                    </a:cubicBezTo>
                    <a:cubicBezTo>
                      <a:pt x="7676" y="534"/>
                      <a:pt x="7668" y="523"/>
                      <a:pt x="7661" y="512"/>
                    </a:cubicBezTo>
                    <a:lnTo>
                      <a:pt x="7661" y="380"/>
                    </a:lnTo>
                    <a:cubicBezTo>
                      <a:pt x="7657" y="374"/>
                      <a:pt x="7653" y="369"/>
                      <a:pt x="7649" y="363"/>
                    </a:cubicBezTo>
                    <a:lnTo>
                      <a:pt x="7569" y="380"/>
                    </a:lnTo>
                    <a:lnTo>
                      <a:pt x="7569" y="363"/>
                    </a:lnTo>
                    <a:lnTo>
                      <a:pt x="7569" y="314"/>
                    </a:lnTo>
                    <a:cubicBezTo>
                      <a:pt x="7596" y="281"/>
                      <a:pt x="7622" y="248"/>
                      <a:pt x="7649" y="215"/>
                    </a:cubicBezTo>
                    <a:lnTo>
                      <a:pt x="7661" y="149"/>
                    </a:lnTo>
                    <a:cubicBezTo>
                      <a:pt x="7680" y="132"/>
                      <a:pt x="7699" y="116"/>
                      <a:pt x="7718" y="99"/>
                    </a:cubicBezTo>
                    <a:lnTo>
                      <a:pt x="8142" y="0"/>
                    </a:lnTo>
                    <a:lnTo>
                      <a:pt x="8291" y="116"/>
                    </a:lnTo>
                    <a:cubicBezTo>
                      <a:pt x="8303" y="127"/>
                      <a:pt x="8314" y="138"/>
                      <a:pt x="8326" y="149"/>
                    </a:cubicBezTo>
                    <a:lnTo>
                      <a:pt x="8394" y="149"/>
                    </a:lnTo>
                    <a:cubicBezTo>
                      <a:pt x="8421" y="165"/>
                      <a:pt x="8448" y="182"/>
                      <a:pt x="8475" y="198"/>
                    </a:cubicBezTo>
                    <a:cubicBezTo>
                      <a:pt x="8498" y="237"/>
                      <a:pt x="8521" y="275"/>
                      <a:pt x="8544" y="314"/>
                    </a:cubicBezTo>
                    <a:lnTo>
                      <a:pt x="8544" y="363"/>
                    </a:lnTo>
                    <a:lnTo>
                      <a:pt x="8601" y="429"/>
                    </a:lnTo>
                    <a:lnTo>
                      <a:pt x="8601" y="462"/>
                    </a:lnTo>
                    <a:lnTo>
                      <a:pt x="8601" y="429"/>
                    </a:lnTo>
                    <a:lnTo>
                      <a:pt x="8784" y="1221"/>
                    </a:lnTo>
                    <a:lnTo>
                      <a:pt x="8784" y="1254"/>
                    </a:lnTo>
                    <a:lnTo>
                      <a:pt x="8796" y="1419"/>
                    </a:lnTo>
                    <a:cubicBezTo>
                      <a:pt x="8807" y="1436"/>
                      <a:pt x="8819" y="1452"/>
                      <a:pt x="8830" y="1469"/>
                    </a:cubicBezTo>
                    <a:cubicBezTo>
                      <a:pt x="8853" y="1474"/>
                      <a:pt x="8876" y="1480"/>
                      <a:pt x="8899" y="1485"/>
                    </a:cubicBezTo>
                    <a:cubicBezTo>
                      <a:pt x="8922" y="1469"/>
                      <a:pt x="8945" y="1452"/>
                      <a:pt x="8968" y="1436"/>
                    </a:cubicBezTo>
                    <a:lnTo>
                      <a:pt x="9117" y="1535"/>
                    </a:lnTo>
                    <a:cubicBezTo>
                      <a:pt x="9148" y="1573"/>
                      <a:pt x="9178" y="1612"/>
                      <a:pt x="9209" y="1650"/>
                    </a:cubicBezTo>
                    <a:cubicBezTo>
                      <a:pt x="9220" y="1661"/>
                      <a:pt x="9232" y="1672"/>
                      <a:pt x="9243" y="1683"/>
                    </a:cubicBezTo>
                    <a:lnTo>
                      <a:pt x="9300" y="1683"/>
                    </a:lnTo>
                    <a:lnTo>
                      <a:pt x="9300" y="1733"/>
                    </a:lnTo>
                    <a:lnTo>
                      <a:pt x="9312" y="1733"/>
                    </a:lnTo>
                    <a:lnTo>
                      <a:pt x="9312" y="1799"/>
                    </a:lnTo>
                    <a:cubicBezTo>
                      <a:pt x="9320" y="1815"/>
                      <a:pt x="9327" y="1832"/>
                      <a:pt x="9335" y="1848"/>
                    </a:cubicBezTo>
                    <a:lnTo>
                      <a:pt x="9335" y="1997"/>
                    </a:lnTo>
                    <a:cubicBezTo>
                      <a:pt x="9350" y="2035"/>
                      <a:pt x="9366" y="2074"/>
                      <a:pt x="9381" y="2112"/>
                    </a:cubicBezTo>
                    <a:lnTo>
                      <a:pt x="9427" y="2112"/>
                    </a:lnTo>
                    <a:cubicBezTo>
                      <a:pt x="9450" y="2118"/>
                      <a:pt x="9472" y="2123"/>
                      <a:pt x="9495" y="2129"/>
                    </a:cubicBezTo>
                    <a:cubicBezTo>
                      <a:pt x="9510" y="2123"/>
                      <a:pt x="9526" y="2118"/>
                      <a:pt x="9541" y="2112"/>
                    </a:cubicBezTo>
                    <a:lnTo>
                      <a:pt x="9725" y="1964"/>
                    </a:lnTo>
                    <a:lnTo>
                      <a:pt x="9794" y="1964"/>
                    </a:lnTo>
                    <a:lnTo>
                      <a:pt x="10000" y="1848"/>
                    </a:lnTo>
                    <a:cubicBezTo>
                      <a:pt x="9989" y="1870"/>
                      <a:pt x="9977" y="1892"/>
                      <a:pt x="9966" y="1914"/>
                    </a:cubicBezTo>
                    <a:lnTo>
                      <a:pt x="9966" y="1997"/>
                    </a:lnTo>
                    <a:cubicBezTo>
                      <a:pt x="9970" y="2019"/>
                      <a:pt x="9973" y="2041"/>
                      <a:pt x="9977" y="2063"/>
                    </a:cubicBezTo>
                    <a:lnTo>
                      <a:pt x="9977" y="2162"/>
                    </a:lnTo>
                    <a:cubicBezTo>
                      <a:pt x="9950" y="2195"/>
                      <a:pt x="9924" y="2228"/>
                      <a:pt x="9897" y="2261"/>
                    </a:cubicBezTo>
                    <a:lnTo>
                      <a:pt x="9828" y="2657"/>
                    </a:lnTo>
                    <a:cubicBezTo>
                      <a:pt x="9794" y="2739"/>
                      <a:pt x="9759" y="2822"/>
                      <a:pt x="9725" y="2904"/>
                    </a:cubicBezTo>
                    <a:lnTo>
                      <a:pt x="9713" y="3003"/>
                    </a:lnTo>
                    <a:cubicBezTo>
                      <a:pt x="9702" y="3009"/>
                      <a:pt x="9690" y="3014"/>
                      <a:pt x="9679" y="3020"/>
                    </a:cubicBezTo>
                    <a:lnTo>
                      <a:pt x="9667" y="3020"/>
                    </a:lnTo>
                    <a:lnTo>
                      <a:pt x="9507" y="2954"/>
                    </a:lnTo>
                    <a:cubicBezTo>
                      <a:pt x="9457" y="3014"/>
                      <a:pt x="9408" y="3075"/>
                      <a:pt x="9358" y="3135"/>
                    </a:cubicBezTo>
                    <a:cubicBezTo>
                      <a:pt x="9369" y="3152"/>
                      <a:pt x="9381" y="3168"/>
                      <a:pt x="9392" y="3185"/>
                    </a:cubicBezTo>
                    <a:cubicBezTo>
                      <a:pt x="9400" y="3317"/>
                      <a:pt x="9407" y="3449"/>
                      <a:pt x="9415" y="3581"/>
                    </a:cubicBezTo>
                    <a:cubicBezTo>
                      <a:pt x="9396" y="3608"/>
                      <a:pt x="9377" y="3636"/>
                      <a:pt x="9358" y="3663"/>
                    </a:cubicBezTo>
                    <a:cubicBezTo>
                      <a:pt x="9339" y="3691"/>
                      <a:pt x="9319" y="3718"/>
                      <a:pt x="9300" y="3746"/>
                    </a:cubicBezTo>
                    <a:lnTo>
                      <a:pt x="9300" y="3812"/>
                    </a:lnTo>
                    <a:lnTo>
                      <a:pt x="9278" y="3812"/>
                    </a:lnTo>
                    <a:cubicBezTo>
                      <a:pt x="9266" y="3795"/>
                      <a:pt x="9255" y="3779"/>
                      <a:pt x="9243" y="3762"/>
                    </a:cubicBezTo>
                    <a:cubicBezTo>
                      <a:pt x="9232" y="3746"/>
                      <a:pt x="9220" y="3729"/>
                      <a:pt x="9209" y="3713"/>
                    </a:cubicBezTo>
                    <a:cubicBezTo>
                      <a:pt x="9197" y="3724"/>
                      <a:pt x="9186" y="3735"/>
                      <a:pt x="9174" y="3746"/>
                    </a:cubicBezTo>
                    <a:cubicBezTo>
                      <a:pt x="9159" y="3801"/>
                      <a:pt x="9143" y="3856"/>
                      <a:pt x="9128" y="3911"/>
                    </a:cubicBezTo>
                    <a:cubicBezTo>
                      <a:pt x="9101" y="3944"/>
                      <a:pt x="9075" y="3977"/>
                      <a:pt x="9048" y="4010"/>
                    </a:cubicBezTo>
                    <a:lnTo>
                      <a:pt x="8911" y="4026"/>
                    </a:lnTo>
                    <a:lnTo>
                      <a:pt x="8899" y="4059"/>
                    </a:lnTo>
                    <a:lnTo>
                      <a:pt x="8911" y="4191"/>
                    </a:lnTo>
                    <a:lnTo>
                      <a:pt x="8796" y="4224"/>
                    </a:lnTo>
                    <a:lnTo>
                      <a:pt x="8750" y="4175"/>
                    </a:lnTo>
                    <a:lnTo>
                      <a:pt x="8693" y="4142"/>
                    </a:lnTo>
                    <a:lnTo>
                      <a:pt x="8417" y="4455"/>
                    </a:lnTo>
                    <a:lnTo>
                      <a:pt x="8360" y="4488"/>
                    </a:lnTo>
                    <a:cubicBezTo>
                      <a:pt x="8333" y="4543"/>
                      <a:pt x="8307" y="4598"/>
                      <a:pt x="8280" y="4653"/>
                    </a:cubicBezTo>
                    <a:lnTo>
                      <a:pt x="8131" y="4719"/>
                    </a:lnTo>
                    <a:cubicBezTo>
                      <a:pt x="8127" y="4714"/>
                      <a:pt x="8123" y="4708"/>
                      <a:pt x="8119" y="4703"/>
                    </a:cubicBezTo>
                    <a:cubicBezTo>
                      <a:pt x="8100" y="4719"/>
                      <a:pt x="8081" y="4736"/>
                      <a:pt x="8062" y="4752"/>
                    </a:cubicBezTo>
                    <a:lnTo>
                      <a:pt x="7959" y="4818"/>
                    </a:lnTo>
                    <a:cubicBezTo>
                      <a:pt x="7951" y="4835"/>
                      <a:pt x="7944" y="4851"/>
                      <a:pt x="7936" y="4868"/>
                    </a:cubicBezTo>
                    <a:cubicBezTo>
                      <a:pt x="7928" y="4884"/>
                      <a:pt x="7921" y="4901"/>
                      <a:pt x="7913" y="4917"/>
                    </a:cubicBezTo>
                    <a:cubicBezTo>
                      <a:pt x="7901" y="4923"/>
                      <a:pt x="7890" y="4928"/>
                      <a:pt x="7878" y="4934"/>
                    </a:cubicBezTo>
                    <a:lnTo>
                      <a:pt x="7844" y="4934"/>
                    </a:lnTo>
                    <a:cubicBezTo>
                      <a:pt x="7840" y="4945"/>
                      <a:pt x="7837" y="4956"/>
                      <a:pt x="7833" y="4967"/>
                    </a:cubicBezTo>
                    <a:cubicBezTo>
                      <a:pt x="7814" y="4984"/>
                      <a:pt x="7794" y="5000"/>
                      <a:pt x="7775" y="5017"/>
                    </a:cubicBezTo>
                    <a:cubicBezTo>
                      <a:pt x="7771" y="5006"/>
                      <a:pt x="7768" y="4994"/>
                      <a:pt x="7764" y="4983"/>
                    </a:cubicBezTo>
                    <a:cubicBezTo>
                      <a:pt x="7768" y="4967"/>
                      <a:pt x="7771" y="4950"/>
                      <a:pt x="7775" y="4934"/>
                    </a:cubicBezTo>
                    <a:cubicBezTo>
                      <a:pt x="7794" y="4928"/>
                      <a:pt x="7814" y="4923"/>
                      <a:pt x="7833" y="4917"/>
                    </a:cubicBezTo>
                    <a:cubicBezTo>
                      <a:pt x="7837" y="4884"/>
                      <a:pt x="7840" y="4851"/>
                      <a:pt x="7844" y="4818"/>
                    </a:cubicBezTo>
                    <a:cubicBezTo>
                      <a:pt x="7829" y="4813"/>
                      <a:pt x="7813" y="4807"/>
                      <a:pt x="7798" y="4802"/>
                    </a:cubicBezTo>
                    <a:cubicBezTo>
                      <a:pt x="7790" y="4791"/>
                      <a:pt x="7783" y="4780"/>
                      <a:pt x="7775" y="4769"/>
                    </a:cubicBezTo>
                    <a:cubicBezTo>
                      <a:pt x="7787" y="4763"/>
                      <a:pt x="7798" y="4758"/>
                      <a:pt x="7810" y="4752"/>
                    </a:cubicBezTo>
                    <a:lnTo>
                      <a:pt x="7810" y="4703"/>
                    </a:lnTo>
                    <a:cubicBezTo>
                      <a:pt x="7821" y="4692"/>
                      <a:pt x="7833" y="4681"/>
                      <a:pt x="7844" y="4670"/>
                    </a:cubicBezTo>
                    <a:cubicBezTo>
                      <a:pt x="7875" y="4609"/>
                      <a:pt x="7905" y="4549"/>
                      <a:pt x="7936" y="4488"/>
                    </a:cubicBezTo>
                    <a:lnTo>
                      <a:pt x="7936" y="4455"/>
                    </a:lnTo>
                    <a:cubicBezTo>
                      <a:pt x="7924" y="4433"/>
                      <a:pt x="7913" y="4411"/>
                      <a:pt x="7901" y="4389"/>
                    </a:cubicBezTo>
                    <a:cubicBezTo>
                      <a:pt x="7893" y="4373"/>
                      <a:pt x="7886" y="4356"/>
                      <a:pt x="7878" y="4340"/>
                    </a:cubicBezTo>
                    <a:cubicBezTo>
                      <a:pt x="7874" y="4334"/>
                      <a:pt x="7871" y="4329"/>
                      <a:pt x="7867" y="4323"/>
                    </a:cubicBezTo>
                    <a:cubicBezTo>
                      <a:pt x="7859" y="4329"/>
                      <a:pt x="7852" y="4334"/>
                      <a:pt x="7844" y="4340"/>
                    </a:cubicBezTo>
                    <a:lnTo>
                      <a:pt x="7775" y="4340"/>
                    </a:lnTo>
                    <a:cubicBezTo>
                      <a:pt x="7771" y="4351"/>
                      <a:pt x="7768" y="4362"/>
                      <a:pt x="7764" y="4373"/>
                    </a:cubicBezTo>
                    <a:lnTo>
                      <a:pt x="7649" y="4587"/>
                    </a:lnTo>
                    <a:lnTo>
                      <a:pt x="7477" y="4703"/>
                    </a:lnTo>
                    <a:cubicBezTo>
                      <a:pt x="7473" y="4741"/>
                      <a:pt x="7470" y="4780"/>
                      <a:pt x="7466" y="4818"/>
                    </a:cubicBezTo>
                    <a:cubicBezTo>
                      <a:pt x="7454" y="4829"/>
                      <a:pt x="7443" y="4840"/>
                      <a:pt x="7431" y="4851"/>
                    </a:cubicBezTo>
                    <a:cubicBezTo>
                      <a:pt x="7420" y="4862"/>
                      <a:pt x="7408" y="4873"/>
                      <a:pt x="7397" y="4884"/>
                    </a:cubicBezTo>
                    <a:lnTo>
                      <a:pt x="7294" y="4917"/>
                    </a:lnTo>
                    <a:lnTo>
                      <a:pt x="7282" y="4884"/>
                    </a:lnTo>
                    <a:lnTo>
                      <a:pt x="7248" y="4884"/>
                    </a:lnTo>
                    <a:cubicBezTo>
                      <a:pt x="7236" y="4895"/>
                      <a:pt x="7225" y="4906"/>
                      <a:pt x="7213" y="4917"/>
                    </a:cubicBezTo>
                    <a:cubicBezTo>
                      <a:pt x="7202" y="4972"/>
                      <a:pt x="7190" y="5028"/>
                      <a:pt x="7179" y="5083"/>
                    </a:cubicBezTo>
                    <a:cubicBezTo>
                      <a:pt x="7202" y="5121"/>
                      <a:pt x="7225" y="5160"/>
                      <a:pt x="7248" y="5198"/>
                    </a:cubicBezTo>
                    <a:cubicBezTo>
                      <a:pt x="7259" y="5209"/>
                      <a:pt x="7271" y="5220"/>
                      <a:pt x="7282" y="5231"/>
                    </a:cubicBezTo>
                    <a:lnTo>
                      <a:pt x="7294" y="5231"/>
                    </a:lnTo>
                    <a:cubicBezTo>
                      <a:pt x="7302" y="5237"/>
                      <a:pt x="7309" y="5242"/>
                      <a:pt x="7317" y="5248"/>
                    </a:cubicBezTo>
                    <a:lnTo>
                      <a:pt x="7328" y="5248"/>
                    </a:lnTo>
                    <a:cubicBezTo>
                      <a:pt x="7336" y="5264"/>
                      <a:pt x="7343" y="5281"/>
                      <a:pt x="7351" y="5297"/>
                    </a:cubicBezTo>
                    <a:cubicBezTo>
                      <a:pt x="7362" y="5308"/>
                      <a:pt x="7374" y="5319"/>
                      <a:pt x="7385" y="5330"/>
                    </a:cubicBezTo>
                    <a:lnTo>
                      <a:pt x="7385" y="5413"/>
                    </a:lnTo>
                    <a:cubicBezTo>
                      <a:pt x="7397" y="5429"/>
                      <a:pt x="7408" y="5446"/>
                      <a:pt x="7420" y="5462"/>
                    </a:cubicBezTo>
                    <a:lnTo>
                      <a:pt x="7500" y="5512"/>
                    </a:lnTo>
                    <a:cubicBezTo>
                      <a:pt x="7511" y="5506"/>
                      <a:pt x="7523" y="5501"/>
                      <a:pt x="7534" y="5495"/>
                    </a:cubicBezTo>
                    <a:cubicBezTo>
                      <a:pt x="7546" y="5468"/>
                      <a:pt x="7557" y="5440"/>
                      <a:pt x="7569" y="5413"/>
                    </a:cubicBezTo>
                    <a:cubicBezTo>
                      <a:pt x="7580" y="5407"/>
                      <a:pt x="7592" y="5402"/>
                      <a:pt x="7603" y="5396"/>
                    </a:cubicBezTo>
                    <a:cubicBezTo>
                      <a:pt x="7611" y="5380"/>
                      <a:pt x="7618" y="5363"/>
                      <a:pt x="7626" y="5347"/>
                    </a:cubicBezTo>
                    <a:cubicBezTo>
                      <a:pt x="7649" y="5330"/>
                      <a:pt x="7672" y="5314"/>
                      <a:pt x="7695" y="5297"/>
                    </a:cubicBezTo>
                    <a:lnTo>
                      <a:pt x="7718" y="5297"/>
                    </a:lnTo>
                    <a:cubicBezTo>
                      <a:pt x="7737" y="5325"/>
                      <a:pt x="7756" y="5352"/>
                      <a:pt x="7775" y="5380"/>
                    </a:cubicBezTo>
                    <a:lnTo>
                      <a:pt x="7798" y="5380"/>
                    </a:lnTo>
                    <a:cubicBezTo>
                      <a:pt x="7810" y="5391"/>
                      <a:pt x="7821" y="5402"/>
                      <a:pt x="7833" y="5413"/>
                    </a:cubicBezTo>
                    <a:cubicBezTo>
                      <a:pt x="7848" y="5407"/>
                      <a:pt x="7863" y="5402"/>
                      <a:pt x="7878" y="5396"/>
                    </a:cubicBezTo>
                    <a:cubicBezTo>
                      <a:pt x="7890" y="5391"/>
                      <a:pt x="7901" y="5385"/>
                      <a:pt x="7913" y="5380"/>
                    </a:cubicBezTo>
                    <a:cubicBezTo>
                      <a:pt x="7924" y="5391"/>
                      <a:pt x="7936" y="5402"/>
                      <a:pt x="7947" y="5413"/>
                    </a:cubicBezTo>
                    <a:lnTo>
                      <a:pt x="7982" y="5413"/>
                    </a:lnTo>
                    <a:lnTo>
                      <a:pt x="7993" y="5413"/>
                    </a:lnTo>
                    <a:lnTo>
                      <a:pt x="7993" y="5495"/>
                    </a:lnTo>
                    <a:cubicBezTo>
                      <a:pt x="7989" y="5501"/>
                      <a:pt x="7986" y="5506"/>
                      <a:pt x="7982" y="5512"/>
                    </a:cubicBezTo>
                    <a:lnTo>
                      <a:pt x="7982" y="5545"/>
                    </a:lnTo>
                    <a:cubicBezTo>
                      <a:pt x="7970" y="5561"/>
                      <a:pt x="7959" y="5578"/>
                      <a:pt x="7947" y="5594"/>
                    </a:cubicBezTo>
                    <a:lnTo>
                      <a:pt x="7936" y="5594"/>
                    </a:lnTo>
                    <a:lnTo>
                      <a:pt x="7936" y="5545"/>
                    </a:lnTo>
                    <a:lnTo>
                      <a:pt x="7913" y="5545"/>
                    </a:lnTo>
                    <a:lnTo>
                      <a:pt x="7878" y="5545"/>
                    </a:lnTo>
                    <a:cubicBezTo>
                      <a:pt x="7874" y="5550"/>
                      <a:pt x="7871" y="5556"/>
                      <a:pt x="7867" y="5561"/>
                    </a:cubicBezTo>
                    <a:cubicBezTo>
                      <a:pt x="7859" y="5578"/>
                      <a:pt x="7852" y="5594"/>
                      <a:pt x="7844" y="5611"/>
                    </a:cubicBezTo>
                    <a:lnTo>
                      <a:pt x="7775" y="5611"/>
                    </a:lnTo>
                    <a:cubicBezTo>
                      <a:pt x="7767" y="5622"/>
                      <a:pt x="7760" y="5633"/>
                      <a:pt x="7752" y="5644"/>
                    </a:cubicBezTo>
                    <a:lnTo>
                      <a:pt x="7718" y="5644"/>
                    </a:lnTo>
                    <a:lnTo>
                      <a:pt x="7718" y="5710"/>
                    </a:lnTo>
                    <a:cubicBezTo>
                      <a:pt x="7710" y="5715"/>
                      <a:pt x="7703" y="5721"/>
                      <a:pt x="7695" y="5726"/>
                    </a:cubicBezTo>
                    <a:cubicBezTo>
                      <a:pt x="7691" y="5754"/>
                      <a:pt x="7687" y="5781"/>
                      <a:pt x="7683" y="5809"/>
                    </a:cubicBezTo>
                    <a:lnTo>
                      <a:pt x="7649" y="5809"/>
                    </a:lnTo>
                    <a:cubicBezTo>
                      <a:pt x="7641" y="5792"/>
                      <a:pt x="7634" y="5776"/>
                      <a:pt x="7626" y="5759"/>
                    </a:cubicBezTo>
                    <a:lnTo>
                      <a:pt x="7603" y="5759"/>
                    </a:lnTo>
                    <a:cubicBezTo>
                      <a:pt x="7595" y="5776"/>
                      <a:pt x="7588" y="5792"/>
                      <a:pt x="7580" y="5809"/>
                    </a:cubicBezTo>
                    <a:cubicBezTo>
                      <a:pt x="7592" y="5814"/>
                      <a:pt x="7603" y="5820"/>
                      <a:pt x="7615" y="5825"/>
                    </a:cubicBezTo>
                    <a:cubicBezTo>
                      <a:pt x="7600" y="5853"/>
                      <a:pt x="7584" y="5880"/>
                      <a:pt x="7569" y="5908"/>
                    </a:cubicBezTo>
                    <a:lnTo>
                      <a:pt x="7511" y="5941"/>
                    </a:lnTo>
                    <a:cubicBezTo>
                      <a:pt x="7488" y="6007"/>
                      <a:pt x="7466" y="6073"/>
                      <a:pt x="7443" y="6139"/>
                    </a:cubicBezTo>
                    <a:lnTo>
                      <a:pt x="7443" y="6188"/>
                    </a:lnTo>
                    <a:lnTo>
                      <a:pt x="7615" y="6304"/>
                    </a:lnTo>
                    <a:cubicBezTo>
                      <a:pt x="7619" y="6315"/>
                      <a:pt x="7622" y="6326"/>
                      <a:pt x="7626" y="6337"/>
                    </a:cubicBezTo>
                    <a:cubicBezTo>
                      <a:pt x="7634" y="6359"/>
                      <a:pt x="7641" y="6381"/>
                      <a:pt x="7649" y="6403"/>
                    </a:cubicBezTo>
                    <a:cubicBezTo>
                      <a:pt x="7653" y="6419"/>
                      <a:pt x="7657" y="6436"/>
                      <a:pt x="7661" y="6452"/>
                    </a:cubicBezTo>
                    <a:cubicBezTo>
                      <a:pt x="7680" y="6557"/>
                      <a:pt x="7699" y="6661"/>
                      <a:pt x="7718" y="6766"/>
                    </a:cubicBezTo>
                    <a:cubicBezTo>
                      <a:pt x="7729" y="6782"/>
                      <a:pt x="7741" y="6799"/>
                      <a:pt x="7752" y="6815"/>
                    </a:cubicBezTo>
                    <a:cubicBezTo>
                      <a:pt x="7760" y="6821"/>
                      <a:pt x="7767" y="6826"/>
                      <a:pt x="7775" y="6832"/>
                    </a:cubicBezTo>
                    <a:cubicBezTo>
                      <a:pt x="7783" y="6848"/>
                      <a:pt x="7790" y="6865"/>
                      <a:pt x="7798" y="6881"/>
                    </a:cubicBezTo>
                    <a:cubicBezTo>
                      <a:pt x="7825" y="6931"/>
                      <a:pt x="7851" y="6980"/>
                      <a:pt x="7878" y="7030"/>
                    </a:cubicBezTo>
                    <a:lnTo>
                      <a:pt x="7878" y="7046"/>
                    </a:lnTo>
                    <a:lnTo>
                      <a:pt x="7775" y="6980"/>
                    </a:lnTo>
                    <a:lnTo>
                      <a:pt x="7752" y="6980"/>
                    </a:lnTo>
                    <a:lnTo>
                      <a:pt x="7661" y="6931"/>
                    </a:lnTo>
                    <a:cubicBezTo>
                      <a:pt x="7642" y="6936"/>
                      <a:pt x="7622" y="6942"/>
                      <a:pt x="7603" y="6947"/>
                    </a:cubicBezTo>
                    <a:lnTo>
                      <a:pt x="7603" y="6980"/>
                    </a:lnTo>
                    <a:lnTo>
                      <a:pt x="7661" y="6947"/>
                    </a:lnTo>
                    <a:cubicBezTo>
                      <a:pt x="7668" y="6958"/>
                      <a:pt x="7676" y="6969"/>
                      <a:pt x="7683" y="6980"/>
                    </a:cubicBezTo>
                    <a:cubicBezTo>
                      <a:pt x="7687" y="6986"/>
                      <a:pt x="7691" y="6991"/>
                      <a:pt x="7695" y="6997"/>
                    </a:cubicBezTo>
                    <a:lnTo>
                      <a:pt x="7729" y="6997"/>
                    </a:lnTo>
                    <a:cubicBezTo>
                      <a:pt x="7741" y="7013"/>
                      <a:pt x="7752" y="7030"/>
                      <a:pt x="7764" y="7046"/>
                    </a:cubicBezTo>
                    <a:cubicBezTo>
                      <a:pt x="7775" y="7063"/>
                      <a:pt x="7787" y="7079"/>
                      <a:pt x="7798" y="7096"/>
                    </a:cubicBezTo>
                    <a:cubicBezTo>
                      <a:pt x="7810" y="7112"/>
                      <a:pt x="7821" y="7129"/>
                      <a:pt x="7833" y="7145"/>
                    </a:cubicBezTo>
                    <a:lnTo>
                      <a:pt x="7878" y="7244"/>
                    </a:lnTo>
                    <a:lnTo>
                      <a:pt x="7878" y="7261"/>
                    </a:lnTo>
                    <a:lnTo>
                      <a:pt x="7833" y="7261"/>
                    </a:lnTo>
                    <a:cubicBezTo>
                      <a:pt x="7821" y="7277"/>
                      <a:pt x="7810" y="7294"/>
                      <a:pt x="7798" y="7310"/>
                    </a:cubicBezTo>
                    <a:cubicBezTo>
                      <a:pt x="7783" y="7321"/>
                      <a:pt x="7767" y="7332"/>
                      <a:pt x="7752" y="7343"/>
                    </a:cubicBezTo>
                    <a:cubicBezTo>
                      <a:pt x="7744" y="7349"/>
                      <a:pt x="7737" y="7354"/>
                      <a:pt x="7729" y="7360"/>
                    </a:cubicBezTo>
                    <a:cubicBezTo>
                      <a:pt x="7718" y="7371"/>
                      <a:pt x="7706" y="7382"/>
                      <a:pt x="7695" y="7393"/>
                    </a:cubicBezTo>
                    <a:cubicBezTo>
                      <a:pt x="7672" y="7398"/>
                      <a:pt x="7649" y="7404"/>
                      <a:pt x="7626" y="7409"/>
                    </a:cubicBezTo>
                    <a:cubicBezTo>
                      <a:pt x="7618" y="7420"/>
                      <a:pt x="7611" y="7431"/>
                      <a:pt x="7603" y="7442"/>
                    </a:cubicBezTo>
                    <a:cubicBezTo>
                      <a:pt x="7611" y="7431"/>
                      <a:pt x="7618" y="7420"/>
                      <a:pt x="7626" y="7409"/>
                    </a:cubicBezTo>
                    <a:cubicBezTo>
                      <a:pt x="7649" y="7426"/>
                      <a:pt x="7672" y="7442"/>
                      <a:pt x="7695" y="7459"/>
                    </a:cubicBezTo>
                    <a:cubicBezTo>
                      <a:pt x="7718" y="7442"/>
                      <a:pt x="7741" y="7426"/>
                      <a:pt x="7764" y="7409"/>
                    </a:cubicBezTo>
                    <a:cubicBezTo>
                      <a:pt x="7768" y="7420"/>
                      <a:pt x="7771" y="7431"/>
                      <a:pt x="7775" y="7442"/>
                    </a:cubicBezTo>
                    <a:cubicBezTo>
                      <a:pt x="7787" y="7448"/>
                      <a:pt x="7798" y="7453"/>
                      <a:pt x="7810" y="7459"/>
                    </a:cubicBezTo>
                    <a:lnTo>
                      <a:pt x="7810" y="7475"/>
                    </a:lnTo>
                    <a:lnTo>
                      <a:pt x="7867" y="7508"/>
                    </a:lnTo>
                    <a:lnTo>
                      <a:pt x="7878" y="7508"/>
                    </a:lnTo>
                    <a:cubicBezTo>
                      <a:pt x="7886" y="7514"/>
                      <a:pt x="7893" y="7519"/>
                      <a:pt x="7901" y="7525"/>
                    </a:cubicBezTo>
                    <a:cubicBezTo>
                      <a:pt x="7871" y="7558"/>
                      <a:pt x="7840" y="7591"/>
                      <a:pt x="7810" y="7624"/>
                    </a:cubicBezTo>
                    <a:cubicBezTo>
                      <a:pt x="7829" y="7618"/>
                      <a:pt x="7848" y="7613"/>
                      <a:pt x="7867" y="7607"/>
                    </a:cubicBezTo>
                    <a:lnTo>
                      <a:pt x="7867" y="7690"/>
                    </a:lnTo>
                    <a:lnTo>
                      <a:pt x="7867" y="7673"/>
                    </a:lnTo>
                    <a:cubicBezTo>
                      <a:pt x="7859" y="7679"/>
                      <a:pt x="7852" y="7684"/>
                      <a:pt x="7844" y="7690"/>
                    </a:cubicBezTo>
                    <a:cubicBezTo>
                      <a:pt x="7833" y="7701"/>
                      <a:pt x="7821" y="7712"/>
                      <a:pt x="7810" y="7723"/>
                    </a:cubicBezTo>
                    <a:lnTo>
                      <a:pt x="7810" y="7772"/>
                    </a:lnTo>
                    <a:lnTo>
                      <a:pt x="7810" y="7822"/>
                    </a:lnTo>
                    <a:cubicBezTo>
                      <a:pt x="7806" y="7827"/>
                      <a:pt x="7802" y="7833"/>
                      <a:pt x="7798" y="7838"/>
                    </a:cubicBezTo>
                    <a:lnTo>
                      <a:pt x="7798" y="7921"/>
                    </a:lnTo>
                    <a:cubicBezTo>
                      <a:pt x="7790" y="7943"/>
                      <a:pt x="7783" y="7965"/>
                      <a:pt x="7775" y="7987"/>
                    </a:cubicBezTo>
                    <a:lnTo>
                      <a:pt x="7775" y="7954"/>
                    </a:lnTo>
                    <a:cubicBezTo>
                      <a:pt x="7771" y="7948"/>
                      <a:pt x="7768" y="7943"/>
                      <a:pt x="7764" y="7937"/>
                    </a:cubicBezTo>
                    <a:cubicBezTo>
                      <a:pt x="7760" y="7943"/>
                      <a:pt x="7756" y="7948"/>
                      <a:pt x="7752" y="7954"/>
                    </a:cubicBezTo>
                    <a:cubicBezTo>
                      <a:pt x="7718" y="8020"/>
                      <a:pt x="7683" y="8086"/>
                      <a:pt x="7649" y="8152"/>
                    </a:cubicBezTo>
                    <a:lnTo>
                      <a:pt x="7649" y="8185"/>
                    </a:lnTo>
                    <a:cubicBezTo>
                      <a:pt x="7641" y="8207"/>
                      <a:pt x="7634" y="8229"/>
                      <a:pt x="7626" y="8251"/>
                    </a:cubicBezTo>
                    <a:cubicBezTo>
                      <a:pt x="7611" y="8273"/>
                      <a:pt x="7595" y="8295"/>
                      <a:pt x="7580" y="8317"/>
                    </a:cubicBezTo>
                    <a:cubicBezTo>
                      <a:pt x="7576" y="8333"/>
                      <a:pt x="7573" y="8350"/>
                      <a:pt x="7569" y="8366"/>
                    </a:cubicBezTo>
                    <a:cubicBezTo>
                      <a:pt x="7561" y="8383"/>
                      <a:pt x="7554" y="8399"/>
                      <a:pt x="7546" y="8416"/>
                    </a:cubicBezTo>
                    <a:lnTo>
                      <a:pt x="7546" y="8399"/>
                    </a:lnTo>
                    <a:lnTo>
                      <a:pt x="7546" y="8350"/>
                    </a:lnTo>
                    <a:lnTo>
                      <a:pt x="7511" y="8350"/>
                    </a:lnTo>
                    <a:cubicBezTo>
                      <a:pt x="7507" y="8355"/>
                      <a:pt x="7504" y="8361"/>
                      <a:pt x="7500" y="8366"/>
                    </a:cubicBezTo>
                    <a:cubicBezTo>
                      <a:pt x="7504" y="8394"/>
                      <a:pt x="7507" y="8421"/>
                      <a:pt x="7511" y="8449"/>
                    </a:cubicBezTo>
                    <a:lnTo>
                      <a:pt x="7511" y="8465"/>
                    </a:lnTo>
                    <a:cubicBezTo>
                      <a:pt x="7507" y="8487"/>
                      <a:pt x="7504" y="8509"/>
                      <a:pt x="7500" y="8531"/>
                    </a:cubicBezTo>
                    <a:lnTo>
                      <a:pt x="7500" y="8564"/>
                    </a:lnTo>
                    <a:lnTo>
                      <a:pt x="7500" y="8614"/>
                    </a:lnTo>
                    <a:lnTo>
                      <a:pt x="7477" y="8614"/>
                    </a:lnTo>
                    <a:lnTo>
                      <a:pt x="7477" y="8630"/>
                    </a:lnTo>
                    <a:lnTo>
                      <a:pt x="7477" y="8663"/>
                    </a:lnTo>
                    <a:lnTo>
                      <a:pt x="7477" y="8680"/>
                    </a:lnTo>
                    <a:lnTo>
                      <a:pt x="7477" y="8713"/>
                    </a:lnTo>
                    <a:cubicBezTo>
                      <a:pt x="7473" y="8702"/>
                      <a:pt x="7470" y="8691"/>
                      <a:pt x="7466" y="8680"/>
                    </a:cubicBezTo>
                    <a:lnTo>
                      <a:pt x="7443" y="8680"/>
                    </a:lnTo>
                    <a:lnTo>
                      <a:pt x="7431" y="8713"/>
                    </a:lnTo>
                    <a:lnTo>
                      <a:pt x="7431" y="8729"/>
                    </a:lnTo>
                    <a:lnTo>
                      <a:pt x="7431" y="8746"/>
                    </a:lnTo>
                    <a:lnTo>
                      <a:pt x="7420" y="8746"/>
                    </a:lnTo>
                    <a:lnTo>
                      <a:pt x="7397" y="8746"/>
                    </a:lnTo>
                    <a:cubicBezTo>
                      <a:pt x="7393" y="8773"/>
                      <a:pt x="7389" y="8801"/>
                      <a:pt x="7385" y="8828"/>
                    </a:cubicBezTo>
                    <a:cubicBezTo>
                      <a:pt x="7374" y="8834"/>
                      <a:pt x="7362" y="8839"/>
                      <a:pt x="7351" y="8845"/>
                    </a:cubicBezTo>
                    <a:lnTo>
                      <a:pt x="7351" y="8878"/>
                    </a:lnTo>
                    <a:cubicBezTo>
                      <a:pt x="7343" y="8883"/>
                      <a:pt x="7336" y="8889"/>
                      <a:pt x="7328" y="8894"/>
                    </a:cubicBezTo>
                    <a:cubicBezTo>
                      <a:pt x="7313" y="8905"/>
                      <a:pt x="7297" y="8916"/>
                      <a:pt x="7282" y="8927"/>
                    </a:cubicBezTo>
                    <a:lnTo>
                      <a:pt x="7259" y="8927"/>
                    </a:lnTo>
                    <a:cubicBezTo>
                      <a:pt x="7251" y="8933"/>
                      <a:pt x="7244" y="8938"/>
                      <a:pt x="7236" y="8944"/>
                    </a:cubicBezTo>
                    <a:lnTo>
                      <a:pt x="7248" y="8977"/>
                    </a:lnTo>
                    <a:lnTo>
                      <a:pt x="7236" y="9010"/>
                    </a:lnTo>
                    <a:cubicBezTo>
                      <a:pt x="7225" y="9026"/>
                      <a:pt x="7213" y="9043"/>
                      <a:pt x="7202" y="9059"/>
                    </a:cubicBezTo>
                    <a:lnTo>
                      <a:pt x="7179" y="9059"/>
                    </a:lnTo>
                    <a:lnTo>
                      <a:pt x="7179" y="9109"/>
                    </a:lnTo>
                    <a:cubicBezTo>
                      <a:pt x="7175" y="9103"/>
                      <a:pt x="7171" y="9098"/>
                      <a:pt x="7167" y="9092"/>
                    </a:cubicBezTo>
                    <a:cubicBezTo>
                      <a:pt x="7159" y="9098"/>
                      <a:pt x="7152" y="9103"/>
                      <a:pt x="7144" y="9109"/>
                    </a:cubicBezTo>
                    <a:lnTo>
                      <a:pt x="7144" y="9142"/>
                    </a:lnTo>
                    <a:lnTo>
                      <a:pt x="7133" y="9142"/>
                    </a:lnTo>
                    <a:cubicBezTo>
                      <a:pt x="7122" y="9147"/>
                      <a:pt x="7110" y="9153"/>
                      <a:pt x="7099" y="9158"/>
                    </a:cubicBezTo>
                    <a:lnTo>
                      <a:pt x="7087" y="9158"/>
                    </a:lnTo>
                    <a:lnTo>
                      <a:pt x="7064" y="9158"/>
                    </a:lnTo>
                    <a:cubicBezTo>
                      <a:pt x="7041" y="9208"/>
                      <a:pt x="7018" y="9257"/>
                      <a:pt x="6995" y="9307"/>
                    </a:cubicBezTo>
                    <a:lnTo>
                      <a:pt x="6904" y="9373"/>
                    </a:lnTo>
                    <a:cubicBezTo>
                      <a:pt x="6885" y="9367"/>
                      <a:pt x="6865" y="9362"/>
                      <a:pt x="6846" y="9356"/>
                    </a:cubicBezTo>
                    <a:lnTo>
                      <a:pt x="6846" y="9373"/>
                    </a:lnTo>
                    <a:cubicBezTo>
                      <a:pt x="6842" y="9384"/>
                      <a:pt x="6839" y="9395"/>
                      <a:pt x="6835" y="9406"/>
                    </a:cubicBezTo>
                    <a:lnTo>
                      <a:pt x="6812" y="9406"/>
                    </a:lnTo>
                    <a:lnTo>
                      <a:pt x="6800" y="9373"/>
                    </a:lnTo>
                    <a:cubicBezTo>
                      <a:pt x="6793" y="9367"/>
                      <a:pt x="6785" y="9362"/>
                      <a:pt x="6778" y="9356"/>
                    </a:cubicBezTo>
                    <a:cubicBezTo>
                      <a:pt x="6766" y="9362"/>
                      <a:pt x="6755" y="9367"/>
                      <a:pt x="6743" y="9373"/>
                    </a:cubicBezTo>
                    <a:cubicBezTo>
                      <a:pt x="6739" y="9389"/>
                      <a:pt x="6736" y="9406"/>
                      <a:pt x="6732" y="9422"/>
                    </a:cubicBezTo>
                    <a:lnTo>
                      <a:pt x="6720" y="9422"/>
                    </a:lnTo>
                    <a:cubicBezTo>
                      <a:pt x="6712" y="9417"/>
                      <a:pt x="6705" y="9411"/>
                      <a:pt x="6697" y="9406"/>
                    </a:cubicBezTo>
                    <a:lnTo>
                      <a:pt x="6697" y="9373"/>
                    </a:lnTo>
                    <a:lnTo>
                      <a:pt x="6686" y="9373"/>
                    </a:lnTo>
                    <a:lnTo>
                      <a:pt x="6686" y="9422"/>
                    </a:lnTo>
                  </a:path>
                </a:pathLst>
              </a:custGeom>
              <a:solidFill>
                <a:srgbClr val="00B2EA"/>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31" name="Freeform 1068"/>
              <p:cNvSpPr>
                <a:spLocks/>
              </p:cNvSpPr>
              <p:nvPr/>
            </p:nvSpPr>
            <p:spPr bwMode="auto">
              <a:xfrm>
                <a:off x="6562259" y="3207693"/>
                <a:ext cx="103580" cy="135893"/>
              </a:xfrm>
              <a:custGeom>
                <a:avLst/>
                <a:gdLst/>
                <a:ahLst/>
                <a:cxnLst>
                  <a:cxn ang="0">
                    <a:pos x="100" y="67"/>
                  </a:cxn>
                  <a:cxn ang="0">
                    <a:pos x="100" y="25"/>
                  </a:cxn>
                  <a:cxn ang="0">
                    <a:pos x="101" y="25"/>
                  </a:cxn>
                  <a:cxn ang="0">
                    <a:pos x="113" y="10"/>
                  </a:cxn>
                  <a:cxn ang="0">
                    <a:pos x="113" y="9"/>
                  </a:cxn>
                  <a:cxn ang="0">
                    <a:pos x="106" y="9"/>
                  </a:cxn>
                  <a:cxn ang="0">
                    <a:pos x="97" y="6"/>
                  </a:cxn>
                  <a:cxn ang="0">
                    <a:pos x="87" y="7"/>
                  </a:cxn>
                  <a:cxn ang="0">
                    <a:pos x="82" y="12"/>
                  </a:cxn>
                  <a:cxn ang="0">
                    <a:pos x="77" y="15"/>
                  </a:cxn>
                  <a:cxn ang="0">
                    <a:pos x="55" y="12"/>
                  </a:cxn>
                  <a:cxn ang="0">
                    <a:pos x="37" y="0"/>
                  </a:cxn>
                  <a:cxn ang="0">
                    <a:pos x="30" y="0"/>
                  </a:cxn>
                  <a:cxn ang="0">
                    <a:pos x="27" y="0"/>
                  </a:cxn>
                  <a:cxn ang="0">
                    <a:pos x="7" y="0"/>
                  </a:cxn>
                  <a:cxn ang="0">
                    <a:pos x="4" y="2"/>
                  </a:cxn>
                  <a:cxn ang="0">
                    <a:pos x="0" y="7"/>
                  </a:cxn>
                  <a:cxn ang="0">
                    <a:pos x="1" y="7"/>
                  </a:cxn>
                  <a:cxn ang="0">
                    <a:pos x="1" y="7"/>
                  </a:cxn>
                  <a:cxn ang="0">
                    <a:pos x="4" y="9"/>
                  </a:cxn>
                  <a:cxn ang="0">
                    <a:pos x="5" y="9"/>
                  </a:cxn>
                  <a:cxn ang="0">
                    <a:pos x="5" y="10"/>
                  </a:cxn>
                  <a:cxn ang="0">
                    <a:pos x="5" y="12"/>
                  </a:cxn>
                  <a:cxn ang="0">
                    <a:pos x="5" y="12"/>
                  </a:cxn>
                  <a:cxn ang="0">
                    <a:pos x="8" y="20"/>
                  </a:cxn>
                  <a:cxn ang="0">
                    <a:pos x="8" y="22"/>
                  </a:cxn>
                  <a:cxn ang="0">
                    <a:pos x="11" y="23"/>
                  </a:cxn>
                  <a:cxn ang="0">
                    <a:pos x="14" y="26"/>
                  </a:cxn>
                  <a:cxn ang="0">
                    <a:pos x="14" y="39"/>
                  </a:cxn>
                  <a:cxn ang="0">
                    <a:pos x="14" y="44"/>
                  </a:cxn>
                  <a:cxn ang="0">
                    <a:pos x="1" y="61"/>
                  </a:cxn>
                  <a:cxn ang="0">
                    <a:pos x="0" y="66"/>
                  </a:cxn>
                  <a:cxn ang="0">
                    <a:pos x="3" y="68"/>
                  </a:cxn>
                  <a:cxn ang="0">
                    <a:pos x="3" y="70"/>
                  </a:cxn>
                  <a:cxn ang="0">
                    <a:pos x="4" y="70"/>
                  </a:cxn>
                  <a:cxn ang="0">
                    <a:pos x="7" y="68"/>
                  </a:cxn>
                  <a:cxn ang="0">
                    <a:pos x="11" y="68"/>
                  </a:cxn>
                  <a:cxn ang="0">
                    <a:pos x="11" y="70"/>
                  </a:cxn>
                  <a:cxn ang="0">
                    <a:pos x="8" y="71"/>
                  </a:cxn>
                  <a:cxn ang="0">
                    <a:pos x="7" y="73"/>
                  </a:cxn>
                  <a:cxn ang="0">
                    <a:pos x="4" y="73"/>
                  </a:cxn>
                  <a:cxn ang="0">
                    <a:pos x="1" y="76"/>
                  </a:cxn>
                  <a:cxn ang="0">
                    <a:pos x="4" y="79"/>
                  </a:cxn>
                  <a:cxn ang="0">
                    <a:pos x="53" y="108"/>
                  </a:cxn>
                  <a:cxn ang="0">
                    <a:pos x="56" y="118"/>
                  </a:cxn>
                  <a:cxn ang="0">
                    <a:pos x="77" y="131"/>
                  </a:cxn>
                  <a:cxn ang="0">
                    <a:pos x="80" y="129"/>
                  </a:cxn>
                  <a:cxn ang="0">
                    <a:pos x="88" y="111"/>
                  </a:cxn>
                  <a:cxn ang="0">
                    <a:pos x="90" y="106"/>
                  </a:cxn>
                  <a:cxn ang="0">
                    <a:pos x="93" y="102"/>
                  </a:cxn>
                  <a:cxn ang="0">
                    <a:pos x="98" y="99"/>
                  </a:cxn>
                  <a:cxn ang="0">
                    <a:pos x="98" y="96"/>
                  </a:cxn>
                  <a:cxn ang="0">
                    <a:pos x="101" y="93"/>
                  </a:cxn>
                  <a:cxn ang="0">
                    <a:pos x="103" y="93"/>
                  </a:cxn>
                  <a:cxn ang="0">
                    <a:pos x="104" y="92"/>
                  </a:cxn>
                  <a:cxn ang="0">
                    <a:pos x="107" y="90"/>
                  </a:cxn>
                  <a:cxn ang="0">
                    <a:pos x="109" y="89"/>
                  </a:cxn>
                  <a:cxn ang="0">
                    <a:pos x="109" y="87"/>
                  </a:cxn>
                  <a:cxn ang="0">
                    <a:pos x="100" y="77"/>
                  </a:cxn>
                  <a:cxn ang="0">
                    <a:pos x="100" y="67"/>
                  </a:cxn>
                </a:cxnLst>
                <a:rect l="0" t="0" r="r" b="b"/>
                <a:pathLst>
                  <a:path w="113" h="131">
                    <a:moveTo>
                      <a:pt x="100" y="67"/>
                    </a:moveTo>
                    <a:lnTo>
                      <a:pt x="100" y="25"/>
                    </a:lnTo>
                    <a:lnTo>
                      <a:pt x="101" y="25"/>
                    </a:lnTo>
                    <a:lnTo>
                      <a:pt x="113" y="10"/>
                    </a:lnTo>
                    <a:lnTo>
                      <a:pt x="113" y="9"/>
                    </a:lnTo>
                    <a:lnTo>
                      <a:pt x="106" y="9"/>
                    </a:lnTo>
                    <a:lnTo>
                      <a:pt x="97" y="6"/>
                    </a:lnTo>
                    <a:lnTo>
                      <a:pt x="87" y="7"/>
                    </a:lnTo>
                    <a:lnTo>
                      <a:pt x="82" y="12"/>
                    </a:lnTo>
                    <a:lnTo>
                      <a:pt x="77" y="15"/>
                    </a:lnTo>
                    <a:lnTo>
                      <a:pt x="55" y="12"/>
                    </a:lnTo>
                    <a:lnTo>
                      <a:pt x="37" y="0"/>
                    </a:lnTo>
                    <a:lnTo>
                      <a:pt x="30" y="0"/>
                    </a:lnTo>
                    <a:lnTo>
                      <a:pt x="27" y="0"/>
                    </a:lnTo>
                    <a:lnTo>
                      <a:pt x="7" y="0"/>
                    </a:lnTo>
                    <a:lnTo>
                      <a:pt x="4" y="2"/>
                    </a:lnTo>
                    <a:lnTo>
                      <a:pt x="0" y="7"/>
                    </a:lnTo>
                    <a:lnTo>
                      <a:pt x="1" y="7"/>
                    </a:lnTo>
                    <a:lnTo>
                      <a:pt x="1" y="7"/>
                    </a:lnTo>
                    <a:lnTo>
                      <a:pt x="4" y="9"/>
                    </a:lnTo>
                    <a:lnTo>
                      <a:pt x="5" y="9"/>
                    </a:lnTo>
                    <a:lnTo>
                      <a:pt x="5" y="10"/>
                    </a:lnTo>
                    <a:lnTo>
                      <a:pt x="5" y="12"/>
                    </a:lnTo>
                    <a:lnTo>
                      <a:pt x="5" y="12"/>
                    </a:lnTo>
                    <a:lnTo>
                      <a:pt x="8" y="20"/>
                    </a:lnTo>
                    <a:lnTo>
                      <a:pt x="8" y="22"/>
                    </a:lnTo>
                    <a:lnTo>
                      <a:pt x="11" y="23"/>
                    </a:lnTo>
                    <a:lnTo>
                      <a:pt x="14" y="26"/>
                    </a:lnTo>
                    <a:lnTo>
                      <a:pt x="14" y="39"/>
                    </a:lnTo>
                    <a:lnTo>
                      <a:pt x="14" y="44"/>
                    </a:lnTo>
                    <a:lnTo>
                      <a:pt x="1" y="61"/>
                    </a:lnTo>
                    <a:lnTo>
                      <a:pt x="0" y="66"/>
                    </a:lnTo>
                    <a:lnTo>
                      <a:pt x="3" y="68"/>
                    </a:lnTo>
                    <a:lnTo>
                      <a:pt x="3" y="70"/>
                    </a:lnTo>
                    <a:lnTo>
                      <a:pt x="4" y="70"/>
                    </a:lnTo>
                    <a:lnTo>
                      <a:pt x="7" y="68"/>
                    </a:lnTo>
                    <a:lnTo>
                      <a:pt x="11" y="68"/>
                    </a:lnTo>
                    <a:lnTo>
                      <a:pt x="11" y="70"/>
                    </a:lnTo>
                    <a:lnTo>
                      <a:pt x="8" y="71"/>
                    </a:lnTo>
                    <a:lnTo>
                      <a:pt x="7" y="73"/>
                    </a:lnTo>
                    <a:lnTo>
                      <a:pt x="4" y="73"/>
                    </a:lnTo>
                    <a:lnTo>
                      <a:pt x="1" y="76"/>
                    </a:lnTo>
                    <a:lnTo>
                      <a:pt x="4" y="79"/>
                    </a:lnTo>
                    <a:lnTo>
                      <a:pt x="53" y="108"/>
                    </a:lnTo>
                    <a:lnTo>
                      <a:pt x="56" y="118"/>
                    </a:lnTo>
                    <a:lnTo>
                      <a:pt x="77" y="131"/>
                    </a:lnTo>
                    <a:lnTo>
                      <a:pt x="80" y="129"/>
                    </a:lnTo>
                    <a:lnTo>
                      <a:pt x="88" y="111"/>
                    </a:lnTo>
                    <a:lnTo>
                      <a:pt x="90" y="106"/>
                    </a:lnTo>
                    <a:lnTo>
                      <a:pt x="93" y="102"/>
                    </a:lnTo>
                    <a:lnTo>
                      <a:pt x="98" y="99"/>
                    </a:lnTo>
                    <a:lnTo>
                      <a:pt x="98" y="96"/>
                    </a:lnTo>
                    <a:lnTo>
                      <a:pt x="101" y="93"/>
                    </a:lnTo>
                    <a:lnTo>
                      <a:pt x="103" y="93"/>
                    </a:lnTo>
                    <a:lnTo>
                      <a:pt x="104" y="92"/>
                    </a:lnTo>
                    <a:lnTo>
                      <a:pt x="107" y="90"/>
                    </a:lnTo>
                    <a:lnTo>
                      <a:pt x="109" y="89"/>
                    </a:lnTo>
                    <a:lnTo>
                      <a:pt x="109" y="87"/>
                    </a:lnTo>
                    <a:lnTo>
                      <a:pt x="100" y="77"/>
                    </a:lnTo>
                    <a:lnTo>
                      <a:pt x="100" y="67"/>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32" name="Freeform 1069"/>
              <p:cNvSpPr>
                <a:spLocks/>
              </p:cNvSpPr>
              <p:nvPr/>
            </p:nvSpPr>
            <p:spPr bwMode="auto">
              <a:xfrm>
                <a:off x="6562259" y="3207693"/>
                <a:ext cx="103580" cy="135893"/>
              </a:xfrm>
              <a:custGeom>
                <a:avLst/>
                <a:gdLst/>
                <a:ahLst/>
                <a:cxnLst>
                  <a:cxn ang="0">
                    <a:pos x="100" y="67"/>
                  </a:cxn>
                  <a:cxn ang="0">
                    <a:pos x="100" y="25"/>
                  </a:cxn>
                  <a:cxn ang="0">
                    <a:pos x="101" y="25"/>
                  </a:cxn>
                  <a:cxn ang="0">
                    <a:pos x="113" y="10"/>
                  </a:cxn>
                  <a:cxn ang="0">
                    <a:pos x="113" y="9"/>
                  </a:cxn>
                  <a:cxn ang="0">
                    <a:pos x="106" y="9"/>
                  </a:cxn>
                  <a:cxn ang="0">
                    <a:pos x="97" y="6"/>
                  </a:cxn>
                  <a:cxn ang="0">
                    <a:pos x="87" y="7"/>
                  </a:cxn>
                  <a:cxn ang="0">
                    <a:pos x="82" y="12"/>
                  </a:cxn>
                  <a:cxn ang="0">
                    <a:pos x="77" y="15"/>
                  </a:cxn>
                  <a:cxn ang="0">
                    <a:pos x="55" y="12"/>
                  </a:cxn>
                  <a:cxn ang="0">
                    <a:pos x="37" y="0"/>
                  </a:cxn>
                  <a:cxn ang="0">
                    <a:pos x="30" y="0"/>
                  </a:cxn>
                  <a:cxn ang="0">
                    <a:pos x="27" y="0"/>
                  </a:cxn>
                  <a:cxn ang="0">
                    <a:pos x="7" y="0"/>
                  </a:cxn>
                  <a:cxn ang="0">
                    <a:pos x="4" y="2"/>
                  </a:cxn>
                  <a:cxn ang="0">
                    <a:pos x="0" y="7"/>
                  </a:cxn>
                  <a:cxn ang="0">
                    <a:pos x="1" y="7"/>
                  </a:cxn>
                  <a:cxn ang="0">
                    <a:pos x="1" y="7"/>
                  </a:cxn>
                  <a:cxn ang="0">
                    <a:pos x="4" y="9"/>
                  </a:cxn>
                  <a:cxn ang="0">
                    <a:pos x="5" y="9"/>
                  </a:cxn>
                  <a:cxn ang="0">
                    <a:pos x="5" y="10"/>
                  </a:cxn>
                  <a:cxn ang="0">
                    <a:pos x="5" y="12"/>
                  </a:cxn>
                  <a:cxn ang="0">
                    <a:pos x="5" y="12"/>
                  </a:cxn>
                  <a:cxn ang="0">
                    <a:pos x="8" y="20"/>
                  </a:cxn>
                  <a:cxn ang="0">
                    <a:pos x="8" y="22"/>
                  </a:cxn>
                  <a:cxn ang="0">
                    <a:pos x="11" y="23"/>
                  </a:cxn>
                  <a:cxn ang="0">
                    <a:pos x="14" y="26"/>
                  </a:cxn>
                  <a:cxn ang="0">
                    <a:pos x="14" y="39"/>
                  </a:cxn>
                  <a:cxn ang="0">
                    <a:pos x="14" y="44"/>
                  </a:cxn>
                  <a:cxn ang="0">
                    <a:pos x="1" y="61"/>
                  </a:cxn>
                  <a:cxn ang="0">
                    <a:pos x="0" y="66"/>
                  </a:cxn>
                  <a:cxn ang="0">
                    <a:pos x="3" y="68"/>
                  </a:cxn>
                  <a:cxn ang="0">
                    <a:pos x="3" y="70"/>
                  </a:cxn>
                  <a:cxn ang="0">
                    <a:pos x="4" y="70"/>
                  </a:cxn>
                  <a:cxn ang="0">
                    <a:pos x="7" y="68"/>
                  </a:cxn>
                  <a:cxn ang="0">
                    <a:pos x="11" y="68"/>
                  </a:cxn>
                  <a:cxn ang="0">
                    <a:pos x="11" y="70"/>
                  </a:cxn>
                  <a:cxn ang="0">
                    <a:pos x="8" y="71"/>
                  </a:cxn>
                  <a:cxn ang="0">
                    <a:pos x="7" y="73"/>
                  </a:cxn>
                  <a:cxn ang="0">
                    <a:pos x="4" y="73"/>
                  </a:cxn>
                  <a:cxn ang="0">
                    <a:pos x="1" y="76"/>
                  </a:cxn>
                  <a:cxn ang="0">
                    <a:pos x="4" y="79"/>
                  </a:cxn>
                  <a:cxn ang="0">
                    <a:pos x="53" y="108"/>
                  </a:cxn>
                  <a:cxn ang="0">
                    <a:pos x="56" y="118"/>
                  </a:cxn>
                  <a:cxn ang="0">
                    <a:pos x="77" y="131"/>
                  </a:cxn>
                  <a:cxn ang="0">
                    <a:pos x="80" y="129"/>
                  </a:cxn>
                  <a:cxn ang="0">
                    <a:pos x="88" y="111"/>
                  </a:cxn>
                  <a:cxn ang="0">
                    <a:pos x="90" y="106"/>
                  </a:cxn>
                  <a:cxn ang="0">
                    <a:pos x="93" y="102"/>
                  </a:cxn>
                  <a:cxn ang="0">
                    <a:pos x="98" y="99"/>
                  </a:cxn>
                  <a:cxn ang="0">
                    <a:pos x="98" y="96"/>
                  </a:cxn>
                  <a:cxn ang="0">
                    <a:pos x="101" y="93"/>
                  </a:cxn>
                  <a:cxn ang="0">
                    <a:pos x="103" y="93"/>
                  </a:cxn>
                  <a:cxn ang="0">
                    <a:pos x="104" y="92"/>
                  </a:cxn>
                  <a:cxn ang="0">
                    <a:pos x="107" y="90"/>
                  </a:cxn>
                  <a:cxn ang="0">
                    <a:pos x="109" y="89"/>
                  </a:cxn>
                  <a:cxn ang="0">
                    <a:pos x="109" y="87"/>
                  </a:cxn>
                  <a:cxn ang="0">
                    <a:pos x="100" y="77"/>
                  </a:cxn>
                  <a:cxn ang="0">
                    <a:pos x="100" y="67"/>
                  </a:cxn>
                </a:cxnLst>
                <a:rect l="0" t="0" r="r" b="b"/>
                <a:pathLst>
                  <a:path w="113" h="131">
                    <a:moveTo>
                      <a:pt x="100" y="67"/>
                    </a:moveTo>
                    <a:lnTo>
                      <a:pt x="100" y="25"/>
                    </a:lnTo>
                    <a:lnTo>
                      <a:pt x="101" y="25"/>
                    </a:lnTo>
                    <a:lnTo>
                      <a:pt x="113" y="10"/>
                    </a:lnTo>
                    <a:lnTo>
                      <a:pt x="113" y="9"/>
                    </a:lnTo>
                    <a:lnTo>
                      <a:pt x="106" y="9"/>
                    </a:lnTo>
                    <a:lnTo>
                      <a:pt x="97" y="6"/>
                    </a:lnTo>
                    <a:lnTo>
                      <a:pt x="87" y="7"/>
                    </a:lnTo>
                    <a:lnTo>
                      <a:pt x="82" y="12"/>
                    </a:lnTo>
                    <a:lnTo>
                      <a:pt x="77" y="15"/>
                    </a:lnTo>
                    <a:lnTo>
                      <a:pt x="55" y="12"/>
                    </a:lnTo>
                    <a:lnTo>
                      <a:pt x="37" y="0"/>
                    </a:lnTo>
                    <a:lnTo>
                      <a:pt x="30" y="0"/>
                    </a:lnTo>
                    <a:lnTo>
                      <a:pt x="27" y="0"/>
                    </a:lnTo>
                    <a:lnTo>
                      <a:pt x="7" y="0"/>
                    </a:lnTo>
                    <a:lnTo>
                      <a:pt x="4" y="2"/>
                    </a:lnTo>
                    <a:lnTo>
                      <a:pt x="0" y="7"/>
                    </a:lnTo>
                    <a:lnTo>
                      <a:pt x="1" y="7"/>
                    </a:lnTo>
                    <a:lnTo>
                      <a:pt x="1" y="7"/>
                    </a:lnTo>
                    <a:lnTo>
                      <a:pt x="4" y="9"/>
                    </a:lnTo>
                    <a:lnTo>
                      <a:pt x="5" y="9"/>
                    </a:lnTo>
                    <a:lnTo>
                      <a:pt x="5" y="10"/>
                    </a:lnTo>
                    <a:lnTo>
                      <a:pt x="5" y="12"/>
                    </a:lnTo>
                    <a:lnTo>
                      <a:pt x="5" y="12"/>
                    </a:lnTo>
                    <a:lnTo>
                      <a:pt x="8" y="20"/>
                    </a:lnTo>
                    <a:lnTo>
                      <a:pt x="8" y="22"/>
                    </a:lnTo>
                    <a:lnTo>
                      <a:pt x="11" y="23"/>
                    </a:lnTo>
                    <a:lnTo>
                      <a:pt x="14" y="26"/>
                    </a:lnTo>
                    <a:lnTo>
                      <a:pt x="14" y="39"/>
                    </a:lnTo>
                    <a:lnTo>
                      <a:pt x="14" y="44"/>
                    </a:lnTo>
                    <a:lnTo>
                      <a:pt x="1" y="61"/>
                    </a:lnTo>
                    <a:lnTo>
                      <a:pt x="0" y="66"/>
                    </a:lnTo>
                    <a:lnTo>
                      <a:pt x="3" y="68"/>
                    </a:lnTo>
                    <a:lnTo>
                      <a:pt x="3" y="70"/>
                    </a:lnTo>
                    <a:lnTo>
                      <a:pt x="4" y="70"/>
                    </a:lnTo>
                    <a:lnTo>
                      <a:pt x="7" y="68"/>
                    </a:lnTo>
                    <a:lnTo>
                      <a:pt x="11" y="68"/>
                    </a:lnTo>
                    <a:lnTo>
                      <a:pt x="11" y="70"/>
                    </a:lnTo>
                    <a:lnTo>
                      <a:pt x="8" y="71"/>
                    </a:lnTo>
                    <a:lnTo>
                      <a:pt x="7" y="73"/>
                    </a:lnTo>
                    <a:lnTo>
                      <a:pt x="4" y="73"/>
                    </a:lnTo>
                    <a:lnTo>
                      <a:pt x="1" y="76"/>
                    </a:lnTo>
                    <a:lnTo>
                      <a:pt x="4" y="79"/>
                    </a:lnTo>
                    <a:lnTo>
                      <a:pt x="53" y="108"/>
                    </a:lnTo>
                    <a:lnTo>
                      <a:pt x="56" y="118"/>
                    </a:lnTo>
                    <a:lnTo>
                      <a:pt x="77" y="131"/>
                    </a:lnTo>
                    <a:lnTo>
                      <a:pt x="80" y="129"/>
                    </a:lnTo>
                    <a:lnTo>
                      <a:pt x="88" y="111"/>
                    </a:lnTo>
                    <a:lnTo>
                      <a:pt x="90" y="106"/>
                    </a:lnTo>
                    <a:lnTo>
                      <a:pt x="93" y="102"/>
                    </a:lnTo>
                    <a:lnTo>
                      <a:pt x="98" y="99"/>
                    </a:lnTo>
                    <a:lnTo>
                      <a:pt x="98" y="96"/>
                    </a:lnTo>
                    <a:lnTo>
                      <a:pt x="101" y="93"/>
                    </a:lnTo>
                    <a:lnTo>
                      <a:pt x="103" y="93"/>
                    </a:lnTo>
                    <a:lnTo>
                      <a:pt x="104" y="92"/>
                    </a:lnTo>
                    <a:lnTo>
                      <a:pt x="107" y="90"/>
                    </a:lnTo>
                    <a:lnTo>
                      <a:pt x="109" y="89"/>
                    </a:lnTo>
                    <a:lnTo>
                      <a:pt x="109" y="87"/>
                    </a:lnTo>
                    <a:lnTo>
                      <a:pt x="100" y="77"/>
                    </a:lnTo>
                    <a:lnTo>
                      <a:pt x="100" y="67"/>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33" name="Freeform 1070"/>
              <p:cNvSpPr>
                <a:spLocks/>
              </p:cNvSpPr>
              <p:nvPr/>
            </p:nvSpPr>
            <p:spPr bwMode="auto">
              <a:xfrm>
                <a:off x="6849299" y="2516054"/>
                <a:ext cx="223839" cy="166317"/>
              </a:xfrm>
              <a:custGeom>
                <a:avLst/>
                <a:gdLst/>
                <a:ahLst/>
                <a:cxnLst>
                  <a:cxn ang="0">
                    <a:pos x="15" y="86"/>
                  </a:cxn>
                  <a:cxn ang="0">
                    <a:pos x="15" y="79"/>
                  </a:cxn>
                  <a:cxn ang="0">
                    <a:pos x="16" y="71"/>
                  </a:cxn>
                  <a:cxn ang="0">
                    <a:pos x="26" y="67"/>
                  </a:cxn>
                  <a:cxn ang="0">
                    <a:pos x="29" y="63"/>
                  </a:cxn>
                  <a:cxn ang="0">
                    <a:pos x="34" y="61"/>
                  </a:cxn>
                  <a:cxn ang="0">
                    <a:pos x="35" y="58"/>
                  </a:cxn>
                  <a:cxn ang="0">
                    <a:pos x="48" y="65"/>
                  </a:cxn>
                  <a:cxn ang="0">
                    <a:pos x="55" y="67"/>
                  </a:cxn>
                  <a:cxn ang="0">
                    <a:pos x="57" y="73"/>
                  </a:cxn>
                  <a:cxn ang="0">
                    <a:pos x="58" y="77"/>
                  </a:cxn>
                  <a:cxn ang="0">
                    <a:pos x="58" y="83"/>
                  </a:cxn>
                  <a:cxn ang="0">
                    <a:pos x="77" y="87"/>
                  </a:cxn>
                  <a:cxn ang="0">
                    <a:pos x="86" y="89"/>
                  </a:cxn>
                  <a:cxn ang="0">
                    <a:pos x="87" y="97"/>
                  </a:cxn>
                  <a:cxn ang="0">
                    <a:pos x="92" y="106"/>
                  </a:cxn>
                  <a:cxn ang="0">
                    <a:pos x="119" y="128"/>
                  </a:cxn>
                  <a:cxn ang="0">
                    <a:pos x="140" y="140"/>
                  </a:cxn>
                  <a:cxn ang="0">
                    <a:pos x="148" y="144"/>
                  </a:cxn>
                  <a:cxn ang="0">
                    <a:pos x="150" y="158"/>
                  </a:cxn>
                  <a:cxn ang="0">
                    <a:pos x="160" y="158"/>
                  </a:cxn>
                  <a:cxn ang="0">
                    <a:pos x="167" y="158"/>
                  </a:cxn>
                  <a:cxn ang="0">
                    <a:pos x="173" y="147"/>
                  </a:cxn>
                  <a:cxn ang="0">
                    <a:pos x="176" y="142"/>
                  </a:cxn>
                  <a:cxn ang="0">
                    <a:pos x="173" y="138"/>
                  </a:cxn>
                  <a:cxn ang="0">
                    <a:pos x="173" y="128"/>
                  </a:cxn>
                  <a:cxn ang="0">
                    <a:pos x="166" y="126"/>
                  </a:cxn>
                  <a:cxn ang="0">
                    <a:pos x="164" y="121"/>
                  </a:cxn>
                  <a:cxn ang="0">
                    <a:pos x="169" y="115"/>
                  </a:cxn>
                  <a:cxn ang="0">
                    <a:pos x="179" y="116"/>
                  </a:cxn>
                  <a:cxn ang="0">
                    <a:pos x="183" y="108"/>
                  </a:cxn>
                  <a:cxn ang="0">
                    <a:pos x="190" y="103"/>
                  </a:cxn>
                  <a:cxn ang="0">
                    <a:pos x="190" y="99"/>
                  </a:cxn>
                  <a:cxn ang="0">
                    <a:pos x="193" y="96"/>
                  </a:cxn>
                  <a:cxn ang="0">
                    <a:pos x="205" y="90"/>
                  </a:cxn>
                  <a:cxn ang="0">
                    <a:pos x="208" y="92"/>
                  </a:cxn>
                  <a:cxn ang="0">
                    <a:pos x="209" y="97"/>
                  </a:cxn>
                  <a:cxn ang="0">
                    <a:pos x="208" y="105"/>
                  </a:cxn>
                  <a:cxn ang="0">
                    <a:pos x="218" y="103"/>
                  </a:cxn>
                  <a:cxn ang="0">
                    <a:pos x="228" y="103"/>
                  </a:cxn>
                  <a:cxn ang="0">
                    <a:pos x="233" y="100"/>
                  </a:cxn>
                  <a:cxn ang="0">
                    <a:pos x="238" y="99"/>
                  </a:cxn>
                  <a:cxn ang="0">
                    <a:pos x="244" y="93"/>
                  </a:cxn>
                  <a:cxn ang="0">
                    <a:pos x="235" y="92"/>
                  </a:cxn>
                  <a:cxn ang="0">
                    <a:pos x="225" y="86"/>
                  </a:cxn>
                  <a:cxn ang="0">
                    <a:pos x="222" y="80"/>
                  </a:cxn>
                  <a:cxn ang="0">
                    <a:pos x="218" y="87"/>
                  </a:cxn>
                  <a:cxn ang="0">
                    <a:pos x="209" y="81"/>
                  </a:cxn>
                  <a:cxn ang="0">
                    <a:pos x="204" y="81"/>
                  </a:cxn>
                  <a:cxn ang="0">
                    <a:pos x="217" y="68"/>
                  </a:cxn>
                  <a:cxn ang="0">
                    <a:pos x="211" y="67"/>
                  </a:cxn>
                  <a:cxn ang="0">
                    <a:pos x="205" y="70"/>
                  </a:cxn>
                  <a:cxn ang="0">
                    <a:pos x="192" y="80"/>
                  </a:cxn>
                  <a:cxn ang="0">
                    <a:pos x="185" y="87"/>
                  </a:cxn>
                  <a:cxn ang="0">
                    <a:pos x="156" y="86"/>
                  </a:cxn>
                  <a:cxn ang="0">
                    <a:pos x="144" y="65"/>
                  </a:cxn>
                  <a:cxn ang="0">
                    <a:pos x="143" y="54"/>
                  </a:cxn>
                  <a:cxn ang="0">
                    <a:pos x="124" y="39"/>
                  </a:cxn>
                  <a:cxn ang="0">
                    <a:pos x="0" y="13"/>
                  </a:cxn>
                </a:cxnLst>
                <a:rect l="0" t="0" r="r" b="b"/>
                <a:pathLst>
                  <a:path w="244" h="160">
                    <a:moveTo>
                      <a:pt x="0" y="13"/>
                    </a:moveTo>
                    <a:lnTo>
                      <a:pt x="0" y="84"/>
                    </a:lnTo>
                    <a:lnTo>
                      <a:pt x="15" y="86"/>
                    </a:lnTo>
                    <a:lnTo>
                      <a:pt x="16" y="84"/>
                    </a:lnTo>
                    <a:lnTo>
                      <a:pt x="15" y="81"/>
                    </a:lnTo>
                    <a:lnTo>
                      <a:pt x="15" y="79"/>
                    </a:lnTo>
                    <a:lnTo>
                      <a:pt x="13" y="74"/>
                    </a:lnTo>
                    <a:lnTo>
                      <a:pt x="15" y="73"/>
                    </a:lnTo>
                    <a:lnTo>
                      <a:pt x="16" y="71"/>
                    </a:lnTo>
                    <a:lnTo>
                      <a:pt x="19" y="68"/>
                    </a:lnTo>
                    <a:lnTo>
                      <a:pt x="25" y="67"/>
                    </a:lnTo>
                    <a:lnTo>
                      <a:pt x="26" y="67"/>
                    </a:lnTo>
                    <a:lnTo>
                      <a:pt x="28" y="65"/>
                    </a:lnTo>
                    <a:lnTo>
                      <a:pt x="28" y="63"/>
                    </a:lnTo>
                    <a:lnTo>
                      <a:pt x="29" y="63"/>
                    </a:lnTo>
                    <a:lnTo>
                      <a:pt x="34" y="64"/>
                    </a:lnTo>
                    <a:lnTo>
                      <a:pt x="35" y="65"/>
                    </a:lnTo>
                    <a:lnTo>
                      <a:pt x="34" y="61"/>
                    </a:lnTo>
                    <a:lnTo>
                      <a:pt x="31" y="60"/>
                    </a:lnTo>
                    <a:lnTo>
                      <a:pt x="34" y="58"/>
                    </a:lnTo>
                    <a:lnTo>
                      <a:pt x="35" y="58"/>
                    </a:lnTo>
                    <a:lnTo>
                      <a:pt x="37" y="58"/>
                    </a:lnTo>
                    <a:lnTo>
                      <a:pt x="38" y="57"/>
                    </a:lnTo>
                    <a:lnTo>
                      <a:pt x="48" y="65"/>
                    </a:lnTo>
                    <a:lnTo>
                      <a:pt x="50" y="65"/>
                    </a:lnTo>
                    <a:lnTo>
                      <a:pt x="53" y="65"/>
                    </a:lnTo>
                    <a:lnTo>
                      <a:pt x="55" y="67"/>
                    </a:lnTo>
                    <a:lnTo>
                      <a:pt x="57" y="68"/>
                    </a:lnTo>
                    <a:lnTo>
                      <a:pt x="57" y="70"/>
                    </a:lnTo>
                    <a:lnTo>
                      <a:pt x="57" y="73"/>
                    </a:lnTo>
                    <a:lnTo>
                      <a:pt x="60" y="74"/>
                    </a:lnTo>
                    <a:lnTo>
                      <a:pt x="58" y="76"/>
                    </a:lnTo>
                    <a:lnTo>
                      <a:pt x="58" y="77"/>
                    </a:lnTo>
                    <a:lnTo>
                      <a:pt x="58" y="80"/>
                    </a:lnTo>
                    <a:lnTo>
                      <a:pt x="58" y="81"/>
                    </a:lnTo>
                    <a:lnTo>
                      <a:pt x="58" y="83"/>
                    </a:lnTo>
                    <a:lnTo>
                      <a:pt x="63" y="86"/>
                    </a:lnTo>
                    <a:lnTo>
                      <a:pt x="76" y="87"/>
                    </a:lnTo>
                    <a:lnTo>
                      <a:pt x="77" y="87"/>
                    </a:lnTo>
                    <a:lnTo>
                      <a:pt x="77" y="84"/>
                    </a:lnTo>
                    <a:lnTo>
                      <a:pt x="80" y="84"/>
                    </a:lnTo>
                    <a:lnTo>
                      <a:pt x="86" y="89"/>
                    </a:lnTo>
                    <a:lnTo>
                      <a:pt x="86" y="92"/>
                    </a:lnTo>
                    <a:lnTo>
                      <a:pt x="87" y="96"/>
                    </a:lnTo>
                    <a:lnTo>
                      <a:pt x="87" y="97"/>
                    </a:lnTo>
                    <a:lnTo>
                      <a:pt x="92" y="100"/>
                    </a:lnTo>
                    <a:lnTo>
                      <a:pt x="92" y="105"/>
                    </a:lnTo>
                    <a:lnTo>
                      <a:pt x="92" y="106"/>
                    </a:lnTo>
                    <a:lnTo>
                      <a:pt x="95" y="112"/>
                    </a:lnTo>
                    <a:lnTo>
                      <a:pt x="115" y="126"/>
                    </a:lnTo>
                    <a:lnTo>
                      <a:pt x="119" y="128"/>
                    </a:lnTo>
                    <a:lnTo>
                      <a:pt x="135" y="141"/>
                    </a:lnTo>
                    <a:lnTo>
                      <a:pt x="137" y="141"/>
                    </a:lnTo>
                    <a:lnTo>
                      <a:pt x="140" y="140"/>
                    </a:lnTo>
                    <a:lnTo>
                      <a:pt x="141" y="140"/>
                    </a:lnTo>
                    <a:lnTo>
                      <a:pt x="147" y="142"/>
                    </a:lnTo>
                    <a:lnTo>
                      <a:pt x="148" y="144"/>
                    </a:lnTo>
                    <a:lnTo>
                      <a:pt x="151" y="147"/>
                    </a:lnTo>
                    <a:lnTo>
                      <a:pt x="150" y="150"/>
                    </a:lnTo>
                    <a:lnTo>
                      <a:pt x="150" y="158"/>
                    </a:lnTo>
                    <a:lnTo>
                      <a:pt x="150" y="158"/>
                    </a:lnTo>
                    <a:lnTo>
                      <a:pt x="157" y="157"/>
                    </a:lnTo>
                    <a:lnTo>
                      <a:pt x="160" y="158"/>
                    </a:lnTo>
                    <a:lnTo>
                      <a:pt x="161" y="160"/>
                    </a:lnTo>
                    <a:lnTo>
                      <a:pt x="163" y="158"/>
                    </a:lnTo>
                    <a:lnTo>
                      <a:pt x="167" y="158"/>
                    </a:lnTo>
                    <a:lnTo>
                      <a:pt x="169" y="158"/>
                    </a:lnTo>
                    <a:lnTo>
                      <a:pt x="167" y="156"/>
                    </a:lnTo>
                    <a:lnTo>
                      <a:pt x="173" y="147"/>
                    </a:lnTo>
                    <a:lnTo>
                      <a:pt x="174" y="145"/>
                    </a:lnTo>
                    <a:lnTo>
                      <a:pt x="176" y="144"/>
                    </a:lnTo>
                    <a:lnTo>
                      <a:pt x="176" y="142"/>
                    </a:lnTo>
                    <a:lnTo>
                      <a:pt x="176" y="141"/>
                    </a:lnTo>
                    <a:lnTo>
                      <a:pt x="174" y="140"/>
                    </a:lnTo>
                    <a:lnTo>
                      <a:pt x="173" y="138"/>
                    </a:lnTo>
                    <a:lnTo>
                      <a:pt x="172" y="134"/>
                    </a:lnTo>
                    <a:lnTo>
                      <a:pt x="173" y="129"/>
                    </a:lnTo>
                    <a:lnTo>
                      <a:pt x="173" y="128"/>
                    </a:lnTo>
                    <a:lnTo>
                      <a:pt x="170" y="126"/>
                    </a:lnTo>
                    <a:lnTo>
                      <a:pt x="169" y="126"/>
                    </a:lnTo>
                    <a:lnTo>
                      <a:pt x="166" y="126"/>
                    </a:lnTo>
                    <a:lnTo>
                      <a:pt x="166" y="125"/>
                    </a:lnTo>
                    <a:lnTo>
                      <a:pt x="161" y="122"/>
                    </a:lnTo>
                    <a:lnTo>
                      <a:pt x="164" y="121"/>
                    </a:lnTo>
                    <a:lnTo>
                      <a:pt x="163" y="118"/>
                    </a:lnTo>
                    <a:lnTo>
                      <a:pt x="164" y="116"/>
                    </a:lnTo>
                    <a:lnTo>
                      <a:pt x="169" y="115"/>
                    </a:lnTo>
                    <a:lnTo>
                      <a:pt x="170" y="116"/>
                    </a:lnTo>
                    <a:lnTo>
                      <a:pt x="176" y="118"/>
                    </a:lnTo>
                    <a:lnTo>
                      <a:pt x="179" y="116"/>
                    </a:lnTo>
                    <a:lnTo>
                      <a:pt x="182" y="110"/>
                    </a:lnTo>
                    <a:lnTo>
                      <a:pt x="182" y="109"/>
                    </a:lnTo>
                    <a:lnTo>
                      <a:pt x="183" y="108"/>
                    </a:lnTo>
                    <a:lnTo>
                      <a:pt x="188" y="106"/>
                    </a:lnTo>
                    <a:lnTo>
                      <a:pt x="189" y="105"/>
                    </a:lnTo>
                    <a:lnTo>
                      <a:pt x="190" y="103"/>
                    </a:lnTo>
                    <a:lnTo>
                      <a:pt x="189" y="102"/>
                    </a:lnTo>
                    <a:lnTo>
                      <a:pt x="189" y="99"/>
                    </a:lnTo>
                    <a:lnTo>
                      <a:pt x="190" y="99"/>
                    </a:lnTo>
                    <a:lnTo>
                      <a:pt x="190" y="96"/>
                    </a:lnTo>
                    <a:lnTo>
                      <a:pt x="192" y="95"/>
                    </a:lnTo>
                    <a:lnTo>
                      <a:pt x="193" y="96"/>
                    </a:lnTo>
                    <a:lnTo>
                      <a:pt x="196" y="96"/>
                    </a:lnTo>
                    <a:lnTo>
                      <a:pt x="204" y="92"/>
                    </a:lnTo>
                    <a:lnTo>
                      <a:pt x="205" y="90"/>
                    </a:lnTo>
                    <a:lnTo>
                      <a:pt x="206" y="89"/>
                    </a:lnTo>
                    <a:lnTo>
                      <a:pt x="208" y="89"/>
                    </a:lnTo>
                    <a:lnTo>
                      <a:pt x="208" y="92"/>
                    </a:lnTo>
                    <a:lnTo>
                      <a:pt x="209" y="93"/>
                    </a:lnTo>
                    <a:lnTo>
                      <a:pt x="209" y="95"/>
                    </a:lnTo>
                    <a:lnTo>
                      <a:pt x="209" y="97"/>
                    </a:lnTo>
                    <a:lnTo>
                      <a:pt x="206" y="97"/>
                    </a:lnTo>
                    <a:lnTo>
                      <a:pt x="205" y="99"/>
                    </a:lnTo>
                    <a:lnTo>
                      <a:pt x="208" y="105"/>
                    </a:lnTo>
                    <a:lnTo>
                      <a:pt x="209" y="105"/>
                    </a:lnTo>
                    <a:lnTo>
                      <a:pt x="212" y="103"/>
                    </a:lnTo>
                    <a:lnTo>
                      <a:pt x="218" y="103"/>
                    </a:lnTo>
                    <a:lnTo>
                      <a:pt x="222" y="105"/>
                    </a:lnTo>
                    <a:lnTo>
                      <a:pt x="227" y="105"/>
                    </a:lnTo>
                    <a:lnTo>
                      <a:pt x="228" y="103"/>
                    </a:lnTo>
                    <a:lnTo>
                      <a:pt x="228" y="102"/>
                    </a:lnTo>
                    <a:lnTo>
                      <a:pt x="231" y="100"/>
                    </a:lnTo>
                    <a:lnTo>
                      <a:pt x="233" y="100"/>
                    </a:lnTo>
                    <a:lnTo>
                      <a:pt x="234" y="99"/>
                    </a:lnTo>
                    <a:lnTo>
                      <a:pt x="235" y="99"/>
                    </a:lnTo>
                    <a:lnTo>
                      <a:pt x="238" y="99"/>
                    </a:lnTo>
                    <a:lnTo>
                      <a:pt x="238" y="96"/>
                    </a:lnTo>
                    <a:lnTo>
                      <a:pt x="243" y="95"/>
                    </a:lnTo>
                    <a:lnTo>
                      <a:pt x="244" y="93"/>
                    </a:lnTo>
                    <a:lnTo>
                      <a:pt x="243" y="93"/>
                    </a:lnTo>
                    <a:lnTo>
                      <a:pt x="240" y="93"/>
                    </a:lnTo>
                    <a:lnTo>
                      <a:pt x="235" y="92"/>
                    </a:lnTo>
                    <a:lnTo>
                      <a:pt x="233" y="89"/>
                    </a:lnTo>
                    <a:lnTo>
                      <a:pt x="231" y="89"/>
                    </a:lnTo>
                    <a:lnTo>
                      <a:pt x="225" y="86"/>
                    </a:lnTo>
                    <a:lnTo>
                      <a:pt x="225" y="83"/>
                    </a:lnTo>
                    <a:lnTo>
                      <a:pt x="224" y="81"/>
                    </a:lnTo>
                    <a:lnTo>
                      <a:pt x="222" y="80"/>
                    </a:lnTo>
                    <a:lnTo>
                      <a:pt x="221" y="84"/>
                    </a:lnTo>
                    <a:lnTo>
                      <a:pt x="219" y="86"/>
                    </a:lnTo>
                    <a:lnTo>
                      <a:pt x="218" y="87"/>
                    </a:lnTo>
                    <a:lnTo>
                      <a:pt x="217" y="87"/>
                    </a:lnTo>
                    <a:lnTo>
                      <a:pt x="211" y="86"/>
                    </a:lnTo>
                    <a:lnTo>
                      <a:pt x="209" y="81"/>
                    </a:lnTo>
                    <a:lnTo>
                      <a:pt x="206" y="83"/>
                    </a:lnTo>
                    <a:lnTo>
                      <a:pt x="205" y="81"/>
                    </a:lnTo>
                    <a:lnTo>
                      <a:pt x="204" y="81"/>
                    </a:lnTo>
                    <a:lnTo>
                      <a:pt x="204" y="79"/>
                    </a:lnTo>
                    <a:lnTo>
                      <a:pt x="212" y="70"/>
                    </a:lnTo>
                    <a:lnTo>
                      <a:pt x="217" y="68"/>
                    </a:lnTo>
                    <a:lnTo>
                      <a:pt x="217" y="67"/>
                    </a:lnTo>
                    <a:lnTo>
                      <a:pt x="212" y="65"/>
                    </a:lnTo>
                    <a:lnTo>
                      <a:pt x="211" y="67"/>
                    </a:lnTo>
                    <a:lnTo>
                      <a:pt x="208" y="70"/>
                    </a:lnTo>
                    <a:lnTo>
                      <a:pt x="206" y="70"/>
                    </a:lnTo>
                    <a:lnTo>
                      <a:pt x="205" y="70"/>
                    </a:lnTo>
                    <a:lnTo>
                      <a:pt x="204" y="74"/>
                    </a:lnTo>
                    <a:lnTo>
                      <a:pt x="201" y="76"/>
                    </a:lnTo>
                    <a:lnTo>
                      <a:pt x="192" y="80"/>
                    </a:lnTo>
                    <a:lnTo>
                      <a:pt x="190" y="81"/>
                    </a:lnTo>
                    <a:lnTo>
                      <a:pt x="186" y="83"/>
                    </a:lnTo>
                    <a:lnTo>
                      <a:pt x="185" y="87"/>
                    </a:lnTo>
                    <a:lnTo>
                      <a:pt x="182" y="90"/>
                    </a:lnTo>
                    <a:lnTo>
                      <a:pt x="170" y="84"/>
                    </a:lnTo>
                    <a:lnTo>
                      <a:pt x="156" y="86"/>
                    </a:lnTo>
                    <a:lnTo>
                      <a:pt x="153" y="74"/>
                    </a:lnTo>
                    <a:lnTo>
                      <a:pt x="144" y="73"/>
                    </a:lnTo>
                    <a:lnTo>
                      <a:pt x="144" y="65"/>
                    </a:lnTo>
                    <a:lnTo>
                      <a:pt x="145" y="65"/>
                    </a:lnTo>
                    <a:lnTo>
                      <a:pt x="145" y="54"/>
                    </a:lnTo>
                    <a:lnTo>
                      <a:pt x="143" y="54"/>
                    </a:lnTo>
                    <a:lnTo>
                      <a:pt x="138" y="45"/>
                    </a:lnTo>
                    <a:lnTo>
                      <a:pt x="128" y="38"/>
                    </a:lnTo>
                    <a:lnTo>
                      <a:pt x="124" y="39"/>
                    </a:lnTo>
                    <a:lnTo>
                      <a:pt x="86" y="42"/>
                    </a:lnTo>
                    <a:lnTo>
                      <a:pt x="37" y="0"/>
                    </a:lnTo>
                    <a:lnTo>
                      <a:pt x="0" y="1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34" name="Freeform 1071"/>
              <p:cNvSpPr>
                <a:spLocks/>
              </p:cNvSpPr>
              <p:nvPr/>
            </p:nvSpPr>
            <p:spPr bwMode="auto">
              <a:xfrm>
                <a:off x="6849299" y="2516054"/>
                <a:ext cx="223839" cy="166317"/>
              </a:xfrm>
              <a:custGeom>
                <a:avLst/>
                <a:gdLst/>
                <a:ahLst/>
                <a:cxnLst>
                  <a:cxn ang="0">
                    <a:pos x="15" y="86"/>
                  </a:cxn>
                  <a:cxn ang="0">
                    <a:pos x="15" y="79"/>
                  </a:cxn>
                  <a:cxn ang="0">
                    <a:pos x="16" y="71"/>
                  </a:cxn>
                  <a:cxn ang="0">
                    <a:pos x="26" y="67"/>
                  </a:cxn>
                  <a:cxn ang="0">
                    <a:pos x="29" y="63"/>
                  </a:cxn>
                  <a:cxn ang="0">
                    <a:pos x="34" y="61"/>
                  </a:cxn>
                  <a:cxn ang="0">
                    <a:pos x="35" y="58"/>
                  </a:cxn>
                  <a:cxn ang="0">
                    <a:pos x="48" y="65"/>
                  </a:cxn>
                  <a:cxn ang="0">
                    <a:pos x="55" y="67"/>
                  </a:cxn>
                  <a:cxn ang="0">
                    <a:pos x="57" y="73"/>
                  </a:cxn>
                  <a:cxn ang="0">
                    <a:pos x="58" y="77"/>
                  </a:cxn>
                  <a:cxn ang="0">
                    <a:pos x="58" y="83"/>
                  </a:cxn>
                  <a:cxn ang="0">
                    <a:pos x="77" y="87"/>
                  </a:cxn>
                  <a:cxn ang="0">
                    <a:pos x="86" y="89"/>
                  </a:cxn>
                  <a:cxn ang="0">
                    <a:pos x="87" y="97"/>
                  </a:cxn>
                  <a:cxn ang="0">
                    <a:pos x="92" y="106"/>
                  </a:cxn>
                  <a:cxn ang="0">
                    <a:pos x="119" y="128"/>
                  </a:cxn>
                  <a:cxn ang="0">
                    <a:pos x="140" y="140"/>
                  </a:cxn>
                  <a:cxn ang="0">
                    <a:pos x="148" y="144"/>
                  </a:cxn>
                  <a:cxn ang="0">
                    <a:pos x="150" y="158"/>
                  </a:cxn>
                  <a:cxn ang="0">
                    <a:pos x="160" y="158"/>
                  </a:cxn>
                  <a:cxn ang="0">
                    <a:pos x="167" y="158"/>
                  </a:cxn>
                  <a:cxn ang="0">
                    <a:pos x="173" y="147"/>
                  </a:cxn>
                  <a:cxn ang="0">
                    <a:pos x="176" y="142"/>
                  </a:cxn>
                  <a:cxn ang="0">
                    <a:pos x="173" y="138"/>
                  </a:cxn>
                  <a:cxn ang="0">
                    <a:pos x="173" y="128"/>
                  </a:cxn>
                  <a:cxn ang="0">
                    <a:pos x="166" y="126"/>
                  </a:cxn>
                  <a:cxn ang="0">
                    <a:pos x="164" y="121"/>
                  </a:cxn>
                  <a:cxn ang="0">
                    <a:pos x="169" y="115"/>
                  </a:cxn>
                  <a:cxn ang="0">
                    <a:pos x="179" y="116"/>
                  </a:cxn>
                  <a:cxn ang="0">
                    <a:pos x="183" y="108"/>
                  </a:cxn>
                  <a:cxn ang="0">
                    <a:pos x="190" y="103"/>
                  </a:cxn>
                  <a:cxn ang="0">
                    <a:pos x="190" y="99"/>
                  </a:cxn>
                  <a:cxn ang="0">
                    <a:pos x="193" y="96"/>
                  </a:cxn>
                  <a:cxn ang="0">
                    <a:pos x="205" y="90"/>
                  </a:cxn>
                  <a:cxn ang="0">
                    <a:pos x="208" y="92"/>
                  </a:cxn>
                  <a:cxn ang="0">
                    <a:pos x="209" y="97"/>
                  </a:cxn>
                  <a:cxn ang="0">
                    <a:pos x="208" y="105"/>
                  </a:cxn>
                  <a:cxn ang="0">
                    <a:pos x="218" y="103"/>
                  </a:cxn>
                  <a:cxn ang="0">
                    <a:pos x="228" y="103"/>
                  </a:cxn>
                  <a:cxn ang="0">
                    <a:pos x="233" y="100"/>
                  </a:cxn>
                  <a:cxn ang="0">
                    <a:pos x="238" y="99"/>
                  </a:cxn>
                  <a:cxn ang="0">
                    <a:pos x="244" y="93"/>
                  </a:cxn>
                  <a:cxn ang="0">
                    <a:pos x="235" y="92"/>
                  </a:cxn>
                  <a:cxn ang="0">
                    <a:pos x="225" y="86"/>
                  </a:cxn>
                  <a:cxn ang="0">
                    <a:pos x="222" y="80"/>
                  </a:cxn>
                  <a:cxn ang="0">
                    <a:pos x="218" y="87"/>
                  </a:cxn>
                  <a:cxn ang="0">
                    <a:pos x="209" y="81"/>
                  </a:cxn>
                  <a:cxn ang="0">
                    <a:pos x="204" y="81"/>
                  </a:cxn>
                  <a:cxn ang="0">
                    <a:pos x="217" y="68"/>
                  </a:cxn>
                  <a:cxn ang="0">
                    <a:pos x="211" y="67"/>
                  </a:cxn>
                  <a:cxn ang="0">
                    <a:pos x="205" y="70"/>
                  </a:cxn>
                  <a:cxn ang="0">
                    <a:pos x="192" y="80"/>
                  </a:cxn>
                  <a:cxn ang="0">
                    <a:pos x="185" y="87"/>
                  </a:cxn>
                  <a:cxn ang="0">
                    <a:pos x="156" y="86"/>
                  </a:cxn>
                  <a:cxn ang="0">
                    <a:pos x="144" y="65"/>
                  </a:cxn>
                  <a:cxn ang="0">
                    <a:pos x="143" y="54"/>
                  </a:cxn>
                  <a:cxn ang="0">
                    <a:pos x="124" y="39"/>
                  </a:cxn>
                  <a:cxn ang="0">
                    <a:pos x="0" y="13"/>
                  </a:cxn>
                </a:cxnLst>
                <a:rect l="0" t="0" r="r" b="b"/>
                <a:pathLst>
                  <a:path w="244" h="160">
                    <a:moveTo>
                      <a:pt x="0" y="13"/>
                    </a:moveTo>
                    <a:lnTo>
                      <a:pt x="0" y="84"/>
                    </a:lnTo>
                    <a:lnTo>
                      <a:pt x="15" y="86"/>
                    </a:lnTo>
                    <a:lnTo>
                      <a:pt x="16" y="84"/>
                    </a:lnTo>
                    <a:lnTo>
                      <a:pt x="15" y="81"/>
                    </a:lnTo>
                    <a:lnTo>
                      <a:pt x="15" y="79"/>
                    </a:lnTo>
                    <a:lnTo>
                      <a:pt x="13" y="74"/>
                    </a:lnTo>
                    <a:lnTo>
                      <a:pt x="15" y="73"/>
                    </a:lnTo>
                    <a:lnTo>
                      <a:pt x="16" y="71"/>
                    </a:lnTo>
                    <a:lnTo>
                      <a:pt x="19" y="68"/>
                    </a:lnTo>
                    <a:lnTo>
                      <a:pt x="25" y="67"/>
                    </a:lnTo>
                    <a:lnTo>
                      <a:pt x="26" y="67"/>
                    </a:lnTo>
                    <a:lnTo>
                      <a:pt x="28" y="65"/>
                    </a:lnTo>
                    <a:lnTo>
                      <a:pt x="28" y="63"/>
                    </a:lnTo>
                    <a:lnTo>
                      <a:pt x="29" y="63"/>
                    </a:lnTo>
                    <a:lnTo>
                      <a:pt x="34" y="64"/>
                    </a:lnTo>
                    <a:lnTo>
                      <a:pt x="35" y="65"/>
                    </a:lnTo>
                    <a:lnTo>
                      <a:pt x="34" y="61"/>
                    </a:lnTo>
                    <a:lnTo>
                      <a:pt x="31" y="60"/>
                    </a:lnTo>
                    <a:lnTo>
                      <a:pt x="34" y="58"/>
                    </a:lnTo>
                    <a:lnTo>
                      <a:pt x="35" y="58"/>
                    </a:lnTo>
                    <a:lnTo>
                      <a:pt x="37" y="58"/>
                    </a:lnTo>
                    <a:lnTo>
                      <a:pt x="38" y="57"/>
                    </a:lnTo>
                    <a:lnTo>
                      <a:pt x="48" y="65"/>
                    </a:lnTo>
                    <a:lnTo>
                      <a:pt x="50" y="65"/>
                    </a:lnTo>
                    <a:lnTo>
                      <a:pt x="53" y="65"/>
                    </a:lnTo>
                    <a:lnTo>
                      <a:pt x="55" y="67"/>
                    </a:lnTo>
                    <a:lnTo>
                      <a:pt x="57" y="68"/>
                    </a:lnTo>
                    <a:lnTo>
                      <a:pt x="57" y="70"/>
                    </a:lnTo>
                    <a:lnTo>
                      <a:pt x="57" y="73"/>
                    </a:lnTo>
                    <a:lnTo>
                      <a:pt x="60" y="74"/>
                    </a:lnTo>
                    <a:lnTo>
                      <a:pt x="58" y="76"/>
                    </a:lnTo>
                    <a:lnTo>
                      <a:pt x="58" y="77"/>
                    </a:lnTo>
                    <a:lnTo>
                      <a:pt x="58" y="80"/>
                    </a:lnTo>
                    <a:lnTo>
                      <a:pt x="58" y="81"/>
                    </a:lnTo>
                    <a:lnTo>
                      <a:pt x="58" y="83"/>
                    </a:lnTo>
                    <a:lnTo>
                      <a:pt x="63" y="86"/>
                    </a:lnTo>
                    <a:lnTo>
                      <a:pt x="76" y="87"/>
                    </a:lnTo>
                    <a:lnTo>
                      <a:pt x="77" y="87"/>
                    </a:lnTo>
                    <a:lnTo>
                      <a:pt x="77" y="84"/>
                    </a:lnTo>
                    <a:lnTo>
                      <a:pt x="80" y="84"/>
                    </a:lnTo>
                    <a:lnTo>
                      <a:pt x="86" y="89"/>
                    </a:lnTo>
                    <a:lnTo>
                      <a:pt x="86" y="92"/>
                    </a:lnTo>
                    <a:lnTo>
                      <a:pt x="87" y="96"/>
                    </a:lnTo>
                    <a:lnTo>
                      <a:pt x="87" y="97"/>
                    </a:lnTo>
                    <a:lnTo>
                      <a:pt x="92" y="100"/>
                    </a:lnTo>
                    <a:lnTo>
                      <a:pt x="92" y="105"/>
                    </a:lnTo>
                    <a:lnTo>
                      <a:pt x="92" y="106"/>
                    </a:lnTo>
                    <a:lnTo>
                      <a:pt x="95" y="112"/>
                    </a:lnTo>
                    <a:lnTo>
                      <a:pt x="115" y="126"/>
                    </a:lnTo>
                    <a:lnTo>
                      <a:pt x="119" y="128"/>
                    </a:lnTo>
                    <a:lnTo>
                      <a:pt x="135" y="141"/>
                    </a:lnTo>
                    <a:lnTo>
                      <a:pt x="137" y="141"/>
                    </a:lnTo>
                    <a:lnTo>
                      <a:pt x="140" y="140"/>
                    </a:lnTo>
                    <a:lnTo>
                      <a:pt x="141" y="140"/>
                    </a:lnTo>
                    <a:lnTo>
                      <a:pt x="147" y="142"/>
                    </a:lnTo>
                    <a:lnTo>
                      <a:pt x="148" y="144"/>
                    </a:lnTo>
                    <a:lnTo>
                      <a:pt x="151" y="147"/>
                    </a:lnTo>
                    <a:lnTo>
                      <a:pt x="150" y="150"/>
                    </a:lnTo>
                    <a:lnTo>
                      <a:pt x="150" y="158"/>
                    </a:lnTo>
                    <a:lnTo>
                      <a:pt x="150" y="158"/>
                    </a:lnTo>
                    <a:lnTo>
                      <a:pt x="157" y="157"/>
                    </a:lnTo>
                    <a:lnTo>
                      <a:pt x="160" y="158"/>
                    </a:lnTo>
                    <a:lnTo>
                      <a:pt x="161" y="160"/>
                    </a:lnTo>
                    <a:lnTo>
                      <a:pt x="163" y="158"/>
                    </a:lnTo>
                    <a:lnTo>
                      <a:pt x="167" y="158"/>
                    </a:lnTo>
                    <a:lnTo>
                      <a:pt x="169" y="158"/>
                    </a:lnTo>
                    <a:lnTo>
                      <a:pt x="167" y="156"/>
                    </a:lnTo>
                    <a:lnTo>
                      <a:pt x="173" y="147"/>
                    </a:lnTo>
                    <a:lnTo>
                      <a:pt x="174" y="145"/>
                    </a:lnTo>
                    <a:lnTo>
                      <a:pt x="176" y="144"/>
                    </a:lnTo>
                    <a:lnTo>
                      <a:pt x="176" y="142"/>
                    </a:lnTo>
                    <a:lnTo>
                      <a:pt x="176" y="141"/>
                    </a:lnTo>
                    <a:lnTo>
                      <a:pt x="174" y="140"/>
                    </a:lnTo>
                    <a:lnTo>
                      <a:pt x="173" y="138"/>
                    </a:lnTo>
                    <a:lnTo>
                      <a:pt x="172" y="134"/>
                    </a:lnTo>
                    <a:lnTo>
                      <a:pt x="173" y="129"/>
                    </a:lnTo>
                    <a:lnTo>
                      <a:pt x="173" y="128"/>
                    </a:lnTo>
                    <a:lnTo>
                      <a:pt x="170" y="126"/>
                    </a:lnTo>
                    <a:lnTo>
                      <a:pt x="169" y="126"/>
                    </a:lnTo>
                    <a:lnTo>
                      <a:pt x="166" y="126"/>
                    </a:lnTo>
                    <a:lnTo>
                      <a:pt x="166" y="125"/>
                    </a:lnTo>
                    <a:lnTo>
                      <a:pt x="161" y="122"/>
                    </a:lnTo>
                    <a:lnTo>
                      <a:pt x="164" y="121"/>
                    </a:lnTo>
                    <a:lnTo>
                      <a:pt x="163" y="118"/>
                    </a:lnTo>
                    <a:lnTo>
                      <a:pt x="164" y="116"/>
                    </a:lnTo>
                    <a:lnTo>
                      <a:pt x="169" y="115"/>
                    </a:lnTo>
                    <a:lnTo>
                      <a:pt x="170" y="116"/>
                    </a:lnTo>
                    <a:lnTo>
                      <a:pt x="176" y="118"/>
                    </a:lnTo>
                    <a:lnTo>
                      <a:pt x="179" y="116"/>
                    </a:lnTo>
                    <a:lnTo>
                      <a:pt x="182" y="110"/>
                    </a:lnTo>
                    <a:lnTo>
                      <a:pt x="182" y="109"/>
                    </a:lnTo>
                    <a:lnTo>
                      <a:pt x="183" y="108"/>
                    </a:lnTo>
                    <a:lnTo>
                      <a:pt x="188" y="106"/>
                    </a:lnTo>
                    <a:lnTo>
                      <a:pt x="189" y="105"/>
                    </a:lnTo>
                    <a:lnTo>
                      <a:pt x="190" y="103"/>
                    </a:lnTo>
                    <a:lnTo>
                      <a:pt x="189" y="102"/>
                    </a:lnTo>
                    <a:lnTo>
                      <a:pt x="189" y="99"/>
                    </a:lnTo>
                    <a:lnTo>
                      <a:pt x="190" y="99"/>
                    </a:lnTo>
                    <a:lnTo>
                      <a:pt x="190" y="96"/>
                    </a:lnTo>
                    <a:lnTo>
                      <a:pt x="192" y="95"/>
                    </a:lnTo>
                    <a:lnTo>
                      <a:pt x="193" y="96"/>
                    </a:lnTo>
                    <a:lnTo>
                      <a:pt x="196" y="96"/>
                    </a:lnTo>
                    <a:lnTo>
                      <a:pt x="204" y="92"/>
                    </a:lnTo>
                    <a:lnTo>
                      <a:pt x="205" y="90"/>
                    </a:lnTo>
                    <a:lnTo>
                      <a:pt x="206" y="89"/>
                    </a:lnTo>
                    <a:lnTo>
                      <a:pt x="208" y="89"/>
                    </a:lnTo>
                    <a:lnTo>
                      <a:pt x="208" y="92"/>
                    </a:lnTo>
                    <a:lnTo>
                      <a:pt x="209" y="93"/>
                    </a:lnTo>
                    <a:lnTo>
                      <a:pt x="209" y="95"/>
                    </a:lnTo>
                    <a:lnTo>
                      <a:pt x="209" y="97"/>
                    </a:lnTo>
                    <a:lnTo>
                      <a:pt x="206" y="97"/>
                    </a:lnTo>
                    <a:lnTo>
                      <a:pt x="205" y="99"/>
                    </a:lnTo>
                    <a:lnTo>
                      <a:pt x="208" y="105"/>
                    </a:lnTo>
                    <a:lnTo>
                      <a:pt x="209" y="105"/>
                    </a:lnTo>
                    <a:lnTo>
                      <a:pt x="212" y="103"/>
                    </a:lnTo>
                    <a:lnTo>
                      <a:pt x="218" y="103"/>
                    </a:lnTo>
                    <a:lnTo>
                      <a:pt x="222" y="105"/>
                    </a:lnTo>
                    <a:lnTo>
                      <a:pt x="227" y="105"/>
                    </a:lnTo>
                    <a:lnTo>
                      <a:pt x="228" y="103"/>
                    </a:lnTo>
                    <a:lnTo>
                      <a:pt x="228" y="102"/>
                    </a:lnTo>
                    <a:lnTo>
                      <a:pt x="231" y="100"/>
                    </a:lnTo>
                    <a:lnTo>
                      <a:pt x="233" y="100"/>
                    </a:lnTo>
                    <a:lnTo>
                      <a:pt x="234" y="99"/>
                    </a:lnTo>
                    <a:lnTo>
                      <a:pt x="235" y="99"/>
                    </a:lnTo>
                    <a:lnTo>
                      <a:pt x="238" y="99"/>
                    </a:lnTo>
                    <a:lnTo>
                      <a:pt x="238" y="96"/>
                    </a:lnTo>
                    <a:lnTo>
                      <a:pt x="243" y="95"/>
                    </a:lnTo>
                    <a:lnTo>
                      <a:pt x="244" y="93"/>
                    </a:lnTo>
                    <a:lnTo>
                      <a:pt x="243" y="93"/>
                    </a:lnTo>
                    <a:lnTo>
                      <a:pt x="240" y="93"/>
                    </a:lnTo>
                    <a:lnTo>
                      <a:pt x="235" y="92"/>
                    </a:lnTo>
                    <a:lnTo>
                      <a:pt x="233" y="89"/>
                    </a:lnTo>
                    <a:lnTo>
                      <a:pt x="231" y="89"/>
                    </a:lnTo>
                    <a:lnTo>
                      <a:pt x="225" y="86"/>
                    </a:lnTo>
                    <a:lnTo>
                      <a:pt x="225" y="83"/>
                    </a:lnTo>
                    <a:lnTo>
                      <a:pt x="224" y="81"/>
                    </a:lnTo>
                    <a:lnTo>
                      <a:pt x="222" y="80"/>
                    </a:lnTo>
                    <a:lnTo>
                      <a:pt x="221" y="84"/>
                    </a:lnTo>
                    <a:lnTo>
                      <a:pt x="219" y="86"/>
                    </a:lnTo>
                    <a:lnTo>
                      <a:pt x="218" y="87"/>
                    </a:lnTo>
                    <a:lnTo>
                      <a:pt x="217" y="87"/>
                    </a:lnTo>
                    <a:lnTo>
                      <a:pt x="211" y="86"/>
                    </a:lnTo>
                    <a:lnTo>
                      <a:pt x="209" y="81"/>
                    </a:lnTo>
                    <a:lnTo>
                      <a:pt x="206" y="83"/>
                    </a:lnTo>
                    <a:lnTo>
                      <a:pt x="205" y="81"/>
                    </a:lnTo>
                    <a:lnTo>
                      <a:pt x="204" y="81"/>
                    </a:lnTo>
                    <a:lnTo>
                      <a:pt x="204" y="79"/>
                    </a:lnTo>
                    <a:lnTo>
                      <a:pt x="212" y="70"/>
                    </a:lnTo>
                    <a:lnTo>
                      <a:pt x="217" y="68"/>
                    </a:lnTo>
                    <a:lnTo>
                      <a:pt x="217" y="67"/>
                    </a:lnTo>
                    <a:lnTo>
                      <a:pt x="212" y="65"/>
                    </a:lnTo>
                    <a:lnTo>
                      <a:pt x="211" y="67"/>
                    </a:lnTo>
                    <a:lnTo>
                      <a:pt x="208" y="70"/>
                    </a:lnTo>
                    <a:lnTo>
                      <a:pt x="206" y="70"/>
                    </a:lnTo>
                    <a:lnTo>
                      <a:pt x="205" y="70"/>
                    </a:lnTo>
                    <a:lnTo>
                      <a:pt x="204" y="74"/>
                    </a:lnTo>
                    <a:lnTo>
                      <a:pt x="201" y="76"/>
                    </a:lnTo>
                    <a:lnTo>
                      <a:pt x="192" y="80"/>
                    </a:lnTo>
                    <a:lnTo>
                      <a:pt x="190" y="81"/>
                    </a:lnTo>
                    <a:lnTo>
                      <a:pt x="186" y="83"/>
                    </a:lnTo>
                    <a:lnTo>
                      <a:pt x="185" y="87"/>
                    </a:lnTo>
                    <a:lnTo>
                      <a:pt x="182" y="90"/>
                    </a:lnTo>
                    <a:lnTo>
                      <a:pt x="170" y="84"/>
                    </a:lnTo>
                    <a:lnTo>
                      <a:pt x="156" y="86"/>
                    </a:lnTo>
                    <a:lnTo>
                      <a:pt x="153" y="74"/>
                    </a:lnTo>
                    <a:lnTo>
                      <a:pt x="144" y="73"/>
                    </a:lnTo>
                    <a:lnTo>
                      <a:pt x="144" y="65"/>
                    </a:lnTo>
                    <a:lnTo>
                      <a:pt x="145" y="65"/>
                    </a:lnTo>
                    <a:lnTo>
                      <a:pt x="145" y="54"/>
                    </a:lnTo>
                    <a:lnTo>
                      <a:pt x="143" y="54"/>
                    </a:lnTo>
                    <a:lnTo>
                      <a:pt x="138" y="45"/>
                    </a:lnTo>
                    <a:lnTo>
                      <a:pt x="128" y="38"/>
                    </a:lnTo>
                    <a:lnTo>
                      <a:pt x="124" y="39"/>
                    </a:lnTo>
                    <a:lnTo>
                      <a:pt x="86" y="42"/>
                    </a:lnTo>
                    <a:lnTo>
                      <a:pt x="37" y="0"/>
                    </a:lnTo>
                    <a:lnTo>
                      <a:pt x="0" y="1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35" name="Freeform 1072"/>
              <p:cNvSpPr>
                <a:spLocks/>
              </p:cNvSpPr>
              <p:nvPr/>
            </p:nvSpPr>
            <p:spPr bwMode="auto">
              <a:xfrm>
                <a:off x="5192012" y="2073893"/>
                <a:ext cx="7901" cy="8113"/>
              </a:xfrm>
              <a:custGeom>
                <a:avLst/>
                <a:gdLst/>
                <a:ahLst/>
                <a:cxnLst>
                  <a:cxn ang="0">
                    <a:pos x="0" y="0"/>
                  </a:cxn>
                  <a:cxn ang="0">
                    <a:pos x="1" y="0"/>
                  </a:cxn>
                  <a:cxn ang="0">
                    <a:pos x="3" y="1"/>
                  </a:cxn>
                  <a:cxn ang="0">
                    <a:pos x="7" y="3"/>
                  </a:cxn>
                  <a:cxn ang="0">
                    <a:pos x="8" y="4"/>
                  </a:cxn>
                  <a:cxn ang="0">
                    <a:pos x="8" y="6"/>
                  </a:cxn>
                  <a:cxn ang="0">
                    <a:pos x="5" y="7"/>
                  </a:cxn>
                  <a:cxn ang="0">
                    <a:pos x="3" y="6"/>
                  </a:cxn>
                  <a:cxn ang="0">
                    <a:pos x="1" y="4"/>
                  </a:cxn>
                  <a:cxn ang="0">
                    <a:pos x="0" y="1"/>
                  </a:cxn>
                  <a:cxn ang="0">
                    <a:pos x="0" y="0"/>
                  </a:cxn>
                </a:cxnLst>
                <a:rect l="0" t="0" r="r" b="b"/>
                <a:pathLst>
                  <a:path w="8" h="7">
                    <a:moveTo>
                      <a:pt x="0" y="0"/>
                    </a:moveTo>
                    <a:lnTo>
                      <a:pt x="1" y="0"/>
                    </a:lnTo>
                    <a:lnTo>
                      <a:pt x="3" y="1"/>
                    </a:lnTo>
                    <a:lnTo>
                      <a:pt x="7" y="3"/>
                    </a:lnTo>
                    <a:lnTo>
                      <a:pt x="8" y="4"/>
                    </a:lnTo>
                    <a:lnTo>
                      <a:pt x="8" y="6"/>
                    </a:lnTo>
                    <a:lnTo>
                      <a:pt x="5" y="7"/>
                    </a:lnTo>
                    <a:lnTo>
                      <a:pt x="3" y="6"/>
                    </a:lnTo>
                    <a:lnTo>
                      <a:pt x="1" y="4"/>
                    </a:lnTo>
                    <a:lnTo>
                      <a:pt x="0" y="1"/>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36" name="Freeform 1073"/>
              <p:cNvSpPr>
                <a:spLocks/>
              </p:cNvSpPr>
              <p:nvPr/>
            </p:nvSpPr>
            <p:spPr bwMode="auto">
              <a:xfrm>
                <a:off x="5192012" y="2073893"/>
                <a:ext cx="7901" cy="8113"/>
              </a:xfrm>
              <a:custGeom>
                <a:avLst/>
                <a:gdLst/>
                <a:ahLst/>
                <a:cxnLst>
                  <a:cxn ang="0">
                    <a:pos x="0" y="0"/>
                  </a:cxn>
                  <a:cxn ang="0">
                    <a:pos x="1" y="0"/>
                  </a:cxn>
                  <a:cxn ang="0">
                    <a:pos x="3" y="1"/>
                  </a:cxn>
                  <a:cxn ang="0">
                    <a:pos x="7" y="3"/>
                  </a:cxn>
                  <a:cxn ang="0">
                    <a:pos x="8" y="4"/>
                  </a:cxn>
                  <a:cxn ang="0">
                    <a:pos x="8" y="6"/>
                  </a:cxn>
                  <a:cxn ang="0">
                    <a:pos x="5" y="7"/>
                  </a:cxn>
                  <a:cxn ang="0">
                    <a:pos x="3" y="6"/>
                  </a:cxn>
                  <a:cxn ang="0">
                    <a:pos x="1" y="4"/>
                  </a:cxn>
                  <a:cxn ang="0">
                    <a:pos x="0" y="1"/>
                  </a:cxn>
                  <a:cxn ang="0">
                    <a:pos x="0" y="0"/>
                  </a:cxn>
                </a:cxnLst>
                <a:rect l="0" t="0" r="r" b="b"/>
                <a:pathLst>
                  <a:path w="8" h="7">
                    <a:moveTo>
                      <a:pt x="0" y="0"/>
                    </a:moveTo>
                    <a:lnTo>
                      <a:pt x="1" y="0"/>
                    </a:lnTo>
                    <a:lnTo>
                      <a:pt x="3" y="1"/>
                    </a:lnTo>
                    <a:lnTo>
                      <a:pt x="7" y="3"/>
                    </a:lnTo>
                    <a:lnTo>
                      <a:pt x="8" y="4"/>
                    </a:lnTo>
                    <a:lnTo>
                      <a:pt x="8" y="6"/>
                    </a:lnTo>
                    <a:lnTo>
                      <a:pt x="5" y="7"/>
                    </a:lnTo>
                    <a:lnTo>
                      <a:pt x="3" y="6"/>
                    </a:lnTo>
                    <a:lnTo>
                      <a:pt x="1" y="4"/>
                    </a:lnTo>
                    <a:lnTo>
                      <a:pt x="0" y="1"/>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37" name="Freeform 1074"/>
              <p:cNvSpPr>
                <a:spLocks/>
              </p:cNvSpPr>
              <p:nvPr/>
            </p:nvSpPr>
            <p:spPr bwMode="auto">
              <a:xfrm>
                <a:off x="6412154" y="2545464"/>
                <a:ext cx="80758" cy="59834"/>
              </a:xfrm>
              <a:custGeom>
                <a:avLst/>
                <a:gdLst/>
                <a:ahLst/>
                <a:cxnLst>
                  <a:cxn ang="0">
                    <a:pos x="7" y="55"/>
                  </a:cxn>
                  <a:cxn ang="0">
                    <a:pos x="5" y="42"/>
                  </a:cxn>
                  <a:cxn ang="0">
                    <a:pos x="0" y="38"/>
                  </a:cxn>
                  <a:cxn ang="0">
                    <a:pos x="0" y="32"/>
                  </a:cxn>
                  <a:cxn ang="0">
                    <a:pos x="2" y="25"/>
                  </a:cxn>
                  <a:cxn ang="0">
                    <a:pos x="5" y="22"/>
                  </a:cxn>
                  <a:cxn ang="0">
                    <a:pos x="0" y="13"/>
                  </a:cxn>
                  <a:cxn ang="0">
                    <a:pos x="0" y="3"/>
                  </a:cxn>
                  <a:cxn ang="0">
                    <a:pos x="4" y="0"/>
                  </a:cxn>
                  <a:cxn ang="0">
                    <a:pos x="7" y="2"/>
                  </a:cxn>
                  <a:cxn ang="0">
                    <a:pos x="5" y="6"/>
                  </a:cxn>
                  <a:cxn ang="0">
                    <a:pos x="8" y="7"/>
                  </a:cxn>
                  <a:cxn ang="0">
                    <a:pos x="43" y="10"/>
                  </a:cxn>
                  <a:cxn ang="0">
                    <a:pos x="63" y="2"/>
                  </a:cxn>
                  <a:cxn ang="0">
                    <a:pos x="69" y="2"/>
                  </a:cxn>
                  <a:cxn ang="0">
                    <a:pos x="71" y="3"/>
                  </a:cxn>
                  <a:cxn ang="0">
                    <a:pos x="78" y="6"/>
                  </a:cxn>
                  <a:cxn ang="0">
                    <a:pos x="84" y="9"/>
                  </a:cxn>
                  <a:cxn ang="0">
                    <a:pos x="88" y="9"/>
                  </a:cxn>
                  <a:cxn ang="0">
                    <a:pos x="88" y="13"/>
                  </a:cxn>
                  <a:cxn ang="0">
                    <a:pos x="87" y="16"/>
                  </a:cxn>
                  <a:cxn ang="0">
                    <a:pos x="81" y="18"/>
                  </a:cxn>
                  <a:cxn ang="0">
                    <a:pos x="78" y="20"/>
                  </a:cxn>
                  <a:cxn ang="0">
                    <a:pos x="78" y="29"/>
                  </a:cxn>
                  <a:cxn ang="0">
                    <a:pos x="77" y="29"/>
                  </a:cxn>
                  <a:cxn ang="0">
                    <a:pos x="75" y="31"/>
                  </a:cxn>
                  <a:cxn ang="0">
                    <a:pos x="72" y="34"/>
                  </a:cxn>
                  <a:cxn ang="0">
                    <a:pos x="74" y="35"/>
                  </a:cxn>
                  <a:cxn ang="0">
                    <a:pos x="74" y="35"/>
                  </a:cxn>
                  <a:cxn ang="0">
                    <a:pos x="79" y="44"/>
                  </a:cxn>
                  <a:cxn ang="0">
                    <a:pos x="79" y="45"/>
                  </a:cxn>
                  <a:cxn ang="0">
                    <a:pos x="77" y="44"/>
                  </a:cxn>
                  <a:cxn ang="0">
                    <a:pos x="71" y="45"/>
                  </a:cxn>
                  <a:cxn ang="0">
                    <a:pos x="66" y="42"/>
                  </a:cxn>
                  <a:cxn ang="0">
                    <a:pos x="58" y="45"/>
                  </a:cxn>
                  <a:cxn ang="0">
                    <a:pos x="56" y="47"/>
                  </a:cxn>
                  <a:cxn ang="0">
                    <a:pos x="52" y="47"/>
                  </a:cxn>
                  <a:cxn ang="0">
                    <a:pos x="52" y="52"/>
                  </a:cxn>
                  <a:cxn ang="0">
                    <a:pos x="49" y="55"/>
                  </a:cxn>
                  <a:cxn ang="0">
                    <a:pos x="43" y="57"/>
                  </a:cxn>
                  <a:cxn ang="0">
                    <a:pos x="34" y="54"/>
                  </a:cxn>
                  <a:cxn ang="0">
                    <a:pos x="32" y="51"/>
                  </a:cxn>
                  <a:cxn ang="0">
                    <a:pos x="7" y="55"/>
                  </a:cxn>
                </a:cxnLst>
                <a:rect l="0" t="0" r="r" b="b"/>
                <a:pathLst>
                  <a:path w="88" h="57">
                    <a:moveTo>
                      <a:pt x="7" y="55"/>
                    </a:moveTo>
                    <a:lnTo>
                      <a:pt x="5" y="42"/>
                    </a:lnTo>
                    <a:lnTo>
                      <a:pt x="0" y="38"/>
                    </a:lnTo>
                    <a:lnTo>
                      <a:pt x="0" y="32"/>
                    </a:lnTo>
                    <a:lnTo>
                      <a:pt x="2" y="25"/>
                    </a:lnTo>
                    <a:lnTo>
                      <a:pt x="5" y="22"/>
                    </a:lnTo>
                    <a:lnTo>
                      <a:pt x="0" y="13"/>
                    </a:lnTo>
                    <a:lnTo>
                      <a:pt x="0" y="3"/>
                    </a:lnTo>
                    <a:lnTo>
                      <a:pt x="4" y="0"/>
                    </a:lnTo>
                    <a:lnTo>
                      <a:pt x="7" y="2"/>
                    </a:lnTo>
                    <a:lnTo>
                      <a:pt x="5" y="6"/>
                    </a:lnTo>
                    <a:lnTo>
                      <a:pt x="8" y="7"/>
                    </a:lnTo>
                    <a:lnTo>
                      <a:pt x="43" y="10"/>
                    </a:lnTo>
                    <a:lnTo>
                      <a:pt x="63" y="2"/>
                    </a:lnTo>
                    <a:lnTo>
                      <a:pt x="69" y="2"/>
                    </a:lnTo>
                    <a:lnTo>
                      <a:pt x="71" y="3"/>
                    </a:lnTo>
                    <a:lnTo>
                      <a:pt x="78" y="6"/>
                    </a:lnTo>
                    <a:lnTo>
                      <a:pt x="84" y="9"/>
                    </a:lnTo>
                    <a:lnTo>
                      <a:pt x="88" y="9"/>
                    </a:lnTo>
                    <a:lnTo>
                      <a:pt x="88" y="13"/>
                    </a:lnTo>
                    <a:lnTo>
                      <a:pt x="87" y="16"/>
                    </a:lnTo>
                    <a:lnTo>
                      <a:pt x="81" y="18"/>
                    </a:lnTo>
                    <a:lnTo>
                      <a:pt x="78" y="20"/>
                    </a:lnTo>
                    <a:lnTo>
                      <a:pt x="78" y="29"/>
                    </a:lnTo>
                    <a:lnTo>
                      <a:pt x="77" y="29"/>
                    </a:lnTo>
                    <a:lnTo>
                      <a:pt x="75" y="31"/>
                    </a:lnTo>
                    <a:lnTo>
                      <a:pt x="72" y="34"/>
                    </a:lnTo>
                    <a:lnTo>
                      <a:pt x="74" y="35"/>
                    </a:lnTo>
                    <a:lnTo>
                      <a:pt x="74" y="35"/>
                    </a:lnTo>
                    <a:lnTo>
                      <a:pt x="79" y="44"/>
                    </a:lnTo>
                    <a:lnTo>
                      <a:pt x="79" y="45"/>
                    </a:lnTo>
                    <a:lnTo>
                      <a:pt x="77" y="44"/>
                    </a:lnTo>
                    <a:lnTo>
                      <a:pt x="71" y="45"/>
                    </a:lnTo>
                    <a:lnTo>
                      <a:pt x="66" y="42"/>
                    </a:lnTo>
                    <a:lnTo>
                      <a:pt x="58" y="45"/>
                    </a:lnTo>
                    <a:lnTo>
                      <a:pt x="56" y="47"/>
                    </a:lnTo>
                    <a:lnTo>
                      <a:pt x="52" y="47"/>
                    </a:lnTo>
                    <a:lnTo>
                      <a:pt x="52" y="52"/>
                    </a:lnTo>
                    <a:lnTo>
                      <a:pt x="49" y="55"/>
                    </a:lnTo>
                    <a:lnTo>
                      <a:pt x="43" y="57"/>
                    </a:lnTo>
                    <a:lnTo>
                      <a:pt x="34" y="54"/>
                    </a:lnTo>
                    <a:lnTo>
                      <a:pt x="32" y="51"/>
                    </a:lnTo>
                    <a:lnTo>
                      <a:pt x="7" y="5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38" name="Freeform 1075"/>
              <p:cNvSpPr>
                <a:spLocks/>
              </p:cNvSpPr>
              <p:nvPr/>
            </p:nvSpPr>
            <p:spPr bwMode="auto">
              <a:xfrm>
                <a:off x="6412154" y="2545464"/>
                <a:ext cx="80758" cy="59834"/>
              </a:xfrm>
              <a:custGeom>
                <a:avLst/>
                <a:gdLst/>
                <a:ahLst/>
                <a:cxnLst>
                  <a:cxn ang="0">
                    <a:pos x="7" y="55"/>
                  </a:cxn>
                  <a:cxn ang="0">
                    <a:pos x="5" y="42"/>
                  </a:cxn>
                  <a:cxn ang="0">
                    <a:pos x="0" y="38"/>
                  </a:cxn>
                  <a:cxn ang="0">
                    <a:pos x="0" y="32"/>
                  </a:cxn>
                  <a:cxn ang="0">
                    <a:pos x="2" y="25"/>
                  </a:cxn>
                  <a:cxn ang="0">
                    <a:pos x="5" y="22"/>
                  </a:cxn>
                  <a:cxn ang="0">
                    <a:pos x="0" y="13"/>
                  </a:cxn>
                  <a:cxn ang="0">
                    <a:pos x="0" y="3"/>
                  </a:cxn>
                  <a:cxn ang="0">
                    <a:pos x="4" y="0"/>
                  </a:cxn>
                  <a:cxn ang="0">
                    <a:pos x="7" y="2"/>
                  </a:cxn>
                  <a:cxn ang="0">
                    <a:pos x="5" y="6"/>
                  </a:cxn>
                  <a:cxn ang="0">
                    <a:pos x="8" y="7"/>
                  </a:cxn>
                  <a:cxn ang="0">
                    <a:pos x="43" y="10"/>
                  </a:cxn>
                  <a:cxn ang="0">
                    <a:pos x="63" y="2"/>
                  </a:cxn>
                  <a:cxn ang="0">
                    <a:pos x="69" y="2"/>
                  </a:cxn>
                  <a:cxn ang="0">
                    <a:pos x="71" y="3"/>
                  </a:cxn>
                  <a:cxn ang="0">
                    <a:pos x="78" y="6"/>
                  </a:cxn>
                  <a:cxn ang="0">
                    <a:pos x="84" y="9"/>
                  </a:cxn>
                  <a:cxn ang="0">
                    <a:pos x="88" y="9"/>
                  </a:cxn>
                  <a:cxn ang="0">
                    <a:pos x="88" y="13"/>
                  </a:cxn>
                  <a:cxn ang="0">
                    <a:pos x="87" y="16"/>
                  </a:cxn>
                  <a:cxn ang="0">
                    <a:pos x="81" y="18"/>
                  </a:cxn>
                  <a:cxn ang="0">
                    <a:pos x="78" y="20"/>
                  </a:cxn>
                  <a:cxn ang="0">
                    <a:pos x="78" y="29"/>
                  </a:cxn>
                  <a:cxn ang="0">
                    <a:pos x="77" y="29"/>
                  </a:cxn>
                  <a:cxn ang="0">
                    <a:pos x="75" y="31"/>
                  </a:cxn>
                  <a:cxn ang="0">
                    <a:pos x="72" y="34"/>
                  </a:cxn>
                  <a:cxn ang="0">
                    <a:pos x="74" y="35"/>
                  </a:cxn>
                  <a:cxn ang="0">
                    <a:pos x="74" y="35"/>
                  </a:cxn>
                  <a:cxn ang="0">
                    <a:pos x="79" y="44"/>
                  </a:cxn>
                  <a:cxn ang="0">
                    <a:pos x="79" y="45"/>
                  </a:cxn>
                  <a:cxn ang="0">
                    <a:pos x="77" y="44"/>
                  </a:cxn>
                  <a:cxn ang="0">
                    <a:pos x="71" y="45"/>
                  </a:cxn>
                  <a:cxn ang="0">
                    <a:pos x="66" y="42"/>
                  </a:cxn>
                  <a:cxn ang="0">
                    <a:pos x="58" y="45"/>
                  </a:cxn>
                  <a:cxn ang="0">
                    <a:pos x="56" y="47"/>
                  </a:cxn>
                  <a:cxn ang="0">
                    <a:pos x="52" y="47"/>
                  </a:cxn>
                  <a:cxn ang="0">
                    <a:pos x="52" y="52"/>
                  </a:cxn>
                  <a:cxn ang="0">
                    <a:pos x="49" y="55"/>
                  </a:cxn>
                  <a:cxn ang="0">
                    <a:pos x="43" y="57"/>
                  </a:cxn>
                  <a:cxn ang="0">
                    <a:pos x="34" y="54"/>
                  </a:cxn>
                  <a:cxn ang="0">
                    <a:pos x="32" y="51"/>
                  </a:cxn>
                  <a:cxn ang="0">
                    <a:pos x="7" y="55"/>
                  </a:cxn>
                </a:cxnLst>
                <a:rect l="0" t="0" r="r" b="b"/>
                <a:pathLst>
                  <a:path w="88" h="57">
                    <a:moveTo>
                      <a:pt x="7" y="55"/>
                    </a:moveTo>
                    <a:lnTo>
                      <a:pt x="5" y="42"/>
                    </a:lnTo>
                    <a:lnTo>
                      <a:pt x="0" y="38"/>
                    </a:lnTo>
                    <a:lnTo>
                      <a:pt x="0" y="32"/>
                    </a:lnTo>
                    <a:lnTo>
                      <a:pt x="2" y="25"/>
                    </a:lnTo>
                    <a:lnTo>
                      <a:pt x="5" y="22"/>
                    </a:lnTo>
                    <a:lnTo>
                      <a:pt x="0" y="13"/>
                    </a:lnTo>
                    <a:lnTo>
                      <a:pt x="0" y="3"/>
                    </a:lnTo>
                    <a:lnTo>
                      <a:pt x="4" y="0"/>
                    </a:lnTo>
                    <a:lnTo>
                      <a:pt x="7" y="2"/>
                    </a:lnTo>
                    <a:lnTo>
                      <a:pt x="5" y="6"/>
                    </a:lnTo>
                    <a:lnTo>
                      <a:pt x="8" y="7"/>
                    </a:lnTo>
                    <a:lnTo>
                      <a:pt x="43" y="10"/>
                    </a:lnTo>
                    <a:lnTo>
                      <a:pt x="63" y="2"/>
                    </a:lnTo>
                    <a:lnTo>
                      <a:pt x="69" y="2"/>
                    </a:lnTo>
                    <a:lnTo>
                      <a:pt x="71" y="3"/>
                    </a:lnTo>
                    <a:lnTo>
                      <a:pt x="78" y="6"/>
                    </a:lnTo>
                    <a:lnTo>
                      <a:pt x="84" y="9"/>
                    </a:lnTo>
                    <a:lnTo>
                      <a:pt x="88" y="9"/>
                    </a:lnTo>
                    <a:lnTo>
                      <a:pt x="88" y="13"/>
                    </a:lnTo>
                    <a:lnTo>
                      <a:pt x="87" y="16"/>
                    </a:lnTo>
                    <a:lnTo>
                      <a:pt x="81" y="18"/>
                    </a:lnTo>
                    <a:lnTo>
                      <a:pt x="78" y="20"/>
                    </a:lnTo>
                    <a:lnTo>
                      <a:pt x="78" y="29"/>
                    </a:lnTo>
                    <a:lnTo>
                      <a:pt x="77" y="29"/>
                    </a:lnTo>
                    <a:lnTo>
                      <a:pt x="75" y="31"/>
                    </a:lnTo>
                    <a:lnTo>
                      <a:pt x="72" y="34"/>
                    </a:lnTo>
                    <a:lnTo>
                      <a:pt x="74" y="35"/>
                    </a:lnTo>
                    <a:lnTo>
                      <a:pt x="74" y="35"/>
                    </a:lnTo>
                    <a:lnTo>
                      <a:pt x="79" y="44"/>
                    </a:lnTo>
                    <a:lnTo>
                      <a:pt x="79" y="45"/>
                    </a:lnTo>
                    <a:lnTo>
                      <a:pt x="77" y="44"/>
                    </a:lnTo>
                    <a:lnTo>
                      <a:pt x="71" y="45"/>
                    </a:lnTo>
                    <a:lnTo>
                      <a:pt x="66" y="42"/>
                    </a:lnTo>
                    <a:lnTo>
                      <a:pt x="58" y="45"/>
                    </a:lnTo>
                    <a:lnTo>
                      <a:pt x="56" y="47"/>
                    </a:lnTo>
                    <a:lnTo>
                      <a:pt x="52" y="47"/>
                    </a:lnTo>
                    <a:lnTo>
                      <a:pt x="52" y="52"/>
                    </a:lnTo>
                    <a:lnTo>
                      <a:pt x="49" y="55"/>
                    </a:lnTo>
                    <a:lnTo>
                      <a:pt x="43" y="57"/>
                    </a:lnTo>
                    <a:lnTo>
                      <a:pt x="34" y="54"/>
                    </a:lnTo>
                    <a:lnTo>
                      <a:pt x="32" y="51"/>
                    </a:lnTo>
                    <a:lnTo>
                      <a:pt x="7" y="55"/>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39" name="Freeform 1076"/>
              <p:cNvSpPr>
                <a:spLocks/>
              </p:cNvSpPr>
              <p:nvPr/>
            </p:nvSpPr>
            <p:spPr bwMode="auto">
              <a:xfrm>
                <a:off x="6306818" y="2525181"/>
                <a:ext cx="3511" cy="6085"/>
              </a:xfrm>
              <a:custGeom>
                <a:avLst/>
                <a:gdLst/>
                <a:ahLst/>
                <a:cxnLst>
                  <a:cxn ang="0">
                    <a:pos x="1" y="0"/>
                  </a:cxn>
                  <a:cxn ang="0">
                    <a:pos x="3" y="3"/>
                  </a:cxn>
                  <a:cxn ang="0">
                    <a:pos x="4" y="4"/>
                  </a:cxn>
                  <a:cxn ang="0">
                    <a:pos x="4" y="6"/>
                  </a:cxn>
                  <a:cxn ang="0">
                    <a:pos x="3" y="4"/>
                  </a:cxn>
                  <a:cxn ang="0">
                    <a:pos x="1" y="4"/>
                  </a:cxn>
                  <a:cxn ang="0">
                    <a:pos x="0" y="3"/>
                  </a:cxn>
                  <a:cxn ang="0">
                    <a:pos x="1" y="1"/>
                  </a:cxn>
                  <a:cxn ang="0">
                    <a:pos x="1" y="0"/>
                  </a:cxn>
                </a:cxnLst>
                <a:rect l="0" t="0" r="r" b="b"/>
                <a:pathLst>
                  <a:path w="4" h="6">
                    <a:moveTo>
                      <a:pt x="1" y="0"/>
                    </a:moveTo>
                    <a:lnTo>
                      <a:pt x="3" y="3"/>
                    </a:lnTo>
                    <a:lnTo>
                      <a:pt x="4" y="4"/>
                    </a:lnTo>
                    <a:lnTo>
                      <a:pt x="4" y="6"/>
                    </a:lnTo>
                    <a:lnTo>
                      <a:pt x="3" y="4"/>
                    </a:lnTo>
                    <a:lnTo>
                      <a:pt x="1" y="4"/>
                    </a:lnTo>
                    <a:lnTo>
                      <a:pt x="0" y="3"/>
                    </a:lnTo>
                    <a:lnTo>
                      <a:pt x="1" y="1"/>
                    </a:lnTo>
                    <a:lnTo>
                      <a:pt x="1"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40" name="Freeform 1077"/>
              <p:cNvSpPr>
                <a:spLocks/>
              </p:cNvSpPr>
              <p:nvPr/>
            </p:nvSpPr>
            <p:spPr bwMode="auto">
              <a:xfrm>
                <a:off x="6306818" y="2525181"/>
                <a:ext cx="3511" cy="6085"/>
              </a:xfrm>
              <a:custGeom>
                <a:avLst/>
                <a:gdLst/>
                <a:ahLst/>
                <a:cxnLst>
                  <a:cxn ang="0">
                    <a:pos x="1" y="0"/>
                  </a:cxn>
                  <a:cxn ang="0">
                    <a:pos x="3" y="3"/>
                  </a:cxn>
                  <a:cxn ang="0">
                    <a:pos x="4" y="4"/>
                  </a:cxn>
                  <a:cxn ang="0">
                    <a:pos x="4" y="6"/>
                  </a:cxn>
                  <a:cxn ang="0">
                    <a:pos x="3" y="4"/>
                  </a:cxn>
                  <a:cxn ang="0">
                    <a:pos x="1" y="4"/>
                  </a:cxn>
                  <a:cxn ang="0">
                    <a:pos x="0" y="3"/>
                  </a:cxn>
                  <a:cxn ang="0">
                    <a:pos x="1" y="1"/>
                  </a:cxn>
                  <a:cxn ang="0">
                    <a:pos x="1" y="0"/>
                  </a:cxn>
                </a:cxnLst>
                <a:rect l="0" t="0" r="r" b="b"/>
                <a:pathLst>
                  <a:path w="4" h="6">
                    <a:moveTo>
                      <a:pt x="1" y="0"/>
                    </a:moveTo>
                    <a:lnTo>
                      <a:pt x="3" y="3"/>
                    </a:lnTo>
                    <a:lnTo>
                      <a:pt x="4" y="4"/>
                    </a:lnTo>
                    <a:lnTo>
                      <a:pt x="4" y="6"/>
                    </a:lnTo>
                    <a:lnTo>
                      <a:pt x="3" y="4"/>
                    </a:lnTo>
                    <a:lnTo>
                      <a:pt x="1" y="4"/>
                    </a:lnTo>
                    <a:lnTo>
                      <a:pt x="0" y="3"/>
                    </a:lnTo>
                    <a:lnTo>
                      <a:pt x="1" y="1"/>
                    </a:lnTo>
                    <a:lnTo>
                      <a:pt x="1"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41" name="Freeform 1078"/>
              <p:cNvSpPr>
                <a:spLocks/>
              </p:cNvSpPr>
              <p:nvPr/>
            </p:nvSpPr>
            <p:spPr bwMode="auto">
              <a:xfrm>
                <a:off x="6305063" y="2526195"/>
                <a:ext cx="2634" cy="10141"/>
              </a:xfrm>
              <a:custGeom>
                <a:avLst/>
                <a:gdLst/>
                <a:ahLst/>
                <a:cxnLst>
                  <a:cxn ang="0">
                    <a:pos x="0" y="0"/>
                  </a:cxn>
                  <a:cxn ang="0">
                    <a:pos x="0" y="0"/>
                  </a:cxn>
                  <a:cxn ang="0">
                    <a:pos x="0" y="0"/>
                  </a:cxn>
                  <a:cxn ang="0">
                    <a:pos x="2" y="0"/>
                  </a:cxn>
                  <a:cxn ang="0">
                    <a:pos x="3" y="10"/>
                  </a:cxn>
                  <a:cxn ang="0">
                    <a:pos x="0" y="6"/>
                  </a:cxn>
                  <a:cxn ang="0">
                    <a:pos x="0" y="6"/>
                  </a:cxn>
                  <a:cxn ang="0">
                    <a:pos x="2" y="5"/>
                  </a:cxn>
                  <a:cxn ang="0">
                    <a:pos x="2" y="3"/>
                  </a:cxn>
                  <a:cxn ang="0">
                    <a:pos x="0" y="0"/>
                  </a:cxn>
                </a:cxnLst>
                <a:rect l="0" t="0" r="r" b="b"/>
                <a:pathLst>
                  <a:path w="3" h="10">
                    <a:moveTo>
                      <a:pt x="0" y="0"/>
                    </a:moveTo>
                    <a:lnTo>
                      <a:pt x="0" y="0"/>
                    </a:lnTo>
                    <a:lnTo>
                      <a:pt x="0" y="0"/>
                    </a:lnTo>
                    <a:lnTo>
                      <a:pt x="2" y="0"/>
                    </a:lnTo>
                    <a:lnTo>
                      <a:pt x="3" y="10"/>
                    </a:lnTo>
                    <a:lnTo>
                      <a:pt x="0" y="6"/>
                    </a:lnTo>
                    <a:lnTo>
                      <a:pt x="0" y="6"/>
                    </a:lnTo>
                    <a:lnTo>
                      <a:pt x="2" y="5"/>
                    </a:lnTo>
                    <a:lnTo>
                      <a:pt x="2" y="3"/>
                    </a:lnTo>
                    <a:lnTo>
                      <a:pt x="0"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42" name="Freeform 1079"/>
              <p:cNvSpPr>
                <a:spLocks/>
              </p:cNvSpPr>
              <p:nvPr/>
            </p:nvSpPr>
            <p:spPr bwMode="auto">
              <a:xfrm>
                <a:off x="6305063" y="2526195"/>
                <a:ext cx="2634" cy="10141"/>
              </a:xfrm>
              <a:custGeom>
                <a:avLst/>
                <a:gdLst/>
                <a:ahLst/>
                <a:cxnLst>
                  <a:cxn ang="0">
                    <a:pos x="0" y="0"/>
                  </a:cxn>
                  <a:cxn ang="0">
                    <a:pos x="0" y="0"/>
                  </a:cxn>
                  <a:cxn ang="0">
                    <a:pos x="0" y="0"/>
                  </a:cxn>
                  <a:cxn ang="0">
                    <a:pos x="2" y="0"/>
                  </a:cxn>
                  <a:cxn ang="0">
                    <a:pos x="3" y="10"/>
                  </a:cxn>
                  <a:cxn ang="0">
                    <a:pos x="0" y="6"/>
                  </a:cxn>
                  <a:cxn ang="0">
                    <a:pos x="0" y="6"/>
                  </a:cxn>
                  <a:cxn ang="0">
                    <a:pos x="2" y="5"/>
                  </a:cxn>
                  <a:cxn ang="0">
                    <a:pos x="2" y="3"/>
                  </a:cxn>
                  <a:cxn ang="0">
                    <a:pos x="0" y="0"/>
                  </a:cxn>
                </a:cxnLst>
                <a:rect l="0" t="0" r="r" b="b"/>
                <a:pathLst>
                  <a:path w="3" h="10">
                    <a:moveTo>
                      <a:pt x="0" y="0"/>
                    </a:moveTo>
                    <a:lnTo>
                      <a:pt x="0" y="0"/>
                    </a:lnTo>
                    <a:lnTo>
                      <a:pt x="0" y="0"/>
                    </a:lnTo>
                    <a:lnTo>
                      <a:pt x="2" y="0"/>
                    </a:lnTo>
                    <a:lnTo>
                      <a:pt x="3" y="10"/>
                    </a:lnTo>
                    <a:lnTo>
                      <a:pt x="0" y="6"/>
                    </a:lnTo>
                    <a:lnTo>
                      <a:pt x="0" y="6"/>
                    </a:lnTo>
                    <a:lnTo>
                      <a:pt x="2" y="5"/>
                    </a:lnTo>
                    <a:lnTo>
                      <a:pt x="2" y="3"/>
                    </a:lnTo>
                    <a:lnTo>
                      <a:pt x="0"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43" name="Freeform 1080"/>
              <p:cNvSpPr>
                <a:spLocks/>
              </p:cNvSpPr>
              <p:nvPr/>
            </p:nvSpPr>
            <p:spPr bwMode="auto">
              <a:xfrm>
                <a:off x="6333152" y="2562704"/>
                <a:ext cx="5267" cy="2028"/>
              </a:xfrm>
              <a:custGeom>
                <a:avLst/>
                <a:gdLst/>
                <a:ahLst/>
                <a:cxnLst>
                  <a:cxn ang="0">
                    <a:pos x="0" y="0"/>
                  </a:cxn>
                  <a:cxn ang="0">
                    <a:pos x="0" y="0"/>
                  </a:cxn>
                  <a:cxn ang="0">
                    <a:pos x="6" y="2"/>
                  </a:cxn>
                  <a:cxn ang="0">
                    <a:pos x="6" y="2"/>
                  </a:cxn>
                  <a:cxn ang="0">
                    <a:pos x="6" y="2"/>
                  </a:cxn>
                  <a:cxn ang="0">
                    <a:pos x="0" y="2"/>
                  </a:cxn>
                  <a:cxn ang="0">
                    <a:pos x="0" y="0"/>
                  </a:cxn>
                </a:cxnLst>
                <a:rect l="0" t="0" r="r" b="b"/>
                <a:pathLst>
                  <a:path w="6" h="2">
                    <a:moveTo>
                      <a:pt x="0" y="0"/>
                    </a:moveTo>
                    <a:lnTo>
                      <a:pt x="0" y="0"/>
                    </a:lnTo>
                    <a:lnTo>
                      <a:pt x="6" y="2"/>
                    </a:lnTo>
                    <a:lnTo>
                      <a:pt x="6" y="2"/>
                    </a:lnTo>
                    <a:lnTo>
                      <a:pt x="6" y="2"/>
                    </a:lnTo>
                    <a:lnTo>
                      <a:pt x="0" y="2"/>
                    </a:lnTo>
                    <a:lnTo>
                      <a:pt x="0"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44" name="Freeform 1081"/>
              <p:cNvSpPr>
                <a:spLocks/>
              </p:cNvSpPr>
              <p:nvPr/>
            </p:nvSpPr>
            <p:spPr bwMode="auto">
              <a:xfrm>
                <a:off x="6333152" y="2562704"/>
                <a:ext cx="5267" cy="2028"/>
              </a:xfrm>
              <a:custGeom>
                <a:avLst/>
                <a:gdLst/>
                <a:ahLst/>
                <a:cxnLst>
                  <a:cxn ang="0">
                    <a:pos x="0" y="0"/>
                  </a:cxn>
                  <a:cxn ang="0">
                    <a:pos x="0" y="0"/>
                  </a:cxn>
                  <a:cxn ang="0">
                    <a:pos x="6" y="2"/>
                  </a:cxn>
                  <a:cxn ang="0">
                    <a:pos x="6" y="2"/>
                  </a:cxn>
                  <a:cxn ang="0">
                    <a:pos x="6" y="2"/>
                  </a:cxn>
                  <a:cxn ang="0">
                    <a:pos x="0" y="2"/>
                  </a:cxn>
                  <a:cxn ang="0">
                    <a:pos x="0" y="0"/>
                  </a:cxn>
                </a:cxnLst>
                <a:rect l="0" t="0" r="r" b="b"/>
                <a:pathLst>
                  <a:path w="6" h="2">
                    <a:moveTo>
                      <a:pt x="0" y="0"/>
                    </a:moveTo>
                    <a:lnTo>
                      <a:pt x="0" y="0"/>
                    </a:lnTo>
                    <a:lnTo>
                      <a:pt x="6" y="2"/>
                    </a:lnTo>
                    <a:lnTo>
                      <a:pt x="6" y="2"/>
                    </a:lnTo>
                    <a:lnTo>
                      <a:pt x="6" y="2"/>
                    </a:lnTo>
                    <a:lnTo>
                      <a:pt x="0" y="2"/>
                    </a:lnTo>
                    <a:lnTo>
                      <a:pt x="0"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45" name="Freeform 1082"/>
              <p:cNvSpPr>
                <a:spLocks/>
              </p:cNvSpPr>
              <p:nvPr/>
            </p:nvSpPr>
            <p:spPr bwMode="auto">
              <a:xfrm>
                <a:off x="6335786" y="2569803"/>
                <a:ext cx="6144" cy="2028"/>
              </a:xfrm>
              <a:custGeom>
                <a:avLst/>
                <a:gdLst/>
                <a:ahLst/>
                <a:cxnLst>
                  <a:cxn ang="0">
                    <a:pos x="0" y="2"/>
                  </a:cxn>
                  <a:cxn ang="0">
                    <a:pos x="1" y="0"/>
                  </a:cxn>
                  <a:cxn ang="0">
                    <a:pos x="6" y="0"/>
                  </a:cxn>
                  <a:cxn ang="0">
                    <a:pos x="6" y="2"/>
                  </a:cxn>
                  <a:cxn ang="0">
                    <a:pos x="7" y="2"/>
                  </a:cxn>
                  <a:cxn ang="0">
                    <a:pos x="0" y="2"/>
                  </a:cxn>
                  <a:cxn ang="0">
                    <a:pos x="0" y="2"/>
                  </a:cxn>
                </a:cxnLst>
                <a:rect l="0" t="0" r="r" b="b"/>
                <a:pathLst>
                  <a:path w="7" h="2">
                    <a:moveTo>
                      <a:pt x="0" y="2"/>
                    </a:moveTo>
                    <a:lnTo>
                      <a:pt x="1" y="0"/>
                    </a:lnTo>
                    <a:lnTo>
                      <a:pt x="6" y="0"/>
                    </a:lnTo>
                    <a:lnTo>
                      <a:pt x="6" y="2"/>
                    </a:lnTo>
                    <a:lnTo>
                      <a:pt x="7" y="2"/>
                    </a:lnTo>
                    <a:lnTo>
                      <a:pt x="0" y="2"/>
                    </a:lnTo>
                    <a:lnTo>
                      <a:pt x="0" y="2"/>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46" name="Freeform 1083"/>
              <p:cNvSpPr>
                <a:spLocks/>
              </p:cNvSpPr>
              <p:nvPr/>
            </p:nvSpPr>
            <p:spPr bwMode="auto">
              <a:xfrm>
                <a:off x="6335786" y="2569803"/>
                <a:ext cx="6144" cy="2028"/>
              </a:xfrm>
              <a:custGeom>
                <a:avLst/>
                <a:gdLst/>
                <a:ahLst/>
                <a:cxnLst>
                  <a:cxn ang="0">
                    <a:pos x="0" y="2"/>
                  </a:cxn>
                  <a:cxn ang="0">
                    <a:pos x="1" y="0"/>
                  </a:cxn>
                  <a:cxn ang="0">
                    <a:pos x="6" y="0"/>
                  </a:cxn>
                  <a:cxn ang="0">
                    <a:pos x="6" y="2"/>
                  </a:cxn>
                  <a:cxn ang="0">
                    <a:pos x="7" y="2"/>
                  </a:cxn>
                  <a:cxn ang="0">
                    <a:pos x="0" y="2"/>
                  </a:cxn>
                  <a:cxn ang="0">
                    <a:pos x="0" y="2"/>
                  </a:cxn>
                </a:cxnLst>
                <a:rect l="0" t="0" r="r" b="b"/>
                <a:pathLst>
                  <a:path w="7" h="2">
                    <a:moveTo>
                      <a:pt x="0" y="2"/>
                    </a:moveTo>
                    <a:lnTo>
                      <a:pt x="1" y="0"/>
                    </a:lnTo>
                    <a:lnTo>
                      <a:pt x="6" y="0"/>
                    </a:lnTo>
                    <a:lnTo>
                      <a:pt x="6" y="2"/>
                    </a:lnTo>
                    <a:lnTo>
                      <a:pt x="7" y="2"/>
                    </a:lnTo>
                    <a:lnTo>
                      <a:pt x="0" y="2"/>
                    </a:lnTo>
                    <a:lnTo>
                      <a:pt x="0" y="2"/>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47" name="Freeform 1084"/>
              <p:cNvSpPr>
                <a:spLocks/>
              </p:cNvSpPr>
              <p:nvPr/>
            </p:nvSpPr>
            <p:spPr bwMode="auto">
              <a:xfrm>
                <a:off x="6341053" y="2568790"/>
                <a:ext cx="18433" cy="12170"/>
              </a:xfrm>
              <a:custGeom>
                <a:avLst/>
                <a:gdLst/>
                <a:ahLst/>
                <a:cxnLst>
                  <a:cxn ang="0">
                    <a:pos x="20" y="12"/>
                  </a:cxn>
                  <a:cxn ang="0">
                    <a:pos x="13" y="6"/>
                  </a:cxn>
                  <a:cxn ang="0">
                    <a:pos x="8" y="4"/>
                  </a:cxn>
                  <a:cxn ang="0">
                    <a:pos x="4" y="3"/>
                  </a:cxn>
                  <a:cxn ang="0">
                    <a:pos x="0" y="1"/>
                  </a:cxn>
                  <a:cxn ang="0">
                    <a:pos x="1" y="0"/>
                  </a:cxn>
                  <a:cxn ang="0">
                    <a:pos x="4" y="1"/>
                  </a:cxn>
                  <a:cxn ang="0">
                    <a:pos x="5" y="3"/>
                  </a:cxn>
                  <a:cxn ang="0">
                    <a:pos x="7" y="3"/>
                  </a:cxn>
                  <a:cxn ang="0">
                    <a:pos x="8" y="1"/>
                  </a:cxn>
                  <a:cxn ang="0">
                    <a:pos x="11" y="3"/>
                  </a:cxn>
                  <a:cxn ang="0">
                    <a:pos x="11" y="3"/>
                  </a:cxn>
                  <a:cxn ang="0">
                    <a:pos x="13" y="6"/>
                  </a:cxn>
                  <a:cxn ang="0">
                    <a:pos x="14" y="6"/>
                  </a:cxn>
                  <a:cxn ang="0">
                    <a:pos x="17" y="7"/>
                  </a:cxn>
                  <a:cxn ang="0">
                    <a:pos x="19" y="9"/>
                  </a:cxn>
                  <a:cxn ang="0">
                    <a:pos x="19" y="9"/>
                  </a:cxn>
                  <a:cxn ang="0">
                    <a:pos x="20" y="10"/>
                  </a:cxn>
                  <a:cxn ang="0">
                    <a:pos x="20" y="12"/>
                  </a:cxn>
                </a:cxnLst>
                <a:rect l="0" t="0" r="r" b="b"/>
                <a:pathLst>
                  <a:path w="20" h="12">
                    <a:moveTo>
                      <a:pt x="20" y="12"/>
                    </a:moveTo>
                    <a:lnTo>
                      <a:pt x="13" y="6"/>
                    </a:lnTo>
                    <a:lnTo>
                      <a:pt x="8" y="4"/>
                    </a:lnTo>
                    <a:lnTo>
                      <a:pt x="4" y="3"/>
                    </a:lnTo>
                    <a:lnTo>
                      <a:pt x="0" y="1"/>
                    </a:lnTo>
                    <a:lnTo>
                      <a:pt x="1" y="0"/>
                    </a:lnTo>
                    <a:lnTo>
                      <a:pt x="4" y="1"/>
                    </a:lnTo>
                    <a:lnTo>
                      <a:pt x="5" y="3"/>
                    </a:lnTo>
                    <a:lnTo>
                      <a:pt x="7" y="3"/>
                    </a:lnTo>
                    <a:lnTo>
                      <a:pt x="8" y="1"/>
                    </a:lnTo>
                    <a:lnTo>
                      <a:pt x="11" y="3"/>
                    </a:lnTo>
                    <a:lnTo>
                      <a:pt x="11" y="3"/>
                    </a:lnTo>
                    <a:lnTo>
                      <a:pt x="13" y="6"/>
                    </a:lnTo>
                    <a:lnTo>
                      <a:pt x="14" y="6"/>
                    </a:lnTo>
                    <a:lnTo>
                      <a:pt x="17" y="7"/>
                    </a:lnTo>
                    <a:lnTo>
                      <a:pt x="19" y="9"/>
                    </a:lnTo>
                    <a:lnTo>
                      <a:pt x="19" y="9"/>
                    </a:lnTo>
                    <a:lnTo>
                      <a:pt x="20" y="10"/>
                    </a:lnTo>
                    <a:lnTo>
                      <a:pt x="20" y="12"/>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48" name="Freeform 1085"/>
              <p:cNvSpPr>
                <a:spLocks/>
              </p:cNvSpPr>
              <p:nvPr/>
            </p:nvSpPr>
            <p:spPr bwMode="auto">
              <a:xfrm>
                <a:off x="6341053" y="2568790"/>
                <a:ext cx="18433" cy="12170"/>
              </a:xfrm>
              <a:custGeom>
                <a:avLst/>
                <a:gdLst/>
                <a:ahLst/>
                <a:cxnLst>
                  <a:cxn ang="0">
                    <a:pos x="20" y="12"/>
                  </a:cxn>
                  <a:cxn ang="0">
                    <a:pos x="13" y="6"/>
                  </a:cxn>
                  <a:cxn ang="0">
                    <a:pos x="8" y="4"/>
                  </a:cxn>
                  <a:cxn ang="0">
                    <a:pos x="4" y="3"/>
                  </a:cxn>
                  <a:cxn ang="0">
                    <a:pos x="0" y="1"/>
                  </a:cxn>
                  <a:cxn ang="0">
                    <a:pos x="1" y="0"/>
                  </a:cxn>
                  <a:cxn ang="0">
                    <a:pos x="4" y="1"/>
                  </a:cxn>
                  <a:cxn ang="0">
                    <a:pos x="5" y="3"/>
                  </a:cxn>
                  <a:cxn ang="0">
                    <a:pos x="7" y="3"/>
                  </a:cxn>
                  <a:cxn ang="0">
                    <a:pos x="8" y="1"/>
                  </a:cxn>
                  <a:cxn ang="0">
                    <a:pos x="11" y="3"/>
                  </a:cxn>
                  <a:cxn ang="0">
                    <a:pos x="11" y="3"/>
                  </a:cxn>
                  <a:cxn ang="0">
                    <a:pos x="13" y="6"/>
                  </a:cxn>
                  <a:cxn ang="0">
                    <a:pos x="14" y="6"/>
                  </a:cxn>
                  <a:cxn ang="0">
                    <a:pos x="17" y="7"/>
                  </a:cxn>
                  <a:cxn ang="0">
                    <a:pos x="19" y="9"/>
                  </a:cxn>
                  <a:cxn ang="0">
                    <a:pos x="19" y="9"/>
                  </a:cxn>
                  <a:cxn ang="0">
                    <a:pos x="20" y="10"/>
                  </a:cxn>
                  <a:cxn ang="0">
                    <a:pos x="20" y="12"/>
                  </a:cxn>
                </a:cxnLst>
                <a:rect l="0" t="0" r="r" b="b"/>
                <a:pathLst>
                  <a:path w="20" h="12">
                    <a:moveTo>
                      <a:pt x="20" y="12"/>
                    </a:moveTo>
                    <a:lnTo>
                      <a:pt x="13" y="6"/>
                    </a:lnTo>
                    <a:lnTo>
                      <a:pt x="8" y="4"/>
                    </a:lnTo>
                    <a:lnTo>
                      <a:pt x="4" y="3"/>
                    </a:lnTo>
                    <a:lnTo>
                      <a:pt x="0" y="1"/>
                    </a:lnTo>
                    <a:lnTo>
                      <a:pt x="1" y="0"/>
                    </a:lnTo>
                    <a:lnTo>
                      <a:pt x="4" y="1"/>
                    </a:lnTo>
                    <a:lnTo>
                      <a:pt x="5" y="3"/>
                    </a:lnTo>
                    <a:lnTo>
                      <a:pt x="7" y="3"/>
                    </a:lnTo>
                    <a:lnTo>
                      <a:pt x="8" y="1"/>
                    </a:lnTo>
                    <a:lnTo>
                      <a:pt x="11" y="3"/>
                    </a:lnTo>
                    <a:lnTo>
                      <a:pt x="11" y="3"/>
                    </a:lnTo>
                    <a:lnTo>
                      <a:pt x="13" y="6"/>
                    </a:lnTo>
                    <a:lnTo>
                      <a:pt x="14" y="6"/>
                    </a:lnTo>
                    <a:lnTo>
                      <a:pt x="17" y="7"/>
                    </a:lnTo>
                    <a:lnTo>
                      <a:pt x="19" y="9"/>
                    </a:lnTo>
                    <a:lnTo>
                      <a:pt x="19" y="9"/>
                    </a:lnTo>
                    <a:lnTo>
                      <a:pt x="20" y="10"/>
                    </a:lnTo>
                    <a:lnTo>
                      <a:pt x="20" y="12"/>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49" name="Freeform 1086"/>
              <p:cNvSpPr>
                <a:spLocks/>
              </p:cNvSpPr>
              <p:nvPr/>
            </p:nvSpPr>
            <p:spPr bwMode="auto">
              <a:xfrm>
                <a:off x="6295407" y="2495772"/>
                <a:ext cx="76368" cy="74031"/>
              </a:xfrm>
              <a:custGeom>
                <a:avLst/>
                <a:gdLst/>
                <a:ahLst/>
                <a:cxnLst>
                  <a:cxn ang="0">
                    <a:pos x="63" y="16"/>
                  </a:cxn>
                  <a:cxn ang="0">
                    <a:pos x="53" y="9"/>
                  </a:cxn>
                  <a:cxn ang="0">
                    <a:pos x="44" y="2"/>
                  </a:cxn>
                  <a:cxn ang="0">
                    <a:pos x="39" y="0"/>
                  </a:cxn>
                  <a:cxn ang="0">
                    <a:pos x="38" y="2"/>
                  </a:cxn>
                  <a:cxn ang="0">
                    <a:pos x="38" y="5"/>
                  </a:cxn>
                  <a:cxn ang="0">
                    <a:pos x="35" y="6"/>
                  </a:cxn>
                  <a:cxn ang="0">
                    <a:pos x="29" y="10"/>
                  </a:cxn>
                  <a:cxn ang="0">
                    <a:pos x="29" y="16"/>
                  </a:cxn>
                  <a:cxn ang="0">
                    <a:pos x="25" y="21"/>
                  </a:cxn>
                  <a:cxn ang="0">
                    <a:pos x="23" y="26"/>
                  </a:cxn>
                  <a:cxn ang="0">
                    <a:pos x="19" y="25"/>
                  </a:cxn>
                  <a:cxn ang="0">
                    <a:pos x="19" y="25"/>
                  </a:cxn>
                  <a:cxn ang="0">
                    <a:pos x="13" y="19"/>
                  </a:cxn>
                  <a:cxn ang="0">
                    <a:pos x="6" y="22"/>
                  </a:cxn>
                  <a:cxn ang="0">
                    <a:pos x="0" y="22"/>
                  </a:cxn>
                  <a:cxn ang="0">
                    <a:pos x="5" y="36"/>
                  </a:cxn>
                  <a:cxn ang="0">
                    <a:pos x="15" y="26"/>
                  </a:cxn>
                  <a:cxn ang="0">
                    <a:pos x="19" y="31"/>
                  </a:cxn>
                  <a:cxn ang="0">
                    <a:pos x="22" y="41"/>
                  </a:cxn>
                  <a:cxn ang="0">
                    <a:pos x="23" y="48"/>
                  </a:cxn>
                  <a:cxn ang="0">
                    <a:pos x="34" y="57"/>
                  </a:cxn>
                  <a:cxn ang="0">
                    <a:pos x="57" y="71"/>
                  </a:cxn>
                  <a:cxn ang="0">
                    <a:pos x="53" y="61"/>
                  </a:cxn>
                  <a:cxn ang="0">
                    <a:pos x="45" y="55"/>
                  </a:cxn>
                  <a:cxn ang="0">
                    <a:pos x="39" y="50"/>
                  </a:cxn>
                  <a:cxn ang="0">
                    <a:pos x="37" y="44"/>
                  </a:cxn>
                  <a:cxn ang="0">
                    <a:pos x="37" y="41"/>
                  </a:cxn>
                  <a:cxn ang="0">
                    <a:pos x="34" y="36"/>
                  </a:cxn>
                  <a:cxn ang="0">
                    <a:pos x="32" y="32"/>
                  </a:cxn>
                  <a:cxn ang="0">
                    <a:pos x="34" y="25"/>
                  </a:cxn>
                  <a:cxn ang="0">
                    <a:pos x="39" y="31"/>
                  </a:cxn>
                  <a:cxn ang="0">
                    <a:pos x="47" y="26"/>
                  </a:cxn>
                  <a:cxn ang="0">
                    <a:pos x="51" y="28"/>
                  </a:cxn>
                  <a:cxn ang="0">
                    <a:pos x="54" y="28"/>
                  </a:cxn>
                  <a:cxn ang="0">
                    <a:pos x="60" y="28"/>
                  </a:cxn>
                  <a:cxn ang="0">
                    <a:pos x="64" y="28"/>
                  </a:cxn>
                  <a:cxn ang="0">
                    <a:pos x="66" y="29"/>
                  </a:cxn>
                  <a:cxn ang="0">
                    <a:pos x="71" y="31"/>
                  </a:cxn>
                  <a:cxn ang="0">
                    <a:pos x="73" y="29"/>
                  </a:cxn>
                  <a:cxn ang="0">
                    <a:pos x="74" y="32"/>
                  </a:cxn>
                  <a:cxn ang="0">
                    <a:pos x="80" y="32"/>
                  </a:cxn>
                  <a:cxn ang="0">
                    <a:pos x="79" y="28"/>
                  </a:cxn>
                  <a:cxn ang="0">
                    <a:pos x="80" y="26"/>
                  </a:cxn>
                  <a:cxn ang="0">
                    <a:pos x="83" y="26"/>
                  </a:cxn>
                  <a:cxn ang="0">
                    <a:pos x="80" y="25"/>
                  </a:cxn>
                  <a:cxn ang="0">
                    <a:pos x="77" y="23"/>
                  </a:cxn>
                  <a:cxn ang="0">
                    <a:pos x="77" y="22"/>
                  </a:cxn>
                  <a:cxn ang="0">
                    <a:pos x="79" y="21"/>
                  </a:cxn>
                  <a:cxn ang="0">
                    <a:pos x="77" y="19"/>
                  </a:cxn>
                  <a:cxn ang="0">
                    <a:pos x="76" y="19"/>
                  </a:cxn>
                  <a:cxn ang="0">
                    <a:pos x="76" y="16"/>
                  </a:cxn>
                  <a:cxn ang="0">
                    <a:pos x="73" y="13"/>
                  </a:cxn>
                </a:cxnLst>
                <a:rect l="0" t="0" r="r" b="b"/>
                <a:pathLst>
                  <a:path w="83" h="71">
                    <a:moveTo>
                      <a:pt x="73" y="13"/>
                    </a:moveTo>
                    <a:lnTo>
                      <a:pt x="70" y="15"/>
                    </a:lnTo>
                    <a:lnTo>
                      <a:pt x="63" y="16"/>
                    </a:lnTo>
                    <a:lnTo>
                      <a:pt x="58" y="15"/>
                    </a:lnTo>
                    <a:lnTo>
                      <a:pt x="55" y="13"/>
                    </a:lnTo>
                    <a:lnTo>
                      <a:pt x="53" y="9"/>
                    </a:lnTo>
                    <a:lnTo>
                      <a:pt x="50" y="7"/>
                    </a:lnTo>
                    <a:lnTo>
                      <a:pt x="47" y="3"/>
                    </a:lnTo>
                    <a:lnTo>
                      <a:pt x="44" y="2"/>
                    </a:lnTo>
                    <a:lnTo>
                      <a:pt x="42" y="2"/>
                    </a:lnTo>
                    <a:lnTo>
                      <a:pt x="42" y="2"/>
                    </a:lnTo>
                    <a:lnTo>
                      <a:pt x="39" y="0"/>
                    </a:lnTo>
                    <a:lnTo>
                      <a:pt x="39" y="0"/>
                    </a:lnTo>
                    <a:lnTo>
                      <a:pt x="38" y="2"/>
                    </a:lnTo>
                    <a:lnTo>
                      <a:pt x="38" y="2"/>
                    </a:lnTo>
                    <a:lnTo>
                      <a:pt x="38" y="5"/>
                    </a:lnTo>
                    <a:lnTo>
                      <a:pt x="38" y="5"/>
                    </a:lnTo>
                    <a:lnTo>
                      <a:pt x="38" y="5"/>
                    </a:lnTo>
                    <a:lnTo>
                      <a:pt x="35" y="5"/>
                    </a:lnTo>
                    <a:lnTo>
                      <a:pt x="35" y="5"/>
                    </a:lnTo>
                    <a:lnTo>
                      <a:pt x="35" y="6"/>
                    </a:lnTo>
                    <a:lnTo>
                      <a:pt x="29" y="7"/>
                    </a:lnTo>
                    <a:lnTo>
                      <a:pt x="29" y="9"/>
                    </a:lnTo>
                    <a:lnTo>
                      <a:pt x="29" y="10"/>
                    </a:lnTo>
                    <a:lnTo>
                      <a:pt x="31" y="12"/>
                    </a:lnTo>
                    <a:lnTo>
                      <a:pt x="31" y="15"/>
                    </a:lnTo>
                    <a:lnTo>
                      <a:pt x="29" y="16"/>
                    </a:lnTo>
                    <a:lnTo>
                      <a:pt x="26" y="16"/>
                    </a:lnTo>
                    <a:lnTo>
                      <a:pt x="23" y="19"/>
                    </a:lnTo>
                    <a:lnTo>
                      <a:pt x="25" y="21"/>
                    </a:lnTo>
                    <a:lnTo>
                      <a:pt x="23" y="22"/>
                    </a:lnTo>
                    <a:lnTo>
                      <a:pt x="25" y="25"/>
                    </a:lnTo>
                    <a:lnTo>
                      <a:pt x="23" y="26"/>
                    </a:lnTo>
                    <a:lnTo>
                      <a:pt x="22" y="26"/>
                    </a:lnTo>
                    <a:lnTo>
                      <a:pt x="21" y="25"/>
                    </a:lnTo>
                    <a:lnTo>
                      <a:pt x="19" y="25"/>
                    </a:lnTo>
                    <a:lnTo>
                      <a:pt x="19" y="23"/>
                    </a:lnTo>
                    <a:lnTo>
                      <a:pt x="19" y="23"/>
                    </a:lnTo>
                    <a:lnTo>
                      <a:pt x="19" y="25"/>
                    </a:lnTo>
                    <a:lnTo>
                      <a:pt x="18" y="25"/>
                    </a:lnTo>
                    <a:lnTo>
                      <a:pt x="15" y="21"/>
                    </a:lnTo>
                    <a:lnTo>
                      <a:pt x="13" y="19"/>
                    </a:lnTo>
                    <a:lnTo>
                      <a:pt x="12" y="23"/>
                    </a:lnTo>
                    <a:lnTo>
                      <a:pt x="8" y="23"/>
                    </a:lnTo>
                    <a:lnTo>
                      <a:pt x="6" y="22"/>
                    </a:lnTo>
                    <a:lnTo>
                      <a:pt x="6" y="23"/>
                    </a:lnTo>
                    <a:lnTo>
                      <a:pt x="2" y="23"/>
                    </a:lnTo>
                    <a:lnTo>
                      <a:pt x="0" y="22"/>
                    </a:lnTo>
                    <a:lnTo>
                      <a:pt x="0" y="28"/>
                    </a:lnTo>
                    <a:lnTo>
                      <a:pt x="5" y="35"/>
                    </a:lnTo>
                    <a:lnTo>
                      <a:pt x="5" y="36"/>
                    </a:lnTo>
                    <a:lnTo>
                      <a:pt x="6" y="35"/>
                    </a:lnTo>
                    <a:lnTo>
                      <a:pt x="12" y="26"/>
                    </a:lnTo>
                    <a:lnTo>
                      <a:pt x="15" y="26"/>
                    </a:lnTo>
                    <a:lnTo>
                      <a:pt x="16" y="29"/>
                    </a:lnTo>
                    <a:lnTo>
                      <a:pt x="18" y="29"/>
                    </a:lnTo>
                    <a:lnTo>
                      <a:pt x="19" y="31"/>
                    </a:lnTo>
                    <a:lnTo>
                      <a:pt x="19" y="34"/>
                    </a:lnTo>
                    <a:lnTo>
                      <a:pt x="19" y="38"/>
                    </a:lnTo>
                    <a:lnTo>
                      <a:pt x="22" y="41"/>
                    </a:lnTo>
                    <a:lnTo>
                      <a:pt x="26" y="45"/>
                    </a:lnTo>
                    <a:lnTo>
                      <a:pt x="23" y="47"/>
                    </a:lnTo>
                    <a:lnTo>
                      <a:pt x="23" y="48"/>
                    </a:lnTo>
                    <a:lnTo>
                      <a:pt x="23" y="50"/>
                    </a:lnTo>
                    <a:lnTo>
                      <a:pt x="26" y="52"/>
                    </a:lnTo>
                    <a:lnTo>
                      <a:pt x="34" y="57"/>
                    </a:lnTo>
                    <a:lnTo>
                      <a:pt x="35" y="61"/>
                    </a:lnTo>
                    <a:lnTo>
                      <a:pt x="42" y="63"/>
                    </a:lnTo>
                    <a:lnTo>
                      <a:pt x="57" y="71"/>
                    </a:lnTo>
                    <a:lnTo>
                      <a:pt x="58" y="71"/>
                    </a:lnTo>
                    <a:lnTo>
                      <a:pt x="53" y="64"/>
                    </a:lnTo>
                    <a:lnTo>
                      <a:pt x="53" y="61"/>
                    </a:lnTo>
                    <a:lnTo>
                      <a:pt x="51" y="61"/>
                    </a:lnTo>
                    <a:lnTo>
                      <a:pt x="50" y="60"/>
                    </a:lnTo>
                    <a:lnTo>
                      <a:pt x="45" y="55"/>
                    </a:lnTo>
                    <a:lnTo>
                      <a:pt x="44" y="54"/>
                    </a:lnTo>
                    <a:lnTo>
                      <a:pt x="42" y="50"/>
                    </a:lnTo>
                    <a:lnTo>
                      <a:pt x="39" y="50"/>
                    </a:lnTo>
                    <a:lnTo>
                      <a:pt x="38" y="47"/>
                    </a:lnTo>
                    <a:lnTo>
                      <a:pt x="37" y="47"/>
                    </a:lnTo>
                    <a:lnTo>
                      <a:pt x="37" y="44"/>
                    </a:lnTo>
                    <a:lnTo>
                      <a:pt x="38" y="44"/>
                    </a:lnTo>
                    <a:lnTo>
                      <a:pt x="37" y="42"/>
                    </a:lnTo>
                    <a:lnTo>
                      <a:pt x="37" y="41"/>
                    </a:lnTo>
                    <a:lnTo>
                      <a:pt x="35" y="39"/>
                    </a:lnTo>
                    <a:lnTo>
                      <a:pt x="34" y="36"/>
                    </a:lnTo>
                    <a:lnTo>
                      <a:pt x="34" y="36"/>
                    </a:lnTo>
                    <a:lnTo>
                      <a:pt x="31" y="34"/>
                    </a:lnTo>
                    <a:lnTo>
                      <a:pt x="31" y="34"/>
                    </a:lnTo>
                    <a:lnTo>
                      <a:pt x="32" y="32"/>
                    </a:lnTo>
                    <a:lnTo>
                      <a:pt x="32" y="32"/>
                    </a:lnTo>
                    <a:lnTo>
                      <a:pt x="32" y="26"/>
                    </a:lnTo>
                    <a:lnTo>
                      <a:pt x="34" y="25"/>
                    </a:lnTo>
                    <a:lnTo>
                      <a:pt x="35" y="26"/>
                    </a:lnTo>
                    <a:lnTo>
                      <a:pt x="35" y="26"/>
                    </a:lnTo>
                    <a:lnTo>
                      <a:pt x="39" y="31"/>
                    </a:lnTo>
                    <a:lnTo>
                      <a:pt x="39" y="31"/>
                    </a:lnTo>
                    <a:lnTo>
                      <a:pt x="42" y="26"/>
                    </a:lnTo>
                    <a:lnTo>
                      <a:pt x="47" y="26"/>
                    </a:lnTo>
                    <a:lnTo>
                      <a:pt x="48" y="25"/>
                    </a:lnTo>
                    <a:lnTo>
                      <a:pt x="48" y="25"/>
                    </a:lnTo>
                    <a:lnTo>
                      <a:pt x="51" y="28"/>
                    </a:lnTo>
                    <a:lnTo>
                      <a:pt x="53" y="28"/>
                    </a:lnTo>
                    <a:lnTo>
                      <a:pt x="53" y="26"/>
                    </a:lnTo>
                    <a:lnTo>
                      <a:pt x="54" y="28"/>
                    </a:lnTo>
                    <a:lnTo>
                      <a:pt x="58" y="28"/>
                    </a:lnTo>
                    <a:lnTo>
                      <a:pt x="58" y="28"/>
                    </a:lnTo>
                    <a:lnTo>
                      <a:pt x="60" y="28"/>
                    </a:lnTo>
                    <a:lnTo>
                      <a:pt x="61" y="29"/>
                    </a:lnTo>
                    <a:lnTo>
                      <a:pt x="61" y="29"/>
                    </a:lnTo>
                    <a:lnTo>
                      <a:pt x="64" y="28"/>
                    </a:lnTo>
                    <a:lnTo>
                      <a:pt x="64" y="28"/>
                    </a:lnTo>
                    <a:lnTo>
                      <a:pt x="66" y="29"/>
                    </a:lnTo>
                    <a:lnTo>
                      <a:pt x="66" y="29"/>
                    </a:lnTo>
                    <a:lnTo>
                      <a:pt x="67" y="28"/>
                    </a:lnTo>
                    <a:lnTo>
                      <a:pt x="70" y="29"/>
                    </a:lnTo>
                    <a:lnTo>
                      <a:pt x="71" y="31"/>
                    </a:lnTo>
                    <a:lnTo>
                      <a:pt x="71" y="29"/>
                    </a:lnTo>
                    <a:lnTo>
                      <a:pt x="71" y="29"/>
                    </a:lnTo>
                    <a:lnTo>
                      <a:pt x="73" y="29"/>
                    </a:lnTo>
                    <a:lnTo>
                      <a:pt x="74" y="31"/>
                    </a:lnTo>
                    <a:lnTo>
                      <a:pt x="74" y="32"/>
                    </a:lnTo>
                    <a:lnTo>
                      <a:pt x="74" y="32"/>
                    </a:lnTo>
                    <a:lnTo>
                      <a:pt x="76" y="34"/>
                    </a:lnTo>
                    <a:lnTo>
                      <a:pt x="79" y="34"/>
                    </a:lnTo>
                    <a:lnTo>
                      <a:pt x="80" y="32"/>
                    </a:lnTo>
                    <a:lnTo>
                      <a:pt x="80" y="31"/>
                    </a:lnTo>
                    <a:lnTo>
                      <a:pt x="79" y="31"/>
                    </a:lnTo>
                    <a:lnTo>
                      <a:pt x="79" y="28"/>
                    </a:lnTo>
                    <a:lnTo>
                      <a:pt x="80" y="28"/>
                    </a:lnTo>
                    <a:lnTo>
                      <a:pt x="80" y="26"/>
                    </a:lnTo>
                    <a:lnTo>
                      <a:pt x="80" y="26"/>
                    </a:lnTo>
                    <a:lnTo>
                      <a:pt x="83" y="26"/>
                    </a:lnTo>
                    <a:lnTo>
                      <a:pt x="83" y="26"/>
                    </a:lnTo>
                    <a:lnTo>
                      <a:pt x="83" y="26"/>
                    </a:lnTo>
                    <a:lnTo>
                      <a:pt x="83" y="25"/>
                    </a:lnTo>
                    <a:lnTo>
                      <a:pt x="82" y="25"/>
                    </a:lnTo>
                    <a:lnTo>
                      <a:pt x="80" y="25"/>
                    </a:lnTo>
                    <a:lnTo>
                      <a:pt x="80" y="25"/>
                    </a:lnTo>
                    <a:lnTo>
                      <a:pt x="79" y="23"/>
                    </a:lnTo>
                    <a:lnTo>
                      <a:pt x="77" y="23"/>
                    </a:lnTo>
                    <a:lnTo>
                      <a:pt x="77" y="23"/>
                    </a:lnTo>
                    <a:lnTo>
                      <a:pt x="77" y="22"/>
                    </a:lnTo>
                    <a:lnTo>
                      <a:pt x="77" y="22"/>
                    </a:lnTo>
                    <a:lnTo>
                      <a:pt x="77" y="21"/>
                    </a:lnTo>
                    <a:lnTo>
                      <a:pt x="77" y="21"/>
                    </a:lnTo>
                    <a:lnTo>
                      <a:pt x="79" y="21"/>
                    </a:lnTo>
                    <a:lnTo>
                      <a:pt x="79" y="21"/>
                    </a:lnTo>
                    <a:lnTo>
                      <a:pt x="77" y="19"/>
                    </a:lnTo>
                    <a:lnTo>
                      <a:pt x="77" y="19"/>
                    </a:lnTo>
                    <a:lnTo>
                      <a:pt x="76" y="21"/>
                    </a:lnTo>
                    <a:lnTo>
                      <a:pt x="76" y="19"/>
                    </a:lnTo>
                    <a:lnTo>
                      <a:pt x="76" y="19"/>
                    </a:lnTo>
                    <a:lnTo>
                      <a:pt x="76" y="18"/>
                    </a:lnTo>
                    <a:lnTo>
                      <a:pt x="76" y="18"/>
                    </a:lnTo>
                    <a:lnTo>
                      <a:pt x="76" y="16"/>
                    </a:lnTo>
                    <a:lnTo>
                      <a:pt x="76" y="16"/>
                    </a:lnTo>
                    <a:lnTo>
                      <a:pt x="76" y="15"/>
                    </a:lnTo>
                    <a:lnTo>
                      <a:pt x="73" y="13"/>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50" name="Freeform 1087"/>
              <p:cNvSpPr>
                <a:spLocks/>
              </p:cNvSpPr>
              <p:nvPr/>
            </p:nvSpPr>
            <p:spPr bwMode="auto">
              <a:xfrm>
                <a:off x="6295407" y="2495772"/>
                <a:ext cx="76368" cy="74031"/>
              </a:xfrm>
              <a:custGeom>
                <a:avLst/>
                <a:gdLst/>
                <a:ahLst/>
                <a:cxnLst>
                  <a:cxn ang="0">
                    <a:pos x="63" y="16"/>
                  </a:cxn>
                  <a:cxn ang="0">
                    <a:pos x="53" y="9"/>
                  </a:cxn>
                  <a:cxn ang="0">
                    <a:pos x="44" y="2"/>
                  </a:cxn>
                  <a:cxn ang="0">
                    <a:pos x="39" y="0"/>
                  </a:cxn>
                  <a:cxn ang="0">
                    <a:pos x="38" y="2"/>
                  </a:cxn>
                  <a:cxn ang="0">
                    <a:pos x="38" y="5"/>
                  </a:cxn>
                  <a:cxn ang="0">
                    <a:pos x="35" y="6"/>
                  </a:cxn>
                  <a:cxn ang="0">
                    <a:pos x="29" y="10"/>
                  </a:cxn>
                  <a:cxn ang="0">
                    <a:pos x="29" y="16"/>
                  </a:cxn>
                  <a:cxn ang="0">
                    <a:pos x="25" y="21"/>
                  </a:cxn>
                  <a:cxn ang="0">
                    <a:pos x="23" y="26"/>
                  </a:cxn>
                  <a:cxn ang="0">
                    <a:pos x="19" y="25"/>
                  </a:cxn>
                  <a:cxn ang="0">
                    <a:pos x="19" y="25"/>
                  </a:cxn>
                  <a:cxn ang="0">
                    <a:pos x="13" y="19"/>
                  </a:cxn>
                  <a:cxn ang="0">
                    <a:pos x="6" y="22"/>
                  </a:cxn>
                  <a:cxn ang="0">
                    <a:pos x="0" y="22"/>
                  </a:cxn>
                  <a:cxn ang="0">
                    <a:pos x="5" y="36"/>
                  </a:cxn>
                  <a:cxn ang="0">
                    <a:pos x="15" y="26"/>
                  </a:cxn>
                  <a:cxn ang="0">
                    <a:pos x="19" y="31"/>
                  </a:cxn>
                  <a:cxn ang="0">
                    <a:pos x="22" y="41"/>
                  </a:cxn>
                  <a:cxn ang="0">
                    <a:pos x="23" y="48"/>
                  </a:cxn>
                  <a:cxn ang="0">
                    <a:pos x="34" y="57"/>
                  </a:cxn>
                  <a:cxn ang="0">
                    <a:pos x="57" y="71"/>
                  </a:cxn>
                  <a:cxn ang="0">
                    <a:pos x="53" y="61"/>
                  </a:cxn>
                  <a:cxn ang="0">
                    <a:pos x="45" y="55"/>
                  </a:cxn>
                  <a:cxn ang="0">
                    <a:pos x="39" y="50"/>
                  </a:cxn>
                  <a:cxn ang="0">
                    <a:pos x="37" y="44"/>
                  </a:cxn>
                  <a:cxn ang="0">
                    <a:pos x="37" y="41"/>
                  </a:cxn>
                  <a:cxn ang="0">
                    <a:pos x="34" y="36"/>
                  </a:cxn>
                  <a:cxn ang="0">
                    <a:pos x="32" y="32"/>
                  </a:cxn>
                  <a:cxn ang="0">
                    <a:pos x="34" y="25"/>
                  </a:cxn>
                  <a:cxn ang="0">
                    <a:pos x="39" y="31"/>
                  </a:cxn>
                  <a:cxn ang="0">
                    <a:pos x="47" y="26"/>
                  </a:cxn>
                  <a:cxn ang="0">
                    <a:pos x="51" y="28"/>
                  </a:cxn>
                  <a:cxn ang="0">
                    <a:pos x="54" y="28"/>
                  </a:cxn>
                  <a:cxn ang="0">
                    <a:pos x="60" y="28"/>
                  </a:cxn>
                  <a:cxn ang="0">
                    <a:pos x="64" y="28"/>
                  </a:cxn>
                  <a:cxn ang="0">
                    <a:pos x="66" y="29"/>
                  </a:cxn>
                  <a:cxn ang="0">
                    <a:pos x="71" y="31"/>
                  </a:cxn>
                  <a:cxn ang="0">
                    <a:pos x="73" y="29"/>
                  </a:cxn>
                  <a:cxn ang="0">
                    <a:pos x="74" y="32"/>
                  </a:cxn>
                  <a:cxn ang="0">
                    <a:pos x="80" y="32"/>
                  </a:cxn>
                  <a:cxn ang="0">
                    <a:pos x="79" y="28"/>
                  </a:cxn>
                  <a:cxn ang="0">
                    <a:pos x="80" y="26"/>
                  </a:cxn>
                  <a:cxn ang="0">
                    <a:pos x="83" y="26"/>
                  </a:cxn>
                  <a:cxn ang="0">
                    <a:pos x="80" y="25"/>
                  </a:cxn>
                  <a:cxn ang="0">
                    <a:pos x="77" y="23"/>
                  </a:cxn>
                  <a:cxn ang="0">
                    <a:pos x="77" y="22"/>
                  </a:cxn>
                  <a:cxn ang="0">
                    <a:pos x="79" y="21"/>
                  </a:cxn>
                  <a:cxn ang="0">
                    <a:pos x="77" y="19"/>
                  </a:cxn>
                  <a:cxn ang="0">
                    <a:pos x="76" y="19"/>
                  </a:cxn>
                  <a:cxn ang="0">
                    <a:pos x="76" y="16"/>
                  </a:cxn>
                  <a:cxn ang="0">
                    <a:pos x="73" y="13"/>
                  </a:cxn>
                </a:cxnLst>
                <a:rect l="0" t="0" r="r" b="b"/>
                <a:pathLst>
                  <a:path w="83" h="71">
                    <a:moveTo>
                      <a:pt x="73" y="13"/>
                    </a:moveTo>
                    <a:lnTo>
                      <a:pt x="70" y="15"/>
                    </a:lnTo>
                    <a:lnTo>
                      <a:pt x="63" y="16"/>
                    </a:lnTo>
                    <a:lnTo>
                      <a:pt x="58" y="15"/>
                    </a:lnTo>
                    <a:lnTo>
                      <a:pt x="55" y="13"/>
                    </a:lnTo>
                    <a:lnTo>
                      <a:pt x="53" y="9"/>
                    </a:lnTo>
                    <a:lnTo>
                      <a:pt x="50" y="7"/>
                    </a:lnTo>
                    <a:lnTo>
                      <a:pt x="47" y="3"/>
                    </a:lnTo>
                    <a:lnTo>
                      <a:pt x="44" y="2"/>
                    </a:lnTo>
                    <a:lnTo>
                      <a:pt x="42" y="2"/>
                    </a:lnTo>
                    <a:lnTo>
                      <a:pt x="42" y="2"/>
                    </a:lnTo>
                    <a:lnTo>
                      <a:pt x="39" y="0"/>
                    </a:lnTo>
                    <a:lnTo>
                      <a:pt x="39" y="0"/>
                    </a:lnTo>
                    <a:lnTo>
                      <a:pt x="38" y="2"/>
                    </a:lnTo>
                    <a:lnTo>
                      <a:pt x="38" y="2"/>
                    </a:lnTo>
                    <a:lnTo>
                      <a:pt x="38" y="5"/>
                    </a:lnTo>
                    <a:lnTo>
                      <a:pt x="38" y="5"/>
                    </a:lnTo>
                    <a:lnTo>
                      <a:pt x="38" y="5"/>
                    </a:lnTo>
                    <a:lnTo>
                      <a:pt x="35" y="5"/>
                    </a:lnTo>
                    <a:lnTo>
                      <a:pt x="35" y="5"/>
                    </a:lnTo>
                    <a:lnTo>
                      <a:pt x="35" y="6"/>
                    </a:lnTo>
                    <a:lnTo>
                      <a:pt x="29" y="7"/>
                    </a:lnTo>
                    <a:lnTo>
                      <a:pt x="29" y="9"/>
                    </a:lnTo>
                    <a:lnTo>
                      <a:pt x="29" y="10"/>
                    </a:lnTo>
                    <a:lnTo>
                      <a:pt x="31" y="12"/>
                    </a:lnTo>
                    <a:lnTo>
                      <a:pt x="31" y="15"/>
                    </a:lnTo>
                    <a:lnTo>
                      <a:pt x="29" y="16"/>
                    </a:lnTo>
                    <a:lnTo>
                      <a:pt x="26" y="16"/>
                    </a:lnTo>
                    <a:lnTo>
                      <a:pt x="23" y="19"/>
                    </a:lnTo>
                    <a:lnTo>
                      <a:pt x="25" y="21"/>
                    </a:lnTo>
                    <a:lnTo>
                      <a:pt x="23" y="22"/>
                    </a:lnTo>
                    <a:lnTo>
                      <a:pt x="25" y="25"/>
                    </a:lnTo>
                    <a:lnTo>
                      <a:pt x="23" y="26"/>
                    </a:lnTo>
                    <a:lnTo>
                      <a:pt x="22" y="26"/>
                    </a:lnTo>
                    <a:lnTo>
                      <a:pt x="21" y="25"/>
                    </a:lnTo>
                    <a:lnTo>
                      <a:pt x="19" y="25"/>
                    </a:lnTo>
                    <a:lnTo>
                      <a:pt x="19" y="23"/>
                    </a:lnTo>
                    <a:lnTo>
                      <a:pt x="19" y="23"/>
                    </a:lnTo>
                    <a:lnTo>
                      <a:pt x="19" y="25"/>
                    </a:lnTo>
                    <a:lnTo>
                      <a:pt x="18" y="25"/>
                    </a:lnTo>
                    <a:lnTo>
                      <a:pt x="15" y="21"/>
                    </a:lnTo>
                    <a:lnTo>
                      <a:pt x="13" y="19"/>
                    </a:lnTo>
                    <a:lnTo>
                      <a:pt x="12" y="23"/>
                    </a:lnTo>
                    <a:lnTo>
                      <a:pt x="8" y="23"/>
                    </a:lnTo>
                    <a:lnTo>
                      <a:pt x="6" y="22"/>
                    </a:lnTo>
                    <a:lnTo>
                      <a:pt x="6" y="23"/>
                    </a:lnTo>
                    <a:lnTo>
                      <a:pt x="2" y="23"/>
                    </a:lnTo>
                    <a:lnTo>
                      <a:pt x="0" y="22"/>
                    </a:lnTo>
                    <a:lnTo>
                      <a:pt x="0" y="28"/>
                    </a:lnTo>
                    <a:lnTo>
                      <a:pt x="5" y="35"/>
                    </a:lnTo>
                    <a:lnTo>
                      <a:pt x="5" y="36"/>
                    </a:lnTo>
                    <a:lnTo>
                      <a:pt x="6" y="35"/>
                    </a:lnTo>
                    <a:lnTo>
                      <a:pt x="12" y="26"/>
                    </a:lnTo>
                    <a:lnTo>
                      <a:pt x="15" y="26"/>
                    </a:lnTo>
                    <a:lnTo>
                      <a:pt x="16" y="29"/>
                    </a:lnTo>
                    <a:lnTo>
                      <a:pt x="18" y="29"/>
                    </a:lnTo>
                    <a:lnTo>
                      <a:pt x="19" y="31"/>
                    </a:lnTo>
                    <a:lnTo>
                      <a:pt x="19" y="34"/>
                    </a:lnTo>
                    <a:lnTo>
                      <a:pt x="19" y="38"/>
                    </a:lnTo>
                    <a:lnTo>
                      <a:pt x="22" y="41"/>
                    </a:lnTo>
                    <a:lnTo>
                      <a:pt x="26" y="45"/>
                    </a:lnTo>
                    <a:lnTo>
                      <a:pt x="23" y="47"/>
                    </a:lnTo>
                    <a:lnTo>
                      <a:pt x="23" y="48"/>
                    </a:lnTo>
                    <a:lnTo>
                      <a:pt x="23" y="50"/>
                    </a:lnTo>
                    <a:lnTo>
                      <a:pt x="26" y="52"/>
                    </a:lnTo>
                    <a:lnTo>
                      <a:pt x="34" y="57"/>
                    </a:lnTo>
                    <a:lnTo>
                      <a:pt x="35" y="61"/>
                    </a:lnTo>
                    <a:lnTo>
                      <a:pt x="42" y="63"/>
                    </a:lnTo>
                    <a:lnTo>
                      <a:pt x="57" y="71"/>
                    </a:lnTo>
                    <a:lnTo>
                      <a:pt x="58" y="71"/>
                    </a:lnTo>
                    <a:lnTo>
                      <a:pt x="53" y="64"/>
                    </a:lnTo>
                    <a:lnTo>
                      <a:pt x="53" y="61"/>
                    </a:lnTo>
                    <a:lnTo>
                      <a:pt x="51" y="61"/>
                    </a:lnTo>
                    <a:lnTo>
                      <a:pt x="50" y="60"/>
                    </a:lnTo>
                    <a:lnTo>
                      <a:pt x="45" y="55"/>
                    </a:lnTo>
                    <a:lnTo>
                      <a:pt x="44" y="54"/>
                    </a:lnTo>
                    <a:lnTo>
                      <a:pt x="42" y="50"/>
                    </a:lnTo>
                    <a:lnTo>
                      <a:pt x="39" y="50"/>
                    </a:lnTo>
                    <a:lnTo>
                      <a:pt x="38" y="47"/>
                    </a:lnTo>
                    <a:lnTo>
                      <a:pt x="37" y="47"/>
                    </a:lnTo>
                    <a:lnTo>
                      <a:pt x="37" y="44"/>
                    </a:lnTo>
                    <a:lnTo>
                      <a:pt x="38" y="44"/>
                    </a:lnTo>
                    <a:lnTo>
                      <a:pt x="37" y="42"/>
                    </a:lnTo>
                    <a:lnTo>
                      <a:pt x="37" y="41"/>
                    </a:lnTo>
                    <a:lnTo>
                      <a:pt x="35" y="39"/>
                    </a:lnTo>
                    <a:lnTo>
                      <a:pt x="34" y="36"/>
                    </a:lnTo>
                    <a:lnTo>
                      <a:pt x="34" y="36"/>
                    </a:lnTo>
                    <a:lnTo>
                      <a:pt x="31" y="34"/>
                    </a:lnTo>
                    <a:lnTo>
                      <a:pt x="31" y="34"/>
                    </a:lnTo>
                    <a:lnTo>
                      <a:pt x="32" y="32"/>
                    </a:lnTo>
                    <a:lnTo>
                      <a:pt x="32" y="32"/>
                    </a:lnTo>
                    <a:lnTo>
                      <a:pt x="32" y="26"/>
                    </a:lnTo>
                    <a:lnTo>
                      <a:pt x="34" y="25"/>
                    </a:lnTo>
                    <a:lnTo>
                      <a:pt x="35" y="26"/>
                    </a:lnTo>
                    <a:lnTo>
                      <a:pt x="35" y="26"/>
                    </a:lnTo>
                    <a:lnTo>
                      <a:pt x="39" y="31"/>
                    </a:lnTo>
                    <a:lnTo>
                      <a:pt x="39" y="31"/>
                    </a:lnTo>
                    <a:lnTo>
                      <a:pt x="42" y="26"/>
                    </a:lnTo>
                    <a:lnTo>
                      <a:pt x="47" y="26"/>
                    </a:lnTo>
                    <a:lnTo>
                      <a:pt x="48" y="25"/>
                    </a:lnTo>
                    <a:lnTo>
                      <a:pt x="48" y="25"/>
                    </a:lnTo>
                    <a:lnTo>
                      <a:pt x="51" y="28"/>
                    </a:lnTo>
                    <a:lnTo>
                      <a:pt x="53" y="28"/>
                    </a:lnTo>
                    <a:lnTo>
                      <a:pt x="53" y="26"/>
                    </a:lnTo>
                    <a:lnTo>
                      <a:pt x="54" y="28"/>
                    </a:lnTo>
                    <a:lnTo>
                      <a:pt x="58" y="28"/>
                    </a:lnTo>
                    <a:lnTo>
                      <a:pt x="58" y="28"/>
                    </a:lnTo>
                    <a:lnTo>
                      <a:pt x="60" y="28"/>
                    </a:lnTo>
                    <a:lnTo>
                      <a:pt x="61" y="29"/>
                    </a:lnTo>
                    <a:lnTo>
                      <a:pt x="61" y="29"/>
                    </a:lnTo>
                    <a:lnTo>
                      <a:pt x="64" y="28"/>
                    </a:lnTo>
                    <a:lnTo>
                      <a:pt x="64" y="28"/>
                    </a:lnTo>
                    <a:lnTo>
                      <a:pt x="66" y="29"/>
                    </a:lnTo>
                    <a:lnTo>
                      <a:pt x="66" y="29"/>
                    </a:lnTo>
                    <a:lnTo>
                      <a:pt x="67" y="28"/>
                    </a:lnTo>
                    <a:lnTo>
                      <a:pt x="70" y="29"/>
                    </a:lnTo>
                    <a:lnTo>
                      <a:pt x="71" y="31"/>
                    </a:lnTo>
                    <a:lnTo>
                      <a:pt x="71" y="29"/>
                    </a:lnTo>
                    <a:lnTo>
                      <a:pt x="71" y="29"/>
                    </a:lnTo>
                    <a:lnTo>
                      <a:pt x="73" y="29"/>
                    </a:lnTo>
                    <a:lnTo>
                      <a:pt x="74" y="31"/>
                    </a:lnTo>
                    <a:lnTo>
                      <a:pt x="74" y="32"/>
                    </a:lnTo>
                    <a:lnTo>
                      <a:pt x="74" y="32"/>
                    </a:lnTo>
                    <a:lnTo>
                      <a:pt x="76" y="34"/>
                    </a:lnTo>
                    <a:lnTo>
                      <a:pt x="79" y="34"/>
                    </a:lnTo>
                    <a:lnTo>
                      <a:pt x="80" y="32"/>
                    </a:lnTo>
                    <a:lnTo>
                      <a:pt x="80" y="31"/>
                    </a:lnTo>
                    <a:lnTo>
                      <a:pt x="79" y="31"/>
                    </a:lnTo>
                    <a:lnTo>
                      <a:pt x="79" y="28"/>
                    </a:lnTo>
                    <a:lnTo>
                      <a:pt x="80" y="28"/>
                    </a:lnTo>
                    <a:lnTo>
                      <a:pt x="80" y="26"/>
                    </a:lnTo>
                    <a:lnTo>
                      <a:pt x="80" y="26"/>
                    </a:lnTo>
                    <a:lnTo>
                      <a:pt x="83" y="26"/>
                    </a:lnTo>
                    <a:lnTo>
                      <a:pt x="83" y="26"/>
                    </a:lnTo>
                    <a:lnTo>
                      <a:pt x="83" y="26"/>
                    </a:lnTo>
                    <a:lnTo>
                      <a:pt x="83" y="25"/>
                    </a:lnTo>
                    <a:lnTo>
                      <a:pt x="82" y="25"/>
                    </a:lnTo>
                    <a:lnTo>
                      <a:pt x="80" y="25"/>
                    </a:lnTo>
                    <a:lnTo>
                      <a:pt x="80" y="25"/>
                    </a:lnTo>
                    <a:lnTo>
                      <a:pt x="79" y="23"/>
                    </a:lnTo>
                    <a:lnTo>
                      <a:pt x="77" y="23"/>
                    </a:lnTo>
                    <a:lnTo>
                      <a:pt x="77" y="23"/>
                    </a:lnTo>
                    <a:lnTo>
                      <a:pt x="77" y="22"/>
                    </a:lnTo>
                    <a:lnTo>
                      <a:pt x="77" y="22"/>
                    </a:lnTo>
                    <a:lnTo>
                      <a:pt x="77" y="21"/>
                    </a:lnTo>
                    <a:lnTo>
                      <a:pt x="77" y="21"/>
                    </a:lnTo>
                    <a:lnTo>
                      <a:pt x="79" y="21"/>
                    </a:lnTo>
                    <a:lnTo>
                      <a:pt x="79" y="21"/>
                    </a:lnTo>
                    <a:lnTo>
                      <a:pt x="77" y="19"/>
                    </a:lnTo>
                    <a:lnTo>
                      <a:pt x="77" y="19"/>
                    </a:lnTo>
                    <a:lnTo>
                      <a:pt x="76" y="21"/>
                    </a:lnTo>
                    <a:lnTo>
                      <a:pt x="76" y="19"/>
                    </a:lnTo>
                    <a:lnTo>
                      <a:pt x="76" y="19"/>
                    </a:lnTo>
                    <a:lnTo>
                      <a:pt x="76" y="18"/>
                    </a:lnTo>
                    <a:lnTo>
                      <a:pt x="76" y="18"/>
                    </a:lnTo>
                    <a:lnTo>
                      <a:pt x="76" y="16"/>
                    </a:lnTo>
                    <a:lnTo>
                      <a:pt x="76" y="16"/>
                    </a:lnTo>
                    <a:lnTo>
                      <a:pt x="76" y="15"/>
                    </a:lnTo>
                    <a:lnTo>
                      <a:pt x="73" y="1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51" name="Freeform 1088"/>
              <p:cNvSpPr>
                <a:spLocks/>
              </p:cNvSpPr>
              <p:nvPr/>
            </p:nvSpPr>
            <p:spPr bwMode="auto">
              <a:xfrm>
                <a:off x="6370898" y="2577916"/>
                <a:ext cx="21944" cy="58819"/>
              </a:xfrm>
              <a:custGeom>
                <a:avLst/>
                <a:gdLst/>
                <a:ahLst/>
                <a:cxnLst>
                  <a:cxn ang="0">
                    <a:pos x="13" y="55"/>
                  </a:cxn>
                  <a:cxn ang="0">
                    <a:pos x="10" y="55"/>
                  </a:cxn>
                  <a:cxn ang="0">
                    <a:pos x="10" y="52"/>
                  </a:cxn>
                  <a:cxn ang="0">
                    <a:pos x="8" y="49"/>
                  </a:cxn>
                  <a:cxn ang="0">
                    <a:pos x="2" y="48"/>
                  </a:cxn>
                  <a:cxn ang="0">
                    <a:pos x="0" y="42"/>
                  </a:cxn>
                  <a:cxn ang="0">
                    <a:pos x="1" y="42"/>
                  </a:cxn>
                  <a:cxn ang="0">
                    <a:pos x="1" y="36"/>
                  </a:cxn>
                  <a:cxn ang="0">
                    <a:pos x="1" y="33"/>
                  </a:cxn>
                  <a:cxn ang="0">
                    <a:pos x="2" y="32"/>
                  </a:cxn>
                  <a:cxn ang="0">
                    <a:pos x="2" y="29"/>
                  </a:cxn>
                  <a:cxn ang="0">
                    <a:pos x="2" y="27"/>
                  </a:cxn>
                  <a:cxn ang="0">
                    <a:pos x="1" y="24"/>
                  </a:cxn>
                  <a:cxn ang="0">
                    <a:pos x="4" y="16"/>
                  </a:cxn>
                  <a:cxn ang="0">
                    <a:pos x="2" y="16"/>
                  </a:cxn>
                  <a:cxn ang="0">
                    <a:pos x="0" y="14"/>
                  </a:cxn>
                  <a:cxn ang="0">
                    <a:pos x="1" y="10"/>
                  </a:cxn>
                  <a:cxn ang="0">
                    <a:pos x="1" y="7"/>
                  </a:cxn>
                  <a:cxn ang="0">
                    <a:pos x="2" y="4"/>
                  </a:cxn>
                  <a:cxn ang="0">
                    <a:pos x="4" y="3"/>
                  </a:cxn>
                  <a:cxn ang="0">
                    <a:pos x="5" y="0"/>
                  </a:cxn>
                  <a:cxn ang="0">
                    <a:pos x="8" y="1"/>
                  </a:cxn>
                  <a:cxn ang="0">
                    <a:pos x="11" y="3"/>
                  </a:cxn>
                  <a:cxn ang="0">
                    <a:pos x="13" y="5"/>
                  </a:cxn>
                  <a:cxn ang="0">
                    <a:pos x="16" y="5"/>
                  </a:cxn>
                  <a:cxn ang="0">
                    <a:pos x="18" y="10"/>
                  </a:cxn>
                  <a:cxn ang="0">
                    <a:pos x="17" y="24"/>
                  </a:cxn>
                  <a:cxn ang="0">
                    <a:pos x="20" y="29"/>
                  </a:cxn>
                  <a:cxn ang="0">
                    <a:pos x="24" y="33"/>
                  </a:cxn>
                  <a:cxn ang="0">
                    <a:pos x="24" y="40"/>
                  </a:cxn>
                  <a:cxn ang="0">
                    <a:pos x="21" y="43"/>
                  </a:cxn>
                  <a:cxn ang="0">
                    <a:pos x="20" y="48"/>
                  </a:cxn>
                  <a:cxn ang="0">
                    <a:pos x="17" y="49"/>
                  </a:cxn>
                  <a:cxn ang="0">
                    <a:pos x="16" y="52"/>
                  </a:cxn>
                  <a:cxn ang="0">
                    <a:pos x="14" y="53"/>
                  </a:cxn>
                  <a:cxn ang="0">
                    <a:pos x="13" y="56"/>
                  </a:cxn>
                  <a:cxn ang="0">
                    <a:pos x="13" y="55"/>
                  </a:cxn>
                </a:cxnLst>
                <a:rect l="0" t="0" r="r" b="b"/>
                <a:pathLst>
                  <a:path w="24" h="56">
                    <a:moveTo>
                      <a:pt x="13" y="55"/>
                    </a:moveTo>
                    <a:lnTo>
                      <a:pt x="10" y="55"/>
                    </a:lnTo>
                    <a:lnTo>
                      <a:pt x="10" y="52"/>
                    </a:lnTo>
                    <a:lnTo>
                      <a:pt x="8" y="49"/>
                    </a:lnTo>
                    <a:lnTo>
                      <a:pt x="2" y="48"/>
                    </a:lnTo>
                    <a:lnTo>
                      <a:pt x="0" y="42"/>
                    </a:lnTo>
                    <a:lnTo>
                      <a:pt x="1" y="42"/>
                    </a:lnTo>
                    <a:lnTo>
                      <a:pt x="1" y="36"/>
                    </a:lnTo>
                    <a:lnTo>
                      <a:pt x="1" y="33"/>
                    </a:lnTo>
                    <a:lnTo>
                      <a:pt x="2" y="32"/>
                    </a:lnTo>
                    <a:lnTo>
                      <a:pt x="2" y="29"/>
                    </a:lnTo>
                    <a:lnTo>
                      <a:pt x="2" y="27"/>
                    </a:lnTo>
                    <a:lnTo>
                      <a:pt x="1" y="24"/>
                    </a:lnTo>
                    <a:lnTo>
                      <a:pt x="4" y="16"/>
                    </a:lnTo>
                    <a:lnTo>
                      <a:pt x="2" y="16"/>
                    </a:lnTo>
                    <a:lnTo>
                      <a:pt x="0" y="14"/>
                    </a:lnTo>
                    <a:lnTo>
                      <a:pt x="1" y="10"/>
                    </a:lnTo>
                    <a:lnTo>
                      <a:pt x="1" y="7"/>
                    </a:lnTo>
                    <a:lnTo>
                      <a:pt x="2" y="4"/>
                    </a:lnTo>
                    <a:lnTo>
                      <a:pt x="4" y="3"/>
                    </a:lnTo>
                    <a:lnTo>
                      <a:pt x="5" y="0"/>
                    </a:lnTo>
                    <a:lnTo>
                      <a:pt x="8" y="1"/>
                    </a:lnTo>
                    <a:lnTo>
                      <a:pt x="11" y="3"/>
                    </a:lnTo>
                    <a:lnTo>
                      <a:pt x="13" y="5"/>
                    </a:lnTo>
                    <a:lnTo>
                      <a:pt x="16" y="5"/>
                    </a:lnTo>
                    <a:lnTo>
                      <a:pt x="18" y="10"/>
                    </a:lnTo>
                    <a:lnTo>
                      <a:pt x="17" y="24"/>
                    </a:lnTo>
                    <a:lnTo>
                      <a:pt x="20" y="29"/>
                    </a:lnTo>
                    <a:lnTo>
                      <a:pt x="24" y="33"/>
                    </a:lnTo>
                    <a:lnTo>
                      <a:pt x="24" y="40"/>
                    </a:lnTo>
                    <a:lnTo>
                      <a:pt x="21" y="43"/>
                    </a:lnTo>
                    <a:lnTo>
                      <a:pt x="20" y="48"/>
                    </a:lnTo>
                    <a:lnTo>
                      <a:pt x="17" y="49"/>
                    </a:lnTo>
                    <a:lnTo>
                      <a:pt x="16" y="52"/>
                    </a:lnTo>
                    <a:lnTo>
                      <a:pt x="14" y="53"/>
                    </a:lnTo>
                    <a:lnTo>
                      <a:pt x="13" y="56"/>
                    </a:lnTo>
                    <a:lnTo>
                      <a:pt x="13" y="5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52" name="Freeform 1089"/>
              <p:cNvSpPr>
                <a:spLocks/>
              </p:cNvSpPr>
              <p:nvPr/>
            </p:nvSpPr>
            <p:spPr bwMode="auto">
              <a:xfrm>
                <a:off x="6370898" y="2577916"/>
                <a:ext cx="21944" cy="58819"/>
              </a:xfrm>
              <a:custGeom>
                <a:avLst/>
                <a:gdLst/>
                <a:ahLst/>
                <a:cxnLst>
                  <a:cxn ang="0">
                    <a:pos x="13" y="55"/>
                  </a:cxn>
                  <a:cxn ang="0">
                    <a:pos x="10" y="55"/>
                  </a:cxn>
                  <a:cxn ang="0">
                    <a:pos x="10" y="52"/>
                  </a:cxn>
                  <a:cxn ang="0">
                    <a:pos x="8" y="49"/>
                  </a:cxn>
                  <a:cxn ang="0">
                    <a:pos x="2" y="48"/>
                  </a:cxn>
                  <a:cxn ang="0">
                    <a:pos x="0" y="42"/>
                  </a:cxn>
                  <a:cxn ang="0">
                    <a:pos x="1" y="42"/>
                  </a:cxn>
                  <a:cxn ang="0">
                    <a:pos x="1" y="36"/>
                  </a:cxn>
                  <a:cxn ang="0">
                    <a:pos x="1" y="33"/>
                  </a:cxn>
                  <a:cxn ang="0">
                    <a:pos x="2" y="32"/>
                  </a:cxn>
                  <a:cxn ang="0">
                    <a:pos x="2" y="29"/>
                  </a:cxn>
                  <a:cxn ang="0">
                    <a:pos x="2" y="27"/>
                  </a:cxn>
                  <a:cxn ang="0">
                    <a:pos x="1" y="24"/>
                  </a:cxn>
                  <a:cxn ang="0">
                    <a:pos x="4" y="16"/>
                  </a:cxn>
                  <a:cxn ang="0">
                    <a:pos x="2" y="16"/>
                  </a:cxn>
                  <a:cxn ang="0">
                    <a:pos x="0" y="14"/>
                  </a:cxn>
                  <a:cxn ang="0">
                    <a:pos x="1" y="10"/>
                  </a:cxn>
                  <a:cxn ang="0">
                    <a:pos x="1" y="7"/>
                  </a:cxn>
                  <a:cxn ang="0">
                    <a:pos x="2" y="4"/>
                  </a:cxn>
                  <a:cxn ang="0">
                    <a:pos x="4" y="3"/>
                  </a:cxn>
                  <a:cxn ang="0">
                    <a:pos x="5" y="0"/>
                  </a:cxn>
                  <a:cxn ang="0">
                    <a:pos x="8" y="1"/>
                  </a:cxn>
                  <a:cxn ang="0">
                    <a:pos x="11" y="3"/>
                  </a:cxn>
                  <a:cxn ang="0">
                    <a:pos x="13" y="5"/>
                  </a:cxn>
                  <a:cxn ang="0">
                    <a:pos x="16" y="5"/>
                  </a:cxn>
                  <a:cxn ang="0">
                    <a:pos x="18" y="10"/>
                  </a:cxn>
                  <a:cxn ang="0">
                    <a:pos x="17" y="24"/>
                  </a:cxn>
                  <a:cxn ang="0">
                    <a:pos x="20" y="29"/>
                  </a:cxn>
                  <a:cxn ang="0">
                    <a:pos x="24" y="33"/>
                  </a:cxn>
                  <a:cxn ang="0">
                    <a:pos x="24" y="40"/>
                  </a:cxn>
                  <a:cxn ang="0">
                    <a:pos x="21" y="43"/>
                  </a:cxn>
                  <a:cxn ang="0">
                    <a:pos x="20" y="48"/>
                  </a:cxn>
                  <a:cxn ang="0">
                    <a:pos x="17" y="49"/>
                  </a:cxn>
                  <a:cxn ang="0">
                    <a:pos x="16" y="52"/>
                  </a:cxn>
                  <a:cxn ang="0">
                    <a:pos x="14" y="53"/>
                  </a:cxn>
                  <a:cxn ang="0">
                    <a:pos x="13" y="56"/>
                  </a:cxn>
                  <a:cxn ang="0">
                    <a:pos x="13" y="55"/>
                  </a:cxn>
                </a:cxnLst>
                <a:rect l="0" t="0" r="r" b="b"/>
                <a:pathLst>
                  <a:path w="24" h="56">
                    <a:moveTo>
                      <a:pt x="13" y="55"/>
                    </a:moveTo>
                    <a:lnTo>
                      <a:pt x="10" y="55"/>
                    </a:lnTo>
                    <a:lnTo>
                      <a:pt x="10" y="52"/>
                    </a:lnTo>
                    <a:lnTo>
                      <a:pt x="8" y="49"/>
                    </a:lnTo>
                    <a:lnTo>
                      <a:pt x="2" y="48"/>
                    </a:lnTo>
                    <a:lnTo>
                      <a:pt x="0" y="42"/>
                    </a:lnTo>
                    <a:lnTo>
                      <a:pt x="1" y="42"/>
                    </a:lnTo>
                    <a:lnTo>
                      <a:pt x="1" y="36"/>
                    </a:lnTo>
                    <a:lnTo>
                      <a:pt x="1" y="33"/>
                    </a:lnTo>
                    <a:lnTo>
                      <a:pt x="2" y="32"/>
                    </a:lnTo>
                    <a:lnTo>
                      <a:pt x="2" y="29"/>
                    </a:lnTo>
                    <a:lnTo>
                      <a:pt x="2" y="27"/>
                    </a:lnTo>
                    <a:lnTo>
                      <a:pt x="1" y="24"/>
                    </a:lnTo>
                    <a:lnTo>
                      <a:pt x="4" y="16"/>
                    </a:lnTo>
                    <a:lnTo>
                      <a:pt x="2" y="16"/>
                    </a:lnTo>
                    <a:lnTo>
                      <a:pt x="0" y="14"/>
                    </a:lnTo>
                    <a:lnTo>
                      <a:pt x="1" y="10"/>
                    </a:lnTo>
                    <a:lnTo>
                      <a:pt x="1" y="7"/>
                    </a:lnTo>
                    <a:lnTo>
                      <a:pt x="2" y="4"/>
                    </a:lnTo>
                    <a:lnTo>
                      <a:pt x="4" y="3"/>
                    </a:lnTo>
                    <a:lnTo>
                      <a:pt x="5" y="0"/>
                    </a:lnTo>
                    <a:lnTo>
                      <a:pt x="8" y="1"/>
                    </a:lnTo>
                    <a:lnTo>
                      <a:pt x="11" y="3"/>
                    </a:lnTo>
                    <a:lnTo>
                      <a:pt x="13" y="5"/>
                    </a:lnTo>
                    <a:lnTo>
                      <a:pt x="16" y="5"/>
                    </a:lnTo>
                    <a:lnTo>
                      <a:pt x="18" y="10"/>
                    </a:lnTo>
                    <a:lnTo>
                      <a:pt x="17" y="24"/>
                    </a:lnTo>
                    <a:lnTo>
                      <a:pt x="20" y="29"/>
                    </a:lnTo>
                    <a:lnTo>
                      <a:pt x="24" y="33"/>
                    </a:lnTo>
                    <a:lnTo>
                      <a:pt x="24" y="40"/>
                    </a:lnTo>
                    <a:lnTo>
                      <a:pt x="21" y="43"/>
                    </a:lnTo>
                    <a:lnTo>
                      <a:pt x="20" y="48"/>
                    </a:lnTo>
                    <a:lnTo>
                      <a:pt x="17" y="49"/>
                    </a:lnTo>
                    <a:lnTo>
                      <a:pt x="16" y="52"/>
                    </a:lnTo>
                    <a:lnTo>
                      <a:pt x="14" y="53"/>
                    </a:lnTo>
                    <a:lnTo>
                      <a:pt x="13" y="56"/>
                    </a:lnTo>
                    <a:lnTo>
                      <a:pt x="13" y="55"/>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53" name="Freeform 1090"/>
              <p:cNvSpPr>
                <a:spLocks/>
              </p:cNvSpPr>
              <p:nvPr/>
            </p:nvSpPr>
            <p:spPr bwMode="auto">
              <a:xfrm>
                <a:off x="7402314" y="3153943"/>
                <a:ext cx="878" cy="5071"/>
              </a:xfrm>
              <a:custGeom>
                <a:avLst/>
                <a:gdLst/>
                <a:ahLst/>
                <a:cxnLst>
                  <a:cxn ang="0">
                    <a:pos x="0" y="0"/>
                  </a:cxn>
                  <a:cxn ang="0">
                    <a:pos x="0" y="0"/>
                  </a:cxn>
                  <a:cxn ang="0">
                    <a:pos x="0" y="3"/>
                  </a:cxn>
                  <a:cxn ang="0">
                    <a:pos x="0" y="5"/>
                  </a:cxn>
                  <a:cxn ang="0">
                    <a:pos x="1" y="3"/>
                  </a:cxn>
                  <a:cxn ang="0">
                    <a:pos x="1" y="2"/>
                  </a:cxn>
                  <a:cxn ang="0">
                    <a:pos x="1" y="0"/>
                  </a:cxn>
                  <a:cxn ang="0">
                    <a:pos x="0" y="0"/>
                  </a:cxn>
                </a:cxnLst>
                <a:rect l="0" t="0" r="r" b="b"/>
                <a:pathLst>
                  <a:path w="1" h="5">
                    <a:moveTo>
                      <a:pt x="0" y="0"/>
                    </a:moveTo>
                    <a:lnTo>
                      <a:pt x="0" y="0"/>
                    </a:lnTo>
                    <a:lnTo>
                      <a:pt x="0" y="3"/>
                    </a:lnTo>
                    <a:lnTo>
                      <a:pt x="0" y="5"/>
                    </a:lnTo>
                    <a:lnTo>
                      <a:pt x="1" y="3"/>
                    </a:lnTo>
                    <a:lnTo>
                      <a:pt x="1" y="2"/>
                    </a:lnTo>
                    <a:lnTo>
                      <a:pt x="1" y="0"/>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54" name="Freeform 1091"/>
              <p:cNvSpPr>
                <a:spLocks/>
              </p:cNvSpPr>
              <p:nvPr/>
            </p:nvSpPr>
            <p:spPr bwMode="auto">
              <a:xfrm>
                <a:off x="7402314" y="3153943"/>
                <a:ext cx="878" cy="5071"/>
              </a:xfrm>
              <a:custGeom>
                <a:avLst/>
                <a:gdLst/>
                <a:ahLst/>
                <a:cxnLst>
                  <a:cxn ang="0">
                    <a:pos x="0" y="0"/>
                  </a:cxn>
                  <a:cxn ang="0">
                    <a:pos x="0" y="0"/>
                  </a:cxn>
                  <a:cxn ang="0">
                    <a:pos x="0" y="3"/>
                  </a:cxn>
                  <a:cxn ang="0">
                    <a:pos x="0" y="5"/>
                  </a:cxn>
                  <a:cxn ang="0">
                    <a:pos x="1" y="3"/>
                  </a:cxn>
                  <a:cxn ang="0">
                    <a:pos x="1" y="2"/>
                  </a:cxn>
                  <a:cxn ang="0">
                    <a:pos x="1" y="0"/>
                  </a:cxn>
                  <a:cxn ang="0">
                    <a:pos x="0" y="0"/>
                  </a:cxn>
                </a:cxnLst>
                <a:rect l="0" t="0" r="r" b="b"/>
                <a:pathLst>
                  <a:path w="1" h="5">
                    <a:moveTo>
                      <a:pt x="0" y="0"/>
                    </a:moveTo>
                    <a:lnTo>
                      <a:pt x="0" y="0"/>
                    </a:lnTo>
                    <a:lnTo>
                      <a:pt x="0" y="3"/>
                    </a:lnTo>
                    <a:lnTo>
                      <a:pt x="0" y="5"/>
                    </a:lnTo>
                    <a:lnTo>
                      <a:pt x="1" y="3"/>
                    </a:lnTo>
                    <a:lnTo>
                      <a:pt x="1" y="2"/>
                    </a:lnTo>
                    <a:lnTo>
                      <a:pt x="1" y="0"/>
                    </a:lnTo>
                    <a:lnTo>
                      <a:pt x="0"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55" name="Freeform 1092"/>
              <p:cNvSpPr>
                <a:spLocks/>
              </p:cNvSpPr>
              <p:nvPr/>
            </p:nvSpPr>
            <p:spPr bwMode="auto">
              <a:xfrm>
                <a:off x="7393536" y="2962273"/>
                <a:ext cx="101825" cy="228179"/>
              </a:xfrm>
              <a:custGeom>
                <a:avLst/>
                <a:gdLst/>
                <a:ahLst/>
                <a:cxnLst>
                  <a:cxn ang="0">
                    <a:pos x="33" y="7"/>
                  </a:cxn>
                  <a:cxn ang="0">
                    <a:pos x="5" y="17"/>
                  </a:cxn>
                  <a:cxn ang="0">
                    <a:pos x="0" y="35"/>
                  </a:cxn>
                  <a:cxn ang="0">
                    <a:pos x="13" y="55"/>
                  </a:cxn>
                  <a:cxn ang="0">
                    <a:pos x="17" y="68"/>
                  </a:cxn>
                  <a:cxn ang="0">
                    <a:pos x="13" y="78"/>
                  </a:cxn>
                  <a:cxn ang="0">
                    <a:pos x="8" y="87"/>
                  </a:cxn>
                  <a:cxn ang="0">
                    <a:pos x="23" y="117"/>
                  </a:cxn>
                  <a:cxn ang="0">
                    <a:pos x="29" y="132"/>
                  </a:cxn>
                  <a:cxn ang="0">
                    <a:pos x="10" y="181"/>
                  </a:cxn>
                  <a:cxn ang="0">
                    <a:pos x="20" y="189"/>
                  </a:cxn>
                  <a:cxn ang="0">
                    <a:pos x="30" y="202"/>
                  </a:cxn>
                  <a:cxn ang="0">
                    <a:pos x="39" y="205"/>
                  </a:cxn>
                  <a:cxn ang="0">
                    <a:pos x="50" y="212"/>
                  </a:cxn>
                  <a:cxn ang="0">
                    <a:pos x="58" y="215"/>
                  </a:cxn>
                  <a:cxn ang="0">
                    <a:pos x="65" y="212"/>
                  </a:cxn>
                  <a:cxn ang="0">
                    <a:pos x="42" y="196"/>
                  </a:cxn>
                  <a:cxn ang="0">
                    <a:pos x="33" y="171"/>
                  </a:cxn>
                  <a:cxn ang="0">
                    <a:pos x="26" y="170"/>
                  </a:cxn>
                  <a:cxn ang="0">
                    <a:pos x="23" y="151"/>
                  </a:cxn>
                  <a:cxn ang="0">
                    <a:pos x="26" y="144"/>
                  </a:cxn>
                  <a:cxn ang="0">
                    <a:pos x="34" y="115"/>
                  </a:cxn>
                  <a:cxn ang="0">
                    <a:pos x="42" y="106"/>
                  </a:cxn>
                  <a:cxn ang="0">
                    <a:pos x="46" y="117"/>
                  </a:cxn>
                  <a:cxn ang="0">
                    <a:pos x="48" y="119"/>
                  </a:cxn>
                  <a:cxn ang="0">
                    <a:pos x="69" y="128"/>
                  </a:cxn>
                  <a:cxn ang="0">
                    <a:pos x="74" y="133"/>
                  </a:cxn>
                  <a:cxn ang="0">
                    <a:pos x="75" y="131"/>
                  </a:cxn>
                  <a:cxn ang="0">
                    <a:pos x="66" y="112"/>
                  </a:cxn>
                  <a:cxn ang="0">
                    <a:pos x="69" y="103"/>
                  </a:cxn>
                  <a:cxn ang="0">
                    <a:pos x="79" y="94"/>
                  </a:cxn>
                  <a:cxn ang="0">
                    <a:pos x="107" y="96"/>
                  </a:cxn>
                  <a:cxn ang="0">
                    <a:pos x="111" y="93"/>
                  </a:cxn>
                  <a:cxn ang="0">
                    <a:pos x="111" y="75"/>
                  </a:cxn>
                  <a:cxn ang="0">
                    <a:pos x="107" y="71"/>
                  </a:cxn>
                  <a:cxn ang="0">
                    <a:pos x="103" y="68"/>
                  </a:cxn>
                  <a:cxn ang="0">
                    <a:pos x="100" y="53"/>
                  </a:cxn>
                  <a:cxn ang="0">
                    <a:pos x="95" y="43"/>
                  </a:cxn>
                  <a:cxn ang="0">
                    <a:pos x="78" y="36"/>
                  </a:cxn>
                  <a:cxn ang="0">
                    <a:pos x="71" y="42"/>
                  </a:cxn>
                  <a:cxn ang="0">
                    <a:pos x="65" y="38"/>
                  </a:cxn>
                  <a:cxn ang="0">
                    <a:pos x="53" y="42"/>
                  </a:cxn>
                  <a:cxn ang="0">
                    <a:pos x="48" y="48"/>
                  </a:cxn>
                  <a:cxn ang="0">
                    <a:pos x="50" y="26"/>
                  </a:cxn>
                  <a:cxn ang="0">
                    <a:pos x="49" y="16"/>
                  </a:cxn>
                  <a:cxn ang="0">
                    <a:pos x="40" y="7"/>
                  </a:cxn>
                  <a:cxn ang="0">
                    <a:pos x="36" y="3"/>
                  </a:cxn>
                </a:cxnLst>
                <a:rect l="0" t="0" r="r" b="b"/>
                <a:pathLst>
                  <a:path w="111" h="219">
                    <a:moveTo>
                      <a:pt x="37" y="0"/>
                    </a:moveTo>
                    <a:lnTo>
                      <a:pt x="36" y="1"/>
                    </a:lnTo>
                    <a:lnTo>
                      <a:pt x="33" y="7"/>
                    </a:lnTo>
                    <a:lnTo>
                      <a:pt x="29" y="7"/>
                    </a:lnTo>
                    <a:lnTo>
                      <a:pt x="17" y="16"/>
                    </a:lnTo>
                    <a:lnTo>
                      <a:pt x="5" y="17"/>
                    </a:lnTo>
                    <a:lnTo>
                      <a:pt x="1" y="30"/>
                    </a:lnTo>
                    <a:lnTo>
                      <a:pt x="3" y="33"/>
                    </a:lnTo>
                    <a:lnTo>
                      <a:pt x="0" y="35"/>
                    </a:lnTo>
                    <a:lnTo>
                      <a:pt x="4" y="48"/>
                    </a:lnTo>
                    <a:lnTo>
                      <a:pt x="10" y="52"/>
                    </a:lnTo>
                    <a:lnTo>
                      <a:pt x="13" y="55"/>
                    </a:lnTo>
                    <a:lnTo>
                      <a:pt x="13" y="65"/>
                    </a:lnTo>
                    <a:lnTo>
                      <a:pt x="16" y="67"/>
                    </a:lnTo>
                    <a:lnTo>
                      <a:pt x="17" y="68"/>
                    </a:lnTo>
                    <a:lnTo>
                      <a:pt x="16" y="69"/>
                    </a:lnTo>
                    <a:lnTo>
                      <a:pt x="13" y="75"/>
                    </a:lnTo>
                    <a:lnTo>
                      <a:pt x="13" y="78"/>
                    </a:lnTo>
                    <a:lnTo>
                      <a:pt x="10" y="83"/>
                    </a:lnTo>
                    <a:lnTo>
                      <a:pt x="8" y="84"/>
                    </a:lnTo>
                    <a:lnTo>
                      <a:pt x="8" y="87"/>
                    </a:lnTo>
                    <a:lnTo>
                      <a:pt x="10" y="91"/>
                    </a:lnTo>
                    <a:lnTo>
                      <a:pt x="20" y="100"/>
                    </a:lnTo>
                    <a:lnTo>
                      <a:pt x="23" y="117"/>
                    </a:lnTo>
                    <a:lnTo>
                      <a:pt x="23" y="117"/>
                    </a:lnTo>
                    <a:lnTo>
                      <a:pt x="29" y="131"/>
                    </a:lnTo>
                    <a:lnTo>
                      <a:pt x="29" y="132"/>
                    </a:lnTo>
                    <a:lnTo>
                      <a:pt x="23" y="141"/>
                    </a:lnTo>
                    <a:lnTo>
                      <a:pt x="20" y="142"/>
                    </a:lnTo>
                    <a:lnTo>
                      <a:pt x="10" y="181"/>
                    </a:lnTo>
                    <a:lnTo>
                      <a:pt x="10" y="183"/>
                    </a:lnTo>
                    <a:lnTo>
                      <a:pt x="16" y="183"/>
                    </a:lnTo>
                    <a:lnTo>
                      <a:pt x="20" y="189"/>
                    </a:lnTo>
                    <a:lnTo>
                      <a:pt x="21" y="189"/>
                    </a:lnTo>
                    <a:lnTo>
                      <a:pt x="29" y="197"/>
                    </a:lnTo>
                    <a:lnTo>
                      <a:pt x="30" y="202"/>
                    </a:lnTo>
                    <a:lnTo>
                      <a:pt x="37" y="209"/>
                    </a:lnTo>
                    <a:lnTo>
                      <a:pt x="36" y="205"/>
                    </a:lnTo>
                    <a:lnTo>
                      <a:pt x="39" y="205"/>
                    </a:lnTo>
                    <a:lnTo>
                      <a:pt x="42" y="208"/>
                    </a:lnTo>
                    <a:lnTo>
                      <a:pt x="48" y="209"/>
                    </a:lnTo>
                    <a:lnTo>
                      <a:pt x="50" y="212"/>
                    </a:lnTo>
                    <a:lnTo>
                      <a:pt x="50" y="216"/>
                    </a:lnTo>
                    <a:lnTo>
                      <a:pt x="50" y="219"/>
                    </a:lnTo>
                    <a:lnTo>
                      <a:pt x="58" y="215"/>
                    </a:lnTo>
                    <a:lnTo>
                      <a:pt x="61" y="216"/>
                    </a:lnTo>
                    <a:lnTo>
                      <a:pt x="62" y="215"/>
                    </a:lnTo>
                    <a:lnTo>
                      <a:pt x="65" y="212"/>
                    </a:lnTo>
                    <a:lnTo>
                      <a:pt x="56" y="202"/>
                    </a:lnTo>
                    <a:lnTo>
                      <a:pt x="46" y="200"/>
                    </a:lnTo>
                    <a:lnTo>
                      <a:pt x="42" y="196"/>
                    </a:lnTo>
                    <a:lnTo>
                      <a:pt x="39" y="184"/>
                    </a:lnTo>
                    <a:lnTo>
                      <a:pt x="34" y="180"/>
                    </a:lnTo>
                    <a:lnTo>
                      <a:pt x="33" y="171"/>
                    </a:lnTo>
                    <a:lnTo>
                      <a:pt x="32" y="168"/>
                    </a:lnTo>
                    <a:lnTo>
                      <a:pt x="29" y="168"/>
                    </a:lnTo>
                    <a:lnTo>
                      <a:pt x="26" y="170"/>
                    </a:lnTo>
                    <a:lnTo>
                      <a:pt x="23" y="168"/>
                    </a:lnTo>
                    <a:lnTo>
                      <a:pt x="21" y="154"/>
                    </a:lnTo>
                    <a:lnTo>
                      <a:pt x="23" y="151"/>
                    </a:lnTo>
                    <a:lnTo>
                      <a:pt x="24" y="148"/>
                    </a:lnTo>
                    <a:lnTo>
                      <a:pt x="26" y="146"/>
                    </a:lnTo>
                    <a:lnTo>
                      <a:pt x="26" y="144"/>
                    </a:lnTo>
                    <a:lnTo>
                      <a:pt x="26" y="141"/>
                    </a:lnTo>
                    <a:lnTo>
                      <a:pt x="33" y="126"/>
                    </a:lnTo>
                    <a:lnTo>
                      <a:pt x="34" y="115"/>
                    </a:lnTo>
                    <a:lnTo>
                      <a:pt x="33" y="109"/>
                    </a:lnTo>
                    <a:lnTo>
                      <a:pt x="36" y="107"/>
                    </a:lnTo>
                    <a:lnTo>
                      <a:pt x="42" y="106"/>
                    </a:lnTo>
                    <a:lnTo>
                      <a:pt x="46" y="107"/>
                    </a:lnTo>
                    <a:lnTo>
                      <a:pt x="48" y="109"/>
                    </a:lnTo>
                    <a:lnTo>
                      <a:pt x="46" y="117"/>
                    </a:lnTo>
                    <a:lnTo>
                      <a:pt x="48" y="120"/>
                    </a:lnTo>
                    <a:lnTo>
                      <a:pt x="48" y="120"/>
                    </a:lnTo>
                    <a:lnTo>
                      <a:pt x="48" y="119"/>
                    </a:lnTo>
                    <a:lnTo>
                      <a:pt x="61" y="120"/>
                    </a:lnTo>
                    <a:lnTo>
                      <a:pt x="66" y="126"/>
                    </a:lnTo>
                    <a:lnTo>
                      <a:pt x="69" y="128"/>
                    </a:lnTo>
                    <a:lnTo>
                      <a:pt x="71" y="128"/>
                    </a:lnTo>
                    <a:lnTo>
                      <a:pt x="71" y="128"/>
                    </a:lnTo>
                    <a:lnTo>
                      <a:pt x="74" y="133"/>
                    </a:lnTo>
                    <a:lnTo>
                      <a:pt x="75" y="133"/>
                    </a:lnTo>
                    <a:lnTo>
                      <a:pt x="75" y="132"/>
                    </a:lnTo>
                    <a:lnTo>
                      <a:pt x="75" y="131"/>
                    </a:lnTo>
                    <a:lnTo>
                      <a:pt x="72" y="123"/>
                    </a:lnTo>
                    <a:lnTo>
                      <a:pt x="69" y="120"/>
                    </a:lnTo>
                    <a:lnTo>
                      <a:pt x="66" y="112"/>
                    </a:lnTo>
                    <a:lnTo>
                      <a:pt x="66" y="107"/>
                    </a:lnTo>
                    <a:lnTo>
                      <a:pt x="68" y="106"/>
                    </a:lnTo>
                    <a:lnTo>
                      <a:pt x="69" y="103"/>
                    </a:lnTo>
                    <a:lnTo>
                      <a:pt x="72" y="101"/>
                    </a:lnTo>
                    <a:lnTo>
                      <a:pt x="77" y="96"/>
                    </a:lnTo>
                    <a:lnTo>
                      <a:pt x="79" y="94"/>
                    </a:lnTo>
                    <a:lnTo>
                      <a:pt x="103" y="94"/>
                    </a:lnTo>
                    <a:lnTo>
                      <a:pt x="106" y="97"/>
                    </a:lnTo>
                    <a:lnTo>
                      <a:pt x="107" y="96"/>
                    </a:lnTo>
                    <a:lnTo>
                      <a:pt x="107" y="94"/>
                    </a:lnTo>
                    <a:lnTo>
                      <a:pt x="109" y="94"/>
                    </a:lnTo>
                    <a:lnTo>
                      <a:pt x="111" y="93"/>
                    </a:lnTo>
                    <a:lnTo>
                      <a:pt x="111" y="81"/>
                    </a:lnTo>
                    <a:lnTo>
                      <a:pt x="111" y="78"/>
                    </a:lnTo>
                    <a:lnTo>
                      <a:pt x="111" y="75"/>
                    </a:lnTo>
                    <a:lnTo>
                      <a:pt x="111" y="74"/>
                    </a:lnTo>
                    <a:lnTo>
                      <a:pt x="110" y="72"/>
                    </a:lnTo>
                    <a:lnTo>
                      <a:pt x="107" y="71"/>
                    </a:lnTo>
                    <a:lnTo>
                      <a:pt x="107" y="69"/>
                    </a:lnTo>
                    <a:lnTo>
                      <a:pt x="104" y="69"/>
                    </a:lnTo>
                    <a:lnTo>
                      <a:pt x="103" y="68"/>
                    </a:lnTo>
                    <a:lnTo>
                      <a:pt x="101" y="65"/>
                    </a:lnTo>
                    <a:lnTo>
                      <a:pt x="100" y="62"/>
                    </a:lnTo>
                    <a:lnTo>
                      <a:pt x="100" y="53"/>
                    </a:lnTo>
                    <a:lnTo>
                      <a:pt x="97" y="48"/>
                    </a:lnTo>
                    <a:lnTo>
                      <a:pt x="95" y="46"/>
                    </a:lnTo>
                    <a:lnTo>
                      <a:pt x="95" y="43"/>
                    </a:lnTo>
                    <a:lnTo>
                      <a:pt x="91" y="42"/>
                    </a:lnTo>
                    <a:lnTo>
                      <a:pt x="87" y="35"/>
                    </a:lnTo>
                    <a:lnTo>
                      <a:pt x="78" y="36"/>
                    </a:lnTo>
                    <a:lnTo>
                      <a:pt x="77" y="39"/>
                    </a:lnTo>
                    <a:lnTo>
                      <a:pt x="75" y="40"/>
                    </a:lnTo>
                    <a:lnTo>
                      <a:pt x="71" y="42"/>
                    </a:lnTo>
                    <a:lnTo>
                      <a:pt x="68" y="42"/>
                    </a:lnTo>
                    <a:lnTo>
                      <a:pt x="66" y="40"/>
                    </a:lnTo>
                    <a:lnTo>
                      <a:pt x="65" y="38"/>
                    </a:lnTo>
                    <a:lnTo>
                      <a:pt x="62" y="38"/>
                    </a:lnTo>
                    <a:lnTo>
                      <a:pt x="56" y="39"/>
                    </a:lnTo>
                    <a:lnTo>
                      <a:pt x="53" y="42"/>
                    </a:lnTo>
                    <a:lnTo>
                      <a:pt x="50" y="43"/>
                    </a:lnTo>
                    <a:lnTo>
                      <a:pt x="49" y="46"/>
                    </a:lnTo>
                    <a:lnTo>
                      <a:pt x="48" y="48"/>
                    </a:lnTo>
                    <a:lnTo>
                      <a:pt x="48" y="46"/>
                    </a:lnTo>
                    <a:lnTo>
                      <a:pt x="46" y="43"/>
                    </a:lnTo>
                    <a:lnTo>
                      <a:pt x="50" y="26"/>
                    </a:lnTo>
                    <a:lnTo>
                      <a:pt x="49" y="22"/>
                    </a:lnTo>
                    <a:lnTo>
                      <a:pt x="50" y="17"/>
                    </a:lnTo>
                    <a:lnTo>
                      <a:pt x="49" y="16"/>
                    </a:lnTo>
                    <a:lnTo>
                      <a:pt x="42" y="16"/>
                    </a:lnTo>
                    <a:lnTo>
                      <a:pt x="42" y="16"/>
                    </a:lnTo>
                    <a:lnTo>
                      <a:pt x="40" y="7"/>
                    </a:lnTo>
                    <a:lnTo>
                      <a:pt x="39" y="3"/>
                    </a:lnTo>
                    <a:lnTo>
                      <a:pt x="36" y="4"/>
                    </a:lnTo>
                    <a:lnTo>
                      <a:pt x="36" y="3"/>
                    </a:lnTo>
                    <a:lnTo>
                      <a:pt x="36" y="0"/>
                    </a:lnTo>
                    <a:lnTo>
                      <a:pt x="37"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56" name="Freeform 1093"/>
              <p:cNvSpPr>
                <a:spLocks/>
              </p:cNvSpPr>
              <p:nvPr/>
            </p:nvSpPr>
            <p:spPr bwMode="auto">
              <a:xfrm>
                <a:off x="7393536" y="2962273"/>
                <a:ext cx="101825" cy="228179"/>
              </a:xfrm>
              <a:custGeom>
                <a:avLst/>
                <a:gdLst/>
                <a:ahLst/>
                <a:cxnLst>
                  <a:cxn ang="0">
                    <a:pos x="33" y="7"/>
                  </a:cxn>
                  <a:cxn ang="0">
                    <a:pos x="5" y="17"/>
                  </a:cxn>
                  <a:cxn ang="0">
                    <a:pos x="0" y="35"/>
                  </a:cxn>
                  <a:cxn ang="0">
                    <a:pos x="13" y="55"/>
                  </a:cxn>
                  <a:cxn ang="0">
                    <a:pos x="17" y="68"/>
                  </a:cxn>
                  <a:cxn ang="0">
                    <a:pos x="13" y="78"/>
                  </a:cxn>
                  <a:cxn ang="0">
                    <a:pos x="8" y="87"/>
                  </a:cxn>
                  <a:cxn ang="0">
                    <a:pos x="23" y="117"/>
                  </a:cxn>
                  <a:cxn ang="0">
                    <a:pos x="29" y="132"/>
                  </a:cxn>
                  <a:cxn ang="0">
                    <a:pos x="10" y="181"/>
                  </a:cxn>
                  <a:cxn ang="0">
                    <a:pos x="20" y="189"/>
                  </a:cxn>
                  <a:cxn ang="0">
                    <a:pos x="30" y="202"/>
                  </a:cxn>
                  <a:cxn ang="0">
                    <a:pos x="39" y="205"/>
                  </a:cxn>
                  <a:cxn ang="0">
                    <a:pos x="50" y="212"/>
                  </a:cxn>
                  <a:cxn ang="0">
                    <a:pos x="58" y="215"/>
                  </a:cxn>
                  <a:cxn ang="0">
                    <a:pos x="65" y="212"/>
                  </a:cxn>
                  <a:cxn ang="0">
                    <a:pos x="42" y="196"/>
                  </a:cxn>
                  <a:cxn ang="0">
                    <a:pos x="33" y="171"/>
                  </a:cxn>
                  <a:cxn ang="0">
                    <a:pos x="26" y="170"/>
                  </a:cxn>
                  <a:cxn ang="0">
                    <a:pos x="23" y="151"/>
                  </a:cxn>
                  <a:cxn ang="0">
                    <a:pos x="26" y="144"/>
                  </a:cxn>
                  <a:cxn ang="0">
                    <a:pos x="34" y="115"/>
                  </a:cxn>
                  <a:cxn ang="0">
                    <a:pos x="42" y="106"/>
                  </a:cxn>
                  <a:cxn ang="0">
                    <a:pos x="46" y="117"/>
                  </a:cxn>
                  <a:cxn ang="0">
                    <a:pos x="48" y="119"/>
                  </a:cxn>
                  <a:cxn ang="0">
                    <a:pos x="69" y="128"/>
                  </a:cxn>
                  <a:cxn ang="0">
                    <a:pos x="74" y="133"/>
                  </a:cxn>
                  <a:cxn ang="0">
                    <a:pos x="75" y="131"/>
                  </a:cxn>
                  <a:cxn ang="0">
                    <a:pos x="66" y="112"/>
                  </a:cxn>
                  <a:cxn ang="0">
                    <a:pos x="69" y="103"/>
                  </a:cxn>
                  <a:cxn ang="0">
                    <a:pos x="79" y="94"/>
                  </a:cxn>
                  <a:cxn ang="0">
                    <a:pos x="107" y="96"/>
                  </a:cxn>
                  <a:cxn ang="0">
                    <a:pos x="111" y="93"/>
                  </a:cxn>
                  <a:cxn ang="0">
                    <a:pos x="111" y="75"/>
                  </a:cxn>
                  <a:cxn ang="0">
                    <a:pos x="107" y="71"/>
                  </a:cxn>
                  <a:cxn ang="0">
                    <a:pos x="103" y="68"/>
                  </a:cxn>
                  <a:cxn ang="0">
                    <a:pos x="100" y="53"/>
                  </a:cxn>
                  <a:cxn ang="0">
                    <a:pos x="95" y="43"/>
                  </a:cxn>
                  <a:cxn ang="0">
                    <a:pos x="78" y="36"/>
                  </a:cxn>
                  <a:cxn ang="0">
                    <a:pos x="71" y="42"/>
                  </a:cxn>
                  <a:cxn ang="0">
                    <a:pos x="65" y="38"/>
                  </a:cxn>
                  <a:cxn ang="0">
                    <a:pos x="53" y="42"/>
                  </a:cxn>
                  <a:cxn ang="0">
                    <a:pos x="48" y="48"/>
                  </a:cxn>
                  <a:cxn ang="0">
                    <a:pos x="50" y="26"/>
                  </a:cxn>
                  <a:cxn ang="0">
                    <a:pos x="49" y="16"/>
                  </a:cxn>
                  <a:cxn ang="0">
                    <a:pos x="40" y="7"/>
                  </a:cxn>
                  <a:cxn ang="0">
                    <a:pos x="36" y="3"/>
                  </a:cxn>
                </a:cxnLst>
                <a:rect l="0" t="0" r="r" b="b"/>
                <a:pathLst>
                  <a:path w="111" h="219">
                    <a:moveTo>
                      <a:pt x="37" y="0"/>
                    </a:moveTo>
                    <a:lnTo>
                      <a:pt x="36" y="1"/>
                    </a:lnTo>
                    <a:lnTo>
                      <a:pt x="33" y="7"/>
                    </a:lnTo>
                    <a:lnTo>
                      <a:pt x="29" y="7"/>
                    </a:lnTo>
                    <a:lnTo>
                      <a:pt x="17" y="16"/>
                    </a:lnTo>
                    <a:lnTo>
                      <a:pt x="5" y="17"/>
                    </a:lnTo>
                    <a:lnTo>
                      <a:pt x="1" y="30"/>
                    </a:lnTo>
                    <a:lnTo>
                      <a:pt x="3" y="33"/>
                    </a:lnTo>
                    <a:lnTo>
                      <a:pt x="0" y="35"/>
                    </a:lnTo>
                    <a:lnTo>
                      <a:pt x="4" y="48"/>
                    </a:lnTo>
                    <a:lnTo>
                      <a:pt x="10" y="52"/>
                    </a:lnTo>
                    <a:lnTo>
                      <a:pt x="13" y="55"/>
                    </a:lnTo>
                    <a:lnTo>
                      <a:pt x="13" y="65"/>
                    </a:lnTo>
                    <a:lnTo>
                      <a:pt x="16" y="67"/>
                    </a:lnTo>
                    <a:lnTo>
                      <a:pt x="17" y="68"/>
                    </a:lnTo>
                    <a:lnTo>
                      <a:pt x="16" y="69"/>
                    </a:lnTo>
                    <a:lnTo>
                      <a:pt x="13" y="75"/>
                    </a:lnTo>
                    <a:lnTo>
                      <a:pt x="13" y="78"/>
                    </a:lnTo>
                    <a:lnTo>
                      <a:pt x="10" y="83"/>
                    </a:lnTo>
                    <a:lnTo>
                      <a:pt x="8" y="84"/>
                    </a:lnTo>
                    <a:lnTo>
                      <a:pt x="8" y="87"/>
                    </a:lnTo>
                    <a:lnTo>
                      <a:pt x="10" y="91"/>
                    </a:lnTo>
                    <a:lnTo>
                      <a:pt x="20" y="100"/>
                    </a:lnTo>
                    <a:lnTo>
                      <a:pt x="23" y="117"/>
                    </a:lnTo>
                    <a:lnTo>
                      <a:pt x="23" y="117"/>
                    </a:lnTo>
                    <a:lnTo>
                      <a:pt x="29" y="131"/>
                    </a:lnTo>
                    <a:lnTo>
                      <a:pt x="29" y="132"/>
                    </a:lnTo>
                    <a:lnTo>
                      <a:pt x="23" y="141"/>
                    </a:lnTo>
                    <a:lnTo>
                      <a:pt x="20" y="142"/>
                    </a:lnTo>
                    <a:lnTo>
                      <a:pt x="10" y="181"/>
                    </a:lnTo>
                    <a:lnTo>
                      <a:pt x="10" y="183"/>
                    </a:lnTo>
                    <a:lnTo>
                      <a:pt x="16" y="183"/>
                    </a:lnTo>
                    <a:lnTo>
                      <a:pt x="20" y="189"/>
                    </a:lnTo>
                    <a:lnTo>
                      <a:pt x="21" y="189"/>
                    </a:lnTo>
                    <a:lnTo>
                      <a:pt x="29" y="197"/>
                    </a:lnTo>
                    <a:lnTo>
                      <a:pt x="30" y="202"/>
                    </a:lnTo>
                    <a:lnTo>
                      <a:pt x="37" y="209"/>
                    </a:lnTo>
                    <a:lnTo>
                      <a:pt x="36" y="205"/>
                    </a:lnTo>
                    <a:lnTo>
                      <a:pt x="39" y="205"/>
                    </a:lnTo>
                    <a:lnTo>
                      <a:pt x="42" y="208"/>
                    </a:lnTo>
                    <a:lnTo>
                      <a:pt x="48" y="209"/>
                    </a:lnTo>
                    <a:lnTo>
                      <a:pt x="50" y="212"/>
                    </a:lnTo>
                    <a:lnTo>
                      <a:pt x="50" y="216"/>
                    </a:lnTo>
                    <a:lnTo>
                      <a:pt x="50" y="219"/>
                    </a:lnTo>
                    <a:lnTo>
                      <a:pt x="58" y="215"/>
                    </a:lnTo>
                    <a:lnTo>
                      <a:pt x="61" y="216"/>
                    </a:lnTo>
                    <a:lnTo>
                      <a:pt x="62" y="215"/>
                    </a:lnTo>
                    <a:lnTo>
                      <a:pt x="65" y="212"/>
                    </a:lnTo>
                    <a:lnTo>
                      <a:pt x="56" y="202"/>
                    </a:lnTo>
                    <a:lnTo>
                      <a:pt x="46" y="200"/>
                    </a:lnTo>
                    <a:lnTo>
                      <a:pt x="42" y="196"/>
                    </a:lnTo>
                    <a:lnTo>
                      <a:pt x="39" y="184"/>
                    </a:lnTo>
                    <a:lnTo>
                      <a:pt x="34" y="180"/>
                    </a:lnTo>
                    <a:lnTo>
                      <a:pt x="33" y="171"/>
                    </a:lnTo>
                    <a:lnTo>
                      <a:pt x="32" y="168"/>
                    </a:lnTo>
                    <a:lnTo>
                      <a:pt x="29" y="168"/>
                    </a:lnTo>
                    <a:lnTo>
                      <a:pt x="26" y="170"/>
                    </a:lnTo>
                    <a:lnTo>
                      <a:pt x="23" y="168"/>
                    </a:lnTo>
                    <a:lnTo>
                      <a:pt x="21" y="154"/>
                    </a:lnTo>
                    <a:lnTo>
                      <a:pt x="23" y="151"/>
                    </a:lnTo>
                    <a:lnTo>
                      <a:pt x="24" y="148"/>
                    </a:lnTo>
                    <a:lnTo>
                      <a:pt x="26" y="146"/>
                    </a:lnTo>
                    <a:lnTo>
                      <a:pt x="26" y="144"/>
                    </a:lnTo>
                    <a:lnTo>
                      <a:pt x="26" y="141"/>
                    </a:lnTo>
                    <a:lnTo>
                      <a:pt x="33" y="126"/>
                    </a:lnTo>
                    <a:lnTo>
                      <a:pt x="34" y="115"/>
                    </a:lnTo>
                    <a:lnTo>
                      <a:pt x="33" y="109"/>
                    </a:lnTo>
                    <a:lnTo>
                      <a:pt x="36" y="107"/>
                    </a:lnTo>
                    <a:lnTo>
                      <a:pt x="42" y="106"/>
                    </a:lnTo>
                    <a:lnTo>
                      <a:pt x="46" y="107"/>
                    </a:lnTo>
                    <a:lnTo>
                      <a:pt x="48" y="109"/>
                    </a:lnTo>
                    <a:lnTo>
                      <a:pt x="46" y="117"/>
                    </a:lnTo>
                    <a:lnTo>
                      <a:pt x="48" y="120"/>
                    </a:lnTo>
                    <a:lnTo>
                      <a:pt x="48" y="120"/>
                    </a:lnTo>
                    <a:lnTo>
                      <a:pt x="48" y="119"/>
                    </a:lnTo>
                    <a:lnTo>
                      <a:pt x="61" y="120"/>
                    </a:lnTo>
                    <a:lnTo>
                      <a:pt x="66" y="126"/>
                    </a:lnTo>
                    <a:lnTo>
                      <a:pt x="69" y="128"/>
                    </a:lnTo>
                    <a:lnTo>
                      <a:pt x="71" y="128"/>
                    </a:lnTo>
                    <a:lnTo>
                      <a:pt x="71" y="128"/>
                    </a:lnTo>
                    <a:lnTo>
                      <a:pt x="74" y="133"/>
                    </a:lnTo>
                    <a:lnTo>
                      <a:pt x="75" y="133"/>
                    </a:lnTo>
                    <a:lnTo>
                      <a:pt x="75" y="132"/>
                    </a:lnTo>
                    <a:lnTo>
                      <a:pt x="75" y="131"/>
                    </a:lnTo>
                    <a:lnTo>
                      <a:pt x="72" y="123"/>
                    </a:lnTo>
                    <a:lnTo>
                      <a:pt x="69" y="120"/>
                    </a:lnTo>
                    <a:lnTo>
                      <a:pt x="66" y="112"/>
                    </a:lnTo>
                    <a:lnTo>
                      <a:pt x="66" y="107"/>
                    </a:lnTo>
                    <a:lnTo>
                      <a:pt x="68" y="106"/>
                    </a:lnTo>
                    <a:lnTo>
                      <a:pt x="69" y="103"/>
                    </a:lnTo>
                    <a:lnTo>
                      <a:pt x="72" y="101"/>
                    </a:lnTo>
                    <a:lnTo>
                      <a:pt x="77" y="96"/>
                    </a:lnTo>
                    <a:lnTo>
                      <a:pt x="79" y="94"/>
                    </a:lnTo>
                    <a:lnTo>
                      <a:pt x="103" y="94"/>
                    </a:lnTo>
                    <a:lnTo>
                      <a:pt x="106" y="97"/>
                    </a:lnTo>
                    <a:lnTo>
                      <a:pt x="107" y="96"/>
                    </a:lnTo>
                    <a:lnTo>
                      <a:pt x="107" y="94"/>
                    </a:lnTo>
                    <a:lnTo>
                      <a:pt x="109" y="94"/>
                    </a:lnTo>
                    <a:lnTo>
                      <a:pt x="111" y="93"/>
                    </a:lnTo>
                    <a:lnTo>
                      <a:pt x="111" y="81"/>
                    </a:lnTo>
                    <a:lnTo>
                      <a:pt x="111" y="78"/>
                    </a:lnTo>
                    <a:lnTo>
                      <a:pt x="111" y="75"/>
                    </a:lnTo>
                    <a:lnTo>
                      <a:pt x="111" y="74"/>
                    </a:lnTo>
                    <a:lnTo>
                      <a:pt x="110" y="72"/>
                    </a:lnTo>
                    <a:lnTo>
                      <a:pt x="107" y="71"/>
                    </a:lnTo>
                    <a:lnTo>
                      <a:pt x="107" y="69"/>
                    </a:lnTo>
                    <a:lnTo>
                      <a:pt x="104" y="69"/>
                    </a:lnTo>
                    <a:lnTo>
                      <a:pt x="103" y="68"/>
                    </a:lnTo>
                    <a:lnTo>
                      <a:pt x="101" y="65"/>
                    </a:lnTo>
                    <a:lnTo>
                      <a:pt x="100" y="62"/>
                    </a:lnTo>
                    <a:lnTo>
                      <a:pt x="100" y="53"/>
                    </a:lnTo>
                    <a:lnTo>
                      <a:pt x="97" y="48"/>
                    </a:lnTo>
                    <a:lnTo>
                      <a:pt x="95" y="46"/>
                    </a:lnTo>
                    <a:lnTo>
                      <a:pt x="95" y="43"/>
                    </a:lnTo>
                    <a:lnTo>
                      <a:pt x="91" y="42"/>
                    </a:lnTo>
                    <a:lnTo>
                      <a:pt x="87" y="35"/>
                    </a:lnTo>
                    <a:lnTo>
                      <a:pt x="78" y="36"/>
                    </a:lnTo>
                    <a:lnTo>
                      <a:pt x="77" y="39"/>
                    </a:lnTo>
                    <a:lnTo>
                      <a:pt x="75" y="40"/>
                    </a:lnTo>
                    <a:lnTo>
                      <a:pt x="71" y="42"/>
                    </a:lnTo>
                    <a:lnTo>
                      <a:pt x="68" y="42"/>
                    </a:lnTo>
                    <a:lnTo>
                      <a:pt x="66" y="40"/>
                    </a:lnTo>
                    <a:lnTo>
                      <a:pt x="65" y="38"/>
                    </a:lnTo>
                    <a:lnTo>
                      <a:pt x="62" y="38"/>
                    </a:lnTo>
                    <a:lnTo>
                      <a:pt x="56" y="39"/>
                    </a:lnTo>
                    <a:lnTo>
                      <a:pt x="53" y="42"/>
                    </a:lnTo>
                    <a:lnTo>
                      <a:pt x="50" y="43"/>
                    </a:lnTo>
                    <a:lnTo>
                      <a:pt x="49" y="46"/>
                    </a:lnTo>
                    <a:lnTo>
                      <a:pt x="48" y="48"/>
                    </a:lnTo>
                    <a:lnTo>
                      <a:pt x="48" y="46"/>
                    </a:lnTo>
                    <a:lnTo>
                      <a:pt x="46" y="43"/>
                    </a:lnTo>
                    <a:lnTo>
                      <a:pt x="50" y="26"/>
                    </a:lnTo>
                    <a:lnTo>
                      <a:pt x="49" y="22"/>
                    </a:lnTo>
                    <a:lnTo>
                      <a:pt x="50" y="17"/>
                    </a:lnTo>
                    <a:lnTo>
                      <a:pt x="49" y="16"/>
                    </a:lnTo>
                    <a:lnTo>
                      <a:pt x="42" y="16"/>
                    </a:lnTo>
                    <a:lnTo>
                      <a:pt x="42" y="16"/>
                    </a:lnTo>
                    <a:lnTo>
                      <a:pt x="40" y="7"/>
                    </a:lnTo>
                    <a:lnTo>
                      <a:pt x="39" y="3"/>
                    </a:lnTo>
                    <a:lnTo>
                      <a:pt x="36" y="4"/>
                    </a:lnTo>
                    <a:lnTo>
                      <a:pt x="36" y="3"/>
                    </a:lnTo>
                    <a:lnTo>
                      <a:pt x="36" y="0"/>
                    </a:lnTo>
                    <a:lnTo>
                      <a:pt x="37"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57" name="Freeform 1094"/>
              <p:cNvSpPr>
                <a:spLocks/>
              </p:cNvSpPr>
              <p:nvPr/>
            </p:nvSpPr>
            <p:spPr bwMode="auto">
              <a:xfrm>
                <a:off x="6392843" y="2258464"/>
                <a:ext cx="75491" cy="66933"/>
              </a:xfrm>
              <a:custGeom>
                <a:avLst/>
                <a:gdLst/>
                <a:ahLst/>
                <a:cxnLst>
                  <a:cxn ang="0">
                    <a:pos x="2" y="20"/>
                  </a:cxn>
                  <a:cxn ang="0">
                    <a:pos x="3" y="28"/>
                  </a:cxn>
                  <a:cxn ang="0">
                    <a:pos x="3" y="29"/>
                  </a:cxn>
                  <a:cxn ang="0">
                    <a:pos x="6" y="31"/>
                  </a:cxn>
                  <a:cxn ang="0">
                    <a:pos x="10" y="32"/>
                  </a:cxn>
                  <a:cxn ang="0">
                    <a:pos x="18" y="35"/>
                  </a:cxn>
                  <a:cxn ang="0">
                    <a:pos x="23" y="36"/>
                  </a:cxn>
                  <a:cxn ang="0">
                    <a:pos x="25" y="47"/>
                  </a:cxn>
                  <a:cxn ang="0">
                    <a:pos x="34" y="58"/>
                  </a:cxn>
                  <a:cxn ang="0">
                    <a:pos x="39" y="64"/>
                  </a:cxn>
                  <a:cxn ang="0">
                    <a:pos x="47" y="64"/>
                  </a:cxn>
                  <a:cxn ang="0">
                    <a:pos x="51" y="61"/>
                  </a:cxn>
                  <a:cxn ang="0">
                    <a:pos x="55" y="63"/>
                  </a:cxn>
                  <a:cxn ang="0">
                    <a:pos x="55" y="58"/>
                  </a:cxn>
                  <a:cxn ang="0">
                    <a:pos x="60" y="57"/>
                  </a:cxn>
                  <a:cxn ang="0">
                    <a:pos x="63" y="55"/>
                  </a:cxn>
                  <a:cxn ang="0">
                    <a:pos x="66" y="58"/>
                  </a:cxn>
                  <a:cxn ang="0">
                    <a:pos x="68" y="55"/>
                  </a:cxn>
                  <a:cxn ang="0">
                    <a:pos x="66" y="52"/>
                  </a:cxn>
                  <a:cxn ang="0">
                    <a:pos x="68" y="47"/>
                  </a:cxn>
                  <a:cxn ang="0">
                    <a:pos x="68" y="42"/>
                  </a:cxn>
                  <a:cxn ang="0">
                    <a:pos x="70" y="38"/>
                  </a:cxn>
                  <a:cxn ang="0">
                    <a:pos x="73" y="36"/>
                  </a:cxn>
                  <a:cxn ang="0">
                    <a:pos x="77" y="33"/>
                  </a:cxn>
                  <a:cxn ang="0">
                    <a:pos x="82" y="29"/>
                  </a:cxn>
                  <a:cxn ang="0">
                    <a:pos x="79" y="28"/>
                  </a:cxn>
                  <a:cxn ang="0">
                    <a:pos x="80" y="23"/>
                  </a:cxn>
                  <a:cxn ang="0">
                    <a:pos x="82" y="20"/>
                  </a:cxn>
                  <a:cxn ang="0">
                    <a:pos x="77" y="19"/>
                  </a:cxn>
                  <a:cxn ang="0">
                    <a:pos x="66" y="9"/>
                  </a:cxn>
                  <a:cxn ang="0">
                    <a:pos x="60" y="7"/>
                  </a:cxn>
                  <a:cxn ang="0">
                    <a:pos x="55" y="0"/>
                  </a:cxn>
                  <a:cxn ang="0">
                    <a:pos x="51" y="4"/>
                  </a:cxn>
                  <a:cxn ang="0">
                    <a:pos x="39" y="1"/>
                  </a:cxn>
                  <a:cxn ang="0">
                    <a:pos x="31" y="1"/>
                  </a:cxn>
                  <a:cxn ang="0">
                    <a:pos x="26" y="3"/>
                  </a:cxn>
                  <a:cxn ang="0">
                    <a:pos x="22" y="1"/>
                  </a:cxn>
                  <a:cxn ang="0">
                    <a:pos x="6" y="6"/>
                  </a:cxn>
                  <a:cxn ang="0">
                    <a:pos x="3" y="10"/>
                  </a:cxn>
                </a:cxnLst>
                <a:rect l="0" t="0" r="r" b="b"/>
                <a:pathLst>
                  <a:path w="82" h="64">
                    <a:moveTo>
                      <a:pt x="0" y="10"/>
                    </a:moveTo>
                    <a:lnTo>
                      <a:pt x="2" y="20"/>
                    </a:lnTo>
                    <a:lnTo>
                      <a:pt x="0" y="15"/>
                    </a:lnTo>
                    <a:lnTo>
                      <a:pt x="3" y="28"/>
                    </a:lnTo>
                    <a:lnTo>
                      <a:pt x="3" y="29"/>
                    </a:lnTo>
                    <a:lnTo>
                      <a:pt x="3" y="29"/>
                    </a:lnTo>
                    <a:lnTo>
                      <a:pt x="3" y="31"/>
                    </a:lnTo>
                    <a:lnTo>
                      <a:pt x="6" y="31"/>
                    </a:lnTo>
                    <a:lnTo>
                      <a:pt x="8" y="32"/>
                    </a:lnTo>
                    <a:lnTo>
                      <a:pt x="10" y="32"/>
                    </a:lnTo>
                    <a:lnTo>
                      <a:pt x="12" y="33"/>
                    </a:lnTo>
                    <a:lnTo>
                      <a:pt x="18" y="35"/>
                    </a:lnTo>
                    <a:lnTo>
                      <a:pt x="22" y="35"/>
                    </a:lnTo>
                    <a:lnTo>
                      <a:pt x="23" y="36"/>
                    </a:lnTo>
                    <a:lnTo>
                      <a:pt x="26" y="42"/>
                    </a:lnTo>
                    <a:lnTo>
                      <a:pt x="25" y="47"/>
                    </a:lnTo>
                    <a:lnTo>
                      <a:pt x="25" y="52"/>
                    </a:lnTo>
                    <a:lnTo>
                      <a:pt x="34" y="58"/>
                    </a:lnTo>
                    <a:lnTo>
                      <a:pt x="35" y="63"/>
                    </a:lnTo>
                    <a:lnTo>
                      <a:pt x="39" y="64"/>
                    </a:lnTo>
                    <a:lnTo>
                      <a:pt x="44" y="63"/>
                    </a:lnTo>
                    <a:lnTo>
                      <a:pt x="47" y="64"/>
                    </a:lnTo>
                    <a:lnTo>
                      <a:pt x="50" y="63"/>
                    </a:lnTo>
                    <a:lnTo>
                      <a:pt x="51" y="61"/>
                    </a:lnTo>
                    <a:lnTo>
                      <a:pt x="53" y="63"/>
                    </a:lnTo>
                    <a:lnTo>
                      <a:pt x="55" y="63"/>
                    </a:lnTo>
                    <a:lnTo>
                      <a:pt x="54" y="58"/>
                    </a:lnTo>
                    <a:lnTo>
                      <a:pt x="55" y="58"/>
                    </a:lnTo>
                    <a:lnTo>
                      <a:pt x="58" y="58"/>
                    </a:lnTo>
                    <a:lnTo>
                      <a:pt x="60" y="57"/>
                    </a:lnTo>
                    <a:lnTo>
                      <a:pt x="61" y="55"/>
                    </a:lnTo>
                    <a:lnTo>
                      <a:pt x="63" y="55"/>
                    </a:lnTo>
                    <a:lnTo>
                      <a:pt x="64" y="57"/>
                    </a:lnTo>
                    <a:lnTo>
                      <a:pt x="66" y="58"/>
                    </a:lnTo>
                    <a:lnTo>
                      <a:pt x="68" y="58"/>
                    </a:lnTo>
                    <a:lnTo>
                      <a:pt x="68" y="55"/>
                    </a:lnTo>
                    <a:lnTo>
                      <a:pt x="67" y="54"/>
                    </a:lnTo>
                    <a:lnTo>
                      <a:pt x="66" y="52"/>
                    </a:lnTo>
                    <a:lnTo>
                      <a:pt x="66" y="49"/>
                    </a:lnTo>
                    <a:lnTo>
                      <a:pt x="68" y="47"/>
                    </a:lnTo>
                    <a:lnTo>
                      <a:pt x="68" y="44"/>
                    </a:lnTo>
                    <a:lnTo>
                      <a:pt x="68" y="42"/>
                    </a:lnTo>
                    <a:lnTo>
                      <a:pt x="68" y="39"/>
                    </a:lnTo>
                    <a:lnTo>
                      <a:pt x="70" y="38"/>
                    </a:lnTo>
                    <a:lnTo>
                      <a:pt x="71" y="36"/>
                    </a:lnTo>
                    <a:lnTo>
                      <a:pt x="73" y="36"/>
                    </a:lnTo>
                    <a:lnTo>
                      <a:pt x="74" y="35"/>
                    </a:lnTo>
                    <a:lnTo>
                      <a:pt x="77" y="33"/>
                    </a:lnTo>
                    <a:lnTo>
                      <a:pt x="80" y="33"/>
                    </a:lnTo>
                    <a:lnTo>
                      <a:pt x="82" y="29"/>
                    </a:lnTo>
                    <a:lnTo>
                      <a:pt x="80" y="28"/>
                    </a:lnTo>
                    <a:lnTo>
                      <a:pt x="79" y="28"/>
                    </a:lnTo>
                    <a:lnTo>
                      <a:pt x="79" y="25"/>
                    </a:lnTo>
                    <a:lnTo>
                      <a:pt x="80" y="23"/>
                    </a:lnTo>
                    <a:lnTo>
                      <a:pt x="82" y="22"/>
                    </a:lnTo>
                    <a:lnTo>
                      <a:pt x="82" y="20"/>
                    </a:lnTo>
                    <a:lnTo>
                      <a:pt x="80" y="20"/>
                    </a:lnTo>
                    <a:lnTo>
                      <a:pt x="77" y="19"/>
                    </a:lnTo>
                    <a:lnTo>
                      <a:pt x="73" y="13"/>
                    </a:lnTo>
                    <a:lnTo>
                      <a:pt x="66" y="9"/>
                    </a:lnTo>
                    <a:lnTo>
                      <a:pt x="61" y="9"/>
                    </a:lnTo>
                    <a:lnTo>
                      <a:pt x="60" y="7"/>
                    </a:lnTo>
                    <a:lnTo>
                      <a:pt x="57" y="1"/>
                    </a:lnTo>
                    <a:lnTo>
                      <a:pt x="55" y="0"/>
                    </a:lnTo>
                    <a:lnTo>
                      <a:pt x="54" y="1"/>
                    </a:lnTo>
                    <a:lnTo>
                      <a:pt x="51" y="4"/>
                    </a:lnTo>
                    <a:lnTo>
                      <a:pt x="47" y="6"/>
                    </a:lnTo>
                    <a:lnTo>
                      <a:pt x="39" y="1"/>
                    </a:lnTo>
                    <a:lnTo>
                      <a:pt x="32" y="1"/>
                    </a:lnTo>
                    <a:lnTo>
                      <a:pt x="31" y="1"/>
                    </a:lnTo>
                    <a:lnTo>
                      <a:pt x="29" y="1"/>
                    </a:lnTo>
                    <a:lnTo>
                      <a:pt x="26" y="3"/>
                    </a:lnTo>
                    <a:lnTo>
                      <a:pt x="25" y="3"/>
                    </a:lnTo>
                    <a:lnTo>
                      <a:pt x="22" y="1"/>
                    </a:lnTo>
                    <a:lnTo>
                      <a:pt x="16" y="1"/>
                    </a:lnTo>
                    <a:lnTo>
                      <a:pt x="6" y="6"/>
                    </a:lnTo>
                    <a:lnTo>
                      <a:pt x="5" y="9"/>
                    </a:lnTo>
                    <a:lnTo>
                      <a:pt x="3" y="10"/>
                    </a:lnTo>
                    <a:lnTo>
                      <a:pt x="0" y="1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58" name="Freeform 1095"/>
              <p:cNvSpPr>
                <a:spLocks/>
              </p:cNvSpPr>
              <p:nvPr/>
            </p:nvSpPr>
            <p:spPr bwMode="auto">
              <a:xfrm>
                <a:off x="6392843" y="2258464"/>
                <a:ext cx="75491" cy="66933"/>
              </a:xfrm>
              <a:custGeom>
                <a:avLst/>
                <a:gdLst/>
                <a:ahLst/>
                <a:cxnLst>
                  <a:cxn ang="0">
                    <a:pos x="2" y="20"/>
                  </a:cxn>
                  <a:cxn ang="0">
                    <a:pos x="3" y="28"/>
                  </a:cxn>
                  <a:cxn ang="0">
                    <a:pos x="3" y="29"/>
                  </a:cxn>
                  <a:cxn ang="0">
                    <a:pos x="6" y="31"/>
                  </a:cxn>
                  <a:cxn ang="0">
                    <a:pos x="10" y="32"/>
                  </a:cxn>
                  <a:cxn ang="0">
                    <a:pos x="18" y="35"/>
                  </a:cxn>
                  <a:cxn ang="0">
                    <a:pos x="23" y="36"/>
                  </a:cxn>
                  <a:cxn ang="0">
                    <a:pos x="25" y="47"/>
                  </a:cxn>
                  <a:cxn ang="0">
                    <a:pos x="34" y="58"/>
                  </a:cxn>
                  <a:cxn ang="0">
                    <a:pos x="39" y="64"/>
                  </a:cxn>
                  <a:cxn ang="0">
                    <a:pos x="47" y="64"/>
                  </a:cxn>
                  <a:cxn ang="0">
                    <a:pos x="51" y="61"/>
                  </a:cxn>
                  <a:cxn ang="0">
                    <a:pos x="55" y="63"/>
                  </a:cxn>
                  <a:cxn ang="0">
                    <a:pos x="55" y="58"/>
                  </a:cxn>
                  <a:cxn ang="0">
                    <a:pos x="60" y="57"/>
                  </a:cxn>
                  <a:cxn ang="0">
                    <a:pos x="63" y="55"/>
                  </a:cxn>
                  <a:cxn ang="0">
                    <a:pos x="66" y="58"/>
                  </a:cxn>
                  <a:cxn ang="0">
                    <a:pos x="68" y="55"/>
                  </a:cxn>
                  <a:cxn ang="0">
                    <a:pos x="66" y="52"/>
                  </a:cxn>
                  <a:cxn ang="0">
                    <a:pos x="68" y="47"/>
                  </a:cxn>
                  <a:cxn ang="0">
                    <a:pos x="68" y="42"/>
                  </a:cxn>
                  <a:cxn ang="0">
                    <a:pos x="70" y="38"/>
                  </a:cxn>
                  <a:cxn ang="0">
                    <a:pos x="73" y="36"/>
                  </a:cxn>
                  <a:cxn ang="0">
                    <a:pos x="77" y="33"/>
                  </a:cxn>
                  <a:cxn ang="0">
                    <a:pos x="82" y="29"/>
                  </a:cxn>
                  <a:cxn ang="0">
                    <a:pos x="79" y="28"/>
                  </a:cxn>
                  <a:cxn ang="0">
                    <a:pos x="80" y="23"/>
                  </a:cxn>
                  <a:cxn ang="0">
                    <a:pos x="82" y="20"/>
                  </a:cxn>
                  <a:cxn ang="0">
                    <a:pos x="77" y="19"/>
                  </a:cxn>
                  <a:cxn ang="0">
                    <a:pos x="66" y="9"/>
                  </a:cxn>
                  <a:cxn ang="0">
                    <a:pos x="60" y="7"/>
                  </a:cxn>
                  <a:cxn ang="0">
                    <a:pos x="55" y="0"/>
                  </a:cxn>
                  <a:cxn ang="0">
                    <a:pos x="51" y="4"/>
                  </a:cxn>
                  <a:cxn ang="0">
                    <a:pos x="39" y="1"/>
                  </a:cxn>
                  <a:cxn ang="0">
                    <a:pos x="31" y="1"/>
                  </a:cxn>
                  <a:cxn ang="0">
                    <a:pos x="26" y="3"/>
                  </a:cxn>
                  <a:cxn ang="0">
                    <a:pos x="22" y="1"/>
                  </a:cxn>
                  <a:cxn ang="0">
                    <a:pos x="6" y="6"/>
                  </a:cxn>
                  <a:cxn ang="0">
                    <a:pos x="3" y="10"/>
                  </a:cxn>
                </a:cxnLst>
                <a:rect l="0" t="0" r="r" b="b"/>
                <a:pathLst>
                  <a:path w="82" h="64">
                    <a:moveTo>
                      <a:pt x="0" y="10"/>
                    </a:moveTo>
                    <a:lnTo>
                      <a:pt x="2" y="20"/>
                    </a:lnTo>
                    <a:lnTo>
                      <a:pt x="0" y="15"/>
                    </a:lnTo>
                    <a:lnTo>
                      <a:pt x="3" y="28"/>
                    </a:lnTo>
                    <a:lnTo>
                      <a:pt x="3" y="29"/>
                    </a:lnTo>
                    <a:lnTo>
                      <a:pt x="3" y="29"/>
                    </a:lnTo>
                    <a:lnTo>
                      <a:pt x="3" y="31"/>
                    </a:lnTo>
                    <a:lnTo>
                      <a:pt x="6" y="31"/>
                    </a:lnTo>
                    <a:lnTo>
                      <a:pt x="8" y="32"/>
                    </a:lnTo>
                    <a:lnTo>
                      <a:pt x="10" y="32"/>
                    </a:lnTo>
                    <a:lnTo>
                      <a:pt x="12" y="33"/>
                    </a:lnTo>
                    <a:lnTo>
                      <a:pt x="18" y="35"/>
                    </a:lnTo>
                    <a:lnTo>
                      <a:pt x="22" y="35"/>
                    </a:lnTo>
                    <a:lnTo>
                      <a:pt x="23" y="36"/>
                    </a:lnTo>
                    <a:lnTo>
                      <a:pt x="26" y="42"/>
                    </a:lnTo>
                    <a:lnTo>
                      <a:pt x="25" y="47"/>
                    </a:lnTo>
                    <a:lnTo>
                      <a:pt x="25" y="52"/>
                    </a:lnTo>
                    <a:lnTo>
                      <a:pt x="34" y="58"/>
                    </a:lnTo>
                    <a:lnTo>
                      <a:pt x="35" y="63"/>
                    </a:lnTo>
                    <a:lnTo>
                      <a:pt x="39" y="64"/>
                    </a:lnTo>
                    <a:lnTo>
                      <a:pt x="44" y="63"/>
                    </a:lnTo>
                    <a:lnTo>
                      <a:pt x="47" y="64"/>
                    </a:lnTo>
                    <a:lnTo>
                      <a:pt x="50" y="63"/>
                    </a:lnTo>
                    <a:lnTo>
                      <a:pt x="51" y="61"/>
                    </a:lnTo>
                    <a:lnTo>
                      <a:pt x="53" y="63"/>
                    </a:lnTo>
                    <a:lnTo>
                      <a:pt x="55" y="63"/>
                    </a:lnTo>
                    <a:lnTo>
                      <a:pt x="54" y="58"/>
                    </a:lnTo>
                    <a:lnTo>
                      <a:pt x="55" y="58"/>
                    </a:lnTo>
                    <a:lnTo>
                      <a:pt x="58" y="58"/>
                    </a:lnTo>
                    <a:lnTo>
                      <a:pt x="60" y="57"/>
                    </a:lnTo>
                    <a:lnTo>
                      <a:pt x="61" y="55"/>
                    </a:lnTo>
                    <a:lnTo>
                      <a:pt x="63" y="55"/>
                    </a:lnTo>
                    <a:lnTo>
                      <a:pt x="64" y="57"/>
                    </a:lnTo>
                    <a:lnTo>
                      <a:pt x="66" y="58"/>
                    </a:lnTo>
                    <a:lnTo>
                      <a:pt x="68" y="58"/>
                    </a:lnTo>
                    <a:lnTo>
                      <a:pt x="68" y="55"/>
                    </a:lnTo>
                    <a:lnTo>
                      <a:pt x="67" y="54"/>
                    </a:lnTo>
                    <a:lnTo>
                      <a:pt x="66" y="52"/>
                    </a:lnTo>
                    <a:lnTo>
                      <a:pt x="66" y="49"/>
                    </a:lnTo>
                    <a:lnTo>
                      <a:pt x="68" y="47"/>
                    </a:lnTo>
                    <a:lnTo>
                      <a:pt x="68" y="44"/>
                    </a:lnTo>
                    <a:lnTo>
                      <a:pt x="68" y="42"/>
                    </a:lnTo>
                    <a:lnTo>
                      <a:pt x="68" y="39"/>
                    </a:lnTo>
                    <a:lnTo>
                      <a:pt x="70" y="38"/>
                    </a:lnTo>
                    <a:lnTo>
                      <a:pt x="71" y="36"/>
                    </a:lnTo>
                    <a:lnTo>
                      <a:pt x="73" y="36"/>
                    </a:lnTo>
                    <a:lnTo>
                      <a:pt x="74" y="35"/>
                    </a:lnTo>
                    <a:lnTo>
                      <a:pt x="77" y="33"/>
                    </a:lnTo>
                    <a:lnTo>
                      <a:pt x="80" y="33"/>
                    </a:lnTo>
                    <a:lnTo>
                      <a:pt x="82" y="29"/>
                    </a:lnTo>
                    <a:lnTo>
                      <a:pt x="80" y="28"/>
                    </a:lnTo>
                    <a:lnTo>
                      <a:pt x="79" y="28"/>
                    </a:lnTo>
                    <a:lnTo>
                      <a:pt x="79" y="25"/>
                    </a:lnTo>
                    <a:lnTo>
                      <a:pt x="80" y="23"/>
                    </a:lnTo>
                    <a:lnTo>
                      <a:pt x="82" y="22"/>
                    </a:lnTo>
                    <a:lnTo>
                      <a:pt x="82" y="20"/>
                    </a:lnTo>
                    <a:lnTo>
                      <a:pt x="80" y="20"/>
                    </a:lnTo>
                    <a:lnTo>
                      <a:pt x="77" y="19"/>
                    </a:lnTo>
                    <a:lnTo>
                      <a:pt x="73" y="13"/>
                    </a:lnTo>
                    <a:lnTo>
                      <a:pt x="66" y="9"/>
                    </a:lnTo>
                    <a:lnTo>
                      <a:pt x="61" y="9"/>
                    </a:lnTo>
                    <a:lnTo>
                      <a:pt x="60" y="7"/>
                    </a:lnTo>
                    <a:lnTo>
                      <a:pt x="57" y="1"/>
                    </a:lnTo>
                    <a:lnTo>
                      <a:pt x="55" y="0"/>
                    </a:lnTo>
                    <a:lnTo>
                      <a:pt x="54" y="1"/>
                    </a:lnTo>
                    <a:lnTo>
                      <a:pt x="51" y="4"/>
                    </a:lnTo>
                    <a:lnTo>
                      <a:pt x="47" y="6"/>
                    </a:lnTo>
                    <a:lnTo>
                      <a:pt x="39" y="1"/>
                    </a:lnTo>
                    <a:lnTo>
                      <a:pt x="32" y="1"/>
                    </a:lnTo>
                    <a:lnTo>
                      <a:pt x="31" y="1"/>
                    </a:lnTo>
                    <a:lnTo>
                      <a:pt x="29" y="1"/>
                    </a:lnTo>
                    <a:lnTo>
                      <a:pt x="26" y="3"/>
                    </a:lnTo>
                    <a:lnTo>
                      <a:pt x="25" y="3"/>
                    </a:lnTo>
                    <a:lnTo>
                      <a:pt x="22" y="1"/>
                    </a:lnTo>
                    <a:lnTo>
                      <a:pt x="16" y="1"/>
                    </a:lnTo>
                    <a:lnTo>
                      <a:pt x="6" y="6"/>
                    </a:lnTo>
                    <a:lnTo>
                      <a:pt x="5" y="9"/>
                    </a:lnTo>
                    <a:lnTo>
                      <a:pt x="3" y="10"/>
                    </a:lnTo>
                    <a:lnTo>
                      <a:pt x="0" y="1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59" name="Freeform 1110"/>
              <p:cNvSpPr>
                <a:spLocks/>
              </p:cNvSpPr>
              <p:nvPr/>
            </p:nvSpPr>
            <p:spPr bwMode="auto">
              <a:xfrm>
                <a:off x="5278915" y="2420726"/>
                <a:ext cx="35112" cy="19268"/>
              </a:xfrm>
              <a:custGeom>
                <a:avLst/>
                <a:gdLst/>
                <a:ahLst/>
                <a:cxnLst>
                  <a:cxn ang="0">
                    <a:pos x="9" y="1"/>
                  </a:cxn>
                  <a:cxn ang="0">
                    <a:pos x="26" y="8"/>
                  </a:cxn>
                  <a:cxn ang="0">
                    <a:pos x="30" y="11"/>
                  </a:cxn>
                  <a:cxn ang="0">
                    <a:pos x="33" y="13"/>
                  </a:cxn>
                  <a:cxn ang="0">
                    <a:pos x="35" y="13"/>
                  </a:cxn>
                  <a:cxn ang="0">
                    <a:pos x="36" y="13"/>
                  </a:cxn>
                  <a:cxn ang="0">
                    <a:pos x="36" y="14"/>
                  </a:cxn>
                  <a:cxn ang="0">
                    <a:pos x="38" y="15"/>
                  </a:cxn>
                  <a:cxn ang="0">
                    <a:pos x="38" y="17"/>
                  </a:cxn>
                  <a:cxn ang="0">
                    <a:pos x="39" y="18"/>
                  </a:cxn>
                  <a:cxn ang="0">
                    <a:pos x="36" y="18"/>
                  </a:cxn>
                  <a:cxn ang="0">
                    <a:pos x="23" y="17"/>
                  </a:cxn>
                  <a:cxn ang="0">
                    <a:pos x="15" y="14"/>
                  </a:cxn>
                  <a:cxn ang="0">
                    <a:pos x="13" y="11"/>
                  </a:cxn>
                  <a:cxn ang="0">
                    <a:pos x="12" y="8"/>
                  </a:cxn>
                  <a:cxn ang="0">
                    <a:pos x="0" y="2"/>
                  </a:cxn>
                  <a:cxn ang="0">
                    <a:pos x="0" y="1"/>
                  </a:cxn>
                  <a:cxn ang="0">
                    <a:pos x="3" y="0"/>
                  </a:cxn>
                  <a:cxn ang="0">
                    <a:pos x="9" y="1"/>
                  </a:cxn>
                </a:cxnLst>
                <a:rect l="0" t="0" r="r" b="b"/>
                <a:pathLst>
                  <a:path w="39" h="18">
                    <a:moveTo>
                      <a:pt x="9" y="1"/>
                    </a:moveTo>
                    <a:lnTo>
                      <a:pt x="26" y="8"/>
                    </a:lnTo>
                    <a:lnTo>
                      <a:pt x="30" y="11"/>
                    </a:lnTo>
                    <a:lnTo>
                      <a:pt x="33" y="13"/>
                    </a:lnTo>
                    <a:lnTo>
                      <a:pt x="35" y="13"/>
                    </a:lnTo>
                    <a:lnTo>
                      <a:pt x="36" y="13"/>
                    </a:lnTo>
                    <a:lnTo>
                      <a:pt x="36" y="14"/>
                    </a:lnTo>
                    <a:lnTo>
                      <a:pt x="38" y="15"/>
                    </a:lnTo>
                    <a:lnTo>
                      <a:pt x="38" y="17"/>
                    </a:lnTo>
                    <a:lnTo>
                      <a:pt x="39" y="18"/>
                    </a:lnTo>
                    <a:lnTo>
                      <a:pt x="36" y="18"/>
                    </a:lnTo>
                    <a:lnTo>
                      <a:pt x="23" y="17"/>
                    </a:lnTo>
                    <a:lnTo>
                      <a:pt x="15" y="14"/>
                    </a:lnTo>
                    <a:lnTo>
                      <a:pt x="13" y="11"/>
                    </a:lnTo>
                    <a:lnTo>
                      <a:pt x="12" y="8"/>
                    </a:lnTo>
                    <a:lnTo>
                      <a:pt x="0" y="2"/>
                    </a:lnTo>
                    <a:lnTo>
                      <a:pt x="0" y="1"/>
                    </a:lnTo>
                    <a:lnTo>
                      <a:pt x="3" y="0"/>
                    </a:lnTo>
                    <a:lnTo>
                      <a:pt x="9" y="1"/>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60" name="Freeform 1111"/>
              <p:cNvSpPr>
                <a:spLocks/>
              </p:cNvSpPr>
              <p:nvPr/>
            </p:nvSpPr>
            <p:spPr bwMode="auto">
              <a:xfrm>
                <a:off x="5278915" y="2420726"/>
                <a:ext cx="35112" cy="19268"/>
              </a:xfrm>
              <a:custGeom>
                <a:avLst/>
                <a:gdLst/>
                <a:ahLst/>
                <a:cxnLst>
                  <a:cxn ang="0">
                    <a:pos x="9" y="1"/>
                  </a:cxn>
                  <a:cxn ang="0">
                    <a:pos x="26" y="8"/>
                  </a:cxn>
                  <a:cxn ang="0">
                    <a:pos x="30" y="11"/>
                  </a:cxn>
                  <a:cxn ang="0">
                    <a:pos x="33" y="13"/>
                  </a:cxn>
                  <a:cxn ang="0">
                    <a:pos x="35" y="13"/>
                  </a:cxn>
                  <a:cxn ang="0">
                    <a:pos x="36" y="13"/>
                  </a:cxn>
                  <a:cxn ang="0">
                    <a:pos x="36" y="14"/>
                  </a:cxn>
                  <a:cxn ang="0">
                    <a:pos x="38" y="15"/>
                  </a:cxn>
                  <a:cxn ang="0">
                    <a:pos x="38" y="17"/>
                  </a:cxn>
                  <a:cxn ang="0">
                    <a:pos x="39" y="18"/>
                  </a:cxn>
                  <a:cxn ang="0">
                    <a:pos x="36" y="18"/>
                  </a:cxn>
                  <a:cxn ang="0">
                    <a:pos x="23" y="17"/>
                  </a:cxn>
                  <a:cxn ang="0">
                    <a:pos x="15" y="14"/>
                  </a:cxn>
                  <a:cxn ang="0">
                    <a:pos x="13" y="11"/>
                  </a:cxn>
                  <a:cxn ang="0">
                    <a:pos x="12" y="8"/>
                  </a:cxn>
                  <a:cxn ang="0">
                    <a:pos x="0" y="2"/>
                  </a:cxn>
                  <a:cxn ang="0">
                    <a:pos x="0" y="1"/>
                  </a:cxn>
                  <a:cxn ang="0">
                    <a:pos x="3" y="0"/>
                  </a:cxn>
                  <a:cxn ang="0">
                    <a:pos x="9" y="1"/>
                  </a:cxn>
                </a:cxnLst>
                <a:rect l="0" t="0" r="r" b="b"/>
                <a:pathLst>
                  <a:path w="39" h="18">
                    <a:moveTo>
                      <a:pt x="9" y="1"/>
                    </a:moveTo>
                    <a:lnTo>
                      <a:pt x="26" y="8"/>
                    </a:lnTo>
                    <a:lnTo>
                      <a:pt x="30" y="11"/>
                    </a:lnTo>
                    <a:lnTo>
                      <a:pt x="33" y="13"/>
                    </a:lnTo>
                    <a:lnTo>
                      <a:pt x="35" y="13"/>
                    </a:lnTo>
                    <a:lnTo>
                      <a:pt x="36" y="13"/>
                    </a:lnTo>
                    <a:lnTo>
                      <a:pt x="36" y="14"/>
                    </a:lnTo>
                    <a:lnTo>
                      <a:pt x="38" y="15"/>
                    </a:lnTo>
                    <a:lnTo>
                      <a:pt x="38" y="17"/>
                    </a:lnTo>
                    <a:lnTo>
                      <a:pt x="39" y="18"/>
                    </a:lnTo>
                    <a:lnTo>
                      <a:pt x="36" y="18"/>
                    </a:lnTo>
                    <a:lnTo>
                      <a:pt x="23" y="17"/>
                    </a:lnTo>
                    <a:lnTo>
                      <a:pt x="15" y="14"/>
                    </a:lnTo>
                    <a:lnTo>
                      <a:pt x="13" y="11"/>
                    </a:lnTo>
                    <a:lnTo>
                      <a:pt x="12" y="8"/>
                    </a:lnTo>
                    <a:lnTo>
                      <a:pt x="0" y="2"/>
                    </a:lnTo>
                    <a:lnTo>
                      <a:pt x="0" y="1"/>
                    </a:lnTo>
                    <a:lnTo>
                      <a:pt x="3" y="0"/>
                    </a:lnTo>
                    <a:lnTo>
                      <a:pt x="9" y="1"/>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61" name="Freeform 1112"/>
              <p:cNvSpPr>
                <a:spLocks/>
              </p:cNvSpPr>
              <p:nvPr/>
            </p:nvSpPr>
            <p:spPr bwMode="auto">
              <a:xfrm>
                <a:off x="5384251" y="2484616"/>
                <a:ext cx="878" cy="7099"/>
              </a:xfrm>
              <a:custGeom>
                <a:avLst/>
                <a:gdLst/>
                <a:ahLst/>
                <a:cxnLst>
                  <a:cxn ang="0">
                    <a:pos x="1" y="0"/>
                  </a:cxn>
                  <a:cxn ang="0">
                    <a:pos x="0" y="1"/>
                  </a:cxn>
                  <a:cxn ang="0">
                    <a:pos x="1" y="7"/>
                  </a:cxn>
                  <a:cxn ang="0">
                    <a:pos x="1" y="5"/>
                  </a:cxn>
                  <a:cxn ang="0">
                    <a:pos x="1" y="1"/>
                  </a:cxn>
                  <a:cxn ang="0">
                    <a:pos x="1" y="0"/>
                  </a:cxn>
                </a:cxnLst>
                <a:rect l="0" t="0" r="r" b="b"/>
                <a:pathLst>
                  <a:path w="1" h="7">
                    <a:moveTo>
                      <a:pt x="1" y="0"/>
                    </a:moveTo>
                    <a:lnTo>
                      <a:pt x="0" y="1"/>
                    </a:lnTo>
                    <a:lnTo>
                      <a:pt x="1" y="7"/>
                    </a:lnTo>
                    <a:lnTo>
                      <a:pt x="1" y="5"/>
                    </a:lnTo>
                    <a:lnTo>
                      <a:pt x="1" y="1"/>
                    </a:lnTo>
                    <a:lnTo>
                      <a:pt x="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62" name="Freeform 1113"/>
              <p:cNvSpPr>
                <a:spLocks/>
              </p:cNvSpPr>
              <p:nvPr/>
            </p:nvSpPr>
            <p:spPr bwMode="auto">
              <a:xfrm>
                <a:off x="5384251" y="2484616"/>
                <a:ext cx="878" cy="7099"/>
              </a:xfrm>
              <a:custGeom>
                <a:avLst/>
                <a:gdLst/>
                <a:ahLst/>
                <a:cxnLst>
                  <a:cxn ang="0">
                    <a:pos x="1" y="0"/>
                  </a:cxn>
                  <a:cxn ang="0">
                    <a:pos x="0" y="1"/>
                  </a:cxn>
                  <a:cxn ang="0">
                    <a:pos x="1" y="7"/>
                  </a:cxn>
                  <a:cxn ang="0">
                    <a:pos x="1" y="5"/>
                  </a:cxn>
                  <a:cxn ang="0">
                    <a:pos x="1" y="1"/>
                  </a:cxn>
                  <a:cxn ang="0">
                    <a:pos x="1" y="0"/>
                  </a:cxn>
                </a:cxnLst>
                <a:rect l="0" t="0" r="r" b="b"/>
                <a:pathLst>
                  <a:path w="1" h="7">
                    <a:moveTo>
                      <a:pt x="1" y="0"/>
                    </a:moveTo>
                    <a:lnTo>
                      <a:pt x="0" y="1"/>
                    </a:lnTo>
                    <a:lnTo>
                      <a:pt x="1" y="7"/>
                    </a:lnTo>
                    <a:lnTo>
                      <a:pt x="1" y="5"/>
                    </a:lnTo>
                    <a:lnTo>
                      <a:pt x="1" y="1"/>
                    </a:lnTo>
                    <a:lnTo>
                      <a:pt x="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63" name="Freeform 1114"/>
              <p:cNvSpPr>
                <a:spLocks/>
              </p:cNvSpPr>
              <p:nvPr/>
            </p:nvSpPr>
            <p:spPr bwMode="auto">
              <a:xfrm>
                <a:off x="5245558" y="2533295"/>
                <a:ext cx="2633" cy="5071"/>
              </a:xfrm>
              <a:custGeom>
                <a:avLst/>
                <a:gdLst/>
                <a:ahLst/>
                <a:cxnLst>
                  <a:cxn ang="0">
                    <a:pos x="1" y="0"/>
                  </a:cxn>
                  <a:cxn ang="0">
                    <a:pos x="1" y="2"/>
                  </a:cxn>
                  <a:cxn ang="0">
                    <a:pos x="0" y="5"/>
                  </a:cxn>
                  <a:cxn ang="0">
                    <a:pos x="1" y="3"/>
                  </a:cxn>
                  <a:cxn ang="0">
                    <a:pos x="3" y="3"/>
                  </a:cxn>
                  <a:cxn ang="0">
                    <a:pos x="3" y="0"/>
                  </a:cxn>
                  <a:cxn ang="0">
                    <a:pos x="1" y="0"/>
                  </a:cxn>
                </a:cxnLst>
                <a:rect l="0" t="0" r="r" b="b"/>
                <a:pathLst>
                  <a:path w="3" h="5">
                    <a:moveTo>
                      <a:pt x="1" y="0"/>
                    </a:moveTo>
                    <a:lnTo>
                      <a:pt x="1" y="2"/>
                    </a:lnTo>
                    <a:lnTo>
                      <a:pt x="0" y="5"/>
                    </a:lnTo>
                    <a:lnTo>
                      <a:pt x="1" y="3"/>
                    </a:lnTo>
                    <a:lnTo>
                      <a:pt x="3" y="3"/>
                    </a:lnTo>
                    <a:lnTo>
                      <a:pt x="3" y="0"/>
                    </a:lnTo>
                    <a:lnTo>
                      <a:pt x="1"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64" name="Freeform 1115"/>
              <p:cNvSpPr>
                <a:spLocks/>
              </p:cNvSpPr>
              <p:nvPr/>
            </p:nvSpPr>
            <p:spPr bwMode="auto">
              <a:xfrm>
                <a:off x="5245558" y="2533295"/>
                <a:ext cx="2633" cy="5071"/>
              </a:xfrm>
              <a:custGeom>
                <a:avLst/>
                <a:gdLst/>
                <a:ahLst/>
                <a:cxnLst>
                  <a:cxn ang="0">
                    <a:pos x="1" y="0"/>
                  </a:cxn>
                  <a:cxn ang="0">
                    <a:pos x="1" y="2"/>
                  </a:cxn>
                  <a:cxn ang="0">
                    <a:pos x="0" y="5"/>
                  </a:cxn>
                  <a:cxn ang="0">
                    <a:pos x="1" y="3"/>
                  </a:cxn>
                  <a:cxn ang="0">
                    <a:pos x="3" y="3"/>
                  </a:cxn>
                  <a:cxn ang="0">
                    <a:pos x="3" y="0"/>
                  </a:cxn>
                  <a:cxn ang="0">
                    <a:pos x="1" y="0"/>
                  </a:cxn>
                </a:cxnLst>
                <a:rect l="0" t="0" r="r" b="b"/>
                <a:pathLst>
                  <a:path w="3" h="5">
                    <a:moveTo>
                      <a:pt x="1" y="0"/>
                    </a:moveTo>
                    <a:lnTo>
                      <a:pt x="1" y="2"/>
                    </a:lnTo>
                    <a:lnTo>
                      <a:pt x="0" y="5"/>
                    </a:lnTo>
                    <a:lnTo>
                      <a:pt x="1" y="3"/>
                    </a:lnTo>
                    <a:lnTo>
                      <a:pt x="3" y="3"/>
                    </a:lnTo>
                    <a:lnTo>
                      <a:pt x="3" y="0"/>
                    </a:lnTo>
                    <a:lnTo>
                      <a:pt x="1"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65" name="Freeform 1116"/>
              <p:cNvSpPr>
                <a:spLocks/>
              </p:cNvSpPr>
              <p:nvPr/>
            </p:nvSpPr>
            <p:spPr bwMode="auto">
              <a:xfrm>
                <a:off x="5345627" y="2382189"/>
                <a:ext cx="86024" cy="113583"/>
              </a:xfrm>
              <a:custGeom>
                <a:avLst/>
                <a:gdLst/>
                <a:ahLst/>
                <a:cxnLst>
                  <a:cxn ang="0">
                    <a:pos x="37" y="7"/>
                  </a:cxn>
                  <a:cxn ang="0">
                    <a:pos x="34" y="12"/>
                  </a:cxn>
                  <a:cxn ang="0">
                    <a:pos x="32" y="19"/>
                  </a:cxn>
                  <a:cxn ang="0">
                    <a:pos x="30" y="22"/>
                  </a:cxn>
                  <a:cxn ang="0">
                    <a:pos x="26" y="31"/>
                  </a:cxn>
                  <a:cxn ang="0">
                    <a:pos x="20" y="42"/>
                  </a:cxn>
                  <a:cxn ang="0">
                    <a:pos x="21" y="47"/>
                  </a:cxn>
                  <a:cxn ang="0">
                    <a:pos x="16" y="52"/>
                  </a:cxn>
                  <a:cxn ang="0">
                    <a:pos x="18" y="54"/>
                  </a:cxn>
                  <a:cxn ang="0">
                    <a:pos x="13" y="57"/>
                  </a:cxn>
                  <a:cxn ang="0">
                    <a:pos x="7" y="66"/>
                  </a:cxn>
                  <a:cxn ang="0">
                    <a:pos x="8" y="68"/>
                  </a:cxn>
                  <a:cxn ang="0">
                    <a:pos x="0" y="82"/>
                  </a:cxn>
                  <a:cxn ang="0">
                    <a:pos x="4" y="89"/>
                  </a:cxn>
                  <a:cxn ang="0">
                    <a:pos x="29" y="89"/>
                  </a:cxn>
                  <a:cxn ang="0">
                    <a:pos x="50" y="83"/>
                  </a:cxn>
                  <a:cxn ang="0">
                    <a:pos x="46" y="90"/>
                  </a:cxn>
                  <a:cxn ang="0">
                    <a:pos x="55" y="90"/>
                  </a:cxn>
                  <a:cxn ang="0">
                    <a:pos x="63" y="87"/>
                  </a:cxn>
                  <a:cxn ang="0">
                    <a:pos x="55" y="98"/>
                  </a:cxn>
                  <a:cxn ang="0">
                    <a:pos x="52" y="103"/>
                  </a:cxn>
                  <a:cxn ang="0">
                    <a:pos x="68" y="92"/>
                  </a:cxn>
                  <a:cxn ang="0">
                    <a:pos x="75" y="82"/>
                  </a:cxn>
                  <a:cxn ang="0">
                    <a:pos x="77" y="105"/>
                  </a:cxn>
                  <a:cxn ang="0">
                    <a:pos x="81" y="102"/>
                  </a:cxn>
                  <a:cxn ang="0">
                    <a:pos x="85" y="106"/>
                  </a:cxn>
                  <a:cxn ang="0">
                    <a:pos x="94" y="86"/>
                  </a:cxn>
                  <a:cxn ang="0">
                    <a:pos x="88" y="90"/>
                  </a:cxn>
                  <a:cxn ang="0">
                    <a:pos x="91" y="77"/>
                  </a:cxn>
                  <a:cxn ang="0">
                    <a:pos x="82" y="87"/>
                  </a:cxn>
                  <a:cxn ang="0">
                    <a:pos x="78" y="84"/>
                  </a:cxn>
                  <a:cxn ang="0">
                    <a:pos x="79" y="77"/>
                  </a:cxn>
                  <a:cxn ang="0">
                    <a:pos x="84" y="70"/>
                  </a:cxn>
                  <a:cxn ang="0">
                    <a:pos x="88" y="66"/>
                  </a:cxn>
                  <a:cxn ang="0">
                    <a:pos x="77" y="70"/>
                  </a:cxn>
                  <a:cxn ang="0">
                    <a:pos x="78" y="63"/>
                  </a:cxn>
                  <a:cxn ang="0">
                    <a:pos x="81" y="55"/>
                  </a:cxn>
                  <a:cxn ang="0">
                    <a:pos x="75" y="48"/>
                  </a:cxn>
                  <a:cxn ang="0">
                    <a:pos x="59" y="52"/>
                  </a:cxn>
                  <a:cxn ang="0">
                    <a:pos x="59" y="45"/>
                  </a:cxn>
                  <a:cxn ang="0">
                    <a:pos x="55" y="48"/>
                  </a:cxn>
                  <a:cxn ang="0">
                    <a:pos x="46" y="44"/>
                  </a:cxn>
                  <a:cxn ang="0">
                    <a:pos x="46" y="37"/>
                  </a:cxn>
                  <a:cxn ang="0">
                    <a:pos x="36" y="45"/>
                  </a:cxn>
                  <a:cxn ang="0">
                    <a:pos x="36" y="35"/>
                  </a:cxn>
                  <a:cxn ang="0">
                    <a:pos x="46" y="18"/>
                  </a:cxn>
                  <a:cxn ang="0">
                    <a:pos x="48" y="9"/>
                  </a:cxn>
                  <a:cxn ang="0">
                    <a:pos x="53" y="2"/>
                  </a:cxn>
                  <a:cxn ang="0">
                    <a:pos x="50" y="0"/>
                  </a:cxn>
                </a:cxnLst>
                <a:rect l="0" t="0" r="r" b="b"/>
                <a:pathLst>
                  <a:path w="94" h="109">
                    <a:moveTo>
                      <a:pt x="43" y="3"/>
                    </a:moveTo>
                    <a:lnTo>
                      <a:pt x="37" y="6"/>
                    </a:lnTo>
                    <a:lnTo>
                      <a:pt x="37" y="7"/>
                    </a:lnTo>
                    <a:lnTo>
                      <a:pt x="36" y="10"/>
                    </a:lnTo>
                    <a:lnTo>
                      <a:pt x="34" y="12"/>
                    </a:lnTo>
                    <a:lnTo>
                      <a:pt x="34" y="12"/>
                    </a:lnTo>
                    <a:lnTo>
                      <a:pt x="33" y="13"/>
                    </a:lnTo>
                    <a:lnTo>
                      <a:pt x="32" y="18"/>
                    </a:lnTo>
                    <a:lnTo>
                      <a:pt x="32" y="19"/>
                    </a:lnTo>
                    <a:lnTo>
                      <a:pt x="29" y="19"/>
                    </a:lnTo>
                    <a:lnTo>
                      <a:pt x="27" y="21"/>
                    </a:lnTo>
                    <a:lnTo>
                      <a:pt x="30" y="22"/>
                    </a:lnTo>
                    <a:lnTo>
                      <a:pt x="27" y="25"/>
                    </a:lnTo>
                    <a:lnTo>
                      <a:pt x="26" y="31"/>
                    </a:lnTo>
                    <a:lnTo>
                      <a:pt x="26" y="31"/>
                    </a:lnTo>
                    <a:lnTo>
                      <a:pt x="29" y="32"/>
                    </a:lnTo>
                    <a:lnTo>
                      <a:pt x="24" y="34"/>
                    </a:lnTo>
                    <a:lnTo>
                      <a:pt x="20" y="42"/>
                    </a:lnTo>
                    <a:lnTo>
                      <a:pt x="20" y="45"/>
                    </a:lnTo>
                    <a:lnTo>
                      <a:pt x="21" y="45"/>
                    </a:lnTo>
                    <a:lnTo>
                      <a:pt x="21" y="47"/>
                    </a:lnTo>
                    <a:lnTo>
                      <a:pt x="18" y="47"/>
                    </a:lnTo>
                    <a:lnTo>
                      <a:pt x="17" y="50"/>
                    </a:lnTo>
                    <a:lnTo>
                      <a:pt x="16" y="52"/>
                    </a:lnTo>
                    <a:lnTo>
                      <a:pt x="16" y="52"/>
                    </a:lnTo>
                    <a:lnTo>
                      <a:pt x="18" y="54"/>
                    </a:lnTo>
                    <a:lnTo>
                      <a:pt x="18" y="54"/>
                    </a:lnTo>
                    <a:lnTo>
                      <a:pt x="17" y="55"/>
                    </a:lnTo>
                    <a:lnTo>
                      <a:pt x="18" y="57"/>
                    </a:lnTo>
                    <a:lnTo>
                      <a:pt x="13" y="57"/>
                    </a:lnTo>
                    <a:lnTo>
                      <a:pt x="10" y="66"/>
                    </a:lnTo>
                    <a:lnTo>
                      <a:pt x="8" y="67"/>
                    </a:lnTo>
                    <a:lnTo>
                      <a:pt x="7" y="66"/>
                    </a:lnTo>
                    <a:lnTo>
                      <a:pt x="2" y="68"/>
                    </a:lnTo>
                    <a:lnTo>
                      <a:pt x="2" y="68"/>
                    </a:lnTo>
                    <a:lnTo>
                      <a:pt x="8" y="68"/>
                    </a:lnTo>
                    <a:lnTo>
                      <a:pt x="11" y="68"/>
                    </a:lnTo>
                    <a:lnTo>
                      <a:pt x="13" y="70"/>
                    </a:lnTo>
                    <a:lnTo>
                      <a:pt x="0" y="82"/>
                    </a:lnTo>
                    <a:lnTo>
                      <a:pt x="0" y="86"/>
                    </a:lnTo>
                    <a:lnTo>
                      <a:pt x="1" y="89"/>
                    </a:lnTo>
                    <a:lnTo>
                      <a:pt x="4" y="89"/>
                    </a:lnTo>
                    <a:lnTo>
                      <a:pt x="17" y="86"/>
                    </a:lnTo>
                    <a:lnTo>
                      <a:pt x="26" y="87"/>
                    </a:lnTo>
                    <a:lnTo>
                      <a:pt x="29" y="89"/>
                    </a:lnTo>
                    <a:lnTo>
                      <a:pt x="45" y="87"/>
                    </a:lnTo>
                    <a:lnTo>
                      <a:pt x="46" y="84"/>
                    </a:lnTo>
                    <a:lnTo>
                      <a:pt x="50" y="83"/>
                    </a:lnTo>
                    <a:lnTo>
                      <a:pt x="50" y="87"/>
                    </a:lnTo>
                    <a:lnTo>
                      <a:pt x="46" y="89"/>
                    </a:lnTo>
                    <a:lnTo>
                      <a:pt x="46" y="90"/>
                    </a:lnTo>
                    <a:lnTo>
                      <a:pt x="49" y="90"/>
                    </a:lnTo>
                    <a:lnTo>
                      <a:pt x="49" y="92"/>
                    </a:lnTo>
                    <a:lnTo>
                      <a:pt x="55" y="90"/>
                    </a:lnTo>
                    <a:lnTo>
                      <a:pt x="58" y="87"/>
                    </a:lnTo>
                    <a:lnTo>
                      <a:pt x="59" y="87"/>
                    </a:lnTo>
                    <a:lnTo>
                      <a:pt x="63" y="87"/>
                    </a:lnTo>
                    <a:lnTo>
                      <a:pt x="63" y="89"/>
                    </a:lnTo>
                    <a:lnTo>
                      <a:pt x="58" y="93"/>
                    </a:lnTo>
                    <a:lnTo>
                      <a:pt x="55" y="98"/>
                    </a:lnTo>
                    <a:lnTo>
                      <a:pt x="49" y="100"/>
                    </a:lnTo>
                    <a:lnTo>
                      <a:pt x="49" y="102"/>
                    </a:lnTo>
                    <a:lnTo>
                      <a:pt x="52" y="103"/>
                    </a:lnTo>
                    <a:lnTo>
                      <a:pt x="58" y="102"/>
                    </a:lnTo>
                    <a:lnTo>
                      <a:pt x="63" y="93"/>
                    </a:lnTo>
                    <a:lnTo>
                      <a:pt x="68" y="92"/>
                    </a:lnTo>
                    <a:lnTo>
                      <a:pt x="69" y="92"/>
                    </a:lnTo>
                    <a:lnTo>
                      <a:pt x="72" y="82"/>
                    </a:lnTo>
                    <a:lnTo>
                      <a:pt x="75" y="82"/>
                    </a:lnTo>
                    <a:lnTo>
                      <a:pt x="77" y="93"/>
                    </a:lnTo>
                    <a:lnTo>
                      <a:pt x="74" y="103"/>
                    </a:lnTo>
                    <a:lnTo>
                      <a:pt x="77" y="105"/>
                    </a:lnTo>
                    <a:lnTo>
                      <a:pt x="81" y="98"/>
                    </a:lnTo>
                    <a:lnTo>
                      <a:pt x="82" y="99"/>
                    </a:lnTo>
                    <a:lnTo>
                      <a:pt x="81" y="102"/>
                    </a:lnTo>
                    <a:lnTo>
                      <a:pt x="81" y="106"/>
                    </a:lnTo>
                    <a:lnTo>
                      <a:pt x="82" y="109"/>
                    </a:lnTo>
                    <a:lnTo>
                      <a:pt x="85" y="106"/>
                    </a:lnTo>
                    <a:lnTo>
                      <a:pt x="88" y="108"/>
                    </a:lnTo>
                    <a:lnTo>
                      <a:pt x="94" y="92"/>
                    </a:lnTo>
                    <a:lnTo>
                      <a:pt x="94" y="86"/>
                    </a:lnTo>
                    <a:lnTo>
                      <a:pt x="93" y="84"/>
                    </a:lnTo>
                    <a:lnTo>
                      <a:pt x="88" y="92"/>
                    </a:lnTo>
                    <a:lnTo>
                      <a:pt x="88" y="90"/>
                    </a:lnTo>
                    <a:lnTo>
                      <a:pt x="88" y="86"/>
                    </a:lnTo>
                    <a:lnTo>
                      <a:pt x="90" y="79"/>
                    </a:lnTo>
                    <a:lnTo>
                      <a:pt x="91" y="77"/>
                    </a:lnTo>
                    <a:lnTo>
                      <a:pt x="91" y="76"/>
                    </a:lnTo>
                    <a:lnTo>
                      <a:pt x="85" y="79"/>
                    </a:lnTo>
                    <a:lnTo>
                      <a:pt x="82" y="87"/>
                    </a:lnTo>
                    <a:lnTo>
                      <a:pt x="81" y="87"/>
                    </a:lnTo>
                    <a:lnTo>
                      <a:pt x="79" y="86"/>
                    </a:lnTo>
                    <a:lnTo>
                      <a:pt x="78" y="84"/>
                    </a:lnTo>
                    <a:lnTo>
                      <a:pt x="79" y="79"/>
                    </a:lnTo>
                    <a:lnTo>
                      <a:pt x="79" y="79"/>
                    </a:lnTo>
                    <a:lnTo>
                      <a:pt x="79" y="77"/>
                    </a:lnTo>
                    <a:lnTo>
                      <a:pt x="77" y="76"/>
                    </a:lnTo>
                    <a:lnTo>
                      <a:pt x="82" y="73"/>
                    </a:lnTo>
                    <a:lnTo>
                      <a:pt x="84" y="70"/>
                    </a:lnTo>
                    <a:lnTo>
                      <a:pt x="87" y="70"/>
                    </a:lnTo>
                    <a:lnTo>
                      <a:pt x="88" y="67"/>
                    </a:lnTo>
                    <a:lnTo>
                      <a:pt x="88" y="66"/>
                    </a:lnTo>
                    <a:lnTo>
                      <a:pt x="81" y="68"/>
                    </a:lnTo>
                    <a:lnTo>
                      <a:pt x="79" y="68"/>
                    </a:lnTo>
                    <a:lnTo>
                      <a:pt x="77" y="70"/>
                    </a:lnTo>
                    <a:lnTo>
                      <a:pt x="75" y="68"/>
                    </a:lnTo>
                    <a:lnTo>
                      <a:pt x="79" y="64"/>
                    </a:lnTo>
                    <a:lnTo>
                      <a:pt x="78" y="63"/>
                    </a:lnTo>
                    <a:lnTo>
                      <a:pt x="77" y="63"/>
                    </a:lnTo>
                    <a:lnTo>
                      <a:pt x="78" y="58"/>
                    </a:lnTo>
                    <a:lnTo>
                      <a:pt x="81" y="55"/>
                    </a:lnTo>
                    <a:lnTo>
                      <a:pt x="82" y="52"/>
                    </a:lnTo>
                    <a:lnTo>
                      <a:pt x="82" y="51"/>
                    </a:lnTo>
                    <a:lnTo>
                      <a:pt x="75" y="48"/>
                    </a:lnTo>
                    <a:lnTo>
                      <a:pt x="71" y="50"/>
                    </a:lnTo>
                    <a:lnTo>
                      <a:pt x="69" y="47"/>
                    </a:lnTo>
                    <a:lnTo>
                      <a:pt x="59" y="52"/>
                    </a:lnTo>
                    <a:lnTo>
                      <a:pt x="56" y="52"/>
                    </a:lnTo>
                    <a:lnTo>
                      <a:pt x="59" y="48"/>
                    </a:lnTo>
                    <a:lnTo>
                      <a:pt x="59" y="45"/>
                    </a:lnTo>
                    <a:lnTo>
                      <a:pt x="56" y="48"/>
                    </a:lnTo>
                    <a:lnTo>
                      <a:pt x="56" y="48"/>
                    </a:lnTo>
                    <a:lnTo>
                      <a:pt x="55" y="48"/>
                    </a:lnTo>
                    <a:lnTo>
                      <a:pt x="49" y="48"/>
                    </a:lnTo>
                    <a:lnTo>
                      <a:pt x="49" y="44"/>
                    </a:lnTo>
                    <a:lnTo>
                      <a:pt x="46" y="44"/>
                    </a:lnTo>
                    <a:lnTo>
                      <a:pt x="55" y="38"/>
                    </a:lnTo>
                    <a:lnTo>
                      <a:pt x="52" y="38"/>
                    </a:lnTo>
                    <a:lnTo>
                      <a:pt x="46" y="37"/>
                    </a:lnTo>
                    <a:lnTo>
                      <a:pt x="46" y="34"/>
                    </a:lnTo>
                    <a:lnTo>
                      <a:pt x="45" y="34"/>
                    </a:lnTo>
                    <a:lnTo>
                      <a:pt x="36" y="45"/>
                    </a:lnTo>
                    <a:lnTo>
                      <a:pt x="36" y="41"/>
                    </a:lnTo>
                    <a:lnTo>
                      <a:pt x="36" y="38"/>
                    </a:lnTo>
                    <a:lnTo>
                      <a:pt x="36" y="35"/>
                    </a:lnTo>
                    <a:lnTo>
                      <a:pt x="45" y="23"/>
                    </a:lnTo>
                    <a:lnTo>
                      <a:pt x="45" y="16"/>
                    </a:lnTo>
                    <a:lnTo>
                      <a:pt x="46" y="18"/>
                    </a:lnTo>
                    <a:lnTo>
                      <a:pt x="49" y="16"/>
                    </a:lnTo>
                    <a:lnTo>
                      <a:pt x="50" y="10"/>
                    </a:lnTo>
                    <a:lnTo>
                      <a:pt x="48" y="9"/>
                    </a:lnTo>
                    <a:lnTo>
                      <a:pt x="48" y="6"/>
                    </a:lnTo>
                    <a:lnTo>
                      <a:pt x="52" y="6"/>
                    </a:lnTo>
                    <a:lnTo>
                      <a:pt x="53" y="2"/>
                    </a:lnTo>
                    <a:lnTo>
                      <a:pt x="53" y="0"/>
                    </a:lnTo>
                    <a:lnTo>
                      <a:pt x="50" y="2"/>
                    </a:lnTo>
                    <a:lnTo>
                      <a:pt x="50" y="0"/>
                    </a:lnTo>
                    <a:lnTo>
                      <a:pt x="48" y="0"/>
                    </a:lnTo>
                    <a:lnTo>
                      <a:pt x="43"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66" name="Freeform 1118"/>
              <p:cNvSpPr>
                <a:spLocks/>
              </p:cNvSpPr>
              <p:nvPr/>
            </p:nvSpPr>
            <p:spPr bwMode="auto">
              <a:xfrm>
                <a:off x="4352834" y="1817317"/>
                <a:ext cx="18434" cy="29410"/>
              </a:xfrm>
              <a:custGeom>
                <a:avLst/>
                <a:gdLst/>
                <a:ahLst/>
                <a:cxnLst>
                  <a:cxn ang="0">
                    <a:pos x="4" y="14"/>
                  </a:cxn>
                  <a:cxn ang="0">
                    <a:pos x="6" y="16"/>
                  </a:cxn>
                  <a:cxn ang="0">
                    <a:pos x="6" y="14"/>
                  </a:cxn>
                  <a:cxn ang="0">
                    <a:pos x="4" y="11"/>
                  </a:cxn>
                  <a:cxn ang="0">
                    <a:pos x="6" y="11"/>
                  </a:cxn>
                  <a:cxn ang="0">
                    <a:pos x="7" y="13"/>
                  </a:cxn>
                  <a:cxn ang="0">
                    <a:pos x="9" y="11"/>
                  </a:cxn>
                  <a:cxn ang="0">
                    <a:pos x="10" y="13"/>
                  </a:cxn>
                  <a:cxn ang="0">
                    <a:pos x="12" y="11"/>
                  </a:cxn>
                  <a:cxn ang="0">
                    <a:pos x="12" y="8"/>
                  </a:cxn>
                  <a:cxn ang="0">
                    <a:pos x="12" y="10"/>
                  </a:cxn>
                  <a:cxn ang="0">
                    <a:pos x="10" y="8"/>
                  </a:cxn>
                  <a:cxn ang="0">
                    <a:pos x="12" y="8"/>
                  </a:cxn>
                  <a:cxn ang="0">
                    <a:pos x="13" y="4"/>
                  </a:cxn>
                  <a:cxn ang="0">
                    <a:pos x="12" y="3"/>
                  </a:cxn>
                  <a:cxn ang="0">
                    <a:pos x="12" y="0"/>
                  </a:cxn>
                  <a:cxn ang="0">
                    <a:pos x="12" y="0"/>
                  </a:cxn>
                  <a:cxn ang="0">
                    <a:pos x="12" y="1"/>
                  </a:cxn>
                  <a:cxn ang="0">
                    <a:pos x="14" y="4"/>
                  </a:cxn>
                  <a:cxn ang="0">
                    <a:pos x="14" y="6"/>
                  </a:cxn>
                  <a:cxn ang="0">
                    <a:pos x="16" y="7"/>
                  </a:cxn>
                  <a:cxn ang="0">
                    <a:pos x="17" y="8"/>
                  </a:cxn>
                  <a:cxn ang="0">
                    <a:pos x="19" y="6"/>
                  </a:cxn>
                  <a:cxn ang="0">
                    <a:pos x="20" y="7"/>
                  </a:cxn>
                  <a:cxn ang="0">
                    <a:pos x="20" y="10"/>
                  </a:cxn>
                  <a:cxn ang="0">
                    <a:pos x="20" y="13"/>
                  </a:cxn>
                  <a:cxn ang="0">
                    <a:pos x="9" y="27"/>
                  </a:cxn>
                  <a:cxn ang="0">
                    <a:pos x="6" y="27"/>
                  </a:cxn>
                  <a:cxn ang="0">
                    <a:pos x="6" y="27"/>
                  </a:cxn>
                  <a:cxn ang="0">
                    <a:pos x="6" y="29"/>
                  </a:cxn>
                  <a:cxn ang="0">
                    <a:pos x="4" y="27"/>
                  </a:cxn>
                  <a:cxn ang="0">
                    <a:pos x="4" y="26"/>
                  </a:cxn>
                  <a:cxn ang="0">
                    <a:pos x="7" y="26"/>
                  </a:cxn>
                  <a:cxn ang="0">
                    <a:pos x="9" y="24"/>
                  </a:cxn>
                  <a:cxn ang="0">
                    <a:pos x="10" y="22"/>
                  </a:cxn>
                  <a:cxn ang="0">
                    <a:pos x="6" y="24"/>
                  </a:cxn>
                  <a:cxn ang="0">
                    <a:pos x="3" y="22"/>
                  </a:cxn>
                  <a:cxn ang="0">
                    <a:pos x="1" y="16"/>
                  </a:cxn>
                  <a:cxn ang="0">
                    <a:pos x="0" y="14"/>
                  </a:cxn>
                  <a:cxn ang="0">
                    <a:pos x="0" y="13"/>
                  </a:cxn>
                  <a:cxn ang="0">
                    <a:pos x="0" y="11"/>
                  </a:cxn>
                  <a:cxn ang="0">
                    <a:pos x="1" y="11"/>
                  </a:cxn>
                  <a:cxn ang="0">
                    <a:pos x="4" y="14"/>
                  </a:cxn>
                </a:cxnLst>
                <a:rect l="0" t="0" r="r" b="b"/>
                <a:pathLst>
                  <a:path w="20" h="29">
                    <a:moveTo>
                      <a:pt x="4" y="14"/>
                    </a:moveTo>
                    <a:lnTo>
                      <a:pt x="6" y="16"/>
                    </a:lnTo>
                    <a:lnTo>
                      <a:pt x="6" y="14"/>
                    </a:lnTo>
                    <a:lnTo>
                      <a:pt x="4" y="11"/>
                    </a:lnTo>
                    <a:lnTo>
                      <a:pt x="6" y="11"/>
                    </a:lnTo>
                    <a:lnTo>
                      <a:pt x="7" y="13"/>
                    </a:lnTo>
                    <a:lnTo>
                      <a:pt x="9" y="11"/>
                    </a:lnTo>
                    <a:lnTo>
                      <a:pt x="10" y="13"/>
                    </a:lnTo>
                    <a:lnTo>
                      <a:pt x="12" y="11"/>
                    </a:lnTo>
                    <a:lnTo>
                      <a:pt x="12" y="8"/>
                    </a:lnTo>
                    <a:lnTo>
                      <a:pt x="12" y="10"/>
                    </a:lnTo>
                    <a:lnTo>
                      <a:pt x="10" y="8"/>
                    </a:lnTo>
                    <a:lnTo>
                      <a:pt x="12" y="8"/>
                    </a:lnTo>
                    <a:lnTo>
                      <a:pt x="13" y="4"/>
                    </a:lnTo>
                    <a:lnTo>
                      <a:pt x="12" y="3"/>
                    </a:lnTo>
                    <a:lnTo>
                      <a:pt x="12" y="0"/>
                    </a:lnTo>
                    <a:lnTo>
                      <a:pt x="12" y="0"/>
                    </a:lnTo>
                    <a:lnTo>
                      <a:pt x="12" y="1"/>
                    </a:lnTo>
                    <a:lnTo>
                      <a:pt x="14" y="4"/>
                    </a:lnTo>
                    <a:lnTo>
                      <a:pt x="14" y="6"/>
                    </a:lnTo>
                    <a:lnTo>
                      <a:pt x="16" y="7"/>
                    </a:lnTo>
                    <a:lnTo>
                      <a:pt x="17" y="8"/>
                    </a:lnTo>
                    <a:lnTo>
                      <a:pt x="19" y="6"/>
                    </a:lnTo>
                    <a:lnTo>
                      <a:pt x="20" y="7"/>
                    </a:lnTo>
                    <a:lnTo>
                      <a:pt x="20" y="10"/>
                    </a:lnTo>
                    <a:lnTo>
                      <a:pt x="20" y="13"/>
                    </a:lnTo>
                    <a:lnTo>
                      <a:pt x="9" y="27"/>
                    </a:lnTo>
                    <a:lnTo>
                      <a:pt x="6" y="27"/>
                    </a:lnTo>
                    <a:lnTo>
                      <a:pt x="6" y="27"/>
                    </a:lnTo>
                    <a:lnTo>
                      <a:pt x="6" y="29"/>
                    </a:lnTo>
                    <a:lnTo>
                      <a:pt x="4" y="27"/>
                    </a:lnTo>
                    <a:lnTo>
                      <a:pt x="4" y="26"/>
                    </a:lnTo>
                    <a:lnTo>
                      <a:pt x="7" y="26"/>
                    </a:lnTo>
                    <a:lnTo>
                      <a:pt x="9" y="24"/>
                    </a:lnTo>
                    <a:lnTo>
                      <a:pt x="10" y="22"/>
                    </a:lnTo>
                    <a:lnTo>
                      <a:pt x="6" y="24"/>
                    </a:lnTo>
                    <a:lnTo>
                      <a:pt x="3" y="22"/>
                    </a:lnTo>
                    <a:lnTo>
                      <a:pt x="1" y="16"/>
                    </a:lnTo>
                    <a:lnTo>
                      <a:pt x="0" y="14"/>
                    </a:lnTo>
                    <a:lnTo>
                      <a:pt x="0" y="13"/>
                    </a:lnTo>
                    <a:lnTo>
                      <a:pt x="0" y="11"/>
                    </a:lnTo>
                    <a:lnTo>
                      <a:pt x="1" y="11"/>
                    </a:lnTo>
                    <a:lnTo>
                      <a:pt x="4" y="1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67" name="Freeform 1119"/>
              <p:cNvSpPr>
                <a:spLocks/>
              </p:cNvSpPr>
              <p:nvPr/>
            </p:nvSpPr>
            <p:spPr bwMode="auto">
              <a:xfrm>
                <a:off x="4352834" y="1817317"/>
                <a:ext cx="18434" cy="29410"/>
              </a:xfrm>
              <a:custGeom>
                <a:avLst/>
                <a:gdLst/>
                <a:ahLst/>
                <a:cxnLst>
                  <a:cxn ang="0">
                    <a:pos x="4" y="14"/>
                  </a:cxn>
                  <a:cxn ang="0">
                    <a:pos x="6" y="16"/>
                  </a:cxn>
                  <a:cxn ang="0">
                    <a:pos x="6" y="14"/>
                  </a:cxn>
                  <a:cxn ang="0">
                    <a:pos x="4" y="11"/>
                  </a:cxn>
                  <a:cxn ang="0">
                    <a:pos x="6" y="11"/>
                  </a:cxn>
                  <a:cxn ang="0">
                    <a:pos x="7" y="13"/>
                  </a:cxn>
                  <a:cxn ang="0">
                    <a:pos x="9" y="11"/>
                  </a:cxn>
                  <a:cxn ang="0">
                    <a:pos x="10" y="13"/>
                  </a:cxn>
                  <a:cxn ang="0">
                    <a:pos x="12" y="11"/>
                  </a:cxn>
                  <a:cxn ang="0">
                    <a:pos x="12" y="8"/>
                  </a:cxn>
                  <a:cxn ang="0">
                    <a:pos x="12" y="10"/>
                  </a:cxn>
                  <a:cxn ang="0">
                    <a:pos x="10" y="8"/>
                  </a:cxn>
                  <a:cxn ang="0">
                    <a:pos x="12" y="8"/>
                  </a:cxn>
                  <a:cxn ang="0">
                    <a:pos x="13" y="4"/>
                  </a:cxn>
                  <a:cxn ang="0">
                    <a:pos x="12" y="3"/>
                  </a:cxn>
                  <a:cxn ang="0">
                    <a:pos x="12" y="0"/>
                  </a:cxn>
                  <a:cxn ang="0">
                    <a:pos x="12" y="0"/>
                  </a:cxn>
                  <a:cxn ang="0">
                    <a:pos x="12" y="1"/>
                  </a:cxn>
                  <a:cxn ang="0">
                    <a:pos x="14" y="4"/>
                  </a:cxn>
                  <a:cxn ang="0">
                    <a:pos x="14" y="6"/>
                  </a:cxn>
                  <a:cxn ang="0">
                    <a:pos x="16" y="7"/>
                  </a:cxn>
                  <a:cxn ang="0">
                    <a:pos x="17" y="8"/>
                  </a:cxn>
                  <a:cxn ang="0">
                    <a:pos x="19" y="6"/>
                  </a:cxn>
                  <a:cxn ang="0">
                    <a:pos x="20" y="7"/>
                  </a:cxn>
                  <a:cxn ang="0">
                    <a:pos x="20" y="10"/>
                  </a:cxn>
                  <a:cxn ang="0">
                    <a:pos x="20" y="13"/>
                  </a:cxn>
                  <a:cxn ang="0">
                    <a:pos x="9" y="27"/>
                  </a:cxn>
                  <a:cxn ang="0">
                    <a:pos x="6" y="27"/>
                  </a:cxn>
                  <a:cxn ang="0">
                    <a:pos x="6" y="27"/>
                  </a:cxn>
                  <a:cxn ang="0">
                    <a:pos x="6" y="29"/>
                  </a:cxn>
                  <a:cxn ang="0">
                    <a:pos x="4" y="27"/>
                  </a:cxn>
                  <a:cxn ang="0">
                    <a:pos x="4" y="26"/>
                  </a:cxn>
                  <a:cxn ang="0">
                    <a:pos x="7" y="26"/>
                  </a:cxn>
                  <a:cxn ang="0">
                    <a:pos x="9" y="24"/>
                  </a:cxn>
                  <a:cxn ang="0">
                    <a:pos x="10" y="22"/>
                  </a:cxn>
                  <a:cxn ang="0">
                    <a:pos x="6" y="24"/>
                  </a:cxn>
                  <a:cxn ang="0">
                    <a:pos x="3" y="22"/>
                  </a:cxn>
                  <a:cxn ang="0">
                    <a:pos x="1" y="16"/>
                  </a:cxn>
                  <a:cxn ang="0">
                    <a:pos x="0" y="14"/>
                  </a:cxn>
                  <a:cxn ang="0">
                    <a:pos x="0" y="13"/>
                  </a:cxn>
                  <a:cxn ang="0">
                    <a:pos x="0" y="11"/>
                  </a:cxn>
                  <a:cxn ang="0">
                    <a:pos x="1" y="11"/>
                  </a:cxn>
                  <a:cxn ang="0">
                    <a:pos x="4" y="14"/>
                  </a:cxn>
                </a:cxnLst>
                <a:rect l="0" t="0" r="r" b="b"/>
                <a:pathLst>
                  <a:path w="20" h="29">
                    <a:moveTo>
                      <a:pt x="4" y="14"/>
                    </a:moveTo>
                    <a:lnTo>
                      <a:pt x="6" y="16"/>
                    </a:lnTo>
                    <a:lnTo>
                      <a:pt x="6" y="14"/>
                    </a:lnTo>
                    <a:lnTo>
                      <a:pt x="4" y="11"/>
                    </a:lnTo>
                    <a:lnTo>
                      <a:pt x="6" y="11"/>
                    </a:lnTo>
                    <a:lnTo>
                      <a:pt x="7" y="13"/>
                    </a:lnTo>
                    <a:lnTo>
                      <a:pt x="9" y="11"/>
                    </a:lnTo>
                    <a:lnTo>
                      <a:pt x="10" y="13"/>
                    </a:lnTo>
                    <a:lnTo>
                      <a:pt x="12" y="11"/>
                    </a:lnTo>
                    <a:lnTo>
                      <a:pt x="12" y="8"/>
                    </a:lnTo>
                    <a:lnTo>
                      <a:pt x="12" y="10"/>
                    </a:lnTo>
                    <a:lnTo>
                      <a:pt x="10" y="8"/>
                    </a:lnTo>
                    <a:lnTo>
                      <a:pt x="12" y="8"/>
                    </a:lnTo>
                    <a:lnTo>
                      <a:pt x="13" y="4"/>
                    </a:lnTo>
                    <a:lnTo>
                      <a:pt x="12" y="3"/>
                    </a:lnTo>
                    <a:lnTo>
                      <a:pt x="12" y="0"/>
                    </a:lnTo>
                    <a:lnTo>
                      <a:pt x="12" y="0"/>
                    </a:lnTo>
                    <a:lnTo>
                      <a:pt x="12" y="1"/>
                    </a:lnTo>
                    <a:lnTo>
                      <a:pt x="14" y="4"/>
                    </a:lnTo>
                    <a:lnTo>
                      <a:pt x="14" y="6"/>
                    </a:lnTo>
                    <a:lnTo>
                      <a:pt x="16" y="7"/>
                    </a:lnTo>
                    <a:lnTo>
                      <a:pt x="17" y="8"/>
                    </a:lnTo>
                    <a:lnTo>
                      <a:pt x="19" y="6"/>
                    </a:lnTo>
                    <a:lnTo>
                      <a:pt x="20" y="7"/>
                    </a:lnTo>
                    <a:lnTo>
                      <a:pt x="20" y="10"/>
                    </a:lnTo>
                    <a:lnTo>
                      <a:pt x="20" y="13"/>
                    </a:lnTo>
                    <a:lnTo>
                      <a:pt x="9" y="27"/>
                    </a:lnTo>
                    <a:lnTo>
                      <a:pt x="6" y="27"/>
                    </a:lnTo>
                    <a:lnTo>
                      <a:pt x="6" y="27"/>
                    </a:lnTo>
                    <a:lnTo>
                      <a:pt x="6" y="29"/>
                    </a:lnTo>
                    <a:lnTo>
                      <a:pt x="4" y="27"/>
                    </a:lnTo>
                    <a:lnTo>
                      <a:pt x="4" y="26"/>
                    </a:lnTo>
                    <a:lnTo>
                      <a:pt x="7" y="26"/>
                    </a:lnTo>
                    <a:lnTo>
                      <a:pt x="9" y="24"/>
                    </a:lnTo>
                    <a:lnTo>
                      <a:pt x="10" y="22"/>
                    </a:lnTo>
                    <a:lnTo>
                      <a:pt x="6" y="24"/>
                    </a:lnTo>
                    <a:lnTo>
                      <a:pt x="3" y="22"/>
                    </a:lnTo>
                    <a:lnTo>
                      <a:pt x="1" y="16"/>
                    </a:lnTo>
                    <a:lnTo>
                      <a:pt x="0" y="14"/>
                    </a:lnTo>
                    <a:lnTo>
                      <a:pt x="0" y="13"/>
                    </a:lnTo>
                    <a:lnTo>
                      <a:pt x="0" y="11"/>
                    </a:lnTo>
                    <a:lnTo>
                      <a:pt x="1" y="11"/>
                    </a:lnTo>
                    <a:lnTo>
                      <a:pt x="4" y="1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68" name="Freeform 1120"/>
              <p:cNvSpPr>
                <a:spLocks/>
              </p:cNvSpPr>
              <p:nvPr/>
            </p:nvSpPr>
            <p:spPr bwMode="auto">
              <a:xfrm>
                <a:off x="4344934" y="1836586"/>
                <a:ext cx="12289" cy="15211"/>
              </a:xfrm>
              <a:custGeom>
                <a:avLst/>
                <a:gdLst/>
                <a:ahLst/>
                <a:cxnLst>
                  <a:cxn ang="0">
                    <a:pos x="0" y="0"/>
                  </a:cxn>
                  <a:cxn ang="0">
                    <a:pos x="0" y="0"/>
                  </a:cxn>
                  <a:cxn ang="0">
                    <a:pos x="0" y="5"/>
                  </a:cxn>
                  <a:cxn ang="0">
                    <a:pos x="2" y="7"/>
                  </a:cxn>
                  <a:cxn ang="0">
                    <a:pos x="3" y="8"/>
                  </a:cxn>
                  <a:cxn ang="0">
                    <a:pos x="6" y="10"/>
                  </a:cxn>
                  <a:cxn ang="0">
                    <a:pos x="7" y="11"/>
                  </a:cxn>
                  <a:cxn ang="0">
                    <a:pos x="10" y="13"/>
                  </a:cxn>
                  <a:cxn ang="0">
                    <a:pos x="10" y="14"/>
                  </a:cxn>
                  <a:cxn ang="0">
                    <a:pos x="12" y="14"/>
                  </a:cxn>
                  <a:cxn ang="0">
                    <a:pos x="13" y="14"/>
                  </a:cxn>
                  <a:cxn ang="0">
                    <a:pos x="13" y="13"/>
                  </a:cxn>
                  <a:cxn ang="0">
                    <a:pos x="12" y="10"/>
                  </a:cxn>
                  <a:cxn ang="0">
                    <a:pos x="7" y="7"/>
                  </a:cxn>
                  <a:cxn ang="0">
                    <a:pos x="7" y="5"/>
                  </a:cxn>
                  <a:cxn ang="0">
                    <a:pos x="5" y="3"/>
                  </a:cxn>
                  <a:cxn ang="0">
                    <a:pos x="3" y="0"/>
                  </a:cxn>
                  <a:cxn ang="0">
                    <a:pos x="3" y="0"/>
                  </a:cxn>
                  <a:cxn ang="0">
                    <a:pos x="2" y="0"/>
                  </a:cxn>
                  <a:cxn ang="0">
                    <a:pos x="0" y="0"/>
                  </a:cxn>
                </a:cxnLst>
                <a:rect l="0" t="0" r="r" b="b"/>
                <a:pathLst>
                  <a:path w="13" h="14">
                    <a:moveTo>
                      <a:pt x="0" y="0"/>
                    </a:moveTo>
                    <a:lnTo>
                      <a:pt x="0" y="0"/>
                    </a:lnTo>
                    <a:lnTo>
                      <a:pt x="0" y="5"/>
                    </a:lnTo>
                    <a:lnTo>
                      <a:pt x="2" y="7"/>
                    </a:lnTo>
                    <a:lnTo>
                      <a:pt x="3" y="8"/>
                    </a:lnTo>
                    <a:lnTo>
                      <a:pt x="6" y="10"/>
                    </a:lnTo>
                    <a:lnTo>
                      <a:pt x="7" y="11"/>
                    </a:lnTo>
                    <a:lnTo>
                      <a:pt x="10" y="13"/>
                    </a:lnTo>
                    <a:lnTo>
                      <a:pt x="10" y="14"/>
                    </a:lnTo>
                    <a:lnTo>
                      <a:pt x="12" y="14"/>
                    </a:lnTo>
                    <a:lnTo>
                      <a:pt x="13" y="14"/>
                    </a:lnTo>
                    <a:lnTo>
                      <a:pt x="13" y="13"/>
                    </a:lnTo>
                    <a:lnTo>
                      <a:pt x="12" y="10"/>
                    </a:lnTo>
                    <a:lnTo>
                      <a:pt x="7" y="7"/>
                    </a:lnTo>
                    <a:lnTo>
                      <a:pt x="7" y="5"/>
                    </a:lnTo>
                    <a:lnTo>
                      <a:pt x="5" y="3"/>
                    </a:lnTo>
                    <a:lnTo>
                      <a:pt x="3" y="0"/>
                    </a:lnTo>
                    <a:lnTo>
                      <a:pt x="3" y="0"/>
                    </a:lnTo>
                    <a:lnTo>
                      <a:pt x="2" y="0"/>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69" name="Freeform 1121"/>
              <p:cNvSpPr>
                <a:spLocks/>
              </p:cNvSpPr>
              <p:nvPr/>
            </p:nvSpPr>
            <p:spPr bwMode="auto">
              <a:xfrm>
                <a:off x="4344934" y="1836586"/>
                <a:ext cx="12289" cy="15211"/>
              </a:xfrm>
              <a:custGeom>
                <a:avLst/>
                <a:gdLst/>
                <a:ahLst/>
                <a:cxnLst>
                  <a:cxn ang="0">
                    <a:pos x="0" y="0"/>
                  </a:cxn>
                  <a:cxn ang="0">
                    <a:pos x="0" y="0"/>
                  </a:cxn>
                  <a:cxn ang="0">
                    <a:pos x="0" y="5"/>
                  </a:cxn>
                  <a:cxn ang="0">
                    <a:pos x="2" y="7"/>
                  </a:cxn>
                  <a:cxn ang="0">
                    <a:pos x="3" y="8"/>
                  </a:cxn>
                  <a:cxn ang="0">
                    <a:pos x="6" y="10"/>
                  </a:cxn>
                  <a:cxn ang="0">
                    <a:pos x="7" y="11"/>
                  </a:cxn>
                  <a:cxn ang="0">
                    <a:pos x="10" y="13"/>
                  </a:cxn>
                  <a:cxn ang="0">
                    <a:pos x="10" y="14"/>
                  </a:cxn>
                  <a:cxn ang="0">
                    <a:pos x="12" y="14"/>
                  </a:cxn>
                  <a:cxn ang="0">
                    <a:pos x="13" y="14"/>
                  </a:cxn>
                  <a:cxn ang="0">
                    <a:pos x="13" y="13"/>
                  </a:cxn>
                  <a:cxn ang="0">
                    <a:pos x="12" y="10"/>
                  </a:cxn>
                  <a:cxn ang="0">
                    <a:pos x="7" y="7"/>
                  </a:cxn>
                  <a:cxn ang="0">
                    <a:pos x="7" y="5"/>
                  </a:cxn>
                  <a:cxn ang="0">
                    <a:pos x="5" y="3"/>
                  </a:cxn>
                  <a:cxn ang="0">
                    <a:pos x="3" y="0"/>
                  </a:cxn>
                  <a:cxn ang="0">
                    <a:pos x="3" y="0"/>
                  </a:cxn>
                  <a:cxn ang="0">
                    <a:pos x="2" y="0"/>
                  </a:cxn>
                  <a:cxn ang="0">
                    <a:pos x="0" y="0"/>
                  </a:cxn>
                </a:cxnLst>
                <a:rect l="0" t="0" r="r" b="b"/>
                <a:pathLst>
                  <a:path w="13" h="14">
                    <a:moveTo>
                      <a:pt x="0" y="0"/>
                    </a:moveTo>
                    <a:lnTo>
                      <a:pt x="0" y="0"/>
                    </a:lnTo>
                    <a:lnTo>
                      <a:pt x="0" y="5"/>
                    </a:lnTo>
                    <a:lnTo>
                      <a:pt x="2" y="7"/>
                    </a:lnTo>
                    <a:lnTo>
                      <a:pt x="3" y="8"/>
                    </a:lnTo>
                    <a:lnTo>
                      <a:pt x="6" y="10"/>
                    </a:lnTo>
                    <a:lnTo>
                      <a:pt x="7" y="11"/>
                    </a:lnTo>
                    <a:lnTo>
                      <a:pt x="10" y="13"/>
                    </a:lnTo>
                    <a:lnTo>
                      <a:pt x="10" y="14"/>
                    </a:lnTo>
                    <a:lnTo>
                      <a:pt x="12" y="14"/>
                    </a:lnTo>
                    <a:lnTo>
                      <a:pt x="13" y="14"/>
                    </a:lnTo>
                    <a:lnTo>
                      <a:pt x="13" y="13"/>
                    </a:lnTo>
                    <a:lnTo>
                      <a:pt x="12" y="10"/>
                    </a:lnTo>
                    <a:lnTo>
                      <a:pt x="7" y="7"/>
                    </a:lnTo>
                    <a:lnTo>
                      <a:pt x="7" y="5"/>
                    </a:lnTo>
                    <a:lnTo>
                      <a:pt x="5" y="3"/>
                    </a:lnTo>
                    <a:lnTo>
                      <a:pt x="3" y="0"/>
                    </a:lnTo>
                    <a:lnTo>
                      <a:pt x="3" y="0"/>
                    </a:lnTo>
                    <a:lnTo>
                      <a:pt x="2" y="0"/>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70" name="Freeform 1122"/>
              <p:cNvSpPr>
                <a:spLocks/>
              </p:cNvSpPr>
              <p:nvPr/>
            </p:nvSpPr>
            <p:spPr bwMode="auto">
              <a:xfrm>
                <a:off x="4820702" y="1811232"/>
                <a:ext cx="56179" cy="58819"/>
              </a:xfrm>
              <a:custGeom>
                <a:avLst/>
                <a:gdLst/>
                <a:ahLst/>
                <a:cxnLst>
                  <a:cxn ang="0">
                    <a:pos x="34" y="10"/>
                  </a:cxn>
                  <a:cxn ang="0">
                    <a:pos x="30" y="9"/>
                  </a:cxn>
                  <a:cxn ang="0">
                    <a:pos x="30" y="4"/>
                  </a:cxn>
                  <a:cxn ang="0">
                    <a:pos x="27" y="1"/>
                  </a:cxn>
                  <a:cxn ang="0">
                    <a:pos x="23" y="0"/>
                  </a:cxn>
                  <a:cxn ang="0">
                    <a:pos x="18" y="6"/>
                  </a:cxn>
                  <a:cxn ang="0">
                    <a:pos x="18" y="13"/>
                  </a:cxn>
                  <a:cxn ang="0">
                    <a:pos x="17" y="13"/>
                  </a:cxn>
                  <a:cxn ang="0">
                    <a:pos x="14" y="14"/>
                  </a:cxn>
                  <a:cxn ang="0">
                    <a:pos x="14" y="19"/>
                  </a:cxn>
                  <a:cxn ang="0">
                    <a:pos x="13" y="26"/>
                  </a:cxn>
                  <a:cxn ang="0">
                    <a:pos x="10" y="29"/>
                  </a:cxn>
                  <a:cxn ang="0">
                    <a:pos x="2" y="30"/>
                  </a:cxn>
                  <a:cxn ang="0">
                    <a:pos x="0" y="35"/>
                  </a:cxn>
                  <a:cxn ang="0">
                    <a:pos x="2" y="42"/>
                  </a:cxn>
                  <a:cxn ang="0">
                    <a:pos x="5" y="41"/>
                  </a:cxn>
                  <a:cxn ang="0">
                    <a:pos x="8" y="39"/>
                  </a:cxn>
                  <a:cxn ang="0">
                    <a:pos x="11" y="43"/>
                  </a:cxn>
                  <a:cxn ang="0">
                    <a:pos x="14" y="45"/>
                  </a:cxn>
                  <a:cxn ang="0">
                    <a:pos x="16" y="43"/>
                  </a:cxn>
                  <a:cxn ang="0">
                    <a:pos x="18" y="46"/>
                  </a:cxn>
                  <a:cxn ang="0">
                    <a:pos x="23" y="46"/>
                  </a:cxn>
                  <a:cxn ang="0">
                    <a:pos x="29" y="52"/>
                  </a:cxn>
                  <a:cxn ang="0">
                    <a:pos x="34" y="55"/>
                  </a:cxn>
                  <a:cxn ang="0">
                    <a:pos x="36" y="52"/>
                  </a:cxn>
                  <a:cxn ang="0">
                    <a:pos x="46" y="57"/>
                  </a:cxn>
                  <a:cxn ang="0">
                    <a:pos x="50" y="51"/>
                  </a:cxn>
                  <a:cxn ang="0">
                    <a:pos x="56" y="46"/>
                  </a:cxn>
                  <a:cxn ang="0">
                    <a:pos x="58" y="48"/>
                  </a:cxn>
                  <a:cxn ang="0">
                    <a:pos x="61" y="42"/>
                  </a:cxn>
                  <a:cxn ang="0">
                    <a:pos x="56" y="43"/>
                  </a:cxn>
                  <a:cxn ang="0">
                    <a:pos x="52" y="36"/>
                  </a:cxn>
                  <a:cxn ang="0">
                    <a:pos x="49" y="29"/>
                  </a:cxn>
                  <a:cxn ang="0">
                    <a:pos x="45" y="23"/>
                  </a:cxn>
                  <a:cxn ang="0">
                    <a:pos x="36" y="14"/>
                  </a:cxn>
                </a:cxnLst>
                <a:rect l="0" t="0" r="r" b="b"/>
                <a:pathLst>
                  <a:path w="61" h="57">
                    <a:moveTo>
                      <a:pt x="36" y="14"/>
                    </a:moveTo>
                    <a:lnTo>
                      <a:pt x="34" y="10"/>
                    </a:lnTo>
                    <a:lnTo>
                      <a:pt x="33" y="9"/>
                    </a:lnTo>
                    <a:lnTo>
                      <a:pt x="30" y="9"/>
                    </a:lnTo>
                    <a:lnTo>
                      <a:pt x="31" y="6"/>
                    </a:lnTo>
                    <a:lnTo>
                      <a:pt x="30" y="4"/>
                    </a:lnTo>
                    <a:lnTo>
                      <a:pt x="29" y="4"/>
                    </a:lnTo>
                    <a:lnTo>
                      <a:pt x="27" y="1"/>
                    </a:lnTo>
                    <a:lnTo>
                      <a:pt x="24" y="0"/>
                    </a:lnTo>
                    <a:lnTo>
                      <a:pt x="23" y="0"/>
                    </a:lnTo>
                    <a:lnTo>
                      <a:pt x="21" y="3"/>
                    </a:lnTo>
                    <a:lnTo>
                      <a:pt x="18" y="6"/>
                    </a:lnTo>
                    <a:lnTo>
                      <a:pt x="17" y="12"/>
                    </a:lnTo>
                    <a:lnTo>
                      <a:pt x="18" y="13"/>
                    </a:lnTo>
                    <a:lnTo>
                      <a:pt x="18" y="14"/>
                    </a:lnTo>
                    <a:lnTo>
                      <a:pt x="17" y="13"/>
                    </a:lnTo>
                    <a:lnTo>
                      <a:pt x="14" y="13"/>
                    </a:lnTo>
                    <a:lnTo>
                      <a:pt x="14" y="14"/>
                    </a:lnTo>
                    <a:lnTo>
                      <a:pt x="14" y="16"/>
                    </a:lnTo>
                    <a:lnTo>
                      <a:pt x="14" y="19"/>
                    </a:lnTo>
                    <a:lnTo>
                      <a:pt x="14" y="23"/>
                    </a:lnTo>
                    <a:lnTo>
                      <a:pt x="13" y="26"/>
                    </a:lnTo>
                    <a:lnTo>
                      <a:pt x="13" y="28"/>
                    </a:lnTo>
                    <a:lnTo>
                      <a:pt x="10" y="29"/>
                    </a:lnTo>
                    <a:lnTo>
                      <a:pt x="7" y="30"/>
                    </a:lnTo>
                    <a:lnTo>
                      <a:pt x="2" y="30"/>
                    </a:lnTo>
                    <a:lnTo>
                      <a:pt x="1" y="32"/>
                    </a:lnTo>
                    <a:lnTo>
                      <a:pt x="0" y="35"/>
                    </a:lnTo>
                    <a:lnTo>
                      <a:pt x="0" y="39"/>
                    </a:lnTo>
                    <a:lnTo>
                      <a:pt x="2" y="42"/>
                    </a:lnTo>
                    <a:lnTo>
                      <a:pt x="5" y="43"/>
                    </a:lnTo>
                    <a:lnTo>
                      <a:pt x="5" y="41"/>
                    </a:lnTo>
                    <a:lnTo>
                      <a:pt x="7" y="39"/>
                    </a:lnTo>
                    <a:lnTo>
                      <a:pt x="8" y="39"/>
                    </a:lnTo>
                    <a:lnTo>
                      <a:pt x="11" y="41"/>
                    </a:lnTo>
                    <a:lnTo>
                      <a:pt x="11" y="43"/>
                    </a:lnTo>
                    <a:lnTo>
                      <a:pt x="13" y="43"/>
                    </a:lnTo>
                    <a:lnTo>
                      <a:pt x="14" y="45"/>
                    </a:lnTo>
                    <a:lnTo>
                      <a:pt x="16" y="45"/>
                    </a:lnTo>
                    <a:lnTo>
                      <a:pt x="16" y="43"/>
                    </a:lnTo>
                    <a:lnTo>
                      <a:pt x="18" y="45"/>
                    </a:lnTo>
                    <a:lnTo>
                      <a:pt x="18" y="46"/>
                    </a:lnTo>
                    <a:lnTo>
                      <a:pt x="20" y="48"/>
                    </a:lnTo>
                    <a:lnTo>
                      <a:pt x="23" y="46"/>
                    </a:lnTo>
                    <a:lnTo>
                      <a:pt x="26" y="51"/>
                    </a:lnTo>
                    <a:lnTo>
                      <a:pt x="29" y="52"/>
                    </a:lnTo>
                    <a:lnTo>
                      <a:pt x="33" y="54"/>
                    </a:lnTo>
                    <a:lnTo>
                      <a:pt x="34" y="55"/>
                    </a:lnTo>
                    <a:lnTo>
                      <a:pt x="34" y="52"/>
                    </a:lnTo>
                    <a:lnTo>
                      <a:pt x="36" y="52"/>
                    </a:lnTo>
                    <a:lnTo>
                      <a:pt x="43" y="57"/>
                    </a:lnTo>
                    <a:lnTo>
                      <a:pt x="46" y="57"/>
                    </a:lnTo>
                    <a:lnTo>
                      <a:pt x="49" y="51"/>
                    </a:lnTo>
                    <a:lnTo>
                      <a:pt x="50" y="51"/>
                    </a:lnTo>
                    <a:lnTo>
                      <a:pt x="53" y="46"/>
                    </a:lnTo>
                    <a:lnTo>
                      <a:pt x="56" y="46"/>
                    </a:lnTo>
                    <a:lnTo>
                      <a:pt x="56" y="48"/>
                    </a:lnTo>
                    <a:lnTo>
                      <a:pt x="58" y="48"/>
                    </a:lnTo>
                    <a:lnTo>
                      <a:pt x="61" y="45"/>
                    </a:lnTo>
                    <a:lnTo>
                      <a:pt x="61" y="42"/>
                    </a:lnTo>
                    <a:lnTo>
                      <a:pt x="59" y="42"/>
                    </a:lnTo>
                    <a:lnTo>
                      <a:pt x="56" y="43"/>
                    </a:lnTo>
                    <a:lnTo>
                      <a:pt x="53" y="39"/>
                    </a:lnTo>
                    <a:lnTo>
                      <a:pt x="52" y="36"/>
                    </a:lnTo>
                    <a:lnTo>
                      <a:pt x="52" y="35"/>
                    </a:lnTo>
                    <a:lnTo>
                      <a:pt x="49" y="29"/>
                    </a:lnTo>
                    <a:lnTo>
                      <a:pt x="46" y="26"/>
                    </a:lnTo>
                    <a:lnTo>
                      <a:pt x="45" y="23"/>
                    </a:lnTo>
                    <a:lnTo>
                      <a:pt x="37" y="16"/>
                    </a:lnTo>
                    <a:lnTo>
                      <a:pt x="36" y="1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71" name="Freeform 1124"/>
              <p:cNvSpPr>
                <a:spLocks/>
              </p:cNvSpPr>
              <p:nvPr/>
            </p:nvSpPr>
            <p:spPr bwMode="auto">
              <a:xfrm>
                <a:off x="5048053" y="2344666"/>
                <a:ext cx="17556" cy="14197"/>
              </a:xfrm>
              <a:custGeom>
                <a:avLst/>
                <a:gdLst/>
                <a:ahLst/>
                <a:cxnLst>
                  <a:cxn ang="0">
                    <a:pos x="1" y="1"/>
                  </a:cxn>
                  <a:cxn ang="0">
                    <a:pos x="7" y="0"/>
                  </a:cxn>
                  <a:cxn ang="0">
                    <a:pos x="11" y="1"/>
                  </a:cxn>
                  <a:cxn ang="0">
                    <a:pos x="14" y="1"/>
                  </a:cxn>
                  <a:cxn ang="0">
                    <a:pos x="16" y="3"/>
                  </a:cxn>
                  <a:cxn ang="0">
                    <a:pos x="17" y="6"/>
                  </a:cxn>
                  <a:cxn ang="0">
                    <a:pos x="17" y="9"/>
                  </a:cxn>
                  <a:cxn ang="0">
                    <a:pos x="19" y="11"/>
                  </a:cxn>
                  <a:cxn ang="0">
                    <a:pos x="17" y="13"/>
                  </a:cxn>
                  <a:cxn ang="0">
                    <a:pos x="16" y="10"/>
                  </a:cxn>
                  <a:cxn ang="0">
                    <a:pos x="13" y="10"/>
                  </a:cxn>
                  <a:cxn ang="0">
                    <a:pos x="7" y="7"/>
                  </a:cxn>
                  <a:cxn ang="0">
                    <a:pos x="3" y="6"/>
                  </a:cxn>
                  <a:cxn ang="0">
                    <a:pos x="0" y="4"/>
                  </a:cxn>
                  <a:cxn ang="0">
                    <a:pos x="1" y="1"/>
                  </a:cxn>
                </a:cxnLst>
                <a:rect l="0" t="0" r="r" b="b"/>
                <a:pathLst>
                  <a:path w="19" h="13">
                    <a:moveTo>
                      <a:pt x="1" y="1"/>
                    </a:moveTo>
                    <a:lnTo>
                      <a:pt x="7" y="0"/>
                    </a:lnTo>
                    <a:lnTo>
                      <a:pt x="11" y="1"/>
                    </a:lnTo>
                    <a:lnTo>
                      <a:pt x="14" y="1"/>
                    </a:lnTo>
                    <a:lnTo>
                      <a:pt x="16" y="3"/>
                    </a:lnTo>
                    <a:lnTo>
                      <a:pt x="17" y="6"/>
                    </a:lnTo>
                    <a:lnTo>
                      <a:pt x="17" y="9"/>
                    </a:lnTo>
                    <a:lnTo>
                      <a:pt x="19" y="11"/>
                    </a:lnTo>
                    <a:lnTo>
                      <a:pt x="17" y="13"/>
                    </a:lnTo>
                    <a:lnTo>
                      <a:pt x="16" y="10"/>
                    </a:lnTo>
                    <a:lnTo>
                      <a:pt x="13" y="10"/>
                    </a:lnTo>
                    <a:lnTo>
                      <a:pt x="7" y="7"/>
                    </a:lnTo>
                    <a:lnTo>
                      <a:pt x="3" y="6"/>
                    </a:lnTo>
                    <a:lnTo>
                      <a:pt x="0" y="4"/>
                    </a:lnTo>
                    <a:lnTo>
                      <a:pt x="1" y="1"/>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72" name="Freeform 1125"/>
              <p:cNvSpPr>
                <a:spLocks/>
              </p:cNvSpPr>
              <p:nvPr/>
            </p:nvSpPr>
            <p:spPr bwMode="auto">
              <a:xfrm>
                <a:off x="5048053" y="2344666"/>
                <a:ext cx="17556" cy="14197"/>
              </a:xfrm>
              <a:custGeom>
                <a:avLst/>
                <a:gdLst/>
                <a:ahLst/>
                <a:cxnLst>
                  <a:cxn ang="0">
                    <a:pos x="1" y="1"/>
                  </a:cxn>
                  <a:cxn ang="0">
                    <a:pos x="7" y="0"/>
                  </a:cxn>
                  <a:cxn ang="0">
                    <a:pos x="11" y="1"/>
                  </a:cxn>
                  <a:cxn ang="0">
                    <a:pos x="14" y="1"/>
                  </a:cxn>
                  <a:cxn ang="0">
                    <a:pos x="16" y="3"/>
                  </a:cxn>
                  <a:cxn ang="0">
                    <a:pos x="17" y="6"/>
                  </a:cxn>
                  <a:cxn ang="0">
                    <a:pos x="17" y="9"/>
                  </a:cxn>
                  <a:cxn ang="0">
                    <a:pos x="19" y="11"/>
                  </a:cxn>
                  <a:cxn ang="0">
                    <a:pos x="17" y="13"/>
                  </a:cxn>
                  <a:cxn ang="0">
                    <a:pos x="16" y="10"/>
                  </a:cxn>
                  <a:cxn ang="0">
                    <a:pos x="13" y="10"/>
                  </a:cxn>
                  <a:cxn ang="0">
                    <a:pos x="7" y="7"/>
                  </a:cxn>
                  <a:cxn ang="0">
                    <a:pos x="3" y="6"/>
                  </a:cxn>
                  <a:cxn ang="0">
                    <a:pos x="0" y="4"/>
                  </a:cxn>
                  <a:cxn ang="0">
                    <a:pos x="1" y="1"/>
                  </a:cxn>
                </a:cxnLst>
                <a:rect l="0" t="0" r="r" b="b"/>
                <a:pathLst>
                  <a:path w="19" h="13">
                    <a:moveTo>
                      <a:pt x="1" y="1"/>
                    </a:moveTo>
                    <a:lnTo>
                      <a:pt x="7" y="0"/>
                    </a:lnTo>
                    <a:lnTo>
                      <a:pt x="11" y="1"/>
                    </a:lnTo>
                    <a:lnTo>
                      <a:pt x="14" y="1"/>
                    </a:lnTo>
                    <a:lnTo>
                      <a:pt x="16" y="3"/>
                    </a:lnTo>
                    <a:lnTo>
                      <a:pt x="17" y="6"/>
                    </a:lnTo>
                    <a:lnTo>
                      <a:pt x="17" y="9"/>
                    </a:lnTo>
                    <a:lnTo>
                      <a:pt x="19" y="11"/>
                    </a:lnTo>
                    <a:lnTo>
                      <a:pt x="17" y="13"/>
                    </a:lnTo>
                    <a:lnTo>
                      <a:pt x="16" y="10"/>
                    </a:lnTo>
                    <a:lnTo>
                      <a:pt x="13" y="10"/>
                    </a:lnTo>
                    <a:lnTo>
                      <a:pt x="7" y="7"/>
                    </a:lnTo>
                    <a:lnTo>
                      <a:pt x="3" y="6"/>
                    </a:lnTo>
                    <a:lnTo>
                      <a:pt x="0" y="4"/>
                    </a:lnTo>
                    <a:lnTo>
                      <a:pt x="1" y="1"/>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73" name="Freeform 1126"/>
              <p:cNvSpPr>
                <a:spLocks/>
              </p:cNvSpPr>
              <p:nvPr/>
            </p:nvSpPr>
            <p:spPr bwMode="auto">
              <a:xfrm>
                <a:off x="4474849" y="1581025"/>
                <a:ext cx="138692" cy="175445"/>
              </a:xfrm>
              <a:custGeom>
                <a:avLst/>
                <a:gdLst/>
                <a:ahLst/>
                <a:cxnLst>
                  <a:cxn ang="0">
                    <a:pos x="28" y="35"/>
                  </a:cxn>
                  <a:cxn ang="0">
                    <a:pos x="22" y="54"/>
                  </a:cxn>
                  <a:cxn ang="0">
                    <a:pos x="19" y="60"/>
                  </a:cxn>
                  <a:cxn ang="0">
                    <a:pos x="16" y="68"/>
                  </a:cxn>
                  <a:cxn ang="0">
                    <a:pos x="15" y="74"/>
                  </a:cxn>
                  <a:cxn ang="0">
                    <a:pos x="16" y="77"/>
                  </a:cxn>
                  <a:cxn ang="0">
                    <a:pos x="19" y="81"/>
                  </a:cxn>
                  <a:cxn ang="0">
                    <a:pos x="11" y="84"/>
                  </a:cxn>
                  <a:cxn ang="0">
                    <a:pos x="12" y="90"/>
                  </a:cxn>
                  <a:cxn ang="0">
                    <a:pos x="12" y="99"/>
                  </a:cxn>
                  <a:cxn ang="0">
                    <a:pos x="12" y="102"/>
                  </a:cxn>
                  <a:cxn ang="0">
                    <a:pos x="11" y="106"/>
                  </a:cxn>
                  <a:cxn ang="0">
                    <a:pos x="6" y="112"/>
                  </a:cxn>
                  <a:cxn ang="0">
                    <a:pos x="8" y="116"/>
                  </a:cxn>
                  <a:cxn ang="0">
                    <a:pos x="5" y="121"/>
                  </a:cxn>
                  <a:cxn ang="0">
                    <a:pos x="3" y="124"/>
                  </a:cxn>
                  <a:cxn ang="0">
                    <a:pos x="0" y="129"/>
                  </a:cxn>
                  <a:cxn ang="0">
                    <a:pos x="12" y="131"/>
                  </a:cxn>
                  <a:cxn ang="0">
                    <a:pos x="11" y="132"/>
                  </a:cxn>
                  <a:cxn ang="0">
                    <a:pos x="18" y="134"/>
                  </a:cxn>
                  <a:cxn ang="0">
                    <a:pos x="25" y="141"/>
                  </a:cxn>
                  <a:cxn ang="0">
                    <a:pos x="32" y="151"/>
                  </a:cxn>
                  <a:cxn ang="0">
                    <a:pos x="43" y="169"/>
                  </a:cxn>
                  <a:cxn ang="0">
                    <a:pos x="59" y="154"/>
                  </a:cxn>
                  <a:cxn ang="0">
                    <a:pos x="63" y="154"/>
                  </a:cxn>
                  <a:cxn ang="0">
                    <a:pos x="67" y="155"/>
                  </a:cxn>
                  <a:cxn ang="0">
                    <a:pos x="70" y="153"/>
                  </a:cxn>
                  <a:cxn ang="0">
                    <a:pos x="76" y="150"/>
                  </a:cxn>
                  <a:cxn ang="0">
                    <a:pos x="77" y="141"/>
                  </a:cxn>
                  <a:cxn ang="0">
                    <a:pos x="77" y="131"/>
                  </a:cxn>
                  <a:cxn ang="0">
                    <a:pos x="82" y="116"/>
                  </a:cxn>
                  <a:cxn ang="0">
                    <a:pos x="91" y="115"/>
                  </a:cxn>
                  <a:cxn ang="0">
                    <a:pos x="151" y="58"/>
                  </a:cxn>
                  <a:cxn ang="0">
                    <a:pos x="146" y="47"/>
                  </a:cxn>
                  <a:cxn ang="0">
                    <a:pos x="124" y="23"/>
                  </a:cxn>
                  <a:cxn ang="0">
                    <a:pos x="99" y="20"/>
                  </a:cxn>
                  <a:cxn ang="0">
                    <a:pos x="99" y="28"/>
                  </a:cxn>
                  <a:cxn ang="0">
                    <a:pos x="95" y="28"/>
                  </a:cxn>
                  <a:cxn ang="0">
                    <a:pos x="93" y="19"/>
                  </a:cxn>
                  <a:cxn ang="0">
                    <a:pos x="89" y="23"/>
                  </a:cxn>
                  <a:cxn ang="0">
                    <a:pos x="89" y="20"/>
                  </a:cxn>
                  <a:cxn ang="0">
                    <a:pos x="63" y="0"/>
                  </a:cxn>
                  <a:cxn ang="0">
                    <a:pos x="56" y="3"/>
                  </a:cxn>
                  <a:cxn ang="0">
                    <a:pos x="41" y="6"/>
                  </a:cxn>
                  <a:cxn ang="0">
                    <a:pos x="40" y="7"/>
                  </a:cxn>
                  <a:cxn ang="0">
                    <a:pos x="37" y="7"/>
                  </a:cxn>
                  <a:cxn ang="0">
                    <a:pos x="31" y="6"/>
                  </a:cxn>
                  <a:cxn ang="0">
                    <a:pos x="25" y="6"/>
                  </a:cxn>
                  <a:cxn ang="0">
                    <a:pos x="19" y="10"/>
                  </a:cxn>
                  <a:cxn ang="0">
                    <a:pos x="22" y="20"/>
                  </a:cxn>
                </a:cxnLst>
                <a:rect l="0" t="0" r="r" b="b"/>
                <a:pathLst>
                  <a:path w="151" h="169">
                    <a:moveTo>
                      <a:pt x="24" y="31"/>
                    </a:moveTo>
                    <a:lnTo>
                      <a:pt x="27" y="33"/>
                    </a:lnTo>
                    <a:lnTo>
                      <a:pt x="28" y="35"/>
                    </a:lnTo>
                    <a:lnTo>
                      <a:pt x="30" y="38"/>
                    </a:lnTo>
                    <a:lnTo>
                      <a:pt x="24" y="51"/>
                    </a:lnTo>
                    <a:lnTo>
                      <a:pt x="22" y="54"/>
                    </a:lnTo>
                    <a:lnTo>
                      <a:pt x="22" y="55"/>
                    </a:lnTo>
                    <a:lnTo>
                      <a:pt x="21" y="58"/>
                    </a:lnTo>
                    <a:lnTo>
                      <a:pt x="19" y="60"/>
                    </a:lnTo>
                    <a:lnTo>
                      <a:pt x="19" y="62"/>
                    </a:lnTo>
                    <a:lnTo>
                      <a:pt x="19" y="65"/>
                    </a:lnTo>
                    <a:lnTo>
                      <a:pt x="16" y="68"/>
                    </a:lnTo>
                    <a:lnTo>
                      <a:pt x="18" y="70"/>
                    </a:lnTo>
                    <a:lnTo>
                      <a:pt x="16" y="71"/>
                    </a:lnTo>
                    <a:lnTo>
                      <a:pt x="15" y="74"/>
                    </a:lnTo>
                    <a:lnTo>
                      <a:pt x="14" y="74"/>
                    </a:lnTo>
                    <a:lnTo>
                      <a:pt x="15" y="77"/>
                    </a:lnTo>
                    <a:lnTo>
                      <a:pt x="16" y="77"/>
                    </a:lnTo>
                    <a:lnTo>
                      <a:pt x="16" y="78"/>
                    </a:lnTo>
                    <a:lnTo>
                      <a:pt x="19" y="80"/>
                    </a:lnTo>
                    <a:lnTo>
                      <a:pt x="19" y="81"/>
                    </a:lnTo>
                    <a:lnTo>
                      <a:pt x="19" y="83"/>
                    </a:lnTo>
                    <a:lnTo>
                      <a:pt x="14" y="86"/>
                    </a:lnTo>
                    <a:lnTo>
                      <a:pt x="11" y="84"/>
                    </a:lnTo>
                    <a:lnTo>
                      <a:pt x="11" y="86"/>
                    </a:lnTo>
                    <a:lnTo>
                      <a:pt x="12" y="89"/>
                    </a:lnTo>
                    <a:lnTo>
                      <a:pt x="12" y="90"/>
                    </a:lnTo>
                    <a:lnTo>
                      <a:pt x="12" y="93"/>
                    </a:lnTo>
                    <a:lnTo>
                      <a:pt x="12" y="93"/>
                    </a:lnTo>
                    <a:lnTo>
                      <a:pt x="12" y="99"/>
                    </a:lnTo>
                    <a:lnTo>
                      <a:pt x="12" y="97"/>
                    </a:lnTo>
                    <a:lnTo>
                      <a:pt x="14" y="100"/>
                    </a:lnTo>
                    <a:lnTo>
                      <a:pt x="12" y="102"/>
                    </a:lnTo>
                    <a:lnTo>
                      <a:pt x="9" y="103"/>
                    </a:lnTo>
                    <a:lnTo>
                      <a:pt x="12" y="105"/>
                    </a:lnTo>
                    <a:lnTo>
                      <a:pt x="11" y="106"/>
                    </a:lnTo>
                    <a:lnTo>
                      <a:pt x="9" y="105"/>
                    </a:lnTo>
                    <a:lnTo>
                      <a:pt x="6" y="109"/>
                    </a:lnTo>
                    <a:lnTo>
                      <a:pt x="6" y="112"/>
                    </a:lnTo>
                    <a:lnTo>
                      <a:pt x="5" y="113"/>
                    </a:lnTo>
                    <a:lnTo>
                      <a:pt x="6" y="115"/>
                    </a:lnTo>
                    <a:lnTo>
                      <a:pt x="8" y="116"/>
                    </a:lnTo>
                    <a:lnTo>
                      <a:pt x="3" y="118"/>
                    </a:lnTo>
                    <a:lnTo>
                      <a:pt x="5" y="119"/>
                    </a:lnTo>
                    <a:lnTo>
                      <a:pt x="5" y="121"/>
                    </a:lnTo>
                    <a:lnTo>
                      <a:pt x="3" y="121"/>
                    </a:lnTo>
                    <a:lnTo>
                      <a:pt x="2" y="122"/>
                    </a:lnTo>
                    <a:lnTo>
                      <a:pt x="3" y="124"/>
                    </a:lnTo>
                    <a:lnTo>
                      <a:pt x="3" y="125"/>
                    </a:lnTo>
                    <a:lnTo>
                      <a:pt x="2" y="129"/>
                    </a:lnTo>
                    <a:lnTo>
                      <a:pt x="0" y="129"/>
                    </a:lnTo>
                    <a:lnTo>
                      <a:pt x="0" y="132"/>
                    </a:lnTo>
                    <a:lnTo>
                      <a:pt x="8" y="129"/>
                    </a:lnTo>
                    <a:lnTo>
                      <a:pt x="12" y="131"/>
                    </a:lnTo>
                    <a:lnTo>
                      <a:pt x="14" y="132"/>
                    </a:lnTo>
                    <a:lnTo>
                      <a:pt x="11" y="131"/>
                    </a:lnTo>
                    <a:lnTo>
                      <a:pt x="11" y="132"/>
                    </a:lnTo>
                    <a:lnTo>
                      <a:pt x="15" y="135"/>
                    </a:lnTo>
                    <a:lnTo>
                      <a:pt x="16" y="137"/>
                    </a:lnTo>
                    <a:lnTo>
                      <a:pt x="18" y="134"/>
                    </a:lnTo>
                    <a:lnTo>
                      <a:pt x="19" y="135"/>
                    </a:lnTo>
                    <a:lnTo>
                      <a:pt x="19" y="138"/>
                    </a:lnTo>
                    <a:lnTo>
                      <a:pt x="25" y="141"/>
                    </a:lnTo>
                    <a:lnTo>
                      <a:pt x="30" y="145"/>
                    </a:lnTo>
                    <a:lnTo>
                      <a:pt x="31" y="150"/>
                    </a:lnTo>
                    <a:lnTo>
                      <a:pt x="32" y="151"/>
                    </a:lnTo>
                    <a:lnTo>
                      <a:pt x="35" y="164"/>
                    </a:lnTo>
                    <a:lnTo>
                      <a:pt x="40" y="169"/>
                    </a:lnTo>
                    <a:lnTo>
                      <a:pt x="43" y="169"/>
                    </a:lnTo>
                    <a:lnTo>
                      <a:pt x="47" y="163"/>
                    </a:lnTo>
                    <a:lnTo>
                      <a:pt x="50" y="161"/>
                    </a:lnTo>
                    <a:lnTo>
                      <a:pt x="59" y="154"/>
                    </a:lnTo>
                    <a:lnTo>
                      <a:pt x="60" y="151"/>
                    </a:lnTo>
                    <a:lnTo>
                      <a:pt x="61" y="153"/>
                    </a:lnTo>
                    <a:lnTo>
                      <a:pt x="63" y="154"/>
                    </a:lnTo>
                    <a:lnTo>
                      <a:pt x="61" y="155"/>
                    </a:lnTo>
                    <a:lnTo>
                      <a:pt x="64" y="155"/>
                    </a:lnTo>
                    <a:lnTo>
                      <a:pt x="67" y="155"/>
                    </a:lnTo>
                    <a:lnTo>
                      <a:pt x="69" y="153"/>
                    </a:lnTo>
                    <a:lnTo>
                      <a:pt x="69" y="151"/>
                    </a:lnTo>
                    <a:lnTo>
                      <a:pt x="70" y="153"/>
                    </a:lnTo>
                    <a:lnTo>
                      <a:pt x="70" y="153"/>
                    </a:lnTo>
                    <a:lnTo>
                      <a:pt x="73" y="153"/>
                    </a:lnTo>
                    <a:lnTo>
                      <a:pt x="76" y="150"/>
                    </a:lnTo>
                    <a:lnTo>
                      <a:pt x="77" y="145"/>
                    </a:lnTo>
                    <a:lnTo>
                      <a:pt x="77" y="142"/>
                    </a:lnTo>
                    <a:lnTo>
                      <a:pt x="77" y="141"/>
                    </a:lnTo>
                    <a:lnTo>
                      <a:pt x="77" y="140"/>
                    </a:lnTo>
                    <a:lnTo>
                      <a:pt x="77" y="132"/>
                    </a:lnTo>
                    <a:lnTo>
                      <a:pt x="77" y="131"/>
                    </a:lnTo>
                    <a:lnTo>
                      <a:pt x="80" y="124"/>
                    </a:lnTo>
                    <a:lnTo>
                      <a:pt x="82" y="116"/>
                    </a:lnTo>
                    <a:lnTo>
                      <a:pt x="82" y="116"/>
                    </a:lnTo>
                    <a:lnTo>
                      <a:pt x="85" y="118"/>
                    </a:lnTo>
                    <a:lnTo>
                      <a:pt x="88" y="116"/>
                    </a:lnTo>
                    <a:lnTo>
                      <a:pt x="91" y="115"/>
                    </a:lnTo>
                    <a:lnTo>
                      <a:pt x="93" y="112"/>
                    </a:lnTo>
                    <a:lnTo>
                      <a:pt x="96" y="99"/>
                    </a:lnTo>
                    <a:lnTo>
                      <a:pt x="151" y="58"/>
                    </a:lnTo>
                    <a:lnTo>
                      <a:pt x="150" y="52"/>
                    </a:lnTo>
                    <a:lnTo>
                      <a:pt x="149" y="51"/>
                    </a:lnTo>
                    <a:lnTo>
                      <a:pt x="146" y="47"/>
                    </a:lnTo>
                    <a:lnTo>
                      <a:pt x="143" y="45"/>
                    </a:lnTo>
                    <a:lnTo>
                      <a:pt x="127" y="25"/>
                    </a:lnTo>
                    <a:lnTo>
                      <a:pt x="124" y="23"/>
                    </a:lnTo>
                    <a:lnTo>
                      <a:pt x="120" y="17"/>
                    </a:lnTo>
                    <a:lnTo>
                      <a:pt x="109" y="15"/>
                    </a:lnTo>
                    <a:lnTo>
                      <a:pt x="99" y="20"/>
                    </a:lnTo>
                    <a:lnTo>
                      <a:pt x="99" y="22"/>
                    </a:lnTo>
                    <a:lnTo>
                      <a:pt x="101" y="25"/>
                    </a:lnTo>
                    <a:lnTo>
                      <a:pt x="99" y="28"/>
                    </a:lnTo>
                    <a:lnTo>
                      <a:pt x="99" y="29"/>
                    </a:lnTo>
                    <a:lnTo>
                      <a:pt x="96" y="31"/>
                    </a:lnTo>
                    <a:lnTo>
                      <a:pt x="95" y="28"/>
                    </a:lnTo>
                    <a:lnTo>
                      <a:pt x="98" y="26"/>
                    </a:lnTo>
                    <a:lnTo>
                      <a:pt x="96" y="20"/>
                    </a:lnTo>
                    <a:lnTo>
                      <a:pt x="93" y="19"/>
                    </a:lnTo>
                    <a:lnTo>
                      <a:pt x="92" y="20"/>
                    </a:lnTo>
                    <a:lnTo>
                      <a:pt x="92" y="22"/>
                    </a:lnTo>
                    <a:lnTo>
                      <a:pt x="89" y="23"/>
                    </a:lnTo>
                    <a:lnTo>
                      <a:pt x="88" y="29"/>
                    </a:lnTo>
                    <a:lnTo>
                      <a:pt x="88" y="23"/>
                    </a:lnTo>
                    <a:lnTo>
                      <a:pt x="89" y="20"/>
                    </a:lnTo>
                    <a:lnTo>
                      <a:pt x="72" y="6"/>
                    </a:lnTo>
                    <a:lnTo>
                      <a:pt x="72" y="3"/>
                    </a:lnTo>
                    <a:lnTo>
                      <a:pt x="63" y="0"/>
                    </a:lnTo>
                    <a:lnTo>
                      <a:pt x="60" y="0"/>
                    </a:lnTo>
                    <a:lnTo>
                      <a:pt x="59" y="3"/>
                    </a:lnTo>
                    <a:lnTo>
                      <a:pt x="56" y="3"/>
                    </a:lnTo>
                    <a:lnTo>
                      <a:pt x="51" y="4"/>
                    </a:lnTo>
                    <a:lnTo>
                      <a:pt x="41" y="4"/>
                    </a:lnTo>
                    <a:lnTo>
                      <a:pt x="41" y="6"/>
                    </a:lnTo>
                    <a:lnTo>
                      <a:pt x="41" y="12"/>
                    </a:lnTo>
                    <a:lnTo>
                      <a:pt x="40" y="9"/>
                    </a:lnTo>
                    <a:lnTo>
                      <a:pt x="40" y="7"/>
                    </a:lnTo>
                    <a:lnTo>
                      <a:pt x="38" y="6"/>
                    </a:lnTo>
                    <a:lnTo>
                      <a:pt x="38" y="4"/>
                    </a:lnTo>
                    <a:lnTo>
                      <a:pt x="37" y="7"/>
                    </a:lnTo>
                    <a:lnTo>
                      <a:pt x="35" y="7"/>
                    </a:lnTo>
                    <a:lnTo>
                      <a:pt x="35" y="6"/>
                    </a:lnTo>
                    <a:lnTo>
                      <a:pt x="31" y="6"/>
                    </a:lnTo>
                    <a:lnTo>
                      <a:pt x="31" y="7"/>
                    </a:lnTo>
                    <a:lnTo>
                      <a:pt x="27" y="6"/>
                    </a:lnTo>
                    <a:lnTo>
                      <a:pt x="25" y="6"/>
                    </a:lnTo>
                    <a:lnTo>
                      <a:pt x="25" y="7"/>
                    </a:lnTo>
                    <a:lnTo>
                      <a:pt x="18" y="10"/>
                    </a:lnTo>
                    <a:lnTo>
                      <a:pt x="19" y="10"/>
                    </a:lnTo>
                    <a:lnTo>
                      <a:pt x="21" y="16"/>
                    </a:lnTo>
                    <a:lnTo>
                      <a:pt x="24" y="19"/>
                    </a:lnTo>
                    <a:lnTo>
                      <a:pt x="22" y="20"/>
                    </a:lnTo>
                    <a:lnTo>
                      <a:pt x="22" y="23"/>
                    </a:lnTo>
                    <a:lnTo>
                      <a:pt x="24" y="3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74" name="Freeform 1128"/>
              <p:cNvSpPr>
                <a:spLocks/>
              </p:cNvSpPr>
              <p:nvPr/>
            </p:nvSpPr>
            <p:spPr bwMode="auto">
              <a:xfrm>
                <a:off x="4565262" y="1646943"/>
                <a:ext cx="237884" cy="223109"/>
              </a:xfrm>
              <a:custGeom>
                <a:avLst/>
                <a:gdLst/>
                <a:ahLst/>
                <a:cxnLst>
                  <a:cxn ang="0">
                    <a:pos x="36" y="171"/>
                  </a:cxn>
                  <a:cxn ang="0">
                    <a:pos x="93" y="141"/>
                  </a:cxn>
                  <a:cxn ang="0">
                    <a:pos x="97" y="132"/>
                  </a:cxn>
                  <a:cxn ang="0">
                    <a:pos x="77" y="125"/>
                  </a:cxn>
                  <a:cxn ang="0">
                    <a:pos x="42" y="125"/>
                  </a:cxn>
                  <a:cxn ang="0">
                    <a:pos x="13" y="112"/>
                  </a:cxn>
                  <a:cxn ang="0">
                    <a:pos x="48" y="93"/>
                  </a:cxn>
                  <a:cxn ang="0">
                    <a:pos x="35" y="89"/>
                  </a:cxn>
                  <a:cxn ang="0">
                    <a:pos x="22" y="89"/>
                  </a:cxn>
                  <a:cxn ang="0">
                    <a:pos x="11" y="91"/>
                  </a:cxn>
                  <a:cxn ang="0">
                    <a:pos x="11" y="84"/>
                  </a:cxn>
                  <a:cxn ang="0">
                    <a:pos x="8" y="57"/>
                  </a:cxn>
                  <a:cxn ang="0">
                    <a:pos x="8" y="44"/>
                  </a:cxn>
                  <a:cxn ang="0">
                    <a:pos x="65" y="0"/>
                  </a:cxn>
                  <a:cxn ang="0">
                    <a:pos x="67" y="29"/>
                  </a:cxn>
                  <a:cxn ang="0">
                    <a:pos x="69" y="32"/>
                  </a:cxn>
                  <a:cxn ang="0">
                    <a:pos x="78" y="22"/>
                  </a:cxn>
                  <a:cxn ang="0">
                    <a:pos x="103" y="26"/>
                  </a:cxn>
                  <a:cxn ang="0">
                    <a:pos x="106" y="49"/>
                  </a:cxn>
                  <a:cxn ang="0">
                    <a:pos x="114" y="42"/>
                  </a:cxn>
                  <a:cxn ang="0">
                    <a:pos x="126" y="38"/>
                  </a:cxn>
                  <a:cxn ang="0">
                    <a:pos x="126" y="32"/>
                  </a:cxn>
                  <a:cxn ang="0">
                    <a:pos x="122" y="17"/>
                  </a:cxn>
                  <a:cxn ang="0">
                    <a:pos x="139" y="29"/>
                  </a:cxn>
                  <a:cxn ang="0">
                    <a:pos x="146" y="36"/>
                  </a:cxn>
                  <a:cxn ang="0">
                    <a:pos x="152" y="77"/>
                  </a:cxn>
                  <a:cxn ang="0">
                    <a:pos x="164" y="71"/>
                  </a:cxn>
                  <a:cxn ang="0">
                    <a:pos x="159" y="48"/>
                  </a:cxn>
                  <a:cxn ang="0">
                    <a:pos x="155" y="13"/>
                  </a:cxn>
                  <a:cxn ang="0">
                    <a:pos x="157" y="1"/>
                  </a:cxn>
                  <a:cxn ang="0">
                    <a:pos x="174" y="10"/>
                  </a:cxn>
                  <a:cxn ang="0">
                    <a:pos x="178" y="7"/>
                  </a:cxn>
                  <a:cxn ang="0">
                    <a:pos x="193" y="25"/>
                  </a:cxn>
                  <a:cxn ang="0">
                    <a:pos x="202" y="71"/>
                  </a:cxn>
                  <a:cxn ang="0">
                    <a:pos x="207" y="93"/>
                  </a:cxn>
                  <a:cxn ang="0">
                    <a:pos x="222" y="125"/>
                  </a:cxn>
                  <a:cxn ang="0">
                    <a:pos x="232" y="125"/>
                  </a:cxn>
                  <a:cxn ang="0">
                    <a:pos x="251" y="145"/>
                  </a:cxn>
                  <a:cxn ang="0">
                    <a:pos x="258" y="155"/>
                  </a:cxn>
                  <a:cxn ang="0">
                    <a:pos x="250" y="164"/>
                  </a:cxn>
                  <a:cxn ang="0">
                    <a:pos x="242" y="155"/>
                  </a:cxn>
                  <a:cxn ang="0">
                    <a:pos x="235" y="164"/>
                  </a:cxn>
                  <a:cxn ang="0">
                    <a:pos x="226" y="171"/>
                  </a:cxn>
                  <a:cxn ang="0">
                    <a:pos x="242" y="173"/>
                  </a:cxn>
                  <a:cxn ang="0">
                    <a:pos x="239" y="182"/>
                  </a:cxn>
                  <a:cxn ang="0">
                    <a:pos x="250" y="189"/>
                  </a:cxn>
                  <a:cxn ang="0">
                    <a:pos x="238" y="195"/>
                  </a:cxn>
                  <a:cxn ang="0">
                    <a:pos x="228" y="199"/>
                  </a:cxn>
                  <a:cxn ang="0">
                    <a:pos x="207" y="196"/>
                  </a:cxn>
                  <a:cxn ang="0">
                    <a:pos x="193" y="186"/>
                  </a:cxn>
                  <a:cxn ang="0">
                    <a:pos x="177" y="171"/>
                  </a:cxn>
                  <a:cxn ang="0">
                    <a:pos x="149" y="195"/>
                  </a:cxn>
                  <a:cxn ang="0">
                    <a:pos x="122" y="206"/>
                  </a:cxn>
                  <a:cxn ang="0">
                    <a:pos x="112" y="211"/>
                  </a:cxn>
                  <a:cxn ang="0">
                    <a:pos x="77" y="196"/>
                  </a:cxn>
                  <a:cxn ang="0">
                    <a:pos x="72" y="183"/>
                  </a:cxn>
                </a:cxnLst>
                <a:rect l="0" t="0" r="r" b="b"/>
                <a:pathLst>
                  <a:path w="260" h="214">
                    <a:moveTo>
                      <a:pt x="59" y="182"/>
                    </a:moveTo>
                    <a:lnTo>
                      <a:pt x="59" y="183"/>
                    </a:lnTo>
                    <a:lnTo>
                      <a:pt x="53" y="183"/>
                    </a:lnTo>
                    <a:lnTo>
                      <a:pt x="51" y="182"/>
                    </a:lnTo>
                    <a:lnTo>
                      <a:pt x="45" y="180"/>
                    </a:lnTo>
                    <a:lnTo>
                      <a:pt x="36" y="174"/>
                    </a:lnTo>
                    <a:lnTo>
                      <a:pt x="36" y="171"/>
                    </a:lnTo>
                    <a:lnTo>
                      <a:pt x="33" y="170"/>
                    </a:lnTo>
                    <a:lnTo>
                      <a:pt x="32" y="169"/>
                    </a:lnTo>
                    <a:lnTo>
                      <a:pt x="30" y="164"/>
                    </a:lnTo>
                    <a:lnTo>
                      <a:pt x="27" y="161"/>
                    </a:lnTo>
                    <a:lnTo>
                      <a:pt x="24" y="151"/>
                    </a:lnTo>
                    <a:lnTo>
                      <a:pt x="69" y="137"/>
                    </a:lnTo>
                    <a:lnTo>
                      <a:pt x="93" y="141"/>
                    </a:lnTo>
                    <a:lnTo>
                      <a:pt x="96" y="138"/>
                    </a:lnTo>
                    <a:lnTo>
                      <a:pt x="96" y="137"/>
                    </a:lnTo>
                    <a:lnTo>
                      <a:pt x="96" y="135"/>
                    </a:lnTo>
                    <a:lnTo>
                      <a:pt x="97" y="137"/>
                    </a:lnTo>
                    <a:lnTo>
                      <a:pt x="100" y="137"/>
                    </a:lnTo>
                    <a:lnTo>
                      <a:pt x="99" y="135"/>
                    </a:lnTo>
                    <a:lnTo>
                      <a:pt x="97" y="132"/>
                    </a:lnTo>
                    <a:lnTo>
                      <a:pt x="96" y="131"/>
                    </a:lnTo>
                    <a:lnTo>
                      <a:pt x="91" y="131"/>
                    </a:lnTo>
                    <a:lnTo>
                      <a:pt x="90" y="128"/>
                    </a:lnTo>
                    <a:lnTo>
                      <a:pt x="87" y="129"/>
                    </a:lnTo>
                    <a:lnTo>
                      <a:pt x="83" y="126"/>
                    </a:lnTo>
                    <a:lnTo>
                      <a:pt x="81" y="125"/>
                    </a:lnTo>
                    <a:lnTo>
                      <a:pt x="77" y="125"/>
                    </a:lnTo>
                    <a:lnTo>
                      <a:pt x="75" y="125"/>
                    </a:lnTo>
                    <a:lnTo>
                      <a:pt x="74" y="123"/>
                    </a:lnTo>
                    <a:lnTo>
                      <a:pt x="51" y="129"/>
                    </a:lnTo>
                    <a:lnTo>
                      <a:pt x="49" y="128"/>
                    </a:lnTo>
                    <a:lnTo>
                      <a:pt x="45" y="128"/>
                    </a:lnTo>
                    <a:lnTo>
                      <a:pt x="42" y="126"/>
                    </a:lnTo>
                    <a:lnTo>
                      <a:pt x="42" y="125"/>
                    </a:lnTo>
                    <a:lnTo>
                      <a:pt x="32" y="126"/>
                    </a:lnTo>
                    <a:lnTo>
                      <a:pt x="26" y="123"/>
                    </a:lnTo>
                    <a:lnTo>
                      <a:pt x="22" y="125"/>
                    </a:lnTo>
                    <a:lnTo>
                      <a:pt x="22" y="123"/>
                    </a:lnTo>
                    <a:lnTo>
                      <a:pt x="22" y="122"/>
                    </a:lnTo>
                    <a:lnTo>
                      <a:pt x="19" y="121"/>
                    </a:lnTo>
                    <a:lnTo>
                      <a:pt x="13" y="112"/>
                    </a:lnTo>
                    <a:lnTo>
                      <a:pt x="11" y="109"/>
                    </a:lnTo>
                    <a:lnTo>
                      <a:pt x="16" y="103"/>
                    </a:lnTo>
                    <a:lnTo>
                      <a:pt x="42" y="93"/>
                    </a:lnTo>
                    <a:lnTo>
                      <a:pt x="42" y="94"/>
                    </a:lnTo>
                    <a:lnTo>
                      <a:pt x="43" y="94"/>
                    </a:lnTo>
                    <a:lnTo>
                      <a:pt x="46" y="94"/>
                    </a:lnTo>
                    <a:lnTo>
                      <a:pt x="48" y="93"/>
                    </a:lnTo>
                    <a:lnTo>
                      <a:pt x="48" y="91"/>
                    </a:lnTo>
                    <a:lnTo>
                      <a:pt x="43" y="91"/>
                    </a:lnTo>
                    <a:lnTo>
                      <a:pt x="46" y="89"/>
                    </a:lnTo>
                    <a:lnTo>
                      <a:pt x="49" y="89"/>
                    </a:lnTo>
                    <a:lnTo>
                      <a:pt x="51" y="87"/>
                    </a:lnTo>
                    <a:lnTo>
                      <a:pt x="51" y="86"/>
                    </a:lnTo>
                    <a:lnTo>
                      <a:pt x="35" y="89"/>
                    </a:lnTo>
                    <a:lnTo>
                      <a:pt x="32" y="90"/>
                    </a:lnTo>
                    <a:lnTo>
                      <a:pt x="29" y="90"/>
                    </a:lnTo>
                    <a:lnTo>
                      <a:pt x="27" y="91"/>
                    </a:lnTo>
                    <a:lnTo>
                      <a:pt x="26" y="91"/>
                    </a:lnTo>
                    <a:lnTo>
                      <a:pt x="24" y="90"/>
                    </a:lnTo>
                    <a:lnTo>
                      <a:pt x="24" y="89"/>
                    </a:lnTo>
                    <a:lnTo>
                      <a:pt x="22" y="89"/>
                    </a:lnTo>
                    <a:lnTo>
                      <a:pt x="20" y="90"/>
                    </a:lnTo>
                    <a:lnTo>
                      <a:pt x="22" y="90"/>
                    </a:lnTo>
                    <a:lnTo>
                      <a:pt x="22" y="91"/>
                    </a:lnTo>
                    <a:lnTo>
                      <a:pt x="19" y="91"/>
                    </a:lnTo>
                    <a:lnTo>
                      <a:pt x="17" y="93"/>
                    </a:lnTo>
                    <a:lnTo>
                      <a:pt x="14" y="93"/>
                    </a:lnTo>
                    <a:lnTo>
                      <a:pt x="11" y="91"/>
                    </a:lnTo>
                    <a:lnTo>
                      <a:pt x="11" y="90"/>
                    </a:lnTo>
                    <a:lnTo>
                      <a:pt x="13" y="87"/>
                    </a:lnTo>
                    <a:lnTo>
                      <a:pt x="14" y="87"/>
                    </a:lnTo>
                    <a:lnTo>
                      <a:pt x="19" y="86"/>
                    </a:lnTo>
                    <a:lnTo>
                      <a:pt x="17" y="80"/>
                    </a:lnTo>
                    <a:lnTo>
                      <a:pt x="14" y="81"/>
                    </a:lnTo>
                    <a:lnTo>
                      <a:pt x="11" y="84"/>
                    </a:lnTo>
                    <a:lnTo>
                      <a:pt x="10" y="83"/>
                    </a:lnTo>
                    <a:lnTo>
                      <a:pt x="8" y="81"/>
                    </a:lnTo>
                    <a:lnTo>
                      <a:pt x="7" y="80"/>
                    </a:lnTo>
                    <a:lnTo>
                      <a:pt x="3" y="81"/>
                    </a:lnTo>
                    <a:lnTo>
                      <a:pt x="0" y="71"/>
                    </a:lnTo>
                    <a:lnTo>
                      <a:pt x="1" y="67"/>
                    </a:lnTo>
                    <a:lnTo>
                      <a:pt x="8" y="57"/>
                    </a:lnTo>
                    <a:lnTo>
                      <a:pt x="14" y="54"/>
                    </a:lnTo>
                    <a:lnTo>
                      <a:pt x="14" y="52"/>
                    </a:lnTo>
                    <a:lnTo>
                      <a:pt x="14" y="51"/>
                    </a:lnTo>
                    <a:lnTo>
                      <a:pt x="13" y="49"/>
                    </a:lnTo>
                    <a:lnTo>
                      <a:pt x="10" y="49"/>
                    </a:lnTo>
                    <a:lnTo>
                      <a:pt x="8" y="48"/>
                    </a:lnTo>
                    <a:lnTo>
                      <a:pt x="8" y="44"/>
                    </a:lnTo>
                    <a:lnTo>
                      <a:pt x="10" y="39"/>
                    </a:lnTo>
                    <a:lnTo>
                      <a:pt x="33" y="14"/>
                    </a:lnTo>
                    <a:lnTo>
                      <a:pt x="38" y="14"/>
                    </a:lnTo>
                    <a:lnTo>
                      <a:pt x="39" y="12"/>
                    </a:lnTo>
                    <a:lnTo>
                      <a:pt x="42" y="12"/>
                    </a:lnTo>
                    <a:lnTo>
                      <a:pt x="62" y="0"/>
                    </a:lnTo>
                    <a:lnTo>
                      <a:pt x="65" y="0"/>
                    </a:lnTo>
                    <a:lnTo>
                      <a:pt x="67" y="3"/>
                    </a:lnTo>
                    <a:lnTo>
                      <a:pt x="68" y="3"/>
                    </a:lnTo>
                    <a:lnTo>
                      <a:pt x="68" y="6"/>
                    </a:lnTo>
                    <a:lnTo>
                      <a:pt x="69" y="7"/>
                    </a:lnTo>
                    <a:lnTo>
                      <a:pt x="71" y="25"/>
                    </a:lnTo>
                    <a:lnTo>
                      <a:pt x="68" y="26"/>
                    </a:lnTo>
                    <a:lnTo>
                      <a:pt x="67" y="29"/>
                    </a:lnTo>
                    <a:lnTo>
                      <a:pt x="67" y="30"/>
                    </a:lnTo>
                    <a:lnTo>
                      <a:pt x="67" y="32"/>
                    </a:lnTo>
                    <a:lnTo>
                      <a:pt x="65" y="33"/>
                    </a:lnTo>
                    <a:lnTo>
                      <a:pt x="62" y="35"/>
                    </a:lnTo>
                    <a:lnTo>
                      <a:pt x="62" y="36"/>
                    </a:lnTo>
                    <a:lnTo>
                      <a:pt x="64" y="38"/>
                    </a:lnTo>
                    <a:lnTo>
                      <a:pt x="69" y="32"/>
                    </a:lnTo>
                    <a:lnTo>
                      <a:pt x="72" y="32"/>
                    </a:lnTo>
                    <a:lnTo>
                      <a:pt x="72" y="35"/>
                    </a:lnTo>
                    <a:lnTo>
                      <a:pt x="77" y="33"/>
                    </a:lnTo>
                    <a:lnTo>
                      <a:pt x="78" y="29"/>
                    </a:lnTo>
                    <a:lnTo>
                      <a:pt x="77" y="29"/>
                    </a:lnTo>
                    <a:lnTo>
                      <a:pt x="77" y="25"/>
                    </a:lnTo>
                    <a:lnTo>
                      <a:pt x="78" y="22"/>
                    </a:lnTo>
                    <a:lnTo>
                      <a:pt x="81" y="20"/>
                    </a:lnTo>
                    <a:lnTo>
                      <a:pt x="81" y="17"/>
                    </a:lnTo>
                    <a:lnTo>
                      <a:pt x="83" y="16"/>
                    </a:lnTo>
                    <a:lnTo>
                      <a:pt x="85" y="16"/>
                    </a:lnTo>
                    <a:lnTo>
                      <a:pt x="93" y="20"/>
                    </a:lnTo>
                    <a:lnTo>
                      <a:pt x="101" y="23"/>
                    </a:lnTo>
                    <a:lnTo>
                      <a:pt x="103" y="26"/>
                    </a:lnTo>
                    <a:lnTo>
                      <a:pt x="106" y="28"/>
                    </a:lnTo>
                    <a:lnTo>
                      <a:pt x="109" y="29"/>
                    </a:lnTo>
                    <a:lnTo>
                      <a:pt x="110" y="33"/>
                    </a:lnTo>
                    <a:lnTo>
                      <a:pt x="112" y="38"/>
                    </a:lnTo>
                    <a:lnTo>
                      <a:pt x="101" y="49"/>
                    </a:lnTo>
                    <a:lnTo>
                      <a:pt x="101" y="49"/>
                    </a:lnTo>
                    <a:lnTo>
                      <a:pt x="106" y="49"/>
                    </a:lnTo>
                    <a:lnTo>
                      <a:pt x="109" y="45"/>
                    </a:lnTo>
                    <a:lnTo>
                      <a:pt x="112" y="44"/>
                    </a:lnTo>
                    <a:lnTo>
                      <a:pt x="110" y="45"/>
                    </a:lnTo>
                    <a:lnTo>
                      <a:pt x="109" y="48"/>
                    </a:lnTo>
                    <a:lnTo>
                      <a:pt x="113" y="49"/>
                    </a:lnTo>
                    <a:lnTo>
                      <a:pt x="113" y="48"/>
                    </a:lnTo>
                    <a:lnTo>
                      <a:pt x="114" y="42"/>
                    </a:lnTo>
                    <a:lnTo>
                      <a:pt x="116" y="41"/>
                    </a:lnTo>
                    <a:lnTo>
                      <a:pt x="117" y="38"/>
                    </a:lnTo>
                    <a:lnTo>
                      <a:pt x="122" y="39"/>
                    </a:lnTo>
                    <a:lnTo>
                      <a:pt x="123" y="38"/>
                    </a:lnTo>
                    <a:lnTo>
                      <a:pt x="126" y="42"/>
                    </a:lnTo>
                    <a:lnTo>
                      <a:pt x="128" y="41"/>
                    </a:lnTo>
                    <a:lnTo>
                      <a:pt x="126" y="38"/>
                    </a:lnTo>
                    <a:lnTo>
                      <a:pt x="126" y="38"/>
                    </a:lnTo>
                    <a:lnTo>
                      <a:pt x="126" y="38"/>
                    </a:lnTo>
                    <a:lnTo>
                      <a:pt x="129" y="39"/>
                    </a:lnTo>
                    <a:lnTo>
                      <a:pt x="130" y="38"/>
                    </a:lnTo>
                    <a:lnTo>
                      <a:pt x="129" y="36"/>
                    </a:lnTo>
                    <a:lnTo>
                      <a:pt x="126" y="33"/>
                    </a:lnTo>
                    <a:lnTo>
                      <a:pt x="126" y="32"/>
                    </a:lnTo>
                    <a:lnTo>
                      <a:pt x="126" y="32"/>
                    </a:lnTo>
                    <a:lnTo>
                      <a:pt x="129" y="33"/>
                    </a:lnTo>
                    <a:lnTo>
                      <a:pt x="130" y="32"/>
                    </a:lnTo>
                    <a:lnTo>
                      <a:pt x="128" y="28"/>
                    </a:lnTo>
                    <a:lnTo>
                      <a:pt x="125" y="26"/>
                    </a:lnTo>
                    <a:lnTo>
                      <a:pt x="122" y="20"/>
                    </a:lnTo>
                    <a:lnTo>
                      <a:pt x="122" y="17"/>
                    </a:lnTo>
                    <a:lnTo>
                      <a:pt x="125" y="17"/>
                    </a:lnTo>
                    <a:lnTo>
                      <a:pt x="132" y="20"/>
                    </a:lnTo>
                    <a:lnTo>
                      <a:pt x="132" y="23"/>
                    </a:lnTo>
                    <a:lnTo>
                      <a:pt x="135" y="22"/>
                    </a:lnTo>
                    <a:lnTo>
                      <a:pt x="135" y="23"/>
                    </a:lnTo>
                    <a:lnTo>
                      <a:pt x="136" y="28"/>
                    </a:lnTo>
                    <a:lnTo>
                      <a:pt x="139" y="29"/>
                    </a:lnTo>
                    <a:lnTo>
                      <a:pt x="141" y="29"/>
                    </a:lnTo>
                    <a:lnTo>
                      <a:pt x="142" y="30"/>
                    </a:lnTo>
                    <a:lnTo>
                      <a:pt x="142" y="32"/>
                    </a:lnTo>
                    <a:lnTo>
                      <a:pt x="144" y="33"/>
                    </a:lnTo>
                    <a:lnTo>
                      <a:pt x="144" y="35"/>
                    </a:lnTo>
                    <a:lnTo>
                      <a:pt x="144" y="35"/>
                    </a:lnTo>
                    <a:lnTo>
                      <a:pt x="146" y="36"/>
                    </a:lnTo>
                    <a:lnTo>
                      <a:pt x="148" y="41"/>
                    </a:lnTo>
                    <a:lnTo>
                      <a:pt x="148" y="51"/>
                    </a:lnTo>
                    <a:lnTo>
                      <a:pt x="149" y="55"/>
                    </a:lnTo>
                    <a:lnTo>
                      <a:pt x="151" y="62"/>
                    </a:lnTo>
                    <a:lnTo>
                      <a:pt x="154" y="67"/>
                    </a:lnTo>
                    <a:lnTo>
                      <a:pt x="152" y="71"/>
                    </a:lnTo>
                    <a:lnTo>
                      <a:pt x="152" y="77"/>
                    </a:lnTo>
                    <a:lnTo>
                      <a:pt x="154" y="77"/>
                    </a:lnTo>
                    <a:lnTo>
                      <a:pt x="157" y="80"/>
                    </a:lnTo>
                    <a:lnTo>
                      <a:pt x="158" y="80"/>
                    </a:lnTo>
                    <a:lnTo>
                      <a:pt x="158" y="78"/>
                    </a:lnTo>
                    <a:lnTo>
                      <a:pt x="161" y="77"/>
                    </a:lnTo>
                    <a:lnTo>
                      <a:pt x="164" y="74"/>
                    </a:lnTo>
                    <a:lnTo>
                      <a:pt x="164" y="71"/>
                    </a:lnTo>
                    <a:lnTo>
                      <a:pt x="167" y="70"/>
                    </a:lnTo>
                    <a:lnTo>
                      <a:pt x="167" y="68"/>
                    </a:lnTo>
                    <a:lnTo>
                      <a:pt x="162" y="64"/>
                    </a:lnTo>
                    <a:lnTo>
                      <a:pt x="162" y="61"/>
                    </a:lnTo>
                    <a:lnTo>
                      <a:pt x="162" y="58"/>
                    </a:lnTo>
                    <a:lnTo>
                      <a:pt x="161" y="57"/>
                    </a:lnTo>
                    <a:lnTo>
                      <a:pt x="159" y="48"/>
                    </a:lnTo>
                    <a:lnTo>
                      <a:pt x="161" y="48"/>
                    </a:lnTo>
                    <a:lnTo>
                      <a:pt x="161" y="44"/>
                    </a:lnTo>
                    <a:lnTo>
                      <a:pt x="159" y="41"/>
                    </a:lnTo>
                    <a:lnTo>
                      <a:pt x="155" y="16"/>
                    </a:lnTo>
                    <a:lnTo>
                      <a:pt x="155" y="16"/>
                    </a:lnTo>
                    <a:lnTo>
                      <a:pt x="157" y="13"/>
                    </a:lnTo>
                    <a:lnTo>
                      <a:pt x="155" y="13"/>
                    </a:lnTo>
                    <a:lnTo>
                      <a:pt x="154" y="10"/>
                    </a:lnTo>
                    <a:lnTo>
                      <a:pt x="155" y="9"/>
                    </a:lnTo>
                    <a:lnTo>
                      <a:pt x="158" y="9"/>
                    </a:lnTo>
                    <a:lnTo>
                      <a:pt x="158" y="7"/>
                    </a:lnTo>
                    <a:lnTo>
                      <a:pt x="155" y="4"/>
                    </a:lnTo>
                    <a:lnTo>
                      <a:pt x="155" y="1"/>
                    </a:lnTo>
                    <a:lnTo>
                      <a:pt x="157" y="1"/>
                    </a:lnTo>
                    <a:lnTo>
                      <a:pt x="157" y="0"/>
                    </a:lnTo>
                    <a:lnTo>
                      <a:pt x="158" y="0"/>
                    </a:lnTo>
                    <a:lnTo>
                      <a:pt x="164" y="3"/>
                    </a:lnTo>
                    <a:lnTo>
                      <a:pt x="164" y="4"/>
                    </a:lnTo>
                    <a:lnTo>
                      <a:pt x="170" y="9"/>
                    </a:lnTo>
                    <a:lnTo>
                      <a:pt x="173" y="10"/>
                    </a:lnTo>
                    <a:lnTo>
                      <a:pt x="174" y="10"/>
                    </a:lnTo>
                    <a:lnTo>
                      <a:pt x="174" y="7"/>
                    </a:lnTo>
                    <a:lnTo>
                      <a:pt x="173" y="7"/>
                    </a:lnTo>
                    <a:lnTo>
                      <a:pt x="173" y="4"/>
                    </a:lnTo>
                    <a:lnTo>
                      <a:pt x="173" y="3"/>
                    </a:lnTo>
                    <a:lnTo>
                      <a:pt x="175" y="4"/>
                    </a:lnTo>
                    <a:lnTo>
                      <a:pt x="177" y="6"/>
                    </a:lnTo>
                    <a:lnTo>
                      <a:pt x="178" y="7"/>
                    </a:lnTo>
                    <a:lnTo>
                      <a:pt x="180" y="12"/>
                    </a:lnTo>
                    <a:lnTo>
                      <a:pt x="181" y="13"/>
                    </a:lnTo>
                    <a:lnTo>
                      <a:pt x="187" y="17"/>
                    </a:lnTo>
                    <a:lnTo>
                      <a:pt x="187" y="19"/>
                    </a:lnTo>
                    <a:lnTo>
                      <a:pt x="190" y="22"/>
                    </a:lnTo>
                    <a:lnTo>
                      <a:pt x="193" y="23"/>
                    </a:lnTo>
                    <a:lnTo>
                      <a:pt x="193" y="25"/>
                    </a:lnTo>
                    <a:lnTo>
                      <a:pt x="194" y="26"/>
                    </a:lnTo>
                    <a:lnTo>
                      <a:pt x="196" y="28"/>
                    </a:lnTo>
                    <a:lnTo>
                      <a:pt x="193" y="32"/>
                    </a:lnTo>
                    <a:lnTo>
                      <a:pt x="196" y="32"/>
                    </a:lnTo>
                    <a:lnTo>
                      <a:pt x="200" y="64"/>
                    </a:lnTo>
                    <a:lnTo>
                      <a:pt x="200" y="65"/>
                    </a:lnTo>
                    <a:lnTo>
                      <a:pt x="202" y="71"/>
                    </a:lnTo>
                    <a:lnTo>
                      <a:pt x="207" y="80"/>
                    </a:lnTo>
                    <a:lnTo>
                      <a:pt x="209" y="83"/>
                    </a:lnTo>
                    <a:lnTo>
                      <a:pt x="209" y="86"/>
                    </a:lnTo>
                    <a:lnTo>
                      <a:pt x="209" y="87"/>
                    </a:lnTo>
                    <a:lnTo>
                      <a:pt x="209" y="91"/>
                    </a:lnTo>
                    <a:lnTo>
                      <a:pt x="209" y="91"/>
                    </a:lnTo>
                    <a:lnTo>
                      <a:pt x="207" y="93"/>
                    </a:lnTo>
                    <a:lnTo>
                      <a:pt x="207" y="100"/>
                    </a:lnTo>
                    <a:lnTo>
                      <a:pt x="206" y="103"/>
                    </a:lnTo>
                    <a:lnTo>
                      <a:pt x="207" y="106"/>
                    </a:lnTo>
                    <a:lnTo>
                      <a:pt x="212" y="109"/>
                    </a:lnTo>
                    <a:lnTo>
                      <a:pt x="216" y="118"/>
                    </a:lnTo>
                    <a:lnTo>
                      <a:pt x="220" y="119"/>
                    </a:lnTo>
                    <a:lnTo>
                      <a:pt x="222" y="125"/>
                    </a:lnTo>
                    <a:lnTo>
                      <a:pt x="223" y="125"/>
                    </a:lnTo>
                    <a:lnTo>
                      <a:pt x="226" y="125"/>
                    </a:lnTo>
                    <a:lnTo>
                      <a:pt x="228" y="128"/>
                    </a:lnTo>
                    <a:lnTo>
                      <a:pt x="229" y="126"/>
                    </a:lnTo>
                    <a:lnTo>
                      <a:pt x="229" y="123"/>
                    </a:lnTo>
                    <a:lnTo>
                      <a:pt x="229" y="123"/>
                    </a:lnTo>
                    <a:lnTo>
                      <a:pt x="232" y="125"/>
                    </a:lnTo>
                    <a:lnTo>
                      <a:pt x="234" y="126"/>
                    </a:lnTo>
                    <a:lnTo>
                      <a:pt x="234" y="128"/>
                    </a:lnTo>
                    <a:lnTo>
                      <a:pt x="247" y="139"/>
                    </a:lnTo>
                    <a:lnTo>
                      <a:pt x="250" y="139"/>
                    </a:lnTo>
                    <a:lnTo>
                      <a:pt x="251" y="141"/>
                    </a:lnTo>
                    <a:lnTo>
                      <a:pt x="250" y="144"/>
                    </a:lnTo>
                    <a:lnTo>
                      <a:pt x="251" y="145"/>
                    </a:lnTo>
                    <a:lnTo>
                      <a:pt x="252" y="145"/>
                    </a:lnTo>
                    <a:lnTo>
                      <a:pt x="254" y="145"/>
                    </a:lnTo>
                    <a:lnTo>
                      <a:pt x="255" y="145"/>
                    </a:lnTo>
                    <a:lnTo>
                      <a:pt x="257" y="145"/>
                    </a:lnTo>
                    <a:lnTo>
                      <a:pt x="258" y="145"/>
                    </a:lnTo>
                    <a:lnTo>
                      <a:pt x="260" y="151"/>
                    </a:lnTo>
                    <a:lnTo>
                      <a:pt x="258" y="155"/>
                    </a:lnTo>
                    <a:lnTo>
                      <a:pt x="258" y="161"/>
                    </a:lnTo>
                    <a:lnTo>
                      <a:pt x="258" y="166"/>
                    </a:lnTo>
                    <a:lnTo>
                      <a:pt x="255" y="166"/>
                    </a:lnTo>
                    <a:lnTo>
                      <a:pt x="254" y="164"/>
                    </a:lnTo>
                    <a:lnTo>
                      <a:pt x="251" y="160"/>
                    </a:lnTo>
                    <a:lnTo>
                      <a:pt x="251" y="154"/>
                    </a:lnTo>
                    <a:lnTo>
                      <a:pt x="250" y="164"/>
                    </a:lnTo>
                    <a:lnTo>
                      <a:pt x="248" y="166"/>
                    </a:lnTo>
                    <a:lnTo>
                      <a:pt x="248" y="163"/>
                    </a:lnTo>
                    <a:lnTo>
                      <a:pt x="247" y="163"/>
                    </a:lnTo>
                    <a:lnTo>
                      <a:pt x="245" y="164"/>
                    </a:lnTo>
                    <a:lnTo>
                      <a:pt x="244" y="161"/>
                    </a:lnTo>
                    <a:lnTo>
                      <a:pt x="242" y="158"/>
                    </a:lnTo>
                    <a:lnTo>
                      <a:pt x="242" y="155"/>
                    </a:lnTo>
                    <a:lnTo>
                      <a:pt x="242" y="157"/>
                    </a:lnTo>
                    <a:lnTo>
                      <a:pt x="241" y="157"/>
                    </a:lnTo>
                    <a:lnTo>
                      <a:pt x="241" y="157"/>
                    </a:lnTo>
                    <a:lnTo>
                      <a:pt x="238" y="160"/>
                    </a:lnTo>
                    <a:lnTo>
                      <a:pt x="238" y="160"/>
                    </a:lnTo>
                    <a:lnTo>
                      <a:pt x="235" y="163"/>
                    </a:lnTo>
                    <a:lnTo>
                      <a:pt x="235" y="164"/>
                    </a:lnTo>
                    <a:lnTo>
                      <a:pt x="235" y="164"/>
                    </a:lnTo>
                    <a:lnTo>
                      <a:pt x="236" y="170"/>
                    </a:lnTo>
                    <a:lnTo>
                      <a:pt x="234" y="170"/>
                    </a:lnTo>
                    <a:lnTo>
                      <a:pt x="232" y="170"/>
                    </a:lnTo>
                    <a:lnTo>
                      <a:pt x="229" y="169"/>
                    </a:lnTo>
                    <a:lnTo>
                      <a:pt x="228" y="170"/>
                    </a:lnTo>
                    <a:lnTo>
                      <a:pt x="226" y="171"/>
                    </a:lnTo>
                    <a:lnTo>
                      <a:pt x="229" y="176"/>
                    </a:lnTo>
                    <a:lnTo>
                      <a:pt x="228" y="182"/>
                    </a:lnTo>
                    <a:lnTo>
                      <a:pt x="231" y="177"/>
                    </a:lnTo>
                    <a:lnTo>
                      <a:pt x="235" y="174"/>
                    </a:lnTo>
                    <a:lnTo>
                      <a:pt x="235" y="173"/>
                    </a:lnTo>
                    <a:lnTo>
                      <a:pt x="241" y="171"/>
                    </a:lnTo>
                    <a:lnTo>
                      <a:pt x="242" y="173"/>
                    </a:lnTo>
                    <a:lnTo>
                      <a:pt x="244" y="174"/>
                    </a:lnTo>
                    <a:lnTo>
                      <a:pt x="244" y="176"/>
                    </a:lnTo>
                    <a:lnTo>
                      <a:pt x="242" y="177"/>
                    </a:lnTo>
                    <a:lnTo>
                      <a:pt x="241" y="179"/>
                    </a:lnTo>
                    <a:lnTo>
                      <a:pt x="242" y="180"/>
                    </a:lnTo>
                    <a:lnTo>
                      <a:pt x="241" y="180"/>
                    </a:lnTo>
                    <a:lnTo>
                      <a:pt x="239" y="182"/>
                    </a:lnTo>
                    <a:lnTo>
                      <a:pt x="241" y="185"/>
                    </a:lnTo>
                    <a:lnTo>
                      <a:pt x="242" y="185"/>
                    </a:lnTo>
                    <a:lnTo>
                      <a:pt x="244" y="182"/>
                    </a:lnTo>
                    <a:lnTo>
                      <a:pt x="247" y="183"/>
                    </a:lnTo>
                    <a:lnTo>
                      <a:pt x="250" y="185"/>
                    </a:lnTo>
                    <a:lnTo>
                      <a:pt x="250" y="186"/>
                    </a:lnTo>
                    <a:lnTo>
                      <a:pt x="250" y="189"/>
                    </a:lnTo>
                    <a:lnTo>
                      <a:pt x="248" y="189"/>
                    </a:lnTo>
                    <a:lnTo>
                      <a:pt x="247" y="189"/>
                    </a:lnTo>
                    <a:lnTo>
                      <a:pt x="247" y="190"/>
                    </a:lnTo>
                    <a:lnTo>
                      <a:pt x="245" y="192"/>
                    </a:lnTo>
                    <a:lnTo>
                      <a:pt x="245" y="193"/>
                    </a:lnTo>
                    <a:lnTo>
                      <a:pt x="244" y="193"/>
                    </a:lnTo>
                    <a:lnTo>
                      <a:pt x="238" y="195"/>
                    </a:lnTo>
                    <a:lnTo>
                      <a:pt x="238" y="198"/>
                    </a:lnTo>
                    <a:lnTo>
                      <a:pt x="234" y="198"/>
                    </a:lnTo>
                    <a:lnTo>
                      <a:pt x="232" y="196"/>
                    </a:lnTo>
                    <a:lnTo>
                      <a:pt x="232" y="199"/>
                    </a:lnTo>
                    <a:lnTo>
                      <a:pt x="231" y="200"/>
                    </a:lnTo>
                    <a:lnTo>
                      <a:pt x="229" y="200"/>
                    </a:lnTo>
                    <a:lnTo>
                      <a:pt x="228" y="199"/>
                    </a:lnTo>
                    <a:lnTo>
                      <a:pt x="223" y="200"/>
                    </a:lnTo>
                    <a:lnTo>
                      <a:pt x="218" y="199"/>
                    </a:lnTo>
                    <a:lnTo>
                      <a:pt x="216" y="198"/>
                    </a:lnTo>
                    <a:lnTo>
                      <a:pt x="212" y="196"/>
                    </a:lnTo>
                    <a:lnTo>
                      <a:pt x="210" y="195"/>
                    </a:lnTo>
                    <a:lnTo>
                      <a:pt x="207" y="195"/>
                    </a:lnTo>
                    <a:lnTo>
                      <a:pt x="207" y="196"/>
                    </a:lnTo>
                    <a:lnTo>
                      <a:pt x="197" y="195"/>
                    </a:lnTo>
                    <a:lnTo>
                      <a:pt x="197" y="193"/>
                    </a:lnTo>
                    <a:lnTo>
                      <a:pt x="202" y="189"/>
                    </a:lnTo>
                    <a:lnTo>
                      <a:pt x="200" y="187"/>
                    </a:lnTo>
                    <a:lnTo>
                      <a:pt x="197" y="187"/>
                    </a:lnTo>
                    <a:lnTo>
                      <a:pt x="193" y="187"/>
                    </a:lnTo>
                    <a:lnTo>
                      <a:pt x="193" y="186"/>
                    </a:lnTo>
                    <a:lnTo>
                      <a:pt x="189" y="185"/>
                    </a:lnTo>
                    <a:lnTo>
                      <a:pt x="187" y="186"/>
                    </a:lnTo>
                    <a:lnTo>
                      <a:pt x="181" y="185"/>
                    </a:lnTo>
                    <a:lnTo>
                      <a:pt x="181" y="182"/>
                    </a:lnTo>
                    <a:lnTo>
                      <a:pt x="181" y="180"/>
                    </a:lnTo>
                    <a:lnTo>
                      <a:pt x="180" y="173"/>
                    </a:lnTo>
                    <a:lnTo>
                      <a:pt x="177" y="171"/>
                    </a:lnTo>
                    <a:lnTo>
                      <a:pt x="175" y="176"/>
                    </a:lnTo>
                    <a:lnTo>
                      <a:pt x="171" y="177"/>
                    </a:lnTo>
                    <a:lnTo>
                      <a:pt x="173" y="182"/>
                    </a:lnTo>
                    <a:lnTo>
                      <a:pt x="173" y="185"/>
                    </a:lnTo>
                    <a:lnTo>
                      <a:pt x="171" y="186"/>
                    </a:lnTo>
                    <a:lnTo>
                      <a:pt x="167" y="192"/>
                    </a:lnTo>
                    <a:lnTo>
                      <a:pt x="149" y="195"/>
                    </a:lnTo>
                    <a:lnTo>
                      <a:pt x="151" y="196"/>
                    </a:lnTo>
                    <a:lnTo>
                      <a:pt x="148" y="200"/>
                    </a:lnTo>
                    <a:lnTo>
                      <a:pt x="136" y="206"/>
                    </a:lnTo>
                    <a:lnTo>
                      <a:pt x="130" y="208"/>
                    </a:lnTo>
                    <a:lnTo>
                      <a:pt x="129" y="206"/>
                    </a:lnTo>
                    <a:lnTo>
                      <a:pt x="126" y="208"/>
                    </a:lnTo>
                    <a:lnTo>
                      <a:pt x="122" y="206"/>
                    </a:lnTo>
                    <a:lnTo>
                      <a:pt x="120" y="208"/>
                    </a:lnTo>
                    <a:lnTo>
                      <a:pt x="119" y="206"/>
                    </a:lnTo>
                    <a:lnTo>
                      <a:pt x="114" y="208"/>
                    </a:lnTo>
                    <a:lnTo>
                      <a:pt x="110" y="209"/>
                    </a:lnTo>
                    <a:lnTo>
                      <a:pt x="110" y="209"/>
                    </a:lnTo>
                    <a:lnTo>
                      <a:pt x="112" y="209"/>
                    </a:lnTo>
                    <a:lnTo>
                      <a:pt x="112" y="211"/>
                    </a:lnTo>
                    <a:lnTo>
                      <a:pt x="103" y="212"/>
                    </a:lnTo>
                    <a:lnTo>
                      <a:pt x="101" y="212"/>
                    </a:lnTo>
                    <a:lnTo>
                      <a:pt x="83" y="214"/>
                    </a:lnTo>
                    <a:lnTo>
                      <a:pt x="84" y="212"/>
                    </a:lnTo>
                    <a:lnTo>
                      <a:pt x="87" y="209"/>
                    </a:lnTo>
                    <a:lnTo>
                      <a:pt x="81" y="206"/>
                    </a:lnTo>
                    <a:lnTo>
                      <a:pt x="77" y="196"/>
                    </a:lnTo>
                    <a:lnTo>
                      <a:pt x="77" y="193"/>
                    </a:lnTo>
                    <a:lnTo>
                      <a:pt x="78" y="190"/>
                    </a:lnTo>
                    <a:lnTo>
                      <a:pt x="78" y="189"/>
                    </a:lnTo>
                    <a:lnTo>
                      <a:pt x="75" y="187"/>
                    </a:lnTo>
                    <a:lnTo>
                      <a:pt x="75" y="187"/>
                    </a:lnTo>
                    <a:lnTo>
                      <a:pt x="75" y="185"/>
                    </a:lnTo>
                    <a:lnTo>
                      <a:pt x="72" y="183"/>
                    </a:lnTo>
                    <a:lnTo>
                      <a:pt x="72" y="182"/>
                    </a:lnTo>
                    <a:lnTo>
                      <a:pt x="68" y="180"/>
                    </a:lnTo>
                    <a:lnTo>
                      <a:pt x="59" y="18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75" name="Freeform 1130"/>
              <p:cNvSpPr>
                <a:spLocks/>
              </p:cNvSpPr>
              <p:nvPr/>
            </p:nvSpPr>
            <p:spPr bwMode="auto">
              <a:xfrm>
                <a:off x="4721511" y="1626660"/>
                <a:ext cx="33356" cy="44621"/>
              </a:xfrm>
              <a:custGeom>
                <a:avLst/>
                <a:gdLst/>
                <a:ahLst/>
                <a:cxnLst>
                  <a:cxn ang="0">
                    <a:pos x="31" y="33"/>
                  </a:cxn>
                  <a:cxn ang="0">
                    <a:pos x="31" y="32"/>
                  </a:cxn>
                  <a:cxn ang="0">
                    <a:pos x="33" y="24"/>
                  </a:cxn>
                  <a:cxn ang="0">
                    <a:pos x="36" y="10"/>
                  </a:cxn>
                  <a:cxn ang="0">
                    <a:pos x="35" y="7"/>
                  </a:cxn>
                  <a:cxn ang="0">
                    <a:pos x="33" y="7"/>
                  </a:cxn>
                  <a:cxn ang="0">
                    <a:pos x="32" y="4"/>
                  </a:cxn>
                  <a:cxn ang="0">
                    <a:pos x="26" y="0"/>
                  </a:cxn>
                  <a:cxn ang="0">
                    <a:pos x="23" y="0"/>
                  </a:cxn>
                  <a:cxn ang="0">
                    <a:pos x="18" y="1"/>
                  </a:cxn>
                  <a:cxn ang="0">
                    <a:pos x="9" y="1"/>
                  </a:cxn>
                  <a:cxn ang="0">
                    <a:pos x="6" y="3"/>
                  </a:cxn>
                  <a:cxn ang="0">
                    <a:pos x="2" y="13"/>
                  </a:cxn>
                  <a:cxn ang="0">
                    <a:pos x="0" y="14"/>
                  </a:cxn>
                  <a:cxn ang="0">
                    <a:pos x="7" y="18"/>
                  </a:cxn>
                  <a:cxn ang="0">
                    <a:pos x="19" y="34"/>
                  </a:cxn>
                  <a:cxn ang="0">
                    <a:pos x="19" y="36"/>
                  </a:cxn>
                  <a:cxn ang="0">
                    <a:pos x="25" y="43"/>
                  </a:cxn>
                  <a:cxn ang="0">
                    <a:pos x="25" y="42"/>
                  </a:cxn>
                  <a:cxn ang="0">
                    <a:pos x="25" y="40"/>
                  </a:cxn>
                  <a:cxn ang="0">
                    <a:pos x="26" y="40"/>
                  </a:cxn>
                  <a:cxn ang="0">
                    <a:pos x="31" y="34"/>
                  </a:cxn>
                  <a:cxn ang="0">
                    <a:pos x="31" y="33"/>
                  </a:cxn>
                </a:cxnLst>
                <a:rect l="0" t="0" r="r" b="b"/>
                <a:pathLst>
                  <a:path w="36" h="43">
                    <a:moveTo>
                      <a:pt x="31" y="33"/>
                    </a:moveTo>
                    <a:lnTo>
                      <a:pt x="31" y="32"/>
                    </a:lnTo>
                    <a:lnTo>
                      <a:pt x="33" y="24"/>
                    </a:lnTo>
                    <a:lnTo>
                      <a:pt x="36" y="10"/>
                    </a:lnTo>
                    <a:lnTo>
                      <a:pt x="35" y="7"/>
                    </a:lnTo>
                    <a:lnTo>
                      <a:pt x="33" y="7"/>
                    </a:lnTo>
                    <a:lnTo>
                      <a:pt x="32" y="4"/>
                    </a:lnTo>
                    <a:lnTo>
                      <a:pt x="26" y="0"/>
                    </a:lnTo>
                    <a:lnTo>
                      <a:pt x="23" y="0"/>
                    </a:lnTo>
                    <a:lnTo>
                      <a:pt x="18" y="1"/>
                    </a:lnTo>
                    <a:lnTo>
                      <a:pt x="9" y="1"/>
                    </a:lnTo>
                    <a:lnTo>
                      <a:pt x="6" y="3"/>
                    </a:lnTo>
                    <a:lnTo>
                      <a:pt x="2" y="13"/>
                    </a:lnTo>
                    <a:lnTo>
                      <a:pt x="0" y="14"/>
                    </a:lnTo>
                    <a:lnTo>
                      <a:pt x="7" y="18"/>
                    </a:lnTo>
                    <a:lnTo>
                      <a:pt x="19" y="34"/>
                    </a:lnTo>
                    <a:lnTo>
                      <a:pt x="19" y="36"/>
                    </a:lnTo>
                    <a:lnTo>
                      <a:pt x="25" y="43"/>
                    </a:lnTo>
                    <a:lnTo>
                      <a:pt x="25" y="42"/>
                    </a:lnTo>
                    <a:lnTo>
                      <a:pt x="25" y="40"/>
                    </a:lnTo>
                    <a:lnTo>
                      <a:pt x="26" y="40"/>
                    </a:lnTo>
                    <a:lnTo>
                      <a:pt x="31" y="34"/>
                    </a:lnTo>
                    <a:lnTo>
                      <a:pt x="31" y="3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76" name="Freeform 1131"/>
              <p:cNvSpPr>
                <a:spLocks/>
              </p:cNvSpPr>
              <p:nvPr/>
            </p:nvSpPr>
            <p:spPr bwMode="auto">
              <a:xfrm>
                <a:off x="4721511" y="1626660"/>
                <a:ext cx="33356" cy="44621"/>
              </a:xfrm>
              <a:custGeom>
                <a:avLst/>
                <a:gdLst/>
                <a:ahLst/>
                <a:cxnLst>
                  <a:cxn ang="0">
                    <a:pos x="31" y="33"/>
                  </a:cxn>
                  <a:cxn ang="0">
                    <a:pos x="31" y="32"/>
                  </a:cxn>
                  <a:cxn ang="0">
                    <a:pos x="33" y="24"/>
                  </a:cxn>
                  <a:cxn ang="0">
                    <a:pos x="36" y="10"/>
                  </a:cxn>
                  <a:cxn ang="0">
                    <a:pos x="35" y="7"/>
                  </a:cxn>
                  <a:cxn ang="0">
                    <a:pos x="33" y="7"/>
                  </a:cxn>
                  <a:cxn ang="0">
                    <a:pos x="32" y="4"/>
                  </a:cxn>
                  <a:cxn ang="0">
                    <a:pos x="26" y="0"/>
                  </a:cxn>
                  <a:cxn ang="0">
                    <a:pos x="23" y="0"/>
                  </a:cxn>
                  <a:cxn ang="0">
                    <a:pos x="18" y="1"/>
                  </a:cxn>
                  <a:cxn ang="0">
                    <a:pos x="9" y="1"/>
                  </a:cxn>
                  <a:cxn ang="0">
                    <a:pos x="6" y="3"/>
                  </a:cxn>
                  <a:cxn ang="0">
                    <a:pos x="2" y="13"/>
                  </a:cxn>
                  <a:cxn ang="0">
                    <a:pos x="0" y="14"/>
                  </a:cxn>
                  <a:cxn ang="0">
                    <a:pos x="7" y="18"/>
                  </a:cxn>
                  <a:cxn ang="0">
                    <a:pos x="19" y="34"/>
                  </a:cxn>
                  <a:cxn ang="0">
                    <a:pos x="19" y="36"/>
                  </a:cxn>
                  <a:cxn ang="0">
                    <a:pos x="25" y="43"/>
                  </a:cxn>
                  <a:cxn ang="0">
                    <a:pos x="25" y="42"/>
                  </a:cxn>
                  <a:cxn ang="0">
                    <a:pos x="25" y="40"/>
                  </a:cxn>
                  <a:cxn ang="0">
                    <a:pos x="26" y="40"/>
                  </a:cxn>
                  <a:cxn ang="0">
                    <a:pos x="31" y="34"/>
                  </a:cxn>
                  <a:cxn ang="0">
                    <a:pos x="31" y="33"/>
                  </a:cxn>
                </a:cxnLst>
                <a:rect l="0" t="0" r="r" b="b"/>
                <a:pathLst>
                  <a:path w="36" h="43">
                    <a:moveTo>
                      <a:pt x="31" y="33"/>
                    </a:moveTo>
                    <a:lnTo>
                      <a:pt x="31" y="32"/>
                    </a:lnTo>
                    <a:lnTo>
                      <a:pt x="33" y="24"/>
                    </a:lnTo>
                    <a:lnTo>
                      <a:pt x="36" y="10"/>
                    </a:lnTo>
                    <a:lnTo>
                      <a:pt x="35" y="7"/>
                    </a:lnTo>
                    <a:lnTo>
                      <a:pt x="33" y="7"/>
                    </a:lnTo>
                    <a:lnTo>
                      <a:pt x="32" y="4"/>
                    </a:lnTo>
                    <a:lnTo>
                      <a:pt x="26" y="0"/>
                    </a:lnTo>
                    <a:lnTo>
                      <a:pt x="23" y="0"/>
                    </a:lnTo>
                    <a:lnTo>
                      <a:pt x="18" y="1"/>
                    </a:lnTo>
                    <a:lnTo>
                      <a:pt x="9" y="1"/>
                    </a:lnTo>
                    <a:lnTo>
                      <a:pt x="6" y="3"/>
                    </a:lnTo>
                    <a:lnTo>
                      <a:pt x="2" y="13"/>
                    </a:lnTo>
                    <a:lnTo>
                      <a:pt x="0" y="14"/>
                    </a:lnTo>
                    <a:lnTo>
                      <a:pt x="7" y="18"/>
                    </a:lnTo>
                    <a:lnTo>
                      <a:pt x="19" y="34"/>
                    </a:lnTo>
                    <a:lnTo>
                      <a:pt x="19" y="36"/>
                    </a:lnTo>
                    <a:lnTo>
                      <a:pt x="25" y="43"/>
                    </a:lnTo>
                    <a:lnTo>
                      <a:pt x="25" y="42"/>
                    </a:lnTo>
                    <a:lnTo>
                      <a:pt x="25" y="40"/>
                    </a:lnTo>
                    <a:lnTo>
                      <a:pt x="26" y="40"/>
                    </a:lnTo>
                    <a:lnTo>
                      <a:pt x="31" y="34"/>
                    </a:lnTo>
                    <a:lnTo>
                      <a:pt x="31" y="3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77" name="Freeform 1132"/>
              <p:cNvSpPr>
                <a:spLocks/>
              </p:cNvSpPr>
              <p:nvPr/>
            </p:nvSpPr>
            <p:spPr bwMode="auto">
              <a:xfrm>
                <a:off x="4782956" y="1618547"/>
                <a:ext cx="79002" cy="131837"/>
              </a:xfrm>
              <a:custGeom>
                <a:avLst/>
                <a:gdLst/>
                <a:ahLst/>
                <a:cxnLst>
                  <a:cxn ang="0">
                    <a:pos x="30" y="92"/>
                  </a:cxn>
                  <a:cxn ang="0">
                    <a:pos x="27" y="88"/>
                  </a:cxn>
                  <a:cxn ang="0">
                    <a:pos x="20" y="83"/>
                  </a:cxn>
                  <a:cxn ang="0">
                    <a:pos x="13" y="80"/>
                  </a:cxn>
                  <a:cxn ang="0">
                    <a:pos x="0" y="64"/>
                  </a:cxn>
                  <a:cxn ang="0">
                    <a:pos x="6" y="47"/>
                  </a:cxn>
                  <a:cxn ang="0">
                    <a:pos x="10" y="51"/>
                  </a:cxn>
                  <a:cxn ang="0">
                    <a:pos x="14" y="56"/>
                  </a:cxn>
                  <a:cxn ang="0">
                    <a:pos x="17" y="64"/>
                  </a:cxn>
                  <a:cxn ang="0">
                    <a:pos x="25" y="61"/>
                  </a:cxn>
                  <a:cxn ang="0">
                    <a:pos x="32" y="58"/>
                  </a:cxn>
                  <a:cxn ang="0">
                    <a:pos x="30" y="51"/>
                  </a:cxn>
                  <a:cxn ang="0">
                    <a:pos x="33" y="50"/>
                  </a:cxn>
                  <a:cxn ang="0">
                    <a:pos x="29" y="45"/>
                  </a:cxn>
                  <a:cxn ang="0">
                    <a:pos x="27" y="37"/>
                  </a:cxn>
                  <a:cxn ang="0">
                    <a:pos x="35" y="38"/>
                  </a:cxn>
                  <a:cxn ang="0">
                    <a:pos x="29" y="34"/>
                  </a:cxn>
                  <a:cxn ang="0">
                    <a:pos x="17" y="28"/>
                  </a:cxn>
                  <a:cxn ang="0">
                    <a:pos x="14" y="21"/>
                  </a:cxn>
                  <a:cxn ang="0">
                    <a:pos x="22" y="25"/>
                  </a:cxn>
                  <a:cxn ang="0">
                    <a:pos x="25" y="22"/>
                  </a:cxn>
                  <a:cxn ang="0">
                    <a:pos x="20" y="16"/>
                  </a:cxn>
                  <a:cxn ang="0">
                    <a:pos x="19" y="9"/>
                  </a:cxn>
                  <a:cxn ang="0">
                    <a:pos x="29" y="9"/>
                  </a:cxn>
                  <a:cxn ang="0">
                    <a:pos x="32" y="8"/>
                  </a:cxn>
                  <a:cxn ang="0">
                    <a:pos x="30" y="2"/>
                  </a:cxn>
                  <a:cxn ang="0">
                    <a:pos x="36" y="6"/>
                  </a:cxn>
                  <a:cxn ang="0">
                    <a:pos x="48" y="11"/>
                  </a:cxn>
                  <a:cxn ang="0">
                    <a:pos x="64" y="3"/>
                  </a:cxn>
                  <a:cxn ang="0">
                    <a:pos x="74" y="8"/>
                  </a:cxn>
                  <a:cxn ang="0">
                    <a:pos x="72" y="18"/>
                  </a:cxn>
                  <a:cxn ang="0">
                    <a:pos x="70" y="21"/>
                  </a:cxn>
                  <a:cxn ang="0">
                    <a:pos x="71" y="29"/>
                  </a:cxn>
                  <a:cxn ang="0">
                    <a:pos x="61" y="40"/>
                  </a:cxn>
                  <a:cxn ang="0">
                    <a:pos x="57" y="45"/>
                  </a:cxn>
                  <a:cxn ang="0">
                    <a:pos x="65" y="44"/>
                  </a:cxn>
                  <a:cxn ang="0">
                    <a:pos x="71" y="53"/>
                  </a:cxn>
                  <a:cxn ang="0">
                    <a:pos x="74" y="57"/>
                  </a:cxn>
                  <a:cxn ang="0">
                    <a:pos x="74" y="63"/>
                  </a:cxn>
                  <a:cxn ang="0">
                    <a:pos x="80" y="61"/>
                  </a:cxn>
                  <a:cxn ang="0">
                    <a:pos x="83" y="64"/>
                  </a:cxn>
                  <a:cxn ang="0">
                    <a:pos x="86" y="74"/>
                  </a:cxn>
                  <a:cxn ang="0">
                    <a:pos x="81" y="79"/>
                  </a:cxn>
                  <a:cxn ang="0">
                    <a:pos x="83" y="90"/>
                  </a:cxn>
                  <a:cxn ang="0">
                    <a:pos x="84" y="95"/>
                  </a:cxn>
                  <a:cxn ang="0">
                    <a:pos x="81" y="101"/>
                  </a:cxn>
                  <a:cxn ang="0">
                    <a:pos x="71" y="112"/>
                  </a:cxn>
                  <a:cxn ang="0">
                    <a:pos x="61" y="111"/>
                  </a:cxn>
                  <a:cxn ang="0">
                    <a:pos x="64" y="119"/>
                  </a:cxn>
                  <a:cxn ang="0">
                    <a:pos x="57" y="127"/>
                  </a:cxn>
                  <a:cxn ang="0">
                    <a:pos x="51" y="122"/>
                  </a:cxn>
                  <a:cxn ang="0">
                    <a:pos x="45" y="112"/>
                  </a:cxn>
                  <a:cxn ang="0">
                    <a:pos x="41" y="104"/>
                  </a:cxn>
                </a:cxnLst>
                <a:rect l="0" t="0" r="r" b="b"/>
                <a:pathLst>
                  <a:path w="86" h="127">
                    <a:moveTo>
                      <a:pt x="35" y="98"/>
                    </a:moveTo>
                    <a:lnTo>
                      <a:pt x="33" y="98"/>
                    </a:lnTo>
                    <a:lnTo>
                      <a:pt x="30" y="92"/>
                    </a:lnTo>
                    <a:lnTo>
                      <a:pt x="30" y="90"/>
                    </a:lnTo>
                    <a:lnTo>
                      <a:pt x="29" y="88"/>
                    </a:lnTo>
                    <a:lnTo>
                      <a:pt x="27" y="88"/>
                    </a:lnTo>
                    <a:lnTo>
                      <a:pt x="25" y="89"/>
                    </a:lnTo>
                    <a:lnTo>
                      <a:pt x="22" y="83"/>
                    </a:lnTo>
                    <a:lnTo>
                      <a:pt x="20" y="83"/>
                    </a:lnTo>
                    <a:lnTo>
                      <a:pt x="19" y="86"/>
                    </a:lnTo>
                    <a:lnTo>
                      <a:pt x="13" y="85"/>
                    </a:lnTo>
                    <a:lnTo>
                      <a:pt x="13" y="80"/>
                    </a:lnTo>
                    <a:lnTo>
                      <a:pt x="10" y="79"/>
                    </a:lnTo>
                    <a:lnTo>
                      <a:pt x="10" y="76"/>
                    </a:lnTo>
                    <a:lnTo>
                      <a:pt x="0" y="64"/>
                    </a:lnTo>
                    <a:lnTo>
                      <a:pt x="0" y="50"/>
                    </a:lnTo>
                    <a:lnTo>
                      <a:pt x="3" y="48"/>
                    </a:lnTo>
                    <a:lnTo>
                      <a:pt x="6" y="47"/>
                    </a:lnTo>
                    <a:lnTo>
                      <a:pt x="9" y="50"/>
                    </a:lnTo>
                    <a:lnTo>
                      <a:pt x="10" y="51"/>
                    </a:lnTo>
                    <a:lnTo>
                      <a:pt x="10" y="51"/>
                    </a:lnTo>
                    <a:lnTo>
                      <a:pt x="10" y="54"/>
                    </a:lnTo>
                    <a:lnTo>
                      <a:pt x="12" y="56"/>
                    </a:lnTo>
                    <a:lnTo>
                      <a:pt x="14" y="56"/>
                    </a:lnTo>
                    <a:lnTo>
                      <a:pt x="16" y="57"/>
                    </a:lnTo>
                    <a:lnTo>
                      <a:pt x="16" y="60"/>
                    </a:lnTo>
                    <a:lnTo>
                      <a:pt x="17" y="64"/>
                    </a:lnTo>
                    <a:lnTo>
                      <a:pt x="22" y="64"/>
                    </a:lnTo>
                    <a:lnTo>
                      <a:pt x="25" y="63"/>
                    </a:lnTo>
                    <a:lnTo>
                      <a:pt x="25" y="61"/>
                    </a:lnTo>
                    <a:lnTo>
                      <a:pt x="26" y="63"/>
                    </a:lnTo>
                    <a:lnTo>
                      <a:pt x="29" y="61"/>
                    </a:lnTo>
                    <a:lnTo>
                      <a:pt x="32" y="58"/>
                    </a:lnTo>
                    <a:lnTo>
                      <a:pt x="30" y="56"/>
                    </a:lnTo>
                    <a:lnTo>
                      <a:pt x="29" y="51"/>
                    </a:lnTo>
                    <a:lnTo>
                      <a:pt x="30" y="51"/>
                    </a:lnTo>
                    <a:lnTo>
                      <a:pt x="32" y="54"/>
                    </a:lnTo>
                    <a:lnTo>
                      <a:pt x="33" y="54"/>
                    </a:lnTo>
                    <a:lnTo>
                      <a:pt x="33" y="50"/>
                    </a:lnTo>
                    <a:lnTo>
                      <a:pt x="32" y="48"/>
                    </a:lnTo>
                    <a:lnTo>
                      <a:pt x="30" y="48"/>
                    </a:lnTo>
                    <a:lnTo>
                      <a:pt x="29" y="45"/>
                    </a:lnTo>
                    <a:lnTo>
                      <a:pt x="27" y="45"/>
                    </a:lnTo>
                    <a:lnTo>
                      <a:pt x="27" y="38"/>
                    </a:lnTo>
                    <a:lnTo>
                      <a:pt x="27" y="37"/>
                    </a:lnTo>
                    <a:lnTo>
                      <a:pt x="30" y="37"/>
                    </a:lnTo>
                    <a:lnTo>
                      <a:pt x="35" y="40"/>
                    </a:lnTo>
                    <a:lnTo>
                      <a:pt x="35" y="38"/>
                    </a:lnTo>
                    <a:lnTo>
                      <a:pt x="29" y="31"/>
                    </a:lnTo>
                    <a:lnTo>
                      <a:pt x="29" y="32"/>
                    </a:lnTo>
                    <a:lnTo>
                      <a:pt x="29" y="34"/>
                    </a:lnTo>
                    <a:lnTo>
                      <a:pt x="23" y="35"/>
                    </a:lnTo>
                    <a:lnTo>
                      <a:pt x="19" y="32"/>
                    </a:lnTo>
                    <a:lnTo>
                      <a:pt x="17" y="28"/>
                    </a:lnTo>
                    <a:lnTo>
                      <a:pt x="14" y="28"/>
                    </a:lnTo>
                    <a:lnTo>
                      <a:pt x="14" y="24"/>
                    </a:lnTo>
                    <a:lnTo>
                      <a:pt x="14" y="21"/>
                    </a:lnTo>
                    <a:lnTo>
                      <a:pt x="20" y="21"/>
                    </a:lnTo>
                    <a:lnTo>
                      <a:pt x="22" y="24"/>
                    </a:lnTo>
                    <a:lnTo>
                      <a:pt x="22" y="25"/>
                    </a:lnTo>
                    <a:lnTo>
                      <a:pt x="25" y="26"/>
                    </a:lnTo>
                    <a:lnTo>
                      <a:pt x="26" y="25"/>
                    </a:lnTo>
                    <a:lnTo>
                      <a:pt x="25" y="22"/>
                    </a:lnTo>
                    <a:lnTo>
                      <a:pt x="25" y="19"/>
                    </a:lnTo>
                    <a:lnTo>
                      <a:pt x="22" y="19"/>
                    </a:lnTo>
                    <a:lnTo>
                      <a:pt x="20" y="16"/>
                    </a:lnTo>
                    <a:lnTo>
                      <a:pt x="17" y="16"/>
                    </a:lnTo>
                    <a:lnTo>
                      <a:pt x="16" y="13"/>
                    </a:lnTo>
                    <a:lnTo>
                      <a:pt x="19" y="9"/>
                    </a:lnTo>
                    <a:lnTo>
                      <a:pt x="23" y="6"/>
                    </a:lnTo>
                    <a:lnTo>
                      <a:pt x="25" y="8"/>
                    </a:lnTo>
                    <a:lnTo>
                      <a:pt x="29" y="9"/>
                    </a:lnTo>
                    <a:lnTo>
                      <a:pt x="30" y="11"/>
                    </a:lnTo>
                    <a:lnTo>
                      <a:pt x="32" y="9"/>
                    </a:lnTo>
                    <a:lnTo>
                      <a:pt x="32" y="8"/>
                    </a:lnTo>
                    <a:lnTo>
                      <a:pt x="29" y="6"/>
                    </a:lnTo>
                    <a:lnTo>
                      <a:pt x="27" y="5"/>
                    </a:lnTo>
                    <a:lnTo>
                      <a:pt x="30" y="2"/>
                    </a:lnTo>
                    <a:lnTo>
                      <a:pt x="32" y="0"/>
                    </a:lnTo>
                    <a:lnTo>
                      <a:pt x="33" y="2"/>
                    </a:lnTo>
                    <a:lnTo>
                      <a:pt x="36" y="6"/>
                    </a:lnTo>
                    <a:lnTo>
                      <a:pt x="39" y="6"/>
                    </a:lnTo>
                    <a:lnTo>
                      <a:pt x="45" y="11"/>
                    </a:lnTo>
                    <a:lnTo>
                      <a:pt x="48" y="11"/>
                    </a:lnTo>
                    <a:lnTo>
                      <a:pt x="49" y="11"/>
                    </a:lnTo>
                    <a:lnTo>
                      <a:pt x="55" y="9"/>
                    </a:lnTo>
                    <a:lnTo>
                      <a:pt x="64" y="3"/>
                    </a:lnTo>
                    <a:lnTo>
                      <a:pt x="70" y="2"/>
                    </a:lnTo>
                    <a:lnTo>
                      <a:pt x="71" y="3"/>
                    </a:lnTo>
                    <a:lnTo>
                      <a:pt x="74" y="8"/>
                    </a:lnTo>
                    <a:lnTo>
                      <a:pt x="75" y="8"/>
                    </a:lnTo>
                    <a:lnTo>
                      <a:pt x="75" y="15"/>
                    </a:lnTo>
                    <a:lnTo>
                      <a:pt x="72" y="18"/>
                    </a:lnTo>
                    <a:lnTo>
                      <a:pt x="70" y="19"/>
                    </a:lnTo>
                    <a:lnTo>
                      <a:pt x="68" y="21"/>
                    </a:lnTo>
                    <a:lnTo>
                      <a:pt x="70" y="21"/>
                    </a:lnTo>
                    <a:lnTo>
                      <a:pt x="72" y="24"/>
                    </a:lnTo>
                    <a:lnTo>
                      <a:pt x="72" y="29"/>
                    </a:lnTo>
                    <a:lnTo>
                      <a:pt x="71" y="29"/>
                    </a:lnTo>
                    <a:lnTo>
                      <a:pt x="68" y="29"/>
                    </a:lnTo>
                    <a:lnTo>
                      <a:pt x="64" y="35"/>
                    </a:lnTo>
                    <a:lnTo>
                      <a:pt x="61" y="40"/>
                    </a:lnTo>
                    <a:lnTo>
                      <a:pt x="59" y="41"/>
                    </a:lnTo>
                    <a:lnTo>
                      <a:pt x="58" y="44"/>
                    </a:lnTo>
                    <a:lnTo>
                      <a:pt x="57" y="45"/>
                    </a:lnTo>
                    <a:lnTo>
                      <a:pt x="57" y="51"/>
                    </a:lnTo>
                    <a:lnTo>
                      <a:pt x="62" y="45"/>
                    </a:lnTo>
                    <a:lnTo>
                      <a:pt x="65" y="44"/>
                    </a:lnTo>
                    <a:lnTo>
                      <a:pt x="68" y="45"/>
                    </a:lnTo>
                    <a:lnTo>
                      <a:pt x="71" y="50"/>
                    </a:lnTo>
                    <a:lnTo>
                      <a:pt x="71" y="53"/>
                    </a:lnTo>
                    <a:lnTo>
                      <a:pt x="72" y="54"/>
                    </a:lnTo>
                    <a:lnTo>
                      <a:pt x="72" y="57"/>
                    </a:lnTo>
                    <a:lnTo>
                      <a:pt x="74" y="57"/>
                    </a:lnTo>
                    <a:lnTo>
                      <a:pt x="75" y="58"/>
                    </a:lnTo>
                    <a:lnTo>
                      <a:pt x="75" y="60"/>
                    </a:lnTo>
                    <a:lnTo>
                      <a:pt x="74" y="63"/>
                    </a:lnTo>
                    <a:lnTo>
                      <a:pt x="74" y="66"/>
                    </a:lnTo>
                    <a:lnTo>
                      <a:pt x="78" y="61"/>
                    </a:lnTo>
                    <a:lnTo>
                      <a:pt x="80" y="61"/>
                    </a:lnTo>
                    <a:lnTo>
                      <a:pt x="81" y="58"/>
                    </a:lnTo>
                    <a:lnTo>
                      <a:pt x="83" y="61"/>
                    </a:lnTo>
                    <a:lnTo>
                      <a:pt x="83" y="64"/>
                    </a:lnTo>
                    <a:lnTo>
                      <a:pt x="83" y="66"/>
                    </a:lnTo>
                    <a:lnTo>
                      <a:pt x="86" y="72"/>
                    </a:lnTo>
                    <a:lnTo>
                      <a:pt x="86" y="74"/>
                    </a:lnTo>
                    <a:lnTo>
                      <a:pt x="84" y="76"/>
                    </a:lnTo>
                    <a:lnTo>
                      <a:pt x="81" y="79"/>
                    </a:lnTo>
                    <a:lnTo>
                      <a:pt x="81" y="79"/>
                    </a:lnTo>
                    <a:lnTo>
                      <a:pt x="83" y="85"/>
                    </a:lnTo>
                    <a:lnTo>
                      <a:pt x="83" y="89"/>
                    </a:lnTo>
                    <a:lnTo>
                      <a:pt x="83" y="90"/>
                    </a:lnTo>
                    <a:lnTo>
                      <a:pt x="81" y="93"/>
                    </a:lnTo>
                    <a:lnTo>
                      <a:pt x="83" y="92"/>
                    </a:lnTo>
                    <a:lnTo>
                      <a:pt x="84" y="95"/>
                    </a:lnTo>
                    <a:lnTo>
                      <a:pt x="84" y="101"/>
                    </a:lnTo>
                    <a:lnTo>
                      <a:pt x="83" y="102"/>
                    </a:lnTo>
                    <a:lnTo>
                      <a:pt x="81" y="101"/>
                    </a:lnTo>
                    <a:lnTo>
                      <a:pt x="78" y="104"/>
                    </a:lnTo>
                    <a:lnTo>
                      <a:pt x="78" y="108"/>
                    </a:lnTo>
                    <a:lnTo>
                      <a:pt x="71" y="112"/>
                    </a:lnTo>
                    <a:lnTo>
                      <a:pt x="68" y="111"/>
                    </a:lnTo>
                    <a:lnTo>
                      <a:pt x="64" y="111"/>
                    </a:lnTo>
                    <a:lnTo>
                      <a:pt x="61" y="111"/>
                    </a:lnTo>
                    <a:lnTo>
                      <a:pt x="61" y="112"/>
                    </a:lnTo>
                    <a:lnTo>
                      <a:pt x="64" y="117"/>
                    </a:lnTo>
                    <a:lnTo>
                      <a:pt x="64" y="119"/>
                    </a:lnTo>
                    <a:lnTo>
                      <a:pt x="59" y="122"/>
                    </a:lnTo>
                    <a:lnTo>
                      <a:pt x="58" y="124"/>
                    </a:lnTo>
                    <a:lnTo>
                      <a:pt x="57" y="127"/>
                    </a:lnTo>
                    <a:lnTo>
                      <a:pt x="54" y="127"/>
                    </a:lnTo>
                    <a:lnTo>
                      <a:pt x="52" y="121"/>
                    </a:lnTo>
                    <a:lnTo>
                      <a:pt x="51" y="122"/>
                    </a:lnTo>
                    <a:lnTo>
                      <a:pt x="49" y="124"/>
                    </a:lnTo>
                    <a:lnTo>
                      <a:pt x="48" y="124"/>
                    </a:lnTo>
                    <a:lnTo>
                      <a:pt x="45" y="112"/>
                    </a:lnTo>
                    <a:lnTo>
                      <a:pt x="43" y="111"/>
                    </a:lnTo>
                    <a:lnTo>
                      <a:pt x="42" y="106"/>
                    </a:lnTo>
                    <a:lnTo>
                      <a:pt x="41" y="104"/>
                    </a:lnTo>
                    <a:lnTo>
                      <a:pt x="36" y="101"/>
                    </a:lnTo>
                    <a:lnTo>
                      <a:pt x="35" y="98"/>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78" name="Freeform 1134"/>
              <p:cNvSpPr>
                <a:spLocks/>
              </p:cNvSpPr>
              <p:nvPr/>
            </p:nvSpPr>
            <p:spPr bwMode="auto">
              <a:xfrm>
                <a:off x="4849669" y="1657084"/>
                <a:ext cx="9656" cy="14197"/>
              </a:xfrm>
              <a:custGeom>
                <a:avLst/>
                <a:gdLst/>
                <a:ahLst/>
                <a:cxnLst>
                  <a:cxn ang="0">
                    <a:pos x="9" y="8"/>
                  </a:cxn>
                  <a:cxn ang="0">
                    <a:pos x="11" y="7"/>
                  </a:cxn>
                  <a:cxn ang="0">
                    <a:pos x="9" y="4"/>
                  </a:cxn>
                  <a:cxn ang="0">
                    <a:pos x="6" y="0"/>
                  </a:cxn>
                  <a:cxn ang="0">
                    <a:pos x="0" y="4"/>
                  </a:cxn>
                  <a:cxn ang="0">
                    <a:pos x="3" y="14"/>
                  </a:cxn>
                  <a:cxn ang="0">
                    <a:pos x="6" y="13"/>
                  </a:cxn>
                  <a:cxn ang="0">
                    <a:pos x="8" y="11"/>
                  </a:cxn>
                  <a:cxn ang="0">
                    <a:pos x="9" y="10"/>
                  </a:cxn>
                  <a:cxn ang="0">
                    <a:pos x="9" y="8"/>
                  </a:cxn>
                </a:cxnLst>
                <a:rect l="0" t="0" r="r" b="b"/>
                <a:pathLst>
                  <a:path w="11" h="14">
                    <a:moveTo>
                      <a:pt x="9" y="8"/>
                    </a:moveTo>
                    <a:lnTo>
                      <a:pt x="11" y="7"/>
                    </a:lnTo>
                    <a:lnTo>
                      <a:pt x="9" y="4"/>
                    </a:lnTo>
                    <a:lnTo>
                      <a:pt x="6" y="0"/>
                    </a:lnTo>
                    <a:lnTo>
                      <a:pt x="0" y="4"/>
                    </a:lnTo>
                    <a:lnTo>
                      <a:pt x="3" y="14"/>
                    </a:lnTo>
                    <a:lnTo>
                      <a:pt x="6" y="13"/>
                    </a:lnTo>
                    <a:lnTo>
                      <a:pt x="8" y="11"/>
                    </a:lnTo>
                    <a:lnTo>
                      <a:pt x="9" y="10"/>
                    </a:lnTo>
                    <a:lnTo>
                      <a:pt x="9" y="8"/>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79" name="Freeform 1135"/>
              <p:cNvSpPr>
                <a:spLocks/>
              </p:cNvSpPr>
              <p:nvPr/>
            </p:nvSpPr>
            <p:spPr bwMode="auto">
              <a:xfrm>
                <a:off x="4849669" y="1657084"/>
                <a:ext cx="9656" cy="14197"/>
              </a:xfrm>
              <a:custGeom>
                <a:avLst/>
                <a:gdLst/>
                <a:ahLst/>
                <a:cxnLst>
                  <a:cxn ang="0">
                    <a:pos x="9" y="8"/>
                  </a:cxn>
                  <a:cxn ang="0">
                    <a:pos x="11" y="7"/>
                  </a:cxn>
                  <a:cxn ang="0">
                    <a:pos x="9" y="4"/>
                  </a:cxn>
                  <a:cxn ang="0">
                    <a:pos x="6" y="0"/>
                  </a:cxn>
                  <a:cxn ang="0">
                    <a:pos x="0" y="4"/>
                  </a:cxn>
                  <a:cxn ang="0">
                    <a:pos x="3" y="14"/>
                  </a:cxn>
                  <a:cxn ang="0">
                    <a:pos x="6" y="13"/>
                  </a:cxn>
                  <a:cxn ang="0">
                    <a:pos x="8" y="11"/>
                  </a:cxn>
                  <a:cxn ang="0">
                    <a:pos x="9" y="10"/>
                  </a:cxn>
                </a:cxnLst>
                <a:rect l="0" t="0" r="r" b="b"/>
                <a:pathLst>
                  <a:path w="11" h="14">
                    <a:moveTo>
                      <a:pt x="9" y="8"/>
                    </a:moveTo>
                    <a:lnTo>
                      <a:pt x="11" y="7"/>
                    </a:lnTo>
                    <a:lnTo>
                      <a:pt x="9" y="4"/>
                    </a:lnTo>
                    <a:lnTo>
                      <a:pt x="6" y="0"/>
                    </a:lnTo>
                    <a:lnTo>
                      <a:pt x="0" y="4"/>
                    </a:lnTo>
                    <a:lnTo>
                      <a:pt x="3" y="14"/>
                    </a:lnTo>
                    <a:lnTo>
                      <a:pt x="6" y="13"/>
                    </a:lnTo>
                    <a:lnTo>
                      <a:pt x="8" y="11"/>
                    </a:lnTo>
                    <a:lnTo>
                      <a:pt x="9" y="1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80" name="Freeform 1136"/>
              <p:cNvSpPr>
                <a:spLocks/>
              </p:cNvSpPr>
              <p:nvPr/>
            </p:nvSpPr>
            <p:spPr bwMode="auto">
              <a:xfrm>
                <a:off x="4821580" y="1609420"/>
                <a:ext cx="20190" cy="15211"/>
              </a:xfrm>
              <a:custGeom>
                <a:avLst/>
                <a:gdLst/>
                <a:ahLst/>
                <a:cxnLst>
                  <a:cxn ang="0">
                    <a:pos x="10" y="13"/>
                  </a:cxn>
                  <a:cxn ang="0">
                    <a:pos x="16" y="11"/>
                  </a:cxn>
                  <a:cxn ang="0">
                    <a:pos x="22" y="4"/>
                  </a:cxn>
                  <a:cxn ang="0">
                    <a:pos x="22" y="1"/>
                  </a:cxn>
                  <a:cxn ang="0">
                    <a:pos x="22" y="0"/>
                  </a:cxn>
                  <a:cxn ang="0">
                    <a:pos x="19" y="0"/>
                  </a:cxn>
                  <a:cxn ang="0">
                    <a:pos x="12" y="3"/>
                  </a:cxn>
                  <a:cxn ang="0">
                    <a:pos x="7" y="4"/>
                  </a:cxn>
                  <a:cxn ang="0">
                    <a:pos x="6" y="7"/>
                  </a:cxn>
                  <a:cxn ang="0">
                    <a:pos x="4" y="8"/>
                  </a:cxn>
                  <a:cxn ang="0">
                    <a:pos x="0" y="11"/>
                  </a:cxn>
                  <a:cxn ang="0">
                    <a:pos x="0" y="11"/>
                  </a:cxn>
                  <a:cxn ang="0">
                    <a:pos x="4" y="13"/>
                  </a:cxn>
                  <a:cxn ang="0">
                    <a:pos x="6" y="11"/>
                  </a:cxn>
                  <a:cxn ang="0">
                    <a:pos x="6" y="11"/>
                  </a:cxn>
                  <a:cxn ang="0">
                    <a:pos x="7" y="14"/>
                  </a:cxn>
                  <a:cxn ang="0">
                    <a:pos x="9" y="13"/>
                  </a:cxn>
                  <a:cxn ang="0">
                    <a:pos x="10" y="14"/>
                  </a:cxn>
                  <a:cxn ang="0">
                    <a:pos x="10" y="13"/>
                  </a:cxn>
                </a:cxnLst>
                <a:rect l="0" t="0" r="r" b="b"/>
                <a:pathLst>
                  <a:path w="22" h="14">
                    <a:moveTo>
                      <a:pt x="10" y="13"/>
                    </a:moveTo>
                    <a:lnTo>
                      <a:pt x="16" y="11"/>
                    </a:lnTo>
                    <a:lnTo>
                      <a:pt x="22" y="4"/>
                    </a:lnTo>
                    <a:lnTo>
                      <a:pt x="22" y="1"/>
                    </a:lnTo>
                    <a:lnTo>
                      <a:pt x="22" y="0"/>
                    </a:lnTo>
                    <a:lnTo>
                      <a:pt x="19" y="0"/>
                    </a:lnTo>
                    <a:lnTo>
                      <a:pt x="12" y="3"/>
                    </a:lnTo>
                    <a:lnTo>
                      <a:pt x="7" y="4"/>
                    </a:lnTo>
                    <a:lnTo>
                      <a:pt x="6" y="7"/>
                    </a:lnTo>
                    <a:lnTo>
                      <a:pt x="4" y="8"/>
                    </a:lnTo>
                    <a:lnTo>
                      <a:pt x="0" y="11"/>
                    </a:lnTo>
                    <a:lnTo>
                      <a:pt x="0" y="11"/>
                    </a:lnTo>
                    <a:lnTo>
                      <a:pt x="4" y="13"/>
                    </a:lnTo>
                    <a:lnTo>
                      <a:pt x="6" y="11"/>
                    </a:lnTo>
                    <a:lnTo>
                      <a:pt x="6" y="11"/>
                    </a:lnTo>
                    <a:lnTo>
                      <a:pt x="7" y="14"/>
                    </a:lnTo>
                    <a:lnTo>
                      <a:pt x="9" y="13"/>
                    </a:lnTo>
                    <a:lnTo>
                      <a:pt x="10" y="14"/>
                    </a:lnTo>
                    <a:lnTo>
                      <a:pt x="10" y="1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81" name="Freeform 1138"/>
              <p:cNvSpPr>
                <a:spLocks/>
              </p:cNvSpPr>
              <p:nvPr/>
            </p:nvSpPr>
            <p:spPr bwMode="auto">
              <a:xfrm>
                <a:off x="4851425" y="1516120"/>
                <a:ext cx="14045" cy="17240"/>
              </a:xfrm>
              <a:custGeom>
                <a:avLst/>
                <a:gdLst/>
                <a:ahLst/>
                <a:cxnLst>
                  <a:cxn ang="0">
                    <a:pos x="10" y="4"/>
                  </a:cxn>
                  <a:cxn ang="0">
                    <a:pos x="10" y="4"/>
                  </a:cxn>
                  <a:cxn ang="0">
                    <a:pos x="9" y="8"/>
                  </a:cxn>
                  <a:cxn ang="0">
                    <a:pos x="9" y="10"/>
                  </a:cxn>
                  <a:cxn ang="0">
                    <a:pos x="7" y="13"/>
                  </a:cxn>
                  <a:cxn ang="0">
                    <a:pos x="6" y="13"/>
                  </a:cxn>
                  <a:cxn ang="0">
                    <a:pos x="7" y="14"/>
                  </a:cxn>
                  <a:cxn ang="0">
                    <a:pos x="6" y="16"/>
                  </a:cxn>
                  <a:cxn ang="0">
                    <a:pos x="3" y="17"/>
                  </a:cxn>
                  <a:cxn ang="0">
                    <a:pos x="1" y="16"/>
                  </a:cxn>
                  <a:cxn ang="0">
                    <a:pos x="3" y="13"/>
                  </a:cxn>
                  <a:cxn ang="0">
                    <a:pos x="1" y="11"/>
                  </a:cxn>
                  <a:cxn ang="0">
                    <a:pos x="0" y="10"/>
                  </a:cxn>
                  <a:cxn ang="0">
                    <a:pos x="4" y="5"/>
                  </a:cxn>
                  <a:cxn ang="0">
                    <a:pos x="6" y="5"/>
                  </a:cxn>
                  <a:cxn ang="0">
                    <a:pos x="7" y="4"/>
                  </a:cxn>
                  <a:cxn ang="0">
                    <a:pos x="10" y="4"/>
                  </a:cxn>
                  <a:cxn ang="0">
                    <a:pos x="10" y="0"/>
                  </a:cxn>
                  <a:cxn ang="0">
                    <a:pos x="16" y="4"/>
                  </a:cxn>
                  <a:cxn ang="0">
                    <a:pos x="16" y="7"/>
                  </a:cxn>
                  <a:cxn ang="0">
                    <a:pos x="14" y="11"/>
                  </a:cxn>
                  <a:cxn ang="0">
                    <a:pos x="13" y="10"/>
                  </a:cxn>
                  <a:cxn ang="0">
                    <a:pos x="12" y="8"/>
                  </a:cxn>
                  <a:cxn ang="0">
                    <a:pos x="10" y="4"/>
                  </a:cxn>
                </a:cxnLst>
                <a:rect l="0" t="0" r="r" b="b"/>
                <a:pathLst>
                  <a:path w="16" h="17">
                    <a:moveTo>
                      <a:pt x="10" y="4"/>
                    </a:moveTo>
                    <a:lnTo>
                      <a:pt x="10" y="4"/>
                    </a:lnTo>
                    <a:lnTo>
                      <a:pt x="9" y="8"/>
                    </a:lnTo>
                    <a:lnTo>
                      <a:pt x="9" y="10"/>
                    </a:lnTo>
                    <a:lnTo>
                      <a:pt x="7" y="13"/>
                    </a:lnTo>
                    <a:lnTo>
                      <a:pt x="6" y="13"/>
                    </a:lnTo>
                    <a:lnTo>
                      <a:pt x="7" y="14"/>
                    </a:lnTo>
                    <a:lnTo>
                      <a:pt x="6" y="16"/>
                    </a:lnTo>
                    <a:lnTo>
                      <a:pt x="3" y="17"/>
                    </a:lnTo>
                    <a:lnTo>
                      <a:pt x="1" y="16"/>
                    </a:lnTo>
                    <a:lnTo>
                      <a:pt x="3" y="13"/>
                    </a:lnTo>
                    <a:lnTo>
                      <a:pt x="1" y="11"/>
                    </a:lnTo>
                    <a:lnTo>
                      <a:pt x="0" y="10"/>
                    </a:lnTo>
                    <a:lnTo>
                      <a:pt x="4" y="5"/>
                    </a:lnTo>
                    <a:lnTo>
                      <a:pt x="6" y="5"/>
                    </a:lnTo>
                    <a:lnTo>
                      <a:pt x="7" y="4"/>
                    </a:lnTo>
                    <a:lnTo>
                      <a:pt x="10" y="4"/>
                    </a:lnTo>
                    <a:lnTo>
                      <a:pt x="10" y="0"/>
                    </a:lnTo>
                    <a:lnTo>
                      <a:pt x="16" y="4"/>
                    </a:lnTo>
                    <a:lnTo>
                      <a:pt x="16" y="7"/>
                    </a:lnTo>
                    <a:lnTo>
                      <a:pt x="14" y="11"/>
                    </a:lnTo>
                    <a:lnTo>
                      <a:pt x="13" y="10"/>
                    </a:lnTo>
                    <a:lnTo>
                      <a:pt x="12" y="8"/>
                    </a:lnTo>
                    <a:lnTo>
                      <a:pt x="10" y="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82" name="Freeform 1139"/>
              <p:cNvSpPr>
                <a:spLocks/>
              </p:cNvSpPr>
              <p:nvPr/>
            </p:nvSpPr>
            <p:spPr bwMode="auto">
              <a:xfrm>
                <a:off x="4851425" y="1516120"/>
                <a:ext cx="14045" cy="17240"/>
              </a:xfrm>
              <a:custGeom>
                <a:avLst/>
                <a:gdLst/>
                <a:ahLst/>
                <a:cxnLst>
                  <a:cxn ang="0">
                    <a:pos x="10" y="4"/>
                  </a:cxn>
                  <a:cxn ang="0">
                    <a:pos x="10" y="4"/>
                  </a:cxn>
                  <a:cxn ang="0">
                    <a:pos x="9" y="8"/>
                  </a:cxn>
                  <a:cxn ang="0">
                    <a:pos x="9" y="10"/>
                  </a:cxn>
                  <a:cxn ang="0">
                    <a:pos x="7" y="13"/>
                  </a:cxn>
                  <a:cxn ang="0">
                    <a:pos x="6" y="13"/>
                  </a:cxn>
                  <a:cxn ang="0">
                    <a:pos x="7" y="14"/>
                  </a:cxn>
                  <a:cxn ang="0">
                    <a:pos x="6" y="16"/>
                  </a:cxn>
                  <a:cxn ang="0">
                    <a:pos x="3" y="17"/>
                  </a:cxn>
                  <a:cxn ang="0">
                    <a:pos x="1" y="16"/>
                  </a:cxn>
                  <a:cxn ang="0">
                    <a:pos x="3" y="13"/>
                  </a:cxn>
                  <a:cxn ang="0">
                    <a:pos x="1" y="11"/>
                  </a:cxn>
                  <a:cxn ang="0">
                    <a:pos x="0" y="10"/>
                  </a:cxn>
                  <a:cxn ang="0">
                    <a:pos x="4" y="5"/>
                  </a:cxn>
                  <a:cxn ang="0">
                    <a:pos x="6" y="5"/>
                  </a:cxn>
                  <a:cxn ang="0">
                    <a:pos x="7" y="4"/>
                  </a:cxn>
                  <a:cxn ang="0">
                    <a:pos x="10" y="4"/>
                  </a:cxn>
                  <a:cxn ang="0">
                    <a:pos x="10" y="0"/>
                  </a:cxn>
                  <a:cxn ang="0">
                    <a:pos x="16" y="4"/>
                  </a:cxn>
                  <a:cxn ang="0">
                    <a:pos x="16" y="7"/>
                  </a:cxn>
                  <a:cxn ang="0">
                    <a:pos x="14" y="11"/>
                  </a:cxn>
                  <a:cxn ang="0">
                    <a:pos x="13" y="10"/>
                  </a:cxn>
                  <a:cxn ang="0">
                    <a:pos x="12" y="8"/>
                  </a:cxn>
                  <a:cxn ang="0">
                    <a:pos x="10" y="4"/>
                  </a:cxn>
                </a:cxnLst>
                <a:rect l="0" t="0" r="r" b="b"/>
                <a:pathLst>
                  <a:path w="16" h="17">
                    <a:moveTo>
                      <a:pt x="10" y="4"/>
                    </a:moveTo>
                    <a:lnTo>
                      <a:pt x="10" y="4"/>
                    </a:lnTo>
                    <a:lnTo>
                      <a:pt x="9" y="8"/>
                    </a:lnTo>
                    <a:lnTo>
                      <a:pt x="9" y="10"/>
                    </a:lnTo>
                    <a:lnTo>
                      <a:pt x="7" y="13"/>
                    </a:lnTo>
                    <a:lnTo>
                      <a:pt x="6" y="13"/>
                    </a:lnTo>
                    <a:lnTo>
                      <a:pt x="7" y="14"/>
                    </a:lnTo>
                    <a:lnTo>
                      <a:pt x="6" y="16"/>
                    </a:lnTo>
                    <a:lnTo>
                      <a:pt x="3" y="17"/>
                    </a:lnTo>
                    <a:lnTo>
                      <a:pt x="1" y="16"/>
                    </a:lnTo>
                    <a:lnTo>
                      <a:pt x="3" y="13"/>
                    </a:lnTo>
                    <a:lnTo>
                      <a:pt x="1" y="11"/>
                    </a:lnTo>
                    <a:lnTo>
                      <a:pt x="0" y="10"/>
                    </a:lnTo>
                    <a:lnTo>
                      <a:pt x="4" y="5"/>
                    </a:lnTo>
                    <a:lnTo>
                      <a:pt x="6" y="5"/>
                    </a:lnTo>
                    <a:lnTo>
                      <a:pt x="7" y="4"/>
                    </a:lnTo>
                    <a:lnTo>
                      <a:pt x="10" y="4"/>
                    </a:lnTo>
                    <a:lnTo>
                      <a:pt x="10" y="0"/>
                    </a:lnTo>
                    <a:lnTo>
                      <a:pt x="16" y="4"/>
                    </a:lnTo>
                    <a:lnTo>
                      <a:pt x="16" y="7"/>
                    </a:lnTo>
                    <a:lnTo>
                      <a:pt x="14" y="11"/>
                    </a:lnTo>
                    <a:lnTo>
                      <a:pt x="13" y="10"/>
                    </a:lnTo>
                    <a:lnTo>
                      <a:pt x="12" y="8"/>
                    </a:lnTo>
                    <a:lnTo>
                      <a:pt x="10" y="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83" name="Freeform 1140"/>
              <p:cNvSpPr>
                <a:spLocks/>
              </p:cNvSpPr>
              <p:nvPr/>
            </p:nvSpPr>
            <p:spPr bwMode="auto">
              <a:xfrm>
                <a:off x="4777690" y="1454258"/>
                <a:ext cx="70224" cy="103442"/>
              </a:xfrm>
              <a:custGeom>
                <a:avLst/>
                <a:gdLst/>
                <a:ahLst/>
                <a:cxnLst>
                  <a:cxn ang="0">
                    <a:pos x="73" y="48"/>
                  </a:cxn>
                  <a:cxn ang="0">
                    <a:pos x="76" y="56"/>
                  </a:cxn>
                  <a:cxn ang="0">
                    <a:pos x="70" y="64"/>
                  </a:cxn>
                  <a:cxn ang="0">
                    <a:pos x="70" y="69"/>
                  </a:cxn>
                  <a:cxn ang="0">
                    <a:pos x="65" y="70"/>
                  </a:cxn>
                  <a:cxn ang="0">
                    <a:pos x="67" y="76"/>
                  </a:cxn>
                  <a:cxn ang="0">
                    <a:pos x="64" y="80"/>
                  </a:cxn>
                  <a:cxn ang="0">
                    <a:pos x="68" y="90"/>
                  </a:cxn>
                  <a:cxn ang="0">
                    <a:pos x="64" y="89"/>
                  </a:cxn>
                  <a:cxn ang="0">
                    <a:pos x="65" y="96"/>
                  </a:cxn>
                  <a:cxn ang="0">
                    <a:pos x="54" y="98"/>
                  </a:cxn>
                  <a:cxn ang="0">
                    <a:pos x="52" y="98"/>
                  </a:cxn>
                  <a:cxn ang="0">
                    <a:pos x="47" y="96"/>
                  </a:cxn>
                  <a:cxn ang="0">
                    <a:pos x="36" y="99"/>
                  </a:cxn>
                  <a:cxn ang="0">
                    <a:pos x="31" y="86"/>
                  </a:cxn>
                  <a:cxn ang="0">
                    <a:pos x="33" y="83"/>
                  </a:cxn>
                  <a:cxn ang="0">
                    <a:pos x="32" y="76"/>
                  </a:cxn>
                  <a:cxn ang="0">
                    <a:pos x="38" y="72"/>
                  </a:cxn>
                  <a:cxn ang="0">
                    <a:pos x="36" y="69"/>
                  </a:cxn>
                  <a:cxn ang="0">
                    <a:pos x="44" y="63"/>
                  </a:cxn>
                  <a:cxn ang="0">
                    <a:pos x="52" y="57"/>
                  </a:cxn>
                  <a:cxn ang="0">
                    <a:pos x="45" y="57"/>
                  </a:cxn>
                  <a:cxn ang="0">
                    <a:pos x="35" y="60"/>
                  </a:cxn>
                  <a:cxn ang="0">
                    <a:pos x="18" y="64"/>
                  </a:cxn>
                  <a:cxn ang="0">
                    <a:pos x="4" y="69"/>
                  </a:cxn>
                  <a:cxn ang="0">
                    <a:pos x="2" y="60"/>
                  </a:cxn>
                  <a:cxn ang="0">
                    <a:pos x="9" y="57"/>
                  </a:cxn>
                  <a:cxn ang="0">
                    <a:pos x="7" y="50"/>
                  </a:cxn>
                  <a:cxn ang="0">
                    <a:pos x="18" y="54"/>
                  </a:cxn>
                  <a:cxn ang="0">
                    <a:pos x="18" y="44"/>
                  </a:cxn>
                  <a:cxn ang="0">
                    <a:pos x="13" y="40"/>
                  </a:cxn>
                  <a:cxn ang="0">
                    <a:pos x="9" y="29"/>
                  </a:cxn>
                  <a:cxn ang="0">
                    <a:pos x="12" y="15"/>
                  </a:cxn>
                  <a:cxn ang="0">
                    <a:pos x="20" y="16"/>
                  </a:cxn>
                  <a:cxn ang="0">
                    <a:pos x="23" y="25"/>
                  </a:cxn>
                  <a:cxn ang="0">
                    <a:pos x="31" y="34"/>
                  </a:cxn>
                  <a:cxn ang="0">
                    <a:pos x="41" y="44"/>
                  </a:cxn>
                  <a:cxn ang="0">
                    <a:pos x="36" y="31"/>
                  </a:cxn>
                  <a:cxn ang="0">
                    <a:pos x="31" y="27"/>
                  </a:cxn>
                  <a:cxn ang="0">
                    <a:pos x="38" y="22"/>
                  </a:cxn>
                  <a:cxn ang="0">
                    <a:pos x="28" y="16"/>
                  </a:cxn>
                  <a:cxn ang="0">
                    <a:pos x="29" y="6"/>
                  </a:cxn>
                  <a:cxn ang="0">
                    <a:pos x="47" y="8"/>
                  </a:cxn>
                  <a:cxn ang="0">
                    <a:pos x="52" y="12"/>
                  </a:cxn>
                  <a:cxn ang="0">
                    <a:pos x="55" y="5"/>
                  </a:cxn>
                  <a:cxn ang="0">
                    <a:pos x="61" y="0"/>
                  </a:cxn>
                  <a:cxn ang="0">
                    <a:pos x="64" y="8"/>
                  </a:cxn>
                  <a:cxn ang="0">
                    <a:pos x="73" y="28"/>
                  </a:cxn>
                </a:cxnLst>
                <a:rect l="0" t="0" r="r" b="b"/>
                <a:pathLst>
                  <a:path w="76" h="99">
                    <a:moveTo>
                      <a:pt x="73" y="41"/>
                    </a:moveTo>
                    <a:lnTo>
                      <a:pt x="73" y="43"/>
                    </a:lnTo>
                    <a:lnTo>
                      <a:pt x="73" y="43"/>
                    </a:lnTo>
                    <a:lnTo>
                      <a:pt x="73" y="48"/>
                    </a:lnTo>
                    <a:lnTo>
                      <a:pt x="70" y="51"/>
                    </a:lnTo>
                    <a:lnTo>
                      <a:pt x="68" y="54"/>
                    </a:lnTo>
                    <a:lnTo>
                      <a:pt x="74" y="56"/>
                    </a:lnTo>
                    <a:lnTo>
                      <a:pt x="76" y="56"/>
                    </a:lnTo>
                    <a:lnTo>
                      <a:pt x="76" y="75"/>
                    </a:lnTo>
                    <a:lnTo>
                      <a:pt x="73" y="64"/>
                    </a:lnTo>
                    <a:lnTo>
                      <a:pt x="71" y="63"/>
                    </a:lnTo>
                    <a:lnTo>
                      <a:pt x="70" y="64"/>
                    </a:lnTo>
                    <a:lnTo>
                      <a:pt x="68" y="63"/>
                    </a:lnTo>
                    <a:lnTo>
                      <a:pt x="67" y="64"/>
                    </a:lnTo>
                    <a:lnTo>
                      <a:pt x="70" y="66"/>
                    </a:lnTo>
                    <a:lnTo>
                      <a:pt x="70" y="69"/>
                    </a:lnTo>
                    <a:lnTo>
                      <a:pt x="70" y="70"/>
                    </a:lnTo>
                    <a:lnTo>
                      <a:pt x="68" y="67"/>
                    </a:lnTo>
                    <a:lnTo>
                      <a:pt x="67" y="69"/>
                    </a:lnTo>
                    <a:lnTo>
                      <a:pt x="65" y="70"/>
                    </a:lnTo>
                    <a:lnTo>
                      <a:pt x="68" y="73"/>
                    </a:lnTo>
                    <a:lnTo>
                      <a:pt x="67" y="73"/>
                    </a:lnTo>
                    <a:lnTo>
                      <a:pt x="67" y="75"/>
                    </a:lnTo>
                    <a:lnTo>
                      <a:pt x="67" y="76"/>
                    </a:lnTo>
                    <a:lnTo>
                      <a:pt x="67" y="76"/>
                    </a:lnTo>
                    <a:lnTo>
                      <a:pt x="65" y="75"/>
                    </a:lnTo>
                    <a:lnTo>
                      <a:pt x="64" y="79"/>
                    </a:lnTo>
                    <a:lnTo>
                      <a:pt x="64" y="80"/>
                    </a:lnTo>
                    <a:lnTo>
                      <a:pt x="65" y="80"/>
                    </a:lnTo>
                    <a:lnTo>
                      <a:pt x="71" y="90"/>
                    </a:lnTo>
                    <a:lnTo>
                      <a:pt x="70" y="90"/>
                    </a:lnTo>
                    <a:lnTo>
                      <a:pt x="68" y="90"/>
                    </a:lnTo>
                    <a:lnTo>
                      <a:pt x="67" y="88"/>
                    </a:lnTo>
                    <a:lnTo>
                      <a:pt x="65" y="86"/>
                    </a:lnTo>
                    <a:lnTo>
                      <a:pt x="64" y="86"/>
                    </a:lnTo>
                    <a:lnTo>
                      <a:pt x="64" y="89"/>
                    </a:lnTo>
                    <a:lnTo>
                      <a:pt x="64" y="90"/>
                    </a:lnTo>
                    <a:lnTo>
                      <a:pt x="64" y="92"/>
                    </a:lnTo>
                    <a:lnTo>
                      <a:pt x="65" y="93"/>
                    </a:lnTo>
                    <a:lnTo>
                      <a:pt x="65" y="96"/>
                    </a:lnTo>
                    <a:lnTo>
                      <a:pt x="60" y="96"/>
                    </a:lnTo>
                    <a:lnTo>
                      <a:pt x="58" y="95"/>
                    </a:lnTo>
                    <a:lnTo>
                      <a:pt x="57" y="98"/>
                    </a:lnTo>
                    <a:lnTo>
                      <a:pt x="54" y="98"/>
                    </a:lnTo>
                    <a:lnTo>
                      <a:pt x="54" y="96"/>
                    </a:lnTo>
                    <a:lnTo>
                      <a:pt x="54" y="93"/>
                    </a:lnTo>
                    <a:lnTo>
                      <a:pt x="52" y="95"/>
                    </a:lnTo>
                    <a:lnTo>
                      <a:pt x="52" y="98"/>
                    </a:lnTo>
                    <a:lnTo>
                      <a:pt x="49" y="96"/>
                    </a:lnTo>
                    <a:lnTo>
                      <a:pt x="49" y="93"/>
                    </a:lnTo>
                    <a:lnTo>
                      <a:pt x="48" y="96"/>
                    </a:lnTo>
                    <a:lnTo>
                      <a:pt x="47" y="96"/>
                    </a:lnTo>
                    <a:lnTo>
                      <a:pt x="45" y="95"/>
                    </a:lnTo>
                    <a:lnTo>
                      <a:pt x="47" y="92"/>
                    </a:lnTo>
                    <a:lnTo>
                      <a:pt x="44" y="99"/>
                    </a:lnTo>
                    <a:lnTo>
                      <a:pt x="36" y="99"/>
                    </a:lnTo>
                    <a:lnTo>
                      <a:pt x="33" y="98"/>
                    </a:lnTo>
                    <a:lnTo>
                      <a:pt x="32" y="95"/>
                    </a:lnTo>
                    <a:lnTo>
                      <a:pt x="31" y="89"/>
                    </a:lnTo>
                    <a:lnTo>
                      <a:pt x="31" y="86"/>
                    </a:lnTo>
                    <a:lnTo>
                      <a:pt x="31" y="85"/>
                    </a:lnTo>
                    <a:lnTo>
                      <a:pt x="36" y="85"/>
                    </a:lnTo>
                    <a:lnTo>
                      <a:pt x="38" y="85"/>
                    </a:lnTo>
                    <a:lnTo>
                      <a:pt x="33" y="83"/>
                    </a:lnTo>
                    <a:lnTo>
                      <a:pt x="35" y="79"/>
                    </a:lnTo>
                    <a:lnTo>
                      <a:pt x="31" y="80"/>
                    </a:lnTo>
                    <a:lnTo>
                      <a:pt x="29" y="77"/>
                    </a:lnTo>
                    <a:lnTo>
                      <a:pt x="32" y="76"/>
                    </a:lnTo>
                    <a:lnTo>
                      <a:pt x="29" y="73"/>
                    </a:lnTo>
                    <a:lnTo>
                      <a:pt x="33" y="72"/>
                    </a:lnTo>
                    <a:lnTo>
                      <a:pt x="36" y="73"/>
                    </a:lnTo>
                    <a:lnTo>
                      <a:pt x="38" y="72"/>
                    </a:lnTo>
                    <a:lnTo>
                      <a:pt x="36" y="70"/>
                    </a:lnTo>
                    <a:lnTo>
                      <a:pt x="42" y="70"/>
                    </a:lnTo>
                    <a:lnTo>
                      <a:pt x="42" y="69"/>
                    </a:lnTo>
                    <a:lnTo>
                      <a:pt x="36" y="69"/>
                    </a:lnTo>
                    <a:lnTo>
                      <a:pt x="39" y="67"/>
                    </a:lnTo>
                    <a:lnTo>
                      <a:pt x="39" y="66"/>
                    </a:lnTo>
                    <a:lnTo>
                      <a:pt x="41" y="64"/>
                    </a:lnTo>
                    <a:lnTo>
                      <a:pt x="44" y="63"/>
                    </a:lnTo>
                    <a:lnTo>
                      <a:pt x="44" y="61"/>
                    </a:lnTo>
                    <a:lnTo>
                      <a:pt x="42" y="60"/>
                    </a:lnTo>
                    <a:lnTo>
                      <a:pt x="42" y="59"/>
                    </a:lnTo>
                    <a:lnTo>
                      <a:pt x="52" y="57"/>
                    </a:lnTo>
                    <a:lnTo>
                      <a:pt x="54" y="56"/>
                    </a:lnTo>
                    <a:lnTo>
                      <a:pt x="54" y="54"/>
                    </a:lnTo>
                    <a:lnTo>
                      <a:pt x="52" y="56"/>
                    </a:lnTo>
                    <a:lnTo>
                      <a:pt x="45" y="57"/>
                    </a:lnTo>
                    <a:lnTo>
                      <a:pt x="44" y="56"/>
                    </a:lnTo>
                    <a:lnTo>
                      <a:pt x="42" y="57"/>
                    </a:lnTo>
                    <a:lnTo>
                      <a:pt x="39" y="57"/>
                    </a:lnTo>
                    <a:lnTo>
                      <a:pt x="35" y="60"/>
                    </a:lnTo>
                    <a:lnTo>
                      <a:pt x="33" y="59"/>
                    </a:lnTo>
                    <a:lnTo>
                      <a:pt x="23" y="63"/>
                    </a:lnTo>
                    <a:lnTo>
                      <a:pt x="19" y="63"/>
                    </a:lnTo>
                    <a:lnTo>
                      <a:pt x="18" y="64"/>
                    </a:lnTo>
                    <a:lnTo>
                      <a:pt x="15" y="63"/>
                    </a:lnTo>
                    <a:lnTo>
                      <a:pt x="13" y="66"/>
                    </a:lnTo>
                    <a:lnTo>
                      <a:pt x="6" y="66"/>
                    </a:lnTo>
                    <a:lnTo>
                      <a:pt x="4" y="69"/>
                    </a:lnTo>
                    <a:lnTo>
                      <a:pt x="0" y="67"/>
                    </a:lnTo>
                    <a:lnTo>
                      <a:pt x="0" y="63"/>
                    </a:lnTo>
                    <a:lnTo>
                      <a:pt x="2" y="63"/>
                    </a:lnTo>
                    <a:lnTo>
                      <a:pt x="2" y="60"/>
                    </a:lnTo>
                    <a:lnTo>
                      <a:pt x="2" y="59"/>
                    </a:lnTo>
                    <a:lnTo>
                      <a:pt x="4" y="57"/>
                    </a:lnTo>
                    <a:lnTo>
                      <a:pt x="10" y="60"/>
                    </a:lnTo>
                    <a:lnTo>
                      <a:pt x="9" y="57"/>
                    </a:lnTo>
                    <a:lnTo>
                      <a:pt x="7" y="56"/>
                    </a:lnTo>
                    <a:lnTo>
                      <a:pt x="9" y="54"/>
                    </a:lnTo>
                    <a:lnTo>
                      <a:pt x="6" y="54"/>
                    </a:lnTo>
                    <a:lnTo>
                      <a:pt x="7" y="50"/>
                    </a:lnTo>
                    <a:lnTo>
                      <a:pt x="10" y="48"/>
                    </a:lnTo>
                    <a:lnTo>
                      <a:pt x="12" y="48"/>
                    </a:lnTo>
                    <a:lnTo>
                      <a:pt x="18" y="51"/>
                    </a:lnTo>
                    <a:lnTo>
                      <a:pt x="18" y="54"/>
                    </a:lnTo>
                    <a:lnTo>
                      <a:pt x="22" y="53"/>
                    </a:lnTo>
                    <a:lnTo>
                      <a:pt x="20" y="48"/>
                    </a:lnTo>
                    <a:lnTo>
                      <a:pt x="16" y="45"/>
                    </a:lnTo>
                    <a:lnTo>
                      <a:pt x="18" y="44"/>
                    </a:lnTo>
                    <a:lnTo>
                      <a:pt x="19" y="41"/>
                    </a:lnTo>
                    <a:lnTo>
                      <a:pt x="19" y="40"/>
                    </a:lnTo>
                    <a:lnTo>
                      <a:pt x="13" y="43"/>
                    </a:lnTo>
                    <a:lnTo>
                      <a:pt x="13" y="40"/>
                    </a:lnTo>
                    <a:lnTo>
                      <a:pt x="12" y="35"/>
                    </a:lnTo>
                    <a:lnTo>
                      <a:pt x="12" y="32"/>
                    </a:lnTo>
                    <a:lnTo>
                      <a:pt x="12" y="29"/>
                    </a:lnTo>
                    <a:lnTo>
                      <a:pt x="9" y="29"/>
                    </a:lnTo>
                    <a:lnTo>
                      <a:pt x="9" y="22"/>
                    </a:lnTo>
                    <a:lnTo>
                      <a:pt x="12" y="18"/>
                    </a:lnTo>
                    <a:lnTo>
                      <a:pt x="10" y="18"/>
                    </a:lnTo>
                    <a:lnTo>
                      <a:pt x="12" y="15"/>
                    </a:lnTo>
                    <a:lnTo>
                      <a:pt x="13" y="13"/>
                    </a:lnTo>
                    <a:lnTo>
                      <a:pt x="19" y="15"/>
                    </a:lnTo>
                    <a:lnTo>
                      <a:pt x="20" y="15"/>
                    </a:lnTo>
                    <a:lnTo>
                      <a:pt x="20" y="16"/>
                    </a:lnTo>
                    <a:lnTo>
                      <a:pt x="20" y="19"/>
                    </a:lnTo>
                    <a:lnTo>
                      <a:pt x="22" y="19"/>
                    </a:lnTo>
                    <a:lnTo>
                      <a:pt x="25" y="22"/>
                    </a:lnTo>
                    <a:lnTo>
                      <a:pt x="23" y="25"/>
                    </a:lnTo>
                    <a:lnTo>
                      <a:pt x="28" y="32"/>
                    </a:lnTo>
                    <a:lnTo>
                      <a:pt x="28" y="34"/>
                    </a:lnTo>
                    <a:lnTo>
                      <a:pt x="29" y="35"/>
                    </a:lnTo>
                    <a:lnTo>
                      <a:pt x="31" y="34"/>
                    </a:lnTo>
                    <a:lnTo>
                      <a:pt x="32" y="34"/>
                    </a:lnTo>
                    <a:lnTo>
                      <a:pt x="31" y="37"/>
                    </a:lnTo>
                    <a:lnTo>
                      <a:pt x="38" y="43"/>
                    </a:lnTo>
                    <a:lnTo>
                      <a:pt x="41" y="44"/>
                    </a:lnTo>
                    <a:lnTo>
                      <a:pt x="44" y="41"/>
                    </a:lnTo>
                    <a:lnTo>
                      <a:pt x="44" y="41"/>
                    </a:lnTo>
                    <a:lnTo>
                      <a:pt x="41" y="41"/>
                    </a:lnTo>
                    <a:lnTo>
                      <a:pt x="36" y="31"/>
                    </a:lnTo>
                    <a:lnTo>
                      <a:pt x="41" y="29"/>
                    </a:lnTo>
                    <a:lnTo>
                      <a:pt x="39" y="28"/>
                    </a:lnTo>
                    <a:lnTo>
                      <a:pt x="33" y="28"/>
                    </a:lnTo>
                    <a:lnTo>
                      <a:pt x="31" y="27"/>
                    </a:lnTo>
                    <a:lnTo>
                      <a:pt x="32" y="25"/>
                    </a:lnTo>
                    <a:lnTo>
                      <a:pt x="35" y="25"/>
                    </a:lnTo>
                    <a:lnTo>
                      <a:pt x="36" y="22"/>
                    </a:lnTo>
                    <a:lnTo>
                      <a:pt x="38" y="22"/>
                    </a:lnTo>
                    <a:lnTo>
                      <a:pt x="36" y="22"/>
                    </a:lnTo>
                    <a:lnTo>
                      <a:pt x="33" y="19"/>
                    </a:lnTo>
                    <a:lnTo>
                      <a:pt x="29" y="19"/>
                    </a:lnTo>
                    <a:lnTo>
                      <a:pt x="28" y="16"/>
                    </a:lnTo>
                    <a:lnTo>
                      <a:pt x="25" y="12"/>
                    </a:lnTo>
                    <a:lnTo>
                      <a:pt x="25" y="11"/>
                    </a:lnTo>
                    <a:lnTo>
                      <a:pt x="28" y="9"/>
                    </a:lnTo>
                    <a:lnTo>
                      <a:pt x="29" y="6"/>
                    </a:lnTo>
                    <a:lnTo>
                      <a:pt x="33" y="2"/>
                    </a:lnTo>
                    <a:lnTo>
                      <a:pt x="39" y="3"/>
                    </a:lnTo>
                    <a:lnTo>
                      <a:pt x="44" y="2"/>
                    </a:lnTo>
                    <a:lnTo>
                      <a:pt x="47" y="8"/>
                    </a:lnTo>
                    <a:lnTo>
                      <a:pt x="52" y="9"/>
                    </a:lnTo>
                    <a:lnTo>
                      <a:pt x="52" y="12"/>
                    </a:lnTo>
                    <a:lnTo>
                      <a:pt x="52" y="13"/>
                    </a:lnTo>
                    <a:lnTo>
                      <a:pt x="52" y="12"/>
                    </a:lnTo>
                    <a:lnTo>
                      <a:pt x="55" y="13"/>
                    </a:lnTo>
                    <a:lnTo>
                      <a:pt x="57" y="11"/>
                    </a:lnTo>
                    <a:lnTo>
                      <a:pt x="55" y="6"/>
                    </a:lnTo>
                    <a:lnTo>
                      <a:pt x="55" y="5"/>
                    </a:lnTo>
                    <a:lnTo>
                      <a:pt x="60" y="5"/>
                    </a:lnTo>
                    <a:lnTo>
                      <a:pt x="61" y="2"/>
                    </a:lnTo>
                    <a:lnTo>
                      <a:pt x="57" y="0"/>
                    </a:lnTo>
                    <a:lnTo>
                      <a:pt x="61" y="0"/>
                    </a:lnTo>
                    <a:lnTo>
                      <a:pt x="63" y="3"/>
                    </a:lnTo>
                    <a:lnTo>
                      <a:pt x="65" y="6"/>
                    </a:lnTo>
                    <a:lnTo>
                      <a:pt x="63" y="6"/>
                    </a:lnTo>
                    <a:lnTo>
                      <a:pt x="64" y="8"/>
                    </a:lnTo>
                    <a:lnTo>
                      <a:pt x="68" y="9"/>
                    </a:lnTo>
                    <a:lnTo>
                      <a:pt x="71" y="12"/>
                    </a:lnTo>
                    <a:lnTo>
                      <a:pt x="71" y="24"/>
                    </a:lnTo>
                    <a:lnTo>
                      <a:pt x="73" y="28"/>
                    </a:lnTo>
                    <a:lnTo>
                      <a:pt x="73" y="32"/>
                    </a:lnTo>
                    <a:lnTo>
                      <a:pt x="73" y="38"/>
                    </a:lnTo>
                    <a:lnTo>
                      <a:pt x="73" y="4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84" name="Freeform 1142"/>
              <p:cNvSpPr>
                <a:spLocks/>
              </p:cNvSpPr>
              <p:nvPr/>
            </p:nvSpPr>
            <p:spPr bwMode="auto">
              <a:xfrm>
                <a:off x="4780324" y="1369071"/>
                <a:ext cx="21067" cy="14197"/>
              </a:xfrm>
              <a:custGeom>
                <a:avLst/>
                <a:gdLst/>
                <a:ahLst/>
                <a:cxnLst>
                  <a:cxn ang="0">
                    <a:pos x="9" y="1"/>
                  </a:cxn>
                  <a:cxn ang="0">
                    <a:pos x="12" y="0"/>
                  </a:cxn>
                  <a:cxn ang="0">
                    <a:pos x="22" y="8"/>
                  </a:cxn>
                  <a:cxn ang="0">
                    <a:pos x="23" y="11"/>
                  </a:cxn>
                  <a:cxn ang="0">
                    <a:pos x="19" y="10"/>
                  </a:cxn>
                  <a:cxn ang="0">
                    <a:pos x="15" y="11"/>
                  </a:cxn>
                  <a:cxn ang="0">
                    <a:pos x="13" y="13"/>
                  </a:cxn>
                  <a:cxn ang="0">
                    <a:pos x="7" y="14"/>
                  </a:cxn>
                  <a:cxn ang="0">
                    <a:pos x="0" y="5"/>
                  </a:cxn>
                  <a:cxn ang="0">
                    <a:pos x="0" y="2"/>
                  </a:cxn>
                  <a:cxn ang="0">
                    <a:pos x="4" y="1"/>
                  </a:cxn>
                  <a:cxn ang="0">
                    <a:pos x="9" y="1"/>
                  </a:cxn>
                </a:cxnLst>
                <a:rect l="0" t="0" r="r" b="b"/>
                <a:pathLst>
                  <a:path w="23" h="14">
                    <a:moveTo>
                      <a:pt x="9" y="1"/>
                    </a:moveTo>
                    <a:lnTo>
                      <a:pt x="12" y="0"/>
                    </a:lnTo>
                    <a:lnTo>
                      <a:pt x="22" y="8"/>
                    </a:lnTo>
                    <a:lnTo>
                      <a:pt x="23" y="11"/>
                    </a:lnTo>
                    <a:lnTo>
                      <a:pt x="19" y="10"/>
                    </a:lnTo>
                    <a:lnTo>
                      <a:pt x="15" y="11"/>
                    </a:lnTo>
                    <a:lnTo>
                      <a:pt x="13" y="13"/>
                    </a:lnTo>
                    <a:lnTo>
                      <a:pt x="7" y="14"/>
                    </a:lnTo>
                    <a:lnTo>
                      <a:pt x="0" y="5"/>
                    </a:lnTo>
                    <a:lnTo>
                      <a:pt x="0" y="2"/>
                    </a:lnTo>
                    <a:lnTo>
                      <a:pt x="4" y="1"/>
                    </a:lnTo>
                    <a:lnTo>
                      <a:pt x="9"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85" name="Freeform 1143"/>
              <p:cNvSpPr>
                <a:spLocks/>
              </p:cNvSpPr>
              <p:nvPr/>
            </p:nvSpPr>
            <p:spPr bwMode="auto">
              <a:xfrm>
                <a:off x="4780324" y="1369071"/>
                <a:ext cx="21067" cy="14197"/>
              </a:xfrm>
              <a:custGeom>
                <a:avLst/>
                <a:gdLst/>
                <a:ahLst/>
                <a:cxnLst>
                  <a:cxn ang="0">
                    <a:pos x="9" y="1"/>
                  </a:cxn>
                  <a:cxn ang="0">
                    <a:pos x="12" y="0"/>
                  </a:cxn>
                  <a:cxn ang="0">
                    <a:pos x="22" y="8"/>
                  </a:cxn>
                  <a:cxn ang="0">
                    <a:pos x="23" y="11"/>
                  </a:cxn>
                  <a:cxn ang="0">
                    <a:pos x="19" y="10"/>
                  </a:cxn>
                  <a:cxn ang="0">
                    <a:pos x="15" y="11"/>
                  </a:cxn>
                  <a:cxn ang="0">
                    <a:pos x="13" y="13"/>
                  </a:cxn>
                  <a:cxn ang="0">
                    <a:pos x="7" y="14"/>
                  </a:cxn>
                  <a:cxn ang="0">
                    <a:pos x="0" y="5"/>
                  </a:cxn>
                  <a:cxn ang="0">
                    <a:pos x="0" y="2"/>
                  </a:cxn>
                  <a:cxn ang="0">
                    <a:pos x="4" y="1"/>
                  </a:cxn>
                  <a:cxn ang="0">
                    <a:pos x="9" y="1"/>
                  </a:cxn>
                </a:cxnLst>
                <a:rect l="0" t="0" r="r" b="b"/>
                <a:pathLst>
                  <a:path w="23" h="14">
                    <a:moveTo>
                      <a:pt x="9" y="1"/>
                    </a:moveTo>
                    <a:lnTo>
                      <a:pt x="12" y="0"/>
                    </a:lnTo>
                    <a:lnTo>
                      <a:pt x="22" y="8"/>
                    </a:lnTo>
                    <a:lnTo>
                      <a:pt x="23" y="11"/>
                    </a:lnTo>
                    <a:lnTo>
                      <a:pt x="19" y="10"/>
                    </a:lnTo>
                    <a:lnTo>
                      <a:pt x="15" y="11"/>
                    </a:lnTo>
                    <a:lnTo>
                      <a:pt x="13" y="13"/>
                    </a:lnTo>
                    <a:lnTo>
                      <a:pt x="7" y="14"/>
                    </a:lnTo>
                    <a:lnTo>
                      <a:pt x="0" y="5"/>
                    </a:lnTo>
                    <a:lnTo>
                      <a:pt x="0" y="2"/>
                    </a:lnTo>
                    <a:lnTo>
                      <a:pt x="4" y="1"/>
                    </a:lnTo>
                    <a:lnTo>
                      <a:pt x="9"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86" name="Freeform 1144"/>
              <p:cNvSpPr>
                <a:spLocks/>
              </p:cNvSpPr>
              <p:nvPr/>
            </p:nvSpPr>
            <p:spPr bwMode="auto">
              <a:xfrm>
                <a:off x="4736434" y="1382255"/>
                <a:ext cx="21067" cy="45635"/>
              </a:xfrm>
              <a:custGeom>
                <a:avLst/>
                <a:gdLst/>
                <a:ahLst/>
                <a:cxnLst>
                  <a:cxn ang="0">
                    <a:pos x="13" y="13"/>
                  </a:cxn>
                  <a:cxn ang="0">
                    <a:pos x="15" y="17"/>
                  </a:cxn>
                  <a:cxn ang="0">
                    <a:pos x="15" y="20"/>
                  </a:cxn>
                  <a:cxn ang="0">
                    <a:pos x="15" y="21"/>
                  </a:cxn>
                  <a:cxn ang="0">
                    <a:pos x="19" y="23"/>
                  </a:cxn>
                  <a:cxn ang="0">
                    <a:pos x="19" y="24"/>
                  </a:cxn>
                  <a:cxn ang="0">
                    <a:pos x="23" y="29"/>
                  </a:cxn>
                  <a:cxn ang="0">
                    <a:pos x="22" y="32"/>
                  </a:cxn>
                  <a:cxn ang="0">
                    <a:pos x="23" y="35"/>
                  </a:cxn>
                  <a:cxn ang="0">
                    <a:pos x="23" y="37"/>
                  </a:cxn>
                  <a:cxn ang="0">
                    <a:pos x="22" y="40"/>
                  </a:cxn>
                  <a:cxn ang="0">
                    <a:pos x="20" y="40"/>
                  </a:cxn>
                  <a:cxn ang="0">
                    <a:pos x="19" y="43"/>
                  </a:cxn>
                  <a:cxn ang="0">
                    <a:pos x="15" y="39"/>
                  </a:cxn>
                  <a:cxn ang="0">
                    <a:pos x="12" y="39"/>
                  </a:cxn>
                  <a:cxn ang="0">
                    <a:pos x="4" y="19"/>
                  </a:cxn>
                  <a:cxn ang="0">
                    <a:pos x="4" y="17"/>
                  </a:cxn>
                  <a:cxn ang="0">
                    <a:pos x="0" y="3"/>
                  </a:cxn>
                  <a:cxn ang="0">
                    <a:pos x="0" y="0"/>
                  </a:cxn>
                  <a:cxn ang="0">
                    <a:pos x="2" y="1"/>
                  </a:cxn>
                  <a:cxn ang="0">
                    <a:pos x="6" y="3"/>
                  </a:cxn>
                  <a:cxn ang="0">
                    <a:pos x="7" y="4"/>
                  </a:cxn>
                  <a:cxn ang="0">
                    <a:pos x="9" y="7"/>
                  </a:cxn>
                  <a:cxn ang="0">
                    <a:pos x="12" y="10"/>
                  </a:cxn>
                  <a:cxn ang="0">
                    <a:pos x="13" y="13"/>
                  </a:cxn>
                  <a:cxn ang="0">
                    <a:pos x="13" y="13"/>
                  </a:cxn>
                </a:cxnLst>
                <a:rect l="0" t="0" r="r" b="b"/>
                <a:pathLst>
                  <a:path w="23" h="43">
                    <a:moveTo>
                      <a:pt x="13" y="13"/>
                    </a:moveTo>
                    <a:lnTo>
                      <a:pt x="15" y="17"/>
                    </a:lnTo>
                    <a:lnTo>
                      <a:pt x="15" y="20"/>
                    </a:lnTo>
                    <a:lnTo>
                      <a:pt x="15" y="21"/>
                    </a:lnTo>
                    <a:lnTo>
                      <a:pt x="19" y="23"/>
                    </a:lnTo>
                    <a:lnTo>
                      <a:pt x="19" y="24"/>
                    </a:lnTo>
                    <a:lnTo>
                      <a:pt x="23" y="29"/>
                    </a:lnTo>
                    <a:lnTo>
                      <a:pt x="22" y="32"/>
                    </a:lnTo>
                    <a:lnTo>
                      <a:pt x="23" y="35"/>
                    </a:lnTo>
                    <a:lnTo>
                      <a:pt x="23" y="37"/>
                    </a:lnTo>
                    <a:lnTo>
                      <a:pt x="22" y="40"/>
                    </a:lnTo>
                    <a:lnTo>
                      <a:pt x="20" y="40"/>
                    </a:lnTo>
                    <a:lnTo>
                      <a:pt x="19" y="43"/>
                    </a:lnTo>
                    <a:lnTo>
                      <a:pt x="15" y="39"/>
                    </a:lnTo>
                    <a:lnTo>
                      <a:pt x="12" y="39"/>
                    </a:lnTo>
                    <a:lnTo>
                      <a:pt x="4" y="19"/>
                    </a:lnTo>
                    <a:lnTo>
                      <a:pt x="4" y="17"/>
                    </a:lnTo>
                    <a:lnTo>
                      <a:pt x="0" y="3"/>
                    </a:lnTo>
                    <a:lnTo>
                      <a:pt x="0" y="0"/>
                    </a:lnTo>
                    <a:lnTo>
                      <a:pt x="2" y="1"/>
                    </a:lnTo>
                    <a:lnTo>
                      <a:pt x="6" y="3"/>
                    </a:lnTo>
                    <a:lnTo>
                      <a:pt x="7" y="4"/>
                    </a:lnTo>
                    <a:lnTo>
                      <a:pt x="9" y="7"/>
                    </a:lnTo>
                    <a:lnTo>
                      <a:pt x="12" y="10"/>
                    </a:lnTo>
                    <a:lnTo>
                      <a:pt x="13" y="13"/>
                    </a:lnTo>
                    <a:lnTo>
                      <a:pt x="13" y="1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87" name="Freeform 1145"/>
              <p:cNvSpPr>
                <a:spLocks/>
              </p:cNvSpPr>
              <p:nvPr/>
            </p:nvSpPr>
            <p:spPr bwMode="auto">
              <a:xfrm>
                <a:off x="4736434" y="1382255"/>
                <a:ext cx="21067" cy="45635"/>
              </a:xfrm>
              <a:custGeom>
                <a:avLst/>
                <a:gdLst/>
                <a:ahLst/>
                <a:cxnLst>
                  <a:cxn ang="0">
                    <a:pos x="13" y="13"/>
                  </a:cxn>
                  <a:cxn ang="0">
                    <a:pos x="15" y="17"/>
                  </a:cxn>
                  <a:cxn ang="0">
                    <a:pos x="15" y="20"/>
                  </a:cxn>
                  <a:cxn ang="0">
                    <a:pos x="15" y="21"/>
                  </a:cxn>
                  <a:cxn ang="0">
                    <a:pos x="19" y="23"/>
                  </a:cxn>
                  <a:cxn ang="0">
                    <a:pos x="19" y="24"/>
                  </a:cxn>
                  <a:cxn ang="0">
                    <a:pos x="23" y="29"/>
                  </a:cxn>
                  <a:cxn ang="0">
                    <a:pos x="22" y="32"/>
                  </a:cxn>
                  <a:cxn ang="0">
                    <a:pos x="23" y="35"/>
                  </a:cxn>
                  <a:cxn ang="0">
                    <a:pos x="23" y="37"/>
                  </a:cxn>
                  <a:cxn ang="0">
                    <a:pos x="22" y="40"/>
                  </a:cxn>
                  <a:cxn ang="0">
                    <a:pos x="20" y="40"/>
                  </a:cxn>
                  <a:cxn ang="0">
                    <a:pos x="19" y="43"/>
                  </a:cxn>
                  <a:cxn ang="0">
                    <a:pos x="15" y="39"/>
                  </a:cxn>
                  <a:cxn ang="0">
                    <a:pos x="12" y="39"/>
                  </a:cxn>
                  <a:cxn ang="0">
                    <a:pos x="4" y="19"/>
                  </a:cxn>
                  <a:cxn ang="0">
                    <a:pos x="4" y="17"/>
                  </a:cxn>
                  <a:cxn ang="0">
                    <a:pos x="0" y="3"/>
                  </a:cxn>
                  <a:cxn ang="0">
                    <a:pos x="0" y="0"/>
                  </a:cxn>
                  <a:cxn ang="0">
                    <a:pos x="2" y="1"/>
                  </a:cxn>
                  <a:cxn ang="0">
                    <a:pos x="6" y="3"/>
                  </a:cxn>
                  <a:cxn ang="0">
                    <a:pos x="7" y="4"/>
                  </a:cxn>
                  <a:cxn ang="0">
                    <a:pos x="9" y="7"/>
                  </a:cxn>
                  <a:cxn ang="0">
                    <a:pos x="12" y="10"/>
                  </a:cxn>
                  <a:cxn ang="0">
                    <a:pos x="13" y="13"/>
                  </a:cxn>
                  <a:cxn ang="0">
                    <a:pos x="13" y="13"/>
                  </a:cxn>
                </a:cxnLst>
                <a:rect l="0" t="0" r="r" b="b"/>
                <a:pathLst>
                  <a:path w="23" h="43">
                    <a:moveTo>
                      <a:pt x="13" y="13"/>
                    </a:moveTo>
                    <a:lnTo>
                      <a:pt x="15" y="17"/>
                    </a:lnTo>
                    <a:lnTo>
                      <a:pt x="15" y="20"/>
                    </a:lnTo>
                    <a:lnTo>
                      <a:pt x="15" y="21"/>
                    </a:lnTo>
                    <a:lnTo>
                      <a:pt x="19" y="23"/>
                    </a:lnTo>
                    <a:lnTo>
                      <a:pt x="19" y="24"/>
                    </a:lnTo>
                    <a:lnTo>
                      <a:pt x="23" y="29"/>
                    </a:lnTo>
                    <a:lnTo>
                      <a:pt x="22" y="32"/>
                    </a:lnTo>
                    <a:lnTo>
                      <a:pt x="23" y="35"/>
                    </a:lnTo>
                    <a:lnTo>
                      <a:pt x="23" y="37"/>
                    </a:lnTo>
                    <a:lnTo>
                      <a:pt x="22" y="40"/>
                    </a:lnTo>
                    <a:lnTo>
                      <a:pt x="20" y="40"/>
                    </a:lnTo>
                    <a:lnTo>
                      <a:pt x="19" y="43"/>
                    </a:lnTo>
                    <a:lnTo>
                      <a:pt x="15" y="39"/>
                    </a:lnTo>
                    <a:lnTo>
                      <a:pt x="12" y="39"/>
                    </a:lnTo>
                    <a:lnTo>
                      <a:pt x="4" y="19"/>
                    </a:lnTo>
                    <a:lnTo>
                      <a:pt x="4" y="17"/>
                    </a:lnTo>
                    <a:lnTo>
                      <a:pt x="0" y="3"/>
                    </a:lnTo>
                    <a:lnTo>
                      <a:pt x="0" y="0"/>
                    </a:lnTo>
                    <a:lnTo>
                      <a:pt x="2" y="1"/>
                    </a:lnTo>
                    <a:lnTo>
                      <a:pt x="6" y="3"/>
                    </a:lnTo>
                    <a:lnTo>
                      <a:pt x="7" y="4"/>
                    </a:lnTo>
                    <a:lnTo>
                      <a:pt x="9" y="7"/>
                    </a:lnTo>
                    <a:lnTo>
                      <a:pt x="12" y="10"/>
                    </a:lnTo>
                    <a:lnTo>
                      <a:pt x="13" y="13"/>
                    </a:lnTo>
                    <a:lnTo>
                      <a:pt x="13" y="1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88" name="Freeform 1146"/>
              <p:cNvSpPr>
                <a:spLocks/>
              </p:cNvSpPr>
              <p:nvPr/>
            </p:nvSpPr>
            <p:spPr bwMode="auto">
              <a:xfrm>
                <a:off x="4752234" y="1456286"/>
                <a:ext cx="21944" cy="23325"/>
              </a:xfrm>
              <a:custGeom>
                <a:avLst/>
                <a:gdLst/>
                <a:ahLst/>
                <a:cxnLst>
                  <a:cxn ang="0">
                    <a:pos x="11" y="4"/>
                  </a:cxn>
                  <a:cxn ang="0">
                    <a:pos x="12" y="4"/>
                  </a:cxn>
                  <a:cxn ang="0">
                    <a:pos x="12" y="1"/>
                  </a:cxn>
                  <a:cxn ang="0">
                    <a:pos x="16" y="6"/>
                  </a:cxn>
                  <a:cxn ang="0">
                    <a:pos x="16" y="9"/>
                  </a:cxn>
                  <a:cxn ang="0">
                    <a:pos x="19" y="10"/>
                  </a:cxn>
                  <a:cxn ang="0">
                    <a:pos x="24" y="16"/>
                  </a:cxn>
                  <a:cxn ang="0">
                    <a:pos x="22" y="19"/>
                  </a:cxn>
                  <a:cxn ang="0">
                    <a:pos x="15" y="22"/>
                  </a:cxn>
                  <a:cxn ang="0">
                    <a:pos x="6" y="20"/>
                  </a:cxn>
                  <a:cxn ang="0">
                    <a:pos x="3" y="14"/>
                  </a:cxn>
                  <a:cxn ang="0">
                    <a:pos x="5" y="13"/>
                  </a:cxn>
                  <a:cxn ang="0">
                    <a:pos x="5" y="9"/>
                  </a:cxn>
                  <a:cxn ang="0">
                    <a:pos x="3" y="10"/>
                  </a:cxn>
                  <a:cxn ang="0">
                    <a:pos x="3" y="10"/>
                  </a:cxn>
                  <a:cxn ang="0">
                    <a:pos x="3" y="7"/>
                  </a:cxn>
                  <a:cxn ang="0">
                    <a:pos x="0" y="7"/>
                  </a:cxn>
                  <a:cxn ang="0">
                    <a:pos x="0" y="4"/>
                  </a:cxn>
                  <a:cxn ang="0">
                    <a:pos x="3" y="1"/>
                  </a:cxn>
                  <a:cxn ang="0">
                    <a:pos x="8" y="0"/>
                  </a:cxn>
                  <a:cxn ang="0">
                    <a:pos x="11" y="0"/>
                  </a:cxn>
                  <a:cxn ang="0">
                    <a:pos x="12" y="1"/>
                  </a:cxn>
                  <a:cxn ang="0">
                    <a:pos x="11" y="4"/>
                  </a:cxn>
                </a:cxnLst>
                <a:rect l="0" t="0" r="r" b="b"/>
                <a:pathLst>
                  <a:path w="24" h="22">
                    <a:moveTo>
                      <a:pt x="11" y="4"/>
                    </a:moveTo>
                    <a:lnTo>
                      <a:pt x="12" y="4"/>
                    </a:lnTo>
                    <a:lnTo>
                      <a:pt x="12" y="1"/>
                    </a:lnTo>
                    <a:lnTo>
                      <a:pt x="16" y="6"/>
                    </a:lnTo>
                    <a:lnTo>
                      <a:pt x="16" y="9"/>
                    </a:lnTo>
                    <a:lnTo>
                      <a:pt x="19" y="10"/>
                    </a:lnTo>
                    <a:lnTo>
                      <a:pt x="24" y="16"/>
                    </a:lnTo>
                    <a:lnTo>
                      <a:pt x="22" y="19"/>
                    </a:lnTo>
                    <a:lnTo>
                      <a:pt x="15" y="22"/>
                    </a:lnTo>
                    <a:lnTo>
                      <a:pt x="6" y="20"/>
                    </a:lnTo>
                    <a:lnTo>
                      <a:pt x="3" y="14"/>
                    </a:lnTo>
                    <a:lnTo>
                      <a:pt x="5" y="13"/>
                    </a:lnTo>
                    <a:lnTo>
                      <a:pt x="5" y="9"/>
                    </a:lnTo>
                    <a:lnTo>
                      <a:pt x="3" y="10"/>
                    </a:lnTo>
                    <a:lnTo>
                      <a:pt x="3" y="10"/>
                    </a:lnTo>
                    <a:lnTo>
                      <a:pt x="3" y="7"/>
                    </a:lnTo>
                    <a:lnTo>
                      <a:pt x="0" y="7"/>
                    </a:lnTo>
                    <a:lnTo>
                      <a:pt x="0" y="4"/>
                    </a:lnTo>
                    <a:lnTo>
                      <a:pt x="3" y="1"/>
                    </a:lnTo>
                    <a:lnTo>
                      <a:pt x="8" y="0"/>
                    </a:lnTo>
                    <a:lnTo>
                      <a:pt x="11" y="0"/>
                    </a:lnTo>
                    <a:lnTo>
                      <a:pt x="12" y="1"/>
                    </a:lnTo>
                    <a:lnTo>
                      <a:pt x="11" y="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89" name="Freeform 1148"/>
              <p:cNvSpPr>
                <a:spLocks/>
              </p:cNvSpPr>
              <p:nvPr/>
            </p:nvSpPr>
            <p:spPr bwMode="auto">
              <a:xfrm>
                <a:off x="4754867" y="1477583"/>
                <a:ext cx="25456" cy="16227"/>
              </a:xfrm>
              <a:custGeom>
                <a:avLst/>
                <a:gdLst/>
                <a:ahLst/>
                <a:cxnLst>
                  <a:cxn ang="0">
                    <a:pos x="22" y="0"/>
                  </a:cxn>
                  <a:cxn ang="0">
                    <a:pos x="25" y="0"/>
                  </a:cxn>
                  <a:cxn ang="0">
                    <a:pos x="27" y="3"/>
                  </a:cxn>
                  <a:cxn ang="0">
                    <a:pos x="28" y="5"/>
                  </a:cxn>
                  <a:cxn ang="0">
                    <a:pos x="28" y="9"/>
                  </a:cxn>
                  <a:cxn ang="0">
                    <a:pos x="27" y="12"/>
                  </a:cxn>
                  <a:cxn ang="0">
                    <a:pos x="18" y="16"/>
                  </a:cxn>
                  <a:cxn ang="0">
                    <a:pos x="8" y="16"/>
                  </a:cxn>
                  <a:cxn ang="0">
                    <a:pos x="8" y="15"/>
                  </a:cxn>
                  <a:cxn ang="0">
                    <a:pos x="8" y="15"/>
                  </a:cxn>
                  <a:cxn ang="0">
                    <a:pos x="6" y="16"/>
                  </a:cxn>
                  <a:cxn ang="0">
                    <a:pos x="3" y="13"/>
                  </a:cxn>
                  <a:cxn ang="0">
                    <a:pos x="2" y="13"/>
                  </a:cxn>
                  <a:cxn ang="0">
                    <a:pos x="0" y="9"/>
                  </a:cxn>
                  <a:cxn ang="0">
                    <a:pos x="2" y="7"/>
                  </a:cxn>
                  <a:cxn ang="0">
                    <a:pos x="2" y="6"/>
                  </a:cxn>
                  <a:cxn ang="0">
                    <a:pos x="8" y="5"/>
                  </a:cxn>
                  <a:cxn ang="0">
                    <a:pos x="21" y="0"/>
                  </a:cxn>
                  <a:cxn ang="0">
                    <a:pos x="22" y="0"/>
                  </a:cxn>
                </a:cxnLst>
                <a:rect l="0" t="0" r="r" b="b"/>
                <a:pathLst>
                  <a:path w="28" h="16">
                    <a:moveTo>
                      <a:pt x="22" y="0"/>
                    </a:moveTo>
                    <a:lnTo>
                      <a:pt x="25" y="0"/>
                    </a:lnTo>
                    <a:lnTo>
                      <a:pt x="27" y="3"/>
                    </a:lnTo>
                    <a:lnTo>
                      <a:pt x="28" y="5"/>
                    </a:lnTo>
                    <a:lnTo>
                      <a:pt x="28" y="9"/>
                    </a:lnTo>
                    <a:lnTo>
                      <a:pt x="27" y="12"/>
                    </a:lnTo>
                    <a:lnTo>
                      <a:pt x="18" y="16"/>
                    </a:lnTo>
                    <a:lnTo>
                      <a:pt x="8" y="16"/>
                    </a:lnTo>
                    <a:lnTo>
                      <a:pt x="8" y="15"/>
                    </a:lnTo>
                    <a:lnTo>
                      <a:pt x="8" y="15"/>
                    </a:lnTo>
                    <a:lnTo>
                      <a:pt x="6" y="16"/>
                    </a:lnTo>
                    <a:lnTo>
                      <a:pt x="3" y="13"/>
                    </a:lnTo>
                    <a:lnTo>
                      <a:pt x="2" y="13"/>
                    </a:lnTo>
                    <a:lnTo>
                      <a:pt x="0" y="9"/>
                    </a:lnTo>
                    <a:lnTo>
                      <a:pt x="2" y="7"/>
                    </a:lnTo>
                    <a:lnTo>
                      <a:pt x="2" y="6"/>
                    </a:lnTo>
                    <a:lnTo>
                      <a:pt x="8" y="5"/>
                    </a:lnTo>
                    <a:lnTo>
                      <a:pt x="21" y="0"/>
                    </a:lnTo>
                    <a:lnTo>
                      <a:pt x="22"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90" name="Freeform 1150"/>
              <p:cNvSpPr>
                <a:spLocks/>
              </p:cNvSpPr>
              <p:nvPr/>
            </p:nvSpPr>
            <p:spPr bwMode="auto">
              <a:xfrm>
                <a:off x="4762768" y="1490767"/>
                <a:ext cx="20189" cy="13184"/>
              </a:xfrm>
              <a:custGeom>
                <a:avLst/>
                <a:gdLst/>
                <a:ahLst/>
                <a:cxnLst>
                  <a:cxn ang="0">
                    <a:pos x="12" y="3"/>
                  </a:cxn>
                  <a:cxn ang="0">
                    <a:pos x="18" y="0"/>
                  </a:cxn>
                  <a:cxn ang="0">
                    <a:pos x="22" y="2"/>
                  </a:cxn>
                  <a:cxn ang="0">
                    <a:pos x="22" y="5"/>
                  </a:cxn>
                  <a:cxn ang="0">
                    <a:pos x="19" y="6"/>
                  </a:cxn>
                  <a:cxn ang="0">
                    <a:pos x="0" y="12"/>
                  </a:cxn>
                  <a:cxn ang="0">
                    <a:pos x="0" y="9"/>
                  </a:cxn>
                  <a:cxn ang="0">
                    <a:pos x="12" y="3"/>
                  </a:cxn>
                </a:cxnLst>
                <a:rect l="0" t="0" r="r" b="b"/>
                <a:pathLst>
                  <a:path w="22" h="12">
                    <a:moveTo>
                      <a:pt x="12" y="3"/>
                    </a:moveTo>
                    <a:lnTo>
                      <a:pt x="18" y="0"/>
                    </a:lnTo>
                    <a:lnTo>
                      <a:pt x="22" y="2"/>
                    </a:lnTo>
                    <a:lnTo>
                      <a:pt x="22" y="5"/>
                    </a:lnTo>
                    <a:lnTo>
                      <a:pt x="19" y="6"/>
                    </a:lnTo>
                    <a:lnTo>
                      <a:pt x="0" y="12"/>
                    </a:lnTo>
                    <a:lnTo>
                      <a:pt x="0" y="9"/>
                    </a:lnTo>
                    <a:lnTo>
                      <a:pt x="12"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91" name="Freeform 1152"/>
              <p:cNvSpPr>
                <a:spLocks/>
              </p:cNvSpPr>
              <p:nvPr/>
            </p:nvSpPr>
            <p:spPr bwMode="auto">
              <a:xfrm>
                <a:off x="4769790" y="1496851"/>
                <a:ext cx="17556" cy="17240"/>
              </a:xfrm>
              <a:custGeom>
                <a:avLst/>
                <a:gdLst/>
                <a:ahLst/>
                <a:cxnLst>
                  <a:cxn ang="0">
                    <a:pos x="5" y="6"/>
                  </a:cxn>
                  <a:cxn ang="0">
                    <a:pos x="6" y="4"/>
                  </a:cxn>
                  <a:cxn ang="0">
                    <a:pos x="16" y="0"/>
                  </a:cxn>
                  <a:cxn ang="0">
                    <a:pos x="19" y="4"/>
                  </a:cxn>
                  <a:cxn ang="0">
                    <a:pos x="13" y="10"/>
                  </a:cxn>
                  <a:cxn ang="0">
                    <a:pos x="11" y="15"/>
                  </a:cxn>
                  <a:cxn ang="0">
                    <a:pos x="8" y="13"/>
                  </a:cxn>
                  <a:cxn ang="0">
                    <a:pos x="5" y="16"/>
                  </a:cxn>
                  <a:cxn ang="0">
                    <a:pos x="2" y="15"/>
                  </a:cxn>
                  <a:cxn ang="0">
                    <a:pos x="0" y="15"/>
                  </a:cxn>
                  <a:cxn ang="0">
                    <a:pos x="0" y="12"/>
                  </a:cxn>
                  <a:cxn ang="0">
                    <a:pos x="3" y="6"/>
                  </a:cxn>
                  <a:cxn ang="0">
                    <a:pos x="5" y="6"/>
                  </a:cxn>
                </a:cxnLst>
                <a:rect l="0" t="0" r="r" b="b"/>
                <a:pathLst>
                  <a:path w="19" h="16">
                    <a:moveTo>
                      <a:pt x="5" y="6"/>
                    </a:moveTo>
                    <a:lnTo>
                      <a:pt x="6" y="4"/>
                    </a:lnTo>
                    <a:lnTo>
                      <a:pt x="16" y="0"/>
                    </a:lnTo>
                    <a:lnTo>
                      <a:pt x="19" y="4"/>
                    </a:lnTo>
                    <a:lnTo>
                      <a:pt x="13" y="10"/>
                    </a:lnTo>
                    <a:lnTo>
                      <a:pt x="11" y="15"/>
                    </a:lnTo>
                    <a:lnTo>
                      <a:pt x="8" y="13"/>
                    </a:lnTo>
                    <a:lnTo>
                      <a:pt x="5" y="16"/>
                    </a:lnTo>
                    <a:lnTo>
                      <a:pt x="2" y="15"/>
                    </a:lnTo>
                    <a:lnTo>
                      <a:pt x="0" y="15"/>
                    </a:lnTo>
                    <a:lnTo>
                      <a:pt x="0" y="12"/>
                    </a:lnTo>
                    <a:lnTo>
                      <a:pt x="3" y="6"/>
                    </a:lnTo>
                    <a:lnTo>
                      <a:pt x="5" y="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92" name="Freeform 1154"/>
              <p:cNvSpPr>
                <a:spLocks/>
              </p:cNvSpPr>
              <p:nvPr/>
            </p:nvSpPr>
            <p:spPr bwMode="auto">
              <a:xfrm>
                <a:off x="4750478" y="1532346"/>
                <a:ext cx="16678" cy="22311"/>
              </a:xfrm>
              <a:custGeom>
                <a:avLst/>
                <a:gdLst/>
                <a:ahLst/>
                <a:cxnLst>
                  <a:cxn ang="0">
                    <a:pos x="11" y="0"/>
                  </a:cxn>
                  <a:cxn ang="0">
                    <a:pos x="13" y="0"/>
                  </a:cxn>
                  <a:cxn ang="0">
                    <a:pos x="14" y="2"/>
                  </a:cxn>
                  <a:cxn ang="0">
                    <a:pos x="16" y="4"/>
                  </a:cxn>
                  <a:cxn ang="0">
                    <a:pos x="18" y="14"/>
                  </a:cxn>
                  <a:cxn ang="0">
                    <a:pos x="16" y="18"/>
                  </a:cxn>
                  <a:cxn ang="0">
                    <a:pos x="10" y="21"/>
                  </a:cxn>
                  <a:cxn ang="0">
                    <a:pos x="4" y="18"/>
                  </a:cxn>
                  <a:cxn ang="0">
                    <a:pos x="1" y="17"/>
                  </a:cxn>
                  <a:cxn ang="0">
                    <a:pos x="0" y="14"/>
                  </a:cxn>
                  <a:cxn ang="0">
                    <a:pos x="4" y="0"/>
                  </a:cxn>
                  <a:cxn ang="0">
                    <a:pos x="11" y="0"/>
                  </a:cxn>
                </a:cxnLst>
                <a:rect l="0" t="0" r="r" b="b"/>
                <a:pathLst>
                  <a:path w="18" h="21">
                    <a:moveTo>
                      <a:pt x="11" y="0"/>
                    </a:moveTo>
                    <a:lnTo>
                      <a:pt x="13" y="0"/>
                    </a:lnTo>
                    <a:lnTo>
                      <a:pt x="14" y="2"/>
                    </a:lnTo>
                    <a:lnTo>
                      <a:pt x="16" y="4"/>
                    </a:lnTo>
                    <a:lnTo>
                      <a:pt x="18" y="14"/>
                    </a:lnTo>
                    <a:lnTo>
                      <a:pt x="16" y="18"/>
                    </a:lnTo>
                    <a:lnTo>
                      <a:pt x="10" y="21"/>
                    </a:lnTo>
                    <a:lnTo>
                      <a:pt x="4" y="18"/>
                    </a:lnTo>
                    <a:lnTo>
                      <a:pt x="1" y="17"/>
                    </a:lnTo>
                    <a:lnTo>
                      <a:pt x="0" y="14"/>
                    </a:lnTo>
                    <a:lnTo>
                      <a:pt x="4" y="0"/>
                    </a:lnTo>
                    <a:lnTo>
                      <a:pt x="1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93" name="Freeform 1155"/>
              <p:cNvSpPr>
                <a:spLocks/>
              </p:cNvSpPr>
              <p:nvPr/>
            </p:nvSpPr>
            <p:spPr bwMode="auto">
              <a:xfrm>
                <a:off x="4750478" y="1532346"/>
                <a:ext cx="16678" cy="22311"/>
              </a:xfrm>
              <a:custGeom>
                <a:avLst/>
                <a:gdLst/>
                <a:ahLst/>
                <a:cxnLst>
                  <a:cxn ang="0">
                    <a:pos x="11" y="0"/>
                  </a:cxn>
                  <a:cxn ang="0">
                    <a:pos x="13" y="0"/>
                  </a:cxn>
                  <a:cxn ang="0">
                    <a:pos x="14" y="2"/>
                  </a:cxn>
                  <a:cxn ang="0">
                    <a:pos x="16" y="4"/>
                  </a:cxn>
                  <a:cxn ang="0">
                    <a:pos x="18" y="14"/>
                  </a:cxn>
                  <a:cxn ang="0">
                    <a:pos x="16" y="18"/>
                  </a:cxn>
                  <a:cxn ang="0">
                    <a:pos x="10" y="21"/>
                  </a:cxn>
                  <a:cxn ang="0">
                    <a:pos x="4" y="18"/>
                  </a:cxn>
                  <a:cxn ang="0">
                    <a:pos x="1" y="17"/>
                  </a:cxn>
                  <a:cxn ang="0">
                    <a:pos x="0" y="14"/>
                  </a:cxn>
                  <a:cxn ang="0">
                    <a:pos x="4" y="0"/>
                  </a:cxn>
                  <a:cxn ang="0">
                    <a:pos x="11" y="0"/>
                  </a:cxn>
                </a:cxnLst>
                <a:rect l="0" t="0" r="r" b="b"/>
                <a:pathLst>
                  <a:path w="18" h="21">
                    <a:moveTo>
                      <a:pt x="11" y="0"/>
                    </a:moveTo>
                    <a:lnTo>
                      <a:pt x="13" y="0"/>
                    </a:lnTo>
                    <a:lnTo>
                      <a:pt x="14" y="2"/>
                    </a:lnTo>
                    <a:lnTo>
                      <a:pt x="16" y="4"/>
                    </a:lnTo>
                    <a:lnTo>
                      <a:pt x="18" y="14"/>
                    </a:lnTo>
                    <a:lnTo>
                      <a:pt x="16" y="18"/>
                    </a:lnTo>
                    <a:lnTo>
                      <a:pt x="10" y="21"/>
                    </a:lnTo>
                    <a:lnTo>
                      <a:pt x="4" y="18"/>
                    </a:lnTo>
                    <a:lnTo>
                      <a:pt x="1" y="17"/>
                    </a:lnTo>
                    <a:lnTo>
                      <a:pt x="0" y="14"/>
                    </a:lnTo>
                    <a:lnTo>
                      <a:pt x="4" y="0"/>
                    </a:lnTo>
                    <a:lnTo>
                      <a:pt x="1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94" name="Freeform 1156"/>
              <p:cNvSpPr>
                <a:spLocks/>
              </p:cNvSpPr>
              <p:nvPr/>
            </p:nvSpPr>
            <p:spPr bwMode="auto">
              <a:xfrm>
                <a:off x="4583696" y="1444116"/>
                <a:ext cx="158882" cy="144007"/>
              </a:xfrm>
              <a:custGeom>
                <a:avLst/>
                <a:gdLst/>
                <a:ahLst/>
                <a:cxnLst>
                  <a:cxn ang="0">
                    <a:pos x="112" y="21"/>
                  </a:cxn>
                  <a:cxn ang="0">
                    <a:pos x="121" y="2"/>
                  </a:cxn>
                  <a:cxn ang="0">
                    <a:pos x="131" y="10"/>
                  </a:cxn>
                  <a:cxn ang="0">
                    <a:pos x="129" y="21"/>
                  </a:cxn>
                  <a:cxn ang="0">
                    <a:pos x="137" y="31"/>
                  </a:cxn>
                  <a:cxn ang="0">
                    <a:pos x="135" y="39"/>
                  </a:cxn>
                  <a:cxn ang="0">
                    <a:pos x="139" y="47"/>
                  </a:cxn>
                  <a:cxn ang="0">
                    <a:pos x="138" y="61"/>
                  </a:cxn>
                  <a:cxn ang="0">
                    <a:pos x="150" y="57"/>
                  </a:cxn>
                  <a:cxn ang="0">
                    <a:pos x="155" y="61"/>
                  </a:cxn>
                  <a:cxn ang="0">
                    <a:pos x="171" y="55"/>
                  </a:cxn>
                  <a:cxn ang="0">
                    <a:pos x="173" y="77"/>
                  </a:cxn>
                  <a:cxn ang="0">
                    <a:pos x="158" y="106"/>
                  </a:cxn>
                  <a:cxn ang="0">
                    <a:pos x="141" y="106"/>
                  </a:cxn>
                  <a:cxn ang="0">
                    <a:pos x="126" y="109"/>
                  </a:cxn>
                  <a:cxn ang="0">
                    <a:pos x="125" y="102"/>
                  </a:cxn>
                  <a:cxn ang="0">
                    <a:pos x="116" y="114"/>
                  </a:cxn>
                  <a:cxn ang="0">
                    <a:pos x="100" y="121"/>
                  </a:cxn>
                  <a:cxn ang="0">
                    <a:pos x="93" y="128"/>
                  </a:cxn>
                  <a:cxn ang="0">
                    <a:pos x="84" y="134"/>
                  </a:cxn>
                  <a:cxn ang="0">
                    <a:pos x="45" y="125"/>
                  </a:cxn>
                  <a:cxn ang="0">
                    <a:pos x="51" y="118"/>
                  </a:cxn>
                  <a:cxn ang="0">
                    <a:pos x="61" y="116"/>
                  </a:cxn>
                  <a:cxn ang="0">
                    <a:pos x="81" y="106"/>
                  </a:cxn>
                  <a:cxn ang="0">
                    <a:pos x="89" y="103"/>
                  </a:cxn>
                  <a:cxn ang="0">
                    <a:pos x="94" y="92"/>
                  </a:cxn>
                  <a:cxn ang="0">
                    <a:pos x="76" y="99"/>
                  </a:cxn>
                  <a:cxn ang="0">
                    <a:pos x="71" y="93"/>
                  </a:cxn>
                  <a:cxn ang="0">
                    <a:pos x="65" y="102"/>
                  </a:cxn>
                  <a:cxn ang="0">
                    <a:pos x="54" y="106"/>
                  </a:cxn>
                  <a:cxn ang="0">
                    <a:pos x="55" y="96"/>
                  </a:cxn>
                  <a:cxn ang="0">
                    <a:pos x="58" y="83"/>
                  </a:cxn>
                  <a:cxn ang="0">
                    <a:pos x="48" y="96"/>
                  </a:cxn>
                  <a:cxn ang="0">
                    <a:pos x="47" y="98"/>
                  </a:cxn>
                  <a:cxn ang="0">
                    <a:pos x="36" y="108"/>
                  </a:cxn>
                  <a:cxn ang="0">
                    <a:pos x="29" y="100"/>
                  </a:cxn>
                  <a:cxn ang="0">
                    <a:pos x="22" y="100"/>
                  </a:cxn>
                  <a:cxn ang="0">
                    <a:pos x="15" y="100"/>
                  </a:cxn>
                  <a:cxn ang="0">
                    <a:pos x="3" y="85"/>
                  </a:cxn>
                  <a:cxn ang="0">
                    <a:pos x="28" y="76"/>
                  </a:cxn>
                  <a:cxn ang="0">
                    <a:pos x="26" y="71"/>
                  </a:cxn>
                  <a:cxn ang="0">
                    <a:pos x="6" y="70"/>
                  </a:cxn>
                  <a:cxn ang="0">
                    <a:pos x="36" y="58"/>
                  </a:cxn>
                  <a:cxn ang="0">
                    <a:pos x="12" y="55"/>
                  </a:cxn>
                  <a:cxn ang="0">
                    <a:pos x="13" y="47"/>
                  </a:cxn>
                  <a:cxn ang="0">
                    <a:pos x="31" y="39"/>
                  </a:cxn>
                  <a:cxn ang="0">
                    <a:pos x="36" y="38"/>
                  </a:cxn>
                  <a:cxn ang="0">
                    <a:pos x="29" y="23"/>
                  </a:cxn>
                  <a:cxn ang="0">
                    <a:pos x="47" y="22"/>
                  </a:cxn>
                  <a:cxn ang="0">
                    <a:pos x="49" y="38"/>
                  </a:cxn>
                  <a:cxn ang="0">
                    <a:pos x="67" y="38"/>
                  </a:cxn>
                  <a:cxn ang="0">
                    <a:pos x="81" y="53"/>
                  </a:cxn>
                  <a:cxn ang="0">
                    <a:pos x="80" y="61"/>
                  </a:cxn>
                  <a:cxn ang="0">
                    <a:pos x="89" y="66"/>
                  </a:cxn>
                  <a:cxn ang="0">
                    <a:pos x="89" y="74"/>
                  </a:cxn>
                  <a:cxn ang="0">
                    <a:pos x="96" y="76"/>
                  </a:cxn>
                  <a:cxn ang="0">
                    <a:pos x="109" y="76"/>
                  </a:cxn>
                  <a:cxn ang="0">
                    <a:pos x="119" y="61"/>
                  </a:cxn>
                  <a:cxn ang="0">
                    <a:pos x="112" y="60"/>
                  </a:cxn>
                  <a:cxn ang="0">
                    <a:pos x="119" y="50"/>
                  </a:cxn>
                  <a:cxn ang="0">
                    <a:pos x="113" y="37"/>
                  </a:cxn>
                  <a:cxn ang="0">
                    <a:pos x="103" y="25"/>
                  </a:cxn>
                </a:cxnLst>
                <a:rect l="0" t="0" r="r" b="b"/>
                <a:pathLst>
                  <a:path w="174" h="138">
                    <a:moveTo>
                      <a:pt x="109" y="22"/>
                    </a:moveTo>
                    <a:lnTo>
                      <a:pt x="109" y="21"/>
                    </a:lnTo>
                    <a:lnTo>
                      <a:pt x="109" y="22"/>
                    </a:lnTo>
                    <a:lnTo>
                      <a:pt x="112" y="21"/>
                    </a:lnTo>
                    <a:lnTo>
                      <a:pt x="113" y="19"/>
                    </a:lnTo>
                    <a:lnTo>
                      <a:pt x="113" y="15"/>
                    </a:lnTo>
                    <a:lnTo>
                      <a:pt x="119" y="2"/>
                    </a:lnTo>
                    <a:lnTo>
                      <a:pt x="121" y="2"/>
                    </a:lnTo>
                    <a:lnTo>
                      <a:pt x="124" y="2"/>
                    </a:lnTo>
                    <a:lnTo>
                      <a:pt x="126" y="0"/>
                    </a:lnTo>
                    <a:lnTo>
                      <a:pt x="131" y="7"/>
                    </a:lnTo>
                    <a:lnTo>
                      <a:pt x="131" y="10"/>
                    </a:lnTo>
                    <a:lnTo>
                      <a:pt x="128" y="13"/>
                    </a:lnTo>
                    <a:lnTo>
                      <a:pt x="128" y="16"/>
                    </a:lnTo>
                    <a:lnTo>
                      <a:pt x="129" y="18"/>
                    </a:lnTo>
                    <a:lnTo>
                      <a:pt x="129" y="21"/>
                    </a:lnTo>
                    <a:lnTo>
                      <a:pt x="129" y="25"/>
                    </a:lnTo>
                    <a:lnTo>
                      <a:pt x="131" y="26"/>
                    </a:lnTo>
                    <a:lnTo>
                      <a:pt x="132" y="26"/>
                    </a:lnTo>
                    <a:lnTo>
                      <a:pt x="137" y="31"/>
                    </a:lnTo>
                    <a:lnTo>
                      <a:pt x="137" y="34"/>
                    </a:lnTo>
                    <a:lnTo>
                      <a:pt x="137" y="37"/>
                    </a:lnTo>
                    <a:lnTo>
                      <a:pt x="137" y="38"/>
                    </a:lnTo>
                    <a:lnTo>
                      <a:pt x="135" y="39"/>
                    </a:lnTo>
                    <a:lnTo>
                      <a:pt x="132" y="45"/>
                    </a:lnTo>
                    <a:lnTo>
                      <a:pt x="129" y="47"/>
                    </a:lnTo>
                    <a:lnTo>
                      <a:pt x="132" y="48"/>
                    </a:lnTo>
                    <a:lnTo>
                      <a:pt x="139" y="47"/>
                    </a:lnTo>
                    <a:lnTo>
                      <a:pt x="144" y="51"/>
                    </a:lnTo>
                    <a:lnTo>
                      <a:pt x="142" y="55"/>
                    </a:lnTo>
                    <a:lnTo>
                      <a:pt x="139" y="55"/>
                    </a:lnTo>
                    <a:lnTo>
                      <a:pt x="138" y="61"/>
                    </a:lnTo>
                    <a:lnTo>
                      <a:pt x="138" y="63"/>
                    </a:lnTo>
                    <a:lnTo>
                      <a:pt x="141" y="58"/>
                    </a:lnTo>
                    <a:lnTo>
                      <a:pt x="145" y="55"/>
                    </a:lnTo>
                    <a:lnTo>
                      <a:pt x="150" y="57"/>
                    </a:lnTo>
                    <a:lnTo>
                      <a:pt x="154" y="69"/>
                    </a:lnTo>
                    <a:lnTo>
                      <a:pt x="155" y="63"/>
                    </a:lnTo>
                    <a:lnTo>
                      <a:pt x="157" y="63"/>
                    </a:lnTo>
                    <a:lnTo>
                      <a:pt x="155" y="61"/>
                    </a:lnTo>
                    <a:lnTo>
                      <a:pt x="154" y="54"/>
                    </a:lnTo>
                    <a:lnTo>
                      <a:pt x="157" y="48"/>
                    </a:lnTo>
                    <a:lnTo>
                      <a:pt x="166" y="50"/>
                    </a:lnTo>
                    <a:lnTo>
                      <a:pt x="171" y="55"/>
                    </a:lnTo>
                    <a:lnTo>
                      <a:pt x="174" y="64"/>
                    </a:lnTo>
                    <a:lnTo>
                      <a:pt x="174" y="67"/>
                    </a:lnTo>
                    <a:lnTo>
                      <a:pt x="174" y="69"/>
                    </a:lnTo>
                    <a:lnTo>
                      <a:pt x="173" y="77"/>
                    </a:lnTo>
                    <a:lnTo>
                      <a:pt x="171" y="79"/>
                    </a:lnTo>
                    <a:lnTo>
                      <a:pt x="164" y="105"/>
                    </a:lnTo>
                    <a:lnTo>
                      <a:pt x="160" y="105"/>
                    </a:lnTo>
                    <a:lnTo>
                      <a:pt x="158" y="106"/>
                    </a:lnTo>
                    <a:lnTo>
                      <a:pt x="155" y="111"/>
                    </a:lnTo>
                    <a:lnTo>
                      <a:pt x="150" y="112"/>
                    </a:lnTo>
                    <a:lnTo>
                      <a:pt x="145" y="111"/>
                    </a:lnTo>
                    <a:lnTo>
                      <a:pt x="141" y="106"/>
                    </a:lnTo>
                    <a:lnTo>
                      <a:pt x="142" y="102"/>
                    </a:lnTo>
                    <a:lnTo>
                      <a:pt x="137" y="111"/>
                    </a:lnTo>
                    <a:lnTo>
                      <a:pt x="132" y="111"/>
                    </a:lnTo>
                    <a:lnTo>
                      <a:pt x="126" y="109"/>
                    </a:lnTo>
                    <a:lnTo>
                      <a:pt x="129" y="106"/>
                    </a:lnTo>
                    <a:lnTo>
                      <a:pt x="128" y="103"/>
                    </a:lnTo>
                    <a:lnTo>
                      <a:pt x="128" y="102"/>
                    </a:lnTo>
                    <a:lnTo>
                      <a:pt x="125" y="102"/>
                    </a:lnTo>
                    <a:lnTo>
                      <a:pt x="125" y="105"/>
                    </a:lnTo>
                    <a:lnTo>
                      <a:pt x="122" y="108"/>
                    </a:lnTo>
                    <a:lnTo>
                      <a:pt x="119" y="109"/>
                    </a:lnTo>
                    <a:lnTo>
                      <a:pt x="116" y="114"/>
                    </a:lnTo>
                    <a:lnTo>
                      <a:pt x="110" y="115"/>
                    </a:lnTo>
                    <a:lnTo>
                      <a:pt x="108" y="115"/>
                    </a:lnTo>
                    <a:lnTo>
                      <a:pt x="100" y="119"/>
                    </a:lnTo>
                    <a:lnTo>
                      <a:pt x="100" y="121"/>
                    </a:lnTo>
                    <a:lnTo>
                      <a:pt x="99" y="124"/>
                    </a:lnTo>
                    <a:lnTo>
                      <a:pt x="97" y="125"/>
                    </a:lnTo>
                    <a:lnTo>
                      <a:pt x="97" y="125"/>
                    </a:lnTo>
                    <a:lnTo>
                      <a:pt x="93" y="128"/>
                    </a:lnTo>
                    <a:lnTo>
                      <a:pt x="90" y="130"/>
                    </a:lnTo>
                    <a:lnTo>
                      <a:pt x="90" y="131"/>
                    </a:lnTo>
                    <a:lnTo>
                      <a:pt x="86" y="131"/>
                    </a:lnTo>
                    <a:lnTo>
                      <a:pt x="84" y="134"/>
                    </a:lnTo>
                    <a:lnTo>
                      <a:pt x="71" y="138"/>
                    </a:lnTo>
                    <a:lnTo>
                      <a:pt x="60" y="138"/>
                    </a:lnTo>
                    <a:lnTo>
                      <a:pt x="48" y="128"/>
                    </a:lnTo>
                    <a:lnTo>
                      <a:pt x="45" y="125"/>
                    </a:lnTo>
                    <a:lnTo>
                      <a:pt x="45" y="124"/>
                    </a:lnTo>
                    <a:lnTo>
                      <a:pt x="47" y="121"/>
                    </a:lnTo>
                    <a:lnTo>
                      <a:pt x="49" y="118"/>
                    </a:lnTo>
                    <a:lnTo>
                      <a:pt x="51" y="118"/>
                    </a:lnTo>
                    <a:lnTo>
                      <a:pt x="55" y="116"/>
                    </a:lnTo>
                    <a:lnTo>
                      <a:pt x="58" y="115"/>
                    </a:lnTo>
                    <a:lnTo>
                      <a:pt x="60" y="116"/>
                    </a:lnTo>
                    <a:lnTo>
                      <a:pt x="61" y="116"/>
                    </a:lnTo>
                    <a:lnTo>
                      <a:pt x="63" y="115"/>
                    </a:lnTo>
                    <a:lnTo>
                      <a:pt x="63" y="112"/>
                    </a:lnTo>
                    <a:lnTo>
                      <a:pt x="65" y="108"/>
                    </a:lnTo>
                    <a:lnTo>
                      <a:pt x="81" y="106"/>
                    </a:lnTo>
                    <a:lnTo>
                      <a:pt x="83" y="109"/>
                    </a:lnTo>
                    <a:lnTo>
                      <a:pt x="84" y="109"/>
                    </a:lnTo>
                    <a:lnTo>
                      <a:pt x="87" y="105"/>
                    </a:lnTo>
                    <a:lnTo>
                      <a:pt x="89" y="103"/>
                    </a:lnTo>
                    <a:lnTo>
                      <a:pt x="90" y="99"/>
                    </a:lnTo>
                    <a:lnTo>
                      <a:pt x="94" y="96"/>
                    </a:lnTo>
                    <a:lnTo>
                      <a:pt x="94" y="95"/>
                    </a:lnTo>
                    <a:lnTo>
                      <a:pt x="94" y="92"/>
                    </a:lnTo>
                    <a:lnTo>
                      <a:pt x="92" y="92"/>
                    </a:lnTo>
                    <a:lnTo>
                      <a:pt x="89" y="98"/>
                    </a:lnTo>
                    <a:lnTo>
                      <a:pt x="86" y="96"/>
                    </a:lnTo>
                    <a:lnTo>
                      <a:pt x="76" y="99"/>
                    </a:lnTo>
                    <a:lnTo>
                      <a:pt x="76" y="96"/>
                    </a:lnTo>
                    <a:lnTo>
                      <a:pt x="76" y="93"/>
                    </a:lnTo>
                    <a:lnTo>
                      <a:pt x="73" y="96"/>
                    </a:lnTo>
                    <a:lnTo>
                      <a:pt x="71" y="93"/>
                    </a:lnTo>
                    <a:lnTo>
                      <a:pt x="71" y="92"/>
                    </a:lnTo>
                    <a:lnTo>
                      <a:pt x="70" y="98"/>
                    </a:lnTo>
                    <a:lnTo>
                      <a:pt x="68" y="102"/>
                    </a:lnTo>
                    <a:lnTo>
                      <a:pt x="65" y="102"/>
                    </a:lnTo>
                    <a:lnTo>
                      <a:pt x="64" y="99"/>
                    </a:lnTo>
                    <a:lnTo>
                      <a:pt x="61" y="102"/>
                    </a:lnTo>
                    <a:lnTo>
                      <a:pt x="58" y="103"/>
                    </a:lnTo>
                    <a:lnTo>
                      <a:pt x="54" y="106"/>
                    </a:lnTo>
                    <a:lnTo>
                      <a:pt x="52" y="103"/>
                    </a:lnTo>
                    <a:lnTo>
                      <a:pt x="52" y="102"/>
                    </a:lnTo>
                    <a:lnTo>
                      <a:pt x="55" y="98"/>
                    </a:lnTo>
                    <a:lnTo>
                      <a:pt x="55" y="96"/>
                    </a:lnTo>
                    <a:lnTo>
                      <a:pt x="54" y="89"/>
                    </a:lnTo>
                    <a:lnTo>
                      <a:pt x="58" y="86"/>
                    </a:lnTo>
                    <a:lnTo>
                      <a:pt x="61" y="83"/>
                    </a:lnTo>
                    <a:lnTo>
                      <a:pt x="58" y="83"/>
                    </a:lnTo>
                    <a:lnTo>
                      <a:pt x="57" y="86"/>
                    </a:lnTo>
                    <a:lnTo>
                      <a:pt x="51" y="85"/>
                    </a:lnTo>
                    <a:lnTo>
                      <a:pt x="49" y="95"/>
                    </a:lnTo>
                    <a:lnTo>
                      <a:pt x="48" y="96"/>
                    </a:lnTo>
                    <a:lnTo>
                      <a:pt x="47" y="90"/>
                    </a:lnTo>
                    <a:lnTo>
                      <a:pt x="44" y="90"/>
                    </a:lnTo>
                    <a:lnTo>
                      <a:pt x="44" y="95"/>
                    </a:lnTo>
                    <a:lnTo>
                      <a:pt x="47" y="98"/>
                    </a:lnTo>
                    <a:lnTo>
                      <a:pt x="45" y="102"/>
                    </a:lnTo>
                    <a:lnTo>
                      <a:pt x="44" y="103"/>
                    </a:lnTo>
                    <a:lnTo>
                      <a:pt x="41" y="108"/>
                    </a:lnTo>
                    <a:lnTo>
                      <a:pt x="36" y="108"/>
                    </a:lnTo>
                    <a:lnTo>
                      <a:pt x="35" y="103"/>
                    </a:lnTo>
                    <a:lnTo>
                      <a:pt x="35" y="99"/>
                    </a:lnTo>
                    <a:lnTo>
                      <a:pt x="32" y="100"/>
                    </a:lnTo>
                    <a:lnTo>
                      <a:pt x="29" y="100"/>
                    </a:lnTo>
                    <a:lnTo>
                      <a:pt x="29" y="109"/>
                    </a:lnTo>
                    <a:lnTo>
                      <a:pt x="26" y="108"/>
                    </a:lnTo>
                    <a:lnTo>
                      <a:pt x="20" y="103"/>
                    </a:lnTo>
                    <a:lnTo>
                      <a:pt x="22" y="100"/>
                    </a:lnTo>
                    <a:lnTo>
                      <a:pt x="20" y="99"/>
                    </a:lnTo>
                    <a:lnTo>
                      <a:pt x="20" y="96"/>
                    </a:lnTo>
                    <a:lnTo>
                      <a:pt x="16" y="98"/>
                    </a:lnTo>
                    <a:lnTo>
                      <a:pt x="15" y="100"/>
                    </a:lnTo>
                    <a:lnTo>
                      <a:pt x="6" y="99"/>
                    </a:lnTo>
                    <a:lnTo>
                      <a:pt x="3" y="96"/>
                    </a:lnTo>
                    <a:lnTo>
                      <a:pt x="0" y="93"/>
                    </a:lnTo>
                    <a:lnTo>
                      <a:pt x="3" y="85"/>
                    </a:lnTo>
                    <a:lnTo>
                      <a:pt x="6" y="80"/>
                    </a:lnTo>
                    <a:lnTo>
                      <a:pt x="22" y="80"/>
                    </a:lnTo>
                    <a:lnTo>
                      <a:pt x="23" y="80"/>
                    </a:lnTo>
                    <a:lnTo>
                      <a:pt x="28" y="76"/>
                    </a:lnTo>
                    <a:lnTo>
                      <a:pt x="33" y="71"/>
                    </a:lnTo>
                    <a:lnTo>
                      <a:pt x="36" y="67"/>
                    </a:lnTo>
                    <a:lnTo>
                      <a:pt x="32" y="71"/>
                    </a:lnTo>
                    <a:lnTo>
                      <a:pt x="26" y="71"/>
                    </a:lnTo>
                    <a:lnTo>
                      <a:pt x="22" y="74"/>
                    </a:lnTo>
                    <a:lnTo>
                      <a:pt x="16" y="77"/>
                    </a:lnTo>
                    <a:lnTo>
                      <a:pt x="6" y="76"/>
                    </a:lnTo>
                    <a:lnTo>
                      <a:pt x="6" y="70"/>
                    </a:lnTo>
                    <a:lnTo>
                      <a:pt x="9" y="64"/>
                    </a:lnTo>
                    <a:lnTo>
                      <a:pt x="20" y="63"/>
                    </a:lnTo>
                    <a:lnTo>
                      <a:pt x="26" y="60"/>
                    </a:lnTo>
                    <a:lnTo>
                      <a:pt x="36" y="58"/>
                    </a:lnTo>
                    <a:lnTo>
                      <a:pt x="41" y="55"/>
                    </a:lnTo>
                    <a:lnTo>
                      <a:pt x="15" y="60"/>
                    </a:lnTo>
                    <a:lnTo>
                      <a:pt x="12" y="58"/>
                    </a:lnTo>
                    <a:lnTo>
                      <a:pt x="12" y="55"/>
                    </a:lnTo>
                    <a:lnTo>
                      <a:pt x="13" y="53"/>
                    </a:lnTo>
                    <a:lnTo>
                      <a:pt x="16" y="51"/>
                    </a:lnTo>
                    <a:lnTo>
                      <a:pt x="15" y="50"/>
                    </a:lnTo>
                    <a:lnTo>
                      <a:pt x="13" y="47"/>
                    </a:lnTo>
                    <a:lnTo>
                      <a:pt x="16" y="41"/>
                    </a:lnTo>
                    <a:lnTo>
                      <a:pt x="20" y="39"/>
                    </a:lnTo>
                    <a:lnTo>
                      <a:pt x="26" y="39"/>
                    </a:lnTo>
                    <a:lnTo>
                      <a:pt x="31" y="39"/>
                    </a:lnTo>
                    <a:lnTo>
                      <a:pt x="41" y="41"/>
                    </a:lnTo>
                    <a:lnTo>
                      <a:pt x="42" y="41"/>
                    </a:lnTo>
                    <a:lnTo>
                      <a:pt x="39" y="39"/>
                    </a:lnTo>
                    <a:lnTo>
                      <a:pt x="36" y="38"/>
                    </a:lnTo>
                    <a:lnTo>
                      <a:pt x="26" y="37"/>
                    </a:lnTo>
                    <a:lnTo>
                      <a:pt x="23" y="34"/>
                    </a:lnTo>
                    <a:lnTo>
                      <a:pt x="26" y="26"/>
                    </a:lnTo>
                    <a:lnTo>
                      <a:pt x="29" y="23"/>
                    </a:lnTo>
                    <a:lnTo>
                      <a:pt x="36" y="23"/>
                    </a:lnTo>
                    <a:lnTo>
                      <a:pt x="38" y="21"/>
                    </a:lnTo>
                    <a:lnTo>
                      <a:pt x="44" y="21"/>
                    </a:lnTo>
                    <a:lnTo>
                      <a:pt x="47" y="22"/>
                    </a:lnTo>
                    <a:lnTo>
                      <a:pt x="49" y="25"/>
                    </a:lnTo>
                    <a:lnTo>
                      <a:pt x="49" y="31"/>
                    </a:lnTo>
                    <a:lnTo>
                      <a:pt x="48" y="32"/>
                    </a:lnTo>
                    <a:lnTo>
                      <a:pt x="49" y="38"/>
                    </a:lnTo>
                    <a:lnTo>
                      <a:pt x="57" y="38"/>
                    </a:lnTo>
                    <a:lnTo>
                      <a:pt x="61" y="35"/>
                    </a:lnTo>
                    <a:lnTo>
                      <a:pt x="67" y="35"/>
                    </a:lnTo>
                    <a:lnTo>
                      <a:pt x="67" y="38"/>
                    </a:lnTo>
                    <a:lnTo>
                      <a:pt x="73" y="39"/>
                    </a:lnTo>
                    <a:lnTo>
                      <a:pt x="74" y="47"/>
                    </a:lnTo>
                    <a:lnTo>
                      <a:pt x="79" y="53"/>
                    </a:lnTo>
                    <a:lnTo>
                      <a:pt x="81" y="53"/>
                    </a:lnTo>
                    <a:lnTo>
                      <a:pt x="83" y="54"/>
                    </a:lnTo>
                    <a:lnTo>
                      <a:pt x="79" y="58"/>
                    </a:lnTo>
                    <a:lnTo>
                      <a:pt x="77" y="61"/>
                    </a:lnTo>
                    <a:lnTo>
                      <a:pt x="80" y="61"/>
                    </a:lnTo>
                    <a:lnTo>
                      <a:pt x="87" y="60"/>
                    </a:lnTo>
                    <a:lnTo>
                      <a:pt x="87" y="60"/>
                    </a:lnTo>
                    <a:lnTo>
                      <a:pt x="87" y="63"/>
                    </a:lnTo>
                    <a:lnTo>
                      <a:pt x="89" y="66"/>
                    </a:lnTo>
                    <a:lnTo>
                      <a:pt x="87" y="67"/>
                    </a:lnTo>
                    <a:lnTo>
                      <a:pt x="89" y="67"/>
                    </a:lnTo>
                    <a:lnTo>
                      <a:pt x="89" y="70"/>
                    </a:lnTo>
                    <a:lnTo>
                      <a:pt x="89" y="74"/>
                    </a:lnTo>
                    <a:lnTo>
                      <a:pt x="90" y="77"/>
                    </a:lnTo>
                    <a:lnTo>
                      <a:pt x="93" y="77"/>
                    </a:lnTo>
                    <a:lnTo>
                      <a:pt x="94" y="77"/>
                    </a:lnTo>
                    <a:lnTo>
                      <a:pt x="96" y="76"/>
                    </a:lnTo>
                    <a:lnTo>
                      <a:pt x="97" y="76"/>
                    </a:lnTo>
                    <a:lnTo>
                      <a:pt x="102" y="76"/>
                    </a:lnTo>
                    <a:lnTo>
                      <a:pt x="103" y="77"/>
                    </a:lnTo>
                    <a:lnTo>
                      <a:pt x="109" y="76"/>
                    </a:lnTo>
                    <a:lnTo>
                      <a:pt x="122" y="79"/>
                    </a:lnTo>
                    <a:lnTo>
                      <a:pt x="124" y="79"/>
                    </a:lnTo>
                    <a:lnTo>
                      <a:pt x="125" y="69"/>
                    </a:lnTo>
                    <a:lnTo>
                      <a:pt x="119" y="61"/>
                    </a:lnTo>
                    <a:lnTo>
                      <a:pt x="116" y="61"/>
                    </a:lnTo>
                    <a:lnTo>
                      <a:pt x="115" y="60"/>
                    </a:lnTo>
                    <a:lnTo>
                      <a:pt x="115" y="57"/>
                    </a:lnTo>
                    <a:lnTo>
                      <a:pt x="112" y="60"/>
                    </a:lnTo>
                    <a:lnTo>
                      <a:pt x="110" y="57"/>
                    </a:lnTo>
                    <a:lnTo>
                      <a:pt x="116" y="53"/>
                    </a:lnTo>
                    <a:lnTo>
                      <a:pt x="116" y="50"/>
                    </a:lnTo>
                    <a:lnTo>
                      <a:pt x="119" y="50"/>
                    </a:lnTo>
                    <a:lnTo>
                      <a:pt x="118" y="42"/>
                    </a:lnTo>
                    <a:lnTo>
                      <a:pt x="116" y="39"/>
                    </a:lnTo>
                    <a:lnTo>
                      <a:pt x="115" y="39"/>
                    </a:lnTo>
                    <a:lnTo>
                      <a:pt x="113" y="37"/>
                    </a:lnTo>
                    <a:lnTo>
                      <a:pt x="109" y="37"/>
                    </a:lnTo>
                    <a:lnTo>
                      <a:pt x="105" y="31"/>
                    </a:lnTo>
                    <a:lnTo>
                      <a:pt x="103" y="26"/>
                    </a:lnTo>
                    <a:lnTo>
                      <a:pt x="103" y="25"/>
                    </a:lnTo>
                    <a:lnTo>
                      <a:pt x="106" y="23"/>
                    </a:lnTo>
                    <a:lnTo>
                      <a:pt x="109" y="2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95" name="Freeform 1158"/>
              <p:cNvSpPr>
                <a:spLocks/>
              </p:cNvSpPr>
              <p:nvPr/>
            </p:nvSpPr>
            <p:spPr bwMode="auto">
              <a:xfrm>
                <a:off x="4560874" y="1489753"/>
                <a:ext cx="24578" cy="37523"/>
              </a:xfrm>
              <a:custGeom>
                <a:avLst/>
                <a:gdLst/>
                <a:ahLst/>
                <a:cxnLst>
                  <a:cxn ang="0">
                    <a:pos x="19" y="6"/>
                  </a:cxn>
                  <a:cxn ang="0">
                    <a:pos x="18" y="7"/>
                  </a:cxn>
                  <a:cxn ang="0">
                    <a:pos x="18" y="6"/>
                  </a:cxn>
                  <a:cxn ang="0">
                    <a:pos x="21" y="6"/>
                  </a:cxn>
                  <a:cxn ang="0">
                    <a:pos x="22" y="1"/>
                  </a:cxn>
                  <a:cxn ang="0">
                    <a:pos x="24" y="0"/>
                  </a:cxn>
                  <a:cxn ang="0">
                    <a:pos x="27" y="1"/>
                  </a:cxn>
                  <a:cxn ang="0">
                    <a:pos x="22" y="17"/>
                  </a:cxn>
                  <a:cxn ang="0">
                    <a:pos x="21" y="19"/>
                  </a:cxn>
                  <a:cxn ang="0">
                    <a:pos x="18" y="30"/>
                  </a:cxn>
                  <a:cxn ang="0">
                    <a:pos x="13" y="35"/>
                  </a:cxn>
                  <a:cxn ang="0">
                    <a:pos x="11" y="36"/>
                  </a:cxn>
                  <a:cxn ang="0">
                    <a:pos x="8" y="33"/>
                  </a:cxn>
                  <a:cxn ang="0">
                    <a:pos x="2" y="30"/>
                  </a:cxn>
                  <a:cxn ang="0">
                    <a:pos x="0" y="26"/>
                  </a:cxn>
                  <a:cxn ang="0">
                    <a:pos x="2" y="23"/>
                  </a:cxn>
                  <a:cxn ang="0">
                    <a:pos x="13" y="10"/>
                  </a:cxn>
                  <a:cxn ang="0">
                    <a:pos x="16" y="9"/>
                  </a:cxn>
                  <a:cxn ang="0">
                    <a:pos x="18" y="6"/>
                  </a:cxn>
                  <a:cxn ang="0">
                    <a:pos x="19" y="6"/>
                  </a:cxn>
                </a:cxnLst>
                <a:rect l="0" t="0" r="r" b="b"/>
                <a:pathLst>
                  <a:path w="27" h="36">
                    <a:moveTo>
                      <a:pt x="19" y="6"/>
                    </a:moveTo>
                    <a:lnTo>
                      <a:pt x="18" y="7"/>
                    </a:lnTo>
                    <a:lnTo>
                      <a:pt x="18" y="6"/>
                    </a:lnTo>
                    <a:lnTo>
                      <a:pt x="21" y="6"/>
                    </a:lnTo>
                    <a:lnTo>
                      <a:pt x="22" y="1"/>
                    </a:lnTo>
                    <a:lnTo>
                      <a:pt x="24" y="0"/>
                    </a:lnTo>
                    <a:lnTo>
                      <a:pt x="27" y="1"/>
                    </a:lnTo>
                    <a:lnTo>
                      <a:pt x="22" y="17"/>
                    </a:lnTo>
                    <a:lnTo>
                      <a:pt x="21" y="19"/>
                    </a:lnTo>
                    <a:lnTo>
                      <a:pt x="18" y="30"/>
                    </a:lnTo>
                    <a:lnTo>
                      <a:pt x="13" y="35"/>
                    </a:lnTo>
                    <a:lnTo>
                      <a:pt x="11" y="36"/>
                    </a:lnTo>
                    <a:lnTo>
                      <a:pt x="8" y="33"/>
                    </a:lnTo>
                    <a:lnTo>
                      <a:pt x="2" y="30"/>
                    </a:lnTo>
                    <a:lnTo>
                      <a:pt x="0" y="26"/>
                    </a:lnTo>
                    <a:lnTo>
                      <a:pt x="2" y="23"/>
                    </a:lnTo>
                    <a:lnTo>
                      <a:pt x="13" y="10"/>
                    </a:lnTo>
                    <a:lnTo>
                      <a:pt x="16" y="9"/>
                    </a:lnTo>
                    <a:lnTo>
                      <a:pt x="18" y="6"/>
                    </a:lnTo>
                    <a:lnTo>
                      <a:pt x="19" y="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96" name="Freeform 1160"/>
              <p:cNvSpPr>
                <a:spLocks/>
              </p:cNvSpPr>
              <p:nvPr/>
            </p:nvSpPr>
            <p:spPr bwMode="auto">
              <a:xfrm>
                <a:off x="4515228" y="1397466"/>
                <a:ext cx="94802" cy="112569"/>
              </a:xfrm>
              <a:custGeom>
                <a:avLst/>
                <a:gdLst/>
                <a:ahLst/>
                <a:cxnLst>
                  <a:cxn ang="0">
                    <a:pos x="41" y="34"/>
                  </a:cxn>
                  <a:cxn ang="0">
                    <a:pos x="45" y="26"/>
                  </a:cxn>
                  <a:cxn ang="0">
                    <a:pos x="51" y="21"/>
                  </a:cxn>
                  <a:cxn ang="0">
                    <a:pos x="58" y="13"/>
                  </a:cxn>
                  <a:cxn ang="0">
                    <a:pos x="62" y="13"/>
                  </a:cxn>
                  <a:cxn ang="0">
                    <a:pos x="70" y="12"/>
                  </a:cxn>
                  <a:cxn ang="0">
                    <a:pos x="71" y="19"/>
                  </a:cxn>
                  <a:cxn ang="0">
                    <a:pos x="74" y="16"/>
                  </a:cxn>
                  <a:cxn ang="0">
                    <a:pos x="78" y="15"/>
                  </a:cxn>
                  <a:cxn ang="0">
                    <a:pos x="84" y="12"/>
                  </a:cxn>
                  <a:cxn ang="0">
                    <a:pos x="80" y="6"/>
                  </a:cxn>
                  <a:cxn ang="0">
                    <a:pos x="89" y="0"/>
                  </a:cxn>
                  <a:cxn ang="0">
                    <a:pos x="103" y="15"/>
                  </a:cxn>
                  <a:cxn ang="0">
                    <a:pos x="99" y="21"/>
                  </a:cxn>
                  <a:cxn ang="0">
                    <a:pos x="90" y="26"/>
                  </a:cxn>
                  <a:cxn ang="0">
                    <a:pos x="97" y="39"/>
                  </a:cxn>
                  <a:cxn ang="0">
                    <a:pos x="93" y="39"/>
                  </a:cxn>
                  <a:cxn ang="0">
                    <a:pos x="94" y="45"/>
                  </a:cxn>
                  <a:cxn ang="0">
                    <a:pos x="97" y="55"/>
                  </a:cxn>
                  <a:cxn ang="0">
                    <a:pos x="84" y="63"/>
                  </a:cxn>
                  <a:cxn ang="0">
                    <a:pos x="81" y="76"/>
                  </a:cxn>
                  <a:cxn ang="0">
                    <a:pos x="74" y="80"/>
                  </a:cxn>
                  <a:cxn ang="0">
                    <a:pos x="70" y="48"/>
                  </a:cxn>
                  <a:cxn ang="0">
                    <a:pos x="64" y="54"/>
                  </a:cxn>
                  <a:cxn ang="0">
                    <a:pos x="64" y="64"/>
                  </a:cxn>
                  <a:cxn ang="0">
                    <a:pos x="55" y="63"/>
                  </a:cxn>
                  <a:cxn ang="0">
                    <a:pos x="57" y="68"/>
                  </a:cxn>
                  <a:cxn ang="0">
                    <a:pos x="60" y="79"/>
                  </a:cxn>
                  <a:cxn ang="0">
                    <a:pos x="54" y="89"/>
                  </a:cxn>
                  <a:cxn ang="0">
                    <a:pos x="48" y="74"/>
                  </a:cxn>
                  <a:cxn ang="0">
                    <a:pos x="45" y="83"/>
                  </a:cxn>
                  <a:cxn ang="0">
                    <a:pos x="47" y="87"/>
                  </a:cxn>
                  <a:cxn ang="0">
                    <a:pos x="47" y="98"/>
                  </a:cxn>
                  <a:cxn ang="0">
                    <a:pos x="42" y="103"/>
                  </a:cxn>
                  <a:cxn ang="0">
                    <a:pos x="36" y="108"/>
                  </a:cxn>
                  <a:cxn ang="0">
                    <a:pos x="32" y="96"/>
                  </a:cxn>
                  <a:cxn ang="0">
                    <a:pos x="29" y="83"/>
                  </a:cxn>
                  <a:cxn ang="0">
                    <a:pos x="23" y="100"/>
                  </a:cxn>
                  <a:cxn ang="0">
                    <a:pos x="15" y="92"/>
                  </a:cxn>
                  <a:cxn ang="0">
                    <a:pos x="13" y="93"/>
                  </a:cxn>
                  <a:cxn ang="0">
                    <a:pos x="4" y="100"/>
                  </a:cxn>
                  <a:cxn ang="0">
                    <a:pos x="4" y="86"/>
                  </a:cxn>
                  <a:cxn ang="0">
                    <a:pos x="2" y="83"/>
                  </a:cxn>
                  <a:cxn ang="0">
                    <a:pos x="7" y="73"/>
                  </a:cxn>
                  <a:cxn ang="0">
                    <a:pos x="12" y="70"/>
                  </a:cxn>
                  <a:cxn ang="0">
                    <a:pos x="17" y="71"/>
                  </a:cxn>
                  <a:cxn ang="0">
                    <a:pos x="23" y="55"/>
                  </a:cxn>
                  <a:cxn ang="0">
                    <a:pos x="28" y="54"/>
                  </a:cxn>
                  <a:cxn ang="0">
                    <a:pos x="35" y="47"/>
                  </a:cxn>
                  <a:cxn ang="0">
                    <a:pos x="38" y="37"/>
                  </a:cxn>
                </a:cxnLst>
                <a:rect l="0" t="0" r="r" b="b"/>
                <a:pathLst>
                  <a:path w="103" h="108">
                    <a:moveTo>
                      <a:pt x="39" y="35"/>
                    </a:moveTo>
                    <a:lnTo>
                      <a:pt x="39" y="37"/>
                    </a:lnTo>
                    <a:lnTo>
                      <a:pt x="41" y="34"/>
                    </a:lnTo>
                    <a:lnTo>
                      <a:pt x="42" y="32"/>
                    </a:lnTo>
                    <a:lnTo>
                      <a:pt x="44" y="29"/>
                    </a:lnTo>
                    <a:lnTo>
                      <a:pt x="45" y="26"/>
                    </a:lnTo>
                    <a:lnTo>
                      <a:pt x="48" y="26"/>
                    </a:lnTo>
                    <a:lnTo>
                      <a:pt x="48" y="23"/>
                    </a:lnTo>
                    <a:lnTo>
                      <a:pt x="51" y="21"/>
                    </a:lnTo>
                    <a:lnTo>
                      <a:pt x="51" y="16"/>
                    </a:lnTo>
                    <a:lnTo>
                      <a:pt x="57" y="15"/>
                    </a:lnTo>
                    <a:lnTo>
                      <a:pt x="58" y="13"/>
                    </a:lnTo>
                    <a:lnTo>
                      <a:pt x="60" y="13"/>
                    </a:lnTo>
                    <a:lnTo>
                      <a:pt x="61" y="15"/>
                    </a:lnTo>
                    <a:lnTo>
                      <a:pt x="62" y="13"/>
                    </a:lnTo>
                    <a:lnTo>
                      <a:pt x="65" y="13"/>
                    </a:lnTo>
                    <a:lnTo>
                      <a:pt x="67" y="12"/>
                    </a:lnTo>
                    <a:lnTo>
                      <a:pt x="70" y="12"/>
                    </a:lnTo>
                    <a:lnTo>
                      <a:pt x="68" y="16"/>
                    </a:lnTo>
                    <a:lnTo>
                      <a:pt x="70" y="21"/>
                    </a:lnTo>
                    <a:lnTo>
                      <a:pt x="71" y="19"/>
                    </a:lnTo>
                    <a:lnTo>
                      <a:pt x="70" y="16"/>
                    </a:lnTo>
                    <a:lnTo>
                      <a:pt x="71" y="13"/>
                    </a:lnTo>
                    <a:lnTo>
                      <a:pt x="74" y="16"/>
                    </a:lnTo>
                    <a:lnTo>
                      <a:pt x="77" y="18"/>
                    </a:lnTo>
                    <a:lnTo>
                      <a:pt x="78" y="18"/>
                    </a:lnTo>
                    <a:lnTo>
                      <a:pt x="78" y="15"/>
                    </a:lnTo>
                    <a:lnTo>
                      <a:pt x="83" y="16"/>
                    </a:lnTo>
                    <a:lnTo>
                      <a:pt x="86" y="13"/>
                    </a:lnTo>
                    <a:lnTo>
                      <a:pt x="84" y="12"/>
                    </a:lnTo>
                    <a:lnTo>
                      <a:pt x="83" y="12"/>
                    </a:lnTo>
                    <a:lnTo>
                      <a:pt x="81" y="10"/>
                    </a:lnTo>
                    <a:lnTo>
                      <a:pt x="80" y="6"/>
                    </a:lnTo>
                    <a:lnTo>
                      <a:pt x="81" y="6"/>
                    </a:lnTo>
                    <a:lnTo>
                      <a:pt x="83" y="3"/>
                    </a:lnTo>
                    <a:lnTo>
                      <a:pt x="89" y="0"/>
                    </a:lnTo>
                    <a:lnTo>
                      <a:pt x="94" y="6"/>
                    </a:lnTo>
                    <a:lnTo>
                      <a:pt x="94" y="7"/>
                    </a:lnTo>
                    <a:lnTo>
                      <a:pt x="103" y="15"/>
                    </a:lnTo>
                    <a:lnTo>
                      <a:pt x="103" y="18"/>
                    </a:lnTo>
                    <a:lnTo>
                      <a:pt x="103" y="19"/>
                    </a:lnTo>
                    <a:lnTo>
                      <a:pt x="99" y="21"/>
                    </a:lnTo>
                    <a:lnTo>
                      <a:pt x="99" y="22"/>
                    </a:lnTo>
                    <a:lnTo>
                      <a:pt x="92" y="23"/>
                    </a:lnTo>
                    <a:lnTo>
                      <a:pt x="90" y="26"/>
                    </a:lnTo>
                    <a:lnTo>
                      <a:pt x="90" y="28"/>
                    </a:lnTo>
                    <a:lnTo>
                      <a:pt x="92" y="31"/>
                    </a:lnTo>
                    <a:lnTo>
                      <a:pt x="97" y="39"/>
                    </a:lnTo>
                    <a:lnTo>
                      <a:pt x="97" y="42"/>
                    </a:lnTo>
                    <a:lnTo>
                      <a:pt x="96" y="42"/>
                    </a:lnTo>
                    <a:lnTo>
                      <a:pt x="93" y="39"/>
                    </a:lnTo>
                    <a:lnTo>
                      <a:pt x="92" y="42"/>
                    </a:lnTo>
                    <a:lnTo>
                      <a:pt x="92" y="45"/>
                    </a:lnTo>
                    <a:lnTo>
                      <a:pt x="94" y="45"/>
                    </a:lnTo>
                    <a:lnTo>
                      <a:pt x="94" y="48"/>
                    </a:lnTo>
                    <a:lnTo>
                      <a:pt x="96" y="50"/>
                    </a:lnTo>
                    <a:lnTo>
                      <a:pt x="97" y="55"/>
                    </a:lnTo>
                    <a:lnTo>
                      <a:pt x="94" y="58"/>
                    </a:lnTo>
                    <a:lnTo>
                      <a:pt x="90" y="61"/>
                    </a:lnTo>
                    <a:lnTo>
                      <a:pt x="84" y="63"/>
                    </a:lnTo>
                    <a:lnTo>
                      <a:pt x="83" y="64"/>
                    </a:lnTo>
                    <a:lnTo>
                      <a:pt x="81" y="67"/>
                    </a:lnTo>
                    <a:lnTo>
                      <a:pt x="81" y="76"/>
                    </a:lnTo>
                    <a:lnTo>
                      <a:pt x="81" y="79"/>
                    </a:lnTo>
                    <a:lnTo>
                      <a:pt x="77" y="80"/>
                    </a:lnTo>
                    <a:lnTo>
                      <a:pt x="74" y="80"/>
                    </a:lnTo>
                    <a:lnTo>
                      <a:pt x="68" y="70"/>
                    </a:lnTo>
                    <a:lnTo>
                      <a:pt x="71" y="48"/>
                    </a:lnTo>
                    <a:lnTo>
                      <a:pt x="70" y="48"/>
                    </a:lnTo>
                    <a:lnTo>
                      <a:pt x="67" y="50"/>
                    </a:lnTo>
                    <a:lnTo>
                      <a:pt x="64" y="50"/>
                    </a:lnTo>
                    <a:lnTo>
                      <a:pt x="64" y="54"/>
                    </a:lnTo>
                    <a:lnTo>
                      <a:pt x="61" y="55"/>
                    </a:lnTo>
                    <a:lnTo>
                      <a:pt x="62" y="57"/>
                    </a:lnTo>
                    <a:lnTo>
                      <a:pt x="64" y="64"/>
                    </a:lnTo>
                    <a:lnTo>
                      <a:pt x="61" y="67"/>
                    </a:lnTo>
                    <a:lnTo>
                      <a:pt x="58" y="63"/>
                    </a:lnTo>
                    <a:lnTo>
                      <a:pt x="55" y="63"/>
                    </a:lnTo>
                    <a:lnTo>
                      <a:pt x="55" y="64"/>
                    </a:lnTo>
                    <a:lnTo>
                      <a:pt x="55" y="67"/>
                    </a:lnTo>
                    <a:lnTo>
                      <a:pt x="57" y="68"/>
                    </a:lnTo>
                    <a:lnTo>
                      <a:pt x="58" y="70"/>
                    </a:lnTo>
                    <a:lnTo>
                      <a:pt x="60" y="76"/>
                    </a:lnTo>
                    <a:lnTo>
                      <a:pt x="60" y="79"/>
                    </a:lnTo>
                    <a:lnTo>
                      <a:pt x="55" y="82"/>
                    </a:lnTo>
                    <a:lnTo>
                      <a:pt x="55" y="86"/>
                    </a:lnTo>
                    <a:lnTo>
                      <a:pt x="54" y="89"/>
                    </a:lnTo>
                    <a:lnTo>
                      <a:pt x="54" y="89"/>
                    </a:lnTo>
                    <a:lnTo>
                      <a:pt x="52" y="90"/>
                    </a:lnTo>
                    <a:lnTo>
                      <a:pt x="48" y="74"/>
                    </a:lnTo>
                    <a:lnTo>
                      <a:pt x="47" y="77"/>
                    </a:lnTo>
                    <a:lnTo>
                      <a:pt x="45" y="76"/>
                    </a:lnTo>
                    <a:lnTo>
                      <a:pt x="45" y="83"/>
                    </a:lnTo>
                    <a:lnTo>
                      <a:pt x="47" y="84"/>
                    </a:lnTo>
                    <a:lnTo>
                      <a:pt x="45" y="87"/>
                    </a:lnTo>
                    <a:lnTo>
                      <a:pt x="47" y="87"/>
                    </a:lnTo>
                    <a:lnTo>
                      <a:pt x="42" y="90"/>
                    </a:lnTo>
                    <a:lnTo>
                      <a:pt x="45" y="92"/>
                    </a:lnTo>
                    <a:lnTo>
                      <a:pt x="47" y="98"/>
                    </a:lnTo>
                    <a:lnTo>
                      <a:pt x="45" y="98"/>
                    </a:lnTo>
                    <a:lnTo>
                      <a:pt x="44" y="102"/>
                    </a:lnTo>
                    <a:lnTo>
                      <a:pt x="42" y="103"/>
                    </a:lnTo>
                    <a:lnTo>
                      <a:pt x="39" y="103"/>
                    </a:lnTo>
                    <a:lnTo>
                      <a:pt x="38" y="100"/>
                    </a:lnTo>
                    <a:lnTo>
                      <a:pt x="36" y="108"/>
                    </a:lnTo>
                    <a:lnTo>
                      <a:pt x="33" y="102"/>
                    </a:lnTo>
                    <a:lnTo>
                      <a:pt x="33" y="96"/>
                    </a:lnTo>
                    <a:lnTo>
                      <a:pt x="32" y="96"/>
                    </a:lnTo>
                    <a:lnTo>
                      <a:pt x="29" y="92"/>
                    </a:lnTo>
                    <a:lnTo>
                      <a:pt x="31" y="89"/>
                    </a:lnTo>
                    <a:lnTo>
                      <a:pt x="29" y="83"/>
                    </a:lnTo>
                    <a:lnTo>
                      <a:pt x="26" y="86"/>
                    </a:lnTo>
                    <a:lnTo>
                      <a:pt x="26" y="93"/>
                    </a:lnTo>
                    <a:lnTo>
                      <a:pt x="23" y="100"/>
                    </a:lnTo>
                    <a:lnTo>
                      <a:pt x="20" y="96"/>
                    </a:lnTo>
                    <a:lnTo>
                      <a:pt x="15" y="93"/>
                    </a:lnTo>
                    <a:lnTo>
                      <a:pt x="15" y="92"/>
                    </a:lnTo>
                    <a:lnTo>
                      <a:pt x="15" y="90"/>
                    </a:lnTo>
                    <a:lnTo>
                      <a:pt x="15" y="87"/>
                    </a:lnTo>
                    <a:lnTo>
                      <a:pt x="13" y="93"/>
                    </a:lnTo>
                    <a:lnTo>
                      <a:pt x="12" y="95"/>
                    </a:lnTo>
                    <a:lnTo>
                      <a:pt x="9" y="99"/>
                    </a:lnTo>
                    <a:lnTo>
                      <a:pt x="4" y="100"/>
                    </a:lnTo>
                    <a:lnTo>
                      <a:pt x="3" y="98"/>
                    </a:lnTo>
                    <a:lnTo>
                      <a:pt x="6" y="87"/>
                    </a:lnTo>
                    <a:lnTo>
                      <a:pt x="4" y="86"/>
                    </a:lnTo>
                    <a:lnTo>
                      <a:pt x="0" y="90"/>
                    </a:lnTo>
                    <a:lnTo>
                      <a:pt x="0" y="86"/>
                    </a:lnTo>
                    <a:lnTo>
                      <a:pt x="2" y="83"/>
                    </a:lnTo>
                    <a:lnTo>
                      <a:pt x="3" y="80"/>
                    </a:lnTo>
                    <a:lnTo>
                      <a:pt x="4" y="74"/>
                    </a:lnTo>
                    <a:lnTo>
                      <a:pt x="7" y="73"/>
                    </a:lnTo>
                    <a:lnTo>
                      <a:pt x="7" y="71"/>
                    </a:lnTo>
                    <a:lnTo>
                      <a:pt x="10" y="70"/>
                    </a:lnTo>
                    <a:lnTo>
                      <a:pt x="12" y="70"/>
                    </a:lnTo>
                    <a:lnTo>
                      <a:pt x="15" y="71"/>
                    </a:lnTo>
                    <a:lnTo>
                      <a:pt x="16" y="70"/>
                    </a:lnTo>
                    <a:lnTo>
                      <a:pt x="17" y="71"/>
                    </a:lnTo>
                    <a:lnTo>
                      <a:pt x="20" y="63"/>
                    </a:lnTo>
                    <a:lnTo>
                      <a:pt x="23" y="61"/>
                    </a:lnTo>
                    <a:lnTo>
                      <a:pt x="23" y="55"/>
                    </a:lnTo>
                    <a:lnTo>
                      <a:pt x="23" y="57"/>
                    </a:lnTo>
                    <a:lnTo>
                      <a:pt x="26" y="55"/>
                    </a:lnTo>
                    <a:lnTo>
                      <a:pt x="28" y="54"/>
                    </a:lnTo>
                    <a:lnTo>
                      <a:pt x="29" y="52"/>
                    </a:lnTo>
                    <a:lnTo>
                      <a:pt x="31" y="51"/>
                    </a:lnTo>
                    <a:lnTo>
                      <a:pt x="35" y="47"/>
                    </a:lnTo>
                    <a:lnTo>
                      <a:pt x="38" y="45"/>
                    </a:lnTo>
                    <a:lnTo>
                      <a:pt x="35" y="45"/>
                    </a:lnTo>
                    <a:lnTo>
                      <a:pt x="38" y="37"/>
                    </a:lnTo>
                    <a:lnTo>
                      <a:pt x="39" y="3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97" name="Freeform 1162"/>
              <p:cNvSpPr>
                <a:spLocks/>
              </p:cNvSpPr>
              <p:nvPr/>
            </p:nvSpPr>
            <p:spPr bwMode="auto">
              <a:xfrm>
                <a:off x="4618808" y="1441074"/>
                <a:ext cx="17556" cy="12170"/>
              </a:xfrm>
              <a:custGeom>
                <a:avLst/>
                <a:gdLst/>
                <a:ahLst/>
                <a:cxnLst>
                  <a:cxn ang="0">
                    <a:pos x="12" y="0"/>
                  </a:cxn>
                  <a:cxn ang="0">
                    <a:pos x="13" y="0"/>
                  </a:cxn>
                  <a:cxn ang="0">
                    <a:pos x="19" y="6"/>
                  </a:cxn>
                  <a:cxn ang="0">
                    <a:pos x="18" y="10"/>
                  </a:cxn>
                  <a:cxn ang="0">
                    <a:pos x="12" y="12"/>
                  </a:cxn>
                  <a:cxn ang="0">
                    <a:pos x="3" y="9"/>
                  </a:cxn>
                  <a:cxn ang="0">
                    <a:pos x="0" y="6"/>
                  </a:cxn>
                  <a:cxn ang="0">
                    <a:pos x="0" y="3"/>
                  </a:cxn>
                  <a:cxn ang="0">
                    <a:pos x="12" y="0"/>
                  </a:cxn>
                </a:cxnLst>
                <a:rect l="0" t="0" r="r" b="b"/>
                <a:pathLst>
                  <a:path w="19" h="12">
                    <a:moveTo>
                      <a:pt x="12" y="0"/>
                    </a:moveTo>
                    <a:lnTo>
                      <a:pt x="13" y="0"/>
                    </a:lnTo>
                    <a:lnTo>
                      <a:pt x="19" y="6"/>
                    </a:lnTo>
                    <a:lnTo>
                      <a:pt x="18" y="10"/>
                    </a:lnTo>
                    <a:lnTo>
                      <a:pt x="12" y="12"/>
                    </a:lnTo>
                    <a:lnTo>
                      <a:pt x="3" y="9"/>
                    </a:lnTo>
                    <a:lnTo>
                      <a:pt x="0" y="6"/>
                    </a:lnTo>
                    <a:lnTo>
                      <a:pt x="0" y="3"/>
                    </a:lnTo>
                    <a:lnTo>
                      <a:pt x="12"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98" name="Freeform 1163"/>
              <p:cNvSpPr>
                <a:spLocks/>
              </p:cNvSpPr>
              <p:nvPr/>
            </p:nvSpPr>
            <p:spPr bwMode="auto">
              <a:xfrm>
                <a:off x="4618808" y="1441074"/>
                <a:ext cx="17556" cy="12170"/>
              </a:xfrm>
              <a:custGeom>
                <a:avLst/>
                <a:gdLst/>
                <a:ahLst/>
                <a:cxnLst>
                  <a:cxn ang="0">
                    <a:pos x="12" y="0"/>
                  </a:cxn>
                  <a:cxn ang="0">
                    <a:pos x="13" y="0"/>
                  </a:cxn>
                  <a:cxn ang="0">
                    <a:pos x="19" y="6"/>
                  </a:cxn>
                  <a:cxn ang="0">
                    <a:pos x="18" y="10"/>
                  </a:cxn>
                  <a:cxn ang="0">
                    <a:pos x="12" y="12"/>
                  </a:cxn>
                  <a:cxn ang="0">
                    <a:pos x="3" y="9"/>
                  </a:cxn>
                  <a:cxn ang="0">
                    <a:pos x="0" y="6"/>
                  </a:cxn>
                  <a:cxn ang="0">
                    <a:pos x="0" y="3"/>
                  </a:cxn>
                  <a:cxn ang="0">
                    <a:pos x="12" y="0"/>
                  </a:cxn>
                </a:cxnLst>
                <a:rect l="0" t="0" r="r" b="b"/>
                <a:pathLst>
                  <a:path w="19" h="12">
                    <a:moveTo>
                      <a:pt x="12" y="0"/>
                    </a:moveTo>
                    <a:lnTo>
                      <a:pt x="13" y="0"/>
                    </a:lnTo>
                    <a:lnTo>
                      <a:pt x="19" y="6"/>
                    </a:lnTo>
                    <a:lnTo>
                      <a:pt x="18" y="10"/>
                    </a:lnTo>
                    <a:lnTo>
                      <a:pt x="12" y="12"/>
                    </a:lnTo>
                    <a:lnTo>
                      <a:pt x="3" y="9"/>
                    </a:lnTo>
                    <a:lnTo>
                      <a:pt x="0" y="6"/>
                    </a:lnTo>
                    <a:lnTo>
                      <a:pt x="0" y="3"/>
                    </a:lnTo>
                    <a:lnTo>
                      <a:pt x="12"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99" name="Freeform 1164"/>
              <p:cNvSpPr>
                <a:spLocks/>
              </p:cNvSpPr>
              <p:nvPr/>
            </p:nvSpPr>
            <p:spPr bwMode="auto">
              <a:xfrm>
                <a:off x="4638120" y="1357916"/>
                <a:ext cx="48278" cy="52735"/>
              </a:xfrm>
              <a:custGeom>
                <a:avLst/>
                <a:gdLst/>
                <a:ahLst/>
                <a:cxnLst>
                  <a:cxn ang="0">
                    <a:pos x="20" y="6"/>
                  </a:cxn>
                  <a:cxn ang="0">
                    <a:pos x="21" y="8"/>
                  </a:cxn>
                  <a:cxn ang="0">
                    <a:pos x="21" y="6"/>
                  </a:cxn>
                  <a:cxn ang="0">
                    <a:pos x="24" y="5"/>
                  </a:cxn>
                  <a:cxn ang="0">
                    <a:pos x="33" y="2"/>
                  </a:cxn>
                  <a:cxn ang="0">
                    <a:pos x="33" y="5"/>
                  </a:cxn>
                  <a:cxn ang="0">
                    <a:pos x="36" y="5"/>
                  </a:cxn>
                  <a:cxn ang="0">
                    <a:pos x="37" y="2"/>
                  </a:cxn>
                  <a:cxn ang="0">
                    <a:pos x="45" y="0"/>
                  </a:cxn>
                  <a:cxn ang="0">
                    <a:pos x="50" y="3"/>
                  </a:cxn>
                  <a:cxn ang="0">
                    <a:pos x="52" y="6"/>
                  </a:cxn>
                  <a:cxn ang="0">
                    <a:pos x="52" y="11"/>
                  </a:cxn>
                  <a:cxn ang="0">
                    <a:pos x="50" y="13"/>
                  </a:cxn>
                  <a:cxn ang="0">
                    <a:pos x="39" y="16"/>
                  </a:cxn>
                  <a:cxn ang="0">
                    <a:pos x="34" y="16"/>
                  </a:cxn>
                  <a:cxn ang="0">
                    <a:pos x="34" y="18"/>
                  </a:cxn>
                  <a:cxn ang="0">
                    <a:pos x="33" y="19"/>
                  </a:cxn>
                  <a:cxn ang="0">
                    <a:pos x="34" y="21"/>
                  </a:cxn>
                  <a:cxn ang="0">
                    <a:pos x="33" y="22"/>
                  </a:cxn>
                  <a:cxn ang="0">
                    <a:pos x="27" y="22"/>
                  </a:cxn>
                  <a:cxn ang="0">
                    <a:pos x="27" y="22"/>
                  </a:cxn>
                  <a:cxn ang="0">
                    <a:pos x="27" y="27"/>
                  </a:cxn>
                  <a:cxn ang="0">
                    <a:pos x="30" y="24"/>
                  </a:cxn>
                  <a:cxn ang="0">
                    <a:pos x="30" y="25"/>
                  </a:cxn>
                  <a:cxn ang="0">
                    <a:pos x="29" y="28"/>
                  </a:cxn>
                  <a:cxn ang="0">
                    <a:pos x="32" y="25"/>
                  </a:cxn>
                  <a:cxn ang="0">
                    <a:pos x="33" y="25"/>
                  </a:cxn>
                  <a:cxn ang="0">
                    <a:pos x="33" y="28"/>
                  </a:cxn>
                  <a:cxn ang="0">
                    <a:pos x="34" y="27"/>
                  </a:cxn>
                  <a:cxn ang="0">
                    <a:pos x="34" y="24"/>
                  </a:cxn>
                  <a:cxn ang="0">
                    <a:pos x="36" y="22"/>
                  </a:cxn>
                  <a:cxn ang="0">
                    <a:pos x="37" y="24"/>
                  </a:cxn>
                  <a:cxn ang="0">
                    <a:pos x="40" y="25"/>
                  </a:cxn>
                  <a:cxn ang="0">
                    <a:pos x="45" y="24"/>
                  </a:cxn>
                  <a:cxn ang="0">
                    <a:pos x="45" y="40"/>
                  </a:cxn>
                  <a:cxn ang="0">
                    <a:pos x="42" y="44"/>
                  </a:cxn>
                  <a:cxn ang="0">
                    <a:pos x="33" y="47"/>
                  </a:cxn>
                  <a:cxn ang="0">
                    <a:pos x="30" y="45"/>
                  </a:cxn>
                  <a:cxn ang="0">
                    <a:pos x="20" y="51"/>
                  </a:cxn>
                  <a:cxn ang="0">
                    <a:pos x="17" y="51"/>
                  </a:cxn>
                  <a:cxn ang="0">
                    <a:pos x="13" y="50"/>
                  </a:cxn>
                  <a:cxn ang="0">
                    <a:pos x="11" y="47"/>
                  </a:cxn>
                  <a:cxn ang="0">
                    <a:pos x="11" y="45"/>
                  </a:cxn>
                  <a:cxn ang="0">
                    <a:pos x="4" y="43"/>
                  </a:cxn>
                  <a:cxn ang="0">
                    <a:pos x="1" y="40"/>
                  </a:cxn>
                  <a:cxn ang="0">
                    <a:pos x="1" y="37"/>
                  </a:cxn>
                  <a:cxn ang="0">
                    <a:pos x="3" y="34"/>
                  </a:cxn>
                  <a:cxn ang="0">
                    <a:pos x="0" y="22"/>
                  </a:cxn>
                  <a:cxn ang="0">
                    <a:pos x="1" y="16"/>
                  </a:cxn>
                  <a:cxn ang="0">
                    <a:pos x="1" y="15"/>
                  </a:cxn>
                  <a:cxn ang="0">
                    <a:pos x="8" y="13"/>
                  </a:cxn>
                  <a:cxn ang="0">
                    <a:pos x="10" y="11"/>
                  </a:cxn>
                  <a:cxn ang="0">
                    <a:pos x="11" y="9"/>
                  </a:cxn>
                  <a:cxn ang="0">
                    <a:pos x="14" y="11"/>
                  </a:cxn>
                  <a:cxn ang="0">
                    <a:pos x="16" y="8"/>
                  </a:cxn>
                  <a:cxn ang="0">
                    <a:pos x="19" y="8"/>
                  </a:cxn>
                  <a:cxn ang="0">
                    <a:pos x="20" y="6"/>
                  </a:cxn>
                </a:cxnLst>
                <a:rect l="0" t="0" r="r" b="b"/>
                <a:pathLst>
                  <a:path w="52" h="51">
                    <a:moveTo>
                      <a:pt x="20" y="6"/>
                    </a:moveTo>
                    <a:lnTo>
                      <a:pt x="21" y="8"/>
                    </a:lnTo>
                    <a:lnTo>
                      <a:pt x="21" y="6"/>
                    </a:lnTo>
                    <a:lnTo>
                      <a:pt x="24" y="5"/>
                    </a:lnTo>
                    <a:lnTo>
                      <a:pt x="33" y="2"/>
                    </a:lnTo>
                    <a:lnTo>
                      <a:pt x="33" y="5"/>
                    </a:lnTo>
                    <a:lnTo>
                      <a:pt x="36" y="5"/>
                    </a:lnTo>
                    <a:lnTo>
                      <a:pt x="37" y="2"/>
                    </a:lnTo>
                    <a:lnTo>
                      <a:pt x="45" y="0"/>
                    </a:lnTo>
                    <a:lnTo>
                      <a:pt x="50" y="3"/>
                    </a:lnTo>
                    <a:lnTo>
                      <a:pt x="52" y="6"/>
                    </a:lnTo>
                    <a:lnTo>
                      <a:pt x="52" y="11"/>
                    </a:lnTo>
                    <a:lnTo>
                      <a:pt x="50" y="13"/>
                    </a:lnTo>
                    <a:lnTo>
                      <a:pt x="39" y="16"/>
                    </a:lnTo>
                    <a:lnTo>
                      <a:pt x="34" y="16"/>
                    </a:lnTo>
                    <a:lnTo>
                      <a:pt x="34" y="18"/>
                    </a:lnTo>
                    <a:lnTo>
                      <a:pt x="33" y="19"/>
                    </a:lnTo>
                    <a:lnTo>
                      <a:pt x="34" y="21"/>
                    </a:lnTo>
                    <a:lnTo>
                      <a:pt x="33" y="22"/>
                    </a:lnTo>
                    <a:lnTo>
                      <a:pt x="27" y="22"/>
                    </a:lnTo>
                    <a:lnTo>
                      <a:pt x="27" y="22"/>
                    </a:lnTo>
                    <a:lnTo>
                      <a:pt x="27" y="27"/>
                    </a:lnTo>
                    <a:lnTo>
                      <a:pt x="30" y="24"/>
                    </a:lnTo>
                    <a:lnTo>
                      <a:pt x="30" y="25"/>
                    </a:lnTo>
                    <a:lnTo>
                      <a:pt x="29" y="28"/>
                    </a:lnTo>
                    <a:lnTo>
                      <a:pt x="32" y="25"/>
                    </a:lnTo>
                    <a:lnTo>
                      <a:pt x="33" y="25"/>
                    </a:lnTo>
                    <a:lnTo>
                      <a:pt x="33" y="28"/>
                    </a:lnTo>
                    <a:lnTo>
                      <a:pt x="34" y="27"/>
                    </a:lnTo>
                    <a:lnTo>
                      <a:pt x="34" y="24"/>
                    </a:lnTo>
                    <a:lnTo>
                      <a:pt x="36" y="22"/>
                    </a:lnTo>
                    <a:lnTo>
                      <a:pt x="37" y="24"/>
                    </a:lnTo>
                    <a:lnTo>
                      <a:pt x="40" y="25"/>
                    </a:lnTo>
                    <a:lnTo>
                      <a:pt x="45" y="24"/>
                    </a:lnTo>
                    <a:lnTo>
                      <a:pt x="45" y="40"/>
                    </a:lnTo>
                    <a:lnTo>
                      <a:pt x="42" y="44"/>
                    </a:lnTo>
                    <a:lnTo>
                      <a:pt x="33" y="47"/>
                    </a:lnTo>
                    <a:lnTo>
                      <a:pt x="30" y="45"/>
                    </a:lnTo>
                    <a:lnTo>
                      <a:pt x="20" y="51"/>
                    </a:lnTo>
                    <a:lnTo>
                      <a:pt x="17" y="51"/>
                    </a:lnTo>
                    <a:lnTo>
                      <a:pt x="13" y="50"/>
                    </a:lnTo>
                    <a:lnTo>
                      <a:pt x="11" y="47"/>
                    </a:lnTo>
                    <a:lnTo>
                      <a:pt x="11" y="45"/>
                    </a:lnTo>
                    <a:lnTo>
                      <a:pt x="4" y="43"/>
                    </a:lnTo>
                    <a:lnTo>
                      <a:pt x="1" y="40"/>
                    </a:lnTo>
                    <a:lnTo>
                      <a:pt x="1" y="37"/>
                    </a:lnTo>
                    <a:lnTo>
                      <a:pt x="3" y="34"/>
                    </a:lnTo>
                    <a:lnTo>
                      <a:pt x="0" y="22"/>
                    </a:lnTo>
                    <a:lnTo>
                      <a:pt x="1" y="16"/>
                    </a:lnTo>
                    <a:lnTo>
                      <a:pt x="1" y="15"/>
                    </a:lnTo>
                    <a:lnTo>
                      <a:pt x="8" y="13"/>
                    </a:lnTo>
                    <a:lnTo>
                      <a:pt x="10" y="11"/>
                    </a:lnTo>
                    <a:lnTo>
                      <a:pt x="11" y="9"/>
                    </a:lnTo>
                    <a:lnTo>
                      <a:pt x="14" y="11"/>
                    </a:lnTo>
                    <a:lnTo>
                      <a:pt x="16" y="8"/>
                    </a:lnTo>
                    <a:lnTo>
                      <a:pt x="19" y="8"/>
                    </a:lnTo>
                    <a:lnTo>
                      <a:pt x="20" y="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00" name="Freeform 1166"/>
              <p:cNvSpPr>
                <a:spLocks/>
              </p:cNvSpPr>
              <p:nvPr/>
            </p:nvSpPr>
            <p:spPr bwMode="auto">
              <a:xfrm>
                <a:off x="4616175" y="1362986"/>
                <a:ext cx="19312" cy="25353"/>
              </a:xfrm>
              <a:custGeom>
                <a:avLst/>
                <a:gdLst/>
                <a:ahLst/>
                <a:cxnLst>
                  <a:cxn ang="0">
                    <a:pos x="2" y="7"/>
                  </a:cxn>
                  <a:cxn ang="0">
                    <a:pos x="3" y="6"/>
                  </a:cxn>
                  <a:cxn ang="0">
                    <a:pos x="5" y="7"/>
                  </a:cxn>
                  <a:cxn ang="0">
                    <a:pos x="5" y="4"/>
                  </a:cxn>
                  <a:cxn ang="0">
                    <a:pos x="5" y="3"/>
                  </a:cxn>
                  <a:cxn ang="0">
                    <a:pos x="9" y="0"/>
                  </a:cxn>
                  <a:cxn ang="0">
                    <a:pos x="9" y="1"/>
                  </a:cxn>
                  <a:cxn ang="0">
                    <a:pos x="9" y="3"/>
                  </a:cxn>
                  <a:cxn ang="0">
                    <a:pos x="11" y="6"/>
                  </a:cxn>
                  <a:cxn ang="0">
                    <a:pos x="19" y="14"/>
                  </a:cxn>
                  <a:cxn ang="0">
                    <a:pos x="21" y="17"/>
                  </a:cxn>
                  <a:cxn ang="0">
                    <a:pos x="18" y="22"/>
                  </a:cxn>
                  <a:cxn ang="0">
                    <a:pos x="12" y="24"/>
                  </a:cxn>
                  <a:cxn ang="0">
                    <a:pos x="8" y="20"/>
                  </a:cxn>
                  <a:cxn ang="0">
                    <a:pos x="5" y="13"/>
                  </a:cxn>
                  <a:cxn ang="0">
                    <a:pos x="3" y="14"/>
                  </a:cxn>
                  <a:cxn ang="0">
                    <a:pos x="2" y="10"/>
                  </a:cxn>
                  <a:cxn ang="0">
                    <a:pos x="0" y="7"/>
                  </a:cxn>
                  <a:cxn ang="0">
                    <a:pos x="2" y="7"/>
                  </a:cxn>
                </a:cxnLst>
                <a:rect l="0" t="0" r="r" b="b"/>
                <a:pathLst>
                  <a:path w="21" h="24">
                    <a:moveTo>
                      <a:pt x="2" y="7"/>
                    </a:moveTo>
                    <a:lnTo>
                      <a:pt x="3" y="6"/>
                    </a:lnTo>
                    <a:lnTo>
                      <a:pt x="5" y="7"/>
                    </a:lnTo>
                    <a:lnTo>
                      <a:pt x="5" y="4"/>
                    </a:lnTo>
                    <a:lnTo>
                      <a:pt x="5" y="3"/>
                    </a:lnTo>
                    <a:lnTo>
                      <a:pt x="9" y="0"/>
                    </a:lnTo>
                    <a:lnTo>
                      <a:pt x="9" y="1"/>
                    </a:lnTo>
                    <a:lnTo>
                      <a:pt x="9" y="3"/>
                    </a:lnTo>
                    <a:lnTo>
                      <a:pt x="11" y="6"/>
                    </a:lnTo>
                    <a:lnTo>
                      <a:pt x="19" y="14"/>
                    </a:lnTo>
                    <a:lnTo>
                      <a:pt x="21" y="17"/>
                    </a:lnTo>
                    <a:lnTo>
                      <a:pt x="18" y="22"/>
                    </a:lnTo>
                    <a:lnTo>
                      <a:pt x="12" y="24"/>
                    </a:lnTo>
                    <a:lnTo>
                      <a:pt x="8" y="20"/>
                    </a:lnTo>
                    <a:lnTo>
                      <a:pt x="5" y="13"/>
                    </a:lnTo>
                    <a:lnTo>
                      <a:pt x="3" y="14"/>
                    </a:lnTo>
                    <a:lnTo>
                      <a:pt x="2" y="10"/>
                    </a:lnTo>
                    <a:lnTo>
                      <a:pt x="0" y="7"/>
                    </a:lnTo>
                    <a:lnTo>
                      <a:pt x="2" y="7"/>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01" name="Freeform 1168"/>
              <p:cNvSpPr>
                <a:spLocks/>
              </p:cNvSpPr>
              <p:nvPr/>
            </p:nvSpPr>
            <p:spPr bwMode="auto">
              <a:xfrm>
                <a:off x="4638120" y="1311265"/>
                <a:ext cx="51790" cy="36509"/>
              </a:xfrm>
              <a:custGeom>
                <a:avLst/>
                <a:gdLst/>
                <a:ahLst/>
                <a:cxnLst>
                  <a:cxn ang="0">
                    <a:pos x="48" y="9"/>
                  </a:cxn>
                  <a:cxn ang="0">
                    <a:pos x="49" y="9"/>
                  </a:cxn>
                  <a:cxn ang="0">
                    <a:pos x="49" y="12"/>
                  </a:cxn>
                  <a:cxn ang="0">
                    <a:pos x="53" y="13"/>
                  </a:cxn>
                  <a:cxn ang="0">
                    <a:pos x="53" y="15"/>
                  </a:cxn>
                  <a:cxn ang="0">
                    <a:pos x="56" y="18"/>
                  </a:cxn>
                  <a:cxn ang="0">
                    <a:pos x="56" y="31"/>
                  </a:cxn>
                  <a:cxn ang="0">
                    <a:pos x="53" y="32"/>
                  </a:cxn>
                  <a:cxn ang="0">
                    <a:pos x="50" y="32"/>
                  </a:cxn>
                  <a:cxn ang="0">
                    <a:pos x="49" y="32"/>
                  </a:cxn>
                  <a:cxn ang="0">
                    <a:pos x="42" y="34"/>
                  </a:cxn>
                  <a:cxn ang="0">
                    <a:pos x="39" y="34"/>
                  </a:cxn>
                  <a:cxn ang="0">
                    <a:pos x="33" y="28"/>
                  </a:cxn>
                  <a:cxn ang="0">
                    <a:pos x="32" y="27"/>
                  </a:cxn>
                  <a:cxn ang="0">
                    <a:pos x="30" y="25"/>
                  </a:cxn>
                  <a:cxn ang="0">
                    <a:pos x="29" y="25"/>
                  </a:cxn>
                  <a:cxn ang="0">
                    <a:pos x="27" y="24"/>
                  </a:cxn>
                  <a:cxn ang="0">
                    <a:pos x="27" y="28"/>
                  </a:cxn>
                  <a:cxn ang="0">
                    <a:pos x="29" y="31"/>
                  </a:cxn>
                  <a:cxn ang="0">
                    <a:pos x="27" y="31"/>
                  </a:cxn>
                  <a:cxn ang="0">
                    <a:pos x="27" y="34"/>
                  </a:cxn>
                  <a:cxn ang="0">
                    <a:pos x="23" y="35"/>
                  </a:cxn>
                  <a:cxn ang="0">
                    <a:pos x="20" y="29"/>
                  </a:cxn>
                  <a:cxn ang="0">
                    <a:pos x="16" y="28"/>
                  </a:cxn>
                  <a:cxn ang="0">
                    <a:pos x="14" y="27"/>
                  </a:cxn>
                  <a:cxn ang="0">
                    <a:pos x="13" y="27"/>
                  </a:cxn>
                  <a:cxn ang="0">
                    <a:pos x="13" y="28"/>
                  </a:cxn>
                  <a:cxn ang="0">
                    <a:pos x="13" y="29"/>
                  </a:cxn>
                  <a:cxn ang="0">
                    <a:pos x="11" y="28"/>
                  </a:cxn>
                  <a:cxn ang="0">
                    <a:pos x="8" y="29"/>
                  </a:cxn>
                  <a:cxn ang="0">
                    <a:pos x="8" y="32"/>
                  </a:cxn>
                  <a:cxn ang="0">
                    <a:pos x="8" y="35"/>
                  </a:cxn>
                  <a:cxn ang="0">
                    <a:pos x="7" y="32"/>
                  </a:cxn>
                  <a:cxn ang="0">
                    <a:pos x="4" y="35"/>
                  </a:cxn>
                  <a:cxn ang="0">
                    <a:pos x="3" y="34"/>
                  </a:cxn>
                  <a:cxn ang="0">
                    <a:pos x="1" y="31"/>
                  </a:cxn>
                  <a:cxn ang="0">
                    <a:pos x="0" y="31"/>
                  </a:cxn>
                  <a:cxn ang="0">
                    <a:pos x="3" y="25"/>
                  </a:cxn>
                  <a:cxn ang="0">
                    <a:pos x="5" y="21"/>
                  </a:cxn>
                  <a:cxn ang="0">
                    <a:pos x="7" y="22"/>
                  </a:cxn>
                  <a:cxn ang="0">
                    <a:pos x="8" y="22"/>
                  </a:cxn>
                  <a:cxn ang="0">
                    <a:pos x="8" y="21"/>
                  </a:cxn>
                  <a:cxn ang="0">
                    <a:pos x="14" y="16"/>
                  </a:cxn>
                  <a:cxn ang="0">
                    <a:pos x="27" y="12"/>
                  </a:cxn>
                  <a:cxn ang="0">
                    <a:pos x="30" y="5"/>
                  </a:cxn>
                  <a:cxn ang="0">
                    <a:pos x="32" y="8"/>
                  </a:cxn>
                  <a:cxn ang="0">
                    <a:pos x="36" y="0"/>
                  </a:cxn>
                  <a:cxn ang="0">
                    <a:pos x="40" y="0"/>
                  </a:cxn>
                  <a:cxn ang="0">
                    <a:pos x="42" y="2"/>
                  </a:cxn>
                  <a:cxn ang="0">
                    <a:pos x="42" y="3"/>
                  </a:cxn>
                  <a:cxn ang="0">
                    <a:pos x="43" y="3"/>
                  </a:cxn>
                  <a:cxn ang="0">
                    <a:pos x="45" y="6"/>
                  </a:cxn>
                  <a:cxn ang="0">
                    <a:pos x="48" y="8"/>
                  </a:cxn>
                  <a:cxn ang="0">
                    <a:pos x="48" y="9"/>
                  </a:cxn>
                </a:cxnLst>
                <a:rect l="0" t="0" r="r" b="b"/>
                <a:pathLst>
                  <a:path w="56" h="35">
                    <a:moveTo>
                      <a:pt x="48" y="9"/>
                    </a:moveTo>
                    <a:lnTo>
                      <a:pt x="49" y="9"/>
                    </a:lnTo>
                    <a:lnTo>
                      <a:pt x="49" y="12"/>
                    </a:lnTo>
                    <a:lnTo>
                      <a:pt x="53" y="13"/>
                    </a:lnTo>
                    <a:lnTo>
                      <a:pt x="53" y="15"/>
                    </a:lnTo>
                    <a:lnTo>
                      <a:pt x="56" y="18"/>
                    </a:lnTo>
                    <a:lnTo>
                      <a:pt x="56" y="31"/>
                    </a:lnTo>
                    <a:lnTo>
                      <a:pt x="53" y="32"/>
                    </a:lnTo>
                    <a:lnTo>
                      <a:pt x="50" y="32"/>
                    </a:lnTo>
                    <a:lnTo>
                      <a:pt x="49" y="32"/>
                    </a:lnTo>
                    <a:lnTo>
                      <a:pt x="42" y="34"/>
                    </a:lnTo>
                    <a:lnTo>
                      <a:pt x="39" y="34"/>
                    </a:lnTo>
                    <a:lnTo>
                      <a:pt x="33" y="28"/>
                    </a:lnTo>
                    <a:lnTo>
                      <a:pt x="32" y="27"/>
                    </a:lnTo>
                    <a:lnTo>
                      <a:pt x="30" y="25"/>
                    </a:lnTo>
                    <a:lnTo>
                      <a:pt x="29" y="25"/>
                    </a:lnTo>
                    <a:lnTo>
                      <a:pt x="27" y="24"/>
                    </a:lnTo>
                    <a:lnTo>
                      <a:pt x="27" y="28"/>
                    </a:lnTo>
                    <a:lnTo>
                      <a:pt x="29" y="31"/>
                    </a:lnTo>
                    <a:lnTo>
                      <a:pt x="27" y="31"/>
                    </a:lnTo>
                    <a:lnTo>
                      <a:pt x="27" y="34"/>
                    </a:lnTo>
                    <a:lnTo>
                      <a:pt x="23" y="35"/>
                    </a:lnTo>
                    <a:lnTo>
                      <a:pt x="20" y="29"/>
                    </a:lnTo>
                    <a:lnTo>
                      <a:pt x="16" y="28"/>
                    </a:lnTo>
                    <a:lnTo>
                      <a:pt x="14" y="27"/>
                    </a:lnTo>
                    <a:lnTo>
                      <a:pt x="13" y="27"/>
                    </a:lnTo>
                    <a:lnTo>
                      <a:pt x="13" y="28"/>
                    </a:lnTo>
                    <a:lnTo>
                      <a:pt x="13" y="29"/>
                    </a:lnTo>
                    <a:lnTo>
                      <a:pt x="11" y="28"/>
                    </a:lnTo>
                    <a:lnTo>
                      <a:pt x="8" y="29"/>
                    </a:lnTo>
                    <a:lnTo>
                      <a:pt x="8" y="32"/>
                    </a:lnTo>
                    <a:lnTo>
                      <a:pt x="8" y="35"/>
                    </a:lnTo>
                    <a:lnTo>
                      <a:pt x="7" y="32"/>
                    </a:lnTo>
                    <a:lnTo>
                      <a:pt x="4" y="35"/>
                    </a:lnTo>
                    <a:lnTo>
                      <a:pt x="3" y="34"/>
                    </a:lnTo>
                    <a:lnTo>
                      <a:pt x="1" y="31"/>
                    </a:lnTo>
                    <a:lnTo>
                      <a:pt x="0" y="31"/>
                    </a:lnTo>
                    <a:lnTo>
                      <a:pt x="3" y="25"/>
                    </a:lnTo>
                    <a:lnTo>
                      <a:pt x="5" y="21"/>
                    </a:lnTo>
                    <a:lnTo>
                      <a:pt x="7" y="22"/>
                    </a:lnTo>
                    <a:lnTo>
                      <a:pt x="8" y="22"/>
                    </a:lnTo>
                    <a:lnTo>
                      <a:pt x="8" y="21"/>
                    </a:lnTo>
                    <a:lnTo>
                      <a:pt x="14" y="16"/>
                    </a:lnTo>
                    <a:lnTo>
                      <a:pt x="27" y="12"/>
                    </a:lnTo>
                    <a:lnTo>
                      <a:pt x="30" y="5"/>
                    </a:lnTo>
                    <a:lnTo>
                      <a:pt x="32" y="8"/>
                    </a:lnTo>
                    <a:lnTo>
                      <a:pt x="36" y="0"/>
                    </a:lnTo>
                    <a:lnTo>
                      <a:pt x="40" y="0"/>
                    </a:lnTo>
                    <a:lnTo>
                      <a:pt x="42" y="2"/>
                    </a:lnTo>
                    <a:lnTo>
                      <a:pt x="42" y="3"/>
                    </a:lnTo>
                    <a:lnTo>
                      <a:pt x="43" y="3"/>
                    </a:lnTo>
                    <a:lnTo>
                      <a:pt x="45" y="6"/>
                    </a:lnTo>
                    <a:lnTo>
                      <a:pt x="48" y="8"/>
                    </a:lnTo>
                    <a:lnTo>
                      <a:pt x="48" y="9"/>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02" name="Freeform 1170"/>
              <p:cNvSpPr>
                <a:spLocks/>
              </p:cNvSpPr>
              <p:nvPr/>
            </p:nvSpPr>
            <p:spPr bwMode="auto">
              <a:xfrm>
                <a:off x="4863715" y="1380226"/>
                <a:ext cx="39501" cy="27381"/>
              </a:xfrm>
              <a:custGeom>
                <a:avLst/>
                <a:gdLst/>
                <a:ahLst/>
                <a:cxnLst>
                  <a:cxn ang="0">
                    <a:pos x="16" y="5"/>
                  </a:cxn>
                  <a:cxn ang="0">
                    <a:pos x="18" y="5"/>
                  </a:cxn>
                  <a:cxn ang="0">
                    <a:pos x="19" y="3"/>
                  </a:cxn>
                  <a:cxn ang="0">
                    <a:pos x="24" y="3"/>
                  </a:cxn>
                  <a:cxn ang="0">
                    <a:pos x="24" y="5"/>
                  </a:cxn>
                  <a:cxn ang="0">
                    <a:pos x="27" y="5"/>
                  </a:cxn>
                  <a:cxn ang="0">
                    <a:pos x="28" y="5"/>
                  </a:cxn>
                  <a:cxn ang="0">
                    <a:pos x="32" y="7"/>
                  </a:cxn>
                  <a:cxn ang="0">
                    <a:pos x="35" y="6"/>
                  </a:cxn>
                  <a:cxn ang="0">
                    <a:pos x="37" y="5"/>
                  </a:cxn>
                  <a:cxn ang="0">
                    <a:pos x="38" y="6"/>
                  </a:cxn>
                  <a:cxn ang="0">
                    <a:pos x="41" y="7"/>
                  </a:cxn>
                  <a:cxn ang="0">
                    <a:pos x="43" y="12"/>
                  </a:cxn>
                  <a:cxn ang="0">
                    <a:pos x="43" y="13"/>
                  </a:cxn>
                  <a:cxn ang="0">
                    <a:pos x="40" y="13"/>
                  </a:cxn>
                  <a:cxn ang="0">
                    <a:pos x="38" y="15"/>
                  </a:cxn>
                  <a:cxn ang="0">
                    <a:pos x="40" y="16"/>
                  </a:cxn>
                  <a:cxn ang="0">
                    <a:pos x="40" y="19"/>
                  </a:cxn>
                  <a:cxn ang="0">
                    <a:pos x="38" y="22"/>
                  </a:cxn>
                  <a:cxn ang="0">
                    <a:pos x="40" y="23"/>
                  </a:cxn>
                  <a:cxn ang="0">
                    <a:pos x="38" y="26"/>
                  </a:cxn>
                  <a:cxn ang="0">
                    <a:pos x="32" y="26"/>
                  </a:cxn>
                  <a:cxn ang="0">
                    <a:pos x="28" y="26"/>
                  </a:cxn>
                  <a:cxn ang="0">
                    <a:pos x="25" y="23"/>
                  </a:cxn>
                  <a:cxn ang="0">
                    <a:pos x="21" y="25"/>
                  </a:cxn>
                  <a:cxn ang="0">
                    <a:pos x="21" y="23"/>
                  </a:cxn>
                  <a:cxn ang="0">
                    <a:pos x="16" y="25"/>
                  </a:cxn>
                  <a:cxn ang="0">
                    <a:pos x="16" y="23"/>
                  </a:cxn>
                  <a:cxn ang="0">
                    <a:pos x="14" y="23"/>
                  </a:cxn>
                  <a:cxn ang="0">
                    <a:pos x="9" y="23"/>
                  </a:cxn>
                  <a:cxn ang="0">
                    <a:pos x="6" y="21"/>
                  </a:cxn>
                  <a:cxn ang="0">
                    <a:pos x="5" y="21"/>
                  </a:cxn>
                  <a:cxn ang="0">
                    <a:pos x="2" y="16"/>
                  </a:cxn>
                  <a:cxn ang="0">
                    <a:pos x="0" y="13"/>
                  </a:cxn>
                  <a:cxn ang="0">
                    <a:pos x="0" y="12"/>
                  </a:cxn>
                  <a:cxn ang="0">
                    <a:pos x="0" y="10"/>
                  </a:cxn>
                  <a:cxn ang="0">
                    <a:pos x="0" y="7"/>
                  </a:cxn>
                  <a:cxn ang="0">
                    <a:pos x="3" y="6"/>
                  </a:cxn>
                  <a:cxn ang="0">
                    <a:pos x="8" y="5"/>
                  </a:cxn>
                  <a:cxn ang="0">
                    <a:pos x="9" y="0"/>
                  </a:cxn>
                  <a:cxn ang="0">
                    <a:pos x="11" y="0"/>
                  </a:cxn>
                  <a:cxn ang="0">
                    <a:pos x="12" y="5"/>
                  </a:cxn>
                  <a:cxn ang="0">
                    <a:pos x="14" y="3"/>
                  </a:cxn>
                  <a:cxn ang="0">
                    <a:pos x="14" y="5"/>
                  </a:cxn>
                  <a:cxn ang="0">
                    <a:pos x="16" y="5"/>
                  </a:cxn>
                </a:cxnLst>
                <a:rect l="0" t="0" r="r" b="b"/>
                <a:pathLst>
                  <a:path w="43" h="26">
                    <a:moveTo>
                      <a:pt x="16" y="5"/>
                    </a:moveTo>
                    <a:lnTo>
                      <a:pt x="18" y="5"/>
                    </a:lnTo>
                    <a:lnTo>
                      <a:pt x="19" y="3"/>
                    </a:lnTo>
                    <a:lnTo>
                      <a:pt x="24" y="3"/>
                    </a:lnTo>
                    <a:lnTo>
                      <a:pt x="24" y="5"/>
                    </a:lnTo>
                    <a:lnTo>
                      <a:pt x="27" y="5"/>
                    </a:lnTo>
                    <a:lnTo>
                      <a:pt x="28" y="5"/>
                    </a:lnTo>
                    <a:lnTo>
                      <a:pt x="32" y="7"/>
                    </a:lnTo>
                    <a:lnTo>
                      <a:pt x="35" y="6"/>
                    </a:lnTo>
                    <a:lnTo>
                      <a:pt x="37" y="5"/>
                    </a:lnTo>
                    <a:lnTo>
                      <a:pt x="38" y="6"/>
                    </a:lnTo>
                    <a:lnTo>
                      <a:pt x="41" y="7"/>
                    </a:lnTo>
                    <a:lnTo>
                      <a:pt x="43" y="12"/>
                    </a:lnTo>
                    <a:lnTo>
                      <a:pt x="43" y="13"/>
                    </a:lnTo>
                    <a:lnTo>
                      <a:pt x="40" y="13"/>
                    </a:lnTo>
                    <a:lnTo>
                      <a:pt x="38" y="15"/>
                    </a:lnTo>
                    <a:lnTo>
                      <a:pt x="40" y="16"/>
                    </a:lnTo>
                    <a:lnTo>
                      <a:pt x="40" y="19"/>
                    </a:lnTo>
                    <a:lnTo>
                      <a:pt x="38" y="22"/>
                    </a:lnTo>
                    <a:lnTo>
                      <a:pt x="40" y="23"/>
                    </a:lnTo>
                    <a:lnTo>
                      <a:pt x="38" y="26"/>
                    </a:lnTo>
                    <a:lnTo>
                      <a:pt x="32" y="26"/>
                    </a:lnTo>
                    <a:lnTo>
                      <a:pt x="28" y="26"/>
                    </a:lnTo>
                    <a:lnTo>
                      <a:pt x="25" y="23"/>
                    </a:lnTo>
                    <a:lnTo>
                      <a:pt x="21" y="25"/>
                    </a:lnTo>
                    <a:lnTo>
                      <a:pt x="21" y="23"/>
                    </a:lnTo>
                    <a:lnTo>
                      <a:pt x="16" y="25"/>
                    </a:lnTo>
                    <a:lnTo>
                      <a:pt x="16" y="23"/>
                    </a:lnTo>
                    <a:lnTo>
                      <a:pt x="14" y="23"/>
                    </a:lnTo>
                    <a:lnTo>
                      <a:pt x="9" y="23"/>
                    </a:lnTo>
                    <a:lnTo>
                      <a:pt x="6" y="21"/>
                    </a:lnTo>
                    <a:lnTo>
                      <a:pt x="5" y="21"/>
                    </a:lnTo>
                    <a:lnTo>
                      <a:pt x="2" y="16"/>
                    </a:lnTo>
                    <a:lnTo>
                      <a:pt x="0" y="13"/>
                    </a:lnTo>
                    <a:lnTo>
                      <a:pt x="0" y="12"/>
                    </a:lnTo>
                    <a:lnTo>
                      <a:pt x="0" y="10"/>
                    </a:lnTo>
                    <a:lnTo>
                      <a:pt x="0" y="7"/>
                    </a:lnTo>
                    <a:lnTo>
                      <a:pt x="3" y="6"/>
                    </a:lnTo>
                    <a:lnTo>
                      <a:pt x="8" y="5"/>
                    </a:lnTo>
                    <a:lnTo>
                      <a:pt x="9" y="0"/>
                    </a:lnTo>
                    <a:lnTo>
                      <a:pt x="11" y="0"/>
                    </a:lnTo>
                    <a:lnTo>
                      <a:pt x="12" y="5"/>
                    </a:lnTo>
                    <a:lnTo>
                      <a:pt x="14" y="3"/>
                    </a:lnTo>
                    <a:lnTo>
                      <a:pt x="14" y="5"/>
                    </a:lnTo>
                    <a:lnTo>
                      <a:pt x="16" y="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03" name="Freeform 1171"/>
              <p:cNvSpPr>
                <a:spLocks/>
              </p:cNvSpPr>
              <p:nvPr/>
            </p:nvSpPr>
            <p:spPr bwMode="auto">
              <a:xfrm>
                <a:off x="4863715" y="1380226"/>
                <a:ext cx="39501" cy="27381"/>
              </a:xfrm>
              <a:custGeom>
                <a:avLst/>
                <a:gdLst/>
                <a:ahLst/>
                <a:cxnLst>
                  <a:cxn ang="0">
                    <a:pos x="16" y="5"/>
                  </a:cxn>
                  <a:cxn ang="0">
                    <a:pos x="18" y="5"/>
                  </a:cxn>
                  <a:cxn ang="0">
                    <a:pos x="19" y="3"/>
                  </a:cxn>
                  <a:cxn ang="0">
                    <a:pos x="24" y="3"/>
                  </a:cxn>
                  <a:cxn ang="0">
                    <a:pos x="24" y="5"/>
                  </a:cxn>
                  <a:cxn ang="0">
                    <a:pos x="27" y="5"/>
                  </a:cxn>
                  <a:cxn ang="0">
                    <a:pos x="28" y="5"/>
                  </a:cxn>
                  <a:cxn ang="0">
                    <a:pos x="32" y="7"/>
                  </a:cxn>
                  <a:cxn ang="0">
                    <a:pos x="35" y="6"/>
                  </a:cxn>
                  <a:cxn ang="0">
                    <a:pos x="37" y="5"/>
                  </a:cxn>
                  <a:cxn ang="0">
                    <a:pos x="38" y="6"/>
                  </a:cxn>
                  <a:cxn ang="0">
                    <a:pos x="41" y="7"/>
                  </a:cxn>
                  <a:cxn ang="0">
                    <a:pos x="43" y="12"/>
                  </a:cxn>
                  <a:cxn ang="0">
                    <a:pos x="43" y="13"/>
                  </a:cxn>
                  <a:cxn ang="0">
                    <a:pos x="40" y="13"/>
                  </a:cxn>
                  <a:cxn ang="0">
                    <a:pos x="38" y="15"/>
                  </a:cxn>
                  <a:cxn ang="0">
                    <a:pos x="40" y="16"/>
                  </a:cxn>
                  <a:cxn ang="0">
                    <a:pos x="40" y="19"/>
                  </a:cxn>
                  <a:cxn ang="0">
                    <a:pos x="38" y="22"/>
                  </a:cxn>
                  <a:cxn ang="0">
                    <a:pos x="40" y="23"/>
                  </a:cxn>
                  <a:cxn ang="0">
                    <a:pos x="38" y="26"/>
                  </a:cxn>
                  <a:cxn ang="0">
                    <a:pos x="32" y="26"/>
                  </a:cxn>
                  <a:cxn ang="0">
                    <a:pos x="28" y="26"/>
                  </a:cxn>
                  <a:cxn ang="0">
                    <a:pos x="25" y="23"/>
                  </a:cxn>
                  <a:cxn ang="0">
                    <a:pos x="21" y="25"/>
                  </a:cxn>
                  <a:cxn ang="0">
                    <a:pos x="21" y="23"/>
                  </a:cxn>
                  <a:cxn ang="0">
                    <a:pos x="16" y="25"/>
                  </a:cxn>
                  <a:cxn ang="0">
                    <a:pos x="16" y="23"/>
                  </a:cxn>
                  <a:cxn ang="0">
                    <a:pos x="14" y="23"/>
                  </a:cxn>
                  <a:cxn ang="0">
                    <a:pos x="9" y="23"/>
                  </a:cxn>
                  <a:cxn ang="0">
                    <a:pos x="6" y="21"/>
                  </a:cxn>
                  <a:cxn ang="0">
                    <a:pos x="5" y="21"/>
                  </a:cxn>
                  <a:cxn ang="0">
                    <a:pos x="2" y="16"/>
                  </a:cxn>
                  <a:cxn ang="0">
                    <a:pos x="0" y="13"/>
                  </a:cxn>
                  <a:cxn ang="0">
                    <a:pos x="0" y="12"/>
                  </a:cxn>
                  <a:cxn ang="0">
                    <a:pos x="0" y="10"/>
                  </a:cxn>
                  <a:cxn ang="0">
                    <a:pos x="0" y="7"/>
                  </a:cxn>
                  <a:cxn ang="0">
                    <a:pos x="3" y="6"/>
                  </a:cxn>
                  <a:cxn ang="0">
                    <a:pos x="8" y="5"/>
                  </a:cxn>
                  <a:cxn ang="0">
                    <a:pos x="9" y="0"/>
                  </a:cxn>
                  <a:cxn ang="0">
                    <a:pos x="11" y="0"/>
                  </a:cxn>
                  <a:cxn ang="0">
                    <a:pos x="12" y="5"/>
                  </a:cxn>
                  <a:cxn ang="0">
                    <a:pos x="14" y="3"/>
                  </a:cxn>
                  <a:cxn ang="0">
                    <a:pos x="14" y="5"/>
                  </a:cxn>
                  <a:cxn ang="0">
                    <a:pos x="16" y="5"/>
                  </a:cxn>
                </a:cxnLst>
                <a:rect l="0" t="0" r="r" b="b"/>
                <a:pathLst>
                  <a:path w="43" h="26">
                    <a:moveTo>
                      <a:pt x="16" y="5"/>
                    </a:moveTo>
                    <a:lnTo>
                      <a:pt x="18" y="5"/>
                    </a:lnTo>
                    <a:lnTo>
                      <a:pt x="19" y="3"/>
                    </a:lnTo>
                    <a:lnTo>
                      <a:pt x="24" y="3"/>
                    </a:lnTo>
                    <a:lnTo>
                      <a:pt x="24" y="5"/>
                    </a:lnTo>
                    <a:lnTo>
                      <a:pt x="27" y="5"/>
                    </a:lnTo>
                    <a:lnTo>
                      <a:pt x="28" y="5"/>
                    </a:lnTo>
                    <a:lnTo>
                      <a:pt x="32" y="7"/>
                    </a:lnTo>
                    <a:lnTo>
                      <a:pt x="35" y="6"/>
                    </a:lnTo>
                    <a:lnTo>
                      <a:pt x="37" y="5"/>
                    </a:lnTo>
                    <a:lnTo>
                      <a:pt x="38" y="6"/>
                    </a:lnTo>
                    <a:lnTo>
                      <a:pt x="41" y="7"/>
                    </a:lnTo>
                    <a:lnTo>
                      <a:pt x="43" y="12"/>
                    </a:lnTo>
                    <a:lnTo>
                      <a:pt x="43" y="13"/>
                    </a:lnTo>
                    <a:lnTo>
                      <a:pt x="40" y="13"/>
                    </a:lnTo>
                    <a:lnTo>
                      <a:pt x="38" y="15"/>
                    </a:lnTo>
                    <a:lnTo>
                      <a:pt x="40" y="16"/>
                    </a:lnTo>
                    <a:lnTo>
                      <a:pt x="40" y="19"/>
                    </a:lnTo>
                    <a:lnTo>
                      <a:pt x="38" y="22"/>
                    </a:lnTo>
                    <a:lnTo>
                      <a:pt x="40" y="23"/>
                    </a:lnTo>
                    <a:lnTo>
                      <a:pt x="38" y="26"/>
                    </a:lnTo>
                    <a:lnTo>
                      <a:pt x="32" y="26"/>
                    </a:lnTo>
                    <a:lnTo>
                      <a:pt x="28" y="26"/>
                    </a:lnTo>
                    <a:lnTo>
                      <a:pt x="25" y="23"/>
                    </a:lnTo>
                    <a:lnTo>
                      <a:pt x="21" y="25"/>
                    </a:lnTo>
                    <a:lnTo>
                      <a:pt x="21" y="23"/>
                    </a:lnTo>
                    <a:lnTo>
                      <a:pt x="16" y="25"/>
                    </a:lnTo>
                    <a:lnTo>
                      <a:pt x="16" y="23"/>
                    </a:lnTo>
                    <a:lnTo>
                      <a:pt x="14" y="23"/>
                    </a:lnTo>
                    <a:lnTo>
                      <a:pt x="9" y="23"/>
                    </a:lnTo>
                    <a:lnTo>
                      <a:pt x="6" y="21"/>
                    </a:lnTo>
                    <a:lnTo>
                      <a:pt x="5" y="21"/>
                    </a:lnTo>
                    <a:lnTo>
                      <a:pt x="2" y="16"/>
                    </a:lnTo>
                    <a:lnTo>
                      <a:pt x="0" y="13"/>
                    </a:lnTo>
                    <a:lnTo>
                      <a:pt x="0" y="12"/>
                    </a:lnTo>
                    <a:lnTo>
                      <a:pt x="0" y="10"/>
                    </a:lnTo>
                    <a:lnTo>
                      <a:pt x="0" y="7"/>
                    </a:lnTo>
                    <a:lnTo>
                      <a:pt x="3" y="6"/>
                    </a:lnTo>
                    <a:lnTo>
                      <a:pt x="8" y="5"/>
                    </a:lnTo>
                    <a:lnTo>
                      <a:pt x="9" y="0"/>
                    </a:lnTo>
                    <a:lnTo>
                      <a:pt x="11" y="0"/>
                    </a:lnTo>
                    <a:lnTo>
                      <a:pt x="12" y="5"/>
                    </a:lnTo>
                    <a:lnTo>
                      <a:pt x="14" y="3"/>
                    </a:lnTo>
                    <a:lnTo>
                      <a:pt x="14" y="5"/>
                    </a:lnTo>
                    <a:lnTo>
                      <a:pt x="16" y="5"/>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04" name="Freeform 1172"/>
              <p:cNvSpPr>
                <a:spLocks/>
              </p:cNvSpPr>
              <p:nvPr/>
            </p:nvSpPr>
            <p:spPr bwMode="auto">
              <a:xfrm>
                <a:off x="4854059" y="1427890"/>
                <a:ext cx="224717" cy="162261"/>
              </a:xfrm>
              <a:custGeom>
                <a:avLst/>
                <a:gdLst/>
                <a:ahLst/>
                <a:cxnLst>
                  <a:cxn ang="0">
                    <a:pos x="7" y="5"/>
                  </a:cxn>
                  <a:cxn ang="0">
                    <a:pos x="1" y="12"/>
                  </a:cxn>
                  <a:cxn ang="0">
                    <a:pos x="4" y="21"/>
                  </a:cxn>
                  <a:cxn ang="0">
                    <a:pos x="6" y="25"/>
                  </a:cxn>
                  <a:cxn ang="0">
                    <a:pos x="13" y="32"/>
                  </a:cxn>
                  <a:cxn ang="0">
                    <a:pos x="29" y="51"/>
                  </a:cxn>
                  <a:cxn ang="0">
                    <a:pos x="43" y="53"/>
                  </a:cxn>
                  <a:cxn ang="0">
                    <a:pos x="51" y="47"/>
                  </a:cxn>
                  <a:cxn ang="0">
                    <a:pos x="61" y="71"/>
                  </a:cxn>
                  <a:cxn ang="0">
                    <a:pos x="62" y="105"/>
                  </a:cxn>
                  <a:cxn ang="0">
                    <a:pos x="67" y="135"/>
                  </a:cxn>
                  <a:cxn ang="0">
                    <a:pos x="74" y="146"/>
                  </a:cxn>
                  <a:cxn ang="0">
                    <a:pos x="86" y="147"/>
                  </a:cxn>
                  <a:cxn ang="0">
                    <a:pos x="93" y="150"/>
                  </a:cxn>
                  <a:cxn ang="0">
                    <a:pos x="107" y="144"/>
                  </a:cxn>
                  <a:cxn ang="0">
                    <a:pos x="109" y="138"/>
                  </a:cxn>
                  <a:cxn ang="0">
                    <a:pos x="116" y="135"/>
                  </a:cxn>
                  <a:cxn ang="0">
                    <a:pos x="125" y="154"/>
                  </a:cxn>
                  <a:cxn ang="0">
                    <a:pos x="135" y="150"/>
                  </a:cxn>
                  <a:cxn ang="0">
                    <a:pos x="144" y="151"/>
                  </a:cxn>
                  <a:cxn ang="0">
                    <a:pos x="158" y="154"/>
                  </a:cxn>
                  <a:cxn ang="0">
                    <a:pos x="167" y="151"/>
                  </a:cxn>
                  <a:cxn ang="0">
                    <a:pos x="189" y="148"/>
                  </a:cxn>
                  <a:cxn ang="0">
                    <a:pos x="193" y="135"/>
                  </a:cxn>
                  <a:cxn ang="0">
                    <a:pos x="205" y="148"/>
                  </a:cxn>
                  <a:cxn ang="0">
                    <a:pos x="222" y="148"/>
                  </a:cxn>
                  <a:cxn ang="0">
                    <a:pos x="237" y="138"/>
                  </a:cxn>
                  <a:cxn ang="0">
                    <a:pos x="235" y="121"/>
                  </a:cxn>
                  <a:cxn ang="0">
                    <a:pos x="245" y="99"/>
                  </a:cxn>
                  <a:cxn ang="0">
                    <a:pos x="235" y="96"/>
                  </a:cxn>
                  <a:cxn ang="0">
                    <a:pos x="231" y="86"/>
                  </a:cxn>
                  <a:cxn ang="0">
                    <a:pos x="221" y="80"/>
                  </a:cxn>
                  <a:cxn ang="0">
                    <a:pos x="190" y="80"/>
                  </a:cxn>
                  <a:cxn ang="0">
                    <a:pos x="174" y="86"/>
                  </a:cxn>
                  <a:cxn ang="0">
                    <a:pos x="167" y="89"/>
                  </a:cxn>
                  <a:cxn ang="0">
                    <a:pos x="161" y="93"/>
                  </a:cxn>
                  <a:cxn ang="0">
                    <a:pos x="151" y="99"/>
                  </a:cxn>
                  <a:cxn ang="0">
                    <a:pos x="151" y="103"/>
                  </a:cxn>
                  <a:cxn ang="0">
                    <a:pos x="139" y="99"/>
                  </a:cxn>
                  <a:cxn ang="0">
                    <a:pos x="129" y="102"/>
                  </a:cxn>
                  <a:cxn ang="0">
                    <a:pos x="122" y="101"/>
                  </a:cxn>
                  <a:cxn ang="0">
                    <a:pos x="117" y="92"/>
                  </a:cxn>
                  <a:cxn ang="0">
                    <a:pos x="112" y="103"/>
                  </a:cxn>
                  <a:cxn ang="0">
                    <a:pos x="101" y="96"/>
                  </a:cxn>
                  <a:cxn ang="0">
                    <a:pos x="106" y="92"/>
                  </a:cxn>
                  <a:cxn ang="0">
                    <a:pos x="99" y="80"/>
                  </a:cxn>
                  <a:cxn ang="0">
                    <a:pos x="94" y="76"/>
                  </a:cxn>
                  <a:cxn ang="0">
                    <a:pos x="86" y="73"/>
                  </a:cxn>
                  <a:cxn ang="0">
                    <a:pos x="81" y="76"/>
                  </a:cxn>
                  <a:cxn ang="0">
                    <a:pos x="86" y="69"/>
                  </a:cxn>
                  <a:cxn ang="0">
                    <a:pos x="83" y="63"/>
                  </a:cxn>
                  <a:cxn ang="0">
                    <a:pos x="77" y="55"/>
                  </a:cxn>
                  <a:cxn ang="0">
                    <a:pos x="91" y="64"/>
                  </a:cxn>
                  <a:cxn ang="0">
                    <a:pos x="107" y="58"/>
                  </a:cxn>
                  <a:cxn ang="0">
                    <a:pos x="93" y="47"/>
                  </a:cxn>
                  <a:cxn ang="0">
                    <a:pos x="77" y="42"/>
                  </a:cxn>
                  <a:cxn ang="0">
                    <a:pos x="84" y="41"/>
                  </a:cxn>
                  <a:cxn ang="0">
                    <a:pos x="88" y="35"/>
                  </a:cxn>
                  <a:cxn ang="0">
                    <a:pos x="75" y="26"/>
                  </a:cxn>
                  <a:cxn ang="0">
                    <a:pos x="62" y="31"/>
                  </a:cxn>
                  <a:cxn ang="0">
                    <a:pos x="46" y="41"/>
                  </a:cxn>
                  <a:cxn ang="0">
                    <a:pos x="49" y="22"/>
                  </a:cxn>
                  <a:cxn ang="0">
                    <a:pos x="40" y="9"/>
                  </a:cxn>
                </a:cxnLst>
                <a:rect l="0" t="0" r="r" b="b"/>
                <a:pathLst>
                  <a:path w="245" h="156">
                    <a:moveTo>
                      <a:pt x="27" y="5"/>
                    </a:moveTo>
                    <a:lnTo>
                      <a:pt x="26" y="6"/>
                    </a:lnTo>
                    <a:lnTo>
                      <a:pt x="20" y="2"/>
                    </a:lnTo>
                    <a:lnTo>
                      <a:pt x="14" y="0"/>
                    </a:lnTo>
                    <a:lnTo>
                      <a:pt x="7" y="5"/>
                    </a:lnTo>
                    <a:lnTo>
                      <a:pt x="6" y="6"/>
                    </a:lnTo>
                    <a:lnTo>
                      <a:pt x="4" y="8"/>
                    </a:lnTo>
                    <a:lnTo>
                      <a:pt x="1" y="8"/>
                    </a:lnTo>
                    <a:lnTo>
                      <a:pt x="1" y="9"/>
                    </a:lnTo>
                    <a:lnTo>
                      <a:pt x="1" y="12"/>
                    </a:lnTo>
                    <a:lnTo>
                      <a:pt x="1" y="13"/>
                    </a:lnTo>
                    <a:lnTo>
                      <a:pt x="4" y="15"/>
                    </a:lnTo>
                    <a:lnTo>
                      <a:pt x="9" y="21"/>
                    </a:lnTo>
                    <a:lnTo>
                      <a:pt x="9" y="21"/>
                    </a:lnTo>
                    <a:lnTo>
                      <a:pt x="4" y="21"/>
                    </a:lnTo>
                    <a:lnTo>
                      <a:pt x="1" y="18"/>
                    </a:lnTo>
                    <a:lnTo>
                      <a:pt x="0" y="19"/>
                    </a:lnTo>
                    <a:lnTo>
                      <a:pt x="0" y="22"/>
                    </a:lnTo>
                    <a:lnTo>
                      <a:pt x="1" y="25"/>
                    </a:lnTo>
                    <a:lnTo>
                      <a:pt x="6" y="25"/>
                    </a:lnTo>
                    <a:lnTo>
                      <a:pt x="6" y="26"/>
                    </a:lnTo>
                    <a:lnTo>
                      <a:pt x="9" y="29"/>
                    </a:lnTo>
                    <a:lnTo>
                      <a:pt x="9" y="28"/>
                    </a:lnTo>
                    <a:lnTo>
                      <a:pt x="11" y="32"/>
                    </a:lnTo>
                    <a:lnTo>
                      <a:pt x="13" y="32"/>
                    </a:lnTo>
                    <a:lnTo>
                      <a:pt x="17" y="44"/>
                    </a:lnTo>
                    <a:lnTo>
                      <a:pt x="23" y="45"/>
                    </a:lnTo>
                    <a:lnTo>
                      <a:pt x="26" y="48"/>
                    </a:lnTo>
                    <a:lnTo>
                      <a:pt x="27" y="55"/>
                    </a:lnTo>
                    <a:lnTo>
                      <a:pt x="29" y="51"/>
                    </a:lnTo>
                    <a:lnTo>
                      <a:pt x="30" y="54"/>
                    </a:lnTo>
                    <a:lnTo>
                      <a:pt x="43" y="55"/>
                    </a:lnTo>
                    <a:lnTo>
                      <a:pt x="45" y="55"/>
                    </a:lnTo>
                    <a:lnTo>
                      <a:pt x="43" y="54"/>
                    </a:lnTo>
                    <a:lnTo>
                      <a:pt x="43" y="53"/>
                    </a:lnTo>
                    <a:lnTo>
                      <a:pt x="45" y="51"/>
                    </a:lnTo>
                    <a:lnTo>
                      <a:pt x="45" y="53"/>
                    </a:lnTo>
                    <a:lnTo>
                      <a:pt x="49" y="50"/>
                    </a:lnTo>
                    <a:lnTo>
                      <a:pt x="49" y="48"/>
                    </a:lnTo>
                    <a:lnTo>
                      <a:pt x="51" y="47"/>
                    </a:lnTo>
                    <a:lnTo>
                      <a:pt x="54" y="48"/>
                    </a:lnTo>
                    <a:lnTo>
                      <a:pt x="55" y="57"/>
                    </a:lnTo>
                    <a:lnTo>
                      <a:pt x="58" y="61"/>
                    </a:lnTo>
                    <a:lnTo>
                      <a:pt x="59" y="71"/>
                    </a:lnTo>
                    <a:lnTo>
                      <a:pt x="61" y="71"/>
                    </a:lnTo>
                    <a:lnTo>
                      <a:pt x="65" y="80"/>
                    </a:lnTo>
                    <a:lnTo>
                      <a:pt x="67" y="90"/>
                    </a:lnTo>
                    <a:lnTo>
                      <a:pt x="68" y="93"/>
                    </a:lnTo>
                    <a:lnTo>
                      <a:pt x="61" y="103"/>
                    </a:lnTo>
                    <a:lnTo>
                      <a:pt x="62" y="105"/>
                    </a:lnTo>
                    <a:lnTo>
                      <a:pt x="61" y="115"/>
                    </a:lnTo>
                    <a:lnTo>
                      <a:pt x="62" y="119"/>
                    </a:lnTo>
                    <a:lnTo>
                      <a:pt x="68" y="118"/>
                    </a:lnTo>
                    <a:lnTo>
                      <a:pt x="65" y="127"/>
                    </a:lnTo>
                    <a:lnTo>
                      <a:pt x="67" y="135"/>
                    </a:lnTo>
                    <a:lnTo>
                      <a:pt x="70" y="140"/>
                    </a:lnTo>
                    <a:lnTo>
                      <a:pt x="74" y="141"/>
                    </a:lnTo>
                    <a:lnTo>
                      <a:pt x="72" y="143"/>
                    </a:lnTo>
                    <a:lnTo>
                      <a:pt x="72" y="144"/>
                    </a:lnTo>
                    <a:lnTo>
                      <a:pt x="74" y="146"/>
                    </a:lnTo>
                    <a:lnTo>
                      <a:pt x="78" y="144"/>
                    </a:lnTo>
                    <a:lnTo>
                      <a:pt x="80" y="140"/>
                    </a:lnTo>
                    <a:lnTo>
                      <a:pt x="84" y="135"/>
                    </a:lnTo>
                    <a:lnTo>
                      <a:pt x="83" y="141"/>
                    </a:lnTo>
                    <a:lnTo>
                      <a:pt x="86" y="147"/>
                    </a:lnTo>
                    <a:lnTo>
                      <a:pt x="86" y="140"/>
                    </a:lnTo>
                    <a:lnTo>
                      <a:pt x="88" y="146"/>
                    </a:lnTo>
                    <a:lnTo>
                      <a:pt x="91" y="146"/>
                    </a:lnTo>
                    <a:lnTo>
                      <a:pt x="91" y="148"/>
                    </a:lnTo>
                    <a:lnTo>
                      <a:pt x="93" y="150"/>
                    </a:lnTo>
                    <a:lnTo>
                      <a:pt x="94" y="147"/>
                    </a:lnTo>
                    <a:lnTo>
                      <a:pt x="96" y="151"/>
                    </a:lnTo>
                    <a:lnTo>
                      <a:pt x="103" y="151"/>
                    </a:lnTo>
                    <a:lnTo>
                      <a:pt x="107" y="146"/>
                    </a:lnTo>
                    <a:lnTo>
                      <a:pt x="107" y="144"/>
                    </a:lnTo>
                    <a:lnTo>
                      <a:pt x="104" y="141"/>
                    </a:lnTo>
                    <a:lnTo>
                      <a:pt x="104" y="138"/>
                    </a:lnTo>
                    <a:lnTo>
                      <a:pt x="104" y="138"/>
                    </a:lnTo>
                    <a:lnTo>
                      <a:pt x="106" y="138"/>
                    </a:lnTo>
                    <a:lnTo>
                      <a:pt x="109" y="138"/>
                    </a:lnTo>
                    <a:lnTo>
                      <a:pt x="107" y="135"/>
                    </a:lnTo>
                    <a:lnTo>
                      <a:pt x="112" y="144"/>
                    </a:lnTo>
                    <a:lnTo>
                      <a:pt x="115" y="138"/>
                    </a:lnTo>
                    <a:lnTo>
                      <a:pt x="115" y="135"/>
                    </a:lnTo>
                    <a:lnTo>
                      <a:pt x="116" y="135"/>
                    </a:lnTo>
                    <a:lnTo>
                      <a:pt x="117" y="138"/>
                    </a:lnTo>
                    <a:lnTo>
                      <a:pt x="116" y="153"/>
                    </a:lnTo>
                    <a:lnTo>
                      <a:pt x="120" y="154"/>
                    </a:lnTo>
                    <a:lnTo>
                      <a:pt x="122" y="153"/>
                    </a:lnTo>
                    <a:lnTo>
                      <a:pt x="125" y="154"/>
                    </a:lnTo>
                    <a:lnTo>
                      <a:pt x="128" y="153"/>
                    </a:lnTo>
                    <a:lnTo>
                      <a:pt x="128" y="156"/>
                    </a:lnTo>
                    <a:lnTo>
                      <a:pt x="133" y="154"/>
                    </a:lnTo>
                    <a:lnTo>
                      <a:pt x="133" y="150"/>
                    </a:lnTo>
                    <a:lnTo>
                      <a:pt x="135" y="150"/>
                    </a:lnTo>
                    <a:lnTo>
                      <a:pt x="135" y="154"/>
                    </a:lnTo>
                    <a:lnTo>
                      <a:pt x="144" y="154"/>
                    </a:lnTo>
                    <a:lnTo>
                      <a:pt x="145" y="154"/>
                    </a:lnTo>
                    <a:lnTo>
                      <a:pt x="144" y="148"/>
                    </a:lnTo>
                    <a:lnTo>
                      <a:pt x="144" y="151"/>
                    </a:lnTo>
                    <a:lnTo>
                      <a:pt x="148" y="154"/>
                    </a:lnTo>
                    <a:lnTo>
                      <a:pt x="149" y="151"/>
                    </a:lnTo>
                    <a:lnTo>
                      <a:pt x="151" y="148"/>
                    </a:lnTo>
                    <a:lnTo>
                      <a:pt x="154" y="154"/>
                    </a:lnTo>
                    <a:lnTo>
                      <a:pt x="158" y="154"/>
                    </a:lnTo>
                    <a:lnTo>
                      <a:pt x="160" y="150"/>
                    </a:lnTo>
                    <a:lnTo>
                      <a:pt x="160" y="144"/>
                    </a:lnTo>
                    <a:lnTo>
                      <a:pt x="164" y="153"/>
                    </a:lnTo>
                    <a:lnTo>
                      <a:pt x="165" y="153"/>
                    </a:lnTo>
                    <a:lnTo>
                      <a:pt x="167" y="151"/>
                    </a:lnTo>
                    <a:lnTo>
                      <a:pt x="168" y="148"/>
                    </a:lnTo>
                    <a:lnTo>
                      <a:pt x="168" y="144"/>
                    </a:lnTo>
                    <a:lnTo>
                      <a:pt x="168" y="141"/>
                    </a:lnTo>
                    <a:lnTo>
                      <a:pt x="170" y="151"/>
                    </a:lnTo>
                    <a:lnTo>
                      <a:pt x="189" y="148"/>
                    </a:lnTo>
                    <a:lnTo>
                      <a:pt x="193" y="140"/>
                    </a:lnTo>
                    <a:lnTo>
                      <a:pt x="190" y="137"/>
                    </a:lnTo>
                    <a:lnTo>
                      <a:pt x="189" y="131"/>
                    </a:lnTo>
                    <a:lnTo>
                      <a:pt x="191" y="132"/>
                    </a:lnTo>
                    <a:lnTo>
                      <a:pt x="193" y="135"/>
                    </a:lnTo>
                    <a:lnTo>
                      <a:pt x="196" y="135"/>
                    </a:lnTo>
                    <a:lnTo>
                      <a:pt x="196" y="147"/>
                    </a:lnTo>
                    <a:lnTo>
                      <a:pt x="200" y="153"/>
                    </a:lnTo>
                    <a:lnTo>
                      <a:pt x="203" y="151"/>
                    </a:lnTo>
                    <a:lnTo>
                      <a:pt x="205" y="148"/>
                    </a:lnTo>
                    <a:lnTo>
                      <a:pt x="206" y="151"/>
                    </a:lnTo>
                    <a:lnTo>
                      <a:pt x="210" y="154"/>
                    </a:lnTo>
                    <a:lnTo>
                      <a:pt x="213" y="154"/>
                    </a:lnTo>
                    <a:lnTo>
                      <a:pt x="216" y="151"/>
                    </a:lnTo>
                    <a:lnTo>
                      <a:pt x="222" y="148"/>
                    </a:lnTo>
                    <a:lnTo>
                      <a:pt x="231" y="148"/>
                    </a:lnTo>
                    <a:lnTo>
                      <a:pt x="234" y="147"/>
                    </a:lnTo>
                    <a:lnTo>
                      <a:pt x="237" y="147"/>
                    </a:lnTo>
                    <a:lnTo>
                      <a:pt x="237" y="140"/>
                    </a:lnTo>
                    <a:lnTo>
                      <a:pt x="237" y="138"/>
                    </a:lnTo>
                    <a:lnTo>
                      <a:pt x="237" y="137"/>
                    </a:lnTo>
                    <a:lnTo>
                      <a:pt x="235" y="134"/>
                    </a:lnTo>
                    <a:lnTo>
                      <a:pt x="232" y="130"/>
                    </a:lnTo>
                    <a:lnTo>
                      <a:pt x="232" y="122"/>
                    </a:lnTo>
                    <a:lnTo>
                      <a:pt x="235" y="121"/>
                    </a:lnTo>
                    <a:lnTo>
                      <a:pt x="237" y="119"/>
                    </a:lnTo>
                    <a:lnTo>
                      <a:pt x="238" y="115"/>
                    </a:lnTo>
                    <a:lnTo>
                      <a:pt x="242" y="114"/>
                    </a:lnTo>
                    <a:lnTo>
                      <a:pt x="245" y="109"/>
                    </a:lnTo>
                    <a:lnTo>
                      <a:pt x="245" y="99"/>
                    </a:lnTo>
                    <a:lnTo>
                      <a:pt x="244" y="99"/>
                    </a:lnTo>
                    <a:lnTo>
                      <a:pt x="242" y="99"/>
                    </a:lnTo>
                    <a:lnTo>
                      <a:pt x="241" y="96"/>
                    </a:lnTo>
                    <a:lnTo>
                      <a:pt x="242" y="95"/>
                    </a:lnTo>
                    <a:lnTo>
                      <a:pt x="235" y="96"/>
                    </a:lnTo>
                    <a:lnTo>
                      <a:pt x="234" y="95"/>
                    </a:lnTo>
                    <a:lnTo>
                      <a:pt x="237" y="93"/>
                    </a:lnTo>
                    <a:lnTo>
                      <a:pt x="237" y="90"/>
                    </a:lnTo>
                    <a:lnTo>
                      <a:pt x="235" y="90"/>
                    </a:lnTo>
                    <a:lnTo>
                      <a:pt x="231" y="86"/>
                    </a:lnTo>
                    <a:lnTo>
                      <a:pt x="228" y="87"/>
                    </a:lnTo>
                    <a:lnTo>
                      <a:pt x="222" y="86"/>
                    </a:lnTo>
                    <a:lnTo>
                      <a:pt x="223" y="82"/>
                    </a:lnTo>
                    <a:lnTo>
                      <a:pt x="222" y="79"/>
                    </a:lnTo>
                    <a:lnTo>
                      <a:pt x="221" y="80"/>
                    </a:lnTo>
                    <a:lnTo>
                      <a:pt x="206" y="77"/>
                    </a:lnTo>
                    <a:lnTo>
                      <a:pt x="200" y="79"/>
                    </a:lnTo>
                    <a:lnTo>
                      <a:pt x="196" y="83"/>
                    </a:lnTo>
                    <a:lnTo>
                      <a:pt x="191" y="82"/>
                    </a:lnTo>
                    <a:lnTo>
                      <a:pt x="190" y="80"/>
                    </a:lnTo>
                    <a:lnTo>
                      <a:pt x="189" y="80"/>
                    </a:lnTo>
                    <a:lnTo>
                      <a:pt x="186" y="79"/>
                    </a:lnTo>
                    <a:lnTo>
                      <a:pt x="184" y="79"/>
                    </a:lnTo>
                    <a:lnTo>
                      <a:pt x="183" y="82"/>
                    </a:lnTo>
                    <a:lnTo>
                      <a:pt x="174" y="86"/>
                    </a:lnTo>
                    <a:lnTo>
                      <a:pt x="173" y="87"/>
                    </a:lnTo>
                    <a:lnTo>
                      <a:pt x="174" y="89"/>
                    </a:lnTo>
                    <a:lnTo>
                      <a:pt x="174" y="90"/>
                    </a:lnTo>
                    <a:lnTo>
                      <a:pt x="168" y="89"/>
                    </a:lnTo>
                    <a:lnTo>
                      <a:pt x="167" y="89"/>
                    </a:lnTo>
                    <a:lnTo>
                      <a:pt x="165" y="92"/>
                    </a:lnTo>
                    <a:lnTo>
                      <a:pt x="164" y="92"/>
                    </a:lnTo>
                    <a:lnTo>
                      <a:pt x="164" y="96"/>
                    </a:lnTo>
                    <a:lnTo>
                      <a:pt x="164" y="95"/>
                    </a:lnTo>
                    <a:lnTo>
                      <a:pt x="161" y="93"/>
                    </a:lnTo>
                    <a:lnTo>
                      <a:pt x="160" y="92"/>
                    </a:lnTo>
                    <a:lnTo>
                      <a:pt x="158" y="95"/>
                    </a:lnTo>
                    <a:lnTo>
                      <a:pt x="155" y="95"/>
                    </a:lnTo>
                    <a:lnTo>
                      <a:pt x="151" y="98"/>
                    </a:lnTo>
                    <a:lnTo>
                      <a:pt x="151" y="99"/>
                    </a:lnTo>
                    <a:lnTo>
                      <a:pt x="154" y="102"/>
                    </a:lnTo>
                    <a:lnTo>
                      <a:pt x="158" y="102"/>
                    </a:lnTo>
                    <a:lnTo>
                      <a:pt x="160" y="105"/>
                    </a:lnTo>
                    <a:lnTo>
                      <a:pt x="157" y="103"/>
                    </a:lnTo>
                    <a:lnTo>
                      <a:pt x="151" y="103"/>
                    </a:lnTo>
                    <a:lnTo>
                      <a:pt x="144" y="108"/>
                    </a:lnTo>
                    <a:lnTo>
                      <a:pt x="142" y="106"/>
                    </a:lnTo>
                    <a:lnTo>
                      <a:pt x="146" y="103"/>
                    </a:lnTo>
                    <a:lnTo>
                      <a:pt x="145" y="102"/>
                    </a:lnTo>
                    <a:lnTo>
                      <a:pt x="139" y="99"/>
                    </a:lnTo>
                    <a:lnTo>
                      <a:pt x="136" y="95"/>
                    </a:lnTo>
                    <a:lnTo>
                      <a:pt x="132" y="92"/>
                    </a:lnTo>
                    <a:lnTo>
                      <a:pt x="131" y="96"/>
                    </a:lnTo>
                    <a:lnTo>
                      <a:pt x="131" y="99"/>
                    </a:lnTo>
                    <a:lnTo>
                      <a:pt x="129" y="102"/>
                    </a:lnTo>
                    <a:lnTo>
                      <a:pt x="129" y="96"/>
                    </a:lnTo>
                    <a:lnTo>
                      <a:pt x="128" y="93"/>
                    </a:lnTo>
                    <a:lnTo>
                      <a:pt x="125" y="98"/>
                    </a:lnTo>
                    <a:lnTo>
                      <a:pt x="123" y="99"/>
                    </a:lnTo>
                    <a:lnTo>
                      <a:pt x="122" y="101"/>
                    </a:lnTo>
                    <a:lnTo>
                      <a:pt x="120" y="101"/>
                    </a:lnTo>
                    <a:lnTo>
                      <a:pt x="122" y="98"/>
                    </a:lnTo>
                    <a:lnTo>
                      <a:pt x="120" y="96"/>
                    </a:lnTo>
                    <a:lnTo>
                      <a:pt x="119" y="93"/>
                    </a:lnTo>
                    <a:lnTo>
                      <a:pt x="117" y="92"/>
                    </a:lnTo>
                    <a:lnTo>
                      <a:pt x="115" y="89"/>
                    </a:lnTo>
                    <a:lnTo>
                      <a:pt x="113" y="92"/>
                    </a:lnTo>
                    <a:lnTo>
                      <a:pt x="112" y="95"/>
                    </a:lnTo>
                    <a:lnTo>
                      <a:pt x="113" y="101"/>
                    </a:lnTo>
                    <a:lnTo>
                      <a:pt x="112" y="103"/>
                    </a:lnTo>
                    <a:lnTo>
                      <a:pt x="110" y="102"/>
                    </a:lnTo>
                    <a:lnTo>
                      <a:pt x="109" y="96"/>
                    </a:lnTo>
                    <a:lnTo>
                      <a:pt x="104" y="93"/>
                    </a:lnTo>
                    <a:lnTo>
                      <a:pt x="103" y="96"/>
                    </a:lnTo>
                    <a:lnTo>
                      <a:pt x="101" y="96"/>
                    </a:lnTo>
                    <a:lnTo>
                      <a:pt x="101" y="95"/>
                    </a:lnTo>
                    <a:lnTo>
                      <a:pt x="103" y="93"/>
                    </a:lnTo>
                    <a:lnTo>
                      <a:pt x="100" y="95"/>
                    </a:lnTo>
                    <a:lnTo>
                      <a:pt x="100" y="93"/>
                    </a:lnTo>
                    <a:lnTo>
                      <a:pt x="106" y="92"/>
                    </a:lnTo>
                    <a:lnTo>
                      <a:pt x="107" y="83"/>
                    </a:lnTo>
                    <a:lnTo>
                      <a:pt x="106" y="83"/>
                    </a:lnTo>
                    <a:lnTo>
                      <a:pt x="104" y="80"/>
                    </a:lnTo>
                    <a:lnTo>
                      <a:pt x="101" y="82"/>
                    </a:lnTo>
                    <a:lnTo>
                      <a:pt x="99" y="80"/>
                    </a:lnTo>
                    <a:lnTo>
                      <a:pt x="100" y="77"/>
                    </a:lnTo>
                    <a:lnTo>
                      <a:pt x="97" y="73"/>
                    </a:lnTo>
                    <a:lnTo>
                      <a:pt x="96" y="71"/>
                    </a:lnTo>
                    <a:lnTo>
                      <a:pt x="96" y="74"/>
                    </a:lnTo>
                    <a:lnTo>
                      <a:pt x="94" y="76"/>
                    </a:lnTo>
                    <a:lnTo>
                      <a:pt x="93" y="73"/>
                    </a:lnTo>
                    <a:lnTo>
                      <a:pt x="90" y="76"/>
                    </a:lnTo>
                    <a:lnTo>
                      <a:pt x="90" y="73"/>
                    </a:lnTo>
                    <a:lnTo>
                      <a:pt x="87" y="74"/>
                    </a:lnTo>
                    <a:lnTo>
                      <a:pt x="86" y="73"/>
                    </a:lnTo>
                    <a:lnTo>
                      <a:pt x="86" y="73"/>
                    </a:lnTo>
                    <a:lnTo>
                      <a:pt x="84" y="76"/>
                    </a:lnTo>
                    <a:lnTo>
                      <a:pt x="78" y="82"/>
                    </a:lnTo>
                    <a:lnTo>
                      <a:pt x="80" y="77"/>
                    </a:lnTo>
                    <a:lnTo>
                      <a:pt x="81" y="76"/>
                    </a:lnTo>
                    <a:lnTo>
                      <a:pt x="83" y="74"/>
                    </a:lnTo>
                    <a:lnTo>
                      <a:pt x="81" y="71"/>
                    </a:lnTo>
                    <a:lnTo>
                      <a:pt x="91" y="69"/>
                    </a:lnTo>
                    <a:lnTo>
                      <a:pt x="88" y="67"/>
                    </a:lnTo>
                    <a:lnTo>
                      <a:pt x="86" y="69"/>
                    </a:lnTo>
                    <a:lnTo>
                      <a:pt x="84" y="67"/>
                    </a:lnTo>
                    <a:lnTo>
                      <a:pt x="84" y="66"/>
                    </a:lnTo>
                    <a:lnTo>
                      <a:pt x="84" y="64"/>
                    </a:lnTo>
                    <a:lnTo>
                      <a:pt x="84" y="64"/>
                    </a:lnTo>
                    <a:lnTo>
                      <a:pt x="83" y="63"/>
                    </a:lnTo>
                    <a:lnTo>
                      <a:pt x="80" y="61"/>
                    </a:lnTo>
                    <a:lnTo>
                      <a:pt x="75" y="61"/>
                    </a:lnTo>
                    <a:lnTo>
                      <a:pt x="78" y="57"/>
                    </a:lnTo>
                    <a:lnTo>
                      <a:pt x="75" y="57"/>
                    </a:lnTo>
                    <a:lnTo>
                      <a:pt x="77" y="55"/>
                    </a:lnTo>
                    <a:lnTo>
                      <a:pt x="80" y="60"/>
                    </a:lnTo>
                    <a:lnTo>
                      <a:pt x="84" y="60"/>
                    </a:lnTo>
                    <a:lnTo>
                      <a:pt x="87" y="60"/>
                    </a:lnTo>
                    <a:lnTo>
                      <a:pt x="90" y="64"/>
                    </a:lnTo>
                    <a:lnTo>
                      <a:pt x="91" y="64"/>
                    </a:lnTo>
                    <a:lnTo>
                      <a:pt x="90" y="61"/>
                    </a:lnTo>
                    <a:lnTo>
                      <a:pt x="93" y="61"/>
                    </a:lnTo>
                    <a:lnTo>
                      <a:pt x="100" y="63"/>
                    </a:lnTo>
                    <a:lnTo>
                      <a:pt x="103" y="63"/>
                    </a:lnTo>
                    <a:lnTo>
                      <a:pt x="107" y="58"/>
                    </a:lnTo>
                    <a:lnTo>
                      <a:pt x="109" y="54"/>
                    </a:lnTo>
                    <a:lnTo>
                      <a:pt x="107" y="51"/>
                    </a:lnTo>
                    <a:lnTo>
                      <a:pt x="103" y="53"/>
                    </a:lnTo>
                    <a:lnTo>
                      <a:pt x="100" y="51"/>
                    </a:lnTo>
                    <a:lnTo>
                      <a:pt x="93" y="47"/>
                    </a:lnTo>
                    <a:lnTo>
                      <a:pt x="90" y="47"/>
                    </a:lnTo>
                    <a:lnTo>
                      <a:pt x="90" y="48"/>
                    </a:lnTo>
                    <a:lnTo>
                      <a:pt x="88" y="45"/>
                    </a:lnTo>
                    <a:lnTo>
                      <a:pt x="84" y="42"/>
                    </a:lnTo>
                    <a:lnTo>
                      <a:pt x="77" y="42"/>
                    </a:lnTo>
                    <a:lnTo>
                      <a:pt x="75" y="41"/>
                    </a:lnTo>
                    <a:lnTo>
                      <a:pt x="75" y="39"/>
                    </a:lnTo>
                    <a:lnTo>
                      <a:pt x="83" y="39"/>
                    </a:lnTo>
                    <a:lnTo>
                      <a:pt x="84" y="38"/>
                    </a:lnTo>
                    <a:lnTo>
                      <a:pt x="84" y="41"/>
                    </a:lnTo>
                    <a:lnTo>
                      <a:pt x="88" y="42"/>
                    </a:lnTo>
                    <a:lnTo>
                      <a:pt x="91" y="41"/>
                    </a:lnTo>
                    <a:lnTo>
                      <a:pt x="90" y="39"/>
                    </a:lnTo>
                    <a:lnTo>
                      <a:pt x="90" y="37"/>
                    </a:lnTo>
                    <a:lnTo>
                      <a:pt x="88" y="35"/>
                    </a:lnTo>
                    <a:lnTo>
                      <a:pt x="83" y="29"/>
                    </a:lnTo>
                    <a:lnTo>
                      <a:pt x="80" y="29"/>
                    </a:lnTo>
                    <a:lnTo>
                      <a:pt x="78" y="28"/>
                    </a:lnTo>
                    <a:lnTo>
                      <a:pt x="77" y="26"/>
                    </a:lnTo>
                    <a:lnTo>
                      <a:pt x="75" y="26"/>
                    </a:lnTo>
                    <a:lnTo>
                      <a:pt x="75" y="26"/>
                    </a:lnTo>
                    <a:lnTo>
                      <a:pt x="70" y="29"/>
                    </a:lnTo>
                    <a:lnTo>
                      <a:pt x="67" y="32"/>
                    </a:lnTo>
                    <a:lnTo>
                      <a:pt x="64" y="34"/>
                    </a:lnTo>
                    <a:lnTo>
                      <a:pt x="62" y="31"/>
                    </a:lnTo>
                    <a:lnTo>
                      <a:pt x="59" y="34"/>
                    </a:lnTo>
                    <a:lnTo>
                      <a:pt x="54" y="32"/>
                    </a:lnTo>
                    <a:lnTo>
                      <a:pt x="49" y="41"/>
                    </a:lnTo>
                    <a:lnTo>
                      <a:pt x="46" y="44"/>
                    </a:lnTo>
                    <a:lnTo>
                      <a:pt x="46" y="41"/>
                    </a:lnTo>
                    <a:lnTo>
                      <a:pt x="46" y="39"/>
                    </a:lnTo>
                    <a:lnTo>
                      <a:pt x="49" y="34"/>
                    </a:lnTo>
                    <a:lnTo>
                      <a:pt x="49" y="31"/>
                    </a:lnTo>
                    <a:lnTo>
                      <a:pt x="51" y="23"/>
                    </a:lnTo>
                    <a:lnTo>
                      <a:pt x="49" y="22"/>
                    </a:lnTo>
                    <a:lnTo>
                      <a:pt x="49" y="19"/>
                    </a:lnTo>
                    <a:lnTo>
                      <a:pt x="48" y="18"/>
                    </a:lnTo>
                    <a:lnTo>
                      <a:pt x="45" y="10"/>
                    </a:lnTo>
                    <a:lnTo>
                      <a:pt x="42" y="12"/>
                    </a:lnTo>
                    <a:lnTo>
                      <a:pt x="40" y="9"/>
                    </a:lnTo>
                    <a:lnTo>
                      <a:pt x="40" y="12"/>
                    </a:lnTo>
                    <a:lnTo>
                      <a:pt x="36" y="13"/>
                    </a:lnTo>
                    <a:lnTo>
                      <a:pt x="35" y="10"/>
                    </a:lnTo>
                    <a:lnTo>
                      <a:pt x="27" y="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05" name="Freeform 1174"/>
              <p:cNvSpPr>
                <a:spLocks/>
              </p:cNvSpPr>
              <p:nvPr/>
            </p:nvSpPr>
            <p:spPr bwMode="auto">
              <a:xfrm>
                <a:off x="5076142" y="1492795"/>
                <a:ext cx="10534" cy="20283"/>
              </a:xfrm>
              <a:custGeom>
                <a:avLst/>
                <a:gdLst/>
                <a:ahLst/>
                <a:cxnLst>
                  <a:cxn ang="0">
                    <a:pos x="10" y="3"/>
                  </a:cxn>
                  <a:cxn ang="0">
                    <a:pos x="10" y="3"/>
                  </a:cxn>
                  <a:cxn ang="0">
                    <a:pos x="9" y="10"/>
                  </a:cxn>
                  <a:cxn ang="0">
                    <a:pos x="10" y="13"/>
                  </a:cxn>
                  <a:cxn ang="0">
                    <a:pos x="12" y="16"/>
                  </a:cxn>
                  <a:cxn ang="0">
                    <a:pos x="6" y="16"/>
                  </a:cxn>
                  <a:cxn ang="0">
                    <a:pos x="6" y="19"/>
                  </a:cxn>
                  <a:cxn ang="0">
                    <a:pos x="6" y="19"/>
                  </a:cxn>
                  <a:cxn ang="0">
                    <a:pos x="0" y="16"/>
                  </a:cxn>
                  <a:cxn ang="0">
                    <a:pos x="2" y="13"/>
                  </a:cxn>
                  <a:cxn ang="0">
                    <a:pos x="2" y="10"/>
                  </a:cxn>
                  <a:cxn ang="0">
                    <a:pos x="5" y="6"/>
                  </a:cxn>
                  <a:cxn ang="0">
                    <a:pos x="5" y="3"/>
                  </a:cxn>
                  <a:cxn ang="0">
                    <a:pos x="6" y="1"/>
                  </a:cxn>
                  <a:cxn ang="0">
                    <a:pos x="6" y="0"/>
                  </a:cxn>
                  <a:cxn ang="0">
                    <a:pos x="8" y="0"/>
                  </a:cxn>
                  <a:cxn ang="0">
                    <a:pos x="10" y="3"/>
                  </a:cxn>
                </a:cxnLst>
                <a:rect l="0" t="0" r="r" b="b"/>
                <a:pathLst>
                  <a:path w="12" h="19">
                    <a:moveTo>
                      <a:pt x="10" y="3"/>
                    </a:moveTo>
                    <a:lnTo>
                      <a:pt x="10" y="3"/>
                    </a:lnTo>
                    <a:lnTo>
                      <a:pt x="9" y="10"/>
                    </a:lnTo>
                    <a:lnTo>
                      <a:pt x="10" y="13"/>
                    </a:lnTo>
                    <a:lnTo>
                      <a:pt x="12" y="16"/>
                    </a:lnTo>
                    <a:lnTo>
                      <a:pt x="6" y="16"/>
                    </a:lnTo>
                    <a:lnTo>
                      <a:pt x="6" y="19"/>
                    </a:lnTo>
                    <a:lnTo>
                      <a:pt x="6" y="19"/>
                    </a:lnTo>
                    <a:lnTo>
                      <a:pt x="0" y="16"/>
                    </a:lnTo>
                    <a:lnTo>
                      <a:pt x="2" y="13"/>
                    </a:lnTo>
                    <a:lnTo>
                      <a:pt x="2" y="10"/>
                    </a:lnTo>
                    <a:lnTo>
                      <a:pt x="5" y="6"/>
                    </a:lnTo>
                    <a:lnTo>
                      <a:pt x="5" y="3"/>
                    </a:lnTo>
                    <a:lnTo>
                      <a:pt x="6" y="1"/>
                    </a:lnTo>
                    <a:lnTo>
                      <a:pt x="6" y="0"/>
                    </a:lnTo>
                    <a:lnTo>
                      <a:pt x="8" y="0"/>
                    </a:lnTo>
                    <a:lnTo>
                      <a:pt x="10"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06" name="Freeform 1175"/>
              <p:cNvSpPr>
                <a:spLocks/>
              </p:cNvSpPr>
              <p:nvPr/>
            </p:nvSpPr>
            <p:spPr bwMode="auto">
              <a:xfrm>
                <a:off x="5076142" y="1492795"/>
                <a:ext cx="10534" cy="20283"/>
              </a:xfrm>
              <a:custGeom>
                <a:avLst/>
                <a:gdLst/>
                <a:ahLst/>
                <a:cxnLst>
                  <a:cxn ang="0">
                    <a:pos x="10" y="3"/>
                  </a:cxn>
                  <a:cxn ang="0">
                    <a:pos x="10" y="3"/>
                  </a:cxn>
                  <a:cxn ang="0">
                    <a:pos x="9" y="10"/>
                  </a:cxn>
                  <a:cxn ang="0">
                    <a:pos x="10" y="13"/>
                  </a:cxn>
                  <a:cxn ang="0">
                    <a:pos x="12" y="16"/>
                  </a:cxn>
                  <a:cxn ang="0">
                    <a:pos x="6" y="16"/>
                  </a:cxn>
                  <a:cxn ang="0">
                    <a:pos x="6" y="19"/>
                  </a:cxn>
                  <a:cxn ang="0">
                    <a:pos x="6" y="19"/>
                  </a:cxn>
                  <a:cxn ang="0">
                    <a:pos x="0" y="16"/>
                  </a:cxn>
                  <a:cxn ang="0">
                    <a:pos x="2" y="13"/>
                  </a:cxn>
                  <a:cxn ang="0">
                    <a:pos x="2" y="10"/>
                  </a:cxn>
                  <a:cxn ang="0">
                    <a:pos x="5" y="6"/>
                  </a:cxn>
                  <a:cxn ang="0">
                    <a:pos x="5" y="3"/>
                  </a:cxn>
                  <a:cxn ang="0">
                    <a:pos x="6" y="1"/>
                  </a:cxn>
                  <a:cxn ang="0">
                    <a:pos x="6" y="0"/>
                  </a:cxn>
                  <a:cxn ang="0">
                    <a:pos x="8" y="0"/>
                  </a:cxn>
                  <a:cxn ang="0">
                    <a:pos x="10" y="3"/>
                  </a:cxn>
                </a:cxnLst>
                <a:rect l="0" t="0" r="r" b="b"/>
                <a:pathLst>
                  <a:path w="12" h="19">
                    <a:moveTo>
                      <a:pt x="10" y="3"/>
                    </a:moveTo>
                    <a:lnTo>
                      <a:pt x="10" y="3"/>
                    </a:lnTo>
                    <a:lnTo>
                      <a:pt x="9" y="10"/>
                    </a:lnTo>
                    <a:lnTo>
                      <a:pt x="10" y="13"/>
                    </a:lnTo>
                    <a:lnTo>
                      <a:pt x="12" y="16"/>
                    </a:lnTo>
                    <a:lnTo>
                      <a:pt x="6" y="16"/>
                    </a:lnTo>
                    <a:lnTo>
                      <a:pt x="6" y="19"/>
                    </a:lnTo>
                    <a:lnTo>
                      <a:pt x="6" y="19"/>
                    </a:lnTo>
                    <a:lnTo>
                      <a:pt x="0" y="16"/>
                    </a:lnTo>
                    <a:lnTo>
                      <a:pt x="2" y="13"/>
                    </a:lnTo>
                    <a:lnTo>
                      <a:pt x="2" y="10"/>
                    </a:lnTo>
                    <a:lnTo>
                      <a:pt x="5" y="6"/>
                    </a:lnTo>
                    <a:lnTo>
                      <a:pt x="5" y="3"/>
                    </a:lnTo>
                    <a:lnTo>
                      <a:pt x="6" y="1"/>
                    </a:lnTo>
                    <a:lnTo>
                      <a:pt x="6" y="0"/>
                    </a:lnTo>
                    <a:lnTo>
                      <a:pt x="8" y="0"/>
                    </a:lnTo>
                    <a:lnTo>
                      <a:pt x="10"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07" name="Freeform 1176"/>
              <p:cNvSpPr>
                <a:spLocks/>
              </p:cNvSpPr>
              <p:nvPr/>
            </p:nvSpPr>
            <p:spPr bwMode="auto">
              <a:xfrm>
                <a:off x="5068242" y="1554657"/>
                <a:ext cx="14922" cy="13184"/>
              </a:xfrm>
              <a:custGeom>
                <a:avLst/>
                <a:gdLst/>
                <a:ahLst/>
                <a:cxnLst>
                  <a:cxn ang="0">
                    <a:pos x="11" y="10"/>
                  </a:cxn>
                  <a:cxn ang="0">
                    <a:pos x="14" y="10"/>
                  </a:cxn>
                  <a:cxn ang="0">
                    <a:pos x="16" y="8"/>
                  </a:cxn>
                  <a:cxn ang="0">
                    <a:pos x="13" y="6"/>
                  </a:cxn>
                  <a:cxn ang="0">
                    <a:pos x="13" y="0"/>
                  </a:cxn>
                  <a:cxn ang="0">
                    <a:pos x="7" y="2"/>
                  </a:cxn>
                  <a:cxn ang="0">
                    <a:pos x="4" y="3"/>
                  </a:cxn>
                  <a:cxn ang="0">
                    <a:pos x="4" y="5"/>
                  </a:cxn>
                  <a:cxn ang="0">
                    <a:pos x="3" y="5"/>
                  </a:cxn>
                  <a:cxn ang="0">
                    <a:pos x="0" y="6"/>
                  </a:cxn>
                  <a:cxn ang="0">
                    <a:pos x="3" y="10"/>
                  </a:cxn>
                  <a:cxn ang="0">
                    <a:pos x="4" y="13"/>
                  </a:cxn>
                  <a:cxn ang="0">
                    <a:pos x="8" y="13"/>
                  </a:cxn>
                  <a:cxn ang="0">
                    <a:pos x="11" y="10"/>
                  </a:cxn>
                </a:cxnLst>
                <a:rect l="0" t="0" r="r" b="b"/>
                <a:pathLst>
                  <a:path w="16" h="13">
                    <a:moveTo>
                      <a:pt x="11" y="10"/>
                    </a:moveTo>
                    <a:lnTo>
                      <a:pt x="14" y="10"/>
                    </a:lnTo>
                    <a:lnTo>
                      <a:pt x="16" y="8"/>
                    </a:lnTo>
                    <a:lnTo>
                      <a:pt x="13" y="6"/>
                    </a:lnTo>
                    <a:lnTo>
                      <a:pt x="13" y="0"/>
                    </a:lnTo>
                    <a:lnTo>
                      <a:pt x="7" y="2"/>
                    </a:lnTo>
                    <a:lnTo>
                      <a:pt x="4" y="3"/>
                    </a:lnTo>
                    <a:lnTo>
                      <a:pt x="4" y="5"/>
                    </a:lnTo>
                    <a:lnTo>
                      <a:pt x="3" y="5"/>
                    </a:lnTo>
                    <a:lnTo>
                      <a:pt x="0" y="6"/>
                    </a:lnTo>
                    <a:lnTo>
                      <a:pt x="3" y="10"/>
                    </a:lnTo>
                    <a:lnTo>
                      <a:pt x="4" y="13"/>
                    </a:lnTo>
                    <a:lnTo>
                      <a:pt x="8" y="13"/>
                    </a:lnTo>
                    <a:lnTo>
                      <a:pt x="11" y="1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08" name="Freeform 1177"/>
              <p:cNvSpPr>
                <a:spLocks/>
              </p:cNvSpPr>
              <p:nvPr/>
            </p:nvSpPr>
            <p:spPr bwMode="auto">
              <a:xfrm>
                <a:off x="5068242" y="1554657"/>
                <a:ext cx="14922" cy="13184"/>
              </a:xfrm>
              <a:custGeom>
                <a:avLst/>
                <a:gdLst/>
                <a:ahLst/>
                <a:cxnLst>
                  <a:cxn ang="0">
                    <a:pos x="11" y="10"/>
                  </a:cxn>
                  <a:cxn ang="0">
                    <a:pos x="14" y="10"/>
                  </a:cxn>
                  <a:cxn ang="0">
                    <a:pos x="16" y="8"/>
                  </a:cxn>
                  <a:cxn ang="0">
                    <a:pos x="13" y="6"/>
                  </a:cxn>
                  <a:cxn ang="0">
                    <a:pos x="13" y="0"/>
                  </a:cxn>
                  <a:cxn ang="0">
                    <a:pos x="7" y="2"/>
                  </a:cxn>
                  <a:cxn ang="0">
                    <a:pos x="4" y="3"/>
                  </a:cxn>
                  <a:cxn ang="0">
                    <a:pos x="4" y="5"/>
                  </a:cxn>
                  <a:cxn ang="0">
                    <a:pos x="3" y="5"/>
                  </a:cxn>
                  <a:cxn ang="0">
                    <a:pos x="0" y="6"/>
                  </a:cxn>
                  <a:cxn ang="0">
                    <a:pos x="3" y="10"/>
                  </a:cxn>
                  <a:cxn ang="0">
                    <a:pos x="4" y="13"/>
                  </a:cxn>
                  <a:cxn ang="0">
                    <a:pos x="8" y="13"/>
                  </a:cxn>
                  <a:cxn ang="0">
                    <a:pos x="11" y="10"/>
                  </a:cxn>
                </a:cxnLst>
                <a:rect l="0" t="0" r="r" b="b"/>
                <a:pathLst>
                  <a:path w="16" h="13">
                    <a:moveTo>
                      <a:pt x="11" y="10"/>
                    </a:moveTo>
                    <a:lnTo>
                      <a:pt x="14" y="10"/>
                    </a:lnTo>
                    <a:lnTo>
                      <a:pt x="16" y="8"/>
                    </a:lnTo>
                    <a:lnTo>
                      <a:pt x="13" y="6"/>
                    </a:lnTo>
                    <a:lnTo>
                      <a:pt x="13" y="0"/>
                    </a:lnTo>
                    <a:lnTo>
                      <a:pt x="7" y="2"/>
                    </a:lnTo>
                    <a:lnTo>
                      <a:pt x="4" y="3"/>
                    </a:lnTo>
                    <a:lnTo>
                      <a:pt x="4" y="5"/>
                    </a:lnTo>
                    <a:lnTo>
                      <a:pt x="3" y="5"/>
                    </a:lnTo>
                    <a:lnTo>
                      <a:pt x="0" y="6"/>
                    </a:lnTo>
                    <a:lnTo>
                      <a:pt x="3" y="10"/>
                    </a:lnTo>
                    <a:lnTo>
                      <a:pt x="4" y="13"/>
                    </a:lnTo>
                    <a:lnTo>
                      <a:pt x="8" y="13"/>
                    </a:lnTo>
                    <a:lnTo>
                      <a:pt x="11" y="1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09" name="Freeform 1178"/>
              <p:cNvSpPr>
                <a:spLocks/>
              </p:cNvSpPr>
              <p:nvPr/>
            </p:nvSpPr>
            <p:spPr bwMode="auto">
              <a:xfrm>
                <a:off x="4859326" y="1517134"/>
                <a:ext cx="38623" cy="62876"/>
              </a:xfrm>
              <a:custGeom>
                <a:avLst/>
                <a:gdLst/>
                <a:ahLst/>
                <a:cxnLst>
                  <a:cxn ang="0">
                    <a:pos x="21" y="0"/>
                  </a:cxn>
                  <a:cxn ang="0">
                    <a:pos x="27" y="6"/>
                  </a:cxn>
                  <a:cxn ang="0">
                    <a:pos x="32" y="10"/>
                  </a:cxn>
                  <a:cxn ang="0">
                    <a:pos x="33" y="12"/>
                  </a:cxn>
                  <a:cxn ang="0">
                    <a:pos x="34" y="20"/>
                  </a:cxn>
                  <a:cxn ang="0">
                    <a:pos x="39" y="20"/>
                  </a:cxn>
                  <a:cxn ang="0">
                    <a:pos x="42" y="26"/>
                  </a:cxn>
                  <a:cxn ang="0">
                    <a:pos x="42" y="55"/>
                  </a:cxn>
                  <a:cxn ang="0">
                    <a:pos x="39" y="58"/>
                  </a:cxn>
                  <a:cxn ang="0">
                    <a:pos x="32" y="60"/>
                  </a:cxn>
                  <a:cxn ang="0">
                    <a:pos x="26" y="60"/>
                  </a:cxn>
                  <a:cxn ang="0">
                    <a:pos x="23" y="55"/>
                  </a:cxn>
                  <a:cxn ang="0">
                    <a:pos x="20" y="51"/>
                  </a:cxn>
                  <a:cxn ang="0">
                    <a:pos x="16" y="48"/>
                  </a:cxn>
                  <a:cxn ang="0">
                    <a:pos x="16" y="51"/>
                  </a:cxn>
                  <a:cxn ang="0">
                    <a:pos x="14" y="49"/>
                  </a:cxn>
                  <a:cxn ang="0">
                    <a:pos x="13" y="46"/>
                  </a:cxn>
                  <a:cxn ang="0">
                    <a:pos x="10" y="48"/>
                  </a:cxn>
                  <a:cxn ang="0">
                    <a:pos x="7" y="42"/>
                  </a:cxn>
                  <a:cxn ang="0">
                    <a:pos x="8" y="36"/>
                  </a:cxn>
                  <a:cxn ang="0">
                    <a:pos x="7" y="36"/>
                  </a:cxn>
                  <a:cxn ang="0">
                    <a:pos x="4" y="41"/>
                  </a:cxn>
                  <a:cxn ang="0">
                    <a:pos x="1" y="36"/>
                  </a:cxn>
                  <a:cxn ang="0">
                    <a:pos x="0" y="26"/>
                  </a:cxn>
                  <a:cxn ang="0">
                    <a:pos x="3" y="26"/>
                  </a:cxn>
                  <a:cxn ang="0">
                    <a:pos x="10" y="20"/>
                  </a:cxn>
                  <a:cxn ang="0">
                    <a:pos x="7" y="19"/>
                  </a:cxn>
                  <a:cxn ang="0">
                    <a:pos x="8" y="15"/>
                  </a:cxn>
                  <a:cxn ang="0">
                    <a:pos x="10" y="16"/>
                  </a:cxn>
                  <a:cxn ang="0">
                    <a:pos x="8" y="13"/>
                  </a:cxn>
                  <a:cxn ang="0">
                    <a:pos x="5" y="13"/>
                  </a:cxn>
                  <a:cxn ang="0">
                    <a:pos x="11" y="13"/>
                  </a:cxn>
                  <a:cxn ang="0">
                    <a:pos x="17" y="1"/>
                  </a:cxn>
                  <a:cxn ang="0">
                    <a:pos x="21" y="1"/>
                  </a:cxn>
                </a:cxnLst>
                <a:rect l="0" t="0" r="r" b="b"/>
                <a:pathLst>
                  <a:path w="42" h="60">
                    <a:moveTo>
                      <a:pt x="21" y="1"/>
                    </a:moveTo>
                    <a:lnTo>
                      <a:pt x="21" y="0"/>
                    </a:lnTo>
                    <a:lnTo>
                      <a:pt x="21" y="3"/>
                    </a:lnTo>
                    <a:lnTo>
                      <a:pt x="27" y="6"/>
                    </a:lnTo>
                    <a:lnTo>
                      <a:pt x="30" y="9"/>
                    </a:lnTo>
                    <a:lnTo>
                      <a:pt x="32" y="10"/>
                    </a:lnTo>
                    <a:lnTo>
                      <a:pt x="32" y="12"/>
                    </a:lnTo>
                    <a:lnTo>
                      <a:pt x="33" y="12"/>
                    </a:lnTo>
                    <a:lnTo>
                      <a:pt x="34" y="16"/>
                    </a:lnTo>
                    <a:lnTo>
                      <a:pt x="34" y="20"/>
                    </a:lnTo>
                    <a:lnTo>
                      <a:pt x="37" y="16"/>
                    </a:lnTo>
                    <a:lnTo>
                      <a:pt x="39" y="20"/>
                    </a:lnTo>
                    <a:lnTo>
                      <a:pt x="39" y="22"/>
                    </a:lnTo>
                    <a:lnTo>
                      <a:pt x="42" y="26"/>
                    </a:lnTo>
                    <a:lnTo>
                      <a:pt x="40" y="28"/>
                    </a:lnTo>
                    <a:lnTo>
                      <a:pt x="42" y="55"/>
                    </a:lnTo>
                    <a:lnTo>
                      <a:pt x="42" y="57"/>
                    </a:lnTo>
                    <a:lnTo>
                      <a:pt x="39" y="58"/>
                    </a:lnTo>
                    <a:lnTo>
                      <a:pt x="36" y="58"/>
                    </a:lnTo>
                    <a:lnTo>
                      <a:pt x="32" y="60"/>
                    </a:lnTo>
                    <a:lnTo>
                      <a:pt x="29" y="58"/>
                    </a:lnTo>
                    <a:lnTo>
                      <a:pt x="26" y="60"/>
                    </a:lnTo>
                    <a:lnTo>
                      <a:pt x="23" y="57"/>
                    </a:lnTo>
                    <a:lnTo>
                      <a:pt x="23" y="55"/>
                    </a:lnTo>
                    <a:lnTo>
                      <a:pt x="20" y="54"/>
                    </a:lnTo>
                    <a:lnTo>
                      <a:pt x="20" y="51"/>
                    </a:lnTo>
                    <a:lnTo>
                      <a:pt x="17" y="48"/>
                    </a:lnTo>
                    <a:lnTo>
                      <a:pt x="16" y="48"/>
                    </a:lnTo>
                    <a:lnTo>
                      <a:pt x="16" y="49"/>
                    </a:lnTo>
                    <a:lnTo>
                      <a:pt x="16" y="51"/>
                    </a:lnTo>
                    <a:lnTo>
                      <a:pt x="14" y="51"/>
                    </a:lnTo>
                    <a:lnTo>
                      <a:pt x="14" y="49"/>
                    </a:lnTo>
                    <a:lnTo>
                      <a:pt x="13" y="46"/>
                    </a:lnTo>
                    <a:lnTo>
                      <a:pt x="13" y="46"/>
                    </a:lnTo>
                    <a:lnTo>
                      <a:pt x="11" y="45"/>
                    </a:lnTo>
                    <a:lnTo>
                      <a:pt x="10" y="48"/>
                    </a:lnTo>
                    <a:lnTo>
                      <a:pt x="8" y="46"/>
                    </a:lnTo>
                    <a:lnTo>
                      <a:pt x="7" y="42"/>
                    </a:lnTo>
                    <a:lnTo>
                      <a:pt x="7" y="39"/>
                    </a:lnTo>
                    <a:lnTo>
                      <a:pt x="8" y="36"/>
                    </a:lnTo>
                    <a:lnTo>
                      <a:pt x="7" y="38"/>
                    </a:lnTo>
                    <a:lnTo>
                      <a:pt x="7" y="36"/>
                    </a:lnTo>
                    <a:lnTo>
                      <a:pt x="5" y="41"/>
                    </a:lnTo>
                    <a:lnTo>
                      <a:pt x="4" y="41"/>
                    </a:lnTo>
                    <a:lnTo>
                      <a:pt x="3" y="38"/>
                    </a:lnTo>
                    <a:lnTo>
                      <a:pt x="1" y="36"/>
                    </a:lnTo>
                    <a:lnTo>
                      <a:pt x="0" y="29"/>
                    </a:lnTo>
                    <a:lnTo>
                      <a:pt x="0" y="26"/>
                    </a:lnTo>
                    <a:lnTo>
                      <a:pt x="1" y="26"/>
                    </a:lnTo>
                    <a:lnTo>
                      <a:pt x="3" y="26"/>
                    </a:lnTo>
                    <a:lnTo>
                      <a:pt x="3" y="25"/>
                    </a:lnTo>
                    <a:lnTo>
                      <a:pt x="10" y="20"/>
                    </a:lnTo>
                    <a:lnTo>
                      <a:pt x="8" y="19"/>
                    </a:lnTo>
                    <a:lnTo>
                      <a:pt x="7" y="19"/>
                    </a:lnTo>
                    <a:lnTo>
                      <a:pt x="7" y="17"/>
                    </a:lnTo>
                    <a:lnTo>
                      <a:pt x="8" y="15"/>
                    </a:lnTo>
                    <a:lnTo>
                      <a:pt x="8" y="16"/>
                    </a:lnTo>
                    <a:lnTo>
                      <a:pt x="10" y="16"/>
                    </a:lnTo>
                    <a:lnTo>
                      <a:pt x="10" y="13"/>
                    </a:lnTo>
                    <a:lnTo>
                      <a:pt x="8" y="13"/>
                    </a:lnTo>
                    <a:lnTo>
                      <a:pt x="5" y="16"/>
                    </a:lnTo>
                    <a:lnTo>
                      <a:pt x="5" y="13"/>
                    </a:lnTo>
                    <a:lnTo>
                      <a:pt x="7" y="12"/>
                    </a:lnTo>
                    <a:lnTo>
                      <a:pt x="11" y="13"/>
                    </a:lnTo>
                    <a:lnTo>
                      <a:pt x="11" y="7"/>
                    </a:lnTo>
                    <a:lnTo>
                      <a:pt x="17" y="1"/>
                    </a:lnTo>
                    <a:lnTo>
                      <a:pt x="20" y="0"/>
                    </a:lnTo>
                    <a:lnTo>
                      <a:pt x="21"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10" name="Freeform 1180"/>
              <p:cNvSpPr>
                <a:spLocks/>
              </p:cNvSpPr>
              <p:nvPr/>
            </p:nvSpPr>
            <p:spPr bwMode="auto">
              <a:xfrm>
                <a:off x="4981339" y="1968423"/>
                <a:ext cx="90414" cy="93300"/>
              </a:xfrm>
              <a:custGeom>
                <a:avLst/>
                <a:gdLst/>
                <a:ahLst/>
                <a:cxnLst>
                  <a:cxn ang="0">
                    <a:pos x="22" y="0"/>
                  </a:cxn>
                  <a:cxn ang="0">
                    <a:pos x="23" y="3"/>
                  </a:cxn>
                  <a:cxn ang="0">
                    <a:pos x="28" y="7"/>
                  </a:cxn>
                  <a:cxn ang="0">
                    <a:pos x="29" y="13"/>
                  </a:cxn>
                  <a:cxn ang="0">
                    <a:pos x="32" y="22"/>
                  </a:cxn>
                  <a:cxn ang="0">
                    <a:pos x="37" y="15"/>
                  </a:cxn>
                  <a:cxn ang="0">
                    <a:pos x="41" y="19"/>
                  </a:cxn>
                  <a:cxn ang="0">
                    <a:pos x="42" y="23"/>
                  </a:cxn>
                  <a:cxn ang="0">
                    <a:pos x="52" y="26"/>
                  </a:cxn>
                  <a:cxn ang="0">
                    <a:pos x="57" y="33"/>
                  </a:cxn>
                  <a:cxn ang="0">
                    <a:pos x="63" y="38"/>
                  </a:cxn>
                  <a:cxn ang="0">
                    <a:pos x="68" y="39"/>
                  </a:cxn>
                  <a:cxn ang="0">
                    <a:pos x="76" y="48"/>
                  </a:cxn>
                  <a:cxn ang="0">
                    <a:pos x="79" y="58"/>
                  </a:cxn>
                  <a:cxn ang="0">
                    <a:pos x="80" y="63"/>
                  </a:cxn>
                  <a:cxn ang="0">
                    <a:pos x="84" y="61"/>
                  </a:cxn>
                  <a:cxn ang="0">
                    <a:pos x="89" y="60"/>
                  </a:cxn>
                  <a:cxn ang="0">
                    <a:pos x="92" y="63"/>
                  </a:cxn>
                  <a:cxn ang="0">
                    <a:pos x="93" y="67"/>
                  </a:cxn>
                  <a:cxn ang="0">
                    <a:pos x="99" y="70"/>
                  </a:cxn>
                  <a:cxn ang="0">
                    <a:pos x="98" y="71"/>
                  </a:cxn>
                  <a:cxn ang="0">
                    <a:pos x="86" y="81"/>
                  </a:cxn>
                  <a:cxn ang="0">
                    <a:pos x="82" y="77"/>
                  </a:cxn>
                  <a:cxn ang="0">
                    <a:pos x="79" y="77"/>
                  </a:cxn>
                  <a:cxn ang="0">
                    <a:pos x="76" y="74"/>
                  </a:cxn>
                  <a:cxn ang="0">
                    <a:pos x="73" y="73"/>
                  </a:cxn>
                  <a:cxn ang="0">
                    <a:pos x="67" y="74"/>
                  </a:cxn>
                  <a:cxn ang="0">
                    <a:pos x="68" y="68"/>
                  </a:cxn>
                  <a:cxn ang="0">
                    <a:pos x="66" y="65"/>
                  </a:cxn>
                  <a:cxn ang="0">
                    <a:pos x="60" y="64"/>
                  </a:cxn>
                  <a:cxn ang="0">
                    <a:pos x="58" y="64"/>
                  </a:cxn>
                  <a:cxn ang="0">
                    <a:pos x="61" y="58"/>
                  </a:cxn>
                  <a:cxn ang="0">
                    <a:pos x="51" y="61"/>
                  </a:cxn>
                  <a:cxn ang="0">
                    <a:pos x="51" y="68"/>
                  </a:cxn>
                  <a:cxn ang="0">
                    <a:pos x="48" y="71"/>
                  </a:cxn>
                  <a:cxn ang="0">
                    <a:pos x="45" y="74"/>
                  </a:cxn>
                  <a:cxn ang="0">
                    <a:pos x="44" y="77"/>
                  </a:cxn>
                  <a:cxn ang="0">
                    <a:pos x="38" y="81"/>
                  </a:cxn>
                  <a:cxn ang="0">
                    <a:pos x="38" y="83"/>
                  </a:cxn>
                  <a:cxn ang="0">
                    <a:pos x="28" y="90"/>
                  </a:cxn>
                  <a:cxn ang="0">
                    <a:pos x="25" y="90"/>
                  </a:cxn>
                  <a:cxn ang="0">
                    <a:pos x="22" y="76"/>
                  </a:cxn>
                  <a:cxn ang="0">
                    <a:pos x="21" y="67"/>
                  </a:cxn>
                  <a:cxn ang="0">
                    <a:pos x="19" y="73"/>
                  </a:cxn>
                  <a:cxn ang="0">
                    <a:pos x="16" y="74"/>
                  </a:cxn>
                  <a:cxn ang="0">
                    <a:pos x="10" y="74"/>
                  </a:cxn>
                  <a:cxn ang="0">
                    <a:pos x="6" y="77"/>
                  </a:cxn>
                  <a:cxn ang="0">
                    <a:pos x="0" y="77"/>
                  </a:cxn>
                  <a:cxn ang="0">
                    <a:pos x="3" y="67"/>
                  </a:cxn>
                  <a:cxn ang="0">
                    <a:pos x="7" y="64"/>
                  </a:cxn>
                  <a:cxn ang="0">
                    <a:pos x="13" y="55"/>
                  </a:cxn>
                  <a:cxn ang="0">
                    <a:pos x="16" y="7"/>
                  </a:cxn>
                </a:cxnLst>
                <a:rect l="0" t="0" r="r" b="b"/>
                <a:pathLst>
                  <a:path w="99" h="90">
                    <a:moveTo>
                      <a:pt x="19" y="4"/>
                    </a:moveTo>
                    <a:lnTo>
                      <a:pt x="22" y="0"/>
                    </a:lnTo>
                    <a:lnTo>
                      <a:pt x="23" y="0"/>
                    </a:lnTo>
                    <a:lnTo>
                      <a:pt x="23" y="3"/>
                    </a:lnTo>
                    <a:lnTo>
                      <a:pt x="26" y="3"/>
                    </a:lnTo>
                    <a:lnTo>
                      <a:pt x="28" y="7"/>
                    </a:lnTo>
                    <a:lnTo>
                      <a:pt x="31" y="10"/>
                    </a:lnTo>
                    <a:lnTo>
                      <a:pt x="29" y="13"/>
                    </a:lnTo>
                    <a:lnTo>
                      <a:pt x="31" y="20"/>
                    </a:lnTo>
                    <a:lnTo>
                      <a:pt x="32" y="22"/>
                    </a:lnTo>
                    <a:lnTo>
                      <a:pt x="34" y="19"/>
                    </a:lnTo>
                    <a:lnTo>
                      <a:pt x="37" y="15"/>
                    </a:lnTo>
                    <a:lnTo>
                      <a:pt x="38" y="16"/>
                    </a:lnTo>
                    <a:lnTo>
                      <a:pt x="41" y="19"/>
                    </a:lnTo>
                    <a:lnTo>
                      <a:pt x="44" y="19"/>
                    </a:lnTo>
                    <a:lnTo>
                      <a:pt x="42" y="23"/>
                    </a:lnTo>
                    <a:lnTo>
                      <a:pt x="45" y="25"/>
                    </a:lnTo>
                    <a:lnTo>
                      <a:pt x="52" y="26"/>
                    </a:lnTo>
                    <a:lnTo>
                      <a:pt x="54" y="31"/>
                    </a:lnTo>
                    <a:lnTo>
                      <a:pt x="57" y="33"/>
                    </a:lnTo>
                    <a:lnTo>
                      <a:pt x="60" y="35"/>
                    </a:lnTo>
                    <a:lnTo>
                      <a:pt x="63" y="38"/>
                    </a:lnTo>
                    <a:lnTo>
                      <a:pt x="66" y="39"/>
                    </a:lnTo>
                    <a:lnTo>
                      <a:pt x="68" y="39"/>
                    </a:lnTo>
                    <a:lnTo>
                      <a:pt x="74" y="42"/>
                    </a:lnTo>
                    <a:lnTo>
                      <a:pt x="76" y="48"/>
                    </a:lnTo>
                    <a:lnTo>
                      <a:pt x="77" y="55"/>
                    </a:lnTo>
                    <a:lnTo>
                      <a:pt x="79" y="58"/>
                    </a:lnTo>
                    <a:lnTo>
                      <a:pt x="79" y="61"/>
                    </a:lnTo>
                    <a:lnTo>
                      <a:pt x="80" y="63"/>
                    </a:lnTo>
                    <a:lnTo>
                      <a:pt x="82" y="61"/>
                    </a:lnTo>
                    <a:lnTo>
                      <a:pt x="84" y="61"/>
                    </a:lnTo>
                    <a:lnTo>
                      <a:pt x="84" y="63"/>
                    </a:lnTo>
                    <a:lnTo>
                      <a:pt x="89" y="60"/>
                    </a:lnTo>
                    <a:lnTo>
                      <a:pt x="90" y="60"/>
                    </a:lnTo>
                    <a:lnTo>
                      <a:pt x="92" y="63"/>
                    </a:lnTo>
                    <a:lnTo>
                      <a:pt x="93" y="64"/>
                    </a:lnTo>
                    <a:lnTo>
                      <a:pt x="93" y="67"/>
                    </a:lnTo>
                    <a:lnTo>
                      <a:pt x="93" y="68"/>
                    </a:lnTo>
                    <a:lnTo>
                      <a:pt x="99" y="70"/>
                    </a:lnTo>
                    <a:lnTo>
                      <a:pt x="99" y="71"/>
                    </a:lnTo>
                    <a:lnTo>
                      <a:pt x="98" y="71"/>
                    </a:lnTo>
                    <a:lnTo>
                      <a:pt x="89" y="80"/>
                    </a:lnTo>
                    <a:lnTo>
                      <a:pt x="86" y="81"/>
                    </a:lnTo>
                    <a:lnTo>
                      <a:pt x="83" y="78"/>
                    </a:lnTo>
                    <a:lnTo>
                      <a:pt x="82" y="77"/>
                    </a:lnTo>
                    <a:lnTo>
                      <a:pt x="80" y="77"/>
                    </a:lnTo>
                    <a:lnTo>
                      <a:pt x="79" y="77"/>
                    </a:lnTo>
                    <a:lnTo>
                      <a:pt x="77" y="76"/>
                    </a:lnTo>
                    <a:lnTo>
                      <a:pt x="76" y="74"/>
                    </a:lnTo>
                    <a:lnTo>
                      <a:pt x="73" y="74"/>
                    </a:lnTo>
                    <a:lnTo>
                      <a:pt x="73" y="73"/>
                    </a:lnTo>
                    <a:lnTo>
                      <a:pt x="71" y="74"/>
                    </a:lnTo>
                    <a:lnTo>
                      <a:pt x="67" y="74"/>
                    </a:lnTo>
                    <a:lnTo>
                      <a:pt x="67" y="71"/>
                    </a:lnTo>
                    <a:lnTo>
                      <a:pt x="68" y="68"/>
                    </a:lnTo>
                    <a:lnTo>
                      <a:pt x="67" y="65"/>
                    </a:lnTo>
                    <a:lnTo>
                      <a:pt x="66" y="65"/>
                    </a:lnTo>
                    <a:lnTo>
                      <a:pt x="61" y="64"/>
                    </a:lnTo>
                    <a:lnTo>
                      <a:pt x="60" y="64"/>
                    </a:lnTo>
                    <a:lnTo>
                      <a:pt x="60" y="65"/>
                    </a:lnTo>
                    <a:lnTo>
                      <a:pt x="58" y="64"/>
                    </a:lnTo>
                    <a:lnTo>
                      <a:pt x="58" y="61"/>
                    </a:lnTo>
                    <a:lnTo>
                      <a:pt x="61" y="58"/>
                    </a:lnTo>
                    <a:lnTo>
                      <a:pt x="60" y="58"/>
                    </a:lnTo>
                    <a:lnTo>
                      <a:pt x="51" y="61"/>
                    </a:lnTo>
                    <a:lnTo>
                      <a:pt x="50" y="67"/>
                    </a:lnTo>
                    <a:lnTo>
                      <a:pt x="51" y="68"/>
                    </a:lnTo>
                    <a:lnTo>
                      <a:pt x="51" y="71"/>
                    </a:lnTo>
                    <a:lnTo>
                      <a:pt x="48" y="71"/>
                    </a:lnTo>
                    <a:lnTo>
                      <a:pt x="48" y="73"/>
                    </a:lnTo>
                    <a:lnTo>
                      <a:pt x="45" y="74"/>
                    </a:lnTo>
                    <a:lnTo>
                      <a:pt x="45" y="76"/>
                    </a:lnTo>
                    <a:lnTo>
                      <a:pt x="44" y="77"/>
                    </a:lnTo>
                    <a:lnTo>
                      <a:pt x="41" y="77"/>
                    </a:lnTo>
                    <a:lnTo>
                      <a:pt x="38" y="81"/>
                    </a:lnTo>
                    <a:lnTo>
                      <a:pt x="38" y="81"/>
                    </a:lnTo>
                    <a:lnTo>
                      <a:pt x="38" y="83"/>
                    </a:lnTo>
                    <a:lnTo>
                      <a:pt x="35" y="87"/>
                    </a:lnTo>
                    <a:lnTo>
                      <a:pt x="28" y="90"/>
                    </a:lnTo>
                    <a:lnTo>
                      <a:pt x="26" y="90"/>
                    </a:lnTo>
                    <a:lnTo>
                      <a:pt x="25" y="90"/>
                    </a:lnTo>
                    <a:lnTo>
                      <a:pt x="22" y="86"/>
                    </a:lnTo>
                    <a:lnTo>
                      <a:pt x="22" y="76"/>
                    </a:lnTo>
                    <a:lnTo>
                      <a:pt x="21" y="74"/>
                    </a:lnTo>
                    <a:lnTo>
                      <a:pt x="21" y="67"/>
                    </a:lnTo>
                    <a:lnTo>
                      <a:pt x="19" y="68"/>
                    </a:lnTo>
                    <a:lnTo>
                      <a:pt x="19" y="73"/>
                    </a:lnTo>
                    <a:lnTo>
                      <a:pt x="18" y="73"/>
                    </a:lnTo>
                    <a:lnTo>
                      <a:pt x="16" y="74"/>
                    </a:lnTo>
                    <a:lnTo>
                      <a:pt x="12" y="74"/>
                    </a:lnTo>
                    <a:lnTo>
                      <a:pt x="10" y="74"/>
                    </a:lnTo>
                    <a:lnTo>
                      <a:pt x="9" y="74"/>
                    </a:lnTo>
                    <a:lnTo>
                      <a:pt x="6" y="77"/>
                    </a:lnTo>
                    <a:lnTo>
                      <a:pt x="2" y="78"/>
                    </a:lnTo>
                    <a:lnTo>
                      <a:pt x="0" y="77"/>
                    </a:lnTo>
                    <a:lnTo>
                      <a:pt x="0" y="74"/>
                    </a:lnTo>
                    <a:lnTo>
                      <a:pt x="3" y="67"/>
                    </a:lnTo>
                    <a:lnTo>
                      <a:pt x="5" y="65"/>
                    </a:lnTo>
                    <a:lnTo>
                      <a:pt x="7" y="64"/>
                    </a:lnTo>
                    <a:lnTo>
                      <a:pt x="13" y="58"/>
                    </a:lnTo>
                    <a:lnTo>
                      <a:pt x="13" y="55"/>
                    </a:lnTo>
                    <a:lnTo>
                      <a:pt x="12" y="54"/>
                    </a:lnTo>
                    <a:lnTo>
                      <a:pt x="16" y="7"/>
                    </a:lnTo>
                    <a:lnTo>
                      <a:pt x="19" y="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11" name="Freeform 1181"/>
              <p:cNvSpPr>
                <a:spLocks/>
              </p:cNvSpPr>
              <p:nvPr/>
            </p:nvSpPr>
            <p:spPr bwMode="auto">
              <a:xfrm>
                <a:off x="4981339" y="1968423"/>
                <a:ext cx="90414" cy="93300"/>
              </a:xfrm>
              <a:custGeom>
                <a:avLst/>
                <a:gdLst/>
                <a:ahLst/>
                <a:cxnLst>
                  <a:cxn ang="0">
                    <a:pos x="22" y="0"/>
                  </a:cxn>
                  <a:cxn ang="0">
                    <a:pos x="23" y="3"/>
                  </a:cxn>
                  <a:cxn ang="0">
                    <a:pos x="28" y="7"/>
                  </a:cxn>
                  <a:cxn ang="0">
                    <a:pos x="29" y="13"/>
                  </a:cxn>
                  <a:cxn ang="0">
                    <a:pos x="32" y="22"/>
                  </a:cxn>
                  <a:cxn ang="0">
                    <a:pos x="37" y="15"/>
                  </a:cxn>
                  <a:cxn ang="0">
                    <a:pos x="41" y="19"/>
                  </a:cxn>
                  <a:cxn ang="0">
                    <a:pos x="42" y="23"/>
                  </a:cxn>
                  <a:cxn ang="0">
                    <a:pos x="52" y="26"/>
                  </a:cxn>
                  <a:cxn ang="0">
                    <a:pos x="57" y="33"/>
                  </a:cxn>
                  <a:cxn ang="0">
                    <a:pos x="63" y="38"/>
                  </a:cxn>
                  <a:cxn ang="0">
                    <a:pos x="68" y="39"/>
                  </a:cxn>
                  <a:cxn ang="0">
                    <a:pos x="76" y="48"/>
                  </a:cxn>
                  <a:cxn ang="0">
                    <a:pos x="79" y="58"/>
                  </a:cxn>
                  <a:cxn ang="0">
                    <a:pos x="80" y="63"/>
                  </a:cxn>
                  <a:cxn ang="0">
                    <a:pos x="84" y="61"/>
                  </a:cxn>
                  <a:cxn ang="0">
                    <a:pos x="89" y="60"/>
                  </a:cxn>
                  <a:cxn ang="0">
                    <a:pos x="92" y="63"/>
                  </a:cxn>
                  <a:cxn ang="0">
                    <a:pos x="93" y="67"/>
                  </a:cxn>
                  <a:cxn ang="0">
                    <a:pos x="99" y="70"/>
                  </a:cxn>
                  <a:cxn ang="0">
                    <a:pos x="98" y="71"/>
                  </a:cxn>
                  <a:cxn ang="0">
                    <a:pos x="86" y="81"/>
                  </a:cxn>
                  <a:cxn ang="0">
                    <a:pos x="82" y="77"/>
                  </a:cxn>
                  <a:cxn ang="0">
                    <a:pos x="79" y="77"/>
                  </a:cxn>
                  <a:cxn ang="0">
                    <a:pos x="76" y="74"/>
                  </a:cxn>
                  <a:cxn ang="0">
                    <a:pos x="73" y="73"/>
                  </a:cxn>
                  <a:cxn ang="0">
                    <a:pos x="67" y="74"/>
                  </a:cxn>
                  <a:cxn ang="0">
                    <a:pos x="68" y="68"/>
                  </a:cxn>
                  <a:cxn ang="0">
                    <a:pos x="66" y="65"/>
                  </a:cxn>
                  <a:cxn ang="0">
                    <a:pos x="60" y="64"/>
                  </a:cxn>
                  <a:cxn ang="0">
                    <a:pos x="58" y="64"/>
                  </a:cxn>
                  <a:cxn ang="0">
                    <a:pos x="61" y="58"/>
                  </a:cxn>
                  <a:cxn ang="0">
                    <a:pos x="51" y="61"/>
                  </a:cxn>
                  <a:cxn ang="0">
                    <a:pos x="51" y="68"/>
                  </a:cxn>
                  <a:cxn ang="0">
                    <a:pos x="48" y="71"/>
                  </a:cxn>
                  <a:cxn ang="0">
                    <a:pos x="45" y="74"/>
                  </a:cxn>
                  <a:cxn ang="0">
                    <a:pos x="44" y="77"/>
                  </a:cxn>
                  <a:cxn ang="0">
                    <a:pos x="38" y="81"/>
                  </a:cxn>
                  <a:cxn ang="0">
                    <a:pos x="38" y="83"/>
                  </a:cxn>
                  <a:cxn ang="0">
                    <a:pos x="28" y="90"/>
                  </a:cxn>
                  <a:cxn ang="0">
                    <a:pos x="25" y="90"/>
                  </a:cxn>
                  <a:cxn ang="0">
                    <a:pos x="22" y="76"/>
                  </a:cxn>
                  <a:cxn ang="0">
                    <a:pos x="21" y="67"/>
                  </a:cxn>
                  <a:cxn ang="0">
                    <a:pos x="19" y="73"/>
                  </a:cxn>
                  <a:cxn ang="0">
                    <a:pos x="16" y="74"/>
                  </a:cxn>
                  <a:cxn ang="0">
                    <a:pos x="10" y="74"/>
                  </a:cxn>
                  <a:cxn ang="0">
                    <a:pos x="6" y="77"/>
                  </a:cxn>
                  <a:cxn ang="0">
                    <a:pos x="0" y="77"/>
                  </a:cxn>
                  <a:cxn ang="0">
                    <a:pos x="3" y="67"/>
                  </a:cxn>
                  <a:cxn ang="0">
                    <a:pos x="7" y="64"/>
                  </a:cxn>
                  <a:cxn ang="0">
                    <a:pos x="13" y="55"/>
                  </a:cxn>
                  <a:cxn ang="0">
                    <a:pos x="16" y="7"/>
                  </a:cxn>
                </a:cxnLst>
                <a:rect l="0" t="0" r="r" b="b"/>
                <a:pathLst>
                  <a:path w="99" h="90">
                    <a:moveTo>
                      <a:pt x="19" y="4"/>
                    </a:moveTo>
                    <a:lnTo>
                      <a:pt x="22" y="0"/>
                    </a:lnTo>
                    <a:lnTo>
                      <a:pt x="23" y="0"/>
                    </a:lnTo>
                    <a:lnTo>
                      <a:pt x="23" y="3"/>
                    </a:lnTo>
                    <a:lnTo>
                      <a:pt x="26" y="3"/>
                    </a:lnTo>
                    <a:lnTo>
                      <a:pt x="28" y="7"/>
                    </a:lnTo>
                    <a:lnTo>
                      <a:pt x="31" y="10"/>
                    </a:lnTo>
                    <a:lnTo>
                      <a:pt x="29" y="13"/>
                    </a:lnTo>
                    <a:lnTo>
                      <a:pt x="31" y="20"/>
                    </a:lnTo>
                    <a:lnTo>
                      <a:pt x="32" y="22"/>
                    </a:lnTo>
                    <a:lnTo>
                      <a:pt x="34" y="19"/>
                    </a:lnTo>
                    <a:lnTo>
                      <a:pt x="37" y="15"/>
                    </a:lnTo>
                    <a:lnTo>
                      <a:pt x="38" y="16"/>
                    </a:lnTo>
                    <a:lnTo>
                      <a:pt x="41" y="19"/>
                    </a:lnTo>
                    <a:lnTo>
                      <a:pt x="44" y="19"/>
                    </a:lnTo>
                    <a:lnTo>
                      <a:pt x="42" y="23"/>
                    </a:lnTo>
                    <a:lnTo>
                      <a:pt x="45" y="25"/>
                    </a:lnTo>
                    <a:lnTo>
                      <a:pt x="52" y="26"/>
                    </a:lnTo>
                    <a:lnTo>
                      <a:pt x="54" y="31"/>
                    </a:lnTo>
                    <a:lnTo>
                      <a:pt x="57" y="33"/>
                    </a:lnTo>
                    <a:lnTo>
                      <a:pt x="60" y="35"/>
                    </a:lnTo>
                    <a:lnTo>
                      <a:pt x="63" y="38"/>
                    </a:lnTo>
                    <a:lnTo>
                      <a:pt x="66" y="39"/>
                    </a:lnTo>
                    <a:lnTo>
                      <a:pt x="68" y="39"/>
                    </a:lnTo>
                    <a:lnTo>
                      <a:pt x="74" y="42"/>
                    </a:lnTo>
                    <a:lnTo>
                      <a:pt x="76" y="48"/>
                    </a:lnTo>
                    <a:lnTo>
                      <a:pt x="77" y="55"/>
                    </a:lnTo>
                    <a:lnTo>
                      <a:pt x="79" y="58"/>
                    </a:lnTo>
                    <a:lnTo>
                      <a:pt x="79" y="61"/>
                    </a:lnTo>
                    <a:lnTo>
                      <a:pt x="80" y="63"/>
                    </a:lnTo>
                    <a:lnTo>
                      <a:pt x="82" y="61"/>
                    </a:lnTo>
                    <a:lnTo>
                      <a:pt x="84" y="61"/>
                    </a:lnTo>
                    <a:lnTo>
                      <a:pt x="84" y="63"/>
                    </a:lnTo>
                    <a:lnTo>
                      <a:pt x="89" y="60"/>
                    </a:lnTo>
                    <a:lnTo>
                      <a:pt x="90" y="60"/>
                    </a:lnTo>
                    <a:lnTo>
                      <a:pt x="92" y="63"/>
                    </a:lnTo>
                    <a:lnTo>
                      <a:pt x="93" y="64"/>
                    </a:lnTo>
                    <a:lnTo>
                      <a:pt x="93" y="67"/>
                    </a:lnTo>
                    <a:lnTo>
                      <a:pt x="93" y="68"/>
                    </a:lnTo>
                    <a:lnTo>
                      <a:pt x="99" y="70"/>
                    </a:lnTo>
                    <a:lnTo>
                      <a:pt x="99" y="71"/>
                    </a:lnTo>
                    <a:lnTo>
                      <a:pt x="98" y="71"/>
                    </a:lnTo>
                    <a:lnTo>
                      <a:pt x="89" y="80"/>
                    </a:lnTo>
                    <a:lnTo>
                      <a:pt x="86" y="81"/>
                    </a:lnTo>
                    <a:lnTo>
                      <a:pt x="83" y="78"/>
                    </a:lnTo>
                    <a:lnTo>
                      <a:pt x="82" y="77"/>
                    </a:lnTo>
                    <a:lnTo>
                      <a:pt x="80" y="77"/>
                    </a:lnTo>
                    <a:lnTo>
                      <a:pt x="79" y="77"/>
                    </a:lnTo>
                    <a:lnTo>
                      <a:pt x="77" y="76"/>
                    </a:lnTo>
                    <a:lnTo>
                      <a:pt x="76" y="74"/>
                    </a:lnTo>
                    <a:lnTo>
                      <a:pt x="73" y="74"/>
                    </a:lnTo>
                    <a:lnTo>
                      <a:pt x="73" y="73"/>
                    </a:lnTo>
                    <a:lnTo>
                      <a:pt x="71" y="74"/>
                    </a:lnTo>
                    <a:lnTo>
                      <a:pt x="67" y="74"/>
                    </a:lnTo>
                    <a:lnTo>
                      <a:pt x="67" y="71"/>
                    </a:lnTo>
                    <a:lnTo>
                      <a:pt x="68" y="68"/>
                    </a:lnTo>
                    <a:lnTo>
                      <a:pt x="67" y="65"/>
                    </a:lnTo>
                    <a:lnTo>
                      <a:pt x="66" y="65"/>
                    </a:lnTo>
                    <a:lnTo>
                      <a:pt x="61" y="64"/>
                    </a:lnTo>
                    <a:lnTo>
                      <a:pt x="60" y="64"/>
                    </a:lnTo>
                    <a:lnTo>
                      <a:pt x="60" y="65"/>
                    </a:lnTo>
                    <a:lnTo>
                      <a:pt x="58" y="64"/>
                    </a:lnTo>
                    <a:lnTo>
                      <a:pt x="58" y="61"/>
                    </a:lnTo>
                    <a:lnTo>
                      <a:pt x="61" y="58"/>
                    </a:lnTo>
                    <a:lnTo>
                      <a:pt x="60" y="58"/>
                    </a:lnTo>
                    <a:lnTo>
                      <a:pt x="51" y="61"/>
                    </a:lnTo>
                    <a:lnTo>
                      <a:pt x="50" y="67"/>
                    </a:lnTo>
                    <a:lnTo>
                      <a:pt x="51" y="68"/>
                    </a:lnTo>
                    <a:lnTo>
                      <a:pt x="51" y="71"/>
                    </a:lnTo>
                    <a:lnTo>
                      <a:pt x="48" y="71"/>
                    </a:lnTo>
                    <a:lnTo>
                      <a:pt x="48" y="73"/>
                    </a:lnTo>
                    <a:lnTo>
                      <a:pt x="45" y="74"/>
                    </a:lnTo>
                    <a:lnTo>
                      <a:pt x="45" y="76"/>
                    </a:lnTo>
                    <a:lnTo>
                      <a:pt x="44" y="77"/>
                    </a:lnTo>
                    <a:lnTo>
                      <a:pt x="41" y="77"/>
                    </a:lnTo>
                    <a:lnTo>
                      <a:pt x="38" y="81"/>
                    </a:lnTo>
                    <a:lnTo>
                      <a:pt x="38" y="81"/>
                    </a:lnTo>
                    <a:lnTo>
                      <a:pt x="38" y="83"/>
                    </a:lnTo>
                    <a:lnTo>
                      <a:pt x="35" y="87"/>
                    </a:lnTo>
                    <a:lnTo>
                      <a:pt x="28" y="90"/>
                    </a:lnTo>
                    <a:lnTo>
                      <a:pt x="26" y="90"/>
                    </a:lnTo>
                    <a:lnTo>
                      <a:pt x="25" y="90"/>
                    </a:lnTo>
                    <a:lnTo>
                      <a:pt x="22" y="86"/>
                    </a:lnTo>
                    <a:lnTo>
                      <a:pt x="22" y="76"/>
                    </a:lnTo>
                    <a:lnTo>
                      <a:pt x="21" y="74"/>
                    </a:lnTo>
                    <a:lnTo>
                      <a:pt x="21" y="67"/>
                    </a:lnTo>
                    <a:lnTo>
                      <a:pt x="19" y="68"/>
                    </a:lnTo>
                    <a:lnTo>
                      <a:pt x="19" y="73"/>
                    </a:lnTo>
                    <a:lnTo>
                      <a:pt x="18" y="73"/>
                    </a:lnTo>
                    <a:lnTo>
                      <a:pt x="16" y="74"/>
                    </a:lnTo>
                    <a:lnTo>
                      <a:pt x="12" y="74"/>
                    </a:lnTo>
                    <a:lnTo>
                      <a:pt x="10" y="74"/>
                    </a:lnTo>
                    <a:lnTo>
                      <a:pt x="9" y="74"/>
                    </a:lnTo>
                    <a:lnTo>
                      <a:pt x="6" y="77"/>
                    </a:lnTo>
                    <a:lnTo>
                      <a:pt x="2" y="78"/>
                    </a:lnTo>
                    <a:lnTo>
                      <a:pt x="0" y="77"/>
                    </a:lnTo>
                    <a:lnTo>
                      <a:pt x="0" y="74"/>
                    </a:lnTo>
                    <a:lnTo>
                      <a:pt x="3" y="67"/>
                    </a:lnTo>
                    <a:lnTo>
                      <a:pt x="5" y="65"/>
                    </a:lnTo>
                    <a:lnTo>
                      <a:pt x="7" y="64"/>
                    </a:lnTo>
                    <a:lnTo>
                      <a:pt x="13" y="58"/>
                    </a:lnTo>
                    <a:lnTo>
                      <a:pt x="13" y="55"/>
                    </a:lnTo>
                    <a:lnTo>
                      <a:pt x="12" y="54"/>
                    </a:lnTo>
                    <a:lnTo>
                      <a:pt x="16" y="7"/>
                    </a:lnTo>
                    <a:lnTo>
                      <a:pt x="19" y="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12" name="Freeform 1182"/>
              <p:cNvSpPr>
                <a:spLocks/>
              </p:cNvSpPr>
              <p:nvPr/>
            </p:nvSpPr>
            <p:spPr bwMode="auto">
              <a:xfrm>
                <a:off x="5016451" y="1960310"/>
                <a:ext cx="15800" cy="18254"/>
              </a:xfrm>
              <a:custGeom>
                <a:avLst/>
                <a:gdLst/>
                <a:ahLst/>
                <a:cxnLst>
                  <a:cxn ang="0">
                    <a:pos x="9" y="4"/>
                  </a:cxn>
                  <a:cxn ang="0">
                    <a:pos x="10" y="6"/>
                  </a:cxn>
                  <a:cxn ang="0">
                    <a:pos x="12" y="6"/>
                  </a:cxn>
                  <a:cxn ang="0">
                    <a:pos x="13" y="11"/>
                  </a:cxn>
                  <a:cxn ang="0">
                    <a:pos x="14" y="13"/>
                  </a:cxn>
                  <a:cxn ang="0">
                    <a:pos x="16" y="14"/>
                  </a:cxn>
                  <a:cxn ang="0">
                    <a:pos x="17" y="17"/>
                  </a:cxn>
                  <a:cxn ang="0">
                    <a:pos x="10" y="16"/>
                  </a:cxn>
                  <a:cxn ang="0">
                    <a:pos x="9" y="13"/>
                  </a:cxn>
                  <a:cxn ang="0">
                    <a:pos x="6" y="10"/>
                  </a:cxn>
                  <a:cxn ang="0">
                    <a:pos x="3" y="4"/>
                  </a:cxn>
                  <a:cxn ang="0">
                    <a:pos x="1" y="1"/>
                  </a:cxn>
                  <a:cxn ang="0">
                    <a:pos x="0" y="0"/>
                  </a:cxn>
                  <a:cxn ang="0">
                    <a:pos x="3" y="0"/>
                  </a:cxn>
                  <a:cxn ang="0">
                    <a:pos x="6" y="1"/>
                  </a:cxn>
                  <a:cxn ang="0">
                    <a:pos x="9" y="4"/>
                  </a:cxn>
                </a:cxnLst>
                <a:rect l="0" t="0" r="r" b="b"/>
                <a:pathLst>
                  <a:path w="17" h="17">
                    <a:moveTo>
                      <a:pt x="9" y="4"/>
                    </a:moveTo>
                    <a:lnTo>
                      <a:pt x="10" y="6"/>
                    </a:lnTo>
                    <a:lnTo>
                      <a:pt x="12" y="6"/>
                    </a:lnTo>
                    <a:lnTo>
                      <a:pt x="13" y="11"/>
                    </a:lnTo>
                    <a:lnTo>
                      <a:pt x="14" y="13"/>
                    </a:lnTo>
                    <a:lnTo>
                      <a:pt x="16" y="14"/>
                    </a:lnTo>
                    <a:lnTo>
                      <a:pt x="17" y="17"/>
                    </a:lnTo>
                    <a:lnTo>
                      <a:pt x="10" y="16"/>
                    </a:lnTo>
                    <a:lnTo>
                      <a:pt x="9" y="13"/>
                    </a:lnTo>
                    <a:lnTo>
                      <a:pt x="6" y="10"/>
                    </a:lnTo>
                    <a:lnTo>
                      <a:pt x="3" y="4"/>
                    </a:lnTo>
                    <a:lnTo>
                      <a:pt x="1" y="1"/>
                    </a:lnTo>
                    <a:lnTo>
                      <a:pt x="0" y="0"/>
                    </a:lnTo>
                    <a:lnTo>
                      <a:pt x="3" y="0"/>
                    </a:lnTo>
                    <a:lnTo>
                      <a:pt x="6" y="1"/>
                    </a:lnTo>
                    <a:lnTo>
                      <a:pt x="9" y="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13" name="Freeform 1183"/>
              <p:cNvSpPr>
                <a:spLocks/>
              </p:cNvSpPr>
              <p:nvPr/>
            </p:nvSpPr>
            <p:spPr bwMode="auto">
              <a:xfrm>
                <a:off x="5016451" y="1960310"/>
                <a:ext cx="15800" cy="18254"/>
              </a:xfrm>
              <a:custGeom>
                <a:avLst/>
                <a:gdLst/>
                <a:ahLst/>
                <a:cxnLst>
                  <a:cxn ang="0">
                    <a:pos x="9" y="4"/>
                  </a:cxn>
                  <a:cxn ang="0">
                    <a:pos x="10" y="6"/>
                  </a:cxn>
                  <a:cxn ang="0">
                    <a:pos x="12" y="6"/>
                  </a:cxn>
                  <a:cxn ang="0">
                    <a:pos x="13" y="11"/>
                  </a:cxn>
                  <a:cxn ang="0">
                    <a:pos x="14" y="13"/>
                  </a:cxn>
                  <a:cxn ang="0">
                    <a:pos x="16" y="14"/>
                  </a:cxn>
                  <a:cxn ang="0">
                    <a:pos x="17" y="17"/>
                  </a:cxn>
                  <a:cxn ang="0">
                    <a:pos x="10" y="16"/>
                  </a:cxn>
                  <a:cxn ang="0">
                    <a:pos x="9" y="13"/>
                  </a:cxn>
                  <a:cxn ang="0">
                    <a:pos x="6" y="10"/>
                  </a:cxn>
                  <a:cxn ang="0">
                    <a:pos x="3" y="4"/>
                  </a:cxn>
                  <a:cxn ang="0">
                    <a:pos x="1" y="1"/>
                  </a:cxn>
                  <a:cxn ang="0">
                    <a:pos x="0" y="0"/>
                  </a:cxn>
                  <a:cxn ang="0">
                    <a:pos x="3" y="0"/>
                  </a:cxn>
                  <a:cxn ang="0">
                    <a:pos x="6" y="1"/>
                  </a:cxn>
                  <a:cxn ang="0">
                    <a:pos x="9" y="4"/>
                  </a:cxn>
                </a:cxnLst>
                <a:rect l="0" t="0" r="r" b="b"/>
                <a:pathLst>
                  <a:path w="17" h="17">
                    <a:moveTo>
                      <a:pt x="9" y="4"/>
                    </a:moveTo>
                    <a:lnTo>
                      <a:pt x="10" y="6"/>
                    </a:lnTo>
                    <a:lnTo>
                      <a:pt x="12" y="6"/>
                    </a:lnTo>
                    <a:lnTo>
                      <a:pt x="13" y="11"/>
                    </a:lnTo>
                    <a:lnTo>
                      <a:pt x="14" y="13"/>
                    </a:lnTo>
                    <a:lnTo>
                      <a:pt x="16" y="14"/>
                    </a:lnTo>
                    <a:lnTo>
                      <a:pt x="17" y="17"/>
                    </a:lnTo>
                    <a:lnTo>
                      <a:pt x="10" y="16"/>
                    </a:lnTo>
                    <a:lnTo>
                      <a:pt x="9" y="13"/>
                    </a:lnTo>
                    <a:lnTo>
                      <a:pt x="6" y="10"/>
                    </a:lnTo>
                    <a:lnTo>
                      <a:pt x="3" y="4"/>
                    </a:lnTo>
                    <a:lnTo>
                      <a:pt x="1" y="1"/>
                    </a:lnTo>
                    <a:lnTo>
                      <a:pt x="0" y="0"/>
                    </a:lnTo>
                    <a:lnTo>
                      <a:pt x="3" y="0"/>
                    </a:lnTo>
                    <a:lnTo>
                      <a:pt x="6" y="1"/>
                    </a:lnTo>
                    <a:lnTo>
                      <a:pt x="9" y="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14" name="Freeform 1184"/>
              <p:cNvSpPr>
                <a:spLocks/>
              </p:cNvSpPr>
              <p:nvPr/>
            </p:nvSpPr>
            <p:spPr bwMode="auto">
              <a:xfrm>
                <a:off x="5110376" y="1875123"/>
                <a:ext cx="28967" cy="44621"/>
              </a:xfrm>
              <a:custGeom>
                <a:avLst/>
                <a:gdLst/>
                <a:ahLst/>
                <a:cxnLst>
                  <a:cxn ang="0">
                    <a:pos x="13" y="2"/>
                  </a:cxn>
                  <a:cxn ang="0">
                    <a:pos x="13" y="0"/>
                  </a:cxn>
                  <a:cxn ang="0">
                    <a:pos x="15" y="2"/>
                  </a:cxn>
                  <a:cxn ang="0">
                    <a:pos x="16" y="3"/>
                  </a:cxn>
                  <a:cxn ang="0">
                    <a:pos x="19" y="2"/>
                  </a:cxn>
                  <a:cxn ang="0">
                    <a:pos x="22" y="2"/>
                  </a:cxn>
                  <a:cxn ang="0">
                    <a:pos x="23" y="5"/>
                  </a:cxn>
                  <a:cxn ang="0">
                    <a:pos x="25" y="5"/>
                  </a:cxn>
                  <a:cxn ang="0">
                    <a:pos x="28" y="5"/>
                  </a:cxn>
                  <a:cxn ang="0">
                    <a:pos x="31" y="9"/>
                  </a:cxn>
                  <a:cxn ang="0">
                    <a:pos x="29" y="31"/>
                  </a:cxn>
                  <a:cxn ang="0">
                    <a:pos x="22" y="40"/>
                  </a:cxn>
                  <a:cxn ang="0">
                    <a:pos x="9" y="43"/>
                  </a:cxn>
                  <a:cxn ang="0">
                    <a:pos x="7" y="41"/>
                  </a:cxn>
                  <a:cxn ang="0">
                    <a:pos x="3" y="40"/>
                  </a:cxn>
                  <a:cxn ang="0">
                    <a:pos x="0" y="34"/>
                  </a:cxn>
                  <a:cxn ang="0">
                    <a:pos x="0" y="19"/>
                  </a:cxn>
                  <a:cxn ang="0">
                    <a:pos x="7" y="3"/>
                  </a:cxn>
                  <a:cxn ang="0">
                    <a:pos x="10" y="3"/>
                  </a:cxn>
                  <a:cxn ang="0">
                    <a:pos x="13" y="2"/>
                  </a:cxn>
                </a:cxnLst>
                <a:rect l="0" t="0" r="r" b="b"/>
                <a:pathLst>
                  <a:path w="31" h="43">
                    <a:moveTo>
                      <a:pt x="13" y="2"/>
                    </a:moveTo>
                    <a:lnTo>
                      <a:pt x="13" y="0"/>
                    </a:lnTo>
                    <a:lnTo>
                      <a:pt x="15" y="2"/>
                    </a:lnTo>
                    <a:lnTo>
                      <a:pt x="16" y="3"/>
                    </a:lnTo>
                    <a:lnTo>
                      <a:pt x="19" y="2"/>
                    </a:lnTo>
                    <a:lnTo>
                      <a:pt x="22" y="2"/>
                    </a:lnTo>
                    <a:lnTo>
                      <a:pt x="23" y="5"/>
                    </a:lnTo>
                    <a:lnTo>
                      <a:pt x="25" y="5"/>
                    </a:lnTo>
                    <a:lnTo>
                      <a:pt x="28" y="5"/>
                    </a:lnTo>
                    <a:lnTo>
                      <a:pt x="31" y="9"/>
                    </a:lnTo>
                    <a:lnTo>
                      <a:pt x="29" y="31"/>
                    </a:lnTo>
                    <a:lnTo>
                      <a:pt x="22" y="40"/>
                    </a:lnTo>
                    <a:lnTo>
                      <a:pt x="9" y="43"/>
                    </a:lnTo>
                    <a:lnTo>
                      <a:pt x="7" y="41"/>
                    </a:lnTo>
                    <a:lnTo>
                      <a:pt x="3" y="40"/>
                    </a:lnTo>
                    <a:lnTo>
                      <a:pt x="0" y="34"/>
                    </a:lnTo>
                    <a:lnTo>
                      <a:pt x="0" y="19"/>
                    </a:lnTo>
                    <a:lnTo>
                      <a:pt x="7" y="3"/>
                    </a:lnTo>
                    <a:lnTo>
                      <a:pt x="10" y="3"/>
                    </a:lnTo>
                    <a:lnTo>
                      <a:pt x="13"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15" name="Freeform 1185"/>
              <p:cNvSpPr>
                <a:spLocks/>
              </p:cNvSpPr>
              <p:nvPr/>
            </p:nvSpPr>
            <p:spPr bwMode="auto">
              <a:xfrm>
                <a:off x="5110376" y="1875123"/>
                <a:ext cx="28967" cy="44621"/>
              </a:xfrm>
              <a:custGeom>
                <a:avLst/>
                <a:gdLst/>
                <a:ahLst/>
                <a:cxnLst>
                  <a:cxn ang="0">
                    <a:pos x="13" y="2"/>
                  </a:cxn>
                  <a:cxn ang="0">
                    <a:pos x="13" y="0"/>
                  </a:cxn>
                  <a:cxn ang="0">
                    <a:pos x="15" y="2"/>
                  </a:cxn>
                  <a:cxn ang="0">
                    <a:pos x="16" y="3"/>
                  </a:cxn>
                  <a:cxn ang="0">
                    <a:pos x="19" y="2"/>
                  </a:cxn>
                  <a:cxn ang="0">
                    <a:pos x="22" y="2"/>
                  </a:cxn>
                  <a:cxn ang="0">
                    <a:pos x="23" y="5"/>
                  </a:cxn>
                  <a:cxn ang="0">
                    <a:pos x="25" y="5"/>
                  </a:cxn>
                  <a:cxn ang="0">
                    <a:pos x="28" y="5"/>
                  </a:cxn>
                  <a:cxn ang="0">
                    <a:pos x="31" y="9"/>
                  </a:cxn>
                  <a:cxn ang="0">
                    <a:pos x="29" y="31"/>
                  </a:cxn>
                  <a:cxn ang="0">
                    <a:pos x="22" y="40"/>
                  </a:cxn>
                  <a:cxn ang="0">
                    <a:pos x="9" y="43"/>
                  </a:cxn>
                  <a:cxn ang="0">
                    <a:pos x="7" y="41"/>
                  </a:cxn>
                  <a:cxn ang="0">
                    <a:pos x="3" y="40"/>
                  </a:cxn>
                  <a:cxn ang="0">
                    <a:pos x="0" y="34"/>
                  </a:cxn>
                  <a:cxn ang="0">
                    <a:pos x="0" y="19"/>
                  </a:cxn>
                  <a:cxn ang="0">
                    <a:pos x="7" y="3"/>
                  </a:cxn>
                  <a:cxn ang="0">
                    <a:pos x="10" y="3"/>
                  </a:cxn>
                  <a:cxn ang="0">
                    <a:pos x="13" y="2"/>
                  </a:cxn>
                </a:cxnLst>
                <a:rect l="0" t="0" r="r" b="b"/>
                <a:pathLst>
                  <a:path w="31" h="43">
                    <a:moveTo>
                      <a:pt x="13" y="2"/>
                    </a:moveTo>
                    <a:lnTo>
                      <a:pt x="13" y="0"/>
                    </a:lnTo>
                    <a:lnTo>
                      <a:pt x="15" y="2"/>
                    </a:lnTo>
                    <a:lnTo>
                      <a:pt x="16" y="3"/>
                    </a:lnTo>
                    <a:lnTo>
                      <a:pt x="19" y="2"/>
                    </a:lnTo>
                    <a:lnTo>
                      <a:pt x="22" y="2"/>
                    </a:lnTo>
                    <a:lnTo>
                      <a:pt x="23" y="5"/>
                    </a:lnTo>
                    <a:lnTo>
                      <a:pt x="25" y="5"/>
                    </a:lnTo>
                    <a:lnTo>
                      <a:pt x="28" y="5"/>
                    </a:lnTo>
                    <a:lnTo>
                      <a:pt x="31" y="9"/>
                    </a:lnTo>
                    <a:lnTo>
                      <a:pt x="29" y="31"/>
                    </a:lnTo>
                    <a:lnTo>
                      <a:pt x="22" y="40"/>
                    </a:lnTo>
                    <a:lnTo>
                      <a:pt x="9" y="43"/>
                    </a:lnTo>
                    <a:lnTo>
                      <a:pt x="7" y="41"/>
                    </a:lnTo>
                    <a:lnTo>
                      <a:pt x="3" y="40"/>
                    </a:lnTo>
                    <a:lnTo>
                      <a:pt x="0" y="34"/>
                    </a:lnTo>
                    <a:lnTo>
                      <a:pt x="0" y="19"/>
                    </a:lnTo>
                    <a:lnTo>
                      <a:pt x="7" y="3"/>
                    </a:lnTo>
                    <a:lnTo>
                      <a:pt x="10" y="3"/>
                    </a:lnTo>
                    <a:lnTo>
                      <a:pt x="13"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16" name="Freeform 1186"/>
              <p:cNvSpPr>
                <a:spLocks/>
              </p:cNvSpPr>
              <p:nvPr/>
            </p:nvSpPr>
            <p:spPr bwMode="auto">
              <a:xfrm>
                <a:off x="5142855" y="1883236"/>
                <a:ext cx="15800" cy="15211"/>
              </a:xfrm>
              <a:custGeom>
                <a:avLst/>
                <a:gdLst/>
                <a:ahLst/>
                <a:cxnLst>
                  <a:cxn ang="0">
                    <a:pos x="0" y="5"/>
                  </a:cxn>
                  <a:cxn ang="0">
                    <a:pos x="1" y="3"/>
                  </a:cxn>
                  <a:cxn ang="0">
                    <a:pos x="4" y="3"/>
                  </a:cxn>
                  <a:cxn ang="0">
                    <a:pos x="6" y="0"/>
                  </a:cxn>
                  <a:cxn ang="0">
                    <a:pos x="7" y="3"/>
                  </a:cxn>
                  <a:cxn ang="0">
                    <a:pos x="16" y="5"/>
                  </a:cxn>
                  <a:cxn ang="0">
                    <a:pos x="17" y="13"/>
                  </a:cxn>
                  <a:cxn ang="0">
                    <a:pos x="14" y="14"/>
                  </a:cxn>
                  <a:cxn ang="0">
                    <a:pos x="10" y="13"/>
                  </a:cxn>
                  <a:cxn ang="0">
                    <a:pos x="4" y="13"/>
                  </a:cxn>
                  <a:cxn ang="0">
                    <a:pos x="1" y="10"/>
                  </a:cxn>
                  <a:cxn ang="0">
                    <a:pos x="0" y="5"/>
                  </a:cxn>
                </a:cxnLst>
                <a:rect l="0" t="0" r="r" b="b"/>
                <a:pathLst>
                  <a:path w="17" h="14">
                    <a:moveTo>
                      <a:pt x="0" y="5"/>
                    </a:moveTo>
                    <a:lnTo>
                      <a:pt x="1" y="3"/>
                    </a:lnTo>
                    <a:lnTo>
                      <a:pt x="4" y="3"/>
                    </a:lnTo>
                    <a:lnTo>
                      <a:pt x="6" y="0"/>
                    </a:lnTo>
                    <a:lnTo>
                      <a:pt x="7" y="3"/>
                    </a:lnTo>
                    <a:lnTo>
                      <a:pt x="16" y="5"/>
                    </a:lnTo>
                    <a:lnTo>
                      <a:pt x="17" y="13"/>
                    </a:lnTo>
                    <a:lnTo>
                      <a:pt x="14" y="14"/>
                    </a:lnTo>
                    <a:lnTo>
                      <a:pt x="10" y="13"/>
                    </a:lnTo>
                    <a:lnTo>
                      <a:pt x="4" y="13"/>
                    </a:lnTo>
                    <a:lnTo>
                      <a:pt x="1" y="10"/>
                    </a:lnTo>
                    <a:lnTo>
                      <a:pt x="0" y="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17" name="Freeform 1187"/>
              <p:cNvSpPr>
                <a:spLocks/>
              </p:cNvSpPr>
              <p:nvPr/>
            </p:nvSpPr>
            <p:spPr bwMode="auto">
              <a:xfrm>
                <a:off x="5142855" y="1883236"/>
                <a:ext cx="15800" cy="15211"/>
              </a:xfrm>
              <a:custGeom>
                <a:avLst/>
                <a:gdLst/>
                <a:ahLst/>
                <a:cxnLst>
                  <a:cxn ang="0">
                    <a:pos x="0" y="5"/>
                  </a:cxn>
                  <a:cxn ang="0">
                    <a:pos x="1" y="3"/>
                  </a:cxn>
                  <a:cxn ang="0">
                    <a:pos x="4" y="3"/>
                  </a:cxn>
                  <a:cxn ang="0">
                    <a:pos x="6" y="0"/>
                  </a:cxn>
                  <a:cxn ang="0">
                    <a:pos x="7" y="3"/>
                  </a:cxn>
                  <a:cxn ang="0">
                    <a:pos x="16" y="5"/>
                  </a:cxn>
                  <a:cxn ang="0">
                    <a:pos x="17" y="13"/>
                  </a:cxn>
                  <a:cxn ang="0">
                    <a:pos x="14" y="14"/>
                  </a:cxn>
                  <a:cxn ang="0">
                    <a:pos x="10" y="13"/>
                  </a:cxn>
                  <a:cxn ang="0">
                    <a:pos x="4" y="13"/>
                  </a:cxn>
                  <a:cxn ang="0">
                    <a:pos x="1" y="10"/>
                  </a:cxn>
                  <a:cxn ang="0">
                    <a:pos x="0" y="5"/>
                  </a:cxn>
                </a:cxnLst>
                <a:rect l="0" t="0" r="r" b="b"/>
                <a:pathLst>
                  <a:path w="17" h="14">
                    <a:moveTo>
                      <a:pt x="0" y="5"/>
                    </a:moveTo>
                    <a:lnTo>
                      <a:pt x="1" y="3"/>
                    </a:lnTo>
                    <a:lnTo>
                      <a:pt x="4" y="3"/>
                    </a:lnTo>
                    <a:lnTo>
                      <a:pt x="6" y="0"/>
                    </a:lnTo>
                    <a:lnTo>
                      <a:pt x="7" y="3"/>
                    </a:lnTo>
                    <a:lnTo>
                      <a:pt x="16" y="5"/>
                    </a:lnTo>
                    <a:lnTo>
                      <a:pt x="17" y="13"/>
                    </a:lnTo>
                    <a:lnTo>
                      <a:pt x="14" y="14"/>
                    </a:lnTo>
                    <a:lnTo>
                      <a:pt x="10" y="13"/>
                    </a:lnTo>
                    <a:lnTo>
                      <a:pt x="4" y="13"/>
                    </a:lnTo>
                    <a:lnTo>
                      <a:pt x="1" y="10"/>
                    </a:lnTo>
                    <a:lnTo>
                      <a:pt x="0" y="5"/>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18" name="Freeform 1188"/>
              <p:cNvSpPr>
                <a:spLocks/>
              </p:cNvSpPr>
              <p:nvPr/>
            </p:nvSpPr>
            <p:spPr bwMode="auto">
              <a:xfrm>
                <a:off x="5083165" y="1833543"/>
                <a:ext cx="13167" cy="20283"/>
              </a:xfrm>
              <a:custGeom>
                <a:avLst/>
                <a:gdLst/>
                <a:ahLst/>
                <a:cxnLst>
                  <a:cxn ang="0">
                    <a:pos x="11" y="7"/>
                  </a:cxn>
                  <a:cxn ang="0">
                    <a:pos x="8" y="16"/>
                  </a:cxn>
                  <a:cxn ang="0">
                    <a:pos x="5" y="17"/>
                  </a:cxn>
                  <a:cxn ang="0">
                    <a:pos x="0" y="19"/>
                  </a:cxn>
                  <a:cxn ang="0">
                    <a:pos x="0" y="16"/>
                  </a:cxn>
                  <a:cxn ang="0">
                    <a:pos x="2" y="11"/>
                  </a:cxn>
                  <a:cxn ang="0">
                    <a:pos x="5" y="8"/>
                  </a:cxn>
                  <a:cxn ang="0">
                    <a:pos x="11" y="0"/>
                  </a:cxn>
                  <a:cxn ang="0">
                    <a:pos x="14" y="0"/>
                  </a:cxn>
                  <a:cxn ang="0">
                    <a:pos x="14" y="0"/>
                  </a:cxn>
                  <a:cxn ang="0">
                    <a:pos x="14" y="4"/>
                  </a:cxn>
                  <a:cxn ang="0">
                    <a:pos x="14" y="6"/>
                  </a:cxn>
                  <a:cxn ang="0">
                    <a:pos x="13" y="6"/>
                  </a:cxn>
                  <a:cxn ang="0">
                    <a:pos x="11" y="7"/>
                  </a:cxn>
                </a:cxnLst>
                <a:rect l="0" t="0" r="r" b="b"/>
                <a:pathLst>
                  <a:path w="14" h="19">
                    <a:moveTo>
                      <a:pt x="11" y="7"/>
                    </a:moveTo>
                    <a:lnTo>
                      <a:pt x="8" y="16"/>
                    </a:lnTo>
                    <a:lnTo>
                      <a:pt x="5" y="17"/>
                    </a:lnTo>
                    <a:lnTo>
                      <a:pt x="0" y="19"/>
                    </a:lnTo>
                    <a:lnTo>
                      <a:pt x="0" y="16"/>
                    </a:lnTo>
                    <a:lnTo>
                      <a:pt x="2" y="11"/>
                    </a:lnTo>
                    <a:lnTo>
                      <a:pt x="5" y="8"/>
                    </a:lnTo>
                    <a:lnTo>
                      <a:pt x="11" y="0"/>
                    </a:lnTo>
                    <a:lnTo>
                      <a:pt x="14" y="0"/>
                    </a:lnTo>
                    <a:lnTo>
                      <a:pt x="14" y="0"/>
                    </a:lnTo>
                    <a:lnTo>
                      <a:pt x="14" y="4"/>
                    </a:lnTo>
                    <a:lnTo>
                      <a:pt x="14" y="6"/>
                    </a:lnTo>
                    <a:lnTo>
                      <a:pt x="13" y="6"/>
                    </a:lnTo>
                    <a:lnTo>
                      <a:pt x="11" y="7"/>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19" name="Freeform 1189"/>
              <p:cNvSpPr>
                <a:spLocks/>
              </p:cNvSpPr>
              <p:nvPr/>
            </p:nvSpPr>
            <p:spPr bwMode="auto">
              <a:xfrm>
                <a:off x="5083165" y="1833543"/>
                <a:ext cx="13167" cy="20283"/>
              </a:xfrm>
              <a:custGeom>
                <a:avLst/>
                <a:gdLst/>
                <a:ahLst/>
                <a:cxnLst>
                  <a:cxn ang="0">
                    <a:pos x="11" y="7"/>
                  </a:cxn>
                  <a:cxn ang="0">
                    <a:pos x="8" y="16"/>
                  </a:cxn>
                  <a:cxn ang="0">
                    <a:pos x="5" y="17"/>
                  </a:cxn>
                  <a:cxn ang="0">
                    <a:pos x="0" y="19"/>
                  </a:cxn>
                  <a:cxn ang="0">
                    <a:pos x="0" y="16"/>
                  </a:cxn>
                  <a:cxn ang="0">
                    <a:pos x="2" y="11"/>
                  </a:cxn>
                  <a:cxn ang="0">
                    <a:pos x="5" y="8"/>
                  </a:cxn>
                  <a:cxn ang="0">
                    <a:pos x="11" y="0"/>
                  </a:cxn>
                  <a:cxn ang="0">
                    <a:pos x="14" y="0"/>
                  </a:cxn>
                  <a:cxn ang="0">
                    <a:pos x="14" y="0"/>
                  </a:cxn>
                  <a:cxn ang="0">
                    <a:pos x="14" y="4"/>
                  </a:cxn>
                  <a:cxn ang="0">
                    <a:pos x="14" y="6"/>
                  </a:cxn>
                  <a:cxn ang="0">
                    <a:pos x="13" y="6"/>
                  </a:cxn>
                  <a:cxn ang="0">
                    <a:pos x="11" y="7"/>
                  </a:cxn>
                </a:cxnLst>
                <a:rect l="0" t="0" r="r" b="b"/>
                <a:pathLst>
                  <a:path w="14" h="19">
                    <a:moveTo>
                      <a:pt x="11" y="7"/>
                    </a:moveTo>
                    <a:lnTo>
                      <a:pt x="8" y="16"/>
                    </a:lnTo>
                    <a:lnTo>
                      <a:pt x="5" y="17"/>
                    </a:lnTo>
                    <a:lnTo>
                      <a:pt x="0" y="19"/>
                    </a:lnTo>
                    <a:lnTo>
                      <a:pt x="0" y="16"/>
                    </a:lnTo>
                    <a:lnTo>
                      <a:pt x="2" y="11"/>
                    </a:lnTo>
                    <a:lnTo>
                      <a:pt x="5" y="8"/>
                    </a:lnTo>
                    <a:lnTo>
                      <a:pt x="11" y="0"/>
                    </a:lnTo>
                    <a:lnTo>
                      <a:pt x="14" y="0"/>
                    </a:lnTo>
                    <a:lnTo>
                      <a:pt x="14" y="0"/>
                    </a:lnTo>
                    <a:lnTo>
                      <a:pt x="14" y="4"/>
                    </a:lnTo>
                    <a:lnTo>
                      <a:pt x="14" y="6"/>
                    </a:lnTo>
                    <a:lnTo>
                      <a:pt x="13" y="6"/>
                    </a:lnTo>
                    <a:lnTo>
                      <a:pt x="11" y="7"/>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20" name="Freeform 1190"/>
              <p:cNvSpPr>
                <a:spLocks/>
              </p:cNvSpPr>
              <p:nvPr/>
            </p:nvSpPr>
            <p:spPr bwMode="auto">
              <a:xfrm>
                <a:off x="5068242" y="1815289"/>
                <a:ext cx="14922" cy="13184"/>
              </a:xfrm>
              <a:custGeom>
                <a:avLst/>
                <a:gdLst/>
                <a:ahLst/>
                <a:cxnLst>
                  <a:cxn ang="0">
                    <a:pos x="4" y="0"/>
                  </a:cxn>
                  <a:cxn ang="0">
                    <a:pos x="4" y="2"/>
                  </a:cxn>
                  <a:cxn ang="0">
                    <a:pos x="7" y="3"/>
                  </a:cxn>
                  <a:cxn ang="0">
                    <a:pos x="8" y="3"/>
                  </a:cxn>
                  <a:cxn ang="0">
                    <a:pos x="10" y="0"/>
                  </a:cxn>
                  <a:cxn ang="0">
                    <a:pos x="11" y="0"/>
                  </a:cxn>
                  <a:cxn ang="0">
                    <a:pos x="14" y="0"/>
                  </a:cxn>
                  <a:cxn ang="0">
                    <a:pos x="16" y="3"/>
                  </a:cxn>
                  <a:cxn ang="0">
                    <a:pos x="14" y="6"/>
                  </a:cxn>
                  <a:cxn ang="0">
                    <a:pos x="8" y="9"/>
                  </a:cxn>
                  <a:cxn ang="0">
                    <a:pos x="7" y="6"/>
                  </a:cxn>
                  <a:cxn ang="0">
                    <a:pos x="7" y="13"/>
                  </a:cxn>
                  <a:cxn ang="0">
                    <a:pos x="1" y="8"/>
                  </a:cxn>
                  <a:cxn ang="0">
                    <a:pos x="0" y="0"/>
                  </a:cxn>
                  <a:cxn ang="0">
                    <a:pos x="4" y="0"/>
                  </a:cxn>
                </a:cxnLst>
                <a:rect l="0" t="0" r="r" b="b"/>
                <a:pathLst>
                  <a:path w="16" h="13">
                    <a:moveTo>
                      <a:pt x="4" y="0"/>
                    </a:moveTo>
                    <a:lnTo>
                      <a:pt x="4" y="2"/>
                    </a:lnTo>
                    <a:lnTo>
                      <a:pt x="7" y="3"/>
                    </a:lnTo>
                    <a:lnTo>
                      <a:pt x="8" y="3"/>
                    </a:lnTo>
                    <a:lnTo>
                      <a:pt x="10" y="0"/>
                    </a:lnTo>
                    <a:lnTo>
                      <a:pt x="11" y="0"/>
                    </a:lnTo>
                    <a:lnTo>
                      <a:pt x="14" y="0"/>
                    </a:lnTo>
                    <a:lnTo>
                      <a:pt x="16" y="3"/>
                    </a:lnTo>
                    <a:lnTo>
                      <a:pt x="14" y="6"/>
                    </a:lnTo>
                    <a:lnTo>
                      <a:pt x="8" y="9"/>
                    </a:lnTo>
                    <a:lnTo>
                      <a:pt x="7" y="6"/>
                    </a:lnTo>
                    <a:lnTo>
                      <a:pt x="7" y="13"/>
                    </a:lnTo>
                    <a:lnTo>
                      <a:pt x="1" y="8"/>
                    </a:lnTo>
                    <a:lnTo>
                      <a:pt x="0" y="0"/>
                    </a:lnTo>
                    <a:lnTo>
                      <a:pt x="4"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21" name="Freeform 1191"/>
              <p:cNvSpPr>
                <a:spLocks/>
              </p:cNvSpPr>
              <p:nvPr/>
            </p:nvSpPr>
            <p:spPr bwMode="auto">
              <a:xfrm>
                <a:off x="5068242" y="1815289"/>
                <a:ext cx="14922" cy="13184"/>
              </a:xfrm>
              <a:custGeom>
                <a:avLst/>
                <a:gdLst/>
                <a:ahLst/>
                <a:cxnLst>
                  <a:cxn ang="0">
                    <a:pos x="4" y="0"/>
                  </a:cxn>
                  <a:cxn ang="0">
                    <a:pos x="4" y="2"/>
                  </a:cxn>
                  <a:cxn ang="0">
                    <a:pos x="7" y="3"/>
                  </a:cxn>
                  <a:cxn ang="0">
                    <a:pos x="8" y="3"/>
                  </a:cxn>
                  <a:cxn ang="0">
                    <a:pos x="10" y="0"/>
                  </a:cxn>
                  <a:cxn ang="0">
                    <a:pos x="11" y="0"/>
                  </a:cxn>
                  <a:cxn ang="0">
                    <a:pos x="14" y="0"/>
                  </a:cxn>
                  <a:cxn ang="0">
                    <a:pos x="16" y="3"/>
                  </a:cxn>
                  <a:cxn ang="0">
                    <a:pos x="14" y="6"/>
                  </a:cxn>
                  <a:cxn ang="0">
                    <a:pos x="8" y="9"/>
                  </a:cxn>
                  <a:cxn ang="0">
                    <a:pos x="7" y="6"/>
                  </a:cxn>
                  <a:cxn ang="0">
                    <a:pos x="7" y="13"/>
                  </a:cxn>
                  <a:cxn ang="0">
                    <a:pos x="1" y="8"/>
                  </a:cxn>
                  <a:cxn ang="0">
                    <a:pos x="0" y="0"/>
                  </a:cxn>
                  <a:cxn ang="0">
                    <a:pos x="4" y="0"/>
                  </a:cxn>
                </a:cxnLst>
                <a:rect l="0" t="0" r="r" b="b"/>
                <a:pathLst>
                  <a:path w="16" h="13">
                    <a:moveTo>
                      <a:pt x="4" y="0"/>
                    </a:moveTo>
                    <a:lnTo>
                      <a:pt x="4" y="2"/>
                    </a:lnTo>
                    <a:lnTo>
                      <a:pt x="7" y="3"/>
                    </a:lnTo>
                    <a:lnTo>
                      <a:pt x="8" y="3"/>
                    </a:lnTo>
                    <a:lnTo>
                      <a:pt x="10" y="0"/>
                    </a:lnTo>
                    <a:lnTo>
                      <a:pt x="11" y="0"/>
                    </a:lnTo>
                    <a:lnTo>
                      <a:pt x="14" y="0"/>
                    </a:lnTo>
                    <a:lnTo>
                      <a:pt x="16" y="3"/>
                    </a:lnTo>
                    <a:lnTo>
                      <a:pt x="14" y="6"/>
                    </a:lnTo>
                    <a:lnTo>
                      <a:pt x="8" y="9"/>
                    </a:lnTo>
                    <a:lnTo>
                      <a:pt x="7" y="6"/>
                    </a:lnTo>
                    <a:lnTo>
                      <a:pt x="7" y="13"/>
                    </a:lnTo>
                    <a:lnTo>
                      <a:pt x="1" y="8"/>
                    </a:lnTo>
                    <a:lnTo>
                      <a:pt x="0" y="0"/>
                    </a:lnTo>
                    <a:lnTo>
                      <a:pt x="4"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22" name="Freeform 1192"/>
              <p:cNvSpPr>
                <a:spLocks/>
              </p:cNvSpPr>
              <p:nvPr/>
            </p:nvSpPr>
            <p:spPr bwMode="auto">
              <a:xfrm>
                <a:off x="5093698" y="2052596"/>
                <a:ext cx="13167" cy="12170"/>
              </a:xfrm>
              <a:custGeom>
                <a:avLst/>
                <a:gdLst/>
                <a:ahLst/>
                <a:cxnLst>
                  <a:cxn ang="0">
                    <a:pos x="2" y="2"/>
                  </a:cxn>
                  <a:cxn ang="0">
                    <a:pos x="0" y="2"/>
                  </a:cxn>
                  <a:cxn ang="0">
                    <a:pos x="2" y="2"/>
                  </a:cxn>
                  <a:cxn ang="0">
                    <a:pos x="5" y="0"/>
                  </a:cxn>
                  <a:cxn ang="0">
                    <a:pos x="9" y="0"/>
                  </a:cxn>
                  <a:cxn ang="0">
                    <a:pos x="10" y="2"/>
                  </a:cxn>
                  <a:cxn ang="0">
                    <a:pos x="12" y="2"/>
                  </a:cxn>
                  <a:cxn ang="0">
                    <a:pos x="15" y="3"/>
                  </a:cxn>
                  <a:cxn ang="0">
                    <a:pos x="15" y="8"/>
                  </a:cxn>
                  <a:cxn ang="0">
                    <a:pos x="10" y="12"/>
                  </a:cxn>
                  <a:cxn ang="0">
                    <a:pos x="2" y="2"/>
                  </a:cxn>
                </a:cxnLst>
                <a:rect l="0" t="0" r="r" b="b"/>
                <a:pathLst>
                  <a:path w="15" h="12">
                    <a:moveTo>
                      <a:pt x="2" y="2"/>
                    </a:moveTo>
                    <a:lnTo>
                      <a:pt x="0" y="2"/>
                    </a:lnTo>
                    <a:lnTo>
                      <a:pt x="2" y="2"/>
                    </a:lnTo>
                    <a:lnTo>
                      <a:pt x="5" y="0"/>
                    </a:lnTo>
                    <a:lnTo>
                      <a:pt x="9" y="0"/>
                    </a:lnTo>
                    <a:lnTo>
                      <a:pt x="10" y="2"/>
                    </a:lnTo>
                    <a:lnTo>
                      <a:pt x="12" y="2"/>
                    </a:lnTo>
                    <a:lnTo>
                      <a:pt x="15" y="3"/>
                    </a:lnTo>
                    <a:lnTo>
                      <a:pt x="15" y="8"/>
                    </a:lnTo>
                    <a:lnTo>
                      <a:pt x="10" y="12"/>
                    </a:lnTo>
                    <a:lnTo>
                      <a:pt x="2"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23" name="Freeform 1193"/>
              <p:cNvSpPr>
                <a:spLocks/>
              </p:cNvSpPr>
              <p:nvPr/>
            </p:nvSpPr>
            <p:spPr bwMode="auto">
              <a:xfrm>
                <a:off x="5093698" y="2052596"/>
                <a:ext cx="13167" cy="12170"/>
              </a:xfrm>
              <a:custGeom>
                <a:avLst/>
                <a:gdLst/>
                <a:ahLst/>
                <a:cxnLst>
                  <a:cxn ang="0">
                    <a:pos x="2" y="2"/>
                  </a:cxn>
                  <a:cxn ang="0">
                    <a:pos x="0" y="2"/>
                  </a:cxn>
                  <a:cxn ang="0">
                    <a:pos x="2" y="2"/>
                  </a:cxn>
                  <a:cxn ang="0">
                    <a:pos x="5" y="0"/>
                  </a:cxn>
                  <a:cxn ang="0">
                    <a:pos x="9" y="0"/>
                  </a:cxn>
                  <a:cxn ang="0">
                    <a:pos x="10" y="2"/>
                  </a:cxn>
                  <a:cxn ang="0">
                    <a:pos x="12" y="2"/>
                  </a:cxn>
                  <a:cxn ang="0">
                    <a:pos x="15" y="3"/>
                  </a:cxn>
                  <a:cxn ang="0">
                    <a:pos x="15" y="8"/>
                  </a:cxn>
                  <a:cxn ang="0">
                    <a:pos x="10" y="12"/>
                  </a:cxn>
                  <a:cxn ang="0">
                    <a:pos x="2" y="2"/>
                  </a:cxn>
                </a:cxnLst>
                <a:rect l="0" t="0" r="r" b="b"/>
                <a:pathLst>
                  <a:path w="15" h="12">
                    <a:moveTo>
                      <a:pt x="2" y="2"/>
                    </a:moveTo>
                    <a:lnTo>
                      <a:pt x="0" y="2"/>
                    </a:lnTo>
                    <a:lnTo>
                      <a:pt x="2" y="2"/>
                    </a:lnTo>
                    <a:lnTo>
                      <a:pt x="5" y="0"/>
                    </a:lnTo>
                    <a:lnTo>
                      <a:pt x="9" y="0"/>
                    </a:lnTo>
                    <a:lnTo>
                      <a:pt x="10" y="2"/>
                    </a:lnTo>
                    <a:lnTo>
                      <a:pt x="12" y="2"/>
                    </a:lnTo>
                    <a:lnTo>
                      <a:pt x="15" y="3"/>
                    </a:lnTo>
                    <a:lnTo>
                      <a:pt x="15" y="8"/>
                    </a:lnTo>
                    <a:lnTo>
                      <a:pt x="10" y="12"/>
                    </a:lnTo>
                    <a:lnTo>
                      <a:pt x="2"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24" name="Freeform 1194"/>
              <p:cNvSpPr>
                <a:spLocks/>
              </p:cNvSpPr>
              <p:nvPr/>
            </p:nvSpPr>
            <p:spPr bwMode="auto">
              <a:xfrm>
                <a:off x="5107743" y="2045497"/>
                <a:ext cx="11412" cy="9127"/>
              </a:xfrm>
              <a:custGeom>
                <a:avLst/>
                <a:gdLst/>
                <a:ahLst/>
                <a:cxnLst>
                  <a:cxn ang="0">
                    <a:pos x="0" y="0"/>
                  </a:cxn>
                  <a:cxn ang="0">
                    <a:pos x="10" y="3"/>
                  </a:cxn>
                  <a:cxn ang="0">
                    <a:pos x="10" y="6"/>
                  </a:cxn>
                  <a:cxn ang="0">
                    <a:pos x="12" y="9"/>
                  </a:cxn>
                  <a:cxn ang="0">
                    <a:pos x="9" y="9"/>
                  </a:cxn>
                  <a:cxn ang="0">
                    <a:pos x="2" y="4"/>
                  </a:cxn>
                  <a:cxn ang="0">
                    <a:pos x="0" y="0"/>
                  </a:cxn>
                </a:cxnLst>
                <a:rect l="0" t="0" r="r" b="b"/>
                <a:pathLst>
                  <a:path w="12" h="9">
                    <a:moveTo>
                      <a:pt x="0" y="0"/>
                    </a:moveTo>
                    <a:lnTo>
                      <a:pt x="10" y="3"/>
                    </a:lnTo>
                    <a:lnTo>
                      <a:pt x="10" y="6"/>
                    </a:lnTo>
                    <a:lnTo>
                      <a:pt x="12" y="9"/>
                    </a:lnTo>
                    <a:lnTo>
                      <a:pt x="9" y="9"/>
                    </a:lnTo>
                    <a:lnTo>
                      <a:pt x="2" y="4"/>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25" name="Freeform 1195"/>
              <p:cNvSpPr>
                <a:spLocks/>
              </p:cNvSpPr>
              <p:nvPr/>
            </p:nvSpPr>
            <p:spPr bwMode="auto">
              <a:xfrm>
                <a:off x="5107743" y="2045497"/>
                <a:ext cx="11412" cy="9127"/>
              </a:xfrm>
              <a:custGeom>
                <a:avLst/>
                <a:gdLst/>
                <a:ahLst/>
                <a:cxnLst>
                  <a:cxn ang="0">
                    <a:pos x="0" y="0"/>
                  </a:cxn>
                  <a:cxn ang="0">
                    <a:pos x="10" y="3"/>
                  </a:cxn>
                  <a:cxn ang="0">
                    <a:pos x="10" y="6"/>
                  </a:cxn>
                  <a:cxn ang="0">
                    <a:pos x="12" y="9"/>
                  </a:cxn>
                  <a:cxn ang="0">
                    <a:pos x="9" y="9"/>
                  </a:cxn>
                  <a:cxn ang="0">
                    <a:pos x="2" y="4"/>
                  </a:cxn>
                  <a:cxn ang="0">
                    <a:pos x="0" y="0"/>
                  </a:cxn>
                </a:cxnLst>
                <a:rect l="0" t="0" r="r" b="b"/>
                <a:pathLst>
                  <a:path w="12" h="9">
                    <a:moveTo>
                      <a:pt x="0" y="0"/>
                    </a:moveTo>
                    <a:lnTo>
                      <a:pt x="10" y="3"/>
                    </a:lnTo>
                    <a:lnTo>
                      <a:pt x="10" y="6"/>
                    </a:lnTo>
                    <a:lnTo>
                      <a:pt x="12" y="9"/>
                    </a:lnTo>
                    <a:lnTo>
                      <a:pt x="9" y="9"/>
                    </a:lnTo>
                    <a:lnTo>
                      <a:pt x="2" y="4"/>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26" name="Freeform 1196"/>
              <p:cNvSpPr>
                <a:spLocks/>
              </p:cNvSpPr>
              <p:nvPr/>
            </p:nvSpPr>
            <p:spPr bwMode="auto">
              <a:xfrm>
                <a:off x="5062976" y="1629703"/>
                <a:ext cx="62324" cy="50707"/>
              </a:xfrm>
              <a:custGeom>
                <a:avLst/>
                <a:gdLst/>
                <a:ahLst/>
                <a:cxnLst>
                  <a:cxn ang="0">
                    <a:pos x="27" y="4"/>
                  </a:cxn>
                  <a:cxn ang="0">
                    <a:pos x="33" y="4"/>
                  </a:cxn>
                  <a:cxn ang="0">
                    <a:pos x="38" y="4"/>
                  </a:cxn>
                  <a:cxn ang="0">
                    <a:pos x="51" y="11"/>
                  </a:cxn>
                  <a:cxn ang="0">
                    <a:pos x="54" y="14"/>
                  </a:cxn>
                  <a:cxn ang="0">
                    <a:pos x="54" y="17"/>
                  </a:cxn>
                  <a:cxn ang="0">
                    <a:pos x="56" y="20"/>
                  </a:cxn>
                  <a:cxn ang="0">
                    <a:pos x="58" y="23"/>
                  </a:cxn>
                  <a:cxn ang="0">
                    <a:pos x="65" y="33"/>
                  </a:cxn>
                  <a:cxn ang="0">
                    <a:pos x="65" y="34"/>
                  </a:cxn>
                  <a:cxn ang="0">
                    <a:pos x="65" y="37"/>
                  </a:cxn>
                  <a:cxn ang="0">
                    <a:pos x="68" y="40"/>
                  </a:cxn>
                  <a:cxn ang="0">
                    <a:pos x="67" y="45"/>
                  </a:cxn>
                  <a:cxn ang="0">
                    <a:pos x="55" y="43"/>
                  </a:cxn>
                  <a:cxn ang="0">
                    <a:pos x="48" y="40"/>
                  </a:cxn>
                  <a:cxn ang="0">
                    <a:pos x="38" y="40"/>
                  </a:cxn>
                  <a:cxn ang="0">
                    <a:pos x="27" y="47"/>
                  </a:cxn>
                  <a:cxn ang="0">
                    <a:pos x="22" y="49"/>
                  </a:cxn>
                  <a:cxn ang="0">
                    <a:pos x="11" y="43"/>
                  </a:cxn>
                  <a:cxn ang="0">
                    <a:pos x="10" y="26"/>
                  </a:cxn>
                  <a:cxn ang="0">
                    <a:pos x="3" y="23"/>
                  </a:cxn>
                  <a:cxn ang="0">
                    <a:pos x="0" y="18"/>
                  </a:cxn>
                  <a:cxn ang="0">
                    <a:pos x="0" y="13"/>
                  </a:cxn>
                  <a:cxn ang="0">
                    <a:pos x="1" y="11"/>
                  </a:cxn>
                  <a:cxn ang="0">
                    <a:pos x="1" y="4"/>
                  </a:cxn>
                  <a:cxn ang="0">
                    <a:pos x="3" y="0"/>
                  </a:cxn>
                  <a:cxn ang="0">
                    <a:pos x="7" y="0"/>
                  </a:cxn>
                  <a:cxn ang="0">
                    <a:pos x="10" y="2"/>
                  </a:cxn>
                  <a:cxn ang="0">
                    <a:pos x="11" y="1"/>
                  </a:cxn>
                  <a:cxn ang="0">
                    <a:pos x="26" y="5"/>
                  </a:cxn>
                  <a:cxn ang="0">
                    <a:pos x="27" y="4"/>
                  </a:cxn>
                </a:cxnLst>
                <a:rect l="0" t="0" r="r" b="b"/>
                <a:pathLst>
                  <a:path w="68" h="49">
                    <a:moveTo>
                      <a:pt x="27" y="4"/>
                    </a:moveTo>
                    <a:lnTo>
                      <a:pt x="33" y="4"/>
                    </a:lnTo>
                    <a:lnTo>
                      <a:pt x="38" y="4"/>
                    </a:lnTo>
                    <a:lnTo>
                      <a:pt x="51" y="11"/>
                    </a:lnTo>
                    <a:lnTo>
                      <a:pt x="54" y="14"/>
                    </a:lnTo>
                    <a:lnTo>
                      <a:pt x="54" y="17"/>
                    </a:lnTo>
                    <a:lnTo>
                      <a:pt x="56" y="20"/>
                    </a:lnTo>
                    <a:lnTo>
                      <a:pt x="58" y="23"/>
                    </a:lnTo>
                    <a:lnTo>
                      <a:pt x="65" y="33"/>
                    </a:lnTo>
                    <a:lnTo>
                      <a:pt x="65" y="34"/>
                    </a:lnTo>
                    <a:lnTo>
                      <a:pt x="65" y="37"/>
                    </a:lnTo>
                    <a:lnTo>
                      <a:pt x="68" y="40"/>
                    </a:lnTo>
                    <a:lnTo>
                      <a:pt x="67" y="45"/>
                    </a:lnTo>
                    <a:lnTo>
                      <a:pt x="55" y="43"/>
                    </a:lnTo>
                    <a:lnTo>
                      <a:pt x="48" y="40"/>
                    </a:lnTo>
                    <a:lnTo>
                      <a:pt x="38" y="40"/>
                    </a:lnTo>
                    <a:lnTo>
                      <a:pt x="27" y="47"/>
                    </a:lnTo>
                    <a:lnTo>
                      <a:pt x="22" y="49"/>
                    </a:lnTo>
                    <a:lnTo>
                      <a:pt x="11" y="43"/>
                    </a:lnTo>
                    <a:lnTo>
                      <a:pt x="10" y="26"/>
                    </a:lnTo>
                    <a:lnTo>
                      <a:pt x="3" y="23"/>
                    </a:lnTo>
                    <a:lnTo>
                      <a:pt x="0" y="18"/>
                    </a:lnTo>
                    <a:lnTo>
                      <a:pt x="0" y="13"/>
                    </a:lnTo>
                    <a:lnTo>
                      <a:pt x="1" y="11"/>
                    </a:lnTo>
                    <a:lnTo>
                      <a:pt x="1" y="4"/>
                    </a:lnTo>
                    <a:lnTo>
                      <a:pt x="3" y="0"/>
                    </a:lnTo>
                    <a:lnTo>
                      <a:pt x="7" y="0"/>
                    </a:lnTo>
                    <a:lnTo>
                      <a:pt x="10" y="2"/>
                    </a:lnTo>
                    <a:lnTo>
                      <a:pt x="11" y="1"/>
                    </a:lnTo>
                    <a:lnTo>
                      <a:pt x="26" y="5"/>
                    </a:lnTo>
                    <a:lnTo>
                      <a:pt x="27" y="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27" name="Freeform 1197"/>
              <p:cNvSpPr>
                <a:spLocks/>
              </p:cNvSpPr>
              <p:nvPr/>
            </p:nvSpPr>
            <p:spPr bwMode="auto">
              <a:xfrm>
                <a:off x="5062976" y="1629703"/>
                <a:ext cx="62324" cy="50707"/>
              </a:xfrm>
              <a:custGeom>
                <a:avLst/>
                <a:gdLst/>
                <a:ahLst/>
                <a:cxnLst>
                  <a:cxn ang="0">
                    <a:pos x="27" y="4"/>
                  </a:cxn>
                  <a:cxn ang="0">
                    <a:pos x="33" y="4"/>
                  </a:cxn>
                  <a:cxn ang="0">
                    <a:pos x="38" y="4"/>
                  </a:cxn>
                  <a:cxn ang="0">
                    <a:pos x="51" y="11"/>
                  </a:cxn>
                  <a:cxn ang="0">
                    <a:pos x="54" y="14"/>
                  </a:cxn>
                  <a:cxn ang="0">
                    <a:pos x="54" y="17"/>
                  </a:cxn>
                  <a:cxn ang="0">
                    <a:pos x="56" y="20"/>
                  </a:cxn>
                  <a:cxn ang="0">
                    <a:pos x="58" y="23"/>
                  </a:cxn>
                  <a:cxn ang="0">
                    <a:pos x="65" y="33"/>
                  </a:cxn>
                  <a:cxn ang="0">
                    <a:pos x="65" y="34"/>
                  </a:cxn>
                  <a:cxn ang="0">
                    <a:pos x="65" y="37"/>
                  </a:cxn>
                  <a:cxn ang="0">
                    <a:pos x="68" y="40"/>
                  </a:cxn>
                  <a:cxn ang="0">
                    <a:pos x="67" y="45"/>
                  </a:cxn>
                  <a:cxn ang="0">
                    <a:pos x="55" y="43"/>
                  </a:cxn>
                  <a:cxn ang="0">
                    <a:pos x="48" y="40"/>
                  </a:cxn>
                  <a:cxn ang="0">
                    <a:pos x="38" y="40"/>
                  </a:cxn>
                  <a:cxn ang="0">
                    <a:pos x="27" y="47"/>
                  </a:cxn>
                  <a:cxn ang="0">
                    <a:pos x="22" y="49"/>
                  </a:cxn>
                  <a:cxn ang="0">
                    <a:pos x="11" y="43"/>
                  </a:cxn>
                  <a:cxn ang="0">
                    <a:pos x="10" y="26"/>
                  </a:cxn>
                  <a:cxn ang="0">
                    <a:pos x="3" y="23"/>
                  </a:cxn>
                  <a:cxn ang="0">
                    <a:pos x="0" y="18"/>
                  </a:cxn>
                  <a:cxn ang="0">
                    <a:pos x="0" y="13"/>
                  </a:cxn>
                  <a:cxn ang="0">
                    <a:pos x="1" y="11"/>
                  </a:cxn>
                  <a:cxn ang="0">
                    <a:pos x="1" y="4"/>
                  </a:cxn>
                  <a:cxn ang="0">
                    <a:pos x="3" y="0"/>
                  </a:cxn>
                  <a:cxn ang="0">
                    <a:pos x="7" y="0"/>
                  </a:cxn>
                  <a:cxn ang="0">
                    <a:pos x="10" y="2"/>
                  </a:cxn>
                  <a:cxn ang="0">
                    <a:pos x="11" y="1"/>
                  </a:cxn>
                  <a:cxn ang="0">
                    <a:pos x="26" y="5"/>
                  </a:cxn>
                  <a:cxn ang="0">
                    <a:pos x="27" y="4"/>
                  </a:cxn>
                </a:cxnLst>
                <a:rect l="0" t="0" r="r" b="b"/>
                <a:pathLst>
                  <a:path w="68" h="49">
                    <a:moveTo>
                      <a:pt x="27" y="4"/>
                    </a:moveTo>
                    <a:lnTo>
                      <a:pt x="33" y="4"/>
                    </a:lnTo>
                    <a:lnTo>
                      <a:pt x="38" y="4"/>
                    </a:lnTo>
                    <a:lnTo>
                      <a:pt x="51" y="11"/>
                    </a:lnTo>
                    <a:lnTo>
                      <a:pt x="54" y="14"/>
                    </a:lnTo>
                    <a:lnTo>
                      <a:pt x="54" y="17"/>
                    </a:lnTo>
                    <a:lnTo>
                      <a:pt x="56" y="20"/>
                    </a:lnTo>
                    <a:lnTo>
                      <a:pt x="58" y="23"/>
                    </a:lnTo>
                    <a:lnTo>
                      <a:pt x="65" y="33"/>
                    </a:lnTo>
                    <a:lnTo>
                      <a:pt x="65" y="34"/>
                    </a:lnTo>
                    <a:lnTo>
                      <a:pt x="65" y="37"/>
                    </a:lnTo>
                    <a:lnTo>
                      <a:pt x="68" y="40"/>
                    </a:lnTo>
                    <a:lnTo>
                      <a:pt x="67" y="45"/>
                    </a:lnTo>
                    <a:lnTo>
                      <a:pt x="55" y="43"/>
                    </a:lnTo>
                    <a:lnTo>
                      <a:pt x="48" y="40"/>
                    </a:lnTo>
                    <a:lnTo>
                      <a:pt x="38" y="40"/>
                    </a:lnTo>
                    <a:lnTo>
                      <a:pt x="27" y="47"/>
                    </a:lnTo>
                    <a:lnTo>
                      <a:pt x="22" y="49"/>
                    </a:lnTo>
                    <a:lnTo>
                      <a:pt x="11" y="43"/>
                    </a:lnTo>
                    <a:lnTo>
                      <a:pt x="10" y="26"/>
                    </a:lnTo>
                    <a:lnTo>
                      <a:pt x="3" y="23"/>
                    </a:lnTo>
                    <a:lnTo>
                      <a:pt x="0" y="18"/>
                    </a:lnTo>
                    <a:lnTo>
                      <a:pt x="0" y="13"/>
                    </a:lnTo>
                    <a:lnTo>
                      <a:pt x="1" y="11"/>
                    </a:lnTo>
                    <a:lnTo>
                      <a:pt x="1" y="4"/>
                    </a:lnTo>
                    <a:lnTo>
                      <a:pt x="3" y="0"/>
                    </a:lnTo>
                    <a:lnTo>
                      <a:pt x="7" y="0"/>
                    </a:lnTo>
                    <a:lnTo>
                      <a:pt x="10" y="2"/>
                    </a:lnTo>
                    <a:lnTo>
                      <a:pt x="11" y="1"/>
                    </a:lnTo>
                    <a:lnTo>
                      <a:pt x="26" y="5"/>
                    </a:lnTo>
                    <a:lnTo>
                      <a:pt x="27" y="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28" name="Freeform 1198"/>
              <p:cNvSpPr>
                <a:spLocks/>
              </p:cNvSpPr>
              <p:nvPr/>
            </p:nvSpPr>
            <p:spPr bwMode="auto">
              <a:xfrm>
                <a:off x="5025230" y="2068822"/>
                <a:ext cx="22823" cy="28396"/>
              </a:xfrm>
              <a:custGeom>
                <a:avLst/>
                <a:gdLst/>
                <a:ahLst/>
                <a:cxnLst>
                  <a:cxn ang="0">
                    <a:pos x="18" y="0"/>
                  </a:cxn>
                  <a:cxn ang="0">
                    <a:pos x="10" y="5"/>
                  </a:cxn>
                  <a:cxn ang="0">
                    <a:pos x="7" y="8"/>
                  </a:cxn>
                  <a:cxn ang="0">
                    <a:pos x="0" y="22"/>
                  </a:cxn>
                  <a:cxn ang="0">
                    <a:pos x="0" y="27"/>
                  </a:cxn>
                  <a:cxn ang="0">
                    <a:pos x="2" y="27"/>
                  </a:cxn>
                  <a:cxn ang="0">
                    <a:pos x="6" y="24"/>
                  </a:cxn>
                  <a:cxn ang="0">
                    <a:pos x="9" y="24"/>
                  </a:cxn>
                  <a:cxn ang="0">
                    <a:pos x="10" y="21"/>
                  </a:cxn>
                  <a:cxn ang="0">
                    <a:pos x="13" y="19"/>
                  </a:cxn>
                  <a:cxn ang="0">
                    <a:pos x="13" y="16"/>
                  </a:cxn>
                  <a:cxn ang="0">
                    <a:pos x="15" y="13"/>
                  </a:cxn>
                  <a:cxn ang="0">
                    <a:pos x="18" y="13"/>
                  </a:cxn>
                  <a:cxn ang="0">
                    <a:pos x="23" y="9"/>
                  </a:cxn>
                  <a:cxn ang="0">
                    <a:pos x="25" y="5"/>
                  </a:cxn>
                  <a:cxn ang="0">
                    <a:pos x="25" y="3"/>
                  </a:cxn>
                  <a:cxn ang="0">
                    <a:pos x="25" y="2"/>
                  </a:cxn>
                  <a:cxn ang="0">
                    <a:pos x="20" y="0"/>
                  </a:cxn>
                  <a:cxn ang="0">
                    <a:pos x="18" y="0"/>
                  </a:cxn>
                </a:cxnLst>
                <a:rect l="0" t="0" r="r" b="b"/>
                <a:pathLst>
                  <a:path w="25" h="27">
                    <a:moveTo>
                      <a:pt x="18" y="0"/>
                    </a:moveTo>
                    <a:lnTo>
                      <a:pt x="10" y="5"/>
                    </a:lnTo>
                    <a:lnTo>
                      <a:pt x="7" y="8"/>
                    </a:lnTo>
                    <a:lnTo>
                      <a:pt x="0" y="22"/>
                    </a:lnTo>
                    <a:lnTo>
                      <a:pt x="0" y="27"/>
                    </a:lnTo>
                    <a:lnTo>
                      <a:pt x="2" y="27"/>
                    </a:lnTo>
                    <a:lnTo>
                      <a:pt x="6" y="24"/>
                    </a:lnTo>
                    <a:lnTo>
                      <a:pt x="9" y="24"/>
                    </a:lnTo>
                    <a:lnTo>
                      <a:pt x="10" y="21"/>
                    </a:lnTo>
                    <a:lnTo>
                      <a:pt x="13" y="19"/>
                    </a:lnTo>
                    <a:lnTo>
                      <a:pt x="13" y="16"/>
                    </a:lnTo>
                    <a:lnTo>
                      <a:pt x="15" y="13"/>
                    </a:lnTo>
                    <a:lnTo>
                      <a:pt x="18" y="13"/>
                    </a:lnTo>
                    <a:lnTo>
                      <a:pt x="23" y="9"/>
                    </a:lnTo>
                    <a:lnTo>
                      <a:pt x="25" y="5"/>
                    </a:lnTo>
                    <a:lnTo>
                      <a:pt x="25" y="3"/>
                    </a:lnTo>
                    <a:lnTo>
                      <a:pt x="25" y="2"/>
                    </a:lnTo>
                    <a:lnTo>
                      <a:pt x="20" y="0"/>
                    </a:lnTo>
                    <a:lnTo>
                      <a:pt x="18"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29" name="Freeform 1199"/>
              <p:cNvSpPr>
                <a:spLocks/>
              </p:cNvSpPr>
              <p:nvPr/>
            </p:nvSpPr>
            <p:spPr bwMode="auto">
              <a:xfrm>
                <a:off x="5025230" y="2068822"/>
                <a:ext cx="22823" cy="28396"/>
              </a:xfrm>
              <a:custGeom>
                <a:avLst/>
                <a:gdLst/>
                <a:ahLst/>
                <a:cxnLst>
                  <a:cxn ang="0">
                    <a:pos x="18" y="0"/>
                  </a:cxn>
                  <a:cxn ang="0">
                    <a:pos x="10" y="5"/>
                  </a:cxn>
                  <a:cxn ang="0">
                    <a:pos x="7" y="8"/>
                  </a:cxn>
                  <a:cxn ang="0">
                    <a:pos x="0" y="22"/>
                  </a:cxn>
                  <a:cxn ang="0">
                    <a:pos x="0" y="27"/>
                  </a:cxn>
                  <a:cxn ang="0">
                    <a:pos x="2" y="27"/>
                  </a:cxn>
                  <a:cxn ang="0">
                    <a:pos x="6" y="24"/>
                  </a:cxn>
                  <a:cxn ang="0">
                    <a:pos x="9" y="24"/>
                  </a:cxn>
                  <a:cxn ang="0">
                    <a:pos x="10" y="21"/>
                  </a:cxn>
                  <a:cxn ang="0">
                    <a:pos x="13" y="19"/>
                  </a:cxn>
                  <a:cxn ang="0">
                    <a:pos x="13" y="16"/>
                  </a:cxn>
                  <a:cxn ang="0">
                    <a:pos x="15" y="13"/>
                  </a:cxn>
                  <a:cxn ang="0">
                    <a:pos x="18" y="13"/>
                  </a:cxn>
                  <a:cxn ang="0">
                    <a:pos x="23" y="9"/>
                  </a:cxn>
                  <a:cxn ang="0">
                    <a:pos x="25" y="5"/>
                  </a:cxn>
                  <a:cxn ang="0">
                    <a:pos x="25" y="3"/>
                  </a:cxn>
                  <a:cxn ang="0">
                    <a:pos x="25" y="2"/>
                  </a:cxn>
                  <a:cxn ang="0">
                    <a:pos x="20" y="0"/>
                  </a:cxn>
                  <a:cxn ang="0">
                    <a:pos x="18" y="0"/>
                  </a:cxn>
                </a:cxnLst>
                <a:rect l="0" t="0" r="r" b="b"/>
                <a:pathLst>
                  <a:path w="25" h="27">
                    <a:moveTo>
                      <a:pt x="18" y="0"/>
                    </a:moveTo>
                    <a:lnTo>
                      <a:pt x="10" y="5"/>
                    </a:lnTo>
                    <a:lnTo>
                      <a:pt x="7" y="8"/>
                    </a:lnTo>
                    <a:lnTo>
                      <a:pt x="0" y="22"/>
                    </a:lnTo>
                    <a:lnTo>
                      <a:pt x="0" y="27"/>
                    </a:lnTo>
                    <a:lnTo>
                      <a:pt x="2" y="27"/>
                    </a:lnTo>
                    <a:lnTo>
                      <a:pt x="6" y="24"/>
                    </a:lnTo>
                    <a:lnTo>
                      <a:pt x="9" y="24"/>
                    </a:lnTo>
                    <a:lnTo>
                      <a:pt x="10" y="21"/>
                    </a:lnTo>
                    <a:lnTo>
                      <a:pt x="13" y="19"/>
                    </a:lnTo>
                    <a:lnTo>
                      <a:pt x="13" y="16"/>
                    </a:lnTo>
                    <a:lnTo>
                      <a:pt x="15" y="13"/>
                    </a:lnTo>
                    <a:lnTo>
                      <a:pt x="18" y="13"/>
                    </a:lnTo>
                    <a:lnTo>
                      <a:pt x="23" y="9"/>
                    </a:lnTo>
                    <a:lnTo>
                      <a:pt x="25" y="5"/>
                    </a:lnTo>
                    <a:lnTo>
                      <a:pt x="25" y="3"/>
                    </a:lnTo>
                    <a:lnTo>
                      <a:pt x="25" y="2"/>
                    </a:lnTo>
                    <a:lnTo>
                      <a:pt x="20" y="0"/>
                    </a:lnTo>
                    <a:lnTo>
                      <a:pt x="18"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30" name="Freeform 1200"/>
              <p:cNvSpPr>
                <a:spLocks/>
              </p:cNvSpPr>
              <p:nvPr/>
            </p:nvSpPr>
            <p:spPr bwMode="auto">
              <a:xfrm>
                <a:off x="5070875" y="2089105"/>
                <a:ext cx="12289" cy="24339"/>
              </a:xfrm>
              <a:custGeom>
                <a:avLst/>
                <a:gdLst/>
                <a:ahLst/>
                <a:cxnLst>
                  <a:cxn ang="0">
                    <a:pos x="4" y="0"/>
                  </a:cxn>
                  <a:cxn ang="0">
                    <a:pos x="4" y="0"/>
                  </a:cxn>
                  <a:cxn ang="0">
                    <a:pos x="2" y="0"/>
                  </a:cxn>
                  <a:cxn ang="0">
                    <a:pos x="2" y="2"/>
                  </a:cxn>
                  <a:cxn ang="0">
                    <a:pos x="1" y="3"/>
                  </a:cxn>
                  <a:cxn ang="0">
                    <a:pos x="0" y="16"/>
                  </a:cxn>
                  <a:cxn ang="0">
                    <a:pos x="1" y="18"/>
                  </a:cxn>
                  <a:cxn ang="0">
                    <a:pos x="2" y="21"/>
                  </a:cxn>
                  <a:cxn ang="0">
                    <a:pos x="4" y="24"/>
                  </a:cxn>
                  <a:cxn ang="0">
                    <a:pos x="7" y="24"/>
                  </a:cxn>
                  <a:cxn ang="0">
                    <a:pos x="8" y="21"/>
                  </a:cxn>
                  <a:cxn ang="0">
                    <a:pos x="8" y="18"/>
                  </a:cxn>
                  <a:cxn ang="0">
                    <a:pos x="13" y="2"/>
                  </a:cxn>
                  <a:cxn ang="0">
                    <a:pos x="11" y="0"/>
                  </a:cxn>
                  <a:cxn ang="0">
                    <a:pos x="4" y="0"/>
                  </a:cxn>
                </a:cxnLst>
                <a:rect l="0" t="0" r="r" b="b"/>
                <a:pathLst>
                  <a:path w="13" h="24">
                    <a:moveTo>
                      <a:pt x="4" y="0"/>
                    </a:moveTo>
                    <a:lnTo>
                      <a:pt x="4" y="0"/>
                    </a:lnTo>
                    <a:lnTo>
                      <a:pt x="2" y="0"/>
                    </a:lnTo>
                    <a:lnTo>
                      <a:pt x="2" y="2"/>
                    </a:lnTo>
                    <a:lnTo>
                      <a:pt x="1" y="3"/>
                    </a:lnTo>
                    <a:lnTo>
                      <a:pt x="0" y="16"/>
                    </a:lnTo>
                    <a:lnTo>
                      <a:pt x="1" y="18"/>
                    </a:lnTo>
                    <a:lnTo>
                      <a:pt x="2" y="21"/>
                    </a:lnTo>
                    <a:lnTo>
                      <a:pt x="4" y="24"/>
                    </a:lnTo>
                    <a:lnTo>
                      <a:pt x="7" y="24"/>
                    </a:lnTo>
                    <a:lnTo>
                      <a:pt x="8" y="21"/>
                    </a:lnTo>
                    <a:lnTo>
                      <a:pt x="8" y="18"/>
                    </a:lnTo>
                    <a:lnTo>
                      <a:pt x="13" y="2"/>
                    </a:lnTo>
                    <a:lnTo>
                      <a:pt x="11" y="0"/>
                    </a:lnTo>
                    <a:lnTo>
                      <a:pt x="4"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31" name="Freeform 1201"/>
              <p:cNvSpPr>
                <a:spLocks/>
              </p:cNvSpPr>
              <p:nvPr/>
            </p:nvSpPr>
            <p:spPr bwMode="auto">
              <a:xfrm>
                <a:off x="5070875" y="2089105"/>
                <a:ext cx="12289" cy="24339"/>
              </a:xfrm>
              <a:custGeom>
                <a:avLst/>
                <a:gdLst/>
                <a:ahLst/>
                <a:cxnLst>
                  <a:cxn ang="0">
                    <a:pos x="4" y="0"/>
                  </a:cxn>
                  <a:cxn ang="0">
                    <a:pos x="4" y="0"/>
                  </a:cxn>
                  <a:cxn ang="0">
                    <a:pos x="2" y="0"/>
                  </a:cxn>
                  <a:cxn ang="0">
                    <a:pos x="2" y="2"/>
                  </a:cxn>
                  <a:cxn ang="0">
                    <a:pos x="1" y="3"/>
                  </a:cxn>
                  <a:cxn ang="0">
                    <a:pos x="0" y="16"/>
                  </a:cxn>
                  <a:cxn ang="0">
                    <a:pos x="1" y="18"/>
                  </a:cxn>
                  <a:cxn ang="0">
                    <a:pos x="2" y="21"/>
                  </a:cxn>
                  <a:cxn ang="0">
                    <a:pos x="4" y="24"/>
                  </a:cxn>
                  <a:cxn ang="0">
                    <a:pos x="7" y="24"/>
                  </a:cxn>
                  <a:cxn ang="0">
                    <a:pos x="8" y="21"/>
                  </a:cxn>
                  <a:cxn ang="0">
                    <a:pos x="8" y="18"/>
                  </a:cxn>
                  <a:cxn ang="0">
                    <a:pos x="13" y="2"/>
                  </a:cxn>
                  <a:cxn ang="0">
                    <a:pos x="11" y="0"/>
                  </a:cxn>
                  <a:cxn ang="0">
                    <a:pos x="4" y="0"/>
                  </a:cxn>
                </a:cxnLst>
                <a:rect l="0" t="0" r="r" b="b"/>
                <a:pathLst>
                  <a:path w="13" h="24">
                    <a:moveTo>
                      <a:pt x="4" y="0"/>
                    </a:moveTo>
                    <a:lnTo>
                      <a:pt x="4" y="0"/>
                    </a:lnTo>
                    <a:lnTo>
                      <a:pt x="2" y="0"/>
                    </a:lnTo>
                    <a:lnTo>
                      <a:pt x="2" y="2"/>
                    </a:lnTo>
                    <a:lnTo>
                      <a:pt x="1" y="3"/>
                    </a:lnTo>
                    <a:lnTo>
                      <a:pt x="0" y="16"/>
                    </a:lnTo>
                    <a:lnTo>
                      <a:pt x="1" y="18"/>
                    </a:lnTo>
                    <a:lnTo>
                      <a:pt x="2" y="21"/>
                    </a:lnTo>
                    <a:lnTo>
                      <a:pt x="4" y="24"/>
                    </a:lnTo>
                    <a:lnTo>
                      <a:pt x="7" y="24"/>
                    </a:lnTo>
                    <a:lnTo>
                      <a:pt x="8" y="21"/>
                    </a:lnTo>
                    <a:lnTo>
                      <a:pt x="8" y="18"/>
                    </a:lnTo>
                    <a:lnTo>
                      <a:pt x="13" y="2"/>
                    </a:lnTo>
                    <a:lnTo>
                      <a:pt x="11" y="0"/>
                    </a:lnTo>
                    <a:lnTo>
                      <a:pt x="4"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32" name="Freeform 1202"/>
              <p:cNvSpPr>
                <a:spLocks/>
              </p:cNvSpPr>
              <p:nvPr/>
            </p:nvSpPr>
            <p:spPr bwMode="auto">
              <a:xfrm>
                <a:off x="5228002" y="2143868"/>
                <a:ext cx="6144" cy="8113"/>
              </a:xfrm>
              <a:custGeom>
                <a:avLst/>
                <a:gdLst/>
                <a:ahLst/>
                <a:cxnLst>
                  <a:cxn ang="0">
                    <a:pos x="1" y="2"/>
                  </a:cxn>
                  <a:cxn ang="0">
                    <a:pos x="0" y="1"/>
                  </a:cxn>
                  <a:cxn ang="0">
                    <a:pos x="0" y="7"/>
                  </a:cxn>
                  <a:cxn ang="0">
                    <a:pos x="0" y="8"/>
                  </a:cxn>
                  <a:cxn ang="0">
                    <a:pos x="3" y="5"/>
                  </a:cxn>
                  <a:cxn ang="0">
                    <a:pos x="4" y="5"/>
                  </a:cxn>
                  <a:cxn ang="0">
                    <a:pos x="7" y="2"/>
                  </a:cxn>
                  <a:cxn ang="0">
                    <a:pos x="6" y="0"/>
                  </a:cxn>
                  <a:cxn ang="0">
                    <a:pos x="3" y="0"/>
                  </a:cxn>
                  <a:cxn ang="0">
                    <a:pos x="1" y="0"/>
                  </a:cxn>
                  <a:cxn ang="0">
                    <a:pos x="1" y="2"/>
                  </a:cxn>
                </a:cxnLst>
                <a:rect l="0" t="0" r="r" b="b"/>
                <a:pathLst>
                  <a:path w="7" h="8">
                    <a:moveTo>
                      <a:pt x="1" y="2"/>
                    </a:moveTo>
                    <a:lnTo>
                      <a:pt x="0" y="1"/>
                    </a:lnTo>
                    <a:lnTo>
                      <a:pt x="0" y="7"/>
                    </a:lnTo>
                    <a:lnTo>
                      <a:pt x="0" y="8"/>
                    </a:lnTo>
                    <a:lnTo>
                      <a:pt x="3" y="5"/>
                    </a:lnTo>
                    <a:lnTo>
                      <a:pt x="4" y="5"/>
                    </a:lnTo>
                    <a:lnTo>
                      <a:pt x="7" y="2"/>
                    </a:lnTo>
                    <a:lnTo>
                      <a:pt x="6" y="0"/>
                    </a:lnTo>
                    <a:lnTo>
                      <a:pt x="3" y="0"/>
                    </a:lnTo>
                    <a:lnTo>
                      <a:pt x="1" y="0"/>
                    </a:lnTo>
                    <a:lnTo>
                      <a:pt x="1"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33" name="Freeform 1203"/>
              <p:cNvSpPr>
                <a:spLocks/>
              </p:cNvSpPr>
              <p:nvPr/>
            </p:nvSpPr>
            <p:spPr bwMode="auto">
              <a:xfrm>
                <a:off x="5228002" y="2143868"/>
                <a:ext cx="6144" cy="8113"/>
              </a:xfrm>
              <a:custGeom>
                <a:avLst/>
                <a:gdLst/>
                <a:ahLst/>
                <a:cxnLst>
                  <a:cxn ang="0">
                    <a:pos x="1" y="2"/>
                  </a:cxn>
                  <a:cxn ang="0">
                    <a:pos x="0" y="1"/>
                  </a:cxn>
                  <a:cxn ang="0">
                    <a:pos x="0" y="7"/>
                  </a:cxn>
                  <a:cxn ang="0">
                    <a:pos x="0" y="8"/>
                  </a:cxn>
                  <a:cxn ang="0">
                    <a:pos x="3" y="5"/>
                  </a:cxn>
                  <a:cxn ang="0">
                    <a:pos x="4" y="5"/>
                  </a:cxn>
                  <a:cxn ang="0">
                    <a:pos x="7" y="2"/>
                  </a:cxn>
                  <a:cxn ang="0">
                    <a:pos x="6" y="0"/>
                  </a:cxn>
                  <a:cxn ang="0">
                    <a:pos x="3" y="0"/>
                  </a:cxn>
                  <a:cxn ang="0">
                    <a:pos x="1" y="0"/>
                  </a:cxn>
                  <a:cxn ang="0">
                    <a:pos x="1" y="2"/>
                  </a:cxn>
                </a:cxnLst>
                <a:rect l="0" t="0" r="r" b="b"/>
                <a:pathLst>
                  <a:path w="7" h="8">
                    <a:moveTo>
                      <a:pt x="1" y="2"/>
                    </a:moveTo>
                    <a:lnTo>
                      <a:pt x="0" y="1"/>
                    </a:lnTo>
                    <a:lnTo>
                      <a:pt x="0" y="7"/>
                    </a:lnTo>
                    <a:lnTo>
                      <a:pt x="0" y="8"/>
                    </a:lnTo>
                    <a:lnTo>
                      <a:pt x="3" y="5"/>
                    </a:lnTo>
                    <a:lnTo>
                      <a:pt x="4" y="5"/>
                    </a:lnTo>
                    <a:lnTo>
                      <a:pt x="7" y="2"/>
                    </a:lnTo>
                    <a:lnTo>
                      <a:pt x="6" y="0"/>
                    </a:lnTo>
                    <a:lnTo>
                      <a:pt x="3" y="0"/>
                    </a:lnTo>
                    <a:lnTo>
                      <a:pt x="1" y="0"/>
                    </a:lnTo>
                    <a:lnTo>
                      <a:pt x="1"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34" name="Freeform 1204"/>
              <p:cNvSpPr>
                <a:spLocks/>
              </p:cNvSpPr>
              <p:nvPr/>
            </p:nvSpPr>
            <p:spPr bwMode="auto">
              <a:xfrm>
                <a:off x="5263992" y="2108373"/>
                <a:ext cx="10534" cy="10141"/>
              </a:xfrm>
              <a:custGeom>
                <a:avLst/>
                <a:gdLst/>
                <a:ahLst/>
                <a:cxnLst>
                  <a:cxn ang="0">
                    <a:pos x="7" y="0"/>
                  </a:cxn>
                  <a:cxn ang="0">
                    <a:pos x="7" y="0"/>
                  </a:cxn>
                  <a:cxn ang="0">
                    <a:pos x="9" y="2"/>
                  </a:cxn>
                  <a:cxn ang="0">
                    <a:pos x="9" y="3"/>
                  </a:cxn>
                  <a:cxn ang="0">
                    <a:pos x="10" y="3"/>
                  </a:cxn>
                  <a:cxn ang="0">
                    <a:pos x="12" y="3"/>
                  </a:cxn>
                  <a:cxn ang="0">
                    <a:pos x="10" y="10"/>
                  </a:cxn>
                  <a:cxn ang="0">
                    <a:pos x="9" y="10"/>
                  </a:cxn>
                  <a:cxn ang="0">
                    <a:pos x="6" y="10"/>
                  </a:cxn>
                  <a:cxn ang="0">
                    <a:pos x="6" y="7"/>
                  </a:cxn>
                  <a:cxn ang="0">
                    <a:pos x="4" y="7"/>
                  </a:cxn>
                  <a:cxn ang="0">
                    <a:pos x="3" y="5"/>
                  </a:cxn>
                  <a:cxn ang="0">
                    <a:pos x="0" y="5"/>
                  </a:cxn>
                  <a:cxn ang="0">
                    <a:pos x="0" y="2"/>
                  </a:cxn>
                  <a:cxn ang="0">
                    <a:pos x="3" y="0"/>
                  </a:cxn>
                  <a:cxn ang="0">
                    <a:pos x="7" y="0"/>
                  </a:cxn>
                </a:cxnLst>
                <a:rect l="0" t="0" r="r" b="b"/>
                <a:pathLst>
                  <a:path w="12" h="10">
                    <a:moveTo>
                      <a:pt x="7" y="0"/>
                    </a:moveTo>
                    <a:lnTo>
                      <a:pt x="7" y="0"/>
                    </a:lnTo>
                    <a:lnTo>
                      <a:pt x="9" y="2"/>
                    </a:lnTo>
                    <a:lnTo>
                      <a:pt x="9" y="3"/>
                    </a:lnTo>
                    <a:lnTo>
                      <a:pt x="10" y="3"/>
                    </a:lnTo>
                    <a:lnTo>
                      <a:pt x="12" y="3"/>
                    </a:lnTo>
                    <a:lnTo>
                      <a:pt x="10" y="10"/>
                    </a:lnTo>
                    <a:lnTo>
                      <a:pt x="9" y="10"/>
                    </a:lnTo>
                    <a:lnTo>
                      <a:pt x="6" y="10"/>
                    </a:lnTo>
                    <a:lnTo>
                      <a:pt x="6" y="7"/>
                    </a:lnTo>
                    <a:lnTo>
                      <a:pt x="4" y="7"/>
                    </a:lnTo>
                    <a:lnTo>
                      <a:pt x="3" y="5"/>
                    </a:lnTo>
                    <a:lnTo>
                      <a:pt x="0" y="5"/>
                    </a:lnTo>
                    <a:lnTo>
                      <a:pt x="0" y="2"/>
                    </a:lnTo>
                    <a:lnTo>
                      <a:pt x="3" y="0"/>
                    </a:lnTo>
                    <a:lnTo>
                      <a:pt x="7"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35" name="Freeform 1205"/>
              <p:cNvSpPr>
                <a:spLocks/>
              </p:cNvSpPr>
              <p:nvPr/>
            </p:nvSpPr>
            <p:spPr bwMode="auto">
              <a:xfrm>
                <a:off x="5263992" y="2108373"/>
                <a:ext cx="10534" cy="10141"/>
              </a:xfrm>
              <a:custGeom>
                <a:avLst/>
                <a:gdLst/>
                <a:ahLst/>
                <a:cxnLst>
                  <a:cxn ang="0">
                    <a:pos x="7" y="0"/>
                  </a:cxn>
                  <a:cxn ang="0">
                    <a:pos x="7" y="0"/>
                  </a:cxn>
                  <a:cxn ang="0">
                    <a:pos x="9" y="2"/>
                  </a:cxn>
                  <a:cxn ang="0">
                    <a:pos x="9" y="3"/>
                  </a:cxn>
                  <a:cxn ang="0">
                    <a:pos x="10" y="3"/>
                  </a:cxn>
                  <a:cxn ang="0">
                    <a:pos x="12" y="3"/>
                  </a:cxn>
                  <a:cxn ang="0">
                    <a:pos x="10" y="10"/>
                  </a:cxn>
                  <a:cxn ang="0">
                    <a:pos x="9" y="10"/>
                  </a:cxn>
                  <a:cxn ang="0">
                    <a:pos x="6" y="10"/>
                  </a:cxn>
                  <a:cxn ang="0">
                    <a:pos x="6" y="7"/>
                  </a:cxn>
                  <a:cxn ang="0">
                    <a:pos x="4" y="7"/>
                  </a:cxn>
                  <a:cxn ang="0">
                    <a:pos x="3" y="5"/>
                  </a:cxn>
                  <a:cxn ang="0">
                    <a:pos x="0" y="5"/>
                  </a:cxn>
                  <a:cxn ang="0">
                    <a:pos x="0" y="2"/>
                  </a:cxn>
                  <a:cxn ang="0">
                    <a:pos x="3" y="0"/>
                  </a:cxn>
                  <a:cxn ang="0">
                    <a:pos x="7" y="0"/>
                  </a:cxn>
                </a:cxnLst>
                <a:rect l="0" t="0" r="r" b="b"/>
                <a:pathLst>
                  <a:path w="12" h="10">
                    <a:moveTo>
                      <a:pt x="7" y="0"/>
                    </a:moveTo>
                    <a:lnTo>
                      <a:pt x="7" y="0"/>
                    </a:lnTo>
                    <a:lnTo>
                      <a:pt x="9" y="2"/>
                    </a:lnTo>
                    <a:lnTo>
                      <a:pt x="9" y="3"/>
                    </a:lnTo>
                    <a:lnTo>
                      <a:pt x="10" y="3"/>
                    </a:lnTo>
                    <a:lnTo>
                      <a:pt x="12" y="3"/>
                    </a:lnTo>
                    <a:lnTo>
                      <a:pt x="10" y="10"/>
                    </a:lnTo>
                    <a:lnTo>
                      <a:pt x="9" y="10"/>
                    </a:lnTo>
                    <a:lnTo>
                      <a:pt x="6" y="10"/>
                    </a:lnTo>
                    <a:lnTo>
                      <a:pt x="6" y="7"/>
                    </a:lnTo>
                    <a:lnTo>
                      <a:pt x="4" y="7"/>
                    </a:lnTo>
                    <a:lnTo>
                      <a:pt x="3" y="5"/>
                    </a:lnTo>
                    <a:lnTo>
                      <a:pt x="0" y="5"/>
                    </a:lnTo>
                    <a:lnTo>
                      <a:pt x="0" y="2"/>
                    </a:lnTo>
                    <a:lnTo>
                      <a:pt x="3" y="0"/>
                    </a:lnTo>
                    <a:lnTo>
                      <a:pt x="7"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36" name="Freeform 1206"/>
              <p:cNvSpPr>
                <a:spLocks/>
              </p:cNvSpPr>
              <p:nvPr/>
            </p:nvSpPr>
            <p:spPr bwMode="auto">
              <a:xfrm>
                <a:off x="4941839" y="1623618"/>
                <a:ext cx="377454" cy="480699"/>
              </a:xfrm>
              <a:custGeom>
                <a:avLst/>
                <a:gdLst/>
                <a:ahLst/>
                <a:cxnLst>
                  <a:cxn ang="0">
                    <a:pos x="292" y="433"/>
                  </a:cxn>
                  <a:cxn ang="0">
                    <a:pos x="305" y="446"/>
                  </a:cxn>
                  <a:cxn ang="0">
                    <a:pos x="332" y="453"/>
                  </a:cxn>
                  <a:cxn ang="0">
                    <a:pos x="325" y="431"/>
                  </a:cxn>
                  <a:cxn ang="0">
                    <a:pos x="319" y="412"/>
                  </a:cxn>
                  <a:cxn ang="0">
                    <a:pos x="351" y="430"/>
                  </a:cxn>
                  <a:cxn ang="0">
                    <a:pos x="358" y="430"/>
                  </a:cxn>
                  <a:cxn ang="0">
                    <a:pos x="358" y="418"/>
                  </a:cxn>
                  <a:cxn ang="0">
                    <a:pos x="355" y="385"/>
                  </a:cxn>
                  <a:cxn ang="0">
                    <a:pos x="342" y="370"/>
                  </a:cxn>
                  <a:cxn ang="0">
                    <a:pos x="326" y="348"/>
                  </a:cxn>
                  <a:cxn ang="0">
                    <a:pos x="321" y="332"/>
                  </a:cxn>
                  <a:cxn ang="0">
                    <a:pos x="325" y="316"/>
                  </a:cxn>
                  <a:cxn ang="0">
                    <a:pos x="345" y="324"/>
                  </a:cxn>
                  <a:cxn ang="0">
                    <a:pos x="370" y="354"/>
                  </a:cxn>
                  <a:cxn ang="0">
                    <a:pos x="393" y="337"/>
                  </a:cxn>
                  <a:cxn ang="0">
                    <a:pos x="402" y="319"/>
                  </a:cxn>
                  <a:cxn ang="0">
                    <a:pos x="396" y="293"/>
                  </a:cxn>
                  <a:cxn ang="0">
                    <a:pos x="373" y="283"/>
                  </a:cxn>
                  <a:cxn ang="0">
                    <a:pos x="360" y="254"/>
                  </a:cxn>
                  <a:cxn ang="0">
                    <a:pos x="332" y="239"/>
                  </a:cxn>
                  <a:cxn ang="0">
                    <a:pos x="319" y="216"/>
                  </a:cxn>
                  <a:cxn ang="0">
                    <a:pos x="337" y="210"/>
                  </a:cxn>
                  <a:cxn ang="0">
                    <a:pos x="312" y="190"/>
                  </a:cxn>
                  <a:cxn ang="0">
                    <a:pos x="306" y="178"/>
                  </a:cxn>
                  <a:cxn ang="0">
                    <a:pos x="309" y="151"/>
                  </a:cxn>
                  <a:cxn ang="0">
                    <a:pos x="289" y="141"/>
                  </a:cxn>
                  <a:cxn ang="0">
                    <a:pos x="265" y="132"/>
                  </a:cxn>
                  <a:cxn ang="0">
                    <a:pos x="246" y="110"/>
                  </a:cxn>
                  <a:cxn ang="0">
                    <a:pos x="229" y="113"/>
                  </a:cxn>
                  <a:cxn ang="0">
                    <a:pos x="225" y="85"/>
                  </a:cxn>
                  <a:cxn ang="0">
                    <a:pos x="178" y="53"/>
                  </a:cxn>
                  <a:cxn ang="0">
                    <a:pos x="146" y="64"/>
                  </a:cxn>
                  <a:cxn ang="0">
                    <a:pos x="133" y="80"/>
                  </a:cxn>
                  <a:cxn ang="0">
                    <a:pos x="127" y="24"/>
                  </a:cxn>
                  <a:cxn ang="0">
                    <a:pos x="80" y="20"/>
                  </a:cxn>
                  <a:cxn ang="0">
                    <a:pos x="69" y="37"/>
                  </a:cxn>
                  <a:cxn ang="0">
                    <a:pos x="64" y="43"/>
                  </a:cxn>
                  <a:cxn ang="0">
                    <a:pos x="71" y="78"/>
                  </a:cxn>
                  <a:cxn ang="0">
                    <a:pos x="77" y="116"/>
                  </a:cxn>
                  <a:cxn ang="0">
                    <a:pos x="49" y="132"/>
                  </a:cxn>
                  <a:cxn ang="0">
                    <a:pos x="53" y="71"/>
                  </a:cxn>
                  <a:cxn ang="0">
                    <a:pos x="20" y="26"/>
                  </a:cxn>
                  <a:cxn ang="0">
                    <a:pos x="4" y="67"/>
                  </a:cxn>
                  <a:cxn ang="0">
                    <a:pos x="30" y="123"/>
                  </a:cxn>
                  <a:cxn ang="0">
                    <a:pos x="27" y="162"/>
                  </a:cxn>
                  <a:cxn ang="0">
                    <a:pos x="69" y="176"/>
                  </a:cxn>
                  <a:cxn ang="0">
                    <a:pos x="117" y="183"/>
                  </a:cxn>
                  <a:cxn ang="0">
                    <a:pos x="142" y="176"/>
                  </a:cxn>
                  <a:cxn ang="0">
                    <a:pos x="170" y="168"/>
                  </a:cxn>
                  <a:cxn ang="0">
                    <a:pos x="186" y="190"/>
                  </a:cxn>
                  <a:cxn ang="0">
                    <a:pos x="212" y="219"/>
                  </a:cxn>
                  <a:cxn ang="0">
                    <a:pos x="232" y="229"/>
                  </a:cxn>
                  <a:cxn ang="0">
                    <a:pos x="254" y="282"/>
                  </a:cxn>
                  <a:cxn ang="0">
                    <a:pos x="232" y="335"/>
                  </a:cxn>
                  <a:cxn ang="0">
                    <a:pos x="213" y="353"/>
                  </a:cxn>
                  <a:cxn ang="0">
                    <a:pos x="181" y="356"/>
                  </a:cxn>
                  <a:cxn ang="0">
                    <a:pos x="191" y="388"/>
                  </a:cxn>
                  <a:cxn ang="0">
                    <a:pos x="212" y="380"/>
                  </a:cxn>
                  <a:cxn ang="0">
                    <a:pos x="222" y="372"/>
                  </a:cxn>
                  <a:cxn ang="0">
                    <a:pos x="238" y="379"/>
                  </a:cxn>
                  <a:cxn ang="0">
                    <a:pos x="252" y="401"/>
                  </a:cxn>
                  <a:cxn ang="0">
                    <a:pos x="268" y="407"/>
                  </a:cxn>
                </a:cxnLst>
                <a:rect l="0" t="0" r="r" b="b"/>
                <a:pathLst>
                  <a:path w="411" h="462">
                    <a:moveTo>
                      <a:pt x="270" y="427"/>
                    </a:moveTo>
                    <a:lnTo>
                      <a:pt x="278" y="430"/>
                    </a:lnTo>
                    <a:lnTo>
                      <a:pt x="278" y="431"/>
                    </a:lnTo>
                    <a:lnTo>
                      <a:pt x="280" y="431"/>
                    </a:lnTo>
                    <a:lnTo>
                      <a:pt x="283" y="434"/>
                    </a:lnTo>
                    <a:lnTo>
                      <a:pt x="286" y="433"/>
                    </a:lnTo>
                    <a:lnTo>
                      <a:pt x="289" y="428"/>
                    </a:lnTo>
                    <a:lnTo>
                      <a:pt x="289" y="430"/>
                    </a:lnTo>
                    <a:lnTo>
                      <a:pt x="289" y="434"/>
                    </a:lnTo>
                    <a:lnTo>
                      <a:pt x="290" y="434"/>
                    </a:lnTo>
                    <a:lnTo>
                      <a:pt x="292" y="433"/>
                    </a:lnTo>
                    <a:lnTo>
                      <a:pt x="294" y="433"/>
                    </a:lnTo>
                    <a:lnTo>
                      <a:pt x="296" y="433"/>
                    </a:lnTo>
                    <a:lnTo>
                      <a:pt x="294" y="436"/>
                    </a:lnTo>
                    <a:lnTo>
                      <a:pt x="296" y="437"/>
                    </a:lnTo>
                    <a:lnTo>
                      <a:pt x="297" y="437"/>
                    </a:lnTo>
                    <a:lnTo>
                      <a:pt x="299" y="439"/>
                    </a:lnTo>
                    <a:lnTo>
                      <a:pt x="299" y="441"/>
                    </a:lnTo>
                    <a:lnTo>
                      <a:pt x="302" y="444"/>
                    </a:lnTo>
                    <a:lnTo>
                      <a:pt x="305" y="446"/>
                    </a:lnTo>
                    <a:lnTo>
                      <a:pt x="305" y="443"/>
                    </a:lnTo>
                    <a:lnTo>
                      <a:pt x="305" y="446"/>
                    </a:lnTo>
                    <a:lnTo>
                      <a:pt x="307" y="447"/>
                    </a:lnTo>
                    <a:lnTo>
                      <a:pt x="307" y="449"/>
                    </a:lnTo>
                    <a:lnTo>
                      <a:pt x="310" y="450"/>
                    </a:lnTo>
                    <a:lnTo>
                      <a:pt x="313" y="449"/>
                    </a:lnTo>
                    <a:lnTo>
                      <a:pt x="315" y="452"/>
                    </a:lnTo>
                    <a:lnTo>
                      <a:pt x="321" y="452"/>
                    </a:lnTo>
                    <a:lnTo>
                      <a:pt x="322" y="453"/>
                    </a:lnTo>
                    <a:lnTo>
                      <a:pt x="325" y="456"/>
                    </a:lnTo>
                    <a:lnTo>
                      <a:pt x="326" y="456"/>
                    </a:lnTo>
                    <a:lnTo>
                      <a:pt x="329" y="456"/>
                    </a:lnTo>
                    <a:lnTo>
                      <a:pt x="332" y="453"/>
                    </a:lnTo>
                    <a:lnTo>
                      <a:pt x="339" y="462"/>
                    </a:lnTo>
                    <a:lnTo>
                      <a:pt x="344" y="460"/>
                    </a:lnTo>
                    <a:lnTo>
                      <a:pt x="344" y="459"/>
                    </a:lnTo>
                    <a:lnTo>
                      <a:pt x="342" y="456"/>
                    </a:lnTo>
                    <a:lnTo>
                      <a:pt x="342" y="455"/>
                    </a:lnTo>
                    <a:lnTo>
                      <a:pt x="342" y="453"/>
                    </a:lnTo>
                    <a:lnTo>
                      <a:pt x="344" y="450"/>
                    </a:lnTo>
                    <a:lnTo>
                      <a:pt x="342" y="447"/>
                    </a:lnTo>
                    <a:lnTo>
                      <a:pt x="332" y="436"/>
                    </a:lnTo>
                    <a:lnTo>
                      <a:pt x="329" y="436"/>
                    </a:lnTo>
                    <a:lnTo>
                      <a:pt x="325" y="431"/>
                    </a:lnTo>
                    <a:lnTo>
                      <a:pt x="325" y="428"/>
                    </a:lnTo>
                    <a:lnTo>
                      <a:pt x="321" y="427"/>
                    </a:lnTo>
                    <a:lnTo>
                      <a:pt x="321" y="424"/>
                    </a:lnTo>
                    <a:lnTo>
                      <a:pt x="318" y="424"/>
                    </a:lnTo>
                    <a:lnTo>
                      <a:pt x="318" y="421"/>
                    </a:lnTo>
                    <a:lnTo>
                      <a:pt x="316" y="420"/>
                    </a:lnTo>
                    <a:lnTo>
                      <a:pt x="315" y="420"/>
                    </a:lnTo>
                    <a:lnTo>
                      <a:pt x="303" y="404"/>
                    </a:lnTo>
                    <a:lnTo>
                      <a:pt x="306" y="402"/>
                    </a:lnTo>
                    <a:lnTo>
                      <a:pt x="316" y="412"/>
                    </a:lnTo>
                    <a:lnTo>
                      <a:pt x="319" y="412"/>
                    </a:lnTo>
                    <a:lnTo>
                      <a:pt x="319" y="409"/>
                    </a:lnTo>
                    <a:lnTo>
                      <a:pt x="321" y="408"/>
                    </a:lnTo>
                    <a:lnTo>
                      <a:pt x="326" y="418"/>
                    </a:lnTo>
                    <a:lnTo>
                      <a:pt x="329" y="420"/>
                    </a:lnTo>
                    <a:lnTo>
                      <a:pt x="332" y="420"/>
                    </a:lnTo>
                    <a:lnTo>
                      <a:pt x="334" y="425"/>
                    </a:lnTo>
                    <a:lnTo>
                      <a:pt x="342" y="425"/>
                    </a:lnTo>
                    <a:lnTo>
                      <a:pt x="345" y="430"/>
                    </a:lnTo>
                    <a:lnTo>
                      <a:pt x="347" y="427"/>
                    </a:lnTo>
                    <a:lnTo>
                      <a:pt x="348" y="428"/>
                    </a:lnTo>
                    <a:lnTo>
                      <a:pt x="351" y="430"/>
                    </a:lnTo>
                    <a:lnTo>
                      <a:pt x="352" y="427"/>
                    </a:lnTo>
                    <a:lnTo>
                      <a:pt x="352" y="428"/>
                    </a:lnTo>
                    <a:lnTo>
                      <a:pt x="354" y="430"/>
                    </a:lnTo>
                    <a:lnTo>
                      <a:pt x="355" y="433"/>
                    </a:lnTo>
                    <a:lnTo>
                      <a:pt x="357" y="431"/>
                    </a:lnTo>
                    <a:lnTo>
                      <a:pt x="357" y="433"/>
                    </a:lnTo>
                    <a:lnTo>
                      <a:pt x="355" y="437"/>
                    </a:lnTo>
                    <a:lnTo>
                      <a:pt x="360" y="439"/>
                    </a:lnTo>
                    <a:lnTo>
                      <a:pt x="360" y="440"/>
                    </a:lnTo>
                    <a:lnTo>
                      <a:pt x="363" y="440"/>
                    </a:lnTo>
                    <a:lnTo>
                      <a:pt x="358" y="430"/>
                    </a:lnTo>
                    <a:lnTo>
                      <a:pt x="360" y="428"/>
                    </a:lnTo>
                    <a:lnTo>
                      <a:pt x="361" y="428"/>
                    </a:lnTo>
                    <a:lnTo>
                      <a:pt x="364" y="431"/>
                    </a:lnTo>
                    <a:lnTo>
                      <a:pt x="366" y="431"/>
                    </a:lnTo>
                    <a:lnTo>
                      <a:pt x="367" y="430"/>
                    </a:lnTo>
                    <a:lnTo>
                      <a:pt x="367" y="428"/>
                    </a:lnTo>
                    <a:lnTo>
                      <a:pt x="366" y="427"/>
                    </a:lnTo>
                    <a:lnTo>
                      <a:pt x="366" y="427"/>
                    </a:lnTo>
                    <a:lnTo>
                      <a:pt x="364" y="425"/>
                    </a:lnTo>
                    <a:lnTo>
                      <a:pt x="361" y="425"/>
                    </a:lnTo>
                    <a:lnTo>
                      <a:pt x="358" y="418"/>
                    </a:lnTo>
                    <a:lnTo>
                      <a:pt x="360" y="412"/>
                    </a:lnTo>
                    <a:lnTo>
                      <a:pt x="366" y="418"/>
                    </a:lnTo>
                    <a:lnTo>
                      <a:pt x="366" y="417"/>
                    </a:lnTo>
                    <a:lnTo>
                      <a:pt x="364" y="412"/>
                    </a:lnTo>
                    <a:lnTo>
                      <a:pt x="366" y="412"/>
                    </a:lnTo>
                    <a:lnTo>
                      <a:pt x="367" y="404"/>
                    </a:lnTo>
                    <a:lnTo>
                      <a:pt x="366" y="401"/>
                    </a:lnTo>
                    <a:lnTo>
                      <a:pt x="364" y="394"/>
                    </a:lnTo>
                    <a:lnTo>
                      <a:pt x="361" y="394"/>
                    </a:lnTo>
                    <a:lnTo>
                      <a:pt x="355" y="391"/>
                    </a:lnTo>
                    <a:lnTo>
                      <a:pt x="355" y="385"/>
                    </a:lnTo>
                    <a:lnTo>
                      <a:pt x="358" y="385"/>
                    </a:lnTo>
                    <a:lnTo>
                      <a:pt x="360" y="379"/>
                    </a:lnTo>
                    <a:lnTo>
                      <a:pt x="358" y="376"/>
                    </a:lnTo>
                    <a:lnTo>
                      <a:pt x="355" y="376"/>
                    </a:lnTo>
                    <a:lnTo>
                      <a:pt x="355" y="375"/>
                    </a:lnTo>
                    <a:lnTo>
                      <a:pt x="355" y="373"/>
                    </a:lnTo>
                    <a:lnTo>
                      <a:pt x="354" y="372"/>
                    </a:lnTo>
                    <a:lnTo>
                      <a:pt x="350" y="375"/>
                    </a:lnTo>
                    <a:lnTo>
                      <a:pt x="350" y="366"/>
                    </a:lnTo>
                    <a:lnTo>
                      <a:pt x="345" y="366"/>
                    </a:lnTo>
                    <a:lnTo>
                      <a:pt x="342" y="370"/>
                    </a:lnTo>
                    <a:lnTo>
                      <a:pt x="339" y="369"/>
                    </a:lnTo>
                    <a:lnTo>
                      <a:pt x="342" y="364"/>
                    </a:lnTo>
                    <a:lnTo>
                      <a:pt x="341" y="364"/>
                    </a:lnTo>
                    <a:lnTo>
                      <a:pt x="338" y="363"/>
                    </a:lnTo>
                    <a:lnTo>
                      <a:pt x="335" y="364"/>
                    </a:lnTo>
                    <a:lnTo>
                      <a:pt x="335" y="369"/>
                    </a:lnTo>
                    <a:lnTo>
                      <a:pt x="331" y="356"/>
                    </a:lnTo>
                    <a:lnTo>
                      <a:pt x="326" y="354"/>
                    </a:lnTo>
                    <a:lnTo>
                      <a:pt x="326" y="353"/>
                    </a:lnTo>
                    <a:lnTo>
                      <a:pt x="328" y="351"/>
                    </a:lnTo>
                    <a:lnTo>
                      <a:pt x="326" y="348"/>
                    </a:lnTo>
                    <a:lnTo>
                      <a:pt x="328" y="348"/>
                    </a:lnTo>
                    <a:lnTo>
                      <a:pt x="325" y="346"/>
                    </a:lnTo>
                    <a:lnTo>
                      <a:pt x="325" y="344"/>
                    </a:lnTo>
                    <a:lnTo>
                      <a:pt x="326" y="341"/>
                    </a:lnTo>
                    <a:lnTo>
                      <a:pt x="322" y="340"/>
                    </a:lnTo>
                    <a:lnTo>
                      <a:pt x="318" y="343"/>
                    </a:lnTo>
                    <a:lnTo>
                      <a:pt x="318" y="341"/>
                    </a:lnTo>
                    <a:lnTo>
                      <a:pt x="318" y="337"/>
                    </a:lnTo>
                    <a:lnTo>
                      <a:pt x="318" y="332"/>
                    </a:lnTo>
                    <a:lnTo>
                      <a:pt x="319" y="331"/>
                    </a:lnTo>
                    <a:lnTo>
                      <a:pt x="321" y="332"/>
                    </a:lnTo>
                    <a:lnTo>
                      <a:pt x="325" y="330"/>
                    </a:lnTo>
                    <a:lnTo>
                      <a:pt x="328" y="330"/>
                    </a:lnTo>
                    <a:lnTo>
                      <a:pt x="326" y="325"/>
                    </a:lnTo>
                    <a:lnTo>
                      <a:pt x="322" y="321"/>
                    </a:lnTo>
                    <a:lnTo>
                      <a:pt x="318" y="321"/>
                    </a:lnTo>
                    <a:lnTo>
                      <a:pt x="316" y="319"/>
                    </a:lnTo>
                    <a:lnTo>
                      <a:pt x="313" y="314"/>
                    </a:lnTo>
                    <a:lnTo>
                      <a:pt x="319" y="315"/>
                    </a:lnTo>
                    <a:lnTo>
                      <a:pt x="318" y="312"/>
                    </a:lnTo>
                    <a:lnTo>
                      <a:pt x="319" y="311"/>
                    </a:lnTo>
                    <a:lnTo>
                      <a:pt x="325" y="316"/>
                    </a:lnTo>
                    <a:lnTo>
                      <a:pt x="328" y="316"/>
                    </a:lnTo>
                    <a:lnTo>
                      <a:pt x="325" y="312"/>
                    </a:lnTo>
                    <a:lnTo>
                      <a:pt x="328" y="312"/>
                    </a:lnTo>
                    <a:lnTo>
                      <a:pt x="323" y="309"/>
                    </a:lnTo>
                    <a:lnTo>
                      <a:pt x="325" y="306"/>
                    </a:lnTo>
                    <a:lnTo>
                      <a:pt x="328" y="309"/>
                    </a:lnTo>
                    <a:lnTo>
                      <a:pt x="332" y="309"/>
                    </a:lnTo>
                    <a:lnTo>
                      <a:pt x="332" y="314"/>
                    </a:lnTo>
                    <a:lnTo>
                      <a:pt x="331" y="316"/>
                    </a:lnTo>
                    <a:lnTo>
                      <a:pt x="335" y="316"/>
                    </a:lnTo>
                    <a:lnTo>
                      <a:pt x="345" y="324"/>
                    </a:lnTo>
                    <a:lnTo>
                      <a:pt x="347" y="330"/>
                    </a:lnTo>
                    <a:lnTo>
                      <a:pt x="351" y="330"/>
                    </a:lnTo>
                    <a:lnTo>
                      <a:pt x="354" y="328"/>
                    </a:lnTo>
                    <a:lnTo>
                      <a:pt x="352" y="332"/>
                    </a:lnTo>
                    <a:lnTo>
                      <a:pt x="355" y="341"/>
                    </a:lnTo>
                    <a:lnTo>
                      <a:pt x="360" y="347"/>
                    </a:lnTo>
                    <a:lnTo>
                      <a:pt x="364" y="346"/>
                    </a:lnTo>
                    <a:lnTo>
                      <a:pt x="364" y="348"/>
                    </a:lnTo>
                    <a:lnTo>
                      <a:pt x="363" y="351"/>
                    </a:lnTo>
                    <a:lnTo>
                      <a:pt x="366" y="356"/>
                    </a:lnTo>
                    <a:lnTo>
                      <a:pt x="370" y="354"/>
                    </a:lnTo>
                    <a:lnTo>
                      <a:pt x="371" y="360"/>
                    </a:lnTo>
                    <a:lnTo>
                      <a:pt x="374" y="357"/>
                    </a:lnTo>
                    <a:lnTo>
                      <a:pt x="377" y="364"/>
                    </a:lnTo>
                    <a:lnTo>
                      <a:pt x="379" y="366"/>
                    </a:lnTo>
                    <a:lnTo>
                      <a:pt x="382" y="353"/>
                    </a:lnTo>
                    <a:lnTo>
                      <a:pt x="384" y="351"/>
                    </a:lnTo>
                    <a:lnTo>
                      <a:pt x="382" y="340"/>
                    </a:lnTo>
                    <a:lnTo>
                      <a:pt x="382" y="337"/>
                    </a:lnTo>
                    <a:lnTo>
                      <a:pt x="387" y="341"/>
                    </a:lnTo>
                    <a:lnTo>
                      <a:pt x="392" y="343"/>
                    </a:lnTo>
                    <a:lnTo>
                      <a:pt x="393" y="337"/>
                    </a:lnTo>
                    <a:lnTo>
                      <a:pt x="396" y="335"/>
                    </a:lnTo>
                    <a:lnTo>
                      <a:pt x="396" y="328"/>
                    </a:lnTo>
                    <a:lnTo>
                      <a:pt x="400" y="327"/>
                    </a:lnTo>
                    <a:lnTo>
                      <a:pt x="399" y="324"/>
                    </a:lnTo>
                    <a:lnTo>
                      <a:pt x="393" y="325"/>
                    </a:lnTo>
                    <a:lnTo>
                      <a:pt x="393" y="321"/>
                    </a:lnTo>
                    <a:lnTo>
                      <a:pt x="396" y="322"/>
                    </a:lnTo>
                    <a:lnTo>
                      <a:pt x="397" y="318"/>
                    </a:lnTo>
                    <a:lnTo>
                      <a:pt x="393" y="316"/>
                    </a:lnTo>
                    <a:lnTo>
                      <a:pt x="396" y="315"/>
                    </a:lnTo>
                    <a:lnTo>
                      <a:pt x="402" y="319"/>
                    </a:lnTo>
                    <a:lnTo>
                      <a:pt x="406" y="319"/>
                    </a:lnTo>
                    <a:lnTo>
                      <a:pt x="408" y="316"/>
                    </a:lnTo>
                    <a:lnTo>
                      <a:pt x="405" y="314"/>
                    </a:lnTo>
                    <a:lnTo>
                      <a:pt x="406" y="309"/>
                    </a:lnTo>
                    <a:lnTo>
                      <a:pt x="409" y="309"/>
                    </a:lnTo>
                    <a:lnTo>
                      <a:pt x="411" y="306"/>
                    </a:lnTo>
                    <a:lnTo>
                      <a:pt x="409" y="302"/>
                    </a:lnTo>
                    <a:lnTo>
                      <a:pt x="403" y="296"/>
                    </a:lnTo>
                    <a:lnTo>
                      <a:pt x="400" y="295"/>
                    </a:lnTo>
                    <a:lnTo>
                      <a:pt x="399" y="293"/>
                    </a:lnTo>
                    <a:lnTo>
                      <a:pt x="396" y="293"/>
                    </a:lnTo>
                    <a:lnTo>
                      <a:pt x="393" y="293"/>
                    </a:lnTo>
                    <a:lnTo>
                      <a:pt x="389" y="293"/>
                    </a:lnTo>
                    <a:lnTo>
                      <a:pt x="383" y="296"/>
                    </a:lnTo>
                    <a:lnTo>
                      <a:pt x="384" y="289"/>
                    </a:lnTo>
                    <a:lnTo>
                      <a:pt x="387" y="285"/>
                    </a:lnTo>
                    <a:lnTo>
                      <a:pt x="387" y="282"/>
                    </a:lnTo>
                    <a:lnTo>
                      <a:pt x="384" y="282"/>
                    </a:lnTo>
                    <a:lnTo>
                      <a:pt x="382" y="283"/>
                    </a:lnTo>
                    <a:lnTo>
                      <a:pt x="374" y="285"/>
                    </a:lnTo>
                    <a:lnTo>
                      <a:pt x="370" y="285"/>
                    </a:lnTo>
                    <a:lnTo>
                      <a:pt x="373" y="283"/>
                    </a:lnTo>
                    <a:lnTo>
                      <a:pt x="370" y="282"/>
                    </a:lnTo>
                    <a:lnTo>
                      <a:pt x="371" y="280"/>
                    </a:lnTo>
                    <a:lnTo>
                      <a:pt x="374" y="280"/>
                    </a:lnTo>
                    <a:lnTo>
                      <a:pt x="374" y="277"/>
                    </a:lnTo>
                    <a:lnTo>
                      <a:pt x="368" y="264"/>
                    </a:lnTo>
                    <a:lnTo>
                      <a:pt x="364" y="261"/>
                    </a:lnTo>
                    <a:lnTo>
                      <a:pt x="358" y="263"/>
                    </a:lnTo>
                    <a:lnTo>
                      <a:pt x="357" y="261"/>
                    </a:lnTo>
                    <a:lnTo>
                      <a:pt x="358" y="258"/>
                    </a:lnTo>
                    <a:lnTo>
                      <a:pt x="358" y="257"/>
                    </a:lnTo>
                    <a:lnTo>
                      <a:pt x="360" y="254"/>
                    </a:lnTo>
                    <a:lnTo>
                      <a:pt x="348" y="255"/>
                    </a:lnTo>
                    <a:lnTo>
                      <a:pt x="345" y="260"/>
                    </a:lnTo>
                    <a:lnTo>
                      <a:pt x="344" y="255"/>
                    </a:lnTo>
                    <a:lnTo>
                      <a:pt x="341" y="255"/>
                    </a:lnTo>
                    <a:lnTo>
                      <a:pt x="341" y="253"/>
                    </a:lnTo>
                    <a:lnTo>
                      <a:pt x="344" y="251"/>
                    </a:lnTo>
                    <a:lnTo>
                      <a:pt x="342" y="247"/>
                    </a:lnTo>
                    <a:lnTo>
                      <a:pt x="334" y="248"/>
                    </a:lnTo>
                    <a:lnTo>
                      <a:pt x="332" y="247"/>
                    </a:lnTo>
                    <a:lnTo>
                      <a:pt x="335" y="241"/>
                    </a:lnTo>
                    <a:lnTo>
                      <a:pt x="332" y="239"/>
                    </a:lnTo>
                    <a:lnTo>
                      <a:pt x="313" y="234"/>
                    </a:lnTo>
                    <a:lnTo>
                      <a:pt x="312" y="231"/>
                    </a:lnTo>
                    <a:lnTo>
                      <a:pt x="316" y="231"/>
                    </a:lnTo>
                    <a:lnTo>
                      <a:pt x="316" y="229"/>
                    </a:lnTo>
                    <a:lnTo>
                      <a:pt x="321" y="228"/>
                    </a:lnTo>
                    <a:lnTo>
                      <a:pt x="318" y="226"/>
                    </a:lnTo>
                    <a:lnTo>
                      <a:pt x="319" y="225"/>
                    </a:lnTo>
                    <a:lnTo>
                      <a:pt x="313" y="221"/>
                    </a:lnTo>
                    <a:lnTo>
                      <a:pt x="315" y="218"/>
                    </a:lnTo>
                    <a:lnTo>
                      <a:pt x="319" y="218"/>
                    </a:lnTo>
                    <a:lnTo>
                      <a:pt x="319" y="216"/>
                    </a:lnTo>
                    <a:lnTo>
                      <a:pt x="312" y="210"/>
                    </a:lnTo>
                    <a:lnTo>
                      <a:pt x="309" y="210"/>
                    </a:lnTo>
                    <a:lnTo>
                      <a:pt x="309" y="209"/>
                    </a:lnTo>
                    <a:lnTo>
                      <a:pt x="312" y="208"/>
                    </a:lnTo>
                    <a:lnTo>
                      <a:pt x="313" y="209"/>
                    </a:lnTo>
                    <a:lnTo>
                      <a:pt x="316" y="208"/>
                    </a:lnTo>
                    <a:lnTo>
                      <a:pt x="315" y="205"/>
                    </a:lnTo>
                    <a:lnTo>
                      <a:pt x="323" y="210"/>
                    </a:lnTo>
                    <a:lnTo>
                      <a:pt x="328" y="210"/>
                    </a:lnTo>
                    <a:lnTo>
                      <a:pt x="332" y="209"/>
                    </a:lnTo>
                    <a:lnTo>
                      <a:pt x="337" y="210"/>
                    </a:lnTo>
                    <a:lnTo>
                      <a:pt x="338" y="208"/>
                    </a:lnTo>
                    <a:lnTo>
                      <a:pt x="338" y="205"/>
                    </a:lnTo>
                    <a:lnTo>
                      <a:pt x="329" y="199"/>
                    </a:lnTo>
                    <a:lnTo>
                      <a:pt x="319" y="199"/>
                    </a:lnTo>
                    <a:lnTo>
                      <a:pt x="315" y="196"/>
                    </a:lnTo>
                    <a:lnTo>
                      <a:pt x="313" y="199"/>
                    </a:lnTo>
                    <a:lnTo>
                      <a:pt x="309" y="194"/>
                    </a:lnTo>
                    <a:lnTo>
                      <a:pt x="306" y="193"/>
                    </a:lnTo>
                    <a:lnTo>
                      <a:pt x="305" y="194"/>
                    </a:lnTo>
                    <a:lnTo>
                      <a:pt x="307" y="190"/>
                    </a:lnTo>
                    <a:lnTo>
                      <a:pt x="312" y="190"/>
                    </a:lnTo>
                    <a:lnTo>
                      <a:pt x="316" y="189"/>
                    </a:lnTo>
                    <a:lnTo>
                      <a:pt x="318" y="186"/>
                    </a:lnTo>
                    <a:lnTo>
                      <a:pt x="322" y="184"/>
                    </a:lnTo>
                    <a:lnTo>
                      <a:pt x="326" y="187"/>
                    </a:lnTo>
                    <a:lnTo>
                      <a:pt x="329" y="183"/>
                    </a:lnTo>
                    <a:lnTo>
                      <a:pt x="319" y="165"/>
                    </a:lnTo>
                    <a:lnTo>
                      <a:pt x="313" y="164"/>
                    </a:lnTo>
                    <a:lnTo>
                      <a:pt x="312" y="167"/>
                    </a:lnTo>
                    <a:lnTo>
                      <a:pt x="312" y="171"/>
                    </a:lnTo>
                    <a:lnTo>
                      <a:pt x="307" y="174"/>
                    </a:lnTo>
                    <a:lnTo>
                      <a:pt x="306" y="178"/>
                    </a:lnTo>
                    <a:lnTo>
                      <a:pt x="302" y="177"/>
                    </a:lnTo>
                    <a:lnTo>
                      <a:pt x="306" y="171"/>
                    </a:lnTo>
                    <a:lnTo>
                      <a:pt x="306" y="168"/>
                    </a:lnTo>
                    <a:lnTo>
                      <a:pt x="297" y="168"/>
                    </a:lnTo>
                    <a:lnTo>
                      <a:pt x="293" y="171"/>
                    </a:lnTo>
                    <a:lnTo>
                      <a:pt x="293" y="168"/>
                    </a:lnTo>
                    <a:lnTo>
                      <a:pt x="296" y="165"/>
                    </a:lnTo>
                    <a:lnTo>
                      <a:pt x="305" y="162"/>
                    </a:lnTo>
                    <a:lnTo>
                      <a:pt x="306" y="157"/>
                    </a:lnTo>
                    <a:lnTo>
                      <a:pt x="309" y="160"/>
                    </a:lnTo>
                    <a:lnTo>
                      <a:pt x="309" y="151"/>
                    </a:lnTo>
                    <a:lnTo>
                      <a:pt x="300" y="148"/>
                    </a:lnTo>
                    <a:lnTo>
                      <a:pt x="297" y="145"/>
                    </a:lnTo>
                    <a:lnTo>
                      <a:pt x="294" y="144"/>
                    </a:lnTo>
                    <a:lnTo>
                      <a:pt x="289" y="145"/>
                    </a:lnTo>
                    <a:lnTo>
                      <a:pt x="286" y="149"/>
                    </a:lnTo>
                    <a:lnTo>
                      <a:pt x="284" y="151"/>
                    </a:lnTo>
                    <a:lnTo>
                      <a:pt x="281" y="155"/>
                    </a:lnTo>
                    <a:lnTo>
                      <a:pt x="281" y="152"/>
                    </a:lnTo>
                    <a:lnTo>
                      <a:pt x="283" y="149"/>
                    </a:lnTo>
                    <a:lnTo>
                      <a:pt x="286" y="145"/>
                    </a:lnTo>
                    <a:lnTo>
                      <a:pt x="289" y="141"/>
                    </a:lnTo>
                    <a:lnTo>
                      <a:pt x="286" y="141"/>
                    </a:lnTo>
                    <a:lnTo>
                      <a:pt x="283" y="144"/>
                    </a:lnTo>
                    <a:lnTo>
                      <a:pt x="280" y="145"/>
                    </a:lnTo>
                    <a:lnTo>
                      <a:pt x="276" y="148"/>
                    </a:lnTo>
                    <a:lnTo>
                      <a:pt x="276" y="146"/>
                    </a:lnTo>
                    <a:lnTo>
                      <a:pt x="280" y="136"/>
                    </a:lnTo>
                    <a:lnTo>
                      <a:pt x="278" y="132"/>
                    </a:lnTo>
                    <a:lnTo>
                      <a:pt x="276" y="130"/>
                    </a:lnTo>
                    <a:lnTo>
                      <a:pt x="271" y="135"/>
                    </a:lnTo>
                    <a:lnTo>
                      <a:pt x="267" y="135"/>
                    </a:lnTo>
                    <a:lnTo>
                      <a:pt x="265" y="132"/>
                    </a:lnTo>
                    <a:lnTo>
                      <a:pt x="257" y="130"/>
                    </a:lnTo>
                    <a:lnTo>
                      <a:pt x="264" y="129"/>
                    </a:lnTo>
                    <a:lnTo>
                      <a:pt x="268" y="129"/>
                    </a:lnTo>
                    <a:lnTo>
                      <a:pt x="273" y="123"/>
                    </a:lnTo>
                    <a:lnTo>
                      <a:pt x="271" y="117"/>
                    </a:lnTo>
                    <a:lnTo>
                      <a:pt x="267" y="112"/>
                    </a:lnTo>
                    <a:lnTo>
                      <a:pt x="257" y="106"/>
                    </a:lnTo>
                    <a:lnTo>
                      <a:pt x="251" y="101"/>
                    </a:lnTo>
                    <a:lnTo>
                      <a:pt x="251" y="101"/>
                    </a:lnTo>
                    <a:lnTo>
                      <a:pt x="249" y="106"/>
                    </a:lnTo>
                    <a:lnTo>
                      <a:pt x="246" y="110"/>
                    </a:lnTo>
                    <a:lnTo>
                      <a:pt x="244" y="109"/>
                    </a:lnTo>
                    <a:lnTo>
                      <a:pt x="239" y="109"/>
                    </a:lnTo>
                    <a:lnTo>
                      <a:pt x="241" y="117"/>
                    </a:lnTo>
                    <a:lnTo>
                      <a:pt x="241" y="120"/>
                    </a:lnTo>
                    <a:lnTo>
                      <a:pt x="241" y="117"/>
                    </a:lnTo>
                    <a:lnTo>
                      <a:pt x="238" y="119"/>
                    </a:lnTo>
                    <a:lnTo>
                      <a:pt x="238" y="116"/>
                    </a:lnTo>
                    <a:lnTo>
                      <a:pt x="235" y="114"/>
                    </a:lnTo>
                    <a:lnTo>
                      <a:pt x="236" y="109"/>
                    </a:lnTo>
                    <a:lnTo>
                      <a:pt x="233" y="107"/>
                    </a:lnTo>
                    <a:lnTo>
                      <a:pt x="229" y="113"/>
                    </a:lnTo>
                    <a:lnTo>
                      <a:pt x="238" y="99"/>
                    </a:lnTo>
                    <a:lnTo>
                      <a:pt x="236" y="97"/>
                    </a:lnTo>
                    <a:lnTo>
                      <a:pt x="229" y="100"/>
                    </a:lnTo>
                    <a:lnTo>
                      <a:pt x="225" y="99"/>
                    </a:lnTo>
                    <a:lnTo>
                      <a:pt x="222" y="104"/>
                    </a:lnTo>
                    <a:lnTo>
                      <a:pt x="219" y="106"/>
                    </a:lnTo>
                    <a:lnTo>
                      <a:pt x="219" y="101"/>
                    </a:lnTo>
                    <a:lnTo>
                      <a:pt x="216" y="103"/>
                    </a:lnTo>
                    <a:lnTo>
                      <a:pt x="225" y="96"/>
                    </a:lnTo>
                    <a:lnTo>
                      <a:pt x="226" y="93"/>
                    </a:lnTo>
                    <a:lnTo>
                      <a:pt x="225" y="85"/>
                    </a:lnTo>
                    <a:lnTo>
                      <a:pt x="220" y="84"/>
                    </a:lnTo>
                    <a:lnTo>
                      <a:pt x="215" y="84"/>
                    </a:lnTo>
                    <a:lnTo>
                      <a:pt x="213" y="83"/>
                    </a:lnTo>
                    <a:lnTo>
                      <a:pt x="216" y="78"/>
                    </a:lnTo>
                    <a:lnTo>
                      <a:pt x="213" y="68"/>
                    </a:lnTo>
                    <a:lnTo>
                      <a:pt x="210" y="67"/>
                    </a:lnTo>
                    <a:lnTo>
                      <a:pt x="212" y="64"/>
                    </a:lnTo>
                    <a:lnTo>
                      <a:pt x="206" y="62"/>
                    </a:lnTo>
                    <a:lnTo>
                      <a:pt x="200" y="61"/>
                    </a:lnTo>
                    <a:lnTo>
                      <a:pt x="186" y="53"/>
                    </a:lnTo>
                    <a:lnTo>
                      <a:pt x="178" y="53"/>
                    </a:lnTo>
                    <a:lnTo>
                      <a:pt x="171" y="56"/>
                    </a:lnTo>
                    <a:lnTo>
                      <a:pt x="164" y="62"/>
                    </a:lnTo>
                    <a:lnTo>
                      <a:pt x="164" y="68"/>
                    </a:lnTo>
                    <a:lnTo>
                      <a:pt x="168" y="72"/>
                    </a:lnTo>
                    <a:lnTo>
                      <a:pt x="165" y="74"/>
                    </a:lnTo>
                    <a:lnTo>
                      <a:pt x="161" y="74"/>
                    </a:lnTo>
                    <a:lnTo>
                      <a:pt x="158" y="77"/>
                    </a:lnTo>
                    <a:lnTo>
                      <a:pt x="154" y="71"/>
                    </a:lnTo>
                    <a:lnTo>
                      <a:pt x="149" y="74"/>
                    </a:lnTo>
                    <a:lnTo>
                      <a:pt x="148" y="72"/>
                    </a:lnTo>
                    <a:lnTo>
                      <a:pt x="146" y="64"/>
                    </a:lnTo>
                    <a:lnTo>
                      <a:pt x="142" y="78"/>
                    </a:lnTo>
                    <a:lnTo>
                      <a:pt x="139" y="78"/>
                    </a:lnTo>
                    <a:lnTo>
                      <a:pt x="139" y="83"/>
                    </a:lnTo>
                    <a:lnTo>
                      <a:pt x="135" y="88"/>
                    </a:lnTo>
                    <a:lnTo>
                      <a:pt x="130" y="93"/>
                    </a:lnTo>
                    <a:lnTo>
                      <a:pt x="132" y="90"/>
                    </a:lnTo>
                    <a:lnTo>
                      <a:pt x="130" y="87"/>
                    </a:lnTo>
                    <a:lnTo>
                      <a:pt x="130" y="84"/>
                    </a:lnTo>
                    <a:lnTo>
                      <a:pt x="135" y="84"/>
                    </a:lnTo>
                    <a:lnTo>
                      <a:pt x="135" y="84"/>
                    </a:lnTo>
                    <a:lnTo>
                      <a:pt x="133" y="80"/>
                    </a:lnTo>
                    <a:lnTo>
                      <a:pt x="132" y="81"/>
                    </a:lnTo>
                    <a:lnTo>
                      <a:pt x="139" y="53"/>
                    </a:lnTo>
                    <a:lnTo>
                      <a:pt x="135" y="51"/>
                    </a:lnTo>
                    <a:lnTo>
                      <a:pt x="133" y="45"/>
                    </a:lnTo>
                    <a:lnTo>
                      <a:pt x="132" y="43"/>
                    </a:lnTo>
                    <a:lnTo>
                      <a:pt x="135" y="40"/>
                    </a:lnTo>
                    <a:lnTo>
                      <a:pt x="135" y="37"/>
                    </a:lnTo>
                    <a:lnTo>
                      <a:pt x="133" y="35"/>
                    </a:lnTo>
                    <a:lnTo>
                      <a:pt x="129" y="32"/>
                    </a:lnTo>
                    <a:lnTo>
                      <a:pt x="123" y="29"/>
                    </a:lnTo>
                    <a:lnTo>
                      <a:pt x="127" y="24"/>
                    </a:lnTo>
                    <a:lnTo>
                      <a:pt x="126" y="11"/>
                    </a:lnTo>
                    <a:lnTo>
                      <a:pt x="123" y="6"/>
                    </a:lnTo>
                    <a:lnTo>
                      <a:pt x="104" y="6"/>
                    </a:lnTo>
                    <a:lnTo>
                      <a:pt x="101" y="8"/>
                    </a:lnTo>
                    <a:lnTo>
                      <a:pt x="98" y="8"/>
                    </a:lnTo>
                    <a:lnTo>
                      <a:pt x="88" y="17"/>
                    </a:lnTo>
                    <a:lnTo>
                      <a:pt x="93" y="21"/>
                    </a:lnTo>
                    <a:lnTo>
                      <a:pt x="91" y="26"/>
                    </a:lnTo>
                    <a:lnTo>
                      <a:pt x="88" y="20"/>
                    </a:lnTo>
                    <a:lnTo>
                      <a:pt x="85" y="19"/>
                    </a:lnTo>
                    <a:lnTo>
                      <a:pt x="80" y="20"/>
                    </a:lnTo>
                    <a:lnTo>
                      <a:pt x="80" y="23"/>
                    </a:lnTo>
                    <a:lnTo>
                      <a:pt x="82" y="30"/>
                    </a:lnTo>
                    <a:lnTo>
                      <a:pt x="80" y="29"/>
                    </a:lnTo>
                    <a:lnTo>
                      <a:pt x="75" y="23"/>
                    </a:lnTo>
                    <a:lnTo>
                      <a:pt x="72" y="24"/>
                    </a:lnTo>
                    <a:lnTo>
                      <a:pt x="71" y="29"/>
                    </a:lnTo>
                    <a:lnTo>
                      <a:pt x="74" y="33"/>
                    </a:lnTo>
                    <a:lnTo>
                      <a:pt x="90" y="39"/>
                    </a:lnTo>
                    <a:lnTo>
                      <a:pt x="88" y="40"/>
                    </a:lnTo>
                    <a:lnTo>
                      <a:pt x="69" y="35"/>
                    </a:lnTo>
                    <a:lnTo>
                      <a:pt x="69" y="37"/>
                    </a:lnTo>
                    <a:lnTo>
                      <a:pt x="66" y="36"/>
                    </a:lnTo>
                    <a:lnTo>
                      <a:pt x="65" y="37"/>
                    </a:lnTo>
                    <a:lnTo>
                      <a:pt x="68" y="40"/>
                    </a:lnTo>
                    <a:lnTo>
                      <a:pt x="72" y="40"/>
                    </a:lnTo>
                    <a:lnTo>
                      <a:pt x="77" y="45"/>
                    </a:lnTo>
                    <a:lnTo>
                      <a:pt x="81" y="48"/>
                    </a:lnTo>
                    <a:lnTo>
                      <a:pt x="87" y="52"/>
                    </a:lnTo>
                    <a:lnTo>
                      <a:pt x="84" y="53"/>
                    </a:lnTo>
                    <a:lnTo>
                      <a:pt x="72" y="45"/>
                    </a:lnTo>
                    <a:lnTo>
                      <a:pt x="66" y="43"/>
                    </a:lnTo>
                    <a:lnTo>
                      <a:pt x="64" y="43"/>
                    </a:lnTo>
                    <a:lnTo>
                      <a:pt x="62" y="46"/>
                    </a:lnTo>
                    <a:lnTo>
                      <a:pt x="62" y="53"/>
                    </a:lnTo>
                    <a:lnTo>
                      <a:pt x="65" y="61"/>
                    </a:lnTo>
                    <a:lnTo>
                      <a:pt x="64" y="64"/>
                    </a:lnTo>
                    <a:lnTo>
                      <a:pt x="65" y="68"/>
                    </a:lnTo>
                    <a:lnTo>
                      <a:pt x="71" y="71"/>
                    </a:lnTo>
                    <a:lnTo>
                      <a:pt x="72" y="71"/>
                    </a:lnTo>
                    <a:lnTo>
                      <a:pt x="74" y="69"/>
                    </a:lnTo>
                    <a:lnTo>
                      <a:pt x="75" y="71"/>
                    </a:lnTo>
                    <a:lnTo>
                      <a:pt x="74" y="75"/>
                    </a:lnTo>
                    <a:lnTo>
                      <a:pt x="71" y="78"/>
                    </a:lnTo>
                    <a:lnTo>
                      <a:pt x="66" y="77"/>
                    </a:lnTo>
                    <a:lnTo>
                      <a:pt x="65" y="84"/>
                    </a:lnTo>
                    <a:lnTo>
                      <a:pt x="59" y="88"/>
                    </a:lnTo>
                    <a:lnTo>
                      <a:pt x="59" y="91"/>
                    </a:lnTo>
                    <a:lnTo>
                      <a:pt x="64" y="94"/>
                    </a:lnTo>
                    <a:lnTo>
                      <a:pt x="64" y="99"/>
                    </a:lnTo>
                    <a:lnTo>
                      <a:pt x="68" y="103"/>
                    </a:lnTo>
                    <a:lnTo>
                      <a:pt x="74" y="104"/>
                    </a:lnTo>
                    <a:lnTo>
                      <a:pt x="77" y="104"/>
                    </a:lnTo>
                    <a:lnTo>
                      <a:pt x="78" y="109"/>
                    </a:lnTo>
                    <a:lnTo>
                      <a:pt x="77" y="116"/>
                    </a:lnTo>
                    <a:lnTo>
                      <a:pt x="75" y="117"/>
                    </a:lnTo>
                    <a:lnTo>
                      <a:pt x="75" y="130"/>
                    </a:lnTo>
                    <a:lnTo>
                      <a:pt x="74" y="136"/>
                    </a:lnTo>
                    <a:lnTo>
                      <a:pt x="72" y="133"/>
                    </a:lnTo>
                    <a:lnTo>
                      <a:pt x="74" y="126"/>
                    </a:lnTo>
                    <a:lnTo>
                      <a:pt x="72" y="125"/>
                    </a:lnTo>
                    <a:lnTo>
                      <a:pt x="71" y="126"/>
                    </a:lnTo>
                    <a:lnTo>
                      <a:pt x="66" y="126"/>
                    </a:lnTo>
                    <a:lnTo>
                      <a:pt x="59" y="129"/>
                    </a:lnTo>
                    <a:lnTo>
                      <a:pt x="53" y="133"/>
                    </a:lnTo>
                    <a:lnTo>
                      <a:pt x="49" y="132"/>
                    </a:lnTo>
                    <a:lnTo>
                      <a:pt x="59" y="125"/>
                    </a:lnTo>
                    <a:lnTo>
                      <a:pt x="66" y="123"/>
                    </a:lnTo>
                    <a:lnTo>
                      <a:pt x="66" y="122"/>
                    </a:lnTo>
                    <a:lnTo>
                      <a:pt x="69" y="120"/>
                    </a:lnTo>
                    <a:lnTo>
                      <a:pt x="74" y="120"/>
                    </a:lnTo>
                    <a:lnTo>
                      <a:pt x="72" y="114"/>
                    </a:lnTo>
                    <a:lnTo>
                      <a:pt x="71" y="113"/>
                    </a:lnTo>
                    <a:lnTo>
                      <a:pt x="66" y="112"/>
                    </a:lnTo>
                    <a:lnTo>
                      <a:pt x="53" y="93"/>
                    </a:lnTo>
                    <a:lnTo>
                      <a:pt x="52" y="85"/>
                    </a:lnTo>
                    <a:lnTo>
                      <a:pt x="53" y="71"/>
                    </a:lnTo>
                    <a:lnTo>
                      <a:pt x="49" y="59"/>
                    </a:lnTo>
                    <a:lnTo>
                      <a:pt x="49" y="51"/>
                    </a:lnTo>
                    <a:lnTo>
                      <a:pt x="53" y="39"/>
                    </a:lnTo>
                    <a:lnTo>
                      <a:pt x="55" y="32"/>
                    </a:lnTo>
                    <a:lnTo>
                      <a:pt x="74" y="6"/>
                    </a:lnTo>
                    <a:lnTo>
                      <a:pt x="74" y="4"/>
                    </a:lnTo>
                    <a:lnTo>
                      <a:pt x="71" y="1"/>
                    </a:lnTo>
                    <a:lnTo>
                      <a:pt x="50" y="0"/>
                    </a:lnTo>
                    <a:lnTo>
                      <a:pt x="30" y="10"/>
                    </a:lnTo>
                    <a:lnTo>
                      <a:pt x="21" y="19"/>
                    </a:lnTo>
                    <a:lnTo>
                      <a:pt x="20" y="26"/>
                    </a:lnTo>
                    <a:lnTo>
                      <a:pt x="16" y="30"/>
                    </a:lnTo>
                    <a:lnTo>
                      <a:pt x="14" y="32"/>
                    </a:lnTo>
                    <a:lnTo>
                      <a:pt x="11" y="37"/>
                    </a:lnTo>
                    <a:lnTo>
                      <a:pt x="14" y="42"/>
                    </a:lnTo>
                    <a:lnTo>
                      <a:pt x="10" y="45"/>
                    </a:lnTo>
                    <a:lnTo>
                      <a:pt x="10" y="51"/>
                    </a:lnTo>
                    <a:lnTo>
                      <a:pt x="13" y="52"/>
                    </a:lnTo>
                    <a:lnTo>
                      <a:pt x="8" y="52"/>
                    </a:lnTo>
                    <a:lnTo>
                      <a:pt x="7" y="59"/>
                    </a:lnTo>
                    <a:lnTo>
                      <a:pt x="4" y="61"/>
                    </a:lnTo>
                    <a:lnTo>
                      <a:pt x="4" y="67"/>
                    </a:lnTo>
                    <a:lnTo>
                      <a:pt x="3" y="71"/>
                    </a:lnTo>
                    <a:lnTo>
                      <a:pt x="4" y="80"/>
                    </a:lnTo>
                    <a:lnTo>
                      <a:pt x="7" y="80"/>
                    </a:lnTo>
                    <a:lnTo>
                      <a:pt x="4" y="81"/>
                    </a:lnTo>
                    <a:lnTo>
                      <a:pt x="3" y="85"/>
                    </a:lnTo>
                    <a:lnTo>
                      <a:pt x="0" y="90"/>
                    </a:lnTo>
                    <a:lnTo>
                      <a:pt x="4" y="99"/>
                    </a:lnTo>
                    <a:lnTo>
                      <a:pt x="1" y="103"/>
                    </a:lnTo>
                    <a:lnTo>
                      <a:pt x="1" y="114"/>
                    </a:lnTo>
                    <a:lnTo>
                      <a:pt x="4" y="119"/>
                    </a:lnTo>
                    <a:lnTo>
                      <a:pt x="30" y="123"/>
                    </a:lnTo>
                    <a:lnTo>
                      <a:pt x="37" y="130"/>
                    </a:lnTo>
                    <a:lnTo>
                      <a:pt x="42" y="133"/>
                    </a:lnTo>
                    <a:lnTo>
                      <a:pt x="35" y="136"/>
                    </a:lnTo>
                    <a:lnTo>
                      <a:pt x="27" y="136"/>
                    </a:lnTo>
                    <a:lnTo>
                      <a:pt x="20" y="132"/>
                    </a:lnTo>
                    <a:lnTo>
                      <a:pt x="10" y="130"/>
                    </a:lnTo>
                    <a:lnTo>
                      <a:pt x="13" y="133"/>
                    </a:lnTo>
                    <a:lnTo>
                      <a:pt x="10" y="138"/>
                    </a:lnTo>
                    <a:lnTo>
                      <a:pt x="21" y="155"/>
                    </a:lnTo>
                    <a:lnTo>
                      <a:pt x="32" y="161"/>
                    </a:lnTo>
                    <a:lnTo>
                      <a:pt x="27" y="162"/>
                    </a:lnTo>
                    <a:lnTo>
                      <a:pt x="33" y="164"/>
                    </a:lnTo>
                    <a:lnTo>
                      <a:pt x="33" y="162"/>
                    </a:lnTo>
                    <a:lnTo>
                      <a:pt x="37" y="162"/>
                    </a:lnTo>
                    <a:lnTo>
                      <a:pt x="43" y="164"/>
                    </a:lnTo>
                    <a:lnTo>
                      <a:pt x="49" y="162"/>
                    </a:lnTo>
                    <a:lnTo>
                      <a:pt x="50" y="157"/>
                    </a:lnTo>
                    <a:lnTo>
                      <a:pt x="52" y="164"/>
                    </a:lnTo>
                    <a:lnTo>
                      <a:pt x="55" y="170"/>
                    </a:lnTo>
                    <a:lnTo>
                      <a:pt x="59" y="174"/>
                    </a:lnTo>
                    <a:lnTo>
                      <a:pt x="66" y="176"/>
                    </a:lnTo>
                    <a:lnTo>
                      <a:pt x="69" y="176"/>
                    </a:lnTo>
                    <a:lnTo>
                      <a:pt x="65" y="174"/>
                    </a:lnTo>
                    <a:lnTo>
                      <a:pt x="69" y="173"/>
                    </a:lnTo>
                    <a:lnTo>
                      <a:pt x="94" y="180"/>
                    </a:lnTo>
                    <a:lnTo>
                      <a:pt x="94" y="178"/>
                    </a:lnTo>
                    <a:lnTo>
                      <a:pt x="100" y="176"/>
                    </a:lnTo>
                    <a:lnTo>
                      <a:pt x="109" y="181"/>
                    </a:lnTo>
                    <a:lnTo>
                      <a:pt x="113" y="181"/>
                    </a:lnTo>
                    <a:lnTo>
                      <a:pt x="114" y="183"/>
                    </a:lnTo>
                    <a:lnTo>
                      <a:pt x="114" y="181"/>
                    </a:lnTo>
                    <a:lnTo>
                      <a:pt x="114" y="181"/>
                    </a:lnTo>
                    <a:lnTo>
                      <a:pt x="117" y="183"/>
                    </a:lnTo>
                    <a:lnTo>
                      <a:pt x="119" y="180"/>
                    </a:lnTo>
                    <a:lnTo>
                      <a:pt x="122" y="177"/>
                    </a:lnTo>
                    <a:lnTo>
                      <a:pt x="126" y="180"/>
                    </a:lnTo>
                    <a:lnTo>
                      <a:pt x="129" y="186"/>
                    </a:lnTo>
                    <a:lnTo>
                      <a:pt x="132" y="186"/>
                    </a:lnTo>
                    <a:lnTo>
                      <a:pt x="130" y="183"/>
                    </a:lnTo>
                    <a:lnTo>
                      <a:pt x="126" y="176"/>
                    </a:lnTo>
                    <a:lnTo>
                      <a:pt x="120" y="174"/>
                    </a:lnTo>
                    <a:lnTo>
                      <a:pt x="120" y="170"/>
                    </a:lnTo>
                    <a:lnTo>
                      <a:pt x="138" y="177"/>
                    </a:lnTo>
                    <a:lnTo>
                      <a:pt x="142" y="176"/>
                    </a:lnTo>
                    <a:lnTo>
                      <a:pt x="143" y="177"/>
                    </a:lnTo>
                    <a:lnTo>
                      <a:pt x="145" y="176"/>
                    </a:lnTo>
                    <a:lnTo>
                      <a:pt x="148" y="183"/>
                    </a:lnTo>
                    <a:lnTo>
                      <a:pt x="161" y="180"/>
                    </a:lnTo>
                    <a:lnTo>
                      <a:pt x="162" y="177"/>
                    </a:lnTo>
                    <a:lnTo>
                      <a:pt x="158" y="161"/>
                    </a:lnTo>
                    <a:lnTo>
                      <a:pt x="154" y="161"/>
                    </a:lnTo>
                    <a:lnTo>
                      <a:pt x="151" y="160"/>
                    </a:lnTo>
                    <a:lnTo>
                      <a:pt x="154" y="157"/>
                    </a:lnTo>
                    <a:lnTo>
                      <a:pt x="161" y="158"/>
                    </a:lnTo>
                    <a:lnTo>
                      <a:pt x="170" y="168"/>
                    </a:lnTo>
                    <a:lnTo>
                      <a:pt x="171" y="165"/>
                    </a:lnTo>
                    <a:lnTo>
                      <a:pt x="174" y="167"/>
                    </a:lnTo>
                    <a:lnTo>
                      <a:pt x="178" y="167"/>
                    </a:lnTo>
                    <a:lnTo>
                      <a:pt x="178" y="183"/>
                    </a:lnTo>
                    <a:lnTo>
                      <a:pt x="181" y="186"/>
                    </a:lnTo>
                    <a:lnTo>
                      <a:pt x="183" y="181"/>
                    </a:lnTo>
                    <a:lnTo>
                      <a:pt x="186" y="183"/>
                    </a:lnTo>
                    <a:lnTo>
                      <a:pt x="188" y="183"/>
                    </a:lnTo>
                    <a:lnTo>
                      <a:pt x="190" y="184"/>
                    </a:lnTo>
                    <a:lnTo>
                      <a:pt x="188" y="189"/>
                    </a:lnTo>
                    <a:lnTo>
                      <a:pt x="186" y="190"/>
                    </a:lnTo>
                    <a:lnTo>
                      <a:pt x="188" y="192"/>
                    </a:lnTo>
                    <a:lnTo>
                      <a:pt x="204" y="205"/>
                    </a:lnTo>
                    <a:lnTo>
                      <a:pt x="206" y="210"/>
                    </a:lnTo>
                    <a:lnTo>
                      <a:pt x="201" y="216"/>
                    </a:lnTo>
                    <a:lnTo>
                      <a:pt x="196" y="215"/>
                    </a:lnTo>
                    <a:lnTo>
                      <a:pt x="191" y="215"/>
                    </a:lnTo>
                    <a:lnTo>
                      <a:pt x="193" y="221"/>
                    </a:lnTo>
                    <a:lnTo>
                      <a:pt x="193" y="229"/>
                    </a:lnTo>
                    <a:lnTo>
                      <a:pt x="206" y="222"/>
                    </a:lnTo>
                    <a:lnTo>
                      <a:pt x="207" y="218"/>
                    </a:lnTo>
                    <a:lnTo>
                      <a:pt x="212" y="219"/>
                    </a:lnTo>
                    <a:lnTo>
                      <a:pt x="216" y="216"/>
                    </a:lnTo>
                    <a:lnTo>
                      <a:pt x="220" y="215"/>
                    </a:lnTo>
                    <a:lnTo>
                      <a:pt x="226" y="216"/>
                    </a:lnTo>
                    <a:lnTo>
                      <a:pt x="217" y="218"/>
                    </a:lnTo>
                    <a:lnTo>
                      <a:pt x="219" y="219"/>
                    </a:lnTo>
                    <a:lnTo>
                      <a:pt x="217" y="223"/>
                    </a:lnTo>
                    <a:lnTo>
                      <a:pt x="226" y="235"/>
                    </a:lnTo>
                    <a:lnTo>
                      <a:pt x="228" y="234"/>
                    </a:lnTo>
                    <a:lnTo>
                      <a:pt x="226" y="229"/>
                    </a:lnTo>
                    <a:lnTo>
                      <a:pt x="226" y="228"/>
                    </a:lnTo>
                    <a:lnTo>
                      <a:pt x="232" y="229"/>
                    </a:lnTo>
                    <a:lnTo>
                      <a:pt x="232" y="238"/>
                    </a:lnTo>
                    <a:lnTo>
                      <a:pt x="233" y="242"/>
                    </a:lnTo>
                    <a:lnTo>
                      <a:pt x="238" y="245"/>
                    </a:lnTo>
                    <a:lnTo>
                      <a:pt x="241" y="244"/>
                    </a:lnTo>
                    <a:lnTo>
                      <a:pt x="244" y="250"/>
                    </a:lnTo>
                    <a:lnTo>
                      <a:pt x="246" y="260"/>
                    </a:lnTo>
                    <a:lnTo>
                      <a:pt x="248" y="263"/>
                    </a:lnTo>
                    <a:lnTo>
                      <a:pt x="249" y="269"/>
                    </a:lnTo>
                    <a:lnTo>
                      <a:pt x="251" y="271"/>
                    </a:lnTo>
                    <a:lnTo>
                      <a:pt x="252" y="282"/>
                    </a:lnTo>
                    <a:lnTo>
                      <a:pt x="254" y="282"/>
                    </a:lnTo>
                    <a:lnTo>
                      <a:pt x="252" y="286"/>
                    </a:lnTo>
                    <a:lnTo>
                      <a:pt x="251" y="289"/>
                    </a:lnTo>
                    <a:lnTo>
                      <a:pt x="246" y="290"/>
                    </a:lnTo>
                    <a:lnTo>
                      <a:pt x="245" y="293"/>
                    </a:lnTo>
                    <a:lnTo>
                      <a:pt x="245" y="302"/>
                    </a:lnTo>
                    <a:lnTo>
                      <a:pt x="244" y="303"/>
                    </a:lnTo>
                    <a:lnTo>
                      <a:pt x="239" y="303"/>
                    </a:lnTo>
                    <a:lnTo>
                      <a:pt x="223" y="322"/>
                    </a:lnTo>
                    <a:lnTo>
                      <a:pt x="225" y="325"/>
                    </a:lnTo>
                    <a:lnTo>
                      <a:pt x="228" y="331"/>
                    </a:lnTo>
                    <a:lnTo>
                      <a:pt x="232" y="335"/>
                    </a:lnTo>
                    <a:lnTo>
                      <a:pt x="233" y="340"/>
                    </a:lnTo>
                    <a:lnTo>
                      <a:pt x="236" y="340"/>
                    </a:lnTo>
                    <a:lnTo>
                      <a:pt x="236" y="347"/>
                    </a:lnTo>
                    <a:lnTo>
                      <a:pt x="231" y="344"/>
                    </a:lnTo>
                    <a:lnTo>
                      <a:pt x="231" y="346"/>
                    </a:lnTo>
                    <a:lnTo>
                      <a:pt x="228" y="344"/>
                    </a:lnTo>
                    <a:lnTo>
                      <a:pt x="226" y="346"/>
                    </a:lnTo>
                    <a:lnTo>
                      <a:pt x="225" y="347"/>
                    </a:lnTo>
                    <a:lnTo>
                      <a:pt x="220" y="348"/>
                    </a:lnTo>
                    <a:lnTo>
                      <a:pt x="213" y="348"/>
                    </a:lnTo>
                    <a:lnTo>
                      <a:pt x="213" y="353"/>
                    </a:lnTo>
                    <a:lnTo>
                      <a:pt x="210" y="353"/>
                    </a:lnTo>
                    <a:lnTo>
                      <a:pt x="206" y="351"/>
                    </a:lnTo>
                    <a:lnTo>
                      <a:pt x="199" y="351"/>
                    </a:lnTo>
                    <a:lnTo>
                      <a:pt x="193" y="350"/>
                    </a:lnTo>
                    <a:lnTo>
                      <a:pt x="190" y="350"/>
                    </a:lnTo>
                    <a:lnTo>
                      <a:pt x="187" y="348"/>
                    </a:lnTo>
                    <a:lnTo>
                      <a:pt x="184" y="347"/>
                    </a:lnTo>
                    <a:lnTo>
                      <a:pt x="181" y="347"/>
                    </a:lnTo>
                    <a:lnTo>
                      <a:pt x="184" y="350"/>
                    </a:lnTo>
                    <a:lnTo>
                      <a:pt x="181" y="350"/>
                    </a:lnTo>
                    <a:lnTo>
                      <a:pt x="181" y="356"/>
                    </a:lnTo>
                    <a:lnTo>
                      <a:pt x="178" y="357"/>
                    </a:lnTo>
                    <a:lnTo>
                      <a:pt x="174" y="362"/>
                    </a:lnTo>
                    <a:lnTo>
                      <a:pt x="171" y="364"/>
                    </a:lnTo>
                    <a:lnTo>
                      <a:pt x="171" y="373"/>
                    </a:lnTo>
                    <a:lnTo>
                      <a:pt x="174" y="379"/>
                    </a:lnTo>
                    <a:lnTo>
                      <a:pt x="177" y="382"/>
                    </a:lnTo>
                    <a:lnTo>
                      <a:pt x="180" y="382"/>
                    </a:lnTo>
                    <a:lnTo>
                      <a:pt x="183" y="386"/>
                    </a:lnTo>
                    <a:lnTo>
                      <a:pt x="184" y="385"/>
                    </a:lnTo>
                    <a:lnTo>
                      <a:pt x="190" y="386"/>
                    </a:lnTo>
                    <a:lnTo>
                      <a:pt x="191" y="388"/>
                    </a:lnTo>
                    <a:lnTo>
                      <a:pt x="193" y="388"/>
                    </a:lnTo>
                    <a:lnTo>
                      <a:pt x="199" y="385"/>
                    </a:lnTo>
                    <a:lnTo>
                      <a:pt x="197" y="383"/>
                    </a:lnTo>
                    <a:lnTo>
                      <a:pt x="201" y="383"/>
                    </a:lnTo>
                    <a:lnTo>
                      <a:pt x="203" y="382"/>
                    </a:lnTo>
                    <a:lnTo>
                      <a:pt x="204" y="379"/>
                    </a:lnTo>
                    <a:lnTo>
                      <a:pt x="203" y="376"/>
                    </a:lnTo>
                    <a:lnTo>
                      <a:pt x="206" y="375"/>
                    </a:lnTo>
                    <a:lnTo>
                      <a:pt x="210" y="375"/>
                    </a:lnTo>
                    <a:lnTo>
                      <a:pt x="212" y="378"/>
                    </a:lnTo>
                    <a:lnTo>
                      <a:pt x="212" y="380"/>
                    </a:lnTo>
                    <a:lnTo>
                      <a:pt x="219" y="380"/>
                    </a:lnTo>
                    <a:lnTo>
                      <a:pt x="220" y="382"/>
                    </a:lnTo>
                    <a:lnTo>
                      <a:pt x="220" y="379"/>
                    </a:lnTo>
                    <a:lnTo>
                      <a:pt x="222" y="376"/>
                    </a:lnTo>
                    <a:lnTo>
                      <a:pt x="223" y="378"/>
                    </a:lnTo>
                    <a:lnTo>
                      <a:pt x="220" y="373"/>
                    </a:lnTo>
                    <a:lnTo>
                      <a:pt x="217" y="373"/>
                    </a:lnTo>
                    <a:lnTo>
                      <a:pt x="217" y="369"/>
                    </a:lnTo>
                    <a:lnTo>
                      <a:pt x="220" y="367"/>
                    </a:lnTo>
                    <a:lnTo>
                      <a:pt x="222" y="366"/>
                    </a:lnTo>
                    <a:lnTo>
                      <a:pt x="222" y="372"/>
                    </a:lnTo>
                    <a:lnTo>
                      <a:pt x="223" y="370"/>
                    </a:lnTo>
                    <a:lnTo>
                      <a:pt x="225" y="372"/>
                    </a:lnTo>
                    <a:lnTo>
                      <a:pt x="226" y="375"/>
                    </a:lnTo>
                    <a:lnTo>
                      <a:pt x="228" y="373"/>
                    </a:lnTo>
                    <a:lnTo>
                      <a:pt x="231" y="372"/>
                    </a:lnTo>
                    <a:lnTo>
                      <a:pt x="231" y="373"/>
                    </a:lnTo>
                    <a:lnTo>
                      <a:pt x="233" y="376"/>
                    </a:lnTo>
                    <a:lnTo>
                      <a:pt x="235" y="375"/>
                    </a:lnTo>
                    <a:lnTo>
                      <a:pt x="238" y="375"/>
                    </a:lnTo>
                    <a:lnTo>
                      <a:pt x="239" y="378"/>
                    </a:lnTo>
                    <a:lnTo>
                      <a:pt x="238" y="379"/>
                    </a:lnTo>
                    <a:lnTo>
                      <a:pt x="239" y="385"/>
                    </a:lnTo>
                    <a:lnTo>
                      <a:pt x="241" y="385"/>
                    </a:lnTo>
                    <a:lnTo>
                      <a:pt x="244" y="388"/>
                    </a:lnTo>
                    <a:lnTo>
                      <a:pt x="245" y="391"/>
                    </a:lnTo>
                    <a:lnTo>
                      <a:pt x="244" y="392"/>
                    </a:lnTo>
                    <a:lnTo>
                      <a:pt x="245" y="394"/>
                    </a:lnTo>
                    <a:lnTo>
                      <a:pt x="245" y="396"/>
                    </a:lnTo>
                    <a:lnTo>
                      <a:pt x="246" y="395"/>
                    </a:lnTo>
                    <a:lnTo>
                      <a:pt x="248" y="396"/>
                    </a:lnTo>
                    <a:lnTo>
                      <a:pt x="251" y="401"/>
                    </a:lnTo>
                    <a:lnTo>
                      <a:pt x="252" y="401"/>
                    </a:lnTo>
                    <a:lnTo>
                      <a:pt x="254" y="399"/>
                    </a:lnTo>
                    <a:lnTo>
                      <a:pt x="255" y="399"/>
                    </a:lnTo>
                    <a:lnTo>
                      <a:pt x="255" y="402"/>
                    </a:lnTo>
                    <a:lnTo>
                      <a:pt x="257" y="405"/>
                    </a:lnTo>
                    <a:lnTo>
                      <a:pt x="258" y="405"/>
                    </a:lnTo>
                    <a:lnTo>
                      <a:pt x="258" y="402"/>
                    </a:lnTo>
                    <a:lnTo>
                      <a:pt x="260" y="399"/>
                    </a:lnTo>
                    <a:lnTo>
                      <a:pt x="262" y="404"/>
                    </a:lnTo>
                    <a:lnTo>
                      <a:pt x="264" y="405"/>
                    </a:lnTo>
                    <a:lnTo>
                      <a:pt x="265" y="407"/>
                    </a:lnTo>
                    <a:lnTo>
                      <a:pt x="268" y="407"/>
                    </a:lnTo>
                    <a:lnTo>
                      <a:pt x="265" y="411"/>
                    </a:lnTo>
                    <a:lnTo>
                      <a:pt x="261" y="412"/>
                    </a:lnTo>
                    <a:lnTo>
                      <a:pt x="258" y="409"/>
                    </a:lnTo>
                    <a:lnTo>
                      <a:pt x="264" y="423"/>
                    </a:lnTo>
                    <a:lnTo>
                      <a:pt x="267" y="423"/>
                    </a:lnTo>
                    <a:lnTo>
                      <a:pt x="270" y="425"/>
                    </a:lnTo>
                    <a:lnTo>
                      <a:pt x="270" y="427"/>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37" name="Freeform 1208"/>
              <p:cNvSpPr>
                <a:spLocks/>
              </p:cNvSpPr>
              <p:nvPr/>
            </p:nvSpPr>
            <p:spPr bwMode="auto">
              <a:xfrm>
                <a:off x="4792613" y="1450201"/>
                <a:ext cx="14922" cy="13184"/>
              </a:xfrm>
              <a:custGeom>
                <a:avLst/>
                <a:gdLst/>
                <a:ahLst/>
                <a:cxnLst>
                  <a:cxn ang="0">
                    <a:pos x="9" y="1"/>
                  </a:cxn>
                  <a:cxn ang="0">
                    <a:pos x="13" y="0"/>
                  </a:cxn>
                  <a:cxn ang="0">
                    <a:pos x="16" y="3"/>
                  </a:cxn>
                  <a:cxn ang="0">
                    <a:pos x="12" y="7"/>
                  </a:cxn>
                  <a:cxn ang="0">
                    <a:pos x="4" y="12"/>
                  </a:cxn>
                  <a:cxn ang="0">
                    <a:pos x="0" y="10"/>
                  </a:cxn>
                  <a:cxn ang="0">
                    <a:pos x="0" y="9"/>
                  </a:cxn>
                  <a:cxn ang="0">
                    <a:pos x="3" y="7"/>
                  </a:cxn>
                  <a:cxn ang="0">
                    <a:pos x="7" y="1"/>
                  </a:cxn>
                  <a:cxn ang="0">
                    <a:pos x="9" y="1"/>
                  </a:cxn>
                </a:cxnLst>
                <a:rect l="0" t="0" r="r" b="b"/>
                <a:pathLst>
                  <a:path w="16" h="12">
                    <a:moveTo>
                      <a:pt x="9" y="1"/>
                    </a:moveTo>
                    <a:lnTo>
                      <a:pt x="13" y="0"/>
                    </a:lnTo>
                    <a:lnTo>
                      <a:pt x="16" y="3"/>
                    </a:lnTo>
                    <a:lnTo>
                      <a:pt x="12" y="7"/>
                    </a:lnTo>
                    <a:lnTo>
                      <a:pt x="4" y="12"/>
                    </a:lnTo>
                    <a:lnTo>
                      <a:pt x="0" y="10"/>
                    </a:lnTo>
                    <a:lnTo>
                      <a:pt x="0" y="9"/>
                    </a:lnTo>
                    <a:lnTo>
                      <a:pt x="3" y="7"/>
                    </a:lnTo>
                    <a:lnTo>
                      <a:pt x="7" y="1"/>
                    </a:lnTo>
                    <a:lnTo>
                      <a:pt x="9"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38" name="Freeform 1209"/>
              <p:cNvSpPr>
                <a:spLocks/>
              </p:cNvSpPr>
              <p:nvPr/>
            </p:nvSpPr>
            <p:spPr bwMode="auto">
              <a:xfrm>
                <a:off x="4792613" y="1450201"/>
                <a:ext cx="14922" cy="13184"/>
              </a:xfrm>
              <a:custGeom>
                <a:avLst/>
                <a:gdLst/>
                <a:ahLst/>
                <a:cxnLst>
                  <a:cxn ang="0">
                    <a:pos x="9" y="1"/>
                  </a:cxn>
                  <a:cxn ang="0">
                    <a:pos x="13" y="0"/>
                  </a:cxn>
                  <a:cxn ang="0">
                    <a:pos x="16" y="3"/>
                  </a:cxn>
                  <a:cxn ang="0">
                    <a:pos x="12" y="7"/>
                  </a:cxn>
                  <a:cxn ang="0">
                    <a:pos x="4" y="12"/>
                  </a:cxn>
                  <a:cxn ang="0">
                    <a:pos x="0" y="10"/>
                  </a:cxn>
                  <a:cxn ang="0">
                    <a:pos x="0" y="9"/>
                  </a:cxn>
                  <a:cxn ang="0">
                    <a:pos x="3" y="7"/>
                  </a:cxn>
                  <a:cxn ang="0">
                    <a:pos x="7" y="1"/>
                  </a:cxn>
                  <a:cxn ang="0">
                    <a:pos x="9" y="1"/>
                  </a:cxn>
                </a:cxnLst>
                <a:rect l="0" t="0" r="r" b="b"/>
                <a:pathLst>
                  <a:path w="16" h="12">
                    <a:moveTo>
                      <a:pt x="9" y="1"/>
                    </a:moveTo>
                    <a:lnTo>
                      <a:pt x="13" y="0"/>
                    </a:lnTo>
                    <a:lnTo>
                      <a:pt x="16" y="3"/>
                    </a:lnTo>
                    <a:lnTo>
                      <a:pt x="12" y="7"/>
                    </a:lnTo>
                    <a:lnTo>
                      <a:pt x="4" y="12"/>
                    </a:lnTo>
                    <a:lnTo>
                      <a:pt x="0" y="10"/>
                    </a:lnTo>
                    <a:lnTo>
                      <a:pt x="0" y="9"/>
                    </a:lnTo>
                    <a:lnTo>
                      <a:pt x="3" y="7"/>
                    </a:lnTo>
                    <a:lnTo>
                      <a:pt x="7" y="1"/>
                    </a:lnTo>
                    <a:lnTo>
                      <a:pt x="9"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39" name="Freeform 1210"/>
              <p:cNvSpPr>
                <a:spLocks/>
              </p:cNvSpPr>
              <p:nvPr/>
            </p:nvSpPr>
            <p:spPr bwMode="auto">
              <a:xfrm>
                <a:off x="4983973" y="1875123"/>
                <a:ext cx="5267" cy="23325"/>
              </a:xfrm>
              <a:custGeom>
                <a:avLst/>
                <a:gdLst/>
                <a:ahLst/>
                <a:cxnLst>
                  <a:cxn ang="0">
                    <a:pos x="4" y="3"/>
                  </a:cxn>
                  <a:cxn ang="0">
                    <a:pos x="4" y="2"/>
                  </a:cxn>
                  <a:cxn ang="0">
                    <a:pos x="6" y="18"/>
                  </a:cxn>
                  <a:cxn ang="0">
                    <a:pos x="6" y="22"/>
                  </a:cxn>
                  <a:cxn ang="0">
                    <a:pos x="3" y="21"/>
                  </a:cxn>
                  <a:cxn ang="0">
                    <a:pos x="0" y="18"/>
                  </a:cxn>
                  <a:cxn ang="0">
                    <a:pos x="0" y="3"/>
                  </a:cxn>
                  <a:cxn ang="0">
                    <a:pos x="2" y="0"/>
                  </a:cxn>
                  <a:cxn ang="0">
                    <a:pos x="4" y="3"/>
                  </a:cxn>
                </a:cxnLst>
                <a:rect l="0" t="0" r="r" b="b"/>
                <a:pathLst>
                  <a:path w="6" h="22">
                    <a:moveTo>
                      <a:pt x="4" y="3"/>
                    </a:moveTo>
                    <a:lnTo>
                      <a:pt x="4" y="2"/>
                    </a:lnTo>
                    <a:lnTo>
                      <a:pt x="6" y="18"/>
                    </a:lnTo>
                    <a:lnTo>
                      <a:pt x="6" y="22"/>
                    </a:lnTo>
                    <a:lnTo>
                      <a:pt x="3" y="21"/>
                    </a:lnTo>
                    <a:lnTo>
                      <a:pt x="0" y="18"/>
                    </a:lnTo>
                    <a:lnTo>
                      <a:pt x="0" y="3"/>
                    </a:lnTo>
                    <a:lnTo>
                      <a:pt x="2" y="0"/>
                    </a:lnTo>
                    <a:lnTo>
                      <a:pt x="4"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40" name="Freeform 1212"/>
              <p:cNvSpPr>
                <a:spLocks/>
              </p:cNvSpPr>
              <p:nvPr/>
            </p:nvSpPr>
            <p:spPr bwMode="auto">
              <a:xfrm>
                <a:off x="4983973" y="1875123"/>
                <a:ext cx="5267" cy="23325"/>
              </a:xfrm>
              <a:custGeom>
                <a:avLst/>
                <a:gdLst/>
                <a:ahLst/>
                <a:cxnLst>
                  <a:cxn ang="0">
                    <a:pos x="4" y="3"/>
                  </a:cxn>
                  <a:cxn ang="0">
                    <a:pos x="4" y="2"/>
                  </a:cxn>
                  <a:cxn ang="0">
                    <a:pos x="6" y="18"/>
                  </a:cxn>
                  <a:cxn ang="0">
                    <a:pos x="6" y="22"/>
                  </a:cxn>
                  <a:cxn ang="0">
                    <a:pos x="3" y="21"/>
                  </a:cxn>
                  <a:cxn ang="0">
                    <a:pos x="0" y="18"/>
                  </a:cxn>
                  <a:cxn ang="0">
                    <a:pos x="0" y="3"/>
                  </a:cxn>
                  <a:cxn ang="0">
                    <a:pos x="2" y="0"/>
                  </a:cxn>
                  <a:cxn ang="0">
                    <a:pos x="4" y="3"/>
                  </a:cxn>
                </a:cxnLst>
                <a:rect l="0" t="0" r="r" b="b"/>
                <a:pathLst>
                  <a:path w="6" h="22">
                    <a:moveTo>
                      <a:pt x="4" y="3"/>
                    </a:moveTo>
                    <a:lnTo>
                      <a:pt x="4" y="2"/>
                    </a:lnTo>
                    <a:lnTo>
                      <a:pt x="6" y="18"/>
                    </a:lnTo>
                    <a:lnTo>
                      <a:pt x="6" y="22"/>
                    </a:lnTo>
                    <a:lnTo>
                      <a:pt x="3" y="21"/>
                    </a:lnTo>
                    <a:lnTo>
                      <a:pt x="0" y="18"/>
                    </a:lnTo>
                    <a:lnTo>
                      <a:pt x="0" y="3"/>
                    </a:lnTo>
                    <a:lnTo>
                      <a:pt x="2" y="0"/>
                    </a:lnTo>
                    <a:lnTo>
                      <a:pt x="4"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41" name="Freeform 1213"/>
              <p:cNvSpPr>
                <a:spLocks/>
              </p:cNvSpPr>
              <p:nvPr/>
            </p:nvSpPr>
            <p:spPr bwMode="auto">
              <a:xfrm>
                <a:off x="5142855" y="2074906"/>
                <a:ext cx="10534" cy="5071"/>
              </a:xfrm>
              <a:custGeom>
                <a:avLst/>
                <a:gdLst/>
                <a:ahLst/>
                <a:cxnLst>
                  <a:cxn ang="0">
                    <a:pos x="12" y="2"/>
                  </a:cxn>
                  <a:cxn ang="0">
                    <a:pos x="10" y="0"/>
                  </a:cxn>
                  <a:cxn ang="0">
                    <a:pos x="12" y="2"/>
                  </a:cxn>
                  <a:cxn ang="0">
                    <a:pos x="12" y="3"/>
                  </a:cxn>
                  <a:cxn ang="0">
                    <a:pos x="10" y="3"/>
                  </a:cxn>
                  <a:cxn ang="0">
                    <a:pos x="7" y="5"/>
                  </a:cxn>
                  <a:cxn ang="0">
                    <a:pos x="3" y="3"/>
                  </a:cxn>
                  <a:cxn ang="0">
                    <a:pos x="0" y="2"/>
                  </a:cxn>
                  <a:cxn ang="0">
                    <a:pos x="3" y="2"/>
                  </a:cxn>
                  <a:cxn ang="0">
                    <a:pos x="4" y="2"/>
                  </a:cxn>
                  <a:cxn ang="0">
                    <a:pos x="10" y="2"/>
                  </a:cxn>
                  <a:cxn ang="0">
                    <a:pos x="12" y="2"/>
                  </a:cxn>
                </a:cxnLst>
                <a:rect l="0" t="0" r="r" b="b"/>
                <a:pathLst>
                  <a:path w="12" h="5">
                    <a:moveTo>
                      <a:pt x="12" y="2"/>
                    </a:moveTo>
                    <a:lnTo>
                      <a:pt x="10" y="0"/>
                    </a:lnTo>
                    <a:lnTo>
                      <a:pt x="12" y="2"/>
                    </a:lnTo>
                    <a:lnTo>
                      <a:pt x="12" y="3"/>
                    </a:lnTo>
                    <a:lnTo>
                      <a:pt x="10" y="3"/>
                    </a:lnTo>
                    <a:lnTo>
                      <a:pt x="7" y="5"/>
                    </a:lnTo>
                    <a:lnTo>
                      <a:pt x="3" y="3"/>
                    </a:lnTo>
                    <a:lnTo>
                      <a:pt x="0" y="2"/>
                    </a:lnTo>
                    <a:lnTo>
                      <a:pt x="3" y="2"/>
                    </a:lnTo>
                    <a:lnTo>
                      <a:pt x="4" y="2"/>
                    </a:lnTo>
                    <a:lnTo>
                      <a:pt x="10" y="2"/>
                    </a:lnTo>
                    <a:lnTo>
                      <a:pt x="12"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42" name="Freeform 1214"/>
              <p:cNvSpPr>
                <a:spLocks/>
              </p:cNvSpPr>
              <p:nvPr/>
            </p:nvSpPr>
            <p:spPr bwMode="auto">
              <a:xfrm>
                <a:off x="5142855" y="2074906"/>
                <a:ext cx="10534" cy="5071"/>
              </a:xfrm>
              <a:custGeom>
                <a:avLst/>
                <a:gdLst/>
                <a:ahLst/>
                <a:cxnLst>
                  <a:cxn ang="0">
                    <a:pos x="12" y="2"/>
                  </a:cxn>
                  <a:cxn ang="0">
                    <a:pos x="10" y="0"/>
                  </a:cxn>
                  <a:cxn ang="0">
                    <a:pos x="12" y="2"/>
                  </a:cxn>
                  <a:cxn ang="0">
                    <a:pos x="12" y="3"/>
                  </a:cxn>
                  <a:cxn ang="0">
                    <a:pos x="10" y="3"/>
                  </a:cxn>
                  <a:cxn ang="0">
                    <a:pos x="7" y="5"/>
                  </a:cxn>
                  <a:cxn ang="0">
                    <a:pos x="3" y="3"/>
                  </a:cxn>
                  <a:cxn ang="0">
                    <a:pos x="0" y="2"/>
                  </a:cxn>
                  <a:cxn ang="0">
                    <a:pos x="3" y="2"/>
                  </a:cxn>
                  <a:cxn ang="0">
                    <a:pos x="4" y="2"/>
                  </a:cxn>
                  <a:cxn ang="0">
                    <a:pos x="10" y="2"/>
                  </a:cxn>
                  <a:cxn ang="0">
                    <a:pos x="12" y="2"/>
                  </a:cxn>
                </a:cxnLst>
                <a:rect l="0" t="0" r="r" b="b"/>
                <a:pathLst>
                  <a:path w="12" h="5">
                    <a:moveTo>
                      <a:pt x="12" y="2"/>
                    </a:moveTo>
                    <a:lnTo>
                      <a:pt x="10" y="0"/>
                    </a:lnTo>
                    <a:lnTo>
                      <a:pt x="12" y="2"/>
                    </a:lnTo>
                    <a:lnTo>
                      <a:pt x="12" y="3"/>
                    </a:lnTo>
                    <a:lnTo>
                      <a:pt x="10" y="3"/>
                    </a:lnTo>
                    <a:lnTo>
                      <a:pt x="7" y="5"/>
                    </a:lnTo>
                    <a:lnTo>
                      <a:pt x="3" y="3"/>
                    </a:lnTo>
                    <a:lnTo>
                      <a:pt x="0" y="2"/>
                    </a:lnTo>
                    <a:lnTo>
                      <a:pt x="3" y="2"/>
                    </a:lnTo>
                    <a:lnTo>
                      <a:pt x="4" y="2"/>
                    </a:lnTo>
                    <a:lnTo>
                      <a:pt x="10" y="2"/>
                    </a:lnTo>
                    <a:lnTo>
                      <a:pt x="12"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43" name="Freeform 1215"/>
              <p:cNvSpPr>
                <a:spLocks/>
              </p:cNvSpPr>
              <p:nvPr/>
            </p:nvSpPr>
            <p:spPr bwMode="auto">
              <a:xfrm>
                <a:off x="5279792" y="2485631"/>
                <a:ext cx="30723" cy="23325"/>
              </a:xfrm>
              <a:custGeom>
                <a:avLst/>
                <a:gdLst/>
                <a:ahLst/>
                <a:cxnLst>
                  <a:cxn ang="0">
                    <a:pos x="29" y="16"/>
                  </a:cxn>
                  <a:cxn ang="0">
                    <a:pos x="31" y="15"/>
                  </a:cxn>
                  <a:cxn ang="0">
                    <a:pos x="34" y="15"/>
                  </a:cxn>
                  <a:cxn ang="0">
                    <a:pos x="32" y="13"/>
                  </a:cxn>
                  <a:cxn ang="0">
                    <a:pos x="27" y="13"/>
                  </a:cxn>
                  <a:cxn ang="0">
                    <a:pos x="21" y="15"/>
                  </a:cxn>
                  <a:cxn ang="0">
                    <a:pos x="11" y="10"/>
                  </a:cxn>
                  <a:cxn ang="0">
                    <a:pos x="9" y="12"/>
                  </a:cxn>
                  <a:cxn ang="0">
                    <a:pos x="8" y="10"/>
                  </a:cxn>
                  <a:cxn ang="0">
                    <a:pos x="5" y="6"/>
                  </a:cxn>
                  <a:cxn ang="0">
                    <a:pos x="6" y="3"/>
                  </a:cxn>
                  <a:cxn ang="0">
                    <a:pos x="6" y="0"/>
                  </a:cxn>
                  <a:cxn ang="0">
                    <a:pos x="0" y="6"/>
                  </a:cxn>
                  <a:cxn ang="0">
                    <a:pos x="0" y="9"/>
                  </a:cxn>
                  <a:cxn ang="0">
                    <a:pos x="5" y="10"/>
                  </a:cxn>
                  <a:cxn ang="0">
                    <a:pos x="5" y="12"/>
                  </a:cxn>
                  <a:cxn ang="0">
                    <a:pos x="6" y="13"/>
                  </a:cxn>
                  <a:cxn ang="0">
                    <a:pos x="9" y="15"/>
                  </a:cxn>
                  <a:cxn ang="0">
                    <a:pos x="9" y="16"/>
                  </a:cxn>
                  <a:cxn ang="0">
                    <a:pos x="15" y="19"/>
                  </a:cxn>
                  <a:cxn ang="0">
                    <a:pos x="18" y="19"/>
                  </a:cxn>
                  <a:cxn ang="0">
                    <a:pos x="18" y="17"/>
                  </a:cxn>
                  <a:cxn ang="0">
                    <a:pos x="19" y="17"/>
                  </a:cxn>
                  <a:cxn ang="0">
                    <a:pos x="21" y="17"/>
                  </a:cxn>
                  <a:cxn ang="0">
                    <a:pos x="21" y="20"/>
                  </a:cxn>
                  <a:cxn ang="0">
                    <a:pos x="22" y="22"/>
                  </a:cxn>
                  <a:cxn ang="0">
                    <a:pos x="25" y="22"/>
                  </a:cxn>
                  <a:cxn ang="0">
                    <a:pos x="28" y="22"/>
                  </a:cxn>
                  <a:cxn ang="0">
                    <a:pos x="28" y="20"/>
                  </a:cxn>
                  <a:cxn ang="0">
                    <a:pos x="28" y="17"/>
                  </a:cxn>
                  <a:cxn ang="0">
                    <a:pos x="29" y="16"/>
                  </a:cxn>
                </a:cxnLst>
                <a:rect l="0" t="0" r="r" b="b"/>
                <a:pathLst>
                  <a:path w="34" h="22">
                    <a:moveTo>
                      <a:pt x="29" y="16"/>
                    </a:moveTo>
                    <a:lnTo>
                      <a:pt x="31" y="15"/>
                    </a:lnTo>
                    <a:lnTo>
                      <a:pt x="34" y="15"/>
                    </a:lnTo>
                    <a:lnTo>
                      <a:pt x="32" y="13"/>
                    </a:lnTo>
                    <a:lnTo>
                      <a:pt x="27" y="13"/>
                    </a:lnTo>
                    <a:lnTo>
                      <a:pt x="21" y="15"/>
                    </a:lnTo>
                    <a:lnTo>
                      <a:pt x="11" y="10"/>
                    </a:lnTo>
                    <a:lnTo>
                      <a:pt x="9" y="12"/>
                    </a:lnTo>
                    <a:lnTo>
                      <a:pt x="8" y="10"/>
                    </a:lnTo>
                    <a:lnTo>
                      <a:pt x="5" y="6"/>
                    </a:lnTo>
                    <a:lnTo>
                      <a:pt x="6" y="3"/>
                    </a:lnTo>
                    <a:lnTo>
                      <a:pt x="6" y="0"/>
                    </a:lnTo>
                    <a:lnTo>
                      <a:pt x="0" y="6"/>
                    </a:lnTo>
                    <a:lnTo>
                      <a:pt x="0" y="9"/>
                    </a:lnTo>
                    <a:lnTo>
                      <a:pt x="5" y="10"/>
                    </a:lnTo>
                    <a:lnTo>
                      <a:pt x="5" y="12"/>
                    </a:lnTo>
                    <a:lnTo>
                      <a:pt x="6" y="13"/>
                    </a:lnTo>
                    <a:lnTo>
                      <a:pt x="9" y="15"/>
                    </a:lnTo>
                    <a:lnTo>
                      <a:pt x="9" y="16"/>
                    </a:lnTo>
                    <a:lnTo>
                      <a:pt x="15" y="19"/>
                    </a:lnTo>
                    <a:lnTo>
                      <a:pt x="18" y="19"/>
                    </a:lnTo>
                    <a:lnTo>
                      <a:pt x="18" y="17"/>
                    </a:lnTo>
                    <a:lnTo>
                      <a:pt x="19" y="17"/>
                    </a:lnTo>
                    <a:lnTo>
                      <a:pt x="21" y="17"/>
                    </a:lnTo>
                    <a:lnTo>
                      <a:pt x="21" y="20"/>
                    </a:lnTo>
                    <a:lnTo>
                      <a:pt x="22" y="22"/>
                    </a:lnTo>
                    <a:lnTo>
                      <a:pt x="25" y="22"/>
                    </a:lnTo>
                    <a:lnTo>
                      <a:pt x="28" y="22"/>
                    </a:lnTo>
                    <a:lnTo>
                      <a:pt x="28" y="20"/>
                    </a:lnTo>
                    <a:lnTo>
                      <a:pt x="28" y="17"/>
                    </a:lnTo>
                    <a:lnTo>
                      <a:pt x="29" y="16"/>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44" name="Freeform 1216"/>
              <p:cNvSpPr>
                <a:spLocks/>
              </p:cNvSpPr>
              <p:nvPr/>
            </p:nvSpPr>
            <p:spPr bwMode="auto">
              <a:xfrm>
                <a:off x="5279792" y="2485631"/>
                <a:ext cx="30723" cy="23325"/>
              </a:xfrm>
              <a:custGeom>
                <a:avLst/>
                <a:gdLst/>
                <a:ahLst/>
                <a:cxnLst>
                  <a:cxn ang="0">
                    <a:pos x="29" y="16"/>
                  </a:cxn>
                  <a:cxn ang="0">
                    <a:pos x="31" y="15"/>
                  </a:cxn>
                  <a:cxn ang="0">
                    <a:pos x="34" y="15"/>
                  </a:cxn>
                  <a:cxn ang="0">
                    <a:pos x="32" y="13"/>
                  </a:cxn>
                  <a:cxn ang="0">
                    <a:pos x="27" y="13"/>
                  </a:cxn>
                  <a:cxn ang="0">
                    <a:pos x="21" y="15"/>
                  </a:cxn>
                  <a:cxn ang="0">
                    <a:pos x="11" y="10"/>
                  </a:cxn>
                  <a:cxn ang="0">
                    <a:pos x="9" y="12"/>
                  </a:cxn>
                  <a:cxn ang="0">
                    <a:pos x="8" y="10"/>
                  </a:cxn>
                  <a:cxn ang="0">
                    <a:pos x="5" y="6"/>
                  </a:cxn>
                  <a:cxn ang="0">
                    <a:pos x="6" y="3"/>
                  </a:cxn>
                  <a:cxn ang="0">
                    <a:pos x="6" y="0"/>
                  </a:cxn>
                  <a:cxn ang="0">
                    <a:pos x="0" y="6"/>
                  </a:cxn>
                  <a:cxn ang="0">
                    <a:pos x="0" y="9"/>
                  </a:cxn>
                  <a:cxn ang="0">
                    <a:pos x="5" y="10"/>
                  </a:cxn>
                  <a:cxn ang="0">
                    <a:pos x="5" y="12"/>
                  </a:cxn>
                  <a:cxn ang="0">
                    <a:pos x="6" y="13"/>
                  </a:cxn>
                  <a:cxn ang="0">
                    <a:pos x="9" y="15"/>
                  </a:cxn>
                  <a:cxn ang="0">
                    <a:pos x="9" y="16"/>
                  </a:cxn>
                  <a:cxn ang="0">
                    <a:pos x="15" y="19"/>
                  </a:cxn>
                  <a:cxn ang="0">
                    <a:pos x="18" y="19"/>
                  </a:cxn>
                  <a:cxn ang="0">
                    <a:pos x="18" y="17"/>
                  </a:cxn>
                  <a:cxn ang="0">
                    <a:pos x="19" y="17"/>
                  </a:cxn>
                  <a:cxn ang="0">
                    <a:pos x="21" y="17"/>
                  </a:cxn>
                  <a:cxn ang="0">
                    <a:pos x="21" y="20"/>
                  </a:cxn>
                  <a:cxn ang="0">
                    <a:pos x="22" y="22"/>
                  </a:cxn>
                  <a:cxn ang="0">
                    <a:pos x="25" y="22"/>
                  </a:cxn>
                  <a:cxn ang="0">
                    <a:pos x="28" y="22"/>
                  </a:cxn>
                  <a:cxn ang="0">
                    <a:pos x="28" y="20"/>
                  </a:cxn>
                  <a:cxn ang="0">
                    <a:pos x="28" y="17"/>
                  </a:cxn>
                  <a:cxn ang="0">
                    <a:pos x="29" y="16"/>
                  </a:cxn>
                </a:cxnLst>
                <a:rect l="0" t="0" r="r" b="b"/>
                <a:pathLst>
                  <a:path w="34" h="22">
                    <a:moveTo>
                      <a:pt x="29" y="16"/>
                    </a:moveTo>
                    <a:lnTo>
                      <a:pt x="31" y="15"/>
                    </a:lnTo>
                    <a:lnTo>
                      <a:pt x="34" y="15"/>
                    </a:lnTo>
                    <a:lnTo>
                      <a:pt x="32" y="13"/>
                    </a:lnTo>
                    <a:lnTo>
                      <a:pt x="27" y="13"/>
                    </a:lnTo>
                    <a:lnTo>
                      <a:pt x="21" y="15"/>
                    </a:lnTo>
                    <a:lnTo>
                      <a:pt x="11" y="10"/>
                    </a:lnTo>
                    <a:lnTo>
                      <a:pt x="9" y="12"/>
                    </a:lnTo>
                    <a:lnTo>
                      <a:pt x="8" y="10"/>
                    </a:lnTo>
                    <a:lnTo>
                      <a:pt x="5" y="6"/>
                    </a:lnTo>
                    <a:lnTo>
                      <a:pt x="6" y="3"/>
                    </a:lnTo>
                    <a:lnTo>
                      <a:pt x="6" y="0"/>
                    </a:lnTo>
                    <a:lnTo>
                      <a:pt x="0" y="6"/>
                    </a:lnTo>
                    <a:lnTo>
                      <a:pt x="0" y="9"/>
                    </a:lnTo>
                    <a:lnTo>
                      <a:pt x="5" y="10"/>
                    </a:lnTo>
                    <a:lnTo>
                      <a:pt x="5" y="12"/>
                    </a:lnTo>
                    <a:lnTo>
                      <a:pt x="6" y="13"/>
                    </a:lnTo>
                    <a:lnTo>
                      <a:pt x="9" y="15"/>
                    </a:lnTo>
                    <a:lnTo>
                      <a:pt x="9" y="16"/>
                    </a:lnTo>
                    <a:lnTo>
                      <a:pt x="15" y="19"/>
                    </a:lnTo>
                    <a:lnTo>
                      <a:pt x="18" y="19"/>
                    </a:lnTo>
                    <a:lnTo>
                      <a:pt x="18" y="17"/>
                    </a:lnTo>
                    <a:lnTo>
                      <a:pt x="19" y="17"/>
                    </a:lnTo>
                    <a:lnTo>
                      <a:pt x="21" y="17"/>
                    </a:lnTo>
                    <a:lnTo>
                      <a:pt x="21" y="20"/>
                    </a:lnTo>
                    <a:lnTo>
                      <a:pt x="22" y="22"/>
                    </a:lnTo>
                    <a:lnTo>
                      <a:pt x="25" y="22"/>
                    </a:lnTo>
                    <a:lnTo>
                      <a:pt x="28" y="22"/>
                    </a:lnTo>
                    <a:lnTo>
                      <a:pt x="28" y="20"/>
                    </a:lnTo>
                    <a:lnTo>
                      <a:pt x="28" y="17"/>
                    </a:lnTo>
                    <a:lnTo>
                      <a:pt x="29" y="16"/>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45" name="Freeform 1217"/>
              <p:cNvSpPr>
                <a:spLocks/>
              </p:cNvSpPr>
              <p:nvPr/>
            </p:nvSpPr>
            <p:spPr bwMode="auto">
              <a:xfrm>
                <a:off x="5389517" y="2334524"/>
                <a:ext cx="878" cy="1015"/>
              </a:xfrm>
              <a:custGeom>
                <a:avLst/>
                <a:gdLst/>
                <a:ahLst/>
                <a:cxnLst>
                  <a:cxn ang="0">
                    <a:pos x="0" y="0"/>
                  </a:cxn>
                  <a:cxn ang="0">
                    <a:pos x="0" y="0"/>
                  </a:cxn>
                  <a:cxn ang="0">
                    <a:pos x="1" y="1"/>
                  </a:cxn>
                  <a:cxn ang="0">
                    <a:pos x="0" y="0"/>
                  </a:cxn>
                </a:cxnLst>
                <a:rect l="0" t="0" r="r" b="b"/>
                <a:pathLst>
                  <a:path w="1" h="1">
                    <a:moveTo>
                      <a:pt x="0" y="0"/>
                    </a:moveTo>
                    <a:lnTo>
                      <a:pt x="0" y="0"/>
                    </a:lnTo>
                    <a:lnTo>
                      <a:pt x="1" y="1"/>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46" name="Freeform 1218"/>
              <p:cNvSpPr>
                <a:spLocks/>
              </p:cNvSpPr>
              <p:nvPr/>
            </p:nvSpPr>
            <p:spPr bwMode="auto">
              <a:xfrm>
                <a:off x="5389517" y="2334524"/>
                <a:ext cx="878" cy="1015"/>
              </a:xfrm>
              <a:custGeom>
                <a:avLst/>
                <a:gdLst/>
                <a:ahLst/>
                <a:cxnLst>
                  <a:cxn ang="0">
                    <a:pos x="0" y="0"/>
                  </a:cxn>
                  <a:cxn ang="0">
                    <a:pos x="0" y="0"/>
                  </a:cxn>
                  <a:cxn ang="0">
                    <a:pos x="1" y="1"/>
                  </a:cxn>
                  <a:cxn ang="0">
                    <a:pos x="0" y="0"/>
                  </a:cxn>
                </a:cxnLst>
                <a:rect l="0" t="0" r="r" b="b"/>
                <a:pathLst>
                  <a:path w="1" h="1">
                    <a:moveTo>
                      <a:pt x="0" y="0"/>
                    </a:moveTo>
                    <a:lnTo>
                      <a:pt x="0" y="0"/>
                    </a:lnTo>
                    <a:lnTo>
                      <a:pt x="1" y="1"/>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47" name="Freeform 1221"/>
              <p:cNvSpPr>
                <a:spLocks/>
              </p:cNvSpPr>
              <p:nvPr/>
            </p:nvSpPr>
            <p:spPr bwMode="auto">
              <a:xfrm>
                <a:off x="5319293" y="2486644"/>
                <a:ext cx="21067" cy="31439"/>
              </a:xfrm>
              <a:custGeom>
                <a:avLst/>
                <a:gdLst/>
                <a:ahLst/>
                <a:cxnLst>
                  <a:cxn ang="0">
                    <a:pos x="21" y="16"/>
                  </a:cxn>
                  <a:cxn ang="0">
                    <a:pos x="18" y="15"/>
                  </a:cxn>
                  <a:cxn ang="0">
                    <a:pos x="17" y="19"/>
                  </a:cxn>
                  <a:cxn ang="0">
                    <a:pos x="17" y="16"/>
                  </a:cxn>
                  <a:cxn ang="0">
                    <a:pos x="11" y="19"/>
                  </a:cxn>
                  <a:cxn ang="0">
                    <a:pos x="10" y="18"/>
                  </a:cxn>
                  <a:cxn ang="0">
                    <a:pos x="13" y="15"/>
                  </a:cxn>
                  <a:cxn ang="0">
                    <a:pos x="11" y="14"/>
                  </a:cxn>
                  <a:cxn ang="0">
                    <a:pos x="14" y="3"/>
                  </a:cxn>
                  <a:cxn ang="0">
                    <a:pos x="14" y="2"/>
                  </a:cxn>
                  <a:cxn ang="0">
                    <a:pos x="13" y="0"/>
                  </a:cxn>
                  <a:cxn ang="0">
                    <a:pos x="11" y="0"/>
                  </a:cxn>
                  <a:cxn ang="0">
                    <a:pos x="11" y="0"/>
                  </a:cxn>
                  <a:cxn ang="0">
                    <a:pos x="10" y="0"/>
                  </a:cxn>
                  <a:cxn ang="0">
                    <a:pos x="10" y="2"/>
                  </a:cxn>
                  <a:cxn ang="0">
                    <a:pos x="0" y="18"/>
                  </a:cxn>
                  <a:cxn ang="0">
                    <a:pos x="0" y="25"/>
                  </a:cxn>
                  <a:cxn ang="0">
                    <a:pos x="1" y="28"/>
                  </a:cxn>
                  <a:cxn ang="0">
                    <a:pos x="4" y="30"/>
                  </a:cxn>
                  <a:cxn ang="0">
                    <a:pos x="7" y="28"/>
                  </a:cxn>
                  <a:cxn ang="0">
                    <a:pos x="13" y="28"/>
                  </a:cxn>
                  <a:cxn ang="0">
                    <a:pos x="17" y="27"/>
                  </a:cxn>
                  <a:cxn ang="0">
                    <a:pos x="20" y="22"/>
                  </a:cxn>
                  <a:cxn ang="0">
                    <a:pos x="23" y="22"/>
                  </a:cxn>
                  <a:cxn ang="0">
                    <a:pos x="23" y="21"/>
                  </a:cxn>
                  <a:cxn ang="0">
                    <a:pos x="21" y="21"/>
                  </a:cxn>
                  <a:cxn ang="0">
                    <a:pos x="21" y="16"/>
                  </a:cxn>
                </a:cxnLst>
                <a:rect l="0" t="0" r="r" b="b"/>
                <a:pathLst>
                  <a:path w="23" h="30">
                    <a:moveTo>
                      <a:pt x="21" y="16"/>
                    </a:moveTo>
                    <a:lnTo>
                      <a:pt x="18" y="15"/>
                    </a:lnTo>
                    <a:lnTo>
                      <a:pt x="17" y="19"/>
                    </a:lnTo>
                    <a:lnTo>
                      <a:pt x="17" y="16"/>
                    </a:lnTo>
                    <a:lnTo>
                      <a:pt x="11" y="19"/>
                    </a:lnTo>
                    <a:lnTo>
                      <a:pt x="10" y="18"/>
                    </a:lnTo>
                    <a:lnTo>
                      <a:pt x="13" y="15"/>
                    </a:lnTo>
                    <a:lnTo>
                      <a:pt x="11" y="14"/>
                    </a:lnTo>
                    <a:lnTo>
                      <a:pt x="14" y="3"/>
                    </a:lnTo>
                    <a:lnTo>
                      <a:pt x="14" y="2"/>
                    </a:lnTo>
                    <a:lnTo>
                      <a:pt x="13" y="0"/>
                    </a:lnTo>
                    <a:lnTo>
                      <a:pt x="11" y="0"/>
                    </a:lnTo>
                    <a:lnTo>
                      <a:pt x="11" y="0"/>
                    </a:lnTo>
                    <a:lnTo>
                      <a:pt x="10" y="0"/>
                    </a:lnTo>
                    <a:lnTo>
                      <a:pt x="10" y="2"/>
                    </a:lnTo>
                    <a:lnTo>
                      <a:pt x="0" y="18"/>
                    </a:lnTo>
                    <a:lnTo>
                      <a:pt x="0" y="25"/>
                    </a:lnTo>
                    <a:lnTo>
                      <a:pt x="1" y="28"/>
                    </a:lnTo>
                    <a:lnTo>
                      <a:pt x="4" y="30"/>
                    </a:lnTo>
                    <a:lnTo>
                      <a:pt x="7" y="28"/>
                    </a:lnTo>
                    <a:lnTo>
                      <a:pt x="13" y="28"/>
                    </a:lnTo>
                    <a:lnTo>
                      <a:pt x="17" y="27"/>
                    </a:lnTo>
                    <a:lnTo>
                      <a:pt x="20" y="22"/>
                    </a:lnTo>
                    <a:lnTo>
                      <a:pt x="23" y="22"/>
                    </a:lnTo>
                    <a:lnTo>
                      <a:pt x="23" y="21"/>
                    </a:lnTo>
                    <a:lnTo>
                      <a:pt x="21" y="21"/>
                    </a:lnTo>
                    <a:lnTo>
                      <a:pt x="21" y="1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48" name="Freeform 1222"/>
              <p:cNvSpPr>
                <a:spLocks/>
              </p:cNvSpPr>
              <p:nvPr/>
            </p:nvSpPr>
            <p:spPr bwMode="auto">
              <a:xfrm>
                <a:off x="5319293" y="2486644"/>
                <a:ext cx="21067" cy="31439"/>
              </a:xfrm>
              <a:custGeom>
                <a:avLst/>
                <a:gdLst/>
                <a:ahLst/>
                <a:cxnLst>
                  <a:cxn ang="0">
                    <a:pos x="21" y="16"/>
                  </a:cxn>
                  <a:cxn ang="0">
                    <a:pos x="18" y="15"/>
                  </a:cxn>
                  <a:cxn ang="0">
                    <a:pos x="17" y="19"/>
                  </a:cxn>
                  <a:cxn ang="0">
                    <a:pos x="17" y="16"/>
                  </a:cxn>
                  <a:cxn ang="0">
                    <a:pos x="11" y="19"/>
                  </a:cxn>
                  <a:cxn ang="0">
                    <a:pos x="10" y="18"/>
                  </a:cxn>
                  <a:cxn ang="0">
                    <a:pos x="13" y="15"/>
                  </a:cxn>
                  <a:cxn ang="0">
                    <a:pos x="11" y="14"/>
                  </a:cxn>
                  <a:cxn ang="0">
                    <a:pos x="14" y="3"/>
                  </a:cxn>
                  <a:cxn ang="0">
                    <a:pos x="14" y="2"/>
                  </a:cxn>
                  <a:cxn ang="0">
                    <a:pos x="13" y="0"/>
                  </a:cxn>
                  <a:cxn ang="0">
                    <a:pos x="11" y="0"/>
                  </a:cxn>
                  <a:cxn ang="0">
                    <a:pos x="11" y="0"/>
                  </a:cxn>
                  <a:cxn ang="0">
                    <a:pos x="10" y="0"/>
                  </a:cxn>
                  <a:cxn ang="0">
                    <a:pos x="10" y="2"/>
                  </a:cxn>
                  <a:cxn ang="0">
                    <a:pos x="0" y="18"/>
                  </a:cxn>
                  <a:cxn ang="0">
                    <a:pos x="0" y="25"/>
                  </a:cxn>
                  <a:cxn ang="0">
                    <a:pos x="1" y="28"/>
                  </a:cxn>
                  <a:cxn ang="0">
                    <a:pos x="4" y="30"/>
                  </a:cxn>
                  <a:cxn ang="0">
                    <a:pos x="7" y="28"/>
                  </a:cxn>
                  <a:cxn ang="0">
                    <a:pos x="13" y="28"/>
                  </a:cxn>
                  <a:cxn ang="0">
                    <a:pos x="17" y="27"/>
                  </a:cxn>
                  <a:cxn ang="0">
                    <a:pos x="20" y="22"/>
                  </a:cxn>
                  <a:cxn ang="0">
                    <a:pos x="23" y="22"/>
                  </a:cxn>
                  <a:cxn ang="0">
                    <a:pos x="23" y="21"/>
                  </a:cxn>
                  <a:cxn ang="0">
                    <a:pos x="21" y="21"/>
                  </a:cxn>
                  <a:cxn ang="0">
                    <a:pos x="21" y="16"/>
                  </a:cxn>
                </a:cxnLst>
                <a:rect l="0" t="0" r="r" b="b"/>
                <a:pathLst>
                  <a:path w="23" h="30">
                    <a:moveTo>
                      <a:pt x="21" y="16"/>
                    </a:moveTo>
                    <a:lnTo>
                      <a:pt x="18" y="15"/>
                    </a:lnTo>
                    <a:lnTo>
                      <a:pt x="17" y="19"/>
                    </a:lnTo>
                    <a:lnTo>
                      <a:pt x="17" y="16"/>
                    </a:lnTo>
                    <a:lnTo>
                      <a:pt x="11" y="19"/>
                    </a:lnTo>
                    <a:lnTo>
                      <a:pt x="10" y="18"/>
                    </a:lnTo>
                    <a:lnTo>
                      <a:pt x="13" y="15"/>
                    </a:lnTo>
                    <a:lnTo>
                      <a:pt x="11" y="14"/>
                    </a:lnTo>
                    <a:lnTo>
                      <a:pt x="14" y="3"/>
                    </a:lnTo>
                    <a:lnTo>
                      <a:pt x="14" y="2"/>
                    </a:lnTo>
                    <a:lnTo>
                      <a:pt x="13" y="0"/>
                    </a:lnTo>
                    <a:lnTo>
                      <a:pt x="11" y="0"/>
                    </a:lnTo>
                    <a:lnTo>
                      <a:pt x="11" y="0"/>
                    </a:lnTo>
                    <a:lnTo>
                      <a:pt x="10" y="0"/>
                    </a:lnTo>
                    <a:lnTo>
                      <a:pt x="10" y="2"/>
                    </a:lnTo>
                    <a:lnTo>
                      <a:pt x="0" y="18"/>
                    </a:lnTo>
                    <a:lnTo>
                      <a:pt x="0" y="25"/>
                    </a:lnTo>
                    <a:lnTo>
                      <a:pt x="1" y="28"/>
                    </a:lnTo>
                    <a:lnTo>
                      <a:pt x="4" y="30"/>
                    </a:lnTo>
                    <a:lnTo>
                      <a:pt x="7" y="28"/>
                    </a:lnTo>
                    <a:lnTo>
                      <a:pt x="13" y="28"/>
                    </a:lnTo>
                    <a:lnTo>
                      <a:pt x="17" y="27"/>
                    </a:lnTo>
                    <a:lnTo>
                      <a:pt x="20" y="22"/>
                    </a:lnTo>
                    <a:lnTo>
                      <a:pt x="23" y="22"/>
                    </a:lnTo>
                    <a:lnTo>
                      <a:pt x="23" y="21"/>
                    </a:lnTo>
                    <a:lnTo>
                      <a:pt x="21" y="21"/>
                    </a:lnTo>
                    <a:lnTo>
                      <a:pt x="21" y="1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49" name="Freeform 1223"/>
              <p:cNvSpPr>
                <a:spLocks/>
              </p:cNvSpPr>
              <p:nvPr/>
            </p:nvSpPr>
            <p:spPr bwMode="auto">
              <a:xfrm>
                <a:off x="6258540" y="1209852"/>
                <a:ext cx="139570" cy="254547"/>
              </a:xfrm>
              <a:custGeom>
                <a:avLst/>
                <a:gdLst/>
                <a:ahLst/>
                <a:cxnLst>
                  <a:cxn ang="0">
                    <a:pos x="72" y="35"/>
                  </a:cxn>
                  <a:cxn ang="0">
                    <a:pos x="79" y="86"/>
                  </a:cxn>
                  <a:cxn ang="0">
                    <a:pos x="68" y="64"/>
                  </a:cxn>
                  <a:cxn ang="0">
                    <a:pos x="48" y="31"/>
                  </a:cxn>
                  <a:cxn ang="0">
                    <a:pos x="43" y="54"/>
                  </a:cxn>
                  <a:cxn ang="0">
                    <a:pos x="36" y="42"/>
                  </a:cxn>
                  <a:cxn ang="0">
                    <a:pos x="29" y="33"/>
                  </a:cxn>
                  <a:cxn ang="0">
                    <a:pos x="45" y="23"/>
                  </a:cxn>
                  <a:cxn ang="0">
                    <a:pos x="24" y="20"/>
                  </a:cxn>
                  <a:cxn ang="0">
                    <a:pos x="18" y="28"/>
                  </a:cxn>
                  <a:cxn ang="0">
                    <a:pos x="5" y="23"/>
                  </a:cxn>
                  <a:cxn ang="0">
                    <a:pos x="4" y="36"/>
                  </a:cxn>
                  <a:cxn ang="0">
                    <a:pos x="3" y="54"/>
                  </a:cxn>
                  <a:cxn ang="0">
                    <a:pos x="8" y="73"/>
                  </a:cxn>
                  <a:cxn ang="0">
                    <a:pos x="17" y="60"/>
                  </a:cxn>
                  <a:cxn ang="0">
                    <a:pos x="14" y="73"/>
                  </a:cxn>
                  <a:cxn ang="0">
                    <a:pos x="23" y="87"/>
                  </a:cxn>
                  <a:cxn ang="0">
                    <a:pos x="14" y="94"/>
                  </a:cxn>
                  <a:cxn ang="0">
                    <a:pos x="33" y="113"/>
                  </a:cxn>
                  <a:cxn ang="0">
                    <a:pos x="27" y="125"/>
                  </a:cxn>
                  <a:cxn ang="0">
                    <a:pos x="37" y="137"/>
                  </a:cxn>
                  <a:cxn ang="0">
                    <a:pos x="49" y="131"/>
                  </a:cxn>
                  <a:cxn ang="0">
                    <a:pos x="55" y="119"/>
                  </a:cxn>
                  <a:cxn ang="0">
                    <a:pos x="62" y="109"/>
                  </a:cxn>
                  <a:cxn ang="0">
                    <a:pos x="66" y="116"/>
                  </a:cxn>
                  <a:cxn ang="0">
                    <a:pos x="81" y="103"/>
                  </a:cxn>
                  <a:cxn ang="0">
                    <a:pos x="82" y="110"/>
                  </a:cxn>
                  <a:cxn ang="0">
                    <a:pos x="87" y="124"/>
                  </a:cxn>
                  <a:cxn ang="0">
                    <a:pos x="87" y="126"/>
                  </a:cxn>
                  <a:cxn ang="0">
                    <a:pos x="69" y="137"/>
                  </a:cxn>
                  <a:cxn ang="0">
                    <a:pos x="62" y="145"/>
                  </a:cxn>
                  <a:cxn ang="0">
                    <a:pos x="48" y="153"/>
                  </a:cxn>
                  <a:cxn ang="0">
                    <a:pos x="43" y="169"/>
                  </a:cxn>
                  <a:cxn ang="0">
                    <a:pos x="56" y="166"/>
                  </a:cxn>
                  <a:cxn ang="0">
                    <a:pos x="68" y="163"/>
                  </a:cxn>
                  <a:cxn ang="0">
                    <a:pos x="87" y="157"/>
                  </a:cxn>
                  <a:cxn ang="0">
                    <a:pos x="81" y="166"/>
                  </a:cxn>
                  <a:cxn ang="0">
                    <a:pos x="61" y="174"/>
                  </a:cxn>
                  <a:cxn ang="0">
                    <a:pos x="66" y="183"/>
                  </a:cxn>
                  <a:cxn ang="0">
                    <a:pos x="55" y="180"/>
                  </a:cxn>
                  <a:cxn ang="0">
                    <a:pos x="52" y="206"/>
                  </a:cxn>
                  <a:cxn ang="0">
                    <a:pos x="71" y="217"/>
                  </a:cxn>
                  <a:cxn ang="0">
                    <a:pos x="78" y="222"/>
                  </a:cxn>
                  <a:cxn ang="0">
                    <a:pos x="79" y="244"/>
                  </a:cxn>
                  <a:cxn ang="0">
                    <a:pos x="90" y="237"/>
                  </a:cxn>
                  <a:cxn ang="0">
                    <a:pos x="94" y="219"/>
                  </a:cxn>
                  <a:cxn ang="0">
                    <a:pos x="98" y="193"/>
                  </a:cxn>
                  <a:cxn ang="0">
                    <a:pos x="107" y="186"/>
                  </a:cxn>
                  <a:cxn ang="0">
                    <a:pos x="110" y="150"/>
                  </a:cxn>
                  <a:cxn ang="0">
                    <a:pos x="119" y="132"/>
                  </a:cxn>
                  <a:cxn ang="0">
                    <a:pos x="126" y="113"/>
                  </a:cxn>
                  <a:cxn ang="0">
                    <a:pos x="148" y="105"/>
                  </a:cxn>
                  <a:cxn ang="0">
                    <a:pos x="138" y="86"/>
                  </a:cxn>
                  <a:cxn ang="0">
                    <a:pos x="114" y="61"/>
                  </a:cxn>
                  <a:cxn ang="0">
                    <a:pos x="107" y="32"/>
                  </a:cxn>
                  <a:cxn ang="0">
                    <a:pos x="97" y="51"/>
                  </a:cxn>
                  <a:cxn ang="0">
                    <a:pos x="100" y="36"/>
                  </a:cxn>
                  <a:cxn ang="0">
                    <a:pos x="87" y="13"/>
                  </a:cxn>
                  <a:cxn ang="0">
                    <a:pos x="75" y="6"/>
                  </a:cxn>
                </a:cxnLst>
                <a:rect l="0" t="0" r="r" b="b"/>
                <a:pathLst>
                  <a:path w="152" h="244">
                    <a:moveTo>
                      <a:pt x="75" y="6"/>
                    </a:moveTo>
                    <a:lnTo>
                      <a:pt x="74" y="9"/>
                    </a:lnTo>
                    <a:lnTo>
                      <a:pt x="75" y="12"/>
                    </a:lnTo>
                    <a:lnTo>
                      <a:pt x="72" y="12"/>
                    </a:lnTo>
                    <a:lnTo>
                      <a:pt x="71" y="26"/>
                    </a:lnTo>
                    <a:lnTo>
                      <a:pt x="72" y="26"/>
                    </a:lnTo>
                    <a:lnTo>
                      <a:pt x="72" y="35"/>
                    </a:lnTo>
                    <a:lnTo>
                      <a:pt x="72" y="36"/>
                    </a:lnTo>
                    <a:lnTo>
                      <a:pt x="74" y="60"/>
                    </a:lnTo>
                    <a:lnTo>
                      <a:pt x="75" y="61"/>
                    </a:lnTo>
                    <a:lnTo>
                      <a:pt x="75" y="68"/>
                    </a:lnTo>
                    <a:lnTo>
                      <a:pt x="82" y="84"/>
                    </a:lnTo>
                    <a:lnTo>
                      <a:pt x="81" y="86"/>
                    </a:lnTo>
                    <a:lnTo>
                      <a:pt x="79" y="86"/>
                    </a:lnTo>
                    <a:lnTo>
                      <a:pt x="77" y="81"/>
                    </a:lnTo>
                    <a:lnTo>
                      <a:pt x="69" y="67"/>
                    </a:lnTo>
                    <a:lnTo>
                      <a:pt x="68" y="67"/>
                    </a:lnTo>
                    <a:lnTo>
                      <a:pt x="68" y="68"/>
                    </a:lnTo>
                    <a:lnTo>
                      <a:pt x="66" y="68"/>
                    </a:lnTo>
                    <a:lnTo>
                      <a:pt x="66" y="68"/>
                    </a:lnTo>
                    <a:lnTo>
                      <a:pt x="68" y="64"/>
                    </a:lnTo>
                    <a:lnTo>
                      <a:pt x="63" y="28"/>
                    </a:lnTo>
                    <a:lnTo>
                      <a:pt x="62" y="26"/>
                    </a:lnTo>
                    <a:lnTo>
                      <a:pt x="61" y="23"/>
                    </a:lnTo>
                    <a:lnTo>
                      <a:pt x="58" y="22"/>
                    </a:lnTo>
                    <a:lnTo>
                      <a:pt x="53" y="19"/>
                    </a:lnTo>
                    <a:lnTo>
                      <a:pt x="50" y="28"/>
                    </a:lnTo>
                    <a:lnTo>
                      <a:pt x="48" y="31"/>
                    </a:lnTo>
                    <a:lnTo>
                      <a:pt x="48" y="32"/>
                    </a:lnTo>
                    <a:lnTo>
                      <a:pt x="45" y="35"/>
                    </a:lnTo>
                    <a:lnTo>
                      <a:pt x="45" y="39"/>
                    </a:lnTo>
                    <a:lnTo>
                      <a:pt x="49" y="61"/>
                    </a:lnTo>
                    <a:lnTo>
                      <a:pt x="50" y="64"/>
                    </a:lnTo>
                    <a:lnTo>
                      <a:pt x="48" y="62"/>
                    </a:lnTo>
                    <a:lnTo>
                      <a:pt x="43" y="54"/>
                    </a:lnTo>
                    <a:lnTo>
                      <a:pt x="42" y="48"/>
                    </a:lnTo>
                    <a:lnTo>
                      <a:pt x="39" y="44"/>
                    </a:lnTo>
                    <a:lnTo>
                      <a:pt x="39" y="46"/>
                    </a:lnTo>
                    <a:lnTo>
                      <a:pt x="37" y="51"/>
                    </a:lnTo>
                    <a:lnTo>
                      <a:pt x="36" y="48"/>
                    </a:lnTo>
                    <a:lnTo>
                      <a:pt x="36" y="45"/>
                    </a:lnTo>
                    <a:lnTo>
                      <a:pt x="36" y="42"/>
                    </a:lnTo>
                    <a:lnTo>
                      <a:pt x="37" y="41"/>
                    </a:lnTo>
                    <a:lnTo>
                      <a:pt x="39" y="36"/>
                    </a:lnTo>
                    <a:lnTo>
                      <a:pt x="34" y="36"/>
                    </a:lnTo>
                    <a:lnTo>
                      <a:pt x="27" y="39"/>
                    </a:lnTo>
                    <a:lnTo>
                      <a:pt x="23" y="38"/>
                    </a:lnTo>
                    <a:lnTo>
                      <a:pt x="24" y="35"/>
                    </a:lnTo>
                    <a:lnTo>
                      <a:pt x="29" y="33"/>
                    </a:lnTo>
                    <a:lnTo>
                      <a:pt x="32" y="29"/>
                    </a:lnTo>
                    <a:lnTo>
                      <a:pt x="33" y="28"/>
                    </a:lnTo>
                    <a:lnTo>
                      <a:pt x="36" y="28"/>
                    </a:lnTo>
                    <a:lnTo>
                      <a:pt x="37" y="25"/>
                    </a:lnTo>
                    <a:lnTo>
                      <a:pt x="39" y="28"/>
                    </a:lnTo>
                    <a:lnTo>
                      <a:pt x="43" y="26"/>
                    </a:lnTo>
                    <a:lnTo>
                      <a:pt x="45" y="23"/>
                    </a:lnTo>
                    <a:lnTo>
                      <a:pt x="45" y="20"/>
                    </a:lnTo>
                    <a:lnTo>
                      <a:pt x="43" y="15"/>
                    </a:lnTo>
                    <a:lnTo>
                      <a:pt x="40" y="15"/>
                    </a:lnTo>
                    <a:lnTo>
                      <a:pt x="36" y="16"/>
                    </a:lnTo>
                    <a:lnTo>
                      <a:pt x="32" y="20"/>
                    </a:lnTo>
                    <a:lnTo>
                      <a:pt x="26" y="22"/>
                    </a:lnTo>
                    <a:lnTo>
                      <a:pt x="24" y="20"/>
                    </a:lnTo>
                    <a:lnTo>
                      <a:pt x="23" y="20"/>
                    </a:lnTo>
                    <a:lnTo>
                      <a:pt x="23" y="15"/>
                    </a:lnTo>
                    <a:lnTo>
                      <a:pt x="20" y="16"/>
                    </a:lnTo>
                    <a:lnTo>
                      <a:pt x="21" y="28"/>
                    </a:lnTo>
                    <a:lnTo>
                      <a:pt x="20" y="28"/>
                    </a:lnTo>
                    <a:lnTo>
                      <a:pt x="20" y="26"/>
                    </a:lnTo>
                    <a:lnTo>
                      <a:pt x="18" y="28"/>
                    </a:lnTo>
                    <a:lnTo>
                      <a:pt x="13" y="16"/>
                    </a:lnTo>
                    <a:lnTo>
                      <a:pt x="11" y="17"/>
                    </a:lnTo>
                    <a:lnTo>
                      <a:pt x="11" y="20"/>
                    </a:lnTo>
                    <a:lnTo>
                      <a:pt x="10" y="23"/>
                    </a:lnTo>
                    <a:lnTo>
                      <a:pt x="7" y="20"/>
                    </a:lnTo>
                    <a:lnTo>
                      <a:pt x="5" y="22"/>
                    </a:lnTo>
                    <a:lnTo>
                      <a:pt x="5" y="23"/>
                    </a:lnTo>
                    <a:lnTo>
                      <a:pt x="8" y="31"/>
                    </a:lnTo>
                    <a:lnTo>
                      <a:pt x="8" y="32"/>
                    </a:lnTo>
                    <a:lnTo>
                      <a:pt x="4" y="32"/>
                    </a:lnTo>
                    <a:lnTo>
                      <a:pt x="3" y="26"/>
                    </a:lnTo>
                    <a:lnTo>
                      <a:pt x="1" y="26"/>
                    </a:lnTo>
                    <a:lnTo>
                      <a:pt x="1" y="32"/>
                    </a:lnTo>
                    <a:lnTo>
                      <a:pt x="4" y="36"/>
                    </a:lnTo>
                    <a:lnTo>
                      <a:pt x="4" y="41"/>
                    </a:lnTo>
                    <a:lnTo>
                      <a:pt x="1" y="39"/>
                    </a:lnTo>
                    <a:lnTo>
                      <a:pt x="0" y="39"/>
                    </a:lnTo>
                    <a:lnTo>
                      <a:pt x="0" y="42"/>
                    </a:lnTo>
                    <a:lnTo>
                      <a:pt x="1" y="44"/>
                    </a:lnTo>
                    <a:lnTo>
                      <a:pt x="1" y="57"/>
                    </a:lnTo>
                    <a:lnTo>
                      <a:pt x="3" y="54"/>
                    </a:lnTo>
                    <a:lnTo>
                      <a:pt x="4" y="62"/>
                    </a:lnTo>
                    <a:lnTo>
                      <a:pt x="4" y="58"/>
                    </a:lnTo>
                    <a:lnTo>
                      <a:pt x="5" y="62"/>
                    </a:lnTo>
                    <a:lnTo>
                      <a:pt x="5" y="65"/>
                    </a:lnTo>
                    <a:lnTo>
                      <a:pt x="7" y="67"/>
                    </a:lnTo>
                    <a:lnTo>
                      <a:pt x="7" y="71"/>
                    </a:lnTo>
                    <a:lnTo>
                      <a:pt x="8" y="73"/>
                    </a:lnTo>
                    <a:lnTo>
                      <a:pt x="10" y="71"/>
                    </a:lnTo>
                    <a:lnTo>
                      <a:pt x="13" y="64"/>
                    </a:lnTo>
                    <a:lnTo>
                      <a:pt x="10" y="60"/>
                    </a:lnTo>
                    <a:lnTo>
                      <a:pt x="14" y="60"/>
                    </a:lnTo>
                    <a:lnTo>
                      <a:pt x="16" y="62"/>
                    </a:lnTo>
                    <a:lnTo>
                      <a:pt x="16" y="61"/>
                    </a:lnTo>
                    <a:lnTo>
                      <a:pt x="17" y="60"/>
                    </a:lnTo>
                    <a:lnTo>
                      <a:pt x="18" y="58"/>
                    </a:lnTo>
                    <a:lnTo>
                      <a:pt x="18" y="62"/>
                    </a:lnTo>
                    <a:lnTo>
                      <a:pt x="18" y="64"/>
                    </a:lnTo>
                    <a:lnTo>
                      <a:pt x="16" y="65"/>
                    </a:lnTo>
                    <a:lnTo>
                      <a:pt x="16" y="68"/>
                    </a:lnTo>
                    <a:lnTo>
                      <a:pt x="16" y="71"/>
                    </a:lnTo>
                    <a:lnTo>
                      <a:pt x="14" y="73"/>
                    </a:lnTo>
                    <a:lnTo>
                      <a:pt x="13" y="76"/>
                    </a:lnTo>
                    <a:lnTo>
                      <a:pt x="17" y="78"/>
                    </a:lnTo>
                    <a:lnTo>
                      <a:pt x="17" y="81"/>
                    </a:lnTo>
                    <a:lnTo>
                      <a:pt x="20" y="83"/>
                    </a:lnTo>
                    <a:lnTo>
                      <a:pt x="23" y="81"/>
                    </a:lnTo>
                    <a:lnTo>
                      <a:pt x="24" y="84"/>
                    </a:lnTo>
                    <a:lnTo>
                      <a:pt x="23" y="87"/>
                    </a:lnTo>
                    <a:lnTo>
                      <a:pt x="14" y="84"/>
                    </a:lnTo>
                    <a:lnTo>
                      <a:pt x="11" y="83"/>
                    </a:lnTo>
                    <a:lnTo>
                      <a:pt x="8" y="83"/>
                    </a:lnTo>
                    <a:lnTo>
                      <a:pt x="16" y="90"/>
                    </a:lnTo>
                    <a:lnTo>
                      <a:pt x="17" y="92"/>
                    </a:lnTo>
                    <a:lnTo>
                      <a:pt x="17" y="93"/>
                    </a:lnTo>
                    <a:lnTo>
                      <a:pt x="14" y="94"/>
                    </a:lnTo>
                    <a:lnTo>
                      <a:pt x="13" y="99"/>
                    </a:lnTo>
                    <a:lnTo>
                      <a:pt x="17" y="102"/>
                    </a:lnTo>
                    <a:lnTo>
                      <a:pt x="17" y="105"/>
                    </a:lnTo>
                    <a:lnTo>
                      <a:pt x="18" y="106"/>
                    </a:lnTo>
                    <a:lnTo>
                      <a:pt x="18" y="108"/>
                    </a:lnTo>
                    <a:lnTo>
                      <a:pt x="29" y="113"/>
                    </a:lnTo>
                    <a:lnTo>
                      <a:pt x="33" y="113"/>
                    </a:lnTo>
                    <a:lnTo>
                      <a:pt x="34" y="112"/>
                    </a:lnTo>
                    <a:lnTo>
                      <a:pt x="34" y="115"/>
                    </a:lnTo>
                    <a:lnTo>
                      <a:pt x="32" y="116"/>
                    </a:lnTo>
                    <a:lnTo>
                      <a:pt x="24" y="118"/>
                    </a:lnTo>
                    <a:lnTo>
                      <a:pt x="24" y="119"/>
                    </a:lnTo>
                    <a:lnTo>
                      <a:pt x="27" y="122"/>
                    </a:lnTo>
                    <a:lnTo>
                      <a:pt x="27" y="125"/>
                    </a:lnTo>
                    <a:lnTo>
                      <a:pt x="30" y="126"/>
                    </a:lnTo>
                    <a:lnTo>
                      <a:pt x="33" y="126"/>
                    </a:lnTo>
                    <a:lnTo>
                      <a:pt x="33" y="131"/>
                    </a:lnTo>
                    <a:lnTo>
                      <a:pt x="32" y="132"/>
                    </a:lnTo>
                    <a:lnTo>
                      <a:pt x="33" y="137"/>
                    </a:lnTo>
                    <a:lnTo>
                      <a:pt x="33" y="135"/>
                    </a:lnTo>
                    <a:lnTo>
                      <a:pt x="37" y="137"/>
                    </a:lnTo>
                    <a:lnTo>
                      <a:pt x="39" y="135"/>
                    </a:lnTo>
                    <a:lnTo>
                      <a:pt x="40" y="137"/>
                    </a:lnTo>
                    <a:lnTo>
                      <a:pt x="40" y="137"/>
                    </a:lnTo>
                    <a:lnTo>
                      <a:pt x="45" y="138"/>
                    </a:lnTo>
                    <a:lnTo>
                      <a:pt x="45" y="134"/>
                    </a:lnTo>
                    <a:lnTo>
                      <a:pt x="49" y="134"/>
                    </a:lnTo>
                    <a:lnTo>
                      <a:pt x="49" y="131"/>
                    </a:lnTo>
                    <a:lnTo>
                      <a:pt x="49" y="129"/>
                    </a:lnTo>
                    <a:lnTo>
                      <a:pt x="50" y="125"/>
                    </a:lnTo>
                    <a:lnTo>
                      <a:pt x="53" y="125"/>
                    </a:lnTo>
                    <a:lnTo>
                      <a:pt x="55" y="126"/>
                    </a:lnTo>
                    <a:lnTo>
                      <a:pt x="56" y="125"/>
                    </a:lnTo>
                    <a:lnTo>
                      <a:pt x="56" y="122"/>
                    </a:lnTo>
                    <a:lnTo>
                      <a:pt x="55" y="119"/>
                    </a:lnTo>
                    <a:lnTo>
                      <a:pt x="52" y="119"/>
                    </a:lnTo>
                    <a:lnTo>
                      <a:pt x="56" y="100"/>
                    </a:lnTo>
                    <a:lnTo>
                      <a:pt x="58" y="99"/>
                    </a:lnTo>
                    <a:lnTo>
                      <a:pt x="59" y="100"/>
                    </a:lnTo>
                    <a:lnTo>
                      <a:pt x="59" y="106"/>
                    </a:lnTo>
                    <a:lnTo>
                      <a:pt x="61" y="109"/>
                    </a:lnTo>
                    <a:lnTo>
                      <a:pt x="62" y="109"/>
                    </a:lnTo>
                    <a:lnTo>
                      <a:pt x="63" y="105"/>
                    </a:lnTo>
                    <a:lnTo>
                      <a:pt x="65" y="96"/>
                    </a:lnTo>
                    <a:lnTo>
                      <a:pt x="66" y="92"/>
                    </a:lnTo>
                    <a:lnTo>
                      <a:pt x="68" y="96"/>
                    </a:lnTo>
                    <a:lnTo>
                      <a:pt x="68" y="100"/>
                    </a:lnTo>
                    <a:lnTo>
                      <a:pt x="65" y="110"/>
                    </a:lnTo>
                    <a:lnTo>
                      <a:pt x="66" y="116"/>
                    </a:lnTo>
                    <a:lnTo>
                      <a:pt x="68" y="118"/>
                    </a:lnTo>
                    <a:lnTo>
                      <a:pt x="69" y="121"/>
                    </a:lnTo>
                    <a:lnTo>
                      <a:pt x="77" y="118"/>
                    </a:lnTo>
                    <a:lnTo>
                      <a:pt x="77" y="115"/>
                    </a:lnTo>
                    <a:lnTo>
                      <a:pt x="79" y="113"/>
                    </a:lnTo>
                    <a:lnTo>
                      <a:pt x="81" y="110"/>
                    </a:lnTo>
                    <a:lnTo>
                      <a:pt x="81" y="103"/>
                    </a:lnTo>
                    <a:lnTo>
                      <a:pt x="82" y="102"/>
                    </a:lnTo>
                    <a:lnTo>
                      <a:pt x="84" y="99"/>
                    </a:lnTo>
                    <a:lnTo>
                      <a:pt x="85" y="100"/>
                    </a:lnTo>
                    <a:lnTo>
                      <a:pt x="85" y="103"/>
                    </a:lnTo>
                    <a:lnTo>
                      <a:pt x="87" y="105"/>
                    </a:lnTo>
                    <a:lnTo>
                      <a:pt x="84" y="109"/>
                    </a:lnTo>
                    <a:lnTo>
                      <a:pt x="82" y="110"/>
                    </a:lnTo>
                    <a:lnTo>
                      <a:pt x="82" y="113"/>
                    </a:lnTo>
                    <a:lnTo>
                      <a:pt x="81" y="116"/>
                    </a:lnTo>
                    <a:lnTo>
                      <a:pt x="81" y="118"/>
                    </a:lnTo>
                    <a:lnTo>
                      <a:pt x="81" y="121"/>
                    </a:lnTo>
                    <a:lnTo>
                      <a:pt x="82" y="121"/>
                    </a:lnTo>
                    <a:lnTo>
                      <a:pt x="84" y="118"/>
                    </a:lnTo>
                    <a:lnTo>
                      <a:pt x="87" y="124"/>
                    </a:lnTo>
                    <a:lnTo>
                      <a:pt x="88" y="124"/>
                    </a:lnTo>
                    <a:lnTo>
                      <a:pt x="94" y="121"/>
                    </a:lnTo>
                    <a:lnTo>
                      <a:pt x="94" y="122"/>
                    </a:lnTo>
                    <a:lnTo>
                      <a:pt x="94" y="124"/>
                    </a:lnTo>
                    <a:lnTo>
                      <a:pt x="90" y="124"/>
                    </a:lnTo>
                    <a:lnTo>
                      <a:pt x="90" y="125"/>
                    </a:lnTo>
                    <a:lnTo>
                      <a:pt x="87" y="126"/>
                    </a:lnTo>
                    <a:lnTo>
                      <a:pt x="87" y="128"/>
                    </a:lnTo>
                    <a:lnTo>
                      <a:pt x="81" y="128"/>
                    </a:lnTo>
                    <a:lnTo>
                      <a:pt x="79" y="126"/>
                    </a:lnTo>
                    <a:lnTo>
                      <a:pt x="74" y="126"/>
                    </a:lnTo>
                    <a:lnTo>
                      <a:pt x="69" y="131"/>
                    </a:lnTo>
                    <a:lnTo>
                      <a:pt x="71" y="134"/>
                    </a:lnTo>
                    <a:lnTo>
                      <a:pt x="69" y="137"/>
                    </a:lnTo>
                    <a:lnTo>
                      <a:pt x="68" y="135"/>
                    </a:lnTo>
                    <a:lnTo>
                      <a:pt x="66" y="134"/>
                    </a:lnTo>
                    <a:lnTo>
                      <a:pt x="65" y="137"/>
                    </a:lnTo>
                    <a:lnTo>
                      <a:pt x="63" y="138"/>
                    </a:lnTo>
                    <a:lnTo>
                      <a:pt x="62" y="141"/>
                    </a:lnTo>
                    <a:lnTo>
                      <a:pt x="62" y="141"/>
                    </a:lnTo>
                    <a:lnTo>
                      <a:pt x="62" y="145"/>
                    </a:lnTo>
                    <a:lnTo>
                      <a:pt x="59" y="145"/>
                    </a:lnTo>
                    <a:lnTo>
                      <a:pt x="58" y="145"/>
                    </a:lnTo>
                    <a:lnTo>
                      <a:pt x="49" y="147"/>
                    </a:lnTo>
                    <a:lnTo>
                      <a:pt x="49" y="148"/>
                    </a:lnTo>
                    <a:lnTo>
                      <a:pt x="50" y="151"/>
                    </a:lnTo>
                    <a:lnTo>
                      <a:pt x="50" y="154"/>
                    </a:lnTo>
                    <a:lnTo>
                      <a:pt x="48" y="153"/>
                    </a:lnTo>
                    <a:lnTo>
                      <a:pt x="48" y="150"/>
                    </a:lnTo>
                    <a:lnTo>
                      <a:pt x="46" y="147"/>
                    </a:lnTo>
                    <a:lnTo>
                      <a:pt x="43" y="148"/>
                    </a:lnTo>
                    <a:lnTo>
                      <a:pt x="42" y="150"/>
                    </a:lnTo>
                    <a:lnTo>
                      <a:pt x="43" y="166"/>
                    </a:lnTo>
                    <a:lnTo>
                      <a:pt x="43" y="167"/>
                    </a:lnTo>
                    <a:lnTo>
                      <a:pt x="43" y="169"/>
                    </a:lnTo>
                    <a:lnTo>
                      <a:pt x="45" y="170"/>
                    </a:lnTo>
                    <a:lnTo>
                      <a:pt x="48" y="170"/>
                    </a:lnTo>
                    <a:lnTo>
                      <a:pt x="50" y="167"/>
                    </a:lnTo>
                    <a:lnTo>
                      <a:pt x="52" y="169"/>
                    </a:lnTo>
                    <a:lnTo>
                      <a:pt x="55" y="169"/>
                    </a:lnTo>
                    <a:lnTo>
                      <a:pt x="55" y="166"/>
                    </a:lnTo>
                    <a:lnTo>
                      <a:pt x="56" y="166"/>
                    </a:lnTo>
                    <a:lnTo>
                      <a:pt x="58" y="169"/>
                    </a:lnTo>
                    <a:lnTo>
                      <a:pt x="59" y="169"/>
                    </a:lnTo>
                    <a:lnTo>
                      <a:pt x="59" y="166"/>
                    </a:lnTo>
                    <a:lnTo>
                      <a:pt x="61" y="167"/>
                    </a:lnTo>
                    <a:lnTo>
                      <a:pt x="65" y="166"/>
                    </a:lnTo>
                    <a:lnTo>
                      <a:pt x="66" y="163"/>
                    </a:lnTo>
                    <a:lnTo>
                      <a:pt x="68" y="163"/>
                    </a:lnTo>
                    <a:lnTo>
                      <a:pt x="71" y="163"/>
                    </a:lnTo>
                    <a:lnTo>
                      <a:pt x="72" y="164"/>
                    </a:lnTo>
                    <a:lnTo>
                      <a:pt x="79" y="161"/>
                    </a:lnTo>
                    <a:lnTo>
                      <a:pt x="81" y="163"/>
                    </a:lnTo>
                    <a:lnTo>
                      <a:pt x="84" y="161"/>
                    </a:lnTo>
                    <a:lnTo>
                      <a:pt x="85" y="158"/>
                    </a:lnTo>
                    <a:lnTo>
                      <a:pt x="87" y="157"/>
                    </a:lnTo>
                    <a:lnTo>
                      <a:pt x="88" y="160"/>
                    </a:lnTo>
                    <a:lnTo>
                      <a:pt x="87" y="160"/>
                    </a:lnTo>
                    <a:lnTo>
                      <a:pt x="88" y="161"/>
                    </a:lnTo>
                    <a:lnTo>
                      <a:pt x="88" y="166"/>
                    </a:lnTo>
                    <a:lnTo>
                      <a:pt x="87" y="166"/>
                    </a:lnTo>
                    <a:lnTo>
                      <a:pt x="82" y="164"/>
                    </a:lnTo>
                    <a:lnTo>
                      <a:pt x="81" y="166"/>
                    </a:lnTo>
                    <a:lnTo>
                      <a:pt x="79" y="164"/>
                    </a:lnTo>
                    <a:lnTo>
                      <a:pt x="79" y="167"/>
                    </a:lnTo>
                    <a:lnTo>
                      <a:pt x="77" y="167"/>
                    </a:lnTo>
                    <a:lnTo>
                      <a:pt x="77" y="169"/>
                    </a:lnTo>
                    <a:lnTo>
                      <a:pt x="74" y="170"/>
                    </a:lnTo>
                    <a:lnTo>
                      <a:pt x="72" y="169"/>
                    </a:lnTo>
                    <a:lnTo>
                      <a:pt x="61" y="174"/>
                    </a:lnTo>
                    <a:lnTo>
                      <a:pt x="59" y="174"/>
                    </a:lnTo>
                    <a:lnTo>
                      <a:pt x="59" y="176"/>
                    </a:lnTo>
                    <a:lnTo>
                      <a:pt x="62" y="179"/>
                    </a:lnTo>
                    <a:lnTo>
                      <a:pt x="74" y="180"/>
                    </a:lnTo>
                    <a:lnTo>
                      <a:pt x="75" y="185"/>
                    </a:lnTo>
                    <a:lnTo>
                      <a:pt x="75" y="186"/>
                    </a:lnTo>
                    <a:lnTo>
                      <a:pt x="66" y="183"/>
                    </a:lnTo>
                    <a:lnTo>
                      <a:pt x="66" y="183"/>
                    </a:lnTo>
                    <a:lnTo>
                      <a:pt x="63" y="183"/>
                    </a:lnTo>
                    <a:lnTo>
                      <a:pt x="61" y="182"/>
                    </a:lnTo>
                    <a:lnTo>
                      <a:pt x="58" y="182"/>
                    </a:lnTo>
                    <a:lnTo>
                      <a:pt x="58" y="186"/>
                    </a:lnTo>
                    <a:lnTo>
                      <a:pt x="55" y="186"/>
                    </a:lnTo>
                    <a:lnTo>
                      <a:pt x="55" y="180"/>
                    </a:lnTo>
                    <a:lnTo>
                      <a:pt x="50" y="180"/>
                    </a:lnTo>
                    <a:lnTo>
                      <a:pt x="46" y="185"/>
                    </a:lnTo>
                    <a:lnTo>
                      <a:pt x="48" y="189"/>
                    </a:lnTo>
                    <a:lnTo>
                      <a:pt x="48" y="192"/>
                    </a:lnTo>
                    <a:lnTo>
                      <a:pt x="50" y="201"/>
                    </a:lnTo>
                    <a:lnTo>
                      <a:pt x="50" y="202"/>
                    </a:lnTo>
                    <a:lnTo>
                      <a:pt x="52" y="206"/>
                    </a:lnTo>
                    <a:lnTo>
                      <a:pt x="61" y="211"/>
                    </a:lnTo>
                    <a:lnTo>
                      <a:pt x="62" y="209"/>
                    </a:lnTo>
                    <a:lnTo>
                      <a:pt x="63" y="212"/>
                    </a:lnTo>
                    <a:lnTo>
                      <a:pt x="63" y="215"/>
                    </a:lnTo>
                    <a:lnTo>
                      <a:pt x="65" y="217"/>
                    </a:lnTo>
                    <a:lnTo>
                      <a:pt x="69" y="217"/>
                    </a:lnTo>
                    <a:lnTo>
                      <a:pt x="71" y="217"/>
                    </a:lnTo>
                    <a:lnTo>
                      <a:pt x="72" y="217"/>
                    </a:lnTo>
                    <a:lnTo>
                      <a:pt x="74" y="215"/>
                    </a:lnTo>
                    <a:lnTo>
                      <a:pt x="77" y="215"/>
                    </a:lnTo>
                    <a:lnTo>
                      <a:pt x="79" y="218"/>
                    </a:lnTo>
                    <a:lnTo>
                      <a:pt x="81" y="217"/>
                    </a:lnTo>
                    <a:lnTo>
                      <a:pt x="81" y="219"/>
                    </a:lnTo>
                    <a:lnTo>
                      <a:pt x="78" y="222"/>
                    </a:lnTo>
                    <a:lnTo>
                      <a:pt x="78" y="221"/>
                    </a:lnTo>
                    <a:lnTo>
                      <a:pt x="74" y="221"/>
                    </a:lnTo>
                    <a:lnTo>
                      <a:pt x="69" y="224"/>
                    </a:lnTo>
                    <a:lnTo>
                      <a:pt x="69" y="227"/>
                    </a:lnTo>
                    <a:lnTo>
                      <a:pt x="79" y="235"/>
                    </a:lnTo>
                    <a:lnTo>
                      <a:pt x="79" y="237"/>
                    </a:lnTo>
                    <a:lnTo>
                      <a:pt x="79" y="244"/>
                    </a:lnTo>
                    <a:lnTo>
                      <a:pt x="81" y="243"/>
                    </a:lnTo>
                    <a:lnTo>
                      <a:pt x="82" y="240"/>
                    </a:lnTo>
                    <a:lnTo>
                      <a:pt x="82" y="241"/>
                    </a:lnTo>
                    <a:lnTo>
                      <a:pt x="85" y="244"/>
                    </a:lnTo>
                    <a:lnTo>
                      <a:pt x="87" y="244"/>
                    </a:lnTo>
                    <a:lnTo>
                      <a:pt x="90" y="241"/>
                    </a:lnTo>
                    <a:lnTo>
                      <a:pt x="90" y="237"/>
                    </a:lnTo>
                    <a:lnTo>
                      <a:pt x="91" y="237"/>
                    </a:lnTo>
                    <a:lnTo>
                      <a:pt x="90" y="231"/>
                    </a:lnTo>
                    <a:lnTo>
                      <a:pt x="90" y="228"/>
                    </a:lnTo>
                    <a:lnTo>
                      <a:pt x="90" y="227"/>
                    </a:lnTo>
                    <a:lnTo>
                      <a:pt x="91" y="225"/>
                    </a:lnTo>
                    <a:lnTo>
                      <a:pt x="94" y="222"/>
                    </a:lnTo>
                    <a:lnTo>
                      <a:pt x="94" y="219"/>
                    </a:lnTo>
                    <a:lnTo>
                      <a:pt x="94" y="218"/>
                    </a:lnTo>
                    <a:lnTo>
                      <a:pt x="95" y="217"/>
                    </a:lnTo>
                    <a:lnTo>
                      <a:pt x="94" y="214"/>
                    </a:lnTo>
                    <a:lnTo>
                      <a:pt x="95" y="209"/>
                    </a:lnTo>
                    <a:lnTo>
                      <a:pt x="94" y="201"/>
                    </a:lnTo>
                    <a:lnTo>
                      <a:pt x="95" y="198"/>
                    </a:lnTo>
                    <a:lnTo>
                      <a:pt x="98" y="193"/>
                    </a:lnTo>
                    <a:lnTo>
                      <a:pt x="101" y="193"/>
                    </a:lnTo>
                    <a:lnTo>
                      <a:pt x="100" y="190"/>
                    </a:lnTo>
                    <a:lnTo>
                      <a:pt x="98" y="190"/>
                    </a:lnTo>
                    <a:lnTo>
                      <a:pt x="97" y="187"/>
                    </a:lnTo>
                    <a:lnTo>
                      <a:pt x="104" y="185"/>
                    </a:lnTo>
                    <a:lnTo>
                      <a:pt x="107" y="186"/>
                    </a:lnTo>
                    <a:lnTo>
                      <a:pt x="107" y="186"/>
                    </a:lnTo>
                    <a:lnTo>
                      <a:pt x="107" y="183"/>
                    </a:lnTo>
                    <a:lnTo>
                      <a:pt x="109" y="182"/>
                    </a:lnTo>
                    <a:lnTo>
                      <a:pt x="110" y="173"/>
                    </a:lnTo>
                    <a:lnTo>
                      <a:pt x="109" y="173"/>
                    </a:lnTo>
                    <a:lnTo>
                      <a:pt x="110" y="153"/>
                    </a:lnTo>
                    <a:lnTo>
                      <a:pt x="110" y="153"/>
                    </a:lnTo>
                    <a:lnTo>
                      <a:pt x="110" y="150"/>
                    </a:lnTo>
                    <a:lnTo>
                      <a:pt x="113" y="148"/>
                    </a:lnTo>
                    <a:lnTo>
                      <a:pt x="116" y="150"/>
                    </a:lnTo>
                    <a:lnTo>
                      <a:pt x="117" y="150"/>
                    </a:lnTo>
                    <a:lnTo>
                      <a:pt x="117" y="138"/>
                    </a:lnTo>
                    <a:lnTo>
                      <a:pt x="119" y="137"/>
                    </a:lnTo>
                    <a:lnTo>
                      <a:pt x="117" y="134"/>
                    </a:lnTo>
                    <a:lnTo>
                      <a:pt x="119" y="132"/>
                    </a:lnTo>
                    <a:lnTo>
                      <a:pt x="119" y="131"/>
                    </a:lnTo>
                    <a:lnTo>
                      <a:pt x="119" y="124"/>
                    </a:lnTo>
                    <a:lnTo>
                      <a:pt x="119" y="121"/>
                    </a:lnTo>
                    <a:lnTo>
                      <a:pt x="122" y="121"/>
                    </a:lnTo>
                    <a:lnTo>
                      <a:pt x="123" y="118"/>
                    </a:lnTo>
                    <a:lnTo>
                      <a:pt x="124" y="118"/>
                    </a:lnTo>
                    <a:lnTo>
                      <a:pt x="126" y="113"/>
                    </a:lnTo>
                    <a:lnTo>
                      <a:pt x="124" y="110"/>
                    </a:lnTo>
                    <a:lnTo>
                      <a:pt x="129" y="109"/>
                    </a:lnTo>
                    <a:lnTo>
                      <a:pt x="132" y="110"/>
                    </a:lnTo>
                    <a:lnTo>
                      <a:pt x="135" y="106"/>
                    </a:lnTo>
                    <a:lnTo>
                      <a:pt x="139" y="106"/>
                    </a:lnTo>
                    <a:lnTo>
                      <a:pt x="142" y="102"/>
                    </a:lnTo>
                    <a:lnTo>
                      <a:pt x="148" y="105"/>
                    </a:lnTo>
                    <a:lnTo>
                      <a:pt x="151" y="103"/>
                    </a:lnTo>
                    <a:lnTo>
                      <a:pt x="151" y="102"/>
                    </a:lnTo>
                    <a:lnTo>
                      <a:pt x="152" y="97"/>
                    </a:lnTo>
                    <a:lnTo>
                      <a:pt x="152" y="90"/>
                    </a:lnTo>
                    <a:lnTo>
                      <a:pt x="151" y="89"/>
                    </a:lnTo>
                    <a:lnTo>
                      <a:pt x="148" y="89"/>
                    </a:lnTo>
                    <a:lnTo>
                      <a:pt x="138" y="86"/>
                    </a:lnTo>
                    <a:lnTo>
                      <a:pt x="135" y="83"/>
                    </a:lnTo>
                    <a:lnTo>
                      <a:pt x="130" y="80"/>
                    </a:lnTo>
                    <a:lnTo>
                      <a:pt x="127" y="70"/>
                    </a:lnTo>
                    <a:lnTo>
                      <a:pt x="124" y="70"/>
                    </a:lnTo>
                    <a:lnTo>
                      <a:pt x="123" y="67"/>
                    </a:lnTo>
                    <a:lnTo>
                      <a:pt x="114" y="65"/>
                    </a:lnTo>
                    <a:lnTo>
                      <a:pt x="114" y="61"/>
                    </a:lnTo>
                    <a:lnTo>
                      <a:pt x="114" y="57"/>
                    </a:lnTo>
                    <a:lnTo>
                      <a:pt x="114" y="55"/>
                    </a:lnTo>
                    <a:lnTo>
                      <a:pt x="116" y="54"/>
                    </a:lnTo>
                    <a:lnTo>
                      <a:pt x="116" y="51"/>
                    </a:lnTo>
                    <a:lnTo>
                      <a:pt x="110" y="35"/>
                    </a:lnTo>
                    <a:lnTo>
                      <a:pt x="107" y="35"/>
                    </a:lnTo>
                    <a:lnTo>
                      <a:pt x="107" y="32"/>
                    </a:lnTo>
                    <a:lnTo>
                      <a:pt x="106" y="33"/>
                    </a:lnTo>
                    <a:lnTo>
                      <a:pt x="103" y="38"/>
                    </a:lnTo>
                    <a:lnTo>
                      <a:pt x="103" y="41"/>
                    </a:lnTo>
                    <a:lnTo>
                      <a:pt x="104" y="44"/>
                    </a:lnTo>
                    <a:lnTo>
                      <a:pt x="101" y="48"/>
                    </a:lnTo>
                    <a:lnTo>
                      <a:pt x="97" y="54"/>
                    </a:lnTo>
                    <a:lnTo>
                      <a:pt x="97" y="51"/>
                    </a:lnTo>
                    <a:lnTo>
                      <a:pt x="98" y="49"/>
                    </a:lnTo>
                    <a:lnTo>
                      <a:pt x="100" y="45"/>
                    </a:lnTo>
                    <a:lnTo>
                      <a:pt x="98" y="41"/>
                    </a:lnTo>
                    <a:lnTo>
                      <a:pt x="97" y="39"/>
                    </a:lnTo>
                    <a:lnTo>
                      <a:pt x="97" y="41"/>
                    </a:lnTo>
                    <a:lnTo>
                      <a:pt x="97" y="38"/>
                    </a:lnTo>
                    <a:lnTo>
                      <a:pt x="100" y="36"/>
                    </a:lnTo>
                    <a:lnTo>
                      <a:pt x="100" y="28"/>
                    </a:lnTo>
                    <a:lnTo>
                      <a:pt x="101" y="26"/>
                    </a:lnTo>
                    <a:lnTo>
                      <a:pt x="103" y="22"/>
                    </a:lnTo>
                    <a:lnTo>
                      <a:pt x="90" y="6"/>
                    </a:lnTo>
                    <a:lnTo>
                      <a:pt x="87" y="9"/>
                    </a:lnTo>
                    <a:lnTo>
                      <a:pt x="87" y="10"/>
                    </a:lnTo>
                    <a:lnTo>
                      <a:pt x="87" y="13"/>
                    </a:lnTo>
                    <a:lnTo>
                      <a:pt x="85" y="12"/>
                    </a:lnTo>
                    <a:lnTo>
                      <a:pt x="84" y="12"/>
                    </a:lnTo>
                    <a:lnTo>
                      <a:pt x="84" y="0"/>
                    </a:lnTo>
                    <a:lnTo>
                      <a:pt x="75" y="0"/>
                    </a:lnTo>
                    <a:lnTo>
                      <a:pt x="75" y="0"/>
                    </a:lnTo>
                    <a:lnTo>
                      <a:pt x="75" y="6"/>
                    </a:lnTo>
                    <a:lnTo>
                      <a:pt x="75" y="6"/>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50" name="Freeform 1224"/>
              <p:cNvSpPr>
                <a:spLocks/>
              </p:cNvSpPr>
              <p:nvPr/>
            </p:nvSpPr>
            <p:spPr bwMode="auto">
              <a:xfrm>
                <a:off x="6255906" y="1302138"/>
                <a:ext cx="21067" cy="50707"/>
              </a:xfrm>
              <a:custGeom>
                <a:avLst/>
                <a:gdLst/>
                <a:ahLst/>
                <a:cxnLst>
                  <a:cxn ang="0">
                    <a:pos x="23" y="42"/>
                  </a:cxn>
                  <a:cxn ang="0">
                    <a:pos x="20" y="40"/>
                  </a:cxn>
                  <a:cxn ang="0">
                    <a:pos x="19" y="35"/>
                  </a:cxn>
                  <a:cxn ang="0">
                    <a:pos x="20" y="33"/>
                  </a:cxn>
                  <a:cxn ang="0">
                    <a:pos x="19" y="32"/>
                  </a:cxn>
                  <a:cxn ang="0">
                    <a:pos x="17" y="32"/>
                  </a:cxn>
                  <a:cxn ang="0">
                    <a:pos x="13" y="27"/>
                  </a:cxn>
                  <a:cxn ang="0">
                    <a:pos x="13" y="26"/>
                  </a:cxn>
                  <a:cxn ang="0">
                    <a:pos x="11" y="24"/>
                  </a:cxn>
                  <a:cxn ang="0">
                    <a:pos x="11" y="21"/>
                  </a:cxn>
                  <a:cxn ang="0">
                    <a:pos x="10" y="20"/>
                  </a:cxn>
                  <a:cxn ang="0">
                    <a:pos x="8" y="10"/>
                  </a:cxn>
                  <a:cxn ang="0">
                    <a:pos x="6" y="5"/>
                  </a:cxn>
                  <a:cxn ang="0">
                    <a:pos x="6" y="3"/>
                  </a:cxn>
                  <a:cxn ang="0">
                    <a:pos x="4" y="1"/>
                  </a:cxn>
                  <a:cxn ang="0">
                    <a:pos x="0" y="0"/>
                  </a:cxn>
                  <a:cxn ang="0">
                    <a:pos x="0" y="7"/>
                  </a:cxn>
                  <a:cxn ang="0">
                    <a:pos x="1" y="10"/>
                  </a:cxn>
                  <a:cxn ang="0">
                    <a:pos x="3" y="10"/>
                  </a:cxn>
                  <a:cxn ang="0">
                    <a:pos x="7" y="29"/>
                  </a:cxn>
                  <a:cxn ang="0">
                    <a:pos x="11" y="32"/>
                  </a:cxn>
                  <a:cxn ang="0">
                    <a:pos x="11" y="30"/>
                  </a:cxn>
                  <a:cxn ang="0">
                    <a:pos x="16" y="36"/>
                  </a:cxn>
                  <a:cxn ang="0">
                    <a:pos x="16" y="37"/>
                  </a:cxn>
                  <a:cxn ang="0">
                    <a:pos x="19" y="39"/>
                  </a:cxn>
                  <a:cxn ang="0">
                    <a:pos x="19" y="46"/>
                  </a:cxn>
                  <a:cxn ang="0">
                    <a:pos x="23" y="48"/>
                  </a:cxn>
                  <a:cxn ang="0">
                    <a:pos x="21" y="43"/>
                  </a:cxn>
                  <a:cxn ang="0">
                    <a:pos x="23" y="42"/>
                  </a:cxn>
                  <a:cxn ang="0">
                    <a:pos x="23" y="42"/>
                  </a:cxn>
                </a:cxnLst>
                <a:rect l="0" t="0" r="r" b="b"/>
                <a:pathLst>
                  <a:path w="23" h="48">
                    <a:moveTo>
                      <a:pt x="23" y="42"/>
                    </a:moveTo>
                    <a:lnTo>
                      <a:pt x="20" y="40"/>
                    </a:lnTo>
                    <a:lnTo>
                      <a:pt x="19" y="35"/>
                    </a:lnTo>
                    <a:lnTo>
                      <a:pt x="20" y="33"/>
                    </a:lnTo>
                    <a:lnTo>
                      <a:pt x="19" y="32"/>
                    </a:lnTo>
                    <a:lnTo>
                      <a:pt x="17" y="32"/>
                    </a:lnTo>
                    <a:lnTo>
                      <a:pt x="13" y="27"/>
                    </a:lnTo>
                    <a:lnTo>
                      <a:pt x="13" y="26"/>
                    </a:lnTo>
                    <a:lnTo>
                      <a:pt x="11" y="24"/>
                    </a:lnTo>
                    <a:lnTo>
                      <a:pt x="11" y="21"/>
                    </a:lnTo>
                    <a:lnTo>
                      <a:pt x="10" y="20"/>
                    </a:lnTo>
                    <a:lnTo>
                      <a:pt x="8" y="10"/>
                    </a:lnTo>
                    <a:lnTo>
                      <a:pt x="6" y="5"/>
                    </a:lnTo>
                    <a:lnTo>
                      <a:pt x="6" y="3"/>
                    </a:lnTo>
                    <a:lnTo>
                      <a:pt x="4" y="1"/>
                    </a:lnTo>
                    <a:lnTo>
                      <a:pt x="0" y="0"/>
                    </a:lnTo>
                    <a:lnTo>
                      <a:pt x="0" y="7"/>
                    </a:lnTo>
                    <a:lnTo>
                      <a:pt x="1" y="10"/>
                    </a:lnTo>
                    <a:lnTo>
                      <a:pt x="3" y="10"/>
                    </a:lnTo>
                    <a:lnTo>
                      <a:pt x="7" y="29"/>
                    </a:lnTo>
                    <a:lnTo>
                      <a:pt x="11" y="32"/>
                    </a:lnTo>
                    <a:lnTo>
                      <a:pt x="11" y="30"/>
                    </a:lnTo>
                    <a:lnTo>
                      <a:pt x="16" y="36"/>
                    </a:lnTo>
                    <a:lnTo>
                      <a:pt x="16" y="37"/>
                    </a:lnTo>
                    <a:lnTo>
                      <a:pt x="19" y="39"/>
                    </a:lnTo>
                    <a:lnTo>
                      <a:pt x="19" y="46"/>
                    </a:lnTo>
                    <a:lnTo>
                      <a:pt x="23" y="48"/>
                    </a:lnTo>
                    <a:lnTo>
                      <a:pt x="21" y="43"/>
                    </a:lnTo>
                    <a:lnTo>
                      <a:pt x="23" y="42"/>
                    </a:lnTo>
                    <a:lnTo>
                      <a:pt x="23" y="42"/>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51" name="Freeform 1225"/>
              <p:cNvSpPr>
                <a:spLocks/>
              </p:cNvSpPr>
              <p:nvPr/>
            </p:nvSpPr>
            <p:spPr bwMode="auto">
              <a:xfrm>
                <a:off x="6382309" y="1322420"/>
                <a:ext cx="29845" cy="31439"/>
              </a:xfrm>
              <a:custGeom>
                <a:avLst/>
                <a:gdLst/>
                <a:ahLst/>
                <a:cxnLst>
                  <a:cxn ang="0">
                    <a:pos x="13" y="30"/>
                  </a:cxn>
                  <a:cxn ang="0">
                    <a:pos x="14" y="27"/>
                  </a:cxn>
                  <a:cxn ang="0">
                    <a:pos x="17" y="29"/>
                  </a:cxn>
                  <a:cxn ang="0">
                    <a:pos x="21" y="24"/>
                  </a:cxn>
                  <a:cxn ang="0">
                    <a:pos x="27" y="24"/>
                  </a:cxn>
                  <a:cxn ang="0">
                    <a:pos x="29" y="13"/>
                  </a:cxn>
                  <a:cxn ang="0">
                    <a:pos x="32" y="8"/>
                  </a:cxn>
                  <a:cxn ang="0">
                    <a:pos x="27" y="2"/>
                  </a:cxn>
                  <a:cxn ang="0">
                    <a:pos x="27" y="1"/>
                  </a:cxn>
                  <a:cxn ang="0">
                    <a:pos x="17" y="2"/>
                  </a:cxn>
                  <a:cxn ang="0">
                    <a:pos x="16" y="2"/>
                  </a:cxn>
                  <a:cxn ang="0">
                    <a:pos x="17" y="1"/>
                  </a:cxn>
                  <a:cxn ang="0">
                    <a:pos x="17" y="0"/>
                  </a:cxn>
                  <a:cxn ang="0">
                    <a:pos x="17" y="0"/>
                  </a:cxn>
                  <a:cxn ang="0">
                    <a:pos x="13" y="0"/>
                  </a:cxn>
                  <a:cxn ang="0">
                    <a:pos x="11" y="4"/>
                  </a:cxn>
                  <a:cxn ang="0">
                    <a:pos x="10" y="5"/>
                  </a:cxn>
                  <a:cxn ang="0">
                    <a:pos x="8" y="5"/>
                  </a:cxn>
                  <a:cxn ang="0">
                    <a:pos x="7" y="7"/>
                  </a:cxn>
                  <a:cxn ang="0">
                    <a:pos x="0" y="10"/>
                  </a:cxn>
                  <a:cxn ang="0">
                    <a:pos x="3" y="13"/>
                  </a:cxn>
                  <a:cxn ang="0">
                    <a:pos x="5" y="13"/>
                  </a:cxn>
                  <a:cxn ang="0">
                    <a:pos x="7" y="21"/>
                  </a:cxn>
                  <a:cxn ang="0">
                    <a:pos x="8" y="24"/>
                  </a:cxn>
                  <a:cxn ang="0">
                    <a:pos x="8" y="27"/>
                  </a:cxn>
                  <a:cxn ang="0">
                    <a:pos x="10" y="29"/>
                  </a:cxn>
                  <a:cxn ang="0">
                    <a:pos x="13" y="30"/>
                  </a:cxn>
                  <a:cxn ang="0">
                    <a:pos x="13" y="30"/>
                  </a:cxn>
                </a:cxnLst>
                <a:rect l="0" t="0" r="r" b="b"/>
                <a:pathLst>
                  <a:path w="32" h="30">
                    <a:moveTo>
                      <a:pt x="13" y="30"/>
                    </a:moveTo>
                    <a:lnTo>
                      <a:pt x="14" y="27"/>
                    </a:lnTo>
                    <a:lnTo>
                      <a:pt x="17" y="29"/>
                    </a:lnTo>
                    <a:lnTo>
                      <a:pt x="21" y="24"/>
                    </a:lnTo>
                    <a:lnTo>
                      <a:pt x="27" y="24"/>
                    </a:lnTo>
                    <a:lnTo>
                      <a:pt x="29" y="13"/>
                    </a:lnTo>
                    <a:lnTo>
                      <a:pt x="32" y="8"/>
                    </a:lnTo>
                    <a:lnTo>
                      <a:pt x="27" y="2"/>
                    </a:lnTo>
                    <a:lnTo>
                      <a:pt x="27" y="1"/>
                    </a:lnTo>
                    <a:lnTo>
                      <a:pt x="17" y="2"/>
                    </a:lnTo>
                    <a:lnTo>
                      <a:pt x="16" y="2"/>
                    </a:lnTo>
                    <a:lnTo>
                      <a:pt x="17" y="1"/>
                    </a:lnTo>
                    <a:lnTo>
                      <a:pt x="17" y="0"/>
                    </a:lnTo>
                    <a:lnTo>
                      <a:pt x="17" y="0"/>
                    </a:lnTo>
                    <a:lnTo>
                      <a:pt x="13" y="0"/>
                    </a:lnTo>
                    <a:lnTo>
                      <a:pt x="11" y="4"/>
                    </a:lnTo>
                    <a:lnTo>
                      <a:pt x="10" y="5"/>
                    </a:lnTo>
                    <a:lnTo>
                      <a:pt x="8" y="5"/>
                    </a:lnTo>
                    <a:lnTo>
                      <a:pt x="7" y="7"/>
                    </a:lnTo>
                    <a:lnTo>
                      <a:pt x="0" y="10"/>
                    </a:lnTo>
                    <a:lnTo>
                      <a:pt x="3" y="13"/>
                    </a:lnTo>
                    <a:lnTo>
                      <a:pt x="5" y="13"/>
                    </a:lnTo>
                    <a:lnTo>
                      <a:pt x="7" y="21"/>
                    </a:lnTo>
                    <a:lnTo>
                      <a:pt x="8" y="24"/>
                    </a:lnTo>
                    <a:lnTo>
                      <a:pt x="8" y="27"/>
                    </a:lnTo>
                    <a:lnTo>
                      <a:pt x="10" y="29"/>
                    </a:lnTo>
                    <a:lnTo>
                      <a:pt x="13" y="30"/>
                    </a:lnTo>
                    <a:lnTo>
                      <a:pt x="13" y="30"/>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52" name="Freeform 1226"/>
              <p:cNvSpPr>
                <a:spLocks/>
              </p:cNvSpPr>
              <p:nvPr/>
            </p:nvSpPr>
            <p:spPr bwMode="auto">
              <a:xfrm>
                <a:off x="6421810" y="1359943"/>
                <a:ext cx="1756" cy="1014"/>
              </a:xfrm>
              <a:custGeom>
                <a:avLst/>
                <a:gdLst/>
                <a:ahLst/>
                <a:cxnLst>
                  <a:cxn ang="0">
                    <a:pos x="0" y="0"/>
                  </a:cxn>
                  <a:cxn ang="0">
                    <a:pos x="0" y="0"/>
                  </a:cxn>
                  <a:cxn ang="0">
                    <a:pos x="2" y="0"/>
                  </a:cxn>
                  <a:cxn ang="0">
                    <a:pos x="0" y="0"/>
                  </a:cxn>
                  <a:cxn ang="0">
                    <a:pos x="0" y="0"/>
                  </a:cxn>
                </a:cxnLst>
                <a:rect l="0" t="0" r="r" b="b"/>
                <a:pathLst>
                  <a:path w="2">
                    <a:moveTo>
                      <a:pt x="0" y="0"/>
                    </a:moveTo>
                    <a:lnTo>
                      <a:pt x="0" y="0"/>
                    </a:lnTo>
                    <a:lnTo>
                      <a:pt x="2" y="0"/>
                    </a:lnTo>
                    <a:lnTo>
                      <a:pt x="0" y="0"/>
                    </a:lnTo>
                    <a:lnTo>
                      <a:pt x="0" y="0"/>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53" name="Freeform 1227"/>
              <p:cNvSpPr>
                <a:spLocks/>
              </p:cNvSpPr>
              <p:nvPr/>
            </p:nvSpPr>
            <p:spPr bwMode="auto">
              <a:xfrm>
                <a:off x="6421810" y="1359943"/>
                <a:ext cx="878" cy="1014"/>
              </a:xfrm>
              <a:custGeom>
                <a:avLst/>
                <a:gdLst/>
                <a:ahLst/>
                <a:cxnLst>
                  <a:cxn ang="0">
                    <a:pos x="0" y="0"/>
                  </a:cxn>
                  <a:cxn ang="0">
                    <a:pos x="0" y="0"/>
                  </a:cxn>
                  <a:cxn ang="0">
                    <a:pos x="0" y="1"/>
                  </a:cxn>
                  <a:cxn ang="0">
                    <a:pos x="0" y="0"/>
                  </a:cxn>
                  <a:cxn ang="0">
                    <a:pos x="0" y="0"/>
                  </a:cxn>
                </a:cxnLst>
                <a:rect l="0" t="0" r="r" b="b"/>
                <a:pathLst>
                  <a:path h="1">
                    <a:moveTo>
                      <a:pt x="0" y="0"/>
                    </a:moveTo>
                    <a:lnTo>
                      <a:pt x="0" y="0"/>
                    </a:lnTo>
                    <a:lnTo>
                      <a:pt x="0" y="1"/>
                    </a:lnTo>
                    <a:lnTo>
                      <a:pt x="0" y="0"/>
                    </a:lnTo>
                    <a:lnTo>
                      <a:pt x="0" y="0"/>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54" name="Freeform 1228"/>
              <p:cNvSpPr>
                <a:spLocks/>
              </p:cNvSpPr>
              <p:nvPr/>
            </p:nvSpPr>
            <p:spPr bwMode="auto">
              <a:xfrm>
                <a:off x="6390210" y="1346759"/>
                <a:ext cx="52668" cy="72004"/>
              </a:xfrm>
              <a:custGeom>
                <a:avLst/>
                <a:gdLst/>
                <a:ahLst/>
                <a:cxnLst>
                  <a:cxn ang="0">
                    <a:pos x="54" y="35"/>
                  </a:cxn>
                  <a:cxn ang="0">
                    <a:pos x="53" y="33"/>
                  </a:cxn>
                  <a:cxn ang="0">
                    <a:pos x="51" y="30"/>
                  </a:cxn>
                  <a:cxn ang="0">
                    <a:pos x="48" y="27"/>
                  </a:cxn>
                  <a:cxn ang="0">
                    <a:pos x="42" y="32"/>
                  </a:cxn>
                  <a:cxn ang="0">
                    <a:pos x="38" y="27"/>
                  </a:cxn>
                  <a:cxn ang="0">
                    <a:pos x="35" y="23"/>
                  </a:cxn>
                  <a:cxn ang="0">
                    <a:pos x="32" y="19"/>
                  </a:cxn>
                  <a:cxn ang="0">
                    <a:pos x="34" y="13"/>
                  </a:cxn>
                  <a:cxn ang="0">
                    <a:pos x="35" y="10"/>
                  </a:cxn>
                  <a:cxn ang="0">
                    <a:pos x="34" y="4"/>
                  </a:cxn>
                  <a:cxn ang="0">
                    <a:pos x="31" y="3"/>
                  </a:cxn>
                  <a:cxn ang="0">
                    <a:pos x="29" y="0"/>
                  </a:cxn>
                  <a:cxn ang="0">
                    <a:pos x="28" y="3"/>
                  </a:cxn>
                  <a:cxn ang="0">
                    <a:pos x="24" y="7"/>
                  </a:cxn>
                  <a:cxn ang="0">
                    <a:pos x="15" y="6"/>
                  </a:cxn>
                  <a:cxn ang="0">
                    <a:pos x="2" y="14"/>
                  </a:cxn>
                  <a:cxn ang="0">
                    <a:pos x="3" y="17"/>
                  </a:cxn>
                  <a:cxn ang="0">
                    <a:pos x="5" y="19"/>
                  </a:cxn>
                  <a:cxn ang="0">
                    <a:pos x="11" y="26"/>
                  </a:cxn>
                  <a:cxn ang="0">
                    <a:pos x="11" y="30"/>
                  </a:cxn>
                  <a:cxn ang="0">
                    <a:pos x="8" y="36"/>
                  </a:cxn>
                  <a:cxn ang="0">
                    <a:pos x="6" y="42"/>
                  </a:cxn>
                  <a:cxn ang="0">
                    <a:pos x="6" y="45"/>
                  </a:cxn>
                  <a:cxn ang="0">
                    <a:pos x="2" y="48"/>
                  </a:cxn>
                  <a:cxn ang="0">
                    <a:pos x="2" y="51"/>
                  </a:cxn>
                  <a:cxn ang="0">
                    <a:pos x="2" y="54"/>
                  </a:cxn>
                  <a:cxn ang="0">
                    <a:pos x="3" y="58"/>
                  </a:cxn>
                  <a:cxn ang="0">
                    <a:pos x="8" y="58"/>
                  </a:cxn>
                  <a:cxn ang="0">
                    <a:pos x="18" y="55"/>
                  </a:cxn>
                  <a:cxn ang="0">
                    <a:pos x="21" y="54"/>
                  </a:cxn>
                  <a:cxn ang="0">
                    <a:pos x="24" y="49"/>
                  </a:cxn>
                  <a:cxn ang="0">
                    <a:pos x="26" y="49"/>
                  </a:cxn>
                  <a:cxn ang="0">
                    <a:pos x="26" y="54"/>
                  </a:cxn>
                  <a:cxn ang="0">
                    <a:pos x="28" y="51"/>
                  </a:cxn>
                  <a:cxn ang="0">
                    <a:pos x="29" y="54"/>
                  </a:cxn>
                  <a:cxn ang="0">
                    <a:pos x="26" y="55"/>
                  </a:cxn>
                  <a:cxn ang="0">
                    <a:pos x="26" y="61"/>
                  </a:cxn>
                  <a:cxn ang="0">
                    <a:pos x="24" y="65"/>
                  </a:cxn>
                  <a:cxn ang="0">
                    <a:pos x="26" y="67"/>
                  </a:cxn>
                  <a:cxn ang="0">
                    <a:pos x="29" y="67"/>
                  </a:cxn>
                  <a:cxn ang="0">
                    <a:pos x="29" y="64"/>
                  </a:cxn>
                  <a:cxn ang="0">
                    <a:pos x="34" y="59"/>
                  </a:cxn>
                  <a:cxn ang="0">
                    <a:pos x="35" y="61"/>
                  </a:cxn>
                  <a:cxn ang="0">
                    <a:pos x="38" y="61"/>
                  </a:cxn>
                  <a:cxn ang="0">
                    <a:pos x="40" y="58"/>
                  </a:cxn>
                  <a:cxn ang="0">
                    <a:pos x="40" y="56"/>
                  </a:cxn>
                  <a:cxn ang="0">
                    <a:pos x="44" y="52"/>
                  </a:cxn>
                  <a:cxn ang="0">
                    <a:pos x="45" y="48"/>
                  </a:cxn>
                  <a:cxn ang="0">
                    <a:pos x="48" y="42"/>
                  </a:cxn>
                  <a:cxn ang="0">
                    <a:pos x="58" y="39"/>
                  </a:cxn>
                  <a:cxn ang="0">
                    <a:pos x="58" y="38"/>
                  </a:cxn>
                  <a:cxn ang="0">
                    <a:pos x="56" y="36"/>
                  </a:cxn>
                </a:cxnLst>
                <a:rect l="0" t="0" r="r" b="b"/>
                <a:pathLst>
                  <a:path w="58" h="70">
                    <a:moveTo>
                      <a:pt x="56" y="36"/>
                    </a:moveTo>
                    <a:lnTo>
                      <a:pt x="54" y="35"/>
                    </a:lnTo>
                    <a:lnTo>
                      <a:pt x="53" y="35"/>
                    </a:lnTo>
                    <a:lnTo>
                      <a:pt x="53" y="33"/>
                    </a:lnTo>
                    <a:lnTo>
                      <a:pt x="51" y="30"/>
                    </a:lnTo>
                    <a:lnTo>
                      <a:pt x="51" y="30"/>
                    </a:lnTo>
                    <a:lnTo>
                      <a:pt x="48" y="27"/>
                    </a:lnTo>
                    <a:lnTo>
                      <a:pt x="48" y="27"/>
                    </a:lnTo>
                    <a:lnTo>
                      <a:pt x="47" y="29"/>
                    </a:lnTo>
                    <a:lnTo>
                      <a:pt x="42" y="32"/>
                    </a:lnTo>
                    <a:lnTo>
                      <a:pt x="40" y="30"/>
                    </a:lnTo>
                    <a:lnTo>
                      <a:pt x="38" y="27"/>
                    </a:lnTo>
                    <a:lnTo>
                      <a:pt x="37" y="27"/>
                    </a:lnTo>
                    <a:lnTo>
                      <a:pt x="35" y="23"/>
                    </a:lnTo>
                    <a:lnTo>
                      <a:pt x="34" y="22"/>
                    </a:lnTo>
                    <a:lnTo>
                      <a:pt x="32" y="19"/>
                    </a:lnTo>
                    <a:lnTo>
                      <a:pt x="32" y="16"/>
                    </a:lnTo>
                    <a:lnTo>
                      <a:pt x="34" y="13"/>
                    </a:lnTo>
                    <a:lnTo>
                      <a:pt x="35" y="13"/>
                    </a:lnTo>
                    <a:lnTo>
                      <a:pt x="35" y="10"/>
                    </a:lnTo>
                    <a:lnTo>
                      <a:pt x="37" y="10"/>
                    </a:lnTo>
                    <a:lnTo>
                      <a:pt x="34" y="4"/>
                    </a:lnTo>
                    <a:lnTo>
                      <a:pt x="32" y="6"/>
                    </a:lnTo>
                    <a:lnTo>
                      <a:pt x="31" y="3"/>
                    </a:lnTo>
                    <a:lnTo>
                      <a:pt x="31" y="1"/>
                    </a:lnTo>
                    <a:lnTo>
                      <a:pt x="29" y="0"/>
                    </a:lnTo>
                    <a:lnTo>
                      <a:pt x="29" y="0"/>
                    </a:lnTo>
                    <a:lnTo>
                      <a:pt x="28" y="3"/>
                    </a:lnTo>
                    <a:lnTo>
                      <a:pt x="25" y="4"/>
                    </a:lnTo>
                    <a:lnTo>
                      <a:pt x="24" y="7"/>
                    </a:lnTo>
                    <a:lnTo>
                      <a:pt x="18" y="7"/>
                    </a:lnTo>
                    <a:lnTo>
                      <a:pt x="15" y="6"/>
                    </a:lnTo>
                    <a:lnTo>
                      <a:pt x="2" y="13"/>
                    </a:lnTo>
                    <a:lnTo>
                      <a:pt x="2" y="14"/>
                    </a:lnTo>
                    <a:lnTo>
                      <a:pt x="0" y="16"/>
                    </a:lnTo>
                    <a:lnTo>
                      <a:pt x="3" y="17"/>
                    </a:lnTo>
                    <a:lnTo>
                      <a:pt x="5" y="19"/>
                    </a:lnTo>
                    <a:lnTo>
                      <a:pt x="5" y="19"/>
                    </a:lnTo>
                    <a:lnTo>
                      <a:pt x="5" y="22"/>
                    </a:lnTo>
                    <a:lnTo>
                      <a:pt x="11" y="26"/>
                    </a:lnTo>
                    <a:lnTo>
                      <a:pt x="11" y="27"/>
                    </a:lnTo>
                    <a:lnTo>
                      <a:pt x="11" y="30"/>
                    </a:lnTo>
                    <a:lnTo>
                      <a:pt x="8" y="35"/>
                    </a:lnTo>
                    <a:lnTo>
                      <a:pt x="8" y="36"/>
                    </a:lnTo>
                    <a:lnTo>
                      <a:pt x="6" y="39"/>
                    </a:lnTo>
                    <a:lnTo>
                      <a:pt x="6" y="42"/>
                    </a:lnTo>
                    <a:lnTo>
                      <a:pt x="6" y="43"/>
                    </a:lnTo>
                    <a:lnTo>
                      <a:pt x="6" y="45"/>
                    </a:lnTo>
                    <a:lnTo>
                      <a:pt x="6" y="45"/>
                    </a:lnTo>
                    <a:lnTo>
                      <a:pt x="2" y="48"/>
                    </a:lnTo>
                    <a:lnTo>
                      <a:pt x="2" y="49"/>
                    </a:lnTo>
                    <a:lnTo>
                      <a:pt x="2" y="51"/>
                    </a:lnTo>
                    <a:lnTo>
                      <a:pt x="0" y="51"/>
                    </a:lnTo>
                    <a:lnTo>
                      <a:pt x="2" y="54"/>
                    </a:lnTo>
                    <a:lnTo>
                      <a:pt x="0" y="55"/>
                    </a:lnTo>
                    <a:lnTo>
                      <a:pt x="3" y="58"/>
                    </a:lnTo>
                    <a:lnTo>
                      <a:pt x="6" y="56"/>
                    </a:lnTo>
                    <a:lnTo>
                      <a:pt x="8" y="58"/>
                    </a:lnTo>
                    <a:lnTo>
                      <a:pt x="9" y="55"/>
                    </a:lnTo>
                    <a:lnTo>
                      <a:pt x="18" y="55"/>
                    </a:lnTo>
                    <a:lnTo>
                      <a:pt x="18" y="54"/>
                    </a:lnTo>
                    <a:lnTo>
                      <a:pt x="21" y="54"/>
                    </a:lnTo>
                    <a:lnTo>
                      <a:pt x="22" y="51"/>
                    </a:lnTo>
                    <a:lnTo>
                      <a:pt x="24" y="49"/>
                    </a:lnTo>
                    <a:lnTo>
                      <a:pt x="26" y="49"/>
                    </a:lnTo>
                    <a:lnTo>
                      <a:pt x="26" y="49"/>
                    </a:lnTo>
                    <a:lnTo>
                      <a:pt x="25" y="52"/>
                    </a:lnTo>
                    <a:lnTo>
                      <a:pt x="26" y="54"/>
                    </a:lnTo>
                    <a:lnTo>
                      <a:pt x="26" y="54"/>
                    </a:lnTo>
                    <a:lnTo>
                      <a:pt x="28" y="51"/>
                    </a:lnTo>
                    <a:lnTo>
                      <a:pt x="29" y="51"/>
                    </a:lnTo>
                    <a:lnTo>
                      <a:pt x="29" y="54"/>
                    </a:lnTo>
                    <a:lnTo>
                      <a:pt x="29" y="54"/>
                    </a:lnTo>
                    <a:lnTo>
                      <a:pt x="26" y="55"/>
                    </a:lnTo>
                    <a:lnTo>
                      <a:pt x="25" y="58"/>
                    </a:lnTo>
                    <a:lnTo>
                      <a:pt x="26" y="61"/>
                    </a:lnTo>
                    <a:lnTo>
                      <a:pt x="26" y="62"/>
                    </a:lnTo>
                    <a:lnTo>
                      <a:pt x="24" y="65"/>
                    </a:lnTo>
                    <a:lnTo>
                      <a:pt x="25" y="68"/>
                    </a:lnTo>
                    <a:lnTo>
                      <a:pt x="26" y="67"/>
                    </a:lnTo>
                    <a:lnTo>
                      <a:pt x="28" y="70"/>
                    </a:lnTo>
                    <a:lnTo>
                      <a:pt x="29" y="67"/>
                    </a:lnTo>
                    <a:lnTo>
                      <a:pt x="29" y="65"/>
                    </a:lnTo>
                    <a:lnTo>
                      <a:pt x="29" y="64"/>
                    </a:lnTo>
                    <a:lnTo>
                      <a:pt x="34" y="61"/>
                    </a:lnTo>
                    <a:lnTo>
                      <a:pt x="34" y="59"/>
                    </a:lnTo>
                    <a:lnTo>
                      <a:pt x="34" y="59"/>
                    </a:lnTo>
                    <a:lnTo>
                      <a:pt x="35" y="61"/>
                    </a:lnTo>
                    <a:lnTo>
                      <a:pt x="35" y="62"/>
                    </a:lnTo>
                    <a:lnTo>
                      <a:pt x="38" y="61"/>
                    </a:lnTo>
                    <a:lnTo>
                      <a:pt x="38" y="59"/>
                    </a:lnTo>
                    <a:lnTo>
                      <a:pt x="40" y="58"/>
                    </a:lnTo>
                    <a:lnTo>
                      <a:pt x="40" y="58"/>
                    </a:lnTo>
                    <a:lnTo>
                      <a:pt x="40" y="56"/>
                    </a:lnTo>
                    <a:lnTo>
                      <a:pt x="42" y="55"/>
                    </a:lnTo>
                    <a:lnTo>
                      <a:pt x="44" y="52"/>
                    </a:lnTo>
                    <a:lnTo>
                      <a:pt x="44" y="49"/>
                    </a:lnTo>
                    <a:lnTo>
                      <a:pt x="45" y="48"/>
                    </a:lnTo>
                    <a:lnTo>
                      <a:pt x="48" y="45"/>
                    </a:lnTo>
                    <a:lnTo>
                      <a:pt x="48" y="42"/>
                    </a:lnTo>
                    <a:lnTo>
                      <a:pt x="54" y="39"/>
                    </a:lnTo>
                    <a:lnTo>
                      <a:pt x="58" y="39"/>
                    </a:lnTo>
                    <a:lnTo>
                      <a:pt x="58" y="38"/>
                    </a:lnTo>
                    <a:lnTo>
                      <a:pt x="58" y="38"/>
                    </a:lnTo>
                    <a:lnTo>
                      <a:pt x="56" y="36"/>
                    </a:lnTo>
                    <a:lnTo>
                      <a:pt x="56" y="36"/>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55" name="Freeform 1229"/>
              <p:cNvSpPr>
                <a:spLocks/>
              </p:cNvSpPr>
              <p:nvPr/>
            </p:nvSpPr>
            <p:spPr bwMode="auto">
              <a:xfrm>
                <a:off x="6462189" y="1307209"/>
                <a:ext cx="7900" cy="13184"/>
              </a:xfrm>
              <a:custGeom>
                <a:avLst/>
                <a:gdLst/>
                <a:ahLst/>
                <a:cxnLst>
                  <a:cxn ang="0">
                    <a:pos x="6" y="6"/>
                  </a:cxn>
                  <a:cxn ang="0">
                    <a:pos x="4" y="3"/>
                  </a:cxn>
                  <a:cxn ang="0">
                    <a:pos x="3" y="0"/>
                  </a:cxn>
                  <a:cxn ang="0">
                    <a:pos x="1" y="0"/>
                  </a:cxn>
                  <a:cxn ang="0">
                    <a:pos x="1" y="3"/>
                  </a:cxn>
                  <a:cxn ang="0">
                    <a:pos x="0" y="3"/>
                  </a:cxn>
                  <a:cxn ang="0">
                    <a:pos x="1" y="7"/>
                  </a:cxn>
                  <a:cxn ang="0">
                    <a:pos x="3" y="9"/>
                  </a:cxn>
                  <a:cxn ang="0">
                    <a:pos x="3" y="12"/>
                  </a:cxn>
                  <a:cxn ang="0">
                    <a:pos x="6" y="13"/>
                  </a:cxn>
                  <a:cxn ang="0">
                    <a:pos x="8" y="12"/>
                  </a:cxn>
                  <a:cxn ang="0">
                    <a:pos x="8" y="10"/>
                  </a:cxn>
                  <a:cxn ang="0">
                    <a:pos x="8" y="9"/>
                  </a:cxn>
                  <a:cxn ang="0">
                    <a:pos x="7" y="6"/>
                  </a:cxn>
                  <a:cxn ang="0">
                    <a:pos x="6" y="6"/>
                  </a:cxn>
                  <a:cxn ang="0">
                    <a:pos x="6" y="6"/>
                  </a:cxn>
                </a:cxnLst>
                <a:rect l="0" t="0" r="r" b="b"/>
                <a:pathLst>
                  <a:path w="8" h="13">
                    <a:moveTo>
                      <a:pt x="6" y="6"/>
                    </a:moveTo>
                    <a:lnTo>
                      <a:pt x="4" y="3"/>
                    </a:lnTo>
                    <a:lnTo>
                      <a:pt x="3" y="0"/>
                    </a:lnTo>
                    <a:lnTo>
                      <a:pt x="1" y="0"/>
                    </a:lnTo>
                    <a:lnTo>
                      <a:pt x="1" y="3"/>
                    </a:lnTo>
                    <a:lnTo>
                      <a:pt x="0" y="3"/>
                    </a:lnTo>
                    <a:lnTo>
                      <a:pt x="1" y="7"/>
                    </a:lnTo>
                    <a:lnTo>
                      <a:pt x="3" y="9"/>
                    </a:lnTo>
                    <a:lnTo>
                      <a:pt x="3" y="12"/>
                    </a:lnTo>
                    <a:lnTo>
                      <a:pt x="6" y="13"/>
                    </a:lnTo>
                    <a:lnTo>
                      <a:pt x="8" y="12"/>
                    </a:lnTo>
                    <a:lnTo>
                      <a:pt x="8" y="10"/>
                    </a:lnTo>
                    <a:lnTo>
                      <a:pt x="8" y="9"/>
                    </a:lnTo>
                    <a:lnTo>
                      <a:pt x="7" y="6"/>
                    </a:lnTo>
                    <a:lnTo>
                      <a:pt x="6" y="6"/>
                    </a:lnTo>
                    <a:lnTo>
                      <a:pt x="6" y="6"/>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56" name="Freeform 1230"/>
              <p:cNvSpPr>
                <a:spLocks/>
              </p:cNvSpPr>
              <p:nvPr/>
            </p:nvSpPr>
            <p:spPr bwMode="auto">
              <a:xfrm>
                <a:off x="6482378" y="1296052"/>
                <a:ext cx="21945" cy="11156"/>
              </a:xfrm>
              <a:custGeom>
                <a:avLst/>
                <a:gdLst/>
                <a:ahLst/>
                <a:cxnLst>
                  <a:cxn ang="0">
                    <a:pos x="21" y="6"/>
                  </a:cxn>
                  <a:cxn ang="0">
                    <a:pos x="18" y="6"/>
                  </a:cxn>
                  <a:cxn ang="0">
                    <a:pos x="16" y="3"/>
                  </a:cxn>
                  <a:cxn ang="0">
                    <a:pos x="17" y="1"/>
                  </a:cxn>
                  <a:cxn ang="0">
                    <a:pos x="11" y="0"/>
                  </a:cxn>
                  <a:cxn ang="0">
                    <a:pos x="10" y="0"/>
                  </a:cxn>
                  <a:cxn ang="0">
                    <a:pos x="8" y="0"/>
                  </a:cxn>
                  <a:cxn ang="0">
                    <a:pos x="8" y="1"/>
                  </a:cxn>
                  <a:cxn ang="0">
                    <a:pos x="7" y="4"/>
                  </a:cxn>
                  <a:cxn ang="0">
                    <a:pos x="4" y="3"/>
                  </a:cxn>
                  <a:cxn ang="0">
                    <a:pos x="2" y="6"/>
                  </a:cxn>
                  <a:cxn ang="0">
                    <a:pos x="1" y="9"/>
                  </a:cxn>
                  <a:cxn ang="0">
                    <a:pos x="0" y="6"/>
                  </a:cxn>
                  <a:cxn ang="0">
                    <a:pos x="0" y="10"/>
                  </a:cxn>
                  <a:cxn ang="0">
                    <a:pos x="2" y="10"/>
                  </a:cxn>
                  <a:cxn ang="0">
                    <a:pos x="2" y="10"/>
                  </a:cxn>
                  <a:cxn ang="0">
                    <a:pos x="2" y="9"/>
                  </a:cxn>
                  <a:cxn ang="0">
                    <a:pos x="7" y="6"/>
                  </a:cxn>
                  <a:cxn ang="0">
                    <a:pos x="10" y="6"/>
                  </a:cxn>
                  <a:cxn ang="0">
                    <a:pos x="10" y="4"/>
                  </a:cxn>
                  <a:cxn ang="0">
                    <a:pos x="11" y="4"/>
                  </a:cxn>
                  <a:cxn ang="0">
                    <a:pos x="14" y="4"/>
                  </a:cxn>
                  <a:cxn ang="0">
                    <a:pos x="16" y="7"/>
                  </a:cxn>
                  <a:cxn ang="0">
                    <a:pos x="20" y="9"/>
                  </a:cxn>
                  <a:cxn ang="0">
                    <a:pos x="20" y="7"/>
                  </a:cxn>
                  <a:cxn ang="0">
                    <a:pos x="24" y="6"/>
                  </a:cxn>
                  <a:cxn ang="0">
                    <a:pos x="24" y="4"/>
                  </a:cxn>
                  <a:cxn ang="0">
                    <a:pos x="24" y="3"/>
                  </a:cxn>
                  <a:cxn ang="0">
                    <a:pos x="21" y="6"/>
                  </a:cxn>
                  <a:cxn ang="0">
                    <a:pos x="21" y="6"/>
                  </a:cxn>
                </a:cxnLst>
                <a:rect l="0" t="0" r="r" b="b"/>
                <a:pathLst>
                  <a:path w="24" h="10">
                    <a:moveTo>
                      <a:pt x="21" y="6"/>
                    </a:moveTo>
                    <a:lnTo>
                      <a:pt x="18" y="6"/>
                    </a:lnTo>
                    <a:lnTo>
                      <a:pt x="16" y="3"/>
                    </a:lnTo>
                    <a:lnTo>
                      <a:pt x="17" y="1"/>
                    </a:lnTo>
                    <a:lnTo>
                      <a:pt x="11" y="0"/>
                    </a:lnTo>
                    <a:lnTo>
                      <a:pt x="10" y="0"/>
                    </a:lnTo>
                    <a:lnTo>
                      <a:pt x="8" y="0"/>
                    </a:lnTo>
                    <a:lnTo>
                      <a:pt x="8" y="1"/>
                    </a:lnTo>
                    <a:lnTo>
                      <a:pt x="7" y="4"/>
                    </a:lnTo>
                    <a:lnTo>
                      <a:pt x="4" y="3"/>
                    </a:lnTo>
                    <a:lnTo>
                      <a:pt x="2" y="6"/>
                    </a:lnTo>
                    <a:lnTo>
                      <a:pt x="1" y="9"/>
                    </a:lnTo>
                    <a:lnTo>
                      <a:pt x="0" y="6"/>
                    </a:lnTo>
                    <a:lnTo>
                      <a:pt x="0" y="10"/>
                    </a:lnTo>
                    <a:lnTo>
                      <a:pt x="2" y="10"/>
                    </a:lnTo>
                    <a:lnTo>
                      <a:pt x="2" y="10"/>
                    </a:lnTo>
                    <a:lnTo>
                      <a:pt x="2" y="9"/>
                    </a:lnTo>
                    <a:lnTo>
                      <a:pt x="7" y="6"/>
                    </a:lnTo>
                    <a:lnTo>
                      <a:pt x="10" y="6"/>
                    </a:lnTo>
                    <a:lnTo>
                      <a:pt x="10" y="4"/>
                    </a:lnTo>
                    <a:lnTo>
                      <a:pt x="11" y="4"/>
                    </a:lnTo>
                    <a:lnTo>
                      <a:pt x="14" y="4"/>
                    </a:lnTo>
                    <a:lnTo>
                      <a:pt x="16" y="7"/>
                    </a:lnTo>
                    <a:lnTo>
                      <a:pt x="20" y="9"/>
                    </a:lnTo>
                    <a:lnTo>
                      <a:pt x="20" y="7"/>
                    </a:lnTo>
                    <a:lnTo>
                      <a:pt x="24" y="6"/>
                    </a:lnTo>
                    <a:lnTo>
                      <a:pt x="24" y="4"/>
                    </a:lnTo>
                    <a:lnTo>
                      <a:pt x="24" y="3"/>
                    </a:lnTo>
                    <a:lnTo>
                      <a:pt x="21" y="6"/>
                    </a:lnTo>
                    <a:lnTo>
                      <a:pt x="21" y="6"/>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57" name="Freeform 1231"/>
              <p:cNvSpPr>
                <a:spLocks/>
              </p:cNvSpPr>
              <p:nvPr/>
            </p:nvSpPr>
            <p:spPr bwMode="auto">
              <a:xfrm>
                <a:off x="6355975" y="1209852"/>
                <a:ext cx="118503" cy="70989"/>
              </a:xfrm>
              <a:custGeom>
                <a:avLst/>
                <a:gdLst/>
                <a:ahLst/>
                <a:cxnLst>
                  <a:cxn ang="0">
                    <a:pos x="5" y="3"/>
                  </a:cxn>
                  <a:cxn ang="0">
                    <a:pos x="5" y="6"/>
                  </a:cxn>
                  <a:cxn ang="0">
                    <a:pos x="0" y="12"/>
                  </a:cxn>
                  <a:cxn ang="0">
                    <a:pos x="4" y="16"/>
                  </a:cxn>
                  <a:cxn ang="0">
                    <a:pos x="5" y="19"/>
                  </a:cxn>
                  <a:cxn ang="0">
                    <a:pos x="7" y="20"/>
                  </a:cxn>
                  <a:cxn ang="0">
                    <a:pos x="8" y="23"/>
                  </a:cxn>
                  <a:cxn ang="0">
                    <a:pos x="18" y="26"/>
                  </a:cxn>
                  <a:cxn ang="0">
                    <a:pos x="21" y="23"/>
                  </a:cxn>
                  <a:cxn ang="0">
                    <a:pos x="32" y="20"/>
                  </a:cxn>
                  <a:cxn ang="0">
                    <a:pos x="37" y="19"/>
                  </a:cxn>
                  <a:cxn ang="0">
                    <a:pos x="52" y="17"/>
                  </a:cxn>
                  <a:cxn ang="0">
                    <a:pos x="52" y="20"/>
                  </a:cxn>
                  <a:cxn ang="0">
                    <a:pos x="53" y="23"/>
                  </a:cxn>
                  <a:cxn ang="0">
                    <a:pos x="52" y="26"/>
                  </a:cxn>
                  <a:cxn ang="0">
                    <a:pos x="39" y="28"/>
                  </a:cxn>
                  <a:cxn ang="0">
                    <a:pos x="34" y="28"/>
                  </a:cxn>
                  <a:cxn ang="0">
                    <a:pos x="37" y="32"/>
                  </a:cxn>
                  <a:cxn ang="0">
                    <a:pos x="40" y="35"/>
                  </a:cxn>
                  <a:cxn ang="0">
                    <a:pos x="39" y="38"/>
                  </a:cxn>
                  <a:cxn ang="0">
                    <a:pos x="30" y="35"/>
                  </a:cxn>
                  <a:cxn ang="0">
                    <a:pos x="26" y="32"/>
                  </a:cxn>
                  <a:cxn ang="0">
                    <a:pos x="23" y="36"/>
                  </a:cxn>
                  <a:cxn ang="0">
                    <a:pos x="27" y="42"/>
                  </a:cxn>
                  <a:cxn ang="0">
                    <a:pos x="36" y="48"/>
                  </a:cxn>
                  <a:cxn ang="0">
                    <a:pos x="42" y="52"/>
                  </a:cxn>
                  <a:cxn ang="0">
                    <a:pos x="45" y="49"/>
                  </a:cxn>
                  <a:cxn ang="0">
                    <a:pos x="48" y="48"/>
                  </a:cxn>
                  <a:cxn ang="0">
                    <a:pos x="56" y="49"/>
                  </a:cxn>
                  <a:cxn ang="0">
                    <a:pos x="63" y="49"/>
                  </a:cxn>
                  <a:cxn ang="0">
                    <a:pos x="63" y="54"/>
                  </a:cxn>
                  <a:cxn ang="0">
                    <a:pos x="66" y="60"/>
                  </a:cxn>
                  <a:cxn ang="0">
                    <a:pos x="68" y="64"/>
                  </a:cxn>
                  <a:cxn ang="0">
                    <a:pos x="72" y="68"/>
                  </a:cxn>
                  <a:cxn ang="0">
                    <a:pos x="74" y="68"/>
                  </a:cxn>
                  <a:cxn ang="0">
                    <a:pos x="85" y="62"/>
                  </a:cxn>
                  <a:cxn ang="0">
                    <a:pos x="91" y="55"/>
                  </a:cxn>
                  <a:cxn ang="0">
                    <a:pos x="97" y="55"/>
                  </a:cxn>
                  <a:cxn ang="0">
                    <a:pos x="101" y="55"/>
                  </a:cxn>
                  <a:cxn ang="0">
                    <a:pos x="107" y="48"/>
                  </a:cxn>
                  <a:cxn ang="0">
                    <a:pos x="110" y="44"/>
                  </a:cxn>
                  <a:cxn ang="0">
                    <a:pos x="110" y="39"/>
                  </a:cxn>
                  <a:cxn ang="0">
                    <a:pos x="108" y="33"/>
                  </a:cxn>
                  <a:cxn ang="0">
                    <a:pos x="114" y="29"/>
                  </a:cxn>
                  <a:cxn ang="0">
                    <a:pos x="119" y="23"/>
                  </a:cxn>
                  <a:cxn ang="0">
                    <a:pos x="120" y="20"/>
                  </a:cxn>
                  <a:cxn ang="0">
                    <a:pos x="127" y="15"/>
                  </a:cxn>
                  <a:cxn ang="0">
                    <a:pos x="126" y="7"/>
                  </a:cxn>
                  <a:cxn ang="0">
                    <a:pos x="127" y="3"/>
                  </a:cxn>
                  <a:cxn ang="0">
                    <a:pos x="61" y="1"/>
                  </a:cxn>
                  <a:cxn ang="0">
                    <a:pos x="58" y="1"/>
                  </a:cxn>
                  <a:cxn ang="0">
                    <a:pos x="17" y="0"/>
                  </a:cxn>
                  <a:cxn ang="0">
                    <a:pos x="8" y="3"/>
                  </a:cxn>
                </a:cxnLst>
                <a:rect l="0" t="0" r="r" b="b"/>
                <a:pathLst>
                  <a:path w="129" h="68">
                    <a:moveTo>
                      <a:pt x="8" y="4"/>
                    </a:moveTo>
                    <a:lnTo>
                      <a:pt x="7" y="4"/>
                    </a:lnTo>
                    <a:lnTo>
                      <a:pt x="5" y="3"/>
                    </a:lnTo>
                    <a:lnTo>
                      <a:pt x="4" y="4"/>
                    </a:lnTo>
                    <a:lnTo>
                      <a:pt x="5" y="6"/>
                    </a:lnTo>
                    <a:lnTo>
                      <a:pt x="5" y="6"/>
                    </a:lnTo>
                    <a:lnTo>
                      <a:pt x="3" y="6"/>
                    </a:lnTo>
                    <a:lnTo>
                      <a:pt x="0" y="10"/>
                    </a:lnTo>
                    <a:lnTo>
                      <a:pt x="0" y="12"/>
                    </a:lnTo>
                    <a:lnTo>
                      <a:pt x="3" y="12"/>
                    </a:lnTo>
                    <a:lnTo>
                      <a:pt x="3" y="15"/>
                    </a:lnTo>
                    <a:lnTo>
                      <a:pt x="4" y="16"/>
                    </a:lnTo>
                    <a:lnTo>
                      <a:pt x="4" y="19"/>
                    </a:lnTo>
                    <a:lnTo>
                      <a:pt x="5" y="22"/>
                    </a:lnTo>
                    <a:lnTo>
                      <a:pt x="5" y="19"/>
                    </a:lnTo>
                    <a:lnTo>
                      <a:pt x="7" y="19"/>
                    </a:lnTo>
                    <a:lnTo>
                      <a:pt x="7" y="19"/>
                    </a:lnTo>
                    <a:lnTo>
                      <a:pt x="7" y="20"/>
                    </a:lnTo>
                    <a:lnTo>
                      <a:pt x="8" y="20"/>
                    </a:lnTo>
                    <a:lnTo>
                      <a:pt x="7" y="22"/>
                    </a:lnTo>
                    <a:lnTo>
                      <a:pt x="8" y="23"/>
                    </a:lnTo>
                    <a:lnTo>
                      <a:pt x="17" y="23"/>
                    </a:lnTo>
                    <a:lnTo>
                      <a:pt x="18" y="25"/>
                    </a:lnTo>
                    <a:lnTo>
                      <a:pt x="18" y="26"/>
                    </a:lnTo>
                    <a:lnTo>
                      <a:pt x="18" y="26"/>
                    </a:lnTo>
                    <a:lnTo>
                      <a:pt x="21" y="23"/>
                    </a:lnTo>
                    <a:lnTo>
                      <a:pt x="21" y="23"/>
                    </a:lnTo>
                    <a:lnTo>
                      <a:pt x="26" y="23"/>
                    </a:lnTo>
                    <a:lnTo>
                      <a:pt x="27" y="20"/>
                    </a:lnTo>
                    <a:lnTo>
                      <a:pt x="32" y="20"/>
                    </a:lnTo>
                    <a:lnTo>
                      <a:pt x="32" y="20"/>
                    </a:lnTo>
                    <a:lnTo>
                      <a:pt x="36" y="20"/>
                    </a:lnTo>
                    <a:lnTo>
                      <a:pt x="37" y="19"/>
                    </a:lnTo>
                    <a:lnTo>
                      <a:pt x="48" y="19"/>
                    </a:lnTo>
                    <a:lnTo>
                      <a:pt x="49" y="17"/>
                    </a:lnTo>
                    <a:lnTo>
                      <a:pt x="52" y="17"/>
                    </a:lnTo>
                    <a:lnTo>
                      <a:pt x="53" y="16"/>
                    </a:lnTo>
                    <a:lnTo>
                      <a:pt x="53" y="19"/>
                    </a:lnTo>
                    <a:lnTo>
                      <a:pt x="52" y="20"/>
                    </a:lnTo>
                    <a:lnTo>
                      <a:pt x="55" y="20"/>
                    </a:lnTo>
                    <a:lnTo>
                      <a:pt x="53" y="22"/>
                    </a:lnTo>
                    <a:lnTo>
                      <a:pt x="53" y="23"/>
                    </a:lnTo>
                    <a:lnTo>
                      <a:pt x="52" y="25"/>
                    </a:lnTo>
                    <a:lnTo>
                      <a:pt x="52" y="25"/>
                    </a:lnTo>
                    <a:lnTo>
                      <a:pt x="52" y="26"/>
                    </a:lnTo>
                    <a:lnTo>
                      <a:pt x="52" y="26"/>
                    </a:lnTo>
                    <a:lnTo>
                      <a:pt x="40" y="26"/>
                    </a:lnTo>
                    <a:lnTo>
                      <a:pt x="39" y="28"/>
                    </a:lnTo>
                    <a:lnTo>
                      <a:pt x="39" y="28"/>
                    </a:lnTo>
                    <a:lnTo>
                      <a:pt x="39" y="26"/>
                    </a:lnTo>
                    <a:lnTo>
                      <a:pt x="34" y="28"/>
                    </a:lnTo>
                    <a:lnTo>
                      <a:pt x="34" y="29"/>
                    </a:lnTo>
                    <a:lnTo>
                      <a:pt x="34" y="32"/>
                    </a:lnTo>
                    <a:lnTo>
                      <a:pt x="37" y="32"/>
                    </a:lnTo>
                    <a:lnTo>
                      <a:pt x="37" y="33"/>
                    </a:lnTo>
                    <a:lnTo>
                      <a:pt x="40" y="33"/>
                    </a:lnTo>
                    <a:lnTo>
                      <a:pt x="40" y="35"/>
                    </a:lnTo>
                    <a:lnTo>
                      <a:pt x="40" y="35"/>
                    </a:lnTo>
                    <a:lnTo>
                      <a:pt x="42" y="36"/>
                    </a:lnTo>
                    <a:lnTo>
                      <a:pt x="39" y="38"/>
                    </a:lnTo>
                    <a:lnTo>
                      <a:pt x="37" y="35"/>
                    </a:lnTo>
                    <a:lnTo>
                      <a:pt x="30" y="36"/>
                    </a:lnTo>
                    <a:lnTo>
                      <a:pt x="30" y="35"/>
                    </a:lnTo>
                    <a:lnTo>
                      <a:pt x="29" y="35"/>
                    </a:lnTo>
                    <a:lnTo>
                      <a:pt x="29" y="33"/>
                    </a:lnTo>
                    <a:lnTo>
                      <a:pt x="26" y="32"/>
                    </a:lnTo>
                    <a:lnTo>
                      <a:pt x="21" y="33"/>
                    </a:lnTo>
                    <a:lnTo>
                      <a:pt x="21" y="35"/>
                    </a:lnTo>
                    <a:lnTo>
                      <a:pt x="23" y="36"/>
                    </a:lnTo>
                    <a:lnTo>
                      <a:pt x="24" y="38"/>
                    </a:lnTo>
                    <a:lnTo>
                      <a:pt x="24" y="41"/>
                    </a:lnTo>
                    <a:lnTo>
                      <a:pt x="27" y="42"/>
                    </a:lnTo>
                    <a:lnTo>
                      <a:pt x="29" y="45"/>
                    </a:lnTo>
                    <a:lnTo>
                      <a:pt x="36" y="45"/>
                    </a:lnTo>
                    <a:lnTo>
                      <a:pt x="36" y="48"/>
                    </a:lnTo>
                    <a:lnTo>
                      <a:pt x="36" y="51"/>
                    </a:lnTo>
                    <a:lnTo>
                      <a:pt x="39" y="54"/>
                    </a:lnTo>
                    <a:lnTo>
                      <a:pt x="42" y="52"/>
                    </a:lnTo>
                    <a:lnTo>
                      <a:pt x="42" y="52"/>
                    </a:lnTo>
                    <a:lnTo>
                      <a:pt x="42" y="51"/>
                    </a:lnTo>
                    <a:lnTo>
                      <a:pt x="45" y="49"/>
                    </a:lnTo>
                    <a:lnTo>
                      <a:pt x="46" y="51"/>
                    </a:lnTo>
                    <a:lnTo>
                      <a:pt x="48" y="48"/>
                    </a:lnTo>
                    <a:lnTo>
                      <a:pt x="48" y="48"/>
                    </a:lnTo>
                    <a:lnTo>
                      <a:pt x="48" y="49"/>
                    </a:lnTo>
                    <a:lnTo>
                      <a:pt x="52" y="52"/>
                    </a:lnTo>
                    <a:lnTo>
                      <a:pt x="56" y="49"/>
                    </a:lnTo>
                    <a:lnTo>
                      <a:pt x="62" y="51"/>
                    </a:lnTo>
                    <a:lnTo>
                      <a:pt x="63" y="51"/>
                    </a:lnTo>
                    <a:lnTo>
                      <a:pt x="63" y="49"/>
                    </a:lnTo>
                    <a:lnTo>
                      <a:pt x="65" y="49"/>
                    </a:lnTo>
                    <a:lnTo>
                      <a:pt x="65" y="52"/>
                    </a:lnTo>
                    <a:lnTo>
                      <a:pt x="63" y="54"/>
                    </a:lnTo>
                    <a:lnTo>
                      <a:pt x="63" y="58"/>
                    </a:lnTo>
                    <a:lnTo>
                      <a:pt x="65" y="61"/>
                    </a:lnTo>
                    <a:lnTo>
                      <a:pt x="66" y="60"/>
                    </a:lnTo>
                    <a:lnTo>
                      <a:pt x="66" y="62"/>
                    </a:lnTo>
                    <a:lnTo>
                      <a:pt x="68" y="64"/>
                    </a:lnTo>
                    <a:lnTo>
                      <a:pt x="68" y="64"/>
                    </a:lnTo>
                    <a:lnTo>
                      <a:pt x="68" y="65"/>
                    </a:lnTo>
                    <a:lnTo>
                      <a:pt x="72" y="65"/>
                    </a:lnTo>
                    <a:lnTo>
                      <a:pt x="72" y="68"/>
                    </a:lnTo>
                    <a:lnTo>
                      <a:pt x="74" y="68"/>
                    </a:lnTo>
                    <a:lnTo>
                      <a:pt x="74" y="67"/>
                    </a:lnTo>
                    <a:lnTo>
                      <a:pt x="74" y="68"/>
                    </a:lnTo>
                    <a:lnTo>
                      <a:pt x="81" y="67"/>
                    </a:lnTo>
                    <a:lnTo>
                      <a:pt x="85" y="64"/>
                    </a:lnTo>
                    <a:lnTo>
                      <a:pt x="85" y="62"/>
                    </a:lnTo>
                    <a:lnTo>
                      <a:pt x="87" y="58"/>
                    </a:lnTo>
                    <a:lnTo>
                      <a:pt x="87" y="57"/>
                    </a:lnTo>
                    <a:lnTo>
                      <a:pt x="91" y="55"/>
                    </a:lnTo>
                    <a:lnTo>
                      <a:pt x="95" y="52"/>
                    </a:lnTo>
                    <a:lnTo>
                      <a:pt x="97" y="54"/>
                    </a:lnTo>
                    <a:lnTo>
                      <a:pt x="97" y="55"/>
                    </a:lnTo>
                    <a:lnTo>
                      <a:pt x="98" y="55"/>
                    </a:lnTo>
                    <a:lnTo>
                      <a:pt x="100" y="54"/>
                    </a:lnTo>
                    <a:lnTo>
                      <a:pt x="101" y="55"/>
                    </a:lnTo>
                    <a:lnTo>
                      <a:pt x="104" y="51"/>
                    </a:lnTo>
                    <a:lnTo>
                      <a:pt x="107" y="49"/>
                    </a:lnTo>
                    <a:lnTo>
                      <a:pt x="107" y="48"/>
                    </a:lnTo>
                    <a:lnTo>
                      <a:pt x="108" y="46"/>
                    </a:lnTo>
                    <a:lnTo>
                      <a:pt x="107" y="44"/>
                    </a:lnTo>
                    <a:lnTo>
                      <a:pt x="110" y="44"/>
                    </a:lnTo>
                    <a:lnTo>
                      <a:pt x="110" y="41"/>
                    </a:lnTo>
                    <a:lnTo>
                      <a:pt x="110" y="39"/>
                    </a:lnTo>
                    <a:lnTo>
                      <a:pt x="110" y="39"/>
                    </a:lnTo>
                    <a:lnTo>
                      <a:pt x="110" y="38"/>
                    </a:lnTo>
                    <a:lnTo>
                      <a:pt x="108" y="36"/>
                    </a:lnTo>
                    <a:lnTo>
                      <a:pt x="108" y="33"/>
                    </a:lnTo>
                    <a:lnTo>
                      <a:pt x="111" y="31"/>
                    </a:lnTo>
                    <a:lnTo>
                      <a:pt x="111" y="29"/>
                    </a:lnTo>
                    <a:lnTo>
                      <a:pt x="114" y="29"/>
                    </a:lnTo>
                    <a:lnTo>
                      <a:pt x="116" y="26"/>
                    </a:lnTo>
                    <a:lnTo>
                      <a:pt x="117" y="26"/>
                    </a:lnTo>
                    <a:lnTo>
                      <a:pt x="119" y="23"/>
                    </a:lnTo>
                    <a:lnTo>
                      <a:pt x="120" y="23"/>
                    </a:lnTo>
                    <a:lnTo>
                      <a:pt x="120" y="22"/>
                    </a:lnTo>
                    <a:lnTo>
                      <a:pt x="120" y="20"/>
                    </a:lnTo>
                    <a:lnTo>
                      <a:pt x="122" y="17"/>
                    </a:lnTo>
                    <a:lnTo>
                      <a:pt x="123" y="16"/>
                    </a:lnTo>
                    <a:lnTo>
                      <a:pt x="127" y="15"/>
                    </a:lnTo>
                    <a:lnTo>
                      <a:pt x="127" y="12"/>
                    </a:lnTo>
                    <a:lnTo>
                      <a:pt x="129" y="10"/>
                    </a:lnTo>
                    <a:lnTo>
                      <a:pt x="126" y="7"/>
                    </a:lnTo>
                    <a:lnTo>
                      <a:pt x="126" y="7"/>
                    </a:lnTo>
                    <a:lnTo>
                      <a:pt x="126" y="6"/>
                    </a:lnTo>
                    <a:lnTo>
                      <a:pt x="127" y="3"/>
                    </a:lnTo>
                    <a:lnTo>
                      <a:pt x="127" y="0"/>
                    </a:lnTo>
                    <a:lnTo>
                      <a:pt x="61" y="0"/>
                    </a:lnTo>
                    <a:lnTo>
                      <a:pt x="61" y="1"/>
                    </a:lnTo>
                    <a:lnTo>
                      <a:pt x="59" y="1"/>
                    </a:lnTo>
                    <a:lnTo>
                      <a:pt x="59" y="3"/>
                    </a:lnTo>
                    <a:lnTo>
                      <a:pt x="58" y="1"/>
                    </a:lnTo>
                    <a:lnTo>
                      <a:pt x="56" y="0"/>
                    </a:lnTo>
                    <a:lnTo>
                      <a:pt x="17" y="0"/>
                    </a:lnTo>
                    <a:lnTo>
                      <a:pt x="17" y="0"/>
                    </a:lnTo>
                    <a:lnTo>
                      <a:pt x="17" y="0"/>
                    </a:lnTo>
                    <a:lnTo>
                      <a:pt x="8" y="0"/>
                    </a:lnTo>
                    <a:lnTo>
                      <a:pt x="8" y="3"/>
                    </a:lnTo>
                    <a:lnTo>
                      <a:pt x="8" y="4"/>
                    </a:lnTo>
                    <a:lnTo>
                      <a:pt x="8" y="4"/>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58" name="Freeform 1232"/>
              <p:cNvSpPr>
                <a:spLocks/>
              </p:cNvSpPr>
              <p:nvPr/>
            </p:nvSpPr>
            <p:spPr bwMode="auto">
              <a:xfrm>
                <a:off x="4835624" y="1297068"/>
                <a:ext cx="45646" cy="85187"/>
              </a:xfrm>
              <a:custGeom>
                <a:avLst/>
                <a:gdLst/>
                <a:ahLst/>
                <a:cxnLst>
                  <a:cxn ang="0">
                    <a:pos x="50" y="42"/>
                  </a:cxn>
                  <a:cxn ang="0">
                    <a:pos x="50" y="41"/>
                  </a:cxn>
                  <a:cxn ang="0">
                    <a:pos x="46" y="31"/>
                  </a:cxn>
                  <a:cxn ang="0">
                    <a:pos x="40" y="26"/>
                  </a:cxn>
                  <a:cxn ang="0">
                    <a:pos x="36" y="29"/>
                  </a:cxn>
                  <a:cxn ang="0">
                    <a:pos x="33" y="28"/>
                  </a:cxn>
                  <a:cxn ang="0">
                    <a:pos x="34" y="19"/>
                  </a:cxn>
                  <a:cxn ang="0">
                    <a:pos x="33" y="18"/>
                  </a:cxn>
                  <a:cxn ang="0">
                    <a:pos x="31" y="16"/>
                  </a:cxn>
                  <a:cxn ang="0">
                    <a:pos x="27" y="12"/>
                  </a:cxn>
                  <a:cxn ang="0">
                    <a:pos x="24" y="12"/>
                  </a:cxn>
                  <a:cxn ang="0">
                    <a:pos x="14" y="2"/>
                  </a:cxn>
                  <a:cxn ang="0">
                    <a:pos x="5" y="0"/>
                  </a:cxn>
                  <a:cxn ang="0">
                    <a:pos x="1" y="5"/>
                  </a:cxn>
                  <a:cxn ang="0">
                    <a:pos x="1" y="6"/>
                  </a:cxn>
                  <a:cxn ang="0">
                    <a:pos x="1" y="8"/>
                  </a:cxn>
                  <a:cxn ang="0">
                    <a:pos x="2" y="18"/>
                  </a:cxn>
                  <a:cxn ang="0">
                    <a:pos x="4" y="19"/>
                  </a:cxn>
                  <a:cxn ang="0">
                    <a:pos x="4" y="22"/>
                  </a:cxn>
                  <a:cxn ang="0">
                    <a:pos x="4" y="24"/>
                  </a:cxn>
                  <a:cxn ang="0">
                    <a:pos x="0" y="26"/>
                  </a:cxn>
                  <a:cxn ang="0">
                    <a:pos x="4" y="32"/>
                  </a:cxn>
                  <a:cxn ang="0">
                    <a:pos x="5" y="34"/>
                  </a:cxn>
                  <a:cxn ang="0">
                    <a:pos x="4" y="37"/>
                  </a:cxn>
                  <a:cxn ang="0">
                    <a:pos x="5" y="42"/>
                  </a:cxn>
                  <a:cxn ang="0">
                    <a:pos x="8" y="42"/>
                  </a:cxn>
                  <a:cxn ang="0">
                    <a:pos x="8" y="45"/>
                  </a:cxn>
                  <a:cxn ang="0">
                    <a:pos x="7" y="47"/>
                  </a:cxn>
                  <a:cxn ang="0">
                    <a:pos x="7" y="48"/>
                  </a:cxn>
                  <a:cxn ang="0">
                    <a:pos x="11" y="50"/>
                  </a:cxn>
                  <a:cxn ang="0">
                    <a:pos x="14" y="48"/>
                  </a:cxn>
                  <a:cxn ang="0">
                    <a:pos x="21" y="53"/>
                  </a:cxn>
                  <a:cxn ang="0">
                    <a:pos x="21" y="55"/>
                  </a:cxn>
                  <a:cxn ang="0">
                    <a:pos x="23" y="57"/>
                  </a:cxn>
                  <a:cxn ang="0">
                    <a:pos x="20" y="58"/>
                  </a:cxn>
                  <a:cxn ang="0">
                    <a:pos x="10" y="58"/>
                  </a:cxn>
                  <a:cxn ang="0">
                    <a:pos x="8" y="61"/>
                  </a:cxn>
                  <a:cxn ang="0">
                    <a:pos x="18" y="73"/>
                  </a:cxn>
                  <a:cxn ang="0">
                    <a:pos x="17" y="79"/>
                  </a:cxn>
                  <a:cxn ang="0">
                    <a:pos x="17" y="80"/>
                  </a:cxn>
                  <a:cxn ang="0">
                    <a:pos x="23" y="82"/>
                  </a:cxn>
                  <a:cxn ang="0">
                    <a:pos x="26" y="79"/>
                  </a:cxn>
                  <a:cxn ang="0">
                    <a:pos x="26" y="77"/>
                  </a:cxn>
                  <a:cxn ang="0">
                    <a:pos x="24" y="76"/>
                  </a:cxn>
                  <a:cxn ang="0">
                    <a:pos x="23" y="76"/>
                  </a:cxn>
                  <a:cxn ang="0">
                    <a:pos x="27" y="71"/>
                  </a:cxn>
                  <a:cxn ang="0">
                    <a:pos x="31" y="76"/>
                  </a:cxn>
                  <a:cxn ang="0">
                    <a:pos x="34" y="74"/>
                  </a:cxn>
                  <a:cxn ang="0">
                    <a:pos x="45" y="70"/>
                  </a:cxn>
                  <a:cxn ang="0">
                    <a:pos x="47" y="70"/>
                  </a:cxn>
                  <a:cxn ang="0">
                    <a:pos x="47" y="71"/>
                  </a:cxn>
                  <a:cxn ang="0">
                    <a:pos x="49" y="71"/>
                  </a:cxn>
                  <a:cxn ang="0">
                    <a:pos x="50" y="61"/>
                  </a:cxn>
                  <a:cxn ang="0">
                    <a:pos x="50" y="60"/>
                  </a:cxn>
                  <a:cxn ang="0">
                    <a:pos x="49" y="58"/>
                  </a:cxn>
                  <a:cxn ang="0">
                    <a:pos x="47" y="58"/>
                  </a:cxn>
                  <a:cxn ang="0">
                    <a:pos x="47" y="45"/>
                  </a:cxn>
                  <a:cxn ang="0">
                    <a:pos x="50" y="42"/>
                  </a:cxn>
                  <a:cxn ang="0">
                    <a:pos x="50" y="42"/>
                  </a:cxn>
                </a:cxnLst>
                <a:rect l="0" t="0" r="r" b="b"/>
                <a:pathLst>
                  <a:path w="50" h="82">
                    <a:moveTo>
                      <a:pt x="50" y="42"/>
                    </a:moveTo>
                    <a:lnTo>
                      <a:pt x="50" y="41"/>
                    </a:lnTo>
                    <a:lnTo>
                      <a:pt x="46" y="31"/>
                    </a:lnTo>
                    <a:lnTo>
                      <a:pt x="40" y="26"/>
                    </a:lnTo>
                    <a:lnTo>
                      <a:pt x="36" y="29"/>
                    </a:lnTo>
                    <a:lnTo>
                      <a:pt x="33" y="28"/>
                    </a:lnTo>
                    <a:lnTo>
                      <a:pt x="34" y="19"/>
                    </a:lnTo>
                    <a:lnTo>
                      <a:pt x="33" y="18"/>
                    </a:lnTo>
                    <a:lnTo>
                      <a:pt x="31" y="16"/>
                    </a:lnTo>
                    <a:lnTo>
                      <a:pt x="27" y="12"/>
                    </a:lnTo>
                    <a:lnTo>
                      <a:pt x="24" y="12"/>
                    </a:lnTo>
                    <a:lnTo>
                      <a:pt x="14" y="2"/>
                    </a:lnTo>
                    <a:lnTo>
                      <a:pt x="5" y="0"/>
                    </a:lnTo>
                    <a:lnTo>
                      <a:pt x="1" y="5"/>
                    </a:lnTo>
                    <a:lnTo>
                      <a:pt x="1" y="6"/>
                    </a:lnTo>
                    <a:lnTo>
                      <a:pt x="1" y="8"/>
                    </a:lnTo>
                    <a:lnTo>
                      <a:pt x="2" y="18"/>
                    </a:lnTo>
                    <a:lnTo>
                      <a:pt x="4" y="19"/>
                    </a:lnTo>
                    <a:lnTo>
                      <a:pt x="4" y="22"/>
                    </a:lnTo>
                    <a:lnTo>
                      <a:pt x="4" y="24"/>
                    </a:lnTo>
                    <a:lnTo>
                      <a:pt x="0" y="26"/>
                    </a:lnTo>
                    <a:lnTo>
                      <a:pt x="4" y="32"/>
                    </a:lnTo>
                    <a:lnTo>
                      <a:pt x="5" y="34"/>
                    </a:lnTo>
                    <a:lnTo>
                      <a:pt x="4" y="37"/>
                    </a:lnTo>
                    <a:lnTo>
                      <a:pt x="5" y="42"/>
                    </a:lnTo>
                    <a:lnTo>
                      <a:pt x="8" y="42"/>
                    </a:lnTo>
                    <a:lnTo>
                      <a:pt x="8" y="45"/>
                    </a:lnTo>
                    <a:lnTo>
                      <a:pt x="7" y="47"/>
                    </a:lnTo>
                    <a:lnTo>
                      <a:pt x="7" y="48"/>
                    </a:lnTo>
                    <a:lnTo>
                      <a:pt x="11" y="50"/>
                    </a:lnTo>
                    <a:lnTo>
                      <a:pt x="14" y="48"/>
                    </a:lnTo>
                    <a:lnTo>
                      <a:pt x="21" y="53"/>
                    </a:lnTo>
                    <a:lnTo>
                      <a:pt x="21" y="55"/>
                    </a:lnTo>
                    <a:lnTo>
                      <a:pt x="23" y="57"/>
                    </a:lnTo>
                    <a:lnTo>
                      <a:pt x="20" y="58"/>
                    </a:lnTo>
                    <a:lnTo>
                      <a:pt x="10" y="58"/>
                    </a:lnTo>
                    <a:lnTo>
                      <a:pt x="8" y="61"/>
                    </a:lnTo>
                    <a:lnTo>
                      <a:pt x="18" y="73"/>
                    </a:lnTo>
                    <a:lnTo>
                      <a:pt x="17" y="79"/>
                    </a:lnTo>
                    <a:lnTo>
                      <a:pt x="17" y="80"/>
                    </a:lnTo>
                    <a:lnTo>
                      <a:pt x="23" y="82"/>
                    </a:lnTo>
                    <a:lnTo>
                      <a:pt x="26" y="79"/>
                    </a:lnTo>
                    <a:lnTo>
                      <a:pt x="26" y="77"/>
                    </a:lnTo>
                    <a:lnTo>
                      <a:pt x="24" y="76"/>
                    </a:lnTo>
                    <a:lnTo>
                      <a:pt x="23" y="76"/>
                    </a:lnTo>
                    <a:lnTo>
                      <a:pt x="27" y="71"/>
                    </a:lnTo>
                    <a:lnTo>
                      <a:pt x="31" y="76"/>
                    </a:lnTo>
                    <a:lnTo>
                      <a:pt x="34" y="74"/>
                    </a:lnTo>
                    <a:lnTo>
                      <a:pt x="45" y="70"/>
                    </a:lnTo>
                    <a:lnTo>
                      <a:pt x="47" y="70"/>
                    </a:lnTo>
                    <a:lnTo>
                      <a:pt x="47" y="71"/>
                    </a:lnTo>
                    <a:lnTo>
                      <a:pt x="49" y="71"/>
                    </a:lnTo>
                    <a:lnTo>
                      <a:pt x="50" y="61"/>
                    </a:lnTo>
                    <a:lnTo>
                      <a:pt x="50" y="60"/>
                    </a:lnTo>
                    <a:lnTo>
                      <a:pt x="49" y="58"/>
                    </a:lnTo>
                    <a:lnTo>
                      <a:pt x="47" y="58"/>
                    </a:lnTo>
                    <a:lnTo>
                      <a:pt x="47" y="45"/>
                    </a:lnTo>
                    <a:lnTo>
                      <a:pt x="50" y="42"/>
                    </a:lnTo>
                    <a:lnTo>
                      <a:pt x="50" y="42"/>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59" name="Freeform 1233"/>
              <p:cNvSpPr>
                <a:spLocks/>
              </p:cNvSpPr>
              <p:nvPr/>
            </p:nvSpPr>
            <p:spPr bwMode="auto">
              <a:xfrm>
                <a:off x="4739067" y="1263601"/>
                <a:ext cx="88658" cy="116625"/>
              </a:xfrm>
              <a:custGeom>
                <a:avLst/>
                <a:gdLst/>
                <a:ahLst/>
                <a:cxnLst>
                  <a:cxn ang="0">
                    <a:pos x="87" y="74"/>
                  </a:cxn>
                  <a:cxn ang="0">
                    <a:pos x="83" y="67"/>
                  </a:cxn>
                  <a:cxn ang="0">
                    <a:pos x="86" y="58"/>
                  </a:cxn>
                  <a:cxn ang="0">
                    <a:pos x="86" y="53"/>
                  </a:cxn>
                  <a:cxn ang="0">
                    <a:pos x="86" y="50"/>
                  </a:cxn>
                  <a:cxn ang="0">
                    <a:pos x="83" y="51"/>
                  </a:cxn>
                  <a:cxn ang="0">
                    <a:pos x="81" y="45"/>
                  </a:cxn>
                  <a:cxn ang="0">
                    <a:pos x="77" y="44"/>
                  </a:cxn>
                  <a:cxn ang="0">
                    <a:pos x="77" y="37"/>
                  </a:cxn>
                  <a:cxn ang="0">
                    <a:pos x="68" y="32"/>
                  </a:cxn>
                  <a:cxn ang="0">
                    <a:pos x="62" y="37"/>
                  </a:cxn>
                  <a:cxn ang="0">
                    <a:pos x="61" y="35"/>
                  </a:cxn>
                  <a:cxn ang="0">
                    <a:pos x="61" y="26"/>
                  </a:cxn>
                  <a:cxn ang="0">
                    <a:pos x="58" y="19"/>
                  </a:cxn>
                  <a:cxn ang="0">
                    <a:pos x="55" y="24"/>
                  </a:cxn>
                  <a:cxn ang="0">
                    <a:pos x="55" y="21"/>
                  </a:cxn>
                  <a:cxn ang="0">
                    <a:pos x="49" y="13"/>
                  </a:cxn>
                  <a:cxn ang="0">
                    <a:pos x="44" y="12"/>
                  </a:cxn>
                  <a:cxn ang="0">
                    <a:pos x="38" y="21"/>
                  </a:cxn>
                  <a:cxn ang="0">
                    <a:pos x="38" y="29"/>
                  </a:cxn>
                  <a:cxn ang="0">
                    <a:pos x="35" y="9"/>
                  </a:cxn>
                  <a:cxn ang="0">
                    <a:pos x="30" y="6"/>
                  </a:cxn>
                  <a:cxn ang="0">
                    <a:pos x="28" y="5"/>
                  </a:cxn>
                  <a:cxn ang="0">
                    <a:pos x="22" y="0"/>
                  </a:cxn>
                  <a:cxn ang="0">
                    <a:pos x="6" y="6"/>
                  </a:cxn>
                  <a:cxn ang="0">
                    <a:pos x="3" y="6"/>
                  </a:cxn>
                  <a:cxn ang="0">
                    <a:pos x="1" y="28"/>
                  </a:cxn>
                  <a:cxn ang="0">
                    <a:pos x="10" y="25"/>
                  </a:cxn>
                  <a:cxn ang="0">
                    <a:pos x="12" y="38"/>
                  </a:cxn>
                  <a:cxn ang="0">
                    <a:pos x="10" y="42"/>
                  </a:cxn>
                  <a:cxn ang="0">
                    <a:pos x="17" y="31"/>
                  </a:cxn>
                  <a:cxn ang="0">
                    <a:pos x="20" y="28"/>
                  </a:cxn>
                  <a:cxn ang="0">
                    <a:pos x="23" y="31"/>
                  </a:cxn>
                  <a:cxn ang="0">
                    <a:pos x="23" y="38"/>
                  </a:cxn>
                  <a:cxn ang="0">
                    <a:pos x="22" y="44"/>
                  </a:cxn>
                  <a:cxn ang="0">
                    <a:pos x="25" y="42"/>
                  </a:cxn>
                  <a:cxn ang="0">
                    <a:pos x="28" y="45"/>
                  </a:cxn>
                  <a:cxn ang="0">
                    <a:pos x="32" y="47"/>
                  </a:cxn>
                  <a:cxn ang="0">
                    <a:pos x="25" y="53"/>
                  </a:cxn>
                  <a:cxn ang="0">
                    <a:pos x="33" y="57"/>
                  </a:cxn>
                  <a:cxn ang="0">
                    <a:pos x="25" y="63"/>
                  </a:cxn>
                  <a:cxn ang="0">
                    <a:pos x="12" y="60"/>
                  </a:cxn>
                  <a:cxn ang="0">
                    <a:pos x="12" y="70"/>
                  </a:cxn>
                  <a:cxn ang="0">
                    <a:pos x="20" y="80"/>
                  </a:cxn>
                  <a:cxn ang="0">
                    <a:pos x="29" y="79"/>
                  </a:cxn>
                  <a:cxn ang="0">
                    <a:pos x="33" y="76"/>
                  </a:cxn>
                  <a:cxn ang="0">
                    <a:pos x="41" y="73"/>
                  </a:cxn>
                  <a:cxn ang="0">
                    <a:pos x="44" y="79"/>
                  </a:cxn>
                  <a:cxn ang="0">
                    <a:pos x="49" y="77"/>
                  </a:cxn>
                  <a:cxn ang="0">
                    <a:pos x="61" y="82"/>
                  </a:cxn>
                  <a:cxn ang="0">
                    <a:pos x="65" y="83"/>
                  </a:cxn>
                  <a:cxn ang="0">
                    <a:pos x="67" y="83"/>
                  </a:cxn>
                  <a:cxn ang="0">
                    <a:pos x="70" y="89"/>
                  </a:cxn>
                  <a:cxn ang="0">
                    <a:pos x="73" y="101"/>
                  </a:cxn>
                  <a:cxn ang="0">
                    <a:pos x="77" y="109"/>
                  </a:cxn>
                  <a:cxn ang="0">
                    <a:pos x="81" y="112"/>
                  </a:cxn>
                  <a:cxn ang="0">
                    <a:pos x="84" y="108"/>
                  </a:cxn>
                  <a:cxn ang="0">
                    <a:pos x="93" y="106"/>
                  </a:cxn>
                  <a:cxn ang="0">
                    <a:pos x="93" y="99"/>
                  </a:cxn>
                  <a:cxn ang="0">
                    <a:pos x="87" y="79"/>
                  </a:cxn>
                </a:cxnLst>
                <a:rect l="0" t="0" r="r" b="b"/>
                <a:pathLst>
                  <a:path w="96" h="112">
                    <a:moveTo>
                      <a:pt x="87" y="79"/>
                    </a:moveTo>
                    <a:lnTo>
                      <a:pt x="87" y="74"/>
                    </a:lnTo>
                    <a:lnTo>
                      <a:pt x="83" y="72"/>
                    </a:lnTo>
                    <a:lnTo>
                      <a:pt x="83" y="67"/>
                    </a:lnTo>
                    <a:lnTo>
                      <a:pt x="83" y="63"/>
                    </a:lnTo>
                    <a:lnTo>
                      <a:pt x="86" y="58"/>
                    </a:lnTo>
                    <a:lnTo>
                      <a:pt x="86" y="56"/>
                    </a:lnTo>
                    <a:lnTo>
                      <a:pt x="86" y="53"/>
                    </a:lnTo>
                    <a:lnTo>
                      <a:pt x="86" y="51"/>
                    </a:lnTo>
                    <a:lnTo>
                      <a:pt x="86" y="50"/>
                    </a:lnTo>
                    <a:lnTo>
                      <a:pt x="84" y="48"/>
                    </a:lnTo>
                    <a:lnTo>
                      <a:pt x="83" y="51"/>
                    </a:lnTo>
                    <a:lnTo>
                      <a:pt x="81" y="47"/>
                    </a:lnTo>
                    <a:lnTo>
                      <a:pt x="81" y="45"/>
                    </a:lnTo>
                    <a:lnTo>
                      <a:pt x="78" y="45"/>
                    </a:lnTo>
                    <a:lnTo>
                      <a:pt x="77" y="44"/>
                    </a:lnTo>
                    <a:lnTo>
                      <a:pt x="78" y="41"/>
                    </a:lnTo>
                    <a:lnTo>
                      <a:pt x="77" y="37"/>
                    </a:lnTo>
                    <a:lnTo>
                      <a:pt x="70" y="31"/>
                    </a:lnTo>
                    <a:lnTo>
                      <a:pt x="68" y="32"/>
                    </a:lnTo>
                    <a:lnTo>
                      <a:pt x="64" y="34"/>
                    </a:lnTo>
                    <a:lnTo>
                      <a:pt x="62" y="37"/>
                    </a:lnTo>
                    <a:lnTo>
                      <a:pt x="61" y="37"/>
                    </a:lnTo>
                    <a:lnTo>
                      <a:pt x="61" y="35"/>
                    </a:lnTo>
                    <a:lnTo>
                      <a:pt x="60" y="34"/>
                    </a:lnTo>
                    <a:lnTo>
                      <a:pt x="61" y="26"/>
                    </a:lnTo>
                    <a:lnTo>
                      <a:pt x="60" y="22"/>
                    </a:lnTo>
                    <a:lnTo>
                      <a:pt x="58" y="19"/>
                    </a:lnTo>
                    <a:lnTo>
                      <a:pt x="57" y="22"/>
                    </a:lnTo>
                    <a:lnTo>
                      <a:pt x="55" y="24"/>
                    </a:lnTo>
                    <a:lnTo>
                      <a:pt x="55" y="22"/>
                    </a:lnTo>
                    <a:lnTo>
                      <a:pt x="55" y="21"/>
                    </a:lnTo>
                    <a:lnTo>
                      <a:pt x="52" y="18"/>
                    </a:lnTo>
                    <a:lnTo>
                      <a:pt x="49" y="13"/>
                    </a:lnTo>
                    <a:lnTo>
                      <a:pt x="46" y="12"/>
                    </a:lnTo>
                    <a:lnTo>
                      <a:pt x="44" y="12"/>
                    </a:lnTo>
                    <a:lnTo>
                      <a:pt x="39" y="18"/>
                    </a:lnTo>
                    <a:lnTo>
                      <a:pt x="38" y="21"/>
                    </a:lnTo>
                    <a:lnTo>
                      <a:pt x="38" y="28"/>
                    </a:lnTo>
                    <a:lnTo>
                      <a:pt x="38" y="29"/>
                    </a:lnTo>
                    <a:lnTo>
                      <a:pt x="33" y="25"/>
                    </a:lnTo>
                    <a:lnTo>
                      <a:pt x="35" y="9"/>
                    </a:lnTo>
                    <a:lnTo>
                      <a:pt x="33" y="6"/>
                    </a:lnTo>
                    <a:lnTo>
                      <a:pt x="30" y="6"/>
                    </a:lnTo>
                    <a:lnTo>
                      <a:pt x="28" y="8"/>
                    </a:lnTo>
                    <a:lnTo>
                      <a:pt x="28" y="5"/>
                    </a:lnTo>
                    <a:lnTo>
                      <a:pt x="28" y="3"/>
                    </a:lnTo>
                    <a:lnTo>
                      <a:pt x="22" y="0"/>
                    </a:lnTo>
                    <a:lnTo>
                      <a:pt x="16" y="3"/>
                    </a:lnTo>
                    <a:lnTo>
                      <a:pt x="6" y="6"/>
                    </a:lnTo>
                    <a:lnTo>
                      <a:pt x="3" y="5"/>
                    </a:lnTo>
                    <a:lnTo>
                      <a:pt x="3" y="6"/>
                    </a:lnTo>
                    <a:lnTo>
                      <a:pt x="0" y="15"/>
                    </a:lnTo>
                    <a:lnTo>
                      <a:pt x="1" y="28"/>
                    </a:lnTo>
                    <a:lnTo>
                      <a:pt x="4" y="28"/>
                    </a:lnTo>
                    <a:lnTo>
                      <a:pt x="10" y="25"/>
                    </a:lnTo>
                    <a:lnTo>
                      <a:pt x="13" y="25"/>
                    </a:lnTo>
                    <a:lnTo>
                      <a:pt x="12" y="38"/>
                    </a:lnTo>
                    <a:lnTo>
                      <a:pt x="9" y="40"/>
                    </a:lnTo>
                    <a:lnTo>
                      <a:pt x="10" y="42"/>
                    </a:lnTo>
                    <a:lnTo>
                      <a:pt x="14" y="41"/>
                    </a:lnTo>
                    <a:lnTo>
                      <a:pt x="17" y="31"/>
                    </a:lnTo>
                    <a:lnTo>
                      <a:pt x="19" y="31"/>
                    </a:lnTo>
                    <a:lnTo>
                      <a:pt x="20" y="28"/>
                    </a:lnTo>
                    <a:lnTo>
                      <a:pt x="23" y="29"/>
                    </a:lnTo>
                    <a:lnTo>
                      <a:pt x="23" y="31"/>
                    </a:lnTo>
                    <a:lnTo>
                      <a:pt x="25" y="34"/>
                    </a:lnTo>
                    <a:lnTo>
                      <a:pt x="23" y="38"/>
                    </a:lnTo>
                    <a:lnTo>
                      <a:pt x="22" y="41"/>
                    </a:lnTo>
                    <a:lnTo>
                      <a:pt x="22" y="44"/>
                    </a:lnTo>
                    <a:lnTo>
                      <a:pt x="23" y="45"/>
                    </a:lnTo>
                    <a:lnTo>
                      <a:pt x="25" y="42"/>
                    </a:lnTo>
                    <a:lnTo>
                      <a:pt x="26" y="42"/>
                    </a:lnTo>
                    <a:lnTo>
                      <a:pt x="28" y="45"/>
                    </a:lnTo>
                    <a:lnTo>
                      <a:pt x="32" y="44"/>
                    </a:lnTo>
                    <a:lnTo>
                      <a:pt x="32" y="47"/>
                    </a:lnTo>
                    <a:lnTo>
                      <a:pt x="30" y="50"/>
                    </a:lnTo>
                    <a:lnTo>
                      <a:pt x="25" y="53"/>
                    </a:lnTo>
                    <a:lnTo>
                      <a:pt x="25" y="54"/>
                    </a:lnTo>
                    <a:lnTo>
                      <a:pt x="33" y="57"/>
                    </a:lnTo>
                    <a:lnTo>
                      <a:pt x="30" y="63"/>
                    </a:lnTo>
                    <a:lnTo>
                      <a:pt x="25" y="63"/>
                    </a:lnTo>
                    <a:lnTo>
                      <a:pt x="17" y="58"/>
                    </a:lnTo>
                    <a:lnTo>
                      <a:pt x="12" y="60"/>
                    </a:lnTo>
                    <a:lnTo>
                      <a:pt x="10" y="61"/>
                    </a:lnTo>
                    <a:lnTo>
                      <a:pt x="12" y="70"/>
                    </a:lnTo>
                    <a:lnTo>
                      <a:pt x="14" y="76"/>
                    </a:lnTo>
                    <a:lnTo>
                      <a:pt x="20" y="80"/>
                    </a:lnTo>
                    <a:lnTo>
                      <a:pt x="28" y="80"/>
                    </a:lnTo>
                    <a:lnTo>
                      <a:pt x="29" y="79"/>
                    </a:lnTo>
                    <a:lnTo>
                      <a:pt x="30" y="76"/>
                    </a:lnTo>
                    <a:lnTo>
                      <a:pt x="33" y="76"/>
                    </a:lnTo>
                    <a:lnTo>
                      <a:pt x="41" y="72"/>
                    </a:lnTo>
                    <a:lnTo>
                      <a:pt x="41" y="73"/>
                    </a:lnTo>
                    <a:lnTo>
                      <a:pt x="41" y="77"/>
                    </a:lnTo>
                    <a:lnTo>
                      <a:pt x="44" y="79"/>
                    </a:lnTo>
                    <a:lnTo>
                      <a:pt x="46" y="79"/>
                    </a:lnTo>
                    <a:lnTo>
                      <a:pt x="49" y="77"/>
                    </a:lnTo>
                    <a:lnTo>
                      <a:pt x="60" y="79"/>
                    </a:lnTo>
                    <a:lnTo>
                      <a:pt x="61" y="82"/>
                    </a:lnTo>
                    <a:lnTo>
                      <a:pt x="61" y="83"/>
                    </a:lnTo>
                    <a:lnTo>
                      <a:pt x="65" y="83"/>
                    </a:lnTo>
                    <a:lnTo>
                      <a:pt x="65" y="82"/>
                    </a:lnTo>
                    <a:lnTo>
                      <a:pt x="67" y="83"/>
                    </a:lnTo>
                    <a:lnTo>
                      <a:pt x="67" y="85"/>
                    </a:lnTo>
                    <a:lnTo>
                      <a:pt x="70" y="89"/>
                    </a:lnTo>
                    <a:lnTo>
                      <a:pt x="70" y="95"/>
                    </a:lnTo>
                    <a:lnTo>
                      <a:pt x="73" y="101"/>
                    </a:lnTo>
                    <a:lnTo>
                      <a:pt x="73" y="103"/>
                    </a:lnTo>
                    <a:lnTo>
                      <a:pt x="77" y="109"/>
                    </a:lnTo>
                    <a:lnTo>
                      <a:pt x="78" y="108"/>
                    </a:lnTo>
                    <a:lnTo>
                      <a:pt x="81" y="112"/>
                    </a:lnTo>
                    <a:lnTo>
                      <a:pt x="83" y="109"/>
                    </a:lnTo>
                    <a:lnTo>
                      <a:pt x="84" y="108"/>
                    </a:lnTo>
                    <a:lnTo>
                      <a:pt x="89" y="108"/>
                    </a:lnTo>
                    <a:lnTo>
                      <a:pt x="93" y="106"/>
                    </a:lnTo>
                    <a:lnTo>
                      <a:pt x="93" y="103"/>
                    </a:lnTo>
                    <a:lnTo>
                      <a:pt x="93" y="99"/>
                    </a:lnTo>
                    <a:lnTo>
                      <a:pt x="96" y="93"/>
                    </a:lnTo>
                    <a:lnTo>
                      <a:pt x="87" y="79"/>
                    </a:lnTo>
                    <a:lnTo>
                      <a:pt x="87" y="79"/>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60" name="Freeform 1234"/>
              <p:cNvSpPr>
                <a:spLocks/>
              </p:cNvSpPr>
              <p:nvPr/>
            </p:nvSpPr>
            <p:spPr bwMode="auto">
              <a:xfrm>
                <a:off x="4820702" y="1209852"/>
                <a:ext cx="16678" cy="32452"/>
              </a:xfrm>
              <a:custGeom>
                <a:avLst/>
                <a:gdLst/>
                <a:ahLst/>
                <a:cxnLst>
                  <a:cxn ang="0">
                    <a:pos x="0" y="13"/>
                  </a:cxn>
                  <a:cxn ang="0">
                    <a:pos x="7" y="15"/>
                  </a:cxn>
                  <a:cxn ang="0">
                    <a:pos x="8" y="16"/>
                  </a:cxn>
                  <a:cxn ang="0">
                    <a:pos x="8" y="19"/>
                  </a:cxn>
                  <a:cxn ang="0">
                    <a:pos x="8" y="20"/>
                  </a:cxn>
                  <a:cxn ang="0">
                    <a:pos x="14" y="31"/>
                  </a:cxn>
                  <a:cxn ang="0">
                    <a:pos x="16" y="31"/>
                  </a:cxn>
                  <a:cxn ang="0">
                    <a:pos x="18" y="7"/>
                  </a:cxn>
                  <a:cxn ang="0">
                    <a:pos x="17" y="0"/>
                  </a:cxn>
                  <a:cxn ang="0">
                    <a:pos x="0" y="0"/>
                  </a:cxn>
                  <a:cxn ang="0">
                    <a:pos x="0" y="13"/>
                  </a:cxn>
                  <a:cxn ang="0">
                    <a:pos x="0" y="13"/>
                  </a:cxn>
                </a:cxnLst>
                <a:rect l="0" t="0" r="r" b="b"/>
                <a:pathLst>
                  <a:path w="18" h="31">
                    <a:moveTo>
                      <a:pt x="0" y="13"/>
                    </a:moveTo>
                    <a:lnTo>
                      <a:pt x="7" y="15"/>
                    </a:lnTo>
                    <a:lnTo>
                      <a:pt x="8" y="16"/>
                    </a:lnTo>
                    <a:lnTo>
                      <a:pt x="8" y="19"/>
                    </a:lnTo>
                    <a:lnTo>
                      <a:pt x="8" y="20"/>
                    </a:lnTo>
                    <a:lnTo>
                      <a:pt x="14" y="31"/>
                    </a:lnTo>
                    <a:lnTo>
                      <a:pt x="16" y="31"/>
                    </a:lnTo>
                    <a:lnTo>
                      <a:pt x="18" y="7"/>
                    </a:lnTo>
                    <a:lnTo>
                      <a:pt x="17" y="0"/>
                    </a:lnTo>
                    <a:lnTo>
                      <a:pt x="0" y="0"/>
                    </a:lnTo>
                    <a:lnTo>
                      <a:pt x="0" y="13"/>
                    </a:lnTo>
                    <a:lnTo>
                      <a:pt x="0" y="13"/>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61" name="Freeform 1235"/>
              <p:cNvSpPr>
                <a:spLocks/>
              </p:cNvSpPr>
              <p:nvPr/>
            </p:nvSpPr>
            <p:spPr bwMode="auto">
              <a:xfrm>
                <a:off x="4865470" y="1209852"/>
                <a:ext cx="143959" cy="151105"/>
              </a:xfrm>
              <a:custGeom>
                <a:avLst/>
                <a:gdLst/>
                <a:ahLst/>
                <a:cxnLst>
                  <a:cxn ang="0">
                    <a:pos x="6" y="10"/>
                  </a:cxn>
                  <a:cxn ang="0">
                    <a:pos x="4" y="19"/>
                  </a:cxn>
                  <a:cxn ang="0">
                    <a:pos x="23" y="31"/>
                  </a:cxn>
                  <a:cxn ang="0">
                    <a:pos x="26" y="38"/>
                  </a:cxn>
                  <a:cxn ang="0">
                    <a:pos x="12" y="38"/>
                  </a:cxn>
                  <a:cxn ang="0">
                    <a:pos x="10" y="46"/>
                  </a:cxn>
                  <a:cxn ang="0">
                    <a:pos x="17" y="49"/>
                  </a:cxn>
                  <a:cxn ang="0">
                    <a:pos x="22" y="61"/>
                  </a:cxn>
                  <a:cxn ang="0">
                    <a:pos x="27" y="52"/>
                  </a:cxn>
                  <a:cxn ang="0">
                    <a:pos x="36" y="51"/>
                  </a:cxn>
                  <a:cxn ang="0">
                    <a:pos x="33" y="60"/>
                  </a:cxn>
                  <a:cxn ang="0">
                    <a:pos x="41" y="54"/>
                  </a:cxn>
                  <a:cxn ang="0">
                    <a:pos x="43" y="54"/>
                  </a:cxn>
                  <a:cxn ang="0">
                    <a:pos x="49" y="49"/>
                  </a:cxn>
                  <a:cxn ang="0">
                    <a:pos x="71" y="54"/>
                  </a:cxn>
                  <a:cxn ang="0">
                    <a:pos x="57" y="57"/>
                  </a:cxn>
                  <a:cxn ang="0">
                    <a:pos x="55" y="62"/>
                  </a:cxn>
                  <a:cxn ang="0">
                    <a:pos x="80" y="61"/>
                  </a:cxn>
                  <a:cxn ang="0">
                    <a:pos x="39" y="77"/>
                  </a:cxn>
                  <a:cxn ang="0">
                    <a:pos x="42" y="93"/>
                  </a:cxn>
                  <a:cxn ang="0">
                    <a:pos x="41" y="97"/>
                  </a:cxn>
                  <a:cxn ang="0">
                    <a:pos x="42" y="106"/>
                  </a:cxn>
                  <a:cxn ang="0">
                    <a:pos x="49" y="109"/>
                  </a:cxn>
                  <a:cxn ang="0">
                    <a:pos x="45" y="119"/>
                  </a:cxn>
                  <a:cxn ang="0">
                    <a:pos x="51" y="132"/>
                  </a:cxn>
                  <a:cxn ang="0">
                    <a:pos x="55" y="131"/>
                  </a:cxn>
                  <a:cxn ang="0">
                    <a:pos x="58" y="139"/>
                  </a:cxn>
                  <a:cxn ang="0">
                    <a:pos x="84" y="145"/>
                  </a:cxn>
                  <a:cxn ang="0">
                    <a:pos x="77" y="134"/>
                  </a:cxn>
                  <a:cxn ang="0">
                    <a:pos x="93" y="141"/>
                  </a:cxn>
                  <a:cxn ang="0">
                    <a:pos x="83" y="112"/>
                  </a:cxn>
                  <a:cxn ang="0">
                    <a:pos x="94" y="126"/>
                  </a:cxn>
                  <a:cxn ang="0">
                    <a:pos x="106" y="126"/>
                  </a:cxn>
                  <a:cxn ang="0">
                    <a:pos x="104" y="112"/>
                  </a:cxn>
                  <a:cxn ang="0">
                    <a:pos x="113" y="113"/>
                  </a:cxn>
                  <a:cxn ang="0">
                    <a:pos x="113" y="73"/>
                  </a:cxn>
                  <a:cxn ang="0">
                    <a:pos x="126" y="90"/>
                  </a:cxn>
                  <a:cxn ang="0">
                    <a:pos x="133" y="81"/>
                  </a:cxn>
                  <a:cxn ang="0">
                    <a:pos x="155" y="61"/>
                  </a:cxn>
                  <a:cxn ang="0">
                    <a:pos x="152" y="45"/>
                  </a:cxn>
                  <a:cxn ang="0">
                    <a:pos x="138" y="46"/>
                  </a:cxn>
                  <a:cxn ang="0">
                    <a:pos x="136" y="32"/>
                  </a:cxn>
                  <a:cxn ang="0">
                    <a:pos x="126" y="28"/>
                  </a:cxn>
                  <a:cxn ang="0">
                    <a:pos x="120" y="31"/>
                  </a:cxn>
                  <a:cxn ang="0">
                    <a:pos x="125" y="9"/>
                  </a:cxn>
                  <a:cxn ang="0">
                    <a:pos x="26" y="0"/>
                  </a:cxn>
                  <a:cxn ang="0">
                    <a:pos x="26" y="0"/>
                  </a:cxn>
                  <a:cxn ang="0">
                    <a:pos x="0" y="0"/>
                  </a:cxn>
                </a:cxnLst>
                <a:rect l="0" t="0" r="r" b="b"/>
                <a:pathLst>
                  <a:path w="157" h="145">
                    <a:moveTo>
                      <a:pt x="0" y="6"/>
                    </a:moveTo>
                    <a:lnTo>
                      <a:pt x="6" y="7"/>
                    </a:lnTo>
                    <a:lnTo>
                      <a:pt x="6" y="9"/>
                    </a:lnTo>
                    <a:lnTo>
                      <a:pt x="6" y="10"/>
                    </a:lnTo>
                    <a:lnTo>
                      <a:pt x="0" y="12"/>
                    </a:lnTo>
                    <a:lnTo>
                      <a:pt x="3" y="15"/>
                    </a:lnTo>
                    <a:lnTo>
                      <a:pt x="1" y="15"/>
                    </a:lnTo>
                    <a:lnTo>
                      <a:pt x="4" y="19"/>
                    </a:lnTo>
                    <a:lnTo>
                      <a:pt x="9" y="28"/>
                    </a:lnTo>
                    <a:lnTo>
                      <a:pt x="14" y="31"/>
                    </a:lnTo>
                    <a:lnTo>
                      <a:pt x="14" y="33"/>
                    </a:lnTo>
                    <a:lnTo>
                      <a:pt x="23" y="31"/>
                    </a:lnTo>
                    <a:lnTo>
                      <a:pt x="27" y="33"/>
                    </a:lnTo>
                    <a:lnTo>
                      <a:pt x="32" y="28"/>
                    </a:lnTo>
                    <a:lnTo>
                      <a:pt x="30" y="33"/>
                    </a:lnTo>
                    <a:lnTo>
                      <a:pt x="26" y="38"/>
                    </a:lnTo>
                    <a:lnTo>
                      <a:pt x="20" y="38"/>
                    </a:lnTo>
                    <a:lnTo>
                      <a:pt x="20" y="39"/>
                    </a:lnTo>
                    <a:lnTo>
                      <a:pt x="16" y="41"/>
                    </a:lnTo>
                    <a:lnTo>
                      <a:pt x="12" y="38"/>
                    </a:lnTo>
                    <a:lnTo>
                      <a:pt x="10" y="41"/>
                    </a:lnTo>
                    <a:lnTo>
                      <a:pt x="9" y="42"/>
                    </a:lnTo>
                    <a:lnTo>
                      <a:pt x="10" y="44"/>
                    </a:lnTo>
                    <a:lnTo>
                      <a:pt x="10" y="46"/>
                    </a:lnTo>
                    <a:lnTo>
                      <a:pt x="12" y="49"/>
                    </a:lnTo>
                    <a:lnTo>
                      <a:pt x="14" y="49"/>
                    </a:lnTo>
                    <a:lnTo>
                      <a:pt x="14" y="51"/>
                    </a:lnTo>
                    <a:lnTo>
                      <a:pt x="17" y="49"/>
                    </a:lnTo>
                    <a:lnTo>
                      <a:pt x="19" y="52"/>
                    </a:lnTo>
                    <a:lnTo>
                      <a:pt x="19" y="55"/>
                    </a:lnTo>
                    <a:lnTo>
                      <a:pt x="19" y="55"/>
                    </a:lnTo>
                    <a:lnTo>
                      <a:pt x="22" y="61"/>
                    </a:lnTo>
                    <a:lnTo>
                      <a:pt x="23" y="58"/>
                    </a:lnTo>
                    <a:lnTo>
                      <a:pt x="25" y="55"/>
                    </a:lnTo>
                    <a:lnTo>
                      <a:pt x="27" y="55"/>
                    </a:lnTo>
                    <a:lnTo>
                      <a:pt x="27" y="52"/>
                    </a:lnTo>
                    <a:lnTo>
                      <a:pt x="27" y="51"/>
                    </a:lnTo>
                    <a:lnTo>
                      <a:pt x="29" y="48"/>
                    </a:lnTo>
                    <a:lnTo>
                      <a:pt x="35" y="51"/>
                    </a:lnTo>
                    <a:lnTo>
                      <a:pt x="36" y="51"/>
                    </a:lnTo>
                    <a:lnTo>
                      <a:pt x="33" y="54"/>
                    </a:lnTo>
                    <a:lnTo>
                      <a:pt x="33" y="55"/>
                    </a:lnTo>
                    <a:lnTo>
                      <a:pt x="33" y="60"/>
                    </a:lnTo>
                    <a:lnTo>
                      <a:pt x="33" y="60"/>
                    </a:lnTo>
                    <a:lnTo>
                      <a:pt x="35" y="61"/>
                    </a:lnTo>
                    <a:lnTo>
                      <a:pt x="38" y="61"/>
                    </a:lnTo>
                    <a:lnTo>
                      <a:pt x="41" y="58"/>
                    </a:lnTo>
                    <a:lnTo>
                      <a:pt x="41" y="54"/>
                    </a:lnTo>
                    <a:lnTo>
                      <a:pt x="43" y="51"/>
                    </a:lnTo>
                    <a:lnTo>
                      <a:pt x="45" y="45"/>
                    </a:lnTo>
                    <a:lnTo>
                      <a:pt x="45" y="48"/>
                    </a:lnTo>
                    <a:lnTo>
                      <a:pt x="43" y="54"/>
                    </a:lnTo>
                    <a:lnTo>
                      <a:pt x="45" y="55"/>
                    </a:lnTo>
                    <a:lnTo>
                      <a:pt x="49" y="54"/>
                    </a:lnTo>
                    <a:lnTo>
                      <a:pt x="49" y="51"/>
                    </a:lnTo>
                    <a:lnTo>
                      <a:pt x="49" y="49"/>
                    </a:lnTo>
                    <a:lnTo>
                      <a:pt x="57" y="48"/>
                    </a:lnTo>
                    <a:lnTo>
                      <a:pt x="55" y="52"/>
                    </a:lnTo>
                    <a:lnTo>
                      <a:pt x="59" y="55"/>
                    </a:lnTo>
                    <a:lnTo>
                      <a:pt x="71" y="54"/>
                    </a:lnTo>
                    <a:lnTo>
                      <a:pt x="71" y="54"/>
                    </a:lnTo>
                    <a:lnTo>
                      <a:pt x="71" y="55"/>
                    </a:lnTo>
                    <a:lnTo>
                      <a:pt x="67" y="57"/>
                    </a:lnTo>
                    <a:lnTo>
                      <a:pt x="57" y="57"/>
                    </a:lnTo>
                    <a:lnTo>
                      <a:pt x="57" y="58"/>
                    </a:lnTo>
                    <a:lnTo>
                      <a:pt x="54" y="58"/>
                    </a:lnTo>
                    <a:lnTo>
                      <a:pt x="54" y="61"/>
                    </a:lnTo>
                    <a:lnTo>
                      <a:pt x="55" y="62"/>
                    </a:lnTo>
                    <a:lnTo>
                      <a:pt x="58" y="64"/>
                    </a:lnTo>
                    <a:lnTo>
                      <a:pt x="67" y="64"/>
                    </a:lnTo>
                    <a:lnTo>
                      <a:pt x="68" y="62"/>
                    </a:lnTo>
                    <a:lnTo>
                      <a:pt x="80" y="61"/>
                    </a:lnTo>
                    <a:lnTo>
                      <a:pt x="84" y="58"/>
                    </a:lnTo>
                    <a:lnTo>
                      <a:pt x="81" y="62"/>
                    </a:lnTo>
                    <a:lnTo>
                      <a:pt x="45" y="70"/>
                    </a:lnTo>
                    <a:lnTo>
                      <a:pt x="39" y="77"/>
                    </a:lnTo>
                    <a:lnTo>
                      <a:pt x="35" y="78"/>
                    </a:lnTo>
                    <a:lnTo>
                      <a:pt x="32" y="81"/>
                    </a:lnTo>
                    <a:lnTo>
                      <a:pt x="38" y="93"/>
                    </a:lnTo>
                    <a:lnTo>
                      <a:pt x="42" y="93"/>
                    </a:lnTo>
                    <a:lnTo>
                      <a:pt x="46" y="97"/>
                    </a:lnTo>
                    <a:lnTo>
                      <a:pt x="48" y="100"/>
                    </a:lnTo>
                    <a:lnTo>
                      <a:pt x="42" y="99"/>
                    </a:lnTo>
                    <a:lnTo>
                      <a:pt x="41" y="97"/>
                    </a:lnTo>
                    <a:lnTo>
                      <a:pt x="39" y="99"/>
                    </a:lnTo>
                    <a:lnTo>
                      <a:pt x="39" y="102"/>
                    </a:lnTo>
                    <a:lnTo>
                      <a:pt x="41" y="106"/>
                    </a:lnTo>
                    <a:lnTo>
                      <a:pt x="42" y="106"/>
                    </a:lnTo>
                    <a:lnTo>
                      <a:pt x="42" y="108"/>
                    </a:lnTo>
                    <a:lnTo>
                      <a:pt x="42" y="109"/>
                    </a:lnTo>
                    <a:lnTo>
                      <a:pt x="43" y="110"/>
                    </a:lnTo>
                    <a:lnTo>
                      <a:pt x="49" y="109"/>
                    </a:lnTo>
                    <a:lnTo>
                      <a:pt x="52" y="112"/>
                    </a:lnTo>
                    <a:lnTo>
                      <a:pt x="62" y="115"/>
                    </a:lnTo>
                    <a:lnTo>
                      <a:pt x="61" y="116"/>
                    </a:lnTo>
                    <a:lnTo>
                      <a:pt x="45" y="119"/>
                    </a:lnTo>
                    <a:lnTo>
                      <a:pt x="46" y="124"/>
                    </a:lnTo>
                    <a:lnTo>
                      <a:pt x="48" y="126"/>
                    </a:lnTo>
                    <a:lnTo>
                      <a:pt x="49" y="128"/>
                    </a:lnTo>
                    <a:lnTo>
                      <a:pt x="51" y="132"/>
                    </a:lnTo>
                    <a:lnTo>
                      <a:pt x="52" y="132"/>
                    </a:lnTo>
                    <a:lnTo>
                      <a:pt x="55" y="132"/>
                    </a:lnTo>
                    <a:lnTo>
                      <a:pt x="55" y="129"/>
                    </a:lnTo>
                    <a:lnTo>
                      <a:pt x="55" y="131"/>
                    </a:lnTo>
                    <a:lnTo>
                      <a:pt x="55" y="132"/>
                    </a:lnTo>
                    <a:lnTo>
                      <a:pt x="54" y="134"/>
                    </a:lnTo>
                    <a:lnTo>
                      <a:pt x="57" y="137"/>
                    </a:lnTo>
                    <a:lnTo>
                      <a:pt x="58" y="139"/>
                    </a:lnTo>
                    <a:lnTo>
                      <a:pt x="62" y="139"/>
                    </a:lnTo>
                    <a:lnTo>
                      <a:pt x="65" y="142"/>
                    </a:lnTo>
                    <a:lnTo>
                      <a:pt x="75" y="145"/>
                    </a:lnTo>
                    <a:lnTo>
                      <a:pt x="84" y="145"/>
                    </a:lnTo>
                    <a:lnTo>
                      <a:pt x="84" y="142"/>
                    </a:lnTo>
                    <a:lnTo>
                      <a:pt x="83" y="138"/>
                    </a:lnTo>
                    <a:lnTo>
                      <a:pt x="80" y="137"/>
                    </a:lnTo>
                    <a:lnTo>
                      <a:pt x="77" y="134"/>
                    </a:lnTo>
                    <a:lnTo>
                      <a:pt x="84" y="134"/>
                    </a:lnTo>
                    <a:lnTo>
                      <a:pt x="87" y="134"/>
                    </a:lnTo>
                    <a:lnTo>
                      <a:pt x="90" y="138"/>
                    </a:lnTo>
                    <a:lnTo>
                      <a:pt x="93" y="141"/>
                    </a:lnTo>
                    <a:lnTo>
                      <a:pt x="94" y="144"/>
                    </a:lnTo>
                    <a:lnTo>
                      <a:pt x="94" y="142"/>
                    </a:lnTo>
                    <a:lnTo>
                      <a:pt x="83" y="116"/>
                    </a:lnTo>
                    <a:lnTo>
                      <a:pt x="83" y="112"/>
                    </a:lnTo>
                    <a:lnTo>
                      <a:pt x="84" y="110"/>
                    </a:lnTo>
                    <a:lnTo>
                      <a:pt x="86" y="112"/>
                    </a:lnTo>
                    <a:lnTo>
                      <a:pt x="90" y="122"/>
                    </a:lnTo>
                    <a:lnTo>
                      <a:pt x="94" y="126"/>
                    </a:lnTo>
                    <a:lnTo>
                      <a:pt x="99" y="138"/>
                    </a:lnTo>
                    <a:lnTo>
                      <a:pt x="102" y="142"/>
                    </a:lnTo>
                    <a:lnTo>
                      <a:pt x="103" y="142"/>
                    </a:lnTo>
                    <a:lnTo>
                      <a:pt x="106" y="126"/>
                    </a:lnTo>
                    <a:lnTo>
                      <a:pt x="102" y="118"/>
                    </a:lnTo>
                    <a:lnTo>
                      <a:pt x="103" y="109"/>
                    </a:lnTo>
                    <a:lnTo>
                      <a:pt x="103" y="109"/>
                    </a:lnTo>
                    <a:lnTo>
                      <a:pt x="104" y="112"/>
                    </a:lnTo>
                    <a:lnTo>
                      <a:pt x="107" y="116"/>
                    </a:lnTo>
                    <a:lnTo>
                      <a:pt x="109" y="121"/>
                    </a:lnTo>
                    <a:lnTo>
                      <a:pt x="113" y="121"/>
                    </a:lnTo>
                    <a:lnTo>
                      <a:pt x="113" y="113"/>
                    </a:lnTo>
                    <a:lnTo>
                      <a:pt x="112" y="109"/>
                    </a:lnTo>
                    <a:lnTo>
                      <a:pt x="110" y="106"/>
                    </a:lnTo>
                    <a:lnTo>
                      <a:pt x="112" y="74"/>
                    </a:lnTo>
                    <a:lnTo>
                      <a:pt x="113" y="73"/>
                    </a:lnTo>
                    <a:lnTo>
                      <a:pt x="113" y="99"/>
                    </a:lnTo>
                    <a:lnTo>
                      <a:pt x="118" y="106"/>
                    </a:lnTo>
                    <a:lnTo>
                      <a:pt x="119" y="106"/>
                    </a:lnTo>
                    <a:lnTo>
                      <a:pt x="126" y="90"/>
                    </a:lnTo>
                    <a:lnTo>
                      <a:pt x="126" y="76"/>
                    </a:lnTo>
                    <a:lnTo>
                      <a:pt x="128" y="78"/>
                    </a:lnTo>
                    <a:lnTo>
                      <a:pt x="129" y="86"/>
                    </a:lnTo>
                    <a:lnTo>
                      <a:pt x="133" y="81"/>
                    </a:lnTo>
                    <a:lnTo>
                      <a:pt x="132" y="80"/>
                    </a:lnTo>
                    <a:lnTo>
                      <a:pt x="132" y="77"/>
                    </a:lnTo>
                    <a:lnTo>
                      <a:pt x="147" y="70"/>
                    </a:lnTo>
                    <a:lnTo>
                      <a:pt x="155" y="61"/>
                    </a:lnTo>
                    <a:lnTo>
                      <a:pt x="157" y="54"/>
                    </a:lnTo>
                    <a:lnTo>
                      <a:pt x="155" y="51"/>
                    </a:lnTo>
                    <a:lnTo>
                      <a:pt x="154" y="48"/>
                    </a:lnTo>
                    <a:lnTo>
                      <a:pt x="152" y="45"/>
                    </a:lnTo>
                    <a:lnTo>
                      <a:pt x="145" y="32"/>
                    </a:lnTo>
                    <a:lnTo>
                      <a:pt x="142" y="33"/>
                    </a:lnTo>
                    <a:lnTo>
                      <a:pt x="141" y="44"/>
                    </a:lnTo>
                    <a:lnTo>
                      <a:pt x="138" y="46"/>
                    </a:lnTo>
                    <a:lnTo>
                      <a:pt x="138" y="44"/>
                    </a:lnTo>
                    <a:lnTo>
                      <a:pt x="139" y="42"/>
                    </a:lnTo>
                    <a:lnTo>
                      <a:pt x="139" y="35"/>
                    </a:lnTo>
                    <a:lnTo>
                      <a:pt x="136" y="32"/>
                    </a:lnTo>
                    <a:lnTo>
                      <a:pt x="135" y="28"/>
                    </a:lnTo>
                    <a:lnTo>
                      <a:pt x="131" y="25"/>
                    </a:lnTo>
                    <a:lnTo>
                      <a:pt x="131" y="25"/>
                    </a:lnTo>
                    <a:lnTo>
                      <a:pt x="126" y="28"/>
                    </a:lnTo>
                    <a:lnTo>
                      <a:pt x="123" y="28"/>
                    </a:lnTo>
                    <a:lnTo>
                      <a:pt x="120" y="33"/>
                    </a:lnTo>
                    <a:lnTo>
                      <a:pt x="120" y="33"/>
                    </a:lnTo>
                    <a:lnTo>
                      <a:pt x="120" y="31"/>
                    </a:lnTo>
                    <a:lnTo>
                      <a:pt x="122" y="28"/>
                    </a:lnTo>
                    <a:lnTo>
                      <a:pt x="125" y="25"/>
                    </a:lnTo>
                    <a:lnTo>
                      <a:pt x="128" y="7"/>
                    </a:lnTo>
                    <a:lnTo>
                      <a:pt x="125" y="9"/>
                    </a:lnTo>
                    <a:lnTo>
                      <a:pt x="125" y="9"/>
                    </a:lnTo>
                    <a:lnTo>
                      <a:pt x="128" y="4"/>
                    </a:lnTo>
                    <a:lnTo>
                      <a:pt x="126" y="0"/>
                    </a:lnTo>
                    <a:lnTo>
                      <a:pt x="26" y="0"/>
                    </a:lnTo>
                    <a:lnTo>
                      <a:pt x="27" y="3"/>
                    </a:lnTo>
                    <a:lnTo>
                      <a:pt x="29" y="4"/>
                    </a:lnTo>
                    <a:lnTo>
                      <a:pt x="26" y="0"/>
                    </a:lnTo>
                    <a:lnTo>
                      <a:pt x="26" y="0"/>
                    </a:lnTo>
                    <a:lnTo>
                      <a:pt x="20" y="0"/>
                    </a:lnTo>
                    <a:lnTo>
                      <a:pt x="19" y="1"/>
                    </a:lnTo>
                    <a:lnTo>
                      <a:pt x="19" y="0"/>
                    </a:lnTo>
                    <a:lnTo>
                      <a:pt x="0" y="0"/>
                    </a:lnTo>
                    <a:lnTo>
                      <a:pt x="0" y="3"/>
                    </a:lnTo>
                    <a:lnTo>
                      <a:pt x="0" y="6"/>
                    </a:lnTo>
                    <a:lnTo>
                      <a:pt x="0" y="6"/>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62" name="Freeform 1236"/>
              <p:cNvSpPr>
                <a:spLocks/>
              </p:cNvSpPr>
              <p:nvPr/>
            </p:nvSpPr>
            <p:spPr bwMode="auto">
              <a:xfrm>
                <a:off x="4947983" y="1209852"/>
                <a:ext cx="244907" cy="280915"/>
              </a:xfrm>
              <a:custGeom>
                <a:avLst/>
                <a:gdLst/>
                <a:ahLst/>
                <a:cxnLst>
                  <a:cxn ang="0">
                    <a:pos x="48" y="19"/>
                  </a:cxn>
                  <a:cxn ang="0">
                    <a:pos x="80" y="65"/>
                  </a:cxn>
                  <a:cxn ang="0">
                    <a:pos x="88" y="80"/>
                  </a:cxn>
                  <a:cxn ang="0">
                    <a:pos x="73" y="80"/>
                  </a:cxn>
                  <a:cxn ang="0">
                    <a:pos x="116" y="81"/>
                  </a:cxn>
                  <a:cxn ang="0">
                    <a:pos x="106" y="93"/>
                  </a:cxn>
                  <a:cxn ang="0">
                    <a:pos x="104" y="105"/>
                  </a:cxn>
                  <a:cxn ang="0">
                    <a:pos x="71" y="90"/>
                  </a:cxn>
                  <a:cxn ang="0">
                    <a:pos x="38" y="113"/>
                  </a:cxn>
                  <a:cxn ang="0">
                    <a:pos x="36" y="138"/>
                  </a:cxn>
                  <a:cxn ang="0">
                    <a:pos x="49" y="137"/>
                  </a:cxn>
                  <a:cxn ang="0">
                    <a:pos x="58" y="144"/>
                  </a:cxn>
                  <a:cxn ang="0">
                    <a:pos x="68" y="132"/>
                  </a:cxn>
                  <a:cxn ang="0">
                    <a:pos x="78" y="144"/>
                  </a:cxn>
                  <a:cxn ang="0">
                    <a:pos x="59" y="151"/>
                  </a:cxn>
                  <a:cxn ang="0">
                    <a:pos x="70" y="158"/>
                  </a:cxn>
                  <a:cxn ang="0">
                    <a:pos x="62" y="166"/>
                  </a:cxn>
                  <a:cxn ang="0">
                    <a:pos x="68" y="183"/>
                  </a:cxn>
                  <a:cxn ang="0">
                    <a:pos x="97" y="153"/>
                  </a:cxn>
                  <a:cxn ang="0">
                    <a:pos x="84" y="189"/>
                  </a:cxn>
                  <a:cxn ang="0">
                    <a:pos x="75" y="195"/>
                  </a:cxn>
                  <a:cxn ang="0">
                    <a:pos x="49" y="171"/>
                  </a:cxn>
                  <a:cxn ang="0">
                    <a:pos x="19" y="170"/>
                  </a:cxn>
                  <a:cxn ang="0">
                    <a:pos x="35" y="195"/>
                  </a:cxn>
                  <a:cxn ang="0">
                    <a:pos x="35" y="206"/>
                  </a:cxn>
                  <a:cxn ang="0">
                    <a:pos x="30" y="212"/>
                  </a:cxn>
                  <a:cxn ang="0">
                    <a:pos x="16" y="217"/>
                  </a:cxn>
                  <a:cxn ang="0">
                    <a:pos x="10" y="250"/>
                  </a:cxn>
                  <a:cxn ang="0">
                    <a:pos x="26" y="256"/>
                  </a:cxn>
                  <a:cxn ang="0">
                    <a:pos x="42" y="243"/>
                  </a:cxn>
                  <a:cxn ang="0">
                    <a:pos x="64" y="246"/>
                  </a:cxn>
                  <a:cxn ang="0">
                    <a:pos x="87" y="234"/>
                  </a:cxn>
                  <a:cxn ang="0">
                    <a:pos x="109" y="250"/>
                  </a:cxn>
                  <a:cxn ang="0">
                    <a:pos x="141" y="262"/>
                  </a:cxn>
                  <a:cxn ang="0">
                    <a:pos x="152" y="230"/>
                  </a:cxn>
                  <a:cxn ang="0">
                    <a:pos x="141" y="205"/>
                  </a:cxn>
                  <a:cxn ang="0">
                    <a:pos x="107" y="202"/>
                  </a:cxn>
                  <a:cxn ang="0">
                    <a:pos x="151" y="201"/>
                  </a:cxn>
                  <a:cxn ang="0">
                    <a:pos x="170" y="180"/>
                  </a:cxn>
                  <a:cxn ang="0">
                    <a:pos x="161" y="157"/>
                  </a:cxn>
                  <a:cxn ang="0">
                    <a:pos x="197" y="150"/>
                  </a:cxn>
                  <a:cxn ang="0">
                    <a:pos x="208" y="128"/>
                  </a:cxn>
                  <a:cxn ang="0">
                    <a:pos x="209" y="112"/>
                  </a:cxn>
                  <a:cxn ang="0">
                    <a:pos x="192" y="87"/>
                  </a:cxn>
                  <a:cxn ang="0">
                    <a:pos x="171" y="78"/>
                  </a:cxn>
                  <a:cxn ang="0">
                    <a:pos x="168" y="68"/>
                  </a:cxn>
                  <a:cxn ang="0">
                    <a:pos x="213" y="78"/>
                  </a:cxn>
                  <a:cxn ang="0">
                    <a:pos x="173" y="64"/>
                  </a:cxn>
                  <a:cxn ang="0">
                    <a:pos x="177" y="46"/>
                  </a:cxn>
                  <a:cxn ang="0">
                    <a:pos x="177" y="42"/>
                  </a:cxn>
                  <a:cxn ang="0">
                    <a:pos x="221" y="44"/>
                  </a:cxn>
                  <a:cxn ang="0">
                    <a:pos x="212" y="17"/>
                  </a:cxn>
                  <a:cxn ang="0">
                    <a:pos x="244" y="29"/>
                  </a:cxn>
                  <a:cxn ang="0">
                    <a:pos x="263" y="6"/>
                  </a:cxn>
                  <a:cxn ang="0">
                    <a:pos x="113" y="23"/>
                  </a:cxn>
                  <a:cxn ang="0">
                    <a:pos x="136" y="32"/>
                  </a:cxn>
                  <a:cxn ang="0">
                    <a:pos x="110" y="36"/>
                  </a:cxn>
                  <a:cxn ang="0">
                    <a:pos x="61" y="7"/>
                  </a:cxn>
                </a:cxnLst>
                <a:rect l="0" t="0" r="r" b="b"/>
                <a:pathLst>
                  <a:path w="267" h="270">
                    <a:moveTo>
                      <a:pt x="61" y="7"/>
                    </a:moveTo>
                    <a:lnTo>
                      <a:pt x="61" y="9"/>
                    </a:lnTo>
                    <a:lnTo>
                      <a:pt x="59" y="9"/>
                    </a:lnTo>
                    <a:lnTo>
                      <a:pt x="51" y="6"/>
                    </a:lnTo>
                    <a:lnTo>
                      <a:pt x="48" y="3"/>
                    </a:lnTo>
                    <a:lnTo>
                      <a:pt x="46" y="3"/>
                    </a:lnTo>
                    <a:lnTo>
                      <a:pt x="45" y="3"/>
                    </a:lnTo>
                    <a:lnTo>
                      <a:pt x="45" y="15"/>
                    </a:lnTo>
                    <a:lnTo>
                      <a:pt x="48" y="19"/>
                    </a:lnTo>
                    <a:lnTo>
                      <a:pt x="54" y="23"/>
                    </a:lnTo>
                    <a:lnTo>
                      <a:pt x="57" y="23"/>
                    </a:lnTo>
                    <a:lnTo>
                      <a:pt x="64" y="29"/>
                    </a:lnTo>
                    <a:lnTo>
                      <a:pt x="65" y="38"/>
                    </a:lnTo>
                    <a:lnTo>
                      <a:pt x="73" y="48"/>
                    </a:lnTo>
                    <a:lnTo>
                      <a:pt x="74" y="60"/>
                    </a:lnTo>
                    <a:lnTo>
                      <a:pt x="74" y="60"/>
                    </a:lnTo>
                    <a:lnTo>
                      <a:pt x="75" y="67"/>
                    </a:lnTo>
                    <a:lnTo>
                      <a:pt x="80" y="65"/>
                    </a:lnTo>
                    <a:lnTo>
                      <a:pt x="81" y="62"/>
                    </a:lnTo>
                    <a:lnTo>
                      <a:pt x="81" y="65"/>
                    </a:lnTo>
                    <a:lnTo>
                      <a:pt x="80" y="68"/>
                    </a:lnTo>
                    <a:lnTo>
                      <a:pt x="83" y="73"/>
                    </a:lnTo>
                    <a:lnTo>
                      <a:pt x="84" y="73"/>
                    </a:lnTo>
                    <a:lnTo>
                      <a:pt x="86" y="76"/>
                    </a:lnTo>
                    <a:lnTo>
                      <a:pt x="87" y="78"/>
                    </a:lnTo>
                    <a:lnTo>
                      <a:pt x="90" y="77"/>
                    </a:lnTo>
                    <a:lnTo>
                      <a:pt x="88" y="80"/>
                    </a:lnTo>
                    <a:lnTo>
                      <a:pt x="83" y="80"/>
                    </a:lnTo>
                    <a:lnTo>
                      <a:pt x="80" y="78"/>
                    </a:lnTo>
                    <a:lnTo>
                      <a:pt x="77" y="73"/>
                    </a:lnTo>
                    <a:lnTo>
                      <a:pt x="74" y="73"/>
                    </a:lnTo>
                    <a:lnTo>
                      <a:pt x="73" y="70"/>
                    </a:lnTo>
                    <a:lnTo>
                      <a:pt x="71" y="71"/>
                    </a:lnTo>
                    <a:lnTo>
                      <a:pt x="68" y="74"/>
                    </a:lnTo>
                    <a:lnTo>
                      <a:pt x="70" y="78"/>
                    </a:lnTo>
                    <a:lnTo>
                      <a:pt x="73" y="80"/>
                    </a:lnTo>
                    <a:lnTo>
                      <a:pt x="77" y="86"/>
                    </a:lnTo>
                    <a:lnTo>
                      <a:pt x="93" y="87"/>
                    </a:lnTo>
                    <a:lnTo>
                      <a:pt x="99" y="90"/>
                    </a:lnTo>
                    <a:lnTo>
                      <a:pt x="106" y="90"/>
                    </a:lnTo>
                    <a:lnTo>
                      <a:pt x="107" y="90"/>
                    </a:lnTo>
                    <a:lnTo>
                      <a:pt x="107" y="87"/>
                    </a:lnTo>
                    <a:lnTo>
                      <a:pt x="109" y="87"/>
                    </a:lnTo>
                    <a:lnTo>
                      <a:pt x="113" y="83"/>
                    </a:lnTo>
                    <a:lnTo>
                      <a:pt x="116" y="81"/>
                    </a:lnTo>
                    <a:lnTo>
                      <a:pt x="116" y="83"/>
                    </a:lnTo>
                    <a:lnTo>
                      <a:pt x="113" y="87"/>
                    </a:lnTo>
                    <a:lnTo>
                      <a:pt x="113" y="92"/>
                    </a:lnTo>
                    <a:lnTo>
                      <a:pt x="113" y="92"/>
                    </a:lnTo>
                    <a:lnTo>
                      <a:pt x="112" y="94"/>
                    </a:lnTo>
                    <a:lnTo>
                      <a:pt x="110" y="94"/>
                    </a:lnTo>
                    <a:lnTo>
                      <a:pt x="110" y="96"/>
                    </a:lnTo>
                    <a:lnTo>
                      <a:pt x="109" y="96"/>
                    </a:lnTo>
                    <a:lnTo>
                      <a:pt x="106" y="93"/>
                    </a:lnTo>
                    <a:lnTo>
                      <a:pt x="104" y="94"/>
                    </a:lnTo>
                    <a:lnTo>
                      <a:pt x="93" y="93"/>
                    </a:lnTo>
                    <a:lnTo>
                      <a:pt x="91" y="96"/>
                    </a:lnTo>
                    <a:lnTo>
                      <a:pt x="91" y="97"/>
                    </a:lnTo>
                    <a:lnTo>
                      <a:pt x="94" y="100"/>
                    </a:lnTo>
                    <a:lnTo>
                      <a:pt x="97" y="100"/>
                    </a:lnTo>
                    <a:lnTo>
                      <a:pt x="99" y="103"/>
                    </a:lnTo>
                    <a:lnTo>
                      <a:pt x="106" y="103"/>
                    </a:lnTo>
                    <a:lnTo>
                      <a:pt x="104" y="105"/>
                    </a:lnTo>
                    <a:lnTo>
                      <a:pt x="102" y="105"/>
                    </a:lnTo>
                    <a:lnTo>
                      <a:pt x="104" y="112"/>
                    </a:lnTo>
                    <a:lnTo>
                      <a:pt x="104" y="113"/>
                    </a:lnTo>
                    <a:lnTo>
                      <a:pt x="99" y="112"/>
                    </a:lnTo>
                    <a:lnTo>
                      <a:pt x="99" y="109"/>
                    </a:lnTo>
                    <a:lnTo>
                      <a:pt x="96" y="105"/>
                    </a:lnTo>
                    <a:lnTo>
                      <a:pt x="93" y="105"/>
                    </a:lnTo>
                    <a:lnTo>
                      <a:pt x="81" y="92"/>
                    </a:lnTo>
                    <a:lnTo>
                      <a:pt x="71" y="90"/>
                    </a:lnTo>
                    <a:lnTo>
                      <a:pt x="64" y="87"/>
                    </a:lnTo>
                    <a:lnTo>
                      <a:pt x="61" y="87"/>
                    </a:lnTo>
                    <a:lnTo>
                      <a:pt x="61" y="89"/>
                    </a:lnTo>
                    <a:lnTo>
                      <a:pt x="59" y="93"/>
                    </a:lnTo>
                    <a:lnTo>
                      <a:pt x="41" y="96"/>
                    </a:lnTo>
                    <a:lnTo>
                      <a:pt x="41" y="97"/>
                    </a:lnTo>
                    <a:lnTo>
                      <a:pt x="36" y="110"/>
                    </a:lnTo>
                    <a:lnTo>
                      <a:pt x="39" y="112"/>
                    </a:lnTo>
                    <a:lnTo>
                      <a:pt x="38" y="113"/>
                    </a:lnTo>
                    <a:lnTo>
                      <a:pt x="33" y="115"/>
                    </a:lnTo>
                    <a:lnTo>
                      <a:pt x="30" y="118"/>
                    </a:lnTo>
                    <a:lnTo>
                      <a:pt x="29" y="124"/>
                    </a:lnTo>
                    <a:lnTo>
                      <a:pt x="30" y="126"/>
                    </a:lnTo>
                    <a:lnTo>
                      <a:pt x="30" y="131"/>
                    </a:lnTo>
                    <a:lnTo>
                      <a:pt x="30" y="132"/>
                    </a:lnTo>
                    <a:lnTo>
                      <a:pt x="30" y="138"/>
                    </a:lnTo>
                    <a:lnTo>
                      <a:pt x="33" y="137"/>
                    </a:lnTo>
                    <a:lnTo>
                      <a:pt x="36" y="138"/>
                    </a:lnTo>
                    <a:lnTo>
                      <a:pt x="33" y="139"/>
                    </a:lnTo>
                    <a:lnTo>
                      <a:pt x="32" y="141"/>
                    </a:lnTo>
                    <a:lnTo>
                      <a:pt x="30" y="142"/>
                    </a:lnTo>
                    <a:lnTo>
                      <a:pt x="30" y="144"/>
                    </a:lnTo>
                    <a:lnTo>
                      <a:pt x="38" y="145"/>
                    </a:lnTo>
                    <a:lnTo>
                      <a:pt x="45" y="142"/>
                    </a:lnTo>
                    <a:lnTo>
                      <a:pt x="46" y="137"/>
                    </a:lnTo>
                    <a:lnTo>
                      <a:pt x="48" y="138"/>
                    </a:lnTo>
                    <a:lnTo>
                      <a:pt x="49" y="137"/>
                    </a:lnTo>
                    <a:lnTo>
                      <a:pt x="51" y="131"/>
                    </a:lnTo>
                    <a:lnTo>
                      <a:pt x="54" y="126"/>
                    </a:lnTo>
                    <a:lnTo>
                      <a:pt x="52" y="134"/>
                    </a:lnTo>
                    <a:lnTo>
                      <a:pt x="49" y="141"/>
                    </a:lnTo>
                    <a:lnTo>
                      <a:pt x="49" y="142"/>
                    </a:lnTo>
                    <a:lnTo>
                      <a:pt x="49" y="144"/>
                    </a:lnTo>
                    <a:lnTo>
                      <a:pt x="49" y="147"/>
                    </a:lnTo>
                    <a:lnTo>
                      <a:pt x="51" y="147"/>
                    </a:lnTo>
                    <a:lnTo>
                      <a:pt x="58" y="144"/>
                    </a:lnTo>
                    <a:lnTo>
                      <a:pt x="59" y="145"/>
                    </a:lnTo>
                    <a:lnTo>
                      <a:pt x="61" y="144"/>
                    </a:lnTo>
                    <a:lnTo>
                      <a:pt x="71" y="110"/>
                    </a:lnTo>
                    <a:lnTo>
                      <a:pt x="68" y="126"/>
                    </a:lnTo>
                    <a:lnTo>
                      <a:pt x="70" y="128"/>
                    </a:lnTo>
                    <a:lnTo>
                      <a:pt x="71" y="128"/>
                    </a:lnTo>
                    <a:lnTo>
                      <a:pt x="73" y="126"/>
                    </a:lnTo>
                    <a:lnTo>
                      <a:pt x="71" y="129"/>
                    </a:lnTo>
                    <a:lnTo>
                      <a:pt x="68" y="132"/>
                    </a:lnTo>
                    <a:lnTo>
                      <a:pt x="68" y="134"/>
                    </a:lnTo>
                    <a:lnTo>
                      <a:pt x="68" y="138"/>
                    </a:lnTo>
                    <a:lnTo>
                      <a:pt x="68" y="139"/>
                    </a:lnTo>
                    <a:lnTo>
                      <a:pt x="73" y="138"/>
                    </a:lnTo>
                    <a:lnTo>
                      <a:pt x="77" y="139"/>
                    </a:lnTo>
                    <a:lnTo>
                      <a:pt x="77" y="141"/>
                    </a:lnTo>
                    <a:lnTo>
                      <a:pt x="80" y="139"/>
                    </a:lnTo>
                    <a:lnTo>
                      <a:pt x="80" y="142"/>
                    </a:lnTo>
                    <a:lnTo>
                      <a:pt x="78" y="144"/>
                    </a:lnTo>
                    <a:lnTo>
                      <a:pt x="73" y="141"/>
                    </a:lnTo>
                    <a:lnTo>
                      <a:pt x="65" y="142"/>
                    </a:lnTo>
                    <a:lnTo>
                      <a:pt x="64" y="145"/>
                    </a:lnTo>
                    <a:lnTo>
                      <a:pt x="64" y="147"/>
                    </a:lnTo>
                    <a:lnTo>
                      <a:pt x="64" y="148"/>
                    </a:lnTo>
                    <a:lnTo>
                      <a:pt x="67" y="150"/>
                    </a:lnTo>
                    <a:lnTo>
                      <a:pt x="65" y="151"/>
                    </a:lnTo>
                    <a:lnTo>
                      <a:pt x="61" y="150"/>
                    </a:lnTo>
                    <a:lnTo>
                      <a:pt x="59" y="151"/>
                    </a:lnTo>
                    <a:lnTo>
                      <a:pt x="55" y="157"/>
                    </a:lnTo>
                    <a:lnTo>
                      <a:pt x="55" y="158"/>
                    </a:lnTo>
                    <a:lnTo>
                      <a:pt x="57" y="158"/>
                    </a:lnTo>
                    <a:lnTo>
                      <a:pt x="57" y="161"/>
                    </a:lnTo>
                    <a:lnTo>
                      <a:pt x="61" y="158"/>
                    </a:lnTo>
                    <a:lnTo>
                      <a:pt x="67" y="158"/>
                    </a:lnTo>
                    <a:lnTo>
                      <a:pt x="68" y="157"/>
                    </a:lnTo>
                    <a:lnTo>
                      <a:pt x="70" y="157"/>
                    </a:lnTo>
                    <a:lnTo>
                      <a:pt x="70" y="158"/>
                    </a:lnTo>
                    <a:lnTo>
                      <a:pt x="68" y="158"/>
                    </a:lnTo>
                    <a:lnTo>
                      <a:pt x="65" y="161"/>
                    </a:lnTo>
                    <a:lnTo>
                      <a:pt x="65" y="161"/>
                    </a:lnTo>
                    <a:lnTo>
                      <a:pt x="65" y="160"/>
                    </a:lnTo>
                    <a:lnTo>
                      <a:pt x="59" y="161"/>
                    </a:lnTo>
                    <a:lnTo>
                      <a:pt x="59" y="161"/>
                    </a:lnTo>
                    <a:lnTo>
                      <a:pt x="59" y="164"/>
                    </a:lnTo>
                    <a:lnTo>
                      <a:pt x="65" y="163"/>
                    </a:lnTo>
                    <a:lnTo>
                      <a:pt x="62" y="166"/>
                    </a:lnTo>
                    <a:lnTo>
                      <a:pt x="61" y="170"/>
                    </a:lnTo>
                    <a:lnTo>
                      <a:pt x="62" y="174"/>
                    </a:lnTo>
                    <a:lnTo>
                      <a:pt x="67" y="177"/>
                    </a:lnTo>
                    <a:lnTo>
                      <a:pt x="70" y="173"/>
                    </a:lnTo>
                    <a:lnTo>
                      <a:pt x="70" y="170"/>
                    </a:lnTo>
                    <a:lnTo>
                      <a:pt x="71" y="169"/>
                    </a:lnTo>
                    <a:lnTo>
                      <a:pt x="71" y="171"/>
                    </a:lnTo>
                    <a:lnTo>
                      <a:pt x="68" y="179"/>
                    </a:lnTo>
                    <a:lnTo>
                      <a:pt x="68" y="183"/>
                    </a:lnTo>
                    <a:lnTo>
                      <a:pt x="73" y="183"/>
                    </a:lnTo>
                    <a:lnTo>
                      <a:pt x="77" y="183"/>
                    </a:lnTo>
                    <a:lnTo>
                      <a:pt x="83" y="185"/>
                    </a:lnTo>
                    <a:lnTo>
                      <a:pt x="87" y="182"/>
                    </a:lnTo>
                    <a:lnTo>
                      <a:pt x="90" y="179"/>
                    </a:lnTo>
                    <a:lnTo>
                      <a:pt x="94" y="166"/>
                    </a:lnTo>
                    <a:lnTo>
                      <a:pt x="96" y="163"/>
                    </a:lnTo>
                    <a:lnTo>
                      <a:pt x="97" y="157"/>
                    </a:lnTo>
                    <a:lnTo>
                      <a:pt x="97" y="153"/>
                    </a:lnTo>
                    <a:lnTo>
                      <a:pt x="99" y="151"/>
                    </a:lnTo>
                    <a:lnTo>
                      <a:pt x="100" y="148"/>
                    </a:lnTo>
                    <a:lnTo>
                      <a:pt x="103" y="150"/>
                    </a:lnTo>
                    <a:lnTo>
                      <a:pt x="100" y="153"/>
                    </a:lnTo>
                    <a:lnTo>
                      <a:pt x="100" y="157"/>
                    </a:lnTo>
                    <a:lnTo>
                      <a:pt x="88" y="182"/>
                    </a:lnTo>
                    <a:lnTo>
                      <a:pt x="88" y="183"/>
                    </a:lnTo>
                    <a:lnTo>
                      <a:pt x="84" y="187"/>
                    </a:lnTo>
                    <a:lnTo>
                      <a:pt x="84" y="189"/>
                    </a:lnTo>
                    <a:lnTo>
                      <a:pt x="86" y="190"/>
                    </a:lnTo>
                    <a:lnTo>
                      <a:pt x="87" y="190"/>
                    </a:lnTo>
                    <a:lnTo>
                      <a:pt x="87" y="192"/>
                    </a:lnTo>
                    <a:lnTo>
                      <a:pt x="86" y="193"/>
                    </a:lnTo>
                    <a:lnTo>
                      <a:pt x="81" y="192"/>
                    </a:lnTo>
                    <a:lnTo>
                      <a:pt x="80" y="190"/>
                    </a:lnTo>
                    <a:lnTo>
                      <a:pt x="73" y="190"/>
                    </a:lnTo>
                    <a:lnTo>
                      <a:pt x="74" y="195"/>
                    </a:lnTo>
                    <a:lnTo>
                      <a:pt x="75" y="195"/>
                    </a:lnTo>
                    <a:lnTo>
                      <a:pt x="74" y="198"/>
                    </a:lnTo>
                    <a:lnTo>
                      <a:pt x="73" y="198"/>
                    </a:lnTo>
                    <a:lnTo>
                      <a:pt x="67" y="192"/>
                    </a:lnTo>
                    <a:lnTo>
                      <a:pt x="61" y="192"/>
                    </a:lnTo>
                    <a:lnTo>
                      <a:pt x="57" y="189"/>
                    </a:lnTo>
                    <a:lnTo>
                      <a:pt x="55" y="189"/>
                    </a:lnTo>
                    <a:lnTo>
                      <a:pt x="55" y="186"/>
                    </a:lnTo>
                    <a:lnTo>
                      <a:pt x="51" y="173"/>
                    </a:lnTo>
                    <a:lnTo>
                      <a:pt x="49" y="171"/>
                    </a:lnTo>
                    <a:lnTo>
                      <a:pt x="49" y="169"/>
                    </a:lnTo>
                    <a:lnTo>
                      <a:pt x="45" y="161"/>
                    </a:lnTo>
                    <a:lnTo>
                      <a:pt x="32" y="160"/>
                    </a:lnTo>
                    <a:lnTo>
                      <a:pt x="23" y="164"/>
                    </a:lnTo>
                    <a:lnTo>
                      <a:pt x="22" y="163"/>
                    </a:lnTo>
                    <a:lnTo>
                      <a:pt x="20" y="166"/>
                    </a:lnTo>
                    <a:lnTo>
                      <a:pt x="19" y="166"/>
                    </a:lnTo>
                    <a:lnTo>
                      <a:pt x="19" y="169"/>
                    </a:lnTo>
                    <a:lnTo>
                      <a:pt x="19" y="170"/>
                    </a:lnTo>
                    <a:lnTo>
                      <a:pt x="19" y="170"/>
                    </a:lnTo>
                    <a:lnTo>
                      <a:pt x="19" y="177"/>
                    </a:lnTo>
                    <a:lnTo>
                      <a:pt x="23" y="180"/>
                    </a:lnTo>
                    <a:lnTo>
                      <a:pt x="23" y="182"/>
                    </a:lnTo>
                    <a:lnTo>
                      <a:pt x="26" y="186"/>
                    </a:lnTo>
                    <a:lnTo>
                      <a:pt x="26" y="192"/>
                    </a:lnTo>
                    <a:lnTo>
                      <a:pt x="28" y="195"/>
                    </a:lnTo>
                    <a:lnTo>
                      <a:pt x="32" y="198"/>
                    </a:lnTo>
                    <a:lnTo>
                      <a:pt x="35" y="195"/>
                    </a:lnTo>
                    <a:lnTo>
                      <a:pt x="38" y="195"/>
                    </a:lnTo>
                    <a:lnTo>
                      <a:pt x="38" y="196"/>
                    </a:lnTo>
                    <a:lnTo>
                      <a:pt x="33" y="201"/>
                    </a:lnTo>
                    <a:lnTo>
                      <a:pt x="33" y="201"/>
                    </a:lnTo>
                    <a:lnTo>
                      <a:pt x="36" y="201"/>
                    </a:lnTo>
                    <a:lnTo>
                      <a:pt x="36" y="202"/>
                    </a:lnTo>
                    <a:lnTo>
                      <a:pt x="33" y="203"/>
                    </a:lnTo>
                    <a:lnTo>
                      <a:pt x="33" y="205"/>
                    </a:lnTo>
                    <a:lnTo>
                      <a:pt x="35" y="206"/>
                    </a:lnTo>
                    <a:lnTo>
                      <a:pt x="36" y="205"/>
                    </a:lnTo>
                    <a:lnTo>
                      <a:pt x="41" y="208"/>
                    </a:lnTo>
                    <a:lnTo>
                      <a:pt x="39" y="208"/>
                    </a:lnTo>
                    <a:lnTo>
                      <a:pt x="39" y="211"/>
                    </a:lnTo>
                    <a:lnTo>
                      <a:pt x="36" y="209"/>
                    </a:lnTo>
                    <a:lnTo>
                      <a:pt x="36" y="206"/>
                    </a:lnTo>
                    <a:lnTo>
                      <a:pt x="30" y="208"/>
                    </a:lnTo>
                    <a:lnTo>
                      <a:pt x="30" y="211"/>
                    </a:lnTo>
                    <a:lnTo>
                      <a:pt x="30" y="212"/>
                    </a:lnTo>
                    <a:lnTo>
                      <a:pt x="28" y="212"/>
                    </a:lnTo>
                    <a:lnTo>
                      <a:pt x="28" y="211"/>
                    </a:lnTo>
                    <a:lnTo>
                      <a:pt x="28" y="211"/>
                    </a:lnTo>
                    <a:lnTo>
                      <a:pt x="25" y="214"/>
                    </a:lnTo>
                    <a:lnTo>
                      <a:pt x="23" y="212"/>
                    </a:lnTo>
                    <a:lnTo>
                      <a:pt x="19" y="211"/>
                    </a:lnTo>
                    <a:lnTo>
                      <a:pt x="19" y="212"/>
                    </a:lnTo>
                    <a:lnTo>
                      <a:pt x="19" y="215"/>
                    </a:lnTo>
                    <a:lnTo>
                      <a:pt x="16" y="217"/>
                    </a:lnTo>
                    <a:lnTo>
                      <a:pt x="13" y="218"/>
                    </a:lnTo>
                    <a:lnTo>
                      <a:pt x="13" y="219"/>
                    </a:lnTo>
                    <a:lnTo>
                      <a:pt x="3" y="227"/>
                    </a:lnTo>
                    <a:lnTo>
                      <a:pt x="1" y="232"/>
                    </a:lnTo>
                    <a:lnTo>
                      <a:pt x="1" y="240"/>
                    </a:lnTo>
                    <a:lnTo>
                      <a:pt x="0" y="244"/>
                    </a:lnTo>
                    <a:lnTo>
                      <a:pt x="6" y="253"/>
                    </a:lnTo>
                    <a:lnTo>
                      <a:pt x="7" y="254"/>
                    </a:lnTo>
                    <a:lnTo>
                      <a:pt x="10" y="250"/>
                    </a:lnTo>
                    <a:lnTo>
                      <a:pt x="12" y="244"/>
                    </a:lnTo>
                    <a:lnTo>
                      <a:pt x="13" y="253"/>
                    </a:lnTo>
                    <a:lnTo>
                      <a:pt x="14" y="246"/>
                    </a:lnTo>
                    <a:lnTo>
                      <a:pt x="13" y="234"/>
                    </a:lnTo>
                    <a:lnTo>
                      <a:pt x="14" y="230"/>
                    </a:lnTo>
                    <a:lnTo>
                      <a:pt x="16" y="254"/>
                    </a:lnTo>
                    <a:lnTo>
                      <a:pt x="20" y="254"/>
                    </a:lnTo>
                    <a:lnTo>
                      <a:pt x="22" y="257"/>
                    </a:lnTo>
                    <a:lnTo>
                      <a:pt x="26" y="256"/>
                    </a:lnTo>
                    <a:lnTo>
                      <a:pt x="28" y="251"/>
                    </a:lnTo>
                    <a:lnTo>
                      <a:pt x="28" y="246"/>
                    </a:lnTo>
                    <a:lnTo>
                      <a:pt x="29" y="251"/>
                    </a:lnTo>
                    <a:lnTo>
                      <a:pt x="33" y="254"/>
                    </a:lnTo>
                    <a:lnTo>
                      <a:pt x="35" y="256"/>
                    </a:lnTo>
                    <a:lnTo>
                      <a:pt x="38" y="257"/>
                    </a:lnTo>
                    <a:lnTo>
                      <a:pt x="39" y="253"/>
                    </a:lnTo>
                    <a:lnTo>
                      <a:pt x="42" y="250"/>
                    </a:lnTo>
                    <a:lnTo>
                      <a:pt x="42" y="243"/>
                    </a:lnTo>
                    <a:lnTo>
                      <a:pt x="43" y="246"/>
                    </a:lnTo>
                    <a:lnTo>
                      <a:pt x="43" y="250"/>
                    </a:lnTo>
                    <a:lnTo>
                      <a:pt x="43" y="251"/>
                    </a:lnTo>
                    <a:lnTo>
                      <a:pt x="52" y="262"/>
                    </a:lnTo>
                    <a:lnTo>
                      <a:pt x="59" y="262"/>
                    </a:lnTo>
                    <a:lnTo>
                      <a:pt x="59" y="264"/>
                    </a:lnTo>
                    <a:lnTo>
                      <a:pt x="71" y="262"/>
                    </a:lnTo>
                    <a:lnTo>
                      <a:pt x="64" y="251"/>
                    </a:lnTo>
                    <a:lnTo>
                      <a:pt x="64" y="246"/>
                    </a:lnTo>
                    <a:lnTo>
                      <a:pt x="67" y="253"/>
                    </a:lnTo>
                    <a:lnTo>
                      <a:pt x="71" y="253"/>
                    </a:lnTo>
                    <a:lnTo>
                      <a:pt x="75" y="248"/>
                    </a:lnTo>
                    <a:lnTo>
                      <a:pt x="75" y="241"/>
                    </a:lnTo>
                    <a:lnTo>
                      <a:pt x="81" y="251"/>
                    </a:lnTo>
                    <a:lnTo>
                      <a:pt x="87" y="254"/>
                    </a:lnTo>
                    <a:lnTo>
                      <a:pt x="90" y="251"/>
                    </a:lnTo>
                    <a:lnTo>
                      <a:pt x="90" y="246"/>
                    </a:lnTo>
                    <a:lnTo>
                      <a:pt x="87" y="234"/>
                    </a:lnTo>
                    <a:lnTo>
                      <a:pt x="93" y="253"/>
                    </a:lnTo>
                    <a:lnTo>
                      <a:pt x="97" y="256"/>
                    </a:lnTo>
                    <a:lnTo>
                      <a:pt x="104" y="254"/>
                    </a:lnTo>
                    <a:lnTo>
                      <a:pt x="106" y="248"/>
                    </a:lnTo>
                    <a:lnTo>
                      <a:pt x="100" y="238"/>
                    </a:lnTo>
                    <a:lnTo>
                      <a:pt x="103" y="240"/>
                    </a:lnTo>
                    <a:lnTo>
                      <a:pt x="107" y="241"/>
                    </a:lnTo>
                    <a:lnTo>
                      <a:pt x="107" y="247"/>
                    </a:lnTo>
                    <a:lnTo>
                      <a:pt x="109" y="250"/>
                    </a:lnTo>
                    <a:lnTo>
                      <a:pt x="115" y="251"/>
                    </a:lnTo>
                    <a:lnTo>
                      <a:pt x="119" y="250"/>
                    </a:lnTo>
                    <a:lnTo>
                      <a:pt x="122" y="250"/>
                    </a:lnTo>
                    <a:lnTo>
                      <a:pt x="123" y="253"/>
                    </a:lnTo>
                    <a:lnTo>
                      <a:pt x="123" y="257"/>
                    </a:lnTo>
                    <a:lnTo>
                      <a:pt x="122" y="263"/>
                    </a:lnTo>
                    <a:lnTo>
                      <a:pt x="120" y="266"/>
                    </a:lnTo>
                    <a:lnTo>
                      <a:pt x="122" y="270"/>
                    </a:lnTo>
                    <a:lnTo>
                      <a:pt x="141" y="262"/>
                    </a:lnTo>
                    <a:lnTo>
                      <a:pt x="151" y="246"/>
                    </a:lnTo>
                    <a:lnTo>
                      <a:pt x="152" y="253"/>
                    </a:lnTo>
                    <a:lnTo>
                      <a:pt x="158" y="248"/>
                    </a:lnTo>
                    <a:lnTo>
                      <a:pt x="160" y="246"/>
                    </a:lnTo>
                    <a:lnTo>
                      <a:pt x="164" y="243"/>
                    </a:lnTo>
                    <a:lnTo>
                      <a:pt x="165" y="225"/>
                    </a:lnTo>
                    <a:lnTo>
                      <a:pt x="163" y="219"/>
                    </a:lnTo>
                    <a:lnTo>
                      <a:pt x="158" y="221"/>
                    </a:lnTo>
                    <a:lnTo>
                      <a:pt x="152" y="230"/>
                    </a:lnTo>
                    <a:lnTo>
                      <a:pt x="149" y="228"/>
                    </a:lnTo>
                    <a:lnTo>
                      <a:pt x="151" y="224"/>
                    </a:lnTo>
                    <a:lnTo>
                      <a:pt x="145" y="221"/>
                    </a:lnTo>
                    <a:lnTo>
                      <a:pt x="145" y="219"/>
                    </a:lnTo>
                    <a:lnTo>
                      <a:pt x="151" y="217"/>
                    </a:lnTo>
                    <a:lnTo>
                      <a:pt x="151" y="212"/>
                    </a:lnTo>
                    <a:lnTo>
                      <a:pt x="148" y="206"/>
                    </a:lnTo>
                    <a:lnTo>
                      <a:pt x="145" y="205"/>
                    </a:lnTo>
                    <a:lnTo>
                      <a:pt x="141" y="205"/>
                    </a:lnTo>
                    <a:lnTo>
                      <a:pt x="134" y="214"/>
                    </a:lnTo>
                    <a:lnTo>
                      <a:pt x="132" y="214"/>
                    </a:lnTo>
                    <a:lnTo>
                      <a:pt x="135" y="209"/>
                    </a:lnTo>
                    <a:lnTo>
                      <a:pt x="135" y="205"/>
                    </a:lnTo>
                    <a:lnTo>
                      <a:pt x="123" y="203"/>
                    </a:lnTo>
                    <a:lnTo>
                      <a:pt x="118" y="205"/>
                    </a:lnTo>
                    <a:lnTo>
                      <a:pt x="112" y="214"/>
                    </a:lnTo>
                    <a:lnTo>
                      <a:pt x="110" y="205"/>
                    </a:lnTo>
                    <a:lnTo>
                      <a:pt x="107" y="202"/>
                    </a:lnTo>
                    <a:lnTo>
                      <a:pt x="112" y="202"/>
                    </a:lnTo>
                    <a:lnTo>
                      <a:pt x="119" y="199"/>
                    </a:lnTo>
                    <a:lnTo>
                      <a:pt x="119" y="198"/>
                    </a:lnTo>
                    <a:lnTo>
                      <a:pt x="115" y="195"/>
                    </a:lnTo>
                    <a:lnTo>
                      <a:pt x="115" y="190"/>
                    </a:lnTo>
                    <a:lnTo>
                      <a:pt x="115" y="187"/>
                    </a:lnTo>
                    <a:lnTo>
                      <a:pt x="122" y="196"/>
                    </a:lnTo>
                    <a:lnTo>
                      <a:pt x="129" y="201"/>
                    </a:lnTo>
                    <a:lnTo>
                      <a:pt x="151" y="201"/>
                    </a:lnTo>
                    <a:lnTo>
                      <a:pt x="152" y="198"/>
                    </a:lnTo>
                    <a:lnTo>
                      <a:pt x="154" y="198"/>
                    </a:lnTo>
                    <a:lnTo>
                      <a:pt x="154" y="201"/>
                    </a:lnTo>
                    <a:lnTo>
                      <a:pt x="154" y="201"/>
                    </a:lnTo>
                    <a:lnTo>
                      <a:pt x="161" y="196"/>
                    </a:lnTo>
                    <a:lnTo>
                      <a:pt x="165" y="189"/>
                    </a:lnTo>
                    <a:lnTo>
                      <a:pt x="165" y="185"/>
                    </a:lnTo>
                    <a:lnTo>
                      <a:pt x="165" y="183"/>
                    </a:lnTo>
                    <a:lnTo>
                      <a:pt x="170" y="180"/>
                    </a:lnTo>
                    <a:lnTo>
                      <a:pt x="170" y="179"/>
                    </a:lnTo>
                    <a:lnTo>
                      <a:pt x="165" y="174"/>
                    </a:lnTo>
                    <a:lnTo>
                      <a:pt x="165" y="171"/>
                    </a:lnTo>
                    <a:lnTo>
                      <a:pt x="165" y="169"/>
                    </a:lnTo>
                    <a:lnTo>
                      <a:pt x="164" y="164"/>
                    </a:lnTo>
                    <a:lnTo>
                      <a:pt x="163" y="163"/>
                    </a:lnTo>
                    <a:lnTo>
                      <a:pt x="163" y="163"/>
                    </a:lnTo>
                    <a:lnTo>
                      <a:pt x="163" y="160"/>
                    </a:lnTo>
                    <a:lnTo>
                      <a:pt x="161" y="157"/>
                    </a:lnTo>
                    <a:lnTo>
                      <a:pt x="161" y="155"/>
                    </a:lnTo>
                    <a:lnTo>
                      <a:pt x="165" y="157"/>
                    </a:lnTo>
                    <a:lnTo>
                      <a:pt x="177" y="157"/>
                    </a:lnTo>
                    <a:lnTo>
                      <a:pt x="179" y="160"/>
                    </a:lnTo>
                    <a:lnTo>
                      <a:pt x="184" y="158"/>
                    </a:lnTo>
                    <a:lnTo>
                      <a:pt x="189" y="153"/>
                    </a:lnTo>
                    <a:lnTo>
                      <a:pt x="193" y="154"/>
                    </a:lnTo>
                    <a:lnTo>
                      <a:pt x="194" y="155"/>
                    </a:lnTo>
                    <a:lnTo>
                      <a:pt x="197" y="150"/>
                    </a:lnTo>
                    <a:lnTo>
                      <a:pt x="197" y="148"/>
                    </a:lnTo>
                    <a:lnTo>
                      <a:pt x="200" y="145"/>
                    </a:lnTo>
                    <a:lnTo>
                      <a:pt x="180" y="139"/>
                    </a:lnTo>
                    <a:lnTo>
                      <a:pt x="184" y="137"/>
                    </a:lnTo>
                    <a:lnTo>
                      <a:pt x="190" y="137"/>
                    </a:lnTo>
                    <a:lnTo>
                      <a:pt x="199" y="141"/>
                    </a:lnTo>
                    <a:lnTo>
                      <a:pt x="202" y="134"/>
                    </a:lnTo>
                    <a:lnTo>
                      <a:pt x="208" y="131"/>
                    </a:lnTo>
                    <a:lnTo>
                      <a:pt x="208" y="128"/>
                    </a:lnTo>
                    <a:lnTo>
                      <a:pt x="205" y="124"/>
                    </a:lnTo>
                    <a:lnTo>
                      <a:pt x="202" y="122"/>
                    </a:lnTo>
                    <a:lnTo>
                      <a:pt x="196" y="121"/>
                    </a:lnTo>
                    <a:lnTo>
                      <a:pt x="192" y="118"/>
                    </a:lnTo>
                    <a:lnTo>
                      <a:pt x="189" y="118"/>
                    </a:lnTo>
                    <a:lnTo>
                      <a:pt x="192" y="116"/>
                    </a:lnTo>
                    <a:lnTo>
                      <a:pt x="205" y="116"/>
                    </a:lnTo>
                    <a:lnTo>
                      <a:pt x="208" y="115"/>
                    </a:lnTo>
                    <a:lnTo>
                      <a:pt x="209" y="112"/>
                    </a:lnTo>
                    <a:lnTo>
                      <a:pt x="213" y="109"/>
                    </a:lnTo>
                    <a:lnTo>
                      <a:pt x="212" y="108"/>
                    </a:lnTo>
                    <a:lnTo>
                      <a:pt x="212" y="105"/>
                    </a:lnTo>
                    <a:lnTo>
                      <a:pt x="212" y="102"/>
                    </a:lnTo>
                    <a:lnTo>
                      <a:pt x="212" y="93"/>
                    </a:lnTo>
                    <a:lnTo>
                      <a:pt x="209" y="90"/>
                    </a:lnTo>
                    <a:lnTo>
                      <a:pt x="202" y="87"/>
                    </a:lnTo>
                    <a:lnTo>
                      <a:pt x="192" y="89"/>
                    </a:lnTo>
                    <a:lnTo>
                      <a:pt x="192" y="87"/>
                    </a:lnTo>
                    <a:lnTo>
                      <a:pt x="194" y="86"/>
                    </a:lnTo>
                    <a:lnTo>
                      <a:pt x="197" y="83"/>
                    </a:lnTo>
                    <a:lnTo>
                      <a:pt x="197" y="81"/>
                    </a:lnTo>
                    <a:lnTo>
                      <a:pt x="194" y="80"/>
                    </a:lnTo>
                    <a:lnTo>
                      <a:pt x="177" y="81"/>
                    </a:lnTo>
                    <a:lnTo>
                      <a:pt x="173" y="83"/>
                    </a:lnTo>
                    <a:lnTo>
                      <a:pt x="171" y="86"/>
                    </a:lnTo>
                    <a:lnTo>
                      <a:pt x="168" y="86"/>
                    </a:lnTo>
                    <a:lnTo>
                      <a:pt x="171" y="78"/>
                    </a:lnTo>
                    <a:lnTo>
                      <a:pt x="168" y="78"/>
                    </a:lnTo>
                    <a:lnTo>
                      <a:pt x="168" y="76"/>
                    </a:lnTo>
                    <a:lnTo>
                      <a:pt x="174" y="78"/>
                    </a:lnTo>
                    <a:lnTo>
                      <a:pt x="186" y="74"/>
                    </a:lnTo>
                    <a:lnTo>
                      <a:pt x="193" y="76"/>
                    </a:lnTo>
                    <a:lnTo>
                      <a:pt x="193" y="73"/>
                    </a:lnTo>
                    <a:lnTo>
                      <a:pt x="187" y="70"/>
                    </a:lnTo>
                    <a:lnTo>
                      <a:pt x="170" y="70"/>
                    </a:lnTo>
                    <a:lnTo>
                      <a:pt x="168" y="68"/>
                    </a:lnTo>
                    <a:lnTo>
                      <a:pt x="171" y="67"/>
                    </a:lnTo>
                    <a:lnTo>
                      <a:pt x="183" y="67"/>
                    </a:lnTo>
                    <a:lnTo>
                      <a:pt x="186" y="64"/>
                    </a:lnTo>
                    <a:lnTo>
                      <a:pt x="194" y="67"/>
                    </a:lnTo>
                    <a:lnTo>
                      <a:pt x="196" y="68"/>
                    </a:lnTo>
                    <a:lnTo>
                      <a:pt x="196" y="73"/>
                    </a:lnTo>
                    <a:lnTo>
                      <a:pt x="197" y="76"/>
                    </a:lnTo>
                    <a:lnTo>
                      <a:pt x="200" y="77"/>
                    </a:lnTo>
                    <a:lnTo>
                      <a:pt x="213" y="78"/>
                    </a:lnTo>
                    <a:lnTo>
                      <a:pt x="215" y="78"/>
                    </a:lnTo>
                    <a:lnTo>
                      <a:pt x="216" y="76"/>
                    </a:lnTo>
                    <a:lnTo>
                      <a:pt x="215" y="71"/>
                    </a:lnTo>
                    <a:lnTo>
                      <a:pt x="212" y="67"/>
                    </a:lnTo>
                    <a:lnTo>
                      <a:pt x="215" y="62"/>
                    </a:lnTo>
                    <a:lnTo>
                      <a:pt x="213" y="61"/>
                    </a:lnTo>
                    <a:lnTo>
                      <a:pt x="196" y="62"/>
                    </a:lnTo>
                    <a:lnTo>
                      <a:pt x="194" y="60"/>
                    </a:lnTo>
                    <a:lnTo>
                      <a:pt x="173" y="64"/>
                    </a:lnTo>
                    <a:lnTo>
                      <a:pt x="174" y="62"/>
                    </a:lnTo>
                    <a:lnTo>
                      <a:pt x="174" y="60"/>
                    </a:lnTo>
                    <a:lnTo>
                      <a:pt x="170" y="58"/>
                    </a:lnTo>
                    <a:lnTo>
                      <a:pt x="167" y="57"/>
                    </a:lnTo>
                    <a:lnTo>
                      <a:pt x="171" y="55"/>
                    </a:lnTo>
                    <a:lnTo>
                      <a:pt x="177" y="55"/>
                    </a:lnTo>
                    <a:lnTo>
                      <a:pt x="177" y="49"/>
                    </a:lnTo>
                    <a:lnTo>
                      <a:pt x="176" y="48"/>
                    </a:lnTo>
                    <a:lnTo>
                      <a:pt x="177" y="46"/>
                    </a:lnTo>
                    <a:lnTo>
                      <a:pt x="179" y="48"/>
                    </a:lnTo>
                    <a:lnTo>
                      <a:pt x="180" y="52"/>
                    </a:lnTo>
                    <a:lnTo>
                      <a:pt x="181" y="54"/>
                    </a:lnTo>
                    <a:lnTo>
                      <a:pt x="194" y="55"/>
                    </a:lnTo>
                    <a:lnTo>
                      <a:pt x="196" y="52"/>
                    </a:lnTo>
                    <a:lnTo>
                      <a:pt x="193" y="49"/>
                    </a:lnTo>
                    <a:lnTo>
                      <a:pt x="192" y="48"/>
                    </a:lnTo>
                    <a:lnTo>
                      <a:pt x="179" y="45"/>
                    </a:lnTo>
                    <a:lnTo>
                      <a:pt x="177" y="42"/>
                    </a:lnTo>
                    <a:lnTo>
                      <a:pt x="179" y="41"/>
                    </a:lnTo>
                    <a:lnTo>
                      <a:pt x="189" y="42"/>
                    </a:lnTo>
                    <a:lnTo>
                      <a:pt x="199" y="49"/>
                    </a:lnTo>
                    <a:lnTo>
                      <a:pt x="206" y="51"/>
                    </a:lnTo>
                    <a:lnTo>
                      <a:pt x="209" y="49"/>
                    </a:lnTo>
                    <a:lnTo>
                      <a:pt x="208" y="45"/>
                    </a:lnTo>
                    <a:lnTo>
                      <a:pt x="210" y="46"/>
                    </a:lnTo>
                    <a:lnTo>
                      <a:pt x="218" y="46"/>
                    </a:lnTo>
                    <a:lnTo>
                      <a:pt x="221" y="44"/>
                    </a:lnTo>
                    <a:lnTo>
                      <a:pt x="221" y="41"/>
                    </a:lnTo>
                    <a:lnTo>
                      <a:pt x="221" y="41"/>
                    </a:lnTo>
                    <a:lnTo>
                      <a:pt x="222" y="39"/>
                    </a:lnTo>
                    <a:lnTo>
                      <a:pt x="224" y="42"/>
                    </a:lnTo>
                    <a:lnTo>
                      <a:pt x="228" y="41"/>
                    </a:lnTo>
                    <a:lnTo>
                      <a:pt x="229" y="36"/>
                    </a:lnTo>
                    <a:lnTo>
                      <a:pt x="226" y="25"/>
                    </a:lnTo>
                    <a:lnTo>
                      <a:pt x="212" y="22"/>
                    </a:lnTo>
                    <a:lnTo>
                      <a:pt x="212" y="17"/>
                    </a:lnTo>
                    <a:lnTo>
                      <a:pt x="218" y="16"/>
                    </a:lnTo>
                    <a:lnTo>
                      <a:pt x="224" y="19"/>
                    </a:lnTo>
                    <a:lnTo>
                      <a:pt x="231" y="20"/>
                    </a:lnTo>
                    <a:lnTo>
                      <a:pt x="229" y="25"/>
                    </a:lnTo>
                    <a:lnTo>
                      <a:pt x="231" y="28"/>
                    </a:lnTo>
                    <a:lnTo>
                      <a:pt x="234" y="29"/>
                    </a:lnTo>
                    <a:lnTo>
                      <a:pt x="238" y="29"/>
                    </a:lnTo>
                    <a:lnTo>
                      <a:pt x="238" y="31"/>
                    </a:lnTo>
                    <a:lnTo>
                      <a:pt x="244" y="29"/>
                    </a:lnTo>
                    <a:lnTo>
                      <a:pt x="250" y="29"/>
                    </a:lnTo>
                    <a:lnTo>
                      <a:pt x="253" y="26"/>
                    </a:lnTo>
                    <a:lnTo>
                      <a:pt x="255" y="26"/>
                    </a:lnTo>
                    <a:lnTo>
                      <a:pt x="261" y="16"/>
                    </a:lnTo>
                    <a:lnTo>
                      <a:pt x="258" y="15"/>
                    </a:lnTo>
                    <a:lnTo>
                      <a:pt x="254" y="16"/>
                    </a:lnTo>
                    <a:lnTo>
                      <a:pt x="255" y="12"/>
                    </a:lnTo>
                    <a:lnTo>
                      <a:pt x="257" y="9"/>
                    </a:lnTo>
                    <a:lnTo>
                      <a:pt x="263" y="6"/>
                    </a:lnTo>
                    <a:lnTo>
                      <a:pt x="264" y="4"/>
                    </a:lnTo>
                    <a:lnTo>
                      <a:pt x="267" y="0"/>
                    </a:lnTo>
                    <a:lnTo>
                      <a:pt x="103" y="0"/>
                    </a:lnTo>
                    <a:lnTo>
                      <a:pt x="103" y="0"/>
                    </a:lnTo>
                    <a:lnTo>
                      <a:pt x="115" y="9"/>
                    </a:lnTo>
                    <a:lnTo>
                      <a:pt x="115" y="9"/>
                    </a:lnTo>
                    <a:lnTo>
                      <a:pt x="112" y="12"/>
                    </a:lnTo>
                    <a:lnTo>
                      <a:pt x="112" y="13"/>
                    </a:lnTo>
                    <a:lnTo>
                      <a:pt x="113" y="23"/>
                    </a:lnTo>
                    <a:lnTo>
                      <a:pt x="115" y="23"/>
                    </a:lnTo>
                    <a:lnTo>
                      <a:pt x="115" y="25"/>
                    </a:lnTo>
                    <a:lnTo>
                      <a:pt x="115" y="28"/>
                    </a:lnTo>
                    <a:lnTo>
                      <a:pt x="120" y="29"/>
                    </a:lnTo>
                    <a:lnTo>
                      <a:pt x="125" y="32"/>
                    </a:lnTo>
                    <a:lnTo>
                      <a:pt x="134" y="28"/>
                    </a:lnTo>
                    <a:lnTo>
                      <a:pt x="136" y="28"/>
                    </a:lnTo>
                    <a:lnTo>
                      <a:pt x="138" y="31"/>
                    </a:lnTo>
                    <a:lnTo>
                      <a:pt x="136" y="32"/>
                    </a:lnTo>
                    <a:lnTo>
                      <a:pt x="134" y="32"/>
                    </a:lnTo>
                    <a:lnTo>
                      <a:pt x="126" y="36"/>
                    </a:lnTo>
                    <a:lnTo>
                      <a:pt x="125" y="38"/>
                    </a:lnTo>
                    <a:lnTo>
                      <a:pt x="125" y="39"/>
                    </a:lnTo>
                    <a:lnTo>
                      <a:pt x="125" y="41"/>
                    </a:lnTo>
                    <a:lnTo>
                      <a:pt x="125" y="41"/>
                    </a:lnTo>
                    <a:lnTo>
                      <a:pt x="116" y="35"/>
                    </a:lnTo>
                    <a:lnTo>
                      <a:pt x="113" y="33"/>
                    </a:lnTo>
                    <a:lnTo>
                      <a:pt x="110" y="36"/>
                    </a:lnTo>
                    <a:lnTo>
                      <a:pt x="110" y="29"/>
                    </a:lnTo>
                    <a:lnTo>
                      <a:pt x="109" y="29"/>
                    </a:lnTo>
                    <a:lnTo>
                      <a:pt x="107" y="23"/>
                    </a:lnTo>
                    <a:lnTo>
                      <a:pt x="106" y="22"/>
                    </a:lnTo>
                    <a:lnTo>
                      <a:pt x="106" y="17"/>
                    </a:lnTo>
                    <a:lnTo>
                      <a:pt x="93" y="0"/>
                    </a:lnTo>
                    <a:lnTo>
                      <a:pt x="48" y="0"/>
                    </a:lnTo>
                    <a:lnTo>
                      <a:pt x="58" y="4"/>
                    </a:lnTo>
                    <a:lnTo>
                      <a:pt x="61" y="7"/>
                    </a:lnTo>
                    <a:lnTo>
                      <a:pt x="61" y="7"/>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63" name="Freeform 1237"/>
              <p:cNvSpPr>
                <a:spLocks/>
              </p:cNvSpPr>
              <p:nvPr/>
            </p:nvSpPr>
            <p:spPr bwMode="auto">
              <a:xfrm>
                <a:off x="4986606" y="1471498"/>
                <a:ext cx="7022" cy="8113"/>
              </a:xfrm>
              <a:custGeom>
                <a:avLst/>
                <a:gdLst/>
                <a:ahLst/>
                <a:cxnLst>
                  <a:cxn ang="0">
                    <a:pos x="0" y="5"/>
                  </a:cxn>
                  <a:cxn ang="0">
                    <a:pos x="0" y="6"/>
                  </a:cxn>
                  <a:cxn ang="0">
                    <a:pos x="7" y="8"/>
                  </a:cxn>
                  <a:cxn ang="0">
                    <a:pos x="1" y="0"/>
                  </a:cxn>
                  <a:cxn ang="0">
                    <a:pos x="0" y="5"/>
                  </a:cxn>
                  <a:cxn ang="0">
                    <a:pos x="0" y="5"/>
                  </a:cxn>
                </a:cxnLst>
                <a:rect l="0" t="0" r="r" b="b"/>
                <a:pathLst>
                  <a:path w="7" h="8">
                    <a:moveTo>
                      <a:pt x="0" y="5"/>
                    </a:moveTo>
                    <a:lnTo>
                      <a:pt x="0" y="6"/>
                    </a:lnTo>
                    <a:lnTo>
                      <a:pt x="7" y="8"/>
                    </a:lnTo>
                    <a:lnTo>
                      <a:pt x="1" y="0"/>
                    </a:lnTo>
                    <a:lnTo>
                      <a:pt x="0" y="5"/>
                    </a:lnTo>
                    <a:lnTo>
                      <a:pt x="0" y="5"/>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64" name="Freeform 1238"/>
              <p:cNvSpPr>
                <a:spLocks/>
              </p:cNvSpPr>
              <p:nvPr/>
            </p:nvSpPr>
            <p:spPr bwMode="auto">
              <a:xfrm>
                <a:off x="4986606" y="1463385"/>
                <a:ext cx="878" cy="8113"/>
              </a:xfrm>
              <a:custGeom>
                <a:avLst/>
                <a:gdLst/>
                <a:ahLst/>
                <a:cxnLst>
                  <a:cxn ang="0">
                    <a:pos x="1" y="3"/>
                  </a:cxn>
                  <a:cxn ang="0">
                    <a:pos x="0" y="0"/>
                  </a:cxn>
                  <a:cxn ang="0">
                    <a:pos x="0" y="7"/>
                  </a:cxn>
                  <a:cxn ang="0">
                    <a:pos x="1" y="8"/>
                  </a:cxn>
                  <a:cxn ang="0">
                    <a:pos x="1" y="7"/>
                  </a:cxn>
                  <a:cxn ang="0">
                    <a:pos x="1" y="3"/>
                  </a:cxn>
                  <a:cxn ang="0">
                    <a:pos x="1" y="3"/>
                  </a:cxn>
                </a:cxnLst>
                <a:rect l="0" t="0" r="r" b="b"/>
                <a:pathLst>
                  <a:path w="1" h="8">
                    <a:moveTo>
                      <a:pt x="1" y="3"/>
                    </a:moveTo>
                    <a:lnTo>
                      <a:pt x="0" y="0"/>
                    </a:lnTo>
                    <a:lnTo>
                      <a:pt x="0" y="7"/>
                    </a:lnTo>
                    <a:lnTo>
                      <a:pt x="1" y="8"/>
                    </a:lnTo>
                    <a:lnTo>
                      <a:pt x="1" y="7"/>
                    </a:lnTo>
                    <a:lnTo>
                      <a:pt x="1" y="3"/>
                    </a:lnTo>
                    <a:lnTo>
                      <a:pt x="1" y="3"/>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65" name="Freeform 1239"/>
              <p:cNvSpPr>
                <a:spLocks/>
              </p:cNvSpPr>
              <p:nvPr/>
            </p:nvSpPr>
            <p:spPr bwMode="auto">
              <a:xfrm>
                <a:off x="5073509" y="2258464"/>
                <a:ext cx="7022" cy="9127"/>
              </a:xfrm>
              <a:custGeom>
                <a:avLst/>
                <a:gdLst/>
                <a:ahLst/>
                <a:cxnLst>
                  <a:cxn ang="0">
                    <a:pos x="0" y="9"/>
                  </a:cxn>
                  <a:cxn ang="0">
                    <a:pos x="2" y="9"/>
                  </a:cxn>
                  <a:cxn ang="0">
                    <a:pos x="6" y="6"/>
                  </a:cxn>
                  <a:cxn ang="0">
                    <a:pos x="8" y="0"/>
                  </a:cxn>
                  <a:cxn ang="0">
                    <a:pos x="8" y="0"/>
                  </a:cxn>
                  <a:cxn ang="0">
                    <a:pos x="8" y="1"/>
                  </a:cxn>
                  <a:cxn ang="0">
                    <a:pos x="8" y="1"/>
                  </a:cxn>
                  <a:cxn ang="0">
                    <a:pos x="6" y="4"/>
                  </a:cxn>
                  <a:cxn ang="0">
                    <a:pos x="6" y="4"/>
                  </a:cxn>
                  <a:cxn ang="0">
                    <a:pos x="5" y="4"/>
                  </a:cxn>
                  <a:cxn ang="0">
                    <a:pos x="3" y="4"/>
                  </a:cxn>
                  <a:cxn ang="0">
                    <a:pos x="3" y="4"/>
                  </a:cxn>
                  <a:cxn ang="0">
                    <a:pos x="3" y="4"/>
                  </a:cxn>
                  <a:cxn ang="0">
                    <a:pos x="3" y="4"/>
                  </a:cxn>
                  <a:cxn ang="0">
                    <a:pos x="3" y="4"/>
                  </a:cxn>
                  <a:cxn ang="0">
                    <a:pos x="3" y="6"/>
                  </a:cxn>
                  <a:cxn ang="0">
                    <a:pos x="2" y="4"/>
                  </a:cxn>
                  <a:cxn ang="0">
                    <a:pos x="2" y="6"/>
                  </a:cxn>
                  <a:cxn ang="0">
                    <a:pos x="0" y="6"/>
                  </a:cxn>
                  <a:cxn ang="0">
                    <a:pos x="0" y="7"/>
                  </a:cxn>
                  <a:cxn ang="0">
                    <a:pos x="0" y="7"/>
                  </a:cxn>
                  <a:cxn ang="0">
                    <a:pos x="0" y="7"/>
                  </a:cxn>
                  <a:cxn ang="0">
                    <a:pos x="0" y="9"/>
                  </a:cxn>
                  <a:cxn ang="0">
                    <a:pos x="0" y="9"/>
                  </a:cxn>
                  <a:cxn ang="0">
                    <a:pos x="0" y="9"/>
                  </a:cxn>
                </a:cxnLst>
                <a:rect l="0" t="0" r="r" b="b"/>
                <a:pathLst>
                  <a:path w="8" h="9">
                    <a:moveTo>
                      <a:pt x="0" y="9"/>
                    </a:moveTo>
                    <a:lnTo>
                      <a:pt x="2" y="9"/>
                    </a:lnTo>
                    <a:lnTo>
                      <a:pt x="6" y="6"/>
                    </a:lnTo>
                    <a:lnTo>
                      <a:pt x="8" y="0"/>
                    </a:lnTo>
                    <a:lnTo>
                      <a:pt x="8" y="0"/>
                    </a:lnTo>
                    <a:lnTo>
                      <a:pt x="8" y="1"/>
                    </a:lnTo>
                    <a:lnTo>
                      <a:pt x="8" y="1"/>
                    </a:lnTo>
                    <a:lnTo>
                      <a:pt x="6" y="4"/>
                    </a:lnTo>
                    <a:lnTo>
                      <a:pt x="6" y="4"/>
                    </a:lnTo>
                    <a:lnTo>
                      <a:pt x="5" y="4"/>
                    </a:lnTo>
                    <a:lnTo>
                      <a:pt x="3" y="4"/>
                    </a:lnTo>
                    <a:lnTo>
                      <a:pt x="3" y="4"/>
                    </a:lnTo>
                    <a:lnTo>
                      <a:pt x="3" y="4"/>
                    </a:lnTo>
                    <a:lnTo>
                      <a:pt x="3" y="4"/>
                    </a:lnTo>
                    <a:lnTo>
                      <a:pt x="3" y="4"/>
                    </a:lnTo>
                    <a:lnTo>
                      <a:pt x="3" y="6"/>
                    </a:lnTo>
                    <a:lnTo>
                      <a:pt x="2" y="4"/>
                    </a:lnTo>
                    <a:lnTo>
                      <a:pt x="2" y="6"/>
                    </a:lnTo>
                    <a:lnTo>
                      <a:pt x="0" y="6"/>
                    </a:lnTo>
                    <a:lnTo>
                      <a:pt x="0" y="7"/>
                    </a:lnTo>
                    <a:lnTo>
                      <a:pt x="0" y="7"/>
                    </a:lnTo>
                    <a:lnTo>
                      <a:pt x="0" y="7"/>
                    </a:lnTo>
                    <a:lnTo>
                      <a:pt x="0" y="9"/>
                    </a:lnTo>
                    <a:lnTo>
                      <a:pt x="0" y="9"/>
                    </a:lnTo>
                    <a:lnTo>
                      <a:pt x="0" y="9"/>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66" name="Freeform 1240"/>
              <p:cNvSpPr>
                <a:spLocks/>
              </p:cNvSpPr>
              <p:nvPr/>
            </p:nvSpPr>
            <p:spPr bwMode="auto">
              <a:xfrm>
                <a:off x="5073509" y="2258464"/>
                <a:ext cx="7022" cy="9127"/>
              </a:xfrm>
              <a:custGeom>
                <a:avLst/>
                <a:gdLst/>
                <a:ahLst/>
                <a:cxnLst>
                  <a:cxn ang="0">
                    <a:pos x="0" y="9"/>
                  </a:cxn>
                  <a:cxn ang="0">
                    <a:pos x="2" y="9"/>
                  </a:cxn>
                  <a:cxn ang="0">
                    <a:pos x="6" y="6"/>
                  </a:cxn>
                  <a:cxn ang="0">
                    <a:pos x="8" y="0"/>
                  </a:cxn>
                  <a:cxn ang="0">
                    <a:pos x="8" y="0"/>
                  </a:cxn>
                  <a:cxn ang="0">
                    <a:pos x="8" y="1"/>
                  </a:cxn>
                  <a:cxn ang="0">
                    <a:pos x="8" y="1"/>
                  </a:cxn>
                  <a:cxn ang="0">
                    <a:pos x="6" y="4"/>
                  </a:cxn>
                  <a:cxn ang="0">
                    <a:pos x="6" y="4"/>
                  </a:cxn>
                  <a:cxn ang="0">
                    <a:pos x="5" y="4"/>
                  </a:cxn>
                  <a:cxn ang="0">
                    <a:pos x="3" y="4"/>
                  </a:cxn>
                  <a:cxn ang="0">
                    <a:pos x="3" y="4"/>
                  </a:cxn>
                  <a:cxn ang="0">
                    <a:pos x="3" y="4"/>
                  </a:cxn>
                  <a:cxn ang="0">
                    <a:pos x="3" y="4"/>
                  </a:cxn>
                  <a:cxn ang="0">
                    <a:pos x="3" y="4"/>
                  </a:cxn>
                  <a:cxn ang="0">
                    <a:pos x="3" y="6"/>
                  </a:cxn>
                  <a:cxn ang="0">
                    <a:pos x="2" y="4"/>
                  </a:cxn>
                  <a:cxn ang="0">
                    <a:pos x="2" y="6"/>
                  </a:cxn>
                  <a:cxn ang="0">
                    <a:pos x="0" y="6"/>
                  </a:cxn>
                  <a:cxn ang="0">
                    <a:pos x="0" y="7"/>
                  </a:cxn>
                  <a:cxn ang="0">
                    <a:pos x="0" y="7"/>
                  </a:cxn>
                  <a:cxn ang="0">
                    <a:pos x="0" y="7"/>
                  </a:cxn>
                  <a:cxn ang="0">
                    <a:pos x="0" y="9"/>
                  </a:cxn>
                  <a:cxn ang="0">
                    <a:pos x="0" y="9"/>
                  </a:cxn>
                  <a:cxn ang="0">
                    <a:pos x="0" y="9"/>
                  </a:cxn>
                </a:cxnLst>
                <a:rect l="0" t="0" r="r" b="b"/>
                <a:pathLst>
                  <a:path w="8" h="9">
                    <a:moveTo>
                      <a:pt x="0" y="9"/>
                    </a:moveTo>
                    <a:lnTo>
                      <a:pt x="2" y="9"/>
                    </a:lnTo>
                    <a:lnTo>
                      <a:pt x="6" y="6"/>
                    </a:lnTo>
                    <a:lnTo>
                      <a:pt x="8" y="0"/>
                    </a:lnTo>
                    <a:lnTo>
                      <a:pt x="8" y="0"/>
                    </a:lnTo>
                    <a:lnTo>
                      <a:pt x="8" y="1"/>
                    </a:lnTo>
                    <a:lnTo>
                      <a:pt x="8" y="1"/>
                    </a:lnTo>
                    <a:lnTo>
                      <a:pt x="6" y="4"/>
                    </a:lnTo>
                    <a:lnTo>
                      <a:pt x="6" y="4"/>
                    </a:lnTo>
                    <a:lnTo>
                      <a:pt x="5" y="4"/>
                    </a:lnTo>
                    <a:lnTo>
                      <a:pt x="3" y="4"/>
                    </a:lnTo>
                    <a:lnTo>
                      <a:pt x="3" y="4"/>
                    </a:lnTo>
                    <a:lnTo>
                      <a:pt x="3" y="4"/>
                    </a:lnTo>
                    <a:lnTo>
                      <a:pt x="3" y="4"/>
                    </a:lnTo>
                    <a:lnTo>
                      <a:pt x="3" y="4"/>
                    </a:lnTo>
                    <a:lnTo>
                      <a:pt x="3" y="6"/>
                    </a:lnTo>
                    <a:lnTo>
                      <a:pt x="2" y="4"/>
                    </a:lnTo>
                    <a:lnTo>
                      <a:pt x="2" y="6"/>
                    </a:lnTo>
                    <a:lnTo>
                      <a:pt x="0" y="6"/>
                    </a:lnTo>
                    <a:lnTo>
                      <a:pt x="0" y="7"/>
                    </a:lnTo>
                    <a:lnTo>
                      <a:pt x="0" y="7"/>
                    </a:lnTo>
                    <a:lnTo>
                      <a:pt x="0" y="7"/>
                    </a:lnTo>
                    <a:lnTo>
                      <a:pt x="0" y="9"/>
                    </a:lnTo>
                    <a:lnTo>
                      <a:pt x="0" y="9"/>
                    </a:lnTo>
                    <a:lnTo>
                      <a:pt x="0" y="9"/>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67" name="Freeform 1241"/>
              <p:cNvSpPr>
                <a:spLocks/>
              </p:cNvSpPr>
              <p:nvPr/>
            </p:nvSpPr>
            <p:spPr bwMode="auto">
              <a:xfrm>
                <a:off x="5075264" y="2255423"/>
                <a:ext cx="14045" cy="23325"/>
              </a:xfrm>
              <a:custGeom>
                <a:avLst/>
                <a:gdLst/>
                <a:ahLst/>
                <a:cxnLst>
                  <a:cxn ang="0">
                    <a:pos x="14" y="9"/>
                  </a:cxn>
                  <a:cxn ang="0">
                    <a:pos x="16" y="9"/>
                  </a:cxn>
                  <a:cxn ang="0">
                    <a:pos x="14" y="7"/>
                  </a:cxn>
                  <a:cxn ang="0">
                    <a:pos x="16" y="7"/>
                  </a:cxn>
                  <a:cxn ang="0">
                    <a:pos x="14" y="6"/>
                  </a:cxn>
                  <a:cxn ang="0">
                    <a:pos x="14" y="6"/>
                  </a:cxn>
                  <a:cxn ang="0">
                    <a:pos x="13" y="4"/>
                  </a:cxn>
                  <a:cxn ang="0">
                    <a:pos x="11" y="3"/>
                  </a:cxn>
                  <a:cxn ang="0">
                    <a:pos x="11" y="3"/>
                  </a:cxn>
                  <a:cxn ang="0">
                    <a:pos x="10" y="2"/>
                  </a:cxn>
                  <a:cxn ang="0">
                    <a:pos x="10" y="0"/>
                  </a:cxn>
                  <a:cxn ang="0">
                    <a:pos x="9" y="12"/>
                  </a:cxn>
                  <a:cxn ang="0">
                    <a:pos x="6" y="13"/>
                  </a:cxn>
                  <a:cxn ang="0">
                    <a:pos x="6" y="13"/>
                  </a:cxn>
                  <a:cxn ang="0">
                    <a:pos x="6" y="12"/>
                  </a:cxn>
                  <a:cxn ang="0">
                    <a:pos x="7" y="9"/>
                  </a:cxn>
                  <a:cxn ang="0">
                    <a:pos x="9" y="4"/>
                  </a:cxn>
                  <a:cxn ang="0">
                    <a:pos x="7" y="3"/>
                  </a:cxn>
                  <a:cxn ang="0">
                    <a:pos x="7" y="4"/>
                  </a:cxn>
                  <a:cxn ang="0">
                    <a:pos x="6" y="12"/>
                  </a:cxn>
                  <a:cxn ang="0">
                    <a:pos x="0" y="18"/>
                  </a:cxn>
                  <a:cxn ang="0">
                    <a:pos x="0" y="19"/>
                  </a:cxn>
                  <a:cxn ang="0">
                    <a:pos x="0" y="19"/>
                  </a:cxn>
                  <a:cxn ang="0">
                    <a:pos x="1" y="20"/>
                  </a:cxn>
                  <a:cxn ang="0">
                    <a:pos x="1" y="20"/>
                  </a:cxn>
                  <a:cxn ang="0">
                    <a:pos x="7" y="13"/>
                  </a:cxn>
                  <a:cxn ang="0">
                    <a:pos x="7" y="15"/>
                  </a:cxn>
                  <a:cxn ang="0">
                    <a:pos x="3" y="22"/>
                  </a:cxn>
                  <a:cxn ang="0">
                    <a:pos x="6" y="19"/>
                  </a:cxn>
                  <a:cxn ang="0">
                    <a:pos x="6" y="19"/>
                  </a:cxn>
                  <a:cxn ang="0">
                    <a:pos x="7" y="20"/>
                  </a:cxn>
                  <a:cxn ang="0">
                    <a:pos x="7" y="19"/>
                  </a:cxn>
                  <a:cxn ang="0">
                    <a:pos x="11" y="10"/>
                  </a:cxn>
                  <a:cxn ang="0">
                    <a:pos x="10" y="20"/>
                  </a:cxn>
                  <a:cxn ang="0">
                    <a:pos x="13" y="12"/>
                  </a:cxn>
                  <a:cxn ang="0">
                    <a:pos x="13" y="10"/>
                  </a:cxn>
                  <a:cxn ang="0">
                    <a:pos x="13" y="7"/>
                  </a:cxn>
                  <a:cxn ang="0">
                    <a:pos x="14" y="7"/>
                  </a:cxn>
                  <a:cxn ang="0">
                    <a:pos x="14" y="7"/>
                  </a:cxn>
                  <a:cxn ang="0">
                    <a:pos x="14" y="7"/>
                  </a:cxn>
                  <a:cxn ang="0">
                    <a:pos x="11" y="19"/>
                  </a:cxn>
                  <a:cxn ang="0">
                    <a:pos x="11" y="19"/>
                  </a:cxn>
                </a:cxnLst>
                <a:rect l="0" t="0" r="r" b="b"/>
                <a:pathLst>
                  <a:path w="16" h="22">
                    <a:moveTo>
                      <a:pt x="11" y="18"/>
                    </a:moveTo>
                    <a:lnTo>
                      <a:pt x="14" y="9"/>
                    </a:lnTo>
                    <a:lnTo>
                      <a:pt x="16" y="9"/>
                    </a:lnTo>
                    <a:lnTo>
                      <a:pt x="16" y="9"/>
                    </a:lnTo>
                    <a:lnTo>
                      <a:pt x="14" y="9"/>
                    </a:lnTo>
                    <a:lnTo>
                      <a:pt x="14" y="7"/>
                    </a:lnTo>
                    <a:lnTo>
                      <a:pt x="14" y="7"/>
                    </a:lnTo>
                    <a:lnTo>
                      <a:pt x="16" y="7"/>
                    </a:lnTo>
                    <a:lnTo>
                      <a:pt x="14" y="7"/>
                    </a:lnTo>
                    <a:lnTo>
                      <a:pt x="14" y="6"/>
                    </a:lnTo>
                    <a:lnTo>
                      <a:pt x="14" y="6"/>
                    </a:lnTo>
                    <a:lnTo>
                      <a:pt x="14" y="6"/>
                    </a:lnTo>
                    <a:lnTo>
                      <a:pt x="13" y="6"/>
                    </a:lnTo>
                    <a:lnTo>
                      <a:pt x="13" y="4"/>
                    </a:lnTo>
                    <a:lnTo>
                      <a:pt x="13" y="4"/>
                    </a:lnTo>
                    <a:lnTo>
                      <a:pt x="11" y="3"/>
                    </a:lnTo>
                    <a:lnTo>
                      <a:pt x="11" y="3"/>
                    </a:lnTo>
                    <a:lnTo>
                      <a:pt x="11" y="3"/>
                    </a:lnTo>
                    <a:lnTo>
                      <a:pt x="11" y="3"/>
                    </a:lnTo>
                    <a:lnTo>
                      <a:pt x="10" y="2"/>
                    </a:lnTo>
                    <a:lnTo>
                      <a:pt x="10" y="2"/>
                    </a:lnTo>
                    <a:lnTo>
                      <a:pt x="10" y="0"/>
                    </a:lnTo>
                    <a:lnTo>
                      <a:pt x="10" y="0"/>
                    </a:lnTo>
                    <a:lnTo>
                      <a:pt x="9" y="12"/>
                    </a:lnTo>
                    <a:lnTo>
                      <a:pt x="7" y="12"/>
                    </a:lnTo>
                    <a:lnTo>
                      <a:pt x="6" y="13"/>
                    </a:lnTo>
                    <a:lnTo>
                      <a:pt x="6" y="13"/>
                    </a:lnTo>
                    <a:lnTo>
                      <a:pt x="6" y="13"/>
                    </a:lnTo>
                    <a:lnTo>
                      <a:pt x="6" y="12"/>
                    </a:lnTo>
                    <a:lnTo>
                      <a:pt x="6" y="12"/>
                    </a:lnTo>
                    <a:lnTo>
                      <a:pt x="6" y="12"/>
                    </a:lnTo>
                    <a:lnTo>
                      <a:pt x="7" y="9"/>
                    </a:lnTo>
                    <a:lnTo>
                      <a:pt x="7" y="7"/>
                    </a:lnTo>
                    <a:lnTo>
                      <a:pt x="9" y="4"/>
                    </a:lnTo>
                    <a:lnTo>
                      <a:pt x="7" y="3"/>
                    </a:lnTo>
                    <a:lnTo>
                      <a:pt x="7" y="3"/>
                    </a:lnTo>
                    <a:lnTo>
                      <a:pt x="7" y="3"/>
                    </a:lnTo>
                    <a:lnTo>
                      <a:pt x="7" y="4"/>
                    </a:lnTo>
                    <a:lnTo>
                      <a:pt x="7" y="9"/>
                    </a:lnTo>
                    <a:lnTo>
                      <a:pt x="6" y="12"/>
                    </a:lnTo>
                    <a:lnTo>
                      <a:pt x="4" y="12"/>
                    </a:lnTo>
                    <a:lnTo>
                      <a:pt x="0" y="18"/>
                    </a:lnTo>
                    <a:lnTo>
                      <a:pt x="0" y="19"/>
                    </a:lnTo>
                    <a:lnTo>
                      <a:pt x="0" y="19"/>
                    </a:lnTo>
                    <a:lnTo>
                      <a:pt x="0" y="19"/>
                    </a:lnTo>
                    <a:lnTo>
                      <a:pt x="0" y="19"/>
                    </a:lnTo>
                    <a:lnTo>
                      <a:pt x="1" y="19"/>
                    </a:lnTo>
                    <a:lnTo>
                      <a:pt x="1" y="20"/>
                    </a:lnTo>
                    <a:lnTo>
                      <a:pt x="1" y="20"/>
                    </a:lnTo>
                    <a:lnTo>
                      <a:pt x="1" y="20"/>
                    </a:lnTo>
                    <a:lnTo>
                      <a:pt x="7" y="13"/>
                    </a:lnTo>
                    <a:lnTo>
                      <a:pt x="7" y="13"/>
                    </a:lnTo>
                    <a:lnTo>
                      <a:pt x="7" y="13"/>
                    </a:lnTo>
                    <a:lnTo>
                      <a:pt x="7" y="15"/>
                    </a:lnTo>
                    <a:lnTo>
                      <a:pt x="3" y="22"/>
                    </a:lnTo>
                    <a:lnTo>
                      <a:pt x="3" y="22"/>
                    </a:lnTo>
                    <a:lnTo>
                      <a:pt x="4" y="19"/>
                    </a:lnTo>
                    <a:lnTo>
                      <a:pt x="6" y="19"/>
                    </a:lnTo>
                    <a:lnTo>
                      <a:pt x="6" y="19"/>
                    </a:lnTo>
                    <a:lnTo>
                      <a:pt x="6" y="19"/>
                    </a:lnTo>
                    <a:lnTo>
                      <a:pt x="6" y="20"/>
                    </a:lnTo>
                    <a:lnTo>
                      <a:pt x="7" y="20"/>
                    </a:lnTo>
                    <a:lnTo>
                      <a:pt x="7" y="20"/>
                    </a:lnTo>
                    <a:lnTo>
                      <a:pt x="7" y="19"/>
                    </a:lnTo>
                    <a:lnTo>
                      <a:pt x="11" y="10"/>
                    </a:lnTo>
                    <a:lnTo>
                      <a:pt x="11" y="10"/>
                    </a:lnTo>
                    <a:lnTo>
                      <a:pt x="11" y="13"/>
                    </a:lnTo>
                    <a:lnTo>
                      <a:pt x="10" y="20"/>
                    </a:lnTo>
                    <a:lnTo>
                      <a:pt x="13" y="12"/>
                    </a:lnTo>
                    <a:lnTo>
                      <a:pt x="13" y="12"/>
                    </a:lnTo>
                    <a:lnTo>
                      <a:pt x="13" y="10"/>
                    </a:lnTo>
                    <a:lnTo>
                      <a:pt x="13" y="10"/>
                    </a:lnTo>
                    <a:lnTo>
                      <a:pt x="13" y="10"/>
                    </a:lnTo>
                    <a:lnTo>
                      <a:pt x="13" y="7"/>
                    </a:lnTo>
                    <a:lnTo>
                      <a:pt x="13" y="7"/>
                    </a:lnTo>
                    <a:lnTo>
                      <a:pt x="14" y="7"/>
                    </a:lnTo>
                    <a:lnTo>
                      <a:pt x="14" y="6"/>
                    </a:lnTo>
                    <a:lnTo>
                      <a:pt x="14" y="7"/>
                    </a:lnTo>
                    <a:lnTo>
                      <a:pt x="14" y="7"/>
                    </a:lnTo>
                    <a:lnTo>
                      <a:pt x="14" y="7"/>
                    </a:lnTo>
                    <a:lnTo>
                      <a:pt x="11" y="18"/>
                    </a:lnTo>
                    <a:lnTo>
                      <a:pt x="11" y="19"/>
                    </a:lnTo>
                    <a:lnTo>
                      <a:pt x="11" y="20"/>
                    </a:lnTo>
                    <a:lnTo>
                      <a:pt x="11" y="19"/>
                    </a:lnTo>
                    <a:lnTo>
                      <a:pt x="11" y="18"/>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68" name="Freeform 1242"/>
              <p:cNvSpPr>
                <a:spLocks/>
              </p:cNvSpPr>
              <p:nvPr/>
            </p:nvSpPr>
            <p:spPr bwMode="auto">
              <a:xfrm>
                <a:off x="5075264" y="2255423"/>
                <a:ext cx="14045" cy="23325"/>
              </a:xfrm>
              <a:custGeom>
                <a:avLst/>
                <a:gdLst/>
                <a:ahLst/>
                <a:cxnLst>
                  <a:cxn ang="0">
                    <a:pos x="14" y="9"/>
                  </a:cxn>
                  <a:cxn ang="0">
                    <a:pos x="16" y="9"/>
                  </a:cxn>
                  <a:cxn ang="0">
                    <a:pos x="14" y="7"/>
                  </a:cxn>
                  <a:cxn ang="0">
                    <a:pos x="16" y="7"/>
                  </a:cxn>
                  <a:cxn ang="0">
                    <a:pos x="14" y="6"/>
                  </a:cxn>
                  <a:cxn ang="0">
                    <a:pos x="14" y="6"/>
                  </a:cxn>
                  <a:cxn ang="0">
                    <a:pos x="13" y="4"/>
                  </a:cxn>
                  <a:cxn ang="0">
                    <a:pos x="11" y="3"/>
                  </a:cxn>
                  <a:cxn ang="0">
                    <a:pos x="11" y="3"/>
                  </a:cxn>
                  <a:cxn ang="0">
                    <a:pos x="10" y="2"/>
                  </a:cxn>
                  <a:cxn ang="0">
                    <a:pos x="10" y="0"/>
                  </a:cxn>
                  <a:cxn ang="0">
                    <a:pos x="9" y="12"/>
                  </a:cxn>
                  <a:cxn ang="0">
                    <a:pos x="6" y="13"/>
                  </a:cxn>
                  <a:cxn ang="0">
                    <a:pos x="6" y="13"/>
                  </a:cxn>
                  <a:cxn ang="0">
                    <a:pos x="6" y="12"/>
                  </a:cxn>
                  <a:cxn ang="0">
                    <a:pos x="7" y="9"/>
                  </a:cxn>
                  <a:cxn ang="0">
                    <a:pos x="9" y="4"/>
                  </a:cxn>
                  <a:cxn ang="0">
                    <a:pos x="7" y="3"/>
                  </a:cxn>
                  <a:cxn ang="0">
                    <a:pos x="7" y="4"/>
                  </a:cxn>
                  <a:cxn ang="0">
                    <a:pos x="6" y="12"/>
                  </a:cxn>
                  <a:cxn ang="0">
                    <a:pos x="0" y="18"/>
                  </a:cxn>
                  <a:cxn ang="0">
                    <a:pos x="0" y="19"/>
                  </a:cxn>
                  <a:cxn ang="0">
                    <a:pos x="0" y="19"/>
                  </a:cxn>
                  <a:cxn ang="0">
                    <a:pos x="1" y="20"/>
                  </a:cxn>
                  <a:cxn ang="0">
                    <a:pos x="1" y="20"/>
                  </a:cxn>
                  <a:cxn ang="0">
                    <a:pos x="7" y="13"/>
                  </a:cxn>
                  <a:cxn ang="0">
                    <a:pos x="7" y="15"/>
                  </a:cxn>
                  <a:cxn ang="0">
                    <a:pos x="3" y="22"/>
                  </a:cxn>
                  <a:cxn ang="0">
                    <a:pos x="6" y="19"/>
                  </a:cxn>
                  <a:cxn ang="0">
                    <a:pos x="6" y="19"/>
                  </a:cxn>
                  <a:cxn ang="0">
                    <a:pos x="7" y="20"/>
                  </a:cxn>
                  <a:cxn ang="0">
                    <a:pos x="7" y="19"/>
                  </a:cxn>
                  <a:cxn ang="0">
                    <a:pos x="11" y="10"/>
                  </a:cxn>
                  <a:cxn ang="0">
                    <a:pos x="10" y="20"/>
                  </a:cxn>
                  <a:cxn ang="0">
                    <a:pos x="13" y="12"/>
                  </a:cxn>
                  <a:cxn ang="0">
                    <a:pos x="13" y="10"/>
                  </a:cxn>
                  <a:cxn ang="0">
                    <a:pos x="13" y="7"/>
                  </a:cxn>
                  <a:cxn ang="0">
                    <a:pos x="14" y="7"/>
                  </a:cxn>
                  <a:cxn ang="0">
                    <a:pos x="14" y="7"/>
                  </a:cxn>
                  <a:cxn ang="0">
                    <a:pos x="14" y="7"/>
                  </a:cxn>
                  <a:cxn ang="0">
                    <a:pos x="11" y="19"/>
                  </a:cxn>
                  <a:cxn ang="0">
                    <a:pos x="11" y="19"/>
                  </a:cxn>
                </a:cxnLst>
                <a:rect l="0" t="0" r="r" b="b"/>
                <a:pathLst>
                  <a:path w="16" h="22">
                    <a:moveTo>
                      <a:pt x="11" y="18"/>
                    </a:moveTo>
                    <a:lnTo>
                      <a:pt x="14" y="9"/>
                    </a:lnTo>
                    <a:lnTo>
                      <a:pt x="16" y="9"/>
                    </a:lnTo>
                    <a:lnTo>
                      <a:pt x="16" y="9"/>
                    </a:lnTo>
                    <a:lnTo>
                      <a:pt x="14" y="9"/>
                    </a:lnTo>
                    <a:lnTo>
                      <a:pt x="14" y="7"/>
                    </a:lnTo>
                    <a:lnTo>
                      <a:pt x="14" y="7"/>
                    </a:lnTo>
                    <a:lnTo>
                      <a:pt x="16" y="7"/>
                    </a:lnTo>
                    <a:lnTo>
                      <a:pt x="14" y="7"/>
                    </a:lnTo>
                    <a:lnTo>
                      <a:pt x="14" y="6"/>
                    </a:lnTo>
                    <a:lnTo>
                      <a:pt x="14" y="6"/>
                    </a:lnTo>
                    <a:lnTo>
                      <a:pt x="14" y="6"/>
                    </a:lnTo>
                    <a:lnTo>
                      <a:pt x="13" y="6"/>
                    </a:lnTo>
                    <a:lnTo>
                      <a:pt x="13" y="4"/>
                    </a:lnTo>
                    <a:lnTo>
                      <a:pt x="13" y="4"/>
                    </a:lnTo>
                    <a:lnTo>
                      <a:pt x="11" y="3"/>
                    </a:lnTo>
                    <a:lnTo>
                      <a:pt x="11" y="3"/>
                    </a:lnTo>
                    <a:lnTo>
                      <a:pt x="11" y="3"/>
                    </a:lnTo>
                    <a:lnTo>
                      <a:pt x="11" y="3"/>
                    </a:lnTo>
                    <a:lnTo>
                      <a:pt x="10" y="2"/>
                    </a:lnTo>
                    <a:lnTo>
                      <a:pt x="10" y="2"/>
                    </a:lnTo>
                    <a:lnTo>
                      <a:pt x="10" y="0"/>
                    </a:lnTo>
                    <a:lnTo>
                      <a:pt x="10" y="0"/>
                    </a:lnTo>
                    <a:lnTo>
                      <a:pt x="9" y="12"/>
                    </a:lnTo>
                    <a:lnTo>
                      <a:pt x="7" y="12"/>
                    </a:lnTo>
                    <a:lnTo>
                      <a:pt x="6" y="13"/>
                    </a:lnTo>
                    <a:lnTo>
                      <a:pt x="6" y="13"/>
                    </a:lnTo>
                    <a:lnTo>
                      <a:pt x="6" y="13"/>
                    </a:lnTo>
                    <a:lnTo>
                      <a:pt x="6" y="12"/>
                    </a:lnTo>
                    <a:lnTo>
                      <a:pt x="6" y="12"/>
                    </a:lnTo>
                    <a:lnTo>
                      <a:pt x="6" y="12"/>
                    </a:lnTo>
                    <a:lnTo>
                      <a:pt x="7" y="9"/>
                    </a:lnTo>
                    <a:lnTo>
                      <a:pt x="7" y="7"/>
                    </a:lnTo>
                    <a:lnTo>
                      <a:pt x="9" y="4"/>
                    </a:lnTo>
                    <a:lnTo>
                      <a:pt x="7" y="3"/>
                    </a:lnTo>
                    <a:lnTo>
                      <a:pt x="7" y="3"/>
                    </a:lnTo>
                    <a:lnTo>
                      <a:pt x="7" y="3"/>
                    </a:lnTo>
                    <a:lnTo>
                      <a:pt x="7" y="4"/>
                    </a:lnTo>
                    <a:lnTo>
                      <a:pt x="7" y="9"/>
                    </a:lnTo>
                    <a:lnTo>
                      <a:pt x="6" y="12"/>
                    </a:lnTo>
                    <a:lnTo>
                      <a:pt x="4" y="12"/>
                    </a:lnTo>
                    <a:lnTo>
                      <a:pt x="0" y="18"/>
                    </a:lnTo>
                    <a:lnTo>
                      <a:pt x="0" y="19"/>
                    </a:lnTo>
                    <a:lnTo>
                      <a:pt x="0" y="19"/>
                    </a:lnTo>
                    <a:lnTo>
                      <a:pt x="0" y="19"/>
                    </a:lnTo>
                    <a:lnTo>
                      <a:pt x="0" y="19"/>
                    </a:lnTo>
                    <a:lnTo>
                      <a:pt x="1" y="19"/>
                    </a:lnTo>
                    <a:lnTo>
                      <a:pt x="1" y="20"/>
                    </a:lnTo>
                    <a:lnTo>
                      <a:pt x="1" y="20"/>
                    </a:lnTo>
                    <a:lnTo>
                      <a:pt x="1" y="20"/>
                    </a:lnTo>
                    <a:lnTo>
                      <a:pt x="7" y="13"/>
                    </a:lnTo>
                    <a:lnTo>
                      <a:pt x="7" y="13"/>
                    </a:lnTo>
                    <a:lnTo>
                      <a:pt x="7" y="13"/>
                    </a:lnTo>
                    <a:lnTo>
                      <a:pt x="7" y="15"/>
                    </a:lnTo>
                    <a:lnTo>
                      <a:pt x="3" y="22"/>
                    </a:lnTo>
                    <a:lnTo>
                      <a:pt x="3" y="22"/>
                    </a:lnTo>
                    <a:lnTo>
                      <a:pt x="4" y="19"/>
                    </a:lnTo>
                    <a:lnTo>
                      <a:pt x="6" y="19"/>
                    </a:lnTo>
                    <a:lnTo>
                      <a:pt x="6" y="19"/>
                    </a:lnTo>
                    <a:lnTo>
                      <a:pt x="6" y="19"/>
                    </a:lnTo>
                    <a:lnTo>
                      <a:pt x="6" y="20"/>
                    </a:lnTo>
                    <a:lnTo>
                      <a:pt x="7" y="20"/>
                    </a:lnTo>
                    <a:lnTo>
                      <a:pt x="7" y="20"/>
                    </a:lnTo>
                    <a:lnTo>
                      <a:pt x="7" y="19"/>
                    </a:lnTo>
                    <a:lnTo>
                      <a:pt x="11" y="10"/>
                    </a:lnTo>
                    <a:lnTo>
                      <a:pt x="11" y="10"/>
                    </a:lnTo>
                    <a:lnTo>
                      <a:pt x="11" y="13"/>
                    </a:lnTo>
                    <a:lnTo>
                      <a:pt x="10" y="20"/>
                    </a:lnTo>
                    <a:lnTo>
                      <a:pt x="13" y="12"/>
                    </a:lnTo>
                    <a:lnTo>
                      <a:pt x="13" y="12"/>
                    </a:lnTo>
                    <a:lnTo>
                      <a:pt x="13" y="10"/>
                    </a:lnTo>
                    <a:lnTo>
                      <a:pt x="13" y="10"/>
                    </a:lnTo>
                    <a:lnTo>
                      <a:pt x="13" y="10"/>
                    </a:lnTo>
                    <a:lnTo>
                      <a:pt x="13" y="7"/>
                    </a:lnTo>
                    <a:lnTo>
                      <a:pt x="13" y="7"/>
                    </a:lnTo>
                    <a:lnTo>
                      <a:pt x="14" y="7"/>
                    </a:lnTo>
                    <a:lnTo>
                      <a:pt x="14" y="6"/>
                    </a:lnTo>
                    <a:lnTo>
                      <a:pt x="14" y="7"/>
                    </a:lnTo>
                    <a:lnTo>
                      <a:pt x="14" y="7"/>
                    </a:lnTo>
                    <a:lnTo>
                      <a:pt x="14" y="7"/>
                    </a:lnTo>
                    <a:lnTo>
                      <a:pt x="11" y="18"/>
                    </a:lnTo>
                    <a:lnTo>
                      <a:pt x="11" y="19"/>
                    </a:lnTo>
                    <a:lnTo>
                      <a:pt x="11" y="20"/>
                    </a:lnTo>
                    <a:lnTo>
                      <a:pt x="11" y="19"/>
                    </a:lnTo>
                    <a:lnTo>
                      <a:pt x="11" y="18"/>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69" name="Freeform 1243"/>
              <p:cNvSpPr>
                <a:spLocks/>
              </p:cNvSpPr>
              <p:nvPr/>
            </p:nvSpPr>
            <p:spPr bwMode="auto">
              <a:xfrm>
                <a:off x="5089310" y="2259479"/>
                <a:ext cx="2633" cy="9128"/>
              </a:xfrm>
              <a:custGeom>
                <a:avLst/>
                <a:gdLst/>
                <a:ahLst/>
                <a:cxnLst>
                  <a:cxn ang="0">
                    <a:pos x="0" y="9"/>
                  </a:cxn>
                  <a:cxn ang="0">
                    <a:pos x="1" y="9"/>
                  </a:cxn>
                  <a:cxn ang="0">
                    <a:pos x="1" y="8"/>
                  </a:cxn>
                  <a:cxn ang="0">
                    <a:pos x="1" y="8"/>
                  </a:cxn>
                  <a:cxn ang="0">
                    <a:pos x="1" y="9"/>
                  </a:cxn>
                  <a:cxn ang="0">
                    <a:pos x="3" y="8"/>
                  </a:cxn>
                  <a:cxn ang="0">
                    <a:pos x="3" y="8"/>
                  </a:cxn>
                  <a:cxn ang="0">
                    <a:pos x="3" y="8"/>
                  </a:cxn>
                  <a:cxn ang="0">
                    <a:pos x="3" y="8"/>
                  </a:cxn>
                  <a:cxn ang="0">
                    <a:pos x="3" y="6"/>
                  </a:cxn>
                  <a:cxn ang="0">
                    <a:pos x="3" y="6"/>
                  </a:cxn>
                  <a:cxn ang="0">
                    <a:pos x="3" y="6"/>
                  </a:cxn>
                  <a:cxn ang="0">
                    <a:pos x="3" y="5"/>
                  </a:cxn>
                  <a:cxn ang="0">
                    <a:pos x="3" y="2"/>
                  </a:cxn>
                  <a:cxn ang="0">
                    <a:pos x="3" y="0"/>
                  </a:cxn>
                  <a:cxn ang="0">
                    <a:pos x="1" y="2"/>
                  </a:cxn>
                  <a:cxn ang="0">
                    <a:pos x="1" y="2"/>
                  </a:cxn>
                  <a:cxn ang="0">
                    <a:pos x="1" y="3"/>
                  </a:cxn>
                  <a:cxn ang="0">
                    <a:pos x="1" y="3"/>
                  </a:cxn>
                  <a:cxn ang="0">
                    <a:pos x="0" y="3"/>
                  </a:cxn>
                  <a:cxn ang="0">
                    <a:pos x="1" y="3"/>
                  </a:cxn>
                  <a:cxn ang="0">
                    <a:pos x="1" y="5"/>
                  </a:cxn>
                  <a:cxn ang="0">
                    <a:pos x="1" y="5"/>
                  </a:cxn>
                  <a:cxn ang="0">
                    <a:pos x="0" y="5"/>
                  </a:cxn>
                  <a:cxn ang="0">
                    <a:pos x="1" y="6"/>
                  </a:cxn>
                  <a:cxn ang="0">
                    <a:pos x="0" y="6"/>
                  </a:cxn>
                  <a:cxn ang="0">
                    <a:pos x="0" y="8"/>
                  </a:cxn>
                  <a:cxn ang="0">
                    <a:pos x="0" y="9"/>
                  </a:cxn>
                  <a:cxn ang="0">
                    <a:pos x="0" y="9"/>
                  </a:cxn>
                  <a:cxn ang="0">
                    <a:pos x="0" y="9"/>
                  </a:cxn>
                </a:cxnLst>
                <a:rect l="0" t="0" r="r" b="b"/>
                <a:pathLst>
                  <a:path w="3" h="9">
                    <a:moveTo>
                      <a:pt x="0" y="9"/>
                    </a:moveTo>
                    <a:lnTo>
                      <a:pt x="1" y="9"/>
                    </a:lnTo>
                    <a:lnTo>
                      <a:pt x="1" y="8"/>
                    </a:lnTo>
                    <a:lnTo>
                      <a:pt x="1" y="8"/>
                    </a:lnTo>
                    <a:lnTo>
                      <a:pt x="1" y="9"/>
                    </a:lnTo>
                    <a:lnTo>
                      <a:pt x="3" y="8"/>
                    </a:lnTo>
                    <a:lnTo>
                      <a:pt x="3" y="8"/>
                    </a:lnTo>
                    <a:lnTo>
                      <a:pt x="3" y="8"/>
                    </a:lnTo>
                    <a:lnTo>
                      <a:pt x="3" y="8"/>
                    </a:lnTo>
                    <a:lnTo>
                      <a:pt x="3" y="6"/>
                    </a:lnTo>
                    <a:lnTo>
                      <a:pt x="3" y="6"/>
                    </a:lnTo>
                    <a:lnTo>
                      <a:pt x="3" y="6"/>
                    </a:lnTo>
                    <a:lnTo>
                      <a:pt x="3" y="5"/>
                    </a:lnTo>
                    <a:lnTo>
                      <a:pt x="3" y="2"/>
                    </a:lnTo>
                    <a:lnTo>
                      <a:pt x="3" y="0"/>
                    </a:lnTo>
                    <a:lnTo>
                      <a:pt x="1" y="2"/>
                    </a:lnTo>
                    <a:lnTo>
                      <a:pt x="1" y="2"/>
                    </a:lnTo>
                    <a:lnTo>
                      <a:pt x="1" y="3"/>
                    </a:lnTo>
                    <a:lnTo>
                      <a:pt x="1" y="3"/>
                    </a:lnTo>
                    <a:lnTo>
                      <a:pt x="0" y="3"/>
                    </a:lnTo>
                    <a:lnTo>
                      <a:pt x="1" y="3"/>
                    </a:lnTo>
                    <a:lnTo>
                      <a:pt x="1" y="5"/>
                    </a:lnTo>
                    <a:lnTo>
                      <a:pt x="1" y="5"/>
                    </a:lnTo>
                    <a:lnTo>
                      <a:pt x="0" y="5"/>
                    </a:lnTo>
                    <a:lnTo>
                      <a:pt x="1" y="6"/>
                    </a:lnTo>
                    <a:lnTo>
                      <a:pt x="0" y="6"/>
                    </a:lnTo>
                    <a:lnTo>
                      <a:pt x="0" y="8"/>
                    </a:lnTo>
                    <a:lnTo>
                      <a:pt x="0" y="9"/>
                    </a:lnTo>
                    <a:lnTo>
                      <a:pt x="0" y="9"/>
                    </a:lnTo>
                    <a:lnTo>
                      <a:pt x="0" y="9"/>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70" name="Freeform 1244"/>
              <p:cNvSpPr>
                <a:spLocks/>
              </p:cNvSpPr>
              <p:nvPr/>
            </p:nvSpPr>
            <p:spPr bwMode="auto">
              <a:xfrm>
                <a:off x="5089310" y="2259479"/>
                <a:ext cx="2633" cy="9128"/>
              </a:xfrm>
              <a:custGeom>
                <a:avLst/>
                <a:gdLst/>
                <a:ahLst/>
                <a:cxnLst>
                  <a:cxn ang="0">
                    <a:pos x="0" y="9"/>
                  </a:cxn>
                  <a:cxn ang="0">
                    <a:pos x="1" y="9"/>
                  </a:cxn>
                  <a:cxn ang="0">
                    <a:pos x="1" y="8"/>
                  </a:cxn>
                  <a:cxn ang="0">
                    <a:pos x="1" y="8"/>
                  </a:cxn>
                  <a:cxn ang="0">
                    <a:pos x="1" y="9"/>
                  </a:cxn>
                  <a:cxn ang="0">
                    <a:pos x="3" y="8"/>
                  </a:cxn>
                  <a:cxn ang="0">
                    <a:pos x="3" y="8"/>
                  </a:cxn>
                  <a:cxn ang="0">
                    <a:pos x="3" y="8"/>
                  </a:cxn>
                  <a:cxn ang="0">
                    <a:pos x="3" y="8"/>
                  </a:cxn>
                  <a:cxn ang="0">
                    <a:pos x="3" y="6"/>
                  </a:cxn>
                  <a:cxn ang="0">
                    <a:pos x="3" y="6"/>
                  </a:cxn>
                  <a:cxn ang="0">
                    <a:pos x="3" y="6"/>
                  </a:cxn>
                  <a:cxn ang="0">
                    <a:pos x="3" y="5"/>
                  </a:cxn>
                  <a:cxn ang="0">
                    <a:pos x="3" y="2"/>
                  </a:cxn>
                  <a:cxn ang="0">
                    <a:pos x="3" y="0"/>
                  </a:cxn>
                  <a:cxn ang="0">
                    <a:pos x="1" y="2"/>
                  </a:cxn>
                  <a:cxn ang="0">
                    <a:pos x="1" y="2"/>
                  </a:cxn>
                  <a:cxn ang="0">
                    <a:pos x="1" y="3"/>
                  </a:cxn>
                  <a:cxn ang="0">
                    <a:pos x="1" y="3"/>
                  </a:cxn>
                  <a:cxn ang="0">
                    <a:pos x="0" y="3"/>
                  </a:cxn>
                  <a:cxn ang="0">
                    <a:pos x="1" y="3"/>
                  </a:cxn>
                  <a:cxn ang="0">
                    <a:pos x="1" y="5"/>
                  </a:cxn>
                  <a:cxn ang="0">
                    <a:pos x="1" y="5"/>
                  </a:cxn>
                  <a:cxn ang="0">
                    <a:pos x="0" y="5"/>
                  </a:cxn>
                  <a:cxn ang="0">
                    <a:pos x="1" y="6"/>
                  </a:cxn>
                  <a:cxn ang="0">
                    <a:pos x="0" y="6"/>
                  </a:cxn>
                  <a:cxn ang="0">
                    <a:pos x="0" y="8"/>
                  </a:cxn>
                  <a:cxn ang="0">
                    <a:pos x="0" y="9"/>
                  </a:cxn>
                  <a:cxn ang="0">
                    <a:pos x="0" y="9"/>
                  </a:cxn>
                  <a:cxn ang="0">
                    <a:pos x="0" y="9"/>
                  </a:cxn>
                </a:cxnLst>
                <a:rect l="0" t="0" r="r" b="b"/>
                <a:pathLst>
                  <a:path w="3" h="9">
                    <a:moveTo>
                      <a:pt x="0" y="9"/>
                    </a:moveTo>
                    <a:lnTo>
                      <a:pt x="1" y="9"/>
                    </a:lnTo>
                    <a:lnTo>
                      <a:pt x="1" y="8"/>
                    </a:lnTo>
                    <a:lnTo>
                      <a:pt x="1" y="8"/>
                    </a:lnTo>
                    <a:lnTo>
                      <a:pt x="1" y="9"/>
                    </a:lnTo>
                    <a:lnTo>
                      <a:pt x="3" y="8"/>
                    </a:lnTo>
                    <a:lnTo>
                      <a:pt x="3" y="8"/>
                    </a:lnTo>
                    <a:lnTo>
                      <a:pt x="3" y="8"/>
                    </a:lnTo>
                    <a:lnTo>
                      <a:pt x="3" y="8"/>
                    </a:lnTo>
                    <a:lnTo>
                      <a:pt x="3" y="6"/>
                    </a:lnTo>
                    <a:lnTo>
                      <a:pt x="3" y="6"/>
                    </a:lnTo>
                    <a:lnTo>
                      <a:pt x="3" y="6"/>
                    </a:lnTo>
                    <a:lnTo>
                      <a:pt x="3" y="5"/>
                    </a:lnTo>
                    <a:lnTo>
                      <a:pt x="3" y="2"/>
                    </a:lnTo>
                    <a:lnTo>
                      <a:pt x="3" y="0"/>
                    </a:lnTo>
                    <a:lnTo>
                      <a:pt x="1" y="2"/>
                    </a:lnTo>
                    <a:lnTo>
                      <a:pt x="1" y="2"/>
                    </a:lnTo>
                    <a:lnTo>
                      <a:pt x="1" y="3"/>
                    </a:lnTo>
                    <a:lnTo>
                      <a:pt x="1" y="3"/>
                    </a:lnTo>
                    <a:lnTo>
                      <a:pt x="0" y="3"/>
                    </a:lnTo>
                    <a:lnTo>
                      <a:pt x="1" y="3"/>
                    </a:lnTo>
                    <a:lnTo>
                      <a:pt x="1" y="5"/>
                    </a:lnTo>
                    <a:lnTo>
                      <a:pt x="1" y="5"/>
                    </a:lnTo>
                    <a:lnTo>
                      <a:pt x="0" y="5"/>
                    </a:lnTo>
                    <a:lnTo>
                      <a:pt x="1" y="6"/>
                    </a:lnTo>
                    <a:lnTo>
                      <a:pt x="0" y="6"/>
                    </a:lnTo>
                    <a:lnTo>
                      <a:pt x="0" y="8"/>
                    </a:lnTo>
                    <a:lnTo>
                      <a:pt x="0" y="9"/>
                    </a:lnTo>
                    <a:lnTo>
                      <a:pt x="0" y="9"/>
                    </a:lnTo>
                    <a:lnTo>
                      <a:pt x="0" y="9"/>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71" name="Freeform 1245"/>
              <p:cNvSpPr>
                <a:spLocks/>
              </p:cNvSpPr>
              <p:nvPr/>
            </p:nvSpPr>
            <p:spPr bwMode="auto">
              <a:xfrm>
                <a:off x="4869859" y="1603335"/>
                <a:ext cx="71980" cy="113583"/>
              </a:xfrm>
              <a:custGeom>
                <a:avLst/>
                <a:gdLst/>
                <a:ahLst/>
                <a:cxnLst>
                  <a:cxn ang="0">
                    <a:pos x="32" y="0"/>
                  </a:cxn>
                  <a:cxn ang="0">
                    <a:pos x="28" y="1"/>
                  </a:cxn>
                  <a:cxn ang="0">
                    <a:pos x="26" y="4"/>
                  </a:cxn>
                  <a:cxn ang="0">
                    <a:pos x="23" y="1"/>
                  </a:cxn>
                  <a:cxn ang="0">
                    <a:pos x="16" y="4"/>
                  </a:cxn>
                  <a:cxn ang="0">
                    <a:pos x="9" y="9"/>
                  </a:cxn>
                  <a:cxn ang="0">
                    <a:pos x="6" y="14"/>
                  </a:cxn>
                  <a:cxn ang="0">
                    <a:pos x="9" y="17"/>
                  </a:cxn>
                  <a:cxn ang="0">
                    <a:pos x="10" y="17"/>
                  </a:cxn>
                  <a:cxn ang="0">
                    <a:pos x="9" y="19"/>
                  </a:cxn>
                  <a:cxn ang="0">
                    <a:pos x="13" y="26"/>
                  </a:cxn>
                  <a:cxn ang="0">
                    <a:pos x="16" y="27"/>
                  </a:cxn>
                  <a:cxn ang="0">
                    <a:pos x="13" y="27"/>
                  </a:cxn>
                  <a:cxn ang="0">
                    <a:pos x="6" y="22"/>
                  </a:cxn>
                  <a:cxn ang="0">
                    <a:pos x="3" y="22"/>
                  </a:cxn>
                  <a:cxn ang="0">
                    <a:pos x="0" y="25"/>
                  </a:cxn>
                  <a:cxn ang="0">
                    <a:pos x="2" y="27"/>
                  </a:cxn>
                  <a:cxn ang="0">
                    <a:pos x="3" y="30"/>
                  </a:cxn>
                  <a:cxn ang="0">
                    <a:pos x="2" y="33"/>
                  </a:cxn>
                  <a:cxn ang="0">
                    <a:pos x="2" y="43"/>
                  </a:cxn>
                  <a:cxn ang="0">
                    <a:pos x="3" y="54"/>
                  </a:cxn>
                  <a:cxn ang="0">
                    <a:pos x="0" y="55"/>
                  </a:cxn>
                  <a:cxn ang="0">
                    <a:pos x="2" y="64"/>
                  </a:cxn>
                  <a:cxn ang="0">
                    <a:pos x="2" y="70"/>
                  </a:cxn>
                  <a:cxn ang="0">
                    <a:pos x="2" y="74"/>
                  </a:cxn>
                  <a:cxn ang="0">
                    <a:pos x="6" y="78"/>
                  </a:cxn>
                  <a:cxn ang="0">
                    <a:pos x="9" y="86"/>
                  </a:cxn>
                  <a:cxn ang="0">
                    <a:pos x="8" y="99"/>
                  </a:cxn>
                  <a:cxn ang="0">
                    <a:pos x="10" y="99"/>
                  </a:cxn>
                  <a:cxn ang="0">
                    <a:pos x="9" y="103"/>
                  </a:cxn>
                  <a:cxn ang="0">
                    <a:pos x="9" y="107"/>
                  </a:cxn>
                  <a:cxn ang="0">
                    <a:pos x="16" y="106"/>
                  </a:cxn>
                  <a:cxn ang="0">
                    <a:pos x="23" y="107"/>
                  </a:cxn>
                  <a:cxn ang="0">
                    <a:pos x="23" y="103"/>
                  </a:cxn>
                  <a:cxn ang="0">
                    <a:pos x="22" y="106"/>
                  </a:cxn>
                  <a:cxn ang="0">
                    <a:pos x="23" y="103"/>
                  </a:cxn>
                  <a:cxn ang="0">
                    <a:pos x="28" y="93"/>
                  </a:cxn>
                  <a:cxn ang="0">
                    <a:pos x="29" y="91"/>
                  </a:cxn>
                  <a:cxn ang="0">
                    <a:pos x="29" y="78"/>
                  </a:cxn>
                  <a:cxn ang="0">
                    <a:pos x="26" y="72"/>
                  </a:cxn>
                  <a:cxn ang="0">
                    <a:pos x="22" y="72"/>
                  </a:cxn>
                  <a:cxn ang="0">
                    <a:pos x="21" y="72"/>
                  </a:cxn>
                  <a:cxn ang="0">
                    <a:pos x="21" y="70"/>
                  </a:cxn>
                  <a:cxn ang="0">
                    <a:pos x="32" y="70"/>
                  </a:cxn>
                  <a:cxn ang="0">
                    <a:pos x="35" y="68"/>
                  </a:cxn>
                  <a:cxn ang="0">
                    <a:pos x="38" y="71"/>
                  </a:cxn>
                  <a:cxn ang="0">
                    <a:pos x="44" y="72"/>
                  </a:cxn>
                  <a:cxn ang="0">
                    <a:pos x="50" y="74"/>
                  </a:cxn>
                  <a:cxn ang="0">
                    <a:pos x="55" y="67"/>
                  </a:cxn>
                  <a:cxn ang="0">
                    <a:pos x="57" y="62"/>
                  </a:cxn>
                  <a:cxn ang="0">
                    <a:pos x="61" y="51"/>
                  </a:cxn>
                  <a:cxn ang="0">
                    <a:pos x="58" y="48"/>
                  </a:cxn>
                  <a:cxn ang="0">
                    <a:pos x="63" y="46"/>
                  </a:cxn>
                  <a:cxn ang="0">
                    <a:pos x="67" y="32"/>
                  </a:cxn>
                  <a:cxn ang="0">
                    <a:pos x="76" y="19"/>
                  </a:cxn>
                  <a:cxn ang="0">
                    <a:pos x="77" y="17"/>
                  </a:cxn>
                  <a:cxn ang="0">
                    <a:pos x="77" y="13"/>
                  </a:cxn>
                  <a:cxn ang="0">
                    <a:pos x="64" y="9"/>
                  </a:cxn>
                  <a:cxn ang="0">
                    <a:pos x="54" y="9"/>
                  </a:cxn>
                  <a:cxn ang="0">
                    <a:pos x="51" y="11"/>
                  </a:cxn>
                  <a:cxn ang="0">
                    <a:pos x="48" y="7"/>
                  </a:cxn>
                  <a:cxn ang="0">
                    <a:pos x="42" y="6"/>
                  </a:cxn>
                  <a:cxn ang="0">
                    <a:pos x="35" y="1"/>
                  </a:cxn>
                </a:cxnLst>
                <a:rect l="0" t="0" r="r" b="b"/>
                <a:pathLst>
                  <a:path w="79" h="109">
                    <a:moveTo>
                      <a:pt x="35" y="1"/>
                    </a:moveTo>
                    <a:lnTo>
                      <a:pt x="35" y="0"/>
                    </a:lnTo>
                    <a:lnTo>
                      <a:pt x="32" y="0"/>
                    </a:lnTo>
                    <a:lnTo>
                      <a:pt x="31" y="0"/>
                    </a:lnTo>
                    <a:lnTo>
                      <a:pt x="29" y="1"/>
                    </a:lnTo>
                    <a:lnTo>
                      <a:pt x="28" y="1"/>
                    </a:lnTo>
                    <a:lnTo>
                      <a:pt x="28" y="4"/>
                    </a:lnTo>
                    <a:lnTo>
                      <a:pt x="28" y="6"/>
                    </a:lnTo>
                    <a:lnTo>
                      <a:pt x="26" y="4"/>
                    </a:lnTo>
                    <a:lnTo>
                      <a:pt x="26" y="3"/>
                    </a:lnTo>
                    <a:lnTo>
                      <a:pt x="26" y="3"/>
                    </a:lnTo>
                    <a:lnTo>
                      <a:pt x="23" y="1"/>
                    </a:lnTo>
                    <a:lnTo>
                      <a:pt x="18" y="4"/>
                    </a:lnTo>
                    <a:lnTo>
                      <a:pt x="16" y="4"/>
                    </a:lnTo>
                    <a:lnTo>
                      <a:pt x="16" y="4"/>
                    </a:lnTo>
                    <a:lnTo>
                      <a:pt x="15" y="4"/>
                    </a:lnTo>
                    <a:lnTo>
                      <a:pt x="13" y="6"/>
                    </a:lnTo>
                    <a:lnTo>
                      <a:pt x="9" y="9"/>
                    </a:lnTo>
                    <a:lnTo>
                      <a:pt x="8" y="9"/>
                    </a:lnTo>
                    <a:lnTo>
                      <a:pt x="6" y="11"/>
                    </a:lnTo>
                    <a:lnTo>
                      <a:pt x="6" y="14"/>
                    </a:lnTo>
                    <a:lnTo>
                      <a:pt x="6" y="16"/>
                    </a:lnTo>
                    <a:lnTo>
                      <a:pt x="9" y="19"/>
                    </a:lnTo>
                    <a:lnTo>
                      <a:pt x="9" y="17"/>
                    </a:lnTo>
                    <a:lnTo>
                      <a:pt x="9" y="17"/>
                    </a:lnTo>
                    <a:lnTo>
                      <a:pt x="10" y="17"/>
                    </a:lnTo>
                    <a:lnTo>
                      <a:pt x="10" y="17"/>
                    </a:lnTo>
                    <a:lnTo>
                      <a:pt x="10" y="17"/>
                    </a:lnTo>
                    <a:lnTo>
                      <a:pt x="9" y="19"/>
                    </a:lnTo>
                    <a:lnTo>
                      <a:pt x="9" y="19"/>
                    </a:lnTo>
                    <a:lnTo>
                      <a:pt x="10" y="23"/>
                    </a:lnTo>
                    <a:lnTo>
                      <a:pt x="12" y="25"/>
                    </a:lnTo>
                    <a:lnTo>
                      <a:pt x="13" y="26"/>
                    </a:lnTo>
                    <a:lnTo>
                      <a:pt x="13" y="25"/>
                    </a:lnTo>
                    <a:lnTo>
                      <a:pt x="16" y="26"/>
                    </a:lnTo>
                    <a:lnTo>
                      <a:pt x="16" y="27"/>
                    </a:lnTo>
                    <a:lnTo>
                      <a:pt x="15" y="27"/>
                    </a:lnTo>
                    <a:lnTo>
                      <a:pt x="13" y="27"/>
                    </a:lnTo>
                    <a:lnTo>
                      <a:pt x="13" y="27"/>
                    </a:lnTo>
                    <a:lnTo>
                      <a:pt x="9" y="25"/>
                    </a:lnTo>
                    <a:lnTo>
                      <a:pt x="6" y="22"/>
                    </a:lnTo>
                    <a:lnTo>
                      <a:pt x="6" y="22"/>
                    </a:lnTo>
                    <a:lnTo>
                      <a:pt x="5" y="22"/>
                    </a:lnTo>
                    <a:lnTo>
                      <a:pt x="5" y="20"/>
                    </a:lnTo>
                    <a:lnTo>
                      <a:pt x="3" y="22"/>
                    </a:lnTo>
                    <a:lnTo>
                      <a:pt x="3" y="23"/>
                    </a:lnTo>
                    <a:lnTo>
                      <a:pt x="2" y="23"/>
                    </a:lnTo>
                    <a:lnTo>
                      <a:pt x="0" y="25"/>
                    </a:lnTo>
                    <a:lnTo>
                      <a:pt x="0" y="26"/>
                    </a:lnTo>
                    <a:lnTo>
                      <a:pt x="0" y="27"/>
                    </a:lnTo>
                    <a:lnTo>
                      <a:pt x="2" y="27"/>
                    </a:lnTo>
                    <a:lnTo>
                      <a:pt x="2" y="29"/>
                    </a:lnTo>
                    <a:lnTo>
                      <a:pt x="2" y="30"/>
                    </a:lnTo>
                    <a:lnTo>
                      <a:pt x="3" y="30"/>
                    </a:lnTo>
                    <a:lnTo>
                      <a:pt x="2" y="30"/>
                    </a:lnTo>
                    <a:lnTo>
                      <a:pt x="0" y="32"/>
                    </a:lnTo>
                    <a:lnTo>
                      <a:pt x="2" y="33"/>
                    </a:lnTo>
                    <a:lnTo>
                      <a:pt x="0" y="38"/>
                    </a:lnTo>
                    <a:lnTo>
                      <a:pt x="2" y="42"/>
                    </a:lnTo>
                    <a:lnTo>
                      <a:pt x="2" y="43"/>
                    </a:lnTo>
                    <a:lnTo>
                      <a:pt x="2" y="45"/>
                    </a:lnTo>
                    <a:lnTo>
                      <a:pt x="2" y="52"/>
                    </a:lnTo>
                    <a:lnTo>
                      <a:pt x="3" y="54"/>
                    </a:lnTo>
                    <a:lnTo>
                      <a:pt x="2" y="54"/>
                    </a:lnTo>
                    <a:lnTo>
                      <a:pt x="2" y="54"/>
                    </a:lnTo>
                    <a:lnTo>
                      <a:pt x="0" y="55"/>
                    </a:lnTo>
                    <a:lnTo>
                      <a:pt x="2" y="56"/>
                    </a:lnTo>
                    <a:lnTo>
                      <a:pt x="0" y="59"/>
                    </a:lnTo>
                    <a:lnTo>
                      <a:pt x="2" y="64"/>
                    </a:lnTo>
                    <a:lnTo>
                      <a:pt x="2" y="70"/>
                    </a:lnTo>
                    <a:lnTo>
                      <a:pt x="2" y="70"/>
                    </a:lnTo>
                    <a:lnTo>
                      <a:pt x="2" y="70"/>
                    </a:lnTo>
                    <a:lnTo>
                      <a:pt x="3" y="71"/>
                    </a:lnTo>
                    <a:lnTo>
                      <a:pt x="2" y="72"/>
                    </a:lnTo>
                    <a:lnTo>
                      <a:pt x="2" y="74"/>
                    </a:lnTo>
                    <a:lnTo>
                      <a:pt x="2" y="74"/>
                    </a:lnTo>
                    <a:lnTo>
                      <a:pt x="3" y="74"/>
                    </a:lnTo>
                    <a:lnTo>
                      <a:pt x="6" y="78"/>
                    </a:lnTo>
                    <a:lnTo>
                      <a:pt x="6" y="81"/>
                    </a:lnTo>
                    <a:lnTo>
                      <a:pt x="8" y="84"/>
                    </a:lnTo>
                    <a:lnTo>
                      <a:pt x="9" y="86"/>
                    </a:lnTo>
                    <a:lnTo>
                      <a:pt x="8" y="87"/>
                    </a:lnTo>
                    <a:lnTo>
                      <a:pt x="8" y="90"/>
                    </a:lnTo>
                    <a:lnTo>
                      <a:pt x="8" y="99"/>
                    </a:lnTo>
                    <a:lnTo>
                      <a:pt x="8" y="100"/>
                    </a:lnTo>
                    <a:lnTo>
                      <a:pt x="9" y="100"/>
                    </a:lnTo>
                    <a:lnTo>
                      <a:pt x="10" y="99"/>
                    </a:lnTo>
                    <a:lnTo>
                      <a:pt x="13" y="99"/>
                    </a:lnTo>
                    <a:lnTo>
                      <a:pt x="10" y="100"/>
                    </a:lnTo>
                    <a:lnTo>
                      <a:pt x="9" y="103"/>
                    </a:lnTo>
                    <a:lnTo>
                      <a:pt x="8" y="103"/>
                    </a:lnTo>
                    <a:lnTo>
                      <a:pt x="8" y="107"/>
                    </a:lnTo>
                    <a:lnTo>
                      <a:pt x="9" y="107"/>
                    </a:lnTo>
                    <a:lnTo>
                      <a:pt x="8" y="109"/>
                    </a:lnTo>
                    <a:lnTo>
                      <a:pt x="15" y="106"/>
                    </a:lnTo>
                    <a:lnTo>
                      <a:pt x="16" y="106"/>
                    </a:lnTo>
                    <a:lnTo>
                      <a:pt x="18" y="106"/>
                    </a:lnTo>
                    <a:lnTo>
                      <a:pt x="19" y="106"/>
                    </a:lnTo>
                    <a:lnTo>
                      <a:pt x="23" y="107"/>
                    </a:lnTo>
                    <a:lnTo>
                      <a:pt x="23" y="107"/>
                    </a:lnTo>
                    <a:lnTo>
                      <a:pt x="23" y="104"/>
                    </a:lnTo>
                    <a:lnTo>
                      <a:pt x="23" y="103"/>
                    </a:lnTo>
                    <a:lnTo>
                      <a:pt x="23" y="103"/>
                    </a:lnTo>
                    <a:lnTo>
                      <a:pt x="22" y="106"/>
                    </a:lnTo>
                    <a:lnTo>
                      <a:pt x="22" y="106"/>
                    </a:lnTo>
                    <a:lnTo>
                      <a:pt x="22" y="104"/>
                    </a:lnTo>
                    <a:lnTo>
                      <a:pt x="23" y="104"/>
                    </a:lnTo>
                    <a:lnTo>
                      <a:pt x="23" y="103"/>
                    </a:lnTo>
                    <a:lnTo>
                      <a:pt x="23" y="102"/>
                    </a:lnTo>
                    <a:lnTo>
                      <a:pt x="23" y="100"/>
                    </a:lnTo>
                    <a:lnTo>
                      <a:pt x="28" y="93"/>
                    </a:lnTo>
                    <a:lnTo>
                      <a:pt x="28" y="91"/>
                    </a:lnTo>
                    <a:lnTo>
                      <a:pt x="29" y="91"/>
                    </a:lnTo>
                    <a:lnTo>
                      <a:pt x="29" y="91"/>
                    </a:lnTo>
                    <a:lnTo>
                      <a:pt x="32" y="86"/>
                    </a:lnTo>
                    <a:lnTo>
                      <a:pt x="31" y="81"/>
                    </a:lnTo>
                    <a:lnTo>
                      <a:pt x="29" y="78"/>
                    </a:lnTo>
                    <a:lnTo>
                      <a:pt x="28" y="77"/>
                    </a:lnTo>
                    <a:lnTo>
                      <a:pt x="28" y="72"/>
                    </a:lnTo>
                    <a:lnTo>
                      <a:pt x="26" y="72"/>
                    </a:lnTo>
                    <a:lnTo>
                      <a:pt x="26" y="74"/>
                    </a:lnTo>
                    <a:lnTo>
                      <a:pt x="23" y="74"/>
                    </a:lnTo>
                    <a:lnTo>
                      <a:pt x="22" y="72"/>
                    </a:lnTo>
                    <a:lnTo>
                      <a:pt x="22" y="72"/>
                    </a:lnTo>
                    <a:lnTo>
                      <a:pt x="21" y="72"/>
                    </a:lnTo>
                    <a:lnTo>
                      <a:pt x="21" y="72"/>
                    </a:lnTo>
                    <a:lnTo>
                      <a:pt x="21" y="71"/>
                    </a:lnTo>
                    <a:lnTo>
                      <a:pt x="21" y="71"/>
                    </a:lnTo>
                    <a:lnTo>
                      <a:pt x="21" y="70"/>
                    </a:lnTo>
                    <a:lnTo>
                      <a:pt x="22" y="71"/>
                    </a:lnTo>
                    <a:lnTo>
                      <a:pt x="31" y="70"/>
                    </a:lnTo>
                    <a:lnTo>
                      <a:pt x="32" y="70"/>
                    </a:lnTo>
                    <a:lnTo>
                      <a:pt x="32" y="70"/>
                    </a:lnTo>
                    <a:lnTo>
                      <a:pt x="34" y="70"/>
                    </a:lnTo>
                    <a:lnTo>
                      <a:pt x="35" y="68"/>
                    </a:lnTo>
                    <a:lnTo>
                      <a:pt x="35" y="70"/>
                    </a:lnTo>
                    <a:lnTo>
                      <a:pt x="37" y="70"/>
                    </a:lnTo>
                    <a:lnTo>
                      <a:pt x="38" y="71"/>
                    </a:lnTo>
                    <a:lnTo>
                      <a:pt x="39" y="71"/>
                    </a:lnTo>
                    <a:lnTo>
                      <a:pt x="41" y="72"/>
                    </a:lnTo>
                    <a:lnTo>
                      <a:pt x="44" y="72"/>
                    </a:lnTo>
                    <a:lnTo>
                      <a:pt x="47" y="72"/>
                    </a:lnTo>
                    <a:lnTo>
                      <a:pt x="47" y="74"/>
                    </a:lnTo>
                    <a:lnTo>
                      <a:pt x="50" y="74"/>
                    </a:lnTo>
                    <a:lnTo>
                      <a:pt x="53" y="72"/>
                    </a:lnTo>
                    <a:lnTo>
                      <a:pt x="53" y="70"/>
                    </a:lnTo>
                    <a:lnTo>
                      <a:pt x="55" y="67"/>
                    </a:lnTo>
                    <a:lnTo>
                      <a:pt x="55" y="65"/>
                    </a:lnTo>
                    <a:lnTo>
                      <a:pt x="55" y="64"/>
                    </a:lnTo>
                    <a:lnTo>
                      <a:pt x="57" y="62"/>
                    </a:lnTo>
                    <a:lnTo>
                      <a:pt x="58" y="59"/>
                    </a:lnTo>
                    <a:lnTo>
                      <a:pt x="58" y="58"/>
                    </a:lnTo>
                    <a:lnTo>
                      <a:pt x="61" y="51"/>
                    </a:lnTo>
                    <a:lnTo>
                      <a:pt x="61" y="49"/>
                    </a:lnTo>
                    <a:lnTo>
                      <a:pt x="61" y="49"/>
                    </a:lnTo>
                    <a:lnTo>
                      <a:pt x="58" y="48"/>
                    </a:lnTo>
                    <a:lnTo>
                      <a:pt x="60" y="48"/>
                    </a:lnTo>
                    <a:lnTo>
                      <a:pt x="61" y="48"/>
                    </a:lnTo>
                    <a:lnTo>
                      <a:pt x="63" y="46"/>
                    </a:lnTo>
                    <a:lnTo>
                      <a:pt x="69" y="35"/>
                    </a:lnTo>
                    <a:lnTo>
                      <a:pt x="67" y="33"/>
                    </a:lnTo>
                    <a:lnTo>
                      <a:pt x="67" y="32"/>
                    </a:lnTo>
                    <a:lnTo>
                      <a:pt x="69" y="33"/>
                    </a:lnTo>
                    <a:lnTo>
                      <a:pt x="70" y="33"/>
                    </a:lnTo>
                    <a:lnTo>
                      <a:pt x="76" y="19"/>
                    </a:lnTo>
                    <a:lnTo>
                      <a:pt x="76" y="17"/>
                    </a:lnTo>
                    <a:lnTo>
                      <a:pt x="77" y="16"/>
                    </a:lnTo>
                    <a:lnTo>
                      <a:pt x="77" y="17"/>
                    </a:lnTo>
                    <a:lnTo>
                      <a:pt x="79" y="16"/>
                    </a:lnTo>
                    <a:lnTo>
                      <a:pt x="79" y="14"/>
                    </a:lnTo>
                    <a:lnTo>
                      <a:pt x="77" y="13"/>
                    </a:lnTo>
                    <a:lnTo>
                      <a:pt x="77" y="13"/>
                    </a:lnTo>
                    <a:lnTo>
                      <a:pt x="76" y="14"/>
                    </a:lnTo>
                    <a:lnTo>
                      <a:pt x="64" y="9"/>
                    </a:lnTo>
                    <a:lnTo>
                      <a:pt x="57" y="9"/>
                    </a:lnTo>
                    <a:lnTo>
                      <a:pt x="55" y="9"/>
                    </a:lnTo>
                    <a:lnTo>
                      <a:pt x="54" y="9"/>
                    </a:lnTo>
                    <a:lnTo>
                      <a:pt x="51" y="10"/>
                    </a:lnTo>
                    <a:lnTo>
                      <a:pt x="51" y="11"/>
                    </a:lnTo>
                    <a:lnTo>
                      <a:pt x="51" y="11"/>
                    </a:lnTo>
                    <a:lnTo>
                      <a:pt x="48" y="11"/>
                    </a:lnTo>
                    <a:lnTo>
                      <a:pt x="50" y="9"/>
                    </a:lnTo>
                    <a:lnTo>
                      <a:pt x="48" y="7"/>
                    </a:lnTo>
                    <a:lnTo>
                      <a:pt x="45" y="4"/>
                    </a:lnTo>
                    <a:lnTo>
                      <a:pt x="44" y="4"/>
                    </a:lnTo>
                    <a:lnTo>
                      <a:pt x="42" y="6"/>
                    </a:lnTo>
                    <a:lnTo>
                      <a:pt x="42" y="6"/>
                    </a:lnTo>
                    <a:lnTo>
                      <a:pt x="42" y="3"/>
                    </a:lnTo>
                    <a:lnTo>
                      <a:pt x="35"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72" name="Freeform 1247"/>
              <p:cNvSpPr>
                <a:spLocks/>
              </p:cNvSpPr>
              <p:nvPr/>
            </p:nvSpPr>
            <p:spPr bwMode="auto">
              <a:xfrm>
                <a:off x="7737633" y="3410519"/>
                <a:ext cx="5267" cy="6085"/>
              </a:xfrm>
              <a:custGeom>
                <a:avLst/>
                <a:gdLst/>
                <a:ahLst/>
                <a:cxnLst>
                  <a:cxn ang="0">
                    <a:pos x="0" y="3"/>
                  </a:cxn>
                  <a:cxn ang="0">
                    <a:pos x="5" y="0"/>
                  </a:cxn>
                  <a:cxn ang="0">
                    <a:pos x="5" y="1"/>
                  </a:cxn>
                  <a:cxn ang="0">
                    <a:pos x="5" y="1"/>
                  </a:cxn>
                  <a:cxn ang="0">
                    <a:pos x="5" y="1"/>
                  </a:cxn>
                  <a:cxn ang="0">
                    <a:pos x="5" y="1"/>
                  </a:cxn>
                  <a:cxn ang="0">
                    <a:pos x="5" y="1"/>
                  </a:cxn>
                  <a:cxn ang="0">
                    <a:pos x="5" y="1"/>
                  </a:cxn>
                  <a:cxn ang="0">
                    <a:pos x="5" y="1"/>
                  </a:cxn>
                  <a:cxn ang="0">
                    <a:pos x="5" y="1"/>
                  </a:cxn>
                  <a:cxn ang="0">
                    <a:pos x="5" y="1"/>
                  </a:cxn>
                  <a:cxn ang="0">
                    <a:pos x="5" y="3"/>
                  </a:cxn>
                  <a:cxn ang="0">
                    <a:pos x="4" y="3"/>
                  </a:cxn>
                  <a:cxn ang="0">
                    <a:pos x="4" y="3"/>
                  </a:cxn>
                  <a:cxn ang="0">
                    <a:pos x="4" y="3"/>
                  </a:cxn>
                  <a:cxn ang="0">
                    <a:pos x="4" y="3"/>
                  </a:cxn>
                  <a:cxn ang="0">
                    <a:pos x="4" y="3"/>
                  </a:cxn>
                  <a:cxn ang="0">
                    <a:pos x="4" y="3"/>
                  </a:cxn>
                  <a:cxn ang="0">
                    <a:pos x="4" y="3"/>
                  </a:cxn>
                  <a:cxn ang="0">
                    <a:pos x="4" y="3"/>
                  </a:cxn>
                  <a:cxn ang="0">
                    <a:pos x="4" y="4"/>
                  </a:cxn>
                  <a:cxn ang="0">
                    <a:pos x="4" y="4"/>
                  </a:cxn>
                  <a:cxn ang="0">
                    <a:pos x="4" y="4"/>
                  </a:cxn>
                  <a:cxn ang="0">
                    <a:pos x="4" y="4"/>
                  </a:cxn>
                  <a:cxn ang="0">
                    <a:pos x="4" y="4"/>
                  </a:cxn>
                  <a:cxn ang="0">
                    <a:pos x="4" y="4"/>
                  </a:cxn>
                  <a:cxn ang="0">
                    <a:pos x="4" y="4"/>
                  </a:cxn>
                  <a:cxn ang="0">
                    <a:pos x="4" y="4"/>
                  </a:cxn>
                  <a:cxn ang="0">
                    <a:pos x="4" y="4"/>
                  </a:cxn>
                  <a:cxn ang="0">
                    <a:pos x="3" y="4"/>
                  </a:cxn>
                  <a:cxn ang="0">
                    <a:pos x="3" y="4"/>
                  </a:cxn>
                  <a:cxn ang="0">
                    <a:pos x="3" y="4"/>
                  </a:cxn>
                  <a:cxn ang="0">
                    <a:pos x="3" y="4"/>
                  </a:cxn>
                  <a:cxn ang="0">
                    <a:pos x="3" y="4"/>
                  </a:cxn>
                  <a:cxn ang="0">
                    <a:pos x="3" y="6"/>
                  </a:cxn>
                  <a:cxn ang="0">
                    <a:pos x="3" y="4"/>
                  </a:cxn>
                  <a:cxn ang="0">
                    <a:pos x="3" y="4"/>
                  </a:cxn>
                  <a:cxn ang="0">
                    <a:pos x="3" y="4"/>
                  </a:cxn>
                  <a:cxn ang="0">
                    <a:pos x="3" y="4"/>
                  </a:cxn>
                  <a:cxn ang="0">
                    <a:pos x="3" y="4"/>
                  </a:cxn>
                  <a:cxn ang="0">
                    <a:pos x="3" y="4"/>
                  </a:cxn>
                  <a:cxn ang="0">
                    <a:pos x="3" y="4"/>
                  </a:cxn>
                  <a:cxn ang="0">
                    <a:pos x="3" y="3"/>
                  </a:cxn>
                  <a:cxn ang="0">
                    <a:pos x="3" y="3"/>
                  </a:cxn>
                  <a:cxn ang="0">
                    <a:pos x="1" y="3"/>
                  </a:cxn>
                  <a:cxn ang="0">
                    <a:pos x="1" y="3"/>
                  </a:cxn>
                  <a:cxn ang="0">
                    <a:pos x="1" y="3"/>
                  </a:cxn>
                  <a:cxn ang="0">
                    <a:pos x="1" y="3"/>
                  </a:cxn>
                  <a:cxn ang="0">
                    <a:pos x="1" y="4"/>
                  </a:cxn>
                  <a:cxn ang="0">
                    <a:pos x="1" y="4"/>
                  </a:cxn>
                  <a:cxn ang="0">
                    <a:pos x="1" y="4"/>
                  </a:cxn>
                  <a:cxn ang="0">
                    <a:pos x="0" y="4"/>
                  </a:cxn>
                  <a:cxn ang="0">
                    <a:pos x="0" y="4"/>
                  </a:cxn>
                  <a:cxn ang="0">
                    <a:pos x="0" y="4"/>
                  </a:cxn>
                  <a:cxn ang="0">
                    <a:pos x="0" y="3"/>
                  </a:cxn>
                  <a:cxn ang="0">
                    <a:pos x="0" y="3"/>
                  </a:cxn>
                  <a:cxn ang="0">
                    <a:pos x="0" y="3"/>
                  </a:cxn>
                </a:cxnLst>
                <a:rect l="0" t="0" r="r" b="b"/>
                <a:pathLst>
                  <a:path w="5" h="6">
                    <a:moveTo>
                      <a:pt x="0" y="3"/>
                    </a:moveTo>
                    <a:lnTo>
                      <a:pt x="5" y="0"/>
                    </a:lnTo>
                    <a:lnTo>
                      <a:pt x="5" y="1"/>
                    </a:lnTo>
                    <a:lnTo>
                      <a:pt x="5" y="1"/>
                    </a:lnTo>
                    <a:lnTo>
                      <a:pt x="5" y="1"/>
                    </a:lnTo>
                    <a:lnTo>
                      <a:pt x="5" y="1"/>
                    </a:lnTo>
                    <a:lnTo>
                      <a:pt x="5" y="1"/>
                    </a:lnTo>
                    <a:lnTo>
                      <a:pt x="5" y="1"/>
                    </a:lnTo>
                    <a:lnTo>
                      <a:pt x="5" y="1"/>
                    </a:lnTo>
                    <a:lnTo>
                      <a:pt x="5" y="1"/>
                    </a:lnTo>
                    <a:lnTo>
                      <a:pt x="5" y="1"/>
                    </a:lnTo>
                    <a:lnTo>
                      <a:pt x="5" y="3"/>
                    </a:lnTo>
                    <a:lnTo>
                      <a:pt x="4" y="3"/>
                    </a:lnTo>
                    <a:lnTo>
                      <a:pt x="4" y="3"/>
                    </a:lnTo>
                    <a:lnTo>
                      <a:pt x="4" y="3"/>
                    </a:lnTo>
                    <a:lnTo>
                      <a:pt x="4" y="3"/>
                    </a:lnTo>
                    <a:lnTo>
                      <a:pt x="4" y="3"/>
                    </a:lnTo>
                    <a:lnTo>
                      <a:pt x="4" y="3"/>
                    </a:lnTo>
                    <a:lnTo>
                      <a:pt x="4" y="3"/>
                    </a:lnTo>
                    <a:lnTo>
                      <a:pt x="4" y="3"/>
                    </a:lnTo>
                    <a:lnTo>
                      <a:pt x="4" y="4"/>
                    </a:lnTo>
                    <a:lnTo>
                      <a:pt x="4" y="4"/>
                    </a:lnTo>
                    <a:lnTo>
                      <a:pt x="4" y="4"/>
                    </a:lnTo>
                    <a:lnTo>
                      <a:pt x="4" y="4"/>
                    </a:lnTo>
                    <a:lnTo>
                      <a:pt x="4" y="4"/>
                    </a:lnTo>
                    <a:lnTo>
                      <a:pt x="4" y="4"/>
                    </a:lnTo>
                    <a:lnTo>
                      <a:pt x="4" y="4"/>
                    </a:lnTo>
                    <a:lnTo>
                      <a:pt x="4" y="4"/>
                    </a:lnTo>
                    <a:lnTo>
                      <a:pt x="4" y="4"/>
                    </a:lnTo>
                    <a:lnTo>
                      <a:pt x="3" y="4"/>
                    </a:lnTo>
                    <a:lnTo>
                      <a:pt x="3" y="4"/>
                    </a:lnTo>
                    <a:lnTo>
                      <a:pt x="3" y="4"/>
                    </a:lnTo>
                    <a:lnTo>
                      <a:pt x="3" y="4"/>
                    </a:lnTo>
                    <a:lnTo>
                      <a:pt x="3" y="4"/>
                    </a:lnTo>
                    <a:lnTo>
                      <a:pt x="3" y="6"/>
                    </a:lnTo>
                    <a:lnTo>
                      <a:pt x="3" y="4"/>
                    </a:lnTo>
                    <a:lnTo>
                      <a:pt x="3" y="4"/>
                    </a:lnTo>
                    <a:lnTo>
                      <a:pt x="3" y="4"/>
                    </a:lnTo>
                    <a:lnTo>
                      <a:pt x="3" y="4"/>
                    </a:lnTo>
                    <a:lnTo>
                      <a:pt x="3" y="4"/>
                    </a:lnTo>
                    <a:lnTo>
                      <a:pt x="3" y="4"/>
                    </a:lnTo>
                    <a:lnTo>
                      <a:pt x="3" y="4"/>
                    </a:lnTo>
                    <a:lnTo>
                      <a:pt x="3" y="3"/>
                    </a:lnTo>
                    <a:lnTo>
                      <a:pt x="3" y="3"/>
                    </a:lnTo>
                    <a:lnTo>
                      <a:pt x="1" y="3"/>
                    </a:lnTo>
                    <a:lnTo>
                      <a:pt x="1" y="3"/>
                    </a:lnTo>
                    <a:lnTo>
                      <a:pt x="1" y="3"/>
                    </a:lnTo>
                    <a:lnTo>
                      <a:pt x="1" y="3"/>
                    </a:lnTo>
                    <a:lnTo>
                      <a:pt x="1" y="4"/>
                    </a:lnTo>
                    <a:lnTo>
                      <a:pt x="1" y="4"/>
                    </a:lnTo>
                    <a:lnTo>
                      <a:pt x="1" y="4"/>
                    </a:lnTo>
                    <a:lnTo>
                      <a:pt x="0" y="4"/>
                    </a:lnTo>
                    <a:lnTo>
                      <a:pt x="0" y="4"/>
                    </a:lnTo>
                    <a:lnTo>
                      <a:pt x="0" y="4"/>
                    </a:lnTo>
                    <a:lnTo>
                      <a:pt x="0" y="3"/>
                    </a:lnTo>
                    <a:lnTo>
                      <a:pt x="0" y="3"/>
                    </a:lnTo>
                    <a:lnTo>
                      <a:pt x="0" y="3"/>
                    </a:lnTo>
                    <a:close/>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73" name="Freeform 1248"/>
              <p:cNvSpPr>
                <a:spLocks/>
              </p:cNvSpPr>
              <p:nvPr/>
            </p:nvSpPr>
            <p:spPr bwMode="auto">
              <a:xfrm>
                <a:off x="7748167" y="3397335"/>
                <a:ext cx="30723" cy="17240"/>
              </a:xfrm>
              <a:custGeom>
                <a:avLst/>
                <a:gdLst/>
                <a:ahLst/>
                <a:cxnLst>
                  <a:cxn ang="0">
                    <a:pos x="3" y="16"/>
                  </a:cxn>
                  <a:cxn ang="0">
                    <a:pos x="3" y="15"/>
                  </a:cxn>
                  <a:cxn ang="0">
                    <a:pos x="3" y="15"/>
                  </a:cxn>
                  <a:cxn ang="0">
                    <a:pos x="2" y="15"/>
                  </a:cxn>
                  <a:cxn ang="0">
                    <a:pos x="2" y="15"/>
                  </a:cxn>
                  <a:cxn ang="0">
                    <a:pos x="2" y="13"/>
                  </a:cxn>
                  <a:cxn ang="0">
                    <a:pos x="2" y="13"/>
                  </a:cxn>
                  <a:cxn ang="0">
                    <a:pos x="2" y="13"/>
                  </a:cxn>
                  <a:cxn ang="0">
                    <a:pos x="2" y="12"/>
                  </a:cxn>
                  <a:cxn ang="0">
                    <a:pos x="2" y="12"/>
                  </a:cxn>
                  <a:cxn ang="0">
                    <a:pos x="3" y="12"/>
                  </a:cxn>
                  <a:cxn ang="0">
                    <a:pos x="3" y="12"/>
                  </a:cxn>
                  <a:cxn ang="0">
                    <a:pos x="5" y="12"/>
                  </a:cxn>
                  <a:cxn ang="0">
                    <a:pos x="5" y="12"/>
                  </a:cxn>
                  <a:cxn ang="0">
                    <a:pos x="5" y="12"/>
                  </a:cxn>
                  <a:cxn ang="0">
                    <a:pos x="5" y="12"/>
                  </a:cxn>
                  <a:cxn ang="0">
                    <a:pos x="5" y="10"/>
                  </a:cxn>
                  <a:cxn ang="0">
                    <a:pos x="5" y="10"/>
                  </a:cxn>
                  <a:cxn ang="0">
                    <a:pos x="5" y="10"/>
                  </a:cxn>
                  <a:cxn ang="0">
                    <a:pos x="3" y="9"/>
                  </a:cxn>
                  <a:cxn ang="0">
                    <a:pos x="3" y="9"/>
                  </a:cxn>
                  <a:cxn ang="0">
                    <a:pos x="3" y="10"/>
                  </a:cxn>
                  <a:cxn ang="0">
                    <a:pos x="2" y="10"/>
                  </a:cxn>
                  <a:cxn ang="0">
                    <a:pos x="2" y="10"/>
                  </a:cxn>
                  <a:cxn ang="0">
                    <a:pos x="0" y="10"/>
                  </a:cxn>
                  <a:cxn ang="0">
                    <a:pos x="2" y="9"/>
                  </a:cxn>
                  <a:cxn ang="0">
                    <a:pos x="3" y="5"/>
                  </a:cxn>
                  <a:cxn ang="0">
                    <a:pos x="15" y="3"/>
                  </a:cxn>
                  <a:cxn ang="0">
                    <a:pos x="31" y="0"/>
                  </a:cxn>
                  <a:cxn ang="0">
                    <a:pos x="34" y="2"/>
                  </a:cxn>
                  <a:cxn ang="0">
                    <a:pos x="5" y="16"/>
                  </a:cxn>
                  <a:cxn ang="0">
                    <a:pos x="3" y="16"/>
                  </a:cxn>
                </a:cxnLst>
                <a:rect l="0" t="0" r="r" b="b"/>
                <a:pathLst>
                  <a:path w="34" h="16">
                    <a:moveTo>
                      <a:pt x="3" y="16"/>
                    </a:moveTo>
                    <a:lnTo>
                      <a:pt x="3" y="16"/>
                    </a:lnTo>
                    <a:lnTo>
                      <a:pt x="3" y="16"/>
                    </a:lnTo>
                    <a:lnTo>
                      <a:pt x="3" y="15"/>
                    </a:lnTo>
                    <a:lnTo>
                      <a:pt x="3" y="15"/>
                    </a:lnTo>
                    <a:lnTo>
                      <a:pt x="3" y="15"/>
                    </a:lnTo>
                    <a:lnTo>
                      <a:pt x="2" y="15"/>
                    </a:lnTo>
                    <a:lnTo>
                      <a:pt x="2" y="15"/>
                    </a:lnTo>
                    <a:lnTo>
                      <a:pt x="2" y="15"/>
                    </a:lnTo>
                    <a:lnTo>
                      <a:pt x="2" y="15"/>
                    </a:lnTo>
                    <a:lnTo>
                      <a:pt x="2" y="13"/>
                    </a:lnTo>
                    <a:lnTo>
                      <a:pt x="2" y="13"/>
                    </a:lnTo>
                    <a:lnTo>
                      <a:pt x="2" y="13"/>
                    </a:lnTo>
                    <a:lnTo>
                      <a:pt x="2" y="13"/>
                    </a:lnTo>
                    <a:lnTo>
                      <a:pt x="2" y="13"/>
                    </a:lnTo>
                    <a:lnTo>
                      <a:pt x="2" y="13"/>
                    </a:lnTo>
                    <a:lnTo>
                      <a:pt x="2" y="12"/>
                    </a:lnTo>
                    <a:lnTo>
                      <a:pt x="2" y="12"/>
                    </a:lnTo>
                    <a:lnTo>
                      <a:pt x="2" y="12"/>
                    </a:lnTo>
                    <a:lnTo>
                      <a:pt x="2" y="12"/>
                    </a:lnTo>
                    <a:lnTo>
                      <a:pt x="3" y="12"/>
                    </a:lnTo>
                    <a:lnTo>
                      <a:pt x="3" y="12"/>
                    </a:lnTo>
                    <a:lnTo>
                      <a:pt x="3" y="13"/>
                    </a:lnTo>
                    <a:lnTo>
                      <a:pt x="3" y="12"/>
                    </a:lnTo>
                    <a:lnTo>
                      <a:pt x="3" y="12"/>
                    </a:lnTo>
                    <a:lnTo>
                      <a:pt x="5" y="12"/>
                    </a:lnTo>
                    <a:lnTo>
                      <a:pt x="5" y="12"/>
                    </a:lnTo>
                    <a:lnTo>
                      <a:pt x="5" y="12"/>
                    </a:lnTo>
                    <a:lnTo>
                      <a:pt x="5" y="12"/>
                    </a:lnTo>
                    <a:lnTo>
                      <a:pt x="5" y="12"/>
                    </a:lnTo>
                    <a:lnTo>
                      <a:pt x="5" y="12"/>
                    </a:lnTo>
                    <a:lnTo>
                      <a:pt x="5" y="12"/>
                    </a:lnTo>
                    <a:lnTo>
                      <a:pt x="5" y="10"/>
                    </a:lnTo>
                    <a:lnTo>
                      <a:pt x="5" y="10"/>
                    </a:lnTo>
                    <a:lnTo>
                      <a:pt x="5" y="10"/>
                    </a:lnTo>
                    <a:lnTo>
                      <a:pt x="5" y="10"/>
                    </a:lnTo>
                    <a:lnTo>
                      <a:pt x="5" y="10"/>
                    </a:lnTo>
                    <a:lnTo>
                      <a:pt x="5" y="10"/>
                    </a:lnTo>
                    <a:lnTo>
                      <a:pt x="3" y="10"/>
                    </a:lnTo>
                    <a:lnTo>
                      <a:pt x="3" y="9"/>
                    </a:lnTo>
                    <a:lnTo>
                      <a:pt x="3" y="9"/>
                    </a:lnTo>
                    <a:lnTo>
                      <a:pt x="3" y="9"/>
                    </a:lnTo>
                    <a:lnTo>
                      <a:pt x="3" y="10"/>
                    </a:lnTo>
                    <a:lnTo>
                      <a:pt x="3" y="10"/>
                    </a:lnTo>
                    <a:lnTo>
                      <a:pt x="3" y="10"/>
                    </a:lnTo>
                    <a:lnTo>
                      <a:pt x="2" y="10"/>
                    </a:lnTo>
                    <a:lnTo>
                      <a:pt x="2" y="10"/>
                    </a:lnTo>
                    <a:lnTo>
                      <a:pt x="2" y="10"/>
                    </a:lnTo>
                    <a:lnTo>
                      <a:pt x="2" y="10"/>
                    </a:lnTo>
                    <a:lnTo>
                      <a:pt x="0" y="10"/>
                    </a:lnTo>
                    <a:lnTo>
                      <a:pt x="0" y="9"/>
                    </a:lnTo>
                    <a:lnTo>
                      <a:pt x="2" y="9"/>
                    </a:lnTo>
                    <a:lnTo>
                      <a:pt x="2" y="9"/>
                    </a:lnTo>
                    <a:lnTo>
                      <a:pt x="3" y="5"/>
                    </a:lnTo>
                    <a:lnTo>
                      <a:pt x="13" y="3"/>
                    </a:lnTo>
                    <a:lnTo>
                      <a:pt x="15" y="3"/>
                    </a:lnTo>
                    <a:lnTo>
                      <a:pt x="29" y="2"/>
                    </a:lnTo>
                    <a:lnTo>
                      <a:pt x="31" y="0"/>
                    </a:lnTo>
                    <a:lnTo>
                      <a:pt x="34" y="2"/>
                    </a:lnTo>
                    <a:lnTo>
                      <a:pt x="34" y="2"/>
                    </a:lnTo>
                    <a:lnTo>
                      <a:pt x="32" y="6"/>
                    </a:lnTo>
                    <a:lnTo>
                      <a:pt x="5" y="16"/>
                    </a:lnTo>
                    <a:lnTo>
                      <a:pt x="3" y="16"/>
                    </a:lnTo>
                    <a:lnTo>
                      <a:pt x="3" y="16"/>
                    </a:lnTo>
                    <a:close/>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74" name="Freeform 1249"/>
              <p:cNvSpPr>
                <a:spLocks/>
              </p:cNvSpPr>
              <p:nvPr/>
            </p:nvSpPr>
            <p:spPr bwMode="auto">
              <a:xfrm>
                <a:off x="5010307" y="2923736"/>
                <a:ext cx="140448" cy="53749"/>
              </a:xfrm>
              <a:custGeom>
                <a:avLst/>
                <a:gdLst/>
                <a:ahLst/>
                <a:cxnLst>
                  <a:cxn ang="0">
                    <a:pos x="109" y="24"/>
                  </a:cxn>
                  <a:cxn ang="0">
                    <a:pos x="121" y="29"/>
                  </a:cxn>
                  <a:cxn ang="0">
                    <a:pos x="129" y="31"/>
                  </a:cxn>
                  <a:cxn ang="0">
                    <a:pos x="131" y="32"/>
                  </a:cxn>
                  <a:cxn ang="0">
                    <a:pos x="131" y="35"/>
                  </a:cxn>
                  <a:cxn ang="0">
                    <a:pos x="131" y="37"/>
                  </a:cxn>
                  <a:cxn ang="0">
                    <a:pos x="142" y="37"/>
                  </a:cxn>
                  <a:cxn ang="0">
                    <a:pos x="144" y="40"/>
                  </a:cxn>
                  <a:cxn ang="0">
                    <a:pos x="153" y="44"/>
                  </a:cxn>
                  <a:cxn ang="0">
                    <a:pos x="140" y="50"/>
                  </a:cxn>
                  <a:cxn ang="0">
                    <a:pos x="102" y="50"/>
                  </a:cxn>
                  <a:cxn ang="0">
                    <a:pos x="105" y="45"/>
                  </a:cxn>
                  <a:cxn ang="0">
                    <a:pos x="112" y="41"/>
                  </a:cxn>
                  <a:cxn ang="0">
                    <a:pos x="106" y="38"/>
                  </a:cxn>
                  <a:cxn ang="0">
                    <a:pos x="92" y="32"/>
                  </a:cxn>
                  <a:cxn ang="0">
                    <a:pos x="89" y="25"/>
                  </a:cxn>
                  <a:cxn ang="0">
                    <a:pos x="67" y="21"/>
                  </a:cxn>
                  <a:cxn ang="0">
                    <a:pos x="55" y="16"/>
                  </a:cxn>
                  <a:cxn ang="0">
                    <a:pos x="52" y="16"/>
                  </a:cxn>
                  <a:cxn ang="0">
                    <a:pos x="48" y="16"/>
                  </a:cxn>
                  <a:cxn ang="0">
                    <a:pos x="41" y="15"/>
                  </a:cxn>
                  <a:cxn ang="0">
                    <a:pos x="39" y="13"/>
                  </a:cxn>
                  <a:cxn ang="0">
                    <a:pos x="44" y="11"/>
                  </a:cxn>
                  <a:cxn ang="0">
                    <a:pos x="45" y="9"/>
                  </a:cxn>
                  <a:cxn ang="0">
                    <a:pos x="42" y="8"/>
                  </a:cxn>
                  <a:cxn ang="0">
                    <a:pos x="26" y="11"/>
                  </a:cxn>
                  <a:cxn ang="0">
                    <a:pos x="15" y="15"/>
                  </a:cxn>
                  <a:cxn ang="0">
                    <a:pos x="10" y="19"/>
                  </a:cxn>
                  <a:cxn ang="0">
                    <a:pos x="6" y="22"/>
                  </a:cxn>
                  <a:cxn ang="0">
                    <a:pos x="5" y="21"/>
                  </a:cxn>
                  <a:cxn ang="0">
                    <a:pos x="0" y="19"/>
                  </a:cxn>
                  <a:cxn ang="0">
                    <a:pos x="6" y="18"/>
                  </a:cxn>
                  <a:cxn ang="0">
                    <a:pos x="7" y="12"/>
                  </a:cxn>
                  <a:cxn ang="0">
                    <a:pos x="35" y="0"/>
                  </a:cxn>
                  <a:cxn ang="0">
                    <a:pos x="61" y="2"/>
                  </a:cxn>
                  <a:cxn ang="0">
                    <a:pos x="68" y="2"/>
                  </a:cxn>
                  <a:cxn ang="0">
                    <a:pos x="74" y="8"/>
                  </a:cxn>
                  <a:cxn ang="0">
                    <a:pos x="80" y="12"/>
                  </a:cxn>
                  <a:cxn ang="0">
                    <a:pos x="87" y="12"/>
                  </a:cxn>
                  <a:cxn ang="0">
                    <a:pos x="90" y="13"/>
                  </a:cxn>
                  <a:cxn ang="0">
                    <a:pos x="89" y="13"/>
                  </a:cxn>
                  <a:cxn ang="0">
                    <a:pos x="93" y="15"/>
                  </a:cxn>
                  <a:cxn ang="0">
                    <a:pos x="99" y="19"/>
                  </a:cxn>
                </a:cxnLst>
                <a:rect l="0" t="0" r="r" b="b"/>
                <a:pathLst>
                  <a:path w="153" h="51">
                    <a:moveTo>
                      <a:pt x="109" y="22"/>
                    </a:moveTo>
                    <a:lnTo>
                      <a:pt x="109" y="24"/>
                    </a:lnTo>
                    <a:lnTo>
                      <a:pt x="118" y="29"/>
                    </a:lnTo>
                    <a:lnTo>
                      <a:pt x="121" y="29"/>
                    </a:lnTo>
                    <a:lnTo>
                      <a:pt x="125" y="31"/>
                    </a:lnTo>
                    <a:lnTo>
                      <a:pt x="129" y="31"/>
                    </a:lnTo>
                    <a:lnTo>
                      <a:pt x="131" y="31"/>
                    </a:lnTo>
                    <a:lnTo>
                      <a:pt x="131" y="32"/>
                    </a:lnTo>
                    <a:lnTo>
                      <a:pt x="131" y="34"/>
                    </a:lnTo>
                    <a:lnTo>
                      <a:pt x="131" y="35"/>
                    </a:lnTo>
                    <a:lnTo>
                      <a:pt x="131" y="37"/>
                    </a:lnTo>
                    <a:lnTo>
                      <a:pt x="131" y="37"/>
                    </a:lnTo>
                    <a:lnTo>
                      <a:pt x="141" y="37"/>
                    </a:lnTo>
                    <a:lnTo>
                      <a:pt x="142" y="37"/>
                    </a:lnTo>
                    <a:lnTo>
                      <a:pt x="144" y="40"/>
                    </a:lnTo>
                    <a:lnTo>
                      <a:pt x="144" y="40"/>
                    </a:lnTo>
                    <a:lnTo>
                      <a:pt x="148" y="43"/>
                    </a:lnTo>
                    <a:lnTo>
                      <a:pt x="153" y="44"/>
                    </a:lnTo>
                    <a:lnTo>
                      <a:pt x="153" y="45"/>
                    </a:lnTo>
                    <a:lnTo>
                      <a:pt x="140" y="50"/>
                    </a:lnTo>
                    <a:lnTo>
                      <a:pt x="103" y="51"/>
                    </a:lnTo>
                    <a:lnTo>
                      <a:pt x="102" y="50"/>
                    </a:lnTo>
                    <a:lnTo>
                      <a:pt x="102" y="50"/>
                    </a:lnTo>
                    <a:lnTo>
                      <a:pt x="105" y="45"/>
                    </a:lnTo>
                    <a:lnTo>
                      <a:pt x="112" y="43"/>
                    </a:lnTo>
                    <a:lnTo>
                      <a:pt x="112" y="41"/>
                    </a:lnTo>
                    <a:lnTo>
                      <a:pt x="112" y="41"/>
                    </a:lnTo>
                    <a:lnTo>
                      <a:pt x="106" y="38"/>
                    </a:lnTo>
                    <a:lnTo>
                      <a:pt x="97" y="38"/>
                    </a:lnTo>
                    <a:lnTo>
                      <a:pt x="92" y="32"/>
                    </a:lnTo>
                    <a:lnTo>
                      <a:pt x="90" y="27"/>
                    </a:lnTo>
                    <a:lnTo>
                      <a:pt x="89" y="25"/>
                    </a:lnTo>
                    <a:lnTo>
                      <a:pt x="77" y="25"/>
                    </a:lnTo>
                    <a:lnTo>
                      <a:pt x="67" y="21"/>
                    </a:lnTo>
                    <a:lnTo>
                      <a:pt x="61" y="18"/>
                    </a:lnTo>
                    <a:lnTo>
                      <a:pt x="55" y="16"/>
                    </a:lnTo>
                    <a:lnTo>
                      <a:pt x="54" y="16"/>
                    </a:lnTo>
                    <a:lnTo>
                      <a:pt x="52" y="16"/>
                    </a:lnTo>
                    <a:lnTo>
                      <a:pt x="50" y="16"/>
                    </a:lnTo>
                    <a:lnTo>
                      <a:pt x="48" y="16"/>
                    </a:lnTo>
                    <a:lnTo>
                      <a:pt x="48" y="16"/>
                    </a:lnTo>
                    <a:lnTo>
                      <a:pt x="41" y="15"/>
                    </a:lnTo>
                    <a:lnTo>
                      <a:pt x="41" y="15"/>
                    </a:lnTo>
                    <a:lnTo>
                      <a:pt x="39" y="13"/>
                    </a:lnTo>
                    <a:lnTo>
                      <a:pt x="39" y="12"/>
                    </a:lnTo>
                    <a:lnTo>
                      <a:pt x="44" y="11"/>
                    </a:lnTo>
                    <a:lnTo>
                      <a:pt x="45" y="11"/>
                    </a:lnTo>
                    <a:lnTo>
                      <a:pt x="45" y="9"/>
                    </a:lnTo>
                    <a:lnTo>
                      <a:pt x="44" y="9"/>
                    </a:lnTo>
                    <a:lnTo>
                      <a:pt x="42" y="8"/>
                    </a:lnTo>
                    <a:lnTo>
                      <a:pt x="31" y="8"/>
                    </a:lnTo>
                    <a:lnTo>
                      <a:pt x="26" y="11"/>
                    </a:lnTo>
                    <a:lnTo>
                      <a:pt x="23" y="13"/>
                    </a:lnTo>
                    <a:lnTo>
                      <a:pt x="15" y="15"/>
                    </a:lnTo>
                    <a:lnTo>
                      <a:pt x="13" y="18"/>
                    </a:lnTo>
                    <a:lnTo>
                      <a:pt x="10" y="19"/>
                    </a:lnTo>
                    <a:lnTo>
                      <a:pt x="6" y="22"/>
                    </a:lnTo>
                    <a:lnTo>
                      <a:pt x="6" y="22"/>
                    </a:lnTo>
                    <a:lnTo>
                      <a:pt x="6" y="21"/>
                    </a:lnTo>
                    <a:lnTo>
                      <a:pt x="5" y="21"/>
                    </a:lnTo>
                    <a:lnTo>
                      <a:pt x="0" y="21"/>
                    </a:lnTo>
                    <a:lnTo>
                      <a:pt x="0" y="19"/>
                    </a:lnTo>
                    <a:lnTo>
                      <a:pt x="5" y="18"/>
                    </a:lnTo>
                    <a:lnTo>
                      <a:pt x="6" y="18"/>
                    </a:lnTo>
                    <a:lnTo>
                      <a:pt x="7" y="16"/>
                    </a:lnTo>
                    <a:lnTo>
                      <a:pt x="7" y="12"/>
                    </a:lnTo>
                    <a:lnTo>
                      <a:pt x="7" y="11"/>
                    </a:lnTo>
                    <a:lnTo>
                      <a:pt x="35" y="0"/>
                    </a:lnTo>
                    <a:lnTo>
                      <a:pt x="60" y="0"/>
                    </a:lnTo>
                    <a:lnTo>
                      <a:pt x="61" y="2"/>
                    </a:lnTo>
                    <a:lnTo>
                      <a:pt x="63" y="3"/>
                    </a:lnTo>
                    <a:lnTo>
                      <a:pt x="68" y="2"/>
                    </a:lnTo>
                    <a:lnTo>
                      <a:pt x="73" y="6"/>
                    </a:lnTo>
                    <a:lnTo>
                      <a:pt x="74" y="8"/>
                    </a:lnTo>
                    <a:lnTo>
                      <a:pt x="77" y="11"/>
                    </a:lnTo>
                    <a:lnTo>
                      <a:pt x="80" y="12"/>
                    </a:lnTo>
                    <a:lnTo>
                      <a:pt x="86" y="11"/>
                    </a:lnTo>
                    <a:lnTo>
                      <a:pt x="87" y="12"/>
                    </a:lnTo>
                    <a:lnTo>
                      <a:pt x="90" y="12"/>
                    </a:lnTo>
                    <a:lnTo>
                      <a:pt x="90" y="13"/>
                    </a:lnTo>
                    <a:lnTo>
                      <a:pt x="90" y="13"/>
                    </a:lnTo>
                    <a:lnTo>
                      <a:pt x="89" y="13"/>
                    </a:lnTo>
                    <a:lnTo>
                      <a:pt x="90" y="15"/>
                    </a:lnTo>
                    <a:lnTo>
                      <a:pt x="93" y="15"/>
                    </a:lnTo>
                    <a:lnTo>
                      <a:pt x="96" y="16"/>
                    </a:lnTo>
                    <a:lnTo>
                      <a:pt x="99" y="19"/>
                    </a:lnTo>
                    <a:lnTo>
                      <a:pt x="109" y="2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75" name="Freeform 1250"/>
              <p:cNvSpPr>
                <a:spLocks/>
              </p:cNvSpPr>
              <p:nvPr/>
            </p:nvSpPr>
            <p:spPr bwMode="auto">
              <a:xfrm>
                <a:off x="5010307" y="2923736"/>
                <a:ext cx="140448" cy="53749"/>
              </a:xfrm>
              <a:custGeom>
                <a:avLst/>
                <a:gdLst/>
                <a:ahLst/>
                <a:cxnLst>
                  <a:cxn ang="0">
                    <a:pos x="109" y="24"/>
                  </a:cxn>
                  <a:cxn ang="0">
                    <a:pos x="121" y="29"/>
                  </a:cxn>
                  <a:cxn ang="0">
                    <a:pos x="129" y="31"/>
                  </a:cxn>
                  <a:cxn ang="0">
                    <a:pos x="131" y="32"/>
                  </a:cxn>
                  <a:cxn ang="0">
                    <a:pos x="131" y="35"/>
                  </a:cxn>
                  <a:cxn ang="0">
                    <a:pos x="131" y="37"/>
                  </a:cxn>
                  <a:cxn ang="0">
                    <a:pos x="142" y="37"/>
                  </a:cxn>
                  <a:cxn ang="0">
                    <a:pos x="144" y="40"/>
                  </a:cxn>
                  <a:cxn ang="0">
                    <a:pos x="153" y="44"/>
                  </a:cxn>
                  <a:cxn ang="0">
                    <a:pos x="140" y="50"/>
                  </a:cxn>
                  <a:cxn ang="0">
                    <a:pos x="102" y="50"/>
                  </a:cxn>
                  <a:cxn ang="0">
                    <a:pos x="105" y="45"/>
                  </a:cxn>
                  <a:cxn ang="0">
                    <a:pos x="112" y="41"/>
                  </a:cxn>
                  <a:cxn ang="0">
                    <a:pos x="106" y="38"/>
                  </a:cxn>
                  <a:cxn ang="0">
                    <a:pos x="92" y="32"/>
                  </a:cxn>
                  <a:cxn ang="0">
                    <a:pos x="89" y="25"/>
                  </a:cxn>
                  <a:cxn ang="0">
                    <a:pos x="67" y="21"/>
                  </a:cxn>
                  <a:cxn ang="0">
                    <a:pos x="55" y="16"/>
                  </a:cxn>
                  <a:cxn ang="0">
                    <a:pos x="52" y="16"/>
                  </a:cxn>
                  <a:cxn ang="0">
                    <a:pos x="48" y="16"/>
                  </a:cxn>
                  <a:cxn ang="0">
                    <a:pos x="41" y="15"/>
                  </a:cxn>
                  <a:cxn ang="0">
                    <a:pos x="39" y="13"/>
                  </a:cxn>
                  <a:cxn ang="0">
                    <a:pos x="44" y="11"/>
                  </a:cxn>
                  <a:cxn ang="0">
                    <a:pos x="45" y="9"/>
                  </a:cxn>
                  <a:cxn ang="0">
                    <a:pos x="42" y="8"/>
                  </a:cxn>
                  <a:cxn ang="0">
                    <a:pos x="26" y="11"/>
                  </a:cxn>
                  <a:cxn ang="0">
                    <a:pos x="15" y="15"/>
                  </a:cxn>
                  <a:cxn ang="0">
                    <a:pos x="10" y="19"/>
                  </a:cxn>
                  <a:cxn ang="0">
                    <a:pos x="6" y="22"/>
                  </a:cxn>
                  <a:cxn ang="0">
                    <a:pos x="5" y="21"/>
                  </a:cxn>
                  <a:cxn ang="0">
                    <a:pos x="0" y="19"/>
                  </a:cxn>
                  <a:cxn ang="0">
                    <a:pos x="6" y="18"/>
                  </a:cxn>
                  <a:cxn ang="0">
                    <a:pos x="7" y="12"/>
                  </a:cxn>
                  <a:cxn ang="0">
                    <a:pos x="35" y="0"/>
                  </a:cxn>
                  <a:cxn ang="0">
                    <a:pos x="61" y="2"/>
                  </a:cxn>
                  <a:cxn ang="0">
                    <a:pos x="68" y="2"/>
                  </a:cxn>
                  <a:cxn ang="0">
                    <a:pos x="74" y="8"/>
                  </a:cxn>
                  <a:cxn ang="0">
                    <a:pos x="80" y="12"/>
                  </a:cxn>
                  <a:cxn ang="0">
                    <a:pos x="87" y="12"/>
                  </a:cxn>
                  <a:cxn ang="0">
                    <a:pos x="90" y="13"/>
                  </a:cxn>
                  <a:cxn ang="0">
                    <a:pos x="89" y="13"/>
                  </a:cxn>
                  <a:cxn ang="0">
                    <a:pos x="93" y="15"/>
                  </a:cxn>
                  <a:cxn ang="0">
                    <a:pos x="99" y="19"/>
                  </a:cxn>
                </a:cxnLst>
                <a:rect l="0" t="0" r="r" b="b"/>
                <a:pathLst>
                  <a:path w="153" h="51">
                    <a:moveTo>
                      <a:pt x="109" y="22"/>
                    </a:moveTo>
                    <a:lnTo>
                      <a:pt x="109" y="24"/>
                    </a:lnTo>
                    <a:lnTo>
                      <a:pt x="118" y="29"/>
                    </a:lnTo>
                    <a:lnTo>
                      <a:pt x="121" y="29"/>
                    </a:lnTo>
                    <a:lnTo>
                      <a:pt x="125" y="31"/>
                    </a:lnTo>
                    <a:lnTo>
                      <a:pt x="129" y="31"/>
                    </a:lnTo>
                    <a:lnTo>
                      <a:pt x="131" y="31"/>
                    </a:lnTo>
                    <a:lnTo>
                      <a:pt x="131" y="32"/>
                    </a:lnTo>
                    <a:lnTo>
                      <a:pt x="131" y="34"/>
                    </a:lnTo>
                    <a:lnTo>
                      <a:pt x="131" y="35"/>
                    </a:lnTo>
                    <a:lnTo>
                      <a:pt x="131" y="37"/>
                    </a:lnTo>
                    <a:lnTo>
                      <a:pt x="131" y="37"/>
                    </a:lnTo>
                    <a:lnTo>
                      <a:pt x="141" y="37"/>
                    </a:lnTo>
                    <a:lnTo>
                      <a:pt x="142" y="37"/>
                    </a:lnTo>
                    <a:lnTo>
                      <a:pt x="144" y="40"/>
                    </a:lnTo>
                    <a:lnTo>
                      <a:pt x="144" y="40"/>
                    </a:lnTo>
                    <a:lnTo>
                      <a:pt x="148" y="43"/>
                    </a:lnTo>
                    <a:lnTo>
                      <a:pt x="153" y="44"/>
                    </a:lnTo>
                    <a:lnTo>
                      <a:pt x="153" y="45"/>
                    </a:lnTo>
                    <a:lnTo>
                      <a:pt x="140" y="50"/>
                    </a:lnTo>
                    <a:lnTo>
                      <a:pt x="103" y="51"/>
                    </a:lnTo>
                    <a:lnTo>
                      <a:pt x="102" y="50"/>
                    </a:lnTo>
                    <a:lnTo>
                      <a:pt x="102" y="50"/>
                    </a:lnTo>
                    <a:lnTo>
                      <a:pt x="105" y="45"/>
                    </a:lnTo>
                    <a:lnTo>
                      <a:pt x="112" y="43"/>
                    </a:lnTo>
                    <a:lnTo>
                      <a:pt x="112" y="41"/>
                    </a:lnTo>
                    <a:lnTo>
                      <a:pt x="112" y="41"/>
                    </a:lnTo>
                    <a:lnTo>
                      <a:pt x="106" y="38"/>
                    </a:lnTo>
                    <a:lnTo>
                      <a:pt x="97" y="38"/>
                    </a:lnTo>
                    <a:lnTo>
                      <a:pt x="92" y="32"/>
                    </a:lnTo>
                    <a:lnTo>
                      <a:pt x="90" y="27"/>
                    </a:lnTo>
                    <a:lnTo>
                      <a:pt x="89" y="25"/>
                    </a:lnTo>
                    <a:lnTo>
                      <a:pt x="77" y="25"/>
                    </a:lnTo>
                    <a:lnTo>
                      <a:pt x="67" y="21"/>
                    </a:lnTo>
                    <a:lnTo>
                      <a:pt x="61" y="18"/>
                    </a:lnTo>
                    <a:lnTo>
                      <a:pt x="55" y="16"/>
                    </a:lnTo>
                    <a:lnTo>
                      <a:pt x="54" y="16"/>
                    </a:lnTo>
                    <a:lnTo>
                      <a:pt x="52" y="16"/>
                    </a:lnTo>
                    <a:lnTo>
                      <a:pt x="50" y="16"/>
                    </a:lnTo>
                    <a:lnTo>
                      <a:pt x="48" y="16"/>
                    </a:lnTo>
                    <a:lnTo>
                      <a:pt x="48" y="16"/>
                    </a:lnTo>
                    <a:lnTo>
                      <a:pt x="41" y="15"/>
                    </a:lnTo>
                    <a:lnTo>
                      <a:pt x="41" y="15"/>
                    </a:lnTo>
                    <a:lnTo>
                      <a:pt x="39" y="13"/>
                    </a:lnTo>
                    <a:lnTo>
                      <a:pt x="39" y="12"/>
                    </a:lnTo>
                    <a:lnTo>
                      <a:pt x="44" y="11"/>
                    </a:lnTo>
                    <a:lnTo>
                      <a:pt x="45" y="11"/>
                    </a:lnTo>
                    <a:lnTo>
                      <a:pt x="45" y="9"/>
                    </a:lnTo>
                    <a:lnTo>
                      <a:pt x="44" y="9"/>
                    </a:lnTo>
                    <a:lnTo>
                      <a:pt x="42" y="8"/>
                    </a:lnTo>
                    <a:lnTo>
                      <a:pt x="31" y="8"/>
                    </a:lnTo>
                    <a:lnTo>
                      <a:pt x="26" y="11"/>
                    </a:lnTo>
                    <a:lnTo>
                      <a:pt x="23" y="13"/>
                    </a:lnTo>
                    <a:lnTo>
                      <a:pt x="15" y="15"/>
                    </a:lnTo>
                    <a:lnTo>
                      <a:pt x="13" y="18"/>
                    </a:lnTo>
                    <a:lnTo>
                      <a:pt x="10" y="19"/>
                    </a:lnTo>
                    <a:lnTo>
                      <a:pt x="6" y="22"/>
                    </a:lnTo>
                    <a:lnTo>
                      <a:pt x="6" y="22"/>
                    </a:lnTo>
                    <a:lnTo>
                      <a:pt x="6" y="21"/>
                    </a:lnTo>
                    <a:lnTo>
                      <a:pt x="5" y="21"/>
                    </a:lnTo>
                    <a:lnTo>
                      <a:pt x="0" y="21"/>
                    </a:lnTo>
                    <a:lnTo>
                      <a:pt x="0" y="19"/>
                    </a:lnTo>
                    <a:lnTo>
                      <a:pt x="5" y="18"/>
                    </a:lnTo>
                    <a:lnTo>
                      <a:pt x="6" y="18"/>
                    </a:lnTo>
                    <a:lnTo>
                      <a:pt x="7" y="16"/>
                    </a:lnTo>
                    <a:lnTo>
                      <a:pt x="7" y="12"/>
                    </a:lnTo>
                    <a:lnTo>
                      <a:pt x="7" y="11"/>
                    </a:lnTo>
                    <a:lnTo>
                      <a:pt x="35" y="0"/>
                    </a:lnTo>
                    <a:lnTo>
                      <a:pt x="60" y="0"/>
                    </a:lnTo>
                    <a:lnTo>
                      <a:pt x="61" y="2"/>
                    </a:lnTo>
                    <a:lnTo>
                      <a:pt x="63" y="3"/>
                    </a:lnTo>
                    <a:lnTo>
                      <a:pt x="68" y="2"/>
                    </a:lnTo>
                    <a:lnTo>
                      <a:pt x="73" y="6"/>
                    </a:lnTo>
                    <a:lnTo>
                      <a:pt x="74" y="8"/>
                    </a:lnTo>
                    <a:lnTo>
                      <a:pt x="77" y="11"/>
                    </a:lnTo>
                    <a:lnTo>
                      <a:pt x="80" y="12"/>
                    </a:lnTo>
                    <a:lnTo>
                      <a:pt x="86" y="11"/>
                    </a:lnTo>
                    <a:lnTo>
                      <a:pt x="87" y="12"/>
                    </a:lnTo>
                    <a:lnTo>
                      <a:pt x="90" y="12"/>
                    </a:lnTo>
                    <a:lnTo>
                      <a:pt x="90" y="13"/>
                    </a:lnTo>
                    <a:lnTo>
                      <a:pt x="90" y="13"/>
                    </a:lnTo>
                    <a:lnTo>
                      <a:pt x="89" y="13"/>
                    </a:lnTo>
                    <a:lnTo>
                      <a:pt x="90" y="15"/>
                    </a:lnTo>
                    <a:lnTo>
                      <a:pt x="93" y="15"/>
                    </a:lnTo>
                    <a:lnTo>
                      <a:pt x="96" y="16"/>
                    </a:lnTo>
                    <a:lnTo>
                      <a:pt x="99" y="19"/>
                    </a:lnTo>
                    <a:lnTo>
                      <a:pt x="109" y="2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76" name="Freeform 1251"/>
              <p:cNvSpPr>
                <a:spLocks/>
              </p:cNvSpPr>
              <p:nvPr/>
            </p:nvSpPr>
            <p:spPr bwMode="auto">
              <a:xfrm>
                <a:off x="5034008" y="2944018"/>
                <a:ext cx="6145" cy="8113"/>
              </a:xfrm>
              <a:custGeom>
                <a:avLst/>
                <a:gdLst/>
                <a:ahLst/>
                <a:cxnLst>
                  <a:cxn ang="0">
                    <a:pos x="6" y="0"/>
                  </a:cxn>
                  <a:cxn ang="0">
                    <a:pos x="6" y="2"/>
                  </a:cxn>
                  <a:cxn ang="0">
                    <a:pos x="6" y="3"/>
                  </a:cxn>
                  <a:cxn ang="0">
                    <a:pos x="7" y="6"/>
                  </a:cxn>
                  <a:cxn ang="0">
                    <a:pos x="3" y="8"/>
                  </a:cxn>
                  <a:cxn ang="0">
                    <a:pos x="1" y="8"/>
                  </a:cxn>
                  <a:cxn ang="0">
                    <a:pos x="0" y="6"/>
                  </a:cxn>
                  <a:cxn ang="0">
                    <a:pos x="0" y="5"/>
                  </a:cxn>
                  <a:cxn ang="0">
                    <a:pos x="1" y="6"/>
                  </a:cxn>
                  <a:cxn ang="0">
                    <a:pos x="3" y="5"/>
                  </a:cxn>
                  <a:cxn ang="0">
                    <a:pos x="1" y="3"/>
                  </a:cxn>
                  <a:cxn ang="0">
                    <a:pos x="1" y="2"/>
                  </a:cxn>
                  <a:cxn ang="0">
                    <a:pos x="1" y="0"/>
                  </a:cxn>
                  <a:cxn ang="0">
                    <a:pos x="3" y="0"/>
                  </a:cxn>
                  <a:cxn ang="0">
                    <a:pos x="4" y="0"/>
                  </a:cxn>
                  <a:cxn ang="0">
                    <a:pos x="6" y="0"/>
                  </a:cxn>
                  <a:cxn ang="0">
                    <a:pos x="6" y="0"/>
                  </a:cxn>
                </a:cxnLst>
                <a:rect l="0" t="0" r="r" b="b"/>
                <a:pathLst>
                  <a:path w="7" h="8">
                    <a:moveTo>
                      <a:pt x="6" y="0"/>
                    </a:moveTo>
                    <a:lnTo>
                      <a:pt x="6" y="2"/>
                    </a:lnTo>
                    <a:lnTo>
                      <a:pt x="6" y="3"/>
                    </a:lnTo>
                    <a:lnTo>
                      <a:pt x="7" y="6"/>
                    </a:lnTo>
                    <a:lnTo>
                      <a:pt x="3" y="8"/>
                    </a:lnTo>
                    <a:lnTo>
                      <a:pt x="1" y="8"/>
                    </a:lnTo>
                    <a:lnTo>
                      <a:pt x="0" y="6"/>
                    </a:lnTo>
                    <a:lnTo>
                      <a:pt x="0" y="5"/>
                    </a:lnTo>
                    <a:lnTo>
                      <a:pt x="1" y="6"/>
                    </a:lnTo>
                    <a:lnTo>
                      <a:pt x="3" y="5"/>
                    </a:lnTo>
                    <a:lnTo>
                      <a:pt x="1" y="3"/>
                    </a:lnTo>
                    <a:lnTo>
                      <a:pt x="1" y="2"/>
                    </a:lnTo>
                    <a:lnTo>
                      <a:pt x="1" y="0"/>
                    </a:lnTo>
                    <a:lnTo>
                      <a:pt x="3" y="0"/>
                    </a:lnTo>
                    <a:lnTo>
                      <a:pt x="4" y="0"/>
                    </a:lnTo>
                    <a:lnTo>
                      <a:pt x="6" y="0"/>
                    </a:lnTo>
                    <a:lnTo>
                      <a:pt x="6"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77" name="Freeform 1252"/>
              <p:cNvSpPr>
                <a:spLocks/>
              </p:cNvSpPr>
              <p:nvPr/>
            </p:nvSpPr>
            <p:spPr bwMode="auto">
              <a:xfrm>
                <a:off x="5034008" y="2944018"/>
                <a:ext cx="6145" cy="8113"/>
              </a:xfrm>
              <a:custGeom>
                <a:avLst/>
                <a:gdLst/>
                <a:ahLst/>
                <a:cxnLst>
                  <a:cxn ang="0">
                    <a:pos x="6" y="0"/>
                  </a:cxn>
                  <a:cxn ang="0">
                    <a:pos x="6" y="2"/>
                  </a:cxn>
                  <a:cxn ang="0">
                    <a:pos x="6" y="3"/>
                  </a:cxn>
                  <a:cxn ang="0">
                    <a:pos x="7" y="6"/>
                  </a:cxn>
                  <a:cxn ang="0">
                    <a:pos x="3" y="8"/>
                  </a:cxn>
                  <a:cxn ang="0">
                    <a:pos x="1" y="8"/>
                  </a:cxn>
                  <a:cxn ang="0">
                    <a:pos x="0" y="6"/>
                  </a:cxn>
                  <a:cxn ang="0">
                    <a:pos x="0" y="5"/>
                  </a:cxn>
                  <a:cxn ang="0">
                    <a:pos x="1" y="6"/>
                  </a:cxn>
                  <a:cxn ang="0">
                    <a:pos x="3" y="5"/>
                  </a:cxn>
                  <a:cxn ang="0">
                    <a:pos x="1" y="3"/>
                  </a:cxn>
                  <a:cxn ang="0">
                    <a:pos x="1" y="2"/>
                  </a:cxn>
                  <a:cxn ang="0">
                    <a:pos x="1" y="0"/>
                  </a:cxn>
                  <a:cxn ang="0">
                    <a:pos x="3" y="0"/>
                  </a:cxn>
                  <a:cxn ang="0">
                    <a:pos x="4" y="0"/>
                  </a:cxn>
                  <a:cxn ang="0">
                    <a:pos x="6" y="0"/>
                  </a:cxn>
                  <a:cxn ang="0">
                    <a:pos x="6" y="0"/>
                  </a:cxn>
                </a:cxnLst>
                <a:rect l="0" t="0" r="r" b="b"/>
                <a:pathLst>
                  <a:path w="7" h="8">
                    <a:moveTo>
                      <a:pt x="6" y="0"/>
                    </a:moveTo>
                    <a:lnTo>
                      <a:pt x="6" y="2"/>
                    </a:lnTo>
                    <a:lnTo>
                      <a:pt x="6" y="3"/>
                    </a:lnTo>
                    <a:lnTo>
                      <a:pt x="7" y="6"/>
                    </a:lnTo>
                    <a:lnTo>
                      <a:pt x="3" y="8"/>
                    </a:lnTo>
                    <a:lnTo>
                      <a:pt x="1" y="8"/>
                    </a:lnTo>
                    <a:lnTo>
                      <a:pt x="0" y="6"/>
                    </a:lnTo>
                    <a:lnTo>
                      <a:pt x="0" y="5"/>
                    </a:lnTo>
                    <a:lnTo>
                      <a:pt x="1" y="6"/>
                    </a:lnTo>
                    <a:lnTo>
                      <a:pt x="3" y="5"/>
                    </a:lnTo>
                    <a:lnTo>
                      <a:pt x="1" y="3"/>
                    </a:lnTo>
                    <a:lnTo>
                      <a:pt x="1" y="2"/>
                    </a:lnTo>
                    <a:lnTo>
                      <a:pt x="1" y="0"/>
                    </a:lnTo>
                    <a:lnTo>
                      <a:pt x="3" y="0"/>
                    </a:lnTo>
                    <a:lnTo>
                      <a:pt x="4" y="0"/>
                    </a:lnTo>
                    <a:lnTo>
                      <a:pt x="6" y="0"/>
                    </a:lnTo>
                    <a:lnTo>
                      <a:pt x="6"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78" name="Freeform 1253"/>
              <p:cNvSpPr>
                <a:spLocks/>
              </p:cNvSpPr>
              <p:nvPr/>
            </p:nvSpPr>
            <p:spPr bwMode="auto">
              <a:xfrm>
                <a:off x="5091942" y="2933877"/>
                <a:ext cx="13167" cy="9127"/>
              </a:xfrm>
              <a:custGeom>
                <a:avLst/>
                <a:gdLst/>
                <a:ahLst/>
                <a:cxnLst>
                  <a:cxn ang="0">
                    <a:pos x="10" y="4"/>
                  </a:cxn>
                  <a:cxn ang="0">
                    <a:pos x="13" y="6"/>
                  </a:cxn>
                  <a:cxn ang="0">
                    <a:pos x="14" y="7"/>
                  </a:cxn>
                  <a:cxn ang="0">
                    <a:pos x="14" y="9"/>
                  </a:cxn>
                  <a:cxn ang="0">
                    <a:pos x="11" y="9"/>
                  </a:cxn>
                  <a:cxn ang="0">
                    <a:pos x="8" y="7"/>
                  </a:cxn>
                  <a:cxn ang="0">
                    <a:pos x="7" y="4"/>
                  </a:cxn>
                  <a:cxn ang="0">
                    <a:pos x="6" y="3"/>
                  </a:cxn>
                  <a:cxn ang="0">
                    <a:pos x="3" y="3"/>
                  </a:cxn>
                  <a:cxn ang="0">
                    <a:pos x="0" y="2"/>
                  </a:cxn>
                  <a:cxn ang="0">
                    <a:pos x="0" y="2"/>
                  </a:cxn>
                  <a:cxn ang="0">
                    <a:pos x="0" y="0"/>
                  </a:cxn>
                  <a:cxn ang="0">
                    <a:pos x="4" y="0"/>
                  </a:cxn>
                  <a:cxn ang="0">
                    <a:pos x="10" y="4"/>
                  </a:cxn>
                </a:cxnLst>
                <a:rect l="0" t="0" r="r" b="b"/>
                <a:pathLst>
                  <a:path w="14" h="9">
                    <a:moveTo>
                      <a:pt x="10" y="4"/>
                    </a:moveTo>
                    <a:lnTo>
                      <a:pt x="13" y="6"/>
                    </a:lnTo>
                    <a:lnTo>
                      <a:pt x="14" y="7"/>
                    </a:lnTo>
                    <a:lnTo>
                      <a:pt x="14" y="9"/>
                    </a:lnTo>
                    <a:lnTo>
                      <a:pt x="11" y="9"/>
                    </a:lnTo>
                    <a:lnTo>
                      <a:pt x="8" y="7"/>
                    </a:lnTo>
                    <a:lnTo>
                      <a:pt x="7" y="4"/>
                    </a:lnTo>
                    <a:lnTo>
                      <a:pt x="6" y="3"/>
                    </a:lnTo>
                    <a:lnTo>
                      <a:pt x="3" y="3"/>
                    </a:lnTo>
                    <a:lnTo>
                      <a:pt x="0" y="2"/>
                    </a:lnTo>
                    <a:lnTo>
                      <a:pt x="0" y="2"/>
                    </a:lnTo>
                    <a:lnTo>
                      <a:pt x="0" y="0"/>
                    </a:lnTo>
                    <a:lnTo>
                      <a:pt x="4" y="0"/>
                    </a:lnTo>
                    <a:lnTo>
                      <a:pt x="10" y="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79" name="Freeform 1254"/>
              <p:cNvSpPr>
                <a:spLocks/>
              </p:cNvSpPr>
              <p:nvPr/>
            </p:nvSpPr>
            <p:spPr bwMode="auto">
              <a:xfrm>
                <a:off x="5091942" y="2933877"/>
                <a:ext cx="13167" cy="9127"/>
              </a:xfrm>
              <a:custGeom>
                <a:avLst/>
                <a:gdLst/>
                <a:ahLst/>
                <a:cxnLst>
                  <a:cxn ang="0">
                    <a:pos x="10" y="4"/>
                  </a:cxn>
                  <a:cxn ang="0">
                    <a:pos x="13" y="6"/>
                  </a:cxn>
                  <a:cxn ang="0">
                    <a:pos x="14" y="7"/>
                  </a:cxn>
                  <a:cxn ang="0">
                    <a:pos x="14" y="9"/>
                  </a:cxn>
                  <a:cxn ang="0">
                    <a:pos x="11" y="9"/>
                  </a:cxn>
                  <a:cxn ang="0">
                    <a:pos x="8" y="7"/>
                  </a:cxn>
                  <a:cxn ang="0">
                    <a:pos x="7" y="4"/>
                  </a:cxn>
                  <a:cxn ang="0">
                    <a:pos x="6" y="3"/>
                  </a:cxn>
                  <a:cxn ang="0">
                    <a:pos x="3" y="3"/>
                  </a:cxn>
                  <a:cxn ang="0">
                    <a:pos x="0" y="2"/>
                  </a:cxn>
                  <a:cxn ang="0">
                    <a:pos x="0" y="2"/>
                  </a:cxn>
                  <a:cxn ang="0">
                    <a:pos x="0" y="0"/>
                  </a:cxn>
                  <a:cxn ang="0">
                    <a:pos x="4" y="0"/>
                  </a:cxn>
                  <a:cxn ang="0">
                    <a:pos x="10" y="4"/>
                  </a:cxn>
                </a:cxnLst>
                <a:rect l="0" t="0" r="r" b="b"/>
                <a:pathLst>
                  <a:path w="14" h="9">
                    <a:moveTo>
                      <a:pt x="10" y="4"/>
                    </a:moveTo>
                    <a:lnTo>
                      <a:pt x="13" y="6"/>
                    </a:lnTo>
                    <a:lnTo>
                      <a:pt x="14" y="7"/>
                    </a:lnTo>
                    <a:lnTo>
                      <a:pt x="14" y="9"/>
                    </a:lnTo>
                    <a:lnTo>
                      <a:pt x="11" y="9"/>
                    </a:lnTo>
                    <a:lnTo>
                      <a:pt x="8" y="7"/>
                    </a:lnTo>
                    <a:lnTo>
                      <a:pt x="7" y="4"/>
                    </a:lnTo>
                    <a:lnTo>
                      <a:pt x="6" y="3"/>
                    </a:lnTo>
                    <a:lnTo>
                      <a:pt x="3" y="3"/>
                    </a:lnTo>
                    <a:lnTo>
                      <a:pt x="0" y="2"/>
                    </a:lnTo>
                    <a:lnTo>
                      <a:pt x="0" y="2"/>
                    </a:lnTo>
                    <a:lnTo>
                      <a:pt x="0" y="0"/>
                    </a:lnTo>
                    <a:lnTo>
                      <a:pt x="4" y="0"/>
                    </a:lnTo>
                    <a:lnTo>
                      <a:pt x="10" y="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80" name="Freeform 1255"/>
              <p:cNvSpPr>
                <a:spLocks/>
              </p:cNvSpPr>
              <p:nvPr/>
            </p:nvSpPr>
            <p:spPr bwMode="auto">
              <a:xfrm>
                <a:off x="5275403" y="4244137"/>
                <a:ext cx="12289" cy="5071"/>
              </a:xfrm>
              <a:custGeom>
                <a:avLst/>
                <a:gdLst/>
                <a:ahLst/>
                <a:cxnLst>
                  <a:cxn ang="0">
                    <a:pos x="3" y="1"/>
                  </a:cxn>
                  <a:cxn ang="0">
                    <a:pos x="6" y="1"/>
                  </a:cxn>
                  <a:cxn ang="0">
                    <a:pos x="10" y="1"/>
                  </a:cxn>
                  <a:cxn ang="0">
                    <a:pos x="13" y="0"/>
                  </a:cxn>
                  <a:cxn ang="0">
                    <a:pos x="13" y="1"/>
                  </a:cxn>
                  <a:cxn ang="0">
                    <a:pos x="13" y="2"/>
                  </a:cxn>
                  <a:cxn ang="0">
                    <a:pos x="12" y="2"/>
                  </a:cxn>
                  <a:cxn ang="0">
                    <a:pos x="10" y="2"/>
                  </a:cxn>
                  <a:cxn ang="0">
                    <a:pos x="7" y="2"/>
                  </a:cxn>
                  <a:cxn ang="0">
                    <a:pos x="7" y="4"/>
                  </a:cxn>
                  <a:cxn ang="0">
                    <a:pos x="6" y="4"/>
                  </a:cxn>
                  <a:cxn ang="0">
                    <a:pos x="3" y="5"/>
                  </a:cxn>
                  <a:cxn ang="0">
                    <a:pos x="0" y="4"/>
                  </a:cxn>
                  <a:cxn ang="0">
                    <a:pos x="2" y="2"/>
                  </a:cxn>
                  <a:cxn ang="0">
                    <a:pos x="2" y="1"/>
                  </a:cxn>
                  <a:cxn ang="0">
                    <a:pos x="3" y="1"/>
                  </a:cxn>
                </a:cxnLst>
                <a:rect l="0" t="0" r="r" b="b"/>
                <a:pathLst>
                  <a:path w="13" h="5">
                    <a:moveTo>
                      <a:pt x="3" y="1"/>
                    </a:moveTo>
                    <a:lnTo>
                      <a:pt x="6" y="1"/>
                    </a:lnTo>
                    <a:lnTo>
                      <a:pt x="10" y="1"/>
                    </a:lnTo>
                    <a:lnTo>
                      <a:pt x="13" y="0"/>
                    </a:lnTo>
                    <a:lnTo>
                      <a:pt x="13" y="1"/>
                    </a:lnTo>
                    <a:lnTo>
                      <a:pt x="13" y="2"/>
                    </a:lnTo>
                    <a:lnTo>
                      <a:pt x="12" y="2"/>
                    </a:lnTo>
                    <a:lnTo>
                      <a:pt x="10" y="2"/>
                    </a:lnTo>
                    <a:lnTo>
                      <a:pt x="7" y="2"/>
                    </a:lnTo>
                    <a:lnTo>
                      <a:pt x="7" y="4"/>
                    </a:lnTo>
                    <a:lnTo>
                      <a:pt x="6" y="4"/>
                    </a:lnTo>
                    <a:lnTo>
                      <a:pt x="3" y="5"/>
                    </a:lnTo>
                    <a:lnTo>
                      <a:pt x="0" y="4"/>
                    </a:lnTo>
                    <a:lnTo>
                      <a:pt x="2" y="2"/>
                    </a:lnTo>
                    <a:lnTo>
                      <a:pt x="2" y="1"/>
                    </a:lnTo>
                    <a:lnTo>
                      <a:pt x="3"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81" name="Freeform 1256"/>
              <p:cNvSpPr>
                <a:spLocks/>
              </p:cNvSpPr>
              <p:nvPr/>
            </p:nvSpPr>
            <p:spPr bwMode="auto">
              <a:xfrm>
                <a:off x="5275403" y="4244137"/>
                <a:ext cx="12289" cy="5071"/>
              </a:xfrm>
              <a:custGeom>
                <a:avLst/>
                <a:gdLst/>
                <a:ahLst/>
                <a:cxnLst>
                  <a:cxn ang="0">
                    <a:pos x="3" y="1"/>
                  </a:cxn>
                  <a:cxn ang="0">
                    <a:pos x="6" y="1"/>
                  </a:cxn>
                  <a:cxn ang="0">
                    <a:pos x="10" y="1"/>
                  </a:cxn>
                  <a:cxn ang="0">
                    <a:pos x="13" y="0"/>
                  </a:cxn>
                  <a:cxn ang="0">
                    <a:pos x="13" y="1"/>
                  </a:cxn>
                  <a:cxn ang="0">
                    <a:pos x="13" y="2"/>
                  </a:cxn>
                  <a:cxn ang="0">
                    <a:pos x="12" y="2"/>
                  </a:cxn>
                  <a:cxn ang="0">
                    <a:pos x="10" y="2"/>
                  </a:cxn>
                  <a:cxn ang="0">
                    <a:pos x="7" y="2"/>
                  </a:cxn>
                  <a:cxn ang="0">
                    <a:pos x="7" y="4"/>
                  </a:cxn>
                  <a:cxn ang="0">
                    <a:pos x="6" y="4"/>
                  </a:cxn>
                  <a:cxn ang="0">
                    <a:pos x="3" y="5"/>
                  </a:cxn>
                  <a:cxn ang="0">
                    <a:pos x="0" y="4"/>
                  </a:cxn>
                  <a:cxn ang="0">
                    <a:pos x="2" y="2"/>
                  </a:cxn>
                  <a:cxn ang="0">
                    <a:pos x="2" y="1"/>
                  </a:cxn>
                  <a:cxn ang="0">
                    <a:pos x="3" y="1"/>
                  </a:cxn>
                </a:cxnLst>
                <a:rect l="0" t="0" r="r" b="b"/>
                <a:pathLst>
                  <a:path w="13" h="5">
                    <a:moveTo>
                      <a:pt x="3" y="1"/>
                    </a:moveTo>
                    <a:lnTo>
                      <a:pt x="6" y="1"/>
                    </a:lnTo>
                    <a:lnTo>
                      <a:pt x="10" y="1"/>
                    </a:lnTo>
                    <a:lnTo>
                      <a:pt x="13" y="0"/>
                    </a:lnTo>
                    <a:lnTo>
                      <a:pt x="13" y="1"/>
                    </a:lnTo>
                    <a:lnTo>
                      <a:pt x="13" y="2"/>
                    </a:lnTo>
                    <a:lnTo>
                      <a:pt x="12" y="2"/>
                    </a:lnTo>
                    <a:lnTo>
                      <a:pt x="10" y="2"/>
                    </a:lnTo>
                    <a:lnTo>
                      <a:pt x="7" y="2"/>
                    </a:lnTo>
                    <a:lnTo>
                      <a:pt x="7" y="4"/>
                    </a:lnTo>
                    <a:lnTo>
                      <a:pt x="6" y="4"/>
                    </a:lnTo>
                    <a:lnTo>
                      <a:pt x="3" y="5"/>
                    </a:lnTo>
                    <a:lnTo>
                      <a:pt x="0" y="4"/>
                    </a:lnTo>
                    <a:lnTo>
                      <a:pt x="2" y="2"/>
                    </a:lnTo>
                    <a:lnTo>
                      <a:pt x="2" y="1"/>
                    </a:lnTo>
                    <a:lnTo>
                      <a:pt x="3"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82" name="Freeform 1257"/>
              <p:cNvSpPr>
                <a:spLocks/>
              </p:cNvSpPr>
              <p:nvPr/>
            </p:nvSpPr>
            <p:spPr bwMode="auto">
              <a:xfrm>
                <a:off x="6663206" y="3023121"/>
                <a:ext cx="2634" cy="3042"/>
              </a:xfrm>
              <a:custGeom>
                <a:avLst/>
                <a:gdLst/>
                <a:ahLst/>
                <a:cxnLst>
                  <a:cxn ang="0">
                    <a:pos x="1" y="3"/>
                  </a:cxn>
                  <a:cxn ang="0">
                    <a:pos x="3" y="3"/>
                  </a:cxn>
                  <a:cxn ang="0">
                    <a:pos x="3" y="3"/>
                  </a:cxn>
                  <a:cxn ang="0">
                    <a:pos x="1" y="1"/>
                  </a:cxn>
                  <a:cxn ang="0">
                    <a:pos x="0" y="0"/>
                  </a:cxn>
                  <a:cxn ang="0">
                    <a:pos x="0" y="0"/>
                  </a:cxn>
                  <a:cxn ang="0">
                    <a:pos x="0" y="1"/>
                  </a:cxn>
                  <a:cxn ang="0">
                    <a:pos x="1" y="3"/>
                  </a:cxn>
                  <a:cxn ang="0">
                    <a:pos x="1" y="3"/>
                  </a:cxn>
                </a:cxnLst>
                <a:rect l="0" t="0" r="r" b="b"/>
                <a:pathLst>
                  <a:path w="3" h="3">
                    <a:moveTo>
                      <a:pt x="1" y="3"/>
                    </a:moveTo>
                    <a:lnTo>
                      <a:pt x="3" y="3"/>
                    </a:lnTo>
                    <a:lnTo>
                      <a:pt x="3" y="3"/>
                    </a:lnTo>
                    <a:lnTo>
                      <a:pt x="1" y="1"/>
                    </a:lnTo>
                    <a:lnTo>
                      <a:pt x="0" y="0"/>
                    </a:lnTo>
                    <a:lnTo>
                      <a:pt x="0" y="0"/>
                    </a:lnTo>
                    <a:lnTo>
                      <a:pt x="0" y="1"/>
                    </a:lnTo>
                    <a:lnTo>
                      <a:pt x="1" y="3"/>
                    </a:lnTo>
                    <a:lnTo>
                      <a:pt x="1"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83" name="Freeform 1258"/>
              <p:cNvSpPr>
                <a:spLocks/>
              </p:cNvSpPr>
              <p:nvPr/>
            </p:nvSpPr>
            <p:spPr bwMode="auto">
              <a:xfrm>
                <a:off x="6663206" y="3023121"/>
                <a:ext cx="2634" cy="3042"/>
              </a:xfrm>
              <a:custGeom>
                <a:avLst/>
                <a:gdLst/>
                <a:ahLst/>
                <a:cxnLst>
                  <a:cxn ang="0">
                    <a:pos x="1" y="3"/>
                  </a:cxn>
                  <a:cxn ang="0">
                    <a:pos x="3" y="3"/>
                  </a:cxn>
                  <a:cxn ang="0">
                    <a:pos x="3" y="3"/>
                  </a:cxn>
                  <a:cxn ang="0">
                    <a:pos x="1" y="1"/>
                  </a:cxn>
                  <a:cxn ang="0">
                    <a:pos x="0" y="0"/>
                  </a:cxn>
                  <a:cxn ang="0">
                    <a:pos x="0" y="0"/>
                  </a:cxn>
                  <a:cxn ang="0">
                    <a:pos x="0" y="1"/>
                  </a:cxn>
                  <a:cxn ang="0">
                    <a:pos x="1" y="3"/>
                  </a:cxn>
                  <a:cxn ang="0">
                    <a:pos x="1" y="3"/>
                  </a:cxn>
                </a:cxnLst>
                <a:rect l="0" t="0" r="r" b="b"/>
                <a:pathLst>
                  <a:path w="3" h="3">
                    <a:moveTo>
                      <a:pt x="1" y="3"/>
                    </a:moveTo>
                    <a:lnTo>
                      <a:pt x="3" y="3"/>
                    </a:lnTo>
                    <a:lnTo>
                      <a:pt x="3" y="3"/>
                    </a:lnTo>
                    <a:lnTo>
                      <a:pt x="1" y="1"/>
                    </a:lnTo>
                    <a:lnTo>
                      <a:pt x="0" y="0"/>
                    </a:lnTo>
                    <a:lnTo>
                      <a:pt x="0" y="0"/>
                    </a:lnTo>
                    <a:lnTo>
                      <a:pt x="0" y="1"/>
                    </a:lnTo>
                    <a:lnTo>
                      <a:pt x="1" y="3"/>
                    </a:lnTo>
                    <a:lnTo>
                      <a:pt x="1"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84" name="Freeform 1259"/>
              <p:cNvSpPr>
                <a:spLocks/>
              </p:cNvSpPr>
              <p:nvPr/>
            </p:nvSpPr>
            <p:spPr bwMode="auto">
              <a:xfrm>
                <a:off x="6664083" y="3021093"/>
                <a:ext cx="1756" cy="3042"/>
              </a:xfrm>
              <a:custGeom>
                <a:avLst/>
                <a:gdLst/>
                <a:ahLst/>
                <a:cxnLst>
                  <a:cxn ang="0">
                    <a:pos x="0" y="0"/>
                  </a:cxn>
                  <a:cxn ang="0">
                    <a:pos x="0" y="0"/>
                  </a:cxn>
                  <a:cxn ang="0">
                    <a:pos x="0" y="2"/>
                  </a:cxn>
                  <a:cxn ang="0">
                    <a:pos x="0" y="2"/>
                  </a:cxn>
                  <a:cxn ang="0">
                    <a:pos x="0" y="3"/>
                  </a:cxn>
                  <a:cxn ang="0">
                    <a:pos x="2" y="3"/>
                  </a:cxn>
                  <a:cxn ang="0">
                    <a:pos x="2" y="3"/>
                  </a:cxn>
                  <a:cxn ang="0">
                    <a:pos x="2" y="3"/>
                  </a:cxn>
                  <a:cxn ang="0">
                    <a:pos x="2" y="2"/>
                  </a:cxn>
                  <a:cxn ang="0">
                    <a:pos x="0" y="2"/>
                  </a:cxn>
                  <a:cxn ang="0">
                    <a:pos x="0" y="0"/>
                  </a:cxn>
                </a:cxnLst>
                <a:rect l="0" t="0" r="r" b="b"/>
                <a:pathLst>
                  <a:path w="2" h="3">
                    <a:moveTo>
                      <a:pt x="0" y="0"/>
                    </a:moveTo>
                    <a:lnTo>
                      <a:pt x="0" y="0"/>
                    </a:lnTo>
                    <a:lnTo>
                      <a:pt x="0" y="2"/>
                    </a:lnTo>
                    <a:lnTo>
                      <a:pt x="0" y="2"/>
                    </a:lnTo>
                    <a:lnTo>
                      <a:pt x="0" y="3"/>
                    </a:lnTo>
                    <a:lnTo>
                      <a:pt x="2" y="3"/>
                    </a:lnTo>
                    <a:lnTo>
                      <a:pt x="2" y="3"/>
                    </a:lnTo>
                    <a:lnTo>
                      <a:pt x="2" y="3"/>
                    </a:lnTo>
                    <a:lnTo>
                      <a:pt x="2" y="2"/>
                    </a:lnTo>
                    <a:lnTo>
                      <a:pt x="0" y="2"/>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85" name="Freeform 1260"/>
              <p:cNvSpPr>
                <a:spLocks/>
              </p:cNvSpPr>
              <p:nvPr/>
            </p:nvSpPr>
            <p:spPr bwMode="auto">
              <a:xfrm>
                <a:off x="6664083" y="3021093"/>
                <a:ext cx="1756" cy="3042"/>
              </a:xfrm>
              <a:custGeom>
                <a:avLst/>
                <a:gdLst/>
                <a:ahLst/>
                <a:cxnLst>
                  <a:cxn ang="0">
                    <a:pos x="0" y="0"/>
                  </a:cxn>
                  <a:cxn ang="0">
                    <a:pos x="0" y="0"/>
                  </a:cxn>
                  <a:cxn ang="0">
                    <a:pos x="0" y="2"/>
                  </a:cxn>
                  <a:cxn ang="0">
                    <a:pos x="0" y="2"/>
                  </a:cxn>
                  <a:cxn ang="0">
                    <a:pos x="0" y="3"/>
                  </a:cxn>
                  <a:cxn ang="0">
                    <a:pos x="2" y="3"/>
                  </a:cxn>
                  <a:cxn ang="0">
                    <a:pos x="2" y="3"/>
                  </a:cxn>
                  <a:cxn ang="0">
                    <a:pos x="2" y="3"/>
                  </a:cxn>
                  <a:cxn ang="0">
                    <a:pos x="2" y="2"/>
                  </a:cxn>
                  <a:cxn ang="0">
                    <a:pos x="0" y="2"/>
                  </a:cxn>
                  <a:cxn ang="0">
                    <a:pos x="0" y="0"/>
                  </a:cxn>
                </a:cxnLst>
                <a:rect l="0" t="0" r="r" b="b"/>
                <a:pathLst>
                  <a:path w="2" h="3">
                    <a:moveTo>
                      <a:pt x="0" y="0"/>
                    </a:moveTo>
                    <a:lnTo>
                      <a:pt x="0" y="0"/>
                    </a:lnTo>
                    <a:lnTo>
                      <a:pt x="0" y="2"/>
                    </a:lnTo>
                    <a:lnTo>
                      <a:pt x="0" y="2"/>
                    </a:lnTo>
                    <a:lnTo>
                      <a:pt x="0" y="3"/>
                    </a:lnTo>
                    <a:lnTo>
                      <a:pt x="2" y="3"/>
                    </a:lnTo>
                    <a:lnTo>
                      <a:pt x="2" y="3"/>
                    </a:lnTo>
                    <a:lnTo>
                      <a:pt x="2" y="3"/>
                    </a:lnTo>
                    <a:lnTo>
                      <a:pt x="2" y="2"/>
                    </a:lnTo>
                    <a:lnTo>
                      <a:pt x="0" y="2"/>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86" name="Freeform 1261"/>
              <p:cNvSpPr>
                <a:spLocks/>
              </p:cNvSpPr>
              <p:nvPr/>
            </p:nvSpPr>
            <p:spPr bwMode="auto">
              <a:xfrm>
                <a:off x="6665840" y="3024134"/>
                <a:ext cx="2633" cy="2028"/>
              </a:xfrm>
              <a:custGeom>
                <a:avLst/>
                <a:gdLst/>
                <a:ahLst/>
                <a:cxnLst>
                  <a:cxn ang="0">
                    <a:pos x="1" y="2"/>
                  </a:cxn>
                  <a:cxn ang="0">
                    <a:pos x="3" y="2"/>
                  </a:cxn>
                  <a:cxn ang="0">
                    <a:pos x="1" y="0"/>
                  </a:cxn>
                  <a:cxn ang="0">
                    <a:pos x="1" y="0"/>
                  </a:cxn>
                  <a:cxn ang="0">
                    <a:pos x="1" y="0"/>
                  </a:cxn>
                  <a:cxn ang="0">
                    <a:pos x="0" y="2"/>
                  </a:cxn>
                  <a:cxn ang="0">
                    <a:pos x="1" y="2"/>
                  </a:cxn>
                  <a:cxn ang="0">
                    <a:pos x="1" y="2"/>
                  </a:cxn>
                  <a:cxn ang="0">
                    <a:pos x="1" y="2"/>
                  </a:cxn>
                </a:cxnLst>
                <a:rect l="0" t="0" r="r" b="b"/>
                <a:pathLst>
                  <a:path w="3" h="2">
                    <a:moveTo>
                      <a:pt x="1" y="2"/>
                    </a:moveTo>
                    <a:lnTo>
                      <a:pt x="3" y="2"/>
                    </a:lnTo>
                    <a:lnTo>
                      <a:pt x="1" y="0"/>
                    </a:lnTo>
                    <a:lnTo>
                      <a:pt x="1" y="0"/>
                    </a:lnTo>
                    <a:lnTo>
                      <a:pt x="1" y="0"/>
                    </a:lnTo>
                    <a:lnTo>
                      <a:pt x="0" y="2"/>
                    </a:lnTo>
                    <a:lnTo>
                      <a:pt x="1" y="2"/>
                    </a:lnTo>
                    <a:lnTo>
                      <a:pt x="1" y="2"/>
                    </a:lnTo>
                    <a:lnTo>
                      <a:pt x="1"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87" name="Freeform 1262"/>
              <p:cNvSpPr>
                <a:spLocks/>
              </p:cNvSpPr>
              <p:nvPr/>
            </p:nvSpPr>
            <p:spPr bwMode="auto">
              <a:xfrm>
                <a:off x="6665840" y="3024134"/>
                <a:ext cx="2633" cy="2028"/>
              </a:xfrm>
              <a:custGeom>
                <a:avLst/>
                <a:gdLst/>
                <a:ahLst/>
                <a:cxnLst>
                  <a:cxn ang="0">
                    <a:pos x="1" y="2"/>
                  </a:cxn>
                  <a:cxn ang="0">
                    <a:pos x="3" y="2"/>
                  </a:cxn>
                  <a:cxn ang="0">
                    <a:pos x="1" y="0"/>
                  </a:cxn>
                  <a:cxn ang="0">
                    <a:pos x="1" y="0"/>
                  </a:cxn>
                  <a:cxn ang="0">
                    <a:pos x="1" y="0"/>
                  </a:cxn>
                  <a:cxn ang="0">
                    <a:pos x="0" y="2"/>
                  </a:cxn>
                  <a:cxn ang="0">
                    <a:pos x="1" y="2"/>
                  </a:cxn>
                  <a:cxn ang="0">
                    <a:pos x="1" y="2"/>
                  </a:cxn>
                  <a:cxn ang="0">
                    <a:pos x="1" y="2"/>
                  </a:cxn>
                </a:cxnLst>
                <a:rect l="0" t="0" r="r" b="b"/>
                <a:pathLst>
                  <a:path w="3" h="2">
                    <a:moveTo>
                      <a:pt x="1" y="2"/>
                    </a:moveTo>
                    <a:lnTo>
                      <a:pt x="3" y="2"/>
                    </a:lnTo>
                    <a:lnTo>
                      <a:pt x="1" y="0"/>
                    </a:lnTo>
                    <a:lnTo>
                      <a:pt x="1" y="0"/>
                    </a:lnTo>
                    <a:lnTo>
                      <a:pt x="1" y="0"/>
                    </a:lnTo>
                    <a:lnTo>
                      <a:pt x="0" y="2"/>
                    </a:lnTo>
                    <a:lnTo>
                      <a:pt x="1" y="2"/>
                    </a:lnTo>
                    <a:lnTo>
                      <a:pt x="1" y="2"/>
                    </a:lnTo>
                    <a:lnTo>
                      <a:pt x="1"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88" name="Freeform 1263"/>
              <p:cNvSpPr>
                <a:spLocks/>
              </p:cNvSpPr>
              <p:nvPr/>
            </p:nvSpPr>
            <p:spPr bwMode="auto">
              <a:xfrm>
                <a:off x="7300489" y="2929821"/>
                <a:ext cx="2634" cy="8113"/>
              </a:xfrm>
              <a:custGeom>
                <a:avLst/>
                <a:gdLst/>
                <a:ahLst/>
                <a:cxnLst>
                  <a:cxn ang="0">
                    <a:pos x="0" y="2"/>
                  </a:cxn>
                  <a:cxn ang="0">
                    <a:pos x="0" y="7"/>
                  </a:cxn>
                  <a:cxn ang="0">
                    <a:pos x="3" y="7"/>
                  </a:cxn>
                  <a:cxn ang="0">
                    <a:pos x="3" y="6"/>
                  </a:cxn>
                  <a:cxn ang="0">
                    <a:pos x="3" y="3"/>
                  </a:cxn>
                  <a:cxn ang="0">
                    <a:pos x="3" y="0"/>
                  </a:cxn>
                  <a:cxn ang="0">
                    <a:pos x="2" y="0"/>
                  </a:cxn>
                  <a:cxn ang="0">
                    <a:pos x="0" y="2"/>
                  </a:cxn>
                </a:cxnLst>
                <a:rect l="0" t="0" r="r" b="b"/>
                <a:pathLst>
                  <a:path w="3" h="7">
                    <a:moveTo>
                      <a:pt x="0" y="2"/>
                    </a:moveTo>
                    <a:lnTo>
                      <a:pt x="0" y="7"/>
                    </a:lnTo>
                    <a:lnTo>
                      <a:pt x="3" y="7"/>
                    </a:lnTo>
                    <a:lnTo>
                      <a:pt x="3" y="6"/>
                    </a:lnTo>
                    <a:lnTo>
                      <a:pt x="3" y="3"/>
                    </a:lnTo>
                    <a:lnTo>
                      <a:pt x="3" y="0"/>
                    </a:lnTo>
                    <a:lnTo>
                      <a:pt x="2" y="0"/>
                    </a:lnTo>
                    <a:lnTo>
                      <a:pt x="0"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89" name="Freeform 1264"/>
              <p:cNvSpPr>
                <a:spLocks/>
              </p:cNvSpPr>
              <p:nvPr/>
            </p:nvSpPr>
            <p:spPr bwMode="auto">
              <a:xfrm>
                <a:off x="7300489" y="2929821"/>
                <a:ext cx="2634" cy="8113"/>
              </a:xfrm>
              <a:custGeom>
                <a:avLst/>
                <a:gdLst/>
                <a:ahLst/>
                <a:cxnLst>
                  <a:cxn ang="0">
                    <a:pos x="0" y="2"/>
                  </a:cxn>
                  <a:cxn ang="0">
                    <a:pos x="0" y="7"/>
                  </a:cxn>
                  <a:cxn ang="0">
                    <a:pos x="3" y="7"/>
                  </a:cxn>
                  <a:cxn ang="0">
                    <a:pos x="3" y="6"/>
                  </a:cxn>
                  <a:cxn ang="0">
                    <a:pos x="3" y="3"/>
                  </a:cxn>
                  <a:cxn ang="0">
                    <a:pos x="3" y="0"/>
                  </a:cxn>
                  <a:cxn ang="0">
                    <a:pos x="2" y="0"/>
                  </a:cxn>
                  <a:cxn ang="0">
                    <a:pos x="0" y="2"/>
                  </a:cxn>
                </a:cxnLst>
                <a:rect l="0" t="0" r="r" b="b"/>
                <a:pathLst>
                  <a:path w="3" h="7">
                    <a:moveTo>
                      <a:pt x="0" y="2"/>
                    </a:moveTo>
                    <a:lnTo>
                      <a:pt x="0" y="7"/>
                    </a:lnTo>
                    <a:lnTo>
                      <a:pt x="3" y="7"/>
                    </a:lnTo>
                    <a:lnTo>
                      <a:pt x="3" y="6"/>
                    </a:lnTo>
                    <a:lnTo>
                      <a:pt x="3" y="3"/>
                    </a:lnTo>
                    <a:lnTo>
                      <a:pt x="3" y="0"/>
                    </a:lnTo>
                    <a:lnTo>
                      <a:pt x="2" y="0"/>
                    </a:lnTo>
                    <a:lnTo>
                      <a:pt x="0"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90" name="Freeform 1265"/>
              <p:cNvSpPr>
                <a:spLocks/>
              </p:cNvSpPr>
              <p:nvPr/>
            </p:nvSpPr>
            <p:spPr bwMode="auto">
              <a:xfrm>
                <a:off x="8257291" y="3579878"/>
                <a:ext cx="38623" cy="34480"/>
              </a:xfrm>
              <a:custGeom>
                <a:avLst/>
                <a:gdLst/>
                <a:ahLst/>
                <a:cxnLst>
                  <a:cxn ang="0">
                    <a:pos x="16" y="17"/>
                  </a:cxn>
                  <a:cxn ang="0">
                    <a:pos x="10" y="14"/>
                  </a:cxn>
                  <a:cxn ang="0">
                    <a:pos x="7" y="10"/>
                  </a:cxn>
                  <a:cxn ang="0">
                    <a:pos x="6" y="10"/>
                  </a:cxn>
                  <a:cxn ang="0">
                    <a:pos x="4" y="5"/>
                  </a:cxn>
                  <a:cxn ang="0">
                    <a:pos x="1" y="4"/>
                  </a:cxn>
                  <a:cxn ang="0">
                    <a:pos x="1" y="1"/>
                  </a:cxn>
                  <a:cxn ang="0">
                    <a:pos x="0" y="0"/>
                  </a:cxn>
                  <a:cxn ang="0">
                    <a:pos x="3" y="0"/>
                  </a:cxn>
                  <a:cxn ang="0">
                    <a:pos x="4" y="1"/>
                  </a:cxn>
                  <a:cxn ang="0">
                    <a:pos x="6" y="0"/>
                  </a:cxn>
                  <a:cxn ang="0">
                    <a:pos x="9" y="3"/>
                  </a:cxn>
                  <a:cxn ang="0">
                    <a:pos x="12" y="4"/>
                  </a:cxn>
                  <a:cxn ang="0">
                    <a:pos x="12" y="5"/>
                  </a:cxn>
                  <a:cxn ang="0">
                    <a:pos x="13" y="5"/>
                  </a:cxn>
                  <a:cxn ang="0">
                    <a:pos x="16" y="7"/>
                  </a:cxn>
                  <a:cxn ang="0">
                    <a:pos x="17" y="10"/>
                  </a:cxn>
                  <a:cxn ang="0">
                    <a:pos x="19" y="11"/>
                  </a:cxn>
                  <a:cxn ang="0">
                    <a:pos x="20" y="14"/>
                  </a:cxn>
                  <a:cxn ang="0">
                    <a:pos x="22" y="14"/>
                  </a:cxn>
                  <a:cxn ang="0">
                    <a:pos x="22" y="16"/>
                  </a:cxn>
                  <a:cxn ang="0">
                    <a:pos x="23" y="17"/>
                  </a:cxn>
                  <a:cxn ang="0">
                    <a:pos x="25" y="19"/>
                  </a:cxn>
                  <a:cxn ang="0">
                    <a:pos x="26" y="19"/>
                  </a:cxn>
                  <a:cxn ang="0">
                    <a:pos x="28" y="20"/>
                  </a:cxn>
                  <a:cxn ang="0">
                    <a:pos x="29" y="20"/>
                  </a:cxn>
                  <a:cxn ang="0">
                    <a:pos x="32" y="21"/>
                  </a:cxn>
                  <a:cxn ang="0">
                    <a:pos x="38" y="26"/>
                  </a:cxn>
                  <a:cxn ang="0">
                    <a:pos x="38" y="27"/>
                  </a:cxn>
                  <a:cxn ang="0">
                    <a:pos x="39" y="27"/>
                  </a:cxn>
                  <a:cxn ang="0">
                    <a:pos x="42" y="29"/>
                  </a:cxn>
                  <a:cxn ang="0">
                    <a:pos x="42" y="32"/>
                  </a:cxn>
                  <a:cxn ang="0">
                    <a:pos x="42" y="32"/>
                  </a:cxn>
                  <a:cxn ang="0">
                    <a:pos x="41" y="32"/>
                  </a:cxn>
                  <a:cxn ang="0">
                    <a:pos x="41" y="33"/>
                  </a:cxn>
                  <a:cxn ang="0">
                    <a:pos x="39" y="33"/>
                  </a:cxn>
                  <a:cxn ang="0">
                    <a:pos x="39" y="32"/>
                  </a:cxn>
                  <a:cxn ang="0">
                    <a:pos x="38" y="32"/>
                  </a:cxn>
                  <a:cxn ang="0">
                    <a:pos x="36" y="30"/>
                  </a:cxn>
                  <a:cxn ang="0">
                    <a:pos x="35" y="30"/>
                  </a:cxn>
                  <a:cxn ang="0">
                    <a:pos x="33" y="29"/>
                  </a:cxn>
                  <a:cxn ang="0">
                    <a:pos x="30" y="29"/>
                  </a:cxn>
                  <a:cxn ang="0">
                    <a:pos x="30" y="29"/>
                  </a:cxn>
                  <a:cxn ang="0">
                    <a:pos x="30" y="26"/>
                  </a:cxn>
                  <a:cxn ang="0">
                    <a:pos x="29" y="26"/>
                  </a:cxn>
                  <a:cxn ang="0">
                    <a:pos x="28" y="26"/>
                  </a:cxn>
                  <a:cxn ang="0">
                    <a:pos x="26" y="26"/>
                  </a:cxn>
                  <a:cxn ang="0">
                    <a:pos x="26" y="24"/>
                  </a:cxn>
                  <a:cxn ang="0">
                    <a:pos x="25" y="24"/>
                  </a:cxn>
                  <a:cxn ang="0">
                    <a:pos x="25" y="24"/>
                  </a:cxn>
                  <a:cxn ang="0">
                    <a:pos x="23" y="23"/>
                  </a:cxn>
                  <a:cxn ang="0">
                    <a:pos x="20" y="21"/>
                  </a:cxn>
                  <a:cxn ang="0">
                    <a:pos x="19" y="21"/>
                  </a:cxn>
                  <a:cxn ang="0">
                    <a:pos x="17" y="21"/>
                  </a:cxn>
                  <a:cxn ang="0">
                    <a:pos x="17" y="19"/>
                  </a:cxn>
                  <a:cxn ang="0">
                    <a:pos x="16" y="17"/>
                  </a:cxn>
                </a:cxnLst>
                <a:rect l="0" t="0" r="r" b="b"/>
                <a:pathLst>
                  <a:path w="42" h="33">
                    <a:moveTo>
                      <a:pt x="16" y="17"/>
                    </a:moveTo>
                    <a:lnTo>
                      <a:pt x="10" y="14"/>
                    </a:lnTo>
                    <a:lnTo>
                      <a:pt x="7" y="10"/>
                    </a:lnTo>
                    <a:lnTo>
                      <a:pt x="6" y="10"/>
                    </a:lnTo>
                    <a:lnTo>
                      <a:pt x="4" y="5"/>
                    </a:lnTo>
                    <a:lnTo>
                      <a:pt x="1" y="4"/>
                    </a:lnTo>
                    <a:lnTo>
                      <a:pt x="1" y="1"/>
                    </a:lnTo>
                    <a:lnTo>
                      <a:pt x="0" y="0"/>
                    </a:lnTo>
                    <a:lnTo>
                      <a:pt x="3" y="0"/>
                    </a:lnTo>
                    <a:lnTo>
                      <a:pt x="4" y="1"/>
                    </a:lnTo>
                    <a:lnTo>
                      <a:pt x="6" y="0"/>
                    </a:lnTo>
                    <a:lnTo>
                      <a:pt x="9" y="3"/>
                    </a:lnTo>
                    <a:lnTo>
                      <a:pt x="12" y="4"/>
                    </a:lnTo>
                    <a:lnTo>
                      <a:pt x="12" y="5"/>
                    </a:lnTo>
                    <a:lnTo>
                      <a:pt x="13" y="5"/>
                    </a:lnTo>
                    <a:lnTo>
                      <a:pt x="16" y="7"/>
                    </a:lnTo>
                    <a:lnTo>
                      <a:pt x="17" y="10"/>
                    </a:lnTo>
                    <a:lnTo>
                      <a:pt x="19" y="11"/>
                    </a:lnTo>
                    <a:lnTo>
                      <a:pt x="20" y="14"/>
                    </a:lnTo>
                    <a:lnTo>
                      <a:pt x="22" y="14"/>
                    </a:lnTo>
                    <a:lnTo>
                      <a:pt x="22" y="16"/>
                    </a:lnTo>
                    <a:lnTo>
                      <a:pt x="23" y="17"/>
                    </a:lnTo>
                    <a:lnTo>
                      <a:pt x="25" y="19"/>
                    </a:lnTo>
                    <a:lnTo>
                      <a:pt x="26" y="19"/>
                    </a:lnTo>
                    <a:lnTo>
                      <a:pt x="28" y="20"/>
                    </a:lnTo>
                    <a:lnTo>
                      <a:pt x="29" y="20"/>
                    </a:lnTo>
                    <a:lnTo>
                      <a:pt x="32" y="21"/>
                    </a:lnTo>
                    <a:lnTo>
                      <a:pt x="38" y="26"/>
                    </a:lnTo>
                    <a:lnTo>
                      <a:pt x="38" y="27"/>
                    </a:lnTo>
                    <a:lnTo>
                      <a:pt x="39" y="27"/>
                    </a:lnTo>
                    <a:lnTo>
                      <a:pt x="42" y="29"/>
                    </a:lnTo>
                    <a:lnTo>
                      <a:pt x="42" y="32"/>
                    </a:lnTo>
                    <a:lnTo>
                      <a:pt x="42" y="32"/>
                    </a:lnTo>
                    <a:lnTo>
                      <a:pt x="41" y="32"/>
                    </a:lnTo>
                    <a:lnTo>
                      <a:pt x="41" y="33"/>
                    </a:lnTo>
                    <a:lnTo>
                      <a:pt x="39" y="33"/>
                    </a:lnTo>
                    <a:lnTo>
                      <a:pt x="39" y="32"/>
                    </a:lnTo>
                    <a:lnTo>
                      <a:pt x="38" y="32"/>
                    </a:lnTo>
                    <a:lnTo>
                      <a:pt x="36" y="30"/>
                    </a:lnTo>
                    <a:lnTo>
                      <a:pt x="35" y="30"/>
                    </a:lnTo>
                    <a:lnTo>
                      <a:pt x="33" y="29"/>
                    </a:lnTo>
                    <a:lnTo>
                      <a:pt x="30" y="29"/>
                    </a:lnTo>
                    <a:lnTo>
                      <a:pt x="30" y="29"/>
                    </a:lnTo>
                    <a:lnTo>
                      <a:pt x="30" y="26"/>
                    </a:lnTo>
                    <a:lnTo>
                      <a:pt x="29" y="26"/>
                    </a:lnTo>
                    <a:lnTo>
                      <a:pt x="28" y="26"/>
                    </a:lnTo>
                    <a:lnTo>
                      <a:pt x="26" y="26"/>
                    </a:lnTo>
                    <a:lnTo>
                      <a:pt x="26" y="24"/>
                    </a:lnTo>
                    <a:lnTo>
                      <a:pt x="25" y="24"/>
                    </a:lnTo>
                    <a:lnTo>
                      <a:pt x="25" y="24"/>
                    </a:lnTo>
                    <a:lnTo>
                      <a:pt x="23" y="23"/>
                    </a:lnTo>
                    <a:lnTo>
                      <a:pt x="20" y="21"/>
                    </a:lnTo>
                    <a:lnTo>
                      <a:pt x="19" y="21"/>
                    </a:lnTo>
                    <a:lnTo>
                      <a:pt x="17" y="21"/>
                    </a:lnTo>
                    <a:lnTo>
                      <a:pt x="17" y="19"/>
                    </a:lnTo>
                    <a:lnTo>
                      <a:pt x="16" y="17"/>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91" name="Freeform 1266"/>
              <p:cNvSpPr>
                <a:spLocks/>
              </p:cNvSpPr>
              <p:nvPr/>
            </p:nvSpPr>
            <p:spPr bwMode="auto">
              <a:xfrm>
                <a:off x="8257291" y="3579878"/>
                <a:ext cx="38623" cy="34480"/>
              </a:xfrm>
              <a:custGeom>
                <a:avLst/>
                <a:gdLst/>
                <a:ahLst/>
                <a:cxnLst>
                  <a:cxn ang="0">
                    <a:pos x="16" y="17"/>
                  </a:cxn>
                  <a:cxn ang="0">
                    <a:pos x="10" y="14"/>
                  </a:cxn>
                  <a:cxn ang="0">
                    <a:pos x="7" y="10"/>
                  </a:cxn>
                  <a:cxn ang="0">
                    <a:pos x="6" y="10"/>
                  </a:cxn>
                  <a:cxn ang="0">
                    <a:pos x="4" y="5"/>
                  </a:cxn>
                  <a:cxn ang="0">
                    <a:pos x="1" y="4"/>
                  </a:cxn>
                  <a:cxn ang="0">
                    <a:pos x="1" y="1"/>
                  </a:cxn>
                  <a:cxn ang="0">
                    <a:pos x="0" y="0"/>
                  </a:cxn>
                  <a:cxn ang="0">
                    <a:pos x="3" y="0"/>
                  </a:cxn>
                  <a:cxn ang="0">
                    <a:pos x="4" y="1"/>
                  </a:cxn>
                  <a:cxn ang="0">
                    <a:pos x="6" y="0"/>
                  </a:cxn>
                  <a:cxn ang="0">
                    <a:pos x="9" y="3"/>
                  </a:cxn>
                  <a:cxn ang="0">
                    <a:pos x="12" y="4"/>
                  </a:cxn>
                  <a:cxn ang="0">
                    <a:pos x="12" y="5"/>
                  </a:cxn>
                  <a:cxn ang="0">
                    <a:pos x="13" y="5"/>
                  </a:cxn>
                  <a:cxn ang="0">
                    <a:pos x="16" y="7"/>
                  </a:cxn>
                  <a:cxn ang="0">
                    <a:pos x="17" y="10"/>
                  </a:cxn>
                  <a:cxn ang="0">
                    <a:pos x="19" y="11"/>
                  </a:cxn>
                  <a:cxn ang="0">
                    <a:pos x="20" y="14"/>
                  </a:cxn>
                  <a:cxn ang="0">
                    <a:pos x="22" y="14"/>
                  </a:cxn>
                  <a:cxn ang="0">
                    <a:pos x="22" y="16"/>
                  </a:cxn>
                  <a:cxn ang="0">
                    <a:pos x="23" y="17"/>
                  </a:cxn>
                  <a:cxn ang="0">
                    <a:pos x="25" y="19"/>
                  </a:cxn>
                  <a:cxn ang="0">
                    <a:pos x="26" y="19"/>
                  </a:cxn>
                  <a:cxn ang="0">
                    <a:pos x="28" y="20"/>
                  </a:cxn>
                  <a:cxn ang="0">
                    <a:pos x="29" y="20"/>
                  </a:cxn>
                  <a:cxn ang="0">
                    <a:pos x="32" y="21"/>
                  </a:cxn>
                  <a:cxn ang="0">
                    <a:pos x="38" y="26"/>
                  </a:cxn>
                  <a:cxn ang="0">
                    <a:pos x="38" y="27"/>
                  </a:cxn>
                  <a:cxn ang="0">
                    <a:pos x="39" y="27"/>
                  </a:cxn>
                  <a:cxn ang="0">
                    <a:pos x="42" y="29"/>
                  </a:cxn>
                  <a:cxn ang="0">
                    <a:pos x="42" y="32"/>
                  </a:cxn>
                  <a:cxn ang="0">
                    <a:pos x="42" y="32"/>
                  </a:cxn>
                  <a:cxn ang="0">
                    <a:pos x="41" y="32"/>
                  </a:cxn>
                  <a:cxn ang="0">
                    <a:pos x="41" y="33"/>
                  </a:cxn>
                  <a:cxn ang="0">
                    <a:pos x="39" y="33"/>
                  </a:cxn>
                  <a:cxn ang="0">
                    <a:pos x="39" y="32"/>
                  </a:cxn>
                  <a:cxn ang="0">
                    <a:pos x="38" y="32"/>
                  </a:cxn>
                  <a:cxn ang="0">
                    <a:pos x="36" y="30"/>
                  </a:cxn>
                  <a:cxn ang="0">
                    <a:pos x="35" y="30"/>
                  </a:cxn>
                  <a:cxn ang="0">
                    <a:pos x="33" y="29"/>
                  </a:cxn>
                  <a:cxn ang="0">
                    <a:pos x="30" y="29"/>
                  </a:cxn>
                  <a:cxn ang="0">
                    <a:pos x="30" y="29"/>
                  </a:cxn>
                  <a:cxn ang="0">
                    <a:pos x="30" y="26"/>
                  </a:cxn>
                  <a:cxn ang="0">
                    <a:pos x="29" y="26"/>
                  </a:cxn>
                  <a:cxn ang="0">
                    <a:pos x="28" y="26"/>
                  </a:cxn>
                  <a:cxn ang="0">
                    <a:pos x="26" y="26"/>
                  </a:cxn>
                  <a:cxn ang="0">
                    <a:pos x="26" y="24"/>
                  </a:cxn>
                  <a:cxn ang="0">
                    <a:pos x="25" y="24"/>
                  </a:cxn>
                  <a:cxn ang="0">
                    <a:pos x="25" y="24"/>
                  </a:cxn>
                  <a:cxn ang="0">
                    <a:pos x="23" y="23"/>
                  </a:cxn>
                  <a:cxn ang="0">
                    <a:pos x="20" y="21"/>
                  </a:cxn>
                  <a:cxn ang="0">
                    <a:pos x="19" y="21"/>
                  </a:cxn>
                  <a:cxn ang="0">
                    <a:pos x="17" y="21"/>
                  </a:cxn>
                  <a:cxn ang="0">
                    <a:pos x="17" y="19"/>
                  </a:cxn>
                  <a:cxn ang="0">
                    <a:pos x="16" y="17"/>
                  </a:cxn>
                </a:cxnLst>
                <a:rect l="0" t="0" r="r" b="b"/>
                <a:pathLst>
                  <a:path w="42" h="33">
                    <a:moveTo>
                      <a:pt x="16" y="17"/>
                    </a:moveTo>
                    <a:lnTo>
                      <a:pt x="10" y="14"/>
                    </a:lnTo>
                    <a:lnTo>
                      <a:pt x="7" y="10"/>
                    </a:lnTo>
                    <a:lnTo>
                      <a:pt x="6" y="10"/>
                    </a:lnTo>
                    <a:lnTo>
                      <a:pt x="4" y="5"/>
                    </a:lnTo>
                    <a:lnTo>
                      <a:pt x="1" y="4"/>
                    </a:lnTo>
                    <a:lnTo>
                      <a:pt x="1" y="1"/>
                    </a:lnTo>
                    <a:lnTo>
                      <a:pt x="0" y="0"/>
                    </a:lnTo>
                    <a:lnTo>
                      <a:pt x="3" y="0"/>
                    </a:lnTo>
                    <a:lnTo>
                      <a:pt x="4" y="1"/>
                    </a:lnTo>
                    <a:lnTo>
                      <a:pt x="6" y="0"/>
                    </a:lnTo>
                    <a:lnTo>
                      <a:pt x="9" y="3"/>
                    </a:lnTo>
                    <a:lnTo>
                      <a:pt x="12" y="4"/>
                    </a:lnTo>
                    <a:lnTo>
                      <a:pt x="12" y="5"/>
                    </a:lnTo>
                    <a:lnTo>
                      <a:pt x="13" y="5"/>
                    </a:lnTo>
                    <a:lnTo>
                      <a:pt x="16" y="7"/>
                    </a:lnTo>
                    <a:lnTo>
                      <a:pt x="17" y="10"/>
                    </a:lnTo>
                    <a:lnTo>
                      <a:pt x="19" y="11"/>
                    </a:lnTo>
                    <a:lnTo>
                      <a:pt x="20" y="14"/>
                    </a:lnTo>
                    <a:lnTo>
                      <a:pt x="22" y="14"/>
                    </a:lnTo>
                    <a:lnTo>
                      <a:pt x="22" y="16"/>
                    </a:lnTo>
                    <a:lnTo>
                      <a:pt x="23" y="17"/>
                    </a:lnTo>
                    <a:lnTo>
                      <a:pt x="25" y="19"/>
                    </a:lnTo>
                    <a:lnTo>
                      <a:pt x="26" y="19"/>
                    </a:lnTo>
                    <a:lnTo>
                      <a:pt x="28" y="20"/>
                    </a:lnTo>
                    <a:lnTo>
                      <a:pt x="29" y="20"/>
                    </a:lnTo>
                    <a:lnTo>
                      <a:pt x="32" y="21"/>
                    </a:lnTo>
                    <a:lnTo>
                      <a:pt x="38" y="26"/>
                    </a:lnTo>
                    <a:lnTo>
                      <a:pt x="38" y="27"/>
                    </a:lnTo>
                    <a:lnTo>
                      <a:pt x="39" y="27"/>
                    </a:lnTo>
                    <a:lnTo>
                      <a:pt x="42" y="29"/>
                    </a:lnTo>
                    <a:lnTo>
                      <a:pt x="42" y="32"/>
                    </a:lnTo>
                    <a:lnTo>
                      <a:pt x="42" y="32"/>
                    </a:lnTo>
                    <a:lnTo>
                      <a:pt x="41" y="32"/>
                    </a:lnTo>
                    <a:lnTo>
                      <a:pt x="41" y="33"/>
                    </a:lnTo>
                    <a:lnTo>
                      <a:pt x="39" y="33"/>
                    </a:lnTo>
                    <a:lnTo>
                      <a:pt x="39" y="32"/>
                    </a:lnTo>
                    <a:lnTo>
                      <a:pt x="38" y="32"/>
                    </a:lnTo>
                    <a:lnTo>
                      <a:pt x="36" y="30"/>
                    </a:lnTo>
                    <a:lnTo>
                      <a:pt x="35" y="30"/>
                    </a:lnTo>
                    <a:lnTo>
                      <a:pt x="33" y="29"/>
                    </a:lnTo>
                    <a:lnTo>
                      <a:pt x="30" y="29"/>
                    </a:lnTo>
                    <a:lnTo>
                      <a:pt x="30" y="29"/>
                    </a:lnTo>
                    <a:lnTo>
                      <a:pt x="30" y="26"/>
                    </a:lnTo>
                    <a:lnTo>
                      <a:pt x="29" y="26"/>
                    </a:lnTo>
                    <a:lnTo>
                      <a:pt x="28" y="26"/>
                    </a:lnTo>
                    <a:lnTo>
                      <a:pt x="26" y="26"/>
                    </a:lnTo>
                    <a:lnTo>
                      <a:pt x="26" y="24"/>
                    </a:lnTo>
                    <a:lnTo>
                      <a:pt x="25" y="24"/>
                    </a:lnTo>
                    <a:lnTo>
                      <a:pt x="25" y="24"/>
                    </a:lnTo>
                    <a:lnTo>
                      <a:pt x="23" y="23"/>
                    </a:lnTo>
                    <a:lnTo>
                      <a:pt x="20" y="21"/>
                    </a:lnTo>
                    <a:lnTo>
                      <a:pt x="19" y="21"/>
                    </a:lnTo>
                    <a:lnTo>
                      <a:pt x="17" y="21"/>
                    </a:lnTo>
                    <a:lnTo>
                      <a:pt x="17" y="19"/>
                    </a:lnTo>
                    <a:lnTo>
                      <a:pt x="16" y="17"/>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92" name="Freeform 1267"/>
              <p:cNvSpPr>
                <a:spLocks/>
              </p:cNvSpPr>
              <p:nvPr/>
            </p:nvSpPr>
            <p:spPr bwMode="auto">
              <a:xfrm>
                <a:off x="8296793" y="3587992"/>
                <a:ext cx="5267" cy="7099"/>
              </a:xfrm>
              <a:custGeom>
                <a:avLst/>
                <a:gdLst/>
                <a:ahLst/>
                <a:cxnLst>
                  <a:cxn ang="0">
                    <a:pos x="2" y="0"/>
                  </a:cxn>
                  <a:cxn ang="0">
                    <a:pos x="2" y="0"/>
                  </a:cxn>
                  <a:cxn ang="0">
                    <a:pos x="3" y="0"/>
                  </a:cxn>
                  <a:cxn ang="0">
                    <a:pos x="3" y="0"/>
                  </a:cxn>
                  <a:cxn ang="0">
                    <a:pos x="3" y="2"/>
                  </a:cxn>
                  <a:cxn ang="0">
                    <a:pos x="5" y="3"/>
                  </a:cxn>
                  <a:cxn ang="0">
                    <a:pos x="6" y="3"/>
                  </a:cxn>
                  <a:cxn ang="0">
                    <a:pos x="6" y="5"/>
                  </a:cxn>
                  <a:cxn ang="0">
                    <a:pos x="5" y="6"/>
                  </a:cxn>
                  <a:cxn ang="0">
                    <a:pos x="5" y="6"/>
                  </a:cxn>
                  <a:cxn ang="0">
                    <a:pos x="2" y="5"/>
                  </a:cxn>
                  <a:cxn ang="0">
                    <a:pos x="0" y="3"/>
                  </a:cxn>
                  <a:cxn ang="0">
                    <a:pos x="2" y="2"/>
                  </a:cxn>
                  <a:cxn ang="0">
                    <a:pos x="2" y="0"/>
                  </a:cxn>
                </a:cxnLst>
                <a:rect l="0" t="0" r="r" b="b"/>
                <a:pathLst>
                  <a:path w="6" h="6">
                    <a:moveTo>
                      <a:pt x="2" y="0"/>
                    </a:moveTo>
                    <a:lnTo>
                      <a:pt x="2" y="0"/>
                    </a:lnTo>
                    <a:lnTo>
                      <a:pt x="3" y="0"/>
                    </a:lnTo>
                    <a:lnTo>
                      <a:pt x="3" y="0"/>
                    </a:lnTo>
                    <a:lnTo>
                      <a:pt x="3" y="2"/>
                    </a:lnTo>
                    <a:lnTo>
                      <a:pt x="5" y="3"/>
                    </a:lnTo>
                    <a:lnTo>
                      <a:pt x="6" y="3"/>
                    </a:lnTo>
                    <a:lnTo>
                      <a:pt x="6" y="5"/>
                    </a:lnTo>
                    <a:lnTo>
                      <a:pt x="5" y="6"/>
                    </a:lnTo>
                    <a:lnTo>
                      <a:pt x="5" y="6"/>
                    </a:lnTo>
                    <a:lnTo>
                      <a:pt x="2" y="5"/>
                    </a:lnTo>
                    <a:lnTo>
                      <a:pt x="0" y="3"/>
                    </a:lnTo>
                    <a:lnTo>
                      <a:pt x="2" y="2"/>
                    </a:lnTo>
                    <a:lnTo>
                      <a:pt x="2"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93" name="Freeform 1268"/>
              <p:cNvSpPr>
                <a:spLocks/>
              </p:cNvSpPr>
              <p:nvPr/>
            </p:nvSpPr>
            <p:spPr bwMode="auto">
              <a:xfrm>
                <a:off x="8296793" y="3587992"/>
                <a:ext cx="5267" cy="7099"/>
              </a:xfrm>
              <a:custGeom>
                <a:avLst/>
                <a:gdLst/>
                <a:ahLst/>
                <a:cxnLst>
                  <a:cxn ang="0">
                    <a:pos x="2" y="0"/>
                  </a:cxn>
                  <a:cxn ang="0">
                    <a:pos x="2" y="0"/>
                  </a:cxn>
                  <a:cxn ang="0">
                    <a:pos x="3" y="0"/>
                  </a:cxn>
                  <a:cxn ang="0">
                    <a:pos x="3" y="0"/>
                  </a:cxn>
                  <a:cxn ang="0">
                    <a:pos x="3" y="2"/>
                  </a:cxn>
                  <a:cxn ang="0">
                    <a:pos x="5" y="3"/>
                  </a:cxn>
                  <a:cxn ang="0">
                    <a:pos x="6" y="3"/>
                  </a:cxn>
                  <a:cxn ang="0">
                    <a:pos x="6" y="5"/>
                  </a:cxn>
                  <a:cxn ang="0">
                    <a:pos x="5" y="6"/>
                  </a:cxn>
                  <a:cxn ang="0">
                    <a:pos x="5" y="6"/>
                  </a:cxn>
                  <a:cxn ang="0">
                    <a:pos x="2" y="5"/>
                  </a:cxn>
                  <a:cxn ang="0">
                    <a:pos x="0" y="3"/>
                  </a:cxn>
                  <a:cxn ang="0">
                    <a:pos x="2" y="2"/>
                  </a:cxn>
                  <a:cxn ang="0">
                    <a:pos x="2" y="0"/>
                  </a:cxn>
                </a:cxnLst>
                <a:rect l="0" t="0" r="r" b="b"/>
                <a:pathLst>
                  <a:path w="6" h="6">
                    <a:moveTo>
                      <a:pt x="2" y="0"/>
                    </a:moveTo>
                    <a:lnTo>
                      <a:pt x="2" y="0"/>
                    </a:lnTo>
                    <a:lnTo>
                      <a:pt x="3" y="0"/>
                    </a:lnTo>
                    <a:lnTo>
                      <a:pt x="3" y="0"/>
                    </a:lnTo>
                    <a:lnTo>
                      <a:pt x="3" y="2"/>
                    </a:lnTo>
                    <a:lnTo>
                      <a:pt x="5" y="3"/>
                    </a:lnTo>
                    <a:lnTo>
                      <a:pt x="6" y="3"/>
                    </a:lnTo>
                    <a:lnTo>
                      <a:pt x="6" y="5"/>
                    </a:lnTo>
                    <a:lnTo>
                      <a:pt x="5" y="6"/>
                    </a:lnTo>
                    <a:lnTo>
                      <a:pt x="5" y="6"/>
                    </a:lnTo>
                    <a:lnTo>
                      <a:pt x="2" y="5"/>
                    </a:lnTo>
                    <a:lnTo>
                      <a:pt x="0" y="3"/>
                    </a:lnTo>
                    <a:lnTo>
                      <a:pt x="2" y="2"/>
                    </a:lnTo>
                    <a:lnTo>
                      <a:pt x="2"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94" name="Freeform 1269"/>
              <p:cNvSpPr>
                <a:spLocks/>
              </p:cNvSpPr>
              <p:nvPr/>
            </p:nvSpPr>
            <p:spPr bwMode="auto">
              <a:xfrm>
                <a:off x="8306448" y="3598134"/>
                <a:ext cx="3511" cy="4056"/>
              </a:xfrm>
              <a:custGeom>
                <a:avLst/>
                <a:gdLst/>
                <a:ahLst/>
                <a:cxnLst>
                  <a:cxn ang="0">
                    <a:pos x="1" y="2"/>
                  </a:cxn>
                  <a:cxn ang="0">
                    <a:pos x="0" y="0"/>
                  </a:cxn>
                  <a:cxn ang="0">
                    <a:pos x="3" y="0"/>
                  </a:cxn>
                  <a:cxn ang="0">
                    <a:pos x="3" y="2"/>
                  </a:cxn>
                  <a:cxn ang="0">
                    <a:pos x="4" y="2"/>
                  </a:cxn>
                  <a:cxn ang="0">
                    <a:pos x="4" y="3"/>
                  </a:cxn>
                  <a:cxn ang="0">
                    <a:pos x="4" y="4"/>
                  </a:cxn>
                  <a:cxn ang="0">
                    <a:pos x="3" y="4"/>
                  </a:cxn>
                  <a:cxn ang="0">
                    <a:pos x="1" y="3"/>
                  </a:cxn>
                  <a:cxn ang="0">
                    <a:pos x="1" y="2"/>
                  </a:cxn>
                </a:cxnLst>
                <a:rect l="0" t="0" r="r" b="b"/>
                <a:pathLst>
                  <a:path w="4" h="4">
                    <a:moveTo>
                      <a:pt x="1" y="2"/>
                    </a:moveTo>
                    <a:lnTo>
                      <a:pt x="0" y="0"/>
                    </a:lnTo>
                    <a:lnTo>
                      <a:pt x="3" y="0"/>
                    </a:lnTo>
                    <a:lnTo>
                      <a:pt x="3" y="2"/>
                    </a:lnTo>
                    <a:lnTo>
                      <a:pt x="4" y="2"/>
                    </a:lnTo>
                    <a:lnTo>
                      <a:pt x="4" y="3"/>
                    </a:lnTo>
                    <a:lnTo>
                      <a:pt x="4" y="4"/>
                    </a:lnTo>
                    <a:lnTo>
                      <a:pt x="3" y="4"/>
                    </a:lnTo>
                    <a:lnTo>
                      <a:pt x="1" y="3"/>
                    </a:lnTo>
                    <a:lnTo>
                      <a:pt x="1"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95" name="Freeform 1270"/>
              <p:cNvSpPr>
                <a:spLocks/>
              </p:cNvSpPr>
              <p:nvPr/>
            </p:nvSpPr>
            <p:spPr bwMode="auto">
              <a:xfrm>
                <a:off x="8306448" y="3598134"/>
                <a:ext cx="3511" cy="4056"/>
              </a:xfrm>
              <a:custGeom>
                <a:avLst/>
                <a:gdLst/>
                <a:ahLst/>
                <a:cxnLst>
                  <a:cxn ang="0">
                    <a:pos x="1" y="2"/>
                  </a:cxn>
                  <a:cxn ang="0">
                    <a:pos x="0" y="0"/>
                  </a:cxn>
                  <a:cxn ang="0">
                    <a:pos x="3" y="0"/>
                  </a:cxn>
                  <a:cxn ang="0">
                    <a:pos x="3" y="2"/>
                  </a:cxn>
                  <a:cxn ang="0">
                    <a:pos x="4" y="2"/>
                  </a:cxn>
                  <a:cxn ang="0">
                    <a:pos x="4" y="3"/>
                  </a:cxn>
                  <a:cxn ang="0">
                    <a:pos x="4" y="4"/>
                  </a:cxn>
                  <a:cxn ang="0">
                    <a:pos x="3" y="4"/>
                  </a:cxn>
                  <a:cxn ang="0">
                    <a:pos x="1" y="3"/>
                  </a:cxn>
                  <a:cxn ang="0">
                    <a:pos x="1" y="2"/>
                  </a:cxn>
                </a:cxnLst>
                <a:rect l="0" t="0" r="r" b="b"/>
                <a:pathLst>
                  <a:path w="4" h="4">
                    <a:moveTo>
                      <a:pt x="1" y="2"/>
                    </a:moveTo>
                    <a:lnTo>
                      <a:pt x="0" y="0"/>
                    </a:lnTo>
                    <a:lnTo>
                      <a:pt x="3" y="0"/>
                    </a:lnTo>
                    <a:lnTo>
                      <a:pt x="3" y="2"/>
                    </a:lnTo>
                    <a:lnTo>
                      <a:pt x="4" y="2"/>
                    </a:lnTo>
                    <a:lnTo>
                      <a:pt x="4" y="3"/>
                    </a:lnTo>
                    <a:lnTo>
                      <a:pt x="4" y="4"/>
                    </a:lnTo>
                    <a:lnTo>
                      <a:pt x="3" y="4"/>
                    </a:lnTo>
                    <a:lnTo>
                      <a:pt x="1" y="3"/>
                    </a:lnTo>
                    <a:lnTo>
                      <a:pt x="1"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96" name="Freeform 1271"/>
              <p:cNvSpPr>
                <a:spLocks/>
              </p:cNvSpPr>
              <p:nvPr/>
            </p:nvSpPr>
            <p:spPr bwMode="auto">
              <a:xfrm>
                <a:off x="4952372" y="3036304"/>
                <a:ext cx="79880" cy="45636"/>
              </a:xfrm>
              <a:custGeom>
                <a:avLst/>
                <a:gdLst/>
                <a:ahLst/>
                <a:cxnLst>
                  <a:cxn ang="0">
                    <a:pos x="84" y="14"/>
                  </a:cxn>
                  <a:cxn ang="0">
                    <a:pos x="80" y="17"/>
                  </a:cxn>
                  <a:cxn ang="0">
                    <a:pos x="76" y="17"/>
                  </a:cxn>
                  <a:cxn ang="0">
                    <a:pos x="69" y="19"/>
                  </a:cxn>
                  <a:cxn ang="0">
                    <a:pos x="67" y="17"/>
                  </a:cxn>
                  <a:cxn ang="0">
                    <a:pos x="66" y="17"/>
                  </a:cxn>
                  <a:cxn ang="0">
                    <a:pos x="64" y="19"/>
                  </a:cxn>
                  <a:cxn ang="0">
                    <a:pos x="61" y="25"/>
                  </a:cxn>
                  <a:cxn ang="0">
                    <a:pos x="58" y="25"/>
                  </a:cxn>
                  <a:cxn ang="0">
                    <a:pos x="57" y="28"/>
                  </a:cxn>
                  <a:cxn ang="0">
                    <a:pos x="55" y="29"/>
                  </a:cxn>
                  <a:cxn ang="0">
                    <a:pos x="53" y="30"/>
                  </a:cxn>
                  <a:cxn ang="0">
                    <a:pos x="51" y="30"/>
                  </a:cxn>
                  <a:cxn ang="0">
                    <a:pos x="47" y="28"/>
                  </a:cxn>
                  <a:cxn ang="0">
                    <a:pos x="38" y="33"/>
                  </a:cxn>
                  <a:cxn ang="0">
                    <a:pos x="38" y="39"/>
                  </a:cxn>
                  <a:cxn ang="0">
                    <a:pos x="35" y="41"/>
                  </a:cxn>
                  <a:cxn ang="0">
                    <a:pos x="34" y="44"/>
                  </a:cxn>
                  <a:cxn ang="0">
                    <a:pos x="29" y="42"/>
                  </a:cxn>
                  <a:cxn ang="0">
                    <a:pos x="28" y="39"/>
                  </a:cxn>
                  <a:cxn ang="0">
                    <a:pos x="25" y="38"/>
                  </a:cxn>
                  <a:cxn ang="0">
                    <a:pos x="24" y="38"/>
                  </a:cxn>
                  <a:cxn ang="0">
                    <a:pos x="24" y="32"/>
                  </a:cxn>
                  <a:cxn ang="0">
                    <a:pos x="19" y="30"/>
                  </a:cxn>
                  <a:cxn ang="0">
                    <a:pos x="18" y="29"/>
                  </a:cxn>
                  <a:cxn ang="0">
                    <a:pos x="15" y="30"/>
                  </a:cxn>
                  <a:cxn ang="0">
                    <a:pos x="12" y="29"/>
                  </a:cxn>
                  <a:cxn ang="0">
                    <a:pos x="10" y="29"/>
                  </a:cxn>
                  <a:cxn ang="0">
                    <a:pos x="9" y="28"/>
                  </a:cxn>
                  <a:cxn ang="0">
                    <a:pos x="6" y="26"/>
                  </a:cxn>
                  <a:cxn ang="0">
                    <a:pos x="2" y="23"/>
                  </a:cxn>
                  <a:cxn ang="0">
                    <a:pos x="0" y="22"/>
                  </a:cxn>
                  <a:cxn ang="0">
                    <a:pos x="3" y="19"/>
                  </a:cxn>
                  <a:cxn ang="0">
                    <a:pos x="3" y="17"/>
                  </a:cxn>
                  <a:cxn ang="0">
                    <a:pos x="2" y="16"/>
                  </a:cxn>
                  <a:cxn ang="0">
                    <a:pos x="5" y="13"/>
                  </a:cxn>
                  <a:cxn ang="0">
                    <a:pos x="6" y="12"/>
                  </a:cxn>
                  <a:cxn ang="0">
                    <a:pos x="16" y="4"/>
                  </a:cxn>
                  <a:cxn ang="0">
                    <a:pos x="22" y="3"/>
                  </a:cxn>
                  <a:cxn ang="0">
                    <a:pos x="48" y="0"/>
                  </a:cxn>
                  <a:cxn ang="0">
                    <a:pos x="54" y="0"/>
                  </a:cxn>
                  <a:cxn ang="0">
                    <a:pos x="57" y="1"/>
                  </a:cxn>
                  <a:cxn ang="0">
                    <a:pos x="63" y="0"/>
                  </a:cxn>
                  <a:cxn ang="0">
                    <a:pos x="73" y="3"/>
                  </a:cxn>
                  <a:cxn ang="0">
                    <a:pos x="87" y="13"/>
                  </a:cxn>
                </a:cxnLst>
                <a:rect l="0" t="0" r="r" b="b"/>
                <a:pathLst>
                  <a:path w="87" h="44">
                    <a:moveTo>
                      <a:pt x="87" y="14"/>
                    </a:moveTo>
                    <a:lnTo>
                      <a:pt x="84" y="14"/>
                    </a:lnTo>
                    <a:lnTo>
                      <a:pt x="80" y="16"/>
                    </a:lnTo>
                    <a:lnTo>
                      <a:pt x="80" y="17"/>
                    </a:lnTo>
                    <a:lnTo>
                      <a:pt x="77" y="17"/>
                    </a:lnTo>
                    <a:lnTo>
                      <a:pt x="76" y="17"/>
                    </a:lnTo>
                    <a:lnTo>
                      <a:pt x="73" y="19"/>
                    </a:lnTo>
                    <a:lnTo>
                      <a:pt x="69" y="19"/>
                    </a:lnTo>
                    <a:lnTo>
                      <a:pt x="69" y="19"/>
                    </a:lnTo>
                    <a:lnTo>
                      <a:pt x="67" y="17"/>
                    </a:lnTo>
                    <a:lnTo>
                      <a:pt x="66" y="17"/>
                    </a:lnTo>
                    <a:lnTo>
                      <a:pt x="66" y="17"/>
                    </a:lnTo>
                    <a:lnTo>
                      <a:pt x="64" y="19"/>
                    </a:lnTo>
                    <a:lnTo>
                      <a:pt x="64" y="19"/>
                    </a:lnTo>
                    <a:lnTo>
                      <a:pt x="63" y="20"/>
                    </a:lnTo>
                    <a:lnTo>
                      <a:pt x="61" y="25"/>
                    </a:lnTo>
                    <a:lnTo>
                      <a:pt x="61" y="25"/>
                    </a:lnTo>
                    <a:lnTo>
                      <a:pt x="58" y="25"/>
                    </a:lnTo>
                    <a:lnTo>
                      <a:pt x="57" y="26"/>
                    </a:lnTo>
                    <a:lnTo>
                      <a:pt x="57" y="28"/>
                    </a:lnTo>
                    <a:lnTo>
                      <a:pt x="55" y="28"/>
                    </a:lnTo>
                    <a:lnTo>
                      <a:pt x="55" y="29"/>
                    </a:lnTo>
                    <a:lnTo>
                      <a:pt x="53" y="29"/>
                    </a:lnTo>
                    <a:lnTo>
                      <a:pt x="53" y="30"/>
                    </a:lnTo>
                    <a:lnTo>
                      <a:pt x="53" y="30"/>
                    </a:lnTo>
                    <a:lnTo>
                      <a:pt x="51" y="30"/>
                    </a:lnTo>
                    <a:lnTo>
                      <a:pt x="48" y="29"/>
                    </a:lnTo>
                    <a:lnTo>
                      <a:pt x="47" y="28"/>
                    </a:lnTo>
                    <a:lnTo>
                      <a:pt x="44" y="33"/>
                    </a:lnTo>
                    <a:lnTo>
                      <a:pt x="38" y="33"/>
                    </a:lnTo>
                    <a:lnTo>
                      <a:pt x="38" y="35"/>
                    </a:lnTo>
                    <a:lnTo>
                      <a:pt x="38" y="39"/>
                    </a:lnTo>
                    <a:lnTo>
                      <a:pt x="37" y="39"/>
                    </a:lnTo>
                    <a:lnTo>
                      <a:pt x="35" y="41"/>
                    </a:lnTo>
                    <a:lnTo>
                      <a:pt x="35" y="42"/>
                    </a:lnTo>
                    <a:lnTo>
                      <a:pt x="34" y="44"/>
                    </a:lnTo>
                    <a:lnTo>
                      <a:pt x="29" y="44"/>
                    </a:lnTo>
                    <a:lnTo>
                      <a:pt x="29" y="42"/>
                    </a:lnTo>
                    <a:lnTo>
                      <a:pt x="28" y="41"/>
                    </a:lnTo>
                    <a:lnTo>
                      <a:pt x="28" y="39"/>
                    </a:lnTo>
                    <a:lnTo>
                      <a:pt x="26" y="38"/>
                    </a:lnTo>
                    <a:lnTo>
                      <a:pt x="25" y="38"/>
                    </a:lnTo>
                    <a:lnTo>
                      <a:pt x="24" y="38"/>
                    </a:lnTo>
                    <a:lnTo>
                      <a:pt x="24" y="38"/>
                    </a:lnTo>
                    <a:lnTo>
                      <a:pt x="24" y="32"/>
                    </a:lnTo>
                    <a:lnTo>
                      <a:pt x="24" y="32"/>
                    </a:lnTo>
                    <a:lnTo>
                      <a:pt x="22" y="30"/>
                    </a:lnTo>
                    <a:lnTo>
                      <a:pt x="19" y="30"/>
                    </a:lnTo>
                    <a:lnTo>
                      <a:pt x="19" y="29"/>
                    </a:lnTo>
                    <a:lnTo>
                      <a:pt x="18" y="29"/>
                    </a:lnTo>
                    <a:lnTo>
                      <a:pt x="16" y="30"/>
                    </a:lnTo>
                    <a:lnTo>
                      <a:pt x="15" y="30"/>
                    </a:lnTo>
                    <a:lnTo>
                      <a:pt x="13" y="30"/>
                    </a:lnTo>
                    <a:lnTo>
                      <a:pt x="12" y="29"/>
                    </a:lnTo>
                    <a:lnTo>
                      <a:pt x="12" y="29"/>
                    </a:lnTo>
                    <a:lnTo>
                      <a:pt x="10" y="29"/>
                    </a:lnTo>
                    <a:lnTo>
                      <a:pt x="10" y="29"/>
                    </a:lnTo>
                    <a:lnTo>
                      <a:pt x="9" y="28"/>
                    </a:lnTo>
                    <a:lnTo>
                      <a:pt x="9" y="28"/>
                    </a:lnTo>
                    <a:lnTo>
                      <a:pt x="6" y="26"/>
                    </a:lnTo>
                    <a:lnTo>
                      <a:pt x="5" y="23"/>
                    </a:lnTo>
                    <a:lnTo>
                      <a:pt x="2" y="23"/>
                    </a:lnTo>
                    <a:lnTo>
                      <a:pt x="0" y="22"/>
                    </a:lnTo>
                    <a:lnTo>
                      <a:pt x="0" y="22"/>
                    </a:lnTo>
                    <a:lnTo>
                      <a:pt x="0" y="20"/>
                    </a:lnTo>
                    <a:lnTo>
                      <a:pt x="3" y="19"/>
                    </a:lnTo>
                    <a:lnTo>
                      <a:pt x="3" y="19"/>
                    </a:lnTo>
                    <a:lnTo>
                      <a:pt x="3" y="17"/>
                    </a:lnTo>
                    <a:lnTo>
                      <a:pt x="2" y="17"/>
                    </a:lnTo>
                    <a:lnTo>
                      <a:pt x="2" y="16"/>
                    </a:lnTo>
                    <a:lnTo>
                      <a:pt x="3" y="14"/>
                    </a:lnTo>
                    <a:lnTo>
                      <a:pt x="5" y="13"/>
                    </a:lnTo>
                    <a:lnTo>
                      <a:pt x="5" y="13"/>
                    </a:lnTo>
                    <a:lnTo>
                      <a:pt x="6" y="12"/>
                    </a:lnTo>
                    <a:lnTo>
                      <a:pt x="15" y="6"/>
                    </a:lnTo>
                    <a:lnTo>
                      <a:pt x="16" y="4"/>
                    </a:lnTo>
                    <a:lnTo>
                      <a:pt x="19" y="3"/>
                    </a:lnTo>
                    <a:lnTo>
                      <a:pt x="22" y="3"/>
                    </a:lnTo>
                    <a:lnTo>
                      <a:pt x="47" y="1"/>
                    </a:lnTo>
                    <a:lnTo>
                      <a:pt x="48" y="0"/>
                    </a:lnTo>
                    <a:lnTo>
                      <a:pt x="51" y="0"/>
                    </a:lnTo>
                    <a:lnTo>
                      <a:pt x="54" y="0"/>
                    </a:lnTo>
                    <a:lnTo>
                      <a:pt x="54" y="1"/>
                    </a:lnTo>
                    <a:lnTo>
                      <a:pt x="57" y="1"/>
                    </a:lnTo>
                    <a:lnTo>
                      <a:pt x="60" y="0"/>
                    </a:lnTo>
                    <a:lnTo>
                      <a:pt x="63" y="0"/>
                    </a:lnTo>
                    <a:lnTo>
                      <a:pt x="67" y="3"/>
                    </a:lnTo>
                    <a:lnTo>
                      <a:pt x="73" y="3"/>
                    </a:lnTo>
                    <a:lnTo>
                      <a:pt x="86" y="12"/>
                    </a:lnTo>
                    <a:lnTo>
                      <a:pt x="87" y="13"/>
                    </a:lnTo>
                    <a:lnTo>
                      <a:pt x="87" y="1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97" name="Freeform 1272"/>
              <p:cNvSpPr>
                <a:spLocks/>
              </p:cNvSpPr>
              <p:nvPr/>
            </p:nvSpPr>
            <p:spPr bwMode="auto">
              <a:xfrm>
                <a:off x="4952372" y="3036304"/>
                <a:ext cx="79880" cy="45636"/>
              </a:xfrm>
              <a:custGeom>
                <a:avLst/>
                <a:gdLst/>
                <a:ahLst/>
                <a:cxnLst>
                  <a:cxn ang="0">
                    <a:pos x="84" y="14"/>
                  </a:cxn>
                  <a:cxn ang="0">
                    <a:pos x="80" y="17"/>
                  </a:cxn>
                  <a:cxn ang="0">
                    <a:pos x="76" y="17"/>
                  </a:cxn>
                  <a:cxn ang="0">
                    <a:pos x="69" y="19"/>
                  </a:cxn>
                  <a:cxn ang="0">
                    <a:pos x="67" y="17"/>
                  </a:cxn>
                  <a:cxn ang="0">
                    <a:pos x="66" y="17"/>
                  </a:cxn>
                  <a:cxn ang="0">
                    <a:pos x="64" y="19"/>
                  </a:cxn>
                  <a:cxn ang="0">
                    <a:pos x="61" y="25"/>
                  </a:cxn>
                  <a:cxn ang="0">
                    <a:pos x="58" y="25"/>
                  </a:cxn>
                  <a:cxn ang="0">
                    <a:pos x="57" y="28"/>
                  </a:cxn>
                  <a:cxn ang="0">
                    <a:pos x="55" y="29"/>
                  </a:cxn>
                  <a:cxn ang="0">
                    <a:pos x="53" y="30"/>
                  </a:cxn>
                  <a:cxn ang="0">
                    <a:pos x="51" y="30"/>
                  </a:cxn>
                  <a:cxn ang="0">
                    <a:pos x="47" y="28"/>
                  </a:cxn>
                  <a:cxn ang="0">
                    <a:pos x="38" y="33"/>
                  </a:cxn>
                  <a:cxn ang="0">
                    <a:pos x="38" y="39"/>
                  </a:cxn>
                  <a:cxn ang="0">
                    <a:pos x="35" y="41"/>
                  </a:cxn>
                  <a:cxn ang="0">
                    <a:pos x="34" y="44"/>
                  </a:cxn>
                  <a:cxn ang="0">
                    <a:pos x="29" y="42"/>
                  </a:cxn>
                  <a:cxn ang="0">
                    <a:pos x="28" y="39"/>
                  </a:cxn>
                  <a:cxn ang="0">
                    <a:pos x="25" y="38"/>
                  </a:cxn>
                  <a:cxn ang="0">
                    <a:pos x="24" y="38"/>
                  </a:cxn>
                  <a:cxn ang="0">
                    <a:pos x="24" y="32"/>
                  </a:cxn>
                  <a:cxn ang="0">
                    <a:pos x="19" y="30"/>
                  </a:cxn>
                  <a:cxn ang="0">
                    <a:pos x="18" y="29"/>
                  </a:cxn>
                  <a:cxn ang="0">
                    <a:pos x="15" y="30"/>
                  </a:cxn>
                  <a:cxn ang="0">
                    <a:pos x="12" y="29"/>
                  </a:cxn>
                  <a:cxn ang="0">
                    <a:pos x="10" y="29"/>
                  </a:cxn>
                  <a:cxn ang="0">
                    <a:pos x="9" y="28"/>
                  </a:cxn>
                  <a:cxn ang="0">
                    <a:pos x="6" y="26"/>
                  </a:cxn>
                  <a:cxn ang="0">
                    <a:pos x="2" y="23"/>
                  </a:cxn>
                  <a:cxn ang="0">
                    <a:pos x="0" y="22"/>
                  </a:cxn>
                  <a:cxn ang="0">
                    <a:pos x="3" y="19"/>
                  </a:cxn>
                  <a:cxn ang="0">
                    <a:pos x="3" y="17"/>
                  </a:cxn>
                  <a:cxn ang="0">
                    <a:pos x="2" y="16"/>
                  </a:cxn>
                  <a:cxn ang="0">
                    <a:pos x="5" y="13"/>
                  </a:cxn>
                  <a:cxn ang="0">
                    <a:pos x="6" y="12"/>
                  </a:cxn>
                  <a:cxn ang="0">
                    <a:pos x="16" y="4"/>
                  </a:cxn>
                  <a:cxn ang="0">
                    <a:pos x="22" y="3"/>
                  </a:cxn>
                  <a:cxn ang="0">
                    <a:pos x="48" y="0"/>
                  </a:cxn>
                  <a:cxn ang="0">
                    <a:pos x="54" y="0"/>
                  </a:cxn>
                  <a:cxn ang="0">
                    <a:pos x="57" y="1"/>
                  </a:cxn>
                  <a:cxn ang="0">
                    <a:pos x="63" y="0"/>
                  </a:cxn>
                  <a:cxn ang="0">
                    <a:pos x="73" y="3"/>
                  </a:cxn>
                  <a:cxn ang="0">
                    <a:pos x="87" y="13"/>
                  </a:cxn>
                </a:cxnLst>
                <a:rect l="0" t="0" r="r" b="b"/>
                <a:pathLst>
                  <a:path w="87" h="44">
                    <a:moveTo>
                      <a:pt x="87" y="14"/>
                    </a:moveTo>
                    <a:lnTo>
                      <a:pt x="84" y="14"/>
                    </a:lnTo>
                    <a:lnTo>
                      <a:pt x="80" y="16"/>
                    </a:lnTo>
                    <a:lnTo>
                      <a:pt x="80" y="17"/>
                    </a:lnTo>
                    <a:lnTo>
                      <a:pt x="77" y="17"/>
                    </a:lnTo>
                    <a:lnTo>
                      <a:pt x="76" y="17"/>
                    </a:lnTo>
                    <a:lnTo>
                      <a:pt x="73" y="19"/>
                    </a:lnTo>
                    <a:lnTo>
                      <a:pt x="69" y="19"/>
                    </a:lnTo>
                    <a:lnTo>
                      <a:pt x="69" y="19"/>
                    </a:lnTo>
                    <a:lnTo>
                      <a:pt x="67" y="17"/>
                    </a:lnTo>
                    <a:lnTo>
                      <a:pt x="66" y="17"/>
                    </a:lnTo>
                    <a:lnTo>
                      <a:pt x="66" y="17"/>
                    </a:lnTo>
                    <a:lnTo>
                      <a:pt x="64" y="19"/>
                    </a:lnTo>
                    <a:lnTo>
                      <a:pt x="64" y="19"/>
                    </a:lnTo>
                    <a:lnTo>
                      <a:pt x="63" y="20"/>
                    </a:lnTo>
                    <a:lnTo>
                      <a:pt x="61" y="25"/>
                    </a:lnTo>
                    <a:lnTo>
                      <a:pt x="61" y="25"/>
                    </a:lnTo>
                    <a:lnTo>
                      <a:pt x="58" y="25"/>
                    </a:lnTo>
                    <a:lnTo>
                      <a:pt x="57" y="26"/>
                    </a:lnTo>
                    <a:lnTo>
                      <a:pt x="57" y="28"/>
                    </a:lnTo>
                    <a:lnTo>
                      <a:pt x="55" y="28"/>
                    </a:lnTo>
                    <a:lnTo>
                      <a:pt x="55" y="29"/>
                    </a:lnTo>
                    <a:lnTo>
                      <a:pt x="53" y="29"/>
                    </a:lnTo>
                    <a:lnTo>
                      <a:pt x="53" y="30"/>
                    </a:lnTo>
                    <a:lnTo>
                      <a:pt x="53" y="30"/>
                    </a:lnTo>
                    <a:lnTo>
                      <a:pt x="51" y="30"/>
                    </a:lnTo>
                    <a:lnTo>
                      <a:pt x="48" y="29"/>
                    </a:lnTo>
                    <a:lnTo>
                      <a:pt x="47" y="28"/>
                    </a:lnTo>
                    <a:lnTo>
                      <a:pt x="44" y="33"/>
                    </a:lnTo>
                    <a:lnTo>
                      <a:pt x="38" y="33"/>
                    </a:lnTo>
                    <a:lnTo>
                      <a:pt x="38" y="35"/>
                    </a:lnTo>
                    <a:lnTo>
                      <a:pt x="38" y="39"/>
                    </a:lnTo>
                    <a:lnTo>
                      <a:pt x="37" y="39"/>
                    </a:lnTo>
                    <a:lnTo>
                      <a:pt x="35" y="41"/>
                    </a:lnTo>
                    <a:lnTo>
                      <a:pt x="35" y="42"/>
                    </a:lnTo>
                    <a:lnTo>
                      <a:pt x="34" y="44"/>
                    </a:lnTo>
                    <a:lnTo>
                      <a:pt x="29" y="44"/>
                    </a:lnTo>
                    <a:lnTo>
                      <a:pt x="29" y="42"/>
                    </a:lnTo>
                    <a:lnTo>
                      <a:pt x="28" y="41"/>
                    </a:lnTo>
                    <a:lnTo>
                      <a:pt x="28" y="39"/>
                    </a:lnTo>
                    <a:lnTo>
                      <a:pt x="26" y="38"/>
                    </a:lnTo>
                    <a:lnTo>
                      <a:pt x="25" y="38"/>
                    </a:lnTo>
                    <a:lnTo>
                      <a:pt x="24" y="38"/>
                    </a:lnTo>
                    <a:lnTo>
                      <a:pt x="24" y="38"/>
                    </a:lnTo>
                    <a:lnTo>
                      <a:pt x="24" y="32"/>
                    </a:lnTo>
                    <a:lnTo>
                      <a:pt x="24" y="32"/>
                    </a:lnTo>
                    <a:lnTo>
                      <a:pt x="22" y="30"/>
                    </a:lnTo>
                    <a:lnTo>
                      <a:pt x="19" y="30"/>
                    </a:lnTo>
                    <a:lnTo>
                      <a:pt x="19" y="29"/>
                    </a:lnTo>
                    <a:lnTo>
                      <a:pt x="18" y="29"/>
                    </a:lnTo>
                    <a:lnTo>
                      <a:pt x="16" y="30"/>
                    </a:lnTo>
                    <a:lnTo>
                      <a:pt x="15" y="30"/>
                    </a:lnTo>
                    <a:lnTo>
                      <a:pt x="13" y="30"/>
                    </a:lnTo>
                    <a:lnTo>
                      <a:pt x="12" y="29"/>
                    </a:lnTo>
                    <a:lnTo>
                      <a:pt x="12" y="29"/>
                    </a:lnTo>
                    <a:lnTo>
                      <a:pt x="10" y="29"/>
                    </a:lnTo>
                    <a:lnTo>
                      <a:pt x="10" y="29"/>
                    </a:lnTo>
                    <a:lnTo>
                      <a:pt x="9" y="28"/>
                    </a:lnTo>
                    <a:lnTo>
                      <a:pt x="9" y="28"/>
                    </a:lnTo>
                    <a:lnTo>
                      <a:pt x="6" y="26"/>
                    </a:lnTo>
                    <a:lnTo>
                      <a:pt x="5" y="23"/>
                    </a:lnTo>
                    <a:lnTo>
                      <a:pt x="2" y="23"/>
                    </a:lnTo>
                    <a:lnTo>
                      <a:pt x="0" y="22"/>
                    </a:lnTo>
                    <a:lnTo>
                      <a:pt x="0" y="22"/>
                    </a:lnTo>
                    <a:lnTo>
                      <a:pt x="0" y="20"/>
                    </a:lnTo>
                    <a:lnTo>
                      <a:pt x="3" y="19"/>
                    </a:lnTo>
                    <a:lnTo>
                      <a:pt x="3" y="19"/>
                    </a:lnTo>
                    <a:lnTo>
                      <a:pt x="3" y="17"/>
                    </a:lnTo>
                    <a:lnTo>
                      <a:pt x="2" y="17"/>
                    </a:lnTo>
                    <a:lnTo>
                      <a:pt x="2" y="16"/>
                    </a:lnTo>
                    <a:lnTo>
                      <a:pt x="3" y="14"/>
                    </a:lnTo>
                    <a:lnTo>
                      <a:pt x="5" y="13"/>
                    </a:lnTo>
                    <a:lnTo>
                      <a:pt x="5" y="13"/>
                    </a:lnTo>
                    <a:lnTo>
                      <a:pt x="6" y="12"/>
                    </a:lnTo>
                    <a:lnTo>
                      <a:pt x="15" y="6"/>
                    </a:lnTo>
                    <a:lnTo>
                      <a:pt x="16" y="4"/>
                    </a:lnTo>
                    <a:lnTo>
                      <a:pt x="19" y="3"/>
                    </a:lnTo>
                    <a:lnTo>
                      <a:pt x="22" y="3"/>
                    </a:lnTo>
                    <a:lnTo>
                      <a:pt x="47" y="1"/>
                    </a:lnTo>
                    <a:lnTo>
                      <a:pt x="48" y="0"/>
                    </a:lnTo>
                    <a:lnTo>
                      <a:pt x="51" y="0"/>
                    </a:lnTo>
                    <a:lnTo>
                      <a:pt x="54" y="0"/>
                    </a:lnTo>
                    <a:lnTo>
                      <a:pt x="54" y="1"/>
                    </a:lnTo>
                    <a:lnTo>
                      <a:pt x="57" y="1"/>
                    </a:lnTo>
                    <a:lnTo>
                      <a:pt x="60" y="0"/>
                    </a:lnTo>
                    <a:lnTo>
                      <a:pt x="63" y="0"/>
                    </a:lnTo>
                    <a:lnTo>
                      <a:pt x="67" y="3"/>
                    </a:lnTo>
                    <a:lnTo>
                      <a:pt x="73" y="3"/>
                    </a:lnTo>
                    <a:lnTo>
                      <a:pt x="86" y="12"/>
                    </a:lnTo>
                    <a:lnTo>
                      <a:pt x="87" y="13"/>
                    </a:lnTo>
                    <a:lnTo>
                      <a:pt x="87" y="1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98" name="Freeform 1273"/>
              <p:cNvSpPr>
                <a:spLocks/>
              </p:cNvSpPr>
              <p:nvPr/>
            </p:nvSpPr>
            <p:spPr bwMode="auto">
              <a:xfrm>
                <a:off x="5058586" y="3276654"/>
                <a:ext cx="163271" cy="270773"/>
              </a:xfrm>
              <a:custGeom>
                <a:avLst/>
                <a:gdLst/>
                <a:ahLst/>
                <a:cxnLst>
                  <a:cxn ang="0">
                    <a:pos x="82" y="0"/>
                  </a:cxn>
                  <a:cxn ang="0">
                    <a:pos x="83" y="3"/>
                  </a:cxn>
                  <a:cxn ang="0">
                    <a:pos x="86" y="12"/>
                  </a:cxn>
                  <a:cxn ang="0">
                    <a:pos x="79" y="23"/>
                  </a:cxn>
                  <a:cxn ang="0">
                    <a:pos x="45" y="44"/>
                  </a:cxn>
                  <a:cxn ang="0">
                    <a:pos x="43" y="49"/>
                  </a:cxn>
                  <a:cxn ang="0">
                    <a:pos x="41" y="48"/>
                  </a:cxn>
                  <a:cxn ang="0">
                    <a:pos x="35" y="65"/>
                  </a:cxn>
                  <a:cxn ang="0">
                    <a:pos x="31" y="68"/>
                  </a:cxn>
                  <a:cxn ang="0">
                    <a:pos x="24" y="62"/>
                  </a:cxn>
                  <a:cxn ang="0">
                    <a:pos x="16" y="61"/>
                  </a:cxn>
                  <a:cxn ang="0">
                    <a:pos x="11" y="62"/>
                  </a:cxn>
                  <a:cxn ang="0">
                    <a:pos x="9" y="58"/>
                  </a:cxn>
                  <a:cxn ang="0">
                    <a:pos x="14" y="55"/>
                  </a:cxn>
                  <a:cxn ang="0">
                    <a:pos x="14" y="51"/>
                  </a:cxn>
                  <a:cxn ang="0">
                    <a:pos x="14" y="48"/>
                  </a:cxn>
                  <a:cxn ang="0">
                    <a:pos x="0" y="68"/>
                  </a:cxn>
                  <a:cxn ang="0">
                    <a:pos x="6" y="77"/>
                  </a:cxn>
                  <a:cxn ang="0">
                    <a:pos x="2" y="81"/>
                  </a:cxn>
                  <a:cxn ang="0">
                    <a:pos x="21" y="97"/>
                  </a:cxn>
                  <a:cxn ang="0">
                    <a:pos x="27" y="109"/>
                  </a:cxn>
                  <a:cxn ang="0">
                    <a:pos x="56" y="166"/>
                  </a:cxn>
                  <a:cxn ang="0">
                    <a:pos x="70" y="196"/>
                  </a:cxn>
                  <a:cxn ang="0">
                    <a:pos x="86" y="218"/>
                  </a:cxn>
                  <a:cxn ang="0">
                    <a:pos x="127" y="240"/>
                  </a:cxn>
                  <a:cxn ang="0">
                    <a:pos x="153" y="260"/>
                  </a:cxn>
                  <a:cxn ang="0">
                    <a:pos x="163" y="257"/>
                  </a:cxn>
                  <a:cxn ang="0">
                    <a:pos x="165" y="251"/>
                  </a:cxn>
                  <a:cxn ang="0">
                    <a:pos x="165" y="248"/>
                  </a:cxn>
                  <a:cxn ang="0">
                    <a:pos x="175" y="232"/>
                  </a:cxn>
                  <a:cxn ang="0">
                    <a:pos x="172" y="230"/>
                  </a:cxn>
                  <a:cxn ang="0">
                    <a:pos x="169" y="224"/>
                  </a:cxn>
                  <a:cxn ang="0">
                    <a:pos x="172" y="217"/>
                  </a:cxn>
                  <a:cxn ang="0">
                    <a:pos x="169" y="209"/>
                  </a:cxn>
                  <a:cxn ang="0">
                    <a:pos x="173" y="205"/>
                  </a:cxn>
                  <a:cxn ang="0">
                    <a:pos x="175" y="179"/>
                  </a:cxn>
                  <a:cxn ang="0">
                    <a:pos x="165" y="154"/>
                  </a:cxn>
                  <a:cxn ang="0">
                    <a:pos x="159" y="155"/>
                  </a:cxn>
                  <a:cxn ang="0">
                    <a:pos x="153" y="154"/>
                  </a:cxn>
                  <a:cxn ang="0">
                    <a:pos x="140" y="139"/>
                  </a:cxn>
                  <a:cxn ang="0">
                    <a:pos x="130" y="138"/>
                  </a:cxn>
                  <a:cxn ang="0">
                    <a:pos x="127" y="132"/>
                  </a:cxn>
                  <a:cxn ang="0">
                    <a:pos x="119" y="128"/>
                  </a:cxn>
                  <a:cxn ang="0">
                    <a:pos x="109" y="115"/>
                  </a:cxn>
                  <a:cxn ang="0">
                    <a:pos x="106" y="105"/>
                  </a:cxn>
                  <a:cxn ang="0">
                    <a:pos x="117" y="92"/>
                  </a:cxn>
                  <a:cxn ang="0">
                    <a:pos x="133" y="65"/>
                  </a:cxn>
                  <a:cxn ang="0">
                    <a:pos x="160" y="58"/>
                  </a:cxn>
                  <a:cxn ang="0">
                    <a:pos x="156" y="52"/>
                  </a:cxn>
                  <a:cxn ang="0">
                    <a:pos x="151" y="49"/>
                  </a:cxn>
                  <a:cxn ang="0">
                    <a:pos x="157" y="35"/>
                  </a:cxn>
                  <a:cxn ang="0">
                    <a:pos x="143" y="32"/>
                  </a:cxn>
                  <a:cxn ang="0">
                    <a:pos x="138" y="30"/>
                  </a:cxn>
                  <a:cxn ang="0">
                    <a:pos x="131" y="32"/>
                  </a:cxn>
                  <a:cxn ang="0">
                    <a:pos x="130" y="33"/>
                  </a:cxn>
                  <a:cxn ang="0">
                    <a:pos x="121" y="33"/>
                  </a:cxn>
                  <a:cxn ang="0">
                    <a:pos x="115" y="30"/>
                  </a:cxn>
                  <a:cxn ang="0">
                    <a:pos x="111" y="25"/>
                  </a:cxn>
                  <a:cxn ang="0">
                    <a:pos x="109" y="17"/>
                  </a:cxn>
                  <a:cxn ang="0">
                    <a:pos x="105" y="15"/>
                  </a:cxn>
                  <a:cxn ang="0">
                    <a:pos x="101" y="13"/>
                  </a:cxn>
                  <a:cxn ang="0">
                    <a:pos x="95" y="4"/>
                  </a:cxn>
                  <a:cxn ang="0">
                    <a:pos x="86" y="0"/>
                  </a:cxn>
                </a:cxnLst>
                <a:rect l="0" t="0" r="r" b="b"/>
                <a:pathLst>
                  <a:path w="178" h="260">
                    <a:moveTo>
                      <a:pt x="85" y="0"/>
                    </a:moveTo>
                    <a:lnTo>
                      <a:pt x="85" y="0"/>
                    </a:lnTo>
                    <a:lnTo>
                      <a:pt x="82" y="0"/>
                    </a:lnTo>
                    <a:lnTo>
                      <a:pt x="82" y="1"/>
                    </a:lnTo>
                    <a:lnTo>
                      <a:pt x="82" y="3"/>
                    </a:lnTo>
                    <a:lnTo>
                      <a:pt x="83" y="3"/>
                    </a:lnTo>
                    <a:lnTo>
                      <a:pt x="85" y="6"/>
                    </a:lnTo>
                    <a:lnTo>
                      <a:pt x="85" y="7"/>
                    </a:lnTo>
                    <a:lnTo>
                      <a:pt x="86" y="12"/>
                    </a:lnTo>
                    <a:lnTo>
                      <a:pt x="86" y="12"/>
                    </a:lnTo>
                    <a:lnTo>
                      <a:pt x="85" y="12"/>
                    </a:lnTo>
                    <a:lnTo>
                      <a:pt x="79" y="23"/>
                    </a:lnTo>
                    <a:lnTo>
                      <a:pt x="66" y="35"/>
                    </a:lnTo>
                    <a:lnTo>
                      <a:pt x="47" y="44"/>
                    </a:lnTo>
                    <a:lnTo>
                      <a:pt x="45" y="44"/>
                    </a:lnTo>
                    <a:lnTo>
                      <a:pt x="44" y="46"/>
                    </a:lnTo>
                    <a:lnTo>
                      <a:pt x="44" y="48"/>
                    </a:lnTo>
                    <a:lnTo>
                      <a:pt x="43" y="49"/>
                    </a:lnTo>
                    <a:lnTo>
                      <a:pt x="43" y="49"/>
                    </a:lnTo>
                    <a:lnTo>
                      <a:pt x="41" y="48"/>
                    </a:lnTo>
                    <a:lnTo>
                      <a:pt x="41" y="48"/>
                    </a:lnTo>
                    <a:lnTo>
                      <a:pt x="41" y="49"/>
                    </a:lnTo>
                    <a:lnTo>
                      <a:pt x="37" y="54"/>
                    </a:lnTo>
                    <a:lnTo>
                      <a:pt x="35" y="65"/>
                    </a:lnTo>
                    <a:lnTo>
                      <a:pt x="35" y="65"/>
                    </a:lnTo>
                    <a:lnTo>
                      <a:pt x="34" y="65"/>
                    </a:lnTo>
                    <a:lnTo>
                      <a:pt x="31" y="68"/>
                    </a:lnTo>
                    <a:lnTo>
                      <a:pt x="28" y="70"/>
                    </a:lnTo>
                    <a:lnTo>
                      <a:pt x="27" y="68"/>
                    </a:lnTo>
                    <a:lnTo>
                      <a:pt x="24" y="62"/>
                    </a:lnTo>
                    <a:lnTo>
                      <a:pt x="19" y="62"/>
                    </a:lnTo>
                    <a:lnTo>
                      <a:pt x="18" y="62"/>
                    </a:lnTo>
                    <a:lnTo>
                      <a:pt x="16" y="61"/>
                    </a:lnTo>
                    <a:lnTo>
                      <a:pt x="15" y="61"/>
                    </a:lnTo>
                    <a:lnTo>
                      <a:pt x="12" y="62"/>
                    </a:lnTo>
                    <a:lnTo>
                      <a:pt x="11" y="62"/>
                    </a:lnTo>
                    <a:lnTo>
                      <a:pt x="11" y="62"/>
                    </a:lnTo>
                    <a:lnTo>
                      <a:pt x="11" y="58"/>
                    </a:lnTo>
                    <a:lnTo>
                      <a:pt x="9" y="58"/>
                    </a:lnTo>
                    <a:lnTo>
                      <a:pt x="9" y="57"/>
                    </a:lnTo>
                    <a:lnTo>
                      <a:pt x="11" y="55"/>
                    </a:lnTo>
                    <a:lnTo>
                      <a:pt x="14" y="55"/>
                    </a:lnTo>
                    <a:lnTo>
                      <a:pt x="15" y="54"/>
                    </a:lnTo>
                    <a:lnTo>
                      <a:pt x="15" y="51"/>
                    </a:lnTo>
                    <a:lnTo>
                      <a:pt x="14" y="51"/>
                    </a:lnTo>
                    <a:lnTo>
                      <a:pt x="14" y="48"/>
                    </a:lnTo>
                    <a:lnTo>
                      <a:pt x="14" y="48"/>
                    </a:lnTo>
                    <a:lnTo>
                      <a:pt x="14" y="48"/>
                    </a:lnTo>
                    <a:lnTo>
                      <a:pt x="0" y="60"/>
                    </a:lnTo>
                    <a:lnTo>
                      <a:pt x="0" y="61"/>
                    </a:lnTo>
                    <a:lnTo>
                      <a:pt x="0" y="68"/>
                    </a:lnTo>
                    <a:lnTo>
                      <a:pt x="2" y="70"/>
                    </a:lnTo>
                    <a:lnTo>
                      <a:pt x="2" y="73"/>
                    </a:lnTo>
                    <a:lnTo>
                      <a:pt x="6" y="77"/>
                    </a:lnTo>
                    <a:lnTo>
                      <a:pt x="6" y="77"/>
                    </a:lnTo>
                    <a:lnTo>
                      <a:pt x="5" y="80"/>
                    </a:lnTo>
                    <a:lnTo>
                      <a:pt x="2" y="81"/>
                    </a:lnTo>
                    <a:lnTo>
                      <a:pt x="3" y="83"/>
                    </a:lnTo>
                    <a:lnTo>
                      <a:pt x="18" y="94"/>
                    </a:lnTo>
                    <a:lnTo>
                      <a:pt x="21" y="97"/>
                    </a:lnTo>
                    <a:lnTo>
                      <a:pt x="21" y="97"/>
                    </a:lnTo>
                    <a:lnTo>
                      <a:pt x="22" y="100"/>
                    </a:lnTo>
                    <a:lnTo>
                      <a:pt x="27" y="109"/>
                    </a:lnTo>
                    <a:lnTo>
                      <a:pt x="34" y="116"/>
                    </a:lnTo>
                    <a:lnTo>
                      <a:pt x="51" y="161"/>
                    </a:lnTo>
                    <a:lnTo>
                      <a:pt x="56" y="166"/>
                    </a:lnTo>
                    <a:lnTo>
                      <a:pt x="70" y="187"/>
                    </a:lnTo>
                    <a:lnTo>
                      <a:pt x="72" y="195"/>
                    </a:lnTo>
                    <a:lnTo>
                      <a:pt x="70" y="196"/>
                    </a:lnTo>
                    <a:lnTo>
                      <a:pt x="69" y="198"/>
                    </a:lnTo>
                    <a:lnTo>
                      <a:pt x="70" y="201"/>
                    </a:lnTo>
                    <a:lnTo>
                      <a:pt x="86" y="218"/>
                    </a:lnTo>
                    <a:lnTo>
                      <a:pt x="125" y="238"/>
                    </a:lnTo>
                    <a:lnTo>
                      <a:pt x="125" y="238"/>
                    </a:lnTo>
                    <a:lnTo>
                      <a:pt x="127" y="240"/>
                    </a:lnTo>
                    <a:lnTo>
                      <a:pt x="151" y="259"/>
                    </a:lnTo>
                    <a:lnTo>
                      <a:pt x="151" y="259"/>
                    </a:lnTo>
                    <a:lnTo>
                      <a:pt x="153" y="260"/>
                    </a:lnTo>
                    <a:lnTo>
                      <a:pt x="156" y="259"/>
                    </a:lnTo>
                    <a:lnTo>
                      <a:pt x="162" y="257"/>
                    </a:lnTo>
                    <a:lnTo>
                      <a:pt x="163" y="257"/>
                    </a:lnTo>
                    <a:lnTo>
                      <a:pt x="163" y="254"/>
                    </a:lnTo>
                    <a:lnTo>
                      <a:pt x="165" y="251"/>
                    </a:lnTo>
                    <a:lnTo>
                      <a:pt x="165" y="251"/>
                    </a:lnTo>
                    <a:lnTo>
                      <a:pt x="166" y="250"/>
                    </a:lnTo>
                    <a:lnTo>
                      <a:pt x="165" y="248"/>
                    </a:lnTo>
                    <a:lnTo>
                      <a:pt x="165" y="248"/>
                    </a:lnTo>
                    <a:lnTo>
                      <a:pt x="165" y="247"/>
                    </a:lnTo>
                    <a:lnTo>
                      <a:pt x="175" y="235"/>
                    </a:lnTo>
                    <a:lnTo>
                      <a:pt x="175" y="232"/>
                    </a:lnTo>
                    <a:lnTo>
                      <a:pt x="173" y="231"/>
                    </a:lnTo>
                    <a:lnTo>
                      <a:pt x="172" y="230"/>
                    </a:lnTo>
                    <a:lnTo>
                      <a:pt x="172" y="230"/>
                    </a:lnTo>
                    <a:lnTo>
                      <a:pt x="170" y="228"/>
                    </a:lnTo>
                    <a:lnTo>
                      <a:pt x="169" y="228"/>
                    </a:lnTo>
                    <a:lnTo>
                      <a:pt x="169" y="224"/>
                    </a:lnTo>
                    <a:lnTo>
                      <a:pt x="169" y="221"/>
                    </a:lnTo>
                    <a:lnTo>
                      <a:pt x="170" y="218"/>
                    </a:lnTo>
                    <a:lnTo>
                      <a:pt x="172" y="217"/>
                    </a:lnTo>
                    <a:lnTo>
                      <a:pt x="172" y="215"/>
                    </a:lnTo>
                    <a:lnTo>
                      <a:pt x="172" y="212"/>
                    </a:lnTo>
                    <a:lnTo>
                      <a:pt x="169" y="209"/>
                    </a:lnTo>
                    <a:lnTo>
                      <a:pt x="169" y="208"/>
                    </a:lnTo>
                    <a:lnTo>
                      <a:pt x="170" y="206"/>
                    </a:lnTo>
                    <a:lnTo>
                      <a:pt x="173" y="205"/>
                    </a:lnTo>
                    <a:lnTo>
                      <a:pt x="175" y="205"/>
                    </a:lnTo>
                    <a:lnTo>
                      <a:pt x="175" y="182"/>
                    </a:lnTo>
                    <a:lnTo>
                      <a:pt x="175" y="179"/>
                    </a:lnTo>
                    <a:lnTo>
                      <a:pt x="178" y="176"/>
                    </a:lnTo>
                    <a:lnTo>
                      <a:pt x="178" y="174"/>
                    </a:lnTo>
                    <a:lnTo>
                      <a:pt x="165" y="154"/>
                    </a:lnTo>
                    <a:lnTo>
                      <a:pt x="160" y="154"/>
                    </a:lnTo>
                    <a:lnTo>
                      <a:pt x="159" y="154"/>
                    </a:lnTo>
                    <a:lnTo>
                      <a:pt x="159" y="155"/>
                    </a:lnTo>
                    <a:lnTo>
                      <a:pt x="156" y="155"/>
                    </a:lnTo>
                    <a:lnTo>
                      <a:pt x="154" y="154"/>
                    </a:lnTo>
                    <a:lnTo>
                      <a:pt x="153" y="154"/>
                    </a:lnTo>
                    <a:lnTo>
                      <a:pt x="153" y="131"/>
                    </a:lnTo>
                    <a:lnTo>
                      <a:pt x="153" y="129"/>
                    </a:lnTo>
                    <a:lnTo>
                      <a:pt x="140" y="139"/>
                    </a:lnTo>
                    <a:lnTo>
                      <a:pt x="134" y="139"/>
                    </a:lnTo>
                    <a:lnTo>
                      <a:pt x="130" y="138"/>
                    </a:lnTo>
                    <a:lnTo>
                      <a:pt x="130" y="138"/>
                    </a:lnTo>
                    <a:lnTo>
                      <a:pt x="128" y="135"/>
                    </a:lnTo>
                    <a:lnTo>
                      <a:pt x="128" y="134"/>
                    </a:lnTo>
                    <a:lnTo>
                      <a:pt x="127" y="132"/>
                    </a:lnTo>
                    <a:lnTo>
                      <a:pt x="118" y="132"/>
                    </a:lnTo>
                    <a:lnTo>
                      <a:pt x="118" y="131"/>
                    </a:lnTo>
                    <a:lnTo>
                      <a:pt x="119" y="128"/>
                    </a:lnTo>
                    <a:lnTo>
                      <a:pt x="119" y="125"/>
                    </a:lnTo>
                    <a:lnTo>
                      <a:pt x="117" y="124"/>
                    </a:lnTo>
                    <a:lnTo>
                      <a:pt x="109" y="115"/>
                    </a:lnTo>
                    <a:lnTo>
                      <a:pt x="109" y="112"/>
                    </a:lnTo>
                    <a:lnTo>
                      <a:pt x="106" y="106"/>
                    </a:lnTo>
                    <a:lnTo>
                      <a:pt x="106" y="105"/>
                    </a:lnTo>
                    <a:lnTo>
                      <a:pt x="111" y="93"/>
                    </a:lnTo>
                    <a:lnTo>
                      <a:pt x="112" y="92"/>
                    </a:lnTo>
                    <a:lnTo>
                      <a:pt x="117" y="92"/>
                    </a:lnTo>
                    <a:lnTo>
                      <a:pt x="117" y="83"/>
                    </a:lnTo>
                    <a:lnTo>
                      <a:pt x="125" y="70"/>
                    </a:lnTo>
                    <a:lnTo>
                      <a:pt x="133" y="65"/>
                    </a:lnTo>
                    <a:lnTo>
                      <a:pt x="153" y="58"/>
                    </a:lnTo>
                    <a:lnTo>
                      <a:pt x="159" y="58"/>
                    </a:lnTo>
                    <a:lnTo>
                      <a:pt x="160" y="58"/>
                    </a:lnTo>
                    <a:lnTo>
                      <a:pt x="160" y="57"/>
                    </a:lnTo>
                    <a:lnTo>
                      <a:pt x="159" y="57"/>
                    </a:lnTo>
                    <a:lnTo>
                      <a:pt x="156" y="52"/>
                    </a:lnTo>
                    <a:lnTo>
                      <a:pt x="151" y="52"/>
                    </a:lnTo>
                    <a:lnTo>
                      <a:pt x="151" y="52"/>
                    </a:lnTo>
                    <a:lnTo>
                      <a:pt x="151" y="49"/>
                    </a:lnTo>
                    <a:lnTo>
                      <a:pt x="159" y="39"/>
                    </a:lnTo>
                    <a:lnTo>
                      <a:pt x="159" y="38"/>
                    </a:lnTo>
                    <a:lnTo>
                      <a:pt x="157" y="35"/>
                    </a:lnTo>
                    <a:lnTo>
                      <a:pt x="149" y="30"/>
                    </a:lnTo>
                    <a:lnTo>
                      <a:pt x="146" y="30"/>
                    </a:lnTo>
                    <a:lnTo>
                      <a:pt x="143" y="32"/>
                    </a:lnTo>
                    <a:lnTo>
                      <a:pt x="141" y="32"/>
                    </a:lnTo>
                    <a:lnTo>
                      <a:pt x="140" y="32"/>
                    </a:lnTo>
                    <a:lnTo>
                      <a:pt x="138" y="30"/>
                    </a:lnTo>
                    <a:lnTo>
                      <a:pt x="134" y="30"/>
                    </a:lnTo>
                    <a:lnTo>
                      <a:pt x="133" y="30"/>
                    </a:lnTo>
                    <a:lnTo>
                      <a:pt x="131" y="32"/>
                    </a:lnTo>
                    <a:lnTo>
                      <a:pt x="131" y="32"/>
                    </a:lnTo>
                    <a:lnTo>
                      <a:pt x="130" y="33"/>
                    </a:lnTo>
                    <a:lnTo>
                      <a:pt x="130" y="33"/>
                    </a:lnTo>
                    <a:lnTo>
                      <a:pt x="127" y="33"/>
                    </a:lnTo>
                    <a:lnTo>
                      <a:pt x="124" y="33"/>
                    </a:lnTo>
                    <a:lnTo>
                      <a:pt x="121" y="33"/>
                    </a:lnTo>
                    <a:lnTo>
                      <a:pt x="119" y="33"/>
                    </a:lnTo>
                    <a:lnTo>
                      <a:pt x="117" y="33"/>
                    </a:lnTo>
                    <a:lnTo>
                      <a:pt x="115" y="30"/>
                    </a:lnTo>
                    <a:lnTo>
                      <a:pt x="115" y="25"/>
                    </a:lnTo>
                    <a:lnTo>
                      <a:pt x="114" y="25"/>
                    </a:lnTo>
                    <a:lnTo>
                      <a:pt x="111" y="25"/>
                    </a:lnTo>
                    <a:lnTo>
                      <a:pt x="111" y="23"/>
                    </a:lnTo>
                    <a:lnTo>
                      <a:pt x="109" y="23"/>
                    </a:lnTo>
                    <a:lnTo>
                      <a:pt x="109" y="17"/>
                    </a:lnTo>
                    <a:lnTo>
                      <a:pt x="108" y="16"/>
                    </a:lnTo>
                    <a:lnTo>
                      <a:pt x="106" y="15"/>
                    </a:lnTo>
                    <a:lnTo>
                      <a:pt x="105" y="15"/>
                    </a:lnTo>
                    <a:lnTo>
                      <a:pt x="104" y="15"/>
                    </a:lnTo>
                    <a:lnTo>
                      <a:pt x="102" y="13"/>
                    </a:lnTo>
                    <a:lnTo>
                      <a:pt x="101" y="13"/>
                    </a:lnTo>
                    <a:lnTo>
                      <a:pt x="99" y="12"/>
                    </a:lnTo>
                    <a:lnTo>
                      <a:pt x="98" y="6"/>
                    </a:lnTo>
                    <a:lnTo>
                      <a:pt x="95" y="4"/>
                    </a:lnTo>
                    <a:lnTo>
                      <a:pt x="93" y="3"/>
                    </a:lnTo>
                    <a:lnTo>
                      <a:pt x="92" y="1"/>
                    </a:lnTo>
                    <a:lnTo>
                      <a:pt x="86" y="0"/>
                    </a:lnTo>
                    <a:lnTo>
                      <a:pt x="85"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99" name="Freeform 1274"/>
              <p:cNvSpPr>
                <a:spLocks/>
              </p:cNvSpPr>
              <p:nvPr/>
            </p:nvSpPr>
            <p:spPr bwMode="auto">
              <a:xfrm>
                <a:off x="5058586" y="3276654"/>
                <a:ext cx="163271" cy="270773"/>
              </a:xfrm>
              <a:custGeom>
                <a:avLst/>
                <a:gdLst/>
                <a:ahLst/>
                <a:cxnLst>
                  <a:cxn ang="0">
                    <a:pos x="82" y="0"/>
                  </a:cxn>
                  <a:cxn ang="0">
                    <a:pos x="83" y="3"/>
                  </a:cxn>
                  <a:cxn ang="0">
                    <a:pos x="86" y="12"/>
                  </a:cxn>
                  <a:cxn ang="0">
                    <a:pos x="79" y="23"/>
                  </a:cxn>
                  <a:cxn ang="0">
                    <a:pos x="45" y="44"/>
                  </a:cxn>
                  <a:cxn ang="0">
                    <a:pos x="43" y="49"/>
                  </a:cxn>
                  <a:cxn ang="0">
                    <a:pos x="41" y="48"/>
                  </a:cxn>
                  <a:cxn ang="0">
                    <a:pos x="35" y="65"/>
                  </a:cxn>
                  <a:cxn ang="0">
                    <a:pos x="31" y="68"/>
                  </a:cxn>
                  <a:cxn ang="0">
                    <a:pos x="24" y="62"/>
                  </a:cxn>
                  <a:cxn ang="0">
                    <a:pos x="16" y="61"/>
                  </a:cxn>
                  <a:cxn ang="0">
                    <a:pos x="11" y="62"/>
                  </a:cxn>
                  <a:cxn ang="0">
                    <a:pos x="9" y="58"/>
                  </a:cxn>
                  <a:cxn ang="0">
                    <a:pos x="14" y="55"/>
                  </a:cxn>
                  <a:cxn ang="0">
                    <a:pos x="14" y="51"/>
                  </a:cxn>
                  <a:cxn ang="0">
                    <a:pos x="14" y="48"/>
                  </a:cxn>
                  <a:cxn ang="0">
                    <a:pos x="0" y="68"/>
                  </a:cxn>
                  <a:cxn ang="0">
                    <a:pos x="6" y="77"/>
                  </a:cxn>
                  <a:cxn ang="0">
                    <a:pos x="2" y="81"/>
                  </a:cxn>
                  <a:cxn ang="0">
                    <a:pos x="21" y="97"/>
                  </a:cxn>
                  <a:cxn ang="0">
                    <a:pos x="27" y="109"/>
                  </a:cxn>
                  <a:cxn ang="0">
                    <a:pos x="56" y="166"/>
                  </a:cxn>
                  <a:cxn ang="0">
                    <a:pos x="70" y="196"/>
                  </a:cxn>
                  <a:cxn ang="0">
                    <a:pos x="86" y="218"/>
                  </a:cxn>
                  <a:cxn ang="0">
                    <a:pos x="127" y="240"/>
                  </a:cxn>
                  <a:cxn ang="0">
                    <a:pos x="153" y="260"/>
                  </a:cxn>
                  <a:cxn ang="0">
                    <a:pos x="163" y="257"/>
                  </a:cxn>
                  <a:cxn ang="0">
                    <a:pos x="165" y="251"/>
                  </a:cxn>
                  <a:cxn ang="0">
                    <a:pos x="165" y="248"/>
                  </a:cxn>
                  <a:cxn ang="0">
                    <a:pos x="175" y="232"/>
                  </a:cxn>
                  <a:cxn ang="0">
                    <a:pos x="172" y="230"/>
                  </a:cxn>
                  <a:cxn ang="0">
                    <a:pos x="169" y="224"/>
                  </a:cxn>
                  <a:cxn ang="0">
                    <a:pos x="172" y="217"/>
                  </a:cxn>
                  <a:cxn ang="0">
                    <a:pos x="169" y="209"/>
                  </a:cxn>
                  <a:cxn ang="0">
                    <a:pos x="173" y="205"/>
                  </a:cxn>
                  <a:cxn ang="0">
                    <a:pos x="175" y="179"/>
                  </a:cxn>
                  <a:cxn ang="0">
                    <a:pos x="165" y="154"/>
                  </a:cxn>
                  <a:cxn ang="0">
                    <a:pos x="159" y="155"/>
                  </a:cxn>
                  <a:cxn ang="0">
                    <a:pos x="153" y="154"/>
                  </a:cxn>
                  <a:cxn ang="0">
                    <a:pos x="140" y="139"/>
                  </a:cxn>
                  <a:cxn ang="0">
                    <a:pos x="130" y="138"/>
                  </a:cxn>
                  <a:cxn ang="0">
                    <a:pos x="127" y="132"/>
                  </a:cxn>
                  <a:cxn ang="0">
                    <a:pos x="119" y="128"/>
                  </a:cxn>
                  <a:cxn ang="0">
                    <a:pos x="109" y="115"/>
                  </a:cxn>
                  <a:cxn ang="0">
                    <a:pos x="106" y="105"/>
                  </a:cxn>
                  <a:cxn ang="0">
                    <a:pos x="117" y="92"/>
                  </a:cxn>
                  <a:cxn ang="0">
                    <a:pos x="133" y="65"/>
                  </a:cxn>
                  <a:cxn ang="0">
                    <a:pos x="160" y="58"/>
                  </a:cxn>
                  <a:cxn ang="0">
                    <a:pos x="156" y="52"/>
                  </a:cxn>
                  <a:cxn ang="0">
                    <a:pos x="151" y="49"/>
                  </a:cxn>
                  <a:cxn ang="0">
                    <a:pos x="157" y="35"/>
                  </a:cxn>
                  <a:cxn ang="0">
                    <a:pos x="143" y="32"/>
                  </a:cxn>
                  <a:cxn ang="0">
                    <a:pos x="138" y="30"/>
                  </a:cxn>
                  <a:cxn ang="0">
                    <a:pos x="131" y="32"/>
                  </a:cxn>
                  <a:cxn ang="0">
                    <a:pos x="130" y="33"/>
                  </a:cxn>
                  <a:cxn ang="0">
                    <a:pos x="121" y="33"/>
                  </a:cxn>
                  <a:cxn ang="0">
                    <a:pos x="115" y="30"/>
                  </a:cxn>
                  <a:cxn ang="0">
                    <a:pos x="111" y="25"/>
                  </a:cxn>
                  <a:cxn ang="0">
                    <a:pos x="109" y="17"/>
                  </a:cxn>
                  <a:cxn ang="0">
                    <a:pos x="105" y="15"/>
                  </a:cxn>
                  <a:cxn ang="0">
                    <a:pos x="101" y="13"/>
                  </a:cxn>
                  <a:cxn ang="0">
                    <a:pos x="95" y="4"/>
                  </a:cxn>
                  <a:cxn ang="0">
                    <a:pos x="86" y="0"/>
                  </a:cxn>
                </a:cxnLst>
                <a:rect l="0" t="0" r="r" b="b"/>
                <a:pathLst>
                  <a:path w="178" h="260">
                    <a:moveTo>
                      <a:pt x="85" y="0"/>
                    </a:moveTo>
                    <a:lnTo>
                      <a:pt x="85" y="0"/>
                    </a:lnTo>
                    <a:lnTo>
                      <a:pt x="82" y="0"/>
                    </a:lnTo>
                    <a:lnTo>
                      <a:pt x="82" y="1"/>
                    </a:lnTo>
                    <a:lnTo>
                      <a:pt x="82" y="3"/>
                    </a:lnTo>
                    <a:lnTo>
                      <a:pt x="83" y="3"/>
                    </a:lnTo>
                    <a:lnTo>
                      <a:pt x="85" y="6"/>
                    </a:lnTo>
                    <a:lnTo>
                      <a:pt x="85" y="7"/>
                    </a:lnTo>
                    <a:lnTo>
                      <a:pt x="86" y="12"/>
                    </a:lnTo>
                    <a:lnTo>
                      <a:pt x="86" y="12"/>
                    </a:lnTo>
                    <a:lnTo>
                      <a:pt x="85" y="12"/>
                    </a:lnTo>
                    <a:lnTo>
                      <a:pt x="79" y="23"/>
                    </a:lnTo>
                    <a:lnTo>
                      <a:pt x="66" y="35"/>
                    </a:lnTo>
                    <a:lnTo>
                      <a:pt x="47" y="44"/>
                    </a:lnTo>
                    <a:lnTo>
                      <a:pt x="45" y="44"/>
                    </a:lnTo>
                    <a:lnTo>
                      <a:pt x="44" y="46"/>
                    </a:lnTo>
                    <a:lnTo>
                      <a:pt x="44" y="48"/>
                    </a:lnTo>
                    <a:lnTo>
                      <a:pt x="43" y="49"/>
                    </a:lnTo>
                    <a:lnTo>
                      <a:pt x="43" y="49"/>
                    </a:lnTo>
                    <a:lnTo>
                      <a:pt x="41" y="48"/>
                    </a:lnTo>
                    <a:lnTo>
                      <a:pt x="41" y="48"/>
                    </a:lnTo>
                    <a:lnTo>
                      <a:pt x="41" y="49"/>
                    </a:lnTo>
                    <a:lnTo>
                      <a:pt x="37" y="54"/>
                    </a:lnTo>
                    <a:lnTo>
                      <a:pt x="35" y="65"/>
                    </a:lnTo>
                    <a:lnTo>
                      <a:pt x="35" y="65"/>
                    </a:lnTo>
                    <a:lnTo>
                      <a:pt x="34" y="65"/>
                    </a:lnTo>
                    <a:lnTo>
                      <a:pt x="31" y="68"/>
                    </a:lnTo>
                    <a:lnTo>
                      <a:pt x="28" y="70"/>
                    </a:lnTo>
                    <a:lnTo>
                      <a:pt x="27" y="68"/>
                    </a:lnTo>
                    <a:lnTo>
                      <a:pt x="24" y="62"/>
                    </a:lnTo>
                    <a:lnTo>
                      <a:pt x="19" y="62"/>
                    </a:lnTo>
                    <a:lnTo>
                      <a:pt x="18" y="62"/>
                    </a:lnTo>
                    <a:lnTo>
                      <a:pt x="16" y="61"/>
                    </a:lnTo>
                    <a:lnTo>
                      <a:pt x="15" y="61"/>
                    </a:lnTo>
                    <a:lnTo>
                      <a:pt x="12" y="62"/>
                    </a:lnTo>
                    <a:lnTo>
                      <a:pt x="11" y="62"/>
                    </a:lnTo>
                    <a:lnTo>
                      <a:pt x="11" y="62"/>
                    </a:lnTo>
                    <a:lnTo>
                      <a:pt x="11" y="58"/>
                    </a:lnTo>
                    <a:lnTo>
                      <a:pt x="9" y="58"/>
                    </a:lnTo>
                    <a:lnTo>
                      <a:pt x="9" y="57"/>
                    </a:lnTo>
                    <a:lnTo>
                      <a:pt x="11" y="55"/>
                    </a:lnTo>
                    <a:lnTo>
                      <a:pt x="14" y="55"/>
                    </a:lnTo>
                    <a:lnTo>
                      <a:pt x="15" y="54"/>
                    </a:lnTo>
                    <a:lnTo>
                      <a:pt x="15" y="51"/>
                    </a:lnTo>
                    <a:lnTo>
                      <a:pt x="14" y="51"/>
                    </a:lnTo>
                    <a:lnTo>
                      <a:pt x="14" y="48"/>
                    </a:lnTo>
                    <a:lnTo>
                      <a:pt x="14" y="48"/>
                    </a:lnTo>
                    <a:lnTo>
                      <a:pt x="14" y="48"/>
                    </a:lnTo>
                    <a:lnTo>
                      <a:pt x="0" y="60"/>
                    </a:lnTo>
                    <a:lnTo>
                      <a:pt x="0" y="61"/>
                    </a:lnTo>
                    <a:lnTo>
                      <a:pt x="0" y="68"/>
                    </a:lnTo>
                    <a:lnTo>
                      <a:pt x="2" y="70"/>
                    </a:lnTo>
                    <a:lnTo>
                      <a:pt x="2" y="73"/>
                    </a:lnTo>
                    <a:lnTo>
                      <a:pt x="6" y="77"/>
                    </a:lnTo>
                    <a:lnTo>
                      <a:pt x="6" y="77"/>
                    </a:lnTo>
                    <a:lnTo>
                      <a:pt x="5" y="80"/>
                    </a:lnTo>
                    <a:lnTo>
                      <a:pt x="2" y="81"/>
                    </a:lnTo>
                    <a:lnTo>
                      <a:pt x="3" y="83"/>
                    </a:lnTo>
                    <a:lnTo>
                      <a:pt x="18" y="94"/>
                    </a:lnTo>
                    <a:lnTo>
                      <a:pt x="21" y="97"/>
                    </a:lnTo>
                    <a:lnTo>
                      <a:pt x="21" y="97"/>
                    </a:lnTo>
                    <a:lnTo>
                      <a:pt x="22" y="100"/>
                    </a:lnTo>
                    <a:lnTo>
                      <a:pt x="27" y="109"/>
                    </a:lnTo>
                    <a:lnTo>
                      <a:pt x="34" y="116"/>
                    </a:lnTo>
                    <a:lnTo>
                      <a:pt x="51" y="161"/>
                    </a:lnTo>
                    <a:lnTo>
                      <a:pt x="56" y="166"/>
                    </a:lnTo>
                    <a:lnTo>
                      <a:pt x="70" y="187"/>
                    </a:lnTo>
                    <a:lnTo>
                      <a:pt x="72" y="195"/>
                    </a:lnTo>
                    <a:lnTo>
                      <a:pt x="70" y="196"/>
                    </a:lnTo>
                    <a:lnTo>
                      <a:pt x="69" y="198"/>
                    </a:lnTo>
                    <a:lnTo>
                      <a:pt x="70" y="201"/>
                    </a:lnTo>
                    <a:lnTo>
                      <a:pt x="86" y="218"/>
                    </a:lnTo>
                    <a:lnTo>
                      <a:pt x="125" y="238"/>
                    </a:lnTo>
                    <a:lnTo>
                      <a:pt x="125" y="238"/>
                    </a:lnTo>
                    <a:lnTo>
                      <a:pt x="127" y="240"/>
                    </a:lnTo>
                    <a:lnTo>
                      <a:pt x="151" y="259"/>
                    </a:lnTo>
                    <a:lnTo>
                      <a:pt x="151" y="259"/>
                    </a:lnTo>
                    <a:lnTo>
                      <a:pt x="153" y="260"/>
                    </a:lnTo>
                    <a:lnTo>
                      <a:pt x="156" y="259"/>
                    </a:lnTo>
                    <a:lnTo>
                      <a:pt x="162" y="257"/>
                    </a:lnTo>
                    <a:lnTo>
                      <a:pt x="163" y="257"/>
                    </a:lnTo>
                    <a:lnTo>
                      <a:pt x="163" y="254"/>
                    </a:lnTo>
                    <a:lnTo>
                      <a:pt x="165" y="251"/>
                    </a:lnTo>
                    <a:lnTo>
                      <a:pt x="165" y="251"/>
                    </a:lnTo>
                    <a:lnTo>
                      <a:pt x="166" y="250"/>
                    </a:lnTo>
                    <a:lnTo>
                      <a:pt x="165" y="248"/>
                    </a:lnTo>
                    <a:lnTo>
                      <a:pt x="165" y="248"/>
                    </a:lnTo>
                    <a:lnTo>
                      <a:pt x="165" y="247"/>
                    </a:lnTo>
                    <a:lnTo>
                      <a:pt x="175" y="235"/>
                    </a:lnTo>
                    <a:lnTo>
                      <a:pt x="175" y="232"/>
                    </a:lnTo>
                    <a:lnTo>
                      <a:pt x="173" y="231"/>
                    </a:lnTo>
                    <a:lnTo>
                      <a:pt x="172" y="230"/>
                    </a:lnTo>
                    <a:lnTo>
                      <a:pt x="172" y="230"/>
                    </a:lnTo>
                    <a:lnTo>
                      <a:pt x="170" y="228"/>
                    </a:lnTo>
                    <a:lnTo>
                      <a:pt x="169" y="228"/>
                    </a:lnTo>
                    <a:lnTo>
                      <a:pt x="169" y="224"/>
                    </a:lnTo>
                    <a:lnTo>
                      <a:pt x="169" y="221"/>
                    </a:lnTo>
                    <a:lnTo>
                      <a:pt x="170" y="218"/>
                    </a:lnTo>
                    <a:lnTo>
                      <a:pt x="172" y="217"/>
                    </a:lnTo>
                    <a:lnTo>
                      <a:pt x="172" y="215"/>
                    </a:lnTo>
                    <a:lnTo>
                      <a:pt x="172" y="212"/>
                    </a:lnTo>
                    <a:lnTo>
                      <a:pt x="169" y="209"/>
                    </a:lnTo>
                    <a:lnTo>
                      <a:pt x="169" y="208"/>
                    </a:lnTo>
                    <a:lnTo>
                      <a:pt x="170" y="206"/>
                    </a:lnTo>
                    <a:lnTo>
                      <a:pt x="173" y="205"/>
                    </a:lnTo>
                    <a:lnTo>
                      <a:pt x="175" y="205"/>
                    </a:lnTo>
                    <a:lnTo>
                      <a:pt x="175" y="182"/>
                    </a:lnTo>
                    <a:lnTo>
                      <a:pt x="175" y="179"/>
                    </a:lnTo>
                    <a:lnTo>
                      <a:pt x="178" y="176"/>
                    </a:lnTo>
                    <a:lnTo>
                      <a:pt x="178" y="174"/>
                    </a:lnTo>
                    <a:lnTo>
                      <a:pt x="165" y="154"/>
                    </a:lnTo>
                    <a:lnTo>
                      <a:pt x="160" y="154"/>
                    </a:lnTo>
                    <a:lnTo>
                      <a:pt x="159" y="154"/>
                    </a:lnTo>
                    <a:lnTo>
                      <a:pt x="159" y="155"/>
                    </a:lnTo>
                    <a:lnTo>
                      <a:pt x="156" y="155"/>
                    </a:lnTo>
                    <a:lnTo>
                      <a:pt x="154" y="154"/>
                    </a:lnTo>
                    <a:lnTo>
                      <a:pt x="153" y="154"/>
                    </a:lnTo>
                    <a:lnTo>
                      <a:pt x="153" y="131"/>
                    </a:lnTo>
                    <a:lnTo>
                      <a:pt x="153" y="129"/>
                    </a:lnTo>
                    <a:lnTo>
                      <a:pt x="140" y="139"/>
                    </a:lnTo>
                    <a:lnTo>
                      <a:pt x="134" y="139"/>
                    </a:lnTo>
                    <a:lnTo>
                      <a:pt x="130" y="138"/>
                    </a:lnTo>
                    <a:lnTo>
                      <a:pt x="130" y="138"/>
                    </a:lnTo>
                    <a:lnTo>
                      <a:pt x="128" y="135"/>
                    </a:lnTo>
                    <a:lnTo>
                      <a:pt x="128" y="134"/>
                    </a:lnTo>
                    <a:lnTo>
                      <a:pt x="127" y="132"/>
                    </a:lnTo>
                    <a:lnTo>
                      <a:pt x="118" y="132"/>
                    </a:lnTo>
                    <a:lnTo>
                      <a:pt x="118" y="131"/>
                    </a:lnTo>
                    <a:lnTo>
                      <a:pt x="119" y="128"/>
                    </a:lnTo>
                    <a:lnTo>
                      <a:pt x="119" y="125"/>
                    </a:lnTo>
                    <a:lnTo>
                      <a:pt x="117" y="124"/>
                    </a:lnTo>
                    <a:lnTo>
                      <a:pt x="109" y="115"/>
                    </a:lnTo>
                    <a:lnTo>
                      <a:pt x="109" y="112"/>
                    </a:lnTo>
                    <a:lnTo>
                      <a:pt x="106" y="106"/>
                    </a:lnTo>
                    <a:lnTo>
                      <a:pt x="106" y="105"/>
                    </a:lnTo>
                    <a:lnTo>
                      <a:pt x="111" y="93"/>
                    </a:lnTo>
                    <a:lnTo>
                      <a:pt x="112" y="92"/>
                    </a:lnTo>
                    <a:lnTo>
                      <a:pt x="117" y="92"/>
                    </a:lnTo>
                    <a:lnTo>
                      <a:pt x="117" y="83"/>
                    </a:lnTo>
                    <a:lnTo>
                      <a:pt x="125" y="70"/>
                    </a:lnTo>
                    <a:lnTo>
                      <a:pt x="133" y="65"/>
                    </a:lnTo>
                    <a:lnTo>
                      <a:pt x="153" y="58"/>
                    </a:lnTo>
                    <a:lnTo>
                      <a:pt x="159" y="58"/>
                    </a:lnTo>
                    <a:lnTo>
                      <a:pt x="160" y="58"/>
                    </a:lnTo>
                    <a:lnTo>
                      <a:pt x="160" y="57"/>
                    </a:lnTo>
                    <a:lnTo>
                      <a:pt x="159" y="57"/>
                    </a:lnTo>
                    <a:lnTo>
                      <a:pt x="156" y="52"/>
                    </a:lnTo>
                    <a:lnTo>
                      <a:pt x="151" y="52"/>
                    </a:lnTo>
                    <a:lnTo>
                      <a:pt x="151" y="52"/>
                    </a:lnTo>
                    <a:lnTo>
                      <a:pt x="151" y="49"/>
                    </a:lnTo>
                    <a:lnTo>
                      <a:pt x="159" y="39"/>
                    </a:lnTo>
                    <a:lnTo>
                      <a:pt x="159" y="38"/>
                    </a:lnTo>
                    <a:lnTo>
                      <a:pt x="157" y="35"/>
                    </a:lnTo>
                    <a:lnTo>
                      <a:pt x="149" y="30"/>
                    </a:lnTo>
                    <a:lnTo>
                      <a:pt x="146" y="30"/>
                    </a:lnTo>
                    <a:lnTo>
                      <a:pt x="143" y="32"/>
                    </a:lnTo>
                    <a:lnTo>
                      <a:pt x="141" y="32"/>
                    </a:lnTo>
                    <a:lnTo>
                      <a:pt x="140" y="32"/>
                    </a:lnTo>
                    <a:lnTo>
                      <a:pt x="138" y="30"/>
                    </a:lnTo>
                    <a:lnTo>
                      <a:pt x="134" y="30"/>
                    </a:lnTo>
                    <a:lnTo>
                      <a:pt x="133" y="30"/>
                    </a:lnTo>
                    <a:lnTo>
                      <a:pt x="131" y="32"/>
                    </a:lnTo>
                    <a:lnTo>
                      <a:pt x="131" y="32"/>
                    </a:lnTo>
                    <a:lnTo>
                      <a:pt x="130" y="33"/>
                    </a:lnTo>
                    <a:lnTo>
                      <a:pt x="130" y="33"/>
                    </a:lnTo>
                    <a:lnTo>
                      <a:pt x="127" y="33"/>
                    </a:lnTo>
                    <a:lnTo>
                      <a:pt x="124" y="33"/>
                    </a:lnTo>
                    <a:lnTo>
                      <a:pt x="121" y="33"/>
                    </a:lnTo>
                    <a:lnTo>
                      <a:pt x="119" y="33"/>
                    </a:lnTo>
                    <a:lnTo>
                      <a:pt x="117" y="33"/>
                    </a:lnTo>
                    <a:lnTo>
                      <a:pt x="115" y="30"/>
                    </a:lnTo>
                    <a:lnTo>
                      <a:pt x="115" y="25"/>
                    </a:lnTo>
                    <a:lnTo>
                      <a:pt x="114" y="25"/>
                    </a:lnTo>
                    <a:lnTo>
                      <a:pt x="111" y="25"/>
                    </a:lnTo>
                    <a:lnTo>
                      <a:pt x="111" y="23"/>
                    </a:lnTo>
                    <a:lnTo>
                      <a:pt x="109" y="23"/>
                    </a:lnTo>
                    <a:lnTo>
                      <a:pt x="109" y="17"/>
                    </a:lnTo>
                    <a:lnTo>
                      <a:pt x="108" y="16"/>
                    </a:lnTo>
                    <a:lnTo>
                      <a:pt x="106" y="15"/>
                    </a:lnTo>
                    <a:lnTo>
                      <a:pt x="105" y="15"/>
                    </a:lnTo>
                    <a:lnTo>
                      <a:pt x="104" y="15"/>
                    </a:lnTo>
                    <a:lnTo>
                      <a:pt x="102" y="13"/>
                    </a:lnTo>
                    <a:lnTo>
                      <a:pt x="101" y="13"/>
                    </a:lnTo>
                    <a:lnTo>
                      <a:pt x="99" y="12"/>
                    </a:lnTo>
                    <a:lnTo>
                      <a:pt x="98" y="6"/>
                    </a:lnTo>
                    <a:lnTo>
                      <a:pt x="95" y="4"/>
                    </a:lnTo>
                    <a:lnTo>
                      <a:pt x="93" y="3"/>
                    </a:lnTo>
                    <a:lnTo>
                      <a:pt x="92" y="1"/>
                    </a:lnTo>
                    <a:lnTo>
                      <a:pt x="86" y="0"/>
                    </a:lnTo>
                    <a:lnTo>
                      <a:pt x="85"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00" name="Freeform 1275"/>
              <p:cNvSpPr>
                <a:spLocks/>
              </p:cNvSpPr>
              <p:nvPr/>
            </p:nvSpPr>
            <p:spPr bwMode="auto">
              <a:xfrm>
                <a:off x="5161289" y="3604218"/>
                <a:ext cx="256318" cy="581098"/>
              </a:xfrm>
              <a:custGeom>
                <a:avLst/>
                <a:gdLst/>
                <a:ahLst/>
                <a:cxnLst>
                  <a:cxn ang="0">
                    <a:pos x="38" y="552"/>
                  </a:cxn>
                  <a:cxn ang="0">
                    <a:pos x="15" y="520"/>
                  </a:cxn>
                  <a:cxn ang="0">
                    <a:pos x="7" y="520"/>
                  </a:cxn>
                  <a:cxn ang="0">
                    <a:pos x="0" y="519"/>
                  </a:cxn>
                  <a:cxn ang="0">
                    <a:pos x="13" y="476"/>
                  </a:cxn>
                  <a:cxn ang="0">
                    <a:pos x="13" y="463"/>
                  </a:cxn>
                  <a:cxn ang="0">
                    <a:pos x="25" y="408"/>
                  </a:cxn>
                  <a:cxn ang="0">
                    <a:pos x="21" y="395"/>
                  </a:cxn>
                  <a:cxn ang="0">
                    <a:pos x="28" y="389"/>
                  </a:cxn>
                  <a:cxn ang="0">
                    <a:pos x="22" y="375"/>
                  </a:cxn>
                  <a:cxn ang="0">
                    <a:pos x="21" y="346"/>
                  </a:cxn>
                  <a:cxn ang="0">
                    <a:pos x="21" y="328"/>
                  </a:cxn>
                  <a:cxn ang="0">
                    <a:pos x="34" y="241"/>
                  </a:cxn>
                  <a:cxn ang="0">
                    <a:pos x="38" y="235"/>
                  </a:cxn>
                  <a:cxn ang="0">
                    <a:pos x="44" y="215"/>
                  </a:cxn>
                  <a:cxn ang="0">
                    <a:pos x="47" y="177"/>
                  </a:cxn>
                  <a:cxn ang="0">
                    <a:pos x="42" y="147"/>
                  </a:cxn>
                  <a:cxn ang="0">
                    <a:pos x="48" y="134"/>
                  </a:cxn>
                  <a:cxn ang="0">
                    <a:pos x="71" y="80"/>
                  </a:cxn>
                  <a:cxn ang="0">
                    <a:pos x="70" y="42"/>
                  </a:cxn>
                  <a:cxn ang="0">
                    <a:pos x="89" y="17"/>
                  </a:cxn>
                  <a:cxn ang="0">
                    <a:pos x="92" y="11"/>
                  </a:cxn>
                  <a:cxn ang="0">
                    <a:pos x="124" y="7"/>
                  </a:cxn>
                  <a:cxn ang="0">
                    <a:pos x="129" y="13"/>
                  </a:cxn>
                  <a:cxn ang="0">
                    <a:pos x="157" y="10"/>
                  </a:cxn>
                  <a:cxn ang="0">
                    <a:pos x="177" y="33"/>
                  </a:cxn>
                  <a:cxn ang="0">
                    <a:pos x="218" y="51"/>
                  </a:cxn>
                  <a:cxn ang="0">
                    <a:pos x="222" y="61"/>
                  </a:cxn>
                  <a:cxn ang="0">
                    <a:pos x="235" y="89"/>
                  </a:cxn>
                  <a:cxn ang="0">
                    <a:pos x="244" y="87"/>
                  </a:cxn>
                  <a:cxn ang="0">
                    <a:pos x="269" y="58"/>
                  </a:cxn>
                  <a:cxn ang="0">
                    <a:pos x="279" y="83"/>
                  </a:cxn>
                  <a:cxn ang="0">
                    <a:pos x="243" y="115"/>
                  </a:cxn>
                  <a:cxn ang="0">
                    <a:pos x="224" y="135"/>
                  </a:cxn>
                  <a:cxn ang="0">
                    <a:pos x="217" y="180"/>
                  </a:cxn>
                  <a:cxn ang="0">
                    <a:pos x="230" y="219"/>
                  </a:cxn>
                  <a:cxn ang="0">
                    <a:pos x="234" y="237"/>
                  </a:cxn>
                  <a:cxn ang="0">
                    <a:pos x="222" y="273"/>
                  </a:cxn>
                  <a:cxn ang="0">
                    <a:pos x="158" y="289"/>
                  </a:cxn>
                  <a:cxn ang="0">
                    <a:pos x="158" y="301"/>
                  </a:cxn>
                  <a:cxn ang="0">
                    <a:pos x="151" y="322"/>
                  </a:cxn>
                  <a:cxn ang="0">
                    <a:pos x="118" y="320"/>
                  </a:cxn>
                  <a:cxn ang="0">
                    <a:pos x="127" y="346"/>
                  </a:cxn>
                  <a:cxn ang="0">
                    <a:pos x="129" y="344"/>
                  </a:cxn>
                  <a:cxn ang="0">
                    <a:pos x="140" y="354"/>
                  </a:cxn>
                  <a:cxn ang="0">
                    <a:pos x="131" y="353"/>
                  </a:cxn>
                  <a:cxn ang="0">
                    <a:pos x="121" y="353"/>
                  </a:cxn>
                  <a:cxn ang="0">
                    <a:pos x="121" y="366"/>
                  </a:cxn>
                  <a:cxn ang="0">
                    <a:pos x="112" y="392"/>
                  </a:cxn>
                  <a:cxn ang="0">
                    <a:pos x="100" y="402"/>
                  </a:cxn>
                  <a:cxn ang="0">
                    <a:pos x="83" y="424"/>
                  </a:cxn>
                  <a:cxn ang="0">
                    <a:pos x="109" y="445"/>
                  </a:cxn>
                  <a:cxn ang="0">
                    <a:pos x="106" y="462"/>
                  </a:cxn>
                  <a:cxn ang="0">
                    <a:pos x="83" y="490"/>
                  </a:cxn>
                  <a:cxn ang="0">
                    <a:pos x="70" y="506"/>
                  </a:cxn>
                  <a:cxn ang="0">
                    <a:pos x="70" y="508"/>
                  </a:cxn>
                  <a:cxn ang="0">
                    <a:pos x="60" y="529"/>
                  </a:cxn>
                  <a:cxn ang="0">
                    <a:pos x="60" y="543"/>
                  </a:cxn>
                </a:cxnLst>
                <a:rect l="0" t="0" r="r" b="b"/>
                <a:pathLst>
                  <a:path w="280" h="558">
                    <a:moveTo>
                      <a:pt x="71" y="558"/>
                    </a:moveTo>
                    <a:lnTo>
                      <a:pt x="70" y="558"/>
                    </a:lnTo>
                    <a:lnTo>
                      <a:pt x="67" y="555"/>
                    </a:lnTo>
                    <a:lnTo>
                      <a:pt x="53" y="552"/>
                    </a:lnTo>
                    <a:lnTo>
                      <a:pt x="38" y="552"/>
                    </a:lnTo>
                    <a:lnTo>
                      <a:pt x="37" y="552"/>
                    </a:lnTo>
                    <a:lnTo>
                      <a:pt x="22" y="552"/>
                    </a:lnTo>
                    <a:lnTo>
                      <a:pt x="19" y="551"/>
                    </a:lnTo>
                    <a:lnTo>
                      <a:pt x="16" y="545"/>
                    </a:lnTo>
                    <a:lnTo>
                      <a:pt x="15" y="520"/>
                    </a:lnTo>
                    <a:lnTo>
                      <a:pt x="15" y="520"/>
                    </a:lnTo>
                    <a:lnTo>
                      <a:pt x="13" y="519"/>
                    </a:lnTo>
                    <a:lnTo>
                      <a:pt x="13" y="519"/>
                    </a:lnTo>
                    <a:lnTo>
                      <a:pt x="12" y="522"/>
                    </a:lnTo>
                    <a:lnTo>
                      <a:pt x="7" y="520"/>
                    </a:lnTo>
                    <a:lnTo>
                      <a:pt x="5" y="522"/>
                    </a:lnTo>
                    <a:lnTo>
                      <a:pt x="5" y="523"/>
                    </a:lnTo>
                    <a:lnTo>
                      <a:pt x="3" y="524"/>
                    </a:lnTo>
                    <a:lnTo>
                      <a:pt x="2" y="524"/>
                    </a:lnTo>
                    <a:lnTo>
                      <a:pt x="0" y="519"/>
                    </a:lnTo>
                    <a:lnTo>
                      <a:pt x="0" y="517"/>
                    </a:lnTo>
                    <a:lnTo>
                      <a:pt x="3" y="495"/>
                    </a:lnTo>
                    <a:lnTo>
                      <a:pt x="5" y="492"/>
                    </a:lnTo>
                    <a:lnTo>
                      <a:pt x="5" y="491"/>
                    </a:lnTo>
                    <a:lnTo>
                      <a:pt x="13" y="476"/>
                    </a:lnTo>
                    <a:lnTo>
                      <a:pt x="15" y="469"/>
                    </a:lnTo>
                    <a:lnTo>
                      <a:pt x="15" y="469"/>
                    </a:lnTo>
                    <a:lnTo>
                      <a:pt x="15" y="468"/>
                    </a:lnTo>
                    <a:lnTo>
                      <a:pt x="15" y="463"/>
                    </a:lnTo>
                    <a:lnTo>
                      <a:pt x="13" y="463"/>
                    </a:lnTo>
                    <a:lnTo>
                      <a:pt x="13" y="461"/>
                    </a:lnTo>
                    <a:lnTo>
                      <a:pt x="13" y="461"/>
                    </a:lnTo>
                    <a:lnTo>
                      <a:pt x="15" y="455"/>
                    </a:lnTo>
                    <a:lnTo>
                      <a:pt x="25" y="433"/>
                    </a:lnTo>
                    <a:lnTo>
                      <a:pt x="25" y="408"/>
                    </a:lnTo>
                    <a:lnTo>
                      <a:pt x="28" y="405"/>
                    </a:lnTo>
                    <a:lnTo>
                      <a:pt x="28" y="402"/>
                    </a:lnTo>
                    <a:lnTo>
                      <a:pt x="25" y="399"/>
                    </a:lnTo>
                    <a:lnTo>
                      <a:pt x="22" y="398"/>
                    </a:lnTo>
                    <a:lnTo>
                      <a:pt x="21" y="395"/>
                    </a:lnTo>
                    <a:lnTo>
                      <a:pt x="22" y="395"/>
                    </a:lnTo>
                    <a:lnTo>
                      <a:pt x="29" y="395"/>
                    </a:lnTo>
                    <a:lnTo>
                      <a:pt x="29" y="394"/>
                    </a:lnTo>
                    <a:lnTo>
                      <a:pt x="29" y="391"/>
                    </a:lnTo>
                    <a:lnTo>
                      <a:pt x="28" y="389"/>
                    </a:lnTo>
                    <a:lnTo>
                      <a:pt x="23" y="388"/>
                    </a:lnTo>
                    <a:lnTo>
                      <a:pt x="22" y="388"/>
                    </a:lnTo>
                    <a:lnTo>
                      <a:pt x="22" y="386"/>
                    </a:lnTo>
                    <a:lnTo>
                      <a:pt x="23" y="378"/>
                    </a:lnTo>
                    <a:lnTo>
                      <a:pt x="22" y="375"/>
                    </a:lnTo>
                    <a:lnTo>
                      <a:pt x="21" y="372"/>
                    </a:lnTo>
                    <a:lnTo>
                      <a:pt x="21" y="363"/>
                    </a:lnTo>
                    <a:lnTo>
                      <a:pt x="19" y="362"/>
                    </a:lnTo>
                    <a:lnTo>
                      <a:pt x="19" y="360"/>
                    </a:lnTo>
                    <a:lnTo>
                      <a:pt x="21" y="346"/>
                    </a:lnTo>
                    <a:lnTo>
                      <a:pt x="23" y="340"/>
                    </a:lnTo>
                    <a:lnTo>
                      <a:pt x="23" y="336"/>
                    </a:lnTo>
                    <a:lnTo>
                      <a:pt x="23" y="334"/>
                    </a:lnTo>
                    <a:lnTo>
                      <a:pt x="22" y="333"/>
                    </a:lnTo>
                    <a:lnTo>
                      <a:pt x="21" y="328"/>
                    </a:lnTo>
                    <a:lnTo>
                      <a:pt x="29" y="283"/>
                    </a:lnTo>
                    <a:lnTo>
                      <a:pt x="32" y="280"/>
                    </a:lnTo>
                    <a:lnTo>
                      <a:pt x="34" y="277"/>
                    </a:lnTo>
                    <a:lnTo>
                      <a:pt x="32" y="272"/>
                    </a:lnTo>
                    <a:lnTo>
                      <a:pt x="34" y="241"/>
                    </a:lnTo>
                    <a:lnTo>
                      <a:pt x="35" y="238"/>
                    </a:lnTo>
                    <a:lnTo>
                      <a:pt x="37" y="238"/>
                    </a:lnTo>
                    <a:lnTo>
                      <a:pt x="38" y="238"/>
                    </a:lnTo>
                    <a:lnTo>
                      <a:pt x="38" y="237"/>
                    </a:lnTo>
                    <a:lnTo>
                      <a:pt x="38" y="235"/>
                    </a:lnTo>
                    <a:lnTo>
                      <a:pt x="39" y="234"/>
                    </a:lnTo>
                    <a:lnTo>
                      <a:pt x="41" y="232"/>
                    </a:lnTo>
                    <a:lnTo>
                      <a:pt x="41" y="218"/>
                    </a:lnTo>
                    <a:lnTo>
                      <a:pt x="44" y="216"/>
                    </a:lnTo>
                    <a:lnTo>
                      <a:pt x="44" y="215"/>
                    </a:lnTo>
                    <a:lnTo>
                      <a:pt x="45" y="208"/>
                    </a:lnTo>
                    <a:lnTo>
                      <a:pt x="50" y="199"/>
                    </a:lnTo>
                    <a:lnTo>
                      <a:pt x="48" y="184"/>
                    </a:lnTo>
                    <a:lnTo>
                      <a:pt x="47" y="182"/>
                    </a:lnTo>
                    <a:lnTo>
                      <a:pt x="47" y="177"/>
                    </a:lnTo>
                    <a:lnTo>
                      <a:pt x="42" y="168"/>
                    </a:lnTo>
                    <a:lnTo>
                      <a:pt x="42" y="160"/>
                    </a:lnTo>
                    <a:lnTo>
                      <a:pt x="41" y="158"/>
                    </a:lnTo>
                    <a:lnTo>
                      <a:pt x="42" y="148"/>
                    </a:lnTo>
                    <a:lnTo>
                      <a:pt x="42" y="147"/>
                    </a:lnTo>
                    <a:lnTo>
                      <a:pt x="45" y="139"/>
                    </a:lnTo>
                    <a:lnTo>
                      <a:pt x="47" y="138"/>
                    </a:lnTo>
                    <a:lnTo>
                      <a:pt x="47" y="136"/>
                    </a:lnTo>
                    <a:lnTo>
                      <a:pt x="47" y="135"/>
                    </a:lnTo>
                    <a:lnTo>
                      <a:pt x="48" y="134"/>
                    </a:lnTo>
                    <a:lnTo>
                      <a:pt x="55" y="99"/>
                    </a:lnTo>
                    <a:lnTo>
                      <a:pt x="61" y="91"/>
                    </a:lnTo>
                    <a:lnTo>
                      <a:pt x="63" y="86"/>
                    </a:lnTo>
                    <a:lnTo>
                      <a:pt x="68" y="81"/>
                    </a:lnTo>
                    <a:lnTo>
                      <a:pt x="71" y="80"/>
                    </a:lnTo>
                    <a:lnTo>
                      <a:pt x="71" y="78"/>
                    </a:lnTo>
                    <a:lnTo>
                      <a:pt x="68" y="54"/>
                    </a:lnTo>
                    <a:lnTo>
                      <a:pt x="68" y="52"/>
                    </a:lnTo>
                    <a:lnTo>
                      <a:pt x="70" y="51"/>
                    </a:lnTo>
                    <a:lnTo>
                      <a:pt x="70" y="42"/>
                    </a:lnTo>
                    <a:lnTo>
                      <a:pt x="87" y="35"/>
                    </a:lnTo>
                    <a:lnTo>
                      <a:pt x="90" y="19"/>
                    </a:lnTo>
                    <a:lnTo>
                      <a:pt x="89" y="17"/>
                    </a:lnTo>
                    <a:lnTo>
                      <a:pt x="89" y="17"/>
                    </a:lnTo>
                    <a:lnTo>
                      <a:pt x="89" y="17"/>
                    </a:lnTo>
                    <a:lnTo>
                      <a:pt x="89" y="16"/>
                    </a:lnTo>
                    <a:lnTo>
                      <a:pt x="89" y="16"/>
                    </a:lnTo>
                    <a:lnTo>
                      <a:pt x="90" y="14"/>
                    </a:lnTo>
                    <a:lnTo>
                      <a:pt x="92" y="13"/>
                    </a:lnTo>
                    <a:lnTo>
                      <a:pt x="92" y="11"/>
                    </a:lnTo>
                    <a:lnTo>
                      <a:pt x="103" y="0"/>
                    </a:lnTo>
                    <a:lnTo>
                      <a:pt x="103" y="0"/>
                    </a:lnTo>
                    <a:lnTo>
                      <a:pt x="108" y="6"/>
                    </a:lnTo>
                    <a:lnTo>
                      <a:pt x="124" y="7"/>
                    </a:lnTo>
                    <a:lnTo>
                      <a:pt x="124" y="7"/>
                    </a:lnTo>
                    <a:lnTo>
                      <a:pt x="125" y="10"/>
                    </a:lnTo>
                    <a:lnTo>
                      <a:pt x="125" y="10"/>
                    </a:lnTo>
                    <a:lnTo>
                      <a:pt x="127" y="10"/>
                    </a:lnTo>
                    <a:lnTo>
                      <a:pt x="129" y="13"/>
                    </a:lnTo>
                    <a:lnTo>
                      <a:pt x="129" y="13"/>
                    </a:lnTo>
                    <a:lnTo>
                      <a:pt x="132" y="3"/>
                    </a:lnTo>
                    <a:lnTo>
                      <a:pt x="147" y="4"/>
                    </a:lnTo>
                    <a:lnTo>
                      <a:pt x="150" y="7"/>
                    </a:lnTo>
                    <a:lnTo>
                      <a:pt x="157" y="10"/>
                    </a:lnTo>
                    <a:lnTo>
                      <a:pt x="157" y="10"/>
                    </a:lnTo>
                    <a:lnTo>
                      <a:pt x="160" y="16"/>
                    </a:lnTo>
                    <a:lnTo>
                      <a:pt x="164" y="20"/>
                    </a:lnTo>
                    <a:lnTo>
                      <a:pt x="164" y="20"/>
                    </a:lnTo>
                    <a:lnTo>
                      <a:pt x="176" y="29"/>
                    </a:lnTo>
                    <a:lnTo>
                      <a:pt x="177" y="33"/>
                    </a:lnTo>
                    <a:lnTo>
                      <a:pt x="180" y="35"/>
                    </a:lnTo>
                    <a:lnTo>
                      <a:pt x="195" y="38"/>
                    </a:lnTo>
                    <a:lnTo>
                      <a:pt x="212" y="46"/>
                    </a:lnTo>
                    <a:lnTo>
                      <a:pt x="214" y="49"/>
                    </a:lnTo>
                    <a:lnTo>
                      <a:pt x="218" y="51"/>
                    </a:lnTo>
                    <a:lnTo>
                      <a:pt x="219" y="52"/>
                    </a:lnTo>
                    <a:lnTo>
                      <a:pt x="221" y="54"/>
                    </a:lnTo>
                    <a:lnTo>
                      <a:pt x="222" y="55"/>
                    </a:lnTo>
                    <a:lnTo>
                      <a:pt x="222" y="57"/>
                    </a:lnTo>
                    <a:lnTo>
                      <a:pt x="222" y="61"/>
                    </a:lnTo>
                    <a:lnTo>
                      <a:pt x="214" y="78"/>
                    </a:lnTo>
                    <a:lnTo>
                      <a:pt x="212" y="83"/>
                    </a:lnTo>
                    <a:lnTo>
                      <a:pt x="214" y="83"/>
                    </a:lnTo>
                    <a:lnTo>
                      <a:pt x="227" y="84"/>
                    </a:lnTo>
                    <a:lnTo>
                      <a:pt x="235" y="89"/>
                    </a:lnTo>
                    <a:lnTo>
                      <a:pt x="238" y="89"/>
                    </a:lnTo>
                    <a:lnTo>
                      <a:pt x="240" y="89"/>
                    </a:lnTo>
                    <a:lnTo>
                      <a:pt x="241" y="89"/>
                    </a:lnTo>
                    <a:lnTo>
                      <a:pt x="244" y="89"/>
                    </a:lnTo>
                    <a:lnTo>
                      <a:pt x="244" y="87"/>
                    </a:lnTo>
                    <a:lnTo>
                      <a:pt x="247" y="87"/>
                    </a:lnTo>
                    <a:lnTo>
                      <a:pt x="250" y="87"/>
                    </a:lnTo>
                    <a:lnTo>
                      <a:pt x="253" y="86"/>
                    </a:lnTo>
                    <a:lnTo>
                      <a:pt x="266" y="73"/>
                    </a:lnTo>
                    <a:lnTo>
                      <a:pt x="269" y="58"/>
                    </a:lnTo>
                    <a:lnTo>
                      <a:pt x="276" y="58"/>
                    </a:lnTo>
                    <a:lnTo>
                      <a:pt x="278" y="59"/>
                    </a:lnTo>
                    <a:lnTo>
                      <a:pt x="280" y="70"/>
                    </a:lnTo>
                    <a:lnTo>
                      <a:pt x="280" y="81"/>
                    </a:lnTo>
                    <a:lnTo>
                      <a:pt x="279" y="83"/>
                    </a:lnTo>
                    <a:lnTo>
                      <a:pt x="273" y="87"/>
                    </a:lnTo>
                    <a:lnTo>
                      <a:pt x="266" y="90"/>
                    </a:lnTo>
                    <a:lnTo>
                      <a:pt x="250" y="104"/>
                    </a:lnTo>
                    <a:lnTo>
                      <a:pt x="250" y="106"/>
                    </a:lnTo>
                    <a:lnTo>
                      <a:pt x="243" y="115"/>
                    </a:lnTo>
                    <a:lnTo>
                      <a:pt x="243" y="116"/>
                    </a:lnTo>
                    <a:lnTo>
                      <a:pt x="230" y="128"/>
                    </a:lnTo>
                    <a:lnTo>
                      <a:pt x="228" y="129"/>
                    </a:lnTo>
                    <a:lnTo>
                      <a:pt x="224" y="134"/>
                    </a:lnTo>
                    <a:lnTo>
                      <a:pt x="224" y="135"/>
                    </a:lnTo>
                    <a:lnTo>
                      <a:pt x="221" y="138"/>
                    </a:lnTo>
                    <a:lnTo>
                      <a:pt x="221" y="154"/>
                    </a:lnTo>
                    <a:lnTo>
                      <a:pt x="218" y="163"/>
                    </a:lnTo>
                    <a:lnTo>
                      <a:pt x="217" y="179"/>
                    </a:lnTo>
                    <a:lnTo>
                      <a:pt x="217" y="180"/>
                    </a:lnTo>
                    <a:lnTo>
                      <a:pt x="215" y="183"/>
                    </a:lnTo>
                    <a:lnTo>
                      <a:pt x="212" y="200"/>
                    </a:lnTo>
                    <a:lnTo>
                      <a:pt x="211" y="202"/>
                    </a:lnTo>
                    <a:lnTo>
                      <a:pt x="214" y="206"/>
                    </a:lnTo>
                    <a:lnTo>
                      <a:pt x="230" y="219"/>
                    </a:lnTo>
                    <a:lnTo>
                      <a:pt x="230" y="222"/>
                    </a:lnTo>
                    <a:lnTo>
                      <a:pt x="227" y="228"/>
                    </a:lnTo>
                    <a:lnTo>
                      <a:pt x="228" y="232"/>
                    </a:lnTo>
                    <a:lnTo>
                      <a:pt x="231" y="235"/>
                    </a:lnTo>
                    <a:lnTo>
                      <a:pt x="234" y="237"/>
                    </a:lnTo>
                    <a:lnTo>
                      <a:pt x="237" y="237"/>
                    </a:lnTo>
                    <a:lnTo>
                      <a:pt x="237" y="247"/>
                    </a:lnTo>
                    <a:lnTo>
                      <a:pt x="227" y="264"/>
                    </a:lnTo>
                    <a:lnTo>
                      <a:pt x="225" y="270"/>
                    </a:lnTo>
                    <a:lnTo>
                      <a:pt x="222" y="273"/>
                    </a:lnTo>
                    <a:lnTo>
                      <a:pt x="176" y="285"/>
                    </a:lnTo>
                    <a:lnTo>
                      <a:pt x="161" y="283"/>
                    </a:lnTo>
                    <a:lnTo>
                      <a:pt x="158" y="280"/>
                    </a:lnTo>
                    <a:lnTo>
                      <a:pt x="157" y="283"/>
                    </a:lnTo>
                    <a:lnTo>
                      <a:pt x="158" y="289"/>
                    </a:lnTo>
                    <a:lnTo>
                      <a:pt x="160" y="292"/>
                    </a:lnTo>
                    <a:lnTo>
                      <a:pt x="161" y="293"/>
                    </a:lnTo>
                    <a:lnTo>
                      <a:pt x="160" y="299"/>
                    </a:lnTo>
                    <a:lnTo>
                      <a:pt x="158" y="301"/>
                    </a:lnTo>
                    <a:lnTo>
                      <a:pt x="158" y="301"/>
                    </a:lnTo>
                    <a:lnTo>
                      <a:pt x="157" y="308"/>
                    </a:lnTo>
                    <a:lnTo>
                      <a:pt x="158" y="315"/>
                    </a:lnTo>
                    <a:lnTo>
                      <a:pt x="157" y="320"/>
                    </a:lnTo>
                    <a:lnTo>
                      <a:pt x="156" y="321"/>
                    </a:lnTo>
                    <a:lnTo>
                      <a:pt x="151" y="322"/>
                    </a:lnTo>
                    <a:lnTo>
                      <a:pt x="147" y="325"/>
                    </a:lnTo>
                    <a:lnTo>
                      <a:pt x="137" y="325"/>
                    </a:lnTo>
                    <a:lnTo>
                      <a:pt x="122" y="320"/>
                    </a:lnTo>
                    <a:lnTo>
                      <a:pt x="121" y="315"/>
                    </a:lnTo>
                    <a:lnTo>
                      <a:pt x="118" y="320"/>
                    </a:lnTo>
                    <a:lnTo>
                      <a:pt x="118" y="325"/>
                    </a:lnTo>
                    <a:lnTo>
                      <a:pt x="119" y="330"/>
                    </a:lnTo>
                    <a:lnTo>
                      <a:pt x="119" y="341"/>
                    </a:lnTo>
                    <a:lnTo>
                      <a:pt x="124" y="346"/>
                    </a:lnTo>
                    <a:lnTo>
                      <a:pt x="127" y="346"/>
                    </a:lnTo>
                    <a:lnTo>
                      <a:pt x="125" y="349"/>
                    </a:lnTo>
                    <a:lnTo>
                      <a:pt x="127" y="350"/>
                    </a:lnTo>
                    <a:lnTo>
                      <a:pt x="132" y="349"/>
                    </a:lnTo>
                    <a:lnTo>
                      <a:pt x="131" y="346"/>
                    </a:lnTo>
                    <a:lnTo>
                      <a:pt x="129" y="344"/>
                    </a:lnTo>
                    <a:lnTo>
                      <a:pt x="134" y="344"/>
                    </a:lnTo>
                    <a:lnTo>
                      <a:pt x="137" y="343"/>
                    </a:lnTo>
                    <a:lnTo>
                      <a:pt x="140" y="346"/>
                    </a:lnTo>
                    <a:lnTo>
                      <a:pt x="140" y="352"/>
                    </a:lnTo>
                    <a:lnTo>
                      <a:pt x="140" y="354"/>
                    </a:lnTo>
                    <a:lnTo>
                      <a:pt x="138" y="356"/>
                    </a:lnTo>
                    <a:lnTo>
                      <a:pt x="135" y="357"/>
                    </a:lnTo>
                    <a:lnTo>
                      <a:pt x="132" y="357"/>
                    </a:lnTo>
                    <a:lnTo>
                      <a:pt x="131" y="356"/>
                    </a:lnTo>
                    <a:lnTo>
                      <a:pt x="131" y="353"/>
                    </a:lnTo>
                    <a:lnTo>
                      <a:pt x="129" y="352"/>
                    </a:lnTo>
                    <a:lnTo>
                      <a:pt x="127" y="352"/>
                    </a:lnTo>
                    <a:lnTo>
                      <a:pt x="124" y="352"/>
                    </a:lnTo>
                    <a:lnTo>
                      <a:pt x="122" y="353"/>
                    </a:lnTo>
                    <a:lnTo>
                      <a:pt x="121" y="353"/>
                    </a:lnTo>
                    <a:lnTo>
                      <a:pt x="119" y="354"/>
                    </a:lnTo>
                    <a:lnTo>
                      <a:pt x="119" y="356"/>
                    </a:lnTo>
                    <a:lnTo>
                      <a:pt x="129" y="360"/>
                    </a:lnTo>
                    <a:lnTo>
                      <a:pt x="129" y="360"/>
                    </a:lnTo>
                    <a:lnTo>
                      <a:pt x="121" y="366"/>
                    </a:lnTo>
                    <a:lnTo>
                      <a:pt x="116" y="372"/>
                    </a:lnTo>
                    <a:lnTo>
                      <a:pt x="116" y="386"/>
                    </a:lnTo>
                    <a:lnTo>
                      <a:pt x="116" y="391"/>
                    </a:lnTo>
                    <a:lnTo>
                      <a:pt x="115" y="391"/>
                    </a:lnTo>
                    <a:lnTo>
                      <a:pt x="112" y="392"/>
                    </a:lnTo>
                    <a:lnTo>
                      <a:pt x="111" y="395"/>
                    </a:lnTo>
                    <a:lnTo>
                      <a:pt x="112" y="399"/>
                    </a:lnTo>
                    <a:lnTo>
                      <a:pt x="112" y="401"/>
                    </a:lnTo>
                    <a:lnTo>
                      <a:pt x="103" y="401"/>
                    </a:lnTo>
                    <a:lnTo>
                      <a:pt x="100" y="402"/>
                    </a:lnTo>
                    <a:lnTo>
                      <a:pt x="99" y="404"/>
                    </a:lnTo>
                    <a:lnTo>
                      <a:pt x="96" y="404"/>
                    </a:lnTo>
                    <a:lnTo>
                      <a:pt x="93" y="405"/>
                    </a:lnTo>
                    <a:lnTo>
                      <a:pt x="83" y="420"/>
                    </a:lnTo>
                    <a:lnTo>
                      <a:pt x="83" y="424"/>
                    </a:lnTo>
                    <a:lnTo>
                      <a:pt x="87" y="433"/>
                    </a:lnTo>
                    <a:lnTo>
                      <a:pt x="95" y="440"/>
                    </a:lnTo>
                    <a:lnTo>
                      <a:pt x="102" y="443"/>
                    </a:lnTo>
                    <a:lnTo>
                      <a:pt x="108" y="443"/>
                    </a:lnTo>
                    <a:lnTo>
                      <a:pt x="109" y="445"/>
                    </a:lnTo>
                    <a:lnTo>
                      <a:pt x="111" y="452"/>
                    </a:lnTo>
                    <a:lnTo>
                      <a:pt x="109" y="455"/>
                    </a:lnTo>
                    <a:lnTo>
                      <a:pt x="108" y="456"/>
                    </a:lnTo>
                    <a:lnTo>
                      <a:pt x="109" y="462"/>
                    </a:lnTo>
                    <a:lnTo>
                      <a:pt x="106" y="462"/>
                    </a:lnTo>
                    <a:lnTo>
                      <a:pt x="106" y="465"/>
                    </a:lnTo>
                    <a:lnTo>
                      <a:pt x="105" y="465"/>
                    </a:lnTo>
                    <a:lnTo>
                      <a:pt x="83" y="484"/>
                    </a:lnTo>
                    <a:lnTo>
                      <a:pt x="80" y="492"/>
                    </a:lnTo>
                    <a:lnTo>
                      <a:pt x="83" y="490"/>
                    </a:lnTo>
                    <a:lnTo>
                      <a:pt x="80" y="504"/>
                    </a:lnTo>
                    <a:lnTo>
                      <a:pt x="77" y="506"/>
                    </a:lnTo>
                    <a:lnTo>
                      <a:pt x="74" y="507"/>
                    </a:lnTo>
                    <a:lnTo>
                      <a:pt x="71" y="507"/>
                    </a:lnTo>
                    <a:lnTo>
                      <a:pt x="70" y="506"/>
                    </a:lnTo>
                    <a:lnTo>
                      <a:pt x="67" y="500"/>
                    </a:lnTo>
                    <a:lnTo>
                      <a:pt x="68" y="506"/>
                    </a:lnTo>
                    <a:lnTo>
                      <a:pt x="70" y="506"/>
                    </a:lnTo>
                    <a:lnTo>
                      <a:pt x="70" y="507"/>
                    </a:lnTo>
                    <a:lnTo>
                      <a:pt x="70" y="508"/>
                    </a:lnTo>
                    <a:lnTo>
                      <a:pt x="63" y="516"/>
                    </a:lnTo>
                    <a:lnTo>
                      <a:pt x="58" y="526"/>
                    </a:lnTo>
                    <a:lnTo>
                      <a:pt x="57" y="529"/>
                    </a:lnTo>
                    <a:lnTo>
                      <a:pt x="58" y="529"/>
                    </a:lnTo>
                    <a:lnTo>
                      <a:pt x="60" y="529"/>
                    </a:lnTo>
                    <a:lnTo>
                      <a:pt x="63" y="539"/>
                    </a:lnTo>
                    <a:lnTo>
                      <a:pt x="63" y="540"/>
                    </a:lnTo>
                    <a:lnTo>
                      <a:pt x="58" y="540"/>
                    </a:lnTo>
                    <a:lnTo>
                      <a:pt x="57" y="540"/>
                    </a:lnTo>
                    <a:lnTo>
                      <a:pt x="60" y="543"/>
                    </a:lnTo>
                    <a:lnTo>
                      <a:pt x="61" y="542"/>
                    </a:lnTo>
                    <a:lnTo>
                      <a:pt x="63" y="543"/>
                    </a:lnTo>
                    <a:lnTo>
                      <a:pt x="71" y="556"/>
                    </a:lnTo>
                    <a:lnTo>
                      <a:pt x="71" y="558"/>
                    </a:lnTo>
                    <a:close/>
                  </a:path>
                </a:pathLst>
              </a:custGeom>
              <a:solidFill>
                <a:schemeClr val="accent2">
                  <a:lumMod val="40000"/>
                  <a:lumOff val="6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01" name="Freeform 1277"/>
              <p:cNvSpPr>
                <a:spLocks/>
              </p:cNvSpPr>
              <p:nvPr/>
            </p:nvSpPr>
            <p:spPr bwMode="auto">
              <a:xfrm>
                <a:off x="5223613" y="4192414"/>
                <a:ext cx="45646" cy="60848"/>
              </a:xfrm>
              <a:custGeom>
                <a:avLst/>
                <a:gdLst/>
                <a:ahLst/>
                <a:cxnLst>
                  <a:cxn ang="0">
                    <a:pos x="0" y="54"/>
                  </a:cxn>
                  <a:cxn ang="0">
                    <a:pos x="0" y="0"/>
                  </a:cxn>
                  <a:cxn ang="0">
                    <a:pos x="6" y="12"/>
                  </a:cxn>
                  <a:cxn ang="0">
                    <a:pos x="6" y="12"/>
                  </a:cxn>
                  <a:cxn ang="0">
                    <a:pos x="6" y="10"/>
                  </a:cxn>
                  <a:cxn ang="0">
                    <a:pos x="5" y="10"/>
                  </a:cxn>
                  <a:cxn ang="0">
                    <a:pos x="2" y="12"/>
                  </a:cxn>
                  <a:cxn ang="0">
                    <a:pos x="2" y="13"/>
                  </a:cxn>
                  <a:cxn ang="0">
                    <a:pos x="3" y="15"/>
                  </a:cxn>
                  <a:cxn ang="0">
                    <a:pos x="5" y="16"/>
                  </a:cxn>
                  <a:cxn ang="0">
                    <a:pos x="6" y="18"/>
                  </a:cxn>
                  <a:cxn ang="0">
                    <a:pos x="9" y="25"/>
                  </a:cxn>
                  <a:cxn ang="0">
                    <a:pos x="19" y="34"/>
                  </a:cxn>
                  <a:cxn ang="0">
                    <a:pos x="21" y="34"/>
                  </a:cxn>
                  <a:cxn ang="0">
                    <a:pos x="22" y="35"/>
                  </a:cxn>
                  <a:cxn ang="0">
                    <a:pos x="24" y="36"/>
                  </a:cxn>
                  <a:cxn ang="0">
                    <a:pos x="25" y="38"/>
                  </a:cxn>
                  <a:cxn ang="0">
                    <a:pos x="28" y="38"/>
                  </a:cxn>
                  <a:cxn ang="0">
                    <a:pos x="40" y="48"/>
                  </a:cxn>
                  <a:cxn ang="0">
                    <a:pos x="47" y="50"/>
                  </a:cxn>
                  <a:cxn ang="0">
                    <a:pos x="50" y="48"/>
                  </a:cxn>
                  <a:cxn ang="0">
                    <a:pos x="50" y="54"/>
                  </a:cxn>
                  <a:cxn ang="0">
                    <a:pos x="48" y="54"/>
                  </a:cxn>
                  <a:cxn ang="0">
                    <a:pos x="45" y="55"/>
                  </a:cxn>
                  <a:cxn ang="0">
                    <a:pos x="40" y="55"/>
                  </a:cxn>
                  <a:cxn ang="0">
                    <a:pos x="34" y="57"/>
                  </a:cxn>
                  <a:cxn ang="0">
                    <a:pos x="32" y="58"/>
                  </a:cxn>
                  <a:cxn ang="0">
                    <a:pos x="30" y="57"/>
                  </a:cxn>
                  <a:cxn ang="0">
                    <a:pos x="27" y="55"/>
                  </a:cxn>
                  <a:cxn ang="0">
                    <a:pos x="12" y="54"/>
                  </a:cxn>
                  <a:cxn ang="0">
                    <a:pos x="11" y="52"/>
                  </a:cxn>
                  <a:cxn ang="0">
                    <a:pos x="6" y="52"/>
                  </a:cxn>
                  <a:cxn ang="0">
                    <a:pos x="2" y="54"/>
                  </a:cxn>
                  <a:cxn ang="0">
                    <a:pos x="0" y="54"/>
                  </a:cxn>
                </a:cxnLst>
                <a:rect l="0" t="0" r="r" b="b"/>
                <a:pathLst>
                  <a:path w="50" h="58">
                    <a:moveTo>
                      <a:pt x="0" y="54"/>
                    </a:moveTo>
                    <a:lnTo>
                      <a:pt x="0" y="0"/>
                    </a:lnTo>
                    <a:lnTo>
                      <a:pt x="6" y="12"/>
                    </a:lnTo>
                    <a:lnTo>
                      <a:pt x="6" y="12"/>
                    </a:lnTo>
                    <a:lnTo>
                      <a:pt x="6" y="10"/>
                    </a:lnTo>
                    <a:lnTo>
                      <a:pt x="5" y="10"/>
                    </a:lnTo>
                    <a:lnTo>
                      <a:pt x="2" y="12"/>
                    </a:lnTo>
                    <a:lnTo>
                      <a:pt x="2" y="13"/>
                    </a:lnTo>
                    <a:lnTo>
                      <a:pt x="3" y="15"/>
                    </a:lnTo>
                    <a:lnTo>
                      <a:pt x="5" y="16"/>
                    </a:lnTo>
                    <a:lnTo>
                      <a:pt x="6" y="18"/>
                    </a:lnTo>
                    <a:lnTo>
                      <a:pt x="9" y="25"/>
                    </a:lnTo>
                    <a:lnTo>
                      <a:pt x="19" y="34"/>
                    </a:lnTo>
                    <a:lnTo>
                      <a:pt x="21" y="34"/>
                    </a:lnTo>
                    <a:lnTo>
                      <a:pt x="22" y="35"/>
                    </a:lnTo>
                    <a:lnTo>
                      <a:pt x="24" y="36"/>
                    </a:lnTo>
                    <a:lnTo>
                      <a:pt x="25" y="38"/>
                    </a:lnTo>
                    <a:lnTo>
                      <a:pt x="28" y="38"/>
                    </a:lnTo>
                    <a:lnTo>
                      <a:pt x="40" y="48"/>
                    </a:lnTo>
                    <a:lnTo>
                      <a:pt x="47" y="50"/>
                    </a:lnTo>
                    <a:lnTo>
                      <a:pt x="50" y="48"/>
                    </a:lnTo>
                    <a:lnTo>
                      <a:pt x="50" y="54"/>
                    </a:lnTo>
                    <a:lnTo>
                      <a:pt x="48" y="54"/>
                    </a:lnTo>
                    <a:lnTo>
                      <a:pt x="45" y="55"/>
                    </a:lnTo>
                    <a:lnTo>
                      <a:pt x="40" y="55"/>
                    </a:lnTo>
                    <a:lnTo>
                      <a:pt x="34" y="57"/>
                    </a:lnTo>
                    <a:lnTo>
                      <a:pt x="32" y="58"/>
                    </a:lnTo>
                    <a:lnTo>
                      <a:pt x="30" y="57"/>
                    </a:lnTo>
                    <a:lnTo>
                      <a:pt x="27" y="55"/>
                    </a:lnTo>
                    <a:lnTo>
                      <a:pt x="12" y="54"/>
                    </a:lnTo>
                    <a:lnTo>
                      <a:pt x="11" y="52"/>
                    </a:lnTo>
                    <a:lnTo>
                      <a:pt x="6" y="52"/>
                    </a:lnTo>
                    <a:lnTo>
                      <a:pt x="2" y="54"/>
                    </a:lnTo>
                    <a:lnTo>
                      <a:pt x="0" y="5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02" name="Freeform 1278"/>
              <p:cNvSpPr>
                <a:spLocks/>
              </p:cNvSpPr>
              <p:nvPr/>
            </p:nvSpPr>
            <p:spPr bwMode="auto">
              <a:xfrm>
                <a:off x="5223613" y="4192414"/>
                <a:ext cx="45646" cy="60848"/>
              </a:xfrm>
              <a:custGeom>
                <a:avLst/>
                <a:gdLst/>
                <a:ahLst/>
                <a:cxnLst>
                  <a:cxn ang="0">
                    <a:pos x="0" y="54"/>
                  </a:cxn>
                  <a:cxn ang="0">
                    <a:pos x="0" y="0"/>
                  </a:cxn>
                  <a:cxn ang="0">
                    <a:pos x="6" y="12"/>
                  </a:cxn>
                  <a:cxn ang="0">
                    <a:pos x="6" y="12"/>
                  </a:cxn>
                  <a:cxn ang="0">
                    <a:pos x="6" y="10"/>
                  </a:cxn>
                  <a:cxn ang="0">
                    <a:pos x="5" y="10"/>
                  </a:cxn>
                  <a:cxn ang="0">
                    <a:pos x="2" y="12"/>
                  </a:cxn>
                  <a:cxn ang="0">
                    <a:pos x="2" y="13"/>
                  </a:cxn>
                  <a:cxn ang="0">
                    <a:pos x="3" y="15"/>
                  </a:cxn>
                  <a:cxn ang="0">
                    <a:pos x="5" y="16"/>
                  </a:cxn>
                  <a:cxn ang="0">
                    <a:pos x="6" y="18"/>
                  </a:cxn>
                  <a:cxn ang="0">
                    <a:pos x="9" y="25"/>
                  </a:cxn>
                  <a:cxn ang="0">
                    <a:pos x="19" y="34"/>
                  </a:cxn>
                  <a:cxn ang="0">
                    <a:pos x="21" y="34"/>
                  </a:cxn>
                  <a:cxn ang="0">
                    <a:pos x="22" y="35"/>
                  </a:cxn>
                  <a:cxn ang="0">
                    <a:pos x="24" y="36"/>
                  </a:cxn>
                  <a:cxn ang="0">
                    <a:pos x="25" y="38"/>
                  </a:cxn>
                  <a:cxn ang="0">
                    <a:pos x="28" y="38"/>
                  </a:cxn>
                  <a:cxn ang="0">
                    <a:pos x="40" y="48"/>
                  </a:cxn>
                  <a:cxn ang="0">
                    <a:pos x="47" y="50"/>
                  </a:cxn>
                  <a:cxn ang="0">
                    <a:pos x="50" y="48"/>
                  </a:cxn>
                  <a:cxn ang="0">
                    <a:pos x="50" y="54"/>
                  </a:cxn>
                  <a:cxn ang="0">
                    <a:pos x="48" y="54"/>
                  </a:cxn>
                  <a:cxn ang="0">
                    <a:pos x="45" y="55"/>
                  </a:cxn>
                  <a:cxn ang="0">
                    <a:pos x="40" y="55"/>
                  </a:cxn>
                  <a:cxn ang="0">
                    <a:pos x="34" y="57"/>
                  </a:cxn>
                  <a:cxn ang="0">
                    <a:pos x="32" y="58"/>
                  </a:cxn>
                  <a:cxn ang="0">
                    <a:pos x="30" y="57"/>
                  </a:cxn>
                  <a:cxn ang="0">
                    <a:pos x="27" y="55"/>
                  </a:cxn>
                  <a:cxn ang="0">
                    <a:pos x="12" y="54"/>
                  </a:cxn>
                  <a:cxn ang="0">
                    <a:pos x="11" y="52"/>
                  </a:cxn>
                  <a:cxn ang="0">
                    <a:pos x="6" y="52"/>
                  </a:cxn>
                  <a:cxn ang="0">
                    <a:pos x="2" y="54"/>
                  </a:cxn>
                  <a:cxn ang="0">
                    <a:pos x="0" y="54"/>
                  </a:cxn>
                </a:cxnLst>
                <a:rect l="0" t="0" r="r" b="b"/>
                <a:pathLst>
                  <a:path w="50" h="58">
                    <a:moveTo>
                      <a:pt x="0" y="54"/>
                    </a:moveTo>
                    <a:lnTo>
                      <a:pt x="0" y="0"/>
                    </a:lnTo>
                    <a:lnTo>
                      <a:pt x="6" y="12"/>
                    </a:lnTo>
                    <a:lnTo>
                      <a:pt x="6" y="12"/>
                    </a:lnTo>
                    <a:lnTo>
                      <a:pt x="6" y="10"/>
                    </a:lnTo>
                    <a:lnTo>
                      <a:pt x="5" y="10"/>
                    </a:lnTo>
                    <a:lnTo>
                      <a:pt x="2" y="12"/>
                    </a:lnTo>
                    <a:lnTo>
                      <a:pt x="2" y="13"/>
                    </a:lnTo>
                    <a:lnTo>
                      <a:pt x="3" y="15"/>
                    </a:lnTo>
                    <a:lnTo>
                      <a:pt x="5" y="16"/>
                    </a:lnTo>
                    <a:lnTo>
                      <a:pt x="6" y="18"/>
                    </a:lnTo>
                    <a:lnTo>
                      <a:pt x="9" y="25"/>
                    </a:lnTo>
                    <a:lnTo>
                      <a:pt x="19" y="34"/>
                    </a:lnTo>
                    <a:lnTo>
                      <a:pt x="21" y="34"/>
                    </a:lnTo>
                    <a:lnTo>
                      <a:pt x="22" y="35"/>
                    </a:lnTo>
                    <a:lnTo>
                      <a:pt x="24" y="36"/>
                    </a:lnTo>
                    <a:lnTo>
                      <a:pt x="25" y="38"/>
                    </a:lnTo>
                    <a:lnTo>
                      <a:pt x="28" y="38"/>
                    </a:lnTo>
                    <a:lnTo>
                      <a:pt x="40" y="48"/>
                    </a:lnTo>
                    <a:lnTo>
                      <a:pt x="47" y="50"/>
                    </a:lnTo>
                    <a:lnTo>
                      <a:pt x="50" y="48"/>
                    </a:lnTo>
                    <a:lnTo>
                      <a:pt x="50" y="54"/>
                    </a:lnTo>
                    <a:lnTo>
                      <a:pt x="48" y="54"/>
                    </a:lnTo>
                    <a:lnTo>
                      <a:pt x="45" y="55"/>
                    </a:lnTo>
                    <a:lnTo>
                      <a:pt x="40" y="55"/>
                    </a:lnTo>
                    <a:lnTo>
                      <a:pt x="34" y="57"/>
                    </a:lnTo>
                    <a:lnTo>
                      <a:pt x="32" y="58"/>
                    </a:lnTo>
                    <a:lnTo>
                      <a:pt x="30" y="57"/>
                    </a:lnTo>
                    <a:lnTo>
                      <a:pt x="27" y="55"/>
                    </a:lnTo>
                    <a:lnTo>
                      <a:pt x="12" y="54"/>
                    </a:lnTo>
                    <a:lnTo>
                      <a:pt x="11" y="52"/>
                    </a:lnTo>
                    <a:lnTo>
                      <a:pt x="6" y="52"/>
                    </a:lnTo>
                    <a:lnTo>
                      <a:pt x="2" y="54"/>
                    </a:lnTo>
                    <a:lnTo>
                      <a:pt x="0" y="5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03" name="Freeform 1279"/>
              <p:cNvSpPr>
                <a:spLocks/>
              </p:cNvSpPr>
              <p:nvPr/>
            </p:nvSpPr>
            <p:spPr bwMode="auto">
              <a:xfrm>
                <a:off x="5361428" y="3187410"/>
                <a:ext cx="54424" cy="60848"/>
              </a:xfrm>
              <a:custGeom>
                <a:avLst/>
                <a:gdLst/>
                <a:ahLst/>
                <a:cxnLst>
                  <a:cxn ang="0">
                    <a:pos x="52" y="51"/>
                  </a:cxn>
                  <a:cxn ang="0">
                    <a:pos x="45" y="48"/>
                  </a:cxn>
                  <a:cxn ang="0">
                    <a:pos x="39" y="51"/>
                  </a:cxn>
                  <a:cxn ang="0">
                    <a:pos x="38" y="51"/>
                  </a:cxn>
                  <a:cxn ang="0">
                    <a:pos x="35" y="50"/>
                  </a:cxn>
                  <a:cxn ang="0">
                    <a:pos x="33" y="50"/>
                  </a:cxn>
                  <a:cxn ang="0">
                    <a:pos x="32" y="51"/>
                  </a:cxn>
                  <a:cxn ang="0">
                    <a:pos x="32" y="57"/>
                  </a:cxn>
                  <a:cxn ang="0">
                    <a:pos x="32" y="58"/>
                  </a:cxn>
                  <a:cxn ang="0">
                    <a:pos x="28" y="58"/>
                  </a:cxn>
                  <a:cxn ang="0">
                    <a:pos x="23" y="57"/>
                  </a:cxn>
                  <a:cxn ang="0">
                    <a:pos x="23" y="55"/>
                  </a:cxn>
                  <a:cxn ang="0">
                    <a:pos x="23" y="55"/>
                  </a:cxn>
                  <a:cxn ang="0">
                    <a:pos x="13" y="44"/>
                  </a:cxn>
                  <a:cxn ang="0">
                    <a:pos x="13" y="41"/>
                  </a:cxn>
                  <a:cxn ang="0">
                    <a:pos x="12" y="39"/>
                  </a:cxn>
                  <a:cxn ang="0">
                    <a:pos x="12" y="38"/>
                  </a:cxn>
                  <a:cxn ang="0">
                    <a:pos x="12" y="37"/>
                  </a:cxn>
                  <a:cxn ang="0">
                    <a:pos x="9" y="37"/>
                  </a:cxn>
                  <a:cxn ang="0">
                    <a:pos x="7" y="37"/>
                  </a:cxn>
                  <a:cxn ang="0">
                    <a:pos x="7" y="35"/>
                  </a:cxn>
                  <a:cxn ang="0">
                    <a:pos x="7" y="34"/>
                  </a:cxn>
                  <a:cxn ang="0">
                    <a:pos x="4" y="32"/>
                  </a:cxn>
                  <a:cxn ang="0">
                    <a:pos x="4" y="32"/>
                  </a:cxn>
                  <a:cxn ang="0">
                    <a:pos x="0" y="26"/>
                  </a:cxn>
                  <a:cxn ang="0">
                    <a:pos x="0" y="25"/>
                  </a:cxn>
                  <a:cxn ang="0">
                    <a:pos x="1" y="21"/>
                  </a:cxn>
                  <a:cxn ang="0">
                    <a:pos x="3" y="16"/>
                  </a:cxn>
                  <a:cxn ang="0">
                    <a:pos x="3" y="15"/>
                  </a:cxn>
                  <a:cxn ang="0">
                    <a:pos x="6" y="13"/>
                  </a:cxn>
                  <a:cxn ang="0">
                    <a:pos x="10" y="13"/>
                  </a:cxn>
                  <a:cxn ang="0">
                    <a:pos x="10" y="12"/>
                  </a:cxn>
                  <a:cxn ang="0">
                    <a:pos x="12" y="10"/>
                  </a:cxn>
                  <a:cxn ang="0">
                    <a:pos x="12" y="9"/>
                  </a:cxn>
                  <a:cxn ang="0">
                    <a:pos x="12" y="9"/>
                  </a:cxn>
                  <a:cxn ang="0">
                    <a:pos x="10" y="8"/>
                  </a:cxn>
                  <a:cxn ang="0">
                    <a:pos x="12" y="8"/>
                  </a:cxn>
                  <a:cxn ang="0">
                    <a:pos x="15" y="2"/>
                  </a:cxn>
                  <a:cxn ang="0">
                    <a:pos x="16" y="2"/>
                  </a:cxn>
                  <a:cxn ang="0">
                    <a:pos x="17" y="0"/>
                  </a:cxn>
                  <a:cxn ang="0">
                    <a:pos x="19" y="0"/>
                  </a:cxn>
                  <a:cxn ang="0">
                    <a:pos x="25" y="2"/>
                  </a:cxn>
                  <a:cxn ang="0">
                    <a:pos x="44" y="0"/>
                  </a:cxn>
                  <a:cxn ang="0">
                    <a:pos x="44" y="0"/>
                  </a:cxn>
                  <a:cxn ang="0">
                    <a:pos x="58" y="3"/>
                  </a:cxn>
                  <a:cxn ang="0">
                    <a:pos x="58" y="3"/>
                  </a:cxn>
                  <a:cxn ang="0">
                    <a:pos x="58" y="6"/>
                  </a:cxn>
                  <a:cxn ang="0">
                    <a:pos x="58" y="8"/>
                  </a:cxn>
                  <a:cxn ang="0">
                    <a:pos x="58" y="8"/>
                  </a:cxn>
                  <a:cxn ang="0">
                    <a:pos x="55" y="10"/>
                  </a:cxn>
                  <a:cxn ang="0">
                    <a:pos x="54" y="13"/>
                  </a:cxn>
                  <a:cxn ang="0">
                    <a:pos x="54" y="23"/>
                  </a:cxn>
                  <a:cxn ang="0">
                    <a:pos x="57" y="31"/>
                  </a:cxn>
                  <a:cxn ang="0">
                    <a:pos x="57" y="31"/>
                  </a:cxn>
                  <a:cxn ang="0">
                    <a:pos x="58" y="31"/>
                  </a:cxn>
                  <a:cxn ang="0">
                    <a:pos x="60" y="32"/>
                  </a:cxn>
                  <a:cxn ang="0">
                    <a:pos x="57" y="48"/>
                  </a:cxn>
                  <a:cxn ang="0">
                    <a:pos x="52" y="51"/>
                  </a:cxn>
                </a:cxnLst>
                <a:rect l="0" t="0" r="r" b="b"/>
                <a:pathLst>
                  <a:path w="60" h="58">
                    <a:moveTo>
                      <a:pt x="52" y="51"/>
                    </a:moveTo>
                    <a:lnTo>
                      <a:pt x="45" y="48"/>
                    </a:lnTo>
                    <a:lnTo>
                      <a:pt x="39" y="51"/>
                    </a:lnTo>
                    <a:lnTo>
                      <a:pt x="38" y="51"/>
                    </a:lnTo>
                    <a:lnTo>
                      <a:pt x="35" y="50"/>
                    </a:lnTo>
                    <a:lnTo>
                      <a:pt x="33" y="50"/>
                    </a:lnTo>
                    <a:lnTo>
                      <a:pt x="32" y="51"/>
                    </a:lnTo>
                    <a:lnTo>
                      <a:pt x="32" y="57"/>
                    </a:lnTo>
                    <a:lnTo>
                      <a:pt x="32" y="58"/>
                    </a:lnTo>
                    <a:lnTo>
                      <a:pt x="28" y="58"/>
                    </a:lnTo>
                    <a:lnTo>
                      <a:pt x="23" y="57"/>
                    </a:lnTo>
                    <a:lnTo>
                      <a:pt x="23" y="55"/>
                    </a:lnTo>
                    <a:lnTo>
                      <a:pt x="23" y="55"/>
                    </a:lnTo>
                    <a:lnTo>
                      <a:pt x="13" y="44"/>
                    </a:lnTo>
                    <a:lnTo>
                      <a:pt x="13" y="41"/>
                    </a:lnTo>
                    <a:lnTo>
                      <a:pt x="12" y="39"/>
                    </a:lnTo>
                    <a:lnTo>
                      <a:pt x="12" y="38"/>
                    </a:lnTo>
                    <a:lnTo>
                      <a:pt x="12" y="37"/>
                    </a:lnTo>
                    <a:lnTo>
                      <a:pt x="9" y="37"/>
                    </a:lnTo>
                    <a:lnTo>
                      <a:pt x="7" y="37"/>
                    </a:lnTo>
                    <a:lnTo>
                      <a:pt x="7" y="35"/>
                    </a:lnTo>
                    <a:lnTo>
                      <a:pt x="7" y="34"/>
                    </a:lnTo>
                    <a:lnTo>
                      <a:pt x="4" y="32"/>
                    </a:lnTo>
                    <a:lnTo>
                      <a:pt x="4" y="32"/>
                    </a:lnTo>
                    <a:lnTo>
                      <a:pt x="0" y="26"/>
                    </a:lnTo>
                    <a:lnTo>
                      <a:pt x="0" y="25"/>
                    </a:lnTo>
                    <a:lnTo>
                      <a:pt x="1" y="21"/>
                    </a:lnTo>
                    <a:lnTo>
                      <a:pt x="3" y="16"/>
                    </a:lnTo>
                    <a:lnTo>
                      <a:pt x="3" y="15"/>
                    </a:lnTo>
                    <a:lnTo>
                      <a:pt x="6" y="13"/>
                    </a:lnTo>
                    <a:lnTo>
                      <a:pt x="10" y="13"/>
                    </a:lnTo>
                    <a:lnTo>
                      <a:pt x="10" y="12"/>
                    </a:lnTo>
                    <a:lnTo>
                      <a:pt x="12" y="10"/>
                    </a:lnTo>
                    <a:lnTo>
                      <a:pt x="12" y="9"/>
                    </a:lnTo>
                    <a:lnTo>
                      <a:pt x="12" y="9"/>
                    </a:lnTo>
                    <a:lnTo>
                      <a:pt x="10" y="8"/>
                    </a:lnTo>
                    <a:lnTo>
                      <a:pt x="12" y="8"/>
                    </a:lnTo>
                    <a:lnTo>
                      <a:pt x="15" y="2"/>
                    </a:lnTo>
                    <a:lnTo>
                      <a:pt x="16" y="2"/>
                    </a:lnTo>
                    <a:lnTo>
                      <a:pt x="17" y="0"/>
                    </a:lnTo>
                    <a:lnTo>
                      <a:pt x="19" y="0"/>
                    </a:lnTo>
                    <a:lnTo>
                      <a:pt x="25" y="2"/>
                    </a:lnTo>
                    <a:lnTo>
                      <a:pt x="44" y="0"/>
                    </a:lnTo>
                    <a:lnTo>
                      <a:pt x="44" y="0"/>
                    </a:lnTo>
                    <a:lnTo>
                      <a:pt x="58" y="3"/>
                    </a:lnTo>
                    <a:lnTo>
                      <a:pt x="58" y="3"/>
                    </a:lnTo>
                    <a:lnTo>
                      <a:pt x="58" y="6"/>
                    </a:lnTo>
                    <a:lnTo>
                      <a:pt x="58" y="8"/>
                    </a:lnTo>
                    <a:lnTo>
                      <a:pt x="58" y="8"/>
                    </a:lnTo>
                    <a:lnTo>
                      <a:pt x="55" y="10"/>
                    </a:lnTo>
                    <a:lnTo>
                      <a:pt x="54" y="13"/>
                    </a:lnTo>
                    <a:lnTo>
                      <a:pt x="54" y="23"/>
                    </a:lnTo>
                    <a:lnTo>
                      <a:pt x="57" y="31"/>
                    </a:lnTo>
                    <a:lnTo>
                      <a:pt x="57" y="31"/>
                    </a:lnTo>
                    <a:lnTo>
                      <a:pt x="58" y="31"/>
                    </a:lnTo>
                    <a:lnTo>
                      <a:pt x="60" y="32"/>
                    </a:lnTo>
                    <a:lnTo>
                      <a:pt x="57" y="48"/>
                    </a:lnTo>
                    <a:lnTo>
                      <a:pt x="52" y="5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04" name="Freeform 1280"/>
              <p:cNvSpPr>
                <a:spLocks/>
              </p:cNvSpPr>
              <p:nvPr/>
            </p:nvSpPr>
            <p:spPr bwMode="auto">
              <a:xfrm>
                <a:off x="5361428" y="3187410"/>
                <a:ext cx="54424" cy="60848"/>
              </a:xfrm>
              <a:custGeom>
                <a:avLst/>
                <a:gdLst/>
                <a:ahLst/>
                <a:cxnLst>
                  <a:cxn ang="0">
                    <a:pos x="52" y="51"/>
                  </a:cxn>
                  <a:cxn ang="0">
                    <a:pos x="45" y="48"/>
                  </a:cxn>
                  <a:cxn ang="0">
                    <a:pos x="39" y="51"/>
                  </a:cxn>
                  <a:cxn ang="0">
                    <a:pos x="38" y="51"/>
                  </a:cxn>
                  <a:cxn ang="0">
                    <a:pos x="35" y="50"/>
                  </a:cxn>
                  <a:cxn ang="0">
                    <a:pos x="33" y="50"/>
                  </a:cxn>
                  <a:cxn ang="0">
                    <a:pos x="32" y="51"/>
                  </a:cxn>
                  <a:cxn ang="0">
                    <a:pos x="32" y="57"/>
                  </a:cxn>
                  <a:cxn ang="0">
                    <a:pos x="32" y="58"/>
                  </a:cxn>
                  <a:cxn ang="0">
                    <a:pos x="28" y="58"/>
                  </a:cxn>
                  <a:cxn ang="0">
                    <a:pos x="23" y="57"/>
                  </a:cxn>
                  <a:cxn ang="0">
                    <a:pos x="23" y="55"/>
                  </a:cxn>
                  <a:cxn ang="0">
                    <a:pos x="23" y="55"/>
                  </a:cxn>
                  <a:cxn ang="0">
                    <a:pos x="13" y="44"/>
                  </a:cxn>
                  <a:cxn ang="0">
                    <a:pos x="13" y="41"/>
                  </a:cxn>
                  <a:cxn ang="0">
                    <a:pos x="12" y="39"/>
                  </a:cxn>
                  <a:cxn ang="0">
                    <a:pos x="12" y="38"/>
                  </a:cxn>
                  <a:cxn ang="0">
                    <a:pos x="12" y="37"/>
                  </a:cxn>
                  <a:cxn ang="0">
                    <a:pos x="9" y="37"/>
                  </a:cxn>
                  <a:cxn ang="0">
                    <a:pos x="7" y="37"/>
                  </a:cxn>
                  <a:cxn ang="0">
                    <a:pos x="7" y="35"/>
                  </a:cxn>
                  <a:cxn ang="0">
                    <a:pos x="7" y="34"/>
                  </a:cxn>
                  <a:cxn ang="0">
                    <a:pos x="4" y="32"/>
                  </a:cxn>
                  <a:cxn ang="0">
                    <a:pos x="4" y="32"/>
                  </a:cxn>
                  <a:cxn ang="0">
                    <a:pos x="0" y="26"/>
                  </a:cxn>
                  <a:cxn ang="0">
                    <a:pos x="0" y="25"/>
                  </a:cxn>
                  <a:cxn ang="0">
                    <a:pos x="1" y="21"/>
                  </a:cxn>
                  <a:cxn ang="0">
                    <a:pos x="3" y="16"/>
                  </a:cxn>
                  <a:cxn ang="0">
                    <a:pos x="3" y="15"/>
                  </a:cxn>
                  <a:cxn ang="0">
                    <a:pos x="6" y="13"/>
                  </a:cxn>
                  <a:cxn ang="0">
                    <a:pos x="10" y="13"/>
                  </a:cxn>
                  <a:cxn ang="0">
                    <a:pos x="10" y="12"/>
                  </a:cxn>
                  <a:cxn ang="0">
                    <a:pos x="12" y="10"/>
                  </a:cxn>
                  <a:cxn ang="0">
                    <a:pos x="12" y="9"/>
                  </a:cxn>
                  <a:cxn ang="0">
                    <a:pos x="12" y="9"/>
                  </a:cxn>
                  <a:cxn ang="0">
                    <a:pos x="10" y="8"/>
                  </a:cxn>
                  <a:cxn ang="0">
                    <a:pos x="12" y="8"/>
                  </a:cxn>
                  <a:cxn ang="0">
                    <a:pos x="15" y="2"/>
                  </a:cxn>
                  <a:cxn ang="0">
                    <a:pos x="16" y="2"/>
                  </a:cxn>
                  <a:cxn ang="0">
                    <a:pos x="17" y="0"/>
                  </a:cxn>
                  <a:cxn ang="0">
                    <a:pos x="19" y="0"/>
                  </a:cxn>
                  <a:cxn ang="0">
                    <a:pos x="25" y="2"/>
                  </a:cxn>
                  <a:cxn ang="0">
                    <a:pos x="44" y="0"/>
                  </a:cxn>
                  <a:cxn ang="0">
                    <a:pos x="44" y="0"/>
                  </a:cxn>
                  <a:cxn ang="0">
                    <a:pos x="58" y="3"/>
                  </a:cxn>
                  <a:cxn ang="0">
                    <a:pos x="58" y="3"/>
                  </a:cxn>
                  <a:cxn ang="0">
                    <a:pos x="58" y="6"/>
                  </a:cxn>
                  <a:cxn ang="0">
                    <a:pos x="58" y="8"/>
                  </a:cxn>
                  <a:cxn ang="0">
                    <a:pos x="58" y="8"/>
                  </a:cxn>
                  <a:cxn ang="0">
                    <a:pos x="55" y="10"/>
                  </a:cxn>
                  <a:cxn ang="0">
                    <a:pos x="54" y="13"/>
                  </a:cxn>
                  <a:cxn ang="0">
                    <a:pos x="54" y="23"/>
                  </a:cxn>
                  <a:cxn ang="0">
                    <a:pos x="57" y="31"/>
                  </a:cxn>
                  <a:cxn ang="0">
                    <a:pos x="57" y="31"/>
                  </a:cxn>
                  <a:cxn ang="0">
                    <a:pos x="58" y="31"/>
                  </a:cxn>
                  <a:cxn ang="0">
                    <a:pos x="60" y="32"/>
                  </a:cxn>
                  <a:cxn ang="0">
                    <a:pos x="57" y="48"/>
                  </a:cxn>
                  <a:cxn ang="0">
                    <a:pos x="52" y="51"/>
                  </a:cxn>
                </a:cxnLst>
                <a:rect l="0" t="0" r="r" b="b"/>
                <a:pathLst>
                  <a:path w="60" h="58">
                    <a:moveTo>
                      <a:pt x="52" y="51"/>
                    </a:moveTo>
                    <a:lnTo>
                      <a:pt x="45" y="48"/>
                    </a:lnTo>
                    <a:lnTo>
                      <a:pt x="39" y="51"/>
                    </a:lnTo>
                    <a:lnTo>
                      <a:pt x="38" y="51"/>
                    </a:lnTo>
                    <a:lnTo>
                      <a:pt x="35" y="50"/>
                    </a:lnTo>
                    <a:lnTo>
                      <a:pt x="33" y="50"/>
                    </a:lnTo>
                    <a:lnTo>
                      <a:pt x="32" y="51"/>
                    </a:lnTo>
                    <a:lnTo>
                      <a:pt x="32" y="57"/>
                    </a:lnTo>
                    <a:lnTo>
                      <a:pt x="32" y="58"/>
                    </a:lnTo>
                    <a:lnTo>
                      <a:pt x="28" y="58"/>
                    </a:lnTo>
                    <a:lnTo>
                      <a:pt x="23" y="57"/>
                    </a:lnTo>
                    <a:lnTo>
                      <a:pt x="23" y="55"/>
                    </a:lnTo>
                    <a:lnTo>
                      <a:pt x="23" y="55"/>
                    </a:lnTo>
                    <a:lnTo>
                      <a:pt x="13" y="44"/>
                    </a:lnTo>
                    <a:lnTo>
                      <a:pt x="13" y="41"/>
                    </a:lnTo>
                    <a:lnTo>
                      <a:pt x="12" y="39"/>
                    </a:lnTo>
                    <a:lnTo>
                      <a:pt x="12" y="38"/>
                    </a:lnTo>
                    <a:lnTo>
                      <a:pt x="12" y="37"/>
                    </a:lnTo>
                    <a:lnTo>
                      <a:pt x="9" y="37"/>
                    </a:lnTo>
                    <a:lnTo>
                      <a:pt x="7" y="37"/>
                    </a:lnTo>
                    <a:lnTo>
                      <a:pt x="7" y="35"/>
                    </a:lnTo>
                    <a:lnTo>
                      <a:pt x="7" y="34"/>
                    </a:lnTo>
                    <a:lnTo>
                      <a:pt x="4" y="32"/>
                    </a:lnTo>
                    <a:lnTo>
                      <a:pt x="4" y="32"/>
                    </a:lnTo>
                    <a:lnTo>
                      <a:pt x="0" y="26"/>
                    </a:lnTo>
                    <a:lnTo>
                      <a:pt x="0" y="25"/>
                    </a:lnTo>
                    <a:lnTo>
                      <a:pt x="1" y="21"/>
                    </a:lnTo>
                    <a:lnTo>
                      <a:pt x="3" y="16"/>
                    </a:lnTo>
                    <a:lnTo>
                      <a:pt x="3" y="15"/>
                    </a:lnTo>
                    <a:lnTo>
                      <a:pt x="6" y="13"/>
                    </a:lnTo>
                    <a:lnTo>
                      <a:pt x="10" y="13"/>
                    </a:lnTo>
                    <a:lnTo>
                      <a:pt x="10" y="12"/>
                    </a:lnTo>
                    <a:lnTo>
                      <a:pt x="12" y="10"/>
                    </a:lnTo>
                    <a:lnTo>
                      <a:pt x="12" y="9"/>
                    </a:lnTo>
                    <a:lnTo>
                      <a:pt x="12" y="9"/>
                    </a:lnTo>
                    <a:lnTo>
                      <a:pt x="10" y="8"/>
                    </a:lnTo>
                    <a:lnTo>
                      <a:pt x="12" y="8"/>
                    </a:lnTo>
                    <a:lnTo>
                      <a:pt x="15" y="2"/>
                    </a:lnTo>
                    <a:lnTo>
                      <a:pt x="16" y="2"/>
                    </a:lnTo>
                    <a:lnTo>
                      <a:pt x="17" y="0"/>
                    </a:lnTo>
                    <a:lnTo>
                      <a:pt x="19" y="0"/>
                    </a:lnTo>
                    <a:lnTo>
                      <a:pt x="25" y="2"/>
                    </a:lnTo>
                    <a:lnTo>
                      <a:pt x="44" y="0"/>
                    </a:lnTo>
                    <a:lnTo>
                      <a:pt x="44" y="0"/>
                    </a:lnTo>
                    <a:lnTo>
                      <a:pt x="58" y="3"/>
                    </a:lnTo>
                    <a:lnTo>
                      <a:pt x="58" y="3"/>
                    </a:lnTo>
                    <a:lnTo>
                      <a:pt x="58" y="6"/>
                    </a:lnTo>
                    <a:lnTo>
                      <a:pt x="58" y="8"/>
                    </a:lnTo>
                    <a:lnTo>
                      <a:pt x="58" y="8"/>
                    </a:lnTo>
                    <a:lnTo>
                      <a:pt x="55" y="10"/>
                    </a:lnTo>
                    <a:lnTo>
                      <a:pt x="54" y="13"/>
                    </a:lnTo>
                    <a:lnTo>
                      <a:pt x="54" y="23"/>
                    </a:lnTo>
                    <a:lnTo>
                      <a:pt x="57" y="31"/>
                    </a:lnTo>
                    <a:lnTo>
                      <a:pt x="57" y="31"/>
                    </a:lnTo>
                    <a:lnTo>
                      <a:pt x="58" y="31"/>
                    </a:lnTo>
                    <a:lnTo>
                      <a:pt x="60" y="32"/>
                    </a:lnTo>
                    <a:lnTo>
                      <a:pt x="57" y="48"/>
                    </a:lnTo>
                    <a:lnTo>
                      <a:pt x="52" y="5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05" name="Freeform 1281"/>
              <p:cNvSpPr>
                <a:spLocks/>
              </p:cNvSpPr>
              <p:nvPr/>
            </p:nvSpPr>
            <p:spPr bwMode="auto">
              <a:xfrm>
                <a:off x="6420933" y="2267591"/>
                <a:ext cx="126403" cy="121696"/>
              </a:xfrm>
              <a:custGeom>
                <a:avLst/>
                <a:gdLst/>
                <a:ahLst/>
                <a:cxnLst>
                  <a:cxn ang="0">
                    <a:pos x="1" y="97"/>
                  </a:cxn>
                  <a:cxn ang="0">
                    <a:pos x="6" y="88"/>
                  </a:cxn>
                  <a:cxn ang="0">
                    <a:pos x="8" y="55"/>
                  </a:cxn>
                  <a:cxn ang="0">
                    <a:pos x="19" y="54"/>
                  </a:cxn>
                  <a:cxn ang="0">
                    <a:pos x="24" y="54"/>
                  </a:cxn>
                  <a:cxn ang="0">
                    <a:pos x="27" y="49"/>
                  </a:cxn>
                  <a:cxn ang="0">
                    <a:pos x="32" y="46"/>
                  </a:cxn>
                  <a:cxn ang="0">
                    <a:pos x="37" y="49"/>
                  </a:cxn>
                  <a:cxn ang="0">
                    <a:pos x="35" y="40"/>
                  </a:cxn>
                  <a:cxn ang="0">
                    <a:pos x="40" y="27"/>
                  </a:cxn>
                  <a:cxn ang="0">
                    <a:pos x="49" y="24"/>
                  </a:cxn>
                  <a:cxn ang="0">
                    <a:pos x="48" y="19"/>
                  </a:cxn>
                  <a:cxn ang="0">
                    <a:pos x="51" y="13"/>
                  </a:cxn>
                  <a:cxn ang="0">
                    <a:pos x="53" y="11"/>
                  </a:cxn>
                  <a:cxn ang="0">
                    <a:pos x="61" y="10"/>
                  </a:cxn>
                  <a:cxn ang="0">
                    <a:pos x="65" y="4"/>
                  </a:cxn>
                  <a:cxn ang="0">
                    <a:pos x="74" y="1"/>
                  </a:cxn>
                  <a:cxn ang="0">
                    <a:pos x="81" y="3"/>
                  </a:cxn>
                  <a:cxn ang="0">
                    <a:pos x="90" y="6"/>
                  </a:cxn>
                  <a:cxn ang="0">
                    <a:pos x="96" y="8"/>
                  </a:cxn>
                  <a:cxn ang="0">
                    <a:pos x="106" y="8"/>
                  </a:cxn>
                  <a:cxn ang="0">
                    <a:pos x="112" y="16"/>
                  </a:cxn>
                  <a:cxn ang="0">
                    <a:pos x="112" y="22"/>
                  </a:cxn>
                  <a:cxn ang="0">
                    <a:pos x="110" y="29"/>
                  </a:cxn>
                  <a:cxn ang="0">
                    <a:pos x="113" y="36"/>
                  </a:cxn>
                  <a:cxn ang="0">
                    <a:pos x="123" y="52"/>
                  </a:cxn>
                  <a:cxn ang="0">
                    <a:pos x="125" y="58"/>
                  </a:cxn>
                  <a:cxn ang="0">
                    <a:pos x="135" y="59"/>
                  </a:cxn>
                  <a:cxn ang="0">
                    <a:pos x="138" y="62"/>
                  </a:cxn>
                  <a:cxn ang="0">
                    <a:pos x="125" y="72"/>
                  </a:cxn>
                  <a:cxn ang="0">
                    <a:pos x="117" y="71"/>
                  </a:cxn>
                  <a:cxn ang="0">
                    <a:pos x="116" y="75"/>
                  </a:cxn>
                  <a:cxn ang="0">
                    <a:pos x="119" y="83"/>
                  </a:cxn>
                  <a:cxn ang="0">
                    <a:pos x="122" y="87"/>
                  </a:cxn>
                  <a:cxn ang="0">
                    <a:pos x="123" y="97"/>
                  </a:cxn>
                  <a:cxn ang="0">
                    <a:pos x="114" y="99"/>
                  </a:cxn>
                  <a:cxn ang="0">
                    <a:pos x="107" y="106"/>
                  </a:cxn>
                  <a:cxn ang="0">
                    <a:pos x="107" y="115"/>
                  </a:cxn>
                  <a:cxn ang="0">
                    <a:pos x="103" y="115"/>
                  </a:cxn>
                  <a:cxn ang="0">
                    <a:pos x="90" y="116"/>
                  </a:cxn>
                  <a:cxn ang="0">
                    <a:pos x="84" y="110"/>
                  </a:cxn>
                  <a:cxn ang="0">
                    <a:pos x="77" y="112"/>
                  </a:cxn>
                  <a:cxn ang="0">
                    <a:pos x="71" y="110"/>
                  </a:cxn>
                  <a:cxn ang="0">
                    <a:pos x="65" y="113"/>
                  </a:cxn>
                  <a:cxn ang="0">
                    <a:pos x="62" y="110"/>
                  </a:cxn>
                  <a:cxn ang="0">
                    <a:pos x="55" y="107"/>
                  </a:cxn>
                  <a:cxn ang="0">
                    <a:pos x="40" y="104"/>
                  </a:cxn>
                  <a:cxn ang="0">
                    <a:pos x="29" y="101"/>
                  </a:cxn>
                  <a:cxn ang="0">
                    <a:pos x="14" y="107"/>
                  </a:cxn>
                  <a:cxn ang="0">
                    <a:pos x="6" y="109"/>
                  </a:cxn>
                </a:cxnLst>
                <a:rect l="0" t="0" r="r" b="b"/>
                <a:pathLst>
                  <a:path w="138" h="117">
                    <a:moveTo>
                      <a:pt x="4" y="110"/>
                    </a:moveTo>
                    <a:lnTo>
                      <a:pt x="6" y="100"/>
                    </a:lnTo>
                    <a:lnTo>
                      <a:pt x="1" y="97"/>
                    </a:lnTo>
                    <a:lnTo>
                      <a:pt x="0" y="94"/>
                    </a:lnTo>
                    <a:lnTo>
                      <a:pt x="3" y="90"/>
                    </a:lnTo>
                    <a:lnTo>
                      <a:pt x="6" y="88"/>
                    </a:lnTo>
                    <a:lnTo>
                      <a:pt x="10" y="84"/>
                    </a:lnTo>
                    <a:lnTo>
                      <a:pt x="4" y="54"/>
                    </a:lnTo>
                    <a:lnTo>
                      <a:pt x="8" y="55"/>
                    </a:lnTo>
                    <a:lnTo>
                      <a:pt x="13" y="54"/>
                    </a:lnTo>
                    <a:lnTo>
                      <a:pt x="16" y="55"/>
                    </a:lnTo>
                    <a:lnTo>
                      <a:pt x="19" y="54"/>
                    </a:lnTo>
                    <a:lnTo>
                      <a:pt x="20" y="52"/>
                    </a:lnTo>
                    <a:lnTo>
                      <a:pt x="22" y="54"/>
                    </a:lnTo>
                    <a:lnTo>
                      <a:pt x="24" y="54"/>
                    </a:lnTo>
                    <a:lnTo>
                      <a:pt x="23" y="49"/>
                    </a:lnTo>
                    <a:lnTo>
                      <a:pt x="24" y="49"/>
                    </a:lnTo>
                    <a:lnTo>
                      <a:pt x="27" y="49"/>
                    </a:lnTo>
                    <a:lnTo>
                      <a:pt x="29" y="48"/>
                    </a:lnTo>
                    <a:lnTo>
                      <a:pt x="30" y="46"/>
                    </a:lnTo>
                    <a:lnTo>
                      <a:pt x="32" y="46"/>
                    </a:lnTo>
                    <a:lnTo>
                      <a:pt x="33" y="48"/>
                    </a:lnTo>
                    <a:lnTo>
                      <a:pt x="35" y="49"/>
                    </a:lnTo>
                    <a:lnTo>
                      <a:pt x="37" y="49"/>
                    </a:lnTo>
                    <a:lnTo>
                      <a:pt x="36" y="46"/>
                    </a:lnTo>
                    <a:lnTo>
                      <a:pt x="35" y="43"/>
                    </a:lnTo>
                    <a:lnTo>
                      <a:pt x="35" y="40"/>
                    </a:lnTo>
                    <a:lnTo>
                      <a:pt x="37" y="38"/>
                    </a:lnTo>
                    <a:lnTo>
                      <a:pt x="39" y="29"/>
                    </a:lnTo>
                    <a:lnTo>
                      <a:pt x="40" y="27"/>
                    </a:lnTo>
                    <a:lnTo>
                      <a:pt x="42" y="27"/>
                    </a:lnTo>
                    <a:lnTo>
                      <a:pt x="46" y="24"/>
                    </a:lnTo>
                    <a:lnTo>
                      <a:pt x="49" y="24"/>
                    </a:lnTo>
                    <a:lnTo>
                      <a:pt x="51" y="20"/>
                    </a:lnTo>
                    <a:lnTo>
                      <a:pt x="49" y="19"/>
                    </a:lnTo>
                    <a:lnTo>
                      <a:pt x="48" y="19"/>
                    </a:lnTo>
                    <a:lnTo>
                      <a:pt x="48" y="16"/>
                    </a:lnTo>
                    <a:lnTo>
                      <a:pt x="49" y="14"/>
                    </a:lnTo>
                    <a:lnTo>
                      <a:pt x="51" y="13"/>
                    </a:lnTo>
                    <a:lnTo>
                      <a:pt x="51" y="11"/>
                    </a:lnTo>
                    <a:lnTo>
                      <a:pt x="52" y="13"/>
                    </a:lnTo>
                    <a:lnTo>
                      <a:pt x="53" y="11"/>
                    </a:lnTo>
                    <a:lnTo>
                      <a:pt x="55" y="8"/>
                    </a:lnTo>
                    <a:lnTo>
                      <a:pt x="56" y="8"/>
                    </a:lnTo>
                    <a:lnTo>
                      <a:pt x="61" y="10"/>
                    </a:lnTo>
                    <a:lnTo>
                      <a:pt x="62" y="8"/>
                    </a:lnTo>
                    <a:lnTo>
                      <a:pt x="65" y="6"/>
                    </a:lnTo>
                    <a:lnTo>
                      <a:pt x="65" y="4"/>
                    </a:lnTo>
                    <a:lnTo>
                      <a:pt x="71" y="0"/>
                    </a:lnTo>
                    <a:lnTo>
                      <a:pt x="74" y="0"/>
                    </a:lnTo>
                    <a:lnTo>
                      <a:pt x="74" y="1"/>
                    </a:lnTo>
                    <a:lnTo>
                      <a:pt x="78" y="1"/>
                    </a:lnTo>
                    <a:lnTo>
                      <a:pt x="80" y="1"/>
                    </a:lnTo>
                    <a:lnTo>
                      <a:pt x="81" y="3"/>
                    </a:lnTo>
                    <a:lnTo>
                      <a:pt x="85" y="3"/>
                    </a:lnTo>
                    <a:lnTo>
                      <a:pt x="87" y="3"/>
                    </a:lnTo>
                    <a:lnTo>
                      <a:pt x="90" y="6"/>
                    </a:lnTo>
                    <a:lnTo>
                      <a:pt x="90" y="10"/>
                    </a:lnTo>
                    <a:lnTo>
                      <a:pt x="94" y="8"/>
                    </a:lnTo>
                    <a:lnTo>
                      <a:pt x="96" y="8"/>
                    </a:lnTo>
                    <a:lnTo>
                      <a:pt x="97" y="7"/>
                    </a:lnTo>
                    <a:lnTo>
                      <a:pt x="103" y="7"/>
                    </a:lnTo>
                    <a:lnTo>
                      <a:pt x="106" y="8"/>
                    </a:lnTo>
                    <a:lnTo>
                      <a:pt x="109" y="13"/>
                    </a:lnTo>
                    <a:lnTo>
                      <a:pt x="112" y="13"/>
                    </a:lnTo>
                    <a:lnTo>
                      <a:pt x="112" y="16"/>
                    </a:lnTo>
                    <a:lnTo>
                      <a:pt x="110" y="19"/>
                    </a:lnTo>
                    <a:lnTo>
                      <a:pt x="110" y="20"/>
                    </a:lnTo>
                    <a:lnTo>
                      <a:pt x="112" y="22"/>
                    </a:lnTo>
                    <a:lnTo>
                      <a:pt x="113" y="24"/>
                    </a:lnTo>
                    <a:lnTo>
                      <a:pt x="112" y="27"/>
                    </a:lnTo>
                    <a:lnTo>
                      <a:pt x="110" y="29"/>
                    </a:lnTo>
                    <a:lnTo>
                      <a:pt x="110" y="32"/>
                    </a:lnTo>
                    <a:lnTo>
                      <a:pt x="110" y="33"/>
                    </a:lnTo>
                    <a:lnTo>
                      <a:pt x="113" y="36"/>
                    </a:lnTo>
                    <a:lnTo>
                      <a:pt x="119" y="48"/>
                    </a:lnTo>
                    <a:lnTo>
                      <a:pt x="122" y="51"/>
                    </a:lnTo>
                    <a:lnTo>
                      <a:pt x="123" y="52"/>
                    </a:lnTo>
                    <a:lnTo>
                      <a:pt x="123" y="54"/>
                    </a:lnTo>
                    <a:lnTo>
                      <a:pt x="123" y="56"/>
                    </a:lnTo>
                    <a:lnTo>
                      <a:pt x="125" y="58"/>
                    </a:lnTo>
                    <a:lnTo>
                      <a:pt x="130" y="56"/>
                    </a:lnTo>
                    <a:lnTo>
                      <a:pt x="132" y="58"/>
                    </a:lnTo>
                    <a:lnTo>
                      <a:pt x="135" y="59"/>
                    </a:lnTo>
                    <a:lnTo>
                      <a:pt x="133" y="61"/>
                    </a:lnTo>
                    <a:lnTo>
                      <a:pt x="135" y="62"/>
                    </a:lnTo>
                    <a:lnTo>
                      <a:pt x="138" y="62"/>
                    </a:lnTo>
                    <a:lnTo>
                      <a:pt x="138" y="67"/>
                    </a:lnTo>
                    <a:lnTo>
                      <a:pt x="129" y="74"/>
                    </a:lnTo>
                    <a:lnTo>
                      <a:pt x="125" y="72"/>
                    </a:lnTo>
                    <a:lnTo>
                      <a:pt x="122" y="69"/>
                    </a:lnTo>
                    <a:lnTo>
                      <a:pt x="120" y="69"/>
                    </a:lnTo>
                    <a:lnTo>
                      <a:pt x="117" y="71"/>
                    </a:lnTo>
                    <a:lnTo>
                      <a:pt x="117" y="72"/>
                    </a:lnTo>
                    <a:lnTo>
                      <a:pt x="116" y="74"/>
                    </a:lnTo>
                    <a:lnTo>
                      <a:pt x="116" y="75"/>
                    </a:lnTo>
                    <a:lnTo>
                      <a:pt x="119" y="78"/>
                    </a:lnTo>
                    <a:lnTo>
                      <a:pt x="120" y="80"/>
                    </a:lnTo>
                    <a:lnTo>
                      <a:pt x="119" y="83"/>
                    </a:lnTo>
                    <a:lnTo>
                      <a:pt x="120" y="84"/>
                    </a:lnTo>
                    <a:lnTo>
                      <a:pt x="120" y="85"/>
                    </a:lnTo>
                    <a:lnTo>
                      <a:pt x="122" y="87"/>
                    </a:lnTo>
                    <a:lnTo>
                      <a:pt x="123" y="88"/>
                    </a:lnTo>
                    <a:lnTo>
                      <a:pt x="122" y="91"/>
                    </a:lnTo>
                    <a:lnTo>
                      <a:pt x="123" y="97"/>
                    </a:lnTo>
                    <a:lnTo>
                      <a:pt x="119" y="97"/>
                    </a:lnTo>
                    <a:lnTo>
                      <a:pt x="116" y="99"/>
                    </a:lnTo>
                    <a:lnTo>
                      <a:pt x="114" y="99"/>
                    </a:lnTo>
                    <a:lnTo>
                      <a:pt x="112" y="99"/>
                    </a:lnTo>
                    <a:lnTo>
                      <a:pt x="107" y="104"/>
                    </a:lnTo>
                    <a:lnTo>
                      <a:pt x="107" y="106"/>
                    </a:lnTo>
                    <a:lnTo>
                      <a:pt x="107" y="107"/>
                    </a:lnTo>
                    <a:lnTo>
                      <a:pt x="106" y="110"/>
                    </a:lnTo>
                    <a:lnTo>
                      <a:pt x="107" y="115"/>
                    </a:lnTo>
                    <a:lnTo>
                      <a:pt x="106" y="116"/>
                    </a:lnTo>
                    <a:lnTo>
                      <a:pt x="104" y="117"/>
                    </a:lnTo>
                    <a:lnTo>
                      <a:pt x="103" y="115"/>
                    </a:lnTo>
                    <a:lnTo>
                      <a:pt x="100" y="115"/>
                    </a:lnTo>
                    <a:lnTo>
                      <a:pt x="91" y="115"/>
                    </a:lnTo>
                    <a:lnTo>
                      <a:pt x="90" y="116"/>
                    </a:lnTo>
                    <a:lnTo>
                      <a:pt x="88" y="115"/>
                    </a:lnTo>
                    <a:lnTo>
                      <a:pt x="88" y="113"/>
                    </a:lnTo>
                    <a:lnTo>
                      <a:pt x="84" y="110"/>
                    </a:lnTo>
                    <a:lnTo>
                      <a:pt x="80" y="115"/>
                    </a:lnTo>
                    <a:lnTo>
                      <a:pt x="78" y="113"/>
                    </a:lnTo>
                    <a:lnTo>
                      <a:pt x="77" y="112"/>
                    </a:lnTo>
                    <a:lnTo>
                      <a:pt x="75" y="113"/>
                    </a:lnTo>
                    <a:lnTo>
                      <a:pt x="72" y="112"/>
                    </a:lnTo>
                    <a:lnTo>
                      <a:pt x="71" y="110"/>
                    </a:lnTo>
                    <a:lnTo>
                      <a:pt x="69" y="112"/>
                    </a:lnTo>
                    <a:lnTo>
                      <a:pt x="67" y="112"/>
                    </a:lnTo>
                    <a:lnTo>
                      <a:pt x="65" y="113"/>
                    </a:lnTo>
                    <a:lnTo>
                      <a:pt x="64" y="115"/>
                    </a:lnTo>
                    <a:lnTo>
                      <a:pt x="62" y="113"/>
                    </a:lnTo>
                    <a:lnTo>
                      <a:pt x="62" y="110"/>
                    </a:lnTo>
                    <a:lnTo>
                      <a:pt x="58" y="112"/>
                    </a:lnTo>
                    <a:lnTo>
                      <a:pt x="56" y="110"/>
                    </a:lnTo>
                    <a:lnTo>
                      <a:pt x="55" y="107"/>
                    </a:lnTo>
                    <a:lnTo>
                      <a:pt x="49" y="104"/>
                    </a:lnTo>
                    <a:lnTo>
                      <a:pt x="48" y="106"/>
                    </a:lnTo>
                    <a:lnTo>
                      <a:pt x="40" y="104"/>
                    </a:lnTo>
                    <a:lnTo>
                      <a:pt x="37" y="101"/>
                    </a:lnTo>
                    <a:lnTo>
                      <a:pt x="30" y="101"/>
                    </a:lnTo>
                    <a:lnTo>
                      <a:pt x="29" y="101"/>
                    </a:lnTo>
                    <a:lnTo>
                      <a:pt x="16" y="103"/>
                    </a:lnTo>
                    <a:lnTo>
                      <a:pt x="16" y="106"/>
                    </a:lnTo>
                    <a:lnTo>
                      <a:pt x="14" y="107"/>
                    </a:lnTo>
                    <a:lnTo>
                      <a:pt x="10" y="109"/>
                    </a:lnTo>
                    <a:lnTo>
                      <a:pt x="8" y="109"/>
                    </a:lnTo>
                    <a:lnTo>
                      <a:pt x="6" y="109"/>
                    </a:lnTo>
                    <a:lnTo>
                      <a:pt x="4" y="11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06" name="Freeform 1282"/>
              <p:cNvSpPr>
                <a:spLocks/>
              </p:cNvSpPr>
              <p:nvPr/>
            </p:nvSpPr>
            <p:spPr bwMode="auto">
              <a:xfrm>
                <a:off x="6420933" y="2267591"/>
                <a:ext cx="126403" cy="121696"/>
              </a:xfrm>
              <a:custGeom>
                <a:avLst/>
                <a:gdLst/>
                <a:ahLst/>
                <a:cxnLst>
                  <a:cxn ang="0">
                    <a:pos x="1" y="97"/>
                  </a:cxn>
                  <a:cxn ang="0">
                    <a:pos x="6" y="88"/>
                  </a:cxn>
                  <a:cxn ang="0">
                    <a:pos x="8" y="55"/>
                  </a:cxn>
                  <a:cxn ang="0">
                    <a:pos x="19" y="54"/>
                  </a:cxn>
                  <a:cxn ang="0">
                    <a:pos x="24" y="54"/>
                  </a:cxn>
                  <a:cxn ang="0">
                    <a:pos x="27" y="49"/>
                  </a:cxn>
                  <a:cxn ang="0">
                    <a:pos x="32" y="46"/>
                  </a:cxn>
                  <a:cxn ang="0">
                    <a:pos x="37" y="49"/>
                  </a:cxn>
                  <a:cxn ang="0">
                    <a:pos x="35" y="40"/>
                  </a:cxn>
                  <a:cxn ang="0">
                    <a:pos x="40" y="27"/>
                  </a:cxn>
                  <a:cxn ang="0">
                    <a:pos x="49" y="24"/>
                  </a:cxn>
                  <a:cxn ang="0">
                    <a:pos x="48" y="19"/>
                  </a:cxn>
                  <a:cxn ang="0">
                    <a:pos x="51" y="13"/>
                  </a:cxn>
                  <a:cxn ang="0">
                    <a:pos x="53" y="11"/>
                  </a:cxn>
                  <a:cxn ang="0">
                    <a:pos x="61" y="10"/>
                  </a:cxn>
                  <a:cxn ang="0">
                    <a:pos x="65" y="4"/>
                  </a:cxn>
                  <a:cxn ang="0">
                    <a:pos x="74" y="1"/>
                  </a:cxn>
                  <a:cxn ang="0">
                    <a:pos x="81" y="3"/>
                  </a:cxn>
                  <a:cxn ang="0">
                    <a:pos x="90" y="6"/>
                  </a:cxn>
                  <a:cxn ang="0">
                    <a:pos x="96" y="8"/>
                  </a:cxn>
                  <a:cxn ang="0">
                    <a:pos x="106" y="8"/>
                  </a:cxn>
                  <a:cxn ang="0">
                    <a:pos x="112" y="16"/>
                  </a:cxn>
                  <a:cxn ang="0">
                    <a:pos x="112" y="22"/>
                  </a:cxn>
                  <a:cxn ang="0">
                    <a:pos x="110" y="29"/>
                  </a:cxn>
                  <a:cxn ang="0">
                    <a:pos x="113" y="36"/>
                  </a:cxn>
                  <a:cxn ang="0">
                    <a:pos x="123" y="52"/>
                  </a:cxn>
                  <a:cxn ang="0">
                    <a:pos x="125" y="58"/>
                  </a:cxn>
                  <a:cxn ang="0">
                    <a:pos x="135" y="59"/>
                  </a:cxn>
                  <a:cxn ang="0">
                    <a:pos x="138" y="62"/>
                  </a:cxn>
                  <a:cxn ang="0">
                    <a:pos x="125" y="72"/>
                  </a:cxn>
                  <a:cxn ang="0">
                    <a:pos x="117" y="71"/>
                  </a:cxn>
                  <a:cxn ang="0">
                    <a:pos x="116" y="75"/>
                  </a:cxn>
                  <a:cxn ang="0">
                    <a:pos x="119" y="83"/>
                  </a:cxn>
                  <a:cxn ang="0">
                    <a:pos x="122" y="87"/>
                  </a:cxn>
                  <a:cxn ang="0">
                    <a:pos x="123" y="97"/>
                  </a:cxn>
                  <a:cxn ang="0">
                    <a:pos x="114" y="99"/>
                  </a:cxn>
                  <a:cxn ang="0">
                    <a:pos x="107" y="106"/>
                  </a:cxn>
                  <a:cxn ang="0">
                    <a:pos x="107" y="115"/>
                  </a:cxn>
                  <a:cxn ang="0">
                    <a:pos x="103" y="115"/>
                  </a:cxn>
                  <a:cxn ang="0">
                    <a:pos x="90" y="116"/>
                  </a:cxn>
                  <a:cxn ang="0">
                    <a:pos x="84" y="110"/>
                  </a:cxn>
                  <a:cxn ang="0">
                    <a:pos x="77" y="112"/>
                  </a:cxn>
                  <a:cxn ang="0">
                    <a:pos x="71" y="110"/>
                  </a:cxn>
                  <a:cxn ang="0">
                    <a:pos x="65" y="113"/>
                  </a:cxn>
                  <a:cxn ang="0">
                    <a:pos x="62" y="110"/>
                  </a:cxn>
                  <a:cxn ang="0">
                    <a:pos x="55" y="107"/>
                  </a:cxn>
                  <a:cxn ang="0">
                    <a:pos x="40" y="104"/>
                  </a:cxn>
                  <a:cxn ang="0">
                    <a:pos x="29" y="101"/>
                  </a:cxn>
                  <a:cxn ang="0">
                    <a:pos x="14" y="107"/>
                  </a:cxn>
                  <a:cxn ang="0">
                    <a:pos x="6" y="109"/>
                  </a:cxn>
                </a:cxnLst>
                <a:rect l="0" t="0" r="r" b="b"/>
                <a:pathLst>
                  <a:path w="138" h="117">
                    <a:moveTo>
                      <a:pt x="4" y="110"/>
                    </a:moveTo>
                    <a:lnTo>
                      <a:pt x="6" y="100"/>
                    </a:lnTo>
                    <a:lnTo>
                      <a:pt x="1" y="97"/>
                    </a:lnTo>
                    <a:lnTo>
                      <a:pt x="0" y="94"/>
                    </a:lnTo>
                    <a:lnTo>
                      <a:pt x="3" y="90"/>
                    </a:lnTo>
                    <a:lnTo>
                      <a:pt x="6" y="88"/>
                    </a:lnTo>
                    <a:lnTo>
                      <a:pt x="10" y="84"/>
                    </a:lnTo>
                    <a:lnTo>
                      <a:pt x="4" y="54"/>
                    </a:lnTo>
                    <a:lnTo>
                      <a:pt x="8" y="55"/>
                    </a:lnTo>
                    <a:lnTo>
                      <a:pt x="13" y="54"/>
                    </a:lnTo>
                    <a:lnTo>
                      <a:pt x="16" y="55"/>
                    </a:lnTo>
                    <a:lnTo>
                      <a:pt x="19" y="54"/>
                    </a:lnTo>
                    <a:lnTo>
                      <a:pt x="20" y="52"/>
                    </a:lnTo>
                    <a:lnTo>
                      <a:pt x="22" y="54"/>
                    </a:lnTo>
                    <a:lnTo>
                      <a:pt x="24" y="54"/>
                    </a:lnTo>
                    <a:lnTo>
                      <a:pt x="23" y="49"/>
                    </a:lnTo>
                    <a:lnTo>
                      <a:pt x="24" y="49"/>
                    </a:lnTo>
                    <a:lnTo>
                      <a:pt x="27" y="49"/>
                    </a:lnTo>
                    <a:lnTo>
                      <a:pt x="29" y="48"/>
                    </a:lnTo>
                    <a:lnTo>
                      <a:pt x="30" y="46"/>
                    </a:lnTo>
                    <a:lnTo>
                      <a:pt x="32" y="46"/>
                    </a:lnTo>
                    <a:lnTo>
                      <a:pt x="33" y="48"/>
                    </a:lnTo>
                    <a:lnTo>
                      <a:pt x="35" y="49"/>
                    </a:lnTo>
                    <a:lnTo>
                      <a:pt x="37" y="49"/>
                    </a:lnTo>
                    <a:lnTo>
                      <a:pt x="36" y="46"/>
                    </a:lnTo>
                    <a:lnTo>
                      <a:pt x="35" y="43"/>
                    </a:lnTo>
                    <a:lnTo>
                      <a:pt x="35" y="40"/>
                    </a:lnTo>
                    <a:lnTo>
                      <a:pt x="37" y="38"/>
                    </a:lnTo>
                    <a:lnTo>
                      <a:pt x="39" y="29"/>
                    </a:lnTo>
                    <a:lnTo>
                      <a:pt x="40" y="27"/>
                    </a:lnTo>
                    <a:lnTo>
                      <a:pt x="42" y="27"/>
                    </a:lnTo>
                    <a:lnTo>
                      <a:pt x="46" y="24"/>
                    </a:lnTo>
                    <a:lnTo>
                      <a:pt x="49" y="24"/>
                    </a:lnTo>
                    <a:lnTo>
                      <a:pt x="51" y="20"/>
                    </a:lnTo>
                    <a:lnTo>
                      <a:pt x="49" y="19"/>
                    </a:lnTo>
                    <a:lnTo>
                      <a:pt x="48" y="19"/>
                    </a:lnTo>
                    <a:lnTo>
                      <a:pt x="48" y="16"/>
                    </a:lnTo>
                    <a:lnTo>
                      <a:pt x="49" y="14"/>
                    </a:lnTo>
                    <a:lnTo>
                      <a:pt x="51" y="13"/>
                    </a:lnTo>
                    <a:lnTo>
                      <a:pt x="51" y="11"/>
                    </a:lnTo>
                    <a:lnTo>
                      <a:pt x="52" y="13"/>
                    </a:lnTo>
                    <a:lnTo>
                      <a:pt x="53" y="11"/>
                    </a:lnTo>
                    <a:lnTo>
                      <a:pt x="55" y="8"/>
                    </a:lnTo>
                    <a:lnTo>
                      <a:pt x="56" y="8"/>
                    </a:lnTo>
                    <a:lnTo>
                      <a:pt x="61" y="10"/>
                    </a:lnTo>
                    <a:lnTo>
                      <a:pt x="62" y="8"/>
                    </a:lnTo>
                    <a:lnTo>
                      <a:pt x="65" y="6"/>
                    </a:lnTo>
                    <a:lnTo>
                      <a:pt x="65" y="4"/>
                    </a:lnTo>
                    <a:lnTo>
                      <a:pt x="71" y="0"/>
                    </a:lnTo>
                    <a:lnTo>
                      <a:pt x="74" y="0"/>
                    </a:lnTo>
                    <a:lnTo>
                      <a:pt x="74" y="1"/>
                    </a:lnTo>
                    <a:lnTo>
                      <a:pt x="78" y="1"/>
                    </a:lnTo>
                    <a:lnTo>
                      <a:pt x="80" y="1"/>
                    </a:lnTo>
                    <a:lnTo>
                      <a:pt x="81" y="3"/>
                    </a:lnTo>
                    <a:lnTo>
                      <a:pt x="85" y="3"/>
                    </a:lnTo>
                    <a:lnTo>
                      <a:pt x="87" y="3"/>
                    </a:lnTo>
                    <a:lnTo>
                      <a:pt x="90" y="6"/>
                    </a:lnTo>
                    <a:lnTo>
                      <a:pt x="90" y="10"/>
                    </a:lnTo>
                    <a:lnTo>
                      <a:pt x="94" y="8"/>
                    </a:lnTo>
                    <a:lnTo>
                      <a:pt x="96" y="8"/>
                    </a:lnTo>
                    <a:lnTo>
                      <a:pt x="97" y="7"/>
                    </a:lnTo>
                    <a:lnTo>
                      <a:pt x="103" y="7"/>
                    </a:lnTo>
                    <a:lnTo>
                      <a:pt x="106" y="8"/>
                    </a:lnTo>
                    <a:lnTo>
                      <a:pt x="109" y="13"/>
                    </a:lnTo>
                    <a:lnTo>
                      <a:pt x="112" y="13"/>
                    </a:lnTo>
                    <a:lnTo>
                      <a:pt x="112" y="16"/>
                    </a:lnTo>
                    <a:lnTo>
                      <a:pt x="110" y="19"/>
                    </a:lnTo>
                    <a:lnTo>
                      <a:pt x="110" y="20"/>
                    </a:lnTo>
                    <a:lnTo>
                      <a:pt x="112" y="22"/>
                    </a:lnTo>
                    <a:lnTo>
                      <a:pt x="113" y="24"/>
                    </a:lnTo>
                    <a:lnTo>
                      <a:pt x="112" y="27"/>
                    </a:lnTo>
                    <a:lnTo>
                      <a:pt x="110" y="29"/>
                    </a:lnTo>
                    <a:lnTo>
                      <a:pt x="110" y="32"/>
                    </a:lnTo>
                    <a:lnTo>
                      <a:pt x="110" y="33"/>
                    </a:lnTo>
                    <a:lnTo>
                      <a:pt x="113" y="36"/>
                    </a:lnTo>
                    <a:lnTo>
                      <a:pt x="119" y="48"/>
                    </a:lnTo>
                    <a:lnTo>
                      <a:pt x="122" y="51"/>
                    </a:lnTo>
                    <a:lnTo>
                      <a:pt x="123" y="52"/>
                    </a:lnTo>
                    <a:lnTo>
                      <a:pt x="123" y="54"/>
                    </a:lnTo>
                    <a:lnTo>
                      <a:pt x="123" y="56"/>
                    </a:lnTo>
                    <a:lnTo>
                      <a:pt x="125" y="58"/>
                    </a:lnTo>
                    <a:lnTo>
                      <a:pt x="130" y="56"/>
                    </a:lnTo>
                    <a:lnTo>
                      <a:pt x="132" y="58"/>
                    </a:lnTo>
                    <a:lnTo>
                      <a:pt x="135" y="59"/>
                    </a:lnTo>
                    <a:lnTo>
                      <a:pt x="133" y="61"/>
                    </a:lnTo>
                    <a:lnTo>
                      <a:pt x="135" y="62"/>
                    </a:lnTo>
                    <a:lnTo>
                      <a:pt x="138" y="62"/>
                    </a:lnTo>
                    <a:lnTo>
                      <a:pt x="138" y="67"/>
                    </a:lnTo>
                    <a:lnTo>
                      <a:pt x="129" y="74"/>
                    </a:lnTo>
                    <a:lnTo>
                      <a:pt x="125" y="72"/>
                    </a:lnTo>
                    <a:lnTo>
                      <a:pt x="122" y="69"/>
                    </a:lnTo>
                    <a:lnTo>
                      <a:pt x="120" y="69"/>
                    </a:lnTo>
                    <a:lnTo>
                      <a:pt x="117" y="71"/>
                    </a:lnTo>
                    <a:lnTo>
                      <a:pt x="117" y="72"/>
                    </a:lnTo>
                    <a:lnTo>
                      <a:pt x="116" y="74"/>
                    </a:lnTo>
                    <a:lnTo>
                      <a:pt x="116" y="75"/>
                    </a:lnTo>
                    <a:lnTo>
                      <a:pt x="119" y="78"/>
                    </a:lnTo>
                    <a:lnTo>
                      <a:pt x="120" y="80"/>
                    </a:lnTo>
                    <a:lnTo>
                      <a:pt x="119" y="83"/>
                    </a:lnTo>
                    <a:lnTo>
                      <a:pt x="120" y="84"/>
                    </a:lnTo>
                    <a:lnTo>
                      <a:pt x="120" y="85"/>
                    </a:lnTo>
                    <a:lnTo>
                      <a:pt x="122" y="87"/>
                    </a:lnTo>
                    <a:lnTo>
                      <a:pt x="123" y="88"/>
                    </a:lnTo>
                    <a:lnTo>
                      <a:pt x="122" y="91"/>
                    </a:lnTo>
                    <a:lnTo>
                      <a:pt x="123" y="97"/>
                    </a:lnTo>
                    <a:lnTo>
                      <a:pt x="119" y="97"/>
                    </a:lnTo>
                    <a:lnTo>
                      <a:pt x="116" y="99"/>
                    </a:lnTo>
                    <a:lnTo>
                      <a:pt x="114" y="99"/>
                    </a:lnTo>
                    <a:lnTo>
                      <a:pt x="112" y="99"/>
                    </a:lnTo>
                    <a:lnTo>
                      <a:pt x="107" y="104"/>
                    </a:lnTo>
                    <a:lnTo>
                      <a:pt x="107" y="106"/>
                    </a:lnTo>
                    <a:lnTo>
                      <a:pt x="107" y="107"/>
                    </a:lnTo>
                    <a:lnTo>
                      <a:pt x="106" y="110"/>
                    </a:lnTo>
                    <a:lnTo>
                      <a:pt x="107" y="115"/>
                    </a:lnTo>
                    <a:lnTo>
                      <a:pt x="106" y="116"/>
                    </a:lnTo>
                    <a:lnTo>
                      <a:pt x="104" y="117"/>
                    </a:lnTo>
                    <a:lnTo>
                      <a:pt x="103" y="115"/>
                    </a:lnTo>
                    <a:lnTo>
                      <a:pt x="100" y="115"/>
                    </a:lnTo>
                    <a:lnTo>
                      <a:pt x="91" y="115"/>
                    </a:lnTo>
                    <a:lnTo>
                      <a:pt x="90" y="116"/>
                    </a:lnTo>
                    <a:lnTo>
                      <a:pt x="88" y="115"/>
                    </a:lnTo>
                    <a:lnTo>
                      <a:pt x="88" y="113"/>
                    </a:lnTo>
                    <a:lnTo>
                      <a:pt x="84" y="110"/>
                    </a:lnTo>
                    <a:lnTo>
                      <a:pt x="80" y="115"/>
                    </a:lnTo>
                    <a:lnTo>
                      <a:pt x="78" y="113"/>
                    </a:lnTo>
                    <a:lnTo>
                      <a:pt x="77" y="112"/>
                    </a:lnTo>
                    <a:lnTo>
                      <a:pt x="75" y="113"/>
                    </a:lnTo>
                    <a:lnTo>
                      <a:pt x="72" y="112"/>
                    </a:lnTo>
                    <a:lnTo>
                      <a:pt x="71" y="110"/>
                    </a:lnTo>
                    <a:lnTo>
                      <a:pt x="69" y="112"/>
                    </a:lnTo>
                    <a:lnTo>
                      <a:pt x="67" y="112"/>
                    </a:lnTo>
                    <a:lnTo>
                      <a:pt x="65" y="113"/>
                    </a:lnTo>
                    <a:lnTo>
                      <a:pt x="64" y="115"/>
                    </a:lnTo>
                    <a:lnTo>
                      <a:pt x="62" y="113"/>
                    </a:lnTo>
                    <a:lnTo>
                      <a:pt x="62" y="110"/>
                    </a:lnTo>
                    <a:lnTo>
                      <a:pt x="58" y="112"/>
                    </a:lnTo>
                    <a:lnTo>
                      <a:pt x="56" y="110"/>
                    </a:lnTo>
                    <a:lnTo>
                      <a:pt x="55" y="107"/>
                    </a:lnTo>
                    <a:lnTo>
                      <a:pt x="49" y="104"/>
                    </a:lnTo>
                    <a:lnTo>
                      <a:pt x="48" y="106"/>
                    </a:lnTo>
                    <a:lnTo>
                      <a:pt x="40" y="104"/>
                    </a:lnTo>
                    <a:lnTo>
                      <a:pt x="37" y="101"/>
                    </a:lnTo>
                    <a:lnTo>
                      <a:pt x="30" y="101"/>
                    </a:lnTo>
                    <a:lnTo>
                      <a:pt x="29" y="101"/>
                    </a:lnTo>
                    <a:lnTo>
                      <a:pt x="16" y="103"/>
                    </a:lnTo>
                    <a:lnTo>
                      <a:pt x="16" y="106"/>
                    </a:lnTo>
                    <a:lnTo>
                      <a:pt x="14" y="107"/>
                    </a:lnTo>
                    <a:lnTo>
                      <a:pt x="10" y="109"/>
                    </a:lnTo>
                    <a:lnTo>
                      <a:pt x="8" y="109"/>
                    </a:lnTo>
                    <a:lnTo>
                      <a:pt x="6" y="109"/>
                    </a:lnTo>
                    <a:lnTo>
                      <a:pt x="4" y="11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07" name="Freeform 1283"/>
              <p:cNvSpPr>
                <a:spLocks/>
              </p:cNvSpPr>
              <p:nvPr/>
            </p:nvSpPr>
            <p:spPr bwMode="auto">
              <a:xfrm>
                <a:off x="6338420" y="2428839"/>
                <a:ext cx="73735" cy="41579"/>
              </a:xfrm>
              <a:custGeom>
                <a:avLst/>
                <a:gdLst/>
                <a:ahLst/>
                <a:cxnLst>
                  <a:cxn ang="0">
                    <a:pos x="74" y="26"/>
                  </a:cxn>
                  <a:cxn ang="0">
                    <a:pos x="71" y="26"/>
                  </a:cxn>
                  <a:cxn ang="0">
                    <a:pos x="67" y="23"/>
                  </a:cxn>
                  <a:cxn ang="0">
                    <a:pos x="62" y="22"/>
                  </a:cxn>
                  <a:cxn ang="0">
                    <a:pos x="59" y="23"/>
                  </a:cxn>
                  <a:cxn ang="0">
                    <a:pos x="55" y="23"/>
                  </a:cxn>
                  <a:cxn ang="0">
                    <a:pos x="51" y="25"/>
                  </a:cxn>
                  <a:cxn ang="0">
                    <a:pos x="49" y="28"/>
                  </a:cxn>
                  <a:cxn ang="0">
                    <a:pos x="43" y="31"/>
                  </a:cxn>
                  <a:cxn ang="0">
                    <a:pos x="39" y="29"/>
                  </a:cxn>
                  <a:cxn ang="0">
                    <a:pos x="27" y="34"/>
                  </a:cxn>
                  <a:cxn ang="0">
                    <a:pos x="23" y="39"/>
                  </a:cxn>
                  <a:cxn ang="0">
                    <a:pos x="13" y="39"/>
                  </a:cxn>
                  <a:cxn ang="0">
                    <a:pos x="4" y="32"/>
                  </a:cxn>
                  <a:cxn ang="0">
                    <a:pos x="0" y="23"/>
                  </a:cxn>
                  <a:cxn ang="0">
                    <a:pos x="4" y="18"/>
                  </a:cxn>
                  <a:cxn ang="0">
                    <a:pos x="6" y="18"/>
                  </a:cxn>
                  <a:cxn ang="0">
                    <a:pos x="7" y="19"/>
                  </a:cxn>
                  <a:cxn ang="0">
                    <a:pos x="10" y="19"/>
                  </a:cxn>
                  <a:cxn ang="0">
                    <a:pos x="14" y="16"/>
                  </a:cxn>
                  <a:cxn ang="0">
                    <a:pos x="14" y="15"/>
                  </a:cxn>
                  <a:cxn ang="0">
                    <a:pos x="16" y="13"/>
                  </a:cxn>
                  <a:cxn ang="0">
                    <a:pos x="17" y="12"/>
                  </a:cxn>
                  <a:cxn ang="0">
                    <a:pos x="17" y="9"/>
                  </a:cxn>
                  <a:cxn ang="0">
                    <a:pos x="19" y="7"/>
                  </a:cxn>
                  <a:cxn ang="0">
                    <a:pos x="20" y="6"/>
                  </a:cxn>
                  <a:cxn ang="0">
                    <a:pos x="23" y="3"/>
                  </a:cxn>
                  <a:cxn ang="0">
                    <a:pos x="26" y="3"/>
                  </a:cxn>
                  <a:cxn ang="0">
                    <a:pos x="27" y="2"/>
                  </a:cxn>
                  <a:cxn ang="0">
                    <a:pos x="32" y="3"/>
                  </a:cxn>
                  <a:cxn ang="0">
                    <a:pos x="36" y="0"/>
                  </a:cxn>
                  <a:cxn ang="0">
                    <a:pos x="43" y="7"/>
                  </a:cxn>
                  <a:cxn ang="0">
                    <a:pos x="45" y="7"/>
                  </a:cxn>
                  <a:cxn ang="0">
                    <a:pos x="48" y="7"/>
                  </a:cxn>
                  <a:cxn ang="0">
                    <a:pos x="49" y="5"/>
                  </a:cxn>
                  <a:cxn ang="0">
                    <a:pos x="55" y="5"/>
                  </a:cxn>
                  <a:cxn ang="0">
                    <a:pos x="58" y="6"/>
                  </a:cxn>
                  <a:cxn ang="0">
                    <a:pos x="62" y="3"/>
                  </a:cxn>
                  <a:cxn ang="0">
                    <a:pos x="69" y="3"/>
                  </a:cxn>
                  <a:cxn ang="0">
                    <a:pos x="77" y="9"/>
                  </a:cxn>
                  <a:cxn ang="0">
                    <a:pos x="80" y="10"/>
                  </a:cxn>
                  <a:cxn ang="0">
                    <a:pos x="74" y="26"/>
                  </a:cxn>
                </a:cxnLst>
                <a:rect l="0" t="0" r="r" b="b"/>
                <a:pathLst>
                  <a:path w="80" h="39">
                    <a:moveTo>
                      <a:pt x="74" y="26"/>
                    </a:moveTo>
                    <a:lnTo>
                      <a:pt x="71" y="26"/>
                    </a:lnTo>
                    <a:lnTo>
                      <a:pt x="67" y="23"/>
                    </a:lnTo>
                    <a:lnTo>
                      <a:pt x="62" y="22"/>
                    </a:lnTo>
                    <a:lnTo>
                      <a:pt x="59" y="23"/>
                    </a:lnTo>
                    <a:lnTo>
                      <a:pt x="55" y="23"/>
                    </a:lnTo>
                    <a:lnTo>
                      <a:pt x="51" y="25"/>
                    </a:lnTo>
                    <a:lnTo>
                      <a:pt x="49" y="28"/>
                    </a:lnTo>
                    <a:lnTo>
                      <a:pt x="43" y="31"/>
                    </a:lnTo>
                    <a:lnTo>
                      <a:pt x="39" y="29"/>
                    </a:lnTo>
                    <a:lnTo>
                      <a:pt x="27" y="34"/>
                    </a:lnTo>
                    <a:lnTo>
                      <a:pt x="23" y="39"/>
                    </a:lnTo>
                    <a:lnTo>
                      <a:pt x="13" y="39"/>
                    </a:lnTo>
                    <a:lnTo>
                      <a:pt x="4" y="32"/>
                    </a:lnTo>
                    <a:lnTo>
                      <a:pt x="0" y="23"/>
                    </a:lnTo>
                    <a:lnTo>
                      <a:pt x="4" y="18"/>
                    </a:lnTo>
                    <a:lnTo>
                      <a:pt x="6" y="18"/>
                    </a:lnTo>
                    <a:lnTo>
                      <a:pt x="7" y="19"/>
                    </a:lnTo>
                    <a:lnTo>
                      <a:pt x="10" y="19"/>
                    </a:lnTo>
                    <a:lnTo>
                      <a:pt x="14" y="16"/>
                    </a:lnTo>
                    <a:lnTo>
                      <a:pt x="14" y="15"/>
                    </a:lnTo>
                    <a:lnTo>
                      <a:pt x="16" y="13"/>
                    </a:lnTo>
                    <a:lnTo>
                      <a:pt x="17" y="12"/>
                    </a:lnTo>
                    <a:lnTo>
                      <a:pt x="17" y="9"/>
                    </a:lnTo>
                    <a:lnTo>
                      <a:pt x="19" y="7"/>
                    </a:lnTo>
                    <a:lnTo>
                      <a:pt x="20" y="6"/>
                    </a:lnTo>
                    <a:lnTo>
                      <a:pt x="23" y="3"/>
                    </a:lnTo>
                    <a:lnTo>
                      <a:pt x="26" y="3"/>
                    </a:lnTo>
                    <a:lnTo>
                      <a:pt x="27" y="2"/>
                    </a:lnTo>
                    <a:lnTo>
                      <a:pt x="32" y="3"/>
                    </a:lnTo>
                    <a:lnTo>
                      <a:pt x="36" y="0"/>
                    </a:lnTo>
                    <a:lnTo>
                      <a:pt x="43" y="7"/>
                    </a:lnTo>
                    <a:lnTo>
                      <a:pt x="45" y="7"/>
                    </a:lnTo>
                    <a:lnTo>
                      <a:pt x="48" y="7"/>
                    </a:lnTo>
                    <a:lnTo>
                      <a:pt x="49" y="5"/>
                    </a:lnTo>
                    <a:lnTo>
                      <a:pt x="55" y="5"/>
                    </a:lnTo>
                    <a:lnTo>
                      <a:pt x="58" y="6"/>
                    </a:lnTo>
                    <a:lnTo>
                      <a:pt x="62" y="3"/>
                    </a:lnTo>
                    <a:lnTo>
                      <a:pt x="69" y="3"/>
                    </a:lnTo>
                    <a:lnTo>
                      <a:pt x="77" y="9"/>
                    </a:lnTo>
                    <a:lnTo>
                      <a:pt x="80" y="10"/>
                    </a:lnTo>
                    <a:lnTo>
                      <a:pt x="74" y="26"/>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08" name="Freeform 1284"/>
              <p:cNvSpPr>
                <a:spLocks/>
              </p:cNvSpPr>
              <p:nvPr/>
            </p:nvSpPr>
            <p:spPr bwMode="auto">
              <a:xfrm>
                <a:off x="6338420" y="2428839"/>
                <a:ext cx="73735" cy="41579"/>
              </a:xfrm>
              <a:custGeom>
                <a:avLst/>
                <a:gdLst/>
                <a:ahLst/>
                <a:cxnLst>
                  <a:cxn ang="0">
                    <a:pos x="74" y="26"/>
                  </a:cxn>
                  <a:cxn ang="0">
                    <a:pos x="71" y="26"/>
                  </a:cxn>
                  <a:cxn ang="0">
                    <a:pos x="67" y="23"/>
                  </a:cxn>
                  <a:cxn ang="0">
                    <a:pos x="62" y="22"/>
                  </a:cxn>
                  <a:cxn ang="0">
                    <a:pos x="59" y="23"/>
                  </a:cxn>
                  <a:cxn ang="0">
                    <a:pos x="55" y="23"/>
                  </a:cxn>
                  <a:cxn ang="0">
                    <a:pos x="51" y="25"/>
                  </a:cxn>
                  <a:cxn ang="0">
                    <a:pos x="49" y="28"/>
                  </a:cxn>
                  <a:cxn ang="0">
                    <a:pos x="43" y="31"/>
                  </a:cxn>
                  <a:cxn ang="0">
                    <a:pos x="39" y="29"/>
                  </a:cxn>
                  <a:cxn ang="0">
                    <a:pos x="27" y="34"/>
                  </a:cxn>
                  <a:cxn ang="0">
                    <a:pos x="23" y="39"/>
                  </a:cxn>
                  <a:cxn ang="0">
                    <a:pos x="13" y="39"/>
                  </a:cxn>
                  <a:cxn ang="0">
                    <a:pos x="4" y="32"/>
                  </a:cxn>
                  <a:cxn ang="0">
                    <a:pos x="0" y="23"/>
                  </a:cxn>
                  <a:cxn ang="0">
                    <a:pos x="4" y="18"/>
                  </a:cxn>
                  <a:cxn ang="0">
                    <a:pos x="6" y="18"/>
                  </a:cxn>
                  <a:cxn ang="0">
                    <a:pos x="7" y="19"/>
                  </a:cxn>
                  <a:cxn ang="0">
                    <a:pos x="10" y="19"/>
                  </a:cxn>
                  <a:cxn ang="0">
                    <a:pos x="14" y="16"/>
                  </a:cxn>
                  <a:cxn ang="0">
                    <a:pos x="14" y="15"/>
                  </a:cxn>
                  <a:cxn ang="0">
                    <a:pos x="16" y="13"/>
                  </a:cxn>
                  <a:cxn ang="0">
                    <a:pos x="17" y="12"/>
                  </a:cxn>
                  <a:cxn ang="0">
                    <a:pos x="17" y="9"/>
                  </a:cxn>
                  <a:cxn ang="0">
                    <a:pos x="19" y="7"/>
                  </a:cxn>
                  <a:cxn ang="0">
                    <a:pos x="20" y="6"/>
                  </a:cxn>
                  <a:cxn ang="0">
                    <a:pos x="23" y="3"/>
                  </a:cxn>
                  <a:cxn ang="0">
                    <a:pos x="26" y="3"/>
                  </a:cxn>
                  <a:cxn ang="0">
                    <a:pos x="27" y="2"/>
                  </a:cxn>
                  <a:cxn ang="0">
                    <a:pos x="32" y="3"/>
                  </a:cxn>
                  <a:cxn ang="0">
                    <a:pos x="36" y="0"/>
                  </a:cxn>
                  <a:cxn ang="0">
                    <a:pos x="43" y="7"/>
                  </a:cxn>
                  <a:cxn ang="0">
                    <a:pos x="45" y="7"/>
                  </a:cxn>
                  <a:cxn ang="0">
                    <a:pos x="48" y="7"/>
                  </a:cxn>
                  <a:cxn ang="0">
                    <a:pos x="49" y="5"/>
                  </a:cxn>
                  <a:cxn ang="0">
                    <a:pos x="55" y="5"/>
                  </a:cxn>
                  <a:cxn ang="0">
                    <a:pos x="58" y="6"/>
                  </a:cxn>
                  <a:cxn ang="0">
                    <a:pos x="62" y="3"/>
                  </a:cxn>
                  <a:cxn ang="0">
                    <a:pos x="69" y="3"/>
                  </a:cxn>
                  <a:cxn ang="0">
                    <a:pos x="77" y="9"/>
                  </a:cxn>
                  <a:cxn ang="0">
                    <a:pos x="80" y="10"/>
                  </a:cxn>
                  <a:cxn ang="0">
                    <a:pos x="74" y="26"/>
                  </a:cxn>
                </a:cxnLst>
                <a:rect l="0" t="0" r="r" b="b"/>
                <a:pathLst>
                  <a:path w="80" h="39">
                    <a:moveTo>
                      <a:pt x="74" y="26"/>
                    </a:moveTo>
                    <a:lnTo>
                      <a:pt x="71" y="26"/>
                    </a:lnTo>
                    <a:lnTo>
                      <a:pt x="67" y="23"/>
                    </a:lnTo>
                    <a:lnTo>
                      <a:pt x="62" y="22"/>
                    </a:lnTo>
                    <a:lnTo>
                      <a:pt x="59" y="23"/>
                    </a:lnTo>
                    <a:lnTo>
                      <a:pt x="55" y="23"/>
                    </a:lnTo>
                    <a:lnTo>
                      <a:pt x="51" y="25"/>
                    </a:lnTo>
                    <a:lnTo>
                      <a:pt x="49" y="28"/>
                    </a:lnTo>
                    <a:lnTo>
                      <a:pt x="43" y="31"/>
                    </a:lnTo>
                    <a:lnTo>
                      <a:pt x="39" y="29"/>
                    </a:lnTo>
                    <a:lnTo>
                      <a:pt x="27" y="34"/>
                    </a:lnTo>
                    <a:lnTo>
                      <a:pt x="23" y="39"/>
                    </a:lnTo>
                    <a:lnTo>
                      <a:pt x="13" y="39"/>
                    </a:lnTo>
                    <a:lnTo>
                      <a:pt x="4" y="32"/>
                    </a:lnTo>
                    <a:lnTo>
                      <a:pt x="0" y="23"/>
                    </a:lnTo>
                    <a:lnTo>
                      <a:pt x="4" y="18"/>
                    </a:lnTo>
                    <a:lnTo>
                      <a:pt x="6" y="18"/>
                    </a:lnTo>
                    <a:lnTo>
                      <a:pt x="7" y="19"/>
                    </a:lnTo>
                    <a:lnTo>
                      <a:pt x="10" y="19"/>
                    </a:lnTo>
                    <a:lnTo>
                      <a:pt x="14" y="16"/>
                    </a:lnTo>
                    <a:lnTo>
                      <a:pt x="14" y="15"/>
                    </a:lnTo>
                    <a:lnTo>
                      <a:pt x="16" y="13"/>
                    </a:lnTo>
                    <a:lnTo>
                      <a:pt x="17" y="12"/>
                    </a:lnTo>
                    <a:lnTo>
                      <a:pt x="17" y="9"/>
                    </a:lnTo>
                    <a:lnTo>
                      <a:pt x="19" y="7"/>
                    </a:lnTo>
                    <a:lnTo>
                      <a:pt x="20" y="6"/>
                    </a:lnTo>
                    <a:lnTo>
                      <a:pt x="23" y="3"/>
                    </a:lnTo>
                    <a:lnTo>
                      <a:pt x="26" y="3"/>
                    </a:lnTo>
                    <a:lnTo>
                      <a:pt x="27" y="2"/>
                    </a:lnTo>
                    <a:lnTo>
                      <a:pt x="32" y="3"/>
                    </a:lnTo>
                    <a:lnTo>
                      <a:pt x="36" y="0"/>
                    </a:lnTo>
                    <a:lnTo>
                      <a:pt x="43" y="7"/>
                    </a:lnTo>
                    <a:lnTo>
                      <a:pt x="45" y="7"/>
                    </a:lnTo>
                    <a:lnTo>
                      <a:pt x="48" y="7"/>
                    </a:lnTo>
                    <a:lnTo>
                      <a:pt x="49" y="5"/>
                    </a:lnTo>
                    <a:lnTo>
                      <a:pt x="55" y="5"/>
                    </a:lnTo>
                    <a:lnTo>
                      <a:pt x="58" y="6"/>
                    </a:lnTo>
                    <a:lnTo>
                      <a:pt x="62" y="3"/>
                    </a:lnTo>
                    <a:lnTo>
                      <a:pt x="69" y="3"/>
                    </a:lnTo>
                    <a:lnTo>
                      <a:pt x="77" y="9"/>
                    </a:lnTo>
                    <a:lnTo>
                      <a:pt x="80" y="10"/>
                    </a:lnTo>
                    <a:lnTo>
                      <a:pt x="74" y="2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09" name="Freeform 1285"/>
              <p:cNvSpPr>
                <a:spLocks/>
              </p:cNvSpPr>
              <p:nvPr/>
            </p:nvSpPr>
            <p:spPr bwMode="auto">
              <a:xfrm>
                <a:off x="6242739" y="2478531"/>
                <a:ext cx="4389" cy="8113"/>
              </a:xfrm>
              <a:custGeom>
                <a:avLst/>
                <a:gdLst/>
                <a:ahLst/>
                <a:cxnLst>
                  <a:cxn ang="0">
                    <a:pos x="3" y="8"/>
                  </a:cxn>
                  <a:cxn ang="0">
                    <a:pos x="5" y="7"/>
                  </a:cxn>
                  <a:cxn ang="0">
                    <a:pos x="3" y="1"/>
                  </a:cxn>
                  <a:cxn ang="0">
                    <a:pos x="2" y="0"/>
                  </a:cxn>
                  <a:cxn ang="0">
                    <a:pos x="0" y="6"/>
                  </a:cxn>
                  <a:cxn ang="0">
                    <a:pos x="3" y="8"/>
                  </a:cxn>
                </a:cxnLst>
                <a:rect l="0" t="0" r="r" b="b"/>
                <a:pathLst>
                  <a:path w="5" h="8">
                    <a:moveTo>
                      <a:pt x="3" y="8"/>
                    </a:moveTo>
                    <a:lnTo>
                      <a:pt x="5" y="7"/>
                    </a:lnTo>
                    <a:lnTo>
                      <a:pt x="3" y="1"/>
                    </a:lnTo>
                    <a:lnTo>
                      <a:pt x="2" y="0"/>
                    </a:lnTo>
                    <a:lnTo>
                      <a:pt x="0" y="6"/>
                    </a:lnTo>
                    <a:lnTo>
                      <a:pt x="3" y="8"/>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10" name="Freeform 1286"/>
              <p:cNvSpPr>
                <a:spLocks/>
              </p:cNvSpPr>
              <p:nvPr/>
            </p:nvSpPr>
            <p:spPr bwMode="auto">
              <a:xfrm>
                <a:off x="6242739" y="2478531"/>
                <a:ext cx="4389" cy="8113"/>
              </a:xfrm>
              <a:custGeom>
                <a:avLst/>
                <a:gdLst/>
                <a:ahLst/>
                <a:cxnLst>
                  <a:cxn ang="0">
                    <a:pos x="3" y="8"/>
                  </a:cxn>
                  <a:cxn ang="0">
                    <a:pos x="5" y="7"/>
                  </a:cxn>
                  <a:cxn ang="0">
                    <a:pos x="3" y="1"/>
                  </a:cxn>
                  <a:cxn ang="0">
                    <a:pos x="2" y="0"/>
                  </a:cxn>
                  <a:cxn ang="0">
                    <a:pos x="0" y="6"/>
                  </a:cxn>
                  <a:cxn ang="0">
                    <a:pos x="3" y="8"/>
                  </a:cxn>
                </a:cxnLst>
                <a:rect l="0" t="0" r="r" b="b"/>
                <a:pathLst>
                  <a:path w="5" h="8">
                    <a:moveTo>
                      <a:pt x="3" y="8"/>
                    </a:moveTo>
                    <a:lnTo>
                      <a:pt x="5" y="7"/>
                    </a:lnTo>
                    <a:lnTo>
                      <a:pt x="3" y="1"/>
                    </a:lnTo>
                    <a:lnTo>
                      <a:pt x="2" y="0"/>
                    </a:lnTo>
                    <a:lnTo>
                      <a:pt x="0" y="6"/>
                    </a:lnTo>
                    <a:lnTo>
                      <a:pt x="3" y="8"/>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11" name="Freeform 1287"/>
              <p:cNvSpPr>
                <a:spLocks/>
              </p:cNvSpPr>
              <p:nvPr/>
            </p:nvSpPr>
            <p:spPr bwMode="auto">
              <a:xfrm>
                <a:off x="6581570" y="2680344"/>
                <a:ext cx="93047" cy="91272"/>
              </a:xfrm>
              <a:custGeom>
                <a:avLst/>
                <a:gdLst/>
                <a:ahLst/>
                <a:cxnLst>
                  <a:cxn ang="0">
                    <a:pos x="79" y="50"/>
                  </a:cxn>
                  <a:cxn ang="0">
                    <a:pos x="83" y="16"/>
                  </a:cxn>
                  <a:cxn ang="0">
                    <a:pos x="96" y="5"/>
                  </a:cxn>
                  <a:cxn ang="0">
                    <a:pos x="98" y="3"/>
                  </a:cxn>
                  <a:cxn ang="0">
                    <a:pos x="98" y="0"/>
                  </a:cxn>
                  <a:cxn ang="0">
                    <a:pos x="96" y="0"/>
                  </a:cxn>
                  <a:cxn ang="0">
                    <a:pos x="90" y="3"/>
                  </a:cxn>
                  <a:cxn ang="0">
                    <a:pos x="77" y="3"/>
                  </a:cxn>
                  <a:cxn ang="0">
                    <a:pos x="67" y="8"/>
                  </a:cxn>
                  <a:cxn ang="0">
                    <a:pos x="63" y="9"/>
                  </a:cxn>
                  <a:cxn ang="0">
                    <a:pos x="47" y="11"/>
                  </a:cxn>
                  <a:cxn ang="0">
                    <a:pos x="43" y="6"/>
                  </a:cxn>
                  <a:cxn ang="0">
                    <a:pos x="31" y="11"/>
                  </a:cxn>
                  <a:cxn ang="0">
                    <a:pos x="25" y="11"/>
                  </a:cxn>
                  <a:cxn ang="0">
                    <a:pos x="22" y="11"/>
                  </a:cxn>
                  <a:cxn ang="0">
                    <a:pos x="22" y="11"/>
                  </a:cxn>
                  <a:cxn ang="0">
                    <a:pos x="21" y="9"/>
                  </a:cxn>
                  <a:cxn ang="0">
                    <a:pos x="18" y="8"/>
                  </a:cxn>
                  <a:cxn ang="0">
                    <a:pos x="16" y="12"/>
                  </a:cxn>
                  <a:cxn ang="0">
                    <a:pos x="15" y="15"/>
                  </a:cxn>
                  <a:cxn ang="0">
                    <a:pos x="18" y="19"/>
                  </a:cxn>
                  <a:cxn ang="0">
                    <a:pos x="15" y="19"/>
                  </a:cxn>
                  <a:cxn ang="0">
                    <a:pos x="13" y="24"/>
                  </a:cxn>
                  <a:cxn ang="0">
                    <a:pos x="11" y="25"/>
                  </a:cxn>
                  <a:cxn ang="0">
                    <a:pos x="8" y="25"/>
                  </a:cxn>
                  <a:cxn ang="0">
                    <a:pos x="6" y="24"/>
                  </a:cxn>
                  <a:cxn ang="0">
                    <a:pos x="5" y="31"/>
                  </a:cxn>
                  <a:cxn ang="0">
                    <a:pos x="8" y="35"/>
                  </a:cxn>
                  <a:cxn ang="0">
                    <a:pos x="6" y="43"/>
                  </a:cxn>
                  <a:cxn ang="0">
                    <a:pos x="12" y="45"/>
                  </a:cxn>
                  <a:cxn ang="0">
                    <a:pos x="13" y="45"/>
                  </a:cxn>
                  <a:cxn ang="0">
                    <a:pos x="15" y="45"/>
                  </a:cxn>
                  <a:cxn ang="0">
                    <a:pos x="15" y="47"/>
                  </a:cxn>
                  <a:cxn ang="0">
                    <a:pos x="13" y="48"/>
                  </a:cxn>
                  <a:cxn ang="0">
                    <a:pos x="13" y="48"/>
                  </a:cxn>
                  <a:cxn ang="0">
                    <a:pos x="15" y="50"/>
                  </a:cxn>
                  <a:cxn ang="0">
                    <a:pos x="16" y="51"/>
                  </a:cxn>
                  <a:cxn ang="0">
                    <a:pos x="16" y="54"/>
                  </a:cxn>
                  <a:cxn ang="0">
                    <a:pos x="16" y="54"/>
                  </a:cxn>
                  <a:cxn ang="0">
                    <a:pos x="16" y="56"/>
                  </a:cxn>
                  <a:cxn ang="0">
                    <a:pos x="13" y="57"/>
                  </a:cxn>
                  <a:cxn ang="0">
                    <a:pos x="12" y="59"/>
                  </a:cxn>
                  <a:cxn ang="0">
                    <a:pos x="13" y="60"/>
                  </a:cxn>
                  <a:cxn ang="0">
                    <a:pos x="13" y="61"/>
                  </a:cxn>
                  <a:cxn ang="0">
                    <a:pos x="12" y="61"/>
                  </a:cxn>
                  <a:cxn ang="0">
                    <a:pos x="8" y="63"/>
                  </a:cxn>
                  <a:cxn ang="0">
                    <a:pos x="6" y="64"/>
                  </a:cxn>
                  <a:cxn ang="0">
                    <a:pos x="8" y="64"/>
                  </a:cxn>
                  <a:cxn ang="0">
                    <a:pos x="8" y="66"/>
                  </a:cxn>
                  <a:cxn ang="0">
                    <a:pos x="5" y="70"/>
                  </a:cxn>
                  <a:cxn ang="0">
                    <a:pos x="2" y="72"/>
                  </a:cxn>
                  <a:cxn ang="0">
                    <a:pos x="0" y="75"/>
                  </a:cxn>
                  <a:cxn ang="0">
                    <a:pos x="0" y="77"/>
                  </a:cxn>
                  <a:cxn ang="0">
                    <a:pos x="0" y="80"/>
                  </a:cxn>
                  <a:cxn ang="0">
                    <a:pos x="5" y="80"/>
                  </a:cxn>
                  <a:cxn ang="0">
                    <a:pos x="12" y="86"/>
                  </a:cxn>
                  <a:cxn ang="0">
                    <a:pos x="16" y="86"/>
                  </a:cxn>
                </a:cxnLst>
                <a:rect l="0" t="0" r="r" b="b"/>
                <a:pathLst>
                  <a:path w="101" h="88">
                    <a:moveTo>
                      <a:pt x="48" y="69"/>
                    </a:moveTo>
                    <a:lnTo>
                      <a:pt x="79" y="50"/>
                    </a:lnTo>
                    <a:lnTo>
                      <a:pt x="82" y="44"/>
                    </a:lnTo>
                    <a:lnTo>
                      <a:pt x="83" y="16"/>
                    </a:lnTo>
                    <a:lnTo>
                      <a:pt x="92" y="14"/>
                    </a:lnTo>
                    <a:lnTo>
                      <a:pt x="96" y="5"/>
                    </a:lnTo>
                    <a:lnTo>
                      <a:pt x="101" y="3"/>
                    </a:lnTo>
                    <a:lnTo>
                      <a:pt x="98" y="3"/>
                    </a:lnTo>
                    <a:lnTo>
                      <a:pt x="98" y="2"/>
                    </a:lnTo>
                    <a:lnTo>
                      <a:pt x="98" y="0"/>
                    </a:lnTo>
                    <a:lnTo>
                      <a:pt x="98" y="0"/>
                    </a:lnTo>
                    <a:lnTo>
                      <a:pt x="96" y="0"/>
                    </a:lnTo>
                    <a:lnTo>
                      <a:pt x="95" y="2"/>
                    </a:lnTo>
                    <a:lnTo>
                      <a:pt x="90" y="3"/>
                    </a:lnTo>
                    <a:lnTo>
                      <a:pt x="80" y="5"/>
                    </a:lnTo>
                    <a:lnTo>
                      <a:pt x="77" y="3"/>
                    </a:lnTo>
                    <a:lnTo>
                      <a:pt x="72" y="5"/>
                    </a:lnTo>
                    <a:lnTo>
                      <a:pt x="67" y="8"/>
                    </a:lnTo>
                    <a:lnTo>
                      <a:pt x="64" y="9"/>
                    </a:lnTo>
                    <a:lnTo>
                      <a:pt x="63" y="9"/>
                    </a:lnTo>
                    <a:lnTo>
                      <a:pt x="54" y="12"/>
                    </a:lnTo>
                    <a:lnTo>
                      <a:pt x="47" y="11"/>
                    </a:lnTo>
                    <a:lnTo>
                      <a:pt x="44" y="8"/>
                    </a:lnTo>
                    <a:lnTo>
                      <a:pt x="43" y="6"/>
                    </a:lnTo>
                    <a:lnTo>
                      <a:pt x="38" y="8"/>
                    </a:lnTo>
                    <a:lnTo>
                      <a:pt x="31" y="11"/>
                    </a:lnTo>
                    <a:lnTo>
                      <a:pt x="29" y="12"/>
                    </a:lnTo>
                    <a:lnTo>
                      <a:pt x="25" y="11"/>
                    </a:lnTo>
                    <a:lnTo>
                      <a:pt x="24" y="12"/>
                    </a:lnTo>
                    <a:lnTo>
                      <a:pt x="22" y="11"/>
                    </a:lnTo>
                    <a:lnTo>
                      <a:pt x="22" y="11"/>
                    </a:lnTo>
                    <a:lnTo>
                      <a:pt x="22" y="11"/>
                    </a:lnTo>
                    <a:lnTo>
                      <a:pt x="22" y="11"/>
                    </a:lnTo>
                    <a:lnTo>
                      <a:pt x="21" y="9"/>
                    </a:lnTo>
                    <a:lnTo>
                      <a:pt x="19" y="9"/>
                    </a:lnTo>
                    <a:lnTo>
                      <a:pt x="18" y="8"/>
                    </a:lnTo>
                    <a:lnTo>
                      <a:pt x="16" y="11"/>
                    </a:lnTo>
                    <a:lnTo>
                      <a:pt x="16" y="12"/>
                    </a:lnTo>
                    <a:lnTo>
                      <a:pt x="16" y="12"/>
                    </a:lnTo>
                    <a:lnTo>
                      <a:pt x="15" y="15"/>
                    </a:lnTo>
                    <a:lnTo>
                      <a:pt x="18" y="18"/>
                    </a:lnTo>
                    <a:lnTo>
                      <a:pt x="18" y="19"/>
                    </a:lnTo>
                    <a:lnTo>
                      <a:pt x="18" y="19"/>
                    </a:lnTo>
                    <a:lnTo>
                      <a:pt x="15" y="19"/>
                    </a:lnTo>
                    <a:lnTo>
                      <a:pt x="13" y="19"/>
                    </a:lnTo>
                    <a:lnTo>
                      <a:pt x="13" y="24"/>
                    </a:lnTo>
                    <a:lnTo>
                      <a:pt x="12" y="24"/>
                    </a:lnTo>
                    <a:lnTo>
                      <a:pt x="11" y="25"/>
                    </a:lnTo>
                    <a:lnTo>
                      <a:pt x="11" y="27"/>
                    </a:lnTo>
                    <a:lnTo>
                      <a:pt x="8" y="25"/>
                    </a:lnTo>
                    <a:lnTo>
                      <a:pt x="8" y="24"/>
                    </a:lnTo>
                    <a:lnTo>
                      <a:pt x="6" y="24"/>
                    </a:lnTo>
                    <a:lnTo>
                      <a:pt x="6" y="27"/>
                    </a:lnTo>
                    <a:lnTo>
                      <a:pt x="5" y="31"/>
                    </a:lnTo>
                    <a:lnTo>
                      <a:pt x="6" y="32"/>
                    </a:lnTo>
                    <a:lnTo>
                      <a:pt x="8" y="35"/>
                    </a:lnTo>
                    <a:lnTo>
                      <a:pt x="8" y="40"/>
                    </a:lnTo>
                    <a:lnTo>
                      <a:pt x="6" y="43"/>
                    </a:lnTo>
                    <a:lnTo>
                      <a:pt x="8" y="45"/>
                    </a:lnTo>
                    <a:lnTo>
                      <a:pt x="12" y="45"/>
                    </a:lnTo>
                    <a:lnTo>
                      <a:pt x="12" y="45"/>
                    </a:lnTo>
                    <a:lnTo>
                      <a:pt x="13" y="45"/>
                    </a:lnTo>
                    <a:lnTo>
                      <a:pt x="13" y="45"/>
                    </a:lnTo>
                    <a:lnTo>
                      <a:pt x="15" y="45"/>
                    </a:lnTo>
                    <a:lnTo>
                      <a:pt x="15" y="47"/>
                    </a:lnTo>
                    <a:lnTo>
                      <a:pt x="15" y="47"/>
                    </a:lnTo>
                    <a:lnTo>
                      <a:pt x="13" y="47"/>
                    </a:lnTo>
                    <a:lnTo>
                      <a:pt x="13" y="48"/>
                    </a:lnTo>
                    <a:lnTo>
                      <a:pt x="13" y="48"/>
                    </a:lnTo>
                    <a:lnTo>
                      <a:pt x="13" y="48"/>
                    </a:lnTo>
                    <a:lnTo>
                      <a:pt x="15" y="48"/>
                    </a:lnTo>
                    <a:lnTo>
                      <a:pt x="15" y="50"/>
                    </a:lnTo>
                    <a:lnTo>
                      <a:pt x="16" y="50"/>
                    </a:lnTo>
                    <a:lnTo>
                      <a:pt x="16" y="51"/>
                    </a:lnTo>
                    <a:lnTo>
                      <a:pt x="16" y="53"/>
                    </a:lnTo>
                    <a:lnTo>
                      <a:pt x="16" y="54"/>
                    </a:lnTo>
                    <a:lnTo>
                      <a:pt x="18" y="54"/>
                    </a:lnTo>
                    <a:lnTo>
                      <a:pt x="16" y="54"/>
                    </a:lnTo>
                    <a:lnTo>
                      <a:pt x="16" y="56"/>
                    </a:lnTo>
                    <a:lnTo>
                      <a:pt x="16" y="56"/>
                    </a:lnTo>
                    <a:lnTo>
                      <a:pt x="15" y="57"/>
                    </a:lnTo>
                    <a:lnTo>
                      <a:pt x="13" y="57"/>
                    </a:lnTo>
                    <a:lnTo>
                      <a:pt x="13" y="59"/>
                    </a:lnTo>
                    <a:lnTo>
                      <a:pt x="12" y="59"/>
                    </a:lnTo>
                    <a:lnTo>
                      <a:pt x="12" y="60"/>
                    </a:lnTo>
                    <a:lnTo>
                      <a:pt x="13" y="60"/>
                    </a:lnTo>
                    <a:lnTo>
                      <a:pt x="13" y="61"/>
                    </a:lnTo>
                    <a:lnTo>
                      <a:pt x="13" y="61"/>
                    </a:lnTo>
                    <a:lnTo>
                      <a:pt x="13" y="61"/>
                    </a:lnTo>
                    <a:lnTo>
                      <a:pt x="12" y="61"/>
                    </a:lnTo>
                    <a:lnTo>
                      <a:pt x="9" y="61"/>
                    </a:lnTo>
                    <a:lnTo>
                      <a:pt x="8" y="63"/>
                    </a:lnTo>
                    <a:lnTo>
                      <a:pt x="8" y="63"/>
                    </a:lnTo>
                    <a:lnTo>
                      <a:pt x="6" y="64"/>
                    </a:lnTo>
                    <a:lnTo>
                      <a:pt x="6" y="64"/>
                    </a:lnTo>
                    <a:lnTo>
                      <a:pt x="8" y="64"/>
                    </a:lnTo>
                    <a:lnTo>
                      <a:pt x="8" y="66"/>
                    </a:lnTo>
                    <a:lnTo>
                      <a:pt x="8" y="66"/>
                    </a:lnTo>
                    <a:lnTo>
                      <a:pt x="5" y="69"/>
                    </a:lnTo>
                    <a:lnTo>
                      <a:pt x="5" y="70"/>
                    </a:lnTo>
                    <a:lnTo>
                      <a:pt x="3" y="70"/>
                    </a:lnTo>
                    <a:lnTo>
                      <a:pt x="2" y="72"/>
                    </a:lnTo>
                    <a:lnTo>
                      <a:pt x="2" y="75"/>
                    </a:lnTo>
                    <a:lnTo>
                      <a:pt x="0" y="75"/>
                    </a:lnTo>
                    <a:lnTo>
                      <a:pt x="0" y="76"/>
                    </a:lnTo>
                    <a:lnTo>
                      <a:pt x="0" y="77"/>
                    </a:lnTo>
                    <a:lnTo>
                      <a:pt x="2" y="79"/>
                    </a:lnTo>
                    <a:lnTo>
                      <a:pt x="0" y="80"/>
                    </a:lnTo>
                    <a:lnTo>
                      <a:pt x="3" y="80"/>
                    </a:lnTo>
                    <a:lnTo>
                      <a:pt x="5" y="80"/>
                    </a:lnTo>
                    <a:lnTo>
                      <a:pt x="6" y="83"/>
                    </a:lnTo>
                    <a:lnTo>
                      <a:pt x="12" y="86"/>
                    </a:lnTo>
                    <a:lnTo>
                      <a:pt x="15" y="88"/>
                    </a:lnTo>
                    <a:lnTo>
                      <a:pt x="16" y="86"/>
                    </a:lnTo>
                    <a:lnTo>
                      <a:pt x="48" y="69"/>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12" name="Freeform 1288"/>
              <p:cNvSpPr>
                <a:spLocks/>
              </p:cNvSpPr>
              <p:nvPr/>
            </p:nvSpPr>
            <p:spPr bwMode="auto">
              <a:xfrm>
                <a:off x="6581570" y="2680344"/>
                <a:ext cx="93047" cy="91272"/>
              </a:xfrm>
              <a:custGeom>
                <a:avLst/>
                <a:gdLst/>
                <a:ahLst/>
                <a:cxnLst>
                  <a:cxn ang="0">
                    <a:pos x="79" y="50"/>
                  </a:cxn>
                  <a:cxn ang="0">
                    <a:pos x="83" y="16"/>
                  </a:cxn>
                  <a:cxn ang="0">
                    <a:pos x="96" y="5"/>
                  </a:cxn>
                  <a:cxn ang="0">
                    <a:pos x="98" y="3"/>
                  </a:cxn>
                  <a:cxn ang="0">
                    <a:pos x="98" y="0"/>
                  </a:cxn>
                  <a:cxn ang="0">
                    <a:pos x="96" y="0"/>
                  </a:cxn>
                  <a:cxn ang="0">
                    <a:pos x="90" y="3"/>
                  </a:cxn>
                  <a:cxn ang="0">
                    <a:pos x="77" y="3"/>
                  </a:cxn>
                  <a:cxn ang="0">
                    <a:pos x="67" y="8"/>
                  </a:cxn>
                  <a:cxn ang="0">
                    <a:pos x="63" y="9"/>
                  </a:cxn>
                  <a:cxn ang="0">
                    <a:pos x="47" y="11"/>
                  </a:cxn>
                  <a:cxn ang="0">
                    <a:pos x="43" y="6"/>
                  </a:cxn>
                  <a:cxn ang="0">
                    <a:pos x="31" y="11"/>
                  </a:cxn>
                  <a:cxn ang="0">
                    <a:pos x="25" y="11"/>
                  </a:cxn>
                  <a:cxn ang="0">
                    <a:pos x="22" y="11"/>
                  </a:cxn>
                  <a:cxn ang="0">
                    <a:pos x="22" y="11"/>
                  </a:cxn>
                  <a:cxn ang="0">
                    <a:pos x="21" y="9"/>
                  </a:cxn>
                  <a:cxn ang="0">
                    <a:pos x="18" y="8"/>
                  </a:cxn>
                  <a:cxn ang="0">
                    <a:pos x="16" y="12"/>
                  </a:cxn>
                  <a:cxn ang="0">
                    <a:pos x="15" y="15"/>
                  </a:cxn>
                  <a:cxn ang="0">
                    <a:pos x="18" y="19"/>
                  </a:cxn>
                  <a:cxn ang="0">
                    <a:pos x="15" y="19"/>
                  </a:cxn>
                  <a:cxn ang="0">
                    <a:pos x="13" y="24"/>
                  </a:cxn>
                  <a:cxn ang="0">
                    <a:pos x="11" y="25"/>
                  </a:cxn>
                  <a:cxn ang="0">
                    <a:pos x="8" y="25"/>
                  </a:cxn>
                  <a:cxn ang="0">
                    <a:pos x="6" y="24"/>
                  </a:cxn>
                  <a:cxn ang="0">
                    <a:pos x="5" y="31"/>
                  </a:cxn>
                  <a:cxn ang="0">
                    <a:pos x="8" y="35"/>
                  </a:cxn>
                  <a:cxn ang="0">
                    <a:pos x="6" y="43"/>
                  </a:cxn>
                  <a:cxn ang="0">
                    <a:pos x="12" y="45"/>
                  </a:cxn>
                  <a:cxn ang="0">
                    <a:pos x="13" y="45"/>
                  </a:cxn>
                  <a:cxn ang="0">
                    <a:pos x="15" y="45"/>
                  </a:cxn>
                  <a:cxn ang="0">
                    <a:pos x="15" y="47"/>
                  </a:cxn>
                  <a:cxn ang="0">
                    <a:pos x="13" y="48"/>
                  </a:cxn>
                  <a:cxn ang="0">
                    <a:pos x="13" y="48"/>
                  </a:cxn>
                  <a:cxn ang="0">
                    <a:pos x="15" y="50"/>
                  </a:cxn>
                  <a:cxn ang="0">
                    <a:pos x="16" y="51"/>
                  </a:cxn>
                  <a:cxn ang="0">
                    <a:pos x="16" y="54"/>
                  </a:cxn>
                  <a:cxn ang="0">
                    <a:pos x="16" y="54"/>
                  </a:cxn>
                  <a:cxn ang="0">
                    <a:pos x="16" y="56"/>
                  </a:cxn>
                  <a:cxn ang="0">
                    <a:pos x="13" y="57"/>
                  </a:cxn>
                  <a:cxn ang="0">
                    <a:pos x="12" y="59"/>
                  </a:cxn>
                  <a:cxn ang="0">
                    <a:pos x="13" y="60"/>
                  </a:cxn>
                  <a:cxn ang="0">
                    <a:pos x="13" y="61"/>
                  </a:cxn>
                  <a:cxn ang="0">
                    <a:pos x="12" y="61"/>
                  </a:cxn>
                  <a:cxn ang="0">
                    <a:pos x="8" y="63"/>
                  </a:cxn>
                  <a:cxn ang="0">
                    <a:pos x="6" y="64"/>
                  </a:cxn>
                  <a:cxn ang="0">
                    <a:pos x="8" y="64"/>
                  </a:cxn>
                  <a:cxn ang="0">
                    <a:pos x="8" y="66"/>
                  </a:cxn>
                  <a:cxn ang="0">
                    <a:pos x="5" y="70"/>
                  </a:cxn>
                  <a:cxn ang="0">
                    <a:pos x="2" y="72"/>
                  </a:cxn>
                  <a:cxn ang="0">
                    <a:pos x="0" y="75"/>
                  </a:cxn>
                  <a:cxn ang="0">
                    <a:pos x="0" y="77"/>
                  </a:cxn>
                  <a:cxn ang="0">
                    <a:pos x="0" y="80"/>
                  </a:cxn>
                  <a:cxn ang="0">
                    <a:pos x="5" y="80"/>
                  </a:cxn>
                  <a:cxn ang="0">
                    <a:pos x="12" y="86"/>
                  </a:cxn>
                  <a:cxn ang="0">
                    <a:pos x="16" y="86"/>
                  </a:cxn>
                </a:cxnLst>
                <a:rect l="0" t="0" r="r" b="b"/>
                <a:pathLst>
                  <a:path w="101" h="88">
                    <a:moveTo>
                      <a:pt x="48" y="69"/>
                    </a:moveTo>
                    <a:lnTo>
                      <a:pt x="79" y="50"/>
                    </a:lnTo>
                    <a:lnTo>
                      <a:pt x="82" y="44"/>
                    </a:lnTo>
                    <a:lnTo>
                      <a:pt x="83" y="16"/>
                    </a:lnTo>
                    <a:lnTo>
                      <a:pt x="92" y="14"/>
                    </a:lnTo>
                    <a:lnTo>
                      <a:pt x="96" y="5"/>
                    </a:lnTo>
                    <a:lnTo>
                      <a:pt x="101" y="3"/>
                    </a:lnTo>
                    <a:lnTo>
                      <a:pt x="98" y="3"/>
                    </a:lnTo>
                    <a:lnTo>
                      <a:pt x="98" y="2"/>
                    </a:lnTo>
                    <a:lnTo>
                      <a:pt x="98" y="0"/>
                    </a:lnTo>
                    <a:lnTo>
                      <a:pt x="98" y="0"/>
                    </a:lnTo>
                    <a:lnTo>
                      <a:pt x="96" y="0"/>
                    </a:lnTo>
                    <a:lnTo>
                      <a:pt x="95" y="2"/>
                    </a:lnTo>
                    <a:lnTo>
                      <a:pt x="90" y="3"/>
                    </a:lnTo>
                    <a:lnTo>
                      <a:pt x="80" y="5"/>
                    </a:lnTo>
                    <a:lnTo>
                      <a:pt x="77" y="3"/>
                    </a:lnTo>
                    <a:lnTo>
                      <a:pt x="72" y="5"/>
                    </a:lnTo>
                    <a:lnTo>
                      <a:pt x="67" y="8"/>
                    </a:lnTo>
                    <a:lnTo>
                      <a:pt x="64" y="9"/>
                    </a:lnTo>
                    <a:lnTo>
                      <a:pt x="63" y="9"/>
                    </a:lnTo>
                    <a:lnTo>
                      <a:pt x="54" y="12"/>
                    </a:lnTo>
                    <a:lnTo>
                      <a:pt x="47" y="11"/>
                    </a:lnTo>
                    <a:lnTo>
                      <a:pt x="44" y="8"/>
                    </a:lnTo>
                    <a:lnTo>
                      <a:pt x="43" y="6"/>
                    </a:lnTo>
                    <a:lnTo>
                      <a:pt x="38" y="8"/>
                    </a:lnTo>
                    <a:lnTo>
                      <a:pt x="31" y="11"/>
                    </a:lnTo>
                    <a:lnTo>
                      <a:pt x="29" y="12"/>
                    </a:lnTo>
                    <a:lnTo>
                      <a:pt x="25" y="11"/>
                    </a:lnTo>
                    <a:lnTo>
                      <a:pt x="24" y="12"/>
                    </a:lnTo>
                    <a:lnTo>
                      <a:pt x="22" y="11"/>
                    </a:lnTo>
                    <a:lnTo>
                      <a:pt x="22" y="11"/>
                    </a:lnTo>
                    <a:lnTo>
                      <a:pt x="22" y="11"/>
                    </a:lnTo>
                    <a:lnTo>
                      <a:pt x="22" y="11"/>
                    </a:lnTo>
                    <a:lnTo>
                      <a:pt x="21" y="9"/>
                    </a:lnTo>
                    <a:lnTo>
                      <a:pt x="19" y="9"/>
                    </a:lnTo>
                    <a:lnTo>
                      <a:pt x="18" y="8"/>
                    </a:lnTo>
                    <a:lnTo>
                      <a:pt x="16" y="11"/>
                    </a:lnTo>
                    <a:lnTo>
                      <a:pt x="16" y="12"/>
                    </a:lnTo>
                    <a:lnTo>
                      <a:pt x="16" y="12"/>
                    </a:lnTo>
                    <a:lnTo>
                      <a:pt x="15" y="15"/>
                    </a:lnTo>
                    <a:lnTo>
                      <a:pt x="18" y="18"/>
                    </a:lnTo>
                    <a:lnTo>
                      <a:pt x="18" y="19"/>
                    </a:lnTo>
                    <a:lnTo>
                      <a:pt x="18" y="19"/>
                    </a:lnTo>
                    <a:lnTo>
                      <a:pt x="15" y="19"/>
                    </a:lnTo>
                    <a:lnTo>
                      <a:pt x="13" y="19"/>
                    </a:lnTo>
                    <a:lnTo>
                      <a:pt x="13" y="24"/>
                    </a:lnTo>
                    <a:lnTo>
                      <a:pt x="12" y="24"/>
                    </a:lnTo>
                    <a:lnTo>
                      <a:pt x="11" y="25"/>
                    </a:lnTo>
                    <a:lnTo>
                      <a:pt x="11" y="27"/>
                    </a:lnTo>
                    <a:lnTo>
                      <a:pt x="8" y="25"/>
                    </a:lnTo>
                    <a:lnTo>
                      <a:pt x="8" y="24"/>
                    </a:lnTo>
                    <a:lnTo>
                      <a:pt x="6" y="24"/>
                    </a:lnTo>
                    <a:lnTo>
                      <a:pt x="6" y="27"/>
                    </a:lnTo>
                    <a:lnTo>
                      <a:pt x="5" y="31"/>
                    </a:lnTo>
                    <a:lnTo>
                      <a:pt x="6" y="32"/>
                    </a:lnTo>
                    <a:lnTo>
                      <a:pt x="8" y="35"/>
                    </a:lnTo>
                    <a:lnTo>
                      <a:pt x="8" y="40"/>
                    </a:lnTo>
                    <a:lnTo>
                      <a:pt x="6" y="43"/>
                    </a:lnTo>
                    <a:lnTo>
                      <a:pt x="8" y="45"/>
                    </a:lnTo>
                    <a:lnTo>
                      <a:pt x="12" y="45"/>
                    </a:lnTo>
                    <a:lnTo>
                      <a:pt x="12" y="45"/>
                    </a:lnTo>
                    <a:lnTo>
                      <a:pt x="13" y="45"/>
                    </a:lnTo>
                    <a:lnTo>
                      <a:pt x="13" y="45"/>
                    </a:lnTo>
                    <a:lnTo>
                      <a:pt x="15" y="45"/>
                    </a:lnTo>
                    <a:lnTo>
                      <a:pt x="15" y="47"/>
                    </a:lnTo>
                    <a:lnTo>
                      <a:pt x="15" y="47"/>
                    </a:lnTo>
                    <a:lnTo>
                      <a:pt x="13" y="47"/>
                    </a:lnTo>
                    <a:lnTo>
                      <a:pt x="13" y="48"/>
                    </a:lnTo>
                    <a:lnTo>
                      <a:pt x="13" y="48"/>
                    </a:lnTo>
                    <a:lnTo>
                      <a:pt x="13" y="48"/>
                    </a:lnTo>
                    <a:lnTo>
                      <a:pt x="15" y="48"/>
                    </a:lnTo>
                    <a:lnTo>
                      <a:pt x="15" y="50"/>
                    </a:lnTo>
                    <a:lnTo>
                      <a:pt x="16" y="50"/>
                    </a:lnTo>
                    <a:lnTo>
                      <a:pt x="16" y="51"/>
                    </a:lnTo>
                    <a:lnTo>
                      <a:pt x="16" y="53"/>
                    </a:lnTo>
                    <a:lnTo>
                      <a:pt x="16" y="54"/>
                    </a:lnTo>
                    <a:lnTo>
                      <a:pt x="18" y="54"/>
                    </a:lnTo>
                    <a:lnTo>
                      <a:pt x="16" y="54"/>
                    </a:lnTo>
                    <a:lnTo>
                      <a:pt x="16" y="56"/>
                    </a:lnTo>
                    <a:lnTo>
                      <a:pt x="16" y="56"/>
                    </a:lnTo>
                    <a:lnTo>
                      <a:pt x="15" y="57"/>
                    </a:lnTo>
                    <a:lnTo>
                      <a:pt x="13" y="57"/>
                    </a:lnTo>
                    <a:lnTo>
                      <a:pt x="13" y="59"/>
                    </a:lnTo>
                    <a:lnTo>
                      <a:pt x="12" y="59"/>
                    </a:lnTo>
                    <a:lnTo>
                      <a:pt x="12" y="60"/>
                    </a:lnTo>
                    <a:lnTo>
                      <a:pt x="13" y="60"/>
                    </a:lnTo>
                    <a:lnTo>
                      <a:pt x="13" y="61"/>
                    </a:lnTo>
                    <a:lnTo>
                      <a:pt x="13" y="61"/>
                    </a:lnTo>
                    <a:lnTo>
                      <a:pt x="13" y="61"/>
                    </a:lnTo>
                    <a:lnTo>
                      <a:pt x="12" y="61"/>
                    </a:lnTo>
                    <a:lnTo>
                      <a:pt x="9" y="61"/>
                    </a:lnTo>
                    <a:lnTo>
                      <a:pt x="8" y="63"/>
                    </a:lnTo>
                    <a:lnTo>
                      <a:pt x="8" y="63"/>
                    </a:lnTo>
                    <a:lnTo>
                      <a:pt x="6" y="64"/>
                    </a:lnTo>
                    <a:lnTo>
                      <a:pt x="6" y="64"/>
                    </a:lnTo>
                    <a:lnTo>
                      <a:pt x="8" y="64"/>
                    </a:lnTo>
                    <a:lnTo>
                      <a:pt x="8" y="66"/>
                    </a:lnTo>
                    <a:lnTo>
                      <a:pt x="8" y="66"/>
                    </a:lnTo>
                    <a:lnTo>
                      <a:pt x="5" y="69"/>
                    </a:lnTo>
                    <a:lnTo>
                      <a:pt x="5" y="70"/>
                    </a:lnTo>
                    <a:lnTo>
                      <a:pt x="3" y="70"/>
                    </a:lnTo>
                    <a:lnTo>
                      <a:pt x="2" y="72"/>
                    </a:lnTo>
                    <a:lnTo>
                      <a:pt x="2" y="75"/>
                    </a:lnTo>
                    <a:lnTo>
                      <a:pt x="0" y="75"/>
                    </a:lnTo>
                    <a:lnTo>
                      <a:pt x="0" y="76"/>
                    </a:lnTo>
                    <a:lnTo>
                      <a:pt x="0" y="77"/>
                    </a:lnTo>
                    <a:lnTo>
                      <a:pt x="2" y="79"/>
                    </a:lnTo>
                    <a:lnTo>
                      <a:pt x="0" y="80"/>
                    </a:lnTo>
                    <a:lnTo>
                      <a:pt x="3" y="80"/>
                    </a:lnTo>
                    <a:lnTo>
                      <a:pt x="5" y="80"/>
                    </a:lnTo>
                    <a:lnTo>
                      <a:pt x="6" y="83"/>
                    </a:lnTo>
                    <a:lnTo>
                      <a:pt x="12" y="86"/>
                    </a:lnTo>
                    <a:lnTo>
                      <a:pt x="15" y="88"/>
                    </a:lnTo>
                    <a:lnTo>
                      <a:pt x="16" y="86"/>
                    </a:lnTo>
                    <a:lnTo>
                      <a:pt x="48" y="69"/>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13" name="Freeform 1289"/>
              <p:cNvSpPr>
                <a:spLocks/>
              </p:cNvSpPr>
              <p:nvPr/>
            </p:nvSpPr>
            <p:spPr bwMode="auto">
              <a:xfrm>
                <a:off x="6908112" y="2659047"/>
                <a:ext cx="187849" cy="163276"/>
              </a:xfrm>
              <a:custGeom>
                <a:avLst/>
                <a:gdLst/>
                <a:ahLst/>
                <a:cxnLst>
                  <a:cxn ang="0">
                    <a:pos x="16" y="122"/>
                  </a:cxn>
                  <a:cxn ang="0">
                    <a:pos x="2" y="96"/>
                  </a:cxn>
                  <a:cxn ang="0">
                    <a:pos x="6" y="73"/>
                  </a:cxn>
                  <a:cxn ang="0">
                    <a:pos x="15" y="52"/>
                  </a:cxn>
                  <a:cxn ang="0">
                    <a:pos x="26" y="57"/>
                  </a:cxn>
                  <a:cxn ang="0">
                    <a:pos x="36" y="54"/>
                  </a:cxn>
                  <a:cxn ang="0">
                    <a:pos x="38" y="47"/>
                  </a:cxn>
                  <a:cxn ang="0">
                    <a:pos x="51" y="42"/>
                  </a:cxn>
                  <a:cxn ang="0">
                    <a:pos x="58" y="32"/>
                  </a:cxn>
                  <a:cxn ang="0">
                    <a:pos x="63" y="23"/>
                  </a:cxn>
                  <a:cxn ang="0">
                    <a:pos x="71" y="20"/>
                  </a:cxn>
                  <a:cxn ang="0">
                    <a:pos x="81" y="19"/>
                  </a:cxn>
                  <a:cxn ang="0">
                    <a:pos x="103" y="20"/>
                  </a:cxn>
                  <a:cxn ang="0">
                    <a:pos x="116" y="22"/>
                  </a:cxn>
                  <a:cxn ang="0">
                    <a:pos x="122" y="22"/>
                  </a:cxn>
                  <a:cxn ang="0">
                    <a:pos x="126" y="20"/>
                  </a:cxn>
                  <a:cxn ang="0">
                    <a:pos x="134" y="15"/>
                  </a:cxn>
                  <a:cxn ang="0">
                    <a:pos x="140" y="13"/>
                  </a:cxn>
                  <a:cxn ang="0">
                    <a:pos x="145" y="0"/>
                  </a:cxn>
                  <a:cxn ang="0">
                    <a:pos x="154" y="3"/>
                  </a:cxn>
                  <a:cxn ang="0">
                    <a:pos x="155" y="10"/>
                  </a:cxn>
                  <a:cxn ang="0">
                    <a:pos x="157" y="13"/>
                  </a:cxn>
                  <a:cxn ang="0">
                    <a:pos x="155" y="23"/>
                  </a:cxn>
                  <a:cxn ang="0">
                    <a:pos x="174" y="26"/>
                  </a:cxn>
                  <a:cxn ang="0">
                    <a:pos x="179" y="22"/>
                  </a:cxn>
                  <a:cxn ang="0">
                    <a:pos x="187" y="19"/>
                  </a:cxn>
                  <a:cxn ang="0">
                    <a:pos x="192" y="20"/>
                  </a:cxn>
                  <a:cxn ang="0">
                    <a:pos x="202" y="20"/>
                  </a:cxn>
                  <a:cxn ang="0">
                    <a:pos x="203" y="22"/>
                  </a:cxn>
                  <a:cxn ang="0">
                    <a:pos x="199" y="25"/>
                  </a:cxn>
                  <a:cxn ang="0">
                    <a:pos x="198" y="28"/>
                  </a:cxn>
                  <a:cxn ang="0">
                    <a:pos x="187" y="28"/>
                  </a:cxn>
                  <a:cxn ang="0">
                    <a:pos x="167" y="32"/>
                  </a:cxn>
                  <a:cxn ang="0">
                    <a:pos x="163" y="35"/>
                  </a:cxn>
                  <a:cxn ang="0">
                    <a:pos x="158" y="36"/>
                  </a:cxn>
                  <a:cxn ang="0">
                    <a:pos x="153" y="44"/>
                  </a:cxn>
                  <a:cxn ang="0">
                    <a:pos x="158" y="57"/>
                  </a:cxn>
                  <a:cxn ang="0">
                    <a:pos x="150" y="70"/>
                  </a:cxn>
                  <a:cxn ang="0">
                    <a:pos x="151" y="76"/>
                  </a:cxn>
                  <a:cxn ang="0">
                    <a:pos x="135" y="80"/>
                  </a:cxn>
                  <a:cxn ang="0">
                    <a:pos x="140" y="89"/>
                  </a:cxn>
                  <a:cxn ang="0">
                    <a:pos x="128" y="97"/>
                  </a:cxn>
                  <a:cxn ang="0">
                    <a:pos x="125" y="105"/>
                  </a:cxn>
                  <a:cxn ang="0">
                    <a:pos x="118" y="118"/>
                  </a:cxn>
                  <a:cxn ang="0">
                    <a:pos x="115" y="116"/>
                  </a:cxn>
                  <a:cxn ang="0">
                    <a:pos x="106" y="118"/>
                  </a:cxn>
                  <a:cxn ang="0">
                    <a:pos x="103" y="124"/>
                  </a:cxn>
                  <a:cxn ang="0">
                    <a:pos x="90" y="125"/>
                  </a:cxn>
                  <a:cxn ang="0">
                    <a:pos x="83" y="143"/>
                  </a:cxn>
                  <a:cxn ang="0">
                    <a:pos x="65" y="153"/>
                  </a:cxn>
                  <a:cxn ang="0">
                    <a:pos x="51" y="156"/>
                  </a:cxn>
                  <a:cxn ang="0">
                    <a:pos x="6" y="148"/>
                  </a:cxn>
                </a:cxnLst>
                <a:rect l="0" t="0" r="r" b="b"/>
                <a:pathLst>
                  <a:path w="205" h="156">
                    <a:moveTo>
                      <a:pt x="6" y="148"/>
                    </a:moveTo>
                    <a:lnTo>
                      <a:pt x="16" y="135"/>
                    </a:lnTo>
                    <a:lnTo>
                      <a:pt x="18" y="129"/>
                    </a:lnTo>
                    <a:lnTo>
                      <a:pt x="18" y="127"/>
                    </a:lnTo>
                    <a:lnTo>
                      <a:pt x="16" y="122"/>
                    </a:lnTo>
                    <a:lnTo>
                      <a:pt x="13" y="119"/>
                    </a:lnTo>
                    <a:lnTo>
                      <a:pt x="6" y="118"/>
                    </a:lnTo>
                    <a:lnTo>
                      <a:pt x="3" y="116"/>
                    </a:lnTo>
                    <a:lnTo>
                      <a:pt x="3" y="103"/>
                    </a:lnTo>
                    <a:lnTo>
                      <a:pt x="2" y="96"/>
                    </a:lnTo>
                    <a:lnTo>
                      <a:pt x="5" y="86"/>
                    </a:lnTo>
                    <a:lnTo>
                      <a:pt x="3" y="84"/>
                    </a:lnTo>
                    <a:lnTo>
                      <a:pt x="0" y="83"/>
                    </a:lnTo>
                    <a:lnTo>
                      <a:pt x="0" y="76"/>
                    </a:lnTo>
                    <a:lnTo>
                      <a:pt x="6" y="73"/>
                    </a:lnTo>
                    <a:lnTo>
                      <a:pt x="6" y="68"/>
                    </a:lnTo>
                    <a:lnTo>
                      <a:pt x="9" y="63"/>
                    </a:lnTo>
                    <a:lnTo>
                      <a:pt x="10" y="50"/>
                    </a:lnTo>
                    <a:lnTo>
                      <a:pt x="15" y="52"/>
                    </a:lnTo>
                    <a:lnTo>
                      <a:pt x="15" y="52"/>
                    </a:lnTo>
                    <a:lnTo>
                      <a:pt x="18" y="54"/>
                    </a:lnTo>
                    <a:lnTo>
                      <a:pt x="20" y="54"/>
                    </a:lnTo>
                    <a:lnTo>
                      <a:pt x="22" y="54"/>
                    </a:lnTo>
                    <a:lnTo>
                      <a:pt x="25" y="55"/>
                    </a:lnTo>
                    <a:lnTo>
                      <a:pt x="26" y="57"/>
                    </a:lnTo>
                    <a:lnTo>
                      <a:pt x="26" y="57"/>
                    </a:lnTo>
                    <a:lnTo>
                      <a:pt x="29" y="57"/>
                    </a:lnTo>
                    <a:lnTo>
                      <a:pt x="32" y="57"/>
                    </a:lnTo>
                    <a:lnTo>
                      <a:pt x="34" y="55"/>
                    </a:lnTo>
                    <a:lnTo>
                      <a:pt x="36" y="54"/>
                    </a:lnTo>
                    <a:lnTo>
                      <a:pt x="38" y="54"/>
                    </a:lnTo>
                    <a:lnTo>
                      <a:pt x="38" y="51"/>
                    </a:lnTo>
                    <a:lnTo>
                      <a:pt x="39" y="50"/>
                    </a:lnTo>
                    <a:lnTo>
                      <a:pt x="39" y="50"/>
                    </a:lnTo>
                    <a:lnTo>
                      <a:pt x="38" y="47"/>
                    </a:lnTo>
                    <a:lnTo>
                      <a:pt x="38" y="47"/>
                    </a:lnTo>
                    <a:lnTo>
                      <a:pt x="39" y="47"/>
                    </a:lnTo>
                    <a:lnTo>
                      <a:pt x="47" y="45"/>
                    </a:lnTo>
                    <a:lnTo>
                      <a:pt x="48" y="44"/>
                    </a:lnTo>
                    <a:lnTo>
                      <a:pt x="51" y="42"/>
                    </a:lnTo>
                    <a:lnTo>
                      <a:pt x="52" y="41"/>
                    </a:lnTo>
                    <a:lnTo>
                      <a:pt x="54" y="41"/>
                    </a:lnTo>
                    <a:lnTo>
                      <a:pt x="58" y="38"/>
                    </a:lnTo>
                    <a:lnTo>
                      <a:pt x="58" y="36"/>
                    </a:lnTo>
                    <a:lnTo>
                      <a:pt x="58" y="32"/>
                    </a:lnTo>
                    <a:lnTo>
                      <a:pt x="60" y="31"/>
                    </a:lnTo>
                    <a:lnTo>
                      <a:pt x="61" y="26"/>
                    </a:lnTo>
                    <a:lnTo>
                      <a:pt x="61" y="25"/>
                    </a:lnTo>
                    <a:lnTo>
                      <a:pt x="61" y="23"/>
                    </a:lnTo>
                    <a:lnTo>
                      <a:pt x="63" y="23"/>
                    </a:lnTo>
                    <a:lnTo>
                      <a:pt x="64" y="22"/>
                    </a:lnTo>
                    <a:lnTo>
                      <a:pt x="65" y="20"/>
                    </a:lnTo>
                    <a:lnTo>
                      <a:pt x="67" y="22"/>
                    </a:lnTo>
                    <a:lnTo>
                      <a:pt x="71" y="22"/>
                    </a:lnTo>
                    <a:lnTo>
                      <a:pt x="71" y="20"/>
                    </a:lnTo>
                    <a:lnTo>
                      <a:pt x="73" y="19"/>
                    </a:lnTo>
                    <a:lnTo>
                      <a:pt x="73" y="18"/>
                    </a:lnTo>
                    <a:lnTo>
                      <a:pt x="73" y="16"/>
                    </a:lnTo>
                    <a:lnTo>
                      <a:pt x="76" y="16"/>
                    </a:lnTo>
                    <a:lnTo>
                      <a:pt x="81" y="19"/>
                    </a:lnTo>
                    <a:lnTo>
                      <a:pt x="93" y="19"/>
                    </a:lnTo>
                    <a:lnTo>
                      <a:pt x="96" y="20"/>
                    </a:lnTo>
                    <a:lnTo>
                      <a:pt x="97" y="22"/>
                    </a:lnTo>
                    <a:lnTo>
                      <a:pt x="99" y="20"/>
                    </a:lnTo>
                    <a:lnTo>
                      <a:pt x="103" y="20"/>
                    </a:lnTo>
                    <a:lnTo>
                      <a:pt x="108" y="26"/>
                    </a:lnTo>
                    <a:lnTo>
                      <a:pt x="109" y="25"/>
                    </a:lnTo>
                    <a:lnTo>
                      <a:pt x="112" y="25"/>
                    </a:lnTo>
                    <a:lnTo>
                      <a:pt x="112" y="25"/>
                    </a:lnTo>
                    <a:lnTo>
                      <a:pt x="116" y="22"/>
                    </a:lnTo>
                    <a:lnTo>
                      <a:pt x="118" y="22"/>
                    </a:lnTo>
                    <a:lnTo>
                      <a:pt x="119" y="22"/>
                    </a:lnTo>
                    <a:lnTo>
                      <a:pt x="121" y="20"/>
                    </a:lnTo>
                    <a:lnTo>
                      <a:pt x="121" y="20"/>
                    </a:lnTo>
                    <a:lnTo>
                      <a:pt x="122" y="22"/>
                    </a:lnTo>
                    <a:lnTo>
                      <a:pt x="126" y="23"/>
                    </a:lnTo>
                    <a:lnTo>
                      <a:pt x="126" y="23"/>
                    </a:lnTo>
                    <a:lnTo>
                      <a:pt x="126" y="22"/>
                    </a:lnTo>
                    <a:lnTo>
                      <a:pt x="126" y="20"/>
                    </a:lnTo>
                    <a:lnTo>
                      <a:pt x="126" y="20"/>
                    </a:lnTo>
                    <a:lnTo>
                      <a:pt x="126" y="18"/>
                    </a:lnTo>
                    <a:lnTo>
                      <a:pt x="129" y="15"/>
                    </a:lnTo>
                    <a:lnTo>
                      <a:pt x="129" y="15"/>
                    </a:lnTo>
                    <a:lnTo>
                      <a:pt x="131" y="16"/>
                    </a:lnTo>
                    <a:lnTo>
                      <a:pt x="134" y="15"/>
                    </a:lnTo>
                    <a:lnTo>
                      <a:pt x="135" y="16"/>
                    </a:lnTo>
                    <a:lnTo>
                      <a:pt x="137" y="16"/>
                    </a:lnTo>
                    <a:lnTo>
                      <a:pt x="138" y="16"/>
                    </a:lnTo>
                    <a:lnTo>
                      <a:pt x="140" y="15"/>
                    </a:lnTo>
                    <a:lnTo>
                      <a:pt x="140" y="13"/>
                    </a:lnTo>
                    <a:lnTo>
                      <a:pt x="138" y="12"/>
                    </a:lnTo>
                    <a:lnTo>
                      <a:pt x="138" y="10"/>
                    </a:lnTo>
                    <a:lnTo>
                      <a:pt x="144" y="3"/>
                    </a:lnTo>
                    <a:lnTo>
                      <a:pt x="144" y="2"/>
                    </a:lnTo>
                    <a:lnTo>
                      <a:pt x="145" y="0"/>
                    </a:lnTo>
                    <a:lnTo>
                      <a:pt x="145" y="0"/>
                    </a:lnTo>
                    <a:lnTo>
                      <a:pt x="147" y="0"/>
                    </a:lnTo>
                    <a:lnTo>
                      <a:pt x="148" y="0"/>
                    </a:lnTo>
                    <a:lnTo>
                      <a:pt x="151" y="0"/>
                    </a:lnTo>
                    <a:lnTo>
                      <a:pt x="154" y="3"/>
                    </a:lnTo>
                    <a:lnTo>
                      <a:pt x="154" y="4"/>
                    </a:lnTo>
                    <a:lnTo>
                      <a:pt x="153" y="7"/>
                    </a:lnTo>
                    <a:lnTo>
                      <a:pt x="153" y="9"/>
                    </a:lnTo>
                    <a:lnTo>
                      <a:pt x="154" y="9"/>
                    </a:lnTo>
                    <a:lnTo>
                      <a:pt x="155" y="10"/>
                    </a:lnTo>
                    <a:lnTo>
                      <a:pt x="155" y="9"/>
                    </a:lnTo>
                    <a:lnTo>
                      <a:pt x="157" y="10"/>
                    </a:lnTo>
                    <a:lnTo>
                      <a:pt x="157" y="10"/>
                    </a:lnTo>
                    <a:lnTo>
                      <a:pt x="157" y="12"/>
                    </a:lnTo>
                    <a:lnTo>
                      <a:pt x="157" y="13"/>
                    </a:lnTo>
                    <a:lnTo>
                      <a:pt x="157" y="16"/>
                    </a:lnTo>
                    <a:lnTo>
                      <a:pt x="157" y="18"/>
                    </a:lnTo>
                    <a:lnTo>
                      <a:pt x="155" y="19"/>
                    </a:lnTo>
                    <a:lnTo>
                      <a:pt x="155" y="20"/>
                    </a:lnTo>
                    <a:lnTo>
                      <a:pt x="155" y="23"/>
                    </a:lnTo>
                    <a:lnTo>
                      <a:pt x="158" y="32"/>
                    </a:lnTo>
                    <a:lnTo>
                      <a:pt x="160" y="32"/>
                    </a:lnTo>
                    <a:lnTo>
                      <a:pt x="160" y="32"/>
                    </a:lnTo>
                    <a:lnTo>
                      <a:pt x="169" y="26"/>
                    </a:lnTo>
                    <a:lnTo>
                      <a:pt x="174" y="26"/>
                    </a:lnTo>
                    <a:lnTo>
                      <a:pt x="174" y="25"/>
                    </a:lnTo>
                    <a:lnTo>
                      <a:pt x="176" y="23"/>
                    </a:lnTo>
                    <a:lnTo>
                      <a:pt x="177" y="22"/>
                    </a:lnTo>
                    <a:lnTo>
                      <a:pt x="177" y="22"/>
                    </a:lnTo>
                    <a:lnTo>
                      <a:pt x="179" y="22"/>
                    </a:lnTo>
                    <a:lnTo>
                      <a:pt x="182" y="19"/>
                    </a:lnTo>
                    <a:lnTo>
                      <a:pt x="183" y="19"/>
                    </a:lnTo>
                    <a:lnTo>
                      <a:pt x="185" y="18"/>
                    </a:lnTo>
                    <a:lnTo>
                      <a:pt x="186" y="18"/>
                    </a:lnTo>
                    <a:lnTo>
                      <a:pt x="187" y="19"/>
                    </a:lnTo>
                    <a:lnTo>
                      <a:pt x="189" y="19"/>
                    </a:lnTo>
                    <a:lnTo>
                      <a:pt x="189" y="22"/>
                    </a:lnTo>
                    <a:lnTo>
                      <a:pt x="190" y="22"/>
                    </a:lnTo>
                    <a:lnTo>
                      <a:pt x="190" y="22"/>
                    </a:lnTo>
                    <a:lnTo>
                      <a:pt x="192" y="20"/>
                    </a:lnTo>
                    <a:lnTo>
                      <a:pt x="192" y="20"/>
                    </a:lnTo>
                    <a:lnTo>
                      <a:pt x="193" y="20"/>
                    </a:lnTo>
                    <a:lnTo>
                      <a:pt x="199" y="19"/>
                    </a:lnTo>
                    <a:lnTo>
                      <a:pt x="201" y="19"/>
                    </a:lnTo>
                    <a:lnTo>
                      <a:pt x="202" y="20"/>
                    </a:lnTo>
                    <a:lnTo>
                      <a:pt x="203" y="20"/>
                    </a:lnTo>
                    <a:lnTo>
                      <a:pt x="205" y="20"/>
                    </a:lnTo>
                    <a:lnTo>
                      <a:pt x="205" y="22"/>
                    </a:lnTo>
                    <a:lnTo>
                      <a:pt x="203" y="22"/>
                    </a:lnTo>
                    <a:lnTo>
                      <a:pt x="203" y="22"/>
                    </a:lnTo>
                    <a:lnTo>
                      <a:pt x="203" y="22"/>
                    </a:lnTo>
                    <a:lnTo>
                      <a:pt x="202" y="20"/>
                    </a:lnTo>
                    <a:lnTo>
                      <a:pt x="201" y="22"/>
                    </a:lnTo>
                    <a:lnTo>
                      <a:pt x="199" y="23"/>
                    </a:lnTo>
                    <a:lnTo>
                      <a:pt x="199" y="25"/>
                    </a:lnTo>
                    <a:lnTo>
                      <a:pt x="201" y="25"/>
                    </a:lnTo>
                    <a:lnTo>
                      <a:pt x="202" y="26"/>
                    </a:lnTo>
                    <a:lnTo>
                      <a:pt x="201" y="28"/>
                    </a:lnTo>
                    <a:lnTo>
                      <a:pt x="199" y="26"/>
                    </a:lnTo>
                    <a:lnTo>
                      <a:pt x="198" y="28"/>
                    </a:lnTo>
                    <a:lnTo>
                      <a:pt x="196" y="28"/>
                    </a:lnTo>
                    <a:lnTo>
                      <a:pt x="195" y="29"/>
                    </a:lnTo>
                    <a:lnTo>
                      <a:pt x="193" y="29"/>
                    </a:lnTo>
                    <a:lnTo>
                      <a:pt x="190" y="28"/>
                    </a:lnTo>
                    <a:lnTo>
                      <a:pt x="187" y="28"/>
                    </a:lnTo>
                    <a:lnTo>
                      <a:pt x="187" y="28"/>
                    </a:lnTo>
                    <a:lnTo>
                      <a:pt x="173" y="29"/>
                    </a:lnTo>
                    <a:lnTo>
                      <a:pt x="170" y="31"/>
                    </a:lnTo>
                    <a:lnTo>
                      <a:pt x="169" y="31"/>
                    </a:lnTo>
                    <a:lnTo>
                      <a:pt x="167" y="32"/>
                    </a:lnTo>
                    <a:lnTo>
                      <a:pt x="166" y="32"/>
                    </a:lnTo>
                    <a:lnTo>
                      <a:pt x="166" y="34"/>
                    </a:lnTo>
                    <a:lnTo>
                      <a:pt x="164" y="34"/>
                    </a:lnTo>
                    <a:lnTo>
                      <a:pt x="163" y="35"/>
                    </a:lnTo>
                    <a:lnTo>
                      <a:pt x="163" y="35"/>
                    </a:lnTo>
                    <a:lnTo>
                      <a:pt x="163" y="36"/>
                    </a:lnTo>
                    <a:lnTo>
                      <a:pt x="161" y="36"/>
                    </a:lnTo>
                    <a:lnTo>
                      <a:pt x="160" y="36"/>
                    </a:lnTo>
                    <a:lnTo>
                      <a:pt x="158" y="36"/>
                    </a:lnTo>
                    <a:lnTo>
                      <a:pt x="158" y="36"/>
                    </a:lnTo>
                    <a:lnTo>
                      <a:pt x="158" y="38"/>
                    </a:lnTo>
                    <a:lnTo>
                      <a:pt x="154" y="41"/>
                    </a:lnTo>
                    <a:lnTo>
                      <a:pt x="153" y="42"/>
                    </a:lnTo>
                    <a:lnTo>
                      <a:pt x="153" y="44"/>
                    </a:lnTo>
                    <a:lnTo>
                      <a:pt x="153" y="44"/>
                    </a:lnTo>
                    <a:lnTo>
                      <a:pt x="157" y="47"/>
                    </a:lnTo>
                    <a:lnTo>
                      <a:pt x="158" y="54"/>
                    </a:lnTo>
                    <a:lnTo>
                      <a:pt x="158" y="54"/>
                    </a:lnTo>
                    <a:lnTo>
                      <a:pt x="158" y="55"/>
                    </a:lnTo>
                    <a:lnTo>
                      <a:pt x="158" y="57"/>
                    </a:lnTo>
                    <a:lnTo>
                      <a:pt x="158" y="57"/>
                    </a:lnTo>
                    <a:lnTo>
                      <a:pt x="158" y="60"/>
                    </a:lnTo>
                    <a:lnTo>
                      <a:pt x="153" y="67"/>
                    </a:lnTo>
                    <a:lnTo>
                      <a:pt x="151" y="68"/>
                    </a:lnTo>
                    <a:lnTo>
                      <a:pt x="150" y="70"/>
                    </a:lnTo>
                    <a:lnTo>
                      <a:pt x="150" y="71"/>
                    </a:lnTo>
                    <a:lnTo>
                      <a:pt x="151" y="71"/>
                    </a:lnTo>
                    <a:lnTo>
                      <a:pt x="153" y="73"/>
                    </a:lnTo>
                    <a:lnTo>
                      <a:pt x="151" y="73"/>
                    </a:lnTo>
                    <a:lnTo>
                      <a:pt x="151" y="76"/>
                    </a:lnTo>
                    <a:lnTo>
                      <a:pt x="150" y="77"/>
                    </a:lnTo>
                    <a:lnTo>
                      <a:pt x="145" y="79"/>
                    </a:lnTo>
                    <a:lnTo>
                      <a:pt x="137" y="77"/>
                    </a:lnTo>
                    <a:lnTo>
                      <a:pt x="135" y="79"/>
                    </a:lnTo>
                    <a:lnTo>
                      <a:pt x="135" y="80"/>
                    </a:lnTo>
                    <a:lnTo>
                      <a:pt x="137" y="83"/>
                    </a:lnTo>
                    <a:lnTo>
                      <a:pt x="138" y="83"/>
                    </a:lnTo>
                    <a:lnTo>
                      <a:pt x="138" y="87"/>
                    </a:lnTo>
                    <a:lnTo>
                      <a:pt x="140" y="89"/>
                    </a:lnTo>
                    <a:lnTo>
                      <a:pt x="140" y="89"/>
                    </a:lnTo>
                    <a:lnTo>
                      <a:pt x="135" y="93"/>
                    </a:lnTo>
                    <a:lnTo>
                      <a:pt x="132" y="93"/>
                    </a:lnTo>
                    <a:lnTo>
                      <a:pt x="129" y="95"/>
                    </a:lnTo>
                    <a:lnTo>
                      <a:pt x="129" y="97"/>
                    </a:lnTo>
                    <a:lnTo>
                      <a:pt x="128" y="97"/>
                    </a:lnTo>
                    <a:lnTo>
                      <a:pt x="126" y="99"/>
                    </a:lnTo>
                    <a:lnTo>
                      <a:pt x="128" y="100"/>
                    </a:lnTo>
                    <a:lnTo>
                      <a:pt x="126" y="102"/>
                    </a:lnTo>
                    <a:lnTo>
                      <a:pt x="126" y="102"/>
                    </a:lnTo>
                    <a:lnTo>
                      <a:pt x="125" y="105"/>
                    </a:lnTo>
                    <a:lnTo>
                      <a:pt x="125" y="113"/>
                    </a:lnTo>
                    <a:lnTo>
                      <a:pt x="121" y="119"/>
                    </a:lnTo>
                    <a:lnTo>
                      <a:pt x="119" y="119"/>
                    </a:lnTo>
                    <a:lnTo>
                      <a:pt x="118" y="119"/>
                    </a:lnTo>
                    <a:lnTo>
                      <a:pt x="118" y="118"/>
                    </a:lnTo>
                    <a:lnTo>
                      <a:pt x="118" y="116"/>
                    </a:lnTo>
                    <a:lnTo>
                      <a:pt x="115" y="115"/>
                    </a:lnTo>
                    <a:lnTo>
                      <a:pt x="115" y="115"/>
                    </a:lnTo>
                    <a:lnTo>
                      <a:pt x="113" y="116"/>
                    </a:lnTo>
                    <a:lnTo>
                      <a:pt x="115" y="116"/>
                    </a:lnTo>
                    <a:lnTo>
                      <a:pt x="115" y="118"/>
                    </a:lnTo>
                    <a:lnTo>
                      <a:pt x="110" y="116"/>
                    </a:lnTo>
                    <a:lnTo>
                      <a:pt x="109" y="116"/>
                    </a:lnTo>
                    <a:lnTo>
                      <a:pt x="108" y="116"/>
                    </a:lnTo>
                    <a:lnTo>
                      <a:pt x="106" y="118"/>
                    </a:lnTo>
                    <a:lnTo>
                      <a:pt x="103" y="121"/>
                    </a:lnTo>
                    <a:lnTo>
                      <a:pt x="102" y="121"/>
                    </a:lnTo>
                    <a:lnTo>
                      <a:pt x="102" y="122"/>
                    </a:lnTo>
                    <a:lnTo>
                      <a:pt x="103" y="122"/>
                    </a:lnTo>
                    <a:lnTo>
                      <a:pt x="103" y="124"/>
                    </a:lnTo>
                    <a:lnTo>
                      <a:pt x="103" y="124"/>
                    </a:lnTo>
                    <a:lnTo>
                      <a:pt x="93" y="125"/>
                    </a:lnTo>
                    <a:lnTo>
                      <a:pt x="93" y="124"/>
                    </a:lnTo>
                    <a:lnTo>
                      <a:pt x="92" y="124"/>
                    </a:lnTo>
                    <a:lnTo>
                      <a:pt x="90" y="125"/>
                    </a:lnTo>
                    <a:lnTo>
                      <a:pt x="89" y="127"/>
                    </a:lnTo>
                    <a:lnTo>
                      <a:pt x="86" y="129"/>
                    </a:lnTo>
                    <a:lnTo>
                      <a:pt x="83" y="135"/>
                    </a:lnTo>
                    <a:lnTo>
                      <a:pt x="83" y="138"/>
                    </a:lnTo>
                    <a:lnTo>
                      <a:pt x="83" y="143"/>
                    </a:lnTo>
                    <a:lnTo>
                      <a:pt x="83" y="144"/>
                    </a:lnTo>
                    <a:lnTo>
                      <a:pt x="83" y="145"/>
                    </a:lnTo>
                    <a:lnTo>
                      <a:pt x="83" y="147"/>
                    </a:lnTo>
                    <a:lnTo>
                      <a:pt x="81" y="148"/>
                    </a:lnTo>
                    <a:lnTo>
                      <a:pt x="65" y="153"/>
                    </a:lnTo>
                    <a:lnTo>
                      <a:pt x="55" y="153"/>
                    </a:lnTo>
                    <a:lnTo>
                      <a:pt x="54" y="153"/>
                    </a:lnTo>
                    <a:lnTo>
                      <a:pt x="52" y="153"/>
                    </a:lnTo>
                    <a:lnTo>
                      <a:pt x="52" y="154"/>
                    </a:lnTo>
                    <a:lnTo>
                      <a:pt x="51" y="156"/>
                    </a:lnTo>
                    <a:lnTo>
                      <a:pt x="47" y="153"/>
                    </a:lnTo>
                    <a:lnTo>
                      <a:pt x="31" y="154"/>
                    </a:lnTo>
                    <a:lnTo>
                      <a:pt x="29" y="156"/>
                    </a:lnTo>
                    <a:lnTo>
                      <a:pt x="28" y="156"/>
                    </a:lnTo>
                    <a:lnTo>
                      <a:pt x="6" y="148"/>
                    </a:lnTo>
                    <a:lnTo>
                      <a:pt x="6" y="148"/>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14" name="Freeform 1290"/>
              <p:cNvSpPr>
                <a:spLocks/>
              </p:cNvSpPr>
              <p:nvPr/>
            </p:nvSpPr>
            <p:spPr bwMode="auto">
              <a:xfrm>
                <a:off x="6908112" y="2659047"/>
                <a:ext cx="187849" cy="163276"/>
              </a:xfrm>
              <a:custGeom>
                <a:avLst/>
                <a:gdLst/>
                <a:ahLst/>
                <a:cxnLst>
                  <a:cxn ang="0">
                    <a:pos x="16" y="122"/>
                  </a:cxn>
                  <a:cxn ang="0">
                    <a:pos x="2" y="96"/>
                  </a:cxn>
                  <a:cxn ang="0">
                    <a:pos x="6" y="73"/>
                  </a:cxn>
                  <a:cxn ang="0">
                    <a:pos x="15" y="52"/>
                  </a:cxn>
                  <a:cxn ang="0">
                    <a:pos x="26" y="57"/>
                  </a:cxn>
                  <a:cxn ang="0">
                    <a:pos x="36" y="54"/>
                  </a:cxn>
                  <a:cxn ang="0">
                    <a:pos x="38" y="47"/>
                  </a:cxn>
                  <a:cxn ang="0">
                    <a:pos x="51" y="42"/>
                  </a:cxn>
                  <a:cxn ang="0">
                    <a:pos x="58" y="32"/>
                  </a:cxn>
                  <a:cxn ang="0">
                    <a:pos x="63" y="23"/>
                  </a:cxn>
                  <a:cxn ang="0">
                    <a:pos x="71" y="20"/>
                  </a:cxn>
                  <a:cxn ang="0">
                    <a:pos x="81" y="19"/>
                  </a:cxn>
                  <a:cxn ang="0">
                    <a:pos x="103" y="20"/>
                  </a:cxn>
                  <a:cxn ang="0">
                    <a:pos x="116" y="22"/>
                  </a:cxn>
                  <a:cxn ang="0">
                    <a:pos x="122" y="22"/>
                  </a:cxn>
                  <a:cxn ang="0">
                    <a:pos x="126" y="20"/>
                  </a:cxn>
                  <a:cxn ang="0">
                    <a:pos x="134" y="15"/>
                  </a:cxn>
                  <a:cxn ang="0">
                    <a:pos x="140" y="13"/>
                  </a:cxn>
                  <a:cxn ang="0">
                    <a:pos x="145" y="0"/>
                  </a:cxn>
                  <a:cxn ang="0">
                    <a:pos x="154" y="3"/>
                  </a:cxn>
                  <a:cxn ang="0">
                    <a:pos x="155" y="10"/>
                  </a:cxn>
                  <a:cxn ang="0">
                    <a:pos x="157" y="13"/>
                  </a:cxn>
                  <a:cxn ang="0">
                    <a:pos x="155" y="23"/>
                  </a:cxn>
                  <a:cxn ang="0">
                    <a:pos x="174" y="26"/>
                  </a:cxn>
                  <a:cxn ang="0">
                    <a:pos x="179" y="22"/>
                  </a:cxn>
                  <a:cxn ang="0">
                    <a:pos x="187" y="19"/>
                  </a:cxn>
                  <a:cxn ang="0">
                    <a:pos x="192" y="20"/>
                  </a:cxn>
                  <a:cxn ang="0">
                    <a:pos x="202" y="20"/>
                  </a:cxn>
                  <a:cxn ang="0">
                    <a:pos x="203" y="22"/>
                  </a:cxn>
                  <a:cxn ang="0">
                    <a:pos x="199" y="25"/>
                  </a:cxn>
                  <a:cxn ang="0">
                    <a:pos x="198" y="28"/>
                  </a:cxn>
                  <a:cxn ang="0">
                    <a:pos x="187" y="28"/>
                  </a:cxn>
                  <a:cxn ang="0">
                    <a:pos x="167" y="32"/>
                  </a:cxn>
                  <a:cxn ang="0">
                    <a:pos x="163" y="35"/>
                  </a:cxn>
                  <a:cxn ang="0">
                    <a:pos x="158" y="36"/>
                  </a:cxn>
                  <a:cxn ang="0">
                    <a:pos x="153" y="44"/>
                  </a:cxn>
                  <a:cxn ang="0">
                    <a:pos x="158" y="57"/>
                  </a:cxn>
                  <a:cxn ang="0">
                    <a:pos x="150" y="70"/>
                  </a:cxn>
                  <a:cxn ang="0">
                    <a:pos x="151" y="76"/>
                  </a:cxn>
                  <a:cxn ang="0">
                    <a:pos x="135" y="80"/>
                  </a:cxn>
                  <a:cxn ang="0">
                    <a:pos x="140" y="89"/>
                  </a:cxn>
                  <a:cxn ang="0">
                    <a:pos x="128" y="97"/>
                  </a:cxn>
                  <a:cxn ang="0">
                    <a:pos x="125" y="105"/>
                  </a:cxn>
                  <a:cxn ang="0">
                    <a:pos x="118" y="118"/>
                  </a:cxn>
                  <a:cxn ang="0">
                    <a:pos x="115" y="116"/>
                  </a:cxn>
                  <a:cxn ang="0">
                    <a:pos x="106" y="118"/>
                  </a:cxn>
                  <a:cxn ang="0">
                    <a:pos x="103" y="124"/>
                  </a:cxn>
                  <a:cxn ang="0">
                    <a:pos x="90" y="125"/>
                  </a:cxn>
                  <a:cxn ang="0">
                    <a:pos x="83" y="143"/>
                  </a:cxn>
                  <a:cxn ang="0">
                    <a:pos x="65" y="153"/>
                  </a:cxn>
                  <a:cxn ang="0">
                    <a:pos x="51" y="156"/>
                  </a:cxn>
                  <a:cxn ang="0">
                    <a:pos x="6" y="148"/>
                  </a:cxn>
                </a:cxnLst>
                <a:rect l="0" t="0" r="r" b="b"/>
                <a:pathLst>
                  <a:path w="205" h="156">
                    <a:moveTo>
                      <a:pt x="6" y="148"/>
                    </a:moveTo>
                    <a:lnTo>
                      <a:pt x="16" y="135"/>
                    </a:lnTo>
                    <a:lnTo>
                      <a:pt x="18" y="129"/>
                    </a:lnTo>
                    <a:lnTo>
                      <a:pt x="18" y="127"/>
                    </a:lnTo>
                    <a:lnTo>
                      <a:pt x="16" y="122"/>
                    </a:lnTo>
                    <a:lnTo>
                      <a:pt x="13" y="119"/>
                    </a:lnTo>
                    <a:lnTo>
                      <a:pt x="6" y="118"/>
                    </a:lnTo>
                    <a:lnTo>
                      <a:pt x="3" y="116"/>
                    </a:lnTo>
                    <a:lnTo>
                      <a:pt x="3" y="103"/>
                    </a:lnTo>
                    <a:lnTo>
                      <a:pt x="2" y="96"/>
                    </a:lnTo>
                    <a:lnTo>
                      <a:pt x="5" y="86"/>
                    </a:lnTo>
                    <a:lnTo>
                      <a:pt x="3" y="84"/>
                    </a:lnTo>
                    <a:lnTo>
                      <a:pt x="0" y="83"/>
                    </a:lnTo>
                    <a:lnTo>
                      <a:pt x="0" y="76"/>
                    </a:lnTo>
                    <a:lnTo>
                      <a:pt x="6" y="73"/>
                    </a:lnTo>
                    <a:lnTo>
                      <a:pt x="6" y="68"/>
                    </a:lnTo>
                    <a:lnTo>
                      <a:pt x="9" y="63"/>
                    </a:lnTo>
                    <a:lnTo>
                      <a:pt x="10" y="50"/>
                    </a:lnTo>
                    <a:lnTo>
                      <a:pt x="15" y="52"/>
                    </a:lnTo>
                    <a:lnTo>
                      <a:pt x="15" y="52"/>
                    </a:lnTo>
                    <a:lnTo>
                      <a:pt x="18" y="54"/>
                    </a:lnTo>
                    <a:lnTo>
                      <a:pt x="20" y="54"/>
                    </a:lnTo>
                    <a:lnTo>
                      <a:pt x="22" y="54"/>
                    </a:lnTo>
                    <a:lnTo>
                      <a:pt x="25" y="55"/>
                    </a:lnTo>
                    <a:lnTo>
                      <a:pt x="26" y="57"/>
                    </a:lnTo>
                    <a:lnTo>
                      <a:pt x="26" y="57"/>
                    </a:lnTo>
                    <a:lnTo>
                      <a:pt x="29" y="57"/>
                    </a:lnTo>
                    <a:lnTo>
                      <a:pt x="32" y="57"/>
                    </a:lnTo>
                    <a:lnTo>
                      <a:pt x="34" y="55"/>
                    </a:lnTo>
                    <a:lnTo>
                      <a:pt x="36" y="54"/>
                    </a:lnTo>
                    <a:lnTo>
                      <a:pt x="38" y="54"/>
                    </a:lnTo>
                    <a:lnTo>
                      <a:pt x="38" y="51"/>
                    </a:lnTo>
                    <a:lnTo>
                      <a:pt x="39" y="50"/>
                    </a:lnTo>
                    <a:lnTo>
                      <a:pt x="39" y="50"/>
                    </a:lnTo>
                    <a:lnTo>
                      <a:pt x="38" y="47"/>
                    </a:lnTo>
                    <a:lnTo>
                      <a:pt x="38" y="47"/>
                    </a:lnTo>
                    <a:lnTo>
                      <a:pt x="39" y="47"/>
                    </a:lnTo>
                    <a:lnTo>
                      <a:pt x="47" y="45"/>
                    </a:lnTo>
                    <a:lnTo>
                      <a:pt x="48" y="44"/>
                    </a:lnTo>
                    <a:lnTo>
                      <a:pt x="51" y="42"/>
                    </a:lnTo>
                    <a:lnTo>
                      <a:pt x="52" y="41"/>
                    </a:lnTo>
                    <a:lnTo>
                      <a:pt x="54" y="41"/>
                    </a:lnTo>
                    <a:lnTo>
                      <a:pt x="58" y="38"/>
                    </a:lnTo>
                    <a:lnTo>
                      <a:pt x="58" y="36"/>
                    </a:lnTo>
                    <a:lnTo>
                      <a:pt x="58" y="32"/>
                    </a:lnTo>
                    <a:lnTo>
                      <a:pt x="60" y="31"/>
                    </a:lnTo>
                    <a:lnTo>
                      <a:pt x="61" y="26"/>
                    </a:lnTo>
                    <a:lnTo>
                      <a:pt x="61" y="25"/>
                    </a:lnTo>
                    <a:lnTo>
                      <a:pt x="61" y="23"/>
                    </a:lnTo>
                    <a:lnTo>
                      <a:pt x="63" y="23"/>
                    </a:lnTo>
                    <a:lnTo>
                      <a:pt x="64" y="22"/>
                    </a:lnTo>
                    <a:lnTo>
                      <a:pt x="65" y="20"/>
                    </a:lnTo>
                    <a:lnTo>
                      <a:pt x="67" y="22"/>
                    </a:lnTo>
                    <a:lnTo>
                      <a:pt x="71" y="22"/>
                    </a:lnTo>
                    <a:lnTo>
                      <a:pt x="71" y="20"/>
                    </a:lnTo>
                    <a:lnTo>
                      <a:pt x="73" y="19"/>
                    </a:lnTo>
                    <a:lnTo>
                      <a:pt x="73" y="18"/>
                    </a:lnTo>
                    <a:lnTo>
                      <a:pt x="73" y="16"/>
                    </a:lnTo>
                    <a:lnTo>
                      <a:pt x="76" y="16"/>
                    </a:lnTo>
                    <a:lnTo>
                      <a:pt x="81" y="19"/>
                    </a:lnTo>
                    <a:lnTo>
                      <a:pt x="93" y="19"/>
                    </a:lnTo>
                    <a:lnTo>
                      <a:pt x="96" y="20"/>
                    </a:lnTo>
                    <a:lnTo>
                      <a:pt x="97" y="22"/>
                    </a:lnTo>
                    <a:lnTo>
                      <a:pt x="99" y="20"/>
                    </a:lnTo>
                    <a:lnTo>
                      <a:pt x="103" y="20"/>
                    </a:lnTo>
                    <a:lnTo>
                      <a:pt x="108" y="26"/>
                    </a:lnTo>
                    <a:lnTo>
                      <a:pt x="109" y="25"/>
                    </a:lnTo>
                    <a:lnTo>
                      <a:pt x="112" y="25"/>
                    </a:lnTo>
                    <a:lnTo>
                      <a:pt x="112" y="25"/>
                    </a:lnTo>
                    <a:lnTo>
                      <a:pt x="116" y="22"/>
                    </a:lnTo>
                    <a:lnTo>
                      <a:pt x="118" y="22"/>
                    </a:lnTo>
                    <a:lnTo>
                      <a:pt x="119" y="22"/>
                    </a:lnTo>
                    <a:lnTo>
                      <a:pt x="121" y="20"/>
                    </a:lnTo>
                    <a:lnTo>
                      <a:pt x="121" y="20"/>
                    </a:lnTo>
                    <a:lnTo>
                      <a:pt x="122" y="22"/>
                    </a:lnTo>
                    <a:lnTo>
                      <a:pt x="126" y="23"/>
                    </a:lnTo>
                    <a:lnTo>
                      <a:pt x="126" y="23"/>
                    </a:lnTo>
                    <a:lnTo>
                      <a:pt x="126" y="22"/>
                    </a:lnTo>
                    <a:lnTo>
                      <a:pt x="126" y="20"/>
                    </a:lnTo>
                    <a:lnTo>
                      <a:pt x="126" y="20"/>
                    </a:lnTo>
                    <a:lnTo>
                      <a:pt x="126" y="18"/>
                    </a:lnTo>
                    <a:lnTo>
                      <a:pt x="129" y="15"/>
                    </a:lnTo>
                    <a:lnTo>
                      <a:pt x="129" y="15"/>
                    </a:lnTo>
                    <a:lnTo>
                      <a:pt x="131" y="16"/>
                    </a:lnTo>
                    <a:lnTo>
                      <a:pt x="134" y="15"/>
                    </a:lnTo>
                    <a:lnTo>
                      <a:pt x="135" y="16"/>
                    </a:lnTo>
                    <a:lnTo>
                      <a:pt x="137" y="16"/>
                    </a:lnTo>
                    <a:lnTo>
                      <a:pt x="138" y="16"/>
                    </a:lnTo>
                    <a:lnTo>
                      <a:pt x="140" y="15"/>
                    </a:lnTo>
                    <a:lnTo>
                      <a:pt x="140" y="13"/>
                    </a:lnTo>
                    <a:lnTo>
                      <a:pt x="138" y="12"/>
                    </a:lnTo>
                    <a:lnTo>
                      <a:pt x="138" y="10"/>
                    </a:lnTo>
                    <a:lnTo>
                      <a:pt x="144" y="3"/>
                    </a:lnTo>
                    <a:lnTo>
                      <a:pt x="144" y="2"/>
                    </a:lnTo>
                    <a:lnTo>
                      <a:pt x="145" y="0"/>
                    </a:lnTo>
                    <a:lnTo>
                      <a:pt x="145" y="0"/>
                    </a:lnTo>
                    <a:lnTo>
                      <a:pt x="147" y="0"/>
                    </a:lnTo>
                    <a:lnTo>
                      <a:pt x="148" y="0"/>
                    </a:lnTo>
                    <a:lnTo>
                      <a:pt x="151" y="0"/>
                    </a:lnTo>
                    <a:lnTo>
                      <a:pt x="154" y="3"/>
                    </a:lnTo>
                    <a:lnTo>
                      <a:pt x="154" y="4"/>
                    </a:lnTo>
                    <a:lnTo>
                      <a:pt x="153" y="7"/>
                    </a:lnTo>
                    <a:lnTo>
                      <a:pt x="153" y="9"/>
                    </a:lnTo>
                    <a:lnTo>
                      <a:pt x="154" y="9"/>
                    </a:lnTo>
                    <a:lnTo>
                      <a:pt x="155" y="10"/>
                    </a:lnTo>
                    <a:lnTo>
                      <a:pt x="155" y="9"/>
                    </a:lnTo>
                    <a:lnTo>
                      <a:pt x="157" y="10"/>
                    </a:lnTo>
                    <a:lnTo>
                      <a:pt x="157" y="10"/>
                    </a:lnTo>
                    <a:lnTo>
                      <a:pt x="157" y="12"/>
                    </a:lnTo>
                    <a:lnTo>
                      <a:pt x="157" y="13"/>
                    </a:lnTo>
                    <a:lnTo>
                      <a:pt x="157" y="16"/>
                    </a:lnTo>
                    <a:lnTo>
                      <a:pt x="157" y="18"/>
                    </a:lnTo>
                    <a:lnTo>
                      <a:pt x="155" y="19"/>
                    </a:lnTo>
                    <a:lnTo>
                      <a:pt x="155" y="20"/>
                    </a:lnTo>
                    <a:lnTo>
                      <a:pt x="155" y="23"/>
                    </a:lnTo>
                    <a:lnTo>
                      <a:pt x="158" y="32"/>
                    </a:lnTo>
                    <a:lnTo>
                      <a:pt x="160" y="32"/>
                    </a:lnTo>
                    <a:lnTo>
                      <a:pt x="160" y="32"/>
                    </a:lnTo>
                    <a:lnTo>
                      <a:pt x="169" y="26"/>
                    </a:lnTo>
                    <a:lnTo>
                      <a:pt x="174" y="26"/>
                    </a:lnTo>
                    <a:lnTo>
                      <a:pt x="174" y="25"/>
                    </a:lnTo>
                    <a:lnTo>
                      <a:pt x="176" y="23"/>
                    </a:lnTo>
                    <a:lnTo>
                      <a:pt x="177" y="22"/>
                    </a:lnTo>
                    <a:lnTo>
                      <a:pt x="177" y="22"/>
                    </a:lnTo>
                    <a:lnTo>
                      <a:pt x="179" y="22"/>
                    </a:lnTo>
                    <a:lnTo>
                      <a:pt x="182" y="19"/>
                    </a:lnTo>
                    <a:lnTo>
                      <a:pt x="183" y="19"/>
                    </a:lnTo>
                    <a:lnTo>
                      <a:pt x="185" y="18"/>
                    </a:lnTo>
                    <a:lnTo>
                      <a:pt x="186" y="18"/>
                    </a:lnTo>
                    <a:lnTo>
                      <a:pt x="187" y="19"/>
                    </a:lnTo>
                    <a:lnTo>
                      <a:pt x="189" y="19"/>
                    </a:lnTo>
                    <a:lnTo>
                      <a:pt x="189" y="22"/>
                    </a:lnTo>
                    <a:lnTo>
                      <a:pt x="190" y="22"/>
                    </a:lnTo>
                    <a:lnTo>
                      <a:pt x="190" y="22"/>
                    </a:lnTo>
                    <a:lnTo>
                      <a:pt x="192" y="20"/>
                    </a:lnTo>
                    <a:lnTo>
                      <a:pt x="192" y="20"/>
                    </a:lnTo>
                    <a:lnTo>
                      <a:pt x="193" y="20"/>
                    </a:lnTo>
                    <a:lnTo>
                      <a:pt x="199" y="19"/>
                    </a:lnTo>
                    <a:lnTo>
                      <a:pt x="201" y="19"/>
                    </a:lnTo>
                    <a:lnTo>
                      <a:pt x="202" y="20"/>
                    </a:lnTo>
                    <a:lnTo>
                      <a:pt x="203" y="20"/>
                    </a:lnTo>
                    <a:lnTo>
                      <a:pt x="205" y="20"/>
                    </a:lnTo>
                    <a:lnTo>
                      <a:pt x="205" y="22"/>
                    </a:lnTo>
                    <a:lnTo>
                      <a:pt x="203" y="22"/>
                    </a:lnTo>
                    <a:lnTo>
                      <a:pt x="203" y="22"/>
                    </a:lnTo>
                    <a:lnTo>
                      <a:pt x="203" y="22"/>
                    </a:lnTo>
                    <a:lnTo>
                      <a:pt x="202" y="20"/>
                    </a:lnTo>
                    <a:lnTo>
                      <a:pt x="201" y="22"/>
                    </a:lnTo>
                    <a:lnTo>
                      <a:pt x="199" y="23"/>
                    </a:lnTo>
                    <a:lnTo>
                      <a:pt x="199" y="25"/>
                    </a:lnTo>
                    <a:lnTo>
                      <a:pt x="201" y="25"/>
                    </a:lnTo>
                    <a:lnTo>
                      <a:pt x="202" y="26"/>
                    </a:lnTo>
                    <a:lnTo>
                      <a:pt x="201" y="28"/>
                    </a:lnTo>
                    <a:lnTo>
                      <a:pt x="199" y="26"/>
                    </a:lnTo>
                    <a:lnTo>
                      <a:pt x="198" y="28"/>
                    </a:lnTo>
                    <a:lnTo>
                      <a:pt x="196" y="28"/>
                    </a:lnTo>
                    <a:lnTo>
                      <a:pt x="195" y="29"/>
                    </a:lnTo>
                    <a:lnTo>
                      <a:pt x="193" y="29"/>
                    </a:lnTo>
                    <a:lnTo>
                      <a:pt x="190" y="28"/>
                    </a:lnTo>
                    <a:lnTo>
                      <a:pt x="187" y="28"/>
                    </a:lnTo>
                    <a:lnTo>
                      <a:pt x="187" y="28"/>
                    </a:lnTo>
                    <a:lnTo>
                      <a:pt x="173" y="29"/>
                    </a:lnTo>
                    <a:lnTo>
                      <a:pt x="170" y="31"/>
                    </a:lnTo>
                    <a:lnTo>
                      <a:pt x="169" y="31"/>
                    </a:lnTo>
                    <a:lnTo>
                      <a:pt x="167" y="32"/>
                    </a:lnTo>
                    <a:lnTo>
                      <a:pt x="166" y="32"/>
                    </a:lnTo>
                    <a:lnTo>
                      <a:pt x="166" y="34"/>
                    </a:lnTo>
                    <a:lnTo>
                      <a:pt x="164" y="34"/>
                    </a:lnTo>
                    <a:lnTo>
                      <a:pt x="163" y="35"/>
                    </a:lnTo>
                    <a:lnTo>
                      <a:pt x="163" y="35"/>
                    </a:lnTo>
                    <a:lnTo>
                      <a:pt x="163" y="36"/>
                    </a:lnTo>
                    <a:lnTo>
                      <a:pt x="161" y="36"/>
                    </a:lnTo>
                    <a:lnTo>
                      <a:pt x="160" y="36"/>
                    </a:lnTo>
                    <a:lnTo>
                      <a:pt x="158" y="36"/>
                    </a:lnTo>
                    <a:lnTo>
                      <a:pt x="158" y="36"/>
                    </a:lnTo>
                    <a:lnTo>
                      <a:pt x="158" y="38"/>
                    </a:lnTo>
                    <a:lnTo>
                      <a:pt x="154" y="41"/>
                    </a:lnTo>
                    <a:lnTo>
                      <a:pt x="153" y="42"/>
                    </a:lnTo>
                    <a:lnTo>
                      <a:pt x="153" y="44"/>
                    </a:lnTo>
                    <a:lnTo>
                      <a:pt x="153" y="44"/>
                    </a:lnTo>
                    <a:lnTo>
                      <a:pt x="157" y="47"/>
                    </a:lnTo>
                    <a:lnTo>
                      <a:pt x="158" y="54"/>
                    </a:lnTo>
                    <a:lnTo>
                      <a:pt x="158" y="54"/>
                    </a:lnTo>
                    <a:lnTo>
                      <a:pt x="158" y="55"/>
                    </a:lnTo>
                    <a:lnTo>
                      <a:pt x="158" y="57"/>
                    </a:lnTo>
                    <a:lnTo>
                      <a:pt x="158" y="57"/>
                    </a:lnTo>
                    <a:lnTo>
                      <a:pt x="158" y="60"/>
                    </a:lnTo>
                    <a:lnTo>
                      <a:pt x="153" y="67"/>
                    </a:lnTo>
                    <a:lnTo>
                      <a:pt x="151" y="68"/>
                    </a:lnTo>
                    <a:lnTo>
                      <a:pt x="150" y="70"/>
                    </a:lnTo>
                    <a:lnTo>
                      <a:pt x="150" y="71"/>
                    </a:lnTo>
                    <a:lnTo>
                      <a:pt x="151" y="71"/>
                    </a:lnTo>
                    <a:lnTo>
                      <a:pt x="153" y="73"/>
                    </a:lnTo>
                    <a:lnTo>
                      <a:pt x="151" y="73"/>
                    </a:lnTo>
                    <a:lnTo>
                      <a:pt x="151" y="76"/>
                    </a:lnTo>
                    <a:lnTo>
                      <a:pt x="150" y="77"/>
                    </a:lnTo>
                    <a:lnTo>
                      <a:pt x="145" y="79"/>
                    </a:lnTo>
                    <a:lnTo>
                      <a:pt x="137" y="77"/>
                    </a:lnTo>
                    <a:lnTo>
                      <a:pt x="135" y="79"/>
                    </a:lnTo>
                    <a:lnTo>
                      <a:pt x="135" y="80"/>
                    </a:lnTo>
                    <a:lnTo>
                      <a:pt x="137" y="83"/>
                    </a:lnTo>
                    <a:lnTo>
                      <a:pt x="138" y="83"/>
                    </a:lnTo>
                    <a:lnTo>
                      <a:pt x="138" y="87"/>
                    </a:lnTo>
                    <a:lnTo>
                      <a:pt x="140" y="89"/>
                    </a:lnTo>
                    <a:lnTo>
                      <a:pt x="140" y="89"/>
                    </a:lnTo>
                    <a:lnTo>
                      <a:pt x="135" y="93"/>
                    </a:lnTo>
                    <a:lnTo>
                      <a:pt x="132" y="93"/>
                    </a:lnTo>
                    <a:lnTo>
                      <a:pt x="129" y="95"/>
                    </a:lnTo>
                    <a:lnTo>
                      <a:pt x="129" y="97"/>
                    </a:lnTo>
                    <a:lnTo>
                      <a:pt x="128" y="97"/>
                    </a:lnTo>
                    <a:lnTo>
                      <a:pt x="126" y="99"/>
                    </a:lnTo>
                    <a:lnTo>
                      <a:pt x="128" y="100"/>
                    </a:lnTo>
                    <a:lnTo>
                      <a:pt x="126" y="102"/>
                    </a:lnTo>
                    <a:lnTo>
                      <a:pt x="126" y="102"/>
                    </a:lnTo>
                    <a:lnTo>
                      <a:pt x="125" y="105"/>
                    </a:lnTo>
                    <a:lnTo>
                      <a:pt x="125" y="113"/>
                    </a:lnTo>
                    <a:lnTo>
                      <a:pt x="121" y="119"/>
                    </a:lnTo>
                    <a:lnTo>
                      <a:pt x="119" y="119"/>
                    </a:lnTo>
                    <a:lnTo>
                      <a:pt x="118" y="119"/>
                    </a:lnTo>
                    <a:lnTo>
                      <a:pt x="118" y="118"/>
                    </a:lnTo>
                    <a:lnTo>
                      <a:pt x="118" y="116"/>
                    </a:lnTo>
                    <a:lnTo>
                      <a:pt x="115" y="115"/>
                    </a:lnTo>
                    <a:lnTo>
                      <a:pt x="115" y="115"/>
                    </a:lnTo>
                    <a:lnTo>
                      <a:pt x="113" y="116"/>
                    </a:lnTo>
                    <a:lnTo>
                      <a:pt x="115" y="116"/>
                    </a:lnTo>
                    <a:lnTo>
                      <a:pt x="115" y="118"/>
                    </a:lnTo>
                    <a:lnTo>
                      <a:pt x="110" y="116"/>
                    </a:lnTo>
                    <a:lnTo>
                      <a:pt x="109" y="116"/>
                    </a:lnTo>
                    <a:lnTo>
                      <a:pt x="108" y="116"/>
                    </a:lnTo>
                    <a:lnTo>
                      <a:pt x="106" y="118"/>
                    </a:lnTo>
                    <a:lnTo>
                      <a:pt x="103" y="121"/>
                    </a:lnTo>
                    <a:lnTo>
                      <a:pt x="102" y="121"/>
                    </a:lnTo>
                    <a:lnTo>
                      <a:pt x="102" y="122"/>
                    </a:lnTo>
                    <a:lnTo>
                      <a:pt x="103" y="122"/>
                    </a:lnTo>
                    <a:lnTo>
                      <a:pt x="103" y="124"/>
                    </a:lnTo>
                    <a:lnTo>
                      <a:pt x="103" y="124"/>
                    </a:lnTo>
                    <a:lnTo>
                      <a:pt x="93" y="125"/>
                    </a:lnTo>
                    <a:lnTo>
                      <a:pt x="93" y="124"/>
                    </a:lnTo>
                    <a:lnTo>
                      <a:pt x="92" y="124"/>
                    </a:lnTo>
                    <a:lnTo>
                      <a:pt x="90" y="125"/>
                    </a:lnTo>
                    <a:lnTo>
                      <a:pt x="89" y="127"/>
                    </a:lnTo>
                    <a:lnTo>
                      <a:pt x="86" y="129"/>
                    </a:lnTo>
                    <a:lnTo>
                      <a:pt x="83" y="135"/>
                    </a:lnTo>
                    <a:lnTo>
                      <a:pt x="83" y="138"/>
                    </a:lnTo>
                    <a:lnTo>
                      <a:pt x="83" y="143"/>
                    </a:lnTo>
                    <a:lnTo>
                      <a:pt x="83" y="144"/>
                    </a:lnTo>
                    <a:lnTo>
                      <a:pt x="83" y="145"/>
                    </a:lnTo>
                    <a:lnTo>
                      <a:pt x="83" y="147"/>
                    </a:lnTo>
                    <a:lnTo>
                      <a:pt x="81" y="148"/>
                    </a:lnTo>
                    <a:lnTo>
                      <a:pt x="65" y="153"/>
                    </a:lnTo>
                    <a:lnTo>
                      <a:pt x="55" y="153"/>
                    </a:lnTo>
                    <a:lnTo>
                      <a:pt x="54" y="153"/>
                    </a:lnTo>
                    <a:lnTo>
                      <a:pt x="52" y="153"/>
                    </a:lnTo>
                    <a:lnTo>
                      <a:pt x="52" y="154"/>
                    </a:lnTo>
                    <a:lnTo>
                      <a:pt x="51" y="156"/>
                    </a:lnTo>
                    <a:lnTo>
                      <a:pt x="47" y="153"/>
                    </a:lnTo>
                    <a:lnTo>
                      <a:pt x="31" y="154"/>
                    </a:lnTo>
                    <a:lnTo>
                      <a:pt x="29" y="156"/>
                    </a:lnTo>
                    <a:lnTo>
                      <a:pt x="28" y="156"/>
                    </a:lnTo>
                    <a:lnTo>
                      <a:pt x="6" y="148"/>
                    </a:lnTo>
                    <a:lnTo>
                      <a:pt x="6" y="148"/>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15" name="Freeform 1291"/>
              <p:cNvSpPr>
                <a:spLocks/>
              </p:cNvSpPr>
              <p:nvPr/>
            </p:nvSpPr>
            <p:spPr bwMode="auto">
              <a:xfrm>
                <a:off x="7163552" y="2806096"/>
                <a:ext cx="106214" cy="65918"/>
              </a:xfrm>
              <a:custGeom>
                <a:avLst/>
                <a:gdLst/>
                <a:ahLst/>
                <a:cxnLst>
                  <a:cxn ang="0">
                    <a:pos x="112" y="51"/>
                  </a:cxn>
                  <a:cxn ang="0">
                    <a:pos x="113" y="55"/>
                  </a:cxn>
                  <a:cxn ang="0">
                    <a:pos x="112" y="61"/>
                  </a:cxn>
                  <a:cxn ang="0">
                    <a:pos x="106" y="63"/>
                  </a:cxn>
                  <a:cxn ang="0">
                    <a:pos x="97" y="61"/>
                  </a:cxn>
                  <a:cxn ang="0">
                    <a:pos x="70" y="57"/>
                  </a:cxn>
                  <a:cxn ang="0">
                    <a:pos x="59" y="48"/>
                  </a:cxn>
                  <a:cxn ang="0">
                    <a:pos x="46" y="47"/>
                  </a:cxn>
                  <a:cxn ang="0">
                    <a:pos x="36" y="44"/>
                  </a:cxn>
                  <a:cxn ang="0">
                    <a:pos x="29" y="41"/>
                  </a:cxn>
                  <a:cxn ang="0">
                    <a:pos x="20" y="38"/>
                  </a:cxn>
                  <a:cxn ang="0">
                    <a:pos x="12" y="29"/>
                  </a:cxn>
                  <a:cxn ang="0">
                    <a:pos x="7" y="29"/>
                  </a:cxn>
                  <a:cxn ang="0">
                    <a:pos x="4" y="26"/>
                  </a:cxn>
                  <a:cxn ang="0">
                    <a:pos x="0" y="23"/>
                  </a:cxn>
                  <a:cxn ang="0">
                    <a:pos x="1" y="20"/>
                  </a:cxn>
                  <a:cxn ang="0">
                    <a:pos x="3" y="15"/>
                  </a:cxn>
                  <a:cxn ang="0">
                    <a:pos x="4" y="10"/>
                  </a:cxn>
                  <a:cxn ang="0">
                    <a:pos x="7" y="7"/>
                  </a:cxn>
                  <a:cxn ang="0">
                    <a:pos x="10" y="3"/>
                  </a:cxn>
                  <a:cxn ang="0">
                    <a:pos x="12" y="2"/>
                  </a:cxn>
                  <a:cxn ang="0">
                    <a:pos x="14" y="3"/>
                  </a:cxn>
                  <a:cxn ang="0">
                    <a:pos x="17" y="3"/>
                  </a:cxn>
                  <a:cxn ang="0">
                    <a:pos x="17" y="0"/>
                  </a:cxn>
                  <a:cxn ang="0">
                    <a:pos x="33" y="3"/>
                  </a:cxn>
                  <a:cxn ang="0">
                    <a:pos x="42" y="9"/>
                  </a:cxn>
                  <a:cxn ang="0">
                    <a:pos x="48" y="19"/>
                  </a:cxn>
                  <a:cxn ang="0">
                    <a:pos x="52" y="19"/>
                  </a:cxn>
                  <a:cxn ang="0">
                    <a:pos x="54" y="16"/>
                  </a:cxn>
                  <a:cxn ang="0">
                    <a:pos x="58" y="16"/>
                  </a:cxn>
                  <a:cxn ang="0">
                    <a:pos x="58" y="20"/>
                  </a:cxn>
                  <a:cxn ang="0">
                    <a:pos x="59" y="23"/>
                  </a:cxn>
                  <a:cxn ang="0">
                    <a:pos x="62" y="26"/>
                  </a:cxn>
                  <a:cxn ang="0">
                    <a:pos x="67" y="28"/>
                  </a:cxn>
                  <a:cxn ang="0">
                    <a:pos x="71" y="26"/>
                  </a:cxn>
                  <a:cxn ang="0">
                    <a:pos x="73" y="32"/>
                  </a:cxn>
                  <a:cxn ang="0">
                    <a:pos x="80" y="33"/>
                  </a:cxn>
                  <a:cxn ang="0">
                    <a:pos x="83" y="38"/>
                  </a:cxn>
                  <a:cxn ang="0">
                    <a:pos x="86" y="38"/>
                  </a:cxn>
                  <a:cxn ang="0">
                    <a:pos x="90" y="39"/>
                  </a:cxn>
                  <a:cxn ang="0">
                    <a:pos x="93" y="36"/>
                  </a:cxn>
                  <a:cxn ang="0">
                    <a:pos x="103" y="41"/>
                  </a:cxn>
                  <a:cxn ang="0">
                    <a:pos x="110" y="39"/>
                  </a:cxn>
                </a:cxnLst>
                <a:rect l="0" t="0" r="r" b="b"/>
                <a:pathLst>
                  <a:path w="115" h="63">
                    <a:moveTo>
                      <a:pt x="113" y="39"/>
                    </a:moveTo>
                    <a:lnTo>
                      <a:pt x="113" y="41"/>
                    </a:lnTo>
                    <a:lnTo>
                      <a:pt x="112" y="51"/>
                    </a:lnTo>
                    <a:lnTo>
                      <a:pt x="110" y="52"/>
                    </a:lnTo>
                    <a:lnTo>
                      <a:pt x="110" y="54"/>
                    </a:lnTo>
                    <a:lnTo>
                      <a:pt x="113" y="55"/>
                    </a:lnTo>
                    <a:lnTo>
                      <a:pt x="115" y="57"/>
                    </a:lnTo>
                    <a:lnTo>
                      <a:pt x="113" y="60"/>
                    </a:lnTo>
                    <a:lnTo>
                      <a:pt x="112" y="61"/>
                    </a:lnTo>
                    <a:lnTo>
                      <a:pt x="112" y="63"/>
                    </a:lnTo>
                    <a:lnTo>
                      <a:pt x="109" y="63"/>
                    </a:lnTo>
                    <a:lnTo>
                      <a:pt x="106" y="63"/>
                    </a:lnTo>
                    <a:lnTo>
                      <a:pt x="103" y="63"/>
                    </a:lnTo>
                    <a:lnTo>
                      <a:pt x="100" y="63"/>
                    </a:lnTo>
                    <a:lnTo>
                      <a:pt x="97" y="61"/>
                    </a:lnTo>
                    <a:lnTo>
                      <a:pt x="81" y="60"/>
                    </a:lnTo>
                    <a:lnTo>
                      <a:pt x="80" y="58"/>
                    </a:lnTo>
                    <a:lnTo>
                      <a:pt x="70" y="57"/>
                    </a:lnTo>
                    <a:lnTo>
                      <a:pt x="64" y="52"/>
                    </a:lnTo>
                    <a:lnTo>
                      <a:pt x="61" y="49"/>
                    </a:lnTo>
                    <a:lnTo>
                      <a:pt x="59" y="48"/>
                    </a:lnTo>
                    <a:lnTo>
                      <a:pt x="54" y="48"/>
                    </a:lnTo>
                    <a:lnTo>
                      <a:pt x="54" y="48"/>
                    </a:lnTo>
                    <a:lnTo>
                      <a:pt x="46" y="47"/>
                    </a:lnTo>
                    <a:lnTo>
                      <a:pt x="45" y="48"/>
                    </a:lnTo>
                    <a:lnTo>
                      <a:pt x="38" y="47"/>
                    </a:lnTo>
                    <a:lnTo>
                      <a:pt x="36" y="44"/>
                    </a:lnTo>
                    <a:lnTo>
                      <a:pt x="35" y="44"/>
                    </a:lnTo>
                    <a:lnTo>
                      <a:pt x="32" y="44"/>
                    </a:lnTo>
                    <a:lnTo>
                      <a:pt x="29" y="41"/>
                    </a:lnTo>
                    <a:lnTo>
                      <a:pt x="26" y="39"/>
                    </a:lnTo>
                    <a:lnTo>
                      <a:pt x="23" y="39"/>
                    </a:lnTo>
                    <a:lnTo>
                      <a:pt x="20" y="38"/>
                    </a:lnTo>
                    <a:lnTo>
                      <a:pt x="16" y="33"/>
                    </a:lnTo>
                    <a:lnTo>
                      <a:pt x="12" y="31"/>
                    </a:lnTo>
                    <a:lnTo>
                      <a:pt x="12" y="29"/>
                    </a:lnTo>
                    <a:lnTo>
                      <a:pt x="7" y="28"/>
                    </a:lnTo>
                    <a:lnTo>
                      <a:pt x="7" y="28"/>
                    </a:lnTo>
                    <a:lnTo>
                      <a:pt x="7" y="29"/>
                    </a:lnTo>
                    <a:lnTo>
                      <a:pt x="6" y="29"/>
                    </a:lnTo>
                    <a:lnTo>
                      <a:pt x="4" y="28"/>
                    </a:lnTo>
                    <a:lnTo>
                      <a:pt x="4" y="26"/>
                    </a:lnTo>
                    <a:lnTo>
                      <a:pt x="3" y="25"/>
                    </a:lnTo>
                    <a:lnTo>
                      <a:pt x="0" y="25"/>
                    </a:lnTo>
                    <a:lnTo>
                      <a:pt x="0" y="23"/>
                    </a:lnTo>
                    <a:lnTo>
                      <a:pt x="0" y="22"/>
                    </a:lnTo>
                    <a:lnTo>
                      <a:pt x="1" y="20"/>
                    </a:lnTo>
                    <a:lnTo>
                      <a:pt x="1" y="20"/>
                    </a:lnTo>
                    <a:lnTo>
                      <a:pt x="3" y="19"/>
                    </a:lnTo>
                    <a:lnTo>
                      <a:pt x="3" y="17"/>
                    </a:lnTo>
                    <a:lnTo>
                      <a:pt x="3" y="15"/>
                    </a:lnTo>
                    <a:lnTo>
                      <a:pt x="3" y="13"/>
                    </a:lnTo>
                    <a:lnTo>
                      <a:pt x="4" y="12"/>
                    </a:lnTo>
                    <a:lnTo>
                      <a:pt x="4" y="10"/>
                    </a:lnTo>
                    <a:lnTo>
                      <a:pt x="4" y="9"/>
                    </a:lnTo>
                    <a:lnTo>
                      <a:pt x="4" y="7"/>
                    </a:lnTo>
                    <a:lnTo>
                      <a:pt x="7" y="7"/>
                    </a:lnTo>
                    <a:lnTo>
                      <a:pt x="7" y="6"/>
                    </a:lnTo>
                    <a:lnTo>
                      <a:pt x="9" y="4"/>
                    </a:lnTo>
                    <a:lnTo>
                      <a:pt x="10" y="3"/>
                    </a:lnTo>
                    <a:lnTo>
                      <a:pt x="10" y="2"/>
                    </a:lnTo>
                    <a:lnTo>
                      <a:pt x="12" y="2"/>
                    </a:lnTo>
                    <a:lnTo>
                      <a:pt x="12" y="2"/>
                    </a:lnTo>
                    <a:lnTo>
                      <a:pt x="13" y="2"/>
                    </a:lnTo>
                    <a:lnTo>
                      <a:pt x="14" y="2"/>
                    </a:lnTo>
                    <a:lnTo>
                      <a:pt x="14" y="3"/>
                    </a:lnTo>
                    <a:lnTo>
                      <a:pt x="17" y="4"/>
                    </a:lnTo>
                    <a:lnTo>
                      <a:pt x="17" y="3"/>
                    </a:lnTo>
                    <a:lnTo>
                      <a:pt x="17" y="3"/>
                    </a:lnTo>
                    <a:lnTo>
                      <a:pt x="17" y="2"/>
                    </a:lnTo>
                    <a:lnTo>
                      <a:pt x="17" y="0"/>
                    </a:lnTo>
                    <a:lnTo>
                      <a:pt x="17" y="0"/>
                    </a:lnTo>
                    <a:lnTo>
                      <a:pt x="23" y="0"/>
                    </a:lnTo>
                    <a:lnTo>
                      <a:pt x="23" y="0"/>
                    </a:lnTo>
                    <a:lnTo>
                      <a:pt x="33" y="3"/>
                    </a:lnTo>
                    <a:lnTo>
                      <a:pt x="35" y="4"/>
                    </a:lnTo>
                    <a:lnTo>
                      <a:pt x="39" y="9"/>
                    </a:lnTo>
                    <a:lnTo>
                      <a:pt x="42" y="9"/>
                    </a:lnTo>
                    <a:lnTo>
                      <a:pt x="46" y="15"/>
                    </a:lnTo>
                    <a:lnTo>
                      <a:pt x="48" y="19"/>
                    </a:lnTo>
                    <a:lnTo>
                      <a:pt x="48" y="19"/>
                    </a:lnTo>
                    <a:lnTo>
                      <a:pt x="51" y="20"/>
                    </a:lnTo>
                    <a:lnTo>
                      <a:pt x="52" y="19"/>
                    </a:lnTo>
                    <a:lnTo>
                      <a:pt x="52" y="19"/>
                    </a:lnTo>
                    <a:lnTo>
                      <a:pt x="54" y="17"/>
                    </a:lnTo>
                    <a:lnTo>
                      <a:pt x="54" y="17"/>
                    </a:lnTo>
                    <a:lnTo>
                      <a:pt x="54" y="16"/>
                    </a:lnTo>
                    <a:lnTo>
                      <a:pt x="55" y="16"/>
                    </a:lnTo>
                    <a:lnTo>
                      <a:pt x="57" y="16"/>
                    </a:lnTo>
                    <a:lnTo>
                      <a:pt x="58" y="16"/>
                    </a:lnTo>
                    <a:lnTo>
                      <a:pt x="59" y="17"/>
                    </a:lnTo>
                    <a:lnTo>
                      <a:pt x="58" y="19"/>
                    </a:lnTo>
                    <a:lnTo>
                      <a:pt x="58" y="20"/>
                    </a:lnTo>
                    <a:lnTo>
                      <a:pt x="58" y="23"/>
                    </a:lnTo>
                    <a:lnTo>
                      <a:pt x="58" y="25"/>
                    </a:lnTo>
                    <a:lnTo>
                      <a:pt x="59" y="23"/>
                    </a:lnTo>
                    <a:lnTo>
                      <a:pt x="59" y="25"/>
                    </a:lnTo>
                    <a:lnTo>
                      <a:pt x="61" y="26"/>
                    </a:lnTo>
                    <a:lnTo>
                      <a:pt x="62" y="26"/>
                    </a:lnTo>
                    <a:lnTo>
                      <a:pt x="64" y="28"/>
                    </a:lnTo>
                    <a:lnTo>
                      <a:pt x="65" y="26"/>
                    </a:lnTo>
                    <a:lnTo>
                      <a:pt x="67" y="28"/>
                    </a:lnTo>
                    <a:lnTo>
                      <a:pt x="70" y="28"/>
                    </a:lnTo>
                    <a:lnTo>
                      <a:pt x="70" y="28"/>
                    </a:lnTo>
                    <a:lnTo>
                      <a:pt x="71" y="26"/>
                    </a:lnTo>
                    <a:lnTo>
                      <a:pt x="73" y="26"/>
                    </a:lnTo>
                    <a:lnTo>
                      <a:pt x="71" y="31"/>
                    </a:lnTo>
                    <a:lnTo>
                      <a:pt x="73" y="32"/>
                    </a:lnTo>
                    <a:lnTo>
                      <a:pt x="75" y="35"/>
                    </a:lnTo>
                    <a:lnTo>
                      <a:pt x="77" y="33"/>
                    </a:lnTo>
                    <a:lnTo>
                      <a:pt x="80" y="33"/>
                    </a:lnTo>
                    <a:lnTo>
                      <a:pt x="81" y="36"/>
                    </a:lnTo>
                    <a:lnTo>
                      <a:pt x="81" y="36"/>
                    </a:lnTo>
                    <a:lnTo>
                      <a:pt x="83" y="38"/>
                    </a:lnTo>
                    <a:lnTo>
                      <a:pt x="83" y="39"/>
                    </a:lnTo>
                    <a:lnTo>
                      <a:pt x="84" y="38"/>
                    </a:lnTo>
                    <a:lnTo>
                      <a:pt x="86" y="38"/>
                    </a:lnTo>
                    <a:lnTo>
                      <a:pt x="87" y="39"/>
                    </a:lnTo>
                    <a:lnTo>
                      <a:pt x="88" y="38"/>
                    </a:lnTo>
                    <a:lnTo>
                      <a:pt x="90" y="39"/>
                    </a:lnTo>
                    <a:lnTo>
                      <a:pt x="91" y="39"/>
                    </a:lnTo>
                    <a:lnTo>
                      <a:pt x="91" y="38"/>
                    </a:lnTo>
                    <a:lnTo>
                      <a:pt x="93" y="36"/>
                    </a:lnTo>
                    <a:lnTo>
                      <a:pt x="96" y="36"/>
                    </a:lnTo>
                    <a:lnTo>
                      <a:pt x="97" y="39"/>
                    </a:lnTo>
                    <a:lnTo>
                      <a:pt x="103" y="41"/>
                    </a:lnTo>
                    <a:lnTo>
                      <a:pt x="104" y="41"/>
                    </a:lnTo>
                    <a:lnTo>
                      <a:pt x="109" y="41"/>
                    </a:lnTo>
                    <a:lnTo>
                      <a:pt x="110" y="39"/>
                    </a:lnTo>
                    <a:lnTo>
                      <a:pt x="113" y="38"/>
                    </a:lnTo>
                    <a:lnTo>
                      <a:pt x="113" y="39"/>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16" name="Freeform 1292"/>
              <p:cNvSpPr>
                <a:spLocks/>
              </p:cNvSpPr>
              <p:nvPr/>
            </p:nvSpPr>
            <p:spPr bwMode="auto">
              <a:xfrm>
                <a:off x="7163552" y="2806096"/>
                <a:ext cx="106214" cy="65918"/>
              </a:xfrm>
              <a:custGeom>
                <a:avLst/>
                <a:gdLst/>
                <a:ahLst/>
                <a:cxnLst>
                  <a:cxn ang="0">
                    <a:pos x="112" y="51"/>
                  </a:cxn>
                  <a:cxn ang="0">
                    <a:pos x="113" y="55"/>
                  </a:cxn>
                  <a:cxn ang="0">
                    <a:pos x="112" y="61"/>
                  </a:cxn>
                  <a:cxn ang="0">
                    <a:pos x="106" y="63"/>
                  </a:cxn>
                  <a:cxn ang="0">
                    <a:pos x="97" y="61"/>
                  </a:cxn>
                  <a:cxn ang="0">
                    <a:pos x="70" y="57"/>
                  </a:cxn>
                  <a:cxn ang="0">
                    <a:pos x="59" y="48"/>
                  </a:cxn>
                  <a:cxn ang="0">
                    <a:pos x="46" y="47"/>
                  </a:cxn>
                  <a:cxn ang="0">
                    <a:pos x="36" y="44"/>
                  </a:cxn>
                  <a:cxn ang="0">
                    <a:pos x="29" y="41"/>
                  </a:cxn>
                  <a:cxn ang="0">
                    <a:pos x="20" y="38"/>
                  </a:cxn>
                  <a:cxn ang="0">
                    <a:pos x="12" y="29"/>
                  </a:cxn>
                  <a:cxn ang="0">
                    <a:pos x="7" y="29"/>
                  </a:cxn>
                  <a:cxn ang="0">
                    <a:pos x="4" y="26"/>
                  </a:cxn>
                  <a:cxn ang="0">
                    <a:pos x="0" y="23"/>
                  </a:cxn>
                  <a:cxn ang="0">
                    <a:pos x="1" y="20"/>
                  </a:cxn>
                  <a:cxn ang="0">
                    <a:pos x="3" y="15"/>
                  </a:cxn>
                  <a:cxn ang="0">
                    <a:pos x="4" y="10"/>
                  </a:cxn>
                  <a:cxn ang="0">
                    <a:pos x="7" y="7"/>
                  </a:cxn>
                  <a:cxn ang="0">
                    <a:pos x="10" y="3"/>
                  </a:cxn>
                  <a:cxn ang="0">
                    <a:pos x="12" y="2"/>
                  </a:cxn>
                  <a:cxn ang="0">
                    <a:pos x="14" y="3"/>
                  </a:cxn>
                  <a:cxn ang="0">
                    <a:pos x="17" y="3"/>
                  </a:cxn>
                  <a:cxn ang="0">
                    <a:pos x="17" y="0"/>
                  </a:cxn>
                  <a:cxn ang="0">
                    <a:pos x="33" y="3"/>
                  </a:cxn>
                  <a:cxn ang="0">
                    <a:pos x="42" y="9"/>
                  </a:cxn>
                  <a:cxn ang="0">
                    <a:pos x="48" y="19"/>
                  </a:cxn>
                  <a:cxn ang="0">
                    <a:pos x="52" y="19"/>
                  </a:cxn>
                  <a:cxn ang="0">
                    <a:pos x="54" y="16"/>
                  </a:cxn>
                  <a:cxn ang="0">
                    <a:pos x="58" y="16"/>
                  </a:cxn>
                  <a:cxn ang="0">
                    <a:pos x="58" y="20"/>
                  </a:cxn>
                  <a:cxn ang="0">
                    <a:pos x="59" y="23"/>
                  </a:cxn>
                  <a:cxn ang="0">
                    <a:pos x="62" y="26"/>
                  </a:cxn>
                  <a:cxn ang="0">
                    <a:pos x="67" y="28"/>
                  </a:cxn>
                  <a:cxn ang="0">
                    <a:pos x="71" y="26"/>
                  </a:cxn>
                  <a:cxn ang="0">
                    <a:pos x="73" y="32"/>
                  </a:cxn>
                  <a:cxn ang="0">
                    <a:pos x="80" y="33"/>
                  </a:cxn>
                  <a:cxn ang="0">
                    <a:pos x="83" y="38"/>
                  </a:cxn>
                  <a:cxn ang="0">
                    <a:pos x="86" y="38"/>
                  </a:cxn>
                  <a:cxn ang="0">
                    <a:pos x="90" y="39"/>
                  </a:cxn>
                  <a:cxn ang="0">
                    <a:pos x="93" y="36"/>
                  </a:cxn>
                  <a:cxn ang="0">
                    <a:pos x="103" y="41"/>
                  </a:cxn>
                  <a:cxn ang="0">
                    <a:pos x="110" y="39"/>
                  </a:cxn>
                </a:cxnLst>
                <a:rect l="0" t="0" r="r" b="b"/>
                <a:pathLst>
                  <a:path w="115" h="63">
                    <a:moveTo>
                      <a:pt x="113" y="39"/>
                    </a:moveTo>
                    <a:lnTo>
                      <a:pt x="113" y="41"/>
                    </a:lnTo>
                    <a:lnTo>
                      <a:pt x="112" y="51"/>
                    </a:lnTo>
                    <a:lnTo>
                      <a:pt x="110" y="52"/>
                    </a:lnTo>
                    <a:lnTo>
                      <a:pt x="110" y="54"/>
                    </a:lnTo>
                    <a:lnTo>
                      <a:pt x="113" y="55"/>
                    </a:lnTo>
                    <a:lnTo>
                      <a:pt x="115" y="57"/>
                    </a:lnTo>
                    <a:lnTo>
                      <a:pt x="113" y="60"/>
                    </a:lnTo>
                    <a:lnTo>
                      <a:pt x="112" y="61"/>
                    </a:lnTo>
                    <a:lnTo>
                      <a:pt x="112" y="63"/>
                    </a:lnTo>
                    <a:lnTo>
                      <a:pt x="109" y="63"/>
                    </a:lnTo>
                    <a:lnTo>
                      <a:pt x="106" y="63"/>
                    </a:lnTo>
                    <a:lnTo>
                      <a:pt x="103" y="63"/>
                    </a:lnTo>
                    <a:lnTo>
                      <a:pt x="100" y="63"/>
                    </a:lnTo>
                    <a:lnTo>
                      <a:pt x="97" y="61"/>
                    </a:lnTo>
                    <a:lnTo>
                      <a:pt x="81" y="60"/>
                    </a:lnTo>
                    <a:lnTo>
                      <a:pt x="80" y="58"/>
                    </a:lnTo>
                    <a:lnTo>
                      <a:pt x="70" y="57"/>
                    </a:lnTo>
                    <a:lnTo>
                      <a:pt x="64" y="52"/>
                    </a:lnTo>
                    <a:lnTo>
                      <a:pt x="61" y="49"/>
                    </a:lnTo>
                    <a:lnTo>
                      <a:pt x="59" y="48"/>
                    </a:lnTo>
                    <a:lnTo>
                      <a:pt x="54" y="48"/>
                    </a:lnTo>
                    <a:lnTo>
                      <a:pt x="54" y="48"/>
                    </a:lnTo>
                    <a:lnTo>
                      <a:pt x="46" y="47"/>
                    </a:lnTo>
                    <a:lnTo>
                      <a:pt x="45" y="48"/>
                    </a:lnTo>
                    <a:lnTo>
                      <a:pt x="38" y="47"/>
                    </a:lnTo>
                    <a:lnTo>
                      <a:pt x="36" y="44"/>
                    </a:lnTo>
                    <a:lnTo>
                      <a:pt x="35" y="44"/>
                    </a:lnTo>
                    <a:lnTo>
                      <a:pt x="32" y="44"/>
                    </a:lnTo>
                    <a:lnTo>
                      <a:pt x="29" y="41"/>
                    </a:lnTo>
                    <a:lnTo>
                      <a:pt x="26" y="39"/>
                    </a:lnTo>
                    <a:lnTo>
                      <a:pt x="23" y="39"/>
                    </a:lnTo>
                    <a:lnTo>
                      <a:pt x="20" y="38"/>
                    </a:lnTo>
                    <a:lnTo>
                      <a:pt x="16" y="33"/>
                    </a:lnTo>
                    <a:lnTo>
                      <a:pt x="12" y="31"/>
                    </a:lnTo>
                    <a:lnTo>
                      <a:pt x="12" y="29"/>
                    </a:lnTo>
                    <a:lnTo>
                      <a:pt x="7" y="28"/>
                    </a:lnTo>
                    <a:lnTo>
                      <a:pt x="7" y="28"/>
                    </a:lnTo>
                    <a:lnTo>
                      <a:pt x="7" y="29"/>
                    </a:lnTo>
                    <a:lnTo>
                      <a:pt x="6" y="29"/>
                    </a:lnTo>
                    <a:lnTo>
                      <a:pt x="4" y="28"/>
                    </a:lnTo>
                    <a:lnTo>
                      <a:pt x="4" y="26"/>
                    </a:lnTo>
                    <a:lnTo>
                      <a:pt x="3" y="25"/>
                    </a:lnTo>
                    <a:lnTo>
                      <a:pt x="0" y="25"/>
                    </a:lnTo>
                    <a:lnTo>
                      <a:pt x="0" y="23"/>
                    </a:lnTo>
                    <a:lnTo>
                      <a:pt x="0" y="22"/>
                    </a:lnTo>
                    <a:lnTo>
                      <a:pt x="1" y="20"/>
                    </a:lnTo>
                    <a:lnTo>
                      <a:pt x="1" y="20"/>
                    </a:lnTo>
                    <a:lnTo>
                      <a:pt x="3" y="19"/>
                    </a:lnTo>
                    <a:lnTo>
                      <a:pt x="3" y="17"/>
                    </a:lnTo>
                    <a:lnTo>
                      <a:pt x="3" y="15"/>
                    </a:lnTo>
                    <a:lnTo>
                      <a:pt x="3" y="13"/>
                    </a:lnTo>
                    <a:lnTo>
                      <a:pt x="4" y="12"/>
                    </a:lnTo>
                    <a:lnTo>
                      <a:pt x="4" y="10"/>
                    </a:lnTo>
                    <a:lnTo>
                      <a:pt x="4" y="9"/>
                    </a:lnTo>
                    <a:lnTo>
                      <a:pt x="4" y="7"/>
                    </a:lnTo>
                    <a:lnTo>
                      <a:pt x="7" y="7"/>
                    </a:lnTo>
                    <a:lnTo>
                      <a:pt x="7" y="6"/>
                    </a:lnTo>
                    <a:lnTo>
                      <a:pt x="9" y="4"/>
                    </a:lnTo>
                    <a:lnTo>
                      <a:pt x="10" y="3"/>
                    </a:lnTo>
                    <a:lnTo>
                      <a:pt x="10" y="2"/>
                    </a:lnTo>
                    <a:lnTo>
                      <a:pt x="12" y="2"/>
                    </a:lnTo>
                    <a:lnTo>
                      <a:pt x="12" y="2"/>
                    </a:lnTo>
                    <a:lnTo>
                      <a:pt x="13" y="2"/>
                    </a:lnTo>
                    <a:lnTo>
                      <a:pt x="14" y="2"/>
                    </a:lnTo>
                    <a:lnTo>
                      <a:pt x="14" y="3"/>
                    </a:lnTo>
                    <a:lnTo>
                      <a:pt x="17" y="4"/>
                    </a:lnTo>
                    <a:lnTo>
                      <a:pt x="17" y="3"/>
                    </a:lnTo>
                    <a:lnTo>
                      <a:pt x="17" y="3"/>
                    </a:lnTo>
                    <a:lnTo>
                      <a:pt x="17" y="2"/>
                    </a:lnTo>
                    <a:lnTo>
                      <a:pt x="17" y="0"/>
                    </a:lnTo>
                    <a:lnTo>
                      <a:pt x="17" y="0"/>
                    </a:lnTo>
                    <a:lnTo>
                      <a:pt x="23" y="0"/>
                    </a:lnTo>
                    <a:lnTo>
                      <a:pt x="23" y="0"/>
                    </a:lnTo>
                    <a:lnTo>
                      <a:pt x="33" y="3"/>
                    </a:lnTo>
                    <a:lnTo>
                      <a:pt x="35" y="4"/>
                    </a:lnTo>
                    <a:lnTo>
                      <a:pt x="39" y="9"/>
                    </a:lnTo>
                    <a:lnTo>
                      <a:pt x="42" y="9"/>
                    </a:lnTo>
                    <a:lnTo>
                      <a:pt x="46" y="15"/>
                    </a:lnTo>
                    <a:lnTo>
                      <a:pt x="48" y="19"/>
                    </a:lnTo>
                    <a:lnTo>
                      <a:pt x="48" y="19"/>
                    </a:lnTo>
                    <a:lnTo>
                      <a:pt x="51" y="20"/>
                    </a:lnTo>
                    <a:lnTo>
                      <a:pt x="52" y="19"/>
                    </a:lnTo>
                    <a:lnTo>
                      <a:pt x="52" y="19"/>
                    </a:lnTo>
                    <a:lnTo>
                      <a:pt x="54" y="17"/>
                    </a:lnTo>
                    <a:lnTo>
                      <a:pt x="54" y="17"/>
                    </a:lnTo>
                    <a:lnTo>
                      <a:pt x="54" y="16"/>
                    </a:lnTo>
                    <a:lnTo>
                      <a:pt x="55" y="16"/>
                    </a:lnTo>
                    <a:lnTo>
                      <a:pt x="57" y="16"/>
                    </a:lnTo>
                    <a:lnTo>
                      <a:pt x="58" y="16"/>
                    </a:lnTo>
                    <a:lnTo>
                      <a:pt x="59" y="17"/>
                    </a:lnTo>
                    <a:lnTo>
                      <a:pt x="58" y="19"/>
                    </a:lnTo>
                    <a:lnTo>
                      <a:pt x="58" y="20"/>
                    </a:lnTo>
                    <a:lnTo>
                      <a:pt x="58" y="23"/>
                    </a:lnTo>
                    <a:lnTo>
                      <a:pt x="58" y="25"/>
                    </a:lnTo>
                    <a:lnTo>
                      <a:pt x="59" y="23"/>
                    </a:lnTo>
                    <a:lnTo>
                      <a:pt x="59" y="25"/>
                    </a:lnTo>
                    <a:lnTo>
                      <a:pt x="61" y="26"/>
                    </a:lnTo>
                    <a:lnTo>
                      <a:pt x="62" y="26"/>
                    </a:lnTo>
                    <a:lnTo>
                      <a:pt x="64" y="28"/>
                    </a:lnTo>
                    <a:lnTo>
                      <a:pt x="65" y="26"/>
                    </a:lnTo>
                    <a:lnTo>
                      <a:pt x="67" y="28"/>
                    </a:lnTo>
                    <a:lnTo>
                      <a:pt x="70" y="28"/>
                    </a:lnTo>
                    <a:lnTo>
                      <a:pt x="70" y="28"/>
                    </a:lnTo>
                    <a:lnTo>
                      <a:pt x="71" y="26"/>
                    </a:lnTo>
                    <a:lnTo>
                      <a:pt x="73" y="26"/>
                    </a:lnTo>
                    <a:lnTo>
                      <a:pt x="71" y="31"/>
                    </a:lnTo>
                    <a:lnTo>
                      <a:pt x="73" y="32"/>
                    </a:lnTo>
                    <a:lnTo>
                      <a:pt x="75" y="35"/>
                    </a:lnTo>
                    <a:lnTo>
                      <a:pt x="77" y="33"/>
                    </a:lnTo>
                    <a:lnTo>
                      <a:pt x="80" y="33"/>
                    </a:lnTo>
                    <a:lnTo>
                      <a:pt x="81" y="36"/>
                    </a:lnTo>
                    <a:lnTo>
                      <a:pt x="81" y="36"/>
                    </a:lnTo>
                    <a:lnTo>
                      <a:pt x="83" y="38"/>
                    </a:lnTo>
                    <a:lnTo>
                      <a:pt x="83" y="39"/>
                    </a:lnTo>
                    <a:lnTo>
                      <a:pt x="84" y="38"/>
                    </a:lnTo>
                    <a:lnTo>
                      <a:pt x="86" y="38"/>
                    </a:lnTo>
                    <a:lnTo>
                      <a:pt x="87" y="39"/>
                    </a:lnTo>
                    <a:lnTo>
                      <a:pt x="88" y="38"/>
                    </a:lnTo>
                    <a:lnTo>
                      <a:pt x="90" y="39"/>
                    </a:lnTo>
                    <a:lnTo>
                      <a:pt x="91" y="39"/>
                    </a:lnTo>
                    <a:lnTo>
                      <a:pt x="91" y="38"/>
                    </a:lnTo>
                    <a:lnTo>
                      <a:pt x="93" y="36"/>
                    </a:lnTo>
                    <a:lnTo>
                      <a:pt x="96" y="36"/>
                    </a:lnTo>
                    <a:lnTo>
                      <a:pt x="97" y="39"/>
                    </a:lnTo>
                    <a:lnTo>
                      <a:pt x="103" y="41"/>
                    </a:lnTo>
                    <a:lnTo>
                      <a:pt x="104" y="41"/>
                    </a:lnTo>
                    <a:lnTo>
                      <a:pt x="109" y="41"/>
                    </a:lnTo>
                    <a:lnTo>
                      <a:pt x="110" y="39"/>
                    </a:lnTo>
                    <a:lnTo>
                      <a:pt x="113" y="38"/>
                    </a:lnTo>
                    <a:lnTo>
                      <a:pt x="113" y="39"/>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17" name="Freeform 1293"/>
              <p:cNvSpPr>
                <a:spLocks/>
              </p:cNvSpPr>
              <p:nvPr/>
            </p:nvSpPr>
            <p:spPr bwMode="auto">
              <a:xfrm>
                <a:off x="7264499" y="2869986"/>
                <a:ext cx="62324" cy="90258"/>
              </a:xfrm>
              <a:custGeom>
                <a:avLst/>
                <a:gdLst/>
                <a:ahLst/>
                <a:cxnLst>
                  <a:cxn ang="0">
                    <a:pos x="63" y="87"/>
                  </a:cxn>
                  <a:cxn ang="0">
                    <a:pos x="53" y="60"/>
                  </a:cxn>
                  <a:cxn ang="0">
                    <a:pos x="45" y="60"/>
                  </a:cxn>
                  <a:cxn ang="0">
                    <a:pos x="42" y="55"/>
                  </a:cxn>
                  <a:cxn ang="0">
                    <a:pos x="39" y="58"/>
                  </a:cxn>
                  <a:cxn ang="0">
                    <a:pos x="38" y="65"/>
                  </a:cxn>
                  <a:cxn ang="0">
                    <a:pos x="32" y="73"/>
                  </a:cxn>
                  <a:cxn ang="0">
                    <a:pos x="29" y="70"/>
                  </a:cxn>
                  <a:cxn ang="0">
                    <a:pos x="26" y="74"/>
                  </a:cxn>
                  <a:cxn ang="0">
                    <a:pos x="23" y="73"/>
                  </a:cxn>
                  <a:cxn ang="0">
                    <a:pos x="21" y="74"/>
                  </a:cxn>
                  <a:cxn ang="0">
                    <a:pos x="19" y="74"/>
                  </a:cxn>
                  <a:cxn ang="0">
                    <a:pos x="16" y="76"/>
                  </a:cxn>
                  <a:cxn ang="0">
                    <a:pos x="13" y="71"/>
                  </a:cxn>
                  <a:cxn ang="0">
                    <a:pos x="13" y="67"/>
                  </a:cxn>
                  <a:cxn ang="0">
                    <a:pos x="12" y="63"/>
                  </a:cxn>
                  <a:cxn ang="0">
                    <a:pos x="10" y="58"/>
                  </a:cxn>
                  <a:cxn ang="0">
                    <a:pos x="10" y="55"/>
                  </a:cxn>
                  <a:cxn ang="0">
                    <a:pos x="10" y="51"/>
                  </a:cxn>
                  <a:cxn ang="0">
                    <a:pos x="10" y="47"/>
                  </a:cxn>
                  <a:cxn ang="0">
                    <a:pos x="9" y="34"/>
                  </a:cxn>
                  <a:cxn ang="0">
                    <a:pos x="0" y="28"/>
                  </a:cxn>
                  <a:cxn ang="0">
                    <a:pos x="0" y="25"/>
                  </a:cxn>
                  <a:cxn ang="0">
                    <a:pos x="3" y="22"/>
                  </a:cxn>
                  <a:cxn ang="0">
                    <a:pos x="6" y="19"/>
                  </a:cxn>
                  <a:cxn ang="0">
                    <a:pos x="10" y="18"/>
                  </a:cxn>
                  <a:cxn ang="0">
                    <a:pos x="10" y="15"/>
                  </a:cxn>
                  <a:cxn ang="0">
                    <a:pos x="5" y="15"/>
                  </a:cxn>
                  <a:cxn ang="0">
                    <a:pos x="3" y="10"/>
                  </a:cxn>
                  <a:cxn ang="0">
                    <a:pos x="8" y="0"/>
                  </a:cxn>
                  <a:cxn ang="0">
                    <a:pos x="12" y="6"/>
                  </a:cxn>
                  <a:cxn ang="0">
                    <a:pos x="15" y="2"/>
                  </a:cxn>
                  <a:cxn ang="0">
                    <a:pos x="18" y="7"/>
                  </a:cxn>
                  <a:cxn ang="0">
                    <a:pos x="22" y="9"/>
                  </a:cxn>
                  <a:cxn ang="0">
                    <a:pos x="26" y="16"/>
                  </a:cxn>
                  <a:cxn ang="0">
                    <a:pos x="31" y="19"/>
                  </a:cxn>
                  <a:cxn ang="0">
                    <a:pos x="44" y="19"/>
                  </a:cxn>
                  <a:cxn ang="0">
                    <a:pos x="63" y="22"/>
                  </a:cxn>
                  <a:cxn ang="0">
                    <a:pos x="60" y="25"/>
                  </a:cxn>
                  <a:cxn ang="0">
                    <a:pos x="53" y="35"/>
                  </a:cxn>
                  <a:cxn ang="0">
                    <a:pos x="45" y="41"/>
                  </a:cxn>
                  <a:cxn ang="0">
                    <a:pos x="51" y="49"/>
                  </a:cxn>
                  <a:cxn ang="0">
                    <a:pos x="54" y="54"/>
                  </a:cxn>
                  <a:cxn ang="0">
                    <a:pos x="60" y="42"/>
                  </a:cxn>
                  <a:cxn ang="0">
                    <a:pos x="68" y="71"/>
                  </a:cxn>
                  <a:cxn ang="0">
                    <a:pos x="68" y="80"/>
                  </a:cxn>
                  <a:cxn ang="0">
                    <a:pos x="64" y="80"/>
                  </a:cxn>
                </a:cxnLst>
                <a:rect l="0" t="0" r="r" b="b"/>
                <a:pathLst>
                  <a:path w="68" h="87">
                    <a:moveTo>
                      <a:pt x="63" y="87"/>
                    </a:moveTo>
                    <a:lnTo>
                      <a:pt x="63" y="87"/>
                    </a:lnTo>
                    <a:lnTo>
                      <a:pt x="57" y="65"/>
                    </a:lnTo>
                    <a:lnTo>
                      <a:pt x="53" y="60"/>
                    </a:lnTo>
                    <a:lnTo>
                      <a:pt x="51" y="58"/>
                    </a:lnTo>
                    <a:lnTo>
                      <a:pt x="45" y="60"/>
                    </a:lnTo>
                    <a:lnTo>
                      <a:pt x="44" y="58"/>
                    </a:lnTo>
                    <a:lnTo>
                      <a:pt x="42" y="55"/>
                    </a:lnTo>
                    <a:lnTo>
                      <a:pt x="41" y="55"/>
                    </a:lnTo>
                    <a:lnTo>
                      <a:pt x="39" y="58"/>
                    </a:lnTo>
                    <a:lnTo>
                      <a:pt x="38" y="60"/>
                    </a:lnTo>
                    <a:lnTo>
                      <a:pt x="38" y="65"/>
                    </a:lnTo>
                    <a:lnTo>
                      <a:pt x="34" y="73"/>
                    </a:lnTo>
                    <a:lnTo>
                      <a:pt x="32" y="73"/>
                    </a:lnTo>
                    <a:lnTo>
                      <a:pt x="29" y="68"/>
                    </a:lnTo>
                    <a:lnTo>
                      <a:pt x="29" y="70"/>
                    </a:lnTo>
                    <a:lnTo>
                      <a:pt x="28" y="71"/>
                    </a:lnTo>
                    <a:lnTo>
                      <a:pt x="26" y="74"/>
                    </a:lnTo>
                    <a:lnTo>
                      <a:pt x="25" y="73"/>
                    </a:lnTo>
                    <a:lnTo>
                      <a:pt x="23" y="73"/>
                    </a:lnTo>
                    <a:lnTo>
                      <a:pt x="21" y="73"/>
                    </a:lnTo>
                    <a:lnTo>
                      <a:pt x="21" y="74"/>
                    </a:lnTo>
                    <a:lnTo>
                      <a:pt x="19" y="74"/>
                    </a:lnTo>
                    <a:lnTo>
                      <a:pt x="19" y="74"/>
                    </a:lnTo>
                    <a:lnTo>
                      <a:pt x="18" y="76"/>
                    </a:lnTo>
                    <a:lnTo>
                      <a:pt x="16" y="76"/>
                    </a:lnTo>
                    <a:lnTo>
                      <a:pt x="15" y="76"/>
                    </a:lnTo>
                    <a:lnTo>
                      <a:pt x="13" y="71"/>
                    </a:lnTo>
                    <a:lnTo>
                      <a:pt x="13" y="70"/>
                    </a:lnTo>
                    <a:lnTo>
                      <a:pt x="13" y="67"/>
                    </a:lnTo>
                    <a:lnTo>
                      <a:pt x="13" y="64"/>
                    </a:lnTo>
                    <a:lnTo>
                      <a:pt x="12" y="63"/>
                    </a:lnTo>
                    <a:lnTo>
                      <a:pt x="12" y="61"/>
                    </a:lnTo>
                    <a:lnTo>
                      <a:pt x="10" y="58"/>
                    </a:lnTo>
                    <a:lnTo>
                      <a:pt x="10" y="55"/>
                    </a:lnTo>
                    <a:lnTo>
                      <a:pt x="10" y="55"/>
                    </a:lnTo>
                    <a:lnTo>
                      <a:pt x="12" y="51"/>
                    </a:lnTo>
                    <a:lnTo>
                      <a:pt x="10" y="51"/>
                    </a:lnTo>
                    <a:lnTo>
                      <a:pt x="10" y="49"/>
                    </a:lnTo>
                    <a:lnTo>
                      <a:pt x="10" y="47"/>
                    </a:lnTo>
                    <a:lnTo>
                      <a:pt x="9" y="45"/>
                    </a:lnTo>
                    <a:lnTo>
                      <a:pt x="9" y="34"/>
                    </a:lnTo>
                    <a:lnTo>
                      <a:pt x="6" y="31"/>
                    </a:lnTo>
                    <a:lnTo>
                      <a:pt x="0" y="28"/>
                    </a:lnTo>
                    <a:lnTo>
                      <a:pt x="0" y="26"/>
                    </a:lnTo>
                    <a:lnTo>
                      <a:pt x="0" y="25"/>
                    </a:lnTo>
                    <a:lnTo>
                      <a:pt x="2" y="23"/>
                    </a:lnTo>
                    <a:lnTo>
                      <a:pt x="3" y="22"/>
                    </a:lnTo>
                    <a:lnTo>
                      <a:pt x="5" y="22"/>
                    </a:lnTo>
                    <a:lnTo>
                      <a:pt x="6" y="19"/>
                    </a:lnTo>
                    <a:lnTo>
                      <a:pt x="10" y="19"/>
                    </a:lnTo>
                    <a:lnTo>
                      <a:pt x="10" y="18"/>
                    </a:lnTo>
                    <a:lnTo>
                      <a:pt x="10" y="16"/>
                    </a:lnTo>
                    <a:lnTo>
                      <a:pt x="10" y="15"/>
                    </a:lnTo>
                    <a:lnTo>
                      <a:pt x="6" y="16"/>
                    </a:lnTo>
                    <a:lnTo>
                      <a:pt x="5" y="15"/>
                    </a:lnTo>
                    <a:lnTo>
                      <a:pt x="3" y="10"/>
                    </a:lnTo>
                    <a:lnTo>
                      <a:pt x="3" y="10"/>
                    </a:lnTo>
                    <a:lnTo>
                      <a:pt x="6" y="3"/>
                    </a:lnTo>
                    <a:lnTo>
                      <a:pt x="8" y="0"/>
                    </a:lnTo>
                    <a:lnTo>
                      <a:pt x="9" y="0"/>
                    </a:lnTo>
                    <a:lnTo>
                      <a:pt x="12" y="6"/>
                    </a:lnTo>
                    <a:lnTo>
                      <a:pt x="13" y="0"/>
                    </a:lnTo>
                    <a:lnTo>
                      <a:pt x="15" y="2"/>
                    </a:lnTo>
                    <a:lnTo>
                      <a:pt x="16" y="6"/>
                    </a:lnTo>
                    <a:lnTo>
                      <a:pt x="18" y="7"/>
                    </a:lnTo>
                    <a:lnTo>
                      <a:pt x="19" y="6"/>
                    </a:lnTo>
                    <a:lnTo>
                      <a:pt x="22" y="9"/>
                    </a:lnTo>
                    <a:lnTo>
                      <a:pt x="23" y="4"/>
                    </a:lnTo>
                    <a:lnTo>
                      <a:pt x="26" y="16"/>
                    </a:lnTo>
                    <a:lnTo>
                      <a:pt x="28" y="18"/>
                    </a:lnTo>
                    <a:lnTo>
                      <a:pt x="31" y="19"/>
                    </a:lnTo>
                    <a:lnTo>
                      <a:pt x="42" y="20"/>
                    </a:lnTo>
                    <a:lnTo>
                      <a:pt x="44" y="19"/>
                    </a:lnTo>
                    <a:lnTo>
                      <a:pt x="53" y="19"/>
                    </a:lnTo>
                    <a:lnTo>
                      <a:pt x="63" y="22"/>
                    </a:lnTo>
                    <a:lnTo>
                      <a:pt x="63" y="23"/>
                    </a:lnTo>
                    <a:lnTo>
                      <a:pt x="60" y="25"/>
                    </a:lnTo>
                    <a:lnTo>
                      <a:pt x="58" y="28"/>
                    </a:lnTo>
                    <a:lnTo>
                      <a:pt x="53" y="35"/>
                    </a:lnTo>
                    <a:lnTo>
                      <a:pt x="47" y="38"/>
                    </a:lnTo>
                    <a:lnTo>
                      <a:pt x="45" y="41"/>
                    </a:lnTo>
                    <a:lnTo>
                      <a:pt x="48" y="49"/>
                    </a:lnTo>
                    <a:lnTo>
                      <a:pt x="51" y="49"/>
                    </a:lnTo>
                    <a:lnTo>
                      <a:pt x="53" y="52"/>
                    </a:lnTo>
                    <a:lnTo>
                      <a:pt x="54" y="54"/>
                    </a:lnTo>
                    <a:lnTo>
                      <a:pt x="57" y="47"/>
                    </a:lnTo>
                    <a:lnTo>
                      <a:pt x="60" y="42"/>
                    </a:lnTo>
                    <a:lnTo>
                      <a:pt x="61" y="42"/>
                    </a:lnTo>
                    <a:lnTo>
                      <a:pt x="68" y="71"/>
                    </a:lnTo>
                    <a:lnTo>
                      <a:pt x="67" y="71"/>
                    </a:lnTo>
                    <a:lnTo>
                      <a:pt x="68" y="80"/>
                    </a:lnTo>
                    <a:lnTo>
                      <a:pt x="66" y="79"/>
                    </a:lnTo>
                    <a:lnTo>
                      <a:pt x="64" y="80"/>
                    </a:lnTo>
                    <a:lnTo>
                      <a:pt x="63" y="87"/>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18" name="Freeform 1294"/>
              <p:cNvSpPr>
                <a:spLocks/>
              </p:cNvSpPr>
              <p:nvPr/>
            </p:nvSpPr>
            <p:spPr bwMode="auto">
              <a:xfrm>
                <a:off x="7264499" y="2869986"/>
                <a:ext cx="62324" cy="90258"/>
              </a:xfrm>
              <a:custGeom>
                <a:avLst/>
                <a:gdLst/>
                <a:ahLst/>
                <a:cxnLst>
                  <a:cxn ang="0">
                    <a:pos x="63" y="87"/>
                  </a:cxn>
                  <a:cxn ang="0">
                    <a:pos x="53" y="60"/>
                  </a:cxn>
                  <a:cxn ang="0">
                    <a:pos x="45" y="60"/>
                  </a:cxn>
                  <a:cxn ang="0">
                    <a:pos x="42" y="55"/>
                  </a:cxn>
                  <a:cxn ang="0">
                    <a:pos x="39" y="58"/>
                  </a:cxn>
                  <a:cxn ang="0">
                    <a:pos x="38" y="65"/>
                  </a:cxn>
                  <a:cxn ang="0">
                    <a:pos x="32" y="73"/>
                  </a:cxn>
                  <a:cxn ang="0">
                    <a:pos x="29" y="70"/>
                  </a:cxn>
                  <a:cxn ang="0">
                    <a:pos x="26" y="74"/>
                  </a:cxn>
                  <a:cxn ang="0">
                    <a:pos x="23" y="73"/>
                  </a:cxn>
                  <a:cxn ang="0">
                    <a:pos x="21" y="74"/>
                  </a:cxn>
                  <a:cxn ang="0">
                    <a:pos x="19" y="74"/>
                  </a:cxn>
                  <a:cxn ang="0">
                    <a:pos x="16" y="76"/>
                  </a:cxn>
                  <a:cxn ang="0">
                    <a:pos x="13" y="71"/>
                  </a:cxn>
                  <a:cxn ang="0">
                    <a:pos x="13" y="67"/>
                  </a:cxn>
                  <a:cxn ang="0">
                    <a:pos x="12" y="63"/>
                  </a:cxn>
                  <a:cxn ang="0">
                    <a:pos x="10" y="58"/>
                  </a:cxn>
                  <a:cxn ang="0">
                    <a:pos x="10" y="55"/>
                  </a:cxn>
                  <a:cxn ang="0">
                    <a:pos x="10" y="51"/>
                  </a:cxn>
                  <a:cxn ang="0">
                    <a:pos x="10" y="47"/>
                  </a:cxn>
                  <a:cxn ang="0">
                    <a:pos x="9" y="34"/>
                  </a:cxn>
                  <a:cxn ang="0">
                    <a:pos x="0" y="28"/>
                  </a:cxn>
                  <a:cxn ang="0">
                    <a:pos x="0" y="25"/>
                  </a:cxn>
                  <a:cxn ang="0">
                    <a:pos x="3" y="22"/>
                  </a:cxn>
                  <a:cxn ang="0">
                    <a:pos x="6" y="19"/>
                  </a:cxn>
                  <a:cxn ang="0">
                    <a:pos x="10" y="18"/>
                  </a:cxn>
                  <a:cxn ang="0">
                    <a:pos x="10" y="15"/>
                  </a:cxn>
                  <a:cxn ang="0">
                    <a:pos x="5" y="15"/>
                  </a:cxn>
                  <a:cxn ang="0">
                    <a:pos x="3" y="10"/>
                  </a:cxn>
                  <a:cxn ang="0">
                    <a:pos x="8" y="0"/>
                  </a:cxn>
                  <a:cxn ang="0">
                    <a:pos x="12" y="6"/>
                  </a:cxn>
                  <a:cxn ang="0">
                    <a:pos x="15" y="2"/>
                  </a:cxn>
                  <a:cxn ang="0">
                    <a:pos x="18" y="7"/>
                  </a:cxn>
                  <a:cxn ang="0">
                    <a:pos x="22" y="9"/>
                  </a:cxn>
                  <a:cxn ang="0">
                    <a:pos x="26" y="16"/>
                  </a:cxn>
                  <a:cxn ang="0">
                    <a:pos x="31" y="19"/>
                  </a:cxn>
                  <a:cxn ang="0">
                    <a:pos x="44" y="19"/>
                  </a:cxn>
                  <a:cxn ang="0">
                    <a:pos x="63" y="22"/>
                  </a:cxn>
                  <a:cxn ang="0">
                    <a:pos x="60" y="25"/>
                  </a:cxn>
                  <a:cxn ang="0">
                    <a:pos x="53" y="35"/>
                  </a:cxn>
                  <a:cxn ang="0">
                    <a:pos x="45" y="41"/>
                  </a:cxn>
                  <a:cxn ang="0">
                    <a:pos x="51" y="49"/>
                  </a:cxn>
                  <a:cxn ang="0">
                    <a:pos x="54" y="54"/>
                  </a:cxn>
                  <a:cxn ang="0">
                    <a:pos x="60" y="42"/>
                  </a:cxn>
                  <a:cxn ang="0">
                    <a:pos x="68" y="71"/>
                  </a:cxn>
                  <a:cxn ang="0">
                    <a:pos x="68" y="80"/>
                  </a:cxn>
                  <a:cxn ang="0">
                    <a:pos x="64" y="80"/>
                  </a:cxn>
                </a:cxnLst>
                <a:rect l="0" t="0" r="r" b="b"/>
                <a:pathLst>
                  <a:path w="68" h="87">
                    <a:moveTo>
                      <a:pt x="63" y="87"/>
                    </a:moveTo>
                    <a:lnTo>
                      <a:pt x="63" y="87"/>
                    </a:lnTo>
                    <a:lnTo>
                      <a:pt x="57" y="65"/>
                    </a:lnTo>
                    <a:lnTo>
                      <a:pt x="53" y="60"/>
                    </a:lnTo>
                    <a:lnTo>
                      <a:pt x="51" y="58"/>
                    </a:lnTo>
                    <a:lnTo>
                      <a:pt x="45" y="60"/>
                    </a:lnTo>
                    <a:lnTo>
                      <a:pt x="44" y="58"/>
                    </a:lnTo>
                    <a:lnTo>
                      <a:pt x="42" y="55"/>
                    </a:lnTo>
                    <a:lnTo>
                      <a:pt x="41" y="55"/>
                    </a:lnTo>
                    <a:lnTo>
                      <a:pt x="39" y="58"/>
                    </a:lnTo>
                    <a:lnTo>
                      <a:pt x="38" y="60"/>
                    </a:lnTo>
                    <a:lnTo>
                      <a:pt x="38" y="65"/>
                    </a:lnTo>
                    <a:lnTo>
                      <a:pt x="34" y="73"/>
                    </a:lnTo>
                    <a:lnTo>
                      <a:pt x="32" y="73"/>
                    </a:lnTo>
                    <a:lnTo>
                      <a:pt x="29" y="68"/>
                    </a:lnTo>
                    <a:lnTo>
                      <a:pt x="29" y="70"/>
                    </a:lnTo>
                    <a:lnTo>
                      <a:pt x="28" y="71"/>
                    </a:lnTo>
                    <a:lnTo>
                      <a:pt x="26" y="74"/>
                    </a:lnTo>
                    <a:lnTo>
                      <a:pt x="25" y="73"/>
                    </a:lnTo>
                    <a:lnTo>
                      <a:pt x="23" y="73"/>
                    </a:lnTo>
                    <a:lnTo>
                      <a:pt x="21" y="73"/>
                    </a:lnTo>
                    <a:lnTo>
                      <a:pt x="21" y="74"/>
                    </a:lnTo>
                    <a:lnTo>
                      <a:pt x="19" y="74"/>
                    </a:lnTo>
                    <a:lnTo>
                      <a:pt x="19" y="74"/>
                    </a:lnTo>
                    <a:lnTo>
                      <a:pt x="18" y="76"/>
                    </a:lnTo>
                    <a:lnTo>
                      <a:pt x="16" y="76"/>
                    </a:lnTo>
                    <a:lnTo>
                      <a:pt x="15" y="76"/>
                    </a:lnTo>
                    <a:lnTo>
                      <a:pt x="13" y="71"/>
                    </a:lnTo>
                    <a:lnTo>
                      <a:pt x="13" y="70"/>
                    </a:lnTo>
                    <a:lnTo>
                      <a:pt x="13" y="67"/>
                    </a:lnTo>
                    <a:lnTo>
                      <a:pt x="13" y="64"/>
                    </a:lnTo>
                    <a:lnTo>
                      <a:pt x="12" y="63"/>
                    </a:lnTo>
                    <a:lnTo>
                      <a:pt x="12" y="61"/>
                    </a:lnTo>
                    <a:lnTo>
                      <a:pt x="10" y="58"/>
                    </a:lnTo>
                    <a:lnTo>
                      <a:pt x="10" y="55"/>
                    </a:lnTo>
                    <a:lnTo>
                      <a:pt x="10" y="55"/>
                    </a:lnTo>
                    <a:lnTo>
                      <a:pt x="12" y="51"/>
                    </a:lnTo>
                    <a:lnTo>
                      <a:pt x="10" y="51"/>
                    </a:lnTo>
                    <a:lnTo>
                      <a:pt x="10" y="49"/>
                    </a:lnTo>
                    <a:lnTo>
                      <a:pt x="10" y="47"/>
                    </a:lnTo>
                    <a:lnTo>
                      <a:pt x="9" y="45"/>
                    </a:lnTo>
                    <a:lnTo>
                      <a:pt x="9" y="34"/>
                    </a:lnTo>
                    <a:lnTo>
                      <a:pt x="6" y="31"/>
                    </a:lnTo>
                    <a:lnTo>
                      <a:pt x="0" y="28"/>
                    </a:lnTo>
                    <a:lnTo>
                      <a:pt x="0" y="26"/>
                    </a:lnTo>
                    <a:lnTo>
                      <a:pt x="0" y="25"/>
                    </a:lnTo>
                    <a:lnTo>
                      <a:pt x="2" y="23"/>
                    </a:lnTo>
                    <a:lnTo>
                      <a:pt x="3" y="22"/>
                    </a:lnTo>
                    <a:lnTo>
                      <a:pt x="5" y="22"/>
                    </a:lnTo>
                    <a:lnTo>
                      <a:pt x="6" y="19"/>
                    </a:lnTo>
                    <a:lnTo>
                      <a:pt x="10" y="19"/>
                    </a:lnTo>
                    <a:lnTo>
                      <a:pt x="10" y="18"/>
                    </a:lnTo>
                    <a:lnTo>
                      <a:pt x="10" y="16"/>
                    </a:lnTo>
                    <a:lnTo>
                      <a:pt x="10" y="15"/>
                    </a:lnTo>
                    <a:lnTo>
                      <a:pt x="6" y="16"/>
                    </a:lnTo>
                    <a:lnTo>
                      <a:pt x="5" y="15"/>
                    </a:lnTo>
                    <a:lnTo>
                      <a:pt x="3" y="10"/>
                    </a:lnTo>
                    <a:lnTo>
                      <a:pt x="3" y="10"/>
                    </a:lnTo>
                    <a:lnTo>
                      <a:pt x="6" y="3"/>
                    </a:lnTo>
                    <a:lnTo>
                      <a:pt x="8" y="0"/>
                    </a:lnTo>
                    <a:lnTo>
                      <a:pt x="9" y="0"/>
                    </a:lnTo>
                    <a:lnTo>
                      <a:pt x="12" y="6"/>
                    </a:lnTo>
                    <a:lnTo>
                      <a:pt x="13" y="0"/>
                    </a:lnTo>
                    <a:lnTo>
                      <a:pt x="15" y="2"/>
                    </a:lnTo>
                    <a:lnTo>
                      <a:pt x="16" y="6"/>
                    </a:lnTo>
                    <a:lnTo>
                      <a:pt x="18" y="7"/>
                    </a:lnTo>
                    <a:lnTo>
                      <a:pt x="19" y="6"/>
                    </a:lnTo>
                    <a:lnTo>
                      <a:pt x="22" y="9"/>
                    </a:lnTo>
                    <a:lnTo>
                      <a:pt x="23" y="4"/>
                    </a:lnTo>
                    <a:lnTo>
                      <a:pt x="26" y="16"/>
                    </a:lnTo>
                    <a:lnTo>
                      <a:pt x="28" y="18"/>
                    </a:lnTo>
                    <a:lnTo>
                      <a:pt x="31" y="19"/>
                    </a:lnTo>
                    <a:lnTo>
                      <a:pt x="42" y="20"/>
                    </a:lnTo>
                    <a:lnTo>
                      <a:pt x="44" y="19"/>
                    </a:lnTo>
                    <a:lnTo>
                      <a:pt x="53" y="19"/>
                    </a:lnTo>
                    <a:lnTo>
                      <a:pt x="63" y="22"/>
                    </a:lnTo>
                    <a:lnTo>
                      <a:pt x="63" y="23"/>
                    </a:lnTo>
                    <a:lnTo>
                      <a:pt x="60" y="25"/>
                    </a:lnTo>
                    <a:lnTo>
                      <a:pt x="58" y="28"/>
                    </a:lnTo>
                    <a:lnTo>
                      <a:pt x="53" y="35"/>
                    </a:lnTo>
                    <a:lnTo>
                      <a:pt x="47" y="38"/>
                    </a:lnTo>
                    <a:lnTo>
                      <a:pt x="45" y="41"/>
                    </a:lnTo>
                    <a:lnTo>
                      <a:pt x="48" y="49"/>
                    </a:lnTo>
                    <a:lnTo>
                      <a:pt x="51" y="49"/>
                    </a:lnTo>
                    <a:lnTo>
                      <a:pt x="53" y="52"/>
                    </a:lnTo>
                    <a:lnTo>
                      <a:pt x="54" y="54"/>
                    </a:lnTo>
                    <a:lnTo>
                      <a:pt x="57" y="47"/>
                    </a:lnTo>
                    <a:lnTo>
                      <a:pt x="60" y="42"/>
                    </a:lnTo>
                    <a:lnTo>
                      <a:pt x="61" y="42"/>
                    </a:lnTo>
                    <a:lnTo>
                      <a:pt x="68" y="71"/>
                    </a:lnTo>
                    <a:lnTo>
                      <a:pt x="67" y="71"/>
                    </a:lnTo>
                    <a:lnTo>
                      <a:pt x="68" y="80"/>
                    </a:lnTo>
                    <a:lnTo>
                      <a:pt x="66" y="79"/>
                    </a:lnTo>
                    <a:lnTo>
                      <a:pt x="64" y="80"/>
                    </a:lnTo>
                    <a:lnTo>
                      <a:pt x="63" y="87"/>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19" name="Freeform 1295"/>
              <p:cNvSpPr>
                <a:spLocks/>
              </p:cNvSpPr>
              <p:nvPr/>
            </p:nvSpPr>
            <p:spPr bwMode="auto">
              <a:xfrm>
                <a:off x="6127747" y="3091067"/>
                <a:ext cx="40379" cy="92287"/>
              </a:xfrm>
              <a:custGeom>
                <a:avLst/>
                <a:gdLst/>
                <a:ahLst/>
                <a:cxnLst>
                  <a:cxn ang="0">
                    <a:pos x="41" y="9"/>
                  </a:cxn>
                  <a:cxn ang="0">
                    <a:pos x="31" y="0"/>
                  </a:cxn>
                  <a:cxn ang="0">
                    <a:pos x="29" y="2"/>
                  </a:cxn>
                  <a:cxn ang="0">
                    <a:pos x="25" y="2"/>
                  </a:cxn>
                  <a:cxn ang="0">
                    <a:pos x="25" y="3"/>
                  </a:cxn>
                  <a:cxn ang="0">
                    <a:pos x="26" y="5"/>
                  </a:cxn>
                  <a:cxn ang="0">
                    <a:pos x="25" y="6"/>
                  </a:cxn>
                  <a:cxn ang="0">
                    <a:pos x="25" y="6"/>
                  </a:cxn>
                  <a:cxn ang="0">
                    <a:pos x="25" y="6"/>
                  </a:cxn>
                  <a:cxn ang="0">
                    <a:pos x="24" y="8"/>
                  </a:cxn>
                  <a:cxn ang="0">
                    <a:pos x="24" y="9"/>
                  </a:cxn>
                  <a:cxn ang="0">
                    <a:pos x="24" y="9"/>
                  </a:cxn>
                  <a:cxn ang="0">
                    <a:pos x="22" y="10"/>
                  </a:cxn>
                  <a:cxn ang="0">
                    <a:pos x="19" y="13"/>
                  </a:cxn>
                  <a:cxn ang="0">
                    <a:pos x="18" y="13"/>
                  </a:cxn>
                  <a:cxn ang="0">
                    <a:pos x="16" y="13"/>
                  </a:cxn>
                  <a:cxn ang="0">
                    <a:pos x="15" y="13"/>
                  </a:cxn>
                  <a:cxn ang="0">
                    <a:pos x="12" y="13"/>
                  </a:cxn>
                  <a:cxn ang="0">
                    <a:pos x="10" y="13"/>
                  </a:cxn>
                  <a:cxn ang="0">
                    <a:pos x="10" y="13"/>
                  </a:cxn>
                  <a:cxn ang="0">
                    <a:pos x="8" y="16"/>
                  </a:cxn>
                  <a:cxn ang="0">
                    <a:pos x="8" y="16"/>
                  </a:cxn>
                  <a:cxn ang="0">
                    <a:pos x="6" y="16"/>
                  </a:cxn>
                  <a:cxn ang="0">
                    <a:pos x="6" y="18"/>
                  </a:cxn>
                  <a:cxn ang="0">
                    <a:pos x="6" y="18"/>
                  </a:cxn>
                  <a:cxn ang="0">
                    <a:pos x="5" y="19"/>
                  </a:cxn>
                  <a:cxn ang="0">
                    <a:pos x="5" y="19"/>
                  </a:cxn>
                  <a:cxn ang="0">
                    <a:pos x="3" y="21"/>
                  </a:cxn>
                  <a:cxn ang="0">
                    <a:pos x="2" y="23"/>
                  </a:cxn>
                  <a:cxn ang="0">
                    <a:pos x="2" y="25"/>
                  </a:cxn>
                  <a:cxn ang="0">
                    <a:pos x="0" y="28"/>
                  </a:cxn>
                  <a:cxn ang="0">
                    <a:pos x="2" y="29"/>
                  </a:cxn>
                  <a:cxn ang="0">
                    <a:pos x="2" y="31"/>
                  </a:cxn>
                  <a:cxn ang="0">
                    <a:pos x="5" y="31"/>
                  </a:cxn>
                  <a:cxn ang="0">
                    <a:pos x="5" y="31"/>
                  </a:cxn>
                  <a:cxn ang="0">
                    <a:pos x="6" y="32"/>
                  </a:cxn>
                  <a:cxn ang="0">
                    <a:pos x="9" y="37"/>
                  </a:cxn>
                  <a:cxn ang="0">
                    <a:pos x="16" y="86"/>
                  </a:cxn>
                  <a:cxn ang="0">
                    <a:pos x="18" y="89"/>
                  </a:cxn>
                  <a:cxn ang="0">
                    <a:pos x="31" y="87"/>
                  </a:cxn>
                  <a:cxn ang="0">
                    <a:pos x="29" y="86"/>
                  </a:cxn>
                  <a:cxn ang="0">
                    <a:pos x="31" y="55"/>
                  </a:cxn>
                  <a:cxn ang="0">
                    <a:pos x="35" y="48"/>
                  </a:cxn>
                  <a:cxn ang="0">
                    <a:pos x="35" y="41"/>
                  </a:cxn>
                  <a:cxn ang="0">
                    <a:pos x="41" y="35"/>
                  </a:cxn>
                  <a:cxn ang="0">
                    <a:pos x="41" y="34"/>
                  </a:cxn>
                  <a:cxn ang="0">
                    <a:pos x="42" y="34"/>
                  </a:cxn>
                  <a:cxn ang="0">
                    <a:pos x="42" y="34"/>
                  </a:cxn>
                  <a:cxn ang="0">
                    <a:pos x="42" y="32"/>
                  </a:cxn>
                  <a:cxn ang="0">
                    <a:pos x="41" y="31"/>
                  </a:cxn>
                  <a:cxn ang="0">
                    <a:pos x="41" y="31"/>
                  </a:cxn>
                  <a:cxn ang="0">
                    <a:pos x="42" y="29"/>
                  </a:cxn>
                  <a:cxn ang="0">
                    <a:pos x="42" y="28"/>
                  </a:cxn>
                  <a:cxn ang="0">
                    <a:pos x="44" y="28"/>
                  </a:cxn>
                  <a:cxn ang="0">
                    <a:pos x="44" y="28"/>
                  </a:cxn>
                  <a:cxn ang="0">
                    <a:pos x="42" y="18"/>
                  </a:cxn>
                  <a:cxn ang="0">
                    <a:pos x="41" y="15"/>
                  </a:cxn>
                  <a:cxn ang="0">
                    <a:pos x="40" y="15"/>
                  </a:cxn>
                  <a:cxn ang="0">
                    <a:pos x="41" y="12"/>
                  </a:cxn>
                  <a:cxn ang="0">
                    <a:pos x="41" y="9"/>
                  </a:cxn>
                </a:cxnLst>
                <a:rect l="0" t="0" r="r" b="b"/>
                <a:pathLst>
                  <a:path w="44" h="89">
                    <a:moveTo>
                      <a:pt x="41" y="9"/>
                    </a:moveTo>
                    <a:lnTo>
                      <a:pt x="31" y="0"/>
                    </a:lnTo>
                    <a:lnTo>
                      <a:pt x="29" y="2"/>
                    </a:lnTo>
                    <a:lnTo>
                      <a:pt x="25" y="2"/>
                    </a:lnTo>
                    <a:lnTo>
                      <a:pt x="25" y="3"/>
                    </a:lnTo>
                    <a:lnTo>
                      <a:pt x="26" y="5"/>
                    </a:lnTo>
                    <a:lnTo>
                      <a:pt x="25" y="6"/>
                    </a:lnTo>
                    <a:lnTo>
                      <a:pt x="25" y="6"/>
                    </a:lnTo>
                    <a:lnTo>
                      <a:pt x="25" y="6"/>
                    </a:lnTo>
                    <a:lnTo>
                      <a:pt x="24" y="8"/>
                    </a:lnTo>
                    <a:lnTo>
                      <a:pt x="24" y="9"/>
                    </a:lnTo>
                    <a:lnTo>
                      <a:pt x="24" y="9"/>
                    </a:lnTo>
                    <a:lnTo>
                      <a:pt x="22" y="10"/>
                    </a:lnTo>
                    <a:lnTo>
                      <a:pt x="19" y="13"/>
                    </a:lnTo>
                    <a:lnTo>
                      <a:pt x="18" y="13"/>
                    </a:lnTo>
                    <a:lnTo>
                      <a:pt x="16" y="13"/>
                    </a:lnTo>
                    <a:lnTo>
                      <a:pt x="15" y="13"/>
                    </a:lnTo>
                    <a:lnTo>
                      <a:pt x="12" y="13"/>
                    </a:lnTo>
                    <a:lnTo>
                      <a:pt x="10" y="13"/>
                    </a:lnTo>
                    <a:lnTo>
                      <a:pt x="10" y="13"/>
                    </a:lnTo>
                    <a:lnTo>
                      <a:pt x="8" y="16"/>
                    </a:lnTo>
                    <a:lnTo>
                      <a:pt x="8" y="16"/>
                    </a:lnTo>
                    <a:lnTo>
                      <a:pt x="6" y="16"/>
                    </a:lnTo>
                    <a:lnTo>
                      <a:pt x="6" y="18"/>
                    </a:lnTo>
                    <a:lnTo>
                      <a:pt x="6" y="18"/>
                    </a:lnTo>
                    <a:lnTo>
                      <a:pt x="5" y="19"/>
                    </a:lnTo>
                    <a:lnTo>
                      <a:pt x="5" y="19"/>
                    </a:lnTo>
                    <a:lnTo>
                      <a:pt x="3" y="21"/>
                    </a:lnTo>
                    <a:lnTo>
                      <a:pt x="2" y="23"/>
                    </a:lnTo>
                    <a:lnTo>
                      <a:pt x="2" y="25"/>
                    </a:lnTo>
                    <a:lnTo>
                      <a:pt x="0" y="28"/>
                    </a:lnTo>
                    <a:lnTo>
                      <a:pt x="2" y="29"/>
                    </a:lnTo>
                    <a:lnTo>
                      <a:pt x="2" y="31"/>
                    </a:lnTo>
                    <a:lnTo>
                      <a:pt x="5" y="31"/>
                    </a:lnTo>
                    <a:lnTo>
                      <a:pt x="5" y="31"/>
                    </a:lnTo>
                    <a:lnTo>
                      <a:pt x="6" y="32"/>
                    </a:lnTo>
                    <a:lnTo>
                      <a:pt x="9" y="37"/>
                    </a:lnTo>
                    <a:lnTo>
                      <a:pt x="16" y="86"/>
                    </a:lnTo>
                    <a:lnTo>
                      <a:pt x="18" y="89"/>
                    </a:lnTo>
                    <a:lnTo>
                      <a:pt x="31" y="87"/>
                    </a:lnTo>
                    <a:lnTo>
                      <a:pt x="29" y="86"/>
                    </a:lnTo>
                    <a:lnTo>
                      <a:pt x="31" y="55"/>
                    </a:lnTo>
                    <a:lnTo>
                      <a:pt x="35" y="48"/>
                    </a:lnTo>
                    <a:lnTo>
                      <a:pt x="35" y="41"/>
                    </a:lnTo>
                    <a:lnTo>
                      <a:pt x="41" y="35"/>
                    </a:lnTo>
                    <a:lnTo>
                      <a:pt x="41" y="34"/>
                    </a:lnTo>
                    <a:lnTo>
                      <a:pt x="42" y="34"/>
                    </a:lnTo>
                    <a:lnTo>
                      <a:pt x="42" y="34"/>
                    </a:lnTo>
                    <a:lnTo>
                      <a:pt x="42" y="32"/>
                    </a:lnTo>
                    <a:lnTo>
                      <a:pt x="41" y="31"/>
                    </a:lnTo>
                    <a:lnTo>
                      <a:pt x="41" y="31"/>
                    </a:lnTo>
                    <a:lnTo>
                      <a:pt x="42" y="29"/>
                    </a:lnTo>
                    <a:lnTo>
                      <a:pt x="42" y="28"/>
                    </a:lnTo>
                    <a:lnTo>
                      <a:pt x="44" y="28"/>
                    </a:lnTo>
                    <a:lnTo>
                      <a:pt x="44" y="28"/>
                    </a:lnTo>
                    <a:lnTo>
                      <a:pt x="42" y="18"/>
                    </a:lnTo>
                    <a:lnTo>
                      <a:pt x="41" y="15"/>
                    </a:lnTo>
                    <a:lnTo>
                      <a:pt x="40" y="15"/>
                    </a:lnTo>
                    <a:lnTo>
                      <a:pt x="41" y="12"/>
                    </a:lnTo>
                    <a:lnTo>
                      <a:pt x="41" y="9"/>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20" name="Freeform 1296"/>
              <p:cNvSpPr>
                <a:spLocks/>
              </p:cNvSpPr>
              <p:nvPr/>
            </p:nvSpPr>
            <p:spPr bwMode="auto">
              <a:xfrm>
                <a:off x="6127747" y="3091067"/>
                <a:ext cx="40379" cy="92287"/>
              </a:xfrm>
              <a:custGeom>
                <a:avLst/>
                <a:gdLst/>
                <a:ahLst/>
                <a:cxnLst>
                  <a:cxn ang="0">
                    <a:pos x="41" y="9"/>
                  </a:cxn>
                  <a:cxn ang="0">
                    <a:pos x="31" y="0"/>
                  </a:cxn>
                  <a:cxn ang="0">
                    <a:pos x="29" y="2"/>
                  </a:cxn>
                  <a:cxn ang="0">
                    <a:pos x="25" y="2"/>
                  </a:cxn>
                  <a:cxn ang="0">
                    <a:pos x="25" y="3"/>
                  </a:cxn>
                  <a:cxn ang="0">
                    <a:pos x="26" y="5"/>
                  </a:cxn>
                  <a:cxn ang="0">
                    <a:pos x="25" y="6"/>
                  </a:cxn>
                  <a:cxn ang="0">
                    <a:pos x="25" y="6"/>
                  </a:cxn>
                  <a:cxn ang="0">
                    <a:pos x="25" y="6"/>
                  </a:cxn>
                  <a:cxn ang="0">
                    <a:pos x="24" y="8"/>
                  </a:cxn>
                  <a:cxn ang="0">
                    <a:pos x="24" y="9"/>
                  </a:cxn>
                  <a:cxn ang="0">
                    <a:pos x="24" y="9"/>
                  </a:cxn>
                  <a:cxn ang="0">
                    <a:pos x="22" y="10"/>
                  </a:cxn>
                  <a:cxn ang="0">
                    <a:pos x="19" y="13"/>
                  </a:cxn>
                  <a:cxn ang="0">
                    <a:pos x="18" y="13"/>
                  </a:cxn>
                  <a:cxn ang="0">
                    <a:pos x="16" y="13"/>
                  </a:cxn>
                  <a:cxn ang="0">
                    <a:pos x="15" y="13"/>
                  </a:cxn>
                  <a:cxn ang="0">
                    <a:pos x="12" y="13"/>
                  </a:cxn>
                  <a:cxn ang="0">
                    <a:pos x="10" y="13"/>
                  </a:cxn>
                  <a:cxn ang="0">
                    <a:pos x="10" y="13"/>
                  </a:cxn>
                  <a:cxn ang="0">
                    <a:pos x="8" y="16"/>
                  </a:cxn>
                  <a:cxn ang="0">
                    <a:pos x="8" y="16"/>
                  </a:cxn>
                  <a:cxn ang="0">
                    <a:pos x="6" y="16"/>
                  </a:cxn>
                  <a:cxn ang="0">
                    <a:pos x="6" y="18"/>
                  </a:cxn>
                  <a:cxn ang="0">
                    <a:pos x="6" y="18"/>
                  </a:cxn>
                  <a:cxn ang="0">
                    <a:pos x="5" y="19"/>
                  </a:cxn>
                  <a:cxn ang="0">
                    <a:pos x="5" y="19"/>
                  </a:cxn>
                  <a:cxn ang="0">
                    <a:pos x="3" y="21"/>
                  </a:cxn>
                  <a:cxn ang="0">
                    <a:pos x="2" y="23"/>
                  </a:cxn>
                  <a:cxn ang="0">
                    <a:pos x="2" y="25"/>
                  </a:cxn>
                  <a:cxn ang="0">
                    <a:pos x="0" y="28"/>
                  </a:cxn>
                  <a:cxn ang="0">
                    <a:pos x="2" y="29"/>
                  </a:cxn>
                  <a:cxn ang="0">
                    <a:pos x="2" y="31"/>
                  </a:cxn>
                  <a:cxn ang="0">
                    <a:pos x="5" y="31"/>
                  </a:cxn>
                  <a:cxn ang="0">
                    <a:pos x="5" y="31"/>
                  </a:cxn>
                  <a:cxn ang="0">
                    <a:pos x="6" y="32"/>
                  </a:cxn>
                  <a:cxn ang="0">
                    <a:pos x="9" y="37"/>
                  </a:cxn>
                  <a:cxn ang="0">
                    <a:pos x="16" y="86"/>
                  </a:cxn>
                  <a:cxn ang="0">
                    <a:pos x="18" y="89"/>
                  </a:cxn>
                  <a:cxn ang="0">
                    <a:pos x="31" y="87"/>
                  </a:cxn>
                  <a:cxn ang="0">
                    <a:pos x="29" y="86"/>
                  </a:cxn>
                  <a:cxn ang="0">
                    <a:pos x="31" y="55"/>
                  </a:cxn>
                  <a:cxn ang="0">
                    <a:pos x="35" y="48"/>
                  </a:cxn>
                  <a:cxn ang="0">
                    <a:pos x="35" y="41"/>
                  </a:cxn>
                  <a:cxn ang="0">
                    <a:pos x="41" y="35"/>
                  </a:cxn>
                  <a:cxn ang="0">
                    <a:pos x="41" y="34"/>
                  </a:cxn>
                  <a:cxn ang="0">
                    <a:pos x="42" y="34"/>
                  </a:cxn>
                  <a:cxn ang="0">
                    <a:pos x="42" y="34"/>
                  </a:cxn>
                  <a:cxn ang="0">
                    <a:pos x="42" y="32"/>
                  </a:cxn>
                  <a:cxn ang="0">
                    <a:pos x="41" y="31"/>
                  </a:cxn>
                  <a:cxn ang="0">
                    <a:pos x="41" y="31"/>
                  </a:cxn>
                  <a:cxn ang="0">
                    <a:pos x="42" y="29"/>
                  </a:cxn>
                  <a:cxn ang="0">
                    <a:pos x="42" y="28"/>
                  </a:cxn>
                  <a:cxn ang="0">
                    <a:pos x="44" y="28"/>
                  </a:cxn>
                  <a:cxn ang="0">
                    <a:pos x="44" y="28"/>
                  </a:cxn>
                  <a:cxn ang="0">
                    <a:pos x="42" y="18"/>
                  </a:cxn>
                  <a:cxn ang="0">
                    <a:pos x="41" y="15"/>
                  </a:cxn>
                  <a:cxn ang="0">
                    <a:pos x="40" y="15"/>
                  </a:cxn>
                  <a:cxn ang="0">
                    <a:pos x="41" y="12"/>
                  </a:cxn>
                  <a:cxn ang="0">
                    <a:pos x="41" y="9"/>
                  </a:cxn>
                </a:cxnLst>
                <a:rect l="0" t="0" r="r" b="b"/>
                <a:pathLst>
                  <a:path w="44" h="89">
                    <a:moveTo>
                      <a:pt x="41" y="9"/>
                    </a:moveTo>
                    <a:lnTo>
                      <a:pt x="31" y="0"/>
                    </a:lnTo>
                    <a:lnTo>
                      <a:pt x="29" y="2"/>
                    </a:lnTo>
                    <a:lnTo>
                      <a:pt x="25" y="2"/>
                    </a:lnTo>
                    <a:lnTo>
                      <a:pt x="25" y="3"/>
                    </a:lnTo>
                    <a:lnTo>
                      <a:pt x="26" y="5"/>
                    </a:lnTo>
                    <a:lnTo>
                      <a:pt x="25" y="6"/>
                    </a:lnTo>
                    <a:lnTo>
                      <a:pt x="25" y="6"/>
                    </a:lnTo>
                    <a:lnTo>
                      <a:pt x="25" y="6"/>
                    </a:lnTo>
                    <a:lnTo>
                      <a:pt x="24" y="8"/>
                    </a:lnTo>
                    <a:lnTo>
                      <a:pt x="24" y="9"/>
                    </a:lnTo>
                    <a:lnTo>
                      <a:pt x="24" y="9"/>
                    </a:lnTo>
                    <a:lnTo>
                      <a:pt x="22" y="10"/>
                    </a:lnTo>
                    <a:lnTo>
                      <a:pt x="19" y="13"/>
                    </a:lnTo>
                    <a:lnTo>
                      <a:pt x="18" y="13"/>
                    </a:lnTo>
                    <a:lnTo>
                      <a:pt x="16" y="13"/>
                    </a:lnTo>
                    <a:lnTo>
                      <a:pt x="15" y="13"/>
                    </a:lnTo>
                    <a:lnTo>
                      <a:pt x="12" y="13"/>
                    </a:lnTo>
                    <a:lnTo>
                      <a:pt x="10" y="13"/>
                    </a:lnTo>
                    <a:lnTo>
                      <a:pt x="10" y="13"/>
                    </a:lnTo>
                    <a:lnTo>
                      <a:pt x="8" y="16"/>
                    </a:lnTo>
                    <a:lnTo>
                      <a:pt x="8" y="16"/>
                    </a:lnTo>
                    <a:lnTo>
                      <a:pt x="6" y="16"/>
                    </a:lnTo>
                    <a:lnTo>
                      <a:pt x="6" y="18"/>
                    </a:lnTo>
                    <a:lnTo>
                      <a:pt x="6" y="18"/>
                    </a:lnTo>
                    <a:lnTo>
                      <a:pt x="5" y="19"/>
                    </a:lnTo>
                    <a:lnTo>
                      <a:pt x="5" y="19"/>
                    </a:lnTo>
                    <a:lnTo>
                      <a:pt x="3" y="21"/>
                    </a:lnTo>
                    <a:lnTo>
                      <a:pt x="2" y="23"/>
                    </a:lnTo>
                    <a:lnTo>
                      <a:pt x="2" y="25"/>
                    </a:lnTo>
                    <a:lnTo>
                      <a:pt x="0" y="28"/>
                    </a:lnTo>
                    <a:lnTo>
                      <a:pt x="2" y="29"/>
                    </a:lnTo>
                    <a:lnTo>
                      <a:pt x="2" y="31"/>
                    </a:lnTo>
                    <a:lnTo>
                      <a:pt x="5" y="31"/>
                    </a:lnTo>
                    <a:lnTo>
                      <a:pt x="5" y="31"/>
                    </a:lnTo>
                    <a:lnTo>
                      <a:pt x="6" y="32"/>
                    </a:lnTo>
                    <a:lnTo>
                      <a:pt x="9" y="37"/>
                    </a:lnTo>
                    <a:lnTo>
                      <a:pt x="16" y="86"/>
                    </a:lnTo>
                    <a:lnTo>
                      <a:pt x="18" y="89"/>
                    </a:lnTo>
                    <a:lnTo>
                      <a:pt x="31" y="87"/>
                    </a:lnTo>
                    <a:lnTo>
                      <a:pt x="29" y="86"/>
                    </a:lnTo>
                    <a:lnTo>
                      <a:pt x="31" y="55"/>
                    </a:lnTo>
                    <a:lnTo>
                      <a:pt x="35" y="48"/>
                    </a:lnTo>
                    <a:lnTo>
                      <a:pt x="35" y="41"/>
                    </a:lnTo>
                    <a:lnTo>
                      <a:pt x="41" y="35"/>
                    </a:lnTo>
                    <a:lnTo>
                      <a:pt x="41" y="34"/>
                    </a:lnTo>
                    <a:lnTo>
                      <a:pt x="42" y="34"/>
                    </a:lnTo>
                    <a:lnTo>
                      <a:pt x="42" y="34"/>
                    </a:lnTo>
                    <a:lnTo>
                      <a:pt x="42" y="32"/>
                    </a:lnTo>
                    <a:lnTo>
                      <a:pt x="41" y="31"/>
                    </a:lnTo>
                    <a:lnTo>
                      <a:pt x="41" y="31"/>
                    </a:lnTo>
                    <a:lnTo>
                      <a:pt x="42" y="29"/>
                    </a:lnTo>
                    <a:lnTo>
                      <a:pt x="42" y="28"/>
                    </a:lnTo>
                    <a:lnTo>
                      <a:pt x="44" y="28"/>
                    </a:lnTo>
                    <a:lnTo>
                      <a:pt x="44" y="28"/>
                    </a:lnTo>
                    <a:lnTo>
                      <a:pt x="42" y="18"/>
                    </a:lnTo>
                    <a:lnTo>
                      <a:pt x="41" y="15"/>
                    </a:lnTo>
                    <a:lnTo>
                      <a:pt x="40" y="15"/>
                    </a:lnTo>
                    <a:lnTo>
                      <a:pt x="41" y="12"/>
                    </a:lnTo>
                    <a:lnTo>
                      <a:pt x="41" y="9"/>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21" name="Freeform 1297"/>
              <p:cNvSpPr>
                <a:spLocks/>
              </p:cNvSpPr>
              <p:nvPr/>
            </p:nvSpPr>
            <p:spPr bwMode="auto">
              <a:xfrm>
                <a:off x="6233083" y="3242174"/>
                <a:ext cx="71980" cy="91272"/>
              </a:xfrm>
              <a:custGeom>
                <a:avLst/>
                <a:gdLst/>
                <a:ahLst/>
                <a:cxnLst>
                  <a:cxn ang="0">
                    <a:pos x="33" y="87"/>
                  </a:cxn>
                  <a:cxn ang="0">
                    <a:pos x="32" y="84"/>
                  </a:cxn>
                  <a:cxn ang="0">
                    <a:pos x="7" y="58"/>
                  </a:cxn>
                  <a:cxn ang="0">
                    <a:pos x="0" y="42"/>
                  </a:cxn>
                  <a:cxn ang="0">
                    <a:pos x="3" y="40"/>
                  </a:cxn>
                  <a:cxn ang="0">
                    <a:pos x="4" y="39"/>
                  </a:cxn>
                  <a:cxn ang="0">
                    <a:pos x="6" y="37"/>
                  </a:cxn>
                  <a:cxn ang="0">
                    <a:pos x="7" y="27"/>
                  </a:cxn>
                  <a:cxn ang="0">
                    <a:pos x="9" y="27"/>
                  </a:cxn>
                  <a:cxn ang="0">
                    <a:pos x="10" y="29"/>
                  </a:cxn>
                  <a:cxn ang="0">
                    <a:pos x="12" y="30"/>
                  </a:cxn>
                  <a:cxn ang="0">
                    <a:pos x="15" y="30"/>
                  </a:cxn>
                  <a:cxn ang="0">
                    <a:pos x="16" y="29"/>
                  </a:cxn>
                  <a:cxn ang="0">
                    <a:pos x="15" y="29"/>
                  </a:cxn>
                  <a:cxn ang="0">
                    <a:pos x="12" y="29"/>
                  </a:cxn>
                  <a:cxn ang="0">
                    <a:pos x="9" y="26"/>
                  </a:cxn>
                  <a:cxn ang="0">
                    <a:pos x="7" y="24"/>
                  </a:cxn>
                  <a:cxn ang="0">
                    <a:pos x="9" y="23"/>
                  </a:cxn>
                  <a:cxn ang="0">
                    <a:pos x="10" y="23"/>
                  </a:cxn>
                  <a:cxn ang="0">
                    <a:pos x="12" y="21"/>
                  </a:cxn>
                  <a:cxn ang="0">
                    <a:pos x="12" y="17"/>
                  </a:cxn>
                  <a:cxn ang="0">
                    <a:pos x="35" y="16"/>
                  </a:cxn>
                  <a:cxn ang="0">
                    <a:pos x="35" y="14"/>
                  </a:cxn>
                  <a:cxn ang="0">
                    <a:pos x="33" y="2"/>
                  </a:cxn>
                  <a:cxn ang="0">
                    <a:pos x="35" y="0"/>
                  </a:cxn>
                  <a:cxn ang="0">
                    <a:pos x="61" y="0"/>
                  </a:cxn>
                  <a:cxn ang="0">
                    <a:pos x="64" y="0"/>
                  </a:cxn>
                  <a:cxn ang="0">
                    <a:pos x="62" y="4"/>
                  </a:cxn>
                  <a:cxn ang="0">
                    <a:pos x="62" y="14"/>
                  </a:cxn>
                  <a:cxn ang="0">
                    <a:pos x="64" y="14"/>
                  </a:cxn>
                  <a:cxn ang="0">
                    <a:pos x="68" y="8"/>
                  </a:cxn>
                  <a:cxn ang="0">
                    <a:pos x="76" y="11"/>
                  </a:cxn>
                  <a:cxn ang="0">
                    <a:pos x="78" y="14"/>
                  </a:cxn>
                  <a:cxn ang="0">
                    <a:pos x="78" y="20"/>
                  </a:cxn>
                  <a:cxn ang="0">
                    <a:pos x="74" y="27"/>
                  </a:cxn>
                  <a:cxn ang="0">
                    <a:pos x="74" y="32"/>
                  </a:cxn>
                  <a:cxn ang="0">
                    <a:pos x="78" y="42"/>
                  </a:cxn>
                  <a:cxn ang="0">
                    <a:pos x="74" y="63"/>
                  </a:cxn>
                  <a:cxn ang="0">
                    <a:pos x="71" y="65"/>
                  </a:cxn>
                  <a:cxn ang="0">
                    <a:pos x="65" y="61"/>
                  </a:cxn>
                  <a:cxn ang="0">
                    <a:pos x="60" y="62"/>
                  </a:cxn>
                  <a:cxn ang="0">
                    <a:pos x="57" y="59"/>
                  </a:cxn>
                  <a:cxn ang="0">
                    <a:pos x="55" y="58"/>
                  </a:cxn>
                  <a:cxn ang="0">
                    <a:pos x="49" y="62"/>
                  </a:cxn>
                  <a:cxn ang="0">
                    <a:pos x="41" y="66"/>
                  </a:cxn>
                  <a:cxn ang="0">
                    <a:pos x="39" y="69"/>
                  </a:cxn>
                  <a:cxn ang="0">
                    <a:pos x="39" y="72"/>
                  </a:cxn>
                  <a:cxn ang="0">
                    <a:pos x="42" y="79"/>
                  </a:cxn>
                  <a:cxn ang="0">
                    <a:pos x="41" y="81"/>
                  </a:cxn>
                  <a:cxn ang="0">
                    <a:pos x="38" y="81"/>
                  </a:cxn>
                  <a:cxn ang="0">
                    <a:pos x="35" y="81"/>
                  </a:cxn>
                  <a:cxn ang="0">
                    <a:pos x="33" y="84"/>
                  </a:cxn>
                  <a:cxn ang="0">
                    <a:pos x="33" y="87"/>
                  </a:cxn>
                </a:cxnLst>
                <a:rect l="0" t="0" r="r" b="b"/>
                <a:pathLst>
                  <a:path w="78" h="87">
                    <a:moveTo>
                      <a:pt x="33" y="87"/>
                    </a:moveTo>
                    <a:lnTo>
                      <a:pt x="32" y="84"/>
                    </a:lnTo>
                    <a:lnTo>
                      <a:pt x="7" y="58"/>
                    </a:lnTo>
                    <a:lnTo>
                      <a:pt x="0" y="42"/>
                    </a:lnTo>
                    <a:lnTo>
                      <a:pt x="3" y="40"/>
                    </a:lnTo>
                    <a:lnTo>
                      <a:pt x="4" y="39"/>
                    </a:lnTo>
                    <a:lnTo>
                      <a:pt x="6" y="37"/>
                    </a:lnTo>
                    <a:lnTo>
                      <a:pt x="7" y="27"/>
                    </a:lnTo>
                    <a:lnTo>
                      <a:pt x="9" y="27"/>
                    </a:lnTo>
                    <a:lnTo>
                      <a:pt x="10" y="29"/>
                    </a:lnTo>
                    <a:lnTo>
                      <a:pt x="12" y="30"/>
                    </a:lnTo>
                    <a:lnTo>
                      <a:pt x="15" y="30"/>
                    </a:lnTo>
                    <a:lnTo>
                      <a:pt x="16" y="29"/>
                    </a:lnTo>
                    <a:lnTo>
                      <a:pt x="15" y="29"/>
                    </a:lnTo>
                    <a:lnTo>
                      <a:pt x="12" y="29"/>
                    </a:lnTo>
                    <a:lnTo>
                      <a:pt x="9" y="26"/>
                    </a:lnTo>
                    <a:lnTo>
                      <a:pt x="7" y="24"/>
                    </a:lnTo>
                    <a:lnTo>
                      <a:pt x="9" y="23"/>
                    </a:lnTo>
                    <a:lnTo>
                      <a:pt x="10" y="23"/>
                    </a:lnTo>
                    <a:lnTo>
                      <a:pt x="12" y="21"/>
                    </a:lnTo>
                    <a:lnTo>
                      <a:pt x="12" y="17"/>
                    </a:lnTo>
                    <a:lnTo>
                      <a:pt x="35" y="16"/>
                    </a:lnTo>
                    <a:lnTo>
                      <a:pt x="35" y="14"/>
                    </a:lnTo>
                    <a:lnTo>
                      <a:pt x="33" y="2"/>
                    </a:lnTo>
                    <a:lnTo>
                      <a:pt x="35" y="0"/>
                    </a:lnTo>
                    <a:lnTo>
                      <a:pt x="61" y="0"/>
                    </a:lnTo>
                    <a:lnTo>
                      <a:pt x="64" y="0"/>
                    </a:lnTo>
                    <a:lnTo>
                      <a:pt x="62" y="4"/>
                    </a:lnTo>
                    <a:lnTo>
                      <a:pt x="62" y="14"/>
                    </a:lnTo>
                    <a:lnTo>
                      <a:pt x="64" y="14"/>
                    </a:lnTo>
                    <a:lnTo>
                      <a:pt x="68" y="8"/>
                    </a:lnTo>
                    <a:lnTo>
                      <a:pt x="76" y="11"/>
                    </a:lnTo>
                    <a:lnTo>
                      <a:pt x="78" y="14"/>
                    </a:lnTo>
                    <a:lnTo>
                      <a:pt x="78" y="20"/>
                    </a:lnTo>
                    <a:lnTo>
                      <a:pt x="74" y="27"/>
                    </a:lnTo>
                    <a:lnTo>
                      <a:pt x="74" y="32"/>
                    </a:lnTo>
                    <a:lnTo>
                      <a:pt x="78" y="42"/>
                    </a:lnTo>
                    <a:lnTo>
                      <a:pt x="74" y="63"/>
                    </a:lnTo>
                    <a:lnTo>
                      <a:pt x="71" y="65"/>
                    </a:lnTo>
                    <a:lnTo>
                      <a:pt x="65" y="61"/>
                    </a:lnTo>
                    <a:lnTo>
                      <a:pt x="60" y="62"/>
                    </a:lnTo>
                    <a:lnTo>
                      <a:pt x="57" y="59"/>
                    </a:lnTo>
                    <a:lnTo>
                      <a:pt x="55" y="58"/>
                    </a:lnTo>
                    <a:lnTo>
                      <a:pt x="49" y="62"/>
                    </a:lnTo>
                    <a:lnTo>
                      <a:pt x="41" y="66"/>
                    </a:lnTo>
                    <a:lnTo>
                      <a:pt x="39" y="69"/>
                    </a:lnTo>
                    <a:lnTo>
                      <a:pt x="39" y="72"/>
                    </a:lnTo>
                    <a:lnTo>
                      <a:pt x="42" y="79"/>
                    </a:lnTo>
                    <a:lnTo>
                      <a:pt x="41" y="81"/>
                    </a:lnTo>
                    <a:lnTo>
                      <a:pt x="38" y="81"/>
                    </a:lnTo>
                    <a:lnTo>
                      <a:pt x="35" y="81"/>
                    </a:lnTo>
                    <a:lnTo>
                      <a:pt x="33" y="84"/>
                    </a:lnTo>
                    <a:lnTo>
                      <a:pt x="33" y="87"/>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22" name="Freeform 1299"/>
              <p:cNvSpPr>
                <a:spLocks/>
              </p:cNvSpPr>
              <p:nvPr/>
            </p:nvSpPr>
            <p:spPr bwMode="auto">
              <a:xfrm>
                <a:off x="6550847" y="3054558"/>
                <a:ext cx="194871" cy="168346"/>
              </a:xfrm>
              <a:custGeom>
                <a:avLst/>
                <a:gdLst/>
                <a:ahLst/>
                <a:cxnLst>
                  <a:cxn ang="0">
                    <a:pos x="45" y="27"/>
                  </a:cxn>
                  <a:cxn ang="0">
                    <a:pos x="40" y="29"/>
                  </a:cxn>
                  <a:cxn ang="0">
                    <a:pos x="26" y="56"/>
                  </a:cxn>
                  <a:cxn ang="0">
                    <a:pos x="21" y="57"/>
                  </a:cxn>
                  <a:cxn ang="0">
                    <a:pos x="17" y="63"/>
                  </a:cxn>
                  <a:cxn ang="0">
                    <a:pos x="16" y="89"/>
                  </a:cxn>
                  <a:cxn ang="0">
                    <a:pos x="10" y="92"/>
                  </a:cxn>
                  <a:cxn ang="0">
                    <a:pos x="2" y="92"/>
                  </a:cxn>
                  <a:cxn ang="0">
                    <a:pos x="1" y="98"/>
                  </a:cxn>
                  <a:cxn ang="0">
                    <a:pos x="1" y="101"/>
                  </a:cxn>
                  <a:cxn ang="0">
                    <a:pos x="4" y="102"/>
                  </a:cxn>
                  <a:cxn ang="0">
                    <a:pos x="10" y="104"/>
                  </a:cxn>
                  <a:cxn ang="0">
                    <a:pos x="14" y="106"/>
                  </a:cxn>
                  <a:cxn ang="0">
                    <a:pos x="17" y="114"/>
                  </a:cxn>
                  <a:cxn ang="0">
                    <a:pos x="30" y="133"/>
                  </a:cxn>
                  <a:cxn ang="0">
                    <a:pos x="37" y="136"/>
                  </a:cxn>
                  <a:cxn ang="0">
                    <a:pos x="40" y="147"/>
                  </a:cxn>
                  <a:cxn ang="0">
                    <a:pos x="50" y="147"/>
                  </a:cxn>
                  <a:cxn ang="0">
                    <a:pos x="68" y="159"/>
                  </a:cxn>
                  <a:cxn ang="0">
                    <a:pos x="95" y="159"/>
                  </a:cxn>
                  <a:cxn ang="0">
                    <a:pos x="110" y="153"/>
                  </a:cxn>
                  <a:cxn ang="0">
                    <a:pos x="126" y="156"/>
                  </a:cxn>
                  <a:cxn ang="0">
                    <a:pos x="139" y="150"/>
                  </a:cxn>
                  <a:cxn ang="0">
                    <a:pos x="153" y="141"/>
                  </a:cxn>
                  <a:cxn ang="0">
                    <a:pos x="213" y="99"/>
                  </a:cxn>
                  <a:cxn ang="0">
                    <a:pos x="200" y="98"/>
                  </a:cxn>
                  <a:cxn ang="0">
                    <a:pos x="155" y="80"/>
                  </a:cxn>
                  <a:cxn ang="0">
                    <a:pos x="148" y="74"/>
                  </a:cxn>
                  <a:cxn ang="0">
                    <a:pos x="145" y="72"/>
                  </a:cxn>
                  <a:cxn ang="0">
                    <a:pos x="142" y="67"/>
                  </a:cxn>
                  <a:cxn ang="0">
                    <a:pos x="139" y="60"/>
                  </a:cxn>
                  <a:cxn ang="0">
                    <a:pos x="140" y="57"/>
                  </a:cxn>
                  <a:cxn ang="0">
                    <a:pos x="138" y="54"/>
                  </a:cxn>
                  <a:cxn ang="0">
                    <a:pos x="133" y="56"/>
                  </a:cxn>
                  <a:cxn ang="0">
                    <a:pos x="133" y="57"/>
                  </a:cxn>
                  <a:cxn ang="0">
                    <a:pos x="130" y="57"/>
                  </a:cxn>
                  <a:cxn ang="0">
                    <a:pos x="124" y="54"/>
                  </a:cxn>
                  <a:cxn ang="0">
                    <a:pos x="129" y="45"/>
                  </a:cxn>
                  <a:cxn ang="0">
                    <a:pos x="132" y="35"/>
                  </a:cxn>
                  <a:cxn ang="0">
                    <a:pos x="126" y="29"/>
                  </a:cxn>
                  <a:cxn ang="0">
                    <a:pos x="108" y="11"/>
                  </a:cxn>
                  <a:cxn ang="0">
                    <a:pos x="100" y="6"/>
                  </a:cxn>
                  <a:cxn ang="0">
                    <a:pos x="97" y="6"/>
                  </a:cxn>
                  <a:cxn ang="0">
                    <a:pos x="95" y="5"/>
                  </a:cxn>
                  <a:cxn ang="0">
                    <a:pos x="91" y="5"/>
                  </a:cxn>
                  <a:cxn ang="0">
                    <a:pos x="90" y="5"/>
                  </a:cxn>
                  <a:cxn ang="0">
                    <a:pos x="87" y="6"/>
                  </a:cxn>
                  <a:cxn ang="0">
                    <a:pos x="85" y="5"/>
                  </a:cxn>
                  <a:cxn ang="0">
                    <a:pos x="84" y="3"/>
                  </a:cxn>
                  <a:cxn ang="0">
                    <a:pos x="82" y="5"/>
                  </a:cxn>
                  <a:cxn ang="0">
                    <a:pos x="77" y="6"/>
                  </a:cxn>
                  <a:cxn ang="0">
                    <a:pos x="72" y="3"/>
                  </a:cxn>
                  <a:cxn ang="0">
                    <a:pos x="72" y="2"/>
                  </a:cxn>
                  <a:cxn ang="0">
                    <a:pos x="68" y="0"/>
                  </a:cxn>
                  <a:cxn ang="0">
                    <a:pos x="61" y="9"/>
                  </a:cxn>
                  <a:cxn ang="0">
                    <a:pos x="59" y="6"/>
                  </a:cxn>
                  <a:cxn ang="0">
                    <a:pos x="56" y="8"/>
                  </a:cxn>
                  <a:cxn ang="0">
                    <a:pos x="55" y="9"/>
                  </a:cxn>
                  <a:cxn ang="0">
                    <a:pos x="53" y="8"/>
                  </a:cxn>
                  <a:cxn ang="0">
                    <a:pos x="49" y="8"/>
                  </a:cxn>
                </a:cxnLst>
                <a:rect l="0" t="0" r="r" b="b"/>
                <a:pathLst>
                  <a:path w="213" h="162">
                    <a:moveTo>
                      <a:pt x="49" y="8"/>
                    </a:moveTo>
                    <a:lnTo>
                      <a:pt x="45" y="27"/>
                    </a:lnTo>
                    <a:lnTo>
                      <a:pt x="43" y="29"/>
                    </a:lnTo>
                    <a:lnTo>
                      <a:pt x="40" y="29"/>
                    </a:lnTo>
                    <a:lnTo>
                      <a:pt x="29" y="45"/>
                    </a:lnTo>
                    <a:lnTo>
                      <a:pt x="26" y="56"/>
                    </a:lnTo>
                    <a:lnTo>
                      <a:pt x="26" y="57"/>
                    </a:lnTo>
                    <a:lnTo>
                      <a:pt x="21" y="57"/>
                    </a:lnTo>
                    <a:lnTo>
                      <a:pt x="20" y="58"/>
                    </a:lnTo>
                    <a:lnTo>
                      <a:pt x="17" y="63"/>
                    </a:lnTo>
                    <a:lnTo>
                      <a:pt x="17" y="63"/>
                    </a:lnTo>
                    <a:lnTo>
                      <a:pt x="16" y="89"/>
                    </a:lnTo>
                    <a:lnTo>
                      <a:pt x="13" y="92"/>
                    </a:lnTo>
                    <a:lnTo>
                      <a:pt x="10" y="92"/>
                    </a:lnTo>
                    <a:lnTo>
                      <a:pt x="4" y="92"/>
                    </a:lnTo>
                    <a:lnTo>
                      <a:pt x="2" y="92"/>
                    </a:lnTo>
                    <a:lnTo>
                      <a:pt x="2" y="96"/>
                    </a:lnTo>
                    <a:lnTo>
                      <a:pt x="1" y="98"/>
                    </a:lnTo>
                    <a:lnTo>
                      <a:pt x="0" y="99"/>
                    </a:lnTo>
                    <a:lnTo>
                      <a:pt x="1" y="101"/>
                    </a:lnTo>
                    <a:lnTo>
                      <a:pt x="2" y="101"/>
                    </a:lnTo>
                    <a:lnTo>
                      <a:pt x="4" y="102"/>
                    </a:lnTo>
                    <a:lnTo>
                      <a:pt x="7" y="102"/>
                    </a:lnTo>
                    <a:lnTo>
                      <a:pt x="10" y="104"/>
                    </a:lnTo>
                    <a:lnTo>
                      <a:pt x="11" y="105"/>
                    </a:lnTo>
                    <a:lnTo>
                      <a:pt x="14" y="106"/>
                    </a:lnTo>
                    <a:lnTo>
                      <a:pt x="14" y="109"/>
                    </a:lnTo>
                    <a:lnTo>
                      <a:pt x="17" y="114"/>
                    </a:lnTo>
                    <a:lnTo>
                      <a:pt x="23" y="118"/>
                    </a:lnTo>
                    <a:lnTo>
                      <a:pt x="30" y="133"/>
                    </a:lnTo>
                    <a:lnTo>
                      <a:pt x="32" y="134"/>
                    </a:lnTo>
                    <a:lnTo>
                      <a:pt x="37" y="136"/>
                    </a:lnTo>
                    <a:lnTo>
                      <a:pt x="40" y="137"/>
                    </a:lnTo>
                    <a:lnTo>
                      <a:pt x="40" y="147"/>
                    </a:lnTo>
                    <a:lnTo>
                      <a:pt x="43" y="147"/>
                    </a:lnTo>
                    <a:lnTo>
                      <a:pt x="50" y="147"/>
                    </a:lnTo>
                    <a:lnTo>
                      <a:pt x="65" y="156"/>
                    </a:lnTo>
                    <a:lnTo>
                      <a:pt x="68" y="159"/>
                    </a:lnTo>
                    <a:lnTo>
                      <a:pt x="90" y="162"/>
                    </a:lnTo>
                    <a:lnTo>
                      <a:pt x="95" y="159"/>
                    </a:lnTo>
                    <a:lnTo>
                      <a:pt x="100" y="154"/>
                    </a:lnTo>
                    <a:lnTo>
                      <a:pt x="110" y="153"/>
                    </a:lnTo>
                    <a:lnTo>
                      <a:pt x="119" y="156"/>
                    </a:lnTo>
                    <a:lnTo>
                      <a:pt x="126" y="156"/>
                    </a:lnTo>
                    <a:lnTo>
                      <a:pt x="126" y="156"/>
                    </a:lnTo>
                    <a:lnTo>
                      <a:pt x="139" y="150"/>
                    </a:lnTo>
                    <a:lnTo>
                      <a:pt x="146" y="144"/>
                    </a:lnTo>
                    <a:lnTo>
                      <a:pt x="153" y="141"/>
                    </a:lnTo>
                    <a:lnTo>
                      <a:pt x="171" y="141"/>
                    </a:lnTo>
                    <a:lnTo>
                      <a:pt x="213" y="99"/>
                    </a:lnTo>
                    <a:lnTo>
                      <a:pt x="213" y="98"/>
                    </a:lnTo>
                    <a:lnTo>
                      <a:pt x="200" y="98"/>
                    </a:lnTo>
                    <a:lnTo>
                      <a:pt x="156" y="83"/>
                    </a:lnTo>
                    <a:lnTo>
                      <a:pt x="155" y="80"/>
                    </a:lnTo>
                    <a:lnTo>
                      <a:pt x="149" y="77"/>
                    </a:lnTo>
                    <a:lnTo>
                      <a:pt x="148" y="74"/>
                    </a:lnTo>
                    <a:lnTo>
                      <a:pt x="146" y="73"/>
                    </a:lnTo>
                    <a:lnTo>
                      <a:pt x="145" y="72"/>
                    </a:lnTo>
                    <a:lnTo>
                      <a:pt x="142" y="69"/>
                    </a:lnTo>
                    <a:lnTo>
                      <a:pt x="142" y="67"/>
                    </a:lnTo>
                    <a:lnTo>
                      <a:pt x="140" y="66"/>
                    </a:lnTo>
                    <a:lnTo>
                      <a:pt x="139" y="60"/>
                    </a:lnTo>
                    <a:lnTo>
                      <a:pt x="139" y="58"/>
                    </a:lnTo>
                    <a:lnTo>
                      <a:pt x="140" y="57"/>
                    </a:lnTo>
                    <a:lnTo>
                      <a:pt x="140" y="57"/>
                    </a:lnTo>
                    <a:lnTo>
                      <a:pt x="138" y="54"/>
                    </a:lnTo>
                    <a:lnTo>
                      <a:pt x="136" y="54"/>
                    </a:lnTo>
                    <a:lnTo>
                      <a:pt x="133" y="56"/>
                    </a:lnTo>
                    <a:lnTo>
                      <a:pt x="133" y="57"/>
                    </a:lnTo>
                    <a:lnTo>
                      <a:pt x="133" y="57"/>
                    </a:lnTo>
                    <a:lnTo>
                      <a:pt x="132" y="56"/>
                    </a:lnTo>
                    <a:lnTo>
                      <a:pt x="130" y="57"/>
                    </a:lnTo>
                    <a:lnTo>
                      <a:pt x="126" y="57"/>
                    </a:lnTo>
                    <a:lnTo>
                      <a:pt x="124" y="54"/>
                    </a:lnTo>
                    <a:lnTo>
                      <a:pt x="124" y="53"/>
                    </a:lnTo>
                    <a:lnTo>
                      <a:pt x="129" y="45"/>
                    </a:lnTo>
                    <a:lnTo>
                      <a:pt x="130" y="37"/>
                    </a:lnTo>
                    <a:lnTo>
                      <a:pt x="132" y="35"/>
                    </a:lnTo>
                    <a:lnTo>
                      <a:pt x="129" y="32"/>
                    </a:lnTo>
                    <a:lnTo>
                      <a:pt x="126" y="29"/>
                    </a:lnTo>
                    <a:lnTo>
                      <a:pt x="123" y="25"/>
                    </a:lnTo>
                    <a:lnTo>
                      <a:pt x="108" y="11"/>
                    </a:lnTo>
                    <a:lnTo>
                      <a:pt x="106" y="11"/>
                    </a:lnTo>
                    <a:lnTo>
                      <a:pt x="100" y="6"/>
                    </a:lnTo>
                    <a:lnTo>
                      <a:pt x="97" y="6"/>
                    </a:lnTo>
                    <a:lnTo>
                      <a:pt x="97" y="6"/>
                    </a:lnTo>
                    <a:lnTo>
                      <a:pt x="95" y="6"/>
                    </a:lnTo>
                    <a:lnTo>
                      <a:pt x="95" y="5"/>
                    </a:lnTo>
                    <a:lnTo>
                      <a:pt x="93" y="5"/>
                    </a:lnTo>
                    <a:lnTo>
                      <a:pt x="91" y="5"/>
                    </a:lnTo>
                    <a:lnTo>
                      <a:pt x="91" y="5"/>
                    </a:lnTo>
                    <a:lnTo>
                      <a:pt x="90" y="5"/>
                    </a:lnTo>
                    <a:lnTo>
                      <a:pt x="88" y="6"/>
                    </a:lnTo>
                    <a:lnTo>
                      <a:pt x="87" y="6"/>
                    </a:lnTo>
                    <a:lnTo>
                      <a:pt x="87" y="6"/>
                    </a:lnTo>
                    <a:lnTo>
                      <a:pt x="85" y="5"/>
                    </a:lnTo>
                    <a:lnTo>
                      <a:pt x="84" y="3"/>
                    </a:lnTo>
                    <a:lnTo>
                      <a:pt x="84" y="3"/>
                    </a:lnTo>
                    <a:lnTo>
                      <a:pt x="84" y="5"/>
                    </a:lnTo>
                    <a:lnTo>
                      <a:pt x="82" y="5"/>
                    </a:lnTo>
                    <a:lnTo>
                      <a:pt x="78" y="6"/>
                    </a:lnTo>
                    <a:lnTo>
                      <a:pt x="77" y="6"/>
                    </a:lnTo>
                    <a:lnTo>
                      <a:pt x="75" y="6"/>
                    </a:lnTo>
                    <a:lnTo>
                      <a:pt x="72" y="3"/>
                    </a:lnTo>
                    <a:lnTo>
                      <a:pt x="72" y="3"/>
                    </a:lnTo>
                    <a:lnTo>
                      <a:pt x="72" y="2"/>
                    </a:lnTo>
                    <a:lnTo>
                      <a:pt x="71" y="2"/>
                    </a:lnTo>
                    <a:lnTo>
                      <a:pt x="68" y="0"/>
                    </a:lnTo>
                    <a:lnTo>
                      <a:pt x="62" y="11"/>
                    </a:lnTo>
                    <a:lnTo>
                      <a:pt x="61" y="9"/>
                    </a:lnTo>
                    <a:lnTo>
                      <a:pt x="61" y="8"/>
                    </a:lnTo>
                    <a:lnTo>
                      <a:pt x="59" y="6"/>
                    </a:lnTo>
                    <a:lnTo>
                      <a:pt x="58" y="6"/>
                    </a:lnTo>
                    <a:lnTo>
                      <a:pt x="56" y="8"/>
                    </a:lnTo>
                    <a:lnTo>
                      <a:pt x="56" y="8"/>
                    </a:lnTo>
                    <a:lnTo>
                      <a:pt x="55" y="9"/>
                    </a:lnTo>
                    <a:lnTo>
                      <a:pt x="55" y="9"/>
                    </a:lnTo>
                    <a:lnTo>
                      <a:pt x="53" y="8"/>
                    </a:lnTo>
                    <a:lnTo>
                      <a:pt x="49" y="8"/>
                    </a:lnTo>
                    <a:lnTo>
                      <a:pt x="49" y="8"/>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23" name="Freeform 1300"/>
              <p:cNvSpPr>
                <a:spLocks/>
              </p:cNvSpPr>
              <p:nvPr/>
            </p:nvSpPr>
            <p:spPr bwMode="auto">
              <a:xfrm>
                <a:off x="6550847" y="3054558"/>
                <a:ext cx="194871" cy="168346"/>
              </a:xfrm>
              <a:custGeom>
                <a:avLst/>
                <a:gdLst/>
                <a:ahLst/>
                <a:cxnLst>
                  <a:cxn ang="0">
                    <a:pos x="45" y="27"/>
                  </a:cxn>
                  <a:cxn ang="0">
                    <a:pos x="40" y="29"/>
                  </a:cxn>
                  <a:cxn ang="0">
                    <a:pos x="26" y="56"/>
                  </a:cxn>
                  <a:cxn ang="0">
                    <a:pos x="21" y="57"/>
                  </a:cxn>
                  <a:cxn ang="0">
                    <a:pos x="17" y="63"/>
                  </a:cxn>
                  <a:cxn ang="0">
                    <a:pos x="16" y="89"/>
                  </a:cxn>
                  <a:cxn ang="0">
                    <a:pos x="10" y="92"/>
                  </a:cxn>
                  <a:cxn ang="0">
                    <a:pos x="2" y="92"/>
                  </a:cxn>
                  <a:cxn ang="0">
                    <a:pos x="1" y="98"/>
                  </a:cxn>
                  <a:cxn ang="0">
                    <a:pos x="1" y="101"/>
                  </a:cxn>
                  <a:cxn ang="0">
                    <a:pos x="4" y="102"/>
                  </a:cxn>
                  <a:cxn ang="0">
                    <a:pos x="10" y="104"/>
                  </a:cxn>
                  <a:cxn ang="0">
                    <a:pos x="14" y="106"/>
                  </a:cxn>
                  <a:cxn ang="0">
                    <a:pos x="17" y="114"/>
                  </a:cxn>
                  <a:cxn ang="0">
                    <a:pos x="30" y="133"/>
                  </a:cxn>
                  <a:cxn ang="0">
                    <a:pos x="37" y="136"/>
                  </a:cxn>
                  <a:cxn ang="0">
                    <a:pos x="40" y="147"/>
                  </a:cxn>
                  <a:cxn ang="0">
                    <a:pos x="50" y="147"/>
                  </a:cxn>
                  <a:cxn ang="0">
                    <a:pos x="68" y="159"/>
                  </a:cxn>
                  <a:cxn ang="0">
                    <a:pos x="95" y="159"/>
                  </a:cxn>
                  <a:cxn ang="0">
                    <a:pos x="110" y="153"/>
                  </a:cxn>
                  <a:cxn ang="0">
                    <a:pos x="126" y="156"/>
                  </a:cxn>
                  <a:cxn ang="0">
                    <a:pos x="139" y="150"/>
                  </a:cxn>
                  <a:cxn ang="0">
                    <a:pos x="153" y="141"/>
                  </a:cxn>
                  <a:cxn ang="0">
                    <a:pos x="213" y="99"/>
                  </a:cxn>
                  <a:cxn ang="0">
                    <a:pos x="200" y="98"/>
                  </a:cxn>
                  <a:cxn ang="0">
                    <a:pos x="155" y="80"/>
                  </a:cxn>
                  <a:cxn ang="0">
                    <a:pos x="148" y="74"/>
                  </a:cxn>
                  <a:cxn ang="0">
                    <a:pos x="145" y="72"/>
                  </a:cxn>
                  <a:cxn ang="0">
                    <a:pos x="142" y="67"/>
                  </a:cxn>
                  <a:cxn ang="0">
                    <a:pos x="139" y="60"/>
                  </a:cxn>
                  <a:cxn ang="0">
                    <a:pos x="140" y="57"/>
                  </a:cxn>
                  <a:cxn ang="0">
                    <a:pos x="138" y="54"/>
                  </a:cxn>
                  <a:cxn ang="0">
                    <a:pos x="133" y="56"/>
                  </a:cxn>
                  <a:cxn ang="0">
                    <a:pos x="133" y="57"/>
                  </a:cxn>
                  <a:cxn ang="0">
                    <a:pos x="130" y="57"/>
                  </a:cxn>
                  <a:cxn ang="0">
                    <a:pos x="124" y="54"/>
                  </a:cxn>
                  <a:cxn ang="0">
                    <a:pos x="129" y="45"/>
                  </a:cxn>
                  <a:cxn ang="0">
                    <a:pos x="132" y="35"/>
                  </a:cxn>
                  <a:cxn ang="0">
                    <a:pos x="126" y="29"/>
                  </a:cxn>
                  <a:cxn ang="0">
                    <a:pos x="108" y="11"/>
                  </a:cxn>
                  <a:cxn ang="0">
                    <a:pos x="100" y="6"/>
                  </a:cxn>
                  <a:cxn ang="0">
                    <a:pos x="97" y="6"/>
                  </a:cxn>
                  <a:cxn ang="0">
                    <a:pos x="95" y="5"/>
                  </a:cxn>
                  <a:cxn ang="0">
                    <a:pos x="91" y="5"/>
                  </a:cxn>
                  <a:cxn ang="0">
                    <a:pos x="90" y="5"/>
                  </a:cxn>
                  <a:cxn ang="0">
                    <a:pos x="87" y="6"/>
                  </a:cxn>
                  <a:cxn ang="0">
                    <a:pos x="85" y="5"/>
                  </a:cxn>
                  <a:cxn ang="0">
                    <a:pos x="84" y="3"/>
                  </a:cxn>
                  <a:cxn ang="0">
                    <a:pos x="82" y="5"/>
                  </a:cxn>
                  <a:cxn ang="0">
                    <a:pos x="77" y="6"/>
                  </a:cxn>
                  <a:cxn ang="0">
                    <a:pos x="72" y="3"/>
                  </a:cxn>
                  <a:cxn ang="0">
                    <a:pos x="72" y="2"/>
                  </a:cxn>
                  <a:cxn ang="0">
                    <a:pos x="68" y="0"/>
                  </a:cxn>
                  <a:cxn ang="0">
                    <a:pos x="61" y="9"/>
                  </a:cxn>
                  <a:cxn ang="0">
                    <a:pos x="59" y="6"/>
                  </a:cxn>
                  <a:cxn ang="0">
                    <a:pos x="56" y="8"/>
                  </a:cxn>
                  <a:cxn ang="0">
                    <a:pos x="55" y="9"/>
                  </a:cxn>
                  <a:cxn ang="0">
                    <a:pos x="53" y="8"/>
                  </a:cxn>
                  <a:cxn ang="0">
                    <a:pos x="49" y="8"/>
                  </a:cxn>
                </a:cxnLst>
                <a:rect l="0" t="0" r="r" b="b"/>
                <a:pathLst>
                  <a:path w="213" h="162">
                    <a:moveTo>
                      <a:pt x="49" y="8"/>
                    </a:moveTo>
                    <a:lnTo>
                      <a:pt x="45" y="27"/>
                    </a:lnTo>
                    <a:lnTo>
                      <a:pt x="43" y="29"/>
                    </a:lnTo>
                    <a:lnTo>
                      <a:pt x="40" y="29"/>
                    </a:lnTo>
                    <a:lnTo>
                      <a:pt x="29" y="45"/>
                    </a:lnTo>
                    <a:lnTo>
                      <a:pt x="26" y="56"/>
                    </a:lnTo>
                    <a:lnTo>
                      <a:pt x="26" y="57"/>
                    </a:lnTo>
                    <a:lnTo>
                      <a:pt x="21" y="57"/>
                    </a:lnTo>
                    <a:lnTo>
                      <a:pt x="20" y="58"/>
                    </a:lnTo>
                    <a:lnTo>
                      <a:pt x="17" y="63"/>
                    </a:lnTo>
                    <a:lnTo>
                      <a:pt x="17" y="63"/>
                    </a:lnTo>
                    <a:lnTo>
                      <a:pt x="16" y="89"/>
                    </a:lnTo>
                    <a:lnTo>
                      <a:pt x="13" y="92"/>
                    </a:lnTo>
                    <a:lnTo>
                      <a:pt x="10" y="92"/>
                    </a:lnTo>
                    <a:lnTo>
                      <a:pt x="4" y="92"/>
                    </a:lnTo>
                    <a:lnTo>
                      <a:pt x="2" y="92"/>
                    </a:lnTo>
                    <a:lnTo>
                      <a:pt x="2" y="96"/>
                    </a:lnTo>
                    <a:lnTo>
                      <a:pt x="1" y="98"/>
                    </a:lnTo>
                    <a:lnTo>
                      <a:pt x="0" y="99"/>
                    </a:lnTo>
                    <a:lnTo>
                      <a:pt x="1" y="101"/>
                    </a:lnTo>
                    <a:lnTo>
                      <a:pt x="2" y="101"/>
                    </a:lnTo>
                    <a:lnTo>
                      <a:pt x="4" y="102"/>
                    </a:lnTo>
                    <a:lnTo>
                      <a:pt x="7" y="102"/>
                    </a:lnTo>
                    <a:lnTo>
                      <a:pt x="10" y="104"/>
                    </a:lnTo>
                    <a:lnTo>
                      <a:pt x="11" y="105"/>
                    </a:lnTo>
                    <a:lnTo>
                      <a:pt x="14" y="106"/>
                    </a:lnTo>
                    <a:lnTo>
                      <a:pt x="14" y="109"/>
                    </a:lnTo>
                    <a:lnTo>
                      <a:pt x="17" y="114"/>
                    </a:lnTo>
                    <a:lnTo>
                      <a:pt x="23" y="118"/>
                    </a:lnTo>
                    <a:lnTo>
                      <a:pt x="30" y="133"/>
                    </a:lnTo>
                    <a:lnTo>
                      <a:pt x="32" y="134"/>
                    </a:lnTo>
                    <a:lnTo>
                      <a:pt x="37" y="136"/>
                    </a:lnTo>
                    <a:lnTo>
                      <a:pt x="40" y="137"/>
                    </a:lnTo>
                    <a:lnTo>
                      <a:pt x="40" y="147"/>
                    </a:lnTo>
                    <a:lnTo>
                      <a:pt x="43" y="147"/>
                    </a:lnTo>
                    <a:lnTo>
                      <a:pt x="50" y="147"/>
                    </a:lnTo>
                    <a:lnTo>
                      <a:pt x="65" y="156"/>
                    </a:lnTo>
                    <a:lnTo>
                      <a:pt x="68" y="159"/>
                    </a:lnTo>
                    <a:lnTo>
                      <a:pt x="90" y="162"/>
                    </a:lnTo>
                    <a:lnTo>
                      <a:pt x="95" y="159"/>
                    </a:lnTo>
                    <a:lnTo>
                      <a:pt x="100" y="154"/>
                    </a:lnTo>
                    <a:lnTo>
                      <a:pt x="110" y="153"/>
                    </a:lnTo>
                    <a:lnTo>
                      <a:pt x="119" y="156"/>
                    </a:lnTo>
                    <a:lnTo>
                      <a:pt x="126" y="156"/>
                    </a:lnTo>
                    <a:lnTo>
                      <a:pt x="126" y="156"/>
                    </a:lnTo>
                    <a:lnTo>
                      <a:pt x="139" y="150"/>
                    </a:lnTo>
                    <a:lnTo>
                      <a:pt x="146" y="144"/>
                    </a:lnTo>
                    <a:lnTo>
                      <a:pt x="153" y="141"/>
                    </a:lnTo>
                    <a:lnTo>
                      <a:pt x="171" y="141"/>
                    </a:lnTo>
                    <a:lnTo>
                      <a:pt x="213" y="99"/>
                    </a:lnTo>
                    <a:lnTo>
                      <a:pt x="213" y="98"/>
                    </a:lnTo>
                    <a:lnTo>
                      <a:pt x="200" y="98"/>
                    </a:lnTo>
                    <a:lnTo>
                      <a:pt x="156" y="83"/>
                    </a:lnTo>
                    <a:lnTo>
                      <a:pt x="155" y="80"/>
                    </a:lnTo>
                    <a:lnTo>
                      <a:pt x="149" y="77"/>
                    </a:lnTo>
                    <a:lnTo>
                      <a:pt x="148" y="74"/>
                    </a:lnTo>
                    <a:lnTo>
                      <a:pt x="146" y="73"/>
                    </a:lnTo>
                    <a:lnTo>
                      <a:pt x="145" y="72"/>
                    </a:lnTo>
                    <a:lnTo>
                      <a:pt x="142" y="69"/>
                    </a:lnTo>
                    <a:lnTo>
                      <a:pt x="142" y="67"/>
                    </a:lnTo>
                    <a:lnTo>
                      <a:pt x="140" y="66"/>
                    </a:lnTo>
                    <a:lnTo>
                      <a:pt x="139" y="60"/>
                    </a:lnTo>
                    <a:lnTo>
                      <a:pt x="139" y="58"/>
                    </a:lnTo>
                    <a:lnTo>
                      <a:pt x="140" y="57"/>
                    </a:lnTo>
                    <a:lnTo>
                      <a:pt x="140" y="57"/>
                    </a:lnTo>
                    <a:lnTo>
                      <a:pt x="138" y="54"/>
                    </a:lnTo>
                    <a:lnTo>
                      <a:pt x="136" y="54"/>
                    </a:lnTo>
                    <a:lnTo>
                      <a:pt x="133" y="56"/>
                    </a:lnTo>
                    <a:lnTo>
                      <a:pt x="133" y="57"/>
                    </a:lnTo>
                    <a:lnTo>
                      <a:pt x="133" y="57"/>
                    </a:lnTo>
                    <a:lnTo>
                      <a:pt x="132" y="56"/>
                    </a:lnTo>
                    <a:lnTo>
                      <a:pt x="130" y="57"/>
                    </a:lnTo>
                    <a:lnTo>
                      <a:pt x="126" y="57"/>
                    </a:lnTo>
                    <a:lnTo>
                      <a:pt x="124" y="54"/>
                    </a:lnTo>
                    <a:lnTo>
                      <a:pt x="124" y="53"/>
                    </a:lnTo>
                    <a:lnTo>
                      <a:pt x="129" y="45"/>
                    </a:lnTo>
                    <a:lnTo>
                      <a:pt x="130" y="37"/>
                    </a:lnTo>
                    <a:lnTo>
                      <a:pt x="132" y="35"/>
                    </a:lnTo>
                    <a:lnTo>
                      <a:pt x="129" y="32"/>
                    </a:lnTo>
                    <a:lnTo>
                      <a:pt x="126" y="29"/>
                    </a:lnTo>
                    <a:lnTo>
                      <a:pt x="123" y="25"/>
                    </a:lnTo>
                    <a:lnTo>
                      <a:pt x="108" y="11"/>
                    </a:lnTo>
                    <a:lnTo>
                      <a:pt x="106" y="11"/>
                    </a:lnTo>
                    <a:lnTo>
                      <a:pt x="100" y="6"/>
                    </a:lnTo>
                    <a:lnTo>
                      <a:pt x="97" y="6"/>
                    </a:lnTo>
                    <a:lnTo>
                      <a:pt x="97" y="6"/>
                    </a:lnTo>
                    <a:lnTo>
                      <a:pt x="95" y="6"/>
                    </a:lnTo>
                    <a:lnTo>
                      <a:pt x="95" y="5"/>
                    </a:lnTo>
                    <a:lnTo>
                      <a:pt x="93" y="5"/>
                    </a:lnTo>
                    <a:lnTo>
                      <a:pt x="91" y="5"/>
                    </a:lnTo>
                    <a:lnTo>
                      <a:pt x="91" y="5"/>
                    </a:lnTo>
                    <a:lnTo>
                      <a:pt x="90" y="5"/>
                    </a:lnTo>
                    <a:lnTo>
                      <a:pt x="88" y="6"/>
                    </a:lnTo>
                    <a:lnTo>
                      <a:pt x="87" y="6"/>
                    </a:lnTo>
                    <a:lnTo>
                      <a:pt x="87" y="6"/>
                    </a:lnTo>
                    <a:lnTo>
                      <a:pt x="85" y="5"/>
                    </a:lnTo>
                    <a:lnTo>
                      <a:pt x="84" y="3"/>
                    </a:lnTo>
                    <a:lnTo>
                      <a:pt x="84" y="3"/>
                    </a:lnTo>
                    <a:lnTo>
                      <a:pt x="84" y="5"/>
                    </a:lnTo>
                    <a:lnTo>
                      <a:pt x="82" y="5"/>
                    </a:lnTo>
                    <a:lnTo>
                      <a:pt x="78" y="6"/>
                    </a:lnTo>
                    <a:lnTo>
                      <a:pt x="77" y="6"/>
                    </a:lnTo>
                    <a:lnTo>
                      <a:pt x="75" y="6"/>
                    </a:lnTo>
                    <a:lnTo>
                      <a:pt x="72" y="3"/>
                    </a:lnTo>
                    <a:lnTo>
                      <a:pt x="72" y="3"/>
                    </a:lnTo>
                    <a:lnTo>
                      <a:pt x="72" y="2"/>
                    </a:lnTo>
                    <a:lnTo>
                      <a:pt x="71" y="2"/>
                    </a:lnTo>
                    <a:lnTo>
                      <a:pt x="68" y="0"/>
                    </a:lnTo>
                    <a:lnTo>
                      <a:pt x="62" y="11"/>
                    </a:lnTo>
                    <a:lnTo>
                      <a:pt x="61" y="9"/>
                    </a:lnTo>
                    <a:lnTo>
                      <a:pt x="61" y="8"/>
                    </a:lnTo>
                    <a:lnTo>
                      <a:pt x="59" y="6"/>
                    </a:lnTo>
                    <a:lnTo>
                      <a:pt x="58" y="6"/>
                    </a:lnTo>
                    <a:lnTo>
                      <a:pt x="56" y="8"/>
                    </a:lnTo>
                    <a:lnTo>
                      <a:pt x="56" y="8"/>
                    </a:lnTo>
                    <a:lnTo>
                      <a:pt x="55" y="9"/>
                    </a:lnTo>
                    <a:lnTo>
                      <a:pt x="55" y="9"/>
                    </a:lnTo>
                    <a:lnTo>
                      <a:pt x="53" y="8"/>
                    </a:lnTo>
                    <a:lnTo>
                      <a:pt x="49" y="8"/>
                    </a:lnTo>
                    <a:lnTo>
                      <a:pt x="49" y="8"/>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24" name="Freeform 1301"/>
              <p:cNvSpPr>
                <a:spLocks/>
              </p:cNvSpPr>
              <p:nvPr/>
            </p:nvSpPr>
            <p:spPr bwMode="auto">
              <a:xfrm>
                <a:off x="6510468" y="3430802"/>
                <a:ext cx="138692" cy="253533"/>
              </a:xfrm>
              <a:custGeom>
                <a:avLst/>
                <a:gdLst/>
                <a:ahLst/>
                <a:cxnLst>
                  <a:cxn ang="0">
                    <a:pos x="152" y="2"/>
                  </a:cxn>
                  <a:cxn ang="0">
                    <a:pos x="147" y="18"/>
                  </a:cxn>
                  <a:cxn ang="0">
                    <a:pos x="148" y="37"/>
                  </a:cxn>
                  <a:cxn ang="0">
                    <a:pos x="148" y="53"/>
                  </a:cxn>
                  <a:cxn ang="0">
                    <a:pos x="151" y="55"/>
                  </a:cxn>
                  <a:cxn ang="0">
                    <a:pos x="152" y="58"/>
                  </a:cxn>
                  <a:cxn ang="0">
                    <a:pos x="148" y="67"/>
                  </a:cxn>
                  <a:cxn ang="0">
                    <a:pos x="147" y="74"/>
                  </a:cxn>
                  <a:cxn ang="0">
                    <a:pos x="138" y="84"/>
                  </a:cxn>
                  <a:cxn ang="0">
                    <a:pos x="128" y="95"/>
                  </a:cxn>
                  <a:cxn ang="0">
                    <a:pos x="97" y="109"/>
                  </a:cxn>
                  <a:cxn ang="0">
                    <a:pos x="93" y="112"/>
                  </a:cxn>
                  <a:cxn ang="0">
                    <a:pos x="89" y="122"/>
                  </a:cxn>
                  <a:cxn ang="0">
                    <a:pos x="84" y="124"/>
                  </a:cxn>
                  <a:cxn ang="0">
                    <a:pos x="67" y="138"/>
                  </a:cxn>
                  <a:cxn ang="0">
                    <a:pos x="71" y="153"/>
                  </a:cxn>
                  <a:cxn ang="0">
                    <a:pos x="76" y="173"/>
                  </a:cxn>
                  <a:cxn ang="0">
                    <a:pos x="74" y="199"/>
                  </a:cxn>
                  <a:cxn ang="0">
                    <a:pos x="77" y="198"/>
                  </a:cxn>
                  <a:cxn ang="0">
                    <a:pos x="67" y="212"/>
                  </a:cxn>
                  <a:cxn ang="0">
                    <a:pos x="41" y="224"/>
                  </a:cxn>
                  <a:cxn ang="0">
                    <a:pos x="39" y="236"/>
                  </a:cxn>
                  <a:cxn ang="0">
                    <a:pos x="41" y="243"/>
                  </a:cxn>
                  <a:cxn ang="0">
                    <a:pos x="22" y="177"/>
                  </a:cxn>
                  <a:cxn ang="0">
                    <a:pos x="25" y="169"/>
                  </a:cxn>
                  <a:cxn ang="0">
                    <a:pos x="38" y="124"/>
                  </a:cxn>
                  <a:cxn ang="0">
                    <a:pos x="41" y="89"/>
                  </a:cxn>
                  <a:cxn ang="0">
                    <a:pos x="4" y="79"/>
                  </a:cxn>
                  <a:cxn ang="0">
                    <a:pos x="0" y="66"/>
                  </a:cxn>
                  <a:cxn ang="0">
                    <a:pos x="46" y="51"/>
                  </a:cxn>
                  <a:cxn ang="0">
                    <a:pos x="52" y="58"/>
                  </a:cxn>
                  <a:cxn ang="0">
                    <a:pos x="64" y="58"/>
                  </a:cxn>
                  <a:cxn ang="0">
                    <a:pos x="64" y="73"/>
                  </a:cxn>
                  <a:cxn ang="0">
                    <a:pos x="61" y="79"/>
                  </a:cxn>
                  <a:cxn ang="0">
                    <a:pos x="65" y="84"/>
                  </a:cxn>
                  <a:cxn ang="0">
                    <a:pos x="73" y="92"/>
                  </a:cxn>
                  <a:cxn ang="0">
                    <a:pos x="73" y="95"/>
                  </a:cxn>
                  <a:cxn ang="0">
                    <a:pos x="76" y="95"/>
                  </a:cxn>
                  <a:cxn ang="0">
                    <a:pos x="74" y="89"/>
                  </a:cxn>
                  <a:cxn ang="0">
                    <a:pos x="76" y="84"/>
                  </a:cxn>
                  <a:cxn ang="0">
                    <a:pos x="83" y="79"/>
                  </a:cxn>
                  <a:cxn ang="0">
                    <a:pos x="83" y="67"/>
                  </a:cxn>
                  <a:cxn ang="0">
                    <a:pos x="70" y="42"/>
                  </a:cxn>
                  <a:cxn ang="0">
                    <a:pos x="67" y="29"/>
                  </a:cxn>
                  <a:cxn ang="0">
                    <a:pos x="83" y="15"/>
                  </a:cxn>
                  <a:cxn ang="0">
                    <a:pos x="89" y="13"/>
                  </a:cxn>
                  <a:cxn ang="0">
                    <a:pos x="94" y="16"/>
                  </a:cxn>
                  <a:cxn ang="0">
                    <a:pos x="110" y="15"/>
                  </a:cxn>
                  <a:cxn ang="0">
                    <a:pos x="119" y="10"/>
                  </a:cxn>
                  <a:cxn ang="0">
                    <a:pos x="141" y="6"/>
                  </a:cxn>
                </a:cxnLst>
                <a:rect l="0" t="0" r="r" b="b"/>
                <a:pathLst>
                  <a:path w="152" h="243">
                    <a:moveTo>
                      <a:pt x="151" y="0"/>
                    </a:moveTo>
                    <a:lnTo>
                      <a:pt x="152" y="0"/>
                    </a:lnTo>
                    <a:lnTo>
                      <a:pt x="152" y="2"/>
                    </a:lnTo>
                    <a:lnTo>
                      <a:pt x="152" y="2"/>
                    </a:lnTo>
                    <a:lnTo>
                      <a:pt x="152" y="6"/>
                    </a:lnTo>
                    <a:lnTo>
                      <a:pt x="147" y="18"/>
                    </a:lnTo>
                    <a:lnTo>
                      <a:pt x="148" y="32"/>
                    </a:lnTo>
                    <a:lnTo>
                      <a:pt x="147" y="34"/>
                    </a:lnTo>
                    <a:lnTo>
                      <a:pt x="148" y="37"/>
                    </a:lnTo>
                    <a:lnTo>
                      <a:pt x="148" y="37"/>
                    </a:lnTo>
                    <a:lnTo>
                      <a:pt x="148" y="51"/>
                    </a:lnTo>
                    <a:lnTo>
                      <a:pt x="148" y="53"/>
                    </a:lnTo>
                    <a:lnTo>
                      <a:pt x="150" y="54"/>
                    </a:lnTo>
                    <a:lnTo>
                      <a:pt x="150" y="53"/>
                    </a:lnTo>
                    <a:lnTo>
                      <a:pt x="151" y="55"/>
                    </a:lnTo>
                    <a:lnTo>
                      <a:pt x="150" y="57"/>
                    </a:lnTo>
                    <a:lnTo>
                      <a:pt x="151" y="57"/>
                    </a:lnTo>
                    <a:lnTo>
                      <a:pt x="152" y="58"/>
                    </a:lnTo>
                    <a:lnTo>
                      <a:pt x="152" y="60"/>
                    </a:lnTo>
                    <a:lnTo>
                      <a:pt x="150" y="66"/>
                    </a:lnTo>
                    <a:lnTo>
                      <a:pt x="148" y="67"/>
                    </a:lnTo>
                    <a:lnTo>
                      <a:pt x="150" y="69"/>
                    </a:lnTo>
                    <a:lnTo>
                      <a:pt x="150" y="73"/>
                    </a:lnTo>
                    <a:lnTo>
                      <a:pt x="147" y="74"/>
                    </a:lnTo>
                    <a:lnTo>
                      <a:pt x="141" y="82"/>
                    </a:lnTo>
                    <a:lnTo>
                      <a:pt x="137" y="83"/>
                    </a:lnTo>
                    <a:lnTo>
                      <a:pt x="138" y="84"/>
                    </a:lnTo>
                    <a:lnTo>
                      <a:pt x="138" y="87"/>
                    </a:lnTo>
                    <a:lnTo>
                      <a:pt x="129" y="92"/>
                    </a:lnTo>
                    <a:lnTo>
                      <a:pt x="128" y="95"/>
                    </a:lnTo>
                    <a:lnTo>
                      <a:pt x="123" y="96"/>
                    </a:lnTo>
                    <a:lnTo>
                      <a:pt x="119" y="96"/>
                    </a:lnTo>
                    <a:lnTo>
                      <a:pt x="97" y="109"/>
                    </a:lnTo>
                    <a:lnTo>
                      <a:pt x="97" y="111"/>
                    </a:lnTo>
                    <a:lnTo>
                      <a:pt x="96" y="112"/>
                    </a:lnTo>
                    <a:lnTo>
                      <a:pt x="93" y="112"/>
                    </a:lnTo>
                    <a:lnTo>
                      <a:pt x="93" y="114"/>
                    </a:lnTo>
                    <a:lnTo>
                      <a:pt x="94" y="115"/>
                    </a:lnTo>
                    <a:lnTo>
                      <a:pt x="89" y="122"/>
                    </a:lnTo>
                    <a:lnTo>
                      <a:pt x="87" y="122"/>
                    </a:lnTo>
                    <a:lnTo>
                      <a:pt x="86" y="119"/>
                    </a:lnTo>
                    <a:lnTo>
                      <a:pt x="84" y="124"/>
                    </a:lnTo>
                    <a:lnTo>
                      <a:pt x="81" y="124"/>
                    </a:lnTo>
                    <a:lnTo>
                      <a:pt x="70" y="137"/>
                    </a:lnTo>
                    <a:lnTo>
                      <a:pt x="67" y="138"/>
                    </a:lnTo>
                    <a:lnTo>
                      <a:pt x="65" y="148"/>
                    </a:lnTo>
                    <a:lnTo>
                      <a:pt x="70" y="151"/>
                    </a:lnTo>
                    <a:lnTo>
                      <a:pt x="71" y="153"/>
                    </a:lnTo>
                    <a:lnTo>
                      <a:pt x="71" y="154"/>
                    </a:lnTo>
                    <a:lnTo>
                      <a:pt x="71" y="156"/>
                    </a:lnTo>
                    <a:lnTo>
                      <a:pt x="76" y="173"/>
                    </a:lnTo>
                    <a:lnTo>
                      <a:pt x="77" y="172"/>
                    </a:lnTo>
                    <a:lnTo>
                      <a:pt x="78" y="172"/>
                    </a:lnTo>
                    <a:lnTo>
                      <a:pt x="74" y="199"/>
                    </a:lnTo>
                    <a:lnTo>
                      <a:pt x="74" y="202"/>
                    </a:lnTo>
                    <a:lnTo>
                      <a:pt x="76" y="201"/>
                    </a:lnTo>
                    <a:lnTo>
                      <a:pt x="77" y="198"/>
                    </a:lnTo>
                    <a:lnTo>
                      <a:pt x="77" y="202"/>
                    </a:lnTo>
                    <a:lnTo>
                      <a:pt x="71" y="209"/>
                    </a:lnTo>
                    <a:lnTo>
                      <a:pt x="67" y="212"/>
                    </a:lnTo>
                    <a:lnTo>
                      <a:pt x="62" y="215"/>
                    </a:lnTo>
                    <a:lnTo>
                      <a:pt x="60" y="215"/>
                    </a:lnTo>
                    <a:lnTo>
                      <a:pt x="41" y="224"/>
                    </a:lnTo>
                    <a:lnTo>
                      <a:pt x="35" y="231"/>
                    </a:lnTo>
                    <a:lnTo>
                      <a:pt x="35" y="231"/>
                    </a:lnTo>
                    <a:lnTo>
                      <a:pt x="39" y="236"/>
                    </a:lnTo>
                    <a:lnTo>
                      <a:pt x="41" y="234"/>
                    </a:lnTo>
                    <a:lnTo>
                      <a:pt x="41" y="233"/>
                    </a:lnTo>
                    <a:lnTo>
                      <a:pt x="41" y="243"/>
                    </a:lnTo>
                    <a:lnTo>
                      <a:pt x="29" y="243"/>
                    </a:lnTo>
                    <a:lnTo>
                      <a:pt x="22" y="179"/>
                    </a:lnTo>
                    <a:lnTo>
                      <a:pt x="22" y="177"/>
                    </a:lnTo>
                    <a:lnTo>
                      <a:pt x="22" y="175"/>
                    </a:lnTo>
                    <a:lnTo>
                      <a:pt x="23" y="172"/>
                    </a:lnTo>
                    <a:lnTo>
                      <a:pt x="25" y="169"/>
                    </a:lnTo>
                    <a:lnTo>
                      <a:pt x="29" y="164"/>
                    </a:lnTo>
                    <a:lnTo>
                      <a:pt x="41" y="138"/>
                    </a:lnTo>
                    <a:lnTo>
                      <a:pt x="38" y="124"/>
                    </a:lnTo>
                    <a:lnTo>
                      <a:pt x="41" y="119"/>
                    </a:lnTo>
                    <a:lnTo>
                      <a:pt x="42" y="100"/>
                    </a:lnTo>
                    <a:lnTo>
                      <a:pt x="41" y="89"/>
                    </a:lnTo>
                    <a:lnTo>
                      <a:pt x="38" y="86"/>
                    </a:lnTo>
                    <a:lnTo>
                      <a:pt x="15" y="79"/>
                    </a:lnTo>
                    <a:lnTo>
                      <a:pt x="4" y="79"/>
                    </a:lnTo>
                    <a:lnTo>
                      <a:pt x="4" y="73"/>
                    </a:lnTo>
                    <a:lnTo>
                      <a:pt x="3" y="73"/>
                    </a:lnTo>
                    <a:lnTo>
                      <a:pt x="0" y="66"/>
                    </a:lnTo>
                    <a:lnTo>
                      <a:pt x="45" y="50"/>
                    </a:lnTo>
                    <a:lnTo>
                      <a:pt x="45" y="51"/>
                    </a:lnTo>
                    <a:lnTo>
                      <a:pt x="46" y="51"/>
                    </a:lnTo>
                    <a:lnTo>
                      <a:pt x="49" y="55"/>
                    </a:lnTo>
                    <a:lnTo>
                      <a:pt x="52" y="58"/>
                    </a:lnTo>
                    <a:lnTo>
                      <a:pt x="52" y="58"/>
                    </a:lnTo>
                    <a:lnTo>
                      <a:pt x="62" y="57"/>
                    </a:lnTo>
                    <a:lnTo>
                      <a:pt x="64" y="57"/>
                    </a:lnTo>
                    <a:lnTo>
                      <a:pt x="64" y="58"/>
                    </a:lnTo>
                    <a:lnTo>
                      <a:pt x="65" y="69"/>
                    </a:lnTo>
                    <a:lnTo>
                      <a:pt x="65" y="70"/>
                    </a:lnTo>
                    <a:lnTo>
                      <a:pt x="64" y="73"/>
                    </a:lnTo>
                    <a:lnTo>
                      <a:pt x="64" y="74"/>
                    </a:lnTo>
                    <a:lnTo>
                      <a:pt x="62" y="76"/>
                    </a:lnTo>
                    <a:lnTo>
                      <a:pt x="61" y="79"/>
                    </a:lnTo>
                    <a:lnTo>
                      <a:pt x="62" y="79"/>
                    </a:lnTo>
                    <a:lnTo>
                      <a:pt x="64" y="83"/>
                    </a:lnTo>
                    <a:lnTo>
                      <a:pt x="65" y="84"/>
                    </a:lnTo>
                    <a:lnTo>
                      <a:pt x="65" y="84"/>
                    </a:lnTo>
                    <a:lnTo>
                      <a:pt x="70" y="90"/>
                    </a:lnTo>
                    <a:lnTo>
                      <a:pt x="73" y="92"/>
                    </a:lnTo>
                    <a:lnTo>
                      <a:pt x="74" y="92"/>
                    </a:lnTo>
                    <a:lnTo>
                      <a:pt x="74" y="93"/>
                    </a:lnTo>
                    <a:lnTo>
                      <a:pt x="73" y="95"/>
                    </a:lnTo>
                    <a:lnTo>
                      <a:pt x="73" y="95"/>
                    </a:lnTo>
                    <a:lnTo>
                      <a:pt x="76" y="95"/>
                    </a:lnTo>
                    <a:lnTo>
                      <a:pt x="76" y="95"/>
                    </a:lnTo>
                    <a:lnTo>
                      <a:pt x="76" y="90"/>
                    </a:lnTo>
                    <a:lnTo>
                      <a:pt x="76" y="89"/>
                    </a:lnTo>
                    <a:lnTo>
                      <a:pt x="74" y="89"/>
                    </a:lnTo>
                    <a:lnTo>
                      <a:pt x="74" y="87"/>
                    </a:lnTo>
                    <a:lnTo>
                      <a:pt x="76" y="86"/>
                    </a:lnTo>
                    <a:lnTo>
                      <a:pt x="76" y="84"/>
                    </a:lnTo>
                    <a:lnTo>
                      <a:pt x="76" y="83"/>
                    </a:lnTo>
                    <a:lnTo>
                      <a:pt x="83" y="80"/>
                    </a:lnTo>
                    <a:lnTo>
                      <a:pt x="83" y="79"/>
                    </a:lnTo>
                    <a:lnTo>
                      <a:pt x="84" y="73"/>
                    </a:lnTo>
                    <a:lnTo>
                      <a:pt x="84" y="71"/>
                    </a:lnTo>
                    <a:lnTo>
                      <a:pt x="83" y="67"/>
                    </a:lnTo>
                    <a:lnTo>
                      <a:pt x="84" y="63"/>
                    </a:lnTo>
                    <a:lnTo>
                      <a:pt x="84" y="60"/>
                    </a:lnTo>
                    <a:lnTo>
                      <a:pt x="70" y="42"/>
                    </a:lnTo>
                    <a:lnTo>
                      <a:pt x="70" y="44"/>
                    </a:lnTo>
                    <a:lnTo>
                      <a:pt x="68" y="31"/>
                    </a:lnTo>
                    <a:lnTo>
                      <a:pt x="67" y="29"/>
                    </a:lnTo>
                    <a:lnTo>
                      <a:pt x="67" y="28"/>
                    </a:lnTo>
                    <a:lnTo>
                      <a:pt x="71" y="15"/>
                    </a:lnTo>
                    <a:lnTo>
                      <a:pt x="83" y="15"/>
                    </a:lnTo>
                    <a:lnTo>
                      <a:pt x="84" y="13"/>
                    </a:lnTo>
                    <a:lnTo>
                      <a:pt x="86" y="13"/>
                    </a:lnTo>
                    <a:lnTo>
                      <a:pt x="89" y="13"/>
                    </a:lnTo>
                    <a:lnTo>
                      <a:pt x="91" y="16"/>
                    </a:lnTo>
                    <a:lnTo>
                      <a:pt x="91" y="16"/>
                    </a:lnTo>
                    <a:lnTo>
                      <a:pt x="94" y="16"/>
                    </a:lnTo>
                    <a:lnTo>
                      <a:pt x="96" y="16"/>
                    </a:lnTo>
                    <a:lnTo>
                      <a:pt x="99" y="15"/>
                    </a:lnTo>
                    <a:lnTo>
                      <a:pt x="110" y="15"/>
                    </a:lnTo>
                    <a:lnTo>
                      <a:pt x="113" y="10"/>
                    </a:lnTo>
                    <a:lnTo>
                      <a:pt x="118" y="10"/>
                    </a:lnTo>
                    <a:lnTo>
                      <a:pt x="119" y="10"/>
                    </a:lnTo>
                    <a:lnTo>
                      <a:pt x="123" y="12"/>
                    </a:lnTo>
                    <a:lnTo>
                      <a:pt x="128" y="12"/>
                    </a:lnTo>
                    <a:lnTo>
                      <a:pt x="141" y="6"/>
                    </a:lnTo>
                    <a:lnTo>
                      <a:pt x="15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25" name="Freeform 1302"/>
              <p:cNvSpPr>
                <a:spLocks/>
              </p:cNvSpPr>
              <p:nvPr/>
            </p:nvSpPr>
            <p:spPr bwMode="auto">
              <a:xfrm>
                <a:off x="6510468" y="3430802"/>
                <a:ext cx="138692" cy="253533"/>
              </a:xfrm>
              <a:custGeom>
                <a:avLst/>
                <a:gdLst/>
                <a:ahLst/>
                <a:cxnLst>
                  <a:cxn ang="0">
                    <a:pos x="152" y="2"/>
                  </a:cxn>
                  <a:cxn ang="0">
                    <a:pos x="147" y="18"/>
                  </a:cxn>
                  <a:cxn ang="0">
                    <a:pos x="148" y="37"/>
                  </a:cxn>
                  <a:cxn ang="0">
                    <a:pos x="148" y="53"/>
                  </a:cxn>
                  <a:cxn ang="0">
                    <a:pos x="151" y="55"/>
                  </a:cxn>
                  <a:cxn ang="0">
                    <a:pos x="152" y="58"/>
                  </a:cxn>
                  <a:cxn ang="0">
                    <a:pos x="148" y="67"/>
                  </a:cxn>
                  <a:cxn ang="0">
                    <a:pos x="147" y="74"/>
                  </a:cxn>
                  <a:cxn ang="0">
                    <a:pos x="138" y="84"/>
                  </a:cxn>
                  <a:cxn ang="0">
                    <a:pos x="128" y="95"/>
                  </a:cxn>
                  <a:cxn ang="0">
                    <a:pos x="97" y="109"/>
                  </a:cxn>
                  <a:cxn ang="0">
                    <a:pos x="93" y="112"/>
                  </a:cxn>
                  <a:cxn ang="0">
                    <a:pos x="89" y="122"/>
                  </a:cxn>
                  <a:cxn ang="0">
                    <a:pos x="84" y="124"/>
                  </a:cxn>
                  <a:cxn ang="0">
                    <a:pos x="67" y="138"/>
                  </a:cxn>
                  <a:cxn ang="0">
                    <a:pos x="71" y="153"/>
                  </a:cxn>
                  <a:cxn ang="0">
                    <a:pos x="76" y="173"/>
                  </a:cxn>
                  <a:cxn ang="0">
                    <a:pos x="74" y="199"/>
                  </a:cxn>
                  <a:cxn ang="0">
                    <a:pos x="77" y="198"/>
                  </a:cxn>
                  <a:cxn ang="0">
                    <a:pos x="67" y="212"/>
                  </a:cxn>
                  <a:cxn ang="0">
                    <a:pos x="41" y="224"/>
                  </a:cxn>
                  <a:cxn ang="0">
                    <a:pos x="39" y="236"/>
                  </a:cxn>
                  <a:cxn ang="0">
                    <a:pos x="41" y="243"/>
                  </a:cxn>
                  <a:cxn ang="0">
                    <a:pos x="22" y="177"/>
                  </a:cxn>
                  <a:cxn ang="0">
                    <a:pos x="25" y="169"/>
                  </a:cxn>
                  <a:cxn ang="0">
                    <a:pos x="38" y="124"/>
                  </a:cxn>
                  <a:cxn ang="0">
                    <a:pos x="41" y="89"/>
                  </a:cxn>
                  <a:cxn ang="0">
                    <a:pos x="4" y="79"/>
                  </a:cxn>
                  <a:cxn ang="0">
                    <a:pos x="0" y="66"/>
                  </a:cxn>
                  <a:cxn ang="0">
                    <a:pos x="46" y="51"/>
                  </a:cxn>
                  <a:cxn ang="0">
                    <a:pos x="52" y="58"/>
                  </a:cxn>
                  <a:cxn ang="0">
                    <a:pos x="64" y="58"/>
                  </a:cxn>
                  <a:cxn ang="0">
                    <a:pos x="64" y="73"/>
                  </a:cxn>
                  <a:cxn ang="0">
                    <a:pos x="61" y="79"/>
                  </a:cxn>
                  <a:cxn ang="0">
                    <a:pos x="65" y="84"/>
                  </a:cxn>
                  <a:cxn ang="0">
                    <a:pos x="73" y="92"/>
                  </a:cxn>
                  <a:cxn ang="0">
                    <a:pos x="73" y="95"/>
                  </a:cxn>
                  <a:cxn ang="0">
                    <a:pos x="76" y="95"/>
                  </a:cxn>
                  <a:cxn ang="0">
                    <a:pos x="74" y="89"/>
                  </a:cxn>
                  <a:cxn ang="0">
                    <a:pos x="76" y="84"/>
                  </a:cxn>
                  <a:cxn ang="0">
                    <a:pos x="83" y="79"/>
                  </a:cxn>
                  <a:cxn ang="0">
                    <a:pos x="83" y="67"/>
                  </a:cxn>
                  <a:cxn ang="0">
                    <a:pos x="70" y="42"/>
                  </a:cxn>
                  <a:cxn ang="0">
                    <a:pos x="67" y="29"/>
                  </a:cxn>
                  <a:cxn ang="0">
                    <a:pos x="83" y="15"/>
                  </a:cxn>
                  <a:cxn ang="0">
                    <a:pos x="89" y="13"/>
                  </a:cxn>
                  <a:cxn ang="0">
                    <a:pos x="94" y="16"/>
                  </a:cxn>
                  <a:cxn ang="0">
                    <a:pos x="110" y="15"/>
                  </a:cxn>
                  <a:cxn ang="0">
                    <a:pos x="119" y="10"/>
                  </a:cxn>
                  <a:cxn ang="0">
                    <a:pos x="141" y="6"/>
                  </a:cxn>
                </a:cxnLst>
                <a:rect l="0" t="0" r="r" b="b"/>
                <a:pathLst>
                  <a:path w="152" h="243">
                    <a:moveTo>
                      <a:pt x="151" y="0"/>
                    </a:moveTo>
                    <a:lnTo>
                      <a:pt x="152" y="0"/>
                    </a:lnTo>
                    <a:lnTo>
                      <a:pt x="152" y="2"/>
                    </a:lnTo>
                    <a:lnTo>
                      <a:pt x="152" y="2"/>
                    </a:lnTo>
                    <a:lnTo>
                      <a:pt x="152" y="6"/>
                    </a:lnTo>
                    <a:lnTo>
                      <a:pt x="147" y="18"/>
                    </a:lnTo>
                    <a:lnTo>
                      <a:pt x="148" y="32"/>
                    </a:lnTo>
                    <a:lnTo>
                      <a:pt x="147" y="34"/>
                    </a:lnTo>
                    <a:lnTo>
                      <a:pt x="148" y="37"/>
                    </a:lnTo>
                    <a:lnTo>
                      <a:pt x="148" y="37"/>
                    </a:lnTo>
                    <a:lnTo>
                      <a:pt x="148" y="51"/>
                    </a:lnTo>
                    <a:lnTo>
                      <a:pt x="148" y="53"/>
                    </a:lnTo>
                    <a:lnTo>
                      <a:pt x="150" y="54"/>
                    </a:lnTo>
                    <a:lnTo>
                      <a:pt x="150" y="53"/>
                    </a:lnTo>
                    <a:lnTo>
                      <a:pt x="151" y="55"/>
                    </a:lnTo>
                    <a:lnTo>
                      <a:pt x="150" y="57"/>
                    </a:lnTo>
                    <a:lnTo>
                      <a:pt x="151" y="57"/>
                    </a:lnTo>
                    <a:lnTo>
                      <a:pt x="152" y="58"/>
                    </a:lnTo>
                    <a:lnTo>
                      <a:pt x="152" y="60"/>
                    </a:lnTo>
                    <a:lnTo>
                      <a:pt x="150" y="66"/>
                    </a:lnTo>
                    <a:lnTo>
                      <a:pt x="148" y="67"/>
                    </a:lnTo>
                    <a:lnTo>
                      <a:pt x="150" y="69"/>
                    </a:lnTo>
                    <a:lnTo>
                      <a:pt x="150" y="73"/>
                    </a:lnTo>
                    <a:lnTo>
                      <a:pt x="147" y="74"/>
                    </a:lnTo>
                    <a:lnTo>
                      <a:pt x="141" y="82"/>
                    </a:lnTo>
                    <a:lnTo>
                      <a:pt x="137" y="83"/>
                    </a:lnTo>
                    <a:lnTo>
                      <a:pt x="138" y="84"/>
                    </a:lnTo>
                    <a:lnTo>
                      <a:pt x="138" y="87"/>
                    </a:lnTo>
                    <a:lnTo>
                      <a:pt x="129" y="92"/>
                    </a:lnTo>
                    <a:lnTo>
                      <a:pt x="128" y="95"/>
                    </a:lnTo>
                    <a:lnTo>
                      <a:pt x="123" y="96"/>
                    </a:lnTo>
                    <a:lnTo>
                      <a:pt x="119" y="96"/>
                    </a:lnTo>
                    <a:lnTo>
                      <a:pt x="97" y="109"/>
                    </a:lnTo>
                    <a:lnTo>
                      <a:pt x="97" y="111"/>
                    </a:lnTo>
                    <a:lnTo>
                      <a:pt x="96" y="112"/>
                    </a:lnTo>
                    <a:lnTo>
                      <a:pt x="93" y="112"/>
                    </a:lnTo>
                    <a:lnTo>
                      <a:pt x="93" y="114"/>
                    </a:lnTo>
                    <a:lnTo>
                      <a:pt x="94" y="115"/>
                    </a:lnTo>
                    <a:lnTo>
                      <a:pt x="89" y="122"/>
                    </a:lnTo>
                    <a:lnTo>
                      <a:pt x="87" y="122"/>
                    </a:lnTo>
                    <a:lnTo>
                      <a:pt x="86" y="119"/>
                    </a:lnTo>
                    <a:lnTo>
                      <a:pt x="84" y="124"/>
                    </a:lnTo>
                    <a:lnTo>
                      <a:pt x="81" y="124"/>
                    </a:lnTo>
                    <a:lnTo>
                      <a:pt x="70" y="137"/>
                    </a:lnTo>
                    <a:lnTo>
                      <a:pt x="67" y="138"/>
                    </a:lnTo>
                    <a:lnTo>
                      <a:pt x="65" y="148"/>
                    </a:lnTo>
                    <a:lnTo>
                      <a:pt x="70" y="151"/>
                    </a:lnTo>
                    <a:lnTo>
                      <a:pt x="71" y="153"/>
                    </a:lnTo>
                    <a:lnTo>
                      <a:pt x="71" y="154"/>
                    </a:lnTo>
                    <a:lnTo>
                      <a:pt x="71" y="156"/>
                    </a:lnTo>
                    <a:lnTo>
                      <a:pt x="76" y="173"/>
                    </a:lnTo>
                    <a:lnTo>
                      <a:pt x="77" y="172"/>
                    </a:lnTo>
                    <a:lnTo>
                      <a:pt x="78" y="172"/>
                    </a:lnTo>
                    <a:lnTo>
                      <a:pt x="74" y="199"/>
                    </a:lnTo>
                    <a:lnTo>
                      <a:pt x="74" y="202"/>
                    </a:lnTo>
                    <a:lnTo>
                      <a:pt x="76" y="201"/>
                    </a:lnTo>
                    <a:lnTo>
                      <a:pt x="77" y="198"/>
                    </a:lnTo>
                    <a:lnTo>
                      <a:pt x="77" y="202"/>
                    </a:lnTo>
                    <a:lnTo>
                      <a:pt x="71" y="209"/>
                    </a:lnTo>
                    <a:lnTo>
                      <a:pt x="67" y="212"/>
                    </a:lnTo>
                    <a:lnTo>
                      <a:pt x="62" y="215"/>
                    </a:lnTo>
                    <a:lnTo>
                      <a:pt x="60" y="215"/>
                    </a:lnTo>
                    <a:lnTo>
                      <a:pt x="41" y="224"/>
                    </a:lnTo>
                    <a:lnTo>
                      <a:pt x="35" y="231"/>
                    </a:lnTo>
                    <a:lnTo>
                      <a:pt x="35" y="231"/>
                    </a:lnTo>
                    <a:lnTo>
                      <a:pt x="39" y="236"/>
                    </a:lnTo>
                    <a:lnTo>
                      <a:pt x="41" y="234"/>
                    </a:lnTo>
                    <a:lnTo>
                      <a:pt x="41" y="233"/>
                    </a:lnTo>
                    <a:lnTo>
                      <a:pt x="41" y="243"/>
                    </a:lnTo>
                    <a:lnTo>
                      <a:pt x="29" y="243"/>
                    </a:lnTo>
                    <a:lnTo>
                      <a:pt x="22" y="179"/>
                    </a:lnTo>
                    <a:lnTo>
                      <a:pt x="22" y="177"/>
                    </a:lnTo>
                    <a:lnTo>
                      <a:pt x="22" y="175"/>
                    </a:lnTo>
                    <a:lnTo>
                      <a:pt x="23" y="172"/>
                    </a:lnTo>
                    <a:lnTo>
                      <a:pt x="25" y="169"/>
                    </a:lnTo>
                    <a:lnTo>
                      <a:pt x="29" y="164"/>
                    </a:lnTo>
                    <a:lnTo>
                      <a:pt x="41" y="138"/>
                    </a:lnTo>
                    <a:lnTo>
                      <a:pt x="38" y="124"/>
                    </a:lnTo>
                    <a:lnTo>
                      <a:pt x="41" y="119"/>
                    </a:lnTo>
                    <a:lnTo>
                      <a:pt x="42" y="100"/>
                    </a:lnTo>
                    <a:lnTo>
                      <a:pt x="41" y="89"/>
                    </a:lnTo>
                    <a:lnTo>
                      <a:pt x="38" y="86"/>
                    </a:lnTo>
                    <a:lnTo>
                      <a:pt x="15" y="79"/>
                    </a:lnTo>
                    <a:lnTo>
                      <a:pt x="4" y="79"/>
                    </a:lnTo>
                    <a:lnTo>
                      <a:pt x="4" y="73"/>
                    </a:lnTo>
                    <a:lnTo>
                      <a:pt x="3" y="73"/>
                    </a:lnTo>
                    <a:lnTo>
                      <a:pt x="0" y="66"/>
                    </a:lnTo>
                    <a:lnTo>
                      <a:pt x="45" y="50"/>
                    </a:lnTo>
                    <a:lnTo>
                      <a:pt x="45" y="51"/>
                    </a:lnTo>
                    <a:lnTo>
                      <a:pt x="46" y="51"/>
                    </a:lnTo>
                    <a:lnTo>
                      <a:pt x="49" y="55"/>
                    </a:lnTo>
                    <a:lnTo>
                      <a:pt x="52" y="58"/>
                    </a:lnTo>
                    <a:lnTo>
                      <a:pt x="52" y="58"/>
                    </a:lnTo>
                    <a:lnTo>
                      <a:pt x="62" y="57"/>
                    </a:lnTo>
                    <a:lnTo>
                      <a:pt x="64" y="57"/>
                    </a:lnTo>
                    <a:lnTo>
                      <a:pt x="64" y="58"/>
                    </a:lnTo>
                    <a:lnTo>
                      <a:pt x="65" y="69"/>
                    </a:lnTo>
                    <a:lnTo>
                      <a:pt x="65" y="70"/>
                    </a:lnTo>
                    <a:lnTo>
                      <a:pt x="64" y="73"/>
                    </a:lnTo>
                    <a:lnTo>
                      <a:pt x="64" y="74"/>
                    </a:lnTo>
                    <a:lnTo>
                      <a:pt x="62" y="76"/>
                    </a:lnTo>
                    <a:lnTo>
                      <a:pt x="61" y="79"/>
                    </a:lnTo>
                    <a:lnTo>
                      <a:pt x="62" y="79"/>
                    </a:lnTo>
                    <a:lnTo>
                      <a:pt x="64" y="83"/>
                    </a:lnTo>
                    <a:lnTo>
                      <a:pt x="65" y="84"/>
                    </a:lnTo>
                    <a:lnTo>
                      <a:pt x="65" y="84"/>
                    </a:lnTo>
                    <a:lnTo>
                      <a:pt x="70" y="90"/>
                    </a:lnTo>
                    <a:lnTo>
                      <a:pt x="73" y="92"/>
                    </a:lnTo>
                    <a:lnTo>
                      <a:pt x="74" y="92"/>
                    </a:lnTo>
                    <a:lnTo>
                      <a:pt x="74" y="93"/>
                    </a:lnTo>
                    <a:lnTo>
                      <a:pt x="73" y="95"/>
                    </a:lnTo>
                    <a:lnTo>
                      <a:pt x="73" y="95"/>
                    </a:lnTo>
                    <a:lnTo>
                      <a:pt x="76" y="95"/>
                    </a:lnTo>
                    <a:lnTo>
                      <a:pt x="76" y="95"/>
                    </a:lnTo>
                    <a:lnTo>
                      <a:pt x="76" y="90"/>
                    </a:lnTo>
                    <a:lnTo>
                      <a:pt x="76" y="89"/>
                    </a:lnTo>
                    <a:lnTo>
                      <a:pt x="74" y="89"/>
                    </a:lnTo>
                    <a:lnTo>
                      <a:pt x="74" y="87"/>
                    </a:lnTo>
                    <a:lnTo>
                      <a:pt x="76" y="86"/>
                    </a:lnTo>
                    <a:lnTo>
                      <a:pt x="76" y="84"/>
                    </a:lnTo>
                    <a:lnTo>
                      <a:pt x="76" y="83"/>
                    </a:lnTo>
                    <a:lnTo>
                      <a:pt x="83" y="80"/>
                    </a:lnTo>
                    <a:lnTo>
                      <a:pt x="83" y="79"/>
                    </a:lnTo>
                    <a:lnTo>
                      <a:pt x="84" y="73"/>
                    </a:lnTo>
                    <a:lnTo>
                      <a:pt x="84" y="71"/>
                    </a:lnTo>
                    <a:lnTo>
                      <a:pt x="83" y="67"/>
                    </a:lnTo>
                    <a:lnTo>
                      <a:pt x="84" y="63"/>
                    </a:lnTo>
                    <a:lnTo>
                      <a:pt x="84" y="60"/>
                    </a:lnTo>
                    <a:lnTo>
                      <a:pt x="70" y="42"/>
                    </a:lnTo>
                    <a:lnTo>
                      <a:pt x="70" y="44"/>
                    </a:lnTo>
                    <a:lnTo>
                      <a:pt x="68" y="31"/>
                    </a:lnTo>
                    <a:lnTo>
                      <a:pt x="67" y="29"/>
                    </a:lnTo>
                    <a:lnTo>
                      <a:pt x="67" y="28"/>
                    </a:lnTo>
                    <a:lnTo>
                      <a:pt x="71" y="15"/>
                    </a:lnTo>
                    <a:lnTo>
                      <a:pt x="83" y="15"/>
                    </a:lnTo>
                    <a:lnTo>
                      <a:pt x="84" y="13"/>
                    </a:lnTo>
                    <a:lnTo>
                      <a:pt x="86" y="13"/>
                    </a:lnTo>
                    <a:lnTo>
                      <a:pt x="89" y="13"/>
                    </a:lnTo>
                    <a:lnTo>
                      <a:pt x="91" y="16"/>
                    </a:lnTo>
                    <a:lnTo>
                      <a:pt x="91" y="16"/>
                    </a:lnTo>
                    <a:lnTo>
                      <a:pt x="94" y="16"/>
                    </a:lnTo>
                    <a:lnTo>
                      <a:pt x="96" y="16"/>
                    </a:lnTo>
                    <a:lnTo>
                      <a:pt x="99" y="15"/>
                    </a:lnTo>
                    <a:lnTo>
                      <a:pt x="110" y="15"/>
                    </a:lnTo>
                    <a:lnTo>
                      <a:pt x="113" y="10"/>
                    </a:lnTo>
                    <a:lnTo>
                      <a:pt x="118" y="10"/>
                    </a:lnTo>
                    <a:lnTo>
                      <a:pt x="119" y="10"/>
                    </a:lnTo>
                    <a:lnTo>
                      <a:pt x="123" y="12"/>
                    </a:lnTo>
                    <a:lnTo>
                      <a:pt x="128" y="12"/>
                    </a:lnTo>
                    <a:lnTo>
                      <a:pt x="141" y="6"/>
                    </a:lnTo>
                    <a:lnTo>
                      <a:pt x="15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26" name="Freeform 1303"/>
              <p:cNvSpPr>
                <a:spLocks/>
              </p:cNvSpPr>
              <p:nvPr/>
            </p:nvSpPr>
            <p:spPr bwMode="auto">
              <a:xfrm>
                <a:off x="6703584" y="2635722"/>
                <a:ext cx="15800" cy="14197"/>
              </a:xfrm>
              <a:custGeom>
                <a:avLst/>
                <a:gdLst/>
                <a:ahLst/>
                <a:cxnLst>
                  <a:cxn ang="0">
                    <a:pos x="17" y="14"/>
                  </a:cxn>
                  <a:cxn ang="0">
                    <a:pos x="8" y="13"/>
                  </a:cxn>
                  <a:cxn ang="0">
                    <a:pos x="0" y="0"/>
                  </a:cxn>
                  <a:cxn ang="0">
                    <a:pos x="2" y="0"/>
                  </a:cxn>
                  <a:cxn ang="0">
                    <a:pos x="4" y="0"/>
                  </a:cxn>
                  <a:cxn ang="0">
                    <a:pos x="5" y="1"/>
                  </a:cxn>
                  <a:cxn ang="0">
                    <a:pos x="7" y="3"/>
                  </a:cxn>
                  <a:cxn ang="0">
                    <a:pos x="10" y="3"/>
                  </a:cxn>
                  <a:cxn ang="0">
                    <a:pos x="11" y="1"/>
                  </a:cxn>
                  <a:cxn ang="0">
                    <a:pos x="13" y="3"/>
                  </a:cxn>
                  <a:cxn ang="0">
                    <a:pos x="16" y="9"/>
                  </a:cxn>
                  <a:cxn ang="0">
                    <a:pos x="17" y="14"/>
                  </a:cxn>
                </a:cxnLst>
                <a:rect l="0" t="0" r="r" b="b"/>
                <a:pathLst>
                  <a:path w="17" h="14">
                    <a:moveTo>
                      <a:pt x="17" y="14"/>
                    </a:moveTo>
                    <a:lnTo>
                      <a:pt x="8" y="13"/>
                    </a:lnTo>
                    <a:lnTo>
                      <a:pt x="0" y="0"/>
                    </a:lnTo>
                    <a:lnTo>
                      <a:pt x="2" y="0"/>
                    </a:lnTo>
                    <a:lnTo>
                      <a:pt x="4" y="0"/>
                    </a:lnTo>
                    <a:lnTo>
                      <a:pt x="5" y="1"/>
                    </a:lnTo>
                    <a:lnTo>
                      <a:pt x="7" y="3"/>
                    </a:lnTo>
                    <a:lnTo>
                      <a:pt x="10" y="3"/>
                    </a:lnTo>
                    <a:lnTo>
                      <a:pt x="11" y="1"/>
                    </a:lnTo>
                    <a:lnTo>
                      <a:pt x="13" y="3"/>
                    </a:lnTo>
                    <a:lnTo>
                      <a:pt x="16" y="9"/>
                    </a:lnTo>
                    <a:lnTo>
                      <a:pt x="17" y="1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27" name="Freeform 1304"/>
              <p:cNvSpPr>
                <a:spLocks/>
              </p:cNvSpPr>
              <p:nvPr/>
            </p:nvSpPr>
            <p:spPr bwMode="auto">
              <a:xfrm>
                <a:off x="6703584" y="2635722"/>
                <a:ext cx="15800" cy="14197"/>
              </a:xfrm>
              <a:custGeom>
                <a:avLst/>
                <a:gdLst/>
                <a:ahLst/>
                <a:cxnLst>
                  <a:cxn ang="0">
                    <a:pos x="17" y="14"/>
                  </a:cxn>
                  <a:cxn ang="0">
                    <a:pos x="8" y="13"/>
                  </a:cxn>
                  <a:cxn ang="0">
                    <a:pos x="0" y="0"/>
                  </a:cxn>
                  <a:cxn ang="0">
                    <a:pos x="2" y="0"/>
                  </a:cxn>
                  <a:cxn ang="0">
                    <a:pos x="4" y="0"/>
                  </a:cxn>
                  <a:cxn ang="0">
                    <a:pos x="5" y="1"/>
                  </a:cxn>
                  <a:cxn ang="0">
                    <a:pos x="7" y="3"/>
                  </a:cxn>
                  <a:cxn ang="0">
                    <a:pos x="10" y="3"/>
                  </a:cxn>
                  <a:cxn ang="0">
                    <a:pos x="11" y="1"/>
                  </a:cxn>
                  <a:cxn ang="0">
                    <a:pos x="13" y="3"/>
                  </a:cxn>
                  <a:cxn ang="0">
                    <a:pos x="16" y="9"/>
                  </a:cxn>
                  <a:cxn ang="0">
                    <a:pos x="17" y="14"/>
                  </a:cxn>
                </a:cxnLst>
                <a:rect l="0" t="0" r="r" b="b"/>
                <a:pathLst>
                  <a:path w="17" h="14">
                    <a:moveTo>
                      <a:pt x="17" y="14"/>
                    </a:moveTo>
                    <a:lnTo>
                      <a:pt x="8" y="13"/>
                    </a:lnTo>
                    <a:lnTo>
                      <a:pt x="0" y="0"/>
                    </a:lnTo>
                    <a:lnTo>
                      <a:pt x="2" y="0"/>
                    </a:lnTo>
                    <a:lnTo>
                      <a:pt x="4" y="0"/>
                    </a:lnTo>
                    <a:lnTo>
                      <a:pt x="5" y="1"/>
                    </a:lnTo>
                    <a:lnTo>
                      <a:pt x="7" y="3"/>
                    </a:lnTo>
                    <a:lnTo>
                      <a:pt x="10" y="3"/>
                    </a:lnTo>
                    <a:lnTo>
                      <a:pt x="11" y="1"/>
                    </a:lnTo>
                    <a:lnTo>
                      <a:pt x="13" y="3"/>
                    </a:lnTo>
                    <a:lnTo>
                      <a:pt x="16" y="9"/>
                    </a:lnTo>
                    <a:lnTo>
                      <a:pt x="17" y="1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28" name="Freeform 1305"/>
              <p:cNvSpPr>
                <a:spLocks/>
              </p:cNvSpPr>
              <p:nvPr/>
            </p:nvSpPr>
            <p:spPr bwMode="auto">
              <a:xfrm>
                <a:off x="6705340" y="2592114"/>
                <a:ext cx="70224" cy="65919"/>
              </a:xfrm>
              <a:custGeom>
                <a:avLst/>
                <a:gdLst/>
                <a:ahLst/>
                <a:cxnLst>
                  <a:cxn ang="0">
                    <a:pos x="22" y="1"/>
                  </a:cxn>
                  <a:cxn ang="0">
                    <a:pos x="29" y="7"/>
                  </a:cxn>
                  <a:cxn ang="0">
                    <a:pos x="32" y="13"/>
                  </a:cxn>
                  <a:cxn ang="0">
                    <a:pos x="41" y="13"/>
                  </a:cxn>
                  <a:cxn ang="0">
                    <a:pos x="44" y="7"/>
                  </a:cxn>
                  <a:cxn ang="0">
                    <a:pos x="50" y="1"/>
                  </a:cxn>
                  <a:cxn ang="0">
                    <a:pos x="67" y="26"/>
                  </a:cxn>
                  <a:cxn ang="0">
                    <a:pos x="73" y="26"/>
                  </a:cxn>
                  <a:cxn ang="0">
                    <a:pos x="76" y="30"/>
                  </a:cxn>
                  <a:cxn ang="0">
                    <a:pos x="70" y="29"/>
                  </a:cxn>
                  <a:cxn ang="0">
                    <a:pos x="66" y="33"/>
                  </a:cxn>
                  <a:cxn ang="0">
                    <a:pos x="59" y="51"/>
                  </a:cxn>
                  <a:cxn ang="0">
                    <a:pos x="56" y="64"/>
                  </a:cxn>
                  <a:cxn ang="0">
                    <a:pos x="54" y="64"/>
                  </a:cxn>
                  <a:cxn ang="0">
                    <a:pos x="50" y="61"/>
                  </a:cxn>
                  <a:cxn ang="0">
                    <a:pos x="45" y="59"/>
                  </a:cxn>
                  <a:cxn ang="0">
                    <a:pos x="44" y="56"/>
                  </a:cxn>
                  <a:cxn ang="0">
                    <a:pos x="45" y="48"/>
                  </a:cxn>
                  <a:cxn ang="0">
                    <a:pos x="41" y="42"/>
                  </a:cxn>
                  <a:cxn ang="0">
                    <a:pos x="29" y="49"/>
                  </a:cxn>
                  <a:cxn ang="0">
                    <a:pos x="25" y="56"/>
                  </a:cxn>
                  <a:cxn ang="0">
                    <a:pos x="21" y="53"/>
                  </a:cxn>
                  <a:cxn ang="0">
                    <a:pos x="21" y="51"/>
                  </a:cxn>
                  <a:cxn ang="0">
                    <a:pos x="21" y="48"/>
                  </a:cxn>
                  <a:cxn ang="0">
                    <a:pos x="21" y="43"/>
                  </a:cxn>
                  <a:cxn ang="0">
                    <a:pos x="18" y="43"/>
                  </a:cxn>
                  <a:cxn ang="0">
                    <a:pos x="11" y="37"/>
                  </a:cxn>
                  <a:cxn ang="0">
                    <a:pos x="12" y="35"/>
                  </a:cxn>
                  <a:cxn ang="0">
                    <a:pos x="14" y="32"/>
                  </a:cxn>
                  <a:cxn ang="0">
                    <a:pos x="6" y="26"/>
                  </a:cxn>
                  <a:cxn ang="0">
                    <a:pos x="6" y="22"/>
                  </a:cxn>
                  <a:cxn ang="0">
                    <a:pos x="8" y="19"/>
                  </a:cxn>
                  <a:cxn ang="0">
                    <a:pos x="3" y="17"/>
                  </a:cxn>
                  <a:cxn ang="0">
                    <a:pos x="0" y="11"/>
                  </a:cxn>
                  <a:cxn ang="0">
                    <a:pos x="9" y="10"/>
                  </a:cxn>
                  <a:cxn ang="0">
                    <a:pos x="15" y="13"/>
                  </a:cxn>
                  <a:cxn ang="0">
                    <a:pos x="22" y="14"/>
                  </a:cxn>
                  <a:cxn ang="0">
                    <a:pos x="22" y="11"/>
                  </a:cxn>
                  <a:cxn ang="0">
                    <a:pos x="19" y="7"/>
                  </a:cxn>
                  <a:cxn ang="0">
                    <a:pos x="18" y="3"/>
                  </a:cxn>
                </a:cxnLst>
                <a:rect l="0" t="0" r="r" b="b"/>
                <a:pathLst>
                  <a:path w="76" h="64">
                    <a:moveTo>
                      <a:pt x="21" y="0"/>
                    </a:moveTo>
                    <a:lnTo>
                      <a:pt x="22" y="1"/>
                    </a:lnTo>
                    <a:lnTo>
                      <a:pt x="25" y="1"/>
                    </a:lnTo>
                    <a:lnTo>
                      <a:pt x="29" y="7"/>
                    </a:lnTo>
                    <a:lnTo>
                      <a:pt x="31" y="7"/>
                    </a:lnTo>
                    <a:lnTo>
                      <a:pt x="32" y="13"/>
                    </a:lnTo>
                    <a:lnTo>
                      <a:pt x="40" y="13"/>
                    </a:lnTo>
                    <a:lnTo>
                      <a:pt x="41" y="13"/>
                    </a:lnTo>
                    <a:lnTo>
                      <a:pt x="43" y="11"/>
                    </a:lnTo>
                    <a:lnTo>
                      <a:pt x="44" y="7"/>
                    </a:lnTo>
                    <a:lnTo>
                      <a:pt x="48" y="6"/>
                    </a:lnTo>
                    <a:lnTo>
                      <a:pt x="50" y="1"/>
                    </a:lnTo>
                    <a:lnTo>
                      <a:pt x="66" y="24"/>
                    </a:lnTo>
                    <a:lnTo>
                      <a:pt x="67" y="26"/>
                    </a:lnTo>
                    <a:lnTo>
                      <a:pt x="72" y="24"/>
                    </a:lnTo>
                    <a:lnTo>
                      <a:pt x="73" y="26"/>
                    </a:lnTo>
                    <a:lnTo>
                      <a:pt x="75" y="26"/>
                    </a:lnTo>
                    <a:lnTo>
                      <a:pt x="76" y="30"/>
                    </a:lnTo>
                    <a:lnTo>
                      <a:pt x="73" y="29"/>
                    </a:lnTo>
                    <a:lnTo>
                      <a:pt x="70" y="29"/>
                    </a:lnTo>
                    <a:lnTo>
                      <a:pt x="67" y="30"/>
                    </a:lnTo>
                    <a:lnTo>
                      <a:pt x="66" y="33"/>
                    </a:lnTo>
                    <a:lnTo>
                      <a:pt x="61" y="53"/>
                    </a:lnTo>
                    <a:lnTo>
                      <a:pt x="59" y="51"/>
                    </a:lnTo>
                    <a:lnTo>
                      <a:pt x="56" y="52"/>
                    </a:lnTo>
                    <a:lnTo>
                      <a:pt x="56" y="64"/>
                    </a:lnTo>
                    <a:lnTo>
                      <a:pt x="56" y="64"/>
                    </a:lnTo>
                    <a:lnTo>
                      <a:pt x="54" y="64"/>
                    </a:lnTo>
                    <a:lnTo>
                      <a:pt x="51" y="64"/>
                    </a:lnTo>
                    <a:lnTo>
                      <a:pt x="50" y="61"/>
                    </a:lnTo>
                    <a:lnTo>
                      <a:pt x="47" y="61"/>
                    </a:lnTo>
                    <a:lnTo>
                      <a:pt x="45" y="59"/>
                    </a:lnTo>
                    <a:lnTo>
                      <a:pt x="43" y="58"/>
                    </a:lnTo>
                    <a:lnTo>
                      <a:pt x="44" y="56"/>
                    </a:lnTo>
                    <a:lnTo>
                      <a:pt x="48" y="53"/>
                    </a:lnTo>
                    <a:lnTo>
                      <a:pt x="45" y="48"/>
                    </a:lnTo>
                    <a:lnTo>
                      <a:pt x="45" y="45"/>
                    </a:lnTo>
                    <a:lnTo>
                      <a:pt x="41" y="42"/>
                    </a:lnTo>
                    <a:lnTo>
                      <a:pt x="35" y="43"/>
                    </a:lnTo>
                    <a:lnTo>
                      <a:pt x="29" y="49"/>
                    </a:lnTo>
                    <a:lnTo>
                      <a:pt x="28" y="53"/>
                    </a:lnTo>
                    <a:lnTo>
                      <a:pt x="25" y="56"/>
                    </a:lnTo>
                    <a:lnTo>
                      <a:pt x="22" y="56"/>
                    </a:lnTo>
                    <a:lnTo>
                      <a:pt x="21" y="53"/>
                    </a:lnTo>
                    <a:lnTo>
                      <a:pt x="19" y="52"/>
                    </a:lnTo>
                    <a:lnTo>
                      <a:pt x="21" y="51"/>
                    </a:lnTo>
                    <a:lnTo>
                      <a:pt x="22" y="49"/>
                    </a:lnTo>
                    <a:lnTo>
                      <a:pt x="21" y="48"/>
                    </a:lnTo>
                    <a:lnTo>
                      <a:pt x="21" y="45"/>
                    </a:lnTo>
                    <a:lnTo>
                      <a:pt x="21" y="43"/>
                    </a:lnTo>
                    <a:lnTo>
                      <a:pt x="19" y="43"/>
                    </a:lnTo>
                    <a:lnTo>
                      <a:pt x="18" y="43"/>
                    </a:lnTo>
                    <a:lnTo>
                      <a:pt x="14" y="40"/>
                    </a:lnTo>
                    <a:lnTo>
                      <a:pt x="11" y="37"/>
                    </a:lnTo>
                    <a:lnTo>
                      <a:pt x="11" y="36"/>
                    </a:lnTo>
                    <a:lnTo>
                      <a:pt x="12" y="35"/>
                    </a:lnTo>
                    <a:lnTo>
                      <a:pt x="14" y="33"/>
                    </a:lnTo>
                    <a:lnTo>
                      <a:pt x="14" y="32"/>
                    </a:lnTo>
                    <a:lnTo>
                      <a:pt x="8" y="27"/>
                    </a:lnTo>
                    <a:lnTo>
                      <a:pt x="6" y="26"/>
                    </a:lnTo>
                    <a:lnTo>
                      <a:pt x="6" y="24"/>
                    </a:lnTo>
                    <a:lnTo>
                      <a:pt x="6" y="22"/>
                    </a:lnTo>
                    <a:lnTo>
                      <a:pt x="8" y="20"/>
                    </a:lnTo>
                    <a:lnTo>
                      <a:pt x="8" y="19"/>
                    </a:lnTo>
                    <a:lnTo>
                      <a:pt x="5" y="17"/>
                    </a:lnTo>
                    <a:lnTo>
                      <a:pt x="3" y="17"/>
                    </a:lnTo>
                    <a:lnTo>
                      <a:pt x="0" y="11"/>
                    </a:lnTo>
                    <a:lnTo>
                      <a:pt x="0" y="11"/>
                    </a:lnTo>
                    <a:lnTo>
                      <a:pt x="5" y="8"/>
                    </a:lnTo>
                    <a:lnTo>
                      <a:pt x="9" y="10"/>
                    </a:lnTo>
                    <a:lnTo>
                      <a:pt x="11" y="11"/>
                    </a:lnTo>
                    <a:lnTo>
                      <a:pt x="15" y="13"/>
                    </a:lnTo>
                    <a:lnTo>
                      <a:pt x="16" y="13"/>
                    </a:lnTo>
                    <a:lnTo>
                      <a:pt x="22" y="14"/>
                    </a:lnTo>
                    <a:lnTo>
                      <a:pt x="24" y="13"/>
                    </a:lnTo>
                    <a:lnTo>
                      <a:pt x="22" y="11"/>
                    </a:lnTo>
                    <a:lnTo>
                      <a:pt x="19" y="8"/>
                    </a:lnTo>
                    <a:lnTo>
                      <a:pt x="19" y="7"/>
                    </a:lnTo>
                    <a:lnTo>
                      <a:pt x="18" y="6"/>
                    </a:lnTo>
                    <a:lnTo>
                      <a:pt x="18" y="3"/>
                    </a:lnTo>
                    <a:lnTo>
                      <a:pt x="2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29" name="Freeform 1306"/>
              <p:cNvSpPr>
                <a:spLocks/>
              </p:cNvSpPr>
              <p:nvPr/>
            </p:nvSpPr>
            <p:spPr bwMode="auto">
              <a:xfrm>
                <a:off x="6705340" y="2592114"/>
                <a:ext cx="70224" cy="65919"/>
              </a:xfrm>
              <a:custGeom>
                <a:avLst/>
                <a:gdLst/>
                <a:ahLst/>
                <a:cxnLst>
                  <a:cxn ang="0">
                    <a:pos x="22" y="1"/>
                  </a:cxn>
                  <a:cxn ang="0">
                    <a:pos x="29" y="7"/>
                  </a:cxn>
                  <a:cxn ang="0">
                    <a:pos x="32" y="13"/>
                  </a:cxn>
                  <a:cxn ang="0">
                    <a:pos x="41" y="13"/>
                  </a:cxn>
                  <a:cxn ang="0">
                    <a:pos x="44" y="7"/>
                  </a:cxn>
                  <a:cxn ang="0">
                    <a:pos x="50" y="1"/>
                  </a:cxn>
                  <a:cxn ang="0">
                    <a:pos x="67" y="26"/>
                  </a:cxn>
                  <a:cxn ang="0">
                    <a:pos x="73" y="26"/>
                  </a:cxn>
                  <a:cxn ang="0">
                    <a:pos x="76" y="30"/>
                  </a:cxn>
                  <a:cxn ang="0">
                    <a:pos x="70" y="29"/>
                  </a:cxn>
                  <a:cxn ang="0">
                    <a:pos x="66" y="33"/>
                  </a:cxn>
                  <a:cxn ang="0">
                    <a:pos x="59" y="51"/>
                  </a:cxn>
                  <a:cxn ang="0">
                    <a:pos x="56" y="64"/>
                  </a:cxn>
                  <a:cxn ang="0">
                    <a:pos x="54" y="64"/>
                  </a:cxn>
                  <a:cxn ang="0">
                    <a:pos x="50" y="61"/>
                  </a:cxn>
                  <a:cxn ang="0">
                    <a:pos x="45" y="59"/>
                  </a:cxn>
                  <a:cxn ang="0">
                    <a:pos x="44" y="56"/>
                  </a:cxn>
                  <a:cxn ang="0">
                    <a:pos x="45" y="48"/>
                  </a:cxn>
                  <a:cxn ang="0">
                    <a:pos x="41" y="42"/>
                  </a:cxn>
                  <a:cxn ang="0">
                    <a:pos x="29" y="49"/>
                  </a:cxn>
                  <a:cxn ang="0">
                    <a:pos x="25" y="56"/>
                  </a:cxn>
                  <a:cxn ang="0">
                    <a:pos x="21" y="53"/>
                  </a:cxn>
                  <a:cxn ang="0">
                    <a:pos x="21" y="51"/>
                  </a:cxn>
                  <a:cxn ang="0">
                    <a:pos x="21" y="48"/>
                  </a:cxn>
                  <a:cxn ang="0">
                    <a:pos x="21" y="43"/>
                  </a:cxn>
                  <a:cxn ang="0">
                    <a:pos x="18" y="43"/>
                  </a:cxn>
                  <a:cxn ang="0">
                    <a:pos x="11" y="37"/>
                  </a:cxn>
                  <a:cxn ang="0">
                    <a:pos x="12" y="35"/>
                  </a:cxn>
                  <a:cxn ang="0">
                    <a:pos x="14" y="32"/>
                  </a:cxn>
                  <a:cxn ang="0">
                    <a:pos x="6" y="26"/>
                  </a:cxn>
                  <a:cxn ang="0">
                    <a:pos x="6" y="22"/>
                  </a:cxn>
                  <a:cxn ang="0">
                    <a:pos x="8" y="19"/>
                  </a:cxn>
                  <a:cxn ang="0">
                    <a:pos x="3" y="17"/>
                  </a:cxn>
                  <a:cxn ang="0">
                    <a:pos x="0" y="11"/>
                  </a:cxn>
                  <a:cxn ang="0">
                    <a:pos x="9" y="10"/>
                  </a:cxn>
                  <a:cxn ang="0">
                    <a:pos x="15" y="13"/>
                  </a:cxn>
                  <a:cxn ang="0">
                    <a:pos x="22" y="14"/>
                  </a:cxn>
                  <a:cxn ang="0">
                    <a:pos x="22" y="11"/>
                  </a:cxn>
                  <a:cxn ang="0">
                    <a:pos x="19" y="7"/>
                  </a:cxn>
                  <a:cxn ang="0">
                    <a:pos x="18" y="3"/>
                  </a:cxn>
                </a:cxnLst>
                <a:rect l="0" t="0" r="r" b="b"/>
                <a:pathLst>
                  <a:path w="76" h="64">
                    <a:moveTo>
                      <a:pt x="21" y="0"/>
                    </a:moveTo>
                    <a:lnTo>
                      <a:pt x="22" y="1"/>
                    </a:lnTo>
                    <a:lnTo>
                      <a:pt x="25" y="1"/>
                    </a:lnTo>
                    <a:lnTo>
                      <a:pt x="29" y="7"/>
                    </a:lnTo>
                    <a:lnTo>
                      <a:pt x="31" y="7"/>
                    </a:lnTo>
                    <a:lnTo>
                      <a:pt x="32" y="13"/>
                    </a:lnTo>
                    <a:lnTo>
                      <a:pt x="40" y="13"/>
                    </a:lnTo>
                    <a:lnTo>
                      <a:pt x="41" y="13"/>
                    </a:lnTo>
                    <a:lnTo>
                      <a:pt x="43" y="11"/>
                    </a:lnTo>
                    <a:lnTo>
                      <a:pt x="44" y="7"/>
                    </a:lnTo>
                    <a:lnTo>
                      <a:pt x="48" y="6"/>
                    </a:lnTo>
                    <a:lnTo>
                      <a:pt x="50" y="1"/>
                    </a:lnTo>
                    <a:lnTo>
                      <a:pt x="66" y="24"/>
                    </a:lnTo>
                    <a:lnTo>
                      <a:pt x="67" y="26"/>
                    </a:lnTo>
                    <a:lnTo>
                      <a:pt x="72" y="24"/>
                    </a:lnTo>
                    <a:lnTo>
                      <a:pt x="73" y="26"/>
                    </a:lnTo>
                    <a:lnTo>
                      <a:pt x="75" y="26"/>
                    </a:lnTo>
                    <a:lnTo>
                      <a:pt x="76" y="30"/>
                    </a:lnTo>
                    <a:lnTo>
                      <a:pt x="73" y="29"/>
                    </a:lnTo>
                    <a:lnTo>
                      <a:pt x="70" y="29"/>
                    </a:lnTo>
                    <a:lnTo>
                      <a:pt x="67" y="30"/>
                    </a:lnTo>
                    <a:lnTo>
                      <a:pt x="66" y="33"/>
                    </a:lnTo>
                    <a:lnTo>
                      <a:pt x="61" y="53"/>
                    </a:lnTo>
                    <a:lnTo>
                      <a:pt x="59" y="51"/>
                    </a:lnTo>
                    <a:lnTo>
                      <a:pt x="56" y="52"/>
                    </a:lnTo>
                    <a:lnTo>
                      <a:pt x="56" y="64"/>
                    </a:lnTo>
                    <a:lnTo>
                      <a:pt x="56" y="64"/>
                    </a:lnTo>
                    <a:lnTo>
                      <a:pt x="54" y="64"/>
                    </a:lnTo>
                    <a:lnTo>
                      <a:pt x="51" y="64"/>
                    </a:lnTo>
                    <a:lnTo>
                      <a:pt x="50" y="61"/>
                    </a:lnTo>
                    <a:lnTo>
                      <a:pt x="47" y="61"/>
                    </a:lnTo>
                    <a:lnTo>
                      <a:pt x="45" y="59"/>
                    </a:lnTo>
                    <a:lnTo>
                      <a:pt x="43" y="58"/>
                    </a:lnTo>
                    <a:lnTo>
                      <a:pt x="44" y="56"/>
                    </a:lnTo>
                    <a:lnTo>
                      <a:pt x="48" y="53"/>
                    </a:lnTo>
                    <a:lnTo>
                      <a:pt x="45" y="48"/>
                    </a:lnTo>
                    <a:lnTo>
                      <a:pt x="45" y="45"/>
                    </a:lnTo>
                    <a:lnTo>
                      <a:pt x="41" y="42"/>
                    </a:lnTo>
                    <a:lnTo>
                      <a:pt x="35" y="43"/>
                    </a:lnTo>
                    <a:lnTo>
                      <a:pt x="29" y="49"/>
                    </a:lnTo>
                    <a:lnTo>
                      <a:pt x="28" y="53"/>
                    </a:lnTo>
                    <a:lnTo>
                      <a:pt x="25" y="56"/>
                    </a:lnTo>
                    <a:lnTo>
                      <a:pt x="22" y="56"/>
                    </a:lnTo>
                    <a:lnTo>
                      <a:pt x="21" y="53"/>
                    </a:lnTo>
                    <a:lnTo>
                      <a:pt x="19" y="52"/>
                    </a:lnTo>
                    <a:lnTo>
                      <a:pt x="21" y="51"/>
                    </a:lnTo>
                    <a:lnTo>
                      <a:pt x="22" y="49"/>
                    </a:lnTo>
                    <a:lnTo>
                      <a:pt x="21" y="48"/>
                    </a:lnTo>
                    <a:lnTo>
                      <a:pt x="21" y="45"/>
                    </a:lnTo>
                    <a:lnTo>
                      <a:pt x="21" y="43"/>
                    </a:lnTo>
                    <a:lnTo>
                      <a:pt x="19" y="43"/>
                    </a:lnTo>
                    <a:lnTo>
                      <a:pt x="18" y="43"/>
                    </a:lnTo>
                    <a:lnTo>
                      <a:pt x="14" y="40"/>
                    </a:lnTo>
                    <a:lnTo>
                      <a:pt x="11" y="37"/>
                    </a:lnTo>
                    <a:lnTo>
                      <a:pt x="11" y="36"/>
                    </a:lnTo>
                    <a:lnTo>
                      <a:pt x="12" y="35"/>
                    </a:lnTo>
                    <a:lnTo>
                      <a:pt x="14" y="33"/>
                    </a:lnTo>
                    <a:lnTo>
                      <a:pt x="14" y="32"/>
                    </a:lnTo>
                    <a:lnTo>
                      <a:pt x="8" y="27"/>
                    </a:lnTo>
                    <a:lnTo>
                      <a:pt x="6" y="26"/>
                    </a:lnTo>
                    <a:lnTo>
                      <a:pt x="6" y="24"/>
                    </a:lnTo>
                    <a:lnTo>
                      <a:pt x="6" y="22"/>
                    </a:lnTo>
                    <a:lnTo>
                      <a:pt x="8" y="20"/>
                    </a:lnTo>
                    <a:lnTo>
                      <a:pt x="8" y="19"/>
                    </a:lnTo>
                    <a:lnTo>
                      <a:pt x="5" y="17"/>
                    </a:lnTo>
                    <a:lnTo>
                      <a:pt x="3" y="17"/>
                    </a:lnTo>
                    <a:lnTo>
                      <a:pt x="0" y="11"/>
                    </a:lnTo>
                    <a:lnTo>
                      <a:pt x="0" y="11"/>
                    </a:lnTo>
                    <a:lnTo>
                      <a:pt x="5" y="8"/>
                    </a:lnTo>
                    <a:lnTo>
                      <a:pt x="9" y="10"/>
                    </a:lnTo>
                    <a:lnTo>
                      <a:pt x="11" y="11"/>
                    </a:lnTo>
                    <a:lnTo>
                      <a:pt x="15" y="13"/>
                    </a:lnTo>
                    <a:lnTo>
                      <a:pt x="16" y="13"/>
                    </a:lnTo>
                    <a:lnTo>
                      <a:pt x="22" y="14"/>
                    </a:lnTo>
                    <a:lnTo>
                      <a:pt x="24" y="13"/>
                    </a:lnTo>
                    <a:lnTo>
                      <a:pt x="22" y="11"/>
                    </a:lnTo>
                    <a:lnTo>
                      <a:pt x="19" y="8"/>
                    </a:lnTo>
                    <a:lnTo>
                      <a:pt x="19" y="7"/>
                    </a:lnTo>
                    <a:lnTo>
                      <a:pt x="18" y="6"/>
                    </a:lnTo>
                    <a:lnTo>
                      <a:pt x="18" y="3"/>
                    </a:lnTo>
                    <a:lnTo>
                      <a:pt x="2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30" name="Freeform 1307"/>
              <p:cNvSpPr>
                <a:spLocks/>
              </p:cNvSpPr>
              <p:nvPr/>
            </p:nvSpPr>
            <p:spPr bwMode="auto">
              <a:xfrm>
                <a:off x="6238350" y="2756403"/>
                <a:ext cx="206283" cy="226152"/>
              </a:xfrm>
              <a:custGeom>
                <a:avLst/>
                <a:gdLst/>
                <a:ahLst/>
                <a:cxnLst>
                  <a:cxn ang="0">
                    <a:pos x="30" y="143"/>
                  </a:cxn>
                  <a:cxn ang="0">
                    <a:pos x="14" y="140"/>
                  </a:cxn>
                  <a:cxn ang="0">
                    <a:pos x="10" y="127"/>
                  </a:cxn>
                  <a:cxn ang="0">
                    <a:pos x="1" y="113"/>
                  </a:cxn>
                  <a:cxn ang="0">
                    <a:pos x="7" y="109"/>
                  </a:cxn>
                  <a:cxn ang="0">
                    <a:pos x="0" y="54"/>
                  </a:cxn>
                  <a:cxn ang="0">
                    <a:pos x="3" y="48"/>
                  </a:cxn>
                  <a:cxn ang="0">
                    <a:pos x="6" y="47"/>
                  </a:cxn>
                  <a:cxn ang="0">
                    <a:pos x="13" y="39"/>
                  </a:cxn>
                  <a:cxn ang="0">
                    <a:pos x="11" y="31"/>
                  </a:cxn>
                  <a:cxn ang="0">
                    <a:pos x="13" y="25"/>
                  </a:cxn>
                  <a:cxn ang="0">
                    <a:pos x="20" y="19"/>
                  </a:cxn>
                  <a:cxn ang="0">
                    <a:pos x="30" y="10"/>
                  </a:cxn>
                  <a:cxn ang="0">
                    <a:pos x="43" y="6"/>
                  </a:cxn>
                  <a:cxn ang="0">
                    <a:pos x="55" y="4"/>
                  </a:cxn>
                  <a:cxn ang="0">
                    <a:pos x="61" y="6"/>
                  </a:cxn>
                  <a:cxn ang="0">
                    <a:pos x="84" y="13"/>
                  </a:cxn>
                  <a:cxn ang="0">
                    <a:pos x="85" y="22"/>
                  </a:cxn>
                  <a:cxn ang="0">
                    <a:pos x="128" y="41"/>
                  </a:cxn>
                  <a:cxn ang="0">
                    <a:pos x="136" y="48"/>
                  </a:cxn>
                  <a:cxn ang="0">
                    <a:pos x="148" y="44"/>
                  </a:cxn>
                  <a:cxn ang="0">
                    <a:pos x="154" y="34"/>
                  </a:cxn>
                  <a:cxn ang="0">
                    <a:pos x="152" y="28"/>
                  </a:cxn>
                  <a:cxn ang="0">
                    <a:pos x="151" y="22"/>
                  </a:cxn>
                  <a:cxn ang="0">
                    <a:pos x="167" y="6"/>
                  </a:cxn>
                  <a:cxn ang="0">
                    <a:pos x="191" y="7"/>
                  </a:cxn>
                  <a:cxn ang="0">
                    <a:pos x="196" y="9"/>
                  </a:cxn>
                  <a:cxn ang="0">
                    <a:pos x="196" y="12"/>
                  </a:cxn>
                  <a:cxn ang="0">
                    <a:pos x="194" y="15"/>
                  </a:cxn>
                  <a:cxn ang="0">
                    <a:pos x="199" y="16"/>
                  </a:cxn>
                  <a:cxn ang="0">
                    <a:pos x="222" y="20"/>
                  </a:cxn>
                  <a:cxn ang="0">
                    <a:pos x="225" y="25"/>
                  </a:cxn>
                  <a:cxn ang="0">
                    <a:pos x="223" y="26"/>
                  </a:cxn>
                  <a:cxn ang="0">
                    <a:pos x="221" y="31"/>
                  </a:cxn>
                  <a:cxn ang="0">
                    <a:pos x="222" y="34"/>
                  </a:cxn>
                  <a:cxn ang="0">
                    <a:pos x="222" y="48"/>
                  </a:cxn>
                  <a:cxn ang="0">
                    <a:pos x="219" y="50"/>
                  </a:cxn>
                  <a:cxn ang="0">
                    <a:pos x="219" y="57"/>
                  </a:cxn>
                  <a:cxn ang="0">
                    <a:pos x="221" y="63"/>
                  </a:cxn>
                  <a:cxn ang="0">
                    <a:pos x="225" y="208"/>
                  </a:cxn>
                  <a:cxn ang="0">
                    <a:pos x="212" y="217"/>
                  </a:cxn>
                  <a:cxn ang="0">
                    <a:pos x="97" y="157"/>
                  </a:cxn>
                  <a:cxn ang="0">
                    <a:pos x="75" y="160"/>
                  </a:cxn>
                  <a:cxn ang="0">
                    <a:pos x="71" y="157"/>
                  </a:cxn>
                  <a:cxn ang="0">
                    <a:pos x="38" y="154"/>
                  </a:cxn>
                </a:cxnLst>
                <a:rect l="0" t="0" r="r" b="b"/>
                <a:pathLst>
                  <a:path w="225" h="217">
                    <a:moveTo>
                      <a:pt x="36" y="156"/>
                    </a:moveTo>
                    <a:lnTo>
                      <a:pt x="30" y="143"/>
                    </a:lnTo>
                    <a:lnTo>
                      <a:pt x="22" y="140"/>
                    </a:lnTo>
                    <a:lnTo>
                      <a:pt x="14" y="140"/>
                    </a:lnTo>
                    <a:lnTo>
                      <a:pt x="11" y="135"/>
                    </a:lnTo>
                    <a:lnTo>
                      <a:pt x="10" y="127"/>
                    </a:lnTo>
                    <a:lnTo>
                      <a:pt x="3" y="116"/>
                    </a:lnTo>
                    <a:lnTo>
                      <a:pt x="1" y="113"/>
                    </a:lnTo>
                    <a:lnTo>
                      <a:pt x="1" y="112"/>
                    </a:lnTo>
                    <a:lnTo>
                      <a:pt x="7" y="109"/>
                    </a:lnTo>
                    <a:lnTo>
                      <a:pt x="6" y="63"/>
                    </a:lnTo>
                    <a:lnTo>
                      <a:pt x="0" y="54"/>
                    </a:lnTo>
                    <a:lnTo>
                      <a:pt x="0" y="50"/>
                    </a:lnTo>
                    <a:lnTo>
                      <a:pt x="3" y="48"/>
                    </a:lnTo>
                    <a:lnTo>
                      <a:pt x="3" y="47"/>
                    </a:lnTo>
                    <a:lnTo>
                      <a:pt x="6" y="47"/>
                    </a:lnTo>
                    <a:lnTo>
                      <a:pt x="11" y="42"/>
                    </a:lnTo>
                    <a:lnTo>
                      <a:pt x="13" y="39"/>
                    </a:lnTo>
                    <a:lnTo>
                      <a:pt x="13" y="38"/>
                    </a:lnTo>
                    <a:lnTo>
                      <a:pt x="11" y="31"/>
                    </a:lnTo>
                    <a:lnTo>
                      <a:pt x="13" y="28"/>
                    </a:lnTo>
                    <a:lnTo>
                      <a:pt x="13" y="25"/>
                    </a:lnTo>
                    <a:lnTo>
                      <a:pt x="19" y="22"/>
                    </a:lnTo>
                    <a:lnTo>
                      <a:pt x="20" y="19"/>
                    </a:lnTo>
                    <a:lnTo>
                      <a:pt x="29" y="13"/>
                    </a:lnTo>
                    <a:lnTo>
                      <a:pt x="30" y="10"/>
                    </a:lnTo>
                    <a:lnTo>
                      <a:pt x="30" y="0"/>
                    </a:lnTo>
                    <a:lnTo>
                      <a:pt x="43" y="6"/>
                    </a:lnTo>
                    <a:lnTo>
                      <a:pt x="49" y="6"/>
                    </a:lnTo>
                    <a:lnTo>
                      <a:pt x="55" y="4"/>
                    </a:lnTo>
                    <a:lnTo>
                      <a:pt x="58" y="4"/>
                    </a:lnTo>
                    <a:lnTo>
                      <a:pt x="61" y="6"/>
                    </a:lnTo>
                    <a:lnTo>
                      <a:pt x="65" y="6"/>
                    </a:lnTo>
                    <a:lnTo>
                      <a:pt x="84" y="13"/>
                    </a:lnTo>
                    <a:lnTo>
                      <a:pt x="85" y="15"/>
                    </a:lnTo>
                    <a:lnTo>
                      <a:pt x="85" y="22"/>
                    </a:lnTo>
                    <a:lnTo>
                      <a:pt x="93" y="31"/>
                    </a:lnTo>
                    <a:lnTo>
                      <a:pt x="128" y="41"/>
                    </a:lnTo>
                    <a:lnTo>
                      <a:pt x="133" y="47"/>
                    </a:lnTo>
                    <a:lnTo>
                      <a:pt x="136" y="48"/>
                    </a:lnTo>
                    <a:lnTo>
                      <a:pt x="141" y="48"/>
                    </a:lnTo>
                    <a:lnTo>
                      <a:pt x="148" y="44"/>
                    </a:lnTo>
                    <a:lnTo>
                      <a:pt x="154" y="36"/>
                    </a:lnTo>
                    <a:lnTo>
                      <a:pt x="154" y="34"/>
                    </a:lnTo>
                    <a:lnTo>
                      <a:pt x="152" y="31"/>
                    </a:lnTo>
                    <a:lnTo>
                      <a:pt x="152" y="28"/>
                    </a:lnTo>
                    <a:lnTo>
                      <a:pt x="151" y="26"/>
                    </a:lnTo>
                    <a:lnTo>
                      <a:pt x="151" y="22"/>
                    </a:lnTo>
                    <a:lnTo>
                      <a:pt x="151" y="19"/>
                    </a:lnTo>
                    <a:lnTo>
                      <a:pt x="167" y="6"/>
                    </a:lnTo>
                    <a:lnTo>
                      <a:pt x="181" y="4"/>
                    </a:lnTo>
                    <a:lnTo>
                      <a:pt x="191" y="7"/>
                    </a:lnTo>
                    <a:lnTo>
                      <a:pt x="193" y="7"/>
                    </a:lnTo>
                    <a:lnTo>
                      <a:pt x="196" y="9"/>
                    </a:lnTo>
                    <a:lnTo>
                      <a:pt x="196" y="12"/>
                    </a:lnTo>
                    <a:lnTo>
                      <a:pt x="196" y="12"/>
                    </a:lnTo>
                    <a:lnTo>
                      <a:pt x="194" y="12"/>
                    </a:lnTo>
                    <a:lnTo>
                      <a:pt x="194" y="15"/>
                    </a:lnTo>
                    <a:lnTo>
                      <a:pt x="197" y="16"/>
                    </a:lnTo>
                    <a:lnTo>
                      <a:pt x="199" y="16"/>
                    </a:lnTo>
                    <a:lnTo>
                      <a:pt x="200" y="16"/>
                    </a:lnTo>
                    <a:lnTo>
                      <a:pt x="222" y="20"/>
                    </a:lnTo>
                    <a:lnTo>
                      <a:pt x="223" y="22"/>
                    </a:lnTo>
                    <a:lnTo>
                      <a:pt x="225" y="25"/>
                    </a:lnTo>
                    <a:lnTo>
                      <a:pt x="225" y="25"/>
                    </a:lnTo>
                    <a:lnTo>
                      <a:pt x="223" y="26"/>
                    </a:lnTo>
                    <a:lnTo>
                      <a:pt x="223" y="28"/>
                    </a:lnTo>
                    <a:lnTo>
                      <a:pt x="221" y="31"/>
                    </a:lnTo>
                    <a:lnTo>
                      <a:pt x="221" y="31"/>
                    </a:lnTo>
                    <a:lnTo>
                      <a:pt x="222" y="34"/>
                    </a:lnTo>
                    <a:lnTo>
                      <a:pt x="222" y="47"/>
                    </a:lnTo>
                    <a:lnTo>
                      <a:pt x="222" y="48"/>
                    </a:lnTo>
                    <a:lnTo>
                      <a:pt x="221" y="50"/>
                    </a:lnTo>
                    <a:lnTo>
                      <a:pt x="219" y="50"/>
                    </a:lnTo>
                    <a:lnTo>
                      <a:pt x="219" y="51"/>
                    </a:lnTo>
                    <a:lnTo>
                      <a:pt x="219" y="57"/>
                    </a:lnTo>
                    <a:lnTo>
                      <a:pt x="222" y="60"/>
                    </a:lnTo>
                    <a:lnTo>
                      <a:pt x="221" y="63"/>
                    </a:lnTo>
                    <a:lnTo>
                      <a:pt x="225" y="68"/>
                    </a:lnTo>
                    <a:lnTo>
                      <a:pt x="225" y="208"/>
                    </a:lnTo>
                    <a:lnTo>
                      <a:pt x="212" y="208"/>
                    </a:lnTo>
                    <a:lnTo>
                      <a:pt x="212" y="217"/>
                    </a:lnTo>
                    <a:lnTo>
                      <a:pt x="209" y="217"/>
                    </a:lnTo>
                    <a:lnTo>
                      <a:pt x="97" y="157"/>
                    </a:lnTo>
                    <a:lnTo>
                      <a:pt x="78" y="164"/>
                    </a:lnTo>
                    <a:lnTo>
                      <a:pt x="75" y="160"/>
                    </a:lnTo>
                    <a:lnTo>
                      <a:pt x="72" y="158"/>
                    </a:lnTo>
                    <a:lnTo>
                      <a:pt x="71" y="157"/>
                    </a:lnTo>
                    <a:lnTo>
                      <a:pt x="70" y="157"/>
                    </a:lnTo>
                    <a:lnTo>
                      <a:pt x="38" y="154"/>
                    </a:lnTo>
                    <a:lnTo>
                      <a:pt x="36" y="156"/>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31" name="Freeform 1309"/>
              <p:cNvSpPr>
                <a:spLocks/>
              </p:cNvSpPr>
              <p:nvPr/>
            </p:nvSpPr>
            <p:spPr bwMode="auto">
              <a:xfrm>
                <a:off x="5960088" y="2893312"/>
                <a:ext cx="213306" cy="230208"/>
              </a:xfrm>
              <a:custGeom>
                <a:avLst/>
                <a:gdLst/>
                <a:ahLst/>
                <a:cxnLst>
                  <a:cxn ang="0">
                    <a:pos x="191" y="61"/>
                  </a:cxn>
                  <a:cxn ang="0">
                    <a:pos x="196" y="67"/>
                  </a:cxn>
                  <a:cxn ang="0">
                    <a:pos x="204" y="73"/>
                  </a:cxn>
                  <a:cxn ang="0">
                    <a:pos x="208" y="76"/>
                  </a:cxn>
                  <a:cxn ang="0">
                    <a:pos x="215" y="77"/>
                  </a:cxn>
                  <a:cxn ang="0">
                    <a:pos x="220" y="80"/>
                  </a:cxn>
                  <a:cxn ang="0">
                    <a:pos x="220" y="83"/>
                  </a:cxn>
                  <a:cxn ang="0">
                    <a:pos x="218" y="88"/>
                  </a:cxn>
                  <a:cxn ang="0">
                    <a:pos x="224" y="92"/>
                  </a:cxn>
                  <a:cxn ang="0">
                    <a:pos x="233" y="90"/>
                  </a:cxn>
                  <a:cxn ang="0">
                    <a:pos x="228" y="137"/>
                  </a:cxn>
                  <a:cxn ang="0">
                    <a:pos x="223" y="144"/>
                  </a:cxn>
                  <a:cxn ang="0">
                    <a:pos x="215" y="146"/>
                  </a:cxn>
                  <a:cxn ang="0">
                    <a:pos x="147" y="165"/>
                  </a:cxn>
                  <a:cxn ang="0">
                    <a:pos x="118" y="178"/>
                  </a:cxn>
                  <a:cxn ang="0">
                    <a:pos x="99" y="218"/>
                  </a:cxn>
                  <a:cxn ang="0">
                    <a:pos x="95" y="217"/>
                  </a:cxn>
                  <a:cxn ang="0">
                    <a:pos x="89" y="218"/>
                  </a:cxn>
                  <a:cxn ang="0">
                    <a:pos x="86" y="215"/>
                  </a:cxn>
                  <a:cxn ang="0">
                    <a:pos x="85" y="212"/>
                  </a:cxn>
                  <a:cxn ang="0">
                    <a:pos x="82" y="215"/>
                  </a:cxn>
                  <a:cxn ang="0">
                    <a:pos x="79" y="215"/>
                  </a:cxn>
                  <a:cxn ang="0">
                    <a:pos x="74" y="218"/>
                  </a:cxn>
                  <a:cxn ang="0">
                    <a:pos x="72" y="220"/>
                  </a:cxn>
                  <a:cxn ang="0">
                    <a:pos x="69" y="220"/>
                  </a:cxn>
                  <a:cxn ang="0">
                    <a:pos x="66" y="217"/>
                  </a:cxn>
                  <a:cxn ang="0">
                    <a:pos x="63" y="218"/>
                  </a:cxn>
                  <a:cxn ang="0">
                    <a:pos x="60" y="220"/>
                  </a:cxn>
                  <a:cxn ang="0">
                    <a:pos x="57" y="217"/>
                  </a:cxn>
                  <a:cxn ang="0">
                    <a:pos x="53" y="208"/>
                  </a:cxn>
                  <a:cxn ang="0">
                    <a:pos x="51" y="207"/>
                  </a:cxn>
                  <a:cxn ang="0">
                    <a:pos x="54" y="205"/>
                  </a:cxn>
                  <a:cxn ang="0">
                    <a:pos x="53" y="202"/>
                  </a:cxn>
                  <a:cxn ang="0">
                    <a:pos x="48" y="199"/>
                  </a:cxn>
                  <a:cxn ang="0">
                    <a:pos x="47" y="194"/>
                  </a:cxn>
                  <a:cxn ang="0">
                    <a:pos x="45" y="191"/>
                  </a:cxn>
                  <a:cxn ang="0">
                    <a:pos x="44" y="186"/>
                  </a:cxn>
                  <a:cxn ang="0">
                    <a:pos x="41" y="186"/>
                  </a:cxn>
                  <a:cxn ang="0">
                    <a:pos x="37" y="191"/>
                  </a:cxn>
                  <a:cxn ang="0">
                    <a:pos x="29" y="191"/>
                  </a:cxn>
                  <a:cxn ang="0">
                    <a:pos x="24" y="194"/>
                  </a:cxn>
                  <a:cxn ang="0">
                    <a:pos x="18" y="191"/>
                  </a:cxn>
                  <a:cxn ang="0">
                    <a:pos x="13" y="194"/>
                  </a:cxn>
                  <a:cxn ang="0">
                    <a:pos x="12" y="189"/>
                  </a:cxn>
                  <a:cxn ang="0">
                    <a:pos x="12" y="186"/>
                  </a:cxn>
                  <a:cxn ang="0">
                    <a:pos x="12" y="182"/>
                  </a:cxn>
                  <a:cxn ang="0">
                    <a:pos x="12" y="179"/>
                  </a:cxn>
                  <a:cxn ang="0">
                    <a:pos x="9" y="175"/>
                  </a:cxn>
                  <a:cxn ang="0">
                    <a:pos x="6" y="175"/>
                  </a:cxn>
                  <a:cxn ang="0">
                    <a:pos x="3" y="169"/>
                  </a:cxn>
                  <a:cxn ang="0">
                    <a:pos x="3" y="162"/>
                  </a:cxn>
                  <a:cxn ang="0">
                    <a:pos x="2" y="159"/>
                  </a:cxn>
                  <a:cxn ang="0">
                    <a:pos x="0" y="154"/>
                  </a:cxn>
                  <a:cxn ang="0">
                    <a:pos x="12" y="138"/>
                  </a:cxn>
                  <a:cxn ang="0">
                    <a:pos x="19" y="147"/>
                  </a:cxn>
                  <a:cxn ang="0">
                    <a:pos x="98" y="131"/>
                  </a:cxn>
                  <a:cxn ang="0">
                    <a:pos x="121" y="12"/>
                  </a:cxn>
                </a:cxnLst>
                <a:rect l="0" t="0" r="r" b="b"/>
                <a:pathLst>
                  <a:path w="233" h="221">
                    <a:moveTo>
                      <a:pt x="121" y="12"/>
                    </a:moveTo>
                    <a:lnTo>
                      <a:pt x="189" y="58"/>
                    </a:lnTo>
                    <a:lnTo>
                      <a:pt x="189" y="60"/>
                    </a:lnTo>
                    <a:lnTo>
                      <a:pt x="191" y="61"/>
                    </a:lnTo>
                    <a:lnTo>
                      <a:pt x="189" y="63"/>
                    </a:lnTo>
                    <a:lnTo>
                      <a:pt x="189" y="64"/>
                    </a:lnTo>
                    <a:lnTo>
                      <a:pt x="196" y="67"/>
                    </a:lnTo>
                    <a:lnTo>
                      <a:pt x="196" y="67"/>
                    </a:lnTo>
                    <a:lnTo>
                      <a:pt x="196" y="69"/>
                    </a:lnTo>
                    <a:lnTo>
                      <a:pt x="198" y="70"/>
                    </a:lnTo>
                    <a:lnTo>
                      <a:pt x="201" y="73"/>
                    </a:lnTo>
                    <a:lnTo>
                      <a:pt x="204" y="73"/>
                    </a:lnTo>
                    <a:lnTo>
                      <a:pt x="205" y="73"/>
                    </a:lnTo>
                    <a:lnTo>
                      <a:pt x="207" y="73"/>
                    </a:lnTo>
                    <a:lnTo>
                      <a:pt x="207" y="74"/>
                    </a:lnTo>
                    <a:lnTo>
                      <a:pt x="208" y="76"/>
                    </a:lnTo>
                    <a:lnTo>
                      <a:pt x="211" y="76"/>
                    </a:lnTo>
                    <a:lnTo>
                      <a:pt x="212" y="76"/>
                    </a:lnTo>
                    <a:lnTo>
                      <a:pt x="212" y="76"/>
                    </a:lnTo>
                    <a:lnTo>
                      <a:pt x="215" y="77"/>
                    </a:lnTo>
                    <a:lnTo>
                      <a:pt x="218" y="79"/>
                    </a:lnTo>
                    <a:lnTo>
                      <a:pt x="218" y="79"/>
                    </a:lnTo>
                    <a:lnTo>
                      <a:pt x="218" y="79"/>
                    </a:lnTo>
                    <a:lnTo>
                      <a:pt x="220" y="80"/>
                    </a:lnTo>
                    <a:lnTo>
                      <a:pt x="220" y="82"/>
                    </a:lnTo>
                    <a:lnTo>
                      <a:pt x="220" y="82"/>
                    </a:lnTo>
                    <a:lnTo>
                      <a:pt x="220" y="83"/>
                    </a:lnTo>
                    <a:lnTo>
                      <a:pt x="220" y="83"/>
                    </a:lnTo>
                    <a:lnTo>
                      <a:pt x="220" y="85"/>
                    </a:lnTo>
                    <a:lnTo>
                      <a:pt x="218" y="85"/>
                    </a:lnTo>
                    <a:lnTo>
                      <a:pt x="218" y="86"/>
                    </a:lnTo>
                    <a:lnTo>
                      <a:pt x="218" y="88"/>
                    </a:lnTo>
                    <a:lnTo>
                      <a:pt x="218" y="89"/>
                    </a:lnTo>
                    <a:lnTo>
                      <a:pt x="218" y="90"/>
                    </a:lnTo>
                    <a:lnTo>
                      <a:pt x="220" y="92"/>
                    </a:lnTo>
                    <a:lnTo>
                      <a:pt x="224" y="92"/>
                    </a:lnTo>
                    <a:lnTo>
                      <a:pt x="225" y="92"/>
                    </a:lnTo>
                    <a:lnTo>
                      <a:pt x="228" y="90"/>
                    </a:lnTo>
                    <a:lnTo>
                      <a:pt x="233" y="89"/>
                    </a:lnTo>
                    <a:lnTo>
                      <a:pt x="233" y="90"/>
                    </a:lnTo>
                    <a:lnTo>
                      <a:pt x="233" y="90"/>
                    </a:lnTo>
                    <a:lnTo>
                      <a:pt x="233" y="135"/>
                    </a:lnTo>
                    <a:lnTo>
                      <a:pt x="231" y="135"/>
                    </a:lnTo>
                    <a:lnTo>
                      <a:pt x="228" y="137"/>
                    </a:lnTo>
                    <a:lnTo>
                      <a:pt x="228" y="138"/>
                    </a:lnTo>
                    <a:lnTo>
                      <a:pt x="227" y="141"/>
                    </a:lnTo>
                    <a:lnTo>
                      <a:pt x="224" y="143"/>
                    </a:lnTo>
                    <a:lnTo>
                      <a:pt x="223" y="144"/>
                    </a:lnTo>
                    <a:lnTo>
                      <a:pt x="223" y="146"/>
                    </a:lnTo>
                    <a:lnTo>
                      <a:pt x="215" y="146"/>
                    </a:lnTo>
                    <a:lnTo>
                      <a:pt x="215" y="146"/>
                    </a:lnTo>
                    <a:lnTo>
                      <a:pt x="215" y="146"/>
                    </a:lnTo>
                    <a:lnTo>
                      <a:pt x="192" y="146"/>
                    </a:lnTo>
                    <a:lnTo>
                      <a:pt x="185" y="151"/>
                    </a:lnTo>
                    <a:lnTo>
                      <a:pt x="167" y="151"/>
                    </a:lnTo>
                    <a:lnTo>
                      <a:pt x="147" y="165"/>
                    </a:lnTo>
                    <a:lnTo>
                      <a:pt x="143" y="167"/>
                    </a:lnTo>
                    <a:lnTo>
                      <a:pt x="138" y="172"/>
                    </a:lnTo>
                    <a:lnTo>
                      <a:pt x="121" y="176"/>
                    </a:lnTo>
                    <a:lnTo>
                      <a:pt x="118" y="178"/>
                    </a:lnTo>
                    <a:lnTo>
                      <a:pt x="111" y="194"/>
                    </a:lnTo>
                    <a:lnTo>
                      <a:pt x="103" y="199"/>
                    </a:lnTo>
                    <a:lnTo>
                      <a:pt x="99" y="210"/>
                    </a:lnTo>
                    <a:lnTo>
                      <a:pt x="99" y="218"/>
                    </a:lnTo>
                    <a:lnTo>
                      <a:pt x="96" y="218"/>
                    </a:lnTo>
                    <a:lnTo>
                      <a:pt x="96" y="218"/>
                    </a:lnTo>
                    <a:lnTo>
                      <a:pt x="95" y="217"/>
                    </a:lnTo>
                    <a:lnTo>
                      <a:pt x="95" y="217"/>
                    </a:lnTo>
                    <a:lnTo>
                      <a:pt x="92" y="217"/>
                    </a:lnTo>
                    <a:lnTo>
                      <a:pt x="90" y="217"/>
                    </a:lnTo>
                    <a:lnTo>
                      <a:pt x="90" y="218"/>
                    </a:lnTo>
                    <a:lnTo>
                      <a:pt x="89" y="218"/>
                    </a:lnTo>
                    <a:lnTo>
                      <a:pt x="87" y="220"/>
                    </a:lnTo>
                    <a:lnTo>
                      <a:pt x="86" y="220"/>
                    </a:lnTo>
                    <a:lnTo>
                      <a:pt x="86" y="220"/>
                    </a:lnTo>
                    <a:lnTo>
                      <a:pt x="86" y="215"/>
                    </a:lnTo>
                    <a:lnTo>
                      <a:pt x="85" y="215"/>
                    </a:lnTo>
                    <a:lnTo>
                      <a:pt x="86" y="215"/>
                    </a:lnTo>
                    <a:lnTo>
                      <a:pt x="85" y="214"/>
                    </a:lnTo>
                    <a:lnTo>
                      <a:pt x="85" y="212"/>
                    </a:lnTo>
                    <a:lnTo>
                      <a:pt x="85" y="212"/>
                    </a:lnTo>
                    <a:lnTo>
                      <a:pt x="83" y="212"/>
                    </a:lnTo>
                    <a:lnTo>
                      <a:pt x="82" y="215"/>
                    </a:lnTo>
                    <a:lnTo>
                      <a:pt x="82" y="215"/>
                    </a:lnTo>
                    <a:lnTo>
                      <a:pt x="80" y="214"/>
                    </a:lnTo>
                    <a:lnTo>
                      <a:pt x="79" y="214"/>
                    </a:lnTo>
                    <a:lnTo>
                      <a:pt x="79" y="214"/>
                    </a:lnTo>
                    <a:lnTo>
                      <a:pt x="79" y="215"/>
                    </a:lnTo>
                    <a:lnTo>
                      <a:pt x="79" y="217"/>
                    </a:lnTo>
                    <a:lnTo>
                      <a:pt x="79" y="218"/>
                    </a:lnTo>
                    <a:lnTo>
                      <a:pt x="76" y="218"/>
                    </a:lnTo>
                    <a:lnTo>
                      <a:pt x="74" y="218"/>
                    </a:lnTo>
                    <a:lnTo>
                      <a:pt x="74" y="220"/>
                    </a:lnTo>
                    <a:lnTo>
                      <a:pt x="73" y="221"/>
                    </a:lnTo>
                    <a:lnTo>
                      <a:pt x="73" y="221"/>
                    </a:lnTo>
                    <a:lnTo>
                      <a:pt x="72" y="220"/>
                    </a:lnTo>
                    <a:lnTo>
                      <a:pt x="70" y="220"/>
                    </a:lnTo>
                    <a:lnTo>
                      <a:pt x="70" y="218"/>
                    </a:lnTo>
                    <a:lnTo>
                      <a:pt x="69" y="220"/>
                    </a:lnTo>
                    <a:lnTo>
                      <a:pt x="69" y="220"/>
                    </a:lnTo>
                    <a:lnTo>
                      <a:pt x="69" y="220"/>
                    </a:lnTo>
                    <a:lnTo>
                      <a:pt x="69" y="218"/>
                    </a:lnTo>
                    <a:lnTo>
                      <a:pt x="67" y="217"/>
                    </a:lnTo>
                    <a:lnTo>
                      <a:pt x="66" y="217"/>
                    </a:lnTo>
                    <a:lnTo>
                      <a:pt x="66" y="217"/>
                    </a:lnTo>
                    <a:lnTo>
                      <a:pt x="64" y="217"/>
                    </a:lnTo>
                    <a:lnTo>
                      <a:pt x="64" y="217"/>
                    </a:lnTo>
                    <a:lnTo>
                      <a:pt x="63" y="218"/>
                    </a:lnTo>
                    <a:lnTo>
                      <a:pt x="63" y="220"/>
                    </a:lnTo>
                    <a:lnTo>
                      <a:pt x="61" y="220"/>
                    </a:lnTo>
                    <a:lnTo>
                      <a:pt x="60" y="220"/>
                    </a:lnTo>
                    <a:lnTo>
                      <a:pt x="60" y="220"/>
                    </a:lnTo>
                    <a:lnTo>
                      <a:pt x="60" y="218"/>
                    </a:lnTo>
                    <a:lnTo>
                      <a:pt x="58" y="218"/>
                    </a:lnTo>
                    <a:lnTo>
                      <a:pt x="58" y="217"/>
                    </a:lnTo>
                    <a:lnTo>
                      <a:pt x="57" y="217"/>
                    </a:lnTo>
                    <a:lnTo>
                      <a:pt x="56" y="215"/>
                    </a:lnTo>
                    <a:lnTo>
                      <a:pt x="56" y="208"/>
                    </a:lnTo>
                    <a:lnTo>
                      <a:pt x="54" y="208"/>
                    </a:lnTo>
                    <a:lnTo>
                      <a:pt x="53" y="208"/>
                    </a:lnTo>
                    <a:lnTo>
                      <a:pt x="51" y="210"/>
                    </a:lnTo>
                    <a:lnTo>
                      <a:pt x="51" y="210"/>
                    </a:lnTo>
                    <a:lnTo>
                      <a:pt x="51" y="208"/>
                    </a:lnTo>
                    <a:lnTo>
                      <a:pt x="51" y="207"/>
                    </a:lnTo>
                    <a:lnTo>
                      <a:pt x="53" y="207"/>
                    </a:lnTo>
                    <a:lnTo>
                      <a:pt x="53" y="205"/>
                    </a:lnTo>
                    <a:lnTo>
                      <a:pt x="53" y="205"/>
                    </a:lnTo>
                    <a:lnTo>
                      <a:pt x="54" y="205"/>
                    </a:lnTo>
                    <a:lnTo>
                      <a:pt x="54" y="205"/>
                    </a:lnTo>
                    <a:lnTo>
                      <a:pt x="54" y="204"/>
                    </a:lnTo>
                    <a:lnTo>
                      <a:pt x="54" y="202"/>
                    </a:lnTo>
                    <a:lnTo>
                      <a:pt x="53" y="202"/>
                    </a:lnTo>
                    <a:lnTo>
                      <a:pt x="53" y="202"/>
                    </a:lnTo>
                    <a:lnTo>
                      <a:pt x="51" y="201"/>
                    </a:lnTo>
                    <a:lnTo>
                      <a:pt x="50" y="199"/>
                    </a:lnTo>
                    <a:lnTo>
                      <a:pt x="48" y="199"/>
                    </a:lnTo>
                    <a:lnTo>
                      <a:pt x="48" y="199"/>
                    </a:lnTo>
                    <a:lnTo>
                      <a:pt x="48" y="195"/>
                    </a:lnTo>
                    <a:lnTo>
                      <a:pt x="48" y="194"/>
                    </a:lnTo>
                    <a:lnTo>
                      <a:pt x="47" y="194"/>
                    </a:lnTo>
                    <a:lnTo>
                      <a:pt x="47" y="192"/>
                    </a:lnTo>
                    <a:lnTo>
                      <a:pt x="47" y="191"/>
                    </a:lnTo>
                    <a:lnTo>
                      <a:pt x="45" y="191"/>
                    </a:lnTo>
                    <a:lnTo>
                      <a:pt x="45" y="191"/>
                    </a:lnTo>
                    <a:lnTo>
                      <a:pt x="45" y="188"/>
                    </a:lnTo>
                    <a:lnTo>
                      <a:pt x="45" y="188"/>
                    </a:lnTo>
                    <a:lnTo>
                      <a:pt x="45" y="186"/>
                    </a:lnTo>
                    <a:lnTo>
                      <a:pt x="44" y="186"/>
                    </a:lnTo>
                    <a:lnTo>
                      <a:pt x="44" y="188"/>
                    </a:lnTo>
                    <a:lnTo>
                      <a:pt x="42" y="188"/>
                    </a:lnTo>
                    <a:lnTo>
                      <a:pt x="41" y="186"/>
                    </a:lnTo>
                    <a:lnTo>
                      <a:pt x="41" y="186"/>
                    </a:lnTo>
                    <a:lnTo>
                      <a:pt x="41" y="188"/>
                    </a:lnTo>
                    <a:lnTo>
                      <a:pt x="41" y="189"/>
                    </a:lnTo>
                    <a:lnTo>
                      <a:pt x="40" y="191"/>
                    </a:lnTo>
                    <a:lnTo>
                      <a:pt x="37" y="191"/>
                    </a:lnTo>
                    <a:lnTo>
                      <a:pt x="37" y="192"/>
                    </a:lnTo>
                    <a:lnTo>
                      <a:pt x="35" y="194"/>
                    </a:lnTo>
                    <a:lnTo>
                      <a:pt x="32" y="192"/>
                    </a:lnTo>
                    <a:lnTo>
                      <a:pt x="29" y="191"/>
                    </a:lnTo>
                    <a:lnTo>
                      <a:pt x="28" y="191"/>
                    </a:lnTo>
                    <a:lnTo>
                      <a:pt x="27" y="191"/>
                    </a:lnTo>
                    <a:lnTo>
                      <a:pt x="25" y="192"/>
                    </a:lnTo>
                    <a:lnTo>
                      <a:pt x="24" y="194"/>
                    </a:lnTo>
                    <a:lnTo>
                      <a:pt x="24" y="195"/>
                    </a:lnTo>
                    <a:lnTo>
                      <a:pt x="22" y="195"/>
                    </a:lnTo>
                    <a:lnTo>
                      <a:pt x="21" y="195"/>
                    </a:lnTo>
                    <a:lnTo>
                      <a:pt x="18" y="191"/>
                    </a:lnTo>
                    <a:lnTo>
                      <a:pt x="16" y="191"/>
                    </a:lnTo>
                    <a:lnTo>
                      <a:pt x="15" y="194"/>
                    </a:lnTo>
                    <a:lnTo>
                      <a:pt x="15" y="194"/>
                    </a:lnTo>
                    <a:lnTo>
                      <a:pt x="13" y="194"/>
                    </a:lnTo>
                    <a:lnTo>
                      <a:pt x="12" y="194"/>
                    </a:lnTo>
                    <a:lnTo>
                      <a:pt x="11" y="192"/>
                    </a:lnTo>
                    <a:lnTo>
                      <a:pt x="11" y="191"/>
                    </a:lnTo>
                    <a:lnTo>
                      <a:pt x="12" y="189"/>
                    </a:lnTo>
                    <a:lnTo>
                      <a:pt x="12" y="189"/>
                    </a:lnTo>
                    <a:lnTo>
                      <a:pt x="13" y="188"/>
                    </a:lnTo>
                    <a:lnTo>
                      <a:pt x="13" y="188"/>
                    </a:lnTo>
                    <a:lnTo>
                      <a:pt x="12" y="186"/>
                    </a:lnTo>
                    <a:lnTo>
                      <a:pt x="12" y="185"/>
                    </a:lnTo>
                    <a:lnTo>
                      <a:pt x="13" y="183"/>
                    </a:lnTo>
                    <a:lnTo>
                      <a:pt x="13" y="182"/>
                    </a:lnTo>
                    <a:lnTo>
                      <a:pt x="12" y="182"/>
                    </a:lnTo>
                    <a:lnTo>
                      <a:pt x="12" y="181"/>
                    </a:lnTo>
                    <a:lnTo>
                      <a:pt x="13" y="181"/>
                    </a:lnTo>
                    <a:lnTo>
                      <a:pt x="12" y="181"/>
                    </a:lnTo>
                    <a:lnTo>
                      <a:pt x="12" y="179"/>
                    </a:lnTo>
                    <a:lnTo>
                      <a:pt x="11" y="178"/>
                    </a:lnTo>
                    <a:lnTo>
                      <a:pt x="11" y="178"/>
                    </a:lnTo>
                    <a:lnTo>
                      <a:pt x="11" y="176"/>
                    </a:lnTo>
                    <a:lnTo>
                      <a:pt x="9" y="175"/>
                    </a:lnTo>
                    <a:lnTo>
                      <a:pt x="9" y="175"/>
                    </a:lnTo>
                    <a:lnTo>
                      <a:pt x="8" y="173"/>
                    </a:lnTo>
                    <a:lnTo>
                      <a:pt x="8" y="175"/>
                    </a:lnTo>
                    <a:lnTo>
                      <a:pt x="6" y="175"/>
                    </a:lnTo>
                    <a:lnTo>
                      <a:pt x="6" y="175"/>
                    </a:lnTo>
                    <a:lnTo>
                      <a:pt x="5" y="173"/>
                    </a:lnTo>
                    <a:lnTo>
                      <a:pt x="3" y="170"/>
                    </a:lnTo>
                    <a:lnTo>
                      <a:pt x="3" y="169"/>
                    </a:lnTo>
                    <a:lnTo>
                      <a:pt x="5" y="167"/>
                    </a:lnTo>
                    <a:lnTo>
                      <a:pt x="5" y="166"/>
                    </a:lnTo>
                    <a:lnTo>
                      <a:pt x="3" y="165"/>
                    </a:lnTo>
                    <a:lnTo>
                      <a:pt x="3" y="162"/>
                    </a:lnTo>
                    <a:lnTo>
                      <a:pt x="2" y="160"/>
                    </a:lnTo>
                    <a:lnTo>
                      <a:pt x="2" y="160"/>
                    </a:lnTo>
                    <a:lnTo>
                      <a:pt x="2" y="159"/>
                    </a:lnTo>
                    <a:lnTo>
                      <a:pt x="2" y="159"/>
                    </a:lnTo>
                    <a:lnTo>
                      <a:pt x="0" y="157"/>
                    </a:lnTo>
                    <a:lnTo>
                      <a:pt x="2" y="156"/>
                    </a:lnTo>
                    <a:lnTo>
                      <a:pt x="2" y="154"/>
                    </a:lnTo>
                    <a:lnTo>
                      <a:pt x="0" y="154"/>
                    </a:lnTo>
                    <a:lnTo>
                      <a:pt x="6" y="149"/>
                    </a:lnTo>
                    <a:lnTo>
                      <a:pt x="11" y="138"/>
                    </a:lnTo>
                    <a:lnTo>
                      <a:pt x="12" y="138"/>
                    </a:lnTo>
                    <a:lnTo>
                      <a:pt x="12" y="138"/>
                    </a:lnTo>
                    <a:lnTo>
                      <a:pt x="12" y="138"/>
                    </a:lnTo>
                    <a:lnTo>
                      <a:pt x="13" y="138"/>
                    </a:lnTo>
                    <a:lnTo>
                      <a:pt x="15" y="140"/>
                    </a:lnTo>
                    <a:lnTo>
                      <a:pt x="19" y="147"/>
                    </a:lnTo>
                    <a:lnTo>
                      <a:pt x="24" y="149"/>
                    </a:lnTo>
                    <a:lnTo>
                      <a:pt x="29" y="143"/>
                    </a:lnTo>
                    <a:lnTo>
                      <a:pt x="95" y="144"/>
                    </a:lnTo>
                    <a:lnTo>
                      <a:pt x="98" y="131"/>
                    </a:lnTo>
                    <a:lnTo>
                      <a:pt x="92" y="130"/>
                    </a:lnTo>
                    <a:lnTo>
                      <a:pt x="79" y="0"/>
                    </a:lnTo>
                    <a:lnTo>
                      <a:pt x="103" y="0"/>
                    </a:lnTo>
                    <a:lnTo>
                      <a:pt x="121" y="1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32" name="Freeform 1310"/>
              <p:cNvSpPr>
                <a:spLocks/>
              </p:cNvSpPr>
              <p:nvPr/>
            </p:nvSpPr>
            <p:spPr bwMode="auto">
              <a:xfrm>
                <a:off x="5960088" y="2893312"/>
                <a:ext cx="213306" cy="230208"/>
              </a:xfrm>
              <a:custGeom>
                <a:avLst/>
                <a:gdLst/>
                <a:ahLst/>
                <a:cxnLst>
                  <a:cxn ang="0">
                    <a:pos x="191" y="61"/>
                  </a:cxn>
                  <a:cxn ang="0">
                    <a:pos x="196" y="67"/>
                  </a:cxn>
                  <a:cxn ang="0">
                    <a:pos x="204" y="73"/>
                  </a:cxn>
                  <a:cxn ang="0">
                    <a:pos x="208" y="76"/>
                  </a:cxn>
                  <a:cxn ang="0">
                    <a:pos x="215" y="77"/>
                  </a:cxn>
                  <a:cxn ang="0">
                    <a:pos x="220" y="80"/>
                  </a:cxn>
                  <a:cxn ang="0">
                    <a:pos x="220" y="83"/>
                  </a:cxn>
                  <a:cxn ang="0">
                    <a:pos x="218" y="88"/>
                  </a:cxn>
                  <a:cxn ang="0">
                    <a:pos x="224" y="92"/>
                  </a:cxn>
                  <a:cxn ang="0">
                    <a:pos x="233" y="90"/>
                  </a:cxn>
                  <a:cxn ang="0">
                    <a:pos x="228" y="137"/>
                  </a:cxn>
                  <a:cxn ang="0">
                    <a:pos x="223" y="144"/>
                  </a:cxn>
                  <a:cxn ang="0">
                    <a:pos x="215" y="146"/>
                  </a:cxn>
                  <a:cxn ang="0">
                    <a:pos x="147" y="165"/>
                  </a:cxn>
                  <a:cxn ang="0">
                    <a:pos x="118" y="178"/>
                  </a:cxn>
                  <a:cxn ang="0">
                    <a:pos x="99" y="218"/>
                  </a:cxn>
                  <a:cxn ang="0">
                    <a:pos x="95" y="217"/>
                  </a:cxn>
                  <a:cxn ang="0">
                    <a:pos x="89" y="218"/>
                  </a:cxn>
                  <a:cxn ang="0">
                    <a:pos x="86" y="215"/>
                  </a:cxn>
                  <a:cxn ang="0">
                    <a:pos x="85" y="212"/>
                  </a:cxn>
                  <a:cxn ang="0">
                    <a:pos x="82" y="215"/>
                  </a:cxn>
                  <a:cxn ang="0">
                    <a:pos x="79" y="215"/>
                  </a:cxn>
                  <a:cxn ang="0">
                    <a:pos x="74" y="218"/>
                  </a:cxn>
                  <a:cxn ang="0">
                    <a:pos x="72" y="220"/>
                  </a:cxn>
                  <a:cxn ang="0">
                    <a:pos x="69" y="220"/>
                  </a:cxn>
                  <a:cxn ang="0">
                    <a:pos x="66" y="217"/>
                  </a:cxn>
                  <a:cxn ang="0">
                    <a:pos x="63" y="218"/>
                  </a:cxn>
                  <a:cxn ang="0">
                    <a:pos x="60" y="220"/>
                  </a:cxn>
                  <a:cxn ang="0">
                    <a:pos x="57" y="217"/>
                  </a:cxn>
                  <a:cxn ang="0">
                    <a:pos x="53" y="208"/>
                  </a:cxn>
                  <a:cxn ang="0">
                    <a:pos x="51" y="207"/>
                  </a:cxn>
                  <a:cxn ang="0">
                    <a:pos x="54" y="205"/>
                  </a:cxn>
                  <a:cxn ang="0">
                    <a:pos x="53" y="202"/>
                  </a:cxn>
                  <a:cxn ang="0">
                    <a:pos x="48" y="199"/>
                  </a:cxn>
                  <a:cxn ang="0">
                    <a:pos x="47" y="194"/>
                  </a:cxn>
                  <a:cxn ang="0">
                    <a:pos x="45" y="191"/>
                  </a:cxn>
                  <a:cxn ang="0">
                    <a:pos x="44" y="186"/>
                  </a:cxn>
                  <a:cxn ang="0">
                    <a:pos x="41" y="186"/>
                  </a:cxn>
                  <a:cxn ang="0">
                    <a:pos x="37" y="191"/>
                  </a:cxn>
                  <a:cxn ang="0">
                    <a:pos x="29" y="191"/>
                  </a:cxn>
                  <a:cxn ang="0">
                    <a:pos x="24" y="194"/>
                  </a:cxn>
                  <a:cxn ang="0">
                    <a:pos x="18" y="191"/>
                  </a:cxn>
                  <a:cxn ang="0">
                    <a:pos x="13" y="194"/>
                  </a:cxn>
                  <a:cxn ang="0">
                    <a:pos x="12" y="189"/>
                  </a:cxn>
                  <a:cxn ang="0">
                    <a:pos x="12" y="186"/>
                  </a:cxn>
                  <a:cxn ang="0">
                    <a:pos x="12" y="182"/>
                  </a:cxn>
                  <a:cxn ang="0">
                    <a:pos x="12" y="179"/>
                  </a:cxn>
                  <a:cxn ang="0">
                    <a:pos x="9" y="175"/>
                  </a:cxn>
                  <a:cxn ang="0">
                    <a:pos x="6" y="175"/>
                  </a:cxn>
                  <a:cxn ang="0">
                    <a:pos x="3" y="169"/>
                  </a:cxn>
                  <a:cxn ang="0">
                    <a:pos x="3" y="162"/>
                  </a:cxn>
                  <a:cxn ang="0">
                    <a:pos x="2" y="159"/>
                  </a:cxn>
                  <a:cxn ang="0">
                    <a:pos x="0" y="154"/>
                  </a:cxn>
                  <a:cxn ang="0">
                    <a:pos x="12" y="138"/>
                  </a:cxn>
                  <a:cxn ang="0">
                    <a:pos x="19" y="147"/>
                  </a:cxn>
                  <a:cxn ang="0">
                    <a:pos x="98" y="131"/>
                  </a:cxn>
                  <a:cxn ang="0">
                    <a:pos x="121" y="12"/>
                  </a:cxn>
                </a:cxnLst>
                <a:rect l="0" t="0" r="r" b="b"/>
                <a:pathLst>
                  <a:path w="233" h="221">
                    <a:moveTo>
                      <a:pt x="121" y="12"/>
                    </a:moveTo>
                    <a:lnTo>
                      <a:pt x="189" y="58"/>
                    </a:lnTo>
                    <a:lnTo>
                      <a:pt x="189" y="60"/>
                    </a:lnTo>
                    <a:lnTo>
                      <a:pt x="191" y="61"/>
                    </a:lnTo>
                    <a:lnTo>
                      <a:pt x="189" y="63"/>
                    </a:lnTo>
                    <a:lnTo>
                      <a:pt x="189" y="64"/>
                    </a:lnTo>
                    <a:lnTo>
                      <a:pt x="196" y="67"/>
                    </a:lnTo>
                    <a:lnTo>
                      <a:pt x="196" y="67"/>
                    </a:lnTo>
                    <a:lnTo>
                      <a:pt x="196" y="69"/>
                    </a:lnTo>
                    <a:lnTo>
                      <a:pt x="198" y="70"/>
                    </a:lnTo>
                    <a:lnTo>
                      <a:pt x="201" y="73"/>
                    </a:lnTo>
                    <a:lnTo>
                      <a:pt x="204" y="73"/>
                    </a:lnTo>
                    <a:lnTo>
                      <a:pt x="205" y="73"/>
                    </a:lnTo>
                    <a:lnTo>
                      <a:pt x="207" y="73"/>
                    </a:lnTo>
                    <a:lnTo>
                      <a:pt x="207" y="74"/>
                    </a:lnTo>
                    <a:lnTo>
                      <a:pt x="208" y="76"/>
                    </a:lnTo>
                    <a:lnTo>
                      <a:pt x="211" y="76"/>
                    </a:lnTo>
                    <a:lnTo>
                      <a:pt x="212" y="76"/>
                    </a:lnTo>
                    <a:lnTo>
                      <a:pt x="212" y="76"/>
                    </a:lnTo>
                    <a:lnTo>
                      <a:pt x="215" y="77"/>
                    </a:lnTo>
                    <a:lnTo>
                      <a:pt x="218" y="79"/>
                    </a:lnTo>
                    <a:lnTo>
                      <a:pt x="218" y="79"/>
                    </a:lnTo>
                    <a:lnTo>
                      <a:pt x="218" y="79"/>
                    </a:lnTo>
                    <a:lnTo>
                      <a:pt x="220" y="80"/>
                    </a:lnTo>
                    <a:lnTo>
                      <a:pt x="220" y="82"/>
                    </a:lnTo>
                    <a:lnTo>
                      <a:pt x="220" y="82"/>
                    </a:lnTo>
                    <a:lnTo>
                      <a:pt x="220" y="83"/>
                    </a:lnTo>
                    <a:lnTo>
                      <a:pt x="220" y="83"/>
                    </a:lnTo>
                    <a:lnTo>
                      <a:pt x="220" y="85"/>
                    </a:lnTo>
                    <a:lnTo>
                      <a:pt x="218" y="85"/>
                    </a:lnTo>
                    <a:lnTo>
                      <a:pt x="218" y="86"/>
                    </a:lnTo>
                    <a:lnTo>
                      <a:pt x="218" y="88"/>
                    </a:lnTo>
                    <a:lnTo>
                      <a:pt x="218" y="89"/>
                    </a:lnTo>
                    <a:lnTo>
                      <a:pt x="218" y="90"/>
                    </a:lnTo>
                    <a:lnTo>
                      <a:pt x="220" y="92"/>
                    </a:lnTo>
                    <a:lnTo>
                      <a:pt x="224" y="92"/>
                    </a:lnTo>
                    <a:lnTo>
                      <a:pt x="225" y="92"/>
                    </a:lnTo>
                    <a:lnTo>
                      <a:pt x="228" y="90"/>
                    </a:lnTo>
                    <a:lnTo>
                      <a:pt x="233" y="89"/>
                    </a:lnTo>
                    <a:lnTo>
                      <a:pt x="233" y="90"/>
                    </a:lnTo>
                    <a:lnTo>
                      <a:pt x="233" y="90"/>
                    </a:lnTo>
                    <a:lnTo>
                      <a:pt x="233" y="135"/>
                    </a:lnTo>
                    <a:lnTo>
                      <a:pt x="231" y="135"/>
                    </a:lnTo>
                    <a:lnTo>
                      <a:pt x="228" y="137"/>
                    </a:lnTo>
                    <a:lnTo>
                      <a:pt x="228" y="138"/>
                    </a:lnTo>
                    <a:lnTo>
                      <a:pt x="227" y="141"/>
                    </a:lnTo>
                    <a:lnTo>
                      <a:pt x="224" y="143"/>
                    </a:lnTo>
                    <a:lnTo>
                      <a:pt x="223" y="144"/>
                    </a:lnTo>
                    <a:lnTo>
                      <a:pt x="223" y="146"/>
                    </a:lnTo>
                    <a:lnTo>
                      <a:pt x="215" y="146"/>
                    </a:lnTo>
                    <a:lnTo>
                      <a:pt x="215" y="146"/>
                    </a:lnTo>
                    <a:lnTo>
                      <a:pt x="215" y="146"/>
                    </a:lnTo>
                    <a:lnTo>
                      <a:pt x="192" y="146"/>
                    </a:lnTo>
                    <a:lnTo>
                      <a:pt x="185" y="151"/>
                    </a:lnTo>
                    <a:lnTo>
                      <a:pt x="167" y="151"/>
                    </a:lnTo>
                    <a:lnTo>
                      <a:pt x="147" y="165"/>
                    </a:lnTo>
                    <a:lnTo>
                      <a:pt x="143" y="167"/>
                    </a:lnTo>
                    <a:lnTo>
                      <a:pt x="138" y="172"/>
                    </a:lnTo>
                    <a:lnTo>
                      <a:pt x="121" y="176"/>
                    </a:lnTo>
                    <a:lnTo>
                      <a:pt x="118" y="178"/>
                    </a:lnTo>
                    <a:lnTo>
                      <a:pt x="111" y="194"/>
                    </a:lnTo>
                    <a:lnTo>
                      <a:pt x="103" y="199"/>
                    </a:lnTo>
                    <a:lnTo>
                      <a:pt x="99" y="210"/>
                    </a:lnTo>
                    <a:lnTo>
                      <a:pt x="99" y="218"/>
                    </a:lnTo>
                    <a:lnTo>
                      <a:pt x="96" y="218"/>
                    </a:lnTo>
                    <a:lnTo>
                      <a:pt x="96" y="218"/>
                    </a:lnTo>
                    <a:lnTo>
                      <a:pt x="95" y="217"/>
                    </a:lnTo>
                    <a:lnTo>
                      <a:pt x="95" y="217"/>
                    </a:lnTo>
                    <a:lnTo>
                      <a:pt x="92" y="217"/>
                    </a:lnTo>
                    <a:lnTo>
                      <a:pt x="90" y="217"/>
                    </a:lnTo>
                    <a:lnTo>
                      <a:pt x="90" y="218"/>
                    </a:lnTo>
                    <a:lnTo>
                      <a:pt x="89" y="218"/>
                    </a:lnTo>
                    <a:lnTo>
                      <a:pt x="87" y="220"/>
                    </a:lnTo>
                    <a:lnTo>
                      <a:pt x="86" y="220"/>
                    </a:lnTo>
                    <a:lnTo>
                      <a:pt x="86" y="220"/>
                    </a:lnTo>
                    <a:lnTo>
                      <a:pt x="86" y="215"/>
                    </a:lnTo>
                    <a:lnTo>
                      <a:pt x="85" y="215"/>
                    </a:lnTo>
                    <a:lnTo>
                      <a:pt x="86" y="215"/>
                    </a:lnTo>
                    <a:lnTo>
                      <a:pt x="85" y="214"/>
                    </a:lnTo>
                    <a:lnTo>
                      <a:pt x="85" y="212"/>
                    </a:lnTo>
                    <a:lnTo>
                      <a:pt x="85" y="212"/>
                    </a:lnTo>
                    <a:lnTo>
                      <a:pt x="83" y="212"/>
                    </a:lnTo>
                    <a:lnTo>
                      <a:pt x="82" y="215"/>
                    </a:lnTo>
                    <a:lnTo>
                      <a:pt x="82" y="215"/>
                    </a:lnTo>
                    <a:lnTo>
                      <a:pt x="80" y="214"/>
                    </a:lnTo>
                    <a:lnTo>
                      <a:pt x="79" y="214"/>
                    </a:lnTo>
                    <a:lnTo>
                      <a:pt x="79" y="214"/>
                    </a:lnTo>
                    <a:lnTo>
                      <a:pt x="79" y="215"/>
                    </a:lnTo>
                    <a:lnTo>
                      <a:pt x="79" y="217"/>
                    </a:lnTo>
                    <a:lnTo>
                      <a:pt x="79" y="218"/>
                    </a:lnTo>
                    <a:lnTo>
                      <a:pt x="76" y="218"/>
                    </a:lnTo>
                    <a:lnTo>
                      <a:pt x="74" y="218"/>
                    </a:lnTo>
                    <a:lnTo>
                      <a:pt x="74" y="220"/>
                    </a:lnTo>
                    <a:lnTo>
                      <a:pt x="73" y="221"/>
                    </a:lnTo>
                    <a:lnTo>
                      <a:pt x="73" y="221"/>
                    </a:lnTo>
                    <a:lnTo>
                      <a:pt x="72" y="220"/>
                    </a:lnTo>
                    <a:lnTo>
                      <a:pt x="70" y="220"/>
                    </a:lnTo>
                    <a:lnTo>
                      <a:pt x="70" y="218"/>
                    </a:lnTo>
                    <a:lnTo>
                      <a:pt x="69" y="220"/>
                    </a:lnTo>
                    <a:lnTo>
                      <a:pt x="69" y="220"/>
                    </a:lnTo>
                    <a:lnTo>
                      <a:pt x="69" y="220"/>
                    </a:lnTo>
                    <a:lnTo>
                      <a:pt x="69" y="218"/>
                    </a:lnTo>
                    <a:lnTo>
                      <a:pt x="67" y="217"/>
                    </a:lnTo>
                    <a:lnTo>
                      <a:pt x="66" y="217"/>
                    </a:lnTo>
                    <a:lnTo>
                      <a:pt x="66" y="217"/>
                    </a:lnTo>
                    <a:lnTo>
                      <a:pt x="64" y="217"/>
                    </a:lnTo>
                    <a:lnTo>
                      <a:pt x="64" y="217"/>
                    </a:lnTo>
                    <a:lnTo>
                      <a:pt x="63" y="218"/>
                    </a:lnTo>
                    <a:lnTo>
                      <a:pt x="63" y="220"/>
                    </a:lnTo>
                    <a:lnTo>
                      <a:pt x="61" y="220"/>
                    </a:lnTo>
                    <a:lnTo>
                      <a:pt x="60" y="220"/>
                    </a:lnTo>
                    <a:lnTo>
                      <a:pt x="60" y="220"/>
                    </a:lnTo>
                    <a:lnTo>
                      <a:pt x="60" y="218"/>
                    </a:lnTo>
                    <a:lnTo>
                      <a:pt x="58" y="218"/>
                    </a:lnTo>
                    <a:lnTo>
                      <a:pt x="58" y="217"/>
                    </a:lnTo>
                    <a:lnTo>
                      <a:pt x="57" y="217"/>
                    </a:lnTo>
                    <a:lnTo>
                      <a:pt x="56" y="215"/>
                    </a:lnTo>
                    <a:lnTo>
                      <a:pt x="56" y="208"/>
                    </a:lnTo>
                    <a:lnTo>
                      <a:pt x="54" y="208"/>
                    </a:lnTo>
                    <a:lnTo>
                      <a:pt x="53" y="208"/>
                    </a:lnTo>
                    <a:lnTo>
                      <a:pt x="51" y="210"/>
                    </a:lnTo>
                    <a:lnTo>
                      <a:pt x="51" y="210"/>
                    </a:lnTo>
                    <a:lnTo>
                      <a:pt x="51" y="208"/>
                    </a:lnTo>
                    <a:lnTo>
                      <a:pt x="51" y="207"/>
                    </a:lnTo>
                    <a:lnTo>
                      <a:pt x="53" y="207"/>
                    </a:lnTo>
                    <a:lnTo>
                      <a:pt x="53" y="205"/>
                    </a:lnTo>
                    <a:lnTo>
                      <a:pt x="53" y="205"/>
                    </a:lnTo>
                    <a:lnTo>
                      <a:pt x="54" y="205"/>
                    </a:lnTo>
                    <a:lnTo>
                      <a:pt x="54" y="205"/>
                    </a:lnTo>
                    <a:lnTo>
                      <a:pt x="54" y="204"/>
                    </a:lnTo>
                    <a:lnTo>
                      <a:pt x="54" y="202"/>
                    </a:lnTo>
                    <a:lnTo>
                      <a:pt x="53" y="202"/>
                    </a:lnTo>
                    <a:lnTo>
                      <a:pt x="53" y="202"/>
                    </a:lnTo>
                    <a:lnTo>
                      <a:pt x="51" y="201"/>
                    </a:lnTo>
                    <a:lnTo>
                      <a:pt x="50" y="199"/>
                    </a:lnTo>
                    <a:lnTo>
                      <a:pt x="48" y="199"/>
                    </a:lnTo>
                    <a:lnTo>
                      <a:pt x="48" y="199"/>
                    </a:lnTo>
                    <a:lnTo>
                      <a:pt x="48" y="195"/>
                    </a:lnTo>
                    <a:lnTo>
                      <a:pt x="48" y="194"/>
                    </a:lnTo>
                    <a:lnTo>
                      <a:pt x="47" y="194"/>
                    </a:lnTo>
                    <a:lnTo>
                      <a:pt x="47" y="192"/>
                    </a:lnTo>
                    <a:lnTo>
                      <a:pt x="47" y="191"/>
                    </a:lnTo>
                    <a:lnTo>
                      <a:pt x="45" y="191"/>
                    </a:lnTo>
                    <a:lnTo>
                      <a:pt x="45" y="191"/>
                    </a:lnTo>
                    <a:lnTo>
                      <a:pt x="45" y="188"/>
                    </a:lnTo>
                    <a:lnTo>
                      <a:pt x="45" y="188"/>
                    </a:lnTo>
                    <a:lnTo>
                      <a:pt x="45" y="186"/>
                    </a:lnTo>
                    <a:lnTo>
                      <a:pt x="44" y="186"/>
                    </a:lnTo>
                    <a:lnTo>
                      <a:pt x="44" y="188"/>
                    </a:lnTo>
                    <a:lnTo>
                      <a:pt x="42" y="188"/>
                    </a:lnTo>
                    <a:lnTo>
                      <a:pt x="41" y="186"/>
                    </a:lnTo>
                    <a:lnTo>
                      <a:pt x="41" y="186"/>
                    </a:lnTo>
                    <a:lnTo>
                      <a:pt x="41" y="188"/>
                    </a:lnTo>
                    <a:lnTo>
                      <a:pt x="41" y="189"/>
                    </a:lnTo>
                    <a:lnTo>
                      <a:pt x="40" y="191"/>
                    </a:lnTo>
                    <a:lnTo>
                      <a:pt x="37" y="191"/>
                    </a:lnTo>
                    <a:lnTo>
                      <a:pt x="37" y="192"/>
                    </a:lnTo>
                    <a:lnTo>
                      <a:pt x="35" y="194"/>
                    </a:lnTo>
                    <a:lnTo>
                      <a:pt x="32" y="192"/>
                    </a:lnTo>
                    <a:lnTo>
                      <a:pt x="29" y="191"/>
                    </a:lnTo>
                    <a:lnTo>
                      <a:pt x="28" y="191"/>
                    </a:lnTo>
                    <a:lnTo>
                      <a:pt x="27" y="191"/>
                    </a:lnTo>
                    <a:lnTo>
                      <a:pt x="25" y="192"/>
                    </a:lnTo>
                    <a:lnTo>
                      <a:pt x="24" y="194"/>
                    </a:lnTo>
                    <a:lnTo>
                      <a:pt x="24" y="195"/>
                    </a:lnTo>
                    <a:lnTo>
                      <a:pt x="22" y="195"/>
                    </a:lnTo>
                    <a:lnTo>
                      <a:pt x="21" y="195"/>
                    </a:lnTo>
                    <a:lnTo>
                      <a:pt x="18" y="191"/>
                    </a:lnTo>
                    <a:lnTo>
                      <a:pt x="16" y="191"/>
                    </a:lnTo>
                    <a:lnTo>
                      <a:pt x="15" y="194"/>
                    </a:lnTo>
                    <a:lnTo>
                      <a:pt x="15" y="194"/>
                    </a:lnTo>
                    <a:lnTo>
                      <a:pt x="13" y="194"/>
                    </a:lnTo>
                    <a:lnTo>
                      <a:pt x="12" y="194"/>
                    </a:lnTo>
                    <a:lnTo>
                      <a:pt x="11" y="192"/>
                    </a:lnTo>
                    <a:lnTo>
                      <a:pt x="11" y="191"/>
                    </a:lnTo>
                    <a:lnTo>
                      <a:pt x="12" y="189"/>
                    </a:lnTo>
                    <a:lnTo>
                      <a:pt x="12" y="189"/>
                    </a:lnTo>
                    <a:lnTo>
                      <a:pt x="13" y="188"/>
                    </a:lnTo>
                    <a:lnTo>
                      <a:pt x="13" y="188"/>
                    </a:lnTo>
                    <a:lnTo>
                      <a:pt x="12" y="186"/>
                    </a:lnTo>
                    <a:lnTo>
                      <a:pt x="12" y="185"/>
                    </a:lnTo>
                    <a:lnTo>
                      <a:pt x="13" y="183"/>
                    </a:lnTo>
                    <a:lnTo>
                      <a:pt x="13" y="182"/>
                    </a:lnTo>
                    <a:lnTo>
                      <a:pt x="12" y="182"/>
                    </a:lnTo>
                    <a:lnTo>
                      <a:pt x="12" y="181"/>
                    </a:lnTo>
                    <a:lnTo>
                      <a:pt x="13" y="181"/>
                    </a:lnTo>
                    <a:lnTo>
                      <a:pt x="12" y="181"/>
                    </a:lnTo>
                    <a:lnTo>
                      <a:pt x="12" y="179"/>
                    </a:lnTo>
                    <a:lnTo>
                      <a:pt x="11" y="178"/>
                    </a:lnTo>
                    <a:lnTo>
                      <a:pt x="11" y="178"/>
                    </a:lnTo>
                    <a:lnTo>
                      <a:pt x="11" y="176"/>
                    </a:lnTo>
                    <a:lnTo>
                      <a:pt x="9" y="175"/>
                    </a:lnTo>
                    <a:lnTo>
                      <a:pt x="9" y="175"/>
                    </a:lnTo>
                    <a:lnTo>
                      <a:pt x="8" y="173"/>
                    </a:lnTo>
                    <a:lnTo>
                      <a:pt x="8" y="175"/>
                    </a:lnTo>
                    <a:lnTo>
                      <a:pt x="6" y="175"/>
                    </a:lnTo>
                    <a:lnTo>
                      <a:pt x="6" y="175"/>
                    </a:lnTo>
                    <a:lnTo>
                      <a:pt x="5" y="173"/>
                    </a:lnTo>
                    <a:lnTo>
                      <a:pt x="3" y="170"/>
                    </a:lnTo>
                    <a:lnTo>
                      <a:pt x="3" y="169"/>
                    </a:lnTo>
                    <a:lnTo>
                      <a:pt x="5" y="167"/>
                    </a:lnTo>
                    <a:lnTo>
                      <a:pt x="5" y="166"/>
                    </a:lnTo>
                    <a:lnTo>
                      <a:pt x="3" y="165"/>
                    </a:lnTo>
                    <a:lnTo>
                      <a:pt x="3" y="162"/>
                    </a:lnTo>
                    <a:lnTo>
                      <a:pt x="2" y="160"/>
                    </a:lnTo>
                    <a:lnTo>
                      <a:pt x="2" y="160"/>
                    </a:lnTo>
                    <a:lnTo>
                      <a:pt x="2" y="159"/>
                    </a:lnTo>
                    <a:lnTo>
                      <a:pt x="2" y="159"/>
                    </a:lnTo>
                    <a:lnTo>
                      <a:pt x="0" y="157"/>
                    </a:lnTo>
                    <a:lnTo>
                      <a:pt x="2" y="156"/>
                    </a:lnTo>
                    <a:lnTo>
                      <a:pt x="2" y="154"/>
                    </a:lnTo>
                    <a:lnTo>
                      <a:pt x="0" y="154"/>
                    </a:lnTo>
                    <a:lnTo>
                      <a:pt x="6" y="149"/>
                    </a:lnTo>
                    <a:lnTo>
                      <a:pt x="11" y="138"/>
                    </a:lnTo>
                    <a:lnTo>
                      <a:pt x="12" y="138"/>
                    </a:lnTo>
                    <a:lnTo>
                      <a:pt x="12" y="138"/>
                    </a:lnTo>
                    <a:lnTo>
                      <a:pt x="12" y="138"/>
                    </a:lnTo>
                    <a:lnTo>
                      <a:pt x="13" y="138"/>
                    </a:lnTo>
                    <a:lnTo>
                      <a:pt x="15" y="140"/>
                    </a:lnTo>
                    <a:lnTo>
                      <a:pt x="19" y="147"/>
                    </a:lnTo>
                    <a:lnTo>
                      <a:pt x="24" y="149"/>
                    </a:lnTo>
                    <a:lnTo>
                      <a:pt x="29" y="143"/>
                    </a:lnTo>
                    <a:lnTo>
                      <a:pt x="95" y="144"/>
                    </a:lnTo>
                    <a:lnTo>
                      <a:pt x="98" y="131"/>
                    </a:lnTo>
                    <a:lnTo>
                      <a:pt x="92" y="130"/>
                    </a:lnTo>
                    <a:lnTo>
                      <a:pt x="79" y="0"/>
                    </a:lnTo>
                    <a:lnTo>
                      <a:pt x="103" y="0"/>
                    </a:lnTo>
                    <a:lnTo>
                      <a:pt x="121" y="1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33" name="Freeform 1311"/>
              <p:cNvSpPr>
                <a:spLocks/>
              </p:cNvSpPr>
              <p:nvPr/>
            </p:nvSpPr>
            <p:spPr bwMode="auto">
              <a:xfrm>
                <a:off x="5897764" y="2848690"/>
                <a:ext cx="108847" cy="108512"/>
              </a:xfrm>
              <a:custGeom>
                <a:avLst/>
                <a:gdLst/>
                <a:ahLst/>
                <a:cxnLst>
                  <a:cxn ang="0">
                    <a:pos x="52" y="99"/>
                  </a:cxn>
                  <a:cxn ang="0">
                    <a:pos x="4" y="99"/>
                  </a:cxn>
                  <a:cxn ang="0">
                    <a:pos x="4" y="100"/>
                  </a:cxn>
                  <a:cxn ang="0">
                    <a:pos x="2" y="103"/>
                  </a:cxn>
                  <a:cxn ang="0">
                    <a:pos x="2" y="103"/>
                  </a:cxn>
                  <a:cxn ang="0">
                    <a:pos x="0" y="104"/>
                  </a:cxn>
                  <a:cxn ang="0">
                    <a:pos x="2" y="93"/>
                  </a:cxn>
                  <a:cxn ang="0">
                    <a:pos x="4" y="85"/>
                  </a:cxn>
                  <a:cxn ang="0">
                    <a:pos x="7" y="84"/>
                  </a:cxn>
                  <a:cxn ang="0">
                    <a:pos x="13" y="74"/>
                  </a:cxn>
                  <a:cxn ang="0">
                    <a:pos x="13" y="71"/>
                  </a:cxn>
                  <a:cxn ang="0">
                    <a:pos x="19" y="62"/>
                  </a:cxn>
                  <a:cxn ang="0">
                    <a:pos x="19" y="59"/>
                  </a:cxn>
                  <a:cxn ang="0">
                    <a:pos x="32" y="42"/>
                  </a:cxn>
                  <a:cxn ang="0">
                    <a:pos x="36" y="26"/>
                  </a:cxn>
                  <a:cxn ang="0">
                    <a:pos x="41" y="20"/>
                  </a:cxn>
                  <a:cxn ang="0">
                    <a:pos x="50" y="14"/>
                  </a:cxn>
                  <a:cxn ang="0">
                    <a:pos x="55" y="1"/>
                  </a:cxn>
                  <a:cxn ang="0">
                    <a:pos x="57" y="0"/>
                  </a:cxn>
                  <a:cxn ang="0">
                    <a:pos x="119" y="0"/>
                  </a:cxn>
                  <a:cxn ang="0">
                    <a:pos x="119" y="26"/>
                  </a:cxn>
                  <a:cxn ang="0">
                    <a:pos x="74" y="26"/>
                  </a:cxn>
                  <a:cxn ang="0">
                    <a:pos x="74" y="67"/>
                  </a:cxn>
                  <a:cxn ang="0">
                    <a:pos x="60" y="69"/>
                  </a:cxn>
                  <a:cxn ang="0">
                    <a:pos x="58" y="71"/>
                  </a:cxn>
                  <a:cxn ang="0">
                    <a:pos x="57" y="75"/>
                  </a:cxn>
                  <a:cxn ang="0">
                    <a:pos x="58" y="99"/>
                  </a:cxn>
                  <a:cxn ang="0">
                    <a:pos x="52" y="99"/>
                  </a:cxn>
                </a:cxnLst>
                <a:rect l="0" t="0" r="r" b="b"/>
                <a:pathLst>
                  <a:path w="119" h="104">
                    <a:moveTo>
                      <a:pt x="52" y="99"/>
                    </a:moveTo>
                    <a:lnTo>
                      <a:pt x="4" y="99"/>
                    </a:lnTo>
                    <a:lnTo>
                      <a:pt x="4" y="100"/>
                    </a:lnTo>
                    <a:lnTo>
                      <a:pt x="2" y="103"/>
                    </a:lnTo>
                    <a:lnTo>
                      <a:pt x="2" y="103"/>
                    </a:lnTo>
                    <a:lnTo>
                      <a:pt x="0" y="104"/>
                    </a:lnTo>
                    <a:lnTo>
                      <a:pt x="2" y="93"/>
                    </a:lnTo>
                    <a:lnTo>
                      <a:pt x="4" y="85"/>
                    </a:lnTo>
                    <a:lnTo>
                      <a:pt x="7" y="84"/>
                    </a:lnTo>
                    <a:lnTo>
                      <a:pt x="13" y="74"/>
                    </a:lnTo>
                    <a:lnTo>
                      <a:pt x="13" y="71"/>
                    </a:lnTo>
                    <a:lnTo>
                      <a:pt x="19" y="62"/>
                    </a:lnTo>
                    <a:lnTo>
                      <a:pt x="19" y="59"/>
                    </a:lnTo>
                    <a:lnTo>
                      <a:pt x="32" y="42"/>
                    </a:lnTo>
                    <a:lnTo>
                      <a:pt x="36" y="26"/>
                    </a:lnTo>
                    <a:lnTo>
                      <a:pt x="41" y="20"/>
                    </a:lnTo>
                    <a:lnTo>
                      <a:pt x="50" y="14"/>
                    </a:lnTo>
                    <a:lnTo>
                      <a:pt x="55" y="1"/>
                    </a:lnTo>
                    <a:lnTo>
                      <a:pt x="57" y="0"/>
                    </a:lnTo>
                    <a:lnTo>
                      <a:pt x="119" y="0"/>
                    </a:lnTo>
                    <a:lnTo>
                      <a:pt x="119" y="26"/>
                    </a:lnTo>
                    <a:lnTo>
                      <a:pt x="74" y="26"/>
                    </a:lnTo>
                    <a:lnTo>
                      <a:pt x="74" y="67"/>
                    </a:lnTo>
                    <a:lnTo>
                      <a:pt x="60" y="69"/>
                    </a:lnTo>
                    <a:lnTo>
                      <a:pt x="58" y="71"/>
                    </a:lnTo>
                    <a:lnTo>
                      <a:pt x="57" y="75"/>
                    </a:lnTo>
                    <a:lnTo>
                      <a:pt x="58" y="99"/>
                    </a:lnTo>
                    <a:lnTo>
                      <a:pt x="52" y="99"/>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34" name="Freeform 1312"/>
              <p:cNvSpPr>
                <a:spLocks/>
              </p:cNvSpPr>
              <p:nvPr/>
            </p:nvSpPr>
            <p:spPr bwMode="auto">
              <a:xfrm>
                <a:off x="5897523" y="2849018"/>
                <a:ext cx="109129" cy="108305"/>
              </a:xfrm>
              <a:custGeom>
                <a:avLst/>
                <a:gdLst>
                  <a:gd name="T0" fmla="*/ 2147483647 w 119"/>
                  <a:gd name="T1" fmla="*/ 2147483647 h 104"/>
                  <a:gd name="T2" fmla="*/ 2147483647 w 119"/>
                  <a:gd name="T3" fmla="*/ 2147483647 h 104"/>
                  <a:gd name="T4" fmla="*/ 2147483647 w 119"/>
                  <a:gd name="T5" fmla="*/ 2147483647 h 104"/>
                  <a:gd name="T6" fmla="*/ 2147483647 w 119"/>
                  <a:gd name="T7" fmla="*/ 2147483647 h 104"/>
                  <a:gd name="T8" fmla="*/ 2147483647 w 119"/>
                  <a:gd name="T9" fmla="*/ 2147483647 h 104"/>
                  <a:gd name="T10" fmla="*/ 0 w 119"/>
                  <a:gd name="T11" fmla="*/ 2147483647 h 104"/>
                  <a:gd name="T12" fmla="*/ 2147483647 w 119"/>
                  <a:gd name="T13" fmla="*/ 2147483647 h 104"/>
                  <a:gd name="T14" fmla="*/ 2147483647 w 119"/>
                  <a:gd name="T15" fmla="*/ 2147483647 h 104"/>
                  <a:gd name="T16" fmla="*/ 2147483647 w 119"/>
                  <a:gd name="T17" fmla="*/ 2147483647 h 104"/>
                  <a:gd name="T18" fmla="*/ 2147483647 w 119"/>
                  <a:gd name="T19" fmla="*/ 2147483647 h 104"/>
                  <a:gd name="T20" fmla="*/ 2147483647 w 119"/>
                  <a:gd name="T21" fmla="*/ 2147483647 h 104"/>
                  <a:gd name="T22" fmla="*/ 2147483647 w 119"/>
                  <a:gd name="T23" fmla="*/ 2147483647 h 104"/>
                  <a:gd name="T24" fmla="*/ 2147483647 w 119"/>
                  <a:gd name="T25" fmla="*/ 2147483647 h 104"/>
                  <a:gd name="T26" fmla="*/ 2147483647 w 119"/>
                  <a:gd name="T27" fmla="*/ 2147483647 h 104"/>
                  <a:gd name="T28" fmla="*/ 2147483647 w 119"/>
                  <a:gd name="T29" fmla="*/ 2147483647 h 104"/>
                  <a:gd name="T30" fmla="*/ 2147483647 w 119"/>
                  <a:gd name="T31" fmla="*/ 2147483647 h 104"/>
                  <a:gd name="T32" fmla="*/ 2147483647 w 119"/>
                  <a:gd name="T33" fmla="*/ 2147483647 h 104"/>
                  <a:gd name="T34" fmla="*/ 2147483647 w 119"/>
                  <a:gd name="T35" fmla="*/ 2147483647 h 104"/>
                  <a:gd name="T36" fmla="*/ 2147483647 w 119"/>
                  <a:gd name="T37" fmla="*/ 0 h 104"/>
                  <a:gd name="T38" fmla="*/ 2147483647 w 119"/>
                  <a:gd name="T39" fmla="*/ 0 h 104"/>
                  <a:gd name="T40" fmla="*/ 2147483647 w 119"/>
                  <a:gd name="T41" fmla="*/ 2147483647 h 104"/>
                  <a:gd name="T42" fmla="*/ 2147483647 w 119"/>
                  <a:gd name="T43" fmla="*/ 2147483647 h 104"/>
                  <a:gd name="T44" fmla="*/ 2147483647 w 119"/>
                  <a:gd name="T45" fmla="*/ 2147483647 h 104"/>
                  <a:gd name="T46" fmla="*/ 2147483647 w 119"/>
                  <a:gd name="T47" fmla="*/ 2147483647 h 104"/>
                  <a:gd name="T48" fmla="*/ 2147483647 w 119"/>
                  <a:gd name="T49" fmla="*/ 2147483647 h 104"/>
                  <a:gd name="T50" fmla="*/ 2147483647 w 119"/>
                  <a:gd name="T51" fmla="*/ 2147483647 h 104"/>
                  <a:gd name="T52" fmla="*/ 2147483647 w 119"/>
                  <a:gd name="T53" fmla="*/ 2147483647 h 104"/>
                  <a:gd name="T54" fmla="*/ 2147483647 w 119"/>
                  <a:gd name="T55" fmla="*/ 2147483647 h 10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9"/>
                  <a:gd name="T85" fmla="*/ 0 h 104"/>
                  <a:gd name="T86" fmla="*/ 119 w 119"/>
                  <a:gd name="T87" fmla="*/ 104 h 10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9" h="104">
                    <a:moveTo>
                      <a:pt x="52" y="99"/>
                    </a:moveTo>
                    <a:lnTo>
                      <a:pt x="4" y="99"/>
                    </a:lnTo>
                    <a:lnTo>
                      <a:pt x="4" y="100"/>
                    </a:lnTo>
                    <a:lnTo>
                      <a:pt x="2" y="103"/>
                    </a:lnTo>
                    <a:lnTo>
                      <a:pt x="0" y="104"/>
                    </a:lnTo>
                    <a:lnTo>
                      <a:pt x="2" y="93"/>
                    </a:lnTo>
                    <a:lnTo>
                      <a:pt x="4" y="85"/>
                    </a:lnTo>
                    <a:lnTo>
                      <a:pt x="7" y="84"/>
                    </a:lnTo>
                    <a:lnTo>
                      <a:pt x="13" y="74"/>
                    </a:lnTo>
                    <a:lnTo>
                      <a:pt x="13" y="71"/>
                    </a:lnTo>
                    <a:lnTo>
                      <a:pt x="19" y="62"/>
                    </a:lnTo>
                    <a:lnTo>
                      <a:pt x="19" y="59"/>
                    </a:lnTo>
                    <a:lnTo>
                      <a:pt x="32" y="42"/>
                    </a:lnTo>
                    <a:lnTo>
                      <a:pt x="36" y="26"/>
                    </a:lnTo>
                    <a:lnTo>
                      <a:pt x="41" y="20"/>
                    </a:lnTo>
                    <a:lnTo>
                      <a:pt x="50" y="14"/>
                    </a:lnTo>
                    <a:lnTo>
                      <a:pt x="55" y="1"/>
                    </a:lnTo>
                    <a:lnTo>
                      <a:pt x="57" y="0"/>
                    </a:lnTo>
                    <a:lnTo>
                      <a:pt x="119" y="0"/>
                    </a:lnTo>
                    <a:lnTo>
                      <a:pt x="119" y="26"/>
                    </a:lnTo>
                    <a:lnTo>
                      <a:pt x="74" y="26"/>
                    </a:lnTo>
                    <a:lnTo>
                      <a:pt x="74" y="67"/>
                    </a:lnTo>
                    <a:lnTo>
                      <a:pt x="60" y="69"/>
                    </a:lnTo>
                    <a:lnTo>
                      <a:pt x="58" y="71"/>
                    </a:lnTo>
                    <a:lnTo>
                      <a:pt x="57" y="75"/>
                    </a:lnTo>
                    <a:lnTo>
                      <a:pt x="58" y="99"/>
                    </a:lnTo>
                    <a:lnTo>
                      <a:pt x="52" y="99"/>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35" name="Freeform 1313"/>
              <p:cNvSpPr>
                <a:spLocks/>
              </p:cNvSpPr>
              <p:nvPr/>
            </p:nvSpPr>
            <p:spPr bwMode="auto">
              <a:xfrm>
                <a:off x="6377921" y="3540329"/>
                <a:ext cx="122892" cy="145021"/>
              </a:xfrm>
              <a:custGeom>
                <a:avLst/>
                <a:gdLst/>
                <a:ahLst/>
                <a:cxnLst>
                  <a:cxn ang="0">
                    <a:pos x="0" y="106"/>
                  </a:cxn>
                  <a:cxn ang="0">
                    <a:pos x="0" y="64"/>
                  </a:cxn>
                  <a:cxn ang="0">
                    <a:pos x="15" y="64"/>
                  </a:cxn>
                  <a:cxn ang="0">
                    <a:pos x="15" y="11"/>
                  </a:cxn>
                  <a:cxn ang="0">
                    <a:pos x="16" y="10"/>
                  </a:cxn>
                  <a:cxn ang="0">
                    <a:pos x="47" y="6"/>
                  </a:cxn>
                  <a:cxn ang="0">
                    <a:pos x="50" y="6"/>
                  </a:cxn>
                  <a:cxn ang="0">
                    <a:pos x="51" y="9"/>
                  </a:cxn>
                  <a:cxn ang="0">
                    <a:pos x="53" y="13"/>
                  </a:cxn>
                  <a:cxn ang="0">
                    <a:pos x="55" y="9"/>
                  </a:cxn>
                  <a:cxn ang="0">
                    <a:pos x="60" y="6"/>
                  </a:cxn>
                  <a:cxn ang="0">
                    <a:pos x="67" y="3"/>
                  </a:cxn>
                  <a:cxn ang="0">
                    <a:pos x="69" y="1"/>
                  </a:cxn>
                  <a:cxn ang="0">
                    <a:pos x="70" y="0"/>
                  </a:cxn>
                  <a:cxn ang="0">
                    <a:pos x="73" y="0"/>
                  </a:cxn>
                  <a:cxn ang="0">
                    <a:pos x="76" y="1"/>
                  </a:cxn>
                  <a:cxn ang="0">
                    <a:pos x="76" y="3"/>
                  </a:cxn>
                  <a:cxn ang="0">
                    <a:pos x="79" y="10"/>
                  </a:cxn>
                  <a:cxn ang="0">
                    <a:pos x="82" y="13"/>
                  </a:cxn>
                  <a:cxn ang="0">
                    <a:pos x="84" y="20"/>
                  </a:cxn>
                  <a:cxn ang="0">
                    <a:pos x="96" y="32"/>
                  </a:cxn>
                  <a:cxn ang="0">
                    <a:pos x="99" y="33"/>
                  </a:cxn>
                  <a:cxn ang="0">
                    <a:pos x="103" y="36"/>
                  </a:cxn>
                  <a:cxn ang="0">
                    <a:pos x="105" y="39"/>
                  </a:cxn>
                  <a:cxn ang="0">
                    <a:pos x="109" y="41"/>
                  </a:cxn>
                  <a:cxn ang="0">
                    <a:pos x="112" y="43"/>
                  </a:cxn>
                  <a:cxn ang="0">
                    <a:pos x="112" y="54"/>
                  </a:cxn>
                  <a:cxn ang="0">
                    <a:pos x="114" y="57"/>
                  </a:cxn>
                  <a:cxn ang="0">
                    <a:pos x="116" y="59"/>
                  </a:cxn>
                  <a:cxn ang="0">
                    <a:pos x="119" y="61"/>
                  </a:cxn>
                  <a:cxn ang="0">
                    <a:pos x="125" y="61"/>
                  </a:cxn>
                  <a:cxn ang="0">
                    <a:pos x="134" y="65"/>
                  </a:cxn>
                  <a:cxn ang="0">
                    <a:pos x="134" y="67"/>
                  </a:cxn>
                  <a:cxn ang="0">
                    <a:pos x="118" y="75"/>
                  </a:cxn>
                  <a:cxn ang="0">
                    <a:pos x="84" y="109"/>
                  </a:cxn>
                  <a:cxn ang="0">
                    <a:pos x="82" y="118"/>
                  </a:cxn>
                  <a:cxn ang="0">
                    <a:pos x="80" y="119"/>
                  </a:cxn>
                  <a:cxn ang="0">
                    <a:pos x="69" y="122"/>
                  </a:cxn>
                  <a:cxn ang="0">
                    <a:pos x="64" y="120"/>
                  </a:cxn>
                  <a:cxn ang="0">
                    <a:pos x="55" y="116"/>
                  </a:cxn>
                  <a:cxn ang="0">
                    <a:pos x="51" y="116"/>
                  </a:cxn>
                  <a:cxn ang="0">
                    <a:pos x="48" y="118"/>
                  </a:cxn>
                  <a:cxn ang="0">
                    <a:pos x="42" y="125"/>
                  </a:cxn>
                  <a:cxn ang="0">
                    <a:pos x="41" y="126"/>
                  </a:cxn>
                  <a:cxn ang="0">
                    <a:pos x="39" y="129"/>
                  </a:cxn>
                  <a:cxn ang="0">
                    <a:pos x="37" y="131"/>
                  </a:cxn>
                  <a:cxn ang="0">
                    <a:pos x="32" y="136"/>
                  </a:cxn>
                  <a:cxn ang="0">
                    <a:pos x="24" y="139"/>
                  </a:cxn>
                  <a:cxn ang="0">
                    <a:pos x="12" y="138"/>
                  </a:cxn>
                  <a:cxn ang="0">
                    <a:pos x="10" y="135"/>
                  </a:cxn>
                  <a:cxn ang="0">
                    <a:pos x="13" y="126"/>
                  </a:cxn>
                  <a:cxn ang="0">
                    <a:pos x="13" y="120"/>
                  </a:cxn>
                  <a:cxn ang="0">
                    <a:pos x="10" y="118"/>
                  </a:cxn>
                  <a:cxn ang="0">
                    <a:pos x="8" y="115"/>
                  </a:cxn>
                  <a:cxn ang="0">
                    <a:pos x="6" y="112"/>
                  </a:cxn>
                  <a:cxn ang="0">
                    <a:pos x="3" y="109"/>
                  </a:cxn>
                  <a:cxn ang="0">
                    <a:pos x="3" y="107"/>
                  </a:cxn>
                  <a:cxn ang="0">
                    <a:pos x="0" y="106"/>
                  </a:cxn>
                  <a:cxn ang="0">
                    <a:pos x="0" y="106"/>
                  </a:cxn>
                </a:cxnLst>
                <a:rect l="0" t="0" r="r" b="b"/>
                <a:pathLst>
                  <a:path w="134" h="139">
                    <a:moveTo>
                      <a:pt x="0" y="106"/>
                    </a:moveTo>
                    <a:lnTo>
                      <a:pt x="0" y="64"/>
                    </a:lnTo>
                    <a:lnTo>
                      <a:pt x="15" y="64"/>
                    </a:lnTo>
                    <a:lnTo>
                      <a:pt x="15" y="11"/>
                    </a:lnTo>
                    <a:lnTo>
                      <a:pt x="16" y="10"/>
                    </a:lnTo>
                    <a:lnTo>
                      <a:pt x="47" y="6"/>
                    </a:lnTo>
                    <a:lnTo>
                      <a:pt x="50" y="6"/>
                    </a:lnTo>
                    <a:lnTo>
                      <a:pt x="51" y="9"/>
                    </a:lnTo>
                    <a:lnTo>
                      <a:pt x="53" y="13"/>
                    </a:lnTo>
                    <a:lnTo>
                      <a:pt x="55" y="9"/>
                    </a:lnTo>
                    <a:lnTo>
                      <a:pt x="60" y="6"/>
                    </a:lnTo>
                    <a:lnTo>
                      <a:pt x="67" y="3"/>
                    </a:lnTo>
                    <a:lnTo>
                      <a:pt x="69" y="1"/>
                    </a:lnTo>
                    <a:lnTo>
                      <a:pt x="70" y="0"/>
                    </a:lnTo>
                    <a:lnTo>
                      <a:pt x="73" y="0"/>
                    </a:lnTo>
                    <a:lnTo>
                      <a:pt x="76" y="1"/>
                    </a:lnTo>
                    <a:lnTo>
                      <a:pt x="76" y="3"/>
                    </a:lnTo>
                    <a:lnTo>
                      <a:pt x="79" y="10"/>
                    </a:lnTo>
                    <a:lnTo>
                      <a:pt x="82" y="13"/>
                    </a:lnTo>
                    <a:lnTo>
                      <a:pt x="84" y="20"/>
                    </a:lnTo>
                    <a:lnTo>
                      <a:pt x="96" y="32"/>
                    </a:lnTo>
                    <a:lnTo>
                      <a:pt x="99" y="33"/>
                    </a:lnTo>
                    <a:lnTo>
                      <a:pt x="103" y="36"/>
                    </a:lnTo>
                    <a:lnTo>
                      <a:pt x="105" y="39"/>
                    </a:lnTo>
                    <a:lnTo>
                      <a:pt x="109" y="41"/>
                    </a:lnTo>
                    <a:lnTo>
                      <a:pt x="112" y="43"/>
                    </a:lnTo>
                    <a:lnTo>
                      <a:pt x="112" y="54"/>
                    </a:lnTo>
                    <a:lnTo>
                      <a:pt x="114" y="57"/>
                    </a:lnTo>
                    <a:lnTo>
                      <a:pt x="116" y="59"/>
                    </a:lnTo>
                    <a:lnTo>
                      <a:pt x="119" y="61"/>
                    </a:lnTo>
                    <a:lnTo>
                      <a:pt x="125" y="61"/>
                    </a:lnTo>
                    <a:lnTo>
                      <a:pt x="134" y="65"/>
                    </a:lnTo>
                    <a:lnTo>
                      <a:pt x="134" y="67"/>
                    </a:lnTo>
                    <a:lnTo>
                      <a:pt x="118" y="75"/>
                    </a:lnTo>
                    <a:lnTo>
                      <a:pt x="84" y="109"/>
                    </a:lnTo>
                    <a:lnTo>
                      <a:pt x="82" y="118"/>
                    </a:lnTo>
                    <a:lnTo>
                      <a:pt x="80" y="119"/>
                    </a:lnTo>
                    <a:lnTo>
                      <a:pt x="69" y="122"/>
                    </a:lnTo>
                    <a:lnTo>
                      <a:pt x="64" y="120"/>
                    </a:lnTo>
                    <a:lnTo>
                      <a:pt x="55" y="116"/>
                    </a:lnTo>
                    <a:lnTo>
                      <a:pt x="51" y="116"/>
                    </a:lnTo>
                    <a:lnTo>
                      <a:pt x="48" y="118"/>
                    </a:lnTo>
                    <a:lnTo>
                      <a:pt x="42" y="125"/>
                    </a:lnTo>
                    <a:lnTo>
                      <a:pt x="41" y="126"/>
                    </a:lnTo>
                    <a:lnTo>
                      <a:pt x="39" y="129"/>
                    </a:lnTo>
                    <a:lnTo>
                      <a:pt x="37" y="131"/>
                    </a:lnTo>
                    <a:lnTo>
                      <a:pt x="32" y="136"/>
                    </a:lnTo>
                    <a:lnTo>
                      <a:pt x="24" y="139"/>
                    </a:lnTo>
                    <a:lnTo>
                      <a:pt x="12" y="138"/>
                    </a:lnTo>
                    <a:lnTo>
                      <a:pt x="10" y="135"/>
                    </a:lnTo>
                    <a:lnTo>
                      <a:pt x="13" y="126"/>
                    </a:lnTo>
                    <a:lnTo>
                      <a:pt x="13" y="120"/>
                    </a:lnTo>
                    <a:lnTo>
                      <a:pt x="10" y="118"/>
                    </a:lnTo>
                    <a:lnTo>
                      <a:pt x="8" y="115"/>
                    </a:lnTo>
                    <a:lnTo>
                      <a:pt x="6" y="112"/>
                    </a:lnTo>
                    <a:lnTo>
                      <a:pt x="3" y="109"/>
                    </a:lnTo>
                    <a:lnTo>
                      <a:pt x="3" y="107"/>
                    </a:lnTo>
                    <a:lnTo>
                      <a:pt x="0" y="106"/>
                    </a:lnTo>
                    <a:lnTo>
                      <a:pt x="0" y="10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36" name="Freeform 1314"/>
              <p:cNvSpPr>
                <a:spLocks/>
              </p:cNvSpPr>
              <p:nvPr/>
            </p:nvSpPr>
            <p:spPr bwMode="auto">
              <a:xfrm>
                <a:off x="6377921" y="3540329"/>
                <a:ext cx="122892" cy="145021"/>
              </a:xfrm>
              <a:custGeom>
                <a:avLst/>
                <a:gdLst/>
                <a:ahLst/>
                <a:cxnLst>
                  <a:cxn ang="0">
                    <a:pos x="0" y="106"/>
                  </a:cxn>
                  <a:cxn ang="0">
                    <a:pos x="0" y="64"/>
                  </a:cxn>
                  <a:cxn ang="0">
                    <a:pos x="15" y="64"/>
                  </a:cxn>
                  <a:cxn ang="0">
                    <a:pos x="15" y="11"/>
                  </a:cxn>
                  <a:cxn ang="0">
                    <a:pos x="16" y="10"/>
                  </a:cxn>
                  <a:cxn ang="0">
                    <a:pos x="47" y="6"/>
                  </a:cxn>
                  <a:cxn ang="0">
                    <a:pos x="50" y="6"/>
                  </a:cxn>
                  <a:cxn ang="0">
                    <a:pos x="51" y="9"/>
                  </a:cxn>
                  <a:cxn ang="0">
                    <a:pos x="53" y="13"/>
                  </a:cxn>
                  <a:cxn ang="0">
                    <a:pos x="55" y="9"/>
                  </a:cxn>
                  <a:cxn ang="0">
                    <a:pos x="60" y="6"/>
                  </a:cxn>
                  <a:cxn ang="0">
                    <a:pos x="67" y="3"/>
                  </a:cxn>
                  <a:cxn ang="0">
                    <a:pos x="69" y="1"/>
                  </a:cxn>
                  <a:cxn ang="0">
                    <a:pos x="70" y="0"/>
                  </a:cxn>
                  <a:cxn ang="0">
                    <a:pos x="73" y="0"/>
                  </a:cxn>
                  <a:cxn ang="0">
                    <a:pos x="76" y="1"/>
                  </a:cxn>
                  <a:cxn ang="0">
                    <a:pos x="76" y="3"/>
                  </a:cxn>
                  <a:cxn ang="0">
                    <a:pos x="79" y="10"/>
                  </a:cxn>
                  <a:cxn ang="0">
                    <a:pos x="82" y="13"/>
                  </a:cxn>
                  <a:cxn ang="0">
                    <a:pos x="84" y="20"/>
                  </a:cxn>
                  <a:cxn ang="0">
                    <a:pos x="96" y="32"/>
                  </a:cxn>
                  <a:cxn ang="0">
                    <a:pos x="99" y="33"/>
                  </a:cxn>
                  <a:cxn ang="0">
                    <a:pos x="103" y="36"/>
                  </a:cxn>
                  <a:cxn ang="0">
                    <a:pos x="105" y="39"/>
                  </a:cxn>
                  <a:cxn ang="0">
                    <a:pos x="109" y="41"/>
                  </a:cxn>
                  <a:cxn ang="0">
                    <a:pos x="112" y="43"/>
                  </a:cxn>
                  <a:cxn ang="0">
                    <a:pos x="112" y="54"/>
                  </a:cxn>
                  <a:cxn ang="0">
                    <a:pos x="114" y="57"/>
                  </a:cxn>
                  <a:cxn ang="0">
                    <a:pos x="116" y="59"/>
                  </a:cxn>
                  <a:cxn ang="0">
                    <a:pos x="119" y="61"/>
                  </a:cxn>
                  <a:cxn ang="0">
                    <a:pos x="125" y="61"/>
                  </a:cxn>
                  <a:cxn ang="0">
                    <a:pos x="134" y="65"/>
                  </a:cxn>
                  <a:cxn ang="0">
                    <a:pos x="134" y="67"/>
                  </a:cxn>
                  <a:cxn ang="0">
                    <a:pos x="118" y="75"/>
                  </a:cxn>
                  <a:cxn ang="0">
                    <a:pos x="84" y="109"/>
                  </a:cxn>
                  <a:cxn ang="0">
                    <a:pos x="82" y="118"/>
                  </a:cxn>
                  <a:cxn ang="0">
                    <a:pos x="80" y="119"/>
                  </a:cxn>
                  <a:cxn ang="0">
                    <a:pos x="69" y="122"/>
                  </a:cxn>
                  <a:cxn ang="0">
                    <a:pos x="64" y="120"/>
                  </a:cxn>
                  <a:cxn ang="0">
                    <a:pos x="55" y="116"/>
                  </a:cxn>
                  <a:cxn ang="0">
                    <a:pos x="51" y="116"/>
                  </a:cxn>
                  <a:cxn ang="0">
                    <a:pos x="48" y="118"/>
                  </a:cxn>
                  <a:cxn ang="0">
                    <a:pos x="42" y="125"/>
                  </a:cxn>
                  <a:cxn ang="0">
                    <a:pos x="41" y="126"/>
                  </a:cxn>
                  <a:cxn ang="0">
                    <a:pos x="39" y="129"/>
                  </a:cxn>
                  <a:cxn ang="0">
                    <a:pos x="37" y="131"/>
                  </a:cxn>
                  <a:cxn ang="0">
                    <a:pos x="32" y="136"/>
                  </a:cxn>
                  <a:cxn ang="0">
                    <a:pos x="24" y="139"/>
                  </a:cxn>
                  <a:cxn ang="0">
                    <a:pos x="12" y="138"/>
                  </a:cxn>
                  <a:cxn ang="0">
                    <a:pos x="10" y="135"/>
                  </a:cxn>
                  <a:cxn ang="0">
                    <a:pos x="13" y="126"/>
                  </a:cxn>
                  <a:cxn ang="0">
                    <a:pos x="13" y="120"/>
                  </a:cxn>
                  <a:cxn ang="0">
                    <a:pos x="10" y="118"/>
                  </a:cxn>
                  <a:cxn ang="0">
                    <a:pos x="8" y="115"/>
                  </a:cxn>
                  <a:cxn ang="0">
                    <a:pos x="6" y="112"/>
                  </a:cxn>
                  <a:cxn ang="0">
                    <a:pos x="3" y="109"/>
                  </a:cxn>
                  <a:cxn ang="0">
                    <a:pos x="3" y="107"/>
                  </a:cxn>
                  <a:cxn ang="0">
                    <a:pos x="0" y="106"/>
                  </a:cxn>
                  <a:cxn ang="0">
                    <a:pos x="0" y="106"/>
                  </a:cxn>
                </a:cxnLst>
                <a:rect l="0" t="0" r="r" b="b"/>
                <a:pathLst>
                  <a:path w="134" h="139">
                    <a:moveTo>
                      <a:pt x="0" y="106"/>
                    </a:moveTo>
                    <a:lnTo>
                      <a:pt x="0" y="64"/>
                    </a:lnTo>
                    <a:lnTo>
                      <a:pt x="15" y="64"/>
                    </a:lnTo>
                    <a:lnTo>
                      <a:pt x="15" y="11"/>
                    </a:lnTo>
                    <a:lnTo>
                      <a:pt x="16" y="10"/>
                    </a:lnTo>
                    <a:lnTo>
                      <a:pt x="47" y="6"/>
                    </a:lnTo>
                    <a:lnTo>
                      <a:pt x="50" y="6"/>
                    </a:lnTo>
                    <a:lnTo>
                      <a:pt x="51" y="9"/>
                    </a:lnTo>
                    <a:lnTo>
                      <a:pt x="53" y="13"/>
                    </a:lnTo>
                    <a:lnTo>
                      <a:pt x="55" y="9"/>
                    </a:lnTo>
                    <a:lnTo>
                      <a:pt x="60" y="6"/>
                    </a:lnTo>
                    <a:lnTo>
                      <a:pt x="67" y="3"/>
                    </a:lnTo>
                    <a:lnTo>
                      <a:pt x="69" y="1"/>
                    </a:lnTo>
                    <a:lnTo>
                      <a:pt x="70" y="0"/>
                    </a:lnTo>
                    <a:lnTo>
                      <a:pt x="73" y="0"/>
                    </a:lnTo>
                    <a:lnTo>
                      <a:pt x="76" y="1"/>
                    </a:lnTo>
                    <a:lnTo>
                      <a:pt x="76" y="3"/>
                    </a:lnTo>
                    <a:lnTo>
                      <a:pt x="79" y="10"/>
                    </a:lnTo>
                    <a:lnTo>
                      <a:pt x="82" y="13"/>
                    </a:lnTo>
                    <a:lnTo>
                      <a:pt x="84" y="20"/>
                    </a:lnTo>
                    <a:lnTo>
                      <a:pt x="96" y="32"/>
                    </a:lnTo>
                    <a:lnTo>
                      <a:pt x="99" y="33"/>
                    </a:lnTo>
                    <a:lnTo>
                      <a:pt x="103" y="36"/>
                    </a:lnTo>
                    <a:lnTo>
                      <a:pt x="105" y="39"/>
                    </a:lnTo>
                    <a:lnTo>
                      <a:pt x="109" y="41"/>
                    </a:lnTo>
                    <a:lnTo>
                      <a:pt x="112" y="43"/>
                    </a:lnTo>
                    <a:lnTo>
                      <a:pt x="112" y="54"/>
                    </a:lnTo>
                    <a:lnTo>
                      <a:pt x="114" y="57"/>
                    </a:lnTo>
                    <a:lnTo>
                      <a:pt x="116" y="59"/>
                    </a:lnTo>
                    <a:lnTo>
                      <a:pt x="119" y="61"/>
                    </a:lnTo>
                    <a:lnTo>
                      <a:pt x="125" y="61"/>
                    </a:lnTo>
                    <a:lnTo>
                      <a:pt x="134" y="65"/>
                    </a:lnTo>
                    <a:lnTo>
                      <a:pt x="134" y="67"/>
                    </a:lnTo>
                    <a:lnTo>
                      <a:pt x="118" y="75"/>
                    </a:lnTo>
                    <a:lnTo>
                      <a:pt x="84" y="109"/>
                    </a:lnTo>
                    <a:lnTo>
                      <a:pt x="82" y="118"/>
                    </a:lnTo>
                    <a:lnTo>
                      <a:pt x="80" y="119"/>
                    </a:lnTo>
                    <a:lnTo>
                      <a:pt x="69" y="122"/>
                    </a:lnTo>
                    <a:lnTo>
                      <a:pt x="64" y="120"/>
                    </a:lnTo>
                    <a:lnTo>
                      <a:pt x="55" y="116"/>
                    </a:lnTo>
                    <a:lnTo>
                      <a:pt x="51" y="116"/>
                    </a:lnTo>
                    <a:lnTo>
                      <a:pt x="48" y="118"/>
                    </a:lnTo>
                    <a:lnTo>
                      <a:pt x="42" y="125"/>
                    </a:lnTo>
                    <a:lnTo>
                      <a:pt x="41" y="126"/>
                    </a:lnTo>
                    <a:lnTo>
                      <a:pt x="39" y="129"/>
                    </a:lnTo>
                    <a:lnTo>
                      <a:pt x="37" y="131"/>
                    </a:lnTo>
                    <a:lnTo>
                      <a:pt x="32" y="136"/>
                    </a:lnTo>
                    <a:lnTo>
                      <a:pt x="24" y="139"/>
                    </a:lnTo>
                    <a:lnTo>
                      <a:pt x="12" y="138"/>
                    </a:lnTo>
                    <a:lnTo>
                      <a:pt x="10" y="135"/>
                    </a:lnTo>
                    <a:lnTo>
                      <a:pt x="13" y="126"/>
                    </a:lnTo>
                    <a:lnTo>
                      <a:pt x="13" y="120"/>
                    </a:lnTo>
                    <a:lnTo>
                      <a:pt x="10" y="118"/>
                    </a:lnTo>
                    <a:lnTo>
                      <a:pt x="8" y="115"/>
                    </a:lnTo>
                    <a:lnTo>
                      <a:pt x="6" y="112"/>
                    </a:lnTo>
                    <a:lnTo>
                      <a:pt x="3" y="109"/>
                    </a:lnTo>
                    <a:lnTo>
                      <a:pt x="3" y="107"/>
                    </a:lnTo>
                    <a:lnTo>
                      <a:pt x="0" y="106"/>
                    </a:lnTo>
                    <a:lnTo>
                      <a:pt x="0" y="10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37" name="Freeform 1315"/>
              <p:cNvSpPr>
                <a:spLocks/>
              </p:cNvSpPr>
              <p:nvPr/>
            </p:nvSpPr>
            <p:spPr bwMode="auto">
              <a:xfrm>
                <a:off x="6725530" y="2287874"/>
                <a:ext cx="531947" cy="321480"/>
              </a:xfrm>
              <a:custGeom>
                <a:avLst/>
                <a:gdLst/>
                <a:ahLst/>
                <a:cxnLst>
                  <a:cxn ang="0">
                    <a:pos x="118" y="289"/>
                  </a:cxn>
                  <a:cxn ang="0">
                    <a:pos x="87" y="276"/>
                  </a:cxn>
                  <a:cxn ang="0">
                    <a:pos x="63" y="251"/>
                  </a:cxn>
                  <a:cxn ang="0">
                    <a:pos x="71" y="241"/>
                  </a:cxn>
                  <a:cxn ang="0">
                    <a:pos x="79" y="226"/>
                  </a:cxn>
                  <a:cxn ang="0">
                    <a:pos x="111" y="229"/>
                  </a:cxn>
                  <a:cxn ang="0">
                    <a:pos x="109" y="213"/>
                  </a:cxn>
                  <a:cxn ang="0">
                    <a:pos x="96" y="194"/>
                  </a:cxn>
                  <a:cxn ang="0">
                    <a:pos x="54" y="194"/>
                  </a:cxn>
                  <a:cxn ang="0">
                    <a:pos x="23" y="202"/>
                  </a:cxn>
                  <a:cxn ang="0">
                    <a:pos x="28" y="181"/>
                  </a:cxn>
                  <a:cxn ang="0">
                    <a:pos x="9" y="171"/>
                  </a:cxn>
                  <a:cxn ang="0">
                    <a:pos x="7" y="145"/>
                  </a:cxn>
                  <a:cxn ang="0">
                    <a:pos x="12" y="119"/>
                  </a:cxn>
                  <a:cxn ang="0">
                    <a:pos x="29" y="113"/>
                  </a:cxn>
                  <a:cxn ang="0">
                    <a:pos x="50" y="98"/>
                  </a:cxn>
                  <a:cxn ang="0">
                    <a:pos x="67" y="88"/>
                  </a:cxn>
                  <a:cxn ang="0">
                    <a:pos x="82" y="87"/>
                  </a:cxn>
                  <a:cxn ang="0">
                    <a:pos x="102" y="94"/>
                  </a:cxn>
                  <a:cxn ang="0">
                    <a:pos x="116" y="113"/>
                  </a:cxn>
                  <a:cxn ang="0">
                    <a:pos x="124" y="110"/>
                  </a:cxn>
                  <a:cxn ang="0">
                    <a:pos x="145" y="106"/>
                  </a:cxn>
                  <a:cxn ang="0">
                    <a:pos x="167" y="101"/>
                  </a:cxn>
                  <a:cxn ang="0">
                    <a:pos x="185" y="114"/>
                  </a:cxn>
                  <a:cxn ang="0">
                    <a:pos x="212" y="109"/>
                  </a:cxn>
                  <a:cxn ang="0">
                    <a:pos x="193" y="84"/>
                  </a:cxn>
                  <a:cxn ang="0">
                    <a:pos x="204" y="64"/>
                  </a:cxn>
                  <a:cxn ang="0">
                    <a:pos x="218" y="52"/>
                  </a:cxn>
                  <a:cxn ang="0">
                    <a:pos x="211" y="45"/>
                  </a:cxn>
                  <a:cxn ang="0">
                    <a:pos x="214" y="33"/>
                  </a:cxn>
                  <a:cxn ang="0">
                    <a:pos x="233" y="33"/>
                  </a:cxn>
                  <a:cxn ang="0">
                    <a:pos x="250" y="27"/>
                  </a:cxn>
                  <a:cxn ang="0">
                    <a:pos x="267" y="20"/>
                  </a:cxn>
                  <a:cxn ang="0">
                    <a:pos x="307" y="11"/>
                  </a:cxn>
                  <a:cxn ang="0">
                    <a:pos x="320" y="1"/>
                  </a:cxn>
                  <a:cxn ang="0">
                    <a:pos x="333" y="3"/>
                  </a:cxn>
                  <a:cxn ang="0">
                    <a:pos x="349" y="13"/>
                  </a:cxn>
                  <a:cxn ang="0">
                    <a:pos x="354" y="30"/>
                  </a:cxn>
                  <a:cxn ang="0">
                    <a:pos x="368" y="30"/>
                  </a:cxn>
                  <a:cxn ang="0">
                    <a:pos x="382" y="36"/>
                  </a:cxn>
                  <a:cxn ang="0">
                    <a:pos x="382" y="40"/>
                  </a:cxn>
                  <a:cxn ang="0">
                    <a:pos x="394" y="45"/>
                  </a:cxn>
                  <a:cxn ang="0">
                    <a:pos x="411" y="35"/>
                  </a:cxn>
                  <a:cxn ang="0">
                    <a:pos x="431" y="26"/>
                  </a:cxn>
                  <a:cxn ang="0">
                    <a:pos x="447" y="52"/>
                  </a:cxn>
                  <a:cxn ang="0">
                    <a:pos x="491" y="101"/>
                  </a:cxn>
                  <a:cxn ang="0">
                    <a:pos x="510" y="110"/>
                  </a:cxn>
                  <a:cxn ang="0">
                    <a:pos x="527" y="106"/>
                  </a:cxn>
                  <a:cxn ang="0">
                    <a:pos x="536" y="119"/>
                  </a:cxn>
                  <a:cxn ang="0">
                    <a:pos x="552" y="135"/>
                  </a:cxn>
                  <a:cxn ang="0">
                    <a:pos x="572" y="135"/>
                  </a:cxn>
                  <a:cxn ang="0">
                    <a:pos x="574" y="157"/>
                  </a:cxn>
                  <a:cxn ang="0">
                    <a:pos x="540" y="190"/>
                  </a:cxn>
                  <a:cxn ang="0">
                    <a:pos x="478" y="234"/>
                  </a:cxn>
                  <a:cxn ang="0">
                    <a:pos x="481" y="280"/>
                  </a:cxn>
                  <a:cxn ang="0">
                    <a:pos x="439" y="273"/>
                  </a:cxn>
                  <a:cxn ang="0">
                    <a:pos x="394" y="267"/>
                  </a:cxn>
                  <a:cxn ang="0">
                    <a:pos x="381" y="282"/>
                  </a:cxn>
                  <a:cxn ang="0">
                    <a:pos x="341" y="289"/>
                  </a:cxn>
                  <a:cxn ang="0">
                    <a:pos x="317" y="309"/>
                  </a:cxn>
                  <a:cxn ang="0">
                    <a:pos x="278" y="273"/>
                  </a:cxn>
                </a:cxnLst>
                <a:rect l="0" t="0" r="r" b="b"/>
                <a:pathLst>
                  <a:path w="580" h="309">
                    <a:moveTo>
                      <a:pt x="135" y="232"/>
                    </a:moveTo>
                    <a:lnTo>
                      <a:pt x="135" y="303"/>
                    </a:lnTo>
                    <a:lnTo>
                      <a:pt x="132" y="305"/>
                    </a:lnTo>
                    <a:lnTo>
                      <a:pt x="127" y="303"/>
                    </a:lnTo>
                    <a:lnTo>
                      <a:pt x="125" y="302"/>
                    </a:lnTo>
                    <a:lnTo>
                      <a:pt x="121" y="295"/>
                    </a:lnTo>
                    <a:lnTo>
                      <a:pt x="119" y="293"/>
                    </a:lnTo>
                    <a:lnTo>
                      <a:pt x="118" y="289"/>
                    </a:lnTo>
                    <a:lnTo>
                      <a:pt x="116" y="287"/>
                    </a:lnTo>
                    <a:lnTo>
                      <a:pt x="109" y="283"/>
                    </a:lnTo>
                    <a:lnTo>
                      <a:pt x="108" y="283"/>
                    </a:lnTo>
                    <a:lnTo>
                      <a:pt x="93" y="287"/>
                    </a:lnTo>
                    <a:lnTo>
                      <a:pt x="84" y="295"/>
                    </a:lnTo>
                    <a:lnTo>
                      <a:pt x="84" y="284"/>
                    </a:lnTo>
                    <a:lnTo>
                      <a:pt x="87" y="282"/>
                    </a:lnTo>
                    <a:lnTo>
                      <a:pt x="87" y="276"/>
                    </a:lnTo>
                    <a:lnTo>
                      <a:pt x="84" y="274"/>
                    </a:lnTo>
                    <a:lnTo>
                      <a:pt x="82" y="274"/>
                    </a:lnTo>
                    <a:lnTo>
                      <a:pt x="76" y="271"/>
                    </a:lnTo>
                    <a:lnTo>
                      <a:pt x="74" y="268"/>
                    </a:lnTo>
                    <a:lnTo>
                      <a:pt x="68" y="268"/>
                    </a:lnTo>
                    <a:lnTo>
                      <a:pt x="68" y="258"/>
                    </a:lnTo>
                    <a:lnTo>
                      <a:pt x="64" y="252"/>
                    </a:lnTo>
                    <a:lnTo>
                      <a:pt x="63" y="251"/>
                    </a:lnTo>
                    <a:lnTo>
                      <a:pt x="61" y="248"/>
                    </a:lnTo>
                    <a:lnTo>
                      <a:pt x="55" y="245"/>
                    </a:lnTo>
                    <a:lnTo>
                      <a:pt x="53" y="241"/>
                    </a:lnTo>
                    <a:lnTo>
                      <a:pt x="54" y="239"/>
                    </a:lnTo>
                    <a:lnTo>
                      <a:pt x="58" y="239"/>
                    </a:lnTo>
                    <a:lnTo>
                      <a:pt x="66" y="241"/>
                    </a:lnTo>
                    <a:lnTo>
                      <a:pt x="67" y="241"/>
                    </a:lnTo>
                    <a:lnTo>
                      <a:pt x="71" y="241"/>
                    </a:lnTo>
                    <a:lnTo>
                      <a:pt x="68" y="236"/>
                    </a:lnTo>
                    <a:lnTo>
                      <a:pt x="68" y="232"/>
                    </a:lnTo>
                    <a:lnTo>
                      <a:pt x="70" y="229"/>
                    </a:lnTo>
                    <a:lnTo>
                      <a:pt x="73" y="228"/>
                    </a:lnTo>
                    <a:lnTo>
                      <a:pt x="73" y="229"/>
                    </a:lnTo>
                    <a:lnTo>
                      <a:pt x="76" y="229"/>
                    </a:lnTo>
                    <a:lnTo>
                      <a:pt x="79" y="229"/>
                    </a:lnTo>
                    <a:lnTo>
                      <a:pt x="79" y="226"/>
                    </a:lnTo>
                    <a:lnTo>
                      <a:pt x="82" y="223"/>
                    </a:lnTo>
                    <a:lnTo>
                      <a:pt x="86" y="223"/>
                    </a:lnTo>
                    <a:lnTo>
                      <a:pt x="95" y="228"/>
                    </a:lnTo>
                    <a:lnTo>
                      <a:pt x="98" y="226"/>
                    </a:lnTo>
                    <a:lnTo>
                      <a:pt x="100" y="225"/>
                    </a:lnTo>
                    <a:lnTo>
                      <a:pt x="102" y="225"/>
                    </a:lnTo>
                    <a:lnTo>
                      <a:pt x="103" y="226"/>
                    </a:lnTo>
                    <a:lnTo>
                      <a:pt x="111" y="229"/>
                    </a:lnTo>
                    <a:lnTo>
                      <a:pt x="113" y="229"/>
                    </a:lnTo>
                    <a:lnTo>
                      <a:pt x="116" y="229"/>
                    </a:lnTo>
                    <a:lnTo>
                      <a:pt x="118" y="228"/>
                    </a:lnTo>
                    <a:lnTo>
                      <a:pt x="115" y="225"/>
                    </a:lnTo>
                    <a:lnTo>
                      <a:pt x="118" y="225"/>
                    </a:lnTo>
                    <a:lnTo>
                      <a:pt x="113" y="218"/>
                    </a:lnTo>
                    <a:lnTo>
                      <a:pt x="111" y="216"/>
                    </a:lnTo>
                    <a:lnTo>
                      <a:pt x="109" y="213"/>
                    </a:lnTo>
                    <a:lnTo>
                      <a:pt x="106" y="213"/>
                    </a:lnTo>
                    <a:lnTo>
                      <a:pt x="103" y="209"/>
                    </a:lnTo>
                    <a:lnTo>
                      <a:pt x="102" y="203"/>
                    </a:lnTo>
                    <a:lnTo>
                      <a:pt x="100" y="200"/>
                    </a:lnTo>
                    <a:lnTo>
                      <a:pt x="100" y="202"/>
                    </a:lnTo>
                    <a:lnTo>
                      <a:pt x="98" y="197"/>
                    </a:lnTo>
                    <a:lnTo>
                      <a:pt x="96" y="197"/>
                    </a:lnTo>
                    <a:lnTo>
                      <a:pt x="96" y="194"/>
                    </a:lnTo>
                    <a:lnTo>
                      <a:pt x="90" y="190"/>
                    </a:lnTo>
                    <a:lnTo>
                      <a:pt x="87" y="189"/>
                    </a:lnTo>
                    <a:lnTo>
                      <a:pt x="87" y="187"/>
                    </a:lnTo>
                    <a:lnTo>
                      <a:pt x="84" y="187"/>
                    </a:lnTo>
                    <a:lnTo>
                      <a:pt x="76" y="190"/>
                    </a:lnTo>
                    <a:lnTo>
                      <a:pt x="76" y="187"/>
                    </a:lnTo>
                    <a:lnTo>
                      <a:pt x="64" y="186"/>
                    </a:lnTo>
                    <a:lnTo>
                      <a:pt x="54" y="194"/>
                    </a:lnTo>
                    <a:lnTo>
                      <a:pt x="31" y="200"/>
                    </a:lnTo>
                    <a:lnTo>
                      <a:pt x="37" y="203"/>
                    </a:lnTo>
                    <a:lnTo>
                      <a:pt x="32" y="206"/>
                    </a:lnTo>
                    <a:lnTo>
                      <a:pt x="29" y="205"/>
                    </a:lnTo>
                    <a:lnTo>
                      <a:pt x="29" y="203"/>
                    </a:lnTo>
                    <a:lnTo>
                      <a:pt x="26" y="203"/>
                    </a:lnTo>
                    <a:lnTo>
                      <a:pt x="25" y="203"/>
                    </a:lnTo>
                    <a:lnTo>
                      <a:pt x="23" y="202"/>
                    </a:lnTo>
                    <a:lnTo>
                      <a:pt x="22" y="200"/>
                    </a:lnTo>
                    <a:lnTo>
                      <a:pt x="23" y="199"/>
                    </a:lnTo>
                    <a:lnTo>
                      <a:pt x="23" y="196"/>
                    </a:lnTo>
                    <a:lnTo>
                      <a:pt x="26" y="196"/>
                    </a:lnTo>
                    <a:lnTo>
                      <a:pt x="28" y="197"/>
                    </a:lnTo>
                    <a:lnTo>
                      <a:pt x="32" y="196"/>
                    </a:lnTo>
                    <a:lnTo>
                      <a:pt x="29" y="181"/>
                    </a:lnTo>
                    <a:lnTo>
                      <a:pt x="28" y="181"/>
                    </a:lnTo>
                    <a:lnTo>
                      <a:pt x="26" y="180"/>
                    </a:lnTo>
                    <a:lnTo>
                      <a:pt x="25" y="177"/>
                    </a:lnTo>
                    <a:lnTo>
                      <a:pt x="23" y="174"/>
                    </a:lnTo>
                    <a:lnTo>
                      <a:pt x="16" y="174"/>
                    </a:lnTo>
                    <a:lnTo>
                      <a:pt x="13" y="174"/>
                    </a:lnTo>
                    <a:lnTo>
                      <a:pt x="13" y="175"/>
                    </a:lnTo>
                    <a:lnTo>
                      <a:pt x="9" y="173"/>
                    </a:lnTo>
                    <a:lnTo>
                      <a:pt x="9" y="171"/>
                    </a:lnTo>
                    <a:lnTo>
                      <a:pt x="9" y="168"/>
                    </a:lnTo>
                    <a:lnTo>
                      <a:pt x="9" y="167"/>
                    </a:lnTo>
                    <a:lnTo>
                      <a:pt x="9" y="165"/>
                    </a:lnTo>
                    <a:lnTo>
                      <a:pt x="7" y="164"/>
                    </a:lnTo>
                    <a:lnTo>
                      <a:pt x="0" y="161"/>
                    </a:lnTo>
                    <a:lnTo>
                      <a:pt x="3" y="149"/>
                    </a:lnTo>
                    <a:lnTo>
                      <a:pt x="7" y="148"/>
                    </a:lnTo>
                    <a:lnTo>
                      <a:pt x="7" y="145"/>
                    </a:lnTo>
                    <a:lnTo>
                      <a:pt x="7" y="143"/>
                    </a:lnTo>
                    <a:lnTo>
                      <a:pt x="5" y="141"/>
                    </a:lnTo>
                    <a:lnTo>
                      <a:pt x="7" y="129"/>
                    </a:lnTo>
                    <a:lnTo>
                      <a:pt x="10" y="128"/>
                    </a:lnTo>
                    <a:lnTo>
                      <a:pt x="12" y="125"/>
                    </a:lnTo>
                    <a:lnTo>
                      <a:pt x="12" y="123"/>
                    </a:lnTo>
                    <a:lnTo>
                      <a:pt x="12" y="120"/>
                    </a:lnTo>
                    <a:lnTo>
                      <a:pt x="12" y="119"/>
                    </a:lnTo>
                    <a:lnTo>
                      <a:pt x="15" y="116"/>
                    </a:lnTo>
                    <a:lnTo>
                      <a:pt x="16" y="116"/>
                    </a:lnTo>
                    <a:lnTo>
                      <a:pt x="18" y="119"/>
                    </a:lnTo>
                    <a:lnTo>
                      <a:pt x="21" y="122"/>
                    </a:lnTo>
                    <a:lnTo>
                      <a:pt x="25" y="130"/>
                    </a:lnTo>
                    <a:lnTo>
                      <a:pt x="26" y="132"/>
                    </a:lnTo>
                    <a:lnTo>
                      <a:pt x="34" y="126"/>
                    </a:lnTo>
                    <a:lnTo>
                      <a:pt x="29" y="113"/>
                    </a:lnTo>
                    <a:lnTo>
                      <a:pt x="31" y="113"/>
                    </a:lnTo>
                    <a:lnTo>
                      <a:pt x="41" y="107"/>
                    </a:lnTo>
                    <a:lnTo>
                      <a:pt x="41" y="106"/>
                    </a:lnTo>
                    <a:lnTo>
                      <a:pt x="41" y="101"/>
                    </a:lnTo>
                    <a:lnTo>
                      <a:pt x="44" y="101"/>
                    </a:lnTo>
                    <a:lnTo>
                      <a:pt x="45" y="101"/>
                    </a:lnTo>
                    <a:lnTo>
                      <a:pt x="48" y="100"/>
                    </a:lnTo>
                    <a:lnTo>
                      <a:pt x="50" y="98"/>
                    </a:lnTo>
                    <a:lnTo>
                      <a:pt x="53" y="97"/>
                    </a:lnTo>
                    <a:lnTo>
                      <a:pt x="54" y="96"/>
                    </a:lnTo>
                    <a:lnTo>
                      <a:pt x="55" y="94"/>
                    </a:lnTo>
                    <a:lnTo>
                      <a:pt x="57" y="93"/>
                    </a:lnTo>
                    <a:lnTo>
                      <a:pt x="58" y="91"/>
                    </a:lnTo>
                    <a:lnTo>
                      <a:pt x="60" y="90"/>
                    </a:lnTo>
                    <a:lnTo>
                      <a:pt x="63" y="88"/>
                    </a:lnTo>
                    <a:lnTo>
                      <a:pt x="67" y="88"/>
                    </a:lnTo>
                    <a:lnTo>
                      <a:pt x="68" y="93"/>
                    </a:lnTo>
                    <a:lnTo>
                      <a:pt x="73" y="91"/>
                    </a:lnTo>
                    <a:lnTo>
                      <a:pt x="74" y="93"/>
                    </a:lnTo>
                    <a:lnTo>
                      <a:pt x="76" y="91"/>
                    </a:lnTo>
                    <a:lnTo>
                      <a:pt x="76" y="90"/>
                    </a:lnTo>
                    <a:lnTo>
                      <a:pt x="77" y="87"/>
                    </a:lnTo>
                    <a:lnTo>
                      <a:pt x="80" y="88"/>
                    </a:lnTo>
                    <a:lnTo>
                      <a:pt x="82" y="87"/>
                    </a:lnTo>
                    <a:lnTo>
                      <a:pt x="83" y="87"/>
                    </a:lnTo>
                    <a:lnTo>
                      <a:pt x="84" y="91"/>
                    </a:lnTo>
                    <a:lnTo>
                      <a:pt x="86" y="93"/>
                    </a:lnTo>
                    <a:lnTo>
                      <a:pt x="90" y="91"/>
                    </a:lnTo>
                    <a:lnTo>
                      <a:pt x="92" y="93"/>
                    </a:lnTo>
                    <a:lnTo>
                      <a:pt x="96" y="91"/>
                    </a:lnTo>
                    <a:lnTo>
                      <a:pt x="99" y="91"/>
                    </a:lnTo>
                    <a:lnTo>
                      <a:pt x="102" y="94"/>
                    </a:lnTo>
                    <a:lnTo>
                      <a:pt x="103" y="98"/>
                    </a:lnTo>
                    <a:lnTo>
                      <a:pt x="109" y="101"/>
                    </a:lnTo>
                    <a:lnTo>
                      <a:pt x="109" y="103"/>
                    </a:lnTo>
                    <a:lnTo>
                      <a:pt x="111" y="104"/>
                    </a:lnTo>
                    <a:lnTo>
                      <a:pt x="113" y="109"/>
                    </a:lnTo>
                    <a:lnTo>
                      <a:pt x="113" y="112"/>
                    </a:lnTo>
                    <a:lnTo>
                      <a:pt x="115" y="114"/>
                    </a:lnTo>
                    <a:lnTo>
                      <a:pt x="116" y="113"/>
                    </a:lnTo>
                    <a:lnTo>
                      <a:pt x="116" y="107"/>
                    </a:lnTo>
                    <a:lnTo>
                      <a:pt x="115" y="106"/>
                    </a:lnTo>
                    <a:lnTo>
                      <a:pt x="116" y="104"/>
                    </a:lnTo>
                    <a:lnTo>
                      <a:pt x="119" y="103"/>
                    </a:lnTo>
                    <a:lnTo>
                      <a:pt x="119" y="106"/>
                    </a:lnTo>
                    <a:lnTo>
                      <a:pt x="121" y="107"/>
                    </a:lnTo>
                    <a:lnTo>
                      <a:pt x="122" y="109"/>
                    </a:lnTo>
                    <a:lnTo>
                      <a:pt x="124" y="110"/>
                    </a:lnTo>
                    <a:lnTo>
                      <a:pt x="131" y="113"/>
                    </a:lnTo>
                    <a:lnTo>
                      <a:pt x="134" y="113"/>
                    </a:lnTo>
                    <a:lnTo>
                      <a:pt x="138" y="109"/>
                    </a:lnTo>
                    <a:lnTo>
                      <a:pt x="138" y="107"/>
                    </a:lnTo>
                    <a:lnTo>
                      <a:pt x="140" y="106"/>
                    </a:lnTo>
                    <a:lnTo>
                      <a:pt x="141" y="106"/>
                    </a:lnTo>
                    <a:lnTo>
                      <a:pt x="144" y="104"/>
                    </a:lnTo>
                    <a:lnTo>
                      <a:pt x="145" y="106"/>
                    </a:lnTo>
                    <a:lnTo>
                      <a:pt x="145" y="103"/>
                    </a:lnTo>
                    <a:lnTo>
                      <a:pt x="150" y="104"/>
                    </a:lnTo>
                    <a:lnTo>
                      <a:pt x="151" y="103"/>
                    </a:lnTo>
                    <a:lnTo>
                      <a:pt x="157" y="107"/>
                    </a:lnTo>
                    <a:lnTo>
                      <a:pt x="160" y="104"/>
                    </a:lnTo>
                    <a:lnTo>
                      <a:pt x="161" y="103"/>
                    </a:lnTo>
                    <a:lnTo>
                      <a:pt x="166" y="103"/>
                    </a:lnTo>
                    <a:lnTo>
                      <a:pt x="167" y="101"/>
                    </a:lnTo>
                    <a:lnTo>
                      <a:pt x="172" y="103"/>
                    </a:lnTo>
                    <a:lnTo>
                      <a:pt x="173" y="104"/>
                    </a:lnTo>
                    <a:lnTo>
                      <a:pt x="173" y="109"/>
                    </a:lnTo>
                    <a:lnTo>
                      <a:pt x="176" y="112"/>
                    </a:lnTo>
                    <a:lnTo>
                      <a:pt x="180" y="112"/>
                    </a:lnTo>
                    <a:lnTo>
                      <a:pt x="183" y="113"/>
                    </a:lnTo>
                    <a:lnTo>
                      <a:pt x="183" y="113"/>
                    </a:lnTo>
                    <a:lnTo>
                      <a:pt x="185" y="114"/>
                    </a:lnTo>
                    <a:lnTo>
                      <a:pt x="189" y="114"/>
                    </a:lnTo>
                    <a:lnTo>
                      <a:pt x="190" y="113"/>
                    </a:lnTo>
                    <a:lnTo>
                      <a:pt x="193" y="109"/>
                    </a:lnTo>
                    <a:lnTo>
                      <a:pt x="195" y="109"/>
                    </a:lnTo>
                    <a:lnTo>
                      <a:pt x="198" y="112"/>
                    </a:lnTo>
                    <a:lnTo>
                      <a:pt x="206" y="112"/>
                    </a:lnTo>
                    <a:lnTo>
                      <a:pt x="208" y="110"/>
                    </a:lnTo>
                    <a:lnTo>
                      <a:pt x="212" y="109"/>
                    </a:lnTo>
                    <a:lnTo>
                      <a:pt x="217" y="97"/>
                    </a:lnTo>
                    <a:lnTo>
                      <a:pt x="214" y="94"/>
                    </a:lnTo>
                    <a:lnTo>
                      <a:pt x="206" y="94"/>
                    </a:lnTo>
                    <a:lnTo>
                      <a:pt x="204" y="91"/>
                    </a:lnTo>
                    <a:lnTo>
                      <a:pt x="198" y="88"/>
                    </a:lnTo>
                    <a:lnTo>
                      <a:pt x="198" y="87"/>
                    </a:lnTo>
                    <a:lnTo>
                      <a:pt x="196" y="85"/>
                    </a:lnTo>
                    <a:lnTo>
                      <a:pt x="193" y="84"/>
                    </a:lnTo>
                    <a:lnTo>
                      <a:pt x="193" y="82"/>
                    </a:lnTo>
                    <a:lnTo>
                      <a:pt x="195" y="81"/>
                    </a:lnTo>
                    <a:lnTo>
                      <a:pt x="198" y="78"/>
                    </a:lnTo>
                    <a:lnTo>
                      <a:pt x="205" y="75"/>
                    </a:lnTo>
                    <a:lnTo>
                      <a:pt x="206" y="74"/>
                    </a:lnTo>
                    <a:lnTo>
                      <a:pt x="206" y="71"/>
                    </a:lnTo>
                    <a:lnTo>
                      <a:pt x="202" y="64"/>
                    </a:lnTo>
                    <a:lnTo>
                      <a:pt x="204" y="64"/>
                    </a:lnTo>
                    <a:lnTo>
                      <a:pt x="206" y="62"/>
                    </a:lnTo>
                    <a:lnTo>
                      <a:pt x="206" y="59"/>
                    </a:lnTo>
                    <a:lnTo>
                      <a:pt x="208" y="58"/>
                    </a:lnTo>
                    <a:lnTo>
                      <a:pt x="221" y="59"/>
                    </a:lnTo>
                    <a:lnTo>
                      <a:pt x="222" y="58"/>
                    </a:lnTo>
                    <a:lnTo>
                      <a:pt x="224" y="56"/>
                    </a:lnTo>
                    <a:lnTo>
                      <a:pt x="222" y="55"/>
                    </a:lnTo>
                    <a:lnTo>
                      <a:pt x="218" y="52"/>
                    </a:lnTo>
                    <a:lnTo>
                      <a:pt x="209" y="50"/>
                    </a:lnTo>
                    <a:lnTo>
                      <a:pt x="209" y="49"/>
                    </a:lnTo>
                    <a:lnTo>
                      <a:pt x="209" y="48"/>
                    </a:lnTo>
                    <a:lnTo>
                      <a:pt x="211" y="48"/>
                    </a:lnTo>
                    <a:lnTo>
                      <a:pt x="214" y="46"/>
                    </a:lnTo>
                    <a:lnTo>
                      <a:pt x="214" y="45"/>
                    </a:lnTo>
                    <a:lnTo>
                      <a:pt x="212" y="43"/>
                    </a:lnTo>
                    <a:lnTo>
                      <a:pt x="211" y="45"/>
                    </a:lnTo>
                    <a:lnTo>
                      <a:pt x="206" y="45"/>
                    </a:lnTo>
                    <a:lnTo>
                      <a:pt x="206" y="42"/>
                    </a:lnTo>
                    <a:lnTo>
                      <a:pt x="208" y="40"/>
                    </a:lnTo>
                    <a:lnTo>
                      <a:pt x="209" y="39"/>
                    </a:lnTo>
                    <a:lnTo>
                      <a:pt x="206" y="36"/>
                    </a:lnTo>
                    <a:lnTo>
                      <a:pt x="211" y="35"/>
                    </a:lnTo>
                    <a:lnTo>
                      <a:pt x="211" y="33"/>
                    </a:lnTo>
                    <a:lnTo>
                      <a:pt x="214" y="33"/>
                    </a:lnTo>
                    <a:lnTo>
                      <a:pt x="215" y="35"/>
                    </a:lnTo>
                    <a:lnTo>
                      <a:pt x="217" y="35"/>
                    </a:lnTo>
                    <a:lnTo>
                      <a:pt x="219" y="35"/>
                    </a:lnTo>
                    <a:lnTo>
                      <a:pt x="221" y="35"/>
                    </a:lnTo>
                    <a:lnTo>
                      <a:pt x="227" y="35"/>
                    </a:lnTo>
                    <a:lnTo>
                      <a:pt x="228" y="36"/>
                    </a:lnTo>
                    <a:lnTo>
                      <a:pt x="231" y="33"/>
                    </a:lnTo>
                    <a:lnTo>
                      <a:pt x="233" y="33"/>
                    </a:lnTo>
                    <a:lnTo>
                      <a:pt x="237" y="33"/>
                    </a:lnTo>
                    <a:lnTo>
                      <a:pt x="238" y="32"/>
                    </a:lnTo>
                    <a:lnTo>
                      <a:pt x="241" y="30"/>
                    </a:lnTo>
                    <a:lnTo>
                      <a:pt x="244" y="27"/>
                    </a:lnTo>
                    <a:lnTo>
                      <a:pt x="246" y="29"/>
                    </a:lnTo>
                    <a:lnTo>
                      <a:pt x="249" y="30"/>
                    </a:lnTo>
                    <a:lnTo>
                      <a:pt x="250" y="30"/>
                    </a:lnTo>
                    <a:lnTo>
                      <a:pt x="250" y="27"/>
                    </a:lnTo>
                    <a:lnTo>
                      <a:pt x="254" y="27"/>
                    </a:lnTo>
                    <a:lnTo>
                      <a:pt x="257" y="26"/>
                    </a:lnTo>
                    <a:lnTo>
                      <a:pt x="259" y="26"/>
                    </a:lnTo>
                    <a:lnTo>
                      <a:pt x="260" y="24"/>
                    </a:lnTo>
                    <a:lnTo>
                      <a:pt x="263" y="24"/>
                    </a:lnTo>
                    <a:lnTo>
                      <a:pt x="264" y="26"/>
                    </a:lnTo>
                    <a:lnTo>
                      <a:pt x="266" y="24"/>
                    </a:lnTo>
                    <a:lnTo>
                      <a:pt x="267" y="20"/>
                    </a:lnTo>
                    <a:lnTo>
                      <a:pt x="269" y="19"/>
                    </a:lnTo>
                    <a:lnTo>
                      <a:pt x="270" y="19"/>
                    </a:lnTo>
                    <a:lnTo>
                      <a:pt x="273" y="19"/>
                    </a:lnTo>
                    <a:lnTo>
                      <a:pt x="278" y="17"/>
                    </a:lnTo>
                    <a:lnTo>
                      <a:pt x="278" y="19"/>
                    </a:lnTo>
                    <a:lnTo>
                      <a:pt x="302" y="13"/>
                    </a:lnTo>
                    <a:lnTo>
                      <a:pt x="305" y="11"/>
                    </a:lnTo>
                    <a:lnTo>
                      <a:pt x="307" y="11"/>
                    </a:lnTo>
                    <a:lnTo>
                      <a:pt x="308" y="10"/>
                    </a:lnTo>
                    <a:lnTo>
                      <a:pt x="309" y="8"/>
                    </a:lnTo>
                    <a:lnTo>
                      <a:pt x="309" y="4"/>
                    </a:lnTo>
                    <a:lnTo>
                      <a:pt x="312" y="5"/>
                    </a:lnTo>
                    <a:lnTo>
                      <a:pt x="314" y="4"/>
                    </a:lnTo>
                    <a:lnTo>
                      <a:pt x="315" y="3"/>
                    </a:lnTo>
                    <a:lnTo>
                      <a:pt x="317" y="1"/>
                    </a:lnTo>
                    <a:lnTo>
                      <a:pt x="320" y="1"/>
                    </a:lnTo>
                    <a:lnTo>
                      <a:pt x="320" y="0"/>
                    </a:lnTo>
                    <a:lnTo>
                      <a:pt x="323" y="0"/>
                    </a:lnTo>
                    <a:lnTo>
                      <a:pt x="324" y="1"/>
                    </a:lnTo>
                    <a:lnTo>
                      <a:pt x="325" y="1"/>
                    </a:lnTo>
                    <a:lnTo>
                      <a:pt x="328" y="1"/>
                    </a:lnTo>
                    <a:lnTo>
                      <a:pt x="330" y="1"/>
                    </a:lnTo>
                    <a:lnTo>
                      <a:pt x="331" y="1"/>
                    </a:lnTo>
                    <a:lnTo>
                      <a:pt x="333" y="3"/>
                    </a:lnTo>
                    <a:lnTo>
                      <a:pt x="337" y="5"/>
                    </a:lnTo>
                    <a:lnTo>
                      <a:pt x="339" y="4"/>
                    </a:lnTo>
                    <a:lnTo>
                      <a:pt x="340" y="3"/>
                    </a:lnTo>
                    <a:lnTo>
                      <a:pt x="344" y="3"/>
                    </a:lnTo>
                    <a:lnTo>
                      <a:pt x="346" y="3"/>
                    </a:lnTo>
                    <a:lnTo>
                      <a:pt x="347" y="5"/>
                    </a:lnTo>
                    <a:lnTo>
                      <a:pt x="349" y="7"/>
                    </a:lnTo>
                    <a:lnTo>
                      <a:pt x="349" y="13"/>
                    </a:lnTo>
                    <a:lnTo>
                      <a:pt x="350" y="16"/>
                    </a:lnTo>
                    <a:lnTo>
                      <a:pt x="353" y="17"/>
                    </a:lnTo>
                    <a:lnTo>
                      <a:pt x="352" y="20"/>
                    </a:lnTo>
                    <a:lnTo>
                      <a:pt x="352" y="24"/>
                    </a:lnTo>
                    <a:lnTo>
                      <a:pt x="349" y="27"/>
                    </a:lnTo>
                    <a:lnTo>
                      <a:pt x="350" y="29"/>
                    </a:lnTo>
                    <a:lnTo>
                      <a:pt x="352" y="32"/>
                    </a:lnTo>
                    <a:lnTo>
                      <a:pt x="354" y="30"/>
                    </a:lnTo>
                    <a:lnTo>
                      <a:pt x="357" y="32"/>
                    </a:lnTo>
                    <a:lnTo>
                      <a:pt x="359" y="32"/>
                    </a:lnTo>
                    <a:lnTo>
                      <a:pt x="360" y="29"/>
                    </a:lnTo>
                    <a:lnTo>
                      <a:pt x="362" y="29"/>
                    </a:lnTo>
                    <a:lnTo>
                      <a:pt x="363" y="29"/>
                    </a:lnTo>
                    <a:lnTo>
                      <a:pt x="365" y="26"/>
                    </a:lnTo>
                    <a:lnTo>
                      <a:pt x="366" y="26"/>
                    </a:lnTo>
                    <a:lnTo>
                      <a:pt x="368" y="30"/>
                    </a:lnTo>
                    <a:lnTo>
                      <a:pt x="369" y="32"/>
                    </a:lnTo>
                    <a:lnTo>
                      <a:pt x="368" y="35"/>
                    </a:lnTo>
                    <a:lnTo>
                      <a:pt x="372" y="36"/>
                    </a:lnTo>
                    <a:lnTo>
                      <a:pt x="372" y="33"/>
                    </a:lnTo>
                    <a:lnTo>
                      <a:pt x="370" y="32"/>
                    </a:lnTo>
                    <a:lnTo>
                      <a:pt x="372" y="32"/>
                    </a:lnTo>
                    <a:lnTo>
                      <a:pt x="376" y="32"/>
                    </a:lnTo>
                    <a:lnTo>
                      <a:pt x="382" y="36"/>
                    </a:lnTo>
                    <a:lnTo>
                      <a:pt x="384" y="36"/>
                    </a:lnTo>
                    <a:lnTo>
                      <a:pt x="385" y="35"/>
                    </a:lnTo>
                    <a:lnTo>
                      <a:pt x="386" y="33"/>
                    </a:lnTo>
                    <a:lnTo>
                      <a:pt x="388" y="35"/>
                    </a:lnTo>
                    <a:lnTo>
                      <a:pt x="386" y="37"/>
                    </a:lnTo>
                    <a:lnTo>
                      <a:pt x="385" y="37"/>
                    </a:lnTo>
                    <a:lnTo>
                      <a:pt x="384" y="39"/>
                    </a:lnTo>
                    <a:lnTo>
                      <a:pt x="382" y="40"/>
                    </a:lnTo>
                    <a:lnTo>
                      <a:pt x="382" y="43"/>
                    </a:lnTo>
                    <a:lnTo>
                      <a:pt x="382" y="45"/>
                    </a:lnTo>
                    <a:lnTo>
                      <a:pt x="384" y="46"/>
                    </a:lnTo>
                    <a:lnTo>
                      <a:pt x="385" y="46"/>
                    </a:lnTo>
                    <a:lnTo>
                      <a:pt x="386" y="45"/>
                    </a:lnTo>
                    <a:lnTo>
                      <a:pt x="391" y="43"/>
                    </a:lnTo>
                    <a:lnTo>
                      <a:pt x="392" y="45"/>
                    </a:lnTo>
                    <a:lnTo>
                      <a:pt x="394" y="45"/>
                    </a:lnTo>
                    <a:lnTo>
                      <a:pt x="395" y="46"/>
                    </a:lnTo>
                    <a:lnTo>
                      <a:pt x="398" y="46"/>
                    </a:lnTo>
                    <a:lnTo>
                      <a:pt x="397" y="43"/>
                    </a:lnTo>
                    <a:lnTo>
                      <a:pt x="398" y="42"/>
                    </a:lnTo>
                    <a:lnTo>
                      <a:pt x="401" y="42"/>
                    </a:lnTo>
                    <a:lnTo>
                      <a:pt x="404" y="39"/>
                    </a:lnTo>
                    <a:lnTo>
                      <a:pt x="407" y="37"/>
                    </a:lnTo>
                    <a:lnTo>
                      <a:pt x="411" y="35"/>
                    </a:lnTo>
                    <a:lnTo>
                      <a:pt x="413" y="32"/>
                    </a:lnTo>
                    <a:lnTo>
                      <a:pt x="414" y="30"/>
                    </a:lnTo>
                    <a:lnTo>
                      <a:pt x="415" y="30"/>
                    </a:lnTo>
                    <a:lnTo>
                      <a:pt x="421" y="29"/>
                    </a:lnTo>
                    <a:lnTo>
                      <a:pt x="423" y="27"/>
                    </a:lnTo>
                    <a:lnTo>
                      <a:pt x="427" y="26"/>
                    </a:lnTo>
                    <a:lnTo>
                      <a:pt x="431" y="24"/>
                    </a:lnTo>
                    <a:lnTo>
                      <a:pt x="431" y="26"/>
                    </a:lnTo>
                    <a:lnTo>
                      <a:pt x="431" y="29"/>
                    </a:lnTo>
                    <a:lnTo>
                      <a:pt x="431" y="30"/>
                    </a:lnTo>
                    <a:lnTo>
                      <a:pt x="429" y="30"/>
                    </a:lnTo>
                    <a:lnTo>
                      <a:pt x="427" y="30"/>
                    </a:lnTo>
                    <a:lnTo>
                      <a:pt x="426" y="33"/>
                    </a:lnTo>
                    <a:lnTo>
                      <a:pt x="427" y="35"/>
                    </a:lnTo>
                    <a:lnTo>
                      <a:pt x="429" y="35"/>
                    </a:lnTo>
                    <a:lnTo>
                      <a:pt x="447" y="52"/>
                    </a:lnTo>
                    <a:lnTo>
                      <a:pt x="478" y="109"/>
                    </a:lnTo>
                    <a:lnTo>
                      <a:pt x="482" y="106"/>
                    </a:lnTo>
                    <a:lnTo>
                      <a:pt x="482" y="104"/>
                    </a:lnTo>
                    <a:lnTo>
                      <a:pt x="482" y="103"/>
                    </a:lnTo>
                    <a:lnTo>
                      <a:pt x="485" y="98"/>
                    </a:lnTo>
                    <a:lnTo>
                      <a:pt x="488" y="98"/>
                    </a:lnTo>
                    <a:lnTo>
                      <a:pt x="488" y="100"/>
                    </a:lnTo>
                    <a:lnTo>
                      <a:pt x="491" y="101"/>
                    </a:lnTo>
                    <a:lnTo>
                      <a:pt x="494" y="103"/>
                    </a:lnTo>
                    <a:lnTo>
                      <a:pt x="494" y="104"/>
                    </a:lnTo>
                    <a:lnTo>
                      <a:pt x="494" y="107"/>
                    </a:lnTo>
                    <a:lnTo>
                      <a:pt x="495" y="107"/>
                    </a:lnTo>
                    <a:lnTo>
                      <a:pt x="497" y="110"/>
                    </a:lnTo>
                    <a:lnTo>
                      <a:pt x="504" y="110"/>
                    </a:lnTo>
                    <a:lnTo>
                      <a:pt x="508" y="112"/>
                    </a:lnTo>
                    <a:lnTo>
                      <a:pt x="510" y="110"/>
                    </a:lnTo>
                    <a:lnTo>
                      <a:pt x="514" y="110"/>
                    </a:lnTo>
                    <a:lnTo>
                      <a:pt x="514" y="109"/>
                    </a:lnTo>
                    <a:lnTo>
                      <a:pt x="516" y="107"/>
                    </a:lnTo>
                    <a:lnTo>
                      <a:pt x="519" y="107"/>
                    </a:lnTo>
                    <a:lnTo>
                      <a:pt x="520" y="107"/>
                    </a:lnTo>
                    <a:lnTo>
                      <a:pt x="521" y="106"/>
                    </a:lnTo>
                    <a:lnTo>
                      <a:pt x="523" y="104"/>
                    </a:lnTo>
                    <a:lnTo>
                      <a:pt x="527" y="106"/>
                    </a:lnTo>
                    <a:lnTo>
                      <a:pt x="529" y="106"/>
                    </a:lnTo>
                    <a:lnTo>
                      <a:pt x="530" y="109"/>
                    </a:lnTo>
                    <a:lnTo>
                      <a:pt x="532" y="109"/>
                    </a:lnTo>
                    <a:lnTo>
                      <a:pt x="535" y="113"/>
                    </a:lnTo>
                    <a:lnTo>
                      <a:pt x="536" y="113"/>
                    </a:lnTo>
                    <a:lnTo>
                      <a:pt x="537" y="114"/>
                    </a:lnTo>
                    <a:lnTo>
                      <a:pt x="536" y="117"/>
                    </a:lnTo>
                    <a:lnTo>
                      <a:pt x="536" y="119"/>
                    </a:lnTo>
                    <a:lnTo>
                      <a:pt x="537" y="122"/>
                    </a:lnTo>
                    <a:lnTo>
                      <a:pt x="540" y="122"/>
                    </a:lnTo>
                    <a:lnTo>
                      <a:pt x="546" y="125"/>
                    </a:lnTo>
                    <a:lnTo>
                      <a:pt x="546" y="126"/>
                    </a:lnTo>
                    <a:lnTo>
                      <a:pt x="546" y="129"/>
                    </a:lnTo>
                    <a:lnTo>
                      <a:pt x="548" y="129"/>
                    </a:lnTo>
                    <a:lnTo>
                      <a:pt x="549" y="130"/>
                    </a:lnTo>
                    <a:lnTo>
                      <a:pt x="552" y="135"/>
                    </a:lnTo>
                    <a:lnTo>
                      <a:pt x="553" y="135"/>
                    </a:lnTo>
                    <a:lnTo>
                      <a:pt x="558" y="136"/>
                    </a:lnTo>
                    <a:lnTo>
                      <a:pt x="559" y="138"/>
                    </a:lnTo>
                    <a:lnTo>
                      <a:pt x="565" y="138"/>
                    </a:lnTo>
                    <a:lnTo>
                      <a:pt x="566" y="136"/>
                    </a:lnTo>
                    <a:lnTo>
                      <a:pt x="568" y="135"/>
                    </a:lnTo>
                    <a:lnTo>
                      <a:pt x="571" y="133"/>
                    </a:lnTo>
                    <a:lnTo>
                      <a:pt x="572" y="135"/>
                    </a:lnTo>
                    <a:lnTo>
                      <a:pt x="572" y="138"/>
                    </a:lnTo>
                    <a:lnTo>
                      <a:pt x="575" y="138"/>
                    </a:lnTo>
                    <a:lnTo>
                      <a:pt x="577" y="142"/>
                    </a:lnTo>
                    <a:lnTo>
                      <a:pt x="578" y="143"/>
                    </a:lnTo>
                    <a:lnTo>
                      <a:pt x="580" y="145"/>
                    </a:lnTo>
                    <a:lnTo>
                      <a:pt x="577" y="152"/>
                    </a:lnTo>
                    <a:lnTo>
                      <a:pt x="577" y="152"/>
                    </a:lnTo>
                    <a:lnTo>
                      <a:pt x="574" y="157"/>
                    </a:lnTo>
                    <a:lnTo>
                      <a:pt x="569" y="161"/>
                    </a:lnTo>
                    <a:lnTo>
                      <a:pt x="564" y="162"/>
                    </a:lnTo>
                    <a:lnTo>
                      <a:pt x="559" y="162"/>
                    </a:lnTo>
                    <a:lnTo>
                      <a:pt x="558" y="168"/>
                    </a:lnTo>
                    <a:lnTo>
                      <a:pt x="556" y="190"/>
                    </a:lnTo>
                    <a:lnTo>
                      <a:pt x="549" y="191"/>
                    </a:lnTo>
                    <a:lnTo>
                      <a:pt x="546" y="194"/>
                    </a:lnTo>
                    <a:lnTo>
                      <a:pt x="540" y="190"/>
                    </a:lnTo>
                    <a:lnTo>
                      <a:pt x="532" y="191"/>
                    </a:lnTo>
                    <a:lnTo>
                      <a:pt x="527" y="190"/>
                    </a:lnTo>
                    <a:lnTo>
                      <a:pt x="524" y="189"/>
                    </a:lnTo>
                    <a:lnTo>
                      <a:pt x="519" y="187"/>
                    </a:lnTo>
                    <a:lnTo>
                      <a:pt x="508" y="219"/>
                    </a:lnTo>
                    <a:lnTo>
                      <a:pt x="510" y="226"/>
                    </a:lnTo>
                    <a:lnTo>
                      <a:pt x="508" y="228"/>
                    </a:lnTo>
                    <a:lnTo>
                      <a:pt x="478" y="234"/>
                    </a:lnTo>
                    <a:lnTo>
                      <a:pt x="476" y="235"/>
                    </a:lnTo>
                    <a:lnTo>
                      <a:pt x="478" y="238"/>
                    </a:lnTo>
                    <a:lnTo>
                      <a:pt x="487" y="266"/>
                    </a:lnTo>
                    <a:lnTo>
                      <a:pt x="487" y="268"/>
                    </a:lnTo>
                    <a:lnTo>
                      <a:pt x="482" y="271"/>
                    </a:lnTo>
                    <a:lnTo>
                      <a:pt x="484" y="274"/>
                    </a:lnTo>
                    <a:lnTo>
                      <a:pt x="481" y="277"/>
                    </a:lnTo>
                    <a:lnTo>
                      <a:pt x="481" y="280"/>
                    </a:lnTo>
                    <a:lnTo>
                      <a:pt x="481" y="284"/>
                    </a:lnTo>
                    <a:lnTo>
                      <a:pt x="479" y="284"/>
                    </a:lnTo>
                    <a:lnTo>
                      <a:pt x="474" y="282"/>
                    </a:lnTo>
                    <a:lnTo>
                      <a:pt x="469" y="280"/>
                    </a:lnTo>
                    <a:lnTo>
                      <a:pt x="466" y="276"/>
                    </a:lnTo>
                    <a:lnTo>
                      <a:pt x="458" y="274"/>
                    </a:lnTo>
                    <a:lnTo>
                      <a:pt x="456" y="274"/>
                    </a:lnTo>
                    <a:lnTo>
                      <a:pt x="439" y="273"/>
                    </a:lnTo>
                    <a:lnTo>
                      <a:pt x="436" y="271"/>
                    </a:lnTo>
                    <a:lnTo>
                      <a:pt x="433" y="271"/>
                    </a:lnTo>
                    <a:lnTo>
                      <a:pt x="430" y="273"/>
                    </a:lnTo>
                    <a:lnTo>
                      <a:pt x="408" y="273"/>
                    </a:lnTo>
                    <a:lnTo>
                      <a:pt x="407" y="271"/>
                    </a:lnTo>
                    <a:lnTo>
                      <a:pt x="404" y="271"/>
                    </a:lnTo>
                    <a:lnTo>
                      <a:pt x="401" y="271"/>
                    </a:lnTo>
                    <a:lnTo>
                      <a:pt x="394" y="267"/>
                    </a:lnTo>
                    <a:lnTo>
                      <a:pt x="391" y="268"/>
                    </a:lnTo>
                    <a:lnTo>
                      <a:pt x="389" y="268"/>
                    </a:lnTo>
                    <a:lnTo>
                      <a:pt x="388" y="268"/>
                    </a:lnTo>
                    <a:lnTo>
                      <a:pt x="384" y="271"/>
                    </a:lnTo>
                    <a:lnTo>
                      <a:pt x="384" y="274"/>
                    </a:lnTo>
                    <a:lnTo>
                      <a:pt x="384" y="276"/>
                    </a:lnTo>
                    <a:lnTo>
                      <a:pt x="382" y="280"/>
                    </a:lnTo>
                    <a:lnTo>
                      <a:pt x="381" y="282"/>
                    </a:lnTo>
                    <a:lnTo>
                      <a:pt x="359" y="276"/>
                    </a:lnTo>
                    <a:lnTo>
                      <a:pt x="357" y="276"/>
                    </a:lnTo>
                    <a:lnTo>
                      <a:pt x="356" y="274"/>
                    </a:lnTo>
                    <a:lnTo>
                      <a:pt x="349" y="276"/>
                    </a:lnTo>
                    <a:lnTo>
                      <a:pt x="349" y="279"/>
                    </a:lnTo>
                    <a:lnTo>
                      <a:pt x="349" y="280"/>
                    </a:lnTo>
                    <a:lnTo>
                      <a:pt x="343" y="289"/>
                    </a:lnTo>
                    <a:lnTo>
                      <a:pt x="341" y="289"/>
                    </a:lnTo>
                    <a:lnTo>
                      <a:pt x="340" y="289"/>
                    </a:lnTo>
                    <a:lnTo>
                      <a:pt x="339" y="293"/>
                    </a:lnTo>
                    <a:lnTo>
                      <a:pt x="336" y="295"/>
                    </a:lnTo>
                    <a:lnTo>
                      <a:pt x="327" y="299"/>
                    </a:lnTo>
                    <a:lnTo>
                      <a:pt x="325" y="300"/>
                    </a:lnTo>
                    <a:lnTo>
                      <a:pt x="321" y="302"/>
                    </a:lnTo>
                    <a:lnTo>
                      <a:pt x="320" y="306"/>
                    </a:lnTo>
                    <a:lnTo>
                      <a:pt x="317" y="309"/>
                    </a:lnTo>
                    <a:lnTo>
                      <a:pt x="305" y="303"/>
                    </a:lnTo>
                    <a:lnTo>
                      <a:pt x="291" y="305"/>
                    </a:lnTo>
                    <a:lnTo>
                      <a:pt x="288" y="293"/>
                    </a:lnTo>
                    <a:lnTo>
                      <a:pt x="279" y="292"/>
                    </a:lnTo>
                    <a:lnTo>
                      <a:pt x="279" y="284"/>
                    </a:lnTo>
                    <a:lnTo>
                      <a:pt x="280" y="284"/>
                    </a:lnTo>
                    <a:lnTo>
                      <a:pt x="280" y="273"/>
                    </a:lnTo>
                    <a:lnTo>
                      <a:pt x="278" y="273"/>
                    </a:lnTo>
                    <a:lnTo>
                      <a:pt x="273" y="264"/>
                    </a:lnTo>
                    <a:lnTo>
                      <a:pt x="263" y="257"/>
                    </a:lnTo>
                    <a:lnTo>
                      <a:pt x="259" y="258"/>
                    </a:lnTo>
                    <a:lnTo>
                      <a:pt x="221" y="261"/>
                    </a:lnTo>
                    <a:lnTo>
                      <a:pt x="172" y="219"/>
                    </a:lnTo>
                    <a:lnTo>
                      <a:pt x="135" y="23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38" name="Freeform 1316"/>
              <p:cNvSpPr>
                <a:spLocks/>
              </p:cNvSpPr>
              <p:nvPr/>
            </p:nvSpPr>
            <p:spPr bwMode="auto">
              <a:xfrm>
                <a:off x="6725530" y="2287874"/>
                <a:ext cx="531947" cy="321480"/>
              </a:xfrm>
              <a:custGeom>
                <a:avLst/>
                <a:gdLst/>
                <a:ahLst/>
                <a:cxnLst>
                  <a:cxn ang="0">
                    <a:pos x="118" y="289"/>
                  </a:cxn>
                  <a:cxn ang="0">
                    <a:pos x="87" y="276"/>
                  </a:cxn>
                  <a:cxn ang="0">
                    <a:pos x="63" y="251"/>
                  </a:cxn>
                  <a:cxn ang="0">
                    <a:pos x="71" y="241"/>
                  </a:cxn>
                  <a:cxn ang="0">
                    <a:pos x="79" y="226"/>
                  </a:cxn>
                  <a:cxn ang="0">
                    <a:pos x="111" y="229"/>
                  </a:cxn>
                  <a:cxn ang="0">
                    <a:pos x="109" y="213"/>
                  </a:cxn>
                  <a:cxn ang="0">
                    <a:pos x="96" y="194"/>
                  </a:cxn>
                  <a:cxn ang="0">
                    <a:pos x="54" y="194"/>
                  </a:cxn>
                  <a:cxn ang="0">
                    <a:pos x="23" y="202"/>
                  </a:cxn>
                  <a:cxn ang="0">
                    <a:pos x="28" y="181"/>
                  </a:cxn>
                  <a:cxn ang="0">
                    <a:pos x="9" y="171"/>
                  </a:cxn>
                  <a:cxn ang="0">
                    <a:pos x="7" y="145"/>
                  </a:cxn>
                  <a:cxn ang="0">
                    <a:pos x="12" y="119"/>
                  </a:cxn>
                  <a:cxn ang="0">
                    <a:pos x="29" y="113"/>
                  </a:cxn>
                  <a:cxn ang="0">
                    <a:pos x="50" y="98"/>
                  </a:cxn>
                  <a:cxn ang="0">
                    <a:pos x="67" y="88"/>
                  </a:cxn>
                  <a:cxn ang="0">
                    <a:pos x="82" y="87"/>
                  </a:cxn>
                  <a:cxn ang="0">
                    <a:pos x="102" y="94"/>
                  </a:cxn>
                  <a:cxn ang="0">
                    <a:pos x="116" y="113"/>
                  </a:cxn>
                  <a:cxn ang="0">
                    <a:pos x="124" y="110"/>
                  </a:cxn>
                  <a:cxn ang="0">
                    <a:pos x="145" y="106"/>
                  </a:cxn>
                  <a:cxn ang="0">
                    <a:pos x="167" y="101"/>
                  </a:cxn>
                  <a:cxn ang="0">
                    <a:pos x="185" y="114"/>
                  </a:cxn>
                  <a:cxn ang="0">
                    <a:pos x="212" y="109"/>
                  </a:cxn>
                  <a:cxn ang="0">
                    <a:pos x="193" y="84"/>
                  </a:cxn>
                  <a:cxn ang="0">
                    <a:pos x="204" y="64"/>
                  </a:cxn>
                  <a:cxn ang="0">
                    <a:pos x="218" y="52"/>
                  </a:cxn>
                  <a:cxn ang="0">
                    <a:pos x="211" y="45"/>
                  </a:cxn>
                  <a:cxn ang="0">
                    <a:pos x="214" y="33"/>
                  </a:cxn>
                  <a:cxn ang="0">
                    <a:pos x="233" y="33"/>
                  </a:cxn>
                  <a:cxn ang="0">
                    <a:pos x="250" y="27"/>
                  </a:cxn>
                  <a:cxn ang="0">
                    <a:pos x="267" y="20"/>
                  </a:cxn>
                  <a:cxn ang="0">
                    <a:pos x="307" y="11"/>
                  </a:cxn>
                  <a:cxn ang="0">
                    <a:pos x="320" y="1"/>
                  </a:cxn>
                  <a:cxn ang="0">
                    <a:pos x="333" y="3"/>
                  </a:cxn>
                  <a:cxn ang="0">
                    <a:pos x="349" y="13"/>
                  </a:cxn>
                  <a:cxn ang="0">
                    <a:pos x="354" y="30"/>
                  </a:cxn>
                  <a:cxn ang="0">
                    <a:pos x="368" y="30"/>
                  </a:cxn>
                  <a:cxn ang="0">
                    <a:pos x="382" y="36"/>
                  </a:cxn>
                  <a:cxn ang="0">
                    <a:pos x="382" y="40"/>
                  </a:cxn>
                  <a:cxn ang="0">
                    <a:pos x="394" y="45"/>
                  </a:cxn>
                  <a:cxn ang="0">
                    <a:pos x="411" y="35"/>
                  </a:cxn>
                  <a:cxn ang="0">
                    <a:pos x="431" y="26"/>
                  </a:cxn>
                  <a:cxn ang="0">
                    <a:pos x="447" y="52"/>
                  </a:cxn>
                  <a:cxn ang="0">
                    <a:pos x="491" y="101"/>
                  </a:cxn>
                  <a:cxn ang="0">
                    <a:pos x="510" y="110"/>
                  </a:cxn>
                  <a:cxn ang="0">
                    <a:pos x="527" y="106"/>
                  </a:cxn>
                  <a:cxn ang="0">
                    <a:pos x="536" y="119"/>
                  </a:cxn>
                  <a:cxn ang="0">
                    <a:pos x="552" y="135"/>
                  </a:cxn>
                  <a:cxn ang="0">
                    <a:pos x="572" y="135"/>
                  </a:cxn>
                  <a:cxn ang="0">
                    <a:pos x="574" y="157"/>
                  </a:cxn>
                  <a:cxn ang="0">
                    <a:pos x="540" y="190"/>
                  </a:cxn>
                  <a:cxn ang="0">
                    <a:pos x="478" y="234"/>
                  </a:cxn>
                  <a:cxn ang="0">
                    <a:pos x="481" y="280"/>
                  </a:cxn>
                  <a:cxn ang="0">
                    <a:pos x="439" y="273"/>
                  </a:cxn>
                  <a:cxn ang="0">
                    <a:pos x="394" y="267"/>
                  </a:cxn>
                  <a:cxn ang="0">
                    <a:pos x="381" y="282"/>
                  </a:cxn>
                  <a:cxn ang="0">
                    <a:pos x="341" y="289"/>
                  </a:cxn>
                  <a:cxn ang="0">
                    <a:pos x="317" y="309"/>
                  </a:cxn>
                  <a:cxn ang="0">
                    <a:pos x="278" y="273"/>
                  </a:cxn>
                </a:cxnLst>
                <a:rect l="0" t="0" r="r" b="b"/>
                <a:pathLst>
                  <a:path w="580" h="309">
                    <a:moveTo>
                      <a:pt x="135" y="232"/>
                    </a:moveTo>
                    <a:lnTo>
                      <a:pt x="135" y="303"/>
                    </a:lnTo>
                    <a:lnTo>
                      <a:pt x="132" y="305"/>
                    </a:lnTo>
                    <a:lnTo>
                      <a:pt x="127" y="303"/>
                    </a:lnTo>
                    <a:lnTo>
                      <a:pt x="125" y="302"/>
                    </a:lnTo>
                    <a:lnTo>
                      <a:pt x="121" y="295"/>
                    </a:lnTo>
                    <a:lnTo>
                      <a:pt x="119" y="293"/>
                    </a:lnTo>
                    <a:lnTo>
                      <a:pt x="118" y="289"/>
                    </a:lnTo>
                    <a:lnTo>
                      <a:pt x="116" y="287"/>
                    </a:lnTo>
                    <a:lnTo>
                      <a:pt x="109" y="283"/>
                    </a:lnTo>
                    <a:lnTo>
                      <a:pt x="108" y="283"/>
                    </a:lnTo>
                    <a:lnTo>
                      <a:pt x="93" y="287"/>
                    </a:lnTo>
                    <a:lnTo>
                      <a:pt x="84" y="295"/>
                    </a:lnTo>
                    <a:lnTo>
                      <a:pt x="84" y="284"/>
                    </a:lnTo>
                    <a:lnTo>
                      <a:pt x="87" y="282"/>
                    </a:lnTo>
                    <a:lnTo>
                      <a:pt x="87" y="276"/>
                    </a:lnTo>
                    <a:lnTo>
                      <a:pt x="84" y="274"/>
                    </a:lnTo>
                    <a:lnTo>
                      <a:pt x="82" y="274"/>
                    </a:lnTo>
                    <a:lnTo>
                      <a:pt x="76" y="271"/>
                    </a:lnTo>
                    <a:lnTo>
                      <a:pt x="74" y="268"/>
                    </a:lnTo>
                    <a:lnTo>
                      <a:pt x="68" y="268"/>
                    </a:lnTo>
                    <a:lnTo>
                      <a:pt x="68" y="258"/>
                    </a:lnTo>
                    <a:lnTo>
                      <a:pt x="64" y="252"/>
                    </a:lnTo>
                    <a:lnTo>
                      <a:pt x="63" y="251"/>
                    </a:lnTo>
                    <a:lnTo>
                      <a:pt x="61" y="248"/>
                    </a:lnTo>
                    <a:lnTo>
                      <a:pt x="55" y="245"/>
                    </a:lnTo>
                    <a:lnTo>
                      <a:pt x="53" y="241"/>
                    </a:lnTo>
                    <a:lnTo>
                      <a:pt x="54" y="239"/>
                    </a:lnTo>
                    <a:lnTo>
                      <a:pt x="58" y="239"/>
                    </a:lnTo>
                    <a:lnTo>
                      <a:pt x="66" y="241"/>
                    </a:lnTo>
                    <a:lnTo>
                      <a:pt x="67" y="241"/>
                    </a:lnTo>
                    <a:lnTo>
                      <a:pt x="71" y="241"/>
                    </a:lnTo>
                    <a:lnTo>
                      <a:pt x="68" y="236"/>
                    </a:lnTo>
                    <a:lnTo>
                      <a:pt x="68" y="232"/>
                    </a:lnTo>
                    <a:lnTo>
                      <a:pt x="70" y="229"/>
                    </a:lnTo>
                    <a:lnTo>
                      <a:pt x="73" y="228"/>
                    </a:lnTo>
                    <a:lnTo>
                      <a:pt x="73" y="229"/>
                    </a:lnTo>
                    <a:lnTo>
                      <a:pt x="76" y="229"/>
                    </a:lnTo>
                    <a:lnTo>
                      <a:pt x="79" y="229"/>
                    </a:lnTo>
                    <a:lnTo>
                      <a:pt x="79" y="226"/>
                    </a:lnTo>
                    <a:lnTo>
                      <a:pt x="82" y="223"/>
                    </a:lnTo>
                    <a:lnTo>
                      <a:pt x="86" y="223"/>
                    </a:lnTo>
                    <a:lnTo>
                      <a:pt x="95" y="228"/>
                    </a:lnTo>
                    <a:lnTo>
                      <a:pt x="98" y="226"/>
                    </a:lnTo>
                    <a:lnTo>
                      <a:pt x="100" y="225"/>
                    </a:lnTo>
                    <a:lnTo>
                      <a:pt x="102" y="225"/>
                    </a:lnTo>
                    <a:lnTo>
                      <a:pt x="103" y="226"/>
                    </a:lnTo>
                    <a:lnTo>
                      <a:pt x="111" y="229"/>
                    </a:lnTo>
                    <a:lnTo>
                      <a:pt x="113" y="229"/>
                    </a:lnTo>
                    <a:lnTo>
                      <a:pt x="116" y="229"/>
                    </a:lnTo>
                    <a:lnTo>
                      <a:pt x="118" y="228"/>
                    </a:lnTo>
                    <a:lnTo>
                      <a:pt x="115" y="225"/>
                    </a:lnTo>
                    <a:lnTo>
                      <a:pt x="118" y="225"/>
                    </a:lnTo>
                    <a:lnTo>
                      <a:pt x="113" y="218"/>
                    </a:lnTo>
                    <a:lnTo>
                      <a:pt x="111" y="216"/>
                    </a:lnTo>
                    <a:lnTo>
                      <a:pt x="109" y="213"/>
                    </a:lnTo>
                    <a:lnTo>
                      <a:pt x="106" y="213"/>
                    </a:lnTo>
                    <a:lnTo>
                      <a:pt x="103" y="209"/>
                    </a:lnTo>
                    <a:lnTo>
                      <a:pt x="102" y="203"/>
                    </a:lnTo>
                    <a:lnTo>
                      <a:pt x="100" y="200"/>
                    </a:lnTo>
                    <a:lnTo>
                      <a:pt x="100" y="202"/>
                    </a:lnTo>
                    <a:lnTo>
                      <a:pt x="98" y="197"/>
                    </a:lnTo>
                    <a:lnTo>
                      <a:pt x="96" y="197"/>
                    </a:lnTo>
                    <a:lnTo>
                      <a:pt x="96" y="194"/>
                    </a:lnTo>
                    <a:lnTo>
                      <a:pt x="90" y="190"/>
                    </a:lnTo>
                    <a:lnTo>
                      <a:pt x="87" y="189"/>
                    </a:lnTo>
                    <a:lnTo>
                      <a:pt x="87" y="187"/>
                    </a:lnTo>
                    <a:lnTo>
                      <a:pt x="84" y="187"/>
                    </a:lnTo>
                    <a:lnTo>
                      <a:pt x="76" y="190"/>
                    </a:lnTo>
                    <a:lnTo>
                      <a:pt x="76" y="187"/>
                    </a:lnTo>
                    <a:lnTo>
                      <a:pt x="64" y="186"/>
                    </a:lnTo>
                    <a:lnTo>
                      <a:pt x="54" y="194"/>
                    </a:lnTo>
                    <a:lnTo>
                      <a:pt x="31" y="200"/>
                    </a:lnTo>
                    <a:lnTo>
                      <a:pt x="37" y="203"/>
                    </a:lnTo>
                    <a:lnTo>
                      <a:pt x="32" y="206"/>
                    </a:lnTo>
                    <a:lnTo>
                      <a:pt x="29" y="205"/>
                    </a:lnTo>
                    <a:lnTo>
                      <a:pt x="29" y="203"/>
                    </a:lnTo>
                    <a:lnTo>
                      <a:pt x="26" y="203"/>
                    </a:lnTo>
                    <a:lnTo>
                      <a:pt x="25" y="203"/>
                    </a:lnTo>
                    <a:lnTo>
                      <a:pt x="23" y="202"/>
                    </a:lnTo>
                    <a:lnTo>
                      <a:pt x="22" y="200"/>
                    </a:lnTo>
                    <a:lnTo>
                      <a:pt x="23" y="199"/>
                    </a:lnTo>
                    <a:lnTo>
                      <a:pt x="23" y="196"/>
                    </a:lnTo>
                    <a:lnTo>
                      <a:pt x="26" y="196"/>
                    </a:lnTo>
                    <a:lnTo>
                      <a:pt x="28" y="197"/>
                    </a:lnTo>
                    <a:lnTo>
                      <a:pt x="32" y="196"/>
                    </a:lnTo>
                    <a:lnTo>
                      <a:pt x="29" y="181"/>
                    </a:lnTo>
                    <a:lnTo>
                      <a:pt x="28" y="181"/>
                    </a:lnTo>
                    <a:lnTo>
                      <a:pt x="26" y="180"/>
                    </a:lnTo>
                    <a:lnTo>
                      <a:pt x="25" y="177"/>
                    </a:lnTo>
                    <a:lnTo>
                      <a:pt x="23" y="174"/>
                    </a:lnTo>
                    <a:lnTo>
                      <a:pt x="16" y="174"/>
                    </a:lnTo>
                    <a:lnTo>
                      <a:pt x="13" y="174"/>
                    </a:lnTo>
                    <a:lnTo>
                      <a:pt x="13" y="175"/>
                    </a:lnTo>
                    <a:lnTo>
                      <a:pt x="9" y="173"/>
                    </a:lnTo>
                    <a:lnTo>
                      <a:pt x="9" y="171"/>
                    </a:lnTo>
                    <a:lnTo>
                      <a:pt x="9" y="168"/>
                    </a:lnTo>
                    <a:lnTo>
                      <a:pt x="9" y="167"/>
                    </a:lnTo>
                    <a:lnTo>
                      <a:pt x="9" y="165"/>
                    </a:lnTo>
                    <a:lnTo>
                      <a:pt x="7" y="164"/>
                    </a:lnTo>
                    <a:lnTo>
                      <a:pt x="0" y="161"/>
                    </a:lnTo>
                    <a:lnTo>
                      <a:pt x="3" y="149"/>
                    </a:lnTo>
                    <a:lnTo>
                      <a:pt x="7" y="148"/>
                    </a:lnTo>
                    <a:lnTo>
                      <a:pt x="7" y="145"/>
                    </a:lnTo>
                    <a:lnTo>
                      <a:pt x="7" y="143"/>
                    </a:lnTo>
                    <a:lnTo>
                      <a:pt x="5" y="141"/>
                    </a:lnTo>
                    <a:lnTo>
                      <a:pt x="7" y="129"/>
                    </a:lnTo>
                    <a:lnTo>
                      <a:pt x="10" y="128"/>
                    </a:lnTo>
                    <a:lnTo>
                      <a:pt x="12" y="125"/>
                    </a:lnTo>
                    <a:lnTo>
                      <a:pt x="12" y="123"/>
                    </a:lnTo>
                    <a:lnTo>
                      <a:pt x="12" y="120"/>
                    </a:lnTo>
                    <a:lnTo>
                      <a:pt x="12" y="119"/>
                    </a:lnTo>
                    <a:lnTo>
                      <a:pt x="15" y="116"/>
                    </a:lnTo>
                    <a:lnTo>
                      <a:pt x="16" y="116"/>
                    </a:lnTo>
                    <a:lnTo>
                      <a:pt x="18" y="119"/>
                    </a:lnTo>
                    <a:lnTo>
                      <a:pt x="21" y="122"/>
                    </a:lnTo>
                    <a:lnTo>
                      <a:pt x="25" y="130"/>
                    </a:lnTo>
                    <a:lnTo>
                      <a:pt x="26" y="132"/>
                    </a:lnTo>
                    <a:lnTo>
                      <a:pt x="34" y="126"/>
                    </a:lnTo>
                    <a:lnTo>
                      <a:pt x="29" y="113"/>
                    </a:lnTo>
                    <a:lnTo>
                      <a:pt x="31" y="113"/>
                    </a:lnTo>
                    <a:lnTo>
                      <a:pt x="41" y="107"/>
                    </a:lnTo>
                    <a:lnTo>
                      <a:pt x="41" y="106"/>
                    </a:lnTo>
                    <a:lnTo>
                      <a:pt x="41" y="101"/>
                    </a:lnTo>
                    <a:lnTo>
                      <a:pt x="44" y="101"/>
                    </a:lnTo>
                    <a:lnTo>
                      <a:pt x="45" y="101"/>
                    </a:lnTo>
                    <a:lnTo>
                      <a:pt x="48" y="100"/>
                    </a:lnTo>
                    <a:lnTo>
                      <a:pt x="50" y="98"/>
                    </a:lnTo>
                    <a:lnTo>
                      <a:pt x="53" y="97"/>
                    </a:lnTo>
                    <a:lnTo>
                      <a:pt x="54" y="96"/>
                    </a:lnTo>
                    <a:lnTo>
                      <a:pt x="55" y="94"/>
                    </a:lnTo>
                    <a:lnTo>
                      <a:pt x="57" y="93"/>
                    </a:lnTo>
                    <a:lnTo>
                      <a:pt x="58" y="91"/>
                    </a:lnTo>
                    <a:lnTo>
                      <a:pt x="60" y="90"/>
                    </a:lnTo>
                    <a:lnTo>
                      <a:pt x="63" y="88"/>
                    </a:lnTo>
                    <a:lnTo>
                      <a:pt x="67" y="88"/>
                    </a:lnTo>
                    <a:lnTo>
                      <a:pt x="68" y="93"/>
                    </a:lnTo>
                    <a:lnTo>
                      <a:pt x="73" y="91"/>
                    </a:lnTo>
                    <a:lnTo>
                      <a:pt x="74" y="93"/>
                    </a:lnTo>
                    <a:lnTo>
                      <a:pt x="76" y="91"/>
                    </a:lnTo>
                    <a:lnTo>
                      <a:pt x="76" y="90"/>
                    </a:lnTo>
                    <a:lnTo>
                      <a:pt x="77" y="87"/>
                    </a:lnTo>
                    <a:lnTo>
                      <a:pt x="80" y="88"/>
                    </a:lnTo>
                    <a:lnTo>
                      <a:pt x="82" y="87"/>
                    </a:lnTo>
                    <a:lnTo>
                      <a:pt x="83" y="87"/>
                    </a:lnTo>
                    <a:lnTo>
                      <a:pt x="84" y="91"/>
                    </a:lnTo>
                    <a:lnTo>
                      <a:pt x="86" y="93"/>
                    </a:lnTo>
                    <a:lnTo>
                      <a:pt x="90" y="91"/>
                    </a:lnTo>
                    <a:lnTo>
                      <a:pt x="92" y="93"/>
                    </a:lnTo>
                    <a:lnTo>
                      <a:pt x="96" y="91"/>
                    </a:lnTo>
                    <a:lnTo>
                      <a:pt x="99" y="91"/>
                    </a:lnTo>
                    <a:lnTo>
                      <a:pt x="102" y="94"/>
                    </a:lnTo>
                    <a:lnTo>
                      <a:pt x="103" y="98"/>
                    </a:lnTo>
                    <a:lnTo>
                      <a:pt x="109" y="101"/>
                    </a:lnTo>
                    <a:lnTo>
                      <a:pt x="109" y="103"/>
                    </a:lnTo>
                    <a:lnTo>
                      <a:pt x="111" y="104"/>
                    </a:lnTo>
                    <a:lnTo>
                      <a:pt x="113" y="109"/>
                    </a:lnTo>
                    <a:lnTo>
                      <a:pt x="113" y="112"/>
                    </a:lnTo>
                    <a:lnTo>
                      <a:pt x="115" y="114"/>
                    </a:lnTo>
                    <a:lnTo>
                      <a:pt x="116" y="113"/>
                    </a:lnTo>
                    <a:lnTo>
                      <a:pt x="116" y="107"/>
                    </a:lnTo>
                    <a:lnTo>
                      <a:pt x="115" y="106"/>
                    </a:lnTo>
                    <a:lnTo>
                      <a:pt x="116" y="104"/>
                    </a:lnTo>
                    <a:lnTo>
                      <a:pt x="119" y="103"/>
                    </a:lnTo>
                    <a:lnTo>
                      <a:pt x="119" y="106"/>
                    </a:lnTo>
                    <a:lnTo>
                      <a:pt x="121" y="107"/>
                    </a:lnTo>
                    <a:lnTo>
                      <a:pt x="122" y="109"/>
                    </a:lnTo>
                    <a:lnTo>
                      <a:pt x="124" y="110"/>
                    </a:lnTo>
                    <a:lnTo>
                      <a:pt x="131" y="113"/>
                    </a:lnTo>
                    <a:lnTo>
                      <a:pt x="134" y="113"/>
                    </a:lnTo>
                    <a:lnTo>
                      <a:pt x="138" y="109"/>
                    </a:lnTo>
                    <a:lnTo>
                      <a:pt x="138" y="107"/>
                    </a:lnTo>
                    <a:lnTo>
                      <a:pt x="140" y="106"/>
                    </a:lnTo>
                    <a:lnTo>
                      <a:pt x="141" y="106"/>
                    </a:lnTo>
                    <a:lnTo>
                      <a:pt x="144" y="104"/>
                    </a:lnTo>
                    <a:lnTo>
                      <a:pt x="145" y="106"/>
                    </a:lnTo>
                    <a:lnTo>
                      <a:pt x="145" y="103"/>
                    </a:lnTo>
                    <a:lnTo>
                      <a:pt x="150" y="104"/>
                    </a:lnTo>
                    <a:lnTo>
                      <a:pt x="151" y="103"/>
                    </a:lnTo>
                    <a:lnTo>
                      <a:pt x="157" y="107"/>
                    </a:lnTo>
                    <a:lnTo>
                      <a:pt x="160" y="104"/>
                    </a:lnTo>
                    <a:lnTo>
                      <a:pt x="161" y="103"/>
                    </a:lnTo>
                    <a:lnTo>
                      <a:pt x="166" y="103"/>
                    </a:lnTo>
                    <a:lnTo>
                      <a:pt x="167" y="101"/>
                    </a:lnTo>
                    <a:lnTo>
                      <a:pt x="172" y="103"/>
                    </a:lnTo>
                    <a:lnTo>
                      <a:pt x="173" y="104"/>
                    </a:lnTo>
                    <a:lnTo>
                      <a:pt x="173" y="109"/>
                    </a:lnTo>
                    <a:lnTo>
                      <a:pt x="176" y="112"/>
                    </a:lnTo>
                    <a:lnTo>
                      <a:pt x="180" y="112"/>
                    </a:lnTo>
                    <a:lnTo>
                      <a:pt x="183" y="113"/>
                    </a:lnTo>
                    <a:lnTo>
                      <a:pt x="183" y="113"/>
                    </a:lnTo>
                    <a:lnTo>
                      <a:pt x="185" y="114"/>
                    </a:lnTo>
                    <a:lnTo>
                      <a:pt x="189" y="114"/>
                    </a:lnTo>
                    <a:lnTo>
                      <a:pt x="190" y="113"/>
                    </a:lnTo>
                    <a:lnTo>
                      <a:pt x="193" y="109"/>
                    </a:lnTo>
                    <a:lnTo>
                      <a:pt x="195" y="109"/>
                    </a:lnTo>
                    <a:lnTo>
                      <a:pt x="198" y="112"/>
                    </a:lnTo>
                    <a:lnTo>
                      <a:pt x="206" y="112"/>
                    </a:lnTo>
                    <a:lnTo>
                      <a:pt x="208" y="110"/>
                    </a:lnTo>
                    <a:lnTo>
                      <a:pt x="212" y="109"/>
                    </a:lnTo>
                    <a:lnTo>
                      <a:pt x="217" y="97"/>
                    </a:lnTo>
                    <a:lnTo>
                      <a:pt x="214" y="94"/>
                    </a:lnTo>
                    <a:lnTo>
                      <a:pt x="206" y="94"/>
                    </a:lnTo>
                    <a:lnTo>
                      <a:pt x="204" y="91"/>
                    </a:lnTo>
                    <a:lnTo>
                      <a:pt x="198" y="88"/>
                    </a:lnTo>
                    <a:lnTo>
                      <a:pt x="198" y="87"/>
                    </a:lnTo>
                    <a:lnTo>
                      <a:pt x="196" y="85"/>
                    </a:lnTo>
                    <a:lnTo>
                      <a:pt x="193" y="84"/>
                    </a:lnTo>
                    <a:lnTo>
                      <a:pt x="193" y="82"/>
                    </a:lnTo>
                    <a:lnTo>
                      <a:pt x="195" y="81"/>
                    </a:lnTo>
                    <a:lnTo>
                      <a:pt x="198" y="78"/>
                    </a:lnTo>
                    <a:lnTo>
                      <a:pt x="205" y="75"/>
                    </a:lnTo>
                    <a:lnTo>
                      <a:pt x="206" y="74"/>
                    </a:lnTo>
                    <a:lnTo>
                      <a:pt x="206" y="71"/>
                    </a:lnTo>
                    <a:lnTo>
                      <a:pt x="202" y="64"/>
                    </a:lnTo>
                    <a:lnTo>
                      <a:pt x="204" y="64"/>
                    </a:lnTo>
                    <a:lnTo>
                      <a:pt x="206" y="62"/>
                    </a:lnTo>
                    <a:lnTo>
                      <a:pt x="206" y="59"/>
                    </a:lnTo>
                    <a:lnTo>
                      <a:pt x="208" y="58"/>
                    </a:lnTo>
                    <a:lnTo>
                      <a:pt x="221" y="59"/>
                    </a:lnTo>
                    <a:lnTo>
                      <a:pt x="222" y="58"/>
                    </a:lnTo>
                    <a:lnTo>
                      <a:pt x="224" y="56"/>
                    </a:lnTo>
                    <a:lnTo>
                      <a:pt x="222" y="55"/>
                    </a:lnTo>
                    <a:lnTo>
                      <a:pt x="218" y="52"/>
                    </a:lnTo>
                    <a:lnTo>
                      <a:pt x="209" y="50"/>
                    </a:lnTo>
                    <a:lnTo>
                      <a:pt x="209" y="49"/>
                    </a:lnTo>
                    <a:lnTo>
                      <a:pt x="209" y="48"/>
                    </a:lnTo>
                    <a:lnTo>
                      <a:pt x="211" y="48"/>
                    </a:lnTo>
                    <a:lnTo>
                      <a:pt x="214" y="46"/>
                    </a:lnTo>
                    <a:lnTo>
                      <a:pt x="214" y="45"/>
                    </a:lnTo>
                    <a:lnTo>
                      <a:pt x="212" y="43"/>
                    </a:lnTo>
                    <a:lnTo>
                      <a:pt x="211" y="45"/>
                    </a:lnTo>
                    <a:lnTo>
                      <a:pt x="206" y="45"/>
                    </a:lnTo>
                    <a:lnTo>
                      <a:pt x="206" y="42"/>
                    </a:lnTo>
                    <a:lnTo>
                      <a:pt x="208" y="40"/>
                    </a:lnTo>
                    <a:lnTo>
                      <a:pt x="209" y="39"/>
                    </a:lnTo>
                    <a:lnTo>
                      <a:pt x="206" y="36"/>
                    </a:lnTo>
                    <a:lnTo>
                      <a:pt x="211" y="35"/>
                    </a:lnTo>
                    <a:lnTo>
                      <a:pt x="211" y="33"/>
                    </a:lnTo>
                    <a:lnTo>
                      <a:pt x="214" y="33"/>
                    </a:lnTo>
                    <a:lnTo>
                      <a:pt x="215" y="35"/>
                    </a:lnTo>
                    <a:lnTo>
                      <a:pt x="217" y="35"/>
                    </a:lnTo>
                    <a:lnTo>
                      <a:pt x="219" y="35"/>
                    </a:lnTo>
                    <a:lnTo>
                      <a:pt x="221" y="35"/>
                    </a:lnTo>
                    <a:lnTo>
                      <a:pt x="227" y="35"/>
                    </a:lnTo>
                    <a:lnTo>
                      <a:pt x="228" y="36"/>
                    </a:lnTo>
                    <a:lnTo>
                      <a:pt x="231" y="33"/>
                    </a:lnTo>
                    <a:lnTo>
                      <a:pt x="233" y="33"/>
                    </a:lnTo>
                    <a:lnTo>
                      <a:pt x="237" y="33"/>
                    </a:lnTo>
                    <a:lnTo>
                      <a:pt x="238" y="32"/>
                    </a:lnTo>
                    <a:lnTo>
                      <a:pt x="241" y="30"/>
                    </a:lnTo>
                    <a:lnTo>
                      <a:pt x="244" y="27"/>
                    </a:lnTo>
                    <a:lnTo>
                      <a:pt x="246" y="29"/>
                    </a:lnTo>
                    <a:lnTo>
                      <a:pt x="249" y="30"/>
                    </a:lnTo>
                    <a:lnTo>
                      <a:pt x="250" y="30"/>
                    </a:lnTo>
                    <a:lnTo>
                      <a:pt x="250" y="27"/>
                    </a:lnTo>
                    <a:lnTo>
                      <a:pt x="254" y="27"/>
                    </a:lnTo>
                    <a:lnTo>
                      <a:pt x="257" y="26"/>
                    </a:lnTo>
                    <a:lnTo>
                      <a:pt x="259" y="26"/>
                    </a:lnTo>
                    <a:lnTo>
                      <a:pt x="260" y="24"/>
                    </a:lnTo>
                    <a:lnTo>
                      <a:pt x="263" y="24"/>
                    </a:lnTo>
                    <a:lnTo>
                      <a:pt x="264" y="26"/>
                    </a:lnTo>
                    <a:lnTo>
                      <a:pt x="266" y="24"/>
                    </a:lnTo>
                    <a:lnTo>
                      <a:pt x="267" y="20"/>
                    </a:lnTo>
                    <a:lnTo>
                      <a:pt x="269" y="19"/>
                    </a:lnTo>
                    <a:lnTo>
                      <a:pt x="270" y="19"/>
                    </a:lnTo>
                    <a:lnTo>
                      <a:pt x="273" y="19"/>
                    </a:lnTo>
                    <a:lnTo>
                      <a:pt x="278" y="17"/>
                    </a:lnTo>
                    <a:lnTo>
                      <a:pt x="278" y="19"/>
                    </a:lnTo>
                    <a:lnTo>
                      <a:pt x="302" y="13"/>
                    </a:lnTo>
                    <a:lnTo>
                      <a:pt x="305" y="11"/>
                    </a:lnTo>
                    <a:lnTo>
                      <a:pt x="307" y="11"/>
                    </a:lnTo>
                    <a:lnTo>
                      <a:pt x="308" y="10"/>
                    </a:lnTo>
                    <a:lnTo>
                      <a:pt x="309" y="8"/>
                    </a:lnTo>
                    <a:lnTo>
                      <a:pt x="309" y="4"/>
                    </a:lnTo>
                    <a:lnTo>
                      <a:pt x="312" y="5"/>
                    </a:lnTo>
                    <a:lnTo>
                      <a:pt x="314" y="4"/>
                    </a:lnTo>
                    <a:lnTo>
                      <a:pt x="315" y="3"/>
                    </a:lnTo>
                    <a:lnTo>
                      <a:pt x="317" y="1"/>
                    </a:lnTo>
                    <a:lnTo>
                      <a:pt x="320" y="1"/>
                    </a:lnTo>
                    <a:lnTo>
                      <a:pt x="320" y="0"/>
                    </a:lnTo>
                    <a:lnTo>
                      <a:pt x="323" y="0"/>
                    </a:lnTo>
                    <a:lnTo>
                      <a:pt x="324" y="1"/>
                    </a:lnTo>
                    <a:lnTo>
                      <a:pt x="325" y="1"/>
                    </a:lnTo>
                    <a:lnTo>
                      <a:pt x="328" y="1"/>
                    </a:lnTo>
                    <a:lnTo>
                      <a:pt x="330" y="1"/>
                    </a:lnTo>
                    <a:lnTo>
                      <a:pt x="331" y="1"/>
                    </a:lnTo>
                    <a:lnTo>
                      <a:pt x="333" y="3"/>
                    </a:lnTo>
                    <a:lnTo>
                      <a:pt x="337" y="5"/>
                    </a:lnTo>
                    <a:lnTo>
                      <a:pt x="339" y="4"/>
                    </a:lnTo>
                    <a:lnTo>
                      <a:pt x="340" y="3"/>
                    </a:lnTo>
                    <a:lnTo>
                      <a:pt x="344" y="3"/>
                    </a:lnTo>
                    <a:lnTo>
                      <a:pt x="346" y="3"/>
                    </a:lnTo>
                    <a:lnTo>
                      <a:pt x="347" y="5"/>
                    </a:lnTo>
                    <a:lnTo>
                      <a:pt x="349" y="7"/>
                    </a:lnTo>
                    <a:lnTo>
                      <a:pt x="349" y="13"/>
                    </a:lnTo>
                    <a:lnTo>
                      <a:pt x="350" y="16"/>
                    </a:lnTo>
                    <a:lnTo>
                      <a:pt x="353" y="17"/>
                    </a:lnTo>
                    <a:lnTo>
                      <a:pt x="352" y="20"/>
                    </a:lnTo>
                    <a:lnTo>
                      <a:pt x="352" y="24"/>
                    </a:lnTo>
                    <a:lnTo>
                      <a:pt x="349" y="27"/>
                    </a:lnTo>
                    <a:lnTo>
                      <a:pt x="350" y="29"/>
                    </a:lnTo>
                    <a:lnTo>
                      <a:pt x="352" y="32"/>
                    </a:lnTo>
                    <a:lnTo>
                      <a:pt x="354" y="30"/>
                    </a:lnTo>
                    <a:lnTo>
                      <a:pt x="357" y="32"/>
                    </a:lnTo>
                    <a:lnTo>
                      <a:pt x="359" y="32"/>
                    </a:lnTo>
                    <a:lnTo>
                      <a:pt x="360" y="29"/>
                    </a:lnTo>
                    <a:lnTo>
                      <a:pt x="362" y="29"/>
                    </a:lnTo>
                    <a:lnTo>
                      <a:pt x="363" y="29"/>
                    </a:lnTo>
                    <a:lnTo>
                      <a:pt x="365" y="26"/>
                    </a:lnTo>
                    <a:lnTo>
                      <a:pt x="366" y="26"/>
                    </a:lnTo>
                    <a:lnTo>
                      <a:pt x="368" y="30"/>
                    </a:lnTo>
                    <a:lnTo>
                      <a:pt x="369" y="32"/>
                    </a:lnTo>
                    <a:lnTo>
                      <a:pt x="368" y="35"/>
                    </a:lnTo>
                    <a:lnTo>
                      <a:pt x="372" y="36"/>
                    </a:lnTo>
                    <a:lnTo>
                      <a:pt x="372" y="33"/>
                    </a:lnTo>
                    <a:lnTo>
                      <a:pt x="370" y="32"/>
                    </a:lnTo>
                    <a:lnTo>
                      <a:pt x="372" y="32"/>
                    </a:lnTo>
                    <a:lnTo>
                      <a:pt x="376" y="32"/>
                    </a:lnTo>
                    <a:lnTo>
                      <a:pt x="382" y="36"/>
                    </a:lnTo>
                    <a:lnTo>
                      <a:pt x="384" y="36"/>
                    </a:lnTo>
                    <a:lnTo>
                      <a:pt x="385" y="35"/>
                    </a:lnTo>
                    <a:lnTo>
                      <a:pt x="386" y="33"/>
                    </a:lnTo>
                    <a:lnTo>
                      <a:pt x="388" y="35"/>
                    </a:lnTo>
                    <a:lnTo>
                      <a:pt x="386" y="37"/>
                    </a:lnTo>
                    <a:lnTo>
                      <a:pt x="385" y="37"/>
                    </a:lnTo>
                    <a:lnTo>
                      <a:pt x="384" y="39"/>
                    </a:lnTo>
                    <a:lnTo>
                      <a:pt x="382" y="40"/>
                    </a:lnTo>
                    <a:lnTo>
                      <a:pt x="382" y="43"/>
                    </a:lnTo>
                    <a:lnTo>
                      <a:pt x="382" y="45"/>
                    </a:lnTo>
                    <a:lnTo>
                      <a:pt x="384" y="46"/>
                    </a:lnTo>
                    <a:lnTo>
                      <a:pt x="385" y="46"/>
                    </a:lnTo>
                    <a:lnTo>
                      <a:pt x="386" y="45"/>
                    </a:lnTo>
                    <a:lnTo>
                      <a:pt x="391" y="43"/>
                    </a:lnTo>
                    <a:lnTo>
                      <a:pt x="392" y="45"/>
                    </a:lnTo>
                    <a:lnTo>
                      <a:pt x="394" y="45"/>
                    </a:lnTo>
                    <a:lnTo>
                      <a:pt x="395" y="46"/>
                    </a:lnTo>
                    <a:lnTo>
                      <a:pt x="398" y="46"/>
                    </a:lnTo>
                    <a:lnTo>
                      <a:pt x="397" y="43"/>
                    </a:lnTo>
                    <a:lnTo>
                      <a:pt x="398" y="42"/>
                    </a:lnTo>
                    <a:lnTo>
                      <a:pt x="401" y="42"/>
                    </a:lnTo>
                    <a:lnTo>
                      <a:pt x="404" y="39"/>
                    </a:lnTo>
                    <a:lnTo>
                      <a:pt x="407" y="37"/>
                    </a:lnTo>
                    <a:lnTo>
                      <a:pt x="411" y="35"/>
                    </a:lnTo>
                    <a:lnTo>
                      <a:pt x="413" y="32"/>
                    </a:lnTo>
                    <a:lnTo>
                      <a:pt x="414" y="30"/>
                    </a:lnTo>
                    <a:lnTo>
                      <a:pt x="415" y="30"/>
                    </a:lnTo>
                    <a:lnTo>
                      <a:pt x="421" y="29"/>
                    </a:lnTo>
                    <a:lnTo>
                      <a:pt x="423" y="27"/>
                    </a:lnTo>
                    <a:lnTo>
                      <a:pt x="427" y="26"/>
                    </a:lnTo>
                    <a:lnTo>
                      <a:pt x="431" y="24"/>
                    </a:lnTo>
                    <a:lnTo>
                      <a:pt x="431" y="26"/>
                    </a:lnTo>
                    <a:lnTo>
                      <a:pt x="431" y="29"/>
                    </a:lnTo>
                    <a:lnTo>
                      <a:pt x="431" y="30"/>
                    </a:lnTo>
                    <a:lnTo>
                      <a:pt x="429" y="30"/>
                    </a:lnTo>
                    <a:lnTo>
                      <a:pt x="427" y="30"/>
                    </a:lnTo>
                    <a:lnTo>
                      <a:pt x="426" y="33"/>
                    </a:lnTo>
                    <a:lnTo>
                      <a:pt x="427" y="35"/>
                    </a:lnTo>
                    <a:lnTo>
                      <a:pt x="429" y="35"/>
                    </a:lnTo>
                    <a:lnTo>
                      <a:pt x="447" y="52"/>
                    </a:lnTo>
                    <a:lnTo>
                      <a:pt x="478" y="109"/>
                    </a:lnTo>
                    <a:lnTo>
                      <a:pt x="482" y="106"/>
                    </a:lnTo>
                    <a:lnTo>
                      <a:pt x="482" y="104"/>
                    </a:lnTo>
                    <a:lnTo>
                      <a:pt x="482" y="103"/>
                    </a:lnTo>
                    <a:lnTo>
                      <a:pt x="485" y="98"/>
                    </a:lnTo>
                    <a:lnTo>
                      <a:pt x="488" y="98"/>
                    </a:lnTo>
                    <a:lnTo>
                      <a:pt x="488" y="100"/>
                    </a:lnTo>
                    <a:lnTo>
                      <a:pt x="491" y="101"/>
                    </a:lnTo>
                    <a:lnTo>
                      <a:pt x="494" y="103"/>
                    </a:lnTo>
                    <a:lnTo>
                      <a:pt x="494" y="104"/>
                    </a:lnTo>
                    <a:lnTo>
                      <a:pt x="494" y="107"/>
                    </a:lnTo>
                    <a:lnTo>
                      <a:pt x="495" y="107"/>
                    </a:lnTo>
                    <a:lnTo>
                      <a:pt x="497" y="110"/>
                    </a:lnTo>
                    <a:lnTo>
                      <a:pt x="504" y="110"/>
                    </a:lnTo>
                    <a:lnTo>
                      <a:pt x="508" y="112"/>
                    </a:lnTo>
                    <a:lnTo>
                      <a:pt x="510" y="110"/>
                    </a:lnTo>
                    <a:lnTo>
                      <a:pt x="514" y="110"/>
                    </a:lnTo>
                    <a:lnTo>
                      <a:pt x="514" y="109"/>
                    </a:lnTo>
                    <a:lnTo>
                      <a:pt x="516" y="107"/>
                    </a:lnTo>
                    <a:lnTo>
                      <a:pt x="519" y="107"/>
                    </a:lnTo>
                    <a:lnTo>
                      <a:pt x="520" y="107"/>
                    </a:lnTo>
                    <a:lnTo>
                      <a:pt x="521" y="106"/>
                    </a:lnTo>
                    <a:lnTo>
                      <a:pt x="523" y="104"/>
                    </a:lnTo>
                    <a:lnTo>
                      <a:pt x="527" y="106"/>
                    </a:lnTo>
                    <a:lnTo>
                      <a:pt x="529" y="106"/>
                    </a:lnTo>
                    <a:lnTo>
                      <a:pt x="530" y="109"/>
                    </a:lnTo>
                    <a:lnTo>
                      <a:pt x="532" y="109"/>
                    </a:lnTo>
                    <a:lnTo>
                      <a:pt x="535" y="113"/>
                    </a:lnTo>
                    <a:lnTo>
                      <a:pt x="536" y="113"/>
                    </a:lnTo>
                    <a:lnTo>
                      <a:pt x="537" y="114"/>
                    </a:lnTo>
                    <a:lnTo>
                      <a:pt x="536" y="117"/>
                    </a:lnTo>
                    <a:lnTo>
                      <a:pt x="536" y="119"/>
                    </a:lnTo>
                    <a:lnTo>
                      <a:pt x="537" y="122"/>
                    </a:lnTo>
                    <a:lnTo>
                      <a:pt x="540" y="122"/>
                    </a:lnTo>
                    <a:lnTo>
                      <a:pt x="546" y="125"/>
                    </a:lnTo>
                    <a:lnTo>
                      <a:pt x="546" y="126"/>
                    </a:lnTo>
                    <a:lnTo>
                      <a:pt x="546" y="129"/>
                    </a:lnTo>
                    <a:lnTo>
                      <a:pt x="548" y="129"/>
                    </a:lnTo>
                    <a:lnTo>
                      <a:pt x="549" y="130"/>
                    </a:lnTo>
                    <a:lnTo>
                      <a:pt x="552" y="135"/>
                    </a:lnTo>
                    <a:lnTo>
                      <a:pt x="553" y="135"/>
                    </a:lnTo>
                    <a:lnTo>
                      <a:pt x="558" y="136"/>
                    </a:lnTo>
                    <a:lnTo>
                      <a:pt x="559" y="138"/>
                    </a:lnTo>
                    <a:lnTo>
                      <a:pt x="565" y="138"/>
                    </a:lnTo>
                    <a:lnTo>
                      <a:pt x="566" y="136"/>
                    </a:lnTo>
                    <a:lnTo>
                      <a:pt x="568" y="135"/>
                    </a:lnTo>
                    <a:lnTo>
                      <a:pt x="571" y="133"/>
                    </a:lnTo>
                    <a:lnTo>
                      <a:pt x="572" y="135"/>
                    </a:lnTo>
                    <a:lnTo>
                      <a:pt x="572" y="138"/>
                    </a:lnTo>
                    <a:lnTo>
                      <a:pt x="575" y="138"/>
                    </a:lnTo>
                    <a:lnTo>
                      <a:pt x="577" y="142"/>
                    </a:lnTo>
                    <a:lnTo>
                      <a:pt x="578" y="143"/>
                    </a:lnTo>
                    <a:lnTo>
                      <a:pt x="580" y="145"/>
                    </a:lnTo>
                    <a:lnTo>
                      <a:pt x="577" y="152"/>
                    </a:lnTo>
                    <a:lnTo>
                      <a:pt x="577" y="152"/>
                    </a:lnTo>
                    <a:lnTo>
                      <a:pt x="574" y="157"/>
                    </a:lnTo>
                    <a:lnTo>
                      <a:pt x="569" y="161"/>
                    </a:lnTo>
                    <a:lnTo>
                      <a:pt x="564" y="162"/>
                    </a:lnTo>
                    <a:lnTo>
                      <a:pt x="559" y="162"/>
                    </a:lnTo>
                    <a:lnTo>
                      <a:pt x="558" y="168"/>
                    </a:lnTo>
                    <a:lnTo>
                      <a:pt x="556" y="190"/>
                    </a:lnTo>
                    <a:lnTo>
                      <a:pt x="549" y="191"/>
                    </a:lnTo>
                    <a:lnTo>
                      <a:pt x="546" y="194"/>
                    </a:lnTo>
                    <a:lnTo>
                      <a:pt x="540" y="190"/>
                    </a:lnTo>
                    <a:lnTo>
                      <a:pt x="532" y="191"/>
                    </a:lnTo>
                    <a:lnTo>
                      <a:pt x="527" y="190"/>
                    </a:lnTo>
                    <a:lnTo>
                      <a:pt x="524" y="189"/>
                    </a:lnTo>
                    <a:lnTo>
                      <a:pt x="519" y="187"/>
                    </a:lnTo>
                    <a:lnTo>
                      <a:pt x="508" y="219"/>
                    </a:lnTo>
                    <a:lnTo>
                      <a:pt x="510" y="226"/>
                    </a:lnTo>
                    <a:lnTo>
                      <a:pt x="508" y="228"/>
                    </a:lnTo>
                    <a:lnTo>
                      <a:pt x="478" y="234"/>
                    </a:lnTo>
                    <a:lnTo>
                      <a:pt x="476" y="235"/>
                    </a:lnTo>
                    <a:lnTo>
                      <a:pt x="478" y="238"/>
                    </a:lnTo>
                    <a:lnTo>
                      <a:pt x="487" y="266"/>
                    </a:lnTo>
                    <a:lnTo>
                      <a:pt x="487" y="268"/>
                    </a:lnTo>
                    <a:lnTo>
                      <a:pt x="482" y="271"/>
                    </a:lnTo>
                    <a:lnTo>
                      <a:pt x="484" y="274"/>
                    </a:lnTo>
                    <a:lnTo>
                      <a:pt x="481" y="277"/>
                    </a:lnTo>
                    <a:lnTo>
                      <a:pt x="481" y="280"/>
                    </a:lnTo>
                    <a:lnTo>
                      <a:pt x="481" y="284"/>
                    </a:lnTo>
                    <a:lnTo>
                      <a:pt x="479" y="284"/>
                    </a:lnTo>
                    <a:lnTo>
                      <a:pt x="474" y="282"/>
                    </a:lnTo>
                    <a:lnTo>
                      <a:pt x="469" y="280"/>
                    </a:lnTo>
                    <a:lnTo>
                      <a:pt x="466" y="276"/>
                    </a:lnTo>
                    <a:lnTo>
                      <a:pt x="458" y="274"/>
                    </a:lnTo>
                    <a:lnTo>
                      <a:pt x="456" y="274"/>
                    </a:lnTo>
                    <a:lnTo>
                      <a:pt x="439" y="273"/>
                    </a:lnTo>
                    <a:lnTo>
                      <a:pt x="436" y="271"/>
                    </a:lnTo>
                    <a:lnTo>
                      <a:pt x="433" y="271"/>
                    </a:lnTo>
                    <a:lnTo>
                      <a:pt x="430" y="273"/>
                    </a:lnTo>
                    <a:lnTo>
                      <a:pt x="408" y="273"/>
                    </a:lnTo>
                    <a:lnTo>
                      <a:pt x="407" y="271"/>
                    </a:lnTo>
                    <a:lnTo>
                      <a:pt x="404" y="271"/>
                    </a:lnTo>
                    <a:lnTo>
                      <a:pt x="401" y="271"/>
                    </a:lnTo>
                    <a:lnTo>
                      <a:pt x="394" y="267"/>
                    </a:lnTo>
                    <a:lnTo>
                      <a:pt x="391" y="268"/>
                    </a:lnTo>
                    <a:lnTo>
                      <a:pt x="389" y="268"/>
                    </a:lnTo>
                    <a:lnTo>
                      <a:pt x="388" y="268"/>
                    </a:lnTo>
                    <a:lnTo>
                      <a:pt x="384" y="271"/>
                    </a:lnTo>
                    <a:lnTo>
                      <a:pt x="384" y="274"/>
                    </a:lnTo>
                    <a:lnTo>
                      <a:pt x="384" y="276"/>
                    </a:lnTo>
                    <a:lnTo>
                      <a:pt x="382" y="280"/>
                    </a:lnTo>
                    <a:lnTo>
                      <a:pt x="381" y="282"/>
                    </a:lnTo>
                    <a:lnTo>
                      <a:pt x="359" y="276"/>
                    </a:lnTo>
                    <a:lnTo>
                      <a:pt x="357" y="276"/>
                    </a:lnTo>
                    <a:lnTo>
                      <a:pt x="356" y="274"/>
                    </a:lnTo>
                    <a:lnTo>
                      <a:pt x="349" y="276"/>
                    </a:lnTo>
                    <a:lnTo>
                      <a:pt x="349" y="279"/>
                    </a:lnTo>
                    <a:lnTo>
                      <a:pt x="349" y="280"/>
                    </a:lnTo>
                    <a:lnTo>
                      <a:pt x="343" y="289"/>
                    </a:lnTo>
                    <a:lnTo>
                      <a:pt x="341" y="289"/>
                    </a:lnTo>
                    <a:lnTo>
                      <a:pt x="340" y="289"/>
                    </a:lnTo>
                    <a:lnTo>
                      <a:pt x="339" y="293"/>
                    </a:lnTo>
                    <a:lnTo>
                      <a:pt x="336" y="295"/>
                    </a:lnTo>
                    <a:lnTo>
                      <a:pt x="327" y="299"/>
                    </a:lnTo>
                    <a:lnTo>
                      <a:pt x="325" y="300"/>
                    </a:lnTo>
                    <a:lnTo>
                      <a:pt x="321" y="302"/>
                    </a:lnTo>
                    <a:lnTo>
                      <a:pt x="320" y="306"/>
                    </a:lnTo>
                    <a:lnTo>
                      <a:pt x="317" y="309"/>
                    </a:lnTo>
                    <a:lnTo>
                      <a:pt x="305" y="303"/>
                    </a:lnTo>
                    <a:lnTo>
                      <a:pt x="291" y="305"/>
                    </a:lnTo>
                    <a:lnTo>
                      <a:pt x="288" y="293"/>
                    </a:lnTo>
                    <a:lnTo>
                      <a:pt x="279" y="292"/>
                    </a:lnTo>
                    <a:lnTo>
                      <a:pt x="279" y="284"/>
                    </a:lnTo>
                    <a:lnTo>
                      <a:pt x="280" y="284"/>
                    </a:lnTo>
                    <a:lnTo>
                      <a:pt x="280" y="273"/>
                    </a:lnTo>
                    <a:lnTo>
                      <a:pt x="278" y="273"/>
                    </a:lnTo>
                    <a:lnTo>
                      <a:pt x="273" y="264"/>
                    </a:lnTo>
                    <a:lnTo>
                      <a:pt x="263" y="257"/>
                    </a:lnTo>
                    <a:lnTo>
                      <a:pt x="259" y="258"/>
                    </a:lnTo>
                    <a:lnTo>
                      <a:pt x="221" y="261"/>
                    </a:lnTo>
                    <a:lnTo>
                      <a:pt x="172" y="219"/>
                    </a:lnTo>
                    <a:lnTo>
                      <a:pt x="135" y="23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39" name="Freeform 1317"/>
              <p:cNvSpPr>
                <a:spLocks/>
              </p:cNvSpPr>
              <p:nvPr/>
            </p:nvSpPr>
            <p:spPr bwMode="auto">
              <a:xfrm>
                <a:off x="7480438" y="3257385"/>
                <a:ext cx="5267" cy="4056"/>
              </a:xfrm>
              <a:custGeom>
                <a:avLst/>
                <a:gdLst/>
                <a:ahLst/>
                <a:cxnLst>
                  <a:cxn ang="0">
                    <a:pos x="5" y="0"/>
                  </a:cxn>
                  <a:cxn ang="0">
                    <a:pos x="6" y="2"/>
                  </a:cxn>
                  <a:cxn ang="0">
                    <a:pos x="6" y="3"/>
                  </a:cxn>
                  <a:cxn ang="0">
                    <a:pos x="5" y="4"/>
                  </a:cxn>
                  <a:cxn ang="0">
                    <a:pos x="5" y="4"/>
                  </a:cxn>
                  <a:cxn ang="0">
                    <a:pos x="3" y="2"/>
                  </a:cxn>
                  <a:cxn ang="0">
                    <a:pos x="2" y="2"/>
                  </a:cxn>
                  <a:cxn ang="0">
                    <a:pos x="0" y="0"/>
                  </a:cxn>
                  <a:cxn ang="0">
                    <a:pos x="2" y="0"/>
                  </a:cxn>
                  <a:cxn ang="0">
                    <a:pos x="2" y="0"/>
                  </a:cxn>
                  <a:cxn ang="0">
                    <a:pos x="3" y="0"/>
                  </a:cxn>
                  <a:cxn ang="0">
                    <a:pos x="5" y="0"/>
                  </a:cxn>
                </a:cxnLst>
                <a:rect l="0" t="0" r="r" b="b"/>
                <a:pathLst>
                  <a:path w="6" h="4">
                    <a:moveTo>
                      <a:pt x="5" y="0"/>
                    </a:moveTo>
                    <a:lnTo>
                      <a:pt x="6" y="2"/>
                    </a:lnTo>
                    <a:lnTo>
                      <a:pt x="6" y="3"/>
                    </a:lnTo>
                    <a:lnTo>
                      <a:pt x="5" y="4"/>
                    </a:lnTo>
                    <a:lnTo>
                      <a:pt x="5" y="4"/>
                    </a:lnTo>
                    <a:lnTo>
                      <a:pt x="3" y="2"/>
                    </a:lnTo>
                    <a:lnTo>
                      <a:pt x="2" y="2"/>
                    </a:lnTo>
                    <a:lnTo>
                      <a:pt x="0" y="0"/>
                    </a:lnTo>
                    <a:lnTo>
                      <a:pt x="2" y="0"/>
                    </a:lnTo>
                    <a:lnTo>
                      <a:pt x="2" y="0"/>
                    </a:lnTo>
                    <a:lnTo>
                      <a:pt x="3" y="0"/>
                    </a:lnTo>
                    <a:lnTo>
                      <a:pt x="5"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40" name="Freeform 1318"/>
              <p:cNvSpPr>
                <a:spLocks/>
              </p:cNvSpPr>
              <p:nvPr/>
            </p:nvSpPr>
            <p:spPr bwMode="auto">
              <a:xfrm>
                <a:off x="7480438" y="3257385"/>
                <a:ext cx="5267" cy="4056"/>
              </a:xfrm>
              <a:custGeom>
                <a:avLst/>
                <a:gdLst/>
                <a:ahLst/>
                <a:cxnLst>
                  <a:cxn ang="0">
                    <a:pos x="5" y="0"/>
                  </a:cxn>
                  <a:cxn ang="0">
                    <a:pos x="6" y="2"/>
                  </a:cxn>
                  <a:cxn ang="0">
                    <a:pos x="6" y="3"/>
                  </a:cxn>
                  <a:cxn ang="0">
                    <a:pos x="5" y="4"/>
                  </a:cxn>
                  <a:cxn ang="0">
                    <a:pos x="5" y="4"/>
                  </a:cxn>
                  <a:cxn ang="0">
                    <a:pos x="3" y="2"/>
                  </a:cxn>
                  <a:cxn ang="0">
                    <a:pos x="2" y="2"/>
                  </a:cxn>
                  <a:cxn ang="0">
                    <a:pos x="0" y="0"/>
                  </a:cxn>
                  <a:cxn ang="0">
                    <a:pos x="2" y="0"/>
                  </a:cxn>
                  <a:cxn ang="0">
                    <a:pos x="2" y="0"/>
                  </a:cxn>
                  <a:cxn ang="0">
                    <a:pos x="3" y="0"/>
                  </a:cxn>
                  <a:cxn ang="0">
                    <a:pos x="5" y="0"/>
                  </a:cxn>
                </a:cxnLst>
                <a:rect l="0" t="0" r="r" b="b"/>
                <a:pathLst>
                  <a:path w="6" h="4">
                    <a:moveTo>
                      <a:pt x="5" y="0"/>
                    </a:moveTo>
                    <a:lnTo>
                      <a:pt x="6" y="2"/>
                    </a:lnTo>
                    <a:lnTo>
                      <a:pt x="6" y="3"/>
                    </a:lnTo>
                    <a:lnTo>
                      <a:pt x="5" y="4"/>
                    </a:lnTo>
                    <a:lnTo>
                      <a:pt x="5" y="4"/>
                    </a:lnTo>
                    <a:lnTo>
                      <a:pt x="3" y="2"/>
                    </a:lnTo>
                    <a:lnTo>
                      <a:pt x="2" y="2"/>
                    </a:lnTo>
                    <a:lnTo>
                      <a:pt x="0" y="0"/>
                    </a:lnTo>
                    <a:lnTo>
                      <a:pt x="2" y="0"/>
                    </a:lnTo>
                    <a:lnTo>
                      <a:pt x="2" y="0"/>
                    </a:lnTo>
                    <a:lnTo>
                      <a:pt x="3" y="0"/>
                    </a:lnTo>
                    <a:lnTo>
                      <a:pt x="5"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41" name="Freeform 1319"/>
              <p:cNvSpPr>
                <a:spLocks/>
              </p:cNvSpPr>
              <p:nvPr/>
            </p:nvSpPr>
            <p:spPr bwMode="auto">
              <a:xfrm>
                <a:off x="7361934" y="3192481"/>
                <a:ext cx="141326" cy="169360"/>
              </a:xfrm>
              <a:custGeom>
                <a:avLst/>
                <a:gdLst/>
                <a:ahLst/>
                <a:cxnLst>
                  <a:cxn ang="0">
                    <a:pos x="2" y="0"/>
                  </a:cxn>
                  <a:cxn ang="0">
                    <a:pos x="8" y="0"/>
                  </a:cxn>
                  <a:cxn ang="0">
                    <a:pos x="12" y="4"/>
                  </a:cxn>
                  <a:cxn ang="0">
                    <a:pos x="16" y="4"/>
                  </a:cxn>
                  <a:cxn ang="0">
                    <a:pos x="29" y="5"/>
                  </a:cxn>
                  <a:cxn ang="0">
                    <a:pos x="34" y="5"/>
                  </a:cxn>
                  <a:cxn ang="0">
                    <a:pos x="39" y="11"/>
                  </a:cxn>
                  <a:cxn ang="0">
                    <a:pos x="41" y="14"/>
                  </a:cxn>
                  <a:cxn ang="0">
                    <a:pos x="45" y="20"/>
                  </a:cxn>
                  <a:cxn ang="0">
                    <a:pos x="60" y="30"/>
                  </a:cxn>
                  <a:cxn ang="0">
                    <a:pos x="68" y="40"/>
                  </a:cxn>
                  <a:cxn ang="0">
                    <a:pos x="74" y="45"/>
                  </a:cxn>
                  <a:cxn ang="0">
                    <a:pos x="80" y="49"/>
                  </a:cxn>
                  <a:cxn ang="0">
                    <a:pos x="82" y="48"/>
                  </a:cxn>
                  <a:cxn ang="0">
                    <a:pos x="86" y="49"/>
                  </a:cxn>
                  <a:cxn ang="0">
                    <a:pos x="92" y="55"/>
                  </a:cxn>
                  <a:cxn ang="0">
                    <a:pos x="98" y="58"/>
                  </a:cxn>
                  <a:cxn ang="0">
                    <a:pos x="100" y="62"/>
                  </a:cxn>
                  <a:cxn ang="0">
                    <a:pos x="102" y="61"/>
                  </a:cxn>
                  <a:cxn ang="0">
                    <a:pos x="105" y="64"/>
                  </a:cxn>
                  <a:cxn ang="0">
                    <a:pos x="112" y="65"/>
                  </a:cxn>
                  <a:cxn ang="0">
                    <a:pos x="112" y="66"/>
                  </a:cxn>
                  <a:cxn ang="0">
                    <a:pos x="111" y="68"/>
                  </a:cxn>
                  <a:cxn ang="0">
                    <a:pos x="112" y="71"/>
                  </a:cxn>
                  <a:cxn ang="0">
                    <a:pos x="109" y="75"/>
                  </a:cxn>
                  <a:cxn ang="0">
                    <a:pos x="109" y="75"/>
                  </a:cxn>
                  <a:cxn ang="0">
                    <a:pos x="118" y="72"/>
                  </a:cxn>
                  <a:cxn ang="0">
                    <a:pos x="121" y="77"/>
                  </a:cxn>
                  <a:cxn ang="0">
                    <a:pos x="118" y="81"/>
                  </a:cxn>
                  <a:cxn ang="0">
                    <a:pos x="121" y="82"/>
                  </a:cxn>
                  <a:cxn ang="0">
                    <a:pos x="118" y="85"/>
                  </a:cxn>
                  <a:cxn ang="0">
                    <a:pos x="119" y="90"/>
                  </a:cxn>
                  <a:cxn ang="0">
                    <a:pos x="125" y="93"/>
                  </a:cxn>
                  <a:cxn ang="0">
                    <a:pos x="131" y="94"/>
                  </a:cxn>
                  <a:cxn ang="0">
                    <a:pos x="132" y="106"/>
                  </a:cxn>
                  <a:cxn ang="0">
                    <a:pos x="137" y="107"/>
                  </a:cxn>
                  <a:cxn ang="0">
                    <a:pos x="137" y="111"/>
                  </a:cxn>
                  <a:cxn ang="0">
                    <a:pos x="148" y="113"/>
                  </a:cxn>
                  <a:cxn ang="0">
                    <a:pos x="154" y="122"/>
                  </a:cxn>
                  <a:cxn ang="0">
                    <a:pos x="153" y="132"/>
                  </a:cxn>
                  <a:cxn ang="0">
                    <a:pos x="153" y="133"/>
                  </a:cxn>
                  <a:cxn ang="0">
                    <a:pos x="150" y="161"/>
                  </a:cxn>
                  <a:cxn ang="0">
                    <a:pos x="144" y="158"/>
                  </a:cxn>
                  <a:cxn ang="0">
                    <a:pos x="141" y="161"/>
                  </a:cxn>
                  <a:cxn ang="0">
                    <a:pos x="134" y="158"/>
                  </a:cxn>
                  <a:cxn ang="0">
                    <a:pos x="135" y="162"/>
                  </a:cxn>
                  <a:cxn ang="0">
                    <a:pos x="119" y="148"/>
                  </a:cxn>
                  <a:cxn ang="0">
                    <a:pos x="106" y="138"/>
                  </a:cxn>
                  <a:cxn ang="0">
                    <a:pos x="102" y="135"/>
                  </a:cxn>
                  <a:cxn ang="0">
                    <a:pos x="100" y="129"/>
                  </a:cxn>
                  <a:cxn ang="0">
                    <a:pos x="82" y="110"/>
                  </a:cxn>
                  <a:cxn ang="0">
                    <a:pos x="76" y="94"/>
                  </a:cxn>
                  <a:cxn ang="0">
                    <a:pos x="67" y="84"/>
                  </a:cxn>
                  <a:cxn ang="0">
                    <a:pos x="61" y="75"/>
                  </a:cxn>
                  <a:cxn ang="0">
                    <a:pos x="58" y="75"/>
                  </a:cxn>
                  <a:cxn ang="0">
                    <a:pos x="53" y="55"/>
                  </a:cxn>
                  <a:cxn ang="0">
                    <a:pos x="39" y="46"/>
                  </a:cxn>
                  <a:cxn ang="0">
                    <a:pos x="35" y="37"/>
                  </a:cxn>
                  <a:cxn ang="0">
                    <a:pos x="28" y="30"/>
                  </a:cxn>
                  <a:cxn ang="0">
                    <a:pos x="21" y="26"/>
                  </a:cxn>
                  <a:cxn ang="0">
                    <a:pos x="2" y="0"/>
                  </a:cxn>
                </a:cxnLst>
                <a:rect l="0" t="0" r="r" b="b"/>
                <a:pathLst>
                  <a:path w="154" h="162">
                    <a:moveTo>
                      <a:pt x="0" y="0"/>
                    </a:moveTo>
                    <a:lnTo>
                      <a:pt x="2" y="0"/>
                    </a:lnTo>
                    <a:lnTo>
                      <a:pt x="3" y="0"/>
                    </a:lnTo>
                    <a:lnTo>
                      <a:pt x="8" y="0"/>
                    </a:lnTo>
                    <a:lnTo>
                      <a:pt x="9" y="0"/>
                    </a:lnTo>
                    <a:lnTo>
                      <a:pt x="12" y="4"/>
                    </a:lnTo>
                    <a:lnTo>
                      <a:pt x="15" y="4"/>
                    </a:lnTo>
                    <a:lnTo>
                      <a:pt x="16" y="4"/>
                    </a:lnTo>
                    <a:lnTo>
                      <a:pt x="26" y="4"/>
                    </a:lnTo>
                    <a:lnTo>
                      <a:pt x="29" y="5"/>
                    </a:lnTo>
                    <a:lnTo>
                      <a:pt x="32" y="5"/>
                    </a:lnTo>
                    <a:lnTo>
                      <a:pt x="34" y="5"/>
                    </a:lnTo>
                    <a:lnTo>
                      <a:pt x="38" y="10"/>
                    </a:lnTo>
                    <a:lnTo>
                      <a:pt x="39" y="11"/>
                    </a:lnTo>
                    <a:lnTo>
                      <a:pt x="39" y="13"/>
                    </a:lnTo>
                    <a:lnTo>
                      <a:pt x="41" y="14"/>
                    </a:lnTo>
                    <a:lnTo>
                      <a:pt x="42" y="16"/>
                    </a:lnTo>
                    <a:lnTo>
                      <a:pt x="45" y="20"/>
                    </a:lnTo>
                    <a:lnTo>
                      <a:pt x="51" y="26"/>
                    </a:lnTo>
                    <a:lnTo>
                      <a:pt x="60" y="30"/>
                    </a:lnTo>
                    <a:lnTo>
                      <a:pt x="68" y="37"/>
                    </a:lnTo>
                    <a:lnTo>
                      <a:pt x="68" y="40"/>
                    </a:lnTo>
                    <a:lnTo>
                      <a:pt x="71" y="40"/>
                    </a:lnTo>
                    <a:lnTo>
                      <a:pt x="74" y="45"/>
                    </a:lnTo>
                    <a:lnTo>
                      <a:pt x="79" y="49"/>
                    </a:lnTo>
                    <a:lnTo>
                      <a:pt x="80" y="49"/>
                    </a:lnTo>
                    <a:lnTo>
                      <a:pt x="80" y="49"/>
                    </a:lnTo>
                    <a:lnTo>
                      <a:pt x="82" y="48"/>
                    </a:lnTo>
                    <a:lnTo>
                      <a:pt x="83" y="48"/>
                    </a:lnTo>
                    <a:lnTo>
                      <a:pt x="86" y="49"/>
                    </a:lnTo>
                    <a:lnTo>
                      <a:pt x="89" y="53"/>
                    </a:lnTo>
                    <a:lnTo>
                      <a:pt x="92" y="55"/>
                    </a:lnTo>
                    <a:lnTo>
                      <a:pt x="93" y="56"/>
                    </a:lnTo>
                    <a:lnTo>
                      <a:pt x="98" y="58"/>
                    </a:lnTo>
                    <a:lnTo>
                      <a:pt x="99" y="62"/>
                    </a:lnTo>
                    <a:lnTo>
                      <a:pt x="100" y="62"/>
                    </a:lnTo>
                    <a:lnTo>
                      <a:pt x="100" y="59"/>
                    </a:lnTo>
                    <a:lnTo>
                      <a:pt x="102" y="61"/>
                    </a:lnTo>
                    <a:lnTo>
                      <a:pt x="103" y="62"/>
                    </a:lnTo>
                    <a:lnTo>
                      <a:pt x="105" y="64"/>
                    </a:lnTo>
                    <a:lnTo>
                      <a:pt x="111" y="64"/>
                    </a:lnTo>
                    <a:lnTo>
                      <a:pt x="112" y="65"/>
                    </a:lnTo>
                    <a:lnTo>
                      <a:pt x="113" y="65"/>
                    </a:lnTo>
                    <a:lnTo>
                      <a:pt x="112" y="66"/>
                    </a:lnTo>
                    <a:lnTo>
                      <a:pt x="112" y="68"/>
                    </a:lnTo>
                    <a:lnTo>
                      <a:pt x="111" y="68"/>
                    </a:lnTo>
                    <a:lnTo>
                      <a:pt x="111" y="69"/>
                    </a:lnTo>
                    <a:lnTo>
                      <a:pt x="112" y="71"/>
                    </a:lnTo>
                    <a:lnTo>
                      <a:pt x="112" y="72"/>
                    </a:lnTo>
                    <a:lnTo>
                      <a:pt x="109" y="75"/>
                    </a:lnTo>
                    <a:lnTo>
                      <a:pt x="108" y="75"/>
                    </a:lnTo>
                    <a:lnTo>
                      <a:pt x="109" y="75"/>
                    </a:lnTo>
                    <a:lnTo>
                      <a:pt x="116" y="72"/>
                    </a:lnTo>
                    <a:lnTo>
                      <a:pt x="118" y="72"/>
                    </a:lnTo>
                    <a:lnTo>
                      <a:pt x="121" y="74"/>
                    </a:lnTo>
                    <a:lnTo>
                      <a:pt x="121" y="77"/>
                    </a:lnTo>
                    <a:lnTo>
                      <a:pt x="122" y="78"/>
                    </a:lnTo>
                    <a:lnTo>
                      <a:pt x="118" y="81"/>
                    </a:lnTo>
                    <a:lnTo>
                      <a:pt x="119" y="82"/>
                    </a:lnTo>
                    <a:lnTo>
                      <a:pt x="121" y="82"/>
                    </a:lnTo>
                    <a:lnTo>
                      <a:pt x="121" y="84"/>
                    </a:lnTo>
                    <a:lnTo>
                      <a:pt x="118" y="85"/>
                    </a:lnTo>
                    <a:lnTo>
                      <a:pt x="118" y="88"/>
                    </a:lnTo>
                    <a:lnTo>
                      <a:pt x="119" y="90"/>
                    </a:lnTo>
                    <a:lnTo>
                      <a:pt x="124" y="93"/>
                    </a:lnTo>
                    <a:lnTo>
                      <a:pt x="125" y="93"/>
                    </a:lnTo>
                    <a:lnTo>
                      <a:pt x="127" y="94"/>
                    </a:lnTo>
                    <a:lnTo>
                      <a:pt x="131" y="94"/>
                    </a:lnTo>
                    <a:lnTo>
                      <a:pt x="134" y="104"/>
                    </a:lnTo>
                    <a:lnTo>
                      <a:pt x="132" y="106"/>
                    </a:lnTo>
                    <a:lnTo>
                      <a:pt x="134" y="106"/>
                    </a:lnTo>
                    <a:lnTo>
                      <a:pt x="137" y="107"/>
                    </a:lnTo>
                    <a:lnTo>
                      <a:pt x="138" y="109"/>
                    </a:lnTo>
                    <a:lnTo>
                      <a:pt x="137" y="111"/>
                    </a:lnTo>
                    <a:lnTo>
                      <a:pt x="145" y="113"/>
                    </a:lnTo>
                    <a:lnTo>
                      <a:pt x="148" y="113"/>
                    </a:lnTo>
                    <a:lnTo>
                      <a:pt x="153" y="119"/>
                    </a:lnTo>
                    <a:lnTo>
                      <a:pt x="154" y="122"/>
                    </a:lnTo>
                    <a:lnTo>
                      <a:pt x="154" y="123"/>
                    </a:lnTo>
                    <a:lnTo>
                      <a:pt x="153" y="132"/>
                    </a:lnTo>
                    <a:lnTo>
                      <a:pt x="153" y="132"/>
                    </a:lnTo>
                    <a:lnTo>
                      <a:pt x="153" y="133"/>
                    </a:lnTo>
                    <a:lnTo>
                      <a:pt x="151" y="161"/>
                    </a:lnTo>
                    <a:lnTo>
                      <a:pt x="150" y="161"/>
                    </a:lnTo>
                    <a:lnTo>
                      <a:pt x="144" y="157"/>
                    </a:lnTo>
                    <a:lnTo>
                      <a:pt x="144" y="158"/>
                    </a:lnTo>
                    <a:lnTo>
                      <a:pt x="143" y="159"/>
                    </a:lnTo>
                    <a:lnTo>
                      <a:pt x="141" y="161"/>
                    </a:lnTo>
                    <a:lnTo>
                      <a:pt x="137" y="157"/>
                    </a:lnTo>
                    <a:lnTo>
                      <a:pt x="134" y="158"/>
                    </a:lnTo>
                    <a:lnTo>
                      <a:pt x="137" y="161"/>
                    </a:lnTo>
                    <a:lnTo>
                      <a:pt x="135" y="162"/>
                    </a:lnTo>
                    <a:lnTo>
                      <a:pt x="122" y="149"/>
                    </a:lnTo>
                    <a:lnTo>
                      <a:pt x="119" y="148"/>
                    </a:lnTo>
                    <a:lnTo>
                      <a:pt x="118" y="148"/>
                    </a:lnTo>
                    <a:lnTo>
                      <a:pt x="106" y="138"/>
                    </a:lnTo>
                    <a:lnTo>
                      <a:pt x="105" y="138"/>
                    </a:lnTo>
                    <a:lnTo>
                      <a:pt x="102" y="135"/>
                    </a:lnTo>
                    <a:lnTo>
                      <a:pt x="102" y="132"/>
                    </a:lnTo>
                    <a:lnTo>
                      <a:pt x="100" y="129"/>
                    </a:lnTo>
                    <a:lnTo>
                      <a:pt x="98" y="127"/>
                    </a:lnTo>
                    <a:lnTo>
                      <a:pt x="82" y="110"/>
                    </a:lnTo>
                    <a:lnTo>
                      <a:pt x="82" y="106"/>
                    </a:lnTo>
                    <a:lnTo>
                      <a:pt x="76" y="94"/>
                    </a:lnTo>
                    <a:lnTo>
                      <a:pt x="74" y="91"/>
                    </a:lnTo>
                    <a:lnTo>
                      <a:pt x="67" y="84"/>
                    </a:lnTo>
                    <a:lnTo>
                      <a:pt x="66" y="78"/>
                    </a:lnTo>
                    <a:lnTo>
                      <a:pt x="61" y="75"/>
                    </a:lnTo>
                    <a:lnTo>
                      <a:pt x="58" y="75"/>
                    </a:lnTo>
                    <a:lnTo>
                      <a:pt x="58" y="75"/>
                    </a:lnTo>
                    <a:lnTo>
                      <a:pt x="53" y="58"/>
                    </a:lnTo>
                    <a:lnTo>
                      <a:pt x="53" y="55"/>
                    </a:lnTo>
                    <a:lnTo>
                      <a:pt x="47" y="50"/>
                    </a:lnTo>
                    <a:lnTo>
                      <a:pt x="39" y="46"/>
                    </a:lnTo>
                    <a:lnTo>
                      <a:pt x="37" y="46"/>
                    </a:lnTo>
                    <a:lnTo>
                      <a:pt x="35" y="37"/>
                    </a:lnTo>
                    <a:lnTo>
                      <a:pt x="32" y="37"/>
                    </a:lnTo>
                    <a:lnTo>
                      <a:pt x="28" y="30"/>
                    </a:lnTo>
                    <a:lnTo>
                      <a:pt x="23" y="26"/>
                    </a:lnTo>
                    <a:lnTo>
                      <a:pt x="21" y="26"/>
                    </a:lnTo>
                    <a:lnTo>
                      <a:pt x="2" y="5"/>
                    </a:lnTo>
                    <a:lnTo>
                      <a:pt x="2" y="0"/>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42" name="Freeform 1321"/>
              <p:cNvSpPr>
                <a:spLocks/>
              </p:cNvSpPr>
              <p:nvPr/>
            </p:nvSpPr>
            <p:spPr bwMode="auto">
              <a:xfrm>
                <a:off x="7368957" y="3231018"/>
                <a:ext cx="9656" cy="9128"/>
              </a:xfrm>
              <a:custGeom>
                <a:avLst/>
                <a:gdLst/>
                <a:ahLst/>
                <a:cxnLst>
                  <a:cxn ang="0">
                    <a:pos x="1" y="2"/>
                  </a:cxn>
                  <a:cxn ang="0">
                    <a:pos x="0" y="2"/>
                  </a:cxn>
                  <a:cxn ang="0">
                    <a:pos x="1" y="0"/>
                  </a:cxn>
                  <a:cxn ang="0">
                    <a:pos x="10" y="6"/>
                  </a:cxn>
                  <a:cxn ang="0">
                    <a:pos x="10" y="8"/>
                  </a:cxn>
                  <a:cxn ang="0">
                    <a:pos x="10" y="9"/>
                  </a:cxn>
                  <a:cxn ang="0">
                    <a:pos x="8" y="8"/>
                  </a:cxn>
                  <a:cxn ang="0">
                    <a:pos x="1" y="3"/>
                  </a:cxn>
                  <a:cxn ang="0">
                    <a:pos x="1" y="2"/>
                  </a:cxn>
                </a:cxnLst>
                <a:rect l="0" t="0" r="r" b="b"/>
                <a:pathLst>
                  <a:path w="10" h="9">
                    <a:moveTo>
                      <a:pt x="1" y="2"/>
                    </a:moveTo>
                    <a:lnTo>
                      <a:pt x="0" y="2"/>
                    </a:lnTo>
                    <a:lnTo>
                      <a:pt x="1" y="0"/>
                    </a:lnTo>
                    <a:lnTo>
                      <a:pt x="10" y="6"/>
                    </a:lnTo>
                    <a:lnTo>
                      <a:pt x="10" y="8"/>
                    </a:lnTo>
                    <a:lnTo>
                      <a:pt x="10" y="9"/>
                    </a:lnTo>
                    <a:lnTo>
                      <a:pt x="8" y="8"/>
                    </a:lnTo>
                    <a:lnTo>
                      <a:pt x="1" y="3"/>
                    </a:lnTo>
                    <a:lnTo>
                      <a:pt x="1" y="2"/>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43" name="Freeform 1322"/>
              <p:cNvSpPr>
                <a:spLocks/>
              </p:cNvSpPr>
              <p:nvPr/>
            </p:nvSpPr>
            <p:spPr bwMode="auto">
              <a:xfrm>
                <a:off x="7368957" y="3231018"/>
                <a:ext cx="9656" cy="9128"/>
              </a:xfrm>
              <a:custGeom>
                <a:avLst/>
                <a:gdLst/>
                <a:ahLst/>
                <a:cxnLst>
                  <a:cxn ang="0">
                    <a:pos x="1" y="2"/>
                  </a:cxn>
                  <a:cxn ang="0">
                    <a:pos x="0" y="2"/>
                  </a:cxn>
                  <a:cxn ang="0">
                    <a:pos x="1" y="0"/>
                  </a:cxn>
                  <a:cxn ang="0">
                    <a:pos x="10" y="6"/>
                  </a:cxn>
                  <a:cxn ang="0">
                    <a:pos x="10" y="8"/>
                  </a:cxn>
                  <a:cxn ang="0">
                    <a:pos x="10" y="9"/>
                  </a:cxn>
                  <a:cxn ang="0">
                    <a:pos x="8" y="8"/>
                  </a:cxn>
                  <a:cxn ang="0">
                    <a:pos x="1" y="3"/>
                  </a:cxn>
                  <a:cxn ang="0">
                    <a:pos x="1" y="2"/>
                  </a:cxn>
                </a:cxnLst>
                <a:rect l="0" t="0" r="r" b="b"/>
                <a:pathLst>
                  <a:path w="10" h="9">
                    <a:moveTo>
                      <a:pt x="1" y="2"/>
                    </a:moveTo>
                    <a:lnTo>
                      <a:pt x="0" y="2"/>
                    </a:lnTo>
                    <a:lnTo>
                      <a:pt x="1" y="0"/>
                    </a:lnTo>
                    <a:lnTo>
                      <a:pt x="10" y="6"/>
                    </a:lnTo>
                    <a:lnTo>
                      <a:pt x="10" y="8"/>
                    </a:lnTo>
                    <a:lnTo>
                      <a:pt x="10" y="9"/>
                    </a:lnTo>
                    <a:lnTo>
                      <a:pt x="8" y="8"/>
                    </a:lnTo>
                    <a:lnTo>
                      <a:pt x="1" y="3"/>
                    </a:lnTo>
                    <a:lnTo>
                      <a:pt x="1" y="2"/>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44" name="Freeform 1323"/>
              <p:cNvSpPr>
                <a:spLocks/>
              </p:cNvSpPr>
              <p:nvPr/>
            </p:nvSpPr>
            <p:spPr bwMode="auto">
              <a:xfrm>
                <a:off x="7388268" y="3253329"/>
                <a:ext cx="9656" cy="13184"/>
              </a:xfrm>
              <a:custGeom>
                <a:avLst/>
                <a:gdLst/>
                <a:ahLst/>
                <a:cxnLst>
                  <a:cxn ang="0">
                    <a:pos x="0" y="1"/>
                  </a:cxn>
                  <a:cxn ang="0">
                    <a:pos x="0" y="0"/>
                  </a:cxn>
                  <a:cxn ang="0">
                    <a:pos x="3" y="0"/>
                  </a:cxn>
                  <a:cxn ang="0">
                    <a:pos x="10" y="7"/>
                  </a:cxn>
                  <a:cxn ang="0">
                    <a:pos x="10" y="11"/>
                  </a:cxn>
                  <a:cxn ang="0">
                    <a:pos x="10" y="13"/>
                  </a:cxn>
                  <a:cxn ang="0">
                    <a:pos x="9" y="13"/>
                  </a:cxn>
                  <a:cxn ang="0">
                    <a:pos x="0" y="1"/>
                  </a:cxn>
                </a:cxnLst>
                <a:rect l="0" t="0" r="r" b="b"/>
                <a:pathLst>
                  <a:path w="10" h="13">
                    <a:moveTo>
                      <a:pt x="0" y="1"/>
                    </a:moveTo>
                    <a:lnTo>
                      <a:pt x="0" y="0"/>
                    </a:lnTo>
                    <a:lnTo>
                      <a:pt x="3" y="0"/>
                    </a:lnTo>
                    <a:lnTo>
                      <a:pt x="10" y="7"/>
                    </a:lnTo>
                    <a:lnTo>
                      <a:pt x="10" y="11"/>
                    </a:lnTo>
                    <a:lnTo>
                      <a:pt x="10" y="13"/>
                    </a:lnTo>
                    <a:lnTo>
                      <a:pt x="9" y="13"/>
                    </a:lnTo>
                    <a:lnTo>
                      <a:pt x="0"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45" name="Freeform 1325"/>
              <p:cNvSpPr>
                <a:spLocks/>
              </p:cNvSpPr>
              <p:nvPr/>
            </p:nvSpPr>
            <p:spPr bwMode="auto">
              <a:xfrm>
                <a:off x="7443570" y="3244201"/>
                <a:ext cx="5267" cy="4056"/>
              </a:xfrm>
              <a:custGeom>
                <a:avLst/>
                <a:gdLst/>
                <a:ahLst/>
                <a:cxnLst>
                  <a:cxn ang="0">
                    <a:pos x="4" y="4"/>
                  </a:cxn>
                  <a:cxn ang="0">
                    <a:pos x="3" y="4"/>
                  </a:cxn>
                  <a:cxn ang="0">
                    <a:pos x="1" y="4"/>
                  </a:cxn>
                  <a:cxn ang="0">
                    <a:pos x="0" y="1"/>
                  </a:cxn>
                  <a:cxn ang="0">
                    <a:pos x="0" y="1"/>
                  </a:cxn>
                  <a:cxn ang="0">
                    <a:pos x="1" y="1"/>
                  </a:cxn>
                  <a:cxn ang="0">
                    <a:pos x="3" y="0"/>
                  </a:cxn>
                  <a:cxn ang="0">
                    <a:pos x="4" y="0"/>
                  </a:cxn>
                  <a:cxn ang="0">
                    <a:pos x="6" y="1"/>
                  </a:cxn>
                  <a:cxn ang="0">
                    <a:pos x="6" y="3"/>
                  </a:cxn>
                  <a:cxn ang="0">
                    <a:pos x="4" y="4"/>
                  </a:cxn>
                  <a:cxn ang="0">
                    <a:pos x="4" y="4"/>
                  </a:cxn>
                </a:cxnLst>
                <a:rect l="0" t="0" r="r" b="b"/>
                <a:pathLst>
                  <a:path w="6" h="4">
                    <a:moveTo>
                      <a:pt x="4" y="4"/>
                    </a:moveTo>
                    <a:lnTo>
                      <a:pt x="3" y="4"/>
                    </a:lnTo>
                    <a:lnTo>
                      <a:pt x="1" y="4"/>
                    </a:lnTo>
                    <a:lnTo>
                      <a:pt x="0" y="1"/>
                    </a:lnTo>
                    <a:lnTo>
                      <a:pt x="0" y="1"/>
                    </a:lnTo>
                    <a:lnTo>
                      <a:pt x="1" y="1"/>
                    </a:lnTo>
                    <a:lnTo>
                      <a:pt x="3" y="0"/>
                    </a:lnTo>
                    <a:lnTo>
                      <a:pt x="4" y="0"/>
                    </a:lnTo>
                    <a:lnTo>
                      <a:pt x="6" y="1"/>
                    </a:lnTo>
                    <a:lnTo>
                      <a:pt x="6" y="3"/>
                    </a:lnTo>
                    <a:lnTo>
                      <a:pt x="4" y="4"/>
                    </a:lnTo>
                    <a:lnTo>
                      <a:pt x="4" y="4"/>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46" name="Freeform 1326"/>
              <p:cNvSpPr>
                <a:spLocks/>
              </p:cNvSpPr>
              <p:nvPr/>
            </p:nvSpPr>
            <p:spPr bwMode="auto">
              <a:xfrm>
                <a:off x="7443570" y="3244201"/>
                <a:ext cx="5267" cy="4056"/>
              </a:xfrm>
              <a:custGeom>
                <a:avLst/>
                <a:gdLst/>
                <a:ahLst/>
                <a:cxnLst>
                  <a:cxn ang="0">
                    <a:pos x="4" y="4"/>
                  </a:cxn>
                  <a:cxn ang="0">
                    <a:pos x="3" y="4"/>
                  </a:cxn>
                  <a:cxn ang="0">
                    <a:pos x="1" y="4"/>
                  </a:cxn>
                  <a:cxn ang="0">
                    <a:pos x="0" y="1"/>
                  </a:cxn>
                  <a:cxn ang="0">
                    <a:pos x="0" y="1"/>
                  </a:cxn>
                  <a:cxn ang="0">
                    <a:pos x="1" y="1"/>
                  </a:cxn>
                  <a:cxn ang="0">
                    <a:pos x="3" y="0"/>
                  </a:cxn>
                  <a:cxn ang="0">
                    <a:pos x="4" y="0"/>
                  </a:cxn>
                  <a:cxn ang="0">
                    <a:pos x="6" y="1"/>
                  </a:cxn>
                  <a:cxn ang="0">
                    <a:pos x="6" y="3"/>
                  </a:cxn>
                  <a:cxn ang="0">
                    <a:pos x="4" y="4"/>
                  </a:cxn>
                  <a:cxn ang="0">
                    <a:pos x="4" y="4"/>
                  </a:cxn>
                </a:cxnLst>
                <a:rect l="0" t="0" r="r" b="b"/>
                <a:pathLst>
                  <a:path w="6" h="4">
                    <a:moveTo>
                      <a:pt x="4" y="4"/>
                    </a:moveTo>
                    <a:lnTo>
                      <a:pt x="3" y="4"/>
                    </a:lnTo>
                    <a:lnTo>
                      <a:pt x="1" y="4"/>
                    </a:lnTo>
                    <a:lnTo>
                      <a:pt x="0" y="1"/>
                    </a:lnTo>
                    <a:lnTo>
                      <a:pt x="0" y="1"/>
                    </a:lnTo>
                    <a:lnTo>
                      <a:pt x="1" y="1"/>
                    </a:lnTo>
                    <a:lnTo>
                      <a:pt x="3" y="0"/>
                    </a:lnTo>
                    <a:lnTo>
                      <a:pt x="4" y="0"/>
                    </a:lnTo>
                    <a:lnTo>
                      <a:pt x="6" y="1"/>
                    </a:lnTo>
                    <a:lnTo>
                      <a:pt x="6" y="3"/>
                    </a:lnTo>
                    <a:lnTo>
                      <a:pt x="4" y="4"/>
                    </a:lnTo>
                    <a:lnTo>
                      <a:pt x="4" y="4"/>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47" name="Freeform 1327"/>
              <p:cNvSpPr>
                <a:spLocks/>
              </p:cNvSpPr>
              <p:nvPr/>
            </p:nvSpPr>
            <p:spPr bwMode="auto">
              <a:xfrm>
                <a:off x="7452348" y="3250286"/>
                <a:ext cx="6144" cy="6085"/>
              </a:xfrm>
              <a:custGeom>
                <a:avLst/>
                <a:gdLst/>
                <a:ahLst/>
                <a:cxnLst>
                  <a:cxn ang="0">
                    <a:pos x="0" y="0"/>
                  </a:cxn>
                  <a:cxn ang="0">
                    <a:pos x="1" y="0"/>
                  </a:cxn>
                  <a:cxn ang="0">
                    <a:pos x="2" y="1"/>
                  </a:cxn>
                  <a:cxn ang="0">
                    <a:pos x="2" y="1"/>
                  </a:cxn>
                  <a:cxn ang="0">
                    <a:pos x="5" y="1"/>
                  </a:cxn>
                  <a:cxn ang="0">
                    <a:pos x="7" y="4"/>
                  </a:cxn>
                  <a:cxn ang="0">
                    <a:pos x="5" y="6"/>
                  </a:cxn>
                  <a:cxn ang="0">
                    <a:pos x="4" y="4"/>
                  </a:cxn>
                  <a:cxn ang="0">
                    <a:pos x="1" y="3"/>
                  </a:cxn>
                  <a:cxn ang="0">
                    <a:pos x="0" y="0"/>
                  </a:cxn>
                </a:cxnLst>
                <a:rect l="0" t="0" r="r" b="b"/>
                <a:pathLst>
                  <a:path w="7" h="6">
                    <a:moveTo>
                      <a:pt x="0" y="0"/>
                    </a:moveTo>
                    <a:lnTo>
                      <a:pt x="1" y="0"/>
                    </a:lnTo>
                    <a:lnTo>
                      <a:pt x="2" y="1"/>
                    </a:lnTo>
                    <a:lnTo>
                      <a:pt x="2" y="1"/>
                    </a:lnTo>
                    <a:lnTo>
                      <a:pt x="5" y="1"/>
                    </a:lnTo>
                    <a:lnTo>
                      <a:pt x="7" y="4"/>
                    </a:lnTo>
                    <a:lnTo>
                      <a:pt x="5" y="6"/>
                    </a:lnTo>
                    <a:lnTo>
                      <a:pt x="4" y="4"/>
                    </a:lnTo>
                    <a:lnTo>
                      <a:pt x="1" y="3"/>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48" name="Freeform 1328"/>
              <p:cNvSpPr>
                <a:spLocks/>
              </p:cNvSpPr>
              <p:nvPr/>
            </p:nvSpPr>
            <p:spPr bwMode="auto">
              <a:xfrm>
                <a:off x="7452348" y="3250286"/>
                <a:ext cx="6144" cy="6085"/>
              </a:xfrm>
              <a:custGeom>
                <a:avLst/>
                <a:gdLst/>
                <a:ahLst/>
                <a:cxnLst>
                  <a:cxn ang="0">
                    <a:pos x="0" y="0"/>
                  </a:cxn>
                  <a:cxn ang="0">
                    <a:pos x="1" y="0"/>
                  </a:cxn>
                  <a:cxn ang="0">
                    <a:pos x="2" y="1"/>
                  </a:cxn>
                  <a:cxn ang="0">
                    <a:pos x="2" y="1"/>
                  </a:cxn>
                  <a:cxn ang="0">
                    <a:pos x="5" y="1"/>
                  </a:cxn>
                  <a:cxn ang="0">
                    <a:pos x="7" y="4"/>
                  </a:cxn>
                  <a:cxn ang="0">
                    <a:pos x="5" y="6"/>
                  </a:cxn>
                  <a:cxn ang="0">
                    <a:pos x="4" y="4"/>
                  </a:cxn>
                  <a:cxn ang="0">
                    <a:pos x="1" y="3"/>
                  </a:cxn>
                  <a:cxn ang="0">
                    <a:pos x="0" y="0"/>
                  </a:cxn>
                </a:cxnLst>
                <a:rect l="0" t="0" r="r" b="b"/>
                <a:pathLst>
                  <a:path w="7" h="6">
                    <a:moveTo>
                      <a:pt x="0" y="0"/>
                    </a:moveTo>
                    <a:lnTo>
                      <a:pt x="1" y="0"/>
                    </a:lnTo>
                    <a:lnTo>
                      <a:pt x="2" y="1"/>
                    </a:lnTo>
                    <a:lnTo>
                      <a:pt x="2" y="1"/>
                    </a:lnTo>
                    <a:lnTo>
                      <a:pt x="5" y="1"/>
                    </a:lnTo>
                    <a:lnTo>
                      <a:pt x="7" y="4"/>
                    </a:lnTo>
                    <a:lnTo>
                      <a:pt x="5" y="6"/>
                    </a:lnTo>
                    <a:lnTo>
                      <a:pt x="4" y="4"/>
                    </a:lnTo>
                    <a:lnTo>
                      <a:pt x="1" y="3"/>
                    </a:lnTo>
                    <a:lnTo>
                      <a:pt x="0"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49" name="Freeform 1329"/>
              <p:cNvSpPr>
                <a:spLocks/>
              </p:cNvSpPr>
              <p:nvPr/>
            </p:nvSpPr>
            <p:spPr bwMode="auto">
              <a:xfrm>
                <a:off x="7407580" y="3287809"/>
                <a:ext cx="7901" cy="13184"/>
              </a:xfrm>
              <a:custGeom>
                <a:avLst/>
                <a:gdLst/>
                <a:ahLst/>
                <a:cxnLst>
                  <a:cxn ang="0">
                    <a:pos x="1" y="2"/>
                  </a:cxn>
                  <a:cxn ang="0">
                    <a:pos x="3" y="0"/>
                  </a:cxn>
                  <a:cxn ang="0">
                    <a:pos x="4" y="2"/>
                  </a:cxn>
                  <a:cxn ang="0">
                    <a:pos x="7" y="7"/>
                  </a:cxn>
                  <a:cxn ang="0">
                    <a:pos x="8" y="10"/>
                  </a:cxn>
                  <a:cxn ang="0">
                    <a:pos x="8" y="12"/>
                  </a:cxn>
                  <a:cxn ang="0">
                    <a:pos x="7" y="13"/>
                  </a:cxn>
                  <a:cxn ang="0">
                    <a:pos x="5" y="12"/>
                  </a:cxn>
                  <a:cxn ang="0">
                    <a:pos x="3" y="10"/>
                  </a:cxn>
                  <a:cxn ang="0">
                    <a:pos x="0" y="6"/>
                  </a:cxn>
                  <a:cxn ang="0">
                    <a:pos x="0" y="3"/>
                  </a:cxn>
                  <a:cxn ang="0">
                    <a:pos x="1" y="2"/>
                  </a:cxn>
                </a:cxnLst>
                <a:rect l="0" t="0" r="r" b="b"/>
                <a:pathLst>
                  <a:path w="8" h="13">
                    <a:moveTo>
                      <a:pt x="1" y="2"/>
                    </a:moveTo>
                    <a:lnTo>
                      <a:pt x="3" y="0"/>
                    </a:lnTo>
                    <a:lnTo>
                      <a:pt x="4" y="2"/>
                    </a:lnTo>
                    <a:lnTo>
                      <a:pt x="7" y="7"/>
                    </a:lnTo>
                    <a:lnTo>
                      <a:pt x="8" y="10"/>
                    </a:lnTo>
                    <a:lnTo>
                      <a:pt x="8" y="12"/>
                    </a:lnTo>
                    <a:lnTo>
                      <a:pt x="7" y="13"/>
                    </a:lnTo>
                    <a:lnTo>
                      <a:pt x="5" y="12"/>
                    </a:lnTo>
                    <a:lnTo>
                      <a:pt x="3" y="10"/>
                    </a:lnTo>
                    <a:lnTo>
                      <a:pt x="0" y="6"/>
                    </a:lnTo>
                    <a:lnTo>
                      <a:pt x="0" y="3"/>
                    </a:lnTo>
                    <a:lnTo>
                      <a:pt x="1" y="2"/>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50" name="Freeform 1330"/>
              <p:cNvSpPr>
                <a:spLocks/>
              </p:cNvSpPr>
              <p:nvPr/>
            </p:nvSpPr>
            <p:spPr bwMode="auto">
              <a:xfrm>
                <a:off x="7407580" y="3287809"/>
                <a:ext cx="7901" cy="13184"/>
              </a:xfrm>
              <a:custGeom>
                <a:avLst/>
                <a:gdLst/>
                <a:ahLst/>
                <a:cxnLst>
                  <a:cxn ang="0">
                    <a:pos x="1" y="2"/>
                  </a:cxn>
                  <a:cxn ang="0">
                    <a:pos x="3" y="0"/>
                  </a:cxn>
                  <a:cxn ang="0">
                    <a:pos x="4" y="2"/>
                  </a:cxn>
                  <a:cxn ang="0">
                    <a:pos x="7" y="7"/>
                  </a:cxn>
                  <a:cxn ang="0">
                    <a:pos x="8" y="10"/>
                  </a:cxn>
                  <a:cxn ang="0">
                    <a:pos x="8" y="12"/>
                  </a:cxn>
                  <a:cxn ang="0">
                    <a:pos x="7" y="13"/>
                  </a:cxn>
                  <a:cxn ang="0">
                    <a:pos x="5" y="12"/>
                  </a:cxn>
                  <a:cxn ang="0">
                    <a:pos x="3" y="10"/>
                  </a:cxn>
                  <a:cxn ang="0">
                    <a:pos x="0" y="6"/>
                  </a:cxn>
                  <a:cxn ang="0">
                    <a:pos x="0" y="3"/>
                  </a:cxn>
                  <a:cxn ang="0">
                    <a:pos x="1" y="2"/>
                  </a:cxn>
                </a:cxnLst>
                <a:rect l="0" t="0" r="r" b="b"/>
                <a:pathLst>
                  <a:path w="8" h="13">
                    <a:moveTo>
                      <a:pt x="1" y="2"/>
                    </a:moveTo>
                    <a:lnTo>
                      <a:pt x="3" y="0"/>
                    </a:lnTo>
                    <a:lnTo>
                      <a:pt x="4" y="2"/>
                    </a:lnTo>
                    <a:lnTo>
                      <a:pt x="7" y="7"/>
                    </a:lnTo>
                    <a:lnTo>
                      <a:pt x="8" y="10"/>
                    </a:lnTo>
                    <a:lnTo>
                      <a:pt x="8" y="12"/>
                    </a:lnTo>
                    <a:lnTo>
                      <a:pt x="7" y="13"/>
                    </a:lnTo>
                    <a:lnTo>
                      <a:pt x="5" y="12"/>
                    </a:lnTo>
                    <a:lnTo>
                      <a:pt x="3" y="10"/>
                    </a:lnTo>
                    <a:lnTo>
                      <a:pt x="0" y="6"/>
                    </a:lnTo>
                    <a:lnTo>
                      <a:pt x="0" y="3"/>
                    </a:lnTo>
                    <a:lnTo>
                      <a:pt x="1" y="2"/>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51" name="Freeform 1331"/>
              <p:cNvSpPr>
                <a:spLocks/>
              </p:cNvSpPr>
              <p:nvPr/>
            </p:nvSpPr>
            <p:spPr bwMode="auto">
              <a:xfrm>
                <a:off x="7480438" y="3279696"/>
                <a:ext cx="4389" cy="5071"/>
              </a:xfrm>
              <a:custGeom>
                <a:avLst/>
                <a:gdLst/>
                <a:ahLst/>
                <a:cxnLst>
                  <a:cxn ang="0">
                    <a:pos x="2" y="1"/>
                  </a:cxn>
                  <a:cxn ang="0">
                    <a:pos x="0" y="1"/>
                  </a:cxn>
                  <a:cxn ang="0">
                    <a:pos x="2" y="0"/>
                  </a:cxn>
                  <a:cxn ang="0">
                    <a:pos x="3" y="0"/>
                  </a:cxn>
                  <a:cxn ang="0">
                    <a:pos x="5" y="3"/>
                  </a:cxn>
                  <a:cxn ang="0">
                    <a:pos x="5" y="3"/>
                  </a:cxn>
                  <a:cxn ang="0">
                    <a:pos x="3" y="4"/>
                  </a:cxn>
                  <a:cxn ang="0">
                    <a:pos x="2" y="3"/>
                  </a:cxn>
                  <a:cxn ang="0">
                    <a:pos x="2" y="1"/>
                  </a:cxn>
                </a:cxnLst>
                <a:rect l="0" t="0" r="r" b="b"/>
                <a:pathLst>
                  <a:path w="5" h="4">
                    <a:moveTo>
                      <a:pt x="2" y="1"/>
                    </a:moveTo>
                    <a:lnTo>
                      <a:pt x="0" y="1"/>
                    </a:lnTo>
                    <a:lnTo>
                      <a:pt x="2" y="0"/>
                    </a:lnTo>
                    <a:lnTo>
                      <a:pt x="3" y="0"/>
                    </a:lnTo>
                    <a:lnTo>
                      <a:pt x="5" y="3"/>
                    </a:lnTo>
                    <a:lnTo>
                      <a:pt x="5" y="3"/>
                    </a:lnTo>
                    <a:lnTo>
                      <a:pt x="3" y="4"/>
                    </a:lnTo>
                    <a:lnTo>
                      <a:pt x="2" y="3"/>
                    </a:lnTo>
                    <a:lnTo>
                      <a:pt x="2"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52" name="Freeform 1332"/>
              <p:cNvSpPr>
                <a:spLocks/>
              </p:cNvSpPr>
              <p:nvPr/>
            </p:nvSpPr>
            <p:spPr bwMode="auto">
              <a:xfrm>
                <a:off x="7480438" y="3279696"/>
                <a:ext cx="4389" cy="5071"/>
              </a:xfrm>
              <a:custGeom>
                <a:avLst/>
                <a:gdLst/>
                <a:ahLst/>
                <a:cxnLst>
                  <a:cxn ang="0">
                    <a:pos x="2" y="1"/>
                  </a:cxn>
                  <a:cxn ang="0">
                    <a:pos x="0" y="1"/>
                  </a:cxn>
                  <a:cxn ang="0">
                    <a:pos x="2" y="0"/>
                  </a:cxn>
                  <a:cxn ang="0">
                    <a:pos x="3" y="0"/>
                  </a:cxn>
                  <a:cxn ang="0">
                    <a:pos x="5" y="3"/>
                  </a:cxn>
                  <a:cxn ang="0">
                    <a:pos x="5" y="3"/>
                  </a:cxn>
                  <a:cxn ang="0">
                    <a:pos x="3" y="4"/>
                  </a:cxn>
                  <a:cxn ang="0">
                    <a:pos x="2" y="3"/>
                  </a:cxn>
                  <a:cxn ang="0">
                    <a:pos x="2" y="1"/>
                  </a:cxn>
                </a:cxnLst>
                <a:rect l="0" t="0" r="r" b="b"/>
                <a:pathLst>
                  <a:path w="5" h="4">
                    <a:moveTo>
                      <a:pt x="2" y="1"/>
                    </a:moveTo>
                    <a:lnTo>
                      <a:pt x="0" y="1"/>
                    </a:lnTo>
                    <a:lnTo>
                      <a:pt x="2" y="0"/>
                    </a:lnTo>
                    <a:lnTo>
                      <a:pt x="3" y="0"/>
                    </a:lnTo>
                    <a:lnTo>
                      <a:pt x="5" y="3"/>
                    </a:lnTo>
                    <a:lnTo>
                      <a:pt x="5" y="3"/>
                    </a:lnTo>
                    <a:lnTo>
                      <a:pt x="3" y="4"/>
                    </a:lnTo>
                    <a:lnTo>
                      <a:pt x="2" y="3"/>
                    </a:lnTo>
                    <a:lnTo>
                      <a:pt x="2" y="1"/>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53" name="Freeform 1333"/>
              <p:cNvSpPr>
                <a:spLocks/>
              </p:cNvSpPr>
              <p:nvPr/>
            </p:nvSpPr>
            <p:spPr bwMode="auto">
              <a:xfrm>
                <a:off x="7493605" y="3296937"/>
                <a:ext cx="18434" cy="22311"/>
              </a:xfrm>
              <a:custGeom>
                <a:avLst/>
                <a:gdLst/>
                <a:ahLst/>
                <a:cxnLst>
                  <a:cxn ang="0">
                    <a:pos x="0" y="6"/>
                  </a:cxn>
                  <a:cxn ang="0">
                    <a:pos x="2" y="1"/>
                  </a:cxn>
                  <a:cxn ang="0">
                    <a:pos x="4" y="1"/>
                  </a:cxn>
                  <a:cxn ang="0">
                    <a:pos x="5" y="1"/>
                  </a:cxn>
                  <a:cxn ang="0">
                    <a:pos x="7" y="3"/>
                  </a:cxn>
                  <a:cxn ang="0">
                    <a:pos x="7" y="3"/>
                  </a:cxn>
                  <a:cxn ang="0">
                    <a:pos x="8" y="3"/>
                  </a:cxn>
                  <a:cxn ang="0">
                    <a:pos x="8" y="1"/>
                  </a:cxn>
                  <a:cxn ang="0">
                    <a:pos x="8" y="0"/>
                  </a:cxn>
                  <a:cxn ang="0">
                    <a:pos x="10" y="0"/>
                  </a:cxn>
                  <a:cxn ang="0">
                    <a:pos x="14" y="11"/>
                  </a:cxn>
                  <a:cxn ang="0">
                    <a:pos x="16" y="13"/>
                  </a:cxn>
                  <a:cxn ang="0">
                    <a:pos x="18" y="14"/>
                  </a:cxn>
                  <a:cxn ang="0">
                    <a:pos x="21" y="14"/>
                  </a:cxn>
                  <a:cxn ang="0">
                    <a:pos x="20" y="20"/>
                  </a:cxn>
                  <a:cxn ang="0">
                    <a:pos x="21" y="22"/>
                  </a:cxn>
                  <a:cxn ang="0">
                    <a:pos x="20" y="22"/>
                  </a:cxn>
                  <a:cxn ang="0">
                    <a:pos x="17" y="20"/>
                  </a:cxn>
                  <a:cxn ang="0">
                    <a:pos x="13" y="19"/>
                  </a:cxn>
                  <a:cxn ang="0">
                    <a:pos x="11" y="17"/>
                  </a:cxn>
                  <a:cxn ang="0">
                    <a:pos x="10" y="14"/>
                  </a:cxn>
                  <a:cxn ang="0">
                    <a:pos x="10" y="13"/>
                  </a:cxn>
                  <a:cxn ang="0">
                    <a:pos x="8" y="10"/>
                  </a:cxn>
                  <a:cxn ang="0">
                    <a:pos x="4" y="7"/>
                  </a:cxn>
                  <a:cxn ang="0">
                    <a:pos x="0" y="7"/>
                  </a:cxn>
                  <a:cxn ang="0">
                    <a:pos x="0" y="6"/>
                  </a:cxn>
                </a:cxnLst>
                <a:rect l="0" t="0" r="r" b="b"/>
                <a:pathLst>
                  <a:path w="21" h="22">
                    <a:moveTo>
                      <a:pt x="0" y="6"/>
                    </a:moveTo>
                    <a:lnTo>
                      <a:pt x="2" y="1"/>
                    </a:lnTo>
                    <a:lnTo>
                      <a:pt x="4" y="1"/>
                    </a:lnTo>
                    <a:lnTo>
                      <a:pt x="5" y="1"/>
                    </a:lnTo>
                    <a:lnTo>
                      <a:pt x="7" y="3"/>
                    </a:lnTo>
                    <a:lnTo>
                      <a:pt x="7" y="3"/>
                    </a:lnTo>
                    <a:lnTo>
                      <a:pt x="8" y="3"/>
                    </a:lnTo>
                    <a:lnTo>
                      <a:pt x="8" y="1"/>
                    </a:lnTo>
                    <a:lnTo>
                      <a:pt x="8" y="0"/>
                    </a:lnTo>
                    <a:lnTo>
                      <a:pt x="10" y="0"/>
                    </a:lnTo>
                    <a:lnTo>
                      <a:pt x="14" y="11"/>
                    </a:lnTo>
                    <a:lnTo>
                      <a:pt x="16" y="13"/>
                    </a:lnTo>
                    <a:lnTo>
                      <a:pt x="18" y="14"/>
                    </a:lnTo>
                    <a:lnTo>
                      <a:pt x="21" y="14"/>
                    </a:lnTo>
                    <a:lnTo>
                      <a:pt x="20" y="20"/>
                    </a:lnTo>
                    <a:lnTo>
                      <a:pt x="21" y="22"/>
                    </a:lnTo>
                    <a:lnTo>
                      <a:pt x="20" y="22"/>
                    </a:lnTo>
                    <a:lnTo>
                      <a:pt x="17" y="20"/>
                    </a:lnTo>
                    <a:lnTo>
                      <a:pt x="13" y="19"/>
                    </a:lnTo>
                    <a:lnTo>
                      <a:pt x="11" y="17"/>
                    </a:lnTo>
                    <a:lnTo>
                      <a:pt x="10" y="14"/>
                    </a:lnTo>
                    <a:lnTo>
                      <a:pt x="10" y="13"/>
                    </a:lnTo>
                    <a:lnTo>
                      <a:pt x="8" y="10"/>
                    </a:lnTo>
                    <a:lnTo>
                      <a:pt x="4" y="7"/>
                    </a:lnTo>
                    <a:lnTo>
                      <a:pt x="0" y="7"/>
                    </a:lnTo>
                    <a:lnTo>
                      <a:pt x="0" y="6"/>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54" name="Freeform 1334"/>
              <p:cNvSpPr>
                <a:spLocks/>
              </p:cNvSpPr>
              <p:nvPr/>
            </p:nvSpPr>
            <p:spPr bwMode="auto">
              <a:xfrm>
                <a:off x="7493605" y="3296937"/>
                <a:ext cx="18434" cy="22311"/>
              </a:xfrm>
              <a:custGeom>
                <a:avLst/>
                <a:gdLst/>
                <a:ahLst/>
                <a:cxnLst>
                  <a:cxn ang="0">
                    <a:pos x="0" y="6"/>
                  </a:cxn>
                  <a:cxn ang="0">
                    <a:pos x="2" y="1"/>
                  </a:cxn>
                  <a:cxn ang="0">
                    <a:pos x="4" y="1"/>
                  </a:cxn>
                  <a:cxn ang="0">
                    <a:pos x="5" y="1"/>
                  </a:cxn>
                  <a:cxn ang="0">
                    <a:pos x="7" y="3"/>
                  </a:cxn>
                  <a:cxn ang="0">
                    <a:pos x="7" y="3"/>
                  </a:cxn>
                  <a:cxn ang="0">
                    <a:pos x="8" y="3"/>
                  </a:cxn>
                  <a:cxn ang="0">
                    <a:pos x="8" y="1"/>
                  </a:cxn>
                  <a:cxn ang="0">
                    <a:pos x="8" y="0"/>
                  </a:cxn>
                  <a:cxn ang="0">
                    <a:pos x="10" y="0"/>
                  </a:cxn>
                  <a:cxn ang="0">
                    <a:pos x="14" y="11"/>
                  </a:cxn>
                  <a:cxn ang="0">
                    <a:pos x="16" y="13"/>
                  </a:cxn>
                  <a:cxn ang="0">
                    <a:pos x="18" y="14"/>
                  </a:cxn>
                  <a:cxn ang="0">
                    <a:pos x="21" y="14"/>
                  </a:cxn>
                  <a:cxn ang="0">
                    <a:pos x="20" y="20"/>
                  </a:cxn>
                  <a:cxn ang="0">
                    <a:pos x="21" y="22"/>
                  </a:cxn>
                  <a:cxn ang="0">
                    <a:pos x="20" y="22"/>
                  </a:cxn>
                  <a:cxn ang="0">
                    <a:pos x="17" y="20"/>
                  </a:cxn>
                  <a:cxn ang="0">
                    <a:pos x="13" y="19"/>
                  </a:cxn>
                  <a:cxn ang="0">
                    <a:pos x="11" y="17"/>
                  </a:cxn>
                  <a:cxn ang="0">
                    <a:pos x="10" y="14"/>
                  </a:cxn>
                  <a:cxn ang="0">
                    <a:pos x="10" y="13"/>
                  </a:cxn>
                  <a:cxn ang="0">
                    <a:pos x="8" y="10"/>
                  </a:cxn>
                  <a:cxn ang="0">
                    <a:pos x="4" y="7"/>
                  </a:cxn>
                  <a:cxn ang="0">
                    <a:pos x="0" y="7"/>
                  </a:cxn>
                  <a:cxn ang="0">
                    <a:pos x="0" y="6"/>
                  </a:cxn>
                </a:cxnLst>
                <a:rect l="0" t="0" r="r" b="b"/>
                <a:pathLst>
                  <a:path w="21" h="22">
                    <a:moveTo>
                      <a:pt x="0" y="6"/>
                    </a:moveTo>
                    <a:lnTo>
                      <a:pt x="2" y="1"/>
                    </a:lnTo>
                    <a:lnTo>
                      <a:pt x="4" y="1"/>
                    </a:lnTo>
                    <a:lnTo>
                      <a:pt x="5" y="1"/>
                    </a:lnTo>
                    <a:lnTo>
                      <a:pt x="7" y="3"/>
                    </a:lnTo>
                    <a:lnTo>
                      <a:pt x="7" y="3"/>
                    </a:lnTo>
                    <a:lnTo>
                      <a:pt x="8" y="3"/>
                    </a:lnTo>
                    <a:lnTo>
                      <a:pt x="8" y="1"/>
                    </a:lnTo>
                    <a:lnTo>
                      <a:pt x="8" y="0"/>
                    </a:lnTo>
                    <a:lnTo>
                      <a:pt x="10" y="0"/>
                    </a:lnTo>
                    <a:lnTo>
                      <a:pt x="14" y="11"/>
                    </a:lnTo>
                    <a:lnTo>
                      <a:pt x="16" y="13"/>
                    </a:lnTo>
                    <a:lnTo>
                      <a:pt x="18" y="14"/>
                    </a:lnTo>
                    <a:lnTo>
                      <a:pt x="21" y="14"/>
                    </a:lnTo>
                    <a:lnTo>
                      <a:pt x="20" y="20"/>
                    </a:lnTo>
                    <a:lnTo>
                      <a:pt x="21" y="22"/>
                    </a:lnTo>
                    <a:lnTo>
                      <a:pt x="20" y="22"/>
                    </a:lnTo>
                    <a:lnTo>
                      <a:pt x="17" y="20"/>
                    </a:lnTo>
                    <a:lnTo>
                      <a:pt x="13" y="19"/>
                    </a:lnTo>
                    <a:lnTo>
                      <a:pt x="11" y="17"/>
                    </a:lnTo>
                    <a:lnTo>
                      <a:pt x="10" y="14"/>
                    </a:lnTo>
                    <a:lnTo>
                      <a:pt x="10" y="13"/>
                    </a:lnTo>
                    <a:lnTo>
                      <a:pt x="8" y="10"/>
                    </a:lnTo>
                    <a:lnTo>
                      <a:pt x="4" y="7"/>
                    </a:lnTo>
                    <a:lnTo>
                      <a:pt x="0" y="7"/>
                    </a:lnTo>
                    <a:lnTo>
                      <a:pt x="0" y="6"/>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55" name="Freeform 1335"/>
              <p:cNvSpPr>
                <a:spLocks/>
              </p:cNvSpPr>
              <p:nvPr/>
            </p:nvSpPr>
            <p:spPr bwMode="auto">
              <a:xfrm>
                <a:off x="7523450" y="3311134"/>
                <a:ext cx="8778" cy="12170"/>
              </a:xfrm>
              <a:custGeom>
                <a:avLst/>
                <a:gdLst/>
                <a:ahLst/>
                <a:cxnLst>
                  <a:cxn ang="0">
                    <a:pos x="1" y="0"/>
                  </a:cxn>
                  <a:cxn ang="0">
                    <a:pos x="3" y="0"/>
                  </a:cxn>
                  <a:cxn ang="0">
                    <a:pos x="6" y="0"/>
                  </a:cxn>
                  <a:cxn ang="0">
                    <a:pos x="9" y="2"/>
                  </a:cxn>
                  <a:cxn ang="0">
                    <a:pos x="10" y="3"/>
                  </a:cxn>
                  <a:cxn ang="0">
                    <a:pos x="10" y="6"/>
                  </a:cxn>
                  <a:cxn ang="0">
                    <a:pos x="10" y="8"/>
                  </a:cxn>
                  <a:cxn ang="0">
                    <a:pos x="9" y="9"/>
                  </a:cxn>
                  <a:cxn ang="0">
                    <a:pos x="7" y="11"/>
                  </a:cxn>
                  <a:cxn ang="0">
                    <a:pos x="6" y="9"/>
                  </a:cxn>
                  <a:cxn ang="0">
                    <a:pos x="4" y="9"/>
                  </a:cxn>
                  <a:cxn ang="0">
                    <a:pos x="3" y="9"/>
                  </a:cxn>
                  <a:cxn ang="0">
                    <a:pos x="1" y="9"/>
                  </a:cxn>
                  <a:cxn ang="0">
                    <a:pos x="0" y="5"/>
                  </a:cxn>
                  <a:cxn ang="0">
                    <a:pos x="0" y="3"/>
                  </a:cxn>
                  <a:cxn ang="0">
                    <a:pos x="1" y="2"/>
                  </a:cxn>
                  <a:cxn ang="0">
                    <a:pos x="1" y="0"/>
                  </a:cxn>
                </a:cxnLst>
                <a:rect l="0" t="0" r="r" b="b"/>
                <a:pathLst>
                  <a:path w="10" h="11">
                    <a:moveTo>
                      <a:pt x="1" y="0"/>
                    </a:moveTo>
                    <a:lnTo>
                      <a:pt x="3" y="0"/>
                    </a:lnTo>
                    <a:lnTo>
                      <a:pt x="6" y="0"/>
                    </a:lnTo>
                    <a:lnTo>
                      <a:pt x="9" y="2"/>
                    </a:lnTo>
                    <a:lnTo>
                      <a:pt x="10" y="3"/>
                    </a:lnTo>
                    <a:lnTo>
                      <a:pt x="10" y="6"/>
                    </a:lnTo>
                    <a:lnTo>
                      <a:pt x="10" y="8"/>
                    </a:lnTo>
                    <a:lnTo>
                      <a:pt x="9" y="9"/>
                    </a:lnTo>
                    <a:lnTo>
                      <a:pt x="7" y="11"/>
                    </a:lnTo>
                    <a:lnTo>
                      <a:pt x="6" y="9"/>
                    </a:lnTo>
                    <a:lnTo>
                      <a:pt x="4" y="9"/>
                    </a:lnTo>
                    <a:lnTo>
                      <a:pt x="3" y="9"/>
                    </a:lnTo>
                    <a:lnTo>
                      <a:pt x="1" y="9"/>
                    </a:lnTo>
                    <a:lnTo>
                      <a:pt x="0" y="5"/>
                    </a:lnTo>
                    <a:lnTo>
                      <a:pt x="0" y="3"/>
                    </a:lnTo>
                    <a:lnTo>
                      <a:pt x="1" y="2"/>
                    </a:lnTo>
                    <a:lnTo>
                      <a:pt x="1"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56" name="Freeform 1336"/>
              <p:cNvSpPr>
                <a:spLocks/>
              </p:cNvSpPr>
              <p:nvPr/>
            </p:nvSpPr>
            <p:spPr bwMode="auto">
              <a:xfrm>
                <a:off x="7523450" y="3311134"/>
                <a:ext cx="8778" cy="12170"/>
              </a:xfrm>
              <a:custGeom>
                <a:avLst/>
                <a:gdLst/>
                <a:ahLst/>
                <a:cxnLst>
                  <a:cxn ang="0">
                    <a:pos x="1" y="0"/>
                  </a:cxn>
                  <a:cxn ang="0">
                    <a:pos x="3" y="0"/>
                  </a:cxn>
                  <a:cxn ang="0">
                    <a:pos x="6" y="0"/>
                  </a:cxn>
                  <a:cxn ang="0">
                    <a:pos x="9" y="2"/>
                  </a:cxn>
                  <a:cxn ang="0">
                    <a:pos x="10" y="3"/>
                  </a:cxn>
                  <a:cxn ang="0">
                    <a:pos x="10" y="6"/>
                  </a:cxn>
                  <a:cxn ang="0">
                    <a:pos x="10" y="8"/>
                  </a:cxn>
                  <a:cxn ang="0">
                    <a:pos x="9" y="9"/>
                  </a:cxn>
                  <a:cxn ang="0">
                    <a:pos x="7" y="11"/>
                  </a:cxn>
                  <a:cxn ang="0">
                    <a:pos x="6" y="9"/>
                  </a:cxn>
                  <a:cxn ang="0">
                    <a:pos x="4" y="9"/>
                  </a:cxn>
                  <a:cxn ang="0">
                    <a:pos x="3" y="9"/>
                  </a:cxn>
                  <a:cxn ang="0">
                    <a:pos x="1" y="9"/>
                  </a:cxn>
                  <a:cxn ang="0">
                    <a:pos x="0" y="5"/>
                  </a:cxn>
                  <a:cxn ang="0">
                    <a:pos x="0" y="3"/>
                  </a:cxn>
                  <a:cxn ang="0">
                    <a:pos x="1" y="2"/>
                  </a:cxn>
                  <a:cxn ang="0">
                    <a:pos x="1" y="0"/>
                  </a:cxn>
                </a:cxnLst>
                <a:rect l="0" t="0" r="r" b="b"/>
                <a:pathLst>
                  <a:path w="10" h="11">
                    <a:moveTo>
                      <a:pt x="1" y="0"/>
                    </a:moveTo>
                    <a:lnTo>
                      <a:pt x="3" y="0"/>
                    </a:lnTo>
                    <a:lnTo>
                      <a:pt x="6" y="0"/>
                    </a:lnTo>
                    <a:lnTo>
                      <a:pt x="9" y="2"/>
                    </a:lnTo>
                    <a:lnTo>
                      <a:pt x="10" y="3"/>
                    </a:lnTo>
                    <a:lnTo>
                      <a:pt x="10" y="6"/>
                    </a:lnTo>
                    <a:lnTo>
                      <a:pt x="10" y="8"/>
                    </a:lnTo>
                    <a:lnTo>
                      <a:pt x="9" y="9"/>
                    </a:lnTo>
                    <a:lnTo>
                      <a:pt x="7" y="11"/>
                    </a:lnTo>
                    <a:lnTo>
                      <a:pt x="6" y="9"/>
                    </a:lnTo>
                    <a:lnTo>
                      <a:pt x="4" y="9"/>
                    </a:lnTo>
                    <a:lnTo>
                      <a:pt x="3" y="9"/>
                    </a:lnTo>
                    <a:lnTo>
                      <a:pt x="1" y="9"/>
                    </a:lnTo>
                    <a:lnTo>
                      <a:pt x="0" y="5"/>
                    </a:lnTo>
                    <a:lnTo>
                      <a:pt x="0" y="3"/>
                    </a:lnTo>
                    <a:lnTo>
                      <a:pt x="1" y="2"/>
                    </a:lnTo>
                    <a:lnTo>
                      <a:pt x="1"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57" name="Freeform 1337"/>
              <p:cNvSpPr>
                <a:spLocks/>
              </p:cNvSpPr>
              <p:nvPr/>
            </p:nvSpPr>
            <p:spPr bwMode="auto">
              <a:xfrm>
                <a:off x="7493605" y="3361841"/>
                <a:ext cx="120259" cy="44621"/>
              </a:xfrm>
              <a:custGeom>
                <a:avLst/>
                <a:gdLst/>
                <a:ahLst/>
                <a:cxnLst>
                  <a:cxn ang="0">
                    <a:pos x="94" y="34"/>
                  </a:cxn>
                  <a:cxn ang="0">
                    <a:pos x="85" y="34"/>
                  </a:cxn>
                  <a:cxn ang="0">
                    <a:pos x="84" y="34"/>
                  </a:cxn>
                  <a:cxn ang="0">
                    <a:pos x="69" y="28"/>
                  </a:cxn>
                  <a:cxn ang="0">
                    <a:pos x="55" y="27"/>
                  </a:cxn>
                  <a:cxn ang="0">
                    <a:pos x="53" y="27"/>
                  </a:cxn>
                  <a:cxn ang="0">
                    <a:pos x="49" y="25"/>
                  </a:cxn>
                  <a:cxn ang="0">
                    <a:pos x="47" y="28"/>
                  </a:cxn>
                  <a:cxn ang="0">
                    <a:pos x="17" y="19"/>
                  </a:cxn>
                  <a:cxn ang="0">
                    <a:pos x="18" y="16"/>
                  </a:cxn>
                  <a:cxn ang="0">
                    <a:pos x="0" y="11"/>
                  </a:cxn>
                  <a:cxn ang="0">
                    <a:pos x="1" y="11"/>
                  </a:cxn>
                  <a:cxn ang="0">
                    <a:pos x="4" y="12"/>
                  </a:cxn>
                  <a:cxn ang="0">
                    <a:pos x="5" y="9"/>
                  </a:cxn>
                  <a:cxn ang="0">
                    <a:pos x="11" y="2"/>
                  </a:cxn>
                  <a:cxn ang="0">
                    <a:pos x="23" y="2"/>
                  </a:cxn>
                  <a:cxn ang="0">
                    <a:pos x="30" y="0"/>
                  </a:cxn>
                  <a:cxn ang="0">
                    <a:pos x="31" y="5"/>
                  </a:cxn>
                  <a:cxn ang="0">
                    <a:pos x="46" y="9"/>
                  </a:cxn>
                  <a:cxn ang="0">
                    <a:pos x="59" y="13"/>
                  </a:cxn>
                  <a:cxn ang="0">
                    <a:pos x="72" y="15"/>
                  </a:cxn>
                  <a:cxn ang="0">
                    <a:pos x="76" y="11"/>
                  </a:cxn>
                  <a:cxn ang="0">
                    <a:pos x="78" y="8"/>
                  </a:cxn>
                  <a:cxn ang="0">
                    <a:pos x="82" y="11"/>
                  </a:cxn>
                  <a:cxn ang="0">
                    <a:pos x="87" y="12"/>
                  </a:cxn>
                  <a:cxn ang="0">
                    <a:pos x="97" y="13"/>
                  </a:cxn>
                  <a:cxn ang="0">
                    <a:pos x="103" y="15"/>
                  </a:cxn>
                  <a:cxn ang="0">
                    <a:pos x="107" y="21"/>
                  </a:cxn>
                  <a:cxn ang="0">
                    <a:pos x="113" y="27"/>
                  </a:cxn>
                  <a:cxn ang="0">
                    <a:pos x="127" y="25"/>
                  </a:cxn>
                  <a:cxn ang="0">
                    <a:pos x="129" y="37"/>
                  </a:cxn>
                  <a:cxn ang="0">
                    <a:pos x="130" y="41"/>
                  </a:cxn>
                  <a:cxn ang="0">
                    <a:pos x="113" y="35"/>
                  </a:cxn>
                  <a:cxn ang="0">
                    <a:pos x="97" y="34"/>
                  </a:cxn>
                </a:cxnLst>
                <a:rect l="0" t="0" r="r" b="b"/>
                <a:pathLst>
                  <a:path w="132" h="43">
                    <a:moveTo>
                      <a:pt x="97" y="34"/>
                    </a:moveTo>
                    <a:lnTo>
                      <a:pt x="94" y="34"/>
                    </a:lnTo>
                    <a:lnTo>
                      <a:pt x="91" y="35"/>
                    </a:lnTo>
                    <a:lnTo>
                      <a:pt x="85" y="34"/>
                    </a:lnTo>
                    <a:lnTo>
                      <a:pt x="84" y="32"/>
                    </a:lnTo>
                    <a:lnTo>
                      <a:pt x="84" y="34"/>
                    </a:lnTo>
                    <a:lnTo>
                      <a:pt x="78" y="34"/>
                    </a:lnTo>
                    <a:lnTo>
                      <a:pt x="69" y="28"/>
                    </a:lnTo>
                    <a:lnTo>
                      <a:pt x="56" y="25"/>
                    </a:lnTo>
                    <a:lnTo>
                      <a:pt x="55" y="27"/>
                    </a:lnTo>
                    <a:lnTo>
                      <a:pt x="53" y="27"/>
                    </a:lnTo>
                    <a:lnTo>
                      <a:pt x="53" y="27"/>
                    </a:lnTo>
                    <a:lnTo>
                      <a:pt x="52" y="25"/>
                    </a:lnTo>
                    <a:lnTo>
                      <a:pt x="49" y="25"/>
                    </a:lnTo>
                    <a:lnTo>
                      <a:pt x="47" y="27"/>
                    </a:lnTo>
                    <a:lnTo>
                      <a:pt x="47" y="28"/>
                    </a:lnTo>
                    <a:lnTo>
                      <a:pt x="17" y="21"/>
                    </a:lnTo>
                    <a:lnTo>
                      <a:pt x="17" y="19"/>
                    </a:lnTo>
                    <a:lnTo>
                      <a:pt x="18" y="16"/>
                    </a:lnTo>
                    <a:lnTo>
                      <a:pt x="18" y="16"/>
                    </a:lnTo>
                    <a:lnTo>
                      <a:pt x="1" y="12"/>
                    </a:lnTo>
                    <a:lnTo>
                      <a:pt x="0" y="11"/>
                    </a:lnTo>
                    <a:lnTo>
                      <a:pt x="1" y="11"/>
                    </a:lnTo>
                    <a:lnTo>
                      <a:pt x="1" y="11"/>
                    </a:lnTo>
                    <a:lnTo>
                      <a:pt x="2" y="12"/>
                    </a:lnTo>
                    <a:lnTo>
                      <a:pt x="4" y="12"/>
                    </a:lnTo>
                    <a:lnTo>
                      <a:pt x="5" y="11"/>
                    </a:lnTo>
                    <a:lnTo>
                      <a:pt x="5" y="9"/>
                    </a:lnTo>
                    <a:lnTo>
                      <a:pt x="7" y="9"/>
                    </a:lnTo>
                    <a:lnTo>
                      <a:pt x="11" y="2"/>
                    </a:lnTo>
                    <a:lnTo>
                      <a:pt x="14" y="0"/>
                    </a:lnTo>
                    <a:lnTo>
                      <a:pt x="23" y="2"/>
                    </a:lnTo>
                    <a:lnTo>
                      <a:pt x="26" y="0"/>
                    </a:lnTo>
                    <a:lnTo>
                      <a:pt x="30" y="0"/>
                    </a:lnTo>
                    <a:lnTo>
                      <a:pt x="31" y="2"/>
                    </a:lnTo>
                    <a:lnTo>
                      <a:pt x="31" y="5"/>
                    </a:lnTo>
                    <a:lnTo>
                      <a:pt x="43" y="6"/>
                    </a:lnTo>
                    <a:lnTo>
                      <a:pt x="46" y="9"/>
                    </a:lnTo>
                    <a:lnTo>
                      <a:pt x="47" y="13"/>
                    </a:lnTo>
                    <a:lnTo>
                      <a:pt x="59" y="13"/>
                    </a:lnTo>
                    <a:lnTo>
                      <a:pt x="61" y="13"/>
                    </a:lnTo>
                    <a:lnTo>
                      <a:pt x="72" y="15"/>
                    </a:lnTo>
                    <a:lnTo>
                      <a:pt x="74" y="15"/>
                    </a:lnTo>
                    <a:lnTo>
                      <a:pt x="76" y="11"/>
                    </a:lnTo>
                    <a:lnTo>
                      <a:pt x="76" y="9"/>
                    </a:lnTo>
                    <a:lnTo>
                      <a:pt x="78" y="8"/>
                    </a:lnTo>
                    <a:lnTo>
                      <a:pt x="81" y="8"/>
                    </a:lnTo>
                    <a:lnTo>
                      <a:pt x="82" y="11"/>
                    </a:lnTo>
                    <a:lnTo>
                      <a:pt x="84" y="12"/>
                    </a:lnTo>
                    <a:lnTo>
                      <a:pt x="87" y="12"/>
                    </a:lnTo>
                    <a:lnTo>
                      <a:pt x="88" y="11"/>
                    </a:lnTo>
                    <a:lnTo>
                      <a:pt x="97" y="13"/>
                    </a:lnTo>
                    <a:lnTo>
                      <a:pt x="101" y="13"/>
                    </a:lnTo>
                    <a:lnTo>
                      <a:pt x="103" y="15"/>
                    </a:lnTo>
                    <a:lnTo>
                      <a:pt x="106" y="19"/>
                    </a:lnTo>
                    <a:lnTo>
                      <a:pt x="107" y="21"/>
                    </a:lnTo>
                    <a:lnTo>
                      <a:pt x="107" y="25"/>
                    </a:lnTo>
                    <a:lnTo>
                      <a:pt x="113" y="27"/>
                    </a:lnTo>
                    <a:lnTo>
                      <a:pt x="124" y="25"/>
                    </a:lnTo>
                    <a:lnTo>
                      <a:pt x="127" y="25"/>
                    </a:lnTo>
                    <a:lnTo>
                      <a:pt x="130" y="28"/>
                    </a:lnTo>
                    <a:lnTo>
                      <a:pt x="129" y="37"/>
                    </a:lnTo>
                    <a:lnTo>
                      <a:pt x="132" y="43"/>
                    </a:lnTo>
                    <a:lnTo>
                      <a:pt x="130" y="41"/>
                    </a:lnTo>
                    <a:lnTo>
                      <a:pt x="129" y="40"/>
                    </a:lnTo>
                    <a:lnTo>
                      <a:pt x="113" y="35"/>
                    </a:lnTo>
                    <a:lnTo>
                      <a:pt x="106" y="37"/>
                    </a:lnTo>
                    <a:lnTo>
                      <a:pt x="97" y="34"/>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58" name="Freeform 1338"/>
              <p:cNvSpPr>
                <a:spLocks/>
              </p:cNvSpPr>
              <p:nvPr/>
            </p:nvSpPr>
            <p:spPr bwMode="auto">
              <a:xfrm>
                <a:off x="7493605" y="3361841"/>
                <a:ext cx="120259" cy="44621"/>
              </a:xfrm>
              <a:custGeom>
                <a:avLst/>
                <a:gdLst/>
                <a:ahLst/>
                <a:cxnLst>
                  <a:cxn ang="0">
                    <a:pos x="94" y="34"/>
                  </a:cxn>
                  <a:cxn ang="0">
                    <a:pos x="85" y="34"/>
                  </a:cxn>
                  <a:cxn ang="0">
                    <a:pos x="84" y="34"/>
                  </a:cxn>
                  <a:cxn ang="0">
                    <a:pos x="69" y="28"/>
                  </a:cxn>
                  <a:cxn ang="0">
                    <a:pos x="55" y="27"/>
                  </a:cxn>
                  <a:cxn ang="0">
                    <a:pos x="53" y="27"/>
                  </a:cxn>
                  <a:cxn ang="0">
                    <a:pos x="49" y="25"/>
                  </a:cxn>
                  <a:cxn ang="0">
                    <a:pos x="47" y="28"/>
                  </a:cxn>
                  <a:cxn ang="0">
                    <a:pos x="17" y="19"/>
                  </a:cxn>
                  <a:cxn ang="0">
                    <a:pos x="18" y="16"/>
                  </a:cxn>
                  <a:cxn ang="0">
                    <a:pos x="0" y="11"/>
                  </a:cxn>
                  <a:cxn ang="0">
                    <a:pos x="1" y="11"/>
                  </a:cxn>
                  <a:cxn ang="0">
                    <a:pos x="4" y="12"/>
                  </a:cxn>
                  <a:cxn ang="0">
                    <a:pos x="5" y="9"/>
                  </a:cxn>
                  <a:cxn ang="0">
                    <a:pos x="11" y="2"/>
                  </a:cxn>
                  <a:cxn ang="0">
                    <a:pos x="23" y="2"/>
                  </a:cxn>
                  <a:cxn ang="0">
                    <a:pos x="30" y="0"/>
                  </a:cxn>
                  <a:cxn ang="0">
                    <a:pos x="31" y="5"/>
                  </a:cxn>
                  <a:cxn ang="0">
                    <a:pos x="46" y="9"/>
                  </a:cxn>
                  <a:cxn ang="0">
                    <a:pos x="59" y="13"/>
                  </a:cxn>
                  <a:cxn ang="0">
                    <a:pos x="72" y="15"/>
                  </a:cxn>
                  <a:cxn ang="0">
                    <a:pos x="76" y="11"/>
                  </a:cxn>
                  <a:cxn ang="0">
                    <a:pos x="78" y="8"/>
                  </a:cxn>
                  <a:cxn ang="0">
                    <a:pos x="82" y="11"/>
                  </a:cxn>
                  <a:cxn ang="0">
                    <a:pos x="87" y="12"/>
                  </a:cxn>
                  <a:cxn ang="0">
                    <a:pos x="97" y="13"/>
                  </a:cxn>
                  <a:cxn ang="0">
                    <a:pos x="103" y="15"/>
                  </a:cxn>
                  <a:cxn ang="0">
                    <a:pos x="107" y="21"/>
                  </a:cxn>
                  <a:cxn ang="0">
                    <a:pos x="113" y="27"/>
                  </a:cxn>
                  <a:cxn ang="0">
                    <a:pos x="127" y="25"/>
                  </a:cxn>
                  <a:cxn ang="0">
                    <a:pos x="129" y="37"/>
                  </a:cxn>
                  <a:cxn ang="0">
                    <a:pos x="130" y="41"/>
                  </a:cxn>
                  <a:cxn ang="0">
                    <a:pos x="113" y="35"/>
                  </a:cxn>
                  <a:cxn ang="0">
                    <a:pos x="97" y="34"/>
                  </a:cxn>
                </a:cxnLst>
                <a:rect l="0" t="0" r="r" b="b"/>
                <a:pathLst>
                  <a:path w="132" h="43">
                    <a:moveTo>
                      <a:pt x="97" y="34"/>
                    </a:moveTo>
                    <a:lnTo>
                      <a:pt x="94" y="34"/>
                    </a:lnTo>
                    <a:lnTo>
                      <a:pt x="91" y="35"/>
                    </a:lnTo>
                    <a:lnTo>
                      <a:pt x="85" y="34"/>
                    </a:lnTo>
                    <a:lnTo>
                      <a:pt x="84" y="32"/>
                    </a:lnTo>
                    <a:lnTo>
                      <a:pt x="84" y="34"/>
                    </a:lnTo>
                    <a:lnTo>
                      <a:pt x="78" y="34"/>
                    </a:lnTo>
                    <a:lnTo>
                      <a:pt x="69" y="28"/>
                    </a:lnTo>
                    <a:lnTo>
                      <a:pt x="56" y="25"/>
                    </a:lnTo>
                    <a:lnTo>
                      <a:pt x="55" y="27"/>
                    </a:lnTo>
                    <a:lnTo>
                      <a:pt x="53" y="27"/>
                    </a:lnTo>
                    <a:lnTo>
                      <a:pt x="53" y="27"/>
                    </a:lnTo>
                    <a:lnTo>
                      <a:pt x="52" y="25"/>
                    </a:lnTo>
                    <a:lnTo>
                      <a:pt x="49" y="25"/>
                    </a:lnTo>
                    <a:lnTo>
                      <a:pt x="47" y="27"/>
                    </a:lnTo>
                    <a:lnTo>
                      <a:pt x="47" y="28"/>
                    </a:lnTo>
                    <a:lnTo>
                      <a:pt x="17" y="21"/>
                    </a:lnTo>
                    <a:lnTo>
                      <a:pt x="17" y="19"/>
                    </a:lnTo>
                    <a:lnTo>
                      <a:pt x="18" y="16"/>
                    </a:lnTo>
                    <a:lnTo>
                      <a:pt x="18" y="16"/>
                    </a:lnTo>
                    <a:lnTo>
                      <a:pt x="1" y="12"/>
                    </a:lnTo>
                    <a:lnTo>
                      <a:pt x="0" y="11"/>
                    </a:lnTo>
                    <a:lnTo>
                      <a:pt x="1" y="11"/>
                    </a:lnTo>
                    <a:lnTo>
                      <a:pt x="1" y="11"/>
                    </a:lnTo>
                    <a:lnTo>
                      <a:pt x="2" y="12"/>
                    </a:lnTo>
                    <a:lnTo>
                      <a:pt x="4" y="12"/>
                    </a:lnTo>
                    <a:lnTo>
                      <a:pt x="5" y="11"/>
                    </a:lnTo>
                    <a:lnTo>
                      <a:pt x="5" y="9"/>
                    </a:lnTo>
                    <a:lnTo>
                      <a:pt x="7" y="9"/>
                    </a:lnTo>
                    <a:lnTo>
                      <a:pt x="11" y="2"/>
                    </a:lnTo>
                    <a:lnTo>
                      <a:pt x="14" y="0"/>
                    </a:lnTo>
                    <a:lnTo>
                      <a:pt x="23" y="2"/>
                    </a:lnTo>
                    <a:lnTo>
                      <a:pt x="26" y="0"/>
                    </a:lnTo>
                    <a:lnTo>
                      <a:pt x="30" y="0"/>
                    </a:lnTo>
                    <a:lnTo>
                      <a:pt x="31" y="2"/>
                    </a:lnTo>
                    <a:lnTo>
                      <a:pt x="31" y="5"/>
                    </a:lnTo>
                    <a:lnTo>
                      <a:pt x="43" y="6"/>
                    </a:lnTo>
                    <a:lnTo>
                      <a:pt x="46" y="9"/>
                    </a:lnTo>
                    <a:lnTo>
                      <a:pt x="47" y="13"/>
                    </a:lnTo>
                    <a:lnTo>
                      <a:pt x="59" y="13"/>
                    </a:lnTo>
                    <a:lnTo>
                      <a:pt x="61" y="13"/>
                    </a:lnTo>
                    <a:lnTo>
                      <a:pt x="72" y="15"/>
                    </a:lnTo>
                    <a:lnTo>
                      <a:pt x="74" y="15"/>
                    </a:lnTo>
                    <a:lnTo>
                      <a:pt x="76" y="11"/>
                    </a:lnTo>
                    <a:lnTo>
                      <a:pt x="76" y="9"/>
                    </a:lnTo>
                    <a:lnTo>
                      <a:pt x="78" y="8"/>
                    </a:lnTo>
                    <a:lnTo>
                      <a:pt x="81" y="8"/>
                    </a:lnTo>
                    <a:lnTo>
                      <a:pt x="82" y="11"/>
                    </a:lnTo>
                    <a:lnTo>
                      <a:pt x="84" y="12"/>
                    </a:lnTo>
                    <a:lnTo>
                      <a:pt x="87" y="12"/>
                    </a:lnTo>
                    <a:lnTo>
                      <a:pt x="88" y="11"/>
                    </a:lnTo>
                    <a:lnTo>
                      <a:pt x="97" y="13"/>
                    </a:lnTo>
                    <a:lnTo>
                      <a:pt x="101" y="13"/>
                    </a:lnTo>
                    <a:lnTo>
                      <a:pt x="103" y="15"/>
                    </a:lnTo>
                    <a:lnTo>
                      <a:pt x="106" y="19"/>
                    </a:lnTo>
                    <a:lnTo>
                      <a:pt x="107" y="21"/>
                    </a:lnTo>
                    <a:lnTo>
                      <a:pt x="107" y="25"/>
                    </a:lnTo>
                    <a:lnTo>
                      <a:pt x="113" y="27"/>
                    </a:lnTo>
                    <a:lnTo>
                      <a:pt x="124" y="25"/>
                    </a:lnTo>
                    <a:lnTo>
                      <a:pt x="127" y="25"/>
                    </a:lnTo>
                    <a:lnTo>
                      <a:pt x="130" y="28"/>
                    </a:lnTo>
                    <a:lnTo>
                      <a:pt x="129" y="37"/>
                    </a:lnTo>
                    <a:lnTo>
                      <a:pt x="132" y="43"/>
                    </a:lnTo>
                    <a:lnTo>
                      <a:pt x="130" y="41"/>
                    </a:lnTo>
                    <a:lnTo>
                      <a:pt x="129" y="40"/>
                    </a:lnTo>
                    <a:lnTo>
                      <a:pt x="113" y="35"/>
                    </a:lnTo>
                    <a:lnTo>
                      <a:pt x="106" y="37"/>
                    </a:lnTo>
                    <a:lnTo>
                      <a:pt x="97" y="34"/>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59" name="Freeform 1339"/>
              <p:cNvSpPr>
                <a:spLocks/>
              </p:cNvSpPr>
              <p:nvPr/>
            </p:nvSpPr>
            <p:spPr bwMode="auto">
              <a:xfrm>
                <a:off x="7633175" y="3323304"/>
                <a:ext cx="5267" cy="11155"/>
              </a:xfrm>
              <a:custGeom>
                <a:avLst/>
                <a:gdLst/>
                <a:ahLst/>
                <a:cxnLst>
                  <a:cxn ang="0">
                    <a:pos x="3" y="1"/>
                  </a:cxn>
                  <a:cxn ang="0">
                    <a:pos x="3" y="1"/>
                  </a:cxn>
                  <a:cxn ang="0">
                    <a:pos x="5" y="8"/>
                  </a:cxn>
                  <a:cxn ang="0">
                    <a:pos x="3" y="11"/>
                  </a:cxn>
                  <a:cxn ang="0">
                    <a:pos x="2" y="11"/>
                  </a:cxn>
                  <a:cxn ang="0">
                    <a:pos x="0" y="4"/>
                  </a:cxn>
                  <a:cxn ang="0">
                    <a:pos x="2" y="1"/>
                  </a:cxn>
                  <a:cxn ang="0">
                    <a:pos x="2" y="0"/>
                  </a:cxn>
                  <a:cxn ang="0">
                    <a:pos x="3" y="1"/>
                  </a:cxn>
                </a:cxnLst>
                <a:rect l="0" t="0" r="r" b="b"/>
                <a:pathLst>
                  <a:path w="5" h="11">
                    <a:moveTo>
                      <a:pt x="3" y="1"/>
                    </a:moveTo>
                    <a:lnTo>
                      <a:pt x="3" y="1"/>
                    </a:lnTo>
                    <a:lnTo>
                      <a:pt x="5" y="8"/>
                    </a:lnTo>
                    <a:lnTo>
                      <a:pt x="3" y="11"/>
                    </a:lnTo>
                    <a:lnTo>
                      <a:pt x="2" y="11"/>
                    </a:lnTo>
                    <a:lnTo>
                      <a:pt x="0" y="4"/>
                    </a:lnTo>
                    <a:lnTo>
                      <a:pt x="2" y="1"/>
                    </a:lnTo>
                    <a:lnTo>
                      <a:pt x="2" y="0"/>
                    </a:lnTo>
                    <a:lnTo>
                      <a:pt x="3"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60" name="Freeform 1340"/>
              <p:cNvSpPr>
                <a:spLocks/>
              </p:cNvSpPr>
              <p:nvPr/>
            </p:nvSpPr>
            <p:spPr bwMode="auto">
              <a:xfrm>
                <a:off x="7633175" y="3323304"/>
                <a:ext cx="5267" cy="11155"/>
              </a:xfrm>
              <a:custGeom>
                <a:avLst/>
                <a:gdLst/>
                <a:ahLst/>
                <a:cxnLst>
                  <a:cxn ang="0">
                    <a:pos x="3" y="1"/>
                  </a:cxn>
                  <a:cxn ang="0">
                    <a:pos x="3" y="1"/>
                  </a:cxn>
                  <a:cxn ang="0">
                    <a:pos x="5" y="8"/>
                  </a:cxn>
                  <a:cxn ang="0">
                    <a:pos x="3" y="11"/>
                  </a:cxn>
                  <a:cxn ang="0">
                    <a:pos x="2" y="11"/>
                  </a:cxn>
                  <a:cxn ang="0">
                    <a:pos x="0" y="4"/>
                  </a:cxn>
                  <a:cxn ang="0">
                    <a:pos x="2" y="1"/>
                  </a:cxn>
                  <a:cxn ang="0">
                    <a:pos x="2" y="0"/>
                  </a:cxn>
                  <a:cxn ang="0">
                    <a:pos x="3" y="1"/>
                  </a:cxn>
                </a:cxnLst>
                <a:rect l="0" t="0" r="r" b="b"/>
                <a:pathLst>
                  <a:path w="5" h="11">
                    <a:moveTo>
                      <a:pt x="3" y="1"/>
                    </a:moveTo>
                    <a:lnTo>
                      <a:pt x="3" y="1"/>
                    </a:lnTo>
                    <a:lnTo>
                      <a:pt x="5" y="8"/>
                    </a:lnTo>
                    <a:lnTo>
                      <a:pt x="3" y="11"/>
                    </a:lnTo>
                    <a:lnTo>
                      <a:pt x="2" y="11"/>
                    </a:lnTo>
                    <a:lnTo>
                      <a:pt x="0" y="4"/>
                    </a:lnTo>
                    <a:lnTo>
                      <a:pt x="2" y="1"/>
                    </a:lnTo>
                    <a:lnTo>
                      <a:pt x="2" y="0"/>
                    </a:lnTo>
                    <a:lnTo>
                      <a:pt x="3" y="1"/>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61" name="Freeform 1341"/>
              <p:cNvSpPr>
                <a:spLocks/>
              </p:cNvSpPr>
              <p:nvPr/>
            </p:nvSpPr>
            <p:spPr bwMode="auto">
              <a:xfrm>
                <a:off x="7760456" y="3386180"/>
                <a:ext cx="13167" cy="7099"/>
              </a:xfrm>
              <a:custGeom>
                <a:avLst/>
                <a:gdLst/>
                <a:ahLst/>
                <a:cxnLst>
                  <a:cxn ang="0">
                    <a:pos x="2" y="7"/>
                  </a:cxn>
                  <a:cxn ang="0">
                    <a:pos x="0" y="5"/>
                  </a:cxn>
                  <a:cxn ang="0">
                    <a:pos x="2" y="4"/>
                  </a:cxn>
                  <a:cxn ang="0">
                    <a:pos x="2" y="3"/>
                  </a:cxn>
                  <a:cxn ang="0">
                    <a:pos x="6" y="3"/>
                  </a:cxn>
                  <a:cxn ang="0">
                    <a:pos x="12" y="0"/>
                  </a:cxn>
                  <a:cxn ang="0">
                    <a:pos x="13" y="1"/>
                  </a:cxn>
                  <a:cxn ang="0">
                    <a:pos x="15" y="3"/>
                  </a:cxn>
                  <a:cxn ang="0">
                    <a:pos x="11" y="5"/>
                  </a:cxn>
                  <a:cxn ang="0">
                    <a:pos x="5" y="7"/>
                  </a:cxn>
                  <a:cxn ang="0">
                    <a:pos x="3" y="7"/>
                  </a:cxn>
                  <a:cxn ang="0">
                    <a:pos x="2" y="7"/>
                  </a:cxn>
                </a:cxnLst>
                <a:rect l="0" t="0" r="r" b="b"/>
                <a:pathLst>
                  <a:path w="15" h="7">
                    <a:moveTo>
                      <a:pt x="2" y="7"/>
                    </a:moveTo>
                    <a:lnTo>
                      <a:pt x="0" y="5"/>
                    </a:lnTo>
                    <a:lnTo>
                      <a:pt x="2" y="4"/>
                    </a:lnTo>
                    <a:lnTo>
                      <a:pt x="2" y="3"/>
                    </a:lnTo>
                    <a:lnTo>
                      <a:pt x="6" y="3"/>
                    </a:lnTo>
                    <a:lnTo>
                      <a:pt x="12" y="0"/>
                    </a:lnTo>
                    <a:lnTo>
                      <a:pt x="13" y="1"/>
                    </a:lnTo>
                    <a:lnTo>
                      <a:pt x="15" y="3"/>
                    </a:lnTo>
                    <a:lnTo>
                      <a:pt x="11" y="5"/>
                    </a:lnTo>
                    <a:lnTo>
                      <a:pt x="5" y="7"/>
                    </a:lnTo>
                    <a:lnTo>
                      <a:pt x="3" y="7"/>
                    </a:lnTo>
                    <a:lnTo>
                      <a:pt x="2" y="7"/>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62" name="Freeform 1342"/>
              <p:cNvSpPr>
                <a:spLocks/>
              </p:cNvSpPr>
              <p:nvPr/>
            </p:nvSpPr>
            <p:spPr bwMode="auto">
              <a:xfrm>
                <a:off x="7760456" y="3386180"/>
                <a:ext cx="13167" cy="7099"/>
              </a:xfrm>
              <a:custGeom>
                <a:avLst/>
                <a:gdLst/>
                <a:ahLst/>
                <a:cxnLst>
                  <a:cxn ang="0">
                    <a:pos x="2" y="7"/>
                  </a:cxn>
                  <a:cxn ang="0">
                    <a:pos x="0" y="5"/>
                  </a:cxn>
                  <a:cxn ang="0">
                    <a:pos x="2" y="4"/>
                  </a:cxn>
                  <a:cxn ang="0">
                    <a:pos x="2" y="3"/>
                  </a:cxn>
                  <a:cxn ang="0">
                    <a:pos x="6" y="3"/>
                  </a:cxn>
                  <a:cxn ang="0">
                    <a:pos x="12" y="0"/>
                  </a:cxn>
                  <a:cxn ang="0">
                    <a:pos x="13" y="1"/>
                  </a:cxn>
                  <a:cxn ang="0">
                    <a:pos x="15" y="3"/>
                  </a:cxn>
                  <a:cxn ang="0">
                    <a:pos x="11" y="5"/>
                  </a:cxn>
                  <a:cxn ang="0">
                    <a:pos x="5" y="7"/>
                  </a:cxn>
                  <a:cxn ang="0">
                    <a:pos x="3" y="7"/>
                  </a:cxn>
                  <a:cxn ang="0">
                    <a:pos x="2" y="7"/>
                  </a:cxn>
                </a:cxnLst>
                <a:rect l="0" t="0" r="r" b="b"/>
                <a:pathLst>
                  <a:path w="15" h="7">
                    <a:moveTo>
                      <a:pt x="2" y="7"/>
                    </a:moveTo>
                    <a:lnTo>
                      <a:pt x="0" y="5"/>
                    </a:lnTo>
                    <a:lnTo>
                      <a:pt x="2" y="4"/>
                    </a:lnTo>
                    <a:lnTo>
                      <a:pt x="2" y="3"/>
                    </a:lnTo>
                    <a:lnTo>
                      <a:pt x="6" y="3"/>
                    </a:lnTo>
                    <a:lnTo>
                      <a:pt x="12" y="0"/>
                    </a:lnTo>
                    <a:lnTo>
                      <a:pt x="13" y="1"/>
                    </a:lnTo>
                    <a:lnTo>
                      <a:pt x="15" y="3"/>
                    </a:lnTo>
                    <a:lnTo>
                      <a:pt x="11" y="5"/>
                    </a:lnTo>
                    <a:lnTo>
                      <a:pt x="5" y="7"/>
                    </a:lnTo>
                    <a:lnTo>
                      <a:pt x="3" y="7"/>
                    </a:lnTo>
                    <a:lnTo>
                      <a:pt x="2" y="7"/>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63" name="Freeform 1343"/>
              <p:cNvSpPr>
                <a:spLocks/>
              </p:cNvSpPr>
              <p:nvPr/>
            </p:nvSpPr>
            <p:spPr bwMode="auto">
              <a:xfrm>
                <a:off x="7723588" y="3429787"/>
                <a:ext cx="6145" cy="8113"/>
              </a:xfrm>
              <a:custGeom>
                <a:avLst/>
                <a:gdLst/>
                <a:ahLst/>
                <a:cxnLst>
                  <a:cxn ang="0">
                    <a:pos x="0" y="6"/>
                  </a:cxn>
                  <a:cxn ang="0">
                    <a:pos x="0" y="4"/>
                  </a:cxn>
                  <a:cxn ang="0">
                    <a:pos x="1" y="4"/>
                  </a:cxn>
                  <a:cxn ang="0">
                    <a:pos x="6" y="0"/>
                  </a:cxn>
                  <a:cxn ang="0">
                    <a:pos x="7" y="3"/>
                  </a:cxn>
                  <a:cxn ang="0">
                    <a:pos x="6" y="4"/>
                  </a:cxn>
                  <a:cxn ang="0">
                    <a:pos x="1" y="7"/>
                  </a:cxn>
                  <a:cxn ang="0">
                    <a:pos x="0" y="7"/>
                  </a:cxn>
                  <a:cxn ang="0">
                    <a:pos x="0" y="6"/>
                  </a:cxn>
                </a:cxnLst>
                <a:rect l="0" t="0" r="r" b="b"/>
                <a:pathLst>
                  <a:path w="7" h="7">
                    <a:moveTo>
                      <a:pt x="0" y="6"/>
                    </a:moveTo>
                    <a:lnTo>
                      <a:pt x="0" y="4"/>
                    </a:lnTo>
                    <a:lnTo>
                      <a:pt x="1" y="4"/>
                    </a:lnTo>
                    <a:lnTo>
                      <a:pt x="6" y="0"/>
                    </a:lnTo>
                    <a:lnTo>
                      <a:pt x="7" y="3"/>
                    </a:lnTo>
                    <a:lnTo>
                      <a:pt x="6" y="4"/>
                    </a:lnTo>
                    <a:lnTo>
                      <a:pt x="1" y="7"/>
                    </a:lnTo>
                    <a:lnTo>
                      <a:pt x="0" y="7"/>
                    </a:lnTo>
                    <a:lnTo>
                      <a:pt x="0" y="6"/>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64" name="Freeform 1344"/>
              <p:cNvSpPr>
                <a:spLocks/>
              </p:cNvSpPr>
              <p:nvPr/>
            </p:nvSpPr>
            <p:spPr bwMode="auto">
              <a:xfrm>
                <a:off x="7723588" y="3429787"/>
                <a:ext cx="6145" cy="8113"/>
              </a:xfrm>
              <a:custGeom>
                <a:avLst/>
                <a:gdLst/>
                <a:ahLst/>
                <a:cxnLst>
                  <a:cxn ang="0">
                    <a:pos x="0" y="6"/>
                  </a:cxn>
                  <a:cxn ang="0">
                    <a:pos x="0" y="4"/>
                  </a:cxn>
                  <a:cxn ang="0">
                    <a:pos x="1" y="4"/>
                  </a:cxn>
                  <a:cxn ang="0">
                    <a:pos x="6" y="0"/>
                  </a:cxn>
                  <a:cxn ang="0">
                    <a:pos x="7" y="3"/>
                  </a:cxn>
                  <a:cxn ang="0">
                    <a:pos x="6" y="4"/>
                  </a:cxn>
                  <a:cxn ang="0">
                    <a:pos x="1" y="7"/>
                  </a:cxn>
                  <a:cxn ang="0">
                    <a:pos x="0" y="7"/>
                  </a:cxn>
                  <a:cxn ang="0">
                    <a:pos x="0" y="6"/>
                  </a:cxn>
                </a:cxnLst>
                <a:rect l="0" t="0" r="r" b="b"/>
                <a:pathLst>
                  <a:path w="7" h="7">
                    <a:moveTo>
                      <a:pt x="0" y="6"/>
                    </a:moveTo>
                    <a:lnTo>
                      <a:pt x="0" y="4"/>
                    </a:lnTo>
                    <a:lnTo>
                      <a:pt x="1" y="4"/>
                    </a:lnTo>
                    <a:lnTo>
                      <a:pt x="6" y="0"/>
                    </a:lnTo>
                    <a:lnTo>
                      <a:pt x="7" y="3"/>
                    </a:lnTo>
                    <a:lnTo>
                      <a:pt x="6" y="4"/>
                    </a:lnTo>
                    <a:lnTo>
                      <a:pt x="1" y="7"/>
                    </a:lnTo>
                    <a:lnTo>
                      <a:pt x="0" y="7"/>
                    </a:lnTo>
                    <a:lnTo>
                      <a:pt x="0" y="6"/>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65" name="Freeform 1345"/>
              <p:cNvSpPr>
                <a:spLocks/>
              </p:cNvSpPr>
              <p:nvPr/>
            </p:nvSpPr>
            <p:spPr bwMode="auto">
              <a:xfrm>
                <a:off x="7742900" y="3394293"/>
                <a:ext cx="7901" cy="6085"/>
              </a:xfrm>
              <a:custGeom>
                <a:avLst/>
                <a:gdLst/>
                <a:ahLst/>
                <a:cxnLst>
                  <a:cxn ang="0">
                    <a:pos x="0" y="2"/>
                  </a:cxn>
                  <a:cxn ang="0">
                    <a:pos x="0" y="0"/>
                  </a:cxn>
                  <a:cxn ang="0">
                    <a:pos x="3" y="2"/>
                  </a:cxn>
                  <a:cxn ang="0">
                    <a:pos x="8" y="0"/>
                  </a:cxn>
                  <a:cxn ang="0">
                    <a:pos x="9" y="2"/>
                  </a:cxn>
                  <a:cxn ang="0">
                    <a:pos x="8" y="3"/>
                  </a:cxn>
                  <a:cxn ang="0">
                    <a:pos x="6" y="5"/>
                  </a:cxn>
                  <a:cxn ang="0">
                    <a:pos x="2" y="5"/>
                  </a:cxn>
                  <a:cxn ang="0">
                    <a:pos x="0" y="5"/>
                  </a:cxn>
                  <a:cxn ang="0">
                    <a:pos x="0" y="3"/>
                  </a:cxn>
                  <a:cxn ang="0">
                    <a:pos x="0" y="2"/>
                  </a:cxn>
                </a:cxnLst>
                <a:rect l="0" t="0" r="r" b="b"/>
                <a:pathLst>
                  <a:path w="9" h="5">
                    <a:moveTo>
                      <a:pt x="0" y="2"/>
                    </a:moveTo>
                    <a:lnTo>
                      <a:pt x="0" y="0"/>
                    </a:lnTo>
                    <a:lnTo>
                      <a:pt x="3" y="2"/>
                    </a:lnTo>
                    <a:lnTo>
                      <a:pt x="8" y="0"/>
                    </a:lnTo>
                    <a:lnTo>
                      <a:pt x="9" y="2"/>
                    </a:lnTo>
                    <a:lnTo>
                      <a:pt x="8" y="3"/>
                    </a:lnTo>
                    <a:lnTo>
                      <a:pt x="6" y="5"/>
                    </a:lnTo>
                    <a:lnTo>
                      <a:pt x="2" y="5"/>
                    </a:lnTo>
                    <a:lnTo>
                      <a:pt x="0" y="5"/>
                    </a:lnTo>
                    <a:lnTo>
                      <a:pt x="0" y="3"/>
                    </a:lnTo>
                    <a:lnTo>
                      <a:pt x="0" y="2"/>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66" name="Freeform 1346"/>
              <p:cNvSpPr>
                <a:spLocks/>
              </p:cNvSpPr>
              <p:nvPr/>
            </p:nvSpPr>
            <p:spPr bwMode="auto">
              <a:xfrm>
                <a:off x="7742900" y="3394293"/>
                <a:ext cx="7901" cy="6085"/>
              </a:xfrm>
              <a:custGeom>
                <a:avLst/>
                <a:gdLst/>
                <a:ahLst/>
                <a:cxnLst>
                  <a:cxn ang="0">
                    <a:pos x="0" y="2"/>
                  </a:cxn>
                  <a:cxn ang="0">
                    <a:pos x="0" y="0"/>
                  </a:cxn>
                  <a:cxn ang="0">
                    <a:pos x="3" y="2"/>
                  </a:cxn>
                  <a:cxn ang="0">
                    <a:pos x="8" y="0"/>
                  </a:cxn>
                  <a:cxn ang="0">
                    <a:pos x="9" y="2"/>
                  </a:cxn>
                  <a:cxn ang="0">
                    <a:pos x="8" y="3"/>
                  </a:cxn>
                  <a:cxn ang="0">
                    <a:pos x="6" y="5"/>
                  </a:cxn>
                  <a:cxn ang="0">
                    <a:pos x="2" y="5"/>
                  </a:cxn>
                  <a:cxn ang="0">
                    <a:pos x="0" y="5"/>
                  </a:cxn>
                  <a:cxn ang="0">
                    <a:pos x="0" y="3"/>
                  </a:cxn>
                  <a:cxn ang="0">
                    <a:pos x="0" y="2"/>
                  </a:cxn>
                </a:cxnLst>
                <a:rect l="0" t="0" r="r" b="b"/>
                <a:pathLst>
                  <a:path w="9" h="5">
                    <a:moveTo>
                      <a:pt x="0" y="2"/>
                    </a:moveTo>
                    <a:lnTo>
                      <a:pt x="0" y="0"/>
                    </a:lnTo>
                    <a:lnTo>
                      <a:pt x="3" y="2"/>
                    </a:lnTo>
                    <a:lnTo>
                      <a:pt x="8" y="0"/>
                    </a:lnTo>
                    <a:lnTo>
                      <a:pt x="9" y="2"/>
                    </a:lnTo>
                    <a:lnTo>
                      <a:pt x="8" y="3"/>
                    </a:lnTo>
                    <a:lnTo>
                      <a:pt x="6" y="5"/>
                    </a:lnTo>
                    <a:lnTo>
                      <a:pt x="2" y="5"/>
                    </a:lnTo>
                    <a:lnTo>
                      <a:pt x="0" y="5"/>
                    </a:lnTo>
                    <a:lnTo>
                      <a:pt x="0" y="3"/>
                    </a:lnTo>
                    <a:lnTo>
                      <a:pt x="0" y="2"/>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67" name="Freeform 1347"/>
              <p:cNvSpPr>
                <a:spLocks/>
              </p:cNvSpPr>
              <p:nvPr/>
            </p:nvSpPr>
            <p:spPr bwMode="auto">
              <a:xfrm>
                <a:off x="7735878" y="3396321"/>
                <a:ext cx="5267" cy="5071"/>
              </a:xfrm>
              <a:custGeom>
                <a:avLst/>
                <a:gdLst/>
                <a:ahLst/>
                <a:cxnLst>
                  <a:cxn ang="0">
                    <a:pos x="0" y="3"/>
                  </a:cxn>
                  <a:cxn ang="0">
                    <a:pos x="0" y="1"/>
                  </a:cxn>
                  <a:cxn ang="0">
                    <a:pos x="5" y="0"/>
                  </a:cxn>
                  <a:cxn ang="0">
                    <a:pos x="5" y="1"/>
                  </a:cxn>
                  <a:cxn ang="0">
                    <a:pos x="3" y="4"/>
                  </a:cxn>
                  <a:cxn ang="0">
                    <a:pos x="2" y="4"/>
                  </a:cxn>
                  <a:cxn ang="0">
                    <a:pos x="0" y="3"/>
                  </a:cxn>
                </a:cxnLst>
                <a:rect l="0" t="0" r="r" b="b"/>
                <a:pathLst>
                  <a:path w="5" h="4">
                    <a:moveTo>
                      <a:pt x="0" y="3"/>
                    </a:moveTo>
                    <a:lnTo>
                      <a:pt x="0" y="1"/>
                    </a:lnTo>
                    <a:lnTo>
                      <a:pt x="5" y="0"/>
                    </a:lnTo>
                    <a:lnTo>
                      <a:pt x="5" y="1"/>
                    </a:lnTo>
                    <a:lnTo>
                      <a:pt x="3" y="4"/>
                    </a:lnTo>
                    <a:lnTo>
                      <a:pt x="2" y="4"/>
                    </a:lnTo>
                    <a:lnTo>
                      <a:pt x="0" y="3"/>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68" name="Freeform 1348"/>
              <p:cNvSpPr>
                <a:spLocks/>
              </p:cNvSpPr>
              <p:nvPr/>
            </p:nvSpPr>
            <p:spPr bwMode="auto">
              <a:xfrm>
                <a:off x="7735878" y="3396321"/>
                <a:ext cx="5267" cy="5071"/>
              </a:xfrm>
              <a:custGeom>
                <a:avLst/>
                <a:gdLst/>
                <a:ahLst/>
                <a:cxnLst>
                  <a:cxn ang="0">
                    <a:pos x="0" y="3"/>
                  </a:cxn>
                  <a:cxn ang="0">
                    <a:pos x="0" y="1"/>
                  </a:cxn>
                  <a:cxn ang="0">
                    <a:pos x="5" y="0"/>
                  </a:cxn>
                  <a:cxn ang="0">
                    <a:pos x="5" y="1"/>
                  </a:cxn>
                  <a:cxn ang="0">
                    <a:pos x="3" y="4"/>
                  </a:cxn>
                  <a:cxn ang="0">
                    <a:pos x="2" y="4"/>
                  </a:cxn>
                  <a:cxn ang="0">
                    <a:pos x="0" y="3"/>
                  </a:cxn>
                </a:cxnLst>
                <a:rect l="0" t="0" r="r" b="b"/>
                <a:pathLst>
                  <a:path w="5" h="4">
                    <a:moveTo>
                      <a:pt x="0" y="3"/>
                    </a:moveTo>
                    <a:lnTo>
                      <a:pt x="0" y="1"/>
                    </a:lnTo>
                    <a:lnTo>
                      <a:pt x="5" y="0"/>
                    </a:lnTo>
                    <a:lnTo>
                      <a:pt x="5" y="1"/>
                    </a:lnTo>
                    <a:lnTo>
                      <a:pt x="3" y="4"/>
                    </a:lnTo>
                    <a:lnTo>
                      <a:pt x="2" y="4"/>
                    </a:lnTo>
                    <a:lnTo>
                      <a:pt x="0" y="3"/>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69" name="Freeform 1349"/>
              <p:cNvSpPr>
                <a:spLocks/>
              </p:cNvSpPr>
              <p:nvPr/>
            </p:nvSpPr>
            <p:spPr bwMode="auto">
              <a:xfrm>
                <a:off x="7728855" y="3396321"/>
                <a:ext cx="4389" cy="5071"/>
              </a:xfrm>
              <a:custGeom>
                <a:avLst/>
                <a:gdLst/>
                <a:ahLst/>
                <a:cxnLst>
                  <a:cxn ang="0">
                    <a:pos x="0" y="4"/>
                  </a:cxn>
                  <a:cxn ang="0">
                    <a:pos x="0" y="1"/>
                  </a:cxn>
                  <a:cxn ang="0">
                    <a:pos x="1" y="0"/>
                  </a:cxn>
                  <a:cxn ang="0">
                    <a:pos x="2" y="1"/>
                  </a:cxn>
                  <a:cxn ang="0">
                    <a:pos x="2" y="1"/>
                  </a:cxn>
                  <a:cxn ang="0">
                    <a:pos x="4" y="0"/>
                  </a:cxn>
                  <a:cxn ang="0">
                    <a:pos x="5" y="0"/>
                  </a:cxn>
                  <a:cxn ang="0">
                    <a:pos x="5" y="0"/>
                  </a:cxn>
                  <a:cxn ang="0">
                    <a:pos x="4" y="4"/>
                  </a:cxn>
                  <a:cxn ang="0">
                    <a:pos x="2" y="4"/>
                  </a:cxn>
                  <a:cxn ang="0">
                    <a:pos x="0" y="4"/>
                  </a:cxn>
                  <a:cxn ang="0">
                    <a:pos x="0" y="4"/>
                  </a:cxn>
                </a:cxnLst>
                <a:rect l="0" t="0" r="r" b="b"/>
                <a:pathLst>
                  <a:path w="5" h="4">
                    <a:moveTo>
                      <a:pt x="0" y="4"/>
                    </a:moveTo>
                    <a:lnTo>
                      <a:pt x="0" y="1"/>
                    </a:lnTo>
                    <a:lnTo>
                      <a:pt x="1" y="0"/>
                    </a:lnTo>
                    <a:lnTo>
                      <a:pt x="2" y="1"/>
                    </a:lnTo>
                    <a:lnTo>
                      <a:pt x="2" y="1"/>
                    </a:lnTo>
                    <a:lnTo>
                      <a:pt x="4" y="0"/>
                    </a:lnTo>
                    <a:lnTo>
                      <a:pt x="5" y="0"/>
                    </a:lnTo>
                    <a:lnTo>
                      <a:pt x="5" y="0"/>
                    </a:lnTo>
                    <a:lnTo>
                      <a:pt x="4" y="4"/>
                    </a:lnTo>
                    <a:lnTo>
                      <a:pt x="2" y="4"/>
                    </a:lnTo>
                    <a:lnTo>
                      <a:pt x="0" y="4"/>
                    </a:lnTo>
                    <a:lnTo>
                      <a:pt x="0" y="4"/>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70" name="Freeform 1350"/>
              <p:cNvSpPr>
                <a:spLocks/>
              </p:cNvSpPr>
              <p:nvPr/>
            </p:nvSpPr>
            <p:spPr bwMode="auto">
              <a:xfrm>
                <a:off x="7728855" y="3396321"/>
                <a:ext cx="4389" cy="5071"/>
              </a:xfrm>
              <a:custGeom>
                <a:avLst/>
                <a:gdLst/>
                <a:ahLst/>
                <a:cxnLst>
                  <a:cxn ang="0">
                    <a:pos x="0" y="4"/>
                  </a:cxn>
                  <a:cxn ang="0">
                    <a:pos x="0" y="1"/>
                  </a:cxn>
                  <a:cxn ang="0">
                    <a:pos x="1" y="0"/>
                  </a:cxn>
                  <a:cxn ang="0">
                    <a:pos x="2" y="1"/>
                  </a:cxn>
                  <a:cxn ang="0">
                    <a:pos x="2" y="1"/>
                  </a:cxn>
                  <a:cxn ang="0">
                    <a:pos x="4" y="0"/>
                  </a:cxn>
                  <a:cxn ang="0">
                    <a:pos x="5" y="0"/>
                  </a:cxn>
                  <a:cxn ang="0">
                    <a:pos x="5" y="0"/>
                  </a:cxn>
                  <a:cxn ang="0">
                    <a:pos x="4" y="4"/>
                  </a:cxn>
                  <a:cxn ang="0">
                    <a:pos x="2" y="4"/>
                  </a:cxn>
                  <a:cxn ang="0">
                    <a:pos x="0" y="4"/>
                  </a:cxn>
                  <a:cxn ang="0">
                    <a:pos x="0" y="4"/>
                  </a:cxn>
                </a:cxnLst>
                <a:rect l="0" t="0" r="r" b="b"/>
                <a:pathLst>
                  <a:path w="5" h="4">
                    <a:moveTo>
                      <a:pt x="0" y="4"/>
                    </a:moveTo>
                    <a:lnTo>
                      <a:pt x="0" y="1"/>
                    </a:lnTo>
                    <a:lnTo>
                      <a:pt x="1" y="0"/>
                    </a:lnTo>
                    <a:lnTo>
                      <a:pt x="2" y="1"/>
                    </a:lnTo>
                    <a:lnTo>
                      <a:pt x="2" y="1"/>
                    </a:lnTo>
                    <a:lnTo>
                      <a:pt x="4" y="0"/>
                    </a:lnTo>
                    <a:lnTo>
                      <a:pt x="5" y="0"/>
                    </a:lnTo>
                    <a:lnTo>
                      <a:pt x="5" y="0"/>
                    </a:lnTo>
                    <a:lnTo>
                      <a:pt x="4" y="4"/>
                    </a:lnTo>
                    <a:lnTo>
                      <a:pt x="2" y="4"/>
                    </a:lnTo>
                    <a:lnTo>
                      <a:pt x="0" y="4"/>
                    </a:lnTo>
                    <a:lnTo>
                      <a:pt x="0" y="4"/>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71" name="Freeform 1351"/>
              <p:cNvSpPr>
                <a:spLocks/>
              </p:cNvSpPr>
              <p:nvPr/>
            </p:nvSpPr>
            <p:spPr bwMode="auto">
              <a:xfrm>
                <a:off x="7683210" y="3393278"/>
                <a:ext cx="41257" cy="14197"/>
              </a:xfrm>
              <a:custGeom>
                <a:avLst/>
                <a:gdLst/>
                <a:ahLst/>
                <a:cxnLst>
                  <a:cxn ang="0">
                    <a:pos x="2" y="6"/>
                  </a:cxn>
                  <a:cxn ang="0">
                    <a:pos x="3" y="6"/>
                  </a:cxn>
                  <a:cxn ang="0">
                    <a:pos x="3" y="4"/>
                  </a:cxn>
                  <a:cxn ang="0">
                    <a:pos x="12" y="3"/>
                  </a:cxn>
                  <a:cxn ang="0">
                    <a:pos x="12" y="4"/>
                  </a:cxn>
                  <a:cxn ang="0">
                    <a:pos x="18" y="4"/>
                  </a:cxn>
                  <a:cxn ang="0">
                    <a:pos x="19" y="6"/>
                  </a:cxn>
                  <a:cxn ang="0">
                    <a:pos x="23" y="7"/>
                  </a:cxn>
                  <a:cxn ang="0">
                    <a:pos x="25" y="7"/>
                  </a:cxn>
                  <a:cxn ang="0">
                    <a:pos x="31" y="6"/>
                  </a:cxn>
                  <a:cxn ang="0">
                    <a:pos x="32" y="7"/>
                  </a:cxn>
                  <a:cxn ang="0">
                    <a:pos x="36" y="9"/>
                  </a:cxn>
                  <a:cxn ang="0">
                    <a:pos x="38" y="7"/>
                  </a:cxn>
                  <a:cxn ang="0">
                    <a:pos x="39" y="6"/>
                  </a:cxn>
                  <a:cxn ang="0">
                    <a:pos x="41" y="4"/>
                  </a:cxn>
                  <a:cxn ang="0">
                    <a:pos x="42" y="4"/>
                  </a:cxn>
                  <a:cxn ang="0">
                    <a:pos x="44" y="3"/>
                  </a:cxn>
                  <a:cxn ang="0">
                    <a:pos x="44" y="4"/>
                  </a:cxn>
                  <a:cxn ang="0">
                    <a:pos x="42" y="3"/>
                  </a:cxn>
                  <a:cxn ang="0">
                    <a:pos x="42" y="0"/>
                  </a:cxn>
                  <a:cxn ang="0">
                    <a:pos x="44" y="1"/>
                  </a:cxn>
                  <a:cxn ang="0">
                    <a:pos x="45" y="4"/>
                  </a:cxn>
                  <a:cxn ang="0">
                    <a:pos x="41" y="9"/>
                  </a:cxn>
                  <a:cxn ang="0">
                    <a:pos x="36" y="10"/>
                  </a:cxn>
                  <a:cxn ang="0">
                    <a:pos x="34" y="10"/>
                  </a:cxn>
                  <a:cxn ang="0">
                    <a:pos x="29" y="12"/>
                  </a:cxn>
                  <a:cxn ang="0">
                    <a:pos x="23" y="12"/>
                  </a:cxn>
                  <a:cxn ang="0">
                    <a:pos x="18" y="13"/>
                  </a:cxn>
                  <a:cxn ang="0">
                    <a:pos x="10" y="12"/>
                  </a:cxn>
                  <a:cxn ang="0">
                    <a:pos x="0" y="12"/>
                  </a:cxn>
                  <a:cxn ang="0">
                    <a:pos x="0" y="10"/>
                  </a:cxn>
                  <a:cxn ang="0">
                    <a:pos x="0" y="9"/>
                  </a:cxn>
                  <a:cxn ang="0">
                    <a:pos x="0" y="7"/>
                  </a:cxn>
                  <a:cxn ang="0">
                    <a:pos x="2" y="6"/>
                  </a:cxn>
                </a:cxnLst>
                <a:rect l="0" t="0" r="r" b="b"/>
                <a:pathLst>
                  <a:path w="45" h="13">
                    <a:moveTo>
                      <a:pt x="2" y="6"/>
                    </a:moveTo>
                    <a:lnTo>
                      <a:pt x="3" y="6"/>
                    </a:lnTo>
                    <a:lnTo>
                      <a:pt x="3" y="4"/>
                    </a:lnTo>
                    <a:lnTo>
                      <a:pt x="12" y="3"/>
                    </a:lnTo>
                    <a:lnTo>
                      <a:pt x="12" y="4"/>
                    </a:lnTo>
                    <a:lnTo>
                      <a:pt x="18" y="4"/>
                    </a:lnTo>
                    <a:lnTo>
                      <a:pt x="19" y="6"/>
                    </a:lnTo>
                    <a:lnTo>
                      <a:pt x="23" y="7"/>
                    </a:lnTo>
                    <a:lnTo>
                      <a:pt x="25" y="7"/>
                    </a:lnTo>
                    <a:lnTo>
                      <a:pt x="31" y="6"/>
                    </a:lnTo>
                    <a:lnTo>
                      <a:pt x="32" y="7"/>
                    </a:lnTo>
                    <a:lnTo>
                      <a:pt x="36" y="9"/>
                    </a:lnTo>
                    <a:lnTo>
                      <a:pt x="38" y="7"/>
                    </a:lnTo>
                    <a:lnTo>
                      <a:pt x="39" y="6"/>
                    </a:lnTo>
                    <a:lnTo>
                      <a:pt x="41" y="4"/>
                    </a:lnTo>
                    <a:lnTo>
                      <a:pt x="42" y="4"/>
                    </a:lnTo>
                    <a:lnTo>
                      <a:pt x="44" y="3"/>
                    </a:lnTo>
                    <a:lnTo>
                      <a:pt x="44" y="4"/>
                    </a:lnTo>
                    <a:lnTo>
                      <a:pt x="42" y="3"/>
                    </a:lnTo>
                    <a:lnTo>
                      <a:pt x="42" y="0"/>
                    </a:lnTo>
                    <a:lnTo>
                      <a:pt x="44" y="1"/>
                    </a:lnTo>
                    <a:lnTo>
                      <a:pt x="45" y="4"/>
                    </a:lnTo>
                    <a:lnTo>
                      <a:pt x="41" y="9"/>
                    </a:lnTo>
                    <a:lnTo>
                      <a:pt x="36" y="10"/>
                    </a:lnTo>
                    <a:lnTo>
                      <a:pt x="34" y="10"/>
                    </a:lnTo>
                    <a:lnTo>
                      <a:pt x="29" y="12"/>
                    </a:lnTo>
                    <a:lnTo>
                      <a:pt x="23" y="12"/>
                    </a:lnTo>
                    <a:lnTo>
                      <a:pt x="18" y="13"/>
                    </a:lnTo>
                    <a:lnTo>
                      <a:pt x="10" y="12"/>
                    </a:lnTo>
                    <a:lnTo>
                      <a:pt x="0" y="12"/>
                    </a:lnTo>
                    <a:lnTo>
                      <a:pt x="0" y="10"/>
                    </a:lnTo>
                    <a:lnTo>
                      <a:pt x="0" y="9"/>
                    </a:lnTo>
                    <a:lnTo>
                      <a:pt x="0" y="7"/>
                    </a:lnTo>
                    <a:lnTo>
                      <a:pt x="2" y="6"/>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72" name="Freeform 1352"/>
              <p:cNvSpPr>
                <a:spLocks/>
              </p:cNvSpPr>
              <p:nvPr/>
            </p:nvSpPr>
            <p:spPr bwMode="auto">
              <a:xfrm>
                <a:off x="7683210" y="3393278"/>
                <a:ext cx="41257" cy="14197"/>
              </a:xfrm>
              <a:custGeom>
                <a:avLst/>
                <a:gdLst/>
                <a:ahLst/>
                <a:cxnLst>
                  <a:cxn ang="0">
                    <a:pos x="2" y="6"/>
                  </a:cxn>
                  <a:cxn ang="0">
                    <a:pos x="3" y="6"/>
                  </a:cxn>
                  <a:cxn ang="0">
                    <a:pos x="3" y="4"/>
                  </a:cxn>
                  <a:cxn ang="0">
                    <a:pos x="12" y="3"/>
                  </a:cxn>
                  <a:cxn ang="0">
                    <a:pos x="12" y="4"/>
                  </a:cxn>
                  <a:cxn ang="0">
                    <a:pos x="18" y="4"/>
                  </a:cxn>
                  <a:cxn ang="0">
                    <a:pos x="19" y="6"/>
                  </a:cxn>
                  <a:cxn ang="0">
                    <a:pos x="23" y="7"/>
                  </a:cxn>
                  <a:cxn ang="0">
                    <a:pos x="25" y="7"/>
                  </a:cxn>
                  <a:cxn ang="0">
                    <a:pos x="31" y="6"/>
                  </a:cxn>
                  <a:cxn ang="0">
                    <a:pos x="32" y="7"/>
                  </a:cxn>
                  <a:cxn ang="0">
                    <a:pos x="36" y="9"/>
                  </a:cxn>
                  <a:cxn ang="0">
                    <a:pos x="38" y="7"/>
                  </a:cxn>
                  <a:cxn ang="0">
                    <a:pos x="39" y="6"/>
                  </a:cxn>
                  <a:cxn ang="0">
                    <a:pos x="41" y="4"/>
                  </a:cxn>
                  <a:cxn ang="0">
                    <a:pos x="42" y="4"/>
                  </a:cxn>
                  <a:cxn ang="0">
                    <a:pos x="44" y="3"/>
                  </a:cxn>
                  <a:cxn ang="0">
                    <a:pos x="44" y="4"/>
                  </a:cxn>
                  <a:cxn ang="0">
                    <a:pos x="42" y="3"/>
                  </a:cxn>
                  <a:cxn ang="0">
                    <a:pos x="42" y="0"/>
                  </a:cxn>
                  <a:cxn ang="0">
                    <a:pos x="44" y="1"/>
                  </a:cxn>
                  <a:cxn ang="0">
                    <a:pos x="45" y="4"/>
                  </a:cxn>
                  <a:cxn ang="0">
                    <a:pos x="41" y="9"/>
                  </a:cxn>
                  <a:cxn ang="0">
                    <a:pos x="36" y="10"/>
                  </a:cxn>
                  <a:cxn ang="0">
                    <a:pos x="34" y="10"/>
                  </a:cxn>
                  <a:cxn ang="0">
                    <a:pos x="29" y="12"/>
                  </a:cxn>
                  <a:cxn ang="0">
                    <a:pos x="23" y="12"/>
                  </a:cxn>
                  <a:cxn ang="0">
                    <a:pos x="18" y="13"/>
                  </a:cxn>
                  <a:cxn ang="0">
                    <a:pos x="10" y="12"/>
                  </a:cxn>
                  <a:cxn ang="0">
                    <a:pos x="0" y="12"/>
                  </a:cxn>
                  <a:cxn ang="0">
                    <a:pos x="0" y="10"/>
                  </a:cxn>
                  <a:cxn ang="0">
                    <a:pos x="0" y="9"/>
                  </a:cxn>
                  <a:cxn ang="0">
                    <a:pos x="0" y="7"/>
                  </a:cxn>
                  <a:cxn ang="0">
                    <a:pos x="2" y="6"/>
                  </a:cxn>
                </a:cxnLst>
                <a:rect l="0" t="0" r="r" b="b"/>
                <a:pathLst>
                  <a:path w="45" h="13">
                    <a:moveTo>
                      <a:pt x="2" y="6"/>
                    </a:moveTo>
                    <a:lnTo>
                      <a:pt x="3" y="6"/>
                    </a:lnTo>
                    <a:lnTo>
                      <a:pt x="3" y="4"/>
                    </a:lnTo>
                    <a:lnTo>
                      <a:pt x="12" y="3"/>
                    </a:lnTo>
                    <a:lnTo>
                      <a:pt x="12" y="4"/>
                    </a:lnTo>
                    <a:lnTo>
                      <a:pt x="18" y="4"/>
                    </a:lnTo>
                    <a:lnTo>
                      <a:pt x="19" y="6"/>
                    </a:lnTo>
                    <a:lnTo>
                      <a:pt x="23" y="7"/>
                    </a:lnTo>
                    <a:lnTo>
                      <a:pt x="25" y="7"/>
                    </a:lnTo>
                    <a:lnTo>
                      <a:pt x="31" y="6"/>
                    </a:lnTo>
                    <a:lnTo>
                      <a:pt x="32" y="7"/>
                    </a:lnTo>
                    <a:lnTo>
                      <a:pt x="36" y="9"/>
                    </a:lnTo>
                    <a:lnTo>
                      <a:pt x="38" y="7"/>
                    </a:lnTo>
                    <a:lnTo>
                      <a:pt x="39" y="6"/>
                    </a:lnTo>
                    <a:lnTo>
                      <a:pt x="41" y="4"/>
                    </a:lnTo>
                    <a:lnTo>
                      <a:pt x="42" y="4"/>
                    </a:lnTo>
                    <a:lnTo>
                      <a:pt x="44" y="3"/>
                    </a:lnTo>
                    <a:lnTo>
                      <a:pt x="44" y="4"/>
                    </a:lnTo>
                    <a:lnTo>
                      <a:pt x="42" y="3"/>
                    </a:lnTo>
                    <a:lnTo>
                      <a:pt x="42" y="0"/>
                    </a:lnTo>
                    <a:lnTo>
                      <a:pt x="44" y="1"/>
                    </a:lnTo>
                    <a:lnTo>
                      <a:pt x="45" y="4"/>
                    </a:lnTo>
                    <a:lnTo>
                      <a:pt x="41" y="9"/>
                    </a:lnTo>
                    <a:lnTo>
                      <a:pt x="36" y="10"/>
                    </a:lnTo>
                    <a:lnTo>
                      <a:pt x="34" y="10"/>
                    </a:lnTo>
                    <a:lnTo>
                      <a:pt x="29" y="12"/>
                    </a:lnTo>
                    <a:lnTo>
                      <a:pt x="23" y="12"/>
                    </a:lnTo>
                    <a:lnTo>
                      <a:pt x="18" y="13"/>
                    </a:lnTo>
                    <a:lnTo>
                      <a:pt x="10" y="12"/>
                    </a:lnTo>
                    <a:lnTo>
                      <a:pt x="0" y="12"/>
                    </a:lnTo>
                    <a:lnTo>
                      <a:pt x="0" y="10"/>
                    </a:lnTo>
                    <a:lnTo>
                      <a:pt x="0" y="9"/>
                    </a:lnTo>
                    <a:lnTo>
                      <a:pt x="0" y="7"/>
                    </a:lnTo>
                    <a:lnTo>
                      <a:pt x="2" y="6"/>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73" name="Freeform 1353"/>
              <p:cNvSpPr>
                <a:spLocks/>
              </p:cNvSpPr>
              <p:nvPr/>
            </p:nvSpPr>
            <p:spPr bwMode="auto">
              <a:xfrm>
                <a:off x="7672676" y="3411533"/>
                <a:ext cx="21945" cy="15212"/>
              </a:xfrm>
              <a:custGeom>
                <a:avLst/>
                <a:gdLst/>
                <a:ahLst/>
                <a:cxnLst>
                  <a:cxn ang="0">
                    <a:pos x="13" y="0"/>
                  </a:cxn>
                  <a:cxn ang="0">
                    <a:pos x="14" y="3"/>
                  </a:cxn>
                  <a:cxn ang="0">
                    <a:pos x="16" y="3"/>
                  </a:cxn>
                  <a:cxn ang="0">
                    <a:pos x="17" y="5"/>
                  </a:cxn>
                  <a:cxn ang="0">
                    <a:pos x="21" y="8"/>
                  </a:cxn>
                  <a:cxn ang="0">
                    <a:pos x="24" y="10"/>
                  </a:cxn>
                  <a:cxn ang="0">
                    <a:pos x="24" y="13"/>
                  </a:cxn>
                  <a:cxn ang="0">
                    <a:pos x="23" y="15"/>
                  </a:cxn>
                  <a:cxn ang="0">
                    <a:pos x="20" y="15"/>
                  </a:cxn>
                  <a:cxn ang="0">
                    <a:pos x="17" y="15"/>
                  </a:cxn>
                  <a:cxn ang="0">
                    <a:pos x="14" y="12"/>
                  </a:cxn>
                  <a:cxn ang="0">
                    <a:pos x="8" y="8"/>
                  </a:cxn>
                  <a:cxn ang="0">
                    <a:pos x="2" y="8"/>
                  </a:cxn>
                  <a:cxn ang="0">
                    <a:pos x="0" y="5"/>
                  </a:cxn>
                  <a:cxn ang="0">
                    <a:pos x="0" y="3"/>
                  </a:cxn>
                  <a:cxn ang="0">
                    <a:pos x="4" y="2"/>
                  </a:cxn>
                  <a:cxn ang="0">
                    <a:pos x="11" y="2"/>
                  </a:cxn>
                  <a:cxn ang="0">
                    <a:pos x="13" y="0"/>
                  </a:cxn>
                </a:cxnLst>
                <a:rect l="0" t="0" r="r" b="b"/>
                <a:pathLst>
                  <a:path w="24" h="15">
                    <a:moveTo>
                      <a:pt x="13" y="0"/>
                    </a:moveTo>
                    <a:lnTo>
                      <a:pt x="14" y="3"/>
                    </a:lnTo>
                    <a:lnTo>
                      <a:pt x="16" y="3"/>
                    </a:lnTo>
                    <a:lnTo>
                      <a:pt x="17" y="5"/>
                    </a:lnTo>
                    <a:lnTo>
                      <a:pt x="21" y="8"/>
                    </a:lnTo>
                    <a:lnTo>
                      <a:pt x="24" y="10"/>
                    </a:lnTo>
                    <a:lnTo>
                      <a:pt x="24" y="13"/>
                    </a:lnTo>
                    <a:lnTo>
                      <a:pt x="23" y="15"/>
                    </a:lnTo>
                    <a:lnTo>
                      <a:pt x="20" y="15"/>
                    </a:lnTo>
                    <a:lnTo>
                      <a:pt x="17" y="15"/>
                    </a:lnTo>
                    <a:lnTo>
                      <a:pt x="14" y="12"/>
                    </a:lnTo>
                    <a:lnTo>
                      <a:pt x="8" y="8"/>
                    </a:lnTo>
                    <a:lnTo>
                      <a:pt x="2" y="8"/>
                    </a:lnTo>
                    <a:lnTo>
                      <a:pt x="0" y="5"/>
                    </a:lnTo>
                    <a:lnTo>
                      <a:pt x="0" y="3"/>
                    </a:lnTo>
                    <a:lnTo>
                      <a:pt x="4" y="2"/>
                    </a:lnTo>
                    <a:lnTo>
                      <a:pt x="11" y="2"/>
                    </a:lnTo>
                    <a:lnTo>
                      <a:pt x="13"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74" name="Freeform 1354"/>
              <p:cNvSpPr>
                <a:spLocks/>
              </p:cNvSpPr>
              <p:nvPr/>
            </p:nvSpPr>
            <p:spPr bwMode="auto">
              <a:xfrm>
                <a:off x="7672676" y="3411533"/>
                <a:ext cx="21945" cy="15212"/>
              </a:xfrm>
              <a:custGeom>
                <a:avLst/>
                <a:gdLst/>
                <a:ahLst/>
                <a:cxnLst>
                  <a:cxn ang="0">
                    <a:pos x="13" y="0"/>
                  </a:cxn>
                  <a:cxn ang="0">
                    <a:pos x="14" y="3"/>
                  </a:cxn>
                  <a:cxn ang="0">
                    <a:pos x="16" y="3"/>
                  </a:cxn>
                  <a:cxn ang="0">
                    <a:pos x="17" y="5"/>
                  </a:cxn>
                  <a:cxn ang="0">
                    <a:pos x="21" y="8"/>
                  </a:cxn>
                  <a:cxn ang="0">
                    <a:pos x="24" y="10"/>
                  </a:cxn>
                  <a:cxn ang="0">
                    <a:pos x="24" y="13"/>
                  </a:cxn>
                  <a:cxn ang="0">
                    <a:pos x="23" y="15"/>
                  </a:cxn>
                  <a:cxn ang="0">
                    <a:pos x="20" y="15"/>
                  </a:cxn>
                  <a:cxn ang="0">
                    <a:pos x="17" y="15"/>
                  </a:cxn>
                  <a:cxn ang="0">
                    <a:pos x="14" y="12"/>
                  </a:cxn>
                  <a:cxn ang="0">
                    <a:pos x="8" y="8"/>
                  </a:cxn>
                  <a:cxn ang="0">
                    <a:pos x="2" y="8"/>
                  </a:cxn>
                  <a:cxn ang="0">
                    <a:pos x="0" y="5"/>
                  </a:cxn>
                  <a:cxn ang="0">
                    <a:pos x="0" y="3"/>
                  </a:cxn>
                  <a:cxn ang="0">
                    <a:pos x="4" y="2"/>
                  </a:cxn>
                  <a:cxn ang="0">
                    <a:pos x="11" y="2"/>
                  </a:cxn>
                  <a:cxn ang="0">
                    <a:pos x="13" y="0"/>
                  </a:cxn>
                </a:cxnLst>
                <a:rect l="0" t="0" r="r" b="b"/>
                <a:pathLst>
                  <a:path w="24" h="15">
                    <a:moveTo>
                      <a:pt x="13" y="0"/>
                    </a:moveTo>
                    <a:lnTo>
                      <a:pt x="14" y="3"/>
                    </a:lnTo>
                    <a:lnTo>
                      <a:pt x="16" y="3"/>
                    </a:lnTo>
                    <a:lnTo>
                      <a:pt x="17" y="5"/>
                    </a:lnTo>
                    <a:lnTo>
                      <a:pt x="21" y="8"/>
                    </a:lnTo>
                    <a:lnTo>
                      <a:pt x="24" y="10"/>
                    </a:lnTo>
                    <a:lnTo>
                      <a:pt x="24" y="13"/>
                    </a:lnTo>
                    <a:lnTo>
                      <a:pt x="23" y="15"/>
                    </a:lnTo>
                    <a:lnTo>
                      <a:pt x="20" y="15"/>
                    </a:lnTo>
                    <a:lnTo>
                      <a:pt x="17" y="15"/>
                    </a:lnTo>
                    <a:lnTo>
                      <a:pt x="14" y="12"/>
                    </a:lnTo>
                    <a:lnTo>
                      <a:pt x="8" y="8"/>
                    </a:lnTo>
                    <a:lnTo>
                      <a:pt x="2" y="8"/>
                    </a:lnTo>
                    <a:lnTo>
                      <a:pt x="0" y="5"/>
                    </a:lnTo>
                    <a:lnTo>
                      <a:pt x="0" y="3"/>
                    </a:lnTo>
                    <a:lnTo>
                      <a:pt x="4" y="2"/>
                    </a:lnTo>
                    <a:lnTo>
                      <a:pt x="11" y="2"/>
                    </a:lnTo>
                    <a:lnTo>
                      <a:pt x="13"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75" name="Freeform 1355"/>
              <p:cNvSpPr>
                <a:spLocks/>
              </p:cNvSpPr>
              <p:nvPr/>
            </p:nvSpPr>
            <p:spPr bwMode="auto">
              <a:xfrm>
                <a:off x="7643709" y="3394293"/>
                <a:ext cx="29845" cy="14197"/>
              </a:xfrm>
              <a:custGeom>
                <a:avLst/>
                <a:gdLst/>
                <a:ahLst/>
                <a:cxnLst>
                  <a:cxn ang="0">
                    <a:pos x="4" y="5"/>
                  </a:cxn>
                  <a:cxn ang="0">
                    <a:pos x="5" y="3"/>
                  </a:cxn>
                  <a:cxn ang="0">
                    <a:pos x="11" y="5"/>
                  </a:cxn>
                  <a:cxn ang="0">
                    <a:pos x="14" y="8"/>
                  </a:cxn>
                  <a:cxn ang="0">
                    <a:pos x="16" y="9"/>
                  </a:cxn>
                  <a:cxn ang="0">
                    <a:pos x="17" y="9"/>
                  </a:cxn>
                  <a:cxn ang="0">
                    <a:pos x="20" y="8"/>
                  </a:cxn>
                  <a:cxn ang="0">
                    <a:pos x="20" y="6"/>
                  </a:cxn>
                  <a:cxn ang="0">
                    <a:pos x="14" y="3"/>
                  </a:cxn>
                  <a:cxn ang="0">
                    <a:pos x="14" y="0"/>
                  </a:cxn>
                  <a:cxn ang="0">
                    <a:pos x="16" y="0"/>
                  </a:cxn>
                  <a:cxn ang="0">
                    <a:pos x="18" y="0"/>
                  </a:cxn>
                  <a:cxn ang="0">
                    <a:pos x="20" y="3"/>
                  </a:cxn>
                  <a:cxn ang="0">
                    <a:pos x="24" y="2"/>
                  </a:cxn>
                  <a:cxn ang="0">
                    <a:pos x="26" y="3"/>
                  </a:cxn>
                  <a:cxn ang="0">
                    <a:pos x="26" y="6"/>
                  </a:cxn>
                  <a:cxn ang="0">
                    <a:pos x="30" y="2"/>
                  </a:cxn>
                  <a:cxn ang="0">
                    <a:pos x="32" y="6"/>
                  </a:cxn>
                  <a:cxn ang="0">
                    <a:pos x="32" y="8"/>
                  </a:cxn>
                  <a:cxn ang="0">
                    <a:pos x="33" y="9"/>
                  </a:cxn>
                  <a:cxn ang="0">
                    <a:pos x="32" y="9"/>
                  </a:cxn>
                  <a:cxn ang="0">
                    <a:pos x="30" y="8"/>
                  </a:cxn>
                  <a:cxn ang="0">
                    <a:pos x="29" y="9"/>
                  </a:cxn>
                  <a:cxn ang="0">
                    <a:pos x="30" y="11"/>
                  </a:cxn>
                  <a:cxn ang="0">
                    <a:pos x="26" y="11"/>
                  </a:cxn>
                  <a:cxn ang="0">
                    <a:pos x="23" y="9"/>
                  </a:cxn>
                  <a:cxn ang="0">
                    <a:pos x="23" y="9"/>
                  </a:cxn>
                  <a:cxn ang="0">
                    <a:pos x="5" y="13"/>
                  </a:cxn>
                  <a:cxn ang="0">
                    <a:pos x="3" y="13"/>
                  </a:cxn>
                  <a:cxn ang="0">
                    <a:pos x="1" y="13"/>
                  </a:cxn>
                  <a:cxn ang="0">
                    <a:pos x="0" y="12"/>
                  </a:cxn>
                  <a:cxn ang="0">
                    <a:pos x="0" y="8"/>
                  </a:cxn>
                  <a:cxn ang="0">
                    <a:pos x="3" y="6"/>
                  </a:cxn>
                  <a:cxn ang="0">
                    <a:pos x="4" y="5"/>
                  </a:cxn>
                </a:cxnLst>
                <a:rect l="0" t="0" r="r" b="b"/>
                <a:pathLst>
                  <a:path w="33" h="13">
                    <a:moveTo>
                      <a:pt x="4" y="5"/>
                    </a:moveTo>
                    <a:lnTo>
                      <a:pt x="5" y="3"/>
                    </a:lnTo>
                    <a:lnTo>
                      <a:pt x="11" y="5"/>
                    </a:lnTo>
                    <a:lnTo>
                      <a:pt x="14" y="8"/>
                    </a:lnTo>
                    <a:lnTo>
                      <a:pt x="16" y="9"/>
                    </a:lnTo>
                    <a:lnTo>
                      <a:pt x="17" y="9"/>
                    </a:lnTo>
                    <a:lnTo>
                      <a:pt x="20" y="8"/>
                    </a:lnTo>
                    <a:lnTo>
                      <a:pt x="20" y="6"/>
                    </a:lnTo>
                    <a:lnTo>
                      <a:pt x="14" y="3"/>
                    </a:lnTo>
                    <a:lnTo>
                      <a:pt x="14" y="0"/>
                    </a:lnTo>
                    <a:lnTo>
                      <a:pt x="16" y="0"/>
                    </a:lnTo>
                    <a:lnTo>
                      <a:pt x="18" y="0"/>
                    </a:lnTo>
                    <a:lnTo>
                      <a:pt x="20" y="3"/>
                    </a:lnTo>
                    <a:lnTo>
                      <a:pt x="24" y="2"/>
                    </a:lnTo>
                    <a:lnTo>
                      <a:pt x="26" y="3"/>
                    </a:lnTo>
                    <a:lnTo>
                      <a:pt x="26" y="6"/>
                    </a:lnTo>
                    <a:lnTo>
                      <a:pt x="30" y="2"/>
                    </a:lnTo>
                    <a:lnTo>
                      <a:pt x="32" y="6"/>
                    </a:lnTo>
                    <a:lnTo>
                      <a:pt x="32" y="8"/>
                    </a:lnTo>
                    <a:lnTo>
                      <a:pt x="33" y="9"/>
                    </a:lnTo>
                    <a:lnTo>
                      <a:pt x="32" y="9"/>
                    </a:lnTo>
                    <a:lnTo>
                      <a:pt x="30" y="8"/>
                    </a:lnTo>
                    <a:lnTo>
                      <a:pt x="29" y="9"/>
                    </a:lnTo>
                    <a:lnTo>
                      <a:pt x="30" y="11"/>
                    </a:lnTo>
                    <a:lnTo>
                      <a:pt x="26" y="11"/>
                    </a:lnTo>
                    <a:lnTo>
                      <a:pt x="23" y="9"/>
                    </a:lnTo>
                    <a:lnTo>
                      <a:pt x="23" y="9"/>
                    </a:lnTo>
                    <a:lnTo>
                      <a:pt x="5" y="13"/>
                    </a:lnTo>
                    <a:lnTo>
                      <a:pt x="3" y="13"/>
                    </a:lnTo>
                    <a:lnTo>
                      <a:pt x="1" y="13"/>
                    </a:lnTo>
                    <a:lnTo>
                      <a:pt x="0" y="12"/>
                    </a:lnTo>
                    <a:lnTo>
                      <a:pt x="0" y="8"/>
                    </a:lnTo>
                    <a:lnTo>
                      <a:pt x="3" y="6"/>
                    </a:lnTo>
                    <a:lnTo>
                      <a:pt x="4" y="5"/>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76" name="Freeform 1356"/>
              <p:cNvSpPr>
                <a:spLocks/>
              </p:cNvSpPr>
              <p:nvPr/>
            </p:nvSpPr>
            <p:spPr bwMode="auto">
              <a:xfrm>
                <a:off x="7643709" y="3394293"/>
                <a:ext cx="29845" cy="14197"/>
              </a:xfrm>
              <a:custGeom>
                <a:avLst/>
                <a:gdLst/>
                <a:ahLst/>
                <a:cxnLst>
                  <a:cxn ang="0">
                    <a:pos x="4" y="5"/>
                  </a:cxn>
                  <a:cxn ang="0">
                    <a:pos x="5" y="3"/>
                  </a:cxn>
                  <a:cxn ang="0">
                    <a:pos x="11" y="5"/>
                  </a:cxn>
                  <a:cxn ang="0">
                    <a:pos x="14" y="8"/>
                  </a:cxn>
                  <a:cxn ang="0">
                    <a:pos x="16" y="9"/>
                  </a:cxn>
                  <a:cxn ang="0">
                    <a:pos x="17" y="9"/>
                  </a:cxn>
                  <a:cxn ang="0">
                    <a:pos x="20" y="8"/>
                  </a:cxn>
                  <a:cxn ang="0">
                    <a:pos x="20" y="6"/>
                  </a:cxn>
                  <a:cxn ang="0">
                    <a:pos x="14" y="3"/>
                  </a:cxn>
                  <a:cxn ang="0">
                    <a:pos x="14" y="0"/>
                  </a:cxn>
                  <a:cxn ang="0">
                    <a:pos x="16" y="0"/>
                  </a:cxn>
                  <a:cxn ang="0">
                    <a:pos x="18" y="0"/>
                  </a:cxn>
                  <a:cxn ang="0">
                    <a:pos x="20" y="3"/>
                  </a:cxn>
                  <a:cxn ang="0">
                    <a:pos x="24" y="2"/>
                  </a:cxn>
                  <a:cxn ang="0">
                    <a:pos x="26" y="3"/>
                  </a:cxn>
                  <a:cxn ang="0">
                    <a:pos x="26" y="6"/>
                  </a:cxn>
                  <a:cxn ang="0">
                    <a:pos x="30" y="2"/>
                  </a:cxn>
                  <a:cxn ang="0">
                    <a:pos x="32" y="6"/>
                  </a:cxn>
                  <a:cxn ang="0">
                    <a:pos x="32" y="8"/>
                  </a:cxn>
                  <a:cxn ang="0">
                    <a:pos x="33" y="9"/>
                  </a:cxn>
                  <a:cxn ang="0">
                    <a:pos x="32" y="9"/>
                  </a:cxn>
                  <a:cxn ang="0">
                    <a:pos x="30" y="8"/>
                  </a:cxn>
                  <a:cxn ang="0">
                    <a:pos x="29" y="9"/>
                  </a:cxn>
                  <a:cxn ang="0">
                    <a:pos x="30" y="11"/>
                  </a:cxn>
                  <a:cxn ang="0">
                    <a:pos x="26" y="11"/>
                  </a:cxn>
                  <a:cxn ang="0">
                    <a:pos x="23" y="9"/>
                  </a:cxn>
                  <a:cxn ang="0">
                    <a:pos x="23" y="9"/>
                  </a:cxn>
                  <a:cxn ang="0">
                    <a:pos x="5" y="13"/>
                  </a:cxn>
                  <a:cxn ang="0">
                    <a:pos x="3" y="13"/>
                  </a:cxn>
                  <a:cxn ang="0">
                    <a:pos x="1" y="13"/>
                  </a:cxn>
                  <a:cxn ang="0">
                    <a:pos x="0" y="12"/>
                  </a:cxn>
                  <a:cxn ang="0">
                    <a:pos x="0" y="8"/>
                  </a:cxn>
                  <a:cxn ang="0">
                    <a:pos x="3" y="6"/>
                  </a:cxn>
                  <a:cxn ang="0">
                    <a:pos x="4" y="5"/>
                  </a:cxn>
                </a:cxnLst>
                <a:rect l="0" t="0" r="r" b="b"/>
                <a:pathLst>
                  <a:path w="33" h="13">
                    <a:moveTo>
                      <a:pt x="4" y="5"/>
                    </a:moveTo>
                    <a:lnTo>
                      <a:pt x="5" y="3"/>
                    </a:lnTo>
                    <a:lnTo>
                      <a:pt x="11" y="5"/>
                    </a:lnTo>
                    <a:lnTo>
                      <a:pt x="14" y="8"/>
                    </a:lnTo>
                    <a:lnTo>
                      <a:pt x="16" y="9"/>
                    </a:lnTo>
                    <a:lnTo>
                      <a:pt x="17" y="9"/>
                    </a:lnTo>
                    <a:lnTo>
                      <a:pt x="20" y="8"/>
                    </a:lnTo>
                    <a:lnTo>
                      <a:pt x="20" y="6"/>
                    </a:lnTo>
                    <a:lnTo>
                      <a:pt x="14" y="3"/>
                    </a:lnTo>
                    <a:lnTo>
                      <a:pt x="14" y="0"/>
                    </a:lnTo>
                    <a:lnTo>
                      <a:pt x="16" y="0"/>
                    </a:lnTo>
                    <a:lnTo>
                      <a:pt x="18" y="0"/>
                    </a:lnTo>
                    <a:lnTo>
                      <a:pt x="20" y="3"/>
                    </a:lnTo>
                    <a:lnTo>
                      <a:pt x="24" y="2"/>
                    </a:lnTo>
                    <a:lnTo>
                      <a:pt x="26" y="3"/>
                    </a:lnTo>
                    <a:lnTo>
                      <a:pt x="26" y="6"/>
                    </a:lnTo>
                    <a:lnTo>
                      <a:pt x="30" y="2"/>
                    </a:lnTo>
                    <a:lnTo>
                      <a:pt x="32" y="6"/>
                    </a:lnTo>
                    <a:lnTo>
                      <a:pt x="32" y="8"/>
                    </a:lnTo>
                    <a:lnTo>
                      <a:pt x="33" y="9"/>
                    </a:lnTo>
                    <a:lnTo>
                      <a:pt x="32" y="9"/>
                    </a:lnTo>
                    <a:lnTo>
                      <a:pt x="30" y="8"/>
                    </a:lnTo>
                    <a:lnTo>
                      <a:pt x="29" y="9"/>
                    </a:lnTo>
                    <a:lnTo>
                      <a:pt x="30" y="11"/>
                    </a:lnTo>
                    <a:lnTo>
                      <a:pt x="26" y="11"/>
                    </a:lnTo>
                    <a:lnTo>
                      <a:pt x="23" y="9"/>
                    </a:lnTo>
                    <a:lnTo>
                      <a:pt x="23" y="9"/>
                    </a:lnTo>
                    <a:lnTo>
                      <a:pt x="5" y="13"/>
                    </a:lnTo>
                    <a:lnTo>
                      <a:pt x="3" y="13"/>
                    </a:lnTo>
                    <a:lnTo>
                      <a:pt x="1" y="13"/>
                    </a:lnTo>
                    <a:lnTo>
                      <a:pt x="0" y="12"/>
                    </a:lnTo>
                    <a:lnTo>
                      <a:pt x="0" y="8"/>
                    </a:lnTo>
                    <a:lnTo>
                      <a:pt x="3" y="6"/>
                    </a:lnTo>
                    <a:lnTo>
                      <a:pt x="4" y="5"/>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77" name="Freeform 1357"/>
              <p:cNvSpPr>
                <a:spLocks/>
              </p:cNvSpPr>
              <p:nvPr/>
            </p:nvSpPr>
            <p:spPr bwMode="auto">
              <a:xfrm>
                <a:off x="7631420" y="3396321"/>
                <a:ext cx="10534" cy="11155"/>
              </a:xfrm>
              <a:custGeom>
                <a:avLst/>
                <a:gdLst/>
                <a:ahLst/>
                <a:cxnLst>
                  <a:cxn ang="0">
                    <a:pos x="2" y="3"/>
                  </a:cxn>
                  <a:cxn ang="0">
                    <a:pos x="5" y="0"/>
                  </a:cxn>
                  <a:cxn ang="0">
                    <a:pos x="8" y="0"/>
                  </a:cxn>
                  <a:cxn ang="0">
                    <a:pos x="11" y="1"/>
                  </a:cxn>
                  <a:cxn ang="0">
                    <a:pos x="11" y="4"/>
                  </a:cxn>
                  <a:cxn ang="0">
                    <a:pos x="10" y="7"/>
                  </a:cxn>
                  <a:cxn ang="0">
                    <a:pos x="10" y="10"/>
                  </a:cxn>
                  <a:cxn ang="0">
                    <a:pos x="8" y="10"/>
                  </a:cxn>
                  <a:cxn ang="0">
                    <a:pos x="2" y="10"/>
                  </a:cxn>
                  <a:cxn ang="0">
                    <a:pos x="0" y="9"/>
                  </a:cxn>
                  <a:cxn ang="0">
                    <a:pos x="0" y="7"/>
                  </a:cxn>
                  <a:cxn ang="0">
                    <a:pos x="2" y="7"/>
                  </a:cxn>
                  <a:cxn ang="0">
                    <a:pos x="2" y="3"/>
                  </a:cxn>
                </a:cxnLst>
                <a:rect l="0" t="0" r="r" b="b"/>
                <a:pathLst>
                  <a:path w="11" h="10">
                    <a:moveTo>
                      <a:pt x="2" y="3"/>
                    </a:moveTo>
                    <a:lnTo>
                      <a:pt x="5" y="0"/>
                    </a:lnTo>
                    <a:lnTo>
                      <a:pt x="8" y="0"/>
                    </a:lnTo>
                    <a:lnTo>
                      <a:pt x="11" y="1"/>
                    </a:lnTo>
                    <a:lnTo>
                      <a:pt x="11" y="4"/>
                    </a:lnTo>
                    <a:lnTo>
                      <a:pt x="10" y="7"/>
                    </a:lnTo>
                    <a:lnTo>
                      <a:pt x="10" y="10"/>
                    </a:lnTo>
                    <a:lnTo>
                      <a:pt x="8" y="10"/>
                    </a:lnTo>
                    <a:lnTo>
                      <a:pt x="2" y="10"/>
                    </a:lnTo>
                    <a:lnTo>
                      <a:pt x="0" y="9"/>
                    </a:lnTo>
                    <a:lnTo>
                      <a:pt x="0" y="7"/>
                    </a:lnTo>
                    <a:lnTo>
                      <a:pt x="2" y="7"/>
                    </a:lnTo>
                    <a:lnTo>
                      <a:pt x="2" y="3"/>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78" name="Freeform 1358"/>
              <p:cNvSpPr>
                <a:spLocks/>
              </p:cNvSpPr>
              <p:nvPr/>
            </p:nvSpPr>
            <p:spPr bwMode="auto">
              <a:xfrm>
                <a:off x="7631420" y="3396321"/>
                <a:ext cx="10534" cy="11155"/>
              </a:xfrm>
              <a:custGeom>
                <a:avLst/>
                <a:gdLst/>
                <a:ahLst/>
                <a:cxnLst>
                  <a:cxn ang="0">
                    <a:pos x="2" y="3"/>
                  </a:cxn>
                  <a:cxn ang="0">
                    <a:pos x="5" y="0"/>
                  </a:cxn>
                  <a:cxn ang="0">
                    <a:pos x="8" y="0"/>
                  </a:cxn>
                  <a:cxn ang="0">
                    <a:pos x="11" y="1"/>
                  </a:cxn>
                  <a:cxn ang="0">
                    <a:pos x="11" y="4"/>
                  </a:cxn>
                  <a:cxn ang="0">
                    <a:pos x="10" y="7"/>
                  </a:cxn>
                  <a:cxn ang="0">
                    <a:pos x="10" y="10"/>
                  </a:cxn>
                  <a:cxn ang="0">
                    <a:pos x="8" y="10"/>
                  </a:cxn>
                  <a:cxn ang="0">
                    <a:pos x="2" y="10"/>
                  </a:cxn>
                  <a:cxn ang="0">
                    <a:pos x="0" y="9"/>
                  </a:cxn>
                  <a:cxn ang="0">
                    <a:pos x="0" y="7"/>
                  </a:cxn>
                  <a:cxn ang="0">
                    <a:pos x="2" y="7"/>
                  </a:cxn>
                  <a:cxn ang="0">
                    <a:pos x="2" y="3"/>
                  </a:cxn>
                </a:cxnLst>
                <a:rect l="0" t="0" r="r" b="b"/>
                <a:pathLst>
                  <a:path w="11" h="10">
                    <a:moveTo>
                      <a:pt x="2" y="3"/>
                    </a:moveTo>
                    <a:lnTo>
                      <a:pt x="5" y="0"/>
                    </a:lnTo>
                    <a:lnTo>
                      <a:pt x="8" y="0"/>
                    </a:lnTo>
                    <a:lnTo>
                      <a:pt x="11" y="1"/>
                    </a:lnTo>
                    <a:lnTo>
                      <a:pt x="11" y="4"/>
                    </a:lnTo>
                    <a:lnTo>
                      <a:pt x="10" y="7"/>
                    </a:lnTo>
                    <a:lnTo>
                      <a:pt x="10" y="10"/>
                    </a:lnTo>
                    <a:lnTo>
                      <a:pt x="8" y="10"/>
                    </a:lnTo>
                    <a:lnTo>
                      <a:pt x="2" y="10"/>
                    </a:lnTo>
                    <a:lnTo>
                      <a:pt x="0" y="9"/>
                    </a:lnTo>
                    <a:lnTo>
                      <a:pt x="0" y="7"/>
                    </a:lnTo>
                    <a:lnTo>
                      <a:pt x="2" y="7"/>
                    </a:lnTo>
                    <a:lnTo>
                      <a:pt x="2" y="3"/>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79" name="Freeform 1359"/>
              <p:cNvSpPr>
                <a:spLocks/>
              </p:cNvSpPr>
              <p:nvPr/>
            </p:nvSpPr>
            <p:spPr bwMode="auto">
              <a:xfrm>
                <a:off x="7613864" y="3393278"/>
                <a:ext cx="14922" cy="13184"/>
              </a:xfrm>
              <a:custGeom>
                <a:avLst/>
                <a:gdLst/>
                <a:ahLst/>
                <a:cxnLst>
                  <a:cxn ang="0">
                    <a:pos x="5" y="1"/>
                  </a:cxn>
                  <a:cxn ang="0">
                    <a:pos x="7" y="1"/>
                  </a:cxn>
                  <a:cxn ang="0">
                    <a:pos x="8" y="0"/>
                  </a:cxn>
                  <a:cxn ang="0">
                    <a:pos x="11" y="1"/>
                  </a:cxn>
                  <a:cxn ang="0">
                    <a:pos x="14" y="1"/>
                  </a:cxn>
                  <a:cxn ang="0">
                    <a:pos x="16" y="4"/>
                  </a:cxn>
                  <a:cxn ang="0">
                    <a:pos x="16" y="6"/>
                  </a:cxn>
                  <a:cxn ang="0">
                    <a:pos x="11" y="9"/>
                  </a:cxn>
                  <a:cxn ang="0">
                    <a:pos x="10" y="12"/>
                  </a:cxn>
                  <a:cxn ang="0">
                    <a:pos x="8" y="10"/>
                  </a:cxn>
                  <a:cxn ang="0">
                    <a:pos x="7" y="7"/>
                  </a:cxn>
                  <a:cxn ang="0">
                    <a:pos x="5" y="6"/>
                  </a:cxn>
                  <a:cxn ang="0">
                    <a:pos x="1" y="4"/>
                  </a:cxn>
                  <a:cxn ang="0">
                    <a:pos x="0" y="4"/>
                  </a:cxn>
                  <a:cxn ang="0">
                    <a:pos x="0" y="1"/>
                  </a:cxn>
                  <a:cxn ang="0">
                    <a:pos x="0" y="0"/>
                  </a:cxn>
                  <a:cxn ang="0">
                    <a:pos x="5" y="1"/>
                  </a:cxn>
                </a:cxnLst>
                <a:rect l="0" t="0" r="r" b="b"/>
                <a:pathLst>
                  <a:path w="16" h="12">
                    <a:moveTo>
                      <a:pt x="5" y="1"/>
                    </a:moveTo>
                    <a:lnTo>
                      <a:pt x="7" y="1"/>
                    </a:lnTo>
                    <a:lnTo>
                      <a:pt x="8" y="0"/>
                    </a:lnTo>
                    <a:lnTo>
                      <a:pt x="11" y="1"/>
                    </a:lnTo>
                    <a:lnTo>
                      <a:pt x="14" y="1"/>
                    </a:lnTo>
                    <a:lnTo>
                      <a:pt x="16" y="4"/>
                    </a:lnTo>
                    <a:lnTo>
                      <a:pt x="16" y="6"/>
                    </a:lnTo>
                    <a:lnTo>
                      <a:pt x="11" y="9"/>
                    </a:lnTo>
                    <a:lnTo>
                      <a:pt x="10" y="12"/>
                    </a:lnTo>
                    <a:lnTo>
                      <a:pt x="8" y="10"/>
                    </a:lnTo>
                    <a:lnTo>
                      <a:pt x="7" y="7"/>
                    </a:lnTo>
                    <a:lnTo>
                      <a:pt x="5" y="6"/>
                    </a:lnTo>
                    <a:lnTo>
                      <a:pt x="1" y="4"/>
                    </a:lnTo>
                    <a:lnTo>
                      <a:pt x="0" y="4"/>
                    </a:lnTo>
                    <a:lnTo>
                      <a:pt x="0" y="1"/>
                    </a:lnTo>
                    <a:lnTo>
                      <a:pt x="0" y="0"/>
                    </a:lnTo>
                    <a:lnTo>
                      <a:pt x="5"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80" name="Freeform 1360"/>
              <p:cNvSpPr>
                <a:spLocks/>
              </p:cNvSpPr>
              <p:nvPr/>
            </p:nvSpPr>
            <p:spPr bwMode="auto">
              <a:xfrm>
                <a:off x="7613864" y="3393278"/>
                <a:ext cx="14922" cy="13184"/>
              </a:xfrm>
              <a:custGeom>
                <a:avLst/>
                <a:gdLst/>
                <a:ahLst/>
                <a:cxnLst>
                  <a:cxn ang="0">
                    <a:pos x="5" y="1"/>
                  </a:cxn>
                  <a:cxn ang="0">
                    <a:pos x="7" y="1"/>
                  </a:cxn>
                  <a:cxn ang="0">
                    <a:pos x="8" y="0"/>
                  </a:cxn>
                  <a:cxn ang="0">
                    <a:pos x="11" y="1"/>
                  </a:cxn>
                  <a:cxn ang="0">
                    <a:pos x="14" y="1"/>
                  </a:cxn>
                  <a:cxn ang="0">
                    <a:pos x="16" y="4"/>
                  </a:cxn>
                  <a:cxn ang="0">
                    <a:pos x="16" y="6"/>
                  </a:cxn>
                  <a:cxn ang="0">
                    <a:pos x="11" y="9"/>
                  </a:cxn>
                  <a:cxn ang="0">
                    <a:pos x="10" y="12"/>
                  </a:cxn>
                  <a:cxn ang="0">
                    <a:pos x="8" y="10"/>
                  </a:cxn>
                  <a:cxn ang="0">
                    <a:pos x="7" y="7"/>
                  </a:cxn>
                  <a:cxn ang="0">
                    <a:pos x="5" y="6"/>
                  </a:cxn>
                  <a:cxn ang="0">
                    <a:pos x="1" y="4"/>
                  </a:cxn>
                  <a:cxn ang="0">
                    <a:pos x="0" y="4"/>
                  </a:cxn>
                  <a:cxn ang="0">
                    <a:pos x="0" y="1"/>
                  </a:cxn>
                  <a:cxn ang="0">
                    <a:pos x="0" y="0"/>
                  </a:cxn>
                  <a:cxn ang="0">
                    <a:pos x="5" y="1"/>
                  </a:cxn>
                </a:cxnLst>
                <a:rect l="0" t="0" r="r" b="b"/>
                <a:pathLst>
                  <a:path w="16" h="12">
                    <a:moveTo>
                      <a:pt x="5" y="1"/>
                    </a:moveTo>
                    <a:lnTo>
                      <a:pt x="7" y="1"/>
                    </a:lnTo>
                    <a:lnTo>
                      <a:pt x="8" y="0"/>
                    </a:lnTo>
                    <a:lnTo>
                      <a:pt x="11" y="1"/>
                    </a:lnTo>
                    <a:lnTo>
                      <a:pt x="14" y="1"/>
                    </a:lnTo>
                    <a:lnTo>
                      <a:pt x="16" y="4"/>
                    </a:lnTo>
                    <a:lnTo>
                      <a:pt x="16" y="6"/>
                    </a:lnTo>
                    <a:lnTo>
                      <a:pt x="11" y="9"/>
                    </a:lnTo>
                    <a:lnTo>
                      <a:pt x="10" y="12"/>
                    </a:lnTo>
                    <a:lnTo>
                      <a:pt x="8" y="10"/>
                    </a:lnTo>
                    <a:lnTo>
                      <a:pt x="7" y="7"/>
                    </a:lnTo>
                    <a:lnTo>
                      <a:pt x="5" y="6"/>
                    </a:lnTo>
                    <a:lnTo>
                      <a:pt x="1" y="4"/>
                    </a:lnTo>
                    <a:lnTo>
                      <a:pt x="0" y="4"/>
                    </a:lnTo>
                    <a:lnTo>
                      <a:pt x="0" y="1"/>
                    </a:lnTo>
                    <a:lnTo>
                      <a:pt x="0" y="0"/>
                    </a:lnTo>
                    <a:lnTo>
                      <a:pt x="5" y="1"/>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81" name="Freeform 1361"/>
              <p:cNvSpPr>
                <a:spLocks/>
              </p:cNvSpPr>
              <p:nvPr/>
            </p:nvSpPr>
            <p:spPr bwMode="auto">
              <a:xfrm>
                <a:off x="7591041" y="3375024"/>
                <a:ext cx="15800" cy="6085"/>
              </a:xfrm>
              <a:custGeom>
                <a:avLst/>
                <a:gdLst/>
                <a:ahLst/>
                <a:cxnLst>
                  <a:cxn ang="0">
                    <a:pos x="0" y="2"/>
                  </a:cxn>
                  <a:cxn ang="0">
                    <a:pos x="0" y="2"/>
                  </a:cxn>
                  <a:cxn ang="0">
                    <a:pos x="1" y="2"/>
                  </a:cxn>
                  <a:cxn ang="0">
                    <a:pos x="16" y="0"/>
                  </a:cxn>
                  <a:cxn ang="0">
                    <a:pos x="17" y="3"/>
                  </a:cxn>
                  <a:cxn ang="0">
                    <a:pos x="9" y="6"/>
                  </a:cxn>
                  <a:cxn ang="0">
                    <a:pos x="1" y="5"/>
                  </a:cxn>
                  <a:cxn ang="0">
                    <a:pos x="0" y="5"/>
                  </a:cxn>
                  <a:cxn ang="0">
                    <a:pos x="0" y="3"/>
                  </a:cxn>
                  <a:cxn ang="0">
                    <a:pos x="0" y="2"/>
                  </a:cxn>
                </a:cxnLst>
                <a:rect l="0" t="0" r="r" b="b"/>
                <a:pathLst>
                  <a:path w="17" h="6">
                    <a:moveTo>
                      <a:pt x="0" y="2"/>
                    </a:moveTo>
                    <a:lnTo>
                      <a:pt x="0" y="2"/>
                    </a:lnTo>
                    <a:lnTo>
                      <a:pt x="1" y="2"/>
                    </a:lnTo>
                    <a:lnTo>
                      <a:pt x="16" y="0"/>
                    </a:lnTo>
                    <a:lnTo>
                      <a:pt x="17" y="3"/>
                    </a:lnTo>
                    <a:lnTo>
                      <a:pt x="9" y="6"/>
                    </a:lnTo>
                    <a:lnTo>
                      <a:pt x="1" y="5"/>
                    </a:lnTo>
                    <a:lnTo>
                      <a:pt x="0" y="5"/>
                    </a:lnTo>
                    <a:lnTo>
                      <a:pt x="0" y="3"/>
                    </a:lnTo>
                    <a:lnTo>
                      <a:pt x="0" y="2"/>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82" name="Freeform 1363"/>
              <p:cNvSpPr>
                <a:spLocks/>
              </p:cNvSpPr>
              <p:nvPr/>
            </p:nvSpPr>
            <p:spPr bwMode="auto">
              <a:xfrm>
                <a:off x="7623519" y="3375024"/>
                <a:ext cx="3511" cy="3043"/>
              </a:xfrm>
              <a:custGeom>
                <a:avLst/>
                <a:gdLst/>
                <a:ahLst/>
                <a:cxnLst>
                  <a:cxn ang="0">
                    <a:pos x="0" y="0"/>
                  </a:cxn>
                  <a:cxn ang="0">
                    <a:pos x="3" y="0"/>
                  </a:cxn>
                  <a:cxn ang="0">
                    <a:pos x="4" y="0"/>
                  </a:cxn>
                  <a:cxn ang="0">
                    <a:pos x="4" y="2"/>
                  </a:cxn>
                  <a:cxn ang="0">
                    <a:pos x="1" y="3"/>
                  </a:cxn>
                  <a:cxn ang="0">
                    <a:pos x="0" y="2"/>
                  </a:cxn>
                  <a:cxn ang="0">
                    <a:pos x="0" y="0"/>
                  </a:cxn>
                </a:cxnLst>
                <a:rect l="0" t="0" r="r" b="b"/>
                <a:pathLst>
                  <a:path w="4" h="3">
                    <a:moveTo>
                      <a:pt x="0" y="0"/>
                    </a:moveTo>
                    <a:lnTo>
                      <a:pt x="3" y="0"/>
                    </a:lnTo>
                    <a:lnTo>
                      <a:pt x="4" y="0"/>
                    </a:lnTo>
                    <a:lnTo>
                      <a:pt x="4" y="2"/>
                    </a:lnTo>
                    <a:lnTo>
                      <a:pt x="1" y="3"/>
                    </a:lnTo>
                    <a:lnTo>
                      <a:pt x="0" y="2"/>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83" name="Freeform 1364"/>
              <p:cNvSpPr>
                <a:spLocks/>
              </p:cNvSpPr>
              <p:nvPr/>
            </p:nvSpPr>
            <p:spPr bwMode="auto">
              <a:xfrm>
                <a:off x="7623519" y="3375024"/>
                <a:ext cx="3511" cy="3043"/>
              </a:xfrm>
              <a:custGeom>
                <a:avLst/>
                <a:gdLst/>
                <a:ahLst/>
                <a:cxnLst>
                  <a:cxn ang="0">
                    <a:pos x="0" y="0"/>
                  </a:cxn>
                  <a:cxn ang="0">
                    <a:pos x="3" y="0"/>
                  </a:cxn>
                  <a:cxn ang="0">
                    <a:pos x="4" y="0"/>
                  </a:cxn>
                  <a:cxn ang="0">
                    <a:pos x="4" y="2"/>
                  </a:cxn>
                  <a:cxn ang="0">
                    <a:pos x="1" y="3"/>
                  </a:cxn>
                  <a:cxn ang="0">
                    <a:pos x="0" y="2"/>
                  </a:cxn>
                  <a:cxn ang="0">
                    <a:pos x="0" y="0"/>
                  </a:cxn>
                </a:cxnLst>
                <a:rect l="0" t="0" r="r" b="b"/>
                <a:pathLst>
                  <a:path w="4" h="3">
                    <a:moveTo>
                      <a:pt x="0" y="0"/>
                    </a:moveTo>
                    <a:lnTo>
                      <a:pt x="3" y="0"/>
                    </a:lnTo>
                    <a:lnTo>
                      <a:pt x="4" y="0"/>
                    </a:lnTo>
                    <a:lnTo>
                      <a:pt x="4" y="2"/>
                    </a:lnTo>
                    <a:lnTo>
                      <a:pt x="1" y="3"/>
                    </a:lnTo>
                    <a:lnTo>
                      <a:pt x="0" y="2"/>
                    </a:lnTo>
                    <a:lnTo>
                      <a:pt x="0"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84" name="Freeform 1365"/>
              <p:cNvSpPr>
                <a:spLocks/>
              </p:cNvSpPr>
              <p:nvPr/>
            </p:nvSpPr>
            <p:spPr bwMode="auto">
              <a:xfrm>
                <a:off x="7820147" y="3275639"/>
                <a:ext cx="10534" cy="5071"/>
              </a:xfrm>
              <a:custGeom>
                <a:avLst/>
                <a:gdLst/>
                <a:ahLst/>
                <a:cxnLst>
                  <a:cxn ang="0">
                    <a:pos x="0" y="1"/>
                  </a:cxn>
                  <a:cxn ang="0">
                    <a:pos x="0" y="1"/>
                  </a:cxn>
                  <a:cxn ang="0">
                    <a:pos x="1" y="0"/>
                  </a:cxn>
                  <a:cxn ang="0">
                    <a:pos x="4" y="0"/>
                  </a:cxn>
                  <a:cxn ang="0">
                    <a:pos x="11" y="4"/>
                  </a:cxn>
                  <a:cxn ang="0">
                    <a:pos x="8" y="4"/>
                  </a:cxn>
                  <a:cxn ang="0">
                    <a:pos x="6" y="5"/>
                  </a:cxn>
                  <a:cxn ang="0">
                    <a:pos x="3" y="4"/>
                  </a:cxn>
                  <a:cxn ang="0">
                    <a:pos x="1" y="2"/>
                  </a:cxn>
                  <a:cxn ang="0">
                    <a:pos x="0" y="2"/>
                  </a:cxn>
                  <a:cxn ang="0">
                    <a:pos x="0" y="1"/>
                  </a:cxn>
                  <a:cxn ang="0">
                    <a:pos x="0" y="1"/>
                  </a:cxn>
                </a:cxnLst>
                <a:rect l="0" t="0" r="r" b="b"/>
                <a:pathLst>
                  <a:path w="11" h="5">
                    <a:moveTo>
                      <a:pt x="0" y="1"/>
                    </a:moveTo>
                    <a:lnTo>
                      <a:pt x="0" y="1"/>
                    </a:lnTo>
                    <a:lnTo>
                      <a:pt x="1" y="0"/>
                    </a:lnTo>
                    <a:lnTo>
                      <a:pt x="4" y="0"/>
                    </a:lnTo>
                    <a:lnTo>
                      <a:pt x="11" y="4"/>
                    </a:lnTo>
                    <a:lnTo>
                      <a:pt x="8" y="4"/>
                    </a:lnTo>
                    <a:lnTo>
                      <a:pt x="6" y="5"/>
                    </a:lnTo>
                    <a:lnTo>
                      <a:pt x="3" y="4"/>
                    </a:lnTo>
                    <a:lnTo>
                      <a:pt x="1" y="2"/>
                    </a:lnTo>
                    <a:lnTo>
                      <a:pt x="0" y="2"/>
                    </a:lnTo>
                    <a:lnTo>
                      <a:pt x="0" y="1"/>
                    </a:lnTo>
                    <a:lnTo>
                      <a:pt x="0"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85" name="Freeform 1366"/>
              <p:cNvSpPr>
                <a:spLocks/>
              </p:cNvSpPr>
              <p:nvPr/>
            </p:nvSpPr>
            <p:spPr bwMode="auto">
              <a:xfrm>
                <a:off x="7820147" y="3275639"/>
                <a:ext cx="10534" cy="5071"/>
              </a:xfrm>
              <a:custGeom>
                <a:avLst/>
                <a:gdLst/>
                <a:ahLst/>
                <a:cxnLst>
                  <a:cxn ang="0">
                    <a:pos x="0" y="1"/>
                  </a:cxn>
                  <a:cxn ang="0">
                    <a:pos x="0" y="1"/>
                  </a:cxn>
                  <a:cxn ang="0">
                    <a:pos x="1" y="0"/>
                  </a:cxn>
                  <a:cxn ang="0">
                    <a:pos x="4" y="0"/>
                  </a:cxn>
                  <a:cxn ang="0">
                    <a:pos x="11" y="4"/>
                  </a:cxn>
                  <a:cxn ang="0">
                    <a:pos x="8" y="4"/>
                  </a:cxn>
                  <a:cxn ang="0">
                    <a:pos x="6" y="5"/>
                  </a:cxn>
                  <a:cxn ang="0">
                    <a:pos x="3" y="4"/>
                  </a:cxn>
                  <a:cxn ang="0">
                    <a:pos x="1" y="2"/>
                  </a:cxn>
                  <a:cxn ang="0">
                    <a:pos x="0" y="2"/>
                  </a:cxn>
                  <a:cxn ang="0">
                    <a:pos x="0" y="1"/>
                  </a:cxn>
                  <a:cxn ang="0">
                    <a:pos x="0" y="1"/>
                  </a:cxn>
                </a:cxnLst>
                <a:rect l="0" t="0" r="r" b="b"/>
                <a:pathLst>
                  <a:path w="11" h="5">
                    <a:moveTo>
                      <a:pt x="0" y="1"/>
                    </a:moveTo>
                    <a:lnTo>
                      <a:pt x="0" y="1"/>
                    </a:lnTo>
                    <a:lnTo>
                      <a:pt x="1" y="0"/>
                    </a:lnTo>
                    <a:lnTo>
                      <a:pt x="4" y="0"/>
                    </a:lnTo>
                    <a:lnTo>
                      <a:pt x="11" y="4"/>
                    </a:lnTo>
                    <a:lnTo>
                      <a:pt x="8" y="4"/>
                    </a:lnTo>
                    <a:lnTo>
                      <a:pt x="6" y="5"/>
                    </a:lnTo>
                    <a:lnTo>
                      <a:pt x="3" y="4"/>
                    </a:lnTo>
                    <a:lnTo>
                      <a:pt x="1" y="2"/>
                    </a:lnTo>
                    <a:lnTo>
                      <a:pt x="0" y="2"/>
                    </a:lnTo>
                    <a:lnTo>
                      <a:pt x="0" y="1"/>
                    </a:lnTo>
                    <a:lnTo>
                      <a:pt x="0" y="1"/>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86" name="Freeform 1367"/>
              <p:cNvSpPr>
                <a:spLocks/>
              </p:cNvSpPr>
              <p:nvPr/>
            </p:nvSpPr>
            <p:spPr bwMode="auto">
              <a:xfrm>
                <a:off x="7824536" y="3289837"/>
                <a:ext cx="3511" cy="4056"/>
              </a:xfrm>
              <a:custGeom>
                <a:avLst/>
                <a:gdLst/>
                <a:ahLst/>
                <a:cxnLst>
                  <a:cxn ang="0">
                    <a:pos x="0" y="0"/>
                  </a:cxn>
                  <a:cxn ang="0">
                    <a:pos x="3" y="0"/>
                  </a:cxn>
                  <a:cxn ang="0">
                    <a:pos x="4" y="0"/>
                  </a:cxn>
                  <a:cxn ang="0">
                    <a:pos x="4" y="4"/>
                  </a:cxn>
                  <a:cxn ang="0">
                    <a:pos x="3" y="4"/>
                  </a:cxn>
                  <a:cxn ang="0">
                    <a:pos x="2" y="4"/>
                  </a:cxn>
                  <a:cxn ang="0">
                    <a:pos x="0" y="0"/>
                  </a:cxn>
                </a:cxnLst>
                <a:rect l="0" t="0" r="r" b="b"/>
                <a:pathLst>
                  <a:path w="4" h="4">
                    <a:moveTo>
                      <a:pt x="0" y="0"/>
                    </a:moveTo>
                    <a:lnTo>
                      <a:pt x="3" y="0"/>
                    </a:lnTo>
                    <a:lnTo>
                      <a:pt x="4" y="0"/>
                    </a:lnTo>
                    <a:lnTo>
                      <a:pt x="4" y="4"/>
                    </a:lnTo>
                    <a:lnTo>
                      <a:pt x="3" y="4"/>
                    </a:lnTo>
                    <a:lnTo>
                      <a:pt x="2" y="4"/>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87" name="Freeform 1368"/>
              <p:cNvSpPr>
                <a:spLocks/>
              </p:cNvSpPr>
              <p:nvPr/>
            </p:nvSpPr>
            <p:spPr bwMode="auto">
              <a:xfrm>
                <a:off x="7824536" y="3289837"/>
                <a:ext cx="3511" cy="4056"/>
              </a:xfrm>
              <a:custGeom>
                <a:avLst/>
                <a:gdLst/>
                <a:ahLst/>
                <a:cxnLst>
                  <a:cxn ang="0">
                    <a:pos x="0" y="0"/>
                  </a:cxn>
                  <a:cxn ang="0">
                    <a:pos x="3" y="0"/>
                  </a:cxn>
                  <a:cxn ang="0">
                    <a:pos x="4" y="0"/>
                  </a:cxn>
                  <a:cxn ang="0">
                    <a:pos x="4" y="4"/>
                  </a:cxn>
                  <a:cxn ang="0">
                    <a:pos x="3" y="4"/>
                  </a:cxn>
                  <a:cxn ang="0">
                    <a:pos x="2" y="4"/>
                  </a:cxn>
                  <a:cxn ang="0">
                    <a:pos x="0" y="0"/>
                  </a:cxn>
                </a:cxnLst>
                <a:rect l="0" t="0" r="r" b="b"/>
                <a:pathLst>
                  <a:path w="4" h="4">
                    <a:moveTo>
                      <a:pt x="0" y="0"/>
                    </a:moveTo>
                    <a:lnTo>
                      <a:pt x="3" y="0"/>
                    </a:lnTo>
                    <a:lnTo>
                      <a:pt x="4" y="0"/>
                    </a:lnTo>
                    <a:lnTo>
                      <a:pt x="4" y="4"/>
                    </a:lnTo>
                    <a:lnTo>
                      <a:pt x="3" y="4"/>
                    </a:lnTo>
                    <a:lnTo>
                      <a:pt x="2" y="4"/>
                    </a:lnTo>
                    <a:lnTo>
                      <a:pt x="0"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88" name="Freeform 1369"/>
              <p:cNvSpPr>
                <a:spLocks/>
              </p:cNvSpPr>
              <p:nvPr/>
            </p:nvSpPr>
            <p:spPr bwMode="auto">
              <a:xfrm>
                <a:off x="7812247" y="3299978"/>
                <a:ext cx="7900" cy="6085"/>
              </a:xfrm>
              <a:custGeom>
                <a:avLst/>
                <a:gdLst/>
                <a:ahLst/>
                <a:cxnLst>
                  <a:cxn ang="0">
                    <a:pos x="0" y="3"/>
                  </a:cxn>
                  <a:cxn ang="0">
                    <a:pos x="1" y="3"/>
                  </a:cxn>
                  <a:cxn ang="0">
                    <a:pos x="6" y="0"/>
                  </a:cxn>
                  <a:cxn ang="0">
                    <a:pos x="7" y="0"/>
                  </a:cxn>
                  <a:cxn ang="0">
                    <a:pos x="9" y="1"/>
                  </a:cxn>
                  <a:cxn ang="0">
                    <a:pos x="9" y="3"/>
                  </a:cxn>
                  <a:cxn ang="0">
                    <a:pos x="9" y="4"/>
                  </a:cxn>
                  <a:cxn ang="0">
                    <a:pos x="6" y="6"/>
                  </a:cxn>
                  <a:cxn ang="0">
                    <a:pos x="4" y="6"/>
                  </a:cxn>
                  <a:cxn ang="0">
                    <a:pos x="0" y="3"/>
                  </a:cxn>
                  <a:cxn ang="0">
                    <a:pos x="0" y="3"/>
                  </a:cxn>
                </a:cxnLst>
                <a:rect l="0" t="0" r="r" b="b"/>
                <a:pathLst>
                  <a:path w="9" h="6">
                    <a:moveTo>
                      <a:pt x="0" y="3"/>
                    </a:moveTo>
                    <a:lnTo>
                      <a:pt x="1" y="3"/>
                    </a:lnTo>
                    <a:lnTo>
                      <a:pt x="6" y="0"/>
                    </a:lnTo>
                    <a:lnTo>
                      <a:pt x="7" y="0"/>
                    </a:lnTo>
                    <a:lnTo>
                      <a:pt x="9" y="1"/>
                    </a:lnTo>
                    <a:lnTo>
                      <a:pt x="9" y="3"/>
                    </a:lnTo>
                    <a:lnTo>
                      <a:pt x="9" y="4"/>
                    </a:lnTo>
                    <a:lnTo>
                      <a:pt x="6" y="6"/>
                    </a:lnTo>
                    <a:lnTo>
                      <a:pt x="4" y="6"/>
                    </a:lnTo>
                    <a:lnTo>
                      <a:pt x="0" y="3"/>
                    </a:lnTo>
                    <a:lnTo>
                      <a:pt x="0" y="3"/>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89" name="Freeform 1370"/>
              <p:cNvSpPr>
                <a:spLocks/>
              </p:cNvSpPr>
              <p:nvPr/>
            </p:nvSpPr>
            <p:spPr bwMode="auto">
              <a:xfrm>
                <a:off x="7812247" y="3299978"/>
                <a:ext cx="7900" cy="6085"/>
              </a:xfrm>
              <a:custGeom>
                <a:avLst/>
                <a:gdLst/>
                <a:ahLst/>
                <a:cxnLst>
                  <a:cxn ang="0">
                    <a:pos x="0" y="3"/>
                  </a:cxn>
                  <a:cxn ang="0">
                    <a:pos x="1" y="3"/>
                  </a:cxn>
                  <a:cxn ang="0">
                    <a:pos x="6" y="0"/>
                  </a:cxn>
                  <a:cxn ang="0">
                    <a:pos x="7" y="0"/>
                  </a:cxn>
                  <a:cxn ang="0">
                    <a:pos x="9" y="1"/>
                  </a:cxn>
                  <a:cxn ang="0">
                    <a:pos x="9" y="3"/>
                  </a:cxn>
                  <a:cxn ang="0">
                    <a:pos x="9" y="4"/>
                  </a:cxn>
                  <a:cxn ang="0">
                    <a:pos x="6" y="6"/>
                  </a:cxn>
                  <a:cxn ang="0">
                    <a:pos x="4" y="6"/>
                  </a:cxn>
                  <a:cxn ang="0">
                    <a:pos x="0" y="3"/>
                  </a:cxn>
                  <a:cxn ang="0">
                    <a:pos x="0" y="3"/>
                  </a:cxn>
                </a:cxnLst>
                <a:rect l="0" t="0" r="r" b="b"/>
                <a:pathLst>
                  <a:path w="9" h="6">
                    <a:moveTo>
                      <a:pt x="0" y="3"/>
                    </a:moveTo>
                    <a:lnTo>
                      <a:pt x="1" y="3"/>
                    </a:lnTo>
                    <a:lnTo>
                      <a:pt x="6" y="0"/>
                    </a:lnTo>
                    <a:lnTo>
                      <a:pt x="7" y="0"/>
                    </a:lnTo>
                    <a:lnTo>
                      <a:pt x="9" y="1"/>
                    </a:lnTo>
                    <a:lnTo>
                      <a:pt x="9" y="3"/>
                    </a:lnTo>
                    <a:lnTo>
                      <a:pt x="9" y="4"/>
                    </a:lnTo>
                    <a:lnTo>
                      <a:pt x="6" y="6"/>
                    </a:lnTo>
                    <a:lnTo>
                      <a:pt x="4" y="6"/>
                    </a:lnTo>
                    <a:lnTo>
                      <a:pt x="0" y="3"/>
                    </a:lnTo>
                    <a:lnTo>
                      <a:pt x="0" y="3"/>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90" name="Freeform 1371"/>
              <p:cNvSpPr>
                <a:spLocks/>
              </p:cNvSpPr>
              <p:nvPr/>
            </p:nvSpPr>
            <p:spPr bwMode="auto">
              <a:xfrm>
                <a:off x="7788546" y="3316205"/>
                <a:ext cx="37746" cy="17240"/>
              </a:xfrm>
              <a:custGeom>
                <a:avLst/>
                <a:gdLst/>
                <a:ahLst/>
                <a:cxnLst>
                  <a:cxn ang="0">
                    <a:pos x="0" y="10"/>
                  </a:cxn>
                  <a:cxn ang="0">
                    <a:pos x="0" y="10"/>
                  </a:cxn>
                  <a:cxn ang="0">
                    <a:pos x="0" y="6"/>
                  </a:cxn>
                  <a:cxn ang="0">
                    <a:pos x="0" y="4"/>
                  </a:cxn>
                  <a:cxn ang="0">
                    <a:pos x="1" y="4"/>
                  </a:cxn>
                  <a:cxn ang="0">
                    <a:pos x="4" y="1"/>
                  </a:cxn>
                  <a:cxn ang="0">
                    <a:pos x="13" y="1"/>
                  </a:cxn>
                  <a:cxn ang="0">
                    <a:pos x="16" y="0"/>
                  </a:cxn>
                  <a:cxn ang="0">
                    <a:pos x="17" y="1"/>
                  </a:cxn>
                  <a:cxn ang="0">
                    <a:pos x="23" y="0"/>
                  </a:cxn>
                  <a:cxn ang="0">
                    <a:pos x="27" y="3"/>
                  </a:cxn>
                  <a:cxn ang="0">
                    <a:pos x="32" y="3"/>
                  </a:cxn>
                  <a:cxn ang="0">
                    <a:pos x="33" y="3"/>
                  </a:cxn>
                  <a:cxn ang="0">
                    <a:pos x="36" y="3"/>
                  </a:cxn>
                  <a:cxn ang="0">
                    <a:pos x="39" y="8"/>
                  </a:cxn>
                  <a:cxn ang="0">
                    <a:pos x="41" y="10"/>
                  </a:cxn>
                  <a:cxn ang="0">
                    <a:pos x="41" y="13"/>
                  </a:cxn>
                  <a:cxn ang="0">
                    <a:pos x="41" y="16"/>
                  </a:cxn>
                  <a:cxn ang="0">
                    <a:pos x="27" y="8"/>
                  </a:cxn>
                  <a:cxn ang="0">
                    <a:pos x="23" y="7"/>
                  </a:cxn>
                  <a:cxn ang="0">
                    <a:pos x="23" y="8"/>
                  </a:cxn>
                  <a:cxn ang="0">
                    <a:pos x="16" y="8"/>
                  </a:cxn>
                  <a:cxn ang="0">
                    <a:pos x="13" y="7"/>
                  </a:cxn>
                  <a:cxn ang="0">
                    <a:pos x="11" y="7"/>
                  </a:cxn>
                  <a:cxn ang="0">
                    <a:pos x="10" y="8"/>
                  </a:cxn>
                  <a:cxn ang="0">
                    <a:pos x="9" y="10"/>
                  </a:cxn>
                  <a:cxn ang="0">
                    <a:pos x="6" y="8"/>
                  </a:cxn>
                  <a:cxn ang="0">
                    <a:pos x="3" y="6"/>
                  </a:cxn>
                  <a:cxn ang="0">
                    <a:pos x="0" y="10"/>
                  </a:cxn>
                </a:cxnLst>
                <a:rect l="0" t="0" r="r" b="b"/>
                <a:pathLst>
                  <a:path w="41" h="16">
                    <a:moveTo>
                      <a:pt x="0" y="10"/>
                    </a:moveTo>
                    <a:lnTo>
                      <a:pt x="0" y="10"/>
                    </a:lnTo>
                    <a:lnTo>
                      <a:pt x="0" y="6"/>
                    </a:lnTo>
                    <a:lnTo>
                      <a:pt x="0" y="4"/>
                    </a:lnTo>
                    <a:lnTo>
                      <a:pt x="1" y="4"/>
                    </a:lnTo>
                    <a:lnTo>
                      <a:pt x="4" y="1"/>
                    </a:lnTo>
                    <a:lnTo>
                      <a:pt x="13" y="1"/>
                    </a:lnTo>
                    <a:lnTo>
                      <a:pt x="16" y="0"/>
                    </a:lnTo>
                    <a:lnTo>
                      <a:pt x="17" y="1"/>
                    </a:lnTo>
                    <a:lnTo>
                      <a:pt x="23" y="0"/>
                    </a:lnTo>
                    <a:lnTo>
                      <a:pt x="27" y="3"/>
                    </a:lnTo>
                    <a:lnTo>
                      <a:pt x="32" y="3"/>
                    </a:lnTo>
                    <a:lnTo>
                      <a:pt x="33" y="3"/>
                    </a:lnTo>
                    <a:lnTo>
                      <a:pt x="36" y="3"/>
                    </a:lnTo>
                    <a:lnTo>
                      <a:pt x="39" y="8"/>
                    </a:lnTo>
                    <a:lnTo>
                      <a:pt x="41" y="10"/>
                    </a:lnTo>
                    <a:lnTo>
                      <a:pt x="41" y="13"/>
                    </a:lnTo>
                    <a:lnTo>
                      <a:pt x="41" y="16"/>
                    </a:lnTo>
                    <a:lnTo>
                      <a:pt x="27" y="8"/>
                    </a:lnTo>
                    <a:lnTo>
                      <a:pt x="23" y="7"/>
                    </a:lnTo>
                    <a:lnTo>
                      <a:pt x="23" y="8"/>
                    </a:lnTo>
                    <a:lnTo>
                      <a:pt x="16" y="8"/>
                    </a:lnTo>
                    <a:lnTo>
                      <a:pt x="13" y="7"/>
                    </a:lnTo>
                    <a:lnTo>
                      <a:pt x="11" y="7"/>
                    </a:lnTo>
                    <a:lnTo>
                      <a:pt x="10" y="8"/>
                    </a:lnTo>
                    <a:lnTo>
                      <a:pt x="9" y="10"/>
                    </a:lnTo>
                    <a:lnTo>
                      <a:pt x="6" y="8"/>
                    </a:lnTo>
                    <a:lnTo>
                      <a:pt x="3" y="6"/>
                    </a:lnTo>
                    <a:lnTo>
                      <a:pt x="0" y="1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91" name="Freeform 1373"/>
              <p:cNvSpPr>
                <a:spLocks/>
              </p:cNvSpPr>
              <p:nvPr/>
            </p:nvSpPr>
            <p:spPr bwMode="auto">
              <a:xfrm>
                <a:off x="7670920" y="3250286"/>
                <a:ext cx="81636" cy="107498"/>
              </a:xfrm>
              <a:custGeom>
                <a:avLst/>
                <a:gdLst/>
                <a:ahLst/>
                <a:cxnLst>
                  <a:cxn ang="0">
                    <a:pos x="35" y="6"/>
                  </a:cxn>
                  <a:cxn ang="0">
                    <a:pos x="38" y="9"/>
                  </a:cxn>
                  <a:cxn ang="0">
                    <a:pos x="52" y="10"/>
                  </a:cxn>
                  <a:cxn ang="0">
                    <a:pos x="57" y="11"/>
                  </a:cxn>
                  <a:cxn ang="0">
                    <a:pos x="70" y="11"/>
                  </a:cxn>
                  <a:cxn ang="0">
                    <a:pos x="83" y="1"/>
                  </a:cxn>
                  <a:cxn ang="0">
                    <a:pos x="87" y="0"/>
                  </a:cxn>
                  <a:cxn ang="0">
                    <a:pos x="89" y="3"/>
                  </a:cxn>
                  <a:cxn ang="0">
                    <a:pos x="80" y="14"/>
                  </a:cxn>
                  <a:cxn ang="0">
                    <a:pos x="63" y="20"/>
                  </a:cxn>
                  <a:cxn ang="0">
                    <a:pos x="42" y="19"/>
                  </a:cxn>
                  <a:cxn ang="0">
                    <a:pos x="38" y="17"/>
                  </a:cxn>
                  <a:cxn ang="0">
                    <a:pos x="33" y="17"/>
                  </a:cxn>
                  <a:cxn ang="0">
                    <a:pos x="31" y="19"/>
                  </a:cxn>
                  <a:cxn ang="0">
                    <a:pos x="18" y="23"/>
                  </a:cxn>
                  <a:cxn ang="0">
                    <a:pos x="19" y="38"/>
                  </a:cxn>
                  <a:cxn ang="0">
                    <a:pos x="25" y="43"/>
                  </a:cxn>
                  <a:cxn ang="0">
                    <a:pos x="32" y="42"/>
                  </a:cxn>
                  <a:cxn ang="0">
                    <a:pos x="38" y="36"/>
                  </a:cxn>
                  <a:cxn ang="0">
                    <a:pos x="45" y="36"/>
                  </a:cxn>
                  <a:cxn ang="0">
                    <a:pos x="55" y="33"/>
                  </a:cxn>
                  <a:cxn ang="0">
                    <a:pos x="63" y="32"/>
                  </a:cxn>
                  <a:cxn ang="0">
                    <a:pos x="64" y="36"/>
                  </a:cxn>
                  <a:cxn ang="0">
                    <a:pos x="60" y="36"/>
                  </a:cxn>
                  <a:cxn ang="0">
                    <a:pos x="48" y="46"/>
                  </a:cxn>
                  <a:cxn ang="0">
                    <a:pos x="35" y="49"/>
                  </a:cxn>
                  <a:cxn ang="0">
                    <a:pos x="39" y="55"/>
                  </a:cxn>
                  <a:cxn ang="0">
                    <a:pos x="48" y="65"/>
                  </a:cxn>
                  <a:cxn ang="0">
                    <a:pos x="49" y="70"/>
                  </a:cxn>
                  <a:cxn ang="0">
                    <a:pos x="47" y="71"/>
                  </a:cxn>
                  <a:cxn ang="0">
                    <a:pos x="47" y="75"/>
                  </a:cxn>
                  <a:cxn ang="0">
                    <a:pos x="52" y="81"/>
                  </a:cxn>
                  <a:cxn ang="0">
                    <a:pos x="55" y="83"/>
                  </a:cxn>
                  <a:cxn ang="0">
                    <a:pos x="54" y="87"/>
                  </a:cxn>
                  <a:cxn ang="0">
                    <a:pos x="47" y="87"/>
                  </a:cxn>
                  <a:cxn ang="0">
                    <a:pos x="42" y="93"/>
                  </a:cxn>
                  <a:cxn ang="0">
                    <a:pos x="36" y="90"/>
                  </a:cxn>
                  <a:cxn ang="0">
                    <a:pos x="38" y="83"/>
                  </a:cxn>
                  <a:cxn ang="0">
                    <a:pos x="31" y="75"/>
                  </a:cxn>
                  <a:cxn ang="0">
                    <a:pos x="31" y="68"/>
                  </a:cxn>
                  <a:cxn ang="0">
                    <a:pos x="26" y="61"/>
                  </a:cxn>
                  <a:cxn ang="0">
                    <a:pos x="19" y="68"/>
                  </a:cxn>
                  <a:cxn ang="0">
                    <a:pos x="20" y="88"/>
                  </a:cxn>
                  <a:cxn ang="0">
                    <a:pos x="20" y="94"/>
                  </a:cxn>
                  <a:cxn ang="0">
                    <a:pos x="20" y="103"/>
                  </a:cxn>
                  <a:cxn ang="0">
                    <a:pos x="10" y="104"/>
                  </a:cxn>
                  <a:cxn ang="0">
                    <a:pos x="6" y="99"/>
                  </a:cxn>
                  <a:cxn ang="0">
                    <a:pos x="9" y="80"/>
                  </a:cxn>
                  <a:cxn ang="0">
                    <a:pos x="2" y="74"/>
                  </a:cxn>
                  <a:cxn ang="0">
                    <a:pos x="0" y="62"/>
                  </a:cxn>
                  <a:cxn ang="0">
                    <a:pos x="6" y="51"/>
                  </a:cxn>
                  <a:cxn ang="0">
                    <a:pos x="9" y="36"/>
                  </a:cxn>
                  <a:cxn ang="0">
                    <a:pos x="12" y="33"/>
                  </a:cxn>
                  <a:cxn ang="0">
                    <a:pos x="13" y="26"/>
                  </a:cxn>
                  <a:cxn ang="0">
                    <a:pos x="12" y="25"/>
                  </a:cxn>
                  <a:cxn ang="0">
                    <a:pos x="15" y="17"/>
                  </a:cxn>
                  <a:cxn ang="0">
                    <a:pos x="19" y="11"/>
                  </a:cxn>
                  <a:cxn ang="0">
                    <a:pos x="22" y="13"/>
                  </a:cxn>
                  <a:cxn ang="0">
                    <a:pos x="26" y="10"/>
                  </a:cxn>
                  <a:cxn ang="0">
                    <a:pos x="28" y="6"/>
                  </a:cxn>
                </a:cxnLst>
                <a:rect l="0" t="0" r="r" b="b"/>
                <a:pathLst>
                  <a:path w="89" h="104">
                    <a:moveTo>
                      <a:pt x="31" y="6"/>
                    </a:moveTo>
                    <a:lnTo>
                      <a:pt x="35" y="6"/>
                    </a:lnTo>
                    <a:lnTo>
                      <a:pt x="36" y="7"/>
                    </a:lnTo>
                    <a:lnTo>
                      <a:pt x="38" y="9"/>
                    </a:lnTo>
                    <a:lnTo>
                      <a:pt x="51" y="10"/>
                    </a:lnTo>
                    <a:lnTo>
                      <a:pt x="52" y="10"/>
                    </a:lnTo>
                    <a:lnTo>
                      <a:pt x="55" y="11"/>
                    </a:lnTo>
                    <a:lnTo>
                      <a:pt x="57" y="11"/>
                    </a:lnTo>
                    <a:lnTo>
                      <a:pt x="58" y="10"/>
                    </a:lnTo>
                    <a:lnTo>
                      <a:pt x="70" y="11"/>
                    </a:lnTo>
                    <a:lnTo>
                      <a:pt x="74" y="10"/>
                    </a:lnTo>
                    <a:lnTo>
                      <a:pt x="83" y="1"/>
                    </a:lnTo>
                    <a:lnTo>
                      <a:pt x="86" y="0"/>
                    </a:lnTo>
                    <a:lnTo>
                      <a:pt x="87" y="0"/>
                    </a:lnTo>
                    <a:lnTo>
                      <a:pt x="89" y="0"/>
                    </a:lnTo>
                    <a:lnTo>
                      <a:pt x="89" y="3"/>
                    </a:lnTo>
                    <a:lnTo>
                      <a:pt x="89" y="4"/>
                    </a:lnTo>
                    <a:lnTo>
                      <a:pt x="80" y="14"/>
                    </a:lnTo>
                    <a:lnTo>
                      <a:pt x="76" y="19"/>
                    </a:lnTo>
                    <a:lnTo>
                      <a:pt x="63" y="20"/>
                    </a:lnTo>
                    <a:lnTo>
                      <a:pt x="60" y="17"/>
                    </a:lnTo>
                    <a:lnTo>
                      <a:pt x="42" y="19"/>
                    </a:lnTo>
                    <a:lnTo>
                      <a:pt x="39" y="17"/>
                    </a:lnTo>
                    <a:lnTo>
                      <a:pt x="38" y="17"/>
                    </a:lnTo>
                    <a:lnTo>
                      <a:pt x="36" y="17"/>
                    </a:lnTo>
                    <a:lnTo>
                      <a:pt x="33" y="17"/>
                    </a:lnTo>
                    <a:lnTo>
                      <a:pt x="33" y="17"/>
                    </a:lnTo>
                    <a:lnTo>
                      <a:pt x="31" y="19"/>
                    </a:lnTo>
                    <a:lnTo>
                      <a:pt x="22" y="17"/>
                    </a:lnTo>
                    <a:lnTo>
                      <a:pt x="18" y="23"/>
                    </a:lnTo>
                    <a:lnTo>
                      <a:pt x="18" y="35"/>
                    </a:lnTo>
                    <a:lnTo>
                      <a:pt x="19" y="38"/>
                    </a:lnTo>
                    <a:lnTo>
                      <a:pt x="22" y="38"/>
                    </a:lnTo>
                    <a:lnTo>
                      <a:pt x="25" y="43"/>
                    </a:lnTo>
                    <a:lnTo>
                      <a:pt x="31" y="43"/>
                    </a:lnTo>
                    <a:lnTo>
                      <a:pt x="32" y="42"/>
                    </a:lnTo>
                    <a:lnTo>
                      <a:pt x="35" y="38"/>
                    </a:lnTo>
                    <a:lnTo>
                      <a:pt x="38" y="36"/>
                    </a:lnTo>
                    <a:lnTo>
                      <a:pt x="44" y="38"/>
                    </a:lnTo>
                    <a:lnTo>
                      <a:pt x="45" y="36"/>
                    </a:lnTo>
                    <a:lnTo>
                      <a:pt x="55" y="35"/>
                    </a:lnTo>
                    <a:lnTo>
                      <a:pt x="55" y="33"/>
                    </a:lnTo>
                    <a:lnTo>
                      <a:pt x="60" y="32"/>
                    </a:lnTo>
                    <a:lnTo>
                      <a:pt x="63" y="32"/>
                    </a:lnTo>
                    <a:lnTo>
                      <a:pt x="64" y="33"/>
                    </a:lnTo>
                    <a:lnTo>
                      <a:pt x="64" y="36"/>
                    </a:lnTo>
                    <a:lnTo>
                      <a:pt x="63" y="39"/>
                    </a:lnTo>
                    <a:lnTo>
                      <a:pt x="60" y="36"/>
                    </a:lnTo>
                    <a:lnTo>
                      <a:pt x="55" y="38"/>
                    </a:lnTo>
                    <a:lnTo>
                      <a:pt x="48" y="46"/>
                    </a:lnTo>
                    <a:lnTo>
                      <a:pt x="38" y="51"/>
                    </a:lnTo>
                    <a:lnTo>
                      <a:pt x="35" y="49"/>
                    </a:lnTo>
                    <a:lnTo>
                      <a:pt x="35" y="52"/>
                    </a:lnTo>
                    <a:lnTo>
                      <a:pt x="39" y="55"/>
                    </a:lnTo>
                    <a:lnTo>
                      <a:pt x="47" y="65"/>
                    </a:lnTo>
                    <a:lnTo>
                      <a:pt x="48" y="65"/>
                    </a:lnTo>
                    <a:lnTo>
                      <a:pt x="48" y="68"/>
                    </a:lnTo>
                    <a:lnTo>
                      <a:pt x="49" y="70"/>
                    </a:lnTo>
                    <a:lnTo>
                      <a:pt x="49" y="71"/>
                    </a:lnTo>
                    <a:lnTo>
                      <a:pt x="47" y="71"/>
                    </a:lnTo>
                    <a:lnTo>
                      <a:pt x="47" y="74"/>
                    </a:lnTo>
                    <a:lnTo>
                      <a:pt x="47" y="75"/>
                    </a:lnTo>
                    <a:lnTo>
                      <a:pt x="52" y="80"/>
                    </a:lnTo>
                    <a:lnTo>
                      <a:pt x="52" y="81"/>
                    </a:lnTo>
                    <a:lnTo>
                      <a:pt x="54" y="83"/>
                    </a:lnTo>
                    <a:lnTo>
                      <a:pt x="55" y="83"/>
                    </a:lnTo>
                    <a:lnTo>
                      <a:pt x="55" y="84"/>
                    </a:lnTo>
                    <a:lnTo>
                      <a:pt x="54" y="87"/>
                    </a:lnTo>
                    <a:lnTo>
                      <a:pt x="49" y="87"/>
                    </a:lnTo>
                    <a:lnTo>
                      <a:pt x="47" y="87"/>
                    </a:lnTo>
                    <a:lnTo>
                      <a:pt x="45" y="91"/>
                    </a:lnTo>
                    <a:lnTo>
                      <a:pt x="42" y="93"/>
                    </a:lnTo>
                    <a:lnTo>
                      <a:pt x="38" y="93"/>
                    </a:lnTo>
                    <a:lnTo>
                      <a:pt x="36" y="90"/>
                    </a:lnTo>
                    <a:lnTo>
                      <a:pt x="36" y="86"/>
                    </a:lnTo>
                    <a:lnTo>
                      <a:pt x="38" y="83"/>
                    </a:lnTo>
                    <a:lnTo>
                      <a:pt x="36" y="81"/>
                    </a:lnTo>
                    <a:lnTo>
                      <a:pt x="31" y="75"/>
                    </a:lnTo>
                    <a:lnTo>
                      <a:pt x="29" y="72"/>
                    </a:lnTo>
                    <a:lnTo>
                      <a:pt x="31" y="68"/>
                    </a:lnTo>
                    <a:lnTo>
                      <a:pt x="29" y="61"/>
                    </a:lnTo>
                    <a:lnTo>
                      <a:pt x="26" y="61"/>
                    </a:lnTo>
                    <a:lnTo>
                      <a:pt x="20" y="65"/>
                    </a:lnTo>
                    <a:lnTo>
                      <a:pt x="19" y="68"/>
                    </a:lnTo>
                    <a:lnTo>
                      <a:pt x="20" y="72"/>
                    </a:lnTo>
                    <a:lnTo>
                      <a:pt x="20" y="88"/>
                    </a:lnTo>
                    <a:lnTo>
                      <a:pt x="22" y="91"/>
                    </a:lnTo>
                    <a:lnTo>
                      <a:pt x="20" y="94"/>
                    </a:lnTo>
                    <a:lnTo>
                      <a:pt x="22" y="103"/>
                    </a:lnTo>
                    <a:lnTo>
                      <a:pt x="20" y="103"/>
                    </a:lnTo>
                    <a:lnTo>
                      <a:pt x="13" y="104"/>
                    </a:lnTo>
                    <a:lnTo>
                      <a:pt x="10" y="104"/>
                    </a:lnTo>
                    <a:lnTo>
                      <a:pt x="7" y="103"/>
                    </a:lnTo>
                    <a:lnTo>
                      <a:pt x="6" y="99"/>
                    </a:lnTo>
                    <a:lnTo>
                      <a:pt x="10" y="81"/>
                    </a:lnTo>
                    <a:lnTo>
                      <a:pt x="9" y="80"/>
                    </a:lnTo>
                    <a:lnTo>
                      <a:pt x="9" y="72"/>
                    </a:lnTo>
                    <a:lnTo>
                      <a:pt x="2" y="74"/>
                    </a:lnTo>
                    <a:lnTo>
                      <a:pt x="0" y="70"/>
                    </a:lnTo>
                    <a:lnTo>
                      <a:pt x="0" y="62"/>
                    </a:lnTo>
                    <a:lnTo>
                      <a:pt x="2" y="58"/>
                    </a:lnTo>
                    <a:lnTo>
                      <a:pt x="6" y="51"/>
                    </a:lnTo>
                    <a:lnTo>
                      <a:pt x="6" y="42"/>
                    </a:lnTo>
                    <a:lnTo>
                      <a:pt x="9" y="36"/>
                    </a:lnTo>
                    <a:lnTo>
                      <a:pt x="10" y="35"/>
                    </a:lnTo>
                    <a:lnTo>
                      <a:pt x="12" y="33"/>
                    </a:lnTo>
                    <a:lnTo>
                      <a:pt x="13" y="35"/>
                    </a:lnTo>
                    <a:lnTo>
                      <a:pt x="13" y="26"/>
                    </a:lnTo>
                    <a:lnTo>
                      <a:pt x="12" y="25"/>
                    </a:lnTo>
                    <a:lnTo>
                      <a:pt x="12" y="25"/>
                    </a:lnTo>
                    <a:lnTo>
                      <a:pt x="13" y="22"/>
                    </a:lnTo>
                    <a:lnTo>
                      <a:pt x="15" y="17"/>
                    </a:lnTo>
                    <a:lnTo>
                      <a:pt x="16" y="14"/>
                    </a:lnTo>
                    <a:lnTo>
                      <a:pt x="19" y="11"/>
                    </a:lnTo>
                    <a:lnTo>
                      <a:pt x="19" y="11"/>
                    </a:lnTo>
                    <a:lnTo>
                      <a:pt x="22" y="13"/>
                    </a:lnTo>
                    <a:lnTo>
                      <a:pt x="23" y="13"/>
                    </a:lnTo>
                    <a:lnTo>
                      <a:pt x="26" y="10"/>
                    </a:lnTo>
                    <a:lnTo>
                      <a:pt x="26" y="7"/>
                    </a:lnTo>
                    <a:lnTo>
                      <a:pt x="28" y="6"/>
                    </a:lnTo>
                    <a:lnTo>
                      <a:pt x="31" y="6"/>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92" name="Freeform 1375"/>
              <p:cNvSpPr>
                <a:spLocks/>
              </p:cNvSpPr>
              <p:nvPr/>
            </p:nvSpPr>
            <p:spPr bwMode="auto">
              <a:xfrm>
                <a:off x="7708666" y="3350685"/>
                <a:ext cx="3511" cy="5071"/>
              </a:xfrm>
              <a:custGeom>
                <a:avLst/>
                <a:gdLst/>
                <a:ahLst/>
                <a:cxnLst>
                  <a:cxn ang="0">
                    <a:pos x="0" y="0"/>
                  </a:cxn>
                  <a:cxn ang="0">
                    <a:pos x="0" y="0"/>
                  </a:cxn>
                  <a:cxn ang="0">
                    <a:pos x="1" y="0"/>
                  </a:cxn>
                  <a:cxn ang="0">
                    <a:pos x="3" y="0"/>
                  </a:cxn>
                  <a:cxn ang="0">
                    <a:pos x="4" y="2"/>
                  </a:cxn>
                  <a:cxn ang="0">
                    <a:pos x="4" y="3"/>
                  </a:cxn>
                  <a:cxn ang="0">
                    <a:pos x="3" y="5"/>
                  </a:cxn>
                  <a:cxn ang="0">
                    <a:pos x="1" y="3"/>
                  </a:cxn>
                  <a:cxn ang="0">
                    <a:pos x="0" y="0"/>
                  </a:cxn>
                </a:cxnLst>
                <a:rect l="0" t="0" r="r" b="b"/>
                <a:pathLst>
                  <a:path w="4" h="5">
                    <a:moveTo>
                      <a:pt x="0" y="0"/>
                    </a:moveTo>
                    <a:lnTo>
                      <a:pt x="0" y="0"/>
                    </a:lnTo>
                    <a:lnTo>
                      <a:pt x="1" y="0"/>
                    </a:lnTo>
                    <a:lnTo>
                      <a:pt x="3" y="0"/>
                    </a:lnTo>
                    <a:lnTo>
                      <a:pt x="4" y="2"/>
                    </a:lnTo>
                    <a:lnTo>
                      <a:pt x="4" y="3"/>
                    </a:lnTo>
                    <a:lnTo>
                      <a:pt x="3" y="5"/>
                    </a:lnTo>
                    <a:lnTo>
                      <a:pt x="1" y="3"/>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93" name="Freeform 1376"/>
              <p:cNvSpPr>
                <a:spLocks/>
              </p:cNvSpPr>
              <p:nvPr/>
            </p:nvSpPr>
            <p:spPr bwMode="auto">
              <a:xfrm>
                <a:off x="7708666" y="3350685"/>
                <a:ext cx="3511" cy="5071"/>
              </a:xfrm>
              <a:custGeom>
                <a:avLst/>
                <a:gdLst/>
                <a:ahLst/>
                <a:cxnLst>
                  <a:cxn ang="0">
                    <a:pos x="0" y="0"/>
                  </a:cxn>
                  <a:cxn ang="0">
                    <a:pos x="0" y="0"/>
                  </a:cxn>
                  <a:cxn ang="0">
                    <a:pos x="1" y="0"/>
                  </a:cxn>
                  <a:cxn ang="0">
                    <a:pos x="3" y="0"/>
                  </a:cxn>
                  <a:cxn ang="0">
                    <a:pos x="4" y="2"/>
                  </a:cxn>
                  <a:cxn ang="0">
                    <a:pos x="4" y="3"/>
                  </a:cxn>
                  <a:cxn ang="0">
                    <a:pos x="3" y="5"/>
                  </a:cxn>
                  <a:cxn ang="0">
                    <a:pos x="1" y="3"/>
                  </a:cxn>
                  <a:cxn ang="0">
                    <a:pos x="0" y="0"/>
                  </a:cxn>
                </a:cxnLst>
                <a:rect l="0" t="0" r="r" b="b"/>
                <a:pathLst>
                  <a:path w="4" h="5">
                    <a:moveTo>
                      <a:pt x="0" y="0"/>
                    </a:moveTo>
                    <a:lnTo>
                      <a:pt x="0" y="0"/>
                    </a:lnTo>
                    <a:lnTo>
                      <a:pt x="1" y="0"/>
                    </a:lnTo>
                    <a:lnTo>
                      <a:pt x="3" y="0"/>
                    </a:lnTo>
                    <a:lnTo>
                      <a:pt x="4" y="2"/>
                    </a:lnTo>
                    <a:lnTo>
                      <a:pt x="4" y="3"/>
                    </a:lnTo>
                    <a:lnTo>
                      <a:pt x="3" y="5"/>
                    </a:lnTo>
                    <a:lnTo>
                      <a:pt x="1" y="3"/>
                    </a:lnTo>
                    <a:lnTo>
                      <a:pt x="0"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94" name="Freeform 1377"/>
              <p:cNvSpPr>
                <a:spLocks/>
              </p:cNvSpPr>
              <p:nvPr/>
            </p:nvSpPr>
            <p:spPr bwMode="auto">
              <a:xfrm>
                <a:off x="7714810" y="3343587"/>
                <a:ext cx="6145" cy="10141"/>
              </a:xfrm>
              <a:custGeom>
                <a:avLst/>
                <a:gdLst/>
                <a:ahLst/>
                <a:cxnLst>
                  <a:cxn ang="0">
                    <a:pos x="0" y="1"/>
                  </a:cxn>
                  <a:cxn ang="0">
                    <a:pos x="3" y="1"/>
                  </a:cxn>
                  <a:cxn ang="0">
                    <a:pos x="4" y="0"/>
                  </a:cxn>
                  <a:cxn ang="0">
                    <a:pos x="4" y="0"/>
                  </a:cxn>
                  <a:cxn ang="0">
                    <a:pos x="6" y="4"/>
                  </a:cxn>
                  <a:cxn ang="0">
                    <a:pos x="4" y="10"/>
                  </a:cxn>
                  <a:cxn ang="0">
                    <a:pos x="3" y="9"/>
                  </a:cxn>
                  <a:cxn ang="0">
                    <a:pos x="1" y="10"/>
                  </a:cxn>
                  <a:cxn ang="0">
                    <a:pos x="0" y="10"/>
                  </a:cxn>
                  <a:cxn ang="0">
                    <a:pos x="0" y="1"/>
                  </a:cxn>
                </a:cxnLst>
                <a:rect l="0" t="0" r="r" b="b"/>
                <a:pathLst>
                  <a:path w="6" h="10">
                    <a:moveTo>
                      <a:pt x="0" y="1"/>
                    </a:moveTo>
                    <a:lnTo>
                      <a:pt x="3" y="1"/>
                    </a:lnTo>
                    <a:lnTo>
                      <a:pt x="4" y="0"/>
                    </a:lnTo>
                    <a:lnTo>
                      <a:pt x="4" y="0"/>
                    </a:lnTo>
                    <a:lnTo>
                      <a:pt x="6" y="4"/>
                    </a:lnTo>
                    <a:lnTo>
                      <a:pt x="4" y="10"/>
                    </a:lnTo>
                    <a:lnTo>
                      <a:pt x="3" y="9"/>
                    </a:lnTo>
                    <a:lnTo>
                      <a:pt x="1" y="10"/>
                    </a:lnTo>
                    <a:lnTo>
                      <a:pt x="0" y="10"/>
                    </a:lnTo>
                    <a:lnTo>
                      <a:pt x="0"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95" name="Freeform 1378"/>
              <p:cNvSpPr>
                <a:spLocks/>
              </p:cNvSpPr>
              <p:nvPr/>
            </p:nvSpPr>
            <p:spPr bwMode="auto">
              <a:xfrm>
                <a:off x="7714810" y="3343587"/>
                <a:ext cx="6145" cy="10141"/>
              </a:xfrm>
              <a:custGeom>
                <a:avLst/>
                <a:gdLst/>
                <a:ahLst/>
                <a:cxnLst>
                  <a:cxn ang="0">
                    <a:pos x="0" y="1"/>
                  </a:cxn>
                  <a:cxn ang="0">
                    <a:pos x="3" y="1"/>
                  </a:cxn>
                  <a:cxn ang="0">
                    <a:pos x="4" y="0"/>
                  </a:cxn>
                  <a:cxn ang="0">
                    <a:pos x="4" y="0"/>
                  </a:cxn>
                  <a:cxn ang="0">
                    <a:pos x="6" y="4"/>
                  </a:cxn>
                  <a:cxn ang="0">
                    <a:pos x="4" y="10"/>
                  </a:cxn>
                  <a:cxn ang="0">
                    <a:pos x="3" y="9"/>
                  </a:cxn>
                  <a:cxn ang="0">
                    <a:pos x="1" y="10"/>
                  </a:cxn>
                  <a:cxn ang="0">
                    <a:pos x="0" y="10"/>
                  </a:cxn>
                  <a:cxn ang="0">
                    <a:pos x="0" y="1"/>
                  </a:cxn>
                </a:cxnLst>
                <a:rect l="0" t="0" r="r" b="b"/>
                <a:pathLst>
                  <a:path w="6" h="10">
                    <a:moveTo>
                      <a:pt x="0" y="1"/>
                    </a:moveTo>
                    <a:lnTo>
                      <a:pt x="3" y="1"/>
                    </a:lnTo>
                    <a:lnTo>
                      <a:pt x="4" y="0"/>
                    </a:lnTo>
                    <a:lnTo>
                      <a:pt x="4" y="0"/>
                    </a:lnTo>
                    <a:lnTo>
                      <a:pt x="6" y="4"/>
                    </a:lnTo>
                    <a:lnTo>
                      <a:pt x="4" y="10"/>
                    </a:lnTo>
                    <a:lnTo>
                      <a:pt x="3" y="9"/>
                    </a:lnTo>
                    <a:lnTo>
                      <a:pt x="1" y="10"/>
                    </a:lnTo>
                    <a:lnTo>
                      <a:pt x="0" y="10"/>
                    </a:lnTo>
                    <a:lnTo>
                      <a:pt x="0" y="1"/>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96" name="Freeform 1379"/>
              <p:cNvSpPr>
                <a:spLocks/>
              </p:cNvSpPr>
              <p:nvPr/>
            </p:nvSpPr>
            <p:spPr bwMode="auto">
              <a:xfrm>
                <a:off x="7719200" y="3339530"/>
                <a:ext cx="7022" cy="18254"/>
              </a:xfrm>
              <a:custGeom>
                <a:avLst/>
                <a:gdLst/>
                <a:ahLst/>
                <a:cxnLst>
                  <a:cxn ang="0">
                    <a:pos x="3" y="8"/>
                  </a:cxn>
                  <a:cxn ang="0">
                    <a:pos x="3" y="8"/>
                  </a:cxn>
                  <a:cxn ang="0">
                    <a:pos x="3" y="2"/>
                  </a:cxn>
                  <a:cxn ang="0">
                    <a:pos x="5" y="1"/>
                  </a:cxn>
                  <a:cxn ang="0">
                    <a:pos x="5" y="0"/>
                  </a:cxn>
                  <a:cxn ang="0">
                    <a:pos x="6" y="1"/>
                  </a:cxn>
                  <a:cxn ang="0">
                    <a:pos x="8" y="5"/>
                  </a:cxn>
                  <a:cxn ang="0">
                    <a:pos x="8" y="5"/>
                  </a:cxn>
                  <a:cxn ang="0">
                    <a:pos x="6" y="7"/>
                  </a:cxn>
                  <a:cxn ang="0">
                    <a:pos x="6" y="8"/>
                  </a:cxn>
                  <a:cxn ang="0">
                    <a:pos x="6" y="10"/>
                  </a:cxn>
                  <a:cxn ang="0">
                    <a:pos x="8" y="10"/>
                  </a:cxn>
                  <a:cxn ang="0">
                    <a:pos x="8" y="13"/>
                  </a:cxn>
                  <a:cxn ang="0">
                    <a:pos x="8" y="14"/>
                  </a:cxn>
                  <a:cxn ang="0">
                    <a:pos x="2" y="18"/>
                  </a:cxn>
                  <a:cxn ang="0">
                    <a:pos x="0" y="17"/>
                  </a:cxn>
                  <a:cxn ang="0">
                    <a:pos x="3" y="8"/>
                  </a:cxn>
                </a:cxnLst>
                <a:rect l="0" t="0" r="r" b="b"/>
                <a:pathLst>
                  <a:path w="8" h="18">
                    <a:moveTo>
                      <a:pt x="3" y="8"/>
                    </a:moveTo>
                    <a:lnTo>
                      <a:pt x="3" y="8"/>
                    </a:lnTo>
                    <a:lnTo>
                      <a:pt x="3" y="2"/>
                    </a:lnTo>
                    <a:lnTo>
                      <a:pt x="5" y="1"/>
                    </a:lnTo>
                    <a:lnTo>
                      <a:pt x="5" y="0"/>
                    </a:lnTo>
                    <a:lnTo>
                      <a:pt x="6" y="1"/>
                    </a:lnTo>
                    <a:lnTo>
                      <a:pt x="8" y="5"/>
                    </a:lnTo>
                    <a:lnTo>
                      <a:pt x="8" y="5"/>
                    </a:lnTo>
                    <a:lnTo>
                      <a:pt x="6" y="7"/>
                    </a:lnTo>
                    <a:lnTo>
                      <a:pt x="6" y="8"/>
                    </a:lnTo>
                    <a:lnTo>
                      <a:pt x="6" y="10"/>
                    </a:lnTo>
                    <a:lnTo>
                      <a:pt x="8" y="10"/>
                    </a:lnTo>
                    <a:lnTo>
                      <a:pt x="8" y="13"/>
                    </a:lnTo>
                    <a:lnTo>
                      <a:pt x="8" y="14"/>
                    </a:lnTo>
                    <a:lnTo>
                      <a:pt x="2" y="18"/>
                    </a:lnTo>
                    <a:lnTo>
                      <a:pt x="0" y="17"/>
                    </a:lnTo>
                    <a:lnTo>
                      <a:pt x="3" y="8"/>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97" name="Freeform 1380"/>
              <p:cNvSpPr>
                <a:spLocks/>
              </p:cNvSpPr>
              <p:nvPr/>
            </p:nvSpPr>
            <p:spPr bwMode="auto">
              <a:xfrm>
                <a:off x="7719200" y="3339530"/>
                <a:ext cx="7022" cy="18254"/>
              </a:xfrm>
              <a:custGeom>
                <a:avLst/>
                <a:gdLst/>
                <a:ahLst/>
                <a:cxnLst>
                  <a:cxn ang="0">
                    <a:pos x="3" y="8"/>
                  </a:cxn>
                  <a:cxn ang="0">
                    <a:pos x="3" y="8"/>
                  </a:cxn>
                  <a:cxn ang="0">
                    <a:pos x="3" y="2"/>
                  </a:cxn>
                  <a:cxn ang="0">
                    <a:pos x="5" y="1"/>
                  </a:cxn>
                  <a:cxn ang="0">
                    <a:pos x="5" y="0"/>
                  </a:cxn>
                  <a:cxn ang="0">
                    <a:pos x="6" y="1"/>
                  </a:cxn>
                  <a:cxn ang="0">
                    <a:pos x="8" y="5"/>
                  </a:cxn>
                  <a:cxn ang="0">
                    <a:pos x="8" y="5"/>
                  </a:cxn>
                  <a:cxn ang="0">
                    <a:pos x="6" y="7"/>
                  </a:cxn>
                  <a:cxn ang="0">
                    <a:pos x="6" y="8"/>
                  </a:cxn>
                  <a:cxn ang="0">
                    <a:pos x="6" y="10"/>
                  </a:cxn>
                  <a:cxn ang="0">
                    <a:pos x="8" y="10"/>
                  </a:cxn>
                  <a:cxn ang="0">
                    <a:pos x="8" y="13"/>
                  </a:cxn>
                  <a:cxn ang="0">
                    <a:pos x="8" y="14"/>
                  </a:cxn>
                  <a:cxn ang="0">
                    <a:pos x="2" y="18"/>
                  </a:cxn>
                  <a:cxn ang="0">
                    <a:pos x="0" y="17"/>
                  </a:cxn>
                  <a:cxn ang="0">
                    <a:pos x="3" y="8"/>
                  </a:cxn>
                </a:cxnLst>
                <a:rect l="0" t="0" r="r" b="b"/>
                <a:pathLst>
                  <a:path w="8" h="18">
                    <a:moveTo>
                      <a:pt x="3" y="8"/>
                    </a:moveTo>
                    <a:lnTo>
                      <a:pt x="3" y="8"/>
                    </a:lnTo>
                    <a:lnTo>
                      <a:pt x="3" y="2"/>
                    </a:lnTo>
                    <a:lnTo>
                      <a:pt x="5" y="1"/>
                    </a:lnTo>
                    <a:lnTo>
                      <a:pt x="5" y="0"/>
                    </a:lnTo>
                    <a:lnTo>
                      <a:pt x="6" y="1"/>
                    </a:lnTo>
                    <a:lnTo>
                      <a:pt x="8" y="5"/>
                    </a:lnTo>
                    <a:lnTo>
                      <a:pt x="8" y="5"/>
                    </a:lnTo>
                    <a:lnTo>
                      <a:pt x="6" y="7"/>
                    </a:lnTo>
                    <a:lnTo>
                      <a:pt x="6" y="8"/>
                    </a:lnTo>
                    <a:lnTo>
                      <a:pt x="6" y="10"/>
                    </a:lnTo>
                    <a:lnTo>
                      <a:pt x="8" y="10"/>
                    </a:lnTo>
                    <a:lnTo>
                      <a:pt x="8" y="13"/>
                    </a:lnTo>
                    <a:lnTo>
                      <a:pt x="8" y="14"/>
                    </a:lnTo>
                    <a:lnTo>
                      <a:pt x="2" y="18"/>
                    </a:lnTo>
                    <a:lnTo>
                      <a:pt x="0" y="17"/>
                    </a:lnTo>
                    <a:lnTo>
                      <a:pt x="3" y="8"/>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98" name="Freeform 1381"/>
              <p:cNvSpPr>
                <a:spLocks/>
              </p:cNvSpPr>
              <p:nvPr/>
            </p:nvSpPr>
            <p:spPr bwMode="auto">
              <a:xfrm>
                <a:off x="7724467" y="3333445"/>
                <a:ext cx="2633" cy="4056"/>
              </a:xfrm>
              <a:custGeom>
                <a:avLst/>
                <a:gdLst/>
                <a:ahLst/>
                <a:cxnLst>
                  <a:cxn ang="0">
                    <a:pos x="0" y="1"/>
                  </a:cxn>
                  <a:cxn ang="0">
                    <a:pos x="0" y="0"/>
                  </a:cxn>
                  <a:cxn ang="0">
                    <a:pos x="2" y="1"/>
                  </a:cxn>
                  <a:cxn ang="0">
                    <a:pos x="2" y="1"/>
                  </a:cxn>
                  <a:cxn ang="0">
                    <a:pos x="3" y="3"/>
                  </a:cxn>
                  <a:cxn ang="0">
                    <a:pos x="2" y="4"/>
                  </a:cxn>
                  <a:cxn ang="0">
                    <a:pos x="2" y="4"/>
                  </a:cxn>
                  <a:cxn ang="0">
                    <a:pos x="0" y="3"/>
                  </a:cxn>
                  <a:cxn ang="0">
                    <a:pos x="0" y="1"/>
                  </a:cxn>
                  <a:cxn ang="0">
                    <a:pos x="0" y="1"/>
                  </a:cxn>
                </a:cxnLst>
                <a:rect l="0" t="0" r="r" b="b"/>
                <a:pathLst>
                  <a:path w="3" h="4">
                    <a:moveTo>
                      <a:pt x="0" y="1"/>
                    </a:moveTo>
                    <a:lnTo>
                      <a:pt x="0" y="0"/>
                    </a:lnTo>
                    <a:lnTo>
                      <a:pt x="2" y="1"/>
                    </a:lnTo>
                    <a:lnTo>
                      <a:pt x="2" y="1"/>
                    </a:lnTo>
                    <a:lnTo>
                      <a:pt x="3" y="3"/>
                    </a:lnTo>
                    <a:lnTo>
                      <a:pt x="2" y="4"/>
                    </a:lnTo>
                    <a:lnTo>
                      <a:pt x="2" y="4"/>
                    </a:lnTo>
                    <a:lnTo>
                      <a:pt x="0" y="3"/>
                    </a:lnTo>
                    <a:lnTo>
                      <a:pt x="0" y="1"/>
                    </a:lnTo>
                    <a:lnTo>
                      <a:pt x="0"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99" name="Freeform 1382"/>
              <p:cNvSpPr>
                <a:spLocks/>
              </p:cNvSpPr>
              <p:nvPr/>
            </p:nvSpPr>
            <p:spPr bwMode="auto">
              <a:xfrm>
                <a:off x="7724467" y="3333445"/>
                <a:ext cx="2633" cy="4056"/>
              </a:xfrm>
              <a:custGeom>
                <a:avLst/>
                <a:gdLst/>
                <a:ahLst/>
                <a:cxnLst>
                  <a:cxn ang="0">
                    <a:pos x="0" y="1"/>
                  </a:cxn>
                  <a:cxn ang="0">
                    <a:pos x="0" y="0"/>
                  </a:cxn>
                  <a:cxn ang="0">
                    <a:pos x="2" y="1"/>
                  </a:cxn>
                  <a:cxn ang="0">
                    <a:pos x="2" y="1"/>
                  </a:cxn>
                  <a:cxn ang="0">
                    <a:pos x="3" y="3"/>
                  </a:cxn>
                  <a:cxn ang="0">
                    <a:pos x="2" y="4"/>
                  </a:cxn>
                  <a:cxn ang="0">
                    <a:pos x="2" y="4"/>
                  </a:cxn>
                  <a:cxn ang="0">
                    <a:pos x="0" y="3"/>
                  </a:cxn>
                  <a:cxn ang="0">
                    <a:pos x="0" y="1"/>
                  </a:cxn>
                  <a:cxn ang="0">
                    <a:pos x="0" y="1"/>
                  </a:cxn>
                </a:cxnLst>
                <a:rect l="0" t="0" r="r" b="b"/>
                <a:pathLst>
                  <a:path w="3" h="4">
                    <a:moveTo>
                      <a:pt x="0" y="1"/>
                    </a:moveTo>
                    <a:lnTo>
                      <a:pt x="0" y="0"/>
                    </a:lnTo>
                    <a:lnTo>
                      <a:pt x="2" y="1"/>
                    </a:lnTo>
                    <a:lnTo>
                      <a:pt x="2" y="1"/>
                    </a:lnTo>
                    <a:lnTo>
                      <a:pt x="3" y="3"/>
                    </a:lnTo>
                    <a:lnTo>
                      <a:pt x="2" y="4"/>
                    </a:lnTo>
                    <a:lnTo>
                      <a:pt x="2" y="4"/>
                    </a:lnTo>
                    <a:lnTo>
                      <a:pt x="0" y="3"/>
                    </a:lnTo>
                    <a:lnTo>
                      <a:pt x="0" y="1"/>
                    </a:lnTo>
                    <a:lnTo>
                      <a:pt x="0" y="1"/>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00" name="Freeform 1383"/>
              <p:cNvSpPr>
                <a:spLocks/>
              </p:cNvSpPr>
              <p:nvPr/>
            </p:nvSpPr>
            <p:spPr bwMode="auto">
              <a:xfrm>
                <a:off x="7721833" y="3292880"/>
                <a:ext cx="4389" cy="5071"/>
              </a:xfrm>
              <a:custGeom>
                <a:avLst/>
                <a:gdLst/>
                <a:ahLst/>
                <a:cxnLst>
                  <a:cxn ang="0">
                    <a:pos x="3" y="0"/>
                  </a:cxn>
                  <a:cxn ang="0">
                    <a:pos x="5" y="0"/>
                  </a:cxn>
                  <a:cxn ang="0">
                    <a:pos x="5" y="0"/>
                  </a:cxn>
                  <a:cxn ang="0">
                    <a:pos x="3" y="5"/>
                  </a:cxn>
                  <a:cxn ang="0">
                    <a:pos x="0" y="5"/>
                  </a:cxn>
                  <a:cxn ang="0">
                    <a:pos x="0" y="2"/>
                  </a:cxn>
                  <a:cxn ang="0">
                    <a:pos x="0" y="1"/>
                  </a:cxn>
                  <a:cxn ang="0">
                    <a:pos x="2" y="1"/>
                  </a:cxn>
                  <a:cxn ang="0">
                    <a:pos x="3" y="0"/>
                  </a:cxn>
                </a:cxnLst>
                <a:rect l="0" t="0" r="r" b="b"/>
                <a:pathLst>
                  <a:path w="5" h="5">
                    <a:moveTo>
                      <a:pt x="3" y="0"/>
                    </a:moveTo>
                    <a:lnTo>
                      <a:pt x="5" y="0"/>
                    </a:lnTo>
                    <a:lnTo>
                      <a:pt x="5" y="0"/>
                    </a:lnTo>
                    <a:lnTo>
                      <a:pt x="3" y="5"/>
                    </a:lnTo>
                    <a:lnTo>
                      <a:pt x="0" y="5"/>
                    </a:lnTo>
                    <a:lnTo>
                      <a:pt x="0" y="2"/>
                    </a:lnTo>
                    <a:lnTo>
                      <a:pt x="0" y="1"/>
                    </a:lnTo>
                    <a:lnTo>
                      <a:pt x="2" y="1"/>
                    </a:lnTo>
                    <a:lnTo>
                      <a:pt x="3"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01" name="Freeform 1384"/>
              <p:cNvSpPr>
                <a:spLocks/>
              </p:cNvSpPr>
              <p:nvPr/>
            </p:nvSpPr>
            <p:spPr bwMode="auto">
              <a:xfrm>
                <a:off x="7721833" y="3292880"/>
                <a:ext cx="4389" cy="5071"/>
              </a:xfrm>
              <a:custGeom>
                <a:avLst/>
                <a:gdLst/>
                <a:ahLst/>
                <a:cxnLst>
                  <a:cxn ang="0">
                    <a:pos x="3" y="0"/>
                  </a:cxn>
                  <a:cxn ang="0">
                    <a:pos x="5" y="0"/>
                  </a:cxn>
                  <a:cxn ang="0">
                    <a:pos x="5" y="0"/>
                  </a:cxn>
                  <a:cxn ang="0">
                    <a:pos x="3" y="5"/>
                  </a:cxn>
                  <a:cxn ang="0">
                    <a:pos x="0" y="5"/>
                  </a:cxn>
                  <a:cxn ang="0">
                    <a:pos x="0" y="2"/>
                  </a:cxn>
                  <a:cxn ang="0">
                    <a:pos x="0" y="1"/>
                  </a:cxn>
                  <a:cxn ang="0">
                    <a:pos x="2" y="1"/>
                  </a:cxn>
                  <a:cxn ang="0">
                    <a:pos x="3" y="0"/>
                  </a:cxn>
                </a:cxnLst>
                <a:rect l="0" t="0" r="r" b="b"/>
                <a:pathLst>
                  <a:path w="5" h="5">
                    <a:moveTo>
                      <a:pt x="3" y="0"/>
                    </a:moveTo>
                    <a:lnTo>
                      <a:pt x="5" y="0"/>
                    </a:lnTo>
                    <a:lnTo>
                      <a:pt x="5" y="0"/>
                    </a:lnTo>
                    <a:lnTo>
                      <a:pt x="3" y="5"/>
                    </a:lnTo>
                    <a:lnTo>
                      <a:pt x="0" y="5"/>
                    </a:lnTo>
                    <a:lnTo>
                      <a:pt x="0" y="2"/>
                    </a:lnTo>
                    <a:lnTo>
                      <a:pt x="0" y="1"/>
                    </a:lnTo>
                    <a:lnTo>
                      <a:pt x="2" y="1"/>
                    </a:lnTo>
                    <a:lnTo>
                      <a:pt x="3"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02" name="Freeform 1385"/>
              <p:cNvSpPr>
                <a:spLocks/>
              </p:cNvSpPr>
              <p:nvPr/>
            </p:nvSpPr>
            <p:spPr bwMode="auto">
              <a:xfrm>
                <a:off x="7726222" y="3293894"/>
                <a:ext cx="4389" cy="4056"/>
              </a:xfrm>
              <a:custGeom>
                <a:avLst/>
                <a:gdLst/>
                <a:ahLst/>
                <a:cxnLst>
                  <a:cxn ang="0">
                    <a:pos x="1" y="1"/>
                  </a:cxn>
                  <a:cxn ang="0">
                    <a:pos x="3" y="0"/>
                  </a:cxn>
                  <a:cxn ang="0">
                    <a:pos x="3" y="0"/>
                  </a:cxn>
                  <a:cxn ang="0">
                    <a:pos x="4" y="0"/>
                  </a:cxn>
                  <a:cxn ang="0">
                    <a:pos x="5" y="0"/>
                  </a:cxn>
                  <a:cxn ang="0">
                    <a:pos x="5" y="3"/>
                  </a:cxn>
                  <a:cxn ang="0">
                    <a:pos x="4" y="4"/>
                  </a:cxn>
                  <a:cxn ang="0">
                    <a:pos x="3" y="3"/>
                  </a:cxn>
                  <a:cxn ang="0">
                    <a:pos x="1" y="4"/>
                  </a:cxn>
                  <a:cxn ang="0">
                    <a:pos x="0" y="3"/>
                  </a:cxn>
                  <a:cxn ang="0">
                    <a:pos x="0" y="1"/>
                  </a:cxn>
                  <a:cxn ang="0">
                    <a:pos x="1" y="1"/>
                  </a:cxn>
                </a:cxnLst>
                <a:rect l="0" t="0" r="r" b="b"/>
                <a:pathLst>
                  <a:path w="5" h="4">
                    <a:moveTo>
                      <a:pt x="1" y="1"/>
                    </a:moveTo>
                    <a:lnTo>
                      <a:pt x="3" y="0"/>
                    </a:lnTo>
                    <a:lnTo>
                      <a:pt x="3" y="0"/>
                    </a:lnTo>
                    <a:lnTo>
                      <a:pt x="4" y="0"/>
                    </a:lnTo>
                    <a:lnTo>
                      <a:pt x="5" y="0"/>
                    </a:lnTo>
                    <a:lnTo>
                      <a:pt x="5" y="3"/>
                    </a:lnTo>
                    <a:lnTo>
                      <a:pt x="4" y="4"/>
                    </a:lnTo>
                    <a:lnTo>
                      <a:pt x="3" y="3"/>
                    </a:lnTo>
                    <a:lnTo>
                      <a:pt x="1" y="4"/>
                    </a:lnTo>
                    <a:lnTo>
                      <a:pt x="0" y="3"/>
                    </a:lnTo>
                    <a:lnTo>
                      <a:pt x="0" y="1"/>
                    </a:lnTo>
                    <a:lnTo>
                      <a:pt x="1"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03" name="Freeform 1386"/>
              <p:cNvSpPr>
                <a:spLocks/>
              </p:cNvSpPr>
              <p:nvPr/>
            </p:nvSpPr>
            <p:spPr bwMode="auto">
              <a:xfrm>
                <a:off x="7726222" y="3293894"/>
                <a:ext cx="4389" cy="4056"/>
              </a:xfrm>
              <a:custGeom>
                <a:avLst/>
                <a:gdLst/>
                <a:ahLst/>
                <a:cxnLst>
                  <a:cxn ang="0">
                    <a:pos x="1" y="1"/>
                  </a:cxn>
                  <a:cxn ang="0">
                    <a:pos x="3" y="0"/>
                  </a:cxn>
                  <a:cxn ang="0">
                    <a:pos x="3" y="0"/>
                  </a:cxn>
                  <a:cxn ang="0">
                    <a:pos x="4" y="0"/>
                  </a:cxn>
                  <a:cxn ang="0">
                    <a:pos x="5" y="0"/>
                  </a:cxn>
                  <a:cxn ang="0">
                    <a:pos x="5" y="3"/>
                  </a:cxn>
                  <a:cxn ang="0">
                    <a:pos x="4" y="4"/>
                  </a:cxn>
                  <a:cxn ang="0">
                    <a:pos x="3" y="3"/>
                  </a:cxn>
                  <a:cxn ang="0">
                    <a:pos x="1" y="4"/>
                  </a:cxn>
                  <a:cxn ang="0">
                    <a:pos x="0" y="3"/>
                  </a:cxn>
                  <a:cxn ang="0">
                    <a:pos x="0" y="1"/>
                  </a:cxn>
                  <a:cxn ang="0">
                    <a:pos x="1" y="1"/>
                  </a:cxn>
                </a:cxnLst>
                <a:rect l="0" t="0" r="r" b="b"/>
                <a:pathLst>
                  <a:path w="5" h="4">
                    <a:moveTo>
                      <a:pt x="1" y="1"/>
                    </a:moveTo>
                    <a:lnTo>
                      <a:pt x="3" y="0"/>
                    </a:lnTo>
                    <a:lnTo>
                      <a:pt x="3" y="0"/>
                    </a:lnTo>
                    <a:lnTo>
                      <a:pt x="4" y="0"/>
                    </a:lnTo>
                    <a:lnTo>
                      <a:pt x="5" y="0"/>
                    </a:lnTo>
                    <a:lnTo>
                      <a:pt x="5" y="3"/>
                    </a:lnTo>
                    <a:lnTo>
                      <a:pt x="4" y="4"/>
                    </a:lnTo>
                    <a:lnTo>
                      <a:pt x="3" y="3"/>
                    </a:lnTo>
                    <a:lnTo>
                      <a:pt x="1" y="4"/>
                    </a:lnTo>
                    <a:lnTo>
                      <a:pt x="0" y="3"/>
                    </a:lnTo>
                    <a:lnTo>
                      <a:pt x="0" y="1"/>
                    </a:lnTo>
                    <a:lnTo>
                      <a:pt x="1" y="1"/>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04" name="Freeform 1387"/>
              <p:cNvSpPr>
                <a:spLocks/>
              </p:cNvSpPr>
              <p:nvPr/>
            </p:nvSpPr>
            <p:spPr bwMode="auto">
              <a:xfrm>
                <a:off x="7742023" y="3299978"/>
                <a:ext cx="11411" cy="4056"/>
              </a:xfrm>
              <a:custGeom>
                <a:avLst/>
                <a:gdLst/>
                <a:ahLst/>
                <a:cxnLst>
                  <a:cxn ang="0">
                    <a:pos x="0" y="0"/>
                  </a:cxn>
                  <a:cxn ang="0">
                    <a:pos x="6" y="0"/>
                  </a:cxn>
                  <a:cxn ang="0">
                    <a:pos x="9" y="1"/>
                  </a:cxn>
                  <a:cxn ang="0">
                    <a:pos x="12" y="1"/>
                  </a:cxn>
                  <a:cxn ang="0">
                    <a:pos x="12" y="1"/>
                  </a:cxn>
                  <a:cxn ang="0">
                    <a:pos x="13" y="1"/>
                  </a:cxn>
                  <a:cxn ang="0">
                    <a:pos x="12" y="1"/>
                  </a:cxn>
                  <a:cxn ang="0">
                    <a:pos x="10" y="3"/>
                  </a:cxn>
                  <a:cxn ang="0">
                    <a:pos x="6" y="3"/>
                  </a:cxn>
                  <a:cxn ang="0">
                    <a:pos x="3" y="4"/>
                  </a:cxn>
                  <a:cxn ang="0">
                    <a:pos x="1" y="4"/>
                  </a:cxn>
                  <a:cxn ang="0">
                    <a:pos x="0" y="1"/>
                  </a:cxn>
                  <a:cxn ang="0">
                    <a:pos x="0" y="1"/>
                  </a:cxn>
                  <a:cxn ang="0">
                    <a:pos x="0" y="0"/>
                  </a:cxn>
                </a:cxnLst>
                <a:rect l="0" t="0" r="r" b="b"/>
                <a:pathLst>
                  <a:path w="13" h="4">
                    <a:moveTo>
                      <a:pt x="0" y="0"/>
                    </a:moveTo>
                    <a:lnTo>
                      <a:pt x="6" y="0"/>
                    </a:lnTo>
                    <a:lnTo>
                      <a:pt x="9" y="1"/>
                    </a:lnTo>
                    <a:lnTo>
                      <a:pt x="12" y="1"/>
                    </a:lnTo>
                    <a:lnTo>
                      <a:pt x="12" y="1"/>
                    </a:lnTo>
                    <a:lnTo>
                      <a:pt x="13" y="1"/>
                    </a:lnTo>
                    <a:lnTo>
                      <a:pt x="12" y="1"/>
                    </a:lnTo>
                    <a:lnTo>
                      <a:pt x="10" y="3"/>
                    </a:lnTo>
                    <a:lnTo>
                      <a:pt x="6" y="3"/>
                    </a:lnTo>
                    <a:lnTo>
                      <a:pt x="3" y="4"/>
                    </a:lnTo>
                    <a:lnTo>
                      <a:pt x="1" y="4"/>
                    </a:lnTo>
                    <a:lnTo>
                      <a:pt x="0" y="1"/>
                    </a:lnTo>
                    <a:lnTo>
                      <a:pt x="0" y="1"/>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05" name="Freeform 1388"/>
              <p:cNvSpPr>
                <a:spLocks/>
              </p:cNvSpPr>
              <p:nvPr/>
            </p:nvSpPr>
            <p:spPr bwMode="auto">
              <a:xfrm>
                <a:off x="7742023" y="3299978"/>
                <a:ext cx="11411" cy="4056"/>
              </a:xfrm>
              <a:custGeom>
                <a:avLst/>
                <a:gdLst/>
                <a:ahLst/>
                <a:cxnLst>
                  <a:cxn ang="0">
                    <a:pos x="0" y="0"/>
                  </a:cxn>
                  <a:cxn ang="0">
                    <a:pos x="6" y="0"/>
                  </a:cxn>
                  <a:cxn ang="0">
                    <a:pos x="9" y="1"/>
                  </a:cxn>
                  <a:cxn ang="0">
                    <a:pos x="12" y="1"/>
                  </a:cxn>
                  <a:cxn ang="0">
                    <a:pos x="12" y="1"/>
                  </a:cxn>
                  <a:cxn ang="0">
                    <a:pos x="13" y="1"/>
                  </a:cxn>
                  <a:cxn ang="0">
                    <a:pos x="12" y="1"/>
                  </a:cxn>
                  <a:cxn ang="0">
                    <a:pos x="10" y="3"/>
                  </a:cxn>
                  <a:cxn ang="0">
                    <a:pos x="6" y="3"/>
                  </a:cxn>
                  <a:cxn ang="0">
                    <a:pos x="3" y="4"/>
                  </a:cxn>
                  <a:cxn ang="0">
                    <a:pos x="1" y="4"/>
                  </a:cxn>
                  <a:cxn ang="0">
                    <a:pos x="0" y="1"/>
                  </a:cxn>
                  <a:cxn ang="0">
                    <a:pos x="0" y="1"/>
                  </a:cxn>
                  <a:cxn ang="0">
                    <a:pos x="0" y="0"/>
                  </a:cxn>
                </a:cxnLst>
                <a:rect l="0" t="0" r="r" b="b"/>
                <a:pathLst>
                  <a:path w="13" h="4">
                    <a:moveTo>
                      <a:pt x="0" y="0"/>
                    </a:moveTo>
                    <a:lnTo>
                      <a:pt x="6" y="0"/>
                    </a:lnTo>
                    <a:lnTo>
                      <a:pt x="9" y="1"/>
                    </a:lnTo>
                    <a:lnTo>
                      <a:pt x="12" y="1"/>
                    </a:lnTo>
                    <a:lnTo>
                      <a:pt x="12" y="1"/>
                    </a:lnTo>
                    <a:lnTo>
                      <a:pt x="13" y="1"/>
                    </a:lnTo>
                    <a:lnTo>
                      <a:pt x="12" y="1"/>
                    </a:lnTo>
                    <a:lnTo>
                      <a:pt x="10" y="3"/>
                    </a:lnTo>
                    <a:lnTo>
                      <a:pt x="6" y="3"/>
                    </a:lnTo>
                    <a:lnTo>
                      <a:pt x="3" y="4"/>
                    </a:lnTo>
                    <a:lnTo>
                      <a:pt x="1" y="4"/>
                    </a:lnTo>
                    <a:lnTo>
                      <a:pt x="0" y="1"/>
                    </a:lnTo>
                    <a:lnTo>
                      <a:pt x="0" y="1"/>
                    </a:lnTo>
                    <a:lnTo>
                      <a:pt x="0"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06" name="Freeform 1389"/>
              <p:cNvSpPr>
                <a:spLocks/>
              </p:cNvSpPr>
              <p:nvPr/>
            </p:nvSpPr>
            <p:spPr bwMode="auto">
              <a:xfrm>
                <a:off x="7755189" y="3300993"/>
                <a:ext cx="12289" cy="3042"/>
              </a:xfrm>
              <a:custGeom>
                <a:avLst/>
                <a:gdLst/>
                <a:ahLst/>
                <a:cxnLst>
                  <a:cxn ang="0">
                    <a:pos x="0" y="0"/>
                  </a:cxn>
                  <a:cxn ang="0">
                    <a:pos x="0" y="0"/>
                  </a:cxn>
                  <a:cxn ang="0">
                    <a:pos x="2" y="2"/>
                  </a:cxn>
                  <a:cxn ang="0">
                    <a:pos x="13" y="0"/>
                  </a:cxn>
                  <a:cxn ang="0">
                    <a:pos x="13" y="0"/>
                  </a:cxn>
                  <a:cxn ang="0">
                    <a:pos x="11" y="2"/>
                  </a:cxn>
                  <a:cxn ang="0">
                    <a:pos x="1" y="3"/>
                  </a:cxn>
                  <a:cxn ang="0">
                    <a:pos x="0" y="0"/>
                  </a:cxn>
                </a:cxnLst>
                <a:rect l="0" t="0" r="r" b="b"/>
                <a:pathLst>
                  <a:path w="13" h="3">
                    <a:moveTo>
                      <a:pt x="0" y="0"/>
                    </a:moveTo>
                    <a:lnTo>
                      <a:pt x="0" y="0"/>
                    </a:lnTo>
                    <a:lnTo>
                      <a:pt x="2" y="2"/>
                    </a:lnTo>
                    <a:lnTo>
                      <a:pt x="13" y="0"/>
                    </a:lnTo>
                    <a:lnTo>
                      <a:pt x="13" y="0"/>
                    </a:lnTo>
                    <a:lnTo>
                      <a:pt x="11" y="2"/>
                    </a:lnTo>
                    <a:lnTo>
                      <a:pt x="1" y="3"/>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07" name="Freeform 1390"/>
              <p:cNvSpPr>
                <a:spLocks/>
              </p:cNvSpPr>
              <p:nvPr/>
            </p:nvSpPr>
            <p:spPr bwMode="auto">
              <a:xfrm>
                <a:off x="7755189" y="3300993"/>
                <a:ext cx="12289" cy="3042"/>
              </a:xfrm>
              <a:custGeom>
                <a:avLst/>
                <a:gdLst/>
                <a:ahLst/>
                <a:cxnLst>
                  <a:cxn ang="0">
                    <a:pos x="0" y="0"/>
                  </a:cxn>
                  <a:cxn ang="0">
                    <a:pos x="0" y="0"/>
                  </a:cxn>
                  <a:cxn ang="0">
                    <a:pos x="2" y="2"/>
                  </a:cxn>
                  <a:cxn ang="0">
                    <a:pos x="13" y="0"/>
                  </a:cxn>
                  <a:cxn ang="0">
                    <a:pos x="13" y="0"/>
                  </a:cxn>
                  <a:cxn ang="0">
                    <a:pos x="11" y="2"/>
                  </a:cxn>
                  <a:cxn ang="0">
                    <a:pos x="1" y="3"/>
                  </a:cxn>
                  <a:cxn ang="0">
                    <a:pos x="0" y="0"/>
                  </a:cxn>
                </a:cxnLst>
                <a:rect l="0" t="0" r="r" b="b"/>
                <a:pathLst>
                  <a:path w="13" h="3">
                    <a:moveTo>
                      <a:pt x="0" y="0"/>
                    </a:moveTo>
                    <a:lnTo>
                      <a:pt x="0" y="0"/>
                    </a:lnTo>
                    <a:lnTo>
                      <a:pt x="2" y="2"/>
                    </a:lnTo>
                    <a:lnTo>
                      <a:pt x="13" y="0"/>
                    </a:lnTo>
                    <a:lnTo>
                      <a:pt x="13" y="0"/>
                    </a:lnTo>
                    <a:lnTo>
                      <a:pt x="11" y="2"/>
                    </a:lnTo>
                    <a:lnTo>
                      <a:pt x="1" y="3"/>
                    </a:lnTo>
                    <a:lnTo>
                      <a:pt x="0"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08" name="Freeform 1391"/>
              <p:cNvSpPr>
                <a:spLocks/>
              </p:cNvSpPr>
              <p:nvPr/>
            </p:nvSpPr>
            <p:spPr bwMode="auto">
              <a:xfrm>
                <a:off x="7762212" y="3304035"/>
                <a:ext cx="878" cy="6085"/>
              </a:xfrm>
              <a:custGeom>
                <a:avLst/>
                <a:gdLst/>
                <a:ahLst/>
                <a:cxnLst>
                  <a:cxn ang="0">
                    <a:pos x="0" y="0"/>
                  </a:cxn>
                  <a:cxn ang="0">
                    <a:pos x="0" y="0"/>
                  </a:cxn>
                  <a:cxn ang="0">
                    <a:pos x="1" y="0"/>
                  </a:cxn>
                  <a:cxn ang="0">
                    <a:pos x="1" y="6"/>
                  </a:cxn>
                  <a:cxn ang="0">
                    <a:pos x="0" y="3"/>
                  </a:cxn>
                  <a:cxn ang="0">
                    <a:pos x="0" y="0"/>
                  </a:cxn>
                </a:cxnLst>
                <a:rect l="0" t="0" r="r" b="b"/>
                <a:pathLst>
                  <a:path w="1" h="6">
                    <a:moveTo>
                      <a:pt x="0" y="0"/>
                    </a:moveTo>
                    <a:lnTo>
                      <a:pt x="0" y="0"/>
                    </a:lnTo>
                    <a:lnTo>
                      <a:pt x="1" y="0"/>
                    </a:lnTo>
                    <a:lnTo>
                      <a:pt x="1" y="6"/>
                    </a:lnTo>
                    <a:lnTo>
                      <a:pt x="0" y="3"/>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09" name="Freeform 1392"/>
              <p:cNvSpPr>
                <a:spLocks/>
              </p:cNvSpPr>
              <p:nvPr/>
            </p:nvSpPr>
            <p:spPr bwMode="auto">
              <a:xfrm>
                <a:off x="7762212" y="3304035"/>
                <a:ext cx="878" cy="6085"/>
              </a:xfrm>
              <a:custGeom>
                <a:avLst/>
                <a:gdLst/>
                <a:ahLst/>
                <a:cxnLst>
                  <a:cxn ang="0">
                    <a:pos x="0" y="0"/>
                  </a:cxn>
                  <a:cxn ang="0">
                    <a:pos x="0" y="0"/>
                  </a:cxn>
                  <a:cxn ang="0">
                    <a:pos x="1" y="0"/>
                  </a:cxn>
                  <a:cxn ang="0">
                    <a:pos x="1" y="6"/>
                  </a:cxn>
                  <a:cxn ang="0">
                    <a:pos x="0" y="3"/>
                  </a:cxn>
                  <a:cxn ang="0">
                    <a:pos x="0" y="0"/>
                  </a:cxn>
                </a:cxnLst>
                <a:rect l="0" t="0" r="r" b="b"/>
                <a:pathLst>
                  <a:path w="1" h="6">
                    <a:moveTo>
                      <a:pt x="0" y="0"/>
                    </a:moveTo>
                    <a:lnTo>
                      <a:pt x="0" y="0"/>
                    </a:lnTo>
                    <a:lnTo>
                      <a:pt x="1" y="0"/>
                    </a:lnTo>
                    <a:lnTo>
                      <a:pt x="1" y="6"/>
                    </a:lnTo>
                    <a:lnTo>
                      <a:pt x="0" y="3"/>
                    </a:lnTo>
                    <a:lnTo>
                      <a:pt x="0"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10" name="Freeform 1393"/>
              <p:cNvSpPr>
                <a:spLocks/>
              </p:cNvSpPr>
              <p:nvPr/>
            </p:nvSpPr>
            <p:spPr bwMode="auto">
              <a:xfrm>
                <a:off x="7763090" y="3319247"/>
                <a:ext cx="15800" cy="12170"/>
              </a:xfrm>
              <a:custGeom>
                <a:avLst/>
                <a:gdLst/>
                <a:ahLst/>
                <a:cxnLst>
                  <a:cxn ang="0">
                    <a:pos x="0" y="1"/>
                  </a:cxn>
                  <a:cxn ang="0">
                    <a:pos x="2" y="1"/>
                  </a:cxn>
                  <a:cxn ang="0">
                    <a:pos x="2" y="3"/>
                  </a:cxn>
                  <a:cxn ang="0">
                    <a:pos x="10" y="0"/>
                  </a:cxn>
                  <a:cxn ang="0">
                    <a:pos x="16" y="3"/>
                  </a:cxn>
                  <a:cxn ang="0">
                    <a:pos x="16" y="4"/>
                  </a:cxn>
                  <a:cxn ang="0">
                    <a:pos x="16" y="4"/>
                  </a:cxn>
                  <a:cxn ang="0">
                    <a:pos x="18" y="7"/>
                  </a:cxn>
                  <a:cxn ang="0">
                    <a:pos x="16" y="10"/>
                  </a:cxn>
                  <a:cxn ang="0">
                    <a:pos x="12" y="11"/>
                  </a:cxn>
                  <a:cxn ang="0">
                    <a:pos x="5" y="10"/>
                  </a:cxn>
                  <a:cxn ang="0">
                    <a:pos x="2" y="4"/>
                  </a:cxn>
                  <a:cxn ang="0">
                    <a:pos x="0" y="3"/>
                  </a:cxn>
                  <a:cxn ang="0">
                    <a:pos x="0" y="1"/>
                  </a:cxn>
                  <a:cxn ang="0">
                    <a:pos x="0" y="1"/>
                  </a:cxn>
                </a:cxnLst>
                <a:rect l="0" t="0" r="r" b="b"/>
                <a:pathLst>
                  <a:path w="18" h="11">
                    <a:moveTo>
                      <a:pt x="0" y="1"/>
                    </a:moveTo>
                    <a:lnTo>
                      <a:pt x="2" y="1"/>
                    </a:lnTo>
                    <a:lnTo>
                      <a:pt x="2" y="3"/>
                    </a:lnTo>
                    <a:lnTo>
                      <a:pt x="10" y="0"/>
                    </a:lnTo>
                    <a:lnTo>
                      <a:pt x="16" y="3"/>
                    </a:lnTo>
                    <a:lnTo>
                      <a:pt x="16" y="4"/>
                    </a:lnTo>
                    <a:lnTo>
                      <a:pt x="16" y="4"/>
                    </a:lnTo>
                    <a:lnTo>
                      <a:pt x="18" y="7"/>
                    </a:lnTo>
                    <a:lnTo>
                      <a:pt x="16" y="10"/>
                    </a:lnTo>
                    <a:lnTo>
                      <a:pt x="12" y="11"/>
                    </a:lnTo>
                    <a:lnTo>
                      <a:pt x="5" y="10"/>
                    </a:lnTo>
                    <a:lnTo>
                      <a:pt x="2" y="4"/>
                    </a:lnTo>
                    <a:lnTo>
                      <a:pt x="0" y="3"/>
                    </a:lnTo>
                    <a:lnTo>
                      <a:pt x="0" y="1"/>
                    </a:lnTo>
                    <a:lnTo>
                      <a:pt x="0"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11" name="Freeform 1394"/>
              <p:cNvSpPr>
                <a:spLocks/>
              </p:cNvSpPr>
              <p:nvPr/>
            </p:nvSpPr>
            <p:spPr bwMode="auto">
              <a:xfrm>
                <a:off x="7763090" y="3319247"/>
                <a:ext cx="15800" cy="12170"/>
              </a:xfrm>
              <a:custGeom>
                <a:avLst/>
                <a:gdLst/>
                <a:ahLst/>
                <a:cxnLst>
                  <a:cxn ang="0">
                    <a:pos x="0" y="1"/>
                  </a:cxn>
                  <a:cxn ang="0">
                    <a:pos x="2" y="1"/>
                  </a:cxn>
                  <a:cxn ang="0">
                    <a:pos x="2" y="3"/>
                  </a:cxn>
                  <a:cxn ang="0">
                    <a:pos x="10" y="0"/>
                  </a:cxn>
                  <a:cxn ang="0">
                    <a:pos x="16" y="3"/>
                  </a:cxn>
                  <a:cxn ang="0">
                    <a:pos x="16" y="4"/>
                  </a:cxn>
                  <a:cxn ang="0">
                    <a:pos x="16" y="4"/>
                  </a:cxn>
                  <a:cxn ang="0">
                    <a:pos x="18" y="7"/>
                  </a:cxn>
                  <a:cxn ang="0">
                    <a:pos x="16" y="10"/>
                  </a:cxn>
                  <a:cxn ang="0">
                    <a:pos x="12" y="11"/>
                  </a:cxn>
                  <a:cxn ang="0">
                    <a:pos x="5" y="10"/>
                  </a:cxn>
                  <a:cxn ang="0">
                    <a:pos x="2" y="4"/>
                  </a:cxn>
                  <a:cxn ang="0">
                    <a:pos x="0" y="3"/>
                  </a:cxn>
                  <a:cxn ang="0">
                    <a:pos x="0" y="1"/>
                  </a:cxn>
                  <a:cxn ang="0">
                    <a:pos x="0" y="1"/>
                  </a:cxn>
                </a:cxnLst>
                <a:rect l="0" t="0" r="r" b="b"/>
                <a:pathLst>
                  <a:path w="18" h="11">
                    <a:moveTo>
                      <a:pt x="0" y="1"/>
                    </a:moveTo>
                    <a:lnTo>
                      <a:pt x="2" y="1"/>
                    </a:lnTo>
                    <a:lnTo>
                      <a:pt x="2" y="3"/>
                    </a:lnTo>
                    <a:lnTo>
                      <a:pt x="10" y="0"/>
                    </a:lnTo>
                    <a:lnTo>
                      <a:pt x="16" y="3"/>
                    </a:lnTo>
                    <a:lnTo>
                      <a:pt x="16" y="4"/>
                    </a:lnTo>
                    <a:lnTo>
                      <a:pt x="16" y="4"/>
                    </a:lnTo>
                    <a:lnTo>
                      <a:pt x="18" y="7"/>
                    </a:lnTo>
                    <a:lnTo>
                      <a:pt x="16" y="10"/>
                    </a:lnTo>
                    <a:lnTo>
                      <a:pt x="12" y="11"/>
                    </a:lnTo>
                    <a:lnTo>
                      <a:pt x="5" y="10"/>
                    </a:lnTo>
                    <a:lnTo>
                      <a:pt x="2" y="4"/>
                    </a:lnTo>
                    <a:lnTo>
                      <a:pt x="0" y="3"/>
                    </a:lnTo>
                    <a:lnTo>
                      <a:pt x="0" y="1"/>
                    </a:lnTo>
                    <a:lnTo>
                      <a:pt x="0" y="1"/>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12" name="Freeform 1395"/>
              <p:cNvSpPr>
                <a:spLocks/>
              </p:cNvSpPr>
              <p:nvPr/>
            </p:nvSpPr>
            <p:spPr bwMode="auto">
              <a:xfrm>
                <a:off x="7755189" y="3219862"/>
                <a:ext cx="1756" cy="6085"/>
              </a:xfrm>
              <a:custGeom>
                <a:avLst/>
                <a:gdLst/>
                <a:ahLst/>
                <a:cxnLst>
                  <a:cxn ang="0">
                    <a:pos x="0" y="0"/>
                  </a:cxn>
                  <a:cxn ang="0">
                    <a:pos x="0" y="0"/>
                  </a:cxn>
                  <a:cxn ang="0">
                    <a:pos x="1" y="1"/>
                  </a:cxn>
                  <a:cxn ang="0">
                    <a:pos x="2" y="6"/>
                  </a:cxn>
                  <a:cxn ang="0">
                    <a:pos x="0" y="0"/>
                  </a:cxn>
                </a:cxnLst>
                <a:rect l="0" t="0" r="r" b="b"/>
                <a:pathLst>
                  <a:path w="2" h="6">
                    <a:moveTo>
                      <a:pt x="0" y="0"/>
                    </a:moveTo>
                    <a:lnTo>
                      <a:pt x="0" y="0"/>
                    </a:lnTo>
                    <a:lnTo>
                      <a:pt x="1" y="1"/>
                    </a:lnTo>
                    <a:lnTo>
                      <a:pt x="2" y="6"/>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13" name="Freeform 1396"/>
              <p:cNvSpPr>
                <a:spLocks/>
              </p:cNvSpPr>
              <p:nvPr/>
            </p:nvSpPr>
            <p:spPr bwMode="auto">
              <a:xfrm>
                <a:off x="7755189" y="3219862"/>
                <a:ext cx="1756" cy="6085"/>
              </a:xfrm>
              <a:custGeom>
                <a:avLst/>
                <a:gdLst/>
                <a:ahLst/>
                <a:cxnLst>
                  <a:cxn ang="0">
                    <a:pos x="0" y="0"/>
                  </a:cxn>
                  <a:cxn ang="0">
                    <a:pos x="0" y="0"/>
                  </a:cxn>
                  <a:cxn ang="0">
                    <a:pos x="1" y="1"/>
                  </a:cxn>
                  <a:cxn ang="0">
                    <a:pos x="2" y="6"/>
                  </a:cxn>
                  <a:cxn ang="0">
                    <a:pos x="0" y="0"/>
                  </a:cxn>
                </a:cxnLst>
                <a:rect l="0" t="0" r="r" b="b"/>
                <a:pathLst>
                  <a:path w="2" h="6">
                    <a:moveTo>
                      <a:pt x="0" y="0"/>
                    </a:moveTo>
                    <a:lnTo>
                      <a:pt x="0" y="0"/>
                    </a:lnTo>
                    <a:lnTo>
                      <a:pt x="1" y="1"/>
                    </a:lnTo>
                    <a:lnTo>
                      <a:pt x="2" y="6"/>
                    </a:lnTo>
                    <a:lnTo>
                      <a:pt x="0"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14" name="Freeform 1397"/>
              <p:cNvSpPr>
                <a:spLocks/>
              </p:cNvSpPr>
              <p:nvPr/>
            </p:nvSpPr>
            <p:spPr bwMode="auto">
              <a:xfrm>
                <a:off x="7771868" y="3207693"/>
                <a:ext cx="2633" cy="7099"/>
              </a:xfrm>
              <a:custGeom>
                <a:avLst/>
                <a:gdLst/>
                <a:ahLst/>
                <a:cxnLst>
                  <a:cxn ang="0">
                    <a:pos x="0" y="0"/>
                  </a:cxn>
                  <a:cxn ang="0">
                    <a:pos x="2" y="0"/>
                  </a:cxn>
                  <a:cxn ang="0">
                    <a:pos x="3" y="4"/>
                  </a:cxn>
                  <a:cxn ang="0">
                    <a:pos x="2" y="7"/>
                  </a:cxn>
                  <a:cxn ang="0">
                    <a:pos x="2" y="7"/>
                  </a:cxn>
                  <a:cxn ang="0">
                    <a:pos x="0" y="0"/>
                  </a:cxn>
                </a:cxnLst>
                <a:rect l="0" t="0" r="r" b="b"/>
                <a:pathLst>
                  <a:path w="3" h="7">
                    <a:moveTo>
                      <a:pt x="0" y="0"/>
                    </a:moveTo>
                    <a:lnTo>
                      <a:pt x="2" y="0"/>
                    </a:lnTo>
                    <a:lnTo>
                      <a:pt x="3" y="4"/>
                    </a:lnTo>
                    <a:lnTo>
                      <a:pt x="2" y="7"/>
                    </a:lnTo>
                    <a:lnTo>
                      <a:pt x="2" y="7"/>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15" name="Freeform 1398"/>
              <p:cNvSpPr>
                <a:spLocks/>
              </p:cNvSpPr>
              <p:nvPr/>
            </p:nvSpPr>
            <p:spPr bwMode="auto">
              <a:xfrm>
                <a:off x="7771868" y="3207693"/>
                <a:ext cx="2633" cy="7099"/>
              </a:xfrm>
              <a:custGeom>
                <a:avLst/>
                <a:gdLst/>
                <a:ahLst/>
                <a:cxnLst>
                  <a:cxn ang="0">
                    <a:pos x="0" y="0"/>
                  </a:cxn>
                  <a:cxn ang="0">
                    <a:pos x="2" y="0"/>
                  </a:cxn>
                  <a:cxn ang="0">
                    <a:pos x="3" y="4"/>
                  </a:cxn>
                  <a:cxn ang="0">
                    <a:pos x="2" y="7"/>
                  </a:cxn>
                  <a:cxn ang="0">
                    <a:pos x="2" y="7"/>
                  </a:cxn>
                  <a:cxn ang="0">
                    <a:pos x="0" y="0"/>
                  </a:cxn>
                </a:cxnLst>
                <a:rect l="0" t="0" r="r" b="b"/>
                <a:pathLst>
                  <a:path w="3" h="7">
                    <a:moveTo>
                      <a:pt x="0" y="0"/>
                    </a:moveTo>
                    <a:lnTo>
                      <a:pt x="2" y="0"/>
                    </a:lnTo>
                    <a:lnTo>
                      <a:pt x="3" y="4"/>
                    </a:lnTo>
                    <a:lnTo>
                      <a:pt x="2" y="7"/>
                    </a:lnTo>
                    <a:lnTo>
                      <a:pt x="2" y="7"/>
                    </a:lnTo>
                    <a:lnTo>
                      <a:pt x="0"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16" name="Freeform 1399"/>
              <p:cNvSpPr>
                <a:spLocks/>
              </p:cNvSpPr>
              <p:nvPr/>
            </p:nvSpPr>
            <p:spPr bwMode="auto">
              <a:xfrm>
                <a:off x="7792057" y="3236089"/>
                <a:ext cx="5267" cy="9127"/>
              </a:xfrm>
              <a:custGeom>
                <a:avLst/>
                <a:gdLst/>
                <a:ahLst/>
                <a:cxnLst>
                  <a:cxn ang="0">
                    <a:pos x="5" y="0"/>
                  </a:cxn>
                  <a:cxn ang="0">
                    <a:pos x="6" y="1"/>
                  </a:cxn>
                  <a:cxn ang="0">
                    <a:pos x="6" y="3"/>
                  </a:cxn>
                  <a:cxn ang="0">
                    <a:pos x="6" y="4"/>
                  </a:cxn>
                  <a:cxn ang="0">
                    <a:pos x="5" y="8"/>
                  </a:cxn>
                  <a:cxn ang="0">
                    <a:pos x="2" y="8"/>
                  </a:cxn>
                  <a:cxn ang="0">
                    <a:pos x="0" y="4"/>
                  </a:cxn>
                  <a:cxn ang="0">
                    <a:pos x="0" y="3"/>
                  </a:cxn>
                  <a:cxn ang="0">
                    <a:pos x="2" y="1"/>
                  </a:cxn>
                  <a:cxn ang="0">
                    <a:pos x="5" y="0"/>
                  </a:cxn>
                </a:cxnLst>
                <a:rect l="0" t="0" r="r" b="b"/>
                <a:pathLst>
                  <a:path w="6" h="8">
                    <a:moveTo>
                      <a:pt x="5" y="0"/>
                    </a:moveTo>
                    <a:lnTo>
                      <a:pt x="6" y="1"/>
                    </a:lnTo>
                    <a:lnTo>
                      <a:pt x="6" y="3"/>
                    </a:lnTo>
                    <a:lnTo>
                      <a:pt x="6" y="4"/>
                    </a:lnTo>
                    <a:lnTo>
                      <a:pt x="5" y="8"/>
                    </a:lnTo>
                    <a:lnTo>
                      <a:pt x="2" y="8"/>
                    </a:lnTo>
                    <a:lnTo>
                      <a:pt x="0" y="4"/>
                    </a:lnTo>
                    <a:lnTo>
                      <a:pt x="0" y="3"/>
                    </a:lnTo>
                    <a:lnTo>
                      <a:pt x="2" y="1"/>
                    </a:lnTo>
                    <a:lnTo>
                      <a:pt x="5"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17" name="Freeform 1400"/>
              <p:cNvSpPr>
                <a:spLocks/>
              </p:cNvSpPr>
              <p:nvPr/>
            </p:nvSpPr>
            <p:spPr bwMode="auto">
              <a:xfrm>
                <a:off x="7792057" y="3236089"/>
                <a:ext cx="5267" cy="9127"/>
              </a:xfrm>
              <a:custGeom>
                <a:avLst/>
                <a:gdLst/>
                <a:ahLst/>
                <a:cxnLst>
                  <a:cxn ang="0">
                    <a:pos x="5" y="0"/>
                  </a:cxn>
                  <a:cxn ang="0">
                    <a:pos x="6" y="1"/>
                  </a:cxn>
                  <a:cxn ang="0">
                    <a:pos x="6" y="3"/>
                  </a:cxn>
                  <a:cxn ang="0">
                    <a:pos x="6" y="4"/>
                  </a:cxn>
                  <a:cxn ang="0">
                    <a:pos x="5" y="8"/>
                  </a:cxn>
                  <a:cxn ang="0">
                    <a:pos x="2" y="8"/>
                  </a:cxn>
                  <a:cxn ang="0">
                    <a:pos x="0" y="4"/>
                  </a:cxn>
                  <a:cxn ang="0">
                    <a:pos x="0" y="3"/>
                  </a:cxn>
                  <a:cxn ang="0">
                    <a:pos x="2" y="1"/>
                  </a:cxn>
                  <a:cxn ang="0">
                    <a:pos x="5" y="0"/>
                  </a:cxn>
                </a:cxnLst>
                <a:rect l="0" t="0" r="r" b="b"/>
                <a:pathLst>
                  <a:path w="6" h="8">
                    <a:moveTo>
                      <a:pt x="5" y="0"/>
                    </a:moveTo>
                    <a:lnTo>
                      <a:pt x="6" y="1"/>
                    </a:lnTo>
                    <a:lnTo>
                      <a:pt x="6" y="3"/>
                    </a:lnTo>
                    <a:lnTo>
                      <a:pt x="6" y="4"/>
                    </a:lnTo>
                    <a:lnTo>
                      <a:pt x="5" y="8"/>
                    </a:lnTo>
                    <a:lnTo>
                      <a:pt x="2" y="8"/>
                    </a:lnTo>
                    <a:lnTo>
                      <a:pt x="0" y="4"/>
                    </a:lnTo>
                    <a:lnTo>
                      <a:pt x="0" y="3"/>
                    </a:lnTo>
                    <a:lnTo>
                      <a:pt x="2" y="1"/>
                    </a:lnTo>
                    <a:lnTo>
                      <a:pt x="5"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18" name="Freeform 1401"/>
              <p:cNvSpPr>
                <a:spLocks/>
              </p:cNvSpPr>
              <p:nvPr/>
            </p:nvSpPr>
            <p:spPr bwMode="auto">
              <a:xfrm>
                <a:off x="7780646" y="3242174"/>
                <a:ext cx="19312" cy="45635"/>
              </a:xfrm>
              <a:custGeom>
                <a:avLst/>
                <a:gdLst/>
                <a:ahLst/>
                <a:cxnLst>
                  <a:cxn ang="0">
                    <a:pos x="9" y="0"/>
                  </a:cxn>
                  <a:cxn ang="0">
                    <a:pos x="9" y="0"/>
                  </a:cxn>
                  <a:cxn ang="0">
                    <a:pos x="10" y="0"/>
                  </a:cxn>
                  <a:cxn ang="0">
                    <a:pos x="10" y="1"/>
                  </a:cxn>
                  <a:cxn ang="0">
                    <a:pos x="9" y="2"/>
                  </a:cxn>
                  <a:cxn ang="0">
                    <a:pos x="7" y="4"/>
                  </a:cxn>
                  <a:cxn ang="0">
                    <a:pos x="7" y="5"/>
                  </a:cxn>
                  <a:cxn ang="0">
                    <a:pos x="9" y="5"/>
                  </a:cxn>
                  <a:cxn ang="0">
                    <a:pos x="10" y="11"/>
                  </a:cxn>
                  <a:cxn ang="0">
                    <a:pos x="10" y="13"/>
                  </a:cxn>
                  <a:cxn ang="0">
                    <a:pos x="5" y="18"/>
                  </a:cxn>
                  <a:cxn ang="0">
                    <a:pos x="5" y="18"/>
                  </a:cxn>
                  <a:cxn ang="0">
                    <a:pos x="6" y="18"/>
                  </a:cxn>
                  <a:cxn ang="0">
                    <a:pos x="10" y="16"/>
                  </a:cxn>
                  <a:cxn ang="0">
                    <a:pos x="13" y="11"/>
                  </a:cxn>
                  <a:cxn ang="0">
                    <a:pos x="15" y="10"/>
                  </a:cxn>
                  <a:cxn ang="0">
                    <a:pos x="18" y="10"/>
                  </a:cxn>
                  <a:cxn ang="0">
                    <a:pos x="19" y="10"/>
                  </a:cxn>
                  <a:cxn ang="0">
                    <a:pos x="20" y="13"/>
                  </a:cxn>
                  <a:cxn ang="0">
                    <a:pos x="20" y="16"/>
                  </a:cxn>
                  <a:cxn ang="0">
                    <a:pos x="15" y="20"/>
                  </a:cxn>
                  <a:cxn ang="0">
                    <a:pos x="15" y="20"/>
                  </a:cxn>
                  <a:cxn ang="0">
                    <a:pos x="19" y="23"/>
                  </a:cxn>
                  <a:cxn ang="0">
                    <a:pos x="19" y="26"/>
                  </a:cxn>
                  <a:cxn ang="0">
                    <a:pos x="20" y="26"/>
                  </a:cxn>
                  <a:cxn ang="0">
                    <a:pos x="22" y="27"/>
                  </a:cxn>
                  <a:cxn ang="0">
                    <a:pos x="19" y="27"/>
                  </a:cxn>
                  <a:cxn ang="0">
                    <a:pos x="10" y="24"/>
                  </a:cxn>
                  <a:cxn ang="0">
                    <a:pos x="9" y="26"/>
                  </a:cxn>
                  <a:cxn ang="0">
                    <a:pos x="9" y="34"/>
                  </a:cxn>
                  <a:cxn ang="0">
                    <a:pos x="15" y="43"/>
                  </a:cxn>
                  <a:cxn ang="0">
                    <a:pos x="13" y="43"/>
                  </a:cxn>
                  <a:cxn ang="0">
                    <a:pos x="6" y="34"/>
                  </a:cxn>
                  <a:cxn ang="0">
                    <a:pos x="5" y="27"/>
                  </a:cxn>
                  <a:cxn ang="0">
                    <a:pos x="3" y="23"/>
                  </a:cxn>
                  <a:cxn ang="0">
                    <a:pos x="3" y="20"/>
                  </a:cxn>
                  <a:cxn ang="0">
                    <a:pos x="3" y="18"/>
                  </a:cxn>
                  <a:cxn ang="0">
                    <a:pos x="2" y="17"/>
                  </a:cxn>
                  <a:cxn ang="0">
                    <a:pos x="0" y="14"/>
                  </a:cxn>
                  <a:cxn ang="0">
                    <a:pos x="2" y="13"/>
                  </a:cxn>
                  <a:cxn ang="0">
                    <a:pos x="2" y="13"/>
                  </a:cxn>
                  <a:cxn ang="0">
                    <a:pos x="5" y="4"/>
                  </a:cxn>
                  <a:cxn ang="0">
                    <a:pos x="9" y="0"/>
                  </a:cxn>
                </a:cxnLst>
                <a:rect l="0" t="0" r="r" b="b"/>
                <a:pathLst>
                  <a:path w="22" h="43">
                    <a:moveTo>
                      <a:pt x="9" y="0"/>
                    </a:moveTo>
                    <a:lnTo>
                      <a:pt x="9" y="0"/>
                    </a:lnTo>
                    <a:lnTo>
                      <a:pt x="10" y="0"/>
                    </a:lnTo>
                    <a:lnTo>
                      <a:pt x="10" y="1"/>
                    </a:lnTo>
                    <a:lnTo>
                      <a:pt x="9" y="2"/>
                    </a:lnTo>
                    <a:lnTo>
                      <a:pt x="7" y="4"/>
                    </a:lnTo>
                    <a:lnTo>
                      <a:pt x="7" y="5"/>
                    </a:lnTo>
                    <a:lnTo>
                      <a:pt x="9" y="5"/>
                    </a:lnTo>
                    <a:lnTo>
                      <a:pt x="10" y="11"/>
                    </a:lnTo>
                    <a:lnTo>
                      <a:pt x="10" y="13"/>
                    </a:lnTo>
                    <a:lnTo>
                      <a:pt x="5" y="18"/>
                    </a:lnTo>
                    <a:lnTo>
                      <a:pt x="5" y="18"/>
                    </a:lnTo>
                    <a:lnTo>
                      <a:pt x="6" y="18"/>
                    </a:lnTo>
                    <a:lnTo>
                      <a:pt x="10" y="16"/>
                    </a:lnTo>
                    <a:lnTo>
                      <a:pt x="13" y="11"/>
                    </a:lnTo>
                    <a:lnTo>
                      <a:pt x="15" y="10"/>
                    </a:lnTo>
                    <a:lnTo>
                      <a:pt x="18" y="10"/>
                    </a:lnTo>
                    <a:lnTo>
                      <a:pt x="19" y="10"/>
                    </a:lnTo>
                    <a:lnTo>
                      <a:pt x="20" y="13"/>
                    </a:lnTo>
                    <a:lnTo>
                      <a:pt x="20" y="16"/>
                    </a:lnTo>
                    <a:lnTo>
                      <a:pt x="15" y="20"/>
                    </a:lnTo>
                    <a:lnTo>
                      <a:pt x="15" y="20"/>
                    </a:lnTo>
                    <a:lnTo>
                      <a:pt x="19" y="23"/>
                    </a:lnTo>
                    <a:lnTo>
                      <a:pt x="19" y="26"/>
                    </a:lnTo>
                    <a:lnTo>
                      <a:pt x="20" y="26"/>
                    </a:lnTo>
                    <a:lnTo>
                      <a:pt x="22" y="27"/>
                    </a:lnTo>
                    <a:lnTo>
                      <a:pt x="19" y="27"/>
                    </a:lnTo>
                    <a:lnTo>
                      <a:pt x="10" y="24"/>
                    </a:lnTo>
                    <a:lnTo>
                      <a:pt x="9" y="26"/>
                    </a:lnTo>
                    <a:lnTo>
                      <a:pt x="9" y="34"/>
                    </a:lnTo>
                    <a:lnTo>
                      <a:pt x="15" y="43"/>
                    </a:lnTo>
                    <a:lnTo>
                      <a:pt x="13" y="43"/>
                    </a:lnTo>
                    <a:lnTo>
                      <a:pt x="6" y="34"/>
                    </a:lnTo>
                    <a:lnTo>
                      <a:pt x="5" y="27"/>
                    </a:lnTo>
                    <a:lnTo>
                      <a:pt x="3" y="23"/>
                    </a:lnTo>
                    <a:lnTo>
                      <a:pt x="3" y="20"/>
                    </a:lnTo>
                    <a:lnTo>
                      <a:pt x="3" y="18"/>
                    </a:lnTo>
                    <a:lnTo>
                      <a:pt x="2" y="17"/>
                    </a:lnTo>
                    <a:lnTo>
                      <a:pt x="0" y="14"/>
                    </a:lnTo>
                    <a:lnTo>
                      <a:pt x="2" y="13"/>
                    </a:lnTo>
                    <a:lnTo>
                      <a:pt x="2" y="13"/>
                    </a:lnTo>
                    <a:lnTo>
                      <a:pt x="5" y="4"/>
                    </a:lnTo>
                    <a:lnTo>
                      <a:pt x="9"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19" name="Freeform 1403"/>
              <p:cNvSpPr>
                <a:spLocks/>
              </p:cNvSpPr>
              <p:nvPr/>
            </p:nvSpPr>
            <p:spPr bwMode="auto">
              <a:xfrm>
                <a:off x="7780646" y="3279696"/>
                <a:ext cx="6144" cy="8113"/>
              </a:xfrm>
              <a:custGeom>
                <a:avLst/>
                <a:gdLst/>
                <a:ahLst/>
                <a:cxnLst>
                  <a:cxn ang="0">
                    <a:pos x="0" y="0"/>
                  </a:cxn>
                  <a:cxn ang="0">
                    <a:pos x="3" y="0"/>
                  </a:cxn>
                  <a:cxn ang="0">
                    <a:pos x="3" y="1"/>
                  </a:cxn>
                  <a:cxn ang="0">
                    <a:pos x="5" y="4"/>
                  </a:cxn>
                  <a:cxn ang="0">
                    <a:pos x="5" y="4"/>
                  </a:cxn>
                  <a:cxn ang="0">
                    <a:pos x="7" y="6"/>
                  </a:cxn>
                  <a:cxn ang="0">
                    <a:pos x="6" y="7"/>
                  </a:cxn>
                  <a:cxn ang="0">
                    <a:pos x="5" y="6"/>
                  </a:cxn>
                  <a:cxn ang="0">
                    <a:pos x="3" y="6"/>
                  </a:cxn>
                  <a:cxn ang="0">
                    <a:pos x="0" y="0"/>
                  </a:cxn>
                </a:cxnLst>
                <a:rect l="0" t="0" r="r" b="b"/>
                <a:pathLst>
                  <a:path w="7" h="7">
                    <a:moveTo>
                      <a:pt x="0" y="0"/>
                    </a:moveTo>
                    <a:lnTo>
                      <a:pt x="3" y="0"/>
                    </a:lnTo>
                    <a:lnTo>
                      <a:pt x="3" y="1"/>
                    </a:lnTo>
                    <a:lnTo>
                      <a:pt x="5" y="4"/>
                    </a:lnTo>
                    <a:lnTo>
                      <a:pt x="5" y="4"/>
                    </a:lnTo>
                    <a:lnTo>
                      <a:pt x="7" y="6"/>
                    </a:lnTo>
                    <a:lnTo>
                      <a:pt x="6" y="7"/>
                    </a:lnTo>
                    <a:lnTo>
                      <a:pt x="5" y="6"/>
                    </a:lnTo>
                    <a:lnTo>
                      <a:pt x="3" y="6"/>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20" name="Freeform 1404"/>
              <p:cNvSpPr>
                <a:spLocks/>
              </p:cNvSpPr>
              <p:nvPr/>
            </p:nvSpPr>
            <p:spPr bwMode="auto">
              <a:xfrm>
                <a:off x="7780646" y="3279696"/>
                <a:ext cx="6144" cy="8113"/>
              </a:xfrm>
              <a:custGeom>
                <a:avLst/>
                <a:gdLst/>
                <a:ahLst/>
                <a:cxnLst>
                  <a:cxn ang="0">
                    <a:pos x="0" y="0"/>
                  </a:cxn>
                  <a:cxn ang="0">
                    <a:pos x="3" y="0"/>
                  </a:cxn>
                  <a:cxn ang="0">
                    <a:pos x="3" y="1"/>
                  </a:cxn>
                  <a:cxn ang="0">
                    <a:pos x="5" y="4"/>
                  </a:cxn>
                  <a:cxn ang="0">
                    <a:pos x="5" y="4"/>
                  </a:cxn>
                  <a:cxn ang="0">
                    <a:pos x="7" y="6"/>
                  </a:cxn>
                  <a:cxn ang="0">
                    <a:pos x="6" y="7"/>
                  </a:cxn>
                  <a:cxn ang="0">
                    <a:pos x="5" y="6"/>
                  </a:cxn>
                  <a:cxn ang="0">
                    <a:pos x="3" y="6"/>
                  </a:cxn>
                  <a:cxn ang="0">
                    <a:pos x="0" y="0"/>
                  </a:cxn>
                </a:cxnLst>
                <a:rect l="0" t="0" r="r" b="b"/>
                <a:pathLst>
                  <a:path w="7" h="7">
                    <a:moveTo>
                      <a:pt x="0" y="0"/>
                    </a:moveTo>
                    <a:lnTo>
                      <a:pt x="3" y="0"/>
                    </a:lnTo>
                    <a:lnTo>
                      <a:pt x="3" y="1"/>
                    </a:lnTo>
                    <a:lnTo>
                      <a:pt x="5" y="4"/>
                    </a:lnTo>
                    <a:lnTo>
                      <a:pt x="5" y="4"/>
                    </a:lnTo>
                    <a:lnTo>
                      <a:pt x="7" y="6"/>
                    </a:lnTo>
                    <a:lnTo>
                      <a:pt x="6" y="7"/>
                    </a:lnTo>
                    <a:lnTo>
                      <a:pt x="5" y="6"/>
                    </a:lnTo>
                    <a:lnTo>
                      <a:pt x="3" y="6"/>
                    </a:lnTo>
                    <a:lnTo>
                      <a:pt x="0"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21" name="Freeform 1405"/>
              <p:cNvSpPr>
                <a:spLocks/>
              </p:cNvSpPr>
              <p:nvPr/>
            </p:nvSpPr>
            <p:spPr bwMode="auto">
              <a:xfrm>
                <a:off x="7780646" y="3294908"/>
                <a:ext cx="10534" cy="6085"/>
              </a:xfrm>
              <a:custGeom>
                <a:avLst/>
                <a:gdLst/>
                <a:ahLst/>
                <a:cxnLst>
                  <a:cxn ang="0">
                    <a:pos x="2" y="2"/>
                  </a:cxn>
                  <a:cxn ang="0">
                    <a:pos x="2" y="2"/>
                  </a:cxn>
                  <a:cxn ang="0">
                    <a:pos x="5" y="0"/>
                  </a:cxn>
                  <a:cxn ang="0">
                    <a:pos x="12" y="3"/>
                  </a:cxn>
                  <a:cxn ang="0">
                    <a:pos x="12" y="3"/>
                  </a:cxn>
                  <a:cxn ang="0">
                    <a:pos x="12" y="5"/>
                  </a:cxn>
                  <a:cxn ang="0">
                    <a:pos x="3" y="6"/>
                  </a:cxn>
                  <a:cxn ang="0">
                    <a:pos x="2" y="5"/>
                  </a:cxn>
                  <a:cxn ang="0">
                    <a:pos x="0" y="2"/>
                  </a:cxn>
                  <a:cxn ang="0">
                    <a:pos x="2" y="2"/>
                  </a:cxn>
                </a:cxnLst>
                <a:rect l="0" t="0" r="r" b="b"/>
                <a:pathLst>
                  <a:path w="12" h="6">
                    <a:moveTo>
                      <a:pt x="2" y="2"/>
                    </a:moveTo>
                    <a:lnTo>
                      <a:pt x="2" y="2"/>
                    </a:lnTo>
                    <a:lnTo>
                      <a:pt x="5" y="0"/>
                    </a:lnTo>
                    <a:lnTo>
                      <a:pt x="12" y="3"/>
                    </a:lnTo>
                    <a:lnTo>
                      <a:pt x="12" y="3"/>
                    </a:lnTo>
                    <a:lnTo>
                      <a:pt x="12" y="5"/>
                    </a:lnTo>
                    <a:lnTo>
                      <a:pt x="3" y="6"/>
                    </a:lnTo>
                    <a:lnTo>
                      <a:pt x="2" y="5"/>
                    </a:lnTo>
                    <a:lnTo>
                      <a:pt x="0" y="2"/>
                    </a:lnTo>
                    <a:lnTo>
                      <a:pt x="2" y="2"/>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22" name="Freeform 1406"/>
              <p:cNvSpPr>
                <a:spLocks/>
              </p:cNvSpPr>
              <p:nvPr/>
            </p:nvSpPr>
            <p:spPr bwMode="auto">
              <a:xfrm>
                <a:off x="7780646" y="3294908"/>
                <a:ext cx="10534" cy="6085"/>
              </a:xfrm>
              <a:custGeom>
                <a:avLst/>
                <a:gdLst/>
                <a:ahLst/>
                <a:cxnLst>
                  <a:cxn ang="0">
                    <a:pos x="2" y="2"/>
                  </a:cxn>
                  <a:cxn ang="0">
                    <a:pos x="2" y="2"/>
                  </a:cxn>
                  <a:cxn ang="0">
                    <a:pos x="5" y="0"/>
                  </a:cxn>
                  <a:cxn ang="0">
                    <a:pos x="12" y="3"/>
                  </a:cxn>
                  <a:cxn ang="0">
                    <a:pos x="12" y="3"/>
                  </a:cxn>
                  <a:cxn ang="0">
                    <a:pos x="12" y="5"/>
                  </a:cxn>
                  <a:cxn ang="0">
                    <a:pos x="3" y="6"/>
                  </a:cxn>
                  <a:cxn ang="0">
                    <a:pos x="2" y="5"/>
                  </a:cxn>
                  <a:cxn ang="0">
                    <a:pos x="0" y="2"/>
                  </a:cxn>
                  <a:cxn ang="0">
                    <a:pos x="2" y="2"/>
                  </a:cxn>
                </a:cxnLst>
                <a:rect l="0" t="0" r="r" b="b"/>
                <a:pathLst>
                  <a:path w="12" h="6">
                    <a:moveTo>
                      <a:pt x="2" y="2"/>
                    </a:moveTo>
                    <a:lnTo>
                      <a:pt x="2" y="2"/>
                    </a:lnTo>
                    <a:lnTo>
                      <a:pt x="5" y="0"/>
                    </a:lnTo>
                    <a:lnTo>
                      <a:pt x="12" y="3"/>
                    </a:lnTo>
                    <a:lnTo>
                      <a:pt x="12" y="3"/>
                    </a:lnTo>
                    <a:lnTo>
                      <a:pt x="12" y="5"/>
                    </a:lnTo>
                    <a:lnTo>
                      <a:pt x="3" y="6"/>
                    </a:lnTo>
                    <a:lnTo>
                      <a:pt x="2" y="5"/>
                    </a:lnTo>
                    <a:lnTo>
                      <a:pt x="0" y="2"/>
                    </a:lnTo>
                    <a:lnTo>
                      <a:pt x="2" y="2"/>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23" name="Freeform 1407"/>
              <p:cNvSpPr>
                <a:spLocks/>
              </p:cNvSpPr>
              <p:nvPr/>
            </p:nvSpPr>
            <p:spPr bwMode="auto">
              <a:xfrm>
                <a:off x="7789424" y="3327361"/>
                <a:ext cx="2633" cy="4056"/>
              </a:xfrm>
              <a:custGeom>
                <a:avLst/>
                <a:gdLst/>
                <a:ahLst/>
                <a:cxnLst>
                  <a:cxn ang="0">
                    <a:pos x="0" y="4"/>
                  </a:cxn>
                  <a:cxn ang="0">
                    <a:pos x="0" y="4"/>
                  </a:cxn>
                  <a:cxn ang="0">
                    <a:pos x="0" y="3"/>
                  </a:cxn>
                  <a:cxn ang="0">
                    <a:pos x="0" y="1"/>
                  </a:cxn>
                  <a:cxn ang="0">
                    <a:pos x="2" y="1"/>
                  </a:cxn>
                  <a:cxn ang="0">
                    <a:pos x="3" y="0"/>
                  </a:cxn>
                  <a:cxn ang="0">
                    <a:pos x="3" y="0"/>
                  </a:cxn>
                  <a:cxn ang="0">
                    <a:pos x="3" y="1"/>
                  </a:cxn>
                  <a:cxn ang="0">
                    <a:pos x="3" y="3"/>
                  </a:cxn>
                  <a:cxn ang="0">
                    <a:pos x="2" y="3"/>
                  </a:cxn>
                  <a:cxn ang="0">
                    <a:pos x="0" y="4"/>
                  </a:cxn>
                </a:cxnLst>
                <a:rect l="0" t="0" r="r" b="b"/>
                <a:pathLst>
                  <a:path w="3" h="4">
                    <a:moveTo>
                      <a:pt x="0" y="4"/>
                    </a:moveTo>
                    <a:lnTo>
                      <a:pt x="0" y="4"/>
                    </a:lnTo>
                    <a:lnTo>
                      <a:pt x="0" y="3"/>
                    </a:lnTo>
                    <a:lnTo>
                      <a:pt x="0" y="1"/>
                    </a:lnTo>
                    <a:lnTo>
                      <a:pt x="2" y="1"/>
                    </a:lnTo>
                    <a:lnTo>
                      <a:pt x="3" y="0"/>
                    </a:lnTo>
                    <a:lnTo>
                      <a:pt x="3" y="0"/>
                    </a:lnTo>
                    <a:lnTo>
                      <a:pt x="3" y="1"/>
                    </a:lnTo>
                    <a:lnTo>
                      <a:pt x="3" y="3"/>
                    </a:lnTo>
                    <a:lnTo>
                      <a:pt x="2" y="3"/>
                    </a:lnTo>
                    <a:lnTo>
                      <a:pt x="0" y="4"/>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24" name="Freeform 1408"/>
              <p:cNvSpPr>
                <a:spLocks/>
              </p:cNvSpPr>
              <p:nvPr/>
            </p:nvSpPr>
            <p:spPr bwMode="auto">
              <a:xfrm>
                <a:off x="7789424" y="3327361"/>
                <a:ext cx="2633" cy="4056"/>
              </a:xfrm>
              <a:custGeom>
                <a:avLst/>
                <a:gdLst/>
                <a:ahLst/>
                <a:cxnLst>
                  <a:cxn ang="0">
                    <a:pos x="0" y="4"/>
                  </a:cxn>
                  <a:cxn ang="0">
                    <a:pos x="0" y="4"/>
                  </a:cxn>
                  <a:cxn ang="0">
                    <a:pos x="0" y="3"/>
                  </a:cxn>
                  <a:cxn ang="0">
                    <a:pos x="0" y="1"/>
                  </a:cxn>
                  <a:cxn ang="0">
                    <a:pos x="2" y="1"/>
                  </a:cxn>
                  <a:cxn ang="0">
                    <a:pos x="3" y="0"/>
                  </a:cxn>
                  <a:cxn ang="0">
                    <a:pos x="3" y="0"/>
                  </a:cxn>
                  <a:cxn ang="0">
                    <a:pos x="3" y="1"/>
                  </a:cxn>
                  <a:cxn ang="0">
                    <a:pos x="3" y="3"/>
                  </a:cxn>
                  <a:cxn ang="0">
                    <a:pos x="2" y="3"/>
                  </a:cxn>
                  <a:cxn ang="0">
                    <a:pos x="0" y="4"/>
                  </a:cxn>
                </a:cxnLst>
                <a:rect l="0" t="0" r="r" b="b"/>
                <a:pathLst>
                  <a:path w="3" h="4">
                    <a:moveTo>
                      <a:pt x="0" y="4"/>
                    </a:moveTo>
                    <a:lnTo>
                      <a:pt x="0" y="4"/>
                    </a:lnTo>
                    <a:lnTo>
                      <a:pt x="0" y="3"/>
                    </a:lnTo>
                    <a:lnTo>
                      <a:pt x="0" y="1"/>
                    </a:lnTo>
                    <a:lnTo>
                      <a:pt x="2" y="1"/>
                    </a:lnTo>
                    <a:lnTo>
                      <a:pt x="3" y="0"/>
                    </a:lnTo>
                    <a:lnTo>
                      <a:pt x="3" y="0"/>
                    </a:lnTo>
                    <a:lnTo>
                      <a:pt x="3" y="1"/>
                    </a:lnTo>
                    <a:lnTo>
                      <a:pt x="3" y="3"/>
                    </a:lnTo>
                    <a:lnTo>
                      <a:pt x="2" y="3"/>
                    </a:lnTo>
                    <a:lnTo>
                      <a:pt x="0" y="4"/>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25" name="Freeform 1409"/>
              <p:cNvSpPr>
                <a:spLocks/>
              </p:cNvSpPr>
              <p:nvPr/>
            </p:nvSpPr>
            <p:spPr bwMode="auto">
              <a:xfrm>
                <a:off x="7885982" y="3284766"/>
                <a:ext cx="11411" cy="8113"/>
              </a:xfrm>
              <a:custGeom>
                <a:avLst/>
                <a:gdLst/>
                <a:ahLst/>
                <a:cxnLst>
                  <a:cxn ang="0">
                    <a:pos x="1" y="2"/>
                  </a:cxn>
                  <a:cxn ang="0">
                    <a:pos x="0" y="0"/>
                  </a:cxn>
                  <a:cxn ang="0">
                    <a:pos x="4" y="0"/>
                  </a:cxn>
                  <a:cxn ang="0">
                    <a:pos x="4" y="2"/>
                  </a:cxn>
                  <a:cxn ang="0">
                    <a:pos x="7" y="2"/>
                  </a:cxn>
                  <a:cxn ang="0">
                    <a:pos x="9" y="3"/>
                  </a:cxn>
                  <a:cxn ang="0">
                    <a:pos x="13" y="8"/>
                  </a:cxn>
                  <a:cxn ang="0">
                    <a:pos x="11" y="8"/>
                  </a:cxn>
                  <a:cxn ang="0">
                    <a:pos x="9" y="8"/>
                  </a:cxn>
                  <a:cxn ang="0">
                    <a:pos x="7" y="8"/>
                  </a:cxn>
                  <a:cxn ang="0">
                    <a:pos x="7" y="6"/>
                  </a:cxn>
                  <a:cxn ang="0">
                    <a:pos x="1" y="2"/>
                  </a:cxn>
                </a:cxnLst>
                <a:rect l="0" t="0" r="r" b="b"/>
                <a:pathLst>
                  <a:path w="13" h="8">
                    <a:moveTo>
                      <a:pt x="1" y="2"/>
                    </a:moveTo>
                    <a:lnTo>
                      <a:pt x="0" y="0"/>
                    </a:lnTo>
                    <a:lnTo>
                      <a:pt x="4" y="0"/>
                    </a:lnTo>
                    <a:lnTo>
                      <a:pt x="4" y="2"/>
                    </a:lnTo>
                    <a:lnTo>
                      <a:pt x="7" y="2"/>
                    </a:lnTo>
                    <a:lnTo>
                      <a:pt x="9" y="3"/>
                    </a:lnTo>
                    <a:lnTo>
                      <a:pt x="13" y="8"/>
                    </a:lnTo>
                    <a:lnTo>
                      <a:pt x="11" y="8"/>
                    </a:lnTo>
                    <a:lnTo>
                      <a:pt x="9" y="8"/>
                    </a:lnTo>
                    <a:lnTo>
                      <a:pt x="7" y="8"/>
                    </a:lnTo>
                    <a:lnTo>
                      <a:pt x="7" y="6"/>
                    </a:lnTo>
                    <a:lnTo>
                      <a:pt x="1" y="2"/>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26" name="Freeform 1410"/>
              <p:cNvSpPr>
                <a:spLocks/>
              </p:cNvSpPr>
              <p:nvPr/>
            </p:nvSpPr>
            <p:spPr bwMode="auto">
              <a:xfrm>
                <a:off x="7885982" y="3284766"/>
                <a:ext cx="11411" cy="8113"/>
              </a:xfrm>
              <a:custGeom>
                <a:avLst/>
                <a:gdLst/>
                <a:ahLst/>
                <a:cxnLst>
                  <a:cxn ang="0">
                    <a:pos x="1" y="2"/>
                  </a:cxn>
                  <a:cxn ang="0">
                    <a:pos x="0" y="0"/>
                  </a:cxn>
                  <a:cxn ang="0">
                    <a:pos x="4" y="0"/>
                  </a:cxn>
                  <a:cxn ang="0">
                    <a:pos x="4" y="2"/>
                  </a:cxn>
                  <a:cxn ang="0">
                    <a:pos x="7" y="2"/>
                  </a:cxn>
                  <a:cxn ang="0">
                    <a:pos x="9" y="3"/>
                  </a:cxn>
                  <a:cxn ang="0">
                    <a:pos x="13" y="8"/>
                  </a:cxn>
                  <a:cxn ang="0">
                    <a:pos x="11" y="8"/>
                  </a:cxn>
                  <a:cxn ang="0">
                    <a:pos x="9" y="8"/>
                  </a:cxn>
                  <a:cxn ang="0">
                    <a:pos x="7" y="8"/>
                  </a:cxn>
                  <a:cxn ang="0">
                    <a:pos x="7" y="6"/>
                  </a:cxn>
                  <a:cxn ang="0">
                    <a:pos x="1" y="2"/>
                  </a:cxn>
                </a:cxnLst>
                <a:rect l="0" t="0" r="r" b="b"/>
                <a:pathLst>
                  <a:path w="13" h="8">
                    <a:moveTo>
                      <a:pt x="1" y="2"/>
                    </a:moveTo>
                    <a:lnTo>
                      <a:pt x="0" y="0"/>
                    </a:lnTo>
                    <a:lnTo>
                      <a:pt x="4" y="0"/>
                    </a:lnTo>
                    <a:lnTo>
                      <a:pt x="4" y="2"/>
                    </a:lnTo>
                    <a:lnTo>
                      <a:pt x="7" y="2"/>
                    </a:lnTo>
                    <a:lnTo>
                      <a:pt x="9" y="3"/>
                    </a:lnTo>
                    <a:lnTo>
                      <a:pt x="13" y="8"/>
                    </a:lnTo>
                    <a:lnTo>
                      <a:pt x="11" y="8"/>
                    </a:lnTo>
                    <a:lnTo>
                      <a:pt x="9" y="8"/>
                    </a:lnTo>
                    <a:lnTo>
                      <a:pt x="7" y="8"/>
                    </a:lnTo>
                    <a:lnTo>
                      <a:pt x="7" y="6"/>
                    </a:lnTo>
                    <a:lnTo>
                      <a:pt x="1" y="2"/>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27" name="Freeform 1411"/>
              <p:cNvSpPr>
                <a:spLocks/>
              </p:cNvSpPr>
              <p:nvPr/>
            </p:nvSpPr>
            <p:spPr bwMode="auto">
              <a:xfrm>
                <a:off x="7888615" y="3297950"/>
                <a:ext cx="15800" cy="5071"/>
              </a:xfrm>
              <a:custGeom>
                <a:avLst/>
                <a:gdLst/>
                <a:ahLst/>
                <a:cxnLst>
                  <a:cxn ang="0">
                    <a:pos x="0" y="2"/>
                  </a:cxn>
                  <a:cxn ang="0">
                    <a:pos x="0" y="0"/>
                  </a:cxn>
                  <a:cxn ang="0">
                    <a:pos x="16" y="2"/>
                  </a:cxn>
                  <a:cxn ang="0">
                    <a:pos x="17" y="3"/>
                  </a:cxn>
                  <a:cxn ang="0">
                    <a:pos x="17" y="5"/>
                  </a:cxn>
                  <a:cxn ang="0">
                    <a:pos x="8" y="5"/>
                  </a:cxn>
                  <a:cxn ang="0">
                    <a:pos x="0" y="2"/>
                  </a:cxn>
                  <a:cxn ang="0">
                    <a:pos x="0" y="2"/>
                  </a:cxn>
                </a:cxnLst>
                <a:rect l="0" t="0" r="r" b="b"/>
                <a:pathLst>
                  <a:path w="17" h="5">
                    <a:moveTo>
                      <a:pt x="0" y="2"/>
                    </a:moveTo>
                    <a:lnTo>
                      <a:pt x="0" y="0"/>
                    </a:lnTo>
                    <a:lnTo>
                      <a:pt x="16" y="2"/>
                    </a:lnTo>
                    <a:lnTo>
                      <a:pt x="17" y="3"/>
                    </a:lnTo>
                    <a:lnTo>
                      <a:pt x="17" y="5"/>
                    </a:lnTo>
                    <a:lnTo>
                      <a:pt x="8" y="5"/>
                    </a:lnTo>
                    <a:lnTo>
                      <a:pt x="0" y="2"/>
                    </a:lnTo>
                    <a:lnTo>
                      <a:pt x="0" y="2"/>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28" name="Freeform 1413"/>
              <p:cNvSpPr>
                <a:spLocks/>
              </p:cNvSpPr>
              <p:nvPr/>
            </p:nvSpPr>
            <p:spPr bwMode="auto">
              <a:xfrm>
                <a:off x="7888615" y="3297950"/>
                <a:ext cx="15800" cy="5071"/>
              </a:xfrm>
              <a:custGeom>
                <a:avLst/>
                <a:gdLst/>
                <a:ahLst/>
                <a:cxnLst>
                  <a:cxn ang="0">
                    <a:pos x="0" y="2"/>
                  </a:cxn>
                  <a:cxn ang="0">
                    <a:pos x="0" y="0"/>
                  </a:cxn>
                  <a:cxn ang="0">
                    <a:pos x="16" y="2"/>
                  </a:cxn>
                  <a:cxn ang="0">
                    <a:pos x="17" y="3"/>
                  </a:cxn>
                  <a:cxn ang="0">
                    <a:pos x="17" y="5"/>
                  </a:cxn>
                  <a:cxn ang="0">
                    <a:pos x="8" y="5"/>
                  </a:cxn>
                  <a:cxn ang="0">
                    <a:pos x="0" y="2"/>
                  </a:cxn>
                  <a:cxn ang="0">
                    <a:pos x="0" y="2"/>
                  </a:cxn>
                </a:cxnLst>
                <a:rect l="0" t="0" r="r" b="b"/>
                <a:pathLst>
                  <a:path w="17" h="5">
                    <a:moveTo>
                      <a:pt x="0" y="2"/>
                    </a:moveTo>
                    <a:lnTo>
                      <a:pt x="0" y="0"/>
                    </a:lnTo>
                    <a:lnTo>
                      <a:pt x="16" y="2"/>
                    </a:lnTo>
                    <a:lnTo>
                      <a:pt x="17" y="3"/>
                    </a:lnTo>
                    <a:lnTo>
                      <a:pt x="17" y="5"/>
                    </a:lnTo>
                    <a:lnTo>
                      <a:pt x="8" y="5"/>
                    </a:lnTo>
                    <a:lnTo>
                      <a:pt x="0" y="2"/>
                    </a:lnTo>
                    <a:lnTo>
                      <a:pt x="0" y="2"/>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29" name="Freeform 1414"/>
              <p:cNvSpPr>
                <a:spLocks/>
              </p:cNvSpPr>
              <p:nvPr/>
            </p:nvSpPr>
            <p:spPr bwMode="auto">
              <a:xfrm>
                <a:off x="7854381" y="3353728"/>
                <a:ext cx="1756" cy="4056"/>
              </a:xfrm>
              <a:custGeom>
                <a:avLst/>
                <a:gdLst/>
                <a:ahLst/>
                <a:cxnLst>
                  <a:cxn ang="0">
                    <a:pos x="0" y="0"/>
                  </a:cxn>
                  <a:cxn ang="0">
                    <a:pos x="2" y="0"/>
                  </a:cxn>
                  <a:cxn ang="0">
                    <a:pos x="2" y="0"/>
                  </a:cxn>
                  <a:cxn ang="0">
                    <a:pos x="0" y="4"/>
                  </a:cxn>
                  <a:cxn ang="0">
                    <a:pos x="0" y="4"/>
                  </a:cxn>
                  <a:cxn ang="0">
                    <a:pos x="0" y="0"/>
                  </a:cxn>
                </a:cxnLst>
                <a:rect l="0" t="0" r="r" b="b"/>
                <a:pathLst>
                  <a:path w="2" h="4">
                    <a:moveTo>
                      <a:pt x="0" y="0"/>
                    </a:moveTo>
                    <a:lnTo>
                      <a:pt x="2" y="0"/>
                    </a:lnTo>
                    <a:lnTo>
                      <a:pt x="2" y="0"/>
                    </a:lnTo>
                    <a:lnTo>
                      <a:pt x="0" y="4"/>
                    </a:lnTo>
                    <a:lnTo>
                      <a:pt x="0" y="4"/>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30" name="Freeform 1415"/>
              <p:cNvSpPr>
                <a:spLocks/>
              </p:cNvSpPr>
              <p:nvPr/>
            </p:nvSpPr>
            <p:spPr bwMode="auto">
              <a:xfrm>
                <a:off x="7854381" y="3353728"/>
                <a:ext cx="1756" cy="4056"/>
              </a:xfrm>
              <a:custGeom>
                <a:avLst/>
                <a:gdLst/>
                <a:ahLst/>
                <a:cxnLst>
                  <a:cxn ang="0">
                    <a:pos x="0" y="0"/>
                  </a:cxn>
                  <a:cxn ang="0">
                    <a:pos x="2" y="0"/>
                  </a:cxn>
                  <a:cxn ang="0">
                    <a:pos x="2" y="0"/>
                  </a:cxn>
                  <a:cxn ang="0">
                    <a:pos x="0" y="4"/>
                  </a:cxn>
                  <a:cxn ang="0">
                    <a:pos x="0" y="4"/>
                  </a:cxn>
                  <a:cxn ang="0">
                    <a:pos x="0" y="0"/>
                  </a:cxn>
                </a:cxnLst>
                <a:rect l="0" t="0" r="r" b="b"/>
                <a:pathLst>
                  <a:path w="2" h="4">
                    <a:moveTo>
                      <a:pt x="0" y="0"/>
                    </a:moveTo>
                    <a:lnTo>
                      <a:pt x="2" y="0"/>
                    </a:lnTo>
                    <a:lnTo>
                      <a:pt x="2" y="0"/>
                    </a:lnTo>
                    <a:lnTo>
                      <a:pt x="0" y="4"/>
                    </a:lnTo>
                    <a:lnTo>
                      <a:pt x="0" y="4"/>
                    </a:lnTo>
                    <a:lnTo>
                      <a:pt x="0"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31" name="Freeform 1416"/>
              <p:cNvSpPr>
                <a:spLocks/>
              </p:cNvSpPr>
              <p:nvPr/>
            </p:nvSpPr>
            <p:spPr bwMode="auto">
              <a:xfrm>
                <a:off x="7871059" y="3355756"/>
                <a:ext cx="6145" cy="14197"/>
              </a:xfrm>
              <a:custGeom>
                <a:avLst/>
                <a:gdLst/>
                <a:ahLst/>
                <a:cxnLst>
                  <a:cxn ang="0">
                    <a:pos x="0" y="4"/>
                  </a:cxn>
                  <a:cxn ang="0">
                    <a:pos x="3" y="0"/>
                  </a:cxn>
                  <a:cxn ang="0">
                    <a:pos x="6" y="0"/>
                  </a:cxn>
                  <a:cxn ang="0">
                    <a:pos x="7" y="2"/>
                  </a:cxn>
                  <a:cxn ang="0">
                    <a:pos x="7" y="11"/>
                  </a:cxn>
                  <a:cxn ang="0">
                    <a:pos x="6" y="13"/>
                  </a:cxn>
                  <a:cxn ang="0">
                    <a:pos x="4" y="13"/>
                  </a:cxn>
                  <a:cxn ang="0">
                    <a:pos x="3" y="11"/>
                  </a:cxn>
                  <a:cxn ang="0">
                    <a:pos x="1" y="10"/>
                  </a:cxn>
                  <a:cxn ang="0">
                    <a:pos x="1" y="8"/>
                  </a:cxn>
                  <a:cxn ang="0">
                    <a:pos x="1" y="5"/>
                  </a:cxn>
                  <a:cxn ang="0">
                    <a:pos x="1" y="5"/>
                  </a:cxn>
                  <a:cxn ang="0">
                    <a:pos x="0" y="4"/>
                  </a:cxn>
                </a:cxnLst>
                <a:rect l="0" t="0" r="r" b="b"/>
                <a:pathLst>
                  <a:path w="7" h="13">
                    <a:moveTo>
                      <a:pt x="0" y="4"/>
                    </a:moveTo>
                    <a:lnTo>
                      <a:pt x="3" y="0"/>
                    </a:lnTo>
                    <a:lnTo>
                      <a:pt x="6" y="0"/>
                    </a:lnTo>
                    <a:lnTo>
                      <a:pt x="7" y="2"/>
                    </a:lnTo>
                    <a:lnTo>
                      <a:pt x="7" y="11"/>
                    </a:lnTo>
                    <a:lnTo>
                      <a:pt x="6" y="13"/>
                    </a:lnTo>
                    <a:lnTo>
                      <a:pt x="4" y="13"/>
                    </a:lnTo>
                    <a:lnTo>
                      <a:pt x="3" y="11"/>
                    </a:lnTo>
                    <a:lnTo>
                      <a:pt x="1" y="10"/>
                    </a:lnTo>
                    <a:lnTo>
                      <a:pt x="1" y="8"/>
                    </a:lnTo>
                    <a:lnTo>
                      <a:pt x="1" y="5"/>
                    </a:lnTo>
                    <a:lnTo>
                      <a:pt x="1" y="5"/>
                    </a:lnTo>
                    <a:lnTo>
                      <a:pt x="0" y="4"/>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32" name="Freeform 1417"/>
              <p:cNvSpPr>
                <a:spLocks/>
              </p:cNvSpPr>
              <p:nvPr/>
            </p:nvSpPr>
            <p:spPr bwMode="auto">
              <a:xfrm>
                <a:off x="7871059" y="3355756"/>
                <a:ext cx="6145" cy="14197"/>
              </a:xfrm>
              <a:custGeom>
                <a:avLst/>
                <a:gdLst/>
                <a:ahLst/>
                <a:cxnLst>
                  <a:cxn ang="0">
                    <a:pos x="0" y="4"/>
                  </a:cxn>
                  <a:cxn ang="0">
                    <a:pos x="3" y="0"/>
                  </a:cxn>
                  <a:cxn ang="0">
                    <a:pos x="6" y="0"/>
                  </a:cxn>
                  <a:cxn ang="0">
                    <a:pos x="7" y="2"/>
                  </a:cxn>
                  <a:cxn ang="0">
                    <a:pos x="7" y="11"/>
                  </a:cxn>
                  <a:cxn ang="0">
                    <a:pos x="6" y="13"/>
                  </a:cxn>
                  <a:cxn ang="0">
                    <a:pos x="4" y="13"/>
                  </a:cxn>
                  <a:cxn ang="0">
                    <a:pos x="3" y="11"/>
                  </a:cxn>
                  <a:cxn ang="0">
                    <a:pos x="1" y="10"/>
                  </a:cxn>
                  <a:cxn ang="0">
                    <a:pos x="1" y="8"/>
                  </a:cxn>
                  <a:cxn ang="0">
                    <a:pos x="1" y="5"/>
                  </a:cxn>
                  <a:cxn ang="0">
                    <a:pos x="1" y="5"/>
                  </a:cxn>
                  <a:cxn ang="0">
                    <a:pos x="0" y="4"/>
                  </a:cxn>
                </a:cxnLst>
                <a:rect l="0" t="0" r="r" b="b"/>
                <a:pathLst>
                  <a:path w="7" h="13">
                    <a:moveTo>
                      <a:pt x="0" y="4"/>
                    </a:moveTo>
                    <a:lnTo>
                      <a:pt x="3" y="0"/>
                    </a:lnTo>
                    <a:lnTo>
                      <a:pt x="6" y="0"/>
                    </a:lnTo>
                    <a:lnTo>
                      <a:pt x="7" y="2"/>
                    </a:lnTo>
                    <a:lnTo>
                      <a:pt x="7" y="11"/>
                    </a:lnTo>
                    <a:lnTo>
                      <a:pt x="6" y="13"/>
                    </a:lnTo>
                    <a:lnTo>
                      <a:pt x="4" y="13"/>
                    </a:lnTo>
                    <a:lnTo>
                      <a:pt x="3" y="11"/>
                    </a:lnTo>
                    <a:lnTo>
                      <a:pt x="1" y="10"/>
                    </a:lnTo>
                    <a:lnTo>
                      <a:pt x="1" y="8"/>
                    </a:lnTo>
                    <a:lnTo>
                      <a:pt x="1" y="5"/>
                    </a:lnTo>
                    <a:lnTo>
                      <a:pt x="1" y="5"/>
                    </a:lnTo>
                    <a:lnTo>
                      <a:pt x="0" y="4"/>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33" name="Freeform 1418"/>
              <p:cNvSpPr>
                <a:spLocks/>
              </p:cNvSpPr>
              <p:nvPr/>
            </p:nvSpPr>
            <p:spPr bwMode="auto">
              <a:xfrm>
                <a:off x="7869304" y="3364883"/>
                <a:ext cx="5267" cy="6085"/>
              </a:xfrm>
              <a:custGeom>
                <a:avLst/>
                <a:gdLst/>
                <a:ahLst/>
                <a:cxnLst>
                  <a:cxn ang="0">
                    <a:pos x="0" y="2"/>
                  </a:cxn>
                  <a:cxn ang="0">
                    <a:pos x="0" y="0"/>
                  </a:cxn>
                  <a:cxn ang="0">
                    <a:pos x="0" y="0"/>
                  </a:cxn>
                  <a:cxn ang="0">
                    <a:pos x="3" y="3"/>
                  </a:cxn>
                  <a:cxn ang="0">
                    <a:pos x="5" y="3"/>
                  </a:cxn>
                  <a:cxn ang="0">
                    <a:pos x="6" y="5"/>
                  </a:cxn>
                  <a:cxn ang="0">
                    <a:pos x="6" y="6"/>
                  </a:cxn>
                  <a:cxn ang="0">
                    <a:pos x="6" y="6"/>
                  </a:cxn>
                  <a:cxn ang="0">
                    <a:pos x="5" y="6"/>
                  </a:cxn>
                  <a:cxn ang="0">
                    <a:pos x="3" y="5"/>
                  </a:cxn>
                  <a:cxn ang="0">
                    <a:pos x="2" y="3"/>
                  </a:cxn>
                  <a:cxn ang="0">
                    <a:pos x="0" y="2"/>
                  </a:cxn>
                </a:cxnLst>
                <a:rect l="0" t="0" r="r" b="b"/>
                <a:pathLst>
                  <a:path w="6" h="6">
                    <a:moveTo>
                      <a:pt x="0" y="2"/>
                    </a:moveTo>
                    <a:lnTo>
                      <a:pt x="0" y="0"/>
                    </a:lnTo>
                    <a:lnTo>
                      <a:pt x="0" y="0"/>
                    </a:lnTo>
                    <a:lnTo>
                      <a:pt x="3" y="3"/>
                    </a:lnTo>
                    <a:lnTo>
                      <a:pt x="5" y="3"/>
                    </a:lnTo>
                    <a:lnTo>
                      <a:pt x="6" y="5"/>
                    </a:lnTo>
                    <a:lnTo>
                      <a:pt x="6" y="6"/>
                    </a:lnTo>
                    <a:lnTo>
                      <a:pt x="6" y="6"/>
                    </a:lnTo>
                    <a:lnTo>
                      <a:pt x="5" y="6"/>
                    </a:lnTo>
                    <a:lnTo>
                      <a:pt x="3" y="5"/>
                    </a:lnTo>
                    <a:lnTo>
                      <a:pt x="2" y="3"/>
                    </a:lnTo>
                    <a:lnTo>
                      <a:pt x="0" y="2"/>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34" name="Freeform 1419"/>
              <p:cNvSpPr>
                <a:spLocks/>
              </p:cNvSpPr>
              <p:nvPr/>
            </p:nvSpPr>
            <p:spPr bwMode="auto">
              <a:xfrm>
                <a:off x="7869304" y="3364883"/>
                <a:ext cx="5267" cy="6085"/>
              </a:xfrm>
              <a:custGeom>
                <a:avLst/>
                <a:gdLst/>
                <a:ahLst/>
                <a:cxnLst>
                  <a:cxn ang="0">
                    <a:pos x="0" y="2"/>
                  </a:cxn>
                  <a:cxn ang="0">
                    <a:pos x="0" y="0"/>
                  </a:cxn>
                  <a:cxn ang="0">
                    <a:pos x="0" y="0"/>
                  </a:cxn>
                  <a:cxn ang="0">
                    <a:pos x="3" y="3"/>
                  </a:cxn>
                  <a:cxn ang="0">
                    <a:pos x="5" y="3"/>
                  </a:cxn>
                  <a:cxn ang="0">
                    <a:pos x="6" y="5"/>
                  </a:cxn>
                  <a:cxn ang="0">
                    <a:pos x="6" y="6"/>
                  </a:cxn>
                  <a:cxn ang="0">
                    <a:pos x="6" y="6"/>
                  </a:cxn>
                  <a:cxn ang="0">
                    <a:pos x="5" y="6"/>
                  </a:cxn>
                  <a:cxn ang="0">
                    <a:pos x="3" y="5"/>
                  </a:cxn>
                  <a:cxn ang="0">
                    <a:pos x="2" y="3"/>
                  </a:cxn>
                  <a:cxn ang="0">
                    <a:pos x="0" y="2"/>
                  </a:cxn>
                </a:cxnLst>
                <a:rect l="0" t="0" r="r" b="b"/>
                <a:pathLst>
                  <a:path w="6" h="6">
                    <a:moveTo>
                      <a:pt x="0" y="2"/>
                    </a:moveTo>
                    <a:lnTo>
                      <a:pt x="0" y="0"/>
                    </a:lnTo>
                    <a:lnTo>
                      <a:pt x="0" y="0"/>
                    </a:lnTo>
                    <a:lnTo>
                      <a:pt x="3" y="3"/>
                    </a:lnTo>
                    <a:lnTo>
                      <a:pt x="5" y="3"/>
                    </a:lnTo>
                    <a:lnTo>
                      <a:pt x="6" y="5"/>
                    </a:lnTo>
                    <a:lnTo>
                      <a:pt x="6" y="6"/>
                    </a:lnTo>
                    <a:lnTo>
                      <a:pt x="6" y="6"/>
                    </a:lnTo>
                    <a:lnTo>
                      <a:pt x="5" y="6"/>
                    </a:lnTo>
                    <a:lnTo>
                      <a:pt x="3" y="5"/>
                    </a:lnTo>
                    <a:lnTo>
                      <a:pt x="2" y="3"/>
                    </a:lnTo>
                    <a:lnTo>
                      <a:pt x="0" y="2"/>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35" name="Freeform 1420"/>
              <p:cNvSpPr>
                <a:spLocks/>
              </p:cNvSpPr>
              <p:nvPr/>
            </p:nvSpPr>
            <p:spPr bwMode="auto">
              <a:xfrm>
                <a:off x="7868426" y="3366911"/>
                <a:ext cx="5267" cy="10141"/>
              </a:xfrm>
              <a:custGeom>
                <a:avLst/>
                <a:gdLst/>
                <a:ahLst/>
                <a:cxnLst>
                  <a:cxn ang="0">
                    <a:pos x="1" y="0"/>
                  </a:cxn>
                  <a:cxn ang="0">
                    <a:pos x="3" y="1"/>
                  </a:cxn>
                  <a:cxn ang="0">
                    <a:pos x="6" y="6"/>
                  </a:cxn>
                  <a:cxn ang="0">
                    <a:pos x="6" y="8"/>
                  </a:cxn>
                  <a:cxn ang="0">
                    <a:pos x="4" y="10"/>
                  </a:cxn>
                  <a:cxn ang="0">
                    <a:pos x="3" y="10"/>
                  </a:cxn>
                  <a:cxn ang="0">
                    <a:pos x="1" y="10"/>
                  </a:cxn>
                  <a:cxn ang="0">
                    <a:pos x="0" y="8"/>
                  </a:cxn>
                  <a:cxn ang="0">
                    <a:pos x="0" y="7"/>
                  </a:cxn>
                  <a:cxn ang="0">
                    <a:pos x="1" y="6"/>
                  </a:cxn>
                  <a:cxn ang="0">
                    <a:pos x="1" y="7"/>
                  </a:cxn>
                  <a:cxn ang="0">
                    <a:pos x="3" y="7"/>
                  </a:cxn>
                  <a:cxn ang="0">
                    <a:pos x="3" y="4"/>
                  </a:cxn>
                  <a:cxn ang="0">
                    <a:pos x="1" y="4"/>
                  </a:cxn>
                  <a:cxn ang="0">
                    <a:pos x="1" y="3"/>
                  </a:cxn>
                  <a:cxn ang="0">
                    <a:pos x="1" y="0"/>
                  </a:cxn>
                </a:cxnLst>
                <a:rect l="0" t="0" r="r" b="b"/>
                <a:pathLst>
                  <a:path w="6" h="10">
                    <a:moveTo>
                      <a:pt x="1" y="0"/>
                    </a:moveTo>
                    <a:lnTo>
                      <a:pt x="3" y="1"/>
                    </a:lnTo>
                    <a:lnTo>
                      <a:pt x="6" y="6"/>
                    </a:lnTo>
                    <a:lnTo>
                      <a:pt x="6" y="8"/>
                    </a:lnTo>
                    <a:lnTo>
                      <a:pt x="4" y="10"/>
                    </a:lnTo>
                    <a:lnTo>
                      <a:pt x="3" y="10"/>
                    </a:lnTo>
                    <a:lnTo>
                      <a:pt x="1" y="10"/>
                    </a:lnTo>
                    <a:lnTo>
                      <a:pt x="0" y="8"/>
                    </a:lnTo>
                    <a:lnTo>
                      <a:pt x="0" y="7"/>
                    </a:lnTo>
                    <a:lnTo>
                      <a:pt x="1" y="6"/>
                    </a:lnTo>
                    <a:lnTo>
                      <a:pt x="1" y="7"/>
                    </a:lnTo>
                    <a:lnTo>
                      <a:pt x="3" y="7"/>
                    </a:lnTo>
                    <a:lnTo>
                      <a:pt x="3" y="4"/>
                    </a:lnTo>
                    <a:lnTo>
                      <a:pt x="1" y="4"/>
                    </a:lnTo>
                    <a:lnTo>
                      <a:pt x="1" y="3"/>
                    </a:lnTo>
                    <a:lnTo>
                      <a:pt x="1"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36" name="Freeform 1421"/>
              <p:cNvSpPr>
                <a:spLocks/>
              </p:cNvSpPr>
              <p:nvPr/>
            </p:nvSpPr>
            <p:spPr bwMode="auto">
              <a:xfrm>
                <a:off x="7868426" y="3366911"/>
                <a:ext cx="5267" cy="10141"/>
              </a:xfrm>
              <a:custGeom>
                <a:avLst/>
                <a:gdLst/>
                <a:ahLst/>
                <a:cxnLst>
                  <a:cxn ang="0">
                    <a:pos x="1" y="0"/>
                  </a:cxn>
                  <a:cxn ang="0">
                    <a:pos x="3" y="1"/>
                  </a:cxn>
                  <a:cxn ang="0">
                    <a:pos x="6" y="6"/>
                  </a:cxn>
                  <a:cxn ang="0">
                    <a:pos x="6" y="8"/>
                  </a:cxn>
                  <a:cxn ang="0">
                    <a:pos x="4" y="10"/>
                  </a:cxn>
                  <a:cxn ang="0">
                    <a:pos x="3" y="10"/>
                  </a:cxn>
                  <a:cxn ang="0">
                    <a:pos x="1" y="10"/>
                  </a:cxn>
                  <a:cxn ang="0">
                    <a:pos x="0" y="8"/>
                  </a:cxn>
                  <a:cxn ang="0">
                    <a:pos x="0" y="7"/>
                  </a:cxn>
                  <a:cxn ang="0">
                    <a:pos x="1" y="6"/>
                  </a:cxn>
                  <a:cxn ang="0">
                    <a:pos x="1" y="7"/>
                  </a:cxn>
                  <a:cxn ang="0">
                    <a:pos x="3" y="7"/>
                  </a:cxn>
                  <a:cxn ang="0">
                    <a:pos x="3" y="4"/>
                  </a:cxn>
                  <a:cxn ang="0">
                    <a:pos x="1" y="4"/>
                  </a:cxn>
                  <a:cxn ang="0">
                    <a:pos x="1" y="3"/>
                  </a:cxn>
                  <a:cxn ang="0">
                    <a:pos x="1" y="0"/>
                  </a:cxn>
                </a:cxnLst>
                <a:rect l="0" t="0" r="r" b="b"/>
                <a:pathLst>
                  <a:path w="6" h="10">
                    <a:moveTo>
                      <a:pt x="1" y="0"/>
                    </a:moveTo>
                    <a:lnTo>
                      <a:pt x="3" y="1"/>
                    </a:lnTo>
                    <a:lnTo>
                      <a:pt x="6" y="6"/>
                    </a:lnTo>
                    <a:lnTo>
                      <a:pt x="6" y="8"/>
                    </a:lnTo>
                    <a:lnTo>
                      <a:pt x="4" y="10"/>
                    </a:lnTo>
                    <a:lnTo>
                      <a:pt x="3" y="10"/>
                    </a:lnTo>
                    <a:lnTo>
                      <a:pt x="1" y="10"/>
                    </a:lnTo>
                    <a:lnTo>
                      <a:pt x="0" y="8"/>
                    </a:lnTo>
                    <a:lnTo>
                      <a:pt x="0" y="7"/>
                    </a:lnTo>
                    <a:lnTo>
                      <a:pt x="1" y="6"/>
                    </a:lnTo>
                    <a:lnTo>
                      <a:pt x="1" y="7"/>
                    </a:lnTo>
                    <a:lnTo>
                      <a:pt x="3" y="7"/>
                    </a:lnTo>
                    <a:lnTo>
                      <a:pt x="3" y="4"/>
                    </a:lnTo>
                    <a:lnTo>
                      <a:pt x="1" y="4"/>
                    </a:lnTo>
                    <a:lnTo>
                      <a:pt x="1" y="3"/>
                    </a:lnTo>
                    <a:lnTo>
                      <a:pt x="1" y="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37" name="Freeform 1422"/>
              <p:cNvSpPr>
                <a:spLocks/>
              </p:cNvSpPr>
              <p:nvPr/>
            </p:nvSpPr>
            <p:spPr bwMode="auto">
              <a:xfrm>
                <a:off x="7830680" y="3380095"/>
                <a:ext cx="7022" cy="13184"/>
              </a:xfrm>
              <a:custGeom>
                <a:avLst/>
                <a:gdLst/>
                <a:ahLst/>
                <a:cxnLst>
                  <a:cxn ang="0">
                    <a:pos x="0" y="10"/>
                  </a:cxn>
                  <a:cxn ang="0">
                    <a:pos x="0" y="9"/>
                  </a:cxn>
                  <a:cxn ang="0">
                    <a:pos x="0" y="9"/>
                  </a:cxn>
                  <a:cxn ang="0">
                    <a:pos x="0" y="6"/>
                  </a:cxn>
                  <a:cxn ang="0">
                    <a:pos x="3" y="3"/>
                  </a:cxn>
                  <a:cxn ang="0">
                    <a:pos x="5" y="0"/>
                  </a:cxn>
                  <a:cxn ang="0">
                    <a:pos x="6" y="0"/>
                  </a:cxn>
                  <a:cxn ang="0">
                    <a:pos x="8" y="1"/>
                  </a:cxn>
                  <a:cxn ang="0">
                    <a:pos x="8" y="7"/>
                  </a:cxn>
                  <a:cxn ang="0">
                    <a:pos x="3" y="13"/>
                  </a:cxn>
                  <a:cxn ang="0">
                    <a:pos x="0" y="11"/>
                  </a:cxn>
                  <a:cxn ang="0">
                    <a:pos x="0" y="10"/>
                  </a:cxn>
                </a:cxnLst>
                <a:rect l="0" t="0" r="r" b="b"/>
                <a:pathLst>
                  <a:path w="8" h="13">
                    <a:moveTo>
                      <a:pt x="0" y="10"/>
                    </a:moveTo>
                    <a:lnTo>
                      <a:pt x="0" y="9"/>
                    </a:lnTo>
                    <a:lnTo>
                      <a:pt x="0" y="9"/>
                    </a:lnTo>
                    <a:lnTo>
                      <a:pt x="0" y="6"/>
                    </a:lnTo>
                    <a:lnTo>
                      <a:pt x="3" y="3"/>
                    </a:lnTo>
                    <a:lnTo>
                      <a:pt x="5" y="0"/>
                    </a:lnTo>
                    <a:lnTo>
                      <a:pt x="6" y="0"/>
                    </a:lnTo>
                    <a:lnTo>
                      <a:pt x="8" y="1"/>
                    </a:lnTo>
                    <a:lnTo>
                      <a:pt x="8" y="7"/>
                    </a:lnTo>
                    <a:lnTo>
                      <a:pt x="3" y="13"/>
                    </a:lnTo>
                    <a:lnTo>
                      <a:pt x="0" y="11"/>
                    </a:lnTo>
                    <a:lnTo>
                      <a:pt x="0" y="1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38" name="Freeform 1423"/>
              <p:cNvSpPr>
                <a:spLocks/>
              </p:cNvSpPr>
              <p:nvPr/>
            </p:nvSpPr>
            <p:spPr bwMode="auto">
              <a:xfrm>
                <a:off x="7830680" y="3380095"/>
                <a:ext cx="7022" cy="13184"/>
              </a:xfrm>
              <a:custGeom>
                <a:avLst/>
                <a:gdLst/>
                <a:ahLst/>
                <a:cxnLst>
                  <a:cxn ang="0">
                    <a:pos x="0" y="10"/>
                  </a:cxn>
                  <a:cxn ang="0">
                    <a:pos x="0" y="9"/>
                  </a:cxn>
                  <a:cxn ang="0">
                    <a:pos x="0" y="9"/>
                  </a:cxn>
                  <a:cxn ang="0">
                    <a:pos x="0" y="6"/>
                  </a:cxn>
                  <a:cxn ang="0">
                    <a:pos x="3" y="3"/>
                  </a:cxn>
                  <a:cxn ang="0">
                    <a:pos x="5" y="0"/>
                  </a:cxn>
                  <a:cxn ang="0">
                    <a:pos x="6" y="0"/>
                  </a:cxn>
                  <a:cxn ang="0">
                    <a:pos x="8" y="1"/>
                  </a:cxn>
                  <a:cxn ang="0">
                    <a:pos x="8" y="7"/>
                  </a:cxn>
                  <a:cxn ang="0">
                    <a:pos x="3" y="13"/>
                  </a:cxn>
                  <a:cxn ang="0">
                    <a:pos x="0" y="11"/>
                  </a:cxn>
                  <a:cxn ang="0">
                    <a:pos x="0" y="10"/>
                  </a:cxn>
                </a:cxnLst>
                <a:rect l="0" t="0" r="r" b="b"/>
                <a:pathLst>
                  <a:path w="8" h="13">
                    <a:moveTo>
                      <a:pt x="0" y="10"/>
                    </a:moveTo>
                    <a:lnTo>
                      <a:pt x="0" y="9"/>
                    </a:lnTo>
                    <a:lnTo>
                      <a:pt x="0" y="9"/>
                    </a:lnTo>
                    <a:lnTo>
                      <a:pt x="0" y="6"/>
                    </a:lnTo>
                    <a:lnTo>
                      <a:pt x="3" y="3"/>
                    </a:lnTo>
                    <a:lnTo>
                      <a:pt x="5" y="0"/>
                    </a:lnTo>
                    <a:lnTo>
                      <a:pt x="6" y="0"/>
                    </a:lnTo>
                    <a:lnTo>
                      <a:pt x="8" y="1"/>
                    </a:lnTo>
                    <a:lnTo>
                      <a:pt x="8" y="7"/>
                    </a:lnTo>
                    <a:lnTo>
                      <a:pt x="3" y="13"/>
                    </a:lnTo>
                    <a:lnTo>
                      <a:pt x="0" y="11"/>
                    </a:lnTo>
                    <a:lnTo>
                      <a:pt x="0" y="10"/>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39" name="Freeform 1424"/>
              <p:cNvSpPr>
                <a:spLocks/>
              </p:cNvSpPr>
              <p:nvPr/>
            </p:nvSpPr>
            <p:spPr bwMode="auto">
              <a:xfrm>
                <a:off x="7809613" y="3390236"/>
                <a:ext cx="3511" cy="3042"/>
              </a:xfrm>
              <a:custGeom>
                <a:avLst/>
                <a:gdLst/>
                <a:ahLst/>
                <a:cxnLst>
                  <a:cxn ang="0">
                    <a:pos x="2" y="1"/>
                  </a:cxn>
                  <a:cxn ang="0">
                    <a:pos x="0" y="0"/>
                  </a:cxn>
                  <a:cxn ang="0">
                    <a:pos x="3" y="0"/>
                  </a:cxn>
                  <a:cxn ang="0">
                    <a:pos x="4" y="1"/>
                  </a:cxn>
                  <a:cxn ang="0">
                    <a:pos x="3" y="3"/>
                  </a:cxn>
                  <a:cxn ang="0">
                    <a:pos x="2" y="3"/>
                  </a:cxn>
                  <a:cxn ang="0">
                    <a:pos x="2" y="1"/>
                  </a:cxn>
                </a:cxnLst>
                <a:rect l="0" t="0" r="r" b="b"/>
                <a:pathLst>
                  <a:path w="4" h="3">
                    <a:moveTo>
                      <a:pt x="2" y="1"/>
                    </a:moveTo>
                    <a:lnTo>
                      <a:pt x="0" y="0"/>
                    </a:lnTo>
                    <a:lnTo>
                      <a:pt x="3" y="0"/>
                    </a:lnTo>
                    <a:lnTo>
                      <a:pt x="4" y="1"/>
                    </a:lnTo>
                    <a:lnTo>
                      <a:pt x="3" y="3"/>
                    </a:lnTo>
                    <a:lnTo>
                      <a:pt x="2" y="3"/>
                    </a:lnTo>
                    <a:lnTo>
                      <a:pt x="2"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40" name="Freeform 1425"/>
              <p:cNvSpPr>
                <a:spLocks/>
              </p:cNvSpPr>
              <p:nvPr/>
            </p:nvSpPr>
            <p:spPr bwMode="auto">
              <a:xfrm>
                <a:off x="7809613" y="3390236"/>
                <a:ext cx="3511" cy="3042"/>
              </a:xfrm>
              <a:custGeom>
                <a:avLst/>
                <a:gdLst/>
                <a:ahLst/>
                <a:cxnLst>
                  <a:cxn ang="0">
                    <a:pos x="2" y="1"/>
                  </a:cxn>
                  <a:cxn ang="0">
                    <a:pos x="0" y="0"/>
                  </a:cxn>
                  <a:cxn ang="0">
                    <a:pos x="3" y="0"/>
                  </a:cxn>
                  <a:cxn ang="0">
                    <a:pos x="4" y="1"/>
                  </a:cxn>
                  <a:cxn ang="0">
                    <a:pos x="3" y="3"/>
                  </a:cxn>
                  <a:cxn ang="0">
                    <a:pos x="2" y="3"/>
                  </a:cxn>
                  <a:cxn ang="0">
                    <a:pos x="2" y="1"/>
                  </a:cxn>
                </a:cxnLst>
                <a:rect l="0" t="0" r="r" b="b"/>
                <a:pathLst>
                  <a:path w="4" h="3">
                    <a:moveTo>
                      <a:pt x="2" y="1"/>
                    </a:moveTo>
                    <a:lnTo>
                      <a:pt x="0" y="0"/>
                    </a:lnTo>
                    <a:lnTo>
                      <a:pt x="3" y="0"/>
                    </a:lnTo>
                    <a:lnTo>
                      <a:pt x="4" y="1"/>
                    </a:lnTo>
                    <a:lnTo>
                      <a:pt x="3" y="3"/>
                    </a:lnTo>
                    <a:lnTo>
                      <a:pt x="2" y="3"/>
                    </a:lnTo>
                    <a:lnTo>
                      <a:pt x="2" y="1"/>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41" name="Freeform 1426"/>
              <p:cNvSpPr>
                <a:spLocks/>
              </p:cNvSpPr>
              <p:nvPr/>
            </p:nvSpPr>
            <p:spPr bwMode="auto">
              <a:xfrm>
                <a:off x="7796446" y="3380095"/>
                <a:ext cx="878" cy="3042"/>
              </a:xfrm>
              <a:custGeom>
                <a:avLst/>
                <a:gdLst/>
                <a:ahLst/>
                <a:cxnLst>
                  <a:cxn ang="0">
                    <a:pos x="0" y="1"/>
                  </a:cxn>
                  <a:cxn ang="0">
                    <a:pos x="0" y="0"/>
                  </a:cxn>
                  <a:cxn ang="0">
                    <a:pos x="1" y="0"/>
                  </a:cxn>
                  <a:cxn ang="0">
                    <a:pos x="1" y="0"/>
                  </a:cxn>
                  <a:cxn ang="0">
                    <a:pos x="1" y="1"/>
                  </a:cxn>
                  <a:cxn ang="0">
                    <a:pos x="1" y="3"/>
                  </a:cxn>
                  <a:cxn ang="0">
                    <a:pos x="0" y="1"/>
                  </a:cxn>
                </a:cxnLst>
                <a:rect l="0" t="0" r="r" b="b"/>
                <a:pathLst>
                  <a:path w="1" h="3">
                    <a:moveTo>
                      <a:pt x="0" y="1"/>
                    </a:moveTo>
                    <a:lnTo>
                      <a:pt x="0" y="0"/>
                    </a:lnTo>
                    <a:lnTo>
                      <a:pt x="1" y="0"/>
                    </a:lnTo>
                    <a:lnTo>
                      <a:pt x="1" y="0"/>
                    </a:lnTo>
                    <a:lnTo>
                      <a:pt x="1" y="1"/>
                    </a:lnTo>
                    <a:lnTo>
                      <a:pt x="1" y="3"/>
                    </a:lnTo>
                    <a:lnTo>
                      <a:pt x="0"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42" name="Freeform 1427"/>
              <p:cNvSpPr>
                <a:spLocks/>
              </p:cNvSpPr>
              <p:nvPr/>
            </p:nvSpPr>
            <p:spPr bwMode="auto">
              <a:xfrm>
                <a:off x="7796446" y="3380095"/>
                <a:ext cx="878" cy="3042"/>
              </a:xfrm>
              <a:custGeom>
                <a:avLst/>
                <a:gdLst/>
                <a:ahLst/>
                <a:cxnLst>
                  <a:cxn ang="0">
                    <a:pos x="0" y="1"/>
                  </a:cxn>
                  <a:cxn ang="0">
                    <a:pos x="0" y="0"/>
                  </a:cxn>
                  <a:cxn ang="0">
                    <a:pos x="1" y="0"/>
                  </a:cxn>
                  <a:cxn ang="0">
                    <a:pos x="1" y="0"/>
                  </a:cxn>
                  <a:cxn ang="0">
                    <a:pos x="1" y="1"/>
                  </a:cxn>
                  <a:cxn ang="0">
                    <a:pos x="1" y="3"/>
                  </a:cxn>
                  <a:cxn ang="0">
                    <a:pos x="0" y="1"/>
                  </a:cxn>
                </a:cxnLst>
                <a:rect l="0" t="0" r="r" b="b"/>
                <a:pathLst>
                  <a:path w="1" h="3">
                    <a:moveTo>
                      <a:pt x="0" y="1"/>
                    </a:moveTo>
                    <a:lnTo>
                      <a:pt x="0" y="0"/>
                    </a:lnTo>
                    <a:lnTo>
                      <a:pt x="1" y="0"/>
                    </a:lnTo>
                    <a:lnTo>
                      <a:pt x="1" y="0"/>
                    </a:lnTo>
                    <a:lnTo>
                      <a:pt x="1" y="1"/>
                    </a:lnTo>
                    <a:lnTo>
                      <a:pt x="1" y="3"/>
                    </a:lnTo>
                    <a:lnTo>
                      <a:pt x="0" y="1"/>
                    </a:lnTo>
                  </a:path>
                </a:pathLst>
              </a:custGeom>
              <a:solidFill>
                <a:schemeClr val="accent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43" name="Freeform 1428"/>
              <p:cNvSpPr>
                <a:spLocks/>
              </p:cNvSpPr>
              <p:nvPr/>
            </p:nvSpPr>
            <p:spPr bwMode="auto">
              <a:xfrm>
                <a:off x="7158285" y="3130619"/>
                <a:ext cx="28968" cy="55776"/>
              </a:xfrm>
              <a:custGeom>
                <a:avLst/>
                <a:gdLst/>
                <a:ahLst/>
                <a:cxnLst>
                  <a:cxn ang="0">
                    <a:pos x="4" y="0"/>
                  </a:cxn>
                  <a:cxn ang="0">
                    <a:pos x="3" y="0"/>
                  </a:cxn>
                  <a:cxn ang="0">
                    <a:pos x="6" y="1"/>
                  </a:cxn>
                  <a:cxn ang="0">
                    <a:pos x="7" y="3"/>
                  </a:cxn>
                  <a:cxn ang="0">
                    <a:pos x="9" y="4"/>
                  </a:cxn>
                  <a:cxn ang="0">
                    <a:pos x="7" y="4"/>
                  </a:cxn>
                  <a:cxn ang="0">
                    <a:pos x="6" y="6"/>
                  </a:cxn>
                  <a:cxn ang="0">
                    <a:pos x="6" y="10"/>
                  </a:cxn>
                  <a:cxn ang="0">
                    <a:pos x="3" y="12"/>
                  </a:cxn>
                  <a:cxn ang="0">
                    <a:pos x="2" y="25"/>
                  </a:cxn>
                  <a:cxn ang="0">
                    <a:pos x="0" y="23"/>
                  </a:cxn>
                  <a:cxn ang="0">
                    <a:pos x="0" y="25"/>
                  </a:cxn>
                  <a:cxn ang="0">
                    <a:pos x="2" y="42"/>
                  </a:cxn>
                  <a:cxn ang="0">
                    <a:pos x="6" y="51"/>
                  </a:cxn>
                  <a:cxn ang="0">
                    <a:pos x="7" y="54"/>
                  </a:cxn>
                  <a:cxn ang="0">
                    <a:pos x="15" y="54"/>
                  </a:cxn>
                  <a:cxn ang="0">
                    <a:pos x="26" y="48"/>
                  </a:cxn>
                  <a:cxn ang="0">
                    <a:pos x="29" y="44"/>
                  </a:cxn>
                  <a:cxn ang="0">
                    <a:pos x="31" y="32"/>
                  </a:cxn>
                  <a:cxn ang="0">
                    <a:pos x="31" y="31"/>
                  </a:cxn>
                  <a:cxn ang="0">
                    <a:pos x="28" y="29"/>
                  </a:cxn>
                  <a:cxn ang="0">
                    <a:pos x="25" y="19"/>
                  </a:cxn>
                  <a:cxn ang="0">
                    <a:pos x="22" y="17"/>
                  </a:cxn>
                  <a:cxn ang="0">
                    <a:pos x="20" y="15"/>
                  </a:cxn>
                  <a:cxn ang="0">
                    <a:pos x="18" y="12"/>
                  </a:cxn>
                  <a:cxn ang="0">
                    <a:pos x="16" y="9"/>
                  </a:cxn>
                  <a:cxn ang="0">
                    <a:pos x="9" y="0"/>
                  </a:cxn>
                  <a:cxn ang="0">
                    <a:pos x="7" y="0"/>
                  </a:cxn>
                  <a:cxn ang="0">
                    <a:pos x="4" y="0"/>
                  </a:cxn>
                </a:cxnLst>
                <a:rect l="0" t="0" r="r" b="b"/>
                <a:pathLst>
                  <a:path w="31" h="54">
                    <a:moveTo>
                      <a:pt x="4" y="0"/>
                    </a:moveTo>
                    <a:lnTo>
                      <a:pt x="3" y="0"/>
                    </a:lnTo>
                    <a:lnTo>
                      <a:pt x="6" y="1"/>
                    </a:lnTo>
                    <a:lnTo>
                      <a:pt x="7" y="3"/>
                    </a:lnTo>
                    <a:lnTo>
                      <a:pt x="9" y="4"/>
                    </a:lnTo>
                    <a:lnTo>
                      <a:pt x="7" y="4"/>
                    </a:lnTo>
                    <a:lnTo>
                      <a:pt x="6" y="6"/>
                    </a:lnTo>
                    <a:lnTo>
                      <a:pt x="6" y="10"/>
                    </a:lnTo>
                    <a:lnTo>
                      <a:pt x="3" y="12"/>
                    </a:lnTo>
                    <a:lnTo>
                      <a:pt x="2" y="25"/>
                    </a:lnTo>
                    <a:lnTo>
                      <a:pt x="0" y="23"/>
                    </a:lnTo>
                    <a:lnTo>
                      <a:pt x="0" y="25"/>
                    </a:lnTo>
                    <a:lnTo>
                      <a:pt x="2" y="42"/>
                    </a:lnTo>
                    <a:lnTo>
                      <a:pt x="6" y="51"/>
                    </a:lnTo>
                    <a:lnTo>
                      <a:pt x="7" y="54"/>
                    </a:lnTo>
                    <a:lnTo>
                      <a:pt x="15" y="54"/>
                    </a:lnTo>
                    <a:lnTo>
                      <a:pt x="26" y="48"/>
                    </a:lnTo>
                    <a:lnTo>
                      <a:pt x="29" y="44"/>
                    </a:lnTo>
                    <a:lnTo>
                      <a:pt x="31" y="32"/>
                    </a:lnTo>
                    <a:lnTo>
                      <a:pt x="31" y="31"/>
                    </a:lnTo>
                    <a:lnTo>
                      <a:pt x="28" y="29"/>
                    </a:lnTo>
                    <a:lnTo>
                      <a:pt x="25" y="19"/>
                    </a:lnTo>
                    <a:lnTo>
                      <a:pt x="22" y="17"/>
                    </a:lnTo>
                    <a:lnTo>
                      <a:pt x="20" y="15"/>
                    </a:lnTo>
                    <a:lnTo>
                      <a:pt x="18" y="12"/>
                    </a:lnTo>
                    <a:lnTo>
                      <a:pt x="16" y="9"/>
                    </a:lnTo>
                    <a:lnTo>
                      <a:pt x="9" y="0"/>
                    </a:lnTo>
                    <a:lnTo>
                      <a:pt x="7" y="0"/>
                    </a:lnTo>
                    <a:lnTo>
                      <a:pt x="4"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44" name="Freeform 1430"/>
              <p:cNvSpPr>
                <a:spLocks/>
              </p:cNvSpPr>
              <p:nvPr/>
            </p:nvSpPr>
            <p:spPr bwMode="auto">
              <a:xfrm>
                <a:off x="5788038" y="3018050"/>
                <a:ext cx="6144" cy="5071"/>
              </a:xfrm>
              <a:custGeom>
                <a:avLst/>
                <a:gdLst/>
                <a:ahLst/>
                <a:cxnLst>
                  <a:cxn ang="0">
                    <a:pos x="4" y="0"/>
                  </a:cxn>
                  <a:cxn ang="0">
                    <a:pos x="0" y="0"/>
                  </a:cxn>
                  <a:cxn ang="0">
                    <a:pos x="2" y="3"/>
                  </a:cxn>
                  <a:cxn ang="0">
                    <a:pos x="2" y="5"/>
                  </a:cxn>
                  <a:cxn ang="0">
                    <a:pos x="4" y="3"/>
                  </a:cxn>
                  <a:cxn ang="0">
                    <a:pos x="6" y="2"/>
                  </a:cxn>
                  <a:cxn ang="0">
                    <a:pos x="6" y="2"/>
                  </a:cxn>
                  <a:cxn ang="0">
                    <a:pos x="4" y="0"/>
                  </a:cxn>
                </a:cxnLst>
                <a:rect l="0" t="0" r="r" b="b"/>
                <a:pathLst>
                  <a:path w="6" h="5">
                    <a:moveTo>
                      <a:pt x="4" y="0"/>
                    </a:moveTo>
                    <a:lnTo>
                      <a:pt x="0" y="0"/>
                    </a:lnTo>
                    <a:lnTo>
                      <a:pt x="2" y="3"/>
                    </a:lnTo>
                    <a:lnTo>
                      <a:pt x="2" y="5"/>
                    </a:lnTo>
                    <a:lnTo>
                      <a:pt x="4" y="3"/>
                    </a:lnTo>
                    <a:lnTo>
                      <a:pt x="6" y="2"/>
                    </a:lnTo>
                    <a:lnTo>
                      <a:pt x="6" y="2"/>
                    </a:lnTo>
                    <a:lnTo>
                      <a:pt x="4"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45" name="Freeform 1431"/>
              <p:cNvSpPr>
                <a:spLocks/>
              </p:cNvSpPr>
              <p:nvPr/>
            </p:nvSpPr>
            <p:spPr bwMode="auto">
              <a:xfrm>
                <a:off x="5788038" y="3018050"/>
                <a:ext cx="6144" cy="5071"/>
              </a:xfrm>
              <a:custGeom>
                <a:avLst/>
                <a:gdLst/>
                <a:ahLst/>
                <a:cxnLst>
                  <a:cxn ang="0">
                    <a:pos x="4" y="0"/>
                  </a:cxn>
                  <a:cxn ang="0">
                    <a:pos x="0" y="0"/>
                  </a:cxn>
                  <a:cxn ang="0">
                    <a:pos x="2" y="3"/>
                  </a:cxn>
                  <a:cxn ang="0">
                    <a:pos x="2" y="5"/>
                  </a:cxn>
                  <a:cxn ang="0">
                    <a:pos x="4" y="3"/>
                  </a:cxn>
                  <a:cxn ang="0">
                    <a:pos x="6" y="2"/>
                  </a:cxn>
                  <a:cxn ang="0">
                    <a:pos x="6" y="2"/>
                  </a:cxn>
                  <a:cxn ang="0">
                    <a:pos x="4" y="0"/>
                  </a:cxn>
                </a:cxnLst>
                <a:rect l="0" t="0" r="r" b="b"/>
                <a:pathLst>
                  <a:path w="6" h="5">
                    <a:moveTo>
                      <a:pt x="4" y="0"/>
                    </a:moveTo>
                    <a:lnTo>
                      <a:pt x="0" y="0"/>
                    </a:lnTo>
                    <a:lnTo>
                      <a:pt x="2" y="3"/>
                    </a:lnTo>
                    <a:lnTo>
                      <a:pt x="2" y="5"/>
                    </a:lnTo>
                    <a:lnTo>
                      <a:pt x="4" y="3"/>
                    </a:lnTo>
                    <a:lnTo>
                      <a:pt x="6" y="2"/>
                    </a:lnTo>
                    <a:lnTo>
                      <a:pt x="6" y="2"/>
                    </a:lnTo>
                    <a:lnTo>
                      <a:pt x="4"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46" name="Freeform 1432"/>
              <p:cNvSpPr>
                <a:spLocks/>
              </p:cNvSpPr>
              <p:nvPr/>
            </p:nvSpPr>
            <p:spPr bwMode="auto">
              <a:xfrm>
                <a:off x="5802084" y="3026163"/>
                <a:ext cx="4389" cy="3043"/>
              </a:xfrm>
              <a:custGeom>
                <a:avLst/>
                <a:gdLst/>
                <a:ahLst/>
                <a:cxnLst>
                  <a:cxn ang="0">
                    <a:pos x="5" y="1"/>
                  </a:cxn>
                  <a:cxn ang="0">
                    <a:pos x="4" y="1"/>
                  </a:cxn>
                  <a:cxn ang="0">
                    <a:pos x="0" y="0"/>
                  </a:cxn>
                  <a:cxn ang="0">
                    <a:pos x="0" y="1"/>
                  </a:cxn>
                  <a:cxn ang="0">
                    <a:pos x="0" y="3"/>
                  </a:cxn>
                  <a:cxn ang="0">
                    <a:pos x="1" y="1"/>
                  </a:cxn>
                  <a:cxn ang="0">
                    <a:pos x="5" y="1"/>
                  </a:cxn>
                </a:cxnLst>
                <a:rect l="0" t="0" r="r" b="b"/>
                <a:pathLst>
                  <a:path w="5" h="3">
                    <a:moveTo>
                      <a:pt x="5" y="1"/>
                    </a:moveTo>
                    <a:lnTo>
                      <a:pt x="4" y="1"/>
                    </a:lnTo>
                    <a:lnTo>
                      <a:pt x="0" y="0"/>
                    </a:lnTo>
                    <a:lnTo>
                      <a:pt x="0" y="1"/>
                    </a:lnTo>
                    <a:lnTo>
                      <a:pt x="0" y="3"/>
                    </a:lnTo>
                    <a:lnTo>
                      <a:pt x="1" y="1"/>
                    </a:lnTo>
                    <a:lnTo>
                      <a:pt x="5"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47" name="Freeform 1433"/>
              <p:cNvSpPr>
                <a:spLocks/>
              </p:cNvSpPr>
              <p:nvPr/>
            </p:nvSpPr>
            <p:spPr bwMode="auto">
              <a:xfrm>
                <a:off x="5802084" y="3026163"/>
                <a:ext cx="4389" cy="3043"/>
              </a:xfrm>
              <a:custGeom>
                <a:avLst/>
                <a:gdLst/>
                <a:ahLst/>
                <a:cxnLst>
                  <a:cxn ang="0">
                    <a:pos x="5" y="1"/>
                  </a:cxn>
                  <a:cxn ang="0">
                    <a:pos x="4" y="1"/>
                  </a:cxn>
                  <a:cxn ang="0">
                    <a:pos x="0" y="0"/>
                  </a:cxn>
                  <a:cxn ang="0">
                    <a:pos x="0" y="1"/>
                  </a:cxn>
                  <a:cxn ang="0">
                    <a:pos x="0" y="3"/>
                  </a:cxn>
                  <a:cxn ang="0">
                    <a:pos x="1" y="1"/>
                  </a:cxn>
                  <a:cxn ang="0">
                    <a:pos x="5" y="1"/>
                  </a:cxn>
                </a:cxnLst>
                <a:rect l="0" t="0" r="r" b="b"/>
                <a:pathLst>
                  <a:path w="5" h="3">
                    <a:moveTo>
                      <a:pt x="5" y="1"/>
                    </a:moveTo>
                    <a:lnTo>
                      <a:pt x="4" y="1"/>
                    </a:lnTo>
                    <a:lnTo>
                      <a:pt x="0" y="0"/>
                    </a:lnTo>
                    <a:lnTo>
                      <a:pt x="0" y="1"/>
                    </a:lnTo>
                    <a:lnTo>
                      <a:pt x="0" y="3"/>
                    </a:lnTo>
                    <a:lnTo>
                      <a:pt x="1" y="1"/>
                    </a:lnTo>
                    <a:lnTo>
                      <a:pt x="5"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48" name="Freeform 1434"/>
              <p:cNvSpPr>
                <a:spLocks/>
              </p:cNvSpPr>
              <p:nvPr/>
            </p:nvSpPr>
            <p:spPr bwMode="auto">
              <a:xfrm>
                <a:off x="5820517" y="3023121"/>
                <a:ext cx="878" cy="3042"/>
              </a:xfrm>
              <a:custGeom>
                <a:avLst/>
                <a:gdLst/>
                <a:ahLst/>
                <a:cxnLst>
                  <a:cxn ang="0">
                    <a:pos x="0" y="0"/>
                  </a:cxn>
                  <a:cxn ang="0">
                    <a:pos x="0" y="3"/>
                  </a:cxn>
                  <a:cxn ang="0">
                    <a:pos x="0" y="3"/>
                  </a:cxn>
                  <a:cxn ang="0">
                    <a:pos x="1" y="1"/>
                  </a:cxn>
                  <a:cxn ang="0">
                    <a:pos x="0" y="0"/>
                  </a:cxn>
                </a:cxnLst>
                <a:rect l="0" t="0" r="r" b="b"/>
                <a:pathLst>
                  <a:path w="1" h="3">
                    <a:moveTo>
                      <a:pt x="0" y="0"/>
                    </a:moveTo>
                    <a:lnTo>
                      <a:pt x="0" y="3"/>
                    </a:lnTo>
                    <a:lnTo>
                      <a:pt x="0" y="3"/>
                    </a:lnTo>
                    <a:lnTo>
                      <a:pt x="1" y="1"/>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49" name="Freeform 1435"/>
              <p:cNvSpPr>
                <a:spLocks/>
              </p:cNvSpPr>
              <p:nvPr/>
            </p:nvSpPr>
            <p:spPr bwMode="auto">
              <a:xfrm>
                <a:off x="5820517" y="3023121"/>
                <a:ext cx="878" cy="3042"/>
              </a:xfrm>
              <a:custGeom>
                <a:avLst/>
                <a:gdLst/>
                <a:ahLst/>
                <a:cxnLst>
                  <a:cxn ang="0">
                    <a:pos x="0" y="0"/>
                  </a:cxn>
                  <a:cxn ang="0">
                    <a:pos x="0" y="3"/>
                  </a:cxn>
                  <a:cxn ang="0">
                    <a:pos x="0" y="3"/>
                  </a:cxn>
                  <a:cxn ang="0">
                    <a:pos x="1" y="1"/>
                  </a:cxn>
                  <a:cxn ang="0">
                    <a:pos x="0" y="0"/>
                  </a:cxn>
                </a:cxnLst>
                <a:rect l="0" t="0" r="r" b="b"/>
                <a:pathLst>
                  <a:path w="1" h="3">
                    <a:moveTo>
                      <a:pt x="0" y="0"/>
                    </a:moveTo>
                    <a:lnTo>
                      <a:pt x="0" y="3"/>
                    </a:lnTo>
                    <a:lnTo>
                      <a:pt x="0" y="3"/>
                    </a:lnTo>
                    <a:lnTo>
                      <a:pt x="1" y="1"/>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50" name="Freeform 1436"/>
              <p:cNvSpPr>
                <a:spLocks/>
              </p:cNvSpPr>
              <p:nvPr/>
            </p:nvSpPr>
            <p:spPr bwMode="auto">
              <a:xfrm>
                <a:off x="5820517" y="3033262"/>
                <a:ext cx="2634" cy="4056"/>
              </a:xfrm>
              <a:custGeom>
                <a:avLst/>
                <a:gdLst/>
                <a:ahLst/>
                <a:cxnLst>
                  <a:cxn ang="0">
                    <a:pos x="0" y="1"/>
                  </a:cxn>
                  <a:cxn ang="0">
                    <a:pos x="1" y="0"/>
                  </a:cxn>
                  <a:cxn ang="0">
                    <a:pos x="3" y="1"/>
                  </a:cxn>
                  <a:cxn ang="0">
                    <a:pos x="3" y="3"/>
                  </a:cxn>
                  <a:cxn ang="0">
                    <a:pos x="1" y="4"/>
                  </a:cxn>
                  <a:cxn ang="0">
                    <a:pos x="1" y="4"/>
                  </a:cxn>
                  <a:cxn ang="0">
                    <a:pos x="0" y="3"/>
                  </a:cxn>
                  <a:cxn ang="0">
                    <a:pos x="0" y="1"/>
                  </a:cxn>
                  <a:cxn ang="0">
                    <a:pos x="0" y="1"/>
                  </a:cxn>
                </a:cxnLst>
                <a:rect l="0" t="0" r="r" b="b"/>
                <a:pathLst>
                  <a:path w="3" h="4">
                    <a:moveTo>
                      <a:pt x="0" y="1"/>
                    </a:moveTo>
                    <a:lnTo>
                      <a:pt x="1" y="0"/>
                    </a:lnTo>
                    <a:lnTo>
                      <a:pt x="3" y="1"/>
                    </a:lnTo>
                    <a:lnTo>
                      <a:pt x="3" y="3"/>
                    </a:lnTo>
                    <a:lnTo>
                      <a:pt x="1" y="4"/>
                    </a:lnTo>
                    <a:lnTo>
                      <a:pt x="1" y="4"/>
                    </a:lnTo>
                    <a:lnTo>
                      <a:pt x="0" y="3"/>
                    </a:lnTo>
                    <a:lnTo>
                      <a:pt x="0" y="1"/>
                    </a:lnTo>
                    <a:lnTo>
                      <a:pt x="0"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51" name="Freeform 1437"/>
              <p:cNvSpPr>
                <a:spLocks/>
              </p:cNvSpPr>
              <p:nvPr/>
            </p:nvSpPr>
            <p:spPr bwMode="auto">
              <a:xfrm>
                <a:off x="5820517" y="3033262"/>
                <a:ext cx="2634" cy="4056"/>
              </a:xfrm>
              <a:custGeom>
                <a:avLst/>
                <a:gdLst/>
                <a:ahLst/>
                <a:cxnLst>
                  <a:cxn ang="0">
                    <a:pos x="0" y="1"/>
                  </a:cxn>
                  <a:cxn ang="0">
                    <a:pos x="1" y="0"/>
                  </a:cxn>
                  <a:cxn ang="0">
                    <a:pos x="3" y="1"/>
                  </a:cxn>
                  <a:cxn ang="0">
                    <a:pos x="3" y="3"/>
                  </a:cxn>
                  <a:cxn ang="0">
                    <a:pos x="1" y="4"/>
                  </a:cxn>
                  <a:cxn ang="0">
                    <a:pos x="1" y="4"/>
                  </a:cxn>
                  <a:cxn ang="0">
                    <a:pos x="0" y="3"/>
                  </a:cxn>
                  <a:cxn ang="0">
                    <a:pos x="0" y="1"/>
                  </a:cxn>
                  <a:cxn ang="0">
                    <a:pos x="0" y="1"/>
                  </a:cxn>
                </a:cxnLst>
                <a:rect l="0" t="0" r="r" b="b"/>
                <a:pathLst>
                  <a:path w="3" h="4">
                    <a:moveTo>
                      <a:pt x="0" y="1"/>
                    </a:moveTo>
                    <a:lnTo>
                      <a:pt x="1" y="0"/>
                    </a:lnTo>
                    <a:lnTo>
                      <a:pt x="3" y="1"/>
                    </a:lnTo>
                    <a:lnTo>
                      <a:pt x="3" y="3"/>
                    </a:lnTo>
                    <a:lnTo>
                      <a:pt x="1" y="4"/>
                    </a:lnTo>
                    <a:lnTo>
                      <a:pt x="1" y="4"/>
                    </a:lnTo>
                    <a:lnTo>
                      <a:pt x="0" y="3"/>
                    </a:lnTo>
                    <a:lnTo>
                      <a:pt x="0" y="1"/>
                    </a:lnTo>
                    <a:lnTo>
                      <a:pt x="0"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52" name="Freeform 1438"/>
              <p:cNvSpPr>
                <a:spLocks/>
              </p:cNvSpPr>
              <p:nvPr/>
            </p:nvSpPr>
            <p:spPr bwMode="auto">
              <a:xfrm>
                <a:off x="5809106" y="3046445"/>
                <a:ext cx="5267" cy="7099"/>
              </a:xfrm>
              <a:custGeom>
                <a:avLst/>
                <a:gdLst/>
                <a:ahLst/>
                <a:cxnLst>
                  <a:cxn ang="0">
                    <a:pos x="0" y="0"/>
                  </a:cxn>
                  <a:cxn ang="0">
                    <a:pos x="0" y="0"/>
                  </a:cxn>
                  <a:cxn ang="0">
                    <a:pos x="0" y="6"/>
                  </a:cxn>
                  <a:cxn ang="0">
                    <a:pos x="2" y="6"/>
                  </a:cxn>
                  <a:cxn ang="0">
                    <a:pos x="5" y="6"/>
                  </a:cxn>
                  <a:cxn ang="0">
                    <a:pos x="5" y="4"/>
                  </a:cxn>
                  <a:cxn ang="0">
                    <a:pos x="2" y="2"/>
                  </a:cxn>
                  <a:cxn ang="0">
                    <a:pos x="0" y="0"/>
                  </a:cxn>
                </a:cxnLst>
                <a:rect l="0" t="0" r="r" b="b"/>
                <a:pathLst>
                  <a:path w="5" h="6">
                    <a:moveTo>
                      <a:pt x="0" y="0"/>
                    </a:moveTo>
                    <a:lnTo>
                      <a:pt x="0" y="0"/>
                    </a:lnTo>
                    <a:lnTo>
                      <a:pt x="0" y="6"/>
                    </a:lnTo>
                    <a:lnTo>
                      <a:pt x="2" y="6"/>
                    </a:lnTo>
                    <a:lnTo>
                      <a:pt x="5" y="6"/>
                    </a:lnTo>
                    <a:lnTo>
                      <a:pt x="5" y="4"/>
                    </a:lnTo>
                    <a:lnTo>
                      <a:pt x="2" y="2"/>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53" name="Freeform 1439"/>
              <p:cNvSpPr>
                <a:spLocks/>
              </p:cNvSpPr>
              <p:nvPr/>
            </p:nvSpPr>
            <p:spPr bwMode="auto">
              <a:xfrm>
                <a:off x="5809106" y="3046445"/>
                <a:ext cx="5267" cy="7099"/>
              </a:xfrm>
              <a:custGeom>
                <a:avLst/>
                <a:gdLst/>
                <a:ahLst/>
                <a:cxnLst>
                  <a:cxn ang="0">
                    <a:pos x="0" y="0"/>
                  </a:cxn>
                  <a:cxn ang="0">
                    <a:pos x="0" y="0"/>
                  </a:cxn>
                  <a:cxn ang="0">
                    <a:pos x="0" y="6"/>
                  </a:cxn>
                  <a:cxn ang="0">
                    <a:pos x="2" y="6"/>
                  </a:cxn>
                  <a:cxn ang="0">
                    <a:pos x="5" y="6"/>
                  </a:cxn>
                  <a:cxn ang="0">
                    <a:pos x="5" y="4"/>
                  </a:cxn>
                  <a:cxn ang="0">
                    <a:pos x="2" y="2"/>
                  </a:cxn>
                  <a:cxn ang="0">
                    <a:pos x="0" y="0"/>
                  </a:cxn>
                </a:cxnLst>
                <a:rect l="0" t="0" r="r" b="b"/>
                <a:pathLst>
                  <a:path w="5" h="6">
                    <a:moveTo>
                      <a:pt x="0" y="0"/>
                    </a:moveTo>
                    <a:lnTo>
                      <a:pt x="0" y="0"/>
                    </a:lnTo>
                    <a:lnTo>
                      <a:pt x="0" y="6"/>
                    </a:lnTo>
                    <a:lnTo>
                      <a:pt x="2" y="6"/>
                    </a:lnTo>
                    <a:lnTo>
                      <a:pt x="5" y="6"/>
                    </a:lnTo>
                    <a:lnTo>
                      <a:pt x="5" y="4"/>
                    </a:lnTo>
                    <a:lnTo>
                      <a:pt x="2" y="2"/>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54" name="Freeform 1440"/>
              <p:cNvSpPr>
                <a:spLocks/>
              </p:cNvSpPr>
              <p:nvPr/>
            </p:nvSpPr>
            <p:spPr bwMode="auto">
              <a:xfrm>
                <a:off x="5800328" y="3053545"/>
                <a:ext cx="1756" cy="1014"/>
              </a:xfrm>
              <a:custGeom>
                <a:avLst/>
                <a:gdLst/>
                <a:ahLst/>
                <a:cxnLst>
                  <a:cxn ang="0">
                    <a:pos x="2" y="0"/>
                  </a:cxn>
                  <a:cxn ang="0">
                    <a:pos x="0" y="0"/>
                  </a:cxn>
                  <a:cxn ang="0">
                    <a:pos x="0" y="1"/>
                  </a:cxn>
                  <a:cxn ang="0">
                    <a:pos x="0" y="1"/>
                  </a:cxn>
                  <a:cxn ang="0">
                    <a:pos x="2" y="1"/>
                  </a:cxn>
                  <a:cxn ang="0">
                    <a:pos x="2" y="1"/>
                  </a:cxn>
                  <a:cxn ang="0">
                    <a:pos x="2" y="0"/>
                  </a:cxn>
                </a:cxnLst>
                <a:rect l="0" t="0" r="r" b="b"/>
                <a:pathLst>
                  <a:path w="2" h="1">
                    <a:moveTo>
                      <a:pt x="2" y="0"/>
                    </a:moveTo>
                    <a:lnTo>
                      <a:pt x="0" y="0"/>
                    </a:lnTo>
                    <a:lnTo>
                      <a:pt x="0" y="1"/>
                    </a:lnTo>
                    <a:lnTo>
                      <a:pt x="0" y="1"/>
                    </a:lnTo>
                    <a:lnTo>
                      <a:pt x="2" y="1"/>
                    </a:lnTo>
                    <a:lnTo>
                      <a:pt x="2" y="1"/>
                    </a:lnTo>
                    <a:lnTo>
                      <a:pt x="2"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55" name="Freeform 1441"/>
              <p:cNvSpPr>
                <a:spLocks/>
              </p:cNvSpPr>
              <p:nvPr/>
            </p:nvSpPr>
            <p:spPr bwMode="auto">
              <a:xfrm>
                <a:off x="5800328" y="3053545"/>
                <a:ext cx="1756" cy="1014"/>
              </a:xfrm>
              <a:custGeom>
                <a:avLst/>
                <a:gdLst/>
                <a:ahLst/>
                <a:cxnLst>
                  <a:cxn ang="0">
                    <a:pos x="2" y="0"/>
                  </a:cxn>
                  <a:cxn ang="0">
                    <a:pos x="0" y="0"/>
                  </a:cxn>
                  <a:cxn ang="0">
                    <a:pos x="0" y="1"/>
                  </a:cxn>
                  <a:cxn ang="0">
                    <a:pos x="0" y="1"/>
                  </a:cxn>
                  <a:cxn ang="0">
                    <a:pos x="2" y="1"/>
                  </a:cxn>
                  <a:cxn ang="0">
                    <a:pos x="2" y="1"/>
                  </a:cxn>
                  <a:cxn ang="0">
                    <a:pos x="2" y="0"/>
                  </a:cxn>
                </a:cxnLst>
                <a:rect l="0" t="0" r="r" b="b"/>
                <a:pathLst>
                  <a:path w="2" h="1">
                    <a:moveTo>
                      <a:pt x="2" y="0"/>
                    </a:moveTo>
                    <a:lnTo>
                      <a:pt x="0" y="0"/>
                    </a:lnTo>
                    <a:lnTo>
                      <a:pt x="0" y="1"/>
                    </a:lnTo>
                    <a:lnTo>
                      <a:pt x="0" y="1"/>
                    </a:lnTo>
                    <a:lnTo>
                      <a:pt x="2" y="1"/>
                    </a:lnTo>
                    <a:lnTo>
                      <a:pt x="2" y="1"/>
                    </a:lnTo>
                    <a:lnTo>
                      <a:pt x="2"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56" name="Freeform 1442"/>
              <p:cNvSpPr>
                <a:spLocks/>
              </p:cNvSpPr>
              <p:nvPr/>
            </p:nvSpPr>
            <p:spPr bwMode="auto">
              <a:xfrm>
                <a:off x="6294529" y="2489687"/>
                <a:ext cx="41257" cy="33466"/>
              </a:xfrm>
              <a:custGeom>
                <a:avLst/>
                <a:gdLst/>
                <a:ahLst/>
                <a:cxnLst>
                  <a:cxn ang="0">
                    <a:pos x="35" y="0"/>
                  </a:cxn>
                  <a:cxn ang="0">
                    <a:pos x="29" y="2"/>
                  </a:cxn>
                  <a:cxn ang="0">
                    <a:pos x="27" y="5"/>
                  </a:cxn>
                  <a:cxn ang="0">
                    <a:pos x="19" y="5"/>
                  </a:cxn>
                  <a:cxn ang="0">
                    <a:pos x="14" y="9"/>
                  </a:cxn>
                  <a:cxn ang="0">
                    <a:pos x="0" y="11"/>
                  </a:cxn>
                  <a:cxn ang="0">
                    <a:pos x="0" y="13"/>
                  </a:cxn>
                  <a:cxn ang="0">
                    <a:pos x="1" y="13"/>
                  </a:cxn>
                  <a:cxn ang="0">
                    <a:pos x="1" y="19"/>
                  </a:cxn>
                  <a:cxn ang="0">
                    <a:pos x="3" y="22"/>
                  </a:cxn>
                  <a:cxn ang="0">
                    <a:pos x="4" y="24"/>
                  </a:cxn>
                  <a:cxn ang="0">
                    <a:pos x="6" y="25"/>
                  </a:cxn>
                  <a:cxn ang="0">
                    <a:pos x="6" y="28"/>
                  </a:cxn>
                  <a:cxn ang="0">
                    <a:pos x="3" y="28"/>
                  </a:cxn>
                  <a:cxn ang="0">
                    <a:pos x="3" y="29"/>
                  </a:cxn>
                  <a:cxn ang="0">
                    <a:pos x="7" y="28"/>
                  </a:cxn>
                  <a:cxn ang="0">
                    <a:pos x="13" y="29"/>
                  </a:cxn>
                  <a:cxn ang="0">
                    <a:pos x="16" y="27"/>
                  </a:cxn>
                  <a:cxn ang="0">
                    <a:pos x="20" y="31"/>
                  </a:cxn>
                  <a:cxn ang="0">
                    <a:pos x="20" y="29"/>
                  </a:cxn>
                  <a:cxn ang="0">
                    <a:pos x="22" y="31"/>
                  </a:cxn>
                  <a:cxn ang="0">
                    <a:pos x="24" y="32"/>
                  </a:cxn>
                  <a:cxn ang="0">
                    <a:pos x="24" y="28"/>
                  </a:cxn>
                  <a:cxn ang="0">
                    <a:pos x="24" y="25"/>
                  </a:cxn>
                  <a:cxn ang="0">
                    <a:pos x="30" y="22"/>
                  </a:cxn>
                  <a:cxn ang="0">
                    <a:pos x="32" y="18"/>
                  </a:cxn>
                  <a:cxn ang="0">
                    <a:pos x="30" y="15"/>
                  </a:cxn>
                  <a:cxn ang="0">
                    <a:pos x="36" y="12"/>
                  </a:cxn>
                  <a:cxn ang="0">
                    <a:pos x="36" y="11"/>
                  </a:cxn>
                  <a:cxn ang="0">
                    <a:pos x="39" y="11"/>
                  </a:cxn>
                  <a:cxn ang="0">
                    <a:pos x="39" y="8"/>
                  </a:cxn>
                  <a:cxn ang="0">
                    <a:pos x="40" y="6"/>
                  </a:cxn>
                  <a:cxn ang="0">
                    <a:pos x="43" y="8"/>
                  </a:cxn>
                  <a:cxn ang="0">
                    <a:pos x="45" y="8"/>
                  </a:cxn>
                  <a:cxn ang="0">
                    <a:pos x="39" y="0"/>
                  </a:cxn>
                </a:cxnLst>
                <a:rect l="0" t="0" r="r" b="b"/>
                <a:pathLst>
                  <a:path w="45" h="32">
                    <a:moveTo>
                      <a:pt x="36" y="0"/>
                    </a:moveTo>
                    <a:lnTo>
                      <a:pt x="35" y="0"/>
                    </a:lnTo>
                    <a:lnTo>
                      <a:pt x="35" y="3"/>
                    </a:lnTo>
                    <a:lnTo>
                      <a:pt x="29" y="2"/>
                    </a:lnTo>
                    <a:lnTo>
                      <a:pt x="29" y="3"/>
                    </a:lnTo>
                    <a:lnTo>
                      <a:pt x="27" y="5"/>
                    </a:lnTo>
                    <a:lnTo>
                      <a:pt x="22" y="3"/>
                    </a:lnTo>
                    <a:lnTo>
                      <a:pt x="19" y="5"/>
                    </a:lnTo>
                    <a:lnTo>
                      <a:pt x="17" y="8"/>
                    </a:lnTo>
                    <a:lnTo>
                      <a:pt x="14" y="9"/>
                    </a:lnTo>
                    <a:lnTo>
                      <a:pt x="3" y="8"/>
                    </a:lnTo>
                    <a:lnTo>
                      <a:pt x="0" y="11"/>
                    </a:lnTo>
                    <a:lnTo>
                      <a:pt x="0" y="12"/>
                    </a:lnTo>
                    <a:lnTo>
                      <a:pt x="0" y="13"/>
                    </a:lnTo>
                    <a:lnTo>
                      <a:pt x="0" y="13"/>
                    </a:lnTo>
                    <a:lnTo>
                      <a:pt x="1" y="13"/>
                    </a:lnTo>
                    <a:lnTo>
                      <a:pt x="0" y="18"/>
                    </a:lnTo>
                    <a:lnTo>
                      <a:pt x="1" y="19"/>
                    </a:lnTo>
                    <a:lnTo>
                      <a:pt x="1" y="21"/>
                    </a:lnTo>
                    <a:lnTo>
                      <a:pt x="3" y="22"/>
                    </a:lnTo>
                    <a:lnTo>
                      <a:pt x="4" y="22"/>
                    </a:lnTo>
                    <a:lnTo>
                      <a:pt x="4" y="24"/>
                    </a:lnTo>
                    <a:lnTo>
                      <a:pt x="6" y="25"/>
                    </a:lnTo>
                    <a:lnTo>
                      <a:pt x="6" y="25"/>
                    </a:lnTo>
                    <a:lnTo>
                      <a:pt x="6" y="27"/>
                    </a:lnTo>
                    <a:lnTo>
                      <a:pt x="6" y="28"/>
                    </a:lnTo>
                    <a:lnTo>
                      <a:pt x="4" y="28"/>
                    </a:lnTo>
                    <a:lnTo>
                      <a:pt x="3" y="28"/>
                    </a:lnTo>
                    <a:lnTo>
                      <a:pt x="1" y="28"/>
                    </a:lnTo>
                    <a:lnTo>
                      <a:pt x="3" y="29"/>
                    </a:lnTo>
                    <a:lnTo>
                      <a:pt x="7" y="29"/>
                    </a:lnTo>
                    <a:lnTo>
                      <a:pt x="7" y="28"/>
                    </a:lnTo>
                    <a:lnTo>
                      <a:pt x="9" y="29"/>
                    </a:lnTo>
                    <a:lnTo>
                      <a:pt x="13" y="29"/>
                    </a:lnTo>
                    <a:lnTo>
                      <a:pt x="14" y="25"/>
                    </a:lnTo>
                    <a:lnTo>
                      <a:pt x="16" y="27"/>
                    </a:lnTo>
                    <a:lnTo>
                      <a:pt x="19" y="31"/>
                    </a:lnTo>
                    <a:lnTo>
                      <a:pt x="20" y="31"/>
                    </a:lnTo>
                    <a:lnTo>
                      <a:pt x="20" y="29"/>
                    </a:lnTo>
                    <a:lnTo>
                      <a:pt x="20" y="29"/>
                    </a:lnTo>
                    <a:lnTo>
                      <a:pt x="20" y="31"/>
                    </a:lnTo>
                    <a:lnTo>
                      <a:pt x="22" y="31"/>
                    </a:lnTo>
                    <a:lnTo>
                      <a:pt x="23" y="32"/>
                    </a:lnTo>
                    <a:lnTo>
                      <a:pt x="24" y="32"/>
                    </a:lnTo>
                    <a:lnTo>
                      <a:pt x="26" y="31"/>
                    </a:lnTo>
                    <a:lnTo>
                      <a:pt x="24" y="28"/>
                    </a:lnTo>
                    <a:lnTo>
                      <a:pt x="26" y="27"/>
                    </a:lnTo>
                    <a:lnTo>
                      <a:pt x="24" y="25"/>
                    </a:lnTo>
                    <a:lnTo>
                      <a:pt x="27" y="22"/>
                    </a:lnTo>
                    <a:lnTo>
                      <a:pt x="30" y="22"/>
                    </a:lnTo>
                    <a:lnTo>
                      <a:pt x="32" y="21"/>
                    </a:lnTo>
                    <a:lnTo>
                      <a:pt x="32" y="18"/>
                    </a:lnTo>
                    <a:lnTo>
                      <a:pt x="30" y="16"/>
                    </a:lnTo>
                    <a:lnTo>
                      <a:pt x="30" y="15"/>
                    </a:lnTo>
                    <a:lnTo>
                      <a:pt x="30" y="13"/>
                    </a:lnTo>
                    <a:lnTo>
                      <a:pt x="36" y="12"/>
                    </a:lnTo>
                    <a:lnTo>
                      <a:pt x="36" y="11"/>
                    </a:lnTo>
                    <a:lnTo>
                      <a:pt x="36" y="11"/>
                    </a:lnTo>
                    <a:lnTo>
                      <a:pt x="39" y="11"/>
                    </a:lnTo>
                    <a:lnTo>
                      <a:pt x="39" y="11"/>
                    </a:lnTo>
                    <a:lnTo>
                      <a:pt x="39" y="11"/>
                    </a:lnTo>
                    <a:lnTo>
                      <a:pt x="39" y="8"/>
                    </a:lnTo>
                    <a:lnTo>
                      <a:pt x="39" y="8"/>
                    </a:lnTo>
                    <a:lnTo>
                      <a:pt x="40" y="6"/>
                    </a:lnTo>
                    <a:lnTo>
                      <a:pt x="40" y="6"/>
                    </a:lnTo>
                    <a:lnTo>
                      <a:pt x="43" y="8"/>
                    </a:lnTo>
                    <a:lnTo>
                      <a:pt x="43" y="8"/>
                    </a:lnTo>
                    <a:lnTo>
                      <a:pt x="45" y="8"/>
                    </a:lnTo>
                    <a:lnTo>
                      <a:pt x="40" y="0"/>
                    </a:lnTo>
                    <a:lnTo>
                      <a:pt x="39" y="0"/>
                    </a:lnTo>
                    <a:lnTo>
                      <a:pt x="36"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57" name="Freeform 1443"/>
              <p:cNvSpPr>
                <a:spLocks/>
              </p:cNvSpPr>
              <p:nvPr/>
            </p:nvSpPr>
            <p:spPr bwMode="auto">
              <a:xfrm>
                <a:off x="6294529" y="2489687"/>
                <a:ext cx="41257" cy="33466"/>
              </a:xfrm>
              <a:custGeom>
                <a:avLst/>
                <a:gdLst/>
                <a:ahLst/>
                <a:cxnLst>
                  <a:cxn ang="0">
                    <a:pos x="35" y="0"/>
                  </a:cxn>
                  <a:cxn ang="0">
                    <a:pos x="29" y="2"/>
                  </a:cxn>
                  <a:cxn ang="0">
                    <a:pos x="27" y="5"/>
                  </a:cxn>
                  <a:cxn ang="0">
                    <a:pos x="19" y="5"/>
                  </a:cxn>
                  <a:cxn ang="0">
                    <a:pos x="14" y="9"/>
                  </a:cxn>
                  <a:cxn ang="0">
                    <a:pos x="0" y="11"/>
                  </a:cxn>
                  <a:cxn ang="0">
                    <a:pos x="0" y="13"/>
                  </a:cxn>
                  <a:cxn ang="0">
                    <a:pos x="1" y="13"/>
                  </a:cxn>
                  <a:cxn ang="0">
                    <a:pos x="1" y="19"/>
                  </a:cxn>
                  <a:cxn ang="0">
                    <a:pos x="3" y="22"/>
                  </a:cxn>
                  <a:cxn ang="0">
                    <a:pos x="4" y="24"/>
                  </a:cxn>
                  <a:cxn ang="0">
                    <a:pos x="6" y="25"/>
                  </a:cxn>
                  <a:cxn ang="0">
                    <a:pos x="6" y="28"/>
                  </a:cxn>
                  <a:cxn ang="0">
                    <a:pos x="3" y="28"/>
                  </a:cxn>
                  <a:cxn ang="0">
                    <a:pos x="3" y="29"/>
                  </a:cxn>
                  <a:cxn ang="0">
                    <a:pos x="7" y="28"/>
                  </a:cxn>
                  <a:cxn ang="0">
                    <a:pos x="13" y="29"/>
                  </a:cxn>
                  <a:cxn ang="0">
                    <a:pos x="16" y="27"/>
                  </a:cxn>
                  <a:cxn ang="0">
                    <a:pos x="20" y="31"/>
                  </a:cxn>
                  <a:cxn ang="0">
                    <a:pos x="20" y="29"/>
                  </a:cxn>
                  <a:cxn ang="0">
                    <a:pos x="22" y="31"/>
                  </a:cxn>
                  <a:cxn ang="0">
                    <a:pos x="24" y="32"/>
                  </a:cxn>
                  <a:cxn ang="0">
                    <a:pos x="24" y="28"/>
                  </a:cxn>
                  <a:cxn ang="0">
                    <a:pos x="24" y="25"/>
                  </a:cxn>
                  <a:cxn ang="0">
                    <a:pos x="30" y="22"/>
                  </a:cxn>
                  <a:cxn ang="0">
                    <a:pos x="32" y="18"/>
                  </a:cxn>
                  <a:cxn ang="0">
                    <a:pos x="30" y="15"/>
                  </a:cxn>
                  <a:cxn ang="0">
                    <a:pos x="36" y="12"/>
                  </a:cxn>
                  <a:cxn ang="0">
                    <a:pos x="36" y="11"/>
                  </a:cxn>
                  <a:cxn ang="0">
                    <a:pos x="39" y="11"/>
                  </a:cxn>
                  <a:cxn ang="0">
                    <a:pos x="39" y="8"/>
                  </a:cxn>
                  <a:cxn ang="0">
                    <a:pos x="40" y="6"/>
                  </a:cxn>
                  <a:cxn ang="0">
                    <a:pos x="43" y="8"/>
                  </a:cxn>
                  <a:cxn ang="0">
                    <a:pos x="45" y="8"/>
                  </a:cxn>
                  <a:cxn ang="0">
                    <a:pos x="39" y="0"/>
                  </a:cxn>
                </a:cxnLst>
                <a:rect l="0" t="0" r="r" b="b"/>
                <a:pathLst>
                  <a:path w="45" h="32">
                    <a:moveTo>
                      <a:pt x="36" y="0"/>
                    </a:moveTo>
                    <a:lnTo>
                      <a:pt x="35" y="0"/>
                    </a:lnTo>
                    <a:lnTo>
                      <a:pt x="35" y="3"/>
                    </a:lnTo>
                    <a:lnTo>
                      <a:pt x="29" y="2"/>
                    </a:lnTo>
                    <a:lnTo>
                      <a:pt x="29" y="3"/>
                    </a:lnTo>
                    <a:lnTo>
                      <a:pt x="27" y="5"/>
                    </a:lnTo>
                    <a:lnTo>
                      <a:pt x="22" y="3"/>
                    </a:lnTo>
                    <a:lnTo>
                      <a:pt x="19" y="5"/>
                    </a:lnTo>
                    <a:lnTo>
                      <a:pt x="17" y="8"/>
                    </a:lnTo>
                    <a:lnTo>
                      <a:pt x="14" y="9"/>
                    </a:lnTo>
                    <a:lnTo>
                      <a:pt x="3" y="8"/>
                    </a:lnTo>
                    <a:lnTo>
                      <a:pt x="0" y="11"/>
                    </a:lnTo>
                    <a:lnTo>
                      <a:pt x="0" y="12"/>
                    </a:lnTo>
                    <a:lnTo>
                      <a:pt x="0" y="13"/>
                    </a:lnTo>
                    <a:lnTo>
                      <a:pt x="0" y="13"/>
                    </a:lnTo>
                    <a:lnTo>
                      <a:pt x="1" y="13"/>
                    </a:lnTo>
                    <a:lnTo>
                      <a:pt x="0" y="18"/>
                    </a:lnTo>
                    <a:lnTo>
                      <a:pt x="1" y="19"/>
                    </a:lnTo>
                    <a:lnTo>
                      <a:pt x="1" y="21"/>
                    </a:lnTo>
                    <a:lnTo>
                      <a:pt x="3" y="22"/>
                    </a:lnTo>
                    <a:lnTo>
                      <a:pt x="4" y="22"/>
                    </a:lnTo>
                    <a:lnTo>
                      <a:pt x="4" y="24"/>
                    </a:lnTo>
                    <a:lnTo>
                      <a:pt x="6" y="25"/>
                    </a:lnTo>
                    <a:lnTo>
                      <a:pt x="6" y="25"/>
                    </a:lnTo>
                    <a:lnTo>
                      <a:pt x="6" y="27"/>
                    </a:lnTo>
                    <a:lnTo>
                      <a:pt x="6" y="28"/>
                    </a:lnTo>
                    <a:lnTo>
                      <a:pt x="4" y="28"/>
                    </a:lnTo>
                    <a:lnTo>
                      <a:pt x="3" y="28"/>
                    </a:lnTo>
                    <a:lnTo>
                      <a:pt x="1" y="28"/>
                    </a:lnTo>
                    <a:lnTo>
                      <a:pt x="3" y="29"/>
                    </a:lnTo>
                    <a:lnTo>
                      <a:pt x="7" y="29"/>
                    </a:lnTo>
                    <a:lnTo>
                      <a:pt x="7" y="28"/>
                    </a:lnTo>
                    <a:lnTo>
                      <a:pt x="9" y="29"/>
                    </a:lnTo>
                    <a:lnTo>
                      <a:pt x="13" y="29"/>
                    </a:lnTo>
                    <a:lnTo>
                      <a:pt x="14" y="25"/>
                    </a:lnTo>
                    <a:lnTo>
                      <a:pt x="16" y="27"/>
                    </a:lnTo>
                    <a:lnTo>
                      <a:pt x="19" y="31"/>
                    </a:lnTo>
                    <a:lnTo>
                      <a:pt x="20" y="31"/>
                    </a:lnTo>
                    <a:lnTo>
                      <a:pt x="20" y="29"/>
                    </a:lnTo>
                    <a:lnTo>
                      <a:pt x="20" y="29"/>
                    </a:lnTo>
                    <a:lnTo>
                      <a:pt x="20" y="31"/>
                    </a:lnTo>
                    <a:lnTo>
                      <a:pt x="22" y="31"/>
                    </a:lnTo>
                    <a:lnTo>
                      <a:pt x="23" y="32"/>
                    </a:lnTo>
                    <a:lnTo>
                      <a:pt x="24" y="32"/>
                    </a:lnTo>
                    <a:lnTo>
                      <a:pt x="26" y="31"/>
                    </a:lnTo>
                    <a:lnTo>
                      <a:pt x="24" y="28"/>
                    </a:lnTo>
                    <a:lnTo>
                      <a:pt x="26" y="27"/>
                    </a:lnTo>
                    <a:lnTo>
                      <a:pt x="24" y="25"/>
                    </a:lnTo>
                    <a:lnTo>
                      <a:pt x="27" y="22"/>
                    </a:lnTo>
                    <a:lnTo>
                      <a:pt x="30" y="22"/>
                    </a:lnTo>
                    <a:lnTo>
                      <a:pt x="32" y="21"/>
                    </a:lnTo>
                    <a:lnTo>
                      <a:pt x="32" y="18"/>
                    </a:lnTo>
                    <a:lnTo>
                      <a:pt x="30" y="16"/>
                    </a:lnTo>
                    <a:lnTo>
                      <a:pt x="30" y="15"/>
                    </a:lnTo>
                    <a:lnTo>
                      <a:pt x="30" y="13"/>
                    </a:lnTo>
                    <a:lnTo>
                      <a:pt x="36" y="12"/>
                    </a:lnTo>
                    <a:lnTo>
                      <a:pt x="36" y="11"/>
                    </a:lnTo>
                    <a:lnTo>
                      <a:pt x="36" y="11"/>
                    </a:lnTo>
                    <a:lnTo>
                      <a:pt x="39" y="11"/>
                    </a:lnTo>
                    <a:lnTo>
                      <a:pt x="39" y="11"/>
                    </a:lnTo>
                    <a:lnTo>
                      <a:pt x="39" y="11"/>
                    </a:lnTo>
                    <a:lnTo>
                      <a:pt x="39" y="8"/>
                    </a:lnTo>
                    <a:lnTo>
                      <a:pt x="39" y="8"/>
                    </a:lnTo>
                    <a:lnTo>
                      <a:pt x="40" y="6"/>
                    </a:lnTo>
                    <a:lnTo>
                      <a:pt x="40" y="6"/>
                    </a:lnTo>
                    <a:lnTo>
                      <a:pt x="43" y="8"/>
                    </a:lnTo>
                    <a:lnTo>
                      <a:pt x="43" y="8"/>
                    </a:lnTo>
                    <a:lnTo>
                      <a:pt x="45" y="8"/>
                    </a:lnTo>
                    <a:lnTo>
                      <a:pt x="40" y="0"/>
                    </a:lnTo>
                    <a:lnTo>
                      <a:pt x="39" y="0"/>
                    </a:lnTo>
                    <a:lnTo>
                      <a:pt x="36" y="0"/>
                    </a:lnTo>
                  </a:path>
                </a:pathLst>
              </a:custGeom>
              <a:solidFill>
                <a:srgbClr val="29CCFF"/>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58" name="Freeform 1444"/>
              <p:cNvSpPr>
                <a:spLocks/>
              </p:cNvSpPr>
              <p:nvPr/>
            </p:nvSpPr>
            <p:spPr bwMode="auto">
              <a:xfrm>
                <a:off x="6386698" y="2582987"/>
                <a:ext cx="31601" cy="29409"/>
              </a:xfrm>
              <a:custGeom>
                <a:avLst/>
                <a:gdLst/>
                <a:ahLst/>
                <a:cxnLst>
                  <a:cxn ang="0">
                    <a:pos x="7" y="28"/>
                  </a:cxn>
                  <a:cxn ang="0">
                    <a:pos x="3" y="24"/>
                  </a:cxn>
                  <a:cxn ang="0">
                    <a:pos x="0" y="19"/>
                  </a:cxn>
                  <a:cxn ang="0">
                    <a:pos x="1" y="5"/>
                  </a:cxn>
                  <a:cxn ang="0">
                    <a:pos x="3" y="6"/>
                  </a:cxn>
                  <a:cxn ang="0">
                    <a:pos x="3" y="6"/>
                  </a:cxn>
                  <a:cxn ang="0">
                    <a:pos x="4" y="5"/>
                  </a:cxn>
                  <a:cxn ang="0">
                    <a:pos x="4" y="3"/>
                  </a:cxn>
                  <a:cxn ang="0">
                    <a:pos x="9" y="2"/>
                  </a:cxn>
                  <a:cxn ang="0">
                    <a:pos x="10" y="2"/>
                  </a:cxn>
                  <a:cxn ang="0">
                    <a:pos x="12" y="3"/>
                  </a:cxn>
                  <a:cxn ang="0">
                    <a:pos x="12" y="3"/>
                  </a:cxn>
                  <a:cxn ang="0">
                    <a:pos x="12" y="2"/>
                  </a:cxn>
                  <a:cxn ang="0">
                    <a:pos x="15" y="0"/>
                  </a:cxn>
                  <a:cxn ang="0">
                    <a:pos x="19" y="2"/>
                  </a:cxn>
                  <a:cxn ang="0">
                    <a:pos x="19" y="0"/>
                  </a:cxn>
                  <a:cxn ang="0">
                    <a:pos x="23" y="2"/>
                  </a:cxn>
                  <a:cxn ang="0">
                    <a:pos x="26" y="0"/>
                  </a:cxn>
                  <a:cxn ang="0">
                    <a:pos x="28" y="2"/>
                  </a:cxn>
                  <a:cxn ang="0">
                    <a:pos x="33" y="6"/>
                  </a:cxn>
                  <a:cxn ang="0">
                    <a:pos x="35" y="19"/>
                  </a:cxn>
                  <a:cxn ang="0">
                    <a:pos x="33" y="19"/>
                  </a:cxn>
                  <a:cxn ang="0">
                    <a:pos x="29" y="22"/>
                  </a:cxn>
                  <a:cxn ang="0">
                    <a:pos x="25" y="22"/>
                  </a:cxn>
                  <a:cxn ang="0">
                    <a:pos x="19" y="25"/>
                  </a:cxn>
                  <a:cxn ang="0">
                    <a:pos x="16" y="28"/>
                  </a:cxn>
                  <a:cxn ang="0">
                    <a:pos x="7" y="28"/>
                  </a:cxn>
                </a:cxnLst>
                <a:rect l="0" t="0" r="r" b="b"/>
                <a:pathLst>
                  <a:path w="35" h="28">
                    <a:moveTo>
                      <a:pt x="7" y="28"/>
                    </a:moveTo>
                    <a:lnTo>
                      <a:pt x="3" y="24"/>
                    </a:lnTo>
                    <a:lnTo>
                      <a:pt x="0" y="19"/>
                    </a:lnTo>
                    <a:lnTo>
                      <a:pt x="1" y="5"/>
                    </a:lnTo>
                    <a:lnTo>
                      <a:pt x="3" y="6"/>
                    </a:lnTo>
                    <a:lnTo>
                      <a:pt x="3" y="6"/>
                    </a:lnTo>
                    <a:lnTo>
                      <a:pt x="4" y="5"/>
                    </a:lnTo>
                    <a:lnTo>
                      <a:pt x="4" y="3"/>
                    </a:lnTo>
                    <a:lnTo>
                      <a:pt x="9" y="2"/>
                    </a:lnTo>
                    <a:lnTo>
                      <a:pt x="10" y="2"/>
                    </a:lnTo>
                    <a:lnTo>
                      <a:pt x="12" y="3"/>
                    </a:lnTo>
                    <a:lnTo>
                      <a:pt x="12" y="3"/>
                    </a:lnTo>
                    <a:lnTo>
                      <a:pt x="12" y="2"/>
                    </a:lnTo>
                    <a:lnTo>
                      <a:pt x="15" y="0"/>
                    </a:lnTo>
                    <a:lnTo>
                      <a:pt x="19" y="2"/>
                    </a:lnTo>
                    <a:lnTo>
                      <a:pt x="19" y="0"/>
                    </a:lnTo>
                    <a:lnTo>
                      <a:pt x="23" y="2"/>
                    </a:lnTo>
                    <a:lnTo>
                      <a:pt x="26" y="0"/>
                    </a:lnTo>
                    <a:lnTo>
                      <a:pt x="28" y="2"/>
                    </a:lnTo>
                    <a:lnTo>
                      <a:pt x="33" y="6"/>
                    </a:lnTo>
                    <a:lnTo>
                      <a:pt x="35" y="19"/>
                    </a:lnTo>
                    <a:lnTo>
                      <a:pt x="33" y="19"/>
                    </a:lnTo>
                    <a:lnTo>
                      <a:pt x="29" y="22"/>
                    </a:lnTo>
                    <a:lnTo>
                      <a:pt x="25" y="22"/>
                    </a:lnTo>
                    <a:lnTo>
                      <a:pt x="19" y="25"/>
                    </a:lnTo>
                    <a:lnTo>
                      <a:pt x="16" y="28"/>
                    </a:lnTo>
                    <a:lnTo>
                      <a:pt x="7" y="28"/>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59" name="Freeform 1445"/>
              <p:cNvSpPr>
                <a:spLocks/>
              </p:cNvSpPr>
              <p:nvPr/>
            </p:nvSpPr>
            <p:spPr bwMode="auto">
              <a:xfrm>
                <a:off x="6386698" y="2582987"/>
                <a:ext cx="31601" cy="29409"/>
              </a:xfrm>
              <a:custGeom>
                <a:avLst/>
                <a:gdLst/>
                <a:ahLst/>
                <a:cxnLst>
                  <a:cxn ang="0">
                    <a:pos x="7" y="28"/>
                  </a:cxn>
                  <a:cxn ang="0">
                    <a:pos x="3" y="24"/>
                  </a:cxn>
                  <a:cxn ang="0">
                    <a:pos x="0" y="19"/>
                  </a:cxn>
                  <a:cxn ang="0">
                    <a:pos x="1" y="5"/>
                  </a:cxn>
                  <a:cxn ang="0">
                    <a:pos x="3" y="6"/>
                  </a:cxn>
                  <a:cxn ang="0">
                    <a:pos x="3" y="6"/>
                  </a:cxn>
                  <a:cxn ang="0">
                    <a:pos x="4" y="5"/>
                  </a:cxn>
                  <a:cxn ang="0">
                    <a:pos x="4" y="3"/>
                  </a:cxn>
                  <a:cxn ang="0">
                    <a:pos x="9" y="2"/>
                  </a:cxn>
                  <a:cxn ang="0">
                    <a:pos x="10" y="2"/>
                  </a:cxn>
                  <a:cxn ang="0">
                    <a:pos x="12" y="3"/>
                  </a:cxn>
                  <a:cxn ang="0">
                    <a:pos x="12" y="3"/>
                  </a:cxn>
                  <a:cxn ang="0">
                    <a:pos x="12" y="2"/>
                  </a:cxn>
                  <a:cxn ang="0">
                    <a:pos x="15" y="0"/>
                  </a:cxn>
                  <a:cxn ang="0">
                    <a:pos x="19" y="2"/>
                  </a:cxn>
                  <a:cxn ang="0">
                    <a:pos x="19" y="0"/>
                  </a:cxn>
                  <a:cxn ang="0">
                    <a:pos x="23" y="2"/>
                  </a:cxn>
                  <a:cxn ang="0">
                    <a:pos x="26" y="0"/>
                  </a:cxn>
                  <a:cxn ang="0">
                    <a:pos x="28" y="2"/>
                  </a:cxn>
                  <a:cxn ang="0">
                    <a:pos x="33" y="6"/>
                  </a:cxn>
                  <a:cxn ang="0">
                    <a:pos x="35" y="19"/>
                  </a:cxn>
                  <a:cxn ang="0">
                    <a:pos x="33" y="19"/>
                  </a:cxn>
                  <a:cxn ang="0">
                    <a:pos x="29" y="22"/>
                  </a:cxn>
                  <a:cxn ang="0">
                    <a:pos x="25" y="22"/>
                  </a:cxn>
                  <a:cxn ang="0">
                    <a:pos x="19" y="25"/>
                  </a:cxn>
                  <a:cxn ang="0">
                    <a:pos x="16" y="28"/>
                  </a:cxn>
                  <a:cxn ang="0">
                    <a:pos x="7" y="28"/>
                  </a:cxn>
                </a:cxnLst>
                <a:rect l="0" t="0" r="r" b="b"/>
                <a:pathLst>
                  <a:path w="35" h="28">
                    <a:moveTo>
                      <a:pt x="7" y="28"/>
                    </a:moveTo>
                    <a:lnTo>
                      <a:pt x="3" y="24"/>
                    </a:lnTo>
                    <a:lnTo>
                      <a:pt x="0" y="19"/>
                    </a:lnTo>
                    <a:lnTo>
                      <a:pt x="1" y="5"/>
                    </a:lnTo>
                    <a:lnTo>
                      <a:pt x="3" y="6"/>
                    </a:lnTo>
                    <a:lnTo>
                      <a:pt x="3" y="6"/>
                    </a:lnTo>
                    <a:lnTo>
                      <a:pt x="4" y="5"/>
                    </a:lnTo>
                    <a:lnTo>
                      <a:pt x="4" y="3"/>
                    </a:lnTo>
                    <a:lnTo>
                      <a:pt x="9" y="2"/>
                    </a:lnTo>
                    <a:lnTo>
                      <a:pt x="10" y="2"/>
                    </a:lnTo>
                    <a:lnTo>
                      <a:pt x="12" y="3"/>
                    </a:lnTo>
                    <a:lnTo>
                      <a:pt x="12" y="3"/>
                    </a:lnTo>
                    <a:lnTo>
                      <a:pt x="12" y="2"/>
                    </a:lnTo>
                    <a:lnTo>
                      <a:pt x="15" y="0"/>
                    </a:lnTo>
                    <a:lnTo>
                      <a:pt x="19" y="2"/>
                    </a:lnTo>
                    <a:lnTo>
                      <a:pt x="19" y="0"/>
                    </a:lnTo>
                    <a:lnTo>
                      <a:pt x="23" y="2"/>
                    </a:lnTo>
                    <a:lnTo>
                      <a:pt x="26" y="0"/>
                    </a:lnTo>
                    <a:lnTo>
                      <a:pt x="28" y="2"/>
                    </a:lnTo>
                    <a:lnTo>
                      <a:pt x="33" y="6"/>
                    </a:lnTo>
                    <a:lnTo>
                      <a:pt x="35" y="19"/>
                    </a:lnTo>
                    <a:lnTo>
                      <a:pt x="33" y="19"/>
                    </a:lnTo>
                    <a:lnTo>
                      <a:pt x="29" y="22"/>
                    </a:lnTo>
                    <a:lnTo>
                      <a:pt x="25" y="22"/>
                    </a:lnTo>
                    <a:lnTo>
                      <a:pt x="19" y="25"/>
                    </a:lnTo>
                    <a:lnTo>
                      <a:pt x="16" y="28"/>
                    </a:lnTo>
                    <a:lnTo>
                      <a:pt x="7" y="28"/>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60" name="Freeform 1446"/>
              <p:cNvSpPr>
                <a:spLocks/>
              </p:cNvSpPr>
              <p:nvPr/>
            </p:nvSpPr>
            <p:spPr bwMode="auto">
              <a:xfrm>
                <a:off x="7426014" y="2933877"/>
                <a:ext cx="94802" cy="132851"/>
              </a:xfrm>
              <a:custGeom>
                <a:avLst/>
                <a:gdLst/>
                <a:ahLst/>
                <a:cxnLst>
                  <a:cxn ang="0">
                    <a:pos x="39" y="16"/>
                  </a:cxn>
                  <a:cxn ang="0">
                    <a:pos x="39" y="22"/>
                  </a:cxn>
                  <a:cxn ang="0">
                    <a:pos x="48" y="26"/>
                  </a:cxn>
                  <a:cxn ang="0">
                    <a:pos x="57" y="25"/>
                  </a:cxn>
                  <a:cxn ang="0">
                    <a:pos x="61" y="32"/>
                  </a:cxn>
                  <a:cxn ang="0">
                    <a:pos x="64" y="36"/>
                  </a:cxn>
                  <a:cxn ang="0">
                    <a:pos x="65" y="39"/>
                  </a:cxn>
                  <a:cxn ang="0">
                    <a:pos x="57" y="44"/>
                  </a:cxn>
                  <a:cxn ang="0">
                    <a:pos x="54" y="45"/>
                  </a:cxn>
                  <a:cxn ang="0">
                    <a:pos x="54" y="50"/>
                  </a:cxn>
                  <a:cxn ang="0">
                    <a:pos x="70" y="63"/>
                  </a:cxn>
                  <a:cxn ang="0">
                    <a:pos x="77" y="71"/>
                  </a:cxn>
                  <a:cxn ang="0">
                    <a:pos x="83" y="76"/>
                  </a:cxn>
                  <a:cxn ang="0">
                    <a:pos x="90" y="86"/>
                  </a:cxn>
                  <a:cxn ang="0">
                    <a:pos x="90" y="87"/>
                  </a:cxn>
                  <a:cxn ang="0">
                    <a:pos x="93" y="90"/>
                  </a:cxn>
                  <a:cxn ang="0">
                    <a:pos x="103" y="106"/>
                  </a:cxn>
                  <a:cxn ang="0">
                    <a:pos x="103" y="119"/>
                  </a:cxn>
                  <a:cxn ang="0">
                    <a:pos x="97" y="122"/>
                  </a:cxn>
                  <a:cxn ang="0">
                    <a:pos x="93" y="121"/>
                  </a:cxn>
                  <a:cxn ang="0">
                    <a:pos x="84" y="124"/>
                  </a:cxn>
                  <a:cxn ang="0">
                    <a:pos x="81" y="128"/>
                  </a:cxn>
                  <a:cxn ang="0">
                    <a:pos x="71" y="124"/>
                  </a:cxn>
                  <a:cxn ang="0">
                    <a:pos x="73" y="122"/>
                  </a:cxn>
                  <a:cxn ang="0">
                    <a:pos x="75" y="109"/>
                  </a:cxn>
                  <a:cxn ang="0">
                    <a:pos x="75" y="103"/>
                  </a:cxn>
                  <a:cxn ang="0">
                    <a:pos x="74" y="100"/>
                  </a:cxn>
                  <a:cxn ang="0">
                    <a:pos x="71" y="97"/>
                  </a:cxn>
                  <a:cxn ang="0">
                    <a:pos x="67" y="96"/>
                  </a:cxn>
                  <a:cxn ang="0">
                    <a:pos x="64" y="90"/>
                  </a:cxn>
                  <a:cxn ang="0">
                    <a:pos x="61" y="76"/>
                  </a:cxn>
                  <a:cxn ang="0">
                    <a:pos x="59" y="71"/>
                  </a:cxn>
                  <a:cxn ang="0">
                    <a:pos x="51" y="63"/>
                  </a:cxn>
                  <a:cxn ang="0">
                    <a:pos x="41" y="67"/>
                  </a:cxn>
                  <a:cxn ang="0">
                    <a:pos x="35" y="70"/>
                  </a:cxn>
                  <a:cxn ang="0">
                    <a:pos x="30" y="68"/>
                  </a:cxn>
                  <a:cxn ang="0">
                    <a:pos x="26" y="66"/>
                  </a:cxn>
                  <a:cxn ang="0">
                    <a:pos x="17" y="70"/>
                  </a:cxn>
                  <a:cxn ang="0">
                    <a:pos x="13" y="74"/>
                  </a:cxn>
                  <a:cxn ang="0">
                    <a:pos x="12" y="74"/>
                  </a:cxn>
                  <a:cxn ang="0">
                    <a:pos x="14" y="54"/>
                  </a:cxn>
                  <a:cxn ang="0">
                    <a:pos x="14" y="45"/>
                  </a:cxn>
                  <a:cxn ang="0">
                    <a:pos x="6" y="44"/>
                  </a:cxn>
                  <a:cxn ang="0">
                    <a:pos x="4" y="35"/>
                  </a:cxn>
                  <a:cxn ang="0">
                    <a:pos x="0" y="32"/>
                  </a:cxn>
                  <a:cxn ang="0">
                    <a:pos x="0" y="28"/>
                  </a:cxn>
                  <a:cxn ang="0">
                    <a:pos x="1" y="26"/>
                  </a:cxn>
                  <a:cxn ang="0">
                    <a:pos x="6" y="25"/>
                  </a:cxn>
                  <a:cxn ang="0">
                    <a:pos x="13" y="16"/>
                  </a:cxn>
                  <a:cxn ang="0">
                    <a:pos x="14" y="13"/>
                  </a:cxn>
                  <a:cxn ang="0">
                    <a:pos x="20" y="19"/>
                  </a:cxn>
                  <a:cxn ang="0">
                    <a:pos x="22" y="15"/>
                  </a:cxn>
                  <a:cxn ang="0">
                    <a:pos x="20" y="3"/>
                  </a:cxn>
                  <a:cxn ang="0">
                    <a:pos x="28" y="2"/>
                  </a:cxn>
                </a:cxnLst>
                <a:rect l="0" t="0" r="r" b="b"/>
                <a:pathLst>
                  <a:path w="103" h="128">
                    <a:moveTo>
                      <a:pt x="28" y="2"/>
                    </a:moveTo>
                    <a:lnTo>
                      <a:pt x="39" y="16"/>
                    </a:lnTo>
                    <a:lnTo>
                      <a:pt x="38" y="19"/>
                    </a:lnTo>
                    <a:lnTo>
                      <a:pt x="39" y="22"/>
                    </a:lnTo>
                    <a:lnTo>
                      <a:pt x="42" y="25"/>
                    </a:lnTo>
                    <a:lnTo>
                      <a:pt x="48" y="26"/>
                    </a:lnTo>
                    <a:lnTo>
                      <a:pt x="52" y="25"/>
                    </a:lnTo>
                    <a:lnTo>
                      <a:pt x="57" y="25"/>
                    </a:lnTo>
                    <a:lnTo>
                      <a:pt x="61" y="31"/>
                    </a:lnTo>
                    <a:lnTo>
                      <a:pt x="61" y="32"/>
                    </a:lnTo>
                    <a:lnTo>
                      <a:pt x="64" y="34"/>
                    </a:lnTo>
                    <a:lnTo>
                      <a:pt x="64" y="36"/>
                    </a:lnTo>
                    <a:lnTo>
                      <a:pt x="65" y="38"/>
                    </a:lnTo>
                    <a:lnTo>
                      <a:pt x="65" y="39"/>
                    </a:lnTo>
                    <a:lnTo>
                      <a:pt x="61" y="44"/>
                    </a:lnTo>
                    <a:lnTo>
                      <a:pt x="57" y="44"/>
                    </a:lnTo>
                    <a:lnTo>
                      <a:pt x="55" y="44"/>
                    </a:lnTo>
                    <a:lnTo>
                      <a:pt x="54" y="45"/>
                    </a:lnTo>
                    <a:lnTo>
                      <a:pt x="54" y="48"/>
                    </a:lnTo>
                    <a:lnTo>
                      <a:pt x="54" y="50"/>
                    </a:lnTo>
                    <a:lnTo>
                      <a:pt x="70" y="60"/>
                    </a:lnTo>
                    <a:lnTo>
                      <a:pt x="70" y="63"/>
                    </a:lnTo>
                    <a:lnTo>
                      <a:pt x="75" y="68"/>
                    </a:lnTo>
                    <a:lnTo>
                      <a:pt x="77" y="71"/>
                    </a:lnTo>
                    <a:lnTo>
                      <a:pt x="81" y="76"/>
                    </a:lnTo>
                    <a:lnTo>
                      <a:pt x="83" y="76"/>
                    </a:lnTo>
                    <a:lnTo>
                      <a:pt x="87" y="80"/>
                    </a:lnTo>
                    <a:lnTo>
                      <a:pt x="90" y="86"/>
                    </a:lnTo>
                    <a:lnTo>
                      <a:pt x="90" y="87"/>
                    </a:lnTo>
                    <a:lnTo>
                      <a:pt x="90" y="87"/>
                    </a:lnTo>
                    <a:lnTo>
                      <a:pt x="90" y="90"/>
                    </a:lnTo>
                    <a:lnTo>
                      <a:pt x="93" y="90"/>
                    </a:lnTo>
                    <a:lnTo>
                      <a:pt x="99" y="95"/>
                    </a:lnTo>
                    <a:lnTo>
                      <a:pt x="103" y="106"/>
                    </a:lnTo>
                    <a:lnTo>
                      <a:pt x="103" y="118"/>
                    </a:lnTo>
                    <a:lnTo>
                      <a:pt x="103" y="119"/>
                    </a:lnTo>
                    <a:lnTo>
                      <a:pt x="100" y="121"/>
                    </a:lnTo>
                    <a:lnTo>
                      <a:pt x="97" y="122"/>
                    </a:lnTo>
                    <a:lnTo>
                      <a:pt x="94" y="122"/>
                    </a:lnTo>
                    <a:lnTo>
                      <a:pt x="93" y="121"/>
                    </a:lnTo>
                    <a:lnTo>
                      <a:pt x="90" y="121"/>
                    </a:lnTo>
                    <a:lnTo>
                      <a:pt x="84" y="124"/>
                    </a:lnTo>
                    <a:lnTo>
                      <a:pt x="84" y="128"/>
                    </a:lnTo>
                    <a:lnTo>
                      <a:pt x="81" y="128"/>
                    </a:lnTo>
                    <a:lnTo>
                      <a:pt x="74" y="127"/>
                    </a:lnTo>
                    <a:lnTo>
                      <a:pt x="71" y="124"/>
                    </a:lnTo>
                    <a:lnTo>
                      <a:pt x="71" y="122"/>
                    </a:lnTo>
                    <a:lnTo>
                      <a:pt x="73" y="122"/>
                    </a:lnTo>
                    <a:lnTo>
                      <a:pt x="75" y="121"/>
                    </a:lnTo>
                    <a:lnTo>
                      <a:pt x="75" y="109"/>
                    </a:lnTo>
                    <a:lnTo>
                      <a:pt x="75" y="106"/>
                    </a:lnTo>
                    <a:lnTo>
                      <a:pt x="75" y="103"/>
                    </a:lnTo>
                    <a:lnTo>
                      <a:pt x="75" y="102"/>
                    </a:lnTo>
                    <a:lnTo>
                      <a:pt x="74" y="100"/>
                    </a:lnTo>
                    <a:lnTo>
                      <a:pt x="71" y="99"/>
                    </a:lnTo>
                    <a:lnTo>
                      <a:pt x="71" y="97"/>
                    </a:lnTo>
                    <a:lnTo>
                      <a:pt x="68" y="97"/>
                    </a:lnTo>
                    <a:lnTo>
                      <a:pt x="67" y="96"/>
                    </a:lnTo>
                    <a:lnTo>
                      <a:pt x="65" y="93"/>
                    </a:lnTo>
                    <a:lnTo>
                      <a:pt x="64" y="90"/>
                    </a:lnTo>
                    <a:lnTo>
                      <a:pt x="64" y="81"/>
                    </a:lnTo>
                    <a:lnTo>
                      <a:pt x="61" y="76"/>
                    </a:lnTo>
                    <a:lnTo>
                      <a:pt x="59" y="74"/>
                    </a:lnTo>
                    <a:lnTo>
                      <a:pt x="59" y="71"/>
                    </a:lnTo>
                    <a:lnTo>
                      <a:pt x="55" y="70"/>
                    </a:lnTo>
                    <a:lnTo>
                      <a:pt x="51" y="63"/>
                    </a:lnTo>
                    <a:lnTo>
                      <a:pt x="42" y="64"/>
                    </a:lnTo>
                    <a:lnTo>
                      <a:pt x="41" y="67"/>
                    </a:lnTo>
                    <a:lnTo>
                      <a:pt x="39" y="68"/>
                    </a:lnTo>
                    <a:lnTo>
                      <a:pt x="35" y="70"/>
                    </a:lnTo>
                    <a:lnTo>
                      <a:pt x="32" y="70"/>
                    </a:lnTo>
                    <a:lnTo>
                      <a:pt x="30" y="68"/>
                    </a:lnTo>
                    <a:lnTo>
                      <a:pt x="29" y="66"/>
                    </a:lnTo>
                    <a:lnTo>
                      <a:pt x="26" y="66"/>
                    </a:lnTo>
                    <a:lnTo>
                      <a:pt x="20" y="67"/>
                    </a:lnTo>
                    <a:lnTo>
                      <a:pt x="17" y="70"/>
                    </a:lnTo>
                    <a:lnTo>
                      <a:pt x="14" y="71"/>
                    </a:lnTo>
                    <a:lnTo>
                      <a:pt x="13" y="74"/>
                    </a:lnTo>
                    <a:lnTo>
                      <a:pt x="12" y="76"/>
                    </a:lnTo>
                    <a:lnTo>
                      <a:pt x="12" y="74"/>
                    </a:lnTo>
                    <a:lnTo>
                      <a:pt x="10" y="71"/>
                    </a:lnTo>
                    <a:lnTo>
                      <a:pt x="14" y="54"/>
                    </a:lnTo>
                    <a:lnTo>
                      <a:pt x="13" y="50"/>
                    </a:lnTo>
                    <a:lnTo>
                      <a:pt x="14" y="45"/>
                    </a:lnTo>
                    <a:lnTo>
                      <a:pt x="13" y="44"/>
                    </a:lnTo>
                    <a:lnTo>
                      <a:pt x="6" y="44"/>
                    </a:lnTo>
                    <a:lnTo>
                      <a:pt x="6" y="44"/>
                    </a:lnTo>
                    <a:lnTo>
                      <a:pt x="4" y="35"/>
                    </a:lnTo>
                    <a:lnTo>
                      <a:pt x="3" y="31"/>
                    </a:lnTo>
                    <a:lnTo>
                      <a:pt x="0" y="32"/>
                    </a:lnTo>
                    <a:lnTo>
                      <a:pt x="0" y="31"/>
                    </a:lnTo>
                    <a:lnTo>
                      <a:pt x="0" y="28"/>
                    </a:lnTo>
                    <a:lnTo>
                      <a:pt x="1" y="28"/>
                    </a:lnTo>
                    <a:lnTo>
                      <a:pt x="1" y="26"/>
                    </a:lnTo>
                    <a:lnTo>
                      <a:pt x="3" y="26"/>
                    </a:lnTo>
                    <a:lnTo>
                      <a:pt x="6" y="25"/>
                    </a:lnTo>
                    <a:lnTo>
                      <a:pt x="6" y="22"/>
                    </a:lnTo>
                    <a:lnTo>
                      <a:pt x="13" y="16"/>
                    </a:lnTo>
                    <a:lnTo>
                      <a:pt x="13" y="15"/>
                    </a:lnTo>
                    <a:lnTo>
                      <a:pt x="14" y="13"/>
                    </a:lnTo>
                    <a:lnTo>
                      <a:pt x="16" y="20"/>
                    </a:lnTo>
                    <a:lnTo>
                      <a:pt x="20" y="19"/>
                    </a:lnTo>
                    <a:lnTo>
                      <a:pt x="22" y="19"/>
                    </a:lnTo>
                    <a:lnTo>
                      <a:pt x="22" y="15"/>
                    </a:lnTo>
                    <a:lnTo>
                      <a:pt x="20" y="10"/>
                    </a:lnTo>
                    <a:lnTo>
                      <a:pt x="20" y="3"/>
                    </a:lnTo>
                    <a:lnTo>
                      <a:pt x="22" y="0"/>
                    </a:lnTo>
                    <a:lnTo>
                      <a:pt x="28" y="2"/>
                    </a:lnTo>
                    <a:lnTo>
                      <a:pt x="28"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61" name="Freeform 1447"/>
              <p:cNvSpPr>
                <a:spLocks/>
              </p:cNvSpPr>
              <p:nvPr/>
            </p:nvSpPr>
            <p:spPr bwMode="auto">
              <a:xfrm>
                <a:off x="7426014" y="2933877"/>
                <a:ext cx="94802" cy="132851"/>
              </a:xfrm>
              <a:custGeom>
                <a:avLst/>
                <a:gdLst/>
                <a:ahLst/>
                <a:cxnLst>
                  <a:cxn ang="0">
                    <a:pos x="39" y="16"/>
                  </a:cxn>
                  <a:cxn ang="0">
                    <a:pos x="39" y="22"/>
                  </a:cxn>
                  <a:cxn ang="0">
                    <a:pos x="48" y="26"/>
                  </a:cxn>
                  <a:cxn ang="0">
                    <a:pos x="57" y="25"/>
                  </a:cxn>
                  <a:cxn ang="0">
                    <a:pos x="61" y="32"/>
                  </a:cxn>
                  <a:cxn ang="0">
                    <a:pos x="64" y="36"/>
                  </a:cxn>
                  <a:cxn ang="0">
                    <a:pos x="65" y="39"/>
                  </a:cxn>
                  <a:cxn ang="0">
                    <a:pos x="57" y="44"/>
                  </a:cxn>
                  <a:cxn ang="0">
                    <a:pos x="54" y="45"/>
                  </a:cxn>
                  <a:cxn ang="0">
                    <a:pos x="54" y="50"/>
                  </a:cxn>
                  <a:cxn ang="0">
                    <a:pos x="70" y="63"/>
                  </a:cxn>
                  <a:cxn ang="0">
                    <a:pos x="77" y="71"/>
                  </a:cxn>
                  <a:cxn ang="0">
                    <a:pos x="83" y="76"/>
                  </a:cxn>
                  <a:cxn ang="0">
                    <a:pos x="90" y="86"/>
                  </a:cxn>
                  <a:cxn ang="0">
                    <a:pos x="90" y="87"/>
                  </a:cxn>
                  <a:cxn ang="0">
                    <a:pos x="93" y="90"/>
                  </a:cxn>
                  <a:cxn ang="0">
                    <a:pos x="103" y="106"/>
                  </a:cxn>
                  <a:cxn ang="0">
                    <a:pos x="103" y="119"/>
                  </a:cxn>
                  <a:cxn ang="0">
                    <a:pos x="97" y="122"/>
                  </a:cxn>
                  <a:cxn ang="0">
                    <a:pos x="93" y="121"/>
                  </a:cxn>
                  <a:cxn ang="0">
                    <a:pos x="84" y="124"/>
                  </a:cxn>
                  <a:cxn ang="0">
                    <a:pos x="81" y="128"/>
                  </a:cxn>
                  <a:cxn ang="0">
                    <a:pos x="71" y="124"/>
                  </a:cxn>
                  <a:cxn ang="0">
                    <a:pos x="73" y="122"/>
                  </a:cxn>
                  <a:cxn ang="0">
                    <a:pos x="75" y="109"/>
                  </a:cxn>
                  <a:cxn ang="0">
                    <a:pos x="75" y="103"/>
                  </a:cxn>
                  <a:cxn ang="0">
                    <a:pos x="74" y="100"/>
                  </a:cxn>
                  <a:cxn ang="0">
                    <a:pos x="71" y="97"/>
                  </a:cxn>
                  <a:cxn ang="0">
                    <a:pos x="67" y="96"/>
                  </a:cxn>
                  <a:cxn ang="0">
                    <a:pos x="64" y="90"/>
                  </a:cxn>
                  <a:cxn ang="0">
                    <a:pos x="61" y="76"/>
                  </a:cxn>
                  <a:cxn ang="0">
                    <a:pos x="59" y="71"/>
                  </a:cxn>
                  <a:cxn ang="0">
                    <a:pos x="51" y="63"/>
                  </a:cxn>
                  <a:cxn ang="0">
                    <a:pos x="41" y="67"/>
                  </a:cxn>
                  <a:cxn ang="0">
                    <a:pos x="35" y="70"/>
                  </a:cxn>
                  <a:cxn ang="0">
                    <a:pos x="30" y="68"/>
                  </a:cxn>
                  <a:cxn ang="0">
                    <a:pos x="26" y="66"/>
                  </a:cxn>
                  <a:cxn ang="0">
                    <a:pos x="17" y="70"/>
                  </a:cxn>
                  <a:cxn ang="0">
                    <a:pos x="13" y="74"/>
                  </a:cxn>
                  <a:cxn ang="0">
                    <a:pos x="12" y="74"/>
                  </a:cxn>
                  <a:cxn ang="0">
                    <a:pos x="14" y="54"/>
                  </a:cxn>
                  <a:cxn ang="0">
                    <a:pos x="14" y="45"/>
                  </a:cxn>
                  <a:cxn ang="0">
                    <a:pos x="6" y="44"/>
                  </a:cxn>
                  <a:cxn ang="0">
                    <a:pos x="4" y="35"/>
                  </a:cxn>
                  <a:cxn ang="0">
                    <a:pos x="0" y="32"/>
                  </a:cxn>
                  <a:cxn ang="0">
                    <a:pos x="0" y="28"/>
                  </a:cxn>
                  <a:cxn ang="0">
                    <a:pos x="1" y="26"/>
                  </a:cxn>
                  <a:cxn ang="0">
                    <a:pos x="6" y="25"/>
                  </a:cxn>
                  <a:cxn ang="0">
                    <a:pos x="13" y="16"/>
                  </a:cxn>
                  <a:cxn ang="0">
                    <a:pos x="14" y="13"/>
                  </a:cxn>
                  <a:cxn ang="0">
                    <a:pos x="20" y="19"/>
                  </a:cxn>
                  <a:cxn ang="0">
                    <a:pos x="22" y="15"/>
                  </a:cxn>
                  <a:cxn ang="0">
                    <a:pos x="20" y="3"/>
                  </a:cxn>
                  <a:cxn ang="0">
                    <a:pos x="28" y="2"/>
                  </a:cxn>
                </a:cxnLst>
                <a:rect l="0" t="0" r="r" b="b"/>
                <a:pathLst>
                  <a:path w="103" h="128">
                    <a:moveTo>
                      <a:pt x="28" y="2"/>
                    </a:moveTo>
                    <a:lnTo>
                      <a:pt x="39" y="16"/>
                    </a:lnTo>
                    <a:lnTo>
                      <a:pt x="38" y="19"/>
                    </a:lnTo>
                    <a:lnTo>
                      <a:pt x="39" y="22"/>
                    </a:lnTo>
                    <a:lnTo>
                      <a:pt x="42" y="25"/>
                    </a:lnTo>
                    <a:lnTo>
                      <a:pt x="48" y="26"/>
                    </a:lnTo>
                    <a:lnTo>
                      <a:pt x="52" y="25"/>
                    </a:lnTo>
                    <a:lnTo>
                      <a:pt x="57" y="25"/>
                    </a:lnTo>
                    <a:lnTo>
                      <a:pt x="61" y="31"/>
                    </a:lnTo>
                    <a:lnTo>
                      <a:pt x="61" y="32"/>
                    </a:lnTo>
                    <a:lnTo>
                      <a:pt x="64" y="34"/>
                    </a:lnTo>
                    <a:lnTo>
                      <a:pt x="64" y="36"/>
                    </a:lnTo>
                    <a:lnTo>
                      <a:pt x="65" y="38"/>
                    </a:lnTo>
                    <a:lnTo>
                      <a:pt x="65" y="39"/>
                    </a:lnTo>
                    <a:lnTo>
                      <a:pt x="61" y="44"/>
                    </a:lnTo>
                    <a:lnTo>
                      <a:pt x="57" y="44"/>
                    </a:lnTo>
                    <a:lnTo>
                      <a:pt x="55" y="44"/>
                    </a:lnTo>
                    <a:lnTo>
                      <a:pt x="54" y="45"/>
                    </a:lnTo>
                    <a:lnTo>
                      <a:pt x="54" y="48"/>
                    </a:lnTo>
                    <a:lnTo>
                      <a:pt x="54" y="50"/>
                    </a:lnTo>
                    <a:lnTo>
                      <a:pt x="70" y="60"/>
                    </a:lnTo>
                    <a:lnTo>
                      <a:pt x="70" y="63"/>
                    </a:lnTo>
                    <a:lnTo>
                      <a:pt x="75" y="68"/>
                    </a:lnTo>
                    <a:lnTo>
                      <a:pt x="77" y="71"/>
                    </a:lnTo>
                    <a:lnTo>
                      <a:pt x="81" y="76"/>
                    </a:lnTo>
                    <a:lnTo>
                      <a:pt x="83" y="76"/>
                    </a:lnTo>
                    <a:lnTo>
                      <a:pt x="87" y="80"/>
                    </a:lnTo>
                    <a:lnTo>
                      <a:pt x="90" y="86"/>
                    </a:lnTo>
                    <a:lnTo>
                      <a:pt x="90" y="87"/>
                    </a:lnTo>
                    <a:lnTo>
                      <a:pt x="90" y="87"/>
                    </a:lnTo>
                    <a:lnTo>
                      <a:pt x="90" y="90"/>
                    </a:lnTo>
                    <a:lnTo>
                      <a:pt x="93" y="90"/>
                    </a:lnTo>
                    <a:lnTo>
                      <a:pt x="99" y="95"/>
                    </a:lnTo>
                    <a:lnTo>
                      <a:pt x="103" y="106"/>
                    </a:lnTo>
                    <a:lnTo>
                      <a:pt x="103" y="118"/>
                    </a:lnTo>
                    <a:lnTo>
                      <a:pt x="103" y="119"/>
                    </a:lnTo>
                    <a:lnTo>
                      <a:pt x="100" y="121"/>
                    </a:lnTo>
                    <a:lnTo>
                      <a:pt x="97" y="122"/>
                    </a:lnTo>
                    <a:lnTo>
                      <a:pt x="94" y="122"/>
                    </a:lnTo>
                    <a:lnTo>
                      <a:pt x="93" y="121"/>
                    </a:lnTo>
                    <a:lnTo>
                      <a:pt x="90" y="121"/>
                    </a:lnTo>
                    <a:lnTo>
                      <a:pt x="84" y="124"/>
                    </a:lnTo>
                    <a:lnTo>
                      <a:pt x="84" y="128"/>
                    </a:lnTo>
                    <a:lnTo>
                      <a:pt x="81" y="128"/>
                    </a:lnTo>
                    <a:lnTo>
                      <a:pt x="74" y="127"/>
                    </a:lnTo>
                    <a:lnTo>
                      <a:pt x="71" y="124"/>
                    </a:lnTo>
                    <a:lnTo>
                      <a:pt x="71" y="122"/>
                    </a:lnTo>
                    <a:lnTo>
                      <a:pt x="73" y="122"/>
                    </a:lnTo>
                    <a:lnTo>
                      <a:pt x="75" y="121"/>
                    </a:lnTo>
                    <a:lnTo>
                      <a:pt x="75" y="109"/>
                    </a:lnTo>
                    <a:lnTo>
                      <a:pt x="75" y="106"/>
                    </a:lnTo>
                    <a:lnTo>
                      <a:pt x="75" y="103"/>
                    </a:lnTo>
                    <a:lnTo>
                      <a:pt x="75" y="102"/>
                    </a:lnTo>
                    <a:lnTo>
                      <a:pt x="74" y="100"/>
                    </a:lnTo>
                    <a:lnTo>
                      <a:pt x="71" y="99"/>
                    </a:lnTo>
                    <a:lnTo>
                      <a:pt x="71" y="97"/>
                    </a:lnTo>
                    <a:lnTo>
                      <a:pt x="68" y="97"/>
                    </a:lnTo>
                    <a:lnTo>
                      <a:pt x="67" y="96"/>
                    </a:lnTo>
                    <a:lnTo>
                      <a:pt x="65" y="93"/>
                    </a:lnTo>
                    <a:lnTo>
                      <a:pt x="64" y="90"/>
                    </a:lnTo>
                    <a:lnTo>
                      <a:pt x="64" y="81"/>
                    </a:lnTo>
                    <a:lnTo>
                      <a:pt x="61" y="76"/>
                    </a:lnTo>
                    <a:lnTo>
                      <a:pt x="59" y="74"/>
                    </a:lnTo>
                    <a:lnTo>
                      <a:pt x="59" y="71"/>
                    </a:lnTo>
                    <a:lnTo>
                      <a:pt x="55" y="70"/>
                    </a:lnTo>
                    <a:lnTo>
                      <a:pt x="51" y="63"/>
                    </a:lnTo>
                    <a:lnTo>
                      <a:pt x="42" y="64"/>
                    </a:lnTo>
                    <a:lnTo>
                      <a:pt x="41" y="67"/>
                    </a:lnTo>
                    <a:lnTo>
                      <a:pt x="39" y="68"/>
                    </a:lnTo>
                    <a:lnTo>
                      <a:pt x="35" y="70"/>
                    </a:lnTo>
                    <a:lnTo>
                      <a:pt x="32" y="70"/>
                    </a:lnTo>
                    <a:lnTo>
                      <a:pt x="30" y="68"/>
                    </a:lnTo>
                    <a:lnTo>
                      <a:pt x="29" y="66"/>
                    </a:lnTo>
                    <a:lnTo>
                      <a:pt x="26" y="66"/>
                    </a:lnTo>
                    <a:lnTo>
                      <a:pt x="20" y="67"/>
                    </a:lnTo>
                    <a:lnTo>
                      <a:pt x="17" y="70"/>
                    </a:lnTo>
                    <a:lnTo>
                      <a:pt x="14" y="71"/>
                    </a:lnTo>
                    <a:lnTo>
                      <a:pt x="13" y="74"/>
                    </a:lnTo>
                    <a:lnTo>
                      <a:pt x="12" y="76"/>
                    </a:lnTo>
                    <a:lnTo>
                      <a:pt x="12" y="74"/>
                    </a:lnTo>
                    <a:lnTo>
                      <a:pt x="10" y="71"/>
                    </a:lnTo>
                    <a:lnTo>
                      <a:pt x="14" y="54"/>
                    </a:lnTo>
                    <a:lnTo>
                      <a:pt x="13" y="50"/>
                    </a:lnTo>
                    <a:lnTo>
                      <a:pt x="14" y="45"/>
                    </a:lnTo>
                    <a:lnTo>
                      <a:pt x="13" y="44"/>
                    </a:lnTo>
                    <a:lnTo>
                      <a:pt x="6" y="44"/>
                    </a:lnTo>
                    <a:lnTo>
                      <a:pt x="6" y="44"/>
                    </a:lnTo>
                    <a:lnTo>
                      <a:pt x="4" y="35"/>
                    </a:lnTo>
                    <a:lnTo>
                      <a:pt x="3" y="31"/>
                    </a:lnTo>
                    <a:lnTo>
                      <a:pt x="0" y="32"/>
                    </a:lnTo>
                    <a:lnTo>
                      <a:pt x="0" y="31"/>
                    </a:lnTo>
                    <a:lnTo>
                      <a:pt x="0" y="28"/>
                    </a:lnTo>
                    <a:lnTo>
                      <a:pt x="1" y="28"/>
                    </a:lnTo>
                    <a:lnTo>
                      <a:pt x="1" y="26"/>
                    </a:lnTo>
                    <a:lnTo>
                      <a:pt x="3" y="26"/>
                    </a:lnTo>
                    <a:lnTo>
                      <a:pt x="6" y="25"/>
                    </a:lnTo>
                    <a:lnTo>
                      <a:pt x="6" y="22"/>
                    </a:lnTo>
                    <a:lnTo>
                      <a:pt x="13" y="16"/>
                    </a:lnTo>
                    <a:lnTo>
                      <a:pt x="13" y="15"/>
                    </a:lnTo>
                    <a:lnTo>
                      <a:pt x="14" y="13"/>
                    </a:lnTo>
                    <a:lnTo>
                      <a:pt x="16" y="20"/>
                    </a:lnTo>
                    <a:lnTo>
                      <a:pt x="20" y="19"/>
                    </a:lnTo>
                    <a:lnTo>
                      <a:pt x="22" y="19"/>
                    </a:lnTo>
                    <a:lnTo>
                      <a:pt x="22" y="15"/>
                    </a:lnTo>
                    <a:lnTo>
                      <a:pt x="20" y="10"/>
                    </a:lnTo>
                    <a:lnTo>
                      <a:pt x="20" y="3"/>
                    </a:lnTo>
                    <a:lnTo>
                      <a:pt x="22" y="0"/>
                    </a:lnTo>
                    <a:lnTo>
                      <a:pt x="28" y="2"/>
                    </a:lnTo>
                    <a:lnTo>
                      <a:pt x="28"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62" name="Freeform 1448"/>
              <p:cNvSpPr>
                <a:spLocks/>
              </p:cNvSpPr>
              <p:nvPr/>
            </p:nvSpPr>
            <p:spPr bwMode="auto">
              <a:xfrm>
                <a:off x="7742023" y="2572846"/>
                <a:ext cx="82513" cy="102427"/>
              </a:xfrm>
              <a:custGeom>
                <a:avLst/>
                <a:gdLst/>
                <a:ahLst/>
                <a:cxnLst>
                  <a:cxn ang="0">
                    <a:pos x="57" y="80"/>
                  </a:cxn>
                  <a:cxn ang="0">
                    <a:pos x="45" y="70"/>
                  </a:cxn>
                  <a:cxn ang="0">
                    <a:pos x="45" y="66"/>
                  </a:cxn>
                  <a:cxn ang="0">
                    <a:pos x="45" y="58"/>
                  </a:cxn>
                  <a:cxn ang="0">
                    <a:pos x="52" y="54"/>
                  </a:cxn>
                  <a:cxn ang="0">
                    <a:pos x="61" y="51"/>
                  </a:cxn>
                  <a:cxn ang="0">
                    <a:pos x="71" y="42"/>
                  </a:cxn>
                  <a:cxn ang="0">
                    <a:pos x="77" y="38"/>
                  </a:cxn>
                  <a:cxn ang="0">
                    <a:pos x="76" y="29"/>
                  </a:cxn>
                  <a:cxn ang="0">
                    <a:pos x="87" y="12"/>
                  </a:cxn>
                  <a:cxn ang="0">
                    <a:pos x="90" y="12"/>
                  </a:cxn>
                  <a:cxn ang="0">
                    <a:pos x="87" y="6"/>
                  </a:cxn>
                  <a:cxn ang="0">
                    <a:pos x="81" y="0"/>
                  </a:cxn>
                  <a:cxn ang="0">
                    <a:pos x="74" y="12"/>
                  </a:cxn>
                  <a:cxn ang="0">
                    <a:pos x="55" y="19"/>
                  </a:cxn>
                  <a:cxn ang="0">
                    <a:pos x="55" y="29"/>
                  </a:cxn>
                  <a:cxn ang="0">
                    <a:pos x="41" y="28"/>
                  </a:cxn>
                  <a:cxn ang="0">
                    <a:pos x="12" y="45"/>
                  </a:cxn>
                  <a:cxn ang="0">
                    <a:pos x="0" y="57"/>
                  </a:cxn>
                  <a:cxn ang="0">
                    <a:pos x="3" y="61"/>
                  </a:cxn>
                  <a:cxn ang="0">
                    <a:pos x="7" y="61"/>
                  </a:cxn>
                  <a:cxn ang="0">
                    <a:pos x="16" y="64"/>
                  </a:cxn>
                  <a:cxn ang="0">
                    <a:pos x="13" y="80"/>
                  </a:cxn>
                  <a:cxn ang="0">
                    <a:pos x="12" y="82"/>
                  </a:cxn>
                  <a:cxn ang="0">
                    <a:pos x="9" y="83"/>
                  </a:cxn>
                  <a:cxn ang="0">
                    <a:pos x="6" y="90"/>
                  </a:cxn>
                  <a:cxn ang="0">
                    <a:pos x="13" y="90"/>
                  </a:cxn>
                  <a:cxn ang="0">
                    <a:pos x="12" y="93"/>
                  </a:cxn>
                  <a:cxn ang="0">
                    <a:pos x="10" y="95"/>
                  </a:cxn>
                  <a:cxn ang="0">
                    <a:pos x="13" y="98"/>
                  </a:cxn>
                  <a:cxn ang="0">
                    <a:pos x="16" y="96"/>
                  </a:cxn>
                  <a:cxn ang="0">
                    <a:pos x="19" y="93"/>
                  </a:cxn>
                  <a:cxn ang="0">
                    <a:pos x="20" y="92"/>
                  </a:cxn>
                  <a:cxn ang="0">
                    <a:pos x="23" y="95"/>
                  </a:cxn>
                  <a:cxn ang="0">
                    <a:pos x="26" y="95"/>
                  </a:cxn>
                  <a:cxn ang="0">
                    <a:pos x="31" y="96"/>
                  </a:cxn>
                  <a:cxn ang="0">
                    <a:pos x="49" y="87"/>
                  </a:cxn>
                  <a:cxn ang="0">
                    <a:pos x="58" y="83"/>
                  </a:cxn>
                </a:cxnLst>
                <a:rect l="0" t="0" r="r" b="b"/>
                <a:pathLst>
                  <a:path w="90" h="98">
                    <a:moveTo>
                      <a:pt x="58" y="83"/>
                    </a:moveTo>
                    <a:lnTo>
                      <a:pt x="57" y="80"/>
                    </a:lnTo>
                    <a:lnTo>
                      <a:pt x="48" y="71"/>
                    </a:lnTo>
                    <a:lnTo>
                      <a:pt x="45" y="70"/>
                    </a:lnTo>
                    <a:lnTo>
                      <a:pt x="44" y="69"/>
                    </a:lnTo>
                    <a:lnTo>
                      <a:pt x="45" y="66"/>
                    </a:lnTo>
                    <a:lnTo>
                      <a:pt x="45" y="67"/>
                    </a:lnTo>
                    <a:lnTo>
                      <a:pt x="45" y="58"/>
                    </a:lnTo>
                    <a:lnTo>
                      <a:pt x="51" y="57"/>
                    </a:lnTo>
                    <a:lnTo>
                      <a:pt x="52" y="54"/>
                    </a:lnTo>
                    <a:lnTo>
                      <a:pt x="58" y="54"/>
                    </a:lnTo>
                    <a:lnTo>
                      <a:pt x="61" y="51"/>
                    </a:lnTo>
                    <a:lnTo>
                      <a:pt x="61" y="50"/>
                    </a:lnTo>
                    <a:lnTo>
                      <a:pt x="71" y="42"/>
                    </a:lnTo>
                    <a:lnTo>
                      <a:pt x="76" y="40"/>
                    </a:lnTo>
                    <a:lnTo>
                      <a:pt x="77" y="38"/>
                    </a:lnTo>
                    <a:lnTo>
                      <a:pt x="77" y="31"/>
                    </a:lnTo>
                    <a:lnTo>
                      <a:pt x="76" y="29"/>
                    </a:lnTo>
                    <a:lnTo>
                      <a:pt x="77" y="26"/>
                    </a:lnTo>
                    <a:lnTo>
                      <a:pt x="87" y="12"/>
                    </a:lnTo>
                    <a:lnTo>
                      <a:pt x="89" y="12"/>
                    </a:lnTo>
                    <a:lnTo>
                      <a:pt x="90" y="12"/>
                    </a:lnTo>
                    <a:lnTo>
                      <a:pt x="89" y="6"/>
                    </a:lnTo>
                    <a:lnTo>
                      <a:pt x="87" y="6"/>
                    </a:lnTo>
                    <a:lnTo>
                      <a:pt x="84" y="3"/>
                    </a:lnTo>
                    <a:lnTo>
                      <a:pt x="81" y="0"/>
                    </a:lnTo>
                    <a:lnTo>
                      <a:pt x="78" y="2"/>
                    </a:lnTo>
                    <a:lnTo>
                      <a:pt x="74" y="12"/>
                    </a:lnTo>
                    <a:lnTo>
                      <a:pt x="67" y="18"/>
                    </a:lnTo>
                    <a:lnTo>
                      <a:pt x="55" y="19"/>
                    </a:lnTo>
                    <a:lnTo>
                      <a:pt x="54" y="21"/>
                    </a:lnTo>
                    <a:lnTo>
                      <a:pt x="55" y="29"/>
                    </a:lnTo>
                    <a:lnTo>
                      <a:pt x="45" y="31"/>
                    </a:lnTo>
                    <a:lnTo>
                      <a:pt x="41" y="28"/>
                    </a:lnTo>
                    <a:lnTo>
                      <a:pt x="36" y="26"/>
                    </a:lnTo>
                    <a:lnTo>
                      <a:pt x="12" y="45"/>
                    </a:lnTo>
                    <a:lnTo>
                      <a:pt x="7" y="47"/>
                    </a:lnTo>
                    <a:lnTo>
                      <a:pt x="0" y="57"/>
                    </a:lnTo>
                    <a:lnTo>
                      <a:pt x="0" y="57"/>
                    </a:lnTo>
                    <a:lnTo>
                      <a:pt x="3" y="61"/>
                    </a:lnTo>
                    <a:lnTo>
                      <a:pt x="4" y="63"/>
                    </a:lnTo>
                    <a:lnTo>
                      <a:pt x="7" y="61"/>
                    </a:lnTo>
                    <a:lnTo>
                      <a:pt x="15" y="63"/>
                    </a:lnTo>
                    <a:lnTo>
                      <a:pt x="16" y="64"/>
                    </a:lnTo>
                    <a:lnTo>
                      <a:pt x="13" y="77"/>
                    </a:lnTo>
                    <a:lnTo>
                      <a:pt x="13" y="80"/>
                    </a:lnTo>
                    <a:lnTo>
                      <a:pt x="16" y="80"/>
                    </a:lnTo>
                    <a:lnTo>
                      <a:pt x="12" y="82"/>
                    </a:lnTo>
                    <a:lnTo>
                      <a:pt x="12" y="83"/>
                    </a:lnTo>
                    <a:lnTo>
                      <a:pt x="9" y="83"/>
                    </a:lnTo>
                    <a:lnTo>
                      <a:pt x="9" y="87"/>
                    </a:lnTo>
                    <a:lnTo>
                      <a:pt x="6" y="90"/>
                    </a:lnTo>
                    <a:lnTo>
                      <a:pt x="10" y="92"/>
                    </a:lnTo>
                    <a:lnTo>
                      <a:pt x="13" y="90"/>
                    </a:lnTo>
                    <a:lnTo>
                      <a:pt x="13" y="92"/>
                    </a:lnTo>
                    <a:lnTo>
                      <a:pt x="12" y="93"/>
                    </a:lnTo>
                    <a:lnTo>
                      <a:pt x="10" y="93"/>
                    </a:lnTo>
                    <a:lnTo>
                      <a:pt x="10" y="95"/>
                    </a:lnTo>
                    <a:lnTo>
                      <a:pt x="12" y="95"/>
                    </a:lnTo>
                    <a:lnTo>
                      <a:pt x="13" y="98"/>
                    </a:lnTo>
                    <a:lnTo>
                      <a:pt x="16" y="98"/>
                    </a:lnTo>
                    <a:lnTo>
                      <a:pt x="16" y="96"/>
                    </a:lnTo>
                    <a:lnTo>
                      <a:pt x="17" y="96"/>
                    </a:lnTo>
                    <a:lnTo>
                      <a:pt x="19" y="93"/>
                    </a:lnTo>
                    <a:lnTo>
                      <a:pt x="19" y="92"/>
                    </a:lnTo>
                    <a:lnTo>
                      <a:pt x="20" y="92"/>
                    </a:lnTo>
                    <a:lnTo>
                      <a:pt x="22" y="95"/>
                    </a:lnTo>
                    <a:lnTo>
                      <a:pt x="23" y="95"/>
                    </a:lnTo>
                    <a:lnTo>
                      <a:pt x="25" y="96"/>
                    </a:lnTo>
                    <a:lnTo>
                      <a:pt x="26" y="95"/>
                    </a:lnTo>
                    <a:lnTo>
                      <a:pt x="29" y="95"/>
                    </a:lnTo>
                    <a:lnTo>
                      <a:pt x="31" y="96"/>
                    </a:lnTo>
                    <a:lnTo>
                      <a:pt x="41" y="87"/>
                    </a:lnTo>
                    <a:lnTo>
                      <a:pt x="49" y="87"/>
                    </a:lnTo>
                    <a:lnTo>
                      <a:pt x="54" y="86"/>
                    </a:lnTo>
                    <a:lnTo>
                      <a:pt x="58" y="8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63" name="Freeform 1449"/>
              <p:cNvSpPr>
                <a:spLocks/>
              </p:cNvSpPr>
              <p:nvPr/>
            </p:nvSpPr>
            <p:spPr bwMode="auto">
              <a:xfrm>
                <a:off x="7742023" y="2572846"/>
                <a:ext cx="82513" cy="102427"/>
              </a:xfrm>
              <a:custGeom>
                <a:avLst/>
                <a:gdLst/>
                <a:ahLst/>
                <a:cxnLst>
                  <a:cxn ang="0">
                    <a:pos x="57" y="80"/>
                  </a:cxn>
                  <a:cxn ang="0">
                    <a:pos x="45" y="70"/>
                  </a:cxn>
                  <a:cxn ang="0">
                    <a:pos x="45" y="66"/>
                  </a:cxn>
                  <a:cxn ang="0">
                    <a:pos x="45" y="58"/>
                  </a:cxn>
                  <a:cxn ang="0">
                    <a:pos x="52" y="54"/>
                  </a:cxn>
                  <a:cxn ang="0">
                    <a:pos x="61" y="51"/>
                  </a:cxn>
                  <a:cxn ang="0">
                    <a:pos x="71" y="42"/>
                  </a:cxn>
                  <a:cxn ang="0">
                    <a:pos x="77" y="38"/>
                  </a:cxn>
                  <a:cxn ang="0">
                    <a:pos x="76" y="29"/>
                  </a:cxn>
                  <a:cxn ang="0">
                    <a:pos x="87" y="12"/>
                  </a:cxn>
                  <a:cxn ang="0">
                    <a:pos x="90" y="12"/>
                  </a:cxn>
                  <a:cxn ang="0">
                    <a:pos x="87" y="6"/>
                  </a:cxn>
                  <a:cxn ang="0">
                    <a:pos x="81" y="0"/>
                  </a:cxn>
                  <a:cxn ang="0">
                    <a:pos x="74" y="12"/>
                  </a:cxn>
                  <a:cxn ang="0">
                    <a:pos x="55" y="19"/>
                  </a:cxn>
                  <a:cxn ang="0">
                    <a:pos x="55" y="29"/>
                  </a:cxn>
                  <a:cxn ang="0">
                    <a:pos x="41" y="28"/>
                  </a:cxn>
                  <a:cxn ang="0">
                    <a:pos x="12" y="45"/>
                  </a:cxn>
                  <a:cxn ang="0">
                    <a:pos x="0" y="57"/>
                  </a:cxn>
                  <a:cxn ang="0">
                    <a:pos x="3" y="61"/>
                  </a:cxn>
                  <a:cxn ang="0">
                    <a:pos x="7" y="61"/>
                  </a:cxn>
                  <a:cxn ang="0">
                    <a:pos x="16" y="64"/>
                  </a:cxn>
                  <a:cxn ang="0">
                    <a:pos x="13" y="80"/>
                  </a:cxn>
                  <a:cxn ang="0">
                    <a:pos x="12" y="82"/>
                  </a:cxn>
                  <a:cxn ang="0">
                    <a:pos x="9" y="83"/>
                  </a:cxn>
                  <a:cxn ang="0">
                    <a:pos x="6" y="90"/>
                  </a:cxn>
                  <a:cxn ang="0">
                    <a:pos x="13" y="90"/>
                  </a:cxn>
                  <a:cxn ang="0">
                    <a:pos x="12" y="93"/>
                  </a:cxn>
                  <a:cxn ang="0">
                    <a:pos x="10" y="95"/>
                  </a:cxn>
                  <a:cxn ang="0">
                    <a:pos x="13" y="98"/>
                  </a:cxn>
                  <a:cxn ang="0">
                    <a:pos x="16" y="96"/>
                  </a:cxn>
                  <a:cxn ang="0">
                    <a:pos x="19" y="93"/>
                  </a:cxn>
                  <a:cxn ang="0">
                    <a:pos x="20" y="92"/>
                  </a:cxn>
                  <a:cxn ang="0">
                    <a:pos x="23" y="95"/>
                  </a:cxn>
                  <a:cxn ang="0">
                    <a:pos x="26" y="95"/>
                  </a:cxn>
                  <a:cxn ang="0">
                    <a:pos x="31" y="96"/>
                  </a:cxn>
                  <a:cxn ang="0">
                    <a:pos x="49" y="87"/>
                  </a:cxn>
                  <a:cxn ang="0">
                    <a:pos x="58" y="83"/>
                  </a:cxn>
                </a:cxnLst>
                <a:rect l="0" t="0" r="r" b="b"/>
                <a:pathLst>
                  <a:path w="90" h="98">
                    <a:moveTo>
                      <a:pt x="58" y="83"/>
                    </a:moveTo>
                    <a:lnTo>
                      <a:pt x="57" y="80"/>
                    </a:lnTo>
                    <a:lnTo>
                      <a:pt x="48" y="71"/>
                    </a:lnTo>
                    <a:lnTo>
                      <a:pt x="45" y="70"/>
                    </a:lnTo>
                    <a:lnTo>
                      <a:pt x="44" y="69"/>
                    </a:lnTo>
                    <a:lnTo>
                      <a:pt x="45" y="66"/>
                    </a:lnTo>
                    <a:lnTo>
                      <a:pt x="45" y="67"/>
                    </a:lnTo>
                    <a:lnTo>
                      <a:pt x="45" y="58"/>
                    </a:lnTo>
                    <a:lnTo>
                      <a:pt x="51" y="57"/>
                    </a:lnTo>
                    <a:lnTo>
                      <a:pt x="52" y="54"/>
                    </a:lnTo>
                    <a:lnTo>
                      <a:pt x="58" y="54"/>
                    </a:lnTo>
                    <a:lnTo>
                      <a:pt x="61" y="51"/>
                    </a:lnTo>
                    <a:lnTo>
                      <a:pt x="61" y="50"/>
                    </a:lnTo>
                    <a:lnTo>
                      <a:pt x="71" y="42"/>
                    </a:lnTo>
                    <a:lnTo>
                      <a:pt x="76" y="40"/>
                    </a:lnTo>
                    <a:lnTo>
                      <a:pt x="77" y="38"/>
                    </a:lnTo>
                    <a:lnTo>
                      <a:pt x="77" y="31"/>
                    </a:lnTo>
                    <a:lnTo>
                      <a:pt x="76" y="29"/>
                    </a:lnTo>
                    <a:lnTo>
                      <a:pt x="77" y="26"/>
                    </a:lnTo>
                    <a:lnTo>
                      <a:pt x="87" y="12"/>
                    </a:lnTo>
                    <a:lnTo>
                      <a:pt x="89" y="12"/>
                    </a:lnTo>
                    <a:lnTo>
                      <a:pt x="90" y="12"/>
                    </a:lnTo>
                    <a:lnTo>
                      <a:pt x="89" y="6"/>
                    </a:lnTo>
                    <a:lnTo>
                      <a:pt x="87" y="6"/>
                    </a:lnTo>
                    <a:lnTo>
                      <a:pt x="84" y="3"/>
                    </a:lnTo>
                    <a:lnTo>
                      <a:pt x="81" y="0"/>
                    </a:lnTo>
                    <a:lnTo>
                      <a:pt x="78" y="2"/>
                    </a:lnTo>
                    <a:lnTo>
                      <a:pt x="74" y="12"/>
                    </a:lnTo>
                    <a:lnTo>
                      <a:pt x="67" y="18"/>
                    </a:lnTo>
                    <a:lnTo>
                      <a:pt x="55" y="19"/>
                    </a:lnTo>
                    <a:lnTo>
                      <a:pt x="54" y="21"/>
                    </a:lnTo>
                    <a:lnTo>
                      <a:pt x="55" y="29"/>
                    </a:lnTo>
                    <a:lnTo>
                      <a:pt x="45" y="31"/>
                    </a:lnTo>
                    <a:lnTo>
                      <a:pt x="41" y="28"/>
                    </a:lnTo>
                    <a:lnTo>
                      <a:pt x="36" y="26"/>
                    </a:lnTo>
                    <a:lnTo>
                      <a:pt x="12" y="45"/>
                    </a:lnTo>
                    <a:lnTo>
                      <a:pt x="7" y="47"/>
                    </a:lnTo>
                    <a:lnTo>
                      <a:pt x="0" y="57"/>
                    </a:lnTo>
                    <a:lnTo>
                      <a:pt x="0" y="57"/>
                    </a:lnTo>
                    <a:lnTo>
                      <a:pt x="3" y="61"/>
                    </a:lnTo>
                    <a:lnTo>
                      <a:pt x="4" y="63"/>
                    </a:lnTo>
                    <a:lnTo>
                      <a:pt x="7" y="61"/>
                    </a:lnTo>
                    <a:lnTo>
                      <a:pt x="15" y="63"/>
                    </a:lnTo>
                    <a:lnTo>
                      <a:pt x="16" y="64"/>
                    </a:lnTo>
                    <a:lnTo>
                      <a:pt x="13" y="77"/>
                    </a:lnTo>
                    <a:lnTo>
                      <a:pt x="13" y="80"/>
                    </a:lnTo>
                    <a:lnTo>
                      <a:pt x="16" y="80"/>
                    </a:lnTo>
                    <a:lnTo>
                      <a:pt x="12" y="82"/>
                    </a:lnTo>
                    <a:lnTo>
                      <a:pt x="12" y="83"/>
                    </a:lnTo>
                    <a:lnTo>
                      <a:pt x="9" y="83"/>
                    </a:lnTo>
                    <a:lnTo>
                      <a:pt x="9" y="87"/>
                    </a:lnTo>
                    <a:lnTo>
                      <a:pt x="6" y="90"/>
                    </a:lnTo>
                    <a:lnTo>
                      <a:pt x="10" y="92"/>
                    </a:lnTo>
                    <a:lnTo>
                      <a:pt x="13" y="90"/>
                    </a:lnTo>
                    <a:lnTo>
                      <a:pt x="13" y="92"/>
                    </a:lnTo>
                    <a:lnTo>
                      <a:pt x="12" y="93"/>
                    </a:lnTo>
                    <a:lnTo>
                      <a:pt x="10" y="93"/>
                    </a:lnTo>
                    <a:lnTo>
                      <a:pt x="10" y="95"/>
                    </a:lnTo>
                    <a:lnTo>
                      <a:pt x="12" y="95"/>
                    </a:lnTo>
                    <a:lnTo>
                      <a:pt x="13" y="98"/>
                    </a:lnTo>
                    <a:lnTo>
                      <a:pt x="16" y="98"/>
                    </a:lnTo>
                    <a:lnTo>
                      <a:pt x="16" y="96"/>
                    </a:lnTo>
                    <a:lnTo>
                      <a:pt x="17" y="96"/>
                    </a:lnTo>
                    <a:lnTo>
                      <a:pt x="19" y="93"/>
                    </a:lnTo>
                    <a:lnTo>
                      <a:pt x="19" y="92"/>
                    </a:lnTo>
                    <a:lnTo>
                      <a:pt x="20" y="92"/>
                    </a:lnTo>
                    <a:lnTo>
                      <a:pt x="22" y="95"/>
                    </a:lnTo>
                    <a:lnTo>
                      <a:pt x="23" y="95"/>
                    </a:lnTo>
                    <a:lnTo>
                      <a:pt x="25" y="96"/>
                    </a:lnTo>
                    <a:lnTo>
                      <a:pt x="26" y="95"/>
                    </a:lnTo>
                    <a:lnTo>
                      <a:pt x="29" y="95"/>
                    </a:lnTo>
                    <a:lnTo>
                      <a:pt x="31" y="96"/>
                    </a:lnTo>
                    <a:lnTo>
                      <a:pt x="41" y="87"/>
                    </a:lnTo>
                    <a:lnTo>
                      <a:pt x="49" y="87"/>
                    </a:lnTo>
                    <a:lnTo>
                      <a:pt x="54" y="86"/>
                    </a:lnTo>
                    <a:lnTo>
                      <a:pt x="58" y="8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64" name="Freeform 1450"/>
              <p:cNvSpPr>
                <a:spLocks/>
              </p:cNvSpPr>
              <p:nvPr/>
            </p:nvSpPr>
            <p:spPr bwMode="auto">
              <a:xfrm>
                <a:off x="7541006" y="3210735"/>
                <a:ext cx="129914" cy="125752"/>
              </a:xfrm>
              <a:custGeom>
                <a:avLst/>
                <a:gdLst/>
                <a:ahLst/>
                <a:cxnLst>
                  <a:cxn ang="0">
                    <a:pos x="123" y="3"/>
                  </a:cxn>
                  <a:cxn ang="0">
                    <a:pos x="122" y="6"/>
                  </a:cxn>
                  <a:cxn ang="0">
                    <a:pos x="126" y="10"/>
                  </a:cxn>
                  <a:cxn ang="0">
                    <a:pos x="122" y="10"/>
                  </a:cxn>
                  <a:cxn ang="0">
                    <a:pos x="119" y="15"/>
                  </a:cxn>
                  <a:cxn ang="0">
                    <a:pos x="120" y="17"/>
                  </a:cxn>
                  <a:cxn ang="0">
                    <a:pos x="129" y="29"/>
                  </a:cxn>
                  <a:cxn ang="0">
                    <a:pos x="128" y="35"/>
                  </a:cxn>
                  <a:cxn ang="0">
                    <a:pos x="135" y="51"/>
                  </a:cxn>
                  <a:cxn ang="0">
                    <a:pos x="128" y="48"/>
                  </a:cxn>
                  <a:cxn ang="0">
                    <a:pos x="126" y="52"/>
                  </a:cxn>
                  <a:cxn ang="0">
                    <a:pos x="119" y="71"/>
                  </a:cxn>
                  <a:cxn ang="0">
                    <a:pos x="113" y="80"/>
                  </a:cxn>
                  <a:cxn ang="0">
                    <a:pos x="106" y="89"/>
                  </a:cxn>
                  <a:cxn ang="0">
                    <a:pos x="109" y="99"/>
                  </a:cxn>
                  <a:cxn ang="0">
                    <a:pos x="106" y="102"/>
                  </a:cxn>
                  <a:cxn ang="0">
                    <a:pos x="103" y="105"/>
                  </a:cxn>
                  <a:cxn ang="0">
                    <a:pos x="103" y="108"/>
                  </a:cxn>
                  <a:cxn ang="0">
                    <a:pos x="83" y="121"/>
                  </a:cxn>
                  <a:cxn ang="0">
                    <a:pos x="78" y="112"/>
                  </a:cxn>
                  <a:cxn ang="0">
                    <a:pos x="68" y="109"/>
                  </a:cxn>
                  <a:cxn ang="0">
                    <a:pos x="59" y="105"/>
                  </a:cxn>
                  <a:cxn ang="0">
                    <a:pos x="58" y="108"/>
                  </a:cxn>
                  <a:cxn ang="0">
                    <a:pos x="45" y="110"/>
                  </a:cxn>
                  <a:cxn ang="0">
                    <a:pos x="42" y="112"/>
                  </a:cxn>
                  <a:cxn ang="0">
                    <a:pos x="38" y="103"/>
                  </a:cxn>
                  <a:cxn ang="0">
                    <a:pos x="32" y="105"/>
                  </a:cxn>
                  <a:cxn ang="0">
                    <a:pos x="27" y="105"/>
                  </a:cxn>
                  <a:cxn ang="0">
                    <a:pos x="22" y="103"/>
                  </a:cxn>
                  <a:cxn ang="0">
                    <a:pos x="19" y="97"/>
                  </a:cxn>
                  <a:cxn ang="0">
                    <a:pos x="16" y="86"/>
                  </a:cxn>
                  <a:cxn ang="0">
                    <a:pos x="7" y="71"/>
                  </a:cxn>
                  <a:cxn ang="0">
                    <a:pos x="4" y="68"/>
                  </a:cxn>
                  <a:cxn ang="0">
                    <a:pos x="1" y="57"/>
                  </a:cxn>
                  <a:cxn ang="0">
                    <a:pos x="7" y="35"/>
                  </a:cxn>
                  <a:cxn ang="0">
                    <a:pos x="19" y="48"/>
                  </a:cxn>
                  <a:cxn ang="0">
                    <a:pos x="29" y="48"/>
                  </a:cxn>
                  <a:cxn ang="0">
                    <a:pos x="39" y="48"/>
                  </a:cxn>
                  <a:cxn ang="0">
                    <a:pos x="48" y="41"/>
                  </a:cxn>
                  <a:cxn ang="0">
                    <a:pos x="56" y="42"/>
                  </a:cxn>
                  <a:cxn ang="0">
                    <a:pos x="77" y="41"/>
                  </a:cxn>
                  <a:cxn ang="0">
                    <a:pos x="93" y="16"/>
                  </a:cxn>
                  <a:cxn ang="0">
                    <a:pos x="116" y="0"/>
                  </a:cxn>
                </a:cxnLst>
                <a:rect l="0" t="0" r="r" b="b"/>
                <a:pathLst>
                  <a:path w="142" h="121">
                    <a:moveTo>
                      <a:pt x="123" y="3"/>
                    </a:moveTo>
                    <a:lnTo>
                      <a:pt x="123" y="3"/>
                    </a:lnTo>
                    <a:lnTo>
                      <a:pt x="123" y="3"/>
                    </a:lnTo>
                    <a:lnTo>
                      <a:pt x="122" y="4"/>
                    </a:lnTo>
                    <a:lnTo>
                      <a:pt x="120" y="4"/>
                    </a:lnTo>
                    <a:lnTo>
                      <a:pt x="122" y="6"/>
                    </a:lnTo>
                    <a:lnTo>
                      <a:pt x="123" y="7"/>
                    </a:lnTo>
                    <a:lnTo>
                      <a:pt x="126" y="7"/>
                    </a:lnTo>
                    <a:lnTo>
                      <a:pt x="126" y="10"/>
                    </a:lnTo>
                    <a:lnTo>
                      <a:pt x="125" y="10"/>
                    </a:lnTo>
                    <a:lnTo>
                      <a:pt x="122" y="10"/>
                    </a:lnTo>
                    <a:lnTo>
                      <a:pt x="122" y="10"/>
                    </a:lnTo>
                    <a:lnTo>
                      <a:pt x="119" y="10"/>
                    </a:lnTo>
                    <a:lnTo>
                      <a:pt x="117" y="12"/>
                    </a:lnTo>
                    <a:lnTo>
                      <a:pt x="119" y="15"/>
                    </a:lnTo>
                    <a:lnTo>
                      <a:pt x="120" y="15"/>
                    </a:lnTo>
                    <a:lnTo>
                      <a:pt x="120" y="16"/>
                    </a:lnTo>
                    <a:lnTo>
                      <a:pt x="120" y="17"/>
                    </a:lnTo>
                    <a:lnTo>
                      <a:pt x="120" y="17"/>
                    </a:lnTo>
                    <a:lnTo>
                      <a:pt x="123" y="20"/>
                    </a:lnTo>
                    <a:lnTo>
                      <a:pt x="129" y="29"/>
                    </a:lnTo>
                    <a:lnTo>
                      <a:pt x="128" y="33"/>
                    </a:lnTo>
                    <a:lnTo>
                      <a:pt x="128" y="33"/>
                    </a:lnTo>
                    <a:lnTo>
                      <a:pt x="128" y="35"/>
                    </a:lnTo>
                    <a:lnTo>
                      <a:pt x="142" y="48"/>
                    </a:lnTo>
                    <a:lnTo>
                      <a:pt x="142" y="49"/>
                    </a:lnTo>
                    <a:lnTo>
                      <a:pt x="135" y="51"/>
                    </a:lnTo>
                    <a:lnTo>
                      <a:pt x="130" y="49"/>
                    </a:lnTo>
                    <a:lnTo>
                      <a:pt x="129" y="47"/>
                    </a:lnTo>
                    <a:lnTo>
                      <a:pt x="128" y="48"/>
                    </a:lnTo>
                    <a:lnTo>
                      <a:pt x="129" y="49"/>
                    </a:lnTo>
                    <a:lnTo>
                      <a:pt x="129" y="51"/>
                    </a:lnTo>
                    <a:lnTo>
                      <a:pt x="126" y="52"/>
                    </a:lnTo>
                    <a:lnTo>
                      <a:pt x="123" y="57"/>
                    </a:lnTo>
                    <a:lnTo>
                      <a:pt x="122" y="68"/>
                    </a:lnTo>
                    <a:lnTo>
                      <a:pt x="119" y="71"/>
                    </a:lnTo>
                    <a:lnTo>
                      <a:pt x="116" y="79"/>
                    </a:lnTo>
                    <a:lnTo>
                      <a:pt x="113" y="80"/>
                    </a:lnTo>
                    <a:lnTo>
                      <a:pt x="113" y="80"/>
                    </a:lnTo>
                    <a:lnTo>
                      <a:pt x="104" y="87"/>
                    </a:lnTo>
                    <a:lnTo>
                      <a:pt x="104" y="87"/>
                    </a:lnTo>
                    <a:lnTo>
                      <a:pt x="106" y="89"/>
                    </a:lnTo>
                    <a:lnTo>
                      <a:pt x="107" y="93"/>
                    </a:lnTo>
                    <a:lnTo>
                      <a:pt x="110" y="94"/>
                    </a:lnTo>
                    <a:lnTo>
                      <a:pt x="109" y="99"/>
                    </a:lnTo>
                    <a:lnTo>
                      <a:pt x="107" y="97"/>
                    </a:lnTo>
                    <a:lnTo>
                      <a:pt x="106" y="99"/>
                    </a:lnTo>
                    <a:lnTo>
                      <a:pt x="106" y="102"/>
                    </a:lnTo>
                    <a:lnTo>
                      <a:pt x="104" y="103"/>
                    </a:lnTo>
                    <a:lnTo>
                      <a:pt x="103" y="105"/>
                    </a:lnTo>
                    <a:lnTo>
                      <a:pt x="103" y="105"/>
                    </a:lnTo>
                    <a:lnTo>
                      <a:pt x="103" y="106"/>
                    </a:lnTo>
                    <a:lnTo>
                      <a:pt x="103" y="108"/>
                    </a:lnTo>
                    <a:lnTo>
                      <a:pt x="103" y="108"/>
                    </a:lnTo>
                    <a:lnTo>
                      <a:pt x="101" y="109"/>
                    </a:lnTo>
                    <a:lnTo>
                      <a:pt x="100" y="112"/>
                    </a:lnTo>
                    <a:lnTo>
                      <a:pt x="83" y="121"/>
                    </a:lnTo>
                    <a:lnTo>
                      <a:pt x="80" y="112"/>
                    </a:lnTo>
                    <a:lnTo>
                      <a:pt x="80" y="112"/>
                    </a:lnTo>
                    <a:lnTo>
                      <a:pt x="78" y="112"/>
                    </a:lnTo>
                    <a:lnTo>
                      <a:pt x="75" y="109"/>
                    </a:lnTo>
                    <a:lnTo>
                      <a:pt x="68" y="110"/>
                    </a:lnTo>
                    <a:lnTo>
                      <a:pt x="68" y="109"/>
                    </a:lnTo>
                    <a:lnTo>
                      <a:pt x="67" y="108"/>
                    </a:lnTo>
                    <a:lnTo>
                      <a:pt x="62" y="108"/>
                    </a:lnTo>
                    <a:lnTo>
                      <a:pt x="59" y="105"/>
                    </a:lnTo>
                    <a:lnTo>
                      <a:pt x="58" y="105"/>
                    </a:lnTo>
                    <a:lnTo>
                      <a:pt x="58" y="106"/>
                    </a:lnTo>
                    <a:lnTo>
                      <a:pt x="58" y="108"/>
                    </a:lnTo>
                    <a:lnTo>
                      <a:pt x="52" y="110"/>
                    </a:lnTo>
                    <a:lnTo>
                      <a:pt x="48" y="109"/>
                    </a:lnTo>
                    <a:lnTo>
                      <a:pt x="45" y="110"/>
                    </a:lnTo>
                    <a:lnTo>
                      <a:pt x="43" y="110"/>
                    </a:lnTo>
                    <a:lnTo>
                      <a:pt x="42" y="112"/>
                    </a:lnTo>
                    <a:lnTo>
                      <a:pt x="42" y="112"/>
                    </a:lnTo>
                    <a:lnTo>
                      <a:pt x="39" y="102"/>
                    </a:lnTo>
                    <a:lnTo>
                      <a:pt x="38" y="103"/>
                    </a:lnTo>
                    <a:lnTo>
                      <a:pt x="38" y="103"/>
                    </a:lnTo>
                    <a:lnTo>
                      <a:pt x="35" y="103"/>
                    </a:lnTo>
                    <a:lnTo>
                      <a:pt x="33" y="103"/>
                    </a:lnTo>
                    <a:lnTo>
                      <a:pt x="32" y="105"/>
                    </a:lnTo>
                    <a:lnTo>
                      <a:pt x="30" y="105"/>
                    </a:lnTo>
                    <a:lnTo>
                      <a:pt x="29" y="105"/>
                    </a:lnTo>
                    <a:lnTo>
                      <a:pt x="27" y="105"/>
                    </a:lnTo>
                    <a:lnTo>
                      <a:pt x="24" y="105"/>
                    </a:lnTo>
                    <a:lnTo>
                      <a:pt x="22" y="103"/>
                    </a:lnTo>
                    <a:lnTo>
                      <a:pt x="22" y="103"/>
                    </a:lnTo>
                    <a:lnTo>
                      <a:pt x="19" y="103"/>
                    </a:lnTo>
                    <a:lnTo>
                      <a:pt x="19" y="100"/>
                    </a:lnTo>
                    <a:lnTo>
                      <a:pt x="19" y="97"/>
                    </a:lnTo>
                    <a:lnTo>
                      <a:pt x="17" y="96"/>
                    </a:lnTo>
                    <a:lnTo>
                      <a:pt x="14" y="87"/>
                    </a:lnTo>
                    <a:lnTo>
                      <a:pt x="16" y="86"/>
                    </a:lnTo>
                    <a:lnTo>
                      <a:pt x="16" y="81"/>
                    </a:lnTo>
                    <a:lnTo>
                      <a:pt x="10" y="71"/>
                    </a:lnTo>
                    <a:lnTo>
                      <a:pt x="7" y="71"/>
                    </a:lnTo>
                    <a:lnTo>
                      <a:pt x="6" y="70"/>
                    </a:lnTo>
                    <a:lnTo>
                      <a:pt x="4" y="70"/>
                    </a:lnTo>
                    <a:lnTo>
                      <a:pt x="4" y="68"/>
                    </a:lnTo>
                    <a:lnTo>
                      <a:pt x="3" y="60"/>
                    </a:lnTo>
                    <a:lnTo>
                      <a:pt x="1" y="58"/>
                    </a:lnTo>
                    <a:lnTo>
                      <a:pt x="1" y="57"/>
                    </a:lnTo>
                    <a:lnTo>
                      <a:pt x="0" y="51"/>
                    </a:lnTo>
                    <a:lnTo>
                      <a:pt x="3" y="39"/>
                    </a:lnTo>
                    <a:lnTo>
                      <a:pt x="7" y="35"/>
                    </a:lnTo>
                    <a:lnTo>
                      <a:pt x="9" y="33"/>
                    </a:lnTo>
                    <a:lnTo>
                      <a:pt x="9" y="35"/>
                    </a:lnTo>
                    <a:lnTo>
                      <a:pt x="19" y="48"/>
                    </a:lnTo>
                    <a:lnTo>
                      <a:pt x="23" y="49"/>
                    </a:lnTo>
                    <a:lnTo>
                      <a:pt x="26" y="48"/>
                    </a:lnTo>
                    <a:lnTo>
                      <a:pt x="29" y="48"/>
                    </a:lnTo>
                    <a:lnTo>
                      <a:pt x="32" y="49"/>
                    </a:lnTo>
                    <a:lnTo>
                      <a:pt x="36" y="48"/>
                    </a:lnTo>
                    <a:lnTo>
                      <a:pt x="39" y="48"/>
                    </a:lnTo>
                    <a:lnTo>
                      <a:pt x="40" y="48"/>
                    </a:lnTo>
                    <a:lnTo>
                      <a:pt x="46" y="41"/>
                    </a:lnTo>
                    <a:lnTo>
                      <a:pt x="48" y="41"/>
                    </a:lnTo>
                    <a:lnTo>
                      <a:pt x="55" y="41"/>
                    </a:lnTo>
                    <a:lnTo>
                      <a:pt x="56" y="41"/>
                    </a:lnTo>
                    <a:lnTo>
                      <a:pt x="56" y="42"/>
                    </a:lnTo>
                    <a:lnTo>
                      <a:pt x="64" y="45"/>
                    </a:lnTo>
                    <a:lnTo>
                      <a:pt x="65" y="45"/>
                    </a:lnTo>
                    <a:lnTo>
                      <a:pt x="77" y="41"/>
                    </a:lnTo>
                    <a:lnTo>
                      <a:pt x="80" y="39"/>
                    </a:lnTo>
                    <a:lnTo>
                      <a:pt x="85" y="23"/>
                    </a:lnTo>
                    <a:lnTo>
                      <a:pt x="93" y="16"/>
                    </a:lnTo>
                    <a:lnTo>
                      <a:pt x="96" y="3"/>
                    </a:lnTo>
                    <a:lnTo>
                      <a:pt x="97" y="0"/>
                    </a:lnTo>
                    <a:lnTo>
                      <a:pt x="116" y="0"/>
                    </a:lnTo>
                    <a:lnTo>
                      <a:pt x="117" y="1"/>
                    </a:lnTo>
                    <a:lnTo>
                      <a:pt x="123" y="3"/>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65" name="Freeform 1452"/>
              <p:cNvSpPr>
                <a:spLocks/>
              </p:cNvSpPr>
              <p:nvPr/>
            </p:nvSpPr>
            <p:spPr bwMode="auto">
              <a:xfrm>
                <a:off x="7827169" y="3279696"/>
                <a:ext cx="135181" cy="130824"/>
              </a:xfrm>
              <a:custGeom>
                <a:avLst/>
                <a:gdLst/>
                <a:ahLst/>
                <a:cxnLst>
                  <a:cxn ang="0">
                    <a:pos x="145" y="123"/>
                  </a:cxn>
                  <a:cxn ang="0">
                    <a:pos x="129" y="109"/>
                  </a:cxn>
                  <a:cxn ang="0">
                    <a:pos x="116" y="112"/>
                  </a:cxn>
                  <a:cxn ang="0">
                    <a:pos x="115" y="113"/>
                  </a:cxn>
                  <a:cxn ang="0">
                    <a:pos x="112" y="113"/>
                  </a:cxn>
                  <a:cxn ang="0">
                    <a:pos x="102" y="106"/>
                  </a:cxn>
                  <a:cxn ang="0">
                    <a:pos x="112" y="100"/>
                  </a:cxn>
                  <a:cxn ang="0">
                    <a:pos x="116" y="100"/>
                  </a:cxn>
                  <a:cxn ang="0">
                    <a:pos x="116" y="97"/>
                  </a:cxn>
                  <a:cxn ang="0">
                    <a:pos x="112" y="93"/>
                  </a:cxn>
                  <a:cxn ang="0">
                    <a:pos x="107" y="84"/>
                  </a:cxn>
                  <a:cxn ang="0">
                    <a:pos x="106" y="77"/>
                  </a:cxn>
                  <a:cxn ang="0">
                    <a:pos x="100" y="71"/>
                  </a:cxn>
                  <a:cxn ang="0">
                    <a:pos x="97" y="68"/>
                  </a:cxn>
                  <a:cxn ang="0">
                    <a:pos x="61" y="58"/>
                  </a:cxn>
                  <a:cxn ang="0">
                    <a:pos x="55" y="54"/>
                  </a:cxn>
                  <a:cxn ang="0">
                    <a:pos x="49" y="54"/>
                  </a:cxn>
                  <a:cxn ang="0">
                    <a:pos x="44" y="48"/>
                  </a:cxn>
                  <a:cxn ang="0">
                    <a:pos x="42" y="42"/>
                  </a:cxn>
                  <a:cxn ang="0">
                    <a:pos x="38" y="49"/>
                  </a:cxn>
                  <a:cxn ang="0">
                    <a:pos x="29" y="52"/>
                  </a:cxn>
                  <a:cxn ang="0">
                    <a:pos x="28" y="45"/>
                  </a:cxn>
                  <a:cxn ang="0">
                    <a:pos x="23" y="39"/>
                  </a:cxn>
                  <a:cxn ang="0">
                    <a:pos x="16" y="36"/>
                  </a:cxn>
                  <a:cxn ang="0">
                    <a:pos x="22" y="33"/>
                  </a:cxn>
                  <a:cxn ang="0">
                    <a:pos x="36" y="30"/>
                  </a:cxn>
                  <a:cxn ang="0">
                    <a:pos x="42" y="27"/>
                  </a:cxn>
                  <a:cxn ang="0">
                    <a:pos x="25" y="27"/>
                  </a:cxn>
                  <a:cxn ang="0">
                    <a:pos x="17" y="26"/>
                  </a:cxn>
                  <a:cxn ang="0">
                    <a:pos x="10" y="16"/>
                  </a:cxn>
                  <a:cxn ang="0">
                    <a:pos x="6" y="17"/>
                  </a:cxn>
                  <a:cxn ang="0">
                    <a:pos x="6" y="7"/>
                  </a:cxn>
                  <a:cxn ang="0">
                    <a:pos x="22" y="0"/>
                  </a:cxn>
                  <a:cxn ang="0">
                    <a:pos x="44" y="6"/>
                  </a:cxn>
                  <a:cxn ang="0">
                    <a:pos x="48" y="17"/>
                  </a:cxn>
                  <a:cxn ang="0">
                    <a:pos x="51" y="35"/>
                  </a:cxn>
                  <a:cxn ang="0">
                    <a:pos x="54" y="32"/>
                  </a:cxn>
                  <a:cxn ang="0">
                    <a:pos x="67" y="42"/>
                  </a:cxn>
                  <a:cxn ang="0">
                    <a:pos x="73" y="35"/>
                  </a:cxn>
                  <a:cxn ang="0">
                    <a:pos x="89" y="26"/>
                  </a:cxn>
                  <a:cxn ang="0">
                    <a:pos x="99" y="14"/>
                  </a:cxn>
                  <a:cxn ang="0">
                    <a:pos x="112" y="20"/>
                  </a:cxn>
                  <a:cxn ang="0">
                    <a:pos x="125" y="27"/>
                  </a:cxn>
                  <a:cxn ang="0">
                    <a:pos x="132" y="27"/>
                  </a:cxn>
                  <a:cxn ang="0">
                    <a:pos x="136" y="27"/>
                  </a:cxn>
                  <a:cxn ang="0">
                    <a:pos x="141" y="30"/>
                  </a:cxn>
                  <a:cxn ang="0">
                    <a:pos x="144" y="32"/>
                  </a:cxn>
                  <a:cxn ang="0">
                    <a:pos x="145" y="90"/>
                  </a:cxn>
                  <a:cxn ang="0">
                    <a:pos x="148" y="125"/>
                  </a:cxn>
                </a:cxnLst>
                <a:rect l="0" t="0" r="r" b="b"/>
                <a:pathLst>
                  <a:path w="148" h="125">
                    <a:moveTo>
                      <a:pt x="148" y="125"/>
                    </a:moveTo>
                    <a:lnTo>
                      <a:pt x="148" y="125"/>
                    </a:lnTo>
                    <a:lnTo>
                      <a:pt x="145" y="123"/>
                    </a:lnTo>
                    <a:lnTo>
                      <a:pt x="132" y="112"/>
                    </a:lnTo>
                    <a:lnTo>
                      <a:pt x="131" y="110"/>
                    </a:lnTo>
                    <a:lnTo>
                      <a:pt x="129" y="109"/>
                    </a:lnTo>
                    <a:lnTo>
                      <a:pt x="123" y="112"/>
                    </a:lnTo>
                    <a:lnTo>
                      <a:pt x="119" y="110"/>
                    </a:lnTo>
                    <a:lnTo>
                      <a:pt x="116" y="112"/>
                    </a:lnTo>
                    <a:lnTo>
                      <a:pt x="115" y="110"/>
                    </a:lnTo>
                    <a:lnTo>
                      <a:pt x="115" y="113"/>
                    </a:lnTo>
                    <a:lnTo>
                      <a:pt x="115" y="113"/>
                    </a:lnTo>
                    <a:lnTo>
                      <a:pt x="115" y="113"/>
                    </a:lnTo>
                    <a:lnTo>
                      <a:pt x="112" y="113"/>
                    </a:lnTo>
                    <a:lnTo>
                      <a:pt x="112" y="113"/>
                    </a:lnTo>
                    <a:lnTo>
                      <a:pt x="99" y="115"/>
                    </a:lnTo>
                    <a:lnTo>
                      <a:pt x="99" y="112"/>
                    </a:lnTo>
                    <a:lnTo>
                      <a:pt x="102" y="106"/>
                    </a:lnTo>
                    <a:lnTo>
                      <a:pt x="106" y="100"/>
                    </a:lnTo>
                    <a:lnTo>
                      <a:pt x="109" y="100"/>
                    </a:lnTo>
                    <a:lnTo>
                      <a:pt x="112" y="100"/>
                    </a:lnTo>
                    <a:lnTo>
                      <a:pt x="115" y="102"/>
                    </a:lnTo>
                    <a:lnTo>
                      <a:pt x="116" y="102"/>
                    </a:lnTo>
                    <a:lnTo>
                      <a:pt x="116" y="100"/>
                    </a:lnTo>
                    <a:lnTo>
                      <a:pt x="113" y="97"/>
                    </a:lnTo>
                    <a:lnTo>
                      <a:pt x="113" y="97"/>
                    </a:lnTo>
                    <a:lnTo>
                      <a:pt x="116" y="97"/>
                    </a:lnTo>
                    <a:lnTo>
                      <a:pt x="113" y="96"/>
                    </a:lnTo>
                    <a:lnTo>
                      <a:pt x="110" y="94"/>
                    </a:lnTo>
                    <a:lnTo>
                      <a:pt x="112" y="93"/>
                    </a:lnTo>
                    <a:lnTo>
                      <a:pt x="112" y="89"/>
                    </a:lnTo>
                    <a:lnTo>
                      <a:pt x="110" y="87"/>
                    </a:lnTo>
                    <a:lnTo>
                      <a:pt x="107" y="84"/>
                    </a:lnTo>
                    <a:lnTo>
                      <a:pt x="107" y="78"/>
                    </a:lnTo>
                    <a:lnTo>
                      <a:pt x="107" y="77"/>
                    </a:lnTo>
                    <a:lnTo>
                      <a:pt x="106" y="77"/>
                    </a:lnTo>
                    <a:lnTo>
                      <a:pt x="103" y="73"/>
                    </a:lnTo>
                    <a:lnTo>
                      <a:pt x="102" y="73"/>
                    </a:lnTo>
                    <a:lnTo>
                      <a:pt x="100" y="71"/>
                    </a:lnTo>
                    <a:lnTo>
                      <a:pt x="99" y="70"/>
                    </a:lnTo>
                    <a:lnTo>
                      <a:pt x="99" y="70"/>
                    </a:lnTo>
                    <a:lnTo>
                      <a:pt x="97" y="68"/>
                    </a:lnTo>
                    <a:lnTo>
                      <a:pt x="90" y="65"/>
                    </a:lnTo>
                    <a:lnTo>
                      <a:pt x="87" y="65"/>
                    </a:lnTo>
                    <a:lnTo>
                      <a:pt x="61" y="58"/>
                    </a:lnTo>
                    <a:lnTo>
                      <a:pt x="59" y="57"/>
                    </a:lnTo>
                    <a:lnTo>
                      <a:pt x="57" y="55"/>
                    </a:lnTo>
                    <a:lnTo>
                      <a:pt x="55" y="54"/>
                    </a:lnTo>
                    <a:lnTo>
                      <a:pt x="55" y="52"/>
                    </a:lnTo>
                    <a:lnTo>
                      <a:pt x="49" y="51"/>
                    </a:lnTo>
                    <a:lnTo>
                      <a:pt x="49" y="54"/>
                    </a:lnTo>
                    <a:lnTo>
                      <a:pt x="48" y="52"/>
                    </a:lnTo>
                    <a:lnTo>
                      <a:pt x="45" y="49"/>
                    </a:lnTo>
                    <a:lnTo>
                      <a:pt x="44" y="48"/>
                    </a:lnTo>
                    <a:lnTo>
                      <a:pt x="42" y="46"/>
                    </a:lnTo>
                    <a:lnTo>
                      <a:pt x="41" y="45"/>
                    </a:lnTo>
                    <a:lnTo>
                      <a:pt x="42" y="42"/>
                    </a:lnTo>
                    <a:lnTo>
                      <a:pt x="42" y="39"/>
                    </a:lnTo>
                    <a:lnTo>
                      <a:pt x="42" y="38"/>
                    </a:lnTo>
                    <a:lnTo>
                      <a:pt x="38" y="49"/>
                    </a:lnTo>
                    <a:lnTo>
                      <a:pt x="35" y="52"/>
                    </a:lnTo>
                    <a:lnTo>
                      <a:pt x="30" y="54"/>
                    </a:lnTo>
                    <a:lnTo>
                      <a:pt x="29" y="52"/>
                    </a:lnTo>
                    <a:lnTo>
                      <a:pt x="28" y="52"/>
                    </a:lnTo>
                    <a:lnTo>
                      <a:pt x="28" y="46"/>
                    </a:lnTo>
                    <a:lnTo>
                      <a:pt x="28" y="45"/>
                    </a:lnTo>
                    <a:lnTo>
                      <a:pt x="28" y="42"/>
                    </a:lnTo>
                    <a:lnTo>
                      <a:pt x="26" y="42"/>
                    </a:lnTo>
                    <a:lnTo>
                      <a:pt x="23" y="39"/>
                    </a:lnTo>
                    <a:lnTo>
                      <a:pt x="20" y="38"/>
                    </a:lnTo>
                    <a:lnTo>
                      <a:pt x="17" y="38"/>
                    </a:lnTo>
                    <a:lnTo>
                      <a:pt x="16" y="36"/>
                    </a:lnTo>
                    <a:lnTo>
                      <a:pt x="16" y="35"/>
                    </a:lnTo>
                    <a:lnTo>
                      <a:pt x="19" y="33"/>
                    </a:lnTo>
                    <a:lnTo>
                      <a:pt x="22" y="33"/>
                    </a:lnTo>
                    <a:lnTo>
                      <a:pt x="26" y="33"/>
                    </a:lnTo>
                    <a:lnTo>
                      <a:pt x="33" y="30"/>
                    </a:lnTo>
                    <a:lnTo>
                      <a:pt x="36" y="30"/>
                    </a:lnTo>
                    <a:lnTo>
                      <a:pt x="39" y="32"/>
                    </a:lnTo>
                    <a:lnTo>
                      <a:pt x="41" y="30"/>
                    </a:lnTo>
                    <a:lnTo>
                      <a:pt x="42" y="27"/>
                    </a:lnTo>
                    <a:lnTo>
                      <a:pt x="42" y="26"/>
                    </a:lnTo>
                    <a:lnTo>
                      <a:pt x="42" y="25"/>
                    </a:lnTo>
                    <a:lnTo>
                      <a:pt x="25" y="27"/>
                    </a:lnTo>
                    <a:lnTo>
                      <a:pt x="23" y="27"/>
                    </a:lnTo>
                    <a:lnTo>
                      <a:pt x="20" y="27"/>
                    </a:lnTo>
                    <a:lnTo>
                      <a:pt x="17" y="26"/>
                    </a:lnTo>
                    <a:lnTo>
                      <a:pt x="14" y="19"/>
                    </a:lnTo>
                    <a:lnTo>
                      <a:pt x="13" y="17"/>
                    </a:lnTo>
                    <a:lnTo>
                      <a:pt x="10" y="16"/>
                    </a:lnTo>
                    <a:lnTo>
                      <a:pt x="7" y="17"/>
                    </a:lnTo>
                    <a:lnTo>
                      <a:pt x="6" y="16"/>
                    </a:lnTo>
                    <a:lnTo>
                      <a:pt x="6" y="17"/>
                    </a:lnTo>
                    <a:lnTo>
                      <a:pt x="0" y="16"/>
                    </a:lnTo>
                    <a:lnTo>
                      <a:pt x="4" y="7"/>
                    </a:lnTo>
                    <a:lnTo>
                      <a:pt x="6" y="7"/>
                    </a:lnTo>
                    <a:lnTo>
                      <a:pt x="13" y="6"/>
                    </a:lnTo>
                    <a:lnTo>
                      <a:pt x="17" y="1"/>
                    </a:lnTo>
                    <a:lnTo>
                      <a:pt x="22" y="0"/>
                    </a:lnTo>
                    <a:lnTo>
                      <a:pt x="29" y="1"/>
                    </a:lnTo>
                    <a:lnTo>
                      <a:pt x="36" y="6"/>
                    </a:lnTo>
                    <a:lnTo>
                      <a:pt x="44" y="6"/>
                    </a:lnTo>
                    <a:lnTo>
                      <a:pt x="45" y="10"/>
                    </a:lnTo>
                    <a:lnTo>
                      <a:pt x="46" y="13"/>
                    </a:lnTo>
                    <a:lnTo>
                      <a:pt x="48" y="17"/>
                    </a:lnTo>
                    <a:lnTo>
                      <a:pt x="46" y="23"/>
                    </a:lnTo>
                    <a:lnTo>
                      <a:pt x="48" y="30"/>
                    </a:lnTo>
                    <a:lnTo>
                      <a:pt x="51" y="35"/>
                    </a:lnTo>
                    <a:lnTo>
                      <a:pt x="51" y="33"/>
                    </a:lnTo>
                    <a:lnTo>
                      <a:pt x="51" y="30"/>
                    </a:lnTo>
                    <a:lnTo>
                      <a:pt x="54" y="32"/>
                    </a:lnTo>
                    <a:lnTo>
                      <a:pt x="57" y="41"/>
                    </a:lnTo>
                    <a:lnTo>
                      <a:pt x="61" y="42"/>
                    </a:lnTo>
                    <a:lnTo>
                      <a:pt x="67" y="42"/>
                    </a:lnTo>
                    <a:lnTo>
                      <a:pt x="68" y="39"/>
                    </a:lnTo>
                    <a:lnTo>
                      <a:pt x="73" y="38"/>
                    </a:lnTo>
                    <a:lnTo>
                      <a:pt x="73" y="35"/>
                    </a:lnTo>
                    <a:lnTo>
                      <a:pt x="77" y="32"/>
                    </a:lnTo>
                    <a:lnTo>
                      <a:pt x="80" y="27"/>
                    </a:lnTo>
                    <a:lnTo>
                      <a:pt x="89" y="26"/>
                    </a:lnTo>
                    <a:lnTo>
                      <a:pt x="90" y="23"/>
                    </a:lnTo>
                    <a:lnTo>
                      <a:pt x="90" y="22"/>
                    </a:lnTo>
                    <a:lnTo>
                      <a:pt x="99" y="14"/>
                    </a:lnTo>
                    <a:lnTo>
                      <a:pt x="102" y="16"/>
                    </a:lnTo>
                    <a:lnTo>
                      <a:pt x="102" y="17"/>
                    </a:lnTo>
                    <a:lnTo>
                      <a:pt x="112" y="20"/>
                    </a:lnTo>
                    <a:lnTo>
                      <a:pt x="113" y="22"/>
                    </a:lnTo>
                    <a:lnTo>
                      <a:pt x="119" y="23"/>
                    </a:lnTo>
                    <a:lnTo>
                      <a:pt x="125" y="27"/>
                    </a:lnTo>
                    <a:lnTo>
                      <a:pt x="128" y="27"/>
                    </a:lnTo>
                    <a:lnTo>
                      <a:pt x="131" y="27"/>
                    </a:lnTo>
                    <a:lnTo>
                      <a:pt x="132" y="27"/>
                    </a:lnTo>
                    <a:lnTo>
                      <a:pt x="134" y="29"/>
                    </a:lnTo>
                    <a:lnTo>
                      <a:pt x="135" y="27"/>
                    </a:lnTo>
                    <a:lnTo>
                      <a:pt x="136" y="27"/>
                    </a:lnTo>
                    <a:lnTo>
                      <a:pt x="139" y="30"/>
                    </a:lnTo>
                    <a:lnTo>
                      <a:pt x="141" y="30"/>
                    </a:lnTo>
                    <a:lnTo>
                      <a:pt x="141" y="30"/>
                    </a:lnTo>
                    <a:lnTo>
                      <a:pt x="141" y="30"/>
                    </a:lnTo>
                    <a:lnTo>
                      <a:pt x="142" y="32"/>
                    </a:lnTo>
                    <a:lnTo>
                      <a:pt x="144" y="32"/>
                    </a:lnTo>
                    <a:lnTo>
                      <a:pt x="144" y="32"/>
                    </a:lnTo>
                    <a:lnTo>
                      <a:pt x="145" y="32"/>
                    </a:lnTo>
                    <a:lnTo>
                      <a:pt x="145" y="90"/>
                    </a:lnTo>
                    <a:lnTo>
                      <a:pt x="145" y="91"/>
                    </a:lnTo>
                    <a:lnTo>
                      <a:pt x="147" y="96"/>
                    </a:lnTo>
                    <a:lnTo>
                      <a:pt x="148" y="125"/>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66" name="Freeform 1454"/>
              <p:cNvSpPr>
                <a:spLocks/>
              </p:cNvSpPr>
              <p:nvPr/>
            </p:nvSpPr>
            <p:spPr bwMode="auto">
              <a:xfrm>
                <a:off x="6382309" y="2459263"/>
                <a:ext cx="123770" cy="97357"/>
              </a:xfrm>
              <a:custGeom>
                <a:avLst/>
                <a:gdLst/>
                <a:ahLst/>
                <a:cxnLst>
                  <a:cxn ang="0">
                    <a:pos x="116" y="92"/>
                  </a:cxn>
                  <a:cxn ang="0">
                    <a:pos x="103" y="86"/>
                  </a:cxn>
                  <a:cxn ang="0">
                    <a:pos x="95" y="85"/>
                  </a:cxn>
                  <a:cxn ang="0">
                    <a:pos x="40" y="90"/>
                  </a:cxn>
                  <a:cxn ang="0">
                    <a:pos x="39" y="85"/>
                  </a:cxn>
                  <a:cxn ang="0">
                    <a:pos x="32" y="79"/>
                  </a:cxn>
                  <a:cxn ang="0">
                    <a:pos x="32" y="73"/>
                  </a:cxn>
                  <a:cxn ang="0">
                    <a:pos x="21" y="73"/>
                  </a:cxn>
                  <a:cxn ang="0">
                    <a:pos x="17" y="63"/>
                  </a:cxn>
                  <a:cxn ang="0">
                    <a:pos x="13" y="61"/>
                  </a:cxn>
                  <a:cxn ang="0">
                    <a:pos x="7" y="50"/>
                  </a:cxn>
                  <a:cxn ang="0">
                    <a:pos x="0" y="44"/>
                  </a:cxn>
                  <a:cxn ang="0">
                    <a:pos x="13" y="40"/>
                  </a:cxn>
                  <a:cxn ang="0">
                    <a:pos x="23" y="22"/>
                  </a:cxn>
                  <a:cxn ang="0">
                    <a:pos x="24" y="16"/>
                  </a:cxn>
                  <a:cxn ang="0">
                    <a:pos x="27" y="12"/>
                  </a:cxn>
                  <a:cxn ang="0">
                    <a:pos x="33" y="9"/>
                  </a:cxn>
                  <a:cxn ang="0">
                    <a:pos x="39" y="5"/>
                  </a:cxn>
                  <a:cxn ang="0">
                    <a:pos x="66" y="9"/>
                  </a:cxn>
                  <a:cxn ang="0">
                    <a:pos x="75" y="5"/>
                  </a:cxn>
                  <a:cxn ang="0">
                    <a:pos x="88" y="0"/>
                  </a:cxn>
                  <a:cxn ang="0">
                    <a:pos x="101" y="9"/>
                  </a:cxn>
                  <a:cxn ang="0">
                    <a:pos x="111" y="29"/>
                  </a:cxn>
                  <a:cxn ang="0">
                    <a:pos x="113" y="47"/>
                  </a:cxn>
                  <a:cxn ang="0">
                    <a:pos x="116" y="57"/>
                  </a:cxn>
                  <a:cxn ang="0">
                    <a:pos x="122" y="61"/>
                  </a:cxn>
                  <a:cxn ang="0">
                    <a:pos x="130" y="58"/>
                  </a:cxn>
                  <a:cxn ang="0">
                    <a:pos x="135" y="60"/>
                  </a:cxn>
                  <a:cxn ang="0">
                    <a:pos x="135" y="69"/>
                  </a:cxn>
                  <a:cxn ang="0">
                    <a:pos x="130" y="71"/>
                  </a:cxn>
                  <a:cxn ang="0">
                    <a:pos x="123" y="76"/>
                  </a:cxn>
                  <a:cxn ang="0">
                    <a:pos x="126" y="71"/>
                  </a:cxn>
                  <a:cxn ang="0">
                    <a:pos x="123" y="67"/>
                  </a:cxn>
                </a:cxnLst>
                <a:rect l="0" t="0" r="r" b="b"/>
                <a:pathLst>
                  <a:path w="135" h="93">
                    <a:moveTo>
                      <a:pt x="120" y="92"/>
                    </a:moveTo>
                    <a:lnTo>
                      <a:pt x="116" y="92"/>
                    </a:lnTo>
                    <a:lnTo>
                      <a:pt x="110" y="89"/>
                    </a:lnTo>
                    <a:lnTo>
                      <a:pt x="103" y="86"/>
                    </a:lnTo>
                    <a:lnTo>
                      <a:pt x="101" y="85"/>
                    </a:lnTo>
                    <a:lnTo>
                      <a:pt x="95" y="85"/>
                    </a:lnTo>
                    <a:lnTo>
                      <a:pt x="75" y="93"/>
                    </a:lnTo>
                    <a:lnTo>
                      <a:pt x="40" y="90"/>
                    </a:lnTo>
                    <a:lnTo>
                      <a:pt x="37" y="89"/>
                    </a:lnTo>
                    <a:lnTo>
                      <a:pt x="39" y="85"/>
                    </a:lnTo>
                    <a:lnTo>
                      <a:pt x="33" y="83"/>
                    </a:lnTo>
                    <a:lnTo>
                      <a:pt x="32" y="79"/>
                    </a:lnTo>
                    <a:lnTo>
                      <a:pt x="34" y="76"/>
                    </a:lnTo>
                    <a:lnTo>
                      <a:pt x="32" y="73"/>
                    </a:lnTo>
                    <a:lnTo>
                      <a:pt x="29" y="76"/>
                    </a:lnTo>
                    <a:lnTo>
                      <a:pt x="21" y="73"/>
                    </a:lnTo>
                    <a:lnTo>
                      <a:pt x="19" y="70"/>
                    </a:lnTo>
                    <a:lnTo>
                      <a:pt x="17" y="63"/>
                    </a:lnTo>
                    <a:lnTo>
                      <a:pt x="14" y="61"/>
                    </a:lnTo>
                    <a:lnTo>
                      <a:pt x="13" y="61"/>
                    </a:lnTo>
                    <a:lnTo>
                      <a:pt x="10" y="58"/>
                    </a:lnTo>
                    <a:lnTo>
                      <a:pt x="7" y="50"/>
                    </a:lnTo>
                    <a:lnTo>
                      <a:pt x="4" y="47"/>
                    </a:lnTo>
                    <a:lnTo>
                      <a:pt x="0" y="44"/>
                    </a:lnTo>
                    <a:lnTo>
                      <a:pt x="0" y="44"/>
                    </a:lnTo>
                    <a:lnTo>
                      <a:pt x="13" y="40"/>
                    </a:lnTo>
                    <a:lnTo>
                      <a:pt x="20" y="25"/>
                    </a:lnTo>
                    <a:lnTo>
                      <a:pt x="23" y="22"/>
                    </a:lnTo>
                    <a:lnTo>
                      <a:pt x="23" y="19"/>
                    </a:lnTo>
                    <a:lnTo>
                      <a:pt x="24" y="16"/>
                    </a:lnTo>
                    <a:lnTo>
                      <a:pt x="26" y="13"/>
                    </a:lnTo>
                    <a:lnTo>
                      <a:pt x="27" y="12"/>
                    </a:lnTo>
                    <a:lnTo>
                      <a:pt x="32" y="9"/>
                    </a:lnTo>
                    <a:lnTo>
                      <a:pt x="33" y="9"/>
                    </a:lnTo>
                    <a:lnTo>
                      <a:pt x="36" y="6"/>
                    </a:lnTo>
                    <a:lnTo>
                      <a:pt x="39" y="5"/>
                    </a:lnTo>
                    <a:lnTo>
                      <a:pt x="62" y="5"/>
                    </a:lnTo>
                    <a:lnTo>
                      <a:pt x="66" y="9"/>
                    </a:lnTo>
                    <a:lnTo>
                      <a:pt x="71" y="6"/>
                    </a:lnTo>
                    <a:lnTo>
                      <a:pt x="75" y="5"/>
                    </a:lnTo>
                    <a:lnTo>
                      <a:pt x="79" y="5"/>
                    </a:lnTo>
                    <a:lnTo>
                      <a:pt x="88" y="0"/>
                    </a:lnTo>
                    <a:lnTo>
                      <a:pt x="93" y="0"/>
                    </a:lnTo>
                    <a:lnTo>
                      <a:pt x="101" y="9"/>
                    </a:lnTo>
                    <a:lnTo>
                      <a:pt x="103" y="13"/>
                    </a:lnTo>
                    <a:lnTo>
                      <a:pt x="111" y="29"/>
                    </a:lnTo>
                    <a:lnTo>
                      <a:pt x="113" y="42"/>
                    </a:lnTo>
                    <a:lnTo>
                      <a:pt x="113" y="47"/>
                    </a:lnTo>
                    <a:lnTo>
                      <a:pt x="113" y="58"/>
                    </a:lnTo>
                    <a:lnTo>
                      <a:pt x="116" y="57"/>
                    </a:lnTo>
                    <a:lnTo>
                      <a:pt x="119" y="61"/>
                    </a:lnTo>
                    <a:lnTo>
                      <a:pt x="122" y="61"/>
                    </a:lnTo>
                    <a:lnTo>
                      <a:pt x="125" y="60"/>
                    </a:lnTo>
                    <a:lnTo>
                      <a:pt x="130" y="58"/>
                    </a:lnTo>
                    <a:lnTo>
                      <a:pt x="133" y="58"/>
                    </a:lnTo>
                    <a:lnTo>
                      <a:pt x="135" y="60"/>
                    </a:lnTo>
                    <a:lnTo>
                      <a:pt x="135" y="61"/>
                    </a:lnTo>
                    <a:lnTo>
                      <a:pt x="135" y="69"/>
                    </a:lnTo>
                    <a:lnTo>
                      <a:pt x="132" y="71"/>
                    </a:lnTo>
                    <a:lnTo>
                      <a:pt x="130" y="71"/>
                    </a:lnTo>
                    <a:lnTo>
                      <a:pt x="123" y="79"/>
                    </a:lnTo>
                    <a:lnTo>
                      <a:pt x="123" y="76"/>
                    </a:lnTo>
                    <a:lnTo>
                      <a:pt x="125" y="74"/>
                    </a:lnTo>
                    <a:lnTo>
                      <a:pt x="126" y="71"/>
                    </a:lnTo>
                    <a:lnTo>
                      <a:pt x="126" y="67"/>
                    </a:lnTo>
                    <a:lnTo>
                      <a:pt x="123" y="67"/>
                    </a:lnTo>
                    <a:lnTo>
                      <a:pt x="120" y="9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67" name="Freeform 1455"/>
              <p:cNvSpPr>
                <a:spLocks/>
              </p:cNvSpPr>
              <p:nvPr/>
            </p:nvSpPr>
            <p:spPr bwMode="auto">
              <a:xfrm>
                <a:off x="6382309" y="2459263"/>
                <a:ext cx="123770" cy="97357"/>
              </a:xfrm>
              <a:custGeom>
                <a:avLst/>
                <a:gdLst/>
                <a:ahLst/>
                <a:cxnLst>
                  <a:cxn ang="0">
                    <a:pos x="116" y="92"/>
                  </a:cxn>
                  <a:cxn ang="0">
                    <a:pos x="103" y="86"/>
                  </a:cxn>
                  <a:cxn ang="0">
                    <a:pos x="95" y="85"/>
                  </a:cxn>
                  <a:cxn ang="0">
                    <a:pos x="40" y="90"/>
                  </a:cxn>
                  <a:cxn ang="0">
                    <a:pos x="39" y="85"/>
                  </a:cxn>
                  <a:cxn ang="0">
                    <a:pos x="32" y="79"/>
                  </a:cxn>
                  <a:cxn ang="0">
                    <a:pos x="32" y="73"/>
                  </a:cxn>
                  <a:cxn ang="0">
                    <a:pos x="21" y="73"/>
                  </a:cxn>
                  <a:cxn ang="0">
                    <a:pos x="17" y="63"/>
                  </a:cxn>
                  <a:cxn ang="0">
                    <a:pos x="13" y="61"/>
                  </a:cxn>
                  <a:cxn ang="0">
                    <a:pos x="7" y="50"/>
                  </a:cxn>
                  <a:cxn ang="0">
                    <a:pos x="0" y="44"/>
                  </a:cxn>
                  <a:cxn ang="0">
                    <a:pos x="13" y="40"/>
                  </a:cxn>
                  <a:cxn ang="0">
                    <a:pos x="23" y="22"/>
                  </a:cxn>
                  <a:cxn ang="0">
                    <a:pos x="24" y="16"/>
                  </a:cxn>
                  <a:cxn ang="0">
                    <a:pos x="27" y="12"/>
                  </a:cxn>
                  <a:cxn ang="0">
                    <a:pos x="33" y="9"/>
                  </a:cxn>
                  <a:cxn ang="0">
                    <a:pos x="39" y="5"/>
                  </a:cxn>
                  <a:cxn ang="0">
                    <a:pos x="66" y="9"/>
                  </a:cxn>
                  <a:cxn ang="0">
                    <a:pos x="75" y="5"/>
                  </a:cxn>
                  <a:cxn ang="0">
                    <a:pos x="88" y="0"/>
                  </a:cxn>
                  <a:cxn ang="0">
                    <a:pos x="101" y="9"/>
                  </a:cxn>
                  <a:cxn ang="0">
                    <a:pos x="111" y="29"/>
                  </a:cxn>
                  <a:cxn ang="0">
                    <a:pos x="113" y="47"/>
                  </a:cxn>
                  <a:cxn ang="0">
                    <a:pos x="116" y="57"/>
                  </a:cxn>
                  <a:cxn ang="0">
                    <a:pos x="122" y="61"/>
                  </a:cxn>
                  <a:cxn ang="0">
                    <a:pos x="130" y="58"/>
                  </a:cxn>
                  <a:cxn ang="0">
                    <a:pos x="135" y="60"/>
                  </a:cxn>
                  <a:cxn ang="0">
                    <a:pos x="135" y="69"/>
                  </a:cxn>
                  <a:cxn ang="0">
                    <a:pos x="130" y="71"/>
                  </a:cxn>
                  <a:cxn ang="0">
                    <a:pos x="123" y="76"/>
                  </a:cxn>
                  <a:cxn ang="0">
                    <a:pos x="126" y="71"/>
                  </a:cxn>
                  <a:cxn ang="0">
                    <a:pos x="123" y="67"/>
                  </a:cxn>
                </a:cxnLst>
                <a:rect l="0" t="0" r="r" b="b"/>
                <a:pathLst>
                  <a:path w="135" h="93">
                    <a:moveTo>
                      <a:pt x="120" y="92"/>
                    </a:moveTo>
                    <a:lnTo>
                      <a:pt x="116" y="92"/>
                    </a:lnTo>
                    <a:lnTo>
                      <a:pt x="110" y="89"/>
                    </a:lnTo>
                    <a:lnTo>
                      <a:pt x="103" y="86"/>
                    </a:lnTo>
                    <a:lnTo>
                      <a:pt x="101" y="85"/>
                    </a:lnTo>
                    <a:lnTo>
                      <a:pt x="95" y="85"/>
                    </a:lnTo>
                    <a:lnTo>
                      <a:pt x="75" y="93"/>
                    </a:lnTo>
                    <a:lnTo>
                      <a:pt x="40" y="90"/>
                    </a:lnTo>
                    <a:lnTo>
                      <a:pt x="37" y="89"/>
                    </a:lnTo>
                    <a:lnTo>
                      <a:pt x="39" y="85"/>
                    </a:lnTo>
                    <a:lnTo>
                      <a:pt x="33" y="83"/>
                    </a:lnTo>
                    <a:lnTo>
                      <a:pt x="32" y="79"/>
                    </a:lnTo>
                    <a:lnTo>
                      <a:pt x="34" y="76"/>
                    </a:lnTo>
                    <a:lnTo>
                      <a:pt x="32" y="73"/>
                    </a:lnTo>
                    <a:lnTo>
                      <a:pt x="29" y="76"/>
                    </a:lnTo>
                    <a:lnTo>
                      <a:pt x="21" y="73"/>
                    </a:lnTo>
                    <a:lnTo>
                      <a:pt x="19" y="70"/>
                    </a:lnTo>
                    <a:lnTo>
                      <a:pt x="17" y="63"/>
                    </a:lnTo>
                    <a:lnTo>
                      <a:pt x="14" y="61"/>
                    </a:lnTo>
                    <a:lnTo>
                      <a:pt x="13" y="61"/>
                    </a:lnTo>
                    <a:lnTo>
                      <a:pt x="10" y="58"/>
                    </a:lnTo>
                    <a:lnTo>
                      <a:pt x="7" y="50"/>
                    </a:lnTo>
                    <a:lnTo>
                      <a:pt x="4" y="47"/>
                    </a:lnTo>
                    <a:lnTo>
                      <a:pt x="0" y="44"/>
                    </a:lnTo>
                    <a:lnTo>
                      <a:pt x="0" y="44"/>
                    </a:lnTo>
                    <a:lnTo>
                      <a:pt x="13" y="40"/>
                    </a:lnTo>
                    <a:lnTo>
                      <a:pt x="20" y="25"/>
                    </a:lnTo>
                    <a:lnTo>
                      <a:pt x="23" y="22"/>
                    </a:lnTo>
                    <a:lnTo>
                      <a:pt x="23" y="19"/>
                    </a:lnTo>
                    <a:lnTo>
                      <a:pt x="24" y="16"/>
                    </a:lnTo>
                    <a:lnTo>
                      <a:pt x="26" y="13"/>
                    </a:lnTo>
                    <a:lnTo>
                      <a:pt x="27" y="12"/>
                    </a:lnTo>
                    <a:lnTo>
                      <a:pt x="32" y="9"/>
                    </a:lnTo>
                    <a:lnTo>
                      <a:pt x="33" y="9"/>
                    </a:lnTo>
                    <a:lnTo>
                      <a:pt x="36" y="6"/>
                    </a:lnTo>
                    <a:lnTo>
                      <a:pt x="39" y="5"/>
                    </a:lnTo>
                    <a:lnTo>
                      <a:pt x="62" y="5"/>
                    </a:lnTo>
                    <a:lnTo>
                      <a:pt x="66" y="9"/>
                    </a:lnTo>
                    <a:lnTo>
                      <a:pt x="71" y="6"/>
                    </a:lnTo>
                    <a:lnTo>
                      <a:pt x="75" y="5"/>
                    </a:lnTo>
                    <a:lnTo>
                      <a:pt x="79" y="5"/>
                    </a:lnTo>
                    <a:lnTo>
                      <a:pt x="88" y="0"/>
                    </a:lnTo>
                    <a:lnTo>
                      <a:pt x="93" y="0"/>
                    </a:lnTo>
                    <a:lnTo>
                      <a:pt x="101" y="9"/>
                    </a:lnTo>
                    <a:lnTo>
                      <a:pt x="103" y="13"/>
                    </a:lnTo>
                    <a:lnTo>
                      <a:pt x="111" y="29"/>
                    </a:lnTo>
                    <a:lnTo>
                      <a:pt x="113" y="42"/>
                    </a:lnTo>
                    <a:lnTo>
                      <a:pt x="113" y="47"/>
                    </a:lnTo>
                    <a:lnTo>
                      <a:pt x="113" y="58"/>
                    </a:lnTo>
                    <a:lnTo>
                      <a:pt x="116" y="57"/>
                    </a:lnTo>
                    <a:lnTo>
                      <a:pt x="119" y="61"/>
                    </a:lnTo>
                    <a:lnTo>
                      <a:pt x="122" y="61"/>
                    </a:lnTo>
                    <a:lnTo>
                      <a:pt x="125" y="60"/>
                    </a:lnTo>
                    <a:lnTo>
                      <a:pt x="130" y="58"/>
                    </a:lnTo>
                    <a:lnTo>
                      <a:pt x="133" y="58"/>
                    </a:lnTo>
                    <a:lnTo>
                      <a:pt x="135" y="60"/>
                    </a:lnTo>
                    <a:lnTo>
                      <a:pt x="135" y="61"/>
                    </a:lnTo>
                    <a:lnTo>
                      <a:pt x="135" y="69"/>
                    </a:lnTo>
                    <a:lnTo>
                      <a:pt x="132" y="71"/>
                    </a:lnTo>
                    <a:lnTo>
                      <a:pt x="130" y="71"/>
                    </a:lnTo>
                    <a:lnTo>
                      <a:pt x="123" y="79"/>
                    </a:lnTo>
                    <a:lnTo>
                      <a:pt x="123" y="76"/>
                    </a:lnTo>
                    <a:lnTo>
                      <a:pt x="125" y="74"/>
                    </a:lnTo>
                    <a:lnTo>
                      <a:pt x="126" y="71"/>
                    </a:lnTo>
                    <a:lnTo>
                      <a:pt x="126" y="67"/>
                    </a:lnTo>
                    <a:lnTo>
                      <a:pt x="123" y="67"/>
                    </a:lnTo>
                    <a:lnTo>
                      <a:pt x="120" y="9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68" name="Freeform 1456"/>
              <p:cNvSpPr>
                <a:spLocks/>
              </p:cNvSpPr>
              <p:nvPr/>
            </p:nvSpPr>
            <p:spPr bwMode="auto">
              <a:xfrm>
                <a:off x="6403376" y="2199645"/>
                <a:ext cx="17556" cy="19268"/>
              </a:xfrm>
              <a:custGeom>
                <a:avLst/>
                <a:gdLst/>
                <a:ahLst/>
                <a:cxnLst>
                  <a:cxn ang="0">
                    <a:pos x="16" y="0"/>
                  </a:cxn>
                  <a:cxn ang="0">
                    <a:pos x="7" y="2"/>
                  </a:cxn>
                  <a:cxn ang="0">
                    <a:pos x="6" y="5"/>
                  </a:cxn>
                  <a:cxn ang="0">
                    <a:pos x="4" y="3"/>
                  </a:cxn>
                  <a:cxn ang="0">
                    <a:pos x="3" y="5"/>
                  </a:cxn>
                  <a:cxn ang="0">
                    <a:pos x="0" y="3"/>
                  </a:cxn>
                  <a:cxn ang="0">
                    <a:pos x="0" y="11"/>
                  </a:cxn>
                  <a:cxn ang="0">
                    <a:pos x="1" y="12"/>
                  </a:cxn>
                  <a:cxn ang="0">
                    <a:pos x="3" y="12"/>
                  </a:cxn>
                  <a:cxn ang="0">
                    <a:pos x="3" y="15"/>
                  </a:cxn>
                  <a:cxn ang="0">
                    <a:pos x="1" y="16"/>
                  </a:cxn>
                  <a:cxn ang="0">
                    <a:pos x="1" y="19"/>
                  </a:cxn>
                  <a:cxn ang="0">
                    <a:pos x="6" y="12"/>
                  </a:cxn>
                  <a:cxn ang="0">
                    <a:pos x="7" y="9"/>
                  </a:cxn>
                  <a:cxn ang="0">
                    <a:pos x="10" y="11"/>
                  </a:cxn>
                  <a:cxn ang="0">
                    <a:pos x="11" y="11"/>
                  </a:cxn>
                  <a:cxn ang="0">
                    <a:pos x="11" y="11"/>
                  </a:cxn>
                  <a:cxn ang="0">
                    <a:pos x="13" y="9"/>
                  </a:cxn>
                  <a:cxn ang="0">
                    <a:pos x="16" y="8"/>
                  </a:cxn>
                  <a:cxn ang="0">
                    <a:pos x="17" y="6"/>
                  </a:cxn>
                  <a:cxn ang="0">
                    <a:pos x="19" y="5"/>
                  </a:cxn>
                  <a:cxn ang="0">
                    <a:pos x="19" y="5"/>
                  </a:cxn>
                  <a:cxn ang="0">
                    <a:pos x="17" y="2"/>
                  </a:cxn>
                  <a:cxn ang="0">
                    <a:pos x="16" y="2"/>
                  </a:cxn>
                  <a:cxn ang="0">
                    <a:pos x="16" y="0"/>
                  </a:cxn>
                </a:cxnLst>
                <a:rect l="0" t="0" r="r" b="b"/>
                <a:pathLst>
                  <a:path w="19" h="19">
                    <a:moveTo>
                      <a:pt x="16" y="0"/>
                    </a:moveTo>
                    <a:lnTo>
                      <a:pt x="7" y="2"/>
                    </a:lnTo>
                    <a:lnTo>
                      <a:pt x="6" y="5"/>
                    </a:lnTo>
                    <a:lnTo>
                      <a:pt x="4" y="3"/>
                    </a:lnTo>
                    <a:lnTo>
                      <a:pt x="3" y="5"/>
                    </a:lnTo>
                    <a:lnTo>
                      <a:pt x="0" y="3"/>
                    </a:lnTo>
                    <a:lnTo>
                      <a:pt x="0" y="11"/>
                    </a:lnTo>
                    <a:lnTo>
                      <a:pt x="1" y="12"/>
                    </a:lnTo>
                    <a:lnTo>
                      <a:pt x="3" y="12"/>
                    </a:lnTo>
                    <a:lnTo>
                      <a:pt x="3" y="15"/>
                    </a:lnTo>
                    <a:lnTo>
                      <a:pt x="1" y="16"/>
                    </a:lnTo>
                    <a:lnTo>
                      <a:pt x="1" y="19"/>
                    </a:lnTo>
                    <a:lnTo>
                      <a:pt x="6" y="12"/>
                    </a:lnTo>
                    <a:lnTo>
                      <a:pt x="7" y="9"/>
                    </a:lnTo>
                    <a:lnTo>
                      <a:pt x="10" y="11"/>
                    </a:lnTo>
                    <a:lnTo>
                      <a:pt x="11" y="11"/>
                    </a:lnTo>
                    <a:lnTo>
                      <a:pt x="11" y="11"/>
                    </a:lnTo>
                    <a:lnTo>
                      <a:pt x="13" y="9"/>
                    </a:lnTo>
                    <a:lnTo>
                      <a:pt x="16" y="8"/>
                    </a:lnTo>
                    <a:lnTo>
                      <a:pt x="17" y="6"/>
                    </a:lnTo>
                    <a:lnTo>
                      <a:pt x="19" y="5"/>
                    </a:lnTo>
                    <a:lnTo>
                      <a:pt x="19" y="5"/>
                    </a:lnTo>
                    <a:lnTo>
                      <a:pt x="17" y="2"/>
                    </a:lnTo>
                    <a:lnTo>
                      <a:pt x="16" y="2"/>
                    </a:lnTo>
                    <a:lnTo>
                      <a:pt x="16"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69" name="Freeform 1457"/>
              <p:cNvSpPr>
                <a:spLocks/>
              </p:cNvSpPr>
              <p:nvPr/>
            </p:nvSpPr>
            <p:spPr bwMode="auto">
              <a:xfrm>
                <a:off x="6403376" y="2199645"/>
                <a:ext cx="17556" cy="19268"/>
              </a:xfrm>
              <a:custGeom>
                <a:avLst/>
                <a:gdLst/>
                <a:ahLst/>
                <a:cxnLst>
                  <a:cxn ang="0">
                    <a:pos x="16" y="0"/>
                  </a:cxn>
                  <a:cxn ang="0">
                    <a:pos x="7" y="2"/>
                  </a:cxn>
                  <a:cxn ang="0">
                    <a:pos x="6" y="5"/>
                  </a:cxn>
                  <a:cxn ang="0">
                    <a:pos x="4" y="3"/>
                  </a:cxn>
                  <a:cxn ang="0">
                    <a:pos x="3" y="5"/>
                  </a:cxn>
                  <a:cxn ang="0">
                    <a:pos x="0" y="3"/>
                  </a:cxn>
                  <a:cxn ang="0">
                    <a:pos x="0" y="11"/>
                  </a:cxn>
                  <a:cxn ang="0">
                    <a:pos x="1" y="12"/>
                  </a:cxn>
                  <a:cxn ang="0">
                    <a:pos x="3" y="12"/>
                  </a:cxn>
                  <a:cxn ang="0">
                    <a:pos x="3" y="15"/>
                  </a:cxn>
                  <a:cxn ang="0">
                    <a:pos x="1" y="16"/>
                  </a:cxn>
                  <a:cxn ang="0">
                    <a:pos x="1" y="19"/>
                  </a:cxn>
                  <a:cxn ang="0">
                    <a:pos x="6" y="12"/>
                  </a:cxn>
                  <a:cxn ang="0">
                    <a:pos x="7" y="9"/>
                  </a:cxn>
                  <a:cxn ang="0">
                    <a:pos x="10" y="11"/>
                  </a:cxn>
                  <a:cxn ang="0">
                    <a:pos x="11" y="11"/>
                  </a:cxn>
                  <a:cxn ang="0">
                    <a:pos x="11" y="11"/>
                  </a:cxn>
                  <a:cxn ang="0">
                    <a:pos x="13" y="9"/>
                  </a:cxn>
                  <a:cxn ang="0">
                    <a:pos x="16" y="8"/>
                  </a:cxn>
                  <a:cxn ang="0">
                    <a:pos x="17" y="6"/>
                  </a:cxn>
                  <a:cxn ang="0">
                    <a:pos x="19" y="5"/>
                  </a:cxn>
                  <a:cxn ang="0">
                    <a:pos x="19" y="5"/>
                  </a:cxn>
                  <a:cxn ang="0">
                    <a:pos x="17" y="2"/>
                  </a:cxn>
                  <a:cxn ang="0">
                    <a:pos x="16" y="2"/>
                  </a:cxn>
                  <a:cxn ang="0">
                    <a:pos x="16" y="0"/>
                  </a:cxn>
                </a:cxnLst>
                <a:rect l="0" t="0" r="r" b="b"/>
                <a:pathLst>
                  <a:path w="19" h="19">
                    <a:moveTo>
                      <a:pt x="16" y="0"/>
                    </a:moveTo>
                    <a:lnTo>
                      <a:pt x="7" y="2"/>
                    </a:lnTo>
                    <a:lnTo>
                      <a:pt x="6" y="5"/>
                    </a:lnTo>
                    <a:lnTo>
                      <a:pt x="4" y="3"/>
                    </a:lnTo>
                    <a:lnTo>
                      <a:pt x="3" y="5"/>
                    </a:lnTo>
                    <a:lnTo>
                      <a:pt x="0" y="3"/>
                    </a:lnTo>
                    <a:lnTo>
                      <a:pt x="0" y="11"/>
                    </a:lnTo>
                    <a:lnTo>
                      <a:pt x="1" y="12"/>
                    </a:lnTo>
                    <a:lnTo>
                      <a:pt x="3" y="12"/>
                    </a:lnTo>
                    <a:lnTo>
                      <a:pt x="3" y="15"/>
                    </a:lnTo>
                    <a:lnTo>
                      <a:pt x="1" y="16"/>
                    </a:lnTo>
                    <a:lnTo>
                      <a:pt x="1" y="19"/>
                    </a:lnTo>
                    <a:lnTo>
                      <a:pt x="6" y="12"/>
                    </a:lnTo>
                    <a:lnTo>
                      <a:pt x="7" y="9"/>
                    </a:lnTo>
                    <a:lnTo>
                      <a:pt x="10" y="11"/>
                    </a:lnTo>
                    <a:lnTo>
                      <a:pt x="11" y="11"/>
                    </a:lnTo>
                    <a:lnTo>
                      <a:pt x="11" y="11"/>
                    </a:lnTo>
                    <a:lnTo>
                      <a:pt x="13" y="9"/>
                    </a:lnTo>
                    <a:lnTo>
                      <a:pt x="16" y="8"/>
                    </a:lnTo>
                    <a:lnTo>
                      <a:pt x="17" y="6"/>
                    </a:lnTo>
                    <a:lnTo>
                      <a:pt x="19" y="5"/>
                    </a:lnTo>
                    <a:lnTo>
                      <a:pt x="19" y="5"/>
                    </a:lnTo>
                    <a:lnTo>
                      <a:pt x="17" y="2"/>
                    </a:lnTo>
                    <a:lnTo>
                      <a:pt x="16" y="2"/>
                    </a:lnTo>
                    <a:lnTo>
                      <a:pt x="16"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70" name="Freeform 1458"/>
              <p:cNvSpPr>
                <a:spLocks/>
              </p:cNvSpPr>
              <p:nvPr/>
            </p:nvSpPr>
            <p:spPr bwMode="auto">
              <a:xfrm>
                <a:off x="6406887" y="2187476"/>
                <a:ext cx="11412" cy="11155"/>
              </a:xfrm>
              <a:custGeom>
                <a:avLst/>
                <a:gdLst/>
                <a:ahLst/>
                <a:cxnLst>
                  <a:cxn ang="0">
                    <a:pos x="4" y="3"/>
                  </a:cxn>
                  <a:cxn ang="0">
                    <a:pos x="0" y="3"/>
                  </a:cxn>
                  <a:cxn ang="0">
                    <a:pos x="0" y="4"/>
                  </a:cxn>
                  <a:cxn ang="0">
                    <a:pos x="0" y="4"/>
                  </a:cxn>
                  <a:cxn ang="0">
                    <a:pos x="3" y="4"/>
                  </a:cxn>
                  <a:cxn ang="0">
                    <a:pos x="4" y="10"/>
                  </a:cxn>
                  <a:cxn ang="0">
                    <a:pos x="7" y="8"/>
                  </a:cxn>
                  <a:cxn ang="0">
                    <a:pos x="7" y="7"/>
                  </a:cxn>
                  <a:cxn ang="0">
                    <a:pos x="13" y="6"/>
                  </a:cxn>
                  <a:cxn ang="0">
                    <a:pos x="13" y="3"/>
                  </a:cxn>
                  <a:cxn ang="0">
                    <a:pos x="11" y="1"/>
                  </a:cxn>
                  <a:cxn ang="0">
                    <a:pos x="10" y="1"/>
                  </a:cxn>
                  <a:cxn ang="0">
                    <a:pos x="8" y="0"/>
                  </a:cxn>
                  <a:cxn ang="0">
                    <a:pos x="7" y="0"/>
                  </a:cxn>
                  <a:cxn ang="0">
                    <a:pos x="6" y="1"/>
                  </a:cxn>
                  <a:cxn ang="0">
                    <a:pos x="4" y="3"/>
                  </a:cxn>
                </a:cxnLst>
                <a:rect l="0" t="0" r="r" b="b"/>
                <a:pathLst>
                  <a:path w="13" h="10">
                    <a:moveTo>
                      <a:pt x="4" y="3"/>
                    </a:moveTo>
                    <a:lnTo>
                      <a:pt x="0" y="3"/>
                    </a:lnTo>
                    <a:lnTo>
                      <a:pt x="0" y="4"/>
                    </a:lnTo>
                    <a:lnTo>
                      <a:pt x="0" y="4"/>
                    </a:lnTo>
                    <a:lnTo>
                      <a:pt x="3" y="4"/>
                    </a:lnTo>
                    <a:lnTo>
                      <a:pt x="4" y="10"/>
                    </a:lnTo>
                    <a:lnTo>
                      <a:pt x="7" y="8"/>
                    </a:lnTo>
                    <a:lnTo>
                      <a:pt x="7" y="7"/>
                    </a:lnTo>
                    <a:lnTo>
                      <a:pt x="13" y="6"/>
                    </a:lnTo>
                    <a:lnTo>
                      <a:pt x="13" y="3"/>
                    </a:lnTo>
                    <a:lnTo>
                      <a:pt x="11" y="1"/>
                    </a:lnTo>
                    <a:lnTo>
                      <a:pt x="10" y="1"/>
                    </a:lnTo>
                    <a:lnTo>
                      <a:pt x="8" y="0"/>
                    </a:lnTo>
                    <a:lnTo>
                      <a:pt x="7" y="0"/>
                    </a:lnTo>
                    <a:lnTo>
                      <a:pt x="6" y="1"/>
                    </a:lnTo>
                    <a:lnTo>
                      <a:pt x="4"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71" name="Freeform 1459"/>
              <p:cNvSpPr>
                <a:spLocks/>
              </p:cNvSpPr>
              <p:nvPr/>
            </p:nvSpPr>
            <p:spPr bwMode="auto">
              <a:xfrm>
                <a:off x="6406887" y="2187476"/>
                <a:ext cx="11412" cy="11155"/>
              </a:xfrm>
              <a:custGeom>
                <a:avLst/>
                <a:gdLst/>
                <a:ahLst/>
                <a:cxnLst>
                  <a:cxn ang="0">
                    <a:pos x="4" y="3"/>
                  </a:cxn>
                  <a:cxn ang="0">
                    <a:pos x="0" y="3"/>
                  </a:cxn>
                  <a:cxn ang="0">
                    <a:pos x="0" y="4"/>
                  </a:cxn>
                  <a:cxn ang="0">
                    <a:pos x="0" y="4"/>
                  </a:cxn>
                  <a:cxn ang="0">
                    <a:pos x="3" y="4"/>
                  </a:cxn>
                  <a:cxn ang="0">
                    <a:pos x="4" y="10"/>
                  </a:cxn>
                  <a:cxn ang="0">
                    <a:pos x="7" y="8"/>
                  </a:cxn>
                  <a:cxn ang="0">
                    <a:pos x="7" y="7"/>
                  </a:cxn>
                  <a:cxn ang="0">
                    <a:pos x="13" y="6"/>
                  </a:cxn>
                  <a:cxn ang="0">
                    <a:pos x="13" y="3"/>
                  </a:cxn>
                  <a:cxn ang="0">
                    <a:pos x="11" y="1"/>
                  </a:cxn>
                  <a:cxn ang="0">
                    <a:pos x="10" y="1"/>
                  </a:cxn>
                  <a:cxn ang="0">
                    <a:pos x="8" y="0"/>
                  </a:cxn>
                  <a:cxn ang="0">
                    <a:pos x="7" y="0"/>
                  </a:cxn>
                  <a:cxn ang="0">
                    <a:pos x="6" y="1"/>
                  </a:cxn>
                  <a:cxn ang="0">
                    <a:pos x="4" y="3"/>
                  </a:cxn>
                </a:cxnLst>
                <a:rect l="0" t="0" r="r" b="b"/>
                <a:pathLst>
                  <a:path w="13" h="10">
                    <a:moveTo>
                      <a:pt x="4" y="3"/>
                    </a:moveTo>
                    <a:lnTo>
                      <a:pt x="0" y="3"/>
                    </a:lnTo>
                    <a:lnTo>
                      <a:pt x="0" y="4"/>
                    </a:lnTo>
                    <a:lnTo>
                      <a:pt x="0" y="4"/>
                    </a:lnTo>
                    <a:lnTo>
                      <a:pt x="3" y="4"/>
                    </a:lnTo>
                    <a:lnTo>
                      <a:pt x="4" y="10"/>
                    </a:lnTo>
                    <a:lnTo>
                      <a:pt x="7" y="8"/>
                    </a:lnTo>
                    <a:lnTo>
                      <a:pt x="7" y="7"/>
                    </a:lnTo>
                    <a:lnTo>
                      <a:pt x="13" y="6"/>
                    </a:lnTo>
                    <a:lnTo>
                      <a:pt x="13" y="3"/>
                    </a:lnTo>
                    <a:lnTo>
                      <a:pt x="11" y="1"/>
                    </a:lnTo>
                    <a:lnTo>
                      <a:pt x="10" y="1"/>
                    </a:lnTo>
                    <a:lnTo>
                      <a:pt x="8" y="0"/>
                    </a:lnTo>
                    <a:lnTo>
                      <a:pt x="7" y="0"/>
                    </a:lnTo>
                    <a:lnTo>
                      <a:pt x="6" y="1"/>
                    </a:lnTo>
                    <a:lnTo>
                      <a:pt x="4"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72" name="Freeform 1460"/>
              <p:cNvSpPr>
                <a:spLocks/>
              </p:cNvSpPr>
              <p:nvPr/>
            </p:nvSpPr>
            <p:spPr bwMode="auto">
              <a:xfrm>
                <a:off x="6423566" y="2169221"/>
                <a:ext cx="63202" cy="59833"/>
              </a:xfrm>
              <a:custGeom>
                <a:avLst/>
                <a:gdLst/>
                <a:ahLst/>
                <a:cxnLst>
                  <a:cxn ang="0">
                    <a:pos x="32" y="0"/>
                  </a:cxn>
                  <a:cxn ang="0">
                    <a:pos x="36" y="2"/>
                  </a:cxn>
                  <a:cxn ang="0">
                    <a:pos x="48" y="6"/>
                  </a:cxn>
                  <a:cxn ang="0">
                    <a:pos x="62" y="8"/>
                  </a:cxn>
                  <a:cxn ang="0">
                    <a:pos x="66" y="5"/>
                  </a:cxn>
                  <a:cxn ang="0">
                    <a:pos x="69" y="6"/>
                  </a:cxn>
                  <a:cxn ang="0">
                    <a:pos x="69" y="10"/>
                  </a:cxn>
                  <a:cxn ang="0">
                    <a:pos x="62" y="21"/>
                  </a:cxn>
                  <a:cxn ang="0">
                    <a:pos x="62" y="29"/>
                  </a:cxn>
                  <a:cxn ang="0">
                    <a:pos x="64" y="34"/>
                  </a:cxn>
                  <a:cxn ang="0">
                    <a:pos x="59" y="38"/>
                  </a:cxn>
                  <a:cxn ang="0">
                    <a:pos x="59" y="42"/>
                  </a:cxn>
                  <a:cxn ang="0">
                    <a:pos x="68" y="47"/>
                  </a:cxn>
                  <a:cxn ang="0">
                    <a:pos x="65" y="51"/>
                  </a:cxn>
                  <a:cxn ang="0">
                    <a:pos x="61" y="50"/>
                  </a:cxn>
                  <a:cxn ang="0">
                    <a:pos x="58" y="58"/>
                  </a:cxn>
                  <a:cxn ang="0">
                    <a:pos x="53" y="57"/>
                  </a:cxn>
                  <a:cxn ang="0">
                    <a:pos x="48" y="58"/>
                  </a:cxn>
                  <a:cxn ang="0">
                    <a:pos x="40" y="53"/>
                  </a:cxn>
                  <a:cxn ang="0">
                    <a:pos x="34" y="48"/>
                  </a:cxn>
                  <a:cxn ang="0">
                    <a:pos x="27" y="45"/>
                  </a:cxn>
                  <a:cxn ang="0">
                    <a:pos x="17" y="48"/>
                  </a:cxn>
                  <a:cxn ang="0">
                    <a:pos x="13" y="51"/>
                  </a:cxn>
                  <a:cxn ang="0">
                    <a:pos x="16" y="37"/>
                  </a:cxn>
                  <a:cxn ang="0">
                    <a:pos x="11" y="38"/>
                  </a:cxn>
                  <a:cxn ang="0">
                    <a:pos x="7" y="37"/>
                  </a:cxn>
                  <a:cxn ang="0">
                    <a:pos x="4" y="37"/>
                  </a:cxn>
                  <a:cxn ang="0">
                    <a:pos x="1" y="32"/>
                  </a:cxn>
                  <a:cxn ang="0">
                    <a:pos x="3" y="26"/>
                  </a:cxn>
                  <a:cxn ang="0">
                    <a:pos x="4" y="25"/>
                  </a:cxn>
                  <a:cxn ang="0">
                    <a:pos x="1" y="21"/>
                  </a:cxn>
                  <a:cxn ang="0">
                    <a:pos x="1" y="19"/>
                  </a:cxn>
                  <a:cxn ang="0">
                    <a:pos x="1" y="13"/>
                  </a:cxn>
                  <a:cxn ang="0">
                    <a:pos x="10" y="10"/>
                  </a:cxn>
                  <a:cxn ang="0">
                    <a:pos x="10" y="9"/>
                  </a:cxn>
                  <a:cxn ang="0">
                    <a:pos x="14" y="6"/>
                  </a:cxn>
                  <a:cxn ang="0">
                    <a:pos x="20" y="3"/>
                  </a:cxn>
                  <a:cxn ang="0">
                    <a:pos x="29" y="5"/>
                  </a:cxn>
                  <a:cxn ang="0">
                    <a:pos x="29" y="2"/>
                  </a:cxn>
                </a:cxnLst>
                <a:rect l="0" t="0" r="r" b="b"/>
                <a:pathLst>
                  <a:path w="69" h="58">
                    <a:moveTo>
                      <a:pt x="32" y="2"/>
                    </a:moveTo>
                    <a:lnTo>
                      <a:pt x="32" y="0"/>
                    </a:lnTo>
                    <a:lnTo>
                      <a:pt x="34" y="3"/>
                    </a:lnTo>
                    <a:lnTo>
                      <a:pt x="36" y="2"/>
                    </a:lnTo>
                    <a:lnTo>
                      <a:pt x="46" y="5"/>
                    </a:lnTo>
                    <a:lnTo>
                      <a:pt x="48" y="6"/>
                    </a:lnTo>
                    <a:lnTo>
                      <a:pt x="50" y="8"/>
                    </a:lnTo>
                    <a:lnTo>
                      <a:pt x="62" y="8"/>
                    </a:lnTo>
                    <a:lnTo>
                      <a:pt x="65" y="6"/>
                    </a:lnTo>
                    <a:lnTo>
                      <a:pt x="66" y="5"/>
                    </a:lnTo>
                    <a:lnTo>
                      <a:pt x="68" y="5"/>
                    </a:lnTo>
                    <a:lnTo>
                      <a:pt x="69" y="6"/>
                    </a:lnTo>
                    <a:lnTo>
                      <a:pt x="69" y="9"/>
                    </a:lnTo>
                    <a:lnTo>
                      <a:pt x="69" y="10"/>
                    </a:lnTo>
                    <a:lnTo>
                      <a:pt x="66" y="13"/>
                    </a:lnTo>
                    <a:lnTo>
                      <a:pt x="62" y="21"/>
                    </a:lnTo>
                    <a:lnTo>
                      <a:pt x="64" y="25"/>
                    </a:lnTo>
                    <a:lnTo>
                      <a:pt x="62" y="29"/>
                    </a:lnTo>
                    <a:lnTo>
                      <a:pt x="64" y="32"/>
                    </a:lnTo>
                    <a:lnTo>
                      <a:pt x="64" y="34"/>
                    </a:lnTo>
                    <a:lnTo>
                      <a:pt x="62" y="35"/>
                    </a:lnTo>
                    <a:lnTo>
                      <a:pt x="59" y="38"/>
                    </a:lnTo>
                    <a:lnTo>
                      <a:pt x="58" y="41"/>
                    </a:lnTo>
                    <a:lnTo>
                      <a:pt x="59" y="42"/>
                    </a:lnTo>
                    <a:lnTo>
                      <a:pt x="65" y="42"/>
                    </a:lnTo>
                    <a:lnTo>
                      <a:pt x="68" y="47"/>
                    </a:lnTo>
                    <a:lnTo>
                      <a:pt x="68" y="51"/>
                    </a:lnTo>
                    <a:lnTo>
                      <a:pt x="65" y="51"/>
                    </a:lnTo>
                    <a:lnTo>
                      <a:pt x="61" y="47"/>
                    </a:lnTo>
                    <a:lnTo>
                      <a:pt x="61" y="50"/>
                    </a:lnTo>
                    <a:lnTo>
                      <a:pt x="58" y="56"/>
                    </a:lnTo>
                    <a:lnTo>
                      <a:pt x="58" y="58"/>
                    </a:lnTo>
                    <a:lnTo>
                      <a:pt x="58" y="58"/>
                    </a:lnTo>
                    <a:lnTo>
                      <a:pt x="53" y="57"/>
                    </a:lnTo>
                    <a:lnTo>
                      <a:pt x="49" y="57"/>
                    </a:lnTo>
                    <a:lnTo>
                      <a:pt x="48" y="58"/>
                    </a:lnTo>
                    <a:lnTo>
                      <a:pt x="46" y="58"/>
                    </a:lnTo>
                    <a:lnTo>
                      <a:pt x="40" y="53"/>
                    </a:lnTo>
                    <a:lnTo>
                      <a:pt x="39" y="50"/>
                    </a:lnTo>
                    <a:lnTo>
                      <a:pt x="34" y="48"/>
                    </a:lnTo>
                    <a:lnTo>
                      <a:pt x="32" y="47"/>
                    </a:lnTo>
                    <a:lnTo>
                      <a:pt x="27" y="45"/>
                    </a:lnTo>
                    <a:lnTo>
                      <a:pt x="20" y="47"/>
                    </a:lnTo>
                    <a:lnTo>
                      <a:pt x="17" y="48"/>
                    </a:lnTo>
                    <a:lnTo>
                      <a:pt x="14" y="50"/>
                    </a:lnTo>
                    <a:lnTo>
                      <a:pt x="13" y="51"/>
                    </a:lnTo>
                    <a:lnTo>
                      <a:pt x="16" y="38"/>
                    </a:lnTo>
                    <a:lnTo>
                      <a:pt x="16" y="37"/>
                    </a:lnTo>
                    <a:lnTo>
                      <a:pt x="11" y="37"/>
                    </a:lnTo>
                    <a:lnTo>
                      <a:pt x="11" y="38"/>
                    </a:lnTo>
                    <a:lnTo>
                      <a:pt x="8" y="40"/>
                    </a:lnTo>
                    <a:lnTo>
                      <a:pt x="7" y="37"/>
                    </a:lnTo>
                    <a:lnTo>
                      <a:pt x="5" y="38"/>
                    </a:lnTo>
                    <a:lnTo>
                      <a:pt x="4" y="37"/>
                    </a:lnTo>
                    <a:lnTo>
                      <a:pt x="3" y="34"/>
                    </a:lnTo>
                    <a:lnTo>
                      <a:pt x="1" y="32"/>
                    </a:lnTo>
                    <a:lnTo>
                      <a:pt x="1" y="29"/>
                    </a:lnTo>
                    <a:lnTo>
                      <a:pt x="3" y="26"/>
                    </a:lnTo>
                    <a:lnTo>
                      <a:pt x="5" y="26"/>
                    </a:lnTo>
                    <a:lnTo>
                      <a:pt x="4" y="25"/>
                    </a:lnTo>
                    <a:lnTo>
                      <a:pt x="1" y="25"/>
                    </a:lnTo>
                    <a:lnTo>
                      <a:pt x="1" y="21"/>
                    </a:lnTo>
                    <a:lnTo>
                      <a:pt x="1" y="21"/>
                    </a:lnTo>
                    <a:lnTo>
                      <a:pt x="1" y="19"/>
                    </a:lnTo>
                    <a:lnTo>
                      <a:pt x="0" y="19"/>
                    </a:lnTo>
                    <a:lnTo>
                      <a:pt x="1" y="13"/>
                    </a:lnTo>
                    <a:lnTo>
                      <a:pt x="3" y="12"/>
                    </a:lnTo>
                    <a:lnTo>
                      <a:pt x="10" y="10"/>
                    </a:lnTo>
                    <a:lnTo>
                      <a:pt x="10" y="9"/>
                    </a:lnTo>
                    <a:lnTo>
                      <a:pt x="10" y="9"/>
                    </a:lnTo>
                    <a:lnTo>
                      <a:pt x="13" y="8"/>
                    </a:lnTo>
                    <a:lnTo>
                      <a:pt x="14" y="6"/>
                    </a:lnTo>
                    <a:lnTo>
                      <a:pt x="20" y="6"/>
                    </a:lnTo>
                    <a:lnTo>
                      <a:pt x="20" y="3"/>
                    </a:lnTo>
                    <a:lnTo>
                      <a:pt x="23" y="6"/>
                    </a:lnTo>
                    <a:lnTo>
                      <a:pt x="29" y="5"/>
                    </a:lnTo>
                    <a:lnTo>
                      <a:pt x="30" y="3"/>
                    </a:lnTo>
                    <a:lnTo>
                      <a:pt x="29" y="2"/>
                    </a:lnTo>
                    <a:lnTo>
                      <a:pt x="32"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73" name="Freeform 1461"/>
              <p:cNvSpPr>
                <a:spLocks/>
              </p:cNvSpPr>
              <p:nvPr/>
            </p:nvSpPr>
            <p:spPr bwMode="auto">
              <a:xfrm>
                <a:off x="6423566" y="2169221"/>
                <a:ext cx="63202" cy="59833"/>
              </a:xfrm>
              <a:custGeom>
                <a:avLst/>
                <a:gdLst/>
                <a:ahLst/>
                <a:cxnLst>
                  <a:cxn ang="0">
                    <a:pos x="32" y="0"/>
                  </a:cxn>
                  <a:cxn ang="0">
                    <a:pos x="36" y="2"/>
                  </a:cxn>
                  <a:cxn ang="0">
                    <a:pos x="48" y="6"/>
                  </a:cxn>
                  <a:cxn ang="0">
                    <a:pos x="62" y="8"/>
                  </a:cxn>
                  <a:cxn ang="0">
                    <a:pos x="66" y="5"/>
                  </a:cxn>
                  <a:cxn ang="0">
                    <a:pos x="69" y="6"/>
                  </a:cxn>
                  <a:cxn ang="0">
                    <a:pos x="69" y="10"/>
                  </a:cxn>
                  <a:cxn ang="0">
                    <a:pos x="62" y="21"/>
                  </a:cxn>
                  <a:cxn ang="0">
                    <a:pos x="62" y="29"/>
                  </a:cxn>
                  <a:cxn ang="0">
                    <a:pos x="64" y="34"/>
                  </a:cxn>
                  <a:cxn ang="0">
                    <a:pos x="59" y="38"/>
                  </a:cxn>
                  <a:cxn ang="0">
                    <a:pos x="59" y="42"/>
                  </a:cxn>
                  <a:cxn ang="0">
                    <a:pos x="68" y="47"/>
                  </a:cxn>
                  <a:cxn ang="0">
                    <a:pos x="65" y="51"/>
                  </a:cxn>
                  <a:cxn ang="0">
                    <a:pos x="61" y="50"/>
                  </a:cxn>
                  <a:cxn ang="0">
                    <a:pos x="58" y="58"/>
                  </a:cxn>
                  <a:cxn ang="0">
                    <a:pos x="53" y="57"/>
                  </a:cxn>
                  <a:cxn ang="0">
                    <a:pos x="48" y="58"/>
                  </a:cxn>
                  <a:cxn ang="0">
                    <a:pos x="40" y="53"/>
                  </a:cxn>
                  <a:cxn ang="0">
                    <a:pos x="34" y="48"/>
                  </a:cxn>
                  <a:cxn ang="0">
                    <a:pos x="27" y="45"/>
                  </a:cxn>
                  <a:cxn ang="0">
                    <a:pos x="17" y="48"/>
                  </a:cxn>
                  <a:cxn ang="0">
                    <a:pos x="13" y="51"/>
                  </a:cxn>
                  <a:cxn ang="0">
                    <a:pos x="16" y="37"/>
                  </a:cxn>
                  <a:cxn ang="0">
                    <a:pos x="11" y="38"/>
                  </a:cxn>
                  <a:cxn ang="0">
                    <a:pos x="7" y="37"/>
                  </a:cxn>
                  <a:cxn ang="0">
                    <a:pos x="4" y="37"/>
                  </a:cxn>
                  <a:cxn ang="0">
                    <a:pos x="1" y="32"/>
                  </a:cxn>
                  <a:cxn ang="0">
                    <a:pos x="3" y="26"/>
                  </a:cxn>
                  <a:cxn ang="0">
                    <a:pos x="4" y="25"/>
                  </a:cxn>
                  <a:cxn ang="0">
                    <a:pos x="1" y="21"/>
                  </a:cxn>
                  <a:cxn ang="0">
                    <a:pos x="1" y="19"/>
                  </a:cxn>
                  <a:cxn ang="0">
                    <a:pos x="1" y="13"/>
                  </a:cxn>
                  <a:cxn ang="0">
                    <a:pos x="10" y="10"/>
                  </a:cxn>
                  <a:cxn ang="0">
                    <a:pos x="10" y="9"/>
                  </a:cxn>
                  <a:cxn ang="0">
                    <a:pos x="14" y="6"/>
                  </a:cxn>
                  <a:cxn ang="0">
                    <a:pos x="20" y="3"/>
                  </a:cxn>
                  <a:cxn ang="0">
                    <a:pos x="29" y="5"/>
                  </a:cxn>
                  <a:cxn ang="0">
                    <a:pos x="29" y="2"/>
                  </a:cxn>
                </a:cxnLst>
                <a:rect l="0" t="0" r="r" b="b"/>
                <a:pathLst>
                  <a:path w="69" h="58">
                    <a:moveTo>
                      <a:pt x="32" y="2"/>
                    </a:moveTo>
                    <a:lnTo>
                      <a:pt x="32" y="0"/>
                    </a:lnTo>
                    <a:lnTo>
                      <a:pt x="34" y="3"/>
                    </a:lnTo>
                    <a:lnTo>
                      <a:pt x="36" y="2"/>
                    </a:lnTo>
                    <a:lnTo>
                      <a:pt x="46" y="5"/>
                    </a:lnTo>
                    <a:lnTo>
                      <a:pt x="48" y="6"/>
                    </a:lnTo>
                    <a:lnTo>
                      <a:pt x="50" y="8"/>
                    </a:lnTo>
                    <a:lnTo>
                      <a:pt x="62" y="8"/>
                    </a:lnTo>
                    <a:lnTo>
                      <a:pt x="65" y="6"/>
                    </a:lnTo>
                    <a:lnTo>
                      <a:pt x="66" y="5"/>
                    </a:lnTo>
                    <a:lnTo>
                      <a:pt x="68" y="5"/>
                    </a:lnTo>
                    <a:lnTo>
                      <a:pt x="69" y="6"/>
                    </a:lnTo>
                    <a:lnTo>
                      <a:pt x="69" y="9"/>
                    </a:lnTo>
                    <a:lnTo>
                      <a:pt x="69" y="10"/>
                    </a:lnTo>
                    <a:lnTo>
                      <a:pt x="66" y="13"/>
                    </a:lnTo>
                    <a:lnTo>
                      <a:pt x="62" y="21"/>
                    </a:lnTo>
                    <a:lnTo>
                      <a:pt x="64" y="25"/>
                    </a:lnTo>
                    <a:lnTo>
                      <a:pt x="62" y="29"/>
                    </a:lnTo>
                    <a:lnTo>
                      <a:pt x="64" y="32"/>
                    </a:lnTo>
                    <a:lnTo>
                      <a:pt x="64" y="34"/>
                    </a:lnTo>
                    <a:lnTo>
                      <a:pt x="62" y="35"/>
                    </a:lnTo>
                    <a:lnTo>
                      <a:pt x="59" y="38"/>
                    </a:lnTo>
                    <a:lnTo>
                      <a:pt x="58" y="41"/>
                    </a:lnTo>
                    <a:lnTo>
                      <a:pt x="59" y="42"/>
                    </a:lnTo>
                    <a:lnTo>
                      <a:pt x="65" y="42"/>
                    </a:lnTo>
                    <a:lnTo>
                      <a:pt x="68" y="47"/>
                    </a:lnTo>
                    <a:lnTo>
                      <a:pt x="68" y="51"/>
                    </a:lnTo>
                    <a:lnTo>
                      <a:pt x="65" y="51"/>
                    </a:lnTo>
                    <a:lnTo>
                      <a:pt x="61" y="47"/>
                    </a:lnTo>
                    <a:lnTo>
                      <a:pt x="61" y="50"/>
                    </a:lnTo>
                    <a:lnTo>
                      <a:pt x="58" y="56"/>
                    </a:lnTo>
                    <a:lnTo>
                      <a:pt x="58" y="58"/>
                    </a:lnTo>
                    <a:lnTo>
                      <a:pt x="58" y="58"/>
                    </a:lnTo>
                    <a:lnTo>
                      <a:pt x="53" y="57"/>
                    </a:lnTo>
                    <a:lnTo>
                      <a:pt x="49" y="57"/>
                    </a:lnTo>
                    <a:lnTo>
                      <a:pt x="48" y="58"/>
                    </a:lnTo>
                    <a:lnTo>
                      <a:pt x="46" y="58"/>
                    </a:lnTo>
                    <a:lnTo>
                      <a:pt x="40" y="53"/>
                    </a:lnTo>
                    <a:lnTo>
                      <a:pt x="39" y="50"/>
                    </a:lnTo>
                    <a:lnTo>
                      <a:pt x="34" y="48"/>
                    </a:lnTo>
                    <a:lnTo>
                      <a:pt x="32" y="47"/>
                    </a:lnTo>
                    <a:lnTo>
                      <a:pt x="27" y="45"/>
                    </a:lnTo>
                    <a:lnTo>
                      <a:pt x="20" y="47"/>
                    </a:lnTo>
                    <a:lnTo>
                      <a:pt x="17" y="48"/>
                    </a:lnTo>
                    <a:lnTo>
                      <a:pt x="14" y="50"/>
                    </a:lnTo>
                    <a:lnTo>
                      <a:pt x="13" y="51"/>
                    </a:lnTo>
                    <a:lnTo>
                      <a:pt x="16" y="38"/>
                    </a:lnTo>
                    <a:lnTo>
                      <a:pt x="16" y="37"/>
                    </a:lnTo>
                    <a:lnTo>
                      <a:pt x="11" y="37"/>
                    </a:lnTo>
                    <a:lnTo>
                      <a:pt x="11" y="38"/>
                    </a:lnTo>
                    <a:lnTo>
                      <a:pt x="8" y="40"/>
                    </a:lnTo>
                    <a:lnTo>
                      <a:pt x="7" y="37"/>
                    </a:lnTo>
                    <a:lnTo>
                      <a:pt x="5" y="38"/>
                    </a:lnTo>
                    <a:lnTo>
                      <a:pt x="4" y="37"/>
                    </a:lnTo>
                    <a:lnTo>
                      <a:pt x="3" y="34"/>
                    </a:lnTo>
                    <a:lnTo>
                      <a:pt x="1" y="32"/>
                    </a:lnTo>
                    <a:lnTo>
                      <a:pt x="1" y="29"/>
                    </a:lnTo>
                    <a:lnTo>
                      <a:pt x="3" y="26"/>
                    </a:lnTo>
                    <a:lnTo>
                      <a:pt x="5" y="26"/>
                    </a:lnTo>
                    <a:lnTo>
                      <a:pt x="4" y="25"/>
                    </a:lnTo>
                    <a:lnTo>
                      <a:pt x="1" y="25"/>
                    </a:lnTo>
                    <a:lnTo>
                      <a:pt x="1" y="21"/>
                    </a:lnTo>
                    <a:lnTo>
                      <a:pt x="1" y="21"/>
                    </a:lnTo>
                    <a:lnTo>
                      <a:pt x="1" y="19"/>
                    </a:lnTo>
                    <a:lnTo>
                      <a:pt x="0" y="19"/>
                    </a:lnTo>
                    <a:lnTo>
                      <a:pt x="1" y="13"/>
                    </a:lnTo>
                    <a:lnTo>
                      <a:pt x="3" y="12"/>
                    </a:lnTo>
                    <a:lnTo>
                      <a:pt x="10" y="10"/>
                    </a:lnTo>
                    <a:lnTo>
                      <a:pt x="10" y="9"/>
                    </a:lnTo>
                    <a:lnTo>
                      <a:pt x="10" y="9"/>
                    </a:lnTo>
                    <a:lnTo>
                      <a:pt x="13" y="8"/>
                    </a:lnTo>
                    <a:lnTo>
                      <a:pt x="14" y="6"/>
                    </a:lnTo>
                    <a:lnTo>
                      <a:pt x="20" y="6"/>
                    </a:lnTo>
                    <a:lnTo>
                      <a:pt x="20" y="3"/>
                    </a:lnTo>
                    <a:lnTo>
                      <a:pt x="23" y="6"/>
                    </a:lnTo>
                    <a:lnTo>
                      <a:pt x="29" y="5"/>
                    </a:lnTo>
                    <a:lnTo>
                      <a:pt x="30" y="3"/>
                    </a:lnTo>
                    <a:lnTo>
                      <a:pt x="29" y="2"/>
                    </a:lnTo>
                    <a:lnTo>
                      <a:pt x="32"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74" name="Freeform 1462"/>
              <p:cNvSpPr>
                <a:spLocks/>
              </p:cNvSpPr>
              <p:nvPr/>
            </p:nvSpPr>
            <p:spPr bwMode="auto">
              <a:xfrm>
                <a:off x="6195338" y="2301058"/>
                <a:ext cx="117625" cy="178488"/>
              </a:xfrm>
              <a:custGeom>
                <a:avLst/>
                <a:gdLst/>
                <a:ahLst/>
                <a:cxnLst>
                  <a:cxn ang="0">
                    <a:pos x="69" y="19"/>
                  </a:cxn>
                  <a:cxn ang="0">
                    <a:pos x="72" y="13"/>
                  </a:cxn>
                  <a:cxn ang="0">
                    <a:pos x="64" y="13"/>
                  </a:cxn>
                  <a:cxn ang="0">
                    <a:pos x="58" y="13"/>
                  </a:cxn>
                  <a:cxn ang="0">
                    <a:pos x="56" y="10"/>
                  </a:cxn>
                  <a:cxn ang="0">
                    <a:pos x="56" y="3"/>
                  </a:cxn>
                  <a:cxn ang="0">
                    <a:pos x="50" y="0"/>
                  </a:cxn>
                  <a:cxn ang="0">
                    <a:pos x="40" y="0"/>
                  </a:cxn>
                  <a:cxn ang="0">
                    <a:pos x="41" y="11"/>
                  </a:cxn>
                  <a:cxn ang="0">
                    <a:pos x="41" y="14"/>
                  </a:cxn>
                  <a:cxn ang="0">
                    <a:pos x="42" y="19"/>
                  </a:cxn>
                  <a:cxn ang="0">
                    <a:pos x="42" y="20"/>
                  </a:cxn>
                  <a:cxn ang="0">
                    <a:pos x="45" y="26"/>
                  </a:cxn>
                  <a:cxn ang="0">
                    <a:pos x="38" y="33"/>
                  </a:cxn>
                  <a:cxn ang="0">
                    <a:pos x="34" y="33"/>
                  </a:cxn>
                  <a:cxn ang="0">
                    <a:pos x="32" y="32"/>
                  </a:cxn>
                  <a:cxn ang="0">
                    <a:pos x="19" y="30"/>
                  </a:cxn>
                  <a:cxn ang="0">
                    <a:pos x="16" y="36"/>
                  </a:cxn>
                  <a:cxn ang="0">
                    <a:pos x="22" y="39"/>
                  </a:cxn>
                  <a:cxn ang="0">
                    <a:pos x="21" y="39"/>
                  </a:cxn>
                  <a:cxn ang="0">
                    <a:pos x="11" y="55"/>
                  </a:cxn>
                  <a:cxn ang="0">
                    <a:pos x="16" y="62"/>
                  </a:cxn>
                  <a:cxn ang="0">
                    <a:pos x="11" y="69"/>
                  </a:cxn>
                  <a:cxn ang="0">
                    <a:pos x="5" y="71"/>
                  </a:cxn>
                  <a:cxn ang="0">
                    <a:pos x="0" y="90"/>
                  </a:cxn>
                  <a:cxn ang="0">
                    <a:pos x="2" y="97"/>
                  </a:cxn>
                  <a:cxn ang="0">
                    <a:pos x="5" y="104"/>
                  </a:cxn>
                  <a:cxn ang="0">
                    <a:pos x="5" y="112"/>
                  </a:cxn>
                  <a:cxn ang="0">
                    <a:pos x="6" y="119"/>
                  </a:cxn>
                  <a:cxn ang="0">
                    <a:pos x="11" y="129"/>
                  </a:cxn>
                  <a:cxn ang="0">
                    <a:pos x="29" y="139"/>
                  </a:cxn>
                  <a:cxn ang="0">
                    <a:pos x="24" y="165"/>
                  </a:cxn>
                  <a:cxn ang="0">
                    <a:pos x="41" y="165"/>
                  </a:cxn>
                  <a:cxn ang="0">
                    <a:pos x="56" y="167"/>
                  </a:cxn>
                  <a:cxn ang="0">
                    <a:pos x="63" y="171"/>
                  </a:cxn>
                  <a:cxn ang="0">
                    <a:pos x="66" y="167"/>
                  </a:cxn>
                  <a:cxn ang="0">
                    <a:pos x="76" y="170"/>
                  </a:cxn>
                  <a:cxn ang="0">
                    <a:pos x="90" y="164"/>
                  </a:cxn>
                  <a:cxn ang="0">
                    <a:pos x="99" y="167"/>
                  </a:cxn>
                  <a:cxn ang="0">
                    <a:pos x="99" y="160"/>
                  </a:cxn>
                  <a:cxn ang="0">
                    <a:pos x="105" y="149"/>
                  </a:cxn>
                  <a:cxn ang="0">
                    <a:pos x="112" y="141"/>
                  </a:cxn>
                  <a:cxn ang="0">
                    <a:pos x="87" y="113"/>
                  </a:cxn>
                  <a:cxn ang="0">
                    <a:pos x="86" y="107"/>
                  </a:cxn>
                  <a:cxn ang="0">
                    <a:pos x="92" y="107"/>
                  </a:cxn>
                  <a:cxn ang="0">
                    <a:pos x="117" y="94"/>
                  </a:cxn>
                  <a:cxn ang="0">
                    <a:pos x="124" y="96"/>
                  </a:cxn>
                  <a:cxn ang="0">
                    <a:pos x="128" y="83"/>
                  </a:cxn>
                  <a:cxn ang="0">
                    <a:pos x="117" y="51"/>
                  </a:cxn>
                  <a:cxn ang="0">
                    <a:pos x="119" y="35"/>
                  </a:cxn>
                  <a:cxn ang="0">
                    <a:pos x="111" y="22"/>
                  </a:cxn>
                  <a:cxn ang="0">
                    <a:pos x="105" y="17"/>
                  </a:cxn>
                  <a:cxn ang="0">
                    <a:pos x="101" y="14"/>
                  </a:cxn>
                  <a:cxn ang="0">
                    <a:pos x="92" y="16"/>
                  </a:cxn>
                  <a:cxn ang="0">
                    <a:pos x="95" y="10"/>
                  </a:cxn>
                  <a:cxn ang="0">
                    <a:pos x="87" y="17"/>
                  </a:cxn>
                  <a:cxn ang="0">
                    <a:pos x="82" y="19"/>
                  </a:cxn>
                  <a:cxn ang="0">
                    <a:pos x="76" y="23"/>
                  </a:cxn>
                  <a:cxn ang="0">
                    <a:pos x="69" y="23"/>
                  </a:cxn>
                </a:cxnLst>
                <a:rect l="0" t="0" r="r" b="b"/>
                <a:pathLst>
                  <a:path w="128" h="171">
                    <a:moveTo>
                      <a:pt x="69" y="23"/>
                    </a:moveTo>
                    <a:lnTo>
                      <a:pt x="69" y="22"/>
                    </a:lnTo>
                    <a:lnTo>
                      <a:pt x="69" y="19"/>
                    </a:lnTo>
                    <a:lnTo>
                      <a:pt x="73" y="16"/>
                    </a:lnTo>
                    <a:lnTo>
                      <a:pt x="73" y="14"/>
                    </a:lnTo>
                    <a:lnTo>
                      <a:pt x="72" y="13"/>
                    </a:lnTo>
                    <a:lnTo>
                      <a:pt x="67" y="14"/>
                    </a:lnTo>
                    <a:lnTo>
                      <a:pt x="66" y="14"/>
                    </a:lnTo>
                    <a:lnTo>
                      <a:pt x="64" y="13"/>
                    </a:lnTo>
                    <a:lnTo>
                      <a:pt x="61" y="11"/>
                    </a:lnTo>
                    <a:lnTo>
                      <a:pt x="60" y="13"/>
                    </a:lnTo>
                    <a:lnTo>
                      <a:pt x="58" y="13"/>
                    </a:lnTo>
                    <a:lnTo>
                      <a:pt x="58" y="11"/>
                    </a:lnTo>
                    <a:lnTo>
                      <a:pt x="57" y="11"/>
                    </a:lnTo>
                    <a:lnTo>
                      <a:pt x="56" y="10"/>
                    </a:lnTo>
                    <a:lnTo>
                      <a:pt x="57" y="8"/>
                    </a:lnTo>
                    <a:lnTo>
                      <a:pt x="57" y="6"/>
                    </a:lnTo>
                    <a:lnTo>
                      <a:pt x="56" y="3"/>
                    </a:lnTo>
                    <a:lnTo>
                      <a:pt x="51" y="1"/>
                    </a:lnTo>
                    <a:lnTo>
                      <a:pt x="50" y="1"/>
                    </a:lnTo>
                    <a:lnTo>
                      <a:pt x="50" y="0"/>
                    </a:lnTo>
                    <a:lnTo>
                      <a:pt x="48" y="1"/>
                    </a:lnTo>
                    <a:lnTo>
                      <a:pt x="42" y="0"/>
                    </a:lnTo>
                    <a:lnTo>
                      <a:pt x="40" y="0"/>
                    </a:lnTo>
                    <a:lnTo>
                      <a:pt x="40" y="3"/>
                    </a:lnTo>
                    <a:lnTo>
                      <a:pt x="44" y="10"/>
                    </a:lnTo>
                    <a:lnTo>
                      <a:pt x="41" y="11"/>
                    </a:lnTo>
                    <a:lnTo>
                      <a:pt x="41" y="13"/>
                    </a:lnTo>
                    <a:lnTo>
                      <a:pt x="40" y="14"/>
                    </a:lnTo>
                    <a:lnTo>
                      <a:pt x="41" y="14"/>
                    </a:lnTo>
                    <a:lnTo>
                      <a:pt x="42" y="14"/>
                    </a:lnTo>
                    <a:lnTo>
                      <a:pt x="41" y="17"/>
                    </a:lnTo>
                    <a:lnTo>
                      <a:pt x="42" y="19"/>
                    </a:lnTo>
                    <a:lnTo>
                      <a:pt x="44" y="19"/>
                    </a:lnTo>
                    <a:lnTo>
                      <a:pt x="44" y="20"/>
                    </a:lnTo>
                    <a:lnTo>
                      <a:pt x="42" y="20"/>
                    </a:lnTo>
                    <a:lnTo>
                      <a:pt x="42" y="23"/>
                    </a:lnTo>
                    <a:lnTo>
                      <a:pt x="45" y="24"/>
                    </a:lnTo>
                    <a:lnTo>
                      <a:pt x="45" y="26"/>
                    </a:lnTo>
                    <a:lnTo>
                      <a:pt x="40" y="26"/>
                    </a:lnTo>
                    <a:lnTo>
                      <a:pt x="38" y="29"/>
                    </a:lnTo>
                    <a:lnTo>
                      <a:pt x="38" y="33"/>
                    </a:lnTo>
                    <a:lnTo>
                      <a:pt x="40" y="39"/>
                    </a:lnTo>
                    <a:lnTo>
                      <a:pt x="37" y="33"/>
                    </a:lnTo>
                    <a:lnTo>
                      <a:pt x="34" y="33"/>
                    </a:lnTo>
                    <a:lnTo>
                      <a:pt x="34" y="36"/>
                    </a:lnTo>
                    <a:lnTo>
                      <a:pt x="32" y="36"/>
                    </a:lnTo>
                    <a:lnTo>
                      <a:pt x="32" y="32"/>
                    </a:lnTo>
                    <a:lnTo>
                      <a:pt x="31" y="30"/>
                    </a:lnTo>
                    <a:lnTo>
                      <a:pt x="27" y="29"/>
                    </a:lnTo>
                    <a:lnTo>
                      <a:pt x="19" y="30"/>
                    </a:lnTo>
                    <a:lnTo>
                      <a:pt x="19" y="33"/>
                    </a:lnTo>
                    <a:lnTo>
                      <a:pt x="18" y="33"/>
                    </a:lnTo>
                    <a:lnTo>
                      <a:pt x="16" y="36"/>
                    </a:lnTo>
                    <a:lnTo>
                      <a:pt x="16" y="36"/>
                    </a:lnTo>
                    <a:lnTo>
                      <a:pt x="19" y="37"/>
                    </a:lnTo>
                    <a:lnTo>
                      <a:pt x="22" y="39"/>
                    </a:lnTo>
                    <a:lnTo>
                      <a:pt x="24" y="42"/>
                    </a:lnTo>
                    <a:lnTo>
                      <a:pt x="22" y="42"/>
                    </a:lnTo>
                    <a:lnTo>
                      <a:pt x="21" y="39"/>
                    </a:lnTo>
                    <a:lnTo>
                      <a:pt x="18" y="40"/>
                    </a:lnTo>
                    <a:lnTo>
                      <a:pt x="15" y="52"/>
                    </a:lnTo>
                    <a:lnTo>
                      <a:pt x="11" y="55"/>
                    </a:lnTo>
                    <a:lnTo>
                      <a:pt x="12" y="56"/>
                    </a:lnTo>
                    <a:lnTo>
                      <a:pt x="16" y="59"/>
                    </a:lnTo>
                    <a:lnTo>
                      <a:pt x="16" y="62"/>
                    </a:lnTo>
                    <a:lnTo>
                      <a:pt x="13" y="65"/>
                    </a:lnTo>
                    <a:lnTo>
                      <a:pt x="12" y="67"/>
                    </a:lnTo>
                    <a:lnTo>
                      <a:pt x="11" y="69"/>
                    </a:lnTo>
                    <a:lnTo>
                      <a:pt x="9" y="72"/>
                    </a:lnTo>
                    <a:lnTo>
                      <a:pt x="8" y="72"/>
                    </a:lnTo>
                    <a:lnTo>
                      <a:pt x="5" y="71"/>
                    </a:lnTo>
                    <a:lnTo>
                      <a:pt x="2" y="71"/>
                    </a:lnTo>
                    <a:lnTo>
                      <a:pt x="2" y="88"/>
                    </a:lnTo>
                    <a:lnTo>
                      <a:pt x="0" y="90"/>
                    </a:lnTo>
                    <a:lnTo>
                      <a:pt x="0" y="91"/>
                    </a:lnTo>
                    <a:lnTo>
                      <a:pt x="2" y="96"/>
                    </a:lnTo>
                    <a:lnTo>
                      <a:pt x="2" y="97"/>
                    </a:lnTo>
                    <a:lnTo>
                      <a:pt x="3" y="100"/>
                    </a:lnTo>
                    <a:lnTo>
                      <a:pt x="3" y="101"/>
                    </a:lnTo>
                    <a:lnTo>
                      <a:pt x="5" y="104"/>
                    </a:lnTo>
                    <a:lnTo>
                      <a:pt x="5" y="106"/>
                    </a:lnTo>
                    <a:lnTo>
                      <a:pt x="2" y="110"/>
                    </a:lnTo>
                    <a:lnTo>
                      <a:pt x="5" y="112"/>
                    </a:lnTo>
                    <a:lnTo>
                      <a:pt x="3" y="113"/>
                    </a:lnTo>
                    <a:lnTo>
                      <a:pt x="3" y="116"/>
                    </a:lnTo>
                    <a:lnTo>
                      <a:pt x="6" y="119"/>
                    </a:lnTo>
                    <a:lnTo>
                      <a:pt x="6" y="123"/>
                    </a:lnTo>
                    <a:lnTo>
                      <a:pt x="5" y="125"/>
                    </a:lnTo>
                    <a:lnTo>
                      <a:pt x="11" y="129"/>
                    </a:lnTo>
                    <a:lnTo>
                      <a:pt x="12" y="132"/>
                    </a:lnTo>
                    <a:lnTo>
                      <a:pt x="31" y="136"/>
                    </a:lnTo>
                    <a:lnTo>
                      <a:pt x="29" y="139"/>
                    </a:lnTo>
                    <a:lnTo>
                      <a:pt x="25" y="145"/>
                    </a:lnTo>
                    <a:lnTo>
                      <a:pt x="24" y="155"/>
                    </a:lnTo>
                    <a:lnTo>
                      <a:pt x="24" y="165"/>
                    </a:lnTo>
                    <a:lnTo>
                      <a:pt x="24" y="165"/>
                    </a:lnTo>
                    <a:lnTo>
                      <a:pt x="25" y="167"/>
                    </a:lnTo>
                    <a:lnTo>
                      <a:pt x="41" y="165"/>
                    </a:lnTo>
                    <a:lnTo>
                      <a:pt x="51" y="168"/>
                    </a:lnTo>
                    <a:lnTo>
                      <a:pt x="54" y="167"/>
                    </a:lnTo>
                    <a:lnTo>
                      <a:pt x="56" y="167"/>
                    </a:lnTo>
                    <a:lnTo>
                      <a:pt x="58" y="168"/>
                    </a:lnTo>
                    <a:lnTo>
                      <a:pt x="60" y="170"/>
                    </a:lnTo>
                    <a:lnTo>
                      <a:pt x="63" y="171"/>
                    </a:lnTo>
                    <a:lnTo>
                      <a:pt x="63" y="170"/>
                    </a:lnTo>
                    <a:lnTo>
                      <a:pt x="64" y="168"/>
                    </a:lnTo>
                    <a:lnTo>
                      <a:pt x="66" y="167"/>
                    </a:lnTo>
                    <a:lnTo>
                      <a:pt x="69" y="167"/>
                    </a:lnTo>
                    <a:lnTo>
                      <a:pt x="73" y="170"/>
                    </a:lnTo>
                    <a:lnTo>
                      <a:pt x="76" y="170"/>
                    </a:lnTo>
                    <a:lnTo>
                      <a:pt x="80" y="165"/>
                    </a:lnTo>
                    <a:lnTo>
                      <a:pt x="89" y="165"/>
                    </a:lnTo>
                    <a:lnTo>
                      <a:pt x="90" y="164"/>
                    </a:lnTo>
                    <a:lnTo>
                      <a:pt x="93" y="164"/>
                    </a:lnTo>
                    <a:lnTo>
                      <a:pt x="98" y="164"/>
                    </a:lnTo>
                    <a:lnTo>
                      <a:pt x="99" y="167"/>
                    </a:lnTo>
                    <a:lnTo>
                      <a:pt x="101" y="165"/>
                    </a:lnTo>
                    <a:lnTo>
                      <a:pt x="101" y="164"/>
                    </a:lnTo>
                    <a:lnTo>
                      <a:pt x="99" y="160"/>
                    </a:lnTo>
                    <a:lnTo>
                      <a:pt x="98" y="155"/>
                    </a:lnTo>
                    <a:lnTo>
                      <a:pt x="99" y="152"/>
                    </a:lnTo>
                    <a:lnTo>
                      <a:pt x="105" y="149"/>
                    </a:lnTo>
                    <a:lnTo>
                      <a:pt x="108" y="145"/>
                    </a:lnTo>
                    <a:lnTo>
                      <a:pt x="112" y="144"/>
                    </a:lnTo>
                    <a:lnTo>
                      <a:pt x="112" y="141"/>
                    </a:lnTo>
                    <a:lnTo>
                      <a:pt x="92" y="122"/>
                    </a:lnTo>
                    <a:lnTo>
                      <a:pt x="92" y="115"/>
                    </a:lnTo>
                    <a:lnTo>
                      <a:pt x="87" y="113"/>
                    </a:lnTo>
                    <a:lnTo>
                      <a:pt x="86" y="110"/>
                    </a:lnTo>
                    <a:lnTo>
                      <a:pt x="86" y="107"/>
                    </a:lnTo>
                    <a:lnTo>
                      <a:pt x="86" y="107"/>
                    </a:lnTo>
                    <a:lnTo>
                      <a:pt x="90" y="110"/>
                    </a:lnTo>
                    <a:lnTo>
                      <a:pt x="90" y="110"/>
                    </a:lnTo>
                    <a:lnTo>
                      <a:pt x="92" y="107"/>
                    </a:lnTo>
                    <a:lnTo>
                      <a:pt x="105" y="101"/>
                    </a:lnTo>
                    <a:lnTo>
                      <a:pt x="106" y="99"/>
                    </a:lnTo>
                    <a:lnTo>
                      <a:pt x="117" y="94"/>
                    </a:lnTo>
                    <a:lnTo>
                      <a:pt x="118" y="88"/>
                    </a:lnTo>
                    <a:lnTo>
                      <a:pt x="121" y="90"/>
                    </a:lnTo>
                    <a:lnTo>
                      <a:pt x="124" y="96"/>
                    </a:lnTo>
                    <a:lnTo>
                      <a:pt x="125" y="96"/>
                    </a:lnTo>
                    <a:lnTo>
                      <a:pt x="128" y="83"/>
                    </a:lnTo>
                    <a:lnTo>
                      <a:pt x="128" y="83"/>
                    </a:lnTo>
                    <a:lnTo>
                      <a:pt x="124" y="77"/>
                    </a:lnTo>
                    <a:lnTo>
                      <a:pt x="121" y="53"/>
                    </a:lnTo>
                    <a:lnTo>
                      <a:pt x="117" y="51"/>
                    </a:lnTo>
                    <a:lnTo>
                      <a:pt x="117" y="48"/>
                    </a:lnTo>
                    <a:lnTo>
                      <a:pt x="119" y="42"/>
                    </a:lnTo>
                    <a:lnTo>
                      <a:pt x="119" y="35"/>
                    </a:lnTo>
                    <a:lnTo>
                      <a:pt x="117" y="27"/>
                    </a:lnTo>
                    <a:lnTo>
                      <a:pt x="111" y="26"/>
                    </a:lnTo>
                    <a:lnTo>
                      <a:pt x="111" y="22"/>
                    </a:lnTo>
                    <a:lnTo>
                      <a:pt x="108" y="19"/>
                    </a:lnTo>
                    <a:lnTo>
                      <a:pt x="106" y="19"/>
                    </a:lnTo>
                    <a:lnTo>
                      <a:pt x="105" y="17"/>
                    </a:lnTo>
                    <a:lnTo>
                      <a:pt x="103" y="17"/>
                    </a:lnTo>
                    <a:lnTo>
                      <a:pt x="103" y="16"/>
                    </a:lnTo>
                    <a:lnTo>
                      <a:pt x="101" y="14"/>
                    </a:lnTo>
                    <a:lnTo>
                      <a:pt x="99" y="13"/>
                    </a:lnTo>
                    <a:lnTo>
                      <a:pt x="93" y="14"/>
                    </a:lnTo>
                    <a:lnTo>
                      <a:pt x="92" y="16"/>
                    </a:lnTo>
                    <a:lnTo>
                      <a:pt x="92" y="14"/>
                    </a:lnTo>
                    <a:lnTo>
                      <a:pt x="96" y="11"/>
                    </a:lnTo>
                    <a:lnTo>
                      <a:pt x="95" y="10"/>
                    </a:lnTo>
                    <a:lnTo>
                      <a:pt x="92" y="11"/>
                    </a:lnTo>
                    <a:lnTo>
                      <a:pt x="89" y="16"/>
                    </a:lnTo>
                    <a:lnTo>
                      <a:pt x="87" y="17"/>
                    </a:lnTo>
                    <a:lnTo>
                      <a:pt x="86" y="19"/>
                    </a:lnTo>
                    <a:lnTo>
                      <a:pt x="86" y="17"/>
                    </a:lnTo>
                    <a:lnTo>
                      <a:pt x="82" y="19"/>
                    </a:lnTo>
                    <a:lnTo>
                      <a:pt x="77" y="22"/>
                    </a:lnTo>
                    <a:lnTo>
                      <a:pt x="79" y="23"/>
                    </a:lnTo>
                    <a:lnTo>
                      <a:pt x="76" y="23"/>
                    </a:lnTo>
                    <a:lnTo>
                      <a:pt x="73" y="22"/>
                    </a:lnTo>
                    <a:lnTo>
                      <a:pt x="70" y="24"/>
                    </a:lnTo>
                    <a:lnTo>
                      <a:pt x="69" y="23"/>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75" name="Freeform 1463"/>
              <p:cNvSpPr>
                <a:spLocks/>
              </p:cNvSpPr>
              <p:nvPr/>
            </p:nvSpPr>
            <p:spPr bwMode="auto">
              <a:xfrm>
                <a:off x="6195338" y="2301058"/>
                <a:ext cx="117625" cy="178488"/>
              </a:xfrm>
              <a:custGeom>
                <a:avLst/>
                <a:gdLst/>
                <a:ahLst/>
                <a:cxnLst>
                  <a:cxn ang="0">
                    <a:pos x="69" y="19"/>
                  </a:cxn>
                  <a:cxn ang="0">
                    <a:pos x="72" y="13"/>
                  </a:cxn>
                  <a:cxn ang="0">
                    <a:pos x="64" y="13"/>
                  </a:cxn>
                  <a:cxn ang="0">
                    <a:pos x="58" y="13"/>
                  </a:cxn>
                  <a:cxn ang="0">
                    <a:pos x="56" y="10"/>
                  </a:cxn>
                  <a:cxn ang="0">
                    <a:pos x="56" y="3"/>
                  </a:cxn>
                  <a:cxn ang="0">
                    <a:pos x="50" y="0"/>
                  </a:cxn>
                  <a:cxn ang="0">
                    <a:pos x="40" y="0"/>
                  </a:cxn>
                  <a:cxn ang="0">
                    <a:pos x="41" y="11"/>
                  </a:cxn>
                  <a:cxn ang="0">
                    <a:pos x="41" y="14"/>
                  </a:cxn>
                  <a:cxn ang="0">
                    <a:pos x="42" y="19"/>
                  </a:cxn>
                  <a:cxn ang="0">
                    <a:pos x="42" y="20"/>
                  </a:cxn>
                  <a:cxn ang="0">
                    <a:pos x="45" y="26"/>
                  </a:cxn>
                  <a:cxn ang="0">
                    <a:pos x="38" y="33"/>
                  </a:cxn>
                  <a:cxn ang="0">
                    <a:pos x="34" y="33"/>
                  </a:cxn>
                  <a:cxn ang="0">
                    <a:pos x="32" y="32"/>
                  </a:cxn>
                  <a:cxn ang="0">
                    <a:pos x="19" y="30"/>
                  </a:cxn>
                  <a:cxn ang="0">
                    <a:pos x="16" y="36"/>
                  </a:cxn>
                  <a:cxn ang="0">
                    <a:pos x="22" y="39"/>
                  </a:cxn>
                  <a:cxn ang="0">
                    <a:pos x="21" y="39"/>
                  </a:cxn>
                  <a:cxn ang="0">
                    <a:pos x="11" y="55"/>
                  </a:cxn>
                  <a:cxn ang="0">
                    <a:pos x="16" y="62"/>
                  </a:cxn>
                  <a:cxn ang="0">
                    <a:pos x="11" y="69"/>
                  </a:cxn>
                  <a:cxn ang="0">
                    <a:pos x="5" y="71"/>
                  </a:cxn>
                  <a:cxn ang="0">
                    <a:pos x="0" y="90"/>
                  </a:cxn>
                  <a:cxn ang="0">
                    <a:pos x="2" y="97"/>
                  </a:cxn>
                  <a:cxn ang="0">
                    <a:pos x="5" y="104"/>
                  </a:cxn>
                  <a:cxn ang="0">
                    <a:pos x="5" y="112"/>
                  </a:cxn>
                  <a:cxn ang="0">
                    <a:pos x="6" y="119"/>
                  </a:cxn>
                  <a:cxn ang="0">
                    <a:pos x="11" y="129"/>
                  </a:cxn>
                  <a:cxn ang="0">
                    <a:pos x="29" y="139"/>
                  </a:cxn>
                  <a:cxn ang="0">
                    <a:pos x="24" y="165"/>
                  </a:cxn>
                  <a:cxn ang="0">
                    <a:pos x="41" y="165"/>
                  </a:cxn>
                  <a:cxn ang="0">
                    <a:pos x="56" y="167"/>
                  </a:cxn>
                  <a:cxn ang="0">
                    <a:pos x="63" y="171"/>
                  </a:cxn>
                  <a:cxn ang="0">
                    <a:pos x="66" y="167"/>
                  </a:cxn>
                  <a:cxn ang="0">
                    <a:pos x="76" y="170"/>
                  </a:cxn>
                  <a:cxn ang="0">
                    <a:pos x="90" y="164"/>
                  </a:cxn>
                  <a:cxn ang="0">
                    <a:pos x="99" y="167"/>
                  </a:cxn>
                  <a:cxn ang="0">
                    <a:pos x="99" y="160"/>
                  </a:cxn>
                  <a:cxn ang="0">
                    <a:pos x="105" y="149"/>
                  </a:cxn>
                  <a:cxn ang="0">
                    <a:pos x="112" y="141"/>
                  </a:cxn>
                  <a:cxn ang="0">
                    <a:pos x="87" y="113"/>
                  </a:cxn>
                  <a:cxn ang="0">
                    <a:pos x="86" y="107"/>
                  </a:cxn>
                  <a:cxn ang="0">
                    <a:pos x="92" y="107"/>
                  </a:cxn>
                  <a:cxn ang="0">
                    <a:pos x="117" y="94"/>
                  </a:cxn>
                  <a:cxn ang="0">
                    <a:pos x="124" y="96"/>
                  </a:cxn>
                  <a:cxn ang="0">
                    <a:pos x="128" y="83"/>
                  </a:cxn>
                  <a:cxn ang="0">
                    <a:pos x="117" y="51"/>
                  </a:cxn>
                  <a:cxn ang="0">
                    <a:pos x="119" y="35"/>
                  </a:cxn>
                  <a:cxn ang="0">
                    <a:pos x="111" y="22"/>
                  </a:cxn>
                  <a:cxn ang="0">
                    <a:pos x="105" y="17"/>
                  </a:cxn>
                  <a:cxn ang="0">
                    <a:pos x="101" y="14"/>
                  </a:cxn>
                  <a:cxn ang="0">
                    <a:pos x="92" y="16"/>
                  </a:cxn>
                  <a:cxn ang="0">
                    <a:pos x="95" y="10"/>
                  </a:cxn>
                  <a:cxn ang="0">
                    <a:pos x="87" y="17"/>
                  </a:cxn>
                  <a:cxn ang="0">
                    <a:pos x="82" y="19"/>
                  </a:cxn>
                  <a:cxn ang="0">
                    <a:pos x="76" y="23"/>
                  </a:cxn>
                  <a:cxn ang="0">
                    <a:pos x="69" y="23"/>
                  </a:cxn>
                </a:cxnLst>
                <a:rect l="0" t="0" r="r" b="b"/>
                <a:pathLst>
                  <a:path w="128" h="171">
                    <a:moveTo>
                      <a:pt x="69" y="23"/>
                    </a:moveTo>
                    <a:lnTo>
                      <a:pt x="69" y="22"/>
                    </a:lnTo>
                    <a:lnTo>
                      <a:pt x="69" y="19"/>
                    </a:lnTo>
                    <a:lnTo>
                      <a:pt x="73" y="16"/>
                    </a:lnTo>
                    <a:lnTo>
                      <a:pt x="73" y="14"/>
                    </a:lnTo>
                    <a:lnTo>
                      <a:pt x="72" y="13"/>
                    </a:lnTo>
                    <a:lnTo>
                      <a:pt x="67" y="14"/>
                    </a:lnTo>
                    <a:lnTo>
                      <a:pt x="66" y="14"/>
                    </a:lnTo>
                    <a:lnTo>
                      <a:pt x="64" y="13"/>
                    </a:lnTo>
                    <a:lnTo>
                      <a:pt x="61" y="11"/>
                    </a:lnTo>
                    <a:lnTo>
                      <a:pt x="60" y="13"/>
                    </a:lnTo>
                    <a:lnTo>
                      <a:pt x="58" y="13"/>
                    </a:lnTo>
                    <a:lnTo>
                      <a:pt x="58" y="11"/>
                    </a:lnTo>
                    <a:lnTo>
                      <a:pt x="57" y="11"/>
                    </a:lnTo>
                    <a:lnTo>
                      <a:pt x="56" y="10"/>
                    </a:lnTo>
                    <a:lnTo>
                      <a:pt x="57" y="8"/>
                    </a:lnTo>
                    <a:lnTo>
                      <a:pt x="57" y="6"/>
                    </a:lnTo>
                    <a:lnTo>
                      <a:pt x="56" y="3"/>
                    </a:lnTo>
                    <a:lnTo>
                      <a:pt x="51" y="1"/>
                    </a:lnTo>
                    <a:lnTo>
                      <a:pt x="50" y="1"/>
                    </a:lnTo>
                    <a:lnTo>
                      <a:pt x="50" y="0"/>
                    </a:lnTo>
                    <a:lnTo>
                      <a:pt x="48" y="1"/>
                    </a:lnTo>
                    <a:lnTo>
                      <a:pt x="42" y="0"/>
                    </a:lnTo>
                    <a:lnTo>
                      <a:pt x="40" y="0"/>
                    </a:lnTo>
                    <a:lnTo>
                      <a:pt x="40" y="3"/>
                    </a:lnTo>
                    <a:lnTo>
                      <a:pt x="44" y="10"/>
                    </a:lnTo>
                    <a:lnTo>
                      <a:pt x="41" y="11"/>
                    </a:lnTo>
                    <a:lnTo>
                      <a:pt x="41" y="13"/>
                    </a:lnTo>
                    <a:lnTo>
                      <a:pt x="40" y="14"/>
                    </a:lnTo>
                    <a:lnTo>
                      <a:pt x="41" y="14"/>
                    </a:lnTo>
                    <a:lnTo>
                      <a:pt x="42" y="14"/>
                    </a:lnTo>
                    <a:lnTo>
                      <a:pt x="41" y="17"/>
                    </a:lnTo>
                    <a:lnTo>
                      <a:pt x="42" y="19"/>
                    </a:lnTo>
                    <a:lnTo>
                      <a:pt x="44" y="19"/>
                    </a:lnTo>
                    <a:lnTo>
                      <a:pt x="44" y="20"/>
                    </a:lnTo>
                    <a:lnTo>
                      <a:pt x="42" y="20"/>
                    </a:lnTo>
                    <a:lnTo>
                      <a:pt x="42" y="23"/>
                    </a:lnTo>
                    <a:lnTo>
                      <a:pt x="45" y="24"/>
                    </a:lnTo>
                    <a:lnTo>
                      <a:pt x="45" y="26"/>
                    </a:lnTo>
                    <a:lnTo>
                      <a:pt x="40" y="26"/>
                    </a:lnTo>
                    <a:lnTo>
                      <a:pt x="38" y="29"/>
                    </a:lnTo>
                    <a:lnTo>
                      <a:pt x="38" y="33"/>
                    </a:lnTo>
                    <a:lnTo>
                      <a:pt x="40" y="39"/>
                    </a:lnTo>
                    <a:lnTo>
                      <a:pt x="37" y="33"/>
                    </a:lnTo>
                    <a:lnTo>
                      <a:pt x="34" y="33"/>
                    </a:lnTo>
                    <a:lnTo>
                      <a:pt x="34" y="36"/>
                    </a:lnTo>
                    <a:lnTo>
                      <a:pt x="32" y="36"/>
                    </a:lnTo>
                    <a:lnTo>
                      <a:pt x="32" y="32"/>
                    </a:lnTo>
                    <a:lnTo>
                      <a:pt x="31" y="30"/>
                    </a:lnTo>
                    <a:lnTo>
                      <a:pt x="27" y="29"/>
                    </a:lnTo>
                    <a:lnTo>
                      <a:pt x="19" y="30"/>
                    </a:lnTo>
                    <a:lnTo>
                      <a:pt x="19" y="33"/>
                    </a:lnTo>
                    <a:lnTo>
                      <a:pt x="18" y="33"/>
                    </a:lnTo>
                    <a:lnTo>
                      <a:pt x="16" y="36"/>
                    </a:lnTo>
                    <a:lnTo>
                      <a:pt x="16" y="36"/>
                    </a:lnTo>
                    <a:lnTo>
                      <a:pt x="19" y="37"/>
                    </a:lnTo>
                    <a:lnTo>
                      <a:pt x="22" y="39"/>
                    </a:lnTo>
                    <a:lnTo>
                      <a:pt x="24" y="42"/>
                    </a:lnTo>
                    <a:lnTo>
                      <a:pt x="22" y="42"/>
                    </a:lnTo>
                    <a:lnTo>
                      <a:pt x="21" y="39"/>
                    </a:lnTo>
                    <a:lnTo>
                      <a:pt x="18" y="40"/>
                    </a:lnTo>
                    <a:lnTo>
                      <a:pt x="15" y="52"/>
                    </a:lnTo>
                    <a:lnTo>
                      <a:pt x="11" y="55"/>
                    </a:lnTo>
                    <a:lnTo>
                      <a:pt x="12" y="56"/>
                    </a:lnTo>
                    <a:lnTo>
                      <a:pt x="16" y="59"/>
                    </a:lnTo>
                    <a:lnTo>
                      <a:pt x="16" y="62"/>
                    </a:lnTo>
                    <a:lnTo>
                      <a:pt x="13" y="65"/>
                    </a:lnTo>
                    <a:lnTo>
                      <a:pt x="12" y="67"/>
                    </a:lnTo>
                    <a:lnTo>
                      <a:pt x="11" y="69"/>
                    </a:lnTo>
                    <a:lnTo>
                      <a:pt x="9" y="72"/>
                    </a:lnTo>
                    <a:lnTo>
                      <a:pt x="8" y="72"/>
                    </a:lnTo>
                    <a:lnTo>
                      <a:pt x="5" y="71"/>
                    </a:lnTo>
                    <a:lnTo>
                      <a:pt x="2" y="71"/>
                    </a:lnTo>
                    <a:lnTo>
                      <a:pt x="2" y="88"/>
                    </a:lnTo>
                    <a:lnTo>
                      <a:pt x="0" y="90"/>
                    </a:lnTo>
                    <a:lnTo>
                      <a:pt x="0" y="91"/>
                    </a:lnTo>
                    <a:lnTo>
                      <a:pt x="2" y="96"/>
                    </a:lnTo>
                    <a:lnTo>
                      <a:pt x="2" y="97"/>
                    </a:lnTo>
                    <a:lnTo>
                      <a:pt x="3" y="100"/>
                    </a:lnTo>
                    <a:lnTo>
                      <a:pt x="3" y="101"/>
                    </a:lnTo>
                    <a:lnTo>
                      <a:pt x="5" y="104"/>
                    </a:lnTo>
                    <a:lnTo>
                      <a:pt x="5" y="106"/>
                    </a:lnTo>
                    <a:lnTo>
                      <a:pt x="2" y="110"/>
                    </a:lnTo>
                    <a:lnTo>
                      <a:pt x="5" y="112"/>
                    </a:lnTo>
                    <a:lnTo>
                      <a:pt x="3" y="113"/>
                    </a:lnTo>
                    <a:lnTo>
                      <a:pt x="3" y="116"/>
                    </a:lnTo>
                    <a:lnTo>
                      <a:pt x="6" y="119"/>
                    </a:lnTo>
                    <a:lnTo>
                      <a:pt x="6" y="123"/>
                    </a:lnTo>
                    <a:lnTo>
                      <a:pt x="5" y="125"/>
                    </a:lnTo>
                    <a:lnTo>
                      <a:pt x="11" y="129"/>
                    </a:lnTo>
                    <a:lnTo>
                      <a:pt x="12" y="132"/>
                    </a:lnTo>
                    <a:lnTo>
                      <a:pt x="31" y="136"/>
                    </a:lnTo>
                    <a:lnTo>
                      <a:pt x="29" y="139"/>
                    </a:lnTo>
                    <a:lnTo>
                      <a:pt x="25" y="145"/>
                    </a:lnTo>
                    <a:lnTo>
                      <a:pt x="24" y="155"/>
                    </a:lnTo>
                    <a:lnTo>
                      <a:pt x="24" y="165"/>
                    </a:lnTo>
                    <a:lnTo>
                      <a:pt x="24" y="165"/>
                    </a:lnTo>
                    <a:lnTo>
                      <a:pt x="25" y="167"/>
                    </a:lnTo>
                    <a:lnTo>
                      <a:pt x="41" y="165"/>
                    </a:lnTo>
                    <a:lnTo>
                      <a:pt x="51" y="168"/>
                    </a:lnTo>
                    <a:lnTo>
                      <a:pt x="54" y="167"/>
                    </a:lnTo>
                    <a:lnTo>
                      <a:pt x="56" y="167"/>
                    </a:lnTo>
                    <a:lnTo>
                      <a:pt x="58" y="168"/>
                    </a:lnTo>
                    <a:lnTo>
                      <a:pt x="60" y="170"/>
                    </a:lnTo>
                    <a:lnTo>
                      <a:pt x="63" y="171"/>
                    </a:lnTo>
                    <a:lnTo>
                      <a:pt x="63" y="170"/>
                    </a:lnTo>
                    <a:lnTo>
                      <a:pt x="64" y="168"/>
                    </a:lnTo>
                    <a:lnTo>
                      <a:pt x="66" y="167"/>
                    </a:lnTo>
                    <a:lnTo>
                      <a:pt x="69" y="167"/>
                    </a:lnTo>
                    <a:lnTo>
                      <a:pt x="73" y="170"/>
                    </a:lnTo>
                    <a:lnTo>
                      <a:pt x="76" y="170"/>
                    </a:lnTo>
                    <a:lnTo>
                      <a:pt x="80" y="165"/>
                    </a:lnTo>
                    <a:lnTo>
                      <a:pt x="89" y="165"/>
                    </a:lnTo>
                    <a:lnTo>
                      <a:pt x="90" y="164"/>
                    </a:lnTo>
                    <a:lnTo>
                      <a:pt x="93" y="164"/>
                    </a:lnTo>
                    <a:lnTo>
                      <a:pt x="98" y="164"/>
                    </a:lnTo>
                    <a:lnTo>
                      <a:pt x="99" y="167"/>
                    </a:lnTo>
                    <a:lnTo>
                      <a:pt x="101" y="165"/>
                    </a:lnTo>
                    <a:lnTo>
                      <a:pt x="101" y="164"/>
                    </a:lnTo>
                    <a:lnTo>
                      <a:pt x="99" y="160"/>
                    </a:lnTo>
                    <a:lnTo>
                      <a:pt x="98" y="155"/>
                    </a:lnTo>
                    <a:lnTo>
                      <a:pt x="99" y="152"/>
                    </a:lnTo>
                    <a:lnTo>
                      <a:pt x="105" y="149"/>
                    </a:lnTo>
                    <a:lnTo>
                      <a:pt x="108" y="145"/>
                    </a:lnTo>
                    <a:lnTo>
                      <a:pt x="112" y="144"/>
                    </a:lnTo>
                    <a:lnTo>
                      <a:pt x="112" y="141"/>
                    </a:lnTo>
                    <a:lnTo>
                      <a:pt x="92" y="122"/>
                    </a:lnTo>
                    <a:lnTo>
                      <a:pt x="92" y="115"/>
                    </a:lnTo>
                    <a:lnTo>
                      <a:pt x="87" y="113"/>
                    </a:lnTo>
                    <a:lnTo>
                      <a:pt x="86" y="110"/>
                    </a:lnTo>
                    <a:lnTo>
                      <a:pt x="86" y="107"/>
                    </a:lnTo>
                    <a:lnTo>
                      <a:pt x="86" y="107"/>
                    </a:lnTo>
                    <a:lnTo>
                      <a:pt x="90" y="110"/>
                    </a:lnTo>
                    <a:lnTo>
                      <a:pt x="90" y="110"/>
                    </a:lnTo>
                    <a:lnTo>
                      <a:pt x="92" y="107"/>
                    </a:lnTo>
                    <a:lnTo>
                      <a:pt x="105" y="101"/>
                    </a:lnTo>
                    <a:lnTo>
                      <a:pt x="106" y="99"/>
                    </a:lnTo>
                    <a:lnTo>
                      <a:pt x="117" y="94"/>
                    </a:lnTo>
                    <a:lnTo>
                      <a:pt x="118" y="88"/>
                    </a:lnTo>
                    <a:lnTo>
                      <a:pt x="121" y="90"/>
                    </a:lnTo>
                    <a:lnTo>
                      <a:pt x="124" y="96"/>
                    </a:lnTo>
                    <a:lnTo>
                      <a:pt x="125" y="96"/>
                    </a:lnTo>
                    <a:lnTo>
                      <a:pt x="128" y="83"/>
                    </a:lnTo>
                    <a:lnTo>
                      <a:pt x="128" y="83"/>
                    </a:lnTo>
                    <a:lnTo>
                      <a:pt x="124" y="77"/>
                    </a:lnTo>
                    <a:lnTo>
                      <a:pt x="121" y="53"/>
                    </a:lnTo>
                    <a:lnTo>
                      <a:pt x="117" y="51"/>
                    </a:lnTo>
                    <a:lnTo>
                      <a:pt x="117" y="48"/>
                    </a:lnTo>
                    <a:lnTo>
                      <a:pt x="119" y="42"/>
                    </a:lnTo>
                    <a:lnTo>
                      <a:pt x="119" y="35"/>
                    </a:lnTo>
                    <a:lnTo>
                      <a:pt x="117" y="27"/>
                    </a:lnTo>
                    <a:lnTo>
                      <a:pt x="111" y="26"/>
                    </a:lnTo>
                    <a:lnTo>
                      <a:pt x="111" y="22"/>
                    </a:lnTo>
                    <a:lnTo>
                      <a:pt x="108" y="19"/>
                    </a:lnTo>
                    <a:lnTo>
                      <a:pt x="106" y="19"/>
                    </a:lnTo>
                    <a:lnTo>
                      <a:pt x="105" y="17"/>
                    </a:lnTo>
                    <a:lnTo>
                      <a:pt x="103" y="17"/>
                    </a:lnTo>
                    <a:lnTo>
                      <a:pt x="103" y="16"/>
                    </a:lnTo>
                    <a:lnTo>
                      <a:pt x="101" y="14"/>
                    </a:lnTo>
                    <a:lnTo>
                      <a:pt x="99" y="13"/>
                    </a:lnTo>
                    <a:lnTo>
                      <a:pt x="93" y="14"/>
                    </a:lnTo>
                    <a:lnTo>
                      <a:pt x="92" y="16"/>
                    </a:lnTo>
                    <a:lnTo>
                      <a:pt x="92" y="14"/>
                    </a:lnTo>
                    <a:lnTo>
                      <a:pt x="96" y="11"/>
                    </a:lnTo>
                    <a:lnTo>
                      <a:pt x="95" y="10"/>
                    </a:lnTo>
                    <a:lnTo>
                      <a:pt x="92" y="11"/>
                    </a:lnTo>
                    <a:lnTo>
                      <a:pt x="89" y="16"/>
                    </a:lnTo>
                    <a:lnTo>
                      <a:pt x="87" y="17"/>
                    </a:lnTo>
                    <a:lnTo>
                      <a:pt x="86" y="19"/>
                    </a:lnTo>
                    <a:lnTo>
                      <a:pt x="86" y="17"/>
                    </a:lnTo>
                    <a:lnTo>
                      <a:pt x="82" y="19"/>
                    </a:lnTo>
                    <a:lnTo>
                      <a:pt x="77" y="22"/>
                    </a:lnTo>
                    <a:lnTo>
                      <a:pt x="79" y="23"/>
                    </a:lnTo>
                    <a:lnTo>
                      <a:pt x="76" y="23"/>
                    </a:lnTo>
                    <a:lnTo>
                      <a:pt x="73" y="22"/>
                    </a:lnTo>
                    <a:lnTo>
                      <a:pt x="70" y="24"/>
                    </a:lnTo>
                    <a:lnTo>
                      <a:pt x="69" y="23"/>
                    </a:lnTo>
                  </a:path>
                </a:pathLst>
              </a:custGeom>
              <a:solidFill>
                <a:srgbClr val="00AFE6"/>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76" name="Freeform 1464"/>
              <p:cNvSpPr>
                <a:spLocks/>
              </p:cNvSpPr>
              <p:nvPr/>
            </p:nvSpPr>
            <p:spPr bwMode="auto">
              <a:xfrm>
                <a:off x="6289262" y="2307143"/>
                <a:ext cx="6145" cy="11155"/>
              </a:xfrm>
              <a:custGeom>
                <a:avLst/>
                <a:gdLst/>
                <a:ahLst/>
                <a:cxnLst>
                  <a:cxn ang="0">
                    <a:pos x="7" y="5"/>
                  </a:cxn>
                  <a:cxn ang="0">
                    <a:pos x="7" y="7"/>
                  </a:cxn>
                  <a:cxn ang="0">
                    <a:pos x="7" y="8"/>
                  </a:cxn>
                  <a:cxn ang="0">
                    <a:pos x="7" y="8"/>
                  </a:cxn>
                  <a:cxn ang="0">
                    <a:pos x="6" y="8"/>
                  </a:cxn>
                  <a:cxn ang="0">
                    <a:pos x="4" y="8"/>
                  </a:cxn>
                  <a:cxn ang="0">
                    <a:pos x="4" y="10"/>
                  </a:cxn>
                  <a:cxn ang="0">
                    <a:pos x="1" y="8"/>
                  </a:cxn>
                  <a:cxn ang="0">
                    <a:pos x="0" y="7"/>
                  </a:cxn>
                  <a:cxn ang="0">
                    <a:pos x="0" y="7"/>
                  </a:cxn>
                  <a:cxn ang="0">
                    <a:pos x="1" y="5"/>
                  </a:cxn>
                  <a:cxn ang="0">
                    <a:pos x="0" y="2"/>
                  </a:cxn>
                  <a:cxn ang="0">
                    <a:pos x="1" y="2"/>
                  </a:cxn>
                  <a:cxn ang="0">
                    <a:pos x="4" y="4"/>
                  </a:cxn>
                  <a:cxn ang="0">
                    <a:pos x="4" y="2"/>
                  </a:cxn>
                  <a:cxn ang="0">
                    <a:pos x="3" y="2"/>
                  </a:cxn>
                  <a:cxn ang="0">
                    <a:pos x="1" y="1"/>
                  </a:cxn>
                  <a:cxn ang="0">
                    <a:pos x="3" y="0"/>
                  </a:cxn>
                  <a:cxn ang="0">
                    <a:pos x="4" y="0"/>
                  </a:cxn>
                  <a:cxn ang="0">
                    <a:pos x="4" y="1"/>
                  </a:cxn>
                  <a:cxn ang="0">
                    <a:pos x="6" y="1"/>
                  </a:cxn>
                  <a:cxn ang="0">
                    <a:pos x="7" y="2"/>
                  </a:cxn>
                  <a:cxn ang="0">
                    <a:pos x="7" y="5"/>
                  </a:cxn>
                </a:cxnLst>
                <a:rect l="0" t="0" r="r" b="b"/>
                <a:pathLst>
                  <a:path w="7" h="10">
                    <a:moveTo>
                      <a:pt x="7" y="5"/>
                    </a:moveTo>
                    <a:lnTo>
                      <a:pt x="7" y="7"/>
                    </a:lnTo>
                    <a:lnTo>
                      <a:pt x="7" y="8"/>
                    </a:lnTo>
                    <a:lnTo>
                      <a:pt x="7" y="8"/>
                    </a:lnTo>
                    <a:lnTo>
                      <a:pt x="6" y="8"/>
                    </a:lnTo>
                    <a:lnTo>
                      <a:pt x="4" y="8"/>
                    </a:lnTo>
                    <a:lnTo>
                      <a:pt x="4" y="10"/>
                    </a:lnTo>
                    <a:lnTo>
                      <a:pt x="1" y="8"/>
                    </a:lnTo>
                    <a:lnTo>
                      <a:pt x="0" y="7"/>
                    </a:lnTo>
                    <a:lnTo>
                      <a:pt x="0" y="7"/>
                    </a:lnTo>
                    <a:lnTo>
                      <a:pt x="1" y="5"/>
                    </a:lnTo>
                    <a:lnTo>
                      <a:pt x="0" y="2"/>
                    </a:lnTo>
                    <a:lnTo>
                      <a:pt x="1" y="2"/>
                    </a:lnTo>
                    <a:lnTo>
                      <a:pt x="4" y="4"/>
                    </a:lnTo>
                    <a:lnTo>
                      <a:pt x="4" y="2"/>
                    </a:lnTo>
                    <a:lnTo>
                      <a:pt x="3" y="2"/>
                    </a:lnTo>
                    <a:lnTo>
                      <a:pt x="1" y="1"/>
                    </a:lnTo>
                    <a:lnTo>
                      <a:pt x="3" y="0"/>
                    </a:lnTo>
                    <a:lnTo>
                      <a:pt x="4" y="0"/>
                    </a:lnTo>
                    <a:lnTo>
                      <a:pt x="4" y="1"/>
                    </a:lnTo>
                    <a:lnTo>
                      <a:pt x="6" y="1"/>
                    </a:lnTo>
                    <a:lnTo>
                      <a:pt x="7" y="2"/>
                    </a:lnTo>
                    <a:lnTo>
                      <a:pt x="7" y="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77" name="Freeform 1465"/>
              <p:cNvSpPr>
                <a:spLocks/>
              </p:cNvSpPr>
              <p:nvPr/>
            </p:nvSpPr>
            <p:spPr bwMode="auto">
              <a:xfrm>
                <a:off x="6289262" y="2307143"/>
                <a:ext cx="6145" cy="11155"/>
              </a:xfrm>
              <a:custGeom>
                <a:avLst/>
                <a:gdLst/>
                <a:ahLst/>
                <a:cxnLst>
                  <a:cxn ang="0">
                    <a:pos x="7" y="5"/>
                  </a:cxn>
                  <a:cxn ang="0">
                    <a:pos x="7" y="7"/>
                  </a:cxn>
                  <a:cxn ang="0">
                    <a:pos x="7" y="8"/>
                  </a:cxn>
                  <a:cxn ang="0">
                    <a:pos x="7" y="8"/>
                  </a:cxn>
                  <a:cxn ang="0">
                    <a:pos x="6" y="8"/>
                  </a:cxn>
                  <a:cxn ang="0">
                    <a:pos x="4" y="8"/>
                  </a:cxn>
                  <a:cxn ang="0">
                    <a:pos x="4" y="10"/>
                  </a:cxn>
                  <a:cxn ang="0">
                    <a:pos x="1" y="8"/>
                  </a:cxn>
                  <a:cxn ang="0">
                    <a:pos x="0" y="7"/>
                  </a:cxn>
                  <a:cxn ang="0">
                    <a:pos x="0" y="7"/>
                  </a:cxn>
                  <a:cxn ang="0">
                    <a:pos x="1" y="5"/>
                  </a:cxn>
                  <a:cxn ang="0">
                    <a:pos x="0" y="2"/>
                  </a:cxn>
                  <a:cxn ang="0">
                    <a:pos x="1" y="2"/>
                  </a:cxn>
                  <a:cxn ang="0">
                    <a:pos x="4" y="4"/>
                  </a:cxn>
                  <a:cxn ang="0">
                    <a:pos x="4" y="2"/>
                  </a:cxn>
                  <a:cxn ang="0">
                    <a:pos x="3" y="2"/>
                  </a:cxn>
                  <a:cxn ang="0">
                    <a:pos x="1" y="1"/>
                  </a:cxn>
                  <a:cxn ang="0">
                    <a:pos x="3" y="0"/>
                  </a:cxn>
                  <a:cxn ang="0">
                    <a:pos x="4" y="0"/>
                  </a:cxn>
                  <a:cxn ang="0">
                    <a:pos x="4" y="1"/>
                  </a:cxn>
                  <a:cxn ang="0">
                    <a:pos x="6" y="1"/>
                  </a:cxn>
                  <a:cxn ang="0">
                    <a:pos x="7" y="2"/>
                  </a:cxn>
                  <a:cxn ang="0">
                    <a:pos x="7" y="5"/>
                  </a:cxn>
                </a:cxnLst>
                <a:rect l="0" t="0" r="r" b="b"/>
                <a:pathLst>
                  <a:path w="7" h="10">
                    <a:moveTo>
                      <a:pt x="7" y="5"/>
                    </a:moveTo>
                    <a:lnTo>
                      <a:pt x="7" y="7"/>
                    </a:lnTo>
                    <a:lnTo>
                      <a:pt x="7" y="8"/>
                    </a:lnTo>
                    <a:lnTo>
                      <a:pt x="7" y="8"/>
                    </a:lnTo>
                    <a:lnTo>
                      <a:pt x="6" y="8"/>
                    </a:lnTo>
                    <a:lnTo>
                      <a:pt x="4" y="8"/>
                    </a:lnTo>
                    <a:lnTo>
                      <a:pt x="4" y="10"/>
                    </a:lnTo>
                    <a:lnTo>
                      <a:pt x="1" y="8"/>
                    </a:lnTo>
                    <a:lnTo>
                      <a:pt x="0" y="7"/>
                    </a:lnTo>
                    <a:lnTo>
                      <a:pt x="0" y="7"/>
                    </a:lnTo>
                    <a:lnTo>
                      <a:pt x="1" y="5"/>
                    </a:lnTo>
                    <a:lnTo>
                      <a:pt x="0" y="2"/>
                    </a:lnTo>
                    <a:lnTo>
                      <a:pt x="1" y="2"/>
                    </a:lnTo>
                    <a:lnTo>
                      <a:pt x="4" y="4"/>
                    </a:lnTo>
                    <a:lnTo>
                      <a:pt x="4" y="2"/>
                    </a:lnTo>
                    <a:lnTo>
                      <a:pt x="3" y="2"/>
                    </a:lnTo>
                    <a:lnTo>
                      <a:pt x="1" y="1"/>
                    </a:lnTo>
                    <a:lnTo>
                      <a:pt x="3" y="0"/>
                    </a:lnTo>
                    <a:lnTo>
                      <a:pt x="4" y="0"/>
                    </a:lnTo>
                    <a:lnTo>
                      <a:pt x="4" y="1"/>
                    </a:lnTo>
                    <a:lnTo>
                      <a:pt x="6" y="1"/>
                    </a:lnTo>
                    <a:lnTo>
                      <a:pt x="7" y="2"/>
                    </a:lnTo>
                    <a:lnTo>
                      <a:pt x="7" y="5"/>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78" name="Freeform 1466"/>
              <p:cNvSpPr>
                <a:spLocks/>
              </p:cNvSpPr>
              <p:nvPr/>
            </p:nvSpPr>
            <p:spPr bwMode="auto">
              <a:xfrm>
                <a:off x="5299104" y="3013993"/>
                <a:ext cx="878" cy="3043"/>
              </a:xfrm>
              <a:custGeom>
                <a:avLst/>
                <a:gdLst/>
                <a:ahLst/>
                <a:cxnLst>
                  <a:cxn ang="0">
                    <a:pos x="1" y="0"/>
                  </a:cxn>
                  <a:cxn ang="0">
                    <a:pos x="0" y="0"/>
                  </a:cxn>
                  <a:cxn ang="0">
                    <a:pos x="0" y="2"/>
                  </a:cxn>
                  <a:cxn ang="0">
                    <a:pos x="1" y="3"/>
                  </a:cxn>
                  <a:cxn ang="0">
                    <a:pos x="1" y="3"/>
                  </a:cxn>
                  <a:cxn ang="0">
                    <a:pos x="1" y="2"/>
                  </a:cxn>
                  <a:cxn ang="0">
                    <a:pos x="1" y="0"/>
                  </a:cxn>
                </a:cxnLst>
                <a:rect l="0" t="0" r="r" b="b"/>
                <a:pathLst>
                  <a:path w="1" h="3">
                    <a:moveTo>
                      <a:pt x="1" y="0"/>
                    </a:moveTo>
                    <a:lnTo>
                      <a:pt x="0" y="0"/>
                    </a:lnTo>
                    <a:lnTo>
                      <a:pt x="0" y="2"/>
                    </a:lnTo>
                    <a:lnTo>
                      <a:pt x="1" y="3"/>
                    </a:lnTo>
                    <a:lnTo>
                      <a:pt x="1" y="3"/>
                    </a:lnTo>
                    <a:lnTo>
                      <a:pt x="1" y="2"/>
                    </a:lnTo>
                    <a:lnTo>
                      <a:pt x="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79" name="Freeform 1467"/>
              <p:cNvSpPr>
                <a:spLocks/>
              </p:cNvSpPr>
              <p:nvPr/>
            </p:nvSpPr>
            <p:spPr bwMode="auto">
              <a:xfrm>
                <a:off x="5299104" y="3013993"/>
                <a:ext cx="878" cy="3043"/>
              </a:xfrm>
              <a:custGeom>
                <a:avLst/>
                <a:gdLst/>
                <a:ahLst/>
                <a:cxnLst>
                  <a:cxn ang="0">
                    <a:pos x="1" y="0"/>
                  </a:cxn>
                  <a:cxn ang="0">
                    <a:pos x="0" y="0"/>
                  </a:cxn>
                  <a:cxn ang="0">
                    <a:pos x="0" y="2"/>
                  </a:cxn>
                  <a:cxn ang="0">
                    <a:pos x="1" y="3"/>
                  </a:cxn>
                  <a:cxn ang="0">
                    <a:pos x="1" y="3"/>
                  </a:cxn>
                  <a:cxn ang="0">
                    <a:pos x="1" y="2"/>
                  </a:cxn>
                  <a:cxn ang="0">
                    <a:pos x="1" y="0"/>
                  </a:cxn>
                </a:cxnLst>
                <a:rect l="0" t="0" r="r" b="b"/>
                <a:pathLst>
                  <a:path w="1" h="3">
                    <a:moveTo>
                      <a:pt x="1" y="0"/>
                    </a:moveTo>
                    <a:lnTo>
                      <a:pt x="0" y="0"/>
                    </a:lnTo>
                    <a:lnTo>
                      <a:pt x="0" y="2"/>
                    </a:lnTo>
                    <a:lnTo>
                      <a:pt x="1" y="3"/>
                    </a:lnTo>
                    <a:lnTo>
                      <a:pt x="1" y="3"/>
                    </a:lnTo>
                    <a:lnTo>
                      <a:pt x="1" y="2"/>
                    </a:lnTo>
                    <a:lnTo>
                      <a:pt x="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80" name="Freeform 1468"/>
              <p:cNvSpPr>
                <a:spLocks/>
              </p:cNvSpPr>
              <p:nvPr/>
            </p:nvSpPr>
            <p:spPr bwMode="auto">
              <a:xfrm>
                <a:off x="5322805" y="3066728"/>
                <a:ext cx="2633" cy="4056"/>
              </a:xfrm>
              <a:custGeom>
                <a:avLst/>
                <a:gdLst/>
                <a:ahLst/>
                <a:cxnLst>
                  <a:cxn ang="0">
                    <a:pos x="1" y="0"/>
                  </a:cxn>
                  <a:cxn ang="0">
                    <a:pos x="0" y="4"/>
                  </a:cxn>
                  <a:cxn ang="0">
                    <a:pos x="1" y="4"/>
                  </a:cxn>
                  <a:cxn ang="0">
                    <a:pos x="3" y="3"/>
                  </a:cxn>
                  <a:cxn ang="0">
                    <a:pos x="3" y="0"/>
                  </a:cxn>
                  <a:cxn ang="0">
                    <a:pos x="1" y="0"/>
                  </a:cxn>
                </a:cxnLst>
                <a:rect l="0" t="0" r="r" b="b"/>
                <a:pathLst>
                  <a:path w="3" h="4">
                    <a:moveTo>
                      <a:pt x="1" y="0"/>
                    </a:moveTo>
                    <a:lnTo>
                      <a:pt x="0" y="4"/>
                    </a:lnTo>
                    <a:lnTo>
                      <a:pt x="1" y="4"/>
                    </a:lnTo>
                    <a:lnTo>
                      <a:pt x="3" y="3"/>
                    </a:lnTo>
                    <a:lnTo>
                      <a:pt x="3" y="0"/>
                    </a:lnTo>
                    <a:lnTo>
                      <a:pt x="1"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81" name="Freeform 1469"/>
              <p:cNvSpPr>
                <a:spLocks/>
              </p:cNvSpPr>
              <p:nvPr/>
            </p:nvSpPr>
            <p:spPr bwMode="auto">
              <a:xfrm>
                <a:off x="5322805" y="3066728"/>
                <a:ext cx="2633" cy="4056"/>
              </a:xfrm>
              <a:custGeom>
                <a:avLst/>
                <a:gdLst/>
                <a:ahLst/>
                <a:cxnLst>
                  <a:cxn ang="0">
                    <a:pos x="1" y="0"/>
                  </a:cxn>
                  <a:cxn ang="0">
                    <a:pos x="0" y="4"/>
                  </a:cxn>
                  <a:cxn ang="0">
                    <a:pos x="1" y="4"/>
                  </a:cxn>
                  <a:cxn ang="0">
                    <a:pos x="3" y="3"/>
                  </a:cxn>
                  <a:cxn ang="0">
                    <a:pos x="3" y="0"/>
                  </a:cxn>
                  <a:cxn ang="0">
                    <a:pos x="1" y="0"/>
                  </a:cxn>
                </a:cxnLst>
                <a:rect l="0" t="0" r="r" b="b"/>
                <a:pathLst>
                  <a:path w="3" h="4">
                    <a:moveTo>
                      <a:pt x="1" y="0"/>
                    </a:moveTo>
                    <a:lnTo>
                      <a:pt x="0" y="4"/>
                    </a:lnTo>
                    <a:lnTo>
                      <a:pt x="1" y="4"/>
                    </a:lnTo>
                    <a:lnTo>
                      <a:pt x="3" y="3"/>
                    </a:lnTo>
                    <a:lnTo>
                      <a:pt x="3" y="0"/>
                    </a:lnTo>
                    <a:lnTo>
                      <a:pt x="1"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82" name="Freeform 1470"/>
              <p:cNvSpPr>
                <a:spLocks/>
              </p:cNvSpPr>
              <p:nvPr/>
            </p:nvSpPr>
            <p:spPr bwMode="auto">
              <a:xfrm>
                <a:off x="6277851" y="3196537"/>
                <a:ext cx="249295" cy="274830"/>
              </a:xfrm>
              <a:custGeom>
                <a:avLst/>
                <a:gdLst/>
                <a:ahLst/>
                <a:cxnLst>
                  <a:cxn ang="0">
                    <a:pos x="256" y="179"/>
                  </a:cxn>
                  <a:cxn ang="0">
                    <a:pos x="246" y="167"/>
                  </a:cxn>
                  <a:cxn ang="0">
                    <a:pos x="244" y="155"/>
                  </a:cxn>
                  <a:cxn ang="0">
                    <a:pos x="243" y="135"/>
                  </a:cxn>
                  <a:cxn ang="0">
                    <a:pos x="244" y="116"/>
                  </a:cxn>
                  <a:cxn ang="0">
                    <a:pos x="249" y="93"/>
                  </a:cxn>
                  <a:cxn ang="0">
                    <a:pos x="265" y="52"/>
                  </a:cxn>
                  <a:cxn ang="0">
                    <a:pos x="272" y="45"/>
                  </a:cxn>
                  <a:cxn ang="0">
                    <a:pos x="269" y="42"/>
                  </a:cxn>
                  <a:cxn ang="0">
                    <a:pos x="266" y="26"/>
                  </a:cxn>
                  <a:cxn ang="0">
                    <a:pos x="265" y="23"/>
                  </a:cxn>
                  <a:cxn ang="0">
                    <a:pos x="243" y="12"/>
                  </a:cxn>
                  <a:cxn ang="0">
                    <a:pos x="233" y="13"/>
                  </a:cxn>
                  <a:cxn ang="0">
                    <a:pos x="220" y="4"/>
                  </a:cxn>
                  <a:cxn ang="0">
                    <a:pos x="209" y="4"/>
                  </a:cxn>
                  <a:cxn ang="0">
                    <a:pos x="201" y="0"/>
                  </a:cxn>
                  <a:cxn ang="0">
                    <a:pos x="185" y="4"/>
                  </a:cxn>
                  <a:cxn ang="0">
                    <a:pos x="178" y="4"/>
                  </a:cxn>
                  <a:cxn ang="0">
                    <a:pos x="176" y="3"/>
                  </a:cxn>
                  <a:cxn ang="0">
                    <a:pos x="151" y="6"/>
                  </a:cxn>
                  <a:cxn ang="0">
                    <a:pos x="146" y="13"/>
                  </a:cxn>
                  <a:cxn ang="0">
                    <a:pos x="124" y="10"/>
                  </a:cxn>
                  <a:cxn ang="0">
                    <a:pos x="114" y="7"/>
                  </a:cxn>
                  <a:cxn ang="0">
                    <a:pos x="103" y="1"/>
                  </a:cxn>
                  <a:cxn ang="0">
                    <a:pos x="95" y="12"/>
                  </a:cxn>
                  <a:cxn ang="0">
                    <a:pos x="92" y="22"/>
                  </a:cxn>
                  <a:cxn ang="0">
                    <a:pos x="79" y="84"/>
                  </a:cxn>
                  <a:cxn ang="0">
                    <a:pos x="56" y="125"/>
                  </a:cxn>
                  <a:cxn ang="0">
                    <a:pos x="32" y="144"/>
                  </a:cxn>
                  <a:cxn ang="0">
                    <a:pos x="29" y="137"/>
                  </a:cxn>
                  <a:cxn ang="0">
                    <a:pos x="18" y="142"/>
                  </a:cxn>
                  <a:cxn ang="0">
                    <a:pos x="11" y="141"/>
                  </a:cxn>
                  <a:cxn ang="0">
                    <a:pos x="2" y="158"/>
                  </a:cxn>
                  <a:cxn ang="0">
                    <a:pos x="2" y="164"/>
                  </a:cxn>
                  <a:cxn ang="0">
                    <a:pos x="31" y="157"/>
                  </a:cxn>
                  <a:cxn ang="0">
                    <a:pos x="58" y="157"/>
                  </a:cxn>
                  <a:cxn ang="0">
                    <a:pos x="61" y="160"/>
                  </a:cxn>
                  <a:cxn ang="0">
                    <a:pos x="79" y="190"/>
                  </a:cxn>
                  <a:cxn ang="0">
                    <a:pos x="101" y="187"/>
                  </a:cxn>
                  <a:cxn ang="0">
                    <a:pos x="105" y="174"/>
                  </a:cxn>
                  <a:cxn ang="0">
                    <a:pos x="122" y="173"/>
                  </a:cxn>
                  <a:cxn ang="0">
                    <a:pos x="135" y="182"/>
                  </a:cxn>
                  <a:cxn ang="0">
                    <a:pos x="137" y="212"/>
                  </a:cxn>
                  <a:cxn ang="0">
                    <a:pos x="138" y="231"/>
                  </a:cxn>
                  <a:cxn ang="0">
                    <a:pos x="140" y="234"/>
                  </a:cxn>
                  <a:cxn ang="0">
                    <a:pos x="143" y="235"/>
                  </a:cxn>
                  <a:cxn ang="0">
                    <a:pos x="147" y="231"/>
                  </a:cxn>
                  <a:cxn ang="0">
                    <a:pos x="164" y="231"/>
                  </a:cxn>
                  <a:cxn ang="0">
                    <a:pos x="169" y="230"/>
                  </a:cxn>
                  <a:cxn ang="0">
                    <a:pos x="175" y="231"/>
                  </a:cxn>
                  <a:cxn ang="0">
                    <a:pos x="175" y="235"/>
                  </a:cxn>
                  <a:cxn ang="0">
                    <a:pos x="185" y="232"/>
                  </a:cxn>
                  <a:cxn ang="0">
                    <a:pos x="188" y="238"/>
                  </a:cxn>
                  <a:cxn ang="0">
                    <a:pos x="211" y="243"/>
                  </a:cxn>
                  <a:cxn ang="0">
                    <a:pos x="224" y="250"/>
                  </a:cxn>
                  <a:cxn ang="0">
                    <a:pos x="230" y="256"/>
                  </a:cxn>
                  <a:cxn ang="0">
                    <a:pos x="243" y="263"/>
                  </a:cxn>
                  <a:cxn ang="0">
                    <a:pos x="247" y="264"/>
                  </a:cxn>
                  <a:cxn ang="0">
                    <a:pos x="250" y="264"/>
                  </a:cxn>
                  <a:cxn ang="0">
                    <a:pos x="247" y="248"/>
                  </a:cxn>
                  <a:cxn ang="0">
                    <a:pos x="237" y="248"/>
                  </a:cxn>
                  <a:cxn ang="0">
                    <a:pos x="239" y="216"/>
                  </a:cxn>
                  <a:cxn ang="0">
                    <a:pos x="241" y="195"/>
                  </a:cxn>
                </a:cxnLst>
                <a:rect l="0" t="0" r="r" b="b"/>
                <a:pathLst>
                  <a:path w="272" h="264">
                    <a:moveTo>
                      <a:pt x="262" y="190"/>
                    </a:moveTo>
                    <a:lnTo>
                      <a:pt x="259" y="182"/>
                    </a:lnTo>
                    <a:lnTo>
                      <a:pt x="256" y="179"/>
                    </a:lnTo>
                    <a:lnTo>
                      <a:pt x="253" y="177"/>
                    </a:lnTo>
                    <a:lnTo>
                      <a:pt x="247" y="171"/>
                    </a:lnTo>
                    <a:lnTo>
                      <a:pt x="246" y="167"/>
                    </a:lnTo>
                    <a:lnTo>
                      <a:pt x="244" y="166"/>
                    </a:lnTo>
                    <a:lnTo>
                      <a:pt x="244" y="161"/>
                    </a:lnTo>
                    <a:lnTo>
                      <a:pt x="244" y="155"/>
                    </a:lnTo>
                    <a:lnTo>
                      <a:pt x="241" y="147"/>
                    </a:lnTo>
                    <a:lnTo>
                      <a:pt x="243" y="137"/>
                    </a:lnTo>
                    <a:lnTo>
                      <a:pt x="243" y="135"/>
                    </a:lnTo>
                    <a:lnTo>
                      <a:pt x="241" y="135"/>
                    </a:lnTo>
                    <a:lnTo>
                      <a:pt x="244" y="122"/>
                    </a:lnTo>
                    <a:lnTo>
                      <a:pt x="244" y="116"/>
                    </a:lnTo>
                    <a:lnTo>
                      <a:pt x="240" y="110"/>
                    </a:lnTo>
                    <a:lnTo>
                      <a:pt x="240" y="109"/>
                    </a:lnTo>
                    <a:lnTo>
                      <a:pt x="249" y="93"/>
                    </a:lnTo>
                    <a:lnTo>
                      <a:pt x="250" y="93"/>
                    </a:lnTo>
                    <a:lnTo>
                      <a:pt x="253" y="68"/>
                    </a:lnTo>
                    <a:lnTo>
                      <a:pt x="265" y="52"/>
                    </a:lnTo>
                    <a:lnTo>
                      <a:pt x="269" y="49"/>
                    </a:lnTo>
                    <a:lnTo>
                      <a:pt x="270" y="48"/>
                    </a:lnTo>
                    <a:lnTo>
                      <a:pt x="272" y="45"/>
                    </a:lnTo>
                    <a:lnTo>
                      <a:pt x="272" y="44"/>
                    </a:lnTo>
                    <a:lnTo>
                      <a:pt x="270" y="42"/>
                    </a:lnTo>
                    <a:lnTo>
                      <a:pt x="269" y="42"/>
                    </a:lnTo>
                    <a:lnTo>
                      <a:pt x="266" y="39"/>
                    </a:lnTo>
                    <a:lnTo>
                      <a:pt x="266" y="36"/>
                    </a:lnTo>
                    <a:lnTo>
                      <a:pt x="266" y="26"/>
                    </a:lnTo>
                    <a:lnTo>
                      <a:pt x="268" y="25"/>
                    </a:lnTo>
                    <a:lnTo>
                      <a:pt x="268" y="23"/>
                    </a:lnTo>
                    <a:lnTo>
                      <a:pt x="265" y="23"/>
                    </a:lnTo>
                    <a:lnTo>
                      <a:pt x="249" y="9"/>
                    </a:lnTo>
                    <a:lnTo>
                      <a:pt x="246" y="12"/>
                    </a:lnTo>
                    <a:lnTo>
                      <a:pt x="243" y="12"/>
                    </a:lnTo>
                    <a:lnTo>
                      <a:pt x="236" y="10"/>
                    </a:lnTo>
                    <a:lnTo>
                      <a:pt x="234" y="13"/>
                    </a:lnTo>
                    <a:lnTo>
                      <a:pt x="233" y="13"/>
                    </a:lnTo>
                    <a:lnTo>
                      <a:pt x="227" y="12"/>
                    </a:lnTo>
                    <a:lnTo>
                      <a:pt x="224" y="7"/>
                    </a:lnTo>
                    <a:lnTo>
                      <a:pt x="220" y="4"/>
                    </a:lnTo>
                    <a:lnTo>
                      <a:pt x="218" y="1"/>
                    </a:lnTo>
                    <a:lnTo>
                      <a:pt x="211" y="1"/>
                    </a:lnTo>
                    <a:lnTo>
                      <a:pt x="209" y="4"/>
                    </a:lnTo>
                    <a:lnTo>
                      <a:pt x="207" y="1"/>
                    </a:lnTo>
                    <a:lnTo>
                      <a:pt x="205" y="4"/>
                    </a:lnTo>
                    <a:lnTo>
                      <a:pt x="201" y="0"/>
                    </a:lnTo>
                    <a:lnTo>
                      <a:pt x="191" y="1"/>
                    </a:lnTo>
                    <a:lnTo>
                      <a:pt x="186" y="1"/>
                    </a:lnTo>
                    <a:lnTo>
                      <a:pt x="185" y="4"/>
                    </a:lnTo>
                    <a:lnTo>
                      <a:pt x="182" y="4"/>
                    </a:lnTo>
                    <a:lnTo>
                      <a:pt x="180" y="4"/>
                    </a:lnTo>
                    <a:lnTo>
                      <a:pt x="178" y="4"/>
                    </a:lnTo>
                    <a:lnTo>
                      <a:pt x="178" y="4"/>
                    </a:lnTo>
                    <a:lnTo>
                      <a:pt x="178" y="3"/>
                    </a:lnTo>
                    <a:lnTo>
                      <a:pt x="176" y="3"/>
                    </a:lnTo>
                    <a:lnTo>
                      <a:pt x="159" y="9"/>
                    </a:lnTo>
                    <a:lnTo>
                      <a:pt x="157" y="7"/>
                    </a:lnTo>
                    <a:lnTo>
                      <a:pt x="151" y="6"/>
                    </a:lnTo>
                    <a:lnTo>
                      <a:pt x="148" y="9"/>
                    </a:lnTo>
                    <a:lnTo>
                      <a:pt x="148" y="13"/>
                    </a:lnTo>
                    <a:lnTo>
                      <a:pt x="146" y="13"/>
                    </a:lnTo>
                    <a:lnTo>
                      <a:pt x="133" y="13"/>
                    </a:lnTo>
                    <a:lnTo>
                      <a:pt x="127" y="12"/>
                    </a:lnTo>
                    <a:lnTo>
                      <a:pt x="124" y="10"/>
                    </a:lnTo>
                    <a:lnTo>
                      <a:pt x="121" y="12"/>
                    </a:lnTo>
                    <a:lnTo>
                      <a:pt x="119" y="12"/>
                    </a:lnTo>
                    <a:lnTo>
                      <a:pt x="114" y="7"/>
                    </a:lnTo>
                    <a:lnTo>
                      <a:pt x="114" y="4"/>
                    </a:lnTo>
                    <a:lnTo>
                      <a:pt x="111" y="1"/>
                    </a:lnTo>
                    <a:lnTo>
                      <a:pt x="103" y="1"/>
                    </a:lnTo>
                    <a:lnTo>
                      <a:pt x="99" y="6"/>
                    </a:lnTo>
                    <a:lnTo>
                      <a:pt x="98" y="10"/>
                    </a:lnTo>
                    <a:lnTo>
                      <a:pt x="95" y="12"/>
                    </a:lnTo>
                    <a:lnTo>
                      <a:pt x="93" y="20"/>
                    </a:lnTo>
                    <a:lnTo>
                      <a:pt x="95" y="22"/>
                    </a:lnTo>
                    <a:lnTo>
                      <a:pt x="92" y="22"/>
                    </a:lnTo>
                    <a:lnTo>
                      <a:pt x="92" y="26"/>
                    </a:lnTo>
                    <a:lnTo>
                      <a:pt x="83" y="48"/>
                    </a:lnTo>
                    <a:lnTo>
                      <a:pt x="79" y="84"/>
                    </a:lnTo>
                    <a:lnTo>
                      <a:pt x="69" y="92"/>
                    </a:lnTo>
                    <a:lnTo>
                      <a:pt x="58" y="105"/>
                    </a:lnTo>
                    <a:lnTo>
                      <a:pt x="56" y="125"/>
                    </a:lnTo>
                    <a:lnTo>
                      <a:pt x="48" y="134"/>
                    </a:lnTo>
                    <a:lnTo>
                      <a:pt x="38" y="141"/>
                    </a:lnTo>
                    <a:lnTo>
                      <a:pt x="32" y="144"/>
                    </a:lnTo>
                    <a:lnTo>
                      <a:pt x="31" y="142"/>
                    </a:lnTo>
                    <a:lnTo>
                      <a:pt x="29" y="138"/>
                    </a:lnTo>
                    <a:lnTo>
                      <a:pt x="29" y="137"/>
                    </a:lnTo>
                    <a:lnTo>
                      <a:pt x="22" y="138"/>
                    </a:lnTo>
                    <a:lnTo>
                      <a:pt x="21" y="139"/>
                    </a:lnTo>
                    <a:lnTo>
                      <a:pt x="18" y="142"/>
                    </a:lnTo>
                    <a:lnTo>
                      <a:pt x="15" y="144"/>
                    </a:lnTo>
                    <a:lnTo>
                      <a:pt x="11" y="141"/>
                    </a:lnTo>
                    <a:lnTo>
                      <a:pt x="11" y="141"/>
                    </a:lnTo>
                    <a:lnTo>
                      <a:pt x="5" y="145"/>
                    </a:lnTo>
                    <a:lnTo>
                      <a:pt x="3" y="157"/>
                    </a:lnTo>
                    <a:lnTo>
                      <a:pt x="2" y="158"/>
                    </a:lnTo>
                    <a:lnTo>
                      <a:pt x="2" y="161"/>
                    </a:lnTo>
                    <a:lnTo>
                      <a:pt x="0" y="163"/>
                    </a:lnTo>
                    <a:lnTo>
                      <a:pt x="2" y="164"/>
                    </a:lnTo>
                    <a:lnTo>
                      <a:pt x="2" y="163"/>
                    </a:lnTo>
                    <a:lnTo>
                      <a:pt x="15" y="158"/>
                    </a:lnTo>
                    <a:lnTo>
                      <a:pt x="31" y="157"/>
                    </a:lnTo>
                    <a:lnTo>
                      <a:pt x="32" y="158"/>
                    </a:lnTo>
                    <a:lnTo>
                      <a:pt x="57" y="157"/>
                    </a:lnTo>
                    <a:lnTo>
                      <a:pt x="58" y="157"/>
                    </a:lnTo>
                    <a:lnTo>
                      <a:pt x="58" y="160"/>
                    </a:lnTo>
                    <a:lnTo>
                      <a:pt x="60" y="160"/>
                    </a:lnTo>
                    <a:lnTo>
                      <a:pt x="61" y="160"/>
                    </a:lnTo>
                    <a:lnTo>
                      <a:pt x="67" y="179"/>
                    </a:lnTo>
                    <a:lnTo>
                      <a:pt x="76" y="189"/>
                    </a:lnTo>
                    <a:lnTo>
                      <a:pt x="79" y="190"/>
                    </a:lnTo>
                    <a:lnTo>
                      <a:pt x="83" y="190"/>
                    </a:lnTo>
                    <a:lnTo>
                      <a:pt x="92" y="187"/>
                    </a:lnTo>
                    <a:lnTo>
                      <a:pt x="101" y="187"/>
                    </a:lnTo>
                    <a:lnTo>
                      <a:pt x="102" y="183"/>
                    </a:lnTo>
                    <a:lnTo>
                      <a:pt x="102" y="182"/>
                    </a:lnTo>
                    <a:lnTo>
                      <a:pt x="105" y="174"/>
                    </a:lnTo>
                    <a:lnTo>
                      <a:pt x="115" y="174"/>
                    </a:lnTo>
                    <a:lnTo>
                      <a:pt x="117" y="173"/>
                    </a:lnTo>
                    <a:lnTo>
                      <a:pt x="122" y="173"/>
                    </a:lnTo>
                    <a:lnTo>
                      <a:pt x="122" y="179"/>
                    </a:lnTo>
                    <a:lnTo>
                      <a:pt x="134" y="179"/>
                    </a:lnTo>
                    <a:lnTo>
                      <a:pt x="135" y="182"/>
                    </a:lnTo>
                    <a:lnTo>
                      <a:pt x="138" y="202"/>
                    </a:lnTo>
                    <a:lnTo>
                      <a:pt x="137" y="206"/>
                    </a:lnTo>
                    <a:lnTo>
                      <a:pt x="137" y="212"/>
                    </a:lnTo>
                    <a:lnTo>
                      <a:pt x="143" y="225"/>
                    </a:lnTo>
                    <a:lnTo>
                      <a:pt x="143" y="227"/>
                    </a:lnTo>
                    <a:lnTo>
                      <a:pt x="138" y="231"/>
                    </a:lnTo>
                    <a:lnTo>
                      <a:pt x="138" y="232"/>
                    </a:lnTo>
                    <a:lnTo>
                      <a:pt x="138" y="232"/>
                    </a:lnTo>
                    <a:lnTo>
                      <a:pt x="140" y="234"/>
                    </a:lnTo>
                    <a:lnTo>
                      <a:pt x="140" y="234"/>
                    </a:lnTo>
                    <a:lnTo>
                      <a:pt x="141" y="235"/>
                    </a:lnTo>
                    <a:lnTo>
                      <a:pt x="143" y="235"/>
                    </a:lnTo>
                    <a:lnTo>
                      <a:pt x="144" y="235"/>
                    </a:lnTo>
                    <a:lnTo>
                      <a:pt x="146" y="232"/>
                    </a:lnTo>
                    <a:lnTo>
                      <a:pt x="147" y="231"/>
                    </a:lnTo>
                    <a:lnTo>
                      <a:pt x="160" y="231"/>
                    </a:lnTo>
                    <a:lnTo>
                      <a:pt x="163" y="231"/>
                    </a:lnTo>
                    <a:lnTo>
                      <a:pt x="164" y="231"/>
                    </a:lnTo>
                    <a:lnTo>
                      <a:pt x="166" y="231"/>
                    </a:lnTo>
                    <a:lnTo>
                      <a:pt x="167" y="230"/>
                    </a:lnTo>
                    <a:lnTo>
                      <a:pt x="169" y="230"/>
                    </a:lnTo>
                    <a:lnTo>
                      <a:pt x="172" y="228"/>
                    </a:lnTo>
                    <a:lnTo>
                      <a:pt x="172" y="228"/>
                    </a:lnTo>
                    <a:lnTo>
                      <a:pt x="175" y="231"/>
                    </a:lnTo>
                    <a:lnTo>
                      <a:pt x="173" y="234"/>
                    </a:lnTo>
                    <a:lnTo>
                      <a:pt x="175" y="235"/>
                    </a:lnTo>
                    <a:lnTo>
                      <a:pt x="175" y="235"/>
                    </a:lnTo>
                    <a:lnTo>
                      <a:pt x="180" y="234"/>
                    </a:lnTo>
                    <a:lnTo>
                      <a:pt x="182" y="234"/>
                    </a:lnTo>
                    <a:lnTo>
                      <a:pt x="185" y="232"/>
                    </a:lnTo>
                    <a:lnTo>
                      <a:pt x="186" y="235"/>
                    </a:lnTo>
                    <a:lnTo>
                      <a:pt x="188" y="237"/>
                    </a:lnTo>
                    <a:lnTo>
                      <a:pt x="188" y="238"/>
                    </a:lnTo>
                    <a:lnTo>
                      <a:pt x="199" y="244"/>
                    </a:lnTo>
                    <a:lnTo>
                      <a:pt x="202" y="244"/>
                    </a:lnTo>
                    <a:lnTo>
                      <a:pt x="211" y="243"/>
                    </a:lnTo>
                    <a:lnTo>
                      <a:pt x="212" y="243"/>
                    </a:lnTo>
                    <a:lnTo>
                      <a:pt x="217" y="247"/>
                    </a:lnTo>
                    <a:lnTo>
                      <a:pt x="224" y="250"/>
                    </a:lnTo>
                    <a:lnTo>
                      <a:pt x="227" y="250"/>
                    </a:lnTo>
                    <a:lnTo>
                      <a:pt x="228" y="251"/>
                    </a:lnTo>
                    <a:lnTo>
                      <a:pt x="230" y="256"/>
                    </a:lnTo>
                    <a:lnTo>
                      <a:pt x="237" y="262"/>
                    </a:lnTo>
                    <a:lnTo>
                      <a:pt x="243" y="263"/>
                    </a:lnTo>
                    <a:lnTo>
                      <a:pt x="243" y="263"/>
                    </a:lnTo>
                    <a:lnTo>
                      <a:pt x="246" y="262"/>
                    </a:lnTo>
                    <a:lnTo>
                      <a:pt x="246" y="262"/>
                    </a:lnTo>
                    <a:lnTo>
                      <a:pt x="247" y="264"/>
                    </a:lnTo>
                    <a:lnTo>
                      <a:pt x="249" y="264"/>
                    </a:lnTo>
                    <a:lnTo>
                      <a:pt x="250" y="264"/>
                    </a:lnTo>
                    <a:lnTo>
                      <a:pt x="250" y="264"/>
                    </a:lnTo>
                    <a:lnTo>
                      <a:pt x="250" y="251"/>
                    </a:lnTo>
                    <a:lnTo>
                      <a:pt x="249" y="248"/>
                    </a:lnTo>
                    <a:lnTo>
                      <a:pt x="247" y="248"/>
                    </a:lnTo>
                    <a:lnTo>
                      <a:pt x="246" y="250"/>
                    </a:lnTo>
                    <a:lnTo>
                      <a:pt x="239" y="250"/>
                    </a:lnTo>
                    <a:lnTo>
                      <a:pt x="237" y="248"/>
                    </a:lnTo>
                    <a:lnTo>
                      <a:pt x="233" y="243"/>
                    </a:lnTo>
                    <a:lnTo>
                      <a:pt x="233" y="240"/>
                    </a:lnTo>
                    <a:lnTo>
                      <a:pt x="239" y="216"/>
                    </a:lnTo>
                    <a:lnTo>
                      <a:pt x="236" y="205"/>
                    </a:lnTo>
                    <a:lnTo>
                      <a:pt x="240" y="196"/>
                    </a:lnTo>
                    <a:lnTo>
                      <a:pt x="241" y="195"/>
                    </a:lnTo>
                    <a:lnTo>
                      <a:pt x="262" y="19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83" name="Freeform 1471"/>
              <p:cNvSpPr>
                <a:spLocks/>
              </p:cNvSpPr>
              <p:nvPr/>
            </p:nvSpPr>
            <p:spPr bwMode="auto">
              <a:xfrm>
                <a:off x="6277851" y="3196537"/>
                <a:ext cx="249295" cy="274830"/>
              </a:xfrm>
              <a:custGeom>
                <a:avLst/>
                <a:gdLst/>
                <a:ahLst/>
                <a:cxnLst>
                  <a:cxn ang="0">
                    <a:pos x="256" y="179"/>
                  </a:cxn>
                  <a:cxn ang="0">
                    <a:pos x="246" y="167"/>
                  </a:cxn>
                  <a:cxn ang="0">
                    <a:pos x="244" y="155"/>
                  </a:cxn>
                  <a:cxn ang="0">
                    <a:pos x="243" y="135"/>
                  </a:cxn>
                  <a:cxn ang="0">
                    <a:pos x="244" y="116"/>
                  </a:cxn>
                  <a:cxn ang="0">
                    <a:pos x="249" y="93"/>
                  </a:cxn>
                  <a:cxn ang="0">
                    <a:pos x="265" y="52"/>
                  </a:cxn>
                  <a:cxn ang="0">
                    <a:pos x="272" y="45"/>
                  </a:cxn>
                  <a:cxn ang="0">
                    <a:pos x="269" y="42"/>
                  </a:cxn>
                  <a:cxn ang="0">
                    <a:pos x="266" y="26"/>
                  </a:cxn>
                  <a:cxn ang="0">
                    <a:pos x="265" y="23"/>
                  </a:cxn>
                  <a:cxn ang="0">
                    <a:pos x="243" y="12"/>
                  </a:cxn>
                  <a:cxn ang="0">
                    <a:pos x="233" y="13"/>
                  </a:cxn>
                  <a:cxn ang="0">
                    <a:pos x="220" y="4"/>
                  </a:cxn>
                  <a:cxn ang="0">
                    <a:pos x="209" y="4"/>
                  </a:cxn>
                  <a:cxn ang="0">
                    <a:pos x="201" y="0"/>
                  </a:cxn>
                  <a:cxn ang="0">
                    <a:pos x="185" y="4"/>
                  </a:cxn>
                  <a:cxn ang="0">
                    <a:pos x="178" y="4"/>
                  </a:cxn>
                  <a:cxn ang="0">
                    <a:pos x="176" y="3"/>
                  </a:cxn>
                  <a:cxn ang="0">
                    <a:pos x="151" y="6"/>
                  </a:cxn>
                  <a:cxn ang="0">
                    <a:pos x="146" y="13"/>
                  </a:cxn>
                  <a:cxn ang="0">
                    <a:pos x="124" y="10"/>
                  </a:cxn>
                  <a:cxn ang="0">
                    <a:pos x="114" y="7"/>
                  </a:cxn>
                  <a:cxn ang="0">
                    <a:pos x="103" y="1"/>
                  </a:cxn>
                  <a:cxn ang="0">
                    <a:pos x="95" y="12"/>
                  </a:cxn>
                  <a:cxn ang="0">
                    <a:pos x="92" y="22"/>
                  </a:cxn>
                  <a:cxn ang="0">
                    <a:pos x="79" y="84"/>
                  </a:cxn>
                  <a:cxn ang="0">
                    <a:pos x="56" y="125"/>
                  </a:cxn>
                  <a:cxn ang="0">
                    <a:pos x="32" y="144"/>
                  </a:cxn>
                  <a:cxn ang="0">
                    <a:pos x="29" y="137"/>
                  </a:cxn>
                  <a:cxn ang="0">
                    <a:pos x="18" y="142"/>
                  </a:cxn>
                  <a:cxn ang="0">
                    <a:pos x="11" y="141"/>
                  </a:cxn>
                  <a:cxn ang="0">
                    <a:pos x="2" y="158"/>
                  </a:cxn>
                  <a:cxn ang="0">
                    <a:pos x="2" y="164"/>
                  </a:cxn>
                  <a:cxn ang="0">
                    <a:pos x="31" y="157"/>
                  </a:cxn>
                  <a:cxn ang="0">
                    <a:pos x="58" y="157"/>
                  </a:cxn>
                  <a:cxn ang="0">
                    <a:pos x="61" y="160"/>
                  </a:cxn>
                  <a:cxn ang="0">
                    <a:pos x="79" y="190"/>
                  </a:cxn>
                  <a:cxn ang="0">
                    <a:pos x="101" y="187"/>
                  </a:cxn>
                  <a:cxn ang="0">
                    <a:pos x="105" y="174"/>
                  </a:cxn>
                  <a:cxn ang="0">
                    <a:pos x="122" y="173"/>
                  </a:cxn>
                  <a:cxn ang="0">
                    <a:pos x="135" y="182"/>
                  </a:cxn>
                  <a:cxn ang="0">
                    <a:pos x="137" y="212"/>
                  </a:cxn>
                  <a:cxn ang="0">
                    <a:pos x="138" y="231"/>
                  </a:cxn>
                  <a:cxn ang="0">
                    <a:pos x="140" y="234"/>
                  </a:cxn>
                  <a:cxn ang="0">
                    <a:pos x="143" y="235"/>
                  </a:cxn>
                  <a:cxn ang="0">
                    <a:pos x="147" y="231"/>
                  </a:cxn>
                  <a:cxn ang="0">
                    <a:pos x="164" y="231"/>
                  </a:cxn>
                  <a:cxn ang="0">
                    <a:pos x="169" y="230"/>
                  </a:cxn>
                  <a:cxn ang="0">
                    <a:pos x="175" y="231"/>
                  </a:cxn>
                  <a:cxn ang="0">
                    <a:pos x="175" y="235"/>
                  </a:cxn>
                  <a:cxn ang="0">
                    <a:pos x="185" y="232"/>
                  </a:cxn>
                  <a:cxn ang="0">
                    <a:pos x="188" y="238"/>
                  </a:cxn>
                  <a:cxn ang="0">
                    <a:pos x="211" y="243"/>
                  </a:cxn>
                  <a:cxn ang="0">
                    <a:pos x="224" y="250"/>
                  </a:cxn>
                  <a:cxn ang="0">
                    <a:pos x="230" y="256"/>
                  </a:cxn>
                  <a:cxn ang="0">
                    <a:pos x="243" y="263"/>
                  </a:cxn>
                  <a:cxn ang="0">
                    <a:pos x="247" y="264"/>
                  </a:cxn>
                  <a:cxn ang="0">
                    <a:pos x="250" y="264"/>
                  </a:cxn>
                  <a:cxn ang="0">
                    <a:pos x="247" y="248"/>
                  </a:cxn>
                  <a:cxn ang="0">
                    <a:pos x="237" y="248"/>
                  </a:cxn>
                  <a:cxn ang="0">
                    <a:pos x="239" y="216"/>
                  </a:cxn>
                  <a:cxn ang="0">
                    <a:pos x="241" y="195"/>
                  </a:cxn>
                </a:cxnLst>
                <a:rect l="0" t="0" r="r" b="b"/>
                <a:pathLst>
                  <a:path w="272" h="264">
                    <a:moveTo>
                      <a:pt x="262" y="190"/>
                    </a:moveTo>
                    <a:lnTo>
                      <a:pt x="259" y="182"/>
                    </a:lnTo>
                    <a:lnTo>
                      <a:pt x="256" y="179"/>
                    </a:lnTo>
                    <a:lnTo>
                      <a:pt x="253" y="177"/>
                    </a:lnTo>
                    <a:lnTo>
                      <a:pt x="247" y="171"/>
                    </a:lnTo>
                    <a:lnTo>
                      <a:pt x="246" y="167"/>
                    </a:lnTo>
                    <a:lnTo>
                      <a:pt x="244" y="166"/>
                    </a:lnTo>
                    <a:lnTo>
                      <a:pt x="244" y="161"/>
                    </a:lnTo>
                    <a:lnTo>
                      <a:pt x="244" y="155"/>
                    </a:lnTo>
                    <a:lnTo>
                      <a:pt x="241" y="147"/>
                    </a:lnTo>
                    <a:lnTo>
                      <a:pt x="243" y="137"/>
                    </a:lnTo>
                    <a:lnTo>
                      <a:pt x="243" y="135"/>
                    </a:lnTo>
                    <a:lnTo>
                      <a:pt x="241" y="135"/>
                    </a:lnTo>
                    <a:lnTo>
                      <a:pt x="244" y="122"/>
                    </a:lnTo>
                    <a:lnTo>
                      <a:pt x="244" y="116"/>
                    </a:lnTo>
                    <a:lnTo>
                      <a:pt x="240" y="110"/>
                    </a:lnTo>
                    <a:lnTo>
                      <a:pt x="240" y="109"/>
                    </a:lnTo>
                    <a:lnTo>
                      <a:pt x="249" y="93"/>
                    </a:lnTo>
                    <a:lnTo>
                      <a:pt x="250" y="93"/>
                    </a:lnTo>
                    <a:lnTo>
                      <a:pt x="253" y="68"/>
                    </a:lnTo>
                    <a:lnTo>
                      <a:pt x="265" y="52"/>
                    </a:lnTo>
                    <a:lnTo>
                      <a:pt x="269" y="49"/>
                    </a:lnTo>
                    <a:lnTo>
                      <a:pt x="270" y="48"/>
                    </a:lnTo>
                    <a:lnTo>
                      <a:pt x="272" y="45"/>
                    </a:lnTo>
                    <a:lnTo>
                      <a:pt x="272" y="44"/>
                    </a:lnTo>
                    <a:lnTo>
                      <a:pt x="270" y="42"/>
                    </a:lnTo>
                    <a:lnTo>
                      <a:pt x="269" y="42"/>
                    </a:lnTo>
                    <a:lnTo>
                      <a:pt x="266" y="39"/>
                    </a:lnTo>
                    <a:lnTo>
                      <a:pt x="266" y="36"/>
                    </a:lnTo>
                    <a:lnTo>
                      <a:pt x="266" y="26"/>
                    </a:lnTo>
                    <a:lnTo>
                      <a:pt x="268" y="25"/>
                    </a:lnTo>
                    <a:lnTo>
                      <a:pt x="268" y="23"/>
                    </a:lnTo>
                    <a:lnTo>
                      <a:pt x="265" y="23"/>
                    </a:lnTo>
                    <a:lnTo>
                      <a:pt x="249" y="9"/>
                    </a:lnTo>
                    <a:lnTo>
                      <a:pt x="246" y="12"/>
                    </a:lnTo>
                    <a:lnTo>
                      <a:pt x="243" y="12"/>
                    </a:lnTo>
                    <a:lnTo>
                      <a:pt x="236" y="10"/>
                    </a:lnTo>
                    <a:lnTo>
                      <a:pt x="234" y="13"/>
                    </a:lnTo>
                    <a:lnTo>
                      <a:pt x="233" y="13"/>
                    </a:lnTo>
                    <a:lnTo>
                      <a:pt x="227" y="12"/>
                    </a:lnTo>
                    <a:lnTo>
                      <a:pt x="224" y="7"/>
                    </a:lnTo>
                    <a:lnTo>
                      <a:pt x="220" y="4"/>
                    </a:lnTo>
                    <a:lnTo>
                      <a:pt x="218" y="1"/>
                    </a:lnTo>
                    <a:lnTo>
                      <a:pt x="211" y="1"/>
                    </a:lnTo>
                    <a:lnTo>
                      <a:pt x="209" y="4"/>
                    </a:lnTo>
                    <a:lnTo>
                      <a:pt x="207" y="1"/>
                    </a:lnTo>
                    <a:lnTo>
                      <a:pt x="205" y="4"/>
                    </a:lnTo>
                    <a:lnTo>
                      <a:pt x="201" y="0"/>
                    </a:lnTo>
                    <a:lnTo>
                      <a:pt x="191" y="1"/>
                    </a:lnTo>
                    <a:lnTo>
                      <a:pt x="186" y="1"/>
                    </a:lnTo>
                    <a:lnTo>
                      <a:pt x="185" y="4"/>
                    </a:lnTo>
                    <a:lnTo>
                      <a:pt x="182" y="4"/>
                    </a:lnTo>
                    <a:lnTo>
                      <a:pt x="180" y="4"/>
                    </a:lnTo>
                    <a:lnTo>
                      <a:pt x="178" y="4"/>
                    </a:lnTo>
                    <a:lnTo>
                      <a:pt x="178" y="4"/>
                    </a:lnTo>
                    <a:lnTo>
                      <a:pt x="178" y="3"/>
                    </a:lnTo>
                    <a:lnTo>
                      <a:pt x="176" y="3"/>
                    </a:lnTo>
                    <a:lnTo>
                      <a:pt x="159" y="9"/>
                    </a:lnTo>
                    <a:lnTo>
                      <a:pt x="157" y="7"/>
                    </a:lnTo>
                    <a:lnTo>
                      <a:pt x="151" y="6"/>
                    </a:lnTo>
                    <a:lnTo>
                      <a:pt x="148" y="9"/>
                    </a:lnTo>
                    <a:lnTo>
                      <a:pt x="148" y="13"/>
                    </a:lnTo>
                    <a:lnTo>
                      <a:pt x="146" y="13"/>
                    </a:lnTo>
                    <a:lnTo>
                      <a:pt x="133" y="13"/>
                    </a:lnTo>
                    <a:lnTo>
                      <a:pt x="127" y="12"/>
                    </a:lnTo>
                    <a:lnTo>
                      <a:pt x="124" y="10"/>
                    </a:lnTo>
                    <a:lnTo>
                      <a:pt x="121" y="12"/>
                    </a:lnTo>
                    <a:lnTo>
                      <a:pt x="119" y="12"/>
                    </a:lnTo>
                    <a:lnTo>
                      <a:pt x="114" y="7"/>
                    </a:lnTo>
                    <a:lnTo>
                      <a:pt x="114" y="4"/>
                    </a:lnTo>
                    <a:lnTo>
                      <a:pt x="111" y="1"/>
                    </a:lnTo>
                    <a:lnTo>
                      <a:pt x="103" y="1"/>
                    </a:lnTo>
                    <a:lnTo>
                      <a:pt x="99" y="6"/>
                    </a:lnTo>
                    <a:lnTo>
                      <a:pt x="98" y="10"/>
                    </a:lnTo>
                    <a:lnTo>
                      <a:pt x="95" y="12"/>
                    </a:lnTo>
                    <a:lnTo>
                      <a:pt x="93" y="20"/>
                    </a:lnTo>
                    <a:lnTo>
                      <a:pt x="95" y="22"/>
                    </a:lnTo>
                    <a:lnTo>
                      <a:pt x="92" y="22"/>
                    </a:lnTo>
                    <a:lnTo>
                      <a:pt x="92" y="26"/>
                    </a:lnTo>
                    <a:lnTo>
                      <a:pt x="83" y="48"/>
                    </a:lnTo>
                    <a:lnTo>
                      <a:pt x="79" y="84"/>
                    </a:lnTo>
                    <a:lnTo>
                      <a:pt x="69" y="92"/>
                    </a:lnTo>
                    <a:lnTo>
                      <a:pt x="58" y="105"/>
                    </a:lnTo>
                    <a:lnTo>
                      <a:pt x="56" y="125"/>
                    </a:lnTo>
                    <a:lnTo>
                      <a:pt x="48" y="134"/>
                    </a:lnTo>
                    <a:lnTo>
                      <a:pt x="38" y="141"/>
                    </a:lnTo>
                    <a:lnTo>
                      <a:pt x="32" y="144"/>
                    </a:lnTo>
                    <a:lnTo>
                      <a:pt x="31" y="142"/>
                    </a:lnTo>
                    <a:lnTo>
                      <a:pt x="29" y="138"/>
                    </a:lnTo>
                    <a:lnTo>
                      <a:pt x="29" y="137"/>
                    </a:lnTo>
                    <a:lnTo>
                      <a:pt x="22" y="138"/>
                    </a:lnTo>
                    <a:lnTo>
                      <a:pt x="21" y="139"/>
                    </a:lnTo>
                    <a:lnTo>
                      <a:pt x="18" y="142"/>
                    </a:lnTo>
                    <a:lnTo>
                      <a:pt x="15" y="144"/>
                    </a:lnTo>
                    <a:lnTo>
                      <a:pt x="11" y="141"/>
                    </a:lnTo>
                    <a:lnTo>
                      <a:pt x="11" y="141"/>
                    </a:lnTo>
                    <a:lnTo>
                      <a:pt x="5" y="145"/>
                    </a:lnTo>
                    <a:lnTo>
                      <a:pt x="3" y="157"/>
                    </a:lnTo>
                    <a:lnTo>
                      <a:pt x="2" y="158"/>
                    </a:lnTo>
                    <a:lnTo>
                      <a:pt x="2" y="161"/>
                    </a:lnTo>
                    <a:lnTo>
                      <a:pt x="0" y="163"/>
                    </a:lnTo>
                    <a:lnTo>
                      <a:pt x="2" y="164"/>
                    </a:lnTo>
                    <a:lnTo>
                      <a:pt x="2" y="163"/>
                    </a:lnTo>
                    <a:lnTo>
                      <a:pt x="15" y="158"/>
                    </a:lnTo>
                    <a:lnTo>
                      <a:pt x="31" y="157"/>
                    </a:lnTo>
                    <a:lnTo>
                      <a:pt x="32" y="158"/>
                    </a:lnTo>
                    <a:lnTo>
                      <a:pt x="57" y="157"/>
                    </a:lnTo>
                    <a:lnTo>
                      <a:pt x="58" y="157"/>
                    </a:lnTo>
                    <a:lnTo>
                      <a:pt x="58" y="160"/>
                    </a:lnTo>
                    <a:lnTo>
                      <a:pt x="60" y="160"/>
                    </a:lnTo>
                    <a:lnTo>
                      <a:pt x="61" y="160"/>
                    </a:lnTo>
                    <a:lnTo>
                      <a:pt x="67" y="179"/>
                    </a:lnTo>
                    <a:lnTo>
                      <a:pt x="76" y="189"/>
                    </a:lnTo>
                    <a:lnTo>
                      <a:pt x="79" y="190"/>
                    </a:lnTo>
                    <a:lnTo>
                      <a:pt x="83" y="190"/>
                    </a:lnTo>
                    <a:lnTo>
                      <a:pt x="92" y="187"/>
                    </a:lnTo>
                    <a:lnTo>
                      <a:pt x="101" y="187"/>
                    </a:lnTo>
                    <a:lnTo>
                      <a:pt x="102" y="183"/>
                    </a:lnTo>
                    <a:lnTo>
                      <a:pt x="102" y="182"/>
                    </a:lnTo>
                    <a:lnTo>
                      <a:pt x="105" y="174"/>
                    </a:lnTo>
                    <a:lnTo>
                      <a:pt x="115" y="174"/>
                    </a:lnTo>
                    <a:lnTo>
                      <a:pt x="117" y="173"/>
                    </a:lnTo>
                    <a:lnTo>
                      <a:pt x="122" y="173"/>
                    </a:lnTo>
                    <a:lnTo>
                      <a:pt x="122" y="179"/>
                    </a:lnTo>
                    <a:lnTo>
                      <a:pt x="134" y="179"/>
                    </a:lnTo>
                    <a:lnTo>
                      <a:pt x="135" y="182"/>
                    </a:lnTo>
                    <a:lnTo>
                      <a:pt x="138" y="202"/>
                    </a:lnTo>
                    <a:lnTo>
                      <a:pt x="137" y="206"/>
                    </a:lnTo>
                    <a:lnTo>
                      <a:pt x="137" y="212"/>
                    </a:lnTo>
                    <a:lnTo>
                      <a:pt x="143" y="225"/>
                    </a:lnTo>
                    <a:lnTo>
                      <a:pt x="143" y="227"/>
                    </a:lnTo>
                    <a:lnTo>
                      <a:pt x="138" y="231"/>
                    </a:lnTo>
                    <a:lnTo>
                      <a:pt x="138" y="232"/>
                    </a:lnTo>
                    <a:lnTo>
                      <a:pt x="138" y="232"/>
                    </a:lnTo>
                    <a:lnTo>
                      <a:pt x="140" y="234"/>
                    </a:lnTo>
                    <a:lnTo>
                      <a:pt x="140" y="234"/>
                    </a:lnTo>
                    <a:lnTo>
                      <a:pt x="141" y="235"/>
                    </a:lnTo>
                    <a:lnTo>
                      <a:pt x="143" y="235"/>
                    </a:lnTo>
                    <a:lnTo>
                      <a:pt x="144" y="235"/>
                    </a:lnTo>
                    <a:lnTo>
                      <a:pt x="146" y="232"/>
                    </a:lnTo>
                    <a:lnTo>
                      <a:pt x="147" y="231"/>
                    </a:lnTo>
                    <a:lnTo>
                      <a:pt x="160" y="231"/>
                    </a:lnTo>
                    <a:lnTo>
                      <a:pt x="163" y="231"/>
                    </a:lnTo>
                    <a:lnTo>
                      <a:pt x="164" y="231"/>
                    </a:lnTo>
                    <a:lnTo>
                      <a:pt x="166" y="231"/>
                    </a:lnTo>
                    <a:lnTo>
                      <a:pt x="167" y="230"/>
                    </a:lnTo>
                    <a:lnTo>
                      <a:pt x="169" y="230"/>
                    </a:lnTo>
                    <a:lnTo>
                      <a:pt x="172" y="228"/>
                    </a:lnTo>
                    <a:lnTo>
                      <a:pt x="172" y="228"/>
                    </a:lnTo>
                    <a:lnTo>
                      <a:pt x="175" y="231"/>
                    </a:lnTo>
                    <a:lnTo>
                      <a:pt x="173" y="234"/>
                    </a:lnTo>
                    <a:lnTo>
                      <a:pt x="175" y="235"/>
                    </a:lnTo>
                    <a:lnTo>
                      <a:pt x="175" y="235"/>
                    </a:lnTo>
                    <a:lnTo>
                      <a:pt x="180" y="234"/>
                    </a:lnTo>
                    <a:lnTo>
                      <a:pt x="182" y="234"/>
                    </a:lnTo>
                    <a:lnTo>
                      <a:pt x="185" y="232"/>
                    </a:lnTo>
                    <a:lnTo>
                      <a:pt x="186" y="235"/>
                    </a:lnTo>
                    <a:lnTo>
                      <a:pt x="188" y="237"/>
                    </a:lnTo>
                    <a:lnTo>
                      <a:pt x="188" y="238"/>
                    </a:lnTo>
                    <a:lnTo>
                      <a:pt x="199" y="244"/>
                    </a:lnTo>
                    <a:lnTo>
                      <a:pt x="202" y="244"/>
                    </a:lnTo>
                    <a:lnTo>
                      <a:pt x="211" y="243"/>
                    </a:lnTo>
                    <a:lnTo>
                      <a:pt x="212" y="243"/>
                    </a:lnTo>
                    <a:lnTo>
                      <a:pt x="217" y="247"/>
                    </a:lnTo>
                    <a:lnTo>
                      <a:pt x="224" y="250"/>
                    </a:lnTo>
                    <a:lnTo>
                      <a:pt x="227" y="250"/>
                    </a:lnTo>
                    <a:lnTo>
                      <a:pt x="228" y="251"/>
                    </a:lnTo>
                    <a:lnTo>
                      <a:pt x="230" y="256"/>
                    </a:lnTo>
                    <a:lnTo>
                      <a:pt x="237" y="262"/>
                    </a:lnTo>
                    <a:lnTo>
                      <a:pt x="243" y="263"/>
                    </a:lnTo>
                    <a:lnTo>
                      <a:pt x="243" y="263"/>
                    </a:lnTo>
                    <a:lnTo>
                      <a:pt x="246" y="262"/>
                    </a:lnTo>
                    <a:lnTo>
                      <a:pt x="246" y="262"/>
                    </a:lnTo>
                    <a:lnTo>
                      <a:pt x="247" y="264"/>
                    </a:lnTo>
                    <a:lnTo>
                      <a:pt x="249" y="264"/>
                    </a:lnTo>
                    <a:lnTo>
                      <a:pt x="250" y="264"/>
                    </a:lnTo>
                    <a:lnTo>
                      <a:pt x="250" y="264"/>
                    </a:lnTo>
                    <a:lnTo>
                      <a:pt x="250" y="251"/>
                    </a:lnTo>
                    <a:lnTo>
                      <a:pt x="249" y="248"/>
                    </a:lnTo>
                    <a:lnTo>
                      <a:pt x="247" y="248"/>
                    </a:lnTo>
                    <a:lnTo>
                      <a:pt x="246" y="250"/>
                    </a:lnTo>
                    <a:lnTo>
                      <a:pt x="239" y="250"/>
                    </a:lnTo>
                    <a:lnTo>
                      <a:pt x="237" y="248"/>
                    </a:lnTo>
                    <a:lnTo>
                      <a:pt x="233" y="243"/>
                    </a:lnTo>
                    <a:lnTo>
                      <a:pt x="233" y="240"/>
                    </a:lnTo>
                    <a:lnTo>
                      <a:pt x="239" y="216"/>
                    </a:lnTo>
                    <a:lnTo>
                      <a:pt x="236" y="205"/>
                    </a:lnTo>
                    <a:lnTo>
                      <a:pt x="240" y="196"/>
                    </a:lnTo>
                    <a:lnTo>
                      <a:pt x="241" y="195"/>
                    </a:lnTo>
                    <a:lnTo>
                      <a:pt x="262" y="19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84" name="Freeform 1472"/>
              <p:cNvSpPr>
                <a:spLocks/>
              </p:cNvSpPr>
              <p:nvPr/>
            </p:nvSpPr>
            <p:spPr bwMode="auto">
              <a:xfrm>
                <a:off x="5194646" y="2602255"/>
                <a:ext cx="5267" cy="3043"/>
              </a:xfrm>
              <a:custGeom>
                <a:avLst/>
                <a:gdLst/>
                <a:ahLst/>
                <a:cxnLst>
                  <a:cxn ang="0">
                    <a:pos x="2" y="0"/>
                  </a:cxn>
                  <a:cxn ang="0">
                    <a:pos x="1" y="0"/>
                  </a:cxn>
                  <a:cxn ang="0">
                    <a:pos x="1" y="1"/>
                  </a:cxn>
                  <a:cxn ang="0">
                    <a:pos x="0" y="1"/>
                  </a:cxn>
                  <a:cxn ang="0">
                    <a:pos x="1" y="3"/>
                  </a:cxn>
                  <a:cxn ang="0">
                    <a:pos x="1" y="1"/>
                  </a:cxn>
                  <a:cxn ang="0">
                    <a:pos x="4" y="1"/>
                  </a:cxn>
                  <a:cxn ang="0">
                    <a:pos x="5" y="3"/>
                  </a:cxn>
                  <a:cxn ang="0">
                    <a:pos x="5" y="0"/>
                  </a:cxn>
                  <a:cxn ang="0">
                    <a:pos x="4" y="0"/>
                  </a:cxn>
                  <a:cxn ang="0">
                    <a:pos x="2" y="0"/>
                  </a:cxn>
                </a:cxnLst>
                <a:rect l="0" t="0" r="r" b="b"/>
                <a:pathLst>
                  <a:path w="5" h="3">
                    <a:moveTo>
                      <a:pt x="2" y="0"/>
                    </a:moveTo>
                    <a:lnTo>
                      <a:pt x="1" y="0"/>
                    </a:lnTo>
                    <a:lnTo>
                      <a:pt x="1" y="1"/>
                    </a:lnTo>
                    <a:lnTo>
                      <a:pt x="0" y="1"/>
                    </a:lnTo>
                    <a:lnTo>
                      <a:pt x="1" y="3"/>
                    </a:lnTo>
                    <a:lnTo>
                      <a:pt x="1" y="1"/>
                    </a:lnTo>
                    <a:lnTo>
                      <a:pt x="4" y="1"/>
                    </a:lnTo>
                    <a:lnTo>
                      <a:pt x="5" y="3"/>
                    </a:lnTo>
                    <a:lnTo>
                      <a:pt x="5" y="0"/>
                    </a:lnTo>
                    <a:lnTo>
                      <a:pt x="4" y="0"/>
                    </a:lnTo>
                    <a:lnTo>
                      <a:pt x="2"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85" name="Freeform 1473"/>
              <p:cNvSpPr>
                <a:spLocks/>
              </p:cNvSpPr>
              <p:nvPr/>
            </p:nvSpPr>
            <p:spPr bwMode="auto">
              <a:xfrm>
                <a:off x="5194646" y="2602255"/>
                <a:ext cx="5267" cy="3043"/>
              </a:xfrm>
              <a:custGeom>
                <a:avLst/>
                <a:gdLst/>
                <a:ahLst/>
                <a:cxnLst>
                  <a:cxn ang="0">
                    <a:pos x="2" y="0"/>
                  </a:cxn>
                  <a:cxn ang="0">
                    <a:pos x="1" y="0"/>
                  </a:cxn>
                  <a:cxn ang="0">
                    <a:pos x="1" y="1"/>
                  </a:cxn>
                  <a:cxn ang="0">
                    <a:pos x="0" y="1"/>
                  </a:cxn>
                  <a:cxn ang="0">
                    <a:pos x="1" y="3"/>
                  </a:cxn>
                  <a:cxn ang="0">
                    <a:pos x="1" y="1"/>
                  </a:cxn>
                  <a:cxn ang="0">
                    <a:pos x="4" y="1"/>
                  </a:cxn>
                  <a:cxn ang="0">
                    <a:pos x="5" y="3"/>
                  </a:cxn>
                  <a:cxn ang="0">
                    <a:pos x="5" y="0"/>
                  </a:cxn>
                  <a:cxn ang="0">
                    <a:pos x="4" y="0"/>
                  </a:cxn>
                  <a:cxn ang="0">
                    <a:pos x="2" y="0"/>
                  </a:cxn>
                </a:cxnLst>
                <a:rect l="0" t="0" r="r" b="b"/>
                <a:pathLst>
                  <a:path w="5" h="3">
                    <a:moveTo>
                      <a:pt x="2" y="0"/>
                    </a:moveTo>
                    <a:lnTo>
                      <a:pt x="1" y="0"/>
                    </a:lnTo>
                    <a:lnTo>
                      <a:pt x="1" y="1"/>
                    </a:lnTo>
                    <a:lnTo>
                      <a:pt x="0" y="1"/>
                    </a:lnTo>
                    <a:lnTo>
                      <a:pt x="1" y="3"/>
                    </a:lnTo>
                    <a:lnTo>
                      <a:pt x="1" y="1"/>
                    </a:lnTo>
                    <a:lnTo>
                      <a:pt x="4" y="1"/>
                    </a:lnTo>
                    <a:lnTo>
                      <a:pt x="5" y="3"/>
                    </a:lnTo>
                    <a:lnTo>
                      <a:pt x="5" y="0"/>
                    </a:lnTo>
                    <a:lnTo>
                      <a:pt x="4" y="0"/>
                    </a:lnTo>
                    <a:lnTo>
                      <a:pt x="2"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86" name="Freeform 1474"/>
              <p:cNvSpPr>
                <a:spLocks/>
              </p:cNvSpPr>
              <p:nvPr/>
            </p:nvSpPr>
            <p:spPr bwMode="auto">
              <a:xfrm>
                <a:off x="5202545" y="2603270"/>
                <a:ext cx="2634" cy="3042"/>
              </a:xfrm>
              <a:custGeom>
                <a:avLst/>
                <a:gdLst/>
                <a:ahLst/>
                <a:cxnLst>
                  <a:cxn ang="0">
                    <a:pos x="3" y="0"/>
                  </a:cxn>
                  <a:cxn ang="0">
                    <a:pos x="2" y="2"/>
                  </a:cxn>
                  <a:cxn ang="0">
                    <a:pos x="0" y="2"/>
                  </a:cxn>
                  <a:cxn ang="0">
                    <a:pos x="0" y="2"/>
                  </a:cxn>
                  <a:cxn ang="0">
                    <a:pos x="2" y="3"/>
                  </a:cxn>
                  <a:cxn ang="0">
                    <a:pos x="3" y="3"/>
                  </a:cxn>
                  <a:cxn ang="0">
                    <a:pos x="3" y="2"/>
                  </a:cxn>
                  <a:cxn ang="0">
                    <a:pos x="3" y="0"/>
                  </a:cxn>
                  <a:cxn ang="0">
                    <a:pos x="3" y="0"/>
                  </a:cxn>
                </a:cxnLst>
                <a:rect l="0" t="0" r="r" b="b"/>
                <a:pathLst>
                  <a:path w="3" h="3">
                    <a:moveTo>
                      <a:pt x="3" y="0"/>
                    </a:moveTo>
                    <a:lnTo>
                      <a:pt x="2" y="2"/>
                    </a:lnTo>
                    <a:lnTo>
                      <a:pt x="0" y="2"/>
                    </a:lnTo>
                    <a:lnTo>
                      <a:pt x="0" y="2"/>
                    </a:lnTo>
                    <a:lnTo>
                      <a:pt x="2" y="3"/>
                    </a:lnTo>
                    <a:lnTo>
                      <a:pt x="3" y="3"/>
                    </a:lnTo>
                    <a:lnTo>
                      <a:pt x="3" y="2"/>
                    </a:lnTo>
                    <a:lnTo>
                      <a:pt x="3" y="0"/>
                    </a:lnTo>
                    <a:lnTo>
                      <a:pt x="3"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87" name="Freeform 1475"/>
              <p:cNvSpPr>
                <a:spLocks/>
              </p:cNvSpPr>
              <p:nvPr/>
            </p:nvSpPr>
            <p:spPr bwMode="auto">
              <a:xfrm>
                <a:off x="5202545" y="2603270"/>
                <a:ext cx="2634" cy="3042"/>
              </a:xfrm>
              <a:custGeom>
                <a:avLst/>
                <a:gdLst/>
                <a:ahLst/>
                <a:cxnLst>
                  <a:cxn ang="0">
                    <a:pos x="3" y="0"/>
                  </a:cxn>
                  <a:cxn ang="0">
                    <a:pos x="2" y="2"/>
                  </a:cxn>
                  <a:cxn ang="0">
                    <a:pos x="0" y="2"/>
                  </a:cxn>
                  <a:cxn ang="0">
                    <a:pos x="0" y="2"/>
                  </a:cxn>
                  <a:cxn ang="0">
                    <a:pos x="2" y="3"/>
                  </a:cxn>
                  <a:cxn ang="0">
                    <a:pos x="3" y="3"/>
                  </a:cxn>
                  <a:cxn ang="0">
                    <a:pos x="3" y="2"/>
                  </a:cxn>
                  <a:cxn ang="0">
                    <a:pos x="3" y="0"/>
                  </a:cxn>
                  <a:cxn ang="0">
                    <a:pos x="3" y="0"/>
                  </a:cxn>
                </a:cxnLst>
                <a:rect l="0" t="0" r="r" b="b"/>
                <a:pathLst>
                  <a:path w="3" h="3">
                    <a:moveTo>
                      <a:pt x="3" y="0"/>
                    </a:moveTo>
                    <a:lnTo>
                      <a:pt x="2" y="2"/>
                    </a:lnTo>
                    <a:lnTo>
                      <a:pt x="0" y="2"/>
                    </a:lnTo>
                    <a:lnTo>
                      <a:pt x="0" y="2"/>
                    </a:lnTo>
                    <a:lnTo>
                      <a:pt x="2" y="3"/>
                    </a:lnTo>
                    <a:lnTo>
                      <a:pt x="3" y="3"/>
                    </a:lnTo>
                    <a:lnTo>
                      <a:pt x="3" y="2"/>
                    </a:lnTo>
                    <a:lnTo>
                      <a:pt x="3" y="0"/>
                    </a:lnTo>
                    <a:lnTo>
                      <a:pt x="3"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88" name="Freeform 1476"/>
              <p:cNvSpPr>
                <a:spLocks/>
              </p:cNvSpPr>
              <p:nvPr/>
            </p:nvSpPr>
            <p:spPr bwMode="auto">
              <a:xfrm>
                <a:off x="4492405" y="2434924"/>
                <a:ext cx="753153" cy="457374"/>
              </a:xfrm>
              <a:custGeom>
                <a:avLst/>
                <a:gdLst/>
                <a:ahLst/>
                <a:cxnLst>
                  <a:cxn ang="0">
                    <a:pos x="802" y="43"/>
                  </a:cxn>
                  <a:cxn ang="0">
                    <a:pos x="768" y="85"/>
                  </a:cxn>
                  <a:cxn ang="0">
                    <a:pos x="689" y="110"/>
                  </a:cxn>
                  <a:cxn ang="0">
                    <a:pos x="674" y="126"/>
                  </a:cxn>
                  <a:cxn ang="0">
                    <a:pos x="606" y="159"/>
                  </a:cxn>
                  <a:cxn ang="0">
                    <a:pos x="596" y="139"/>
                  </a:cxn>
                  <a:cxn ang="0">
                    <a:pos x="581" y="111"/>
                  </a:cxn>
                  <a:cxn ang="0">
                    <a:pos x="577" y="82"/>
                  </a:cxn>
                  <a:cxn ang="0">
                    <a:pos x="555" y="95"/>
                  </a:cxn>
                  <a:cxn ang="0">
                    <a:pos x="546" y="138"/>
                  </a:cxn>
                  <a:cxn ang="0">
                    <a:pos x="525" y="94"/>
                  </a:cxn>
                  <a:cxn ang="0">
                    <a:pos x="567" y="74"/>
                  </a:cxn>
                  <a:cxn ang="0">
                    <a:pos x="574" y="62"/>
                  </a:cxn>
                  <a:cxn ang="0">
                    <a:pos x="526" y="56"/>
                  </a:cxn>
                  <a:cxn ang="0">
                    <a:pos x="495" y="55"/>
                  </a:cxn>
                  <a:cxn ang="0">
                    <a:pos x="497" y="30"/>
                  </a:cxn>
                  <a:cxn ang="0">
                    <a:pos x="445" y="17"/>
                  </a:cxn>
                  <a:cxn ang="0">
                    <a:pos x="27" y="8"/>
                  </a:cxn>
                  <a:cxn ang="0">
                    <a:pos x="32" y="21"/>
                  </a:cxn>
                  <a:cxn ang="0">
                    <a:pos x="27" y="33"/>
                  </a:cxn>
                  <a:cxn ang="0">
                    <a:pos x="8" y="50"/>
                  </a:cxn>
                  <a:cxn ang="0">
                    <a:pos x="11" y="59"/>
                  </a:cxn>
                  <a:cxn ang="0">
                    <a:pos x="11" y="82"/>
                  </a:cxn>
                  <a:cxn ang="0">
                    <a:pos x="13" y="194"/>
                  </a:cxn>
                  <a:cxn ang="0">
                    <a:pos x="35" y="222"/>
                  </a:cxn>
                  <a:cxn ang="0">
                    <a:pos x="40" y="242"/>
                  </a:cxn>
                  <a:cxn ang="0">
                    <a:pos x="66" y="286"/>
                  </a:cxn>
                  <a:cxn ang="0">
                    <a:pos x="95" y="299"/>
                  </a:cxn>
                  <a:cxn ang="0">
                    <a:pos x="281" y="351"/>
                  </a:cxn>
                  <a:cxn ang="0">
                    <a:pos x="365" y="420"/>
                  </a:cxn>
                  <a:cxn ang="0">
                    <a:pos x="388" y="408"/>
                  </a:cxn>
                  <a:cxn ang="0">
                    <a:pos x="395" y="392"/>
                  </a:cxn>
                  <a:cxn ang="0">
                    <a:pos x="404" y="383"/>
                  </a:cxn>
                  <a:cxn ang="0">
                    <a:pos x="407" y="388"/>
                  </a:cxn>
                  <a:cxn ang="0">
                    <a:pos x="461" y="369"/>
                  </a:cxn>
                  <a:cxn ang="0">
                    <a:pos x="487" y="374"/>
                  </a:cxn>
                  <a:cxn ang="0">
                    <a:pos x="497" y="369"/>
                  </a:cxn>
                  <a:cxn ang="0">
                    <a:pos x="488" y="360"/>
                  </a:cxn>
                  <a:cxn ang="0">
                    <a:pos x="529" y="356"/>
                  </a:cxn>
                  <a:cxn ang="0">
                    <a:pos x="559" y="366"/>
                  </a:cxn>
                  <a:cxn ang="0">
                    <a:pos x="594" y="374"/>
                  </a:cxn>
                  <a:cxn ang="0">
                    <a:pos x="607" y="415"/>
                  </a:cxn>
                  <a:cxn ang="0">
                    <a:pos x="631" y="436"/>
                  </a:cxn>
                  <a:cxn ang="0">
                    <a:pos x="626" y="325"/>
                  </a:cxn>
                  <a:cxn ang="0">
                    <a:pos x="646" y="306"/>
                  </a:cxn>
                  <a:cxn ang="0">
                    <a:pos x="687" y="277"/>
                  </a:cxn>
                  <a:cxn ang="0">
                    <a:pos x="687" y="270"/>
                  </a:cxn>
                  <a:cxn ang="0">
                    <a:pos x="683" y="255"/>
                  </a:cxn>
                  <a:cxn ang="0">
                    <a:pos x="694" y="248"/>
                  </a:cxn>
                  <a:cxn ang="0">
                    <a:pos x="689" y="236"/>
                  </a:cxn>
                  <a:cxn ang="0">
                    <a:pos x="676" y="213"/>
                  </a:cxn>
                  <a:cxn ang="0">
                    <a:pos x="686" y="212"/>
                  </a:cxn>
                  <a:cxn ang="0">
                    <a:pos x="690" y="206"/>
                  </a:cxn>
                  <a:cxn ang="0">
                    <a:pos x="696" y="225"/>
                  </a:cxn>
                  <a:cxn ang="0">
                    <a:pos x="699" y="197"/>
                  </a:cxn>
                  <a:cxn ang="0">
                    <a:pos x="721" y="188"/>
                  </a:cxn>
                  <a:cxn ang="0">
                    <a:pos x="741" y="164"/>
                  </a:cxn>
                  <a:cxn ang="0">
                    <a:pos x="776" y="158"/>
                  </a:cxn>
                  <a:cxn ang="0">
                    <a:pos x="764" y="145"/>
                  </a:cxn>
                  <a:cxn ang="0">
                    <a:pos x="780" y="114"/>
                  </a:cxn>
                  <a:cxn ang="0">
                    <a:pos x="792" y="107"/>
                  </a:cxn>
                  <a:cxn ang="0">
                    <a:pos x="808" y="103"/>
                  </a:cxn>
                </a:cxnLst>
                <a:rect l="0" t="0" r="r" b="b"/>
                <a:pathLst>
                  <a:path w="821" h="440">
                    <a:moveTo>
                      <a:pt x="821" y="94"/>
                    </a:moveTo>
                    <a:lnTo>
                      <a:pt x="819" y="94"/>
                    </a:lnTo>
                    <a:lnTo>
                      <a:pt x="819" y="94"/>
                    </a:lnTo>
                    <a:lnTo>
                      <a:pt x="821" y="93"/>
                    </a:lnTo>
                    <a:lnTo>
                      <a:pt x="819" y="88"/>
                    </a:lnTo>
                    <a:lnTo>
                      <a:pt x="819" y="88"/>
                    </a:lnTo>
                    <a:lnTo>
                      <a:pt x="818" y="88"/>
                    </a:lnTo>
                    <a:lnTo>
                      <a:pt x="816" y="88"/>
                    </a:lnTo>
                    <a:lnTo>
                      <a:pt x="813" y="87"/>
                    </a:lnTo>
                    <a:lnTo>
                      <a:pt x="813" y="84"/>
                    </a:lnTo>
                    <a:lnTo>
                      <a:pt x="813" y="80"/>
                    </a:lnTo>
                    <a:lnTo>
                      <a:pt x="809" y="78"/>
                    </a:lnTo>
                    <a:lnTo>
                      <a:pt x="809" y="50"/>
                    </a:lnTo>
                    <a:lnTo>
                      <a:pt x="802" y="43"/>
                    </a:lnTo>
                    <a:lnTo>
                      <a:pt x="800" y="43"/>
                    </a:lnTo>
                    <a:lnTo>
                      <a:pt x="799" y="46"/>
                    </a:lnTo>
                    <a:lnTo>
                      <a:pt x="795" y="48"/>
                    </a:lnTo>
                    <a:lnTo>
                      <a:pt x="790" y="46"/>
                    </a:lnTo>
                    <a:lnTo>
                      <a:pt x="790" y="43"/>
                    </a:lnTo>
                    <a:lnTo>
                      <a:pt x="787" y="42"/>
                    </a:lnTo>
                    <a:lnTo>
                      <a:pt x="786" y="42"/>
                    </a:lnTo>
                    <a:lnTo>
                      <a:pt x="784" y="43"/>
                    </a:lnTo>
                    <a:lnTo>
                      <a:pt x="773" y="69"/>
                    </a:lnTo>
                    <a:lnTo>
                      <a:pt x="771" y="78"/>
                    </a:lnTo>
                    <a:lnTo>
                      <a:pt x="768" y="82"/>
                    </a:lnTo>
                    <a:lnTo>
                      <a:pt x="768" y="84"/>
                    </a:lnTo>
                    <a:lnTo>
                      <a:pt x="768" y="85"/>
                    </a:lnTo>
                    <a:lnTo>
                      <a:pt x="768" y="85"/>
                    </a:lnTo>
                    <a:lnTo>
                      <a:pt x="767" y="85"/>
                    </a:lnTo>
                    <a:lnTo>
                      <a:pt x="767" y="85"/>
                    </a:lnTo>
                    <a:lnTo>
                      <a:pt x="767" y="87"/>
                    </a:lnTo>
                    <a:lnTo>
                      <a:pt x="764" y="85"/>
                    </a:lnTo>
                    <a:lnTo>
                      <a:pt x="761" y="87"/>
                    </a:lnTo>
                    <a:lnTo>
                      <a:pt x="758" y="87"/>
                    </a:lnTo>
                    <a:lnTo>
                      <a:pt x="757" y="88"/>
                    </a:lnTo>
                    <a:lnTo>
                      <a:pt x="755" y="93"/>
                    </a:lnTo>
                    <a:lnTo>
                      <a:pt x="706" y="93"/>
                    </a:lnTo>
                    <a:lnTo>
                      <a:pt x="697" y="98"/>
                    </a:lnTo>
                    <a:lnTo>
                      <a:pt x="694" y="104"/>
                    </a:lnTo>
                    <a:lnTo>
                      <a:pt x="689" y="109"/>
                    </a:lnTo>
                    <a:lnTo>
                      <a:pt x="687" y="110"/>
                    </a:lnTo>
                    <a:lnTo>
                      <a:pt x="689" y="110"/>
                    </a:lnTo>
                    <a:lnTo>
                      <a:pt x="690" y="110"/>
                    </a:lnTo>
                    <a:lnTo>
                      <a:pt x="690" y="111"/>
                    </a:lnTo>
                    <a:lnTo>
                      <a:pt x="690" y="113"/>
                    </a:lnTo>
                    <a:lnTo>
                      <a:pt x="690" y="113"/>
                    </a:lnTo>
                    <a:lnTo>
                      <a:pt x="689" y="113"/>
                    </a:lnTo>
                    <a:lnTo>
                      <a:pt x="689" y="114"/>
                    </a:lnTo>
                    <a:lnTo>
                      <a:pt x="689" y="114"/>
                    </a:lnTo>
                    <a:lnTo>
                      <a:pt x="690" y="116"/>
                    </a:lnTo>
                    <a:lnTo>
                      <a:pt x="690" y="119"/>
                    </a:lnTo>
                    <a:lnTo>
                      <a:pt x="690" y="120"/>
                    </a:lnTo>
                    <a:lnTo>
                      <a:pt x="686" y="122"/>
                    </a:lnTo>
                    <a:lnTo>
                      <a:pt x="681" y="125"/>
                    </a:lnTo>
                    <a:lnTo>
                      <a:pt x="678" y="125"/>
                    </a:lnTo>
                    <a:lnTo>
                      <a:pt x="674" y="126"/>
                    </a:lnTo>
                    <a:lnTo>
                      <a:pt x="673" y="125"/>
                    </a:lnTo>
                    <a:lnTo>
                      <a:pt x="670" y="126"/>
                    </a:lnTo>
                    <a:lnTo>
                      <a:pt x="668" y="125"/>
                    </a:lnTo>
                    <a:lnTo>
                      <a:pt x="662" y="123"/>
                    </a:lnTo>
                    <a:lnTo>
                      <a:pt x="649" y="126"/>
                    </a:lnTo>
                    <a:lnTo>
                      <a:pt x="651" y="135"/>
                    </a:lnTo>
                    <a:lnTo>
                      <a:pt x="648" y="138"/>
                    </a:lnTo>
                    <a:lnTo>
                      <a:pt x="646" y="139"/>
                    </a:lnTo>
                    <a:lnTo>
                      <a:pt x="646" y="139"/>
                    </a:lnTo>
                    <a:lnTo>
                      <a:pt x="645" y="139"/>
                    </a:lnTo>
                    <a:lnTo>
                      <a:pt x="636" y="146"/>
                    </a:lnTo>
                    <a:lnTo>
                      <a:pt x="633" y="146"/>
                    </a:lnTo>
                    <a:lnTo>
                      <a:pt x="610" y="159"/>
                    </a:lnTo>
                    <a:lnTo>
                      <a:pt x="606" y="159"/>
                    </a:lnTo>
                    <a:lnTo>
                      <a:pt x="600" y="161"/>
                    </a:lnTo>
                    <a:lnTo>
                      <a:pt x="596" y="159"/>
                    </a:lnTo>
                    <a:lnTo>
                      <a:pt x="594" y="159"/>
                    </a:lnTo>
                    <a:lnTo>
                      <a:pt x="593" y="159"/>
                    </a:lnTo>
                    <a:lnTo>
                      <a:pt x="591" y="159"/>
                    </a:lnTo>
                    <a:lnTo>
                      <a:pt x="590" y="158"/>
                    </a:lnTo>
                    <a:lnTo>
                      <a:pt x="585" y="157"/>
                    </a:lnTo>
                    <a:lnTo>
                      <a:pt x="591" y="151"/>
                    </a:lnTo>
                    <a:lnTo>
                      <a:pt x="591" y="148"/>
                    </a:lnTo>
                    <a:lnTo>
                      <a:pt x="593" y="145"/>
                    </a:lnTo>
                    <a:lnTo>
                      <a:pt x="593" y="143"/>
                    </a:lnTo>
                    <a:lnTo>
                      <a:pt x="593" y="142"/>
                    </a:lnTo>
                    <a:lnTo>
                      <a:pt x="594" y="141"/>
                    </a:lnTo>
                    <a:lnTo>
                      <a:pt x="596" y="139"/>
                    </a:lnTo>
                    <a:lnTo>
                      <a:pt x="599" y="139"/>
                    </a:lnTo>
                    <a:lnTo>
                      <a:pt x="600" y="129"/>
                    </a:lnTo>
                    <a:lnTo>
                      <a:pt x="600" y="130"/>
                    </a:lnTo>
                    <a:lnTo>
                      <a:pt x="599" y="126"/>
                    </a:lnTo>
                    <a:lnTo>
                      <a:pt x="597" y="119"/>
                    </a:lnTo>
                    <a:lnTo>
                      <a:pt x="593" y="110"/>
                    </a:lnTo>
                    <a:lnTo>
                      <a:pt x="591" y="110"/>
                    </a:lnTo>
                    <a:lnTo>
                      <a:pt x="587" y="111"/>
                    </a:lnTo>
                    <a:lnTo>
                      <a:pt x="587" y="113"/>
                    </a:lnTo>
                    <a:lnTo>
                      <a:pt x="585" y="117"/>
                    </a:lnTo>
                    <a:lnTo>
                      <a:pt x="581" y="119"/>
                    </a:lnTo>
                    <a:lnTo>
                      <a:pt x="580" y="117"/>
                    </a:lnTo>
                    <a:lnTo>
                      <a:pt x="580" y="117"/>
                    </a:lnTo>
                    <a:lnTo>
                      <a:pt x="581" y="111"/>
                    </a:lnTo>
                    <a:lnTo>
                      <a:pt x="584" y="109"/>
                    </a:lnTo>
                    <a:lnTo>
                      <a:pt x="585" y="107"/>
                    </a:lnTo>
                    <a:lnTo>
                      <a:pt x="587" y="104"/>
                    </a:lnTo>
                    <a:lnTo>
                      <a:pt x="588" y="103"/>
                    </a:lnTo>
                    <a:lnTo>
                      <a:pt x="587" y="95"/>
                    </a:lnTo>
                    <a:lnTo>
                      <a:pt x="585" y="93"/>
                    </a:lnTo>
                    <a:lnTo>
                      <a:pt x="585" y="91"/>
                    </a:lnTo>
                    <a:lnTo>
                      <a:pt x="587" y="90"/>
                    </a:lnTo>
                    <a:lnTo>
                      <a:pt x="587" y="90"/>
                    </a:lnTo>
                    <a:lnTo>
                      <a:pt x="585" y="87"/>
                    </a:lnTo>
                    <a:lnTo>
                      <a:pt x="584" y="85"/>
                    </a:lnTo>
                    <a:lnTo>
                      <a:pt x="580" y="84"/>
                    </a:lnTo>
                    <a:lnTo>
                      <a:pt x="578" y="82"/>
                    </a:lnTo>
                    <a:lnTo>
                      <a:pt x="577" y="82"/>
                    </a:lnTo>
                    <a:lnTo>
                      <a:pt x="574" y="80"/>
                    </a:lnTo>
                    <a:lnTo>
                      <a:pt x="572" y="78"/>
                    </a:lnTo>
                    <a:lnTo>
                      <a:pt x="571" y="78"/>
                    </a:lnTo>
                    <a:lnTo>
                      <a:pt x="570" y="78"/>
                    </a:lnTo>
                    <a:lnTo>
                      <a:pt x="567" y="78"/>
                    </a:lnTo>
                    <a:lnTo>
                      <a:pt x="564" y="78"/>
                    </a:lnTo>
                    <a:lnTo>
                      <a:pt x="562" y="80"/>
                    </a:lnTo>
                    <a:lnTo>
                      <a:pt x="562" y="82"/>
                    </a:lnTo>
                    <a:lnTo>
                      <a:pt x="564" y="84"/>
                    </a:lnTo>
                    <a:lnTo>
                      <a:pt x="564" y="85"/>
                    </a:lnTo>
                    <a:lnTo>
                      <a:pt x="558" y="87"/>
                    </a:lnTo>
                    <a:lnTo>
                      <a:pt x="558" y="93"/>
                    </a:lnTo>
                    <a:lnTo>
                      <a:pt x="556" y="94"/>
                    </a:lnTo>
                    <a:lnTo>
                      <a:pt x="555" y="95"/>
                    </a:lnTo>
                    <a:lnTo>
                      <a:pt x="555" y="94"/>
                    </a:lnTo>
                    <a:lnTo>
                      <a:pt x="555" y="91"/>
                    </a:lnTo>
                    <a:lnTo>
                      <a:pt x="554" y="90"/>
                    </a:lnTo>
                    <a:lnTo>
                      <a:pt x="552" y="90"/>
                    </a:lnTo>
                    <a:lnTo>
                      <a:pt x="551" y="91"/>
                    </a:lnTo>
                    <a:lnTo>
                      <a:pt x="548" y="94"/>
                    </a:lnTo>
                    <a:lnTo>
                      <a:pt x="548" y="95"/>
                    </a:lnTo>
                    <a:lnTo>
                      <a:pt x="546" y="98"/>
                    </a:lnTo>
                    <a:lnTo>
                      <a:pt x="545" y="106"/>
                    </a:lnTo>
                    <a:lnTo>
                      <a:pt x="545" y="107"/>
                    </a:lnTo>
                    <a:lnTo>
                      <a:pt x="543" y="107"/>
                    </a:lnTo>
                    <a:lnTo>
                      <a:pt x="542" y="119"/>
                    </a:lnTo>
                    <a:lnTo>
                      <a:pt x="546" y="129"/>
                    </a:lnTo>
                    <a:lnTo>
                      <a:pt x="546" y="138"/>
                    </a:lnTo>
                    <a:lnTo>
                      <a:pt x="540" y="152"/>
                    </a:lnTo>
                    <a:lnTo>
                      <a:pt x="533" y="157"/>
                    </a:lnTo>
                    <a:lnTo>
                      <a:pt x="530" y="157"/>
                    </a:lnTo>
                    <a:lnTo>
                      <a:pt x="527" y="155"/>
                    </a:lnTo>
                    <a:lnTo>
                      <a:pt x="523" y="145"/>
                    </a:lnTo>
                    <a:lnTo>
                      <a:pt x="523" y="127"/>
                    </a:lnTo>
                    <a:lnTo>
                      <a:pt x="535" y="88"/>
                    </a:lnTo>
                    <a:lnTo>
                      <a:pt x="533" y="87"/>
                    </a:lnTo>
                    <a:lnTo>
                      <a:pt x="530" y="91"/>
                    </a:lnTo>
                    <a:lnTo>
                      <a:pt x="529" y="95"/>
                    </a:lnTo>
                    <a:lnTo>
                      <a:pt x="527" y="95"/>
                    </a:lnTo>
                    <a:lnTo>
                      <a:pt x="522" y="101"/>
                    </a:lnTo>
                    <a:lnTo>
                      <a:pt x="522" y="100"/>
                    </a:lnTo>
                    <a:lnTo>
                      <a:pt x="525" y="94"/>
                    </a:lnTo>
                    <a:lnTo>
                      <a:pt x="526" y="93"/>
                    </a:lnTo>
                    <a:lnTo>
                      <a:pt x="536" y="77"/>
                    </a:lnTo>
                    <a:lnTo>
                      <a:pt x="536" y="77"/>
                    </a:lnTo>
                    <a:lnTo>
                      <a:pt x="539" y="77"/>
                    </a:lnTo>
                    <a:lnTo>
                      <a:pt x="540" y="74"/>
                    </a:lnTo>
                    <a:lnTo>
                      <a:pt x="540" y="80"/>
                    </a:lnTo>
                    <a:lnTo>
                      <a:pt x="542" y="80"/>
                    </a:lnTo>
                    <a:lnTo>
                      <a:pt x="546" y="74"/>
                    </a:lnTo>
                    <a:lnTo>
                      <a:pt x="554" y="72"/>
                    </a:lnTo>
                    <a:lnTo>
                      <a:pt x="556" y="71"/>
                    </a:lnTo>
                    <a:lnTo>
                      <a:pt x="559" y="69"/>
                    </a:lnTo>
                    <a:lnTo>
                      <a:pt x="562" y="71"/>
                    </a:lnTo>
                    <a:lnTo>
                      <a:pt x="565" y="72"/>
                    </a:lnTo>
                    <a:lnTo>
                      <a:pt x="567" y="74"/>
                    </a:lnTo>
                    <a:lnTo>
                      <a:pt x="568" y="74"/>
                    </a:lnTo>
                    <a:lnTo>
                      <a:pt x="570" y="72"/>
                    </a:lnTo>
                    <a:lnTo>
                      <a:pt x="570" y="71"/>
                    </a:lnTo>
                    <a:lnTo>
                      <a:pt x="571" y="72"/>
                    </a:lnTo>
                    <a:lnTo>
                      <a:pt x="572" y="74"/>
                    </a:lnTo>
                    <a:lnTo>
                      <a:pt x="578" y="72"/>
                    </a:lnTo>
                    <a:lnTo>
                      <a:pt x="578" y="72"/>
                    </a:lnTo>
                    <a:lnTo>
                      <a:pt x="578" y="71"/>
                    </a:lnTo>
                    <a:lnTo>
                      <a:pt x="577" y="71"/>
                    </a:lnTo>
                    <a:lnTo>
                      <a:pt x="577" y="69"/>
                    </a:lnTo>
                    <a:lnTo>
                      <a:pt x="574" y="68"/>
                    </a:lnTo>
                    <a:lnTo>
                      <a:pt x="574" y="65"/>
                    </a:lnTo>
                    <a:lnTo>
                      <a:pt x="574" y="64"/>
                    </a:lnTo>
                    <a:lnTo>
                      <a:pt x="574" y="62"/>
                    </a:lnTo>
                    <a:lnTo>
                      <a:pt x="572" y="62"/>
                    </a:lnTo>
                    <a:lnTo>
                      <a:pt x="567" y="62"/>
                    </a:lnTo>
                    <a:lnTo>
                      <a:pt x="562" y="61"/>
                    </a:lnTo>
                    <a:lnTo>
                      <a:pt x="562" y="58"/>
                    </a:lnTo>
                    <a:lnTo>
                      <a:pt x="562" y="56"/>
                    </a:lnTo>
                    <a:lnTo>
                      <a:pt x="559" y="56"/>
                    </a:lnTo>
                    <a:lnTo>
                      <a:pt x="558" y="58"/>
                    </a:lnTo>
                    <a:lnTo>
                      <a:pt x="548" y="58"/>
                    </a:lnTo>
                    <a:lnTo>
                      <a:pt x="542" y="61"/>
                    </a:lnTo>
                    <a:lnTo>
                      <a:pt x="540" y="62"/>
                    </a:lnTo>
                    <a:lnTo>
                      <a:pt x="539" y="62"/>
                    </a:lnTo>
                    <a:lnTo>
                      <a:pt x="533" y="61"/>
                    </a:lnTo>
                    <a:lnTo>
                      <a:pt x="530" y="62"/>
                    </a:lnTo>
                    <a:lnTo>
                      <a:pt x="526" y="56"/>
                    </a:lnTo>
                    <a:lnTo>
                      <a:pt x="522" y="53"/>
                    </a:lnTo>
                    <a:lnTo>
                      <a:pt x="517" y="55"/>
                    </a:lnTo>
                    <a:lnTo>
                      <a:pt x="516" y="53"/>
                    </a:lnTo>
                    <a:lnTo>
                      <a:pt x="514" y="56"/>
                    </a:lnTo>
                    <a:lnTo>
                      <a:pt x="514" y="52"/>
                    </a:lnTo>
                    <a:lnTo>
                      <a:pt x="516" y="50"/>
                    </a:lnTo>
                    <a:lnTo>
                      <a:pt x="517" y="49"/>
                    </a:lnTo>
                    <a:lnTo>
                      <a:pt x="522" y="45"/>
                    </a:lnTo>
                    <a:lnTo>
                      <a:pt x="525" y="42"/>
                    </a:lnTo>
                    <a:lnTo>
                      <a:pt x="525" y="40"/>
                    </a:lnTo>
                    <a:lnTo>
                      <a:pt x="520" y="40"/>
                    </a:lnTo>
                    <a:lnTo>
                      <a:pt x="514" y="43"/>
                    </a:lnTo>
                    <a:lnTo>
                      <a:pt x="503" y="53"/>
                    </a:lnTo>
                    <a:lnTo>
                      <a:pt x="495" y="55"/>
                    </a:lnTo>
                    <a:lnTo>
                      <a:pt x="490" y="59"/>
                    </a:lnTo>
                    <a:lnTo>
                      <a:pt x="481" y="59"/>
                    </a:lnTo>
                    <a:lnTo>
                      <a:pt x="481" y="61"/>
                    </a:lnTo>
                    <a:lnTo>
                      <a:pt x="480" y="59"/>
                    </a:lnTo>
                    <a:lnTo>
                      <a:pt x="481" y="56"/>
                    </a:lnTo>
                    <a:lnTo>
                      <a:pt x="481" y="53"/>
                    </a:lnTo>
                    <a:lnTo>
                      <a:pt x="480" y="52"/>
                    </a:lnTo>
                    <a:lnTo>
                      <a:pt x="469" y="58"/>
                    </a:lnTo>
                    <a:lnTo>
                      <a:pt x="466" y="59"/>
                    </a:lnTo>
                    <a:lnTo>
                      <a:pt x="464" y="59"/>
                    </a:lnTo>
                    <a:lnTo>
                      <a:pt x="464" y="58"/>
                    </a:lnTo>
                    <a:lnTo>
                      <a:pt x="485" y="37"/>
                    </a:lnTo>
                    <a:lnTo>
                      <a:pt x="491" y="36"/>
                    </a:lnTo>
                    <a:lnTo>
                      <a:pt x="497" y="30"/>
                    </a:lnTo>
                    <a:lnTo>
                      <a:pt x="495" y="30"/>
                    </a:lnTo>
                    <a:lnTo>
                      <a:pt x="491" y="29"/>
                    </a:lnTo>
                    <a:lnTo>
                      <a:pt x="485" y="29"/>
                    </a:lnTo>
                    <a:lnTo>
                      <a:pt x="481" y="27"/>
                    </a:lnTo>
                    <a:lnTo>
                      <a:pt x="478" y="27"/>
                    </a:lnTo>
                    <a:lnTo>
                      <a:pt x="475" y="29"/>
                    </a:lnTo>
                    <a:lnTo>
                      <a:pt x="474" y="29"/>
                    </a:lnTo>
                    <a:lnTo>
                      <a:pt x="469" y="27"/>
                    </a:lnTo>
                    <a:lnTo>
                      <a:pt x="468" y="24"/>
                    </a:lnTo>
                    <a:lnTo>
                      <a:pt x="459" y="20"/>
                    </a:lnTo>
                    <a:lnTo>
                      <a:pt x="458" y="18"/>
                    </a:lnTo>
                    <a:lnTo>
                      <a:pt x="453" y="17"/>
                    </a:lnTo>
                    <a:lnTo>
                      <a:pt x="446" y="16"/>
                    </a:lnTo>
                    <a:lnTo>
                      <a:pt x="445" y="17"/>
                    </a:lnTo>
                    <a:lnTo>
                      <a:pt x="442" y="17"/>
                    </a:lnTo>
                    <a:lnTo>
                      <a:pt x="439" y="17"/>
                    </a:lnTo>
                    <a:lnTo>
                      <a:pt x="439" y="17"/>
                    </a:lnTo>
                    <a:lnTo>
                      <a:pt x="439" y="16"/>
                    </a:lnTo>
                    <a:lnTo>
                      <a:pt x="434" y="14"/>
                    </a:lnTo>
                    <a:lnTo>
                      <a:pt x="430" y="14"/>
                    </a:lnTo>
                    <a:lnTo>
                      <a:pt x="430" y="14"/>
                    </a:lnTo>
                    <a:lnTo>
                      <a:pt x="429" y="14"/>
                    </a:lnTo>
                    <a:lnTo>
                      <a:pt x="426" y="8"/>
                    </a:lnTo>
                    <a:lnTo>
                      <a:pt x="426" y="8"/>
                    </a:lnTo>
                    <a:lnTo>
                      <a:pt x="423" y="0"/>
                    </a:lnTo>
                    <a:lnTo>
                      <a:pt x="420" y="0"/>
                    </a:lnTo>
                    <a:lnTo>
                      <a:pt x="420" y="10"/>
                    </a:lnTo>
                    <a:lnTo>
                      <a:pt x="27" y="8"/>
                    </a:lnTo>
                    <a:lnTo>
                      <a:pt x="28" y="11"/>
                    </a:lnTo>
                    <a:lnTo>
                      <a:pt x="29" y="13"/>
                    </a:lnTo>
                    <a:lnTo>
                      <a:pt x="31" y="13"/>
                    </a:lnTo>
                    <a:lnTo>
                      <a:pt x="34" y="14"/>
                    </a:lnTo>
                    <a:lnTo>
                      <a:pt x="34" y="14"/>
                    </a:lnTo>
                    <a:lnTo>
                      <a:pt x="34" y="14"/>
                    </a:lnTo>
                    <a:lnTo>
                      <a:pt x="32" y="14"/>
                    </a:lnTo>
                    <a:lnTo>
                      <a:pt x="32" y="14"/>
                    </a:lnTo>
                    <a:lnTo>
                      <a:pt x="32" y="17"/>
                    </a:lnTo>
                    <a:lnTo>
                      <a:pt x="31" y="18"/>
                    </a:lnTo>
                    <a:lnTo>
                      <a:pt x="29" y="18"/>
                    </a:lnTo>
                    <a:lnTo>
                      <a:pt x="29" y="20"/>
                    </a:lnTo>
                    <a:lnTo>
                      <a:pt x="31" y="21"/>
                    </a:lnTo>
                    <a:lnTo>
                      <a:pt x="32" y="21"/>
                    </a:lnTo>
                    <a:lnTo>
                      <a:pt x="34" y="27"/>
                    </a:lnTo>
                    <a:lnTo>
                      <a:pt x="34" y="34"/>
                    </a:lnTo>
                    <a:lnTo>
                      <a:pt x="34" y="34"/>
                    </a:lnTo>
                    <a:lnTo>
                      <a:pt x="32" y="33"/>
                    </a:lnTo>
                    <a:lnTo>
                      <a:pt x="32" y="32"/>
                    </a:lnTo>
                    <a:lnTo>
                      <a:pt x="31" y="33"/>
                    </a:lnTo>
                    <a:lnTo>
                      <a:pt x="28" y="36"/>
                    </a:lnTo>
                    <a:lnTo>
                      <a:pt x="27" y="39"/>
                    </a:lnTo>
                    <a:lnTo>
                      <a:pt x="25" y="40"/>
                    </a:lnTo>
                    <a:lnTo>
                      <a:pt x="27" y="40"/>
                    </a:lnTo>
                    <a:lnTo>
                      <a:pt x="25" y="42"/>
                    </a:lnTo>
                    <a:lnTo>
                      <a:pt x="24" y="42"/>
                    </a:lnTo>
                    <a:lnTo>
                      <a:pt x="24" y="39"/>
                    </a:lnTo>
                    <a:lnTo>
                      <a:pt x="27" y="33"/>
                    </a:lnTo>
                    <a:lnTo>
                      <a:pt x="28" y="32"/>
                    </a:lnTo>
                    <a:lnTo>
                      <a:pt x="28" y="32"/>
                    </a:lnTo>
                    <a:lnTo>
                      <a:pt x="29" y="29"/>
                    </a:lnTo>
                    <a:lnTo>
                      <a:pt x="28" y="27"/>
                    </a:lnTo>
                    <a:lnTo>
                      <a:pt x="25" y="27"/>
                    </a:lnTo>
                    <a:lnTo>
                      <a:pt x="22" y="26"/>
                    </a:lnTo>
                    <a:lnTo>
                      <a:pt x="12" y="24"/>
                    </a:lnTo>
                    <a:lnTo>
                      <a:pt x="2" y="21"/>
                    </a:lnTo>
                    <a:lnTo>
                      <a:pt x="0" y="23"/>
                    </a:lnTo>
                    <a:lnTo>
                      <a:pt x="0" y="24"/>
                    </a:lnTo>
                    <a:lnTo>
                      <a:pt x="0" y="27"/>
                    </a:lnTo>
                    <a:lnTo>
                      <a:pt x="2" y="32"/>
                    </a:lnTo>
                    <a:lnTo>
                      <a:pt x="3" y="33"/>
                    </a:lnTo>
                    <a:lnTo>
                      <a:pt x="8" y="50"/>
                    </a:lnTo>
                    <a:lnTo>
                      <a:pt x="9" y="50"/>
                    </a:lnTo>
                    <a:lnTo>
                      <a:pt x="9" y="49"/>
                    </a:lnTo>
                    <a:lnTo>
                      <a:pt x="11" y="50"/>
                    </a:lnTo>
                    <a:lnTo>
                      <a:pt x="11" y="52"/>
                    </a:lnTo>
                    <a:lnTo>
                      <a:pt x="9" y="53"/>
                    </a:lnTo>
                    <a:lnTo>
                      <a:pt x="9" y="55"/>
                    </a:lnTo>
                    <a:lnTo>
                      <a:pt x="9" y="55"/>
                    </a:lnTo>
                    <a:lnTo>
                      <a:pt x="11" y="56"/>
                    </a:lnTo>
                    <a:lnTo>
                      <a:pt x="12" y="55"/>
                    </a:lnTo>
                    <a:lnTo>
                      <a:pt x="12" y="56"/>
                    </a:lnTo>
                    <a:lnTo>
                      <a:pt x="12" y="61"/>
                    </a:lnTo>
                    <a:lnTo>
                      <a:pt x="12" y="62"/>
                    </a:lnTo>
                    <a:lnTo>
                      <a:pt x="11" y="62"/>
                    </a:lnTo>
                    <a:lnTo>
                      <a:pt x="11" y="59"/>
                    </a:lnTo>
                    <a:lnTo>
                      <a:pt x="9" y="58"/>
                    </a:lnTo>
                    <a:lnTo>
                      <a:pt x="11" y="64"/>
                    </a:lnTo>
                    <a:lnTo>
                      <a:pt x="12" y="65"/>
                    </a:lnTo>
                    <a:lnTo>
                      <a:pt x="18" y="65"/>
                    </a:lnTo>
                    <a:lnTo>
                      <a:pt x="21" y="68"/>
                    </a:lnTo>
                    <a:lnTo>
                      <a:pt x="21" y="68"/>
                    </a:lnTo>
                    <a:lnTo>
                      <a:pt x="18" y="66"/>
                    </a:lnTo>
                    <a:lnTo>
                      <a:pt x="12" y="68"/>
                    </a:lnTo>
                    <a:lnTo>
                      <a:pt x="12" y="68"/>
                    </a:lnTo>
                    <a:lnTo>
                      <a:pt x="11" y="75"/>
                    </a:lnTo>
                    <a:lnTo>
                      <a:pt x="12" y="77"/>
                    </a:lnTo>
                    <a:lnTo>
                      <a:pt x="12" y="78"/>
                    </a:lnTo>
                    <a:lnTo>
                      <a:pt x="12" y="81"/>
                    </a:lnTo>
                    <a:lnTo>
                      <a:pt x="11" y="82"/>
                    </a:lnTo>
                    <a:lnTo>
                      <a:pt x="8" y="120"/>
                    </a:lnTo>
                    <a:lnTo>
                      <a:pt x="8" y="120"/>
                    </a:lnTo>
                    <a:lnTo>
                      <a:pt x="8" y="120"/>
                    </a:lnTo>
                    <a:lnTo>
                      <a:pt x="8" y="123"/>
                    </a:lnTo>
                    <a:lnTo>
                      <a:pt x="6" y="123"/>
                    </a:lnTo>
                    <a:lnTo>
                      <a:pt x="5" y="126"/>
                    </a:lnTo>
                    <a:lnTo>
                      <a:pt x="3" y="133"/>
                    </a:lnTo>
                    <a:lnTo>
                      <a:pt x="11" y="162"/>
                    </a:lnTo>
                    <a:lnTo>
                      <a:pt x="9" y="173"/>
                    </a:lnTo>
                    <a:lnTo>
                      <a:pt x="6" y="178"/>
                    </a:lnTo>
                    <a:lnTo>
                      <a:pt x="6" y="181"/>
                    </a:lnTo>
                    <a:lnTo>
                      <a:pt x="8" y="183"/>
                    </a:lnTo>
                    <a:lnTo>
                      <a:pt x="13" y="193"/>
                    </a:lnTo>
                    <a:lnTo>
                      <a:pt x="13" y="194"/>
                    </a:lnTo>
                    <a:lnTo>
                      <a:pt x="13" y="199"/>
                    </a:lnTo>
                    <a:lnTo>
                      <a:pt x="16" y="209"/>
                    </a:lnTo>
                    <a:lnTo>
                      <a:pt x="25" y="218"/>
                    </a:lnTo>
                    <a:lnTo>
                      <a:pt x="25" y="220"/>
                    </a:lnTo>
                    <a:lnTo>
                      <a:pt x="25" y="222"/>
                    </a:lnTo>
                    <a:lnTo>
                      <a:pt x="25" y="223"/>
                    </a:lnTo>
                    <a:lnTo>
                      <a:pt x="28" y="225"/>
                    </a:lnTo>
                    <a:lnTo>
                      <a:pt x="29" y="225"/>
                    </a:lnTo>
                    <a:lnTo>
                      <a:pt x="29" y="226"/>
                    </a:lnTo>
                    <a:lnTo>
                      <a:pt x="31" y="226"/>
                    </a:lnTo>
                    <a:lnTo>
                      <a:pt x="31" y="226"/>
                    </a:lnTo>
                    <a:lnTo>
                      <a:pt x="32" y="225"/>
                    </a:lnTo>
                    <a:lnTo>
                      <a:pt x="32" y="222"/>
                    </a:lnTo>
                    <a:lnTo>
                      <a:pt x="35" y="222"/>
                    </a:lnTo>
                    <a:lnTo>
                      <a:pt x="38" y="223"/>
                    </a:lnTo>
                    <a:lnTo>
                      <a:pt x="37" y="223"/>
                    </a:lnTo>
                    <a:lnTo>
                      <a:pt x="35" y="225"/>
                    </a:lnTo>
                    <a:lnTo>
                      <a:pt x="34" y="226"/>
                    </a:lnTo>
                    <a:lnTo>
                      <a:pt x="34" y="228"/>
                    </a:lnTo>
                    <a:lnTo>
                      <a:pt x="37" y="232"/>
                    </a:lnTo>
                    <a:lnTo>
                      <a:pt x="37" y="234"/>
                    </a:lnTo>
                    <a:lnTo>
                      <a:pt x="34" y="229"/>
                    </a:lnTo>
                    <a:lnTo>
                      <a:pt x="34" y="228"/>
                    </a:lnTo>
                    <a:lnTo>
                      <a:pt x="32" y="228"/>
                    </a:lnTo>
                    <a:lnTo>
                      <a:pt x="32" y="231"/>
                    </a:lnTo>
                    <a:lnTo>
                      <a:pt x="34" y="239"/>
                    </a:lnTo>
                    <a:lnTo>
                      <a:pt x="37" y="242"/>
                    </a:lnTo>
                    <a:lnTo>
                      <a:pt x="40" y="242"/>
                    </a:lnTo>
                    <a:lnTo>
                      <a:pt x="41" y="245"/>
                    </a:lnTo>
                    <a:lnTo>
                      <a:pt x="41" y="248"/>
                    </a:lnTo>
                    <a:lnTo>
                      <a:pt x="40" y="250"/>
                    </a:lnTo>
                    <a:lnTo>
                      <a:pt x="40" y="254"/>
                    </a:lnTo>
                    <a:lnTo>
                      <a:pt x="54" y="270"/>
                    </a:lnTo>
                    <a:lnTo>
                      <a:pt x="56" y="270"/>
                    </a:lnTo>
                    <a:lnTo>
                      <a:pt x="56" y="273"/>
                    </a:lnTo>
                    <a:lnTo>
                      <a:pt x="57" y="274"/>
                    </a:lnTo>
                    <a:lnTo>
                      <a:pt x="58" y="276"/>
                    </a:lnTo>
                    <a:lnTo>
                      <a:pt x="58" y="277"/>
                    </a:lnTo>
                    <a:lnTo>
                      <a:pt x="58" y="279"/>
                    </a:lnTo>
                    <a:lnTo>
                      <a:pt x="58" y="284"/>
                    </a:lnTo>
                    <a:lnTo>
                      <a:pt x="60" y="284"/>
                    </a:lnTo>
                    <a:lnTo>
                      <a:pt x="66" y="286"/>
                    </a:lnTo>
                    <a:lnTo>
                      <a:pt x="70" y="289"/>
                    </a:lnTo>
                    <a:lnTo>
                      <a:pt x="70" y="287"/>
                    </a:lnTo>
                    <a:lnTo>
                      <a:pt x="73" y="287"/>
                    </a:lnTo>
                    <a:lnTo>
                      <a:pt x="77" y="290"/>
                    </a:lnTo>
                    <a:lnTo>
                      <a:pt x="79" y="292"/>
                    </a:lnTo>
                    <a:lnTo>
                      <a:pt x="85" y="295"/>
                    </a:lnTo>
                    <a:lnTo>
                      <a:pt x="85" y="295"/>
                    </a:lnTo>
                    <a:lnTo>
                      <a:pt x="86" y="293"/>
                    </a:lnTo>
                    <a:lnTo>
                      <a:pt x="86" y="293"/>
                    </a:lnTo>
                    <a:lnTo>
                      <a:pt x="87" y="295"/>
                    </a:lnTo>
                    <a:lnTo>
                      <a:pt x="90" y="296"/>
                    </a:lnTo>
                    <a:lnTo>
                      <a:pt x="90" y="299"/>
                    </a:lnTo>
                    <a:lnTo>
                      <a:pt x="90" y="299"/>
                    </a:lnTo>
                    <a:lnTo>
                      <a:pt x="95" y="299"/>
                    </a:lnTo>
                    <a:lnTo>
                      <a:pt x="105" y="309"/>
                    </a:lnTo>
                    <a:lnTo>
                      <a:pt x="106" y="312"/>
                    </a:lnTo>
                    <a:lnTo>
                      <a:pt x="108" y="321"/>
                    </a:lnTo>
                    <a:lnTo>
                      <a:pt x="140" y="318"/>
                    </a:lnTo>
                    <a:lnTo>
                      <a:pt x="140" y="319"/>
                    </a:lnTo>
                    <a:lnTo>
                      <a:pt x="195" y="340"/>
                    </a:lnTo>
                    <a:lnTo>
                      <a:pt x="233" y="340"/>
                    </a:lnTo>
                    <a:lnTo>
                      <a:pt x="233" y="331"/>
                    </a:lnTo>
                    <a:lnTo>
                      <a:pt x="256" y="331"/>
                    </a:lnTo>
                    <a:lnTo>
                      <a:pt x="260" y="334"/>
                    </a:lnTo>
                    <a:lnTo>
                      <a:pt x="262" y="337"/>
                    </a:lnTo>
                    <a:lnTo>
                      <a:pt x="265" y="338"/>
                    </a:lnTo>
                    <a:lnTo>
                      <a:pt x="268" y="341"/>
                    </a:lnTo>
                    <a:lnTo>
                      <a:pt x="281" y="351"/>
                    </a:lnTo>
                    <a:lnTo>
                      <a:pt x="283" y="364"/>
                    </a:lnTo>
                    <a:lnTo>
                      <a:pt x="299" y="377"/>
                    </a:lnTo>
                    <a:lnTo>
                      <a:pt x="305" y="379"/>
                    </a:lnTo>
                    <a:lnTo>
                      <a:pt x="311" y="366"/>
                    </a:lnTo>
                    <a:lnTo>
                      <a:pt x="314" y="364"/>
                    </a:lnTo>
                    <a:lnTo>
                      <a:pt x="317" y="364"/>
                    </a:lnTo>
                    <a:lnTo>
                      <a:pt x="329" y="364"/>
                    </a:lnTo>
                    <a:lnTo>
                      <a:pt x="340" y="376"/>
                    </a:lnTo>
                    <a:lnTo>
                      <a:pt x="344" y="388"/>
                    </a:lnTo>
                    <a:lnTo>
                      <a:pt x="349" y="392"/>
                    </a:lnTo>
                    <a:lnTo>
                      <a:pt x="352" y="396"/>
                    </a:lnTo>
                    <a:lnTo>
                      <a:pt x="356" y="401"/>
                    </a:lnTo>
                    <a:lnTo>
                      <a:pt x="360" y="412"/>
                    </a:lnTo>
                    <a:lnTo>
                      <a:pt x="365" y="420"/>
                    </a:lnTo>
                    <a:lnTo>
                      <a:pt x="369" y="422"/>
                    </a:lnTo>
                    <a:lnTo>
                      <a:pt x="372" y="422"/>
                    </a:lnTo>
                    <a:lnTo>
                      <a:pt x="376" y="425"/>
                    </a:lnTo>
                    <a:lnTo>
                      <a:pt x="382" y="425"/>
                    </a:lnTo>
                    <a:lnTo>
                      <a:pt x="388" y="427"/>
                    </a:lnTo>
                    <a:lnTo>
                      <a:pt x="392" y="428"/>
                    </a:lnTo>
                    <a:lnTo>
                      <a:pt x="392" y="427"/>
                    </a:lnTo>
                    <a:lnTo>
                      <a:pt x="391" y="427"/>
                    </a:lnTo>
                    <a:lnTo>
                      <a:pt x="389" y="422"/>
                    </a:lnTo>
                    <a:lnTo>
                      <a:pt x="389" y="421"/>
                    </a:lnTo>
                    <a:lnTo>
                      <a:pt x="388" y="412"/>
                    </a:lnTo>
                    <a:lnTo>
                      <a:pt x="388" y="411"/>
                    </a:lnTo>
                    <a:lnTo>
                      <a:pt x="388" y="408"/>
                    </a:lnTo>
                    <a:lnTo>
                      <a:pt x="388" y="408"/>
                    </a:lnTo>
                    <a:lnTo>
                      <a:pt x="387" y="408"/>
                    </a:lnTo>
                    <a:lnTo>
                      <a:pt x="387" y="406"/>
                    </a:lnTo>
                    <a:lnTo>
                      <a:pt x="387" y="406"/>
                    </a:lnTo>
                    <a:lnTo>
                      <a:pt x="388" y="405"/>
                    </a:lnTo>
                    <a:lnTo>
                      <a:pt x="389" y="406"/>
                    </a:lnTo>
                    <a:lnTo>
                      <a:pt x="391" y="405"/>
                    </a:lnTo>
                    <a:lnTo>
                      <a:pt x="391" y="401"/>
                    </a:lnTo>
                    <a:lnTo>
                      <a:pt x="389" y="398"/>
                    </a:lnTo>
                    <a:lnTo>
                      <a:pt x="392" y="398"/>
                    </a:lnTo>
                    <a:lnTo>
                      <a:pt x="394" y="395"/>
                    </a:lnTo>
                    <a:lnTo>
                      <a:pt x="394" y="393"/>
                    </a:lnTo>
                    <a:lnTo>
                      <a:pt x="392" y="395"/>
                    </a:lnTo>
                    <a:lnTo>
                      <a:pt x="392" y="393"/>
                    </a:lnTo>
                    <a:lnTo>
                      <a:pt x="395" y="392"/>
                    </a:lnTo>
                    <a:lnTo>
                      <a:pt x="397" y="392"/>
                    </a:lnTo>
                    <a:lnTo>
                      <a:pt x="398" y="390"/>
                    </a:lnTo>
                    <a:lnTo>
                      <a:pt x="398" y="389"/>
                    </a:lnTo>
                    <a:lnTo>
                      <a:pt x="398" y="389"/>
                    </a:lnTo>
                    <a:lnTo>
                      <a:pt x="401" y="388"/>
                    </a:lnTo>
                    <a:lnTo>
                      <a:pt x="403" y="388"/>
                    </a:lnTo>
                    <a:lnTo>
                      <a:pt x="403" y="386"/>
                    </a:lnTo>
                    <a:lnTo>
                      <a:pt x="401" y="385"/>
                    </a:lnTo>
                    <a:lnTo>
                      <a:pt x="401" y="383"/>
                    </a:lnTo>
                    <a:lnTo>
                      <a:pt x="401" y="383"/>
                    </a:lnTo>
                    <a:lnTo>
                      <a:pt x="403" y="383"/>
                    </a:lnTo>
                    <a:lnTo>
                      <a:pt x="403" y="385"/>
                    </a:lnTo>
                    <a:lnTo>
                      <a:pt x="404" y="385"/>
                    </a:lnTo>
                    <a:lnTo>
                      <a:pt x="404" y="383"/>
                    </a:lnTo>
                    <a:lnTo>
                      <a:pt x="404" y="383"/>
                    </a:lnTo>
                    <a:lnTo>
                      <a:pt x="404" y="383"/>
                    </a:lnTo>
                    <a:lnTo>
                      <a:pt x="405" y="385"/>
                    </a:lnTo>
                    <a:lnTo>
                      <a:pt x="405" y="385"/>
                    </a:lnTo>
                    <a:lnTo>
                      <a:pt x="407" y="383"/>
                    </a:lnTo>
                    <a:lnTo>
                      <a:pt x="407" y="383"/>
                    </a:lnTo>
                    <a:lnTo>
                      <a:pt x="407" y="382"/>
                    </a:lnTo>
                    <a:lnTo>
                      <a:pt x="407" y="385"/>
                    </a:lnTo>
                    <a:lnTo>
                      <a:pt x="411" y="383"/>
                    </a:lnTo>
                    <a:lnTo>
                      <a:pt x="413" y="383"/>
                    </a:lnTo>
                    <a:lnTo>
                      <a:pt x="413" y="383"/>
                    </a:lnTo>
                    <a:lnTo>
                      <a:pt x="407" y="386"/>
                    </a:lnTo>
                    <a:lnTo>
                      <a:pt x="405" y="388"/>
                    </a:lnTo>
                    <a:lnTo>
                      <a:pt x="407" y="388"/>
                    </a:lnTo>
                    <a:lnTo>
                      <a:pt x="420" y="380"/>
                    </a:lnTo>
                    <a:lnTo>
                      <a:pt x="421" y="374"/>
                    </a:lnTo>
                    <a:lnTo>
                      <a:pt x="423" y="366"/>
                    </a:lnTo>
                    <a:lnTo>
                      <a:pt x="423" y="366"/>
                    </a:lnTo>
                    <a:lnTo>
                      <a:pt x="424" y="364"/>
                    </a:lnTo>
                    <a:lnTo>
                      <a:pt x="424" y="364"/>
                    </a:lnTo>
                    <a:lnTo>
                      <a:pt x="424" y="367"/>
                    </a:lnTo>
                    <a:lnTo>
                      <a:pt x="427" y="369"/>
                    </a:lnTo>
                    <a:lnTo>
                      <a:pt x="426" y="369"/>
                    </a:lnTo>
                    <a:lnTo>
                      <a:pt x="424" y="370"/>
                    </a:lnTo>
                    <a:lnTo>
                      <a:pt x="424" y="370"/>
                    </a:lnTo>
                    <a:lnTo>
                      <a:pt x="433" y="366"/>
                    </a:lnTo>
                    <a:lnTo>
                      <a:pt x="446" y="364"/>
                    </a:lnTo>
                    <a:lnTo>
                      <a:pt x="461" y="369"/>
                    </a:lnTo>
                    <a:lnTo>
                      <a:pt x="462" y="367"/>
                    </a:lnTo>
                    <a:lnTo>
                      <a:pt x="462" y="366"/>
                    </a:lnTo>
                    <a:lnTo>
                      <a:pt x="462" y="364"/>
                    </a:lnTo>
                    <a:lnTo>
                      <a:pt x="465" y="364"/>
                    </a:lnTo>
                    <a:lnTo>
                      <a:pt x="469" y="367"/>
                    </a:lnTo>
                    <a:lnTo>
                      <a:pt x="471" y="369"/>
                    </a:lnTo>
                    <a:lnTo>
                      <a:pt x="472" y="369"/>
                    </a:lnTo>
                    <a:lnTo>
                      <a:pt x="475" y="373"/>
                    </a:lnTo>
                    <a:lnTo>
                      <a:pt x="478" y="373"/>
                    </a:lnTo>
                    <a:lnTo>
                      <a:pt x="480" y="374"/>
                    </a:lnTo>
                    <a:lnTo>
                      <a:pt x="481" y="374"/>
                    </a:lnTo>
                    <a:lnTo>
                      <a:pt x="484" y="374"/>
                    </a:lnTo>
                    <a:lnTo>
                      <a:pt x="485" y="374"/>
                    </a:lnTo>
                    <a:lnTo>
                      <a:pt x="487" y="374"/>
                    </a:lnTo>
                    <a:lnTo>
                      <a:pt x="490" y="374"/>
                    </a:lnTo>
                    <a:lnTo>
                      <a:pt x="491" y="373"/>
                    </a:lnTo>
                    <a:lnTo>
                      <a:pt x="493" y="372"/>
                    </a:lnTo>
                    <a:lnTo>
                      <a:pt x="493" y="370"/>
                    </a:lnTo>
                    <a:lnTo>
                      <a:pt x="493" y="370"/>
                    </a:lnTo>
                    <a:lnTo>
                      <a:pt x="494" y="370"/>
                    </a:lnTo>
                    <a:lnTo>
                      <a:pt x="495" y="372"/>
                    </a:lnTo>
                    <a:lnTo>
                      <a:pt x="498" y="373"/>
                    </a:lnTo>
                    <a:lnTo>
                      <a:pt x="501" y="377"/>
                    </a:lnTo>
                    <a:lnTo>
                      <a:pt x="504" y="376"/>
                    </a:lnTo>
                    <a:lnTo>
                      <a:pt x="504" y="374"/>
                    </a:lnTo>
                    <a:lnTo>
                      <a:pt x="503" y="373"/>
                    </a:lnTo>
                    <a:lnTo>
                      <a:pt x="500" y="372"/>
                    </a:lnTo>
                    <a:lnTo>
                      <a:pt x="497" y="369"/>
                    </a:lnTo>
                    <a:lnTo>
                      <a:pt x="497" y="367"/>
                    </a:lnTo>
                    <a:lnTo>
                      <a:pt x="498" y="366"/>
                    </a:lnTo>
                    <a:lnTo>
                      <a:pt x="501" y="364"/>
                    </a:lnTo>
                    <a:lnTo>
                      <a:pt x="503" y="360"/>
                    </a:lnTo>
                    <a:lnTo>
                      <a:pt x="501" y="360"/>
                    </a:lnTo>
                    <a:lnTo>
                      <a:pt x="501" y="359"/>
                    </a:lnTo>
                    <a:lnTo>
                      <a:pt x="498" y="360"/>
                    </a:lnTo>
                    <a:lnTo>
                      <a:pt x="497" y="361"/>
                    </a:lnTo>
                    <a:lnTo>
                      <a:pt x="495" y="361"/>
                    </a:lnTo>
                    <a:lnTo>
                      <a:pt x="495" y="359"/>
                    </a:lnTo>
                    <a:lnTo>
                      <a:pt x="494" y="359"/>
                    </a:lnTo>
                    <a:lnTo>
                      <a:pt x="493" y="359"/>
                    </a:lnTo>
                    <a:lnTo>
                      <a:pt x="491" y="360"/>
                    </a:lnTo>
                    <a:lnTo>
                      <a:pt x="488" y="360"/>
                    </a:lnTo>
                    <a:lnTo>
                      <a:pt x="487" y="359"/>
                    </a:lnTo>
                    <a:lnTo>
                      <a:pt x="487" y="356"/>
                    </a:lnTo>
                    <a:lnTo>
                      <a:pt x="491" y="354"/>
                    </a:lnTo>
                    <a:lnTo>
                      <a:pt x="498" y="357"/>
                    </a:lnTo>
                    <a:lnTo>
                      <a:pt x="501" y="356"/>
                    </a:lnTo>
                    <a:lnTo>
                      <a:pt x="504" y="356"/>
                    </a:lnTo>
                    <a:lnTo>
                      <a:pt x="507" y="354"/>
                    </a:lnTo>
                    <a:lnTo>
                      <a:pt x="517" y="356"/>
                    </a:lnTo>
                    <a:lnTo>
                      <a:pt x="519" y="354"/>
                    </a:lnTo>
                    <a:lnTo>
                      <a:pt x="520" y="347"/>
                    </a:lnTo>
                    <a:lnTo>
                      <a:pt x="522" y="354"/>
                    </a:lnTo>
                    <a:lnTo>
                      <a:pt x="522" y="357"/>
                    </a:lnTo>
                    <a:lnTo>
                      <a:pt x="522" y="357"/>
                    </a:lnTo>
                    <a:lnTo>
                      <a:pt x="529" y="356"/>
                    </a:lnTo>
                    <a:lnTo>
                      <a:pt x="532" y="353"/>
                    </a:lnTo>
                    <a:lnTo>
                      <a:pt x="533" y="353"/>
                    </a:lnTo>
                    <a:lnTo>
                      <a:pt x="535" y="351"/>
                    </a:lnTo>
                    <a:lnTo>
                      <a:pt x="535" y="351"/>
                    </a:lnTo>
                    <a:lnTo>
                      <a:pt x="535" y="353"/>
                    </a:lnTo>
                    <a:lnTo>
                      <a:pt x="533" y="354"/>
                    </a:lnTo>
                    <a:lnTo>
                      <a:pt x="545" y="353"/>
                    </a:lnTo>
                    <a:lnTo>
                      <a:pt x="545" y="354"/>
                    </a:lnTo>
                    <a:lnTo>
                      <a:pt x="545" y="354"/>
                    </a:lnTo>
                    <a:lnTo>
                      <a:pt x="545" y="354"/>
                    </a:lnTo>
                    <a:lnTo>
                      <a:pt x="545" y="356"/>
                    </a:lnTo>
                    <a:lnTo>
                      <a:pt x="556" y="361"/>
                    </a:lnTo>
                    <a:lnTo>
                      <a:pt x="558" y="364"/>
                    </a:lnTo>
                    <a:lnTo>
                      <a:pt x="559" y="366"/>
                    </a:lnTo>
                    <a:lnTo>
                      <a:pt x="567" y="364"/>
                    </a:lnTo>
                    <a:lnTo>
                      <a:pt x="571" y="363"/>
                    </a:lnTo>
                    <a:lnTo>
                      <a:pt x="572" y="363"/>
                    </a:lnTo>
                    <a:lnTo>
                      <a:pt x="572" y="363"/>
                    </a:lnTo>
                    <a:lnTo>
                      <a:pt x="572" y="361"/>
                    </a:lnTo>
                    <a:lnTo>
                      <a:pt x="574" y="360"/>
                    </a:lnTo>
                    <a:lnTo>
                      <a:pt x="577" y="360"/>
                    </a:lnTo>
                    <a:lnTo>
                      <a:pt x="580" y="361"/>
                    </a:lnTo>
                    <a:lnTo>
                      <a:pt x="584" y="366"/>
                    </a:lnTo>
                    <a:lnTo>
                      <a:pt x="585" y="366"/>
                    </a:lnTo>
                    <a:lnTo>
                      <a:pt x="585" y="369"/>
                    </a:lnTo>
                    <a:lnTo>
                      <a:pt x="587" y="370"/>
                    </a:lnTo>
                    <a:lnTo>
                      <a:pt x="591" y="374"/>
                    </a:lnTo>
                    <a:lnTo>
                      <a:pt x="594" y="374"/>
                    </a:lnTo>
                    <a:lnTo>
                      <a:pt x="596" y="376"/>
                    </a:lnTo>
                    <a:lnTo>
                      <a:pt x="596" y="396"/>
                    </a:lnTo>
                    <a:lnTo>
                      <a:pt x="596" y="396"/>
                    </a:lnTo>
                    <a:lnTo>
                      <a:pt x="596" y="396"/>
                    </a:lnTo>
                    <a:lnTo>
                      <a:pt x="597" y="393"/>
                    </a:lnTo>
                    <a:lnTo>
                      <a:pt x="597" y="395"/>
                    </a:lnTo>
                    <a:lnTo>
                      <a:pt x="599" y="395"/>
                    </a:lnTo>
                    <a:lnTo>
                      <a:pt x="597" y="401"/>
                    </a:lnTo>
                    <a:lnTo>
                      <a:pt x="597" y="404"/>
                    </a:lnTo>
                    <a:lnTo>
                      <a:pt x="603" y="412"/>
                    </a:lnTo>
                    <a:lnTo>
                      <a:pt x="603" y="412"/>
                    </a:lnTo>
                    <a:lnTo>
                      <a:pt x="604" y="411"/>
                    </a:lnTo>
                    <a:lnTo>
                      <a:pt x="606" y="415"/>
                    </a:lnTo>
                    <a:lnTo>
                      <a:pt x="607" y="415"/>
                    </a:lnTo>
                    <a:lnTo>
                      <a:pt x="607" y="415"/>
                    </a:lnTo>
                    <a:lnTo>
                      <a:pt x="606" y="418"/>
                    </a:lnTo>
                    <a:lnTo>
                      <a:pt x="610" y="425"/>
                    </a:lnTo>
                    <a:lnTo>
                      <a:pt x="612" y="427"/>
                    </a:lnTo>
                    <a:lnTo>
                      <a:pt x="613" y="428"/>
                    </a:lnTo>
                    <a:lnTo>
                      <a:pt x="615" y="428"/>
                    </a:lnTo>
                    <a:lnTo>
                      <a:pt x="617" y="434"/>
                    </a:lnTo>
                    <a:lnTo>
                      <a:pt x="617" y="438"/>
                    </a:lnTo>
                    <a:lnTo>
                      <a:pt x="617" y="438"/>
                    </a:lnTo>
                    <a:lnTo>
                      <a:pt x="619" y="440"/>
                    </a:lnTo>
                    <a:lnTo>
                      <a:pt x="625" y="438"/>
                    </a:lnTo>
                    <a:lnTo>
                      <a:pt x="628" y="437"/>
                    </a:lnTo>
                    <a:lnTo>
                      <a:pt x="631" y="438"/>
                    </a:lnTo>
                    <a:lnTo>
                      <a:pt x="631" y="436"/>
                    </a:lnTo>
                    <a:lnTo>
                      <a:pt x="631" y="436"/>
                    </a:lnTo>
                    <a:lnTo>
                      <a:pt x="633" y="425"/>
                    </a:lnTo>
                    <a:lnTo>
                      <a:pt x="633" y="411"/>
                    </a:lnTo>
                    <a:lnTo>
                      <a:pt x="626" y="392"/>
                    </a:lnTo>
                    <a:lnTo>
                      <a:pt x="626" y="385"/>
                    </a:lnTo>
                    <a:lnTo>
                      <a:pt x="613" y="351"/>
                    </a:lnTo>
                    <a:lnTo>
                      <a:pt x="613" y="350"/>
                    </a:lnTo>
                    <a:lnTo>
                      <a:pt x="613" y="345"/>
                    </a:lnTo>
                    <a:lnTo>
                      <a:pt x="622" y="328"/>
                    </a:lnTo>
                    <a:lnTo>
                      <a:pt x="622" y="328"/>
                    </a:lnTo>
                    <a:lnTo>
                      <a:pt x="622" y="327"/>
                    </a:lnTo>
                    <a:lnTo>
                      <a:pt x="622" y="327"/>
                    </a:lnTo>
                    <a:lnTo>
                      <a:pt x="625" y="325"/>
                    </a:lnTo>
                    <a:lnTo>
                      <a:pt x="626" y="325"/>
                    </a:lnTo>
                    <a:lnTo>
                      <a:pt x="626" y="324"/>
                    </a:lnTo>
                    <a:lnTo>
                      <a:pt x="625" y="321"/>
                    </a:lnTo>
                    <a:lnTo>
                      <a:pt x="625" y="319"/>
                    </a:lnTo>
                    <a:lnTo>
                      <a:pt x="625" y="319"/>
                    </a:lnTo>
                    <a:lnTo>
                      <a:pt x="633" y="319"/>
                    </a:lnTo>
                    <a:lnTo>
                      <a:pt x="635" y="319"/>
                    </a:lnTo>
                    <a:lnTo>
                      <a:pt x="641" y="313"/>
                    </a:lnTo>
                    <a:lnTo>
                      <a:pt x="641" y="313"/>
                    </a:lnTo>
                    <a:lnTo>
                      <a:pt x="642" y="313"/>
                    </a:lnTo>
                    <a:lnTo>
                      <a:pt x="642" y="311"/>
                    </a:lnTo>
                    <a:lnTo>
                      <a:pt x="645" y="311"/>
                    </a:lnTo>
                    <a:lnTo>
                      <a:pt x="646" y="309"/>
                    </a:lnTo>
                    <a:lnTo>
                      <a:pt x="646" y="308"/>
                    </a:lnTo>
                    <a:lnTo>
                      <a:pt x="646" y="306"/>
                    </a:lnTo>
                    <a:lnTo>
                      <a:pt x="648" y="305"/>
                    </a:lnTo>
                    <a:lnTo>
                      <a:pt x="649" y="302"/>
                    </a:lnTo>
                    <a:lnTo>
                      <a:pt x="652" y="300"/>
                    </a:lnTo>
                    <a:lnTo>
                      <a:pt x="655" y="297"/>
                    </a:lnTo>
                    <a:lnTo>
                      <a:pt x="655" y="297"/>
                    </a:lnTo>
                    <a:lnTo>
                      <a:pt x="661" y="296"/>
                    </a:lnTo>
                    <a:lnTo>
                      <a:pt x="667" y="293"/>
                    </a:lnTo>
                    <a:lnTo>
                      <a:pt x="667" y="292"/>
                    </a:lnTo>
                    <a:lnTo>
                      <a:pt x="670" y="287"/>
                    </a:lnTo>
                    <a:lnTo>
                      <a:pt x="677" y="284"/>
                    </a:lnTo>
                    <a:lnTo>
                      <a:pt x="683" y="283"/>
                    </a:lnTo>
                    <a:lnTo>
                      <a:pt x="687" y="281"/>
                    </a:lnTo>
                    <a:lnTo>
                      <a:pt x="687" y="280"/>
                    </a:lnTo>
                    <a:lnTo>
                      <a:pt x="687" y="277"/>
                    </a:lnTo>
                    <a:lnTo>
                      <a:pt x="684" y="277"/>
                    </a:lnTo>
                    <a:lnTo>
                      <a:pt x="683" y="279"/>
                    </a:lnTo>
                    <a:lnTo>
                      <a:pt x="683" y="279"/>
                    </a:lnTo>
                    <a:lnTo>
                      <a:pt x="683" y="277"/>
                    </a:lnTo>
                    <a:lnTo>
                      <a:pt x="683" y="276"/>
                    </a:lnTo>
                    <a:lnTo>
                      <a:pt x="684" y="276"/>
                    </a:lnTo>
                    <a:lnTo>
                      <a:pt x="684" y="274"/>
                    </a:lnTo>
                    <a:lnTo>
                      <a:pt x="686" y="273"/>
                    </a:lnTo>
                    <a:lnTo>
                      <a:pt x="686" y="271"/>
                    </a:lnTo>
                    <a:lnTo>
                      <a:pt x="681" y="270"/>
                    </a:lnTo>
                    <a:lnTo>
                      <a:pt x="684" y="270"/>
                    </a:lnTo>
                    <a:lnTo>
                      <a:pt x="686" y="268"/>
                    </a:lnTo>
                    <a:lnTo>
                      <a:pt x="687" y="270"/>
                    </a:lnTo>
                    <a:lnTo>
                      <a:pt x="687" y="270"/>
                    </a:lnTo>
                    <a:lnTo>
                      <a:pt x="689" y="271"/>
                    </a:lnTo>
                    <a:lnTo>
                      <a:pt x="691" y="271"/>
                    </a:lnTo>
                    <a:lnTo>
                      <a:pt x="693" y="271"/>
                    </a:lnTo>
                    <a:lnTo>
                      <a:pt x="694" y="268"/>
                    </a:lnTo>
                    <a:lnTo>
                      <a:pt x="696" y="267"/>
                    </a:lnTo>
                    <a:lnTo>
                      <a:pt x="696" y="263"/>
                    </a:lnTo>
                    <a:lnTo>
                      <a:pt x="694" y="261"/>
                    </a:lnTo>
                    <a:lnTo>
                      <a:pt x="693" y="266"/>
                    </a:lnTo>
                    <a:lnTo>
                      <a:pt x="693" y="266"/>
                    </a:lnTo>
                    <a:lnTo>
                      <a:pt x="691" y="264"/>
                    </a:lnTo>
                    <a:lnTo>
                      <a:pt x="691" y="261"/>
                    </a:lnTo>
                    <a:lnTo>
                      <a:pt x="686" y="263"/>
                    </a:lnTo>
                    <a:lnTo>
                      <a:pt x="683" y="261"/>
                    </a:lnTo>
                    <a:lnTo>
                      <a:pt x="683" y="255"/>
                    </a:lnTo>
                    <a:lnTo>
                      <a:pt x="684" y="255"/>
                    </a:lnTo>
                    <a:lnTo>
                      <a:pt x="684" y="258"/>
                    </a:lnTo>
                    <a:lnTo>
                      <a:pt x="686" y="260"/>
                    </a:lnTo>
                    <a:lnTo>
                      <a:pt x="687" y="260"/>
                    </a:lnTo>
                    <a:lnTo>
                      <a:pt x="690" y="257"/>
                    </a:lnTo>
                    <a:lnTo>
                      <a:pt x="691" y="257"/>
                    </a:lnTo>
                    <a:lnTo>
                      <a:pt x="691" y="257"/>
                    </a:lnTo>
                    <a:lnTo>
                      <a:pt x="693" y="257"/>
                    </a:lnTo>
                    <a:lnTo>
                      <a:pt x="694" y="257"/>
                    </a:lnTo>
                    <a:lnTo>
                      <a:pt x="696" y="260"/>
                    </a:lnTo>
                    <a:lnTo>
                      <a:pt x="696" y="258"/>
                    </a:lnTo>
                    <a:lnTo>
                      <a:pt x="694" y="252"/>
                    </a:lnTo>
                    <a:lnTo>
                      <a:pt x="693" y="252"/>
                    </a:lnTo>
                    <a:lnTo>
                      <a:pt x="694" y="248"/>
                    </a:lnTo>
                    <a:lnTo>
                      <a:pt x="694" y="245"/>
                    </a:lnTo>
                    <a:lnTo>
                      <a:pt x="689" y="244"/>
                    </a:lnTo>
                    <a:lnTo>
                      <a:pt x="689" y="244"/>
                    </a:lnTo>
                    <a:lnTo>
                      <a:pt x="689" y="244"/>
                    </a:lnTo>
                    <a:lnTo>
                      <a:pt x="686" y="242"/>
                    </a:lnTo>
                    <a:lnTo>
                      <a:pt x="686" y="241"/>
                    </a:lnTo>
                    <a:lnTo>
                      <a:pt x="689" y="241"/>
                    </a:lnTo>
                    <a:lnTo>
                      <a:pt x="689" y="241"/>
                    </a:lnTo>
                    <a:lnTo>
                      <a:pt x="689" y="239"/>
                    </a:lnTo>
                    <a:lnTo>
                      <a:pt x="687" y="239"/>
                    </a:lnTo>
                    <a:lnTo>
                      <a:pt x="687" y="238"/>
                    </a:lnTo>
                    <a:lnTo>
                      <a:pt x="687" y="236"/>
                    </a:lnTo>
                    <a:lnTo>
                      <a:pt x="689" y="236"/>
                    </a:lnTo>
                    <a:lnTo>
                      <a:pt x="689" y="236"/>
                    </a:lnTo>
                    <a:lnTo>
                      <a:pt x="689" y="234"/>
                    </a:lnTo>
                    <a:lnTo>
                      <a:pt x="687" y="234"/>
                    </a:lnTo>
                    <a:lnTo>
                      <a:pt x="687" y="231"/>
                    </a:lnTo>
                    <a:lnTo>
                      <a:pt x="687" y="231"/>
                    </a:lnTo>
                    <a:lnTo>
                      <a:pt x="689" y="228"/>
                    </a:lnTo>
                    <a:lnTo>
                      <a:pt x="689" y="226"/>
                    </a:lnTo>
                    <a:lnTo>
                      <a:pt x="687" y="223"/>
                    </a:lnTo>
                    <a:lnTo>
                      <a:pt x="681" y="222"/>
                    </a:lnTo>
                    <a:lnTo>
                      <a:pt x="678" y="219"/>
                    </a:lnTo>
                    <a:lnTo>
                      <a:pt x="674" y="218"/>
                    </a:lnTo>
                    <a:lnTo>
                      <a:pt x="674" y="216"/>
                    </a:lnTo>
                    <a:lnTo>
                      <a:pt x="674" y="216"/>
                    </a:lnTo>
                    <a:lnTo>
                      <a:pt x="674" y="215"/>
                    </a:lnTo>
                    <a:lnTo>
                      <a:pt x="676" y="213"/>
                    </a:lnTo>
                    <a:lnTo>
                      <a:pt x="676" y="215"/>
                    </a:lnTo>
                    <a:lnTo>
                      <a:pt x="674" y="216"/>
                    </a:lnTo>
                    <a:lnTo>
                      <a:pt x="676" y="216"/>
                    </a:lnTo>
                    <a:lnTo>
                      <a:pt x="680" y="219"/>
                    </a:lnTo>
                    <a:lnTo>
                      <a:pt x="681" y="219"/>
                    </a:lnTo>
                    <a:lnTo>
                      <a:pt x="683" y="219"/>
                    </a:lnTo>
                    <a:lnTo>
                      <a:pt x="684" y="220"/>
                    </a:lnTo>
                    <a:lnTo>
                      <a:pt x="686" y="222"/>
                    </a:lnTo>
                    <a:lnTo>
                      <a:pt x="687" y="222"/>
                    </a:lnTo>
                    <a:lnTo>
                      <a:pt x="687" y="218"/>
                    </a:lnTo>
                    <a:lnTo>
                      <a:pt x="684" y="216"/>
                    </a:lnTo>
                    <a:lnTo>
                      <a:pt x="686" y="216"/>
                    </a:lnTo>
                    <a:lnTo>
                      <a:pt x="686" y="216"/>
                    </a:lnTo>
                    <a:lnTo>
                      <a:pt x="686" y="212"/>
                    </a:lnTo>
                    <a:lnTo>
                      <a:pt x="686" y="204"/>
                    </a:lnTo>
                    <a:lnTo>
                      <a:pt x="686" y="203"/>
                    </a:lnTo>
                    <a:lnTo>
                      <a:pt x="687" y="202"/>
                    </a:lnTo>
                    <a:lnTo>
                      <a:pt x="690" y="199"/>
                    </a:lnTo>
                    <a:lnTo>
                      <a:pt x="693" y="196"/>
                    </a:lnTo>
                    <a:lnTo>
                      <a:pt x="693" y="196"/>
                    </a:lnTo>
                    <a:lnTo>
                      <a:pt x="693" y="197"/>
                    </a:lnTo>
                    <a:lnTo>
                      <a:pt x="693" y="197"/>
                    </a:lnTo>
                    <a:lnTo>
                      <a:pt x="693" y="200"/>
                    </a:lnTo>
                    <a:lnTo>
                      <a:pt x="691" y="200"/>
                    </a:lnTo>
                    <a:lnTo>
                      <a:pt x="690" y="202"/>
                    </a:lnTo>
                    <a:lnTo>
                      <a:pt x="690" y="203"/>
                    </a:lnTo>
                    <a:lnTo>
                      <a:pt x="690" y="204"/>
                    </a:lnTo>
                    <a:lnTo>
                      <a:pt x="690" y="206"/>
                    </a:lnTo>
                    <a:lnTo>
                      <a:pt x="689" y="207"/>
                    </a:lnTo>
                    <a:lnTo>
                      <a:pt x="689" y="209"/>
                    </a:lnTo>
                    <a:lnTo>
                      <a:pt x="690" y="209"/>
                    </a:lnTo>
                    <a:lnTo>
                      <a:pt x="691" y="209"/>
                    </a:lnTo>
                    <a:lnTo>
                      <a:pt x="691" y="213"/>
                    </a:lnTo>
                    <a:lnTo>
                      <a:pt x="690" y="213"/>
                    </a:lnTo>
                    <a:lnTo>
                      <a:pt x="689" y="215"/>
                    </a:lnTo>
                    <a:lnTo>
                      <a:pt x="689" y="216"/>
                    </a:lnTo>
                    <a:lnTo>
                      <a:pt x="689" y="218"/>
                    </a:lnTo>
                    <a:lnTo>
                      <a:pt x="691" y="219"/>
                    </a:lnTo>
                    <a:lnTo>
                      <a:pt x="693" y="219"/>
                    </a:lnTo>
                    <a:lnTo>
                      <a:pt x="694" y="220"/>
                    </a:lnTo>
                    <a:lnTo>
                      <a:pt x="696" y="222"/>
                    </a:lnTo>
                    <a:lnTo>
                      <a:pt x="696" y="225"/>
                    </a:lnTo>
                    <a:lnTo>
                      <a:pt x="696" y="225"/>
                    </a:lnTo>
                    <a:lnTo>
                      <a:pt x="697" y="225"/>
                    </a:lnTo>
                    <a:lnTo>
                      <a:pt x="697" y="226"/>
                    </a:lnTo>
                    <a:lnTo>
                      <a:pt x="696" y="228"/>
                    </a:lnTo>
                    <a:lnTo>
                      <a:pt x="693" y="234"/>
                    </a:lnTo>
                    <a:lnTo>
                      <a:pt x="693" y="239"/>
                    </a:lnTo>
                    <a:lnTo>
                      <a:pt x="694" y="239"/>
                    </a:lnTo>
                    <a:lnTo>
                      <a:pt x="694" y="239"/>
                    </a:lnTo>
                    <a:lnTo>
                      <a:pt x="696" y="239"/>
                    </a:lnTo>
                    <a:lnTo>
                      <a:pt x="703" y="223"/>
                    </a:lnTo>
                    <a:lnTo>
                      <a:pt x="703" y="222"/>
                    </a:lnTo>
                    <a:lnTo>
                      <a:pt x="705" y="219"/>
                    </a:lnTo>
                    <a:lnTo>
                      <a:pt x="706" y="215"/>
                    </a:lnTo>
                    <a:lnTo>
                      <a:pt x="699" y="197"/>
                    </a:lnTo>
                    <a:lnTo>
                      <a:pt x="699" y="196"/>
                    </a:lnTo>
                    <a:lnTo>
                      <a:pt x="702" y="200"/>
                    </a:lnTo>
                    <a:lnTo>
                      <a:pt x="705" y="200"/>
                    </a:lnTo>
                    <a:lnTo>
                      <a:pt x="706" y="203"/>
                    </a:lnTo>
                    <a:lnTo>
                      <a:pt x="709" y="203"/>
                    </a:lnTo>
                    <a:lnTo>
                      <a:pt x="709" y="206"/>
                    </a:lnTo>
                    <a:lnTo>
                      <a:pt x="709" y="207"/>
                    </a:lnTo>
                    <a:lnTo>
                      <a:pt x="716" y="197"/>
                    </a:lnTo>
                    <a:lnTo>
                      <a:pt x="716" y="196"/>
                    </a:lnTo>
                    <a:lnTo>
                      <a:pt x="718" y="196"/>
                    </a:lnTo>
                    <a:lnTo>
                      <a:pt x="718" y="194"/>
                    </a:lnTo>
                    <a:lnTo>
                      <a:pt x="719" y="190"/>
                    </a:lnTo>
                    <a:lnTo>
                      <a:pt x="719" y="188"/>
                    </a:lnTo>
                    <a:lnTo>
                      <a:pt x="721" y="188"/>
                    </a:lnTo>
                    <a:lnTo>
                      <a:pt x="721" y="188"/>
                    </a:lnTo>
                    <a:lnTo>
                      <a:pt x="722" y="184"/>
                    </a:lnTo>
                    <a:lnTo>
                      <a:pt x="722" y="183"/>
                    </a:lnTo>
                    <a:lnTo>
                      <a:pt x="721" y="180"/>
                    </a:lnTo>
                    <a:lnTo>
                      <a:pt x="718" y="180"/>
                    </a:lnTo>
                    <a:lnTo>
                      <a:pt x="718" y="178"/>
                    </a:lnTo>
                    <a:lnTo>
                      <a:pt x="718" y="178"/>
                    </a:lnTo>
                    <a:lnTo>
                      <a:pt x="722" y="171"/>
                    </a:lnTo>
                    <a:lnTo>
                      <a:pt x="723" y="171"/>
                    </a:lnTo>
                    <a:lnTo>
                      <a:pt x="725" y="170"/>
                    </a:lnTo>
                    <a:lnTo>
                      <a:pt x="734" y="167"/>
                    </a:lnTo>
                    <a:lnTo>
                      <a:pt x="735" y="164"/>
                    </a:lnTo>
                    <a:lnTo>
                      <a:pt x="738" y="164"/>
                    </a:lnTo>
                    <a:lnTo>
                      <a:pt x="741" y="164"/>
                    </a:lnTo>
                    <a:lnTo>
                      <a:pt x="757" y="161"/>
                    </a:lnTo>
                    <a:lnTo>
                      <a:pt x="758" y="161"/>
                    </a:lnTo>
                    <a:lnTo>
                      <a:pt x="760" y="157"/>
                    </a:lnTo>
                    <a:lnTo>
                      <a:pt x="760" y="157"/>
                    </a:lnTo>
                    <a:lnTo>
                      <a:pt x="761" y="157"/>
                    </a:lnTo>
                    <a:lnTo>
                      <a:pt x="761" y="159"/>
                    </a:lnTo>
                    <a:lnTo>
                      <a:pt x="763" y="159"/>
                    </a:lnTo>
                    <a:lnTo>
                      <a:pt x="766" y="159"/>
                    </a:lnTo>
                    <a:lnTo>
                      <a:pt x="768" y="157"/>
                    </a:lnTo>
                    <a:lnTo>
                      <a:pt x="770" y="157"/>
                    </a:lnTo>
                    <a:lnTo>
                      <a:pt x="770" y="158"/>
                    </a:lnTo>
                    <a:lnTo>
                      <a:pt x="771" y="159"/>
                    </a:lnTo>
                    <a:lnTo>
                      <a:pt x="774" y="158"/>
                    </a:lnTo>
                    <a:lnTo>
                      <a:pt x="776" y="158"/>
                    </a:lnTo>
                    <a:lnTo>
                      <a:pt x="779" y="157"/>
                    </a:lnTo>
                    <a:lnTo>
                      <a:pt x="780" y="155"/>
                    </a:lnTo>
                    <a:lnTo>
                      <a:pt x="779" y="152"/>
                    </a:lnTo>
                    <a:lnTo>
                      <a:pt x="779" y="151"/>
                    </a:lnTo>
                    <a:lnTo>
                      <a:pt x="779" y="151"/>
                    </a:lnTo>
                    <a:lnTo>
                      <a:pt x="779" y="154"/>
                    </a:lnTo>
                    <a:lnTo>
                      <a:pt x="777" y="155"/>
                    </a:lnTo>
                    <a:lnTo>
                      <a:pt x="776" y="157"/>
                    </a:lnTo>
                    <a:lnTo>
                      <a:pt x="771" y="154"/>
                    </a:lnTo>
                    <a:lnTo>
                      <a:pt x="770" y="151"/>
                    </a:lnTo>
                    <a:lnTo>
                      <a:pt x="768" y="151"/>
                    </a:lnTo>
                    <a:lnTo>
                      <a:pt x="768" y="148"/>
                    </a:lnTo>
                    <a:lnTo>
                      <a:pt x="767" y="146"/>
                    </a:lnTo>
                    <a:lnTo>
                      <a:pt x="764" y="145"/>
                    </a:lnTo>
                    <a:lnTo>
                      <a:pt x="764" y="145"/>
                    </a:lnTo>
                    <a:lnTo>
                      <a:pt x="764" y="143"/>
                    </a:lnTo>
                    <a:lnTo>
                      <a:pt x="766" y="142"/>
                    </a:lnTo>
                    <a:lnTo>
                      <a:pt x="766" y="142"/>
                    </a:lnTo>
                    <a:lnTo>
                      <a:pt x="767" y="139"/>
                    </a:lnTo>
                    <a:lnTo>
                      <a:pt x="768" y="139"/>
                    </a:lnTo>
                    <a:lnTo>
                      <a:pt x="766" y="133"/>
                    </a:lnTo>
                    <a:lnTo>
                      <a:pt x="767" y="129"/>
                    </a:lnTo>
                    <a:lnTo>
                      <a:pt x="770" y="126"/>
                    </a:lnTo>
                    <a:lnTo>
                      <a:pt x="774" y="120"/>
                    </a:lnTo>
                    <a:lnTo>
                      <a:pt x="776" y="117"/>
                    </a:lnTo>
                    <a:lnTo>
                      <a:pt x="777" y="116"/>
                    </a:lnTo>
                    <a:lnTo>
                      <a:pt x="780" y="114"/>
                    </a:lnTo>
                    <a:lnTo>
                      <a:pt x="780" y="114"/>
                    </a:lnTo>
                    <a:lnTo>
                      <a:pt x="782" y="117"/>
                    </a:lnTo>
                    <a:lnTo>
                      <a:pt x="782" y="117"/>
                    </a:lnTo>
                    <a:lnTo>
                      <a:pt x="783" y="116"/>
                    </a:lnTo>
                    <a:lnTo>
                      <a:pt x="783" y="113"/>
                    </a:lnTo>
                    <a:lnTo>
                      <a:pt x="784" y="113"/>
                    </a:lnTo>
                    <a:lnTo>
                      <a:pt x="784" y="114"/>
                    </a:lnTo>
                    <a:lnTo>
                      <a:pt x="786" y="114"/>
                    </a:lnTo>
                    <a:lnTo>
                      <a:pt x="786" y="114"/>
                    </a:lnTo>
                    <a:lnTo>
                      <a:pt x="787" y="111"/>
                    </a:lnTo>
                    <a:lnTo>
                      <a:pt x="789" y="111"/>
                    </a:lnTo>
                    <a:lnTo>
                      <a:pt x="790" y="111"/>
                    </a:lnTo>
                    <a:lnTo>
                      <a:pt x="790" y="111"/>
                    </a:lnTo>
                    <a:lnTo>
                      <a:pt x="792" y="109"/>
                    </a:lnTo>
                    <a:lnTo>
                      <a:pt x="792" y="107"/>
                    </a:lnTo>
                    <a:lnTo>
                      <a:pt x="793" y="106"/>
                    </a:lnTo>
                    <a:lnTo>
                      <a:pt x="793" y="103"/>
                    </a:lnTo>
                    <a:lnTo>
                      <a:pt x="795" y="101"/>
                    </a:lnTo>
                    <a:lnTo>
                      <a:pt x="796" y="101"/>
                    </a:lnTo>
                    <a:lnTo>
                      <a:pt x="796" y="101"/>
                    </a:lnTo>
                    <a:lnTo>
                      <a:pt x="796" y="103"/>
                    </a:lnTo>
                    <a:lnTo>
                      <a:pt x="797" y="104"/>
                    </a:lnTo>
                    <a:lnTo>
                      <a:pt x="799" y="106"/>
                    </a:lnTo>
                    <a:lnTo>
                      <a:pt x="799" y="104"/>
                    </a:lnTo>
                    <a:lnTo>
                      <a:pt x="802" y="107"/>
                    </a:lnTo>
                    <a:lnTo>
                      <a:pt x="803" y="106"/>
                    </a:lnTo>
                    <a:lnTo>
                      <a:pt x="803" y="104"/>
                    </a:lnTo>
                    <a:lnTo>
                      <a:pt x="806" y="103"/>
                    </a:lnTo>
                    <a:lnTo>
                      <a:pt x="808" y="103"/>
                    </a:lnTo>
                    <a:lnTo>
                      <a:pt x="809" y="103"/>
                    </a:lnTo>
                    <a:lnTo>
                      <a:pt x="809" y="101"/>
                    </a:lnTo>
                    <a:lnTo>
                      <a:pt x="813" y="100"/>
                    </a:lnTo>
                    <a:lnTo>
                      <a:pt x="815" y="100"/>
                    </a:lnTo>
                    <a:lnTo>
                      <a:pt x="816" y="98"/>
                    </a:lnTo>
                    <a:lnTo>
                      <a:pt x="818" y="98"/>
                    </a:lnTo>
                    <a:lnTo>
                      <a:pt x="819" y="98"/>
                    </a:lnTo>
                    <a:lnTo>
                      <a:pt x="821" y="97"/>
                    </a:lnTo>
                    <a:lnTo>
                      <a:pt x="821" y="95"/>
                    </a:lnTo>
                    <a:lnTo>
                      <a:pt x="821" y="94"/>
                    </a:lnTo>
                    <a:close/>
                  </a:path>
                </a:pathLst>
              </a:custGeom>
              <a:solidFill>
                <a:srgbClr val="65DAFF"/>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89" name="Rectangle 1478"/>
              <p:cNvSpPr>
                <a:spLocks noChangeArrowheads="1"/>
              </p:cNvSpPr>
              <p:nvPr/>
            </p:nvSpPr>
            <p:spPr bwMode="auto">
              <a:xfrm>
                <a:off x="5113010" y="2652962"/>
                <a:ext cx="1756" cy="2028"/>
              </a:xfrm>
              <a:prstGeom prst="rect">
                <a:avLst/>
              </a:prstGeom>
              <a:solidFill>
                <a:schemeClr val="bg2">
                  <a:lumMod val="60000"/>
                  <a:lumOff val="40000"/>
                </a:schemeClr>
              </a:solidFill>
              <a:ln w="9525">
                <a:noFill/>
                <a:miter lim="800000"/>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90" name="Freeform 1479"/>
              <p:cNvSpPr>
                <a:spLocks/>
              </p:cNvSpPr>
              <p:nvPr/>
            </p:nvSpPr>
            <p:spPr bwMode="auto">
              <a:xfrm>
                <a:off x="5113010" y="2652962"/>
                <a:ext cx="1756" cy="2028"/>
              </a:xfrm>
              <a:custGeom>
                <a:avLst/>
                <a:gdLst/>
                <a:ahLst/>
                <a:cxnLst>
                  <a:cxn ang="0">
                    <a:pos x="0" y="2"/>
                  </a:cxn>
                  <a:cxn ang="0">
                    <a:pos x="0" y="0"/>
                  </a:cxn>
                  <a:cxn ang="0">
                    <a:pos x="0" y="0"/>
                  </a:cxn>
                  <a:cxn ang="0">
                    <a:pos x="0" y="2"/>
                  </a:cxn>
                </a:cxnLst>
                <a:rect l="0" t="0" r="r" b="b"/>
                <a:pathLst>
                  <a:path h="2">
                    <a:moveTo>
                      <a:pt x="0" y="2"/>
                    </a:moveTo>
                    <a:lnTo>
                      <a:pt x="0" y="0"/>
                    </a:lnTo>
                    <a:lnTo>
                      <a:pt x="0" y="0"/>
                    </a:lnTo>
                    <a:lnTo>
                      <a:pt x="0" y="2"/>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91" name="Freeform 1480"/>
              <p:cNvSpPr>
                <a:spLocks/>
              </p:cNvSpPr>
              <p:nvPr/>
            </p:nvSpPr>
            <p:spPr bwMode="auto">
              <a:xfrm>
                <a:off x="5112133" y="2649920"/>
                <a:ext cx="878" cy="2028"/>
              </a:xfrm>
              <a:custGeom>
                <a:avLst/>
                <a:gdLst/>
                <a:ahLst/>
                <a:cxnLst>
                  <a:cxn ang="0">
                    <a:pos x="1" y="0"/>
                  </a:cxn>
                  <a:cxn ang="0">
                    <a:pos x="0" y="0"/>
                  </a:cxn>
                  <a:cxn ang="0">
                    <a:pos x="1" y="0"/>
                  </a:cxn>
                  <a:cxn ang="0">
                    <a:pos x="1" y="0"/>
                  </a:cxn>
                  <a:cxn ang="0">
                    <a:pos x="1" y="0"/>
                  </a:cxn>
                  <a:cxn ang="0">
                    <a:pos x="1" y="2"/>
                  </a:cxn>
                  <a:cxn ang="0">
                    <a:pos x="1" y="0"/>
                  </a:cxn>
                </a:cxnLst>
                <a:rect l="0" t="0" r="r" b="b"/>
                <a:pathLst>
                  <a:path w="1" h="2">
                    <a:moveTo>
                      <a:pt x="1" y="0"/>
                    </a:moveTo>
                    <a:lnTo>
                      <a:pt x="0" y="0"/>
                    </a:lnTo>
                    <a:lnTo>
                      <a:pt x="1" y="0"/>
                    </a:lnTo>
                    <a:lnTo>
                      <a:pt x="1" y="0"/>
                    </a:lnTo>
                    <a:lnTo>
                      <a:pt x="1" y="0"/>
                    </a:lnTo>
                    <a:lnTo>
                      <a:pt x="1" y="2"/>
                    </a:lnTo>
                    <a:lnTo>
                      <a:pt x="1"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92" name="Freeform 1481"/>
              <p:cNvSpPr>
                <a:spLocks/>
              </p:cNvSpPr>
              <p:nvPr/>
            </p:nvSpPr>
            <p:spPr bwMode="auto">
              <a:xfrm>
                <a:off x="5112133" y="2649920"/>
                <a:ext cx="878" cy="2028"/>
              </a:xfrm>
              <a:custGeom>
                <a:avLst/>
                <a:gdLst/>
                <a:ahLst/>
                <a:cxnLst>
                  <a:cxn ang="0">
                    <a:pos x="1" y="0"/>
                  </a:cxn>
                  <a:cxn ang="0">
                    <a:pos x="0" y="0"/>
                  </a:cxn>
                  <a:cxn ang="0">
                    <a:pos x="1" y="0"/>
                  </a:cxn>
                  <a:cxn ang="0">
                    <a:pos x="1" y="0"/>
                  </a:cxn>
                  <a:cxn ang="0">
                    <a:pos x="1" y="0"/>
                  </a:cxn>
                  <a:cxn ang="0">
                    <a:pos x="1" y="2"/>
                  </a:cxn>
                  <a:cxn ang="0">
                    <a:pos x="1" y="0"/>
                  </a:cxn>
                </a:cxnLst>
                <a:rect l="0" t="0" r="r" b="b"/>
                <a:pathLst>
                  <a:path w="1" h="2">
                    <a:moveTo>
                      <a:pt x="1" y="0"/>
                    </a:moveTo>
                    <a:lnTo>
                      <a:pt x="0" y="0"/>
                    </a:lnTo>
                    <a:lnTo>
                      <a:pt x="1" y="0"/>
                    </a:lnTo>
                    <a:lnTo>
                      <a:pt x="1" y="0"/>
                    </a:lnTo>
                    <a:lnTo>
                      <a:pt x="1" y="0"/>
                    </a:lnTo>
                    <a:lnTo>
                      <a:pt x="1" y="2"/>
                    </a:lnTo>
                    <a:lnTo>
                      <a:pt x="1"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93" name="Freeform 1482"/>
              <p:cNvSpPr>
                <a:spLocks/>
              </p:cNvSpPr>
              <p:nvPr/>
            </p:nvSpPr>
            <p:spPr bwMode="auto">
              <a:xfrm>
                <a:off x="4035070" y="2940975"/>
                <a:ext cx="5267" cy="6085"/>
              </a:xfrm>
              <a:custGeom>
                <a:avLst/>
                <a:gdLst/>
                <a:ahLst/>
                <a:cxnLst>
                  <a:cxn ang="0">
                    <a:pos x="1" y="0"/>
                  </a:cxn>
                  <a:cxn ang="0">
                    <a:pos x="4" y="0"/>
                  </a:cxn>
                  <a:cxn ang="0">
                    <a:pos x="6" y="0"/>
                  </a:cxn>
                  <a:cxn ang="0">
                    <a:pos x="6" y="2"/>
                  </a:cxn>
                  <a:cxn ang="0">
                    <a:pos x="6" y="3"/>
                  </a:cxn>
                  <a:cxn ang="0">
                    <a:pos x="4" y="6"/>
                  </a:cxn>
                  <a:cxn ang="0">
                    <a:pos x="3" y="6"/>
                  </a:cxn>
                  <a:cxn ang="0">
                    <a:pos x="1" y="5"/>
                  </a:cxn>
                  <a:cxn ang="0">
                    <a:pos x="0" y="5"/>
                  </a:cxn>
                  <a:cxn ang="0">
                    <a:pos x="0" y="3"/>
                  </a:cxn>
                  <a:cxn ang="0">
                    <a:pos x="1" y="0"/>
                  </a:cxn>
                </a:cxnLst>
                <a:rect l="0" t="0" r="r" b="b"/>
                <a:pathLst>
                  <a:path w="6" h="6">
                    <a:moveTo>
                      <a:pt x="1" y="0"/>
                    </a:moveTo>
                    <a:lnTo>
                      <a:pt x="4" y="0"/>
                    </a:lnTo>
                    <a:lnTo>
                      <a:pt x="6" y="0"/>
                    </a:lnTo>
                    <a:lnTo>
                      <a:pt x="6" y="2"/>
                    </a:lnTo>
                    <a:lnTo>
                      <a:pt x="6" y="3"/>
                    </a:lnTo>
                    <a:lnTo>
                      <a:pt x="4" y="6"/>
                    </a:lnTo>
                    <a:lnTo>
                      <a:pt x="3" y="6"/>
                    </a:lnTo>
                    <a:lnTo>
                      <a:pt x="1" y="5"/>
                    </a:lnTo>
                    <a:lnTo>
                      <a:pt x="0" y="5"/>
                    </a:lnTo>
                    <a:lnTo>
                      <a:pt x="0" y="3"/>
                    </a:lnTo>
                    <a:lnTo>
                      <a:pt x="1"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94" name="Freeform 1483"/>
              <p:cNvSpPr>
                <a:spLocks/>
              </p:cNvSpPr>
              <p:nvPr/>
            </p:nvSpPr>
            <p:spPr bwMode="auto">
              <a:xfrm>
                <a:off x="4035070" y="2940975"/>
                <a:ext cx="5267" cy="6085"/>
              </a:xfrm>
              <a:custGeom>
                <a:avLst/>
                <a:gdLst/>
                <a:ahLst/>
                <a:cxnLst>
                  <a:cxn ang="0">
                    <a:pos x="1" y="0"/>
                  </a:cxn>
                  <a:cxn ang="0">
                    <a:pos x="4" y="0"/>
                  </a:cxn>
                  <a:cxn ang="0">
                    <a:pos x="6" y="0"/>
                  </a:cxn>
                  <a:cxn ang="0">
                    <a:pos x="6" y="2"/>
                  </a:cxn>
                  <a:cxn ang="0">
                    <a:pos x="6" y="3"/>
                  </a:cxn>
                  <a:cxn ang="0">
                    <a:pos x="4" y="6"/>
                  </a:cxn>
                  <a:cxn ang="0">
                    <a:pos x="3" y="6"/>
                  </a:cxn>
                  <a:cxn ang="0">
                    <a:pos x="1" y="5"/>
                  </a:cxn>
                  <a:cxn ang="0">
                    <a:pos x="0" y="5"/>
                  </a:cxn>
                  <a:cxn ang="0">
                    <a:pos x="0" y="3"/>
                  </a:cxn>
                  <a:cxn ang="0">
                    <a:pos x="1" y="0"/>
                  </a:cxn>
                </a:cxnLst>
                <a:rect l="0" t="0" r="r" b="b"/>
                <a:pathLst>
                  <a:path w="6" h="6">
                    <a:moveTo>
                      <a:pt x="1" y="0"/>
                    </a:moveTo>
                    <a:lnTo>
                      <a:pt x="4" y="0"/>
                    </a:lnTo>
                    <a:lnTo>
                      <a:pt x="6" y="0"/>
                    </a:lnTo>
                    <a:lnTo>
                      <a:pt x="6" y="2"/>
                    </a:lnTo>
                    <a:lnTo>
                      <a:pt x="6" y="3"/>
                    </a:lnTo>
                    <a:lnTo>
                      <a:pt x="4" y="6"/>
                    </a:lnTo>
                    <a:lnTo>
                      <a:pt x="3" y="6"/>
                    </a:lnTo>
                    <a:lnTo>
                      <a:pt x="1" y="5"/>
                    </a:lnTo>
                    <a:lnTo>
                      <a:pt x="0" y="5"/>
                    </a:lnTo>
                    <a:lnTo>
                      <a:pt x="0" y="3"/>
                    </a:lnTo>
                    <a:lnTo>
                      <a:pt x="1"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95" name="Freeform 1484"/>
              <p:cNvSpPr>
                <a:spLocks/>
              </p:cNvSpPr>
              <p:nvPr/>
            </p:nvSpPr>
            <p:spPr bwMode="auto">
              <a:xfrm>
                <a:off x="4055260" y="2950103"/>
                <a:ext cx="6144" cy="6085"/>
              </a:xfrm>
              <a:custGeom>
                <a:avLst/>
                <a:gdLst/>
                <a:ahLst/>
                <a:cxnLst>
                  <a:cxn ang="0">
                    <a:pos x="1" y="2"/>
                  </a:cxn>
                  <a:cxn ang="0">
                    <a:pos x="1" y="2"/>
                  </a:cxn>
                  <a:cxn ang="0">
                    <a:pos x="3" y="0"/>
                  </a:cxn>
                  <a:cxn ang="0">
                    <a:pos x="7" y="4"/>
                  </a:cxn>
                  <a:cxn ang="0">
                    <a:pos x="3" y="6"/>
                  </a:cxn>
                  <a:cxn ang="0">
                    <a:pos x="1" y="4"/>
                  </a:cxn>
                  <a:cxn ang="0">
                    <a:pos x="0" y="2"/>
                  </a:cxn>
                  <a:cxn ang="0">
                    <a:pos x="1" y="2"/>
                  </a:cxn>
                  <a:cxn ang="0">
                    <a:pos x="1" y="2"/>
                  </a:cxn>
                </a:cxnLst>
                <a:rect l="0" t="0" r="r" b="b"/>
                <a:pathLst>
                  <a:path w="7" h="6">
                    <a:moveTo>
                      <a:pt x="1" y="2"/>
                    </a:moveTo>
                    <a:lnTo>
                      <a:pt x="1" y="2"/>
                    </a:lnTo>
                    <a:lnTo>
                      <a:pt x="3" y="0"/>
                    </a:lnTo>
                    <a:lnTo>
                      <a:pt x="7" y="4"/>
                    </a:lnTo>
                    <a:lnTo>
                      <a:pt x="3" y="6"/>
                    </a:lnTo>
                    <a:lnTo>
                      <a:pt x="1" y="4"/>
                    </a:lnTo>
                    <a:lnTo>
                      <a:pt x="0" y="2"/>
                    </a:lnTo>
                    <a:lnTo>
                      <a:pt x="1" y="2"/>
                    </a:lnTo>
                    <a:lnTo>
                      <a:pt x="1" y="2"/>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96" name="Freeform 1485"/>
              <p:cNvSpPr>
                <a:spLocks/>
              </p:cNvSpPr>
              <p:nvPr/>
            </p:nvSpPr>
            <p:spPr bwMode="auto">
              <a:xfrm>
                <a:off x="4055260" y="2950103"/>
                <a:ext cx="6144" cy="6085"/>
              </a:xfrm>
              <a:custGeom>
                <a:avLst/>
                <a:gdLst/>
                <a:ahLst/>
                <a:cxnLst>
                  <a:cxn ang="0">
                    <a:pos x="1" y="2"/>
                  </a:cxn>
                  <a:cxn ang="0">
                    <a:pos x="1" y="2"/>
                  </a:cxn>
                  <a:cxn ang="0">
                    <a:pos x="3" y="0"/>
                  </a:cxn>
                  <a:cxn ang="0">
                    <a:pos x="7" y="4"/>
                  </a:cxn>
                  <a:cxn ang="0">
                    <a:pos x="3" y="6"/>
                  </a:cxn>
                  <a:cxn ang="0">
                    <a:pos x="1" y="4"/>
                  </a:cxn>
                  <a:cxn ang="0">
                    <a:pos x="0" y="2"/>
                  </a:cxn>
                  <a:cxn ang="0">
                    <a:pos x="1" y="2"/>
                  </a:cxn>
                  <a:cxn ang="0">
                    <a:pos x="1" y="2"/>
                  </a:cxn>
                </a:cxnLst>
                <a:rect l="0" t="0" r="r" b="b"/>
                <a:pathLst>
                  <a:path w="7" h="6">
                    <a:moveTo>
                      <a:pt x="1" y="2"/>
                    </a:moveTo>
                    <a:lnTo>
                      <a:pt x="1" y="2"/>
                    </a:lnTo>
                    <a:lnTo>
                      <a:pt x="3" y="0"/>
                    </a:lnTo>
                    <a:lnTo>
                      <a:pt x="7" y="4"/>
                    </a:lnTo>
                    <a:lnTo>
                      <a:pt x="3" y="6"/>
                    </a:lnTo>
                    <a:lnTo>
                      <a:pt x="1" y="4"/>
                    </a:lnTo>
                    <a:lnTo>
                      <a:pt x="0" y="2"/>
                    </a:lnTo>
                    <a:lnTo>
                      <a:pt x="1" y="2"/>
                    </a:lnTo>
                    <a:lnTo>
                      <a:pt x="1" y="2"/>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97" name="Freeform 1486"/>
              <p:cNvSpPr>
                <a:spLocks/>
              </p:cNvSpPr>
              <p:nvPr/>
            </p:nvSpPr>
            <p:spPr bwMode="auto">
              <a:xfrm>
                <a:off x="4066671" y="2957202"/>
                <a:ext cx="7901" cy="2028"/>
              </a:xfrm>
              <a:custGeom>
                <a:avLst/>
                <a:gdLst/>
                <a:ahLst/>
                <a:cxnLst>
                  <a:cxn ang="0">
                    <a:pos x="0" y="0"/>
                  </a:cxn>
                  <a:cxn ang="0">
                    <a:pos x="0" y="2"/>
                  </a:cxn>
                  <a:cxn ang="0">
                    <a:pos x="0" y="0"/>
                  </a:cxn>
                  <a:cxn ang="0">
                    <a:pos x="7" y="0"/>
                  </a:cxn>
                  <a:cxn ang="0">
                    <a:pos x="8" y="0"/>
                  </a:cxn>
                  <a:cxn ang="0">
                    <a:pos x="8" y="2"/>
                  </a:cxn>
                  <a:cxn ang="0">
                    <a:pos x="6" y="2"/>
                  </a:cxn>
                  <a:cxn ang="0">
                    <a:pos x="3" y="2"/>
                  </a:cxn>
                  <a:cxn ang="0">
                    <a:pos x="1" y="2"/>
                  </a:cxn>
                  <a:cxn ang="0">
                    <a:pos x="0" y="0"/>
                  </a:cxn>
                  <a:cxn ang="0">
                    <a:pos x="0" y="0"/>
                  </a:cxn>
                </a:cxnLst>
                <a:rect l="0" t="0" r="r" b="b"/>
                <a:pathLst>
                  <a:path w="8" h="2">
                    <a:moveTo>
                      <a:pt x="0" y="0"/>
                    </a:moveTo>
                    <a:lnTo>
                      <a:pt x="0" y="2"/>
                    </a:lnTo>
                    <a:lnTo>
                      <a:pt x="0" y="0"/>
                    </a:lnTo>
                    <a:lnTo>
                      <a:pt x="7" y="0"/>
                    </a:lnTo>
                    <a:lnTo>
                      <a:pt x="8" y="0"/>
                    </a:lnTo>
                    <a:lnTo>
                      <a:pt x="8" y="2"/>
                    </a:lnTo>
                    <a:lnTo>
                      <a:pt x="6" y="2"/>
                    </a:lnTo>
                    <a:lnTo>
                      <a:pt x="3" y="2"/>
                    </a:lnTo>
                    <a:lnTo>
                      <a:pt x="1" y="2"/>
                    </a:lnTo>
                    <a:lnTo>
                      <a:pt x="0" y="0"/>
                    </a:lnTo>
                    <a:lnTo>
                      <a:pt x="0"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98" name="Freeform 1487"/>
              <p:cNvSpPr>
                <a:spLocks/>
              </p:cNvSpPr>
              <p:nvPr/>
            </p:nvSpPr>
            <p:spPr bwMode="auto">
              <a:xfrm>
                <a:off x="4066671" y="2957202"/>
                <a:ext cx="7901" cy="2028"/>
              </a:xfrm>
              <a:custGeom>
                <a:avLst/>
                <a:gdLst/>
                <a:ahLst/>
                <a:cxnLst>
                  <a:cxn ang="0">
                    <a:pos x="0" y="0"/>
                  </a:cxn>
                  <a:cxn ang="0">
                    <a:pos x="0" y="2"/>
                  </a:cxn>
                  <a:cxn ang="0">
                    <a:pos x="0" y="0"/>
                  </a:cxn>
                  <a:cxn ang="0">
                    <a:pos x="7" y="0"/>
                  </a:cxn>
                  <a:cxn ang="0">
                    <a:pos x="8" y="0"/>
                  </a:cxn>
                  <a:cxn ang="0">
                    <a:pos x="8" y="2"/>
                  </a:cxn>
                  <a:cxn ang="0">
                    <a:pos x="6" y="2"/>
                  </a:cxn>
                  <a:cxn ang="0">
                    <a:pos x="3" y="2"/>
                  </a:cxn>
                  <a:cxn ang="0">
                    <a:pos x="1" y="2"/>
                  </a:cxn>
                  <a:cxn ang="0">
                    <a:pos x="0" y="0"/>
                  </a:cxn>
                  <a:cxn ang="0">
                    <a:pos x="0" y="0"/>
                  </a:cxn>
                </a:cxnLst>
                <a:rect l="0" t="0" r="r" b="b"/>
                <a:pathLst>
                  <a:path w="8" h="2">
                    <a:moveTo>
                      <a:pt x="0" y="0"/>
                    </a:moveTo>
                    <a:lnTo>
                      <a:pt x="0" y="2"/>
                    </a:lnTo>
                    <a:lnTo>
                      <a:pt x="0" y="0"/>
                    </a:lnTo>
                    <a:lnTo>
                      <a:pt x="7" y="0"/>
                    </a:lnTo>
                    <a:lnTo>
                      <a:pt x="8" y="0"/>
                    </a:lnTo>
                    <a:lnTo>
                      <a:pt x="8" y="2"/>
                    </a:lnTo>
                    <a:lnTo>
                      <a:pt x="6" y="2"/>
                    </a:lnTo>
                    <a:lnTo>
                      <a:pt x="3" y="2"/>
                    </a:lnTo>
                    <a:lnTo>
                      <a:pt x="1" y="2"/>
                    </a:lnTo>
                    <a:lnTo>
                      <a:pt x="0" y="0"/>
                    </a:lnTo>
                    <a:lnTo>
                      <a:pt x="0"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99" name="Freeform 1488"/>
              <p:cNvSpPr>
                <a:spLocks/>
              </p:cNvSpPr>
              <p:nvPr/>
            </p:nvSpPr>
            <p:spPr bwMode="auto">
              <a:xfrm>
                <a:off x="4074572" y="2960245"/>
                <a:ext cx="9655" cy="6085"/>
              </a:xfrm>
              <a:custGeom>
                <a:avLst/>
                <a:gdLst/>
                <a:ahLst/>
                <a:cxnLst>
                  <a:cxn ang="0">
                    <a:pos x="5" y="2"/>
                  </a:cxn>
                  <a:cxn ang="0">
                    <a:pos x="5" y="2"/>
                  </a:cxn>
                  <a:cxn ang="0">
                    <a:pos x="6" y="0"/>
                  </a:cxn>
                  <a:cxn ang="0">
                    <a:pos x="11" y="3"/>
                  </a:cxn>
                  <a:cxn ang="0">
                    <a:pos x="11" y="5"/>
                  </a:cxn>
                  <a:cxn ang="0">
                    <a:pos x="8" y="6"/>
                  </a:cxn>
                  <a:cxn ang="0">
                    <a:pos x="6" y="6"/>
                  </a:cxn>
                  <a:cxn ang="0">
                    <a:pos x="5" y="6"/>
                  </a:cxn>
                  <a:cxn ang="0">
                    <a:pos x="3" y="3"/>
                  </a:cxn>
                  <a:cxn ang="0">
                    <a:pos x="2" y="2"/>
                  </a:cxn>
                  <a:cxn ang="0">
                    <a:pos x="0" y="0"/>
                  </a:cxn>
                  <a:cxn ang="0">
                    <a:pos x="2" y="0"/>
                  </a:cxn>
                  <a:cxn ang="0">
                    <a:pos x="2" y="0"/>
                  </a:cxn>
                  <a:cxn ang="0">
                    <a:pos x="5" y="2"/>
                  </a:cxn>
                </a:cxnLst>
                <a:rect l="0" t="0" r="r" b="b"/>
                <a:pathLst>
                  <a:path w="11" h="6">
                    <a:moveTo>
                      <a:pt x="5" y="2"/>
                    </a:moveTo>
                    <a:lnTo>
                      <a:pt x="5" y="2"/>
                    </a:lnTo>
                    <a:lnTo>
                      <a:pt x="6" y="0"/>
                    </a:lnTo>
                    <a:lnTo>
                      <a:pt x="11" y="3"/>
                    </a:lnTo>
                    <a:lnTo>
                      <a:pt x="11" y="5"/>
                    </a:lnTo>
                    <a:lnTo>
                      <a:pt x="8" y="6"/>
                    </a:lnTo>
                    <a:lnTo>
                      <a:pt x="6" y="6"/>
                    </a:lnTo>
                    <a:lnTo>
                      <a:pt x="5" y="6"/>
                    </a:lnTo>
                    <a:lnTo>
                      <a:pt x="3" y="3"/>
                    </a:lnTo>
                    <a:lnTo>
                      <a:pt x="2" y="2"/>
                    </a:lnTo>
                    <a:lnTo>
                      <a:pt x="0" y="0"/>
                    </a:lnTo>
                    <a:lnTo>
                      <a:pt x="2" y="0"/>
                    </a:lnTo>
                    <a:lnTo>
                      <a:pt x="2" y="0"/>
                    </a:lnTo>
                    <a:lnTo>
                      <a:pt x="5" y="2"/>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00" name="Freeform 1489"/>
              <p:cNvSpPr>
                <a:spLocks/>
              </p:cNvSpPr>
              <p:nvPr/>
            </p:nvSpPr>
            <p:spPr bwMode="auto">
              <a:xfrm>
                <a:off x="4074572" y="2960245"/>
                <a:ext cx="9655" cy="6085"/>
              </a:xfrm>
              <a:custGeom>
                <a:avLst/>
                <a:gdLst/>
                <a:ahLst/>
                <a:cxnLst>
                  <a:cxn ang="0">
                    <a:pos x="5" y="2"/>
                  </a:cxn>
                  <a:cxn ang="0">
                    <a:pos x="5" y="2"/>
                  </a:cxn>
                  <a:cxn ang="0">
                    <a:pos x="6" y="0"/>
                  </a:cxn>
                  <a:cxn ang="0">
                    <a:pos x="11" y="3"/>
                  </a:cxn>
                  <a:cxn ang="0">
                    <a:pos x="11" y="5"/>
                  </a:cxn>
                  <a:cxn ang="0">
                    <a:pos x="8" y="6"/>
                  </a:cxn>
                  <a:cxn ang="0">
                    <a:pos x="6" y="6"/>
                  </a:cxn>
                  <a:cxn ang="0">
                    <a:pos x="5" y="6"/>
                  </a:cxn>
                  <a:cxn ang="0">
                    <a:pos x="3" y="3"/>
                  </a:cxn>
                  <a:cxn ang="0">
                    <a:pos x="2" y="2"/>
                  </a:cxn>
                  <a:cxn ang="0">
                    <a:pos x="0" y="0"/>
                  </a:cxn>
                  <a:cxn ang="0">
                    <a:pos x="2" y="0"/>
                  </a:cxn>
                  <a:cxn ang="0">
                    <a:pos x="2" y="0"/>
                  </a:cxn>
                  <a:cxn ang="0">
                    <a:pos x="5" y="2"/>
                  </a:cxn>
                </a:cxnLst>
                <a:rect l="0" t="0" r="r" b="b"/>
                <a:pathLst>
                  <a:path w="11" h="6">
                    <a:moveTo>
                      <a:pt x="5" y="2"/>
                    </a:moveTo>
                    <a:lnTo>
                      <a:pt x="5" y="2"/>
                    </a:lnTo>
                    <a:lnTo>
                      <a:pt x="6" y="0"/>
                    </a:lnTo>
                    <a:lnTo>
                      <a:pt x="11" y="3"/>
                    </a:lnTo>
                    <a:lnTo>
                      <a:pt x="11" y="5"/>
                    </a:lnTo>
                    <a:lnTo>
                      <a:pt x="8" y="6"/>
                    </a:lnTo>
                    <a:lnTo>
                      <a:pt x="6" y="6"/>
                    </a:lnTo>
                    <a:lnTo>
                      <a:pt x="5" y="6"/>
                    </a:lnTo>
                    <a:lnTo>
                      <a:pt x="3" y="3"/>
                    </a:lnTo>
                    <a:lnTo>
                      <a:pt x="2" y="2"/>
                    </a:lnTo>
                    <a:lnTo>
                      <a:pt x="0" y="0"/>
                    </a:lnTo>
                    <a:lnTo>
                      <a:pt x="2" y="0"/>
                    </a:lnTo>
                    <a:lnTo>
                      <a:pt x="2" y="0"/>
                    </a:lnTo>
                    <a:lnTo>
                      <a:pt x="5" y="2"/>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01" name="Freeform 1490"/>
              <p:cNvSpPr>
                <a:spLocks/>
              </p:cNvSpPr>
              <p:nvPr/>
            </p:nvSpPr>
            <p:spPr bwMode="auto">
              <a:xfrm>
                <a:off x="4084227" y="2973427"/>
                <a:ext cx="15800" cy="20283"/>
              </a:xfrm>
              <a:custGeom>
                <a:avLst/>
                <a:gdLst/>
                <a:ahLst/>
                <a:cxnLst>
                  <a:cxn ang="0">
                    <a:pos x="1" y="0"/>
                  </a:cxn>
                  <a:cxn ang="0">
                    <a:pos x="1" y="1"/>
                  </a:cxn>
                  <a:cxn ang="0">
                    <a:pos x="1" y="0"/>
                  </a:cxn>
                  <a:cxn ang="0">
                    <a:pos x="3" y="0"/>
                  </a:cxn>
                  <a:cxn ang="0">
                    <a:pos x="4" y="1"/>
                  </a:cxn>
                  <a:cxn ang="0">
                    <a:pos x="5" y="1"/>
                  </a:cxn>
                  <a:cxn ang="0">
                    <a:pos x="10" y="3"/>
                  </a:cxn>
                  <a:cxn ang="0">
                    <a:pos x="11" y="4"/>
                  </a:cxn>
                  <a:cxn ang="0">
                    <a:pos x="13" y="6"/>
                  </a:cxn>
                  <a:cxn ang="0">
                    <a:pos x="14" y="7"/>
                  </a:cxn>
                  <a:cxn ang="0">
                    <a:pos x="16" y="9"/>
                  </a:cxn>
                  <a:cxn ang="0">
                    <a:pos x="16" y="10"/>
                  </a:cxn>
                  <a:cxn ang="0">
                    <a:pos x="17" y="12"/>
                  </a:cxn>
                  <a:cxn ang="0">
                    <a:pos x="16" y="14"/>
                  </a:cxn>
                  <a:cxn ang="0">
                    <a:pos x="11" y="13"/>
                  </a:cxn>
                  <a:cxn ang="0">
                    <a:pos x="10" y="14"/>
                  </a:cxn>
                  <a:cxn ang="0">
                    <a:pos x="7" y="17"/>
                  </a:cxn>
                  <a:cxn ang="0">
                    <a:pos x="5" y="19"/>
                  </a:cxn>
                  <a:cxn ang="0">
                    <a:pos x="4" y="20"/>
                  </a:cxn>
                  <a:cxn ang="0">
                    <a:pos x="3" y="19"/>
                  </a:cxn>
                  <a:cxn ang="0">
                    <a:pos x="1" y="16"/>
                  </a:cxn>
                  <a:cxn ang="0">
                    <a:pos x="0" y="7"/>
                  </a:cxn>
                  <a:cxn ang="0">
                    <a:pos x="1" y="4"/>
                  </a:cxn>
                  <a:cxn ang="0">
                    <a:pos x="1" y="3"/>
                  </a:cxn>
                  <a:cxn ang="0">
                    <a:pos x="1" y="0"/>
                  </a:cxn>
                </a:cxnLst>
                <a:rect l="0" t="0" r="r" b="b"/>
                <a:pathLst>
                  <a:path w="17" h="20">
                    <a:moveTo>
                      <a:pt x="1" y="0"/>
                    </a:moveTo>
                    <a:lnTo>
                      <a:pt x="1" y="1"/>
                    </a:lnTo>
                    <a:lnTo>
                      <a:pt x="1" y="0"/>
                    </a:lnTo>
                    <a:lnTo>
                      <a:pt x="3" y="0"/>
                    </a:lnTo>
                    <a:lnTo>
                      <a:pt x="4" y="1"/>
                    </a:lnTo>
                    <a:lnTo>
                      <a:pt x="5" y="1"/>
                    </a:lnTo>
                    <a:lnTo>
                      <a:pt x="10" y="3"/>
                    </a:lnTo>
                    <a:lnTo>
                      <a:pt x="11" y="4"/>
                    </a:lnTo>
                    <a:lnTo>
                      <a:pt x="13" y="6"/>
                    </a:lnTo>
                    <a:lnTo>
                      <a:pt x="14" y="7"/>
                    </a:lnTo>
                    <a:lnTo>
                      <a:pt x="16" y="9"/>
                    </a:lnTo>
                    <a:lnTo>
                      <a:pt x="16" y="10"/>
                    </a:lnTo>
                    <a:lnTo>
                      <a:pt x="17" y="12"/>
                    </a:lnTo>
                    <a:lnTo>
                      <a:pt x="16" y="14"/>
                    </a:lnTo>
                    <a:lnTo>
                      <a:pt x="11" y="13"/>
                    </a:lnTo>
                    <a:lnTo>
                      <a:pt x="10" y="14"/>
                    </a:lnTo>
                    <a:lnTo>
                      <a:pt x="7" y="17"/>
                    </a:lnTo>
                    <a:lnTo>
                      <a:pt x="5" y="19"/>
                    </a:lnTo>
                    <a:lnTo>
                      <a:pt x="4" y="20"/>
                    </a:lnTo>
                    <a:lnTo>
                      <a:pt x="3" y="19"/>
                    </a:lnTo>
                    <a:lnTo>
                      <a:pt x="1" y="16"/>
                    </a:lnTo>
                    <a:lnTo>
                      <a:pt x="0" y="7"/>
                    </a:lnTo>
                    <a:lnTo>
                      <a:pt x="1" y="4"/>
                    </a:lnTo>
                    <a:lnTo>
                      <a:pt x="1" y="3"/>
                    </a:lnTo>
                    <a:lnTo>
                      <a:pt x="1"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02" name="Freeform 1491"/>
              <p:cNvSpPr>
                <a:spLocks/>
              </p:cNvSpPr>
              <p:nvPr/>
            </p:nvSpPr>
            <p:spPr bwMode="auto">
              <a:xfrm>
                <a:off x="4084227" y="2973427"/>
                <a:ext cx="15800" cy="20283"/>
              </a:xfrm>
              <a:custGeom>
                <a:avLst/>
                <a:gdLst/>
                <a:ahLst/>
                <a:cxnLst>
                  <a:cxn ang="0">
                    <a:pos x="1" y="0"/>
                  </a:cxn>
                  <a:cxn ang="0">
                    <a:pos x="1" y="1"/>
                  </a:cxn>
                  <a:cxn ang="0">
                    <a:pos x="1" y="0"/>
                  </a:cxn>
                  <a:cxn ang="0">
                    <a:pos x="3" y="0"/>
                  </a:cxn>
                  <a:cxn ang="0">
                    <a:pos x="4" y="1"/>
                  </a:cxn>
                  <a:cxn ang="0">
                    <a:pos x="5" y="1"/>
                  </a:cxn>
                  <a:cxn ang="0">
                    <a:pos x="10" y="3"/>
                  </a:cxn>
                  <a:cxn ang="0">
                    <a:pos x="11" y="4"/>
                  </a:cxn>
                  <a:cxn ang="0">
                    <a:pos x="13" y="6"/>
                  </a:cxn>
                  <a:cxn ang="0">
                    <a:pos x="14" y="7"/>
                  </a:cxn>
                  <a:cxn ang="0">
                    <a:pos x="16" y="9"/>
                  </a:cxn>
                  <a:cxn ang="0">
                    <a:pos x="16" y="10"/>
                  </a:cxn>
                  <a:cxn ang="0">
                    <a:pos x="17" y="12"/>
                  </a:cxn>
                  <a:cxn ang="0">
                    <a:pos x="16" y="14"/>
                  </a:cxn>
                  <a:cxn ang="0">
                    <a:pos x="11" y="13"/>
                  </a:cxn>
                  <a:cxn ang="0">
                    <a:pos x="10" y="14"/>
                  </a:cxn>
                  <a:cxn ang="0">
                    <a:pos x="7" y="17"/>
                  </a:cxn>
                  <a:cxn ang="0">
                    <a:pos x="5" y="19"/>
                  </a:cxn>
                  <a:cxn ang="0">
                    <a:pos x="4" y="20"/>
                  </a:cxn>
                  <a:cxn ang="0">
                    <a:pos x="3" y="19"/>
                  </a:cxn>
                  <a:cxn ang="0">
                    <a:pos x="1" y="16"/>
                  </a:cxn>
                  <a:cxn ang="0">
                    <a:pos x="0" y="7"/>
                  </a:cxn>
                  <a:cxn ang="0">
                    <a:pos x="1" y="4"/>
                  </a:cxn>
                  <a:cxn ang="0">
                    <a:pos x="1" y="3"/>
                  </a:cxn>
                  <a:cxn ang="0">
                    <a:pos x="1" y="0"/>
                  </a:cxn>
                </a:cxnLst>
                <a:rect l="0" t="0" r="r" b="b"/>
                <a:pathLst>
                  <a:path w="17" h="20">
                    <a:moveTo>
                      <a:pt x="1" y="0"/>
                    </a:moveTo>
                    <a:lnTo>
                      <a:pt x="1" y="1"/>
                    </a:lnTo>
                    <a:lnTo>
                      <a:pt x="1" y="0"/>
                    </a:lnTo>
                    <a:lnTo>
                      <a:pt x="3" y="0"/>
                    </a:lnTo>
                    <a:lnTo>
                      <a:pt x="4" y="1"/>
                    </a:lnTo>
                    <a:lnTo>
                      <a:pt x="5" y="1"/>
                    </a:lnTo>
                    <a:lnTo>
                      <a:pt x="10" y="3"/>
                    </a:lnTo>
                    <a:lnTo>
                      <a:pt x="11" y="4"/>
                    </a:lnTo>
                    <a:lnTo>
                      <a:pt x="13" y="6"/>
                    </a:lnTo>
                    <a:lnTo>
                      <a:pt x="14" y="7"/>
                    </a:lnTo>
                    <a:lnTo>
                      <a:pt x="16" y="9"/>
                    </a:lnTo>
                    <a:lnTo>
                      <a:pt x="16" y="10"/>
                    </a:lnTo>
                    <a:lnTo>
                      <a:pt x="17" y="12"/>
                    </a:lnTo>
                    <a:lnTo>
                      <a:pt x="16" y="14"/>
                    </a:lnTo>
                    <a:lnTo>
                      <a:pt x="11" y="13"/>
                    </a:lnTo>
                    <a:lnTo>
                      <a:pt x="10" y="14"/>
                    </a:lnTo>
                    <a:lnTo>
                      <a:pt x="7" y="17"/>
                    </a:lnTo>
                    <a:lnTo>
                      <a:pt x="5" y="19"/>
                    </a:lnTo>
                    <a:lnTo>
                      <a:pt x="4" y="20"/>
                    </a:lnTo>
                    <a:lnTo>
                      <a:pt x="3" y="19"/>
                    </a:lnTo>
                    <a:lnTo>
                      <a:pt x="1" y="16"/>
                    </a:lnTo>
                    <a:lnTo>
                      <a:pt x="0" y="7"/>
                    </a:lnTo>
                    <a:lnTo>
                      <a:pt x="1" y="4"/>
                    </a:lnTo>
                    <a:lnTo>
                      <a:pt x="1" y="3"/>
                    </a:lnTo>
                    <a:lnTo>
                      <a:pt x="1"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03" name="Freeform 1492"/>
              <p:cNvSpPr>
                <a:spLocks/>
              </p:cNvSpPr>
              <p:nvPr/>
            </p:nvSpPr>
            <p:spPr bwMode="auto">
              <a:xfrm>
                <a:off x="4071061" y="2962273"/>
                <a:ext cx="2633" cy="1014"/>
              </a:xfrm>
              <a:custGeom>
                <a:avLst/>
                <a:gdLst/>
                <a:ahLst/>
                <a:cxnLst>
                  <a:cxn ang="0">
                    <a:pos x="0" y="0"/>
                  </a:cxn>
                  <a:cxn ang="0">
                    <a:pos x="0" y="0"/>
                  </a:cxn>
                  <a:cxn ang="0">
                    <a:pos x="2" y="0"/>
                  </a:cxn>
                  <a:cxn ang="0">
                    <a:pos x="3" y="1"/>
                  </a:cxn>
                  <a:cxn ang="0">
                    <a:pos x="2" y="1"/>
                  </a:cxn>
                  <a:cxn ang="0">
                    <a:pos x="2" y="1"/>
                  </a:cxn>
                  <a:cxn ang="0">
                    <a:pos x="0" y="1"/>
                  </a:cxn>
                  <a:cxn ang="0">
                    <a:pos x="0" y="0"/>
                  </a:cxn>
                  <a:cxn ang="0">
                    <a:pos x="0" y="1"/>
                  </a:cxn>
                  <a:cxn ang="0">
                    <a:pos x="0" y="1"/>
                  </a:cxn>
                  <a:cxn ang="0">
                    <a:pos x="0" y="0"/>
                  </a:cxn>
                </a:cxnLst>
                <a:rect l="0" t="0" r="r" b="b"/>
                <a:pathLst>
                  <a:path w="3" h="1">
                    <a:moveTo>
                      <a:pt x="0" y="0"/>
                    </a:moveTo>
                    <a:lnTo>
                      <a:pt x="0" y="0"/>
                    </a:lnTo>
                    <a:lnTo>
                      <a:pt x="2" y="0"/>
                    </a:lnTo>
                    <a:lnTo>
                      <a:pt x="3" y="1"/>
                    </a:lnTo>
                    <a:lnTo>
                      <a:pt x="2" y="1"/>
                    </a:lnTo>
                    <a:lnTo>
                      <a:pt x="2" y="1"/>
                    </a:lnTo>
                    <a:lnTo>
                      <a:pt x="0" y="1"/>
                    </a:lnTo>
                    <a:lnTo>
                      <a:pt x="0" y="0"/>
                    </a:lnTo>
                    <a:lnTo>
                      <a:pt x="0" y="1"/>
                    </a:lnTo>
                    <a:lnTo>
                      <a:pt x="0" y="1"/>
                    </a:lnTo>
                    <a:lnTo>
                      <a:pt x="0"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04" name="Freeform 1493"/>
              <p:cNvSpPr>
                <a:spLocks/>
              </p:cNvSpPr>
              <p:nvPr/>
            </p:nvSpPr>
            <p:spPr bwMode="auto">
              <a:xfrm>
                <a:off x="4071061" y="2962273"/>
                <a:ext cx="2633" cy="1014"/>
              </a:xfrm>
              <a:custGeom>
                <a:avLst/>
                <a:gdLst/>
                <a:ahLst/>
                <a:cxnLst>
                  <a:cxn ang="0">
                    <a:pos x="0" y="0"/>
                  </a:cxn>
                  <a:cxn ang="0">
                    <a:pos x="0" y="0"/>
                  </a:cxn>
                  <a:cxn ang="0">
                    <a:pos x="2" y="0"/>
                  </a:cxn>
                  <a:cxn ang="0">
                    <a:pos x="3" y="1"/>
                  </a:cxn>
                  <a:cxn ang="0">
                    <a:pos x="2" y="1"/>
                  </a:cxn>
                  <a:cxn ang="0">
                    <a:pos x="2" y="1"/>
                  </a:cxn>
                  <a:cxn ang="0">
                    <a:pos x="0" y="1"/>
                  </a:cxn>
                  <a:cxn ang="0">
                    <a:pos x="0" y="0"/>
                  </a:cxn>
                  <a:cxn ang="0">
                    <a:pos x="0" y="1"/>
                  </a:cxn>
                  <a:cxn ang="0">
                    <a:pos x="0" y="1"/>
                  </a:cxn>
                  <a:cxn ang="0">
                    <a:pos x="0" y="0"/>
                  </a:cxn>
                </a:cxnLst>
                <a:rect l="0" t="0" r="r" b="b"/>
                <a:pathLst>
                  <a:path w="3" h="1">
                    <a:moveTo>
                      <a:pt x="0" y="0"/>
                    </a:moveTo>
                    <a:lnTo>
                      <a:pt x="0" y="0"/>
                    </a:lnTo>
                    <a:lnTo>
                      <a:pt x="2" y="0"/>
                    </a:lnTo>
                    <a:lnTo>
                      <a:pt x="3" y="1"/>
                    </a:lnTo>
                    <a:lnTo>
                      <a:pt x="2" y="1"/>
                    </a:lnTo>
                    <a:lnTo>
                      <a:pt x="2" y="1"/>
                    </a:lnTo>
                    <a:lnTo>
                      <a:pt x="0" y="1"/>
                    </a:lnTo>
                    <a:lnTo>
                      <a:pt x="0" y="0"/>
                    </a:lnTo>
                    <a:lnTo>
                      <a:pt x="0" y="1"/>
                    </a:lnTo>
                    <a:lnTo>
                      <a:pt x="0" y="1"/>
                    </a:lnTo>
                    <a:lnTo>
                      <a:pt x="0"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05" name="Freeform 1494"/>
              <p:cNvSpPr>
                <a:spLocks/>
              </p:cNvSpPr>
              <p:nvPr/>
            </p:nvSpPr>
            <p:spPr bwMode="auto">
              <a:xfrm>
                <a:off x="3999081" y="1928871"/>
                <a:ext cx="6144" cy="9128"/>
              </a:xfrm>
              <a:custGeom>
                <a:avLst/>
                <a:gdLst/>
                <a:ahLst/>
                <a:cxnLst>
                  <a:cxn ang="0">
                    <a:pos x="0" y="2"/>
                  </a:cxn>
                  <a:cxn ang="0">
                    <a:pos x="1" y="2"/>
                  </a:cxn>
                  <a:cxn ang="0">
                    <a:pos x="3" y="0"/>
                  </a:cxn>
                  <a:cxn ang="0">
                    <a:pos x="3" y="0"/>
                  </a:cxn>
                  <a:cxn ang="0">
                    <a:pos x="4" y="3"/>
                  </a:cxn>
                  <a:cxn ang="0">
                    <a:pos x="7" y="8"/>
                  </a:cxn>
                  <a:cxn ang="0">
                    <a:pos x="6" y="9"/>
                  </a:cxn>
                  <a:cxn ang="0">
                    <a:pos x="1" y="8"/>
                  </a:cxn>
                  <a:cxn ang="0">
                    <a:pos x="1" y="8"/>
                  </a:cxn>
                  <a:cxn ang="0">
                    <a:pos x="0" y="3"/>
                  </a:cxn>
                  <a:cxn ang="0">
                    <a:pos x="0" y="2"/>
                  </a:cxn>
                  <a:cxn ang="0">
                    <a:pos x="0" y="2"/>
                  </a:cxn>
                </a:cxnLst>
                <a:rect l="0" t="0" r="r" b="b"/>
                <a:pathLst>
                  <a:path w="7" h="9">
                    <a:moveTo>
                      <a:pt x="0" y="2"/>
                    </a:moveTo>
                    <a:lnTo>
                      <a:pt x="1" y="2"/>
                    </a:lnTo>
                    <a:lnTo>
                      <a:pt x="3" y="0"/>
                    </a:lnTo>
                    <a:lnTo>
                      <a:pt x="3" y="0"/>
                    </a:lnTo>
                    <a:lnTo>
                      <a:pt x="4" y="3"/>
                    </a:lnTo>
                    <a:lnTo>
                      <a:pt x="7" y="8"/>
                    </a:lnTo>
                    <a:lnTo>
                      <a:pt x="6" y="9"/>
                    </a:lnTo>
                    <a:lnTo>
                      <a:pt x="1" y="8"/>
                    </a:lnTo>
                    <a:lnTo>
                      <a:pt x="1" y="8"/>
                    </a:lnTo>
                    <a:lnTo>
                      <a:pt x="0" y="3"/>
                    </a:lnTo>
                    <a:lnTo>
                      <a:pt x="0" y="2"/>
                    </a:lnTo>
                    <a:lnTo>
                      <a:pt x="0"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06" name="Freeform 1495"/>
              <p:cNvSpPr>
                <a:spLocks/>
              </p:cNvSpPr>
              <p:nvPr/>
            </p:nvSpPr>
            <p:spPr bwMode="auto">
              <a:xfrm>
                <a:off x="3999081" y="1928871"/>
                <a:ext cx="6144" cy="9128"/>
              </a:xfrm>
              <a:custGeom>
                <a:avLst/>
                <a:gdLst/>
                <a:ahLst/>
                <a:cxnLst>
                  <a:cxn ang="0">
                    <a:pos x="0" y="2"/>
                  </a:cxn>
                  <a:cxn ang="0">
                    <a:pos x="1" y="2"/>
                  </a:cxn>
                  <a:cxn ang="0">
                    <a:pos x="3" y="0"/>
                  </a:cxn>
                  <a:cxn ang="0">
                    <a:pos x="3" y="0"/>
                  </a:cxn>
                  <a:cxn ang="0">
                    <a:pos x="4" y="3"/>
                  </a:cxn>
                  <a:cxn ang="0">
                    <a:pos x="7" y="8"/>
                  </a:cxn>
                  <a:cxn ang="0">
                    <a:pos x="6" y="9"/>
                  </a:cxn>
                  <a:cxn ang="0">
                    <a:pos x="1" y="8"/>
                  </a:cxn>
                  <a:cxn ang="0">
                    <a:pos x="1" y="8"/>
                  </a:cxn>
                  <a:cxn ang="0">
                    <a:pos x="0" y="3"/>
                  </a:cxn>
                  <a:cxn ang="0">
                    <a:pos x="0" y="2"/>
                  </a:cxn>
                  <a:cxn ang="0">
                    <a:pos x="0" y="2"/>
                  </a:cxn>
                </a:cxnLst>
                <a:rect l="0" t="0" r="r" b="b"/>
                <a:pathLst>
                  <a:path w="7" h="9">
                    <a:moveTo>
                      <a:pt x="0" y="2"/>
                    </a:moveTo>
                    <a:lnTo>
                      <a:pt x="1" y="2"/>
                    </a:lnTo>
                    <a:lnTo>
                      <a:pt x="3" y="0"/>
                    </a:lnTo>
                    <a:lnTo>
                      <a:pt x="3" y="0"/>
                    </a:lnTo>
                    <a:lnTo>
                      <a:pt x="4" y="3"/>
                    </a:lnTo>
                    <a:lnTo>
                      <a:pt x="7" y="8"/>
                    </a:lnTo>
                    <a:lnTo>
                      <a:pt x="6" y="9"/>
                    </a:lnTo>
                    <a:lnTo>
                      <a:pt x="1" y="8"/>
                    </a:lnTo>
                    <a:lnTo>
                      <a:pt x="1" y="8"/>
                    </a:lnTo>
                    <a:lnTo>
                      <a:pt x="0" y="3"/>
                    </a:lnTo>
                    <a:lnTo>
                      <a:pt x="0" y="2"/>
                    </a:lnTo>
                    <a:lnTo>
                      <a:pt x="0"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07" name="Freeform 1496"/>
              <p:cNvSpPr>
                <a:spLocks/>
              </p:cNvSpPr>
              <p:nvPr/>
            </p:nvSpPr>
            <p:spPr bwMode="auto">
              <a:xfrm>
                <a:off x="3875311" y="2041440"/>
                <a:ext cx="41257" cy="24339"/>
              </a:xfrm>
              <a:custGeom>
                <a:avLst/>
                <a:gdLst/>
                <a:ahLst/>
                <a:cxnLst>
                  <a:cxn ang="0">
                    <a:pos x="30" y="23"/>
                  </a:cxn>
                  <a:cxn ang="0">
                    <a:pos x="30" y="22"/>
                  </a:cxn>
                  <a:cxn ang="0">
                    <a:pos x="30" y="21"/>
                  </a:cxn>
                  <a:cxn ang="0">
                    <a:pos x="23" y="19"/>
                  </a:cxn>
                  <a:cxn ang="0">
                    <a:pos x="16" y="13"/>
                  </a:cxn>
                  <a:cxn ang="0">
                    <a:pos x="14" y="13"/>
                  </a:cxn>
                  <a:cxn ang="0">
                    <a:pos x="10" y="13"/>
                  </a:cxn>
                  <a:cxn ang="0">
                    <a:pos x="8" y="15"/>
                  </a:cxn>
                  <a:cxn ang="0">
                    <a:pos x="7" y="15"/>
                  </a:cxn>
                  <a:cxn ang="0">
                    <a:pos x="4" y="15"/>
                  </a:cxn>
                  <a:cxn ang="0">
                    <a:pos x="3" y="13"/>
                  </a:cxn>
                  <a:cxn ang="0">
                    <a:pos x="1" y="10"/>
                  </a:cxn>
                  <a:cxn ang="0">
                    <a:pos x="0" y="9"/>
                  </a:cxn>
                  <a:cxn ang="0">
                    <a:pos x="3" y="2"/>
                  </a:cxn>
                  <a:cxn ang="0">
                    <a:pos x="1" y="0"/>
                  </a:cxn>
                  <a:cxn ang="0">
                    <a:pos x="4" y="3"/>
                  </a:cxn>
                  <a:cxn ang="0">
                    <a:pos x="11" y="5"/>
                  </a:cxn>
                  <a:cxn ang="0">
                    <a:pos x="13" y="6"/>
                  </a:cxn>
                  <a:cxn ang="0">
                    <a:pos x="16" y="6"/>
                  </a:cxn>
                  <a:cxn ang="0">
                    <a:pos x="16" y="5"/>
                  </a:cxn>
                  <a:cxn ang="0">
                    <a:pos x="19" y="5"/>
                  </a:cxn>
                  <a:cxn ang="0">
                    <a:pos x="19" y="3"/>
                  </a:cxn>
                  <a:cxn ang="0">
                    <a:pos x="20" y="3"/>
                  </a:cxn>
                  <a:cxn ang="0">
                    <a:pos x="23" y="3"/>
                  </a:cxn>
                  <a:cxn ang="0">
                    <a:pos x="24" y="5"/>
                  </a:cxn>
                  <a:cxn ang="0">
                    <a:pos x="26" y="5"/>
                  </a:cxn>
                  <a:cxn ang="0">
                    <a:pos x="27" y="7"/>
                  </a:cxn>
                  <a:cxn ang="0">
                    <a:pos x="27" y="9"/>
                  </a:cxn>
                  <a:cxn ang="0">
                    <a:pos x="33" y="12"/>
                  </a:cxn>
                  <a:cxn ang="0">
                    <a:pos x="35" y="13"/>
                  </a:cxn>
                  <a:cxn ang="0">
                    <a:pos x="37" y="15"/>
                  </a:cxn>
                  <a:cxn ang="0">
                    <a:pos x="40" y="15"/>
                  </a:cxn>
                  <a:cxn ang="0">
                    <a:pos x="42" y="13"/>
                  </a:cxn>
                  <a:cxn ang="0">
                    <a:pos x="43" y="15"/>
                  </a:cxn>
                  <a:cxn ang="0">
                    <a:pos x="45" y="15"/>
                  </a:cxn>
                  <a:cxn ang="0">
                    <a:pos x="45" y="16"/>
                  </a:cxn>
                  <a:cxn ang="0">
                    <a:pos x="45" y="18"/>
                  </a:cxn>
                  <a:cxn ang="0">
                    <a:pos x="45" y="19"/>
                  </a:cxn>
                  <a:cxn ang="0">
                    <a:pos x="42" y="21"/>
                  </a:cxn>
                  <a:cxn ang="0">
                    <a:pos x="39" y="19"/>
                  </a:cxn>
                  <a:cxn ang="0">
                    <a:pos x="37" y="19"/>
                  </a:cxn>
                  <a:cxn ang="0">
                    <a:pos x="35" y="23"/>
                  </a:cxn>
                  <a:cxn ang="0">
                    <a:pos x="30" y="23"/>
                  </a:cxn>
                </a:cxnLst>
                <a:rect l="0" t="0" r="r" b="b"/>
                <a:pathLst>
                  <a:path w="45" h="23">
                    <a:moveTo>
                      <a:pt x="30" y="23"/>
                    </a:moveTo>
                    <a:lnTo>
                      <a:pt x="30" y="22"/>
                    </a:lnTo>
                    <a:lnTo>
                      <a:pt x="30" y="21"/>
                    </a:lnTo>
                    <a:lnTo>
                      <a:pt x="23" y="19"/>
                    </a:lnTo>
                    <a:lnTo>
                      <a:pt x="16" y="13"/>
                    </a:lnTo>
                    <a:lnTo>
                      <a:pt x="14" y="13"/>
                    </a:lnTo>
                    <a:lnTo>
                      <a:pt x="10" y="13"/>
                    </a:lnTo>
                    <a:lnTo>
                      <a:pt x="8" y="15"/>
                    </a:lnTo>
                    <a:lnTo>
                      <a:pt x="7" y="15"/>
                    </a:lnTo>
                    <a:lnTo>
                      <a:pt x="4" y="15"/>
                    </a:lnTo>
                    <a:lnTo>
                      <a:pt x="3" y="13"/>
                    </a:lnTo>
                    <a:lnTo>
                      <a:pt x="1" y="10"/>
                    </a:lnTo>
                    <a:lnTo>
                      <a:pt x="0" y="9"/>
                    </a:lnTo>
                    <a:lnTo>
                      <a:pt x="3" y="2"/>
                    </a:lnTo>
                    <a:lnTo>
                      <a:pt x="1" y="0"/>
                    </a:lnTo>
                    <a:lnTo>
                      <a:pt x="4" y="3"/>
                    </a:lnTo>
                    <a:lnTo>
                      <a:pt x="11" y="5"/>
                    </a:lnTo>
                    <a:lnTo>
                      <a:pt x="13" y="6"/>
                    </a:lnTo>
                    <a:lnTo>
                      <a:pt x="16" y="6"/>
                    </a:lnTo>
                    <a:lnTo>
                      <a:pt x="16" y="5"/>
                    </a:lnTo>
                    <a:lnTo>
                      <a:pt x="19" y="5"/>
                    </a:lnTo>
                    <a:lnTo>
                      <a:pt x="19" y="3"/>
                    </a:lnTo>
                    <a:lnTo>
                      <a:pt x="20" y="3"/>
                    </a:lnTo>
                    <a:lnTo>
                      <a:pt x="23" y="3"/>
                    </a:lnTo>
                    <a:lnTo>
                      <a:pt x="24" y="5"/>
                    </a:lnTo>
                    <a:lnTo>
                      <a:pt x="26" y="5"/>
                    </a:lnTo>
                    <a:lnTo>
                      <a:pt x="27" y="7"/>
                    </a:lnTo>
                    <a:lnTo>
                      <a:pt x="27" y="9"/>
                    </a:lnTo>
                    <a:lnTo>
                      <a:pt x="33" y="12"/>
                    </a:lnTo>
                    <a:lnTo>
                      <a:pt x="35" y="13"/>
                    </a:lnTo>
                    <a:lnTo>
                      <a:pt x="37" y="15"/>
                    </a:lnTo>
                    <a:lnTo>
                      <a:pt x="40" y="15"/>
                    </a:lnTo>
                    <a:lnTo>
                      <a:pt x="42" y="13"/>
                    </a:lnTo>
                    <a:lnTo>
                      <a:pt x="43" y="15"/>
                    </a:lnTo>
                    <a:lnTo>
                      <a:pt x="45" y="15"/>
                    </a:lnTo>
                    <a:lnTo>
                      <a:pt x="45" y="16"/>
                    </a:lnTo>
                    <a:lnTo>
                      <a:pt x="45" y="18"/>
                    </a:lnTo>
                    <a:lnTo>
                      <a:pt x="45" y="19"/>
                    </a:lnTo>
                    <a:lnTo>
                      <a:pt x="42" y="21"/>
                    </a:lnTo>
                    <a:lnTo>
                      <a:pt x="39" y="19"/>
                    </a:lnTo>
                    <a:lnTo>
                      <a:pt x="37" y="19"/>
                    </a:lnTo>
                    <a:lnTo>
                      <a:pt x="35" y="23"/>
                    </a:lnTo>
                    <a:lnTo>
                      <a:pt x="30" y="2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08" name="Freeform 1497"/>
              <p:cNvSpPr>
                <a:spLocks/>
              </p:cNvSpPr>
              <p:nvPr/>
            </p:nvSpPr>
            <p:spPr bwMode="auto">
              <a:xfrm>
                <a:off x="3875311" y="2041440"/>
                <a:ext cx="41257" cy="24339"/>
              </a:xfrm>
              <a:custGeom>
                <a:avLst/>
                <a:gdLst/>
                <a:ahLst/>
                <a:cxnLst>
                  <a:cxn ang="0">
                    <a:pos x="30" y="23"/>
                  </a:cxn>
                  <a:cxn ang="0">
                    <a:pos x="30" y="22"/>
                  </a:cxn>
                  <a:cxn ang="0">
                    <a:pos x="30" y="21"/>
                  </a:cxn>
                  <a:cxn ang="0">
                    <a:pos x="23" y="19"/>
                  </a:cxn>
                  <a:cxn ang="0">
                    <a:pos x="16" y="13"/>
                  </a:cxn>
                  <a:cxn ang="0">
                    <a:pos x="14" y="13"/>
                  </a:cxn>
                  <a:cxn ang="0">
                    <a:pos x="10" y="13"/>
                  </a:cxn>
                  <a:cxn ang="0">
                    <a:pos x="8" y="15"/>
                  </a:cxn>
                  <a:cxn ang="0">
                    <a:pos x="7" y="15"/>
                  </a:cxn>
                  <a:cxn ang="0">
                    <a:pos x="4" y="15"/>
                  </a:cxn>
                  <a:cxn ang="0">
                    <a:pos x="3" y="13"/>
                  </a:cxn>
                  <a:cxn ang="0">
                    <a:pos x="1" y="10"/>
                  </a:cxn>
                  <a:cxn ang="0">
                    <a:pos x="0" y="9"/>
                  </a:cxn>
                  <a:cxn ang="0">
                    <a:pos x="3" y="2"/>
                  </a:cxn>
                  <a:cxn ang="0">
                    <a:pos x="1" y="0"/>
                  </a:cxn>
                  <a:cxn ang="0">
                    <a:pos x="4" y="3"/>
                  </a:cxn>
                  <a:cxn ang="0">
                    <a:pos x="11" y="5"/>
                  </a:cxn>
                  <a:cxn ang="0">
                    <a:pos x="13" y="6"/>
                  </a:cxn>
                  <a:cxn ang="0">
                    <a:pos x="16" y="6"/>
                  </a:cxn>
                  <a:cxn ang="0">
                    <a:pos x="16" y="5"/>
                  </a:cxn>
                  <a:cxn ang="0">
                    <a:pos x="19" y="5"/>
                  </a:cxn>
                  <a:cxn ang="0">
                    <a:pos x="19" y="3"/>
                  </a:cxn>
                  <a:cxn ang="0">
                    <a:pos x="20" y="3"/>
                  </a:cxn>
                  <a:cxn ang="0">
                    <a:pos x="23" y="3"/>
                  </a:cxn>
                  <a:cxn ang="0">
                    <a:pos x="24" y="5"/>
                  </a:cxn>
                  <a:cxn ang="0">
                    <a:pos x="26" y="5"/>
                  </a:cxn>
                  <a:cxn ang="0">
                    <a:pos x="27" y="7"/>
                  </a:cxn>
                  <a:cxn ang="0">
                    <a:pos x="27" y="9"/>
                  </a:cxn>
                  <a:cxn ang="0">
                    <a:pos x="33" y="12"/>
                  </a:cxn>
                  <a:cxn ang="0">
                    <a:pos x="35" y="13"/>
                  </a:cxn>
                  <a:cxn ang="0">
                    <a:pos x="37" y="15"/>
                  </a:cxn>
                  <a:cxn ang="0">
                    <a:pos x="40" y="15"/>
                  </a:cxn>
                  <a:cxn ang="0">
                    <a:pos x="42" y="13"/>
                  </a:cxn>
                  <a:cxn ang="0">
                    <a:pos x="43" y="15"/>
                  </a:cxn>
                  <a:cxn ang="0">
                    <a:pos x="45" y="15"/>
                  </a:cxn>
                  <a:cxn ang="0">
                    <a:pos x="45" y="16"/>
                  </a:cxn>
                  <a:cxn ang="0">
                    <a:pos x="45" y="18"/>
                  </a:cxn>
                  <a:cxn ang="0">
                    <a:pos x="45" y="19"/>
                  </a:cxn>
                  <a:cxn ang="0">
                    <a:pos x="42" y="21"/>
                  </a:cxn>
                  <a:cxn ang="0">
                    <a:pos x="39" y="19"/>
                  </a:cxn>
                  <a:cxn ang="0">
                    <a:pos x="37" y="19"/>
                  </a:cxn>
                  <a:cxn ang="0">
                    <a:pos x="35" y="23"/>
                  </a:cxn>
                  <a:cxn ang="0">
                    <a:pos x="30" y="23"/>
                  </a:cxn>
                </a:cxnLst>
                <a:rect l="0" t="0" r="r" b="b"/>
                <a:pathLst>
                  <a:path w="45" h="23">
                    <a:moveTo>
                      <a:pt x="30" y="23"/>
                    </a:moveTo>
                    <a:lnTo>
                      <a:pt x="30" y="22"/>
                    </a:lnTo>
                    <a:lnTo>
                      <a:pt x="30" y="21"/>
                    </a:lnTo>
                    <a:lnTo>
                      <a:pt x="23" y="19"/>
                    </a:lnTo>
                    <a:lnTo>
                      <a:pt x="16" y="13"/>
                    </a:lnTo>
                    <a:lnTo>
                      <a:pt x="14" y="13"/>
                    </a:lnTo>
                    <a:lnTo>
                      <a:pt x="10" y="13"/>
                    </a:lnTo>
                    <a:lnTo>
                      <a:pt x="8" y="15"/>
                    </a:lnTo>
                    <a:lnTo>
                      <a:pt x="7" y="15"/>
                    </a:lnTo>
                    <a:lnTo>
                      <a:pt x="4" y="15"/>
                    </a:lnTo>
                    <a:lnTo>
                      <a:pt x="3" y="13"/>
                    </a:lnTo>
                    <a:lnTo>
                      <a:pt x="1" y="10"/>
                    </a:lnTo>
                    <a:lnTo>
                      <a:pt x="0" y="9"/>
                    </a:lnTo>
                    <a:lnTo>
                      <a:pt x="3" y="2"/>
                    </a:lnTo>
                    <a:lnTo>
                      <a:pt x="1" y="0"/>
                    </a:lnTo>
                    <a:lnTo>
                      <a:pt x="4" y="3"/>
                    </a:lnTo>
                    <a:lnTo>
                      <a:pt x="11" y="5"/>
                    </a:lnTo>
                    <a:lnTo>
                      <a:pt x="13" y="6"/>
                    </a:lnTo>
                    <a:lnTo>
                      <a:pt x="16" y="6"/>
                    </a:lnTo>
                    <a:lnTo>
                      <a:pt x="16" y="5"/>
                    </a:lnTo>
                    <a:lnTo>
                      <a:pt x="19" y="5"/>
                    </a:lnTo>
                    <a:lnTo>
                      <a:pt x="19" y="3"/>
                    </a:lnTo>
                    <a:lnTo>
                      <a:pt x="20" y="3"/>
                    </a:lnTo>
                    <a:lnTo>
                      <a:pt x="23" y="3"/>
                    </a:lnTo>
                    <a:lnTo>
                      <a:pt x="24" y="5"/>
                    </a:lnTo>
                    <a:lnTo>
                      <a:pt x="26" y="5"/>
                    </a:lnTo>
                    <a:lnTo>
                      <a:pt x="27" y="7"/>
                    </a:lnTo>
                    <a:lnTo>
                      <a:pt x="27" y="9"/>
                    </a:lnTo>
                    <a:lnTo>
                      <a:pt x="33" y="12"/>
                    </a:lnTo>
                    <a:lnTo>
                      <a:pt x="35" y="13"/>
                    </a:lnTo>
                    <a:lnTo>
                      <a:pt x="37" y="15"/>
                    </a:lnTo>
                    <a:lnTo>
                      <a:pt x="40" y="15"/>
                    </a:lnTo>
                    <a:lnTo>
                      <a:pt x="42" y="13"/>
                    </a:lnTo>
                    <a:lnTo>
                      <a:pt x="43" y="15"/>
                    </a:lnTo>
                    <a:lnTo>
                      <a:pt x="45" y="15"/>
                    </a:lnTo>
                    <a:lnTo>
                      <a:pt x="45" y="16"/>
                    </a:lnTo>
                    <a:lnTo>
                      <a:pt x="45" y="18"/>
                    </a:lnTo>
                    <a:lnTo>
                      <a:pt x="45" y="19"/>
                    </a:lnTo>
                    <a:lnTo>
                      <a:pt x="42" y="21"/>
                    </a:lnTo>
                    <a:lnTo>
                      <a:pt x="39" y="19"/>
                    </a:lnTo>
                    <a:lnTo>
                      <a:pt x="37" y="19"/>
                    </a:lnTo>
                    <a:lnTo>
                      <a:pt x="35" y="23"/>
                    </a:lnTo>
                    <a:lnTo>
                      <a:pt x="30" y="2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09" name="Freeform 1522"/>
              <p:cNvSpPr>
                <a:spLocks/>
              </p:cNvSpPr>
              <p:nvPr/>
            </p:nvSpPr>
            <p:spPr bwMode="auto">
              <a:xfrm>
                <a:off x="3791042" y="2375090"/>
                <a:ext cx="7901" cy="7099"/>
              </a:xfrm>
              <a:custGeom>
                <a:avLst/>
                <a:gdLst/>
                <a:ahLst/>
                <a:cxnLst>
                  <a:cxn ang="0">
                    <a:pos x="0" y="0"/>
                  </a:cxn>
                  <a:cxn ang="0">
                    <a:pos x="0" y="0"/>
                  </a:cxn>
                  <a:cxn ang="0">
                    <a:pos x="0" y="0"/>
                  </a:cxn>
                  <a:cxn ang="0">
                    <a:pos x="3" y="0"/>
                  </a:cxn>
                  <a:cxn ang="0">
                    <a:pos x="5" y="0"/>
                  </a:cxn>
                  <a:cxn ang="0">
                    <a:pos x="5" y="1"/>
                  </a:cxn>
                  <a:cxn ang="0">
                    <a:pos x="9" y="1"/>
                  </a:cxn>
                  <a:cxn ang="0">
                    <a:pos x="7" y="3"/>
                  </a:cxn>
                  <a:cxn ang="0">
                    <a:pos x="6" y="3"/>
                  </a:cxn>
                  <a:cxn ang="0">
                    <a:pos x="6" y="6"/>
                  </a:cxn>
                  <a:cxn ang="0">
                    <a:pos x="6" y="7"/>
                  </a:cxn>
                  <a:cxn ang="0">
                    <a:pos x="3" y="6"/>
                  </a:cxn>
                  <a:cxn ang="0">
                    <a:pos x="3" y="3"/>
                  </a:cxn>
                  <a:cxn ang="0">
                    <a:pos x="2" y="1"/>
                  </a:cxn>
                  <a:cxn ang="0">
                    <a:pos x="0" y="1"/>
                  </a:cxn>
                  <a:cxn ang="0">
                    <a:pos x="0" y="0"/>
                  </a:cxn>
                </a:cxnLst>
                <a:rect l="0" t="0" r="r" b="b"/>
                <a:pathLst>
                  <a:path w="9" h="7">
                    <a:moveTo>
                      <a:pt x="0" y="0"/>
                    </a:moveTo>
                    <a:lnTo>
                      <a:pt x="0" y="0"/>
                    </a:lnTo>
                    <a:lnTo>
                      <a:pt x="0" y="0"/>
                    </a:lnTo>
                    <a:lnTo>
                      <a:pt x="3" y="0"/>
                    </a:lnTo>
                    <a:lnTo>
                      <a:pt x="5" y="0"/>
                    </a:lnTo>
                    <a:lnTo>
                      <a:pt x="5" y="1"/>
                    </a:lnTo>
                    <a:lnTo>
                      <a:pt x="9" y="1"/>
                    </a:lnTo>
                    <a:lnTo>
                      <a:pt x="7" y="3"/>
                    </a:lnTo>
                    <a:lnTo>
                      <a:pt x="6" y="3"/>
                    </a:lnTo>
                    <a:lnTo>
                      <a:pt x="6" y="6"/>
                    </a:lnTo>
                    <a:lnTo>
                      <a:pt x="6" y="7"/>
                    </a:lnTo>
                    <a:lnTo>
                      <a:pt x="3" y="6"/>
                    </a:lnTo>
                    <a:lnTo>
                      <a:pt x="3" y="3"/>
                    </a:lnTo>
                    <a:lnTo>
                      <a:pt x="2" y="1"/>
                    </a:lnTo>
                    <a:lnTo>
                      <a:pt x="0" y="1"/>
                    </a:lnTo>
                    <a:lnTo>
                      <a:pt x="0"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10" name="Freeform 1523"/>
              <p:cNvSpPr>
                <a:spLocks/>
              </p:cNvSpPr>
              <p:nvPr/>
            </p:nvSpPr>
            <p:spPr bwMode="auto">
              <a:xfrm>
                <a:off x="3791042" y="2375090"/>
                <a:ext cx="7901" cy="7099"/>
              </a:xfrm>
              <a:custGeom>
                <a:avLst/>
                <a:gdLst/>
                <a:ahLst/>
                <a:cxnLst>
                  <a:cxn ang="0">
                    <a:pos x="0" y="0"/>
                  </a:cxn>
                  <a:cxn ang="0">
                    <a:pos x="0" y="0"/>
                  </a:cxn>
                  <a:cxn ang="0">
                    <a:pos x="0" y="0"/>
                  </a:cxn>
                  <a:cxn ang="0">
                    <a:pos x="3" y="0"/>
                  </a:cxn>
                  <a:cxn ang="0">
                    <a:pos x="5" y="0"/>
                  </a:cxn>
                  <a:cxn ang="0">
                    <a:pos x="5" y="1"/>
                  </a:cxn>
                  <a:cxn ang="0">
                    <a:pos x="9" y="1"/>
                  </a:cxn>
                  <a:cxn ang="0">
                    <a:pos x="7" y="3"/>
                  </a:cxn>
                  <a:cxn ang="0">
                    <a:pos x="6" y="3"/>
                  </a:cxn>
                  <a:cxn ang="0">
                    <a:pos x="6" y="6"/>
                  </a:cxn>
                  <a:cxn ang="0">
                    <a:pos x="6" y="7"/>
                  </a:cxn>
                  <a:cxn ang="0">
                    <a:pos x="3" y="6"/>
                  </a:cxn>
                  <a:cxn ang="0">
                    <a:pos x="3" y="3"/>
                  </a:cxn>
                  <a:cxn ang="0">
                    <a:pos x="2" y="1"/>
                  </a:cxn>
                  <a:cxn ang="0">
                    <a:pos x="0" y="1"/>
                  </a:cxn>
                  <a:cxn ang="0">
                    <a:pos x="0" y="0"/>
                  </a:cxn>
                </a:cxnLst>
                <a:rect l="0" t="0" r="r" b="b"/>
                <a:pathLst>
                  <a:path w="9" h="7">
                    <a:moveTo>
                      <a:pt x="0" y="0"/>
                    </a:moveTo>
                    <a:lnTo>
                      <a:pt x="0" y="0"/>
                    </a:lnTo>
                    <a:lnTo>
                      <a:pt x="0" y="0"/>
                    </a:lnTo>
                    <a:lnTo>
                      <a:pt x="3" y="0"/>
                    </a:lnTo>
                    <a:lnTo>
                      <a:pt x="5" y="0"/>
                    </a:lnTo>
                    <a:lnTo>
                      <a:pt x="5" y="1"/>
                    </a:lnTo>
                    <a:lnTo>
                      <a:pt x="9" y="1"/>
                    </a:lnTo>
                    <a:lnTo>
                      <a:pt x="7" y="3"/>
                    </a:lnTo>
                    <a:lnTo>
                      <a:pt x="6" y="3"/>
                    </a:lnTo>
                    <a:lnTo>
                      <a:pt x="6" y="6"/>
                    </a:lnTo>
                    <a:lnTo>
                      <a:pt x="6" y="7"/>
                    </a:lnTo>
                    <a:lnTo>
                      <a:pt x="3" y="6"/>
                    </a:lnTo>
                    <a:lnTo>
                      <a:pt x="3" y="3"/>
                    </a:lnTo>
                    <a:lnTo>
                      <a:pt x="2" y="1"/>
                    </a:lnTo>
                    <a:lnTo>
                      <a:pt x="0" y="1"/>
                    </a:lnTo>
                    <a:lnTo>
                      <a:pt x="0"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11" name="Freeform 1524"/>
              <p:cNvSpPr>
                <a:spLocks/>
              </p:cNvSpPr>
              <p:nvPr/>
            </p:nvSpPr>
            <p:spPr bwMode="auto">
              <a:xfrm>
                <a:off x="3798943" y="2375090"/>
                <a:ext cx="8778" cy="6085"/>
              </a:xfrm>
              <a:custGeom>
                <a:avLst/>
                <a:gdLst/>
                <a:ahLst/>
                <a:cxnLst>
                  <a:cxn ang="0">
                    <a:pos x="0" y="6"/>
                  </a:cxn>
                  <a:cxn ang="0">
                    <a:pos x="0" y="4"/>
                  </a:cxn>
                  <a:cxn ang="0">
                    <a:pos x="6" y="3"/>
                  </a:cxn>
                  <a:cxn ang="0">
                    <a:pos x="7" y="0"/>
                  </a:cxn>
                  <a:cxn ang="0">
                    <a:pos x="9" y="0"/>
                  </a:cxn>
                  <a:cxn ang="0">
                    <a:pos x="7" y="1"/>
                  </a:cxn>
                  <a:cxn ang="0">
                    <a:pos x="6" y="4"/>
                  </a:cxn>
                  <a:cxn ang="0">
                    <a:pos x="0" y="6"/>
                  </a:cxn>
                </a:cxnLst>
                <a:rect l="0" t="0" r="r" b="b"/>
                <a:pathLst>
                  <a:path w="9" h="6">
                    <a:moveTo>
                      <a:pt x="0" y="6"/>
                    </a:moveTo>
                    <a:lnTo>
                      <a:pt x="0" y="4"/>
                    </a:lnTo>
                    <a:lnTo>
                      <a:pt x="6" y="3"/>
                    </a:lnTo>
                    <a:lnTo>
                      <a:pt x="7" y="0"/>
                    </a:lnTo>
                    <a:lnTo>
                      <a:pt x="9" y="0"/>
                    </a:lnTo>
                    <a:lnTo>
                      <a:pt x="7" y="1"/>
                    </a:lnTo>
                    <a:lnTo>
                      <a:pt x="6" y="4"/>
                    </a:lnTo>
                    <a:lnTo>
                      <a:pt x="0" y="6"/>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12" name="Freeform 1525"/>
              <p:cNvSpPr>
                <a:spLocks/>
              </p:cNvSpPr>
              <p:nvPr/>
            </p:nvSpPr>
            <p:spPr bwMode="auto">
              <a:xfrm>
                <a:off x="3798943" y="2375090"/>
                <a:ext cx="8778" cy="6085"/>
              </a:xfrm>
              <a:custGeom>
                <a:avLst/>
                <a:gdLst/>
                <a:ahLst/>
                <a:cxnLst>
                  <a:cxn ang="0">
                    <a:pos x="0" y="6"/>
                  </a:cxn>
                  <a:cxn ang="0">
                    <a:pos x="0" y="4"/>
                  </a:cxn>
                  <a:cxn ang="0">
                    <a:pos x="6" y="3"/>
                  </a:cxn>
                  <a:cxn ang="0">
                    <a:pos x="7" y="0"/>
                  </a:cxn>
                  <a:cxn ang="0">
                    <a:pos x="9" y="0"/>
                  </a:cxn>
                  <a:cxn ang="0">
                    <a:pos x="7" y="1"/>
                  </a:cxn>
                  <a:cxn ang="0">
                    <a:pos x="6" y="4"/>
                  </a:cxn>
                  <a:cxn ang="0">
                    <a:pos x="0" y="6"/>
                  </a:cxn>
                </a:cxnLst>
                <a:rect l="0" t="0" r="r" b="b"/>
                <a:pathLst>
                  <a:path w="9" h="6">
                    <a:moveTo>
                      <a:pt x="0" y="6"/>
                    </a:moveTo>
                    <a:lnTo>
                      <a:pt x="0" y="4"/>
                    </a:lnTo>
                    <a:lnTo>
                      <a:pt x="6" y="3"/>
                    </a:lnTo>
                    <a:lnTo>
                      <a:pt x="7" y="0"/>
                    </a:lnTo>
                    <a:lnTo>
                      <a:pt x="9" y="0"/>
                    </a:lnTo>
                    <a:lnTo>
                      <a:pt x="7" y="1"/>
                    </a:lnTo>
                    <a:lnTo>
                      <a:pt x="6" y="4"/>
                    </a:lnTo>
                    <a:lnTo>
                      <a:pt x="0" y="6"/>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13" name="Freeform 1526"/>
              <p:cNvSpPr>
                <a:spLocks/>
              </p:cNvSpPr>
              <p:nvPr/>
            </p:nvSpPr>
            <p:spPr bwMode="auto">
              <a:xfrm>
                <a:off x="3808598" y="2373061"/>
                <a:ext cx="7901" cy="9128"/>
              </a:xfrm>
              <a:custGeom>
                <a:avLst/>
                <a:gdLst/>
                <a:ahLst/>
                <a:cxnLst>
                  <a:cxn ang="0">
                    <a:pos x="0" y="5"/>
                  </a:cxn>
                  <a:cxn ang="0">
                    <a:pos x="3" y="5"/>
                  </a:cxn>
                  <a:cxn ang="0">
                    <a:pos x="3" y="3"/>
                  </a:cxn>
                  <a:cxn ang="0">
                    <a:pos x="2" y="2"/>
                  </a:cxn>
                  <a:cxn ang="0">
                    <a:pos x="4" y="0"/>
                  </a:cxn>
                  <a:cxn ang="0">
                    <a:pos x="4" y="0"/>
                  </a:cxn>
                  <a:cxn ang="0">
                    <a:pos x="4" y="3"/>
                  </a:cxn>
                  <a:cxn ang="0">
                    <a:pos x="6" y="3"/>
                  </a:cxn>
                  <a:cxn ang="0">
                    <a:pos x="7" y="3"/>
                  </a:cxn>
                  <a:cxn ang="0">
                    <a:pos x="9" y="5"/>
                  </a:cxn>
                  <a:cxn ang="0">
                    <a:pos x="4" y="8"/>
                  </a:cxn>
                  <a:cxn ang="0">
                    <a:pos x="3" y="8"/>
                  </a:cxn>
                  <a:cxn ang="0">
                    <a:pos x="2" y="9"/>
                  </a:cxn>
                  <a:cxn ang="0">
                    <a:pos x="2" y="8"/>
                  </a:cxn>
                  <a:cxn ang="0">
                    <a:pos x="2" y="8"/>
                  </a:cxn>
                  <a:cxn ang="0">
                    <a:pos x="0" y="5"/>
                  </a:cxn>
                </a:cxnLst>
                <a:rect l="0" t="0" r="r" b="b"/>
                <a:pathLst>
                  <a:path w="9" h="9">
                    <a:moveTo>
                      <a:pt x="0" y="5"/>
                    </a:moveTo>
                    <a:lnTo>
                      <a:pt x="3" y="5"/>
                    </a:lnTo>
                    <a:lnTo>
                      <a:pt x="3" y="3"/>
                    </a:lnTo>
                    <a:lnTo>
                      <a:pt x="2" y="2"/>
                    </a:lnTo>
                    <a:lnTo>
                      <a:pt x="4" y="0"/>
                    </a:lnTo>
                    <a:lnTo>
                      <a:pt x="4" y="0"/>
                    </a:lnTo>
                    <a:lnTo>
                      <a:pt x="4" y="3"/>
                    </a:lnTo>
                    <a:lnTo>
                      <a:pt x="6" y="3"/>
                    </a:lnTo>
                    <a:lnTo>
                      <a:pt x="7" y="3"/>
                    </a:lnTo>
                    <a:lnTo>
                      <a:pt x="9" y="5"/>
                    </a:lnTo>
                    <a:lnTo>
                      <a:pt x="4" y="8"/>
                    </a:lnTo>
                    <a:lnTo>
                      <a:pt x="3" y="8"/>
                    </a:lnTo>
                    <a:lnTo>
                      <a:pt x="2" y="9"/>
                    </a:lnTo>
                    <a:lnTo>
                      <a:pt x="2" y="8"/>
                    </a:lnTo>
                    <a:lnTo>
                      <a:pt x="2" y="8"/>
                    </a:lnTo>
                    <a:lnTo>
                      <a:pt x="0" y="5"/>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14" name="Freeform 1527"/>
              <p:cNvSpPr>
                <a:spLocks/>
              </p:cNvSpPr>
              <p:nvPr/>
            </p:nvSpPr>
            <p:spPr bwMode="auto">
              <a:xfrm>
                <a:off x="3808598" y="2373061"/>
                <a:ext cx="7901" cy="9128"/>
              </a:xfrm>
              <a:custGeom>
                <a:avLst/>
                <a:gdLst/>
                <a:ahLst/>
                <a:cxnLst>
                  <a:cxn ang="0">
                    <a:pos x="0" y="5"/>
                  </a:cxn>
                  <a:cxn ang="0">
                    <a:pos x="3" y="5"/>
                  </a:cxn>
                  <a:cxn ang="0">
                    <a:pos x="3" y="3"/>
                  </a:cxn>
                  <a:cxn ang="0">
                    <a:pos x="2" y="2"/>
                  </a:cxn>
                  <a:cxn ang="0">
                    <a:pos x="4" y="0"/>
                  </a:cxn>
                  <a:cxn ang="0">
                    <a:pos x="4" y="0"/>
                  </a:cxn>
                  <a:cxn ang="0">
                    <a:pos x="4" y="3"/>
                  </a:cxn>
                  <a:cxn ang="0">
                    <a:pos x="6" y="3"/>
                  </a:cxn>
                  <a:cxn ang="0">
                    <a:pos x="7" y="3"/>
                  </a:cxn>
                  <a:cxn ang="0">
                    <a:pos x="9" y="5"/>
                  </a:cxn>
                  <a:cxn ang="0">
                    <a:pos x="4" y="8"/>
                  </a:cxn>
                  <a:cxn ang="0">
                    <a:pos x="3" y="8"/>
                  </a:cxn>
                  <a:cxn ang="0">
                    <a:pos x="2" y="9"/>
                  </a:cxn>
                  <a:cxn ang="0">
                    <a:pos x="2" y="8"/>
                  </a:cxn>
                  <a:cxn ang="0">
                    <a:pos x="2" y="8"/>
                  </a:cxn>
                  <a:cxn ang="0">
                    <a:pos x="0" y="5"/>
                  </a:cxn>
                </a:cxnLst>
                <a:rect l="0" t="0" r="r" b="b"/>
                <a:pathLst>
                  <a:path w="9" h="9">
                    <a:moveTo>
                      <a:pt x="0" y="5"/>
                    </a:moveTo>
                    <a:lnTo>
                      <a:pt x="3" y="5"/>
                    </a:lnTo>
                    <a:lnTo>
                      <a:pt x="3" y="3"/>
                    </a:lnTo>
                    <a:lnTo>
                      <a:pt x="2" y="2"/>
                    </a:lnTo>
                    <a:lnTo>
                      <a:pt x="4" y="0"/>
                    </a:lnTo>
                    <a:lnTo>
                      <a:pt x="4" y="0"/>
                    </a:lnTo>
                    <a:lnTo>
                      <a:pt x="4" y="3"/>
                    </a:lnTo>
                    <a:lnTo>
                      <a:pt x="6" y="3"/>
                    </a:lnTo>
                    <a:lnTo>
                      <a:pt x="7" y="3"/>
                    </a:lnTo>
                    <a:lnTo>
                      <a:pt x="9" y="5"/>
                    </a:lnTo>
                    <a:lnTo>
                      <a:pt x="4" y="8"/>
                    </a:lnTo>
                    <a:lnTo>
                      <a:pt x="3" y="8"/>
                    </a:lnTo>
                    <a:lnTo>
                      <a:pt x="2" y="9"/>
                    </a:lnTo>
                    <a:lnTo>
                      <a:pt x="2" y="8"/>
                    </a:lnTo>
                    <a:lnTo>
                      <a:pt x="2" y="8"/>
                    </a:lnTo>
                    <a:lnTo>
                      <a:pt x="0" y="5"/>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15" name="Freeform 1528"/>
              <p:cNvSpPr>
                <a:spLocks/>
              </p:cNvSpPr>
              <p:nvPr/>
            </p:nvSpPr>
            <p:spPr bwMode="auto">
              <a:xfrm>
                <a:off x="3837566" y="2362920"/>
                <a:ext cx="8778" cy="9128"/>
              </a:xfrm>
              <a:custGeom>
                <a:avLst/>
                <a:gdLst/>
                <a:ahLst/>
                <a:cxnLst>
                  <a:cxn ang="0">
                    <a:pos x="6" y="2"/>
                  </a:cxn>
                  <a:cxn ang="0">
                    <a:pos x="4" y="2"/>
                  </a:cxn>
                  <a:cxn ang="0">
                    <a:pos x="7" y="0"/>
                  </a:cxn>
                  <a:cxn ang="0">
                    <a:pos x="9" y="2"/>
                  </a:cxn>
                  <a:cxn ang="0">
                    <a:pos x="9" y="5"/>
                  </a:cxn>
                  <a:cxn ang="0">
                    <a:pos x="7" y="5"/>
                  </a:cxn>
                  <a:cxn ang="0">
                    <a:pos x="7" y="8"/>
                  </a:cxn>
                  <a:cxn ang="0">
                    <a:pos x="6" y="8"/>
                  </a:cxn>
                  <a:cxn ang="0">
                    <a:pos x="4" y="8"/>
                  </a:cxn>
                  <a:cxn ang="0">
                    <a:pos x="4" y="9"/>
                  </a:cxn>
                  <a:cxn ang="0">
                    <a:pos x="1" y="9"/>
                  </a:cxn>
                  <a:cxn ang="0">
                    <a:pos x="0" y="8"/>
                  </a:cxn>
                  <a:cxn ang="0">
                    <a:pos x="0" y="8"/>
                  </a:cxn>
                  <a:cxn ang="0">
                    <a:pos x="4" y="5"/>
                  </a:cxn>
                  <a:cxn ang="0">
                    <a:pos x="6" y="3"/>
                  </a:cxn>
                  <a:cxn ang="0">
                    <a:pos x="6" y="2"/>
                  </a:cxn>
                </a:cxnLst>
                <a:rect l="0" t="0" r="r" b="b"/>
                <a:pathLst>
                  <a:path w="9" h="9">
                    <a:moveTo>
                      <a:pt x="6" y="2"/>
                    </a:moveTo>
                    <a:lnTo>
                      <a:pt x="4" y="2"/>
                    </a:lnTo>
                    <a:lnTo>
                      <a:pt x="7" y="0"/>
                    </a:lnTo>
                    <a:lnTo>
                      <a:pt x="9" y="2"/>
                    </a:lnTo>
                    <a:lnTo>
                      <a:pt x="9" y="5"/>
                    </a:lnTo>
                    <a:lnTo>
                      <a:pt x="7" y="5"/>
                    </a:lnTo>
                    <a:lnTo>
                      <a:pt x="7" y="8"/>
                    </a:lnTo>
                    <a:lnTo>
                      <a:pt x="6" y="8"/>
                    </a:lnTo>
                    <a:lnTo>
                      <a:pt x="4" y="8"/>
                    </a:lnTo>
                    <a:lnTo>
                      <a:pt x="4" y="9"/>
                    </a:lnTo>
                    <a:lnTo>
                      <a:pt x="1" y="9"/>
                    </a:lnTo>
                    <a:lnTo>
                      <a:pt x="0" y="8"/>
                    </a:lnTo>
                    <a:lnTo>
                      <a:pt x="0" y="8"/>
                    </a:lnTo>
                    <a:lnTo>
                      <a:pt x="4" y="5"/>
                    </a:lnTo>
                    <a:lnTo>
                      <a:pt x="6" y="3"/>
                    </a:lnTo>
                    <a:lnTo>
                      <a:pt x="6" y="2"/>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16" name="Freeform 1529"/>
              <p:cNvSpPr>
                <a:spLocks/>
              </p:cNvSpPr>
              <p:nvPr/>
            </p:nvSpPr>
            <p:spPr bwMode="auto">
              <a:xfrm>
                <a:off x="3837566" y="2362920"/>
                <a:ext cx="8778" cy="9128"/>
              </a:xfrm>
              <a:custGeom>
                <a:avLst/>
                <a:gdLst/>
                <a:ahLst/>
                <a:cxnLst>
                  <a:cxn ang="0">
                    <a:pos x="6" y="2"/>
                  </a:cxn>
                  <a:cxn ang="0">
                    <a:pos x="4" y="2"/>
                  </a:cxn>
                  <a:cxn ang="0">
                    <a:pos x="7" y="0"/>
                  </a:cxn>
                  <a:cxn ang="0">
                    <a:pos x="9" y="2"/>
                  </a:cxn>
                  <a:cxn ang="0">
                    <a:pos x="9" y="5"/>
                  </a:cxn>
                  <a:cxn ang="0">
                    <a:pos x="7" y="5"/>
                  </a:cxn>
                  <a:cxn ang="0">
                    <a:pos x="7" y="8"/>
                  </a:cxn>
                  <a:cxn ang="0">
                    <a:pos x="6" y="8"/>
                  </a:cxn>
                  <a:cxn ang="0">
                    <a:pos x="4" y="8"/>
                  </a:cxn>
                  <a:cxn ang="0">
                    <a:pos x="4" y="9"/>
                  </a:cxn>
                  <a:cxn ang="0">
                    <a:pos x="1" y="9"/>
                  </a:cxn>
                  <a:cxn ang="0">
                    <a:pos x="0" y="8"/>
                  </a:cxn>
                  <a:cxn ang="0">
                    <a:pos x="0" y="8"/>
                  </a:cxn>
                  <a:cxn ang="0">
                    <a:pos x="4" y="5"/>
                  </a:cxn>
                  <a:cxn ang="0">
                    <a:pos x="6" y="3"/>
                  </a:cxn>
                  <a:cxn ang="0">
                    <a:pos x="6" y="2"/>
                  </a:cxn>
                </a:cxnLst>
                <a:rect l="0" t="0" r="r" b="b"/>
                <a:pathLst>
                  <a:path w="9" h="9">
                    <a:moveTo>
                      <a:pt x="6" y="2"/>
                    </a:moveTo>
                    <a:lnTo>
                      <a:pt x="4" y="2"/>
                    </a:lnTo>
                    <a:lnTo>
                      <a:pt x="7" y="0"/>
                    </a:lnTo>
                    <a:lnTo>
                      <a:pt x="9" y="2"/>
                    </a:lnTo>
                    <a:lnTo>
                      <a:pt x="9" y="5"/>
                    </a:lnTo>
                    <a:lnTo>
                      <a:pt x="7" y="5"/>
                    </a:lnTo>
                    <a:lnTo>
                      <a:pt x="7" y="8"/>
                    </a:lnTo>
                    <a:lnTo>
                      <a:pt x="6" y="8"/>
                    </a:lnTo>
                    <a:lnTo>
                      <a:pt x="4" y="8"/>
                    </a:lnTo>
                    <a:lnTo>
                      <a:pt x="4" y="9"/>
                    </a:lnTo>
                    <a:lnTo>
                      <a:pt x="1" y="9"/>
                    </a:lnTo>
                    <a:lnTo>
                      <a:pt x="0" y="8"/>
                    </a:lnTo>
                    <a:lnTo>
                      <a:pt x="0" y="8"/>
                    </a:lnTo>
                    <a:lnTo>
                      <a:pt x="4" y="5"/>
                    </a:lnTo>
                    <a:lnTo>
                      <a:pt x="6" y="3"/>
                    </a:lnTo>
                    <a:lnTo>
                      <a:pt x="6" y="2"/>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17" name="Freeform 1530"/>
              <p:cNvSpPr>
                <a:spLocks/>
              </p:cNvSpPr>
              <p:nvPr/>
            </p:nvSpPr>
            <p:spPr bwMode="auto">
              <a:xfrm>
                <a:off x="3847221" y="2369005"/>
                <a:ext cx="11412" cy="3043"/>
              </a:xfrm>
              <a:custGeom>
                <a:avLst/>
                <a:gdLst/>
                <a:ahLst/>
                <a:cxnLst>
                  <a:cxn ang="0">
                    <a:pos x="0" y="0"/>
                  </a:cxn>
                  <a:cxn ang="0">
                    <a:pos x="5" y="0"/>
                  </a:cxn>
                  <a:cxn ang="0">
                    <a:pos x="9" y="2"/>
                  </a:cxn>
                  <a:cxn ang="0">
                    <a:pos x="12" y="2"/>
                  </a:cxn>
                  <a:cxn ang="0">
                    <a:pos x="13" y="2"/>
                  </a:cxn>
                  <a:cxn ang="0">
                    <a:pos x="13" y="3"/>
                  </a:cxn>
                  <a:cxn ang="0">
                    <a:pos x="12" y="3"/>
                  </a:cxn>
                  <a:cxn ang="0">
                    <a:pos x="2" y="3"/>
                  </a:cxn>
                  <a:cxn ang="0">
                    <a:pos x="0" y="0"/>
                  </a:cxn>
                </a:cxnLst>
                <a:rect l="0" t="0" r="r" b="b"/>
                <a:pathLst>
                  <a:path w="13" h="3">
                    <a:moveTo>
                      <a:pt x="0" y="0"/>
                    </a:moveTo>
                    <a:lnTo>
                      <a:pt x="5" y="0"/>
                    </a:lnTo>
                    <a:lnTo>
                      <a:pt x="9" y="2"/>
                    </a:lnTo>
                    <a:lnTo>
                      <a:pt x="12" y="2"/>
                    </a:lnTo>
                    <a:lnTo>
                      <a:pt x="13" y="2"/>
                    </a:lnTo>
                    <a:lnTo>
                      <a:pt x="13" y="3"/>
                    </a:lnTo>
                    <a:lnTo>
                      <a:pt x="12" y="3"/>
                    </a:lnTo>
                    <a:lnTo>
                      <a:pt x="2" y="3"/>
                    </a:lnTo>
                    <a:lnTo>
                      <a:pt x="0"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18" name="Freeform 1531"/>
              <p:cNvSpPr>
                <a:spLocks/>
              </p:cNvSpPr>
              <p:nvPr/>
            </p:nvSpPr>
            <p:spPr bwMode="auto">
              <a:xfrm>
                <a:off x="3847221" y="2369005"/>
                <a:ext cx="11412" cy="3043"/>
              </a:xfrm>
              <a:custGeom>
                <a:avLst/>
                <a:gdLst/>
                <a:ahLst/>
                <a:cxnLst>
                  <a:cxn ang="0">
                    <a:pos x="0" y="0"/>
                  </a:cxn>
                  <a:cxn ang="0">
                    <a:pos x="5" y="0"/>
                  </a:cxn>
                  <a:cxn ang="0">
                    <a:pos x="9" y="2"/>
                  </a:cxn>
                  <a:cxn ang="0">
                    <a:pos x="12" y="2"/>
                  </a:cxn>
                  <a:cxn ang="0">
                    <a:pos x="13" y="2"/>
                  </a:cxn>
                  <a:cxn ang="0">
                    <a:pos x="13" y="3"/>
                  </a:cxn>
                  <a:cxn ang="0">
                    <a:pos x="12" y="3"/>
                  </a:cxn>
                  <a:cxn ang="0">
                    <a:pos x="2" y="3"/>
                  </a:cxn>
                  <a:cxn ang="0">
                    <a:pos x="0" y="0"/>
                  </a:cxn>
                </a:cxnLst>
                <a:rect l="0" t="0" r="r" b="b"/>
                <a:pathLst>
                  <a:path w="13" h="3">
                    <a:moveTo>
                      <a:pt x="0" y="0"/>
                    </a:moveTo>
                    <a:lnTo>
                      <a:pt x="5" y="0"/>
                    </a:lnTo>
                    <a:lnTo>
                      <a:pt x="9" y="2"/>
                    </a:lnTo>
                    <a:lnTo>
                      <a:pt x="12" y="2"/>
                    </a:lnTo>
                    <a:lnTo>
                      <a:pt x="13" y="2"/>
                    </a:lnTo>
                    <a:lnTo>
                      <a:pt x="13" y="3"/>
                    </a:lnTo>
                    <a:lnTo>
                      <a:pt x="12" y="3"/>
                    </a:lnTo>
                    <a:lnTo>
                      <a:pt x="2" y="3"/>
                    </a:lnTo>
                    <a:lnTo>
                      <a:pt x="0"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19" name="Freeform 1532"/>
              <p:cNvSpPr>
                <a:spLocks/>
              </p:cNvSpPr>
              <p:nvPr/>
            </p:nvSpPr>
            <p:spPr bwMode="auto">
              <a:xfrm>
                <a:off x="3864777" y="2362920"/>
                <a:ext cx="3511" cy="3043"/>
              </a:xfrm>
              <a:custGeom>
                <a:avLst/>
                <a:gdLst/>
                <a:ahLst/>
                <a:cxnLst>
                  <a:cxn ang="0">
                    <a:pos x="2" y="0"/>
                  </a:cxn>
                  <a:cxn ang="0">
                    <a:pos x="3" y="2"/>
                  </a:cxn>
                  <a:cxn ang="0">
                    <a:pos x="4" y="2"/>
                  </a:cxn>
                  <a:cxn ang="0">
                    <a:pos x="4" y="3"/>
                  </a:cxn>
                  <a:cxn ang="0">
                    <a:pos x="3" y="3"/>
                  </a:cxn>
                  <a:cxn ang="0">
                    <a:pos x="0" y="3"/>
                  </a:cxn>
                  <a:cxn ang="0">
                    <a:pos x="0" y="2"/>
                  </a:cxn>
                  <a:cxn ang="0">
                    <a:pos x="2" y="0"/>
                  </a:cxn>
                  <a:cxn ang="0">
                    <a:pos x="0" y="2"/>
                  </a:cxn>
                  <a:cxn ang="0">
                    <a:pos x="2" y="0"/>
                  </a:cxn>
                </a:cxnLst>
                <a:rect l="0" t="0" r="r" b="b"/>
                <a:pathLst>
                  <a:path w="4" h="3">
                    <a:moveTo>
                      <a:pt x="2" y="0"/>
                    </a:moveTo>
                    <a:lnTo>
                      <a:pt x="3" y="2"/>
                    </a:lnTo>
                    <a:lnTo>
                      <a:pt x="4" y="2"/>
                    </a:lnTo>
                    <a:lnTo>
                      <a:pt x="4" y="3"/>
                    </a:lnTo>
                    <a:lnTo>
                      <a:pt x="3" y="3"/>
                    </a:lnTo>
                    <a:lnTo>
                      <a:pt x="0" y="3"/>
                    </a:lnTo>
                    <a:lnTo>
                      <a:pt x="0" y="2"/>
                    </a:lnTo>
                    <a:lnTo>
                      <a:pt x="2" y="0"/>
                    </a:lnTo>
                    <a:lnTo>
                      <a:pt x="0" y="2"/>
                    </a:lnTo>
                    <a:lnTo>
                      <a:pt x="2"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20" name="Freeform 1533"/>
              <p:cNvSpPr>
                <a:spLocks/>
              </p:cNvSpPr>
              <p:nvPr/>
            </p:nvSpPr>
            <p:spPr bwMode="auto">
              <a:xfrm>
                <a:off x="3864777" y="2362920"/>
                <a:ext cx="3511" cy="3043"/>
              </a:xfrm>
              <a:custGeom>
                <a:avLst/>
                <a:gdLst/>
                <a:ahLst/>
                <a:cxnLst>
                  <a:cxn ang="0">
                    <a:pos x="2" y="0"/>
                  </a:cxn>
                  <a:cxn ang="0">
                    <a:pos x="3" y="2"/>
                  </a:cxn>
                  <a:cxn ang="0">
                    <a:pos x="4" y="2"/>
                  </a:cxn>
                  <a:cxn ang="0">
                    <a:pos x="4" y="3"/>
                  </a:cxn>
                  <a:cxn ang="0">
                    <a:pos x="3" y="3"/>
                  </a:cxn>
                  <a:cxn ang="0">
                    <a:pos x="0" y="3"/>
                  </a:cxn>
                  <a:cxn ang="0">
                    <a:pos x="0" y="2"/>
                  </a:cxn>
                  <a:cxn ang="0">
                    <a:pos x="2" y="0"/>
                  </a:cxn>
                  <a:cxn ang="0">
                    <a:pos x="0" y="2"/>
                  </a:cxn>
                  <a:cxn ang="0">
                    <a:pos x="2" y="0"/>
                  </a:cxn>
                </a:cxnLst>
                <a:rect l="0" t="0" r="r" b="b"/>
                <a:pathLst>
                  <a:path w="4" h="3">
                    <a:moveTo>
                      <a:pt x="2" y="0"/>
                    </a:moveTo>
                    <a:lnTo>
                      <a:pt x="3" y="2"/>
                    </a:lnTo>
                    <a:lnTo>
                      <a:pt x="4" y="2"/>
                    </a:lnTo>
                    <a:lnTo>
                      <a:pt x="4" y="3"/>
                    </a:lnTo>
                    <a:lnTo>
                      <a:pt x="3" y="3"/>
                    </a:lnTo>
                    <a:lnTo>
                      <a:pt x="0" y="3"/>
                    </a:lnTo>
                    <a:lnTo>
                      <a:pt x="0" y="2"/>
                    </a:lnTo>
                    <a:lnTo>
                      <a:pt x="2" y="0"/>
                    </a:lnTo>
                    <a:lnTo>
                      <a:pt x="0" y="2"/>
                    </a:lnTo>
                    <a:lnTo>
                      <a:pt x="2"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21" name="Freeform 1534"/>
              <p:cNvSpPr>
                <a:spLocks/>
              </p:cNvSpPr>
              <p:nvPr/>
            </p:nvSpPr>
            <p:spPr bwMode="auto">
              <a:xfrm>
                <a:off x="3909546" y="2335539"/>
                <a:ext cx="16678" cy="19268"/>
              </a:xfrm>
              <a:custGeom>
                <a:avLst/>
                <a:gdLst/>
                <a:ahLst/>
                <a:cxnLst>
                  <a:cxn ang="0">
                    <a:pos x="0" y="18"/>
                  </a:cxn>
                  <a:cxn ang="0">
                    <a:pos x="0" y="16"/>
                  </a:cxn>
                  <a:cxn ang="0">
                    <a:pos x="2" y="15"/>
                  </a:cxn>
                  <a:cxn ang="0">
                    <a:pos x="6" y="6"/>
                  </a:cxn>
                  <a:cxn ang="0">
                    <a:pos x="8" y="6"/>
                  </a:cxn>
                  <a:cxn ang="0">
                    <a:pos x="11" y="4"/>
                  </a:cxn>
                  <a:cxn ang="0">
                    <a:pos x="12" y="2"/>
                  </a:cxn>
                  <a:cxn ang="0">
                    <a:pos x="16" y="0"/>
                  </a:cxn>
                  <a:cxn ang="0">
                    <a:pos x="18" y="0"/>
                  </a:cxn>
                  <a:cxn ang="0">
                    <a:pos x="18" y="2"/>
                  </a:cxn>
                  <a:cxn ang="0">
                    <a:pos x="18" y="4"/>
                  </a:cxn>
                  <a:cxn ang="0">
                    <a:pos x="13" y="6"/>
                  </a:cxn>
                  <a:cxn ang="0">
                    <a:pos x="3" y="16"/>
                  </a:cxn>
                  <a:cxn ang="0">
                    <a:pos x="2" y="16"/>
                  </a:cxn>
                  <a:cxn ang="0">
                    <a:pos x="0" y="18"/>
                  </a:cxn>
                  <a:cxn ang="0">
                    <a:pos x="0" y="18"/>
                  </a:cxn>
                </a:cxnLst>
                <a:rect l="0" t="0" r="r" b="b"/>
                <a:pathLst>
                  <a:path w="18" h="18">
                    <a:moveTo>
                      <a:pt x="0" y="18"/>
                    </a:moveTo>
                    <a:lnTo>
                      <a:pt x="0" y="16"/>
                    </a:lnTo>
                    <a:lnTo>
                      <a:pt x="2" y="15"/>
                    </a:lnTo>
                    <a:lnTo>
                      <a:pt x="6" y="6"/>
                    </a:lnTo>
                    <a:lnTo>
                      <a:pt x="8" y="6"/>
                    </a:lnTo>
                    <a:lnTo>
                      <a:pt x="11" y="4"/>
                    </a:lnTo>
                    <a:lnTo>
                      <a:pt x="12" y="2"/>
                    </a:lnTo>
                    <a:lnTo>
                      <a:pt x="16" y="0"/>
                    </a:lnTo>
                    <a:lnTo>
                      <a:pt x="18" y="0"/>
                    </a:lnTo>
                    <a:lnTo>
                      <a:pt x="18" y="2"/>
                    </a:lnTo>
                    <a:lnTo>
                      <a:pt x="18" y="4"/>
                    </a:lnTo>
                    <a:lnTo>
                      <a:pt x="13" y="6"/>
                    </a:lnTo>
                    <a:lnTo>
                      <a:pt x="3" y="16"/>
                    </a:lnTo>
                    <a:lnTo>
                      <a:pt x="2" y="16"/>
                    </a:lnTo>
                    <a:lnTo>
                      <a:pt x="0" y="18"/>
                    </a:lnTo>
                    <a:lnTo>
                      <a:pt x="0" y="18"/>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22" name="Freeform 1535"/>
              <p:cNvSpPr>
                <a:spLocks/>
              </p:cNvSpPr>
              <p:nvPr/>
            </p:nvSpPr>
            <p:spPr bwMode="auto">
              <a:xfrm>
                <a:off x="3909546" y="2335539"/>
                <a:ext cx="16678" cy="19268"/>
              </a:xfrm>
              <a:custGeom>
                <a:avLst/>
                <a:gdLst/>
                <a:ahLst/>
                <a:cxnLst>
                  <a:cxn ang="0">
                    <a:pos x="0" y="18"/>
                  </a:cxn>
                  <a:cxn ang="0">
                    <a:pos x="0" y="16"/>
                  </a:cxn>
                  <a:cxn ang="0">
                    <a:pos x="2" y="15"/>
                  </a:cxn>
                  <a:cxn ang="0">
                    <a:pos x="6" y="6"/>
                  </a:cxn>
                  <a:cxn ang="0">
                    <a:pos x="8" y="6"/>
                  </a:cxn>
                  <a:cxn ang="0">
                    <a:pos x="11" y="4"/>
                  </a:cxn>
                  <a:cxn ang="0">
                    <a:pos x="12" y="2"/>
                  </a:cxn>
                  <a:cxn ang="0">
                    <a:pos x="16" y="0"/>
                  </a:cxn>
                  <a:cxn ang="0">
                    <a:pos x="18" y="0"/>
                  </a:cxn>
                  <a:cxn ang="0">
                    <a:pos x="18" y="2"/>
                  </a:cxn>
                  <a:cxn ang="0">
                    <a:pos x="18" y="4"/>
                  </a:cxn>
                  <a:cxn ang="0">
                    <a:pos x="13" y="6"/>
                  </a:cxn>
                  <a:cxn ang="0">
                    <a:pos x="3" y="16"/>
                  </a:cxn>
                  <a:cxn ang="0">
                    <a:pos x="2" y="16"/>
                  </a:cxn>
                  <a:cxn ang="0">
                    <a:pos x="0" y="18"/>
                  </a:cxn>
                  <a:cxn ang="0">
                    <a:pos x="0" y="18"/>
                  </a:cxn>
                </a:cxnLst>
                <a:rect l="0" t="0" r="r" b="b"/>
                <a:pathLst>
                  <a:path w="18" h="18">
                    <a:moveTo>
                      <a:pt x="0" y="18"/>
                    </a:moveTo>
                    <a:lnTo>
                      <a:pt x="0" y="16"/>
                    </a:lnTo>
                    <a:lnTo>
                      <a:pt x="2" y="15"/>
                    </a:lnTo>
                    <a:lnTo>
                      <a:pt x="6" y="6"/>
                    </a:lnTo>
                    <a:lnTo>
                      <a:pt x="8" y="6"/>
                    </a:lnTo>
                    <a:lnTo>
                      <a:pt x="11" y="4"/>
                    </a:lnTo>
                    <a:lnTo>
                      <a:pt x="12" y="2"/>
                    </a:lnTo>
                    <a:lnTo>
                      <a:pt x="16" y="0"/>
                    </a:lnTo>
                    <a:lnTo>
                      <a:pt x="18" y="0"/>
                    </a:lnTo>
                    <a:lnTo>
                      <a:pt x="18" y="2"/>
                    </a:lnTo>
                    <a:lnTo>
                      <a:pt x="18" y="4"/>
                    </a:lnTo>
                    <a:lnTo>
                      <a:pt x="13" y="6"/>
                    </a:lnTo>
                    <a:lnTo>
                      <a:pt x="3" y="16"/>
                    </a:lnTo>
                    <a:lnTo>
                      <a:pt x="2" y="16"/>
                    </a:lnTo>
                    <a:lnTo>
                      <a:pt x="0" y="18"/>
                    </a:lnTo>
                    <a:lnTo>
                      <a:pt x="0" y="18"/>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23" name="Freeform 1536"/>
              <p:cNvSpPr>
                <a:spLocks/>
              </p:cNvSpPr>
              <p:nvPr/>
            </p:nvSpPr>
            <p:spPr bwMode="auto">
              <a:xfrm>
                <a:off x="3928857" y="2324383"/>
                <a:ext cx="18433" cy="17240"/>
              </a:xfrm>
              <a:custGeom>
                <a:avLst/>
                <a:gdLst/>
                <a:ahLst/>
                <a:cxnLst>
                  <a:cxn ang="0">
                    <a:pos x="1" y="17"/>
                  </a:cxn>
                  <a:cxn ang="0">
                    <a:pos x="0" y="15"/>
                  </a:cxn>
                  <a:cxn ang="0">
                    <a:pos x="0" y="15"/>
                  </a:cxn>
                  <a:cxn ang="0">
                    <a:pos x="6" y="13"/>
                  </a:cxn>
                  <a:cxn ang="0">
                    <a:pos x="7" y="11"/>
                  </a:cxn>
                  <a:cxn ang="0">
                    <a:pos x="8" y="10"/>
                  </a:cxn>
                  <a:cxn ang="0">
                    <a:pos x="10" y="7"/>
                  </a:cxn>
                  <a:cxn ang="0">
                    <a:pos x="11" y="8"/>
                  </a:cxn>
                  <a:cxn ang="0">
                    <a:pos x="13" y="7"/>
                  </a:cxn>
                  <a:cxn ang="0">
                    <a:pos x="11" y="5"/>
                  </a:cxn>
                  <a:cxn ang="0">
                    <a:pos x="10" y="5"/>
                  </a:cxn>
                  <a:cxn ang="0">
                    <a:pos x="8" y="2"/>
                  </a:cxn>
                  <a:cxn ang="0">
                    <a:pos x="8" y="1"/>
                  </a:cxn>
                  <a:cxn ang="0">
                    <a:pos x="11" y="1"/>
                  </a:cxn>
                  <a:cxn ang="0">
                    <a:pos x="13" y="0"/>
                  </a:cxn>
                  <a:cxn ang="0">
                    <a:pos x="14" y="1"/>
                  </a:cxn>
                  <a:cxn ang="0">
                    <a:pos x="16" y="2"/>
                  </a:cxn>
                  <a:cxn ang="0">
                    <a:pos x="19" y="0"/>
                  </a:cxn>
                  <a:cxn ang="0">
                    <a:pos x="19" y="0"/>
                  </a:cxn>
                  <a:cxn ang="0">
                    <a:pos x="20" y="1"/>
                  </a:cxn>
                  <a:cxn ang="0">
                    <a:pos x="19" y="2"/>
                  </a:cxn>
                  <a:cxn ang="0">
                    <a:pos x="17" y="5"/>
                  </a:cxn>
                  <a:cxn ang="0">
                    <a:pos x="17" y="7"/>
                  </a:cxn>
                  <a:cxn ang="0">
                    <a:pos x="19" y="5"/>
                  </a:cxn>
                  <a:cxn ang="0">
                    <a:pos x="19" y="8"/>
                  </a:cxn>
                  <a:cxn ang="0">
                    <a:pos x="17" y="10"/>
                  </a:cxn>
                  <a:cxn ang="0">
                    <a:pos x="14" y="11"/>
                  </a:cxn>
                  <a:cxn ang="0">
                    <a:pos x="13" y="13"/>
                  </a:cxn>
                  <a:cxn ang="0">
                    <a:pos x="10" y="13"/>
                  </a:cxn>
                  <a:cxn ang="0">
                    <a:pos x="7" y="15"/>
                  </a:cxn>
                  <a:cxn ang="0">
                    <a:pos x="1" y="17"/>
                  </a:cxn>
                </a:cxnLst>
                <a:rect l="0" t="0" r="r" b="b"/>
                <a:pathLst>
                  <a:path w="20" h="17">
                    <a:moveTo>
                      <a:pt x="1" y="17"/>
                    </a:moveTo>
                    <a:lnTo>
                      <a:pt x="0" y="15"/>
                    </a:lnTo>
                    <a:lnTo>
                      <a:pt x="0" y="15"/>
                    </a:lnTo>
                    <a:lnTo>
                      <a:pt x="6" y="13"/>
                    </a:lnTo>
                    <a:lnTo>
                      <a:pt x="7" y="11"/>
                    </a:lnTo>
                    <a:lnTo>
                      <a:pt x="8" y="10"/>
                    </a:lnTo>
                    <a:lnTo>
                      <a:pt x="10" y="7"/>
                    </a:lnTo>
                    <a:lnTo>
                      <a:pt x="11" y="8"/>
                    </a:lnTo>
                    <a:lnTo>
                      <a:pt x="13" y="7"/>
                    </a:lnTo>
                    <a:lnTo>
                      <a:pt x="11" y="5"/>
                    </a:lnTo>
                    <a:lnTo>
                      <a:pt x="10" y="5"/>
                    </a:lnTo>
                    <a:lnTo>
                      <a:pt x="8" y="2"/>
                    </a:lnTo>
                    <a:lnTo>
                      <a:pt x="8" y="1"/>
                    </a:lnTo>
                    <a:lnTo>
                      <a:pt x="11" y="1"/>
                    </a:lnTo>
                    <a:lnTo>
                      <a:pt x="13" y="0"/>
                    </a:lnTo>
                    <a:lnTo>
                      <a:pt x="14" y="1"/>
                    </a:lnTo>
                    <a:lnTo>
                      <a:pt x="16" y="2"/>
                    </a:lnTo>
                    <a:lnTo>
                      <a:pt x="19" y="0"/>
                    </a:lnTo>
                    <a:lnTo>
                      <a:pt x="19" y="0"/>
                    </a:lnTo>
                    <a:lnTo>
                      <a:pt x="20" y="1"/>
                    </a:lnTo>
                    <a:lnTo>
                      <a:pt x="19" y="2"/>
                    </a:lnTo>
                    <a:lnTo>
                      <a:pt x="17" y="5"/>
                    </a:lnTo>
                    <a:lnTo>
                      <a:pt x="17" y="7"/>
                    </a:lnTo>
                    <a:lnTo>
                      <a:pt x="19" y="5"/>
                    </a:lnTo>
                    <a:lnTo>
                      <a:pt x="19" y="8"/>
                    </a:lnTo>
                    <a:lnTo>
                      <a:pt x="17" y="10"/>
                    </a:lnTo>
                    <a:lnTo>
                      <a:pt x="14" y="11"/>
                    </a:lnTo>
                    <a:lnTo>
                      <a:pt x="13" y="13"/>
                    </a:lnTo>
                    <a:lnTo>
                      <a:pt x="10" y="13"/>
                    </a:lnTo>
                    <a:lnTo>
                      <a:pt x="7" y="15"/>
                    </a:lnTo>
                    <a:lnTo>
                      <a:pt x="1" y="17"/>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24" name="Freeform 1537"/>
              <p:cNvSpPr>
                <a:spLocks/>
              </p:cNvSpPr>
              <p:nvPr/>
            </p:nvSpPr>
            <p:spPr bwMode="auto">
              <a:xfrm>
                <a:off x="3928857" y="2324383"/>
                <a:ext cx="18433" cy="17240"/>
              </a:xfrm>
              <a:custGeom>
                <a:avLst/>
                <a:gdLst/>
                <a:ahLst/>
                <a:cxnLst>
                  <a:cxn ang="0">
                    <a:pos x="1" y="17"/>
                  </a:cxn>
                  <a:cxn ang="0">
                    <a:pos x="0" y="15"/>
                  </a:cxn>
                  <a:cxn ang="0">
                    <a:pos x="0" y="15"/>
                  </a:cxn>
                  <a:cxn ang="0">
                    <a:pos x="6" y="13"/>
                  </a:cxn>
                  <a:cxn ang="0">
                    <a:pos x="7" y="11"/>
                  </a:cxn>
                  <a:cxn ang="0">
                    <a:pos x="8" y="10"/>
                  </a:cxn>
                  <a:cxn ang="0">
                    <a:pos x="10" y="7"/>
                  </a:cxn>
                  <a:cxn ang="0">
                    <a:pos x="11" y="8"/>
                  </a:cxn>
                  <a:cxn ang="0">
                    <a:pos x="13" y="7"/>
                  </a:cxn>
                  <a:cxn ang="0">
                    <a:pos x="11" y="5"/>
                  </a:cxn>
                  <a:cxn ang="0">
                    <a:pos x="10" y="5"/>
                  </a:cxn>
                  <a:cxn ang="0">
                    <a:pos x="8" y="2"/>
                  </a:cxn>
                  <a:cxn ang="0">
                    <a:pos x="8" y="1"/>
                  </a:cxn>
                  <a:cxn ang="0">
                    <a:pos x="11" y="1"/>
                  </a:cxn>
                  <a:cxn ang="0">
                    <a:pos x="13" y="0"/>
                  </a:cxn>
                  <a:cxn ang="0">
                    <a:pos x="14" y="1"/>
                  </a:cxn>
                  <a:cxn ang="0">
                    <a:pos x="16" y="2"/>
                  </a:cxn>
                  <a:cxn ang="0">
                    <a:pos x="19" y="0"/>
                  </a:cxn>
                  <a:cxn ang="0">
                    <a:pos x="19" y="0"/>
                  </a:cxn>
                  <a:cxn ang="0">
                    <a:pos x="20" y="1"/>
                  </a:cxn>
                  <a:cxn ang="0">
                    <a:pos x="19" y="2"/>
                  </a:cxn>
                  <a:cxn ang="0">
                    <a:pos x="17" y="5"/>
                  </a:cxn>
                  <a:cxn ang="0">
                    <a:pos x="17" y="7"/>
                  </a:cxn>
                  <a:cxn ang="0">
                    <a:pos x="19" y="5"/>
                  </a:cxn>
                  <a:cxn ang="0">
                    <a:pos x="19" y="8"/>
                  </a:cxn>
                  <a:cxn ang="0">
                    <a:pos x="17" y="10"/>
                  </a:cxn>
                  <a:cxn ang="0">
                    <a:pos x="14" y="11"/>
                  </a:cxn>
                  <a:cxn ang="0">
                    <a:pos x="13" y="13"/>
                  </a:cxn>
                  <a:cxn ang="0">
                    <a:pos x="10" y="13"/>
                  </a:cxn>
                  <a:cxn ang="0">
                    <a:pos x="7" y="15"/>
                  </a:cxn>
                  <a:cxn ang="0">
                    <a:pos x="1" y="17"/>
                  </a:cxn>
                </a:cxnLst>
                <a:rect l="0" t="0" r="r" b="b"/>
                <a:pathLst>
                  <a:path w="20" h="17">
                    <a:moveTo>
                      <a:pt x="1" y="17"/>
                    </a:moveTo>
                    <a:lnTo>
                      <a:pt x="0" y="15"/>
                    </a:lnTo>
                    <a:lnTo>
                      <a:pt x="0" y="15"/>
                    </a:lnTo>
                    <a:lnTo>
                      <a:pt x="6" y="13"/>
                    </a:lnTo>
                    <a:lnTo>
                      <a:pt x="7" y="11"/>
                    </a:lnTo>
                    <a:lnTo>
                      <a:pt x="8" y="10"/>
                    </a:lnTo>
                    <a:lnTo>
                      <a:pt x="10" y="7"/>
                    </a:lnTo>
                    <a:lnTo>
                      <a:pt x="11" y="8"/>
                    </a:lnTo>
                    <a:lnTo>
                      <a:pt x="13" y="7"/>
                    </a:lnTo>
                    <a:lnTo>
                      <a:pt x="11" y="5"/>
                    </a:lnTo>
                    <a:lnTo>
                      <a:pt x="10" y="5"/>
                    </a:lnTo>
                    <a:lnTo>
                      <a:pt x="8" y="2"/>
                    </a:lnTo>
                    <a:lnTo>
                      <a:pt x="8" y="1"/>
                    </a:lnTo>
                    <a:lnTo>
                      <a:pt x="11" y="1"/>
                    </a:lnTo>
                    <a:lnTo>
                      <a:pt x="13" y="0"/>
                    </a:lnTo>
                    <a:lnTo>
                      <a:pt x="14" y="1"/>
                    </a:lnTo>
                    <a:lnTo>
                      <a:pt x="16" y="2"/>
                    </a:lnTo>
                    <a:lnTo>
                      <a:pt x="19" y="0"/>
                    </a:lnTo>
                    <a:lnTo>
                      <a:pt x="19" y="0"/>
                    </a:lnTo>
                    <a:lnTo>
                      <a:pt x="20" y="1"/>
                    </a:lnTo>
                    <a:lnTo>
                      <a:pt x="19" y="2"/>
                    </a:lnTo>
                    <a:lnTo>
                      <a:pt x="17" y="5"/>
                    </a:lnTo>
                    <a:lnTo>
                      <a:pt x="17" y="7"/>
                    </a:lnTo>
                    <a:lnTo>
                      <a:pt x="19" y="5"/>
                    </a:lnTo>
                    <a:lnTo>
                      <a:pt x="19" y="8"/>
                    </a:lnTo>
                    <a:lnTo>
                      <a:pt x="17" y="10"/>
                    </a:lnTo>
                    <a:lnTo>
                      <a:pt x="14" y="11"/>
                    </a:lnTo>
                    <a:lnTo>
                      <a:pt x="13" y="13"/>
                    </a:lnTo>
                    <a:lnTo>
                      <a:pt x="10" y="13"/>
                    </a:lnTo>
                    <a:lnTo>
                      <a:pt x="7" y="15"/>
                    </a:lnTo>
                    <a:lnTo>
                      <a:pt x="1" y="17"/>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25" name="Freeform 1538"/>
              <p:cNvSpPr>
                <a:spLocks/>
              </p:cNvSpPr>
              <p:nvPr/>
            </p:nvSpPr>
            <p:spPr bwMode="auto">
              <a:xfrm>
                <a:off x="3949924" y="2318298"/>
                <a:ext cx="5267" cy="4056"/>
              </a:xfrm>
              <a:custGeom>
                <a:avLst/>
                <a:gdLst/>
                <a:ahLst/>
                <a:cxnLst>
                  <a:cxn ang="0">
                    <a:pos x="1" y="0"/>
                  </a:cxn>
                  <a:cxn ang="0">
                    <a:pos x="3" y="0"/>
                  </a:cxn>
                  <a:cxn ang="0">
                    <a:pos x="4" y="1"/>
                  </a:cxn>
                  <a:cxn ang="0">
                    <a:pos x="6" y="3"/>
                  </a:cxn>
                  <a:cxn ang="0">
                    <a:pos x="3" y="4"/>
                  </a:cxn>
                  <a:cxn ang="0">
                    <a:pos x="1" y="4"/>
                  </a:cxn>
                  <a:cxn ang="0">
                    <a:pos x="0" y="3"/>
                  </a:cxn>
                  <a:cxn ang="0">
                    <a:pos x="0" y="0"/>
                  </a:cxn>
                  <a:cxn ang="0">
                    <a:pos x="1" y="0"/>
                  </a:cxn>
                </a:cxnLst>
                <a:rect l="0" t="0" r="r" b="b"/>
                <a:pathLst>
                  <a:path w="6" h="4">
                    <a:moveTo>
                      <a:pt x="1" y="0"/>
                    </a:moveTo>
                    <a:lnTo>
                      <a:pt x="3" y="0"/>
                    </a:lnTo>
                    <a:lnTo>
                      <a:pt x="4" y="1"/>
                    </a:lnTo>
                    <a:lnTo>
                      <a:pt x="6" y="3"/>
                    </a:lnTo>
                    <a:lnTo>
                      <a:pt x="3" y="4"/>
                    </a:lnTo>
                    <a:lnTo>
                      <a:pt x="1" y="4"/>
                    </a:lnTo>
                    <a:lnTo>
                      <a:pt x="0" y="3"/>
                    </a:lnTo>
                    <a:lnTo>
                      <a:pt x="0" y="0"/>
                    </a:lnTo>
                    <a:lnTo>
                      <a:pt x="1"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26" name="Freeform 1539"/>
              <p:cNvSpPr>
                <a:spLocks/>
              </p:cNvSpPr>
              <p:nvPr/>
            </p:nvSpPr>
            <p:spPr bwMode="auto">
              <a:xfrm>
                <a:off x="3949924" y="2318298"/>
                <a:ext cx="5267" cy="4056"/>
              </a:xfrm>
              <a:custGeom>
                <a:avLst/>
                <a:gdLst/>
                <a:ahLst/>
                <a:cxnLst>
                  <a:cxn ang="0">
                    <a:pos x="1" y="0"/>
                  </a:cxn>
                  <a:cxn ang="0">
                    <a:pos x="3" y="0"/>
                  </a:cxn>
                  <a:cxn ang="0">
                    <a:pos x="4" y="1"/>
                  </a:cxn>
                  <a:cxn ang="0">
                    <a:pos x="6" y="3"/>
                  </a:cxn>
                  <a:cxn ang="0">
                    <a:pos x="3" y="4"/>
                  </a:cxn>
                  <a:cxn ang="0">
                    <a:pos x="1" y="4"/>
                  </a:cxn>
                  <a:cxn ang="0">
                    <a:pos x="0" y="3"/>
                  </a:cxn>
                  <a:cxn ang="0">
                    <a:pos x="0" y="0"/>
                  </a:cxn>
                  <a:cxn ang="0">
                    <a:pos x="1" y="0"/>
                  </a:cxn>
                </a:cxnLst>
                <a:rect l="0" t="0" r="r" b="b"/>
                <a:pathLst>
                  <a:path w="6" h="4">
                    <a:moveTo>
                      <a:pt x="1" y="0"/>
                    </a:moveTo>
                    <a:lnTo>
                      <a:pt x="3" y="0"/>
                    </a:lnTo>
                    <a:lnTo>
                      <a:pt x="4" y="1"/>
                    </a:lnTo>
                    <a:lnTo>
                      <a:pt x="6" y="3"/>
                    </a:lnTo>
                    <a:lnTo>
                      <a:pt x="3" y="4"/>
                    </a:lnTo>
                    <a:lnTo>
                      <a:pt x="1" y="4"/>
                    </a:lnTo>
                    <a:lnTo>
                      <a:pt x="0" y="3"/>
                    </a:lnTo>
                    <a:lnTo>
                      <a:pt x="0" y="0"/>
                    </a:lnTo>
                    <a:lnTo>
                      <a:pt x="1"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27" name="Freeform 1540"/>
              <p:cNvSpPr>
                <a:spLocks/>
              </p:cNvSpPr>
              <p:nvPr/>
            </p:nvSpPr>
            <p:spPr bwMode="auto">
              <a:xfrm>
                <a:off x="3965725" y="2295988"/>
                <a:ext cx="22823" cy="19269"/>
              </a:xfrm>
              <a:custGeom>
                <a:avLst/>
                <a:gdLst/>
                <a:ahLst/>
                <a:cxnLst>
                  <a:cxn ang="0">
                    <a:pos x="0" y="12"/>
                  </a:cxn>
                  <a:cxn ang="0">
                    <a:pos x="5" y="6"/>
                  </a:cxn>
                  <a:cxn ang="0">
                    <a:pos x="6" y="3"/>
                  </a:cxn>
                  <a:cxn ang="0">
                    <a:pos x="11" y="3"/>
                  </a:cxn>
                  <a:cxn ang="0">
                    <a:pos x="13" y="3"/>
                  </a:cxn>
                  <a:cxn ang="0">
                    <a:pos x="18" y="0"/>
                  </a:cxn>
                  <a:cxn ang="0">
                    <a:pos x="19" y="0"/>
                  </a:cxn>
                  <a:cxn ang="0">
                    <a:pos x="21" y="6"/>
                  </a:cxn>
                  <a:cxn ang="0">
                    <a:pos x="24" y="8"/>
                  </a:cxn>
                  <a:cxn ang="0">
                    <a:pos x="25" y="8"/>
                  </a:cxn>
                  <a:cxn ang="0">
                    <a:pos x="25" y="8"/>
                  </a:cxn>
                  <a:cxn ang="0">
                    <a:pos x="25" y="9"/>
                  </a:cxn>
                  <a:cxn ang="0">
                    <a:pos x="25" y="9"/>
                  </a:cxn>
                  <a:cxn ang="0">
                    <a:pos x="24" y="9"/>
                  </a:cxn>
                  <a:cxn ang="0">
                    <a:pos x="21" y="11"/>
                  </a:cxn>
                  <a:cxn ang="0">
                    <a:pos x="18" y="11"/>
                  </a:cxn>
                  <a:cxn ang="0">
                    <a:pos x="12" y="11"/>
                  </a:cxn>
                  <a:cxn ang="0">
                    <a:pos x="5" y="18"/>
                  </a:cxn>
                  <a:cxn ang="0">
                    <a:pos x="2" y="15"/>
                  </a:cxn>
                  <a:cxn ang="0">
                    <a:pos x="0" y="12"/>
                  </a:cxn>
                </a:cxnLst>
                <a:rect l="0" t="0" r="r" b="b"/>
                <a:pathLst>
                  <a:path w="25" h="18">
                    <a:moveTo>
                      <a:pt x="0" y="12"/>
                    </a:moveTo>
                    <a:lnTo>
                      <a:pt x="5" y="6"/>
                    </a:lnTo>
                    <a:lnTo>
                      <a:pt x="6" y="3"/>
                    </a:lnTo>
                    <a:lnTo>
                      <a:pt x="11" y="3"/>
                    </a:lnTo>
                    <a:lnTo>
                      <a:pt x="13" y="3"/>
                    </a:lnTo>
                    <a:lnTo>
                      <a:pt x="18" y="0"/>
                    </a:lnTo>
                    <a:lnTo>
                      <a:pt x="19" y="0"/>
                    </a:lnTo>
                    <a:lnTo>
                      <a:pt x="21" y="6"/>
                    </a:lnTo>
                    <a:lnTo>
                      <a:pt x="24" y="8"/>
                    </a:lnTo>
                    <a:lnTo>
                      <a:pt x="25" y="8"/>
                    </a:lnTo>
                    <a:lnTo>
                      <a:pt x="25" y="8"/>
                    </a:lnTo>
                    <a:lnTo>
                      <a:pt x="25" y="9"/>
                    </a:lnTo>
                    <a:lnTo>
                      <a:pt x="25" y="9"/>
                    </a:lnTo>
                    <a:lnTo>
                      <a:pt x="24" y="9"/>
                    </a:lnTo>
                    <a:lnTo>
                      <a:pt x="21" y="11"/>
                    </a:lnTo>
                    <a:lnTo>
                      <a:pt x="18" y="11"/>
                    </a:lnTo>
                    <a:lnTo>
                      <a:pt x="12" y="11"/>
                    </a:lnTo>
                    <a:lnTo>
                      <a:pt x="5" y="18"/>
                    </a:lnTo>
                    <a:lnTo>
                      <a:pt x="2" y="15"/>
                    </a:lnTo>
                    <a:lnTo>
                      <a:pt x="0" y="12"/>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28" name="Freeform 1541"/>
              <p:cNvSpPr>
                <a:spLocks/>
              </p:cNvSpPr>
              <p:nvPr/>
            </p:nvSpPr>
            <p:spPr bwMode="auto">
              <a:xfrm>
                <a:off x="3965725" y="2295988"/>
                <a:ext cx="22823" cy="19269"/>
              </a:xfrm>
              <a:custGeom>
                <a:avLst/>
                <a:gdLst/>
                <a:ahLst/>
                <a:cxnLst>
                  <a:cxn ang="0">
                    <a:pos x="0" y="12"/>
                  </a:cxn>
                  <a:cxn ang="0">
                    <a:pos x="5" y="6"/>
                  </a:cxn>
                  <a:cxn ang="0">
                    <a:pos x="6" y="3"/>
                  </a:cxn>
                  <a:cxn ang="0">
                    <a:pos x="11" y="3"/>
                  </a:cxn>
                  <a:cxn ang="0">
                    <a:pos x="13" y="3"/>
                  </a:cxn>
                  <a:cxn ang="0">
                    <a:pos x="18" y="0"/>
                  </a:cxn>
                  <a:cxn ang="0">
                    <a:pos x="19" y="0"/>
                  </a:cxn>
                  <a:cxn ang="0">
                    <a:pos x="21" y="6"/>
                  </a:cxn>
                  <a:cxn ang="0">
                    <a:pos x="24" y="8"/>
                  </a:cxn>
                  <a:cxn ang="0">
                    <a:pos x="25" y="8"/>
                  </a:cxn>
                  <a:cxn ang="0">
                    <a:pos x="25" y="8"/>
                  </a:cxn>
                  <a:cxn ang="0">
                    <a:pos x="25" y="9"/>
                  </a:cxn>
                  <a:cxn ang="0">
                    <a:pos x="25" y="9"/>
                  </a:cxn>
                  <a:cxn ang="0">
                    <a:pos x="24" y="9"/>
                  </a:cxn>
                  <a:cxn ang="0">
                    <a:pos x="21" y="11"/>
                  </a:cxn>
                  <a:cxn ang="0">
                    <a:pos x="18" y="11"/>
                  </a:cxn>
                  <a:cxn ang="0">
                    <a:pos x="12" y="11"/>
                  </a:cxn>
                  <a:cxn ang="0">
                    <a:pos x="5" y="18"/>
                  </a:cxn>
                  <a:cxn ang="0">
                    <a:pos x="2" y="15"/>
                  </a:cxn>
                  <a:cxn ang="0">
                    <a:pos x="0" y="12"/>
                  </a:cxn>
                </a:cxnLst>
                <a:rect l="0" t="0" r="r" b="b"/>
                <a:pathLst>
                  <a:path w="25" h="18">
                    <a:moveTo>
                      <a:pt x="0" y="12"/>
                    </a:moveTo>
                    <a:lnTo>
                      <a:pt x="5" y="6"/>
                    </a:lnTo>
                    <a:lnTo>
                      <a:pt x="6" y="3"/>
                    </a:lnTo>
                    <a:lnTo>
                      <a:pt x="11" y="3"/>
                    </a:lnTo>
                    <a:lnTo>
                      <a:pt x="13" y="3"/>
                    </a:lnTo>
                    <a:lnTo>
                      <a:pt x="18" y="0"/>
                    </a:lnTo>
                    <a:lnTo>
                      <a:pt x="19" y="0"/>
                    </a:lnTo>
                    <a:lnTo>
                      <a:pt x="21" y="6"/>
                    </a:lnTo>
                    <a:lnTo>
                      <a:pt x="24" y="8"/>
                    </a:lnTo>
                    <a:lnTo>
                      <a:pt x="25" y="8"/>
                    </a:lnTo>
                    <a:lnTo>
                      <a:pt x="25" y="8"/>
                    </a:lnTo>
                    <a:lnTo>
                      <a:pt x="25" y="9"/>
                    </a:lnTo>
                    <a:lnTo>
                      <a:pt x="25" y="9"/>
                    </a:lnTo>
                    <a:lnTo>
                      <a:pt x="24" y="9"/>
                    </a:lnTo>
                    <a:lnTo>
                      <a:pt x="21" y="11"/>
                    </a:lnTo>
                    <a:lnTo>
                      <a:pt x="18" y="11"/>
                    </a:lnTo>
                    <a:lnTo>
                      <a:pt x="12" y="11"/>
                    </a:lnTo>
                    <a:lnTo>
                      <a:pt x="5" y="18"/>
                    </a:lnTo>
                    <a:lnTo>
                      <a:pt x="2" y="15"/>
                    </a:lnTo>
                    <a:lnTo>
                      <a:pt x="0" y="12"/>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29" name="Freeform 1542"/>
              <p:cNvSpPr>
                <a:spLocks/>
              </p:cNvSpPr>
              <p:nvPr/>
            </p:nvSpPr>
            <p:spPr bwMode="auto">
              <a:xfrm>
                <a:off x="3993814" y="2311200"/>
                <a:ext cx="2633" cy="1014"/>
              </a:xfrm>
              <a:custGeom>
                <a:avLst/>
                <a:gdLst/>
                <a:ahLst/>
                <a:cxnLst>
                  <a:cxn ang="0">
                    <a:pos x="0" y="0"/>
                  </a:cxn>
                  <a:cxn ang="0">
                    <a:pos x="1" y="0"/>
                  </a:cxn>
                  <a:cxn ang="0">
                    <a:pos x="3" y="0"/>
                  </a:cxn>
                  <a:cxn ang="0">
                    <a:pos x="3" y="1"/>
                  </a:cxn>
                  <a:cxn ang="0">
                    <a:pos x="3" y="1"/>
                  </a:cxn>
                  <a:cxn ang="0">
                    <a:pos x="1" y="1"/>
                  </a:cxn>
                  <a:cxn ang="0">
                    <a:pos x="0" y="0"/>
                  </a:cxn>
                </a:cxnLst>
                <a:rect l="0" t="0" r="r" b="b"/>
                <a:pathLst>
                  <a:path w="3" h="1">
                    <a:moveTo>
                      <a:pt x="0" y="0"/>
                    </a:moveTo>
                    <a:lnTo>
                      <a:pt x="1" y="0"/>
                    </a:lnTo>
                    <a:lnTo>
                      <a:pt x="3" y="0"/>
                    </a:lnTo>
                    <a:lnTo>
                      <a:pt x="3" y="1"/>
                    </a:lnTo>
                    <a:lnTo>
                      <a:pt x="3" y="1"/>
                    </a:lnTo>
                    <a:lnTo>
                      <a:pt x="1" y="1"/>
                    </a:lnTo>
                    <a:lnTo>
                      <a:pt x="0"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30" name="Freeform 1543"/>
              <p:cNvSpPr>
                <a:spLocks/>
              </p:cNvSpPr>
              <p:nvPr/>
            </p:nvSpPr>
            <p:spPr bwMode="auto">
              <a:xfrm>
                <a:off x="3993814" y="2311200"/>
                <a:ext cx="2633" cy="1014"/>
              </a:xfrm>
              <a:custGeom>
                <a:avLst/>
                <a:gdLst/>
                <a:ahLst/>
                <a:cxnLst>
                  <a:cxn ang="0">
                    <a:pos x="0" y="0"/>
                  </a:cxn>
                  <a:cxn ang="0">
                    <a:pos x="1" y="0"/>
                  </a:cxn>
                  <a:cxn ang="0">
                    <a:pos x="3" y="0"/>
                  </a:cxn>
                  <a:cxn ang="0">
                    <a:pos x="3" y="1"/>
                  </a:cxn>
                  <a:cxn ang="0">
                    <a:pos x="3" y="1"/>
                  </a:cxn>
                  <a:cxn ang="0">
                    <a:pos x="1" y="1"/>
                  </a:cxn>
                  <a:cxn ang="0">
                    <a:pos x="0" y="0"/>
                  </a:cxn>
                </a:cxnLst>
                <a:rect l="0" t="0" r="r" b="b"/>
                <a:pathLst>
                  <a:path w="3" h="1">
                    <a:moveTo>
                      <a:pt x="0" y="0"/>
                    </a:moveTo>
                    <a:lnTo>
                      <a:pt x="1" y="0"/>
                    </a:lnTo>
                    <a:lnTo>
                      <a:pt x="3" y="0"/>
                    </a:lnTo>
                    <a:lnTo>
                      <a:pt x="3" y="1"/>
                    </a:lnTo>
                    <a:lnTo>
                      <a:pt x="3" y="1"/>
                    </a:lnTo>
                    <a:lnTo>
                      <a:pt x="1" y="1"/>
                    </a:lnTo>
                    <a:lnTo>
                      <a:pt x="0"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31" name="Freeform 1544"/>
              <p:cNvSpPr>
                <a:spLocks/>
              </p:cNvSpPr>
              <p:nvPr/>
            </p:nvSpPr>
            <p:spPr bwMode="auto">
              <a:xfrm>
                <a:off x="4020148" y="2287874"/>
                <a:ext cx="2633" cy="5071"/>
              </a:xfrm>
              <a:custGeom>
                <a:avLst/>
                <a:gdLst/>
                <a:ahLst/>
                <a:cxnLst>
                  <a:cxn ang="0">
                    <a:pos x="1" y="1"/>
                  </a:cxn>
                  <a:cxn ang="0">
                    <a:pos x="0" y="0"/>
                  </a:cxn>
                  <a:cxn ang="0">
                    <a:pos x="1" y="1"/>
                  </a:cxn>
                  <a:cxn ang="0">
                    <a:pos x="1" y="1"/>
                  </a:cxn>
                  <a:cxn ang="0">
                    <a:pos x="1" y="0"/>
                  </a:cxn>
                  <a:cxn ang="0">
                    <a:pos x="3" y="0"/>
                  </a:cxn>
                  <a:cxn ang="0">
                    <a:pos x="3" y="1"/>
                  </a:cxn>
                  <a:cxn ang="0">
                    <a:pos x="3" y="3"/>
                  </a:cxn>
                  <a:cxn ang="0">
                    <a:pos x="3" y="4"/>
                  </a:cxn>
                  <a:cxn ang="0">
                    <a:pos x="3" y="5"/>
                  </a:cxn>
                  <a:cxn ang="0">
                    <a:pos x="1" y="5"/>
                  </a:cxn>
                  <a:cxn ang="0">
                    <a:pos x="0" y="5"/>
                  </a:cxn>
                  <a:cxn ang="0">
                    <a:pos x="0" y="0"/>
                  </a:cxn>
                  <a:cxn ang="0">
                    <a:pos x="0" y="0"/>
                  </a:cxn>
                  <a:cxn ang="0">
                    <a:pos x="0" y="1"/>
                  </a:cxn>
                  <a:cxn ang="0">
                    <a:pos x="1" y="3"/>
                  </a:cxn>
                  <a:cxn ang="0">
                    <a:pos x="1" y="1"/>
                  </a:cxn>
                </a:cxnLst>
                <a:rect l="0" t="0" r="r" b="b"/>
                <a:pathLst>
                  <a:path w="3" h="5">
                    <a:moveTo>
                      <a:pt x="1" y="1"/>
                    </a:moveTo>
                    <a:lnTo>
                      <a:pt x="0" y="0"/>
                    </a:lnTo>
                    <a:lnTo>
                      <a:pt x="1" y="1"/>
                    </a:lnTo>
                    <a:lnTo>
                      <a:pt x="1" y="1"/>
                    </a:lnTo>
                    <a:lnTo>
                      <a:pt x="1" y="0"/>
                    </a:lnTo>
                    <a:lnTo>
                      <a:pt x="3" y="0"/>
                    </a:lnTo>
                    <a:lnTo>
                      <a:pt x="3" y="1"/>
                    </a:lnTo>
                    <a:lnTo>
                      <a:pt x="3" y="3"/>
                    </a:lnTo>
                    <a:lnTo>
                      <a:pt x="3" y="4"/>
                    </a:lnTo>
                    <a:lnTo>
                      <a:pt x="3" y="5"/>
                    </a:lnTo>
                    <a:lnTo>
                      <a:pt x="1" y="5"/>
                    </a:lnTo>
                    <a:lnTo>
                      <a:pt x="0" y="5"/>
                    </a:lnTo>
                    <a:lnTo>
                      <a:pt x="0" y="0"/>
                    </a:lnTo>
                    <a:lnTo>
                      <a:pt x="0" y="0"/>
                    </a:lnTo>
                    <a:lnTo>
                      <a:pt x="0" y="1"/>
                    </a:lnTo>
                    <a:lnTo>
                      <a:pt x="1" y="3"/>
                    </a:lnTo>
                    <a:lnTo>
                      <a:pt x="1" y="1"/>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32" name="Freeform 1545"/>
              <p:cNvSpPr>
                <a:spLocks/>
              </p:cNvSpPr>
              <p:nvPr/>
            </p:nvSpPr>
            <p:spPr bwMode="auto">
              <a:xfrm>
                <a:off x="4020148" y="2287874"/>
                <a:ext cx="2633" cy="5071"/>
              </a:xfrm>
              <a:custGeom>
                <a:avLst/>
                <a:gdLst/>
                <a:ahLst/>
                <a:cxnLst>
                  <a:cxn ang="0">
                    <a:pos x="1" y="1"/>
                  </a:cxn>
                  <a:cxn ang="0">
                    <a:pos x="0" y="0"/>
                  </a:cxn>
                  <a:cxn ang="0">
                    <a:pos x="1" y="1"/>
                  </a:cxn>
                  <a:cxn ang="0">
                    <a:pos x="1" y="1"/>
                  </a:cxn>
                  <a:cxn ang="0">
                    <a:pos x="1" y="0"/>
                  </a:cxn>
                  <a:cxn ang="0">
                    <a:pos x="3" y="0"/>
                  </a:cxn>
                  <a:cxn ang="0">
                    <a:pos x="3" y="1"/>
                  </a:cxn>
                  <a:cxn ang="0">
                    <a:pos x="3" y="3"/>
                  </a:cxn>
                  <a:cxn ang="0">
                    <a:pos x="3" y="4"/>
                  </a:cxn>
                  <a:cxn ang="0">
                    <a:pos x="3" y="5"/>
                  </a:cxn>
                  <a:cxn ang="0">
                    <a:pos x="1" y="5"/>
                  </a:cxn>
                  <a:cxn ang="0">
                    <a:pos x="0" y="5"/>
                  </a:cxn>
                  <a:cxn ang="0">
                    <a:pos x="0" y="0"/>
                  </a:cxn>
                  <a:cxn ang="0">
                    <a:pos x="0" y="0"/>
                  </a:cxn>
                  <a:cxn ang="0">
                    <a:pos x="0" y="1"/>
                  </a:cxn>
                  <a:cxn ang="0">
                    <a:pos x="1" y="3"/>
                  </a:cxn>
                  <a:cxn ang="0">
                    <a:pos x="1" y="1"/>
                  </a:cxn>
                </a:cxnLst>
                <a:rect l="0" t="0" r="r" b="b"/>
                <a:pathLst>
                  <a:path w="3" h="5">
                    <a:moveTo>
                      <a:pt x="1" y="1"/>
                    </a:moveTo>
                    <a:lnTo>
                      <a:pt x="0" y="0"/>
                    </a:lnTo>
                    <a:lnTo>
                      <a:pt x="1" y="1"/>
                    </a:lnTo>
                    <a:lnTo>
                      <a:pt x="1" y="1"/>
                    </a:lnTo>
                    <a:lnTo>
                      <a:pt x="1" y="0"/>
                    </a:lnTo>
                    <a:lnTo>
                      <a:pt x="3" y="0"/>
                    </a:lnTo>
                    <a:lnTo>
                      <a:pt x="3" y="1"/>
                    </a:lnTo>
                    <a:lnTo>
                      <a:pt x="3" y="3"/>
                    </a:lnTo>
                    <a:lnTo>
                      <a:pt x="3" y="4"/>
                    </a:lnTo>
                    <a:lnTo>
                      <a:pt x="3" y="5"/>
                    </a:lnTo>
                    <a:lnTo>
                      <a:pt x="1" y="5"/>
                    </a:lnTo>
                    <a:lnTo>
                      <a:pt x="0" y="5"/>
                    </a:lnTo>
                    <a:lnTo>
                      <a:pt x="0" y="0"/>
                    </a:lnTo>
                    <a:lnTo>
                      <a:pt x="0" y="0"/>
                    </a:lnTo>
                    <a:lnTo>
                      <a:pt x="0" y="1"/>
                    </a:lnTo>
                    <a:lnTo>
                      <a:pt x="1" y="3"/>
                    </a:lnTo>
                    <a:lnTo>
                      <a:pt x="1" y="1"/>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33" name="Freeform 1546"/>
              <p:cNvSpPr>
                <a:spLocks/>
              </p:cNvSpPr>
              <p:nvPr/>
            </p:nvSpPr>
            <p:spPr bwMode="auto">
              <a:xfrm>
                <a:off x="4049993" y="2262522"/>
                <a:ext cx="2633" cy="9127"/>
              </a:xfrm>
              <a:custGeom>
                <a:avLst/>
                <a:gdLst/>
                <a:ahLst/>
                <a:cxnLst>
                  <a:cxn ang="0">
                    <a:pos x="0" y="0"/>
                  </a:cxn>
                  <a:cxn ang="0">
                    <a:pos x="0" y="2"/>
                  </a:cxn>
                  <a:cxn ang="0">
                    <a:pos x="0" y="0"/>
                  </a:cxn>
                  <a:cxn ang="0">
                    <a:pos x="1" y="0"/>
                  </a:cxn>
                  <a:cxn ang="0">
                    <a:pos x="3" y="2"/>
                  </a:cxn>
                  <a:cxn ang="0">
                    <a:pos x="3" y="3"/>
                  </a:cxn>
                  <a:cxn ang="0">
                    <a:pos x="3" y="3"/>
                  </a:cxn>
                  <a:cxn ang="0">
                    <a:pos x="1" y="9"/>
                  </a:cxn>
                  <a:cxn ang="0">
                    <a:pos x="1" y="8"/>
                  </a:cxn>
                  <a:cxn ang="0">
                    <a:pos x="1" y="2"/>
                  </a:cxn>
                  <a:cxn ang="0">
                    <a:pos x="0" y="2"/>
                  </a:cxn>
                  <a:cxn ang="0">
                    <a:pos x="0" y="0"/>
                  </a:cxn>
                </a:cxnLst>
                <a:rect l="0" t="0" r="r" b="b"/>
                <a:pathLst>
                  <a:path w="3" h="9">
                    <a:moveTo>
                      <a:pt x="0" y="0"/>
                    </a:moveTo>
                    <a:lnTo>
                      <a:pt x="0" y="2"/>
                    </a:lnTo>
                    <a:lnTo>
                      <a:pt x="0" y="0"/>
                    </a:lnTo>
                    <a:lnTo>
                      <a:pt x="1" y="0"/>
                    </a:lnTo>
                    <a:lnTo>
                      <a:pt x="3" y="2"/>
                    </a:lnTo>
                    <a:lnTo>
                      <a:pt x="3" y="3"/>
                    </a:lnTo>
                    <a:lnTo>
                      <a:pt x="3" y="3"/>
                    </a:lnTo>
                    <a:lnTo>
                      <a:pt x="1" y="9"/>
                    </a:lnTo>
                    <a:lnTo>
                      <a:pt x="1" y="8"/>
                    </a:lnTo>
                    <a:lnTo>
                      <a:pt x="1" y="2"/>
                    </a:lnTo>
                    <a:lnTo>
                      <a:pt x="0" y="2"/>
                    </a:lnTo>
                    <a:lnTo>
                      <a:pt x="0"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34" name="Freeform 1547"/>
              <p:cNvSpPr>
                <a:spLocks/>
              </p:cNvSpPr>
              <p:nvPr/>
            </p:nvSpPr>
            <p:spPr bwMode="auto">
              <a:xfrm>
                <a:off x="4049993" y="2262522"/>
                <a:ext cx="2633" cy="9127"/>
              </a:xfrm>
              <a:custGeom>
                <a:avLst/>
                <a:gdLst/>
                <a:ahLst/>
                <a:cxnLst>
                  <a:cxn ang="0">
                    <a:pos x="0" y="0"/>
                  </a:cxn>
                  <a:cxn ang="0">
                    <a:pos x="0" y="2"/>
                  </a:cxn>
                  <a:cxn ang="0">
                    <a:pos x="0" y="0"/>
                  </a:cxn>
                  <a:cxn ang="0">
                    <a:pos x="1" y="0"/>
                  </a:cxn>
                  <a:cxn ang="0">
                    <a:pos x="3" y="2"/>
                  </a:cxn>
                  <a:cxn ang="0">
                    <a:pos x="3" y="3"/>
                  </a:cxn>
                  <a:cxn ang="0">
                    <a:pos x="3" y="3"/>
                  </a:cxn>
                  <a:cxn ang="0">
                    <a:pos x="1" y="9"/>
                  </a:cxn>
                  <a:cxn ang="0">
                    <a:pos x="1" y="8"/>
                  </a:cxn>
                  <a:cxn ang="0">
                    <a:pos x="1" y="2"/>
                  </a:cxn>
                  <a:cxn ang="0">
                    <a:pos x="0" y="2"/>
                  </a:cxn>
                  <a:cxn ang="0">
                    <a:pos x="0" y="0"/>
                  </a:cxn>
                </a:cxnLst>
                <a:rect l="0" t="0" r="r" b="b"/>
                <a:pathLst>
                  <a:path w="3" h="9">
                    <a:moveTo>
                      <a:pt x="0" y="0"/>
                    </a:moveTo>
                    <a:lnTo>
                      <a:pt x="0" y="2"/>
                    </a:lnTo>
                    <a:lnTo>
                      <a:pt x="0" y="0"/>
                    </a:lnTo>
                    <a:lnTo>
                      <a:pt x="1" y="0"/>
                    </a:lnTo>
                    <a:lnTo>
                      <a:pt x="3" y="2"/>
                    </a:lnTo>
                    <a:lnTo>
                      <a:pt x="3" y="3"/>
                    </a:lnTo>
                    <a:lnTo>
                      <a:pt x="3" y="3"/>
                    </a:lnTo>
                    <a:lnTo>
                      <a:pt x="1" y="9"/>
                    </a:lnTo>
                    <a:lnTo>
                      <a:pt x="1" y="8"/>
                    </a:lnTo>
                    <a:lnTo>
                      <a:pt x="1" y="2"/>
                    </a:lnTo>
                    <a:lnTo>
                      <a:pt x="0" y="2"/>
                    </a:lnTo>
                    <a:lnTo>
                      <a:pt x="0"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35" name="Freeform 1548"/>
              <p:cNvSpPr>
                <a:spLocks/>
              </p:cNvSpPr>
              <p:nvPr/>
            </p:nvSpPr>
            <p:spPr bwMode="auto">
              <a:xfrm>
                <a:off x="4100028" y="2257450"/>
                <a:ext cx="1756" cy="4056"/>
              </a:xfrm>
              <a:custGeom>
                <a:avLst/>
                <a:gdLst/>
                <a:ahLst/>
                <a:cxnLst>
                  <a:cxn ang="0">
                    <a:pos x="0" y="0"/>
                  </a:cxn>
                  <a:cxn ang="0">
                    <a:pos x="2" y="0"/>
                  </a:cxn>
                  <a:cxn ang="0">
                    <a:pos x="2" y="0"/>
                  </a:cxn>
                  <a:cxn ang="0">
                    <a:pos x="2" y="1"/>
                  </a:cxn>
                  <a:cxn ang="0">
                    <a:pos x="0" y="4"/>
                  </a:cxn>
                  <a:cxn ang="0">
                    <a:pos x="0" y="4"/>
                  </a:cxn>
                  <a:cxn ang="0">
                    <a:pos x="0" y="0"/>
                  </a:cxn>
                </a:cxnLst>
                <a:rect l="0" t="0" r="r" b="b"/>
                <a:pathLst>
                  <a:path w="2" h="4">
                    <a:moveTo>
                      <a:pt x="0" y="0"/>
                    </a:moveTo>
                    <a:lnTo>
                      <a:pt x="2" y="0"/>
                    </a:lnTo>
                    <a:lnTo>
                      <a:pt x="2" y="0"/>
                    </a:lnTo>
                    <a:lnTo>
                      <a:pt x="2" y="1"/>
                    </a:lnTo>
                    <a:lnTo>
                      <a:pt x="0" y="4"/>
                    </a:lnTo>
                    <a:lnTo>
                      <a:pt x="0" y="4"/>
                    </a:lnTo>
                    <a:lnTo>
                      <a:pt x="0"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36" name="Freeform 1549"/>
              <p:cNvSpPr>
                <a:spLocks/>
              </p:cNvSpPr>
              <p:nvPr/>
            </p:nvSpPr>
            <p:spPr bwMode="auto">
              <a:xfrm>
                <a:off x="4100028" y="2257450"/>
                <a:ext cx="1756" cy="4056"/>
              </a:xfrm>
              <a:custGeom>
                <a:avLst/>
                <a:gdLst/>
                <a:ahLst/>
                <a:cxnLst>
                  <a:cxn ang="0">
                    <a:pos x="0" y="0"/>
                  </a:cxn>
                  <a:cxn ang="0">
                    <a:pos x="2" y="0"/>
                  </a:cxn>
                  <a:cxn ang="0">
                    <a:pos x="2" y="0"/>
                  </a:cxn>
                  <a:cxn ang="0">
                    <a:pos x="2" y="1"/>
                  </a:cxn>
                  <a:cxn ang="0">
                    <a:pos x="0" y="4"/>
                  </a:cxn>
                  <a:cxn ang="0">
                    <a:pos x="0" y="4"/>
                  </a:cxn>
                  <a:cxn ang="0">
                    <a:pos x="0" y="0"/>
                  </a:cxn>
                </a:cxnLst>
                <a:rect l="0" t="0" r="r" b="b"/>
                <a:pathLst>
                  <a:path w="2" h="4">
                    <a:moveTo>
                      <a:pt x="0" y="0"/>
                    </a:moveTo>
                    <a:lnTo>
                      <a:pt x="2" y="0"/>
                    </a:lnTo>
                    <a:lnTo>
                      <a:pt x="2" y="0"/>
                    </a:lnTo>
                    <a:lnTo>
                      <a:pt x="2" y="1"/>
                    </a:lnTo>
                    <a:lnTo>
                      <a:pt x="0" y="4"/>
                    </a:lnTo>
                    <a:lnTo>
                      <a:pt x="0" y="4"/>
                    </a:lnTo>
                    <a:lnTo>
                      <a:pt x="0"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37" name="Freeform 1550"/>
              <p:cNvSpPr>
                <a:spLocks/>
              </p:cNvSpPr>
              <p:nvPr/>
            </p:nvSpPr>
            <p:spPr bwMode="auto">
              <a:xfrm>
                <a:off x="4105295" y="2255423"/>
                <a:ext cx="878" cy="3043"/>
              </a:xfrm>
              <a:custGeom>
                <a:avLst/>
                <a:gdLst/>
                <a:ahLst/>
                <a:cxnLst>
                  <a:cxn ang="0">
                    <a:pos x="1" y="3"/>
                  </a:cxn>
                  <a:cxn ang="0">
                    <a:pos x="0" y="2"/>
                  </a:cxn>
                  <a:cxn ang="0">
                    <a:pos x="0" y="2"/>
                  </a:cxn>
                  <a:cxn ang="0">
                    <a:pos x="1" y="0"/>
                  </a:cxn>
                  <a:cxn ang="0">
                    <a:pos x="1" y="0"/>
                  </a:cxn>
                  <a:cxn ang="0">
                    <a:pos x="1" y="2"/>
                  </a:cxn>
                  <a:cxn ang="0">
                    <a:pos x="1" y="3"/>
                  </a:cxn>
                </a:cxnLst>
                <a:rect l="0" t="0" r="r" b="b"/>
                <a:pathLst>
                  <a:path w="1" h="3">
                    <a:moveTo>
                      <a:pt x="1" y="3"/>
                    </a:moveTo>
                    <a:lnTo>
                      <a:pt x="0" y="2"/>
                    </a:lnTo>
                    <a:lnTo>
                      <a:pt x="0" y="2"/>
                    </a:lnTo>
                    <a:lnTo>
                      <a:pt x="1" y="0"/>
                    </a:lnTo>
                    <a:lnTo>
                      <a:pt x="1" y="0"/>
                    </a:lnTo>
                    <a:lnTo>
                      <a:pt x="1" y="2"/>
                    </a:lnTo>
                    <a:lnTo>
                      <a:pt x="1" y="3"/>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38" name="Freeform 1551"/>
              <p:cNvSpPr>
                <a:spLocks/>
              </p:cNvSpPr>
              <p:nvPr/>
            </p:nvSpPr>
            <p:spPr bwMode="auto">
              <a:xfrm>
                <a:off x="4105295" y="2255423"/>
                <a:ext cx="878" cy="3043"/>
              </a:xfrm>
              <a:custGeom>
                <a:avLst/>
                <a:gdLst/>
                <a:ahLst/>
                <a:cxnLst>
                  <a:cxn ang="0">
                    <a:pos x="1" y="3"/>
                  </a:cxn>
                  <a:cxn ang="0">
                    <a:pos x="0" y="2"/>
                  </a:cxn>
                  <a:cxn ang="0">
                    <a:pos x="0" y="2"/>
                  </a:cxn>
                  <a:cxn ang="0">
                    <a:pos x="1" y="0"/>
                  </a:cxn>
                  <a:cxn ang="0">
                    <a:pos x="1" y="0"/>
                  </a:cxn>
                  <a:cxn ang="0">
                    <a:pos x="1" y="2"/>
                  </a:cxn>
                  <a:cxn ang="0">
                    <a:pos x="1" y="3"/>
                  </a:cxn>
                </a:cxnLst>
                <a:rect l="0" t="0" r="r" b="b"/>
                <a:pathLst>
                  <a:path w="1" h="3">
                    <a:moveTo>
                      <a:pt x="1" y="3"/>
                    </a:moveTo>
                    <a:lnTo>
                      <a:pt x="0" y="2"/>
                    </a:lnTo>
                    <a:lnTo>
                      <a:pt x="0" y="2"/>
                    </a:lnTo>
                    <a:lnTo>
                      <a:pt x="1" y="0"/>
                    </a:lnTo>
                    <a:lnTo>
                      <a:pt x="1" y="0"/>
                    </a:lnTo>
                    <a:lnTo>
                      <a:pt x="1" y="2"/>
                    </a:lnTo>
                    <a:lnTo>
                      <a:pt x="1" y="3"/>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39" name="Freeform 1552"/>
              <p:cNvSpPr>
                <a:spLocks/>
              </p:cNvSpPr>
              <p:nvPr/>
            </p:nvSpPr>
            <p:spPr bwMode="auto">
              <a:xfrm>
                <a:off x="4117584" y="2241224"/>
                <a:ext cx="5267" cy="4056"/>
              </a:xfrm>
              <a:custGeom>
                <a:avLst/>
                <a:gdLst/>
                <a:ahLst/>
                <a:cxnLst>
                  <a:cxn ang="0">
                    <a:pos x="3" y="1"/>
                  </a:cxn>
                  <a:cxn ang="0">
                    <a:pos x="1" y="4"/>
                  </a:cxn>
                  <a:cxn ang="0">
                    <a:pos x="0" y="1"/>
                  </a:cxn>
                  <a:cxn ang="0">
                    <a:pos x="1" y="0"/>
                  </a:cxn>
                  <a:cxn ang="0">
                    <a:pos x="1" y="0"/>
                  </a:cxn>
                  <a:cxn ang="0">
                    <a:pos x="3" y="0"/>
                  </a:cxn>
                  <a:cxn ang="0">
                    <a:pos x="6" y="0"/>
                  </a:cxn>
                  <a:cxn ang="0">
                    <a:pos x="6" y="0"/>
                  </a:cxn>
                  <a:cxn ang="0">
                    <a:pos x="3" y="1"/>
                  </a:cxn>
                </a:cxnLst>
                <a:rect l="0" t="0" r="r" b="b"/>
                <a:pathLst>
                  <a:path w="6" h="4">
                    <a:moveTo>
                      <a:pt x="3" y="1"/>
                    </a:moveTo>
                    <a:lnTo>
                      <a:pt x="1" y="4"/>
                    </a:lnTo>
                    <a:lnTo>
                      <a:pt x="0" y="1"/>
                    </a:lnTo>
                    <a:lnTo>
                      <a:pt x="1" y="0"/>
                    </a:lnTo>
                    <a:lnTo>
                      <a:pt x="1" y="0"/>
                    </a:lnTo>
                    <a:lnTo>
                      <a:pt x="3" y="0"/>
                    </a:lnTo>
                    <a:lnTo>
                      <a:pt x="6" y="0"/>
                    </a:lnTo>
                    <a:lnTo>
                      <a:pt x="6" y="0"/>
                    </a:lnTo>
                    <a:lnTo>
                      <a:pt x="3" y="1"/>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40" name="Freeform 1553"/>
              <p:cNvSpPr>
                <a:spLocks/>
              </p:cNvSpPr>
              <p:nvPr/>
            </p:nvSpPr>
            <p:spPr bwMode="auto">
              <a:xfrm>
                <a:off x="4117584" y="2241224"/>
                <a:ext cx="5267" cy="4056"/>
              </a:xfrm>
              <a:custGeom>
                <a:avLst/>
                <a:gdLst/>
                <a:ahLst/>
                <a:cxnLst>
                  <a:cxn ang="0">
                    <a:pos x="3" y="1"/>
                  </a:cxn>
                  <a:cxn ang="0">
                    <a:pos x="1" y="4"/>
                  </a:cxn>
                  <a:cxn ang="0">
                    <a:pos x="0" y="1"/>
                  </a:cxn>
                  <a:cxn ang="0">
                    <a:pos x="1" y="0"/>
                  </a:cxn>
                  <a:cxn ang="0">
                    <a:pos x="1" y="0"/>
                  </a:cxn>
                  <a:cxn ang="0">
                    <a:pos x="3" y="0"/>
                  </a:cxn>
                  <a:cxn ang="0">
                    <a:pos x="6" y="0"/>
                  </a:cxn>
                  <a:cxn ang="0">
                    <a:pos x="6" y="0"/>
                  </a:cxn>
                  <a:cxn ang="0">
                    <a:pos x="3" y="1"/>
                  </a:cxn>
                </a:cxnLst>
                <a:rect l="0" t="0" r="r" b="b"/>
                <a:pathLst>
                  <a:path w="6" h="4">
                    <a:moveTo>
                      <a:pt x="3" y="1"/>
                    </a:moveTo>
                    <a:lnTo>
                      <a:pt x="1" y="4"/>
                    </a:lnTo>
                    <a:lnTo>
                      <a:pt x="0" y="1"/>
                    </a:lnTo>
                    <a:lnTo>
                      <a:pt x="1" y="0"/>
                    </a:lnTo>
                    <a:lnTo>
                      <a:pt x="1" y="0"/>
                    </a:lnTo>
                    <a:lnTo>
                      <a:pt x="3" y="0"/>
                    </a:lnTo>
                    <a:lnTo>
                      <a:pt x="6" y="0"/>
                    </a:lnTo>
                    <a:lnTo>
                      <a:pt x="6" y="0"/>
                    </a:lnTo>
                    <a:lnTo>
                      <a:pt x="3" y="1"/>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41" name="Freeform 1554"/>
              <p:cNvSpPr>
                <a:spLocks/>
              </p:cNvSpPr>
              <p:nvPr/>
            </p:nvSpPr>
            <p:spPr bwMode="auto">
              <a:xfrm>
                <a:off x="4097395" y="2218914"/>
                <a:ext cx="35112" cy="32452"/>
              </a:xfrm>
              <a:custGeom>
                <a:avLst/>
                <a:gdLst/>
                <a:ahLst/>
                <a:cxnLst>
                  <a:cxn ang="0">
                    <a:pos x="0" y="16"/>
                  </a:cxn>
                  <a:cxn ang="0">
                    <a:pos x="3" y="15"/>
                  </a:cxn>
                  <a:cxn ang="0">
                    <a:pos x="6" y="9"/>
                  </a:cxn>
                  <a:cxn ang="0">
                    <a:pos x="9" y="9"/>
                  </a:cxn>
                  <a:cxn ang="0">
                    <a:pos x="12" y="10"/>
                  </a:cxn>
                  <a:cxn ang="0">
                    <a:pos x="13" y="15"/>
                  </a:cxn>
                  <a:cxn ang="0">
                    <a:pos x="16" y="12"/>
                  </a:cxn>
                  <a:cxn ang="0">
                    <a:pos x="16" y="9"/>
                  </a:cxn>
                  <a:cxn ang="0">
                    <a:pos x="13" y="5"/>
                  </a:cxn>
                  <a:cxn ang="0">
                    <a:pos x="15" y="2"/>
                  </a:cxn>
                  <a:cxn ang="0">
                    <a:pos x="18" y="5"/>
                  </a:cxn>
                  <a:cxn ang="0">
                    <a:pos x="19" y="8"/>
                  </a:cxn>
                  <a:cxn ang="0">
                    <a:pos x="22" y="3"/>
                  </a:cxn>
                  <a:cxn ang="0">
                    <a:pos x="25" y="3"/>
                  </a:cxn>
                  <a:cxn ang="0">
                    <a:pos x="23" y="0"/>
                  </a:cxn>
                  <a:cxn ang="0">
                    <a:pos x="26" y="0"/>
                  </a:cxn>
                  <a:cxn ang="0">
                    <a:pos x="28" y="5"/>
                  </a:cxn>
                  <a:cxn ang="0">
                    <a:pos x="31" y="2"/>
                  </a:cxn>
                  <a:cxn ang="0">
                    <a:pos x="34" y="3"/>
                  </a:cxn>
                  <a:cxn ang="0">
                    <a:pos x="34" y="6"/>
                  </a:cxn>
                  <a:cxn ang="0">
                    <a:pos x="34" y="8"/>
                  </a:cxn>
                  <a:cxn ang="0">
                    <a:pos x="38" y="9"/>
                  </a:cxn>
                  <a:cxn ang="0">
                    <a:pos x="35" y="13"/>
                  </a:cxn>
                  <a:cxn ang="0">
                    <a:pos x="28" y="12"/>
                  </a:cxn>
                  <a:cxn ang="0">
                    <a:pos x="32" y="15"/>
                  </a:cxn>
                  <a:cxn ang="0">
                    <a:pos x="32" y="18"/>
                  </a:cxn>
                  <a:cxn ang="0">
                    <a:pos x="29" y="15"/>
                  </a:cxn>
                  <a:cxn ang="0">
                    <a:pos x="28" y="16"/>
                  </a:cxn>
                  <a:cxn ang="0">
                    <a:pos x="25" y="18"/>
                  </a:cxn>
                  <a:cxn ang="0">
                    <a:pos x="25" y="18"/>
                  </a:cxn>
                  <a:cxn ang="0">
                    <a:pos x="20" y="23"/>
                  </a:cxn>
                  <a:cxn ang="0">
                    <a:pos x="18" y="23"/>
                  </a:cxn>
                  <a:cxn ang="0">
                    <a:pos x="18" y="28"/>
                  </a:cxn>
                  <a:cxn ang="0">
                    <a:pos x="12" y="31"/>
                  </a:cxn>
                  <a:cxn ang="0">
                    <a:pos x="15" y="25"/>
                  </a:cxn>
                  <a:cxn ang="0">
                    <a:pos x="12" y="23"/>
                  </a:cxn>
                  <a:cxn ang="0">
                    <a:pos x="10" y="21"/>
                  </a:cxn>
                  <a:cxn ang="0">
                    <a:pos x="7" y="22"/>
                  </a:cxn>
                  <a:cxn ang="0">
                    <a:pos x="10" y="22"/>
                  </a:cxn>
                  <a:cxn ang="0">
                    <a:pos x="9" y="28"/>
                  </a:cxn>
                  <a:cxn ang="0">
                    <a:pos x="5" y="19"/>
                  </a:cxn>
                  <a:cxn ang="0">
                    <a:pos x="2" y="16"/>
                  </a:cxn>
                </a:cxnLst>
                <a:rect l="0" t="0" r="r" b="b"/>
                <a:pathLst>
                  <a:path w="38" h="31">
                    <a:moveTo>
                      <a:pt x="2" y="16"/>
                    </a:moveTo>
                    <a:lnTo>
                      <a:pt x="0" y="16"/>
                    </a:lnTo>
                    <a:lnTo>
                      <a:pt x="0" y="15"/>
                    </a:lnTo>
                    <a:lnTo>
                      <a:pt x="3" y="15"/>
                    </a:lnTo>
                    <a:lnTo>
                      <a:pt x="3" y="13"/>
                    </a:lnTo>
                    <a:lnTo>
                      <a:pt x="6" y="9"/>
                    </a:lnTo>
                    <a:lnTo>
                      <a:pt x="7" y="9"/>
                    </a:lnTo>
                    <a:lnTo>
                      <a:pt x="9" y="9"/>
                    </a:lnTo>
                    <a:lnTo>
                      <a:pt x="12" y="9"/>
                    </a:lnTo>
                    <a:lnTo>
                      <a:pt x="12" y="10"/>
                    </a:lnTo>
                    <a:lnTo>
                      <a:pt x="12" y="10"/>
                    </a:lnTo>
                    <a:lnTo>
                      <a:pt x="13" y="15"/>
                    </a:lnTo>
                    <a:lnTo>
                      <a:pt x="16" y="15"/>
                    </a:lnTo>
                    <a:lnTo>
                      <a:pt x="16" y="12"/>
                    </a:lnTo>
                    <a:lnTo>
                      <a:pt x="16" y="10"/>
                    </a:lnTo>
                    <a:lnTo>
                      <a:pt x="16" y="9"/>
                    </a:lnTo>
                    <a:lnTo>
                      <a:pt x="18" y="9"/>
                    </a:lnTo>
                    <a:lnTo>
                      <a:pt x="13" y="5"/>
                    </a:lnTo>
                    <a:lnTo>
                      <a:pt x="13" y="3"/>
                    </a:lnTo>
                    <a:lnTo>
                      <a:pt x="15" y="2"/>
                    </a:lnTo>
                    <a:lnTo>
                      <a:pt x="16" y="2"/>
                    </a:lnTo>
                    <a:lnTo>
                      <a:pt x="18" y="5"/>
                    </a:lnTo>
                    <a:lnTo>
                      <a:pt x="18" y="8"/>
                    </a:lnTo>
                    <a:lnTo>
                      <a:pt x="19" y="8"/>
                    </a:lnTo>
                    <a:lnTo>
                      <a:pt x="20" y="5"/>
                    </a:lnTo>
                    <a:lnTo>
                      <a:pt x="22" y="3"/>
                    </a:lnTo>
                    <a:lnTo>
                      <a:pt x="23" y="5"/>
                    </a:lnTo>
                    <a:lnTo>
                      <a:pt x="25" y="3"/>
                    </a:lnTo>
                    <a:lnTo>
                      <a:pt x="25" y="2"/>
                    </a:lnTo>
                    <a:lnTo>
                      <a:pt x="23" y="0"/>
                    </a:lnTo>
                    <a:lnTo>
                      <a:pt x="25" y="2"/>
                    </a:lnTo>
                    <a:lnTo>
                      <a:pt x="26" y="0"/>
                    </a:lnTo>
                    <a:lnTo>
                      <a:pt x="28" y="2"/>
                    </a:lnTo>
                    <a:lnTo>
                      <a:pt x="28" y="5"/>
                    </a:lnTo>
                    <a:lnTo>
                      <a:pt x="29" y="6"/>
                    </a:lnTo>
                    <a:lnTo>
                      <a:pt x="31" y="2"/>
                    </a:lnTo>
                    <a:lnTo>
                      <a:pt x="34" y="2"/>
                    </a:lnTo>
                    <a:lnTo>
                      <a:pt x="34" y="3"/>
                    </a:lnTo>
                    <a:lnTo>
                      <a:pt x="34" y="6"/>
                    </a:lnTo>
                    <a:lnTo>
                      <a:pt x="34" y="6"/>
                    </a:lnTo>
                    <a:lnTo>
                      <a:pt x="34" y="8"/>
                    </a:lnTo>
                    <a:lnTo>
                      <a:pt x="34" y="8"/>
                    </a:lnTo>
                    <a:lnTo>
                      <a:pt x="34" y="9"/>
                    </a:lnTo>
                    <a:lnTo>
                      <a:pt x="38" y="9"/>
                    </a:lnTo>
                    <a:lnTo>
                      <a:pt x="36" y="13"/>
                    </a:lnTo>
                    <a:lnTo>
                      <a:pt x="35" y="13"/>
                    </a:lnTo>
                    <a:lnTo>
                      <a:pt x="29" y="10"/>
                    </a:lnTo>
                    <a:lnTo>
                      <a:pt x="28" y="12"/>
                    </a:lnTo>
                    <a:lnTo>
                      <a:pt x="28" y="13"/>
                    </a:lnTo>
                    <a:lnTo>
                      <a:pt x="32" y="15"/>
                    </a:lnTo>
                    <a:lnTo>
                      <a:pt x="32" y="15"/>
                    </a:lnTo>
                    <a:lnTo>
                      <a:pt x="32" y="18"/>
                    </a:lnTo>
                    <a:lnTo>
                      <a:pt x="29" y="18"/>
                    </a:lnTo>
                    <a:lnTo>
                      <a:pt x="29" y="15"/>
                    </a:lnTo>
                    <a:lnTo>
                      <a:pt x="29" y="15"/>
                    </a:lnTo>
                    <a:lnTo>
                      <a:pt x="28" y="16"/>
                    </a:lnTo>
                    <a:lnTo>
                      <a:pt x="25" y="18"/>
                    </a:lnTo>
                    <a:lnTo>
                      <a:pt x="25" y="18"/>
                    </a:lnTo>
                    <a:lnTo>
                      <a:pt x="26" y="19"/>
                    </a:lnTo>
                    <a:lnTo>
                      <a:pt x="25" y="18"/>
                    </a:lnTo>
                    <a:lnTo>
                      <a:pt x="22" y="19"/>
                    </a:lnTo>
                    <a:lnTo>
                      <a:pt x="20" y="23"/>
                    </a:lnTo>
                    <a:lnTo>
                      <a:pt x="18" y="23"/>
                    </a:lnTo>
                    <a:lnTo>
                      <a:pt x="18" y="23"/>
                    </a:lnTo>
                    <a:lnTo>
                      <a:pt x="18" y="25"/>
                    </a:lnTo>
                    <a:lnTo>
                      <a:pt x="18" y="28"/>
                    </a:lnTo>
                    <a:lnTo>
                      <a:pt x="18" y="29"/>
                    </a:lnTo>
                    <a:lnTo>
                      <a:pt x="12" y="31"/>
                    </a:lnTo>
                    <a:lnTo>
                      <a:pt x="15" y="26"/>
                    </a:lnTo>
                    <a:lnTo>
                      <a:pt x="15" y="25"/>
                    </a:lnTo>
                    <a:lnTo>
                      <a:pt x="12" y="25"/>
                    </a:lnTo>
                    <a:lnTo>
                      <a:pt x="12" y="23"/>
                    </a:lnTo>
                    <a:lnTo>
                      <a:pt x="12" y="22"/>
                    </a:lnTo>
                    <a:lnTo>
                      <a:pt x="10" y="21"/>
                    </a:lnTo>
                    <a:lnTo>
                      <a:pt x="9" y="21"/>
                    </a:lnTo>
                    <a:lnTo>
                      <a:pt x="7" y="22"/>
                    </a:lnTo>
                    <a:lnTo>
                      <a:pt x="9" y="22"/>
                    </a:lnTo>
                    <a:lnTo>
                      <a:pt x="10" y="22"/>
                    </a:lnTo>
                    <a:lnTo>
                      <a:pt x="10" y="28"/>
                    </a:lnTo>
                    <a:lnTo>
                      <a:pt x="9" y="28"/>
                    </a:lnTo>
                    <a:lnTo>
                      <a:pt x="6" y="26"/>
                    </a:lnTo>
                    <a:lnTo>
                      <a:pt x="5" y="19"/>
                    </a:lnTo>
                    <a:lnTo>
                      <a:pt x="3" y="18"/>
                    </a:lnTo>
                    <a:lnTo>
                      <a:pt x="2" y="16"/>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42" name="Freeform 1555"/>
              <p:cNvSpPr>
                <a:spLocks/>
              </p:cNvSpPr>
              <p:nvPr/>
            </p:nvSpPr>
            <p:spPr bwMode="auto">
              <a:xfrm>
                <a:off x="4097395" y="2218914"/>
                <a:ext cx="35112" cy="32452"/>
              </a:xfrm>
              <a:custGeom>
                <a:avLst/>
                <a:gdLst/>
                <a:ahLst/>
                <a:cxnLst>
                  <a:cxn ang="0">
                    <a:pos x="0" y="16"/>
                  </a:cxn>
                  <a:cxn ang="0">
                    <a:pos x="3" y="15"/>
                  </a:cxn>
                  <a:cxn ang="0">
                    <a:pos x="6" y="9"/>
                  </a:cxn>
                  <a:cxn ang="0">
                    <a:pos x="9" y="9"/>
                  </a:cxn>
                  <a:cxn ang="0">
                    <a:pos x="12" y="10"/>
                  </a:cxn>
                  <a:cxn ang="0">
                    <a:pos x="13" y="15"/>
                  </a:cxn>
                  <a:cxn ang="0">
                    <a:pos x="16" y="12"/>
                  </a:cxn>
                  <a:cxn ang="0">
                    <a:pos x="16" y="9"/>
                  </a:cxn>
                  <a:cxn ang="0">
                    <a:pos x="13" y="5"/>
                  </a:cxn>
                  <a:cxn ang="0">
                    <a:pos x="15" y="2"/>
                  </a:cxn>
                  <a:cxn ang="0">
                    <a:pos x="18" y="5"/>
                  </a:cxn>
                  <a:cxn ang="0">
                    <a:pos x="19" y="8"/>
                  </a:cxn>
                  <a:cxn ang="0">
                    <a:pos x="22" y="3"/>
                  </a:cxn>
                  <a:cxn ang="0">
                    <a:pos x="25" y="3"/>
                  </a:cxn>
                  <a:cxn ang="0">
                    <a:pos x="23" y="0"/>
                  </a:cxn>
                  <a:cxn ang="0">
                    <a:pos x="26" y="0"/>
                  </a:cxn>
                  <a:cxn ang="0">
                    <a:pos x="28" y="5"/>
                  </a:cxn>
                  <a:cxn ang="0">
                    <a:pos x="31" y="2"/>
                  </a:cxn>
                  <a:cxn ang="0">
                    <a:pos x="34" y="3"/>
                  </a:cxn>
                  <a:cxn ang="0">
                    <a:pos x="34" y="6"/>
                  </a:cxn>
                  <a:cxn ang="0">
                    <a:pos x="34" y="8"/>
                  </a:cxn>
                  <a:cxn ang="0">
                    <a:pos x="38" y="9"/>
                  </a:cxn>
                  <a:cxn ang="0">
                    <a:pos x="35" y="13"/>
                  </a:cxn>
                  <a:cxn ang="0">
                    <a:pos x="28" y="12"/>
                  </a:cxn>
                  <a:cxn ang="0">
                    <a:pos x="32" y="15"/>
                  </a:cxn>
                  <a:cxn ang="0">
                    <a:pos x="32" y="18"/>
                  </a:cxn>
                  <a:cxn ang="0">
                    <a:pos x="29" y="15"/>
                  </a:cxn>
                  <a:cxn ang="0">
                    <a:pos x="28" y="16"/>
                  </a:cxn>
                  <a:cxn ang="0">
                    <a:pos x="25" y="18"/>
                  </a:cxn>
                  <a:cxn ang="0">
                    <a:pos x="25" y="18"/>
                  </a:cxn>
                  <a:cxn ang="0">
                    <a:pos x="20" y="23"/>
                  </a:cxn>
                  <a:cxn ang="0">
                    <a:pos x="18" y="23"/>
                  </a:cxn>
                  <a:cxn ang="0">
                    <a:pos x="18" y="28"/>
                  </a:cxn>
                  <a:cxn ang="0">
                    <a:pos x="12" y="31"/>
                  </a:cxn>
                  <a:cxn ang="0">
                    <a:pos x="15" y="25"/>
                  </a:cxn>
                  <a:cxn ang="0">
                    <a:pos x="12" y="23"/>
                  </a:cxn>
                  <a:cxn ang="0">
                    <a:pos x="10" y="21"/>
                  </a:cxn>
                  <a:cxn ang="0">
                    <a:pos x="7" y="22"/>
                  </a:cxn>
                  <a:cxn ang="0">
                    <a:pos x="10" y="22"/>
                  </a:cxn>
                  <a:cxn ang="0">
                    <a:pos x="9" y="28"/>
                  </a:cxn>
                  <a:cxn ang="0">
                    <a:pos x="5" y="19"/>
                  </a:cxn>
                  <a:cxn ang="0">
                    <a:pos x="2" y="16"/>
                  </a:cxn>
                </a:cxnLst>
                <a:rect l="0" t="0" r="r" b="b"/>
                <a:pathLst>
                  <a:path w="38" h="31">
                    <a:moveTo>
                      <a:pt x="2" y="16"/>
                    </a:moveTo>
                    <a:lnTo>
                      <a:pt x="0" y="16"/>
                    </a:lnTo>
                    <a:lnTo>
                      <a:pt x="0" y="15"/>
                    </a:lnTo>
                    <a:lnTo>
                      <a:pt x="3" y="15"/>
                    </a:lnTo>
                    <a:lnTo>
                      <a:pt x="3" y="13"/>
                    </a:lnTo>
                    <a:lnTo>
                      <a:pt x="6" y="9"/>
                    </a:lnTo>
                    <a:lnTo>
                      <a:pt x="7" y="9"/>
                    </a:lnTo>
                    <a:lnTo>
                      <a:pt x="9" y="9"/>
                    </a:lnTo>
                    <a:lnTo>
                      <a:pt x="12" y="9"/>
                    </a:lnTo>
                    <a:lnTo>
                      <a:pt x="12" y="10"/>
                    </a:lnTo>
                    <a:lnTo>
                      <a:pt x="12" y="10"/>
                    </a:lnTo>
                    <a:lnTo>
                      <a:pt x="13" y="15"/>
                    </a:lnTo>
                    <a:lnTo>
                      <a:pt x="16" y="15"/>
                    </a:lnTo>
                    <a:lnTo>
                      <a:pt x="16" y="12"/>
                    </a:lnTo>
                    <a:lnTo>
                      <a:pt x="16" y="10"/>
                    </a:lnTo>
                    <a:lnTo>
                      <a:pt x="16" y="9"/>
                    </a:lnTo>
                    <a:lnTo>
                      <a:pt x="18" y="9"/>
                    </a:lnTo>
                    <a:lnTo>
                      <a:pt x="13" y="5"/>
                    </a:lnTo>
                    <a:lnTo>
                      <a:pt x="13" y="3"/>
                    </a:lnTo>
                    <a:lnTo>
                      <a:pt x="15" y="2"/>
                    </a:lnTo>
                    <a:lnTo>
                      <a:pt x="16" y="2"/>
                    </a:lnTo>
                    <a:lnTo>
                      <a:pt x="18" y="5"/>
                    </a:lnTo>
                    <a:lnTo>
                      <a:pt x="18" y="8"/>
                    </a:lnTo>
                    <a:lnTo>
                      <a:pt x="19" y="8"/>
                    </a:lnTo>
                    <a:lnTo>
                      <a:pt x="20" y="5"/>
                    </a:lnTo>
                    <a:lnTo>
                      <a:pt x="22" y="3"/>
                    </a:lnTo>
                    <a:lnTo>
                      <a:pt x="23" y="5"/>
                    </a:lnTo>
                    <a:lnTo>
                      <a:pt x="25" y="3"/>
                    </a:lnTo>
                    <a:lnTo>
                      <a:pt x="25" y="2"/>
                    </a:lnTo>
                    <a:lnTo>
                      <a:pt x="23" y="0"/>
                    </a:lnTo>
                    <a:lnTo>
                      <a:pt x="25" y="2"/>
                    </a:lnTo>
                    <a:lnTo>
                      <a:pt x="26" y="0"/>
                    </a:lnTo>
                    <a:lnTo>
                      <a:pt x="28" y="2"/>
                    </a:lnTo>
                    <a:lnTo>
                      <a:pt x="28" y="5"/>
                    </a:lnTo>
                    <a:lnTo>
                      <a:pt x="29" y="6"/>
                    </a:lnTo>
                    <a:lnTo>
                      <a:pt x="31" y="2"/>
                    </a:lnTo>
                    <a:lnTo>
                      <a:pt x="34" y="2"/>
                    </a:lnTo>
                    <a:lnTo>
                      <a:pt x="34" y="3"/>
                    </a:lnTo>
                    <a:lnTo>
                      <a:pt x="34" y="6"/>
                    </a:lnTo>
                    <a:lnTo>
                      <a:pt x="34" y="6"/>
                    </a:lnTo>
                    <a:lnTo>
                      <a:pt x="34" y="8"/>
                    </a:lnTo>
                    <a:lnTo>
                      <a:pt x="34" y="8"/>
                    </a:lnTo>
                    <a:lnTo>
                      <a:pt x="34" y="9"/>
                    </a:lnTo>
                    <a:lnTo>
                      <a:pt x="38" y="9"/>
                    </a:lnTo>
                    <a:lnTo>
                      <a:pt x="36" y="13"/>
                    </a:lnTo>
                    <a:lnTo>
                      <a:pt x="35" y="13"/>
                    </a:lnTo>
                    <a:lnTo>
                      <a:pt x="29" y="10"/>
                    </a:lnTo>
                    <a:lnTo>
                      <a:pt x="28" y="12"/>
                    </a:lnTo>
                    <a:lnTo>
                      <a:pt x="28" y="13"/>
                    </a:lnTo>
                    <a:lnTo>
                      <a:pt x="32" y="15"/>
                    </a:lnTo>
                    <a:lnTo>
                      <a:pt x="32" y="15"/>
                    </a:lnTo>
                    <a:lnTo>
                      <a:pt x="32" y="18"/>
                    </a:lnTo>
                    <a:lnTo>
                      <a:pt x="29" y="18"/>
                    </a:lnTo>
                    <a:lnTo>
                      <a:pt x="29" y="15"/>
                    </a:lnTo>
                    <a:lnTo>
                      <a:pt x="29" y="15"/>
                    </a:lnTo>
                    <a:lnTo>
                      <a:pt x="28" y="16"/>
                    </a:lnTo>
                    <a:lnTo>
                      <a:pt x="25" y="18"/>
                    </a:lnTo>
                    <a:lnTo>
                      <a:pt x="25" y="18"/>
                    </a:lnTo>
                    <a:lnTo>
                      <a:pt x="26" y="19"/>
                    </a:lnTo>
                    <a:lnTo>
                      <a:pt x="25" y="18"/>
                    </a:lnTo>
                    <a:lnTo>
                      <a:pt x="22" y="19"/>
                    </a:lnTo>
                    <a:lnTo>
                      <a:pt x="20" y="23"/>
                    </a:lnTo>
                    <a:lnTo>
                      <a:pt x="18" y="23"/>
                    </a:lnTo>
                    <a:lnTo>
                      <a:pt x="18" y="23"/>
                    </a:lnTo>
                    <a:lnTo>
                      <a:pt x="18" y="25"/>
                    </a:lnTo>
                    <a:lnTo>
                      <a:pt x="18" y="28"/>
                    </a:lnTo>
                    <a:lnTo>
                      <a:pt x="18" y="29"/>
                    </a:lnTo>
                    <a:lnTo>
                      <a:pt x="12" y="31"/>
                    </a:lnTo>
                    <a:lnTo>
                      <a:pt x="15" y="26"/>
                    </a:lnTo>
                    <a:lnTo>
                      <a:pt x="15" y="25"/>
                    </a:lnTo>
                    <a:lnTo>
                      <a:pt x="12" y="25"/>
                    </a:lnTo>
                    <a:lnTo>
                      <a:pt x="12" y="23"/>
                    </a:lnTo>
                    <a:lnTo>
                      <a:pt x="12" y="22"/>
                    </a:lnTo>
                    <a:lnTo>
                      <a:pt x="10" y="21"/>
                    </a:lnTo>
                    <a:lnTo>
                      <a:pt x="9" y="21"/>
                    </a:lnTo>
                    <a:lnTo>
                      <a:pt x="7" y="22"/>
                    </a:lnTo>
                    <a:lnTo>
                      <a:pt x="9" y="22"/>
                    </a:lnTo>
                    <a:lnTo>
                      <a:pt x="10" y="22"/>
                    </a:lnTo>
                    <a:lnTo>
                      <a:pt x="10" y="28"/>
                    </a:lnTo>
                    <a:lnTo>
                      <a:pt x="9" y="28"/>
                    </a:lnTo>
                    <a:lnTo>
                      <a:pt x="6" y="26"/>
                    </a:lnTo>
                    <a:lnTo>
                      <a:pt x="5" y="19"/>
                    </a:lnTo>
                    <a:lnTo>
                      <a:pt x="3" y="18"/>
                    </a:lnTo>
                    <a:lnTo>
                      <a:pt x="2" y="16"/>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43" name="Freeform 1556"/>
              <p:cNvSpPr>
                <a:spLocks/>
              </p:cNvSpPr>
              <p:nvPr/>
            </p:nvSpPr>
            <p:spPr bwMode="auto">
              <a:xfrm>
                <a:off x="4115828" y="2212828"/>
                <a:ext cx="5267" cy="5071"/>
              </a:xfrm>
              <a:custGeom>
                <a:avLst/>
                <a:gdLst/>
                <a:ahLst/>
                <a:cxnLst>
                  <a:cxn ang="0">
                    <a:pos x="0" y="2"/>
                  </a:cxn>
                  <a:cxn ang="0">
                    <a:pos x="0" y="2"/>
                  </a:cxn>
                  <a:cxn ang="0">
                    <a:pos x="2" y="2"/>
                  </a:cxn>
                  <a:cxn ang="0">
                    <a:pos x="2" y="0"/>
                  </a:cxn>
                  <a:cxn ang="0">
                    <a:pos x="5" y="2"/>
                  </a:cxn>
                  <a:cxn ang="0">
                    <a:pos x="6" y="5"/>
                  </a:cxn>
                  <a:cxn ang="0">
                    <a:pos x="3" y="2"/>
                  </a:cxn>
                  <a:cxn ang="0">
                    <a:pos x="2" y="3"/>
                  </a:cxn>
                  <a:cxn ang="0">
                    <a:pos x="0" y="2"/>
                  </a:cxn>
                </a:cxnLst>
                <a:rect l="0" t="0" r="r" b="b"/>
                <a:pathLst>
                  <a:path w="6" h="5">
                    <a:moveTo>
                      <a:pt x="0" y="2"/>
                    </a:moveTo>
                    <a:lnTo>
                      <a:pt x="0" y="2"/>
                    </a:lnTo>
                    <a:lnTo>
                      <a:pt x="2" y="2"/>
                    </a:lnTo>
                    <a:lnTo>
                      <a:pt x="2" y="0"/>
                    </a:lnTo>
                    <a:lnTo>
                      <a:pt x="5" y="2"/>
                    </a:lnTo>
                    <a:lnTo>
                      <a:pt x="6" y="5"/>
                    </a:lnTo>
                    <a:lnTo>
                      <a:pt x="3" y="2"/>
                    </a:lnTo>
                    <a:lnTo>
                      <a:pt x="2" y="3"/>
                    </a:lnTo>
                    <a:lnTo>
                      <a:pt x="0" y="2"/>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44" name="Freeform 1557"/>
              <p:cNvSpPr>
                <a:spLocks/>
              </p:cNvSpPr>
              <p:nvPr/>
            </p:nvSpPr>
            <p:spPr bwMode="auto">
              <a:xfrm>
                <a:off x="4115828" y="2212828"/>
                <a:ext cx="5267" cy="5071"/>
              </a:xfrm>
              <a:custGeom>
                <a:avLst/>
                <a:gdLst/>
                <a:ahLst/>
                <a:cxnLst>
                  <a:cxn ang="0">
                    <a:pos x="0" y="2"/>
                  </a:cxn>
                  <a:cxn ang="0">
                    <a:pos x="0" y="2"/>
                  </a:cxn>
                  <a:cxn ang="0">
                    <a:pos x="2" y="2"/>
                  </a:cxn>
                  <a:cxn ang="0">
                    <a:pos x="2" y="0"/>
                  </a:cxn>
                  <a:cxn ang="0">
                    <a:pos x="5" y="2"/>
                  </a:cxn>
                  <a:cxn ang="0">
                    <a:pos x="6" y="5"/>
                  </a:cxn>
                  <a:cxn ang="0">
                    <a:pos x="3" y="2"/>
                  </a:cxn>
                  <a:cxn ang="0">
                    <a:pos x="2" y="3"/>
                  </a:cxn>
                  <a:cxn ang="0">
                    <a:pos x="0" y="2"/>
                  </a:cxn>
                </a:cxnLst>
                <a:rect l="0" t="0" r="r" b="b"/>
                <a:pathLst>
                  <a:path w="6" h="5">
                    <a:moveTo>
                      <a:pt x="0" y="2"/>
                    </a:moveTo>
                    <a:lnTo>
                      <a:pt x="0" y="2"/>
                    </a:lnTo>
                    <a:lnTo>
                      <a:pt x="2" y="2"/>
                    </a:lnTo>
                    <a:lnTo>
                      <a:pt x="2" y="0"/>
                    </a:lnTo>
                    <a:lnTo>
                      <a:pt x="5" y="2"/>
                    </a:lnTo>
                    <a:lnTo>
                      <a:pt x="6" y="5"/>
                    </a:lnTo>
                    <a:lnTo>
                      <a:pt x="3" y="2"/>
                    </a:lnTo>
                    <a:lnTo>
                      <a:pt x="2" y="3"/>
                    </a:lnTo>
                    <a:lnTo>
                      <a:pt x="0" y="2"/>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45" name="Freeform 1558"/>
              <p:cNvSpPr>
                <a:spLocks/>
              </p:cNvSpPr>
              <p:nvPr/>
            </p:nvSpPr>
            <p:spPr bwMode="auto">
              <a:xfrm>
                <a:off x="4120217" y="2205730"/>
                <a:ext cx="13166" cy="10141"/>
              </a:xfrm>
              <a:custGeom>
                <a:avLst/>
                <a:gdLst/>
                <a:ahLst/>
                <a:cxnLst>
                  <a:cxn ang="0">
                    <a:pos x="6" y="5"/>
                  </a:cxn>
                  <a:cxn ang="0">
                    <a:pos x="6" y="5"/>
                  </a:cxn>
                  <a:cxn ang="0">
                    <a:pos x="6" y="5"/>
                  </a:cxn>
                  <a:cxn ang="0">
                    <a:pos x="4" y="5"/>
                  </a:cxn>
                  <a:cxn ang="0">
                    <a:pos x="3" y="3"/>
                  </a:cxn>
                  <a:cxn ang="0">
                    <a:pos x="4" y="3"/>
                  </a:cxn>
                  <a:cxn ang="0">
                    <a:pos x="4" y="2"/>
                  </a:cxn>
                  <a:cxn ang="0">
                    <a:pos x="6" y="0"/>
                  </a:cxn>
                  <a:cxn ang="0">
                    <a:pos x="7" y="0"/>
                  </a:cxn>
                  <a:cxn ang="0">
                    <a:pos x="11" y="0"/>
                  </a:cxn>
                  <a:cxn ang="0">
                    <a:pos x="11" y="2"/>
                  </a:cxn>
                  <a:cxn ang="0">
                    <a:pos x="10" y="2"/>
                  </a:cxn>
                  <a:cxn ang="0">
                    <a:pos x="10" y="3"/>
                  </a:cxn>
                  <a:cxn ang="0">
                    <a:pos x="13" y="3"/>
                  </a:cxn>
                  <a:cxn ang="0">
                    <a:pos x="13" y="2"/>
                  </a:cxn>
                  <a:cxn ang="0">
                    <a:pos x="13" y="5"/>
                  </a:cxn>
                  <a:cxn ang="0">
                    <a:pos x="14" y="5"/>
                  </a:cxn>
                  <a:cxn ang="0">
                    <a:pos x="14" y="6"/>
                  </a:cxn>
                  <a:cxn ang="0">
                    <a:pos x="13" y="6"/>
                  </a:cxn>
                  <a:cxn ang="0">
                    <a:pos x="11" y="7"/>
                  </a:cxn>
                  <a:cxn ang="0">
                    <a:pos x="9" y="9"/>
                  </a:cxn>
                  <a:cxn ang="0">
                    <a:pos x="7" y="7"/>
                  </a:cxn>
                  <a:cxn ang="0">
                    <a:pos x="7" y="9"/>
                  </a:cxn>
                  <a:cxn ang="0">
                    <a:pos x="4" y="10"/>
                  </a:cxn>
                  <a:cxn ang="0">
                    <a:pos x="4" y="10"/>
                  </a:cxn>
                  <a:cxn ang="0">
                    <a:pos x="4" y="10"/>
                  </a:cxn>
                  <a:cxn ang="0">
                    <a:pos x="3" y="10"/>
                  </a:cxn>
                  <a:cxn ang="0">
                    <a:pos x="1" y="7"/>
                  </a:cxn>
                  <a:cxn ang="0">
                    <a:pos x="0" y="6"/>
                  </a:cxn>
                  <a:cxn ang="0">
                    <a:pos x="1" y="6"/>
                  </a:cxn>
                  <a:cxn ang="0">
                    <a:pos x="1" y="5"/>
                  </a:cxn>
                  <a:cxn ang="0">
                    <a:pos x="1" y="5"/>
                  </a:cxn>
                  <a:cxn ang="0">
                    <a:pos x="4" y="5"/>
                  </a:cxn>
                  <a:cxn ang="0">
                    <a:pos x="6" y="5"/>
                  </a:cxn>
                </a:cxnLst>
                <a:rect l="0" t="0" r="r" b="b"/>
                <a:pathLst>
                  <a:path w="14" h="10">
                    <a:moveTo>
                      <a:pt x="6" y="5"/>
                    </a:moveTo>
                    <a:lnTo>
                      <a:pt x="6" y="5"/>
                    </a:lnTo>
                    <a:lnTo>
                      <a:pt x="6" y="5"/>
                    </a:lnTo>
                    <a:lnTo>
                      <a:pt x="4" y="5"/>
                    </a:lnTo>
                    <a:lnTo>
                      <a:pt x="3" y="3"/>
                    </a:lnTo>
                    <a:lnTo>
                      <a:pt x="4" y="3"/>
                    </a:lnTo>
                    <a:lnTo>
                      <a:pt x="4" y="2"/>
                    </a:lnTo>
                    <a:lnTo>
                      <a:pt x="6" y="0"/>
                    </a:lnTo>
                    <a:lnTo>
                      <a:pt x="7" y="0"/>
                    </a:lnTo>
                    <a:lnTo>
                      <a:pt x="11" y="0"/>
                    </a:lnTo>
                    <a:lnTo>
                      <a:pt x="11" y="2"/>
                    </a:lnTo>
                    <a:lnTo>
                      <a:pt x="10" y="2"/>
                    </a:lnTo>
                    <a:lnTo>
                      <a:pt x="10" y="3"/>
                    </a:lnTo>
                    <a:lnTo>
                      <a:pt x="13" y="3"/>
                    </a:lnTo>
                    <a:lnTo>
                      <a:pt x="13" y="2"/>
                    </a:lnTo>
                    <a:lnTo>
                      <a:pt x="13" y="5"/>
                    </a:lnTo>
                    <a:lnTo>
                      <a:pt x="14" y="5"/>
                    </a:lnTo>
                    <a:lnTo>
                      <a:pt x="14" y="6"/>
                    </a:lnTo>
                    <a:lnTo>
                      <a:pt x="13" y="6"/>
                    </a:lnTo>
                    <a:lnTo>
                      <a:pt x="11" y="7"/>
                    </a:lnTo>
                    <a:lnTo>
                      <a:pt x="9" y="9"/>
                    </a:lnTo>
                    <a:lnTo>
                      <a:pt x="7" y="7"/>
                    </a:lnTo>
                    <a:lnTo>
                      <a:pt x="7" y="9"/>
                    </a:lnTo>
                    <a:lnTo>
                      <a:pt x="4" y="10"/>
                    </a:lnTo>
                    <a:lnTo>
                      <a:pt x="4" y="10"/>
                    </a:lnTo>
                    <a:lnTo>
                      <a:pt x="4" y="10"/>
                    </a:lnTo>
                    <a:lnTo>
                      <a:pt x="3" y="10"/>
                    </a:lnTo>
                    <a:lnTo>
                      <a:pt x="1" y="7"/>
                    </a:lnTo>
                    <a:lnTo>
                      <a:pt x="0" y="6"/>
                    </a:lnTo>
                    <a:lnTo>
                      <a:pt x="1" y="6"/>
                    </a:lnTo>
                    <a:lnTo>
                      <a:pt x="1" y="5"/>
                    </a:lnTo>
                    <a:lnTo>
                      <a:pt x="1" y="5"/>
                    </a:lnTo>
                    <a:lnTo>
                      <a:pt x="4" y="5"/>
                    </a:lnTo>
                    <a:lnTo>
                      <a:pt x="6" y="5"/>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46" name="Freeform 1559"/>
              <p:cNvSpPr>
                <a:spLocks/>
              </p:cNvSpPr>
              <p:nvPr/>
            </p:nvSpPr>
            <p:spPr bwMode="auto">
              <a:xfrm>
                <a:off x="4120217" y="2205730"/>
                <a:ext cx="13166" cy="10141"/>
              </a:xfrm>
              <a:custGeom>
                <a:avLst/>
                <a:gdLst/>
                <a:ahLst/>
                <a:cxnLst>
                  <a:cxn ang="0">
                    <a:pos x="6" y="5"/>
                  </a:cxn>
                  <a:cxn ang="0">
                    <a:pos x="6" y="5"/>
                  </a:cxn>
                  <a:cxn ang="0">
                    <a:pos x="6" y="5"/>
                  </a:cxn>
                  <a:cxn ang="0">
                    <a:pos x="4" y="5"/>
                  </a:cxn>
                  <a:cxn ang="0">
                    <a:pos x="3" y="3"/>
                  </a:cxn>
                  <a:cxn ang="0">
                    <a:pos x="4" y="3"/>
                  </a:cxn>
                  <a:cxn ang="0">
                    <a:pos x="4" y="2"/>
                  </a:cxn>
                  <a:cxn ang="0">
                    <a:pos x="6" y="0"/>
                  </a:cxn>
                  <a:cxn ang="0">
                    <a:pos x="7" y="0"/>
                  </a:cxn>
                  <a:cxn ang="0">
                    <a:pos x="11" y="0"/>
                  </a:cxn>
                  <a:cxn ang="0">
                    <a:pos x="11" y="2"/>
                  </a:cxn>
                  <a:cxn ang="0">
                    <a:pos x="10" y="2"/>
                  </a:cxn>
                  <a:cxn ang="0">
                    <a:pos x="10" y="3"/>
                  </a:cxn>
                  <a:cxn ang="0">
                    <a:pos x="13" y="3"/>
                  </a:cxn>
                  <a:cxn ang="0">
                    <a:pos x="13" y="2"/>
                  </a:cxn>
                  <a:cxn ang="0">
                    <a:pos x="13" y="5"/>
                  </a:cxn>
                  <a:cxn ang="0">
                    <a:pos x="14" y="5"/>
                  </a:cxn>
                  <a:cxn ang="0">
                    <a:pos x="14" y="6"/>
                  </a:cxn>
                  <a:cxn ang="0">
                    <a:pos x="13" y="6"/>
                  </a:cxn>
                  <a:cxn ang="0">
                    <a:pos x="11" y="7"/>
                  </a:cxn>
                  <a:cxn ang="0">
                    <a:pos x="9" y="9"/>
                  </a:cxn>
                  <a:cxn ang="0">
                    <a:pos x="7" y="7"/>
                  </a:cxn>
                  <a:cxn ang="0">
                    <a:pos x="7" y="9"/>
                  </a:cxn>
                  <a:cxn ang="0">
                    <a:pos x="4" y="10"/>
                  </a:cxn>
                  <a:cxn ang="0">
                    <a:pos x="4" y="10"/>
                  </a:cxn>
                  <a:cxn ang="0">
                    <a:pos x="4" y="10"/>
                  </a:cxn>
                  <a:cxn ang="0">
                    <a:pos x="3" y="10"/>
                  </a:cxn>
                  <a:cxn ang="0">
                    <a:pos x="1" y="7"/>
                  </a:cxn>
                  <a:cxn ang="0">
                    <a:pos x="0" y="6"/>
                  </a:cxn>
                  <a:cxn ang="0">
                    <a:pos x="1" y="6"/>
                  </a:cxn>
                  <a:cxn ang="0">
                    <a:pos x="1" y="5"/>
                  </a:cxn>
                  <a:cxn ang="0">
                    <a:pos x="1" y="5"/>
                  </a:cxn>
                  <a:cxn ang="0">
                    <a:pos x="4" y="5"/>
                  </a:cxn>
                  <a:cxn ang="0">
                    <a:pos x="6" y="5"/>
                  </a:cxn>
                </a:cxnLst>
                <a:rect l="0" t="0" r="r" b="b"/>
                <a:pathLst>
                  <a:path w="14" h="10">
                    <a:moveTo>
                      <a:pt x="6" y="5"/>
                    </a:moveTo>
                    <a:lnTo>
                      <a:pt x="6" y="5"/>
                    </a:lnTo>
                    <a:lnTo>
                      <a:pt x="6" y="5"/>
                    </a:lnTo>
                    <a:lnTo>
                      <a:pt x="4" y="5"/>
                    </a:lnTo>
                    <a:lnTo>
                      <a:pt x="3" y="3"/>
                    </a:lnTo>
                    <a:lnTo>
                      <a:pt x="4" y="3"/>
                    </a:lnTo>
                    <a:lnTo>
                      <a:pt x="4" y="2"/>
                    </a:lnTo>
                    <a:lnTo>
                      <a:pt x="6" y="0"/>
                    </a:lnTo>
                    <a:lnTo>
                      <a:pt x="7" y="0"/>
                    </a:lnTo>
                    <a:lnTo>
                      <a:pt x="11" y="0"/>
                    </a:lnTo>
                    <a:lnTo>
                      <a:pt x="11" y="2"/>
                    </a:lnTo>
                    <a:lnTo>
                      <a:pt x="10" y="2"/>
                    </a:lnTo>
                    <a:lnTo>
                      <a:pt x="10" y="3"/>
                    </a:lnTo>
                    <a:lnTo>
                      <a:pt x="13" y="3"/>
                    </a:lnTo>
                    <a:lnTo>
                      <a:pt x="13" y="2"/>
                    </a:lnTo>
                    <a:lnTo>
                      <a:pt x="13" y="5"/>
                    </a:lnTo>
                    <a:lnTo>
                      <a:pt x="14" y="5"/>
                    </a:lnTo>
                    <a:lnTo>
                      <a:pt x="14" y="6"/>
                    </a:lnTo>
                    <a:lnTo>
                      <a:pt x="13" y="6"/>
                    </a:lnTo>
                    <a:lnTo>
                      <a:pt x="11" y="7"/>
                    </a:lnTo>
                    <a:lnTo>
                      <a:pt x="9" y="9"/>
                    </a:lnTo>
                    <a:lnTo>
                      <a:pt x="7" y="7"/>
                    </a:lnTo>
                    <a:lnTo>
                      <a:pt x="7" y="9"/>
                    </a:lnTo>
                    <a:lnTo>
                      <a:pt x="4" y="10"/>
                    </a:lnTo>
                    <a:lnTo>
                      <a:pt x="4" y="10"/>
                    </a:lnTo>
                    <a:lnTo>
                      <a:pt x="4" y="10"/>
                    </a:lnTo>
                    <a:lnTo>
                      <a:pt x="3" y="10"/>
                    </a:lnTo>
                    <a:lnTo>
                      <a:pt x="1" y="7"/>
                    </a:lnTo>
                    <a:lnTo>
                      <a:pt x="0" y="6"/>
                    </a:lnTo>
                    <a:lnTo>
                      <a:pt x="1" y="6"/>
                    </a:lnTo>
                    <a:lnTo>
                      <a:pt x="1" y="5"/>
                    </a:lnTo>
                    <a:lnTo>
                      <a:pt x="1" y="5"/>
                    </a:lnTo>
                    <a:lnTo>
                      <a:pt x="4" y="5"/>
                    </a:lnTo>
                    <a:lnTo>
                      <a:pt x="6" y="5"/>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47" name="Freeform 1560"/>
              <p:cNvSpPr>
                <a:spLocks/>
              </p:cNvSpPr>
              <p:nvPr/>
            </p:nvSpPr>
            <p:spPr bwMode="auto">
              <a:xfrm>
                <a:off x="4126362" y="2199645"/>
                <a:ext cx="3511" cy="3042"/>
              </a:xfrm>
              <a:custGeom>
                <a:avLst/>
                <a:gdLst/>
                <a:ahLst/>
                <a:cxnLst>
                  <a:cxn ang="0">
                    <a:pos x="0" y="0"/>
                  </a:cxn>
                  <a:cxn ang="0">
                    <a:pos x="2" y="2"/>
                  </a:cxn>
                  <a:cxn ang="0">
                    <a:pos x="2" y="2"/>
                  </a:cxn>
                  <a:cxn ang="0">
                    <a:pos x="3" y="2"/>
                  </a:cxn>
                  <a:cxn ang="0">
                    <a:pos x="3" y="3"/>
                  </a:cxn>
                  <a:cxn ang="0">
                    <a:pos x="3" y="3"/>
                  </a:cxn>
                  <a:cxn ang="0">
                    <a:pos x="2" y="3"/>
                  </a:cxn>
                  <a:cxn ang="0">
                    <a:pos x="0" y="3"/>
                  </a:cxn>
                  <a:cxn ang="0">
                    <a:pos x="0" y="0"/>
                  </a:cxn>
                </a:cxnLst>
                <a:rect l="0" t="0" r="r" b="b"/>
                <a:pathLst>
                  <a:path w="3" h="3">
                    <a:moveTo>
                      <a:pt x="0" y="0"/>
                    </a:moveTo>
                    <a:lnTo>
                      <a:pt x="2" y="2"/>
                    </a:lnTo>
                    <a:lnTo>
                      <a:pt x="2" y="2"/>
                    </a:lnTo>
                    <a:lnTo>
                      <a:pt x="3" y="2"/>
                    </a:lnTo>
                    <a:lnTo>
                      <a:pt x="3" y="3"/>
                    </a:lnTo>
                    <a:lnTo>
                      <a:pt x="3" y="3"/>
                    </a:lnTo>
                    <a:lnTo>
                      <a:pt x="2" y="3"/>
                    </a:lnTo>
                    <a:lnTo>
                      <a:pt x="0" y="3"/>
                    </a:lnTo>
                    <a:lnTo>
                      <a:pt x="0"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48" name="Freeform 1561"/>
              <p:cNvSpPr>
                <a:spLocks/>
              </p:cNvSpPr>
              <p:nvPr/>
            </p:nvSpPr>
            <p:spPr bwMode="auto">
              <a:xfrm>
                <a:off x="4126362" y="2199645"/>
                <a:ext cx="3511" cy="3042"/>
              </a:xfrm>
              <a:custGeom>
                <a:avLst/>
                <a:gdLst/>
                <a:ahLst/>
                <a:cxnLst>
                  <a:cxn ang="0">
                    <a:pos x="0" y="0"/>
                  </a:cxn>
                  <a:cxn ang="0">
                    <a:pos x="2" y="2"/>
                  </a:cxn>
                  <a:cxn ang="0">
                    <a:pos x="2" y="2"/>
                  </a:cxn>
                  <a:cxn ang="0">
                    <a:pos x="3" y="2"/>
                  </a:cxn>
                  <a:cxn ang="0">
                    <a:pos x="3" y="3"/>
                  </a:cxn>
                  <a:cxn ang="0">
                    <a:pos x="3" y="3"/>
                  </a:cxn>
                  <a:cxn ang="0">
                    <a:pos x="2" y="3"/>
                  </a:cxn>
                  <a:cxn ang="0">
                    <a:pos x="0" y="3"/>
                  </a:cxn>
                  <a:cxn ang="0">
                    <a:pos x="0" y="0"/>
                  </a:cxn>
                </a:cxnLst>
                <a:rect l="0" t="0" r="r" b="b"/>
                <a:pathLst>
                  <a:path w="3" h="3">
                    <a:moveTo>
                      <a:pt x="0" y="0"/>
                    </a:moveTo>
                    <a:lnTo>
                      <a:pt x="2" y="2"/>
                    </a:lnTo>
                    <a:lnTo>
                      <a:pt x="2" y="2"/>
                    </a:lnTo>
                    <a:lnTo>
                      <a:pt x="3" y="2"/>
                    </a:lnTo>
                    <a:lnTo>
                      <a:pt x="3" y="3"/>
                    </a:lnTo>
                    <a:lnTo>
                      <a:pt x="3" y="3"/>
                    </a:lnTo>
                    <a:lnTo>
                      <a:pt x="2" y="3"/>
                    </a:lnTo>
                    <a:lnTo>
                      <a:pt x="0" y="3"/>
                    </a:lnTo>
                    <a:lnTo>
                      <a:pt x="0"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49" name="Freeform 1562"/>
              <p:cNvSpPr>
                <a:spLocks/>
              </p:cNvSpPr>
              <p:nvPr/>
            </p:nvSpPr>
            <p:spPr bwMode="auto">
              <a:xfrm>
                <a:off x="4187808" y="2148939"/>
                <a:ext cx="12289" cy="17240"/>
              </a:xfrm>
              <a:custGeom>
                <a:avLst/>
                <a:gdLst/>
                <a:ahLst/>
                <a:cxnLst>
                  <a:cxn ang="0">
                    <a:pos x="3" y="11"/>
                  </a:cxn>
                  <a:cxn ang="0">
                    <a:pos x="3" y="9"/>
                  </a:cxn>
                  <a:cxn ang="0">
                    <a:pos x="6" y="8"/>
                  </a:cxn>
                  <a:cxn ang="0">
                    <a:pos x="10" y="3"/>
                  </a:cxn>
                  <a:cxn ang="0">
                    <a:pos x="10" y="0"/>
                  </a:cxn>
                  <a:cxn ang="0">
                    <a:pos x="11" y="2"/>
                  </a:cxn>
                  <a:cxn ang="0">
                    <a:pos x="11" y="2"/>
                  </a:cxn>
                  <a:cxn ang="0">
                    <a:pos x="13" y="2"/>
                  </a:cxn>
                  <a:cxn ang="0">
                    <a:pos x="13" y="3"/>
                  </a:cxn>
                  <a:cxn ang="0">
                    <a:pos x="7" y="9"/>
                  </a:cxn>
                  <a:cxn ang="0">
                    <a:pos x="7" y="12"/>
                  </a:cxn>
                  <a:cxn ang="0">
                    <a:pos x="6" y="13"/>
                  </a:cxn>
                  <a:cxn ang="0">
                    <a:pos x="6" y="15"/>
                  </a:cxn>
                  <a:cxn ang="0">
                    <a:pos x="1" y="16"/>
                  </a:cxn>
                  <a:cxn ang="0">
                    <a:pos x="0" y="16"/>
                  </a:cxn>
                  <a:cxn ang="0">
                    <a:pos x="0" y="13"/>
                  </a:cxn>
                  <a:cxn ang="0">
                    <a:pos x="1" y="12"/>
                  </a:cxn>
                  <a:cxn ang="0">
                    <a:pos x="3" y="12"/>
                  </a:cxn>
                  <a:cxn ang="0">
                    <a:pos x="3" y="11"/>
                  </a:cxn>
                </a:cxnLst>
                <a:rect l="0" t="0" r="r" b="b"/>
                <a:pathLst>
                  <a:path w="13" h="16">
                    <a:moveTo>
                      <a:pt x="3" y="11"/>
                    </a:moveTo>
                    <a:lnTo>
                      <a:pt x="3" y="9"/>
                    </a:lnTo>
                    <a:lnTo>
                      <a:pt x="6" y="8"/>
                    </a:lnTo>
                    <a:lnTo>
                      <a:pt x="10" y="3"/>
                    </a:lnTo>
                    <a:lnTo>
                      <a:pt x="10" y="0"/>
                    </a:lnTo>
                    <a:lnTo>
                      <a:pt x="11" y="2"/>
                    </a:lnTo>
                    <a:lnTo>
                      <a:pt x="11" y="2"/>
                    </a:lnTo>
                    <a:lnTo>
                      <a:pt x="13" y="2"/>
                    </a:lnTo>
                    <a:lnTo>
                      <a:pt x="13" y="3"/>
                    </a:lnTo>
                    <a:lnTo>
                      <a:pt x="7" y="9"/>
                    </a:lnTo>
                    <a:lnTo>
                      <a:pt x="7" y="12"/>
                    </a:lnTo>
                    <a:lnTo>
                      <a:pt x="6" y="13"/>
                    </a:lnTo>
                    <a:lnTo>
                      <a:pt x="6" y="15"/>
                    </a:lnTo>
                    <a:lnTo>
                      <a:pt x="1" y="16"/>
                    </a:lnTo>
                    <a:lnTo>
                      <a:pt x="0" y="16"/>
                    </a:lnTo>
                    <a:lnTo>
                      <a:pt x="0" y="13"/>
                    </a:lnTo>
                    <a:lnTo>
                      <a:pt x="1" y="12"/>
                    </a:lnTo>
                    <a:lnTo>
                      <a:pt x="3" y="12"/>
                    </a:lnTo>
                    <a:lnTo>
                      <a:pt x="3" y="11"/>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50" name="Freeform 1563"/>
              <p:cNvSpPr>
                <a:spLocks/>
              </p:cNvSpPr>
              <p:nvPr/>
            </p:nvSpPr>
            <p:spPr bwMode="auto">
              <a:xfrm>
                <a:off x="4187808" y="2148939"/>
                <a:ext cx="12289" cy="17240"/>
              </a:xfrm>
              <a:custGeom>
                <a:avLst/>
                <a:gdLst/>
                <a:ahLst/>
                <a:cxnLst>
                  <a:cxn ang="0">
                    <a:pos x="3" y="11"/>
                  </a:cxn>
                  <a:cxn ang="0">
                    <a:pos x="3" y="9"/>
                  </a:cxn>
                  <a:cxn ang="0">
                    <a:pos x="6" y="8"/>
                  </a:cxn>
                  <a:cxn ang="0">
                    <a:pos x="10" y="3"/>
                  </a:cxn>
                  <a:cxn ang="0">
                    <a:pos x="10" y="0"/>
                  </a:cxn>
                  <a:cxn ang="0">
                    <a:pos x="11" y="2"/>
                  </a:cxn>
                  <a:cxn ang="0">
                    <a:pos x="11" y="2"/>
                  </a:cxn>
                  <a:cxn ang="0">
                    <a:pos x="13" y="2"/>
                  </a:cxn>
                  <a:cxn ang="0">
                    <a:pos x="13" y="3"/>
                  </a:cxn>
                  <a:cxn ang="0">
                    <a:pos x="7" y="9"/>
                  </a:cxn>
                  <a:cxn ang="0">
                    <a:pos x="7" y="12"/>
                  </a:cxn>
                  <a:cxn ang="0">
                    <a:pos x="6" y="13"/>
                  </a:cxn>
                  <a:cxn ang="0">
                    <a:pos x="6" y="15"/>
                  </a:cxn>
                  <a:cxn ang="0">
                    <a:pos x="1" y="16"/>
                  </a:cxn>
                  <a:cxn ang="0">
                    <a:pos x="0" y="16"/>
                  </a:cxn>
                  <a:cxn ang="0">
                    <a:pos x="0" y="13"/>
                  </a:cxn>
                  <a:cxn ang="0">
                    <a:pos x="1" y="12"/>
                  </a:cxn>
                  <a:cxn ang="0">
                    <a:pos x="3" y="12"/>
                  </a:cxn>
                  <a:cxn ang="0">
                    <a:pos x="3" y="11"/>
                  </a:cxn>
                </a:cxnLst>
                <a:rect l="0" t="0" r="r" b="b"/>
                <a:pathLst>
                  <a:path w="13" h="16">
                    <a:moveTo>
                      <a:pt x="3" y="11"/>
                    </a:moveTo>
                    <a:lnTo>
                      <a:pt x="3" y="9"/>
                    </a:lnTo>
                    <a:lnTo>
                      <a:pt x="6" y="8"/>
                    </a:lnTo>
                    <a:lnTo>
                      <a:pt x="10" y="3"/>
                    </a:lnTo>
                    <a:lnTo>
                      <a:pt x="10" y="0"/>
                    </a:lnTo>
                    <a:lnTo>
                      <a:pt x="11" y="2"/>
                    </a:lnTo>
                    <a:lnTo>
                      <a:pt x="11" y="2"/>
                    </a:lnTo>
                    <a:lnTo>
                      <a:pt x="13" y="2"/>
                    </a:lnTo>
                    <a:lnTo>
                      <a:pt x="13" y="3"/>
                    </a:lnTo>
                    <a:lnTo>
                      <a:pt x="7" y="9"/>
                    </a:lnTo>
                    <a:lnTo>
                      <a:pt x="7" y="12"/>
                    </a:lnTo>
                    <a:lnTo>
                      <a:pt x="6" y="13"/>
                    </a:lnTo>
                    <a:lnTo>
                      <a:pt x="6" y="15"/>
                    </a:lnTo>
                    <a:lnTo>
                      <a:pt x="1" y="16"/>
                    </a:lnTo>
                    <a:lnTo>
                      <a:pt x="0" y="16"/>
                    </a:lnTo>
                    <a:lnTo>
                      <a:pt x="0" y="13"/>
                    </a:lnTo>
                    <a:lnTo>
                      <a:pt x="1" y="12"/>
                    </a:lnTo>
                    <a:lnTo>
                      <a:pt x="3" y="12"/>
                    </a:lnTo>
                    <a:lnTo>
                      <a:pt x="3" y="11"/>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51" name="Freeform 1564"/>
              <p:cNvSpPr>
                <a:spLocks/>
              </p:cNvSpPr>
              <p:nvPr/>
            </p:nvSpPr>
            <p:spPr bwMode="auto">
              <a:xfrm>
                <a:off x="4202731" y="2144882"/>
                <a:ext cx="8778" cy="6085"/>
              </a:xfrm>
              <a:custGeom>
                <a:avLst/>
                <a:gdLst/>
                <a:ahLst/>
                <a:cxnLst>
                  <a:cxn ang="0">
                    <a:pos x="1" y="4"/>
                  </a:cxn>
                  <a:cxn ang="0">
                    <a:pos x="0" y="4"/>
                  </a:cxn>
                  <a:cxn ang="0">
                    <a:pos x="0" y="4"/>
                  </a:cxn>
                  <a:cxn ang="0">
                    <a:pos x="1" y="3"/>
                  </a:cxn>
                  <a:cxn ang="0">
                    <a:pos x="1" y="1"/>
                  </a:cxn>
                  <a:cxn ang="0">
                    <a:pos x="3" y="0"/>
                  </a:cxn>
                  <a:cxn ang="0">
                    <a:pos x="4" y="1"/>
                  </a:cxn>
                  <a:cxn ang="0">
                    <a:pos x="4" y="1"/>
                  </a:cxn>
                  <a:cxn ang="0">
                    <a:pos x="6" y="3"/>
                  </a:cxn>
                  <a:cxn ang="0">
                    <a:pos x="7" y="3"/>
                  </a:cxn>
                  <a:cxn ang="0">
                    <a:pos x="9" y="3"/>
                  </a:cxn>
                  <a:cxn ang="0">
                    <a:pos x="9" y="4"/>
                  </a:cxn>
                  <a:cxn ang="0">
                    <a:pos x="3" y="6"/>
                  </a:cxn>
                  <a:cxn ang="0">
                    <a:pos x="3" y="4"/>
                  </a:cxn>
                  <a:cxn ang="0">
                    <a:pos x="3" y="4"/>
                  </a:cxn>
                  <a:cxn ang="0">
                    <a:pos x="1" y="4"/>
                  </a:cxn>
                  <a:cxn ang="0">
                    <a:pos x="1" y="4"/>
                  </a:cxn>
                </a:cxnLst>
                <a:rect l="0" t="0" r="r" b="b"/>
                <a:pathLst>
                  <a:path w="9" h="6">
                    <a:moveTo>
                      <a:pt x="1" y="4"/>
                    </a:moveTo>
                    <a:lnTo>
                      <a:pt x="0" y="4"/>
                    </a:lnTo>
                    <a:lnTo>
                      <a:pt x="0" y="4"/>
                    </a:lnTo>
                    <a:lnTo>
                      <a:pt x="1" y="3"/>
                    </a:lnTo>
                    <a:lnTo>
                      <a:pt x="1" y="1"/>
                    </a:lnTo>
                    <a:lnTo>
                      <a:pt x="3" y="0"/>
                    </a:lnTo>
                    <a:lnTo>
                      <a:pt x="4" y="1"/>
                    </a:lnTo>
                    <a:lnTo>
                      <a:pt x="4" y="1"/>
                    </a:lnTo>
                    <a:lnTo>
                      <a:pt x="6" y="3"/>
                    </a:lnTo>
                    <a:lnTo>
                      <a:pt x="7" y="3"/>
                    </a:lnTo>
                    <a:lnTo>
                      <a:pt x="9" y="3"/>
                    </a:lnTo>
                    <a:lnTo>
                      <a:pt x="9" y="4"/>
                    </a:lnTo>
                    <a:lnTo>
                      <a:pt x="3" y="6"/>
                    </a:lnTo>
                    <a:lnTo>
                      <a:pt x="3" y="4"/>
                    </a:lnTo>
                    <a:lnTo>
                      <a:pt x="3" y="4"/>
                    </a:lnTo>
                    <a:lnTo>
                      <a:pt x="1" y="4"/>
                    </a:lnTo>
                    <a:lnTo>
                      <a:pt x="1" y="4"/>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52" name="Freeform 1565"/>
              <p:cNvSpPr>
                <a:spLocks/>
              </p:cNvSpPr>
              <p:nvPr/>
            </p:nvSpPr>
            <p:spPr bwMode="auto">
              <a:xfrm>
                <a:off x="4202731" y="2144882"/>
                <a:ext cx="8778" cy="6085"/>
              </a:xfrm>
              <a:custGeom>
                <a:avLst/>
                <a:gdLst/>
                <a:ahLst/>
                <a:cxnLst>
                  <a:cxn ang="0">
                    <a:pos x="1" y="4"/>
                  </a:cxn>
                  <a:cxn ang="0">
                    <a:pos x="0" y="4"/>
                  </a:cxn>
                  <a:cxn ang="0">
                    <a:pos x="0" y="4"/>
                  </a:cxn>
                  <a:cxn ang="0">
                    <a:pos x="1" y="3"/>
                  </a:cxn>
                  <a:cxn ang="0">
                    <a:pos x="1" y="1"/>
                  </a:cxn>
                  <a:cxn ang="0">
                    <a:pos x="3" y="0"/>
                  </a:cxn>
                  <a:cxn ang="0">
                    <a:pos x="4" y="1"/>
                  </a:cxn>
                  <a:cxn ang="0">
                    <a:pos x="4" y="1"/>
                  </a:cxn>
                  <a:cxn ang="0">
                    <a:pos x="6" y="3"/>
                  </a:cxn>
                  <a:cxn ang="0">
                    <a:pos x="7" y="3"/>
                  </a:cxn>
                  <a:cxn ang="0">
                    <a:pos x="9" y="3"/>
                  </a:cxn>
                  <a:cxn ang="0">
                    <a:pos x="9" y="4"/>
                  </a:cxn>
                  <a:cxn ang="0">
                    <a:pos x="3" y="6"/>
                  </a:cxn>
                  <a:cxn ang="0">
                    <a:pos x="3" y="4"/>
                  </a:cxn>
                  <a:cxn ang="0">
                    <a:pos x="3" y="4"/>
                  </a:cxn>
                  <a:cxn ang="0">
                    <a:pos x="1" y="4"/>
                  </a:cxn>
                  <a:cxn ang="0">
                    <a:pos x="1" y="4"/>
                  </a:cxn>
                </a:cxnLst>
                <a:rect l="0" t="0" r="r" b="b"/>
                <a:pathLst>
                  <a:path w="9" h="6">
                    <a:moveTo>
                      <a:pt x="1" y="4"/>
                    </a:moveTo>
                    <a:lnTo>
                      <a:pt x="0" y="4"/>
                    </a:lnTo>
                    <a:lnTo>
                      <a:pt x="0" y="4"/>
                    </a:lnTo>
                    <a:lnTo>
                      <a:pt x="1" y="3"/>
                    </a:lnTo>
                    <a:lnTo>
                      <a:pt x="1" y="1"/>
                    </a:lnTo>
                    <a:lnTo>
                      <a:pt x="3" y="0"/>
                    </a:lnTo>
                    <a:lnTo>
                      <a:pt x="4" y="1"/>
                    </a:lnTo>
                    <a:lnTo>
                      <a:pt x="4" y="1"/>
                    </a:lnTo>
                    <a:lnTo>
                      <a:pt x="6" y="3"/>
                    </a:lnTo>
                    <a:lnTo>
                      <a:pt x="7" y="3"/>
                    </a:lnTo>
                    <a:lnTo>
                      <a:pt x="9" y="3"/>
                    </a:lnTo>
                    <a:lnTo>
                      <a:pt x="9" y="4"/>
                    </a:lnTo>
                    <a:lnTo>
                      <a:pt x="3" y="6"/>
                    </a:lnTo>
                    <a:lnTo>
                      <a:pt x="3" y="4"/>
                    </a:lnTo>
                    <a:lnTo>
                      <a:pt x="3" y="4"/>
                    </a:lnTo>
                    <a:lnTo>
                      <a:pt x="1" y="4"/>
                    </a:lnTo>
                    <a:lnTo>
                      <a:pt x="1" y="4"/>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53" name="Freeform 1566"/>
              <p:cNvSpPr>
                <a:spLocks/>
              </p:cNvSpPr>
              <p:nvPr/>
            </p:nvSpPr>
            <p:spPr bwMode="auto">
              <a:xfrm>
                <a:off x="4016637" y="2193560"/>
                <a:ext cx="3511" cy="8113"/>
              </a:xfrm>
              <a:custGeom>
                <a:avLst/>
                <a:gdLst/>
                <a:ahLst/>
                <a:cxnLst>
                  <a:cxn ang="0">
                    <a:pos x="4" y="1"/>
                  </a:cxn>
                  <a:cxn ang="0">
                    <a:pos x="4" y="0"/>
                  </a:cxn>
                  <a:cxn ang="0">
                    <a:pos x="2" y="7"/>
                  </a:cxn>
                  <a:cxn ang="0">
                    <a:pos x="1" y="7"/>
                  </a:cxn>
                  <a:cxn ang="0">
                    <a:pos x="0" y="7"/>
                  </a:cxn>
                  <a:cxn ang="0">
                    <a:pos x="0" y="4"/>
                  </a:cxn>
                  <a:cxn ang="0">
                    <a:pos x="0" y="4"/>
                  </a:cxn>
                  <a:cxn ang="0">
                    <a:pos x="1" y="2"/>
                  </a:cxn>
                  <a:cxn ang="0">
                    <a:pos x="4" y="1"/>
                  </a:cxn>
                </a:cxnLst>
                <a:rect l="0" t="0" r="r" b="b"/>
                <a:pathLst>
                  <a:path w="4" h="7">
                    <a:moveTo>
                      <a:pt x="4" y="1"/>
                    </a:moveTo>
                    <a:lnTo>
                      <a:pt x="4" y="0"/>
                    </a:lnTo>
                    <a:lnTo>
                      <a:pt x="2" y="7"/>
                    </a:lnTo>
                    <a:lnTo>
                      <a:pt x="1" y="7"/>
                    </a:lnTo>
                    <a:lnTo>
                      <a:pt x="0" y="7"/>
                    </a:lnTo>
                    <a:lnTo>
                      <a:pt x="0" y="4"/>
                    </a:lnTo>
                    <a:lnTo>
                      <a:pt x="0" y="4"/>
                    </a:lnTo>
                    <a:lnTo>
                      <a:pt x="1" y="2"/>
                    </a:lnTo>
                    <a:lnTo>
                      <a:pt x="4" y="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54" name="Freeform 1567"/>
              <p:cNvSpPr>
                <a:spLocks/>
              </p:cNvSpPr>
              <p:nvPr/>
            </p:nvSpPr>
            <p:spPr bwMode="auto">
              <a:xfrm>
                <a:off x="4016637" y="2193560"/>
                <a:ext cx="3511" cy="8113"/>
              </a:xfrm>
              <a:custGeom>
                <a:avLst/>
                <a:gdLst/>
                <a:ahLst/>
                <a:cxnLst>
                  <a:cxn ang="0">
                    <a:pos x="4" y="1"/>
                  </a:cxn>
                  <a:cxn ang="0">
                    <a:pos x="4" y="0"/>
                  </a:cxn>
                  <a:cxn ang="0">
                    <a:pos x="2" y="7"/>
                  </a:cxn>
                  <a:cxn ang="0">
                    <a:pos x="1" y="7"/>
                  </a:cxn>
                  <a:cxn ang="0">
                    <a:pos x="0" y="7"/>
                  </a:cxn>
                  <a:cxn ang="0">
                    <a:pos x="0" y="4"/>
                  </a:cxn>
                  <a:cxn ang="0">
                    <a:pos x="0" y="4"/>
                  </a:cxn>
                  <a:cxn ang="0">
                    <a:pos x="1" y="2"/>
                  </a:cxn>
                  <a:cxn ang="0">
                    <a:pos x="4" y="1"/>
                  </a:cxn>
                </a:cxnLst>
                <a:rect l="0" t="0" r="r" b="b"/>
                <a:pathLst>
                  <a:path w="4" h="7">
                    <a:moveTo>
                      <a:pt x="4" y="1"/>
                    </a:moveTo>
                    <a:lnTo>
                      <a:pt x="4" y="0"/>
                    </a:lnTo>
                    <a:lnTo>
                      <a:pt x="2" y="7"/>
                    </a:lnTo>
                    <a:lnTo>
                      <a:pt x="1" y="7"/>
                    </a:lnTo>
                    <a:lnTo>
                      <a:pt x="0" y="7"/>
                    </a:lnTo>
                    <a:lnTo>
                      <a:pt x="0" y="4"/>
                    </a:lnTo>
                    <a:lnTo>
                      <a:pt x="0" y="4"/>
                    </a:lnTo>
                    <a:lnTo>
                      <a:pt x="1" y="2"/>
                    </a:lnTo>
                    <a:lnTo>
                      <a:pt x="4" y="1"/>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55" name="Freeform 1568"/>
              <p:cNvSpPr>
                <a:spLocks/>
              </p:cNvSpPr>
              <p:nvPr/>
            </p:nvSpPr>
            <p:spPr bwMode="auto">
              <a:xfrm>
                <a:off x="3932368" y="2148939"/>
                <a:ext cx="25456" cy="17240"/>
              </a:xfrm>
              <a:custGeom>
                <a:avLst/>
                <a:gdLst/>
                <a:ahLst/>
                <a:cxnLst>
                  <a:cxn ang="0">
                    <a:pos x="0" y="3"/>
                  </a:cxn>
                  <a:cxn ang="0">
                    <a:pos x="10" y="3"/>
                  </a:cxn>
                  <a:cxn ang="0">
                    <a:pos x="16" y="0"/>
                  </a:cxn>
                  <a:cxn ang="0">
                    <a:pos x="19" y="0"/>
                  </a:cxn>
                  <a:cxn ang="0">
                    <a:pos x="20" y="2"/>
                  </a:cxn>
                  <a:cxn ang="0">
                    <a:pos x="25" y="2"/>
                  </a:cxn>
                  <a:cxn ang="0">
                    <a:pos x="26" y="2"/>
                  </a:cxn>
                  <a:cxn ang="0">
                    <a:pos x="26" y="9"/>
                  </a:cxn>
                  <a:cxn ang="0">
                    <a:pos x="28" y="9"/>
                  </a:cxn>
                  <a:cxn ang="0">
                    <a:pos x="28" y="11"/>
                  </a:cxn>
                  <a:cxn ang="0">
                    <a:pos x="26" y="12"/>
                  </a:cxn>
                  <a:cxn ang="0">
                    <a:pos x="25" y="12"/>
                  </a:cxn>
                  <a:cxn ang="0">
                    <a:pos x="23" y="13"/>
                  </a:cxn>
                  <a:cxn ang="0">
                    <a:pos x="22" y="13"/>
                  </a:cxn>
                  <a:cxn ang="0">
                    <a:pos x="20" y="15"/>
                  </a:cxn>
                  <a:cxn ang="0">
                    <a:pos x="19" y="16"/>
                  </a:cxn>
                  <a:cxn ang="0">
                    <a:pos x="9" y="12"/>
                  </a:cxn>
                  <a:cxn ang="0">
                    <a:pos x="7" y="12"/>
                  </a:cxn>
                  <a:cxn ang="0">
                    <a:pos x="6" y="11"/>
                  </a:cxn>
                  <a:cxn ang="0">
                    <a:pos x="2" y="8"/>
                  </a:cxn>
                  <a:cxn ang="0">
                    <a:pos x="2" y="6"/>
                  </a:cxn>
                  <a:cxn ang="0">
                    <a:pos x="0" y="5"/>
                  </a:cxn>
                  <a:cxn ang="0">
                    <a:pos x="0" y="3"/>
                  </a:cxn>
                </a:cxnLst>
                <a:rect l="0" t="0" r="r" b="b"/>
                <a:pathLst>
                  <a:path w="28" h="16">
                    <a:moveTo>
                      <a:pt x="0" y="3"/>
                    </a:moveTo>
                    <a:lnTo>
                      <a:pt x="10" y="3"/>
                    </a:lnTo>
                    <a:lnTo>
                      <a:pt x="16" y="0"/>
                    </a:lnTo>
                    <a:lnTo>
                      <a:pt x="19" y="0"/>
                    </a:lnTo>
                    <a:lnTo>
                      <a:pt x="20" y="2"/>
                    </a:lnTo>
                    <a:lnTo>
                      <a:pt x="25" y="2"/>
                    </a:lnTo>
                    <a:lnTo>
                      <a:pt x="26" y="2"/>
                    </a:lnTo>
                    <a:lnTo>
                      <a:pt x="26" y="9"/>
                    </a:lnTo>
                    <a:lnTo>
                      <a:pt x="28" y="9"/>
                    </a:lnTo>
                    <a:lnTo>
                      <a:pt x="28" y="11"/>
                    </a:lnTo>
                    <a:lnTo>
                      <a:pt x="26" y="12"/>
                    </a:lnTo>
                    <a:lnTo>
                      <a:pt x="25" y="12"/>
                    </a:lnTo>
                    <a:lnTo>
                      <a:pt x="23" y="13"/>
                    </a:lnTo>
                    <a:lnTo>
                      <a:pt x="22" y="13"/>
                    </a:lnTo>
                    <a:lnTo>
                      <a:pt x="20" y="15"/>
                    </a:lnTo>
                    <a:lnTo>
                      <a:pt x="19" y="16"/>
                    </a:lnTo>
                    <a:lnTo>
                      <a:pt x="9" y="12"/>
                    </a:lnTo>
                    <a:lnTo>
                      <a:pt x="7" y="12"/>
                    </a:lnTo>
                    <a:lnTo>
                      <a:pt x="6" y="11"/>
                    </a:lnTo>
                    <a:lnTo>
                      <a:pt x="2" y="8"/>
                    </a:lnTo>
                    <a:lnTo>
                      <a:pt x="2" y="6"/>
                    </a:lnTo>
                    <a:lnTo>
                      <a:pt x="0" y="5"/>
                    </a:lnTo>
                    <a:lnTo>
                      <a:pt x="0"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56" name="Freeform 1569"/>
              <p:cNvSpPr>
                <a:spLocks/>
              </p:cNvSpPr>
              <p:nvPr/>
            </p:nvSpPr>
            <p:spPr bwMode="auto">
              <a:xfrm>
                <a:off x="3932368" y="2148939"/>
                <a:ext cx="25456" cy="17240"/>
              </a:xfrm>
              <a:custGeom>
                <a:avLst/>
                <a:gdLst/>
                <a:ahLst/>
                <a:cxnLst>
                  <a:cxn ang="0">
                    <a:pos x="0" y="3"/>
                  </a:cxn>
                  <a:cxn ang="0">
                    <a:pos x="10" y="3"/>
                  </a:cxn>
                  <a:cxn ang="0">
                    <a:pos x="16" y="0"/>
                  </a:cxn>
                  <a:cxn ang="0">
                    <a:pos x="19" y="0"/>
                  </a:cxn>
                  <a:cxn ang="0">
                    <a:pos x="20" y="2"/>
                  </a:cxn>
                  <a:cxn ang="0">
                    <a:pos x="25" y="2"/>
                  </a:cxn>
                  <a:cxn ang="0">
                    <a:pos x="26" y="2"/>
                  </a:cxn>
                  <a:cxn ang="0">
                    <a:pos x="26" y="9"/>
                  </a:cxn>
                  <a:cxn ang="0">
                    <a:pos x="28" y="9"/>
                  </a:cxn>
                  <a:cxn ang="0">
                    <a:pos x="28" y="11"/>
                  </a:cxn>
                  <a:cxn ang="0">
                    <a:pos x="26" y="12"/>
                  </a:cxn>
                  <a:cxn ang="0">
                    <a:pos x="25" y="12"/>
                  </a:cxn>
                  <a:cxn ang="0">
                    <a:pos x="23" y="13"/>
                  </a:cxn>
                  <a:cxn ang="0">
                    <a:pos x="22" y="13"/>
                  </a:cxn>
                  <a:cxn ang="0">
                    <a:pos x="20" y="15"/>
                  </a:cxn>
                  <a:cxn ang="0">
                    <a:pos x="19" y="16"/>
                  </a:cxn>
                  <a:cxn ang="0">
                    <a:pos x="9" y="12"/>
                  </a:cxn>
                  <a:cxn ang="0">
                    <a:pos x="7" y="12"/>
                  </a:cxn>
                  <a:cxn ang="0">
                    <a:pos x="6" y="11"/>
                  </a:cxn>
                  <a:cxn ang="0">
                    <a:pos x="2" y="8"/>
                  </a:cxn>
                  <a:cxn ang="0">
                    <a:pos x="2" y="6"/>
                  </a:cxn>
                  <a:cxn ang="0">
                    <a:pos x="0" y="5"/>
                  </a:cxn>
                  <a:cxn ang="0">
                    <a:pos x="0" y="3"/>
                  </a:cxn>
                </a:cxnLst>
                <a:rect l="0" t="0" r="r" b="b"/>
                <a:pathLst>
                  <a:path w="28" h="16">
                    <a:moveTo>
                      <a:pt x="0" y="3"/>
                    </a:moveTo>
                    <a:lnTo>
                      <a:pt x="10" y="3"/>
                    </a:lnTo>
                    <a:lnTo>
                      <a:pt x="16" y="0"/>
                    </a:lnTo>
                    <a:lnTo>
                      <a:pt x="19" y="0"/>
                    </a:lnTo>
                    <a:lnTo>
                      <a:pt x="20" y="2"/>
                    </a:lnTo>
                    <a:lnTo>
                      <a:pt x="25" y="2"/>
                    </a:lnTo>
                    <a:lnTo>
                      <a:pt x="26" y="2"/>
                    </a:lnTo>
                    <a:lnTo>
                      <a:pt x="26" y="9"/>
                    </a:lnTo>
                    <a:lnTo>
                      <a:pt x="28" y="9"/>
                    </a:lnTo>
                    <a:lnTo>
                      <a:pt x="28" y="11"/>
                    </a:lnTo>
                    <a:lnTo>
                      <a:pt x="26" y="12"/>
                    </a:lnTo>
                    <a:lnTo>
                      <a:pt x="25" y="12"/>
                    </a:lnTo>
                    <a:lnTo>
                      <a:pt x="23" y="13"/>
                    </a:lnTo>
                    <a:lnTo>
                      <a:pt x="22" y="13"/>
                    </a:lnTo>
                    <a:lnTo>
                      <a:pt x="20" y="15"/>
                    </a:lnTo>
                    <a:lnTo>
                      <a:pt x="19" y="16"/>
                    </a:lnTo>
                    <a:lnTo>
                      <a:pt x="9" y="12"/>
                    </a:lnTo>
                    <a:lnTo>
                      <a:pt x="7" y="12"/>
                    </a:lnTo>
                    <a:lnTo>
                      <a:pt x="6" y="11"/>
                    </a:lnTo>
                    <a:lnTo>
                      <a:pt x="2" y="8"/>
                    </a:lnTo>
                    <a:lnTo>
                      <a:pt x="2" y="6"/>
                    </a:lnTo>
                    <a:lnTo>
                      <a:pt x="0" y="5"/>
                    </a:lnTo>
                    <a:lnTo>
                      <a:pt x="0"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57" name="Freeform 1570"/>
              <p:cNvSpPr>
                <a:spLocks/>
              </p:cNvSpPr>
              <p:nvPr/>
            </p:nvSpPr>
            <p:spPr bwMode="auto">
              <a:xfrm>
                <a:off x="3961335" y="2134740"/>
                <a:ext cx="14045" cy="14197"/>
              </a:xfrm>
              <a:custGeom>
                <a:avLst/>
                <a:gdLst/>
                <a:ahLst/>
                <a:cxnLst>
                  <a:cxn ang="0">
                    <a:pos x="0" y="6"/>
                  </a:cxn>
                  <a:cxn ang="0">
                    <a:pos x="0" y="4"/>
                  </a:cxn>
                  <a:cxn ang="0">
                    <a:pos x="4" y="1"/>
                  </a:cxn>
                  <a:cxn ang="0">
                    <a:pos x="4" y="0"/>
                  </a:cxn>
                  <a:cxn ang="0">
                    <a:pos x="13" y="3"/>
                  </a:cxn>
                  <a:cxn ang="0">
                    <a:pos x="15" y="6"/>
                  </a:cxn>
                  <a:cxn ang="0">
                    <a:pos x="15" y="7"/>
                  </a:cxn>
                  <a:cxn ang="0">
                    <a:pos x="9" y="14"/>
                  </a:cxn>
                  <a:cxn ang="0">
                    <a:pos x="6" y="9"/>
                  </a:cxn>
                  <a:cxn ang="0">
                    <a:pos x="3" y="7"/>
                  </a:cxn>
                  <a:cxn ang="0">
                    <a:pos x="0" y="6"/>
                  </a:cxn>
                </a:cxnLst>
                <a:rect l="0" t="0" r="r" b="b"/>
                <a:pathLst>
                  <a:path w="15" h="14">
                    <a:moveTo>
                      <a:pt x="0" y="6"/>
                    </a:moveTo>
                    <a:lnTo>
                      <a:pt x="0" y="4"/>
                    </a:lnTo>
                    <a:lnTo>
                      <a:pt x="4" y="1"/>
                    </a:lnTo>
                    <a:lnTo>
                      <a:pt x="4" y="0"/>
                    </a:lnTo>
                    <a:lnTo>
                      <a:pt x="13" y="3"/>
                    </a:lnTo>
                    <a:lnTo>
                      <a:pt x="15" y="6"/>
                    </a:lnTo>
                    <a:lnTo>
                      <a:pt x="15" y="7"/>
                    </a:lnTo>
                    <a:lnTo>
                      <a:pt x="9" y="14"/>
                    </a:lnTo>
                    <a:lnTo>
                      <a:pt x="6" y="9"/>
                    </a:lnTo>
                    <a:lnTo>
                      <a:pt x="3" y="7"/>
                    </a:lnTo>
                    <a:lnTo>
                      <a:pt x="0" y="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58" name="Freeform 1571"/>
              <p:cNvSpPr>
                <a:spLocks/>
              </p:cNvSpPr>
              <p:nvPr/>
            </p:nvSpPr>
            <p:spPr bwMode="auto">
              <a:xfrm>
                <a:off x="3961335" y="2134740"/>
                <a:ext cx="14045" cy="14197"/>
              </a:xfrm>
              <a:custGeom>
                <a:avLst/>
                <a:gdLst/>
                <a:ahLst/>
                <a:cxnLst>
                  <a:cxn ang="0">
                    <a:pos x="0" y="6"/>
                  </a:cxn>
                  <a:cxn ang="0">
                    <a:pos x="0" y="4"/>
                  </a:cxn>
                  <a:cxn ang="0">
                    <a:pos x="4" y="1"/>
                  </a:cxn>
                  <a:cxn ang="0">
                    <a:pos x="4" y="0"/>
                  </a:cxn>
                  <a:cxn ang="0">
                    <a:pos x="13" y="3"/>
                  </a:cxn>
                  <a:cxn ang="0">
                    <a:pos x="15" y="6"/>
                  </a:cxn>
                  <a:cxn ang="0">
                    <a:pos x="15" y="7"/>
                  </a:cxn>
                  <a:cxn ang="0">
                    <a:pos x="9" y="14"/>
                  </a:cxn>
                  <a:cxn ang="0">
                    <a:pos x="6" y="9"/>
                  </a:cxn>
                  <a:cxn ang="0">
                    <a:pos x="3" y="7"/>
                  </a:cxn>
                  <a:cxn ang="0">
                    <a:pos x="0" y="6"/>
                  </a:cxn>
                </a:cxnLst>
                <a:rect l="0" t="0" r="r" b="b"/>
                <a:pathLst>
                  <a:path w="15" h="14">
                    <a:moveTo>
                      <a:pt x="0" y="6"/>
                    </a:moveTo>
                    <a:lnTo>
                      <a:pt x="0" y="4"/>
                    </a:lnTo>
                    <a:lnTo>
                      <a:pt x="4" y="1"/>
                    </a:lnTo>
                    <a:lnTo>
                      <a:pt x="4" y="0"/>
                    </a:lnTo>
                    <a:lnTo>
                      <a:pt x="13" y="3"/>
                    </a:lnTo>
                    <a:lnTo>
                      <a:pt x="15" y="6"/>
                    </a:lnTo>
                    <a:lnTo>
                      <a:pt x="15" y="7"/>
                    </a:lnTo>
                    <a:lnTo>
                      <a:pt x="9" y="14"/>
                    </a:lnTo>
                    <a:lnTo>
                      <a:pt x="6" y="9"/>
                    </a:lnTo>
                    <a:lnTo>
                      <a:pt x="3" y="7"/>
                    </a:lnTo>
                    <a:lnTo>
                      <a:pt x="0" y="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59" name="Freeform 1578"/>
              <p:cNvSpPr>
                <a:spLocks/>
              </p:cNvSpPr>
              <p:nvPr/>
            </p:nvSpPr>
            <p:spPr bwMode="auto">
              <a:xfrm>
                <a:off x="3967480" y="2065780"/>
                <a:ext cx="8778" cy="11155"/>
              </a:xfrm>
              <a:custGeom>
                <a:avLst/>
                <a:gdLst/>
                <a:ahLst/>
                <a:cxnLst>
                  <a:cxn ang="0">
                    <a:pos x="9" y="2"/>
                  </a:cxn>
                  <a:cxn ang="0">
                    <a:pos x="10" y="2"/>
                  </a:cxn>
                  <a:cxn ang="0">
                    <a:pos x="9" y="5"/>
                  </a:cxn>
                  <a:cxn ang="0">
                    <a:pos x="9" y="8"/>
                  </a:cxn>
                  <a:cxn ang="0">
                    <a:pos x="9" y="9"/>
                  </a:cxn>
                  <a:cxn ang="0">
                    <a:pos x="3" y="8"/>
                  </a:cxn>
                  <a:cxn ang="0">
                    <a:pos x="0" y="11"/>
                  </a:cxn>
                  <a:cxn ang="0">
                    <a:pos x="0" y="11"/>
                  </a:cxn>
                  <a:cxn ang="0">
                    <a:pos x="0" y="5"/>
                  </a:cxn>
                  <a:cxn ang="0">
                    <a:pos x="6" y="0"/>
                  </a:cxn>
                  <a:cxn ang="0">
                    <a:pos x="9" y="2"/>
                  </a:cxn>
                </a:cxnLst>
                <a:rect l="0" t="0" r="r" b="b"/>
                <a:pathLst>
                  <a:path w="10" h="11">
                    <a:moveTo>
                      <a:pt x="9" y="2"/>
                    </a:moveTo>
                    <a:lnTo>
                      <a:pt x="10" y="2"/>
                    </a:lnTo>
                    <a:lnTo>
                      <a:pt x="9" y="5"/>
                    </a:lnTo>
                    <a:lnTo>
                      <a:pt x="9" y="8"/>
                    </a:lnTo>
                    <a:lnTo>
                      <a:pt x="9" y="9"/>
                    </a:lnTo>
                    <a:lnTo>
                      <a:pt x="3" y="8"/>
                    </a:lnTo>
                    <a:lnTo>
                      <a:pt x="0" y="11"/>
                    </a:lnTo>
                    <a:lnTo>
                      <a:pt x="0" y="11"/>
                    </a:lnTo>
                    <a:lnTo>
                      <a:pt x="0" y="5"/>
                    </a:lnTo>
                    <a:lnTo>
                      <a:pt x="6" y="0"/>
                    </a:lnTo>
                    <a:lnTo>
                      <a:pt x="9"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60" name="Freeform 1579"/>
              <p:cNvSpPr>
                <a:spLocks/>
              </p:cNvSpPr>
              <p:nvPr/>
            </p:nvSpPr>
            <p:spPr bwMode="auto">
              <a:xfrm>
                <a:off x="3967480" y="2065780"/>
                <a:ext cx="8778" cy="11155"/>
              </a:xfrm>
              <a:custGeom>
                <a:avLst/>
                <a:gdLst/>
                <a:ahLst/>
                <a:cxnLst>
                  <a:cxn ang="0">
                    <a:pos x="9" y="2"/>
                  </a:cxn>
                  <a:cxn ang="0">
                    <a:pos x="10" y="2"/>
                  </a:cxn>
                  <a:cxn ang="0">
                    <a:pos x="9" y="5"/>
                  </a:cxn>
                  <a:cxn ang="0">
                    <a:pos x="9" y="8"/>
                  </a:cxn>
                  <a:cxn ang="0">
                    <a:pos x="9" y="9"/>
                  </a:cxn>
                  <a:cxn ang="0">
                    <a:pos x="3" y="8"/>
                  </a:cxn>
                  <a:cxn ang="0">
                    <a:pos x="0" y="11"/>
                  </a:cxn>
                  <a:cxn ang="0">
                    <a:pos x="0" y="11"/>
                  </a:cxn>
                  <a:cxn ang="0">
                    <a:pos x="0" y="5"/>
                  </a:cxn>
                  <a:cxn ang="0">
                    <a:pos x="6" y="0"/>
                  </a:cxn>
                  <a:cxn ang="0">
                    <a:pos x="9" y="2"/>
                  </a:cxn>
                </a:cxnLst>
                <a:rect l="0" t="0" r="r" b="b"/>
                <a:pathLst>
                  <a:path w="10" h="11">
                    <a:moveTo>
                      <a:pt x="9" y="2"/>
                    </a:moveTo>
                    <a:lnTo>
                      <a:pt x="10" y="2"/>
                    </a:lnTo>
                    <a:lnTo>
                      <a:pt x="9" y="5"/>
                    </a:lnTo>
                    <a:lnTo>
                      <a:pt x="9" y="8"/>
                    </a:lnTo>
                    <a:lnTo>
                      <a:pt x="9" y="9"/>
                    </a:lnTo>
                    <a:lnTo>
                      <a:pt x="3" y="8"/>
                    </a:lnTo>
                    <a:lnTo>
                      <a:pt x="0" y="11"/>
                    </a:lnTo>
                    <a:lnTo>
                      <a:pt x="0" y="11"/>
                    </a:lnTo>
                    <a:lnTo>
                      <a:pt x="0" y="5"/>
                    </a:lnTo>
                    <a:lnTo>
                      <a:pt x="6" y="0"/>
                    </a:lnTo>
                    <a:lnTo>
                      <a:pt x="9"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61" name="Freeform 1582"/>
              <p:cNvSpPr>
                <a:spLocks/>
              </p:cNvSpPr>
              <p:nvPr/>
            </p:nvSpPr>
            <p:spPr bwMode="auto">
              <a:xfrm>
                <a:off x="4551217" y="2742206"/>
                <a:ext cx="2634" cy="1015"/>
              </a:xfrm>
              <a:custGeom>
                <a:avLst/>
                <a:gdLst/>
                <a:ahLst/>
                <a:cxnLst>
                  <a:cxn ang="0">
                    <a:pos x="0" y="0"/>
                  </a:cxn>
                  <a:cxn ang="0">
                    <a:pos x="0" y="0"/>
                  </a:cxn>
                  <a:cxn ang="0">
                    <a:pos x="2" y="0"/>
                  </a:cxn>
                  <a:cxn ang="0">
                    <a:pos x="3" y="1"/>
                  </a:cxn>
                  <a:cxn ang="0">
                    <a:pos x="3" y="1"/>
                  </a:cxn>
                  <a:cxn ang="0">
                    <a:pos x="3" y="1"/>
                  </a:cxn>
                  <a:cxn ang="0">
                    <a:pos x="2" y="1"/>
                  </a:cxn>
                  <a:cxn ang="0">
                    <a:pos x="0" y="0"/>
                  </a:cxn>
                  <a:cxn ang="0">
                    <a:pos x="2" y="1"/>
                  </a:cxn>
                  <a:cxn ang="0">
                    <a:pos x="0" y="0"/>
                  </a:cxn>
                </a:cxnLst>
                <a:rect l="0" t="0" r="r" b="b"/>
                <a:pathLst>
                  <a:path w="3" h="1">
                    <a:moveTo>
                      <a:pt x="0" y="0"/>
                    </a:moveTo>
                    <a:lnTo>
                      <a:pt x="0" y="0"/>
                    </a:lnTo>
                    <a:lnTo>
                      <a:pt x="2" y="0"/>
                    </a:lnTo>
                    <a:lnTo>
                      <a:pt x="3" y="1"/>
                    </a:lnTo>
                    <a:lnTo>
                      <a:pt x="3" y="1"/>
                    </a:lnTo>
                    <a:lnTo>
                      <a:pt x="3" y="1"/>
                    </a:lnTo>
                    <a:lnTo>
                      <a:pt x="2" y="1"/>
                    </a:lnTo>
                    <a:lnTo>
                      <a:pt x="0" y="0"/>
                    </a:lnTo>
                    <a:lnTo>
                      <a:pt x="2" y="1"/>
                    </a:lnTo>
                    <a:lnTo>
                      <a:pt x="0"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62" name="Freeform 1583"/>
              <p:cNvSpPr>
                <a:spLocks/>
              </p:cNvSpPr>
              <p:nvPr/>
            </p:nvSpPr>
            <p:spPr bwMode="auto">
              <a:xfrm>
                <a:off x="4551217" y="2742206"/>
                <a:ext cx="2634" cy="1015"/>
              </a:xfrm>
              <a:custGeom>
                <a:avLst/>
                <a:gdLst/>
                <a:ahLst/>
                <a:cxnLst>
                  <a:cxn ang="0">
                    <a:pos x="0" y="0"/>
                  </a:cxn>
                  <a:cxn ang="0">
                    <a:pos x="0" y="0"/>
                  </a:cxn>
                  <a:cxn ang="0">
                    <a:pos x="2" y="0"/>
                  </a:cxn>
                  <a:cxn ang="0">
                    <a:pos x="3" y="1"/>
                  </a:cxn>
                  <a:cxn ang="0">
                    <a:pos x="3" y="1"/>
                  </a:cxn>
                  <a:cxn ang="0">
                    <a:pos x="3" y="1"/>
                  </a:cxn>
                  <a:cxn ang="0">
                    <a:pos x="2" y="1"/>
                  </a:cxn>
                  <a:cxn ang="0">
                    <a:pos x="0" y="0"/>
                  </a:cxn>
                  <a:cxn ang="0">
                    <a:pos x="2" y="1"/>
                  </a:cxn>
                  <a:cxn ang="0">
                    <a:pos x="0" y="0"/>
                  </a:cxn>
                </a:cxnLst>
                <a:rect l="0" t="0" r="r" b="b"/>
                <a:pathLst>
                  <a:path w="3" h="1">
                    <a:moveTo>
                      <a:pt x="0" y="0"/>
                    </a:moveTo>
                    <a:lnTo>
                      <a:pt x="0" y="0"/>
                    </a:lnTo>
                    <a:lnTo>
                      <a:pt x="2" y="0"/>
                    </a:lnTo>
                    <a:lnTo>
                      <a:pt x="3" y="1"/>
                    </a:lnTo>
                    <a:lnTo>
                      <a:pt x="3" y="1"/>
                    </a:lnTo>
                    <a:lnTo>
                      <a:pt x="3" y="1"/>
                    </a:lnTo>
                    <a:lnTo>
                      <a:pt x="2" y="1"/>
                    </a:lnTo>
                    <a:lnTo>
                      <a:pt x="0" y="0"/>
                    </a:lnTo>
                    <a:lnTo>
                      <a:pt x="2" y="1"/>
                    </a:lnTo>
                    <a:lnTo>
                      <a:pt x="0"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63" name="Freeform 1584"/>
              <p:cNvSpPr>
                <a:spLocks/>
              </p:cNvSpPr>
              <p:nvPr/>
            </p:nvSpPr>
            <p:spPr bwMode="auto">
              <a:xfrm>
                <a:off x="4555606" y="2739163"/>
                <a:ext cx="5267" cy="4056"/>
              </a:xfrm>
              <a:custGeom>
                <a:avLst/>
                <a:gdLst/>
                <a:ahLst/>
                <a:cxnLst>
                  <a:cxn ang="0">
                    <a:pos x="0" y="0"/>
                  </a:cxn>
                  <a:cxn ang="0">
                    <a:pos x="3" y="2"/>
                  </a:cxn>
                  <a:cxn ang="0">
                    <a:pos x="5" y="2"/>
                  </a:cxn>
                  <a:cxn ang="0">
                    <a:pos x="5" y="2"/>
                  </a:cxn>
                  <a:cxn ang="0">
                    <a:pos x="4" y="2"/>
                  </a:cxn>
                  <a:cxn ang="0">
                    <a:pos x="3" y="3"/>
                  </a:cxn>
                  <a:cxn ang="0">
                    <a:pos x="1" y="3"/>
                  </a:cxn>
                  <a:cxn ang="0">
                    <a:pos x="0" y="0"/>
                  </a:cxn>
                </a:cxnLst>
                <a:rect l="0" t="0" r="r" b="b"/>
                <a:pathLst>
                  <a:path w="5" h="3">
                    <a:moveTo>
                      <a:pt x="0" y="0"/>
                    </a:moveTo>
                    <a:lnTo>
                      <a:pt x="3" y="2"/>
                    </a:lnTo>
                    <a:lnTo>
                      <a:pt x="5" y="2"/>
                    </a:lnTo>
                    <a:lnTo>
                      <a:pt x="5" y="2"/>
                    </a:lnTo>
                    <a:lnTo>
                      <a:pt x="4" y="2"/>
                    </a:lnTo>
                    <a:lnTo>
                      <a:pt x="3" y="3"/>
                    </a:lnTo>
                    <a:lnTo>
                      <a:pt x="1" y="3"/>
                    </a:lnTo>
                    <a:lnTo>
                      <a:pt x="0"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64" name="Freeform 1585"/>
              <p:cNvSpPr>
                <a:spLocks/>
              </p:cNvSpPr>
              <p:nvPr/>
            </p:nvSpPr>
            <p:spPr bwMode="auto">
              <a:xfrm>
                <a:off x="4555606" y="2739163"/>
                <a:ext cx="5267" cy="4056"/>
              </a:xfrm>
              <a:custGeom>
                <a:avLst/>
                <a:gdLst/>
                <a:ahLst/>
                <a:cxnLst>
                  <a:cxn ang="0">
                    <a:pos x="0" y="0"/>
                  </a:cxn>
                  <a:cxn ang="0">
                    <a:pos x="3" y="2"/>
                  </a:cxn>
                  <a:cxn ang="0">
                    <a:pos x="5" y="2"/>
                  </a:cxn>
                  <a:cxn ang="0">
                    <a:pos x="5" y="2"/>
                  </a:cxn>
                  <a:cxn ang="0">
                    <a:pos x="4" y="2"/>
                  </a:cxn>
                  <a:cxn ang="0">
                    <a:pos x="3" y="3"/>
                  </a:cxn>
                  <a:cxn ang="0">
                    <a:pos x="1" y="3"/>
                  </a:cxn>
                  <a:cxn ang="0">
                    <a:pos x="0" y="0"/>
                  </a:cxn>
                </a:cxnLst>
                <a:rect l="0" t="0" r="r" b="b"/>
                <a:pathLst>
                  <a:path w="5" h="3">
                    <a:moveTo>
                      <a:pt x="0" y="0"/>
                    </a:moveTo>
                    <a:lnTo>
                      <a:pt x="3" y="2"/>
                    </a:lnTo>
                    <a:lnTo>
                      <a:pt x="5" y="2"/>
                    </a:lnTo>
                    <a:lnTo>
                      <a:pt x="5" y="2"/>
                    </a:lnTo>
                    <a:lnTo>
                      <a:pt x="4" y="2"/>
                    </a:lnTo>
                    <a:lnTo>
                      <a:pt x="3" y="3"/>
                    </a:lnTo>
                    <a:lnTo>
                      <a:pt x="1" y="3"/>
                    </a:lnTo>
                    <a:lnTo>
                      <a:pt x="0"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65" name="Freeform 1586"/>
              <p:cNvSpPr>
                <a:spLocks/>
              </p:cNvSpPr>
              <p:nvPr/>
            </p:nvSpPr>
            <p:spPr bwMode="auto">
              <a:xfrm>
                <a:off x="4574040" y="2752347"/>
                <a:ext cx="2634" cy="3043"/>
              </a:xfrm>
              <a:custGeom>
                <a:avLst/>
                <a:gdLst/>
                <a:ahLst/>
                <a:cxnLst>
                  <a:cxn ang="0">
                    <a:pos x="0" y="0"/>
                  </a:cxn>
                  <a:cxn ang="0">
                    <a:pos x="0" y="0"/>
                  </a:cxn>
                  <a:cxn ang="0">
                    <a:pos x="0" y="0"/>
                  </a:cxn>
                  <a:cxn ang="0">
                    <a:pos x="1" y="0"/>
                  </a:cxn>
                  <a:cxn ang="0">
                    <a:pos x="1" y="1"/>
                  </a:cxn>
                  <a:cxn ang="0">
                    <a:pos x="3" y="1"/>
                  </a:cxn>
                  <a:cxn ang="0">
                    <a:pos x="1" y="3"/>
                  </a:cxn>
                  <a:cxn ang="0">
                    <a:pos x="1" y="3"/>
                  </a:cxn>
                  <a:cxn ang="0">
                    <a:pos x="1" y="1"/>
                  </a:cxn>
                  <a:cxn ang="0">
                    <a:pos x="0" y="0"/>
                  </a:cxn>
                  <a:cxn ang="0">
                    <a:pos x="0" y="0"/>
                  </a:cxn>
                </a:cxnLst>
                <a:rect l="0" t="0" r="r" b="b"/>
                <a:pathLst>
                  <a:path w="3" h="3">
                    <a:moveTo>
                      <a:pt x="0" y="0"/>
                    </a:moveTo>
                    <a:lnTo>
                      <a:pt x="0" y="0"/>
                    </a:lnTo>
                    <a:lnTo>
                      <a:pt x="0" y="0"/>
                    </a:lnTo>
                    <a:lnTo>
                      <a:pt x="1" y="0"/>
                    </a:lnTo>
                    <a:lnTo>
                      <a:pt x="1" y="1"/>
                    </a:lnTo>
                    <a:lnTo>
                      <a:pt x="3" y="1"/>
                    </a:lnTo>
                    <a:lnTo>
                      <a:pt x="1" y="3"/>
                    </a:lnTo>
                    <a:lnTo>
                      <a:pt x="1" y="3"/>
                    </a:lnTo>
                    <a:lnTo>
                      <a:pt x="1" y="1"/>
                    </a:lnTo>
                    <a:lnTo>
                      <a:pt x="0" y="0"/>
                    </a:lnTo>
                    <a:lnTo>
                      <a:pt x="0"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66" name="Freeform 1587"/>
              <p:cNvSpPr>
                <a:spLocks/>
              </p:cNvSpPr>
              <p:nvPr/>
            </p:nvSpPr>
            <p:spPr bwMode="auto">
              <a:xfrm>
                <a:off x="4574040" y="2752347"/>
                <a:ext cx="2634" cy="3043"/>
              </a:xfrm>
              <a:custGeom>
                <a:avLst/>
                <a:gdLst/>
                <a:ahLst/>
                <a:cxnLst>
                  <a:cxn ang="0">
                    <a:pos x="0" y="0"/>
                  </a:cxn>
                  <a:cxn ang="0">
                    <a:pos x="0" y="0"/>
                  </a:cxn>
                  <a:cxn ang="0">
                    <a:pos x="0" y="0"/>
                  </a:cxn>
                  <a:cxn ang="0">
                    <a:pos x="1" y="0"/>
                  </a:cxn>
                  <a:cxn ang="0">
                    <a:pos x="1" y="1"/>
                  </a:cxn>
                  <a:cxn ang="0">
                    <a:pos x="3" y="1"/>
                  </a:cxn>
                  <a:cxn ang="0">
                    <a:pos x="1" y="3"/>
                  </a:cxn>
                  <a:cxn ang="0">
                    <a:pos x="1" y="3"/>
                  </a:cxn>
                  <a:cxn ang="0">
                    <a:pos x="1" y="1"/>
                  </a:cxn>
                  <a:cxn ang="0">
                    <a:pos x="0" y="0"/>
                  </a:cxn>
                  <a:cxn ang="0">
                    <a:pos x="0" y="0"/>
                  </a:cxn>
                </a:cxnLst>
                <a:rect l="0" t="0" r="r" b="b"/>
                <a:pathLst>
                  <a:path w="3" h="3">
                    <a:moveTo>
                      <a:pt x="0" y="0"/>
                    </a:moveTo>
                    <a:lnTo>
                      <a:pt x="0" y="0"/>
                    </a:lnTo>
                    <a:lnTo>
                      <a:pt x="0" y="0"/>
                    </a:lnTo>
                    <a:lnTo>
                      <a:pt x="1" y="0"/>
                    </a:lnTo>
                    <a:lnTo>
                      <a:pt x="1" y="1"/>
                    </a:lnTo>
                    <a:lnTo>
                      <a:pt x="3" y="1"/>
                    </a:lnTo>
                    <a:lnTo>
                      <a:pt x="1" y="3"/>
                    </a:lnTo>
                    <a:lnTo>
                      <a:pt x="1" y="3"/>
                    </a:lnTo>
                    <a:lnTo>
                      <a:pt x="1" y="1"/>
                    </a:lnTo>
                    <a:lnTo>
                      <a:pt x="0" y="0"/>
                    </a:lnTo>
                    <a:lnTo>
                      <a:pt x="0"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67" name="Freeform 1588"/>
              <p:cNvSpPr>
                <a:spLocks/>
              </p:cNvSpPr>
              <p:nvPr/>
            </p:nvSpPr>
            <p:spPr bwMode="auto">
              <a:xfrm>
                <a:off x="4572284" y="2758432"/>
                <a:ext cx="4389" cy="4056"/>
              </a:xfrm>
              <a:custGeom>
                <a:avLst/>
                <a:gdLst/>
                <a:ahLst/>
                <a:cxnLst>
                  <a:cxn ang="0">
                    <a:pos x="0" y="1"/>
                  </a:cxn>
                  <a:cxn ang="0">
                    <a:pos x="0" y="0"/>
                  </a:cxn>
                  <a:cxn ang="0">
                    <a:pos x="0" y="1"/>
                  </a:cxn>
                  <a:cxn ang="0">
                    <a:pos x="2" y="2"/>
                  </a:cxn>
                  <a:cxn ang="0">
                    <a:pos x="3" y="2"/>
                  </a:cxn>
                  <a:cxn ang="0">
                    <a:pos x="5" y="4"/>
                  </a:cxn>
                  <a:cxn ang="0">
                    <a:pos x="3" y="4"/>
                  </a:cxn>
                  <a:cxn ang="0">
                    <a:pos x="0" y="1"/>
                  </a:cxn>
                  <a:cxn ang="0">
                    <a:pos x="0" y="1"/>
                  </a:cxn>
                </a:cxnLst>
                <a:rect l="0" t="0" r="r" b="b"/>
                <a:pathLst>
                  <a:path w="5" h="4">
                    <a:moveTo>
                      <a:pt x="0" y="1"/>
                    </a:moveTo>
                    <a:lnTo>
                      <a:pt x="0" y="0"/>
                    </a:lnTo>
                    <a:lnTo>
                      <a:pt x="0" y="1"/>
                    </a:lnTo>
                    <a:lnTo>
                      <a:pt x="2" y="2"/>
                    </a:lnTo>
                    <a:lnTo>
                      <a:pt x="3" y="2"/>
                    </a:lnTo>
                    <a:lnTo>
                      <a:pt x="5" y="4"/>
                    </a:lnTo>
                    <a:lnTo>
                      <a:pt x="3" y="4"/>
                    </a:lnTo>
                    <a:lnTo>
                      <a:pt x="0" y="1"/>
                    </a:lnTo>
                    <a:lnTo>
                      <a:pt x="0" y="1"/>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68" name="Freeform 1589"/>
              <p:cNvSpPr>
                <a:spLocks/>
              </p:cNvSpPr>
              <p:nvPr/>
            </p:nvSpPr>
            <p:spPr bwMode="auto">
              <a:xfrm>
                <a:off x="4572284" y="2758432"/>
                <a:ext cx="4389" cy="4056"/>
              </a:xfrm>
              <a:custGeom>
                <a:avLst/>
                <a:gdLst/>
                <a:ahLst/>
                <a:cxnLst>
                  <a:cxn ang="0">
                    <a:pos x="0" y="1"/>
                  </a:cxn>
                  <a:cxn ang="0">
                    <a:pos x="0" y="0"/>
                  </a:cxn>
                  <a:cxn ang="0">
                    <a:pos x="0" y="1"/>
                  </a:cxn>
                  <a:cxn ang="0">
                    <a:pos x="2" y="2"/>
                  </a:cxn>
                  <a:cxn ang="0">
                    <a:pos x="3" y="2"/>
                  </a:cxn>
                  <a:cxn ang="0">
                    <a:pos x="5" y="4"/>
                  </a:cxn>
                  <a:cxn ang="0">
                    <a:pos x="3" y="4"/>
                  </a:cxn>
                  <a:cxn ang="0">
                    <a:pos x="0" y="1"/>
                  </a:cxn>
                  <a:cxn ang="0">
                    <a:pos x="0" y="1"/>
                  </a:cxn>
                </a:cxnLst>
                <a:rect l="0" t="0" r="r" b="b"/>
                <a:pathLst>
                  <a:path w="5" h="4">
                    <a:moveTo>
                      <a:pt x="0" y="1"/>
                    </a:moveTo>
                    <a:lnTo>
                      <a:pt x="0" y="0"/>
                    </a:lnTo>
                    <a:lnTo>
                      <a:pt x="0" y="1"/>
                    </a:lnTo>
                    <a:lnTo>
                      <a:pt x="2" y="2"/>
                    </a:lnTo>
                    <a:lnTo>
                      <a:pt x="3" y="2"/>
                    </a:lnTo>
                    <a:lnTo>
                      <a:pt x="5" y="4"/>
                    </a:lnTo>
                    <a:lnTo>
                      <a:pt x="3" y="4"/>
                    </a:lnTo>
                    <a:lnTo>
                      <a:pt x="0" y="1"/>
                    </a:lnTo>
                    <a:lnTo>
                      <a:pt x="0" y="1"/>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69" name="Freeform 1590"/>
              <p:cNvSpPr>
                <a:spLocks/>
              </p:cNvSpPr>
              <p:nvPr/>
            </p:nvSpPr>
            <p:spPr bwMode="auto">
              <a:xfrm>
                <a:off x="4551217" y="2742206"/>
                <a:ext cx="2634" cy="1015"/>
              </a:xfrm>
              <a:custGeom>
                <a:avLst/>
                <a:gdLst/>
                <a:ahLst/>
                <a:cxnLst>
                  <a:cxn ang="0">
                    <a:pos x="0" y="0"/>
                  </a:cxn>
                  <a:cxn ang="0">
                    <a:pos x="0" y="0"/>
                  </a:cxn>
                  <a:cxn ang="0">
                    <a:pos x="2" y="0"/>
                  </a:cxn>
                  <a:cxn ang="0">
                    <a:pos x="3" y="1"/>
                  </a:cxn>
                  <a:cxn ang="0">
                    <a:pos x="3" y="1"/>
                  </a:cxn>
                  <a:cxn ang="0">
                    <a:pos x="3" y="1"/>
                  </a:cxn>
                  <a:cxn ang="0">
                    <a:pos x="2" y="1"/>
                  </a:cxn>
                  <a:cxn ang="0">
                    <a:pos x="0" y="0"/>
                  </a:cxn>
                  <a:cxn ang="0">
                    <a:pos x="2" y="1"/>
                  </a:cxn>
                  <a:cxn ang="0">
                    <a:pos x="0" y="0"/>
                  </a:cxn>
                </a:cxnLst>
                <a:rect l="0" t="0" r="r" b="b"/>
                <a:pathLst>
                  <a:path w="3" h="1">
                    <a:moveTo>
                      <a:pt x="0" y="0"/>
                    </a:moveTo>
                    <a:lnTo>
                      <a:pt x="0" y="0"/>
                    </a:lnTo>
                    <a:lnTo>
                      <a:pt x="2" y="0"/>
                    </a:lnTo>
                    <a:lnTo>
                      <a:pt x="3" y="1"/>
                    </a:lnTo>
                    <a:lnTo>
                      <a:pt x="3" y="1"/>
                    </a:lnTo>
                    <a:lnTo>
                      <a:pt x="3" y="1"/>
                    </a:lnTo>
                    <a:lnTo>
                      <a:pt x="2" y="1"/>
                    </a:lnTo>
                    <a:lnTo>
                      <a:pt x="0" y="0"/>
                    </a:lnTo>
                    <a:lnTo>
                      <a:pt x="2" y="1"/>
                    </a:lnTo>
                    <a:lnTo>
                      <a:pt x="0"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70" name="Freeform 1591"/>
              <p:cNvSpPr>
                <a:spLocks/>
              </p:cNvSpPr>
              <p:nvPr/>
            </p:nvSpPr>
            <p:spPr bwMode="auto">
              <a:xfrm>
                <a:off x="4551217" y="2742206"/>
                <a:ext cx="2634" cy="1015"/>
              </a:xfrm>
              <a:custGeom>
                <a:avLst/>
                <a:gdLst/>
                <a:ahLst/>
                <a:cxnLst>
                  <a:cxn ang="0">
                    <a:pos x="0" y="0"/>
                  </a:cxn>
                  <a:cxn ang="0">
                    <a:pos x="0" y="0"/>
                  </a:cxn>
                  <a:cxn ang="0">
                    <a:pos x="2" y="0"/>
                  </a:cxn>
                  <a:cxn ang="0">
                    <a:pos x="3" y="1"/>
                  </a:cxn>
                  <a:cxn ang="0">
                    <a:pos x="3" y="1"/>
                  </a:cxn>
                  <a:cxn ang="0">
                    <a:pos x="3" y="1"/>
                  </a:cxn>
                  <a:cxn ang="0">
                    <a:pos x="2" y="1"/>
                  </a:cxn>
                  <a:cxn ang="0">
                    <a:pos x="0" y="0"/>
                  </a:cxn>
                  <a:cxn ang="0">
                    <a:pos x="2" y="1"/>
                  </a:cxn>
                  <a:cxn ang="0">
                    <a:pos x="0" y="0"/>
                  </a:cxn>
                </a:cxnLst>
                <a:rect l="0" t="0" r="r" b="b"/>
                <a:pathLst>
                  <a:path w="3" h="1">
                    <a:moveTo>
                      <a:pt x="0" y="0"/>
                    </a:moveTo>
                    <a:lnTo>
                      <a:pt x="0" y="0"/>
                    </a:lnTo>
                    <a:lnTo>
                      <a:pt x="2" y="0"/>
                    </a:lnTo>
                    <a:lnTo>
                      <a:pt x="3" y="1"/>
                    </a:lnTo>
                    <a:lnTo>
                      <a:pt x="3" y="1"/>
                    </a:lnTo>
                    <a:lnTo>
                      <a:pt x="3" y="1"/>
                    </a:lnTo>
                    <a:lnTo>
                      <a:pt x="2" y="1"/>
                    </a:lnTo>
                    <a:lnTo>
                      <a:pt x="0" y="0"/>
                    </a:lnTo>
                    <a:lnTo>
                      <a:pt x="2" y="1"/>
                    </a:lnTo>
                    <a:lnTo>
                      <a:pt x="0"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71" name="Freeform 1592"/>
              <p:cNvSpPr>
                <a:spLocks/>
              </p:cNvSpPr>
              <p:nvPr/>
            </p:nvSpPr>
            <p:spPr bwMode="auto">
              <a:xfrm>
                <a:off x="4555606" y="2739163"/>
                <a:ext cx="5267" cy="4056"/>
              </a:xfrm>
              <a:custGeom>
                <a:avLst/>
                <a:gdLst/>
                <a:ahLst/>
                <a:cxnLst>
                  <a:cxn ang="0">
                    <a:pos x="0" y="0"/>
                  </a:cxn>
                  <a:cxn ang="0">
                    <a:pos x="3" y="2"/>
                  </a:cxn>
                  <a:cxn ang="0">
                    <a:pos x="5" y="2"/>
                  </a:cxn>
                  <a:cxn ang="0">
                    <a:pos x="5" y="2"/>
                  </a:cxn>
                  <a:cxn ang="0">
                    <a:pos x="4" y="2"/>
                  </a:cxn>
                  <a:cxn ang="0">
                    <a:pos x="3" y="3"/>
                  </a:cxn>
                  <a:cxn ang="0">
                    <a:pos x="1" y="3"/>
                  </a:cxn>
                  <a:cxn ang="0">
                    <a:pos x="0" y="0"/>
                  </a:cxn>
                </a:cxnLst>
                <a:rect l="0" t="0" r="r" b="b"/>
                <a:pathLst>
                  <a:path w="5" h="3">
                    <a:moveTo>
                      <a:pt x="0" y="0"/>
                    </a:moveTo>
                    <a:lnTo>
                      <a:pt x="3" y="2"/>
                    </a:lnTo>
                    <a:lnTo>
                      <a:pt x="5" y="2"/>
                    </a:lnTo>
                    <a:lnTo>
                      <a:pt x="5" y="2"/>
                    </a:lnTo>
                    <a:lnTo>
                      <a:pt x="4" y="2"/>
                    </a:lnTo>
                    <a:lnTo>
                      <a:pt x="3" y="3"/>
                    </a:lnTo>
                    <a:lnTo>
                      <a:pt x="1" y="3"/>
                    </a:lnTo>
                    <a:lnTo>
                      <a:pt x="0"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72" name="Freeform 1593"/>
              <p:cNvSpPr>
                <a:spLocks/>
              </p:cNvSpPr>
              <p:nvPr/>
            </p:nvSpPr>
            <p:spPr bwMode="auto">
              <a:xfrm>
                <a:off x="4555606" y="2739163"/>
                <a:ext cx="5267" cy="4056"/>
              </a:xfrm>
              <a:custGeom>
                <a:avLst/>
                <a:gdLst/>
                <a:ahLst/>
                <a:cxnLst>
                  <a:cxn ang="0">
                    <a:pos x="0" y="0"/>
                  </a:cxn>
                  <a:cxn ang="0">
                    <a:pos x="3" y="2"/>
                  </a:cxn>
                  <a:cxn ang="0">
                    <a:pos x="5" y="2"/>
                  </a:cxn>
                  <a:cxn ang="0">
                    <a:pos x="5" y="2"/>
                  </a:cxn>
                  <a:cxn ang="0">
                    <a:pos x="4" y="2"/>
                  </a:cxn>
                  <a:cxn ang="0">
                    <a:pos x="3" y="3"/>
                  </a:cxn>
                  <a:cxn ang="0">
                    <a:pos x="1" y="3"/>
                  </a:cxn>
                  <a:cxn ang="0">
                    <a:pos x="0" y="0"/>
                  </a:cxn>
                </a:cxnLst>
                <a:rect l="0" t="0" r="r" b="b"/>
                <a:pathLst>
                  <a:path w="5" h="3">
                    <a:moveTo>
                      <a:pt x="0" y="0"/>
                    </a:moveTo>
                    <a:lnTo>
                      <a:pt x="3" y="2"/>
                    </a:lnTo>
                    <a:lnTo>
                      <a:pt x="5" y="2"/>
                    </a:lnTo>
                    <a:lnTo>
                      <a:pt x="5" y="2"/>
                    </a:lnTo>
                    <a:lnTo>
                      <a:pt x="4" y="2"/>
                    </a:lnTo>
                    <a:lnTo>
                      <a:pt x="3" y="3"/>
                    </a:lnTo>
                    <a:lnTo>
                      <a:pt x="1" y="3"/>
                    </a:lnTo>
                    <a:lnTo>
                      <a:pt x="0"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73" name="Freeform 1594"/>
              <p:cNvSpPr>
                <a:spLocks/>
              </p:cNvSpPr>
              <p:nvPr/>
            </p:nvSpPr>
            <p:spPr bwMode="auto">
              <a:xfrm>
                <a:off x="4574040" y="2752347"/>
                <a:ext cx="2634" cy="3043"/>
              </a:xfrm>
              <a:custGeom>
                <a:avLst/>
                <a:gdLst/>
                <a:ahLst/>
                <a:cxnLst>
                  <a:cxn ang="0">
                    <a:pos x="0" y="0"/>
                  </a:cxn>
                  <a:cxn ang="0">
                    <a:pos x="0" y="0"/>
                  </a:cxn>
                  <a:cxn ang="0">
                    <a:pos x="0" y="0"/>
                  </a:cxn>
                  <a:cxn ang="0">
                    <a:pos x="1" y="0"/>
                  </a:cxn>
                  <a:cxn ang="0">
                    <a:pos x="1" y="1"/>
                  </a:cxn>
                  <a:cxn ang="0">
                    <a:pos x="3" y="1"/>
                  </a:cxn>
                  <a:cxn ang="0">
                    <a:pos x="1" y="3"/>
                  </a:cxn>
                  <a:cxn ang="0">
                    <a:pos x="1" y="3"/>
                  </a:cxn>
                  <a:cxn ang="0">
                    <a:pos x="1" y="1"/>
                  </a:cxn>
                  <a:cxn ang="0">
                    <a:pos x="0" y="0"/>
                  </a:cxn>
                  <a:cxn ang="0">
                    <a:pos x="0" y="0"/>
                  </a:cxn>
                </a:cxnLst>
                <a:rect l="0" t="0" r="r" b="b"/>
                <a:pathLst>
                  <a:path w="3" h="3">
                    <a:moveTo>
                      <a:pt x="0" y="0"/>
                    </a:moveTo>
                    <a:lnTo>
                      <a:pt x="0" y="0"/>
                    </a:lnTo>
                    <a:lnTo>
                      <a:pt x="0" y="0"/>
                    </a:lnTo>
                    <a:lnTo>
                      <a:pt x="1" y="0"/>
                    </a:lnTo>
                    <a:lnTo>
                      <a:pt x="1" y="1"/>
                    </a:lnTo>
                    <a:lnTo>
                      <a:pt x="3" y="1"/>
                    </a:lnTo>
                    <a:lnTo>
                      <a:pt x="1" y="3"/>
                    </a:lnTo>
                    <a:lnTo>
                      <a:pt x="1" y="3"/>
                    </a:lnTo>
                    <a:lnTo>
                      <a:pt x="1" y="1"/>
                    </a:lnTo>
                    <a:lnTo>
                      <a:pt x="0" y="0"/>
                    </a:lnTo>
                    <a:lnTo>
                      <a:pt x="0"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74" name="Freeform 1595"/>
              <p:cNvSpPr>
                <a:spLocks/>
              </p:cNvSpPr>
              <p:nvPr/>
            </p:nvSpPr>
            <p:spPr bwMode="auto">
              <a:xfrm>
                <a:off x="4574040" y="2752347"/>
                <a:ext cx="2634" cy="3043"/>
              </a:xfrm>
              <a:custGeom>
                <a:avLst/>
                <a:gdLst/>
                <a:ahLst/>
                <a:cxnLst>
                  <a:cxn ang="0">
                    <a:pos x="0" y="0"/>
                  </a:cxn>
                  <a:cxn ang="0">
                    <a:pos x="0" y="0"/>
                  </a:cxn>
                  <a:cxn ang="0">
                    <a:pos x="0" y="0"/>
                  </a:cxn>
                  <a:cxn ang="0">
                    <a:pos x="1" y="0"/>
                  </a:cxn>
                  <a:cxn ang="0">
                    <a:pos x="1" y="1"/>
                  </a:cxn>
                  <a:cxn ang="0">
                    <a:pos x="3" y="1"/>
                  </a:cxn>
                  <a:cxn ang="0">
                    <a:pos x="1" y="3"/>
                  </a:cxn>
                  <a:cxn ang="0">
                    <a:pos x="1" y="3"/>
                  </a:cxn>
                  <a:cxn ang="0">
                    <a:pos x="1" y="1"/>
                  </a:cxn>
                  <a:cxn ang="0">
                    <a:pos x="0" y="0"/>
                  </a:cxn>
                  <a:cxn ang="0">
                    <a:pos x="0" y="0"/>
                  </a:cxn>
                </a:cxnLst>
                <a:rect l="0" t="0" r="r" b="b"/>
                <a:pathLst>
                  <a:path w="3" h="3">
                    <a:moveTo>
                      <a:pt x="0" y="0"/>
                    </a:moveTo>
                    <a:lnTo>
                      <a:pt x="0" y="0"/>
                    </a:lnTo>
                    <a:lnTo>
                      <a:pt x="0" y="0"/>
                    </a:lnTo>
                    <a:lnTo>
                      <a:pt x="1" y="0"/>
                    </a:lnTo>
                    <a:lnTo>
                      <a:pt x="1" y="1"/>
                    </a:lnTo>
                    <a:lnTo>
                      <a:pt x="3" y="1"/>
                    </a:lnTo>
                    <a:lnTo>
                      <a:pt x="1" y="3"/>
                    </a:lnTo>
                    <a:lnTo>
                      <a:pt x="1" y="3"/>
                    </a:lnTo>
                    <a:lnTo>
                      <a:pt x="1" y="1"/>
                    </a:lnTo>
                    <a:lnTo>
                      <a:pt x="0" y="0"/>
                    </a:lnTo>
                    <a:lnTo>
                      <a:pt x="0"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75" name="Freeform 1596"/>
              <p:cNvSpPr>
                <a:spLocks/>
              </p:cNvSpPr>
              <p:nvPr/>
            </p:nvSpPr>
            <p:spPr bwMode="auto">
              <a:xfrm>
                <a:off x="4572284" y="2758432"/>
                <a:ext cx="4389" cy="4056"/>
              </a:xfrm>
              <a:custGeom>
                <a:avLst/>
                <a:gdLst/>
                <a:ahLst/>
                <a:cxnLst>
                  <a:cxn ang="0">
                    <a:pos x="0" y="1"/>
                  </a:cxn>
                  <a:cxn ang="0">
                    <a:pos x="0" y="0"/>
                  </a:cxn>
                  <a:cxn ang="0">
                    <a:pos x="0" y="1"/>
                  </a:cxn>
                  <a:cxn ang="0">
                    <a:pos x="2" y="2"/>
                  </a:cxn>
                  <a:cxn ang="0">
                    <a:pos x="3" y="2"/>
                  </a:cxn>
                  <a:cxn ang="0">
                    <a:pos x="5" y="4"/>
                  </a:cxn>
                  <a:cxn ang="0">
                    <a:pos x="3" y="4"/>
                  </a:cxn>
                  <a:cxn ang="0">
                    <a:pos x="0" y="1"/>
                  </a:cxn>
                  <a:cxn ang="0">
                    <a:pos x="0" y="1"/>
                  </a:cxn>
                </a:cxnLst>
                <a:rect l="0" t="0" r="r" b="b"/>
                <a:pathLst>
                  <a:path w="5" h="4">
                    <a:moveTo>
                      <a:pt x="0" y="1"/>
                    </a:moveTo>
                    <a:lnTo>
                      <a:pt x="0" y="0"/>
                    </a:lnTo>
                    <a:lnTo>
                      <a:pt x="0" y="1"/>
                    </a:lnTo>
                    <a:lnTo>
                      <a:pt x="2" y="2"/>
                    </a:lnTo>
                    <a:lnTo>
                      <a:pt x="3" y="2"/>
                    </a:lnTo>
                    <a:lnTo>
                      <a:pt x="5" y="4"/>
                    </a:lnTo>
                    <a:lnTo>
                      <a:pt x="3" y="4"/>
                    </a:lnTo>
                    <a:lnTo>
                      <a:pt x="0" y="1"/>
                    </a:lnTo>
                    <a:lnTo>
                      <a:pt x="0" y="1"/>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76" name="Freeform 1597"/>
              <p:cNvSpPr>
                <a:spLocks/>
              </p:cNvSpPr>
              <p:nvPr/>
            </p:nvSpPr>
            <p:spPr bwMode="auto">
              <a:xfrm>
                <a:off x="4572284" y="2758432"/>
                <a:ext cx="4389" cy="4056"/>
              </a:xfrm>
              <a:custGeom>
                <a:avLst/>
                <a:gdLst/>
                <a:ahLst/>
                <a:cxnLst>
                  <a:cxn ang="0">
                    <a:pos x="0" y="1"/>
                  </a:cxn>
                  <a:cxn ang="0">
                    <a:pos x="0" y="0"/>
                  </a:cxn>
                  <a:cxn ang="0">
                    <a:pos x="0" y="1"/>
                  </a:cxn>
                  <a:cxn ang="0">
                    <a:pos x="2" y="2"/>
                  </a:cxn>
                  <a:cxn ang="0">
                    <a:pos x="3" y="2"/>
                  </a:cxn>
                  <a:cxn ang="0">
                    <a:pos x="5" y="4"/>
                  </a:cxn>
                  <a:cxn ang="0">
                    <a:pos x="3" y="4"/>
                  </a:cxn>
                  <a:cxn ang="0">
                    <a:pos x="0" y="1"/>
                  </a:cxn>
                  <a:cxn ang="0">
                    <a:pos x="0" y="1"/>
                  </a:cxn>
                </a:cxnLst>
                <a:rect l="0" t="0" r="r" b="b"/>
                <a:pathLst>
                  <a:path w="5" h="4">
                    <a:moveTo>
                      <a:pt x="0" y="1"/>
                    </a:moveTo>
                    <a:lnTo>
                      <a:pt x="0" y="0"/>
                    </a:lnTo>
                    <a:lnTo>
                      <a:pt x="0" y="1"/>
                    </a:lnTo>
                    <a:lnTo>
                      <a:pt x="2" y="2"/>
                    </a:lnTo>
                    <a:lnTo>
                      <a:pt x="3" y="2"/>
                    </a:lnTo>
                    <a:lnTo>
                      <a:pt x="5" y="4"/>
                    </a:lnTo>
                    <a:lnTo>
                      <a:pt x="3" y="4"/>
                    </a:lnTo>
                    <a:lnTo>
                      <a:pt x="0" y="1"/>
                    </a:lnTo>
                    <a:lnTo>
                      <a:pt x="0" y="1"/>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77" name="Freeform 1598"/>
              <p:cNvSpPr>
                <a:spLocks/>
              </p:cNvSpPr>
              <p:nvPr/>
            </p:nvSpPr>
            <p:spPr bwMode="auto">
              <a:xfrm>
                <a:off x="4854059" y="2839562"/>
                <a:ext cx="7900" cy="10141"/>
              </a:xfrm>
              <a:custGeom>
                <a:avLst/>
                <a:gdLst/>
                <a:ahLst/>
                <a:cxnLst>
                  <a:cxn ang="0">
                    <a:pos x="1" y="6"/>
                  </a:cxn>
                  <a:cxn ang="0">
                    <a:pos x="1" y="6"/>
                  </a:cxn>
                  <a:cxn ang="0">
                    <a:pos x="3" y="4"/>
                  </a:cxn>
                  <a:cxn ang="0">
                    <a:pos x="4" y="3"/>
                  </a:cxn>
                  <a:cxn ang="0">
                    <a:pos x="4" y="3"/>
                  </a:cxn>
                  <a:cxn ang="0">
                    <a:pos x="6" y="1"/>
                  </a:cxn>
                  <a:cxn ang="0">
                    <a:pos x="7" y="1"/>
                  </a:cxn>
                  <a:cxn ang="0">
                    <a:pos x="7" y="0"/>
                  </a:cxn>
                  <a:cxn ang="0">
                    <a:pos x="9" y="1"/>
                  </a:cxn>
                  <a:cxn ang="0">
                    <a:pos x="7" y="1"/>
                  </a:cxn>
                  <a:cxn ang="0">
                    <a:pos x="0" y="10"/>
                  </a:cxn>
                  <a:cxn ang="0">
                    <a:pos x="0" y="10"/>
                  </a:cxn>
                  <a:cxn ang="0">
                    <a:pos x="0" y="10"/>
                  </a:cxn>
                  <a:cxn ang="0">
                    <a:pos x="1" y="6"/>
                  </a:cxn>
                  <a:cxn ang="0">
                    <a:pos x="1" y="6"/>
                  </a:cxn>
                </a:cxnLst>
                <a:rect l="0" t="0" r="r" b="b"/>
                <a:pathLst>
                  <a:path w="9" h="10">
                    <a:moveTo>
                      <a:pt x="1" y="6"/>
                    </a:moveTo>
                    <a:lnTo>
                      <a:pt x="1" y="6"/>
                    </a:lnTo>
                    <a:lnTo>
                      <a:pt x="3" y="4"/>
                    </a:lnTo>
                    <a:lnTo>
                      <a:pt x="4" y="3"/>
                    </a:lnTo>
                    <a:lnTo>
                      <a:pt x="4" y="3"/>
                    </a:lnTo>
                    <a:lnTo>
                      <a:pt x="6" y="1"/>
                    </a:lnTo>
                    <a:lnTo>
                      <a:pt x="7" y="1"/>
                    </a:lnTo>
                    <a:lnTo>
                      <a:pt x="7" y="0"/>
                    </a:lnTo>
                    <a:lnTo>
                      <a:pt x="9" y="1"/>
                    </a:lnTo>
                    <a:lnTo>
                      <a:pt x="7" y="1"/>
                    </a:lnTo>
                    <a:lnTo>
                      <a:pt x="0" y="10"/>
                    </a:lnTo>
                    <a:lnTo>
                      <a:pt x="0" y="10"/>
                    </a:lnTo>
                    <a:lnTo>
                      <a:pt x="0" y="10"/>
                    </a:lnTo>
                    <a:lnTo>
                      <a:pt x="1" y="6"/>
                    </a:lnTo>
                    <a:lnTo>
                      <a:pt x="1" y="6"/>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78" name="Freeform 1599"/>
              <p:cNvSpPr>
                <a:spLocks/>
              </p:cNvSpPr>
              <p:nvPr/>
            </p:nvSpPr>
            <p:spPr bwMode="auto">
              <a:xfrm>
                <a:off x="4854059" y="2839562"/>
                <a:ext cx="7900" cy="10141"/>
              </a:xfrm>
              <a:custGeom>
                <a:avLst/>
                <a:gdLst/>
                <a:ahLst/>
                <a:cxnLst>
                  <a:cxn ang="0">
                    <a:pos x="1" y="6"/>
                  </a:cxn>
                  <a:cxn ang="0">
                    <a:pos x="1" y="6"/>
                  </a:cxn>
                  <a:cxn ang="0">
                    <a:pos x="3" y="4"/>
                  </a:cxn>
                  <a:cxn ang="0">
                    <a:pos x="4" y="3"/>
                  </a:cxn>
                  <a:cxn ang="0">
                    <a:pos x="4" y="3"/>
                  </a:cxn>
                  <a:cxn ang="0">
                    <a:pos x="6" y="1"/>
                  </a:cxn>
                  <a:cxn ang="0">
                    <a:pos x="7" y="1"/>
                  </a:cxn>
                  <a:cxn ang="0">
                    <a:pos x="7" y="0"/>
                  </a:cxn>
                  <a:cxn ang="0">
                    <a:pos x="9" y="1"/>
                  </a:cxn>
                  <a:cxn ang="0">
                    <a:pos x="7" y="1"/>
                  </a:cxn>
                  <a:cxn ang="0">
                    <a:pos x="0" y="10"/>
                  </a:cxn>
                  <a:cxn ang="0">
                    <a:pos x="0" y="10"/>
                  </a:cxn>
                  <a:cxn ang="0">
                    <a:pos x="0" y="10"/>
                  </a:cxn>
                  <a:cxn ang="0">
                    <a:pos x="1" y="6"/>
                  </a:cxn>
                  <a:cxn ang="0">
                    <a:pos x="1" y="6"/>
                  </a:cxn>
                </a:cxnLst>
                <a:rect l="0" t="0" r="r" b="b"/>
                <a:pathLst>
                  <a:path w="9" h="10">
                    <a:moveTo>
                      <a:pt x="1" y="6"/>
                    </a:moveTo>
                    <a:lnTo>
                      <a:pt x="1" y="6"/>
                    </a:lnTo>
                    <a:lnTo>
                      <a:pt x="3" y="4"/>
                    </a:lnTo>
                    <a:lnTo>
                      <a:pt x="4" y="3"/>
                    </a:lnTo>
                    <a:lnTo>
                      <a:pt x="4" y="3"/>
                    </a:lnTo>
                    <a:lnTo>
                      <a:pt x="6" y="1"/>
                    </a:lnTo>
                    <a:lnTo>
                      <a:pt x="7" y="1"/>
                    </a:lnTo>
                    <a:lnTo>
                      <a:pt x="7" y="0"/>
                    </a:lnTo>
                    <a:lnTo>
                      <a:pt x="9" y="1"/>
                    </a:lnTo>
                    <a:lnTo>
                      <a:pt x="7" y="1"/>
                    </a:lnTo>
                    <a:lnTo>
                      <a:pt x="0" y="10"/>
                    </a:lnTo>
                    <a:lnTo>
                      <a:pt x="0" y="10"/>
                    </a:lnTo>
                    <a:lnTo>
                      <a:pt x="0" y="10"/>
                    </a:lnTo>
                    <a:lnTo>
                      <a:pt x="1" y="6"/>
                    </a:lnTo>
                    <a:lnTo>
                      <a:pt x="1" y="6"/>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79" name="Freeform 1600"/>
              <p:cNvSpPr>
                <a:spLocks/>
              </p:cNvSpPr>
              <p:nvPr/>
            </p:nvSpPr>
            <p:spPr bwMode="auto">
              <a:xfrm>
                <a:off x="5066487" y="2890269"/>
                <a:ext cx="2633" cy="6085"/>
              </a:xfrm>
              <a:custGeom>
                <a:avLst/>
                <a:gdLst/>
                <a:ahLst/>
                <a:cxnLst>
                  <a:cxn ang="0">
                    <a:pos x="3" y="0"/>
                  </a:cxn>
                  <a:cxn ang="0">
                    <a:pos x="3" y="0"/>
                  </a:cxn>
                  <a:cxn ang="0">
                    <a:pos x="0" y="3"/>
                  </a:cxn>
                  <a:cxn ang="0">
                    <a:pos x="0" y="5"/>
                  </a:cxn>
                  <a:cxn ang="0">
                    <a:pos x="3" y="0"/>
                  </a:cxn>
                </a:cxnLst>
                <a:rect l="0" t="0" r="r" b="b"/>
                <a:pathLst>
                  <a:path w="3" h="5">
                    <a:moveTo>
                      <a:pt x="3" y="0"/>
                    </a:moveTo>
                    <a:lnTo>
                      <a:pt x="3" y="0"/>
                    </a:lnTo>
                    <a:lnTo>
                      <a:pt x="0" y="3"/>
                    </a:lnTo>
                    <a:lnTo>
                      <a:pt x="0" y="5"/>
                    </a:lnTo>
                    <a:lnTo>
                      <a:pt x="3"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80" name="Freeform 1601"/>
              <p:cNvSpPr>
                <a:spLocks/>
              </p:cNvSpPr>
              <p:nvPr/>
            </p:nvSpPr>
            <p:spPr bwMode="auto">
              <a:xfrm>
                <a:off x="5066487" y="2890269"/>
                <a:ext cx="2633" cy="6085"/>
              </a:xfrm>
              <a:custGeom>
                <a:avLst/>
                <a:gdLst/>
                <a:ahLst/>
                <a:cxnLst>
                  <a:cxn ang="0">
                    <a:pos x="3" y="0"/>
                  </a:cxn>
                  <a:cxn ang="0">
                    <a:pos x="3" y="0"/>
                  </a:cxn>
                  <a:cxn ang="0">
                    <a:pos x="0" y="3"/>
                  </a:cxn>
                  <a:cxn ang="0">
                    <a:pos x="0" y="5"/>
                  </a:cxn>
                  <a:cxn ang="0">
                    <a:pos x="3" y="0"/>
                  </a:cxn>
                </a:cxnLst>
                <a:rect l="0" t="0" r="r" b="b"/>
                <a:pathLst>
                  <a:path w="3" h="5">
                    <a:moveTo>
                      <a:pt x="3" y="0"/>
                    </a:moveTo>
                    <a:lnTo>
                      <a:pt x="3" y="0"/>
                    </a:lnTo>
                    <a:lnTo>
                      <a:pt x="0" y="3"/>
                    </a:lnTo>
                    <a:lnTo>
                      <a:pt x="0" y="5"/>
                    </a:lnTo>
                    <a:lnTo>
                      <a:pt x="3"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81" name="Freeform 1602"/>
              <p:cNvSpPr>
                <a:spLocks/>
              </p:cNvSpPr>
              <p:nvPr/>
            </p:nvSpPr>
            <p:spPr bwMode="auto">
              <a:xfrm>
                <a:off x="5062976" y="2896354"/>
                <a:ext cx="2633" cy="1015"/>
              </a:xfrm>
              <a:custGeom>
                <a:avLst/>
                <a:gdLst/>
                <a:ahLst/>
                <a:cxnLst>
                  <a:cxn ang="0">
                    <a:pos x="3" y="0"/>
                  </a:cxn>
                  <a:cxn ang="0">
                    <a:pos x="0" y="1"/>
                  </a:cxn>
                  <a:cxn ang="0">
                    <a:pos x="0" y="1"/>
                  </a:cxn>
                  <a:cxn ang="0">
                    <a:pos x="3" y="1"/>
                  </a:cxn>
                  <a:cxn ang="0">
                    <a:pos x="3" y="0"/>
                  </a:cxn>
                </a:cxnLst>
                <a:rect l="0" t="0" r="r" b="b"/>
                <a:pathLst>
                  <a:path w="3" h="1">
                    <a:moveTo>
                      <a:pt x="3" y="0"/>
                    </a:moveTo>
                    <a:lnTo>
                      <a:pt x="0" y="1"/>
                    </a:lnTo>
                    <a:lnTo>
                      <a:pt x="0" y="1"/>
                    </a:lnTo>
                    <a:lnTo>
                      <a:pt x="3" y="1"/>
                    </a:lnTo>
                    <a:lnTo>
                      <a:pt x="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82" name="Freeform 1603"/>
              <p:cNvSpPr>
                <a:spLocks/>
              </p:cNvSpPr>
              <p:nvPr/>
            </p:nvSpPr>
            <p:spPr bwMode="auto">
              <a:xfrm>
                <a:off x="5062976" y="2896354"/>
                <a:ext cx="2633" cy="1015"/>
              </a:xfrm>
              <a:custGeom>
                <a:avLst/>
                <a:gdLst/>
                <a:ahLst/>
                <a:cxnLst>
                  <a:cxn ang="0">
                    <a:pos x="3" y="0"/>
                  </a:cxn>
                  <a:cxn ang="0">
                    <a:pos x="0" y="1"/>
                  </a:cxn>
                  <a:cxn ang="0">
                    <a:pos x="0" y="1"/>
                  </a:cxn>
                  <a:cxn ang="0">
                    <a:pos x="3" y="1"/>
                  </a:cxn>
                  <a:cxn ang="0">
                    <a:pos x="3" y="0"/>
                  </a:cxn>
                </a:cxnLst>
                <a:rect l="0" t="0" r="r" b="b"/>
                <a:pathLst>
                  <a:path w="3" h="1">
                    <a:moveTo>
                      <a:pt x="3" y="0"/>
                    </a:moveTo>
                    <a:lnTo>
                      <a:pt x="0" y="1"/>
                    </a:lnTo>
                    <a:lnTo>
                      <a:pt x="0" y="1"/>
                    </a:lnTo>
                    <a:lnTo>
                      <a:pt x="3" y="1"/>
                    </a:lnTo>
                    <a:lnTo>
                      <a:pt x="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83" name="Freeform 1604"/>
              <p:cNvSpPr>
                <a:spLocks/>
              </p:cNvSpPr>
              <p:nvPr/>
            </p:nvSpPr>
            <p:spPr bwMode="auto">
              <a:xfrm>
                <a:off x="5050686" y="2897368"/>
                <a:ext cx="7022" cy="5071"/>
              </a:xfrm>
              <a:custGeom>
                <a:avLst/>
                <a:gdLst/>
                <a:ahLst/>
                <a:cxnLst>
                  <a:cxn ang="0">
                    <a:pos x="7" y="3"/>
                  </a:cxn>
                  <a:cxn ang="0">
                    <a:pos x="6" y="3"/>
                  </a:cxn>
                  <a:cxn ang="0">
                    <a:pos x="3" y="5"/>
                  </a:cxn>
                  <a:cxn ang="0">
                    <a:pos x="0" y="5"/>
                  </a:cxn>
                  <a:cxn ang="0">
                    <a:pos x="0" y="3"/>
                  </a:cxn>
                  <a:cxn ang="0">
                    <a:pos x="3" y="3"/>
                  </a:cxn>
                  <a:cxn ang="0">
                    <a:pos x="6" y="0"/>
                  </a:cxn>
                  <a:cxn ang="0">
                    <a:pos x="7" y="2"/>
                  </a:cxn>
                  <a:cxn ang="0">
                    <a:pos x="7" y="3"/>
                  </a:cxn>
                </a:cxnLst>
                <a:rect l="0" t="0" r="r" b="b"/>
                <a:pathLst>
                  <a:path w="7" h="5">
                    <a:moveTo>
                      <a:pt x="7" y="3"/>
                    </a:moveTo>
                    <a:lnTo>
                      <a:pt x="6" y="3"/>
                    </a:lnTo>
                    <a:lnTo>
                      <a:pt x="3" y="5"/>
                    </a:lnTo>
                    <a:lnTo>
                      <a:pt x="0" y="5"/>
                    </a:lnTo>
                    <a:lnTo>
                      <a:pt x="0" y="3"/>
                    </a:lnTo>
                    <a:lnTo>
                      <a:pt x="3" y="3"/>
                    </a:lnTo>
                    <a:lnTo>
                      <a:pt x="6" y="0"/>
                    </a:lnTo>
                    <a:lnTo>
                      <a:pt x="7" y="2"/>
                    </a:lnTo>
                    <a:lnTo>
                      <a:pt x="7"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84" name="Freeform 1605"/>
              <p:cNvSpPr>
                <a:spLocks/>
              </p:cNvSpPr>
              <p:nvPr/>
            </p:nvSpPr>
            <p:spPr bwMode="auto">
              <a:xfrm>
                <a:off x="5050686" y="2897368"/>
                <a:ext cx="7022" cy="5071"/>
              </a:xfrm>
              <a:custGeom>
                <a:avLst/>
                <a:gdLst/>
                <a:ahLst/>
                <a:cxnLst>
                  <a:cxn ang="0">
                    <a:pos x="7" y="3"/>
                  </a:cxn>
                  <a:cxn ang="0">
                    <a:pos x="6" y="3"/>
                  </a:cxn>
                  <a:cxn ang="0">
                    <a:pos x="3" y="5"/>
                  </a:cxn>
                  <a:cxn ang="0">
                    <a:pos x="0" y="5"/>
                  </a:cxn>
                  <a:cxn ang="0">
                    <a:pos x="0" y="3"/>
                  </a:cxn>
                  <a:cxn ang="0">
                    <a:pos x="3" y="3"/>
                  </a:cxn>
                  <a:cxn ang="0">
                    <a:pos x="6" y="0"/>
                  </a:cxn>
                  <a:cxn ang="0">
                    <a:pos x="7" y="2"/>
                  </a:cxn>
                  <a:cxn ang="0">
                    <a:pos x="7" y="3"/>
                  </a:cxn>
                </a:cxnLst>
                <a:rect l="0" t="0" r="r" b="b"/>
                <a:pathLst>
                  <a:path w="7" h="5">
                    <a:moveTo>
                      <a:pt x="7" y="3"/>
                    </a:moveTo>
                    <a:lnTo>
                      <a:pt x="6" y="3"/>
                    </a:lnTo>
                    <a:lnTo>
                      <a:pt x="3" y="5"/>
                    </a:lnTo>
                    <a:lnTo>
                      <a:pt x="0" y="5"/>
                    </a:lnTo>
                    <a:lnTo>
                      <a:pt x="0" y="3"/>
                    </a:lnTo>
                    <a:lnTo>
                      <a:pt x="3" y="3"/>
                    </a:lnTo>
                    <a:lnTo>
                      <a:pt x="6" y="0"/>
                    </a:lnTo>
                    <a:lnTo>
                      <a:pt x="7" y="2"/>
                    </a:lnTo>
                    <a:lnTo>
                      <a:pt x="7"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85" name="Freeform 1606"/>
              <p:cNvSpPr>
                <a:spLocks/>
              </p:cNvSpPr>
              <p:nvPr/>
            </p:nvSpPr>
            <p:spPr bwMode="auto">
              <a:xfrm>
                <a:off x="5125298" y="2719895"/>
                <a:ext cx="3511" cy="5071"/>
              </a:xfrm>
              <a:custGeom>
                <a:avLst/>
                <a:gdLst/>
                <a:ahLst/>
                <a:cxnLst>
                  <a:cxn ang="0">
                    <a:pos x="0" y="3"/>
                  </a:cxn>
                  <a:cxn ang="0">
                    <a:pos x="0" y="5"/>
                  </a:cxn>
                  <a:cxn ang="0">
                    <a:pos x="4" y="2"/>
                  </a:cxn>
                  <a:cxn ang="0">
                    <a:pos x="4" y="0"/>
                  </a:cxn>
                  <a:cxn ang="0">
                    <a:pos x="0" y="3"/>
                  </a:cxn>
                </a:cxnLst>
                <a:rect l="0" t="0" r="r" b="b"/>
                <a:pathLst>
                  <a:path w="4" h="5">
                    <a:moveTo>
                      <a:pt x="0" y="3"/>
                    </a:moveTo>
                    <a:lnTo>
                      <a:pt x="0" y="5"/>
                    </a:lnTo>
                    <a:lnTo>
                      <a:pt x="4" y="2"/>
                    </a:lnTo>
                    <a:lnTo>
                      <a:pt x="4" y="0"/>
                    </a:lnTo>
                    <a:lnTo>
                      <a:pt x="0" y="3"/>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86" name="Freeform 1607"/>
              <p:cNvSpPr>
                <a:spLocks/>
              </p:cNvSpPr>
              <p:nvPr/>
            </p:nvSpPr>
            <p:spPr bwMode="auto">
              <a:xfrm>
                <a:off x="5125298" y="2719895"/>
                <a:ext cx="3511" cy="5071"/>
              </a:xfrm>
              <a:custGeom>
                <a:avLst/>
                <a:gdLst/>
                <a:ahLst/>
                <a:cxnLst>
                  <a:cxn ang="0">
                    <a:pos x="0" y="3"/>
                  </a:cxn>
                  <a:cxn ang="0">
                    <a:pos x="0" y="5"/>
                  </a:cxn>
                  <a:cxn ang="0">
                    <a:pos x="4" y="2"/>
                  </a:cxn>
                  <a:cxn ang="0">
                    <a:pos x="4" y="0"/>
                  </a:cxn>
                  <a:cxn ang="0">
                    <a:pos x="0" y="3"/>
                  </a:cxn>
                </a:cxnLst>
                <a:rect l="0" t="0" r="r" b="b"/>
                <a:pathLst>
                  <a:path w="4" h="5">
                    <a:moveTo>
                      <a:pt x="0" y="3"/>
                    </a:moveTo>
                    <a:lnTo>
                      <a:pt x="0" y="5"/>
                    </a:lnTo>
                    <a:lnTo>
                      <a:pt x="4" y="2"/>
                    </a:lnTo>
                    <a:lnTo>
                      <a:pt x="4" y="0"/>
                    </a:lnTo>
                    <a:lnTo>
                      <a:pt x="0" y="3"/>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87" name="Freeform 1608"/>
              <p:cNvSpPr>
                <a:spLocks/>
              </p:cNvSpPr>
              <p:nvPr/>
            </p:nvSpPr>
            <p:spPr bwMode="auto">
              <a:xfrm>
                <a:off x="5130566" y="2705697"/>
                <a:ext cx="4389" cy="14197"/>
              </a:xfrm>
              <a:custGeom>
                <a:avLst/>
                <a:gdLst/>
                <a:ahLst/>
                <a:cxnLst>
                  <a:cxn ang="0">
                    <a:pos x="0" y="14"/>
                  </a:cxn>
                  <a:cxn ang="0">
                    <a:pos x="0" y="14"/>
                  </a:cxn>
                  <a:cxn ang="0">
                    <a:pos x="3" y="13"/>
                  </a:cxn>
                  <a:cxn ang="0">
                    <a:pos x="4" y="7"/>
                  </a:cxn>
                  <a:cxn ang="0">
                    <a:pos x="0" y="0"/>
                  </a:cxn>
                  <a:cxn ang="0">
                    <a:pos x="0" y="0"/>
                  </a:cxn>
                  <a:cxn ang="0">
                    <a:pos x="3" y="7"/>
                  </a:cxn>
                  <a:cxn ang="0">
                    <a:pos x="3" y="13"/>
                  </a:cxn>
                  <a:cxn ang="0">
                    <a:pos x="0" y="14"/>
                  </a:cxn>
                </a:cxnLst>
                <a:rect l="0" t="0" r="r" b="b"/>
                <a:pathLst>
                  <a:path w="4" h="14">
                    <a:moveTo>
                      <a:pt x="0" y="14"/>
                    </a:moveTo>
                    <a:lnTo>
                      <a:pt x="0" y="14"/>
                    </a:lnTo>
                    <a:lnTo>
                      <a:pt x="3" y="13"/>
                    </a:lnTo>
                    <a:lnTo>
                      <a:pt x="4" y="7"/>
                    </a:lnTo>
                    <a:lnTo>
                      <a:pt x="0" y="0"/>
                    </a:lnTo>
                    <a:lnTo>
                      <a:pt x="0" y="0"/>
                    </a:lnTo>
                    <a:lnTo>
                      <a:pt x="3" y="7"/>
                    </a:lnTo>
                    <a:lnTo>
                      <a:pt x="3" y="13"/>
                    </a:lnTo>
                    <a:lnTo>
                      <a:pt x="0" y="14"/>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88" name="Freeform 1609"/>
              <p:cNvSpPr>
                <a:spLocks/>
              </p:cNvSpPr>
              <p:nvPr/>
            </p:nvSpPr>
            <p:spPr bwMode="auto">
              <a:xfrm>
                <a:off x="5130566" y="2705697"/>
                <a:ext cx="4389" cy="14197"/>
              </a:xfrm>
              <a:custGeom>
                <a:avLst/>
                <a:gdLst/>
                <a:ahLst/>
                <a:cxnLst>
                  <a:cxn ang="0">
                    <a:pos x="0" y="14"/>
                  </a:cxn>
                  <a:cxn ang="0">
                    <a:pos x="0" y="14"/>
                  </a:cxn>
                  <a:cxn ang="0">
                    <a:pos x="3" y="13"/>
                  </a:cxn>
                  <a:cxn ang="0">
                    <a:pos x="4" y="7"/>
                  </a:cxn>
                  <a:cxn ang="0">
                    <a:pos x="0" y="0"/>
                  </a:cxn>
                  <a:cxn ang="0">
                    <a:pos x="0" y="0"/>
                  </a:cxn>
                  <a:cxn ang="0">
                    <a:pos x="3" y="7"/>
                  </a:cxn>
                  <a:cxn ang="0">
                    <a:pos x="3" y="13"/>
                  </a:cxn>
                  <a:cxn ang="0">
                    <a:pos x="0" y="14"/>
                  </a:cxn>
                </a:cxnLst>
                <a:rect l="0" t="0" r="r" b="b"/>
                <a:pathLst>
                  <a:path w="4" h="14">
                    <a:moveTo>
                      <a:pt x="0" y="14"/>
                    </a:moveTo>
                    <a:lnTo>
                      <a:pt x="0" y="14"/>
                    </a:lnTo>
                    <a:lnTo>
                      <a:pt x="3" y="13"/>
                    </a:lnTo>
                    <a:lnTo>
                      <a:pt x="4" y="7"/>
                    </a:lnTo>
                    <a:lnTo>
                      <a:pt x="0" y="0"/>
                    </a:lnTo>
                    <a:lnTo>
                      <a:pt x="0" y="0"/>
                    </a:lnTo>
                    <a:lnTo>
                      <a:pt x="3" y="7"/>
                    </a:lnTo>
                    <a:lnTo>
                      <a:pt x="3" y="13"/>
                    </a:lnTo>
                    <a:lnTo>
                      <a:pt x="0" y="14"/>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89" name="Freeform 1610"/>
              <p:cNvSpPr>
                <a:spLocks/>
              </p:cNvSpPr>
              <p:nvPr/>
            </p:nvSpPr>
            <p:spPr bwMode="auto">
              <a:xfrm>
                <a:off x="5155144" y="2606312"/>
                <a:ext cx="25456" cy="12170"/>
              </a:xfrm>
              <a:custGeom>
                <a:avLst/>
                <a:gdLst/>
                <a:ahLst/>
                <a:cxnLst>
                  <a:cxn ang="0">
                    <a:pos x="25" y="0"/>
                  </a:cxn>
                  <a:cxn ang="0">
                    <a:pos x="19" y="5"/>
                  </a:cxn>
                  <a:cxn ang="0">
                    <a:pos x="6" y="6"/>
                  </a:cxn>
                  <a:cxn ang="0">
                    <a:pos x="1" y="8"/>
                  </a:cxn>
                  <a:cxn ang="0">
                    <a:pos x="1" y="9"/>
                  </a:cxn>
                  <a:cxn ang="0">
                    <a:pos x="0" y="9"/>
                  </a:cxn>
                  <a:cxn ang="0">
                    <a:pos x="0" y="12"/>
                  </a:cxn>
                  <a:cxn ang="0">
                    <a:pos x="0" y="12"/>
                  </a:cxn>
                  <a:cxn ang="0">
                    <a:pos x="0" y="10"/>
                  </a:cxn>
                  <a:cxn ang="0">
                    <a:pos x="1" y="10"/>
                  </a:cxn>
                  <a:cxn ang="0">
                    <a:pos x="1" y="12"/>
                  </a:cxn>
                  <a:cxn ang="0">
                    <a:pos x="3" y="12"/>
                  </a:cxn>
                  <a:cxn ang="0">
                    <a:pos x="28" y="3"/>
                  </a:cxn>
                  <a:cxn ang="0">
                    <a:pos x="25" y="3"/>
                  </a:cxn>
                  <a:cxn ang="0">
                    <a:pos x="23" y="5"/>
                  </a:cxn>
                  <a:cxn ang="0">
                    <a:pos x="22" y="5"/>
                  </a:cxn>
                  <a:cxn ang="0">
                    <a:pos x="20" y="6"/>
                  </a:cxn>
                  <a:cxn ang="0">
                    <a:pos x="20" y="5"/>
                  </a:cxn>
                  <a:cxn ang="0">
                    <a:pos x="23" y="2"/>
                  </a:cxn>
                  <a:cxn ang="0">
                    <a:pos x="25" y="0"/>
                  </a:cxn>
                </a:cxnLst>
                <a:rect l="0" t="0" r="r" b="b"/>
                <a:pathLst>
                  <a:path w="28" h="12">
                    <a:moveTo>
                      <a:pt x="25" y="0"/>
                    </a:moveTo>
                    <a:lnTo>
                      <a:pt x="19" y="5"/>
                    </a:lnTo>
                    <a:lnTo>
                      <a:pt x="6" y="6"/>
                    </a:lnTo>
                    <a:lnTo>
                      <a:pt x="1" y="8"/>
                    </a:lnTo>
                    <a:lnTo>
                      <a:pt x="1" y="9"/>
                    </a:lnTo>
                    <a:lnTo>
                      <a:pt x="0" y="9"/>
                    </a:lnTo>
                    <a:lnTo>
                      <a:pt x="0" y="12"/>
                    </a:lnTo>
                    <a:lnTo>
                      <a:pt x="0" y="12"/>
                    </a:lnTo>
                    <a:lnTo>
                      <a:pt x="0" y="10"/>
                    </a:lnTo>
                    <a:lnTo>
                      <a:pt x="1" y="10"/>
                    </a:lnTo>
                    <a:lnTo>
                      <a:pt x="1" y="12"/>
                    </a:lnTo>
                    <a:lnTo>
                      <a:pt x="3" y="12"/>
                    </a:lnTo>
                    <a:lnTo>
                      <a:pt x="28" y="3"/>
                    </a:lnTo>
                    <a:lnTo>
                      <a:pt x="25" y="3"/>
                    </a:lnTo>
                    <a:lnTo>
                      <a:pt x="23" y="5"/>
                    </a:lnTo>
                    <a:lnTo>
                      <a:pt x="22" y="5"/>
                    </a:lnTo>
                    <a:lnTo>
                      <a:pt x="20" y="6"/>
                    </a:lnTo>
                    <a:lnTo>
                      <a:pt x="20" y="5"/>
                    </a:lnTo>
                    <a:lnTo>
                      <a:pt x="23" y="2"/>
                    </a:lnTo>
                    <a:lnTo>
                      <a:pt x="25" y="0"/>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90" name="Freeform 1611"/>
              <p:cNvSpPr>
                <a:spLocks/>
              </p:cNvSpPr>
              <p:nvPr/>
            </p:nvSpPr>
            <p:spPr bwMode="auto">
              <a:xfrm>
                <a:off x="5155144" y="2606312"/>
                <a:ext cx="25456" cy="12170"/>
              </a:xfrm>
              <a:custGeom>
                <a:avLst/>
                <a:gdLst/>
                <a:ahLst/>
                <a:cxnLst>
                  <a:cxn ang="0">
                    <a:pos x="25" y="0"/>
                  </a:cxn>
                  <a:cxn ang="0">
                    <a:pos x="19" y="5"/>
                  </a:cxn>
                  <a:cxn ang="0">
                    <a:pos x="6" y="6"/>
                  </a:cxn>
                  <a:cxn ang="0">
                    <a:pos x="1" y="8"/>
                  </a:cxn>
                  <a:cxn ang="0">
                    <a:pos x="1" y="9"/>
                  </a:cxn>
                  <a:cxn ang="0">
                    <a:pos x="0" y="9"/>
                  </a:cxn>
                  <a:cxn ang="0">
                    <a:pos x="0" y="12"/>
                  </a:cxn>
                  <a:cxn ang="0">
                    <a:pos x="0" y="12"/>
                  </a:cxn>
                  <a:cxn ang="0">
                    <a:pos x="0" y="10"/>
                  </a:cxn>
                  <a:cxn ang="0">
                    <a:pos x="1" y="10"/>
                  </a:cxn>
                  <a:cxn ang="0">
                    <a:pos x="1" y="12"/>
                  </a:cxn>
                  <a:cxn ang="0">
                    <a:pos x="3" y="12"/>
                  </a:cxn>
                  <a:cxn ang="0">
                    <a:pos x="28" y="3"/>
                  </a:cxn>
                  <a:cxn ang="0">
                    <a:pos x="25" y="3"/>
                  </a:cxn>
                  <a:cxn ang="0">
                    <a:pos x="23" y="5"/>
                  </a:cxn>
                  <a:cxn ang="0">
                    <a:pos x="22" y="5"/>
                  </a:cxn>
                  <a:cxn ang="0">
                    <a:pos x="20" y="6"/>
                  </a:cxn>
                  <a:cxn ang="0">
                    <a:pos x="20" y="5"/>
                  </a:cxn>
                  <a:cxn ang="0">
                    <a:pos x="23" y="2"/>
                  </a:cxn>
                  <a:cxn ang="0">
                    <a:pos x="25" y="0"/>
                  </a:cxn>
                </a:cxnLst>
                <a:rect l="0" t="0" r="r" b="b"/>
                <a:pathLst>
                  <a:path w="28" h="12">
                    <a:moveTo>
                      <a:pt x="25" y="0"/>
                    </a:moveTo>
                    <a:lnTo>
                      <a:pt x="19" y="5"/>
                    </a:lnTo>
                    <a:lnTo>
                      <a:pt x="6" y="6"/>
                    </a:lnTo>
                    <a:lnTo>
                      <a:pt x="1" y="8"/>
                    </a:lnTo>
                    <a:lnTo>
                      <a:pt x="1" y="9"/>
                    </a:lnTo>
                    <a:lnTo>
                      <a:pt x="0" y="9"/>
                    </a:lnTo>
                    <a:lnTo>
                      <a:pt x="0" y="12"/>
                    </a:lnTo>
                    <a:lnTo>
                      <a:pt x="0" y="12"/>
                    </a:lnTo>
                    <a:lnTo>
                      <a:pt x="0" y="10"/>
                    </a:lnTo>
                    <a:lnTo>
                      <a:pt x="1" y="10"/>
                    </a:lnTo>
                    <a:lnTo>
                      <a:pt x="1" y="12"/>
                    </a:lnTo>
                    <a:lnTo>
                      <a:pt x="3" y="12"/>
                    </a:lnTo>
                    <a:lnTo>
                      <a:pt x="28" y="3"/>
                    </a:lnTo>
                    <a:lnTo>
                      <a:pt x="25" y="3"/>
                    </a:lnTo>
                    <a:lnTo>
                      <a:pt x="23" y="5"/>
                    </a:lnTo>
                    <a:lnTo>
                      <a:pt x="22" y="5"/>
                    </a:lnTo>
                    <a:lnTo>
                      <a:pt x="20" y="6"/>
                    </a:lnTo>
                    <a:lnTo>
                      <a:pt x="20" y="5"/>
                    </a:lnTo>
                    <a:lnTo>
                      <a:pt x="23" y="2"/>
                    </a:lnTo>
                    <a:lnTo>
                      <a:pt x="25" y="0"/>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91" name="Freeform 1612"/>
              <p:cNvSpPr>
                <a:spLocks/>
              </p:cNvSpPr>
              <p:nvPr/>
            </p:nvSpPr>
            <p:spPr bwMode="auto">
              <a:xfrm>
                <a:off x="5220102" y="2545464"/>
                <a:ext cx="1756" cy="4056"/>
              </a:xfrm>
              <a:custGeom>
                <a:avLst/>
                <a:gdLst/>
                <a:ahLst/>
                <a:cxnLst>
                  <a:cxn ang="0">
                    <a:pos x="0" y="2"/>
                  </a:cxn>
                  <a:cxn ang="0">
                    <a:pos x="0" y="3"/>
                  </a:cxn>
                  <a:cxn ang="0">
                    <a:pos x="2" y="3"/>
                  </a:cxn>
                  <a:cxn ang="0">
                    <a:pos x="2" y="3"/>
                  </a:cxn>
                  <a:cxn ang="0">
                    <a:pos x="2" y="2"/>
                  </a:cxn>
                  <a:cxn ang="0">
                    <a:pos x="2" y="0"/>
                  </a:cxn>
                  <a:cxn ang="0">
                    <a:pos x="0" y="0"/>
                  </a:cxn>
                  <a:cxn ang="0">
                    <a:pos x="0" y="2"/>
                  </a:cxn>
                </a:cxnLst>
                <a:rect l="0" t="0" r="r" b="b"/>
                <a:pathLst>
                  <a:path w="2" h="3">
                    <a:moveTo>
                      <a:pt x="0" y="2"/>
                    </a:moveTo>
                    <a:lnTo>
                      <a:pt x="0" y="3"/>
                    </a:lnTo>
                    <a:lnTo>
                      <a:pt x="2" y="3"/>
                    </a:lnTo>
                    <a:lnTo>
                      <a:pt x="2" y="3"/>
                    </a:lnTo>
                    <a:lnTo>
                      <a:pt x="2" y="2"/>
                    </a:lnTo>
                    <a:lnTo>
                      <a:pt x="2" y="0"/>
                    </a:lnTo>
                    <a:lnTo>
                      <a:pt x="0" y="0"/>
                    </a:lnTo>
                    <a:lnTo>
                      <a:pt x="0" y="2"/>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92" name="Freeform 1614"/>
              <p:cNvSpPr>
                <a:spLocks/>
              </p:cNvSpPr>
              <p:nvPr/>
            </p:nvSpPr>
            <p:spPr bwMode="auto">
              <a:xfrm>
                <a:off x="5220102" y="2545464"/>
                <a:ext cx="1756" cy="4056"/>
              </a:xfrm>
              <a:custGeom>
                <a:avLst/>
                <a:gdLst/>
                <a:ahLst/>
                <a:cxnLst>
                  <a:cxn ang="0">
                    <a:pos x="0" y="2"/>
                  </a:cxn>
                  <a:cxn ang="0">
                    <a:pos x="0" y="3"/>
                  </a:cxn>
                  <a:cxn ang="0">
                    <a:pos x="2" y="3"/>
                  </a:cxn>
                  <a:cxn ang="0">
                    <a:pos x="2" y="3"/>
                  </a:cxn>
                  <a:cxn ang="0">
                    <a:pos x="2" y="2"/>
                  </a:cxn>
                  <a:cxn ang="0">
                    <a:pos x="2" y="0"/>
                  </a:cxn>
                  <a:cxn ang="0">
                    <a:pos x="0" y="0"/>
                  </a:cxn>
                  <a:cxn ang="0">
                    <a:pos x="0" y="2"/>
                  </a:cxn>
                </a:cxnLst>
                <a:rect l="0" t="0" r="r" b="b"/>
                <a:pathLst>
                  <a:path w="2" h="3">
                    <a:moveTo>
                      <a:pt x="0" y="2"/>
                    </a:moveTo>
                    <a:lnTo>
                      <a:pt x="0" y="3"/>
                    </a:lnTo>
                    <a:lnTo>
                      <a:pt x="2" y="3"/>
                    </a:lnTo>
                    <a:lnTo>
                      <a:pt x="2" y="3"/>
                    </a:lnTo>
                    <a:lnTo>
                      <a:pt x="2" y="2"/>
                    </a:lnTo>
                    <a:lnTo>
                      <a:pt x="2" y="0"/>
                    </a:lnTo>
                    <a:lnTo>
                      <a:pt x="0" y="0"/>
                    </a:lnTo>
                    <a:lnTo>
                      <a:pt x="0" y="2"/>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93" name="Freeform 1615"/>
              <p:cNvSpPr>
                <a:spLocks/>
              </p:cNvSpPr>
              <p:nvPr/>
            </p:nvSpPr>
            <p:spPr bwMode="auto">
              <a:xfrm>
                <a:off x="5221857" y="2544450"/>
                <a:ext cx="1756" cy="4056"/>
              </a:xfrm>
              <a:custGeom>
                <a:avLst/>
                <a:gdLst/>
                <a:ahLst/>
                <a:cxnLst>
                  <a:cxn ang="0">
                    <a:pos x="1" y="1"/>
                  </a:cxn>
                  <a:cxn ang="0">
                    <a:pos x="1" y="3"/>
                  </a:cxn>
                  <a:cxn ang="0">
                    <a:pos x="2" y="1"/>
                  </a:cxn>
                  <a:cxn ang="0">
                    <a:pos x="1" y="0"/>
                  </a:cxn>
                  <a:cxn ang="0">
                    <a:pos x="1" y="0"/>
                  </a:cxn>
                  <a:cxn ang="0">
                    <a:pos x="0" y="1"/>
                  </a:cxn>
                  <a:cxn ang="0">
                    <a:pos x="1" y="1"/>
                  </a:cxn>
                </a:cxnLst>
                <a:rect l="0" t="0" r="r" b="b"/>
                <a:pathLst>
                  <a:path w="2" h="3">
                    <a:moveTo>
                      <a:pt x="1" y="1"/>
                    </a:moveTo>
                    <a:lnTo>
                      <a:pt x="1" y="3"/>
                    </a:lnTo>
                    <a:lnTo>
                      <a:pt x="2" y="1"/>
                    </a:lnTo>
                    <a:lnTo>
                      <a:pt x="1" y="0"/>
                    </a:lnTo>
                    <a:lnTo>
                      <a:pt x="1" y="0"/>
                    </a:lnTo>
                    <a:lnTo>
                      <a:pt x="0" y="1"/>
                    </a:lnTo>
                    <a:lnTo>
                      <a:pt x="1" y="1"/>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94" name="Freeform 1616"/>
              <p:cNvSpPr>
                <a:spLocks/>
              </p:cNvSpPr>
              <p:nvPr/>
            </p:nvSpPr>
            <p:spPr bwMode="auto">
              <a:xfrm>
                <a:off x="5221857" y="2544450"/>
                <a:ext cx="1756" cy="4056"/>
              </a:xfrm>
              <a:custGeom>
                <a:avLst/>
                <a:gdLst/>
                <a:ahLst/>
                <a:cxnLst>
                  <a:cxn ang="0">
                    <a:pos x="1" y="1"/>
                  </a:cxn>
                  <a:cxn ang="0">
                    <a:pos x="1" y="3"/>
                  </a:cxn>
                  <a:cxn ang="0">
                    <a:pos x="2" y="1"/>
                  </a:cxn>
                  <a:cxn ang="0">
                    <a:pos x="1" y="0"/>
                  </a:cxn>
                  <a:cxn ang="0">
                    <a:pos x="1" y="0"/>
                  </a:cxn>
                  <a:cxn ang="0">
                    <a:pos x="0" y="1"/>
                  </a:cxn>
                  <a:cxn ang="0">
                    <a:pos x="1" y="1"/>
                  </a:cxn>
                </a:cxnLst>
                <a:rect l="0" t="0" r="r" b="b"/>
                <a:pathLst>
                  <a:path w="2" h="3">
                    <a:moveTo>
                      <a:pt x="1" y="1"/>
                    </a:moveTo>
                    <a:lnTo>
                      <a:pt x="1" y="3"/>
                    </a:lnTo>
                    <a:lnTo>
                      <a:pt x="2" y="1"/>
                    </a:lnTo>
                    <a:lnTo>
                      <a:pt x="1" y="0"/>
                    </a:lnTo>
                    <a:lnTo>
                      <a:pt x="1" y="0"/>
                    </a:lnTo>
                    <a:lnTo>
                      <a:pt x="0" y="1"/>
                    </a:lnTo>
                    <a:lnTo>
                      <a:pt x="1" y="1"/>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95" name="Freeform 1617"/>
              <p:cNvSpPr>
                <a:spLocks/>
              </p:cNvSpPr>
              <p:nvPr/>
            </p:nvSpPr>
            <p:spPr bwMode="auto">
              <a:xfrm>
                <a:off x="5222735" y="2548507"/>
                <a:ext cx="878" cy="2028"/>
              </a:xfrm>
              <a:custGeom>
                <a:avLst/>
                <a:gdLst/>
                <a:ahLst/>
                <a:cxnLst>
                  <a:cxn ang="0">
                    <a:pos x="0" y="1"/>
                  </a:cxn>
                  <a:cxn ang="0">
                    <a:pos x="0" y="2"/>
                  </a:cxn>
                  <a:cxn ang="0">
                    <a:pos x="1" y="2"/>
                  </a:cxn>
                  <a:cxn ang="0">
                    <a:pos x="1" y="1"/>
                  </a:cxn>
                  <a:cxn ang="0">
                    <a:pos x="1" y="0"/>
                  </a:cxn>
                  <a:cxn ang="0">
                    <a:pos x="0" y="1"/>
                  </a:cxn>
                </a:cxnLst>
                <a:rect l="0" t="0" r="r" b="b"/>
                <a:pathLst>
                  <a:path w="1" h="2">
                    <a:moveTo>
                      <a:pt x="0" y="1"/>
                    </a:moveTo>
                    <a:lnTo>
                      <a:pt x="0" y="2"/>
                    </a:lnTo>
                    <a:lnTo>
                      <a:pt x="1" y="2"/>
                    </a:lnTo>
                    <a:lnTo>
                      <a:pt x="1" y="1"/>
                    </a:lnTo>
                    <a:lnTo>
                      <a:pt x="1" y="0"/>
                    </a:lnTo>
                    <a:lnTo>
                      <a:pt x="0" y="1"/>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96" name="Freeform 1618"/>
              <p:cNvSpPr>
                <a:spLocks/>
              </p:cNvSpPr>
              <p:nvPr/>
            </p:nvSpPr>
            <p:spPr bwMode="auto">
              <a:xfrm>
                <a:off x="5222735" y="2548507"/>
                <a:ext cx="878" cy="2028"/>
              </a:xfrm>
              <a:custGeom>
                <a:avLst/>
                <a:gdLst/>
                <a:ahLst/>
                <a:cxnLst>
                  <a:cxn ang="0">
                    <a:pos x="0" y="1"/>
                  </a:cxn>
                  <a:cxn ang="0">
                    <a:pos x="0" y="2"/>
                  </a:cxn>
                  <a:cxn ang="0">
                    <a:pos x="1" y="2"/>
                  </a:cxn>
                  <a:cxn ang="0">
                    <a:pos x="1" y="1"/>
                  </a:cxn>
                  <a:cxn ang="0">
                    <a:pos x="1" y="0"/>
                  </a:cxn>
                  <a:cxn ang="0">
                    <a:pos x="0" y="1"/>
                  </a:cxn>
                </a:cxnLst>
                <a:rect l="0" t="0" r="r" b="b"/>
                <a:pathLst>
                  <a:path w="1" h="2">
                    <a:moveTo>
                      <a:pt x="0" y="1"/>
                    </a:moveTo>
                    <a:lnTo>
                      <a:pt x="0" y="2"/>
                    </a:lnTo>
                    <a:lnTo>
                      <a:pt x="1" y="2"/>
                    </a:lnTo>
                    <a:lnTo>
                      <a:pt x="1" y="1"/>
                    </a:lnTo>
                    <a:lnTo>
                      <a:pt x="1" y="0"/>
                    </a:lnTo>
                    <a:lnTo>
                      <a:pt x="0" y="1"/>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grpSp>
            <p:nvGrpSpPr>
              <p:cNvPr id="2697" name="Group 1589"/>
              <p:cNvGrpSpPr/>
              <p:nvPr/>
            </p:nvGrpSpPr>
            <p:grpSpPr>
              <a:xfrm>
                <a:off x="3926223" y="1745314"/>
                <a:ext cx="583737" cy="712935"/>
                <a:chOff x="953211" y="2132428"/>
                <a:chExt cx="1070206" cy="1131360"/>
              </a:xfrm>
            </p:grpSpPr>
            <p:sp>
              <p:nvSpPr>
                <p:cNvPr id="2745" name="Freeform 1096"/>
                <p:cNvSpPr>
                  <a:spLocks/>
                </p:cNvSpPr>
                <p:nvPr/>
              </p:nvSpPr>
              <p:spPr bwMode="auto">
                <a:xfrm>
                  <a:off x="1790064" y="3043309"/>
                  <a:ext cx="32187" cy="40232"/>
                </a:xfrm>
                <a:custGeom>
                  <a:avLst/>
                  <a:gdLst/>
                  <a:ahLst/>
                  <a:cxnLst>
                    <a:cxn ang="0">
                      <a:pos x="14" y="5"/>
                    </a:cxn>
                    <a:cxn ang="0">
                      <a:pos x="17" y="3"/>
                    </a:cxn>
                    <a:cxn ang="0">
                      <a:pos x="19" y="2"/>
                    </a:cxn>
                    <a:cxn ang="0">
                      <a:pos x="19" y="2"/>
                    </a:cxn>
                    <a:cxn ang="0">
                      <a:pos x="19" y="5"/>
                    </a:cxn>
                    <a:cxn ang="0">
                      <a:pos x="14" y="23"/>
                    </a:cxn>
                    <a:cxn ang="0">
                      <a:pos x="13" y="22"/>
                    </a:cxn>
                    <a:cxn ang="0">
                      <a:pos x="11" y="22"/>
                    </a:cxn>
                    <a:cxn ang="0">
                      <a:pos x="11" y="22"/>
                    </a:cxn>
                    <a:cxn ang="0">
                      <a:pos x="10" y="25"/>
                    </a:cxn>
                    <a:cxn ang="0">
                      <a:pos x="10" y="23"/>
                    </a:cxn>
                    <a:cxn ang="0">
                      <a:pos x="9" y="22"/>
                    </a:cxn>
                    <a:cxn ang="0">
                      <a:pos x="7" y="19"/>
                    </a:cxn>
                    <a:cxn ang="0">
                      <a:pos x="9" y="20"/>
                    </a:cxn>
                    <a:cxn ang="0">
                      <a:pos x="10" y="19"/>
                    </a:cxn>
                    <a:cxn ang="0">
                      <a:pos x="9" y="18"/>
                    </a:cxn>
                    <a:cxn ang="0">
                      <a:pos x="4" y="16"/>
                    </a:cxn>
                    <a:cxn ang="0">
                      <a:pos x="3" y="15"/>
                    </a:cxn>
                    <a:cxn ang="0">
                      <a:pos x="1" y="6"/>
                    </a:cxn>
                    <a:cxn ang="0">
                      <a:pos x="0" y="6"/>
                    </a:cxn>
                    <a:cxn ang="0">
                      <a:pos x="0" y="0"/>
                    </a:cxn>
                    <a:cxn ang="0">
                      <a:pos x="6" y="2"/>
                    </a:cxn>
                    <a:cxn ang="0">
                      <a:pos x="7" y="2"/>
                    </a:cxn>
                    <a:cxn ang="0">
                      <a:pos x="6" y="6"/>
                    </a:cxn>
                    <a:cxn ang="0">
                      <a:pos x="7" y="5"/>
                    </a:cxn>
                    <a:cxn ang="0">
                      <a:pos x="9" y="3"/>
                    </a:cxn>
                    <a:cxn ang="0">
                      <a:pos x="10" y="2"/>
                    </a:cxn>
                    <a:cxn ang="0">
                      <a:pos x="11" y="5"/>
                    </a:cxn>
                    <a:cxn ang="0">
                      <a:pos x="11" y="9"/>
                    </a:cxn>
                    <a:cxn ang="0">
                      <a:pos x="10" y="9"/>
                    </a:cxn>
                    <a:cxn ang="0">
                      <a:pos x="6" y="13"/>
                    </a:cxn>
                    <a:cxn ang="0">
                      <a:pos x="9" y="12"/>
                    </a:cxn>
                    <a:cxn ang="0">
                      <a:pos x="9" y="15"/>
                    </a:cxn>
                    <a:cxn ang="0">
                      <a:pos x="10" y="15"/>
                    </a:cxn>
                    <a:cxn ang="0">
                      <a:pos x="11" y="12"/>
                    </a:cxn>
                    <a:cxn ang="0">
                      <a:pos x="14" y="7"/>
                    </a:cxn>
                    <a:cxn ang="0">
                      <a:pos x="14" y="5"/>
                    </a:cxn>
                    <a:cxn ang="0">
                      <a:pos x="14" y="5"/>
                    </a:cxn>
                  </a:cxnLst>
                  <a:rect l="0" t="0" r="r" b="b"/>
                  <a:pathLst>
                    <a:path w="19" h="25">
                      <a:moveTo>
                        <a:pt x="14" y="5"/>
                      </a:moveTo>
                      <a:lnTo>
                        <a:pt x="17" y="3"/>
                      </a:lnTo>
                      <a:lnTo>
                        <a:pt x="19" y="2"/>
                      </a:lnTo>
                      <a:lnTo>
                        <a:pt x="19" y="2"/>
                      </a:lnTo>
                      <a:lnTo>
                        <a:pt x="19" y="5"/>
                      </a:lnTo>
                      <a:lnTo>
                        <a:pt x="14" y="23"/>
                      </a:lnTo>
                      <a:lnTo>
                        <a:pt x="13" y="22"/>
                      </a:lnTo>
                      <a:lnTo>
                        <a:pt x="11" y="22"/>
                      </a:lnTo>
                      <a:lnTo>
                        <a:pt x="11" y="22"/>
                      </a:lnTo>
                      <a:lnTo>
                        <a:pt x="10" y="25"/>
                      </a:lnTo>
                      <a:lnTo>
                        <a:pt x="10" y="23"/>
                      </a:lnTo>
                      <a:lnTo>
                        <a:pt x="9" y="22"/>
                      </a:lnTo>
                      <a:lnTo>
                        <a:pt x="7" y="19"/>
                      </a:lnTo>
                      <a:lnTo>
                        <a:pt x="9" y="20"/>
                      </a:lnTo>
                      <a:lnTo>
                        <a:pt x="10" y="19"/>
                      </a:lnTo>
                      <a:lnTo>
                        <a:pt x="9" y="18"/>
                      </a:lnTo>
                      <a:lnTo>
                        <a:pt x="4" y="16"/>
                      </a:lnTo>
                      <a:lnTo>
                        <a:pt x="3" y="15"/>
                      </a:lnTo>
                      <a:lnTo>
                        <a:pt x="1" y="6"/>
                      </a:lnTo>
                      <a:lnTo>
                        <a:pt x="0" y="6"/>
                      </a:lnTo>
                      <a:lnTo>
                        <a:pt x="0" y="0"/>
                      </a:lnTo>
                      <a:lnTo>
                        <a:pt x="6" y="2"/>
                      </a:lnTo>
                      <a:lnTo>
                        <a:pt x="7" y="2"/>
                      </a:lnTo>
                      <a:lnTo>
                        <a:pt x="6" y="6"/>
                      </a:lnTo>
                      <a:lnTo>
                        <a:pt x="7" y="5"/>
                      </a:lnTo>
                      <a:lnTo>
                        <a:pt x="9" y="3"/>
                      </a:lnTo>
                      <a:lnTo>
                        <a:pt x="10" y="2"/>
                      </a:lnTo>
                      <a:lnTo>
                        <a:pt x="11" y="5"/>
                      </a:lnTo>
                      <a:lnTo>
                        <a:pt x="11" y="9"/>
                      </a:lnTo>
                      <a:lnTo>
                        <a:pt x="10" y="9"/>
                      </a:lnTo>
                      <a:lnTo>
                        <a:pt x="6" y="13"/>
                      </a:lnTo>
                      <a:lnTo>
                        <a:pt x="9" y="12"/>
                      </a:lnTo>
                      <a:lnTo>
                        <a:pt x="9" y="15"/>
                      </a:lnTo>
                      <a:lnTo>
                        <a:pt x="10" y="15"/>
                      </a:lnTo>
                      <a:lnTo>
                        <a:pt x="11" y="12"/>
                      </a:lnTo>
                      <a:lnTo>
                        <a:pt x="14" y="7"/>
                      </a:lnTo>
                      <a:lnTo>
                        <a:pt x="14" y="5"/>
                      </a:lnTo>
                      <a:lnTo>
                        <a:pt x="14" y="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46" name="Freeform 1097"/>
                <p:cNvSpPr>
                  <a:spLocks/>
                </p:cNvSpPr>
                <p:nvPr/>
              </p:nvSpPr>
              <p:spPr bwMode="auto">
                <a:xfrm>
                  <a:off x="1790064" y="3043309"/>
                  <a:ext cx="32187" cy="40232"/>
                </a:xfrm>
                <a:custGeom>
                  <a:avLst/>
                  <a:gdLst/>
                  <a:ahLst/>
                  <a:cxnLst>
                    <a:cxn ang="0">
                      <a:pos x="14" y="5"/>
                    </a:cxn>
                    <a:cxn ang="0">
                      <a:pos x="17" y="3"/>
                    </a:cxn>
                    <a:cxn ang="0">
                      <a:pos x="19" y="2"/>
                    </a:cxn>
                    <a:cxn ang="0">
                      <a:pos x="19" y="2"/>
                    </a:cxn>
                    <a:cxn ang="0">
                      <a:pos x="19" y="5"/>
                    </a:cxn>
                    <a:cxn ang="0">
                      <a:pos x="14" y="23"/>
                    </a:cxn>
                    <a:cxn ang="0">
                      <a:pos x="13" y="22"/>
                    </a:cxn>
                    <a:cxn ang="0">
                      <a:pos x="11" y="22"/>
                    </a:cxn>
                    <a:cxn ang="0">
                      <a:pos x="11" y="22"/>
                    </a:cxn>
                    <a:cxn ang="0">
                      <a:pos x="10" y="25"/>
                    </a:cxn>
                    <a:cxn ang="0">
                      <a:pos x="10" y="23"/>
                    </a:cxn>
                    <a:cxn ang="0">
                      <a:pos x="9" y="22"/>
                    </a:cxn>
                    <a:cxn ang="0">
                      <a:pos x="7" y="19"/>
                    </a:cxn>
                    <a:cxn ang="0">
                      <a:pos x="9" y="20"/>
                    </a:cxn>
                    <a:cxn ang="0">
                      <a:pos x="10" y="19"/>
                    </a:cxn>
                    <a:cxn ang="0">
                      <a:pos x="9" y="18"/>
                    </a:cxn>
                    <a:cxn ang="0">
                      <a:pos x="4" y="16"/>
                    </a:cxn>
                    <a:cxn ang="0">
                      <a:pos x="3" y="15"/>
                    </a:cxn>
                    <a:cxn ang="0">
                      <a:pos x="1" y="6"/>
                    </a:cxn>
                    <a:cxn ang="0">
                      <a:pos x="0" y="6"/>
                    </a:cxn>
                    <a:cxn ang="0">
                      <a:pos x="0" y="0"/>
                    </a:cxn>
                    <a:cxn ang="0">
                      <a:pos x="6" y="2"/>
                    </a:cxn>
                    <a:cxn ang="0">
                      <a:pos x="7" y="2"/>
                    </a:cxn>
                    <a:cxn ang="0">
                      <a:pos x="6" y="6"/>
                    </a:cxn>
                    <a:cxn ang="0">
                      <a:pos x="7" y="5"/>
                    </a:cxn>
                    <a:cxn ang="0">
                      <a:pos x="9" y="3"/>
                    </a:cxn>
                    <a:cxn ang="0">
                      <a:pos x="10" y="2"/>
                    </a:cxn>
                    <a:cxn ang="0">
                      <a:pos x="11" y="5"/>
                    </a:cxn>
                    <a:cxn ang="0">
                      <a:pos x="11" y="9"/>
                    </a:cxn>
                    <a:cxn ang="0">
                      <a:pos x="10" y="9"/>
                    </a:cxn>
                    <a:cxn ang="0">
                      <a:pos x="6" y="13"/>
                    </a:cxn>
                    <a:cxn ang="0">
                      <a:pos x="9" y="12"/>
                    </a:cxn>
                    <a:cxn ang="0">
                      <a:pos x="9" y="15"/>
                    </a:cxn>
                    <a:cxn ang="0">
                      <a:pos x="10" y="15"/>
                    </a:cxn>
                    <a:cxn ang="0">
                      <a:pos x="11" y="12"/>
                    </a:cxn>
                    <a:cxn ang="0">
                      <a:pos x="14" y="7"/>
                    </a:cxn>
                    <a:cxn ang="0">
                      <a:pos x="14" y="5"/>
                    </a:cxn>
                    <a:cxn ang="0">
                      <a:pos x="14" y="5"/>
                    </a:cxn>
                  </a:cxnLst>
                  <a:rect l="0" t="0" r="r" b="b"/>
                  <a:pathLst>
                    <a:path w="19" h="25">
                      <a:moveTo>
                        <a:pt x="14" y="5"/>
                      </a:moveTo>
                      <a:lnTo>
                        <a:pt x="17" y="3"/>
                      </a:lnTo>
                      <a:lnTo>
                        <a:pt x="19" y="2"/>
                      </a:lnTo>
                      <a:lnTo>
                        <a:pt x="19" y="2"/>
                      </a:lnTo>
                      <a:lnTo>
                        <a:pt x="19" y="5"/>
                      </a:lnTo>
                      <a:lnTo>
                        <a:pt x="14" y="23"/>
                      </a:lnTo>
                      <a:lnTo>
                        <a:pt x="13" y="22"/>
                      </a:lnTo>
                      <a:lnTo>
                        <a:pt x="11" y="22"/>
                      </a:lnTo>
                      <a:lnTo>
                        <a:pt x="11" y="22"/>
                      </a:lnTo>
                      <a:lnTo>
                        <a:pt x="10" y="25"/>
                      </a:lnTo>
                      <a:lnTo>
                        <a:pt x="10" y="23"/>
                      </a:lnTo>
                      <a:lnTo>
                        <a:pt x="9" y="22"/>
                      </a:lnTo>
                      <a:lnTo>
                        <a:pt x="7" y="19"/>
                      </a:lnTo>
                      <a:lnTo>
                        <a:pt x="9" y="20"/>
                      </a:lnTo>
                      <a:lnTo>
                        <a:pt x="10" y="19"/>
                      </a:lnTo>
                      <a:lnTo>
                        <a:pt x="9" y="18"/>
                      </a:lnTo>
                      <a:lnTo>
                        <a:pt x="4" y="16"/>
                      </a:lnTo>
                      <a:lnTo>
                        <a:pt x="3" y="15"/>
                      </a:lnTo>
                      <a:lnTo>
                        <a:pt x="1" y="6"/>
                      </a:lnTo>
                      <a:lnTo>
                        <a:pt x="0" y="6"/>
                      </a:lnTo>
                      <a:lnTo>
                        <a:pt x="0" y="0"/>
                      </a:lnTo>
                      <a:lnTo>
                        <a:pt x="6" y="2"/>
                      </a:lnTo>
                      <a:lnTo>
                        <a:pt x="7" y="2"/>
                      </a:lnTo>
                      <a:lnTo>
                        <a:pt x="6" y="6"/>
                      </a:lnTo>
                      <a:lnTo>
                        <a:pt x="7" y="5"/>
                      </a:lnTo>
                      <a:lnTo>
                        <a:pt x="9" y="3"/>
                      </a:lnTo>
                      <a:lnTo>
                        <a:pt x="10" y="2"/>
                      </a:lnTo>
                      <a:lnTo>
                        <a:pt x="11" y="5"/>
                      </a:lnTo>
                      <a:lnTo>
                        <a:pt x="11" y="9"/>
                      </a:lnTo>
                      <a:lnTo>
                        <a:pt x="10" y="9"/>
                      </a:lnTo>
                      <a:lnTo>
                        <a:pt x="6" y="13"/>
                      </a:lnTo>
                      <a:lnTo>
                        <a:pt x="9" y="12"/>
                      </a:lnTo>
                      <a:lnTo>
                        <a:pt x="9" y="15"/>
                      </a:lnTo>
                      <a:lnTo>
                        <a:pt x="10" y="15"/>
                      </a:lnTo>
                      <a:lnTo>
                        <a:pt x="11" y="12"/>
                      </a:lnTo>
                      <a:lnTo>
                        <a:pt x="14" y="7"/>
                      </a:lnTo>
                      <a:lnTo>
                        <a:pt x="14" y="5"/>
                      </a:lnTo>
                      <a:lnTo>
                        <a:pt x="14" y="5"/>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47" name="Freeform 1098"/>
                <p:cNvSpPr>
                  <a:spLocks/>
                </p:cNvSpPr>
                <p:nvPr/>
              </p:nvSpPr>
              <p:spPr bwMode="auto">
                <a:xfrm>
                  <a:off x="1806158" y="3078715"/>
                  <a:ext cx="27359" cy="43451"/>
                </a:xfrm>
                <a:custGeom>
                  <a:avLst/>
                  <a:gdLst/>
                  <a:ahLst/>
                  <a:cxnLst>
                    <a:cxn ang="0">
                      <a:pos x="3" y="13"/>
                    </a:cxn>
                    <a:cxn ang="0">
                      <a:pos x="3" y="12"/>
                    </a:cxn>
                    <a:cxn ang="0">
                      <a:pos x="3" y="7"/>
                    </a:cxn>
                    <a:cxn ang="0">
                      <a:pos x="1" y="10"/>
                    </a:cxn>
                    <a:cxn ang="0">
                      <a:pos x="1" y="9"/>
                    </a:cxn>
                    <a:cxn ang="0">
                      <a:pos x="1" y="7"/>
                    </a:cxn>
                    <a:cxn ang="0">
                      <a:pos x="3" y="6"/>
                    </a:cxn>
                    <a:cxn ang="0">
                      <a:pos x="0" y="4"/>
                    </a:cxn>
                    <a:cxn ang="0">
                      <a:pos x="7" y="0"/>
                    </a:cxn>
                    <a:cxn ang="0">
                      <a:pos x="7" y="0"/>
                    </a:cxn>
                    <a:cxn ang="0">
                      <a:pos x="10" y="4"/>
                    </a:cxn>
                    <a:cxn ang="0">
                      <a:pos x="6" y="4"/>
                    </a:cxn>
                    <a:cxn ang="0">
                      <a:pos x="6" y="6"/>
                    </a:cxn>
                    <a:cxn ang="0">
                      <a:pos x="10" y="6"/>
                    </a:cxn>
                    <a:cxn ang="0">
                      <a:pos x="10" y="9"/>
                    </a:cxn>
                    <a:cxn ang="0">
                      <a:pos x="9" y="9"/>
                    </a:cxn>
                    <a:cxn ang="0">
                      <a:pos x="7" y="9"/>
                    </a:cxn>
                    <a:cxn ang="0">
                      <a:pos x="7" y="9"/>
                    </a:cxn>
                    <a:cxn ang="0">
                      <a:pos x="7" y="12"/>
                    </a:cxn>
                    <a:cxn ang="0">
                      <a:pos x="6" y="12"/>
                    </a:cxn>
                    <a:cxn ang="0">
                      <a:pos x="7" y="16"/>
                    </a:cxn>
                    <a:cxn ang="0">
                      <a:pos x="12" y="17"/>
                    </a:cxn>
                    <a:cxn ang="0">
                      <a:pos x="12" y="19"/>
                    </a:cxn>
                    <a:cxn ang="0">
                      <a:pos x="13" y="19"/>
                    </a:cxn>
                    <a:cxn ang="0">
                      <a:pos x="16" y="25"/>
                    </a:cxn>
                    <a:cxn ang="0">
                      <a:pos x="16" y="26"/>
                    </a:cxn>
                    <a:cxn ang="0">
                      <a:pos x="16" y="26"/>
                    </a:cxn>
                    <a:cxn ang="0">
                      <a:pos x="9" y="20"/>
                    </a:cxn>
                    <a:cxn ang="0">
                      <a:pos x="9" y="20"/>
                    </a:cxn>
                    <a:cxn ang="0">
                      <a:pos x="9" y="20"/>
                    </a:cxn>
                    <a:cxn ang="0">
                      <a:pos x="9" y="19"/>
                    </a:cxn>
                    <a:cxn ang="0">
                      <a:pos x="7" y="19"/>
                    </a:cxn>
                    <a:cxn ang="0">
                      <a:pos x="4" y="13"/>
                    </a:cxn>
                    <a:cxn ang="0">
                      <a:pos x="3" y="13"/>
                    </a:cxn>
                  </a:cxnLst>
                  <a:rect l="0" t="0" r="r" b="b"/>
                  <a:pathLst>
                    <a:path w="16" h="26">
                      <a:moveTo>
                        <a:pt x="3" y="13"/>
                      </a:moveTo>
                      <a:lnTo>
                        <a:pt x="3" y="12"/>
                      </a:lnTo>
                      <a:lnTo>
                        <a:pt x="3" y="7"/>
                      </a:lnTo>
                      <a:lnTo>
                        <a:pt x="1" y="10"/>
                      </a:lnTo>
                      <a:lnTo>
                        <a:pt x="1" y="9"/>
                      </a:lnTo>
                      <a:lnTo>
                        <a:pt x="1" y="7"/>
                      </a:lnTo>
                      <a:lnTo>
                        <a:pt x="3" y="6"/>
                      </a:lnTo>
                      <a:lnTo>
                        <a:pt x="0" y="4"/>
                      </a:lnTo>
                      <a:lnTo>
                        <a:pt x="7" y="0"/>
                      </a:lnTo>
                      <a:lnTo>
                        <a:pt x="7" y="0"/>
                      </a:lnTo>
                      <a:lnTo>
                        <a:pt x="10" y="4"/>
                      </a:lnTo>
                      <a:lnTo>
                        <a:pt x="6" y="4"/>
                      </a:lnTo>
                      <a:lnTo>
                        <a:pt x="6" y="6"/>
                      </a:lnTo>
                      <a:lnTo>
                        <a:pt x="10" y="6"/>
                      </a:lnTo>
                      <a:lnTo>
                        <a:pt x="10" y="9"/>
                      </a:lnTo>
                      <a:lnTo>
                        <a:pt x="9" y="9"/>
                      </a:lnTo>
                      <a:lnTo>
                        <a:pt x="7" y="9"/>
                      </a:lnTo>
                      <a:lnTo>
                        <a:pt x="7" y="9"/>
                      </a:lnTo>
                      <a:lnTo>
                        <a:pt x="7" y="12"/>
                      </a:lnTo>
                      <a:lnTo>
                        <a:pt x="6" y="12"/>
                      </a:lnTo>
                      <a:lnTo>
                        <a:pt x="7" y="16"/>
                      </a:lnTo>
                      <a:lnTo>
                        <a:pt x="12" y="17"/>
                      </a:lnTo>
                      <a:lnTo>
                        <a:pt x="12" y="19"/>
                      </a:lnTo>
                      <a:lnTo>
                        <a:pt x="13" y="19"/>
                      </a:lnTo>
                      <a:lnTo>
                        <a:pt x="16" y="25"/>
                      </a:lnTo>
                      <a:lnTo>
                        <a:pt x="16" y="26"/>
                      </a:lnTo>
                      <a:lnTo>
                        <a:pt x="16" y="26"/>
                      </a:lnTo>
                      <a:lnTo>
                        <a:pt x="9" y="20"/>
                      </a:lnTo>
                      <a:lnTo>
                        <a:pt x="9" y="20"/>
                      </a:lnTo>
                      <a:lnTo>
                        <a:pt x="9" y="20"/>
                      </a:lnTo>
                      <a:lnTo>
                        <a:pt x="9" y="19"/>
                      </a:lnTo>
                      <a:lnTo>
                        <a:pt x="7" y="19"/>
                      </a:lnTo>
                      <a:lnTo>
                        <a:pt x="4" y="13"/>
                      </a:lnTo>
                      <a:lnTo>
                        <a:pt x="3" y="1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48" name="Freeform 1099"/>
                <p:cNvSpPr>
                  <a:spLocks/>
                </p:cNvSpPr>
                <p:nvPr/>
              </p:nvSpPr>
              <p:spPr bwMode="auto">
                <a:xfrm>
                  <a:off x="1806158" y="3078715"/>
                  <a:ext cx="27359" cy="43451"/>
                </a:xfrm>
                <a:custGeom>
                  <a:avLst/>
                  <a:gdLst/>
                  <a:ahLst/>
                  <a:cxnLst>
                    <a:cxn ang="0">
                      <a:pos x="3" y="13"/>
                    </a:cxn>
                    <a:cxn ang="0">
                      <a:pos x="3" y="12"/>
                    </a:cxn>
                    <a:cxn ang="0">
                      <a:pos x="3" y="7"/>
                    </a:cxn>
                    <a:cxn ang="0">
                      <a:pos x="1" y="10"/>
                    </a:cxn>
                    <a:cxn ang="0">
                      <a:pos x="1" y="9"/>
                    </a:cxn>
                    <a:cxn ang="0">
                      <a:pos x="1" y="7"/>
                    </a:cxn>
                    <a:cxn ang="0">
                      <a:pos x="3" y="6"/>
                    </a:cxn>
                    <a:cxn ang="0">
                      <a:pos x="0" y="4"/>
                    </a:cxn>
                    <a:cxn ang="0">
                      <a:pos x="7" y="0"/>
                    </a:cxn>
                    <a:cxn ang="0">
                      <a:pos x="7" y="0"/>
                    </a:cxn>
                    <a:cxn ang="0">
                      <a:pos x="10" y="4"/>
                    </a:cxn>
                    <a:cxn ang="0">
                      <a:pos x="6" y="4"/>
                    </a:cxn>
                    <a:cxn ang="0">
                      <a:pos x="6" y="6"/>
                    </a:cxn>
                    <a:cxn ang="0">
                      <a:pos x="10" y="6"/>
                    </a:cxn>
                    <a:cxn ang="0">
                      <a:pos x="10" y="9"/>
                    </a:cxn>
                    <a:cxn ang="0">
                      <a:pos x="9" y="9"/>
                    </a:cxn>
                    <a:cxn ang="0">
                      <a:pos x="7" y="9"/>
                    </a:cxn>
                    <a:cxn ang="0">
                      <a:pos x="7" y="9"/>
                    </a:cxn>
                    <a:cxn ang="0">
                      <a:pos x="7" y="12"/>
                    </a:cxn>
                    <a:cxn ang="0">
                      <a:pos x="6" y="12"/>
                    </a:cxn>
                    <a:cxn ang="0">
                      <a:pos x="7" y="16"/>
                    </a:cxn>
                    <a:cxn ang="0">
                      <a:pos x="12" y="17"/>
                    </a:cxn>
                    <a:cxn ang="0">
                      <a:pos x="12" y="19"/>
                    </a:cxn>
                    <a:cxn ang="0">
                      <a:pos x="13" y="19"/>
                    </a:cxn>
                    <a:cxn ang="0">
                      <a:pos x="16" y="25"/>
                    </a:cxn>
                    <a:cxn ang="0">
                      <a:pos x="16" y="26"/>
                    </a:cxn>
                    <a:cxn ang="0">
                      <a:pos x="16" y="26"/>
                    </a:cxn>
                    <a:cxn ang="0">
                      <a:pos x="9" y="20"/>
                    </a:cxn>
                    <a:cxn ang="0">
                      <a:pos x="9" y="20"/>
                    </a:cxn>
                    <a:cxn ang="0">
                      <a:pos x="9" y="20"/>
                    </a:cxn>
                    <a:cxn ang="0">
                      <a:pos x="9" y="19"/>
                    </a:cxn>
                    <a:cxn ang="0">
                      <a:pos x="7" y="19"/>
                    </a:cxn>
                    <a:cxn ang="0">
                      <a:pos x="4" y="13"/>
                    </a:cxn>
                    <a:cxn ang="0">
                      <a:pos x="3" y="13"/>
                    </a:cxn>
                  </a:cxnLst>
                  <a:rect l="0" t="0" r="r" b="b"/>
                  <a:pathLst>
                    <a:path w="16" h="26">
                      <a:moveTo>
                        <a:pt x="3" y="13"/>
                      </a:moveTo>
                      <a:lnTo>
                        <a:pt x="3" y="12"/>
                      </a:lnTo>
                      <a:lnTo>
                        <a:pt x="3" y="7"/>
                      </a:lnTo>
                      <a:lnTo>
                        <a:pt x="1" y="10"/>
                      </a:lnTo>
                      <a:lnTo>
                        <a:pt x="1" y="9"/>
                      </a:lnTo>
                      <a:lnTo>
                        <a:pt x="1" y="7"/>
                      </a:lnTo>
                      <a:lnTo>
                        <a:pt x="3" y="6"/>
                      </a:lnTo>
                      <a:lnTo>
                        <a:pt x="0" y="4"/>
                      </a:lnTo>
                      <a:lnTo>
                        <a:pt x="7" y="0"/>
                      </a:lnTo>
                      <a:lnTo>
                        <a:pt x="7" y="0"/>
                      </a:lnTo>
                      <a:lnTo>
                        <a:pt x="10" y="4"/>
                      </a:lnTo>
                      <a:lnTo>
                        <a:pt x="6" y="4"/>
                      </a:lnTo>
                      <a:lnTo>
                        <a:pt x="6" y="6"/>
                      </a:lnTo>
                      <a:lnTo>
                        <a:pt x="10" y="6"/>
                      </a:lnTo>
                      <a:lnTo>
                        <a:pt x="10" y="9"/>
                      </a:lnTo>
                      <a:lnTo>
                        <a:pt x="9" y="9"/>
                      </a:lnTo>
                      <a:lnTo>
                        <a:pt x="7" y="9"/>
                      </a:lnTo>
                      <a:lnTo>
                        <a:pt x="7" y="9"/>
                      </a:lnTo>
                      <a:lnTo>
                        <a:pt x="7" y="12"/>
                      </a:lnTo>
                      <a:lnTo>
                        <a:pt x="6" y="12"/>
                      </a:lnTo>
                      <a:lnTo>
                        <a:pt x="7" y="16"/>
                      </a:lnTo>
                      <a:lnTo>
                        <a:pt x="12" y="17"/>
                      </a:lnTo>
                      <a:lnTo>
                        <a:pt x="12" y="19"/>
                      </a:lnTo>
                      <a:lnTo>
                        <a:pt x="13" y="19"/>
                      </a:lnTo>
                      <a:lnTo>
                        <a:pt x="16" y="25"/>
                      </a:lnTo>
                      <a:lnTo>
                        <a:pt x="16" y="26"/>
                      </a:lnTo>
                      <a:lnTo>
                        <a:pt x="16" y="26"/>
                      </a:lnTo>
                      <a:lnTo>
                        <a:pt x="9" y="20"/>
                      </a:lnTo>
                      <a:lnTo>
                        <a:pt x="9" y="20"/>
                      </a:lnTo>
                      <a:lnTo>
                        <a:pt x="9" y="20"/>
                      </a:lnTo>
                      <a:lnTo>
                        <a:pt x="9" y="19"/>
                      </a:lnTo>
                      <a:lnTo>
                        <a:pt x="7" y="19"/>
                      </a:lnTo>
                      <a:lnTo>
                        <a:pt x="4" y="13"/>
                      </a:lnTo>
                      <a:lnTo>
                        <a:pt x="3" y="1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49" name="Freeform 1100"/>
                <p:cNvSpPr>
                  <a:spLocks/>
                </p:cNvSpPr>
                <p:nvPr/>
              </p:nvSpPr>
              <p:spPr bwMode="auto">
                <a:xfrm>
                  <a:off x="1848000" y="3048137"/>
                  <a:ext cx="8047" cy="9656"/>
                </a:xfrm>
                <a:custGeom>
                  <a:avLst/>
                  <a:gdLst/>
                  <a:ahLst/>
                  <a:cxnLst>
                    <a:cxn ang="0">
                      <a:pos x="0" y="3"/>
                    </a:cxn>
                    <a:cxn ang="0">
                      <a:pos x="0" y="2"/>
                    </a:cxn>
                    <a:cxn ang="0">
                      <a:pos x="3" y="0"/>
                    </a:cxn>
                    <a:cxn ang="0">
                      <a:pos x="4" y="2"/>
                    </a:cxn>
                    <a:cxn ang="0">
                      <a:pos x="4" y="3"/>
                    </a:cxn>
                    <a:cxn ang="0">
                      <a:pos x="3" y="6"/>
                    </a:cxn>
                    <a:cxn ang="0">
                      <a:pos x="1" y="3"/>
                    </a:cxn>
                    <a:cxn ang="0">
                      <a:pos x="0" y="3"/>
                    </a:cxn>
                  </a:cxnLst>
                  <a:rect l="0" t="0" r="r" b="b"/>
                  <a:pathLst>
                    <a:path w="4" h="6">
                      <a:moveTo>
                        <a:pt x="0" y="3"/>
                      </a:moveTo>
                      <a:lnTo>
                        <a:pt x="0" y="2"/>
                      </a:lnTo>
                      <a:lnTo>
                        <a:pt x="3" y="0"/>
                      </a:lnTo>
                      <a:lnTo>
                        <a:pt x="4" y="2"/>
                      </a:lnTo>
                      <a:lnTo>
                        <a:pt x="4" y="3"/>
                      </a:lnTo>
                      <a:lnTo>
                        <a:pt x="3" y="6"/>
                      </a:lnTo>
                      <a:lnTo>
                        <a:pt x="1" y="3"/>
                      </a:lnTo>
                      <a:lnTo>
                        <a:pt x="0"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50" name="Freeform 1101"/>
                <p:cNvSpPr>
                  <a:spLocks/>
                </p:cNvSpPr>
                <p:nvPr/>
              </p:nvSpPr>
              <p:spPr bwMode="auto">
                <a:xfrm>
                  <a:off x="1848000" y="3048137"/>
                  <a:ext cx="8047" cy="9656"/>
                </a:xfrm>
                <a:custGeom>
                  <a:avLst/>
                  <a:gdLst/>
                  <a:ahLst/>
                  <a:cxnLst>
                    <a:cxn ang="0">
                      <a:pos x="0" y="3"/>
                    </a:cxn>
                    <a:cxn ang="0">
                      <a:pos x="0" y="2"/>
                    </a:cxn>
                    <a:cxn ang="0">
                      <a:pos x="3" y="0"/>
                    </a:cxn>
                    <a:cxn ang="0">
                      <a:pos x="4" y="2"/>
                    </a:cxn>
                    <a:cxn ang="0">
                      <a:pos x="4" y="3"/>
                    </a:cxn>
                    <a:cxn ang="0">
                      <a:pos x="3" y="6"/>
                    </a:cxn>
                    <a:cxn ang="0">
                      <a:pos x="1" y="3"/>
                    </a:cxn>
                    <a:cxn ang="0">
                      <a:pos x="0" y="3"/>
                    </a:cxn>
                  </a:cxnLst>
                  <a:rect l="0" t="0" r="r" b="b"/>
                  <a:pathLst>
                    <a:path w="4" h="6">
                      <a:moveTo>
                        <a:pt x="0" y="3"/>
                      </a:moveTo>
                      <a:lnTo>
                        <a:pt x="0" y="2"/>
                      </a:lnTo>
                      <a:lnTo>
                        <a:pt x="3" y="0"/>
                      </a:lnTo>
                      <a:lnTo>
                        <a:pt x="4" y="2"/>
                      </a:lnTo>
                      <a:lnTo>
                        <a:pt x="4" y="3"/>
                      </a:lnTo>
                      <a:lnTo>
                        <a:pt x="3" y="6"/>
                      </a:lnTo>
                      <a:lnTo>
                        <a:pt x="1" y="3"/>
                      </a:lnTo>
                      <a:lnTo>
                        <a:pt x="0"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51" name="Freeform 1102"/>
                <p:cNvSpPr>
                  <a:spLocks/>
                </p:cNvSpPr>
                <p:nvPr/>
              </p:nvSpPr>
              <p:spPr bwMode="auto">
                <a:xfrm>
                  <a:off x="1849610" y="3064230"/>
                  <a:ext cx="17702" cy="19312"/>
                </a:xfrm>
                <a:custGeom>
                  <a:avLst/>
                  <a:gdLst/>
                  <a:ahLst/>
                  <a:cxnLst>
                    <a:cxn ang="0">
                      <a:pos x="0" y="0"/>
                    </a:cxn>
                    <a:cxn ang="0">
                      <a:pos x="5" y="2"/>
                    </a:cxn>
                    <a:cxn ang="0">
                      <a:pos x="9" y="5"/>
                    </a:cxn>
                    <a:cxn ang="0">
                      <a:pos x="10" y="9"/>
                    </a:cxn>
                    <a:cxn ang="0">
                      <a:pos x="10" y="12"/>
                    </a:cxn>
                    <a:cxn ang="0">
                      <a:pos x="9" y="12"/>
                    </a:cxn>
                    <a:cxn ang="0">
                      <a:pos x="6" y="7"/>
                    </a:cxn>
                    <a:cxn ang="0">
                      <a:pos x="5" y="6"/>
                    </a:cxn>
                    <a:cxn ang="0">
                      <a:pos x="3" y="5"/>
                    </a:cxn>
                    <a:cxn ang="0">
                      <a:pos x="2" y="3"/>
                    </a:cxn>
                    <a:cxn ang="0">
                      <a:pos x="0" y="0"/>
                    </a:cxn>
                  </a:cxnLst>
                  <a:rect l="0" t="0" r="r" b="b"/>
                  <a:pathLst>
                    <a:path w="10" h="12">
                      <a:moveTo>
                        <a:pt x="0" y="0"/>
                      </a:moveTo>
                      <a:lnTo>
                        <a:pt x="5" y="2"/>
                      </a:lnTo>
                      <a:lnTo>
                        <a:pt x="9" y="5"/>
                      </a:lnTo>
                      <a:lnTo>
                        <a:pt x="10" y="9"/>
                      </a:lnTo>
                      <a:lnTo>
                        <a:pt x="10" y="12"/>
                      </a:lnTo>
                      <a:lnTo>
                        <a:pt x="9" y="12"/>
                      </a:lnTo>
                      <a:lnTo>
                        <a:pt x="6" y="7"/>
                      </a:lnTo>
                      <a:lnTo>
                        <a:pt x="5" y="6"/>
                      </a:lnTo>
                      <a:lnTo>
                        <a:pt x="3" y="5"/>
                      </a:lnTo>
                      <a:lnTo>
                        <a:pt x="2" y="3"/>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52" name="Freeform 1103"/>
                <p:cNvSpPr>
                  <a:spLocks/>
                </p:cNvSpPr>
                <p:nvPr/>
              </p:nvSpPr>
              <p:spPr bwMode="auto">
                <a:xfrm>
                  <a:off x="1849610" y="3064230"/>
                  <a:ext cx="17702" cy="19312"/>
                </a:xfrm>
                <a:custGeom>
                  <a:avLst/>
                  <a:gdLst/>
                  <a:ahLst/>
                  <a:cxnLst>
                    <a:cxn ang="0">
                      <a:pos x="0" y="0"/>
                    </a:cxn>
                    <a:cxn ang="0">
                      <a:pos x="5" y="2"/>
                    </a:cxn>
                    <a:cxn ang="0">
                      <a:pos x="9" y="5"/>
                    </a:cxn>
                    <a:cxn ang="0">
                      <a:pos x="10" y="9"/>
                    </a:cxn>
                    <a:cxn ang="0">
                      <a:pos x="10" y="12"/>
                    </a:cxn>
                    <a:cxn ang="0">
                      <a:pos x="9" y="12"/>
                    </a:cxn>
                    <a:cxn ang="0">
                      <a:pos x="6" y="7"/>
                    </a:cxn>
                    <a:cxn ang="0">
                      <a:pos x="5" y="6"/>
                    </a:cxn>
                    <a:cxn ang="0">
                      <a:pos x="3" y="5"/>
                    </a:cxn>
                    <a:cxn ang="0">
                      <a:pos x="2" y="3"/>
                    </a:cxn>
                    <a:cxn ang="0">
                      <a:pos x="0" y="0"/>
                    </a:cxn>
                  </a:cxnLst>
                  <a:rect l="0" t="0" r="r" b="b"/>
                  <a:pathLst>
                    <a:path w="10" h="12">
                      <a:moveTo>
                        <a:pt x="0" y="0"/>
                      </a:moveTo>
                      <a:lnTo>
                        <a:pt x="5" y="2"/>
                      </a:lnTo>
                      <a:lnTo>
                        <a:pt x="9" y="5"/>
                      </a:lnTo>
                      <a:lnTo>
                        <a:pt x="10" y="9"/>
                      </a:lnTo>
                      <a:lnTo>
                        <a:pt x="10" y="12"/>
                      </a:lnTo>
                      <a:lnTo>
                        <a:pt x="9" y="12"/>
                      </a:lnTo>
                      <a:lnTo>
                        <a:pt x="6" y="7"/>
                      </a:lnTo>
                      <a:lnTo>
                        <a:pt x="5" y="6"/>
                      </a:lnTo>
                      <a:lnTo>
                        <a:pt x="3" y="5"/>
                      </a:lnTo>
                      <a:lnTo>
                        <a:pt x="2" y="3"/>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53" name="Freeform 1104"/>
                <p:cNvSpPr>
                  <a:spLocks/>
                </p:cNvSpPr>
                <p:nvPr/>
              </p:nvSpPr>
              <p:spPr bwMode="auto">
                <a:xfrm>
                  <a:off x="1859266" y="3054575"/>
                  <a:ext cx="16093" cy="25750"/>
                </a:xfrm>
                <a:custGeom>
                  <a:avLst/>
                  <a:gdLst/>
                  <a:ahLst/>
                  <a:cxnLst>
                    <a:cxn ang="0">
                      <a:pos x="5" y="6"/>
                    </a:cxn>
                    <a:cxn ang="0">
                      <a:pos x="7" y="6"/>
                    </a:cxn>
                    <a:cxn ang="0">
                      <a:pos x="7" y="8"/>
                    </a:cxn>
                    <a:cxn ang="0">
                      <a:pos x="10" y="11"/>
                    </a:cxn>
                    <a:cxn ang="0">
                      <a:pos x="10" y="15"/>
                    </a:cxn>
                    <a:cxn ang="0">
                      <a:pos x="8" y="16"/>
                    </a:cxn>
                    <a:cxn ang="0">
                      <a:pos x="2" y="5"/>
                    </a:cxn>
                    <a:cxn ang="0">
                      <a:pos x="2" y="3"/>
                    </a:cxn>
                    <a:cxn ang="0">
                      <a:pos x="1" y="3"/>
                    </a:cxn>
                    <a:cxn ang="0">
                      <a:pos x="0" y="2"/>
                    </a:cxn>
                    <a:cxn ang="0">
                      <a:pos x="0" y="0"/>
                    </a:cxn>
                    <a:cxn ang="0">
                      <a:pos x="1" y="0"/>
                    </a:cxn>
                    <a:cxn ang="0">
                      <a:pos x="4" y="3"/>
                    </a:cxn>
                    <a:cxn ang="0">
                      <a:pos x="5" y="6"/>
                    </a:cxn>
                  </a:cxnLst>
                  <a:rect l="0" t="0" r="r" b="b"/>
                  <a:pathLst>
                    <a:path w="10" h="16">
                      <a:moveTo>
                        <a:pt x="5" y="6"/>
                      </a:moveTo>
                      <a:lnTo>
                        <a:pt x="7" y="6"/>
                      </a:lnTo>
                      <a:lnTo>
                        <a:pt x="7" y="8"/>
                      </a:lnTo>
                      <a:lnTo>
                        <a:pt x="10" y="11"/>
                      </a:lnTo>
                      <a:lnTo>
                        <a:pt x="10" y="15"/>
                      </a:lnTo>
                      <a:lnTo>
                        <a:pt x="8" y="16"/>
                      </a:lnTo>
                      <a:lnTo>
                        <a:pt x="2" y="5"/>
                      </a:lnTo>
                      <a:lnTo>
                        <a:pt x="2" y="3"/>
                      </a:lnTo>
                      <a:lnTo>
                        <a:pt x="1" y="3"/>
                      </a:lnTo>
                      <a:lnTo>
                        <a:pt x="0" y="2"/>
                      </a:lnTo>
                      <a:lnTo>
                        <a:pt x="0" y="0"/>
                      </a:lnTo>
                      <a:lnTo>
                        <a:pt x="1" y="0"/>
                      </a:lnTo>
                      <a:lnTo>
                        <a:pt x="4" y="3"/>
                      </a:lnTo>
                      <a:lnTo>
                        <a:pt x="5" y="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54" name="Freeform 1105"/>
                <p:cNvSpPr>
                  <a:spLocks/>
                </p:cNvSpPr>
                <p:nvPr/>
              </p:nvSpPr>
              <p:spPr bwMode="auto">
                <a:xfrm>
                  <a:off x="1859266" y="3054575"/>
                  <a:ext cx="16093" cy="25750"/>
                </a:xfrm>
                <a:custGeom>
                  <a:avLst/>
                  <a:gdLst/>
                  <a:ahLst/>
                  <a:cxnLst>
                    <a:cxn ang="0">
                      <a:pos x="5" y="6"/>
                    </a:cxn>
                    <a:cxn ang="0">
                      <a:pos x="7" y="6"/>
                    </a:cxn>
                    <a:cxn ang="0">
                      <a:pos x="7" y="8"/>
                    </a:cxn>
                    <a:cxn ang="0">
                      <a:pos x="10" y="11"/>
                    </a:cxn>
                    <a:cxn ang="0">
                      <a:pos x="10" y="15"/>
                    </a:cxn>
                    <a:cxn ang="0">
                      <a:pos x="8" y="16"/>
                    </a:cxn>
                    <a:cxn ang="0">
                      <a:pos x="2" y="5"/>
                    </a:cxn>
                    <a:cxn ang="0">
                      <a:pos x="2" y="3"/>
                    </a:cxn>
                    <a:cxn ang="0">
                      <a:pos x="1" y="3"/>
                    </a:cxn>
                    <a:cxn ang="0">
                      <a:pos x="0" y="2"/>
                    </a:cxn>
                    <a:cxn ang="0">
                      <a:pos x="0" y="0"/>
                    </a:cxn>
                    <a:cxn ang="0">
                      <a:pos x="1" y="0"/>
                    </a:cxn>
                    <a:cxn ang="0">
                      <a:pos x="4" y="3"/>
                    </a:cxn>
                    <a:cxn ang="0">
                      <a:pos x="5" y="6"/>
                    </a:cxn>
                  </a:cxnLst>
                  <a:rect l="0" t="0" r="r" b="b"/>
                  <a:pathLst>
                    <a:path w="10" h="16">
                      <a:moveTo>
                        <a:pt x="5" y="6"/>
                      </a:moveTo>
                      <a:lnTo>
                        <a:pt x="7" y="6"/>
                      </a:lnTo>
                      <a:lnTo>
                        <a:pt x="7" y="8"/>
                      </a:lnTo>
                      <a:lnTo>
                        <a:pt x="10" y="11"/>
                      </a:lnTo>
                      <a:lnTo>
                        <a:pt x="10" y="15"/>
                      </a:lnTo>
                      <a:lnTo>
                        <a:pt x="8" y="16"/>
                      </a:lnTo>
                      <a:lnTo>
                        <a:pt x="2" y="5"/>
                      </a:lnTo>
                      <a:lnTo>
                        <a:pt x="2" y="3"/>
                      </a:lnTo>
                      <a:lnTo>
                        <a:pt x="1" y="3"/>
                      </a:lnTo>
                      <a:lnTo>
                        <a:pt x="0" y="2"/>
                      </a:lnTo>
                      <a:lnTo>
                        <a:pt x="0" y="0"/>
                      </a:lnTo>
                      <a:lnTo>
                        <a:pt x="1" y="0"/>
                      </a:lnTo>
                      <a:lnTo>
                        <a:pt x="4" y="3"/>
                      </a:lnTo>
                      <a:lnTo>
                        <a:pt x="5" y="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55" name="Freeform 1106"/>
                <p:cNvSpPr>
                  <a:spLocks/>
                </p:cNvSpPr>
                <p:nvPr/>
              </p:nvSpPr>
              <p:spPr bwMode="auto">
                <a:xfrm>
                  <a:off x="1881797" y="3094809"/>
                  <a:ext cx="4828" cy="12874"/>
                </a:xfrm>
                <a:custGeom>
                  <a:avLst/>
                  <a:gdLst/>
                  <a:ahLst/>
                  <a:cxnLst>
                    <a:cxn ang="0">
                      <a:pos x="0" y="0"/>
                    </a:cxn>
                    <a:cxn ang="0">
                      <a:pos x="0" y="0"/>
                    </a:cxn>
                    <a:cxn ang="0">
                      <a:pos x="3" y="4"/>
                    </a:cxn>
                    <a:cxn ang="0">
                      <a:pos x="3" y="7"/>
                    </a:cxn>
                    <a:cxn ang="0">
                      <a:pos x="3" y="7"/>
                    </a:cxn>
                    <a:cxn ang="0">
                      <a:pos x="0" y="2"/>
                    </a:cxn>
                    <a:cxn ang="0">
                      <a:pos x="0" y="0"/>
                    </a:cxn>
                  </a:cxnLst>
                  <a:rect l="0" t="0" r="r" b="b"/>
                  <a:pathLst>
                    <a:path w="3" h="7">
                      <a:moveTo>
                        <a:pt x="0" y="0"/>
                      </a:moveTo>
                      <a:lnTo>
                        <a:pt x="0" y="0"/>
                      </a:lnTo>
                      <a:lnTo>
                        <a:pt x="3" y="4"/>
                      </a:lnTo>
                      <a:lnTo>
                        <a:pt x="3" y="7"/>
                      </a:lnTo>
                      <a:lnTo>
                        <a:pt x="3" y="7"/>
                      </a:lnTo>
                      <a:lnTo>
                        <a:pt x="0" y="2"/>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56" name="Freeform 1107"/>
                <p:cNvSpPr>
                  <a:spLocks/>
                </p:cNvSpPr>
                <p:nvPr/>
              </p:nvSpPr>
              <p:spPr bwMode="auto">
                <a:xfrm>
                  <a:off x="1881797" y="3094809"/>
                  <a:ext cx="4828" cy="12874"/>
                </a:xfrm>
                <a:custGeom>
                  <a:avLst/>
                  <a:gdLst/>
                  <a:ahLst/>
                  <a:cxnLst>
                    <a:cxn ang="0">
                      <a:pos x="0" y="0"/>
                    </a:cxn>
                    <a:cxn ang="0">
                      <a:pos x="0" y="0"/>
                    </a:cxn>
                    <a:cxn ang="0">
                      <a:pos x="3" y="4"/>
                    </a:cxn>
                    <a:cxn ang="0">
                      <a:pos x="3" y="7"/>
                    </a:cxn>
                    <a:cxn ang="0">
                      <a:pos x="3" y="7"/>
                    </a:cxn>
                    <a:cxn ang="0">
                      <a:pos x="0" y="2"/>
                    </a:cxn>
                    <a:cxn ang="0">
                      <a:pos x="0" y="0"/>
                    </a:cxn>
                  </a:cxnLst>
                  <a:rect l="0" t="0" r="r" b="b"/>
                  <a:pathLst>
                    <a:path w="3" h="7">
                      <a:moveTo>
                        <a:pt x="0" y="0"/>
                      </a:moveTo>
                      <a:lnTo>
                        <a:pt x="0" y="0"/>
                      </a:lnTo>
                      <a:lnTo>
                        <a:pt x="3" y="4"/>
                      </a:lnTo>
                      <a:lnTo>
                        <a:pt x="3" y="7"/>
                      </a:lnTo>
                      <a:lnTo>
                        <a:pt x="3" y="7"/>
                      </a:lnTo>
                      <a:lnTo>
                        <a:pt x="0" y="2"/>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57" name="Freeform 1108"/>
                <p:cNvSpPr>
                  <a:spLocks/>
                </p:cNvSpPr>
                <p:nvPr/>
              </p:nvSpPr>
              <p:spPr bwMode="auto">
                <a:xfrm>
                  <a:off x="1904327" y="3170447"/>
                  <a:ext cx="119090" cy="93341"/>
                </a:xfrm>
                <a:custGeom>
                  <a:avLst/>
                  <a:gdLst/>
                  <a:ahLst/>
                  <a:cxnLst>
                    <a:cxn ang="0">
                      <a:pos x="12" y="10"/>
                    </a:cxn>
                    <a:cxn ang="0">
                      <a:pos x="12" y="10"/>
                    </a:cxn>
                    <a:cxn ang="0">
                      <a:pos x="6" y="6"/>
                    </a:cxn>
                    <a:cxn ang="0">
                      <a:pos x="3" y="7"/>
                    </a:cxn>
                    <a:cxn ang="0">
                      <a:pos x="0" y="5"/>
                    </a:cxn>
                    <a:cxn ang="0">
                      <a:pos x="0" y="2"/>
                    </a:cxn>
                    <a:cxn ang="0">
                      <a:pos x="4" y="0"/>
                    </a:cxn>
                    <a:cxn ang="0">
                      <a:pos x="15" y="5"/>
                    </a:cxn>
                    <a:cxn ang="0">
                      <a:pos x="39" y="13"/>
                    </a:cxn>
                    <a:cxn ang="0">
                      <a:pos x="41" y="18"/>
                    </a:cxn>
                    <a:cxn ang="0">
                      <a:pos x="48" y="26"/>
                    </a:cxn>
                    <a:cxn ang="0">
                      <a:pos x="49" y="29"/>
                    </a:cxn>
                    <a:cxn ang="0">
                      <a:pos x="55" y="34"/>
                    </a:cxn>
                    <a:cxn ang="0">
                      <a:pos x="58" y="35"/>
                    </a:cxn>
                    <a:cxn ang="0">
                      <a:pos x="64" y="39"/>
                    </a:cxn>
                    <a:cxn ang="0">
                      <a:pos x="70" y="50"/>
                    </a:cxn>
                    <a:cxn ang="0">
                      <a:pos x="70" y="52"/>
                    </a:cxn>
                    <a:cxn ang="0">
                      <a:pos x="68" y="57"/>
                    </a:cxn>
                    <a:cxn ang="0">
                      <a:pos x="57" y="51"/>
                    </a:cxn>
                    <a:cxn ang="0">
                      <a:pos x="54" y="51"/>
                    </a:cxn>
                    <a:cxn ang="0">
                      <a:pos x="51" y="48"/>
                    </a:cxn>
                    <a:cxn ang="0">
                      <a:pos x="51" y="47"/>
                    </a:cxn>
                    <a:cxn ang="0">
                      <a:pos x="49" y="48"/>
                    </a:cxn>
                    <a:cxn ang="0">
                      <a:pos x="47" y="45"/>
                    </a:cxn>
                    <a:cxn ang="0">
                      <a:pos x="48" y="44"/>
                    </a:cxn>
                    <a:cxn ang="0">
                      <a:pos x="48" y="42"/>
                    </a:cxn>
                    <a:cxn ang="0">
                      <a:pos x="44" y="42"/>
                    </a:cxn>
                    <a:cxn ang="0">
                      <a:pos x="39" y="42"/>
                    </a:cxn>
                    <a:cxn ang="0">
                      <a:pos x="41" y="41"/>
                    </a:cxn>
                    <a:cxn ang="0">
                      <a:pos x="36" y="36"/>
                    </a:cxn>
                    <a:cxn ang="0">
                      <a:pos x="33" y="34"/>
                    </a:cxn>
                    <a:cxn ang="0">
                      <a:pos x="26" y="32"/>
                    </a:cxn>
                    <a:cxn ang="0">
                      <a:pos x="26" y="29"/>
                    </a:cxn>
                    <a:cxn ang="0">
                      <a:pos x="33" y="28"/>
                    </a:cxn>
                    <a:cxn ang="0">
                      <a:pos x="28" y="26"/>
                    </a:cxn>
                    <a:cxn ang="0">
                      <a:pos x="26" y="25"/>
                    </a:cxn>
                    <a:cxn ang="0">
                      <a:pos x="25" y="23"/>
                    </a:cxn>
                    <a:cxn ang="0">
                      <a:pos x="20" y="22"/>
                    </a:cxn>
                    <a:cxn ang="0">
                      <a:pos x="19" y="23"/>
                    </a:cxn>
                    <a:cxn ang="0">
                      <a:pos x="18" y="19"/>
                    </a:cxn>
                    <a:cxn ang="0">
                      <a:pos x="18" y="18"/>
                    </a:cxn>
                    <a:cxn ang="0">
                      <a:pos x="15" y="19"/>
                    </a:cxn>
                    <a:cxn ang="0">
                      <a:pos x="12" y="16"/>
                    </a:cxn>
                    <a:cxn ang="0">
                      <a:pos x="9" y="18"/>
                    </a:cxn>
                    <a:cxn ang="0">
                      <a:pos x="6" y="16"/>
                    </a:cxn>
                    <a:cxn ang="0">
                      <a:pos x="7" y="13"/>
                    </a:cxn>
                    <a:cxn ang="0">
                      <a:pos x="6" y="10"/>
                    </a:cxn>
                    <a:cxn ang="0">
                      <a:pos x="10" y="10"/>
                    </a:cxn>
                  </a:cxnLst>
                  <a:rect l="0" t="0" r="r" b="b"/>
                  <a:pathLst>
                    <a:path w="71" h="57">
                      <a:moveTo>
                        <a:pt x="12" y="12"/>
                      </a:moveTo>
                      <a:lnTo>
                        <a:pt x="12" y="10"/>
                      </a:lnTo>
                      <a:lnTo>
                        <a:pt x="12" y="12"/>
                      </a:lnTo>
                      <a:lnTo>
                        <a:pt x="12" y="10"/>
                      </a:lnTo>
                      <a:lnTo>
                        <a:pt x="12" y="6"/>
                      </a:lnTo>
                      <a:lnTo>
                        <a:pt x="6" y="6"/>
                      </a:lnTo>
                      <a:lnTo>
                        <a:pt x="4" y="5"/>
                      </a:lnTo>
                      <a:lnTo>
                        <a:pt x="3" y="7"/>
                      </a:lnTo>
                      <a:lnTo>
                        <a:pt x="2" y="6"/>
                      </a:lnTo>
                      <a:lnTo>
                        <a:pt x="0" y="5"/>
                      </a:lnTo>
                      <a:lnTo>
                        <a:pt x="0" y="3"/>
                      </a:lnTo>
                      <a:lnTo>
                        <a:pt x="0" y="2"/>
                      </a:lnTo>
                      <a:lnTo>
                        <a:pt x="2" y="0"/>
                      </a:lnTo>
                      <a:lnTo>
                        <a:pt x="4" y="0"/>
                      </a:lnTo>
                      <a:lnTo>
                        <a:pt x="12" y="3"/>
                      </a:lnTo>
                      <a:lnTo>
                        <a:pt x="15" y="5"/>
                      </a:lnTo>
                      <a:lnTo>
                        <a:pt x="38" y="12"/>
                      </a:lnTo>
                      <a:lnTo>
                        <a:pt x="39" y="13"/>
                      </a:lnTo>
                      <a:lnTo>
                        <a:pt x="41" y="15"/>
                      </a:lnTo>
                      <a:lnTo>
                        <a:pt x="41" y="18"/>
                      </a:lnTo>
                      <a:lnTo>
                        <a:pt x="48" y="26"/>
                      </a:lnTo>
                      <a:lnTo>
                        <a:pt x="48" y="26"/>
                      </a:lnTo>
                      <a:lnTo>
                        <a:pt x="48" y="28"/>
                      </a:lnTo>
                      <a:lnTo>
                        <a:pt x="49" y="29"/>
                      </a:lnTo>
                      <a:lnTo>
                        <a:pt x="49" y="31"/>
                      </a:lnTo>
                      <a:lnTo>
                        <a:pt x="55" y="34"/>
                      </a:lnTo>
                      <a:lnTo>
                        <a:pt x="58" y="34"/>
                      </a:lnTo>
                      <a:lnTo>
                        <a:pt x="58" y="35"/>
                      </a:lnTo>
                      <a:lnTo>
                        <a:pt x="61" y="36"/>
                      </a:lnTo>
                      <a:lnTo>
                        <a:pt x="64" y="39"/>
                      </a:lnTo>
                      <a:lnTo>
                        <a:pt x="68" y="51"/>
                      </a:lnTo>
                      <a:lnTo>
                        <a:pt x="70" y="50"/>
                      </a:lnTo>
                      <a:lnTo>
                        <a:pt x="71" y="52"/>
                      </a:lnTo>
                      <a:lnTo>
                        <a:pt x="70" y="52"/>
                      </a:lnTo>
                      <a:lnTo>
                        <a:pt x="70" y="55"/>
                      </a:lnTo>
                      <a:lnTo>
                        <a:pt x="68" y="57"/>
                      </a:lnTo>
                      <a:lnTo>
                        <a:pt x="57" y="51"/>
                      </a:lnTo>
                      <a:lnTo>
                        <a:pt x="57" y="51"/>
                      </a:lnTo>
                      <a:lnTo>
                        <a:pt x="55" y="51"/>
                      </a:lnTo>
                      <a:lnTo>
                        <a:pt x="54" y="51"/>
                      </a:lnTo>
                      <a:lnTo>
                        <a:pt x="51" y="50"/>
                      </a:lnTo>
                      <a:lnTo>
                        <a:pt x="51" y="48"/>
                      </a:lnTo>
                      <a:lnTo>
                        <a:pt x="52" y="45"/>
                      </a:lnTo>
                      <a:lnTo>
                        <a:pt x="51" y="47"/>
                      </a:lnTo>
                      <a:lnTo>
                        <a:pt x="51" y="48"/>
                      </a:lnTo>
                      <a:lnTo>
                        <a:pt x="49" y="48"/>
                      </a:lnTo>
                      <a:lnTo>
                        <a:pt x="47" y="47"/>
                      </a:lnTo>
                      <a:lnTo>
                        <a:pt x="47" y="45"/>
                      </a:lnTo>
                      <a:lnTo>
                        <a:pt x="47" y="44"/>
                      </a:lnTo>
                      <a:lnTo>
                        <a:pt x="48" y="44"/>
                      </a:lnTo>
                      <a:lnTo>
                        <a:pt x="49" y="42"/>
                      </a:lnTo>
                      <a:lnTo>
                        <a:pt x="48" y="42"/>
                      </a:lnTo>
                      <a:lnTo>
                        <a:pt x="45" y="41"/>
                      </a:lnTo>
                      <a:lnTo>
                        <a:pt x="44" y="42"/>
                      </a:lnTo>
                      <a:lnTo>
                        <a:pt x="42" y="42"/>
                      </a:lnTo>
                      <a:lnTo>
                        <a:pt x="39" y="42"/>
                      </a:lnTo>
                      <a:lnTo>
                        <a:pt x="36" y="41"/>
                      </a:lnTo>
                      <a:lnTo>
                        <a:pt x="41" y="41"/>
                      </a:lnTo>
                      <a:lnTo>
                        <a:pt x="39" y="38"/>
                      </a:lnTo>
                      <a:lnTo>
                        <a:pt x="36" y="36"/>
                      </a:lnTo>
                      <a:lnTo>
                        <a:pt x="33" y="35"/>
                      </a:lnTo>
                      <a:lnTo>
                        <a:pt x="33" y="34"/>
                      </a:lnTo>
                      <a:lnTo>
                        <a:pt x="31" y="32"/>
                      </a:lnTo>
                      <a:lnTo>
                        <a:pt x="26" y="32"/>
                      </a:lnTo>
                      <a:lnTo>
                        <a:pt x="25" y="29"/>
                      </a:lnTo>
                      <a:lnTo>
                        <a:pt x="26" y="29"/>
                      </a:lnTo>
                      <a:lnTo>
                        <a:pt x="31" y="29"/>
                      </a:lnTo>
                      <a:lnTo>
                        <a:pt x="33" y="28"/>
                      </a:lnTo>
                      <a:lnTo>
                        <a:pt x="31" y="26"/>
                      </a:lnTo>
                      <a:lnTo>
                        <a:pt x="28" y="26"/>
                      </a:lnTo>
                      <a:lnTo>
                        <a:pt x="28" y="26"/>
                      </a:lnTo>
                      <a:lnTo>
                        <a:pt x="26" y="25"/>
                      </a:lnTo>
                      <a:lnTo>
                        <a:pt x="25" y="26"/>
                      </a:lnTo>
                      <a:lnTo>
                        <a:pt x="25" y="23"/>
                      </a:lnTo>
                      <a:lnTo>
                        <a:pt x="22" y="22"/>
                      </a:lnTo>
                      <a:lnTo>
                        <a:pt x="20" y="22"/>
                      </a:lnTo>
                      <a:lnTo>
                        <a:pt x="20" y="21"/>
                      </a:lnTo>
                      <a:lnTo>
                        <a:pt x="19" y="23"/>
                      </a:lnTo>
                      <a:lnTo>
                        <a:pt x="16" y="21"/>
                      </a:lnTo>
                      <a:lnTo>
                        <a:pt x="18" y="19"/>
                      </a:lnTo>
                      <a:lnTo>
                        <a:pt x="18" y="18"/>
                      </a:lnTo>
                      <a:lnTo>
                        <a:pt x="18" y="18"/>
                      </a:lnTo>
                      <a:lnTo>
                        <a:pt x="15" y="16"/>
                      </a:lnTo>
                      <a:lnTo>
                        <a:pt x="15" y="19"/>
                      </a:lnTo>
                      <a:lnTo>
                        <a:pt x="12" y="16"/>
                      </a:lnTo>
                      <a:lnTo>
                        <a:pt x="12" y="16"/>
                      </a:lnTo>
                      <a:lnTo>
                        <a:pt x="10" y="16"/>
                      </a:lnTo>
                      <a:lnTo>
                        <a:pt x="9" y="18"/>
                      </a:lnTo>
                      <a:lnTo>
                        <a:pt x="7" y="18"/>
                      </a:lnTo>
                      <a:lnTo>
                        <a:pt x="6" y="16"/>
                      </a:lnTo>
                      <a:lnTo>
                        <a:pt x="7" y="15"/>
                      </a:lnTo>
                      <a:lnTo>
                        <a:pt x="7" y="13"/>
                      </a:lnTo>
                      <a:lnTo>
                        <a:pt x="6" y="12"/>
                      </a:lnTo>
                      <a:lnTo>
                        <a:pt x="6" y="10"/>
                      </a:lnTo>
                      <a:lnTo>
                        <a:pt x="7" y="9"/>
                      </a:lnTo>
                      <a:lnTo>
                        <a:pt x="10" y="10"/>
                      </a:lnTo>
                      <a:lnTo>
                        <a:pt x="12" y="1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58" name="Freeform 1498"/>
                <p:cNvSpPr>
                  <a:spLocks/>
                </p:cNvSpPr>
                <p:nvPr/>
              </p:nvSpPr>
              <p:spPr bwMode="auto">
                <a:xfrm>
                  <a:off x="1728910" y="2903297"/>
                  <a:ext cx="22530" cy="54717"/>
                </a:xfrm>
                <a:custGeom>
                  <a:avLst/>
                  <a:gdLst/>
                  <a:ahLst/>
                  <a:cxnLst>
                    <a:cxn ang="0">
                      <a:pos x="10" y="6"/>
                    </a:cxn>
                    <a:cxn ang="0">
                      <a:pos x="10" y="6"/>
                    </a:cxn>
                    <a:cxn ang="0">
                      <a:pos x="11" y="9"/>
                    </a:cxn>
                    <a:cxn ang="0">
                      <a:pos x="10" y="14"/>
                    </a:cxn>
                    <a:cxn ang="0">
                      <a:pos x="10" y="11"/>
                    </a:cxn>
                    <a:cxn ang="0">
                      <a:pos x="11" y="13"/>
                    </a:cxn>
                    <a:cxn ang="0">
                      <a:pos x="13" y="14"/>
                    </a:cxn>
                    <a:cxn ang="0">
                      <a:pos x="13" y="16"/>
                    </a:cxn>
                    <a:cxn ang="0">
                      <a:pos x="11" y="16"/>
                    </a:cxn>
                    <a:cxn ang="0">
                      <a:pos x="11" y="19"/>
                    </a:cxn>
                    <a:cxn ang="0">
                      <a:pos x="13" y="20"/>
                    </a:cxn>
                    <a:cxn ang="0">
                      <a:pos x="13" y="32"/>
                    </a:cxn>
                    <a:cxn ang="0">
                      <a:pos x="13" y="33"/>
                    </a:cxn>
                    <a:cxn ang="0">
                      <a:pos x="11" y="33"/>
                    </a:cxn>
                    <a:cxn ang="0">
                      <a:pos x="11" y="30"/>
                    </a:cxn>
                    <a:cxn ang="0">
                      <a:pos x="10" y="30"/>
                    </a:cxn>
                    <a:cxn ang="0">
                      <a:pos x="8" y="25"/>
                    </a:cxn>
                    <a:cxn ang="0">
                      <a:pos x="8" y="23"/>
                    </a:cxn>
                    <a:cxn ang="0">
                      <a:pos x="10" y="19"/>
                    </a:cxn>
                    <a:cxn ang="0">
                      <a:pos x="10" y="17"/>
                    </a:cxn>
                    <a:cxn ang="0">
                      <a:pos x="10" y="20"/>
                    </a:cxn>
                    <a:cxn ang="0">
                      <a:pos x="8" y="22"/>
                    </a:cxn>
                    <a:cxn ang="0">
                      <a:pos x="7" y="22"/>
                    </a:cxn>
                    <a:cxn ang="0">
                      <a:pos x="7" y="20"/>
                    </a:cxn>
                    <a:cxn ang="0">
                      <a:pos x="5" y="19"/>
                    </a:cxn>
                    <a:cxn ang="0">
                      <a:pos x="4" y="17"/>
                    </a:cxn>
                    <a:cxn ang="0">
                      <a:pos x="4" y="17"/>
                    </a:cxn>
                    <a:cxn ang="0">
                      <a:pos x="4" y="17"/>
                    </a:cxn>
                    <a:cxn ang="0">
                      <a:pos x="4" y="14"/>
                    </a:cxn>
                    <a:cxn ang="0">
                      <a:pos x="4" y="14"/>
                    </a:cxn>
                    <a:cxn ang="0">
                      <a:pos x="5" y="13"/>
                    </a:cxn>
                    <a:cxn ang="0">
                      <a:pos x="5" y="11"/>
                    </a:cxn>
                    <a:cxn ang="0">
                      <a:pos x="4" y="10"/>
                    </a:cxn>
                    <a:cxn ang="0">
                      <a:pos x="2" y="7"/>
                    </a:cxn>
                    <a:cxn ang="0">
                      <a:pos x="0" y="6"/>
                    </a:cxn>
                    <a:cxn ang="0">
                      <a:pos x="0" y="4"/>
                    </a:cxn>
                    <a:cxn ang="0">
                      <a:pos x="0" y="3"/>
                    </a:cxn>
                    <a:cxn ang="0">
                      <a:pos x="0" y="3"/>
                    </a:cxn>
                    <a:cxn ang="0">
                      <a:pos x="1" y="0"/>
                    </a:cxn>
                    <a:cxn ang="0">
                      <a:pos x="1" y="0"/>
                    </a:cxn>
                    <a:cxn ang="0">
                      <a:pos x="2" y="1"/>
                    </a:cxn>
                    <a:cxn ang="0">
                      <a:pos x="4" y="1"/>
                    </a:cxn>
                    <a:cxn ang="0">
                      <a:pos x="7" y="4"/>
                    </a:cxn>
                    <a:cxn ang="0">
                      <a:pos x="7" y="4"/>
                    </a:cxn>
                    <a:cxn ang="0">
                      <a:pos x="8" y="6"/>
                    </a:cxn>
                    <a:cxn ang="0">
                      <a:pos x="10" y="6"/>
                    </a:cxn>
                  </a:cxnLst>
                  <a:rect l="0" t="0" r="r" b="b"/>
                  <a:pathLst>
                    <a:path w="13" h="33">
                      <a:moveTo>
                        <a:pt x="10" y="6"/>
                      </a:moveTo>
                      <a:lnTo>
                        <a:pt x="10" y="6"/>
                      </a:lnTo>
                      <a:lnTo>
                        <a:pt x="11" y="9"/>
                      </a:lnTo>
                      <a:lnTo>
                        <a:pt x="10" y="14"/>
                      </a:lnTo>
                      <a:lnTo>
                        <a:pt x="10" y="11"/>
                      </a:lnTo>
                      <a:lnTo>
                        <a:pt x="11" y="13"/>
                      </a:lnTo>
                      <a:lnTo>
                        <a:pt x="13" y="14"/>
                      </a:lnTo>
                      <a:lnTo>
                        <a:pt x="13" y="16"/>
                      </a:lnTo>
                      <a:lnTo>
                        <a:pt x="11" y="16"/>
                      </a:lnTo>
                      <a:lnTo>
                        <a:pt x="11" y="19"/>
                      </a:lnTo>
                      <a:lnTo>
                        <a:pt x="13" y="20"/>
                      </a:lnTo>
                      <a:lnTo>
                        <a:pt x="13" y="32"/>
                      </a:lnTo>
                      <a:lnTo>
                        <a:pt x="13" y="33"/>
                      </a:lnTo>
                      <a:lnTo>
                        <a:pt x="11" y="33"/>
                      </a:lnTo>
                      <a:lnTo>
                        <a:pt x="11" y="30"/>
                      </a:lnTo>
                      <a:lnTo>
                        <a:pt x="10" y="30"/>
                      </a:lnTo>
                      <a:lnTo>
                        <a:pt x="8" y="25"/>
                      </a:lnTo>
                      <a:lnTo>
                        <a:pt x="8" y="23"/>
                      </a:lnTo>
                      <a:lnTo>
                        <a:pt x="10" y="19"/>
                      </a:lnTo>
                      <a:lnTo>
                        <a:pt x="10" y="17"/>
                      </a:lnTo>
                      <a:lnTo>
                        <a:pt x="10" y="20"/>
                      </a:lnTo>
                      <a:lnTo>
                        <a:pt x="8" y="22"/>
                      </a:lnTo>
                      <a:lnTo>
                        <a:pt x="7" y="22"/>
                      </a:lnTo>
                      <a:lnTo>
                        <a:pt x="7" y="20"/>
                      </a:lnTo>
                      <a:lnTo>
                        <a:pt x="5" y="19"/>
                      </a:lnTo>
                      <a:lnTo>
                        <a:pt x="4" y="17"/>
                      </a:lnTo>
                      <a:lnTo>
                        <a:pt x="4" y="17"/>
                      </a:lnTo>
                      <a:lnTo>
                        <a:pt x="4" y="17"/>
                      </a:lnTo>
                      <a:lnTo>
                        <a:pt x="4" y="14"/>
                      </a:lnTo>
                      <a:lnTo>
                        <a:pt x="4" y="14"/>
                      </a:lnTo>
                      <a:lnTo>
                        <a:pt x="5" y="13"/>
                      </a:lnTo>
                      <a:lnTo>
                        <a:pt x="5" y="11"/>
                      </a:lnTo>
                      <a:lnTo>
                        <a:pt x="4" y="10"/>
                      </a:lnTo>
                      <a:lnTo>
                        <a:pt x="2" y="7"/>
                      </a:lnTo>
                      <a:lnTo>
                        <a:pt x="0" y="6"/>
                      </a:lnTo>
                      <a:lnTo>
                        <a:pt x="0" y="4"/>
                      </a:lnTo>
                      <a:lnTo>
                        <a:pt x="0" y="3"/>
                      </a:lnTo>
                      <a:lnTo>
                        <a:pt x="0" y="3"/>
                      </a:lnTo>
                      <a:lnTo>
                        <a:pt x="1" y="0"/>
                      </a:lnTo>
                      <a:lnTo>
                        <a:pt x="1" y="0"/>
                      </a:lnTo>
                      <a:lnTo>
                        <a:pt x="2" y="1"/>
                      </a:lnTo>
                      <a:lnTo>
                        <a:pt x="4" y="1"/>
                      </a:lnTo>
                      <a:lnTo>
                        <a:pt x="7" y="4"/>
                      </a:lnTo>
                      <a:lnTo>
                        <a:pt x="7" y="4"/>
                      </a:lnTo>
                      <a:lnTo>
                        <a:pt x="8" y="6"/>
                      </a:lnTo>
                      <a:lnTo>
                        <a:pt x="10" y="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59" name="Freeform 1499"/>
                <p:cNvSpPr>
                  <a:spLocks/>
                </p:cNvSpPr>
                <p:nvPr/>
              </p:nvSpPr>
              <p:spPr bwMode="auto">
                <a:xfrm>
                  <a:off x="1728910" y="2903297"/>
                  <a:ext cx="22530" cy="54717"/>
                </a:xfrm>
                <a:custGeom>
                  <a:avLst/>
                  <a:gdLst/>
                  <a:ahLst/>
                  <a:cxnLst>
                    <a:cxn ang="0">
                      <a:pos x="10" y="6"/>
                    </a:cxn>
                    <a:cxn ang="0">
                      <a:pos x="10" y="6"/>
                    </a:cxn>
                    <a:cxn ang="0">
                      <a:pos x="11" y="9"/>
                    </a:cxn>
                    <a:cxn ang="0">
                      <a:pos x="10" y="14"/>
                    </a:cxn>
                    <a:cxn ang="0">
                      <a:pos x="10" y="11"/>
                    </a:cxn>
                    <a:cxn ang="0">
                      <a:pos x="11" y="13"/>
                    </a:cxn>
                    <a:cxn ang="0">
                      <a:pos x="13" y="14"/>
                    </a:cxn>
                    <a:cxn ang="0">
                      <a:pos x="13" y="16"/>
                    </a:cxn>
                    <a:cxn ang="0">
                      <a:pos x="11" y="16"/>
                    </a:cxn>
                    <a:cxn ang="0">
                      <a:pos x="11" y="19"/>
                    </a:cxn>
                    <a:cxn ang="0">
                      <a:pos x="13" y="20"/>
                    </a:cxn>
                    <a:cxn ang="0">
                      <a:pos x="13" y="32"/>
                    </a:cxn>
                    <a:cxn ang="0">
                      <a:pos x="13" y="33"/>
                    </a:cxn>
                    <a:cxn ang="0">
                      <a:pos x="11" y="33"/>
                    </a:cxn>
                    <a:cxn ang="0">
                      <a:pos x="11" y="30"/>
                    </a:cxn>
                    <a:cxn ang="0">
                      <a:pos x="10" y="30"/>
                    </a:cxn>
                    <a:cxn ang="0">
                      <a:pos x="8" y="25"/>
                    </a:cxn>
                    <a:cxn ang="0">
                      <a:pos x="8" y="23"/>
                    </a:cxn>
                    <a:cxn ang="0">
                      <a:pos x="10" y="19"/>
                    </a:cxn>
                    <a:cxn ang="0">
                      <a:pos x="10" y="17"/>
                    </a:cxn>
                    <a:cxn ang="0">
                      <a:pos x="10" y="20"/>
                    </a:cxn>
                    <a:cxn ang="0">
                      <a:pos x="8" y="22"/>
                    </a:cxn>
                    <a:cxn ang="0">
                      <a:pos x="7" y="22"/>
                    </a:cxn>
                    <a:cxn ang="0">
                      <a:pos x="7" y="20"/>
                    </a:cxn>
                    <a:cxn ang="0">
                      <a:pos x="5" y="19"/>
                    </a:cxn>
                    <a:cxn ang="0">
                      <a:pos x="4" y="17"/>
                    </a:cxn>
                    <a:cxn ang="0">
                      <a:pos x="4" y="17"/>
                    </a:cxn>
                    <a:cxn ang="0">
                      <a:pos x="4" y="17"/>
                    </a:cxn>
                    <a:cxn ang="0">
                      <a:pos x="4" y="14"/>
                    </a:cxn>
                    <a:cxn ang="0">
                      <a:pos x="4" y="14"/>
                    </a:cxn>
                    <a:cxn ang="0">
                      <a:pos x="5" y="13"/>
                    </a:cxn>
                    <a:cxn ang="0">
                      <a:pos x="5" y="11"/>
                    </a:cxn>
                    <a:cxn ang="0">
                      <a:pos x="4" y="10"/>
                    </a:cxn>
                    <a:cxn ang="0">
                      <a:pos x="2" y="7"/>
                    </a:cxn>
                    <a:cxn ang="0">
                      <a:pos x="0" y="6"/>
                    </a:cxn>
                    <a:cxn ang="0">
                      <a:pos x="0" y="4"/>
                    </a:cxn>
                    <a:cxn ang="0">
                      <a:pos x="0" y="3"/>
                    </a:cxn>
                    <a:cxn ang="0">
                      <a:pos x="0" y="3"/>
                    </a:cxn>
                    <a:cxn ang="0">
                      <a:pos x="1" y="0"/>
                    </a:cxn>
                    <a:cxn ang="0">
                      <a:pos x="1" y="0"/>
                    </a:cxn>
                    <a:cxn ang="0">
                      <a:pos x="2" y="1"/>
                    </a:cxn>
                    <a:cxn ang="0">
                      <a:pos x="4" y="1"/>
                    </a:cxn>
                    <a:cxn ang="0">
                      <a:pos x="7" y="4"/>
                    </a:cxn>
                    <a:cxn ang="0">
                      <a:pos x="7" y="4"/>
                    </a:cxn>
                    <a:cxn ang="0">
                      <a:pos x="8" y="6"/>
                    </a:cxn>
                    <a:cxn ang="0">
                      <a:pos x="10" y="6"/>
                    </a:cxn>
                  </a:cxnLst>
                  <a:rect l="0" t="0" r="r" b="b"/>
                  <a:pathLst>
                    <a:path w="13" h="33">
                      <a:moveTo>
                        <a:pt x="10" y="6"/>
                      </a:moveTo>
                      <a:lnTo>
                        <a:pt x="10" y="6"/>
                      </a:lnTo>
                      <a:lnTo>
                        <a:pt x="11" y="9"/>
                      </a:lnTo>
                      <a:lnTo>
                        <a:pt x="10" y="14"/>
                      </a:lnTo>
                      <a:lnTo>
                        <a:pt x="10" y="11"/>
                      </a:lnTo>
                      <a:lnTo>
                        <a:pt x="11" y="13"/>
                      </a:lnTo>
                      <a:lnTo>
                        <a:pt x="13" y="14"/>
                      </a:lnTo>
                      <a:lnTo>
                        <a:pt x="13" y="16"/>
                      </a:lnTo>
                      <a:lnTo>
                        <a:pt x="11" y="16"/>
                      </a:lnTo>
                      <a:lnTo>
                        <a:pt x="11" y="19"/>
                      </a:lnTo>
                      <a:lnTo>
                        <a:pt x="13" y="20"/>
                      </a:lnTo>
                      <a:lnTo>
                        <a:pt x="13" y="32"/>
                      </a:lnTo>
                      <a:lnTo>
                        <a:pt x="13" y="33"/>
                      </a:lnTo>
                      <a:lnTo>
                        <a:pt x="11" y="33"/>
                      </a:lnTo>
                      <a:lnTo>
                        <a:pt x="11" y="30"/>
                      </a:lnTo>
                      <a:lnTo>
                        <a:pt x="10" y="30"/>
                      </a:lnTo>
                      <a:lnTo>
                        <a:pt x="8" y="25"/>
                      </a:lnTo>
                      <a:lnTo>
                        <a:pt x="8" y="23"/>
                      </a:lnTo>
                      <a:lnTo>
                        <a:pt x="10" y="19"/>
                      </a:lnTo>
                      <a:lnTo>
                        <a:pt x="10" y="17"/>
                      </a:lnTo>
                      <a:lnTo>
                        <a:pt x="10" y="20"/>
                      </a:lnTo>
                      <a:lnTo>
                        <a:pt x="8" y="22"/>
                      </a:lnTo>
                      <a:lnTo>
                        <a:pt x="7" y="22"/>
                      </a:lnTo>
                      <a:lnTo>
                        <a:pt x="7" y="20"/>
                      </a:lnTo>
                      <a:lnTo>
                        <a:pt x="5" y="19"/>
                      </a:lnTo>
                      <a:lnTo>
                        <a:pt x="4" y="17"/>
                      </a:lnTo>
                      <a:lnTo>
                        <a:pt x="4" y="17"/>
                      </a:lnTo>
                      <a:lnTo>
                        <a:pt x="4" y="17"/>
                      </a:lnTo>
                      <a:lnTo>
                        <a:pt x="4" y="14"/>
                      </a:lnTo>
                      <a:lnTo>
                        <a:pt x="4" y="14"/>
                      </a:lnTo>
                      <a:lnTo>
                        <a:pt x="5" y="13"/>
                      </a:lnTo>
                      <a:lnTo>
                        <a:pt x="5" y="11"/>
                      </a:lnTo>
                      <a:lnTo>
                        <a:pt x="4" y="10"/>
                      </a:lnTo>
                      <a:lnTo>
                        <a:pt x="2" y="7"/>
                      </a:lnTo>
                      <a:lnTo>
                        <a:pt x="0" y="6"/>
                      </a:lnTo>
                      <a:lnTo>
                        <a:pt x="0" y="4"/>
                      </a:lnTo>
                      <a:lnTo>
                        <a:pt x="0" y="3"/>
                      </a:lnTo>
                      <a:lnTo>
                        <a:pt x="0" y="3"/>
                      </a:lnTo>
                      <a:lnTo>
                        <a:pt x="1" y="0"/>
                      </a:lnTo>
                      <a:lnTo>
                        <a:pt x="1" y="0"/>
                      </a:lnTo>
                      <a:lnTo>
                        <a:pt x="2" y="1"/>
                      </a:lnTo>
                      <a:lnTo>
                        <a:pt x="4" y="1"/>
                      </a:lnTo>
                      <a:lnTo>
                        <a:pt x="7" y="4"/>
                      </a:lnTo>
                      <a:lnTo>
                        <a:pt x="7" y="4"/>
                      </a:lnTo>
                      <a:lnTo>
                        <a:pt x="8" y="6"/>
                      </a:lnTo>
                      <a:lnTo>
                        <a:pt x="10" y="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60" name="Freeform 1500"/>
                <p:cNvSpPr>
                  <a:spLocks/>
                </p:cNvSpPr>
                <p:nvPr/>
              </p:nvSpPr>
              <p:spPr bwMode="auto">
                <a:xfrm>
                  <a:off x="1748221" y="2874329"/>
                  <a:ext cx="24140" cy="48280"/>
                </a:xfrm>
                <a:custGeom>
                  <a:avLst/>
                  <a:gdLst/>
                  <a:ahLst/>
                  <a:cxnLst>
                    <a:cxn ang="0">
                      <a:pos x="3" y="15"/>
                    </a:cxn>
                    <a:cxn ang="0">
                      <a:pos x="3" y="16"/>
                    </a:cxn>
                    <a:cxn ang="0">
                      <a:pos x="0" y="3"/>
                    </a:cxn>
                    <a:cxn ang="0">
                      <a:pos x="0" y="2"/>
                    </a:cxn>
                    <a:cxn ang="0">
                      <a:pos x="2" y="0"/>
                    </a:cxn>
                    <a:cxn ang="0">
                      <a:pos x="7" y="0"/>
                    </a:cxn>
                    <a:cxn ang="0">
                      <a:pos x="12" y="8"/>
                    </a:cxn>
                    <a:cxn ang="0">
                      <a:pos x="13" y="12"/>
                    </a:cxn>
                    <a:cxn ang="0">
                      <a:pos x="13" y="14"/>
                    </a:cxn>
                    <a:cxn ang="0">
                      <a:pos x="15" y="16"/>
                    </a:cxn>
                    <a:cxn ang="0">
                      <a:pos x="9" y="3"/>
                    </a:cxn>
                    <a:cxn ang="0">
                      <a:pos x="7" y="3"/>
                    </a:cxn>
                    <a:cxn ang="0">
                      <a:pos x="7" y="5"/>
                    </a:cxn>
                    <a:cxn ang="0">
                      <a:pos x="7" y="5"/>
                    </a:cxn>
                    <a:cxn ang="0">
                      <a:pos x="9" y="11"/>
                    </a:cxn>
                    <a:cxn ang="0">
                      <a:pos x="9" y="12"/>
                    </a:cxn>
                    <a:cxn ang="0">
                      <a:pos x="10" y="14"/>
                    </a:cxn>
                    <a:cxn ang="0">
                      <a:pos x="12" y="15"/>
                    </a:cxn>
                    <a:cxn ang="0">
                      <a:pos x="13" y="18"/>
                    </a:cxn>
                    <a:cxn ang="0">
                      <a:pos x="12" y="18"/>
                    </a:cxn>
                    <a:cxn ang="0">
                      <a:pos x="10" y="18"/>
                    </a:cxn>
                    <a:cxn ang="0">
                      <a:pos x="10" y="19"/>
                    </a:cxn>
                    <a:cxn ang="0">
                      <a:pos x="12" y="21"/>
                    </a:cxn>
                    <a:cxn ang="0">
                      <a:pos x="12" y="22"/>
                    </a:cxn>
                    <a:cxn ang="0">
                      <a:pos x="12" y="22"/>
                    </a:cxn>
                    <a:cxn ang="0">
                      <a:pos x="9" y="21"/>
                    </a:cxn>
                    <a:cxn ang="0">
                      <a:pos x="9" y="25"/>
                    </a:cxn>
                    <a:cxn ang="0">
                      <a:pos x="9" y="27"/>
                    </a:cxn>
                    <a:cxn ang="0">
                      <a:pos x="7" y="24"/>
                    </a:cxn>
                    <a:cxn ang="0">
                      <a:pos x="6" y="29"/>
                    </a:cxn>
                    <a:cxn ang="0">
                      <a:pos x="5" y="29"/>
                    </a:cxn>
                    <a:cxn ang="0">
                      <a:pos x="3" y="29"/>
                    </a:cxn>
                    <a:cxn ang="0">
                      <a:pos x="3" y="28"/>
                    </a:cxn>
                    <a:cxn ang="0">
                      <a:pos x="3" y="22"/>
                    </a:cxn>
                    <a:cxn ang="0">
                      <a:pos x="5" y="22"/>
                    </a:cxn>
                    <a:cxn ang="0">
                      <a:pos x="6" y="22"/>
                    </a:cxn>
                    <a:cxn ang="0">
                      <a:pos x="6" y="21"/>
                    </a:cxn>
                    <a:cxn ang="0">
                      <a:pos x="5" y="19"/>
                    </a:cxn>
                    <a:cxn ang="0">
                      <a:pos x="5" y="18"/>
                    </a:cxn>
                    <a:cxn ang="0">
                      <a:pos x="6" y="18"/>
                    </a:cxn>
                    <a:cxn ang="0">
                      <a:pos x="6" y="16"/>
                    </a:cxn>
                    <a:cxn ang="0">
                      <a:pos x="6" y="16"/>
                    </a:cxn>
                    <a:cxn ang="0">
                      <a:pos x="5" y="18"/>
                    </a:cxn>
                    <a:cxn ang="0">
                      <a:pos x="3" y="15"/>
                    </a:cxn>
                  </a:cxnLst>
                  <a:rect l="0" t="0" r="r" b="b"/>
                  <a:pathLst>
                    <a:path w="15" h="29">
                      <a:moveTo>
                        <a:pt x="3" y="15"/>
                      </a:moveTo>
                      <a:lnTo>
                        <a:pt x="3" y="16"/>
                      </a:lnTo>
                      <a:lnTo>
                        <a:pt x="0" y="3"/>
                      </a:lnTo>
                      <a:lnTo>
                        <a:pt x="0" y="2"/>
                      </a:lnTo>
                      <a:lnTo>
                        <a:pt x="2" y="0"/>
                      </a:lnTo>
                      <a:lnTo>
                        <a:pt x="7" y="0"/>
                      </a:lnTo>
                      <a:lnTo>
                        <a:pt x="12" y="8"/>
                      </a:lnTo>
                      <a:lnTo>
                        <a:pt x="13" y="12"/>
                      </a:lnTo>
                      <a:lnTo>
                        <a:pt x="13" y="14"/>
                      </a:lnTo>
                      <a:lnTo>
                        <a:pt x="15" y="16"/>
                      </a:lnTo>
                      <a:lnTo>
                        <a:pt x="9" y="3"/>
                      </a:lnTo>
                      <a:lnTo>
                        <a:pt x="7" y="3"/>
                      </a:lnTo>
                      <a:lnTo>
                        <a:pt x="7" y="5"/>
                      </a:lnTo>
                      <a:lnTo>
                        <a:pt x="7" y="5"/>
                      </a:lnTo>
                      <a:lnTo>
                        <a:pt x="9" y="11"/>
                      </a:lnTo>
                      <a:lnTo>
                        <a:pt x="9" y="12"/>
                      </a:lnTo>
                      <a:lnTo>
                        <a:pt x="10" y="14"/>
                      </a:lnTo>
                      <a:lnTo>
                        <a:pt x="12" y="15"/>
                      </a:lnTo>
                      <a:lnTo>
                        <a:pt x="13" y="18"/>
                      </a:lnTo>
                      <a:lnTo>
                        <a:pt x="12" y="18"/>
                      </a:lnTo>
                      <a:lnTo>
                        <a:pt x="10" y="18"/>
                      </a:lnTo>
                      <a:lnTo>
                        <a:pt x="10" y="19"/>
                      </a:lnTo>
                      <a:lnTo>
                        <a:pt x="12" y="21"/>
                      </a:lnTo>
                      <a:lnTo>
                        <a:pt x="12" y="22"/>
                      </a:lnTo>
                      <a:lnTo>
                        <a:pt x="12" y="22"/>
                      </a:lnTo>
                      <a:lnTo>
                        <a:pt x="9" y="21"/>
                      </a:lnTo>
                      <a:lnTo>
                        <a:pt x="9" y="25"/>
                      </a:lnTo>
                      <a:lnTo>
                        <a:pt x="9" y="27"/>
                      </a:lnTo>
                      <a:lnTo>
                        <a:pt x="7" y="24"/>
                      </a:lnTo>
                      <a:lnTo>
                        <a:pt x="6" y="29"/>
                      </a:lnTo>
                      <a:lnTo>
                        <a:pt x="5" y="29"/>
                      </a:lnTo>
                      <a:lnTo>
                        <a:pt x="3" y="29"/>
                      </a:lnTo>
                      <a:lnTo>
                        <a:pt x="3" y="28"/>
                      </a:lnTo>
                      <a:lnTo>
                        <a:pt x="3" y="22"/>
                      </a:lnTo>
                      <a:lnTo>
                        <a:pt x="5" y="22"/>
                      </a:lnTo>
                      <a:lnTo>
                        <a:pt x="6" y="22"/>
                      </a:lnTo>
                      <a:lnTo>
                        <a:pt x="6" y="21"/>
                      </a:lnTo>
                      <a:lnTo>
                        <a:pt x="5" y="19"/>
                      </a:lnTo>
                      <a:lnTo>
                        <a:pt x="5" y="18"/>
                      </a:lnTo>
                      <a:lnTo>
                        <a:pt x="6" y="18"/>
                      </a:lnTo>
                      <a:lnTo>
                        <a:pt x="6" y="16"/>
                      </a:lnTo>
                      <a:lnTo>
                        <a:pt x="6" y="16"/>
                      </a:lnTo>
                      <a:lnTo>
                        <a:pt x="5" y="18"/>
                      </a:lnTo>
                      <a:lnTo>
                        <a:pt x="3" y="1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61" name="Freeform 1501"/>
                <p:cNvSpPr>
                  <a:spLocks/>
                </p:cNvSpPr>
                <p:nvPr/>
              </p:nvSpPr>
              <p:spPr bwMode="auto">
                <a:xfrm>
                  <a:off x="1748221" y="2874329"/>
                  <a:ext cx="24140" cy="48280"/>
                </a:xfrm>
                <a:custGeom>
                  <a:avLst/>
                  <a:gdLst/>
                  <a:ahLst/>
                  <a:cxnLst>
                    <a:cxn ang="0">
                      <a:pos x="3" y="15"/>
                    </a:cxn>
                    <a:cxn ang="0">
                      <a:pos x="3" y="16"/>
                    </a:cxn>
                    <a:cxn ang="0">
                      <a:pos x="0" y="3"/>
                    </a:cxn>
                    <a:cxn ang="0">
                      <a:pos x="0" y="2"/>
                    </a:cxn>
                    <a:cxn ang="0">
                      <a:pos x="2" y="0"/>
                    </a:cxn>
                    <a:cxn ang="0">
                      <a:pos x="7" y="0"/>
                    </a:cxn>
                    <a:cxn ang="0">
                      <a:pos x="12" y="8"/>
                    </a:cxn>
                    <a:cxn ang="0">
                      <a:pos x="13" y="12"/>
                    </a:cxn>
                    <a:cxn ang="0">
                      <a:pos x="13" y="14"/>
                    </a:cxn>
                    <a:cxn ang="0">
                      <a:pos x="15" y="16"/>
                    </a:cxn>
                    <a:cxn ang="0">
                      <a:pos x="9" y="3"/>
                    </a:cxn>
                    <a:cxn ang="0">
                      <a:pos x="7" y="3"/>
                    </a:cxn>
                    <a:cxn ang="0">
                      <a:pos x="7" y="5"/>
                    </a:cxn>
                    <a:cxn ang="0">
                      <a:pos x="7" y="5"/>
                    </a:cxn>
                    <a:cxn ang="0">
                      <a:pos x="9" y="11"/>
                    </a:cxn>
                    <a:cxn ang="0">
                      <a:pos x="9" y="12"/>
                    </a:cxn>
                    <a:cxn ang="0">
                      <a:pos x="10" y="14"/>
                    </a:cxn>
                    <a:cxn ang="0">
                      <a:pos x="12" y="15"/>
                    </a:cxn>
                    <a:cxn ang="0">
                      <a:pos x="13" y="18"/>
                    </a:cxn>
                    <a:cxn ang="0">
                      <a:pos x="12" y="18"/>
                    </a:cxn>
                    <a:cxn ang="0">
                      <a:pos x="10" y="18"/>
                    </a:cxn>
                    <a:cxn ang="0">
                      <a:pos x="10" y="19"/>
                    </a:cxn>
                    <a:cxn ang="0">
                      <a:pos x="12" y="21"/>
                    </a:cxn>
                    <a:cxn ang="0">
                      <a:pos x="12" y="22"/>
                    </a:cxn>
                    <a:cxn ang="0">
                      <a:pos x="12" y="22"/>
                    </a:cxn>
                    <a:cxn ang="0">
                      <a:pos x="9" y="21"/>
                    </a:cxn>
                    <a:cxn ang="0">
                      <a:pos x="9" y="25"/>
                    </a:cxn>
                    <a:cxn ang="0">
                      <a:pos x="9" y="27"/>
                    </a:cxn>
                    <a:cxn ang="0">
                      <a:pos x="7" y="24"/>
                    </a:cxn>
                    <a:cxn ang="0">
                      <a:pos x="6" y="29"/>
                    </a:cxn>
                    <a:cxn ang="0">
                      <a:pos x="5" y="29"/>
                    </a:cxn>
                    <a:cxn ang="0">
                      <a:pos x="3" y="29"/>
                    </a:cxn>
                    <a:cxn ang="0">
                      <a:pos x="3" y="28"/>
                    </a:cxn>
                    <a:cxn ang="0">
                      <a:pos x="3" y="22"/>
                    </a:cxn>
                    <a:cxn ang="0">
                      <a:pos x="5" y="22"/>
                    </a:cxn>
                    <a:cxn ang="0">
                      <a:pos x="6" y="22"/>
                    </a:cxn>
                    <a:cxn ang="0">
                      <a:pos x="6" y="21"/>
                    </a:cxn>
                    <a:cxn ang="0">
                      <a:pos x="5" y="19"/>
                    </a:cxn>
                    <a:cxn ang="0">
                      <a:pos x="5" y="18"/>
                    </a:cxn>
                    <a:cxn ang="0">
                      <a:pos x="6" y="18"/>
                    </a:cxn>
                    <a:cxn ang="0">
                      <a:pos x="6" y="16"/>
                    </a:cxn>
                    <a:cxn ang="0">
                      <a:pos x="6" y="16"/>
                    </a:cxn>
                    <a:cxn ang="0">
                      <a:pos x="5" y="18"/>
                    </a:cxn>
                    <a:cxn ang="0">
                      <a:pos x="3" y="15"/>
                    </a:cxn>
                  </a:cxnLst>
                  <a:rect l="0" t="0" r="r" b="b"/>
                  <a:pathLst>
                    <a:path w="15" h="29">
                      <a:moveTo>
                        <a:pt x="3" y="15"/>
                      </a:moveTo>
                      <a:lnTo>
                        <a:pt x="3" y="16"/>
                      </a:lnTo>
                      <a:lnTo>
                        <a:pt x="0" y="3"/>
                      </a:lnTo>
                      <a:lnTo>
                        <a:pt x="0" y="2"/>
                      </a:lnTo>
                      <a:lnTo>
                        <a:pt x="2" y="0"/>
                      </a:lnTo>
                      <a:lnTo>
                        <a:pt x="7" y="0"/>
                      </a:lnTo>
                      <a:lnTo>
                        <a:pt x="12" y="8"/>
                      </a:lnTo>
                      <a:lnTo>
                        <a:pt x="13" y="12"/>
                      </a:lnTo>
                      <a:lnTo>
                        <a:pt x="13" y="14"/>
                      </a:lnTo>
                      <a:lnTo>
                        <a:pt x="15" y="16"/>
                      </a:lnTo>
                      <a:lnTo>
                        <a:pt x="9" y="3"/>
                      </a:lnTo>
                      <a:lnTo>
                        <a:pt x="7" y="3"/>
                      </a:lnTo>
                      <a:lnTo>
                        <a:pt x="7" y="5"/>
                      </a:lnTo>
                      <a:lnTo>
                        <a:pt x="7" y="5"/>
                      </a:lnTo>
                      <a:lnTo>
                        <a:pt x="9" y="11"/>
                      </a:lnTo>
                      <a:lnTo>
                        <a:pt x="9" y="12"/>
                      </a:lnTo>
                      <a:lnTo>
                        <a:pt x="10" y="14"/>
                      </a:lnTo>
                      <a:lnTo>
                        <a:pt x="12" y="15"/>
                      </a:lnTo>
                      <a:lnTo>
                        <a:pt x="13" y="18"/>
                      </a:lnTo>
                      <a:lnTo>
                        <a:pt x="12" y="18"/>
                      </a:lnTo>
                      <a:lnTo>
                        <a:pt x="10" y="18"/>
                      </a:lnTo>
                      <a:lnTo>
                        <a:pt x="10" y="19"/>
                      </a:lnTo>
                      <a:lnTo>
                        <a:pt x="12" y="21"/>
                      </a:lnTo>
                      <a:lnTo>
                        <a:pt x="12" y="22"/>
                      </a:lnTo>
                      <a:lnTo>
                        <a:pt x="12" y="22"/>
                      </a:lnTo>
                      <a:lnTo>
                        <a:pt x="9" y="21"/>
                      </a:lnTo>
                      <a:lnTo>
                        <a:pt x="9" y="25"/>
                      </a:lnTo>
                      <a:lnTo>
                        <a:pt x="9" y="27"/>
                      </a:lnTo>
                      <a:lnTo>
                        <a:pt x="7" y="24"/>
                      </a:lnTo>
                      <a:lnTo>
                        <a:pt x="6" y="29"/>
                      </a:lnTo>
                      <a:lnTo>
                        <a:pt x="5" y="29"/>
                      </a:lnTo>
                      <a:lnTo>
                        <a:pt x="3" y="29"/>
                      </a:lnTo>
                      <a:lnTo>
                        <a:pt x="3" y="28"/>
                      </a:lnTo>
                      <a:lnTo>
                        <a:pt x="3" y="22"/>
                      </a:lnTo>
                      <a:lnTo>
                        <a:pt x="5" y="22"/>
                      </a:lnTo>
                      <a:lnTo>
                        <a:pt x="6" y="22"/>
                      </a:lnTo>
                      <a:lnTo>
                        <a:pt x="6" y="21"/>
                      </a:lnTo>
                      <a:lnTo>
                        <a:pt x="5" y="19"/>
                      </a:lnTo>
                      <a:lnTo>
                        <a:pt x="5" y="18"/>
                      </a:lnTo>
                      <a:lnTo>
                        <a:pt x="6" y="18"/>
                      </a:lnTo>
                      <a:lnTo>
                        <a:pt x="6" y="16"/>
                      </a:lnTo>
                      <a:lnTo>
                        <a:pt x="6" y="16"/>
                      </a:lnTo>
                      <a:lnTo>
                        <a:pt x="5" y="18"/>
                      </a:lnTo>
                      <a:lnTo>
                        <a:pt x="3" y="15"/>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62" name="Freeform 1502"/>
                <p:cNvSpPr>
                  <a:spLocks/>
                </p:cNvSpPr>
                <p:nvPr/>
              </p:nvSpPr>
              <p:spPr bwMode="auto">
                <a:xfrm>
                  <a:off x="1757878" y="2930656"/>
                  <a:ext cx="14485" cy="32187"/>
                </a:xfrm>
                <a:custGeom>
                  <a:avLst/>
                  <a:gdLst/>
                  <a:ahLst/>
                  <a:cxnLst>
                    <a:cxn ang="0">
                      <a:pos x="3" y="7"/>
                    </a:cxn>
                    <a:cxn ang="0">
                      <a:pos x="3" y="6"/>
                    </a:cxn>
                    <a:cxn ang="0">
                      <a:pos x="1" y="6"/>
                    </a:cxn>
                    <a:cxn ang="0">
                      <a:pos x="1" y="4"/>
                    </a:cxn>
                    <a:cxn ang="0">
                      <a:pos x="0" y="4"/>
                    </a:cxn>
                    <a:cxn ang="0">
                      <a:pos x="0" y="3"/>
                    </a:cxn>
                    <a:cxn ang="0">
                      <a:pos x="0" y="1"/>
                    </a:cxn>
                    <a:cxn ang="0">
                      <a:pos x="1" y="1"/>
                    </a:cxn>
                    <a:cxn ang="0">
                      <a:pos x="3" y="0"/>
                    </a:cxn>
                    <a:cxn ang="0">
                      <a:pos x="6" y="3"/>
                    </a:cxn>
                    <a:cxn ang="0">
                      <a:pos x="7" y="3"/>
                    </a:cxn>
                    <a:cxn ang="0">
                      <a:pos x="9" y="7"/>
                    </a:cxn>
                    <a:cxn ang="0">
                      <a:pos x="6" y="7"/>
                    </a:cxn>
                    <a:cxn ang="0">
                      <a:pos x="6" y="20"/>
                    </a:cxn>
                    <a:cxn ang="0">
                      <a:pos x="6" y="17"/>
                    </a:cxn>
                    <a:cxn ang="0">
                      <a:pos x="4" y="16"/>
                    </a:cxn>
                    <a:cxn ang="0">
                      <a:pos x="4" y="19"/>
                    </a:cxn>
                    <a:cxn ang="0">
                      <a:pos x="3" y="16"/>
                    </a:cxn>
                    <a:cxn ang="0">
                      <a:pos x="1" y="11"/>
                    </a:cxn>
                    <a:cxn ang="0">
                      <a:pos x="4" y="11"/>
                    </a:cxn>
                    <a:cxn ang="0">
                      <a:pos x="4" y="10"/>
                    </a:cxn>
                    <a:cxn ang="0">
                      <a:pos x="4" y="9"/>
                    </a:cxn>
                    <a:cxn ang="0">
                      <a:pos x="4" y="10"/>
                    </a:cxn>
                    <a:cxn ang="0">
                      <a:pos x="3" y="9"/>
                    </a:cxn>
                    <a:cxn ang="0">
                      <a:pos x="1" y="7"/>
                    </a:cxn>
                    <a:cxn ang="0">
                      <a:pos x="3" y="7"/>
                    </a:cxn>
                  </a:cxnLst>
                  <a:rect l="0" t="0" r="r" b="b"/>
                  <a:pathLst>
                    <a:path w="9" h="20">
                      <a:moveTo>
                        <a:pt x="3" y="7"/>
                      </a:moveTo>
                      <a:lnTo>
                        <a:pt x="3" y="6"/>
                      </a:lnTo>
                      <a:lnTo>
                        <a:pt x="1" y="6"/>
                      </a:lnTo>
                      <a:lnTo>
                        <a:pt x="1" y="4"/>
                      </a:lnTo>
                      <a:lnTo>
                        <a:pt x="0" y="4"/>
                      </a:lnTo>
                      <a:lnTo>
                        <a:pt x="0" y="3"/>
                      </a:lnTo>
                      <a:lnTo>
                        <a:pt x="0" y="1"/>
                      </a:lnTo>
                      <a:lnTo>
                        <a:pt x="1" y="1"/>
                      </a:lnTo>
                      <a:lnTo>
                        <a:pt x="3" y="0"/>
                      </a:lnTo>
                      <a:lnTo>
                        <a:pt x="6" y="3"/>
                      </a:lnTo>
                      <a:lnTo>
                        <a:pt x="7" y="3"/>
                      </a:lnTo>
                      <a:lnTo>
                        <a:pt x="9" y="7"/>
                      </a:lnTo>
                      <a:lnTo>
                        <a:pt x="6" y="7"/>
                      </a:lnTo>
                      <a:lnTo>
                        <a:pt x="6" y="20"/>
                      </a:lnTo>
                      <a:lnTo>
                        <a:pt x="6" y="17"/>
                      </a:lnTo>
                      <a:lnTo>
                        <a:pt x="4" y="16"/>
                      </a:lnTo>
                      <a:lnTo>
                        <a:pt x="4" y="19"/>
                      </a:lnTo>
                      <a:lnTo>
                        <a:pt x="3" y="16"/>
                      </a:lnTo>
                      <a:lnTo>
                        <a:pt x="1" y="11"/>
                      </a:lnTo>
                      <a:lnTo>
                        <a:pt x="4" y="11"/>
                      </a:lnTo>
                      <a:lnTo>
                        <a:pt x="4" y="10"/>
                      </a:lnTo>
                      <a:lnTo>
                        <a:pt x="4" y="9"/>
                      </a:lnTo>
                      <a:lnTo>
                        <a:pt x="4" y="10"/>
                      </a:lnTo>
                      <a:lnTo>
                        <a:pt x="3" y="9"/>
                      </a:lnTo>
                      <a:lnTo>
                        <a:pt x="1" y="7"/>
                      </a:lnTo>
                      <a:lnTo>
                        <a:pt x="3" y="7"/>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63" name="Freeform 1503"/>
                <p:cNvSpPr>
                  <a:spLocks/>
                </p:cNvSpPr>
                <p:nvPr/>
              </p:nvSpPr>
              <p:spPr bwMode="auto">
                <a:xfrm>
                  <a:off x="1757878" y="2930656"/>
                  <a:ext cx="14485" cy="32187"/>
                </a:xfrm>
                <a:custGeom>
                  <a:avLst/>
                  <a:gdLst/>
                  <a:ahLst/>
                  <a:cxnLst>
                    <a:cxn ang="0">
                      <a:pos x="3" y="7"/>
                    </a:cxn>
                    <a:cxn ang="0">
                      <a:pos x="3" y="6"/>
                    </a:cxn>
                    <a:cxn ang="0">
                      <a:pos x="1" y="6"/>
                    </a:cxn>
                    <a:cxn ang="0">
                      <a:pos x="1" y="4"/>
                    </a:cxn>
                    <a:cxn ang="0">
                      <a:pos x="0" y="4"/>
                    </a:cxn>
                    <a:cxn ang="0">
                      <a:pos x="0" y="3"/>
                    </a:cxn>
                    <a:cxn ang="0">
                      <a:pos x="0" y="1"/>
                    </a:cxn>
                    <a:cxn ang="0">
                      <a:pos x="1" y="1"/>
                    </a:cxn>
                    <a:cxn ang="0">
                      <a:pos x="3" y="0"/>
                    </a:cxn>
                    <a:cxn ang="0">
                      <a:pos x="6" y="3"/>
                    </a:cxn>
                    <a:cxn ang="0">
                      <a:pos x="7" y="3"/>
                    </a:cxn>
                    <a:cxn ang="0">
                      <a:pos x="9" y="7"/>
                    </a:cxn>
                    <a:cxn ang="0">
                      <a:pos x="6" y="7"/>
                    </a:cxn>
                    <a:cxn ang="0">
                      <a:pos x="6" y="20"/>
                    </a:cxn>
                    <a:cxn ang="0">
                      <a:pos x="6" y="17"/>
                    </a:cxn>
                    <a:cxn ang="0">
                      <a:pos x="4" y="16"/>
                    </a:cxn>
                    <a:cxn ang="0">
                      <a:pos x="4" y="19"/>
                    </a:cxn>
                    <a:cxn ang="0">
                      <a:pos x="3" y="16"/>
                    </a:cxn>
                    <a:cxn ang="0">
                      <a:pos x="1" y="11"/>
                    </a:cxn>
                    <a:cxn ang="0">
                      <a:pos x="4" y="11"/>
                    </a:cxn>
                    <a:cxn ang="0">
                      <a:pos x="4" y="10"/>
                    </a:cxn>
                    <a:cxn ang="0">
                      <a:pos x="4" y="9"/>
                    </a:cxn>
                    <a:cxn ang="0">
                      <a:pos x="4" y="10"/>
                    </a:cxn>
                    <a:cxn ang="0">
                      <a:pos x="3" y="9"/>
                    </a:cxn>
                    <a:cxn ang="0">
                      <a:pos x="1" y="7"/>
                    </a:cxn>
                    <a:cxn ang="0">
                      <a:pos x="3" y="7"/>
                    </a:cxn>
                  </a:cxnLst>
                  <a:rect l="0" t="0" r="r" b="b"/>
                  <a:pathLst>
                    <a:path w="9" h="20">
                      <a:moveTo>
                        <a:pt x="3" y="7"/>
                      </a:moveTo>
                      <a:lnTo>
                        <a:pt x="3" y="6"/>
                      </a:lnTo>
                      <a:lnTo>
                        <a:pt x="1" y="6"/>
                      </a:lnTo>
                      <a:lnTo>
                        <a:pt x="1" y="4"/>
                      </a:lnTo>
                      <a:lnTo>
                        <a:pt x="0" y="4"/>
                      </a:lnTo>
                      <a:lnTo>
                        <a:pt x="0" y="3"/>
                      </a:lnTo>
                      <a:lnTo>
                        <a:pt x="0" y="1"/>
                      </a:lnTo>
                      <a:lnTo>
                        <a:pt x="1" y="1"/>
                      </a:lnTo>
                      <a:lnTo>
                        <a:pt x="3" y="0"/>
                      </a:lnTo>
                      <a:lnTo>
                        <a:pt x="6" y="3"/>
                      </a:lnTo>
                      <a:lnTo>
                        <a:pt x="7" y="3"/>
                      </a:lnTo>
                      <a:lnTo>
                        <a:pt x="9" y="7"/>
                      </a:lnTo>
                      <a:lnTo>
                        <a:pt x="6" y="7"/>
                      </a:lnTo>
                      <a:lnTo>
                        <a:pt x="6" y="20"/>
                      </a:lnTo>
                      <a:lnTo>
                        <a:pt x="6" y="17"/>
                      </a:lnTo>
                      <a:lnTo>
                        <a:pt x="4" y="16"/>
                      </a:lnTo>
                      <a:lnTo>
                        <a:pt x="4" y="19"/>
                      </a:lnTo>
                      <a:lnTo>
                        <a:pt x="3" y="16"/>
                      </a:lnTo>
                      <a:lnTo>
                        <a:pt x="1" y="11"/>
                      </a:lnTo>
                      <a:lnTo>
                        <a:pt x="4" y="11"/>
                      </a:lnTo>
                      <a:lnTo>
                        <a:pt x="4" y="10"/>
                      </a:lnTo>
                      <a:lnTo>
                        <a:pt x="4" y="9"/>
                      </a:lnTo>
                      <a:lnTo>
                        <a:pt x="4" y="10"/>
                      </a:lnTo>
                      <a:lnTo>
                        <a:pt x="3" y="9"/>
                      </a:lnTo>
                      <a:lnTo>
                        <a:pt x="1" y="7"/>
                      </a:lnTo>
                      <a:lnTo>
                        <a:pt x="3" y="7"/>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64" name="Freeform 1504"/>
                <p:cNvSpPr>
                  <a:spLocks/>
                </p:cNvSpPr>
                <p:nvPr/>
              </p:nvSpPr>
              <p:spPr bwMode="auto">
                <a:xfrm>
                  <a:off x="1767534" y="2921001"/>
                  <a:ext cx="22530" cy="27358"/>
                </a:xfrm>
                <a:custGeom>
                  <a:avLst/>
                  <a:gdLst/>
                  <a:ahLst/>
                  <a:cxnLst>
                    <a:cxn ang="0">
                      <a:pos x="3" y="6"/>
                    </a:cxn>
                    <a:cxn ang="0">
                      <a:pos x="3" y="4"/>
                    </a:cxn>
                    <a:cxn ang="0">
                      <a:pos x="1" y="3"/>
                    </a:cxn>
                    <a:cxn ang="0">
                      <a:pos x="0" y="1"/>
                    </a:cxn>
                    <a:cxn ang="0">
                      <a:pos x="0" y="1"/>
                    </a:cxn>
                    <a:cxn ang="0">
                      <a:pos x="1" y="0"/>
                    </a:cxn>
                    <a:cxn ang="0">
                      <a:pos x="7" y="3"/>
                    </a:cxn>
                    <a:cxn ang="0">
                      <a:pos x="10" y="3"/>
                    </a:cxn>
                    <a:cxn ang="0">
                      <a:pos x="11" y="3"/>
                    </a:cxn>
                    <a:cxn ang="0">
                      <a:pos x="13" y="6"/>
                    </a:cxn>
                    <a:cxn ang="0">
                      <a:pos x="13" y="6"/>
                    </a:cxn>
                    <a:cxn ang="0">
                      <a:pos x="13" y="12"/>
                    </a:cxn>
                    <a:cxn ang="0">
                      <a:pos x="13" y="13"/>
                    </a:cxn>
                    <a:cxn ang="0">
                      <a:pos x="10" y="7"/>
                    </a:cxn>
                    <a:cxn ang="0">
                      <a:pos x="9" y="7"/>
                    </a:cxn>
                    <a:cxn ang="0">
                      <a:pos x="9" y="10"/>
                    </a:cxn>
                    <a:cxn ang="0">
                      <a:pos x="11" y="13"/>
                    </a:cxn>
                    <a:cxn ang="0">
                      <a:pos x="11" y="17"/>
                    </a:cxn>
                    <a:cxn ang="0">
                      <a:pos x="10" y="17"/>
                    </a:cxn>
                    <a:cxn ang="0">
                      <a:pos x="9" y="16"/>
                    </a:cxn>
                    <a:cxn ang="0">
                      <a:pos x="7" y="17"/>
                    </a:cxn>
                    <a:cxn ang="0">
                      <a:pos x="6" y="17"/>
                    </a:cxn>
                    <a:cxn ang="0">
                      <a:pos x="4" y="7"/>
                    </a:cxn>
                    <a:cxn ang="0">
                      <a:pos x="4" y="7"/>
                    </a:cxn>
                    <a:cxn ang="0">
                      <a:pos x="4" y="7"/>
                    </a:cxn>
                    <a:cxn ang="0">
                      <a:pos x="3" y="7"/>
                    </a:cxn>
                    <a:cxn ang="0">
                      <a:pos x="1" y="6"/>
                    </a:cxn>
                    <a:cxn ang="0">
                      <a:pos x="1" y="6"/>
                    </a:cxn>
                    <a:cxn ang="0">
                      <a:pos x="3" y="6"/>
                    </a:cxn>
                  </a:cxnLst>
                  <a:rect l="0" t="0" r="r" b="b"/>
                  <a:pathLst>
                    <a:path w="13" h="17">
                      <a:moveTo>
                        <a:pt x="3" y="6"/>
                      </a:moveTo>
                      <a:lnTo>
                        <a:pt x="3" y="4"/>
                      </a:lnTo>
                      <a:lnTo>
                        <a:pt x="1" y="3"/>
                      </a:lnTo>
                      <a:lnTo>
                        <a:pt x="0" y="1"/>
                      </a:lnTo>
                      <a:lnTo>
                        <a:pt x="0" y="1"/>
                      </a:lnTo>
                      <a:lnTo>
                        <a:pt x="1" y="0"/>
                      </a:lnTo>
                      <a:lnTo>
                        <a:pt x="7" y="3"/>
                      </a:lnTo>
                      <a:lnTo>
                        <a:pt x="10" y="3"/>
                      </a:lnTo>
                      <a:lnTo>
                        <a:pt x="11" y="3"/>
                      </a:lnTo>
                      <a:lnTo>
                        <a:pt x="13" y="6"/>
                      </a:lnTo>
                      <a:lnTo>
                        <a:pt x="13" y="6"/>
                      </a:lnTo>
                      <a:lnTo>
                        <a:pt x="13" y="12"/>
                      </a:lnTo>
                      <a:lnTo>
                        <a:pt x="13" y="13"/>
                      </a:lnTo>
                      <a:lnTo>
                        <a:pt x="10" y="7"/>
                      </a:lnTo>
                      <a:lnTo>
                        <a:pt x="9" y="7"/>
                      </a:lnTo>
                      <a:lnTo>
                        <a:pt x="9" y="10"/>
                      </a:lnTo>
                      <a:lnTo>
                        <a:pt x="11" y="13"/>
                      </a:lnTo>
                      <a:lnTo>
                        <a:pt x="11" y="17"/>
                      </a:lnTo>
                      <a:lnTo>
                        <a:pt x="10" y="17"/>
                      </a:lnTo>
                      <a:lnTo>
                        <a:pt x="9" y="16"/>
                      </a:lnTo>
                      <a:lnTo>
                        <a:pt x="7" y="17"/>
                      </a:lnTo>
                      <a:lnTo>
                        <a:pt x="6" y="17"/>
                      </a:lnTo>
                      <a:lnTo>
                        <a:pt x="4" y="7"/>
                      </a:lnTo>
                      <a:lnTo>
                        <a:pt x="4" y="7"/>
                      </a:lnTo>
                      <a:lnTo>
                        <a:pt x="4" y="7"/>
                      </a:lnTo>
                      <a:lnTo>
                        <a:pt x="3" y="7"/>
                      </a:lnTo>
                      <a:lnTo>
                        <a:pt x="1" y="6"/>
                      </a:lnTo>
                      <a:lnTo>
                        <a:pt x="1" y="6"/>
                      </a:lnTo>
                      <a:lnTo>
                        <a:pt x="3" y="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65" name="Freeform 1505"/>
                <p:cNvSpPr>
                  <a:spLocks/>
                </p:cNvSpPr>
                <p:nvPr/>
              </p:nvSpPr>
              <p:spPr bwMode="auto">
                <a:xfrm>
                  <a:off x="1767534" y="2921001"/>
                  <a:ext cx="22530" cy="27358"/>
                </a:xfrm>
                <a:custGeom>
                  <a:avLst/>
                  <a:gdLst/>
                  <a:ahLst/>
                  <a:cxnLst>
                    <a:cxn ang="0">
                      <a:pos x="3" y="6"/>
                    </a:cxn>
                    <a:cxn ang="0">
                      <a:pos x="3" y="4"/>
                    </a:cxn>
                    <a:cxn ang="0">
                      <a:pos x="1" y="3"/>
                    </a:cxn>
                    <a:cxn ang="0">
                      <a:pos x="0" y="1"/>
                    </a:cxn>
                    <a:cxn ang="0">
                      <a:pos x="0" y="1"/>
                    </a:cxn>
                    <a:cxn ang="0">
                      <a:pos x="1" y="0"/>
                    </a:cxn>
                    <a:cxn ang="0">
                      <a:pos x="7" y="3"/>
                    </a:cxn>
                    <a:cxn ang="0">
                      <a:pos x="10" y="3"/>
                    </a:cxn>
                    <a:cxn ang="0">
                      <a:pos x="11" y="3"/>
                    </a:cxn>
                    <a:cxn ang="0">
                      <a:pos x="13" y="6"/>
                    </a:cxn>
                    <a:cxn ang="0">
                      <a:pos x="13" y="6"/>
                    </a:cxn>
                    <a:cxn ang="0">
                      <a:pos x="13" y="12"/>
                    </a:cxn>
                    <a:cxn ang="0">
                      <a:pos x="13" y="13"/>
                    </a:cxn>
                    <a:cxn ang="0">
                      <a:pos x="10" y="7"/>
                    </a:cxn>
                    <a:cxn ang="0">
                      <a:pos x="9" y="7"/>
                    </a:cxn>
                    <a:cxn ang="0">
                      <a:pos x="9" y="10"/>
                    </a:cxn>
                    <a:cxn ang="0">
                      <a:pos x="11" y="13"/>
                    </a:cxn>
                    <a:cxn ang="0">
                      <a:pos x="11" y="17"/>
                    </a:cxn>
                    <a:cxn ang="0">
                      <a:pos x="10" y="17"/>
                    </a:cxn>
                    <a:cxn ang="0">
                      <a:pos x="9" y="16"/>
                    </a:cxn>
                    <a:cxn ang="0">
                      <a:pos x="7" y="17"/>
                    </a:cxn>
                    <a:cxn ang="0">
                      <a:pos x="6" y="17"/>
                    </a:cxn>
                    <a:cxn ang="0">
                      <a:pos x="4" y="7"/>
                    </a:cxn>
                    <a:cxn ang="0">
                      <a:pos x="4" y="7"/>
                    </a:cxn>
                    <a:cxn ang="0">
                      <a:pos x="4" y="7"/>
                    </a:cxn>
                    <a:cxn ang="0">
                      <a:pos x="3" y="7"/>
                    </a:cxn>
                    <a:cxn ang="0">
                      <a:pos x="1" y="6"/>
                    </a:cxn>
                    <a:cxn ang="0">
                      <a:pos x="1" y="6"/>
                    </a:cxn>
                    <a:cxn ang="0">
                      <a:pos x="3" y="6"/>
                    </a:cxn>
                  </a:cxnLst>
                  <a:rect l="0" t="0" r="r" b="b"/>
                  <a:pathLst>
                    <a:path w="13" h="17">
                      <a:moveTo>
                        <a:pt x="3" y="6"/>
                      </a:moveTo>
                      <a:lnTo>
                        <a:pt x="3" y="4"/>
                      </a:lnTo>
                      <a:lnTo>
                        <a:pt x="1" y="3"/>
                      </a:lnTo>
                      <a:lnTo>
                        <a:pt x="0" y="1"/>
                      </a:lnTo>
                      <a:lnTo>
                        <a:pt x="0" y="1"/>
                      </a:lnTo>
                      <a:lnTo>
                        <a:pt x="1" y="0"/>
                      </a:lnTo>
                      <a:lnTo>
                        <a:pt x="7" y="3"/>
                      </a:lnTo>
                      <a:lnTo>
                        <a:pt x="10" y="3"/>
                      </a:lnTo>
                      <a:lnTo>
                        <a:pt x="11" y="3"/>
                      </a:lnTo>
                      <a:lnTo>
                        <a:pt x="13" y="6"/>
                      </a:lnTo>
                      <a:lnTo>
                        <a:pt x="13" y="6"/>
                      </a:lnTo>
                      <a:lnTo>
                        <a:pt x="13" y="12"/>
                      </a:lnTo>
                      <a:lnTo>
                        <a:pt x="13" y="13"/>
                      </a:lnTo>
                      <a:lnTo>
                        <a:pt x="10" y="7"/>
                      </a:lnTo>
                      <a:lnTo>
                        <a:pt x="9" y="7"/>
                      </a:lnTo>
                      <a:lnTo>
                        <a:pt x="9" y="10"/>
                      </a:lnTo>
                      <a:lnTo>
                        <a:pt x="11" y="13"/>
                      </a:lnTo>
                      <a:lnTo>
                        <a:pt x="11" y="17"/>
                      </a:lnTo>
                      <a:lnTo>
                        <a:pt x="10" y="17"/>
                      </a:lnTo>
                      <a:lnTo>
                        <a:pt x="9" y="16"/>
                      </a:lnTo>
                      <a:lnTo>
                        <a:pt x="7" y="17"/>
                      </a:lnTo>
                      <a:lnTo>
                        <a:pt x="6" y="17"/>
                      </a:lnTo>
                      <a:lnTo>
                        <a:pt x="4" y="7"/>
                      </a:lnTo>
                      <a:lnTo>
                        <a:pt x="4" y="7"/>
                      </a:lnTo>
                      <a:lnTo>
                        <a:pt x="4" y="7"/>
                      </a:lnTo>
                      <a:lnTo>
                        <a:pt x="3" y="7"/>
                      </a:lnTo>
                      <a:lnTo>
                        <a:pt x="1" y="6"/>
                      </a:lnTo>
                      <a:lnTo>
                        <a:pt x="1" y="6"/>
                      </a:lnTo>
                      <a:lnTo>
                        <a:pt x="3" y="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66" name="Freeform 1506"/>
                <p:cNvSpPr>
                  <a:spLocks/>
                </p:cNvSpPr>
                <p:nvPr/>
              </p:nvSpPr>
              <p:spPr bwMode="auto">
                <a:xfrm>
                  <a:off x="1794893" y="2935484"/>
                  <a:ext cx="4828" cy="11266"/>
                </a:xfrm>
                <a:custGeom>
                  <a:avLst/>
                  <a:gdLst/>
                  <a:ahLst/>
                  <a:cxnLst>
                    <a:cxn ang="0">
                      <a:pos x="0" y="0"/>
                    </a:cxn>
                    <a:cxn ang="0">
                      <a:pos x="0" y="0"/>
                    </a:cxn>
                    <a:cxn ang="0">
                      <a:pos x="3" y="6"/>
                    </a:cxn>
                    <a:cxn ang="0">
                      <a:pos x="3" y="6"/>
                    </a:cxn>
                    <a:cxn ang="0">
                      <a:pos x="3" y="6"/>
                    </a:cxn>
                    <a:cxn ang="0">
                      <a:pos x="1" y="6"/>
                    </a:cxn>
                    <a:cxn ang="0">
                      <a:pos x="1" y="7"/>
                    </a:cxn>
                    <a:cxn ang="0">
                      <a:pos x="0" y="7"/>
                    </a:cxn>
                    <a:cxn ang="0">
                      <a:pos x="0" y="6"/>
                    </a:cxn>
                    <a:cxn ang="0">
                      <a:pos x="0" y="0"/>
                    </a:cxn>
                    <a:cxn ang="0">
                      <a:pos x="0" y="0"/>
                    </a:cxn>
                  </a:cxnLst>
                  <a:rect l="0" t="0" r="r" b="b"/>
                  <a:pathLst>
                    <a:path w="3" h="7">
                      <a:moveTo>
                        <a:pt x="0" y="0"/>
                      </a:moveTo>
                      <a:lnTo>
                        <a:pt x="0" y="0"/>
                      </a:lnTo>
                      <a:lnTo>
                        <a:pt x="3" y="6"/>
                      </a:lnTo>
                      <a:lnTo>
                        <a:pt x="3" y="6"/>
                      </a:lnTo>
                      <a:lnTo>
                        <a:pt x="3" y="6"/>
                      </a:lnTo>
                      <a:lnTo>
                        <a:pt x="1" y="6"/>
                      </a:lnTo>
                      <a:lnTo>
                        <a:pt x="1" y="7"/>
                      </a:lnTo>
                      <a:lnTo>
                        <a:pt x="0" y="7"/>
                      </a:lnTo>
                      <a:lnTo>
                        <a:pt x="0" y="6"/>
                      </a:lnTo>
                      <a:lnTo>
                        <a:pt x="0" y="0"/>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67" name="Freeform 1507"/>
                <p:cNvSpPr>
                  <a:spLocks/>
                </p:cNvSpPr>
                <p:nvPr/>
              </p:nvSpPr>
              <p:spPr bwMode="auto">
                <a:xfrm>
                  <a:off x="1794893" y="2935484"/>
                  <a:ext cx="4828" cy="11266"/>
                </a:xfrm>
                <a:custGeom>
                  <a:avLst/>
                  <a:gdLst/>
                  <a:ahLst/>
                  <a:cxnLst>
                    <a:cxn ang="0">
                      <a:pos x="0" y="0"/>
                    </a:cxn>
                    <a:cxn ang="0">
                      <a:pos x="0" y="0"/>
                    </a:cxn>
                    <a:cxn ang="0">
                      <a:pos x="3" y="6"/>
                    </a:cxn>
                    <a:cxn ang="0">
                      <a:pos x="3" y="6"/>
                    </a:cxn>
                    <a:cxn ang="0">
                      <a:pos x="3" y="6"/>
                    </a:cxn>
                    <a:cxn ang="0">
                      <a:pos x="1" y="6"/>
                    </a:cxn>
                    <a:cxn ang="0">
                      <a:pos x="1" y="7"/>
                    </a:cxn>
                    <a:cxn ang="0">
                      <a:pos x="0" y="7"/>
                    </a:cxn>
                    <a:cxn ang="0">
                      <a:pos x="0" y="6"/>
                    </a:cxn>
                    <a:cxn ang="0">
                      <a:pos x="0" y="0"/>
                    </a:cxn>
                    <a:cxn ang="0">
                      <a:pos x="0" y="0"/>
                    </a:cxn>
                  </a:cxnLst>
                  <a:rect l="0" t="0" r="r" b="b"/>
                  <a:pathLst>
                    <a:path w="3" h="7">
                      <a:moveTo>
                        <a:pt x="0" y="0"/>
                      </a:moveTo>
                      <a:lnTo>
                        <a:pt x="0" y="0"/>
                      </a:lnTo>
                      <a:lnTo>
                        <a:pt x="3" y="6"/>
                      </a:lnTo>
                      <a:lnTo>
                        <a:pt x="3" y="6"/>
                      </a:lnTo>
                      <a:lnTo>
                        <a:pt x="3" y="6"/>
                      </a:lnTo>
                      <a:lnTo>
                        <a:pt x="1" y="6"/>
                      </a:lnTo>
                      <a:lnTo>
                        <a:pt x="1" y="7"/>
                      </a:lnTo>
                      <a:lnTo>
                        <a:pt x="0" y="7"/>
                      </a:lnTo>
                      <a:lnTo>
                        <a:pt x="0" y="6"/>
                      </a:lnTo>
                      <a:lnTo>
                        <a:pt x="0" y="0"/>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68" name="Freeform 1508"/>
                <p:cNvSpPr>
                  <a:spLocks/>
                </p:cNvSpPr>
                <p:nvPr/>
              </p:nvSpPr>
              <p:spPr bwMode="auto">
                <a:xfrm>
                  <a:off x="1790064" y="2948359"/>
                  <a:ext cx="9656" cy="8047"/>
                </a:xfrm>
                <a:custGeom>
                  <a:avLst/>
                  <a:gdLst/>
                  <a:ahLst/>
                  <a:cxnLst>
                    <a:cxn ang="0">
                      <a:pos x="4" y="2"/>
                    </a:cxn>
                    <a:cxn ang="0">
                      <a:pos x="6" y="2"/>
                    </a:cxn>
                    <a:cxn ang="0">
                      <a:pos x="6" y="5"/>
                    </a:cxn>
                    <a:cxn ang="0">
                      <a:pos x="4" y="5"/>
                    </a:cxn>
                    <a:cxn ang="0">
                      <a:pos x="3" y="5"/>
                    </a:cxn>
                    <a:cxn ang="0">
                      <a:pos x="1" y="3"/>
                    </a:cxn>
                    <a:cxn ang="0">
                      <a:pos x="0" y="2"/>
                    </a:cxn>
                    <a:cxn ang="0">
                      <a:pos x="1" y="0"/>
                    </a:cxn>
                    <a:cxn ang="0">
                      <a:pos x="3" y="0"/>
                    </a:cxn>
                    <a:cxn ang="0">
                      <a:pos x="4" y="0"/>
                    </a:cxn>
                    <a:cxn ang="0">
                      <a:pos x="4" y="2"/>
                    </a:cxn>
                  </a:cxnLst>
                  <a:rect l="0" t="0" r="r" b="b"/>
                  <a:pathLst>
                    <a:path w="6" h="5">
                      <a:moveTo>
                        <a:pt x="4" y="2"/>
                      </a:moveTo>
                      <a:lnTo>
                        <a:pt x="6" y="2"/>
                      </a:lnTo>
                      <a:lnTo>
                        <a:pt x="6" y="5"/>
                      </a:lnTo>
                      <a:lnTo>
                        <a:pt x="4" y="5"/>
                      </a:lnTo>
                      <a:lnTo>
                        <a:pt x="3" y="5"/>
                      </a:lnTo>
                      <a:lnTo>
                        <a:pt x="1" y="3"/>
                      </a:lnTo>
                      <a:lnTo>
                        <a:pt x="0" y="2"/>
                      </a:lnTo>
                      <a:lnTo>
                        <a:pt x="1" y="0"/>
                      </a:lnTo>
                      <a:lnTo>
                        <a:pt x="3" y="0"/>
                      </a:lnTo>
                      <a:lnTo>
                        <a:pt x="4" y="0"/>
                      </a:lnTo>
                      <a:lnTo>
                        <a:pt x="4"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69" name="Freeform 1509"/>
                <p:cNvSpPr>
                  <a:spLocks/>
                </p:cNvSpPr>
                <p:nvPr/>
              </p:nvSpPr>
              <p:spPr bwMode="auto">
                <a:xfrm>
                  <a:off x="1790064" y="2948359"/>
                  <a:ext cx="9656" cy="8047"/>
                </a:xfrm>
                <a:custGeom>
                  <a:avLst/>
                  <a:gdLst/>
                  <a:ahLst/>
                  <a:cxnLst>
                    <a:cxn ang="0">
                      <a:pos x="4" y="2"/>
                    </a:cxn>
                    <a:cxn ang="0">
                      <a:pos x="6" y="2"/>
                    </a:cxn>
                    <a:cxn ang="0">
                      <a:pos x="6" y="5"/>
                    </a:cxn>
                    <a:cxn ang="0">
                      <a:pos x="4" y="5"/>
                    </a:cxn>
                    <a:cxn ang="0">
                      <a:pos x="3" y="5"/>
                    </a:cxn>
                    <a:cxn ang="0">
                      <a:pos x="1" y="3"/>
                    </a:cxn>
                    <a:cxn ang="0">
                      <a:pos x="0" y="2"/>
                    </a:cxn>
                    <a:cxn ang="0">
                      <a:pos x="1" y="0"/>
                    </a:cxn>
                    <a:cxn ang="0">
                      <a:pos x="3" y="0"/>
                    </a:cxn>
                    <a:cxn ang="0">
                      <a:pos x="4" y="0"/>
                    </a:cxn>
                    <a:cxn ang="0">
                      <a:pos x="4" y="2"/>
                    </a:cxn>
                  </a:cxnLst>
                  <a:rect l="0" t="0" r="r" b="b"/>
                  <a:pathLst>
                    <a:path w="6" h="5">
                      <a:moveTo>
                        <a:pt x="4" y="2"/>
                      </a:moveTo>
                      <a:lnTo>
                        <a:pt x="6" y="2"/>
                      </a:lnTo>
                      <a:lnTo>
                        <a:pt x="6" y="5"/>
                      </a:lnTo>
                      <a:lnTo>
                        <a:pt x="4" y="5"/>
                      </a:lnTo>
                      <a:lnTo>
                        <a:pt x="3" y="5"/>
                      </a:lnTo>
                      <a:lnTo>
                        <a:pt x="1" y="3"/>
                      </a:lnTo>
                      <a:lnTo>
                        <a:pt x="0" y="2"/>
                      </a:lnTo>
                      <a:lnTo>
                        <a:pt x="1" y="0"/>
                      </a:lnTo>
                      <a:lnTo>
                        <a:pt x="3" y="0"/>
                      </a:lnTo>
                      <a:lnTo>
                        <a:pt x="4" y="0"/>
                      </a:lnTo>
                      <a:lnTo>
                        <a:pt x="4"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70" name="Freeform 1510"/>
                <p:cNvSpPr>
                  <a:spLocks/>
                </p:cNvSpPr>
                <p:nvPr/>
              </p:nvSpPr>
              <p:spPr bwMode="auto">
                <a:xfrm>
                  <a:off x="1806158" y="2948359"/>
                  <a:ext cx="11266" cy="12874"/>
                </a:xfrm>
                <a:custGeom>
                  <a:avLst/>
                  <a:gdLst/>
                  <a:ahLst/>
                  <a:cxnLst>
                    <a:cxn ang="0">
                      <a:pos x="4" y="3"/>
                    </a:cxn>
                    <a:cxn ang="0">
                      <a:pos x="6" y="6"/>
                    </a:cxn>
                    <a:cxn ang="0">
                      <a:pos x="4" y="6"/>
                    </a:cxn>
                    <a:cxn ang="0">
                      <a:pos x="4" y="8"/>
                    </a:cxn>
                    <a:cxn ang="0">
                      <a:pos x="4" y="8"/>
                    </a:cxn>
                    <a:cxn ang="0">
                      <a:pos x="1" y="5"/>
                    </a:cxn>
                    <a:cxn ang="0">
                      <a:pos x="1" y="3"/>
                    </a:cxn>
                    <a:cxn ang="0">
                      <a:pos x="0" y="0"/>
                    </a:cxn>
                    <a:cxn ang="0">
                      <a:pos x="1" y="2"/>
                    </a:cxn>
                    <a:cxn ang="0">
                      <a:pos x="3" y="3"/>
                    </a:cxn>
                    <a:cxn ang="0">
                      <a:pos x="4" y="3"/>
                    </a:cxn>
                  </a:cxnLst>
                  <a:rect l="0" t="0" r="r" b="b"/>
                  <a:pathLst>
                    <a:path w="6" h="8">
                      <a:moveTo>
                        <a:pt x="4" y="3"/>
                      </a:moveTo>
                      <a:lnTo>
                        <a:pt x="6" y="6"/>
                      </a:lnTo>
                      <a:lnTo>
                        <a:pt x="4" y="6"/>
                      </a:lnTo>
                      <a:lnTo>
                        <a:pt x="4" y="8"/>
                      </a:lnTo>
                      <a:lnTo>
                        <a:pt x="4" y="8"/>
                      </a:lnTo>
                      <a:lnTo>
                        <a:pt x="1" y="5"/>
                      </a:lnTo>
                      <a:lnTo>
                        <a:pt x="1" y="3"/>
                      </a:lnTo>
                      <a:lnTo>
                        <a:pt x="0" y="0"/>
                      </a:lnTo>
                      <a:lnTo>
                        <a:pt x="1" y="2"/>
                      </a:lnTo>
                      <a:lnTo>
                        <a:pt x="3" y="3"/>
                      </a:lnTo>
                      <a:lnTo>
                        <a:pt x="4"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71" name="Freeform 1511"/>
                <p:cNvSpPr>
                  <a:spLocks/>
                </p:cNvSpPr>
                <p:nvPr/>
              </p:nvSpPr>
              <p:spPr bwMode="auto">
                <a:xfrm>
                  <a:off x="1806158" y="2948359"/>
                  <a:ext cx="11266" cy="12874"/>
                </a:xfrm>
                <a:custGeom>
                  <a:avLst/>
                  <a:gdLst/>
                  <a:ahLst/>
                  <a:cxnLst>
                    <a:cxn ang="0">
                      <a:pos x="4" y="3"/>
                    </a:cxn>
                    <a:cxn ang="0">
                      <a:pos x="6" y="6"/>
                    </a:cxn>
                    <a:cxn ang="0">
                      <a:pos x="4" y="6"/>
                    </a:cxn>
                    <a:cxn ang="0">
                      <a:pos x="4" y="8"/>
                    </a:cxn>
                    <a:cxn ang="0">
                      <a:pos x="4" y="8"/>
                    </a:cxn>
                    <a:cxn ang="0">
                      <a:pos x="1" y="5"/>
                    </a:cxn>
                    <a:cxn ang="0">
                      <a:pos x="1" y="3"/>
                    </a:cxn>
                    <a:cxn ang="0">
                      <a:pos x="0" y="0"/>
                    </a:cxn>
                    <a:cxn ang="0">
                      <a:pos x="1" y="2"/>
                    </a:cxn>
                    <a:cxn ang="0">
                      <a:pos x="3" y="3"/>
                    </a:cxn>
                    <a:cxn ang="0">
                      <a:pos x="4" y="3"/>
                    </a:cxn>
                  </a:cxnLst>
                  <a:rect l="0" t="0" r="r" b="b"/>
                  <a:pathLst>
                    <a:path w="6" h="8">
                      <a:moveTo>
                        <a:pt x="4" y="3"/>
                      </a:moveTo>
                      <a:lnTo>
                        <a:pt x="6" y="6"/>
                      </a:lnTo>
                      <a:lnTo>
                        <a:pt x="4" y="6"/>
                      </a:lnTo>
                      <a:lnTo>
                        <a:pt x="4" y="8"/>
                      </a:lnTo>
                      <a:lnTo>
                        <a:pt x="4" y="8"/>
                      </a:lnTo>
                      <a:lnTo>
                        <a:pt x="1" y="5"/>
                      </a:lnTo>
                      <a:lnTo>
                        <a:pt x="1" y="3"/>
                      </a:lnTo>
                      <a:lnTo>
                        <a:pt x="0" y="0"/>
                      </a:lnTo>
                      <a:lnTo>
                        <a:pt x="1" y="2"/>
                      </a:lnTo>
                      <a:lnTo>
                        <a:pt x="3" y="3"/>
                      </a:lnTo>
                      <a:lnTo>
                        <a:pt x="4"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72" name="Freeform 1512"/>
                <p:cNvSpPr>
                  <a:spLocks/>
                </p:cNvSpPr>
                <p:nvPr/>
              </p:nvSpPr>
              <p:spPr bwMode="auto">
                <a:xfrm>
                  <a:off x="1709598" y="2871110"/>
                  <a:ext cx="33796" cy="37015"/>
                </a:xfrm>
                <a:custGeom>
                  <a:avLst/>
                  <a:gdLst/>
                  <a:ahLst/>
                  <a:cxnLst>
                    <a:cxn ang="0">
                      <a:pos x="19" y="5"/>
                    </a:cxn>
                    <a:cxn ang="0">
                      <a:pos x="20" y="5"/>
                    </a:cxn>
                    <a:cxn ang="0">
                      <a:pos x="20" y="5"/>
                    </a:cxn>
                    <a:cxn ang="0">
                      <a:pos x="20" y="10"/>
                    </a:cxn>
                    <a:cxn ang="0">
                      <a:pos x="17" y="8"/>
                    </a:cxn>
                    <a:cxn ang="0">
                      <a:pos x="19" y="10"/>
                    </a:cxn>
                    <a:cxn ang="0">
                      <a:pos x="19" y="13"/>
                    </a:cxn>
                    <a:cxn ang="0">
                      <a:pos x="17" y="13"/>
                    </a:cxn>
                    <a:cxn ang="0">
                      <a:pos x="12" y="10"/>
                    </a:cxn>
                    <a:cxn ang="0">
                      <a:pos x="10" y="11"/>
                    </a:cxn>
                    <a:cxn ang="0">
                      <a:pos x="14" y="13"/>
                    </a:cxn>
                    <a:cxn ang="0">
                      <a:pos x="16" y="14"/>
                    </a:cxn>
                    <a:cxn ang="0">
                      <a:pos x="19" y="14"/>
                    </a:cxn>
                    <a:cxn ang="0">
                      <a:pos x="20" y="14"/>
                    </a:cxn>
                    <a:cxn ang="0">
                      <a:pos x="20" y="20"/>
                    </a:cxn>
                    <a:cxn ang="0">
                      <a:pos x="20" y="20"/>
                    </a:cxn>
                    <a:cxn ang="0">
                      <a:pos x="20" y="21"/>
                    </a:cxn>
                    <a:cxn ang="0">
                      <a:pos x="12" y="16"/>
                    </a:cxn>
                    <a:cxn ang="0">
                      <a:pos x="12" y="14"/>
                    </a:cxn>
                    <a:cxn ang="0">
                      <a:pos x="10" y="13"/>
                    </a:cxn>
                    <a:cxn ang="0">
                      <a:pos x="9" y="16"/>
                    </a:cxn>
                    <a:cxn ang="0">
                      <a:pos x="10" y="18"/>
                    </a:cxn>
                    <a:cxn ang="0">
                      <a:pos x="10" y="23"/>
                    </a:cxn>
                    <a:cxn ang="0">
                      <a:pos x="9" y="23"/>
                    </a:cxn>
                    <a:cxn ang="0">
                      <a:pos x="7" y="23"/>
                    </a:cxn>
                    <a:cxn ang="0">
                      <a:pos x="6" y="21"/>
                    </a:cxn>
                    <a:cxn ang="0">
                      <a:pos x="6" y="20"/>
                    </a:cxn>
                    <a:cxn ang="0">
                      <a:pos x="7" y="20"/>
                    </a:cxn>
                    <a:cxn ang="0">
                      <a:pos x="6" y="18"/>
                    </a:cxn>
                    <a:cxn ang="0">
                      <a:pos x="4" y="17"/>
                    </a:cxn>
                    <a:cxn ang="0">
                      <a:pos x="4" y="16"/>
                    </a:cxn>
                    <a:cxn ang="0">
                      <a:pos x="4" y="14"/>
                    </a:cxn>
                    <a:cxn ang="0">
                      <a:pos x="3" y="14"/>
                    </a:cxn>
                    <a:cxn ang="0">
                      <a:pos x="1" y="13"/>
                    </a:cxn>
                    <a:cxn ang="0">
                      <a:pos x="1" y="10"/>
                    </a:cxn>
                    <a:cxn ang="0">
                      <a:pos x="1" y="8"/>
                    </a:cxn>
                    <a:cxn ang="0">
                      <a:pos x="3" y="10"/>
                    </a:cxn>
                    <a:cxn ang="0">
                      <a:pos x="3" y="8"/>
                    </a:cxn>
                    <a:cxn ang="0">
                      <a:pos x="1" y="4"/>
                    </a:cxn>
                    <a:cxn ang="0">
                      <a:pos x="0" y="2"/>
                    </a:cxn>
                    <a:cxn ang="0">
                      <a:pos x="1" y="1"/>
                    </a:cxn>
                    <a:cxn ang="0">
                      <a:pos x="3" y="4"/>
                    </a:cxn>
                    <a:cxn ang="0">
                      <a:pos x="3" y="4"/>
                    </a:cxn>
                    <a:cxn ang="0">
                      <a:pos x="3" y="1"/>
                    </a:cxn>
                    <a:cxn ang="0">
                      <a:pos x="6" y="1"/>
                    </a:cxn>
                    <a:cxn ang="0">
                      <a:pos x="7" y="0"/>
                    </a:cxn>
                    <a:cxn ang="0">
                      <a:pos x="12" y="1"/>
                    </a:cxn>
                    <a:cxn ang="0">
                      <a:pos x="12" y="4"/>
                    </a:cxn>
                    <a:cxn ang="0">
                      <a:pos x="13" y="4"/>
                    </a:cxn>
                    <a:cxn ang="0">
                      <a:pos x="14" y="4"/>
                    </a:cxn>
                    <a:cxn ang="0">
                      <a:pos x="17" y="4"/>
                    </a:cxn>
                    <a:cxn ang="0">
                      <a:pos x="19" y="5"/>
                    </a:cxn>
                  </a:cxnLst>
                  <a:rect l="0" t="0" r="r" b="b"/>
                  <a:pathLst>
                    <a:path w="20" h="23">
                      <a:moveTo>
                        <a:pt x="19" y="5"/>
                      </a:moveTo>
                      <a:lnTo>
                        <a:pt x="20" y="5"/>
                      </a:lnTo>
                      <a:lnTo>
                        <a:pt x="20" y="5"/>
                      </a:lnTo>
                      <a:lnTo>
                        <a:pt x="20" y="10"/>
                      </a:lnTo>
                      <a:lnTo>
                        <a:pt x="17" y="8"/>
                      </a:lnTo>
                      <a:lnTo>
                        <a:pt x="19" y="10"/>
                      </a:lnTo>
                      <a:lnTo>
                        <a:pt x="19" y="13"/>
                      </a:lnTo>
                      <a:lnTo>
                        <a:pt x="17" y="13"/>
                      </a:lnTo>
                      <a:lnTo>
                        <a:pt x="12" y="10"/>
                      </a:lnTo>
                      <a:lnTo>
                        <a:pt x="10" y="11"/>
                      </a:lnTo>
                      <a:lnTo>
                        <a:pt x="14" y="13"/>
                      </a:lnTo>
                      <a:lnTo>
                        <a:pt x="16" y="14"/>
                      </a:lnTo>
                      <a:lnTo>
                        <a:pt x="19" y="14"/>
                      </a:lnTo>
                      <a:lnTo>
                        <a:pt x="20" y="14"/>
                      </a:lnTo>
                      <a:lnTo>
                        <a:pt x="20" y="20"/>
                      </a:lnTo>
                      <a:lnTo>
                        <a:pt x="20" y="20"/>
                      </a:lnTo>
                      <a:lnTo>
                        <a:pt x="20" y="21"/>
                      </a:lnTo>
                      <a:lnTo>
                        <a:pt x="12" y="16"/>
                      </a:lnTo>
                      <a:lnTo>
                        <a:pt x="12" y="14"/>
                      </a:lnTo>
                      <a:lnTo>
                        <a:pt x="10" y="13"/>
                      </a:lnTo>
                      <a:lnTo>
                        <a:pt x="9" y="16"/>
                      </a:lnTo>
                      <a:lnTo>
                        <a:pt x="10" y="18"/>
                      </a:lnTo>
                      <a:lnTo>
                        <a:pt x="10" y="23"/>
                      </a:lnTo>
                      <a:lnTo>
                        <a:pt x="9" y="23"/>
                      </a:lnTo>
                      <a:lnTo>
                        <a:pt x="7" y="23"/>
                      </a:lnTo>
                      <a:lnTo>
                        <a:pt x="6" y="21"/>
                      </a:lnTo>
                      <a:lnTo>
                        <a:pt x="6" y="20"/>
                      </a:lnTo>
                      <a:lnTo>
                        <a:pt x="7" y="20"/>
                      </a:lnTo>
                      <a:lnTo>
                        <a:pt x="6" y="18"/>
                      </a:lnTo>
                      <a:lnTo>
                        <a:pt x="4" y="17"/>
                      </a:lnTo>
                      <a:lnTo>
                        <a:pt x="4" y="16"/>
                      </a:lnTo>
                      <a:lnTo>
                        <a:pt x="4" y="14"/>
                      </a:lnTo>
                      <a:lnTo>
                        <a:pt x="3" y="14"/>
                      </a:lnTo>
                      <a:lnTo>
                        <a:pt x="1" y="13"/>
                      </a:lnTo>
                      <a:lnTo>
                        <a:pt x="1" y="10"/>
                      </a:lnTo>
                      <a:lnTo>
                        <a:pt x="1" y="8"/>
                      </a:lnTo>
                      <a:lnTo>
                        <a:pt x="3" y="10"/>
                      </a:lnTo>
                      <a:lnTo>
                        <a:pt x="3" y="8"/>
                      </a:lnTo>
                      <a:lnTo>
                        <a:pt x="1" y="4"/>
                      </a:lnTo>
                      <a:lnTo>
                        <a:pt x="0" y="2"/>
                      </a:lnTo>
                      <a:lnTo>
                        <a:pt x="1" y="1"/>
                      </a:lnTo>
                      <a:lnTo>
                        <a:pt x="3" y="4"/>
                      </a:lnTo>
                      <a:lnTo>
                        <a:pt x="3" y="4"/>
                      </a:lnTo>
                      <a:lnTo>
                        <a:pt x="3" y="1"/>
                      </a:lnTo>
                      <a:lnTo>
                        <a:pt x="6" y="1"/>
                      </a:lnTo>
                      <a:lnTo>
                        <a:pt x="7" y="0"/>
                      </a:lnTo>
                      <a:lnTo>
                        <a:pt x="12" y="1"/>
                      </a:lnTo>
                      <a:lnTo>
                        <a:pt x="12" y="4"/>
                      </a:lnTo>
                      <a:lnTo>
                        <a:pt x="13" y="4"/>
                      </a:lnTo>
                      <a:lnTo>
                        <a:pt x="14" y="4"/>
                      </a:lnTo>
                      <a:lnTo>
                        <a:pt x="17" y="4"/>
                      </a:lnTo>
                      <a:lnTo>
                        <a:pt x="19" y="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73" name="Freeform 1513"/>
                <p:cNvSpPr>
                  <a:spLocks/>
                </p:cNvSpPr>
                <p:nvPr/>
              </p:nvSpPr>
              <p:spPr bwMode="auto">
                <a:xfrm>
                  <a:off x="1709598" y="2871110"/>
                  <a:ext cx="33796" cy="37015"/>
                </a:xfrm>
                <a:custGeom>
                  <a:avLst/>
                  <a:gdLst/>
                  <a:ahLst/>
                  <a:cxnLst>
                    <a:cxn ang="0">
                      <a:pos x="19" y="5"/>
                    </a:cxn>
                    <a:cxn ang="0">
                      <a:pos x="20" y="5"/>
                    </a:cxn>
                    <a:cxn ang="0">
                      <a:pos x="20" y="5"/>
                    </a:cxn>
                    <a:cxn ang="0">
                      <a:pos x="20" y="10"/>
                    </a:cxn>
                    <a:cxn ang="0">
                      <a:pos x="17" y="8"/>
                    </a:cxn>
                    <a:cxn ang="0">
                      <a:pos x="19" y="10"/>
                    </a:cxn>
                    <a:cxn ang="0">
                      <a:pos x="19" y="13"/>
                    </a:cxn>
                    <a:cxn ang="0">
                      <a:pos x="17" y="13"/>
                    </a:cxn>
                    <a:cxn ang="0">
                      <a:pos x="12" y="10"/>
                    </a:cxn>
                    <a:cxn ang="0">
                      <a:pos x="10" y="11"/>
                    </a:cxn>
                    <a:cxn ang="0">
                      <a:pos x="14" y="13"/>
                    </a:cxn>
                    <a:cxn ang="0">
                      <a:pos x="16" y="14"/>
                    </a:cxn>
                    <a:cxn ang="0">
                      <a:pos x="19" y="14"/>
                    </a:cxn>
                    <a:cxn ang="0">
                      <a:pos x="20" y="14"/>
                    </a:cxn>
                    <a:cxn ang="0">
                      <a:pos x="20" y="20"/>
                    </a:cxn>
                    <a:cxn ang="0">
                      <a:pos x="20" y="20"/>
                    </a:cxn>
                    <a:cxn ang="0">
                      <a:pos x="20" y="21"/>
                    </a:cxn>
                    <a:cxn ang="0">
                      <a:pos x="12" y="16"/>
                    </a:cxn>
                    <a:cxn ang="0">
                      <a:pos x="12" y="14"/>
                    </a:cxn>
                    <a:cxn ang="0">
                      <a:pos x="10" y="13"/>
                    </a:cxn>
                    <a:cxn ang="0">
                      <a:pos x="9" y="16"/>
                    </a:cxn>
                    <a:cxn ang="0">
                      <a:pos x="10" y="18"/>
                    </a:cxn>
                    <a:cxn ang="0">
                      <a:pos x="10" y="23"/>
                    </a:cxn>
                    <a:cxn ang="0">
                      <a:pos x="9" y="23"/>
                    </a:cxn>
                    <a:cxn ang="0">
                      <a:pos x="7" y="23"/>
                    </a:cxn>
                    <a:cxn ang="0">
                      <a:pos x="6" y="21"/>
                    </a:cxn>
                    <a:cxn ang="0">
                      <a:pos x="6" y="20"/>
                    </a:cxn>
                    <a:cxn ang="0">
                      <a:pos x="7" y="20"/>
                    </a:cxn>
                    <a:cxn ang="0">
                      <a:pos x="6" y="18"/>
                    </a:cxn>
                    <a:cxn ang="0">
                      <a:pos x="4" y="17"/>
                    </a:cxn>
                    <a:cxn ang="0">
                      <a:pos x="4" y="16"/>
                    </a:cxn>
                    <a:cxn ang="0">
                      <a:pos x="4" y="14"/>
                    </a:cxn>
                    <a:cxn ang="0">
                      <a:pos x="3" y="14"/>
                    </a:cxn>
                    <a:cxn ang="0">
                      <a:pos x="1" y="13"/>
                    </a:cxn>
                    <a:cxn ang="0">
                      <a:pos x="1" y="10"/>
                    </a:cxn>
                    <a:cxn ang="0">
                      <a:pos x="1" y="8"/>
                    </a:cxn>
                    <a:cxn ang="0">
                      <a:pos x="3" y="10"/>
                    </a:cxn>
                    <a:cxn ang="0">
                      <a:pos x="3" y="8"/>
                    </a:cxn>
                    <a:cxn ang="0">
                      <a:pos x="1" y="4"/>
                    </a:cxn>
                    <a:cxn ang="0">
                      <a:pos x="0" y="2"/>
                    </a:cxn>
                    <a:cxn ang="0">
                      <a:pos x="1" y="1"/>
                    </a:cxn>
                    <a:cxn ang="0">
                      <a:pos x="3" y="4"/>
                    </a:cxn>
                    <a:cxn ang="0">
                      <a:pos x="3" y="4"/>
                    </a:cxn>
                    <a:cxn ang="0">
                      <a:pos x="3" y="1"/>
                    </a:cxn>
                    <a:cxn ang="0">
                      <a:pos x="6" y="1"/>
                    </a:cxn>
                    <a:cxn ang="0">
                      <a:pos x="7" y="0"/>
                    </a:cxn>
                    <a:cxn ang="0">
                      <a:pos x="12" y="1"/>
                    </a:cxn>
                    <a:cxn ang="0">
                      <a:pos x="12" y="4"/>
                    </a:cxn>
                    <a:cxn ang="0">
                      <a:pos x="13" y="4"/>
                    </a:cxn>
                    <a:cxn ang="0">
                      <a:pos x="14" y="4"/>
                    </a:cxn>
                    <a:cxn ang="0">
                      <a:pos x="17" y="4"/>
                    </a:cxn>
                    <a:cxn ang="0">
                      <a:pos x="19" y="5"/>
                    </a:cxn>
                  </a:cxnLst>
                  <a:rect l="0" t="0" r="r" b="b"/>
                  <a:pathLst>
                    <a:path w="20" h="23">
                      <a:moveTo>
                        <a:pt x="19" y="5"/>
                      </a:moveTo>
                      <a:lnTo>
                        <a:pt x="20" y="5"/>
                      </a:lnTo>
                      <a:lnTo>
                        <a:pt x="20" y="5"/>
                      </a:lnTo>
                      <a:lnTo>
                        <a:pt x="20" y="10"/>
                      </a:lnTo>
                      <a:lnTo>
                        <a:pt x="17" y="8"/>
                      </a:lnTo>
                      <a:lnTo>
                        <a:pt x="19" y="10"/>
                      </a:lnTo>
                      <a:lnTo>
                        <a:pt x="19" y="13"/>
                      </a:lnTo>
                      <a:lnTo>
                        <a:pt x="17" y="13"/>
                      </a:lnTo>
                      <a:lnTo>
                        <a:pt x="12" y="10"/>
                      </a:lnTo>
                      <a:lnTo>
                        <a:pt x="10" y="11"/>
                      </a:lnTo>
                      <a:lnTo>
                        <a:pt x="14" y="13"/>
                      </a:lnTo>
                      <a:lnTo>
                        <a:pt x="16" y="14"/>
                      </a:lnTo>
                      <a:lnTo>
                        <a:pt x="19" y="14"/>
                      </a:lnTo>
                      <a:lnTo>
                        <a:pt x="20" y="14"/>
                      </a:lnTo>
                      <a:lnTo>
                        <a:pt x="20" y="20"/>
                      </a:lnTo>
                      <a:lnTo>
                        <a:pt x="20" y="20"/>
                      </a:lnTo>
                      <a:lnTo>
                        <a:pt x="20" y="21"/>
                      </a:lnTo>
                      <a:lnTo>
                        <a:pt x="12" y="16"/>
                      </a:lnTo>
                      <a:lnTo>
                        <a:pt x="12" y="14"/>
                      </a:lnTo>
                      <a:lnTo>
                        <a:pt x="10" y="13"/>
                      </a:lnTo>
                      <a:lnTo>
                        <a:pt x="9" y="16"/>
                      </a:lnTo>
                      <a:lnTo>
                        <a:pt x="10" y="18"/>
                      </a:lnTo>
                      <a:lnTo>
                        <a:pt x="10" y="23"/>
                      </a:lnTo>
                      <a:lnTo>
                        <a:pt x="9" y="23"/>
                      </a:lnTo>
                      <a:lnTo>
                        <a:pt x="7" y="23"/>
                      </a:lnTo>
                      <a:lnTo>
                        <a:pt x="6" y="21"/>
                      </a:lnTo>
                      <a:lnTo>
                        <a:pt x="6" y="20"/>
                      </a:lnTo>
                      <a:lnTo>
                        <a:pt x="7" y="20"/>
                      </a:lnTo>
                      <a:lnTo>
                        <a:pt x="6" y="18"/>
                      </a:lnTo>
                      <a:lnTo>
                        <a:pt x="4" y="17"/>
                      </a:lnTo>
                      <a:lnTo>
                        <a:pt x="4" y="16"/>
                      </a:lnTo>
                      <a:lnTo>
                        <a:pt x="4" y="14"/>
                      </a:lnTo>
                      <a:lnTo>
                        <a:pt x="3" y="14"/>
                      </a:lnTo>
                      <a:lnTo>
                        <a:pt x="1" y="13"/>
                      </a:lnTo>
                      <a:lnTo>
                        <a:pt x="1" y="10"/>
                      </a:lnTo>
                      <a:lnTo>
                        <a:pt x="1" y="8"/>
                      </a:lnTo>
                      <a:lnTo>
                        <a:pt x="3" y="10"/>
                      </a:lnTo>
                      <a:lnTo>
                        <a:pt x="3" y="8"/>
                      </a:lnTo>
                      <a:lnTo>
                        <a:pt x="1" y="4"/>
                      </a:lnTo>
                      <a:lnTo>
                        <a:pt x="0" y="2"/>
                      </a:lnTo>
                      <a:lnTo>
                        <a:pt x="1" y="1"/>
                      </a:lnTo>
                      <a:lnTo>
                        <a:pt x="3" y="4"/>
                      </a:lnTo>
                      <a:lnTo>
                        <a:pt x="3" y="4"/>
                      </a:lnTo>
                      <a:lnTo>
                        <a:pt x="3" y="1"/>
                      </a:lnTo>
                      <a:lnTo>
                        <a:pt x="6" y="1"/>
                      </a:lnTo>
                      <a:lnTo>
                        <a:pt x="7" y="0"/>
                      </a:lnTo>
                      <a:lnTo>
                        <a:pt x="12" y="1"/>
                      </a:lnTo>
                      <a:lnTo>
                        <a:pt x="12" y="4"/>
                      </a:lnTo>
                      <a:lnTo>
                        <a:pt x="13" y="4"/>
                      </a:lnTo>
                      <a:lnTo>
                        <a:pt x="14" y="4"/>
                      </a:lnTo>
                      <a:lnTo>
                        <a:pt x="17" y="4"/>
                      </a:lnTo>
                      <a:lnTo>
                        <a:pt x="19" y="5"/>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74" name="Freeform 1514"/>
                <p:cNvSpPr>
                  <a:spLocks/>
                </p:cNvSpPr>
                <p:nvPr/>
              </p:nvSpPr>
              <p:spPr bwMode="auto">
                <a:xfrm>
                  <a:off x="1772362" y="2953188"/>
                  <a:ext cx="40232" cy="67592"/>
                </a:xfrm>
                <a:custGeom>
                  <a:avLst/>
                  <a:gdLst/>
                  <a:ahLst/>
                  <a:cxnLst>
                    <a:cxn ang="0">
                      <a:pos x="14" y="11"/>
                    </a:cxn>
                    <a:cxn ang="0">
                      <a:pos x="19" y="15"/>
                    </a:cxn>
                    <a:cxn ang="0">
                      <a:pos x="17" y="16"/>
                    </a:cxn>
                    <a:cxn ang="0">
                      <a:pos x="19" y="18"/>
                    </a:cxn>
                    <a:cxn ang="0">
                      <a:pos x="23" y="22"/>
                    </a:cxn>
                    <a:cxn ang="0">
                      <a:pos x="17" y="21"/>
                    </a:cxn>
                    <a:cxn ang="0">
                      <a:pos x="19" y="24"/>
                    </a:cxn>
                    <a:cxn ang="0">
                      <a:pos x="21" y="25"/>
                    </a:cxn>
                    <a:cxn ang="0">
                      <a:pos x="23" y="28"/>
                    </a:cxn>
                    <a:cxn ang="0">
                      <a:pos x="23" y="29"/>
                    </a:cxn>
                    <a:cxn ang="0">
                      <a:pos x="24" y="29"/>
                    </a:cxn>
                    <a:cxn ang="0">
                      <a:pos x="24" y="32"/>
                    </a:cxn>
                    <a:cxn ang="0">
                      <a:pos x="24" y="34"/>
                    </a:cxn>
                    <a:cxn ang="0">
                      <a:pos x="24" y="37"/>
                    </a:cxn>
                    <a:cxn ang="0">
                      <a:pos x="24" y="41"/>
                    </a:cxn>
                    <a:cxn ang="0">
                      <a:pos x="21" y="41"/>
                    </a:cxn>
                    <a:cxn ang="0">
                      <a:pos x="19" y="35"/>
                    </a:cxn>
                    <a:cxn ang="0">
                      <a:pos x="17" y="31"/>
                    </a:cxn>
                    <a:cxn ang="0">
                      <a:pos x="13" y="28"/>
                    </a:cxn>
                    <a:cxn ang="0">
                      <a:pos x="11" y="27"/>
                    </a:cxn>
                    <a:cxn ang="0">
                      <a:pos x="11" y="25"/>
                    </a:cxn>
                    <a:cxn ang="0">
                      <a:pos x="11" y="19"/>
                    </a:cxn>
                    <a:cxn ang="0">
                      <a:pos x="11" y="18"/>
                    </a:cxn>
                    <a:cxn ang="0">
                      <a:pos x="7" y="19"/>
                    </a:cxn>
                    <a:cxn ang="0">
                      <a:pos x="6" y="15"/>
                    </a:cxn>
                    <a:cxn ang="0">
                      <a:pos x="7" y="6"/>
                    </a:cxn>
                    <a:cxn ang="0">
                      <a:pos x="6" y="8"/>
                    </a:cxn>
                    <a:cxn ang="0">
                      <a:pos x="3" y="11"/>
                    </a:cxn>
                    <a:cxn ang="0">
                      <a:pos x="1" y="8"/>
                    </a:cxn>
                    <a:cxn ang="0">
                      <a:pos x="3" y="2"/>
                    </a:cxn>
                    <a:cxn ang="0">
                      <a:pos x="3" y="0"/>
                    </a:cxn>
                    <a:cxn ang="0">
                      <a:pos x="6" y="2"/>
                    </a:cxn>
                    <a:cxn ang="0">
                      <a:pos x="8" y="0"/>
                    </a:cxn>
                    <a:cxn ang="0">
                      <a:pos x="10" y="5"/>
                    </a:cxn>
                    <a:cxn ang="0">
                      <a:pos x="10" y="8"/>
                    </a:cxn>
                    <a:cxn ang="0">
                      <a:pos x="14" y="9"/>
                    </a:cxn>
                  </a:cxnLst>
                  <a:rect l="0" t="0" r="r" b="b"/>
                  <a:pathLst>
                    <a:path w="24" h="41">
                      <a:moveTo>
                        <a:pt x="14" y="9"/>
                      </a:moveTo>
                      <a:lnTo>
                        <a:pt x="14" y="11"/>
                      </a:lnTo>
                      <a:lnTo>
                        <a:pt x="17" y="13"/>
                      </a:lnTo>
                      <a:lnTo>
                        <a:pt x="19" y="15"/>
                      </a:lnTo>
                      <a:lnTo>
                        <a:pt x="19" y="16"/>
                      </a:lnTo>
                      <a:lnTo>
                        <a:pt x="17" y="16"/>
                      </a:lnTo>
                      <a:lnTo>
                        <a:pt x="17" y="18"/>
                      </a:lnTo>
                      <a:lnTo>
                        <a:pt x="19" y="18"/>
                      </a:lnTo>
                      <a:lnTo>
                        <a:pt x="19" y="18"/>
                      </a:lnTo>
                      <a:lnTo>
                        <a:pt x="23" y="22"/>
                      </a:lnTo>
                      <a:lnTo>
                        <a:pt x="17" y="19"/>
                      </a:lnTo>
                      <a:lnTo>
                        <a:pt x="17" y="21"/>
                      </a:lnTo>
                      <a:lnTo>
                        <a:pt x="20" y="24"/>
                      </a:lnTo>
                      <a:lnTo>
                        <a:pt x="19" y="24"/>
                      </a:lnTo>
                      <a:lnTo>
                        <a:pt x="20" y="25"/>
                      </a:lnTo>
                      <a:lnTo>
                        <a:pt x="21" y="25"/>
                      </a:lnTo>
                      <a:lnTo>
                        <a:pt x="23" y="27"/>
                      </a:lnTo>
                      <a:lnTo>
                        <a:pt x="23" y="28"/>
                      </a:lnTo>
                      <a:lnTo>
                        <a:pt x="23" y="28"/>
                      </a:lnTo>
                      <a:lnTo>
                        <a:pt x="23" y="29"/>
                      </a:lnTo>
                      <a:lnTo>
                        <a:pt x="24" y="28"/>
                      </a:lnTo>
                      <a:lnTo>
                        <a:pt x="24" y="29"/>
                      </a:lnTo>
                      <a:lnTo>
                        <a:pt x="24" y="31"/>
                      </a:lnTo>
                      <a:lnTo>
                        <a:pt x="24" y="32"/>
                      </a:lnTo>
                      <a:lnTo>
                        <a:pt x="23" y="35"/>
                      </a:lnTo>
                      <a:lnTo>
                        <a:pt x="24" y="34"/>
                      </a:lnTo>
                      <a:lnTo>
                        <a:pt x="24" y="35"/>
                      </a:lnTo>
                      <a:lnTo>
                        <a:pt x="24" y="37"/>
                      </a:lnTo>
                      <a:lnTo>
                        <a:pt x="24" y="37"/>
                      </a:lnTo>
                      <a:lnTo>
                        <a:pt x="24" y="41"/>
                      </a:lnTo>
                      <a:lnTo>
                        <a:pt x="24" y="40"/>
                      </a:lnTo>
                      <a:lnTo>
                        <a:pt x="21" y="41"/>
                      </a:lnTo>
                      <a:lnTo>
                        <a:pt x="20" y="34"/>
                      </a:lnTo>
                      <a:lnTo>
                        <a:pt x="19" y="35"/>
                      </a:lnTo>
                      <a:lnTo>
                        <a:pt x="19" y="35"/>
                      </a:lnTo>
                      <a:lnTo>
                        <a:pt x="17" y="31"/>
                      </a:lnTo>
                      <a:lnTo>
                        <a:pt x="16" y="29"/>
                      </a:lnTo>
                      <a:lnTo>
                        <a:pt x="13" y="28"/>
                      </a:lnTo>
                      <a:lnTo>
                        <a:pt x="11" y="28"/>
                      </a:lnTo>
                      <a:lnTo>
                        <a:pt x="11" y="27"/>
                      </a:lnTo>
                      <a:lnTo>
                        <a:pt x="8" y="25"/>
                      </a:lnTo>
                      <a:lnTo>
                        <a:pt x="11" y="25"/>
                      </a:lnTo>
                      <a:lnTo>
                        <a:pt x="10" y="21"/>
                      </a:lnTo>
                      <a:lnTo>
                        <a:pt x="11" y="19"/>
                      </a:lnTo>
                      <a:lnTo>
                        <a:pt x="11" y="19"/>
                      </a:lnTo>
                      <a:lnTo>
                        <a:pt x="11" y="18"/>
                      </a:lnTo>
                      <a:lnTo>
                        <a:pt x="8" y="19"/>
                      </a:lnTo>
                      <a:lnTo>
                        <a:pt x="7" y="19"/>
                      </a:lnTo>
                      <a:lnTo>
                        <a:pt x="6" y="18"/>
                      </a:lnTo>
                      <a:lnTo>
                        <a:pt x="6" y="15"/>
                      </a:lnTo>
                      <a:lnTo>
                        <a:pt x="7" y="13"/>
                      </a:lnTo>
                      <a:lnTo>
                        <a:pt x="7" y="6"/>
                      </a:lnTo>
                      <a:lnTo>
                        <a:pt x="7" y="5"/>
                      </a:lnTo>
                      <a:lnTo>
                        <a:pt x="6" y="8"/>
                      </a:lnTo>
                      <a:lnTo>
                        <a:pt x="4" y="8"/>
                      </a:lnTo>
                      <a:lnTo>
                        <a:pt x="3" y="11"/>
                      </a:lnTo>
                      <a:lnTo>
                        <a:pt x="0" y="11"/>
                      </a:lnTo>
                      <a:lnTo>
                        <a:pt x="1" y="8"/>
                      </a:lnTo>
                      <a:lnTo>
                        <a:pt x="4" y="3"/>
                      </a:lnTo>
                      <a:lnTo>
                        <a:pt x="3" y="2"/>
                      </a:lnTo>
                      <a:lnTo>
                        <a:pt x="1" y="0"/>
                      </a:lnTo>
                      <a:lnTo>
                        <a:pt x="3" y="0"/>
                      </a:lnTo>
                      <a:lnTo>
                        <a:pt x="4" y="0"/>
                      </a:lnTo>
                      <a:lnTo>
                        <a:pt x="6" y="2"/>
                      </a:lnTo>
                      <a:lnTo>
                        <a:pt x="7" y="0"/>
                      </a:lnTo>
                      <a:lnTo>
                        <a:pt x="8" y="0"/>
                      </a:lnTo>
                      <a:lnTo>
                        <a:pt x="10" y="2"/>
                      </a:lnTo>
                      <a:lnTo>
                        <a:pt x="10" y="5"/>
                      </a:lnTo>
                      <a:lnTo>
                        <a:pt x="10" y="6"/>
                      </a:lnTo>
                      <a:lnTo>
                        <a:pt x="10" y="8"/>
                      </a:lnTo>
                      <a:lnTo>
                        <a:pt x="11" y="8"/>
                      </a:lnTo>
                      <a:lnTo>
                        <a:pt x="14" y="9"/>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75" name="Freeform 1515"/>
                <p:cNvSpPr>
                  <a:spLocks/>
                </p:cNvSpPr>
                <p:nvPr/>
              </p:nvSpPr>
              <p:spPr bwMode="auto">
                <a:xfrm>
                  <a:off x="1772362" y="2953188"/>
                  <a:ext cx="40232" cy="67592"/>
                </a:xfrm>
                <a:custGeom>
                  <a:avLst/>
                  <a:gdLst/>
                  <a:ahLst/>
                  <a:cxnLst>
                    <a:cxn ang="0">
                      <a:pos x="14" y="11"/>
                    </a:cxn>
                    <a:cxn ang="0">
                      <a:pos x="19" y="15"/>
                    </a:cxn>
                    <a:cxn ang="0">
                      <a:pos x="17" y="16"/>
                    </a:cxn>
                    <a:cxn ang="0">
                      <a:pos x="19" y="18"/>
                    </a:cxn>
                    <a:cxn ang="0">
                      <a:pos x="23" y="22"/>
                    </a:cxn>
                    <a:cxn ang="0">
                      <a:pos x="17" y="21"/>
                    </a:cxn>
                    <a:cxn ang="0">
                      <a:pos x="19" y="24"/>
                    </a:cxn>
                    <a:cxn ang="0">
                      <a:pos x="21" y="25"/>
                    </a:cxn>
                    <a:cxn ang="0">
                      <a:pos x="23" y="28"/>
                    </a:cxn>
                    <a:cxn ang="0">
                      <a:pos x="23" y="29"/>
                    </a:cxn>
                    <a:cxn ang="0">
                      <a:pos x="24" y="29"/>
                    </a:cxn>
                    <a:cxn ang="0">
                      <a:pos x="24" y="32"/>
                    </a:cxn>
                    <a:cxn ang="0">
                      <a:pos x="24" y="34"/>
                    </a:cxn>
                    <a:cxn ang="0">
                      <a:pos x="24" y="37"/>
                    </a:cxn>
                    <a:cxn ang="0">
                      <a:pos x="24" y="41"/>
                    </a:cxn>
                    <a:cxn ang="0">
                      <a:pos x="21" y="41"/>
                    </a:cxn>
                    <a:cxn ang="0">
                      <a:pos x="19" y="35"/>
                    </a:cxn>
                    <a:cxn ang="0">
                      <a:pos x="17" y="31"/>
                    </a:cxn>
                    <a:cxn ang="0">
                      <a:pos x="13" y="28"/>
                    </a:cxn>
                    <a:cxn ang="0">
                      <a:pos x="11" y="27"/>
                    </a:cxn>
                    <a:cxn ang="0">
                      <a:pos x="11" y="25"/>
                    </a:cxn>
                    <a:cxn ang="0">
                      <a:pos x="11" y="19"/>
                    </a:cxn>
                    <a:cxn ang="0">
                      <a:pos x="11" y="18"/>
                    </a:cxn>
                    <a:cxn ang="0">
                      <a:pos x="7" y="19"/>
                    </a:cxn>
                    <a:cxn ang="0">
                      <a:pos x="6" y="15"/>
                    </a:cxn>
                    <a:cxn ang="0">
                      <a:pos x="7" y="6"/>
                    </a:cxn>
                    <a:cxn ang="0">
                      <a:pos x="6" y="8"/>
                    </a:cxn>
                    <a:cxn ang="0">
                      <a:pos x="3" y="11"/>
                    </a:cxn>
                    <a:cxn ang="0">
                      <a:pos x="1" y="8"/>
                    </a:cxn>
                    <a:cxn ang="0">
                      <a:pos x="3" y="2"/>
                    </a:cxn>
                    <a:cxn ang="0">
                      <a:pos x="3" y="0"/>
                    </a:cxn>
                    <a:cxn ang="0">
                      <a:pos x="6" y="2"/>
                    </a:cxn>
                    <a:cxn ang="0">
                      <a:pos x="8" y="0"/>
                    </a:cxn>
                    <a:cxn ang="0">
                      <a:pos x="10" y="5"/>
                    </a:cxn>
                    <a:cxn ang="0">
                      <a:pos x="10" y="8"/>
                    </a:cxn>
                    <a:cxn ang="0">
                      <a:pos x="14" y="9"/>
                    </a:cxn>
                  </a:cxnLst>
                  <a:rect l="0" t="0" r="r" b="b"/>
                  <a:pathLst>
                    <a:path w="24" h="41">
                      <a:moveTo>
                        <a:pt x="14" y="9"/>
                      </a:moveTo>
                      <a:lnTo>
                        <a:pt x="14" y="11"/>
                      </a:lnTo>
                      <a:lnTo>
                        <a:pt x="17" y="13"/>
                      </a:lnTo>
                      <a:lnTo>
                        <a:pt x="19" y="15"/>
                      </a:lnTo>
                      <a:lnTo>
                        <a:pt x="19" y="16"/>
                      </a:lnTo>
                      <a:lnTo>
                        <a:pt x="17" y="16"/>
                      </a:lnTo>
                      <a:lnTo>
                        <a:pt x="17" y="18"/>
                      </a:lnTo>
                      <a:lnTo>
                        <a:pt x="19" y="18"/>
                      </a:lnTo>
                      <a:lnTo>
                        <a:pt x="19" y="18"/>
                      </a:lnTo>
                      <a:lnTo>
                        <a:pt x="23" y="22"/>
                      </a:lnTo>
                      <a:lnTo>
                        <a:pt x="17" y="19"/>
                      </a:lnTo>
                      <a:lnTo>
                        <a:pt x="17" y="21"/>
                      </a:lnTo>
                      <a:lnTo>
                        <a:pt x="20" y="24"/>
                      </a:lnTo>
                      <a:lnTo>
                        <a:pt x="19" y="24"/>
                      </a:lnTo>
                      <a:lnTo>
                        <a:pt x="20" y="25"/>
                      </a:lnTo>
                      <a:lnTo>
                        <a:pt x="21" y="25"/>
                      </a:lnTo>
                      <a:lnTo>
                        <a:pt x="23" y="27"/>
                      </a:lnTo>
                      <a:lnTo>
                        <a:pt x="23" y="28"/>
                      </a:lnTo>
                      <a:lnTo>
                        <a:pt x="23" y="28"/>
                      </a:lnTo>
                      <a:lnTo>
                        <a:pt x="23" y="29"/>
                      </a:lnTo>
                      <a:lnTo>
                        <a:pt x="24" y="28"/>
                      </a:lnTo>
                      <a:lnTo>
                        <a:pt x="24" y="29"/>
                      </a:lnTo>
                      <a:lnTo>
                        <a:pt x="24" y="31"/>
                      </a:lnTo>
                      <a:lnTo>
                        <a:pt x="24" y="32"/>
                      </a:lnTo>
                      <a:lnTo>
                        <a:pt x="23" y="35"/>
                      </a:lnTo>
                      <a:lnTo>
                        <a:pt x="24" y="34"/>
                      </a:lnTo>
                      <a:lnTo>
                        <a:pt x="24" y="35"/>
                      </a:lnTo>
                      <a:lnTo>
                        <a:pt x="24" y="37"/>
                      </a:lnTo>
                      <a:lnTo>
                        <a:pt x="24" y="37"/>
                      </a:lnTo>
                      <a:lnTo>
                        <a:pt x="24" y="41"/>
                      </a:lnTo>
                      <a:lnTo>
                        <a:pt x="24" y="40"/>
                      </a:lnTo>
                      <a:lnTo>
                        <a:pt x="21" y="41"/>
                      </a:lnTo>
                      <a:lnTo>
                        <a:pt x="20" y="34"/>
                      </a:lnTo>
                      <a:lnTo>
                        <a:pt x="19" y="35"/>
                      </a:lnTo>
                      <a:lnTo>
                        <a:pt x="19" y="35"/>
                      </a:lnTo>
                      <a:lnTo>
                        <a:pt x="17" y="31"/>
                      </a:lnTo>
                      <a:lnTo>
                        <a:pt x="16" y="29"/>
                      </a:lnTo>
                      <a:lnTo>
                        <a:pt x="13" y="28"/>
                      </a:lnTo>
                      <a:lnTo>
                        <a:pt x="11" y="28"/>
                      </a:lnTo>
                      <a:lnTo>
                        <a:pt x="11" y="27"/>
                      </a:lnTo>
                      <a:lnTo>
                        <a:pt x="8" y="25"/>
                      </a:lnTo>
                      <a:lnTo>
                        <a:pt x="11" y="25"/>
                      </a:lnTo>
                      <a:lnTo>
                        <a:pt x="10" y="21"/>
                      </a:lnTo>
                      <a:lnTo>
                        <a:pt x="11" y="19"/>
                      </a:lnTo>
                      <a:lnTo>
                        <a:pt x="11" y="19"/>
                      </a:lnTo>
                      <a:lnTo>
                        <a:pt x="11" y="18"/>
                      </a:lnTo>
                      <a:lnTo>
                        <a:pt x="8" y="19"/>
                      </a:lnTo>
                      <a:lnTo>
                        <a:pt x="7" y="19"/>
                      </a:lnTo>
                      <a:lnTo>
                        <a:pt x="6" y="18"/>
                      </a:lnTo>
                      <a:lnTo>
                        <a:pt x="6" y="15"/>
                      </a:lnTo>
                      <a:lnTo>
                        <a:pt x="7" y="13"/>
                      </a:lnTo>
                      <a:lnTo>
                        <a:pt x="7" y="6"/>
                      </a:lnTo>
                      <a:lnTo>
                        <a:pt x="7" y="5"/>
                      </a:lnTo>
                      <a:lnTo>
                        <a:pt x="6" y="8"/>
                      </a:lnTo>
                      <a:lnTo>
                        <a:pt x="4" y="8"/>
                      </a:lnTo>
                      <a:lnTo>
                        <a:pt x="3" y="11"/>
                      </a:lnTo>
                      <a:lnTo>
                        <a:pt x="0" y="11"/>
                      </a:lnTo>
                      <a:lnTo>
                        <a:pt x="1" y="8"/>
                      </a:lnTo>
                      <a:lnTo>
                        <a:pt x="4" y="3"/>
                      </a:lnTo>
                      <a:lnTo>
                        <a:pt x="3" y="2"/>
                      </a:lnTo>
                      <a:lnTo>
                        <a:pt x="1" y="0"/>
                      </a:lnTo>
                      <a:lnTo>
                        <a:pt x="3" y="0"/>
                      </a:lnTo>
                      <a:lnTo>
                        <a:pt x="4" y="0"/>
                      </a:lnTo>
                      <a:lnTo>
                        <a:pt x="6" y="2"/>
                      </a:lnTo>
                      <a:lnTo>
                        <a:pt x="7" y="0"/>
                      </a:lnTo>
                      <a:lnTo>
                        <a:pt x="8" y="0"/>
                      </a:lnTo>
                      <a:lnTo>
                        <a:pt x="10" y="2"/>
                      </a:lnTo>
                      <a:lnTo>
                        <a:pt x="10" y="5"/>
                      </a:lnTo>
                      <a:lnTo>
                        <a:pt x="10" y="6"/>
                      </a:lnTo>
                      <a:lnTo>
                        <a:pt x="10" y="8"/>
                      </a:lnTo>
                      <a:lnTo>
                        <a:pt x="11" y="8"/>
                      </a:lnTo>
                      <a:lnTo>
                        <a:pt x="14" y="9"/>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76" name="Freeform 1516"/>
                <p:cNvSpPr>
                  <a:spLocks/>
                </p:cNvSpPr>
                <p:nvPr/>
              </p:nvSpPr>
              <p:spPr bwMode="auto">
                <a:xfrm>
                  <a:off x="1822251" y="2970889"/>
                  <a:ext cx="17703" cy="33796"/>
                </a:xfrm>
                <a:custGeom>
                  <a:avLst/>
                  <a:gdLst/>
                  <a:ahLst/>
                  <a:cxnLst>
                    <a:cxn ang="0">
                      <a:pos x="4" y="16"/>
                    </a:cxn>
                    <a:cxn ang="0">
                      <a:pos x="6" y="16"/>
                    </a:cxn>
                    <a:cxn ang="0">
                      <a:pos x="6" y="16"/>
                    </a:cxn>
                    <a:cxn ang="0">
                      <a:pos x="7" y="14"/>
                    </a:cxn>
                    <a:cxn ang="0">
                      <a:pos x="7" y="16"/>
                    </a:cxn>
                    <a:cxn ang="0">
                      <a:pos x="7" y="17"/>
                    </a:cxn>
                    <a:cxn ang="0">
                      <a:pos x="7" y="18"/>
                    </a:cxn>
                    <a:cxn ang="0">
                      <a:pos x="10" y="20"/>
                    </a:cxn>
                    <a:cxn ang="0">
                      <a:pos x="11" y="20"/>
                    </a:cxn>
                    <a:cxn ang="0">
                      <a:pos x="11" y="18"/>
                    </a:cxn>
                    <a:cxn ang="0">
                      <a:pos x="11" y="18"/>
                    </a:cxn>
                    <a:cxn ang="0">
                      <a:pos x="10" y="16"/>
                    </a:cxn>
                    <a:cxn ang="0">
                      <a:pos x="11" y="8"/>
                    </a:cxn>
                    <a:cxn ang="0">
                      <a:pos x="8" y="0"/>
                    </a:cxn>
                    <a:cxn ang="0">
                      <a:pos x="7" y="0"/>
                    </a:cxn>
                    <a:cxn ang="0">
                      <a:pos x="4" y="1"/>
                    </a:cxn>
                    <a:cxn ang="0">
                      <a:pos x="3" y="2"/>
                    </a:cxn>
                    <a:cxn ang="0">
                      <a:pos x="1" y="2"/>
                    </a:cxn>
                    <a:cxn ang="0">
                      <a:pos x="3" y="4"/>
                    </a:cxn>
                    <a:cxn ang="0">
                      <a:pos x="3" y="5"/>
                    </a:cxn>
                    <a:cxn ang="0">
                      <a:pos x="1" y="5"/>
                    </a:cxn>
                    <a:cxn ang="0">
                      <a:pos x="1" y="7"/>
                    </a:cxn>
                    <a:cxn ang="0">
                      <a:pos x="1" y="8"/>
                    </a:cxn>
                    <a:cxn ang="0">
                      <a:pos x="1" y="10"/>
                    </a:cxn>
                    <a:cxn ang="0">
                      <a:pos x="1" y="10"/>
                    </a:cxn>
                    <a:cxn ang="0">
                      <a:pos x="0" y="13"/>
                    </a:cxn>
                    <a:cxn ang="0">
                      <a:pos x="0" y="14"/>
                    </a:cxn>
                    <a:cxn ang="0">
                      <a:pos x="3" y="16"/>
                    </a:cxn>
                    <a:cxn ang="0">
                      <a:pos x="3" y="14"/>
                    </a:cxn>
                    <a:cxn ang="0">
                      <a:pos x="3" y="11"/>
                    </a:cxn>
                    <a:cxn ang="0">
                      <a:pos x="4" y="13"/>
                    </a:cxn>
                    <a:cxn ang="0">
                      <a:pos x="6" y="13"/>
                    </a:cxn>
                    <a:cxn ang="0">
                      <a:pos x="6" y="8"/>
                    </a:cxn>
                    <a:cxn ang="0">
                      <a:pos x="6" y="13"/>
                    </a:cxn>
                    <a:cxn ang="0">
                      <a:pos x="6" y="14"/>
                    </a:cxn>
                    <a:cxn ang="0">
                      <a:pos x="4" y="16"/>
                    </a:cxn>
                  </a:cxnLst>
                  <a:rect l="0" t="0" r="r" b="b"/>
                  <a:pathLst>
                    <a:path w="11" h="20">
                      <a:moveTo>
                        <a:pt x="4" y="16"/>
                      </a:moveTo>
                      <a:lnTo>
                        <a:pt x="6" y="16"/>
                      </a:lnTo>
                      <a:lnTo>
                        <a:pt x="6" y="16"/>
                      </a:lnTo>
                      <a:lnTo>
                        <a:pt x="7" y="14"/>
                      </a:lnTo>
                      <a:lnTo>
                        <a:pt x="7" y="16"/>
                      </a:lnTo>
                      <a:lnTo>
                        <a:pt x="7" y="17"/>
                      </a:lnTo>
                      <a:lnTo>
                        <a:pt x="7" y="18"/>
                      </a:lnTo>
                      <a:lnTo>
                        <a:pt x="10" y="20"/>
                      </a:lnTo>
                      <a:lnTo>
                        <a:pt x="11" y="20"/>
                      </a:lnTo>
                      <a:lnTo>
                        <a:pt x="11" y="18"/>
                      </a:lnTo>
                      <a:lnTo>
                        <a:pt x="11" y="18"/>
                      </a:lnTo>
                      <a:lnTo>
                        <a:pt x="10" y="16"/>
                      </a:lnTo>
                      <a:lnTo>
                        <a:pt x="11" y="8"/>
                      </a:lnTo>
                      <a:lnTo>
                        <a:pt x="8" y="0"/>
                      </a:lnTo>
                      <a:lnTo>
                        <a:pt x="7" y="0"/>
                      </a:lnTo>
                      <a:lnTo>
                        <a:pt x="4" y="1"/>
                      </a:lnTo>
                      <a:lnTo>
                        <a:pt x="3" y="2"/>
                      </a:lnTo>
                      <a:lnTo>
                        <a:pt x="1" y="2"/>
                      </a:lnTo>
                      <a:lnTo>
                        <a:pt x="3" y="4"/>
                      </a:lnTo>
                      <a:lnTo>
                        <a:pt x="3" y="5"/>
                      </a:lnTo>
                      <a:lnTo>
                        <a:pt x="1" y="5"/>
                      </a:lnTo>
                      <a:lnTo>
                        <a:pt x="1" y="7"/>
                      </a:lnTo>
                      <a:lnTo>
                        <a:pt x="1" y="8"/>
                      </a:lnTo>
                      <a:lnTo>
                        <a:pt x="1" y="10"/>
                      </a:lnTo>
                      <a:lnTo>
                        <a:pt x="1" y="10"/>
                      </a:lnTo>
                      <a:lnTo>
                        <a:pt x="0" y="13"/>
                      </a:lnTo>
                      <a:lnTo>
                        <a:pt x="0" y="14"/>
                      </a:lnTo>
                      <a:lnTo>
                        <a:pt x="3" y="16"/>
                      </a:lnTo>
                      <a:lnTo>
                        <a:pt x="3" y="14"/>
                      </a:lnTo>
                      <a:lnTo>
                        <a:pt x="3" y="11"/>
                      </a:lnTo>
                      <a:lnTo>
                        <a:pt x="4" y="13"/>
                      </a:lnTo>
                      <a:lnTo>
                        <a:pt x="6" y="13"/>
                      </a:lnTo>
                      <a:lnTo>
                        <a:pt x="6" y="8"/>
                      </a:lnTo>
                      <a:lnTo>
                        <a:pt x="6" y="13"/>
                      </a:lnTo>
                      <a:lnTo>
                        <a:pt x="6" y="14"/>
                      </a:lnTo>
                      <a:lnTo>
                        <a:pt x="4" y="1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77" name="Freeform 1517"/>
                <p:cNvSpPr>
                  <a:spLocks/>
                </p:cNvSpPr>
                <p:nvPr/>
              </p:nvSpPr>
              <p:spPr bwMode="auto">
                <a:xfrm>
                  <a:off x="1822251" y="2970889"/>
                  <a:ext cx="17703" cy="33796"/>
                </a:xfrm>
                <a:custGeom>
                  <a:avLst/>
                  <a:gdLst/>
                  <a:ahLst/>
                  <a:cxnLst>
                    <a:cxn ang="0">
                      <a:pos x="4" y="16"/>
                    </a:cxn>
                    <a:cxn ang="0">
                      <a:pos x="6" y="16"/>
                    </a:cxn>
                    <a:cxn ang="0">
                      <a:pos x="6" y="16"/>
                    </a:cxn>
                    <a:cxn ang="0">
                      <a:pos x="7" y="14"/>
                    </a:cxn>
                    <a:cxn ang="0">
                      <a:pos x="7" y="16"/>
                    </a:cxn>
                    <a:cxn ang="0">
                      <a:pos x="7" y="17"/>
                    </a:cxn>
                    <a:cxn ang="0">
                      <a:pos x="7" y="18"/>
                    </a:cxn>
                    <a:cxn ang="0">
                      <a:pos x="10" y="20"/>
                    </a:cxn>
                    <a:cxn ang="0">
                      <a:pos x="11" y="20"/>
                    </a:cxn>
                    <a:cxn ang="0">
                      <a:pos x="11" y="18"/>
                    </a:cxn>
                    <a:cxn ang="0">
                      <a:pos x="11" y="18"/>
                    </a:cxn>
                    <a:cxn ang="0">
                      <a:pos x="10" y="16"/>
                    </a:cxn>
                    <a:cxn ang="0">
                      <a:pos x="11" y="8"/>
                    </a:cxn>
                    <a:cxn ang="0">
                      <a:pos x="8" y="0"/>
                    </a:cxn>
                    <a:cxn ang="0">
                      <a:pos x="7" y="0"/>
                    </a:cxn>
                    <a:cxn ang="0">
                      <a:pos x="4" y="1"/>
                    </a:cxn>
                    <a:cxn ang="0">
                      <a:pos x="3" y="2"/>
                    </a:cxn>
                    <a:cxn ang="0">
                      <a:pos x="1" y="2"/>
                    </a:cxn>
                    <a:cxn ang="0">
                      <a:pos x="3" y="4"/>
                    </a:cxn>
                    <a:cxn ang="0">
                      <a:pos x="3" y="5"/>
                    </a:cxn>
                    <a:cxn ang="0">
                      <a:pos x="1" y="5"/>
                    </a:cxn>
                    <a:cxn ang="0">
                      <a:pos x="1" y="7"/>
                    </a:cxn>
                    <a:cxn ang="0">
                      <a:pos x="1" y="8"/>
                    </a:cxn>
                    <a:cxn ang="0">
                      <a:pos x="1" y="10"/>
                    </a:cxn>
                    <a:cxn ang="0">
                      <a:pos x="1" y="10"/>
                    </a:cxn>
                    <a:cxn ang="0">
                      <a:pos x="0" y="13"/>
                    </a:cxn>
                    <a:cxn ang="0">
                      <a:pos x="0" y="14"/>
                    </a:cxn>
                    <a:cxn ang="0">
                      <a:pos x="3" y="16"/>
                    </a:cxn>
                    <a:cxn ang="0">
                      <a:pos x="3" y="14"/>
                    </a:cxn>
                    <a:cxn ang="0">
                      <a:pos x="3" y="11"/>
                    </a:cxn>
                    <a:cxn ang="0">
                      <a:pos x="4" y="13"/>
                    </a:cxn>
                    <a:cxn ang="0">
                      <a:pos x="6" y="13"/>
                    </a:cxn>
                    <a:cxn ang="0">
                      <a:pos x="6" y="8"/>
                    </a:cxn>
                    <a:cxn ang="0">
                      <a:pos x="6" y="13"/>
                    </a:cxn>
                    <a:cxn ang="0">
                      <a:pos x="6" y="14"/>
                    </a:cxn>
                    <a:cxn ang="0">
                      <a:pos x="4" y="16"/>
                    </a:cxn>
                  </a:cxnLst>
                  <a:rect l="0" t="0" r="r" b="b"/>
                  <a:pathLst>
                    <a:path w="11" h="20">
                      <a:moveTo>
                        <a:pt x="4" y="16"/>
                      </a:moveTo>
                      <a:lnTo>
                        <a:pt x="6" y="16"/>
                      </a:lnTo>
                      <a:lnTo>
                        <a:pt x="6" y="16"/>
                      </a:lnTo>
                      <a:lnTo>
                        <a:pt x="7" y="14"/>
                      </a:lnTo>
                      <a:lnTo>
                        <a:pt x="7" y="16"/>
                      </a:lnTo>
                      <a:lnTo>
                        <a:pt x="7" y="17"/>
                      </a:lnTo>
                      <a:lnTo>
                        <a:pt x="7" y="18"/>
                      </a:lnTo>
                      <a:lnTo>
                        <a:pt x="10" y="20"/>
                      </a:lnTo>
                      <a:lnTo>
                        <a:pt x="11" y="20"/>
                      </a:lnTo>
                      <a:lnTo>
                        <a:pt x="11" y="18"/>
                      </a:lnTo>
                      <a:lnTo>
                        <a:pt x="11" y="18"/>
                      </a:lnTo>
                      <a:lnTo>
                        <a:pt x="10" y="16"/>
                      </a:lnTo>
                      <a:lnTo>
                        <a:pt x="11" y="8"/>
                      </a:lnTo>
                      <a:lnTo>
                        <a:pt x="8" y="0"/>
                      </a:lnTo>
                      <a:lnTo>
                        <a:pt x="7" y="0"/>
                      </a:lnTo>
                      <a:lnTo>
                        <a:pt x="4" y="1"/>
                      </a:lnTo>
                      <a:lnTo>
                        <a:pt x="3" y="2"/>
                      </a:lnTo>
                      <a:lnTo>
                        <a:pt x="1" y="2"/>
                      </a:lnTo>
                      <a:lnTo>
                        <a:pt x="3" y="4"/>
                      </a:lnTo>
                      <a:lnTo>
                        <a:pt x="3" y="5"/>
                      </a:lnTo>
                      <a:lnTo>
                        <a:pt x="1" y="5"/>
                      </a:lnTo>
                      <a:lnTo>
                        <a:pt x="1" y="7"/>
                      </a:lnTo>
                      <a:lnTo>
                        <a:pt x="1" y="8"/>
                      </a:lnTo>
                      <a:lnTo>
                        <a:pt x="1" y="10"/>
                      </a:lnTo>
                      <a:lnTo>
                        <a:pt x="1" y="10"/>
                      </a:lnTo>
                      <a:lnTo>
                        <a:pt x="0" y="13"/>
                      </a:lnTo>
                      <a:lnTo>
                        <a:pt x="0" y="14"/>
                      </a:lnTo>
                      <a:lnTo>
                        <a:pt x="3" y="16"/>
                      </a:lnTo>
                      <a:lnTo>
                        <a:pt x="3" y="14"/>
                      </a:lnTo>
                      <a:lnTo>
                        <a:pt x="3" y="11"/>
                      </a:lnTo>
                      <a:lnTo>
                        <a:pt x="4" y="13"/>
                      </a:lnTo>
                      <a:lnTo>
                        <a:pt x="6" y="13"/>
                      </a:lnTo>
                      <a:lnTo>
                        <a:pt x="6" y="8"/>
                      </a:lnTo>
                      <a:lnTo>
                        <a:pt x="6" y="13"/>
                      </a:lnTo>
                      <a:lnTo>
                        <a:pt x="6" y="14"/>
                      </a:lnTo>
                      <a:lnTo>
                        <a:pt x="4" y="1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78" name="Freeform 1518"/>
                <p:cNvSpPr>
                  <a:spLocks/>
                </p:cNvSpPr>
                <p:nvPr/>
              </p:nvSpPr>
              <p:spPr bwMode="auto">
                <a:xfrm>
                  <a:off x="1785237" y="2999857"/>
                  <a:ext cx="11265" cy="20922"/>
                </a:xfrm>
                <a:custGeom>
                  <a:avLst/>
                  <a:gdLst/>
                  <a:ahLst/>
                  <a:cxnLst>
                    <a:cxn ang="0">
                      <a:pos x="3" y="6"/>
                    </a:cxn>
                    <a:cxn ang="0">
                      <a:pos x="4" y="6"/>
                    </a:cxn>
                    <a:cxn ang="0">
                      <a:pos x="7" y="12"/>
                    </a:cxn>
                    <a:cxn ang="0">
                      <a:pos x="6" y="13"/>
                    </a:cxn>
                    <a:cxn ang="0">
                      <a:pos x="4" y="12"/>
                    </a:cxn>
                    <a:cxn ang="0">
                      <a:pos x="0" y="4"/>
                    </a:cxn>
                    <a:cxn ang="0">
                      <a:pos x="0" y="1"/>
                    </a:cxn>
                    <a:cxn ang="0">
                      <a:pos x="0" y="0"/>
                    </a:cxn>
                    <a:cxn ang="0">
                      <a:pos x="3" y="1"/>
                    </a:cxn>
                    <a:cxn ang="0">
                      <a:pos x="3" y="6"/>
                    </a:cxn>
                  </a:cxnLst>
                  <a:rect l="0" t="0" r="r" b="b"/>
                  <a:pathLst>
                    <a:path w="7" h="13">
                      <a:moveTo>
                        <a:pt x="3" y="6"/>
                      </a:moveTo>
                      <a:lnTo>
                        <a:pt x="4" y="6"/>
                      </a:lnTo>
                      <a:lnTo>
                        <a:pt x="7" y="12"/>
                      </a:lnTo>
                      <a:lnTo>
                        <a:pt x="6" y="13"/>
                      </a:lnTo>
                      <a:lnTo>
                        <a:pt x="4" y="12"/>
                      </a:lnTo>
                      <a:lnTo>
                        <a:pt x="0" y="4"/>
                      </a:lnTo>
                      <a:lnTo>
                        <a:pt x="0" y="1"/>
                      </a:lnTo>
                      <a:lnTo>
                        <a:pt x="0" y="0"/>
                      </a:lnTo>
                      <a:lnTo>
                        <a:pt x="3" y="1"/>
                      </a:lnTo>
                      <a:lnTo>
                        <a:pt x="3" y="6"/>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79" name="Freeform 1519"/>
                <p:cNvSpPr>
                  <a:spLocks/>
                </p:cNvSpPr>
                <p:nvPr/>
              </p:nvSpPr>
              <p:spPr bwMode="auto">
                <a:xfrm>
                  <a:off x="1785237" y="2999857"/>
                  <a:ext cx="11265" cy="20922"/>
                </a:xfrm>
                <a:custGeom>
                  <a:avLst/>
                  <a:gdLst/>
                  <a:ahLst/>
                  <a:cxnLst>
                    <a:cxn ang="0">
                      <a:pos x="3" y="6"/>
                    </a:cxn>
                    <a:cxn ang="0">
                      <a:pos x="4" y="6"/>
                    </a:cxn>
                    <a:cxn ang="0">
                      <a:pos x="7" y="12"/>
                    </a:cxn>
                    <a:cxn ang="0">
                      <a:pos x="6" y="13"/>
                    </a:cxn>
                    <a:cxn ang="0">
                      <a:pos x="4" y="12"/>
                    </a:cxn>
                    <a:cxn ang="0">
                      <a:pos x="0" y="4"/>
                    </a:cxn>
                    <a:cxn ang="0">
                      <a:pos x="0" y="1"/>
                    </a:cxn>
                    <a:cxn ang="0">
                      <a:pos x="0" y="0"/>
                    </a:cxn>
                    <a:cxn ang="0">
                      <a:pos x="3" y="1"/>
                    </a:cxn>
                    <a:cxn ang="0">
                      <a:pos x="3" y="6"/>
                    </a:cxn>
                  </a:cxnLst>
                  <a:rect l="0" t="0" r="r" b="b"/>
                  <a:pathLst>
                    <a:path w="7" h="13">
                      <a:moveTo>
                        <a:pt x="3" y="6"/>
                      </a:moveTo>
                      <a:lnTo>
                        <a:pt x="4" y="6"/>
                      </a:lnTo>
                      <a:lnTo>
                        <a:pt x="7" y="12"/>
                      </a:lnTo>
                      <a:lnTo>
                        <a:pt x="6" y="13"/>
                      </a:lnTo>
                      <a:lnTo>
                        <a:pt x="4" y="12"/>
                      </a:lnTo>
                      <a:lnTo>
                        <a:pt x="0" y="4"/>
                      </a:lnTo>
                      <a:lnTo>
                        <a:pt x="0" y="1"/>
                      </a:lnTo>
                      <a:lnTo>
                        <a:pt x="0" y="0"/>
                      </a:lnTo>
                      <a:lnTo>
                        <a:pt x="3" y="1"/>
                      </a:lnTo>
                      <a:lnTo>
                        <a:pt x="3" y="6"/>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80" name="Freeform 1520"/>
                <p:cNvSpPr>
                  <a:spLocks/>
                </p:cNvSpPr>
                <p:nvPr/>
              </p:nvSpPr>
              <p:spPr bwMode="auto">
                <a:xfrm>
                  <a:off x="1823860" y="2998249"/>
                  <a:ext cx="8047" cy="11265"/>
                </a:xfrm>
                <a:custGeom>
                  <a:avLst/>
                  <a:gdLst/>
                  <a:ahLst/>
                  <a:cxnLst>
                    <a:cxn ang="0">
                      <a:pos x="0" y="0"/>
                    </a:cxn>
                    <a:cxn ang="0">
                      <a:pos x="3" y="2"/>
                    </a:cxn>
                    <a:cxn ang="0">
                      <a:pos x="5" y="7"/>
                    </a:cxn>
                    <a:cxn ang="0">
                      <a:pos x="3" y="7"/>
                    </a:cxn>
                    <a:cxn ang="0">
                      <a:pos x="2" y="4"/>
                    </a:cxn>
                    <a:cxn ang="0">
                      <a:pos x="2" y="4"/>
                    </a:cxn>
                    <a:cxn ang="0">
                      <a:pos x="0" y="0"/>
                    </a:cxn>
                  </a:cxnLst>
                  <a:rect l="0" t="0" r="r" b="b"/>
                  <a:pathLst>
                    <a:path w="5" h="7">
                      <a:moveTo>
                        <a:pt x="0" y="0"/>
                      </a:moveTo>
                      <a:lnTo>
                        <a:pt x="3" y="2"/>
                      </a:lnTo>
                      <a:lnTo>
                        <a:pt x="5" y="7"/>
                      </a:lnTo>
                      <a:lnTo>
                        <a:pt x="3" y="7"/>
                      </a:lnTo>
                      <a:lnTo>
                        <a:pt x="2" y="4"/>
                      </a:lnTo>
                      <a:lnTo>
                        <a:pt x="2" y="4"/>
                      </a:lnTo>
                      <a:lnTo>
                        <a:pt x="0"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81" name="Freeform 1521"/>
                <p:cNvSpPr>
                  <a:spLocks/>
                </p:cNvSpPr>
                <p:nvPr/>
              </p:nvSpPr>
              <p:spPr bwMode="auto">
                <a:xfrm>
                  <a:off x="1823860" y="2998249"/>
                  <a:ext cx="8047" cy="11265"/>
                </a:xfrm>
                <a:custGeom>
                  <a:avLst/>
                  <a:gdLst/>
                  <a:ahLst/>
                  <a:cxnLst>
                    <a:cxn ang="0">
                      <a:pos x="0" y="0"/>
                    </a:cxn>
                    <a:cxn ang="0">
                      <a:pos x="3" y="2"/>
                    </a:cxn>
                    <a:cxn ang="0">
                      <a:pos x="5" y="7"/>
                    </a:cxn>
                    <a:cxn ang="0">
                      <a:pos x="3" y="7"/>
                    </a:cxn>
                    <a:cxn ang="0">
                      <a:pos x="2" y="4"/>
                    </a:cxn>
                    <a:cxn ang="0">
                      <a:pos x="2" y="4"/>
                    </a:cxn>
                    <a:cxn ang="0">
                      <a:pos x="0" y="0"/>
                    </a:cxn>
                  </a:cxnLst>
                  <a:rect l="0" t="0" r="r" b="b"/>
                  <a:pathLst>
                    <a:path w="5" h="7">
                      <a:moveTo>
                        <a:pt x="0" y="0"/>
                      </a:moveTo>
                      <a:lnTo>
                        <a:pt x="3" y="2"/>
                      </a:lnTo>
                      <a:lnTo>
                        <a:pt x="5" y="7"/>
                      </a:lnTo>
                      <a:lnTo>
                        <a:pt x="3" y="7"/>
                      </a:lnTo>
                      <a:lnTo>
                        <a:pt x="2" y="4"/>
                      </a:lnTo>
                      <a:lnTo>
                        <a:pt x="2" y="4"/>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82" name="Freeform 1580"/>
                <p:cNvSpPr>
                  <a:spLocks/>
                </p:cNvSpPr>
                <p:nvPr/>
              </p:nvSpPr>
              <p:spPr bwMode="auto">
                <a:xfrm>
                  <a:off x="953211" y="2132428"/>
                  <a:ext cx="712935" cy="881914"/>
                </a:xfrm>
                <a:custGeom>
                  <a:avLst/>
                  <a:gdLst/>
                  <a:ahLst/>
                  <a:cxnLst>
                    <a:cxn ang="0">
                      <a:pos x="350" y="53"/>
                    </a:cxn>
                    <a:cxn ang="0">
                      <a:pos x="313" y="51"/>
                    </a:cxn>
                    <a:cxn ang="0">
                      <a:pos x="241" y="40"/>
                    </a:cxn>
                    <a:cxn ang="0">
                      <a:pos x="215" y="21"/>
                    </a:cxn>
                    <a:cxn ang="0">
                      <a:pos x="181" y="13"/>
                    </a:cxn>
                    <a:cxn ang="0">
                      <a:pos x="174" y="18"/>
                    </a:cxn>
                    <a:cxn ang="0">
                      <a:pos x="158" y="9"/>
                    </a:cxn>
                    <a:cxn ang="0">
                      <a:pos x="129" y="19"/>
                    </a:cxn>
                    <a:cxn ang="0">
                      <a:pos x="115" y="45"/>
                    </a:cxn>
                    <a:cxn ang="0">
                      <a:pos x="90" y="47"/>
                    </a:cxn>
                    <a:cxn ang="0">
                      <a:pos x="75" y="73"/>
                    </a:cxn>
                    <a:cxn ang="0">
                      <a:pos x="27" y="118"/>
                    </a:cxn>
                    <a:cxn ang="0">
                      <a:pos x="62" y="163"/>
                    </a:cxn>
                    <a:cxn ang="0">
                      <a:pos x="91" y="175"/>
                    </a:cxn>
                    <a:cxn ang="0">
                      <a:pos x="115" y="188"/>
                    </a:cxn>
                    <a:cxn ang="0">
                      <a:pos x="103" y="195"/>
                    </a:cxn>
                    <a:cxn ang="0">
                      <a:pos x="101" y="201"/>
                    </a:cxn>
                    <a:cxn ang="0">
                      <a:pos x="77" y="208"/>
                    </a:cxn>
                    <a:cxn ang="0">
                      <a:pos x="43" y="195"/>
                    </a:cxn>
                    <a:cxn ang="0">
                      <a:pos x="11" y="214"/>
                    </a:cxn>
                    <a:cxn ang="0">
                      <a:pos x="19" y="239"/>
                    </a:cxn>
                    <a:cxn ang="0">
                      <a:pos x="71" y="265"/>
                    </a:cxn>
                    <a:cxn ang="0">
                      <a:pos x="97" y="250"/>
                    </a:cxn>
                    <a:cxn ang="0">
                      <a:pos x="104" y="282"/>
                    </a:cxn>
                    <a:cxn ang="0">
                      <a:pos x="62" y="310"/>
                    </a:cxn>
                    <a:cxn ang="0">
                      <a:pos x="33" y="343"/>
                    </a:cxn>
                    <a:cxn ang="0">
                      <a:pos x="39" y="354"/>
                    </a:cxn>
                    <a:cxn ang="0">
                      <a:pos x="45" y="370"/>
                    </a:cxn>
                    <a:cxn ang="0">
                      <a:pos x="58" y="399"/>
                    </a:cxn>
                    <a:cxn ang="0">
                      <a:pos x="78" y="396"/>
                    </a:cxn>
                    <a:cxn ang="0">
                      <a:pos x="86" y="419"/>
                    </a:cxn>
                    <a:cxn ang="0">
                      <a:pos x="94" y="432"/>
                    </a:cxn>
                    <a:cxn ang="0">
                      <a:pos x="120" y="429"/>
                    </a:cxn>
                    <a:cxn ang="0">
                      <a:pos x="152" y="429"/>
                    </a:cxn>
                    <a:cxn ang="0">
                      <a:pos x="139" y="473"/>
                    </a:cxn>
                    <a:cxn ang="0">
                      <a:pos x="106" y="509"/>
                    </a:cxn>
                    <a:cxn ang="0">
                      <a:pos x="74" y="525"/>
                    </a:cxn>
                    <a:cxn ang="0">
                      <a:pos x="71" y="531"/>
                    </a:cxn>
                    <a:cxn ang="0">
                      <a:pos x="91" y="515"/>
                    </a:cxn>
                    <a:cxn ang="0">
                      <a:pos x="113" y="510"/>
                    </a:cxn>
                    <a:cxn ang="0">
                      <a:pos x="126" y="493"/>
                    </a:cxn>
                    <a:cxn ang="0">
                      <a:pos x="154" y="486"/>
                    </a:cxn>
                    <a:cxn ang="0">
                      <a:pos x="174" y="465"/>
                    </a:cxn>
                    <a:cxn ang="0">
                      <a:pos x="199" y="442"/>
                    </a:cxn>
                    <a:cxn ang="0">
                      <a:pos x="203" y="412"/>
                    </a:cxn>
                    <a:cxn ang="0">
                      <a:pos x="212" y="391"/>
                    </a:cxn>
                    <a:cxn ang="0">
                      <a:pos x="250" y="362"/>
                    </a:cxn>
                    <a:cxn ang="0">
                      <a:pos x="250" y="371"/>
                    </a:cxn>
                    <a:cxn ang="0">
                      <a:pos x="237" y="412"/>
                    </a:cxn>
                    <a:cxn ang="0">
                      <a:pos x="239" y="417"/>
                    </a:cxn>
                    <a:cxn ang="0">
                      <a:pos x="264" y="399"/>
                    </a:cxn>
                    <a:cxn ang="0">
                      <a:pos x="282" y="387"/>
                    </a:cxn>
                    <a:cxn ang="0">
                      <a:pos x="279" y="374"/>
                    </a:cxn>
                    <a:cxn ang="0">
                      <a:pos x="296" y="371"/>
                    </a:cxn>
                    <a:cxn ang="0">
                      <a:pos x="312" y="378"/>
                    </a:cxn>
                    <a:cxn ang="0">
                      <a:pos x="331" y="391"/>
                    </a:cxn>
                    <a:cxn ang="0">
                      <a:pos x="363" y="397"/>
                    </a:cxn>
                    <a:cxn ang="0">
                      <a:pos x="409" y="404"/>
                    </a:cxn>
                    <a:cxn ang="0">
                      <a:pos x="402" y="413"/>
                    </a:cxn>
                    <a:cxn ang="0">
                      <a:pos x="424" y="415"/>
                    </a:cxn>
                  </a:cxnLst>
                  <a:rect l="0" t="0" r="r" b="b"/>
                  <a:pathLst>
                    <a:path w="424" h="534">
                      <a:moveTo>
                        <a:pt x="385" y="381"/>
                      </a:moveTo>
                      <a:lnTo>
                        <a:pt x="385" y="70"/>
                      </a:lnTo>
                      <a:lnTo>
                        <a:pt x="385" y="69"/>
                      </a:lnTo>
                      <a:lnTo>
                        <a:pt x="382" y="69"/>
                      </a:lnTo>
                      <a:lnTo>
                        <a:pt x="382" y="70"/>
                      </a:lnTo>
                      <a:lnTo>
                        <a:pt x="382" y="73"/>
                      </a:lnTo>
                      <a:lnTo>
                        <a:pt x="380" y="72"/>
                      </a:lnTo>
                      <a:lnTo>
                        <a:pt x="377" y="67"/>
                      </a:lnTo>
                      <a:lnTo>
                        <a:pt x="370" y="64"/>
                      </a:lnTo>
                      <a:lnTo>
                        <a:pt x="370" y="63"/>
                      </a:lnTo>
                      <a:lnTo>
                        <a:pt x="364" y="61"/>
                      </a:lnTo>
                      <a:lnTo>
                        <a:pt x="364" y="60"/>
                      </a:lnTo>
                      <a:lnTo>
                        <a:pt x="363" y="59"/>
                      </a:lnTo>
                      <a:lnTo>
                        <a:pt x="354" y="53"/>
                      </a:lnTo>
                      <a:lnTo>
                        <a:pt x="353" y="54"/>
                      </a:lnTo>
                      <a:lnTo>
                        <a:pt x="351" y="54"/>
                      </a:lnTo>
                      <a:lnTo>
                        <a:pt x="350" y="53"/>
                      </a:lnTo>
                      <a:lnTo>
                        <a:pt x="350" y="56"/>
                      </a:lnTo>
                      <a:lnTo>
                        <a:pt x="350" y="57"/>
                      </a:lnTo>
                      <a:lnTo>
                        <a:pt x="347" y="54"/>
                      </a:lnTo>
                      <a:lnTo>
                        <a:pt x="345" y="54"/>
                      </a:lnTo>
                      <a:lnTo>
                        <a:pt x="344" y="54"/>
                      </a:lnTo>
                      <a:lnTo>
                        <a:pt x="338" y="56"/>
                      </a:lnTo>
                      <a:lnTo>
                        <a:pt x="337" y="57"/>
                      </a:lnTo>
                      <a:lnTo>
                        <a:pt x="334" y="59"/>
                      </a:lnTo>
                      <a:lnTo>
                        <a:pt x="331" y="59"/>
                      </a:lnTo>
                      <a:lnTo>
                        <a:pt x="329" y="57"/>
                      </a:lnTo>
                      <a:lnTo>
                        <a:pt x="329" y="59"/>
                      </a:lnTo>
                      <a:lnTo>
                        <a:pt x="324" y="59"/>
                      </a:lnTo>
                      <a:lnTo>
                        <a:pt x="324" y="57"/>
                      </a:lnTo>
                      <a:lnTo>
                        <a:pt x="325" y="56"/>
                      </a:lnTo>
                      <a:lnTo>
                        <a:pt x="319" y="56"/>
                      </a:lnTo>
                      <a:lnTo>
                        <a:pt x="316" y="53"/>
                      </a:lnTo>
                      <a:lnTo>
                        <a:pt x="313" y="51"/>
                      </a:lnTo>
                      <a:lnTo>
                        <a:pt x="300" y="51"/>
                      </a:lnTo>
                      <a:lnTo>
                        <a:pt x="292" y="48"/>
                      </a:lnTo>
                      <a:lnTo>
                        <a:pt x="289" y="47"/>
                      </a:lnTo>
                      <a:lnTo>
                        <a:pt x="286" y="45"/>
                      </a:lnTo>
                      <a:lnTo>
                        <a:pt x="283" y="44"/>
                      </a:lnTo>
                      <a:lnTo>
                        <a:pt x="279" y="44"/>
                      </a:lnTo>
                      <a:lnTo>
                        <a:pt x="277" y="41"/>
                      </a:lnTo>
                      <a:lnTo>
                        <a:pt x="267" y="37"/>
                      </a:lnTo>
                      <a:lnTo>
                        <a:pt x="261" y="38"/>
                      </a:lnTo>
                      <a:lnTo>
                        <a:pt x="260" y="40"/>
                      </a:lnTo>
                      <a:lnTo>
                        <a:pt x="252" y="41"/>
                      </a:lnTo>
                      <a:lnTo>
                        <a:pt x="252" y="40"/>
                      </a:lnTo>
                      <a:lnTo>
                        <a:pt x="255" y="40"/>
                      </a:lnTo>
                      <a:lnTo>
                        <a:pt x="254" y="38"/>
                      </a:lnTo>
                      <a:lnTo>
                        <a:pt x="252" y="37"/>
                      </a:lnTo>
                      <a:lnTo>
                        <a:pt x="250" y="37"/>
                      </a:lnTo>
                      <a:lnTo>
                        <a:pt x="241" y="40"/>
                      </a:lnTo>
                      <a:lnTo>
                        <a:pt x="232" y="38"/>
                      </a:lnTo>
                      <a:lnTo>
                        <a:pt x="235" y="37"/>
                      </a:lnTo>
                      <a:lnTo>
                        <a:pt x="235" y="35"/>
                      </a:lnTo>
                      <a:lnTo>
                        <a:pt x="226" y="35"/>
                      </a:lnTo>
                      <a:lnTo>
                        <a:pt x="223" y="34"/>
                      </a:lnTo>
                      <a:lnTo>
                        <a:pt x="229" y="34"/>
                      </a:lnTo>
                      <a:lnTo>
                        <a:pt x="228" y="32"/>
                      </a:lnTo>
                      <a:lnTo>
                        <a:pt x="226" y="31"/>
                      </a:lnTo>
                      <a:lnTo>
                        <a:pt x="225" y="29"/>
                      </a:lnTo>
                      <a:lnTo>
                        <a:pt x="226" y="27"/>
                      </a:lnTo>
                      <a:lnTo>
                        <a:pt x="228" y="24"/>
                      </a:lnTo>
                      <a:lnTo>
                        <a:pt x="222" y="21"/>
                      </a:lnTo>
                      <a:lnTo>
                        <a:pt x="218" y="21"/>
                      </a:lnTo>
                      <a:lnTo>
                        <a:pt x="219" y="25"/>
                      </a:lnTo>
                      <a:lnTo>
                        <a:pt x="218" y="24"/>
                      </a:lnTo>
                      <a:lnTo>
                        <a:pt x="216" y="25"/>
                      </a:lnTo>
                      <a:lnTo>
                        <a:pt x="215" y="21"/>
                      </a:lnTo>
                      <a:lnTo>
                        <a:pt x="213" y="18"/>
                      </a:lnTo>
                      <a:lnTo>
                        <a:pt x="209" y="19"/>
                      </a:lnTo>
                      <a:lnTo>
                        <a:pt x="205" y="22"/>
                      </a:lnTo>
                      <a:lnTo>
                        <a:pt x="203" y="19"/>
                      </a:lnTo>
                      <a:lnTo>
                        <a:pt x="202" y="21"/>
                      </a:lnTo>
                      <a:lnTo>
                        <a:pt x="200" y="24"/>
                      </a:lnTo>
                      <a:lnTo>
                        <a:pt x="197" y="24"/>
                      </a:lnTo>
                      <a:lnTo>
                        <a:pt x="196" y="22"/>
                      </a:lnTo>
                      <a:lnTo>
                        <a:pt x="193" y="22"/>
                      </a:lnTo>
                      <a:lnTo>
                        <a:pt x="192" y="21"/>
                      </a:lnTo>
                      <a:lnTo>
                        <a:pt x="193" y="19"/>
                      </a:lnTo>
                      <a:lnTo>
                        <a:pt x="190" y="12"/>
                      </a:lnTo>
                      <a:lnTo>
                        <a:pt x="186" y="11"/>
                      </a:lnTo>
                      <a:lnTo>
                        <a:pt x="186" y="13"/>
                      </a:lnTo>
                      <a:lnTo>
                        <a:pt x="183" y="11"/>
                      </a:lnTo>
                      <a:lnTo>
                        <a:pt x="184" y="13"/>
                      </a:lnTo>
                      <a:lnTo>
                        <a:pt x="181" y="13"/>
                      </a:lnTo>
                      <a:lnTo>
                        <a:pt x="180" y="15"/>
                      </a:lnTo>
                      <a:lnTo>
                        <a:pt x="180" y="19"/>
                      </a:lnTo>
                      <a:lnTo>
                        <a:pt x="183" y="22"/>
                      </a:lnTo>
                      <a:lnTo>
                        <a:pt x="181" y="24"/>
                      </a:lnTo>
                      <a:lnTo>
                        <a:pt x="183" y="28"/>
                      </a:lnTo>
                      <a:lnTo>
                        <a:pt x="180" y="27"/>
                      </a:lnTo>
                      <a:lnTo>
                        <a:pt x="180" y="25"/>
                      </a:lnTo>
                      <a:lnTo>
                        <a:pt x="178" y="24"/>
                      </a:lnTo>
                      <a:lnTo>
                        <a:pt x="177" y="25"/>
                      </a:lnTo>
                      <a:lnTo>
                        <a:pt x="176" y="22"/>
                      </a:lnTo>
                      <a:lnTo>
                        <a:pt x="174" y="25"/>
                      </a:lnTo>
                      <a:lnTo>
                        <a:pt x="170" y="22"/>
                      </a:lnTo>
                      <a:lnTo>
                        <a:pt x="168" y="22"/>
                      </a:lnTo>
                      <a:lnTo>
                        <a:pt x="167" y="22"/>
                      </a:lnTo>
                      <a:lnTo>
                        <a:pt x="170" y="18"/>
                      </a:lnTo>
                      <a:lnTo>
                        <a:pt x="171" y="19"/>
                      </a:lnTo>
                      <a:lnTo>
                        <a:pt x="174" y="18"/>
                      </a:lnTo>
                      <a:lnTo>
                        <a:pt x="178" y="13"/>
                      </a:lnTo>
                      <a:lnTo>
                        <a:pt x="178" y="11"/>
                      </a:lnTo>
                      <a:lnTo>
                        <a:pt x="178" y="9"/>
                      </a:lnTo>
                      <a:lnTo>
                        <a:pt x="176" y="8"/>
                      </a:lnTo>
                      <a:lnTo>
                        <a:pt x="171" y="8"/>
                      </a:lnTo>
                      <a:lnTo>
                        <a:pt x="171" y="8"/>
                      </a:lnTo>
                      <a:lnTo>
                        <a:pt x="170" y="5"/>
                      </a:lnTo>
                      <a:lnTo>
                        <a:pt x="168" y="3"/>
                      </a:lnTo>
                      <a:lnTo>
                        <a:pt x="167" y="5"/>
                      </a:lnTo>
                      <a:lnTo>
                        <a:pt x="164" y="3"/>
                      </a:lnTo>
                      <a:lnTo>
                        <a:pt x="162" y="0"/>
                      </a:lnTo>
                      <a:lnTo>
                        <a:pt x="161" y="2"/>
                      </a:lnTo>
                      <a:lnTo>
                        <a:pt x="160" y="3"/>
                      </a:lnTo>
                      <a:lnTo>
                        <a:pt x="158" y="5"/>
                      </a:lnTo>
                      <a:lnTo>
                        <a:pt x="158" y="6"/>
                      </a:lnTo>
                      <a:lnTo>
                        <a:pt x="158" y="6"/>
                      </a:lnTo>
                      <a:lnTo>
                        <a:pt x="158" y="9"/>
                      </a:lnTo>
                      <a:lnTo>
                        <a:pt x="157" y="11"/>
                      </a:lnTo>
                      <a:lnTo>
                        <a:pt x="155" y="9"/>
                      </a:lnTo>
                      <a:lnTo>
                        <a:pt x="155" y="9"/>
                      </a:lnTo>
                      <a:lnTo>
                        <a:pt x="151" y="16"/>
                      </a:lnTo>
                      <a:lnTo>
                        <a:pt x="144" y="22"/>
                      </a:lnTo>
                      <a:lnTo>
                        <a:pt x="138" y="22"/>
                      </a:lnTo>
                      <a:lnTo>
                        <a:pt x="139" y="24"/>
                      </a:lnTo>
                      <a:lnTo>
                        <a:pt x="132" y="25"/>
                      </a:lnTo>
                      <a:lnTo>
                        <a:pt x="126" y="24"/>
                      </a:lnTo>
                      <a:lnTo>
                        <a:pt x="128" y="25"/>
                      </a:lnTo>
                      <a:lnTo>
                        <a:pt x="126" y="27"/>
                      </a:lnTo>
                      <a:lnTo>
                        <a:pt x="126" y="29"/>
                      </a:lnTo>
                      <a:lnTo>
                        <a:pt x="122" y="27"/>
                      </a:lnTo>
                      <a:lnTo>
                        <a:pt x="123" y="25"/>
                      </a:lnTo>
                      <a:lnTo>
                        <a:pt x="125" y="22"/>
                      </a:lnTo>
                      <a:lnTo>
                        <a:pt x="128" y="21"/>
                      </a:lnTo>
                      <a:lnTo>
                        <a:pt x="129" y="19"/>
                      </a:lnTo>
                      <a:lnTo>
                        <a:pt x="120" y="24"/>
                      </a:lnTo>
                      <a:lnTo>
                        <a:pt x="117" y="27"/>
                      </a:lnTo>
                      <a:lnTo>
                        <a:pt x="116" y="28"/>
                      </a:lnTo>
                      <a:lnTo>
                        <a:pt x="116" y="29"/>
                      </a:lnTo>
                      <a:lnTo>
                        <a:pt x="113" y="31"/>
                      </a:lnTo>
                      <a:lnTo>
                        <a:pt x="115" y="32"/>
                      </a:lnTo>
                      <a:lnTo>
                        <a:pt x="116" y="32"/>
                      </a:lnTo>
                      <a:lnTo>
                        <a:pt x="117" y="35"/>
                      </a:lnTo>
                      <a:lnTo>
                        <a:pt x="120" y="37"/>
                      </a:lnTo>
                      <a:lnTo>
                        <a:pt x="122" y="37"/>
                      </a:lnTo>
                      <a:lnTo>
                        <a:pt x="119" y="38"/>
                      </a:lnTo>
                      <a:lnTo>
                        <a:pt x="117" y="38"/>
                      </a:lnTo>
                      <a:lnTo>
                        <a:pt x="116" y="41"/>
                      </a:lnTo>
                      <a:lnTo>
                        <a:pt x="117" y="43"/>
                      </a:lnTo>
                      <a:lnTo>
                        <a:pt x="117" y="45"/>
                      </a:lnTo>
                      <a:lnTo>
                        <a:pt x="116" y="47"/>
                      </a:lnTo>
                      <a:lnTo>
                        <a:pt x="115" y="45"/>
                      </a:lnTo>
                      <a:lnTo>
                        <a:pt x="115" y="43"/>
                      </a:lnTo>
                      <a:lnTo>
                        <a:pt x="112" y="44"/>
                      </a:lnTo>
                      <a:lnTo>
                        <a:pt x="113" y="41"/>
                      </a:lnTo>
                      <a:lnTo>
                        <a:pt x="113" y="38"/>
                      </a:lnTo>
                      <a:lnTo>
                        <a:pt x="115" y="37"/>
                      </a:lnTo>
                      <a:lnTo>
                        <a:pt x="115" y="34"/>
                      </a:lnTo>
                      <a:lnTo>
                        <a:pt x="112" y="34"/>
                      </a:lnTo>
                      <a:lnTo>
                        <a:pt x="104" y="38"/>
                      </a:lnTo>
                      <a:lnTo>
                        <a:pt x="104" y="40"/>
                      </a:lnTo>
                      <a:lnTo>
                        <a:pt x="107" y="38"/>
                      </a:lnTo>
                      <a:lnTo>
                        <a:pt x="106" y="41"/>
                      </a:lnTo>
                      <a:lnTo>
                        <a:pt x="94" y="48"/>
                      </a:lnTo>
                      <a:lnTo>
                        <a:pt x="90" y="50"/>
                      </a:lnTo>
                      <a:lnTo>
                        <a:pt x="87" y="53"/>
                      </a:lnTo>
                      <a:lnTo>
                        <a:pt x="88" y="50"/>
                      </a:lnTo>
                      <a:lnTo>
                        <a:pt x="88" y="48"/>
                      </a:lnTo>
                      <a:lnTo>
                        <a:pt x="90" y="47"/>
                      </a:lnTo>
                      <a:lnTo>
                        <a:pt x="87" y="45"/>
                      </a:lnTo>
                      <a:lnTo>
                        <a:pt x="84" y="53"/>
                      </a:lnTo>
                      <a:lnTo>
                        <a:pt x="84" y="56"/>
                      </a:lnTo>
                      <a:lnTo>
                        <a:pt x="88" y="60"/>
                      </a:lnTo>
                      <a:lnTo>
                        <a:pt x="91" y="61"/>
                      </a:lnTo>
                      <a:lnTo>
                        <a:pt x="91" y="63"/>
                      </a:lnTo>
                      <a:lnTo>
                        <a:pt x="84" y="59"/>
                      </a:lnTo>
                      <a:lnTo>
                        <a:pt x="83" y="57"/>
                      </a:lnTo>
                      <a:lnTo>
                        <a:pt x="80" y="57"/>
                      </a:lnTo>
                      <a:lnTo>
                        <a:pt x="74" y="66"/>
                      </a:lnTo>
                      <a:lnTo>
                        <a:pt x="75" y="67"/>
                      </a:lnTo>
                      <a:lnTo>
                        <a:pt x="83" y="67"/>
                      </a:lnTo>
                      <a:lnTo>
                        <a:pt x="81" y="69"/>
                      </a:lnTo>
                      <a:lnTo>
                        <a:pt x="74" y="69"/>
                      </a:lnTo>
                      <a:lnTo>
                        <a:pt x="72" y="69"/>
                      </a:lnTo>
                      <a:lnTo>
                        <a:pt x="72" y="70"/>
                      </a:lnTo>
                      <a:lnTo>
                        <a:pt x="75" y="73"/>
                      </a:lnTo>
                      <a:lnTo>
                        <a:pt x="78" y="76"/>
                      </a:lnTo>
                      <a:lnTo>
                        <a:pt x="77" y="76"/>
                      </a:lnTo>
                      <a:lnTo>
                        <a:pt x="72" y="73"/>
                      </a:lnTo>
                      <a:lnTo>
                        <a:pt x="72" y="75"/>
                      </a:lnTo>
                      <a:lnTo>
                        <a:pt x="70" y="83"/>
                      </a:lnTo>
                      <a:lnTo>
                        <a:pt x="70" y="85"/>
                      </a:lnTo>
                      <a:lnTo>
                        <a:pt x="70" y="80"/>
                      </a:lnTo>
                      <a:lnTo>
                        <a:pt x="64" y="93"/>
                      </a:lnTo>
                      <a:lnTo>
                        <a:pt x="58" y="99"/>
                      </a:lnTo>
                      <a:lnTo>
                        <a:pt x="32" y="105"/>
                      </a:lnTo>
                      <a:lnTo>
                        <a:pt x="29" y="105"/>
                      </a:lnTo>
                      <a:lnTo>
                        <a:pt x="32" y="104"/>
                      </a:lnTo>
                      <a:lnTo>
                        <a:pt x="32" y="102"/>
                      </a:lnTo>
                      <a:lnTo>
                        <a:pt x="26" y="104"/>
                      </a:lnTo>
                      <a:lnTo>
                        <a:pt x="25" y="118"/>
                      </a:lnTo>
                      <a:lnTo>
                        <a:pt x="26" y="118"/>
                      </a:lnTo>
                      <a:lnTo>
                        <a:pt x="27" y="118"/>
                      </a:lnTo>
                      <a:lnTo>
                        <a:pt x="26" y="120"/>
                      </a:lnTo>
                      <a:lnTo>
                        <a:pt x="22" y="121"/>
                      </a:lnTo>
                      <a:lnTo>
                        <a:pt x="22" y="122"/>
                      </a:lnTo>
                      <a:lnTo>
                        <a:pt x="20" y="122"/>
                      </a:lnTo>
                      <a:lnTo>
                        <a:pt x="22" y="121"/>
                      </a:lnTo>
                      <a:lnTo>
                        <a:pt x="23" y="120"/>
                      </a:lnTo>
                      <a:lnTo>
                        <a:pt x="17" y="122"/>
                      </a:lnTo>
                      <a:lnTo>
                        <a:pt x="17" y="124"/>
                      </a:lnTo>
                      <a:lnTo>
                        <a:pt x="26" y="127"/>
                      </a:lnTo>
                      <a:lnTo>
                        <a:pt x="30" y="133"/>
                      </a:lnTo>
                      <a:lnTo>
                        <a:pt x="36" y="137"/>
                      </a:lnTo>
                      <a:lnTo>
                        <a:pt x="39" y="137"/>
                      </a:lnTo>
                      <a:lnTo>
                        <a:pt x="56" y="153"/>
                      </a:lnTo>
                      <a:lnTo>
                        <a:pt x="56" y="154"/>
                      </a:lnTo>
                      <a:lnTo>
                        <a:pt x="59" y="156"/>
                      </a:lnTo>
                      <a:lnTo>
                        <a:pt x="61" y="162"/>
                      </a:lnTo>
                      <a:lnTo>
                        <a:pt x="62" y="163"/>
                      </a:lnTo>
                      <a:lnTo>
                        <a:pt x="61" y="163"/>
                      </a:lnTo>
                      <a:lnTo>
                        <a:pt x="62" y="170"/>
                      </a:lnTo>
                      <a:lnTo>
                        <a:pt x="75" y="176"/>
                      </a:lnTo>
                      <a:lnTo>
                        <a:pt x="74" y="175"/>
                      </a:lnTo>
                      <a:lnTo>
                        <a:pt x="75" y="173"/>
                      </a:lnTo>
                      <a:lnTo>
                        <a:pt x="75" y="172"/>
                      </a:lnTo>
                      <a:lnTo>
                        <a:pt x="80" y="172"/>
                      </a:lnTo>
                      <a:lnTo>
                        <a:pt x="80" y="170"/>
                      </a:lnTo>
                      <a:lnTo>
                        <a:pt x="80" y="169"/>
                      </a:lnTo>
                      <a:lnTo>
                        <a:pt x="81" y="169"/>
                      </a:lnTo>
                      <a:lnTo>
                        <a:pt x="81" y="169"/>
                      </a:lnTo>
                      <a:lnTo>
                        <a:pt x="78" y="175"/>
                      </a:lnTo>
                      <a:lnTo>
                        <a:pt x="80" y="176"/>
                      </a:lnTo>
                      <a:lnTo>
                        <a:pt x="83" y="175"/>
                      </a:lnTo>
                      <a:lnTo>
                        <a:pt x="87" y="173"/>
                      </a:lnTo>
                      <a:lnTo>
                        <a:pt x="90" y="173"/>
                      </a:lnTo>
                      <a:lnTo>
                        <a:pt x="91" y="175"/>
                      </a:lnTo>
                      <a:lnTo>
                        <a:pt x="93" y="176"/>
                      </a:lnTo>
                      <a:lnTo>
                        <a:pt x="93" y="178"/>
                      </a:lnTo>
                      <a:lnTo>
                        <a:pt x="90" y="179"/>
                      </a:lnTo>
                      <a:lnTo>
                        <a:pt x="88" y="184"/>
                      </a:lnTo>
                      <a:lnTo>
                        <a:pt x="91" y="188"/>
                      </a:lnTo>
                      <a:lnTo>
                        <a:pt x="96" y="191"/>
                      </a:lnTo>
                      <a:lnTo>
                        <a:pt x="97" y="189"/>
                      </a:lnTo>
                      <a:lnTo>
                        <a:pt x="97" y="186"/>
                      </a:lnTo>
                      <a:lnTo>
                        <a:pt x="97" y="186"/>
                      </a:lnTo>
                      <a:lnTo>
                        <a:pt x="97" y="189"/>
                      </a:lnTo>
                      <a:lnTo>
                        <a:pt x="99" y="189"/>
                      </a:lnTo>
                      <a:lnTo>
                        <a:pt x="99" y="188"/>
                      </a:lnTo>
                      <a:lnTo>
                        <a:pt x="103" y="188"/>
                      </a:lnTo>
                      <a:lnTo>
                        <a:pt x="107" y="191"/>
                      </a:lnTo>
                      <a:lnTo>
                        <a:pt x="110" y="189"/>
                      </a:lnTo>
                      <a:lnTo>
                        <a:pt x="113" y="186"/>
                      </a:lnTo>
                      <a:lnTo>
                        <a:pt x="115" y="188"/>
                      </a:lnTo>
                      <a:lnTo>
                        <a:pt x="117" y="186"/>
                      </a:lnTo>
                      <a:lnTo>
                        <a:pt x="120" y="186"/>
                      </a:lnTo>
                      <a:lnTo>
                        <a:pt x="120" y="188"/>
                      </a:lnTo>
                      <a:lnTo>
                        <a:pt x="113" y="191"/>
                      </a:lnTo>
                      <a:lnTo>
                        <a:pt x="113" y="192"/>
                      </a:lnTo>
                      <a:lnTo>
                        <a:pt x="113" y="192"/>
                      </a:lnTo>
                      <a:lnTo>
                        <a:pt x="115" y="192"/>
                      </a:lnTo>
                      <a:lnTo>
                        <a:pt x="120" y="189"/>
                      </a:lnTo>
                      <a:lnTo>
                        <a:pt x="122" y="191"/>
                      </a:lnTo>
                      <a:lnTo>
                        <a:pt x="122" y="192"/>
                      </a:lnTo>
                      <a:lnTo>
                        <a:pt x="120" y="194"/>
                      </a:lnTo>
                      <a:lnTo>
                        <a:pt x="115" y="195"/>
                      </a:lnTo>
                      <a:lnTo>
                        <a:pt x="112" y="195"/>
                      </a:lnTo>
                      <a:lnTo>
                        <a:pt x="112" y="197"/>
                      </a:lnTo>
                      <a:lnTo>
                        <a:pt x="106" y="198"/>
                      </a:lnTo>
                      <a:lnTo>
                        <a:pt x="104" y="198"/>
                      </a:lnTo>
                      <a:lnTo>
                        <a:pt x="103" y="195"/>
                      </a:lnTo>
                      <a:lnTo>
                        <a:pt x="101" y="195"/>
                      </a:lnTo>
                      <a:lnTo>
                        <a:pt x="100" y="194"/>
                      </a:lnTo>
                      <a:lnTo>
                        <a:pt x="99" y="194"/>
                      </a:lnTo>
                      <a:lnTo>
                        <a:pt x="99" y="192"/>
                      </a:lnTo>
                      <a:lnTo>
                        <a:pt x="97" y="192"/>
                      </a:lnTo>
                      <a:lnTo>
                        <a:pt x="96" y="194"/>
                      </a:lnTo>
                      <a:lnTo>
                        <a:pt x="90" y="194"/>
                      </a:lnTo>
                      <a:lnTo>
                        <a:pt x="88" y="191"/>
                      </a:lnTo>
                      <a:lnTo>
                        <a:pt x="86" y="186"/>
                      </a:lnTo>
                      <a:lnTo>
                        <a:pt x="88" y="194"/>
                      </a:lnTo>
                      <a:lnTo>
                        <a:pt x="87" y="197"/>
                      </a:lnTo>
                      <a:lnTo>
                        <a:pt x="87" y="199"/>
                      </a:lnTo>
                      <a:lnTo>
                        <a:pt x="90" y="199"/>
                      </a:lnTo>
                      <a:lnTo>
                        <a:pt x="88" y="199"/>
                      </a:lnTo>
                      <a:lnTo>
                        <a:pt x="90" y="197"/>
                      </a:lnTo>
                      <a:lnTo>
                        <a:pt x="100" y="199"/>
                      </a:lnTo>
                      <a:lnTo>
                        <a:pt x="101" y="201"/>
                      </a:lnTo>
                      <a:lnTo>
                        <a:pt x="101" y="202"/>
                      </a:lnTo>
                      <a:lnTo>
                        <a:pt x="99" y="205"/>
                      </a:lnTo>
                      <a:lnTo>
                        <a:pt x="100" y="204"/>
                      </a:lnTo>
                      <a:lnTo>
                        <a:pt x="99" y="202"/>
                      </a:lnTo>
                      <a:lnTo>
                        <a:pt x="94" y="201"/>
                      </a:lnTo>
                      <a:lnTo>
                        <a:pt x="90" y="208"/>
                      </a:lnTo>
                      <a:lnTo>
                        <a:pt x="90" y="211"/>
                      </a:lnTo>
                      <a:lnTo>
                        <a:pt x="90" y="211"/>
                      </a:lnTo>
                      <a:lnTo>
                        <a:pt x="87" y="211"/>
                      </a:lnTo>
                      <a:lnTo>
                        <a:pt x="87" y="210"/>
                      </a:lnTo>
                      <a:lnTo>
                        <a:pt x="86" y="208"/>
                      </a:lnTo>
                      <a:lnTo>
                        <a:pt x="83" y="208"/>
                      </a:lnTo>
                      <a:lnTo>
                        <a:pt x="83" y="210"/>
                      </a:lnTo>
                      <a:lnTo>
                        <a:pt x="81" y="208"/>
                      </a:lnTo>
                      <a:lnTo>
                        <a:pt x="78" y="208"/>
                      </a:lnTo>
                      <a:lnTo>
                        <a:pt x="77" y="208"/>
                      </a:lnTo>
                      <a:lnTo>
                        <a:pt x="77" y="208"/>
                      </a:lnTo>
                      <a:lnTo>
                        <a:pt x="77" y="207"/>
                      </a:lnTo>
                      <a:lnTo>
                        <a:pt x="74" y="207"/>
                      </a:lnTo>
                      <a:lnTo>
                        <a:pt x="74" y="208"/>
                      </a:lnTo>
                      <a:lnTo>
                        <a:pt x="72" y="208"/>
                      </a:lnTo>
                      <a:lnTo>
                        <a:pt x="64" y="208"/>
                      </a:lnTo>
                      <a:lnTo>
                        <a:pt x="61" y="207"/>
                      </a:lnTo>
                      <a:lnTo>
                        <a:pt x="61" y="204"/>
                      </a:lnTo>
                      <a:lnTo>
                        <a:pt x="56" y="204"/>
                      </a:lnTo>
                      <a:lnTo>
                        <a:pt x="61" y="199"/>
                      </a:lnTo>
                      <a:lnTo>
                        <a:pt x="61" y="197"/>
                      </a:lnTo>
                      <a:lnTo>
                        <a:pt x="61" y="194"/>
                      </a:lnTo>
                      <a:lnTo>
                        <a:pt x="61" y="191"/>
                      </a:lnTo>
                      <a:lnTo>
                        <a:pt x="58" y="189"/>
                      </a:lnTo>
                      <a:lnTo>
                        <a:pt x="59" y="189"/>
                      </a:lnTo>
                      <a:lnTo>
                        <a:pt x="64" y="189"/>
                      </a:lnTo>
                      <a:lnTo>
                        <a:pt x="48" y="189"/>
                      </a:lnTo>
                      <a:lnTo>
                        <a:pt x="43" y="195"/>
                      </a:lnTo>
                      <a:lnTo>
                        <a:pt x="41" y="195"/>
                      </a:lnTo>
                      <a:lnTo>
                        <a:pt x="39" y="197"/>
                      </a:lnTo>
                      <a:lnTo>
                        <a:pt x="38" y="195"/>
                      </a:lnTo>
                      <a:lnTo>
                        <a:pt x="32" y="201"/>
                      </a:lnTo>
                      <a:lnTo>
                        <a:pt x="35" y="202"/>
                      </a:lnTo>
                      <a:lnTo>
                        <a:pt x="36" y="205"/>
                      </a:lnTo>
                      <a:lnTo>
                        <a:pt x="35" y="207"/>
                      </a:lnTo>
                      <a:lnTo>
                        <a:pt x="29" y="207"/>
                      </a:lnTo>
                      <a:lnTo>
                        <a:pt x="27" y="205"/>
                      </a:lnTo>
                      <a:lnTo>
                        <a:pt x="27" y="204"/>
                      </a:lnTo>
                      <a:lnTo>
                        <a:pt x="19" y="208"/>
                      </a:lnTo>
                      <a:lnTo>
                        <a:pt x="17" y="211"/>
                      </a:lnTo>
                      <a:lnTo>
                        <a:pt x="17" y="210"/>
                      </a:lnTo>
                      <a:lnTo>
                        <a:pt x="16" y="211"/>
                      </a:lnTo>
                      <a:lnTo>
                        <a:pt x="16" y="214"/>
                      </a:lnTo>
                      <a:lnTo>
                        <a:pt x="13" y="215"/>
                      </a:lnTo>
                      <a:lnTo>
                        <a:pt x="11" y="214"/>
                      </a:lnTo>
                      <a:lnTo>
                        <a:pt x="9" y="215"/>
                      </a:lnTo>
                      <a:lnTo>
                        <a:pt x="7" y="217"/>
                      </a:lnTo>
                      <a:lnTo>
                        <a:pt x="7" y="218"/>
                      </a:lnTo>
                      <a:lnTo>
                        <a:pt x="9" y="220"/>
                      </a:lnTo>
                      <a:lnTo>
                        <a:pt x="3" y="223"/>
                      </a:lnTo>
                      <a:lnTo>
                        <a:pt x="1" y="223"/>
                      </a:lnTo>
                      <a:lnTo>
                        <a:pt x="3" y="220"/>
                      </a:lnTo>
                      <a:lnTo>
                        <a:pt x="0" y="221"/>
                      </a:lnTo>
                      <a:lnTo>
                        <a:pt x="0" y="224"/>
                      </a:lnTo>
                      <a:lnTo>
                        <a:pt x="10" y="231"/>
                      </a:lnTo>
                      <a:lnTo>
                        <a:pt x="17" y="234"/>
                      </a:lnTo>
                      <a:lnTo>
                        <a:pt x="19" y="233"/>
                      </a:lnTo>
                      <a:lnTo>
                        <a:pt x="17" y="231"/>
                      </a:lnTo>
                      <a:lnTo>
                        <a:pt x="27" y="234"/>
                      </a:lnTo>
                      <a:lnTo>
                        <a:pt x="23" y="237"/>
                      </a:lnTo>
                      <a:lnTo>
                        <a:pt x="20" y="240"/>
                      </a:lnTo>
                      <a:lnTo>
                        <a:pt x="19" y="239"/>
                      </a:lnTo>
                      <a:lnTo>
                        <a:pt x="19" y="237"/>
                      </a:lnTo>
                      <a:lnTo>
                        <a:pt x="17" y="236"/>
                      </a:lnTo>
                      <a:lnTo>
                        <a:pt x="17" y="239"/>
                      </a:lnTo>
                      <a:lnTo>
                        <a:pt x="20" y="245"/>
                      </a:lnTo>
                      <a:lnTo>
                        <a:pt x="23" y="247"/>
                      </a:lnTo>
                      <a:lnTo>
                        <a:pt x="23" y="250"/>
                      </a:lnTo>
                      <a:lnTo>
                        <a:pt x="23" y="253"/>
                      </a:lnTo>
                      <a:lnTo>
                        <a:pt x="25" y="258"/>
                      </a:lnTo>
                      <a:lnTo>
                        <a:pt x="26" y="258"/>
                      </a:lnTo>
                      <a:lnTo>
                        <a:pt x="27" y="259"/>
                      </a:lnTo>
                      <a:lnTo>
                        <a:pt x="41" y="261"/>
                      </a:lnTo>
                      <a:lnTo>
                        <a:pt x="46" y="263"/>
                      </a:lnTo>
                      <a:lnTo>
                        <a:pt x="54" y="259"/>
                      </a:lnTo>
                      <a:lnTo>
                        <a:pt x="59" y="261"/>
                      </a:lnTo>
                      <a:lnTo>
                        <a:pt x="64" y="259"/>
                      </a:lnTo>
                      <a:lnTo>
                        <a:pt x="68" y="261"/>
                      </a:lnTo>
                      <a:lnTo>
                        <a:pt x="71" y="265"/>
                      </a:lnTo>
                      <a:lnTo>
                        <a:pt x="71" y="263"/>
                      </a:lnTo>
                      <a:lnTo>
                        <a:pt x="72" y="261"/>
                      </a:lnTo>
                      <a:lnTo>
                        <a:pt x="70" y="261"/>
                      </a:lnTo>
                      <a:lnTo>
                        <a:pt x="68" y="259"/>
                      </a:lnTo>
                      <a:lnTo>
                        <a:pt x="67" y="258"/>
                      </a:lnTo>
                      <a:lnTo>
                        <a:pt x="71" y="258"/>
                      </a:lnTo>
                      <a:lnTo>
                        <a:pt x="72" y="259"/>
                      </a:lnTo>
                      <a:lnTo>
                        <a:pt x="74" y="261"/>
                      </a:lnTo>
                      <a:lnTo>
                        <a:pt x="75" y="268"/>
                      </a:lnTo>
                      <a:lnTo>
                        <a:pt x="77" y="268"/>
                      </a:lnTo>
                      <a:lnTo>
                        <a:pt x="80" y="261"/>
                      </a:lnTo>
                      <a:lnTo>
                        <a:pt x="86" y="255"/>
                      </a:lnTo>
                      <a:lnTo>
                        <a:pt x="90" y="253"/>
                      </a:lnTo>
                      <a:lnTo>
                        <a:pt x="90" y="250"/>
                      </a:lnTo>
                      <a:lnTo>
                        <a:pt x="94" y="252"/>
                      </a:lnTo>
                      <a:lnTo>
                        <a:pt x="96" y="252"/>
                      </a:lnTo>
                      <a:lnTo>
                        <a:pt x="97" y="250"/>
                      </a:lnTo>
                      <a:lnTo>
                        <a:pt x="100" y="249"/>
                      </a:lnTo>
                      <a:lnTo>
                        <a:pt x="103" y="252"/>
                      </a:lnTo>
                      <a:lnTo>
                        <a:pt x="104" y="252"/>
                      </a:lnTo>
                      <a:lnTo>
                        <a:pt x="104" y="256"/>
                      </a:lnTo>
                      <a:lnTo>
                        <a:pt x="101" y="261"/>
                      </a:lnTo>
                      <a:lnTo>
                        <a:pt x="99" y="262"/>
                      </a:lnTo>
                      <a:lnTo>
                        <a:pt x="97" y="261"/>
                      </a:lnTo>
                      <a:lnTo>
                        <a:pt x="94" y="261"/>
                      </a:lnTo>
                      <a:lnTo>
                        <a:pt x="94" y="263"/>
                      </a:lnTo>
                      <a:lnTo>
                        <a:pt x="94" y="265"/>
                      </a:lnTo>
                      <a:lnTo>
                        <a:pt x="96" y="263"/>
                      </a:lnTo>
                      <a:lnTo>
                        <a:pt x="99" y="265"/>
                      </a:lnTo>
                      <a:lnTo>
                        <a:pt x="103" y="274"/>
                      </a:lnTo>
                      <a:lnTo>
                        <a:pt x="101" y="277"/>
                      </a:lnTo>
                      <a:lnTo>
                        <a:pt x="101" y="277"/>
                      </a:lnTo>
                      <a:lnTo>
                        <a:pt x="103" y="278"/>
                      </a:lnTo>
                      <a:lnTo>
                        <a:pt x="104" y="282"/>
                      </a:lnTo>
                      <a:lnTo>
                        <a:pt x="104" y="285"/>
                      </a:lnTo>
                      <a:lnTo>
                        <a:pt x="100" y="292"/>
                      </a:lnTo>
                      <a:lnTo>
                        <a:pt x="97" y="294"/>
                      </a:lnTo>
                      <a:lnTo>
                        <a:pt x="96" y="295"/>
                      </a:lnTo>
                      <a:lnTo>
                        <a:pt x="93" y="295"/>
                      </a:lnTo>
                      <a:lnTo>
                        <a:pt x="91" y="297"/>
                      </a:lnTo>
                      <a:lnTo>
                        <a:pt x="88" y="295"/>
                      </a:lnTo>
                      <a:lnTo>
                        <a:pt x="84" y="297"/>
                      </a:lnTo>
                      <a:lnTo>
                        <a:pt x="83" y="297"/>
                      </a:lnTo>
                      <a:lnTo>
                        <a:pt x="86" y="295"/>
                      </a:lnTo>
                      <a:lnTo>
                        <a:pt x="86" y="294"/>
                      </a:lnTo>
                      <a:lnTo>
                        <a:pt x="83" y="294"/>
                      </a:lnTo>
                      <a:lnTo>
                        <a:pt x="72" y="307"/>
                      </a:lnTo>
                      <a:lnTo>
                        <a:pt x="70" y="308"/>
                      </a:lnTo>
                      <a:lnTo>
                        <a:pt x="67" y="307"/>
                      </a:lnTo>
                      <a:lnTo>
                        <a:pt x="65" y="307"/>
                      </a:lnTo>
                      <a:lnTo>
                        <a:pt x="62" y="310"/>
                      </a:lnTo>
                      <a:lnTo>
                        <a:pt x="56" y="311"/>
                      </a:lnTo>
                      <a:lnTo>
                        <a:pt x="56" y="313"/>
                      </a:lnTo>
                      <a:lnTo>
                        <a:pt x="56" y="314"/>
                      </a:lnTo>
                      <a:lnTo>
                        <a:pt x="56" y="314"/>
                      </a:lnTo>
                      <a:lnTo>
                        <a:pt x="56" y="317"/>
                      </a:lnTo>
                      <a:lnTo>
                        <a:pt x="56" y="319"/>
                      </a:lnTo>
                      <a:lnTo>
                        <a:pt x="52" y="317"/>
                      </a:lnTo>
                      <a:lnTo>
                        <a:pt x="49" y="319"/>
                      </a:lnTo>
                      <a:lnTo>
                        <a:pt x="46" y="322"/>
                      </a:lnTo>
                      <a:lnTo>
                        <a:pt x="45" y="324"/>
                      </a:lnTo>
                      <a:lnTo>
                        <a:pt x="43" y="323"/>
                      </a:lnTo>
                      <a:lnTo>
                        <a:pt x="42" y="323"/>
                      </a:lnTo>
                      <a:lnTo>
                        <a:pt x="38" y="329"/>
                      </a:lnTo>
                      <a:lnTo>
                        <a:pt x="36" y="329"/>
                      </a:lnTo>
                      <a:lnTo>
                        <a:pt x="35" y="330"/>
                      </a:lnTo>
                      <a:lnTo>
                        <a:pt x="33" y="338"/>
                      </a:lnTo>
                      <a:lnTo>
                        <a:pt x="33" y="343"/>
                      </a:lnTo>
                      <a:lnTo>
                        <a:pt x="32" y="345"/>
                      </a:lnTo>
                      <a:lnTo>
                        <a:pt x="29" y="346"/>
                      </a:lnTo>
                      <a:lnTo>
                        <a:pt x="27" y="345"/>
                      </a:lnTo>
                      <a:lnTo>
                        <a:pt x="27" y="346"/>
                      </a:lnTo>
                      <a:lnTo>
                        <a:pt x="27" y="348"/>
                      </a:lnTo>
                      <a:lnTo>
                        <a:pt x="30" y="349"/>
                      </a:lnTo>
                      <a:lnTo>
                        <a:pt x="29" y="351"/>
                      </a:lnTo>
                      <a:lnTo>
                        <a:pt x="26" y="352"/>
                      </a:lnTo>
                      <a:lnTo>
                        <a:pt x="26" y="355"/>
                      </a:lnTo>
                      <a:lnTo>
                        <a:pt x="26" y="355"/>
                      </a:lnTo>
                      <a:lnTo>
                        <a:pt x="32" y="354"/>
                      </a:lnTo>
                      <a:lnTo>
                        <a:pt x="33" y="352"/>
                      </a:lnTo>
                      <a:lnTo>
                        <a:pt x="35" y="352"/>
                      </a:lnTo>
                      <a:lnTo>
                        <a:pt x="41" y="351"/>
                      </a:lnTo>
                      <a:lnTo>
                        <a:pt x="41" y="352"/>
                      </a:lnTo>
                      <a:lnTo>
                        <a:pt x="39" y="352"/>
                      </a:lnTo>
                      <a:lnTo>
                        <a:pt x="39" y="354"/>
                      </a:lnTo>
                      <a:lnTo>
                        <a:pt x="35" y="354"/>
                      </a:lnTo>
                      <a:lnTo>
                        <a:pt x="32" y="355"/>
                      </a:lnTo>
                      <a:lnTo>
                        <a:pt x="30" y="356"/>
                      </a:lnTo>
                      <a:lnTo>
                        <a:pt x="30" y="358"/>
                      </a:lnTo>
                      <a:lnTo>
                        <a:pt x="33" y="361"/>
                      </a:lnTo>
                      <a:lnTo>
                        <a:pt x="38" y="358"/>
                      </a:lnTo>
                      <a:lnTo>
                        <a:pt x="39" y="359"/>
                      </a:lnTo>
                      <a:lnTo>
                        <a:pt x="38" y="361"/>
                      </a:lnTo>
                      <a:lnTo>
                        <a:pt x="36" y="362"/>
                      </a:lnTo>
                      <a:lnTo>
                        <a:pt x="38" y="365"/>
                      </a:lnTo>
                      <a:lnTo>
                        <a:pt x="39" y="367"/>
                      </a:lnTo>
                      <a:lnTo>
                        <a:pt x="39" y="368"/>
                      </a:lnTo>
                      <a:lnTo>
                        <a:pt x="41" y="371"/>
                      </a:lnTo>
                      <a:lnTo>
                        <a:pt x="41" y="371"/>
                      </a:lnTo>
                      <a:lnTo>
                        <a:pt x="42" y="371"/>
                      </a:lnTo>
                      <a:lnTo>
                        <a:pt x="45" y="367"/>
                      </a:lnTo>
                      <a:lnTo>
                        <a:pt x="45" y="370"/>
                      </a:lnTo>
                      <a:lnTo>
                        <a:pt x="46" y="370"/>
                      </a:lnTo>
                      <a:lnTo>
                        <a:pt x="49" y="370"/>
                      </a:lnTo>
                      <a:lnTo>
                        <a:pt x="48" y="374"/>
                      </a:lnTo>
                      <a:lnTo>
                        <a:pt x="56" y="375"/>
                      </a:lnTo>
                      <a:lnTo>
                        <a:pt x="59" y="374"/>
                      </a:lnTo>
                      <a:lnTo>
                        <a:pt x="61" y="374"/>
                      </a:lnTo>
                      <a:lnTo>
                        <a:pt x="62" y="377"/>
                      </a:lnTo>
                      <a:lnTo>
                        <a:pt x="61" y="378"/>
                      </a:lnTo>
                      <a:lnTo>
                        <a:pt x="56" y="381"/>
                      </a:lnTo>
                      <a:lnTo>
                        <a:pt x="51" y="390"/>
                      </a:lnTo>
                      <a:lnTo>
                        <a:pt x="49" y="391"/>
                      </a:lnTo>
                      <a:lnTo>
                        <a:pt x="49" y="394"/>
                      </a:lnTo>
                      <a:lnTo>
                        <a:pt x="52" y="399"/>
                      </a:lnTo>
                      <a:lnTo>
                        <a:pt x="54" y="399"/>
                      </a:lnTo>
                      <a:lnTo>
                        <a:pt x="55" y="397"/>
                      </a:lnTo>
                      <a:lnTo>
                        <a:pt x="58" y="397"/>
                      </a:lnTo>
                      <a:lnTo>
                        <a:pt x="58" y="399"/>
                      </a:lnTo>
                      <a:lnTo>
                        <a:pt x="56" y="399"/>
                      </a:lnTo>
                      <a:lnTo>
                        <a:pt x="58" y="400"/>
                      </a:lnTo>
                      <a:lnTo>
                        <a:pt x="61" y="400"/>
                      </a:lnTo>
                      <a:lnTo>
                        <a:pt x="61" y="400"/>
                      </a:lnTo>
                      <a:lnTo>
                        <a:pt x="56" y="401"/>
                      </a:lnTo>
                      <a:lnTo>
                        <a:pt x="55" y="401"/>
                      </a:lnTo>
                      <a:lnTo>
                        <a:pt x="56" y="404"/>
                      </a:lnTo>
                      <a:lnTo>
                        <a:pt x="59" y="406"/>
                      </a:lnTo>
                      <a:lnTo>
                        <a:pt x="61" y="406"/>
                      </a:lnTo>
                      <a:lnTo>
                        <a:pt x="62" y="407"/>
                      </a:lnTo>
                      <a:lnTo>
                        <a:pt x="64" y="407"/>
                      </a:lnTo>
                      <a:lnTo>
                        <a:pt x="65" y="407"/>
                      </a:lnTo>
                      <a:lnTo>
                        <a:pt x="67" y="407"/>
                      </a:lnTo>
                      <a:lnTo>
                        <a:pt x="70" y="409"/>
                      </a:lnTo>
                      <a:lnTo>
                        <a:pt x="71" y="409"/>
                      </a:lnTo>
                      <a:lnTo>
                        <a:pt x="77" y="400"/>
                      </a:lnTo>
                      <a:lnTo>
                        <a:pt x="78" y="396"/>
                      </a:lnTo>
                      <a:lnTo>
                        <a:pt x="81" y="394"/>
                      </a:lnTo>
                      <a:lnTo>
                        <a:pt x="80" y="393"/>
                      </a:lnTo>
                      <a:lnTo>
                        <a:pt x="78" y="391"/>
                      </a:lnTo>
                      <a:lnTo>
                        <a:pt x="77" y="388"/>
                      </a:lnTo>
                      <a:lnTo>
                        <a:pt x="81" y="381"/>
                      </a:lnTo>
                      <a:lnTo>
                        <a:pt x="90" y="375"/>
                      </a:lnTo>
                      <a:lnTo>
                        <a:pt x="93" y="374"/>
                      </a:lnTo>
                      <a:lnTo>
                        <a:pt x="80" y="388"/>
                      </a:lnTo>
                      <a:lnTo>
                        <a:pt x="80" y="390"/>
                      </a:lnTo>
                      <a:lnTo>
                        <a:pt x="80" y="391"/>
                      </a:lnTo>
                      <a:lnTo>
                        <a:pt x="81" y="393"/>
                      </a:lnTo>
                      <a:lnTo>
                        <a:pt x="83" y="397"/>
                      </a:lnTo>
                      <a:lnTo>
                        <a:pt x="90" y="412"/>
                      </a:lnTo>
                      <a:lnTo>
                        <a:pt x="90" y="413"/>
                      </a:lnTo>
                      <a:lnTo>
                        <a:pt x="87" y="417"/>
                      </a:lnTo>
                      <a:lnTo>
                        <a:pt x="87" y="417"/>
                      </a:lnTo>
                      <a:lnTo>
                        <a:pt x="86" y="419"/>
                      </a:lnTo>
                      <a:lnTo>
                        <a:pt x="86" y="420"/>
                      </a:lnTo>
                      <a:lnTo>
                        <a:pt x="87" y="425"/>
                      </a:lnTo>
                      <a:lnTo>
                        <a:pt x="88" y="423"/>
                      </a:lnTo>
                      <a:lnTo>
                        <a:pt x="90" y="423"/>
                      </a:lnTo>
                      <a:lnTo>
                        <a:pt x="91" y="425"/>
                      </a:lnTo>
                      <a:lnTo>
                        <a:pt x="90" y="425"/>
                      </a:lnTo>
                      <a:lnTo>
                        <a:pt x="88" y="426"/>
                      </a:lnTo>
                      <a:lnTo>
                        <a:pt x="90" y="431"/>
                      </a:lnTo>
                      <a:lnTo>
                        <a:pt x="91" y="431"/>
                      </a:lnTo>
                      <a:lnTo>
                        <a:pt x="91" y="432"/>
                      </a:lnTo>
                      <a:lnTo>
                        <a:pt x="90" y="432"/>
                      </a:lnTo>
                      <a:lnTo>
                        <a:pt x="88" y="435"/>
                      </a:lnTo>
                      <a:lnTo>
                        <a:pt x="86" y="435"/>
                      </a:lnTo>
                      <a:lnTo>
                        <a:pt x="84" y="436"/>
                      </a:lnTo>
                      <a:lnTo>
                        <a:pt x="88" y="438"/>
                      </a:lnTo>
                      <a:lnTo>
                        <a:pt x="93" y="436"/>
                      </a:lnTo>
                      <a:lnTo>
                        <a:pt x="94" y="432"/>
                      </a:lnTo>
                      <a:lnTo>
                        <a:pt x="96" y="432"/>
                      </a:lnTo>
                      <a:lnTo>
                        <a:pt x="100" y="429"/>
                      </a:lnTo>
                      <a:lnTo>
                        <a:pt x="103" y="429"/>
                      </a:lnTo>
                      <a:lnTo>
                        <a:pt x="106" y="426"/>
                      </a:lnTo>
                      <a:lnTo>
                        <a:pt x="110" y="419"/>
                      </a:lnTo>
                      <a:lnTo>
                        <a:pt x="110" y="423"/>
                      </a:lnTo>
                      <a:lnTo>
                        <a:pt x="110" y="425"/>
                      </a:lnTo>
                      <a:lnTo>
                        <a:pt x="110" y="428"/>
                      </a:lnTo>
                      <a:lnTo>
                        <a:pt x="110" y="429"/>
                      </a:lnTo>
                      <a:lnTo>
                        <a:pt x="112" y="431"/>
                      </a:lnTo>
                      <a:lnTo>
                        <a:pt x="113" y="429"/>
                      </a:lnTo>
                      <a:lnTo>
                        <a:pt x="113" y="431"/>
                      </a:lnTo>
                      <a:lnTo>
                        <a:pt x="115" y="432"/>
                      </a:lnTo>
                      <a:lnTo>
                        <a:pt x="117" y="429"/>
                      </a:lnTo>
                      <a:lnTo>
                        <a:pt x="119" y="429"/>
                      </a:lnTo>
                      <a:lnTo>
                        <a:pt x="119" y="429"/>
                      </a:lnTo>
                      <a:lnTo>
                        <a:pt x="120" y="429"/>
                      </a:lnTo>
                      <a:lnTo>
                        <a:pt x="120" y="431"/>
                      </a:lnTo>
                      <a:lnTo>
                        <a:pt x="122" y="432"/>
                      </a:lnTo>
                      <a:lnTo>
                        <a:pt x="128" y="442"/>
                      </a:lnTo>
                      <a:lnTo>
                        <a:pt x="129" y="444"/>
                      </a:lnTo>
                      <a:lnTo>
                        <a:pt x="129" y="442"/>
                      </a:lnTo>
                      <a:lnTo>
                        <a:pt x="132" y="441"/>
                      </a:lnTo>
                      <a:lnTo>
                        <a:pt x="132" y="436"/>
                      </a:lnTo>
                      <a:lnTo>
                        <a:pt x="131" y="433"/>
                      </a:lnTo>
                      <a:lnTo>
                        <a:pt x="132" y="431"/>
                      </a:lnTo>
                      <a:lnTo>
                        <a:pt x="133" y="428"/>
                      </a:lnTo>
                      <a:lnTo>
                        <a:pt x="135" y="426"/>
                      </a:lnTo>
                      <a:lnTo>
                        <a:pt x="136" y="426"/>
                      </a:lnTo>
                      <a:lnTo>
                        <a:pt x="136" y="428"/>
                      </a:lnTo>
                      <a:lnTo>
                        <a:pt x="135" y="432"/>
                      </a:lnTo>
                      <a:lnTo>
                        <a:pt x="139" y="436"/>
                      </a:lnTo>
                      <a:lnTo>
                        <a:pt x="142" y="436"/>
                      </a:lnTo>
                      <a:lnTo>
                        <a:pt x="152" y="429"/>
                      </a:lnTo>
                      <a:lnTo>
                        <a:pt x="157" y="425"/>
                      </a:lnTo>
                      <a:lnTo>
                        <a:pt x="160" y="423"/>
                      </a:lnTo>
                      <a:lnTo>
                        <a:pt x="161" y="425"/>
                      </a:lnTo>
                      <a:lnTo>
                        <a:pt x="157" y="431"/>
                      </a:lnTo>
                      <a:lnTo>
                        <a:pt x="155" y="432"/>
                      </a:lnTo>
                      <a:lnTo>
                        <a:pt x="155" y="432"/>
                      </a:lnTo>
                      <a:lnTo>
                        <a:pt x="155" y="433"/>
                      </a:lnTo>
                      <a:lnTo>
                        <a:pt x="154" y="436"/>
                      </a:lnTo>
                      <a:lnTo>
                        <a:pt x="151" y="438"/>
                      </a:lnTo>
                      <a:lnTo>
                        <a:pt x="149" y="445"/>
                      </a:lnTo>
                      <a:lnTo>
                        <a:pt x="152" y="445"/>
                      </a:lnTo>
                      <a:lnTo>
                        <a:pt x="149" y="449"/>
                      </a:lnTo>
                      <a:lnTo>
                        <a:pt x="146" y="464"/>
                      </a:lnTo>
                      <a:lnTo>
                        <a:pt x="142" y="471"/>
                      </a:lnTo>
                      <a:lnTo>
                        <a:pt x="141" y="471"/>
                      </a:lnTo>
                      <a:lnTo>
                        <a:pt x="139" y="471"/>
                      </a:lnTo>
                      <a:lnTo>
                        <a:pt x="139" y="473"/>
                      </a:lnTo>
                      <a:lnTo>
                        <a:pt x="135" y="477"/>
                      </a:lnTo>
                      <a:lnTo>
                        <a:pt x="135" y="477"/>
                      </a:lnTo>
                      <a:lnTo>
                        <a:pt x="132" y="484"/>
                      </a:lnTo>
                      <a:lnTo>
                        <a:pt x="131" y="484"/>
                      </a:lnTo>
                      <a:lnTo>
                        <a:pt x="129" y="486"/>
                      </a:lnTo>
                      <a:lnTo>
                        <a:pt x="129" y="484"/>
                      </a:lnTo>
                      <a:lnTo>
                        <a:pt x="125" y="487"/>
                      </a:lnTo>
                      <a:lnTo>
                        <a:pt x="122" y="489"/>
                      </a:lnTo>
                      <a:lnTo>
                        <a:pt x="117" y="492"/>
                      </a:lnTo>
                      <a:lnTo>
                        <a:pt x="116" y="492"/>
                      </a:lnTo>
                      <a:lnTo>
                        <a:pt x="107" y="502"/>
                      </a:lnTo>
                      <a:lnTo>
                        <a:pt x="106" y="508"/>
                      </a:lnTo>
                      <a:lnTo>
                        <a:pt x="106" y="508"/>
                      </a:lnTo>
                      <a:lnTo>
                        <a:pt x="109" y="509"/>
                      </a:lnTo>
                      <a:lnTo>
                        <a:pt x="110" y="510"/>
                      </a:lnTo>
                      <a:lnTo>
                        <a:pt x="107" y="510"/>
                      </a:lnTo>
                      <a:lnTo>
                        <a:pt x="106" y="509"/>
                      </a:lnTo>
                      <a:lnTo>
                        <a:pt x="104" y="508"/>
                      </a:lnTo>
                      <a:lnTo>
                        <a:pt x="104" y="509"/>
                      </a:lnTo>
                      <a:lnTo>
                        <a:pt x="103" y="510"/>
                      </a:lnTo>
                      <a:lnTo>
                        <a:pt x="101" y="509"/>
                      </a:lnTo>
                      <a:lnTo>
                        <a:pt x="100" y="508"/>
                      </a:lnTo>
                      <a:lnTo>
                        <a:pt x="101" y="506"/>
                      </a:lnTo>
                      <a:lnTo>
                        <a:pt x="101" y="505"/>
                      </a:lnTo>
                      <a:lnTo>
                        <a:pt x="99" y="506"/>
                      </a:lnTo>
                      <a:lnTo>
                        <a:pt x="97" y="505"/>
                      </a:lnTo>
                      <a:lnTo>
                        <a:pt x="96" y="505"/>
                      </a:lnTo>
                      <a:lnTo>
                        <a:pt x="80" y="515"/>
                      </a:lnTo>
                      <a:lnTo>
                        <a:pt x="78" y="518"/>
                      </a:lnTo>
                      <a:lnTo>
                        <a:pt x="77" y="519"/>
                      </a:lnTo>
                      <a:lnTo>
                        <a:pt x="77" y="519"/>
                      </a:lnTo>
                      <a:lnTo>
                        <a:pt x="77" y="521"/>
                      </a:lnTo>
                      <a:lnTo>
                        <a:pt x="74" y="524"/>
                      </a:lnTo>
                      <a:lnTo>
                        <a:pt x="74" y="525"/>
                      </a:lnTo>
                      <a:lnTo>
                        <a:pt x="72" y="525"/>
                      </a:lnTo>
                      <a:lnTo>
                        <a:pt x="71" y="525"/>
                      </a:lnTo>
                      <a:lnTo>
                        <a:pt x="71" y="525"/>
                      </a:lnTo>
                      <a:lnTo>
                        <a:pt x="70" y="525"/>
                      </a:lnTo>
                      <a:lnTo>
                        <a:pt x="68" y="526"/>
                      </a:lnTo>
                      <a:lnTo>
                        <a:pt x="67" y="526"/>
                      </a:lnTo>
                      <a:lnTo>
                        <a:pt x="65" y="528"/>
                      </a:lnTo>
                      <a:lnTo>
                        <a:pt x="65" y="528"/>
                      </a:lnTo>
                      <a:lnTo>
                        <a:pt x="67" y="528"/>
                      </a:lnTo>
                      <a:lnTo>
                        <a:pt x="67" y="531"/>
                      </a:lnTo>
                      <a:lnTo>
                        <a:pt x="67" y="534"/>
                      </a:lnTo>
                      <a:lnTo>
                        <a:pt x="68" y="534"/>
                      </a:lnTo>
                      <a:lnTo>
                        <a:pt x="70" y="532"/>
                      </a:lnTo>
                      <a:lnTo>
                        <a:pt x="70" y="531"/>
                      </a:lnTo>
                      <a:lnTo>
                        <a:pt x="70" y="528"/>
                      </a:lnTo>
                      <a:lnTo>
                        <a:pt x="71" y="528"/>
                      </a:lnTo>
                      <a:lnTo>
                        <a:pt x="71" y="531"/>
                      </a:lnTo>
                      <a:lnTo>
                        <a:pt x="72" y="531"/>
                      </a:lnTo>
                      <a:lnTo>
                        <a:pt x="77" y="529"/>
                      </a:lnTo>
                      <a:lnTo>
                        <a:pt x="77" y="525"/>
                      </a:lnTo>
                      <a:lnTo>
                        <a:pt x="77" y="524"/>
                      </a:lnTo>
                      <a:lnTo>
                        <a:pt x="78" y="526"/>
                      </a:lnTo>
                      <a:lnTo>
                        <a:pt x="78" y="526"/>
                      </a:lnTo>
                      <a:lnTo>
                        <a:pt x="78" y="528"/>
                      </a:lnTo>
                      <a:lnTo>
                        <a:pt x="80" y="528"/>
                      </a:lnTo>
                      <a:lnTo>
                        <a:pt x="81" y="529"/>
                      </a:lnTo>
                      <a:lnTo>
                        <a:pt x="83" y="528"/>
                      </a:lnTo>
                      <a:lnTo>
                        <a:pt x="84" y="528"/>
                      </a:lnTo>
                      <a:lnTo>
                        <a:pt x="84" y="528"/>
                      </a:lnTo>
                      <a:lnTo>
                        <a:pt x="86" y="526"/>
                      </a:lnTo>
                      <a:lnTo>
                        <a:pt x="86" y="525"/>
                      </a:lnTo>
                      <a:lnTo>
                        <a:pt x="88" y="524"/>
                      </a:lnTo>
                      <a:lnTo>
                        <a:pt x="90" y="516"/>
                      </a:lnTo>
                      <a:lnTo>
                        <a:pt x="91" y="515"/>
                      </a:lnTo>
                      <a:lnTo>
                        <a:pt x="94" y="515"/>
                      </a:lnTo>
                      <a:lnTo>
                        <a:pt x="94" y="518"/>
                      </a:lnTo>
                      <a:lnTo>
                        <a:pt x="93" y="521"/>
                      </a:lnTo>
                      <a:lnTo>
                        <a:pt x="93" y="521"/>
                      </a:lnTo>
                      <a:lnTo>
                        <a:pt x="97" y="521"/>
                      </a:lnTo>
                      <a:lnTo>
                        <a:pt x="100" y="518"/>
                      </a:lnTo>
                      <a:lnTo>
                        <a:pt x="104" y="519"/>
                      </a:lnTo>
                      <a:lnTo>
                        <a:pt x="103" y="518"/>
                      </a:lnTo>
                      <a:lnTo>
                        <a:pt x="104" y="516"/>
                      </a:lnTo>
                      <a:lnTo>
                        <a:pt x="104" y="516"/>
                      </a:lnTo>
                      <a:lnTo>
                        <a:pt x="106" y="518"/>
                      </a:lnTo>
                      <a:lnTo>
                        <a:pt x="107" y="515"/>
                      </a:lnTo>
                      <a:lnTo>
                        <a:pt x="107" y="515"/>
                      </a:lnTo>
                      <a:lnTo>
                        <a:pt x="109" y="513"/>
                      </a:lnTo>
                      <a:lnTo>
                        <a:pt x="112" y="513"/>
                      </a:lnTo>
                      <a:lnTo>
                        <a:pt x="113" y="512"/>
                      </a:lnTo>
                      <a:lnTo>
                        <a:pt x="113" y="510"/>
                      </a:lnTo>
                      <a:lnTo>
                        <a:pt x="115" y="510"/>
                      </a:lnTo>
                      <a:lnTo>
                        <a:pt x="116" y="509"/>
                      </a:lnTo>
                      <a:lnTo>
                        <a:pt x="117" y="509"/>
                      </a:lnTo>
                      <a:lnTo>
                        <a:pt x="119" y="512"/>
                      </a:lnTo>
                      <a:lnTo>
                        <a:pt x="119" y="516"/>
                      </a:lnTo>
                      <a:lnTo>
                        <a:pt x="119" y="516"/>
                      </a:lnTo>
                      <a:lnTo>
                        <a:pt x="122" y="508"/>
                      </a:lnTo>
                      <a:lnTo>
                        <a:pt x="122" y="509"/>
                      </a:lnTo>
                      <a:lnTo>
                        <a:pt x="128" y="508"/>
                      </a:lnTo>
                      <a:lnTo>
                        <a:pt x="131" y="506"/>
                      </a:lnTo>
                      <a:lnTo>
                        <a:pt x="132" y="506"/>
                      </a:lnTo>
                      <a:lnTo>
                        <a:pt x="133" y="505"/>
                      </a:lnTo>
                      <a:lnTo>
                        <a:pt x="133" y="500"/>
                      </a:lnTo>
                      <a:lnTo>
                        <a:pt x="131" y="499"/>
                      </a:lnTo>
                      <a:lnTo>
                        <a:pt x="129" y="497"/>
                      </a:lnTo>
                      <a:lnTo>
                        <a:pt x="128" y="496"/>
                      </a:lnTo>
                      <a:lnTo>
                        <a:pt x="126" y="493"/>
                      </a:lnTo>
                      <a:lnTo>
                        <a:pt x="128" y="493"/>
                      </a:lnTo>
                      <a:lnTo>
                        <a:pt x="131" y="497"/>
                      </a:lnTo>
                      <a:lnTo>
                        <a:pt x="132" y="499"/>
                      </a:lnTo>
                      <a:lnTo>
                        <a:pt x="136" y="494"/>
                      </a:lnTo>
                      <a:lnTo>
                        <a:pt x="139" y="493"/>
                      </a:lnTo>
                      <a:lnTo>
                        <a:pt x="144" y="493"/>
                      </a:lnTo>
                      <a:lnTo>
                        <a:pt x="145" y="492"/>
                      </a:lnTo>
                      <a:lnTo>
                        <a:pt x="144" y="492"/>
                      </a:lnTo>
                      <a:lnTo>
                        <a:pt x="142" y="492"/>
                      </a:lnTo>
                      <a:lnTo>
                        <a:pt x="142" y="490"/>
                      </a:lnTo>
                      <a:lnTo>
                        <a:pt x="146" y="489"/>
                      </a:lnTo>
                      <a:lnTo>
                        <a:pt x="146" y="490"/>
                      </a:lnTo>
                      <a:lnTo>
                        <a:pt x="149" y="490"/>
                      </a:lnTo>
                      <a:lnTo>
                        <a:pt x="149" y="486"/>
                      </a:lnTo>
                      <a:lnTo>
                        <a:pt x="149" y="484"/>
                      </a:lnTo>
                      <a:lnTo>
                        <a:pt x="151" y="484"/>
                      </a:lnTo>
                      <a:lnTo>
                        <a:pt x="154" y="486"/>
                      </a:lnTo>
                      <a:lnTo>
                        <a:pt x="158" y="483"/>
                      </a:lnTo>
                      <a:lnTo>
                        <a:pt x="158" y="481"/>
                      </a:lnTo>
                      <a:lnTo>
                        <a:pt x="160" y="481"/>
                      </a:lnTo>
                      <a:lnTo>
                        <a:pt x="160" y="480"/>
                      </a:lnTo>
                      <a:lnTo>
                        <a:pt x="160" y="480"/>
                      </a:lnTo>
                      <a:lnTo>
                        <a:pt x="161" y="480"/>
                      </a:lnTo>
                      <a:lnTo>
                        <a:pt x="162" y="480"/>
                      </a:lnTo>
                      <a:lnTo>
                        <a:pt x="164" y="478"/>
                      </a:lnTo>
                      <a:lnTo>
                        <a:pt x="165" y="476"/>
                      </a:lnTo>
                      <a:lnTo>
                        <a:pt x="165" y="473"/>
                      </a:lnTo>
                      <a:lnTo>
                        <a:pt x="164" y="473"/>
                      </a:lnTo>
                      <a:lnTo>
                        <a:pt x="162" y="471"/>
                      </a:lnTo>
                      <a:lnTo>
                        <a:pt x="164" y="470"/>
                      </a:lnTo>
                      <a:lnTo>
                        <a:pt x="168" y="467"/>
                      </a:lnTo>
                      <a:lnTo>
                        <a:pt x="170" y="468"/>
                      </a:lnTo>
                      <a:lnTo>
                        <a:pt x="170" y="465"/>
                      </a:lnTo>
                      <a:lnTo>
                        <a:pt x="174" y="465"/>
                      </a:lnTo>
                      <a:lnTo>
                        <a:pt x="174" y="464"/>
                      </a:lnTo>
                      <a:lnTo>
                        <a:pt x="174" y="463"/>
                      </a:lnTo>
                      <a:lnTo>
                        <a:pt x="176" y="460"/>
                      </a:lnTo>
                      <a:lnTo>
                        <a:pt x="177" y="460"/>
                      </a:lnTo>
                      <a:lnTo>
                        <a:pt x="178" y="461"/>
                      </a:lnTo>
                      <a:lnTo>
                        <a:pt x="180" y="458"/>
                      </a:lnTo>
                      <a:lnTo>
                        <a:pt x="181" y="458"/>
                      </a:lnTo>
                      <a:lnTo>
                        <a:pt x="184" y="455"/>
                      </a:lnTo>
                      <a:lnTo>
                        <a:pt x="184" y="454"/>
                      </a:lnTo>
                      <a:lnTo>
                        <a:pt x="192" y="452"/>
                      </a:lnTo>
                      <a:lnTo>
                        <a:pt x="193" y="449"/>
                      </a:lnTo>
                      <a:lnTo>
                        <a:pt x="194" y="451"/>
                      </a:lnTo>
                      <a:lnTo>
                        <a:pt x="197" y="448"/>
                      </a:lnTo>
                      <a:lnTo>
                        <a:pt x="197" y="447"/>
                      </a:lnTo>
                      <a:lnTo>
                        <a:pt x="196" y="445"/>
                      </a:lnTo>
                      <a:lnTo>
                        <a:pt x="199" y="444"/>
                      </a:lnTo>
                      <a:lnTo>
                        <a:pt x="199" y="442"/>
                      </a:lnTo>
                      <a:lnTo>
                        <a:pt x="197" y="442"/>
                      </a:lnTo>
                      <a:lnTo>
                        <a:pt x="199" y="439"/>
                      </a:lnTo>
                      <a:lnTo>
                        <a:pt x="200" y="439"/>
                      </a:lnTo>
                      <a:lnTo>
                        <a:pt x="202" y="438"/>
                      </a:lnTo>
                      <a:lnTo>
                        <a:pt x="206" y="435"/>
                      </a:lnTo>
                      <a:lnTo>
                        <a:pt x="207" y="433"/>
                      </a:lnTo>
                      <a:lnTo>
                        <a:pt x="207" y="429"/>
                      </a:lnTo>
                      <a:lnTo>
                        <a:pt x="207" y="429"/>
                      </a:lnTo>
                      <a:lnTo>
                        <a:pt x="203" y="428"/>
                      </a:lnTo>
                      <a:lnTo>
                        <a:pt x="203" y="426"/>
                      </a:lnTo>
                      <a:lnTo>
                        <a:pt x="200" y="425"/>
                      </a:lnTo>
                      <a:lnTo>
                        <a:pt x="197" y="426"/>
                      </a:lnTo>
                      <a:lnTo>
                        <a:pt x="196" y="425"/>
                      </a:lnTo>
                      <a:lnTo>
                        <a:pt x="197" y="416"/>
                      </a:lnTo>
                      <a:lnTo>
                        <a:pt x="202" y="416"/>
                      </a:lnTo>
                      <a:lnTo>
                        <a:pt x="203" y="415"/>
                      </a:lnTo>
                      <a:lnTo>
                        <a:pt x="203" y="412"/>
                      </a:lnTo>
                      <a:lnTo>
                        <a:pt x="205" y="412"/>
                      </a:lnTo>
                      <a:lnTo>
                        <a:pt x="205" y="409"/>
                      </a:lnTo>
                      <a:lnTo>
                        <a:pt x="205" y="407"/>
                      </a:lnTo>
                      <a:lnTo>
                        <a:pt x="206" y="407"/>
                      </a:lnTo>
                      <a:lnTo>
                        <a:pt x="206" y="406"/>
                      </a:lnTo>
                      <a:lnTo>
                        <a:pt x="209" y="406"/>
                      </a:lnTo>
                      <a:lnTo>
                        <a:pt x="209" y="407"/>
                      </a:lnTo>
                      <a:lnTo>
                        <a:pt x="210" y="407"/>
                      </a:lnTo>
                      <a:lnTo>
                        <a:pt x="213" y="406"/>
                      </a:lnTo>
                      <a:lnTo>
                        <a:pt x="212" y="404"/>
                      </a:lnTo>
                      <a:lnTo>
                        <a:pt x="210" y="403"/>
                      </a:lnTo>
                      <a:lnTo>
                        <a:pt x="212" y="401"/>
                      </a:lnTo>
                      <a:lnTo>
                        <a:pt x="216" y="401"/>
                      </a:lnTo>
                      <a:lnTo>
                        <a:pt x="218" y="399"/>
                      </a:lnTo>
                      <a:lnTo>
                        <a:pt x="218" y="397"/>
                      </a:lnTo>
                      <a:lnTo>
                        <a:pt x="218" y="396"/>
                      </a:lnTo>
                      <a:lnTo>
                        <a:pt x="212" y="391"/>
                      </a:lnTo>
                      <a:lnTo>
                        <a:pt x="213" y="390"/>
                      </a:lnTo>
                      <a:lnTo>
                        <a:pt x="216" y="393"/>
                      </a:lnTo>
                      <a:lnTo>
                        <a:pt x="219" y="393"/>
                      </a:lnTo>
                      <a:lnTo>
                        <a:pt x="223" y="387"/>
                      </a:lnTo>
                      <a:lnTo>
                        <a:pt x="225" y="383"/>
                      </a:lnTo>
                      <a:lnTo>
                        <a:pt x="231" y="377"/>
                      </a:lnTo>
                      <a:lnTo>
                        <a:pt x="231" y="372"/>
                      </a:lnTo>
                      <a:lnTo>
                        <a:pt x="239" y="368"/>
                      </a:lnTo>
                      <a:lnTo>
                        <a:pt x="245" y="361"/>
                      </a:lnTo>
                      <a:lnTo>
                        <a:pt x="245" y="359"/>
                      </a:lnTo>
                      <a:lnTo>
                        <a:pt x="245" y="358"/>
                      </a:lnTo>
                      <a:lnTo>
                        <a:pt x="252" y="332"/>
                      </a:lnTo>
                      <a:lnTo>
                        <a:pt x="254" y="332"/>
                      </a:lnTo>
                      <a:lnTo>
                        <a:pt x="252" y="346"/>
                      </a:lnTo>
                      <a:lnTo>
                        <a:pt x="248" y="355"/>
                      </a:lnTo>
                      <a:lnTo>
                        <a:pt x="248" y="361"/>
                      </a:lnTo>
                      <a:lnTo>
                        <a:pt x="250" y="362"/>
                      </a:lnTo>
                      <a:lnTo>
                        <a:pt x="254" y="362"/>
                      </a:lnTo>
                      <a:lnTo>
                        <a:pt x="260" y="356"/>
                      </a:lnTo>
                      <a:lnTo>
                        <a:pt x="264" y="355"/>
                      </a:lnTo>
                      <a:lnTo>
                        <a:pt x="266" y="355"/>
                      </a:lnTo>
                      <a:lnTo>
                        <a:pt x="264" y="358"/>
                      </a:lnTo>
                      <a:lnTo>
                        <a:pt x="261" y="358"/>
                      </a:lnTo>
                      <a:lnTo>
                        <a:pt x="260" y="361"/>
                      </a:lnTo>
                      <a:lnTo>
                        <a:pt x="258" y="362"/>
                      </a:lnTo>
                      <a:lnTo>
                        <a:pt x="255" y="364"/>
                      </a:lnTo>
                      <a:lnTo>
                        <a:pt x="255" y="367"/>
                      </a:lnTo>
                      <a:lnTo>
                        <a:pt x="258" y="370"/>
                      </a:lnTo>
                      <a:lnTo>
                        <a:pt x="270" y="374"/>
                      </a:lnTo>
                      <a:lnTo>
                        <a:pt x="258" y="371"/>
                      </a:lnTo>
                      <a:lnTo>
                        <a:pt x="254" y="374"/>
                      </a:lnTo>
                      <a:lnTo>
                        <a:pt x="252" y="372"/>
                      </a:lnTo>
                      <a:lnTo>
                        <a:pt x="251" y="370"/>
                      </a:lnTo>
                      <a:lnTo>
                        <a:pt x="250" y="371"/>
                      </a:lnTo>
                      <a:lnTo>
                        <a:pt x="238" y="377"/>
                      </a:lnTo>
                      <a:lnTo>
                        <a:pt x="237" y="380"/>
                      </a:lnTo>
                      <a:lnTo>
                        <a:pt x="238" y="387"/>
                      </a:lnTo>
                      <a:lnTo>
                        <a:pt x="237" y="391"/>
                      </a:lnTo>
                      <a:lnTo>
                        <a:pt x="235" y="393"/>
                      </a:lnTo>
                      <a:lnTo>
                        <a:pt x="234" y="396"/>
                      </a:lnTo>
                      <a:lnTo>
                        <a:pt x="232" y="399"/>
                      </a:lnTo>
                      <a:lnTo>
                        <a:pt x="232" y="400"/>
                      </a:lnTo>
                      <a:lnTo>
                        <a:pt x="231" y="403"/>
                      </a:lnTo>
                      <a:lnTo>
                        <a:pt x="229" y="406"/>
                      </a:lnTo>
                      <a:lnTo>
                        <a:pt x="231" y="407"/>
                      </a:lnTo>
                      <a:lnTo>
                        <a:pt x="234" y="409"/>
                      </a:lnTo>
                      <a:lnTo>
                        <a:pt x="241" y="404"/>
                      </a:lnTo>
                      <a:lnTo>
                        <a:pt x="242" y="406"/>
                      </a:lnTo>
                      <a:lnTo>
                        <a:pt x="239" y="410"/>
                      </a:lnTo>
                      <a:lnTo>
                        <a:pt x="238" y="412"/>
                      </a:lnTo>
                      <a:lnTo>
                        <a:pt x="237" y="412"/>
                      </a:lnTo>
                      <a:lnTo>
                        <a:pt x="237" y="413"/>
                      </a:lnTo>
                      <a:lnTo>
                        <a:pt x="237" y="415"/>
                      </a:lnTo>
                      <a:lnTo>
                        <a:pt x="234" y="413"/>
                      </a:lnTo>
                      <a:lnTo>
                        <a:pt x="234" y="413"/>
                      </a:lnTo>
                      <a:lnTo>
                        <a:pt x="232" y="415"/>
                      </a:lnTo>
                      <a:lnTo>
                        <a:pt x="232" y="416"/>
                      </a:lnTo>
                      <a:lnTo>
                        <a:pt x="231" y="413"/>
                      </a:lnTo>
                      <a:lnTo>
                        <a:pt x="229" y="416"/>
                      </a:lnTo>
                      <a:lnTo>
                        <a:pt x="231" y="417"/>
                      </a:lnTo>
                      <a:lnTo>
                        <a:pt x="229" y="417"/>
                      </a:lnTo>
                      <a:lnTo>
                        <a:pt x="229" y="420"/>
                      </a:lnTo>
                      <a:lnTo>
                        <a:pt x="231" y="420"/>
                      </a:lnTo>
                      <a:lnTo>
                        <a:pt x="232" y="422"/>
                      </a:lnTo>
                      <a:lnTo>
                        <a:pt x="235" y="420"/>
                      </a:lnTo>
                      <a:lnTo>
                        <a:pt x="239" y="420"/>
                      </a:lnTo>
                      <a:lnTo>
                        <a:pt x="239" y="417"/>
                      </a:lnTo>
                      <a:lnTo>
                        <a:pt x="239" y="417"/>
                      </a:lnTo>
                      <a:lnTo>
                        <a:pt x="241" y="417"/>
                      </a:lnTo>
                      <a:lnTo>
                        <a:pt x="242" y="419"/>
                      </a:lnTo>
                      <a:lnTo>
                        <a:pt x="248" y="412"/>
                      </a:lnTo>
                      <a:lnTo>
                        <a:pt x="250" y="412"/>
                      </a:lnTo>
                      <a:lnTo>
                        <a:pt x="251" y="410"/>
                      </a:lnTo>
                      <a:lnTo>
                        <a:pt x="251" y="417"/>
                      </a:lnTo>
                      <a:lnTo>
                        <a:pt x="254" y="412"/>
                      </a:lnTo>
                      <a:lnTo>
                        <a:pt x="254" y="409"/>
                      </a:lnTo>
                      <a:lnTo>
                        <a:pt x="257" y="407"/>
                      </a:lnTo>
                      <a:lnTo>
                        <a:pt x="258" y="407"/>
                      </a:lnTo>
                      <a:lnTo>
                        <a:pt x="260" y="406"/>
                      </a:lnTo>
                      <a:lnTo>
                        <a:pt x="258" y="403"/>
                      </a:lnTo>
                      <a:lnTo>
                        <a:pt x="260" y="401"/>
                      </a:lnTo>
                      <a:lnTo>
                        <a:pt x="260" y="400"/>
                      </a:lnTo>
                      <a:lnTo>
                        <a:pt x="261" y="407"/>
                      </a:lnTo>
                      <a:lnTo>
                        <a:pt x="263" y="400"/>
                      </a:lnTo>
                      <a:lnTo>
                        <a:pt x="264" y="399"/>
                      </a:lnTo>
                      <a:lnTo>
                        <a:pt x="264" y="396"/>
                      </a:lnTo>
                      <a:lnTo>
                        <a:pt x="266" y="400"/>
                      </a:lnTo>
                      <a:lnTo>
                        <a:pt x="266" y="399"/>
                      </a:lnTo>
                      <a:lnTo>
                        <a:pt x="267" y="399"/>
                      </a:lnTo>
                      <a:lnTo>
                        <a:pt x="268" y="400"/>
                      </a:lnTo>
                      <a:lnTo>
                        <a:pt x="273" y="400"/>
                      </a:lnTo>
                      <a:lnTo>
                        <a:pt x="276" y="399"/>
                      </a:lnTo>
                      <a:lnTo>
                        <a:pt x="277" y="399"/>
                      </a:lnTo>
                      <a:lnTo>
                        <a:pt x="277" y="394"/>
                      </a:lnTo>
                      <a:lnTo>
                        <a:pt x="279" y="396"/>
                      </a:lnTo>
                      <a:lnTo>
                        <a:pt x="280" y="394"/>
                      </a:lnTo>
                      <a:lnTo>
                        <a:pt x="282" y="393"/>
                      </a:lnTo>
                      <a:lnTo>
                        <a:pt x="282" y="393"/>
                      </a:lnTo>
                      <a:lnTo>
                        <a:pt x="280" y="391"/>
                      </a:lnTo>
                      <a:lnTo>
                        <a:pt x="279" y="391"/>
                      </a:lnTo>
                      <a:lnTo>
                        <a:pt x="280" y="388"/>
                      </a:lnTo>
                      <a:lnTo>
                        <a:pt x="282" y="387"/>
                      </a:lnTo>
                      <a:lnTo>
                        <a:pt x="283" y="387"/>
                      </a:lnTo>
                      <a:lnTo>
                        <a:pt x="284" y="384"/>
                      </a:lnTo>
                      <a:lnTo>
                        <a:pt x="283" y="381"/>
                      </a:lnTo>
                      <a:lnTo>
                        <a:pt x="280" y="384"/>
                      </a:lnTo>
                      <a:lnTo>
                        <a:pt x="279" y="384"/>
                      </a:lnTo>
                      <a:lnTo>
                        <a:pt x="276" y="385"/>
                      </a:lnTo>
                      <a:lnTo>
                        <a:pt x="276" y="383"/>
                      </a:lnTo>
                      <a:lnTo>
                        <a:pt x="279" y="383"/>
                      </a:lnTo>
                      <a:lnTo>
                        <a:pt x="280" y="381"/>
                      </a:lnTo>
                      <a:lnTo>
                        <a:pt x="280" y="378"/>
                      </a:lnTo>
                      <a:lnTo>
                        <a:pt x="279" y="380"/>
                      </a:lnTo>
                      <a:lnTo>
                        <a:pt x="279" y="378"/>
                      </a:lnTo>
                      <a:lnTo>
                        <a:pt x="276" y="378"/>
                      </a:lnTo>
                      <a:lnTo>
                        <a:pt x="276" y="377"/>
                      </a:lnTo>
                      <a:lnTo>
                        <a:pt x="274" y="377"/>
                      </a:lnTo>
                      <a:lnTo>
                        <a:pt x="276" y="374"/>
                      </a:lnTo>
                      <a:lnTo>
                        <a:pt x="279" y="374"/>
                      </a:lnTo>
                      <a:lnTo>
                        <a:pt x="280" y="371"/>
                      </a:lnTo>
                      <a:lnTo>
                        <a:pt x="277" y="370"/>
                      </a:lnTo>
                      <a:lnTo>
                        <a:pt x="280" y="367"/>
                      </a:lnTo>
                      <a:lnTo>
                        <a:pt x="282" y="367"/>
                      </a:lnTo>
                      <a:lnTo>
                        <a:pt x="282" y="368"/>
                      </a:lnTo>
                      <a:lnTo>
                        <a:pt x="283" y="368"/>
                      </a:lnTo>
                      <a:lnTo>
                        <a:pt x="284" y="365"/>
                      </a:lnTo>
                      <a:lnTo>
                        <a:pt x="287" y="362"/>
                      </a:lnTo>
                      <a:lnTo>
                        <a:pt x="287" y="365"/>
                      </a:lnTo>
                      <a:lnTo>
                        <a:pt x="284" y="372"/>
                      </a:lnTo>
                      <a:lnTo>
                        <a:pt x="286" y="374"/>
                      </a:lnTo>
                      <a:lnTo>
                        <a:pt x="287" y="374"/>
                      </a:lnTo>
                      <a:lnTo>
                        <a:pt x="289" y="372"/>
                      </a:lnTo>
                      <a:lnTo>
                        <a:pt x="289" y="365"/>
                      </a:lnTo>
                      <a:lnTo>
                        <a:pt x="290" y="370"/>
                      </a:lnTo>
                      <a:lnTo>
                        <a:pt x="290" y="371"/>
                      </a:lnTo>
                      <a:lnTo>
                        <a:pt x="296" y="371"/>
                      </a:lnTo>
                      <a:lnTo>
                        <a:pt x="297" y="371"/>
                      </a:lnTo>
                      <a:lnTo>
                        <a:pt x="300" y="371"/>
                      </a:lnTo>
                      <a:lnTo>
                        <a:pt x="302" y="368"/>
                      </a:lnTo>
                      <a:lnTo>
                        <a:pt x="305" y="367"/>
                      </a:lnTo>
                      <a:lnTo>
                        <a:pt x="308" y="367"/>
                      </a:lnTo>
                      <a:lnTo>
                        <a:pt x="308" y="367"/>
                      </a:lnTo>
                      <a:lnTo>
                        <a:pt x="303" y="368"/>
                      </a:lnTo>
                      <a:lnTo>
                        <a:pt x="303" y="374"/>
                      </a:lnTo>
                      <a:lnTo>
                        <a:pt x="305" y="375"/>
                      </a:lnTo>
                      <a:lnTo>
                        <a:pt x="309" y="374"/>
                      </a:lnTo>
                      <a:lnTo>
                        <a:pt x="309" y="374"/>
                      </a:lnTo>
                      <a:lnTo>
                        <a:pt x="302" y="378"/>
                      </a:lnTo>
                      <a:lnTo>
                        <a:pt x="306" y="378"/>
                      </a:lnTo>
                      <a:lnTo>
                        <a:pt x="311" y="375"/>
                      </a:lnTo>
                      <a:lnTo>
                        <a:pt x="312" y="375"/>
                      </a:lnTo>
                      <a:lnTo>
                        <a:pt x="308" y="380"/>
                      </a:lnTo>
                      <a:lnTo>
                        <a:pt x="312" y="378"/>
                      </a:lnTo>
                      <a:lnTo>
                        <a:pt x="313" y="380"/>
                      </a:lnTo>
                      <a:lnTo>
                        <a:pt x="316" y="380"/>
                      </a:lnTo>
                      <a:lnTo>
                        <a:pt x="316" y="381"/>
                      </a:lnTo>
                      <a:lnTo>
                        <a:pt x="315" y="384"/>
                      </a:lnTo>
                      <a:lnTo>
                        <a:pt x="316" y="384"/>
                      </a:lnTo>
                      <a:lnTo>
                        <a:pt x="321" y="388"/>
                      </a:lnTo>
                      <a:lnTo>
                        <a:pt x="322" y="390"/>
                      </a:lnTo>
                      <a:lnTo>
                        <a:pt x="325" y="390"/>
                      </a:lnTo>
                      <a:lnTo>
                        <a:pt x="325" y="388"/>
                      </a:lnTo>
                      <a:lnTo>
                        <a:pt x="325" y="387"/>
                      </a:lnTo>
                      <a:lnTo>
                        <a:pt x="325" y="385"/>
                      </a:lnTo>
                      <a:lnTo>
                        <a:pt x="325" y="385"/>
                      </a:lnTo>
                      <a:lnTo>
                        <a:pt x="327" y="385"/>
                      </a:lnTo>
                      <a:lnTo>
                        <a:pt x="328" y="385"/>
                      </a:lnTo>
                      <a:lnTo>
                        <a:pt x="329" y="388"/>
                      </a:lnTo>
                      <a:lnTo>
                        <a:pt x="329" y="390"/>
                      </a:lnTo>
                      <a:lnTo>
                        <a:pt x="331" y="391"/>
                      </a:lnTo>
                      <a:lnTo>
                        <a:pt x="332" y="393"/>
                      </a:lnTo>
                      <a:lnTo>
                        <a:pt x="334" y="394"/>
                      </a:lnTo>
                      <a:lnTo>
                        <a:pt x="334" y="393"/>
                      </a:lnTo>
                      <a:lnTo>
                        <a:pt x="335" y="394"/>
                      </a:lnTo>
                      <a:lnTo>
                        <a:pt x="337" y="393"/>
                      </a:lnTo>
                      <a:lnTo>
                        <a:pt x="338" y="394"/>
                      </a:lnTo>
                      <a:lnTo>
                        <a:pt x="340" y="397"/>
                      </a:lnTo>
                      <a:lnTo>
                        <a:pt x="340" y="397"/>
                      </a:lnTo>
                      <a:lnTo>
                        <a:pt x="340" y="399"/>
                      </a:lnTo>
                      <a:lnTo>
                        <a:pt x="341" y="399"/>
                      </a:lnTo>
                      <a:lnTo>
                        <a:pt x="343" y="399"/>
                      </a:lnTo>
                      <a:lnTo>
                        <a:pt x="347" y="399"/>
                      </a:lnTo>
                      <a:lnTo>
                        <a:pt x="356" y="397"/>
                      </a:lnTo>
                      <a:lnTo>
                        <a:pt x="356" y="396"/>
                      </a:lnTo>
                      <a:lnTo>
                        <a:pt x="358" y="397"/>
                      </a:lnTo>
                      <a:lnTo>
                        <a:pt x="360" y="396"/>
                      </a:lnTo>
                      <a:lnTo>
                        <a:pt x="363" y="397"/>
                      </a:lnTo>
                      <a:lnTo>
                        <a:pt x="364" y="399"/>
                      </a:lnTo>
                      <a:lnTo>
                        <a:pt x="374" y="400"/>
                      </a:lnTo>
                      <a:lnTo>
                        <a:pt x="379" y="399"/>
                      </a:lnTo>
                      <a:lnTo>
                        <a:pt x="380" y="400"/>
                      </a:lnTo>
                      <a:lnTo>
                        <a:pt x="380" y="400"/>
                      </a:lnTo>
                      <a:lnTo>
                        <a:pt x="379" y="401"/>
                      </a:lnTo>
                      <a:lnTo>
                        <a:pt x="377" y="401"/>
                      </a:lnTo>
                      <a:lnTo>
                        <a:pt x="385" y="404"/>
                      </a:lnTo>
                      <a:lnTo>
                        <a:pt x="395" y="407"/>
                      </a:lnTo>
                      <a:lnTo>
                        <a:pt x="399" y="404"/>
                      </a:lnTo>
                      <a:lnTo>
                        <a:pt x="403" y="400"/>
                      </a:lnTo>
                      <a:lnTo>
                        <a:pt x="403" y="397"/>
                      </a:lnTo>
                      <a:lnTo>
                        <a:pt x="405" y="397"/>
                      </a:lnTo>
                      <a:lnTo>
                        <a:pt x="409" y="401"/>
                      </a:lnTo>
                      <a:lnTo>
                        <a:pt x="412" y="403"/>
                      </a:lnTo>
                      <a:lnTo>
                        <a:pt x="411" y="403"/>
                      </a:lnTo>
                      <a:lnTo>
                        <a:pt x="409" y="404"/>
                      </a:lnTo>
                      <a:lnTo>
                        <a:pt x="409" y="410"/>
                      </a:lnTo>
                      <a:lnTo>
                        <a:pt x="409" y="412"/>
                      </a:lnTo>
                      <a:lnTo>
                        <a:pt x="408" y="410"/>
                      </a:lnTo>
                      <a:lnTo>
                        <a:pt x="408" y="404"/>
                      </a:lnTo>
                      <a:lnTo>
                        <a:pt x="408" y="403"/>
                      </a:lnTo>
                      <a:lnTo>
                        <a:pt x="408" y="401"/>
                      </a:lnTo>
                      <a:lnTo>
                        <a:pt x="406" y="400"/>
                      </a:lnTo>
                      <a:lnTo>
                        <a:pt x="406" y="400"/>
                      </a:lnTo>
                      <a:lnTo>
                        <a:pt x="405" y="401"/>
                      </a:lnTo>
                      <a:lnTo>
                        <a:pt x="405" y="401"/>
                      </a:lnTo>
                      <a:lnTo>
                        <a:pt x="405" y="406"/>
                      </a:lnTo>
                      <a:lnTo>
                        <a:pt x="405" y="406"/>
                      </a:lnTo>
                      <a:lnTo>
                        <a:pt x="405" y="407"/>
                      </a:lnTo>
                      <a:lnTo>
                        <a:pt x="403" y="410"/>
                      </a:lnTo>
                      <a:lnTo>
                        <a:pt x="403" y="410"/>
                      </a:lnTo>
                      <a:lnTo>
                        <a:pt x="401" y="413"/>
                      </a:lnTo>
                      <a:lnTo>
                        <a:pt x="402" y="413"/>
                      </a:lnTo>
                      <a:lnTo>
                        <a:pt x="406" y="415"/>
                      </a:lnTo>
                      <a:lnTo>
                        <a:pt x="406" y="416"/>
                      </a:lnTo>
                      <a:lnTo>
                        <a:pt x="408" y="416"/>
                      </a:lnTo>
                      <a:lnTo>
                        <a:pt x="409" y="416"/>
                      </a:lnTo>
                      <a:lnTo>
                        <a:pt x="409" y="417"/>
                      </a:lnTo>
                      <a:lnTo>
                        <a:pt x="409" y="417"/>
                      </a:lnTo>
                      <a:lnTo>
                        <a:pt x="414" y="419"/>
                      </a:lnTo>
                      <a:lnTo>
                        <a:pt x="418" y="423"/>
                      </a:lnTo>
                      <a:lnTo>
                        <a:pt x="418" y="422"/>
                      </a:lnTo>
                      <a:lnTo>
                        <a:pt x="418" y="420"/>
                      </a:lnTo>
                      <a:lnTo>
                        <a:pt x="422" y="422"/>
                      </a:lnTo>
                      <a:lnTo>
                        <a:pt x="422" y="420"/>
                      </a:lnTo>
                      <a:lnTo>
                        <a:pt x="422" y="417"/>
                      </a:lnTo>
                      <a:lnTo>
                        <a:pt x="422" y="416"/>
                      </a:lnTo>
                      <a:lnTo>
                        <a:pt x="422" y="416"/>
                      </a:lnTo>
                      <a:lnTo>
                        <a:pt x="424" y="416"/>
                      </a:lnTo>
                      <a:lnTo>
                        <a:pt x="424" y="415"/>
                      </a:lnTo>
                      <a:lnTo>
                        <a:pt x="411" y="397"/>
                      </a:lnTo>
                      <a:lnTo>
                        <a:pt x="411" y="397"/>
                      </a:lnTo>
                      <a:lnTo>
                        <a:pt x="411" y="390"/>
                      </a:lnTo>
                      <a:lnTo>
                        <a:pt x="402" y="390"/>
                      </a:lnTo>
                      <a:lnTo>
                        <a:pt x="399" y="394"/>
                      </a:lnTo>
                      <a:lnTo>
                        <a:pt x="398" y="394"/>
                      </a:lnTo>
                      <a:lnTo>
                        <a:pt x="393" y="391"/>
                      </a:lnTo>
                      <a:lnTo>
                        <a:pt x="390" y="394"/>
                      </a:lnTo>
                      <a:lnTo>
                        <a:pt x="385" y="391"/>
                      </a:lnTo>
                      <a:lnTo>
                        <a:pt x="385" y="381"/>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83" name="Freeform 1619"/>
                <p:cNvSpPr>
                  <a:spLocks/>
                </p:cNvSpPr>
                <p:nvPr/>
              </p:nvSpPr>
              <p:spPr bwMode="auto">
                <a:xfrm>
                  <a:off x="1666146" y="2803519"/>
                  <a:ext cx="196339" cy="215650"/>
                </a:xfrm>
                <a:custGeom>
                  <a:avLst/>
                  <a:gdLst/>
                  <a:ahLst/>
                  <a:cxnLst>
                    <a:cxn ang="0">
                      <a:pos x="10" y="23"/>
                    </a:cxn>
                    <a:cxn ang="0">
                      <a:pos x="22" y="17"/>
                    </a:cxn>
                    <a:cxn ang="0">
                      <a:pos x="26" y="11"/>
                    </a:cxn>
                    <a:cxn ang="0">
                      <a:pos x="33" y="4"/>
                    </a:cxn>
                    <a:cxn ang="0">
                      <a:pos x="43" y="6"/>
                    </a:cxn>
                    <a:cxn ang="0">
                      <a:pos x="54" y="19"/>
                    </a:cxn>
                    <a:cxn ang="0">
                      <a:pos x="61" y="27"/>
                    </a:cxn>
                    <a:cxn ang="0">
                      <a:pos x="84" y="70"/>
                    </a:cxn>
                    <a:cxn ang="0">
                      <a:pos x="87" y="75"/>
                    </a:cxn>
                    <a:cxn ang="0">
                      <a:pos x="103" y="91"/>
                    </a:cxn>
                    <a:cxn ang="0">
                      <a:pos x="116" y="115"/>
                    </a:cxn>
                    <a:cxn ang="0">
                      <a:pos x="116" y="122"/>
                    </a:cxn>
                    <a:cxn ang="0">
                      <a:pos x="110" y="129"/>
                    </a:cxn>
                    <a:cxn ang="0">
                      <a:pos x="106" y="131"/>
                    </a:cxn>
                    <a:cxn ang="0">
                      <a:pos x="107" y="125"/>
                    </a:cxn>
                    <a:cxn ang="0">
                      <a:pos x="110" y="122"/>
                    </a:cxn>
                    <a:cxn ang="0">
                      <a:pos x="106" y="118"/>
                    </a:cxn>
                    <a:cxn ang="0">
                      <a:pos x="104" y="107"/>
                    </a:cxn>
                    <a:cxn ang="0">
                      <a:pos x="101" y="100"/>
                    </a:cxn>
                    <a:cxn ang="0">
                      <a:pos x="99" y="100"/>
                    </a:cxn>
                    <a:cxn ang="0">
                      <a:pos x="94" y="103"/>
                    </a:cxn>
                    <a:cxn ang="0">
                      <a:pos x="91" y="107"/>
                    </a:cxn>
                    <a:cxn ang="0">
                      <a:pos x="90" y="110"/>
                    </a:cxn>
                    <a:cxn ang="0">
                      <a:pos x="85" y="106"/>
                    </a:cxn>
                    <a:cxn ang="0">
                      <a:pos x="90" y="97"/>
                    </a:cxn>
                    <a:cxn ang="0">
                      <a:pos x="90" y="93"/>
                    </a:cxn>
                    <a:cxn ang="0">
                      <a:pos x="85" y="83"/>
                    </a:cxn>
                    <a:cxn ang="0">
                      <a:pos x="81" y="78"/>
                    </a:cxn>
                    <a:cxn ang="0">
                      <a:pos x="78" y="77"/>
                    </a:cxn>
                    <a:cxn ang="0">
                      <a:pos x="77" y="71"/>
                    </a:cxn>
                    <a:cxn ang="0">
                      <a:pos x="72" y="71"/>
                    </a:cxn>
                    <a:cxn ang="0">
                      <a:pos x="70" y="71"/>
                    </a:cxn>
                    <a:cxn ang="0">
                      <a:pos x="72" y="67"/>
                    </a:cxn>
                    <a:cxn ang="0">
                      <a:pos x="68" y="64"/>
                    </a:cxn>
                    <a:cxn ang="0">
                      <a:pos x="68" y="61"/>
                    </a:cxn>
                    <a:cxn ang="0">
                      <a:pos x="65" y="59"/>
                    </a:cxn>
                    <a:cxn ang="0">
                      <a:pos x="75" y="61"/>
                    </a:cxn>
                    <a:cxn ang="0">
                      <a:pos x="71" y="57"/>
                    </a:cxn>
                    <a:cxn ang="0">
                      <a:pos x="68" y="51"/>
                    </a:cxn>
                    <a:cxn ang="0">
                      <a:pos x="65" y="51"/>
                    </a:cxn>
                    <a:cxn ang="0">
                      <a:pos x="64" y="49"/>
                    </a:cxn>
                    <a:cxn ang="0">
                      <a:pos x="65" y="46"/>
                    </a:cxn>
                    <a:cxn ang="0">
                      <a:pos x="64" y="43"/>
                    </a:cxn>
                    <a:cxn ang="0">
                      <a:pos x="59" y="43"/>
                    </a:cxn>
                    <a:cxn ang="0">
                      <a:pos x="56" y="42"/>
                    </a:cxn>
                    <a:cxn ang="0">
                      <a:pos x="46" y="30"/>
                    </a:cxn>
                    <a:cxn ang="0">
                      <a:pos x="39" y="11"/>
                    </a:cxn>
                    <a:cxn ang="0">
                      <a:pos x="45" y="38"/>
                    </a:cxn>
                    <a:cxn ang="0">
                      <a:pos x="38" y="35"/>
                    </a:cxn>
                    <a:cxn ang="0">
                      <a:pos x="35" y="32"/>
                    </a:cxn>
                    <a:cxn ang="0">
                      <a:pos x="32" y="25"/>
                    </a:cxn>
                    <a:cxn ang="0">
                      <a:pos x="27" y="27"/>
                    </a:cxn>
                    <a:cxn ang="0">
                      <a:pos x="22" y="23"/>
                    </a:cxn>
                    <a:cxn ang="0">
                      <a:pos x="19" y="23"/>
                    </a:cxn>
                    <a:cxn ang="0">
                      <a:pos x="22" y="26"/>
                    </a:cxn>
                    <a:cxn ang="0">
                      <a:pos x="24" y="30"/>
                    </a:cxn>
                    <a:cxn ang="0">
                      <a:pos x="30" y="35"/>
                    </a:cxn>
                    <a:cxn ang="0">
                      <a:pos x="24" y="38"/>
                    </a:cxn>
                    <a:cxn ang="0">
                      <a:pos x="17" y="38"/>
                    </a:cxn>
                    <a:cxn ang="0">
                      <a:pos x="10" y="29"/>
                    </a:cxn>
                    <a:cxn ang="0">
                      <a:pos x="0" y="19"/>
                    </a:cxn>
                  </a:cxnLst>
                  <a:rect l="0" t="0" r="r" b="b"/>
                  <a:pathLst>
                    <a:path w="117" h="131">
                      <a:moveTo>
                        <a:pt x="3" y="10"/>
                      </a:moveTo>
                      <a:lnTo>
                        <a:pt x="7" y="14"/>
                      </a:lnTo>
                      <a:lnTo>
                        <a:pt x="10" y="22"/>
                      </a:lnTo>
                      <a:lnTo>
                        <a:pt x="10" y="23"/>
                      </a:lnTo>
                      <a:lnTo>
                        <a:pt x="10" y="23"/>
                      </a:lnTo>
                      <a:lnTo>
                        <a:pt x="14" y="22"/>
                      </a:lnTo>
                      <a:lnTo>
                        <a:pt x="19" y="19"/>
                      </a:lnTo>
                      <a:lnTo>
                        <a:pt x="22" y="17"/>
                      </a:lnTo>
                      <a:lnTo>
                        <a:pt x="23" y="14"/>
                      </a:lnTo>
                      <a:lnTo>
                        <a:pt x="23" y="13"/>
                      </a:lnTo>
                      <a:lnTo>
                        <a:pt x="24" y="11"/>
                      </a:lnTo>
                      <a:lnTo>
                        <a:pt x="26" y="11"/>
                      </a:lnTo>
                      <a:lnTo>
                        <a:pt x="26" y="10"/>
                      </a:lnTo>
                      <a:lnTo>
                        <a:pt x="26" y="7"/>
                      </a:lnTo>
                      <a:lnTo>
                        <a:pt x="27" y="6"/>
                      </a:lnTo>
                      <a:lnTo>
                        <a:pt x="33" y="4"/>
                      </a:lnTo>
                      <a:lnTo>
                        <a:pt x="39" y="0"/>
                      </a:lnTo>
                      <a:lnTo>
                        <a:pt x="40" y="0"/>
                      </a:lnTo>
                      <a:lnTo>
                        <a:pt x="42" y="1"/>
                      </a:lnTo>
                      <a:lnTo>
                        <a:pt x="43" y="6"/>
                      </a:lnTo>
                      <a:lnTo>
                        <a:pt x="45" y="7"/>
                      </a:lnTo>
                      <a:lnTo>
                        <a:pt x="46" y="7"/>
                      </a:lnTo>
                      <a:lnTo>
                        <a:pt x="51" y="16"/>
                      </a:lnTo>
                      <a:lnTo>
                        <a:pt x="54" y="19"/>
                      </a:lnTo>
                      <a:lnTo>
                        <a:pt x="55" y="23"/>
                      </a:lnTo>
                      <a:lnTo>
                        <a:pt x="55" y="23"/>
                      </a:lnTo>
                      <a:lnTo>
                        <a:pt x="55" y="25"/>
                      </a:lnTo>
                      <a:lnTo>
                        <a:pt x="61" y="27"/>
                      </a:lnTo>
                      <a:lnTo>
                        <a:pt x="77" y="58"/>
                      </a:lnTo>
                      <a:lnTo>
                        <a:pt x="78" y="58"/>
                      </a:lnTo>
                      <a:lnTo>
                        <a:pt x="80" y="62"/>
                      </a:lnTo>
                      <a:lnTo>
                        <a:pt x="84" y="70"/>
                      </a:lnTo>
                      <a:lnTo>
                        <a:pt x="84" y="71"/>
                      </a:lnTo>
                      <a:lnTo>
                        <a:pt x="84" y="71"/>
                      </a:lnTo>
                      <a:lnTo>
                        <a:pt x="84" y="72"/>
                      </a:lnTo>
                      <a:lnTo>
                        <a:pt x="87" y="75"/>
                      </a:lnTo>
                      <a:lnTo>
                        <a:pt x="88" y="83"/>
                      </a:lnTo>
                      <a:lnTo>
                        <a:pt x="91" y="87"/>
                      </a:lnTo>
                      <a:lnTo>
                        <a:pt x="94" y="88"/>
                      </a:lnTo>
                      <a:lnTo>
                        <a:pt x="103" y="91"/>
                      </a:lnTo>
                      <a:lnTo>
                        <a:pt x="112" y="97"/>
                      </a:lnTo>
                      <a:lnTo>
                        <a:pt x="116" y="99"/>
                      </a:lnTo>
                      <a:lnTo>
                        <a:pt x="117" y="102"/>
                      </a:lnTo>
                      <a:lnTo>
                        <a:pt x="116" y="115"/>
                      </a:lnTo>
                      <a:lnTo>
                        <a:pt x="117" y="119"/>
                      </a:lnTo>
                      <a:lnTo>
                        <a:pt x="117" y="120"/>
                      </a:lnTo>
                      <a:lnTo>
                        <a:pt x="117" y="122"/>
                      </a:lnTo>
                      <a:lnTo>
                        <a:pt x="116" y="122"/>
                      </a:lnTo>
                      <a:lnTo>
                        <a:pt x="116" y="125"/>
                      </a:lnTo>
                      <a:lnTo>
                        <a:pt x="115" y="123"/>
                      </a:lnTo>
                      <a:lnTo>
                        <a:pt x="110" y="128"/>
                      </a:lnTo>
                      <a:lnTo>
                        <a:pt x="110" y="129"/>
                      </a:lnTo>
                      <a:lnTo>
                        <a:pt x="109" y="129"/>
                      </a:lnTo>
                      <a:lnTo>
                        <a:pt x="107" y="131"/>
                      </a:lnTo>
                      <a:lnTo>
                        <a:pt x="106" y="128"/>
                      </a:lnTo>
                      <a:lnTo>
                        <a:pt x="106" y="131"/>
                      </a:lnTo>
                      <a:lnTo>
                        <a:pt x="104" y="131"/>
                      </a:lnTo>
                      <a:lnTo>
                        <a:pt x="104" y="125"/>
                      </a:lnTo>
                      <a:lnTo>
                        <a:pt x="106" y="123"/>
                      </a:lnTo>
                      <a:lnTo>
                        <a:pt x="107" y="125"/>
                      </a:lnTo>
                      <a:lnTo>
                        <a:pt x="107" y="123"/>
                      </a:lnTo>
                      <a:lnTo>
                        <a:pt x="109" y="123"/>
                      </a:lnTo>
                      <a:lnTo>
                        <a:pt x="109" y="122"/>
                      </a:lnTo>
                      <a:lnTo>
                        <a:pt x="110" y="122"/>
                      </a:lnTo>
                      <a:lnTo>
                        <a:pt x="109" y="118"/>
                      </a:lnTo>
                      <a:lnTo>
                        <a:pt x="107" y="116"/>
                      </a:lnTo>
                      <a:lnTo>
                        <a:pt x="107" y="118"/>
                      </a:lnTo>
                      <a:lnTo>
                        <a:pt x="106" y="118"/>
                      </a:lnTo>
                      <a:lnTo>
                        <a:pt x="106" y="118"/>
                      </a:lnTo>
                      <a:lnTo>
                        <a:pt x="106" y="112"/>
                      </a:lnTo>
                      <a:lnTo>
                        <a:pt x="104" y="110"/>
                      </a:lnTo>
                      <a:lnTo>
                        <a:pt x="104" y="107"/>
                      </a:lnTo>
                      <a:lnTo>
                        <a:pt x="103" y="103"/>
                      </a:lnTo>
                      <a:lnTo>
                        <a:pt x="101" y="100"/>
                      </a:lnTo>
                      <a:lnTo>
                        <a:pt x="101" y="102"/>
                      </a:lnTo>
                      <a:lnTo>
                        <a:pt x="101" y="100"/>
                      </a:lnTo>
                      <a:lnTo>
                        <a:pt x="103" y="99"/>
                      </a:lnTo>
                      <a:lnTo>
                        <a:pt x="101" y="97"/>
                      </a:lnTo>
                      <a:lnTo>
                        <a:pt x="100" y="97"/>
                      </a:lnTo>
                      <a:lnTo>
                        <a:pt x="99" y="100"/>
                      </a:lnTo>
                      <a:lnTo>
                        <a:pt x="97" y="100"/>
                      </a:lnTo>
                      <a:lnTo>
                        <a:pt x="97" y="102"/>
                      </a:lnTo>
                      <a:lnTo>
                        <a:pt x="94" y="102"/>
                      </a:lnTo>
                      <a:lnTo>
                        <a:pt x="94" y="103"/>
                      </a:lnTo>
                      <a:lnTo>
                        <a:pt x="93" y="103"/>
                      </a:lnTo>
                      <a:lnTo>
                        <a:pt x="93" y="104"/>
                      </a:lnTo>
                      <a:lnTo>
                        <a:pt x="91" y="106"/>
                      </a:lnTo>
                      <a:lnTo>
                        <a:pt x="91" y="107"/>
                      </a:lnTo>
                      <a:lnTo>
                        <a:pt x="91" y="107"/>
                      </a:lnTo>
                      <a:lnTo>
                        <a:pt x="90" y="109"/>
                      </a:lnTo>
                      <a:lnTo>
                        <a:pt x="90" y="109"/>
                      </a:lnTo>
                      <a:lnTo>
                        <a:pt x="90" y="110"/>
                      </a:lnTo>
                      <a:lnTo>
                        <a:pt x="88" y="112"/>
                      </a:lnTo>
                      <a:lnTo>
                        <a:pt x="85" y="109"/>
                      </a:lnTo>
                      <a:lnTo>
                        <a:pt x="85" y="107"/>
                      </a:lnTo>
                      <a:lnTo>
                        <a:pt x="85" y="106"/>
                      </a:lnTo>
                      <a:lnTo>
                        <a:pt x="87" y="106"/>
                      </a:lnTo>
                      <a:lnTo>
                        <a:pt x="88" y="104"/>
                      </a:lnTo>
                      <a:lnTo>
                        <a:pt x="90" y="100"/>
                      </a:lnTo>
                      <a:lnTo>
                        <a:pt x="90" y="97"/>
                      </a:lnTo>
                      <a:lnTo>
                        <a:pt x="91" y="96"/>
                      </a:lnTo>
                      <a:lnTo>
                        <a:pt x="96" y="96"/>
                      </a:lnTo>
                      <a:lnTo>
                        <a:pt x="96" y="94"/>
                      </a:lnTo>
                      <a:lnTo>
                        <a:pt x="90" y="93"/>
                      </a:lnTo>
                      <a:lnTo>
                        <a:pt x="88" y="91"/>
                      </a:lnTo>
                      <a:lnTo>
                        <a:pt x="87" y="90"/>
                      </a:lnTo>
                      <a:lnTo>
                        <a:pt x="85" y="87"/>
                      </a:lnTo>
                      <a:lnTo>
                        <a:pt x="85" y="83"/>
                      </a:lnTo>
                      <a:lnTo>
                        <a:pt x="83" y="83"/>
                      </a:lnTo>
                      <a:lnTo>
                        <a:pt x="83" y="81"/>
                      </a:lnTo>
                      <a:lnTo>
                        <a:pt x="83" y="80"/>
                      </a:lnTo>
                      <a:lnTo>
                        <a:pt x="81" y="78"/>
                      </a:lnTo>
                      <a:lnTo>
                        <a:pt x="78" y="78"/>
                      </a:lnTo>
                      <a:lnTo>
                        <a:pt x="75" y="74"/>
                      </a:lnTo>
                      <a:lnTo>
                        <a:pt x="74" y="72"/>
                      </a:lnTo>
                      <a:lnTo>
                        <a:pt x="78" y="77"/>
                      </a:lnTo>
                      <a:lnTo>
                        <a:pt x="78" y="77"/>
                      </a:lnTo>
                      <a:lnTo>
                        <a:pt x="77" y="74"/>
                      </a:lnTo>
                      <a:lnTo>
                        <a:pt x="77" y="71"/>
                      </a:lnTo>
                      <a:lnTo>
                        <a:pt x="77" y="71"/>
                      </a:lnTo>
                      <a:lnTo>
                        <a:pt x="75" y="72"/>
                      </a:lnTo>
                      <a:lnTo>
                        <a:pt x="74" y="72"/>
                      </a:lnTo>
                      <a:lnTo>
                        <a:pt x="72" y="71"/>
                      </a:lnTo>
                      <a:lnTo>
                        <a:pt x="72" y="71"/>
                      </a:lnTo>
                      <a:lnTo>
                        <a:pt x="72" y="71"/>
                      </a:lnTo>
                      <a:lnTo>
                        <a:pt x="71" y="70"/>
                      </a:lnTo>
                      <a:lnTo>
                        <a:pt x="71" y="71"/>
                      </a:lnTo>
                      <a:lnTo>
                        <a:pt x="70" y="71"/>
                      </a:lnTo>
                      <a:lnTo>
                        <a:pt x="68" y="70"/>
                      </a:lnTo>
                      <a:lnTo>
                        <a:pt x="68" y="68"/>
                      </a:lnTo>
                      <a:lnTo>
                        <a:pt x="68" y="67"/>
                      </a:lnTo>
                      <a:lnTo>
                        <a:pt x="72" y="67"/>
                      </a:lnTo>
                      <a:lnTo>
                        <a:pt x="72" y="65"/>
                      </a:lnTo>
                      <a:lnTo>
                        <a:pt x="70" y="65"/>
                      </a:lnTo>
                      <a:lnTo>
                        <a:pt x="68" y="65"/>
                      </a:lnTo>
                      <a:lnTo>
                        <a:pt x="68" y="64"/>
                      </a:lnTo>
                      <a:lnTo>
                        <a:pt x="70" y="64"/>
                      </a:lnTo>
                      <a:lnTo>
                        <a:pt x="70" y="62"/>
                      </a:lnTo>
                      <a:lnTo>
                        <a:pt x="68" y="62"/>
                      </a:lnTo>
                      <a:lnTo>
                        <a:pt x="68" y="61"/>
                      </a:lnTo>
                      <a:lnTo>
                        <a:pt x="70" y="59"/>
                      </a:lnTo>
                      <a:lnTo>
                        <a:pt x="70" y="59"/>
                      </a:lnTo>
                      <a:lnTo>
                        <a:pt x="67" y="59"/>
                      </a:lnTo>
                      <a:lnTo>
                        <a:pt x="65" y="59"/>
                      </a:lnTo>
                      <a:lnTo>
                        <a:pt x="67" y="57"/>
                      </a:lnTo>
                      <a:lnTo>
                        <a:pt x="72" y="59"/>
                      </a:lnTo>
                      <a:lnTo>
                        <a:pt x="74" y="61"/>
                      </a:lnTo>
                      <a:lnTo>
                        <a:pt x="75" y="61"/>
                      </a:lnTo>
                      <a:lnTo>
                        <a:pt x="74" y="61"/>
                      </a:lnTo>
                      <a:lnTo>
                        <a:pt x="72" y="59"/>
                      </a:lnTo>
                      <a:lnTo>
                        <a:pt x="72" y="57"/>
                      </a:lnTo>
                      <a:lnTo>
                        <a:pt x="71" y="57"/>
                      </a:lnTo>
                      <a:lnTo>
                        <a:pt x="71" y="58"/>
                      </a:lnTo>
                      <a:lnTo>
                        <a:pt x="68" y="54"/>
                      </a:lnTo>
                      <a:lnTo>
                        <a:pt x="67" y="52"/>
                      </a:lnTo>
                      <a:lnTo>
                        <a:pt x="68" y="51"/>
                      </a:lnTo>
                      <a:lnTo>
                        <a:pt x="71" y="51"/>
                      </a:lnTo>
                      <a:lnTo>
                        <a:pt x="72" y="51"/>
                      </a:lnTo>
                      <a:lnTo>
                        <a:pt x="71" y="51"/>
                      </a:lnTo>
                      <a:lnTo>
                        <a:pt x="65" y="51"/>
                      </a:lnTo>
                      <a:lnTo>
                        <a:pt x="65" y="52"/>
                      </a:lnTo>
                      <a:lnTo>
                        <a:pt x="65" y="54"/>
                      </a:lnTo>
                      <a:lnTo>
                        <a:pt x="62" y="51"/>
                      </a:lnTo>
                      <a:lnTo>
                        <a:pt x="64" y="49"/>
                      </a:lnTo>
                      <a:lnTo>
                        <a:pt x="65" y="48"/>
                      </a:lnTo>
                      <a:lnTo>
                        <a:pt x="68" y="46"/>
                      </a:lnTo>
                      <a:lnTo>
                        <a:pt x="67" y="45"/>
                      </a:lnTo>
                      <a:lnTo>
                        <a:pt x="65" y="46"/>
                      </a:lnTo>
                      <a:lnTo>
                        <a:pt x="65" y="46"/>
                      </a:lnTo>
                      <a:lnTo>
                        <a:pt x="67" y="43"/>
                      </a:lnTo>
                      <a:lnTo>
                        <a:pt x="65" y="43"/>
                      </a:lnTo>
                      <a:lnTo>
                        <a:pt x="64" y="43"/>
                      </a:lnTo>
                      <a:lnTo>
                        <a:pt x="62" y="46"/>
                      </a:lnTo>
                      <a:lnTo>
                        <a:pt x="62" y="48"/>
                      </a:lnTo>
                      <a:lnTo>
                        <a:pt x="61" y="46"/>
                      </a:lnTo>
                      <a:lnTo>
                        <a:pt x="59" y="43"/>
                      </a:lnTo>
                      <a:lnTo>
                        <a:pt x="59" y="42"/>
                      </a:lnTo>
                      <a:lnTo>
                        <a:pt x="58" y="41"/>
                      </a:lnTo>
                      <a:lnTo>
                        <a:pt x="58" y="41"/>
                      </a:lnTo>
                      <a:lnTo>
                        <a:pt x="56" y="42"/>
                      </a:lnTo>
                      <a:lnTo>
                        <a:pt x="52" y="38"/>
                      </a:lnTo>
                      <a:lnTo>
                        <a:pt x="49" y="38"/>
                      </a:lnTo>
                      <a:lnTo>
                        <a:pt x="46" y="32"/>
                      </a:lnTo>
                      <a:lnTo>
                        <a:pt x="46" y="30"/>
                      </a:lnTo>
                      <a:lnTo>
                        <a:pt x="46" y="26"/>
                      </a:lnTo>
                      <a:lnTo>
                        <a:pt x="45" y="27"/>
                      </a:lnTo>
                      <a:lnTo>
                        <a:pt x="39" y="10"/>
                      </a:lnTo>
                      <a:lnTo>
                        <a:pt x="39" y="11"/>
                      </a:lnTo>
                      <a:lnTo>
                        <a:pt x="40" y="16"/>
                      </a:lnTo>
                      <a:lnTo>
                        <a:pt x="39" y="17"/>
                      </a:lnTo>
                      <a:lnTo>
                        <a:pt x="39" y="16"/>
                      </a:lnTo>
                      <a:lnTo>
                        <a:pt x="45" y="38"/>
                      </a:lnTo>
                      <a:lnTo>
                        <a:pt x="42" y="42"/>
                      </a:lnTo>
                      <a:lnTo>
                        <a:pt x="40" y="42"/>
                      </a:lnTo>
                      <a:lnTo>
                        <a:pt x="39" y="36"/>
                      </a:lnTo>
                      <a:lnTo>
                        <a:pt x="38" y="35"/>
                      </a:lnTo>
                      <a:lnTo>
                        <a:pt x="38" y="38"/>
                      </a:lnTo>
                      <a:lnTo>
                        <a:pt x="33" y="38"/>
                      </a:lnTo>
                      <a:lnTo>
                        <a:pt x="33" y="33"/>
                      </a:lnTo>
                      <a:lnTo>
                        <a:pt x="35" y="32"/>
                      </a:lnTo>
                      <a:lnTo>
                        <a:pt x="33" y="32"/>
                      </a:lnTo>
                      <a:lnTo>
                        <a:pt x="30" y="27"/>
                      </a:lnTo>
                      <a:lnTo>
                        <a:pt x="30" y="25"/>
                      </a:lnTo>
                      <a:lnTo>
                        <a:pt x="32" y="25"/>
                      </a:lnTo>
                      <a:lnTo>
                        <a:pt x="30" y="23"/>
                      </a:lnTo>
                      <a:lnTo>
                        <a:pt x="29" y="23"/>
                      </a:lnTo>
                      <a:lnTo>
                        <a:pt x="29" y="26"/>
                      </a:lnTo>
                      <a:lnTo>
                        <a:pt x="27" y="27"/>
                      </a:lnTo>
                      <a:lnTo>
                        <a:pt x="24" y="25"/>
                      </a:lnTo>
                      <a:lnTo>
                        <a:pt x="23" y="22"/>
                      </a:lnTo>
                      <a:lnTo>
                        <a:pt x="22" y="22"/>
                      </a:lnTo>
                      <a:lnTo>
                        <a:pt x="22" y="23"/>
                      </a:lnTo>
                      <a:lnTo>
                        <a:pt x="22" y="23"/>
                      </a:lnTo>
                      <a:lnTo>
                        <a:pt x="19" y="20"/>
                      </a:lnTo>
                      <a:lnTo>
                        <a:pt x="19" y="22"/>
                      </a:lnTo>
                      <a:lnTo>
                        <a:pt x="19" y="23"/>
                      </a:lnTo>
                      <a:lnTo>
                        <a:pt x="17" y="23"/>
                      </a:lnTo>
                      <a:lnTo>
                        <a:pt x="17" y="23"/>
                      </a:lnTo>
                      <a:lnTo>
                        <a:pt x="20" y="25"/>
                      </a:lnTo>
                      <a:lnTo>
                        <a:pt x="22" y="26"/>
                      </a:lnTo>
                      <a:lnTo>
                        <a:pt x="23" y="27"/>
                      </a:lnTo>
                      <a:lnTo>
                        <a:pt x="23" y="27"/>
                      </a:lnTo>
                      <a:lnTo>
                        <a:pt x="24" y="29"/>
                      </a:lnTo>
                      <a:lnTo>
                        <a:pt x="24" y="30"/>
                      </a:lnTo>
                      <a:lnTo>
                        <a:pt x="26" y="32"/>
                      </a:lnTo>
                      <a:lnTo>
                        <a:pt x="26" y="30"/>
                      </a:lnTo>
                      <a:lnTo>
                        <a:pt x="27" y="30"/>
                      </a:lnTo>
                      <a:lnTo>
                        <a:pt x="30" y="35"/>
                      </a:lnTo>
                      <a:lnTo>
                        <a:pt x="29" y="38"/>
                      </a:lnTo>
                      <a:lnTo>
                        <a:pt x="27" y="39"/>
                      </a:lnTo>
                      <a:lnTo>
                        <a:pt x="24" y="39"/>
                      </a:lnTo>
                      <a:lnTo>
                        <a:pt x="24" y="38"/>
                      </a:lnTo>
                      <a:lnTo>
                        <a:pt x="24" y="38"/>
                      </a:lnTo>
                      <a:lnTo>
                        <a:pt x="24" y="41"/>
                      </a:lnTo>
                      <a:lnTo>
                        <a:pt x="22" y="42"/>
                      </a:lnTo>
                      <a:lnTo>
                        <a:pt x="17" y="38"/>
                      </a:lnTo>
                      <a:lnTo>
                        <a:pt x="13" y="36"/>
                      </a:lnTo>
                      <a:lnTo>
                        <a:pt x="10" y="33"/>
                      </a:lnTo>
                      <a:lnTo>
                        <a:pt x="9" y="32"/>
                      </a:lnTo>
                      <a:lnTo>
                        <a:pt x="10" y="29"/>
                      </a:lnTo>
                      <a:lnTo>
                        <a:pt x="9" y="29"/>
                      </a:lnTo>
                      <a:lnTo>
                        <a:pt x="7" y="29"/>
                      </a:lnTo>
                      <a:lnTo>
                        <a:pt x="0" y="20"/>
                      </a:lnTo>
                      <a:lnTo>
                        <a:pt x="0" y="19"/>
                      </a:lnTo>
                      <a:lnTo>
                        <a:pt x="1" y="11"/>
                      </a:lnTo>
                      <a:lnTo>
                        <a:pt x="3" y="1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84" name="Freeform 1620"/>
                <p:cNvSpPr>
                  <a:spLocks/>
                </p:cNvSpPr>
                <p:nvPr/>
              </p:nvSpPr>
              <p:spPr bwMode="auto">
                <a:xfrm>
                  <a:off x="1666146" y="2803519"/>
                  <a:ext cx="196339" cy="215650"/>
                </a:xfrm>
                <a:custGeom>
                  <a:avLst/>
                  <a:gdLst/>
                  <a:ahLst/>
                  <a:cxnLst>
                    <a:cxn ang="0">
                      <a:pos x="10" y="23"/>
                    </a:cxn>
                    <a:cxn ang="0">
                      <a:pos x="22" y="17"/>
                    </a:cxn>
                    <a:cxn ang="0">
                      <a:pos x="26" y="11"/>
                    </a:cxn>
                    <a:cxn ang="0">
                      <a:pos x="33" y="4"/>
                    </a:cxn>
                    <a:cxn ang="0">
                      <a:pos x="43" y="6"/>
                    </a:cxn>
                    <a:cxn ang="0">
                      <a:pos x="54" y="19"/>
                    </a:cxn>
                    <a:cxn ang="0">
                      <a:pos x="61" y="27"/>
                    </a:cxn>
                    <a:cxn ang="0">
                      <a:pos x="84" y="70"/>
                    </a:cxn>
                    <a:cxn ang="0">
                      <a:pos x="87" y="75"/>
                    </a:cxn>
                    <a:cxn ang="0">
                      <a:pos x="103" y="91"/>
                    </a:cxn>
                    <a:cxn ang="0">
                      <a:pos x="116" y="115"/>
                    </a:cxn>
                    <a:cxn ang="0">
                      <a:pos x="116" y="122"/>
                    </a:cxn>
                    <a:cxn ang="0">
                      <a:pos x="110" y="129"/>
                    </a:cxn>
                    <a:cxn ang="0">
                      <a:pos x="106" y="131"/>
                    </a:cxn>
                    <a:cxn ang="0">
                      <a:pos x="107" y="125"/>
                    </a:cxn>
                    <a:cxn ang="0">
                      <a:pos x="110" y="122"/>
                    </a:cxn>
                    <a:cxn ang="0">
                      <a:pos x="106" y="118"/>
                    </a:cxn>
                    <a:cxn ang="0">
                      <a:pos x="104" y="107"/>
                    </a:cxn>
                    <a:cxn ang="0">
                      <a:pos x="101" y="100"/>
                    </a:cxn>
                    <a:cxn ang="0">
                      <a:pos x="99" y="100"/>
                    </a:cxn>
                    <a:cxn ang="0">
                      <a:pos x="94" y="103"/>
                    </a:cxn>
                    <a:cxn ang="0">
                      <a:pos x="91" y="107"/>
                    </a:cxn>
                    <a:cxn ang="0">
                      <a:pos x="90" y="110"/>
                    </a:cxn>
                    <a:cxn ang="0">
                      <a:pos x="85" y="106"/>
                    </a:cxn>
                    <a:cxn ang="0">
                      <a:pos x="90" y="97"/>
                    </a:cxn>
                    <a:cxn ang="0">
                      <a:pos x="90" y="93"/>
                    </a:cxn>
                    <a:cxn ang="0">
                      <a:pos x="85" y="83"/>
                    </a:cxn>
                    <a:cxn ang="0">
                      <a:pos x="81" y="78"/>
                    </a:cxn>
                    <a:cxn ang="0">
                      <a:pos x="78" y="77"/>
                    </a:cxn>
                    <a:cxn ang="0">
                      <a:pos x="77" y="71"/>
                    </a:cxn>
                    <a:cxn ang="0">
                      <a:pos x="72" y="71"/>
                    </a:cxn>
                    <a:cxn ang="0">
                      <a:pos x="70" y="71"/>
                    </a:cxn>
                    <a:cxn ang="0">
                      <a:pos x="72" y="67"/>
                    </a:cxn>
                    <a:cxn ang="0">
                      <a:pos x="68" y="64"/>
                    </a:cxn>
                    <a:cxn ang="0">
                      <a:pos x="68" y="61"/>
                    </a:cxn>
                    <a:cxn ang="0">
                      <a:pos x="65" y="59"/>
                    </a:cxn>
                    <a:cxn ang="0">
                      <a:pos x="75" y="61"/>
                    </a:cxn>
                    <a:cxn ang="0">
                      <a:pos x="71" y="57"/>
                    </a:cxn>
                    <a:cxn ang="0">
                      <a:pos x="68" y="51"/>
                    </a:cxn>
                    <a:cxn ang="0">
                      <a:pos x="65" y="51"/>
                    </a:cxn>
                    <a:cxn ang="0">
                      <a:pos x="64" y="49"/>
                    </a:cxn>
                    <a:cxn ang="0">
                      <a:pos x="65" y="46"/>
                    </a:cxn>
                    <a:cxn ang="0">
                      <a:pos x="64" y="43"/>
                    </a:cxn>
                    <a:cxn ang="0">
                      <a:pos x="59" y="43"/>
                    </a:cxn>
                    <a:cxn ang="0">
                      <a:pos x="56" y="42"/>
                    </a:cxn>
                    <a:cxn ang="0">
                      <a:pos x="46" y="30"/>
                    </a:cxn>
                    <a:cxn ang="0">
                      <a:pos x="39" y="11"/>
                    </a:cxn>
                    <a:cxn ang="0">
                      <a:pos x="45" y="38"/>
                    </a:cxn>
                    <a:cxn ang="0">
                      <a:pos x="38" y="35"/>
                    </a:cxn>
                    <a:cxn ang="0">
                      <a:pos x="35" y="32"/>
                    </a:cxn>
                    <a:cxn ang="0">
                      <a:pos x="32" y="25"/>
                    </a:cxn>
                    <a:cxn ang="0">
                      <a:pos x="27" y="27"/>
                    </a:cxn>
                    <a:cxn ang="0">
                      <a:pos x="22" y="23"/>
                    </a:cxn>
                    <a:cxn ang="0">
                      <a:pos x="19" y="23"/>
                    </a:cxn>
                    <a:cxn ang="0">
                      <a:pos x="22" y="26"/>
                    </a:cxn>
                    <a:cxn ang="0">
                      <a:pos x="24" y="30"/>
                    </a:cxn>
                    <a:cxn ang="0">
                      <a:pos x="30" y="35"/>
                    </a:cxn>
                    <a:cxn ang="0">
                      <a:pos x="24" y="38"/>
                    </a:cxn>
                    <a:cxn ang="0">
                      <a:pos x="17" y="38"/>
                    </a:cxn>
                    <a:cxn ang="0">
                      <a:pos x="10" y="29"/>
                    </a:cxn>
                    <a:cxn ang="0">
                      <a:pos x="0" y="19"/>
                    </a:cxn>
                  </a:cxnLst>
                  <a:rect l="0" t="0" r="r" b="b"/>
                  <a:pathLst>
                    <a:path w="117" h="131">
                      <a:moveTo>
                        <a:pt x="3" y="10"/>
                      </a:moveTo>
                      <a:lnTo>
                        <a:pt x="7" y="14"/>
                      </a:lnTo>
                      <a:lnTo>
                        <a:pt x="10" y="22"/>
                      </a:lnTo>
                      <a:lnTo>
                        <a:pt x="10" y="23"/>
                      </a:lnTo>
                      <a:lnTo>
                        <a:pt x="10" y="23"/>
                      </a:lnTo>
                      <a:lnTo>
                        <a:pt x="14" y="22"/>
                      </a:lnTo>
                      <a:lnTo>
                        <a:pt x="19" y="19"/>
                      </a:lnTo>
                      <a:lnTo>
                        <a:pt x="22" y="17"/>
                      </a:lnTo>
                      <a:lnTo>
                        <a:pt x="23" y="14"/>
                      </a:lnTo>
                      <a:lnTo>
                        <a:pt x="23" y="13"/>
                      </a:lnTo>
                      <a:lnTo>
                        <a:pt x="24" y="11"/>
                      </a:lnTo>
                      <a:lnTo>
                        <a:pt x="26" y="11"/>
                      </a:lnTo>
                      <a:lnTo>
                        <a:pt x="26" y="10"/>
                      </a:lnTo>
                      <a:lnTo>
                        <a:pt x="26" y="7"/>
                      </a:lnTo>
                      <a:lnTo>
                        <a:pt x="27" y="6"/>
                      </a:lnTo>
                      <a:lnTo>
                        <a:pt x="33" y="4"/>
                      </a:lnTo>
                      <a:lnTo>
                        <a:pt x="39" y="0"/>
                      </a:lnTo>
                      <a:lnTo>
                        <a:pt x="40" y="0"/>
                      </a:lnTo>
                      <a:lnTo>
                        <a:pt x="42" y="1"/>
                      </a:lnTo>
                      <a:lnTo>
                        <a:pt x="43" y="6"/>
                      </a:lnTo>
                      <a:lnTo>
                        <a:pt x="45" y="7"/>
                      </a:lnTo>
                      <a:lnTo>
                        <a:pt x="46" y="7"/>
                      </a:lnTo>
                      <a:lnTo>
                        <a:pt x="51" y="16"/>
                      </a:lnTo>
                      <a:lnTo>
                        <a:pt x="54" y="19"/>
                      </a:lnTo>
                      <a:lnTo>
                        <a:pt x="55" y="23"/>
                      </a:lnTo>
                      <a:lnTo>
                        <a:pt x="55" y="23"/>
                      </a:lnTo>
                      <a:lnTo>
                        <a:pt x="55" y="25"/>
                      </a:lnTo>
                      <a:lnTo>
                        <a:pt x="61" y="27"/>
                      </a:lnTo>
                      <a:lnTo>
                        <a:pt x="77" y="58"/>
                      </a:lnTo>
                      <a:lnTo>
                        <a:pt x="78" y="58"/>
                      </a:lnTo>
                      <a:lnTo>
                        <a:pt x="80" y="62"/>
                      </a:lnTo>
                      <a:lnTo>
                        <a:pt x="84" y="70"/>
                      </a:lnTo>
                      <a:lnTo>
                        <a:pt x="84" y="71"/>
                      </a:lnTo>
                      <a:lnTo>
                        <a:pt x="84" y="71"/>
                      </a:lnTo>
                      <a:lnTo>
                        <a:pt x="84" y="72"/>
                      </a:lnTo>
                      <a:lnTo>
                        <a:pt x="87" y="75"/>
                      </a:lnTo>
                      <a:lnTo>
                        <a:pt x="88" y="83"/>
                      </a:lnTo>
                      <a:lnTo>
                        <a:pt x="91" y="87"/>
                      </a:lnTo>
                      <a:lnTo>
                        <a:pt x="94" y="88"/>
                      </a:lnTo>
                      <a:lnTo>
                        <a:pt x="103" y="91"/>
                      </a:lnTo>
                      <a:lnTo>
                        <a:pt x="112" y="97"/>
                      </a:lnTo>
                      <a:lnTo>
                        <a:pt x="116" y="99"/>
                      </a:lnTo>
                      <a:lnTo>
                        <a:pt x="117" y="102"/>
                      </a:lnTo>
                      <a:lnTo>
                        <a:pt x="116" y="115"/>
                      </a:lnTo>
                      <a:lnTo>
                        <a:pt x="117" y="119"/>
                      </a:lnTo>
                      <a:lnTo>
                        <a:pt x="117" y="120"/>
                      </a:lnTo>
                      <a:lnTo>
                        <a:pt x="117" y="122"/>
                      </a:lnTo>
                      <a:lnTo>
                        <a:pt x="116" y="122"/>
                      </a:lnTo>
                      <a:lnTo>
                        <a:pt x="116" y="125"/>
                      </a:lnTo>
                      <a:lnTo>
                        <a:pt x="115" y="123"/>
                      </a:lnTo>
                      <a:lnTo>
                        <a:pt x="110" y="128"/>
                      </a:lnTo>
                      <a:lnTo>
                        <a:pt x="110" y="129"/>
                      </a:lnTo>
                      <a:lnTo>
                        <a:pt x="109" y="129"/>
                      </a:lnTo>
                      <a:lnTo>
                        <a:pt x="107" y="131"/>
                      </a:lnTo>
                      <a:lnTo>
                        <a:pt x="106" y="128"/>
                      </a:lnTo>
                      <a:lnTo>
                        <a:pt x="106" y="131"/>
                      </a:lnTo>
                      <a:lnTo>
                        <a:pt x="104" y="131"/>
                      </a:lnTo>
                      <a:lnTo>
                        <a:pt x="104" y="125"/>
                      </a:lnTo>
                      <a:lnTo>
                        <a:pt x="106" y="123"/>
                      </a:lnTo>
                      <a:lnTo>
                        <a:pt x="107" y="125"/>
                      </a:lnTo>
                      <a:lnTo>
                        <a:pt x="107" y="123"/>
                      </a:lnTo>
                      <a:lnTo>
                        <a:pt x="109" y="123"/>
                      </a:lnTo>
                      <a:lnTo>
                        <a:pt x="109" y="122"/>
                      </a:lnTo>
                      <a:lnTo>
                        <a:pt x="110" y="122"/>
                      </a:lnTo>
                      <a:lnTo>
                        <a:pt x="109" y="118"/>
                      </a:lnTo>
                      <a:lnTo>
                        <a:pt x="107" y="116"/>
                      </a:lnTo>
                      <a:lnTo>
                        <a:pt x="107" y="118"/>
                      </a:lnTo>
                      <a:lnTo>
                        <a:pt x="106" y="118"/>
                      </a:lnTo>
                      <a:lnTo>
                        <a:pt x="106" y="118"/>
                      </a:lnTo>
                      <a:lnTo>
                        <a:pt x="106" y="112"/>
                      </a:lnTo>
                      <a:lnTo>
                        <a:pt x="104" y="110"/>
                      </a:lnTo>
                      <a:lnTo>
                        <a:pt x="104" y="107"/>
                      </a:lnTo>
                      <a:lnTo>
                        <a:pt x="103" y="103"/>
                      </a:lnTo>
                      <a:lnTo>
                        <a:pt x="101" y="100"/>
                      </a:lnTo>
                      <a:lnTo>
                        <a:pt x="101" y="102"/>
                      </a:lnTo>
                      <a:lnTo>
                        <a:pt x="101" y="100"/>
                      </a:lnTo>
                      <a:lnTo>
                        <a:pt x="103" y="99"/>
                      </a:lnTo>
                      <a:lnTo>
                        <a:pt x="101" y="97"/>
                      </a:lnTo>
                      <a:lnTo>
                        <a:pt x="100" y="97"/>
                      </a:lnTo>
                      <a:lnTo>
                        <a:pt x="99" y="100"/>
                      </a:lnTo>
                      <a:lnTo>
                        <a:pt x="97" y="100"/>
                      </a:lnTo>
                      <a:lnTo>
                        <a:pt x="97" y="102"/>
                      </a:lnTo>
                      <a:lnTo>
                        <a:pt x="94" y="102"/>
                      </a:lnTo>
                      <a:lnTo>
                        <a:pt x="94" y="103"/>
                      </a:lnTo>
                      <a:lnTo>
                        <a:pt x="93" y="103"/>
                      </a:lnTo>
                      <a:lnTo>
                        <a:pt x="93" y="104"/>
                      </a:lnTo>
                      <a:lnTo>
                        <a:pt x="91" y="106"/>
                      </a:lnTo>
                      <a:lnTo>
                        <a:pt x="91" y="107"/>
                      </a:lnTo>
                      <a:lnTo>
                        <a:pt x="91" y="107"/>
                      </a:lnTo>
                      <a:lnTo>
                        <a:pt x="90" y="109"/>
                      </a:lnTo>
                      <a:lnTo>
                        <a:pt x="90" y="109"/>
                      </a:lnTo>
                      <a:lnTo>
                        <a:pt x="90" y="110"/>
                      </a:lnTo>
                      <a:lnTo>
                        <a:pt x="88" y="112"/>
                      </a:lnTo>
                      <a:lnTo>
                        <a:pt x="85" y="109"/>
                      </a:lnTo>
                      <a:lnTo>
                        <a:pt x="85" y="107"/>
                      </a:lnTo>
                      <a:lnTo>
                        <a:pt x="85" y="106"/>
                      </a:lnTo>
                      <a:lnTo>
                        <a:pt x="87" y="106"/>
                      </a:lnTo>
                      <a:lnTo>
                        <a:pt x="88" y="104"/>
                      </a:lnTo>
                      <a:lnTo>
                        <a:pt x="90" y="100"/>
                      </a:lnTo>
                      <a:lnTo>
                        <a:pt x="90" y="97"/>
                      </a:lnTo>
                      <a:lnTo>
                        <a:pt x="91" y="96"/>
                      </a:lnTo>
                      <a:lnTo>
                        <a:pt x="96" y="96"/>
                      </a:lnTo>
                      <a:lnTo>
                        <a:pt x="96" y="94"/>
                      </a:lnTo>
                      <a:lnTo>
                        <a:pt x="90" y="93"/>
                      </a:lnTo>
                      <a:lnTo>
                        <a:pt x="88" y="91"/>
                      </a:lnTo>
                      <a:lnTo>
                        <a:pt x="87" y="90"/>
                      </a:lnTo>
                      <a:lnTo>
                        <a:pt x="85" y="87"/>
                      </a:lnTo>
                      <a:lnTo>
                        <a:pt x="85" y="83"/>
                      </a:lnTo>
                      <a:lnTo>
                        <a:pt x="83" y="83"/>
                      </a:lnTo>
                      <a:lnTo>
                        <a:pt x="83" y="81"/>
                      </a:lnTo>
                      <a:lnTo>
                        <a:pt x="83" y="80"/>
                      </a:lnTo>
                      <a:lnTo>
                        <a:pt x="81" y="78"/>
                      </a:lnTo>
                      <a:lnTo>
                        <a:pt x="78" y="78"/>
                      </a:lnTo>
                      <a:lnTo>
                        <a:pt x="75" y="74"/>
                      </a:lnTo>
                      <a:lnTo>
                        <a:pt x="74" y="72"/>
                      </a:lnTo>
                      <a:lnTo>
                        <a:pt x="78" y="77"/>
                      </a:lnTo>
                      <a:lnTo>
                        <a:pt x="78" y="77"/>
                      </a:lnTo>
                      <a:lnTo>
                        <a:pt x="77" y="74"/>
                      </a:lnTo>
                      <a:lnTo>
                        <a:pt x="77" y="71"/>
                      </a:lnTo>
                      <a:lnTo>
                        <a:pt x="77" y="71"/>
                      </a:lnTo>
                      <a:lnTo>
                        <a:pt x="75" y="72"/>
                      </a:lnTo>
                      <a:lnTo>
                        <a:pt x="74" y="72"/>
                      </a:lnTo>
                      <a:lnTo>
                        <a:pt x="72" y="71"/>
                      </a:lnTo>
                      <a:lnTo>
                        <a:pt x="72" y="71"/>
                      </a:lnTo>
                      <a:lnTo>
                        <a:pt x="72" y="71"/>
                      </a:lnTo>
                      <a:lnTo>
                        <a:pt x="71" y="70"/>
                      </a:lnTo>
                      <a:lnTo>
                        <a:pt x="71" y="71"/>
                      </a:lnTo>
                      <a:lnTo>
                        <a:pt x="70" y="71"/>
                      </a:lnTo>
                      <a:lnTo>
                        <a:pt x="68" y="70"/>
                      </a:lnTo>
                      <a:lnTo>
                        <a:pt x="68" y="68"/>
                      </a:lnTo>
                      <a:lnTo>
                        <a:pt x="68" y="67"/>
                      </a:lnTo>
                      <a:lnTo>
                        <a:pt x="72" y="67"/>
                      </a:lnTo>
                      <a:lnTo>
                        <a:pt x="72" y="65"/>
                      </a:lnTo>
                      <a:lnTo>
                        <a:pt x="70" y="65"/>
                      </a:lnTo>
                      <a:lnTo>
                        <a:pt x="68" y="65"/>
                      </a:lnTo>
                      <a:lnTo>
                        <a:pt x="68" y="64"/>
                      </a:lnTo>
                      <a:lnTo>
                        <a:pt x="70" y="64"/>
                      </a:lnTo>
                      <a:lnTo>
                        <a:pt x="70" y="62"/>
                      </a:lnTo>
                      <a:lnTo>
                        <a:pt x="68" y="62"/>
                      </a:lnTo>
                      <a:lnTo>
                        <a:pt x="68" y="61"/>
                      </a:lnTo>
                      <a:lnTo>
                        <a:pt x="70" y="59"/>
                      </a:lnTo>
                      <a:lnTo>
                        <a:pt x="70" y="59"/>
                      </a:lnTo>
                      <a:lnTo>
                        <a:pt x="67" y="59"/>
                      </a:lnTo>
                      <a:lnTo>
                        <a:pt x="65" y="59"/>
                      </a:lnTo>
                      <a:lnTo>
                        <a:pt x="67" y="57"/>
                      </a:lnTo>
                      <a:lnTo>
                        <a:pt x="72" y="59"/>
                      </a:lnTo>
                      <a:lnTo>
                        <a:pt x="74" y="61"/>
                      </a:lnTo>
                      <a:lnTo>
                        <a:pt x="75" y="61"/>
                      </a:lnTo>
                      <a:lnTo>
                        <a:pt x="74" y="61"/>
                      </a:lnTo>
                      <a:lnTo>
                        <a:pt x="72" y="59"/>
                      </a:lnTo>
                      <a:lnTo>
                        <a:pt x="72" y="57"/>
                      </a:lnTo>
                      <a:lnTo>
                        <a:pt x="71" y="57"/>
                      </a:lnTo>
                      <a:lnTo>
                        <a:pt x="71" y="58"/>
                      </a:lnTo>
                      <a:lnTo>
                        <a:pt x="68" y="54"/>
                      </a:lnTo>
                      <a:lnTo>
                        <a:pt x="67" y="52"/>
                      </a:lnTo>
                      <a:lnTo>
                        <a:pt x="68" y="51"/>
                      </a:lnTo>
                      <a:lnTo>
                        <a:pt x="71" y="51"/>
                      </a:lnTo>
                      <a:lnTo>
                        <a:pt x="72" y="51"/>
                      </a:lnTo>
                      <a:lnTo>
                        <a:pt x="71" y="51"/>
                      </a:lnTo>
                      <a:lnTo>
                        <a:pt x="65" y="51"/>
                      </a:lnTo>
                      <a:lnTo>
                        <a:pt x="65" y="52"/>
                      </a:lnTo>
                      <a:lnTo>
                        <a:pt x="65" y="54"/>
                      </a:lnTo>
                      <a:lnTo>
                        <a:pt x="62" y="51"/>
                      </a:lnTo>
                      <a:lnTo>
                        <a:pt x="64" y="49"/>
                      </a:lnTo>
                      <a:lnTo>
                        <a:pt x="65" y="48"/>
                      </a:lnTo>
                      <a:lnTo>
                        <a:pt x="68" y="46"/>
                      </a:lnTo>
                      <a:lnTo>
                        <a:pt x="67" y="45"/>
                      </a:lnTo>
                      <a:lnTo>
                        <a:pt x="65" y="46"/>
                      </a:lnTo>
                      <a:lnTo>
                        <a:pt x="65" y="46"/>
                      </a:lnTo>
                      <a:lnTo>
                        <a:pt x="67" y="43"/>
                      </a:lnTo>
                      <a:lnTo>
                        <a:pt x="65" y="43"/>
                      </a:lnTo>
                      <a:lnTo>
                        <a:pt x="64" y="43"/>
                      </a:lnTo>
                      <a:lnTo>
                        <a:pt x="62" y="46"/>
                      </a:lnTo>
                      <a:lnTo>
                        <a:pt x="62" y="48"/>
                      </a:lnTo>
                      <a:lnTo>
                        <a:pt x="61" y="46"/>
                      </a:lnTo>
                      <a:lnTo>
                        <a:pt x="59" y="43"/>
                      </a:lnTo>
                      <a:lnTo>
                        <a:pt x="59" y="42"/>
                      </a:lnTo>
                      <a:lnTo>
                        <a:pt x="58" y="41"/>
                      </a:lnTo>
                      <a:lnTo>
                        <a:pt x="58" y="41"/>
                      </a:lnTo>
                      <a:lnTo>
                        <a:pt x="56" y="42"/>
                      </a:lnTo>
                      <a:lnTo>
                        <a:pt x="52" y="38"/>
                      </a:lnTo>
                      <a:lnTo>
                        <a:pt x="49" y="38"/>
                      </a:lnTo>
                      <a:lnTo>
                        <a:pt x="46" y="32"/>
                      </a:lnTo>
                      <a:lnTo>
                        <a:pt x="46" y="30"/>
                      </a:lnTo>
                      <a:lnTo>
                        <a:pt x="46" y="26"/>
                      </a:lnTo>
                      <a:lnTo>
                        <a:pt x="45" y="27"/>
                      </a:lnTo>
                      <a:lnTo>
                        <a:pt x="39" y="10"/>
                      </a:lnTo>
                      <a:lnTo>
                        <a:pt x="39" y="11"/>
                      </a:lnTo>
                      <a:lnTo>
                        <a:pt x="40" y="16"/>
                      </a:lnTo>
                      <a:lnTo>
                        <a:pt x="39" y="17"/>
                      </a:lnTo>
                      <a:lnTo>
                        <a:pt x="39" y="16"/>
                      </a:lnTo>
                      <a:lnTo>
                        <a:pt x="45" y="38"/>
                      </a:lnTo>
                      <a:lnTo>
                        <a:pt x="42" y="42"/>
                      </a:lnTo>
                      <a:lnTo>
                        <a:pt x="40" y="42"/>
                      </a:lnTo>
                      <a:lnTo>
                        <a:pt x="39" y="36"/>
                      </a:lnTo>
                      <a:lnTo>
                        <a:pt x="38" y="35"/>
                      </a:lnTo>
                      <a:lnTo>
                        <a:pt x="38" y="38"/>
                      </a:lnTo>
                      <a:lnTo>
                        <a:pt x="33" y="38"/>
                      </a:lnTo>
                      <a:lnTo>
                        <a:pt x="33" y="33"/>
                      </a:lnTo>
                      <a:lnTo>
                        <a:pt x="35" y="32"/>
                      </a:lnTo>
                      <a:lnTo>
                        <a:pt x="33" y="32"/>
                      </a:lnTo>
                      <a:lnTo>
                        <a:pt x="30" y="27"/>
                      </a:lnTo>
                      <a:lnTo>
                        <a:pt x="30" y="25"/>
                      </a:lnTo>
                      <a:lnTo>
                        <a:pt x="32" y="25"/>
                      </a:lnTo>
                      <a:lnTo>
                        <a:pt x="30" y="23"/>
                      </a:lnTo>
                      <a:lnTo>
                        <a:pt x="29" y="23"/>
                      </a:lnTo>
                      <a:lnTo>
                        <a:pt x="29" y="26"/>
                      </a:lnTo>
                      <a:lnTo>
                        <a:pt x="27" y="27"/>
                      </a:lnTo>
                      <a:lnTo>
                        <a:pt x="24" y="25"/>
                      </a:lnTo>
                      <a:lnTo>
                        <a:pt x="23" y="22"/>
                      </a:lnTo>
                      <a:lnTo>
                        <a:pt x="22" y="22"/>
                      </a:lnTo>
                      <a:lnTo>
                        <a:pt x="22" y="23"/>
                      </a:lnTo>
                      <a:lnTo>
                        <a:pt x="22" y="23"/>
                      </a:lnTo>
                      <a:lnTo>
                        <a:pt x="19" y="20"/>
                      </a:lnTo>
                      <a:lnTo>
                        <a:pt x="19" y="22"/>
                      </a:lnTo>
                      <a:lnTo>
                        <a:pt x="19" y="23"/>
                      </a:lnTo>
                      <a:lnTo>
                        <a:pt x="17" y="23"/>
                      </a:lnTo>
                      <a:lnTo>
                        <a:pt x="17" y="23"/>
                      </a:lnTo>
                      <a:lnTo>
                        <a:pt x="20" y="25"/>
                      </a:lnTo>
                      <a:lnTo>
                        <a:pt x="22" y="26"/>
                      </a:lnTo>
                      <a:lnTo>
                        <a:pt x="23" y="27"/>
                      </a:lnTo>
                      <a:lnTo>
                        <a:pt x="23" y="27"/>
                      </a:lnTo>
                      <a:lnTo>
                        <a:pt x="24" y="29"/>
                      </a:lnTo>
                      <a:lnTo>
                        <a:pt x="24" y="30"/>
                      </a:lnTo>
                      <a:lnTo>
                        <a:pt x="26" y="32"/>
                      </a:lnTo>
                      <a:lnTo>
                        <a:pt x="26" y="30"/>
                      </a:lnTo>
                      <a:lnTo>
                        <a:pt x="27" y="30"/>
                      </a:lnTo>
                      <a:lnTo>
                        <a:pt x="30" y="35"/>
                      </a:lnTo>
                      <a:lnTo>
                        <a:pt x="29" y="38"/>
                      </a:lnTo>
                      <a:lnTo>
                        <a:pt x="27" y="39"/>
                      </a:lnTo>
                      <a:lnTo>
                        <a:pt x="24" y="39"/>
                      </a:lnTo>
                      <a:lnTo>
                        <a:pt x="24" y="38"/>
                      </a:lnTo>
                      <a:lnTo>
                        <a:pt x="24" y="38"/>
                      </a:lnTo>
                      <a:lnTo>
                        <a:pt x="24" y="41"/>
                      </a:lnTo>
                      <a:lnTo>
                        <a:pt x="22" y="42"/>
                      </a:lnTo>
                      <a:lnTo>
                        <a:pt x="17" y="38"/>
                      </a:lnTo>
                      <a:lnTo>
                        <a:pt x="13" y="36"/>
                      </a:lnTo>
                      <a:lnTo>
                        <a:pt x="10" y="33"/>
                      </a:lnTo>
                      <a:lnTo>
                        <a:pt x="9" y="32"/>
                      </a:lnTo>
                      <a:lnTo>
                        <a:pt x="10" y="29"/>
                      </a:lnTo>
                      <a:lnTo>
                        <a:pt x="9" y="29"/>
                      </a:lnTo>
                      <a:lnTo>
                        <a:pt x="7" y="29"/>
                      </a:lnTo>
                      <a:lnTo>
                        <a:pt x="0" y="20"/>
                      </a:lnTo>
                      <a:lnTo>
                        <a:pt x="0" y="19"/>
                      </a:lnTo>
                      <a:lnTo>
                        <a:pt x="1" y="11"/>
                      </a:lnTo>
                      <a:lnTo>
                        <a:pt x="3" y="1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grpSp>
          <p:sp>
            <p:nvSpPr>
              <p:cNvPr id="2698" name="Freeform 1621"/>
              <p:cNvSpPr>
                <a:spLocks/>
              </p:cNvSpPr>
              <p:nvPr/>
            </p:nvSpPr>
            <p:spPr bwMode="auto">
              <a:xfrm>
                <a:off x="6569281" y="2772630"/>
                <a:ext cx="276507" cy="257589"/>
              </a:xfrm>
              <a:custGeom>
                <a:avLst/>
                <a:gdLst/>
                <a:ahLst/>
                <a:cxnLst>
                  <a:cxn ang="0">
                    <a:pos x="238" y="124"/>
                  </a:cxn>
                  <a:cxn ang="0">
                    <a:pos x="238" y="128"/>
                  </a:cxn>
                  <a:cxn ang="0">
                    <a:pos x="241" y="129"/>
                  </a:cxn>
                  <a:cxn ang="0">
                    <a:pos x="294" y="151"/>
                  </a:cxn>
                  <a:cxn ang="0">
                    <a:pos x="291" y="193"/>
                  </a:cxn>
                  <a:cxn ang="0">
                    <a:pos x="207" y="214"/>
                  </a:cxn>
                  <a:cxn ang="0">
                    <a:pos x="183" y="237"/>
                  </a:cxn>
                  <a:cxn ang="0">
                    <a:pos x="173" y="233"/>
                  </a:cxn>
                  <a:cxn ang="0">
                    <a:pos x="127" y="237"/>
                  </a:cxn>
                  <a:cxn ang="0">
                    <a:pos x="121" y="243"/>
                  </a:cxn>
                  <a:cxn ang="0">
                    <a:pos x="115" y="247"/>
                  </a:cxn>
                  <a:cxn ang="0">
                    <a:pos x="115" y="243"/>
                  </a:cxn>
                  <a:cxn ang="0">
                    <a:pos x="111" y="234"/>
                  </a:cxn>
                  <a:cxn ang="0">
                    <a:pos x="102" y="224"/>
                  </a:cxn>
                  <a:cxn ang="0">
                    <a:pos x="93" y="212"/>
                  </a:cxn>
                  <a:cxn ang="0">
                    <a:pos x="77" y="188"/>
                  </a:cxn>
                  <a:cxn ang="0">
                    <a:pos x="67" y="183"/>
                  </a:cxn>
                  <a:cxn ang="0">
                    <a:pos x="63" y="163"/>
                  </a:cxn>
                  <a:cxn ang="0">
                    <a:pos x="63" y="151"/>
                  </a:cxn>
                  <a:cxn ang="0">
                    <a:pos x="47" y="129"/>
                  </a:cxn>
                  <a:cxn ang="0">
                    <a:pos x="44" y="127"/>
                  </a:cxn>
                  <a:cxn ang="0">
                    <a:pos x="41" y="127"/>
                  </a:cxn>
                  <a:cxn ang="0">
                    <a:pos x="37" y="118"/>
                  </a:cxn>
                  <a:cxn ang="0">
                    <a:pos x="29" y="103"/>
                  </a:cxn>
                  <a:cxn ang="0">
                    <a:pos x="25" y="97"/>
                  </a:cxn>
                  <a:cxn ang="0">
                    <a:pos x="19" y="87"/>
                  </a:cxn>
                  <a:cxn ang="0">
                    <a:pos x="9" y="68"/>
                  </a:cxn>
                  <a:cxn ang="0">
                    <a:pos x="2" y="67"/>
                  </a:cxn>
                  <a:cxn ang="0">
                    <a:pos x="3" y="60"/>
                  </a:cxn>
                  <a:cxn ang="0">
                    <a:pos x="5" y="47"/>
                  </a:cxn>
                  <a:cxn ang="0">
                    <a:pos x="26" y="45"/>
                  </a:cxn>
                  <a:cxn ang="0">
                    <a:pos x="42" y="31"/>
                  </a:cxn>
                  <a:cxn ang="0">
                    <a:pos x="34" y="10"/>
                  </a:cxn>
                  <a:cxn ang="0">
                    <a:pos x="119" y="25"/>
                  </a:cxn>
                  <a:cxn ang="0">
                    <a:pos x="130" y="31"/>
                  </a:cxn>
                  <a:cxn ang="0">
                    <a:pos x="146" y="49"/>
                  </a:cxn>
                  <a:cxn ang="0">
                    <a:pos x="185" y="55"/>
                  </a:cxn>
                  <a:cxn ang="0">
                    <a:pos x="202" y="71"/>
                  </a:cxn>
                  <a:cxn ang="0">
                    <a:pos x="209" y="77"/>
                  </a:cxn>
                  <a:cxn ang="0">
                    <a:pos x="209" y="80"/>
                  </a:cxn>
                  <a:cxn ang="0">
                    <a:pos x="220" y="87"/>
                  </a:cxn>
                  <a:cxn ang="0">
                    <a:pos x="223" y="96"/>
                  </a:cxn>
                  <a:cxn ang="0">
                    <a:pos x="221" y="100"/>
                  </a:cxn>
                  <a:cxn ang="0">
                    <a:pos x="227" y="115"/>
                  </a:cxn>
                  <a:cxn ang="0">
                    <a:pos x="230" y="119"/>
                  </a:cxn>
                  <a:cxn ang="0">
                    <a:pos x="233" y="124"/>
                  </a:cxn>
                </a:cxnLst>
                <a:rect l="0" t="0" r="r" b="b"/>
                <a:pathLst>
                  <a:path w="301" h="247">
                    <a:moveTo>
                      <a:pt x="240" y="121"/>
                    </a:moveTo>
                    <a:lnTo>
                      <a:pt x="238" y="122"/>
                    </a:lnTo>
                    <a:lnTo>
                      <a:pt x="238" y="124"/>
                    </a:lnTo>
                    <a:lnTo>
                      <a:pt x="240" y="124"/>
                    </a:lnTo>
                    <a:lnTo>
                      <a:pt x="238" y="125"/>
                    </a:lnTo>
                    <a:lnTo>
                      <a:pt x="238" y="128"/>
                    </a:lnTo>
                    <a:lnTo>
                      <a:pt x="241" y="127"/>
                    </a:lnTo>
                    <a:lnTo>
                      <a:pt x="241" y="128"/>
                    </a:lnTo>
                    <a:lnTo>
                      <a:pt x="241" y="129"/>
                    </a:lnTo>
                    <a:lnTo>
                      <a:pt x="256" y="148"/>
                    </a:lnTo>
                    <a:lnTo>
                      <a:pt x="292" y="153"/>
                    </a:lnTo>
                    <a:lnTo>
                      <a:pt x="294" y="151"/>
                    </a:lnTo>
                    <a:lnTo>
                      <a:pt x="294" y="153"/>
                    </a:lnTo>
                    <a:lnTo>
                      <a:pt x="301" y="163"/>
                    </a:lnTo>
                    <a:lnTo>
                      <a:pt x="291" y="193"/>
                    </a:lnTo>
                    <a:lnTo>
                      <a:pt x="249" y="208"/>
                    </a:lnTo>
                    <a:lnTo>
                      <a:pt x="249" y="208"/>
                    </a:lnTo>
                    <a:lnTo>
                      <a:pt x="207" y="214"/>
                    </a:lnTo>
                    <a:lnTo>
                      <a:pt x="193" y="221"/>
                    </a:lnTo>
                    <a:lnTo>
                      <a:pt x="185" y="231"/>
                    </a:lnTo>
                    <a:lnTo>
                      <a:pt x="183" y="237"/>
                    </a:lnTo>
                    <a:lnTo>
                      <a:pt x="179" y="238"/>
                    </a:lnTo>
                    <a:lnTo>
                      <a:pt x="177" y="238"/>
                    </a:lnTo>
                    <a:lnTo>
                      <a:pt x="173" y="233"/>
                    </a:lnTo>
                    <a:lnTo>
                      <a:pt x="138" y="231"/>
                    </a:lnTo>
                    <a:lnTo>
                      <a:pt x="132" y="237"/>
                    </a:lnTo>
                    <a:lnTo>
                      <a:pt x="127" y="237"/>
                    </a:lnTo>
                    <a:lnTo>
                      <a:pt x="125" y="238"/>
                    </a:lnTo>
                    <a:lnTo>
                      <a:pt x="124" y="240"/>
                    </a:lnTo>
                    <a:lnTo>
                      <a:pt x="121" y="243"/>
                    </a:lnTo>
                    <a:lnTo>
                      <a:pt x="119" y="244"/>
                    </a:lnTo>
                    <a:lnTo>
                      <a:pt x="118" y="246"/>
                    </a:lnTo>
                    <a:lnTo>
                      <a:pt x="115" y="247"/>
                    </a:lnTo>
                    <a:lnTo>
                      <a:pt x="115" y="247"/>
                    </a:lnTo>
                    <a:lnTo>
                      <a:pt x="115" y="244"/>
                    </a:lnTo>
                    <a:lnTo>
                      <a:pt x="115" y="243"/>
                    </a:lnTo>
                    <a:lnTo>
                      <a:pt x="112" y="237"/>
                    </a:lnTo>
                    <a:lnTo>
                      <a:pt x="111" y="237"/>
                    </a:lnTo>
                    <a:lnTo>
                      <a:pt x="111" y="234"/>
                    </a:lnTo>
                    <a:lnTo>
                      <a:pt x="109" y="230"/>
                    </a:lnTo>
                    <a:lnTo>
                      <a:pt x="103" y="225"/>
                    </a:lnTo>
                    <a:lnTo>
                      <a:pt x="102" y="224"/>
                    </a:lnTo>
                    <a:lnTo>
                      <a:pt x="95" y="214"/>
                    </a:lnTo>
                    <a:lnTo>
                      <a:pt x="93" y="212"/>
                    </a:lnTo>
                    <a:lnTo>
                      <a:pt x="93" y="212"/>
                    </a:lnTo>
                    <a:lnTo>
                      <a:pt x="92" y="206"/>
                    </a:lnTo>
                    <a:lnTo>
                      <a:pt x="85" y="193"/>
                    </a:lnTo>
                    <a:lnTo>
                      <a:pt x="77" y="188"/>
                    </a:lnTo>
                    <a:lnTo>
                      <a:pt x="76" y="189"/>
                    </a:lnTo>
                    <a:lnTo>
                      <a:pt x="72" y="186"/>
                    </a:lnTo>
                    <a:lnTo>
                      <a:pt x="67" y="183"/>
                    </a:lnTo>
                    <a:lnTo>
                      <a:pt x="64" y="166"/>
                    </a:lnTo>
                    <a:lnTo>
                      <a:pt x="63" y="164"/>
                    </a:lnTo>
                    <a:lnTo>
                      <a:pt x="63" y="163"/>
                    </a:lnTo>
                    <a:lnTo>
                      <a:pt x="63" y="161"/>
                    </a:lnTo>
                    <a:lnTo>
                      <a:pt x="64" y="157"/>
                    </a:lnTo>
                    <a:lnTo>
                      <a:pt x="63" y="151"/>
                    </a:lnTo>
                    <a:lnTo>
                      <a:pt x="61" y="150"/>
                    </a:lnTo>
                    <a:lnTo>
                      <a:pt x="54" y="135"/>
                    </a:lnTo>
                    <a:lnTo>
                      <a:pt x="47" y="129"/>
                    </a:lnTo>
                    <a:lnTo>
                      <a:pt x="47" y="128"/>
                    </a:lnTo>
                    <a:lnTo>
                      <a:pt x="47" y="128"/>
                    </a:lnTo>
                    <a:lnTo>
                      <a:pt x="44" y="127"/>
                    </a:lnTo>
                    <a:lnTo>
                      <a:pt x="42" y="127"/>
                    </a:lnTo>
                    <a:lnTo>
                      <a:pt x="41" y="127"/>
                    </a:lnTo>
                    <a:lnTo>
                      <a:pt x="41" y="127"/>
                    </a:lnTo>
                    <a:lnTo>
                      <a:pt x="40" y="125"/>
                    </a:lnTo>
                    <a:lnTo>
                      <a:pt x="37" y="121"/>
                    </a:lnTo>
                    <a:lnTo>
                      <a:pt x="37" y="118"/>
                    </a:lnTo>
                    <a:lnTo>
                      <a:pt x="38" y="118"/>
                    </a:lnTo>
                    <a:lnTo>
                      <a:pt x="32" y="105"/>
                    </a:lnTo>
                    <a:lnTo>
                      <a:pt x="29" y="103"/>
                    </a:lnTo>
                    <a:lnTo>
                      <a:pt x="29" y="102"/>
                    </a:lnTo>
                    <a:lnTo>
                      <a:pt x="28" y="100"/>
                    </a:lnTo>
                    <a:lnTo>
                      <a:pt x="25" y="97"/>
                    </a:lnTo>
                    <a:lnTo>
                      <a:pt x="24" y="90"/>
                    </a:lnTo>
                    <a:lnTo>
                      <a:pt x="22" y="89"/>
                    </a:lnTo>
                    <a:lnTo>
                      <a:pt x="19" y="87"/>
                    </a:lnTo>
                    <a:lnTo>
                      <a:pt x="16" y="83"/>
                    </a:lnTo>
                    <a:lnTo>
                      <a:pt x="16" y="81"/>
                    </a:lnTo>
                    <a:lnTo>
                      <a:pt x="9" y="68"/>
                    </a:lnTo>
                    <a:lnTo>
                      <a:pt x="8" y="67"/>
                    </a:lnTo>
                    <a:lnTo>
                      <a:pt x="3" y="67"/>
                    </a:lnTo>
                    <a:lnTo>
                      <a:pt x="2" y="67"/>
                    </a:lnTo>
                    <a:lnTo>
                      <a:pt x="0" y="67"/>
                    </a:lnTo>
                    <a:lnTo>
                      <a:pt x="0" y="68"/>
                    </a:lnTo>
                    <a:lnTo>
                      <a:pt x="3" y="60"/>
                    </a:lnTo>
                    <a:lnTo>
                      <a:pt x="5" y="52"/>
                    </a:lnTo>
                    <a:lnTo>
                      <a:pt x="5" y="49"/>
                    </a:lnTo>
                    <a:lnTo>
                      <a:pt x="5" y="47"/>
                    </a:lnTo>
                    <a:lnTo>
                      <a:pt x="6" y="48"/>
                    </a:lnTo>
                    <a:lnTo>
                      <a:pt x="22" y="49"/>
                    </a:lnTo>
                    <a:lnTo>
                      <a:pt x="26" y="45"/>
                    </a:lnTo>
                    <a:lnTo>
                      <a:pt x="29" y="38"/>
                    </a:lnTo>
                    <a:lnTo>
                      <a:pt x="41" y="36"/>
                    </a:lnTo>
                    <a:lnTo>
                      <a:pt x="42" y="31"/>
                    </a:lnTo>
                    <a:lnTo>
                      <a:pt x="48" y="26"/>
                    </a:lnTo>
                    <a:lnTo>
                      <a:pt x="48" y="26"/>
                    </a:lnTo>
                    <a:lnTo>
                      <a:pt x="34" y="10"/>
                    </a:lnTo>
                    <a:lnTo>
                      <a:pt x="60" y="4"/>
                    </a:lnTo>
                    <a:lnTo>
                      <a:pt x="64" y="0"/>
                    </a:lnTo>
                    <a:lnTo>
                      <a:pt x="119" y="25"/>
                    </a:lnTo>
                    <a:lnTo>
                      <a:pt x="121" y="29"/>
                    </a:lnTo>
                    <a:lnTo>
                      <a:pt x="128" y="31"/>
                    </a:lnTo>
                    <a:lnTo>
                      <a:pt x="130" y="31"/>
                    </a:lnTo>
                    <a:lnTo>
                      <a:pt x="130" y="41"/>
                    </a:lnTo>
                    <a:lnTo>
                      <a:pt x="130" y="42"/>
                    </a:lnTo>
                    <a:lnTo>
                      <a:pt x="146" y="49"/>
                    </a:lnTo>
                    <a:lnTo>
                      <a:pt x="172" y="51"/>
                    </a:lnTo>
                    <a:lnTo>
                      <a:pt x="183" y="54"/>
                    </a:lnTo>
                    <a:lnTo>
                      <a:pt x="185" y="55"/>
                    </a:lnTo>
                    <a:lnTo>
                      <a:pt x="188" y="60"/>
                    </a:lnTo>
                    <a:lnTo>
                      <a:pt x="196" y="60"/>
                    </a:lnTo>
                    <a:lnTo>
                      <a:pt x="202" y="71"/>
                    </a:lnTo>
                    <a:lnTo>
                      <a:pt x="204" y="71"/>
                    </a:lnTo>
                    <a:lnTo>
                      <a:pt x="205" y="76"/>
                    </a:lnTo>
                    <a:lnTo>
                      <a:pt x="209" y="77"/>
                    </a:lnTo>
                    <a:lnTo>
                      <a:pt x="209" y="79"/>
                    </a:lnTo>
                    <a:lnTo>
                      <a:pt x="208" y="79"/>
                    </a:lnTo>
                    <a:lnTo>
                      <a:pt x="209" y="80"/>
                    </a:lnTo>
                    <a:lnTo>
                      <a:pt x="209" y="83"/>
                    </a:lnTo>
                    <a:lnTo>
                      <a:pt x="212" y="83"/>
                    </a:lnTo>
                    <a:lnTo>
                      <a:pt x="220" y="87"/>
                    </a:lnTo>
                    <a:lnTo>
                      <a:pt x="220" y="90"/>
                    </a:lnTo>
                    <a:lnTo>
                      <a:pt x="220" y="93"/>
                    </a:lnTo>
                    <a:lnTo>
                      <a:pt x="223" y="96"/>
                    </a:lnTo>
                    <a:lnTo>
                      <a:pt x="223" y="97"/>
                    </a:lnTo>
                    <a:lnTo>
                      <a:pt x="223" y="99"/>
                    </a:lnTo>
                    <a:lnTo>
                      <a:pt x="221" y="100"/>
                    </a:lnTo>
                    <a:lnTo>
                      <a:pt x="221" y="103"/>
                    </a:lnTo>
                    <a:lnTo>
                      <a:pt x="227" y="111"/>
                    </a:lnTo>
                    <a:lnTo>
                      <a:pt x="227" y="115"/>
                    </a:lnTo>
                    <a:lnTo>
                      <a:pt x="228" y="116"/>
                    </a:lnTo>
                    <a:lnTo>
                      <a:pt x="228" y="118"/>
                    </a:lnTo>
                    <a:lnTo>
                      <a:pt x="230" y="119"/>
                    </a:lnTo>
                    <a:lnTo>
                      <a:pt x="230" y="121"/>
                    </a:lnTo>
                    <a:lnTo>
                      <a:pt x="231" y="121"/>
                    </a:lnTo>
                    <a:lnTo>
                      <a:pt x="233" y="124"/>
                    </a:lnTo>
                    <a:lnTo>
                      <a:pt x="234" y="124"/>
                    </a:lnTo>
                    <a:lnTo>
                      <a:pt x="240" y="121"/>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99" name="Freeform 1622"/>
              <p:cNvSpPr>
                <a:spLocks/>
              </p:cNvSpPr>
              <p:nvPr/>
            </p:nvSpPr>
            <p:spPr bwMode="auto">
              <a:xfrm>
                <a:off x="6569718" y="2772996"/>
                <a:ext cx="276031" cy="257227"/>
              </a:xfrm>
              <a:custGeom>
                <a:avLst/>
                <a:gdLst>
                  <a:gd name="T0" fmla="*/ 2147483647 w 301"/>
                  <a:gd name="T1" fmla="*/ 2147483647 h 247"/>
                  <a:gd name="T2" fmla="*/ 2147483647 w 301"/>
                  <a:gd name="T3" fmla="*/ 2147483647 h 247"/>
                  <a:gd name="T4" fmla="*/ 2147483647 w 301"/>
                  <a:gd name="T5" fmla="*/ 2147483647 h 247"/>
                  <a:gd name="T6" fmla="*/ 2147483647 w 301"/>
                  <a:gd name="T7" fmla="*/ 2147483647 h 247"/>
                  <a:gd name="T8" fmla="*/ 2147483647 w 301"/>
                  <a:gd name="T9" fmla="*/ 2147483647 h 247"/>
                  <a:gd name="T10" fmla="*/ 2147483647 w 301"/>
                  <a:gd name="T11" fmla="*/ 2147483647 h 247"/>
                  <a:gd name="T12" fmla="*/ 2147483647 w 301"/>
                  <a:gd name="T13" fmla="*/ 2147483647 h 247"/>
                  <a:gd name="T14" fmla="*/ 2147483647 w 301"/>
                  <a:gd name="T15" fmla="*/ 2147483647 h 247"/>
                  <a:gd name="T16" fmla="*/ 2147483647 w 301"/>
                  <a:gd name="T17" fmla="*/ 2147483647 h 247"/>
                  <a:gd name="T18" fmla="*/ 2147483647 w 301"/>
                  <a:gd name="T19" fmla="*/ 2147483647 h 247"/>
                  <a:gd name="T20" fmla="*/ 2147483647 w 301"/>
                  <a:gd name="T21" fmla="*/ 2147483647 h 247"/>
                  <a:gd name="T22" fmla="*/ 2147483647 w 301"/>
                  <a:gd name="T23" fmla="*/ 2147483647 h 247"/>
                  <a:gd name="T24" fmla="*/ 2147483647 w 301"/>
                  <a:gd name="T25" fmla="*/ 2147483647 h 247"/>
                  <a:gd name="T26" fmla="*/ 2147483647 w 301"/>
                  <a:gd name="T27" fmla="*/ 2147483647 h 247"/>
                  <a:gd name="T28" fmla="*/ 2147483647 w 301"/>
                  <a:gd name="T29" fmla="*/ 2147483647 h 247"/>
                  <a:gd name="T30" fmla="*/ 2147483647 w 301"/>
                  <a:gd name="T31" fmla="*/ 2147483647 h 247"/>
                  <a:gd name="T32" fmla="*/ 2147483647 w 301"/>
                  <a:gd name="T33" fmla="*/ 2147483647 h 247"/>
                  <a:gd name="T34" fmla="*/ 2147483647 w 301"/>
                  <a:gd name="T35" fmla="*/ 2147483647 h 247"/>
                  <a:gd name="T36" fmla="*/ 2147483647 w 301"/>
                  <a:gd name="T37" fmla="*/ 2147483647 h 247"/>
                  <a:gd name="T38" fmla="*/ 2147483647 w 301"/>
                  <a:gd name="T39" fmla="*/ 2147483647 h 247"/>
                  <a:gd name="T40" fmla="*/ 2147483647 w 301"/>
                  <a:gd name="T41" fmla="*/ 2147483647 h 247"/>
                  <a:gd name="T42" fmla="*/ 2147483647 w 301"/>
                  <a:gd name="T43" fmla="*/ 2147483647 h 247"/>
                  <a:gd name="T44" fmla="*/ 2147483647 w 301"/>
                  <a:gd name="T45" fmla="*/ 2147483647 h 247"/>
                  <a:gd name="T46" fmla="*/ 2147483647 w 301"/>
                  <a:gd name="T47" fmla="*/ 2147483647 h 247"/>
                  <a:gd name="T48" fmla="*/ 2147483647 w 301"/>
                  <a:gd name="T49" fmla="*/ 2147483647 h 247"/>
                  <a:gd name="T50" fmla="*/ 2147483647 w 301"/>
                  <a:gd name="T51" fmla="*/ 2147483647 h 247"/>
                  <a:gd name="T52" fmla="*/ 2147483647 w 301"/>
                  <a:gd name="T53" fmla="*/ 2147483647 h 247"/>
                  <a:gd name="T54" fmla="*/ 2147483647 w 301"/>
                  <a:gd name="T55" fmla="*/ 2147483647 h 247"/>
                  <a:gd name="T56" fmla="*/ 2147483647 w 301"/>
                  <a:gd name="T57" fmla="*/ 2147483647 h 247"/>
                  <a:gd name="T58" fmla="*/ 2147483647 w 301"/>
                  <a:gd name="T59" fmla="*/ 2147483647 h 247"/>
                  <a:gd name="T60" fmla="*/ 2147483647 w 301"/>
                  <a:gd name="T61" fmla="*/ 2147483647 h 247"/>
                  <a:gd name="T62" fmla="*/ 2147483647 w 301"/>
                  <a:gd name="T63" fmla="*/ 2147483647 h 247"/>
                  <a:gd name="T64" fmla="*/ 2147483647 w 301"/>
                  <a:gd name="T65" fmla="*/ 2147483647 h 247"/>
                  <a:gd name="T66" fmla="*/ 2147483647 w 301"/>
                  <a:gd name="T67" fmla="*/ 2147483647 h 247"/>
                  <a:gd name="T68" fmla="*/ 2147483647 w 301"/>
                  <a:gd name="T69" fmla="*/ 2147483647 h 247"/>
                  <a:gd name="T70" fmla="*/ 2147483647 w 301"/>
                  <a:gd name="T71" fmla="*/ 2147483647 h 247"/>
                  <a:gd name="T72" fmla="*/ 2147483647 w 301"/>
                  <a:gd name="T73" fmla="*/ 2147483647 h 247"/>
                  <a:gd name="T74" fmla="*/ 2147483647 w 301"/>
                  <a:gd name="T75" fmla="*/ 2147483647 h 247"/>
                  <a:gd name="T76" fmla="*/ 2147483647 w 301"/>
                  <a:gd name="T77" fmla="*/ 2147483647 h 247"/>
                  <a:gd name="T78" fmla="*/ 2147483647 w 301"/>
                  <a:gd name="T79" fmla="*/ 2147483647 h 247"/>
                  <a:gd name="T80" fmla="*/ 2147483647 w 301"/>
                  <a:gd name="T81" fmla="*/ 2147483647 h 247"/>
                  <a:gd name="T82" fmla="*/ 2147483647 w 301"/>
                  <a:gd name="T83" fmla="*/ 2147483647 h 247"/>
                  <a:gd name="T84" fmla="*/ 2147483647 w 301"/>
                  <a:gd name="T85" fmla="*/ 2147483647 h 247"/>
                  <a:gd name="T86" fmla="*/ 2147483647 w 301"/>
                  <a:gd name="T87" fmla="*/ 2147483647 h 247"/>
                  <a:gd name="T88" fmla="*/ 2147483647 w 301"/>
                  <a:gd name="T89" fmla="*/ 2147483647 h 247"/>
                  <a:gd name="T90" fmla="*/ 2147483647 w 301"/>
                  <a:gd name="T91" fmla="*/ 2147483647 h 24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01"/>
                  <a:gd name="T139" fmla="*/ 0 h 247"/>
                  <a:gd name="T140" fmla="*/ 301 w 301"/>
                  <a:gd name="T141" fmla="*/ 247 h 24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01" h="247">
                    <a:moveTo>
                      <a:pt x="240" y="121"/>
                    </a:moveTo>
                    <a:lnTo>
                      <a:pt x="238" y="122"/>
                    </a:lnTo>
                    <a:lnTo>
                      <a:pt x="238" y="124"/>
                    </a:lnTo>
                    <a:lnTo>
                      <a:pt x="240" y="124"/>
                    </a:lnTo>
                    <a:lnTo>
                      <a:pt x="238" y="125"/>
                    </a:lnTo>
                    <a:lnTo>
                      <a:pt x="238" y="128"/>
                    </a:lnTo>
                    <a:lnTo>
                      <a:pt x="241" y="127"/>
                    </a:lnTo>
                    <a:lnTo>
                      <a:pt x="241" y="128"/>
                    </a:lnTo>
                    <a:lnTo>
                      <a:pt x="241" y="129"/>
                    </a:lnTo>
                    <a:lnTo>
                      <a:pt x="256" y="148"/>
                    </a:lnTo>
                    <a:lnTo>
                      <a:pt x="292" y="153"/>
                    </a:lnTo>
                    <a:lnTo>
                      <a:pt x="294" y="151"/>
                    </a:lnTo>
                    <a:lnTo>
                      <a:pt x="294" y="153"/>
                    </a:lnTo>
                    <a:lnTo>
                      <a:pt x="301" y="163"/>
                    </a:lnTo>
                    <a:lnTo>
                      <a:pt x="291" y="193"/>
                    </a:lnTo>
                    <a:lnTo>
                      <a:pt x="249" y="208"/>
                    </a:lnTo>
                    <a:lnTo>
                      <a:pt x="207" y="214"/>
                    </a:lnTo>
                    <a:lnTo>
                      <a:pt x="193" y="221"/>
                    </a:lnTo>
                    <a:lnTo>
                      <a:pt x="185" y="231"/>
                    </a:lnTo>
                    <a:lnTo>
                      <a:pt x="183" y="237"/>
                    </a:lnTo>
                    <a:lnTo>
                      <a:pt x="179" y="238"/>
                    </a:lnTo>
                    <a:lnTo>
                      <a:pt x="177" y="238"/>
                    </a:lnTo>
                    <a:lnTo>
                      <a:pt x="173" y="233"/>
                    </a:lnTo>
                    <a:lnTo>
                      <a:pt x="138" y="231"/>
                    </a:lnTo>
                    <a:lnTo>
                      <a:pt x="132" y="237"/>
                    </a:lnTo>
                    <a:lnTo>
                      <a:pt x="127" y="237"/>
                    </a:lnTo>
                    <a:lnTo>
                      <a:pt x="125" y="238"/>
                    </a:lnTo>
                    <a:lnTo>
                      <a:pt x="124" y="240"/>
                    </a:lnTo>
                    <a:lnTo>
                      <a:pt x="121" y="243"/>
                    </a:lnTo>
                    <a:lnTo>
                      <a:pt x="119" y="244"/>
                    </a:lnTo>
                    <a:lnTo>
                      <a:pt x="118" y="246"/>
                    </a:lnTo>
                    <a:lnTo>
                      <a:pt x="115" y="247"/>
                    </a:lnTo>
                    <a:lnTo>
                      <a:pt x="115" y="244"/>
                    </a:lnTo>
                    <a:lnTo>
                      <a:pt x="115" y="243"/>
                    </a:lnTo>
                    <a:lnTo>
                      <a:pt x="112" y="237"/>
                    </a:lnTo>
                    <a:lnTo>
                      <a:pt x="111" y="237"/>
                    </a:lnTo>
                    <a:lnTo>
                      <a:pt x="111" y="234"/>
                    </a:lnTo>
                    <a:lnTo>
                      <a:pt x="109" y="230"/>
                    </a:lnTo>
                    <a:lnTo>
                      <a:pt x="103" y="225"/>
                    </a:lnTo>
                    <a:lnTo>
                      <a:pt x="102" y="224"/>
                    </a:lnTo>
                    <a:lnTo>
                      <a:pt x="95" y="214"/>
                    </a:lnTo>
                    <a:lnTo>
                      <a:pt x="93" y="212"/>
                    </a:lnTo>
                    <a:lnTo>
                      <a:pt x="92" y="206"/>
                    </a:lnTo>
                    <a:lnTo>
                      <a:pt x="85" y="193"/>
                    </a:lnTo>
                    <a:lnTo>
                      <a:pt x="77" y="188"/>
                    </a:lnTo>
                    <a:lnTo>
                      <a:pt x="76" y="189"/>
                    </a:lnTo>
                    <a:lnTo>
                      <a:pt x="72" y="186"/>
                    </a:lnTo>
                    <a:lnTo>
                      <a:pt x="67" y="183"/>
                    </a:lnTo>
                    <a:lnTo>
                      <a:pt x="64" y="166"/>
                    </a:lnTo>
                    <a:lnTo>
                      <a:pt x="63" y="164"/>
                    </a:lnTo>
                    <a:lnTo>
                      <a:pt x="63" y="163"/>
                    </a:lnTo>
                    <a:lnTo>
                      <a:pt x="63" y="161"/>
                    </a:lnTo>
                    <a:lnTo>
                      <a:pt x="64" y="157"/>
                    </a:lnTo>
                    <a:lnTo>
                      <a:pt x="63" y="151"/>
                    </a:lnTo>
                    <a:lnTo>
                      <a:pt x="61" y="150"/>
                    </a:lnTo>
                    <a:lnTo>
                      <a:pt x="54" y="135"/>
                    </a:lnTo>
                    <a:lnTo>
                      <a:pt x="47" y="129"/>
                    </a:lnTo>
                    <a:lnTo>
                      <a:pt x="47" y="128"/>
                    </a:lnTo>
                    <a:lnTo>
                      <a:pt x="44" y="127"/>
                    </a:lnTo>
                    <a:lnTo>
                      <a:pt x="42" y="127"/>
                    </a:lnTo>
                    <a:lnTo>
                      <a:pt x="41" y="127"/>
                    </a:lnTo>
                    <a:lnTo>
                      <a:pt x="40" y="125"/>
                    </a:lnTo>
                    <a:lnTo>
                      <a:pt x="37" y="121"/>
                    </a:lnTo>
                    <a:lnTo>
                      <a:pt x="37" y="118"/>
                    </a:lnTo>
                    <a:lnTo>
                      <a:pt x="38" y="118"/>
                    </a:lnTo>
                    <a:lnTo>
                      <a:pt x="32" y="105"/>
                    </a:lnTo>
                    <a:lnTo>
                      <a:pt x="29" y="103"/>
                    </a:lnTo>
                    <a:lnTo>
                      <a:pt x="29" y="102"/>
                    </a:lnTo>
                    <a:lnTo>
                      <a:pt x="28" y="100"/>
                    </a:lnTo>
                    <a:lnTo>
                      <a:pt x="25" y="97"/>
                    </a:lnTo>
                    <a:lnTo>
                      <a:pt x="24" y="90"/>
                    </a:lnTo>
                    <a:lnTo>
                      <a:pt x="22" y="89"/>
                    </a:lnTo>
                    <a:lnTo>
                      <a:pt x="19" y="87"/>
                    </a:lnTo>
                    <a:lnTo>
                      <a:pt x="16" y="83"/>
                    </a:lnTo>
                    <a:lnTo>
                      <a:pt x="16" y="81"/>
                    </a:lnTo>
                    <a:lnTo>
                      <a:pt x="9" y="68"/>
                    </a:lnTo>
                    <a:lnTo>
                      <a:pt x="8" y="67"/>
                    </a:lnTo>
                    <a:lnTo>
                      <a:pt x="3" y="67"/>
                    </a:lnTo>
                    <a:lnTo>
                      <a:pt x="2" y="67"/>
                    </a:lnTo>
                    <a:lnTo>
                      <a:pt x="0" y="67"/>
                    </a:lnTo>
                    <a:lnTo>
                      <a:pt x="0" y="68"/>
                    </a:lnTo>
                    <a:lnTo>
                      <a:pt x="3" y="60"/>
                    </a:lnTo>
                    <a:lnTo>
                      <a:pt x="5" y="52"/>
                    </a:lnTo>
                    <a:lnTo>
                      <a:pt x="5" y="49"/>
                    </a:lnTo>
                    <a:lnTo>
                      <a:pt x="5" y="47"/>
                    </a:lnTo>
                    <a:lnTo>
                      <a:pt x="6" y="48"/>
                    </a:lnTo>
                    <a:lnTo>
                      <a:pt x="22" y="49"/>
                    </a:lnTo>
                    <a:lnTo>
                      <a:pt x="26" y="45"/>
                    </a:lnTo>
                    <a:lnTo>
                      <a:pt x="29" y="38"/>
                    </a:lnTo>
                    <a:lnTo>
                      <a:pt x="41" y="36"/>
                    </a:lnTo>
                    <a:lnTo>
                      <a:pt x="42" y="31"/>
                    </a:lnTo>
                    <a:lnTo>
                      <a:pt x="48" y="26"/>
                    </a:lnTo>
                    <a:lnTo>
                      <a:pt x="34" y="10"/>
                    </a:lnTo>
                    <a:lnTo>
                      <a:pt x="60" y="4"/>
                    </a:lnTo>
                    <a:lnTo>
                      <a:pt x="64" y="0"/>
                    </a:lnTo>
                    <a:lnTo>
                      <a:pt x="119" y="25"/>
                    </a:lnTo>
                    <a:lnTo>
                      <a:pt x="121" y="29"/>
                    </a:lnTo>
                    <a:lnTo>
                      <a:pt x="128" y="31"/>
                    </a:lnTo>
                    <a:lnTo>
                      <a:pt x="130" y="31"/>
                    </a:lnTo>
                    <a:lnTo>
                      <a:pt x="130" y="41"/>
                    </a:lnTo>
                    <a:lnTo>
                      <a:pt x="130" y="42"/>
                    </a:lnTo>
                    <a:lnTo>
                      <a:pt x="146" y="49"/>
                    </a:lnTo>
                    <a:lnTo>
                      <a:pt x="172" y="51"/>
                    </a:lnTo>
                    <a:lnTo>
                      <a:pt x="183" y="54"/>
                    </a:lnTo>
                    <a:lnTo>
                      <a:pt x="185" y="55"/>
                    </a:lnTo>
                    <a:lnTo>
                      <a:pt x="188" y="60"/>
                    </a:lnTo>
                    <a:lnTo>
                      <a:pt x="196" y="60"/>
                    </a:lnTo>
                    <a:lnTo>
                      <a:pt x="202" y="71"/>
                    </a:lnTo>
                    <a:lnTo>
                      <a:pt x="204" y="71"/>
                    </a:lnTo>
                    <a:lnTo>
                      <a:pt x="205" y="76"/>
                    </a:lnTo>
                    <a:lnTo>
                      <a:pt x="209" y="77"/>
                    </a:lnTo>
                    <a:lnTo>
                      <a:pt x="209" y="79"/>
                    </a:lnTo>
                    <a:lnTo>
                      <a:pt x="208" y="79"/>
                    </a:lnTo>
                    <a:lnTo>
                      <a:pt x="209" y="80"/>
                    </a:lnTo>
                    <a:lnTo>
                      <a:pt x="209" y="83"/>
                    </a:lnTo>
                    <a:lnTo>
                      <a:pt x="212" y="83"/>
                    </a:lnTo>
                    <a:lnTo>
                      <a:pt x="220" y="87"/>
                    </a:lnTo>
                    <a:lnTo>
                      <a:pt x="220" y="90"/>
                    </a:lnTo>
                    <a:lnTo>
                      <a:pt x="220" y="93"/>
                    </a:lnTo>
                    <a:lnTo>
                      <a:pt x="223" y="96"/>
                    </a:lnTo>
                    <a:lnTo>
                      <a:pt x="223" y="97"/>
                    </a:lnTo>
                    <a:lnTo>
                      <a:pt x="223" y="99"/>
                    </a:lnTo>
                    <a:lnTo>
                      <a:pt x="221" y="100"/>
                    </a:lnTo>
                    <a:lnTo>
                      <a:pt x="221" y="103"/>
                    </a:lnTo>
                    <a:lnTo>
                      <a:pt x="227" y="111"/>
                    </a:lnTo>
                    <a:lnTo>
                      <a:pt x="227" y="115"/>
                    </a:lnTo>
                    <a:lnTo>
                      <a:pt x="228" y="116"/>
                    </a:lnTo>
                    <a:lnTo>
                      <a:pt x="228" y="118"/>
                    </a:lnTo>
                    <a:lnTo>
                      <a:pt x="230" y="119"/>
                    </a:lnTo>
                    <a:lnTo>
                      <a:pt x="230" y="121"/>
                    </a:lnTo>
                    <a:lnTo>
                      <a:pt x="231" y="121"/>
                    </a:lnTo>
                    <a:lnTo>
                      <a:pt x="233" y="124"/>
                    </a:lnTo>
                    <a:lnTo>
                      <a:pt x="234" y="124"/>
                    </a:lnTo>
                    <a:lnTo>
                      <a:pt x="240" y="121"/>
                    </a:lnTo>
                  </a:path>
                </a:pathLst>
              </a:custGeom>
              <a:solidFill>
                <a:srgbClr val="00AFE6"/>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00" name="Freeform 1624"/>
              <p:cNvSpPr>
                <a:spLocks/>
              </p:cNvSpPr>
              <p:nvPr/>
            </p:nvSpPr>
            <p:spPr bwMode="auto">
              <a:xfrm>
                <a:off x="6472723" y="3712731"/>
                <a:ext cx="30723" cy="36509"/>
              </a:xfrm>
              <a:custGeom>
                <a:avLst/>
                <a:gdLst/>
                <a:ahLst/>
                <a:cxnLst>
                  <a:cxn ang="0">
                    <a:pos x="32" y="14"/>
                  </a:cxn>
                  <a:cxn ang="0">
                    <a:pos x="34" y="14"/>
                  </a:cxn>
                  <a:cxn ang="0">
                    <a:pos x="32" y="16"/>
                  </a:cxn>
                  <a:cxn ang="0">
                    <a:pos x="27" y="27"/>
                  </a:cxn>
                  <a:cxn ang="0">
                    <a:pos x="19" y="30"/>
                  </a:cxn>
                  <a:cxn ang="0">
                    <a:pos x="16" y="34"/>
                  </a:cxn>
                  <a:cxn ang="0">
                    <a:pos x="15" y="34"/>
                  </a:cxn>
                  <a:cxn ang="0">
                    <a:pos x="11" y="35"/>
                  </a:cxn>
                  <a:cxn ang="0">
                    <a:pos x="3" y="27"/>
                  </a:cxn>
                  <a:cxn ang="0">
                    <a:pos x="0" y="19"/>
                  </a:cxn>
                  <a:cxn ang="0">
                    <a:pos x="0" y="16"/>
                  </a:cxn>
                  <a:cxn ang="0">
                    <a:pos x="11" y="5"/>
                  </a:cxn>
                  <a:cxn ang="0">
                    <a:pos x="18" y="0"/>
                  </a:cxn>
                  <a:cxn ang="0">
                    <a:pos x="22" y="0"/>
                  </a:cxn>
                  <a:cxn ang="0">
                    <a:pos x="25" y="2"/>
                  </a:cxn>
                  <a:cxn ang="0">
                    <a:pos x="32" y="12"/>
                  </a:cxn>
                  <a:cxn ang="0">
                    <a:pos x="32" y="14"/>
                  </a:cxn>
                </a:cxnLst>
                <a:rect l="0" t="0" r="r" b="b"/>
                <a:pathLst>
                  <a:path w="34" h="35">
                    <a:moveTo>
                      <a:pt x="32" y="14"/>
                    </a:moveTo>
                    <a:lnTo>
                      <a:pt x="34" y="14"/>
                    </a:lnTo>
                    <a:lnTo>
                      <a:pt x="32" y="16"/>
                    </a:lnTo>
                    <a:lnTo>
                      <a:pt x="27" y="27"/>
                    </a:lnTo>
                    <a:lnTo>
                      <a:pt x="19" y="30"/>
                    </a:lnTo>
                    <a:lnTo>
                      <a:pt x="16" y="34"/>
                    </a:lnTo>
                    <a:lnTo>
                      <a:pt x="15" y="34"/>
                    </a:lnTo>
                    <a:lnTo>
                      <a:pt x="11" y="35"/>
                    </a:lnTo>
                    <a:lnTo>
                      <a:pt x="3" y="27"/>
                    </a:lnTo>
                    <a:lnTo>
                      <a:pt x="0" y="19"/>
                    </a:lnTo>
                    <a:lnTo>
                      <a:pt x="0" y="16"/>
                    </a:lnTo>
                    <a:lnTo>
                      <a:pt x="11" y="5"/>
                    </a:lnTo>
                    <a:lnTo>
                      <a:pt x="18" y="0"/>
                    </a:lnTo>
                    <a:lnTo>
                      <a:pt x="22" y="0"/>
                    </a:lnTo>
                    <a:lnTo>
                      <a:pt x="25" y="2"/>
                    </a:lnTo>
                    <a:lnTo>
                      <a:pt x="32" y="12"/>
                    </a:lnTo>
                    <a:lnTo>
                      <a:pt x="32" y="14"/>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01" name="Freeform 1625"/>
              <p:cNvSpPr>
                <a:spLocks/>
              </p:cNvSpPr>
              <p:nvPr/>
            </p:nvSpPr>
            <p:spPr bwMode="auto">
              <a:xfrm>
                <a:off x="6472723" y="3712731"/>
                <a:ext cx="30723" cy="36509"/>
              </a:xfrm>
              <a:custGeom>
                <a:avLst/>
                <a:gdLst/>
                <a:ahLst/>
                <a:cxnLst>
                  <a:cxn ang="0">
                    <a:pos x="32" y="14"/>
                  </a:cxn>
                  <a:cxn ang="0">
                    <a:pos x="34" y="14"/>
                  </a:cxn>
                  <a:cxn ang="0">
                    <a:pos x="32" y="16"/>
                  </a:cxn>
                  <a:cxn ang="0">
                    <a:pos x="27" y="27"/>
                  </a:cxn>
                  <a:cxn ang="0">
                    <a:pos x="19" y="30"/>
                  </a:cxn>
                  <a:cxn ang="0">
                    <a:pos x="16" y="34"/>
                  </a:cxn>
                  <a:cxn ang="0">
                    <a:pos x="15" y="34"/>
                  </a:cxn>
                  <a:cxn ang="0">
                    <a:pos x="11" y="35"/>
                  </a:cxn>
                  <a:cxn ang="0">
                    <a:pos x="3" y="27"/>
                  </a:cxn>
                  <a:cxn ang="0">
                    <a:pos x="0" y="19"/>
                  </a:cxn>
                  <a:cxn ang="0">
                    <a:pos x="0" y="16"/>
                  </a:cxn>
                  <a:cxn ang="0">
                    <a:pos x="11" y="5"/>
                  </a:cxn>
                  <a:cxn ang="0">
                    <a:pos x="18" y="0"/>
                  </a:cxn>
                  <a:cxn ang="0">
                    <a:pos x="22" y="0"/>
                  </a:cxn>
                  <a:cxn ang="0">
                    <a:pos x="25" y="2"/>
                  </a:cxn>
                  <a:cxn ang="0">
                    <a:pos x="32" y="12"/>
                  </a:cxn>
                  <a:cxn ang="0">
                    <a:pos x="32" y="14"/>
                  </a:cxn>
                </a:cxnLst>
                <a:rect l="0" t="0" r="r" b="b"/>
                <a:pathLst>
                  <a:path w="34" h="35">
                    <a:moveTo>
                      <a:pt x="32" y="14"/>
                    </a:moveTo>
                    <a:lnTo>
                      <a:pt x="34" y="14"/>
                    </a:lnTo>
                    <a:lnTo>
                      <a:pt x="32" y="16"/>
                    </a:lnTo>
                    <a:lnTo>
                      <a:pt x="27" y="27"/>
                    </a:lnTo>
                    <a:lnTo>
                      <a:pt x="19" y="30"/>
                    </a:lnTo>
                    <a:lnTo>
                      <a:pt x="16" y="34"/>
                    </a:lnTo>
                    <a:lnTo>
                      <a:pt x="15" y="34"/>
                    </a:lnTo>
                    <a:lnTo>
                      <a:pt x="11" y="35"/>
                    </a:lnTo>
                    <a:lnTo>
                      <a:pt x="3" y="27"/>
                    </a:lnTo>
                    <a:lnTo>
                      <a:pt x="0" y="19"/>
                    </a:lnTo>
                    <a:lnTo>
                      <a:pt x="0" y="16"/>
                    </a:lnTo>
                    <a:lnTo>
                      <a:pt x="11" y="5"/>
                    </a:lnTo>
                    <a:lnTo>
                      <a:pt x="18" y="0"/>
                    </a:lnTo>
                    <a:lnTo>
                      <a:pt x="22" y="0"/>
                    </a:lnTo>
                    <a:lnTo>
                      <a:pt x="25" y="2"/>
                    </a:lnTo>
                    <a:lnTo>
                      <a:pt x="32" y="12"/>
                    </a:lnTo>
                    <a:lnTo>
                      <a:pt x="32" y="14"/>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02" name="Freeform 1626"/>
              <p:cNvSpPr>
                <a:spLocks/>
              </p:cNvSpPr>
              <p:nvPr/>
            </p:nvSpPr>
            <p:spPr bwMode="auto">
              <a:xfrm>
                <a:off x="6540313" y="2719895"/>
                <a:ext cx="24578" cy="10141"/>
              </a:xfrm>
              <a:custGeom>
                <a:avLst/>
                <a:gdLst/>
                <a:ahLst/>
                <a:cxnLst>
                  <a:cxn ang="0">
                    <a:pos x="21" y="0"/>
                  </a:cxn>
                  <a:cxn ang="0">
                    <a:pos x="18" y="0"/>
                  </a:cxn>
                  <a:cxn ang="0">
                    <a:pos x="16" y="0"/>
                  </a:cxn>
                  <a:cxn ang="0">
                    <a:pos x="13" y="0"/>
                  </a:cxn>
                  <a:cxn ang="0">
                    <a:pos x="11" y="2"/>
                  </a:cxn>
                  <a:cxn ang="0">
                    <a:pos x="9" y="2"/>
                  </a:cxn>
                  <a:cxn ang="0">
                    <a:pos x="9" y="0"/>
                  </a:cxn>
                  <a:cxn ang="0">
                    <a:pos x="0" y="3"/>
                  </a:cxn>
                  <a:cxn ang="0">
                    <a:pos x="3" y="9"/>
                  </a:cxn>
                  <a:cxn ang="0">
                    <a:pos x="8" y="10"/>
                  </a:cxn>
                  <a:cxn ang="0">
                    <a:pos x="12" y="10"/>
                  </a:cxn>
                  <a:cxn ang="0">
                    <a:pos x="15" y="9"/>
                  </a:cxn>
                  <a:cxn ang="0">
                    <a:pos x="18" y="7"/>
                  </a:cxn>
                  <a:cxn ang="0">
                    <a:pos x="22" y="5"/>
                  </a:cxn>
                  <a:cxn ang="0">
                    <a:pos x="25" y="5"/>
                  </a:cxn>
                  <a:cxn ang="0">
                    <a:pos x="27" y="2"/>
                  </a:cxn>
                  <a:cxn ang="0">
                    <a:pos x="27" y="0"/>
                  </a:cxn>
                  <a:cxn ang="0">
                    <a:pos x="22" y="0"/>
                  </a:cxn>
                  <a:cxn ang="0">
                    <a:pos x="21" y="0"/>
                  </a:cxn>
                </a:cxnLst>
                <a:rect l="0" t="0" r="r" b="b"/>
                <a:pathLst>
                  <a:path w="27" h="10">
                    <a:moveTo>
                      <a:pt x="21" y="0"/>
                    </a:moveTo>
                    <a:lnTo>
                      <a:pt x="18" y="0"/>
                    </a:lnTo>
                    <a:lnTo>
                      <a:pt x="16" y="0"/>
                    </a:lnTo>
                    <a:lnTo>
                      <a:pt x="13" y="0"/>
                    </a:lnTo>
                    <a:lnTo>
                      <a:pt x="11" y="2"/>
                    </a:lnTo>
                    <a:lnTo>
                      <a:pt x="9" y="2"/>
                    </a:lnTo>
                    <a:lnTo>
                      <a:pt x="9" y="0"/>
                    </a:lnTo>
                    <a:lnTo>
                      <a:pt x="0" y="3"/>
                    </a:lnTo>
                    <a:lnTo>
                      <a:pt x="3" y="9"/>
                    </a:lnTo>
                    <a:lnTo>
                      <a:pt x="8" y="10"/>
                    </a:lnTo>
                    <a:lnTo>
                      <a:pt x="12" y="10"/>
                    </a:lnTo>
                    <a:lnTo>
                      <a:pt x="15" y="9"/>
                    </a:lnTo>
                    <a:lnTo>
                      <a:pt x="18" y="7"/>
                    </a:lnTo>
                    <a:lnTo>
                      <a:pt x="22" y="5"/>
                    </a:lnTo>
                    <a:lnTo>
                      <a:pt x="25" y="5"/>
                    </a:lnTo>
                    <a:lnTo>
                      <a:pt x="27" y="2"/>
                    </a:lnTo>
                    <a:lnTo>
                      <a:pt x="27" y="0"/>
                    </a:lnTo>
                    <a:lnTo>
                      <a:pt x="22" y="0"/>
                    </a:lnTo>
                    <a:lnTo>
                      <a:pt x="21" y="0"/>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03" name="Freeform 1627"/>
              <p:cNvSpPr>
                <a:spLocks/>
              </p:cNvSpPr>
              <p:nvPr/>
            </p:nvSpPr>
            <p:spPr bwMode="auto">
              <a:xfrm>
                <a:off x="6548214" y="2711782"/>
                <a:ext cx="23700" cy="10141"/>
              </a:xfrm>
              <a:custGeom>
                <a:avLst/>
                <a:gdLst/>
                <a:ahLst/>
                <a:cxnLst>
                  <a:cxn ang="0">
                    <a:pos x="22" y="4"/>
                  </a:cxn>
                  <a:cxn ang="0">
                    <a:pos x="23" y="1"/>
                  </a:cxn>
                  <a:cxn ang="0">
                    <a:pos x="25" y="0"/>
                  </a:cxn>
                  <a:cxn ang="0">
                    <a:pos x="23" y="0"/>
                  </a:cxn>
                  <a:cxn ang="0">
                    <a:pos x="16" y="4"/>
                  </a:cxn>
                  <a:cxn ang="0">
                    <a:pos x="3" y="5"/>
                  </a:cxn>
                  <a:cxn ang="0">
                    <a:pos x="2" y="5"/>
                  </a:cxn>
                  <a:cxn ang="0">
                    <a:pos x="2" y="8"/>
                  </a:cxn>
                  <a:cxn ang="0">
                    <a:pos x="0" y="8"/>
                  </a:cxn>
                  <a:cxn ang="0">
                    <a:pos x="0" y="10"/>
                  </a:cxn>
                  <a:cxn ang="0">
                    <a:pos x="2" y="10"/>
                  </a:cxn>
                  <a:cxn ang="0">
                    <a:pos x="4" y="8"/>
                  </a:cxn>
                  <a:cxn ang="0">
                    <a:pos x="7" y="8"/>
                  </a:cxn>
                  <a:cxn ang="0">
                    <a:pos x="9" y="8"/>
                  </a:cxn>
                  <a:cxn ang="0">
                    <a:pos x="12" y="8"/>
                  </a:cxn>
                  <a:cxn ang="0">
                    <a:pos x="13" y="8"/>
                  </a:cxn>
                  <a:cxn ang="0">
                    <a:pos x="18" y="8"/>
                  </a:cxn>
                  <a:cxn ang="0">
                    <a:pos x="19" y="4"/>
                  </a:cxn>
                  <a:cxn ang="0">
                    <a:pos x="22" y="4"/>
                  </a:cxn>
                </a:cxnLst>
                <a:rect l="0" t="0" r="r" b="b"/>
                <a:pathLst>
                  <a:path w="25" h="10">
                    <a:moveTo>
                      <a:pt x="22" y="4"/>
                    </a:moveTo>
                    <a:lnTo>
                      <a:pt x="23" y="1"/>
                    </a:lnTo>
                    <a:lnTo>
                      <a:pt x="25" y="0"/>
                    </a:lnTo>
                    <a:lnTo>
                      <a:pt x="23" y="0"/>
                    </a:lnTo>
                    <a:lnTo>
                      <a:pt x="16" y="4"/>
                    </a:lnTo>
                    <a:lnTo>
                      <a:pt x="3" y="5"/>
                    </a:lnTo>
                    <a:lnTo>
                      <a:pt x="2" y="5"/>
                    </a:lnTo>
                    <a:lnTo>
                      <a:pt x="2" y="8"/>
                    </a:lnTo>
                    <a:lnTo>
                      <a:pt x="0" y="8"/>
                    </a:lnTo>
                    <a:lnTo>
                      <a:pt x="0" y="10"/>
                    </a:lnTo>
                    <a:lnTo>
                      <a:pt x="2" y="10"/>
                    </a:lnTo>
                    <a:lnTo>
                      <a:pt x="4" y="8"/>
                    </a:lnTo>
                    <a:lnTo>
                      <a:pt x="7" y="8"/>
                    </a:lnTo>
                    <a:lnTo>
                      <a:pt x="9" y="8"/>
                    </a:lnTo>
                    <a:lnTo>
                      <a:pt x="12" y="8"/>
                    </a:lnTo>
                    <a:lnTo>
                      <a:pt x="13" y="8"/>
                    </a:lnTo>
                    <a:lnTo>
                      <a:pt x="18" y="8"/>
                    </a:lnTo>
                    <a:lnTo>
                      <a:pt x="19" y="4"/>
                    </a:lnTo>
                    <a:lnTo>
                      <a:pt x="22" y="4"/>
                    </a:lnTo>
                    <a:close/>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04" name="Freeform 1628"/>
              <p:cNvSpPr>
                <a:spLocks/>
              </p:cNvSpPr>
              <p:nvPr/>
            </p:nvSpPr>
            <p:spPr bwMode="auto">
              <a:xfrm>
                <a:off x="4998018" y="3096138"/>
                <a:ext cx="12289" cy="14197"/>
              </a:xfrm>
              <a:custGeom>
                <a:avLst/>
                <a:gdLst/>
                <a:ahLst/>
                <a:cxnLst>
                  <a:cxn ang="0">
                    <a:pos x="4" y="0"/>
                  </a:cxn>
                  <a:cxn ang="0">
                    <a:pos x="4" y="1"/>
                  </a:cxn>
                  <a:cxn ang="0">
                    <a:pos x="5" y="1"/>
                  </a:cxn>
                  <a:cxn ang="0">
                    <a:pos x="5" y="1"/>
                  </a:cxn>
                  <a:cxn ang="0">
                    <a:pos x="13" y="7"/>
                  </a:cxn>
                  <a:cxn ang="0">
                    <a:pos x="13" y="8"/>
                  </a:cxn>
                  <a:cxn ang="0">
                    <a:pos x="14" y="10"/>
                  </a:cxn>
                  <a:cxn ang="0">
                    <a:pos x="14" y="14"/>
                  </a:cxn>
                  <a:cxn ang="0">
                    <a:pos x="14" y="14"/>
                  </a:cxn>
                  <a:cxn ang="0">
                    <a:pos x="13" y="14"/>
                  </a:cxn>
                  <a:cxn ang="0">
                    <a:pos x="11" y="13"/>
                  </a:cxn>
                  <a:cxn ang="0">
                    <a:pos x="10" y="13"/>
                  </a:cxn>
                  <a:cxn ang="0">
                    <a:pos x="4" y="10"/>
                  </a:cxn>
                  <a:cxn ang="0">
                    <a:pos x="0" y="3"/>
                  </a:cxn>
                  <a:cxn ang="0">
                    <a:pos x="0" y="0"/>
                  </a:cxn>
                  <a:cxn ang="0">
                    <a:pos x="1" y="0"/>
                  </a:cxn>
                  <a:cxn ang="0">
                    <a:pos x="1" y="0"/>
                  </a:cxn>
                  <a:cxn ang="0">
                    <a:pos x="4" y="0"/>
                  </a:cxn>
                  <a:cxn ang="0">
                    <a:pos x="4" y="0"/>
                  </a:cxn>
                </a:cxnLst>
                <a:rect l="0" t="0" r="r" b="b"/>
                <a:pathLst>
                  <a:path w="14" h="14">
                    <a:moveTo>
                      <a:pt x="4" y="0"/>
                    </a:moveTo>
                    <a:lnTo>
                      <a:pt x="4" y="1"/>
                    </a:lnTo>
                    <a:lnTo>
                      <a:pt x="5" y="1"/>
                    </a:lnTo>
                    <a:lnTo>
                      <a:pt x="5" y="1"/>
                    </a:lnTo>
                    <a:lnTo>
                      <a:pt x="13" y="7"/>
                    </a:lnTo>
                    <a:lnTo>
                      <a:pt x="13" y="8"/>
                    </a:lnTo>
                    <a:lnTo>
                      <a:pt x="14" y="10"/>
                    </a:lnTo>
                    <a:lnTo>
                      <a:pt x="14" y="14"/>
                    </a:lnTo>
                    <a:lnTo>
                      <a:pt x="14" y="14"/>
                    </a:lnTo>
                    <a:lnTo>
                      <a:pt x="13" y="14"/>
                    </a:lnTo>
                    <a:lnTo>
                      <a:pt x="11" y="13"/>
                    </a:lnTo>
                    <a:lnTo>
                      <a:pt x="10" y="13"/>
                    </a:lnTo>
                    <a:lnTo>
                      <a:pt x="4" y="10"/>
                    </a:lnTo>
                    <a:lnTo>
                      <a:pt x="0" y="3"/>
                    </a:lnTo>
                    <a:lnTo>
                      <a:pt x="0" y="0"/>
                    </a:lnTo>
                    <a:lnTo>
                      <a:pt x="1" y="0"/>
                    </a:lnTo>
                    <a:lnTo>
                      <a:pt x="1" y="0"/>
                    </a:lnTo>
                    <a:lnTo>
                      <a:pt x="4" y="0"/>
                    </a:lnTo>
                    <a:lnTo>
                      <a:pt x="4"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05" name="Freeform 1629"/>
              <p:cNvSpPr>
                <a:spLocks/>
              </p:cNvSpPr>
              <p:nvPr/>
            </p:nvSpPr>
            <p:spPr bwMode="auto">
              <a:xfrm>
                <a:off x="4998018" y="3096138"/>
                <a:ext cx="12289" cy="14197"/>
              </a:xfrm>
              <a:custGeom>
                <a:avLst/>
                <a:gdLst/>
                <a:ahLst/>
                <a:cxnLst>
                  <a:cxn ang="0">
                    <a:pos x="4" y="0"/>
                  </a:cxn>
                  <a:cxn ang="0">
                    <a:pos x="4" y="1"/>
                  </a:cxn>
                  <a:cxn ang="0">
                    <a:pos x="5" y="1"/>
                  </a:cxn>
                  <a:cxn ang="0">
                    <a:pos x="5" y="1"/>
                  </a:cxn>
                  <a:cxn ang="0">
                    <a:pos x="13" y="7"/>
                  </a:cxn>
                  <a:cxn ang="0">
                    <a:pos x="13" y="8"/>
                  </a:cxn>
                  <a:cxn ang="0">
                    <a:pos x="14" y="10"/>
                  </a:cxn>
                  <a:cxn ang="0">
                    <a:pos x="14" y="14"/>
                  </a:cxn>
                  <a:cxn ang="0">
                    <a:pos x="14" y="14"/>
                  </a:cxn>
                  <a:cxn ang="0">
                    <a:pos x="13" y="14"/>
                  </a:cxn>
                  <a:cxn ang="0">
                    <a:pos x="11" y="13"/>
                  </a:cxn>
                  <a:cxn ang="0">
                    <a:pos x="10" y="13"/>
                  </a:cxn>
                  <a:cxn ang="0">
                    <a:pos x="4" y="10"/>
                  </a:cxn>
                  <a:cxn ang="0">
                    <a:pos x="0" y="3"/>
                  </a:cxn>
                  <a:cxn ang="0">
                    <a:pos x="0" y="0"/>
                  </a:cxn>
                  <a:cxn ang="0">
                    <a:pos x="1" y="0"/>
                  </a:cxn>
                  <a:cxn ang="0">
                    <a:pos x="1" y="0"/>
                  </a:cxn>
                  <a:cxn ang="0">
                    <a:pos x="4" y="0"/>
                  </a:cxn>
                  <a:cxn ang="0">
                    <a:pos x="4" y="0"/>
                  </a:cxn>
                </a:cxnLst>
                <a:rect l="0" t="0" r="r" b="b"/>
                <a:pathLst>
                  <a:path w="14" h="14">
                    <a:moveTo>
                      <a:pt x="4" y="0"/>
                    </a:moveTo>
                    <a:lnTo>
                      <a:pt x="4" y="1"/>
                    </a:lnTo>
                    <a:lnTo>
                      <a:pt x="5" y="1"/>
                    </a:lnTo>
                    <a:lnTo>
                      <a:pt x="5" y="1"/>
                    </a:lnTo>
                    <a:lnTo>
                      <a:pt x="13" y="7"/>
                    </a:lnTo>
                    <a:lnTo>
                      <a:pt x="13" y="8"/>
                    </a:lnTo>
                    <a:lnTo>
                      <a:pt x="14" y="10"/>
                    </a:lnTo>
                    <a:lnTo>
                      <a:pt x="14" y="14"/>
                    </a:lnTo>
                    <a:lnTo>
                      <a:pt x="14" y="14"/>
                    </a:lnTo>
                    <a:lnTo>
                      <a:pt x="13" y="14"/>
                    </a:lnTo>
                    <a:lnTo>
                      <a:pt x="11" y="13"/>
                    </a:lnTo>
                    <a:lnTo>
                      <a:pt x="10" y="13"/>
                    </a:lnTo>
                    <a:lnTo>
                      <a:pt x="4" y="10"/>
                    </a:lnTo>
                    <a:lnTo>
                      <a:pt x="0" y="3"/>
                    </a:lnTo>
                    <a:lnTo>
                      <a:pt x="0" y="0"/>
                    </a:lnTo>
                    <a:lnTo>
                      <a:pt x="1" y="0"/>
                    </a:lnTo>
                    <a:lnTo>
                      <a:pt x="1" y="0"/>
                    </a:lnTo>
                    <a:lnTo>
                      <a:pt x="4" y="0"/>
                    </a:lnTo>
                    <a:lnTo>
                      <a:pt x="4"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06" name="Freeform 1630"/>
              <p:cNvSpPr>
                <a:spLocks/>
              </p:cNvSpPr>
              <p:nvPr/>
            </p:nvSpPr>
            <p:spPr bwMode="auto">
              <a:xfrm>
                <a:off x="5205179" y="3502805"/>
                <a:ext cx="17556" cy="16227"/>
              </a:xfrm>
              <a:custGeom>
                <a:avLst/>
                <a:gdLst/>
                <a:ahLst/>
                <a:cxnLst>
                  <a:cxn ang="0">
                    <a:pos x="6" y="0"/>
                  </a:cxn>
                  <a:cxn ang="0">
                    <a:pos x="6" y="1"/>
                  </a:cxn>
                  <a:cxn ang="0">
                    <a:pos x="9" y="2"/>
                  </a:cxn>
                  <a:cxn ang="0">
                    <a:pos x="12" y="7"/>
                  </a:cxn>
                  <a:cxn ang="0">
                    <a:pos x="15" y="7"/>
                  </a:cxn>
                  <a:cxn ang="0">
                    <a:pos x="18" y="7"/>
                  </a:cxn>
                  <a:cxn ang="0">
                    <a:pos x="18" y="8"/>
                  </a:cxn>
                  <a:cxn ang="0">
                    <a:pos x="18" y="10"/>
                  </a:cxn>
                  <a:cxn ang="0">
                    <a:pos x="19" y="14"/>
                  </a:cxn>
                  <a:cxn ang="0">
                    <a:pos x="19" y="15"/>
                  </a:cxn>
                  <a:cxn ang="0">
                    <a:pos x="18" y="15"/>
                  </a:cxn>
                  <a:cxn ang="0">
                    <a:pos x="15" y="15"/>
                  </a:cxn>
                  <a:cxn ang="0">
                    <a:pos x="15" y="14"/>
                  </a:cxn>
                  <a:cxn ang="0">
                    <a:pos x="15" y="14"/>
                  </a:cxn>
                  <a:cxn ang="0">
                    <a:pos x="16" y="14"/>
                  </a:cxn>
                  <a:cxn ang="0">
                    <a:pos x="16" y="13"/>
                  </a:cxn>
                  <a:cxn ang="0">
                    <a:pos x="15" y="11"/>
                  </a:cxn>
                  <a:cxn ang="0">
                    <a:pos x="15" y="11"/>
                  </a:cxn>
                  <a:cxn ang="0">
                    <a:pos x="13" y="13"/>
                  </a:cxn>
                  <a:cxn ang="0">
                    <a:pos x="12" y="13"/>
                  </a:cxn>
                  <a:cxn ang="0">
                    <a:pos x="10" y="13"/>
                  </a:cxn>
                  <a:cxn ang="0">
                    <a:pos x="5" y="8"/>
                  </a:cxn>
                  <a:cxn ang="0">
                    <a:pos x="2" y="8"/>
                  </a:cxn>
                  <a:cxn ang="0">
                    <a:pos x="0" y="7"/>
                  </a:cxn>
                  <a:cxn ang="0">
                    <a:pos x="0" y="5"/>
                  </a:cxn>
                  <a:cxn ang="0">
                    <a:pos x="0" y="2"/>
                  </a:cxn>
                  <a:cxn ang="0">
                    <a:pos x="0" y="1"/>
                  </a:cxn>
                  <a:cxn ang="0">
                    <a:pos x="2" y="1"/>
                  </a:cxn>
                  <a:cxn ang="0">
                    <a:pos x="3" y="0"/>
                  </a:cxn>
                  <a:cxn ang="0">
                    <a:pos x="3" y="0"/>
                  </a:cxn>
                  <a:cxn ang="0">
                    <a:pos x="3" y="0"/>
                  </a:cxn>
                  <a:cxn ang="0">
                    <a:pos x="6" y="0"/>
                  </a:cxn>
                </a:cxnLst>
                <a:rect l="0" t="0" r="r" b="b"/>
                <a:pathLst>
                  <a:path w="19" h="15">
                    <a:moveTo>
                      <a:pt x="6" y="0"/>
                    </a:moveTo>
                    <a:lnTo>
                      <a:pt x="6" y="1"/>
                    </a:lnTo>
                    <a:lnTo>
                      <a:pt x="9" y="2"/>
                    </a:lnTo>
                    <a:lnTo>
                      <a:pt x="12" y="7"/>
                    </a:lnTo>
                    <a:lnTo>
                      <a:pt x="15" y="7"/>
                    </a:lnTo>
                    <a:lnTo>
                      <a:pt x="18" y="7"/>
                    </a:lnTo>
                    <a:lnTo>
                      <a:pt x="18" y="8"/>
                    </a:lnTo>
                    <a:lnTo>
                      <a:pt x="18" y="10"/>
                    </a:lnTo>
                    <a:lnTo>
                      <a:pt x="19" y="14"/>
                    </a:lnTo>
                    <a:lnTo>
                      <a:pt x="19" y="15"/>
                    </a:lnTo>
                    <a:lnTo>
                      <a:pt x="18" y="15"/>
                    </a:lnTo>
                    <a:lnTo>
                      <a:pt x="15" y="15"/>
                    </a:lnTo>
                    <a:lnTo>
                      <a:pt x="15" y="14"/>
                    </a:lnTo>
                    <a:lnTo>
                      <a:pt x="15" y="14"/>
                    </a:lnTo>
                    <a:lnTo>
                      <a:pt x="16" y="14"/>
                    </a:lnTo>
                    <a:lnTo>
                      <a:pt x="16" y="13"/>
                    </a:lnTo>
                    <a:lnTo>
                      <a:pt x="15" y="11"/>
                    </a:lnTo>
                    <a:lnTo>
                      <a:pt x="15" y="11"/>
                    </a:lnTo>
                    <a:lnTo>
                      <a:pt x="13" y="13"/>
                    </a:lnTo>
                    <a:lnTo>
                      <a:pt x="12" y="13"/>
                    </a:lnTo>
                    <a:lnTo>
                      <a:pt x="10" y="13"/>
                    </a:lnTo>
                    <a:lnTo>
                      <a:pt x="5" y="8"/>
                    </a:lnTo>
                    <a:lnTo>
                      <a:pt x="2" y="8"/>
                    </a:lnTo>
                    <a:lnTo>
                      <a:pt x="0" y="7"/>
                    </a:lnTo>
                    <a:lnTo>
                      <a:pt x="0" y="5"/>
                    </a:lnTo>
                    <a:lnTo>
                      <a:pt x="0" y="2"/>
                    </a:lnTo>
                    <a:lnTo>
                      <a:pt x="0" y="1"/>
                    </a:lnTo>
                    <a:lnTo>
                      <a:pt x="2" y="1"/>
                    </a:lnTo>
                    <a:lnTo>
                      <a:pt x="3" y="0"/>
                    </a:lnTo>
                    <a:lnTo>
                      <a:pt x="3" y="0"/>
                    </a:lnTo>
                    <a:lnTo>
                      <a:pt x="3" y="0"/>
                    </a:lnTo>
                    <a:lnTo>
                      <a:pt x="6"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07" name="Freeform 1631"/>
              <p:cNvSpPr>
                <a:spLocks/>
              </p:cNvSpPr>
              <p:nvPr/>
            </p:nvSpPr>
            <p:spPr bwMode="auto">
              <a:xfrm>
                <a:off x="5205179" y="3502805"/>
                <a:ext cx="17556" cy="16227"/>
              </a:xfrm>
              <a:custGeom>
                <a:avLst/>
                <a:gdLst/>
                <a:ahLst/>
                <a:cxnLst>
                  <a:cxn ang="0">
                    <a:pos x="6" y="0"/>
                  </a:cxn>
                  <a:cxn ang="0">
                    <a:pos x="6" y="1"/>
                  </a:cxn>
                  <a:cxn ang="0">
                    <a:pos x="9" y="2"/>
                  </a:cxn>
                  <a:cxn ang="0">
                    <a:pos x="12" y="7"/>
                  </a:cxn>
                  <a:cxn ang="0">
                    <a:pos x="15" y="7"/>
                  </a:cxn>
                  <a:cxn ang="0">
                    <a:pos x="18" y="7"/>
                  </a:cxn>
                  <a:cxn ang="0">
                    <a:pos x="18" y="8"/>
                  </a:cxn>
                  <a:cxn ang="0">
                    <a:pos x="18" y="10"/>
                  </a:cxn>
                  <a:cxn ang="0">
                    <a:pos x="19" y="14"/>
                  </a:cxn>
                  <a:cxn ang="0">
                    <a:pos x="19" y="15"/>
                  </a:cxn>
                  <a:cxn ang="0">
                    <a:pos x="18" y="15"/>
                  </a:cxn>
                  <a:cxn ang="0">
                    <a:pos x="15" y="15"/>
                  </a:cxn>
                  <a:cxn ang="0">
                    <a:pos x="15" y="14"/>
                  </a:cxn>
                  <a:cxn ang="0">
                    <a:pos x="15" y="14"/>
                  </a:cxn>
                  <a:cxn ang="0">
                    <a:pos x="16" y="14"/>
                  </a:cxn>
                  <a:cxn ang="0">
                    <a:pos x="16" y="13"/>
                  </a:cxn>
                  <a:cxn ang="0">
                    <a:pos x="15" y="11"/>
                  </a:cxn>
                  <a:cxn ang="0">
                    <a:pos x="15" y="11"/>
                  </a:cxn>
                  <a:cxn ang="0">
                    <a:pos x="13" y="13"/>
                  </a:cxn>
                  <a:cxn ang="0">
                    <a:pos x="12" y="13"/>
                  </a:cxn>
                  <a:cxn ang="0">
                    <a:pos x="10" y="13"/>
                  </a:cxn>
                  <a:cxn ang="0">
                    <a:pos x="5" y="8"/>
                  </a:cxn>
                  <a:cxn ang="0">
                    <a:pos x="2" y="8"/>
                  </a:cxn>
                  <a:cxn ang="0">
                    <a:pos x="0" y="7"/>
                  </a:cxn>
                  <a:cxn ang="0">
                    <a:pos x="0" y="5"/>
                  </a:cxn>
                  <a:cxn ang="0">
                    <a:pos x="0" y="2"/>
                  </a:cxn>
                  <a:cxn ang="0">
                    <a:pos x="0" y="1"/>
                  </a:cxn>
                  <a:cxn ang="0">
                    <a:pos x="2" y="1"/>
                  </a:cxn>
                  <a:cxn ang="0">
                    <a:pos x="3" y="0"/>
                  </a:cxn>
                  <a:cxn ang="0">
                    <a:pos x="3" y="0"/>
                  </a:cxn>
                  <a:cxn ang="0">
                    <a:pos x="3" y="0"/>
                  </a:cxn>
                  <a:cxn ang="0">
                    <a:pos x="6" y="0"/>
                  </a:cxn>
                </a:cxnLst>
                <a:rect l="0" t="0" r="r" b="b"/>
                <a:pathLst>
                  <a:path w="19" h="15">
                    <a:moveTo>
                      <a:pt x="6" y="0"/>
                    </a:moveTo>
                    <a:lnTo>
                      <a:pt x="6" y="1"/>
                    </a:lnTo>
                    <a:lnTo>
                      <a:pt x="9" y="2"/>
                    </a:lnTo>
                    <a:lnTo>
                      <a:pt x="12" y="7"/>
                    </a:lnTo>
                    <a:lnTo>
                      <a:pt x="15" y="7"/>
                    </a:lnTo>
                    <a:lnTo>
                      <a:pt x="18" y="7"/>
                    </a:lnTo>
                    <a:lnTo>
                      <a:pt x="18" y="8"/>
                    </a:lnTo>
                    <a:lnTo>
                      <a:pt x="18" y="10"/>
                    </a:lnTo>
                    <a:lnTo>
                      <a:pt x="19" y="14"/>
                    </a:lnTo>
                    <a:lnTo>
                      <a:pt x="19" y="15"/>
                    </a:lnTo>
                    <a:lnTo>
                      <a:pt x="18" y="15"/>
                    </a:lnTo>
                    <a:lnTo>
                      <a:pt x="15" y="15"/>
                    </a:lnTo>
                    <a:lnTo>
                      <a:pt x="15" y="14"/>
                    </a:lnTo>
                    <a:lnTo>
                      <a:pt x="15" y="14"/>
                    </a:lnTo>
                    <a:lnTo>
                      <a:pt x="16" y="14"/>
                    </a:lnTo>
                    <a:lnTo>
                      <a:pt x="16" y="13"/>
                    </a:lnTo>
                    <a:lnTo>
                      <a:pt x="15" y="11"/>
                    </a:lnTo>
                    <a:lnTo>
                      <a:pt x="15" y="11"/>
                    </a:lnTo>
                    <a:lnTo>
                      <a:pt x="13" y="13"/>
                    </a:lnTo>
                    <a:lnTo>
                      <a:pt x="12" y="13"/>
                    </a:lnTo>
                    <a:lnTo>
                      <a:pt x="10" y="13"/>
                    </a:lnTo>
                    <a:lnTo>
                      <a:pt x="5" y="8"/>
                    </a:lnTo>
                    <a:lnTo>
                      <a:pt x="2" y="8"/>
                    </a:lnTo>
                    <a:lnTo>
                      <a:pt x="0" y="7"/>
                    </a:lnTo>
                    <a:lnTo>
                      <a:pt x="0" y="5"/>
                    </a:lnTo>
                    <a:lnTo>
                      <a:pt x="0" y="2"/>
                    </a:lnTo>
                    <a:lnTo>
                      <a:pt x="0" y="1"/>
                    </a:lnTo>
                    <a:lnTo>
                      <a:pt x="2" y="1"/>
                    </a:lnTo>
                    <a:lnTo>
                      <a:pt x="3" y="0"/>
                    </a:lnTo>
                    <a:lnTo>
                      <a:pt x="3" y="0"/>
                    </a:lnTo>
                    <a:lnTo>
                      <a:pt x="3" y="0"/>
                    </a:lnTo>
                    <a:lnTo>
                      <a:pt x="6"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08" name="Freeform 1632"/>
              <p:cNvSpPr>
                <a:spLocks/>
              </p:cNvSpPr>
              <p:nvPr/>
            </p:nvSpPr>
            <p:spPr bwMode="auto">
              <a:xfrm>
                <a:off x="5436919" y="3738084"/>
                <a:ext cx="21944" cy="36509"/>
              </a:xfrm>
              <a:custGeom>
                <a:avLst/>
                <a:gdLst/>
                <a:ahLst/>
                <a:cxnLst>
                  <a:cxn ang="0">
                    <a:pos x="14" y="0"/>
                  </a:cxn>
                  <a:cxn ang="0">
                    <a:pos x="14" y="3"/>
                  </a:cxn>
                  <a:cxn ang="0">
                    <a:pos x="16" y="6"/>
                  </a:cxn>
                  <a:cxn ang="0">
                    <a:pos x="16" y="7"/>
                  </a:cxn>
                  <a:cxn ang="0">
                    <a:pos x="17" y="7"/>
                  </a:cxn>
                  <a:cxn ang="0">
                    <a:pos x="19" y="7"/>
                  </a:cxn>
                  <a:cxn ang="0">
                    <a:pos x="22" y="6"/>
                  </a:cxn>
                  <a:cxn ang="0">
                    <a:pos x="23" y="5"/>
                  </a:cxn>
                  <a:cxn ang="0">
                    <a:pos x="24" y="6"/>
                  </a:cxn>
                  <a:cxn ang="0">
                    <a:pos x="24" y="7"/>
                  </a:cxn>
                  <a:cxn ang="0">
                    <a:pos x="23" y="9"/>
                  </a:cxn>
                  <a:cxn ang="0">
                    <a:pos x="23" y="9"/>
                  </a:cxn>
                  <a:cxn ang="0">
                    <a:pos x="23" y="7"/>
                  </a:cxn>
                  <a:cxn ang="0">
                    <a:pos x="22" y="7"/>
                  </a:cxn>
                  <a:cxn ang="0">
                    <a:pos x="22" y="13"/>
                  </a:cxn>
                  <a:cxn ang="0">
                    <a:pos x="19" y="16"/>
                  </a:cxn>
                  <a:cxn ang="0">
                    <a:pos x="19" y="16"/>
                  </a:cxn>
                  <a:cxn ang="0">
                    <a:pos x="17" y="19"/>
                  </a:cxn>
                  <a:cxn ang="0">
                    <a:pos x="16" y="19"/>
                  </a:cxn>
                  <a:cxn ang="0">
                    <a:pos x="14" y="26"/>
                  </a:cxn>
                  <a:cxn ang="0">
                    <a:pos x="6" y="31"/>
                  </a:cxn>
                  <a:cxn ang="0">
                    <a:pos x="4" y="32"/>
                  </a:cxn>
                  <a:cxn ang="0">
                    <a:pos x="3" y="32"/>
                  </a:cxn>
                  <a:cxn ang="0">
                    <a:pos x="3" y="35"/>
                  </a:cxn>
                  <a:cxn ang="0">
                    <a:pos x="0" y="31"/>
                  </a:cxn>
                  <a:cxn ang="0">
                    <a:pos x="0" y="29"/>
                  </a:cxn>
                  <a:cxn ang="0">
                    <a:pos x="1" y="29"/>
                  </a:cxn>
                  <a:cxn ang="0">
                    <a:pos x="1" y="28"/>
                  </a:cxn>
                  <a:cxn ang="0">
                    <a:pos x="1" y="28"/>
                  </a:cxn>
                  <a:cxn ang="0">
                    <a:pos x="3" y="23"/>
                  </a:cxn>
                  <a:cxn ang="0">
                    <a:pos x="3" y="23"/>
                  </a:cxn>
                  <a:cxn ang="0">
                    <a:pos x="7" y="22"/>
                  </a:cxn>
                  <a:cxn ang="0">
                    <a:pos x="7" y="22"/>
                  </a:cxn>
                  <a:cxn ang="0">
                    <a:pos x="7" y="21"/>
                  </a:cxn>
                  <a:cxn ang="0">
                    <a:pos x="8" y="21"/>
                  </a:cxn>
                  <a:cxn ang="0">
                    <a:pos x="11" y="12"/>
                  </a:cxn>
                  <a:cxn ang="0">
                    <a:pos x="11" y="13"/>
                  </a:cxn>
                  <a:cxn ang="0">
                    <a:pos x="13" y="12"/>
                  </a:cxn>
                  <a:cxn ang="0">
                    <a:pos x="14" y="0"/>
                  </a:cxn>
                </a:cxnLst>
                <a:rect l="0" t="0" r="r" b="b"/>
                <a:pathLst>
                  <a:path w="24" h="35">
                    <a:moveTo>
                      <a:pt x="14" y="0"/>
                    </a:moveTo>
                    <a:lnTo>
                      <a:pt x="14" y="3"/>
                    </a:lnTo>
                    <a:lnTo>
                      <a:pt x="16" y="6"/>
                    </a:lnTo>
                    <a:lnTo>
                      <a:pt x="16" y="7"/>
                    </a:lnTo>
                    <a:lnTo>
                      <a:pt x="17" y="7"/>
                    </a:lnTo>
                    <a:lnTo>
                      <a:pt x="19" y="7"/>
                    </a:lnTo>
                    <a:lnTo>
                      <a:pt x="22" y="6"/>
                    </a:lnTo>
                    <a:lnTo>
                      <a:pt x="23" y="5"/>
                    </a:lnTo>
                    <a:lnTo>
                      <a:pt x="24" y="6"/>
                    </a:lnTo>
                    <a:lnTo>
                      <a:pt x="24" y="7"/>
                    </a:lnTo>
                    <a:lnTo>
                      <a:pt x="23" y="9"/>
                    </a:lnTo>
                    <a:lnTo>
                      <a:pt x="23" y="9"/>
                    </a:lnTo>
                    <a:lnTo>
                      <a:pt x="23" y="7"/>
                    </a:lnTo>
                    <a:lnTo>
                      <a:pt x="22" y="7"/>
                    </a:lnTo>
                    <a:lnTo>
                      <a:pt x="22" y="13"/>
                    </a:lnTo>
                    <a:lnTo>
                      <a:pt x="19" y="16"/>
                    </a:lnTo>
                    <a:lnTo>
                      <a:pt x="19" y="16"/>
                    </a:lnTo>
                    <a:lnTo>
                      <a:pt x="17" y="19"/>
                    </a:lnTo>
                    <a:lnTo>
                      <a:pt x="16" y="19"/>
                    </a:lnTo>
                    <a:lnTo>
                      <a:pt x="14" y="26"/>
                    </a:lnTo>
                    <a:lnTo>
                      <a:pt x="6" y="31"/>
                    </a:lnTo>
                    <a:lnTo>
                      <a:pt x="4" y="32"/>
                    </a:lnTo>
                    <a:lnTo>
                      <a:pt x="3" y="32"/>
                    </a:lnTo>
                    <a:lnTo>
                      <a:pt x="3" y="35"/>
                    </a:lnTo>
                    <a:lnTo>
                      <a:pt x="0" y="31"/>
                    </a:lnTo>
                    <a:lnTo>
                      <a:pt x="0" y="29"/>
                    </a:lnTo>
                    <a:lnTo>
                      <a:pt x="1" y="29"/>
                    </a:lnTo>
                    <a:lnTo>
                      <a:pt x="1" y="28"/>
                    </a:lnTo>
                    <a:lnTo>
                      <a:pt x="1" y="28"/>
                    </a:lnTo>
                    <a:lnTo>
                      <a:pt x="3" y="23"/>
                    </a:lnTo>
                    <a:lnTo>
                      <a:pt x="3" y="23"/>
                    </a:lnTo>
                    <a:lnTo>
                      <a:pt x="7" y="22"/>
                    </a:lnTo>
                    <a:lnTo>
                      <a:pt x="7" y="22"/>
                    </a:lnTo>
                    <a:lnTo>
                      <a:pt x="7" y="21"/>
                    </a:lnTo>
                    <a:lnTo>
                      <a:pt x="8" y="21"/>
                    </a:lnTo>
                    <a:lnTo>
                      <a:pt x="11" y="12"/>
                    </a:lnTo>
                    <a:lnTo>
                      <a:pt x="11" y="13"/>
                    </a:lnTo>
                    <a:lnTo>
                      <a:pt x="13" y="12"/>
                    </a:lnTo>
                    <a:lnTo>
                      <a:pt x="14"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09" name="Freeform 1633"/>
              <p:cNvSpPr>
                <a:spLocks/>
              </p:cNvSpPr>
              <p:nvPr/>
            </p:nvSpPr>
            <p:spPr bwMode="auto">
              <a:xfrm>
                <a:off x="5436919" y="3738084"/>
                <a:ext cx="21944" cy="36509"/>
              </a:xfrm>
              <a:custGeom>
                <a:avLst/>
                <a:gdLst/>
                <a:ahLst/>
                <a:cxnLst>
                  <a:cxn ang="0">
                    <a:pos x="14" y="0"/>
                  </a:cxn>
                  <a:cxn ang="0">
                    <a:pos x="14" y="3"/>
                  </a:cxn>
                  <a:cxn ang="0">
                    <a:pos x="16" y="6"/>
                  </a:cxn>
                  <a:cxn ang="0">
                    <a:pos x="16" y="7"/>
                  </a:cxn>
                  <a:cxn ang="0">
                    <a:pos x="17" y="7"/>
                  </a:cxn>
                  <a:cxn ang="0">
                    <a:pos x="19" y="7"/>
                  </a:cxn>
                  <a:cxn ang="0">
                    <a:pos x="22" y="6"/>
                  </a:cxn>
                  <a:cxn ang="0">
                    <a:pos x="23" y="5"/>
                  </a:cxn>
                  <a:cxn ang="0">
                    <a:pos x="24" y="6"/>
                  </a:cxn>
                  <a:cxn ang="0">
                    <a:pos x="24" y="7"/>
                  </a:cxn>
                  <a:cxn ang="0">
                    <a:pos x="23" y="9"/>
                  </a:cxn>
                  <a:cxn ang="0">
                    <a:pos x="23" y="9"/>
                  </a:cxn>
                  <a:cxn ang="0">
                    <a:pos x="23" y="7"/>
                  </a:cxn>
                  <a:cxn ang="0">
                    <a:pos x="22" y="7"/>
                  </a:cxn>
                  <a:cxn ang="0">
                    <a:pos x="22" y="13"/>
                  </a:cxn>
                  <a:cxn ang="0">
                    <a:pos x="19" y="16"/>
                  </a:cxn>
                  <a:cxn ang="0">
                    <a:pos x="19" y="16"/>
                  </a:cxn>
                  <a:cxn ang="0">
                    <a:pos x="17" y="19"/>
                  </a:cxn>
                  <a:cxn ang="0">
                    <a:pos x="16" y="19"/>
                  </a:cxn>
                  <a:cxn ang="0">
                    <a:pos x="14" y="26"/>
                  </a:cxn>
                  <a:cxn ang="0">
                    <a:pos x="6" y="31"/>
                  </a:cxn>
                  <a:cxn ang="0">
                    <a:pos x="4" y="32"/>
                  </a:cxn>
                  <a:cxn ang="0">
                    <a:pos x="3" y="32"/>
                  </a:cxn>
                  <a:cxn ang="0">
                    <a:pos x="3" y="35"/>
                  </a:cxn>
                  <a:cxn ang="0">
                    <a:pos x="0" y="31"/>
                  </a:cxn>
                  <a:cxn ang="0">
                    <a:pos x="0" y="29"/>
                  </a:cxn>
                  <a:cxn ang="0">
                    <a:pos x="1" y="29"/>
                  </a:cxn>
                  <a:cxn ang="0">
                    <a:pos x="1" y="28"/>
                  </a:cxn>
                  <a:cxn ang="0">
                    <a:pos x="1" y="28"/>
                  </a:cxn>
                  <a:cxn ang="0">
                    <a:pos x="3" y="23"/>
                  </a:cxn>
                  <a:cxn ang="0">
                    <a:pos x="3" y="23"/>
                  </a:cxn>
                  <a:cxn ang="0">
                    <a:pos x="7" y="22"/>
                  </a:cxn>
                  <a:cxn ang="0">
                    <a:pos x="7" y="22"/>
                  </a:cxn>
                  <a:cxn ang="0">
                    <a:pos x="7" y="21"/>
                  </a:cxn>
                  <a:cxn ang="0">
                    <a:pos x="8" y="21"/>
                  </a:cxn>
                  <a:cxn ang="0">
                    <a:pos x="11" y="12"/>
                  </a:cxn>
                  <a:cxn ang="0">
                    <a:pos x="11" y="13"/>
                  </a:cxn>
                  <a:cxn ang="0">
                    <a:pos x="13" y="12"/>
                  </a:cxn>
                  <a:cxn ang="0">
                    <a:pos x="14" y="0"/>
                  </a:cxn>
                </a:cxnLst>
                <a:rect l="0" t="0" r="r" b="b"/>
                <a:pathLst>
                  <a:path w="24" h="35">
                    <a:moveTo>
                      <a:pt x="14" y="0"/>
                    </a:moveTo>
                    <a:lnTo>
                      <a:pt x="14" y="3"/>
                    </a:lnTo>
                    <a:lnTo>
                      <a:pt x="16" y="6"/>
                    </a:lnTo>
                    <a:lnTo>
                      <a:pt x="16" y="7"/>
                    </a:lnTo>
                    <a:lnTo>
                      <a:pt x="17" y="7"/>
                    </a:lnTo>
                    <a:lnTo>
                      <a:pt x="19" y="7"/>
                    </a:lnTo>
                    <a:lnTo>
                      <a:pt x="22" y="6"/>
                    </a:lnTo>
                    <a:lnTo>
                      <a:pt x="23" y="5"/>
                    </a:lnTo>
                    <a:lnTo>
                      <a:pt x="24" y="6"/>
                    </a:lnTo>
                    <a:lnTo>
                      <a:pt x="24" y="7"/>
                    </a:lnTo>
                    <a:lnTo>
                      <a:pt x="23" y="9"/>
                    </a:lnTo>
                    <a:lnTo>
                      <a:pt x="23" y="9"/>
                    </a:lnTo>
                    <a:lnTo>
                      <a:pt x="23" y="7"/>
                    </a:lnTo>
                    <a:lnTo>
                      <a:pt x="22" y="7"/>
                    </a:lnTo>
                    <a:lnTo>
                      <a:pt x="22" y="13"/>
                    </a:lnTo>
                    <a:lnTo>
                      <a:pt x="19" y="16"/>
                    </a:lnTo>
                    <a:lnTo>
                      <a:pt x="19" y="16"/>
                    </a:lnTo>
                    <a:lnTo>
                      <a:pt x="17" y="19"/>
                    </a:lnTo>
                    <a:lnTo>
                      <a:pt x="16" y="19"/>
                    </a:lnTo>
                    <a:lnTo>
                      <a:pt x="14" y="26"/>
                    </a:lnTo>
                    <a:lnTo>
                      <a:pt x="6" y="31"/>
                    </a:lnTo>
                    <a:lnTo>
                      <a:pt x="4" y="32"/>
                    </a:lnTo>
                    <a:lnTo>
                      <a:pt x="3" y="32"/>
                    </a:lnTo>
                    <a:lnTo>
                      <a:pt x="3" y="35"/>
                    </a:lnTo>
                    <a:lnTo>
                      <a:pt x="0" y="31"/>
                    </a:lnTo>
                    <a:lnTo>
                      <a:pt x="0" y="29"/>
                    </a:lnTo>
                    <a:lnTo>
                      <a:pt x="1" y="29"/>
                    </a:lnTo>
                    <a:lnTo>
                      <a:pt x="1" y="28"/>
                    </a:lnTo>
                    <a:lnTo>
                      <a:pt x="1" y="28"/>
                    </a:lnTo>
                    <a:lnTo>
                      <a:pt x="3" y="23"/>
                    </a:lnTo>
                    <a:lnTo>
                      <a:pt x="3" y="23"/>
                    </a:lnTo>
                    <a:lnTo>
                      <a:pt x="7" y="22"/>
                    </a:lnTo>
                    <a:lnTo>
                      <a:pt x="7" y="22"/>
                    </a:lnTo>
                    <a:lnTo>
                      <a:pt x="7" y="21"/>
                    </a:lnTo>
                    <a:lnTo>
                      <a:pt x="8" y="21"/>
                    </a:lnTo>
                    <a:lnTo>
                      <a:pt x="11" y="12"/>
                    </a:lnTo>
                    <a:lnTo>
                      <a:pt x="11" y="13"/>
                    </a:lnTo>
                    <a:lnTo>
                      <a:pt x="13" y="12"/>
                    </a:lnTo>
                    <a:lnTo>
                      <a:pt x="14"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10" name="Freeform 1634"/>
              <p:cNvSpPr>
                <a:spLocks/>
              </p:cNvSpPr>
              <p:nvPr/>
            </p:nvSpPr>
            <p:spPr bwMode="auto">
              <a:xfrm>
                <a:off x="6586838" y="3209721"/>
                <a:ext cx="11411" cy="30424"/>
              </a:xfrm>
              <a:custGeom>
                <a:avLst/>
                <a:gdLst/>
                <a:ahLst/>
                <a:cxnLst>
                  <a:cxn ang="0">
                    <a:pos x="3" y="0"/>
                  </a:cxn>
                  <a:cxn ang="0">
                    <a:pos x="6" y="4"/>
                  </a:cxn>
                  <a:cxn ang="0">
                    <a:pos x="6" y="7"/>
                  </a:cxn>
                  <a:cxn ang="0">
                    <a:pos x="7" y="10"/>
                  </a:cxn>
                  <a:cxn ang="0">
                    <a:pos x="6" y="11"/>
                  </a:cxn>
                  <a:cxn ang="0">
                    <a:pos x="7" y="20"/>
                  </a:cxn>
                  <a:cxn ang="0">
                    <a:pos x="12" y="26"/>
                  </a:cxn>
                  <a:cxn ang="0">
                    <a:pos x="12" y="30"/>
                  </a:cxn>
                  <a:cxn ang="0">
                    <a:pos x="10" y="30"/>
                  </a:cxn>
                  <a:cxn ang="0">
                    <a:pos x="9" y="24"/>
                  </a:cxn>
                  <a:cxn ang="0">
                    <a:pos x="3" y="20"/>
                  </a:cxn>
                  <a:cxn ang="0">
                    <a:pos x="0" y="8"/>
                  </a:cxn>
                  <a:cxn ang="0">
                    <a:pos x="2" y="1"/>
                  </a:cxn>
                  <a:cxn ang="0">
                    <a:pos x="3" y="0"/>
                  </a:cxn>
                </a:cxnLst>
                <a:rect l="0" t="0" r="r" b="b"/>
                <a:pathLst>
                  <a:path w="12" h="30">
                    <a:moveTo>
                      <a:pt x="3" y="0"/>
                    </a:moveTo>
                    <a:lnTo>
                      <a:pt x="6" y="4"/>
                    </a:lnTo>
                    <a:lnTo>
                      <a:pt x="6" y="7"/>
                    </a:lnTo>
                    <a:lnTo>
                      <a:pt x="7" y="10"/>
                    </a:lnTo>
                    <a:lnTo>
                      <a:pt x="6" y="11"/>
                    </a:lnTo>
                    <a:lnTo>
                      <a:pt x="7" y="20"/>
                    </a:lnTo>
                    <a:lnTo>
                      <a:pt x="12" y="26"/>
                    </a:lnTo>
                    <a:lnTo>
                      <a:pt x="12" y="30"/>
                    </a:lnTo>
                    <a:lnTo>
                      <a:pt x="10" y="30"/>
                    </a:lnTo>
                    <a:lnTo>
                      <a:pt x="9" y="24"/>
                    </a:lnTo>
                    <a:lnTo>
                      <a:pt x="3" y="20"/>
                    </a:lnTo>
                    <a:lnTo>
                      <a:pt x="0" y="8"/>
                    </a:lnTo>
                    <a:lnTo>
                      <a:pt x="2" y="1"/>
                    </a:lnTo>
                    <a:lnTo>
                      <a:pt x="3"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11" name="Freeform 1635"/>
              <p:cNvSpPr>
                <a:spLocks/>
              </p:cNvSpPr>
              <p:nvPr/>
            </p:nvSpPr>
            <p:spPr bwMode="auto">
              <a:xfrm>
                <a:off x="6586838" y="3209721"/>
                <a:ext cx="11411" cy="30424"/>
              </a:xfrm>
              <a:custGeom>
                <a:avLst/>
                <a:gdLst/>
                <a:ahLst/>
                <a:cxnLst>
                  <a:cxn ang="0">
                    <a:pos x="3" y="0"/>
                  </a:cxn>
                  <a:cxn ang="0">
                    <a:pos x="6" y="4"/>
                  </a:cxn>
                  <a:cxn ang="0">
                    <a:pos x="6" y="7"/>
                  </a:cxn>
                  <a:cxn ang="0">
                    <a:pos x="7" y="10"/>
                  </a:cxn>
                  <a:cxn ang="0">
                    <a:pos x="6" y="11"/>
                  </a:cxn>
                  <a:cxn ang="0">
                    <a:pos x="7" y="20"/>
                  </a:cxn>
                  <a:cxn ang="0">
                    <a:pos x="12" y="26"/>
                  </a:cxn>
                  <a:cxn ang="0">
                    <a:pos x="12" y="30"/>
                  </a:cxn>
                  <a:cxn ang="0">
                    <a:pos x="10" y="30"/>
                  </a:cxn>
                  <a:cxn ang="0">
                    <a:pos x="9" y="24"/>
                  </a:cxn>
                  <a:cxn ang="0">
                    <a:pos x="3" y="20"/>
                  </a:cxn>
                  <a:cxn ang="0">
                    <a:pos x="0" y="8"/>
                  </a:cxn>
                  <a:cxn ang="0">
                    <a:pos x="2" y="1"/>
                  </a:cxn>
                  <a:cxn ang="0">
                    <a:pos x="3" y="0"/>
                  </a:cxn>
                </a:cxnLst>
                <a:rect l="0" t="0" r="r" b="b"/>
                <a:pathLst>
                  <a:path w="12" h="30">
                    <a:moveTo>
                      <a:pt x="3" y="0"/>
                    </a:moveTo>
                    <a:lnTo>
                      <a:pt x="6" y="4"/>
                    </a:lnTo>
                    <a:lnTo>
                      <a:pt x="6" y="7"/>
                    </a:lnTo>
                    <a:lnTo>
                      <a:pt x="7" y="10"/>
                    </a:lnTo>
                    <a:lnTo>
                      <a:pt x="6" y="11"/>
                    </a:lnTo>
                    <a:lnTo>
                      <a:pt x="7" y="20"/>
                    </a:lnTo>
                    <a:lnTo>
                      <a:pt x="12" y="26"/>
                    </a:lnTo>
                    <a:lnTo>
                      <a:pt x="12" y="30"/>
                    </a:lnTo>
                    <a:lnTo>
                      <a:pt x="10" y="30"/>
                    </a:lnTo>
                    <a:lnTo>
                      <a:pt x="9" y="24"/>
                    </a:lnTo>
                    <a:lnTo>
                      <a:pt x="3" y="20"/>
                    </a:lnTo>
                    <a:lnTo>
                      <a:pt x="0" y="8"/>
                    </a:lnTo>
                    <a:lnTo>
                      <a:pt x="2" y="1"/>
                    </a:lnTo>
                    <a:lnTo>
                      <a:pt x="3"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12" name="Freeform 1636"/>
              <p:cNvSpPr>
                <a:spLocks/>
              </p:cNvSpPr>
              <p:nvPr/>
            </p:nvSpPr>
            <p:spPr bwMode="auto">
              <a:xfrm>
                <a:off x="6878267" y="2491715"/>
                <a:ext cx="46523" cy="67947"/>
              </a:xfrm>
              <a:custGeom>
                <a:avLst/>
                <a:gdLst/>
                <a:ahLst/>
                <a:cxnLst>
                  <a:cxn ang="0">
                    <a:pos x="26" y="65"/>
                  </a:cxn>
                  <a:cxn ang="0">
                    <a:pos x="32" y="62"/>
                  </a:cxn>
                  <a:cxn ang="0">
                    <a:pos x="33" y="61"/>
                  </a:cxn>
                  <a:cxn ang="0">
                    <a:pos x="35" y="59"/>
                  </a:cxn>
                  <a:cxn ang="0">
                    <a:pos x="36" y="55"/>
                  </a:cxn>
                  <a:cxn ang="0">
                    <a:pos x="38" y="52"/>
                  </a:cxn>
                  <a:cxn ang="0">
                    <a:pos x="40" y="49"/>
                  </a:cxn>
                  <a:cxn ang="0">
                    <a:pos x="43" y="43"/>
                  </a:cxn>
                  <a:cxn ang="0">
                    <a:pos x="48" y="42"/>
                  </a:cxn>
                  <a:cxn ang="0">
                    <a:pos x="49" y="40"/>
                  </a:cxn>
                  <a:cxn ang="0">
                    <a:pos x="51" y="36"/>
                  </a:cxn>
                  <a:cxn ang="0">
                    <a:pos x="46" y="27"/>
                  </a:cxn>
                  <a:cxn ang="0">
                    <a:pos x="45" y="26"/>
                  </a:cxn>
                  <a:cxn ang="0">
                    <a:pos x="42" y="23"/>
                  </a:cxn>
                  <a:cxn ang="0">
                    <a:pos x="40" y="20"/>
                  </a:cxn>
                  <a:cxn ang="0">
                    <a:pos x="40" y="16"/>
                  </a:cxn>
                  <a:cxn ang="0">
                    <a:pos x="40" y="14"/>
                  </a:cxn>
                  <a:cxn ang="0">
                    <a:pos x="49" y="1"/>
                  </a:cxn>
                  <a:cxn ang="0">
                    <a:pos x="49" y="0"/>
                  </a:cxn>
                  <a:cxn ang="0">
                    <a:pos x="46" y="0"/>
                  </a:cxn>
                  <a:cxn ang="0">
                    <a:pos x="39" y="6"/>
                  </a:cxn>
                  <a:cxn ang="0">
                    <a:pos x="38" y="1"/>
                  </a:cxn>
                  <a:cxn ang="0">
                    <a:pos x="35" y="1"/>
                  </a:cxn>
                  <a:cxn ang="0">
                    <a:pos x="35" y="6"/>
                  </a:cxn>
                  <a:cxn ang="0">
                    <a:pos x="33" y="6"/>
                  </a:cxn>
                  <a:cxn ang="0">
                    <a:pos x="30" y="3"/>
                  </a:cxn>
                  <a:cxn ang="0">
                    <a:pos x="29" y="7"/>
                  </a:cxn>
                  <a:cxn ang="0">
                    <a:pos x="29" y="9"/>
                  </a:cxn>
                  <a:cxn ang="0">
                    <a:pos x="30" y="10"/>
                  </a:cxn>
                  <a:cxn ang="0">
                    <a:pos x="38" y="10"/>
                  </a:cxn>
                  <a:cxn ang="0">
                    <a:pos x="38" y="13"/>
                  </a:cxn>
                  <a:cxn ang="0">
                    <a:pos x="33" y="14"/>
                  </a:cxn>
                  <a:cxn ang="0">
                    <a:pos x="33" y="13"/>
                  </a:cxn>
                  <a:cxn ang="0">
                    <a:pos x="30" y="11"/>
                  </a:cxn>
                  <a:cxn ang="0">
                    <a:pos x="29" y="13"/>
                  </a:cxn>
                  <a:cxn ang="0">
                    <a:pos x="26" y="13"/>
                  </a:cxn>
                  <a:cxn ang="0">
                    <a:pos x="24" y="10"/>
                  </a:cxn>
                  <a:cxn ang="0">
                    <a:pos x="23" y="9"/>
                  </a:cxn>
                  <a:cxn ang="0">
                    <a:pos x="22" y="10"/>
                  </a:cxn>
                  <a:cxn ang="0">
                    <a:pos x="22" y="16"/>
                  </a:cxn>
                  <a:cxn ang="0">
                    <a:pos x="20" y="19"/>
                  </a:cxn>
                  <a:cxn ang="0">
                    <a:pos x="17" y="20"/>
                  </a:cxn>
                  <a:cxn ang="0">
                    <a:pos x="17" y="17"/>
                  </a:cxn>
                  <a:cxn ang="0">
                    <a:pos x="17" y="16"/>
                  </a:cxn>
                  <a:cxn ang="0">
                    <a:pos x="10" y="19"/>
                  </a:cxn>
                  <a:cxn ang="0">
                    <a:pos x="6" y="30"/>
                  </a:cxn>
                  <a:cxn ang="0">
                    <a:pos x="1" y="36"/>
                  </a:cxn>
                  <a:cxn ang="0">
                    <a:pos x="0" y="40"/>
                  </a:cxn>
                  <a:cxn ang="0">
                    <a:pos x="1" y="43"/>
                  </a:cxn>
                  <a:cxn ang="0">
                    <a:pos x="1" y="46"/>
                  </a:cxn>
                  <a:cxn ang="0">
                    <a:pos x="4" y="61"/>
                  </a:cxn>
                  <a:cxn ang="0">
                    <a:pos x="6" y="62"/>
                  </a:cxn>
                  <a:cxn ang="0">
                    <a:pos x="7" y="61"/>
                  </a:cxn>
                  <a:cxn ang="0">
                    <a:pos x="10" y="61"/>
                  </a:cxn>
                  <a:cxn ang="0">
                    <a:pos x="14" y="62"/>
                  </a:cxn>
                  <a:cxn ang="0">
                    <a:pos x="17" y="61"/>
                  </a:cxn>
                  <a:cxn ang="0">
                    <a:pos x="20" y="62"/>
                  </a:cxn>
                  <a:cxn ang="0">
                    <a:pos x="23" y="64"/>
                  </a:cxn>
                  <a:cxn ang="0">
                    <a:pos x="26" y="65"/>
                  </a:cxn>
                </a:cxnLst>
                <a:rect l="0" t="0" r="r" b="b"/>
                <a:pathLst>
                  <a:path w="51" h="65">
                    <a:moveTo>
                      <a:pt x="26" y="65"/>
                    </a:moveTo>
                    <a:lnTo>
                      <a:pt x="32" y="62"/>
                    </a:lnTo>
                    <a:lnTo>
                      <a:pt x="33" y="61"/>
                    </a:lnTo>
                    <a:lnTo>
                      <a:pt x="35" y="59"/>
                    </a:lnTo>
                    <a:lnTo>
                      <a:pt x="36" y="55"/>
                    </a:lnTo>
                    <a:lnTo>
                      <a:pt x="38" y="52"/>
                    </a:lnTo>
                    <a:lnTo>
                      <a:pt x="40" y="49"/>
                    </a:lnTo>
                    <a:lnTo>
                      <a:pt x="43" y="43"/>
                    </a:lnTo>
                    <a:lnTo>
                      <a:pt x="48" y="42"/>
                    </a:lnTo>
                    <a:lnTo>
                      <a:pt x="49" y="40"/>
                    </a:lnTo>
                    <a:lnTo>
                      <a:pt x="51" y="36"/>
                    </a:lnTo>
                    <a:lnTo>
                      <a:pt x="46" y="27"/>
                    </a:lnTo>
                    <a:lnTo>
                      <a:pt x="45" y="26"/>
                    </a:lnTo>
                    <a:lnTo>
                      <a:pt x="42" y="23"/>
                    </a:lnTo>
                    <a:lnTo>
                      <a:pt x="40" y="20"/>
                    </a:lnTo>
                    <a:lnTo>
                      <a:pt x="40" y="16"/>
                    </a:lnTo>
                    <a:lnTo>
                      <a:pt x="40" y="14"/>
                    </a:lnTo>
                    <a:lnTo>
                      <a:pt x="49" y="1"/>
                    </a:lnTo>
                    <a:lnTo>
                      <a:pt x="49" y="0"/>
                    </a:lnTo>
                    <a:lnTo>
                      <a:pt x="46" y="0"/>
                    </a:lnTo>
                    <a:lnTo>
                      <a:pt x="39" y="6"/>
                    </a:lnTo>
                    <a:lnTo>
                      <a:pt x="38" y="1"/>
                    </a:lnTo>
                    <a:lnTo>
                      <a:pt x="35" y="1"/>
                    </a:lnTo>
                    <a:lnTo>
                      <a:pt x="35" y="6"/>
                    </a:lnTo>
                    <a:lnTo>
                      <a:pt x="33" y="6"/>
                    </a:lnTo>
                    <a:lnTo>
                      <a:pt x="30" y="3"/>
                    </a:lnTo>
                    <a:lnTo>
                      <a:pt x="29" y="7"/>
                    </a:lnTo>
                    <a:lnTo>
                      <a:pt x="29" y="9"/>
                    </a:lnTo>
                    <a:lnTo>
                      <a:pt x="30" y="10"/>
                    </a:lnTo>
                    <a:lnTo>
                      <a:pt x="38" y="10"/>
                    </a:lnTo>
                    <a:lnTo>
                      <a:pt x="38" y="13"/>
                    </a:lnTo>
                    <a:lnTo>
                      <a:pt x="33" y="14"/>
                    </a:lnTo>
                    <a:lnTo>
                      <a:pt x="33" y="13"/>
                    </a:lnTo>
                    <a:lnTo>
                      <a:pt x="30" y="11"/>
                    </a:lnTo>
                    <a:lnTo>
                      <a:pt x="29" y="13"/>
                    </a:lnTo>
                    <a:lnTo>
                      <a:pt x="26" y="13"/>
                    </a:lnTo>
                    <a:lnTo>
                      <a:pt x="24" y="10"/>
                    </a:lnTo>
                    <a:lnTo>
                      <a:pt x="23" y="9"/>
                    </a:lnTo>
                    <a:lnTo>
                      <a:pt x="22" y="10"/>
                    </a:lnTo>
                    <a:lnTo>
                      <a:pt x="22" y="16"/>
                    </a:lnTo>
                    <a:lnTo>
                      <a:pt x="20" y="19"/>
                    </a:lnTo>
                    <a:lnTo>
                      <a:pt x="17" y="20"/>
                    </a:lnTo>
                    <a:lnTo>
                      <a:pt x="17" y="17"/>
                    </a:lnTo>
                    <a:lnTo>
                      <a:pt x="17" y="16"/>
                    </a:lnTo>
                    <a:lnTo>
                      <a:pt x="10" y="19"/>
                    </a:lnTo>
                    <a:lnTo>
                      <a:pt x="6" y="30"/>
                    </a:lnTo>
                    <a:lnTo>
                      <a:pt x="1" y="36"/>
                    </a:lnTo>
                    <a:lnTo>
                      <a:pt x="0" y="40"/>
                    </a:lnTo>
                    <a:lnTo>
                      <a:pt x="1" y="43"/>
                    </a:lnTo>
                    <a:lnTo>
                      <a:pt x="1" y="46"/>
                    </a:lnTo>
                    <a:lnTo>
                      <a:pt x="4" y="61"/>
                    </a:lnTo>
                    <a:lnTo>
                      <a:pt x="6" y="62"/>
                    </a:lnTo>
                    <a:lnTo>
                      <a:pt x="7" y="61"/>
                    </a:lnTo>
                    <a:lnTo>
                      <a:pt x="10" y="61"/>
                    </a:lnTo>
                    <a:lnTo>
                      <a:pt x="14" y="62"/>
                    </a:lnTo>
                    <a:lnTo>
                      <a:pt x="17" y="61"/>
                    </a:lnTo>
                    <a:lnTo>
                      <a:pt x="20" y="62"/>
                    </a:lnTo>
                    <a:lnTo>
                      <a:pt x="23" y="64"/>
                    </a:lnTo>
                    <a:lnTo>
                      <a:pt x="26" y="6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13" name="Freeform 1637"/>
              <p:cNvSpPr>
                <a:spLocks/>
              </p:cNvSpPr>
              <p:nvPr/>
            </p:nvSpPr>
            <p:spPr bwMode="auto">
              <a:xfrm>
                <a:off x="6878267" y="2491715"/>
                <a:ext cx="46523" cy="67947"/>
              </a:xfrm>
              <a:custGeom>
                <a:avLst/>
                <a:gdLst/>
                <a:ahLst/>
                <a:cxnLst>
                  <a:cxn ang="0">
                    <a:pos x="26" y="65"/>
                  </a:cxn>
                  <a:cxn ang="0">
                    <a:pos x="32" y="62"/>
                  </a:cxn>
                  <a:cxn ang="0">
                    <a:pos x="33" y="61"/>
                  </a:cxn>
                  <a:cxn ang="0">
                    <a:pos x="35" y="59"/>
                  </a:cxn>
                  <a:cxn ang="0">
                    <a:pos x="36" y="55"/>
                  </a:cxn>
                  <a:cxn ang="0">
                    <a:pos x="38" y="52"/>
                  </a:cxn>
                  <a:cxn ang="0">
                    <a:pos x="40" y="49"/>
                  </a:cxn>
                  <a:cxn ang="0">
                    <a:pos x="43" y="43"/>
                  </a:cxn>
                  <a:cxn ang="0">
                    <a:pos x="48" y="42"/>
                  </a:cxn>
                  <a:cxn ang="0">
                    <a:pos x="49" y="40"/>
                  </a:cxn>
                  <a:cxn ang="0">
                    <a:pos x="51" y="36"/>
                  </a:cxn>
                  <a:cxn ang="0">
                    <a:pos x="46" y="27"/>
                  </a:cxn>
                  <a:cxn ang="0">
                    <a:pos x="45" y="26"/>
                  </a:cxn>
                  <a:cxn ang="0">
                    <a:pos x="42" y="23"/>
                  </a:cxn>
                  <a:cxn ang="0">
                    <a:pos x="40" y="20"/>
                  </a:cxn>
                  <a:cxn ang="0">
                    <a:pos x="40" y="16"/>
                  </a:cxn>
                  <a:cxn ang="0">
                    <a:pos x="40" y="14"/>
                  </a:cxn>
                  <a:cxn ang="0">
                    <a:pos x="49" y="1"/>
                  </a:cxn>
                  <a:cxn ang="0">
                    <a:pos x="49" y="0"/>
                  </a:cxn>
                  <a:cxn ang="0">
                    <a:pos x="46" y="0"/>
                  </a:cxn>
                  <a:cxn ang="0">
                    <a:pos x="39" y="6"/>
                  </a:cxn>
                  <a:cxn ang="0">
                    <a:pos x="38" y="1"/>
                  </a:cxn>
                  <a:cxn ang="0">
                    <a:pos x="35" y="1"/>
                  </a:cxn>
                  <a:cxn ang="0">
                    <a:pos x="35" y="6"/>
                  </a:cxn>
                  <a:cxn ang="0">
                    <a:pos x="33" y="6"/>
                  </a:cxn>
                  <a:cxn ang="0">
                    <a:pos x="30" y="3"/>
                  </a:cxn>
                  <a:cxn ang="0">
                    <a:pos x="29" y="7"/>
                  </a:cxn>
                  <a:cxn ang="0">
                    <a:pos x="29" y="9"/>
                  </a:cxn>
                  <a:cxn ang="0">
                    <a:pos x="30" y="10"/>
                  </a:cxn>
                  <a:cxn ang="0">
                    <a:pos x="38" y="10"/>
                  </a:cxn>
                  <a:cxn ang="0">
                    <a:pos x="38" y="13"/>
                  </a:cxn>
                  <a:cxn ang="0">
                    <a:pos x="33" y="14"/>
                  </a:cxn>
                  <a:cxn ang="0">
                    <a:pos x="33" y="13"/>
                  </a:cxn>
                  <a:cxn ang="0">
                    <a:pos x="30" y="11"/>
                  </a:cxn>
                  <a:cxn ang="0">
                    <a:pos x="29" y="13"/>
                  </a:cxn>
                  <a:cxn ang="0">
                    <a:pos x="26" y="13"/>
                  </a:cxn>
                  <a:cxn ang="0">
                    <a:pos x="24" y="10"/>
                  </a:cxn>
                  <a:cxn ang="0">
                    <a:pos x="23" y="9"/>
                  </a:cxn>
                  <a:cxn ang="0">
                    <a:pos x="22" y="10"/>
                  </a:cxn>
                  <a:cxn ang="0">
                    <a:pos x="22" y="16"/>
                  </a:cxn>
                  <a:cxn ang="0">
                    <a:pos x="20" y="19"/>
                  </a:cxn>
                  <a:cxn ang="0">
                    <a:pos x="17" y="20"/>
                  </a:cxn>
                  <a:cxn ang="0">
                    <a:pos x="17" y="17"/>
                  </a:cxn>
                  <a:cxn ang="0">
                    <a:pos x="17" y="16"/>
                  </a:cxn>
                  <a:cxn ang="0">
                    <a:pos x="10" y="19"/>
                  </a:cxn>
                  <a:cxn ang="0">
                    <a:pos x="6" y="30"/>
                  </a:cxn>
                  <a:cxn ang="0">
                    <a:pos x="1" y="36"/>
                  </a:cxn>
                  <a:cxn ang="0">
                    <a:pos x="0" y="40"/>
                  </a:cxn>
                  <a:cxn ang="0">
                    <a:pos x="1" y="43"/>
                  </a:cxn>
                  <a:cxn ang="0">
                    <a:pos x="1" y="46"/>
                  </a:cxn>
                  <a:cxn ang="0">
                    <a:pos x="4" y="61"/>
                  </a:cxn>
                  <a:cxn ang="0">
                    <a:pos x="6" y="62"/>
                  </a:cxn>
                  <a:cxn ang="0">
                    <a:pos x="7" y="61"/>
                  </a:cxn>
                  <a:cxn ang="0">
                    <a:pos x="10" y="61"/>
                  </a:cxn>
                  <a:cxn ang="0">
                    <a:pos x="14" y="62"/>
                  </a:cxn>
                  <a:cxn ang="0">
                    <a:pos x="17" y="61"/>
                  </a:cxn>
                  <a:cxn ang="0">
                    <a:pos x="20" y="62"/>
                  </a:cxn>
                  <a:cxn ang="0">
                    <a:pos x="23" y="64"/>
                  </a:cxn>
                  <a:cxn ang="0">
                    <a:pos x="26" y="65"/>
                  </a:cxn>
                </a:cxnLst>
                <a:rect l="0" t="0" r="r" b="b"/>
                <a:pathLst>
                  <a:path w="51" h="65">
                    <a:moveTo>
                      <a:pt x="26" y="65"/>
                    </a:moveTo>
                    <a:lnTo>
                      <a:pt x="32" y="62"/>
                    </a:lnTo>
                    <a:lnTo>
                      <a:pt x="33" y="61"/>
                    </a:lnTo>
                    <a:lnTo>
                      <a:pt x="35" y="59"/>
                    </a:lnTo>
                    <a:lnTo>
                      <a:pt x="36" y="55"/>
                    </a:lnTo>
                    <a:lnTo>
                      <a:pt x="38" y="52"/>
                    </a:lnTo>
                    <a:lnTo>
                      <a:pt x="40" y="49"/>
                    </a:lnTo>
                    <a:lnTo>
                      <a:pt x="43" y="43"/>
                    </a:lnTo>
                    <a:lnTo>
                      <a:pt x="48" y="42"/>
                    </a:lnTo>
                    <a:lnTo>
                      <a:pt x="49" y="40"/>
                    </a:lnTo>
                    <a:lnTo>
                      <a:pt x="51" y="36"/>
                    </a:lnTo>
                    <a:lnTo>
                      <a:pt x="46" y="27"/>
                    </a:lnTo>
                    <a:lnTo>
                      <a:pt x="45" y="26"/>
                    </a:lnTo>
                    <a:lnTo>
                      <a:pt x="42" y="23"/>
                    </a:lnTo>
                    <a:lnTo>
                      <a:pt x="40" y="20"/>
                    </a:lnTo>
                    <a:lnTo>
                      <a:pt x="40" y="16"/>
                    </a:lnTo>
                    <a:lnTo>
                      <a:pt x="40" y="14"/>
                    </a:lnTo>
                    <a:lnTo>
                      <a:pt x="49" y="1"/>
                    </a:lnTo>
                    <a:lnTo>
                      <a:pt x="49" y="0"/>
                    </a:lnTo>
                    <a:lnTo>
                      <a:pt x="46" y="0"/>
                    </a:lnTo>
                    <a:lnTo>
                      <a:pt x="39" y="6"/>
                    </a:lnTo>
                    <a:lnTo>
                      <a:pt x="38" y="1"/>
                    </a:lnTo>
                    <a:lnTo>
                      <a:pt x="35" y="1"/>
                    </a:lnTo>
                    <a:lnTo>
                      <a:pt x="35" y="6"/>
                    </a:lnTo>
                    <a:lnTo>
                      <a:pt x="33" y="6"/>
                    </a:lnTo>
                    <a:lnTo>
                      <a:pt x="30" y="3"/>
                    </a:lnTo>
                    <a:lnTo>
                      <a:pt x="29" y="7"/>
                    </a:lnTo>
                    <a:lnTo>
                      <a:pt x="29" y="9"/>
                    </a:lnTo>
                    <a:lnTo>
                      <a:pt x="30" y="10"/>
                    </a:lnTo>
                    <a:lnTo>
                      <a:pt x="38" y="10"/>
                    </a:lnTo>
                    <a:lnTo>
                      <a:pt x="38" y="13"/>
                    </a:lnTo>
                    <a:lnTo>
                      <a:pt x="33" y="14"/>
                    </a:lnTo>
                    <a:lnTo>
                      <a:pt x="33" y="13"/>
                    </a:lnTo>
                    <a:lnTo>
                      <a:pt x="30" y="11"/>
                    </a:lnTo>
                    <a:lnTo>
                      <a:pt x="29" y="13"/>
                    </a:lnTo>
                    <a:lnTo>
                      <a:pt x="26" y="13"/>
                    </a:lnTo>
                    <a:lnTo>
                      <a:pt x="24" y="10"/>
                    </a:lnTo>
                    <a:lnTo>
                      <a:pt x="23" y="9"/>
                    </a:lnTo>
                    <a:lnTo>
                      <a:pt x="22" y="10"/>
                    </a:lnTo>
                    <a:lnTo>
                      <a:pt x="22" y="16"/>
                    </a:lnTo>
                    <a:lnTo>
                      <a:pt x="20" y="19"/>
                    </a:lnTo>
                    <a:lnTo>
                      <a:pt x="17" y="20"/>
                    </a:lnTo>
                    <a:lnTo>
                      <a:pt x="17" y="17"/>
                    </a:lnTo>
                    <a:lnTo>
                      <a:pt x="17" y="16"/>
                    </a:lnTo>
                    <a:lnTo>
                      <a:pt x="10" y="19"/>
                    </a:lnTo>
                    <a:lnTo>
                      <a:pt x="6" y="30"/>
                    </a:lnTo>
                    <a:lnTo>
                      <a:pt x="1" y="36"/>
                    </a:lnTo>
                    <a:lnTo>
                      <a:pt x="0" y="40"/>
                    </a:lnTo>
                    <a:lnTo>
                      <a:pt x="1" y="43"/>
                    </a:lnTo>
                    <a:lnTo>
                      <a:pt x="1" y="46"/>
                    </a:lnTo>
                    <a:lnTo>
                      <a:pt x="4" y="61"/>
                    </a:lnTo>
                    <a:lnTo>
                      <a:pt x="6" y="62"/>
                    </a:lnTo>
                    <a:lnTo>
                      <a:pt x="7" y="61"/>
                    </a:lnTo>
                    <a:lnTo>
                      <a:pt x="10" y="61"/>
                    </a:lnTo>
                    <a:lnTo>
                      <a:pt x="14" y="62"/>
                    </a:lnTo>
                    <a:lnTo>
                      <a:pt x="17" y="61"/>
                    </a:lnTo>
                    <a:lnTo>
                      <a:pt x="20" y="62"/>
                    </a:lnTo>
                    <a:lnTo>
                      <a:pt x="23" y="64"/>
                    </a:lnTo>
                    <a:lnTo>
                      <a:pt x="26" y="65"/>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14" name="Freeform 1638"/>
              <p:cNvSpPr>
                <a:spLocks/>
              </p:cNvSpPr>
              <p:nvPr/>
            </p:nvSpPr>
            <p:spPr bwMode="auto">
              <a:xfrm>
                <a:off x="7075772" y="2491715"/>
                <a:ext cx="74613" cy="41579"/>
              </a:xfrm>
              <a:custGeom>
                <a:avLst/>
                <a:gdLst/>
                <a:ahLst/>
                <a:cxnLst>
                  <a:cxn ang="0">
                    <a:pos x="22" y="0"/>
                  </a:cxn>
                  <a:cxn ang="0">
                    <a:pos x="26" y="1"/>
                  </a:cxn>
                  <a:cxn ang="0">
                    <a:pos x="33" y="0"/>
                  </a:cxn>
                  <a:cxn ang="0">
                    <a:pos x="55" y="4"/>
                  </a:cxn>
                  <a:cxn ang="0">
                    <a:pos x="64" y="3"/>
                  </a:cxn>
                  <a:cxn ang="0">
                    <a:pos x="68" y="6"/>
                  </a:cxn>
                  <a:cxn ang="0">
                    <a:pos x="74" y="1"/>
                  </a:cxn>
                  <a:cxn ang="0">
                    <a:pos x="77" y="0"/>
                  </a:cxn>
                  <a:cxn ang="0">
                    <a:pos x="80" y="0"/>
                  </a:cxn>
                  <a:cxn ang="0">
                    <a:pos x="81" y="1"/>
                  </a:cxn>
                  <a:cxn ang="0">
                    <a:pos x="81" y="6"/>
                  </a:cxn>
                  <a:cxn ang="0">
                    <a:pos x="78" y="9"/>
                  </a:cxn>
                  <a:cxn ang="0">
                    <a:pos x="76" y="9"/>
                  </a:cxn>
                  <a:cxn ang="0">
                    <a:pos x="74" y="7"/>
                  </a:cxn>
                  <a:cxn ang="0">
                    <a:pos x="71" y="9"/>
                  </a:cxn>
                  <a:cxn ang="0">
                    <a:pos x="65" y="10"/>
                  </a:cxn>
                  <a:cxn ang="0">
                    <a:pos x="57" y="7"/>
                  </a:cxn>
                  <a:cxn ang="0">
                    <a:pos x="32" y="6"/>
                  </a:cxn>
                  <a:cxn ang="0">
                    <a:pos x="29" y="6"/>
                  </a:cxn>
                  <a:cxn ang="0">
                    <a:pos x="29" y="4"/>
                  </a:cxn>
                  <a:cxn ang="0">
                    <a:pos x="28" y="3"/>
                  </a:cxn>
                  <a:cxn ang="0">
                    <a:pos x="28" y="6"/>
                  </a:cxn>
                  <a:cxn ang="0">
                    <a:pos x="26" y="7"/>
                  </a:cxn>
                  <a:cxn ang="0">
                    <a:pos x="23" y="7"/>
                  </a:cxn>
                  <a:cxn ang="0">
                    <a:pos x="20" y="10"/>
                  </a:cxn>
                  <a:cxn ang="0">
                    <a:pos x="19" y="13"/>
                  </a:cxn>
                  <a:cxn ang="0">
                    <a:pos x="13" y="16"/>
                  </a:cxn>
                  <a:cxn ang="0">
                    <a:pos x="10" y="27"/>
                  </a:cxn>
                  <a:cxn ang="0">
                    <a:pos x="12" y="36"/>
                  </a:cxn>
                  <a:cxn ang="0">
                    <a:pos x="15" y="40"/>
                  </a:cxn>
                  <a:cxn ang="0">
                    <a:pos x="10" y="40"/>
                  </a:cxn>
                  <a:cxn ang="0">
                    <a:pos x="4" y="30"/>
                  </a:cxn>
                  <a:cxn ang="0">
                    <a:pos x="2" y="27"/>
                  </a:cxn>
                  <a:cxn ang="0">
                    <a:pos x="0" y="23"/>
                  </a:cxn>
                  <a:cxn ang="0">
                    <a:pos x="3" y="14"/>
                  </a:cxn>
                  <a:cxn ang="0">
                    <a:pos x="6" y="13"/>
                  </a:cxn>
                  <a:cxn ang="0">
                    <a:pos x="19" y="0"/>
                  </a:cxn>
                  <a:cxn ang="0">
                    <a:pos x="22" y="0"/>
                  </a:cxn>
                </a:cxnLst>
                <a:rect l="0" t="0" r="r" b="b"/>
                <a:pathLst>
                  <a:path w="81" h="40">
                    <a:moveTo>
                      <a:pt x="22" y="0"/>
                    </a:moveTo>
                    <a:lnTo>
                      <a:pt x="26" y="1"/>
                    </a:lnTo>
                    <a:lnTo>
                      <a:pt x="33" y="0"/>
                    </a:lnTo>
                    <a:lnTo>
                      <a:pt x="55" y="4"/>
                    </a:lnTo>
                    <a:lnTo>
                      <a:pt x="64" y="3"/>
                    </a:lnTo>
                    <a:lnTo>
                      <a:pt x="68" y="6"/>
                    </a:lnTo>
                    <a:lnTo>
                      <a:pt x="74" y="1"/>
                    </a:lnTo>
                    <a:lnTo>
                      <a:pt x="77" y="0"/>
                    </a:lnTo>
                    <a:lnTo>
                      <a:pt x="80" y="0"/>
                    </a:lnTo>
                    <a:lnTo>
                      <a:pt x="81" y="1"/>
                    </a:lnTo>
                    <a:lnTo>
                      <a:pt x="81" y="6"/>
                    </a:lnTo>
                    <a:lnTo>
                      <a:pt x="78" y="9"/>
                    </a:lnTo>
                    <a:lnTo>
                      <a:pt x="76" y="9"/>
                    </a:lnTo>
                    <a:lnTo>
                      <a:pt x="74" y="7"/>
                    </a:lnTo>
                    <a:lnTo>
                      <a:pt x="71" y="9"/>
                    </a:lnTo>
                    <a:lnTo>
                      <a:pt x="65" y="10"/>
                    </a:lnTo>
                    <a:lnTo>
                      <a:pt x="57" y="7"/>
                    </a:lnTo>
                    <a:lnTo>
                      <a:pt x="32" y="6"/>
                    </a:lnTo>
                    <a:lnTo>
                      <a:pt x="29" y="6"/>
                    </a:lnTo>
                    <a:lnTo>
                      <a:pt x="29" y="4"/>
                    </a:lnTo>
                    <a:lnTo>
                      <a:pt x="28" y="3"/>
                    </a:lnTo>
                    <a:lnTo>
                      <a:pt x="28" y="6"/>
                    </a:lnTo>
                    <a:lnTo>
                      <a:pt x="26" y="7"/>
                    </a:lnTo>
                    <a:lnTo>
                      <a:pt x="23" y="7"/>
                    </a:lnTo>
                    <a:lnTo>
                      <a:pt x="20" y="10"/>
                    </a:lnTo>
                    <a:lnTo>
                      <a:pt x="19" y="13"/>
                    </a:lnTo>
                    <a:lnTo>
                      <a:pt x="13" y="16"/>
                    </a:lnTo>
                    <a:lnTo>
                      <a:pt x="10" y="27"/>
                    </a:lnTo>
                    <a:lnTo>
                      <a:pt x="12" y="36"/>
                    </a:lnTo>
                    <a:lnTo>
                      <a:pt x="15" y="40"/>
                    </a:lnTo>
                    <a:lnTo>
                      <a:pt x="10" y="40"/>
                    </a:lnTo>
                    <a:lnTo>
                      <a:pt x="4" y="30"/>
                    </a:lnTo>
                    <a:lnTo>
                      <a:pt x="2" y="27"/>
                    </a:lnTo>
                    <a:lnTo>
                      <a:pt x="0" y="23"/>
                    </a:lnTo>
                    <a:lnTo>
                      <a:pt x="3" y="14"/>
                    </a:lnTo>
                    <a:lnTo>
                      <a:pt x="6" y="13"/>
                    </a:lnTo>
                    <a:lnTo>
                      <a:pt x="19" y="0"/>
                    </a:lnTo>
                    <a:lnTo>
                      <a:pt x="22"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15" name="Freeform 1639"/>
              <p:cNvSpPr>
                <a:spLocks/>
              </p:cNvSpPr>
              <p:nvPr/>
            </p:nvSpPr>
            <p:spPr bwMode="auto">
              <a:xfrm>
                <a:off x="7075772" y="2491715"/>
                <a:ext cx="74613" cy="41579"/>
              </a:xfrm>
              <a:custGeom>
                <a:avLst/>
                <a:gdLst/>
                <a:ahLst/>
                <a:cxnLst>
                  <a:cxn ang="0">
                    <a:pos x="22" y="0"/>
                  </a:cxn>
                  <a:cxn ang="0">
                    <a:pos x="26" y="1"/>
                  </a:cxn>
                  <a:cxn ang="0">
                    <a:pos x="33" y="0"/>
                  </a:cxn>
                  <a:cxn ang="0">
                    <a:pos x="55" y="4"/>
                  </a:cxn>
                  <a:cxn ang="0">
                    <a:pos x="64" y="3"/>
                  </a:cxn>
                  <a:cxn ang="0">
                    <a:pos x="68" y="6"/>
                  </a:cxn>
                  <a:cxn ang="0">
                    <a:pos x="74" y="1"/>
                  </a:cxn>
                  <a:cxn ang="0">
                    <a:pos x="77" y="0"/>
                  </a:cxn>
                  <a:cxn ang="0">
                    <a:pos x="80" y="0"/>
                  </a:cxn>
                  <a:cxn ang="0">
                    <a:pos x="81" y="1"/>
                  </a:cxn>
                  <a:cxn ang="0">
                    <a:pos x="81" y="6"/>
                  </a:cxn>
                  <a:cxn ang="0">
                    <a:pos x="78" y="9"/>
                  </a:cxn>
                  <a:cxn ang="0">
                    <a:pos x="76" y="9"/>
                  </a:cxn>
                  <a:cxn ang="0">
                    <a:pos x="74" y="7"/>
                  </a:cxn>
                  <a:cxn ang="0">
                    <a:pos x="71" y="9"/>
                  </a:cxn>
                  <a:cxn ang="0">
                    <a:pos x="65" y="10"/>
                  </a:cxn>
                  <a:cxn ang="0">
                    <a:pos x="57" y="7"/>
                  </a:cxn>
                  <a:cxn ang="0">
                    <a:pos x="32" y="6"/>
                  </a:cxn>
                  <a:cxn ang="0">
                    <a:pos x="29" y="6"/>
                  </a:cxn>
                  <a:cxn ang="0">
                    <a:pos x="29" y="4"/>
                  </a:cxn>
                  <a:cxn ang="0">
                    <a:pos x="28" y="3"/>
                  </a:cxn>
                  <a:cxn ang="0">
                    <a:pos x="28" y="6"/>
                  </a:cxn>
                  <a:cxn ang="0">
                    <a:pos x="26" y="7"/>
                  </a:cxn>
                  <a:cxn ang="0">
                    <a:pos x="23" y="7"/>
                  </a:cxn>
                  <a:cxn ang="0">
                    <a:pos x="20" y="10"/>
                  </a:cxn>
                  <a:cxn ang="0">
                    <a:pos x="19" y="13"/>
                  </a:cxn>
                  <a:cxn ang="0">
                    <a:pos x="13" y="16"/>
                  </a:cxn>
                  <a:cxn ang="0">
                    <a:pos x="10" y="27"/>
                  </a:cxn>
                  <a:cxn ang="0">
                    <a:pos x="12" y="36"/>
                  </a:cxn>
                  <a:cxn ang="0">
                    <a:pos x="15" y="40"/>
                  </a:cxn>
                  <a:cxn ang="0">
                    <a:pos x="10" y="40"/>
                  </a:cxn>
                  <a:cxn ang="0">
                    <a:pos x="4" y="30"/>
                  </a:cxn>
                  <a:cxn ang="0">
                    <a:pos x="2" y="27"/>
                  </a:cxn>
                  <a:cxn ang="0">
                    <a:pos x="0" y="23"/>
                  </a:cxn>
                  <a:cxn ang="0">
                    <a:pos x="3" y="14"/>
                  </a:cxn>
                  <a:cxn ang="0">
                    <a:pos x="6" y="13"/>
                  </a:cxn>
                  <a:cxn ang="0">
                    <a:pos x="19" y="0"/>
                  </a:cxn>
                  <a:cxn ang="0">
                    <a:pos x="22" y="0"/>
                  </a:cxn>
                </a:cxnLst>
                <a:rect l="0" t="0" r="r" b="b"/>
                <a:pathLst>
                  <a:path w="81" h="40">
                    <a:moveTo>
                      <a:pt x="22" y="0"/>
                    </a:moveTo>
                    <a:lnTo>
                      <a:pt x="26" y="1"/>
                    </a:lnTo>
                    <a:lnTo>
                      <a:pt x="33" y="0"/>
                    </a:lnTo>
                    <a:lnTo>
                      <a:pt x="55" y="4"/>
                    </a:lnTo>
                    <a:lnTo>
                      <a:pt x="64" y="3"/>
                    </a:lnTo>
                    <a:lnTo>
                      <a:pt x="68" y="6"/>
                    </a:lnTo>
                    <a:lnTo>
                      <a:pt x="74" y="1"/>
                    </a:lnTo>
                    <a:lnTo>
                      <a:pt x="77" y="0"/>
                    </a:lnTo>
                    <a:lnTo>
                      <a:pt x="80" y="0"/>
                    </a:lnTo>
                    <a:lnTo>
                      <a:pt x="81" y="1"/>
                    </a:lnTo>
                    <a:lnTo>
                      <a:pt x="81" y="6"/>
                    </a:lnTo>
                    <a:lnTo>
                      <a:pt x="78" y="9"/>
                    </a:lnTo>
                    <a:lnTo>
                      <a:pt x="76" y="9"/>
                    </a:lnTo>
                    <a:lnTo>
                      <a:pt x="74" y="7"/>
                    </a:lnTo>
                    <a:lnTo>
                      <a:pt x="71" y="9"/>
                    </a:lnTo>
                    <a:lnTo>
                      <a:pt x="65" y="10"/>
                    </a:lnTo>
                    <a:lnTo>
                      <a:pt x="57" y="7"/>
                    </a:lnTo>
                    <a:lnTo>
                      <a:pt x="32" y="6"/>
                    </a:lnTo>
                    <a:lnTo>
                      <a:pt x="29" y="6"/>
                    </a:lnTo>
                    <a:lnTo>
                      <a:pt x="29" y="4"/>
                    </a:lnTo>
                    <a:lnTo>
                      <a:pt x="28" y="3"/>
                    </a:lnTo>
                    <a:lnTo>
                      <a:pt x="28" y="6"/>
                    </a:lnTo>
                    <a:lnTo>
                      <a:pt x="26" y="7"/>
                    </a:lnTo>
                    <a:lnTo>
                      <a:pt x="23" y="7"/>
                    </a:lnTo>
                    <a:lnTo>
                      <a:pt x="20" y="10"/>
                    </a:lnTo>
                    <a:lnTo>
                      <a:pt x="19" y="13"/>
                    </a:lnTo>
                    <a:lnTo>
                      <a:pt x="13" y="16"/>
                    </a:lnTo>
                    <a:lnTo>
                      <a:pt x="10" y="27"/>
                    </a:lnTo>
                    <a:lnTo>
                      <a:pt x="12" y="36"/>
                    </a:lnTo>
                    <a:lnTo>
                      <a:pt x="15" y="40"/>
                    </a:lnTo>
                    <a:lnTo>
                      <a:pt x="10" y="40"/>
                    </a:lnTo>
                    <a:lnTo>
                      <a:pt x="4" y="30"/>
                    </a:lnTo>
                    <a:lnTo>
                      <a:pt x="2" y="27"/>
                    </a:lnTo>
                    <a:lnTo>
                      <a:pt x="0" y="23"/>
                    </a:lnTo>
                    <a:lnTo>
                      <a:pt x="3" y="14"/>
                    </a:lnTo>
                    <a:lnTo>
                      <a:pt x="6" y="13"/>
                    </a:lnTo>
                    <a:lnTo>
                      <a:pt x="19" y="0"/>
                    </a:lnTo>
                    <a:lnTo>
                      <a:pt x="22"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16" name="Freeform 1640"/>
              <p:cNvSpPr>
                <a:spLocks/>
              </p:cNvSpPr>
              <p:nvPr/>
            </p:nvSpPr>
            <p:spPr bwMode="auto">
              <a:xfrm>
                <a:off x="6510468" y="2108373"/>
                <a:ext cx="36868" cy="54763"/>
              </a:xfrm>
              <a:custGeom>
                <a:avLst/>
                <a:gdLst/>
                <a:ahLst/>
                <a:cxnLst>
                  <a:cxn ang="0">
                    <a:pos x="13" y="2"/>
                  </a:cxn>
                  <a:cxn ang="0">
                    <a:pos x="15" y="0"/>
                  </a:cxn>
                  <a:cxn ang="0">
                    <a:pos x="16" y="2"/>
                  </a:cxn>
                  <a:cxn ang="0">
                    <a:pos x="19" y="3"/>
                  </a:cxn>
                  <a:cxn ang="0">
                    <a:pos x="26" y="12"/>
                  </a:cxn>
                  <a:cxn ang="0">
                    <a:pos x="32" y="13"/>
                  </a:cxn>
                  <a:cxn ang="0">
                    <a:pos x="35" y="18"/>
                  </a:cxn>
                  <a:cxn ang="0">
                    <a:pos x="38" y="25"/>
                  </a:cxn>
                  <a:cxn ang="0">
                    <a:pos x="39" y="25"/>
                  </a:cxn>
                  <a:cxn ang="0">
                    <a:pos x="39" y="28"/>
                  </a:cxn>
                  <a:cxn ang="0">
                    <a:pos x="41" y="31"/>
                  </a:cxn>
                  <a:cxn ang="0">
                    <a:pos x="39" y="34"/>
                  </a:cxn>
                  <a:cxn ang="0">
                    <a:pos x="38" y="35"/>
                  </a:cxn>
                  <a:cxn ang="0">
                    <a:pos x="38" y="39"/>
                  </a:cxn>
                  <a:cxn ang="0">
                    <a:pos x="33" y="45"/>
                  </a:cxn>
                  <a:cxn ang="0">
                    <a:pos x="32" y="45"/>
                  </a:cxn>
                  <a:cxn ang="0">
                    <a:pos x="31" y="44"/>
                  </a:cxn>
                  <a:cxn ang="0">
                    <a:pos x="29" y="44"/>
                  </a:cxn>
                  <a:cxn ang="0">
                    <a:pos x="26" y="44"/>
                  </a:cxn>
                  <a:cxn ang="0">
                    <a:pos x="22" y="45"/>
                  </a:cxn>
                  <a:cxn ang="0">
                    <a:pos x="20" y="48"/>
                  </a:cxn>
                  <a:cxn ang="0">
                    <a:pos x="20" y="51"/>
                  </a:cxn>
                  <a:cxn ang="0">
                    <a:pos x="19" y="52"/>
                  </a:cxn>
                  <a:cxn ang="0">
                    <a:pos x="16" y="52"/>
                  </a:cxn>
                  <a:cxn ang="0">
                    <a:pos x="15" y="52"/>
                  </a:cxn>
                  <a:cxn ang="0">
                    <a:pos x="12" y="34"/>
                  </a:cxn>
                  <a:cxn ang="0">
                    <a:pos x="6" y="28"/>
                  </a:cxn>
                  <a:cxn ang="0">
                    <a:pos x="7" y="26"/>
                  </a:cxn>
                  <a:cxn ang="0">
                    <a:pos x="4" y="22"/>
                  </a:cxn>
                  <a:cxn ang="0">
                    <a:pos x="4" y="21"/>
                  </a:cxn>
                  <a:cxn ang="0">
                    <a:pos x="3" y="18"/>
                  </a:cxn>
                  <a:cxn ang="0">
                    <a:pos x="1" y="19"/>
                  </a:cxn>
                  <a:cxn ang="0">
                    <a:pos x="0" y="12"/>
                  </a:cxn>
                  <a:cxn ang="0">
                    <a:pos x="3" y="9"/>
                  </a:cxn>
                  <a:cxn ang="0">
                    <a:pos x="3" y="7"/>
                  </a:cxn>
                  <a:cxn ang="0">
                    <a:pos x="4" y="6"/>
                  </a:cxn>
                  <a:cxn ang="0">
                    <a:pos x="6" y="5"/>
                  </a:cxn>
                  <a:cxn ang="0">
                    <a:pos x="7" y="3"/>
                  </a:cxn>
                  <a:cxn ang="0">
                    <a:pos x="10" y="2"/>
                  </a:cxn>
                  <a:cxn ang="0">
                    <a:pos x="13" y="2"/>
                  </a:cxn>
                </a:cxnLst>
                <a:rect l="0" t="0" r="r" b="b"/>
                <a:pathLst>
                  <a:path w="41" h="52">
                    <a:moveTo>
                      <a:pt x="13" y="2"/>
                    </a:moveTo>
                    <a:lnTo>
                      <a:pt x="15" y="0"/>
                    </a:lnTo>
                    <a:lnTo>
                      <a:pt x="16" y="2"/>
                    </a:lnTo>
                    <a:lnTo>
                      <a:pt x="19" y="3"/>
                    </a:lnTo>
                    <a:lnTo>
                      <a:pt x="26" y="12"/>
                    </a:lnTo>
                    <a:lnTo>
                      <a:pt x="32" y="13"/>
                    </a:lnTo>
                    <a:lnTo>
                      <a:pt x="35" y="18"/>
                    </a:lnTo>
                    <a:lnTo>
                      <a:pt x="38" y="25"/>
                    </a:lnTo>
                    <a:lnTo>
                      <a:pt x="39" y="25"/>
                    </a:lnTo>
                    <a:lnTo>
                      <a:pt x="39" y="28"/>
                    </a:lnTo>
                    <a:lnTo>
                      <a:pt x="41" y="31"/>
                    </a:lnTo>
                    <a:lnTo>
                      <a:pt x="39" y="34"/>
                    </a:lnTo>
                    <a:lnTo>
                      <a:pt x="38" y="35"/>
                    </a:lnTo>
                    <a:lnTo>
                      <a:pt x="38" y="39"/>
                    </a:lnTo>
                    <a:lnTo>
                      <a:pt x="33" y="45"/>
                    </a:lnTo>
                    <a:lnTo>
                      <a:pt x="32" y="45"/>
                    </a:lnTo>
                    <a:lnTo>
                      <a:pt x="31" y="44"/>
                    </a:lnTo>
                    <a:lnTo>
                      <a:pt x="29" y="44"/>
                    </a:lnTo>
                    <a:lnTo>
                      <a:pt x="26" y="44"/>
                    </a:lnTo>
                    <a:lnTo>
                      <a:pt x="22" y="45"/>
                    </a:lnTo>
                    <a:lnTo>
                      <a:pt x="20" y="48"/>
                    </a:lnTo>
                    <a:lnTo>
                      <a:pt x="20" y="51"/>
                    </a:lnTo>
                    <a:lnTo>
                      <a:pt x="19" y="52"/>
                    </a:lnTo>
                    <a:lnTo>
                      <a:pt x="16" y="52"/>
                    </a:lnTo>
                    <a:lnTo>
                      <a:pt x="15" y="52"/>
                    </a:lnTo>
                    <a:lnTo>
                      <a:pt x="12" y="34"/>
                    </a:lnTo>
                    <a:lnTo>
                      <a:pt x="6" y="28"/>
                    </a:lnTo>
                    <a:lnTo>
                      <a:pt x="7" y="26"/>
                    </a:lnTo>
                    <a:lnTo>
                      <a:pt x="4" y="22"/>
                    </a:lnTo>
                    <a:lnTo>
                      <a:pt x="4" y="21"/>
                    </a:lnTo>
                    <a:lnTo>
                      <a:pt x="3" y="18"/>
                    </a:lnTo>
                    <a:lnTo>
                      <a:pt x="1" y="19"/>
                    </a:lnTo>
                    <a:lnTo>
                      <a:pt x="0" y="12"/>
                    </a:lnTo>
                    <a:lnTo>
                      <a:pt x="3" y="9"/>
                    </a:lnTo>
                    <a:lnTo>
                      <a:pt x="3" y="7"/>
                    </a:lnTo>
                    <a:lnTo>
                      <a:pt x="4" y="6"/>
                    </a:lnTo>
                    <a:lnTo>
                      <a:pt x="6" y="5"/>
                    </a:lnTo>
                    <a:lnTo>
                      <a:pt x="7" y="3"/>
                    </a:lnTo>
                    <a:lnTo>
                      <a:pt x="10" y="2"/>
                    </a:lnTo>
                    <a:lnTo>
                      <a:pt x="13" y="2"/>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17" name="Freeform 1641"/>
              <p:cNvSpPr>
                <a:spLocks/>
              </p:cNvSpPr>
              <p:nvPr/>
            </p:nvSpPr>
            <p:spPr bwMode="auto">
              <a:xfrm>
                <a:off x="6510468" y="2108373"/>
                <a:ext cx="36868" cy="54763"/>
              </a:xfrm>
              <a:custGeom>
                <a:avLst/>
                <a:gdLst/>
                <a:ahLst/>
                <a:cxnLst>
                  <a:cxn ang="0">
                    <a:pos x="13" y="2"/>
                  </a:cxn>
                  <a:cxn ang="0">
                    <a:pos x="15" y="0"/>
                  </a:cxn>
                  <a:cxn ang="0">
                    <a:pos x="16" y="2"/>
                  </a:cxn>
                  <a:cxn ang="0">
                    <a:pos x="19" y="3"/>
                  </a:cxn>
                  <a:cxn ang="0">
                    <a:pos x="26" y="12"/>
                  </a:cxn>
                  <a:cxn ang="0">
                    <a:pos x="32" y="13"/>
                  </a:cxn>
                  <a:cxn ang="0">
                    <a:pos x="35" y="18"/>
                  </a:cxn>
                  <a:cxn ang="0">
                    <a:pos x="38" y="25"/>
                  </a:cxn>
                  <a:cxn ang="0">
                    <a:pos x="39" y="25"/>
                  </a:cxn>
                  <a:cxn ang="0">
                    <a:pos x="39" y="28"/>
                  </a:cxn>
                  <a:cxn ang="0">
                    <a:pos x="41" y="31"/>
                  </a:cxn>
                  <a:cxn ang="0">
                    <a:pos x="39" y="34"/>
                  </a:cxn>
                  <a:cxn ang="0">
                    <a:pos x="38" y="35"/>
                  </a:cxn>
                  <a:cxn ang="0">
                    <a:pos x="38" y="39"/>
                  </a:cxn>
                  <a:cxn ang="0">
                    <a:pos x="33" y="45"/>
                  </a:cxn>
                  <a:cxn ang="0">
                    <a:pos x="32" y="45"/>
                  </a:cxn>
                  <a:cxn ang="0">
                    <a:pos x="31" y="44"/>
                  </a:cxn>
                  <a:cxn ang="0">
                    <a:pos x="29" y="44"/>
                  </a:cxn>
                  <a:cxn ang="0">
                    <a:pos x="26" y="44"/>
                  </a:cxn>
                  <a:cxn ang="0">
                    <a:pos x="22" y="45"/>
                  </a:cxn>
                  <a:cxn ang="0">
                    <a:pos x="20" y="48"/>
                  </a:cxn>
                  <a:cxn ang="0">
                    <a:pos x="20" y="51"/>
                  </a:cxn>
                  <a:cxn ang="0">
                    <a:pos x="19" y="52"/>
                  </a:cxn>
                  <a:cxn ang="0">
                    <a:pos x="16" y="52"/>
                  </a:cxn>
                  <a:cxn ang="0">
                    <a:pos x="15" y="52"/>
                  </a:cxn>
                  <a:cxn ang="0">
                    <a:pos x="12" y="34"/>
                  </a:cxn>
                  <a:cxn ang="0">
                    <a:pos x="6" y="28"/>
                  </a:cxn>
                  <a:cxn ang="0">
                    <a:pos x="7" y="26"/>
                  </a:cxn>
                  <a:cxn ang="0">
                    <a:pos x="4" y="22"/>
                  </a:cxn>
                  <a:cxn ang="0">
                    <a:pos x="4" y="21"/>
                  </a:cxn>
                  <a:cxn ang="0">
                    <a:pos x="3" y="18"/>
                  </a:cxn>
                  <a:cxn ang="0">
                    <a:pos x="1" y="19"/>
                  </a:cxn>
                  <a:cxn ang="0">
                    <a:pos x="0" y="12"/>
                  </a:cxn>
                  <a:cxn ang="0">
                    <a:pos x="3" y="9"/>
                  </a:cxn>
                  <a:cxn ang="0">
                    <a:pos x="3" y="7"/>
                  </a:cxn>
                  <a:cxn ang="0">
                    <a:pos x="4" y="6"/>
                  </a:cxn>
                  <a:cxn ang="0">
                    <a:pos x="6" y="5"/>
                  </a:cxn>
                  <a:cxn ang="0">
                    <a:pos x="7" y="3"/>
                  </a:cxn>
                  <a:cxn ang="0">
                    <a:pos x="10" y="2"/>
                  </a:cxn>
                  <a:cxn ang="0">
                    <a:pos x="13" y="2"/>
                  </a:cxn>
                </a:cxnLst>
                <a:rect l="0" t="0" r="r" b="b"/>
                <a:pathLst>
                  <a:path w="41" h="52">
                    <a:moveTo>
                      <a:pt x="13" y="2"/>
                    </a:moveTo>
                    <a:lnTo>
                      <a:pt x="15" y="0"/>
                    </a:lnTo>
                    <a:lnTo>
                      <a:pt x="16" y="2"/>
                    </a:lnTo>
                    <a:lnTo>
                      <a:pt x="19" y="3"/>
                    </a:lnTo>
                    <a:lnTo>
                      <a:pt x="26" y="12"/>
                    </a:lnTo>
                    <a:lnTo>
                      <a:pt x="32" y="13"/>
                    </a:lnTo>
                    <a:lnTo>
                      <a:pt x="35" y="18"/>
                    </a:lnTo>
                    <a:lnTo>
                      <a:pt x="38" y="25"/>
                    </a:lnTo>
                    <a:lnTo>
                      <a:pt x="39" y="25"/>
                    </a:lnTo>
                    <a:lnTo>
                      <a:pt x="39" y="28"/>
                    </a:lnTo>
                    <a:lnTo>
                      <a:pt x="41" y="31"/>
                    </a:lnTo>
                    <a:lnTo>
                      <a:pt x="39" y="34"/>
                    </a:lnTo>
                    <a:lnTo>
                      <a:pt x="38" y="35"/>
                    </a:lnTo>
                    <a:lnTo>
                      <a:pt x="38" y="39"/>
                    </a:lnTo>
                    <a:lnTo>
                      <a:pt x="33" y="45"/>
                    </a:lnTo>
                    <a:lnTo>
                      <a:pt x="32" y="45"/>
                    </a:lnTo>
                    <a:lnTo>
                      <a:pt x="31" y="44"/>
                    </a:lnTo>
                    <a:lnTo>
                      <a:pt x="29" y="44"/>
                    </a:lnTo>
                    <a:lnTo>
                      <a:pt x="26" y="44"/>
                    </a:lnTo>
                    <a:lnTo>
                      <a:pt x="22" y="45"/>
                    </a:lnTo>
                    <a:lnTo>
                      <a:pt x="20" y="48"/>
                    </a:lnTo>
                    <a:lnTo>
                      <a:pt x="20" y="51"/>
                    </a:lnTo>
                    <a:lnTo>
                      <a:pt x="19" y="52"/>
                    </a:lnTo>
                    <a:lnTo>
                      <a:pt x="16" y="52"/>
                    </a:lnTo>
                    <a:lnTo>
                      <a:pt x="15" y="52"/>
                    </a:lnTo>
                    <a:lnTo>
                      <a:pt x="12" y="34"/>
                    </a:lnTo>
                    <a:lnTo>
                      <a:pt x="6" y="28"/>
                    </a:lnTo>
                    <a:lnTo>
                      <a:pt x="7" y="26"/>
                    </a:lnTo>
                    <a:lnTo>
                      <a:pt x="4" y="22"/>
                    </a:lnTo>
                    <a:lnTo>
                      <a:pt x="4" y="21"/>
                    </a:lnTo>
                    <a:lnTo>
                      <a:pt x="3" y="18"/>
                    </a:lnTo>
                    <a:lnTo>
                      <a:pt x="1" y="19"/>
                    </a:lnTo>
                    <a:lnTo>
                      <a:pt x="0" y="12"/>
                    </a:lnTo>
                    <a:lnTo>
                      <a:pt x="3" y="9"/>
                    </a:lnTo>
                    <a:lnTo>
                      <a:pt x="3" y="7"/>
                    </a:lnTo>
                    <a:lnTo>
                      <a:pt x="4" y="6"/>
                    </a:lnTo>
                    <a:lnTo>
                      <a:pt x="6" y="5"/>
                    </a:lnTo>
                    <a:lnTo>
                      <a:pt x="7" y="3"/>
                    </a:lnTo>
                    <a:lnTo>
                      <a:pt x="10" y="2"/>
                    </a:lnTo>
                    <a:lnTo>
                      <a:pt x="13" y="2"/>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18" name="Freeform 1642"/>
              <p:cNvSpPr>
                <a:spLocks/>
              </p:cNvSpPr>
              <p:nvPr/>
            </p:nvSpPr>
            <p:spPr bwMode="auto">
              <a:xfrm>
                <a:off x="7474293" y="2281790"/>
                <a:ext cx="76369" cy="106484"/>
              </a:xfrm>
              <a:custGeom>
                <a:avLst/>
                <a:gdLst/>
                <a:ahLst/>
                <a:cxnLst>
                  <a:cxn ang="0">
                    <a:pos x="82" y="0"/>
                  </a:cxn>
                  <a:cxn ang="0">
                    <a:pos x="83" y="0"/>
                  </a:cxn>
                  <a:cxn ang="0">
                    <a:pos x="84" y="1"/>
                  </a:cxn>
                  <a:cxn ang="0">
                    <a:pos x="79" y="43"/>
                  </a:cxn>
                  <a:cxn ang="0">
                    <a:pos x="74" y="52"/>
                  </a:cxn>
                  <a:cxn ang="0">
                    <a:pos x="73" y="48"/>
                  </a:cxn>
                  <a:cxn ang="0">
                    <a:pos x="70" y="49"/>
                  </a:cxn>
                  <a:cxn ang="0">
                    <a:pos x="67" y="55"/>
                  </a:cxn>
                  <a:cxn ang="0">
                    <a:pos x="68" y="55"/>
                  </a:cxn>
                  <a:cxn ang="0">
                    <a:pos x="71" y="54"/>
                  </a:cxn>
                  <a:cxn ang="0">
                    <a:pos x="71" y="58"/>
                  </a:cxn>
                  <a:cxn ang="0">
                    <a:pos x="66" y="62"/>
                  </a:cxn>
                  <a:cxn ang="0">
                    <a:pos x="63" y="68"/>
                  </a:cxn>
                  <a:cxn ang="0">
                    <a:pos x="58" y="72"/>
                  </a:cxn>
                  <a:cxn ang="0">
                    <a:pos x="47" y="77"/>
                  </a:cxn>
                  <a:cxn ang="0">
                    <a:pos x="44" y="80"/>
                  </a:cxn>
                  <a:cxn ang="0">
                    <a:pos x="37" y="83"/>
                  </a:cxn>
                  <a:cxn ang="0">
                    <a:pos x="31" y="94"/>
                  </a:cxn>
                  <a:cxn ang="0">
                    <a:pos x="26" y="99"/>
                  </a:cxn>
                  <a:cxn ang="0">
                    <a:pos x="12" y="103"/>
                  </a:cxn>
                  <a:cxn ang="0">
                    <a:pos x="3" y="102"/>
                  </a:cxn>
                  <a:cxn ang="0">
                    <a:pos x="0" y="99"/>
                  </a:cxn>
                  <a:cxn ang="0">
                    <a:pos x="0" y="97"/>
                  </a:cxn>
                  <a:cxn ang="0">
                    <a:pos x="9" y="94"/>
                  </a:cxn>
                  <a:cxn ang="0">
                    <a:pos x="12" y="94"/>
                  </a:cxn>
                  <a:cxn ang="0">
                    <a:pos x="15" y="93"/>
                  </a:cxn>
                  <a:cxn ang="0">
                    <a:pos x="19" y="93"/>
                  </a:cxn>
                  <a:cxn ang="0">
                    <a:pos x="55" y="58"/>
                  </a:cxn>
                  <a:cxn ang="0">
                    <a:pos x="48" y="64"/>
                  </a:cxn>
                  <a:cxn ang="0">
                    <a:pos x="44" y="65"/>
                  </a:cxn>
                  <a:cxn ang="0">
                    <a:pos x="47" y="61"/>
                  </a:cxn>
                  <a:cxn ang="0">
                    <a:pos x="51" y="56"/>
                  </a:cxn>
                  <a:cxn ang="0">
                    <a:pos x="76" y="11"/>
                  </a:cxn>
                  <a:cxn ang="0">
                    <a:pos x="77" y="3"/>
                  </a:cxn>
                  <a:cxn ang="0">
                    <a:pos x="79" y="1"/>
                  </a:cxn>
                  <a:cxn ang="0">
                    <a:pos x="80" y="0"/>
                  </a:cxn>
                  <a:cxn ang="0">
                    <a:pos x="82" y="0"/>
                  </a:cxn>
                </a:cxnLst>
                <a:rect l="0" t="0" r="r" b="b"/>
                <a:pathLst>
                  <a:path w="84" h="103">
                    <a:moveTo>
                      <a:pt x="82" y="0"/>
                    </a:moveTo>
                    <a:lnTo>
                      <a:pt x="83" y="0"/>
                    </a:lnTo>
                    <a:lnTo>
                      <a:pt x="84" y="1"/>
                    </a:lnTo>
                    <a:lnTo>
                      <a:pt x="79" y="43"/>
                    </a:lnTo>
                    <a:lnTo>
                      <a:pt x="74" y="52"/>
                    </a:lnTo>
                    <a:lnTo>
                      <a:pt x="73" y="48"/>
                    </a:lnTo>
                    <a:lnTo>
                      <a:pt x="70" y="49"/>
                    </a:lnTo>
                    <a:lnTo>
                      <a:pt x="67" y="55"/>
                    </a:lnTo>
                    <a:lnTo>
                      <a:pt x="68" y="55"/>
                    </a:lnTo>
                    <a:lnTo>
                      <a:pt x="71" y="54"/>
                    </a:lnTo>
                    <a:lnTo>
                      <a:pt x="71" y="58"/>
                    </a:lnTo>
                    <a:lnTo>
                      <a:pt x="66" y="62"/>
                    </a:lnTo>
                    <a:lnTo>
                      <a:pt x="63" y="68"/>
                    </a:lnTo>
                    <a:lnTo>
                      <a:pt x="58" y="72"/>
                    </a:lnTo>
                    <a:lnTo>
                      <a:pt x="47" y="77"/>
                    </a:lnTo>
                    <a:lnTo>
                      <a:pt x="44" y="80"/>
                    </a:lnTo>
                    <a:lnTo>
                      <a:pt x="37" y="83"/>
                    </a:lnTo>
                    <a:lnTo>
                      <a:pt x="31" y="94"/>
                    </a:lnTo>
                    <a:lnTo>
                      <a:pt x="26" y="99"/>
                    </a:lnTo>
                    <a:lnTo>
                      <a:pt x="12" y="103"/>
                    </a:lnTo>
                    <a:lnTo>
                      <a:pt x="3" y="102"/>
                    </a:lnTo>
                    <a:lnTo>
                      <a:pt x="0" y="99"/>
                    </a:lnTo>
                    <a:lnTo>
                      <a:pt x="0" y="97"/>
                    </a:lnTo>
                    <a:lnTo>
                      <a:pt x="9" y="94"/>
                    </a:lnTo>
                    <a:lnTo>
                      <a:pt x="12" y="94"/>
                    </a:lnTo>
                    <a:lnTo>
                      <a:pt x="15" y="93"/>
                    </a:lnTo>
                    <a:lnTo>
                      <a:pt x="19" y="93"/>
                    </a:lnTo>
                    <a:lnTo>
                      <a:pt x="55" y="58"/>
                    </a:lnTo>
                    <a:lnTo>
                      <a:pt x="48" y="64"/>
                    </a:lnTo>
                    <a:lnTo>
                      <a:pt x="44" y="65"/>
                    </a:lnTo>
                    <a:lnTo>
                      <a:pt x="47" y="61"/>
                    </a:lnTo>
                    <a:lnTo>
                      <a:pt x="51" y="56"/>
                    </a:lnTo>
                    <a:lnTo>
                      <a:pt x="76" y="11"/>
                    </a:lnTo>
                    <a:lnTo>
                      <a:pt x="77" y="3"/>
                    </a:lnTo>
                    <a:lnTo>
                      <a:pt x="79" y="1"/>
                    </a:lnTo>
                    <a:lnTo>
                      <a:pt x="80" y="0"/>
                    </a:lnTo>
                    <a:lnTo>
                      <a:pt x="82" y="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19" name="Freeform 1644"/>
              <p:cNvSpPr>
                <a:spLocks/>
              </p:cNvSpPr>
              <p:nvPr/>
            </p:nvSpPr>
            <p:spPr bwMode="auto">
              <a:xfrm>
                <a:off x="6565770" y="2068822"/>
                <a:ext cx="28090" cy="65919"/>
              </a:xfrm>
              <a:custGeom>
                <a:avLst/>
                <a:gdLst/>
                <a:ahLst/>
                <a:cxnLst>
                  <a:cxn ang="0">
                    <a:pos x="28" y="57"/>
                  </a:cxn>
                  <a:cxn ang="0">
                    <a:pos x="30" y="54"/>
                  </a:cxn>
                  <a:cxn ang="0">
                    <a:pos x="29" y="51"/>
                  </a:cxn>
                  <a:cxn ang="0">
                    <a:pos x="30" y="50"/>
                  </a:cxn>
                  <a:cxn ang="0">
                    <a:pos x="29" y="45"/>
                  </a:cxn>
                  <a:cxn ang="0">
                    <a:pos x="28" y="44"/>
                  </a:cxn>
                  <a:cxn ang="0">
                    <a:pos x="25" y="40"/>
                  </a:cxn>
                  <a:cxn ang="0">
                    <a:pos x="25" y="38"/>
                  </a:cxn>
                  <a:cxn ang="0">
                    <a:pos x="22" y="34"/>
                  </a:cxn>
                  <a:cxn ang="0">
                    <a:pos x="22" y="32"/>
                  </a:cxn>
                  <a:cxn ang="0">
                    <a:pos x="22" y="31"/>
                  </a:cxn>
                  <a:cxn ang="0">
                    <a:pos x="20" y="28"/>
                  </a:cxn>
                  <a:cxn ang="0">
                    <a:pos x="20" y="27"/>
                  </a:cxn>
                  <a:cxn ang="0">
                    <a:pos x="22" y="18"/>
                  </a:cxn>
                  <a:cxn ang="0">
                    <a:pos x="22" y="13"/>
                  </a:cxn>
                  <a:cxn ang="0">
                    <a:pos x="16" y="9"/>
                  </a:cxn>
                  <a:cxn ang="0">
                    <a:pos x="10" y="6"/>
                  </a:cxn>
                  <a:cxn ang="0">
                    <a:pos x="7" y="3"/>
                  </a:cxn>
                  <a:cxn ang="0">
                    <a:pos x="3" y="0"/>
                  </a:cxn>
                  <a:cxn ang="0">
                    <a:pos x="3" y="3"/>
                  </a:cxn>
                  <a:cxn ang="0">
                    <a:pos x="9" y="12"/>
                  </a:cxn>
                  <a:cxn ang="0">
                    <a:pos x="10" y="11"/>
                  </a:cxn>
                  <a:cxn ang="0">
                    <a:pos x="15" y="12"/>
                  </a:cxn>
                  <a:cxn ang="0">
                    <a:pos x="19" y="22"/>
                  </a:cxn>
                  <a:cxn ang="0">
                    <a:pos x="16" y="24"/>
                  </a:cxn>
                  <a:cxn ang="0">
                    <a:pos x="10" y="21"/>
                  </a:cxn>
                  <a:cxn ang="0">
                    <a:pos x="10" y="22"/>
                  </a:cxn>
                  <a:cxn ang="0">
                    <a:pos x="13" y="27"/>
                  </a:cxn>
                  <a:cxn ang="0">
                    <a:pos x="12" y="28"/>
                  </a:cxn>
                  <a:cxn ang="0">
                    <a:pos x="9" y="24"/>
                  </a:cxn>
                  <a:cxn ang="0">
                    <a:pos x="7" y="16"/>
                  </a:cxn>
                  <a:cxn ang="0">
                    <a:pos x="3" y="12"/>
                  </a:cxn>
                  <a:cxn ang="0">
                    <a:pos x="1" y="15"/>
                  </a:cxn>
                  <a:cxn ang="0">
                    <a:pos x="4" y="22"/>
                  </a:cxn>
                  <a:cxn ang="0">
                    <a:pos x="7" y="27"/>
                  </a:cxn>
                  <a:cxn ang="0">
                    <a:pos x="6" y="29"/>
                  </a:cxn>
                  <a:cxn ang="0">
                    <a:pos x="1" y="24"/>
                  </a:cxn>
                  <a:cxn ang="0">
                    <a:pos x="0" y="25"/>
                  </a:cxn>
                  <a:cxn ang="0">
                    <a:pos x="3" y="28"/>
                  </a:cxn>
                  <a:cxn ang="0">
                    <a:pos x="4" y="32"/>
                  </a:cxn>
                  <a:cxn ang="0">
                    <a:pos x="4" y="35"/>
                  </a:cxn>
                  <a:cxn ang="0">
                    <a:pos x="0" y="34"/>
                  </a:cxn>
                  <a:cxn ang="0">
                    <a:pos x="1" y="35"/>
                  </a:cxn>
                  <a:cxn ang="0">
                    <a:pos x="6" y="41"/>
                  </a:cxn>
                  <a:cxn ang="0">
                    <a:pos x="15" y="45"/>
                  </a:cxn>
                  <a:cxn ang="0">
                    <a:pos x="19" y="53"/>
                  </a:cxn>
                  <a:cxn ang="0">
                    <a:pos x="19" y="57"/>
                  </a:cxn>
                  <a:cxn ang="0">
                    <a:pos x="17" y="60"/>
                  </a:cxn>
                  <a:cxn ang="0">
                    <a:pos x="17" y="61"/>
                  </a:cxn>
                  <a:cxn ang="0">
                    <a:pos x="20" y="61"/>
                  </a:cxn>
                  <a:cxn ang="0">
                    <a:pos x="22" y="63"/>
                  </a:cxn>
                  <a:cxn ang="0">
                    <a:pos x="26" y="57"/>
                  </a:cxn>
                  <a:cxn ang="0">
                    <a:pos x="28" y="57"/>
                  </a:cxn>
                </a:cxnLst>
                <a:rect l="0" t="0" r="r" b="b"/>
                <a:pathLst>
                  <a:path w="30" h="63">
                    <a:moveTo>
                      <a:pt x="28" y="57"/>
                    </a:moveTo>
                    <a:lnTo>
                      <a:pt x="30" y="54"/>
                    </a:lnTo>
                    <a:lnTo>
                      <a:pt x="29" y="51"/>
                    </a:lnTo>
                    <a:lnTo>
                      <a:pt x="30" y="50"/>
                    </a:lnTo>
                    <a:lnTo>
                      <a:pt x="29" y="45"/>
                    </a:lnTo>
                    <a:lnTo>
                      <a:pt x="28" y="44"/>
                    </a:lnTo>
                    <a:lnTo>
                      <a:pt x="25" y="40"/>
                    </a:lnTo>
                    <a:lnTo>
                      <a:pt x="25" y="38"/>
                    </a:lnTo>
                    <a:lnTo>
                      <a:pt x="22" y="34"/>
                    </a:lnTo>
                    <a:lnTo>
                      <a:pt x="22" y="32"/>
                    </a:lnTo>
                    <a:lnTo>
                      <a:pt x="22" y="31"/>
                    </a:lnTo>
                    <a:lnTo>
                      <a:pt x="20" y="28"/>
                    </a:lnTo>
                    <a:lnTo>
                      <a:pt x="20" y="27"/>
                    </a:lnTo>
                    <a:lnTo>
                      <a:pt x="22" y="18"/>
                    </a:lnTo>
                    <a:lnTo>
                      <a:pt x="22" y="13"/>
                    </a:lnTo>
                    <a:lnTo>
                      <a:pt x="16" y="9"/>
                    </a:lnTo>
                    <a:lnTo>
                      <a:pt x="10" y="6"/>
                    </a:lnTo>
                    <a:lnTo>
                      <a:pt x="7" y="3"/>
                    </a:lnTo>
                    <a:lnTo>
                      <a:pt x="3" y="0"/>
                    </a:lnTo>
                    <a:lnTo>
                      <a:pt x="3" y="3"/>
                    </a:lnTo>
                    <a:lnTo>
                      <a:pt x="9" y="12"/>
                    </a:lnTo>
                    <a:lnTo>
                      <a:pt x="10" y="11"/>
                    </a:lnTo>
                    <a:lnTo>
                      <a:pt x="15" y="12"/>
                    </a:lnTo>
                    <a:lnTo>
                      <a:pt x="19" y="22"/>
                    </a:lnTo>
                    <a:lnTo>
                      <a:pt x="16" y="24"/>
                    </a:lnTo>
                    <a:lnTo>
                      <a:pt x="10" y="21"/>
                    </a:lnTo>
                    <a:lnTo>
                      <a:pt x="10" y="22"/>
                    </a:lnTo>
                    <a:lnTo>
                      <a:pt x="13" y="27"/>
                    </a:lnTo>
                    <a:lnTo>
                      <a:pt x="12" y="28"/>
                    </a:lnTo>
                    <a:lnTo>
                      <a:pt x="9" y="24"/>
                    </a:lnTo>
                    <a:lnTo>
                      <a:pt x="7" y="16"/>
                    </a:lnTo>
                    <a:lnTo>
                      <a:pt x="3" y="12"/>
                    </a:lnTo>
                    <a:lnTo>
                      <a:pt x="1" y="15"/>
                    </a:lnTo>
                    <a:lnTo>
                      <a:pt x="4" y="22"/>
                    </a:lnTo>
                    <a:lnTo>
                      <a:pt x="7" y="27"/>
                    </a:lnTo>
                    <a:lnTo>
                      <a:pt x="6" y="29"/>
                    </a:lnTo>
                    <a:lnTo>
                      <a:pt x="1" y="24"/>
                    </a:lnTo>
                    <a:lnTo>
                      <a:pt x="0" y="25"/>
                    </a:lnTo>
                    <a:lnTo>
                      <a:pt x="3" y="28"/>
                    </a:lnTo>
                    <a:lnTo>
                      <a:pt x="4" y="32"/>
                    </a:lnTo>
                    <a:lnTo>
                      <a:pt x="4" y="35"/>
                    </a:lnTo>
                    <a:lnTo>
                      <a:pt x="0" y="34"/>
                    </a:lnTo>
                    <a:lnTo>
                      <a:pt x="1" y="35"/>
                    </a:lnTo>
                    <a:lnTo>
                      <a:pt x="6" y="41"/>
                    </a:lnTo>
                    <a:lnTo>
                      <a:pt x="15" y="45"/>
                    </a:lnTo>
                    <a:lnTo>
                      <a:pt x="19" y="53"/>
                    </a:lnTo>
                    <a:lnTo>
                      <a:pt x="19" y="57"/>
                    </a:lnTo>
                    <a:lnTo>
                      <a:pt x="17" y="60"/>
                    </a:lnTo>
                    <a:lnTo>
                      <a:pt x="17" y="61"/>
                    </a:lnTo>
                    <a:lnTo>
                      <a:pt x="20" y="61"/>
                    </a:lnTo>
                    <a:lnTo>
                      <a:pt x="22" y="63"/>
                    </a:lnTo>
                    <a:lnTo>
                      <a:pt x="26" y="57"/>
                    </a:lnTo>
                    <a:lnTo>
                      <a:pt x="28" y="57"/>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20" name="Freeform 1645"/>
              <p:cNvSpPr>
                <a:spLocks/>
              </p:cNvSpPr>
              <p:nvPr/>
            </p:nvSpPr>
            <p:spPr bwMode="auto">
              <a:xfrm>
                <a:off x="6565770" y="2068822"/>
                <a:ext cx="28090" cy="65919"/>
              </a:xfrm>
              <a:custGeom>
                <a:avLst/>
                <a:gdLst/>
                <a:ahLst/>
                <a:cxnLst>
                  <a:cxn ang="0">
                    <a:pos x="28" y="57"/>
                  </a:cxn>
                  <a:cxn ang="0">
                    <a:pos x="30" y="54"/>
                  </a:cxn>
                  <a:cxn ang="0">
                    <a:pos x="29" y="51"/>
                  </a:cxn>
                  <a:cxn ang="0">
                    <a:pos x="30" y="50"/>
                  </a:cxn>
                  <a:cxn ang="0">
                    <a:pos x="29" y="45"/>
                  </a:cxn>
                  <a:cxn ang="0">
                    <a:pos x="28" y="44"/>
                  </a:cxn>
                  <a:cxn ang="0">
                    <a:pos x="25" y="40"/>
                  </a:cxn>
                  <a:cxn ang="0">
                    <a:pos x="25" y="38"/>
                  </a:cxn>
                  <a:cxn ang="0">
                    <a:pos x="22" y="34"/>
                  </a:cxn>
                  <a:cxn ang="0">
                    <a:pos x="22" y="32"/>
                  </a:cxn>
                  <a:cxn ang="0">
                    <a:pos x="22" y="31"/>
                  </a:cxn>
                  <a:cxn ang="0">
                    <a:pos x="20" y="28"/>
                  </a:cxn>
                  <a:cxn ang="0">
                    <a:pos x="20" y="27"/>
                  </a:cxn>
                  <a:cxn ang="0">
                    <a:pos x="22" y="18"/>
                  </a:cxn>
                  <a:cxn ang="0">
                    <a:pos x="22" y="13"/>
                  </a:cxn>
                  <a:cxn ang="0">
                    <a:pos x="16" y="9"/>
                  </a:cxn>
                  <a:cxn ang="0">
                    <a:pos x="10" y="6"/>
                  </a:cxn>
                  <a:cxn ang="0">
                    <a:pos x="7" y="3"/>
                  </a:cxn>
                  <a:cxn ang="0">
                    <a:pos x="3" y="0"/>
                  </a:cxn>
                  <a:cxn ang="0">
                    <a:pos x="3" y="3"/>
                  </a:cxn>
                  <a:cxn ang="0">
                    <a:pos x="9" y="12"/>
                  </a:cxn>
                  <a:cxn ang="0">
                    <a:pos x="10" y="11"/>
                  </a:cxn>
                  <a:cxn ang="0">
                    <a:pos x="15" y="12"/>
                  </a:cxn>
                  <a:cxn ang="0">
                    <a:pos x="19" y="22"/>
                  </a:cxn>
                  <a:cxn ang="0">
                    <a:pos x="16" y="24"/>
                  </a:cxn>
                  <a:cxn ang="0">
                    <a:pos x="10" y="21"/>
                  </a:cxn>
                  <a:cxn ang="0">
                    <a:pos x="10" y="22"/>
                  </a:cxn>
                  <a:cxn ang="0">
                    <a:pos x="13" y="27"/>
                  </a:cxn>
                  <a:cxn ang="0">
                    <a:pos x="12" y="28"/>
                  </a:cxn>
                  <a:cxn ang="0">
                    <a:pos x="9" y="24"/>
                  </a:cxn>
                  <a:cxn ang="0">
                    <a:pos x="7" y="16"/>
                  </a:cxn>
                  <a:cxn ang="0">
                    <a:pos x="3" y="12"/>
                  </a:cxn>
                  <a:cxn ang="0">
                    <a:pos x="1" y="15"/>
                  </a:cxn>
                  <a:cxn ang="0">
                    <a:pos x="4" y="22"/>
                  </a:cxn>
                  <a:cxn ang="0">
                    <a:pos x="7" y="27"/>
                  </a:cxn>
                  <a:cxn ang="0">
                    <a:pos x="6" y="29"/>
                  </a:cxn>
                  <a:cxn ang="0">
                    <a:pos x="1" y="24"/>
                  </a:cxn>
                  <a:cxn ang="0">
                    <a:pos x="0" y="25"/>
                  </a:cxn>
                  <a:cxn ang="0">
                    <a:pos x="3" y="28"/>
                  </a:cxn>
                  <a:cxn ang="0">
                    <a:pos x="4" y="32"/>
                  </a:cxn>
                  <a:cxn ang="0">
                    <a:pos x="4" y="35"/>
                  </a:cxn>
                  <a:cxn ang="0">
                    <a:pos x="0" y="34"/>
                  </a:cxn>
                  <a:cxn ang="0">
                    <a:pos x="1" y="35"/>
                  </a:cxn>
                  <a:cxn ang="0">
                    <a:pos x="6" y="41"/>
                  </a:cxn>
                  <a:cxn ang="0">
                    <a:pos x="15" y="45"/>
                  </a:cxn>
                  <a:cxn ang="0">
                    <a:pos x="19" y="53"/>
                  </a:cxn>
                  <a:cxn ang="0">
                    <a:pos x="19" y="57"/>
                  </a:cxn>
                  <a:cxn ang="0">
                    <a:pos x="17" y="60"/>
                  </a:cxn>
                  <a:cxn ang="0">
                    <a:pos x="17" y="61"/>
                  </a:cxn>
                  <a:cxn ang="0">
                    <a:pos x="20" y="61"/>
                  </a:cxn>
                  <a:cxn ang="0">
                    <a:pos x="22" y="63"/>
                  </a:cxn>
                  <a:cxn ang="0">
                    <a:pos x="26" y="57"/>
                  </a:cxn>
                  <a:cxn ang="0">
                    <a:pos x="28" y="57"/>
                  </a:cxn>
                </a:cxnLst>
                <a:rect l="0" t="0" r="r" b="b"/>
                <a:pathLst>
                  <a:path w="30" h="63">
                    <a:moveTo>
                      <a:pt x="28" y="57"/>
                    </a:moveTo>
                    <a:lnTo>
                      <a:pt x="30" y="54"/>
                    </a:lnTo>
                    <a:lnTo>
                      <a:pt x="29" y="51"/>
                    </a:lnTo>
                    <a:lnTo>
                      <a:pt x="30" y="50"/>
                    </a:lnTo>
                    <a:lnTo>
                      <a:pt x="29" y="45"/>
                    </a:lnTo>
                    <a:lnTo>
                      <a:pt x="28" y="44"/>
                    </a:lnTo>
                    <a:lnTo>
                      <a:pt x="25" y="40"/>
                    </a:lnTo>
                    <a:lnTo>
                      <a:pt x="25" y="38"/>
                    </a:lnTo>
                    <a:lnTo>
                      <a:pt x="22" y="34"/>
                    </a:lnTo>
                    <a:lnTo>
                      <a:pt x="22" y="32"/>
                    </a:lnTo>
                    <a:lnTo>
                      <a:pt x="22" y="31"/>
                    </a:lnTo>
                    <a:lnTo>
                      <a:pt x="20" y="28"/>
                    </a:lnTo>
                    <a:lnTo>
                      <a:pt x="20" y="27"/>
                    </a:lnTo>
                    <a:lnTo>
                      <a:pt x="22" y="18"/>
                    </a:lnTo>
                    <a:lnTo>
                      <a:pt x="22" y="13"/>
                    </a:lnTo>
                    <a:lnTo>
                      <a:pt x="16" y="9"/>
                    </a:lnTo>
                    <a:lnTo>
                      <a:pt x="10" y="6"/>
                    </a:lnTo>
                    <a:lnTo>
                      <a:pt x="7" y="3"/>
                    </a:lnTo>
                    <a:lnTo>
                      <a:pt x="3" y="0"/>
                    </a:lnTo>
                    <a:lnTo>
                      <a:pt x="3" y="3"/>
                    </a:lnTo>
                    <a:lnTo>
                      <a:pt x="9" y="12"/>
                    </a:lnTo>
                    <a:lnTo>
                      <a:pt x="10" y="11"/>
                    </a:lnTo>
                    <a:lnTo>
                      <a:pt x="15" y="12"/>
                    </a:lnTo>
                    <a:lnTo>
                      <a:pt x="19" y="22"/>
                    </a:lnTo>
                    <a:lnTo>
                      <a:pt x="16" y="24"/>
                    </a:lnTo>
                    <a:lnTo>
                      <a:pt x="10" y="21"/>
                    </a:lnTo>
                    <a:lnTo>
                      <a:pt x="10" y="22"/>
                    </a:lnTo>
                    <a:lnTo>
                      <a:pt x="13" y="27"/>
                    </a:lnTo>
                    <a:lnTo>
                      <a:pt x="12" y="28"/>
                    </a:lnTo>
                    <a:lnTo>
                      <a:pt x="9" y="24"/>
                    </a:lnTo>
                    <a:lnTo>
                      <a:pt x="7" y="16"/>
                    </a:lnTo>
                    <a:lnTo>
                      <a:pt x="3" y="12"/>
                    </a:lnTo>
                    <a:lnTo>
                      <a:pt x="1" y="15"/>
                    </a:lnTo>
                    <a:lnTo>
                      <a:pt x="4" y="22"/>
                    </a:lnTo>
                    <a:lnTo>
                      <a:pt x="7" y="27"/>
                    </a:lnTo>
                    <a:lnTo>
                      <a:pt x="6" y="29"/>
                    </a:lnTo>
                    <a:lnTo>
                      <a:pt x="1" y="24"/>
                    </a:lnTo>
                    <a:lnTo>
                      <a:pt x="0" y="25"/>
                    </a:lnTo>
                    <a:lnTo>
                      <a:pt x="3" y="28"/>
                    </a:lnTo>
                    <a:lnTo>
                      <a:pt x="4" y="32"/>
                    </a:lnTo>
                    <a:lnTo>
                      <a:pt x="4" y="35"/>
                    </a:lnTo>
                    <a:lnTo>
                      <a:pt x="0" y="34"/>
                    </a:lnTo>
                    <a:lnTo>
                      <a:pt x="1" y="35"/>
                    </a:lnTo>
                    <a:lnTo>
                      <a:pt x="6" y="41"/>
                    </a:lnTo>
                    <a:lnTo>
                      <a:pt x="15" y="45"/>
                    </a:lnTo>
                    <a:lnTo>
                      <a:pt x="19" y="53"/>
                    </a:lnTo>
                    <a:lnTo>
                      <a:pt x="19" y="57"/>
                    </a:lnTo>
                    <a:lnTo>
                      <a:pt x="17" y="60"/>
                    </a:lnTo>
                    <a:lnTo>
                      <a:pt x="17" y="61"/>
                    </a:lnTo>
                    <a:lnTo>
                      <a:pt x="20" y="61"/>
                    </a:lnTo>
                    <a:lnTo>
                      <a:pt x="22" y="63"/>
                    </a:lnTo>
                    <a:lnTo>
                      <a:pt x="26" y="57"/>
                    </a:lnTo>
                    <a:lnTo>
                      <a:pt x="28" y="57"/>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21" name="Freeform 1646"/>
              <p:cNvSpPr>
                <a:spLocks/>
              </p:cNvSpPr>
              <p:nvPr/>
            </p:nvSpPr>
            <p:spPr bwMode="auto">
              <a:xfrm>
                <a:off x="4801391" y="2332496"/>
                <a:ext cx="21067" cy="15212"/>
              </a:xfrm>
              <a:custGeom>
                <a:avLst/>
                <a:gdLst/>
                <a:ahLst/>
                <a:cxnLst>
                  <a:cxn ang="0">
                    <a:pos x="7" y="2"/>
                  </a:cxn>
                  <a:cxn ang="0">
                    <a:pos x="3" y="2"/>
                  </a:cxn>
                  <a:cxn ang="0">
                    <a:pos x="2" y="3"/>
                  </a:cxn>
                  <a:cxn ang="0">
                    <a:pos x="0" y="5"/>
                  </a:cxn>
                  <a:cxn ang="0">
                    <a:pos x="6" y="9"/>
                  </a:cxn>
                  <a:cxn ang="0">
                    <a:pos x="7" y="9"/>
                  </a:cxn>
                  <a:cxn ang="0">
                    <a:pos x="7" y="9"/>
                  </a:cxn>
                  <a:cxn ang="0">
                    <a:pos x="7" y="10"/>
                  </a:cxn>
                  <a:cxn ang="0">
                    <a:pos x="9" y="12"/>
                  </a:cxn>
                  <a:cxn ang="0">
                    <a:pos x="15" y="15"/>
                  </a:cxn>
                  <a:cxn ang="0">
                    <a:pos x="19" y="12"/>
                  </a:cxn>
                  <a:cxn ang="0">
                    <a:pos x="19" y="15"/>
                  </a:cxn>
                  <a:cxn ang="0">
                    <a:pos x="22" y="15"/>
                  </a:cxn>
                  <a:cxn ang="0">
                    <a:pos x="23" y="12"/>
                  </a:cxn>
                  <a:cxn ang="0">
                    <a:pos x="22" y="7"/>
                  </a:cxn>
                  <a:cxn ang="0">
                    <a:pos x="21" y="7"/>
                  </a:cxn>
                  <a:cxn ang="0">
                    <a:pos x="16" y="7"/>
                  </a:cxn>
                  <a:cxn ang="0">
                    <a:pos x="16" y="10"/>
                  </a:cxn>
                  <a:cxn ang="0">
                    <a:pos x="15" y="9"/>
                  </a:cxn>
                  <a:cxn ang="0">
                    <a:pos x="15" y="6"/>
                  </a:cxn>
                  <a:cxn ang="0">
                    <a:pos x="13" y="3"/>
                  </a:cxn>
                  <a:cxn ang="0">
                    <a:pos x="9" y="0"/>
                  </a:cxn>
                  <a:cxn ang="0">
                    <a:pos x="7" y="2"/>
                  </a:cxn>
                </a:cxnLst>
                <a:rect l="0" t="0" r="r" b="b"/>
                <a:pathLst>
                  <a:path w="23" h="15">
                    <a:moveTo>
                      <a:pt x="7" y="2"/>
                    </a:moveTo>
                    <a:lnTo>
                      <a:pt x="3" y="2"/>
                    </a:lnTo>
                    <a:lnTo>
                      <a:pt x="2" y="3"/>
                    </a:lnTo>
                    <a:lnTo>
                      <a:pt x="0" y="5"/>
                    </a:lnTo>
                    <a:lnTo>
                      <a:pt x="6" y="9"/>
                    </a:lnTo>
                    <a:lnTo>
                      <a:pt x="7" y="9"/>
                    </a:lnTo>
                    <a:lnTo>
                      <a:pt x="7" y="9"/>
                    </a:lnTo>
                    <a:lnTo>
                      <a:pt x="7" y="10"/>
                    </a:lnTo>
                    <a:lnTo>
                      <a:pt x="9" y="12"/>
                    </a:lnTo>
                    <a:lnTo>
                      <a:pt x="15" y="15"/>
                    </a:lnTo>
                    <a:lnTo>
                      <a:pt x="19" y="12"/>
                    </a:lnTo>
                    <a:lnTo>
                      <a:pt x="19" y="15"/>
                    </a:lnTo>
                    <a:lnTo>
                      <a:pt x="22" y="15"/>
                    </a:lnTo>
                    <a:lnTo>
                      <a:pt x="23" y="12"/>
                    </a:lnTo>
                    <a:lnTo>
                      <a:pt x="22" y="7"/>
                    </a:lnTo>
                    <a:lnTo>
                      <a:pt x="21" y="7"/>
                    </a:lnTo>
                    <a:lnTo>
                      <a:pt x="16" y="7"/>
                    </a:lnTo>
                    <a:lnTo>
                      <a:pt x="16" y="10"/>
                    </a:lnTo>
                    <a:lnTo>
                      <a:pt x="15" y="9"/>
                    </a:lnTo>
                    <a:lnTo>
                      <a:pt x="15" y="6"/>
                    </a:lnTo>
                    <a:lnTo>
                      <a:pt x="13" y="3"/>
                    </a:lnTo>
                    <a:lnTo>
                      <a:pt x="9" y="0"/>
                    </a:lnTo>
                    <a:lnTo>
                      <a:pt x="7" y="2"/>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22" name="Freeform 1650"/>
              <p:cNvSpPr>
                <a:spLocks/>
              </p:cNvSpPr>
              <p:nvPr/>
            </p:nvSpPr>
            <p:spPr bwMode="auto">
              <a:xfrm>
                <a:off x="5037519" y="2578931"/>
                <a:ext cx="5267" cy="7099"/>
              </a:xfrm>
              <a:custGeom>
                <a:avLst/>
                <a:gdLst/>
                <a:ahLst/>
                <a:cxnLst>
                  <a:cxn ang="0">
                    <a:pos x="6" y="3"/>
                  </a:cxn>
                  <a:cxn ang="0">
                    <a:pos x="6" y="4"/>
                  </a:cxn>
                  <a:cxn ang="0">
                    <a:pos x="5" y="6"/>
                  </a:cxn>
                  <a:cxn ang="0">
                    <a:pos x="3" y="6"/>
                  </a:cxn>
                  <a:cxn ang="0">
                    <a:pos x="0" y="4"/>
                  </a:cxn>
                  <a:cxn ang="0">
                    <a:pos x="0" y="4"/>
                  </a:cxn>
                  <a:cxn ang="0">
                    <a:pos x="0" y="3"/>
                  </a:cxn>
                  <a:cxn ang="0">
                    <a:pos x="0" y="2"/>
                  </a:cxn>
                  <a:cxn ang="0">
                    <a:pos x="2" y="0"/>
                  </a:cxn>
                  <a:cxn ang="0">
                    <a:pos x="5" y="0"/>
                  </a:cxn>
                  <a:cxn ang="0">
                    <a:pos x="5" y="2"/>
                  </a:cxn>
                  <a:cxn ang="0">
                    <a:pos x="6" y="2"/>
                  </a:cxn>
                  <a:cxn ang="0">
                    <a:pos x="6" y="3"/>
                  </a:cxn>
                </a:cxnLst>
                <a:rect l="0" t="0" r="r" b="b"/>
                <a:pathLst>
                  <a:path w="6" h="6">
                    <a:moveTo>
                      <a:pt x="6" y="3"/>
                    </a:moveTo>
                    <a:lnTo>
                      <a:pt x="6" y="4"/>
                    </a:lnTo>
                    <a:lnTo>
                      <a:pt x="5" y="6"/>
                    </a:lnTo>
                    <a:lnTo>
                      <a:pt x="3" y="6"/>
                    </a:lnTo>
                    <a:lnTo>
                      <a:pt x="0" y="4"/>
                    </a:lnTo>
                    <a:lnTo>
                      <a:pt x="0" y="4"/>
                    </a:lnTo>
                    <a:lnTo>
                      <a:pt x="0" y="3"/>
                    </a:lnTo>
                    <a:lnTo>
                      <a:pt x="0" y="2"/>
                    </a:lnTo>
                    <a:lnTo>
                      <a:pt x="2" y="0"/>
                    </a:lnTo>
                    <a:lnTo>
                      <a:pt x="5" y="0"/>
                    </a:lnTo>
                    <a:lnTo>
                      <a:pt x="5" y="2"/>
                    </a:lnTo>
                    <a:lnTo>
                      <a:pt x="6" y="2"/>
                    </a:lnTo>
                    <a:lnTo>
                      <a:pt x="6" y="3"/>
                    </a:lnTo>
                    <a:close/>
                  </a:path>
                </a:pathLst>
              </a:custGeom>
              <a:solidFill>
                <a:schemeClr val="bg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23" name="Freeform 1651"/>
              <p:cNvSpPr>
                <a:spLocks/>
              </p:cNvSpPr>
              <p:nvPr/>
            </p:nvSpPr>
            <p:spPr bwMode="auto">
              <a:xfrm>
                <a:off x="5037519" y="2578931"/>
                <a:ext cx="5267" cy="7099"/>
              </a:xfrm>
              <a:custGeom>
                <a:avLst/>
                <a:gdLst/>
                <a:ahLst/>
                <a:cxnLst>
                  <a:cxn ang="0">
                    <a:pos x="6" y="3"/>
                  </a:cxn>
                  <a:cxn ang="0">
                    <a:pos x="6" y="4"/>
                  </a:cxn>
                  <a:cxn ang="0">
                    <a:pos x="5" y="6"/>
                  </a:cxn>
                  <a:cxn ang="0">
                    <a:pos x="3" y="6"/>
                  </a:cxn>
                  <a:cxn ang="0">
                    <a:pos x="0" y="4"/>
                  </a:cxn>
                  <a:cxn ang="0">
                    <a:pos x="0" y="4"/>
                  </a:cxn>
                  <a:cxn ang="0">
                    <a:pos x="0" y="3"/>
                  </a:cxn>
                  <a:cxn ang="0">
                    <a:pos x="0" y="2"/>
                  </a:cxn>
                  <a:cxn ang="0">
                    <a:pos x="2" y="0"/>
                  </a:cxn>
                  <a:cxn ang="0">
                    <a:pos x="5" y="0"/>
                  </a:cxn>
                  <a:cxn ang="0">
                    <a:pos x="5" y="2"/>
                  </a:cxn>
                  <a:cxn ang="0">
                    <a:pos x="6" y="2"/>
                  </a:cxn>
                  <a:cxn ang="0">
                    <a:pos x="6" y="3"/>
                  </a:cxn>
                </a:cxnLst>
                <a:rect l="0" t="0" r="r" b="b"/>
                <a:pathLst>
                  <a:path w="6" h="6">
                    <a:moveTo>
                      <a:pt x="6" y="3"/>
                    </a:moveTo>
                    <a:lnTo>
                      <a:pt x="6" y="4"/>
                    </a:lnTo>
                    <a:lnTo>
                      <a:pt x="5" y="6"/>
                    </a:lnTo>
                    <a:lnTo>
                      <a:pt x="3" y="6"/>
                    </a:lnTo>
                    <a:lnTo>
                      <a:pt x="0" y="4"/>
                    </a:lnTo>
                    <a:lnTo>
                      <a:pt x="0" y="4"/>
                    </a:lnTo>
                    <a:lnTo>
                      <a:pt x="0" y="3"/>
                    </a:lnTo>
                    <a:lnTo>
                      <a:pt x="0" y="2"/>
                    </a:lnTo>
                    <a:lnTo>
                      <a:pt x="2" y="0"/>
                    </a:lnTo>
                    <a:lnTo>
                      <a:pt x="5" y="0"/>
                    </a:lnTo>
                    <a:lnTo>
                      <a:pt x="5" y="2"/>
                    </a:lnTo>
                    <a:lnTo>
                      <a:pt x="6" y="2"/>
                    </a:lnTo>
                    <a:lnTo>
                      <a:pt x="6" y="3"/>
                    </a:lnTo>
                  </a:path>
                </a:pathLst>
              </a:custGeom>
              <a:solidFill>
                <a:schemeClr val="bg2">
                  <a:lumMod val="60000"/>
                  <a:lumOff val="40000"/>
                </a:schemeClr>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24" name="Freeform 1652"/>
              <p:cNvSpPr>
                <a:spLocks/>
              </p:cNvSpPr>
              <p:nvPr/>
            </p:nvSpPr>
            <p:spPr bwMode="auto">
              <a:xfrm>
                <a:off x="6289262" y="3060643"/>
                <a:ext cx="26334" cy="29410"/>
              </a:xfrm>
              <a:custGeom>
                <a:avLst/>
                <a:gdLst/>
                <a:ahLst/>
                <a:cxnLst>
                  <a:cxn ang="0">
                    <a:pos x="0" y="5"/>
                  </a:cxn>
                  <a:cxn ang="0">
                    <a:pos x="0" y="2"/>
                  </a:cxn>
                  <a:cxn ang="0">
                    <a:pos x="3" y="2"/>
                  </a:cxn>
                  <a:cxn ang="0">
                    <a:pos x="3" y="0"/>
                  </a:cxn>
                  <a:cxn ang="0">
                    <a:pos x="4" y="0"/>
                  </a:cxn>
                  <a:cxn ang="0">
                    <a:pos x="9" y="2"/>
                  </a:cxn>
                  <a:cxn ang="0">
                    <a:pos x="10" y="3"/>
                  </a:cxn>
                  <a:cxn ang="0">
                    <a:pos x="12" y="5"/>
                  </a:cxn>
                  <a:cxn ang="0">
                    <a:pos x="13" y="6"/>
                  </a:cxn>
                  <a:cxn ang="0">
                    <a:pos x="15" y="12"/>
                  </a:cxn>
                  <a:cxn ang="0">
                    <a:pos x="19" y="13"/>
                  </a:cxn>
                  <a:cxn ang="0">
                    <a:pos x="22" y="12"/>
                  </a:cxn>
                  <a:cxn ang="0">
                    <a:pos x="26" y="13"/>
                  </a:cxn>
                  <a:cxn ang="0">
                    <a:pos x="28" y="13"/>
                  </a:cxn>
                  <a:cxn ang="0">
                    <a:pos x="29" y="16"/>
                  </a:cxn>
                  <a:cxn ang="0">
                    <a:pos x="29" y="18"/>
                  </a:cxn>
                  <a:cxn ang="0">
                    <a:pos x="29" y="21"/>
                  </a:cxn>
                  <a:cxn ang="0">
                    <a:pos x="26" y="22"/>
                  </a:cxn>
                  <a:cxn ang="0">
                    <a:pos x="17" y="23"/>
                  </a:cxn>
                  <a:cxn ang="0">
                    <a:pos x="16" y="28"/>
                  </a:cxn>
                  <a:cxn ang="0">
                    <a:pos x="15" y="28"/>
                  </a:cxn>
                  <a:cxn ang="0">
                    <a:pos x="12" y="25"/>
                  </a:cxn>
                  <a:cxn ang="0">
                    <a:pos x="10" y="19"/>
                  </a:cxn>
                  <a:cxn ang="0">
                    <a:pos x="9" y="18"/>
                  </a:cxn>
                  <a:cxn ang="0">
                    <a:pos x="6" y="16"/>
                  </a:cxn>
                  <a:cxn ang="0">
                    <a:pos x="1" y="9"/>
                  </a:cxn>
                  <a:cxn ang="0">
                    <a:pos x="0" y="7"/>
                  </a:cxn>
                  <a:cxn ang="0">
                    <a:pos x="0" y="6"/>
                  </a:cxn>
                  <a:cxn ang="0">
                    <a:pos x="0" y="5"/>
                  </a:cxn>
                </a:cxnLst>
                <a:rect l="0" t="0" r="r" b="b"/>
                <a:pathLst>
                  <a:path w="29" h="28">
                    <a:moveTo>
                      <a:pt x="0" y="5"/>
                    </a:moveTo>
                    <a:lnTo>
                      <a:pt x="0" y="2"/>
                    </a:lnTo>
                    <a:lnTo>
                      <a:pt x="3" y="2"/>
                    </a:lnTo>
                    <a:lnTo>
                      <a:pt x="3" y="0"/>
                    </a:lnTo>
                    <a:lnTo>
                      <a:pt x="4" y="0"/>
                    </a:lnTo>
                    <a:lnTo>
                      <a:pt x="9" y="2"/>
                    </a:lnTo>
                    <a:lnTo>
                      <a:pt x="10" y="3"/>
                    </a:lnTo>
                    <a:lnTo>
                      <a:pt x="12" y="5"/>
                    </a:lnTo>
                    <a:lnTo>
                      <a:pt x="13" y="6"/>
                    </a:lnTo>
                    <a:lnTo>
                      <a:pt x="15" y="12"/>
                    </a:lnTo>
                    <a:lnTo>
                      <a:pt x="19" y="13"/>
                    </a:lnTo>
                    <a:lnTo>
                      <a:pt x="22" y="12"/>
                    </a:lnTo>
                    <a:lnTo>
                      <a:pt x="26" y="13"/>
                    </a:lnTo>
                    <a:lnTo>
                      <a:pt x="28" y="13"/>
                    </a:lnTo>
                    <a:lnTo>
                      <a:pt x="29" y="16"/>
                    </a:lnTo>
                    <a:lnTo>
                      <a:pt x="29" y="18"/>
                    </a:lnTo>
                    <a:lnTo>
                      <a:pt x="29" y="21"/>
                    </a:lnTo>
                    <a:lnTo>
                      <a:pt x="26" y="22"/>
                    </a:lnTo>
                    <a:lnTo>
                      <a:pt x="17" y="23"/>
                    </a:lnTo>
                    <a:lnTo>
                      <a:pt x="16" y="28"/>
                    </a:lnTo>
                    <a:lnTo>
                      <a:pt x="15" y="28"/>
                    </a:lnTo>
                    <a:lnTo>
                      <a:pt x="12" y="25"/>
                    </a:lnTo>
                    <a:lnTo>
                      <a:pt x="10" y="19"/>
                    </a:lnTo>
                    <a:lnTo>
                      <a:pt x="9" y="18"/>
                    </a:lnTo>
                    <a:lnTo>
                      <a:pt x="6" y="16"/>
                    </a:lnTo>
                    <a:lnTo>
                      <a:pt x="1" y="9"/>
                    </a:lnTo>
                    <a:lnTo>
                      <a:pt x="0" y="7"/>
                    </a:lnTo>
                    <a:lnTo>
                      <a:pt x="0" y="6"/>
                    </a:lnTo>
                    <a:lnTo>
                      <a:pt x="0" y="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25" name="Freeform 1653"/>
              <p:cNvSpPr>
                <a:spLocks/>
              </p:cNvSpPr>
              <p:nvPr/>
            </p:nvSpPr>
            <p:spPr bwMode="auto">
              <a:xfrm>
                <a:off x="6289262" y="3060643"/>
                <a:ext cx="26334" cy="29410"/>
              </a:xfrm>
              <a:custGeom>
                <a:avLst/>
                <a:gdLst/>
                <a:ahLst/>
                <a:cxnLst>
                  <a:cxn ang="0">
                    <a:pos x="0" y="5"/>
                  </a:cxn>
                  <a:cxn ang="0">
                    <a:pos x="0" y="2"/>
                  </a:cxn>
                  <a:cxn ang="0">
                    <a:pos x="3" y="2"/>
                  </a:cxn>
                  <a:cxn ang="0">
                    <a:pos x="3" y="0"/>
                  </a:cxn>
                  <a:cxn ang="0">
                    <a:pos x="4" y="0"/>
                  </a:cxn>
                  <a:cxn ang="0">
                    <a:pos x="9" y="2"/>
                  </a:cxn>
                  <a:cxn ang="0">
                    <a:pos x="10" y="3"/>
                  </a:cxn>
                  <a:cxn ang="0">
                    <a:pos x="12" y="5"/>
                  </a:cxn>
                  <a:cxn ang="0">
                    <a:pos x="13" y="6"/>
                  </a:cxn>
                  <a:cxn ang="0">
                    <a:pos x="15" y="12"/>
                  </a:cxn>
                  <a:cxn ang="0">
                    <a:pos x="19" y="13"/>
                  </a:cxn>
                  <a:cxn ang="0">
                    <a:pos x="22" y="12"/>
                  </a:cxn>
                  <a:cxn ang="0">
                    <a:pos x="26" y="13"/>
                  </a:cxn>
                  <a:cxn ang="0">
                    <a:pos x="28" y="13"/>
                  </a:cxn>
                  <a:cxn ang="0">
                    <a:pos x="29" y="16"/>
                  </a:cxn>
                  <a:cxn ang="0">
                    <a:pos x="29" y="18"/>
                  </a:cxn>
                  <a:cxn ang="0">
                    <a:pos x="29" y="21"/>
                  </a:cxn>
                  <a:cxn ang="0">
                    <a:pos x="26" y="22"/>
                  </a:cxn>
                  <a:cxn ang="0">
                    <a:pos x="17" y="23"/>
                  </a:cxn>
                  <a:cxn ang="0">
                    <a:pos x="16" y="28"/>
                  </a:cxn>
                  <a:cxn ang="0">
                    <a:pos x="15" y="28"/>
                  </a:cxn>
                  <a:cxn ang="0">
                    <a:pos x="12" y="25"/>
                  </a:cxn>
                  <a:cxn ang="0">
                    <a:pos x="10" y="19"/>
                  </a:cxn>
                  <a:cxn ang="0">
                    <a:pos x="9" y="18"/>
                  </a:cxn>
                  <a:cxn ang="0">
                    <a:pos x="6" y="16"/>
                  </a:cxn>
                  <a:cxn ang="0">
                    <a:pos x="1" y="9"/>
                  </a:cxn>
                  <a:cxn ang="0">
                    <a:pos x="0" y="7"/>
                  </a:cxn>
                  <a:cxn ang="0">
                    <a:pos x="0" y="6"/>
                  </a:cxn>
                  <a:cxn ang="0">
                    <a:pos x="0" y="5"/>
                  </a:cxn>
                </a:cxnLst>
                <a:rect l="0" t="0" r="r" b="b"/>
                <a:pathLst>
                  <a:path w="29" h="28">
                    <a:moveTo>
                      <a:pt x="0" y="5"/>
                    </a:moveTo>
                    <a:lnTo>
                      <a:pt x="0" y="2"/>
                    </a:lnTo>
                    <a:lnTo>
                      <a:pt x="3" y="2"/>
                    </a:lnTo>
                    <a:lnTo>
                      <a:pt x="3" y="0"/>
                    </a:lnTo>
                    <a:lnTo>
                      <a:pt x="4" y="0"/>
                    </a:lnTo>
                    <a:lnTo>
                      <a:pt x="9" y="2"/>
                    </a:lnTo>
                    <a:lnTo>
                      <a:pt x="10" y="3"/>
                    </a:lnTo>
                    <a:lnTo>
                      <a:pt x="12" y="5"/>
                    </a:lnTo>
                    <a:lnTo>
                      <a:pt x="13" y="6"/>
                    </a:lnTo>
                    <a:lnTo>
                      <a:pt x="15" y="12"/>
                    </a:lnTo>
                    <a:lnTo>
                      <a:pt x="19" y="13"/>
                    </a:lnTo>
                    <a:lnTo>
                      <a:pt x="22" y="12"/>
                    </a:lnTo>
                    <a:lnTo>
                      <a:pt x="26" y="13"/>
                    </a:lnTo>
                    <a:lnTo>
                      <a:pt x="28" y="13"/>
                    </a:lnTo>
                    <a:lnTo>
                      <a:pt x="29" y="16"/>
                    </a:lnTo>
                    <a:lnTo>
                      <a:pt x="29" y="18"/>
                    </a:lnTo>
                    <a:lnTo>
                      <a:pt x="29" y="21"/>
                    </a:lnTo>
                    <a:lnTo>
                      <a:pt x="26" y="22"/>
                    </a:lnTo>
                    <a:lnTo>
                      <a:pt x="17" y="23"/>
                    </a:lnTo>
                    <a:lnTo>
                      <a:pt x="16" y="28"/>
                    </a:lnTo>
                    <a:lnTo>
                      <a:pt x="15" y="28"/>
                    </a:lnTo>
                    <a:lnTo>
                      <a:pt x="12" y="25"/>
                    </a:lnTo>
                    <a:lnTo>
                      <a:pt x="10" y="19"/>
                    </a:lnTo>
                    <a:lnTo>
                      <a:pt x="9" y="18"/>
                    </a:lnTo>
                    <a:lnTo>
                      <a:pt x="6" y="16"/>
                    </a:lnTo>
                    <a:lnTo>
                      <a:pt x="1" y="9"/>
                    </a:lnTo>
                    <a:lnTo>
                      <a:pt x="0" y="7"/>
                    </a:lnTo>
                    <a:lnTo>
                      <a:pt x="0" y="6"/>
                    </a:lnTo>
                    <a:lnTo>
                      <a:pt x="0" y="5"/>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26" name="Freeform 1654"/>
              <p:cNvSpPr>
                <a:spLocks/>
              </p:cNvSpPr>
              <p:nvPr/>
            </p:nvSpPr>
            <p:spPr bwMode="auto">
              <a:xfrm>
                <a:off x="6560504" y="3416604"/>
                <a:ext cx="17556" cy="74031"/>
              </a:xfrm>
              <a:custGeom>
                <a:avLst/>
                <a:gdLst/>
                <a:ahLst/>
                <a:cxnLst>
                  <a:cxn ang="0">
                    <a:pos x="15" y="65"/>
                  </a:cxn>
                  <a:cxn ang="0">
                    <a:pos x="15" y="65"/>
                  </a:cxn>
                  <a:cxn ang="0">
                    <a:pos x="15" y="65"/>
                  </a:cxn>
                  <a:cxn ang="0">
                    <a:pos x="13" y="68"/>
                  </a:cxn>
                  <a:cxn ang="0">
                    <a:pos x="12" y="68"/>
                  </a:cxn>
                  <a:cxn ang="0">
                    <a:pos x="12" y="68"/>
                  </a:cxn>
                  <a:cxn ang="0">
                    <a:pos x="10" y="68"/>
                  </a:cxn>
                  <a:cxn ang="0">
                    <a:pos x="10" y="67"/>
                  </a:cxn>
                  <a:cxn ang="0">
                    <a:pos x="10" y="64"/>
                  </a:cxn>
                  <a:cxn ang="0">
                    <a:pos x="10" y="62"/>
                  </a:cxn>
                  <a:cxn ang="0">
                    <a:pos x="10" y="61"/>
                  </a:cxn>
                  <a:cxn ang="0">
                    <a:pos x="7" y="58"/>
                  </a:cxn>
                  <a:cxn ang="0">
                    <a:pos x="6" y="52"/>
                  </a:cxn>
                  <a:cxn ang="0">
                    <a:pos x="6" y="52"/>
                  </a:cxn>
                  <a:cxn ang="0">
                    <a:pos x="2" y="40"/>
                  </a:cxn>
                  <a:cxn ang="0">
                    <a:pos x="2" y="39"/>
                  </a:cxn>
                  <a:cxn ang="0">
                    <a:pos x="2" y="37"/>
                  </a:cxn>
                  <a:cxn ang="0">
                    <a:pos x="5" y="33"/>
                  </a:cxn>
                  <a:cxn ang="0">
                    <a:pos x="6" y="30"/>
                  </a:cxn>
                  <a:cxn ang="0">
                    <a:pos x="5" y="16"/>
                  </a:cxn>
                  <a:cxn ang="0">
                    <a:pos x="6" y="13"/>
                  </a:cxn>
                  <a:cxn ang="0">
                    <a:pos x="6" y="11"/>
                  </a:cxn>
                  <a:cxn ang="0">
                    <a:pos x="5" y="10"/>
                  </a:cxn>
                  <a:cxn ang="0">
                    <a:pos x="3" y="10"/>
                  </a:cxn>
                  <a:cxn ang="0">
                    <a:pos x="3" y="10"/>
                  </a:cxn>
                  <a:cxn ang="0">
                    <a:pos x="0" y="5"/>
                  </a:cxn>
                  <a:cxn ang="0">
                    <a:pos x="2" y="1"/>
                  </a:cxn>
                  <a:cxn ang="0">
                    <a:pos x="2" y="0"/>
                  </a:cxn>
                  <a:cxn ang="0">
                    <a:pos x="6" y="1"/>
                  </a:cxn>
                  <a:cxn ang="0">
                    <a:pos x="9" y="4"/>
                  </a:cxn>
                  <a:cxn ang="0">
                    <a:pos x="12" y="17"/>
                  </a:cxn>
                  <a:cxn ang="0">
                    <a:pos x="12" y="21"/>
                  </a:cxn>
                  <a:cxn ang="0">
                    <a:pos x="12" y="23"/>
                  </a:cxn>
                  <a:cxn ang="0">
                    <a:pos x="15" y="26"/>
                  </a:cxn>
                  <a:cxn ang="0">
                    <a:pos x="16" y="27"/>
                  </a:cxn>
                  <a:cxn ang="0">
                    <a:pos x="16" y="29"/>
                  </a:cxn>
                  <a:cxn ang="0">
                    <a:pos x="12" y="42"/>
                  </a:cxn>
                  <a:cxn ang="0">
                    <a:pos x="12" y="43"/>
                  </a:cxn>
                  <a:cxn ang="0">
                    <a:pos x="13" y="45"/>
                  </a:cxn>
                  <a:cxn ang="0">
                    <a:pos x="15" y="58"/>
                  </a:cxn>
                  <a:cxn ang="0">
                    <a:pos x="15" y="56"/>
                  </a:cxn>
                  <a:cxn ang="0">
                    <a:pos x="15" y="58"/>
                  </a:cxn>
                  <a:cxn ang="0">
                    <a:pos x="15" y="59"/>
                  </a:cxn>
                  <a:cxn ang="0">
                    <a:pos x="15" y="61"/>
                  </a:cxn>
                  <a:cxn ang="0">
                    <a:pos x="16" y="61"/>
                  </a:cxn>
                  <a:cxn ang="0">
                    <a:pos x="18" y="62"/>
                  </a:cxn>
                  <a:cxn ang="0">
                    <a:pos x="19" y="68"/>
                  </a:cxn>
                  <a:cxn ang="0">
                    <a:pos x="19" y="69"/>
                  </a:cxn>
                  <a:cxn ang="0">
                    <a:pos x="19" y="71"/>
                  </a:cxn>
                  <a:cxn ang="0">
                    <a:pos x="19" y="69"/>
                  </a:cxn>
                  <a:cxn ang="0">
                    <a:pos x="18" y="68"/>
                  </a:cxn>
                  <a:cxn ang="0">
                    <a:pos x="16" y="67"/>
                  </a:cxn>
                  <a:cxn ang="0">
                    <a:pos x="15" y="65"/>
                  </a:cxn>
                </a:cxnLst>
                <a:rect l="0" t="0" r="r" b="b"/>
                <a:pathLst>
                  <a:path w="19" h="71">
                    <a:moveTo>
                      <a:pt x="15" y="65"/>
                    </a:moveTo>
                    <a:lnTo>
                      <a:pt x="15" y="65"/>
                    </a:lnTo>
                    <a:lnTo>
                      <a:pt x="15" y="65"/>
                    </a:lnTo>
                    <a:lnTo>
                      <a:pt x="13" y="68"/>
                    </a:lnTo>
                    <a:lnTo>
                      <a:pt x="12" y="68"/>
                    </a:lnTo>
                    <a:lnTo>
                      <a:pt x="12" y="68"/>
                    </a:lnTo>
                    <a:lnTo>
                      <a:pt x="10" y="68"/>
                    </a:lnTo>
                    <a:lnTo>
                      <a:pt x="10" y="67"/>
                    </a:lnTo>
                    <a:lnTo>
                      <a:pt x="10" y="64"/>
                    </a:lnTo>
                    <a:lnTo>
                      <a:pt x="10" y="62"/>
                    </a:lnTo>
                    <a:lnTo>
                      <a:pt x="10" y="61"/>
                    </a:lnTo>
                    <a:lnTo>
                      <a:pt x="7" y="58"/>
                    </a:lnTo>
                    <a:lnTo>
                      <a:pt x="6" y="52"/>
                    </a:lnTo>
                    <a:lnTo>
                      <a:pt x="6" y="52"/>
                    </a:lnTo>
                    <a:lnTo>
                      <a:pt x="2" y="40"/>
                    </a:lnTo>
                    <a:lnTo>
                      <a:pt x="2" y="39"/>
                    </a:lnTo>
                    <a:lnTo>
                      <a:pt x="2" y="37"/>
                    </a:lnTo>
                    <a:lnTo>
                      <a:pt x="5" y="33"/>
                    </a:lnTo>
                    <a:lnTo>
                      <a:pt x="6" y="30"/>
                    </a:lnTo>
                    <a:lnTo>
                      <a:pt x="5" y="16"/>
                    </a:lnTo>
                    <a:lnTo>
                      <a:pt x="6" y="13"/>
                    </a:lnTo>
                    <a:lnTo>
                      <a:pt x="6" y="11"/>
                    </a:lnTo>
                    <a:lnTo>
                      <a:pt x="5" y="10"/>
                    </a:lnTo>
                    <a:lnTo>
                      <a:pt x="3" y="10"/>
                    </a:lnTo>
                    <a:lnTo>
                      <a:pt x="3" y="10"/>
                    </a:lnTo>
                    <a:lnTo>
                      <a:pt x="0" y="5"/>
                    </a:lnTo>
                    <a:lnTo>
                      <a:pt x="2" y="1"/>
                    </a:lnTo>
                    <a:lnTo>
                      <a:pt x="2" y="0"/>
                    </a:lnTo>
                    <a:lnTo>
                      <a:pt x="6" y="1"/>
                    </a:lnTo>
                    <a:lnTo>
                      <a:pt x="9" y="4"/>
                    </a:lnTo>
                    <a:lnTo>
                      <a:pt x="12" y="17"/>
                    </a:lnTo>
                    <a:lnTo>
                      <a:pt x="12" y="21"/>
                    </a:lnTo>
                    <a:lnTo>
                      <a:pt x="12" y="23"/>
                    </a:lnTo>
                    <a:lnTo>
                      <a:pt x="15" y="26"/>
                    </a:lnTo>
                    <a:lnTo>
                      <a:pt x="16" y="27"/>
                    </a:lnTo>
                    <a:lnTo>
                      <a:pt x="16" y="29"/>
                    </a:lnTo>
                    <a:lnTo>
                      <a:pt x="12" y="42"/>
                    </a:lnTo>
                    <a:lnTo>
                      <a:pt x="12" y="43"/>
                    </a:lnTo>
                    <a:lnTo>
                      <a:pt x="13" y="45"/>
                    </a:lnTo>
                    <a:lnTo>
                      <a:pt x="15" y="58"/>
                    </a:lnTo>
                    <a:lnTo>
                      <a:pt x="15" y="56"/>
                    </a:lnTo>
                    <a:lnTo>
                      <a:pt x="15" y="58"/>
                    </a:lnTo>
                    <a:lnTo>
                      <a:pt x="15" y="59"/>
                    </a:lnTo>
                    <a:lnTo>
                      <a:pt x="15" y="61"/>
                    </a:lnTo>
                    <a:lnTo>
                      <a:pt x="16" y="61"/>
                    </a:lnTo>
                    <a:lnTo>
                      <a:pt x="18" y="62"/>
                    </a:lnTo>
                    <a:lnTo>
                      <a:pt x="19" y="68"/>
                    </a:lnTo>
                    <a:lnTo>
                      <a:pt x="19" y="69"/>
                    </a:lnTo>
                    <a:lnTo>
                      <a:pt x="19" y="71"/>
                    </a:lnTo>
                    <a:lnTo>
                      <a:pt x="19" y="69"/>
                    </a:lnTo>
                    <a:lnTo>
                      <a:pt x="18" y="68"/>
                    </a:lnTo>
                    <a:lnTo>
                      <a:pt x="16" y="67"/>
                    </a:lnTo>
                    <a:lnTo>
                      <a:pt x="15" y="65"/>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27" name="Freeform 1655"/>
              <p:cNvSpPr>
                <a:spLocks/>
              </p:cNvSpPr>
              <p:nvPr/>
            </p:nvSpPr>
            <p:spPr bwMode="auto">
              <a:xfrm>
                <a:off x="6560504" y="3416604"/>
                <a:ext cx="17556" cy="74031"/>
              </a:xfrm>
              <a:custGeom>
                <a:avLst/>
                <a:gdLst/>
                <a:ahLst/>
                <a:cxnLst>
                  <a:cxn ang="0">
                    <a:pos x="15" y="65"/>
                  </a:cxn>
                  <a:cxn ang="0">
                    <a:pos x="15" y="65"/>
                  </a:cxn>
                  <a:cxn ang="0">
                    <a:pos x="15" y="65"/>
                  </a:cxn>
                  <a:cxn ang="0">
                    <a:pos x="13" y="68"/>
                  </a:cxn>
                  <a:cxn ang="0">
                    <a:pos x="12" y="68"/>
                  </a:cxn>
                  <a:cxn ang="0">
                    <a:pos x="12" y="68"/>
                  </a:cxn>
                  <a:cxn ang="0">
                    <a:pos x="10" y="68"/>
                  </a:cxn>
                  <a:cxn ang="0">
                    <a:pos x="10" y="67"/>
                  </a:cxn>
                  <a:cxn ang="0">
                    <a:pos x="10" y="64"/>
                  </a:cxn>
                  <a:cxn ang="0">
                    <a:pos x="10" y="62"/>
                  </a:cxn>
                  <a:cxn ang="0">
                    <a:pos x="10" y="61"/>
                  </a:cxn>
                  <a:cxn ang="0">
                    <a:pos x="7" y="58"/>
                  </a:cxn>
                  <a:cxn ang="0">
                    <a:pos x="6" y="52"/>
                  </a:cxn>
                  <a:cxn ang="0">
                    <a:pos x="6" y="52"/>
                  </a:cxn>
                  <a:cxn ang="0">
                    <a:pos x="2" y="40"/>
                  </a:cxn>
                  <a:cxn ang="0">
                    <a:pos x="2" y="39"/>
                  </a:cxn>
                  <a:cxn ang="0">
                    <a:pos x="2" y="37"/>
                  </a:cxn>
                  <a:cxn ang="0">
                    <a:pos x="5" y="33"/>
                  </a:cxn>
                  <a:cxn ang="0">
                    <a:pos x="6" y="30"/>
                  </a:cxn>
                  <a:cxn ang="0">
                    <a:pos x="5" y="16"/>
                  </a:cxn>
                  <a:cxn ang="0">
                    <a:pos x="6" y="13"/>
                  </a:cxn>
                  <a:cxn ang="0">
                    <a:pos x="6" y="11"/>
                  </a:cxn>
                  <a:cxn ang="0">
                    <a:pos x="5" y="10"/>
                  </a:cxn>
                  <a:cxn ang="0">
                    <a:pos x="3" y="10"/>
                  </a:cxn>
                  <a:cxn ang="0">
                    <a:pos x="3" y="10"/>
                  </a:cxn>
                  <a:cxn ang="0">
                    <a:pos x="0" y="5"/>
                  </a:cxn>
                  <a:cxn ang="0">
                    <a:pos x="2" y="1"/>
                  </a:cxn>
                  <a:cxn ang="0">
                    <a:pos x="2" y="0"/>
                  </a:cxn>
                  <a:cxn ang="0">
                    <a:pos x="6" y="1"/>
                  </a:cxn>
                  <a:cxn ang="0">
                    <a:pos x="9" y="4"/>
                  </a:cxn>
                  <a:cxn ang="0">
                    <a:pos x="12" y="17"/>
                  </a:cxn>
                  <a:cxn ang="0">
                    <a:pos x="12" y="21"/>
                  </a:cxn>
                  <a:cxn ang="0">
                    <a:pos x="12" y="23"/>
                  </a:cxn>
                  <a:cxn ang="0">
                    <a:pos x="15" y="26"/>
                  </a:cxn>
                  <a:cxn ang="0">
                    <a:pos x="16" y="27"/>
                  </a:cxn>
                  <a:cxn ang="0">
                    <a:pos x="16" y="29"/>
                  </a:cxn>
                  <a:cxn ang="0">
                    <a:pos x="12" y="42"/>
                  </a:cxn>
                  <a:cxn ang="0">
                    <a:pos x="12" y="43"/>
                  </a:cxn>
                  <a:cxn ang="0">
                    <a:pos x="13" y="45"/>
                  </a:cxn>
                  <a:cxn ang="0">
                    <a:pos x="15" y="58"/>
                  </a:cxn>
                  <a:cxn ang="0">
                    <a:pos x="15" y="56"/>
                  </a:cxn>
                  <a:cxn ang="0">
                    <a:pos x="15" y="58"/>
                  </a:cxn>
                  <a:cxn ang="0">
                    <a:pos x="15" y="59"/>
                  </a:cxn>
                  <a:cxn ang="0">
                    <a:pos x="15" y="61"/>
                  </a:cxn>
                  <a:cxn ang="0">
                    <a:pos x="16" y="61"/>
                  </a:cxn>
                  <a:cxn ang="0">
                    <a:pos x="18" y="62"/>
                  </a:cxn>
                  <a:cxn ang="0">
                    <a:pos x="19" y="68"/>
                  </a:cxn>
                  <a:cxn ang="0">
                    <a:pos x="19" y="69"/>
                  </a:cxn>
                  <a:cxn ang="0">
                    <a:pos x="19" y="71"/>
                  </a:cxn>
                  <a:cxn ang="0">
                    <a:pos x="19" y="69"/>
                  </a:cxn>
                  <a:cxn ang="0">
                    <a:pos x="18" y="68"/>
                  </a:cxn>
                  <a:cxn ang="0">
                    <a:pos x="16" y="67"/>
                  </a:cxn>
                  <a:cxn ang="0">
                    <a:pos x="15" y="65"/>
                  </a:cxn>
                </a:cxnLst>
                <a:rect l="0" t="0" r="r" b="b"/>
                <a:pathLst>
                  <a:path w="19" h="71">
                    <a:moveTo>
                      <a:pt x="15" y="65"/>
                    </a:moveTo>
                    <a:lnTo>
                      <a:pt x="15" y="65"/>
                    </a:lnTo>
                    <a:lnTo>
                      <a:pt x="15" y="65"/>
                    </a:lnTo>
                    <a:lnTo>
                      <a:pt x="13" y="68"/>
                    </a:lnTo>
                    <a:lnTo>
                      <a:pt x="12" y="68"/>
                    </a:lnTo>
                    <a:lnTo>
                      <a:pt x="12" y="68"/>
                    </a:lnTo>
                    <a:lnTo>
                      <a:pt x="10" y="68"/>
                    </a:lnTo>
                    <a:lnTo>
                      <a:pt x="10" y="67"/>
                    </a:lnTo>
                    <a:lnTo>
                      <a:pt x="10" y="64"/>
                    </a:lnTo>
                    <a:lnTo>
                      <a:pt x="10" y="62"/>
                    </a:lnTo>
                    <a:lnTo>
                      <a:pt x="10" y="61"/>
                    </a:lnTo>
                    <a:lnTo>
                      <a:pt x="7" y="58"/>
                    </a:lnTo>
                    <a:lnTo>
                      <a:pt x="6" y="52"/>
                    </a:lnTo>
                    <a:lnTo>
                      <a:pt x="6" y="52"/>
                    </a:lnTo>
                    <a:lnTo>
                      <a:pt x="2" y="40"/>
                    </a:lnTo>
                    <a:lnTo>
                      <a:pt x="2" y="39"/>
                    </a:lnTo>
                    <a:lnTo>
                      <a:pt x="2" y="37"/>
                    </a:lnTo>
                    <a:lnTo>
                      <a:pt x="5" y="33"/>
                    </a:lnTo>
                    <a:lnTo>
                      <a:pt x="6" y="30"/>
                    </a:lnTo>
                    <a:lnTo>
                      <a:pt x="5" y="16"/>
                    </a:lnTo>
                    <a:lnTo>
                      <a:pt x="6" y="13"/>
                    </a:lnTo>
                    <a:lnTo>
                      <a:pt x="6" y="11"/>
                    </a:lnTo>
                    <a:lnTo>
                      <a:pt x="5" y="10"/>
                    </a:lnTo>
                    <a:lnTo>
                      <a:pt x="3" y="10"/>
                    </a:lnTo>
                    <a:lnTo>
                      <a:pt x="3" y="10"/>
                    </a:lnTo>
                    <a:lnTo>
                      <a:pt x="0" y="5"/>
                    </a:lnTo>
                    <a:lnTo>
                      <a:pt x="2" y="1"/>
                    </a:lnTo>
                    <a:lnTo>
                      <a:pt x="2" y="0"/>
                    </a:lnTo>
                    <a:lnTo>
                      <a:pt x="6" y="1"/>
                    </a:lnTo>
                    <a:lnTo>
                      <a:pt x="9" y="4"/>
                    </a:lnTo>
                    <a:lnTo>
                      <a:pt x="12" y="17"/>
                    </a:lnTo>
                    <a:lnTo>
                      <a:pt x="12" y="21"/>
                    </a:lnTo>
                    <a:lnTo>
                      <a:pt x="12" y="23"/>
                    </a:lnTo>
                    <a:lnTo>
                      <a:pt x="15" y="26"/>
                    </a:lnTo>
                    <a:lnTo>
                      <a:pt x="16" y="27"/>
                    </a:lnTo>
                    <a:lnTo>
                      <a:pt x="16" y="29"/>
                    </a:lnTo>
                    <a:lnTo>
                      <a:pt x="12" y="42"/>
                    </a:lnTo>
                    <a:lnTo>
                      <a:pt x="12" y="43"/>
                    </a:lnTo>
                    <a:lnTo>
                      <a:pt x="13" y="45"/>
                    </a:lnTo>
                    <a:lnTo>
                      <a:pt x="15" y="58"/>
                    </a:lnTo>
                    <a:lnTo>
                      <a:pt x="15" y="56"/>
                    </a:lnTo>
                    <a:lnTo>
                      <a:pt x="15" y="58"/>
                    </a:lnTo>
                    <a:lnTo>
                      <a:pt x="15" y="59"/>
                    </a:lnTo>
                    <a:lnTo>
                      <a:pt x="15" y="61"/>
                    </a:lnTo>
                    <a:lnTo>
                      <a:pt x="16" y="61"/>
                    </a:lnTo>
                    <a:lnTo>
                      <a:pt x="18" y="62"/>
                    </a:lnTo>
                    <a:lnTo>
                      <a:pt x="19" y="68"/>
                    </a:lnTo>
                    <a:lnTo>
                      <a:pt x="19" y="69"/>
                    </a:lnTo>
                    <a:lnTo>
                      <a:pt x="19" y="71"/>
                    </a:lnTo>
                    <a:lnTo>
                      <a:pt x="19" y="69"/>
                    </a:lnTo>
                    <a:lnTo>
                      <a:pt x="18" y="68"/>
                    </a:lnTo>
                    <a:lnTo>
                      <a:pt x="16" y="67"/>
                    </a:lnTo>
                    <a:lnTo>
                      <a:pt x="15" y="65"/>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28" name="Freeform 1656"/>
              <p:cNvSpPr>
                <a:spLocks/>
              </p:cNvSpPr>
              <p:nvPr/>
            </p:nvSpPr>
            <p:spPr bwMode="auto">
              <a:xfrm>
                <a:off x="6499057" y="3324318"/>
                <a:ext cx="26334" cy="80117"/>
              </a:xfrm>
              <a:custGeom>
                <a:avLst/>
                <a:gdLst/>
                <a:ahLst/>
                <a:cxnLst>
                  <a:cxn ang="0">
                    <a:pos x="18" y="60"/>
                  </a:cxn>
                  <a:cxn ang="0">
                    <a:pos x="15" y="57"/>
                  </a:cxn>
                  <a:cxn ang="0">
                    <a:pos x="12" y="55"/>
                  </a:cxn>
                  <a:cxn ang="0">
                    <a:pos x="6" y="49"/>
                  </a:cxn>
                  <a:cxn ang="0">
                    <a:pos x="5" y="45"/>
                  </a:cxn>
                  <a:cxn ang="0">
                    <a:pos x="3" y="44"/>
                  </a:cxn>
                  <a:cxn ang="0">
                    <a:pos x="3" y="39"/>
                  </a:cxn>
                  <a:cxn ang="0">
                    <a:pos x="3" y="33"/>
                  </a:cxn>
                  <a:cxn ang="0">
                    <a:pos x="0" y="25"/>
                  </a:cxn>
                  <a:cxn ang="0">
                    <a:pos x="2" y="15"/>
                  </a:cxn>
                  <a:cxn ang="0">
                    <a:pos x="2" y="13"/>
                  </a:cxn>
                  <a:cxn ang="0">
                    <a:pos x="0" y="13"/>
                  </a:cxn>
                  <a:cxn ang="0">
                    <a:pos x="3" y="0"/>
                  </a:cxn>
                  <a:cxn ang="0">
                    <a:pos x="3" y="1"/>
                  </a:cxn>
                  <a:cxn ang="0">
                    <a:pos x="5" y="12"/>
                  </a:cxn>
                  <a:cxn ang="0">
                    <a:pos x="8" y="15"/>
                  </a:cxn>
                  <a:cxn ang="0">
                    <a:pos x="8" y="23"/>
                  </a:cxn>
                  <a:cxn ang="0">
                    <a:pos x="9" y="25"/>
                  </a:cxn>
                  <a:cxn ang="0">
                    <a:pos x="11" y="26"/>
                  </a:cxn>
                  <a:cxn ang="0">
                    <a:pos x="12" y="36"/>
                  </a:cxn>
                  <a:cxn ang="0">
                    <a:pos x="11" y="38"/>
                  </a:cxn>
                  <a:cxn ang="0">
                    <a:pos x="9" y="41"/>
                  </a:cxn>
                  <a:cxn ang="0">
                    <a:pos x="11" y="44"/>
                  </a:cxn>
                  <a:cxn ang="0">
                    <a:pos x="16" y="47"/>
                  </a:cxn>
                  <a:cxn ang="0">
                    <a:pos x="21" y="52"/>
                  </a:cxn>
                  <a:cxn ang="0">
                    <a:pos x="21" y="58"/>
                  </a:cxn>
                  <a:cxn ang="0">
                    <a:pos x="29" y="74"/>
                  </a:cxn>
                  <a:cxn ang="0">
                    <a:pos x="27" y="77"/>
                  </a:cxn>
                  <a:cxn ang="0">
                    <a:pos x="24" y="76"/>
                  </a:cxn>
                  <a:cxn ang="0">
                    <a:pos x="22" y="76"/>
                  </a:cxn>
                  <a:cxn ang="0">
                    <a:pos x="21" y="74"/>
                  </a:cxn>
                  <a:cxn ang="0">
                    <a:pos x="21" y="73"/>
                  </a:cxn>
                  <a:cxn ang="0">
                    <a:pos x="21" y="71"/>
                  </a:cxn>
                  <a:cxn ang="0">
                    <a:pos x="18" y="60"/>
                  </a:cxn>
                </a:cxnLst>
                <a:rect l="0" t="0" r="r" b="b"/>
                <a:pathLst>
                  <a:path w="29" h="77">
                    <a:moveTo>
                      <a:pt x="18" y="60"/>
                    </a:moveTo>
                    <a:lnTo>
                      <a:pt x="15" y="57"/>
                    </a:lnTo>
                    <a:lnTo>
                      <a:pt x="12" y="55"/>
                    </a:lnTo>
                    <a:lnTo>
                      <a:pt x="6" y="49"/>
                    </a:lnTo>
                    <a:lnTo>
                      <a:pt x="5" y="45"/>
                    </a:lnTo>
                    <a:lnTo>
                      <a:pt x="3" y="44"/>
                    </a:lnTo>
                    <a:lnTo>
                      <a:pt x="3" y="39"/>
                    </a:lnTo>
                    <a:lnTo>
                      <a:pt x="3" y="33"/>
                    </a:lnTo>
                    <a:lnTo>
                      <a:pt x="0" y="25"/>
                    </a:lnTo>
                    <a:lnTo>
                      <a:pt x="2" y="15"/>
                    </a:lnTo>
                    <a:lnTo>
                      <a:pt x="2" y="13"/>
                    </a:lnTo>
                    <a:lnTo>
                      <a:pt x="0" y="13"/>
                    </a:lnTo>
                    <a:lnTo>
                      <a:pt x="3" y="0"/>
                    </a:lnTo>
                    <a:lnTo>
                      <a:pt x="3" y="1"/>
                    </a:lnTo>
                    <a:lnTo>
                      <a:pt x="5" y="12"/>
                    </a:lnTo>
                    <a:lnTo>
                      <a:pt x="8" y="15"/>
                    </a:lnTo>
                    <a:lnTo>
                      <a:pt x="8" y="23"/>
                    </a:lnTo>
                    <a:lnTo>
                      <a:pt x="9" y="25"/>
                    </a:lnTo>
                    <a:lnTo>
                      <a:pt x="11" y="26"/>
                    </a:lnTo>
                    <a:lnTo>
                      <a:pt x="12" y="36"/>
                    </a:lnTo>
                    <a:lnTo>
                      <a:pt x="11" y="38"/>
                    </a:lnTo>
                    <a:lnTo>
                      <a:pt x="9" y="41"/>
                    </a:lnTo>
                    <a:lnTo>
                      <a:pt x="11" y="44"/>
                    </a:lnTo>
                    <a:lnTo>
                      <a:pt x="16" y="47"/>
                    </a:lnTo>
                    <a:lnTo>
                      <a:pt x="21" y="52"/>
                    </a:lnTo>
                    <a:lnTo>
                      <a:pt x="21" y="58"/>
                    </a:lnTo>
                    <a:lnTo>
                      <a:pt x="29" y="74"/>
                    </a:lnTo>
                    <a:lnTo>
                      <a:pt x="27" y="77"/>
                    </a:lnTo>
                    <a:lnTo>
                      <a:pt x="24" y="76"/>
                    </a:lnTo>
                    <a:lnTo>
                      <a:pt x="22" y="76"/>
                    </a:lnTo>
                    <a:lnTo>
                      <a:pt x="21" y="74"/>
                    </a:lnTo>
                    <a:lnTo>
                      <a:pt x="21" y="73"/>
                    </a:lnTo>
                    <a:lnTo>
                      <a:pt x="21" y="71"/>
                    </a:lnTo>
                    <a:lnTo>
                      <a:pt x="18" y="6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29" name="Freeform 1657"/>
              <p:cNvSpPr>
                <a:spLocks/>
              </p:cNvSpPr>
              <p:nvPr/>
            </p:nvSpPr>
            <p:spPr bwMode="auto">
              <a:xfrm>
                <a:off x="6499057" y="3324318"/>
                <a:ext cx="26334" cy="80117"/>
              </a:xfrm>
              <a:custGeom>
                <a:avLst/>
                <a:gdLst/>
                <a:ahLst/>
                <a:cxnLst>
                  <a:cxn ang="0">
                    <a:pos x="18" y="60"/>
                  </a:cxn>
                  <a:cxn ang="0">
                    <a:pos x="15" y="57"/>
                  </a:cxn>
                  <a:cxn ang="0">
                    <a:pos x="12" y="55"/>
                  </a:cxn>
                  <a:cxn ang="0">
                    <a:pos x="6" y="49"/>
                  </a:cxn>
                  <a:cxn ang="0">
                    <a:pos x="5" y="45"/>
                  </a:cxn>
                  <a:cxn ang="0">
                    <a:pos x="3" y="44"/>
                  </a:cxn>
                  <a:cxn ang="0">
                    <a:pos x="3" y="39"/>
                  </a:cxn>
                  <a:cxn ang="0">
                    <a:pos x="3" y="33"/>
                  </a:cxn>
                  <a:cxn ang="0">
                    <a:pos x="0" y="25"/>
                  </a:cxn>
                  <a:cxn ang="0">
                    <a:pos x="2" y="15"/>
                  </a:cxn>
                  <a:cxn ang="0">
                    <a:pos x="2" y="13"/>
                  </a:cxn>
                  <a:cxn ang="0">
                    <a:pos x="0" y="13"/>
                  </a:cxn>
                  <a:cxn ang="0">
                    <a:pos x="3" y="0"/>
                  </a:cxn>
                  <a:cxn ang="0">
                    <a:pos x="3" y="1"/>
                  </a:cxn>
                  <a:cxn ang="0">
                    <a:pos x="5" y="12"/>
                  </a:cxn>
                  <a:cxn ang="0">
                    <a:pos x="8" y="15"/>
                  </a:cxn>
                  <a:cxn ang="0">
                    <a:pos x="8" y="23"/>
                  </a:cxn>
                  <a:cxn ang="0">
                    <a:pos x="9" y="25"/>
                  </a:cxn>
                  <a:cxn ang="0">
                    <a:pos x="11" y="26"/>
                  </a:cxn>
                  <a:cxn ang="0">
                    <a:pos x="12" y="36"/>
                  </a:cxn>
                  <a:cxn ang="0">
                    <a:pos x="11" y="38"/>
                  </a:cxn>
                  <a:cxn ang="0">
                    <a:pos x="9" y="41"/>
                  </a:cxn>
                  <a:cxn ang="0">
                    <a:pos x="11" y="44"/>
                  </a:cxn>
                  <a:cxn ang="0">
                    <a:pos x="16" y="47"/>
                  </a:cxn>
                  <a:cxn ang="0">
                    <a:pos x="21" y="52"/>
                  </a:cxn>
                  <a:cxn ang="0">
                    <a:pos x="21" y="58"/>
                  </a:cxn>
                  <a:cxn ang="0">
                    <a:pos x="29" y="74"/>
                  </a:cxn>
                  <a:cxn ang="0">
                    <a:pos x="27" y="77"/>
                  </a:cxn>
                  <a:cxn ang="0">
                    <a:pos x="24" y="76"/>
                  </a:cxn>
                  <a:cxn ang="0">
                    <a:pos x="22" y="76"/>
                  </a:cxn>
                  <a:cxn ang="0">
                    <a:pos x="21" y="74"/>
                  </a:cxn>
                  <a:cxn ang="0">
                    <a:pos x="21" y="73"/>
                  </a:cxn>
                  <a:cxn ang="0">
                    <a:pos x="21" y="71"/>
                  </a:cxn>
                  <a:cxn ang="0">
                    <a:pos x="18" y="60"/>
                  </a:cxn>
                </a:cxnLst>
                <a:rect l="0" t="0" r="r" b="b"/>
                <a:pathLst>
                  <a:path w="29" h="77">
                    <a:moveTo>
                      <a:pt x="18" y="60"/>
                    </a:moveTo>
                    <a:lnTo>
                      <a:pt x="15" y="57"/>
                    </a:lnTo>
                    <a:lnTo>
                      <a:pt x="12" y="55"/>
                    </a:lnTo>
                    <a:lnTo>
                      <a:pt x="6" y="49"/>
                    </a:lnTo>
                    <a:lnTo>
                      <a:pt x="5" y="45"/>
                    </a:lnTo>
                    <a:lnTo>
                      <a:pt x="3" y="44"/>
                    </a:lnTo>
                    <a:lnTo>
                      <a:pt x="3" y="39"/>
                    </a:lnTo>
                    <a:lnTo>
                      <a:pt x="3" y="33"/>
                    </a:lnTo>
                    <a:lnTo>
                      <a:pt x="0" y="25"/>
                    </a:lnTo>
                    <a:lnTo>
                      <a:pt x="2" y="15"/>
                    </a:lnTo>
                    <a:lnTo>
                      <a:pt x="2" y="13"/>
                    </a:lnTo>
                    <a:lnTo>
                      <a:pt x="0" y="13"/>
                    </a:lnTo>
                    <a:lnTo>
                      <a:pt x="3" y="0"/>
                    </a:lnTo>
                    <a:lnTo>
                      <a:pt x="3" y="1"/>
                    </a:lnTo>
                    <a:lnTo>
                      <a:pt x="5" y="12"/>
                    </a:lnTo>
                    <a:lnTo>
                      <a:pt x="8" y="15"/>
                    </a:lnTo>
                    <a:lnTo>
                      <a:pt x="8" y="23"/>
                    </a:lnTo>
                    <a:lnTo>
                      <a:pt x="9" y="25"/>
                    </a:lnTo>
                    <a:lnTo>
                      <a:pt x="11" y="26"/>
                    </a:lnTo>
                    <a:lnTo>
                      <a:pt x="12" y="36"/>
                    </a:lnTo>
                    <a:lnTo>
                      <a:pt x="11" y="38"/>
                    </a:lnTo>
                    <a:lnTo>
                      <a:pt x="9" y="41"/>
                    </a:lnTo>
                    <a:lnTo>
                      <a:pt x="11" y="44"/>
                    </a:lnTo>
                    <a:lnTo>
                      <a:pt x="16" y="47"/>
                    </a:lnTo>
                    <a:lnTo>
                      <a:pt x="21" y="52"/>
                    </a:lnTo>
                    <a:lnTo>
                      <a:pt x="21" y="58"/>
                    </a:lnTo>
                    <a:lnTo>
                      <a:pt x="29" y="74"/>
                    </a:lnTo>
                    <a:lnTo>
                      <a:pt x="27" y="77"/>
                    </a:lnTo>
                    <a:lnTo>
                      <a:pt x="24" y="76"/>
                    </a:lnTo>
                    <a:lnTo>
                      <a:pt x="22" y="76"/>
                    </a:lnTo>
                    <a:lnTo>
                      <a:pt x="21" y="74"/>
                    </a:lnTo>
                    <a:lnTo>
                      <a:pt x="21" y="73"/>
                    </a:lnTo>
                    <a:lnTo>
                      <a:pt x="21" y="71"/>
                    </a:lnTo>
                    <a:lnTo>
                      <a:pt x="18" y="6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30" name="Freeform 1658"/>
              <p:cNvSpPr>
                <a:spLocks/>
              </p:cNvSpPr>
              <p:nvPr/>
            </p:nvSpPr>
            <p:spPr bwMode="auto">
              <a:xfrm>
                <a:off x="6533291" y="3269554"/>
                <a:ext cx="39501" cy="47664"/>
              </a:xfrm>
              <a:custGeom>
                <a:avLst/>
                <a:gdLst/>
                <a:ahLst/>
                <a:cxnLst>
                  <a:cxn ang="0">
                    <a:pos x="3" y="7"/>
                  </a:cxn>
                  <a:cxn ang="0">
                    <a:pos x="10" y="4"/>
                  </a:cxn>
                  <a:cxn ang="0">
                    <a:pos x="13" y="4"/>
                  </a:cxn>
                  <a:cxn ang="0">
                    <a:pos x="14" y="3"/>
                  </a:cxn>
                  <a:cxn ang="0">
                    <a:pos x="19" y="4"/>
                  </a:cxn>
                  <a:cxn ang="0">
                    <a:pos x="27" y="3"/>
                  </a:cxn>
                  <a:cxn ang="0">
                    <a:pos x="32" y="3"/>
                  </a:cxn>
                  <a:cxn ang="0">
                    <a:pos x="32" y="6"/>
                  </a:cxn>
                  <a:cxn ang="0">
                    <a:pos x="35" y="10"/>
                  </a:cxn>
                  <a:cxn ang="0">
                    <a:pos x="39" y="8"/>
                  </a:cxn>
                  <a:cxn ang="0">
                    <a:pos x="43" y="10"/>
                  </a:cxn>
                  <a:cxn ang="0">
                    <a:pos x="39" y="13"/>
                  </a:cxn>
                  <a:cxn ang="0">
                    <a:pos x="33" y="16"/>
                  </a:cxn>
                  <a:cxn ang="0">
                    <a:pos x="33" y="20"/>
                  </a:cxn>
                  <a:cxn ang="0">
                    <a:pos x="33" y="23"/>
                  </a:cxn>
                  <a:cxn ang="0">
                    <a:pos x="32" y="23"/>
                  </a:cxn>
                  <a:cxn ang="0">
                    <a:pos x="29" y="26"/>
                  </a:cxn>
                  <a:cxn ang="0">
                    <a:pos x="27" y="29"/>
                  </a:cxn>
                  <a:cxn ang="0">
                    <a:pos x="26" y="30"/>
                  </a:cxn>
                  <a:cxn ang="0">
                    <a:pos x="26" y="32"/>
                  </a:cxn>
                  <a:cxn ang="0">
                    <a:pos x="23" y="35"/>
                  </a:cxn>
                  <a:cxn ang="0">
                    <a:pos x="29" y="35"/>
                  </a:cxn>
                  <a:cxn ang="0">
                    <a:pos x="29" y="37"/>
                  </a:cxn>
                  <a:cxn ang="0">
                    <a:pos x="24" y="40"/>
                  </a:cxn>
                  <a:cxn ang="0">
                    <a:pos x="19" y="40"/>
                  </a:cxn>
                  <a:cxn ang="0">
                    <a:pos x="19" y="45"/>
                  </a:cxn>
                  <a:cxn ang="0">
                    <a:pos x="16" y="40"/>
                  </a:cxn>
                  <a:cxn ang="0">
                    <a:pos x="13" y="42"/>
                  </a:cxn>
                  <a:cxn ang="0">
                    <a:pos x="7" y="39"/>
                  </a:cxn>
                  <a:cxn ang="0">
                    <a:pos x="6" y="40"/>
                  </a:cxn>
                  <a:cxn ang="0">
                    <a:pos x="3" y="43"/>
                  </a:cxn>
                  <a:cxn ang="0">
                    <a:pos x="1" y="40"/>
                  </a:cxn>
                  <a:cxn ang="0">
                    <a:pos x="1" y="19"/>
                  </a:cxn>
                  <a:cxn ang="0">
                    <a:pos x="4" y="10"/>
                  </a:cxn>
                </a:cxnLst>
                <a:rect l="0" t="0" r="r" b="b"/>
                <a:pathLst>
                  <a:path w="43" h="46">
                    <a:moveTo>
                      <a:pt x="3" y="8"/>
                    </a:moveTo>
                    <a:lnTo>
                      <a:pt x="3" y="7"/>
                    </a:lnTo>
                    <a:lnTo>
                      <a:pt x="8" y="6"/>
                    </a:lnTo>
                    <a:lnTo>
                      <a:pt x="10" y="4"/>
                    </a:lnTo>
                    <a:lnTo>
                      <a:pt x="11" y="4"/>
                    </a:lnTo>
                    <a:lnTo>
                      <a:pt x="13" y="4"/>
                    </a:lnTo>
                    <a:lnTo>
                      <a:pt x="13" y="3"/>
                    </a:lnTo>
                    <a:lnTo>
                      <a:pt x="14" y="3"/>
                    </a:lnTo>
                    <a:lnTo>
                      <a:pt x="17" y="3"/>
                    </a:lnTo>
                    <a:lnTo>
                      <a:pt x="19" y="4"/>
                    </a:lnTo>
                    <a:lnTo>
                      <a:pt x="23" y="0"/>
                    </a:lnTo>
                    <a:lnTo>
                      <a:pt x="27" y="3"/>
                    </a:lnTo>
                    <a:lnTo>
                      <a:pt x="29" y="1"/>
                    </a:lnTo>
                    <a:lnTo>
                      <a:pt x="32" y="3"/>
                    </a:lnTo>
                    <a:lnTo>
                      <a:pt x="33" y="1"/>
                    </a:lnTo>
                    <a:lnTo>
                      <a:pt x="32" y="6"/>
                    </a:lnTo>
                    <a:lnTo>
                      <a:pt x="35" y="8"/>
                    </a:lnTo>
                    <a:lnTo>
                      <a:pt x="35" y="10"/>
                    </a:lnTo>
                    <a:lnTo>
                      <a:pt x="36" y="10"/>
                    </a:lnTo>
                    <a:lnTo>
                      <a:pt x="39" y="8"/>
                    </a:lnTo>
                    <a:lnTo>
                      <a:pt x="43" y="8"/>
                    </a:lnTo>
                    <a:lnTo>
                      <a:pt x="43" y="10"/>
                    </a:lnTo>
                    <a:lnTo>
                      <a:pt x="40" y="11"/>
                    </a:lnTo>
                    <a:lnTo>
                      <a:pt x="39" y="13"/>
                    </a:lnTo>
                    <a:lnTo>
                      <a:pt x="36" y="13"/>
                    </a:lnTo>
                    <a:lnTo>
                      <a:pt x="33" y="16"/>
                    </a:lnTo>
                    <a:lnTo>
                      <a:pt x="36" y="19"/>
                    </a:lnTo>
                    <a:lnTo>
                      <a:pt x="33" y="20"/>
                    </a:lnTo>
                    <a:lnTo>
                      <a:pt x="32" y="22"/>
                    </a:lnTo>
                    <a:lnTo>
                      <a:pt x="33" y="23"/>
                    </a:lnTo>
                    <a:lnTo>
                      <a:pt x="33" y="24"/>
                    </a:lnTo>
                    <a:lnTo>
                      <a:pt x="32" y="23"/>
                    </a:lnTo>
                    <a:lnTo>
                      <a:pt x="30" y="26"/>
                    </a:lnTo>
                    <a:lnTo>
                      <a:pt x="29" y="26"/>
                    </a:lnTo>
                    <a:lnTo>
                      <a:pt x="29" y="27"/>
                    </a:lnTo>
                    <a:lnTo>
                      <a:pt x="27" y="29"/>
                    </a:lnTo>
                    <a:lnTo>
                      <a:pt x="27" y="30"/>
                    </a:lnTo>
                    <a:lnTo>
                      <a:pt x="26" y="30"/>
                    </a:lnTo>
                    <a:lnTo>
                      <a:pt x="24" y="32"/>
                    </a:lnTo>
                    <a:lnTo>
                      <a:pt x="26" y="32"/>
                    </a:lnTo>
                    <a:lnTo>
                      <a:pt x="23" y="33"/>
                    </a:lnTo>
                    <a:lnTo>
                      <a:pt x="23" y="35"/>
                    </a:lnTo>
                    <a:lnTo>
                      <a:pt x="24" y="36"/>
                    </a:lnTo>
                    <a:lnTo>
                      <a:pt x="29" y="35"/>
                    </a:lnTo>
                    <a:lnTo>
                      <a:pt x="29" y="36"/>
                    </a:lnTo>
                    <a:lnTo>
                      <a:pt x="29" y="37"/>
                    </a:lnTo>
                    <a:lnTo>
                      <a:pt x="26" y="39"/>
                    </a:lnTo>
                    <a:lnTo>
                      <a:pt x="24" y="40"/>
                    </a:lnTo>
                    <a:lnTo>
                      <a:pt x="20" y="40"/>
                    </a:lnTo>
                    <a:lnTo>
                      <a:pt x="19" y="40"/>
                    </a:lnTo>
                    <a:lnTo>
                      <a:pt x="19" y="43"/>
                    </a:lnTo>
                    <a:lnTo>
                      <a:pt x="19" y="45"/>
                    </a:lnTo>
                    <a:lnTo>
                      <a:pt x="17" y="46"/>
                    </a:lnTo>
                    <a:lnTo>
                      <a:pt x="16" y="40"/>
                    </a:lnTo>
                    <a:lnTo>
                      <a:pt x="14" y="40"/>
                    </a:lnTo>
                    <a:lnTo>
                      <a:pt x="13" y="42"/>
                    </a:lnTo>
                    <a:lnTo>
                      <a:pt x="8" y="37"/>
                    </a:lnTo>
                    <a:lnTo>
                      <a:pt x="7" y="39"/>
                    </a:lnTo>
                    <a:lnTo>
                      <a:pt x="7" y="40"/>
                    </a:lnTo>
                    <a:lnTo>
                      <a:pt x="6" y="40"/>
                    </a:lnTo>
                    <a:lnTo>
                      <a:pt x="4" y="43"/>
                    </a:lnTo>
                    <a:lnTo>
                      <a:pt x="3" y="43"/>
                    </a:lnTo>
                    <a:lnTo>
                      <a:pt x="1" y="42"/>
                    </a:lnTo>
                    <a:lnTo>
                      <a:pt x="1" y="40"/>
                    </a:lnTo>
                    <a:lnTo>
                      <a:pt x="0" y="35"/>
                    </a:lnTo>
                    <a:lnTo>
                      <a:pt x="1" y="19"/>
                    </a:lnTo>
                    <a:lnTo>
                      <a:pt x="0" y="17"/>
                    </a:lnTo>
                    <a:lnTo>
                      <a:pt x="4" y="10"/>
                    </a:lnTo>
                    <a:lnTo>
                      <a:pt x="3" y="8"/>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31" name="Freeform 1659"/>
              <p:cNvSpPr>
                <a:spLocks/>
              </p:cNvSpPr>
              <p:nvPr/>
            </p:nvSpPr>
            <p:spPr bwMode="auto">
              <a:xfrm>
                <a:off x="6533291" y="3269554"/>
                <a:ext cx="39501" cy="47664"/>
              </a:xfrm>
              <a:custGeom>
                <a:avLst/>
                <a:gdLst/>
                <a:ahLst/>
                <a:cxnLst>
                  <a:cxn ang="0">
                    <a:pos x="3" y="7"/>
                  </a:cxn>
                  <a:cxn ang="0">
                    <a:pos x="10" y="4"/>
                  </a:cxn>
                  <a:cxn ang="0">
                    <a:pos x="13" y="4"/>
                  </a:cxn>
                  <a:cxn ang="0">
                    <a:pos x="14" y="3"/>
                  </a:cxn>
                  <a:cxn ang="0">
                    <a:pos x="19" y="4"/>
                  </a:cxn>
                  <a:cxn ang="0">
                    <a:pos x="27" y="3"/>
                  </a:cxn>
                  <a:cxn ang="0">
                    <a:pos x="32" y="3"/>
                  </a:cxn>
                  <a:cxn ang="0">
                    <a:pos x="32" y="6"/>
                  </a:cxn>
                  <a:cxn ang="0">
                    <a:pos x="35" y="10"/>
                  </a:cxn>
                  <a:cxn ang="0">
                    <a:pos x="39" y="8"/>
                  </a:cxn>
                  <a:cxn ang="0">
                    <a:pos x="43" y="10"/>
                  </a:cxn>
                  <a:cxn ang="0">
                    <a:pos x="39" y="13"/>
                  </a:cxn>
                  <a:cxn ang="0">
                    <a:pos x="33" y="16"/>
                  </a:cxn>
                  <a:cxn ang="0">
                    <a:pos x="33" y="20"/>
                  </a:cxn>
                  <a:cxn ang="0">
                    <a:pos x="33" y="23"/>
                  </a:cxn>
                  <a:cxn ang="0">
                    <a:pos x="32" y="23"/>
                  </a:cxn>
                  <a:cxn ang="0">
                    <a:pos x="29" y="26"/>
                  </a:cxn>
                  <a:cxn ang="0">
                    <a:pos x="27" y="29"/>
                  </a:cxn>
                  <a:cxn ang="0">
                    <a:pos x="26" y="30"/>
                  </a:cxn>
                  <a:cxn ang="0">
                    <a:pos x="26" y="32"/>
                  </a:cxn>
                  <a:cxn ang="0">
                    <a:pos x="23" y="35"/>
                  </a:cxn>
                  <a:cxn ang="0">
                    <a:pos x="29" y="35"/>
                  </a:cxn>
                  <a:cxn ang="0">
                    <a:pos x="29" y="37"/>
                  </a:cxn>
                  <a:cxn ang="0">
                    <a:pos x="24" y="40"/>
                  </a:cxn>
                  <a:cxn ang="0">
                    <a:pos x="19" y="40"/>
                  </a:cxn>
                  <a:cxn ang="0">
                    <a:pos x="19" y="45"/>
                  </a:cxn>
                  <a:cxn ang="0">
                    <a:pos x="16" y="40"/>
                  </a:cxn>
                  <a:cxn ang="0">
                    <a:pos x="13" y="42"/>
                  </a:cxn>
                  <a:cxn ang="0">
                    <a:pos x="7" y="39"/>
                  </a:cxn>
                  <a:cxn ang="0">
                    <a:pos x="6" y="40"/>
                  </a:cxn>
                  <a:cxn ang="0">
                    <a:pos x="3" y="43"/>
                  </a:cxn>
                  <a:cxn ang="0">
                    <a:pos x="1" y="40"/>
                  </a:cxn>
                  <a:cxn ang="0">
                    <a:pos x="1" y="19"/>
                  </a:cxn>
                  <a:cxn ang="0">
                    <a:pos x="4" y="10"/>
                  </a:cxn>
                </a:cxnLst>
                <a:rect l="0" t="0" r="r" b="b"/>
                <a:pathLst>
                  <a:path w="43" h="46">
                    <a:moveTo>
                      <a:pt x="3" y="8"/>
                    </a:moveTo>
                    <a:lnTo>
                      <a:pt x="3" y="7"/>
                    </a:lnTo>
                    <a:lnTo>
                      <a:pt x="8" y="6"/>
                    </a:lnTo>
                    <a:lnTo>
                      <a:pt x="10" y="4"/>
                    </a:lnTo>
                    <a:lnTo>
                      <a:pt x="11" y="4"/>
                    </a:lnTo>
                    <a:lnTo>
                      <a:pt x="13" y="4"/>
                    </a:lnTo>
                    <a:lnTo>
                      <a:pt x="13" y="3"/>
                    </a:lnTo>
                    <a:lnTo>
                      <a:pt x="14" y="3"/>
                    </a:lnTo>
                    <a:lnTo>
                      <a:pt x="17" y="3"/>
                    </a:lnTo>
                    <a:lnTo>
                      <a:pt x="19" y="4"/>
                    </a:lnTo>
                    <a:lnTo>
                      <a:pt x="23" y="0"/>
                    </a:lnTo>
                    <a:lnTo>
                      <a:pt x="27" y="3"/>
                    </a:lnTo>
                    <a:lnTo>
                      <a:pt x="29" y="1"/>
                    </a:lnTo>
                    <a:lnTo>
                      <a:pt x="32" y="3"/>
                    </a:lnTo>
                    <a:lnTo>
                      <a:pt x="33" y="1"/>
                    </a:lnTo>
                    <a:lnTo>
                      <a:pt x="32" y="6"/>
                    </a:lnTo>
                    <a:lnTo>
                      <a:pt x="35" y="8"/>
                    </a:lnTo>
                    <a:lnTo>
                      <a:pt x="35" y="10"/>
                    </a:lnTo>
                    <a:lnTo>
                      <a:pt x="36" y="10"/>
                    </a:lnTo>
                    <a:lnTo>
                      <a:pt x="39" y="8"/>
                    </a:lnTo>
                    <a:lnTo>
                      <a:pt x="43" y="8"/>
                    </a:lnTo>
                    <a:lnTo>
                      <a:pt x="43" y="10"/>
                    </a:lnTo>
                    <a:lnTo>
                      <a:pt x="40" y="11"/>
                    </a:lnTo>
                    <a:lnTo>
                      <a:pt x="39" y="13"/>
                    </a:lnTo>
                    <a:lnTo>
                      <a:pt x="36" y="13"/>
                    </a:lnTo>
                    <a:lnTo>
                      <a:pt x="33" y="16"/>
                    </a:lnTo>
                    <a:lnTo>
                      <a:pt x="36" y="19"/>
                    </a:lnTo>
                    <a:lnTo>
                      <a:pt x="33" y="20"/>
                    </a:lnTo>
                    <a:lnTo>
                      <a:pt x="32" y="22"/>
                    </a:lnTo>
                    <a:lnTo>
                      <a:pt x="33" y="23"/>
                    </a:lnTo>
                    <a:lnTo>
                      <a:pt x="33" y="24"/>
                    </a:lnTo>
                    <a:lnTo>
                      <a:pt x="32" y="23"/>
                    </a:lnTo>
                    <a:lnTo>
                      <a:pt x="30" y="26"/>
                    </a:lnTo>
                    <a:lnTo>
                      <a:pt x="29" y="26"/>
                    </a:lnTo>
                    <a:lnTo>
                      <a:pt x="29" y="27"/>
                    </a:lnTo>
                    <a:lnTo>
                      <a:pt x="27" y="29"/>
                    </a:lnTo>
                    <a:lnTo>
                      <a:pt x="27" y="30"/>
                    </a:lnTo>
                    <a:lnTo>
                      <a:pt x="26" y="30"/>
                    </a:lnTo>
                    <a:lnTo>
                      <a:pt x="24" y="32"/>
                    </a:lnTo>
                    <a:lnTo>
                      <a:pt x="26" y="32"/>
                    </a:lnTo>
                    <a:lnTo>
                      <a:pt x="23" y="33"/>
                    </a:lnTo>
                    <a:lnTo>
                      <a:pt x="23" y="35"/>
                    </a:lnTo>
                    <a:lnTo>
                      <a:pt x="24" y="36"/>
                    </a:lnTo>
                    <a:lnTo>
                      <a:pt x="29" y="35"/>
                    </a:lnTo>
                    <a:lnTo>
                      <a:pt x="29" y="36"/>
                    </a:lnTo>
                    <a:lnTo>
                      <a:pt x="29" y="37"/>
                    </a:lnTo>
                    <a:lnTo>
                      <a:pt x="26" y="39"/>
                    </a:lnTo>
                    <a:lnTo>
                      <a:pt x="24" y="40"/>
                    </a:lnTo>
                    <a:lnTo>
                      <a:pt x="20" y="40"/>
                    </a:lnTo>
                    <a:lnTo>
                      <a:pt x="19" y="40"/>
                    </a:lnTo>
                    <a:lnTo>
                      <a:pt x="19" y="43"/>
                    </a:lnTo>
                    <a:lnTo>
                      <a:pt x="19" y="45"/>
                    </a:lnTo>
                    <a:lnTo>
                      <a:pt x="17" y="46"/>
                    </a:lnTo>
                    <a:lnTo>
                      <a:pt x="16" y="40"/>
                    </a:lnTo>
                    <a:lnTo>
                      <a:pt x="14" y="40"/>
                    </a:lnTo>
                    <a:lnTo>
                      <a:pt x="13" y="42"/>
                    </a:lnTo>
                    <a:lnTo>
                      <a:pt x="8" y="37"/>
                    </a:lnTo>
                    <a:lnTo>
                      <a:pt x="7" y="39"/>
                    </a:lnTo>
                    <a:lnTo>
                      <a:pt x="7" y="40"/>
                    </a:lnTo>
                    <a:lnTo>
                      <a:pt x="6" y="40"/>
                    </a:lnTo>
                    <a:lnTo>
                      <a:pt x="4" y="43"/>
                    </a:lnTo>
                    <a:lnTo>
                      <a:pt x="3" y="43"/>
                    </a:lnTo>
                    <a:lnTo>
                      <a:pt x="1" y="42"/>
                    </a:lnTo>
                    <a:lnTo>
                      <a:pt x="1" y="40"/>
                    </a:lnTo>
                    <a:lnTo>
                      <a:pt x="0" y="35"/>
                    </a:lnTo>
                    <a:lnTo>
                      <a:pt x="1" y="19"/>
                    </a:lnTo>
                    <a:lnTo>
                      <a:pt x="0" y="17"/>
                    </a:lnTo>
                    <a:lnTo>
                      <a:pt x="4" y="10"/>
                    </a:lnTo>
                    <a:lnTo>
                      <a:pt x="3" y="8"/>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32" name="Freeform 1660"/>
              <p:cNvSpPr>
                <a:spLocks/>
              </p:cNvSpPr>
              <p:nvPr/>
            </p:nvSpPr>
            <p:spPr bwMode="auto">
              <a:xfrm>
                <a:off x="6470090" y="3522074"/>
                <a:ext cx="25456" cy="19268"/>
              </a:xfrm>
              <a:custGeom>
                <a:avLst/>
                <a:gdLst/>
                <a:ahLst/>
                <a:cxnLst>
                  <a:cxn ang="0">
                    <a:pos x="27" y="3"/>
                  </a:cxn>
                  <a:cxn ang="0">
                    <a:pos x="25" y="5"/>
                  </a:cxn>
                  <a:cxn ang="0">
                    <a:pos x="25" y="5"/>
                  </a:cxn>
                  <a:cxn ang="0">
                    <a:pos x="22" y="3"/>
                  </a:cxn>
                  <a:cxn ang="0">
                    <a:pos x="22" y="3"/>
                  </a:cxn>
                  <a:cxn ang="0">
                    <a:pos x="21" y="5"/>
                  </a:cxn>
                  <a:cxn ang="0">
                    <a:pos x="21" y="5"/>
                  </a:cxn>
                  <a:cxn ang="0">
                    <a:pos x="19" y="5"/>
                  </a:cxn>
                  <a:cxn ang="0">
                    <a:pos x="19" y="5"/>
                  </a:cxn>
                  <a:cxn ang="0">
                    <a:pos x="18" y="5"/>
                  </a:cxn>
                  <a:cxn ang="0">
                    <a:pos x="18" y="5"/>
                  </a:cxn>
                  <a:cxn ang="0">
                    <a:pos x="16" y="6"/>
                  </a:cxn>
                  <a:cxn ang="0">
                    <a:pos x="15" y="6"/>
                  </a:cxn>
                  <a:cxn ang="0">
                    <a:pos x="15" y="8"/>
                  </a:cxn>
                  <a:cxn ang="0">
                    <a:pos x="15" y="8"/>
                  </a:cxn>
                  <a:cxn ang="0">
                    <a:pos x="15" y="8"/>
                  </a:cxn>
                  <a:cxn ang="0">
                    <a:pos x="15" y="9"/>
                  </a:cxn>
                  <a:cxn ang="0">
                    <a:pos x="15" y="8"/>
                  </a:cxn>
                  <a:cxn ang="0">
                    <a:pos x="12" y="9"/>
                  </a:cxn>
                  <a:cxn ang="0">
                    <a:pos x="12" y="11"/>
                  </a:cxn>
                  <a:cxn ang="0">
                    <a:pos x="12" y="11"/>
                  </a:cxn>
                  <a:cxn ang="0">
                    <a:pos x="11" y="11"/>
                  </a:cxn>
                  <a:cxn ang="0">
                    <a:pos x="8" y="13"/>
                  </a:cxn>
                  <a:cxn ang="0">
                    <a:pos x="6" y="15"/>
                  </a:cxn>
                  <a:cxn ang="0">
                    <a:pos x="6" y="16"/>
                  </a:cxn>
                  <a:cxn ang="0">
                    <a:pos x="5" y="16"/>
                  </a:cxn>
                  <a:cxn ang="0">
                    <a:pos x="3" y="18"/>
                  </a:cxn>
                  <a:cxn ang="0">
                    <a:pos x="2" y="19"/>
                  </a:cxn>
                  <a:cxn ang="0">
                    <a:pos x="0" y="19"/>
                  </a:cxn>
                  <a:cxn ang="0">
                    <a:pos x="5" y="15"/>
                  </a:cxn>
                  <a:cxn ang="0">
                    <a:pos x="5" y="13"/>
                  </a:cxn>
                  <a:cxn ang="0">
                    <a:pos x="5" y="12"/>
                  </a:cxn>
                  <a:cxn ang="0">
                    <a:pos x="8" y="9"/>
                  </a:cxn>
                  <a:cxn ang="0">
                    <a:pos x="9" y="6"/>
                  </a:cxn>
                  <a:cxn ang="0">
                    <a:pos x="11" y="6"/>
                  </a:cxn>
                  <a:cxn ang="0">
                    <a:pos x="11" y="5"/>
                  </a:cxn>
                  <a:cxn ang="0">
                    <a:pos x="12" y="5"/>
                  </a:cxn>
                  <a:cxn ang="0">
                    <a:pos x="12" y="3"/>
                  </a:cxn>
                  <a:cxn ang="0">
                    <a:pos x="15" y="5"/>
                  </a:cxn>
                  <a:cxn ang="0">
                    <a:pos x="16" y="2"/>
                  </a:cxn>
                  <a:cxn ang="0">
                    <a:pos x="18" y="2"/>
                  </a:cxn>
                  <a:cxn ang="0">
                    <a:pos x="18" y="0"/>
                  </a:cxn>
                  <a:cxn ang="0">
                    <a:pos x="19" y="0"/>
                  </a:cxn>
                  <a:cxn ang="0">
                    <a:pos x="25" y="0"/>
                  </a:cxn>
                  <a:cxn ang="0">
                    <a:pos x="28" y="2"/>
                  </a:cxn>
                  <a:cxn ang="0">
                    <a:pos x="28" y="3"/>
                  </a:cxn>
                  <a:cxn ang="0">
                    <a:pos x="27" y="3"/>
                  </a:cxn>
                </a:cxnLst>
                <a:rect l="0" t="0" r="r" b="b"/>
                <a:pathLst>
                  <a:path w="28" h="19">
                    <a:moveTo>
                      <a:pt x="27" y="3"/>
                    </a:moveTo>
                    <a:lnTo>
                      <a:pt x="25" y="5"/>
                    </a:lnTo>
                    <a:lnTo>
                      <a:pt x="25" y="5"/>
                    </a:lnTo>
                    <a:lnTo>
                      <a:pt x="22" y="3"/>
                    </a:lnTo>
                    <a:lnTo>
                      <a:pt x="22" y="3"/>
                    </a:lnTo>
                    <a:lnTo>
                      <a:pt x="21" y="5"/>
                    </a:lnTo>
                    <a:lnTo>
                      <a:pt x="21" y="5"/>
                    </a:lnTo>
                    <a:lnTo>
                      <a:pt x="19" y="5"/>
                    </a:lnTo>
                    <a:lnTo>
                      <a:pt x="19" y="5"/>
                    </a:lnTo>
                    <a:lnTo>
                      <a:pt x="18" y="5"/>
                    </a:lnTo>
                    <a:lnTo>
                      <a:pt x="18" y="5"/>
                    </a:lnTo>
                    <a:lnTo>
                      <a:pt x="16" y="6"/>
                    </a:lnTo>
                    <a:lnTo>
                      <a:pt x="15" y="6"/>
                    </a:lnTo>
                    <a:lnTo>
                      <a:pt x="15" y="8"/>
                    </a:lnTo>
                    <a:lnTo>
                      <a:pt x="15" y="8"/>
                    </a:lnTo>
                    <a:lnTo>
                      <a:pt x="15" y="8"/>
                    </a:lnTo>
                    <a:lnTo>
                      <a:pt x="15" y="9"/>
                    </a:lnTo>
                    <a:lnTo>
                      <a:pt x="15" y="8"/>
                    </a:lnTo>
                    <a:lnTo>
                      <a:pt x="12" y="9"/>
                    </a:lnTo>
                    <a:lnTo>
                      <a:pt x="12" y="11"/>
                    </a:lnTo>
                    <a:lnTo>
                      <a:pt x="12" y="11"/>
                    </a:lnTo>
                    <a:lnTo>
                      <a:pt x="11" y="11"/>
                    </a:lnTo>
                    <a:lnTo>
                      <a:pt x="8" y="13"/>
                    </a:lnTo>
                    <a:lnTo>
                      <a:pt x="6" y="15"/>
                    </a:lnTo>
                    <a:lnTo>
                      <a:pt x="6" y="16"/>
                    </a:lnTo>
                    <a:lnTo>
                      <a:pt x="5" y="16"/>
                    </a:lnTo>
                    <a:lnTo>
                      <a:pt x="3" y="18"/>
                    </a:lnTo>
                    <a:lnTo>
                      <a:pt x="2" y="19"/>
                    </a:lnTo>
                    <a:lnTo>
                      <a:pt x="0" y="19"/>
                    </a:lnTo>
                    <a:lnTo>
                      <a:pt x="5" y="15"/>
                    </a:lnTo>
                    <a:lnTo>
                      <a:pt x="5" y="13"/>
                    </a:lnTo>
                    <a:lnTo>
                      <a:pt x="5" y="12"/>
                    </a:lnTo>
                    <a:lnTo>
                      <a:pt x="8" y="9"/>
                    </a:lnTo>
                    <a:lnTo>
                      <a:pt x="9" y="6"/>
                    </a:lnTo>
                    <a:lnTo>
                      <a:pt x="11" y="6"/>
                    </a:lnTo>
                    <a:lnTo>
                      <a:pt x="11" y="5"/>
                    </a:lnTo>
                    <a:lnTo>
                      <a:pt x="12" y="5"/>
                    </a:lnTo>
                    <a:lnTo>
                      <a:pt x="12" y="3"/>
                    </a:lnTo>
                    <a:lnTo>
                      <a:pt x="15" y="5"/>
                    </a:lnTo>
                    <a:lnTo>
                      <a:pt x="16" y="2"/>
                    </a:lnTo>
                    <a:lnTo>
                      <a:pt x="18" y="2"/>
                    </a:lnTo>
                    <a:lnTo>
                      <a:pt x="18" y="0"/>
                    </a:lnTo>
                    <a:lnTo>
                      <a:pt x="19" y="0"/>
                    </a:lnTo>
                    <a:lnTo>
                      <a:pt x="25" y="0"/>
                    </a:lnTo>
                    <a:lnTo>
                      <a:pt x="28" y="2"/>
                    </a:lnTo>
                    <a:lnTo>
                      <a:pt x="28" y="3"/>
                    </a:lnTo>
                    <a:lnTo>
                      <a:pt x="27" y="3"/>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33" name="Freeform 1661"/>
              <p:cNvSpPr>
                <a:spLocks/>
              </p:cNvSpPr>
              <p:nvPr/>
            </p:nvSpPr>
            <p:spPr bwMode="auto">
              <a:xfrm>
                <a:off x="6470090" y="3522074"/>
                <a:ext cx="25456" cy="19268"/>
              </a:xfrm>
              <a:custGeom>
                <a:avLst/>
                <a:gdLst/>
                <a:ahLst/>
                <a:cxnLst>
                  <a:cxn ang="0">
                    <a:pos x="27" y="3"/>
                  </a:cxn>
                  <a:cxn ang="0">
                    <a:pos x="25" y="5"/>
                  </a:cxn>
                  <a:cxn ang="0">
                    <a:pos x="25" y="5"/>
                  </a:cxn>
                  <a:cxn ang="0">
                    <a:pos x="22" y="3"/>
                  </a:cxn>
                  <a:cxn ang="0">
                    <a:pos x="22" y="3"/>
                  </a:cxn>
                  <a:cxn ang="0">
                    <a:pos x="21" y="5"/>
                  </a:cxn>
                  <a:cxn ang="0">
                    <a:pos x="21" y="5"/>
                  </a:cxn>
                  <a:cxn ang="0">
                    <a:pos x="19" y="5"/>
                  </a:cxn>
                  <a:cxn ang="0">
                    <a:pos x="19" y="5"/>
                  </a:cxn>
                  <a:cxn ang="0">
                    <a:pos x="18" y="5"/>
                  </a:cxn>
                  <a:cxn ang="0">
                    <a:pos x="18" y="5"/>
                  </a:cxn>
                  <a:cxn ang="0">
                    <a:pos x="16" y="6"/>
                  </a:cxn>
                  <a:cxn ang="0">
                    <a:pos x="15" y="6"/>
                  </a:cxn>
                  <a:cxn ang="0">
                    <a:pos x="15" y="8"/>
                  </a:cxn>
                  <a:cxn ang="0">
                    <a:pos x="15" y="8"/>
                  </a:cxn>
                  <a:cxn ang="0">
                    <a:pos x="15" y="8"/>
                  </a:cxn>
                  <a:cxn ang="0">
                    <a:pos x="15" y="9"/>
                  </a:cxn>
                  <a:cxn ang="0">
                    <a:pos x="15" y="8"/>
                  </a:cxn>
                  <a:cxn ang="0">
                    <a:pos x="12" y="9"/>
                  </a:cxn>
                  <a:cxn ang="0">
                    <a:pos x="12" y="11"/>
                  </a:cxn>
                  <a:cxn ang="0">
                    <a:pos x="12" y="11"/>
                  </a:cxn>
                  <a:cxn ang="0">
                    <a:pos x="11" y="11"/>
                  </a:cxn>
                  <a:cxn ang="0">
                    <a:pos x="8" y="13"/>
                  </a:cxn>
                  <a:cxn ang="0">
                    <a:pos x="6" y="15"/>
                  </a:cxn>
                  <a:cxn ang="0">
                    <a:pos x="6" y="16"/>
                  </a:cxn>
                  <a:cxn ang="0">
                    <a:pos x="5" y="16"/>
                  </a:cxn>
                  <a:cxn ang="0">
                    <a:pos x="3" y="18"/>
                  </a:cxn>
                  <a:cxn ang="0">
                    <a:pos x="2" y="19"/>
                  </a:cxn>
                  <a:cxn ang="0">
                    <a:pos x="0" y="19"/>
                  </a:cxn>
                  <a:cxn ang="0">
                    <a:pos x="5" y="15"/>
                  </a:cxn>
                  <a:cxn ang="0">
                    <a:pos x="5" y="13"/>
                  </a:cxn>
                  <a:cxn ang="0">
                    <a:pos x="5" y="12"/>
                  </a:cxn>
                  <a:cxn ang="0">
                    <a:pos x="8" y="9"/>
                  </a:cxn>
                  <a:cxn ang="0">
                    <a:pos x="9" y="6"/>
                  </a:cxn>
                  <a:cxn ang="0">
                    <a:pos x="11" y="6"/>
                  </a:cxn>
                  <a:cxn ang="0">
                    <a:pos x="11" y="5"/>
                  </a:cxn>
                  <a:cxn ang="0">
                    <a:pos x="12" y="5"/>
                  </a:cxn>
                  <a:cxn ang="0">
                    <a:pos x="12" y="3"/>
                  </a:cxn>
                  <a:cxn ang="0">
                    <a:pos x="15" y="5"/>
                  </a:cxn>
                  <a:cxn ang="0">
                    <a:pos x="16" y="2"/>
                  </a:cxn>
                  <a:cxn ang="0">
                    <a:pos x="18" y="2"/>
                  </a:cxn>
                  <a:cxn ang="0">
                    <a:pos x="18" y="0"/>
                  </a:cxn>
                  <a:cxn ang="0">
                    <a:pos x="19" y="0"/>
                  </a:cxn>
                  <a:cxn ang="0">
                    <a:pos x="25" y="0"/>
                  </a:cxn>
                  <a:cxn ang="0">
                    <a:pos x="28" y="2"/>
                  </a:cxn>
                  <a:cxn ang="0">
                    <a:pos x="28" y="3"/>
                  </a:cxn>
                  <a:cxn ang="0">
                    <a:pos x="27" y="3"/>
                  </a:cxn>
                </a:cxnLst>
                <a:rect l="0" t="0" r="r" b="b"/>
                <a:pathLst>
                  <a:path w="28" h="19">
                    <a:moveTo>
                      <a:pt x="27" y="3"/>
                    </a:moveTo>
                    <a:lnTo>
                      <a:pt x="25" y="5"/>
                    </a:lnTo>
                    <a:lnTo>
                      <a:pt x="25" y="5"/>
                    </a:lnTo>
                    <a:lnTo>
                      <a:pt x="22" y="3"/>
                    </a:lnTo>
                    <a:lnTo>
                      <a:pt x="22" y="3"/>
                    </a:lnTo>
                    <a:lnTo>
                      <a:pt x="21" y="5"/>
                    </a:lnTo>
                    <a:lnTo>
                      <a:pt x="21" y="5"/>
                    </a:lnTo>
                    <a:lnTo>
                      <a:pt x="19" y="5"/>
                    </a:lnTo>
                    <a:lnTo>
                      <a:pt x="19" y="5"/>
                    </a:lnTo>
                    <a:lnTo>
                      <a:pt x="18" y="5"/>
                    </a:lnTo>
                    <a:lnTo>
                      <a:pt x="18" y="5"/>
                    </a:lnTo>
                    <a:lnTo>
                      <a:pt x="16" y="6"/>
                    </a:lnTo>
                    <a:lnTo>
                      <a:pt x="15" y="6"/>
                    </a:lnTo>
                    <a:lnTo>
                      <a:pt x="15" y="8"/>
                    </a:lnTo>
                    <a:lnTo>
                      <a:pt x="15" y="8"/>
                    </a:lnTo>
                    <a:lnTo>
                      <a:pt x="15" y="8"/>
                    </a:lnTo>
                    <a:lnTo>
                      <a:pt x="15" y="9"/>
                    </a:lnTo>
                    <a:lnTo>
                      <a:pt x="15" y="8"/>
                    </a:lnTo>
                    <a:lnTo>
                      <a:pt x="12" y="9"/>
                    </a:lnTo>
                    <a:lnTo>
                      <a:pt x="12" y="11"/>
                    </a:lnTo>
                    <a:lnTo>
                      <a:pt x="12" y="11"/>
                    </a:lnTo>
                    <a:lnTo>
                      <a:pt x="11" y="11"/>
                    </a:lnTo>
                    <a:lnTo>
                      <a:pt x="8" y="13"/>
                    </a:lnTo>
                    <a:lnTo>
                      <a:pt x="6" y="15"/>
                    </a:lnTo>
                    <a:lnTo>
                      <a:pt x="6" y="16"/>
                    </a:lnTo>
                    <a:lnTo>
                      <a:pt x="5" y="16"/>
                    </a:lnTo>
                    <a:lnTo>
                      <a:pt x="3" y="18"/>
                    </a:lnTo>
                    <a:lnTo>
                      <a:pt x="2" y="19"/>
                    </a:lnTo>
                    <a:lnTo>
                      <a:pt x="0" y="19"/>
                    </a:lnTo>
                    <a:lnTo>
                      <a:pt x="5" y="15"/>
                    </a:lnTo>
                    <a:lnTo>
                      <a:pt x="5" y="13"/>
                    </a:lnTo>
                    <a:lnTo>
                      <a:pt x="5" y="12"/>
                    </a:lnTo>
                    <a:lnTo>
                      <a:pt x="8" y="9"/>
                    </a:lnTo>
                    <a:lnTo>
                      <a:pt x="9" y="6"/>
                    </a:lnTo>
                    <a:lnTo>
                      <a:pt x="11" y="6"/>
                    </a:lnTo>
                    <a:lnTo>
                      <a:pt x="11" y="5"/>
                    </a:lnTo>
                    <a:lnTo>
                      <a:pt x="12" y="5"/>
                    </a:lnTo>
                    <a:lnTo>
                      <a:pt x="12" y="3"/>
                    </a:lnTo>
                    <a:lnTo>
                      <a:pt x="15" y="5"/>
                    </a:lnTo>
                    <a:lnTo>
                      <a:pt x="16" y="2"/>
                    </a:lnTo>
                    <a:lnTo>
                      <a:pt x="18" y="2"/>
                    </a:lnTo>
                    <a:lnTo>
                      <a:pt x="18" y="0"/>
                    </a:lnTo>
                    <a:lnTo>
                      <a:pt x="19" y="0"/>
                    </a:lnTo>
                    <a:lnTo>
                      <a:pt x="25" y="0"/>
                    </a:lnTo>
                    <a:lnTo>
                      <a:pt x="28" y="2"/>
                    </a:lnTo>
                    <a:lnTo>
                      <a:pt x="28" y="3"/>
                    </a:lnTo>
                    <a:lnTo>
                      <a:pt x="27" y="3"/>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34" name="Freeform 1662"/>
              <p:cNvSpPr>
                <a:spLocks/>
              </p:cNvSpPr>
              <p:nvPr/>
            </p:nvSpPr>
            <p:spPr bwMode="auto">
              <a:xfrm>
                <a:off x="6728163" y="2481574"/>
                <a:ext cx="105336" cy="212968"/>
              </a:xfrm>
              <a:custGeom>
                <a:avLst/>
                <a:gdLst/>
                <a:ahLst/>
                <a:cxnLst>
                  <a:cxn ang="0">
                    <a:pos x="97" y="199"/>
                  </a:cxn>
                  <a:cxn ang="0">
                    <a:pos x="61" y="200"/>
                  </a:cxn>
                  <a:cxn ang="0">
                    <a:pos x="50" y="190"/>
                  </a:cxn>
                  <a:cxn ang="0">
                    <a:pos x="34" y="186"/>
                  </a:cxn>
                  <a:cxn ang="0">
                    <a:pos x="34" y="157"/>
                  </a:cxn>
                  <a:cxn ang="0">
                    <a:pos x="42" y="136"/>
                  </a:cxn>
                  <a:cxn ang="0">
                    <a:pos x="51" y="136"/>
                  </a:cxn>
                  <a:cxn ang="0">
                    <a:pos x="47" y="130"/>
                  </a:cxn>
                  <a:cxn ang="0">
                    <a:pos x="25" y="107"/>
                  </a:cxn>
                  <a:cxn ang="0">
                    <a:pos x="12" y="78"/>
                  </a:cxn>
                  <a:cxn ang="0">
                    <a:pos x="10" y="72"/>
                  </a:cxn>
                  <a:cxn ang="0">
                    <a:pos x="3" y="58"/>
                  </a:cxn>
                  <a:cxn ang="0">
                    <a:pos x="2" y="50"/>
                  </a:cxn>
                  <a:cxn ang="0">
                    <a:pos x="4" y="45"/>
                  </a:cxn>
                  <a:cxn ang="0">
                    <a:pos x="9" y="40"/>
                  </a:cxn>
                  <a:cxn ang="0">
                    <a:pos x="13" y="23"/>
                  </a:cxn>
                  <a:cxn ang="0">
                    <a:pos x="16" y="21"/>
                  </a:cxn>
                  <a:cxn ang="0">
                    <a:pos x="22" y="27"/>
                  </a:cxn>
                  <a:cxn ang="0">
                    <a:pos x="34" y="17"/>
                  </a:cxn>
                  <a:cxn ang="0">
                    <a:pos x="61" y="0"/>
                  </a:cxn>
                  <a:cxn ang="0">
                    <a:pos x="73" y="1"/>
                  </a:cxn>
                  <a:cxn ang="0">
                    <a:pos x="84" y="1"/>
                  </a:cxn>
                  <a:cxn ang="0">
                    <a:pos x="93" y="8"/>
                  </a:cxn>
                  <a:cxn ang="0">
                    <a:pos x="97" y="16"/>
                  </a:cxn>
                  <a:cxn ang="0">
                    <a:pos x="100" y="23"/>
                  </a:cxn>
                  <a:cxn ang="0">
                    <a:pos x="108" y="30"/>
                  </a:cxn>
                  <a:cxn ang="0">
                    <a:pos x="112" y="39"/>
                  </a:cxn>
                  <a:cxn ang="0">
                    <a:pos x="110" y="43"/>
                  </a:cxn>
                  <a:cxn ang="0">
                    <a:pos x="99" y="39"/>
                  </a:cxn>
                  <a:cxn ang="0">
                    <a:pos x="92" y="42"/>
                  </a:cxn>
                  <a:cxn ang="0">
                    <a:pos x="76" y="40"/>
                  </a:cxn>
                  <a:cxn ang="0">
                    <a:pos x="70" y="43"/>
                  </a:cxn>
                  <a:cxn ang="0">
                    <a:pos x="65" y="46"/>
                  </a:cxn>
                  <a:cxn ang="0">
                    <a:pos x="64" y="55"/>
                  </a:cxn>
                  <a:cxn ang="0">
                    <a:pos x="51" y="53"/>
                  </a:cxn>
                  <a:cxn ang="0">
                    <a:pos x="58" y="62"/>
                  </a:cxn>
                  <a:cxn ang="0">
                    <a:pos x="65" y="72"/>
                  </a:cxn>
                  <a:cxn ang="0">
                    <a:pos x="73" y="85"/>
                  </a:cxn>
                  <a:cxn ang="0">
                    <a:pos x="84" y="90"/>
                  </a:cxn>
                  <a:cxn ang="0">
                    <a:pos x="83" y="113"/>
                  </a:cxn>
                  <a:cxn ang="0">
                    <a:pos x="87" y="113"/>
                  </a:cxn>
                  <a:cxn ang="0">
                    <a:pos x="87" y="107"/>
                  </a:cxn>
                  <a:cxn ang="0">
                    <a:pos x="103" y="109"/>
                  </a:cxn>
                  <a:cxn ang="0">
                    <a:pos x="110" y="126"/>
                  </a:cxn>
                  <a:cxn ang="0">
                    <a:pos x="110" y="129"/>
                  </a:cxn>
                  <a:cxn ang="0">
                    <a:pos x="100" y="130"/>
                  </a:cxn>
                  <a:cxn ang="0">
                    <a:pos x="87" y="122"/>
                  </a:cxn>
                  <a:cxn ang="0">
                    <a:pos x="86" y="136"/>
                  </a:cxn>
                  <a:cxn ang="0">
                    <a:pos x="90" y="142"/>
                  </a:cxn>
                  <a:cxn ang="0">
                    <a:pos x="102" y="145"/>
                  </a:cxn>
                  <a:cxn ang="0">
                    <a:pos x="99" y="148"/>
                  </a:cxn>
                  <a:cxn ang="0">
                    <a:pos x="95" y="154"/>
                  </a:cxn>
                  <a:cxn ang="0">
                    <a:pos x="105" y="161"/>
                  </a:cxn>
                  <a:cxn ang="0">
                    <a:pos x="105" y="194"/>
                  </a:cxn>
                </a:cxnLst>
                <a:rect l="0" t="0" r="r" b="b"/>
                <a:pathLst>
                  <a:path w="115" h="205">
                    <a:moveTo>
                      <a:pt x="99" y="200"/>
                    </a:moveTo>
                    <a:lnTo>
                      <a:pt x="95" y="199"/>
                    </a:lnTo>
                    <a:lnTo>
                      <a:pt x="97" y="199"/>
                    </a:lnTo>
                    <a:lnTo>
                      <a:pt x="99" y="197"/>
                    </a:lnTo>
                    <a:lnTo>
                      <a:pt x="74" y="205"/>
                    </a:lnTo>
                    <a:lnTo>
                      <a:pt x="61" y="200"/>
                    </a:lnTo>
                    <a:lnTo>
                      <a:pt x="52" y="194"/>
                    </a:lnTo>
                    <a:lnTo>
                      <a:pt x="51" y="191"/>
                    </a:lnTo>
                    <a:lnTo>
                      <a:pt x="50" y="190"/>
                    </a:lnTo>
                    <a:lnTo>
                      <a:pt x="42" y="190"/>
                    </a:lnTo>
                    <a:lnTo>
                      <a:pt x="36" y="189"/>
                    </a:lnTo>
                    <a:lnTo>
                      <a:pt x="34" y="186"/>
                    </a:lnTo>
                    <a:lnTo>
                      <a:pt x="31" y="165"/>
                    </a:lnTo>
                    <a:lnTo>
                      <a:pt x="31" y="158"/>
                    </a:lnTo>
                    <a:lnTo>
                      <a:pt x="34" y="157"/>
                    </a:lnTo>
                    <a:lnTo>
                      <a:pt x="36" y="159"/>
                    </a:lnTo>
                    <a:lnTo>
                      <a:pt x="41" y="139"/>
                    </a:lnTo>
                    <a:lnTo>
                      <a:pt x="42" y="136"/>
                    </a:lnTo>
                    <a:lnTo>
                      <a:pt x="45" y="135"/>
                    </a:lnTo>
                    <a:lnTo>
                      <a:pt x="48" y="135"/>
                    </a:lnTo>
                    <a:lnTo>
                      <a:pt x="51" y="136"/>
                    </a:lnTo>
                    <a:lnTo>
                      <a:pt x="50" y="132"/>
                    </a:lnTo>
                    <a:lnTo>
                      <a:pt x="48" y="132"/>
                    </a:lnTo>
                    <a:lnTo>
                      <a:pt x="47" y="130"/>
                    </a:lnTo>
                    <a:lnTo>
                      <a:pt x="42" y="132"/>
                    </a:lnTo>
                    <a:lnTo>
                      <a:pt x="41" y="130"/>
                    </a:lnTo>
                    <a:lnTo>
                      <a:pt x="25" y="107"/>
                    </a:lnTo>
                    <a:lnTo>
                      <a:pt x="23" y="106"/>
                    </a:lnTo>
                    <a:lnTo>
                      <a:pt x="12" y="84"/>
                    </a:lnTo>
                    <a:lnTo>
                      <a:pt x="12" y="78"/>
                    </a:lnTo>
                    <a:lnTo>
                      <a:pt x="13" y="71"/>
                    </a:lnTo>
                    <a:lnTo>
                      <a:pt x="13" y="68"/>
                    </a:lnTo>
                    <a:lnTo>
                      <a:pt x="10" y="72"/>
                    </a:lnTo>
                    <a:lnTo>
                      <a:pt x="10" y="71"/>
                    </a:lnTo>
                    <a:lnTo>
                      <a:pt x="9" y="66"/>
                    </a:lnTo>
                    <a:lnTo>
                      <a:pt x="3" y="58"/>
                    </a:lnTo>
                    <a:lnTo>
                      <a:pt x="0" y="58"/>
                    </a:lnTo>
                    <a:lnTo>
                      <a:pt x="0" y="55"/>
                    </a:lnTo>
                    <a:lnTo>
                      <a:pt x="2" y="50"/>
                    </a:lnTo>
                    <a:lnTo>
                      <a:pt x="2" y="48"/>
                    </a:lnTo>
                    <a:lnTo>
                      <a:pt x="4" y="45"/>
                    </a:lnTo>
                    <a:lnTo>
                      <a:pt x="4" y="45"/>
                    </a:lnTo>
                    <a:lnTo>
                      <a:pt x="6" y="45"/>
                    </a:lnTo>
                    <a:lnTo>
                      <a:pt x="6" y="42"/>
                    </a:lnTo>
                    <a:lnTo>
                      <a:pt x="9" y="40"/>
                    </a:lnTo>
                    <a:lnTo>
                      <a:pt x="10" y="30"/>
                    </a:lnTo>
                    <a:lnTo>
                      <a:pt x="12" y="32"/>
                    </a:lnTo>
                    <a:lnTo>
                      <a:pt x="13" y="23"/>
                    </a:lnTo>
                    <a:lnTo>
                      <a:pt x="10" y="19"/>
                    </a:lnTo>
                    <a:lnTo>
                      <a:pt x="16" y="20"/>
                    </a:lnTo>
                    <a:lnTo>
                      <a:pt x="16" y="21"/>
                    </a:lnTo>
                    <a:lnTo>
                      <a:pt x="19" y="29"/>
                    </a:lnTo>
                    <a:lnTo>
                      <a:pt x="20" y="29"/>
                    </a:lnTo>
                    <a:lnTo>
                      <a:pt x="22" y="27"/>
                    </a:lnTo>
                    <a:lnTo>
                      <a:pt x="23" y="27"/>
                    </a:lnTo>
                    <a:lnTo>
                      <a:pt x="26" y="20"/>
                    </a:lnTo>
                    <a:lnTo>
                      <a:pt x="34" y="17"/>
                    </a:lnTo>
                    <a:lnTo>
                      <a:pt x="28" y="14"/>
                    </a:lnTo>
                    <a:lnTo>
                      <a:pt x="51" y="8"/>
                    </a:lnTo>
                    <a:lnTo>
                      <a:pt x="61" y="0"/>
                    </a:lnTo>
                    <a:lnTo>
                      <a:pt x="67" y="1"/>
                    </a:lnTo>
                    <a:lnTo>
                      <a:pt x="68" y="1"/>
                    </a:lnTo>
                    <a:lnTo>
                      <a:pt x="73" y="1"/>
                    </a:lnTo>
                    <a:lnTo>
                      <a:pt x="73" y="4"/>
                    </a:lnTo>
                    <a:lnTo>
                      <a:pt x="81" y="1"/>
                    </a:lnTo>
                    <a:lnTo>
                      <a:pt x="84" y="1"/>
                    </a:lnTo>
                    <a:lnTo>
                      <a:pt x="84" y="3"/>
                    </a:lnTo>
                    <a:lnTo>
                      <a:pt x="87" y="4"/>
                    </a:lnTo>
                    <a:lnTo>
                      <a:pt x="93" y="8"/>
                    </a:lnTo>
                    <a:lnTo>
                      <a:pt x="93" y="11"/>
                    </a:lnTo>
                    <a:lnTo>
                      <a:pt x="95" y="11"/>
                    </a:lnTo>
                    <a:lnTo>
                      <a:pt x="97" y="16"/>
                    </a:lnTo>
                    <a:lnTo>
                      <a:pt x="97" y="14"/>
                    </a:lnTo>
                    <a:lnTo>
                      <a:pt x="99" y="17"/>
                    </a:lnTo>
                    <a:lnTo>
                      <a:pt x="100" y="23"/>
                    </a:lnTo>
                    <a:lnTo>
                      <a:pt x="103" y="27"/>
                    </a:lnTo>
                    <a:lnTo>
                      <a:pt x="106" y="27"/>
                    </a:lnTo>
                    <a:lnTo>
                      <a:pt x="108" y="30"/>
                    </a:lnTo>
                    <a:lnTo>
                      <a:pt x="110" y="32"/>
                    </a:lnTo>
                    <a:lnTo>
                      <a:pt x="115" y="39"/>
                    </a:lnTo>
                    <a:lnTo>
                      <a:pt x="112" y="39"/>
                    </a:lnTo>
                    <a:lnTo>
                      <a:pt x="115" y="42"/>
                    </a:lnTo>
                    <a:lnTo>
                      <a:pt x="113" y="43"/>
                    </a:lnTo>
                    <a:lnTo>
                      <a:pt x="110" y="43"/>
                    </a:lnTo>
                    <a:lnTo>
                      <a:pt x="108" y="43"/>
                    </a:lnTo>
                    <a:lnTo>
                      <a:pt x="100" y="40"/>
                    </a:lnTo>
                    <a:lnTo>
                      <a:pt x="99" y="39"/>
                    </a:lnTo>
                    <a:lnTo>
                      <a:pt x="97" y="39"/>
                    </a:lnTo>
                    <a:lnTo>
                      <a:pt x="95" y="40"/>
                    </a:lnTo>
                    <a:lnTo>
                      <a:pt x="92" y="42"/>
                    </a:lnTo>
                    <a:lnTo>
                      <a:pt x="83" y="37"/>
                    </a:lnTo>
                    <a:lnTo>
                      <a:pt x="79" y="37"/>
                    </a:lnTo>
                    <a:lnTo>
                      <a:pt x="76" y="40"/>
                    </a:lnTo>
                    <a:lnTo>
                      <a:pt x="76" y="43"/>
                    </a:lnTo>
                    <a:lnTo>
                      <a:pt x="73" y="43"/>
                    </a:lnTo>
                    <a:lnTo>
                      <a:pt x="70" y="43"/>
                    </a:lnTo>
                    <a:lnTo>
                      <a:pt x="70" y="42"/>
                    </a:lnTo>
                    <a:lnTo>
                      <a:pt x="67" y="43"/>
                    </a:lnTo>
                    <a:lnTo>
                      <a:pt x="65" y="46"/>
                    </a:lnTo>
                    <a:lnTo>
                      <a:pt x="67" y="53"/>
                    </a:lnTo>
                    <a:lnTo>
                      <a:pt x="68" y="55"/>
                    </a:lnTo>
                    <a:lnTo>
                      <a:pt x="64" y="55"/>
                    </a:lnTo>
                    <a:lnTo>
                      <a:pt x="63" y="55"/>
                    </a:lnTo>
                    <a:lnTo>
                      <a:pt x="55" y="53"/>
                    </a:lnTo>
                    <a:lnTo>
                      <a:pt x="51" y="53"/>
                    </a:lnTo>
                    <a:lnTo>
                      <a:pt x="50" y="55"/>
                    </a:lnTo>
                    <a:lnTo>
                      <a:pt x="52" y="59"/>
                    </a:lnTo>
                    <a:lnTo>
                      <a:pt x="58" y="62"/>
                    </a:lnTo>
                    <a:lnTo>
                      <a:pt x="60" y="65"/>
                    </a:lnTo>
                    <a:lnTo>
                      <a:pt x="61" y="66"/>
                    </a:lnTo>
                    <a:lnTo>
                      <a:pt x="65" y="72"/>
                    </a:lnTo>
                    <a:lnTo>
                      <a:pt x="65" y="82"/>
                    </a:lnTo>
                    <a:lnTo>
                      <a:pt x="71" y="82"/>
                    </a:lnTo>
                    <a:lnTo>
                      <a:pt x="73" y="85"/>
                    </a:lnTo>
                    <a:lnTo>
                      <a:pt x="79" y="88"/>
                    </a:lnTo>
                    <a:lnTo>
                      <a:pt x="81" y="88"/>
                    </a:lnTo>
                    <a:lnTo>
                      <a:pt x="84" y="90"/>
                    </a:lnTo>
                    <a:lnTo>
                      <a:pt x="84" y="96"/>
                    </a:lnTo>
                    <a:lnTo>
                      <a:pt x="81" y="98"/>
                    </a:lnTo>
                    <a:lnTo>
                      <a:pt x="83" y="113"/>
                    </a:lnTo>
                    <a:lnTo>
                      <a:pt x="86" y="119"/>
                    </a:lnTo>
                    <a:lnTo>
                      <a:pt x="87" y="120"/>
                    </a:lnTo>
                    <a:lnTo>
                      <a:pt x="87" y="113"/>
                    </a:lnTo>
                    <a:lnTo>
                      <a:pt x="86" y="113"/>
                    </a:lnTo>
                    <a:lnTo>
                      <a:pt x="86" y="110"/>
                    </a:lnTo>
                    <a:lnTo>
                      <a:pt x="87" y="107"/>
                    </a:lnTo>
                    <a:lnTo>
                      <a:pt x="96" y="103"/>
                    </a:lnTo>
                    <a:lnTo>
                      <a:pt x="100" y="104"/>
                    </a:lnTo>
                    <a:lnTo>
                      <a:pt x="103" y="109"/>
                    </a:lnTo>
                    <a:lnTo>
                      <a:pt x="105" y="113"/>
                    </a:lnTo>
                    <a:lnTo>
                      <a:pt x="115" y="122"/>
                    </a:lnTo>
                    <a:lnTo>
                      <a:pt x="110" y="126"/>
                    </a:lnTo>
                    <a:lnTo>
                      <a:pt x="108" y="128"/>
                    </a:lnTo>
                    <a:lnTo>
                      <a:pt x="108" y="129"/>
                    </a:lnTo>
                    <a:lnTo>
                      <a:pt x="110" y="129"/>
                    </a:lnTo>
                    <a:lnTo>
                      <a:pt x="108" y="130"/>
                    </a:lnTo>
                    <a:lnTo>
                      <a:pt x="103" y="129"/>
                    </a:lnTo>
                    <a:lnTo>
                      <a:pt x="100" y="130"/>
                    </a:lnTo>
                    <a:lnTo>
                      <a:pt x="96" y="128"/>
                    </a:lnTo>
                    <a:lnTo>
                      <a:pt x="90" y="128"/>
                    </a:lnTo>
                    <a:lnTo>
                      <a:pt x="87" y="122"/>
                    </a:lnTo>
                    <a:lnTo>
                      <a:pt x="87" y="129"/>
                    </a:lnTo>
                    <a:lnTo>
                      <a:pt x="86" y="132"/>
                    </a:lnTo>
                    <a:lnTo>
                      <a:pt x="86" y="136"/>
                    </a:lnTo>
                    <a:lnTo>
                      <a:pt x="87" y="143"/>
                    </a:lnTo>
                    <a:lnTo>
                      <a:pt x="89" y="143"/>
                    </a:lnTo>
                    <a:lnTo>
                      <a:pt x="90" y="142"/>
                    </a:lnTo>
                    <a:lnTo>
                      <a:pt x="95" y="141"/>
                    </a:lnTo>
                    <a:lnTo>
                      <a:pt x="100" y="142"/>
                    </a:lnTo>
                    <a:lnTo>
                      <a:pt x="102" y="145"/>
                    </a:lnTo>
                    <a:lnTo>
                      <a:pt x="97" y="143"/>
                    </a:lnTo>
                    <a:lnTo>
                      <a:pt x="95" y="146"/>
                    </a:lnTo>
                    <a:lnTo>
                      <a:pt x="99" y="148"/>
                    </a:lnTo>
                    <a:lnTo>
                      <a:pt x="102" y="149"/>
                    </a:lnTo>
                    <a:lnTo>
                      <a:pt x="95" y="154"/>
                    </a:lnTo>
                    <a:lnTo>
                      <a:pt x="95" y="154"/>
                    </a:lnTo>
                    <a:lnTo>
                      <a:pt x="97" y="154"/>
                    </a:lnTo>
                    <a:lnTo>
                      <a:pt x="102" y="159"/>
                    </a:lnTo>
                    <a:lnTo>
                      <a:pt x="105" y="161"/>
                    </a:lnTo>
                    <a:lnTo>
                      <a:pt x="102" y="164"/>
                    </a:lnTo>
                    <a:lnTo>
                      <a:pt x="103" y="189"/>
                    </a:lnTo>
                    <a:lnTo>
                      <a:pt x="105" y="194"/>
                    </a:lnTo>
                    <a:lnTo>
                      <a:pt x="105" y="199"/>
                    </a:lnTo>
                    <a:lnTo>
                      <a:pt x="99" y="200"/>
                    </a:lnTo>
                    <a:close/>
                  </a:path>
                </a:pathLst>
              </a:custGeom>
              <a:solidFill>
                <a:schemeClr val="accent2"/>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35" name="Freeform 1663"/>
              <p:cNvSpPr>
                <a:spLocks/>
              </p:cNvSpPr>
              <p:nvPr/>
            </p:nvSpPr>
            <p:spPr bwMode="auto">
              <a:xfrm>
                <a:off x="6728163" y="2481574"/>
                <a:ext cx="105336" cy="212968"/>
              </a:xfrm>
              <a:custGeom>
                <a:avLst/>
                <a:gdLst/>
                <a:ahLst/>
                <a:cxnLst>
                  <a:cxn ang="0">
                    <a:pos x="97" y="199"/>
                  </a:cxn>
                  <a:cxn ang="0">
                    <a:pos x="61" y="200"/>
                  </a:cxn>
                  <a:cxn ang="0">
                    <a:pos x="50" y="190"/>
                  </a:cxn>
                  <a:cxn ang="0">
                    <a:pos x="34" y="186"/>
                  </a:cxn>
                  <a:cxn ang="0">
                    <a:pos x="34" y="157"/>
                  </a:cxn>
                  <a:cxn ang="0">
                    <a:pos x="42" y="136"/>
                  </a:cxn>
                  <a:cxn ang="0">
                    <a:pos x="51" y="136"/>
                  </a:cxn>
                  <a:cxn ang="0">
                    <a:pos x="47" y="130"/>
                  </a:cxn>
                  <a:cxn ang="0">
                    <a:pos x="25" y="107"/>
                  </a:cxn>
                  <a:cxn ang="0">
                    <a:pos x="12" y="78"/>
                  </a:cxn>
                  <a:cxn ang="0">
                    <a:pos x="10" y="72"/>
                  </a:cxn>
                  <a:cxn ang="0">
                    <a:pos x="3" y="58"/>
                  </a:cxn>
                  <a:cxn ang="0">
                    <a:pos x="2" y="50"/>
                  </a:cxn>
                  <a:cxn ang="0">
                    <a:pos x="4" y="45"/>
                  </a:cxn>
                  <a:cxn ang="0">
                    <a:pos x="9" y="40"/>
                  </a:cxn>
                  <a:cxn ang="0">
                    <a:pos x="13" y="23"/>
                  </a:cxn>
                  <a:cxn ang="0">
                    <a:pos x="16" y="21"/>
                  </a:cxn>
                  <a:cxn ang="0">
                    <a:pos x="22" y="27"/>
                  </a:cxn>
                  <a:cxn ang="0">
                    <a:pos x="34" y="17"/>
                  </a:cxn>
                  <a:cxn ang="0">
                    <a:pos x="61" y="0"/>
                  </a:cxn>
                  <a:cxn ang="0">
                    <a:pos x="73" y="1"/>
                  </a:cxn>
                  <a:cxn ang="0">
                    <a:pos x="84" y="1"/>
                  </a:cxn>
                  <a:cxn ang="0">
                    <a:pos x="93" y="8"/>
                  </a:cxn>
                  <a:cxn ang="0">
                    <a:pos x="97" y="16"/>
                  </a:cxn>
                  <a:cxn ang="0">
                    <a:pos x="100" y="23"/>
                  </a:cxn>
                  <a:cxn ang="0">
                    <a:pos x="108" y="30"/>
                  </a:cxn>
                  <a:cxn ang="0">
                    <a:pos x="112" y="39"/>
                  </a:cxn>
                  <a:cxn ang="0">
                    <a:pos x="110" y="43"/>
                  </a:cxn>
                  <a:cxn ang="0">
                    <a:pos x="99" y="39"/>
                  </a:cxn>
                  <a:cxn ang="0">
                    <a:pos x="92" y="42"/>
                  </a:cxn>
                  <a:cxn ang="0">
                    <a:pos x="76" y="40"/>
                  </a:cxn>
                  <a:cxn ang="0">
                    <a:pos x="70" y="43"/>
                  </a:cxn>
                  <a:cxn ang="0">
                    <a:pos x="65" y="46"/>
                  </a:cxn>
                  <a:cxn ang="0">
                    <a:pos x="64" y="55"/>
                  </a:cxn>
                  <a:cxn ang="0">
                    <a:pos x="51" y="53"/>
                  </a:cxn>
                  <a:cxn ang="0">
                    <a:pos x="58" y="62"/>
                  </a:cxn>
                  <a:cxn ang="0">
                    <a:pos x="65" y="72"/>
                  </a:cxn>
                  <a:cxn ang="0">
                    <a:pos x="73" y="85"/>
                  </a:cxn>
                  <a:cxn ang="0">
                    <a:pos x="84" y="90"/>
                  </a:cxn>
                  <a:cxn ang="0">
                    <a:pos x="83" y="113"/>
                  </a:cxn>
                  <a:cxn ang="0">
                    <a:pos x="87" y="113"/>
                  </a:cxn>
                  <a:cxn ang="0">
                    <a:pos x="87" y="107"/>
                  </a:cxn>
                  <a:cxn ang="0">
                    <a:pos x="103" y="109"/>
                  </a:cxn>
                  <a:cxn ang="0">
                    <a:pos x="110" y="126"/>
                  </a:cxn>
                  <a:cxn ang="0">
                    <a:pos x="110" y="129"/>
                  </a:cxn>
                  <a:cxn ang="0">
                    <a:pos x="100" y="130"/>
                  </a:cxn>
                  <a:cxn ang="0">
                    <a:pos x="87" y="122"/>
                  </a:cxn>
                  <a:cxn ang="0">
                    <a:pos x="86" y="136"/>
                  </a:cxn>
                  <a:cxn ang="0">
                    <a:pos x="90" y="142"/>
                  </a:cxn>
                  <a:cxn ang="0">
                    <a:pos x="102" y="145"/>
                  </a:cxn>
                  <a:cxn ang="0">
                    <a:pos x="99" y="148"/>
                  </a:cxn>
                  <a:cxn ang="0">
                    <a:pos x="95" y="154"/>
                  </a:cxn>
                  <a:cxn ang="0">
                    <a:pos x="105" y="161"/>
                  </a:cxn>
                  <a:cxn ang="0">
                    <a:pos x="105" y="194"/>
                  </a:cxn>
                </a:cxnLst>
                <a:rect l="0" t="0" r="r" b="b"/>
                <a:pathLst>
                  <a:path w="115" h="205">
                    <a:moveTo>
                      <a:pt x="99" y="200"/>
                    </a:moveTo>
                    <a:lnTo>
                      <a:pt x="95" y="199"/>
                    </a:lnTo>
                    <a:lnTo>
                      <a:pt x="97" y="199"/>
                    </a:lnTo>
                    <a:lnTo>
                      <a:pt x="99" y="197"/>
                    </a:lnTo>
                    <a:lnTo>
                      <a:pt x="74" y="205"/>
                    </a:lnTo>
                    <a:lnTo>
                      <a:pt x="61" y="200"/>
                    </a:lnTo>
                    <a:lnTo>
                      <a:pt x="52" y="194"/>
                    </a:lnTo>
                    <a:lnTo>
                      <a:pt x="51" y="191"/>
                    </a:lnTo>
                    <a:lnTo>
                      <a:pt x="50" y="190"/>
                    </a:lnTo>
                    <a:lnTo>
                      <a:pt x="42" y="190"/>
                    </a:lnTo>
                    <a:lnTo>
                      <a:pt x="36" y="189"/>
                    </a:lnTo>
                    <a:lnTo>
                      <a:pt x="34" y="186"/>
                    </a:lnTo>
                    <a:lnTo>
                      <a:pt x="31" y="165"/>
                    </a:lnTo>
                    <a:lnTo>
                      <a:pt x="31" y="158"/>
                    </a:lnTo>
                    <a:lnTo>
                      <a:pt x="34" y="157"/>
                    </a:lnTo>
                    <a:lnTo>
                      <a:pt x="36" y="159"/>
                    </a:lnTo>
                    <a:lnTo>
                      <a:pt x="41" y="139"/>
                    </a:lnTo>
                    <a:lnTo>
                      <a:pt x="42" y="136"/>
                    </a:lnTo>
                    <a:lnTo>
                      <a:pt x="45" y="135"/>
                    </a:lnTo>
                    <a:lnTo>
                      <a:pt x="48" y="135"/>
                    </a:lnTo>
                    <a:lnTo>
                      <a:pt x="51" y="136"/>
                    </a:lnTo>
                    <a:lnTo>
                      <a:pt x="50" y="132"/>
                    </a:lnTo>
                    <a:lnTo>
                      <a:pt x="48" y="132"/>
                    </a:lnTo>
                    <a:lnTo>
                      <a:pt x="47" y="130"/>
                    </a:lnTo>
                    <a:lnTo>
                      <a:pt x="42" y="132"/>
                    </a:lnTo>
                    <a:lnTo>
                      <a:pt x="41" y="130"/>
                    </a:lnTo>
                    <a:lnTo>
                      <a:pt x="25" y="107"/>
                    </a:lnTo>
                    <a:lnTo>
                      <a:pt x="23" y="106"/>
                    </a:lnTo>
                    <a:lnTo>
                      <a:pt x="12" y="84"/>
                    </a:lnTo>
                    <a:lnTo>
                      <a:pt x="12" y="78"/>
                    </a:lnTo>
                    <a:lnTo>
                      <a:pt x="13" y="71"/>
                    </a:lnTo>
                    <a:lnTo>
                      <a:pt x="13" y="68"/>
                    </a:lnTo>
                    <a:lnTo>
                      <a:pt x="10" y="72"/>
                    </a:lnTo>
                    <a:lnTo>
                      <a:pt x="10" y="71"/>
                    </a:lnTo>
                    <a:lnTo>
                      <a:pt x="9" y="66"/>
                    </a:lnTo>
                    <a:lnTo>
                      <a:pt x="3" y="58"/>
                    </a:lnTo>
                    <a:lnTo>
                      <a:pt x="0" y="58"/>
                    </a:lnTo>
                    <a:lnTo>
                      <a:pt x="0" y="55"/>
                    </a:lnTo>
                    <a:lnTo>
                      <a:pt x="2" y="50"/>
                    </a:lnTo>
                    <a:lnTo>
                      <a:pt x="2" y="48"/>
                    </a:lnTo>
                    <a:lnTo>
                      <a:pt x="4" y="45"/>
                    </a:lnTo>
                    <a:lnTo>
                      <a:pt x="4" y="45"/>
                    </a:lnTo>
                    <a:lnTo>
                      <a:pt x="6" y="45"/>
                    </a:lnTo>
                    <a:lnTo>
                      <a:pt x="6" y="42"/>
                    </a:lnTo>
                    <a:lnTo>
                      <a:pt x="9" y="40"/>
                    </a:lnTo>
                    <a:lnTo>
                      <a:pt x="10" y="30"/>
                    </a:lnTo>
                    <a:lnTo>
                      <a:pt x="12" y="32"/>
                    </a:lnTo>
                    <a:lnTo>
                      <a:pt x="13" y="23"/>
                    </a:lnTo>
                    <a:lnTo>
                      <a:pt x="10" y="19"/>
                    </a:lnTo>
                    <a:lnTo>
                      <a:pt x="16" y="20"/>
                    </a:lnTo>
                    <a:lnTo>
                      <a:pt x="16" y="21"/>
                    </a:lnTo>
                    <a:lnTo>
                      <a:pt x="19" y="29"/>
                    </a:lnTo>
                    <a:lnTo>
                      <a:pt x="20" y="29"/>
                    </a:lnTo>
                    <a:lnTo>
                      <a:pt x="22" y="27"/>
                    </a:lnTo>
                    <a:lnTo>
                      <a:pt x="23" y="27"/>
                    </a:lnTo>
                    <a:lnTo>
                      <a:pt x="26" y="20"/>
                    </a:lnTo>
                    <a:lnTo>
                      <a:pt x="34" y="17"/>
                    </a:lnTo>
                    <a:lnTo>
                      <a:pt x="28" y="14"/>
                    </a:lnTo>
                    <a:lnTo>
                      <a:pt x="51" y="8"/>
                    </a:lnTo>
                    <a:lnTo>
                      <a:pt x="61" y="0"/>
                    </a:lnTo>
                    <a:lnTo>
                      <a:pt x="67" y="1"/>
                    </a:lnTo>
                    <a:lnTo>
                      <a:pt x="68" y="1"/>
                    </a:lnTo>
                    <a:lnTo>
                      <a:pt x="73" y="1"/>
                    </a:lnTo>
                    <a:lnTo>
                      <a:pt x="73" y="4"/>
                    </a:lnTo>
                    <a:lnTo>
                      <a:pt x="81" y="1"/>
                    </a:lnTo>
                    <a:lnTo>
                      <a:pt x="84" y="1"/>
                    </a:lnTo>
                    <a:lnTo>
                      <a:pt x="84" y="3"/>
                    </a:lnTo>
                    <a:lnTo>
                      <a:pt x="87" y="4"/>
                    </a:lnTo>
                    <a:lnTo>
                      <a:pt x="93" y="8"/>
                    </a:lnTo>
                    <a:lnTo>
                      <a:pt x="93" y="11"/>
                    </a:lnTo>
                    <a:lnTo>
                      <a:pt x="95" y="11"/>
                    </a:lnTo>
                    <a:lnTo>
                      <a:pt x="97" y="16"/>
                    </a:lnTo>
                    <a:lnTo>
                      <a:pt x="97" y="14"/>
                    </a:lnTo>
                    <a:lnTo>
                      <a:pt x="99" y="17"/>
                    </a:lnTo>
                    <a:lnTo>
                      <a:pt x="100" y="23"/>
                    </a:lnTo>
                    <a:lnTo>
                      <a:pt x="103" y="27"/>
                    </a:lnTo>
                    <a:lnTo>
                      <a:pt x="106" y="27"/>
                    </a:lnTo>
                    <a:lnTo>
                      <a:pt x="108" y="30"/>
                    </a:lnTo>
                    <a:lnTo>
                      <a:pt x="110" y="32"/>
                    </a:lnTo>
                    <a:lnTo>
                      <a:pt x="115" y="39"/>
                    </a:lnTo>
                    <a:lnTo>
                      <a:pt x="112" y="39"/>
                    </a:lnTo>
                    <a:lnTo>
                      <a:pt x="115" y="42"/>
                    </a:lnTo>
                    <a:lnTo>
                      <a:pt x="113" y="43"/>
                    </a:lnTo>
                    <a:lnTo>
                      <a:pt x="110" y="43"/>
                    </a:lnTo>
                    <a:lnTo>
                      <a:pt x="108" y="43"/>
                    </a:lnTo>
                    <a:lnTo>
                      <a:pt x="100" y="40"/>
                    </a:lnTo>
                    <a:lnTo>
                      <a:pt x="99" y="39"/>
                    </a:lnTo>
                    <a:lnTo>
                      <a:pt x="97" y="39"/>
                    </a:lnTo>
                    <a:lnTo>
                      <a:pt x="95" y="40"/>
                    </a:lnTo>
                    <a:lnTo>
                      <a:pt x="92" y="42"/>
                    </a:lnTo>
                    <a:lnTo>
                      <a:pt x="83" y="37"/>
                    </a:lnTo>
                    <a:lnTo>
                      <a:pt x="79" y="37"/>
                    </a:lnTo>
                    <a:lnTo>
                      <a:pt x="76" y="40"/>
                    </a:lnTo>
                    <a:lnTo>
                      <a:pt x="76" y="43"/>
                    </a:lnTo>
                    <a:lnTo>
                      <a:pt x="73" y="43"/>
                    </a:lnTo>
                    <a:lnTo>
                      <a:pt x="70" y="43"/>
                    </a:lnTo>
                    <a:lnTo>
                      <a:pt x="70" y="42"/>
                    </a:lnTo>
                    <a:lnTo>
                      <a:pt x="67" y="43"/>
                    </a:lnTo>
                    <a:lnTo>
                      <a:pt x="65" y="46"/>
                    </a:lnTo>
                    <a:lnTo>
                      <a:pt x="67" y="53"/>
                    </a:lnTo>
                    <a:lnTo>
                      <a:pt x="68" y="55"/>
                    </a:lnTo>
                    <a:lnTo>
                      <a:pt x="64" y="55"/>
                    </a:lnTo>
                    <a:lnTo>
                      <a:pt x="63" y="55"/>
                    </a:lnTo>
                    <a:lnTo>
                      <a:pt x="55" y="53"/>
                    </a:lnTo>
                    <a:lnTo>
                      <a:pt x="51" y="53"/>
                    </a:lnTo>
                    <a:lnTo>
                      <a:pt x="50" y="55"/>
                    </a:lnTo>
                    <a:lnTo>
                      <a:pt x="52" y="59"/>
                    </a:lnTo>
                    <a:lnTo>
                      <a:pt x="58" y="62"/>
                    </a:lnTo>
                    <a:lnTo>
                      <a:pt x="60" y="65"/>
                    </a:lnTo>
                    <a:lnTo>
                      <a:pt x="61" y="66"/>
                    </a:lnTo>
                    <a:lnTo>
                      <a:pt x="65" y="72"/>
                    </a:lnTo>
                    <a:lnTo>
                      <a:pt x="65" y="82"/>
                    </a:lnTo>
                    <a:lnTo>
                      <a:pt x="71" y="82"/>
                    </a:lnTo>
                    <a:lnTo>
                      <a:pt x="73" y="85"/>
                    </a:lnTo>
                    <a:lnTo>
                      <a:pt x="79" y="88"/>
                    </a:lnTo>
                    <a:lnTo>
                      <a:pt x="81" y="88"/>
                    </a:lnTo>
                    <a:lnTo>
                      <a:pt x="84" y="90"/>
                    </a:lnTo>
                    <a:lnTo>
                      <a:pt x="84" y="96"/>
                    </a:lnTo>
                    <a:lnTo>
                      <a:pt x="81" y="98"/>
                    </a:lnTo>
                    <a:lnTo>
                      <a:pt x="83" y="113"/>
                    </a:lnTo>
                    <a:lnTo>
                      <a:pt x="86" y="119"/>
                    </a:lnTo>
                    <a:lnTo>
                      <a:pt x="87" y="120"/>
                    </a:lnTo>
                    <a:lnTo>
                      <a:pt x="87" y="113"/>
                    </a:lnTo>
                    <a:lnTo>
                      <a:pt x="86" y="113"/>
                    </a:lnTo>
                    <a:lnTo>
                      <a:pt x="86" y="110"/>
                    </a:lnTo>
                    <a:lnTo>
                      <a:pt x="87" y="107"/>
                    </a:lnTo>
                    <a:lnTo>
                      <a:pt x="96" y="103"/>
                    </a:lnTo>
                    <a:lnTo>
                      <a:pt x="100" y="104"/>
                    </a:lnTo>
                    <a:lnTo>
                      <a:pt x="103" y="109"/>
                    </a:lnTo>
                    <a:lnTo>
                      <a:pt x="105" y="113"/>
                    </a:lnTo>
                    <a:lnTo>
                      <a:pt x="115" y="122"/>
                    </a:lnTo>
                    <a:lnTo>
                      <a:pt x="110" y="126"/>
                    </a:lnTo>
                    <a:lnTo>
                      <a:pt x="108" y="128"/>
                    </a:lnTo>
                    <a:lnTo>
                      <a:pt x="108" y="129"/>
                    </a:lnTo>
                    <a:lnTo>
                      <a:pt x="110" y="129"/>
                    </a:lnTo>
                    <a:lnTo>
                      <a:pt x="108" y="130"/>
                    </a:lnTo>
                    <a:lnTo>
                      <a:pt x="103" y="129"/>
                    </a:lnTo>
                    <a:lnTo>
                      <a:pt x="100" y="130"/>
                    </a:lnTo>
                    <a:lnTo>
                      <a:pt x="96" y="128"/>
                    </a:lnTo>
                    <a:lnTo>
                      <a:pt x="90" y="128"/>
                    </a:lnTo>
                    <a:lnTo>
                      <a:pt x="87" y="122"/>
                    </a:lnTo>
                    <a:lnTo>
                      <a:pt x="87" y="129"/>
                    </a:lnTo>
                    <a:lnTo>
                      <a:pt x="86" y="132"/>
                    </a:lnTo>
                    <a:lnTo>
                      <a:pt x="86" y="136"/>
                    </a:lnTo>
                    <a:lnTo>
                      <a:pt x="87" y="143"/>
                    </a:lnTo>
                    <a:lnTo>
                      <a:pt x="89" y="143"/>
                    </a:lnTo>
                    <a:lnTo>
                      <a:pt x="90" y="142"/>
                    </a:lnTo>
                    <a:lnTo>
                      <a:pt x="95" y="141"/>
                    </a:lnTo>
                    <a:lnTo>
                      <a:pt x="100" y="142"/>
                    </a:lnTo>
                    <a:lnTo>
                      <a:pt x="102" y="145"/>
                    </a:lnTo>
                    <a:lnTo>
                      <a:pt x="97" y="143"/>
                    </a:lnTo>
                    <a:lnTo>
                      <a:pt x="95" y="146"/>
                    </a:lnTo>
                    <a:lnTo>
                      <a:pt x="99" y="148"/>
                    </a:lnTo>
                    <a:lnTo>
                      <a:pt x="102" y="149"/>
                    </a:lnTo>
                    <a:lnTo>
                      <a:pt x="95" y="154"/>
                    </a:lnTo>
                    <a:lnTo>
                      <a:pt x="95" y="154"/>
                    </a:lnTo>
                    <a:lnTo>
                      <a:pt x="97" y="154"/>
                    </a:lnTo>
                    <a:lnTo>
                      <a:pt x="102" y="159"/>
                    </a:lnTo>
                    <a:lnTo>
                      <a:pt x="105" y="161"/>
                    </a:lnTo>
                    <a:lnTo>
                      <a:pt x="102" y="164"/>
                    </a:lnTo>
                    <a:lnTo>
                      <a:pt x="103" y="189"/>
                    </a:lnTo>
                    <a:lnTo>
                      <a:pt x="105" y="194"/>
                    </a:lnTo>
                    <a:lnTo>
                      <a:pt x="105" y="199"/>
                    </a:lnTo>
                    <a:lnTo>
                      <a:pt x="99" y="20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36" name="Rectangle 1664"/>
              <p:cNvSpPr>
                <a:spLocks noChangeArrowheads="1"/>
              </p:cNvSpPr>
              <p:nvPr/>
            </p:nvSpPr>
            <p:spPr bwMode="auto">
              <a:xfrm>
                <a:off x="6705340" y="2603270"/>
                <a:ext cx="878" cy="1014"/>
              </a:xfrm>
              <a:prstGeom prst="rect">
                <a:avLst/>
              </a:prstGeom>
              <a:solidFill>
                <a:schemeClr val="accent2"/>
              </a:solidFill>
              <a:ln w="9525">
                <a:noFill/>
                <a:miter lim="800000"/>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37" name="Freeform 1665"/>
              <p:cNvSpPr>
                <a:spLocks/>
              </p:cNvSpPr>
              <p:nvPr/>
            </p:nvSpPr>
            <p:spPr bwMode="auto">
              <a:xfrm>
                <a:off x="6705260" y="2603305"/>
                <a:ext cx="878" cy="1014"/>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38" name="Freeform 6"/>
              <p:cNvSpPr>
                <a:spLocks/>
              </p:cNvSpPr>
              <p:nvPr/>
            </p:nvSpPr>
            <p:spPr bwMode="auto">
              <a:xfrm>
                <a:off x="7005987" y="2687443"/>
                <a:ext cx="383599" cy="472857"/>
              </a:xfrm>
              <a:custGeom>
                <a:avLst/>
                <a:gdLst/>
                <a:ahLst/>
                <a:cxnLst>
                  <a:cxn ang="0">
                    <a:pos x="216" y="163"/>
                  </a:cxn>
                  <a:cxn ang="0">
                    <a:pos x="294" y="181"/>
                  </a:cxn>
                  <a:cxn ang="0">
                    <a:pos x="297" y="156"/>
                  </a:cxn>
                  <a:cxn ang="0">
                    <a:pos x="305" y="168"/>
                  </a:cxn>
                  <a:cxn ang="0">
                    <a:pos x="357" y="166"/>
                  </a:cxn>
                  <a:cxn ang="0">
                    <a:pos x="393" y="133"/>
                  </a:cxn>
                  <a:cxn ang="0">
                    <a:pos x="418" y="138"/>
                  </a:cxn>
                  <a:cxn ang="0">
                    <a:pos x="433" y="156"/>
                  </a:cxn>
                  <a:cxn ang="0">
                    <a:pos x="403" y="178"/>
                  </a:cxn>
                  <a:cxn ang="0">
                    <a:pos x="373" y="224"/>
                  </a:cxn>
                  <a:cxn ang="0">
                    <a:pos x="370" y="249"/>
                  </a:cxn>
                  <a:cxn ang="0">
                    <a:pos x="342" y="231"/>
                  </a:cxn>
                  <a:cxn ang="0">
                    <a:pos x="320" y="193"/>
                  </a:cxn>
                  <a:cxn ang="0">
                    <a:pos x="307" y="181"/>
                  </a:cxn>
                  <a:cxn ang="0">
                    <a:pos x="297" y="193"/>
                  </a:cxn>
                  <a:cxn ang="0">
                    <a:pos x="292" y="206"/>
                  </a:cxn>
                  <a:cxn ang="0">
                    <a:pos x="305" y="259"/>
                  </a:cxn>
                  <a:cxn ang="0">
                    <a:pos x="294" y="249"/>
                  </a:cxn>
                  <a:cxn ang="0">
                    <a:pos x="269" y="284"/>
                  </a:cxn>
                  <a:cxn ang="0">
                    <a:pos x="206" y="337"/>
                  </a:cxn>
                  <a:cxn ang="0">
                    <a:pos x="176" y="354"/>
                  </a:cxn>
                  <a:cxn ang="0">
                    <a:pos x="174" y="430"/>
                  </a:cxn>
                  <a:cxn ang="0">
                    <a:pos x="149" y="450"/>
                  </a:cxn>
                  <a:cxn ang="0">
                    <a:pos x="126" y="450"/>
                  </a:cxn>
                  <a:cxn ang="0">
                    <a:pos x="88" y="359"/>
                  </a:cxn>
                  <a:cxn ang="0">
                    <a:pos x="76" y="337"/>
                  </a:cxn>
                  <a:cxn ang="0">
                    <a:pos x="65" y="286"/>
                  </a:cxn>
                  <a:cxn ang="0">
                    <a:pos x="60" y="246"/>
                  </a:cxn>
                  <a:cxn ang="0">
                    <a:pos x="13" y="249"/>
                  </a:cxn>
                  <a:cxn ang="0">
                    <a:pos x="33" y="231"/>
                  </a:cxn>
                  <a:cxn ang="0">
                    <a:pos x="3" y="218"/>
                  </a:cxn>
                  <a:cxn ang="0">
                    <a:pos x="35" y="211"/>
                  </a:cxn>
                  <a:cxn ang="0">
                    <a:pos x="30" y="188"/>
                  </a:cxn>
                  <a:cxn ang="0">
                    <a:pos x="35" y="153"/>
                  </a:cxn>
                  <a:cxn ang="0">
                    <a:pos x="71" y="138"/>
                  </a:cxn>
                  <a:cxn ang="0">
                    <a:pos x="91" y="105"/>
                  </a:cxn>
                  <a:cxn ang="0">
                    <a:pos x="96" y="93"/>
                  </a:cxn>
                  <a:cxn ang="0">
                    <a:pos x="98" y="78"/>
                  </a:cxn>
                  <a:cxn ang="0">
                    <a:pos x="91" y="60"/>
                  </a:cxn>
                  <a:cxn ang="0">
                    <a:pos x="88" y="45"/>
                  </a:cxn>
                  <a:cxn ang="0">
                    <a:pos x="91" y="27"/>
                  </a:cxn>
                  <a:cxn ang="0">
                    <a:pos x="73" y="15"/>
                  </a:cxn>
                  <a:cxn ang="0">
                    <a:pos x="111" y="2"/>
                  </a:cxn>
                  <a:cxn ang="0">
                    <a:pos x="138" y="25"/>
                  </a:cxn>
                  <a:cxn ang="0">
                    <a:pos x="166" y="15"/>
                  </a:cxn>
                  <a:cxn ang="0">
                    <a:pos x="176" y="37"/>
                  </a:cxn>
                  <a:cxn ang="0">
                    <a:pos x="161" y="63"/>
                  </a:cxn>
                  <a:cxn ang="0">
                    <a:pos x="159" y="75"/>
                  </a:cxn>
                  <a:cxn ang="0">
                    <a:pos x="161" y="103"/>
                  </a:cxn>
                </a:cxnLst>
                <a:rect l="0" t="0" r="r" b="b"/>
                <a:pathLst>
                  <a:path w="433" h="462">
                    <a:moveTo>
                      <a:pt x="191" y="118"/>
                    </a:moveTo>
                    <a:lnTo>
                      <a:pt x="181" y="125"/>
                    </a:lnTo>
                    <a:lnTo>
                      <a:pt x="176" y="141"/>
                    </a:lnTo>
                    <a:lnTo>
                      <a:pt x="216" y="163"/>
                    </a:lnTo>
                    <a:lnTo>
                      <a:pt x="239" y="166"/>
                    </a:lnTo>
                    <a:lnTo>
                      <a:pt x="249" y="173"/>
                    </a:lnTo>
                    <a:lnTo>
                      <a:pt x="282" y="181"/>
                    </a:lnTo>
                    <a:lnTo>
                      <a:pt x="294" y="181"/>
                    </a:lnTo>
                    <a:lnTo>
                      <a:pt x="297" y="176"/>
                    </a:lnTo>
                    <a:lnTo>
                      <a:pt x="292" y="171"/>
                    </a:lnTo>
                    <a:lnTo>
                      <a:pt x="294" y="168"/>
                    </a:lnTo>
                    <a:lnTo>
                      <a:pt x="297" y="156"/>
                    </a:lnTo>
                    <a:lnTo>
                      <a:pt x="305" y="153"/>
                    </a:lnTo>
                    <a:lnTo>
                      <a:pt x="305" y="163"/>
                    </a:lnTo>
                    <a:lnTo>
                      <a:pt x="307" y="166"/>
                    </a:lnTo>
                    <a:lnTo>
                      <a:pt x="305" y="168"/>
                    </a:lnTo>
                    <a:lnTo>
                      <a:pt x="307" y="173"/>
                    </a:lnTo>
                    <a:lnTo>
                      <a:pt x="320" y="176"/>
                    </a:lnTo>
                    <a:lnTo>
                      <a:pt x="352" y="171"/>
                    </a:lnTo>
                    <a:lnTo>
                      <a:pt x="357" y="166"/>
                    </a:lnTo>
                    <a:lnTo>
                      <a:pt x="350" y="163"/>
                    </a:lnTo>
                    <a:lnTo>
                      <a:pt x="350" y="158"/>
                    </a:lnTo>
                    <a:lnTo>
                      <a:pt x="370" y="151"/>
                    </a:lnTo>
                    <a:lnTo>
                      <a:pt x="393" y="133"/>
                    </a:lnTo>
                    <a:lnTo>
                      <a:pt x="403" y="133"/>
                    </a:lnTo>
                    <a:lnTo>
                      <a:pt x="413" y="128"/>
                    </a:lnTo>
                    <a:lnTo>
                      <a:pt x="415" y="138"/>
                    </a:lnTo>
                    <a:lnTo>
                      <a:pt x="418" y="138"/>
                    </a:lnTo>
                    <a:lnTo>
                      <a:pt x="418" y="146"/>
                    </a:lnTo>
                    <a:lnTo>
                      <a:pt x="428" y="148"/>
                    </a:lnTo>
                    <a:lnTo>
                      <a:pt x="433" y="151"/>
                    </a:lnTo>
                    <a:lnTo>
                      <a:pt x="433" y="156"/>
                    </a:lnTo>
                    <a:lnTo>
                      <a:pt x="428" y="158"/>
                    </a:lnTo>
                    <a:lnTo>
                      <a:pt x="428" y="168"/>
                    </a:lnTo>
                    <a:lnTo>
                      <a:pt x="415" y="168"/>
                    </a:lnTo>
                    <a:lnTo>
                      <a:pt x="403" y="178"/>
                    </a:lnTo>
                    <a:lnTo>
                      <a:pt x="400" y="191"/>
                    </a:lnTo>
                    <a:lnTo>
                      <a:pt x="393" y="201"/>
                    </a:lnTo>
                    <a:lnTo>
                      <a:pt x="385" y="218"/>
                    </a:lnTo>
                    <a:lnTo>
                      <a:pt x="373" y="224"/>
                    </a:lnTo>
                    <a:lnTo>
                      <a:pt x="373" y="236"/>
                    </a:lnTo>
                    <a:lnTo>
                      <a:pt x="370" y="239"/>
                    </a:lnTo>
                    <a:lnTo>
                      <a:pt x="367" y="239"/>
                    </a:lnTo>
                    <a:lnTo>
                      <a:pt x="370" y="249"/>
                    </a:lnTo>
                    <a:lnTo>
                      <a:pt x="362" y="254"/>
                    </a:lnTo>
                    <a:lnTo>
                      <a:pt x="355" y="224"/>
                    </a:lnTo>
                    <a:lnTo>
                      <a:pt x="347" y="234"/>
                    </a:lnTo>
                    <a:lnTo>
                      <a:pt x="342" y="231"/>
                    </a:lnTo>
                    <a:lnTo>
                      <a:pt x="340" y="221"/>
                    </a:lnTo>
                    <a:lnTo>
                      <a:pt x="357" y="201"/>
                    </a:lnTo>
                    <a:lnTo>
                      <a:pt x="325" y="198"/>
                    </a:lnTo>
                    <a:lnTo>
                      <a:pt x="320" y="193"/>
                    </a:lnTo>
                    <a:lnTo>
                      <a:pt x="317" y="183"/>
                    </a:lnTo>
                    <a:lnTo>
                      <a:pt x="315" y="186"/>
                    </a:lnTo>
                    <a:lnTo>
                      <a:pt x="312" y="186"/>
                    </a:lnTo>
                    <a:lnTo>
                      <a:pt x="307" y="181"/>
                    </a:lnTo>
                    <a:lnTo>
                      <a:pt x="305" y="186"/>
                    </a:lnTo>
                    <a:lnTo>
                      <a:pt x="302" y="178"/>
                    </a:lnTo>
                    <a:lnTo>
                      <a:pt x="294" y="188"/>
                    </a:lnTo>
                    <a:lnTo>
                      <a:pt x="297" y="193"/>
                    </a:lnTo>
                    <a:lnTo>
                      <a:pt x="302" y="193"/>
                    </a:lnTo>
                    <a:lnTo>
                      <a:pt x="305" y="198"/>
                    </a:lnTo>
                    <a:lnTo>
                      <a:pt x="297" y="198"/>
                    </a:lnTo>
                    <a:lnTo>
                      <a:pt x="292" y="206"/>
                    </a:lnTo>
                    <a:lnTo>
                      <a:pt x="302" y="213"/>
                    </a:lnTo>
                    <a:lnTo>
                      <a:pt x="302" y="226"/>
                    </a:lnTo>
                    <a:lnTo>
                      <a:pt x="307" y="256"/>
                    </a:lnTo>
                    <a:lnTo>
                      <a:pt x="305" y="259"/>
                    </a:lnTo>
                    <a:lnTo>
                      <a:pt x="305" y="254"/>
                    </a:lnTo>
                    <a:lnTo>
                      <a:pt x="305" y="256"/>
                    </a:lnTo>
                    <a:lnTo>
                      <a:pt x="297" y="259"/>
                    </a:lnTo>
                    <a:lnTo>
                      <a:pt x="294" y="249"/>
                    </a:lnTo>
                    <a:lnTo>
                      <a:pt x="292" y="254"/>
                    </a:lnTo>
                    <a:lnTo>
                      <a:pt x="279" y="261"/>
                    </a:lnTo>
                    <a:lnTo>
                      <a:pt x="279" y="271"/>
                    </a:lnTo>
                    <a:lnTo>
                      <a:pt x="269" y="284"/>
                    </a:lnTo>
                    <a:lnTo>
                      <a:pt x="249" y="294"/>
                    </a:lnTo>
                    <a:lnTo>
                      <a:pt x="237" y="309"/>
                    </a:lnTo>
                    <a:lnTo>
                      <a:pt x="211" y="329"/>
                    </a:lnTo>
                    <a:lnTo>
                      <a:pt x="206" y="337"/>
                    </a:lnTo>
                    <a:lnTo>
                      <a:pt x="194" y="339"/>
                    </a:lnTo>
                    <a:lnTo>
                      <a:pt x="189" y="349"/>
                    </a:lnTo>
                    <a:lnTo>
                      <a:pt x="181" y="349"/>
                    </a:lnTo>
                    <a:lnTo>
                      <a:pt x="176" y="354"/>
                    </a:lnTo>
                    <a:lnTo>
                      <a:pt x="176" y="379"/>
                    </a:lnTo>
                    <a:lnTo>
                      <a:pt x="181" y="387"/>
                    </a:lnTo>
                    <a:lnTo>
                      <a:pt x="174" y="410"/>
                    </a:lnTo>
                    <a:lnTo>
                      <a:pt x="174" y="430"/>
                    </a:lnTo>
                    <a:lnTo>
                      <a:pt x="166" y="430"/>
                    </a:lnTo>
                    <a:lnTo>
                      <a:pt x="161" y="440"/>
                    </a:lnTo>
                    <a:lnTo>
                      <a:pt x="161" y="445"/>
                    </a:lnTo>
                    <a:lnTo>
                      <a:pt x="149" y="450"/>
                    </a:lnTo>
                    <a:lnTo>
                      <a:pt x="146" y="457"/>
                    </a:lnTo>
                    <a:lnTo>
                      <a:pt x="141" y="462"/>
                    </a:lnTo>
                    <a:lnTo>
                      <a:pt x="136" y="462"/>
                    </a:lnTo>
                    <a:lnTo>
                      <a:pt x="126" y="450"/>
                    </a:lnTo>
                    <a:lnTo>
                      <a:pt x="113" y="412"/>
                    </a:lnTo>
                    <a:lnTo>
                      <a:pt x="103" y="400"/>
                    </a:lnTo>
                    <a:lnTo>
                      <a:pt x="98" y="379"/>
                    </a:lnTo>
                    <a:lnTo>
                      <a:pt x="88" y="359"/>
                    </a:lnTo>
                    <a:lnTo>
                      <a:pt x="86" y="352"/>
                    </a:lnTo>
                    <a:lnTo>
                      <a:pt x="83" y="352"/>
                    </a:lnTo>
                    <a:lnTo>
                      <a:pt x="81" y="347"/>
                    </a:lnTo>
                    <a:lnTo>
                      <a:pt x="76" y="337"/>
                    </a:lnTo>
                    <a:lnTo>
                      <a:pt x="71" y="307"/>
                    </a:lnTo>
                    <a:lnTo>
                      <a:pt x="71" y="296"/>
                    </a:lnTo>
                    <a:lnTo>
                      <a:pt x="68" y="296"/>
                    </a:lnTo>
                    <a:lnTo>
                      <a:pt x="65" y="286"/>
                    </a:lnTo>
                    <a:lnTo>
                      <a:pt x="68" y="274"/>
                    </a:lnTo>
                    <a:lnTo>
                      <a:pt x="63" y="254"/>
                    </a:lnTo>
                    <a:lnTo>
                      <a:pt x="71" y="246"/>
                    </a:lnTo>
                    <a:lnTo>
                      <a:pt x="60" y="246"/>
                    </a:lnTo>
                    <a:lnTo>
                      <a:pt x="55" y="264"/>
                    </a:lnTo>
                    <a:lnTo>
                      <a:pt x="45" y="269"/>
                    </a:lnTo>
                    <a:lnTo>
                      <a:pt x="35" y="269"/>
                    </a:lnTo>
                    <a:lnTo>
                      <a:pt x="13" y="249"/>
                    </a:lnTo>
                    <a:lnTo>
                      <a:pt x="13" y="246"/>
                    </a:lnTo>
                    <a:lnTo>
                      <a:pt x="28" y="244"/>
                    </a:lnTo>
                    <a:lnTo>
                      <a:pt x="33" y="239"/>
                    </a:lnTo>
                    <a:lnTo>
                      <a:pt x="33" y="231"/>
                    </a:lnTo>
                    <a:lnTo>
                      <a:pt x="23" y="239"/>
                    </a:lnTo>
                    <a:lnTo>
                      <a:pt x="13" y="239"/>
                    </a:lnTo>
                    <a:lnTo>
                      <a:pt x="0" y="224"/>
                    </a:lnTo>
                    <a:lnTo>
                      <a:pt x="3" y="218"/>
                    </a:lnTo>
                    <a:lnTo>
                      <a:pt x="10" y="218"/>
                    </a:lnTo>
                    <a:lnTo>
                      <a:pt x="13" y="213"/>
                    </a:lnTo>
                    <a:lnTo>
                      <a:pt x="28" y="216"/>
                    </a:lnTo>
                    <a:lnTo>
                      <a:pt x="35" y="211"/>
                    </a:lnTo>
                    <a:lnTo>
                      <a:pt x="40" y="216"/>
                    </a:lnTo>
                    <a:lnTo>
                      <a:pt x="45" y="213"/>
                    </a:lnTo>
                    <a:lnTo>
                      <a:pt x="38" y="193"/>
                    </a:lnTo>
                    <a:lnTo>
                      <a:pt x="30" y="188"/>
                    </a:lnTo>
                    <a:lnTo>
                      <a:pt x="33" y="178"/>
                    </a:lnTo>
                    <a:lnTo>
                      <a:pt x="20" y="176"/>
                    </a:lnTo>
                    <a:lnTo>
                      <a:pt x="23" y="168"/>
                    </a:lnTo>
                    <a:lnTo>
                      <a:pt x="35" y="153"/>
                    </a:lnTo>
                    <a:lnTo>
                      <a:pt x="43" y="158"/>
                    </a:lnTo>
                    <a:lnTo>
                      <a:pt x="55" y="156"/>
                    </a:lnTo>
                    <a:lnTo>
                      <a:pt x="63" y="143"/>
                    </a:lnTo>
                    <a:lnTo>
                      <a:pt x="71" y="138"/>
                    </a:lnTo>
                    <a:lnTo>
                      <a:pt x="78" y="123"/>
                    </a:lnTo>
                    <a:lnTo>
                      <a:pt x="83" y="120"/>
                    </a:lnTo>
                    <a:lnTo>
                      <a:pt x="86" y="115"/>
                    </a:lnTo>
                    <a:lnTo>
                      <a:pt x="91" y="105"/>
                    </a:lnTo>
                    <a:lnTo>
                      <a:pt x="101" y="103"/>
                    </a:lnTo>
                    <a:lnTo>
                      <a:pt x="96" y="100"/>
                    </a:lnTo>
                    <a:lnTo>
                      <a:pt x="98" y="95"/>
                    </a:lnTo>
                    <a:lnTo>
                      <a:pt x="96" y="93"/>
                    </a:lnTo>
                    <a:lnTo>
                      <a:pt x="98" y="88"/>
                    </a:lnTo>
                    <a:lnTo>
                      <a:pt x="108" y="83"/>
                    </a:lnTo>
                    <a:lnTo>
                      <a:pt x="106" y="78"/>
                    </a:lnTo>
                    <a:lnTo>
                      <a:pt x="98" y="78"/>
                    </a:lnTo>
                    <a:lnTo>
                      <a:pt x="98" y="73"/>
                    </a:lnTo>
                    <a:lnTo>
                      <a:pt x="91" y="70"/>
                    </a:lnTo>
                    <a:lnTo>
                      <a:pt x="86" y="65"/>
                    </a:lnTo>
                    <a:lnTo>
                      <a:pt x="91" y="60"/>
                    </a:lnTo>
                    <a:lnTo>
                      <a:pt x="88" y="55"/>
                    </a:lnTo>
                    <a:lnTo>
                      <a:pt x="91" y="50"/>
                    </a:lnTo>
                    <a:lnTo>
                      <a:pt x="86" y="47"/>
                    </a:lnTo>
                    <a:lnTo>
                      <a:pt x="88" y="45"/>
                    </a:lnTo>
                    <a:lnTo>
                      <a:pt x="83" y="42"/>
                    </a:lnTo>
                    <a:lnTo>
                      <a:pt x="88" y="40"/>
                    </a:lnTo>
                    <a:lnTo>
                      <a:pt x="93" y="37"/>
                    </a:lnTo>
                    <a:lnTo>
                      <a:pt x="91" y="27"/>
                    </a:lnTo>
                    <a:lnTo>
                      <a:pt x="86" y="25"/>
                    </a:lnTo>
                    <a:lnTo>
                      <a:pt x="81" y="20"/>
                    </a:lnTo>
                    <a:lnTo>
                      <a:pt x="73" y="20"/>
                    </a:lnTo>
                    <a:lnTo>
                      <a:pt x="73" y="15"/>
                    </a:lnTo>
                    <a:lnTo>
                      <a:pt x="83" y="7"/>
                    </a:lnTo>
                    <a:lnTo>
                      <a:pt x="91" y="7"/>
                    </a:lnTo>
                    <a:lnTo>
                      <a:pt x="103" y="0"/>
                    </a:lnTo>
                    <a:lnTo>
                      <a:pt x="111" y="2"/>
                    </a:lnTo>
                    <a:lnTo>
                      <a:pt x="118" y="7"/>
                    </a:lnTo>
                    <a:lnTo>
                      <a:pt x="126" y="15"/>
                    </a:lnTo>
                    <a:lnTo>
                      <a:pt x="131" y="20"/>
                    </a:lnTo>
                    <a:lnTo>
                      <a:pt x="138" y="25"/>
                    </a:lnTo>
                    <a:lnTo>
                      <a:pt x="141" y="27"/>
                    </a:lnTo>
                    <a:lnTo>
                      <a:pt x="154" y="25"/>
                    </a:lnTo>
                    <a:lnTo>
                      <a:pt x="156" y="20"/>
                    </a:lnTo>
                    <a:lnTo>
                      <a:pt x="166" y="15"/>
                    </a:lnTo>
                    <a:lnTo>
                      <a:pt x="176" y="22"/>
                    </a:lnTo>
                    <a:lnTo>
                      <a:pt x="176" y="25"/>
                    </a:lnTo>
                    <a:lnTo>
                      <a:pt x="181" y="25"/>
                    </a:lnTo>
                    <a:lnTo>
                      <a:pt x="176" y="37"/>
                    </a:lnTo>
                    <a:lnTo>
                      <a:pt x="171" y="42"/>
                    </a:lnTo>
                    <a:lnTo>
                      <a:pt x="169" y="50"/>
                    </a:lnTo>
                    <a:lnTo>
                      <a:pt x="161" y="50"/>
                    </a:lnTo>
                    <a:lnTo>
                      <a:pt x="161" y="63"/>
                    </a:lnTo>
                    <a:lnTo>
                      <a:pt x="169" y="65"/>
                    </a:lnTo>
                    <a:lnTo>
                      <a:pt x="171" y="73"/>
                    </a:lnTo>
                    <a:lnTo>
                      <a:pt x="161" y="80"/>
                    </a:lnTo>
                    <a:lnTo>
                      <a:pt x="159" y="75"/>
                    </a:lnTo>
                    <a:lnTo>
                      <a:pt x="154" y="78"/>
                    </a:lnTo>
                    <a:lnTo>
                      <a:pt x="159" y="88"/>
                    </a:lnTo>
                    <a:lnTo>
                      <a:pt x="159" y="95"/>
                    </a:lnTo>
                    <a:lnTo>
                      <a:pt x="161" y="103"/>
                    </a:lnTo>
                    <a:lnTo>
                      <a:pt x="169" y="103"/>
                    </a:lnTo>
                    <a:lnTo>
                      <a:pt x="191" y="118"/>
                    </a:lnTo>
                    <a:close/>
                  </a:path>
                </a:pathLst>
              </a:custGeom>
              <a:solidFill>
                <a:srgbClr val="65DAFF"/>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grpSp>
            <p:nvGrpSpPr>
              <p:cNvPr id="2739" name="Group 1557"/>
              <p:cNvGrpSpPr/>
              <p:nvPr/>
            </p:nvGrpSpPr>
            <p:grpSpPr>
              <a:xfrm>
                <a:off x="8007647" y="3840925"/>
                <a:ext cx="422571" cy="201367"/>
                <a:chOff x="8201668" y="5332051"/>
                <a:chExt cx="751364" cy="309913"/>
              </a:xfrm>
            </p:grpSpPr>
            <p:sp>
              <p:nvSpPr>
                <p:cNvPr id="2740" name="Freeform 183"/>
                <p:cNvSpPr>
                  <a:spLocks/>
                </p:cNvSpPr>
                <p:nvPr/>
              </p:nvSpPr>
              <p:spPr bwMode="auto">
                <a:xfrm>
                  <a:off x="8201668" y="5472335"/>
                  <a:ext cx="86421" cy="91358"/>
                </a:xfrm>
                <a:custGeom>
                  <a:avLst/>
                  <a:gdLst>
                    <a:gd name="T0" fmla="*/ 0 w 53"/>
                    <a:gd name="T1" fmla="*/ 0 h 57"/>
                    <a:gd name="T2" fmla="*/ 0 w 53"/>
                    <a:gd name="T3" fmla="*/ 2147483647 h 57"/>
                    <a:gd name="T4" fmla="*/ 2147483647 w 53"/>
                    <a:gd name="T5" fmla="*/ 2147483647 h 57"/>
                    <a:gd name="T6" fmla="*/ 2147483647 w 53"/>
                    <a:gd name="T7" fmla="*/ 2147483647 h 57"/>
                    <a:gd name="T8" fmla="*/ 2147483647 w 53"/>
                    <a:gd name="T9" fmla="*/ 2147483647 h 57"/>
                    <a:gd name="T10" fmla="*/ 2147483647 w 53"/>
                    <a:gd name="T11" fmla="*/ 2147483647 h 57"/>
                    <a:gd name="T12" fmla="*/ 2147483647 w 53"/>
                    <a:gd name="T13" fmla="*/ 2147483647 h 57"/>
                    <a:gd name="T14" fmla="*/ 2147483647 w 53"/>
                    <a:gd name="T15" fmla="*/ 2147483647 h 57"/>
                    <a:gd name="T16" fmla="*/ 2147483647 w 53"/>
                    <a:gd name="T17" fmla="*/ 2147483647 h 57"/>
                    <a:gd name="T18" fmla="*/ 2147483647 w 53"/>
                    <a:gd name="T19" fmla="*/ 2147483647 h 57"/>
                    <a:gd name="T20" fmla="*/ 2147483647 w 53"/>
                    <a:gd name="T21" fmla="*/ 2147483647 h 57"/>
                    <a:gd name="T22" fmla="*/ 2147483647 w 53"/>
                    <a:gd name="T23" fmla="*/ 2147483647 h 57"/>
                    <a:gd name="T24" fmla="*/ 2147483647 w 53"/>
                    <a:gd name="T25" fmla="*/ 2147483647 h 57"/>
                    <a:gd name="T26" fmla="*/ 2147483647 w 53"/>
                    <a:gd name="T27" fmla="*/ 2147483647 h 57"/>
                    <a:gd name="T28" fmla="*/ 2147483647 w 53"/>
                    <a:gd name="T29" fmla="*/ 2147483647 h 57"/>
                    <a:gd name="T30" fmla="*/ 2147483647 w 53"/>
                    <a:gd name="T31" fmla="*/ 2147483647 h 57"/>
                    <a:gd name="T32" fmla="*/ 2147483647 w 53"/>
                    <a:gd name="T33" fmla="*/ 2147483647 h 57"/>
                    <a:gd name="T34" fmla="*/ 2147483647 w 53"/>
                    <a:gd name="T35" fmla="*/ 2147483647 h 57"/>
                    <a:gd name="T36" fmla="*/ 2147483647 w 53"/>
                    <a:gd name="T37" fmla="*/ 2147483647 h 57"/>
                    <a:gd name="T38" fmla="*/ 2147483647 w 53"/>
                    <a:gd name="T39" fmla="*/ 2147483647 h 57"/>
                    <a:gd name="T40" fmla="*/ 2147483647 w 53"/>
                    <a:gd name="T41" fmla="*/ 2147483647 h 57"/>
                    <a:gd name="T42" fmla="*/ 2147483647 w 53"/>
                    <a:gd name="T43" fmla="*/ 2147483647 h 57"/>
                    <a:gd name="T44" fmla="*/ 2147483647 w 53"/>
                    <a:gd name="T45" fmla="*/ 2147483647 h 57"/>
                    <a:gd name="T46" fmla="*/ 2147483647 w 53"/>
                    <a:gd name="T47" fmla="*/ 2147483647 h 57"/>
                    <a:gd name="T48" fmla="*/ 2147483647 w 53"/>
                    <a:gd name="T49" fmla="*/ 2147483647 h 57"/>
                    <a:gd name="T50" fmla="*/ 2147483647 w 53"/>
                    <a:gd name="T51" fmla="*/ 2147483647 h 57"/>
                    <a:gd name="T52" fmla="*/ 2147483647 w 53"/>
                    <a:gd name="T53" fmla="*/ 2147483647 h 57"/>
                    <a:gd name="T54" fmla="*/ 2147483647 w 53"/>
                    <a:gd name="T55" fmla="*/ 2147483647 h 57"/>
                    <a:gd name="T56" fmla="*/ 2147483647 w 53"/>
                    <a:gd name="T57" fmla="*/ 2147483647 h 57"/>
                    <a:gd name="T58" fmla="*/ 2147483647 w 53"/>
                    <a:gd name="T59" fmla="*/ 2147483647 h 57"/>
                    <a:gd name="T60" fmla="*/ 2147483647 w 53"/>
                    <a:gd name="T61" fmla="*/ 2147483647 h 57"/>
                    <a:gd name="T62" fmla="*/ 2147483647 w 53"/>
                    <a:gd name="T63" fmla="*/ 2147483647 h 57"/>
                    <a:gd name="T64" fmla="*/ 2147483647 w 53"/>
                    <a:gd name="T65" fmla="*/ 2147483647 h 57"/>
                    <a:gd name="T66" fmla="*/ 2147483647 w 53"/>
                    <a:gd name="T67" fmla="*/ 2147483647 h 57"/>
                    <a:gd name="T68" fmla="*/ 2147483647 w 53"/>
                    <a:gd name="T69" fmla="*/ 2147483647 h 57"/>
                    <a:gd name="T70" fmla="*/ 2147483647 w 53"/>
                    <a:gd name="T71" fmla="*/ 2147483647 h 57"/>
                    <a:gd name="T72" fmla="*/ 2147483647 w 53"/>
                    <a:gd name="T73" fmla="*/ 2147483647 h 57"/>
                    <a:gd name="T74" fmla="*/ 2147483647 w 53"/>
                    <a:gd name="T75" fmla="*/ 2147483647 h 57"/>
                    <a:gd name="T76" fmla="*/ 2147483647 w 53"/>
                    <a:gd name="T77" fmla="*/ 2147483647 h 57"/>
                    <a:gd name="T78" fmla="*/ 2147483647 w 53"/>
                    <a:gd name="T79" fmla="*/ 2147483647 h 57"/>
                    <a:gd name="T80" fmla="*/ 2147483647 w 53"/>
                    <a:gd name="T81" fmla="*/ 2147483647 h 57"/>
                    <a:gd name="T82" fmla="*/ 2147483647 w 53"/>
                    <a:gd name="T83" fmla="*/ 2147483647 h 57"/>
                    <a:gd name="T84" fmla="*/ 2147483647 w 53"/>
                    <a:gd name="T85" fmla="*/ 2147483647 h 57"/>
                    <a:gd name="T86" fmla="*/ 2147483647 w 53"/>
                    <a:gd name="T87" fmla="*/ 2147483647 h 57"/>
                    <a:gd name="T88" fmla="*/ 2147483647 w 53"/>
                    <a:gd name="T89" fmla="*/ 2147483647 h 57"/>
                    <a:gd name="T90" fmla="*/ 2147483647 w 53"/>
                    <a:gd name="T91" fmla="*/ 2147483647 h 57"/>
                    <a:gd name="T92" fmla="*/ 2147483647 w 53"/>
                    <a:gd name="T93" fmla="*/ 2147483647 h 57"/>
                    <a:gd name="T94" fmla="*/ 2147483647 w 53"/>
                    <a:gd name="T95" fmla="*/ 2147483647 h 57"/>
                    <a:gd name="T96" fmla="*/ 2147483647 w 53"/>
                    <a:gd name="T97" fmla="*/ 2147483647 h 57"/>
                    <a:gd name="T98" fmla="*/ 2147483647 w 53"/>
                    <a:gd name="T99" fmla="*/ 2147483647 h 57"/>
                    <a:gd name="T100" fmla="*/ 2147483647 w 53"/>
                    <a:gd name="T101" fmla="*/ 2147483647 h 57"/>
                    <a:gd name="T102" fmla="*/ 2147483647 w 53"/>
                    <a:gd name="T103" fmla="*/ 2147483647 h 57"/>
                    <a:gd name="T104" fmla="*/ 0 w 53"/>
                    <a:gd name="T105" fmla="*/ 2147483647 h 57"/>
                    <a:gd name="T106" fmla="*/ 0 w 53"/>
                    <a:gd name="T107" fmla="*/ 0 h 5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
                    <a:gd name="T163" fmla="*/ 0 h 57"/>
                    <a:gd name="T164" fmla="*/ 53 w 53"/>
                    <a:gd name="T165" fmla="*/ 57 h 5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 h="57">
                      <a:moveTo>
                        <a:pt x="0" y="0"/>
                      </a:moveTo>
                      <a:lnTo>
                        <a:pt x="0" y="2"/>
                      </a:lnTo>
                      <a:lnTo>
                        <a:pt x="5" y="3"/>
                      </a:lnTo>
                      <a:lnTo>
                        <a:pt x="6" y="3"/>
                      </a:lnTo>
                      <a:lnTo>
                        <a:pt x="8" y="3"/>
                      </a:lnTo>
                      <a:lnTo>
                        <a:pt x="18" y="9"/>
                      </a:lnTo>
                      <a:lnTo>
                        <a:pt x="27" y="10"/>
                      </a:lnTo>
                      <a:lnTo>
                        <a:pt x="32" y="7"/>
                      </a:lnTo>
                      <a:lnTo>
                        <a:pt x="38" y="6"/>
                      </a:lnTo>
                      <a:lnTo>
                        <a:pt x="41" y="3"/>
                      </a:lnTo>
                      <a:lnTo>
                        <a:pt x="44" y="5"/>
                      </a:lnTo>
                      <a:lnTo>
                        <a:pt x="45" y="3"/>
                      </a:lnTo>
                      <a:lnTo>
                        <a:pt x="48" y="3"/>
                      </a:lnTo>
                      <a:lnTo>
                        <a:pt x="50" y="6"/>
                      </a:lnTo>
                      <a:lnTo>
                        <a:pt x="51" y="28"/>
                      </a:lnTo>
                      <a:lnTo>
                        <a:pt x="53" y="29"/>
                      </a:lnTo>
                      <a:lnTo>
                        <a:pt x="51" y="32"/>
                      </a:lnTo>
                      <a:lnTo>
                        <a:pt x="51" y="28"/>
                      </a:lnTo>
                      <a:lnTo>
                        <a:pt x="50" y="25"/>
                      </a:lnTo>
                      <a:lnTo>
                        <a:pt x="47" y="32"/>
                      </a:lnTo>
                      <a:lnTo>
                        <a:pt x="47" y="35"/>
                      </a:lnTo>
                      <a:lnTo>
                        <a:pt x="45" y="35"/>
                      </a:lnTo>
                      <a:lnTo>
                        <a:pt x="45" y="41"/>
                      </a:lnTo>
                      <a:lnTo>
                        <a:pt x="44" y="41"/>
                      </a:lnTo>
                      <a:lnTo>
                        <a:pt x="43" y="41"/>
                      </a:lnTo>
                      <a:lnTo>
                        <a:pt x="41" y="41"/>
                      </a:lnTo>
                      <a:lnTo>
                        <a:pt x="40" y="42"/>
                      </a:lnTo>
                      <a:lnTo>
                        <a:pt x="40" y="44"/>
                      </a:lnTo>
                      <a:lnTo>
                        <a:pt x="40" y="47"/>
                      </a:lnTo>
                      <a:lnTo>
                        <a:pt x="37" y="47"/>
                      </a:lnTo>
                      <a:lnTo>
                        <a:pt x="37" y="50"/>
                      </a:lnTo>
                      <a:lnTo>
                        <a:pt x="35" y="48"/>
                      </a:lnTo>
                      <a:lnTo>
                        <a:pt x="34" y="48"/>
                      </a:lnTo>
                      <a:lnTo>
                        <a:pt x="32" y="50"/>
                      </a:lnTo>
                      <a:lnTo>
                        <a:pt x="32" y="54"/>
                      </a:lnTo>
                      <a:lnTo>
                        <a:pt x="31" y="57"/>
                      </a:lnTo>
                      <a:lnTo>
                        <a:pt x="29" y="57"/>
                      </a:lnTo>
                      <a:lnTo>
                        <a:pt x="27" y="55"/>
                      </a:lnTo>
                      <a:lnTo>
                        <a:pt x="25" y="55"/>
                      </a:lnTo>
                      <a:lnTo>
                        <a:pt x="24" y="55"/>
                      </a:lnTo>
                      <a:lnTo>
                        <a:pt x="21" y="54"/>
                      </a:lnTo>
                      <a:lnTo>
                        <a:pt x="19" y="54"/>
                      </a:lnTo>
                      <a:lnTo>
                        <a:pt x="18" y="53"/>
                      </a:lnTo>
                      <a:lnTo>
                        <a:pt x="19" y="53"/>
                      </a:lnTo>
                      <a:lnTo>
                        <a:pt x="21" y="51"/>
                      </a:lnTo>
                      <a:lnTo>
                        <a:pt x="18" y="51"/>
                      </a:lnTo>
                      <a:lnTo>
                        <a:pt x="16" y="50"/>
                      </a:lnTo>
                      <a:lnTo>
                        <a:pt x="9" y="39"/>
                      </a:lnTo>
                      <a:lnTo>
                        <a:pt x="6" y="28"/>
                      </a:lnTo>
                      <a:lnTo>
                        <a:pt x="9" y="34"/>
                      </a:lnTo>
                      <a:lnTo>
                        <a:pt x="12" y="31"/>
                      </a:lnTo>
                      <a:lnTo>
                        <a:pt x="9" y="29"/>
                      </a:lnTo>
                      <a:lnTo>
                        <a:pt x="0" y="10"/>
                      </a:lnTo>
                      <a:lnTo>
                        <a:pt x="0" y="0"/>
                      </a:lnTo>
                    </a:path>
                  </a:pathLst>
                </a:custGeom>
                <a:solidFill>
                  <a:schemeClr val="accent2"/>
                </a:solidFill>
                <a:ln w="1">
                  <a:solidFill>
                    <a:srgbClr val="FFFFFF"/>
                  </a:solid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41" name="Freeform 281"/>
                <p:cNvSpPr>
                  <a:spLocks/>
                </p:cNvSpPr>
                <p:nvPr/>
              </p:nvSpPr>
              <p:spPr bwMode="auto">
                <a:xfrm>
                  <a:off x="8825347" y="5332051"/>
                  <a:ext cx="127685" cy="174724"/>
                </a:xfrm>
                <a:custGeom>
                  <a:avLst/>
                  <a:gdLst>
                    <a:gd name="T0" fmla="*/ 19 w 73"/>
                    <a:gd name="T1" fmla="*/ 86 h 115"/>
                    <a:gd name="T2" fmla="*/ 37 w 73"/>
                    <a:gd name="T3" fmla="*/ 95 h 115"/>
                    <a:gd name="T4" fmla="*/ 30 w 73"/>
                    <a:gd name="T5" fmla="*/ 125 h 115"/>
                    <a:gd name="T6" fmla="*/ 37 w 73"/>
                    <a:gd name="T7" fmla="*/ 136 h 115"/>
                    <a:gd name="T8" fmla="*/ 48 w 73"/>
                    <a:gd name="T9" fmla="*/ 125 h 115"/>
                    <a:gd name="T10" fmla="*/ 68 w 73"/>
                    <a:gd name="T11" fmla="*/ 86 h 115"/>
                    <a:gd name="T12" fmla="*/ 78 w 73"/>
                    <a:gd name="T13" fmla="*/ 86 h 115"/>
                    <a:gd name="T14" fmla="*/ 87 w 73"/>
                    <a:gd name="T15" fmla="*/ 77 h 115"/>
                    <a:gd name="T16" fmla="*/ 87 w 73"/>
                    <a:gd name="T17" fmla="*/ 58 h 115"/>
                    <a:gd name="T18" fmla="*/ 78 w 73"/>
                    <a:gd name="T19" fmla="*/ 48 h 115"/>
                    <a:gd name="T20" fmla="*/ 68 w 73"/>
                    <a:gd name="T21" fmla="*/ 58 h 115"/>
                    <a:gd name="T22" fmla="*/ 48 w 73"/>
                    <a:gd name="T23" fmla="*/ 58 h 115"/>
                    <a:gd name="T24" fmla="*/ 48 w 73"/>
                    <a:gd name="T25" fmla="*/ 38 h 115"/>
                    <a:gd name="T26" fmla="*/ 37 w 73"/>
                    <a:gd name="T27" fmla="*/ 38 h 115"/>
                    <a:gd name="T28" fmla="*/ 37 w 73"/>
                    <a:gd name="T29" fmla="*/ 48 h 115"/>
                    <a:gd name="T30" fmla="*/ 30 w 73"/>
                    <a:gd name="T31" fmla="*/ 38 h 115"/>
                    <a:gd name="T32" fmla="*/ 30 w 73"/>
                    <a:gd name="T33" fmla="*/ 11 h 115"/>
                    <a:gd name="T34" fmla="*/ 0 w 73"/>
                    <a:gd name="T35" fmla="*/ 0 h 115"/>
                    <a:gd name="T36" fmla="*/ 30 w 73"/>
                    <a:gd name="T37" fmla="*/ 38 h 115"/>
                    <a:gd name="T38" fmla="*/ 30 w 73"/>
                    <a:gd name="T39" fmla="*/ 77 h 115"/>
                    <a:gd name="T40" fmla="*/ 19 w 73"/>
                    <a:gd name="T41" fmla="*/ 86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3"/>
                    <a:gd name="T64" fmla="*/ 0 h 115"/>
                    <a:gd name="T65" fmla="*/ 73 w 73"/>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solidFill>
                  <a:schemeClr val="accent2"/>
                </a:solidFill>
                <a:ln w="6350" cap="rnd">
                  <a:solidFill>
                    <a:schemeClr val="bg1"/>
                  </a:solidFill>
                  <a:round/>
                  <a:headEnd/>
                  <a:tailEnd/>
                </a:ln>
              </p:spPr>
              <p:txBody>
                <a:bodyPr/>
                <a:lstStyle/>
                <a:p>
                  <a:pPr marL="0" marR="0" lvl="0" indent="0" algn="l" defTabSz="9138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263147"/>
                    </a:solidFill>
                    <a:effectLst/>
                    <a:uLnTx/>
                    <a:uFillTx/>
                    <a:latin typeface="Calibri" pitchFamily="34" charset="0"/>
                    <a:ea typeface="+mn-ea"/>
                    <a:cs typeface="Arial" pitchFamily="34" charset="0"/>
                  </a:endParaRPr>
                </a:p>
              </p:txBody>
            </p:sp>
            <p:sp>
              <p:nvSpPr>
                <p:cNvPr id="2742" name="Freeform 282"/>
                <p:cNvSpPr>
                  <a:spLocks/>
                </p:cNvSpPr>
                <p:nvPr/>
              </p:nvSpPr>
              <p:spPr bwMode="auto">
                <a:xfrm>
                  <a:off x="8825347" y="5332051"/>
                  <a:ext cx="127685" cy="174724"/>
                </a:xfrm>
                <a:custGeom>
                  <a:avLst/>
                  <a:gdLst>
                    <a:gd name="T0" fmla="*/ 19 w 73"/>
                    <a:gd name="T1" fmla="*/ 86 h 115"/>
                    <a:gd name="T2" fmla="*/ 37 w 73"/>
                    <a:gd name="T3" fmla="*/ 95 h 115"/>
                    <a:gd name="T4" fmla="*/ 30 w 73"/>
                    <a:gd name="T5" fmla="*/ 125 h 115"/>
                    <a:gd name="T6" fmla="*/ 37 w 73"/>
                    <a:gd name="T7" fmla="*/ 136 h 115"/>
                    <a:gd name="T8" fmla="*/ 48 w 73"/>
                    <a:gd name="T9" fmla="*/ 125 h 115"/>
                    <a:gd name="T10" fmla="*/ 68 w 73"/>
                    <a:gd name="T11" fmla="*/ 86 h 115"/>
                    <a:gd name="T12" fmla="*/ 78 w 73"/>
                    <a:gd name="T13" fmla="*/ 86 h 115"/>
                    <a:gd name="T14" fmla="*/ 87 w 73"/>
                    <a:gd name="T15" fmla="*/ 77 h 115"/>
                    <a:gd name="T16" fmla="*/ 87 w 73"/>
                    <a:gd name="T17" fmla="*/ 58 h 115"/>
                    <a:gd name="T18" fmla="*/ 78 w 73"/>
                    <a:gd name="T19" fmla="*/ 48 h 115"/>
                    <a:gd name="T20" fmla="*/ 68 w 73"/>
                    <a:gd name="T21" fmla="*/ 58 h 115"/>
                    <a:gd name="T22" fmla="*/ 48 w 73"/>
                    <a:gd name="T23" fmla="*/ 58 h 115"/>
                    <a:gd name="T24" fmla="*/ 48 w 73"/>
                    <a:gd name="T25" fmla="*/ 38 h 115"/>
                    <a:gd name="T26" fmla="*/ 37 w 73"/>
                    <a:gd name="T27" fmla="*/ 38 h 115"/>
                    <a:gd name="T28" fmla="*/ 37 w 73"/>
                    <a:gd name="T29" fmla="*/ 48 h 115"/>
                    <a:gd name="T30" fmla="*/ 30 w 73"/>
                    <a:gd name="T31" fmla="*/ 38 h 115"/>
                    <a:gd name="T32" fmla="*/ 30 w 73"/>
                    <a:gd name="T33" fmla="*/ 11 h 115"/>
                    <a:gd name="T34" fmla="*/ 0 w 73"/>
                    <a:gd name="T35" fmla="*/ 0 h 115"/>
                    <a:gd name="T36" fmla="*/ 30 w 73"/>
                    <a:gd name="T37" fmla="*/ 38 h 115"/>
                    <a:gd name="T38" fmla="*/ 30 w 73"/>
                    <a:gd name="T39" fmla="*/ 77 h 115"/>
                    <a:gd name="T40" fmla="*/ 19 w 73"/>
                    <a:gd name="T41" fmla="*/ 86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3"/>
                    <a:gd name="T64" fmla="*/ 0 h 115"/>
                    <a:gd name="T65" fmla="*/ 73 w 73"/>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solidFill>
                  <a:schemeClr val="accent2"/>
                </a:solidFill>
                <a:ln w="6350" cap="rnd">
                  <a:solidFill>
                    <a:schemeClr val="bg1"/>
                  </a:solidFill>
                  <a:round/>
                  <a:headEnd type="none" w="sm" len="sm"/>
                  <a:tailEnd type="none" w="sm" len="sm"/>
                </a:ln>
              </p:spPr>
              <p:txBody>
                <a:bodyPr/>
                <a:lstStyle/>
                <a:p>
                  <a:pPr marL="0" marR="0" lvl="0" indent="0" algn="l" defTabSz="9138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263147"/>
                    </a:solidFill>
                    <a:effectLst/>
                    <a:uLnTx/>
                    <a:uFillTx/>
                    <a:latin typeface="Calibri" pitchFamily="34" charset="0"/>
                    <a:ea typeface="+mn-ea"/>
                    <a:cs typeface="Arial" pitchFamily="34" charset="0"/>
                  </a:endParaRPr>
                </a:p>
              </p:txBody>
            </p:sp>
            <p:sp>
              <p:nvSpPr>
                <p:cNvPr id="2743" name="Freeform 283"/>
                <p:cNvSpPr>
                  <a:spLocks/>
                </p:cNvSpPr>
                <p:nvPr/>
              </p:nvSpPr>
              <p:spPr bwMode="auto">
                <a:xfrm>
                  <a:off x="8686055" y="5479993"/>
                  <a:ext cx="185724" cy="161971"/>
                </a:xfrm>
                <a:custGeom>
                  <a:avLst/>
                  <a:gdLst>
                    <a:gd name="T0" fmla="*/ 0 w 107"/>
                    <a:gd name="T1" fmla="*/ 107 h 106"/>
                    <a:gd name="T2" fmla="*/ 11 w 107"/>
                    <a:gd name="T3" fmla="*/ 116 h 106"/>
                    <a:gd name="T4" fmla="*/ 18 w 107"/>
                    <a:gd name="T5" fmla="*/ 116 h 106"/>
                    <a:gd name="T6" fmla="*/ 38 w 107"/>
                    <a:gd name="T7" fmla="*/ 126 h 106"/>
                    <a:gd name="T8" fmla="*/ 59 w 107"/>
                    <a:gd name="T9" fmla="*/ 116 h 106"/>
                    <a:gd name="T10" fmla="*/ 67 w 107"/>
                    <a:gd name="T11" fmla="*/ 96 h 106"/>
                    <a:gd name="T12" fmla="*/ 78 w 107"/>
                    <a:gd name="T13" fmla="*/ 78 h 106"/>
                    <a:gd name="T14" fmla="*/ 97 w 107"/>
                    <a:gd name="T15" fmla="*/ 59 h 106"/>
                    <a:gd name="T16" fmla="*/ 106 w 107"/>
                    <a:gd name="T17" fmla="*/ 59 h 106"/>
                    <a:gd name="T18" fmla="*/ 97 w 107"/>
                    <a:gd name="T19" fmla="*/ 48 h 106"/>
                    <a:gd name="T20" fmla="*/ 127 w 107"/>
                    <a:gd name="T21" fmla="*/ 20 h 106"/>
                    <a:gd name="T22" fmla="*/ 127 w 107"/>
                    <a:gd name="T23" fmla="*/ 10 h 106"/>
                    <a:gd name="T24" fmla="*/ 116 w 107"/>
                    <a:gd name="T25" fmla="*/ 10 h 106"/>
                    <a:gd name="T26" fmla="*/ 116 w 107"/>
                    <a:gd name="T27" fmla="*/ 0 h 106"/>
                    <a:gd name="T28" fmla="*/ 106 w 107"/>
                    <a:gd name="T29" fmla="*/ 10 h 106"/>
                    <a:gd name="T30" fmla="*/ 106 w 107"/>
                    <a:gd name="T31" fmla="*/ 0 h 106"/>
                    <a:gd name="T32" fmla="*/ 97 w 107"/>
                    <a:gd name="T33" fmla="*/ 0 h 106"/>
                    <a:gd name="T34" fmla="*/ 86 w 107"/>
                    <a:gd name="T35" fmla="*/ 0 h 106"/>
                    <a:gd name="T36" fmla="*/ 86 w 107"/>
                    <a:gd name="T37" fmla="*/ 20 h 106"/>
                    <a:gd name="T38" fmla="*/ 78 w 107"/>
                    <a:gd name="T39" fmla="*/ 20 h 106"/>
                    <a:gd name="T40" fmla="*/ 67 w 107"/>
                    <a:gd name="T41" fmla="*/ 40 h 106"/>
                    <a:gd name="T42" fmla="*/ 29 w 107"/>
                    <a:gd name="T43" fmla="*/ 66 h 106"/>
                    <a:gd name="T44" fmla="*/ 0 w 107"/>
                    <a:gd name="T45" fmla="*/ 107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106"/>
                    <a:gd name="T71" fmla="*/ 107 w 107"/>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solidFill>
                  <a:schemeClr val="accent2"/>
                </a:solidFill>
                <a:ln w="6350" cap="rnd">
                  <a:solidFill>
                    <a:schemeClr val="bg1"/>
                  </a:solidFill>
                  <a:round/>
                  <a:headEnd/>
                  <a:tailEnd/>
                </a:ln>
              </p:spPr>
              <p:txBody>
                <a:bodyPr/>
                <a:lstStyle/>
                <a:p>
                  <a:pPr marL="0" marR="0" lvl="0" indent="0" algn="l" defTabSz="9138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263147"/>
                    </a:solidFill>
                    <a:effectLst/>
                    <a:uLnTx/>
                    <a:uFillTx/>
                    <a:latin typeface="Calibri" pitchFamily="34" charset="0"/>
                    <a:ea typeface="+mn-ea"/>
                    <a:cs typeface="Arial" pitchFamily="34" charset="0"/>
                  </a:endParaRPr>
                </a:p>
              </p:txBody>
            </p:sp>
            <p:sp>
              <p:nvSpPr>
                <p:cNvPr id="2744" name="Freeform 284"/>
                <p:cNvSpPr>
                  <a:spLocks/>
                </p:cNvSpPr>
                <p:nvPr/>
              </p:nvSpPr>
              <p:spPr bwMode="auto">
                <a:xfrm>
                  <a:off x="8686055" y="5479993"/>
                  <a:ext cx="185724" cy="161971"/>
                </a:xfrm>
                <a:custGeom>
                  <a:avLst/>
                  <a:gdLst>
                    <a:gd name="T0" fmla="*/ 0 w 107"/>
                    <a:gd name="T1" fmla="*/ 107 h 106"/>
                    <a:gd name="T2" fmla="*/ 11 w 107"/>
                    <a:gd name="T3" fmla="*/ 116 h 106"/>
                    <a:gd name="T4" fmla="*/ 18 w 107"/>
                    <a:gd name="T5" fmla="*/ 116 h 106"/>
                    <a:gd name="T6" fmla="*/ 38 w 107"/>
                    <a:gd name="T7" fmla="*/ 126 h 106"/>
                    <a:gd name="T8" fmla="*/ 59 w 107"/>
                    <a:gd name="T9" fmla="*/ 116 h 106"/>
                    <a:gd name="T10" fmla="*/ 67 w 107"/>
                    <a:gd name="T11" fmla="*/ 96 h 106"/>
                    <a:gd name="T12" fmla="*/ 78 w 107"/>
                    <a:gd name="T13" fmla="*/ 78 h 106"/>
                    <a:gd name="T14" fmla="*/ 97 w 107"/>
                    <a:gd name="T15" fmla="*/ 59 h 106"/>
                    <a:gd name="T16" fmla="*/ 106 w 107"/>
                    <a:gd name="T17" fmla="*/ 59 h 106"/>
                    <a:gd name="T18" fmla="*/ 97 w 107"/>
                    <a:gd name="T19" fmla="*/ 48 h 106"/>
                    <a:gd name="T20" fmla="*/ 127 w 107"/>
                    <a:gd name="T21" fmla="*/ 20 h 106"/>
                    <a:gd name="T22" fmla="*/ 127 w 107"/>
                    <a:gd name="T23" fmla="*/ 10 h 106"/>
                    <a:gd name="T24" fmla="*/ 116 w 107"/>
                    <a:gd name="T25" fmla="*/ 10 h 106"/>
                    <a:gd name="T26" fmla="*/ 116 w 107"/>
                    <a:gd name="T27" fmla="*/ 0 h 106"/>
                    <a:gd name="T28" fmla="*/ 106 w 107"/>
                    <a:gd name="T29" fmla="*/ 10 h 106"/>
                    <a:gd name="T30" fmla="*/ 106 w 107"/>
                    <a:gd name="T31" fmla="*/ 0 h 106"/>
                    <a:gd name="T32" fmla="*/ 97 w 107"/>
                    <a:gd name="T33" fmla="*/ 0 h 106"/>
                    <a:gd name="T34" fmla="*/ 86 w 107"/>
                    <a:gd name="T35" fmla="*/ 0 h 106"/>
                    <a:gd name="T36" fmla="*/ 86 w 107"/>
                    <a:gd name="T37" fmla="*/ 20 h 106"/>
                    <a:gd name="T38" fmla="*/ 78 w 107"/>
                    <a:gd name="T39" fmla="*/ 20 h 106"/>
                    <a:gd name="T40" fmla="*/ 67 w 107"/>
                    <a:gd name="T41" fmla="*/ 40 h 106"/>
                    <a:gd name="T42" fmla="*/ 29 w 107"/>
                    <a:gd name="T43" fmla="*/ 66 h 106"/>
                    <a:gd name="T44" fmla="*/ 0 w 107"/>
                    <a:gd name="T45" fmla="*/ 107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106"/>
                    <a:gd name="T71" fmla="*/ 107 w 107"/>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solidFill>
                  <a:schemeClr val="accent2"/>
                </a:solidFill>
                <a:ln w="6350" cap="rnd">
                  <a:solidFill>
                    <a:schemeClr val="bg1"/>
                  </a:solidFill>
                  <a:round/>
                  <a:headEnd type="none" w="sm" len="sm"/>
                  <a:tailEnd type="none" w="sm" len="sm"/>
                </a:ln>
              </p:spPr>
              <p:txBody>
                <a:bodyPr/>
                <a:lstStyle/>
                <a:p>
                  <a:pPr marL="0" marR="0" lvl="0" indent="0" algn="l" defTabSz="9138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263147"/>
                    </a:solidFill>
                    <a:effectLst/>
                    <a:uLnTx/>
                    <a:uFillTx/>
                    <a:latin typeface="Calibri" pitchFamily="34" charset="0"/>
                    <a:ea typeface="+mn-ea"/>
                    <a:cs typeface="Arial" pitchFamily="34" charset="0"/>
                  </a:endParaRPr>
                </a:p>
              </p:txBody>
            </p:sp>
          </p:grpSp>
        </p:grpSp>
        <p:sp>
          <p:nvSpPr>
            <p:cNvPr id="14" name="Freeform 1220"/>
            <p:cNvSpPr>
              <a:spLocks/>
            </p:cNvSpPr>
            <p:nvPr/>
          </p:nvSpPr>
          <p:spPr bwMode="auto">
            <a:xfrm>
              <a:off x="4279099" y="1716919"/>
              <a:ext cx="1114806" cy="875196"/>
            </a:xfrm>
            <a:custGeom>
              <a:avLst/>
              <a:gdLst/>
              <a:ahLst/>
              <a:cxnLst>
                <a:cxn ang="0">
                  <a:pos x="1062" y="671"/>
                </a:cxn>
                <a:cxn ang="0">
                  <a:pos x="1091" y="700"/>
                </a:cxn>
                <a:cxn ang="0">
                  <a:pos x="1126" y="763"/>
                </a:cxn>
                <a:cxn ang="0">
                  <a:pos x="1083" y="803"/>
                </a:cxn>
                <a:cxn ang="0">
                  <a:pos x="1090" y="764"/>
                </a:cxn>
                <a:cxn ang="0">
                  <a:pos x="1000" y="774"/>
                </a:cxn>
                <a:cxn ang="0">
                  <a:pos x="833" y="838"/>
                </a:cxn>
                <a:cxn ang="0">
                  <a:pos x="855" y="784"/>
                </a:cxn>
                <a:cxn ang="0">
                  <a:pos x="830" y="757"/>
                </a:cxn>
                <a:cxn ang="0">
                  <a:pos x="753" y="697"/>
                </a:cxn>
                <a:cxn ang="0">
                  <a:pos x="672" y="706"/>
                </a:cxn>
                <a:cxn ang="0">
                  <a:pos x="249" y="687"/>
                </a:cxn>
                <a:cxn ang="0">
                  <a:pos x="219" y="662"/>
                </a:cxn>
                <a:cxn ang="0">
                  <a:pos x="196" y="642"/>
                </a:cxn>
                <a:cxn ang="0">
                  <a:pos x="171" y="596"/>
                </a:cxn>
                <a:cxn ang="0">
                  <a:pos x="156" y="535"/>
                </a:cxn>
                <a:cxn ang="0">
                  <a:pos x="62" y="447"/>
                </a:cxn>
                <a:cxn ang="0">
                  <a:pos x="39" y="118"/>
                </a:cxn>
                <a:cxn ang="0">
                  <a:pos x="94" y="120"/>
                </a:cxn>
                <a:cxn ang="0">
                  <a:pos x="161" y="75"/>
                </a:cxn>
                <a:cxn ang="0">
                  <a:pos x="140" y="106"/>
                </a:cxn>
                <a:cxn ang="0">
                  <a:pos x="213" y="110"/>
                </a:cxn>
                <a:cxn ang="0">
                  <a:pos x="233" y="81"/>
                </a:cxn>
                <a:cxn ang="0">
                  <a:pos x="307" y="113"/>
                </a:cxn>
                <a:cxn ang="0">
                  <a:pos x="379" y="152"/>
                </a:cxn>
                <a:cxn ang="0">
                  <a:pos x="421" y="173"/>
                </a:cxn>
                <a:cxn ang="0">
                  <a:pos x="463" y="186"/>
                </a:cxn>
                <a:cxn ang="0">
                  <a:pos x="480" y="160"/>
                </a:cxn>
                <a:cxn ang="0">
                  <a:pos x="476" y="149"/>
                </a:cxn>
                <a:cxn ang="0">
                  <a:pos x="505" y="135"/>
                </a:cxn>
                <a:cxn ang="0">
                  <a:pos x="556" y="173"/>
                </a:cxn>
                <a:cxn ang="0">
                  <a:pos x="622" y="168"/>
                </a:cxn>
                <a:cxn ang="0">
                  <a:pos x="633" y="154"/>
                </a:cxn>
                <a:cxn ang="0">
                  <a:pos x="650" y="163"/>
                </a:cxn>
                <a:cxn ang="0">
                  <a:pos x="670" y="118"/>
                </a:cxn>
                <a:cxn ang="0">
                  <a:pos x="634" y="43"/>
                </a:cxn>
                <a:cxn ang="0">
                  <a:pos x="682" y="30"/>
                </a:cxn>
                <a:cxn ang="0">
                  <a:pos x="692" y="99"/>
                </a:cxn>
                <a:cxn ang="0">
                  <a:pos x="740" y="115"/>
                </a:cxn>
                <a:cxn ang="0">
                  <a:pos x="800" y="133"/>
                </a:cxn>
                <a:cxn ang="0">
                  <a:pos x="836" y="115"/>
                </a:cxn>
                <a:cxn ang="0">
                  <a:pos x="849" y="195"/>
                </a:cxn>
                <a:cxn ang="0">
                  <a:pos x="785" y="219"/>
                </a:cxn>
                <a:cxn ang="0">
                  <a:pos x="771" y="264"/>
                </a:cxn>
                <a:cxn ang="0">
                  <a:pos x="717" y="321"/>
                </a:cxn>
                <a:cxn ang="0">
                  <a:pos x="702" y="315"/>
                </a:cxn>
                <a:cxn ang="0">
                  <a:pos x="676" y="370"/>
                </a:cxn>
                <a:cxn ang="0">
                  <a:pos x="691" y="495"/>
                </a:cxn>
                <a:cxn ang="0">
                  <a:pos x="826" y="555"/>
                </a:cxn>
                <a:cxn ang="0">
                  <a:pos x="872" y="642"/>
                </a:cxn>
                <a:cxn ang="0">
                  <a:pos x="872" y="569"/>
                </a:cxn>
                <a:cxn ang="0">
                  <a:pos x="904" y="434"/>
                </a:cxn>
                <a:cxn ang="0">
                  <a:pos x="900" y="376"/>
                </a:cxn>
                <a:cxn ang="0">
                  <a:pos x="971" y="373"/>
                </a:cxn>
                <a:cxn ang="0">
                  <a:pos x="1009" y="401"/>
                </a:cxn>
                <a:cxn ang="0">
                  <a:pos x="1019" y="450"/>
                </a:cxn>
                <a:cxn ang="0">
                  <a:pos x="1045" y="474"/>
                </a:cxn>
                <a:cxn ang="0">
                  <a:pos x="1090" y="426"/>
                </a:cxn>
                <a:cxn ang="0">
                  <a:pos x="1112" y="459"/>
                </a:cxn>
                <a:cxn ang="0">
                  <a:pos x="1126" y="497"/>
                </a:cxn>
                <a:cxn ang="0">
                  <a:pos x="1147" y="551"/>
                </a:cxn>
                <a:cxn ang="0">
                  <a:pos x="1161" y="581"/>
                </a:cxn>
                <a:cxn ang="0">
                  <a:pos x="1196" y="590"/>
                </a:cxn>
              </a:cxnLst>
              <a:rect l="0" t="0" r="r" b="b"/>
              <a:pathLst>
                <a:path w="1216" h="840">
                  <a:moveTo>
                    <a:pt x="1212" y="622"/>
                  </a:moveTo>
                  <a:lnTo>
                    <a:pt x="1215" y="626"/>
                  </a:lnTo>
                  <a:lnTo>
                    <a:pt x="1211" y="632"/>
                  </a:lnTo>
                  <a:lnTo>
                    <a:pt x="1206" y="636"/>
                  </a:lnTo>
                  <a:lnTo>
                    <a:pt x="1202" y="641"/>
                  </a:lnTo>
                  <a:lnTo>
                    <a:pt x="1199" y="641"/>
                  </a:lnTo>
                  <a:lnTo>
                    <a:pt x="1197" y="642"/>
                  </a:lnTo>
                  <a:lnTo>
                    <a:pt x="1187" y="642"/>
                  </a:lnTo>
                  <a:lnTo>
                    <a:pt x="1176" y="646"/>
                  </a:lnTo>
                  <a:lnTo>
                    <a:pt x="1173" y="648"/>
                  </a:lnTo>
                  <a:lnTo>
                    <a:pt x="1170" y="652"/>
                  </a:lnTo>
                  <a:lnTo>
                    <a:pt x="1168" y="652"/>
                  </a:lnTo>
                  <a:lnTo>
                    <a:pt x="1161" y="662"/>
                  </a:lnTo>
                  <a:lnTo>
                    <a:pt x="1158" y="664"/>
                  </a:lnTo>
                  <a:lnTo>
                    <a:pt x="1155" y="668"/>
                  </a:lnTo>
                  <a:lnTo>
                    <a:pt x="1152" y="670"/>
                  </a:lnTo>
                  <a:lnTo>
                    <a:pt x="1151" y="670"/>
                  </a:lnTo>
                  <a:lnTo>
                    <a:pt x="1150" y="668"/>
                  </a:lnTo>
                  <a:lnTo>
                    <a:pt x="1151" y="665"/>
                  </a:lnTo>
                  <a:lnTo>
                    <a:pt x="1150" y="665"/>
                  </a:lnTo>
                  <a:lnTo>
                    <a:pt x="1148" y="670"/>
                  </a:lnTo>
                  <a:lnTo>
                    <a:pt x="1131" y="673"/>
                  </a:lnTo>
                  <a:lnTo>
                    <a:pt x="1129" y="673"/>
                  </a:lnTo>
                  <a:lnTo>
                    <a:pt x="1129" y="671"/>
                  </a:lnTo>
                  <a:lnTo>
                    <a:pt x="1126" y="670"/>
                  </a:lnTo>
                  <a:lnTo>
                    <a:pt x="1110" y="668"/>
                  </a:lnTo>
                  <a:lnTo>
                    <a:pt x="1106" y="670"/>
                  </a:lnTo>
                  <a:lnTo>
                    <a:pt x="1090" y="668"/>
                  </a:lnTo>
                  <a:lnTo>
                    <a:pt x="1083" y="670"/>
                  </a:lnTo>
                  <a:lnTo>
                    <a:pt x="1077" y="668"/>
                  </a:lnTo>
                  <a:lnTo>
                    <a:pt x="1073" y="670"/>
                  </a:lnTo>
                  <a:lnTo>
                    <a:pt x="1070" y="668"/>
                  </a:lnTo>
                  <a:lnTo>
                    <a:pt x="1067" y="670"/>
                  </a:lnTo>
                  <a:lnTo>
                    <a:pt x="1064" y="670"/>
                  </a:lnTo>
                  <a:lnTo>
                    <a:pt x="1062" y="671"/>
                  </a:lnTo>
                  <a:lnTo>
                    <a:pt x="1062" y="673"/>
                  </a:lnTo>
                  <a:lnTo>
                    <a:pt x="1060" y="673"/>
                  </a:lnTo>
                  <a:lnTo>
                    <a:pt x="1058" y="673"/>
                  </a:lnTo>
                  <a:lnTo>
                    <a:pt x="1057" y="674"/>
                  </a:lnTo>
                  <a:lnTo>
                    <a:pt x="1054" y="680"/>
                  </a:lnTo>
                  <a:lnTo>
                    <a:pt x="1049" y="689"/>
                  </a:lnTo>
                  <a:lnTo>
                    <a:pt x="1049" y="690"/>
                  </a:lnTo>
                  <a:lnTo>
                    <a:pt x="1039" y="690"/>
                  </a:lnTo>
                  <a:lnTo>
                    <a:pt x="1036" y="693"/>
                  </a:lnTo>
                  <a:lnTo>
                    <a:pt x="1035" y="693"/>
                  </a:lnTo>
                  <a:lnTo>
                    <a:pt x="1035" y="694"/>
                  </a:lnTo>
                  <a:lnTo>
                    <a:pt x="1029" y="699"/>
                  </a:lnTo>
                  <a:lnTo>
                    <a:pt x="1028" y="700"/>
                  </a:lnTo>
                  <a:lnTo>
                    <a:pt x="1020" y="712"/>
                  </a:lnTo>
                  <a:lnTo>
                    <a:pt x="1017" y="715"/>
                  </a:lnTo>
                  <a:lnTo>
                    <a:pt x="1015" y="715"/>
                  </a:lnTo>
                  <a:lnTo>
                    <a:pt x="1015" y="719"/>
                  </a:lnTo>
                  <a:lnTo>
                    <a:pt x="1009" y="729"/>
                  </a:lnTo>
                  <a:lnTo>
                    <a:pt x="1007" y="729"/>
                  </a:lnTo>
                  <a:lnTo>
                    <a:pt x="996" y="742"/>
                  </a:lnTo>
                  <a:lnTo>
                    <a:pt x="994" y="742"/>
                  </a:lnTo>
                  <a:lnTo>
                    <a:pt x="999" y="742"/>
                  </a:lnTo>
                  <a:lnTo>
                    <a:pt x="1001" y="739"/>
                  </a:lnTo>
                  <a:lnTo>
                    <a:pt x="1001" y="739"/>
                  </a:lnTo>
                  <a:lnTo>
                    <a:pt x="1003" y="738"/>
                  </a:lnTo>
                  <a:lnTo>
                    <a:pt x="1028" y="710"/>
                  </a:lnTo>
                  <a:lnTo>
                    <a:pt x="1029" y="709"/>
                  </a:lnTo>
                  <a:lnTo>
                    <a:pt x="1032" y="707"/>
                  </a:lnTo>
                  <a:lnTo>
                    <a:pt x="1060" y="693"/>
                  </a:lnTo>
                  <a:lnTo>
                    <a:pt x="1074" y="691"/>
                  </a:lnTo>
                  <a:lnTo>
                    <a:pt x="1081" y="691"/>
                  </a:lnTo>
                  <a:lnTo>
                    <a:pt x="1091" y="697"/>
                  </a:lnTo>
                  <a:lnTo>
                    <a:pt x="1093" y="702"/>
                  </a:lnTo>
                  <a:lnTo>
                    <a:pt x="1091" y="700"/>
                  </a:lnTo>
                  <a:lnTo>
                    <a:pt x="1091" y="700"/>
                  </a:lnTo>
                  <a:lnTo>
                    <a:pt x="1093" y="703"/>
                  </a:lnTo>
                  <a:lnTo>
                    <a:pt x="1093" y="707"/>
                  </a:lnTo>
                  <a:lnTo>
                    <a:pt x="1080" y="716"/>
                  </a:lnTo>
                  <a:lnTo>
                    <a:pt x="1074" y="716"/>
                  </a:lnTo>
                  <a:lnTo>
                    <a:pt x="1071" y="715"/>
                  </a:lnTo>
                  <a:lnTo>
                    <a:pt x="1061" y="718"/>
                  </a:lnTo>
                  <a:lnTo>
                    <a:pt x="1060" y="718"/>
                  </a:lnTo>
                  <a:lnTo>
                    <a:pt x="1064" y="718"/>
                  </a:lnTo>
                  <a:lnTo>
                    <a:pt x="1071" y="721"/>
                  </a:lnTo>
                  <a:lnTo>
                    <a:pt x="1073" y="723"/>
                  </a:lnTo>
                  <a:lnTo>
                    <a:pt x="1073" y="725"/>
                  </a:lnTo>
                  <a:lnTo>
                    <a:pt x="1081" y="721"/>
                  </a:lnTo>
                  <a:lnTo>
                    <a:pt x="1081" y="721"/>
                  </a:lnTo>
                  <a:lnTo>
                    <a:pt x="1081" y="722"/>
                  </a:lnTo>
                  <a:lnTo>
                    <a:pt x="1084" y="722"/>
                  </a:lnTo>
                  <a:lnTo>
                    <a:pt x="1086" y="723"/>
                  </a:lnTo>
                  <a:lnTo>
                    <a:pt x="1086" y="726"/>
                  </a:lnTo>
                  <a:lnTo>
                    <a:pt x="1083" y="732"/>
                  </a:lnTo>
                  <a:lnTo>
                    <a:pt x="1078" y="737"/>
                  </a:lnTo>
                  <a:lnTo>
                    <a:pt x="1078" y="738"/>
                  </a:lnTo>
                  <a:lnTo>
                    <a:pt x="1081" y="737"/>
                  </a:lnTo>
                  <a:lnTo>
                    <a:pt x="1084" y="738"/>
                  </a:lnTo>
                  <a:lnTo>
                    <a:pt x="1084" y="742"/>
                  </a:lnTo>
                  <a:lnTo>
                    <a:pt x="1087" y="753"/>
                  </a:lnTo>
                  <a:lnTo>
                    <a:pt x="1090" y="754"/>
                  </a:lnTo>
                  <a:lnTo>
                    <a:pt x="1089" y="754"/>
                  </a:lnTo>
                  <a:lnTo>
                    <a:pt x="1093" y="755"/>
                  </a:lnTo>
                  <a:lnTo>
                    <a:pt x="1099" y="757"/>
                  </a:lnTo>
                  <a:lnTo>
                    <a:pt x="1100" y="758"/>
                  </a:lnTo>
                  <a:lnTo>
                    <a:pt x="1097" y="760"/>
                  </a:lnTo>
                  <a:lnTo>
                    <a:pt x="1097" y="761"/>
                  </a:lnTo>
                  <a:lnTo>
                    <a:pt x="1115" y="766"/>
                  </a:lnTo>
                  <a:lnTo>
                    <a:pt x="1115" y="767"/>
                  </a:lnTo>
                  <a:lnTo>
                    <a:pt x="1120" y="766"/>
                  </a:lnTo>
                  <a:lnTo>
                    <a:pt x="1126" y="763"/>
                  </a:lnTo>
                  <a:lnTo>
                    <a:pt x="1128" y="766"/>
                  </a:lnTo>
                  <a:lnTo>
                    <a:pt x="1126" y="767"/>
                  </a:lnTo>
                  <a:lnTo>
                    <a:pt x="1128" y="767"/>
                  </a:lnTo>
                  <a:lnTo>
                    <a:pt x="1131" y="767"/>
                  </a:lnTo>
                  <a:lnTo>
                    <a:pt x="1134" y="767"/>
                  </a:lnTo>
                  <a:lnTo>
                    <a:pt x="1136" y="770"/>
                  </a:lnTo>
                  <a:lnTo>
                    <a:pt x="1135" y="771"/>
                  </a:lnTo>
                  <a:lnTo>
                    <a:pt x="1134" y="773"/>
                  </a:lnTo>
                  <a:lnTo>
                    <a:pt x="1138" y="773"/>
                  </a:lnTo>
                  <a:lnTo>
                    <a:pt x="1139" y="774"/>
                  </a:lnTo>
                  <a:lnTo>
                    <a:pt x="1138" y="776"/>
                  </a:lnTo>
                  <a:lnTo>
                    <a:pt x="1135" y="774"/>
                  </a:lnTo>
                  <a:lnTo>
                    <a:pt x="1134" y="776"/>
                  </a:lnTo>
                  <a:lnTo>
                    <a:pt x="1131" y="776"/>
                  </a:lnTo>
                  <a:lnTo>
                    <a:pt x="1120" y="782"/>
                  </a:lnTo>
                  <a:lnTo>
                    <a:pt x="1119" y="782"/>
                  </a:lnTo>
                  <a:lnTo>
                    <a:pt x="1118" y="783"/>
                  </a:lnTo>
                  <a:lnTo>
                    <a:pt x="1116" y="783"/>
                  </a:lnTo>
                  <a:lnTo>
                    <a:pt x="1113" y="784"/>
                  </a:lnTo>
                  <a:lnTo>
                    <a:pt x="1110" y="786"/>
                  </a:lnTo>
                  <a:lnTo>
                    <a:pt x="1110" y="784"/>
                  </a:lnTo>
                  <a:lnTo>
                    <a:pt x="1106" y="787"/>
                  </a:lnTo>
                  <a:lnTo>
                    <a:pt x="1103" y="786"/>
                  </a:lnTo>
                  <a:lnTo>
                    <a:pt x="1103" y="789"/>
                  </a:lnTo>
                  <a:lnTo>
                    <a:pt x="1103" y="790"/>
                  </a:lnTo>
                  <a:lnTo>
                    <a:pt x="1100" y="790"/>
                  </a:lnTo>
                  <a:lnTo>
                    <a:pt x="1099" y="789"/>
                  </a:lnTo>
                  <a:lnTo>
                    <a:pt x="1099" y="787"/>
                  </a:lnTo>
                  <a:lnTo>
                    <a:pt x="1096" y="790"/>
                  </a:lnTo>
                  <a:lnTo>
                    <a:pt x="1094" y="789"/>
                  </a:lnTo>
                  <a:lnTo>
                    <a:pt x="1093" y="790"/>
                  </a:lnTo>
                  <a:lnTo>
                    <a:pt x="1093" y="795"/>
                  </a:lnTo>
                  <a:lnTo>
                    <a:pt x="1090" y="796"/>
                  </a:lnTo>
                  <a:lnTo>
                    <a:pt x="1086" y="802"/>
                  </a:lnTo>
                  <a:lnTo>
                    <a:pt x="1083" y="803"/>
                  </a:lnTo>
                  <a:lnTo>
                    <a:pt x="1081" y="806"/>
                  </a:lnTo>
                  <a:lnTo>
                    <a:pt x="1080" y="806"/>
                  </a:lnTo>
                  <a:lnTo>
                    <a:pt x="1078" y="806"/>
                  </a:lnTo>
                  <a:lnTo>
                    <a:pt x="1078" y="809"/>
                  </a:lnTo>
                  <a:lnTo>
                    <a:pt x="1077" y="811"/>
                  </a:lnTo>
                  <a:lnTo>
                    <a:pt x="1075" y="811"/>
                  </a:lnTo>
                  <a:lnTo>
                    <a:pt x="1073" y="809"/>
                  </a:lnTo>
                  <a:lnTo>
                    <a:pt x="1071" y="806"/>
                  </a:lnTo>
                  <a:lnTo>
                    <a:pt x="1070" y="805"/>
                  </a:lnTo>
                  <a:lnTo>
                    <a:pt x="1068" y="803"/>
                  </a:lnTo>
                  <a:lnTo>
                    <a:pt x="1067" y="796"/>
                  </a:lnTo>
                  <a:lnTo>
                    <a:pt x="1067" y="793"/>
                  </a:lnTo>
                  <a:lnTo>
                    <a:pt x="1070" y="789"/>
                  </a:lnTo>
                  <a:lnTo>
                    <a:pt x="1068" y="790"/>
                  </a:lnTo>
                  <a:lnTo>
                    <a:pt x="1065" y="792"/>
                  </a:lnTo>
                  <a:lnTo>
                    <a:pt x="1067" y="790"/>
                  </a:lnTo>
                  <a:lnTo>
                    <a:pt x="1071" y="786"/>
                  </a:lnTo>
                  <a:lnTo>
                    <a:pt x="1073" y="787"/>
                  </a:lnTo>
                  <a:lnTo>
                    <a:pt x="1075" y="786"/>
                  </a:lnTo>
                  <a:lnTo>
                    <a:pt x="1075" y="784"/>
                  </a:lnTo>
                  <a:lnTo>
                    <a:pt x="1090" y="774"/>
                  </a:lnTo>
                  <a:lnTo>
                    <a:pt x="1091" y="776"/>
                  </a:lnTo>
                  <a:lnTo>
                    <a:pt x="1091" y="777"/>
                  </a:lnTo>
                  <a:lnTo>
                    <a:pt x="1094" y="779"/>
                  </a:lnTo>
                  <a:lnTo>
                    <a:pt x="1097" y="776"/>
                  </a:lnTo>
                  <a:lnTo>
                    <a:pt x="1099" y="774"/>
                  </a:lnTo>
                  <a:lnTo>
                    <a:pt x="1106" y="774"/>
                  </a:lnTo>
                  <a:lnTo>
                    <a:pt x="1106" y="771"/>
                  </a:lnTo>
                  <a:lnTo>
                    <a:pt x="1099" y="773"/>
                  </a:lnTo>
                  <a:lnTo>
                    <a:pt x="1091" y="771"/>
                  </a:lnTo>
                  <a:lnTo>
                    <a:pt x="1089" y="773"/>
                  </a:lnTo>
                  <a:lnTo>
                    <a:pt x="1086" y="773"/>
                  </a:lnTo>
                  <a:lnTo>
                    <a:pt x="1086" y="770"/>
                  </a:lnTo>
                  <a:lnTo>
                    <a:pt x="1091" y="764"/>
                  </a:lnTo>
                  <a:lnTo>
                    <a:pt x="1090" y="764"/>
                  </a:lnTo>
                  <a:lnTo>
                    <a:pt x="1089" y="761"/>
                  </a:lnTo>
                  <a:lnTo>
                    <a:pt x="1087" y="767"/>
                  </a:lnTo>
                  <a:lnTo>
                    <a:pt x="1083" y="767"/>
                  </a:lnTo>
                  <a:lnTo>
                    <a:pt x="1073" y="774"/>
                  </a:lnTo>
                  <a:lnTo>
                    <a:pt x="1070" y="776"/>
                  </a:lnTo>
                  <a:lnTo>
                    <a:pt x="1068" y="774"/>
                  </a:lnTo>
                  <a:lnTo>
                    <a:pt x="1064" y="777"/>
                  </a:lnTo>
                  <a:lnTo>
                    <a:pt x="1057" y="779"/>
                  </a:lnTo>
                  <a:lnTo>
                    <a:pt x="1055" y="777"/>
                  </a:lnTo>
                  <a:lnTo>
                    <a:pt x="1052" y="777"/>
                  </a:lnTo>
                  <a:lnTo>
                    <a:pt x="1052" y="777"/>
                  </a:lnTo>
                  <a:lnTo>
                    <a:pt x="1051" y="777"/>
                  </a:lnTo>
                  <a:lnTo>
                    <a:pt x="1049" y="777"/>
                  </a:lnTo>
                  <a:lnTo>
                    <a:pt x="1046" y="776"/>
                  </a:lnTo>
                  <a:lnTo>
                    <a:pt x="1046" y="773"/>
                  </a:lnTo>
                  <a:lnTo>
                    <a:pt x="1046" y="769"/>
                  </a:lnTo>
                  <a:lnTo>
                    <a:pt x="1042" y="767"/>
                  </a:lnTo>
                  <a:lnTo>
                    <a:pt x="1042" y="739"/>
                  </a:lnTo>
                  <a:lnTo>
                    <a:pt x="1035" y="732"/>
                  </a:lnTo>
                  <a:lnTo>
                    <a:pt x="1033" y="732"/>
                  </a:lnTo>
                  <a:lnTo>
                    <a:pt x="1032" y="735"/>
                  </a:lnTo>
                  <a:lnTo>
                    <a:pt x="1028" y="737"/>
                  </a:lnTo>
                  <a:lnTo>
                    <a:pt x="1023" y="735"/>
                  </a:lnTo>
                  <a:lnTo>
                    <a:pt x="1023" y="732"/>
                  </a:lnTo>
                  <a:lnTo>
                    <a:pt x="1020" y="731"/>
                  </a:lnTo>
                  <a:lnTo>
                    <a:pt x="1019" y="731"/>
                  </a:lnTo>
                  <a:lnTo>
                    <a:pt x="1017" y="732"/>
                  </a:lnTo>
                  <a:lnTo>
                    <a:pt x="1006" y="758"/>
                  </a:lnTo>
                  <a:lnTo>
                    <a:pt x="1004" y="767"/>
                  </a:lnTo>
                  <a:lnTo>
                    <a:pt x="1001" y="771"/>
                  </a:lnTo>
                  <a:lnTo>
                    <a:pt x="1001" y="773"/>
                  </a:lnTo>
                  <a:lnTo>
                    <a:pt x="1001" y="774"/>
                  </a:lnTo>
                  <a:lnTo>
                    <a:pt x="1001" y="774"/>
                  </a:lnTo>
                  <a:lnTo>
                    <a:pt x="1000" y="774"/>
                  </a:lnTo>
                  <a:lnTo>
                    <a:pt x="1000" y="774"/>
                  </a:lnTo>
                  <a:lnTo>
                    <a:pt x="1000" y="776"/>
                  </a:lnTo>
                  <a:lnTo>
                    <a:pt x="997" y="774"/>
                  </a:lnTo>
                  <a:lnTo>
                    <a:pt x="994" y="776"/>
                  </a:lnTo>
                  <a:lnTo>
                    <a:pt x="991" y="776"/>
                  </a:lnTo>
                  <a:lnTo>
                    <a:pt x="990" y="777"/>
                  </a:lnTo>
                  <a:lnTo>
                    <a:pt x="988" y="782"/>
                  </a:lnTo>
                  <a:lnTo>
                    <a:pt x="939" y="782"/>
                  </a:lnTo>
                  <a:lnTo>
                    <a:pt x="930" y="787"/>
                  </a:lnTo>
                  <a:lnTo>
                    <a:pt x="929" y="789"/>
                  </a:lnTo>
                  <a:lnTo>
                    <a:pt x="926" y="793"/>
                  </a:lnTo>
                  <a:lnTo>
                    <a:pt x="911" y="799"/>
                  </a:lnTo>
                  <a:lnTo>
                    <a:pt x="911" y="798"/>
                  </a:lnTo>
                  <a:lnTo>
                    <a:pt x="909" y="798"/>
                  </a:lnTo>
                  <a:lnTo>
                    <a:pt x="907" y="799"/>
                  </a:lnTo>
                  <a:lnTo>
                    <a:pt x="909" y="799"/>
                  </a:lnTo>
                  <a:lnTo>
                    <a:pt x="910" y="802"/>
                  </a:lnTo>
                  <a:lnTo>
                    <a:pt x="911" y="802"/>
                  </a:lnTo>
                  <a:lnTo>
                    <a:pt x="909" y="803"/>
                  </a:lnTo>
                  <a:lnTo>
                    <a:pt x="907" y="802"/>
                  </a:lnTo>
                  <a:lnTo>
                    <a:pt x="895" y="800"/>
                  </a:lnTo>
                  <a:lnTo>
                    <a:pt x="879" y="805"/>
                  </a:lnTo>
                  <a:lnTo>
                    <a:pt x="871" y="815"/>
                  </a:lnTo>
                  <a:lnTo>
                    <a:pt x="877" y="816"/>
                  </a:lnTo>
                  <a:lnTo>
                    <a:pt x="882" y="815"/>
                  </a:lnTo>
                  <a:lnTo>
                    <a:pt x="884" y="824"/>
                  </a:lnTo>
                  <a:lnTo>
                    <a:pt x="872" y="822"/>
                  </a:lnTo>
                  <a:lnTo>
                    <a:pt x="865" y="825"/>
                  </a:lnTo>
                  <a:lnTo>
                    <a:pt x="861" y="828"/>
                  </a:lnTo>
                  <a:lnTo>
                    <a:pt x="852" y="827"/>
                  </a:lnTo>
                  <a:lnTo>
                    <a:pt x="846" y="830"/>
                  </a:lnTo>
                  <a:lnTo>
                    <a:pt x="845" y="830"/>
                  </a:lnTo>
                  <a:lnTo>
                    <a:pt x="843" y="834"/>
                  </a:lnTo>
                  <a:lnTo>
                    <a:pt x="842" y="834"/>
                  </a:lnTo>
                  <a:lnTo>
                    <a:pt x="839" y="834"/>
                  </a:lnTo>
                  <a:lnTo>
                    <a:pt x="833" y="838"/>
                  </a:lnTo>
                  <a:lnTo>
                    <a:pt x="833" y="840"/>
                  </a:lnTo>
                  <a:lnTo>
                    <a:pt x="829" y="840"/>
                  </a:lnTo>
                  <a:lnTo>
                    <a:pt x="827" y="840"/>
                  </a:lnTo>
                  <a:lnTo>
                    <a:pt x="824" y="840"/>
                  </a:lnTo>
                  <a:lnTo>
                    <a:pt x="824" y="837"/>
                  </a:lnTo>
                  <a:lnTo>
                    <a:pt x="826" y="834"/>
                  </a:lnTo>
                  <a:lnTo>
                    <a:pt x="826" y="832"/>
                  </a:lnTo>
                  <a:lnTo>
                    <a:pt x="827" y="832"/>
                  </a:lnTo>
                  <a:lnTo>
                    <a:pt x="830" y="834"/>
                  </a:lnTo>
                  <a:lnTo>
                    <a:pt x="832" y="834"/>
                  </a:lnTo>
                  <a:lnTo>
                    <a:pt x="833" y="832"/>
                  </a:lnTo>
                  <a:lnTo>
                    <a:pt x="833" y="831"/>
                  </a:lnTo>
                  <a:lnTo>
                    <a:pt x="833" y="830"/>
                  </a:lnTo>
                  <a:lnTo>
                    <a:pt x="832" y="830"/>
                  </a:lnTo>
                  <a:lnTo>
                    <a:pt x="832" y="827"/>
                  </a:lnTo>
                  <a:lnTo>
                    <a:pt x="833" y="818"/>
                  </a:lnTo>
                  <a:lnTo>
                    <a:pt x="836" y="818"/>
                  </a:lnTo>
                  <a:lnTo>
                    <a:pt x="837" y="818"/>
                  </a:lnTo>
                  <a:lnTo>
                    <a:pt x="837" y="816"/>
                  </a:lnTo>
                  <a:lnTo>
                    <a:pt x="840" y="815"/>
                  </a:lnTo>
                  <a:lnTo>
                    <a:pt x="843" y="814"/>
                  </a:lnTo>
                  <a:lnTo>
                    <a:pt x="843" y="798"/>
                  </a:lnTo>
                  <a:lnTo>
                    <a:pt x="849" y="787"/>
                  </a:lnTo>
                  <a:lnTo>
                    <a:pt x="849" y="784"/>
                  </a:lnTo>
                  <a:lnTo>
                    <a:pt x="846" y="777"/>
                  </a:lnTo>
                  <a:lnTo>
                    <a:pt x="845" y="777"/>
                  </a:lnTo>
                  <a:lnTo>
                    <a:pt x="845" y="776"/>
                  </a:lnTo>
                  <a:lnTo>
                    <a:pt x="845" y="776"/>
                  </a:lnTo>
                  <a:lnTo>
                    <a:pt x="849" y="776"/>
                  </a:lnTo>
                  <a:lnTo>
                    <a:pt x="852" y="783"/>
                  </a:lnTo>
                  <a:lnTo>
                    <a:pt x="852" y="783"/>
                  </a:lnTo>
                  <a:lnTo>
                    <a:pt x="853" y="782"/>
                  </a:lnTo>
                  <a:lnTo>
                    <a:pt x="853" y="782"/>
                  </a:lnTo>
                  <a:lnTo>
                    <a:pt x="853" y="784"/>
                  </a:lnTo>
                  <a:lnTo>
                    <a:pt x="855" y="784"/>
                  </a:lnTo>
                  <a:lnTo>
                    <a:pt x="855" y="789"/>
                  </a:lnTo>
                  <a:lnTo>
                    <a:pt x="856" y="786"/>
                  </a:lnTo>
                  <a:lnTo>
                    <a:pt x="858" y="786"/>
                  </a:lnTo>
                  <a:lnTo>
                    <a:pt x="859" y="787"/>
                  </a:lnTo>
                  <a:lnTo>
                    <a:pt x="864" y="790"/>
                  </a:lnTo>
                  <a:lnTo>
                    <a:pt x="866" y="790"/>
                  </a:lnTo>
                  <a:lnTo>
                    <a:pt x="868" y="789"/>
                  </a:lnTo>
                  <a:lnTo>
                    <a:pt x="868" y="787"/>
                  </a:lnTo>
                  <a:lnTo>
                    <a:pt x="866" y="784"/>
                  </a:lnTo>
                  <a:lnTo>
                    <a:pt x="866" y="783"/>
                  </a:lnTo>
                  <a:lnTo>
                    <a:pt x="868" y="783"/>
                  </a:lnTo>
                  <a:lnTo>
                    <a:pt x="869" y="784"/>
                  </a:lnTo>
                  <a:lnTo>
                    <a:pt x="871" y="784"/>
                  </a:lnTo>
                  <a:lnTo>
                    <a:pt x="872" y="784"/>
                  </a:lnTo>
                  <a:lnTo>
                    <a:pt x="872" y="784"/>
                  </a:lnTo>
                  <a:lnTo>
                    <a:pt x="872" y="782"/>
                  </a:lnTo>
                  <a:lnTo>
                    <a:pt x="869" y="782"/>
                  </a:lnTo>
                  <a:lnTo>
                    <a:pt x="868" y="779"/>
                  </a:lnTo>
                  <a:lnTo>
                    <a:pt x="868" y="777"/>
                  </a:lnTo>
                  <a:lnTo>
                    <a:pt x="868" y="776"/>
                  </a:lnTo>
                  <a:lnTo>
                    <a:pt x="868" y="773"/>
                  </a:lnTo>
                  <a:lnTo>
                    <a:pt x="866" y="773"/>
                  </a:lnTo>
                  <a:lnTo>
                    <a:pt x="864" y="773"/>
                  </a:lnTo>
                  <a:lnTo>
                    <a:pt x="864" y="770"/>
                  </a:lnTo>
                  <a:lnTo>
                    <a:pt x="861" y="769"/>
                  </a:lnTo>
                  <a:lnTo>
                    <a:pt x="859" y="764"/>
                  </a:lnTo>
                  <a:lnTo>
                    <a:pt x="849" y="761"/>
                  </a:lnTo>
                  <a:lnTo>
                    <a:pt x="846" y="761"/>
                  </a:lnTo>
                  <a:lnTo>
                    <a:pt x="846" y="760"/>
                  </a:lnTo>
                  <a:lnTo>
                    <a:pt x="846" y="758"/>
                  </a:lnTo>
                  <a:lnTo>
                    <a:pt x="842" y="760"/>
                  </a:lnTo>
                  <a:lnTo>
                    <a:pt x="834" y="758"/>
                  </a:lnTo>
                  <a:lnTo>
                    <a:pt x="833" y="757"/>
                  </a:lnTo>
                  <a:lnTo>
                    <a:pt x="832" y="757"/>
                  </a:lnTo>
                  <a:lnTo>
                    <a:pt x="830" y="757"/>
                  </a:lnTo>
                  <a:lnTo>
                    <a:pt x="829" y="755"/>
                  </a:lnTo>
                  <a:lnTo>
                    <a:pt x="826" y="757"/>
                  </a:lnTo>
                  <a:lnTo>
                    <a:pt x="824" y="757"/>
                  </a:lnTo>
                  <a:lnTo>
                    <a:pt x="814" y="754"/>
                  </a:lnTo>
                  <a:lnTo>
                    <a:pt x="811" y="754"/>
                  </a:lnTo>
                  <a:lnTo>
                    <a:pt x="810" y="754"/>
                  </a:lnTo>
                  <a:lnTo>
                    <a:pt x="810" y="753"/>
                  </a:lnTo>
                  <a:lnTo>
                    <a:pt x="807" y="748"/>
                  </a:lnTo>
                  <a:lnTo>
                    <a:pt x="807" y="748"/>
                  </a:lnTo>
                  <a:lnTo>
                    <a:pt x="805" y="750"/>
                  </a:lnTo>
                  <a:lnTo>
                    <a:pt x="805" y="751"/>
                  </a:lnTo>
                  <a:lnTo>
                    <a:pt x="804" y="751"/>
                  </a:lnTo>
                  <a:lnTo>
                    <a:pt x="804" y="751"/>
                  </a:lnTo>
                  <a:lnTo>
                    <a:pt x="804" y="750"/>
                  </a:lnTo>
                  <a:lnTo>
                    <a:pt x="804" y="750"/>
                  </a:lnTo>
                  <a:lnTo>
                    <a:pt x="804" y="748"/>
                  </a:lnTo>
                  <a:lnTo>
                    <a:pt x="804" y="745"/>
                  </a:lnTo>
                  <a:lnTo>
                    <a:pt x="804" y="745"/>
                  </a:lnTo>
                  <a:lnTo>
                    <a:pt x="804" y="744"/>
                  </a:lnTo>
                  <a:lnTo>
                    <a:pt x="805" y="742"/>
                  </a:lnTo>
                  <a:lnTo>
                    <a:pt x="801" y="741"/>
                  </a:lnTo>
                  <a:lnTo>
                    <a:pt x="801" y="737"/>
                  </a:lnTo>
                  <a:lnTo>
                    <a:pt x="801" y="732"/>
                  </a:lnTo>
                  <a:lnTo>
                    <a:pt x="798" y="728"/>
                  </a:lnTo>
                  <a:lnTo>
                    <a:pt x="797" y="726"/>
                  </a:lnTo>
                  <a:lnTo>
                    <a:pt x="798" y="719"/>
                  </a:lnTo>
                  <a:lnTo>
                    <a:pt x="787" y="721"/>
                  </a:lnTo>
                  <a:lnTo>
                    <a:pt x="784" y="718"/>
                  </a:lnTo>
                  <a:lnTo>
                    <a:pt x="776" y="703"/>
                  </a:lnTo>
                  <a:lnTo>
                    <a:pt x="775" y="703"/>
                  </a:lnTo>
                  <a:lnTo>
                    <a:pt x="771" y="702"/>
                  </a:lnTo>
                  <a:lnTo>
                    <a:pt x="768" y="702"/>
                  </a:lnTo>
                  <a:lnTo>
                    <a:pt x="768" y="712"/>
                  </a:lnTo>
                  <a:lnTo>
                    <a:pt x="762" y="700"/>
                  </a:lnTo>
                  <a:lnTo>
                    <a:pt x="753" y="697"/>
                  </a:lnTo>
                  <a:lnTo>
                    <a:pt x="752" y="699"/>
                  </a:lnTo>
                  <a:lnTo>
                    <a:pt x="752" y="699"/>
                  </a:lnTo>
                  <a:lnTo>
                    <a:pt x="752" y="705"/>
                  </a:lnTo>
                  <a:lnTo>
                    <a:pt x="752" y="705"/>
                  </a:lnTo>
                  <a:lnTo>
                    <a:pt x="749" y="706"/>
                  </a:lnTo>
                  <a:lnTo>
                    <a:pt x="747" y="709"/>
                  </a:lnTo>
                  <a:lnTo>
                    <a:pt x="747" y="709"/>
                  </a:lnTo>
                  <a:lnTo>
                    <a:pt x="746" y="707"/>
                  </a:lnTo>
                  <a:lnTo>
                    <a:pt x="749" y="703"/>
                  </a:lnTo>
                  <a:lnTo>
                    <a:pt x="749" y="702"/>
                  </a:lnTo>
                  <a:lnTo>
                    <a:pt x="744" y="710"/>
                  </a:lnTo>
                  <a:lnTo>
                    <a:pt x="742" y="712"/>
                  </a:lnTo>
                  <a:lnTo>
                    <a:pt x="742" y="709"/>
                  </a:lnTo>
                  <a:lnTo>
                    <a:pt x="742" y="706"/>
                  </a:lnTo>
                  <a:lnTo>
                    <a:pt x="739" y="710"/>
                  </a:lnTo>
                  <a:lnTo>
                    <a:pt x="737" y="715"/>
                  </a:lnTo>
                  <a:lnTo>
                    <a:pt x="736" y="716"/>
                  </a:lnTo>
                  <a:lnTo>
                    <a:pt x="736" y="716"/>
                  </a:lnTo>
                  <a:lnTo>
                    <a:pt x="730" y="719"/>
                  </a:lnTo>
                  <a:lnTo>
                    <a:pt x="728" y="719"/>
                  </a:lnTo>
                  <a:lnTo>
                    <a:pt x="724" y="718"/>
                  </a:lnTo>
                  <a:lnTo>
                    <a:pt x="718" y="718"/>
                  </a:lnTo>
                  <a:lnTo>
                    <a:pt x="714" y="716"/>
                  </a:lnTo>
                  <a:lnTo>
                    <a:pt x="711" y="716"/>
                  </a:lnTo>
                  <a:lnTo>
                    <a:pt x="708" y="718"/>
                  </a:lnTo>
                  <a:lnTo>
                    <a:pt x="707" y="718"/>
                  </a:lnTo>
                  <a:lnTo>
                    <a:pt x="702" y="716"/>
                  </a:lnTo>
                  <a:lnTo>
                    <a:pt x="701" y="713"/>
                  </a:lnTo>
                  <a:lnTo>
                    <a:pt x="692" y="709"/>
                  </a:lnTo>
                  <a:lnTo>
                    <a:pt x="691" y="707"/>
                  </a:lnTo>
                  <a:lnTo>
                    <a:pt x="686" y="706"/>
                  </a:lnTo>
                  <a:lnTo>
                    <a:pt x="679" y="705"/>
                  </a:lnTo>
                  <a:lnTo>
                    <a:pt x="678" y="706"/>
                  </a:lnTo>
                  <a:lnTo>
                    <a:pt x="675" y="706"/>
                  </a:lnTo>
                  <a:lnTo>
                    <a:pt x="672" y="706"/>
                  </a:lnTo>
                  <a:lnTo>
                    <a:pt x="672" y="706"/>
                  </a:lnTo>
                  <a:lnTo>
                    <a:pt x="672" y="705"/>
                  </a:lnTo>
                  <a:lnTo>
                    <a:pt x="667" y="703"/>
                  </a:lnTo>
                  <a:lnTo>
                    <a:pt x="663" y="703"/>
                  </a:lnTo>
                  <a:lnTo>
                    <a:pt x="663" y="703"/>
                  </a:lnTo>
                  <a:lnTo>
                    <a:pt x="662" y="703"/>
                  </a:lnTo>
                  <a:lnTo>
                    <a:pt x="659" y="697"/>
                  </a:lnTo>
                  <a:lnTo>
                    <a:pt x="659" y="697"/>
                  </a:lnTo>
                  <a:lnTo>
                    <a:pt x="656" y="689"/>
                  </a:lnTo>
                  <a:lnTo>
                    <a:pt x="653" y="689"/>
                  </a:lnTo>
                  <a:lnTo>
                    <a:pt x="653" y="699"/>
                  </a:lnTo>
                  <a:lnTo>
                    <a:pt x="260" y="697"/>
                  </a:lnTo>
                  <a:lnTo>
                    <a:pt x="260" y="696"/>
                  </a:lnTo>
                  <a:lnTo>
                    <a:pt x="258" y="696"/>
                  </a:lnTo>
                  <a:lnTo>
                    <a:pt x="257" y="696"/>
                  </a:lnTo>
                  <a:lnTo>
                    <a:pt x="257" y="696"/>
                  </a:lnTo>
                  <a:lnTo>
                    <a:pt x="257" y="694"/>
                  </a:lnTo>
                  <a:lnTo>
                    <a:pt x="260" y="693"/>
                  </a:lnTo>
                  <a:lnTo>
                    <a:pt x="262" y="693"/>
                  </a:lnTo>
                  <a:lnTo>
                    <a:pt x="262" y="691"/>
                  </a:lnTo>
                  <a:lnTo>
                    <a:pt x="261" y="691"/>
                  </a:lnTo>
                  <a:lnTo>
                    <a:pt x="261" y="691"/>
                  </a:lnTo>
                  <a:lnTo>
                    <a:pt x="261" y="691"/>
                  </a:lnTo>
                  <a:lnTo>
                    <a:pt x="258" y="691"/>
                  </a:lnTo>
                  <a:lnTo>
                    <a:pt x="254" y="691"/>
                  </a:lnTo>
                  <a:lnTo>
                    <a:pt x="254" y="691"/>
                  </a:lnTo>
                  <a:lnTo>
                    <a:pt x="254" y="690"/>
                  </a:lnTo>
                  <a:lnTo>
                    <a:pt x="254" y="689"/>
                  </a:lnTo>
                  <a:lnTo>
                    <a:pt x="254" y="689"/>
                  </a:lnTo>
                  <a:lnTo>
                    <a:pt x="254" y="689"/>
                  </a:lnTo>
                  <a:lnTo>
                    <a:pt x="254" y="681"/>
                  </a:lnTo>
                  <a:lnTo>
                    <a:pt x="254" y="681"/>
                  </a:lnTo>
                  <a:lnTo>
                    <a:pt x="252" y="683"/>
                  </a:lnTo>
                  <a:lnTo>
                    <a:pt x="251" y="684"/>
                  </a:lnTo>
                  <a:lnTo>
                    <a:pt x="249" y="687"/>
                  </a:lnTo>
                  <a:lnTo>
                    <a:pt x="248" y="687"/>
                  </a:lnTo>
                  <a:lnTo>
                    <a:pt x="246" y="686"/>
                  </a:lnTo>
                  <a:lnTo>
                    <a:pt x="246" y="684"/>
                  </a:lnTo>
                  <a:lnTo>
                    <a:pt x="248" y="681"/>
                  </a:lnTo>
                  <a:lnTo>
                    <a:pt x="246" y="681"/>
                  </a:lnTo>
                  <a:lnTo>
                    <a:pt x="246" y="680"/>
                  </a:lnTo>
                  <a:lnTo>
                    <a:pt x="245" y="680"/>
                  </a:lnTo>
                  <a:lnTo>
                    <a:pt x="245" y="678"/>
                  </a:lnTo>
                  <a:lnTo>
                    <a:pt x="245" y="678"/>
                  </a:lnTo>
                  <a:lnTo>
                    <a:pt x="244" y="677"/>
                  </a:lnTo>
                  <a:lnTo>
                    <a:pt x="244" y="674"/>
                  </a:lnTo>
                  <a:lnTo>
                    <a:pt x="242" y="676"/>
                  </a:lnTo>
                  <a:lnTo>
                    <a:pt x="244" y="677"/>
                  </a:lnTo>
                  <a:lnTo>
                    <a:pt x="244" y="678"/>
                  </a:lnTo>
                  <a:lnTo>
                    <a:pt x="242" y="677"/>
                  </a:lnTo>
                  <a:lnTo>
                    <a:pt x="241" y="678"/>
                  </a:lnTo>
                  <a:lnTo>
                    <a:pt x="239" y="680"/>
                  </a:lnTo>
                  <a:lnTo>
                    <a:pt x="236" y="680"/>
                  </a:lnTo>
                  <a:lnTo>
                    <a:pt x="233" y="677"/>
                  </a:lnTo>
                  <a:lnTo>
                    <a:pt x="230" y="674"/>
                  </a:lnTo>
                  <a:lnTo>
                    <a:pt x="233" y="671"/>
                  </a:lnTo>
                  <a:lnTo>
                    <a:pt x="233" y="671"/>
                  </a:lnTo>
                  <a:lnTo>
                    <a:pt x="233" y="670"/>
                  </a:lnTo>
                  <a:lnTo>
                    <a:pt x="233" y="668"/>
                  </a:lnTo>
                  <a:lnTo>
                    <a:pt x="233" y="665"/>
                  </a:lnTo>
                  <a:lnTo>
                    <a:pt x="232" y="665"/>
                  </a:lnTo>
                  <a:lnTo>
                    <a:pt x="230" y="667"/>
                  </a:lnTo>
                  <a:lnTo>
                    <a:pt x="229" y="667"/>
                  </a:lnTo>
                  <a:lnTo>
                    <a:pt x="229" y="665"/>
                  </a:lnTo>
                  <a:lnTo>
                    <a:pt x="228" y="664"/>
                  </a:lnTo>
                  <a:lnTo>
                    <a:pt x="228" y="664"/>
                  </a:lnTo>
                  <a:lnTo>
                    <a:pt x="225" y="665"/>
                  </a:lnTo>
                  <a:lnTo>
                    <a:pt x="222" y="664"/>
                  </a:lnTo>
                  <a:lnTo>
                    <a:pt x="220" y="664"/>
                  </a:lnTo>
                  <a:lnTo>
                    <a:pt x="219" y="662"/>
                  </a:lnTo>
                  <a:lnTo>
                    <a:pt x="217" y="664"/>
                  </a:lnTo>
                  <a:lnTo>
                    <a:pt x="217" y="665"/>
                  </a:lnTo>
                  <a:lnTo>
                    <a:pt x="216" y="664"/>
                  </a:lnTo>
                  <a:lnTo>
                    <a:pt x="209" y="664"/>
                  </a:lnTo>
                  <a:lnTo>
                    <a:pt x="207" y="662"/>
                  </a:lnTo>
                  <a:lnTo>
                    <a:pt x="214" y="661"/>
                  </a:lnTo>
                  <a:lnTo>
                    <a:pt x="214" y="660"/>
                  </a:lnTo>
                  <a:lnTo>
                    <a:pt x="212" y="660"/>
                  </a:lnTo>
                  <a:lnTo>
                    <a:pt x="212" y="657"/>
                  </a:lnTo>
                  <a:lnTo>
                    <a:pt x="210" y="657"/>
                  </a:lnTo>
                  <a:lnTo>
                    <a:pt x="209" y="655"/>
                  </a:lnTo>
                  <a:lnTo>
                    <a:pt x="209" y="655"/>
                  </a:lnTo>
                  <a:lnTo>
                    <a:pt x="210" y="655"/>
                  </a:lnTo>
                  <a:lnTo>
                    <a:pt x="212" y="655"/>
                  </a:lnTo>
                  <a:lnTo>
                    <a:pt x="210" y="654"/>
                  </a:lnTo>
                  <a:lnTo>
                    <a:pt x="206" y="652"/>
                  </a:lnTo>
                  <a:lnTo>
                    <a:pt x="204" y="655"/>
                  </a:lnTo>
                  <a:lnTo>
                    <a:pt x="203" y="654"/>
                  </a:lnTo>
                  <a:lnTo>
                    <a:pt x="199" y="654"/>
                  </a:lnTo>
                  <a:lnTo>
                    <a:pt x="199" y="654"/>
                  </a:lnTo>
                  <a:lnTo>
                    <a:pt x="199" y="655"/>
                  </a:lnTo>
                  <a:lnTo>
                    <a:pt x="197" y="655"/>
                  </a:lnTo>
                  <a:lnTo>
                    <a:pt x="193" y="652"/>
                  </a:lnTo>
                  <a:lnTo>
                    <a:pt x="190" y="649"/>
                  </a:lnTo>
                  <a:lnTo>
                    <a:pt x="190" y="648"/>
                  </a:lnTo>
                  <a:lnTo>
                    <a:pt x="190" y="646"/>
                  </a:lnTo>
                  <a:lnTo>
                    <a:pt x="191" y="646"/>
                  </a:lnTo>
                  <a:lnTo>
                    <a:pt x="193" y="646"/>
                  </a:lnTo>
                  <a:lnTo>
                    <a:pt x="194" y="646"/>
                  </a:lnTo>
                  <a:lnTo>
                    <a:pt x="193" y="645"/>
                  </a:lnTo>
                  <a:lnTo>
                    <a:pt x="193" y="644"/>
                  </a:lnTo>
                  <a:lnTo>
                    <a:pt x="190" y="645"/>
                  </a:lnTo>
                  <a:lnTo>
                    <a:pt x="190" y="644"/>
                  </a:lnTo>
                  <a:lnTo>
                    <a:pt x="193" y="642"/>
                  </a:lnTo>
                  <a:lnTo>
                    <a:pt x="196" y="642"/>
                  </a:lnTo>
                  <a:lnTo>
                    <a:pt x="196" y="642"/>
                  </a:lnTo>
                  <a:lnTo>
                    <a:pt x="193" y="641"/>
                  </a:lnTo>
                  <a:lnTo>
                    <a:pt x="193" y="639"/>
                  </a:lnTo>
                  <a:lnTo>
                    <a:pt x="194" y="638"/>
                  </a:lnTo>
                  <a:lnTo>
                    <a:pt x="193" y="635"/>
                  </a:lnTo>
                  <a:lnTo>
                    <a:pt x="190" y="639"/>
                  </a:lnTo>
                  <a:lnTo>
                    <a:pt x="188" y="639"/>
                  </a:lnTo>
                  <a:lnTo>
                    <a:pt x="188" y="639"/>
                  </a:lnTo>
                  <a:lnTo>
                    <a:pt x="187" y="633"/>
                  </a:lnTo>
                  <a:lnTo>
                    <a:pt x="188" y="630"/>
                  </a:lnTo>
                  <a:lnTo>
                    <a:pt x="187" y="630"/>
                  </a:lnTo>
                  <a:lnTo>
                    <a:pt x="187" y="629"/>
                  </a:lnTo>
                  <a:lnTo>
                    <a:pt x="188" y="625"/>
                  </a:lnTo>
                  <a:lnTo>
                    <a:pt x="187" y="623"/>
                  </a:lnTo>
                  <a:lnTo>
                    <a:pt x="187" y="623"/>
                  </a:lnTo>
                  <a:lnTo>
                    <a:pt x="187" y="622"/>
                  </a:lnTo>
                  <a:lnTo>
                    <a:pt x="187" y="620"/>
                  </a:lnTo>
                  <a:lnTo>
                    <a:pt x="184" y="622"/>
                  </a:lnTo>
                  <a:lnTo>
                    <a:pt x="181" y="622"/>
                  </a:lnTo>
                  <a:lnTo>
                    <a:pt x="181" y="620"/>
                  </a:lnTo>
                  <a:lnTo>
                    <a:pt x="183" y="620"/>
                  </a:lnTo>
                  <a:lnTo>
                    <a:pt x="183" y="619"/>
                  </a:lnTo>
                  <a:lnTo>
                    <a:pt x="181" y="617"/>
                  </a:lnTo>
                  <a:lnTo>
                    <a:pt x="180" y="617"/>
                  </a:lnTo>
                  <a:lnTo>
                    <a:pt x="177" y="617"/>
                  </a:lnTo>
                  <a:lnTo>
                    <a:pt x="175" y="617"/>
                  </a:lnTo>
                  <a:lnTo>
                    <a:pt x="174" y="617"/>
                  </a:lnTo>
                  <a:lnTo>
                    <a:pt x="174" y="613"/>
                  </a:lnTo>
                  <a:lnTo>
                    <a:pt x="172" y="613"/>
                  </a:lnTo>
                  <a:lnTo>
                    <a:pt x="171" y="610"/>
                  </a:lnTo>
                  <a:lnTo>
                    <a:pt x="169" y="609"/>
                  </a:lnTo>
                  <a:lnTo>
                    <a:pt x="169" y="607"/>
                  </a:lnTo>
                  <a:lnTo>
                    <a:pt x="171" y="603"/>
                  </a:lnTo>
                  <a:lnTo>
                    <a:pt x="171" y="597"/>
                  </a:lnTo>
                  <a:lnTo>
                    <a:pt x="171" y="596"/>
                  </a:lnTo>
                  <a:lnTo>
                    <a:pt x="169" y="596"/>
                  </a:lnTo>
                  <a:lnTo>
                    <a:pt x="168" y="596"/>
                  </a:lnTo>
                  <a:lnTo>
                    <a:pt x="168" y="597"/>
                  </a:lnTo>
                  <a:lnTo>
                    <a:pt x="167" y="597"/>
                  </a:lnTo>
                  <a:lnTo>
                    <a:pt x="167" y="596"/>
                  </a:lnTo>
                  <a:lnTo>
                    <a:pt x="167" y="596"/>
                  </a:lnTo>
                  <a:lnTo>
                    <a:pt x="156" y="584"/>
                  </a:lnTo>
                  <a:lnTo>
                    <a:pt x="155" y="583"/>
                  </a:lnTo>
                  <a:lnTo>
                    <a:pt x="156" y="581"/>
                  </a:lnTo>
                  <a:lnTo>
                    <a:pt x="156" y="580"/>
                  </a:lnTo>
                  <a:lnTo>
                    <a:pt x="158" y="580"/>
                  </a:lnTo>
                  <a:lnTo>
                    <a:pt x="158" y="578"/>
                  </a:lnTo>
                  <a:lnTo>
                    <a:pt x="155" y="578"/>
                  </a:lnTo>
                  <a:lnTo>
                    <a:pt x="154" y="577"/>
                  </a:lnTo>
                  <a:lnTo>
                    <a:pt x="151" y="574"/>
                  </a:lnTo>
                  <a:lnTo>
                    <a:pt x="151" y="574"/>
                  </a:lnTo>
                  <a:lnTo>
                    <a:pt x="151" y="569"/>
                  </a:lnTo>
                  <a:lnTo>
                    <a:pt x="152" y="567"/>
                  </a:lnTo>
                  <a:lnTo>
                    <a:pt x="154" y="565"/>
                  </a:lnTo>
                  <a:lnTo>
                    <a:pt x="155" y="567"/>
                  </a:lnTo>
                  <a:lnTo>
                    <a:pt x="155" y="567"/>
                  </a:lnTo>
                  <a:lnTo>
                    <a:pt x="155" y="565"/>
                  </a:lnTo>
                  <a:lnTo>
                    <a:pt x="155" y="564"/>
                  </a:lnTo>
                  <a:lnTo>
                    <a:pt x="155" y="561"/>
                  </a:lnTo>
                  <a:lnTo>
                    <a:pt x="156" y="559"/>
                  </a:lnTo>
                  <a:lnTo>
                    <a:pt x="156" y="559"/>
                  </a:lnTo>
                  <a:lnTo>
                    <a:pt x="156" y="558"/>
                  </a:lnTo>
                  <a:lnTo>
                    <a:pt x="155" y="558"/>
                  </a:lnTo>
                  <a:lnTo>
                    <a:pt x="155" y="555"/>
                  </a:lnTo>
                  <a:lnTo>
                    <a:pt x="156" y="555"/>
                  </a:lnTo>
                  <a:lnTo>
                    <a:pt x="156" y="553"/>
                  </a:lnTo>
                  <a:lnTo>
                    <a:pt x="156" y="552"/>
                  </a:lnTo>
                  <a:lnTo>
                    <a:pt x="155" y="548"/>
                  </a:lnTo>
                  <a:lnTo>
                    <a:pt x="156" y="536"/>
                  </a:lnTo>
                  <a:lnTo>
                    <a:pt x="156" y="535"/>
                  </a:lnTo>
                  <a:lnTo>
                    <a:pt x="156" y="535"/>
                  </a:lnTo>
                  <a:lnTo>
                    <a:pt x="155" y="532"/>
                  </a:lnTo>
                  <a:lnTo>
                    <a:pt x="151" y="530"/>
                  </a:lnTo>
                  <a:lnTo>
                    <a:pt x="142" y="524"/>
                  </a:lnTo>
                  <a:lnTo>
                    <a:pt x="133" y="521"/>
                  </a:lnTo>
                  <a:lnTo>
                    <a:pt x="130" y="520"/>
                  </a:lnTo>
                  <a:lnTo>
                    <a:pt x="127" y="516"/>
                  </a:lnTo>
                  <a:lnTo>
                    <a:pt x="126" y="508"/>
                  </a:lnTo>
                  <a:lnTo>
                    <a:pt x="123" y="505"/>
                  </a:lnTo>
                  <a:lnTo>
                    <a:pt x="123" y="504"/>
                  </a:lnTo>
                  <a:lnTo>
                    <a:pt x="123" y="504"/>
                  </a:lnTo>
                  <a:lnTo>
                    <a:pt x="123" y="503"/>
                  </a:lnTo>
                  <a:lnTo>
                    <a:pt x="119" y="495"/>
                  </a:lnTo>
                  <a:lnTo>
                    <a:pt x="117" y="491"/>
                  </a:lnTo>
                  <a:lnTo>
                    <a:pt x="116" y="491"/>
                  </a:lnTo>
                  <a:lnTo>
                    <a:pt x="100" y="460"/>
                  </a:lnTo>
                  <a:lnTo>
                    <a:pt x="94" y="458"/>
                  </a:lnTo>
                  <a:lnTo>
                    <a:pt x="94" y="456"/>
                  </a:lnTo>
                  <a:lnTo>
                    <a:pt x="94" y="456"/>
                  </a:lnTo>
                  <a:lnTo>
                    <a:pt x="93" y="452"/>
                  </a:lnTo>
                  <a:lnTo>
                    <a:pt x="90" y="449"/>
                  </a:lnTo>
                  <a:lnTo>
                    <a:pt x="85" y="440"/>
                  </a:lnTo>
                  <a:lnTo>
                    <a:pt x="84" y="440"/>
                  </a:lnTo>
                  <a:lnTo>
                    <a:pt x="82" y="439"/>
                  </a:lnTo>
                  <a:lnTo>
                    <a:pt x="81" y="434"/>
                  </a:lnTo>
                  <a:lnTo>
                    <a:pt x="79" y="433"/>
                  </a:lnTo>
                  <a:lnTo>
                    <a:pt x="78" y="433"/>
                  </a:lnTo>
                  <a:lnTo>
                    <a:pt x="72" y="437"/>
                  </a:lnTo>
                  <a:lnTo>
                    <a:pt x="66" y="439"/>
                  </a:lnTo>
                  <a:lnTo>
                    <a:pt x="65" y="440"/>
                  </a:lnTo>
                  <a:lnTo>
                    <a:pt x="65" y="443"/>
                  </a:lnTo>
                  <a:lnTo>
                    <a:pt x="65" y="444"/>
                  </a:lnTo>
                  <a:lnTo>
                    <a:pt x="63" y="444"/>
                  </a:lnTo>
                  <a:lnTo>
                    <a:pt x="62" y="446"/>
                  </a:lnTo>
                  <a:lnTo>
                    <a:pt x="62" y="447"/>
                  </a:lnTo>
                  <a:lnTo>
                    <a:pt x="61" y="450"/>
                  </a:lnTo>
                  <a:lnTo>
                    <a:pt x="58" y="452"/>
                  </a:lnTo>
                  <a:lnTo>
                    <a:pt x="53" y="455"/>
                  </a:lnTo>
                  <a:lnTo>
                    <a:pt x="49" y="456"/>
                  </a:lnTo>
                  <a:lnTo>
                    <a:pt x="49" y="456"/>
                  </a:lnTo>
                  <a:lnTo>
                    <a:pt x="49" y="455"/>
                  </a:lnTo>
                  <a:lnTo>
                    <a:pt x="46" y="447"/>
                  </a:lnTo>
                  <a:lnTo>
                    <a:pt x="42" y="443"/>
                  </a:lnTo>
                  <a:lnTo>
                    <a:pt x="46" y="440"/>
                  </a:lnTo>
                  <a:lnTo>
                    <a:pt x="45" y="439"/>
                  </a:lnTo>
                  <a:lnTo>
                    <a:pt x="40" y="436"/>
                  </a:lnTo>
                  <a:lnTo>
                    <a:pt x="45" y="439"/>
                  </a:lnTo>
                  <a:lnTo>
                    <a:pt x="43" y="440"/>
                  </a:lnTo>
                  <a:lnTo>
                    <a:pt x="40" y="440"/>
                  </a:lnTo>
                  <a:lnTo>
                    <a:pt x="39" y="442"/>
                  </a:lnTo>
                  <a:lnTo>
                    <a:pt x="26" y="424"/>
                  </a:lnTo>
                  <a:lnTo>
                    <a:pt x="26" y="424"/>
                  </a:lnTo>
                  <a:lnTo>
                    <a:pt x="26" y="417"/>
                  </a:lnTo>
                  <a:lnTo>
                    <a:pt x="17" y="417"/>
                  </a:lnTo>
                  <a:lnTo>
                    <a:pt x="14" y="421"/>
                  </a:lnTo>
                  <a:lnTo>
                    <a:pt x="13" y="421"/>
                  </a:lnTo>
                  <a:lnTo>
                    <a:pt x="8" y="418"/>
                  </a:lnTo>
                  <a:lnTo>
                    <a:pt x="5" y="421"/>
                  </a:lnTo>
                  <a:lnTo>
                    <a:pt x="0" y="418"/>
                  </a:lnTo>
                  <a:lnTo>
                    <a:pt x="0" y="97"/>
                  </a:lnTo>
                  <a:lnTo>
                    <a:pt x="1" y="97"/>
                  </a:lnTo>
                  <a:lnTo>
                    <a:pt x="5" y="99"/>
                  </a:lnTo>
                  <a:lnTo>
                    <a:pt x="18" y="100"/>
                  </a:lnTo>
                  <a:lnTo>
                    <a:pt x="18" y="102"/>
                  </a:lnTo>
                  <a:lnTo>
                    <a:pt x="24" y="102"/>
                  </a:lnTo>
                  <a:lnTo>
                    <a:pt x="34" y="116"/>
                  </a:lnTo>
                  <a:lnTo>
                    <a:pt x="36" y="116"/>
                  </a:lnTo>
                  <a:lnTo>
                    <a:pt x="37" y="118"/>
                  </a:lnTo>
                  <a:lnTo>
                    <a:pt x="37" y="115"/>
                  </a:lnTo>
                  <a:lnTo>
                    <a:pt x="39" y="118"/>
                  </a:lnTo>
                  <a:lnTo>
                    <a:pt x="45" y="123"/>
                  </a:lnTo>
                  <a:lnTo>
                    <a:pt x="46" y="125"/>
                  </a:lnTo>
                  <a:lnTo>
                    <a:pt x="49" y="128"/>
                  </a:lnTo>
                  <a:lnTo>
                    <a:pt x="52" y="128"/>
                  </a:lnTo>
                  <a:lnTo>
                    <a:pt x="55" y="128"/>
                  </a:lnTo>
                  <a:lnTo>
                    <a:pt x="59" y="131"/>
                  </a:lnTo>
                  <a:lnTo>
                    <a:pt x="61" y="131"/>
                  </a:lnTo>
                  <a:lnTo>
                    <a:pt x="62" y="129"/>
                  </a:lnTo>
                  <a:lnTo>
                    <a:pt x="63" y="131"/>
                  </a:lnTo>
                  <a:lnTo>
                    <a:pt x="63" y="129"/>
                  </a:lnTo>
                  <a:lnTo>
                    <a:pt x="63" y="128"/>
                  </a:lnTo>
                  <a:lnTo>
                    <a:pt x="69" y="129"/>
                  </a:lnTo>
                  <a:lnTo>
                    <a:pt x="69" y="131"/>
                  </a:lnTo>
                  <a:lnTo>
                    <a:pt x="72" y="132"/>
                  </a:lnTo>
                  <a:lnTo>
                    <a:pt x="79" y="139"/>
                  </a:lnTo>
                  <a:lnTo>
                    <a:pt x="82" y="139"/>
                  </a:lnTo>
                  <a:lnTo>
                    <a:pt x="84" y="139"/>
                  </a:lnTo>
                  <a:lnTo>
                    <a:pt x="82" y="138"/>
                  </a:lnTo>
                  <a:lnTo>
                    <a:pt x="79" y="133"/>
                  </a:lnTo>
                  <a:lnTo>
                    <a:pt x="79" y="131"/>
                  </a:lnTo>
                  <a:lnTo>
                    <a:pt x="78" y="129"/>
                  </a:lnTo>
                  <a:lnTo>
                    <a:pt x="79" y="129"/>
                  </a:lnTo>
                  <a:lnTo>
                    <a:pt x="84" y="131"/>
                  </a:lnTo>
                  <a:lnTo>
                    <a:pt x="85" y="131"/>
                  </a:lnTo>
                  <a:lnTo>
                    <a:pt x="88" y="131"/>
                  </a:lnTo>
                  <a:lnTo>
                    <a:pt x="90" y="132"/>
                  </a:lnTo>
                  <a:lnTo>
                    <a:pt x="91" y="136"/>
                  </a:lnTo>
                  <a:lnTo>
                    <a:pt x="93" y="138"/>
                  </a:lnTo>
                  <a:lnTo>
                    <a:pt x="95" y="141"/>
                  </a:lnTo>
                  <a:lnTo>
                    <a:pt x="97" y="144"/>
                  </a:lnTo>
                  <a:lnTo>
                    <a:pt x="98" y="141"/>
                  </a:lnTo>
                  <a:lnTo>
                    <a:pt x="97" y="136"/>
                  </a:lnTo>
                  <a:lnTo>
                    <a:pt x="91" y="125"/>
                  </a:lnTo>
                  <a:lnTo>
                    <a:pt x="91" y="123"/>
                  </a:lnTo>
                  <a:lnTo>
                    <a:pt x="94" y="120"/>
                  </a:lnTo>
                  <a:lnTo>
                    <a:pt x="95" y="118"/>
                  </a:lnTo>
                  <a:lnTo>
                    <a:pt x="100" y="115"/>
                  </a:lnTo>
                  <a:lnTo>
                    <a:pt x="101" y="113"/>
                  </a:lnTo>
                  <a:lnTo>
                    <a:pt x="103" y="113"/>
                  </a:lnTo>
                  <a:lnTo>
                    <a:pt x="104" y="112"/>
                  </a:lnTo>
                  <a:lnTo>
                    <a:pt x="110" y="110"/>
                  </a:lnTo>
                  <a:lnTo>
                    <a:pt x="111" y="109"/>
                  </a:lnTo>
                  <a:lnTo>
                    <a:pt x="114" y="106"/>
                  </a:lnTo>
                  <a:lnTo>
                    <a:pt x="114" y="102"/>
                  </a:lnTo>
                  <a:lnTo>
                    <a:pt x="116" y="99"/>
                  </a:lnTo>
                  <a:lnTo>
                    <a:pt x="117" y="100"/>
                  </a:lnTo>
                  <a:lnTo>
                    <a:pt x="117" y="100"/>
                  </a:lnTo>
                  <a:lnTo>
                    <a:pt x="119" y="99"/>
                  </a:lnTo>
                  <a:lnTo>
                    <a:pt x="120" y="96"/>
                  </a:lnTo>
                  <a:lnTo>
                    <a:pt x="122" y="96"/>
                  </a:lnTo>
                  <a:lnTo>
                    <a:pt x="122" y="97"/>
                  </a:lnTo>
                  <a:lnTo>
                    <a:pt x="126" y="97"/>
                  </a:lnTo>
                  <a:lnTo>
                    <a:pt x="127" y="96"/>
                  </a:lnTo>
                  <a:lnTo>
                    <a:pt x="127" y="94"/>
                  </a:lnTo>
                  <a:lnTo>
                    <a:pt x="130" y="94"/>
                  </a:lnTo>
                  <a:lnTo>
                    <a:pt x="136" y="90"/>
                  </a:lnTo>
                  <a:lnTo>
                    <a:pt x="136" y="87"/>
                  </a:lnTo>
                  <a:lnTo>
                    <a:pt x="140" y="88"/>
                  </a:lnTo>
                  <a:lnTo>
                    <a:pt x="142" y="86"/>
                  </a:lnTo>
                  <a:lnTo>
                    <a:pt x="143" y="84"/>
                  </a:lnTo>
                  <a:lnTo>
                    <a:pt x="143" y="81"/>
                  </a:lnTo>
                  <a:lnTo>
                    <a:pt x="148" y="80"/>
                  </a:lnTo>
                  <a:lnTo>
                    <a:pt x="149" y="78"/>
                  </a:lnTo>
                  <a:lnTo>
                    <a:pt x="152" y="81"/>
                  </a:lnTo>
                  <a:lnTo>
                    <a:pt x="154" y="81"/>
                  </a:lnTo>
                  <a:lnTo>
                    <a:pt x="155" y="83"/>
                  </a:lnTo>
                  <a:lnTo>
                    <a:pt x="158" y="81"/>
                  </a:lnTo>
                  <a:lnTo>
                    <a:pt x="159" y="78"/>
                  </a:lnTo>
                  <a:lnTo>
                    <a:pt x="159" y="77"/>
                  </a:lnTo>
                  <a:lnTo>
                    <a:pt x="161" y="75"/>
                  </a:lnTo>
                  <a:lnTo>
                    <a:pt x="162" y="77"/>
                  </a:lnTo>
                  <a:lnTo>
                    <a:pt x="164" y="78"/>
                  </a:lnTo>
                  <a:lnTo>
                    <a:pt x="164" y="83"/>
                  </a:lnTo>
                  <a:lnTo>
                    <a:pt x="164" y="83"/>
                  </a:lnTo>
                  <a:lnTo>
                    <a:pt x="161" y="86"/>
                  </a:lnTo>
                  <a:lnTo>
                    <a:pt x="151" y="93"/>
                  </a:lnTo>
                  <a:lnTo>
                    <a:pt x="149" y="97"/>
                  </a:lnTo>
                  <a:lnTo>
                    <a:pt x="146" y="99"/>
                  </a:lnTo>
                  <a:lnTo>
                    <a:pt x="142" y="103"/>
                  </a:lnTo>
                  <a:lnTo>
                    <a:pt x="139" y="102"/>
                  </a:lnTo>
                  <a:lnTo>
                    <a:pt x="129" y="104"/>
                  </a:lnTo>
                  <a:lnTo>
                    <a:pt x="127" y="107"/>
                  </a:lnTo>
                  <a:lnTo>
                    <a:pt x="126" y="110"/>
                  </a:lnTo>
                  <a:lnTo>
                    <a:pt x="127" y="109"/>
                  </a:lnTo>
                  <a:lnTo>
                    <a:pt x="123" y="113"/>
                  </a:lnTo>
                  <a:lnTo>
                    <a:pt x="123" y="115"/>
                  </a:lnTo>
                  <a:lnTo>
                    <a:pt x="122" y="115"/>
                  </a:lnTo>
                  <a:lnTo>
                    <a:pt x="119" y="119"/>
                  </a:lnTo>
                  <a:lnTo>
                    <a:pt x="119" y="118"/>
                  </a:lnTo>
                  <a:lnTo>
                    <a:pt x="117" y="116"/>
                  </a:lnTo>
                  <a:lnTo>
                    <a:pt x="114" y="122"/>
                  </a:lnTo>
                  <a:lnTo>
                    <a:pt x="114" y="123"/>
                  </a:lnTo>
                  <a:lnTo>
                    <a:pt x="116" y="123"/>
                  </a:lnTo>
                  <a:lnTo>
                    <a:pt x="119" y="120"/>
                  </a:lnTo>
                  <a:lnTo>
                    <a:pt x="126" y="119"/>
                  </a:lnTo>
                  <a:lnTo>
                    <a:pt x="130" y="113"/>
                  </a:lnTo>
                  <a:lnTo>
                    <a:pt x="132" y="112"/>
                  </a:lnTo>
                  <a:lnTo>
                    <a:pt x="130" y="110"/>
                  </a:lnTo>
                  <a:lnTo>
                    <a:pt x="133" y="109"/>
                  </a:lnTo>
                  <a:lnTo>
                    <a:pt x="135" y="109"/>
                  </a:lnTo>
                  <a:lnTo>
                    <a:pt x="135" y="112"/>
                  </a:lnTo>
                  <a:lnTo>
                    <a:pt x="136" y="109"/>
                  </a:lnTo>
                  <a:lnTo>
                    <a:pt x="136" y="112"/>
                  </a:lnTo>
                  <a:lnTo>
                    <a:pt x="139" y="107"/>
                  </a:lnTo>
                  <a:lnTo>
                    <a:pt x="140" y="106"/>
                  </a:lnTo>
                  <a:lnTo>
                    <a:pt x="142" y="109"/>
                  </a:lnTo>
                  <a:lnTo>
                    <a:pt x="142" y="118"/>
                  </a:lnTo>
                  <a:lnTo>
                    <a:pt x="151" y="100"/>
                  </a:lnTo>
                  <a:lnTo>
                    <a:pt x="151" y="97"/>
                  </a:lnTo>
                  <a:lnTo>
                    <a:pt x="158" y="96"/>
                  </a:lnTo>
                  <a:lnTo>
                    <a:pt x="161" y="93"/>
                  </a:lnTo>
                  <a:lnTo>
                    <a:pt x="168" y="91"/>
                  </a:lnTo>
                  <a:lnTo>
                    <a:pt x="172" y="87"/>
                  </a:lnTo>
                  <a:lnTo>
                    <a:pt x="171" y="91"/>
                  </a:lnTo>
                  <a:lnTo>
                    <a:pt x="171" y="91"/>
                  </a:lnTo>
                  <a:lnTo>
                    <a:pt x="168" y="97"/>
                  </a:lnTo>
                  <a:lnTo>
                    <a:pt x="174" y="93"/>
                  </a:lnTo>
                  <a:lnTo>
                    <a:pt x="180" y="87"/>
                  </a:lnTo>
                  <a:lnTo>
                    <a:pt x="181" y="84"/>
                  </a:lnTo>
                  <a:lnTo>
                    <a:pt x="180" y="81"/>
                  </a:lnTo>
                  <a:lnTo>
                    <a:pt x="181" y="80"/>
                  </a:lnTo>
                  <a:lnTo>
                    <a:pt x="188" y="77"/>
                  </a:lnTo>
                  <a:lnTo>
                    <a:pt x="190" y="75"/>
                  </a:lnTo>
                  <a:lnTo>
                    <a:pt x="185" y="74"/>
                  </a:lnTo>
                  <a:lnTo>
                    <a:pt x="184" y="72"/>
                  </a:lnTo>
                  <a:lnTo>
                    <a:pt x="184" y="71"/>
                  </a:lnTo>
                  <a:lnTo>
                    <a:pt x="184" y="70"/>
                  </a:lnTo>
                  <a:lnTo>
                    <a:pt x="184" y="68"/>
                  </a:lnTo>
                  <a:lnTo>
                    <a:pt x="181" y="68"/>
                  </a:lnTo>
                  <a:lnTo>
                    <a:pt x="181" y="67"/>
                  </a:lnTo>
                  <a:lnTo>
                    <a:pt x="183" y="64"/>
                  </a:lnTo>
                  <a:lnTo>
                    <a:pt x="184" y="62"/>
                  </a:lnTo>
                  <a:lnTo>
                    <a:pt x="187" y="64"/>
                  </a:lnTo>
                  <a:lnTo>
                    <a:pt x="197" y="77"/>
                  </a:lnTo>
                  <a:lnTo>
                    <a:pt x="197" y="84"/>
                  </a:lnTo>
                  <a:lnTo>
                    <a:pt x="204" y="100"/>
                  </a:lnTo>
                  <a:lnTo>
                    <a:pt x="207" y="102"/>
                  </a:lnTo>
                  <a:lnTo>
                    <a:pt x="209" y="106"/>
                  </a:lnTo>
                  <a:lnTo>
                    <a:pt x="209" y="106"/>
                  </a:lnTo>
                  <a:lnTo>
                    <a:pt x="213" y="110"/>
                  </a:lnTo>
                  <a:lnTo>
                    <a:pt x="216" y="112"/>
                  </a:lnTo>
                  <a:lnTo>
                    <a:pt x="222" y="112"/>
                  </a:lnTo>
                  <a:lnTo>
                    <a:pt x="222" y="110"/>
                  </a:lnTo>
                  <a:lnTo>
                    <a:pt x="222" y="110"/>
                  </a:lnTo>
                  <a:lnTo>
                    <a:pt x="225" y="110"/>
                  </a:lnTo>
                  <a:lnTo>
                    <a:pt x="225" y="109"/>
                  </a:lnTo>
                  <a:lnTo>
                    <a:pt x="223" y="107"/>
                  </a:lnTo>
                  <a:lnTo>
                    <a:pt x="219" y="109"/>
                  </a:lnTo>
                  <a:lnTo>
                    <a:pt x="219" y="106"/>
                  </a:lnTo>
                  <a:lnTo>
                    <a:pt x="223" y="106"/>
                  </a:lnTo>
                  <a:lnTo>
                    <a:pt x="225" y="104"/>
                  </a:lnTo>
                  <a:lnTo>
                    <a:pt x="223" y="104"/>
                  </a:lnTo>
                  <a:lnTo>
                    <a:pt x="220" y="100"/>
                  </a:lnTo>
                  <a:lnTo>
                    <a:pt x="223" y="99"/>
                  </a:lnTo>
                  <a:lnTo>
                    <a:pt x="226" y="97"/>
                  </a:lnTo>
                  <a:lnTo>
                    <a:pt x="226" y="96"/>
                  </a:lnTo>
                  <a:lnTo>
                    <a:pt x="223" y="94"/>
                  </a:lnTo>
                  <a:lnTo>
                    <a:pt x="223" y="91"/>
                  </a:lnTo>
                  <a:lnTo>
                    <a:pt x="225" y="94"/>
                  </a:lnTo>
                  <a:lnTo>
                    <a:pt x="229" y="88"/>
                  </a:lnTo>
                  <a:lnTo>
                    <a:pt x="230" y="86"/>
                  </a:lnTo>
                  <a:lnTo>
                    <a:pt x="229" y="86"/>
                  </a:lnTo>
                  <a:lnTo>
                    <a:pt x="228" y="86"/>
                  </a:lnTo>
                  <a:lnTo>
                    <a:pt x="226" y="88"/>
                  </a:lnTo>
                  <a:lnTo>
                    <a:pt x="226" y="87"/>
                  </a:lnTo>
                  <a:lnTo>
                    <a:pt x="225" y="86"/>
                  </a:lnTo>
                  <a:lnTo>
                    <a:pt x="226" y="83"/>
                  </a:lnTo>
                  <a:lnTo>
                    <a:pt x="228" y="84"/>
                  </a:lnTo>
                  <a:lnTo>
                    <a:pt x="230" y="83"/>
                  </a:lnTo>
                  <a:lnTo>
                    <a:pt x="232" y="84"/>
                  </a:lnTo>
                  <a:lnTo>
                    <a:pt x="232" y="87"/>
                  </a:lnTo>
                  <a:lnTo>
                    <a:pt x="233" y="84"/>
                  </a:lnTo>
                  <a:lnTo>
                    <a:pt x="235" y="84"/>
                  </a:lnTo>
                  <a:lnTo>
                    <a:pt x="235" y="83"/>
                  </a:lnTo>
                  <a:lnTo>
                    <a:pt x="233" y="81"/>
                  </a:lnTo>
                  <a:lnTo>
                    <a:pt x="232" y="80"/>
                  </a:lnTo>
                  <a:lnTo>
                    <a:pt x="236" y="80"/>
                  </a:lnTo>
                  <a:lnTo>
                    <a:pt x="236" y="81"/>
                  </a:lnTo>
                  <a:lnTo>
                    <a:pt x="236" y="83"/>
                  </a:lnTo>
                  <a:lnTo>
                    <a:pt x="236" y="93"/>
                  </a:lnTo>
                  <a:lnTo>
                    <a:pt x="235" y="94"/>
                  </a:lnTo>
                  <a:lnTo>
                    <a:pt x="235" y="97"/>
                  </a:lnTo>
                  <a:lnTo>
                    <a:pt x="236" y="97"/>
                  </a:lnTo>
                  <a:lnTo>
                    <a:pt x="239" y="96"/>
                  </a:lnTo>
                  <a:lnTo>
                    <a:pt x="242" y="97"/>
                  </a:lnTo>
                  <a:lnTo>
                    <a:pt x="235" y="110"/>
                  </a:lnTo>
                  <a:lnTo>
                    <a:pt x="235" y="107"/>
                  </a:lnTo>
                  <a:lnTo>
                    <a:pt x="235" y="110"/>
                  </a:lnTo>
                  <a:lnTo>
                    <a:pt x="235" y="112"/>
                  </a:lnTo>
                  <a:lnTo>
                    <a:pt x="241" y="112"/>
                  </a:lnTo>
                  <a:lnTo>
                    <a:pt x="242" y="110"/>
                  </a:lnTo>
                  <a:lnTo>
                    <a:pt x="244" y="112"/>
                  </a:lnTo>
                  <a:lnTo>
                    <a:pt x="248" y="112"/>
                  </a:lnTo>
                  <a:lnTo>
                    <a:pt x="249" y="110"/>
                  </a:lnTo>
                  <a:lnTo>
                    <a:pt x="251" y="107"/>
                  </a:lnTo>
                  <a:lnTo>
                    <a:pt x="252" y="104"/>
                  </a:lnTo>
                  <a:lnTo>
                    <a:pt x="255" y="93"/>
                  </a:lnTo>
                  <a:lnTo>
                    <a:pt x="257" y="93"/>
                  </a:lnTo>
                  <a:lnTo>
                    <a:pt x="261" y="91"/>
                  </a:lnTo>
                  <a:lnTo>
                    <a:pt x="264" y="93"/>
                  </a:lnTo>
                  <a:lnTo>
                    <a:pt x="268" y="93"/>
                  </a:lnTo>
                  <a:lnTo>
                    <a:pt x="268" y="94"/>
                  </a:lnTo>
                  <a:lnTo>
                    <a:pt x="274" y="93"/>
                  </a:lnTo>
                  <a:lnTo>
                    <a:pt x="280" y="94"/>
                  </a:lnTo>
                  <a:lnTo>
                    <a:pt x="287" y="102"/>
                  </a:lnTo>
                  <a:lnTo>
                    <a:pt x="293" y="109"/>
                  </a:lnTo>
                  <a:lnTo>
                    <a:pt x="297" y="112"/>
                  </a:lnTo>
                  <a:lnTo>
                    <a:pt x="303" y="112"/>
                  </a:lnTo>
                  <a:lnTo>
                    <a:pt x="305" y="113"/>
                  </a:lnTo>
                  <a:lnTo>
                    <a:pt x="307" y="113"/>
                  </a:lnTo>
                  <a:lnTo>
                    <a:pt x="313" y="116"/>
                  </a:lnTo>
                  <a:lnTo>
                    <a:pt x="315" y="116"/>
                  </a:lnTo>
                  <a:lnTo>
                    <a:pt x="318" y="116"/>
                  </a:lnTo>
                  <a:lnTo>
                    <a:pt x="319" y="119"/>
                  </a:lnTo>
                  <a:lnTo>
                    <a:pt x="332" y="128"/>
                  </a:lnTo>
                  <a:lnTo>
                    <a:pt x="338" y="128"/>
                  </a:lnTo>
                  <a:lnTo>
                    <a:pt x="339" y="129"/>
                  </a:lnTo>
                  <a:lnTo>
                    <a:pt x="342" y="129"/>
                  </a:lnTo>
                  <a:lnTo>
                    <a:pt x="342" y="129"/>
                  </a:lnTo>
                  <a:lnTo>
                    <a:pt x="350" y="131"/>
                  </a:lnTo>
                  <a:lnTo>
                    <a:pt x="352" y="129"/>
                  </a:lnTo>
                  <a:lnTo>
                    <a:pt x="355" y="133"/>
                  </a:lnTo>
                  <a:lnTo>
                    <a:pt x="357" y="131"/>
                  </a:lnTo>
                  <a:lnTo>
                    <a:pt x="352" y="126"/>
                  </a:lnTo>
                  <a:lnTo>
                    <a:pt x="355" y="126"/>
                  </a:lnTo>
                  <a:lnTo>
                    <a:pt x="357" y="126"/>
                  </a:lnTo>
                  <a:lnTo>
                    <a:pt x="360" y="128"/>
                  </a:lnTo>
                  <a:lnTo>
                    <a:pt x="360" y="126"/>
                  </a:lnTo>
                  <a:lnTo>
                    <a:pt x="367" y="128"/>
                  </a:lnTo>
                  <a:lnTo>
                    <a:pt x="365" y="129"/>
                  </a:lnTo>
                  <a:lnTo>
                    <a:pt x="368" y="131"/>
                  </a:lnTo>
                  <a:lnTo>
                    <a:pt x="370" y="133"/>
                  </a:lnTo>
                  <a:lnTo>
                    <a:pt x="371" y="132"/>
                  </a:lnTo>
                  <a:lnTo>
                    <a:pt x="371" y="133"/>
                  </a:lnTo>
                  <a:lnTo>
                    <a:pt x="377" y="136"/>
                  </a:lnTo>
                  <a:lnTo>
                    <a:pt x="381" y="144"/>
                  </a:lnTo>
                  <a:lnTo>
                    <a:pt x="381" y="149"/>
                  </a:lnTo>
                  <a:lnTo>
                    <a:pt x="383" y="147"/>
                  </a:lnTo>
                  <a:lnTo>
                    <a:pt x="383" y="149"/>
                  </a:lnTo>
                  <a:lnTo>
                    <a:pt x="383" y="151"/>
                  </a:lnTo>
                  <a:lnTo>
                    <a:pt x="384" y="154"/>
                  </a:lnTo>
                  <a:lnTo>
                    <a:pt x="381" y="152"/>
                  </a:lnTo>
                  <a:lnTo>
                    <a:pt x="380" y="155"/>
                  </a:lnTo>
                  <a:lnTo>
                    <a:pt x="379" y="155"/>
                  </a:lnTo>
                  <a:lnTo>
                    <a:pt x="379" y="152"/>
                  </a:lnTo>
                  <a:lnTo>
                    <a:pt x="374" y="154"/>
                  </a:lnTo>
                  <a:lnTo>
                    <a:pt x="370" y="154"/>
                  </a:lnTo>
                  <a:lnTo>
                    <a:pt x="373" y="155"/>
                  </a:lnTo>
                  <a:lnTo>
                    <a:pt x="371" y="157"/>
                  </a:lnTo>
                  <a:lnTo>
                    <a:pt x="365" y="157"/>
                  </a:lnTo>
                  <a:lnTo>
                    <a:pt x="367" y="158"/>
                  </a:lnTo>
                  <a:lnTo>
                    <a:pt x="365" y="160"/>
                  </a:lnTo>
                  <a:lnTo>
                    <a:pt x="365" y="163"/>
                  </a:lnTo>
                  <a:lnTo>
                    <a:pt x="361" y="165"/>
                  </a:lnTo>
                  <a:lnTo>
                    <a:pt x="363" y="167"/>
                  </a:lnTo>
                  <a:lnTo>
                    <a:pt x="364" y="167"/>
                  </a:lnTo>
                  <a:lnTo>
                    <a:pt x="367" y="167"/>
                  </a:lnTo>
                  <a:lnTo>
                    <a:pt x="364" y="168"/>
                  </a:lnTo>
                  <a:lnTo>
                    <a:pt x="374" y="173"/>
                  </a:lnTo>
                  <a:lnTo>
                    <a:pt x="376" y="171"/>
                  </a:lnTo>
                  <a:lnTo>
                    <a:pt x="377" y="171"/>
                  </a:lnTo>
                  <a:lnTo>
                    <a:pt x="379" y="173"/>
                  </a:lnTo>
                  <a:lnTo>
                    <a:pt x="381" y="173"/>
                  </a:lnTo>
                  <a:lnTo>
                    <a:pt x="384" y="174"/>
                  </a:lnTo>
                  <a:lnTo>
                    <a:pt x="390" y="174"/>
                  </a:lnTo>
                  <a:lnTo>
                    <a:pt x="393" y="174"/>
                  </a:lnTo>
                  <a:lnTo>
                    <a:pt x="397" y="174"/>
                  </a:lnTo>
                  <a:lnTo>
                    <a:pt x="397" y="174"/>
                  </a:lnTo>
                  <a:lnTo>
                    <a:pt x="400" y="176"/>
                  </a:lnTo>
                  <a:lnTo>
                    <a:pt x="408" y="174"/>
                  </a:lnTo>
                  <a:lnTo>
                    <a:pt x="408" y="173"/>
                  </a:lnTo>
                  <a:lnTo>
                    <a:pt x="413" y="173"/>
                  </a:lnTo>
                  <a:lnTo>
                    <a:pt x="412" y="174"/>
                  </a:lnTo>
                  <a:lnTo>
                    <a:pt x="415" y="174"/>
                  </a:lnTo>
                  <a:lnTo>
                    <a:pt x="413" y="174"/>
                  </a:lnTo>
                  <a:lnTo>
                    <a:pt x="415" y="171"/>
                  </a:lnTo>
                  <a:lnTo>
                    <a:pt x="416" y="174"/>
                  </a:lnTo>
                  <a:lnTo>
                    <a:pt x="419" y="174"/>
                  </a:lnTo>
                  <a:lnTo>
                    <a:pt x="419" y="173"/>
                  </a:lnTo>
                  <a:lnTo>
                    <a:pt x="421" y="173"/>
                  </a:lnTo>
                  <a:lnTo>
                    <a:pt x="422" y="168"/>
                  </a:lnTo>
                  <a:lnTo>
                    <a:pt x="425" y="168"/>
                  </a:lnTo>
                  <a:lnTo>
                    <a:pt x="425" y="173"/>
                  </a:lnTo>
                  <a:lnTo>
                    <a:pt x="428" y="173"/>
                  </a:lnTo>
                  <a:lnTo>
                    <a:pt x="429" y="171"/>
                  </a:lnTo>
                  <a:lnTo>
                    <a:pt x="432" y="167"/>
                  </a:lnTo>
                  <a:lnTo>
                    <a:pt x="435" y="164"/>
                  </a:lnTo>
                  <a:lnTo>
                    <a:pt x="438" y="164"/>
                  </a:lnTo>
                  <a:lnTo>
                    <a:pt x="440" y="163"/>
                  </a:lnTo>
                  <a:lnTo>
                    <a:pt x="442" y="165"/>
                  </a:lnTo>
                  <a:lnTo>
                    <a:pt x="441" y="167"/>
                  </a:lnTo>
                  <a:lnTo>
                    <a:pt x="442" y="168"/>
                  </a:lnTo>
                  <a:lnTo>
                    <a:pt x="444" y="167"/>
                  </a:lnTo>
                  <a:lnTo>
                    <a:pt x="445" y="171"/>
                  </a:lnTo>
                  <a:lnTo>
                    <a:pt x="445" y="173"/>
                  </a:lnTo>
                  <a:lnTo>
                    <a:pt x="444" y="173"/>
                  </a:lnTo>
                  <a:lnTo>
                    <a:pt x="450" y="174"/>
                  </a:lnTo>
                  <a:lnTo>
                    <a:pt x="448" y="173"/>
                  </a:lnTo>
                  <a:lnTo>
                    <a:pt x="456" y="173"/>
                  </a:lnTo>
                  <a:lnTo>
                    <a:pt x="456" y="176"/>
                  </a:lnTo>
                  <a:lnTo>
                    <a:pt x="456" y="177"/>
                  </a:lnTo>
                  <a:lnTo>
                    <a:pt x="456" y="179"/>
                  </a:lnTo>
                  <a:lnTo>
                    <a:pt x="457" y="180"/>
                  </a:lnTo>
                  <a:lnTo>
                    <a:pt x="456" y="183"/>
                  </a:lnTo>
                  <a:lnTo>
                    <a:pt x="457" y="186"/>
                  </a:lnTo>
                  <a:lnTo>
                    <a:pt x="457" y="184"/>
                  </a:lnTo>
                  <a:lnTo>
                    <a:pt x="458" y="184"/>
                  </a:lnTo>
                  <a:lnTo>
                    <a:pt x="458" y="181"/>
                  </a:lnTo>
                  <a:lnTo>
                    <a:pt x="460" y="177"/>
                  </a:lnTo>
                  <a:lnTo>
                    <a:pt x="460" y="177"/>
                  </a:lnTo>
                  <a:lnTo>
                    <a:pt x="460" y="180"/>
                  </a:lnTo>
                  <a:lnTo>
                    <a:pt x="461" y="180"/>
                  </a:lnTo>
                  <a:lnTo>
                    <a:pt x="461" y="183"/>
                  </a:lnTo>
                  <a:lnTo>
                    <a:pt x="461" y="186"/>
                  </a:lnTo>
                  <a:lnTo>
                    <a:pt x="463" y="186"/>
                  </a:lnTo>
                  <a:lnTo>
                    <a:pt x="464" y="184"/>
                  </a:lnTo>
                  <a:lnTo>
                    <a:pt x="466" y="189"/>
                  </a:lnTo>
                  <a:lnTo>
                    <a:pt x="469" y="189"/>
                  </a:lnTo>
                  <a:lnTo>
                    <a:pt x="471" y="196"/>
                  </a:lnTo>
                  <a:lnTo>
                    <a:pt x="470" y="199"/>
                  </a:lnTo>
                  <a:lnTo>
                    <a:pt x="467" y="197"/>
                  </a:lnTo>
                  <a:lnTo>
                    <a:pt x="464" y="199"/>
                  </a:lnTo>
                  <a:lnTo>
                    <a:pt x="464" y="199"/>
                  </a:lnTo>
                  <a:lnTo>
                    <a:pt x="464" y="200"/>
                  </a:lnTo>
                  <a:lnTo>
                    <a:pt x="470" y="209"/>
                  </a:lnTo>
                  <a:lnTo>
                    <a:pt x="471" y="209"/>
                  </a:lnTo>
                  <a:lnTo>
                    <a:pt x="473" y="205"/>
                  </a:lnTo>
                  <a:lnTo>
                    <a:pt x="474" y="205"/>
                  </a:lnTo>
                  <a:lnTo>
                    <a:pt x="476" y="206"/>
                  </a:lnTo>
                  <a:lnTo>
                    <a:pt x="479" y="203"/>
                  </a:lnTo>
                  <a:lnTo>
                    <a:pt x="480" y="203"/>
                  </a:lnTo>
                  <a:lnTo>
                    <a:pt x="477" y="199"/>
                  </a:lnTo>
                  <a:lnTo>
                    <a:pt x="480" y="196"/>
                  </a:lnTo>
                  <a:lnTo>
                    <a:pt x="480" y="196"/>
                  </a:lnTo>
                  <a:lnTo>
                    <a:pt x="477" y="196"/>
                  </a:lnTo>
                  <a:lnTo>
                    <a:pt x="473" y="186"/>
                  </a:lnTo>
                  <a:lnTo>
                    <a:pt x="474" y="184"/>
                  </a:lnTo>
                  <a:lnTo>
                    <a:pt x="474" y="180"/>
                  </a:lnTo>
                  <a:lnTo>
                    <a:pt x="473" y="179"/>
                  </a:lnTo>
                  <a:lnTo>
                    <a:pt x="473" y="177"/>
                  </a:lnTo>
                  <a:lnTo>
                    <a:pt x="470" y="176"/>
                  </a:lnTo>
                  <a:lnTo>
                    <a:pt x="469" y="173"/>
                  </a:lnTo>
                  <a:lnTo>
                    <a:pt x="470" y="168"/>
                  </a:lnTo>
                  <a:lnTo>
                    <a:pt x="471" y="168"/>
                  </a:lnTo>
                  <a:lnTo>
                    <a:pt x="473" y="167"/>
                  </a:lnTo>
                  <a:lnTo>
                    <a:pt x="474" y="165"/>
                  </a:lnTo>
                  <a:lnTo>
                    <a:pt x="471" y="165"/>
                  </a:lnTo>
                  <a:lnTo>
                    <a:pt x="474" y="161"/>
                  </a:lnTo>
                  <a:lnTo>
                    <a:pt x="477" y="161"/>
                  </a:lnTo>
                  <a:lnTo>
                    <a:pt x="480" y="160"/>
                  </a:lnTo>
                  <a:lnTo>
                    <a:pt x="480" y="158"/>
                  </a:lnTo>
                  <a:lnTo>
                    <a:pt x="480" y="160"/>
                  </a:lnTo>
                  <a:lnTo>
                    <a:pt x="487" y="158"/>
                  </a:lnTo>
                  <a:lnTo>
                    <a:pt x="486" y="155"/>
                  </a:lnTo>
                  <a:lnTo>
                    <a:pt x="489" y="155"/>
                  </a:lnTo>
                  <a:lnTo>
                    <a:pt x="492" y="155"/>
                  </a:lnTo>
                  <a:lnTo>
                    <a:pt x="492" y="151"/>
                  </a:lnTo>
                  <a:lnTo>
                    <a:pt x="492" y="149"/>
                  </a:lnTo>
                  <a:lnTo>
                    <a:pt x="493" y="154"/>
                  </a:lnTo>
                  <a:lnTo>
                    <a:pt x="495" y="149"/>
                  </a:lnTo>
                  <a:lnTo>
                    <a:pt x="496" y="147"/>
                  </a:lnTo>
                  <a:lnTo>
                    <a:pt x="496" y="145"/>
                  </a:lnTo>
                  <a:lnTo>
                    <a:pt x="499" y="144"/>
                  </a:lnTo>
                  <a:lnTo>
                    <a:pt x="498" y="142"/>
                  </a:lnTo>
                  <a:lnTo>
                    <a:pt x="499" y="141"/>
                  </a:lnTo>
                  <a:lnTo>
                    <a:pt x="499" y="138"/>
                  </a:lnTo>
                  <a:lnTo>
                    <a:pt x="498" y="139"/>
                  </a:lnTo>
                  <a:lnTo>
                    <a:pt x="498" y="138"/>
                  </a:lnTo>
                  <a:lnTo>
                    <a:pt x="489" y="141"/>
                  </a:lnTo>
                  <a:lnTo>
                    <a:pt x="490" y="144"/>
                  </a:lnTo>
                  <a:lnTo>
                    <a:pt x="486" y="145"/>
                  </a:lnTo>
                  <a:lnTo>
                    <a:pt x="489" y="149"/>
                  </a:lnTo>
                  <a:lnTo>
                    <a:pt x="489" y="147"/>
                  </a:lnTo>
                  <a:lnTo>
                    <a:pt x="489" y="151"/>
                  </a:lnTo>
                  <a:lnTo>
                    <a:pt x="487" y="152"/>
                  </a:lnTo>
                  <a:lnTo>
                    <a:pt x="487" y="151"/>
                  </a:lnTo>
                  <a:lnTo>
                    <a:pt x="487" y="149"/>
                  </a:lnTo>
                  <a:lnTo>
                    <a:pt x="486" y="151"/>
                  </a:lnTo>
                  <a:lnTo>
                    <a:pt x="486" y="149"/>
                  </a:lnTo>
                  <a:lnTo>
                    <a:pt x="483" y="149"/>
                  </a:lnTo>
                  <a:lnTo>
                    <a:pt x="482" y="149"/>
                  </a:lnTo>
                  <a:lnTo>
                    <a:pt x="480" y="152"/>
                  </a:lnTo>
                  <a:lnTo>
                    <a:pt x="480" y="151"/>
                  </a:lnTo>
                  <a:lnTo>
                    <a:pt x="476" y="151"/>
                  </a:lnTo>
                  <a:lnTo>
                    <a:pt x="476" y="149"/>
                  </a:lnTo>
                  <a:lnTo>
                    <a:pt x="471" y="151"/>
                  </a:lnTo>
                  <a:lnTo>
                    <a:pt x="470" y="152"/>
                  </a:lnTo>
                  <a:lnTo>
                    <a:pt x="471" y="154"/>
                  </a:lnTo>
                  <a:lnTo>
                    <a:pt x="473" y="154"/>
                  </a:lnTo>
                  <a:lnTo>
                    <a:pt x="473" y="155"/>
                  </a:lnTo>
                  <a:lnTo>
                    <a:pt x="474" y="157"/>
                  </a:lnTo>
                  <a:lnTo>
                    <a:pt x="471" y="157"/>
                  </a:lnTo>
                  <a:lnTo>
                    <a:pt x="470" y="158"/>
                  </a:lnTo>
                  <a:lnTo>
                    <a:pt x="469" y="158"/>
                  </a:lnTo>
                  <a:lnTo>
                    <a:pt x="470" y="157"/>
                  </a:lnTo>
                  <a:lnTo>
                    <a:pt x="464" y="158"/>
                  </a:lnTo>
                  <a:lnTo>
                    <a:pt x="464" y="155"/>
                  </a:lnTo>
                  <a:lnTo>
                    <a:pt x="463" y="157"/>
                  </a:lnTo>
                  <a:lnTo>
                    <a:pt x="463" y="155"/>
                  </a:lnTo>
                  <a:lnTo>
                    <a:pt x="461" y="155"/>
                  </a:lnTo>
                  <a:lnTo>
                    <a:pt x="461" y="152"/>
                  </a:lnTo>
                  <a:lnTo>
                    <a:pt x="458" y="154"/>
                  </a:lnTo>
                  <a:lnTo>
                    <a:pt x="457" y="152"/>
                  </a:lnTo>
                  <a:lnTo>
                    <a:pt x="458" y="149"/>
                  </a:lnTo>
                  <a:lnTo>
                    <a:pt x="460" y="147"/>
                  </a:lnTo>
                  <a:lnTo>
                    <a:pt x="460" y="145"/>
                  </a:lnTo>
                  <a:lnTo>
                    <a:pt x="463" y="141"/>
                  </a:lnTo>
                  <a:lnTo>
                    <a:pt x="464" y="139"/>
                  </a:lnTo>
                  <a:lnTo>
                    <a:pt x="473" y="138"/>
                  </a:lnTo>
                  <a:lnTo>
                    <a:pt x="483" y="133"/>
                  </a:lnTo>
                  <a:lnTo>
                    <a:pt x="485" y="131"/>
                  </a:lnTo>
                  <a:lnTo>
                    <a:pt x="489" y="131"/>
                  </a:lnTo>
                  <a:lnTo>
                    <a:pt x="489" y="128"/>
                  </a:lnTo>
                  <a:lnTo>
                    <a:pt x="492" y="129"/>
                  </a:lnTo>
                  <a:lnTo>
                    <a:pt x="495" y="126"/>
                  </a:lnTo>
                  <a:lnTo>
                    <a:pt x="498" y="128"/>
                  </a:lnTo>
                  <a:lnTo>
                    <a:pt x="498" y="129"/>
                  </a:lnTo>
                  <a:lnTo>
                    <a:pt x="501" y="129"/>
                  </a:lnTo>
                  <a:lnTo>
                    <a:pt x="501" y="133"/>
                  </a:lnTo>
                  <a:lnTo>
                    <a:pt x="505" y="135"/>
                  </a:lnTo>
                  <a:lnTo>
                    <a:pt x="502" y="136"/>
                  </a:lnTo>
                  <a:lnTo>
                    <a:pt x="505" y="139"/>
                  </a:lnTo>
                  <a:lnTo>
                    <a:pt x="505" y="142"/>
                  </a:lnTo>
                  <a:lnTo>
                    <a:pt x="506" y="142"/>
                  </a:lnTo>
                  <a:lnTo>
                    <a:pt x="506" y="145"/>
                  </a:lnTo>
                  <a:lnTo>
                    <a:pt x="505" y="145"/>
                  </a:lnTo>
                  <a:lnTo>
                    <a:pt x="503" y="145"/>
                  </a:lnTo>
                  <a:lnTo>
                    <a:pt x="503" y="147"/>
                  </a:lnTo>
                  <a:lnTo>
                    <a:pt x="505" y="147"/>
                  </a:lnTo>
                  <a:lnTo>
                    <a:pt x="506" y="149"/>
                  </a:lnTo>
                  <a:lnTo>
                    <a:pt x="509" y="149"/>
                  </a:lnTo>
                  <a:lnTo>
                    <a:pt x="509" y="151"/>
                  </a:lnTo>
                  <a:lnTo>
                    <a:pt x="512" y="154"/>
                  </a:lnTo>
                  <a:lnTo>
                    <a:pt x="516" y="155"/>
                  </a:lnTo>
                  <a:lnTo>
                    <a:pt x="516" y="155"/>
                  </a:lnTo>
                  <a:lnTo>
                    <a:pt x="516" y="160"/>
                  </a:lnTo>
                  <a:lnTo>
                    <a:pt x="518" y="163"/>
                  </a:lnTo>
                  <a:lnTo>
                    <a:pt x="521" y="161"/>
                  </a:lnTo>
                  <a:lnTo>
                    <a:pt x="524" y="163"/>
                  </a:lnTo>
                  <a:lnTo>
                    <a:pt x="527" y="161"/>
                  </a:lnTo>
                  <a:lnTo>
                    <a:pt x="530" y="163"/>
                  </a:lnTo>
                  <a:lnTo>
                    <a:pt x="530" y="161"/>
                  </a:lnTo>
                  <a:lnTo>
                    <a:pt x="531" y="161"/>
                  </a:lnTo>
                  <a:lnTo>
                    <a:pt x="532" y="160"/>
                  </a:lnTo>
                  <a:lnTo>
                    <a:pt x="532" y="157"/>
                  </a:lnTo>
                  <a:lnTo>
                    <a:pt x="537" y="158"/>
                  </a:lnTo>
                  <a:lnTo>
                    <a:pt x="537" y="163"/>
                  </a:lnTo>
                  <a:lnTo>
                    <a:pt x="543" y="168"/>
                  </a:lnTo>
                  <a:lnTo>
                    <a:pt x="544" y="173"/>
                  </a:lnTo>
                  <a:lnTo>
                    <a:pt x="547" y="173"/>
                  </a:lnTo>
                  <a:lnTo>
                    <a:pt x="550" y="176"/>
                  </a:lnTo>
                  <a:lnTo>
                    <a:pt x="553" y="176"/>
                  </a:lnTo>
                  <a:lnTo>
                    <a:pt x="553" y="173"/>
                  </a:lnTo>
                  <a:lnTo>
                    <a:pt x="554" y="174"/>
                  </a:lnTo>
                  <a:lnTo>
                    <a:pt x="556" y="173"/>
                  </a:lnTo>
                  <a:lnTo>
                    <a:pt x="557" y="174"/>
                  </a:lnTo>
                  <a:lnTo>
                    <a:pt x="559" y="174"/>
                  </a:lnTo>
                  <a:lnTo>
                    <a:pt x="562" y="176"/>
                  </a:lnTo>
                  <a:lnTo>
                    <a:pt x="566" y="173"/>
                  </a:lnTo>
                  <a:lnTo>
                    <a:pt x="572" y="174"/>
                  </a:lnTo>
                  <a:lnTo>
                    <a:pt x="576" y="173"/>
                  </a:lnTo>
                  <a:lnTo>
                    <a:pt x="579" y="170"/>
                  </a:lnTo>
                  <a:lnTo>
                    <a:pt x="588" y="171"/>
                  </a:lnTo>
                  <a:lnTo>
                    <a:pt x="591" y="170"/>
                  </a:lnTo>
                  <a:lnTo>
                    <a:pt x="595" y="174"/>
                  </a:lnTo>
                  <a:lnTo>
                    <a:pt x="595" y="173"/>
                  </a:lnTo>
                  <a:lnTo>
                    <a:pt x="596" y="173"/>
                  </a:lnTo>
                  <a:lnTo>
                    <a:pt x="596" y="174"/>
                  </a:lnTo>
                  <a:lnTo>
                    <a:pt x="602" y="173"/>
                  </a:lnTo>
                  <a:lnTo>
                    <a:pt x="607" y="173"/>
                  </a:lnTo>
                  <a:lnTo>
                    <a:pt x="604" y="170"/>
                  </a:lnTo>
                  <a:lnTo>
                    <a:pt x="604" y="168"/>
                  </a:lnTo>
                  <a:lnTo>
                    <a:pt x="602" y="165"/>
                  </a:lnTo>
                  <a:lnTo>
                    <a:pt x="601" y="163"/>
                  </a:lnTo>
                  <a:lnTo>
                    <a:pt x="602" y="161"/>
                  </a:lnTo>
                  <a:lnTo>
                    <a:pt x="604" y="161"/>
                  </a:lnTo>
                  <a:lnTo>
                    <a:pt x="605" y="163"/>
                  </a:lnTo>
                  <a:lnTo>
                    <a:pt x="607" y="164"/>
                  </a:lnTo>
                  <a:lnTo>
                    <a:pt x="608" y="167"/>
                  </a:lnTo>
                  <a:lnTo>
                    <a:pt x="608" y="170"/>
                  </a:lnTo>
                  <a:lnTo>
                    <a:pt x="609" y="173"/>
                  </a:lnTo>
                  <a:lnTo>
                    <a:pt x="612" y="174"/>
                  </a:lnTo>
                  <a:lnTo>
                    <a:pt x="614" y="176"/>
                  </a:lnTo>
                  <a:lnTo>
                    <a:pt x="617" y="177"/>
                  </a:lnTo>
                  <a:lnTo>
                    <a:pt x="618" y="179"/>
                  </a:lnTo>
                  <a:lnTo>
                    <a:pt x="621" y="179"/>
                  </a:lnTo>
                  <a:lnTo>
                    <a:pt x="624" y="176"/>
                  </a:lnTo>
                  <a:lnTo>
                    <a:pt x="624" y="167"/>
                  </a:lnTo>
                  <a:lnTo>
                    <a:pt x="622" y="167"/>
                  </a:lnTo>
                  <a:lnTo>
                    <a:pt x="622" y="168"/>
                  </a:lnTo>
                  <a:lnTo>
                    <a:pt x="620" y="168"/>
                  </a:lnTo>
                  <a:lnTo>
                    <a:pt x="620" y="167"/>
                  </a:lnTo>
                  <a:lnTo>
                    <a:pt x="618" y="164"/>
                  </a:lnTo>
                  <a:lnTo>
                    <a:pt x="614" y="165"/>
                  </a:lnTo>
                  <a:lnTo>
                    <a:pt x="612" y="167"/>
                  </a:lnTo>
                  <a:lnTo>
                    <a:pt x="612" y="171"/>
                  </a:lnTo>
                  <a:lnTo>
                    <a:pt x="611" y="170"/>
                  </a:lnTo>
                  <a:lnTo>
                    <a:pt x="609" y="164"/>
                  </a:lnTo>
                  <a:lnTo>
                    <a:pt x="605" y="160"/>
                  </a:lnTo>
                  <a:lnTo>
                    <a:pt x="608" y="161"/>
                  </a:lnTo>
                  <a:lnTo>
                    <a:pt x="608" y="157"/>
                  </a:lnTo>
                  <a:lnTo>
                    <a:pt x="605" y="154"/>
                  </a:lnTo>
                  <a:lnTo>
                    <a:pt x="605" y="152"/>
                  </a:lnTo>
                  <a:lnTo>
                    <a:pt x="602" y="149"/>
                  </a:lnTo>
                  <a:lnTo>
                    <a:pt x="604" y="149"/>
                  </a:lnTo>
                  <a:lnTo>
                    <a:pt x="605" y="151"/>
                  </a:lnTo>
                  <a:lnTo>
                    <a:pt x="607" y="149"/>
                  </a:lnTo>
                  <a:lnTo>
                    <a:pt x="607" y="149"/>
                  </a:lnTo>
                  <a:lnTo>
                    <a:pt x="609" y="149"/>
                  </a:lnTo>
                  <a:lnTo>
                    <a:pt x="611" y="151"/>
                  </a:lnTo>
                  <a:lnTo>
                    <a:pt x="617" y="149"/>
                  </a:lnTo>
                  <a:lnTo>
                    <a:pt x="617" y="149"/>
                  </a:lnTo>
                  <a:lnTo>
                    <a:pt x="612" y="144"/>
                  </a:lnTo>
                  <a:lnTo>
                    <a:pt x="614" y="142"/>
                  </a:lnTo>
                  <a:lnTo>
                    <a:pt x="617" y="144"/>
                  </a:lnTo>
                  <a:lnTo>
                    <a:pt x="617" y="145"/>
                  </a:lnTo>
                  <a:lnTo>
                    <a:pt x="620" y="149"/>
                  </a:lnTo>
                  <a:lnTo>
                    <a:pt x="618" y="145"/>
                  </a:lnTo>
                  <a:lnTo>
                    <a:pt x="622" y="145"/>
                  </a:lnTo>
                  <a:lnTo>
                    <a:pt x="624" y="149"/>
                  </a:lnTo>
                  <a:lnTo>
                    <a:pt x="628" y="151"/>
                  </a:lnTo>
                  <a:lnTo>
                    <a:pt x="627" y="152"/>
                  </a:lnTo>
                  <a:lnTo>
                    <a:pt x="628" y="154"/>
                  </a:lnTo>
                  <a:lnTo>
                    <a:pt x="633" y="152"/>
                  </a:lnTo>
                  <a:lnTo>
                    <a:pt x="633" y="154"/>
                  </a:lnTo>
                  <a:lnTo>
                    <a:pt x="631" y="157"/>
                  </a:lnTo>
                  <a:lnTo>
                    <a:pt x="631" y="160"/>
                  </a:lnTo>
                  <a:lnTo>
                    <a:pt x="630" y="161"/>
                  </a:lnTo>
                  <a:lnTo>
                    <a:pt x="631" y="163"/>
                  </a:lnTo>
                  <a:lnTo>
                    <a:pt x="633" y="161"/>
                  </a:lnTo>
                  <a:lnTo>
                    <a:pt x="634" y="164"/>
                  </a:lnTo>
                  <a:lnTo>
                    <a:pt x="634" y="158"/>
                  </a:lnTo>
                  <a:lnTo>
                    <a:pt x="640" y="154"/>
                  </a:lnTo>
                  <a:lnTo>
                    <a:pt x="640" y="155"/>
                  </a:lnTo>
                  <a:lnTo>
                    <a:pt x="640" y="164"/>
                  </a:lnTo>
                  <a:lnTo>
                    <a:pt x="638" y="168"/>
                  </a:lnTo>
                  <a:lnTo>
                    <a:pt x="638" y="173"/>
                  </a:lnTo>
                  <a:lnTo>
                    <a:pt x="640" y="177"/>
                  </a:lnTo>
                  <a:lnTo>
                    <a:pt x="634" y="180"/>
                  </a:lnTo>
                  <a:lnTo>
                    <a:pt x="636" y="184"/>
                  </a:lnTo>
                  <a:lnTo>
                    <a:pt x="640" y="184"/>
                  </a:lnTo>
                  <a:lnTo>
                    <a:pt x="640" y="190"/>
                  </a:lnTo>
                  <a:lnTo>
                    <a:pt x="644" y="187"/>
                  </a:lnTo>
                  <a:lnTo>
                    <a:pt x="646" y="189"/>
                  </a:lnTo>
                  <a:lnTo>
                    <a:pt x="647" y="186"/>
                  </a:lnTo>
                  <a:lnTo>
                    <a:pt x="647" y="189"/>
                  </a:lnTo>
                  <a:lnTo>
                    <a:pt x="646" y="190"/>
                  </a:lnTo>
                  <a:lnTo>
                    <a:pt x="647" y="193"/>
                  </a:lnTo>
                  <a:lnTo>
                    <a:pt x="650" y="193"/>
                  </a:lnTo>
                  <a:lnTo>
                    <a:pt x="652" y="189"/>
                  </a:lnTo>
                  <a:lnTo>
                    <a:pt x="650" y="184"/>
                  </a:lnTo>
                  <a:lnTo>
                    <a:pt x="650" y="180"/>
                  </a:lnTo>
                  <a:lnTo>
                    <a:pt x="649" y="177"/>
                  </a:lnTo>
                  <a:lnTo>
                    <a:pt x="646" y="174"/>
                  </a:lnTo>
                  <a:lnTo>
                    <a:pt x="647" y="164"/>
                  </a:lnTo>
                  <a:lnTo>
                    <a:pt x="646" y="161"/>
                  </a:lnTo>
                  <a:lnTo>
                    <a:pt x="647" y="161"/>
                  </a:lnTo>
                  <a:lnTo>
                    <a:pt x="649" y="160"/>
                  </a:lnTo>
                  <a:lnTo>
                    <a:pt x="650" y="161"/>
                  </a:lnTo>
                  <a:lnTo>
                    <a:pt x="650" y="163"/>
                  </a:lnTo>
                  <a:lnTo>
                    <a:pt x="652" y="161"/>
                  </a:lnTo>
                  <a:lnTo>
                    <a:pt x="654" y="161"/>
                  </a:lnTo>
                  <a:lnTo>
                    <a:pt x="657" y="163"/>
                  </a:lnTo>
                  <a:lnTo>
                    <a:pt x="659" y="163"/>
                  </a:lnTo>
                  <a:lnTo>
                    <a:pt x="660" y="158"/>
                  </a:lnTo>
                  <a:lnTo>
                    <a:pt x="662" y="157"/>
                  </a:lnTo>
                  <a:lnTo>
                    <a:pt x="665" y="155"/>
                  </a:lnTo>
                  <a:lnTo>
                    <a:pt x="665" y="152"/>
                  </a:lnTo>
                  <a:lnTo>
                    <a:pt x="666" y="148"/>
                  </a:lnTo>
                  <a:lnTo>
                    <a:pt x="673" y="144"/>
                  </a:lnTo>
                  <a:lnTo>
                    <a:pt x="675" y="141"/>
                  </a:lnTo>
                  <a:lnTo>
                    <a:pt x="672" y="141"/>
                  </a:lnTo>
                  <a:lnTo>
                    <a:pt x="672" y="128"/>
                  </a:lnTo>
                  <a:lnTo>
                    <a:pt x="669" y="125"/>
                  </a:lnTo>
                  <a:lnTo>
                    <a:pt x="667" y="128"/>
                  </a:lnTo>
                  <a:lnTo>
                    <a:pt x="667" y="129"/>
                  </a:lnTo>
                  <a:lnTo>
                    <a:pt x="667" y="132"/>
                  </a:lnTo>
                  <a:lnTo>
                    <a:pt x="669" y="131"/>
                  </a:lnTo>
                  <a:lnTo>
                    <a:pt x="670" y="129"/>
                  </a:lnTo>
                  <a:lnTo>
                    <a:pt x="667" y="135"/>
                  </a:lnTo>
                  <a:lnTo>
                    <a:pt x="662" y="136"/>
                  </a:lnTo>
                  <a:lnTo>
                    <a:pt x="659" y="136"/>
                  </a:lnTo>
                  <a:lnTo>
                    <a:pt x="659" y="133"/>
                  </a:lnTo>
                  <a:lnTo>
                    <a:pt x="660" y="128"/>
                  </a:lnTo>
                  <a:lnTo>
                    <a:pt x="660" y="128"/>
                  </a:lnTo>
                  <a:lnTo>
                    <a:pt x="663" y="128"/>
                  </a:lnTo>
                  <a:lnTo>
                    <a:pt x="665" y="122"/>
                  </a:lnTo>
                  <a:lnTo>
                    <a:pt x="665" y="119"/>
                  </a:lnTo>
                  <a:lnTo>
                    <a:pt x="663" y="120"/>
                  </a:lnTo>
                  <a:lnTo>
                    <a:pt x="663" y="116"/>
                  </a:lnTo>
                  <a:lnTo>
                    <a:pt x="666" y="112"/>
                  </a:lnTo>
                  <a:lnTo>
                    <a:pt x="670" y="110"/>
                  </a:lnTo>
                  <a:lnTo>
                    <a:pt x="672" y="109"/>
                  </a:lnTo>
                  <a:lnTo>
                    <a:pt x="670" y="113"/>
                  </a:lnTo>
                  <a:lnTo>
                    <a:pt x="670" y="118"/>
                  </a:lnTo>
                  <a:lnTo>
                    <a:pt x="670" y="119"/>
                  </a:lnTo>
                  <a:lnTo>
                    <a:pt x="673" y="115"/>
                  </a:lnTo>
                  <a:lnTo>
                    <a:pt x="675" y="110"/>
                  </a:lnTo>
                  <a:lnTo>
                    <a:pt x="673" y="106"/>
                  </a:lnTo>
                  <a:lnTo>
                    <a:pt x="670" y="106"/>
                  </a:lnTo>
                  <a:lnTo>
                    <a:pt x="666" y="109"/>
                  </a:lnTo>
                  <a:lnTo>
                    <a:pt x="663" y="109"/>
                  </a:lnTo>
                  <a:lnTo>
                    <a:pt x="659" y="102"/>
                  </a:lnTo>
                  <a:lnTo>
                    <a:pt x="657" y="100"/>
                  </a:lnTo>
                  <a:lnTo>
                    <a:pt x="659" y="102"/>
                  </a:lnTo>
                  <a:lnTo>
                    <a:pt x="657" y="103"/>
                  </a:lnTo>
                  <a:lnTo>
                    <a:pt x="654" y="102"/>
                  </a:lnTo>
                  <a:lnTo>
                    <a:pt x="654" y="100"/>
                  </a:lnTo>
                  <a:lnTo>
                    <a:pt x="650" y="99"/>
                  </a:lnTo>
                  <a:lnTo>
                    <a:pt x="650" y="96"/>
                  </a:lnTo>
                  <a:lnTo>
                    <a:pt x="650" y="94"/>
                  </a:lnTo>
                  <a:lnTo>
                    <a:pt x="643" y="96"/>
                  </a:lnTo>
                  <a:lnTo>
                    <a:pt x="640" y="93"/>
                  </a:lnTo>
                  <a:lnTo>
                    <a:pt x="638" y="91"/>
                  </a:lnTo>
                  <a:lnTo>
                    <a:pt x="640" y="90"/>
                  </a:lnTo>
                  <a:lnTo>
                    <a:pt x="636" y="87"/>
                  </a:lnTo>
                  <a:lnTo>
                    <a:pt x="634" y="84"/>
                  </a:lnTo>
                  <a:lnTo>
                    <a:pt x="633" y="83"/>
                  </a:lnTo>
                  <a:lnTo>
                    <a:pt x="633" y="68"/>
                  </a:lnTo>
                  <a:lnTo>
                    <a:pt x="634" y="68"/>
                  </a:lnTo>
                  <a:lnTo>
                    <a:pt x="634" y="68"/>
                  </a:lnTo>
                  <a:lnTo>
                    <a:pt x="637" y="61"/>
                  </a:lnTo>
                  <a:lnTo>
                    <a:pt x="638" y="61"/>
                  </a:lnTo>
                  <a:lnTo>
                    <a:pt x="638" y="62"/>
                  </a:lnTo>
                  <a:lnTo>
                    <a:pt x="640" y="61"/>
                  </a:lnTo>
                  <a:lnTo>
                    <a:pt x="640" y="58"/>
                  </a:lnTo>
                  <a:lnTo>
                    <a:pt x="638" y="58"/>
                  </a:lnTo>
                  <a:lnTo>
                    <a:pt x="636" y="52"/>
                  </a:lnTo>
                  <a:lnTo>
                    <a:pt x="634" y="51"/>
                  </a:lnTo>
                  <a:lnTo>
                    <a:pt x="634" y="43"/>
                  </a:lnTo>
                  <a:lnTo>
                    <a:pt x="636" y="40"/>
                  </a:lnTo>
                  <a:lnTo>
                    <a:pt x="636" y="40"/>
                  </a:lnTo>
                  <a:lnTo>
                    <a:pt x="636" y="32"/>
                  </a:lnTo>
                  <a:lnTo>
                    <a:pt x="637" y="30"/>
                  </a:lnTo>
                  <a:lnTo>
                    <a:pt x="638" y="30"/>
                  </a:lnTo>
                  <a:lnTo>
                    <a:pt x="638" y="29"/>
                  </a:lnTo>
                  <a:lnTo>
                    <a:pt x="638" y="27"/>
                  </a:lnTo>
                  <a:lnTo>
                    <a:pt x="641" y="26"/>
                  </a:lnTo>
                  <a:lnTo>
                    <a:pt x="646" y="32"/>
                  </a:lnTo>
                  <a:lnTo>
                    <a:pt x="647" y="32"/>
                  </a:lnTo>
                  <a:lnTo>
                    <a:pt x="647" y="27"/>
                  </a:lnTo>
                  <a:lnTo>
                    <a:pt x="647" y="22"/>
                  </a:lnTo>
                  <a:lnTo>
                    <a:pt x="646" y="22"/>
                  </a:lnTo>
                  <a:lnTo>
                    <a:pt x="644" y="20"/>
                  </a:lnTo>
                  <a:lnTo>
                    <a:pt x="643" y="17"/>
                  </a:lnTo>
                  <a:lnTo>
                    <a:pt x="649" y="9"/>
                  </a:lnTo>
                  <a:lnTo>
                    <a:pt x="652" y="0"/>
                  </a:lnTo>
                  <a:lnTo>
                    <a:pt x="654" y="0"/>
                  </a:lnTo>
                  <a:lnTo>
                    <a:pt x="657" y="0"/>
                  </a:lnTo>
                  <a:lnTo>
                    <a:pt x="659" y="0"/>
                  </a:lnTo>
                  <a:lnTo>
                    <a:pt x="662" y="3"/>
                  </a:lnTo>
                  <a:lnTo>
                    <a:pt x="662" y="4"/>
                  </a:lnTo>
                  <a:lnTo>
                    <a:pt x="660" y="6"/>
                  </a:lnTo>
                  <a:lnTo>
                    <a:pt x="660" y="7"/>
                  </a:lnTo>
                  <a:lnTo>
                    <a:pt x="660" y="10"/>
                  </a:lnTo>
                  <a:lnTo>
                    <a:pt x="663" y="7"/>
                  </a:lnTo>
                  <a:lnTo>
                    <a:pt x="663" y="13"/>
                  </a:lnTo>
                  <a:lnTo>
                    <a:pt x="665" y="10"/>
                  </a:lnTo>
                  <a:lnTo>
                    <a:pt x="666" y="9"/>
                  </a:lnTo>
                  <a:lnTo>
                    <a:pt x="669" y="11"/>
                  </a:lnTo>
                  <a:lnTo>
                    <a:pt x="673" y="9"/>
                  </a:lnTo>
                  <a:lnTo>
                    <a:pt x="672" y="16"/>
                  </a:lnTo>
                  <a:lnTo>
                    <a:pt x="673" y="19"/>
                  </a:lnTo>
                  <a:lnTo>
                    <a:pt x="676" y="20"/>
                  </a:lnTo>
                  <a:lnTo>
                    <a:pt x="682" y="30"/>
                  </a:lnTo>
                  <a:lnTo>
                    <a:pt x="683" y="49"/>
                  </a:lnTo>
                  <a:lnTo>
                    <a:pt x="683" y="49"/>
                  </a:lnTo>
                  <a:lnTo>
                    <a:pt x="683" y="51"/>
                  </a:lnTo>
                  <a:lnTo>
                    <a:pt x="686" y="52"/>
                  </a:lnTo>
                  <a:lnTo>
                    <a:pt x="686" y="56"/>
                  </a:lnTo>
                  <a:lnTo>
                    <a:pt x="691" y="56"/>
                  </a:lnTo>
                  <a:lnTo>
                    <a:pt x="692" y="59"/>
                  </a:lnTo>
                  <a:lnTo>
                    <a:pt x="694" y="65"/>
                  </a:lnTo>
                  <a:lnTo>
                    <a:pt x="697" y="71"/>
                  </a:lnTo>
                  <a:lnTo>
                    <a:pt x="697" y="74"/>
                  </a:lnTo>
                  <a:lnTo>
                    <a:pt x="698" y="74"/>
                  </a:lnTo>
                  <a:lnTo>
                    <a:pt x="698" y="72"/>
                  </a:lnTo>
                  <a:lnTo>
                    <a:pt x="699" y="71"/>
                  </a:lnTo>
                  <a:lnTo>
                    <a:pt x="701" y="72"/>
                  </a:lnTo>
                  <a:lnTo>
                    <a:pt x="701" y="77"/>
                  </a:lnTo>
                  <a:lnTo>
                    <a:pt x="702" y="78"/>
                  </a:lnTo>
                  <a:lnTo>
                    <a:pt x="704" y="80"/>
                  </a:lnTo>
                  <a:lnTo>
                    <a:pt x="699" y="81"/>
                  </a:lnTo>
                  <a:lnTo>
                    <a:pt x="692" y="78"/>
                  </a:lnTo>
                  <a:lnTo>
                    <a:pt x="691" y="78"/>
                  </a:lnTo>
                  <a:lnTo>
                    <a:pt x="691" y="78"/>
                  </a:lnTo>
                  <a:lnTo>
                    <a:pt x="691" y="81"/>
                  </a:lnTo>
                  <a:lnTo>
                    <a:pt x="691" y="81"/>
                  </a:lnTo>
                  <a:lnTo>
                    <a:pt x="691" y="83"/>
                  </a:lnTo>
                  <a:lnTo>
                    <a:pt x="695" y="83"/>
                  </a:lnTo>
                  <a:lnTo>
                    <a:pt x="698" y="87"/>
                  </a:lnTo>
                  <a:lnTo>
                    <a:pt x="695" y="91"/>
                  </a:lnTo>
                  <a:lnTo>
                    <a:pt x="692" y="91"/>
                  </a:lnTo>
                  <a:lnTo>
                    <a:pt x="691" y="93"/>
                  </a:lnTo>
                  <a:lnTo>
                    <a:pt x="689" y="93"/>
                  </a:lnTo>
                  <a:lnTo>
                    <a:pt x="689" y="94"/>
                  </a:lnTo>
                  <a:lnTo>
                    <a:pt x="686" y="96"/>
                  </a:lnTo>
                  <a:lnTo>
                    <a:pt x="688" y="97"/>
                  </a:lnTo>
                  <a:lnTo>
                    <a:pt x="688" y="99"/>
                  </a:lnTo>
                  <a:lnTo>
                    <a:pt x="692" y="99"/>
                  </a:lnTo>
                  <a:lnTo>
                    <a:pt x="695" y="104"/>
                  </a:lnTo>
                  <a:lnTo>
                    <a:pt x="698" y="106"/>
                  </a:lnTo>
                  <a:lnTo>
                    <a:pt x="702" y="104"/>
                  </a:lnTo>
                  <a:lnTo>
                    <a:pt x="704" y="102"/>
                  </a:lnTo>
                  <a:lnTo>
                    <a:pt x="707" y="100"/>
                  </a:lnTo>
                  <a:lnTo>
                    <a:pt x="707" y="103"/>
                  </a:lnTo>
                  <a:lnTo>
                    <a:pt x="705" y="104"/>
                  </a:lnTo>
                  <a:lnTo>
                    <a:pt x="707" y="104"/>
                  </a:lnTo>
                  <a:lnTo>
                    <a:pt x="708" y="107"/>
                  </a:lnTo>
                  <a:lnTo>
                    <a:pt x="710" y="106"/>
                  </a:lnTo>
                  <a:lnTo>
                    <a:pt x="713" y="107"/>
                  </a:lnTo>
                  <a:lnTo>
                    <a:pt x="713" y="106"/>
                  </a:lnTo>
                  <a:lnTo>
                    <a:pt x="714" y="109"/>
                  </a:lnTo>
                  <a:lnTo>
                    <a:pt x="713" y="112"/>
                  </a:lnTo>
                  <a:lnTo>
                    <a:pt x="713" y="113"/>
                  </a:lnTo>
                  <a:lnTo>
                    <a:pt x="710" y="112"/>
                  </a:lnTo>
                  <a:lnTo>
                    <a:pt x="708" y="112"/>
                  </a:lnTo>
                  <a:lnTo>
                    <a:pt x="705" y="112"/>
                  </a:lnTo>
                  <a:lnTo>
                    <a:pt x="713" y="120"/>
                  </a:lnTo>
                  <a:lnTo>
                    <a:pt x="714" y="122"/>
                  </a:lnTo>
                  <a:lnTo>
                    <a:pt x="715" y="123"/>
                  </a:lnTo>
                  <a:lnTo>
                    <a:pt x="717" y="128"/>
                  </a:lnTo>
                  <a:lnTo>
                    <a:pt x="717" y="129"/>
                  </a:lnTo>
                  <a:lnTo>
                    <a:pt x="720" y="133"/>
                  </a:lnTo>
                  <a:lnTo>
                    <a:pt x="718" y="145"/>
                  </a:lnTo>
                  <a:lnTo>
                    <a:pt x="721" y="152"/>
                  </a:lnTo>
                  <a:lnTo>
                    <a:pt x="726" y="145"/>
                  </a:lnTo>
                  <a:lnTo>
                    <a:pt x="726" y="139"/>
                  </a:lnTo>
                  <a:lnTo>
                    <a:pt x="727" y="138"/>
                  </a:lnTo>
                  <a:lnTo>
                    <a:pt x="728" y="138"/>
                  </a:lnTo>
                  <a:lnTo>
                    <a:pt x="728" y="125"/>
                  </a:lnTo>
                  <a:lnTo>
                    <a:pt x="731" y="120"/>
                  </a:lnTo>
                  <a:lnTo>
                    <a:pt x="733" y="116"/>
                  </a:lnTo>
                  <a:lnTo>
                    <a:pt x="736" y="115"/>
                  </a:lnTo>
                  <a:lnTo>
                    <a:pt x="740" y="115"/>
                  </a:lnTo>
                  <a:lnTo>
                    <a:pt x="742" y="120"/>
                  </a:lnTo>
                  <a:lnTo>
                    <a:pt x="744" y="125"/>
                  </a:lnTo>
                  <a:lnTo>
                    <a:pt x="752" y="131"/>
                  </a:lnTo>
                  <a:lnTo>
                    <a:pt x="756" y="154"/>
                  </a:lnTo>
                  <a:lnTo>
                    <a:pt x="755" y="155"/>
                  </a:lnTo>
                  <a:lnTo>
                    <a:pt x="752" y="154"/>
                  </a:lnTo>
                  <a:lnTo>
                    <a:pt x="750" y="154"/>
                  </a:lnTo>
                  <a:lnTo>
                    <a:pt x="750" y="149"/>
                  </a:lnTo>
                  <a:lnTo>
                    <a:pt x="749" y="155"/>
                  </a:lnTo>
                  <a:lnTo>
                    <a:pt x="749" y="160"/>
                  </a:lnTo>
                  <a:lnTo>
                    <a:pt x="749" y="167"/>
                  </a:lnTo>
                  <a:lnTo>
                    <a:pt x="760" y="190"/>
                  </a:lnTo>
                  <a:lnTo>
                    <a:pt x="763" y="193"/>
                  </a:lnTo>
                  <a:lnTo>
                    <a:pt x="766" y="192"/>
                  </a:lnTo>
                  <a:lnTo>
                    <a:pt x="768" y="187"/>
                  </a:lnTo>
                  <a:lnTo>
                    <a:pt x="769" y="186"/>
                  </a:lnTo>
                  <a:lnTo>
                    <a:pt x="771" y="187"/>
                  </a:lnTo>
                  <a:lnTo>
                    <a:pt x="772" y="186"/>
                  </a:lnTo>
                  <a:lnTo>
                    <a:pt x="772" y="186"/>
                  </a:lnTo>
                  <a:lnTo>
                    <a:pt x="773" y="187"/>
                  </a:lnTo>
                  <a:lnTo>
                    <a:pt x="775" y="176"/>
                  </a:lnTo>
                  <a:lnTo>
                    <a:pt x="778" y="170"/>
                  </a:lnTo>
                  <a:lnTo>
                    <a:pt x="781" y="165"/>
                  </a:lnTo>
                  <a:lnTo>
                    <a:pt x="784" y="157"/>
                  </a:lnTo>
                  <a:lnTo>
                    <a:pt x="784" y="154"/>
                  </a:lnTo>
                  <a:lnTo>
                    <a:pt x="785" y="152"/>
                  </a:lnTo>
                  <a:lnTo>
                    <a:pt x="787" y="139"/>
                  </a:lnTo>
                  <a:lnTo>
                    <a:pt x="787" y="138"/>
                  </a:lnTo>
                  <a:lnTo>
                    <a:pt x="791" y="138"/>
                  </a:lnTo>
                  <a:lnTo>
                    <a:pt x="791" y="135"/>
                  </a:lnTo>
                  <a:lnTo>
                    <a:pt x="792" y="136"/>
                  </a:lnTo>
                  <a:lnTo>
                    <a:pt x="795" y="135"/>
                  </a:lnTo>
                  <a:lnTo>
                    <a:pt x="798" y="136"/>
                  </a:lnTo>
                  <a:lnTo>
                    <a:pt x="801" y="135"/>
                  </a:lnTo>
                  <a:lnTo>
                    <a:pt x="800" y="133"/>
                  </a:lnTo>
                  <a:lnTo>
                    <a:pt x="797" y="133"/>
                  </a:lnTo>
                  <a:lnTo>
                    <a:pt x="795" y="132"/>
                  </a:lnTo>
                  <a:lnTo>
                    <a:pt x="797" y="129"/>
                  </a:lnTo>
                  <a:lnTo>
                    <a:pt x="795" y="129"/>
                  </a:lnTo>
                  <a:lnTo>
                    <a:pt x="798" y="129"/>
                  </a:lnTo>
                  <a:lnTo>
                    <a:pt x="798" y="126"/>
                  </a:lnTo>
                  <a:lnTo>
                    <a:pt x="798" y="126"/>
                  </a:lnTo>
                  <a:lnTo>
                    <a:pt x="801" y="126"/>
                  </a:lnTo>
                  <a:lnTo>
                    <a:pt x="801" y="123"/>
                  </a:lnTo>
                  <a:lnTo>
                    <a:pt x="800" y="123"/>
                  </a:lnTo>
                  <a:lnTo>
                    <a:pt x="797" y="122"/>
                  </a:lnTo>
                  <a:lnTo>
                    <a:pt x="794" y="120"/>
                  </a:lnTo>
                  <a:lnTo>
                    <a:pt x="792" y="118"/>
                  </a:lnTo>
                  <a:lnTo>
                    <a:pt x="791" y="115"/>
                  </a:lnTo>
                  <a:lnTo>
                    <a:pt x="791" y="112"/>
                  </a:lnTo>
                  <a:lnTo>
                    <a:pt x="791" y="110"/>
                  </a:lnTo>
                  <a:lnTo>
                    <a:pt x="791" y="106"/>
                  </a:lnTo>
                  <a:lnTo>
                    <a:pt x="791" y="103"/>
                  </a:lnTo>
                  <a:lnTo>
                    <a:pt x="789" y="100"/>
                  </a:lnTo>
                  <a:lnTo>
                    <a:pt x="791" y="93"/>
                  </a:lnTo>
                  <a:lnTo>
                    <a:pt x="795" y="94"/>
                  </a:lnTo>
                  <a:lnTo>
                    <a:pt x="798" y="93"/>
                  </a:lnTo>
                  <a:lnTo>
                    <a:pt x="804" y="91"/>
                  </a:lnTo>
                  <a:lnTo>
                    <a:pt x="808" y="93"/>
                  </a:lnTo>
                  <a:lnTo>
                    <a:pt x="811" y="96"/>
                  </a:lnTo>
                  <a:lnTo>
                    <a:pt x="817" y="99"/>
                  </a:lnTo>
                  <a:lnTo>
                    <a:pt x="823" y="99"/>
                  </a:lnTo>
                  <a:lnTo>
                    <a:pt x="826" y="100"/>
                  </a:lnTo>
                  <a:lnTo>
                    <a:pt x="829" y="99"/>
                  </a:lnTo>
                  <a:lnTo>
                    <a:pt x="830" y="97"/>
                  </a:lnTo>
                  <a:lnTo>
                    <a:pt x="832" y="100"/>
                  </a:lnTo>
                  <a:lnTo>
                    <a:pt x="832" y="106"/>
                  </a:lnTo>
                  <a:lnTo>
                    <a:pt x="830" y="107"/>
                  </a:lnTo>
                  <a:lnTo>
                    <a:pt x="832" y="107"/>
                  </a:lnTo>
                  <a:lnTo>
                    <a:pt x="836" y="115"/>
                  </a:lnTo>
                  <a:lnTo>
                    <a:pt x="836" y="118"/>
                  </a:lnTo>
                  <a:lnTo>
                    <a:pt x="836" y="118"/>
                  </a:lnTo>
                  <a:lnTo>
                    <a:pt x="843" y="116"/>
                  </a:lnTo>
                  <a:lnTo>
                    <a:pt x="846" y="119"/>
                  </a:lnTo>
                  <a:lnTo>
                    <a:pt x="849" y="119"/>
                  </a:lnTo>
                  <a:lnTo>
                    <a:pt x="849" y="122"/>
                  </a:lnTo>
                  <a:lnTo>
                    <a:pt x="846" y="125"/>
                  </a:lnTo>
                  <a:lnTo>
                    <a:pt x="842" y="129"/>
                  </a:lnTo>
                  <a:lnTo>
                    <a:pt x="840" y="132"/>
                  </a:lnTo>
                  <a:lnTo>
                    <a:pt x="849" y="133"/>
                  </a:lnTo>
                  <a:lnTo>
                    <a:pt x="850" y="136"/>
                  </a:lnTo>
                  <a:lnTo>
                    <a:pt x="850" y="141"/>
                  </a:lnTo>
                  <a:lnTo>
                    <a:pt x="849" y="142"/>
                  </a:lnTo>
                  <a:lnTo>
                    <a:pt x="846" y="145"/>
                  </a:lnTo>
                  <a:lnTo>
                    <a:pt x="843" y="145"/>
                  </a:lnTo>
                  <a:lnTo>
                    <a:pt x="842" y="149"/>
                  </a:lnTo>
                  <a:lnTo>
                    <a:pt x="840" y="148"/>
                  </a:lnTo>
                  <a:lnTo>
                    <a:pt x="839" y="144"/>
                  </a:lnTo>
                  <a:lnTo>
                    <a:pt x="837" y="145"/>
                  </a:lnTo>
                  <a:lnTo>
                    <a:pt x="836" y="147"/>
                  </a:lnTo>
                  <a:lnTo>
                    <a:pt x="832" y="145"/>
                  </a:lnTo>
                  <a:lnTo>
                    <a:pt x="832" y="147"/>
                  </a:lnTo>
                  <a:lnTo>
                    <a:pt x="836" y="152"/>
                  </a:lnTo>
                  <a:lnTo>
                    <a:pt x="834" y="154"/>
                  </a:lnTo>
                  <a:lnTo>
                    <a:pt x="834" y="154"/>
                  </a:lnTo>
                  <a:lnTo>
                    <a:pt x="836" y="155"/>
                  </a:lnTo>
                  <a:lnTo>
                    <a:pt x="836" y="158"/>
                  </a:lnTo>
                  <a:lnTo>
                    <a:pt x="840" y="157"/>
                  </a:lnTo>
                  <a:lnTo>
                    <a:pt x="839" y="165"/>
                  </a:lnTo>
                  <a:lnTo>
                    <a:pt x="839" y="168"/>
                  </a:lnTo>
                  <a:lnTo>
                    <a:pt x="850" y="184"/>
                  </a:lnTo>
                  <a:lnTo>
                    <a:pt x="850" y="186"/>
                  </a:lnTo>
                  <a:lnTo>
                    <a:pt x="849" y="187"/>
                  </a:lnTo>
                  <a:lnTo>
                    <a:pt x="849" y="192"/>
                  </a:lnTo>
                  <a:lnTo>
                    <a:pt x="849" y="195"/>
                  </a:lnTo>
                  <a:lnTo>
                    <a:pt x="848" y="196"/>
                  </a:lnTo>
                  <a:lnTo>
                    <a:pt x="848" y="197"/>
                  </a:lnTo>
                  <a:lnTo>
                    <a:pt x="845" y="200"/>
                  </a:lnTo>
                  <a:lnTo>
                    <a:pt x="840" y="205"/>
                  </a:lnTo>
                  <a:lnTo>
                    <a:pt x="839" y="206"/>
                  </a:lnTo>
                  <a:lnTo>
                    <a:pt x="832" y="216"/>
                  </a:lnTo>
                  <a:lnTo>
                    <a:pt x="826" y="218"/>
                  </a:lnTo>
                  <a:lnTo>
                    <a:pt x="826" y="221"/>
                  </a:lnTo>
                  <a:lnTo>
                    <a:pt x="823" y="224"/>
                  </a:lnTo>
                  <a:lnTo>
                    <a:pt x="820" y="224"/>
                  </a:lnTo>
                  <a:lnTo>
                    <a:pt x="820" y="222"/>
                  </a:lnTo>
                  <a:lnTo>
                    <a:pt x="818" y="221"/>
                  </a:lnTo>
                  <a:lnTo>
                    <a:pt x="813" y="216"/>
                  </a:lnTo>
                  <a:lnTo>
                    <a:pt x="811" y="212"/>
                  </a:lnTo>
                  <a:lnTo>
                    <a:pt x="810" y="215"/>
                  </a:lnTo>
                  <a:lnTo>
                    <a:pt x="810" y="216"/>
                  </a:lnTo>
                  <a:lnTo>
                    <a:pt x="813" y="222"/>
                  </a:lnTo>
                  <a:lnTo>
                    <a:pt x="813" y="225"/>
                  </a:lnTo>
                  <a:lnTo>
                    <a:pt x="816" y="229"/>
                  </a:lnTo>
                  <a:lnTo>
                    <a:pt x="814" y="231"/>
                  </a:lnTo>
                  <a:lnTo>
                    <a:pt x="814" y="229"/>
                  </a:lnTo>
                  <a:lnTo>
                    <a:pt x="811" y="229"/>
                  </a:lnTo>
                  <a:lnTo>
                    <a:pt x="808" y="225"/>
                  </a:lnTo>
                  <a:lnTo>
                    <a:pt x="805" y="225"/>
                  </a:lnTo>
                  <a:lnTo>
                    <a:pt x="805" y="224"/>
                  </a:lnTo>
                  <a:lnTo>
                    <a:pt x="804" y="224"/>
                  </a:lnTo>
                  <a:lnTo>
                    <a:pt x="804" y="229"/>
                  </a:lnTo>
                  <a:lnTo>
                    <a:pt x="800" y="228"/>
                  </a:lnTo>
                  <a:lnTo>
                    <a:pt x="798" y="229"/>
                  </a:lnTo>
                  <a:lnTo>
                    <a:pt x="795" y="226"/>
                  </a:lnTo>
                  <a:lnTo>
                    <a:pt x="795" y="228"/>
                  </a:lnTo>
                  <a:lnTo>
                    <a:pt x="792" y="216"/>
                  </a:lnTo>
                  <a:lnTo>
                    <a:pt x="789" y="216"/>
                  </a:lnTo>
                  <a:lnTo>
                    <a:pt x="785" y="221"/>
                  </a:lnTo>
                  <a:lnTo>
                    <a:pt x="785" y="219"/>
                  </a:lnTo>
                  <a:lnTo>
                    <a:pt x="784" y="219"/>
                  </a:lnTo>
                  <a:lnTo>
                    <a:pt x="776" y="218"/>
                  </a:lnTo>
                  <a:lnTo>
                    <a:pt x="773" y="219"/>
                  </a:lnTo>
                  <a:lnTo>
                    <a:pt x="773" y="221"/>
                  </a:lnTo>
                  <a:lnTo>
                    <a:pt x="772" y="222"/>
                  </a:lnTo>
                  <a:lnTo>
                    <a:pt x="773" y="225"/>
                  </a:lnTo>
                  <a:lnTo>
                    <a:pt x="779" y="228"/>
                  </a:lnTo>
                  <a:lnTo>
                    <a:pt x="781" y="228"/>
                  </a:lnTo>
                  <a:lnTo>
                    <a:pt x="782" y="229"/>
                  </a:lnTo>
                  <a:lnTo>
                    <a:pt x="782" y="235"/>
                  </a:lnTo>
                  <a:lnTo>
                    <a:pt x="781" y="235"/>
                  </a:lnTo>
                  <a:lnTo>
                    <a:pt x="781" y="237"/>
                  </a:lnTo>
                  <a:lnTo>
                    <a:pt x="775" y="247"/>
                  </a:lnTo>
                  <a:lnTo>
                    <a:pt x="773" y="250"/>
                  </a:lnTo>
                  <a:lnTo>
                    <a:pt x="773" y="251"/>
                  </a:lnTo>
                  <a:lnTo>
                    <a:pt x="769" y="253"/>
                  </a:lnTo>
                  <a:lnTo>
                    <a:pt x="768" y="257"/>
                  </a:lnTo>
                  <a:lnTo>
                    <a:pt x="766" y="258"/>
                  </a:lnTo>
                  <a:lnTo>
                    <a:pt x="755" y="260"/>
                  </a:lnTo>
                  <a:lnTo>
                    <a:pt x="752" y="256"/>
                  </a:lnTo>
                  <a:lnTo>
                    <a:pt x="744" y="248"/>
                  </a:lnTo>
                  <a:lnTo>
                    <a:pt x="744" y="248"/>
                  </a:lnTo>
                  <a:lnTo>
                    <a:pt x="739" y="245"/>
                  </a:lnTo>
                  <a:lnTo>
                    <a:pt x="733" y="241"/>
                  </a:lnTo>
                  <a:lnTo>
                    <a:pt x="731" y="241"/>
                  </a:lnTo>
                  <a:lnTo>
                    <a:pt x="728" y="242"/>
                  </a:lnTo>
                  <a:lnTo>
                    <a:pt x="726" y="241"/>
                  </a:lnTo>
                  <a:lnTo>
                    <a:pt x="724" y="244"/>
                  </a:lnTo>
                  <a:lnTo>
                    <a:pt x="728" y="247"/>
                  </a:lnTo>
                  <a:lnTo>
                    <a:pt x="740" y="260"/>
                  </a:lnTo>
                  <a:lnTo>
                    <a:pt x="753" y="263"/>
                  </a:lnTo>
                  <a:lnTo>
                    <a:pt x="756" y="263"/>
                  </a:lnTo>
                  <a:lnTo>
                    <a:pt x="768" y="263"/>
                  </a:lnTo>
                  <a:lnTo>
                    <a:pt x="769" y="264"/>
                  </a:lnTo>
                  <a:lnTo>
                    <a:pt x="771" y="264"/>
                  </a:lnTo>
                  <a:lnTo>
                    <a:pt x="768" y="270"/>
                  </a:lnTo>
                  <a:lnTo>
                    <a:pt x="768" y="273"/>
                  </a:lnTo>
                  <a:lnTo>
                    <a:pt x="765" y="276"/>
                  </a:lnTo>
                  <a:lnTo>
                    <a:pt x="765" y="280"/>
                  </a:lnTo>
                  <a:lnTo>
                    <a:pt x="762" y="282"/>
                  </a:lnTo>
                  <a:lnTo>
                    <a:pt x="760" y="286"/>
                  </a:lnTo>
                  <a:lnTo>
                    <a:pt x="758" y="288"/>
                  </a:lnTo>
                  <a:lnTo>
                    <a:pt x="758" y="292"/>
                  </a:lnTo>
                  <a:lnTo>
                    <a:pt x="753" y="299"/>
                  </a:lnTo>
                  <a:lnTo>
                    <a:pt x="752" y="299"/>
                  </a:lnTo>
                  <a:lnTo>
                    <a:pt x="749" y="302"/>
                  </a:lnTo>
                  <a:lnTo>
                    <a:pt x="744" y="305"/>
                  </a:lnTo>
                  <a:lnTo>
                    <a:pt x="740" y="304"/>
                  </a:lnTo>
                  <a:lnTo>
                    <a:pt x="739" y="305"/>
                  </a:lnTo>
                  <a:lnTo>
                    <a:pt x="733" y="301"/>
                  </a:lnTo>
                  <a:lnTo>
                    <a:pt x="733" y="302"/>
                  </a:lnTo>
                  <a:lnTo>
                    <a:pt x="733" y="304"/>
                  </a:lnTo>
                  <a:lnTo>
                    <a:pt x="731" y="301"/>
                  </a:lnTo>
                  <a:lnTo>
                    <a:pt x="730" y="301"/>
                  </a:lnTo>
                  <a:lnTo>
                    <a:pt x="728" y="299"/>
                  </a:lnTo>
                  <a:lnTo>
                    <a:pt x="727" y="299"/>
                  </a:lnTo>
                  <a:lnTo>
                    <a:pt x="728" y="302"/>
                  </a:lnTo>
                  <a:lnTo>
                    <a:pt x="728" y="304"/>
                  </a:lnTo>
                  <a:lnTo>
                    <a:pt x="728" y="306"/>
                  </a:lnTo>
                  <a:lnTo>
                    <a:pt x="728" y="306"/>
                  </a:lnTo>
                  <a:lnTo>
                    <a:pt x="727" y="306"/>
                  </a:lnTo>
                  <a:lnTo>
                    <a:pt x="726" y="305"/>
                  </a:lnTo>
                  <a:lnTo>
                    <a:pt x="726" y="308"/>
                  </a:lnTo>
                  <a:lnTo>
                    <a:pt x="727" y="311"/>
                  </a:lnTo>
                  <a:lnTo>
                    <a:pt x="723" y="317"/>
                  </a:lnTo>
                  <a:lnTo>
                    <a:pt x="721" y="317"/>
                  </a:lnTo>
                  <a:lnTo>
                    <a:pt x="721" y="319"/>
                  </a:lnTo>
                  <a:lnTo>
                    <a:pt x="720" y="319"/>
                  </a:lnTo>
                  <a:lnTo>
                    <a:pt x="718" y="318"/>
                  </a:lnTo>
                  <a:lnTo>
                    <a:pt x="717" y="321"/>
                  </a:lnTo>
                  <a:lnTo>
                    <a:pt x="715" y="319"/>
                  </a:lnTo>
                  <a:lnTo>
                    <a:pt x="714" y="318"/>
                  </a:lnTo>
                  <a:lnTo>
                    <a:pt x="713" y="317"/>
                  </a:lnTo>
                  <a:lnTo>
                    <a:pt x="710" y="315"/>
                  </a:lnTo>
                  <a:lnTo>
                    <a:pt x="707" y="312"/>
                  </a:lnTo>
                  <a:lnTo>
                    <a:pt x="705" y="314"/>
                  </a:lnTo>
                  <a:lnTo>
                    <a:pt x="704" y="309"/>
                  </a:lnTo>
                  <a:lnTo>
                    <a:pt x="702" y="312"/>
                  </a:lnTo>
                  <a:lnTo>
                    <a:pt x="699" y="312"/>
                  </a:lnTo>
                  <a:lnTo>
                    <a:pt x="698" y="311"/>
                  </a:lnTo>
                  <a:lnTo>
                    <a:pt x="698" y="312"/>
                  </a:lnTo>
                  <a:lnTo>
                    <a:pt x="695" y="312"/>
                  </a:lnTo>
                  <a:lnTo>
                    <a:pt x="689" y="309"/>
                  </a:lnTo>
                  <a:lnTo>
                    <a:pt x="688" y="308"/>
                  </a:lnTo>
                  <a:lnTo>
                    <a:pt x="676" y="302"/>
                  </a:lnTo>
                  <a:lnTo>
                    <a:pt x="675" y="306"/>
                  </a:lnTo>
                  <a:lnTo>
                    <a:pt x="675" y="308"/>
                  </a:lnTo>
                  <a:lnTo>
                    <a:pt x="678" y="309"/>
                  </a:lnTo>
                  <a:lnTo>
                    <a:pt x="679" y="309"/>
                  </a:lnTo>
                  <a:lnTo>
                    <a:pt x="679" y="308"/>
                  </a:lnTo>
                  <a:lnTo>
                    <a:pt x="679" y="306"/>
                  </a:lnTo>
                  <a:lnTo>
                    <a:pt x="681" y="308"/>
                  </a:lnTo>
                  <a:lnTo>
                    <a:pt x="688" y="311"/>
                  </a:lnTo>
                  <a:lnTo>
                    <a:pt x="689" y="312"/>
                  </a:lnTo>
                  <a:lnTo>
                    <a:pt x="689" y="314"/>
                  </a:lnTo>
                  <a:lnTo>
                    <a:pt x="691" y="312"/>
                  </a:lnTo>
                  <a:lnTo>
                    <a:pt x="697" y="314"/>
                  </a:lnTo>
                  <a:lnTo>
                    <a:pt x="697" y="315"/>
                  </a:lnTo>
                  <a:lnTo>
                    <a:pt x="694" y="317"/>
                  </a:lnTo>
                  <a:lnTo>
                    <a:pt x="694" y="318"/>
                  </a:lnTo>
                  <a:lnTo>
                    <a:pt x="695" y="318"/>
                  </a:lnTo>
                  <a:lnTo>
                    <a:pt x="697" y="317"/>
                  </a:lnTo>
                  <a:lnTo>
                    <a:pt x="698" y="315"/>
                  </a:lnTo>
                  <a:lnTo>
                    <a:pt x="701" y="314"/>
                  </a:lnTo>
                  <a:lnTo>
                    <a:pt x="702" y="315"/>
                  </a:lnTo>
                  <a:lnTo>
                    <a:pt x="704" y="317"/>
                  </a:lnTo>
                  <a:lnTo>
                    <a:pt x="707" y="319"/>
                  </a:lnTo>
                  <a:lnTo>
                    <a:pt x="710" y="321"/>
                  </a:lnTo>
                  <a:lnTo>
                    <a:pt x="711" y="322"/>
                  </a:lnTo>
                  <a:lnTo>
                    <a:pt x="713" y="321"/>
                  </a:lnTo>
                  <a:lnTo>
                    <a:pt x="714" y="322"/>
                  </a:lnTo>
                  <a:lnTo>
                    <a:pt x="714" y="324"/>
                  </a:lnTo>
                  <a:lnTo>
                    <a:pt x="715" y="327"/>
                  </a:lnTo>
                  <a:lnTo>
                    <a:pt x="717" y="334"/>
                  </a:lnTo>
                  <a:lnTo>
                    <a:pt x="717" y="337"/>
                  </a:lnTo>
                  <a:lnTo>
                    <a:pt x="717" y="338"/>
                  </a:lnTo>
                  <a:lnTo>
                    <a:pt x="715" y="340"/>
                  </a:lnTo>
                  <a:lnTo>
                    <a:pt x="710" y="340"/>
                  </a:lnTo>
                  <a:lnTo>
                    <a:pt x="708" y="341"/>
                  </a:lnTo>
                  <a:lnTo>
                    <a:pt x="705" y="343"/>
                  </a:lnTo>
                  <a:lnTo>
                    <a:pt x="697" y="343"/>
                  </a:lnTo>
                  <a:lnTo>
                    <a:pt x="694" y="343"/>
                  </a:lnTo>
                  <a:lnTo>
                    <a:pt x="691" y="343"/>
                  </a:lnTo>
                  <a:lnTo>
                    <a:pt x="691" y="344"/>
                  </a:lnTo>
                  <a:lnTo>
                    <a:pt x="692" y="349"/>
                  </a:lnTo>
                  <a:lnTo>
                    <a:pt x="697" y="347"/>
                  </a:lnTo>
                  <a:lnTo>
                    <a:pt x="698" y="350"/>
                  </a:lnTo>
                  <a:lnTo>
                    <a:pt x="694" y="350"/>
                  </a:lnTo>
                  <a:lnTo>
                    <a:pt x="692" y="350"/>
                  </a:lnTo>
                  <a:lnTo>
                    <a:pt x="689" y="350"/>
                  </a:lnTo>
                  <a:lnTo>
                    <a:pt x="688" y="357"/>
                  </a:lnTo>
                  <a:lnTo>
                    <a:pt x="689" y="366"/>
                  </a:lnTo>
                  <a:lnTo>
                    <a:pt x="685" y="360"/>
                  </a:lnTo>
                  <a:lnTo>
                    <a:pt x="683" y="362"/>
                  </a:lnTo>
                  <a:lnTo>
                    <a:pt x="683" y="363"/>
                  </a:lnTo>
                  <a:lnTo>
                    <a:pt x="681" y="365"/>
                  </a:lnTo>
                  <a:lnTo>
                    <a:pt x="681" y="366"/>
                  </a:lnTo>
                  <a:lnTo>
                    <a:pt x="681" y="369"/>
                  </a:lnTo>
                  <a:lnTo>
                    <a:pt x="681" y="370"/>
                  </a:lnTo>
                  <a:lnTo>
                    <a:pt x="676" y="370"/>
                  </a:lnTo>
                  <a:lnTo>
                    <a:pt x="676" y="373"/>
                  </a:lnTo>
                  <a:lnTo>
                    <a:pt x="678" y="373"/>
                  </a:lnTo>
                  <a:lnTo>
                    <a:pt x="675" y="379"/>
                  </a:lnTo>
                  <a:lnTo>
                    <a:pt x="667" y="385"/>
                  </a:lnTo>
                  <a:lnTo>
                    <a:pt x="662" y="385"/>
                  </a:lnTo>
                  <a:lnTo>
                    <a:pt x="660" y="386"/>
                  </a:lnTo>
                  <a:lnTo>
                    <a:pt x="666" y="391"/>
                  </a:lnTo>
                  <a:lnTo>
                    <a:pt x="665" y="399"/>
                  </a:lnTo>
                  <a:lnTo>
                    <a:pt x="665" y="401"/>
                  </a:lnTo>
                  <a:lnTo>
                    <a:pt x="662" y="401"/>
                  </a:lnTo>
                  <a:lnTo>
                    <a:pt x="662" y="408"/>
                  </a:lnTo>
                  <a:lnTo>
                    <a:pt x="660" y="411"/>
                  </a:lnTo>
                  <a:lnTo>
                    <a:pt x="659" y="411"/>
                  </a:lnTo>
                  <a:lnTo>
                    <a:pt x="659" y="412"/>
                  </a:lnTo>
                  <a:lnTo>
                    <a:pt x="657" y="449"/>
                  </a:lnTo>
                  <a:lnTo>
                    <a:pt x="654" y="453"/>
                  </a:lnTo>
                  <a:lnTo>
                    <a:pt x="657" y="453"/>
                  </a:lnTo>
                  <a:lnTo>
                    <a:pt x="660" y="459"/>
                  </a:lnTo>
                  <a:lnTo>
                    <a:pt x="662" y="460"/>
                  </a:lnTo>
                  <a:lnTo>
                    <a:pt x="662" y="460"/>
                  </a:lnTo>
                  <a:lnTo>
                    <a:pt x="663" y="460"/>
                  </a:lnTo>
                  <a:lnTo>
                    <a:pt x="665" y="468"/>
                  </a:lnTo>
                  <a:lnTo>
                    <a:pt x="665" y="466"/>
                  </a:lnTo>
                  <a:lnTo>
                    <a:pt x="666" y="460"/>
                  </a:lnTo>
                  <a:lnTo>
                    <a:pt x="666" y="460"/>
                  </a:lnTo>
                  <a:lnTo>
                    <a:pt x="673" y="460"/>
                  </a:lnTo>
                  <a:lnTo>
                    <a:pt x="675" y="460"/>
                  </a:lnTo>
                  <a:lnTo>
                    <a:pt x="676" y="460"/>
                  </a:lnTo>
                  <a:lnTo>
                    <a:pt x="678" y="460"/>
                  </a:lnTo>
                  <a:lnTo>
                    <a:pt x="681" y="462"/>
                  </a:lnTo>
                  <a:lnTo>
                    <a:pt x="681" y="463"/>
                  </a:lnTo>
                  <a:lnTo>
                    <a:pt x="682" y="471"/>
                  </a:lnTo>
                  <a:lnTo>
                    <a:pt x="686" y="481"/>
                  </a:lnTo>
                  <a:lnTo>
                    <a:pt x="686" y="491"/>
                  </a:lnTo>
                  <a:lnTo>
                    <a:pt x="691" y="495"/>
                  </a:lnTo>
                  <a:lnTo>
                    <a:pt x="691" y="504"/>
                  </a:lnTo>
                  <a:lnTo>
                    <a:pt x="689" y="507"/>
                  </a:lnTo>
                  <a:lnTo>
                    <a:pt x="686" y="510"/>
                  </a:lnTo>
                  <a:lnTo>
                    <a:pt x="686" y="510"/>
                  </a:lnTo>
                  <a:lnTo>
                    <a:pt x="692" y="507"/>
                  </a:lnTo>
                  <a:lnTo>
                    <a:pt x="692" y="510"/>
                  </a:lnTo>
                  <a:lnTo>
                    <a:pt x="692" y="510"/>
                  </a:lnTo>
                  <a:lnTo>
                    <a:pt x="710" y="501"/>
                  </a:lnTo>
                  <a:lnTo>
                    <a:pt x="715" y="503"/>
                  </a:lnTo>
                  <a:lnTo>
                    <a:pt x="720" y="505"/>
                  </a:lnTo>
                  <a:lnTo>
                    <a:pt x="721" y="508"/>
                  </a:lnTo>
                  <a:lnTo>
                    <a:pt x="731" y="513"/>
                  </a:lnTo>
                  <a:lnTo>
                    <a:pt x="737" y="513"/>
                  </a:lnTo>
                  <a:lnTo>
                    <a:pt x="752" y="521"/>
                  </a:lnTo>
                  <a:lnTo>
                    <a:pt x="759" y="532"/>
                  </a:lnTo>
                  <a:lnTo>
                    <a:pt x="759" y="533"/>
                  </a:lnTo>
                  <a:lnTo>
                    <a:pt x="760" y="535"/>
                  </a:lnTo>
                  <a:lnTo>
                    <a:pt x="760" y="535"/>
                  </a:lnTo>
                  <a:lnTo>
                    <a:pt x="763" y="535"/>
                  </a:lnTo>
                  <a:lnTo>
                    <a:pt x="763" y="536"/>
                  </a:lnTo>
                  <a:lnTo>
                    <a:pt x="765" y="536"/>
                  </a:lnTo>
                  <a:lnTo>
                    <a:pt x="768" y="536"/>
                  </a:lnTo>
                  <a:lnTo>
                    <a:pt x="769" y="536"/>
                  </a:lnTo>
                  <a:lnTo>
                    <a:pt x="773" y="539"/>
                  </a:lnTo>
                  <a:lnTo>
                    <a:pt x="784" y="542"/>
                  </a:lnTo>
                  <a:lnTo>
                    <a:pt x="787" y="545"/>
                  </a:lnTo>
                  <a:lnTo>
                    <a:pt x="788" y="546"/>
                  </a:lnTo>
                  <a:lnTo>
                    <a:pt x="791" y="549"/>
                  </a:lnTo>
                  <a:lnTo>
                    <a:pt x="792" y="551"/>
                  </a:lnTo>
                  <a:lnTo>
                    <a:pt x="787" y="562"/>
                  </a:lnTo>
                  <a:lnTo>
                    <a:pt x="792" y="552"/>
                  </a:lnTo>
                  <a:lnTo>
                    <a:pt x="821" y="553"/>
                  </a:lnTo>
                  <a:lnTo>
                    <a:pt x="823" y="552"/>
                  </a:lnTo>
                  <a:lnTo>
                    <a:pt x="826" y="552"/>
                  </a:lnTo>
                  <a:lnTo>
                    <a:pt x="826" y="555"/>
                  </a:lnTo>
                  <a:lnTo>
                    <a:pt x="829" y="555"/>
                  </a:lnTo>
                  <a:lnTo>
                    <a:pt x="832" y="555"/>
                  </a:lnTo>
                  <a:lnTo>
                    <a:pt x="833" y="556"/>
                  </a:lnTo>
                  <a:lnTo>
                    <a:pt x="834" y="555"/>
                  </a:lnTo>
                  <a:lnTo>
                    <a:pt x="836" y="562"/>
                  </a:lnTo>
                  <a:lnTo>
                    <a:pt x="833" y="580"/>
                  </a:lnTo>
                  <a:lnTo>
                    <a:pt x="836" y="585"/>
                  </a:lnTo>
                  <a:lnTo>
                    <a:pt x="837" y="600"/>
                  </a:lnTo>
                  <a:lnTo>
                    <a:pt x="836" y="603"/>
                  </a:lnTo>
                  <a:lnTo>
                    <a:pt x="834" y="607"/>
                  </a:lnTo>
                  <a:lnTo>
                    <a:pt x="836" y="610"/>
                  </a:lnTo>
                  <a:lnTo>
                    <a:pt x="837" y="610"/>
                  </a:lnTo>
                  <a:lnTo>
                    <a:pt x="837" y="612"/>
                  </a:lnTo>
                  <a:lnTo>
                    <a:pt x="840" y="614"/>
                  </a:lnTo>
                  <a:lnTo>
                    <a:pt x="842" y="616"/>
                  </a:lnTo>
                  <a:lnTo>
                    <a:pt x="845" y="617"/>
                  </a:lnTo>
                  <a:lnTo>
                    <a:pt x="848" y="623"/>
                  </a:lnTo>
                  <a:lnTo>
                    <a:pt x="848" y="625"/>
                  </a:lnTo>
                  <a:lnTo>
                    <a:pt x="845" y="625"/>
                  </a:lnTo>
                  <a:lnTo>
                    <a:pt x="837" y="629"/>
                  </a:lnTo>
                  <a:lnTo>
                    <a:pt x="837" y="629"/>
                  </a:lnTo>
                  <a:lnTo>
                    <a:pt x="846" y="628"/>
                  </a:lnTo>
                  <a:lnTo>
                    <a:pt x="849" y="628"/>
                  </a:lnTo>
                  <a:lnTo>
                    <a:pt x="858" y="636"/>
                  </a:lnTo>
                  <a:lnTo>
                    <a:pt x="861" y="644"/>
                  </a:lnTo>
                  <a:lnTo>
                    <a:pt x="859" y="645"/>
                  </a:lnTo>
                  <a:lnTo>
                    <a:pt x="853" y="652"/>
                  </a:lnTo>
                  <a:lnTo>
                    <a:pt x="861" y="646"/>
                  </a:lnTo>
                  <a:lnTo>
                    <a:pt x="862" y="646"/>
                  </a:lnTo>
                  <a:lnTo>
                    <a:pt x="866" y="649"/>
                  </a:lnTo>
                  <a:lnTo>
                    <a:pt x="868" y="649"/>
                  </a:lnTo>
                  <a:lnTo>
                    <a:pt x="872" y="652"/>
                  </a:lnTo>
                  <a:lnTo>
                    <a:pt x="872" y="651"/>
                  </a:lnTo>
                  <a:lnTo>
                    <a:pt x="872" y="644"/>
                  </a:lnTo>
                  <a:lnTo>
                    <a:pt x="872" y="642"/>
                  </a:lnTo>
                  <a:lnTo>
                    <a:pt x="875" y="642"/>
                  </a:lnTo>
                  <a:lnTo>
                    <a:pt x="875" y="639"/>
                  </a:lnTo>
                  <a:lnTo>
                    <a:pt x="877" y="639"/>
                  </a:lnTo>
                  <a:lnTo>
                    <a:pt x="878" y="639"/>
                  </a:lnTo>
                  <a:lnTo>
                    <a:pt x="878" y="641"/>
                  </a:lnTo>
                  <a:lnTo>
                    <a:pt x="882" y="642"/>
                  </a:lnTo>
                  <a:lnTo>
                    <a:pt x="882" y="648"/>
                  </a:lnTo>
                  <a:lnTo>
                    <a:pt x="884" y="646"/>
                  </a:lnTo>
                  <a:lnTo>
                    <a:pt x="887" y="646"/>
                  </a:lnTo>
                  <a:lnTo>
                    <a:pt x="887" y="644"/>
                  </a:lnTo>
                  <a:lnTo>
                    <a:pt x="887" y="644"/>
                  </a:lnTo>
                  <a:lnTo>
                    <a:pt x="887" y="641"/>
                  </a:lnTo>
                  <a:lnTo>
                    <a:pt x="885" y="641"/>
                  </a:lnTo>
                  <a:lnTo>
                    <a:pt x="882" y="636"/>
                  </a:lnTo>
                  <a:lnTo>
                    <a:pt x="882" y="635"/>
                  </a:lnTo>
                  <a:lnTo>
                    <a:pt x="885" y="633"/>
                  </a:lnTo>
                  <a:lnTo>
                    <a:pt x="885" y="632"/>
                  </a:lnTo>
                  <a:lnTo>
                    <a:pt x="887" y="630"/>
                  </a:lnTo>
                  <a:lnTo>
                    <a:pt x="890" y="626"/>
                  </a:lnTo>
                  <a:lnTo>
                    <a:pt x="891" y="626"/>
                  </a:lnTo>
                  <a:lnTo>
                    <a:pt x="895" y="626"/>
                  </a:lnTo>
                  <a:lnTo>
                    <a:pt x="897" y="625"/>
                  </a:lnTo>
                  <a:lnTo>
                    <a:pt x="897" y="625"/>
                  </a:lnTo>
                  <a:lnTo>
                    <a:pt x="894" y="625"/>
                  </a:lnTo>
                  <a:lnTo>
                    <a:pt x="891" y="625"/>
                  </a:lnTo>
                  <a:lnTo>
                    <a:pt x="890" y="623"/>
                  </a:lnTo>
                  <a:lnTo>
                    <a:pt x="888" y="619"/>
                  </a:lnTo>
                  <a:lnTo>
                    <a:pt x="887" y="619"/>
                  </a:lnTo>
                  <a:lnTo>
                    <a:pt x="885" y="614"/>
                  </a:lnTo>
                  <a:lnTo>
                    <a:pt x="885" y="613"/>
                  </a:lnTo>
                  <a:lnTo>
                    <a:pt x="887" y="612"/>
                  </a:lnTo>
                  <a:lnTo>
                    <a:pt x="885" y="610"/>
                  </a:lnTo>
                  <a:lnTo>
                    <a:pt x="884" y="587"/>
                  </a:lnTo>
                  <a:lnTo>
                    <a:pt x="875" y="571"/>
                  </a:lnTo>
                  <a:lnTo>
                    <a:pt x="872" y="569"/>
                  </a:lnTo>
                  <a:lnTo>
                    <a:pt x="906" y="546"/>
                  </a:lnTo>
                  <a:lnTo>
                    <a:pt x="901" y="549"/>
                  </a:lnTo>
                  <a:lnTo>
                    <a:pt x="914" y="529"/>
                  </a:lnTo>
                  <a:lnTo>
                    <a:pt x="917" y="529"/>
                  </a:lnTo>
                  <a:lnTo>
                    <a:pt x="919" y="530"/>
                  </a:lnTo>
                  <a:lnTo>
                    <a:pt x="922" y="530"/>
                  </a:lnTo>
                  <a:lnTo>
                    <a:pt x="922" y="527"/>
                  </a:lnTo>
                  <a:lnTo>
                    <a:pt x="920" y="527"/>
                  </a:lnTo>
                  <a:lnTo>
                    <a:pt x="919" y="521"/>
                  </a:lnTo>
                  <a:lnTo>
                    <a:pt x="919" y="519"/>
                  </a:lnTo>
                  <a:lnTo>
                    <a:pt x="916" y="527"/>
                  </a:lnTo>
                  <a:lnTo>
                    <a:pt x="914" y="526"/>
                  </a:lnTo>
                  <a:lnTo>
                    <a:pt x="913" y="508"/>
                  </a:lnTo>
                  <a:lnTo>
                    <a:pt x="911" y="507"/>
                  </a:lnTo>
                  <a:lnTo>
                    <a:pt x="903" y="474"/>
                  </a:lnTo>
                  <a:lnTo>
                    <a:pt x="901" y="474"/>
                  </a:lnTo>
                  <a:lnTo>
                    <a:pt x="885" y="462"/>
                  </a:lnTo>
                  <a:lnTo>
                    <a:pt x="885" y="459"/>
                  </a:lnTo>
                  <a:lnTo>
                    <a:pt x="885" y="459"/>
                  </a:lnTo>
                  <a:lnTo>
                    <a:pt x="885" y="455"/>
                  </a:lnTo>
                  <a:lnTo>
                    <a:pt x="885" y="452"/>
                  </a:lnTo>
                  <a:lnTo>
                    <a:pt x="887" y="452"/>
                  </a:lnTo>
                  <a:lnTo>
                    <a:pt x="891" y="449"/>
                  </a:lnTo>
                  <a:lnTo>
                    <a:pt x="895" y="449"/>
                  </a:lnTo>
                  <a:lnTo>
                    <a:pt x="897" y="447"/>
                  </a:lnTo>
                  <a:lnTo>
                    <a:pt x="900" y="447"/>
                  </a:lnTo>
                  <a:lnTo>
                    <a:pt x="900" y="443"/>
                  </a:lnTo>
                  <a:lnTo>
                    <a:pt x="898" y="443"/>
                  </a:lnTo>
                  <a:lnTo>
                    <a:pt x="898" y="440"/>
                  </a:lnTo>
                  <a:lnTo>
                    <a:pt x="900" y="437"/>
                  </a:lnTo>
                  <a:lnTo>
                    <a:pt x="904" y="437"/>
                  </a:lnTo>
                  <a:lnTo>
                    <a:pt x="904" y="439"/>
                  </a:lnTo>
                  <a:lnTo>
                    <a:pt x="910" y="437"/>
                  </a:lnTo>
                  <a:lnTo>
                    <a:pt x="906" y="436"/>
                  </a:lnTo>
                  <a:lnTo>
                    <a:pt x="904" y="434"/>
                  </a:lnTo>
                  <a:lnTo>
                    <a:pt x="906" y="430"/>
                  </a:lnTo>
                  <a:lnTo>
                    <a:pt x="907" y="430"/>
                  </a:lnTo>
                  <a:lnTo>
                    <a:pt x="909" y="427"/>
                  </a:lnTo>
                  <a:lnTo>
                    <a:pt x="907" y="427"/>
                  </a:lnTo>
                  <a:lnTo>
                    <a:pt x="900" y="427"/>
                  </a:lnTo>
                  <a:lnTo>
                    <a:pt x="900" y="424"/>
                  </a:lnTo>
                  <a:lnTo>
                    <a:pt x="901" y="426"/>
                  </a:lnTo>
                  <a:lnTo>
                    <a:pt x="903" y="424"/>
                  </a:lnTo>
                  <a:lnTo>
                    <a:pt x="904" y="421"/>
                  </a:lnTo>
                  <a:lnTo>
                    <a:pt x="903" y="420"/>
                  </a:lnTo>
                  <a:lnTo>
                    <a:pt x="901" y="420"/>
                  </a:lnTo>
                  <a:lnTo>
                    <a:pt x="900" y="414"/>
                  </a:lnTo>
                  <a:lnTo>
                    <a:pt x="901" y="410"/>
                  </a:lnTo>
                  <a:lnTo>
                    <a:pt x="900" y="408"/>
                  </a:lnTo>
                  <a:lnTo>
                    <a:pt x="898" y="407"/>
                  </a:lnTo>
                  <a:lnTo>
                    <a:pt x="904" y="405"/>
                  </a:lnTo>
                  <a:lnTo>
                    <a:pt x="904" y="405"/>
                  </a:lnTo>
                  <a:lnTo>
                    <a:pt x="901" y="405"/>
                  </a:lnTo>
                  <a:lnTo>
                    <a:pt x="900" y="404"/>
                  </a:lnTo>
                  <a:lnTo>
                    <a:pt x="898" y="405"/>
                  </a:lnTo>
                  <a:lnTo>
                    <a:pt x="895" y="405"/>
                  </a:lnTo>
                  <a:lnTo>
                    <a:pt x="894" y="402"/>
                  </a:lnTo>
                  <a:lnTo>
                    <a:pt x="894" y="399"/>
                  </a:lnTo>
                  <a:lnTo>
                    <a:pt x="897" y="395"/>
                  </a:lnTo>
                  <a:lnTo>
                    <a:pt x="898" y="391"/>
                  </a:lnTo>
                  <a:lnTo>
                    <a:pt x="900" y="389"/>
                  </a:lnTo>
                  <a:lnTo>
                    <a:pt x="900" y="386"/>
                  </a:lnTo>
                  <a:lnTo>
                    <a:pt x="900" y="385"/>
                  </a:lnTo>
                  <a:lnTo>
                    <a:pt x="901" y="383"/>
                  </a:lnTo>
                  <a:lnTo>
                    <a:pt x="901" y="381"/>
                  </a:lnTo>
                  <a:lnTo>
                    <a:pt x="904" y="381"/>
                  </a:lnTo>
                  <a:lnTo>
                    <a:pt x="904" y="375"/>
                  </a:lnTo>
                  <a:lnTo>
                    <a:pt x="903" y="378"/>
                  </a:lnTo>
                  <a:lnTo>
                    <a:pt x="901" y="378"/>
                  </a:lnTo>
                  <a:lnTo>
                    <a:pt x="900" y="376"/>
                  </a:lnTo>
                  <a:lnTo>
                    <a:pt x="897" y="376"/>
                  </a:lnTo>
                  <a:lnTo>
                    <a:pt x="895" y="373"/>
                  </a:lnTo>
                  <a:lnTo>
                    <a:pt x="894" y="370"/>
                  </a:lnTo>
                  <a:lnTo>
                    <a:pt x="893" y="367"/>
                  </a:lnTo>
                  <a:lnTo>
                    <a:pt x="893" y="362"/>
                  </a:lnTo>
                  <a:lnTo>
                    <a:pt x="894" y="360"/>
                  </a:lnTo>
                  <a:lnTo>
                    <a:pt x="897" y="357"/>
                  </a:lnTo>
                  <a:lnTo>
                    <a:pt x="901" y="350"/>
                  </a:lnTo>
                  <a:lnTo>
                    <a:pt x="903" y="350"/>
                  </a:lnTo>
                  <a:lnTo>
                    <a:pt x="903" y="351"/>
                  </a:lnTo>
                  <a:lnTo>
                    <a:pt x="913" y="351"/>
                  </a:lnTo>
                  <a:lnTo>
                    <a:pt x="920" y="353"/>
                  </a:lnTo>
                  <a:lnTo>
                    <a:pt x="922" y="354"/>
                  </a:lnTo>
                  <a:lnTo>
                    <a:pt x="922" y="356"/>
                  </a:lnTo>
                  <a:lnTo>
                    <a:pt x="924" y="356"/>
                  </a:lnTo>
                  <a:lnTo>
                    <a:pt x="929" y="357"/>
                  </a:lnTo>
                  <a:lnTo>
                    <a:pt x="930" y="357"/>
                  </a:lnTo>
                  <a:lnTo>
                    <a:pt x="930" y="360"/>
                  </a:lnTo>
                  <a:lnTo>
                    <a:pt x="930" y="360"/>
                  </a:lnTo>
                  <a:lnTo>
                    <a:pt x="933" y="359"/>
                  </a:lnTo>
                  <a:lnTo>
                    <a:pt x="938" y="359"/>
                  </a:lnTo>
                  <a:lnTo>
                    <a:pt x="938" y="360"/>
                  </a:lnTo>
                  <a:lnTo>
                    <a:pt x="938" y="362"/>
                  </a:lnTo>
                  <a:lnTo>
                    <a:pt x="942" y="362"/>
                  </a:lnTo>
                  <a:lnTo>
                    <a:pt x="942" y="360"/>
                  </a:lnTo>
                  <a:lnTo>
                    <a:pt x="943" y="359"/>
                  </a:lnTo>
                  <a:lnTo>
                    <a:pt x="952" y="356"/>
                  </a:lnTo>
                  <a:lnTo>
                    <a:pt x="955" y="353"/>
                  </a:lnTo>
                  <a:lnTo>
                    <a:pt x="964" y="357"/>
                  </a:lnTo>
                  <a:lnTo>
                    <a:pt x="967" y="360"/>
                  </a:lnTo>
                  <a:lnTo>
                    <a:pt x="969" y="363"/>
                  </a:lnTo>
                  <a:lnTo>
                    <a:pt x="972" y="363"/>
                  </a:lnTo>
                  <a:lnTo>
                    <a:pt x="974" y="365"/>
                  </a:lnTo>
                  <a:lnTo>
                    <a:pt x="974" y="366"/>
                  </a:lnTo>
                  <a:lnTo>
                    <a:pt x="971" y="373"/>
                  </a:lnTo>
                  <a:lnTo>
                    <a:pt x="971" y="372"/>
                  </a:lnTo>
                  <a:lnTo>
                    <a:pt x="972" y="373"/>
                  </a:lnTo>
                  <a:lnTo>
                    <a:pt x="974" y="372"/>
                  </a:lnTo>
                  <a:lnTo>
                    <a:pt x="974" y="369"/>
                  </a:lnTo>
                  <a:lnTo>
                    <a:pt x="975" y="369"/>
                  </a:lnTo>
                  <a:lnTo>
                    <a:pt x="978" y="370"/>
                  </a:lnTo>
                  <a:lnTo>
                    <a:pt x="978" y="373"/>
                  </a:lnTo>
                  <a:lnTo>
                    <a:pt x="980" y="376"/>
                  </a:lnTo>
                  <a:lnTo>
                    <a:pt x="980" y="378"/>
                  </a:lnTo>
                  <a:lnTo>
                    <a:pt x="978" y="379"/>
                  </a:lnTo>
                  <a:lnTo>
                    <a:pt x="978" y="381"/>
                  </a:lnTo>
                  <a:lnTo>
                    <a:pt x="981" y="381"/>
                  </a:lnTo>
                  <a:lnTo>
                    <a:pt x="983" y="378"/>
                  </a:lnTo>
                  <a:lnTo>
                    <a:pt x="984" y="378"/>
                  </a:lnTo>
                  <a:lnTo>
                    <a:pt x="985" y="378"/>
                  </a:lnTo>
                  <a:lnTo>
                    <a:pt x="988" y="379"/>
                  </a:lnTo>
                  <a:lnTo>
                    <a:pt x="987" y="382"/>
                  </a:lnTo>
                  <a:lnTo>
                    <a:pt x="985" y="382"/>
                  </a:lnTo>
                  <a:lnTo>
                    <a:pt x="984" y="383"/>
                  </a:lnTo>
                  <a:lnTo>
                    <a:pt x="984" y="386"/>
                  </a:lnTo>
                  <a:lnTo>
                    <a:pt x="985" y="389"/>
                  </a:lnTo>
                  <a:lnTo>
                    <a:pt x="988" y="391"/>
                  </a:lnTo>
                  <a:lnTo>
                    <a:pt x="987" y="392"/>
                  </a:lnTo>
                  <a:lnTo>
                    <a:pt x="987" y="394"/>
                  </a:lnTo>
                  <a:lnTo>
                    <a:pt x="993" y="392"/>
                  </a:lnTo>
                  <a:lnTo>
                    <a:pt x="994" y="392"/>
                  </a:lnTo>
                  <a:lnTo>
                    <a:pt x="996" y="395"/>
                  </a:lnTo>
                  <a:lnTo>
                    <a:pt x="997" y="398"/>
                  </a:lnTo>
                  <a:lnTo>
                    <a:pt x="999" y="395"/>
                  </a:lnTo>
                  <a:lnTo>
                    <a:pt x="1003" y="397"/>
                  </a:lnTo>
                  <a:lnTo>
                    <a:pt x="1006" y="395"/>
                  </a:lnTo>
                  <a:lnTo>
                    <a:pt x="1007" y="397"/>
                  </a:lnTo>
                  <a:lnTo>
                    <a:pt x="1007" y="398"/>
                  </a:lnTo>
                  <a:lnTo>
                    <a:pt x="1007" y="401"/>
                  </a:lnTo>
                  <a:lnTo>
                    <a:pt x="1009" y="401"/>
                  </a:lnTo>
                  <a:lnTo>
                    <a:pt x="1015" y="398"/>
                  </a:lnTo>
                  <a:lnTo>
                    <a:pt x="1013" y="397"/>
                  </a:lnTo>
                  <a:lnTo>
                    <a:pt x="1016" y="395"/>
                  </a:lnTo>
                  <a:lnTo>
                    <a:pt x="1019" y="399"/>
                  </a:lnTo>
                  <a:lnTo>
                    <a:pt x="1019" y="401"/>
                  </a:lnTo>
                  <a:lnTo>
                    <a:pt x="1019" y="402"/>
                  </a:lnTo>
                  <a:lnTo>
                    <a:pt x="1015" y="407"/>
                  </a:lnTo>
                  <a:lnTo>
                    <a:pt x="1015" y="411"/>
                  </a:lnTo>
                  <a:lnTo>
                    <a:pt x="1015" y="414"/>
                  </a:lnTo>
                  <a:lnTo>
                    <a:pt x="1015" y="415"/>
                  </a:lnTo>
                  <a:lnTo>
                    <a:pt x="1016" y="415"/>
                  </a:lnTo>
                  <a:lnTo>
                    <a:pt x="1016" y="420"/>
                  </a:lnTo>
                  <a:lnTo>
                    <a:pt x="1019" y="424"/>
                  </a:lnTo>
                  <a:lnTo>
                    <a:pt x="1015" y="424"/>
                  </a:lnTo>
                  <a:lnTo>
                    <a:pt x="1015" y="426"/>
                  </a:lnTo>
                  <a:lnTo>
                    <a:pt x="1015" y="426"/>
                  </a:lnTo>
                  <a:lnTo>
                    <a:pt x="1000" y="426"/>
                  </a:lnTo>
                  <a:lnTo>
                    <a:pt x="997" y="424"/>
                  </a:lnTo>
                  <a:lnTo>
                    <a:pt x="994" y="424"/>
                  </a:lnTo>
                  <a:lnTo>
                    <a:pt x="993" y="424"/>
                  </a:lnTo>
                  <a:lnTo>
                    <a:pt x="997" y="426"/>
                  </a:lnTo>
                  <a:lnTo>
                    <a:pt x="1003" y="428"/>
                  </a:lnTo>
                  <a:lnTo>
                    <a:pt x="1012" y="428"/>
                  </a:lnTo>
                  <a:lnTo>
                    <a:pt x="1015" y="428"/>
                  </a:lnTo>
                  <a:lnTo>
                    <a:pt x="1019" y="431"/>
                  </a:lnTo>
                  <a:lnTo>
                    <a:pt x="1019" y="434"/>
                  </a:lnTo>
                  <a:lnTo>
                    <a:pt x="1019" y="436"/>
                  </a:lnTo>
                  <a:lnTo>
                    <a:pt x="1019" y="437"/>
                  </a:lnTo>
                  <a:lnTo>
                    <a:pt x="1015" y="444"/>
                  </a:lnTo>
                  <a:lnTo>
                    <a:pt x="1016" y="446"/>
                  </a:lnTo>
                  <a:lnTo>
                    <a:pt x="1020" y="444"/>
                  </a:lnTo>
                  <a:lnTo>
                    <a:pt x="1022" y="446"/>
                  </a:lnTo>
                  <a:lnTo>
                    <a:pt x="1020" y="447"/>
                  </a:lnTo>
                  <a:lnTo>
                    <a:pt x="1017" y="449"/>
                  </a:lnTo>
                  <a:lnTo>
                    <a:pt x="1019" y="450"/>
                  </a:lnTo>
                  <a:lnTo>
                    <a:pt x="1020" y="450"/>
                  </a:lnTo>
                  <a:lnTo>
                    <a:pt x="1022" y="452"/>
                  </a:lnTo>
                  <a:lnTo>
                    <a:pt x="1022" y="453"/>
                  </a:lnTo>
                  <a:lnTo>
                    <a:pt x="1022" y="455"/>
                  </a:lnTo>
                  <a:lnTo>
                    <a:pt x="1020" y="455"/>
                  </a:lnTo>
                  <a:lnTo>
                    <a:pt x="1020" y="453"/>
                  </a:lnTo>
                  <a:lnTo>
                    <a:pt x="1015" y="458"/>
                  </a:lnTo>
                  <a:lnTo>
                    <a:pt x="1015" y="456"/>
                  </a:lnTo>
                  <a:lnTo>
                    <a:pt x="1013" y="455"/>
                  </a:lnTo>
                  <a:lnTo>
                    <a:pt x="1010" y="455"/>
                  </a:lnTo>
                  <a:lnTo>
                    <a:pt x="1012" y="458"/>
                  </a:lnTo>
                  <a:lnTo>
                    <a:pt x="1012" y="459"/>
                  </a:lnTo>
                  <a:lnTo>
                    <a:pt x="1006" y="460"/>
                  </a:lnTo>
                  <a:lnTo>
                    <a:pt x="1007" y="462"/>
                  </a:lnTo>
                  <a:lnTo>
                    <a:pt x="1012" y="462"/>
                  </a:lnTo>
                  <a:lnTo>
                    <a:pt x="1013" y="463"/>
                  </a:lnTo>
                  <a:lnTo>
                    <a:pt x="1020" y="458"/>
                  </a:lnTo>
                  <a:lnTo>
                    <a:pt x="1030" y="456"/>
                  </a:lnTo>
                  <a:lnTo>
                    <a:pt x="1032" y="458"/>
                  </a:lnTo>
                  <a:lnTo>
                    <a:pt x="1035" y="463"/>
                  </a:lnTo>
                  <a:lnTo>
                    <a:pt x="1035" y="465"/>
                  </a:lnTo>
                  <a:lnTo>
                    <a:pt x="1036" y="469"/>
                  </a:lnTo>
                  <a:lnTo>
                    <a:pt x="1035" y="476"/>
                  </a:lnTo>
                  <a:lnTo>
                    <a:pt x="1020" y="485"/>
                  </a:lnTo>
                  <a:lnTo>
                    <a:pt x="1035" y="478"/>
                  </a:lnTo>
                  <a:lnTo>
                    <a:pt x="1038" y="468"/>
                  </a:lnTo>
                  <a:lnTo>
                    <a:pt x="1041" y="465"/>
                  </a:lnTo>
                  <a:lnTo>
                    <a:pt x="1039" y="471"/>
                  </a:lnTo>
                  <a:lnTo>
                    <a:pt x="1039" y="472"/>
                  </a:lnTo>
                  <a:lnTo>
                    <a:pt x="1042" y="469"/>
                  </a:lnTo>
                  <a:lnTo>
                    <a:pt x="1042" y="472"/>
                  </a:lnTo>
                  <a:lnTo>
                    <a:pt x="1042" y="474"/>
                  </a:lnTo>
                  <a:lnTo>
                    <a:pt x="1042" y="478"/>
                  </a:lnTo>
                  <a:lnTo>
                    <a:pt x="1042" y="478"/>
                  </a:lnTo>
                  <a:lnTo>
                    <a:pt x="1045" y="474"/>
                  </a:lnTo>
                  <a:lnTo>
                    <a:pt x="1052" y="469"/>
                  </a:lnTo>
                  <a:lnTo>
                    <a:pt x="1058" y="468"/>
                  </a:lnTo>
                  <a:lnTo>
                    <a:pt x="1061" y="459"/>
                  </a:lnTo>
                  <a:lnTo>
                    <a:pt x="1064" y="460"/>
                  </a:lnTo>
                  <a:lnTo>
                    <a:pt x="1067" y="462"/>
                  </a:lnTo>
                  <a:lnTo>
                    <a:pt x="1068" y="465"/>
                  </a:lnTo>
                  <a:lnTo>
                    <a:pt x="1067" y="469"/>
                  </a:lnTo>
                  <a:lnTo>
                    <a:pt x="1070" y="462"/>
                  </a:lnTo>
                  <a:lnTo>
                    <a:pt x="1065" y="456"/>
                  </a:lnTo>
                  <a:lnTo>
                    <a:pt x="1068" y="459"/>
                  </a:lnTo>
                  <a:lnTo>
                    <a:pt x="1070" y="458"/>
                  </a:lnTo>
                  <a:lnTo>
                    <a:pt x="1071" y="456"/>
                  </a:lnTo>
                  <a:lnTo>
                    <a:pt x="1070" y="456"/>
                  </a:lnTo>
                  <a:lnTo>
                    <a:pt x="1070" y="453"/>
                  </a:lnTo>
                  <a:lnTo>
                    <a:pt x="1073" y="453"/>
                  </a:lnTo>
                  <a:lnTo>
                    <a:pt x="1073" y="450"/>
                  </a:lnTo>
                  <a:lnTo>
                    <a:pt x="1071" y="446"/>
                  </a:lnTo>
                  <a:lnTo>
                    <a:pt x="1073" y="447"/>
                  </a:lnTo>
                  <a:lnTo>
                    <a:pt x="1074" y="446"/>
                  </a:lnTo>
                  <a:lnTo>
                    <a:pt x="1077" y="444"/>
                  </a:lnTo>
                  <a:lnTo>
                    <a:pt x="1077" y="442"/>
                  </a:lnTo>
                  <a:lnTo>
                    <a:pt x="1078" y="440"/>
                  </a:lnTo>
                  <a:lnTo>
                    <a:pt x="1074" y="433"/>
                  </a:lnTo>
                  <a:lnTo>
                    <a:pt x="1078" y="424"/>
                  </a:lnTo>
                  <a:lnTo>
                    <a:pt x="1081" y="423"/>
                  </a:lnTo>
                  <a:lnTo>
                    <a:pt x="1083" y="421"/>
                  </a:lnTo>
                  <a:lnTo>
                    <a:pt x="1083" y="420"/>
                  </a:lnTo>
                  <a:lnTo>
                    <a:pt x="1084" y="417"/>
                  </a:lnTo>
                  <a:lnTo>
                    <a:pt x="1086" y="417"/>
                  </a:lnTo>
                  <a:lnTo>
                    <a:pt x="1089" y="418"/>
                  </a:lnTo>
                  <a:lnTo>
                    <a:pt x="1089" y="420"/>
                  </a:lnTo>
                  <a:lnTo>
                    <a:pt x="1089" y="421"/>
                  </a:lnTo>
                  <a:lnTo>
                    <a:pt x="1090" y="421"/>
                  </a:lnTo>
                  <a:lnTo>
                    <a:pt x="1090" y="423"/>
                  </a:lnTo>
                  <a:lnTo>
                    <a:pt x="1090" y="426"/>
                  </a:lnTo>
                  <a:lnTo>
                    <a:pt x="1090" y="428"/>
                  </a:lnTo>
                  <a:lnTo>
                    <a:pt x="1089" y="430"/>
                  </a:lnTo>
                  <a:lnTo>
                    <a:pt x="1091" y="428"/>
                  </a:lnTo>
                  <a:lnTo>
                    <a:pt x="1093" y="430"/>
                  </a:lnTo>
                  <a:lnTo>
                    <a:pt x="1093" y="436"/>
                  </a:lnTo>
                  <a:lnTo>
                    <a:pt x="1096" y="436"/>
                  </a:lnTo>
                  <a:lnTo>
                    <a:pt x="1094" y="437"/>
                  </a:lnTo>
                  <a:lnTo>
                    <a:pt x="1094" y="439"/>
                  </a:lnTo>
                  <a:lnTo>
                    <a:pt x="1097" y="439"/>
                  </a:lnTo>
                  <a:lnTo>
                    <a:pt x="1100" y="439"/>
                  </a:lnTo>
                  <a:lnTo>
                    <a:pt x="1096" y="443"/>
                  </a:lnTo>
                  <a:lnTo>
                    <a:pt x="1099" y="444"/>
                  </a:lnTo>
                  <a:lnTo>
                    <a:pt x="1100" y="446"/>
                  </a:lnTo>
                  <a:lnTo>
                    <a:pt x="1102" y="444"/>
                  </a:lnTo>
                  <a:lnTo>
                    <a:pt x="1103" y="444"/>
                  </a:lnTo>
                  <a:lnTo>
                    <a:pt x="1103" y="447"/>
                  </a:lnTo>
                  <a:lnTo>
                    <a:pt x="1105" y="446"/>
                  </a:lnTo>
                  <a:lnTo>
                    <a:pt x="1105" y="447"/>
                  </a:lnTo>
                  <a:lnTo>
                    <a:pt x="1105" y="450"/>
                  </a:lnTo>
                  <a:lnTo>
                    <a:pt x="1102" y="452"/>
                  </a:lnTo>
                  <a:lnTo>
                    <a:pt x="1097" y="452"/>
                  </a:lnTo>
                  <a:lnTo>
                    <a:pt x="1093" y="453"/>
                  </a:lnTo>
                  <a:lnTo>
                    <a:pt x="1093" y="455"/>
                  </a:lnTo>
                  <a:lnTo>
                    <a:pt x="1096" y="453"/>
                  </a:lnTo>
                  <a:lnTo>
                    <a:pt x="1097" y="453"/>
                  </a:lnTo>
                  <a:lnTo>
                    <a:pt x="1099" y="453"/>
                  </a:lnTo>
                  <a:lnTo>
                    <a:pt x="1103" y="453"/>
                  </a:lnTo>
                  <a:lnTo>
                    <a:pt x="1106" y="452"/>
                  </a:lnTo>
                  <a:lnTo>
                    <a:pt x="1107" y="452"/>
                  </a:lnTo>
                  <a:lnTo>
                    <a:pt x="1106" y="455"/>
                  </a:lnTo>
                  <a:lnTo>
                    <a:pt x="1107" y="456"/>
                  </a:lnTo>
                  <a:lnTo>
                    <a:pt x="1107" y="458"/>
                  </a:lnTo>
                  <a:lnTo>
                    <a:pt x="1107" y="459"/>
                  </a:lnTo>
                  <a:lnTo>
                    <a:pt x="1107" y="459"/>
                  </a:lnTo>
                  <a:lnTo>
                    <a:pt x="1112" y="459"/>
                  </a:lnTo>
                  <a:lnTo>
                    <a:pt x="1110" y="462"/>
                  </a:lnTo>
                  <a:lnTo>
                    <a:pt x="1110" y="463"/>
                  </a:lnTo>
                  <a:lnTo>
                    <a:pt x="1113" y="463"/>
                  </a:lnTo>
                  <a:lnTo>
                    <a:pt x="1112" y="465"/>
                  </a:lnTo>
                  <a:lnTo>
                    <a:pt x="1106" y="466"/>
                  </a:lnTo>
                  <a:lnTo>
                    <a:pt x="1105" y="466"/>
                  </a:lnTo>
                  <a:lnTo>
                    <a:pt x="1103" y="466"/>
                  </a:lnTo>
                  <a:lnTo>
                    <a:pt x="1103" y="468"/>
                  </a:lnTo>
                  <a:lnTo>
                    <a:pt x="1105" y="469"/>
                  </a:lnTo>
                  <a:lnTo>
                    <a:pt x="1116" y="468"/>
                  </a:lnTo>
                  <a:lnTo>
                    <a:pt x="1116" y="471"/>
                  </a:lnTo>
                  <a:lnTo>
                    <a:pt x="1115" y="472"/>
                  </a:lnTo>
                  <a:lnTo>
                    <a:pt x="1115" y="474"/>
                  </a:lnTo>
                  <a:lnTo>
                    <a:pt x="1116" y="474"/>
                  </a:lnTo>
                  <a:lnTo>
                    <a:pt x="1113" y="475"/>
                  </a:lnTo>
                  <a:lnTo>
                    <a:pt x="1110" y="476"/>
                  </a:lnTo>
                  <a:lnTo>
                    <a:pt x="1107" y="481"/>
                  </a:lnTo>
                  <a:lnTo>
                    <a:pt x="1110" y="481"/>
                  </a:lnTo>
                  <a:lnTo>
                    <a:pt x="1112" y="478"/>
                  </a:lnTo>
                  <a:lnTo>
                    <a:pt x="1115" y="478"/>
                  </a:lnTo>
                  <a:lnTo>
                    <a:pt x="1116" y="476"/>
                  </a:lnTo>
                  <a:lnTo>
                    <a:pt x="1119" y="481"/>
                  </a:lnTo>
                  <a:lnTo>
                    <a:pt x="1118" y="481"/>
                  </a:lnTo>
                  <a:lnTo>
                    <a:pt x="1116" y="482"/>
                  </a:lnTo>
                  <a:lnTo>
                    <a:pt x="1116" y="484"/>
                  </a:lnTo>
                  <a:lnTo>
                    <a:pt x="1119" y="482"/>
                  </a:lnTo>
                  <a:lnTo>
                    <a:pt x="1122" y="484"/>
                  </a:lnTo>
                  <a:lnTo>
                    <a:pt x="1122" y="485"/>
                  </a:lnTo>
                  <a:lnTo>
                    <a:pt x="1123" y="488"/>
                  </a:lnTo>
                  <a:lnTo>
                    <a:pt x="1126" y="490"/>
                  </a:lnTo>
                  <a:lnTo>
                    <a:pt x="1126" y="491"/>
                  </a:lnTo>
                  <a:lnTo>
                    <a:pt x="1122" y="495"/>
                  </a:lnTo>
                  <a:lnTo>
                    <a:pt x="1119" y="495"/>
                  </a:lnTo>
                  <a:lnTo>
                    <a:pt x="1119" y="497"/>
                  </a:lnTo>
                  <a:lnTo>
                    <a:pt x="1126" y="497"/>
                  </a:lnTo>
                  <a:lnTo>
                    <a:pt x="1128" y="500"/>
                  </a:lnTo>
                  <a:lnTo>
                    <a:pt x="1126" y="501"/>
                  </a:lnTo>
                  <a:lnTo>
                    <a:pt x="1132" y="504"/>
                  </a:lnTo>
                  <a:lnTo>
                    <a:pt x="1134" y="507"/>
                  </a:lnTo>
                  <a:lnTo>
                    <a:pt x="1128" y="513"/>
                  </a:lnTo>
                  <a:lnTo>
                    <a:pt x="1129" y="516"/>
                  </a:lnTo>
                  <a:lnTo>
                    <a:pt x="1126" y="516"/>
                  </a:lnTo>
                  <a:lnTo>
                    <a:pt x="1119" y="513"/>
                  </a:lnTo>
                  <a:lnTo>
                    <a:pt x="1119" y="514"/>
                  </a:lnTo>
                  <a:lnTo>
                    <a:pt x="1122" y="514"/>
                  </a:lnTo>
                  <a:lnTo>
                    <a:pt x="1122" y="516"/>
                  </a:lnTo>
                  <a:lnTo>
                    <a:pt x="1112" y="517"/>
                  </a:lnTo>
                  <a:lnTo>
                    <a:pt x="1128" y="519"/>
                  </a:lnTo>
                  <a:lnTo>
                    <a:pt x="1129" y="520"/>
                  </a:lnTo>
                  <a:lnTo>
                    <a:pt x="1126" y="520"/>
                  </a:lnTo>
                  <a:lnTo>
                    <a:pt x="1125" y="521"/>
                  </a:lnTo>
                  <a:lnTo>
                    <a:pt x="1125" y="523"/>
                  </a:lnTo>
                  <a:lnTo>
                    <a:pt x="1129" y="524"/>
                  </a:lnTo>
                  <a:lnTo>
                    <a:pt x="1129" y="526"/>
                  </a:lnTo>
                  <a:lnTo>
                    <a:pt x="1126" y="526"/>
                  </a:lnTo>
                  <a:lnTo>
                    <a:pt x="1126" y="529"/>
                  </a:lnTo>
                  <a:lnTo>
                    <a:pt x="1134" y="527"/>
                  </a:lnTo>
                  <a:lnTo>
                    <a:pt x="1135" y="533"/>
                  </a:lnTo>
                  <a:lnTo>
                    <a:pt x="1136" y="535"/>
                  </a:lnTo>
                  <a:lnTo>
                    <a:pt x="1135" y="536"/>
                  </a:lnTo>
                  <a:lnTo>
                    <a:pt x="1142" y="536"/>
                  </a:lnTo>
                  <a:lnTo>
                    <a:pt x="1144" y="539"/>
                  </a:lnTo>
                  <a:lnTo>
                    <a:pt x="1145" y="540"/>
                  </a:lnTo>
                  <a:lnTo>
                    <a:pt x="1147" y="540"/>
                  </a:lnTo>
                  <a:lnTo>
                    <a:pt x="1148" y="539"/>
                  </a:lnTo>
                  <a:lnTo>
                    <a:pt x="1148" y="542"/>
                  </a:lnTo>
                  <a:lnTo>
                    <a:pt x="1148" y="545"/>
                  </a:lnTo>
                  <a:lnTo>
                    <a:pt x="1150" y="545"/>
                  </a:lnTo>
                  <a:lnTo>
                    <a:pt x="1150" y="548"/>
                  </a:lnTo>
                  <a:lnTo>
                    <a:pt x="1147" y="551"/>
                  </a:lnTo>
                  <a:lnTo>
                    <a:pt x="1147" y="552"/>
                  </a:lnTo>
                  <a:lnTo>
                    <a:pt x="1150" y="551"/>
                  </a:lnTo>
                  <a:lnTo>
                    <a:pt x="1154" y="552"/>
                  </a:lnTo>
                  <a:lnTo>
                    <a:pt x="1155" y="552"/>
                  </a:lnTo>
                  <a:lnTo>
                    <a:pt x="1158" y="551"/>
                  </a:lnTo>
                  <a:lnTo>
                    <a:pt x="1158" y="552"/>
                  </a:lnTo>
                  <a:lnTo>
                    <a:pt x="1161" y="553"/>
                  </a:lnTo>
                  <a:lnTo>
                    <a:pt x="1157" y="561"/>
                  </a:lnTo>
                  <a:lnTo>
                    <a:pt x="1163" y="555"/>
                  </a:lnTo>
                  <a:lnTo>
                    <a:pt x="1165" y="553"/>
                  </a:lnTo>
                  <a:lnTo>
                    <a:pt x="1165" y="556"/>
                  </a:lnTo>
                  <a:lnTo>
                    <a:pt x="1165" y="556"/>
                  </a:lnTo>
                  <a:lnTo>
                    <a:pt x="1167" y="555"/>
                  </a:lnTo>
                  <a:lnTo>
                    <a:pt x="1168" y="561"/>
                  </a:lnTo>
                  <a:lnTo>
                    <a:pt x="1170" y="562"/>
                  </a:lnTo>
                  <a:lnTo>
                    <a:pt x="1177" y="564"/>
                  </a:lnTo>
                  <a:lnTo>
                    <a:pt x="1179" y="564"/>
                  </a:lnTo>
                  <a:lnTo>
                    <a:pt x="1179" y="562"/>
                  </a:lnTo>
                  <a:lnTo>
                    <a:pt x="1181" y="559"/>
                  </a:lnTo>
                  <a:lnTo>
                    <a:pt x="1183" y="562"/>
                  </a:lnTo>
                  <a:lnTo>
                    <a:pt x="1183" y="564"/>
                  </a:lnTo>
                  <a:lnTo>
                    <a:pt x="1186" y="565"/>
                  </a:lnTo>
                  <a:lnTo>
                    <a:pt x="1187" y="567"/>
                  </a:lnTo>
                  <a:lnTo>
                    <a:pt x="1189" y="567"/>
                  </a:lnTo>
                  <a:lnTo>
                    <a:pt x="1190" y="569"/>
                  </a:lnTo>
                  <a:lnTo>
                    <a:pt x="1189" y="571"/>
                  </a:lnTo>
                  <a:lnTo>
                    <a:pt x="1189" y="572"/>
                  </a:lnTo>
                  <a:lnTo>
                    <a:pt x="1189" y="572"/>
                  </a:lnTo>
                  <a:lnTo>
                    <a:pt x="1186" y="574"/>
                  </a:lnTo>
                  <a:lnTo>
                    <a:pt x="1184" y="572"/>
                  </a:lnTo>
                  <a:lnTo>
                    <a:pt x="1183" y="572"/>
                  </a:lnTo>
                  <a:lnTo>
                    <a:pt x="1179" y="575"/>
                  </a:lnTo>
                  <a:lnTo>
                    <a:pt x="1179" y="575"/>
                  </a:lnTo>
                  <a:lnTo>
                    <a:pt x="1174" y="578"/>
                  </a:lnTo>
                  <a:lnTo>
                    <a:pt x="1161" y="581"/>
                  </a:lnTo>
                  <a:lnTo>
                    <a:pt x="1160" y="583"/>
                  </a:lnTo>
                  <a:lnTo>
                    <a:pt x="1163" y="583"/>
                  </a:lnTo>
                  <a:lnTo>
                    <a:pt x="1170" y="580"/>
                  </a:lnTo>
                  <a:lnTo>
                    <a:pt x="1171" y="580"/>
                  </a:lnTo>
                  <a:lnTo>
                    <a:pt x="1158" y="585"/>
                  </a:lnTo>
                  <a:lnTo>
                    <a:pt x="1155" y="585"/>
                  </a:lnTo>
                  <a:lnTo>
                    <a:pt x="1151" y="591"/>
                  </a:lnTo>
                  <a:lnTo>
                    <a:pt x="1148" y="591"/>
                  </a:lnTo>
                  <a:lnTo>
                    <a:pt x="1145" y="588"/>
                  </a:lnTo>
                  <a:lnTo>
                    <a:pt x="1142" y="588"/>
                  </a:lnTo>
                  <a:lnTo>
                    <a:pt x="1138" y="588"/>
                  </a:lnTo>
                  <a:lnTo>
                    <a:pt x="1138" y="590"/>
                  </a:lnTo>
                  <a:lnTo>
                    <a:pt x="1147" y="593"/>
                  </a:lnTo>
                  <a:lnTo>
                    <a:pt x="1150" y="594"/>
                  </a:lnTo>
                  <a:lnTo>
                    <a:pt x="1148" y="600"/>
                  </a:lnTo>
                  <a:lnTo>
                    <a:pt x="1155" y="597"/>
                  </a:lnTo>
                  <a:lnTo>
                    <a:pt x="1157" y="594"/>
                  </a:lnTo>
                  <a:lnTo>
                    <a:pt x="1163" y="590"/>
                  </a:lnTo>
                  <a:lnTo>
                    <a:pt x="1167" y="588"/>
                  </a:lnTo>
                  <a:lnTo>
                    <a:pt x="1170" y="584"/>
                  </a:lnTo>
                  <a:lnTo>
                    <a:pt x="1173" y="583"/>
                  </a:lnTo>
                  <a:lnTo>
                    <a:pt x="1180" y="581"/>
                  </a:lnTo>
                  <a:lnTo>
                    <a:pt x="1184" y="581"/>
                  </a:lnTo>
                  <a:lnTo>
                    <a:pt x="1186" y="581"/>
                  </a:lnTo>
                  <a:lnTo>
                    <a:pt x="1180" y="580"/>
                  </a:lnTo>
                  <a:lnTo>
                    <a:pt x="1176" y="580"/>
                  </a:lnTo>
                  <a:lnTo>
                    <a:pt x="1181" y="578"/>
                  </a:lnTo>
                  <a:lnTo>
                    <a:pt x="1192" y="578"/>
                  </a:lnTo>
                  <a:lnTo>
                    <a:pt x="1193" y="580"/>
                  </a:lnTo>
                  <a:lnTo>
                    <a:pt x="1192" y="583"/>
                  </a:lnTo>
                  <a:lnTo>
                    <a:pt x="1193" y="588"/>
                  </a:lnTo>
                  <a:lnTo>
                    <a:pt x="1192" y="590"/>
                  </a:lnTo>
                  <a:lnTo>
                    <a:pt x="1192" y="597"/>
                  </a:lnTo>
                  <a:lnTo>
                    <a:pt x="1192" y="597"/>
                  </a:lnTo>
                  <a:lnTo>
                    <a:pt x="1196" y="590"/>
                  </a:lnTo>
                  <a:lnTo>
                    <a:pt x="1197" y="588"/>
                  </a:lnTo>
                  <a:lnTo>
                    <a:pt x="1200" y="588"/>
                  </a:lnTo>
                  <a:lnTo>
                    <a:pt x="1203" y="588"/>
                  </a:lnTo>
                  <a:lnTo>
                    <a:pt x="1202" y="590"/>
                  </a:lnTo>
                  <a:lnTo>
                    <a:pt x="1211" y="593"/>
                  </a:lnTo>
                  <a:lnTo>
                    <a:pt x="1212" y="594"/>
                  </a:lnTo>
                  <a:lnTo>
                    <a:pt x="1209" y="596"/>
                  </a:lnTo>
                  <a:lnTo>
                    <a:pt x="1212" y="597"/>
                  </a:lnTo>
                  <a:lnTo>
                    <a:pt x="1213" y="598"/>
                  </a:lnTo>
                  <a:lnTo>
                    <a:pt x="1213" y="600"/>
                  </a:lnTo>
                  <a:lnTo>
                    <a:pt x="1215" y="601"/>
                  </a:lnTo>
                  <a:lnTo>
                    <a:pt x="1215" y="603"/>
                  </a:lnTo>
                  <a:lnTo>
                    <a:pt x="1213" y="603"/>
                  </a:lnTo>
                  <a:lnTo>
                    <a:pt x="1212" y="604"/>
                  </a:lnTo>
                  <a:lnTo>
                    <a:pt x="1206" y="603"/>
                  </a:lnTo>
                  <a:lnTo>
                    <a:pt x="1208" y="606"/>
                  </a:lnTo>
                  <a:lnTo>
                    <a:pt x="1209" y="606"/>
                  </a:lnTo>
                  <a:lnTo>
                    <a:pt x="1212" y="606"/>
                  </a:lnTo>
                  <a:lnTo>
                    <a:pt x="1212" y="610"/>
                  </a:lnTo>
                  <a:lnTo>
                    <a:pt x="1212" y="610"/>
                  </a:lnTo>
                  <a:lnTo>
                    <a:pt x="1212" y="612"/>
                  </a:lnTo>
                  <a:lnTo>
                    <a:pt x="1213" y="616"/>
                  </a:lnTo>
                  <a:lnTo>
                    <a:pt x="1211" y="616"/>
                  </a:lnTo>
                  <a:lnTo>
                    <a:pt x="1211" y="617"/>
                  </a:lnTo>
                  <a:lnTo>
                    <a:pt x="1215" y="619"/>
                  </a:lnTo>
                  <a:lnTo>
                    <a:pt x="1216" y="622"/>
                  </a:lnTo>
                  <a:lnTo>
                    <a:pt x="1211" y="620"/>
                  </a:lnTo>
                  <a:lnTo>
                    <a:pt x="1212" y="62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 name="Freeform 14"/>
            <p:cNvSpPr>
              <a:spLocks/>
            </p:cNvSpPr>
            <p:nvPr/>
          </p:nvSpPr>
          <p:spPr bwMode="auto">
            <a:xfrm>
              <a:off x="6572792" y="2766545"/>
              <a:ext cx="8777" cy="22311"/>
            </a:xfrm>
            <a:custGeom>
              <a:avLst/>
              <a:gdLst/>
              <a:ahLst/>
              <a:cxnLst>
                <a:cxn ang="0">
                  <a:pos x="9" y="18"/>
                </a:cxn>
                <a:cxn ang="0">
                  <a:pos x="9" y="16"/>
                </a:cxn>
                <a:cxn ang="0">
                  <a:pos x="9" y="13"/>
                </a:cxn>
                <a:cxn ang="0">
                  <a:pos x="9" y="10"/>
                </a:cxn>
                <a:cxn ang="0">
                  <a:pos x="10" y="3"/>
                </a:cxn>
                <a:cxn ang="0">
                  <a:pos x="10" y="3"/>
                </a:cxn>
                <a:cxn ang="0">
                  <a:pos x="9" y="3"/>
                </a:cxn>
                <a:cxn ang="0">
                  <a:pos x="8" y="2"/>
                </a:cxn>
                <a:cxn ang="0">
                  <a:pos x="8" y="0"/>
                </a:cxn>
                <a:cxn ang="0">
                  <a:pos x="6" y="0"/>
                </a:cxn>
                <a:cxn ang="0">
                  <a:pos x="5" y="0"/>
                </a:cxn>
                <a:cxn ang="0">
                  <a:pos x="3" y="0"/>
                </a:cxn>
                <a:cxn ang="0">
                  <a:pos x="3" y="2"/>
                </a:cxn>
                <a:cxn ang="0">
                  <a:pos x="3" y="3"/>
                </a:cxn>
                <a:cxn ang="0">
                  <a:pos x="2" y="6"/>
                </a:cxn>
                <a:cxn ang="0">
                  <a:pos x="2" y="9"/>
                </a:cxn>
                <a:cxn ang="0">
                  <a:pos x="2" y="10"/>
                </a:cxn>
                <a:cxn ang="0">
                  <a:pos x="2" y="12"/>
                </a:cxn>
                <a:cxn ang="0">
                  <a:pos x="5" y="12"/>
                </a:cxn>
                <a:cxn ang="0">
                  <a:pos x="5" y="12"/>
                </a:cxn>
                <a:cxn ang="0">
                  <a:pos x="6" y="13"/>
                </a:cxn>
                <a:cxn ang="0">
                  <a:pos x="5" y="13"/>
                </a:cxn>
                <a:cxn ang="0">
                  <a:pos x="3" y="13"/>
                </a:cxn>
                <a:cxn ang="0">
                  <a:pos x="3" y="15"/>
                </a:cxn>
                <a:cxn ang="0">
                  <a:pos x="2" y="18"/>
                </a:cxn>
                <a:cxn ang="0">
                  <a:pos x="0" y="18"/>
                </a:cxn>
                <a:cxn ang="0">
                  <a:pos x="0" y="19"/>
                </a:cxn>
                <a:cxn ang="0">
                  <a:pos x="2" y="21"/>
                </a:cxn>
                <a:cxn ang="0">
                  <a:pos x="2" y="21"/>
                </a:cxn>
                <a:cxn ang="0">
                  <a:pos x="5" y="19"/>
                </a:cxn>
                <a:cxn ang="0">
                  <a:pos x="8" y="18"/>
                </a:cxn>
                <a:cxn ang="0">
                  <a:pos x="9" y="18"/>
                </a:cxn>
              </a:cxnLst>
              <a:rect l="0" t="0" r="r" b="b"/>
              <a:pathLst>
                <a:path w="10" h="21">
                  <a:moveTo>
                    <a:pt x="9" y="18"/>
                  </a:moveTo>
                  <a:lnTo>
                    <a:pt x="9" y="16"/>
                  </a:lnTo>
                  <a:lnTo>
                    <a:pt x="9" y="13"/>
                  </a:lnTo>
                  <a:lnTo>
                    <a:pt x="9" y="10"/>
                  </a:lnTo>
                  <a:lnTo>
                    <a:pt x="10" y="3"/>
                  </a:lnTo>
                  <a:lnTo>
                    <a:pt x="10" y="3"/>
                  </a:lnTo>
                  <a:lnTo>
                    <a:pt x="9" y="3"/>
                  </a:lnTo>
                  <a:lnTo>
                    <a:pt x="8" y="2"/>
                  </a:lnTo>
                  <a:lnTo>
                    <a:pt x="8" y="0"/>
                  </a:lnTo>
                  <a:lnTo>
                    <a:pt x="6" y="0"/>
                  </a:lnTo>
                  <a:lnTo>
                    <a:pt x="5" y="0"/>
                  </a:lnTo>
                  <a:lnTo>
                    <a:pt x="3" y="0"/>
                  </a:lnTo>
                  <a:lnTo>
                    <a:pt x="3" y="2"/>
                  </a:lnTo>
                  <a:lnTo>
                    <a:pt x="3" y="3"/>
                  </a:lnTo>
                  <a:lnTo>
                    <a:pt x="2" y="6"/>
                  </a:lnTo>
                  <a:lnTo>
                    <a:pt x="2" y="9"/>
                  </a:lnTo>
                  <a:lnTo>
                    <a:pt x="2" y="10"/>
                  </a:lnTo>
                  <a:lnTo>
                    <a:pt x="2" y="12"/>
                  </a:lnTo>
                  <a:lnTo>
                    <a:pt x="5" y="12"/>
                  </a:lnTo>
                  <a:lnTo>
                    <a:pt x="5" y="12"/>
                  </a:lnTo>
                  <a:lnTo>
                    <a:pt x="6" y="13"/>
                  </a:lnTo>
                  <a:lnTo>
                    <a:pt x="5" y="13"/>
                  </a:lnTo>
                  <a:lnTo>
                    <a:pt x="3" y="13"/>
                  </a:lnTo>
                  <a:lnTo>
                    <a:pt x="3" y="15"/>
                  </a:lnTo>
                  <a:lnTo>
                    <a:pt x="2" y="18"/>
                  </a:lnTo>
                  <a:lnTo>
                    <a:pt x="0" y="18"/>
                  </a:lnTo>
                  <a:lnTo>
                    <a:pt x="0" y="19"/>
                  </a:lnTo>
                  <a:lnTo>
                    <a:pt x="2" y="21"/>
                  </a:lnTo>
                  <a:lnTo>
                    <a:pt x="2" y="21"/>
                  </a:lnTo>
                  <a:lnTo>
                    <a:pt x="5" y="19"/>
                  </a:lnTo>
                  <a:lnTo>
                    <a:pt x="8" y="18"/>
                  </a:lnTo>
                  <a:lnTo>
                    <a:pt x="9" y="18"/>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 name="Freeform 15"/>
            <p:cNvSpPr>
              <a:spLocks/>
            </p:cNvSpPr>
            <p:nvPr/>
          </p:nvSpPr>
          <p:spPr bwMode="auto">
            <a:xfrm>
              <a:off x="6572792" y="2766545"/>
              <a:ext cx="8777" cy="22311"/>
            </a:xfrm>
            <a:custGeom>
              <a:avLst/>
              <a:gdLst/>
              <a:ahLst/>
              <a:cxnLst>
                <a:cxn ang="0">
                  <a:pos x="9" y="18"/>
                </a:cxn>
                <a:cxn ang="0">
                  <a:pos x="9" y="16"/>
                </a:cxn>
                <a:cxn ang="0">
                  <a:pos x="9" y="13"/>
                </a:cxn>
                <a:cxn ang="0">
                  <a:pos x="9" y="10"/>
                </a:cxn>
                <a:cxn ang="0">
                  <a:pos x="10" y="3"/>
                </a:cxn>
                <a:cxn ang="0">
                  <a:pos x="10" y="3"/>
                </a:cxn>
                <a:cxn ang="0">
                  <a:pos x="9" y="3"/>
                </a:cxn>
                <a:cxn ang="0">
                  <a:pos x="8" y="2"/>
                </a:cxn>
                <a:cxn ang="0">
                  <a:pos x="8" y="0"/>
                </a:cxn>
                <a:cxn ang="0">
                  <a:pos x="6" y="0"/>
                </a:cxn>
                <a:cxn ang="0">
                  <a:pos x="5" y="0"/>
                </a:cxn>
                <a:cxn ang="0">
                  <a:pos x="3" y="0"/>
                </a:cxn>
                <a:cxn ang="0">
                  <a:pos x="3" y="2"/>
                </a:cxn>
                <a:cxn ang="0">
                  <a:pos x="3" y="3"/>
                </a:cxn>
                <a:cxn ang="0">
                  <a:pos x="2" y="6"/>
                </a:cxn>
                <a:cxn ang="0">
                  <a:pos x="2" y="9"/>
                </a:cxn>
                <a:cxn ang="0">
                  <a:pos x="2" y="10"/>
                </a:cxn>
                <a:cxn ang="0">
                  <a:pos x="2" y="12"/>
                </a:cxn>
                <a:cxn ang="0">
                  <a:pos x="5" y="12"/>
                </a:cxn>
                <a:cxn ang="0">
                  <a:pos x="5" y="12"/>
                </a:cxn>
                <a:cxn ang="0">
                  <a:pos x="6" y="13"/>
                </a:cxn>
                <a:cxn ang="0">
                  <a:pos x="5" y="13"/>
                </a:cxn>
                <a:cxn ang="0">
                  <a:pos x="3" y="13"/>
                </a:cxn>
                <a:cxn ang="0">
                  <a:pos x="3" y="15"/>
                </a:cxn>
                <a:cxn ang="0">
                  <a:pos x="2" y="18"/>
                </a:cxn>
                <a:cxn ang="0">
                  <a:pos x="0" y="18"/>
                </a:cxn>
                <a:cxn ang="0">
                  <a:pos x="0" y="19"/>
                </a:cxn>
                <a:cxn ang="0">
                  <a:pos x="2" y="21"/>
                </a:cxn>
                <a:cxn ang="0">
                  <a:pos x="2" y="21"/>
                </a:cxn>
                <a:cxn ang="0">
                  <a:pos x="5" y="19"/>
                </a:cxn>
                <a:cxn ang="0">
                  <a:pos x="8" y="18"/>
                </a:cxn>
                <a:cxn ang="0">
                  <a:pos x="9" y="18"/>
                </a:cxn>
              </a:cxnLst>
              <a:rect l="0" t="0" r="r" b="b"/>
              <a:pathLst>
                <a:path w="10" h="21">
                  <a:moveTo>
                    <a:pt x="9" y="18"/>
                  </a:moveTo>
                  <a:lnTo>
                    <a:pt x="9" y="16"/>
                  </a:lnTo>
                  <a:lnTo>
                    <a:pt x="9" y="13"/>
                  </a:lnTo>
                  <a:lnTo>
                    <a:pt x="9" y="10"/>
                  </a:lnTo>
                  <a:lnTo>
                    <a:pt x="10" y="3"/>
                  </a:lnTo>
                  <a:lnTo>
                    <a:pt x="10" y="3"/>
                  </a:lnTo>
                  <a:lnTo>
                    <a:pt x="9" y="3"/>
                  </a:lnTo>
                  <a:lnTo>
                    <a:pt x="8" y="2"/>
                  </a:lnTo>
                  <a:lnTo>
                    <a:pt x="8" y="0"/>
                  </a:lnTo>
                  <a:lnTo>
                    <a:pt x="6" y="0"/>
                  </a:lnTo>
                  <a:lnTo>
                    <a:pt x="5" y="0"/>
                  </a:lnTo>
                  <a:lnTo>
                    <a:pt x="3" y="0"/>
                  </a:lnTo>
                  <a:lnTo>
                    <a:pt x="3" y="2"/>
                  </a:lnTo>
                  <a:lnTo>
                    <a:pt x="3" y="3"/>
                  </a:lnTo>
                  <a:lnTo>
                    <a:pt x="2" y="6"/>
                  </a:lnTo>
                  <a:lnTo>
                    <a:pt x="2" y="9"/>
                  </a:lnTo>
                  <a:lnTo>
                    <a:pt x="2" y="10"/>
                  </a:lnTo>
                  <a:lnTo>
                    <a:pt x="2" y="12"/>
                  </a:lnTo>
                  <a:lnTo>
                    <a:pt x="5" y="12"/>
                  </a:lnTo>
                  <a:lnTo>
                    <a:pt x="5" y="12"/>
                  </a:lnTo>
                  <a:lnTo>
                    <a:pt x="6" y="13"/>
                  </a:lnTo>
                  <a:lnTo>
                    <a:pt x="5" y="13"/>
                  </a:lnTo>
                  <a:lnTo>
                    <a:pt x="3" y="13"/>
                  </a:lnTo>
                  <a:lnTo>
                    <a:pt x="3" y="15"/>
                  </a:lnTo>
                  <a:lnTo>
                    <a:pt x="2" y="18"/>
                  </a:lnTo>
                  <a:lnTo>
                    <a:pt x="0" y="18"/>
                  </a:lnTo>
                  <a:lnTo>
                    <a:pt x="0" y="19"/>
                  </a:lnTo>
                  <a:lnTo>
                    <a:pt x="2" y="21"/>
                  </a:lnTo>
                  <a:lnTo>
                    <a:pt x="2" y="21"/>
                  </a:lnTo>
                  <a:lnTo>
                    <a:pt x="5" y="19"/>
                  </a:lnTo>
                  <a:lnTo>
                    <a:pt x="8" y="18"/>
                  </a:lnTo>
                  <a:lnTo>
                    <a:pt x="9" y="18"/>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 name="Freeform 16"/>
            <p:cNvSpPr>
              <a:spLocks/>
            </p:cNvSpPr>
            <p:nvPr/>
          </p:nvSpPr>
          <p:spPr bwMode="auto">
            <a:xfrm>
              <a:off x="6563136" y="2783786"/>
              <a:ext cx="3511" cy="8113"/>
            </a:xfrm>
            <a:custGeom>
              <a:avLst/>
              <a:gdLst/>
              <a:ahLst/>
              <a:cxnLst>
                <a:cxn ang="0">
                  <a:pos x="0" y="8"/>
                </a:cxn>
                <a:cxn ang="0">
                  <a:pos x="2" y="6"/>
                </a:cxn>
                <a:cxn ang="0">
                  <a:pos x="2" y="5"/>
                </a:cxn>
                <a:cxn ang="0">
                  <a:pos x="4" y="2"/>
                </a:cxn>
                <a:cxn ang="0">
                  <a:pos x="4" y="0"/>
                </a:cxn>
                <a:cxn ang="0">
                  <a:pos x="0" y="5"/>
                </a:cxn>
                <a:cxn ang="0">
                  <a:pos x="0" y="8"/>
                </a:cxn>
              </a:cxnLst>
              <a:rect l="0" t="0" r="r" b="b"/>
              <a:pathLst>
                <a:path w="4" h="8">
                  <a:moveTo>
                    <a:pt x="0" y="8"/>
                  </a:moveTo>
                  <a:lnTo>
                    <a:pt x="2" y="6"/>
                  </a:lnTo>
                  <a:lnTo>
                    <a:pt x="2" y="5"/>
                  </a:lnTo>
                  <a:lnTo>
                    <a:pt x="4" y="2"/>
                  </a:lnTo>
                  <a:lnTo>
                    <a:pt x="4" y="0"/>
                  </a:lnTo>
                  <a:lnTo>
                    <a:pt x="0" y="5"/>
                  </a:lnTo>
                  <a:lnTo>
                    <a:pt x="0" y="8"/>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 name="Freeform 17"/>
            <p:cNvSpPr>
              <a:spLocks/>
            </p:cNvSpPr>
            <p:nvPr/>
          </p:nvSpPr>
          <p:spPr bwMode="auto">
            <a:xfrm>
              <a:off x="6563136" y="2783786"/>
              <a:ext cx="3511" cy="8113"/>
            </a:xfrm>
            <a:custGeom>
              <a:avLst/>
              <a:gdLst/>
              <a:ahLst/>
              <a:cxnLst>
                <a:cxn ang="0">
                  <a:pos x="0" y="8"/>
                </a:cxn>
                <a:cxn ang="0">
                  <a:pos x="2" y="6"/>
                </a:cxn>
                <a:cxn ang="0">
                  <a:pos x="2" y="5"/>
                </a:cxn>
                <a:cxn ang="0">
                  <a:pos x="4" y="2"/>
                </a:cxn>
                <a:cxn ang="0">
                  <a:pos x="4" y="0"/>
                </a:cxn>
                <a:cxn ang="0">
                  <a:pos x="0" y="5"/>
                </a:cxn>
                <a:cxn ang="0">
                  <a:pos x="0" y="8"/>
                </a:cxn>
              </a:cxnLst>
              <a:rect l="0" t="0" r="r" b="b"/>
              <a:pathLst>
                <a:path w="4" h="8">
                  <a:moveTo>
                    <a:pt x="0" y="8"/>
                  </a:moveTo>
                  <a:lnTo>
                    <a:pt x="2" y="6"/>
                  </a:lnTo>
                  <a:lnTo>
                    <a:pt x="2" y="5"/>
                  </a:lnTo>
                  <a:lnTo>
                    <a:pt x="4" y="2"/>
                  </a:lnTo>
                  <a:lnTo>
                    <a:pt x="4" y="0"/>
                  </a:lnTo>
                  <a:lnTo>
                    <a:pt x="0" y="5"/>
                  </a:lnTo>
                  <a:lnTo>
                    <a:pt x="0" y="8"/>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 name="Freeform 18"/>
            <p:cNvSpPr>
              <a:spLocks/>
            </p:cNvSpPr>
            <p:nvPr/>
          </p:nvSpPr>
          <p:spPr bwMode="auto">
            <a:xfrm>
              <a:off x="5050686" y="3160029"/>
              <a:ext cx="3511" cy="7099"/>
            </a:xfrm>
            <a:custGeom>
              <a:avLst/>
              <a:gdLst/>
              <a:ahLst/>
              <a:cxnLst>
                <a:cxn ang="0">
                  <a:pos x="1" y="0"/>
                </a:cxn>
                <a:cxn ang="0">
                  <a:pos x="1" y="0"/>
                </a:cxn>
                <a:cxn ang="0">
                  <a:pos x="1" y="0"/>
                </a:cxn>
                <a:cxn ang="0">
                  <a:pos x="0" y="3"/>
                </a:cxn>
                <a:cxn ang="0">
                  <a:pos x="0" y="4"/>
                </a:cxn>
                <a:cxn ang="0">
                  <a:pos x="1" y="6"/>
                </a:cxn>
                <a:cxn ang="0">
                  <a:pos x="3" y="2"/>
                </a:cxn>
                <a:cxn ang="0">
                  <a:pos x="1" y="0"/>
                </a:cxn>
              </a:cxnLst>
              <a:rect l="0" t="0" r="r" b="b"/>
              <a:pathLst>
                <a:path w="3" h="6">
                  <a:moveTo>
                    <a:pt x="1" y="0"/>
                  </a:moveTo>
                  <a:lnTo>
                    <a:pt x="1" y="0"/>
                  </a:lnTo>
                  <a:lnTo>
                    <a:pt x="1" y="0"/>
                  </a:lnTo>
                  <a:lnTo>
                    <a:pt x="0" y="3"/>
                  </a:lnTo>
                  <a:lnTo>
                    <a:pt x="0" y="4"/>
                  </a:lnTo>
                  <a:lnTo>
                    <a:pt x="1" y="6"/>
                  </a:lnTo>
                  <a:lnTo>
                    <a:pt x="3" y="2"/>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 name="Freeform 19"/>
            <p:cNvSpPr>
              <a:spLocks/>
            </p:cNvSpPr>
            <p:nvPr/>
          </p:nvSpPr>
          <p:spPr bwMode="auto">
            <a:xfrm>
              <a:off x="5050686" y="3160029"/>
              <a:ext cx="3511" cy="7099"/>
            </a:xfrm>
            <a:custGeom>
              <a:avLst/>
              <a:gdLst/>
              <a:ahLst/>
              <a:cxnLst>
                <a:cxn ang="0">
                  <a:pos x="1" y="0"/>
                </a:cxn>
                <a:cxn ang="0">
                  <a:pos x="1" y="0"/>
                </a:cxn>
                <a:cxn ang="0">
                  <a:pos x="1" y="0"/>
                </a:cxn>
                <a:cxn ang="0">
                  <a:pos x="0" y="3"/>
                </a:cxn>
                <a:cxn ang="0">
                  <a:pos x="0" y="4"/>
                </a:cxn>
                <a:cxn ang="0">
                  <a:pos x="1" y="6"/>
                </a:cxn>
                <a:cxn ang="0">
                  <a:pos x="3" y="2"/>
                </a:cxn>
                <a:cxn ang="0">
                  <a:pos x="1" y="0"/>
                </a:cxn>
              </a:cxnLst>
              <a:rect l="0" t="0" r="r" b="b"/>
              <a:pathLst>
                <a:path w="3" h="6">
                  <a:moveTo>
                    <a:pt x="1" y="0"/>
                  </a:moveTo>
                  <a:lnTo>
                    <a:pt x="1" y="0"/>
                  </a:lnTo>
                  <a:lnTo>
                    <a:pt x="1" y="0"/>
                  </a:lnTo>
                  <a:lnTo>
                    <a:pt x="0" y="3"/>
                  </a:lnTo>
                  <a:lnTo>
                    <a:pt x="0" y="4"/>
                  </a:lnTo>
                  <a:lnTo>
                    <a:pt x="1" y="6"/>
                  </a:lnTo>
                  <a:lnTo>
                    <a:pt x="3" y="2"/>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 name="Freeform 20"/>
            <p:cNvSpPr>
              <a:spLocks/>
            </p:cNvSpPr>
            <p:nvPr/>
          </p:nvSpPr>
          <p:spPr bwMode="auto">
            <a:xfrm>
              <a:off x="5274525" y="2768573"/>
              <a:ext cx="878" cy="3043"/>
            </a:xfrm>
            <a:custGeom>
              <a:avLst/>
              <a:gdLst/>
              <a:ahLst/>
              <a:cxnLst>
                <a:cxn ang="0">
                  <a:pos x="1" y="1"/>
                </a:cxn>
                <a:cxn ang="0">
                  <a:pos x="1" y="0"/>
                </a:cxn>
                <a:cxn ang="0">
                  <a:pos x="1" y="1"/>
                </a:cxn>
                <a:cxn ang="0">
                  <a:pos x="0" y="3"/>
                </a:cxn>
                <a:cxn ang="0">
                  <a:pos x="0" y="3"/>
                </a:cxn>
                <a:cxn ang="0">
                  <a:pos x="1" y="3"/>
                </a:cxn>
                <a:cxn ang="0">
                  <a:pos x="1" y="1"/>
                </a:cxn>
              </a:cxnLst>
              <a:rect l="0" t="0" r="r" b="b"/>
              <a:pathLst>
                <a:path w="1" h="3">
                  <a:moveTo>
                    <a:pt x="1" y="1"/>
                  </a:moveTo>
                  <a:lnTo>
                    <a:pt x="1" y="0"/>
                  </a:lnTo>
                  <a:lnTo>
                    <a:pt x="1" y="1"/>
                  </a:lnTo>
                  <a:lnTo>
                    <a:pt x="0" y="3"/>
                  </a:lnTo>
                  <a:lnTo>
                    <a:pt x="0" y="3"/>
                  </a:lnTo>
                  <a:lnTo>
                    <a:pt x="1" y="3"/>
                  </a:lnTo>
                  <a:lnTo>
                    <a:pt x="1"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 name="Freeform 21"/>
            <p:cNvSpPr>
              <a:spLocks/>
            </p:cNvSpPr>
            <p:nvPr/>
          </p:nvSpPr>
          <p:spPr bwMode="auto">
            <a:xfrm>
              <a:off x="5274525" y="2768573"/>
              <a:ext cx="878" cy="3043"/>
            </a:xfrm>
            <a:custGeom>
              <a:avLst/>
              <a:gdLst/>
              <a:ahLst/>
              <a:cxnLst>
                <a:cxn ang="0">
                  <a:pos x="1" y="1"/>
                </a:cxn>
                <a:cxn ang="0">
                  <a:pos x="1" y="0"/>
                </a:cxn>
                <a:cxn ang="0">
                  <a:pos x="1" y="1"/>
                </a:cxn>
                <a:cxn ang="0">
                  <a:pos x="0" y="3"/>
                </a:cxn>
                <a:cxn ang="0">
                  <a:pos x="0" y="3"/>
                </a:cxn>
                <a:cxn ang="0">
                  <a:pos x="1" y="3"/>
                </a:cxn>
                <a:cxn ang="0">
                  <a:pos x="1" y="1"/>
                </a:cxn>
              </a:cxnLst>
              <a:rect l="0" t="0" r="r" b="b"/>
              <a:pathLst>
                <a:path w="1" h="3">
                  <a:moveTo>
                    <a:pt x="1" y="1"/>
                  </a:moveTo>
                  <a:lnTo>
                    <a:pt x="1" y="0"/>
                  </a:lnTo>
                  <a:lnTo>
                    <a:pt x="1" y="1"/>
                  </a:lnTo>
                  <a:lnTo>
                    <a:pt x="0" y="3"/>
                  </a:lnTo>
                  <a:lnTo>
                    <a:pt x="0" y="3"/>
                  </a:lnTo>
                  <a:lnTo>
                    <a:pt x="1" y="3"/>
                  </a:lnTo>
                  <a:lnTo>
                    <a:pt x="1"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 name="Freeform 22"/>
            <p:cNvSpPr>
              <a:spLocks/>
            </p:cNvSpPr>
            <p:nvPr/>
          </p:nvSpPr>
          <p:spPr bwMode="auto">
            <a:xfrm>
              <a:off x="5098088" y="2996754"/>
              <a:ext cx="26334" cy="12170"/>
            </a:xfrm>
            <a:custGeom>
              <a:avLst/>
              <a:gdLst/>
              <a:ahLst/>
              <a:cxnLst>
                <a:cxn ang="0">
                  <a:pos x="16" y="2"/>
                </a:cxn>
                <a:cxn ang="0">
                  <a:pos x="17" y="2"/>
                </a:cxn>
                <a:cxn ang="0">
                  <a:pos x="20" y="3"/>
                </a:cxn>
                <a:cxn ang="0">
                  <a:pos x="21" y="5"/>
                </a:cxn>
                <a:cxn ang="0">
                  <a:pos x="26" y="5"/>
                </a:cxn>
                <a:cxn ang="0">
                  <a:pos x="29" y="9"/>
                </a:cxn>
                <a:cxn ang="0">
                  <a:pos x="26" y="10"/>
                </a:cxn>
                <a:cxn ang="0">
                  <a:pos x="21" y="9"/>
                </a:cxn>
                <a:cxn ang="0">
                  <a:pos x="18" y="10"/>
                </a:cxn>
                <a:cxn ang="0">
                  <a:pos x="17" y="10"/>
                </a:cxn>
                <a:cxn ang="0">
                  <a:pos x="16" y="12"/>
                </a:cxn>
                <a:cxn ang="0">
                  <a:pos x="13" y="12"/>
                </a:cxn>
                <a:cxn ang="0">
                  <a:pos x="11" y="10"/>
                </a:cxn>
                <a:cxn ang="0">
                  <a:pos x="8" y="10"/>
                </a:cxn>
                <a:cxn ang="0">
                  <a:pos x="4" y="6"/>
                </a:cxn>
                <a:cxn ang="0">
                  <a:pos x="1" y="5"/>
                </a:cxn>
                <a:cxn ang="0">
                  <a:pos x="0" y="3"/>
                </a:cxn>
                <a:cxn ang="0">
                  <a:pos x="0" y="2"/>
                </a:cxn>
                <a:cxn ang="0">
                  <a:pos x="5" y="0"/>
                </a:cxn>
                <a:cxn ang="0">
                  <a:pos x="16" y="2"/>
                </a:cxn>
              </a:cxnLst>
              <a:rect l="0" t="0" r="r" b="b"/>
              <a:pathLst>
                <a:path w="29" h="12">
                  <a:moveTo>
                    <a:pt x="16" y="2"/>
                  </a:moveTo>
                  <a:lnTo>
                    <a:pt x="17" y="2"/>
                  </a:lnTo>
                  <a:lnTo>
                    <a:pt x="20" y="3"/>
                  </a:lnTo>
                  <a:lnTo>
                    <a:pt x="21" y="5"/>
                  </a:lnTo>
                  <a:lnTo>
                    <a:pt x="26" y="5"/>
                  </a:lnTo>
                  <a:lnTo>
                    <a:pt x="29" y="9"/>
                  </a:lnTo>
                  <a:lnTo>
                    <a:pt x="26" y="10"/>
                  </a:lnTo>
                  <a:lnTo>
                    <a:pt x="21" y="9"/>
                  </a:lnTo>
                  <a:lnTo>
                    <a:pt x="18" y="10"/>
                  </a:lnTo>
                  <a:lnTo>
                    <a:pt x="17" y="10"/>
                  </a:lnTo>
                  <a:lnTo>
                    <a:pt x="16" y="12"/>
                  </a:lnTo>
                  <a:lnTo>
                    <a:pt x="13" y="12"/>
                  </a:lnTo>
                  <a:lnTo>
                    <a:pt x="11" y="10"/>
                  </a:lnTo>
                  <a:lnTo>
                    <a:pt x="8" y="10"/>
                  </a:lnTo>
                  <a:lnTo>
                    <a:pt x="4" y="6"/>
                  </a:lnTo>
                  <a:lnTo>
                    <a:pt x="1" y="5"/>
                  </a:lnTo>
                  <a:lnTo>
                    <a:pt x="0" y="3"/>
                  </a:lnTo>
                  <a:lnTo>
                    <a:pt x="0" y="2"/>
                  </a:lnTo>
                  <a:lnTo>
                    <a:pt x="5" y="0"/>
                  </a:lnTo>
                  <a:lnTo>
                    <a:pt x="16"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 name="Freeform 23"/>
            <p:cNvSpPr>
              <a:spLocks/>
            </p:cNvSpPr>
            <p:nvPr/>
          </p:nvSpPr>
          <p:spPr bwMode="auto">
            <a:xfrm>
              <a:off x="5098088" y="2996754"/>
              <a:ext cx="26334" cy="12170"/>
            </a:xfrm>
            <a:custGeom>
              <a:avLst/>
              <a:gdLst/>
              <a:ahLst/>
              <a:cxnLst>
                <a:cxn ang="0">
                  <a:pos x="16" y="2"/>
                </a:cxn>
                <a:cxn ang="0">
                  <a:pos x="17" y="2"/>
                </a:cxn>
                <a:cxn ang="0">
                  <a:pos x="20" y="3"/>
                </a:cxn>
                <a:cxn ang="0">
                  <a:pos x="21" y="5"/>
                </a:cxn>
                <a:cxn ang="0">
                  <a:pos x="26" y="5"/>
                </a:cxn>
                <a:cxn ang="0">
                  <a:pos x="29" y="9"/>
                </a:cxn>
                <a:cxn ang="0">
                  <a:pos x="26" y="10"/>
                </a:cxn>
                <a:cxn ang="0">
                  <a:pos x="21" y="9"/>
                </a:cxn>
                <a:cxn ang="0">
                  <a:pos x="18" y="10"/>
                </a:cxn>
                <a:cxn ang="0">
                  <a:pos x="17" y="10"/>
                </a:cxn>
                <a:cxn ang="0">
                  <a:pos x="16" y="12"/>
                </a:cxn>
                <a:cxn ang="0">
                  <a:pos x="13" y="12"/>
                </a:cxn>
                <a:cxn ang="0">
                  <a:pos x="11" y="10"/>
                </a:cxn>
                <a:cxn ang="0">
                  <a:pos x="8" y="10"/>
                </a:cxn>
                <a:cxn ang="0">
                  <a:pos x="4" y="6"/>
                </a:cxn>
                <a:cxn ang="0">
                  <a:pos x="1" y="5"/>
                </a:cxn>
                <a:cxn ang="0">
                  <a:pos x="0" y="3"/>
                </a:cxn>
                <a:cxn ang="0">
                  <a:pos x="0" y="2"/>
                </a:cxn>
                <a:cxn ang="0">
                  <a:pos x="5" y="0"/>
                </a:cxn>
                <a:cxn ang="0">
                  <a:pos x="16" y="2"/>
                </a:cxn>
              </a:cxnLst>
              <a:rect l="0" t="0" r="r" b="b"/>
              <a:pathLst>
                <a:path w="29" h="12">
                  <a:moveTo>
                    <a:pt x="16" y="2"/>
                  </a:moveTo>
                  <a:lnTo>
                    <a:pt x="17" y="2"/>
                  </a:lnTo>
                  <a:lnTo>
                    <a:pt x="20" y="3"/>
                  </a:lnTo>
                  <a:lnTo>
                    <a:pt x="21" y="5"/>
                  </a:lnTo>
                  <a:lnTo>
                    <a:pt x="26" y="5"/>
                  </a:lnTo>
                  <a:lnTo>
                    <a:pt x="29" y="9"/>
                  </a:lnTo>
                  <a:lnTo>
                    <a:pt x="26" y="10"/>
                  </a:lnTo>
                  <a:lnTo>
                    <a:pt x="21" y="9"/>
                  </a:lnTo>
                  <a:lnTo>
                    <a:pt x="18" y="10"/>
                  </a:lnTo>
                  <a:lnTo>
                    <a:pt x="17" y="10"/>
                  </a:lnTo>
                  <a:lnTo>
                    <a:pt x="16" y="12"/>
                  </a:lnTo>
                  <a:lnTo>
                    <a:pt x="13" y="12"/>
                  </a:lnTo>
                  <a:lnTo>
                    <a:pt x="11" y="10"/>
                  </a:lnTo>
                  <a:lnTo>
                    <a:pt x="8" y="10"/>
                  </a:lnTo>
                  <a:lnTo>
                    <a:pt x="4" y="6"/>
                  </a:lnTo>
                  <a:lnTo>
                    <a:pt x="1" y="5"/>
                  </a:lnTo>
                  <a:lnTo>
                    <a:pt x="0" y="3"/>
                  </a:lnTo>
                  <a:lnTo>
                    <a:pt x="0" y="2"/>
                  </a:lnTo>
                  <a:lnTo>
                    <a:pt x="5" y="0"/>
                  </a:lnTo>
                  <a:lnTo>
                    <a:pt x="16"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 name="Freeform 24"/>
            <p:cNvSpPr>
              <a:spLocks/>
            </p:cNvSpPr>
            <p:nvPr/>
          </p:nvSpPr>
          <p:spPr bwMode="auto">
            <a:xfrm>
              <a:off x="5148122" y="3954094"/>
              <a:ext cx="13167" cy="34481"/>
            </a:xfrm>
            <a:custGeom>
              <a:avLst/>
              <a:gdLst/>
              <a:ahLst/>
              <a:cxnLst>
                <a:cxn ang="0">
                  <a:pos x="7" y="0"/>
                </a:cxn>
                <a:cxn ang="0">
                  <a:pos x="8" y="0"/>
                </a:cxn>
                <a:cxn ang="0">
                  <a:pos x="8" y="2"/>
                </a:cxn>
                <a:cxn ang="0">
                  <a:pos x="10" y="2"/>
                </a:cxn>
                <a:cxn ang="0">
                  <a:pos x="11" y="2"/>
                </a:cxn>
                <a:cxn ang="0">
                  <a:pos x="14" y="13"/>
                </a:cxn>
                <a:cxn ang="0">
                  <a:pos x="13" y="13"/>
                </a:cxn>
                <a:cxn ang="0">
                  <a:pos x="11" y="16"/>
                </a:cxn>
                <a:cxn ang="0">
                  <a:pos x="10" y="16"/>
                </a:cxn>
                <a:cxn ang="0">
                  <a:pos x="10" y="17"/>
                </a:cxn>
                <a:cxn ang="0">
                  <a:pos x="8" y="17"/>
                </a:cxn>
                <a:cxn ang="0">
                  <a:pos x="10" y="20"/>
                </a:cxn>
                <a:cxn ang="0">
                  <a:pos x="11" y="20"/>
                </a:cxn>
                <a:cxn ang="0">
                  <a:pos x="13" y="21"/>
                </a:cxn>
                <a:cxn ang="0">
                  <a:pos x="10" y="21"/>
                </a:cxn>
                <a:cxn ang="0">
                  <a:pos x="11" y="26"/>
                </a:cxn>
                <a:cxn ang="0">
                  <a:pos x="11" y="29"/>
                </a:cxn>
                <a:cxn ang="0">
                  <a:pos x="10" y="29"/>
                </a:cxn>
                <a:cxn ang="0">
                  <a:pos x="10" y="32"/>
                </a:cxn>
                <a:cxn ang="0">
                  <a:pos x="8" y="33"/>
                </a:cxn>
                <a:cxn ang="0">
                  <a:pos x="1" y="32"/>
                </a:cxn>
                <a:cxn ang="0">
                  <a:pos x="0" y="27"/>
                </a:cxn>
                <a:cxn ang="0">
                  <a:pos x="4" y="2"/>
                </a:cxn>
                <a:cxn ang="0">
                  <a:pos x="6" y="2"/>
                </a:cxn>
                <a:cxn ang="0">
                  <a:pos x="7" y="0"/>
                </a:cxn>
              </a:cxnLst>
              <a:rect l="0" t="0" r="r" b="b"/>
              <a:pathLst>
                <a:path w="14" h="33">
                  <a:moveTo>
                    <a:pt x="7" y="0"/>
                  </a:moveTo>
                  <a:lnTo>
                    <a:pt x="8" y="0"/>
                  </a:lnTo>
                  <a:lnTo>
                    <a:pt x="8" y="2"/>
                  </a:lnTo>
                  <a:lnTo>
                    <a:pt x="10" y="2"/>
                  </a:lnTo>
                  <a:lnTo>
                    <a:pt x="11" y="2"/>
                  </a:lnTo>
                  <a:lnTo>
                    <a:pt x="14" y="13"/>
                  </a:lnTo>
                  <a:lnTo>
                    <a:pt x="13" y="13"/>
                  </a:lnTo>
                  <a:lnTo>
                    <a:pt x="11" y="16"/>
                  </a:lnTo>
                  <a:lnTo>
                    <a:pt x="10" y="16"/>
                  </a:lnTo>
                  <a:lnTo>
                    <a:pt x="10" y="17"/>
                  </a:lnTo>
                  <a:lnTo>
                    <a:pt x="8" y="17"/>
                  </a:lnTo>
                  <a:lnTo>
                    <a:pt x="10" y="20"/>
                  </a:lnTo>
                  <a:lnTo>
                    <a:pt x="11" y="20"/>
                  </a:lnTo>
                  <a:lnTo>
                    <a:pt x="13" y="21"/>
                  </a:lnTo>
                  <a:lnTo>
                    <a:pt x="10" y="21"/>
                  </a:lnTo>
                  <a:lnTo>
                    <a:pt x="11" y="26"/>
                  </a:lnTo>
                  <a:lnTo>
                    <a:pt x="11" y="29"/>
                  </a:lnTo>
                  <a:lnTo>
                    <a:pt x="10" y="29"/>
                  </a:lnTo>
                  <a:lnTo>
                    <a:pt x="10" y="32"/>
                  </a:lnTo>
                  <a:lnTo>
                    <a:pt x="8" y="33"/>
                  </a:lnTo>
                  <a:lnTo>
                    <a:pt x="1" y="32"/>
                  </a:lnTo>
                  <a:lnTo>
                    <a:pt x="0" y="27"/>
                  </a:lnTo>
                  <a:lnTo>
                    <a:pt x="4" y="2"/>
                  </a:lnTo>
                  <a:lnTo>
                    <a:pt x="6" y="2"/>
                  </a:lnTo>
                  <a:lnTo>
                    <a:pt x="7"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 name="Freeform 25"/>
            <p:cNvSpPr>
              <a:spLocks/>
            </p:cNvSpPr>
            <p:nvPr/>
          </p:nvSpPr>
          <p:spPr bwMode="auto">
            <a:xfrm>
              <a:off x="5148122" y="3954094"/>
              <a:ext cx="13167" cy="34481"/>
            </a:xfrm>
            <a:custGeom>
              <a:avLst/>
              <a:gdLst/>
              <a:ahLst/>
              <a:cxnLst>
                <a:cxn ang="0">
                  <a:pos x="7" y="0"/>
                </a:cxn>
                <a:cxn ang="0">
                  <a:pos x="8" y="0"/>
                </a:cxn>
                <a:cxn ang="0">
                  <a:pos x="8" y="2"/>
                </a:cxn>
                <a:cxn ang="0">
                  <a:pos x="10" y="2"/>
                </a:cxn>
                <a:cxn ang="0">
                  <a:pos x="11" y="2"/>
                </a:cxn>
                <a:cxn ang="0">
                  <a:pos x="14" y="13"/>
                </a:cxn>
                <a:cxn ang="0">
                  <a:pos x="13" y="13"/>
                </a:cxn>
                <a:cxn ang="0">
                  <a:pos x="11" y="16"/>
                </a:cxn>
                <a:cxn ang="0">
                  <a:pos x="10" y="16"/>
                </a:cxn>
                <a:cxn ang="0">
                  <a:pos x="10" y="17"/>
                </a:cxn>
                <a:cxn ang="0">
                  <a:pos x="8" y="17"/>
                </a:cxn>
                <a:cxn ang="0">
                  <a:pos x="10" y="20"/>
                </a:cxn>
                <a:cxn ang="0">
                  <a:pos x="11" y="20"/>
                </a:cxn>
                <a:cxn ang="0">
                  <a:pos x="13" y="21"/>
                </a:cxn>
                <a:cxn ang="0">
                  <a:pos x="10" y="21"/>
                </a:cxn>
                <a:cxn ang="0">
                  <a:pos x="11" y="26"/>
                </a:cxn>
                <a:cxn ang="0">
                  <a:pos x="11" y="29"/>
                </a:cxn>
                <a:cxn ang="0">
                  <a:pos x="10" y="29"/>
                </a:cxn>
                <a:cxn ang="0">
                  <a:pos x="10" y="32"/>
                </a:cxn>
                <a:cxn ang="0">
                  <a:pos x="8" y="33"/>
                </a:cxn>
                <a:cxn ang="0">
                  <a:pos x="1" y="32"/>
                </a:cxn>
                <a:cxn ang="0">
                  <a:pos x="0" y="27"/>
                </a:cxn>
                <a:cxn ang="0">
                  <a:pos x="4" y="2"/>
                </a:cxn>
                <a:cxn ang="0">
                  <a:pos x="6" y="2"/>
                </a:cxn>
                <a:cxn ang="0">
                  <a:pos x="7" y="0"/>
                </a:cxn>
              </a:cxnLst>
              <a:rect l="0" t="0" r="r" b="b"/>
              <a:pathLst>
                <a:path w="14" h="33">
                  <a:moveTo>
                    <a:pt x="7" y="0"/>
                  </a:moveTo>
                  <a:lnTo>
                    <a:pt x="8" y="0"/>
                  </a:lnTo>
                  <a:lnTo>
                    <a:pt x="8" y="2"/>
                  </a:lnTo>
                  <a:lnTo>
                    <a:pt x="10" y="2"/>
                  </a:lnTo>
                  <a:lnTo>
                    <a:pt x="11" y="2"/>
                  </a:lnTo>
                  <a:lnTo>
                    <a:pt x="14" y="13"/>
                  </a:lnTo>
                  <a:lnTo>
                    <a:pt x="13" y="13"/>
                  </a:lnTo>
                  <a:lnTo>
                    <a:pt x="11" y="16"/>
                  </a:lnTo>
                  <a:lnTo>
                    <a:pt x="10" y="16"/>
                  </a:lnTo>
                  <a:lnTo>
                    <a:pt x="10" y="17"/>
                  </a:lnTo>
                  <a:lnTo>
                    <a:pt x="8" y="17"/>
                  </a:lnTo>
                  <a:lnTo>
                    <a:pt x="10" y="20"/>
                  </a:lnTo>
                  <a:lnTo>
                    <a:pt x="11" y="20"/>
                  </a:lnTo>
                  <a:lnTo>
                    <a:pt x="13" y="21"/>
                  </a:lnTo>
                  <a:lnTo>
                    <a:pt x="10" y="21"/>
                  </a:lnTo>
                  <a:lnTo>
                    <a:pt x="11" y="26"/>
                  </a:lnTo>
                  <a:lnTo>
                    <a:pt x="11" y="29"/>
                  </a:lnTo>
                  <a:lnTo>
                    <a:pt x="10" y="29"/>
                  </a:lnTo>
                  <a:lnTo>
                    <a:pt x="10" y="32"/>
                  </a:lnTo>
                  <a:lnTo>
                    <a:pt x="8" y="33"/>
                  </a:lnTo>
                  <a:lnTo>
                    <a:pt x="1" y="32"/>
                  </a:lnTo>
                  <a:lnTo>
                    <a:pt x="0" y="27"/>
                  </a:lnTo>
                  <a:lnTo>
                    <a:pt x="4" y="2"/>
                  </a:lnTo>
                  <a:lnTo>
                    <a:pt x="6" y="2"/>
                  </a:lnTo>
                  <a:lnTo>
                    <a:pt x="7"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 name="Freeform 26"/>
            <p:cNvSpPr>
              <a:spLocks/>
            </p:cNvSpPr>
            <p:nvPr/>
          </p:nvSpPr>
          <p:spPr bwMode="auto">
            <a:xfrm>
              <a:off x="5161289" y="4007843"/>
              <a:ext cx="7900" cy="11156"/>
            </a:xfrm>
            <a:custGeom>
              <a:avLst/>
              <a:gdLst/>
              <a:ahLst/>
              <a:cxnLst>
                <a:cxn ang="0">
                  <a:pos x="6" y="0"/>
                </a:cxn>
                <a:cxn ang="0">
                  <a:pos x="6" y="0"/>
                </a:cxn>
                <a:cxn ang="0">
                  <a:pos x="9" y="1"/>
                </a:cxn>
                <a:cxn ang="0">
                  <a:pos x="9" y="3"/>
                </a:cxn>
                <a:cxn ang="0">
                  <a:pos x="9" y="4"/>
                </a:cxn>
                <a:cxn ang="0">
                  <a:pos x="9" y="6"/>
                </a:cxn>
                <a:cxn ang="0">
                  <a:pos x="9" y="9"/>
                </a:cxn>
                <a:cxn ang="0">
                  <a:pos x="6" y="10"/>
                </a:cxn>
                <a:cxn ang="0">
                  <a:pos x="5" y="10"/>
                </a:cxn>
                <a:cxn ang="0">
                  <a:pos x="2" y="10"/>
                </a:cxn>
                <a:cxn ang="0">
                  <a:pos x="0" y="6"/>
                </a:cxn>
                <a:cxn ang="0">
                  <a:pos x="0" y="4"/>
                </a:cxn>
                <a:cxn ang="0">
                  <a:pos x="6" y="0"/>
                </a:cxn>
              </a:cxnLst>
              <a:rect l="0" t="0" r="r" b="b"/>
              <a:pathLst>
                <a:path w="9" h="10">
                  <a:moveTo>
                    <a:pt x="6" y="0"/>
                  </a:moveTo>
                  <a:lnTo>
                    <a:pt x="6" y="0"/>
                  </a:lnTo>
                  <a:lnTo>
                    <a:pt x="9" y="1"/>
                  </a:lnTo>
                  <a:lnTo>
                    <a:pt x="9" y="3"/>
                  </a:lnTo>
                  <a:lnTo>
                    <a:pt x="9" y="4"/>
                  </a:lnTo>
                  <a:lnTo>
                    <a:pt x="9" y="6"/>
                  </a:lnTo>
                  <a:lnTo>
                    <a:pt x="9" y="9"/>
                  </a:lnTo>
                  <a:lnTo>
                    <a:pt x="6" y="10"/>
                  </a:lnTo>
                  <a:lnTo>
                    <a:pt x="5" y="10"/>
                  </a:lnTo>
                  <a:lnTo>
                    <a:pt x="2" y="10"/>
                  </a:lnTo>
                  <a:lnTo>
                    <a:pt x="0" y="6"/>
                  </a:lnTo>
                  <a:lnTo>
                    <a:pt x="0" y="4"/>
                  </a:lnTo>
                  <a:lnTo>
                    <a:pt x="6"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8" name="Freeform 27"/>
            <p:cNvSpPr>
              <a:spLocks/>
            </p:cNvSpPr>
            <p:nvPr/>
          </p:nvSpPr>
          <p:spPr bwMode="auto">
            <a:xfrm>
              <a:off x="5161289" y="4007843"/>
              <a:ext cx="7900" cy="11156"/>
            </a:xfrm>
            <a:custGeom>
              <a:avLst/>
              <a:gdLst/>
              <a:ahLst/>
              <a:cxnLst>
                <a:cxn ang="0">
                  <a:pos x="6" y="0"/>
                </a:cxn>
                <a:cxn ang="0">
                  <a:pos x="6" y="0"/>
                </a:cxn>
                <a:cxn ang="0">
                  <a:pos x="9" y="1"/>
                </a:cxn>
                <a:cxn ang="0">
                  <a:pos x="9" y="3"/>
                </a:cxn>
                <a:cxn ang="0">
                  <a:pos x="9" y="4"/>
                </a:cxn>
                <a:cxn ang="0">
                  <a:pos x="9" y="6"/>
                </a:cxn>
                <a:cxn ang="0">
                  <a:pos x="9" y="9"/>
                </a:cxn>
                <a:cxn ang="0">
                  <a:pos x="6" y="10"/>
                </a:cxn>
                <a:cxn ang="0">
                  <a:pos x="5" y="10"/>
                </a:cxn>
                <a:cxn ang="0">
                  <a:pos x="2" y="10"/>
                </a:cxn>
                <a:cxn ang="0">
                  <a:pos x="0" y="6"/>
                </a:cxn>
                <a:cxn ang="0">
                  <a:pos x="0" y="4"/>
                </a:cxn>
                <a:cxn ang="0">
                  <a:pos x="6" y="0"/>
                </a:cxn>
              </a:cxnLst>
              <a:rect l="0" t="0" r="r" b="b"/>
              <a:pathLst>
                <a:path w="9" h="10">
                  <a:moveTo>
                    <a:pt x="6" y="0"/>
                  </a:moveTo>
                  <a:lnTo>
                    <a:pt x="6" y="0"/>
                  </a:lnTo>
                  <a:lnTo>
                    <a:pt x="9" y="1"/>
                  </a:lnTo>
                  <a:lnTo>
                    <a:pt x="9" y="3"/>
                  </a:lnTo>
                  <a:lnTo>
                    <a:pt x="9" y="4"/>
                  </a:lnTo>
                  <a:lnTo>
                    <a:pt x="9" y="6"/>
                  </a:lnTo>
                  <a:lnTo>
                    <a:pt x="9" y="9"/>
                  </a:lnTo>
                  <a:lnTo>
                    <a:pt x="6" y="10"/>
                  </a:lnTo>
                  <a:lnTo>
                    <a:pt x="5" y="10"/>
                  </a:lnTo>
                  <a:lnTo>
                    <a:pt x="2" y="10"/>
                  </a:lnTo>
                  <a:lnTo>
                    <a:pt x="0" y="6"/>
                  </a:lnTo>
                  <a:lnTo>
                    <a:pt x="0" y="4"/>
                  </a:lnTo>
                  <a:lnTo>
                    <a:pt x="6"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9" name="Freeform 28"/>
            <p:cNvSpPr>
              <a:spLocks/>
            </p:cNvSpPr>
            <p:nvPr/>
          </p:nvSpPr>
          <p:spPr bwMode="auto">
            <a:xfrm>
              <a:off x="5149000" y="4011900"/>
              <a:ext cx="6144" cy="3043"/>
            </a:xfrm>
            <a:custGeom>
              <a:avLst/>
              <a:gdLst/>
              <a:ahLst/>
              <a:cxnLst>
                <a:cxn ang="0">
                  <a:pos x="0" y="0"/>
                </a:cxn>
                <a:cxn ang="0">
                  <a:pos x="3" y="0"/>
                </a:cxn>
                <a:cxn ang="0">
                  <a:pos x="5" y="2"/>
                </a:cxn>
                <a:cxn ang="0">
                  <a:pos x="6" y="2"/>
                </a:cxn>
                <a:cxn ang="0">
                  <a:pos x="2" y="3"/>
                </a:cxn>
                <a:cxn ang="0">
                  <a:pos x="0" y="2"/>
                </a:cxn>
                <a:cxn ang="0">
                  <a:pos x="0" y="0"/>
                </a:cxn>
              </a:cxnLst>
              <a:rect l="0" t="0" r="r" b="b"/>
              <a:pathLst>
                <a:path w="6" h="3">
                  <a:moveTo>
                    <a:pt x="0" y="0"/>
                  </a:moveTo>
                  <a:lnTo>
                    <a:pt x="3" y="0"/>
                  </a:lnTo>
                  <a:lnTo>
                    <a:pt x="5" y="2"/>
                  </a:lnTo>
                  <a:lnTo>
                    <a:pt x="6" y="2"/>
                  </a:lnTo>
                  <a:lnTo>
                    <a:pt x="2" y="3"/>
                  </a:lnTo>
                  <a:lnTo>
                    <a:pt x="0" y="2"/>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0" name="Freeform 29"/>
            <p:cNvSpPr>
              <a:spLocks/>
            </p:cNvSpPr>
            <p:nvPr/>
          </p:nvSpPr>
          <p:spPr bwMode="auto">
            <a:xfrm>
              <a:off x="5149000" y="4011900"/>
              <a:ext cx="6144" cy="3043"/>
            </a:xfrm>
            <a:custGeom>
              <a:avLst/>
              <a:gdLst/>
              <a:ahLst/>
              <a:cxnLst>
                <a:cxn ang="0">
                  <a:pos x="0" y="0"/>
                </a:cxn>
                <a:cxn ang="0">
                  <a:pos x="3" y="0"/>
                </a:cxn>
                <a:cxn ang="0">
                  <a:pos x="5" y="2"/>
                </a:cxn>
                <a:cxn ang="0">
                  <a:pos x="6" y="2"/>
                </a:cxn>
                <a:cxn ang="0">
                  <a:pos x="2" y="3"/>
                </a:cxn>
                <a:cxn ang="0">
                  <a:pos x="0" y="2"/>
                </a:cxn>
                <a:cxn ang="0">
                  <a:pos x="0" y="0"/>
                </a:cxn>
              </a:cxnLst>
              <a:rect l="0" t="0" r="r" b="b"/>
              <a:pathLst>
                <a:path w="6" h="3">
                  <a:moveTo>
                    <a:pt x="0" y="0"/>
                  </a:moveTo>
                  <a:lnTo>
                    <a:pt x="3" y="0"/>
                  </a:lnTo>
                  <a:lnTo>
                    <a:pt x="5" y="2"/>
                  </a:lnTo>
                  <a:lnTo>
                    <a:pt x="6" y="2"/>
                  </a:lnTo>
                  <a:lnTo>
                    <a:pt x="2" y="3"/>
                  </a:lnTo>
                  <a:lnTo>
                    <a:pt x="0" y="2"/>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1" name="Freeform 30"/>
            <p:cNvSpPr>
              <a:spLocks/>
            </p:cNvSpPr>
            <p:nvPr/>
          </p:nvSpPr>
          <p:spPr bwMode="auto">
            <a:xfrm>
              <a:off x="5149000" y="4018998"/>
              <a:ext cx="4389" cy="3042"/>
            </a:xfrm>
            <a:custGeom>
              <a:avLst/>
              <a:gdLst/>
              <a:ahLst/>
              <a:cxnLst>
                <a:cxn ang="0">
                  <a:pos x="2" y="3"/>
                </a:cxn>
                <a:cxn ang="0">
                  <a:pos x="0" y="1"/>
                </a:cxn>
                <a:cxn ang="0">
                  <a:pos x="0" y="1"/>
                </a:cxn>
                <a:cxn ang="0">
                  <a:pos x="3" y="0"/>
                </a:cxn>
                <a:cxn ang="0">
                  <a:pos x="5" y="0"/>
                </a:cxn>
                <a:cxn ang="0">
                  <a:pos x="5" y="1"/>
                </a:cxn>
                <a:cxn ang="0">
                  <a:pos x="5" y="1"/>
                </a:cxn>
                <a:cxn ang="0">
                  <a:pos x="2" y="3"/>
                </a:cxn>
              </a:cxnLst>
              <a:rect l="0" t="0" r="r" b="b"/>
              <a:pathLst>
                <a:path w="5" h="3">
                  <a:moveTo>
                    <a:pt x="2" y="3"/>
                  </a:moveTo>
                  <a:lnTo>
                    <a:pt x="0" y="1"/>
                  </a:lnTo>
                  <a:lnTo>
                    <a:pt x="0" y="1"/>
                  </a:lnTo>
                  <a:lnTo>
                    <a:pt x="3" y="0"/>
                  </a:lnTo>
                  <a:lnTo>
                    <a:pt x="5" y="0"/>
                  </a:lnTo>
                  <a:lnTo>
                    <a:pt x="5" y="1"/>
                  </a:lnTo>
                  <a:lnTo>
                    <a:pt x="5" y="1"/>
                  </a:lnTo>
                  <a:lnTo>
                    <a:pt x="2"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2" name="Freeform 31"/>
            <p:cNvSpPr>
              <a:spLocks/>
            </p:cNvSpPr>
            <p:nvPr/>
          </p:nvSpPr>
          <p:spPr bwMode="auto">
            <a:xfrm>
              <a:off x="5149000" y="4018998"/>
              <a:ext cx="4389" cy="3042"/>
            </a:xfrm>
            <a:custGeom>
              <a:avLst/>
              <a:gdLst/>
              <a:ahLst/>
              <a:cxnLst>
                <a:cxn ang="0">
                  <a:pos x="2" y="3"/>
                </a:cxn>
                <a:cxn ang="0">
                  <a:pos x="0" y="1"/>
                </a:cxn>
                <a:cxn ang="0">
                  <a:pos x="0" y="1"/>
                </a:cxn>
                <a:cxn ang="0">
                  <a:pos x="3" y="0"/>
                </a:cxn>
                <a:cxn ang="0">
                  <a:pos x="5" y="0"/>
                </a:cxn>
                <a:cxn ang="0">
                  <a:pos x="5" y="1"/>
                </a:cxn>
                <a:cxn ang="0">
                  <a:pos x="5" y="1"/>
                </a:cxn>
                <a:cxn ang="0">
                  <a:pos x="2" y="3"/>
                </a:cxn>
              </a:cxnLst>
              <a:rect l="0" t="0" r="r" b="b"/>
              <a:pathLst>
                <a:path w="5" h="3">
                  <a:moveTo>
                    <a:pt x="2" y="3"/>
                  </a:moveTo>
                  <a:lnTo>
                    <a:pt x="0" y="1"/>
                  </a:lnTo>
                  <a:lnTo>
                    <a:pt x="0" y="1"/>
                  </a:lnTo>
                  <a:lnTo>
                    <a:pt x="3" y="0"/>
                  </a:lnTo>
                  <a:lnTo>
                    <a:pt x="5" y="0"/>
                  </a:lnTo>
                  <a:lnTo>
                    <a:pt x="5" y="1"/>
                  </a:lnTo>
                  <a:lnTo>
                    <a:pt x="5" y="1"/>
                  </a:lnTo>
                  <a:lnTo>
                    <a:pt x="2"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3" name="Freeform 32"/>
            <p:cNvSpPr>
              <a:spLocks/>
            </p:cNvSpPr>
            <p:nvPr/>
          </p:nvSpPr>
          <p:spPr bwMode="auto">
            <a:xfrm>
              <a:off x="5150755" y="4022041"/>
              <a:ext cx="7022" cy="4057"/>
            </a:xfrm>
            <a:custGeom>
              <a:avLst/>
              <a:gdLst/>
              <a:ahLst/>
              <a:cxnLst>
                <a:cxn ang="0">
                  <a:pos x="0" y="1"/>
                </a:cxn>
                <a:cxn ang="0">
                  <a:pos x="0" y="1"/>
                </a:cxn>
                <a:cxn ang="0">
                  <a:pos x="0" y="0"/>
                </a:cxn>
                <a:cxn ang="0">
                  <a:pos x="5" y="0"/>
                </a:cxn>
                <a:cxn ang="0">
                  <a:pos x="7" y="3"/>
                </a:cxn>
                <a:cxn ang="0">
                  <a:pos x="7" y="4"/>
                </a:cxn>
                <a:cxn ang="0">
                  <a:pos x="3" y="1"/>
                </a:cxn>
                <a:cxn ang="0">
                  <a:pos x="0" y="1"/>
                </a:cxn>
              </a:cxnLst>
              <a:rect l="0" t="0" r="r" b="b"/>
              <a:pathLst>
                <a:path w="7" h="4">
                  <a:moveTo>
                    <a:pt x="0" y="1"/>
                  </a:moveTo>
                  <a:lnTo>
                    <a:pt x="0" y="1"/>
                  </a:lnTo>
                  <a:lnTo>
                    <a:pt x="0" y="0"/>
                  </a:lnTo>
                  <a:lnTo>
                    <a:pt x="5" y="0"/>
                  </a:lnTo>
                  <a:lnTo>
                    <a:pt x="7" y="3"/>
                  </a:lnTo>
                  <a:lnTo>
                    <a:pt x="7" y="4"/>
                  </a:lnTo>
                  <a:lnTo>
                    <a:pt x="3" y="1"/>
                  </a:lnTo>
                  <a:lnTo>
                    <a:pt x="0"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4" name="Freeform 33"/>
            <p:cNvSpPr>
              <a:spLocks/>
            </p:cNvSpPr>
            <p:nvPr/>
          </p:nvSpPr>
          <p:spPr bwMode="auto">
            <a:xfrm>
              <a:off x="5150755" y="4022041"/>
              <a:ext cx="7022" cy="4057"/>
            </a:xfrm>
            <a:custGeom>
              <a:avLst/>
              <a:gdLst/>
              <a:ahLst/>
              <a:cxnLst>
                <a:cxn ang="0">
                  <a:pos x="0" y="1"/>
                </a:cxn>
                <a:cxn ang="0">
                  <a:pos x="0" y="1"/>
                </a:cxn>
                <a:cxn ang="0">
                  <a:pos x="0" y="0"/>
                </a:cxn>
                <a:cxn ang="0">
                  <a:pos x="5" y="0"/>
                </a:cxn>
                <a:cxn ang="0">
                  <a:pos x="7" y="3"/>
                </a:cxn>
                <a:cxn ang="0">
                  <a:pos x="7" y="4"/>
                </a:cxn>
                <a:cxn ang="0">
                  <a:pos x="3" y="1"/>
                </a:cxn>
                <a:cxn ang="0">
                  <a:pos x="0" y="1"/>
                </a:cxn>
              </a:cxnLst>
              <a:rect l="0" t="0" r="r" b="b"/>
              <a:pathLst>
                <a:path w="7" h="4">
                  <a:moveTo>
                    <a:pt x="0" y="1"/>
                  </a:moveTo>
                  <a:lnTo>
                    <a:pt x="0" y="1"/>
                  </a:lnTo>
                  <a:lnTo>
                    <a:pt x="0" y="0"/>
                  </a:lnTo>
                  <a:lnTo>
                    <a:pt x="5" y="0"/>
                  </a:lnTo>
                  <a:lnTo>
                    <a:pt x="7" y="3"/>
                  </a:lnTo>
                  <a:lnTo>
                    <a:pt x="7" y="4"/>
                  </a:lnTo>
                  <a:lnTo>
                    <a:pt x="3" y="1"/>
                  </a:lnTo>
                  <a:lnTo>
                    <a:pt x="0"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5" name="Freeform 34"/>
            <p:cNvSpPr>
              <a:spLocks/>
            </p:cNvSpPr>
            <p:nvPr/>
          </p:nvSpPr>
          <p:spPr bwMode="auto">
            <a:xfrm>
              <a:off x="5151633" y="4025083"/>
              <a:ext cx="4389" cy="3042"/>
            </a:xfrm>
            <a:custGeom>
              <a:avLst/>
              <a:gdLst/>
              <a:ahLst/>
              <a:cxnLst>
                <a:cxn ang="0">
                  <a:pos x="0" y="0"/>
                </a:cxn>
                <a:cxn ang="0">
                  <a:pos x="2" y="1"/>
                </a:cxn>
                <a:cxn ang="0">
                  <a:pos x="4" y="3"/>
                </a:cxn>
                <a:cxn ang="0">
                  <a:pos x="2" y="1"/>
                </a:cxn>
                <a:cxn ang="0">
                  <a:pos x="0" y="0"/>
                </a:cxn>
              </a:cxnLst>
              <a:rect l="0" t="0" r="r" b="b"/>
              <a:pathLst>
                <a:path w="4" h="3">
                  <a:moveTo>
                    <a:pt x="0" y="0"/>
                  </a:moveTo>
                  <a:lnTo>
                    <a:pt x="2" y="1"/>
                  </a:lnTo>
                  <a:lnTo>
                    <a:pt x="4" y="3"/>
                  </a:lnTo>
                  <a:lnTo>
                    <a:pt x="2" y="1"/>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6" name="Freeform 35"/>
            <p:cNvSpPr>
              <a:spLocks/>
            </p:cNvSpPr>
            <p:nvPr/>
          </p:nvSpPr>
          <p:spPr bwMode="auto">
            <a:xfrm>
              <a:off x="5151633" y="4025083"/>
              <a:ext cx="4389" cy="3042"/>
            </a:xfrm>
            <a:custGeom>
              <a:avLst/>
              <a:gdLst/>
              <a:ahLst/>
              <a:cxnLst>
                <a:cxn ang="0">
                  <a:pos x="0" y="0"/>
                </a:cxn>
                <a:cxn ang="0">
                  <a:pos x="2" y="1"/>
                </a:cxn>
                <a:cxn ang="0">
                  <a:pos x="4" y="3"/>
                </a:cxn>
                <a:cxn ang="0">
                  <a:pos x="2" y="1"/>
                </a:cxn>
                <a:cxn ang="0">
                  <a:pos x="0" y="0"/>
                </a:cxn>
              </a:cxnLst>
              <a:rect l="0" t="0" r="r" b="b"/>
              <a:pathLst>
                <a:path w="4" h="3">
                  <a:moveTo>
                    <a:pt x="0" y="0"/>
                  </a:moveTo>
                  <a:lnTo>
                    <a:pt x="2" y="1"/>
                  </a:lnTo>
                  <a:lnTo>
                    <a:pt x="4" y="3"/>
                  </a:lnTo>
                  <a:lnTo>
                    <a:pt x="2" y="1"/>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7" name="Freeform 36"/>
            <p:cNvSpPr>
              <a:spLocks/>
            </p:cNvSpPr>
            <p:nvPr/>
          </p:nvSpPr>
          <p:spPr bwMode="auto">
            <a:xfrm>
              <a:off x="5155144" y="4036238"/>
              <a:ext cx="2634" cy="3043"/>
            </a:xfrm>
            <a:custGeom>
              <a:avLst/>
              <a:gdLst/>
              <a:ahLst/>
              <a:cxnLst>
                <a:cxn ang="0">
                  <a:pos x="0" y="0"/>
                </a:cxn>
                <a:cxn ang="0">
                  <a:pos x="1" y="0"/>
                </a:cxn>
                <a:cxn ang="0">
                  <a:pos x="1" y="0"/>
                </a:cxn>
                <a:cxn ang="0">
                  <a:pos x="3" y="3"/>
                </a:cxn>
                <a:cxn ang="0">
                  <a:pos x="1" y="3"/>
                </a:cxn>
                <a:cxn ang="0">
                  <a:pos x="0" y="2"/>
                </a:cxn>
                <a:cxn ang="0">
                  <a:pos x="0" y="0"/>
                </a:cxn>
              </a:cxnLst>
              <a:rect l="0" t="0" r="r" b="b"/>
              <a:pathLst>
                <a:path w="3" h="3">
                  <a:moveTo>
                    <a:pt x="0" y="0"/>
                  </a:moveTo>
                  <a:lnTo>
                    <a:pt x="1" y="0"/>
                  </a:lnTo>
                  <a:lnTo>
                    <a:pt x="1" y="0"/>
                  </a:lnTo>
                  <a:lnTo>
                    <a:pt x="3" y="3"/>
                  </a:lnTo>
                  <a:lnTo>
                    <a:pt x="1" y="3"/>
                  </a:lnTo>
                  <a:lnTo>
                    <a:pt x="0" y="2"/>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8" name="Freeform 37"/>
            <p:cNvSpPr>
              <a:spLocks/>
            </p:cNvSpPr>
            <p:nvPr/>
          </p:nvSpPr>
          <p:spPr bwMode="auto">
            <a:xfrm>
              <a:off x="5155144" y="4036238"/>
              <a:ext cx="2634" cy="3043"/>
            </a:xfrm>
            <a:custGeom>
              <a:avLst/>
              <a:gdLst/>
              <a:ahLst/>
              <a:cxnLst>
                <a:cxn ang="0">
                  <a:pos x="0" y="0"/>
                </a:cxn>
                <a:cxn ang="0">
                  <a:pos x="1" y="0"/>
                </a:cxn>
                <a:cxn ang="0">
                  <a:pos x="1" y="0"/>
                </a:cxn>
                <a:cxn ang="0">
                  <a:pos x="3" y="3"/>
                </a:cxn>
                <a:cxn ang="0">
                  <a:pos x="1" y="3"/>
                </a:cxn>
                <a:cxn ang="0">
                  <a:pos x="0" y="2"/>
                </a:cxn>
                <a:cxn ang="0">
                  <a:pos x="0" y="0"/>
                </a:cxn>
              </a:cxnLst>
              <a:rect l="0" t="0" r="r" b="b"/>
              <a:pathLst>
                <a:path w="3" h="3">
                  <a:moveTo>
                    <a:pt x="0" y="0"/>
                  </a:moveTo>
                  <a:lnTo>
                    <a:pt x="1" y="0"/>
                  </a:lnTo>
                  <a:lnTo>
                    <a:pt x="1" y="0"/>
                  </a:lnTo>
                  <a:lnTo>
                    <a:pt x="3" y="3"/>
                  </a:lnTo>
                  <a:lnTo>
                    <a:pt x="1" y="3"/>
                  </a:lnTo>
                  <a:lnTo>
                    <a:pt x="0" y="2"/>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9" name="Freeform 38"/>
            <p:cNvSpPr>
              <a:spLocks/>
            </p:cNvSpPr>
            <p:nvPr/>
          </p:nvSpPr>
          <p:spPr bwMode="auto">
            <a:xfrm>
              <a:off x="5145489" y="4074776"/>
              <a:ext cx="5267" cy="4057"/>
            </a:xfrm>
            <a:custGeom>
              <a:avLst/>
              <a:gdLst/>
              <a:ahLst/>
              <a:cxnLst>
                <a:cxn ang="0">
                  <a:pos x="4" y="4"/>
                </a:cxn>
                <a:cxn ang="0">
                  <a:pos x="3" y="4"/>
                </a:cxn>
                <a:cxn ang="0">
                  <a:pos x="0" y="4"/>
                </a:cxn>
                <a:cxn ang="0">
                  <a:pos x="0" y="1"/>
                </a:cxn>
                <a:cxn ang="0">
                  <a:pos x="1" y="1"/>
                </a:cxn>
                <a:cxn ang="0">
                  <a:pos x="1" y="0"/>
                </a:cxn>
                <a:cxn ang="0">
                  <a:pos x="4" y="3"/>
                </a:cxn>
                <a:cxn ang="0">
                  <a:pos x="6" y="4"/>
                </a:cxn>
                <a:cxn ang="0">
                  <a:pos x="4" y="4"/>
                </a:cxn>
              </a:cxnLst>
              <a:rect l="0" t="0" r="r" b="b"/>
              <a:pathLst>
                <a:path w="6" h="4">
                  <a:moveTo>
                    <a:pt x="4" y="4"/>
                  </a:moveTo>
                  <a:lnTo>
                    <a:pt x="3" y="4"/>
                  </a:lnTo>
                  <a:lnTo>
                    <a:pt x="0" y="4"/>
                  </a:lnTo>
                  <a:lnTo>
                    <a:pt x="0" y="1"/>
                  </a:lnTo>
                  <a:lnTo>
                    <a:pt x="1" y="1"/>
                  </a:lnTo>
                  <a:lnTo>
                    <a:pt x="1" y="0"/>
                  </a:lnTo>
                  <a:lnTo>
                    <a:pt x="4" y="3"/>
                  </a:lnTo>
                  <a:lnTo>
                    <a:pt x="6" y="4"/>
                  </a:lnTo>
                  <a:lnTo>
                    <a:pt x="4"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0" name="Freeform 39"/>
            <p:cNvSpPr>
              <a:spLocks/>
            </p:cNvSpPr>
            <p:nvPr/>
          </p:nvSpPr>
          <p:spPr bwMode="auto">
            <a:xfrm>
              <a:off x="5145489" y="4074776"/>
              <a:ext cx="5267" cy="4057"/>
            </a:xfrm>
            <a:custGeom>
              <a:avLst/>
              <a:gdLst/>
              <a:ahLst/>
              <a:cxnLst>
                <a:cxn ang="0">
                  <a:pos x="4" y="4"/>
                </a:cxn>
                <a:cxn ang="0">
                  <a:pos x="3" y="4"/>
                </a:cxn>
                <a:cxn ang="0">
                  <a:pos x="0" y="4"/>
                </a:cxn>
                <a:cxn ang="0">
                  <a:pos x="0" y="1"/>
                </a:cxn>
                <a:cxn ang="0">
                  <a:pos x="1" y="1"/>
                </a:cxn>
                <a:cxn ang="0">
                  <a:pos x="1" y="0"/>
                </a:cxn>
                <a:cxn ang="0">
                  <a:pos x="4" y="3"/>
                </a:cxn>
                <a:cxn ang="0">
                  <a:pos x="6" y="4"/>
                </a:cxn>
                <a:cxn ang="0">
                  <a:pos x="4" y="4"/>
                </a:cxn>
              </a:cxnLst>
              <a:rect l="0" t="0" r="r" b="b"/>
              <a:pathLst>
                <a:path w="6" h="4">
                  <a:moveTo>
                    <a:pt x="4" y="4"/>
                  </a:moveTo>
                  <a:lnTo>
                    <a:pt x="3" y="4"/>
                  </a:lnTo>
                  <a:lnTo>
                    <a:pt x="0" y="4"/>
                  </a:lnTo>
                  <a:lnTo>
                    <a:pt x="0" y="1"/>
                  </a:lnTo>
                  <a:lnTo>
                    <a:pt x="1" y="1"/>
                  </a:lnTo>
                  <a:lnTo>
                    <a:pt x="1" y="0"/>
                  </a:lnTo>
                  <a:lnTo>
                    <a:pt x="4" y="3"/>
                  </a:lnTo>
                  <a:lnTo>
                    <a:pt x="6" y="4"/>
                  </a:lnTo>
                  <a:lnTo>
                    <a:pt x="4"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1" name="Freeform 40"/>
            <p:cNvSpPr>
              <a:spLocks/>
            </p:cNvSpPr>
            <p:nvPr/>
          </p:nvSpPr>
          <p:spPr bwMode="auto">
            <a:xfrm>
              <a:off x="5136710" y="4077818"/>
              <a:ext cx="4389" cy="3042"/>
            </a:xfrm>
            <a:custGeom>
              <a:avLst/>
              <a:gdLst/>
              <a:ahLst/>
              <a:cxnLst>
                <a:cxn ang="0">
                  <a:pos x="5" y="0"/>
                </a:cxn>
                <a:cxn ang="0">
                  <a:pos x="5" y="1"/>
                </a:cxn>
                <a:cxn ang="0">
                  <a:pos x="4" y="3"/>
                </a:cxn>
                <a:cxn ang="0">
                  <a:pos x="1" y="3"/>
                </a:cxn>
                <a:cxn ang="0">
                  <a:pos x="0" y="3"/>
                </a:cxn>
                <a:cxn ang="0">
                  <a:pos x="1" y="1"/>
                </a:cxn>
                <a:cxn ang="0">
                  <a:pos x="3" y="0"/>
                </a:cxn>
                <a:cxn ang="0">
                  <a:pos x="5" y="0"/>
                </a:cxn>
              </a:cxnLst>
              <a:rect l="0" t="0" r="r" b="b"/>
              <a:pathLst>
                <a:path w="5" h="3">
                  <a:moveTo>
                    <a:pt x="5" y="0"/>
                  </a:moveTo>
                  <a:lnTo>
                    <a:pt x="5" y="1"/>
                  </a:lnTo>
                  <a:lnTo>
                    <a:pt x="4" y="3"/>
                  </a:lnTo>
                  <a:lnTo>
                    <a:pt x="1" y="3"/>
                  </a:lnTo>
                  <a:lnTo>
                    <a:pt x="0" y="3"/>
                  </a:lnTo>
                  <a:lnTo>
                    <a:pt x="1" y="1"/>
                  </a:lnTo>
                  <a:lnTo>
                    <a:pt x="3" y="0"/>
                  </a:lnTo>
                  <a:lnTo>
                    <a:pt x="5"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2" name="Freeform 41"/>
            <p:cNvSpPr>
              <a:spLocks/>
            </p:cNvSpPr>
            <p:nvPr/>
          </p:nvSpPr>
          <p:spPr bwMode="auto">
            <a:xfrm>
              <a:off x="5136710" y="4077818"/>
              <a:ext cx="4389" cy="3042"/>
            </a:xfrm>
            <a:custGeom>
              <a:avLst/>
              <a:gdLst/>
              <a:ahLst/>
              <a:cxnLst>
                <a:cxn ang="0">
                  <a:pos x="5" y="0"/>
                </a:cxn>
                <a:cxn ang="0">
                  <a:pos x="5" y="1"/>
                </a:cxn>
                <a:cxn ang="0">
                  <a:pos x="4" y="3"/>
                </a:cxn>
                <a:cxn ang="0">
                  <a:pos x="1" y="3"/>
                </a:cxn>
                <a:cxn ang="0">
                  <a:pos x="0" y="3"/>
                </a:cxn>
                <a:cxn ang="0">
                  <a:pos x="1" y="1"/>
                </a:cxn>
                <a:cxn ang="0">
                  <a:pos x="3" y="0"/>
                </a:cxn>
                <a:cxn ang="0">
                  <a:pos x="5" y="0"/>
                </a:cxn>
              </a:cxnLst>
              <a:rect l="0" t="0" r="r" b="b"/>
              <a:pathLst>
                <a:path w="5" h="3">
                  <a:moveTo>
                    <a:pt x="5" y="0"/>
                  </a:moveTo>
                  <a:lnTo>
                    <a:pt x="5" y="1"/>
                  </a:lnTo>
                  <a:lnTo>
                    <a:pt x="4" y="3"/>
                  </a:lnTo>
                  <a:lnTo>
                    <a:pt x="1" y="3"/>
                  </a:lnTo>
                  <a:lnTo>
                    <a:pt x="0" y="3"/>
                  </a:lnTo>
                  <a:lnTo>
                    <a:pt x="1" y="1"/>
                  </a:lnTo>
                  <a:lnTo>
                    <a:pt x="3" y="0"/>
                  </a:lnTo>
                  <a:lnTo>
                    <a:pt x="5"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3" name="Freeform 42"/>
            <p:cNvSpPr>
              <a:spLocks/>
            </p:cNvSpPr>
            <p:nvPr/>
          </p:nvSpPr>
          <p:spPr bwMode="auto">
            <a:xfrm>
              <a:off x="5139344" y="4085931"/>
              <a:ext cx="3511" cy="6085"/>
            </a:xfrm>
            <a:custGeom>
              <a:avLst/>
              <a:gdLst/>
              <a:ahLst/>
              <a:cxnLst>
                <a:cxn ang="0">
                  <a:pos x="0" y="0"/>
                </a:cxn>
                <a:cxn ang="0">
                  <a:pos x="0" y="0"/>
                </a:cxn>
                <a:cxn ang="0">
                  <a:pos x="4" y="2"/>
                </a:cxn>
                <a:cxn ang="0">
                  <a:pos x="4" y="3"/>
                </a:cxn>
                <a:cxn ang="0">
                  <a:pos x="4" y="5"/>
                </a:cxn>
                <a:cxn ang="0">
                  <a:pos x="4" y="5"/>
                </a:cxn>
                <a:cxn ang="0">
                  <a:pos x="2" y="6"/>
                </a:cxn>
                <a:cxn ang="0">
                  <a:pos x="0" y="0"/>
                </a:cxn>
              </a:cxnLst>
              <a:rect l="0" t="0" r="r" b="b"/>
              <a:pathLst>
                <a:path w="4" h="6">
                  <a:moveTo>
                    <a:pt x="0" y="0"/>
                  </a:moveTo>
                  <a:lnTo>
                    <a:pt x="0" y="0"/>
                  </a:lnTo>
                  <a:lnTo>
                    <a:pt x="4" y="2"/>
                  </a:lnTo>
                  <a:lnTo>
                    <a:pt x="4" y="3"/>
                  </a:lnTo>
                  <a:lnTo>
                    <a:pt x="4" y="5"/>
                  </a:lnTo>
                  <a:lnTo>
                    <a:pt x="4" y="5"/>
                  </a:lnTo>
                  <a:lnTo>
                    <a:pt x="2" y="6"/>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4" name="Freeform 43"/>
            <p:cNvSpPr>
              <a:spLocks/>
            </p:cNvSpPr>
            <p:nvPr/>
          </p:nvSpPr>
          <p:spPr bwMode="auto">
            <a:xfrm>
              <a:off x="5139344" y="4085931"/>
              <a:ext cx="3511" cy="6085"/>
            </a:xfrm>
            <a:custGeom>
              <a:avLst/>
              <a:gdLst/>
              <a:ahLst/>
              <a:cxnLst>
                <a:cxn ang="0">
                  <a:pos x="0" y="0"/>
                </a:cxn>
                <a:cxn ang="0">
                  <a:pos x="0" y="0"/>
                </a:cxn>
                <a:cxn ang="0">
                  <a:pos x="4" y="2"/>
                </a:cxn>
                <a:cxn ang="0">
                  <a:pos x="4" y="3"/>
                </a:cxn>
                <a:cxn ang="0">
                  <a:pos x="4" y="5"/>
                </a:cxn>
                <a:cxn ang="0">
                  <a:pos x="4" y="5"/>
                </a:cxn>
                <a:cxn ang="0">
                  <a:pos x="2" y="6"/>
                </a:cxn>
                <a:cxn ang="0">
                  <a:pos x="0" y="0"/>
                </a:cxn>
              </a:cxnLst>
              <a:rect l="0" t="0" r="r" b="b"/>
              <a:pathLst>
                <a:path w="4" h="6">
                  <a:moveTo>
                    <a:pt x="0" y="0"/>
                  </a:moveTo>
                  <a:lnTo>
                    <a:pt x="0" y="0"/>
                  </a:lnTo>
                  <a:lnTo>
                    <a:pt x="4" y="2"/>
                  </a:lnTo>
                  <a:lnTo>
                    <a:pt x="4" y="3"/>
                  </a:lnTo>
                  <a:lnTo>
                    <a:pt x="4" y="5"/>
                  </a:lnTo>
                  <a:lnTo>
                    <a:pt x="4" y="5"/>
                  </a:lnTo>
                  <a:lnTo>
                    <a:pt x="2" y="6"/>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5" name="Freeform 44"/>
            <p:cNvSpPr>
              <a:spLocks/>
            </p:cNvSpPr>
            <p:nvPr/>
          </p:nvSpPr>
          <p:spPr bwMode="auto">
            <a:xfrm>
              <a:off x="5134955" y="4084917"/>
              <a:ext cx="5267" cy="13184"/>
            </a:xfrm>
            <a:custGeom>
              <a:avLst/>
              <a:gdLst/>
              <a:ahLst/>
              <a:cxnLst>
                <a:cxn ang="0">
                  <a:pos x="0" y="3"/>
                </a:cxn>
                <a:cxn ang="0">
                  <a:pos x="0" y="1"/>
                </a:cxn>
                <a:cxn ang="0">
                  <a:pos x="2" y="0"/>
                </a:cxn>
                <a:cxn ang="0">
                  <a:pos x="6" y="10"/>
                </a:cxn>
                <a:cxn ang="0">
                  <a:pos x="6" y="12"/>
                </a:cxn>
                <a:cxn ang="0">
                  <a:pos x="5" y="12"/>
                </a:cxn>
                <a:cxn ang="0">
                  <a:pos x="5" y="12"/>
                </a:cxn>
                <a:cxn ang="0">
                  <a:pos x="3" y="9"/>
                </a:cxn>
                <a:cxn ang="0">
                  <a:pos x="2" y="6"/>
                </a:cxn>
                <a:cxn ang="0">
                  <a:pos x="0" y="3"/>
                </a:cxn>
              </a:cxnLst>
              <a:rect l="0" t="0" r="r" b="b"/>
              <a:pathLst>
                <a:path w="6" h="12">
                  <a:moveTo>
                    <a:pt x="0" y="3"/>
                  </a:moveTo>
                  <a:lnTo>
                    <a:pt x="0" y="1"/>
                  </a:lnTo>
                  <a:lnTo>
                    <a:pt x="2" y="0"/>
                  </a:lnTo>
                  <a:lnTo>
                    <a:pt x="6" y="10"/>
                  </a:lnTo>
                  <a:lnTo>
                    <a:pt x="6" y="12"/>
                  </a:lnTo>
                  <a:lnTo>
                    <a:pt x="5" y="12"/>
                  </a:lnTo>
                  <a:lnTo>
                    <a:pt x="5" y="12"/>
                  </a:lnTo>
                  <a:lnTo>
                    <a:pt x="3" y="9"/>
                  </a:lnTo>
                  <a:lnTo>
                    <a:pt x="2" y="6"/>
                  </a:lnTo>
                  <a:lnTo>
                    <a:pt x="0"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6" name="Freeform 45"/>
            <p:cNvSpPr>
              <a:spLocks/>
            </p:cNvSpPr>
            <p:nvPr/>
          </p:nvSpPr>
          <p:spPr bwMode="auto">
            <a:xfrm>
              <a:off x="5134955" y="4084917"/>
              <a:ext cx="5267" cy="13184"/>
            </a:xfrm>
            <a:custGeom>
              <a:avLst/>
              <a:gdLst/>
              <a:ahLst/>
              <a:cxnLst>
                <a:cxn ang="0">
                  <a:pos x="0" y="3"/>
                </a:cxn>
                <a:cxn ang="0">
                  <a:pos x="0" y="1"/>
                </a:cxn>
                <a:cxn ang="0">
                  <a:pos x="2" y="0"/>
                </a:cxn>
                <a:cxn ang="0">
                  <a:pos x="6" y="10"/>
                </a:cxn>
                <a:cxn ang="0">
                  <a:pos x="6" y="12"/>
                </a:cxn>
                <a:cxn ang="0">
                  <a:pos x="5" y="12"/>
                </a:cxn>
                <a:cxn ang="0">
                  <a:pos x="5" y="12"/>
                </a:cxn>
                <a:cxn ang="0">
                  <a:pos x="3" y="9"/>
                </a:cxn>
                <a:cxn ang="0">
                  <a:pos x="2" y="6"/>
                </a:cxn>
                <a:cxn ang="0">
                  <a:pos x="0" y="3"/>
                </a:cxn>
              </a:cxnLst>
              <a:rect l="0" t="0" r="r" b="b"/>
              <a:pathLst>
                <a:path w="6" h="12">
                  <a:moveTo>
                    <a:pt x="0" y="3"/>
                  </a:moveTo>
                  <a:lnTo>
                    <a:pt x="0" y="1"/>
                  </a:lnTo>
                  <a:lnTo>
                    <a:pt x="2" y="0"/>
                  </a:lnTo>
                  <a:lnTo>
                    <a:pt x="6" y="10"/>
                  </a:lnTo>
                  <a:lnTo>
                    <a:pt x="6" y="12"/>
                  </a:lnTo>
                  <a:lnTo>
                    <a:pt x="5" y="12"/>
                  </a:lnTo>
                  <a:lnTo>
                    <a:pt x="5" y="12"/>
                  </a:lnTo>
                  <a:lnTo>
                    <a:pt x="3" y="9"/>
                  </a:lnTo>
                  <a:lnTo>
                    <a:pt x="2" y="6"/>
                  </a:lnTo>
                  <a:lnTo>
                    <a:pt x="0"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7" name="Freeform 46"/>
            <p:cNvSpPr>
              <a:spLocks/>
            </p:cNvSpPr>
            <p:nvPr/>
          </p:nvSpPr>
          <p:spPr bwMode="auto">
            <a:xfrm>
              <a:off x="5141099" y="4094044"/>
              <a:ext cx="5267" cy="5071"/>
            </a:xfrm>
            <a:custGeom>
              <a:avLst/>
              <a:gdLst/>
              <a:ahLst/>
              <a:cxnLst>
                <a:cxn ang="0">
                  <a:pos x="0" y="0"/>
                </a:cxn>
                <a:cxn ang="0">
                  <a:pos x="3" y="0"/>
                </a:cxn>
                <a:cxn ang="0">
                  <a:pos x="5" y="1"/>
                </a:cxn>
                <a:cxn ang="0">
                  <a:pos x="6" y="3"/>
                </a:cxn>
                <a:cxn ang="0">
                  <a:pos x="6" y="4"/>
                </a:cxn>
                <a:cxn ang="0">
                  <a:pos x="2" y="3"/>
                </a:cxn>
                <a:cxn ang="0">
                  <a:pos x="0" y="1"/>
                </a:cxn>
                <a:cxn ang="0">
                  <a:pos x="0" y="0"/>
                </a:cxn>
                <a:cxn ang="0">
                  <a:pos x="0" y="0"/>
                </a:cxn>
              </a:cxnLst>
              <a:rect l="0" t="0" r="r" b="b"/>
              <a:pathLst>
                <a:path w="6" h="4">
                  <a:moveTo>
                    <a:pt x="0" y="0"/>
                  </a:moveTo>
                  <a:lnTo>
                    <a:pt x="3" y="0"/>
                  </a:lnTo>
                  <a:lnTo>
                    <a:pt x="5" y="1"/>
                  </a:lnTo>
                  <a:lnTo>
                    <a:pt x="6" y="3"/>
                  </a:lnTo>
                  <a:lnTo>
                    <a:pt x="6" y="4"/>
                  </a:lnTo>
                  <a:lnTo>
                    <a:pt x="2" y="3"/>
                  </a:lnTo>
                  <a:lnTo>
                    <a:pt x="0" y="1"/>
                  </a:lnTo>
                  <a:lnTo>
                    <a:pt x="0" y="0"/>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8" name="Freeform 47"/>
            <p:cNvSpPr>
              <a:spLocks/>
            </p:cNvSpPr>
            <p:nvPr/>
          </p:nvSpPr>
          <p:spPr bwMode="auto">
            <a:xfrm>
              <a:off x="5141099" y="4094044"/>
              <a:ext cx="5267" cy="5071"/>
            </a:xfrm>
            <a:custGeom>
              <a:avLst/>
              <a:gdLst/>
              <a:ahLst/>
              <a:cxnLst>
                <a:cxn ang="0">
                  <a:pos x="0" y="0"/>
                </a:cxn>
                <a:cxn ang="0">
                  <a:pos x="3" y="0"/>
                </a:cxn>
                <a:cxn ang="0">
                  <a:pos x="5" y="1"/>
                </a:cxn>
                <a:cxn ang="0">
                  <a:pos x="6" y="3"/>
                </a:cxn>
                <a:cxn ang="0">
                  <a:pos x="6" y="4"/>
                </a:cxn>
                <a:cxn ang="0">
                  <a:pos x="2" y="3"/>
                </a:cxn>
                <a:cxn ang="0">
                  <a:pos x="0" y="1"/>
                </a:cxn>
                <a:cxn ang="0">
                  <a:pos x="0" y="0"/>
                </a:cxn>
                <a:cxn ang="0">
                  <a:pos x="0" y="0"/>
                </a:cxn>
              </a:cxnLst>
              <a:rect l="0" t="0" r="r" b="b"/>
              <a:pathLst>
                <a:path w="6" h="4">
                  <a:moveTo>
                    <a:pt x="0" y="0"/>
                  </a:moveTo>
                  <a:lnTo>
                    <a:pt x="3" y="0"/>
                  </a:lnTo>
                  <a:lnTo>
                    <a:pt x="5" y="1"/>
                  </a:lnTo>
                  <a:lnTo>
                    <a:pt x="6" y="3"/>
                  </a:lnTo>
                  <a:lnTo>
                    <a:pt x="6" y="4"/>
                  </a:lnTo>
                  <a:lnTo>
                    <a:pt x="2" y="3"/>
                  </a:lnTo>
                  <a:lnTo>
                    <a:pt x="0" y="1"/>
                  </a:lnTo>
                  <a:lnTo>
                    <a:pt x="0" y="0"/>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9" name="Freeform 48"/>
            <p:cNvSpPr>
              <a:spLocks/>
            </p:cNvSpPr>
            <p:nvPr/>
          </p:nvSpPr>
          <p:spPr bwMode="auto">
            <a:xfrm>
              <a:off x="5134955" y="4094044"/>
              <a:ext cx="1756" cy="8113"/>
            </a:xfrm>
            <a:custGeom>
              <a:avLst/>
              <a:gdLst/>
              <a:ahLst/>
              <a:cxnLst>
                <a:cxn ang="0">
                  <a:pos x="0" y="3"/>
                </a:cxn>
                <a:cxn ang="0">
                  <a:pos x="0" y="1"/>
                </a:cxn>
                <a:cxn ang="0">
                  <a:pos x="2" y="0"/>
                </a:cxn>
                <a:cxn ang="0">
                  <a:pos x="2" y="1"/>
                </a:cxn>
                <a:cxn ang="0">
                  <a:pos x="2" y="4"/>
                </a:cxn>
                <a:cxn ang="0">
                  <a:pos x="2" y="5"/>
                </a:cxn>
                <a:cxn ang="0">
                  <a:pos x="0" y="7"/>
                </a:cxn>
                <a:cxn ang="0">
                  <a:pos x="0" y="5"/>
                </a:cxn>
                <a:cxn ang="0">
                  <a:pos x="0" y="3"/>
                </a:cxn>
              </a:cxnLst>
              <a:rect l="0" t="0" r="r" b="b"/>
              <a:pathLst>
                <a:path w="2" h="7">
                  <a:moveTo>
                    <a:pt x="0" y="3"/>
                  </a:moveTo>
                  <a:lnTo>
                    <a:pt x="0" y="1"/>
                  </a:lnTo>
                  <a:lnTo>
                    <a:pt x="2" y="0"/>
                  </a:lnTo>
                  <a:lnTo>
                    <a:pt x="2" y="1"/>
                  </a:lnTo>
                  <a:lnTo>
                    <a:pt x="2" y="4"/>
                  </a:lnTo>
                  <a:lnTo>
                    <a:pt x="2" y="5"/>
                  </a:lnTo>
                  <a:lnTo>
                    <a:pt x="0" y="7"/>
                  </a:lnTo>
                  <a:lnTo>
                    <a:pt x="0" y="5"/>
                  </a:lnTo>
                  <a:lnTo>
                    <a:pt x="0"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0" name="Freeform 49"/>
            <p:cNvSpPr>
              <a:spLocks/>
            </p:cNvSpPr>
            <p:nvPr/>
          </p:nvSpPr>
          <p:spPr bwMode="auto">
            <a:xfrm>
              <a:off x="5134955" y="4094044"/>
              <a:ext cx="1756" cy="8113"/>
            </a:xfrm>
            <a:custGeom>
              <a:avLst/>
              <a:gdLst/>
              <a:ahLst/>
              <a:cxnLst>
                <a:cxn ang="0">
                  <a:pos x="0" y="3"/>
                </a:cxn>
                <a:cxn ang="0">
                  <a:pos x="0" y="1"/>
                </a:cxn>
                <a:cxn ang="0">
                  <a:pos x="2" y="0"/>
                </a:cxn>
                <a:cxn ang="0">
                  <a:pos x="2" y="1"/>
                </a:cxn>
                <a:cxn ang="0">
                  <a:pos x="2" y="4"/>
                </a:cxn>
                <a:cxn ang="0">
                  <a:pos x="2" y="5"/>
                </a:cxn>
                <a:cxn ang="0">
                  <a:pos x="0" y="7"/>
                </a:cxn>
                <a:cxn ang="0">
                  <a:pos x="0" y="5"/>
                </a:cxn>
                <a:cxn ang="0">
                  <a:pos x="0" y="3"/>
                </a:cxn>
              </a:cxnLst>
              <a:rect l="0" t="0" r="r" b="b"/>
              <a:pathLst>
                <a:path w="2" h="7">
                  <a:moveTo>
                    <a:pt x="0" y="3"/>
                  </a:moveTo>
                  <a:lnTo>
                    <a:pt x="0" y="1"/>
                  </a:lnTo>
                  <a:lnTo>
                    <a:pt x="2" y="0"/>
                  </a:lnTo>
                  <a:lnTo>
                    <a:pt x="2" y="1"/>
                  </a:lnTo>
                  <a:lnTo>
                    <a:pt x="2" y="4"/>
                  </a:lnTo>
                  <a:lnTo>
                    <a:pt x="2" y="5"/>
                  </a:lnTo>
                  <a:lnTo>
                    <a:pt x="0" y="7"/>
                  </a:lnTo>
                  <a:lnTo>
                    <a:pt x="0" y="5"/>
                  </a:lnTo>
                  <a:lnTo>
                    <a:pt x="0"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1" name="Freeform 50"/>
            <p:cNvSpPr>
              <a:spLocks/>
            </p:cNvSpPr>
            <p:nvPr/>
          </p:nvSpPr>
          <p:spPr bwMode="auto">
            <a:xfrm>
              <a:off x="5137588" y="4100129"/>
              <a:ext cx="10534" cy="30424"/>
            </a:xfrm>
            <a:custGeom>
              <a:avLst/>
              <a:gdLst/>
              <a:ahLst/>
              <a:cxnLst>
                <a:cxn ang="0">
                  <a:pos x="3" y="6"/>
                </a:cxn>
                <a:cxn ang="0">
                  <a:pos x="4" y="6"/>
                </a:cxn>
                <a:cxn ang="0">
                  <a:pos x="3" y="3"/>
                </a:cxn>
                <a:cxn ang="0">
                  <a:pos x="3" y="2"/>
                </a:cxn>
                <a:cxn ang="0">
                  <a:pos x="4" y="0"/>
                </a:cxn>
                <a:cxn ang="0">
                  <a:pos x="6" y="0"/>
                </a:cxn>
                <a:cxn ang="0">
                  <a:pos x="9" y="3"/>
                </a:cxn>
                <a:cxn ang="0">
                  <a:pos x="12" y="27"/>
                </a:cxn>
                <a:cxn ang="0">
                  <a:pos x="10" y="30"/>
                </a:cxn>
                <a:cxn ang="0">
                  <a:pos x="7" y="30"/>
                </a:cxn>
                <a:cxn ang="0">
                  <a:pos x="6" y="27"/>
                </a:cxn>
                <a:cxn ang="0">
                  <a:pos x="6" y="21"/>
                </a:cxn>
                <a:cxn ang="0">
                  <a:pos x="6" y="19"/>
                </a:cxn>
                <a:cxn ang="0">
                  <a:pos x="6" y="18"/>
                </a:cxn>
                <a:cxn ang="0">
                  <a:pos x="2" y="16"/>
                </a:cxn>
                <a:cxn ang="0">
                  <a:pos x="0" y="14"/>
                </a:cxn>
                <a:cxn ang="0">
                  <a:pos x="0" y="12"/>
                </a:cxn>
                <a:cxn ang="0">
                  <a:pos x="2" y="12"/>
                </a:cxn>
                <a:cxn ang="0">
                  <a:pos x="4" y="14"/>
                </a:cxn>
                <a:cxn ang="0">
                  <a:pos x="4" y="11"/>
                </a:cxn>
                <a:cxn ang="0">
                  <a:pos x="3" y="11"/>
                </a:cxn>
                <a:cxn ang="0">
                  <a:pos x="2" y="9"/>
                </a:cxn>
                <a:cxn ang="0">
                  <a:pos x="2" y="8"/>
                </a:cxn>
                <a:cxn ang="0">
                  <a:pos x="3" y="6"/>
                </a:cxn>
              </a:cxnLst>
              <a:rect l="0" t="0" r="r" b="b"/>
              <a:pathLst>
                <a:path w="12" h="30">
                  <a:moveTo>
                    <a:pt x="3" y="6"/>
                  </a:moveTo>
                  <a:lnTo>
                    <a:pt x="4" y="6"/>
                  </a:lnTo>
                  <a:lnTo>
                    <a:pt x="3" y="3"/>
                  </a:lnTo>
                  <a:lnTo>
                    <a:pt x="3" y="2"/>
                  </a:lnTo>
                  <a:lnTo>
                    <a:pt x="4" y="0"/>
                  </a:lnTo>
                  <a:lnTo>
                    <a:pt x="6" y="0"/>
                  </a:lnTo>
                  <a:lnTo>
                    <a:pt x="9" y="3"/>
                  </a:lnTo>
                  <a:lnTo>
                    <a:pt x="12" y="27"/>
                  </a:lnTo>
                  <a:lnTo>
                    <a:pt x="10" y="30"/>
                  </a:lnTo>
                  <a:lnTo>
                    <a:pt x="7" y="30"/>
                  </a:lnTo>
                  <a:lnTo>
                    <a:pt x="6" y="27"/>
                  </a:lnTo>
                  <a:lnTo>
                    <a:pt x="6" y="21"/>
                  </a:lnTo>
                  <a:lnTo>
                    <a:pt x="6" y="19"/>
                  </a:lnTo>
                  <a:lnTo>
                    <a:pt x="6" y="18"/>
                  </a:lnTo>
                  <a:lnTo>
                    <a:pt x="2" y="16"/>
                  </a:lnTo>
                  <a:lnTo>
                    <a:pt x="0" y="14"/>
                  </a:lnTo>
                  <a:lnTo>
                    <a:pt x="0" y="12"/>
                  </a:lnTo>
                  <a:lnTo>
                    <a:pt x="2" y="12"/>
                  </a:lnTo>
                  <a:lnTo>
                    <a:pt x="4" y="14"/>
                  </a:lnTo>
                  <a:lnTo>
                    <a:pt x="4" y="11"/>
                  </a:lnTo>
                  <a:lnTo>
                    <a:pt x="3" y="11"/>
                  </a:lnTo>
                  <a:lnTo>
                    <a:pt x="2" y="9"/>
                  </a:lnTo>
                  <a:lnTo>
                    <a:pt x="2" y="8"/>
                  </a:lnTo>
                  <a:lnTo>
                    <a:pt x="3"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2" name="Freeform 51"/>
            <p:cNvSpPr>
              <a:spLocks/>
            </p:cNvSpPr>
            <p:nvPr/>
          </p:nvSpPr>
          <p:spPr bwMode="auto">
            <a:xfrm>
              <a:off x="5137588" y="4100129"/>
              <a:ext cx="10534" cy="30424"/>
            </a:xfrm>
            <a:custGeom>
              <a:avLst/>
              <a:gdLst/>
              <a:ahLst/>
              <a:cxnLst>
                <a:cxn ang="0">
                  <a:pos x="3" y="6"/>
                </a:cxn>
                <a:cxn ang="0">
                  <a:pos x="4" y="6"/>
                </a:cxn>
                <a:cxn ang="0">
                  <a:pos x="3" y="3"/>
                </a:cxn>
                <a:cxn ang="0">
                  <a:pos x="3" y="2"/>
                </a:cxn>
                <a:cxn ang="0">
                  <a:pos x="4" y="0"/>
                </a:cxn>
                <a:cxn ang="0">
                  <a:pos x="6" y="0"/>
                </a:cxn>
                <a:cxn ang="0">
                  <a:pos x="9" y="3"/>
                </a:cxn>
                <a:cxn ang="0">
                  <a:pos x="12" y="27"/>
                </a:cxn>
                <a:cxn ang="0">
                  <a:pos x="10" y="30"/>
                </a:cxn>
                <a:cxn ang="0">
                  <a:pos x="7" y="30"/>
                </a:cxn>
                <a:cxn ang="0">
                  <a:pos x="6" y="27"/>
                </a:cxn>
                <a:cxn ang="0">
                  <a:pos x="6" y="21"/>
                </a:cxn>
                <a:cxn ang="0">
                  <a:pos x="6" y="19"/>
                </a:cxn>
                <a:cxn ang="0">
                  <a:pos x="6" y="18"/>
                </a:cxn>
                <a:cxn ang="0">
                  <a:pos x="2" y="16"/>
                </a:cxn>
                <a:cxn ang="0">
                  <a:pos x="0" y="14"/>
                </a:cxn>
                <a:cxn ang="0">
                  <a:pos x="0" y="12"/>
                </a:cxn>
                <a:cxn ang="0">
                  <a:pos x="2" y="12"/>
                </a:cxn>
                <a:cxn ang="0">
                  <a:pos x="4" y="14"/>
                </a:cxn>
                <a:cxn ang="0">
                  <a:pos x="4" y="11"/>
                </a:cxn>
                <a:cxn ang="0">
                  <a:pos x="3" y="11"/>
                </a:cxn>
                <a:cxn ang="0">
                  <a:pos x="2" y="9"/>
                </a:cxn>
                <a:cxn ang="0">
                  <a:pos x="2" y="8"/>
                </a:cxn>
                <a:cxn ang="0">
                  <a:pos x="3" y="6"/>
                </a:cxn>
              </a:cxnLst>
              <a:rect l="0" t="0" r="r" b="b"/>
              <a:pathLst>
                <a:path w="12" h="30">
                  <a:moveTo>
                    <a:pt x="3" y="6"/>
                  </a:moveTo>
                  <a:lnTo>
                    <a:pt x="4" y="6"/>
                  </a:lnTo>
                  <a:lnTo>
                    <a:pt x="3" y="3"/>
                  </a:lnTo>
                  <a:lnTo>
                    <a:pt x="3" y="2"/>
                  </a:lnTo>
                  <a:lnTo>
                    <a:pt x="4" y="0"/>
                  </a:lnTo>
                  <a:lnTo>
                    <a:pt x="6" y="0"/>
                  </a:lnTo>
                  <a:lnTo>
                    <a:pt x="9" y="3"/>
                  </a:lnTo>
                  <a:lnTo>
                    <a:pt x="12" y="27"/>
                  </a:lnTo>
                  <a:lnTo>
                    <a:pt x="10" y="30"/>
                  </a:lnTo>
                  <a:lnTo>
                    <a:pt x="7" y="30"/>
                  </a:lnTo>
                  <a:lnTo>
                    <a:pt x="6" y="27"/>
                  </a:lnTo>
                  <a:lnTo>
                    <a:pt x="6" y="21"/>
                  </a:lnTo>
                  <a:lnTo>
                    <a:pt x="6" y="19"/>
                  </a:lnTo>
                  <a:lnTo>
                    <a:pt x="6" y="18"/>
                  </a:lnTo>
                  <a:lnTo>
                    <a:pt x="2" y="16"/>
                  </a:lnTo>
                  <a:lnTo>
                    <a:pt x="0" y="14"/>
                  </a:lnTo>
                  <a:lnTo>
                    <a:pt x="0" y="12"/>
                  </a:lnTo>
                  <a:lnTo>
                    <a:pt x="2" y="12"/>
                  </a:lnTo>
                  <a:lnTo>
                    <a:pt x="4" y="14"/>
                  </a:lnTo>
                  <a:lnTo>
                    <a:pt x="4" y="11"/>
                  </a:lnTo>
                  <a:lnTo>
                    <a:pt x="3" y="11"/>
                  </a:lnTo>
                  <a:lnTo>
                    <a:pt x="2" y="9"/>
                  </a:lnTo>
                  <a:lnTo>
                    <a:pt x="2" y="8"/>
                  </a:lnTo>
                  <a:lnTo>
                    <a:pt x="3"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3" name="Freeform 52"/>
            <p:cNvSpPr>
              <a:spLocks/>
            </p:cNvSpPr>
            <p:nvPr/>
          </p:nvSpPr>
          <p:spPr bwMode="auto">
            <a:xfrm>
              <a:off x="5133199" y="4121425"/>
              <a:ext cx="4389" cy="4057"/>
            </a:xfrm>
            <a:custGeom>
              <a:avLst/>
              <a:gdLst/>
              <a:ahLst/>
              <a:cxnLst>
                <a:cxn ang="0">
                  <a:pos x="0" y="1"/>
                </a:cxn>
                <a:cxn ang="0">
                  <a:pos x="0" y="0"/>
                </a:cxn>
                <a:cxn ang="0">
                  <a:pos x="0" y="0"/>
                </a:cxn>
                <a:cxn ang="0">
                  <a:pos x="3" y="0"/>
                </a:cxn>
                <a:cxn ang="0">
                  <a:pos x="4" y="4"/>
                </a:cxn>
                <a:cxn ang="0">
                  <a:pos x="4" y="4"/>
                </a:cxn>
                <a:cxn ang="0">
                  <a:pos x="1" y="4"/>
                </a:cxn>
                <a:cxn ang="0">
                  <a:pos x="0" y="3"/>
                </a:cxn>
                <a:cxn ang="0">
                  <a:pos x="0" y="1"/>
                </a:cxn>
              </a:cxnLst>
              <a:rect l="0" t="0" r="r" b="b"/>
              <a:pathLst>
                <a:path w="4" h="4">
                  <a:moveTo>
                    <a:pt x="0" y="1"/>
                  </a:moveTo>
                  <a:lnTo>
                    <a:pt x="0" y="0"/>
                  </a:lnTo>
                  <a:lnTo>
                    <a:pt x="0" y="0"/>
                  </a:lnTo>
                  <a:lnTo>
                    <a:pt x="3" y="0"/>
                  </a:lnTo>
                  <a:lnTo>
                    <a:pt x="4" y="4"/>
                  </a:lnTo>
                  <a:lnTo>
                    <a:pt x="4" y="4"/>
                  </a:lnTo>
                  <a:lnTo>
                    <a:pt x="1" y="4"/>
                  </a:lnTo>
                  <a:lnTo>
                    <a:pt x="0" y="3"/>
                  </a:lnTo>
                  <a:lnTo>
                    <a:pt x="0"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4" name="Freeform 53"/>
            <p:cNvSpPr>
              <a:spLocks/>
            </p:cNvSpPr>
            <p:nvPr/>
          </p:nvSpPr>
          <p:spPr bwMode="auto">
            <a:xfrm>
              <a:off x="5133199" y="4121425"/>
              <a:ext cx="4389" cy="4057"/>
            </a:xfrm>
            <a:custGeom>
              <a:avLst/>
              <a:gdLst/>
              <a:ahLst/>
              <a:cxnLst>
                <a:cxn ang="0">
                  <a:pos x="0" y="1"/>
                </a:cxn>
                <a:cxn ang="0">
                  <a:pos x="0" y="0"/>
                </a:cxn>
                <a:cxn ang="0">
                  <a:pos x="0" y="0"/>
                </a:cxn>
                <a:cxn ang="0">
                  <a:pos x="3" y="0"/>
                </a:cxn>
                <a:cxn ang="0">
                  <a:pos x="4" y="4"/>
                </a:cxn>
                <a:cxn ang="0">
                  <a:pos x="4" y="4"/>
                </a:cxn>
                <a:cxn ang="0">
                  <a:pos x="1" y="4"/>
                </a:cxn>
                <a:cxn ang="0">
                  <a:pos x="0" y="3"/>
                </a:cxn>
                <a:cxn ang="0">
                  <a:pos x="0" y="1"/>
                </a:cxn>
              </a:cxnLst>
              <a:rect l="0" t="0" r="r" b="b"/>
              <a:pathLst>
                <a:path w="4" h="4">
                  <a:moveTo>
                    <a:pt x="0" y="1"/>
                  </a:moveTo>
                  <a:lnTo>
                    <a:pt x="0" y="0"/>
                  </a:lnTo>
                  <a:lnTo>
                    <a:pt x="0" y="0"/>
                  </a:lnTo>
                  <a:lnTo>
                    <a:pt x="3" y="0"/>
                  </a:lnTo>
                  <a:lnTo>
                    <a:pt x="4" y="4"/>
                  </a:lnTo>
                  <a:lnTo>
                    <a:pt x="4" y="4"/>
                  </a:lnTo>
                  <a:lnTo>
                    <a:pt x="1" y="4"/>
                  </a:lnTo>
                  <a:lnTo>
                    <a:pt x="0" y="3"/>
                  </a:lnTo>
                  <a:lnTo>
                    <a:pt x="0"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5" name="Freeform 54"/>
            <p:cNvSpPr>
              <a:spLocks/>
            </p:cNvSpPr>
            <p:nvPr/>
          </p:nvSpPr>
          <p:spPr bwMode="auto">
            <a:xfrm>
              <a:off x="5136710" y="4132581"/>
              <a:ext cx="6144" cy="9127"/>
            </a:xfrm>
            <a:custGeom>
              <a:avLst/>
              <a:gdLst/>
              <a:ahLst/>
              <a:cxnLst>
                <a:cxn ang="0">
                  <a:pos x="0" y="3"/>
                </a:cxn>
                <a:cxn ang="0">
                  <a:pos x="0" y="2"/>
                </a:cxn>
                <a:cxn ang="0">
                  <a:pos x="0" y="0"/>
                </a:cxn>
                <a:cxn ang="0">
                  <a:pos x="3" y="2"/>
                </a:cxn>
                <a:cxn ang="0">
                  <a:pos x="4" y="0"/>
                </a:cxn>
                <a:cxn ang="0">
                  <a:pos x="5" y="0"/>
                </a:cxn>
                <a:cxn ang="0">
                  <a:pos x="7" y="2"/>
                </a:cxn>
                <a:cxn ang="0">
                  <a:pos x="5" y="5"/>
                </a:cxn>
                <a:cxn ang="0">
                  <a:pos x="5" y="8"/>
                </a:cxn>
                <a:cxn ang="0">
                  <a:pos x="3" y="6"/>
                </a:cxn>
                <a:cxn ang="0">
                  <a:pos x="1" y="5"/>
                </a:cxn>
                <a:cxn ang="0">
                  <a:pos x="0" y="6"/>
                </a:cxn>
                <a:cxn ang="0">
                  <a:pos x="0" y="3"/>
                </a:cxn>
              </a:cxnLst>
              <a:rect l="0" t="0" r="r" b="b"/>
              <a:pathLst>
                <a:path w="7" h="8">
                  <a:moveTo>
                    <a:pt x="0" y="3"/>
                  </a:moveTo>
                  <a:lnTo>
                    <a:pt x="0" y="2"/>
                  </a:lnTo>
                  <a:lnTo>
                    <a:pt x="0" y="0"/>
                  </a:lnTo>
                  <a:lnTo>
                    <a:pt x="3" y="2"/>
                  </a:lnTo>
                  <a:lnTo>
                    <a:pt x="4" y="0"/>
                  </a:lnTo>
                  <a:lnTo>
                    <a:pt x="5" y="0"/>
                  </a:lnTo>
                  <a:lnTo>
                    <a:pt x="7" y="2"/>
                  </a:lnTo>
                  <a:lnTo>
                    <a:pt x="5" y="5"/>
                  </a:lnTo>
                  <a:lnTo>
                    <a:pt x="5" y="8"/>
                  </a:lnTo>
                  <a:lnTo>
                    <a:pt x="3" y="6"/>
                  </a:lnTo>
                  <a:lnTo>
                    <a:pt x="1" y="5"/>
                  </a:lnTo>
                  <a:lnTo>
                    <a:pt x="0" y="6"/>
                  </a:lnTo>
                  <a:lnTo>
                    <a:pt x="0"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6" name="Freeform 55"/>
            <p:cNvSpPr>
              <a:spLocks/>
            </p:cNvSpPr>
            <p:nvPr/>
          </p:nvSpPr>
          <p:spPr bwMode="auto">
            <a:xfrm>
              <a:off x="5136710" y="4132581"/>
              <a:ext cx="6144" cy="9127"/>
            </a:xfrm>
            <a:custGeom>
              <a:avLst/>
              <a:gdLst/>
              <a:ahLst/>
              <a:cxnLst>
                <a:cxn ang="0">
                  <a:pos x="0" y="3"/>
                </a:cxn>
                <a:cxn ang="0">
                  <a:pos x="0" y="2"/>
                </a:cxn>
                <a:cxn ang="0">
                  <a:pos x="0" y="0"/>
                </a:cxn>
                <a:cxn ang="0">
                  <a:pos x="3" y="2"/>
                </a:cxn>
                <a:cxn ang="0">
                  <a:pos x="4" y="0"/>
                </a:cxn>
                <a:cxn ang="0">
                  <a:pos x="5" y="0"/>
                </a:cxn>
                <a:cxn ang="0">
                  <a:pos x="7" y="2"/>
                </a:cxn>
                <a:cxn ang="0">
                  <a:pos x="5" y="5"/>
                </a:cxn>
                <a:cxn ang="0">
                  <a:pos x="5" y="8"/>
                </a:cxn>
                <a:cxn ang="0">
                  <a:pos x="3" y="6"/>
                </a:cxn>
                <a:cxn ang="0">
                  <a:pos x="1" y="5"/>
                </a:cxn>
                <a:cxn ang="0">
                  <a:pos x="0" y="6"/>
                </a:cxn>
                <a:cxn ang="0">
                  <a:pos x="0" y="3"/>
                </a:cxn>
              </a:cxnLst>
              <a:rect l="0" t="0" r="r" b="b"/>
              <a:pathLst>
                <a:path w="7" h="8">
                  <a:moveTo>
                    <a:pt x="0" y="3"/>
                  </a:moveTo>
                  <a:lnTo>
                    <a:pt x="0" y="2"/>
                  </a:lnTo>
                  <a:lnTo>
                    <a:pt x="0" y="0"/>
                  </a:lnTo>
                  <a:lnTo>
                    <a:pt x="3" y="2"/>
                  </a:lnTo>
                  <a:lnTo>
                    <a:pt x="4" y="0"/>
                  </a:lnTo>
                  <a:lnTo>
                    <a:pt x="5" y="0"/>
                  </a:lnTo>
                  <a:lnTo>
                    <a:pt x="7" y="2"/>
                  </a:lnTo>
                  <a:lnTo>
                    <a:pt x="5" y="5"/>
                  </a:lnTo>
                  <a:lnTo>
                    <a:pt x="5" y="8"/>
                  </a:lnTo>
                  <a:lnTo>
                    <a:pt x="3" y="6"/>
                  </a:lnTo>
                  <a:lnTo>
                    <a:pt x="1" y="5"/>
                  </a:lnTo>
                  <a:lnTo>
                    <a:pt x="0" y="6"/>
                  </a:lnTo>
                  <a:lnTo>
                    <a:pt x="0"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7" name="Freeform 56"/>
            <p:cNvSpPr>
              <a:spLocks/>
            </p:cNvSpPr>
            <p:nvPr/>
          </p:nvSpPr>
          <p:spPr bwMode="auto">
            <a:xfrm>
              <a:off x="5143733" y="4138665"/>
              <a:ext cx="7900" cy="10141"/>
            </a:xfrm>
            <a:custGeom>
              <a:avLst/>
              <a:gdLst/>
              <a:ahLst/>
              <a:cxnLst>
                <a:cxn ang="0">
                  <a:pos x="5" y="7"/>
                </a:cxn>
                <a:cxn ang="0">
                  <a:pos x="2" y="7"/>
                </a:cxn>
                <a:cxn ang="0">
                  <a:pos x="2" y="6"/>
                </a:cxn>
                <a:cxn ang="0">
                  <a:pos x="0" y="1"/>
                </a:cxn>
                <a:cxn ang="0">
                  <a:pos x="0" y="0"/>
                </a:cxn>
                <a:cxn ang="0">
                  <a:pos x="2" y="0"/>
                </a:cxn>
                <a:cxn ang="0">
                  <a:pos x="8" y="6"/>
                </a:cxn>
                <a:cxn ang="0">
                  <a:pos x="9" y="10"/>
                </a:cxn>
                <a:cxn ang="0">
                  <a:pos x="8" y="10"/>
                </a:cxn>
                <a:cxn ang="0">
                  <a:pos x="5" y="7"/>
                </a:cxn>
              </a:cxnLst>
              <a:rect l="0" t="0" r="r" b="b"/>
              <a:pathLst>
                <a:path w="9" h="10">
                  <a:moveTo>
                    <a:pt x="5" y="7"/>
                  </a:moveTo>
                  <a:lnTo>
                    <a:pt x="2" y="7"/>
                  </a:lnTo>
                  <a:lnTo>
                    <a:pt x="2" y="6"/>
                  </a:lnTo>
                  <a:lnTo>
                    <a:pt x="0" y="1"/>
                  </a:lnTo>
                  <a:lnTo>
                    <a:pt x="0" y="0"/>
                  </a:lnTo>
                  <a:lnTo>
                    <a:pt x="2" y="0"/>
                  </a:lnTo>
                  <a:lnTo>
                    <a:pt x="8" y="6"/>
                  </a:lnTo>
                  <a:lnTo>
                    <a:pt x="9" y="10"/>
                  </a:lnTo>
                  <a:lnTo>
                    <a:pt x="8" y="10"/>
                  </a:lnTo>
                  <a:lnTo>
                    <a:pt x="5" y="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8" name="Freeform 57"/>
            <p:cNvSpPr>
              <a:spLocks/>
            </p:cNvSpPr>
            <p:nvPr/>
          </p:nvSpPr>
          <p:spPr bwMode="auto">
            <a:xfrm>
              <a:off x="5143733" y="4138665"/>
              <a:ext cx="7900" cy="10141"/>
            </a:xfrm>
            <a:custGeom>
              <a:avLst/>
              <a:gdLst/>
              <a:ahLst/>
              <a:cxnLst>
                <a:cxn ang="0">
                  <a:pos x="5" y="7"/>
                </a:cxn>
                <a:cxn ang="0">
                  <a:pos x="2" y="7"/>
                </a:cxn>
                <a:cxn ang="0">
                  <a:pos x="2" y="6"/>
                </a:cxn>
                <a:cxn ang="0">
                  <a:pos x="0" y="1"/>
                </a:cxn>
                <a:cxn ang="0">
                  <a:pos x="0" y="0"/>
                </a:cxn>
                <a:cxn ang="0">
                  <a:pos x="2" y="0"/>
                </a:cxn>
                <a:cxn ang="0">
                  <a:pos x="8" y="6"/>
                </a:cxn>
                <a:cxn ang="0">
                  <a:pos x="9" y="10"/>
                </a:cxn>
                <a:cxn ang="0">
                  <a:pos x="8" y="10"/>
                </a:cxn>
                <a:cxn ang="0">
                  <a:pos x="5" y="7"/>
                </a:cxn>
              </a:cxnLst>
              <a:rect l="0" t="0" r="r" b="b"/>
              <a:pathLst>
                <a:path w="9" h="10">
                  <a:moveTo>
                    <a:pt x="5" y="7"/>
                  </a:moveTo>
                  <a:lnTo>
                    <a:pt x="2" y="7"/>
                  </a:lnTo>
                  <a:lnTo>
                    <a:pt x="2" y="6"/>
                  </a:lnTo>
                  <a:lnTo>
                    <a:pt x="0" y="1"/>
                  </a:lnTo>
                  <a:lnTo>
                    <a:pt x="0" y="0"/>
                  </a:lnTo>
                  <a:lnTo>
                    <a:pt x="2" y="0"/>
                  </a:lnTo>
                  <a:lnTo>
                    <a:pt x="8" y="6"/>
                  </a:lnTo>
                  <a:lnTo>
                    <a:pt x="9" y="10"/>
                  </a:lnTo>
                  <a:lnTo>
                    <a:pt x="8" y="10"/>
                  </a:lnTo>
                  <a:lnTo>
                    <a:pt x="5" y="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9" name="Freeform 58"/>
            <p:cNvSpPr>
              <a:spLocks/>
            </p:cNvSpPr>
            <p:nvPr/>
          </p:nvSpPr>
          <p:spPr bwMode="auto">
            <a:xfrm>
              <a:off x="5142855" y="4144751"/>
              <a:ext cx="5267" cy="13183"/>
            </a:xfrm>
            <a:custGeom>
              <a:avLst/>
              <a:gdLst/>
              <a:ahLst/>
              <a:cxnLst>
                <a:cxn ang="0">
                  <a:pos x="6" y="7"/>
                </a:cxn>
                <a:cxn ang="0">
                  <a:pos x="4" y="10"/>
                </a:cxn>
                <a:cxn ang="0">
                  <a:pos x="4" y="13"/>
                </a:cxn>
                <a:cxn ang="0">
                  <a:pos x="3" y="11"/>
                </a:cxn>
                <a:cxn ang="0">
                  <a:pos x="0" y="5"/>
                </a:cxn>
                <a:cxn ang="0">
                  <a:pos x="0" y="0"/>
                </a:cxn>
                <a:cxn ang="0">
                  <a:pos x="0" y="1"/>
                </a:cxn>
                <a:cxn ang="0">
                  <a:pos x="4" y="3"/>
                </a:cxn>
                <a:cxn ang="0">
                  <a:pos x="6" y="7"/>
                </a:cxn>
              </a:cxnLst>
              <a:rect l="0" t="0" r="r" b="b"/>
              <a:pathLst>
                <a:path w="6" h="13">
                  <a:moveTo>
                    <a:pt x="6" y="7"/>
                  </a:moveTo>
                  <a:lnTo>
                    <a:pt x="4" y="10"/>
                  </a:lnTo>
                  <a:lnTo>
                    <a:pt x="4" y="13"/>
                  </a:lnTo>
                  <a:lnTo>
                    <a:pt x="3" y="11"/>
                  </a:lnTo>
                  <a:lnTo>
                    <a:pt x="0" y="5"/>
                  </a:lnTo>
                  <a:lnTo>
                    <a:pt x="0" y="0"/>
                  </a:lnTo>
                  <a:lnTo>
                    <a:pt x="0" y="1"/>
                  </a:lnTo>
                  <a:lnTo>
                    <a:pt x="4" y="3"/>
                  </a:lnTo>
                  <a:lnTo>
                    <a:pt x="6" y="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0" name="Freeform 59"/>
            <p:cNvSpPr>
              <a:spLocks/>
            </p:cNvSpPr>
            <p:nvPr/>
          </p:nvSpPr>
          <p:spPr bwMode="auto">
            <a:xfrm>
              <a:off x="5142855" y="4144751"/>
              <a:ext cx="5267" cy="13183"/>
            </a:xfrm>
            <a:custGeom>
              <a:avLst/>
              <a:gdLst/>
              <a:ahLst/>
              <a:cxnLst>
                <a:cxn ang="0">
                  <a:pos x="6" y="7"/>
                </a:cxn>
                <a:cxn ang="0">
                  <a:pos x="4" y="10"/>
                </a:cxn>
                <a:cxn ang="0">
                  <a:pos x="4" y="13"/>
                </a:cxn>
                <a:cxn ang="0">
                  <a:pos x="3" y="11"/>
                </a:cxn>
                <a:cxn ang="0">
                  <a:pos x="0" y="5"/>
                </a:cxn>
                <a:cxn ang="0">
                  <a:pos x="0" y="0"/>
                </a:cxn>
                <a:cxn ang="0">
                  <a:pos x="0" y="1"/>
                </a:cxn>
                <a:cxn ang="0">
                  <a:pos x="4" y="3"/>
                </a:cxn>
                <a:cxn ang="0">
                  <a:pos x="6" y="7"/>
                </a:cxn>
              </a:cxnLst>
              <a:rect l="0" t="0" r="r" b="b"/>
              <a:pathLst>
                <a:path w="6" h="13">
                  <a:moveTo>
                    <a:pt x="6" y="7"/>
                  </a:moveTo>
                  <a:lnTo>
                    <a:pt x="4" y="10"/>
                  </a:lnTo>
                  <a:lnTo>
                    <a:pt x="4" y="13"/>
                  </a:lnTo>
                  <a:lnTo>
                    <a:pt x="3" y="11"/>
                  </a:lnTo>
                  <a:lnTo>
                    <a:pt x="0" y="5"/>
                  </a:lnTo>
                  <a:lnTo>
                    <a:pt x="0" y="0"/>
                  </a:lnTo>
                  <a:lnTo>
                    <a:pt x="0" y="1"/>
                  </a:lnTo>
                  <a:lnTo>
                    <a:pt x="4" y="3"/>
                  </a:lnTo>
                  <a:lnTo>
                    <a:pt x="6" y="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1" name="Freeform 60"/>
            <p:cNvSpPr>
              <a:spLocks/>
            </p:cNvSpPr>
            <p:nvPr/>
          </p:nvSpPr>
          <p:spPr bwMode="auto">
            <a:xfrm>
              <a:off x="5141099" y="4157934"/>
              <a:ext cx="4389" cy="6085"/>
            </a:xfrm>
            <a:custGeom>
              <a:avLst/>
              <a:gdLst/>
              <a:ahLst/>
              <a:cxnLst>
                <a:cxn ang="0">
                  <a:pos x="0" y="4"/>
                </a:cxn>
                <a:cxn ang="0">
                  <a:pos x="2" y="3"/>
                </a:cxn>
                <a:cxn ang="0">
                  <a:pos x="3" y="0"/>
                </a:cxn>
                <a:cxn ang="0">
                  <a:pos x="5" y="0"/>
                </a:cxn>
                <a:cxn ang="0">
                  <a:pos x="5" y="4"/>
                </a:cxn>
                <a:cxn ang="0">
                  <a:pos x="3" y="6"/>
                </a:cxn>
                <a:cxn ang="0">
                  <a:pos x="2" y="4"/>
                </a:cxn>
                <a:cxn ang="0">
                  <a:pos x="0" y="4"/>
                </a:cxn>
              </a:cxnLst>
              <a:rect l="0" t="0" r="r" b="b"/>
              <a:pathLst>
                <a:path w="5" h="6">
                  <a:moveTo>
                    <a:pt x="0" y="4"/>
                  </a:moveTo>
                  <a:lnTo>
                    <a:pt x="2" y="3"/>
                  </a:lnTo>
                  <a:lnTo>
                    <a:pt x="3" y="0"/>
                  </a:lnTo>
                  <a:lnTo>
                    <a:pt x="5" y="0"/>
                  </a:lnTo>
                  <a:lnTo>
                    <a:pt x="5" y="4"/>
                  </a:lnTo>
                  <a:lnTo>
                    <a:pt x="3" y="6"/>
                  </a:lnTo>
                  <a:lnTo>
                    <a:pt x="2" y="4"/>
                  </a:lnTo>
                  <a:lnTo>
                    <a:pt x="0"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2" name="Freeform 61"/>
            <p:cNvSpPr>
              <a:spLocks/>
            </p:cNvSpPr>
            <p:nvPr/>
          </p:nvSpPr>
          <p:spPr bwMode="auto">
            <a:xfrm>
              <a:off x="5141099" y="4157934"/>
              <a:ext cx="4389" cy="6085"/>
            </a:xfrm>
            <a:custGeom>
              <a:avLst/>
              <a:gdLst/>
              <a:ahLst/>
              <a:cxnLst>
                <a:cxn ang="0">
                  <a:pos x="0" y="4"/>
                </a:cxn>
                <a:cxn ang="0">
                  <a:pos x="2" y="3"/>
                </a:cxn>
                <a:cxn ang="0">
                  <a:pos x="3" y="0"/>
                </a:cxn>
                <a:cxn ang="0">
                  <a:pos x="5" y="0"/>
                </a:cxn>
                <a:cxn ang="0">
                  <a:pos x="5" y="4"/>
                </a:cxn>
                <a:cxn ang="0">
                  <a:pos x="3" y="6"/>
                </a:cxn>
                <a:cxn ang="0">
                  <a:pos x="2" y="4"/>
                </a:cxn>
                <a:cxn ang="0">
                  <a:pos x="0" y="4"/>
                </a:cxn>
              </a:cxnLst>
              <a:rect l="0" t="0" r="r" b="b"/>
              <a:pathLst>
                <a:path w="5" h="6">
                  <a:moveTo>
                    <a:pt x="0" y="4"/>
                  </a:moveTo>
                  <a:lnTo>
                    <a:pt x="2" y="3"/>
                  </a:lnTo>
                  <a:lnTo>
                    <a:pt x="3" y="0"/>
                  </a:lnTo>
                  <a:lnTo>
                    <a:pt x="5" y="0"/>
                  </a:lnTo>
                  <a:lnTo>
                    <a:pt x="5" y="4"/>
                  </a:lnTo>
                  <a:lnTo>
                    <a:pt x="3" y="6"/>
                  </a:lnTo>
                  <a:lnTo>
                    <a:pt x="2" y="4"/>
                  </a:lnTo>
                  <a:lnTo>
                    <a:pt x="0"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3" name="Freeform 62"/>
            <p:cNvSpPr>
              <a:spLocks/>
            </p:cNvSpPr>
            <p:nvPr/>
          </p:nvSpPr>
          <p:spPr bwMode="auto">
            <a:xfrm>
              <a:off x="5141099" y="4169090"/>
              <a:ext cx="1756" cy="12170"/>
            </a:xfrm>
            <a:custGeom>
              <a:avLst/>
              <a:gdLst/>
              <a:ahLst/>
              <a:cxnLst>
                <a:cxn ang="0">
                  <a:pos x="2" y="11"/>
                </a:cxn>
                <a:cxn ang="0">
                  <a:pos x="0" y="11"/>
                </a:cxn>
                <a:cxn ang="0">
                  <a:pos x="0" y="3"/>
                </a:cxn>
                <a:cxn ang="0">
                  <a:pos x="0" y="2"/>
                </a:cxn>
                <a:cxn ang="0">
                  <a:pos x="2" y="0"/>
                </a:cxn>
                <a:cxn ang="0">
                  <a:pos x="2" y="0"/>
                </a:cxn>
                <a:cxn ang="0">
                  <a:pos x="2" y="11"/>
                </a:cxn>
                <a:cxn ang="0">
                  <a:pos x="2" y="11"/>
                </a:cxn>
              </a:cxnLst>
              <a:rect l="0" t="0" r="r" b="b"/>
              <a:pathLst>
                <a:path w="2" h="11">
                  <a:moveTo>
                    <a:pt x="2" y="11"/>
                  </a:moveTo>
                  <a:lnTo>
                    <a:pt x="0" y="11"/>
                  </a:lnTo>
                  <a:lnTo>
                    <a:pt x="0" y="3"/>
                  </a:lnTo>
                  <a:lnTo>
                    <a:pt x="0" y="2"/>
                  </a:lnTo>
                  <a:lnTo>
                    <a:pt x="2" y="0"/>
                  </a:lnTo>
                  <a:lnTo>
                    <a:pt x="2" y="0"/>
                  </a:lnTo>
                  <a:lnTo>
                    <a:pt x="2" y="11"/>
                  </a:lnTo>
                  <a:lnTo>
                    <a:pt x="2" y="1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4" name="Freeform 63"/>
            <p:cNvSpPr>
              <a:spLocks/>
            </p:cNvSpPr>
            <p:nvPr/>
          </p:nvSpPr>
          <p:spPr bwMode="auto">
            <a:xfrm>
              <a:off x="5141099" y="4169090"/>
              <a:ext cx="1756" cy="12170"/>
            </a:xfrm>
            <a:custGeom>
              <a:avLst/>
              <a:gdLst/>
              <a:ahLst/>
              <a:cxnLst>
                <a:cxn ang="0">
                  <a:pos x="2" y="11"/>
                </a:cxn>
                <a:cxn ang="0">
                  <a:pos x="0" y="11"/>
                </a:cxn>
                <a:cxn ang="0">
                  <a:pos x="0" y="3"/>
                </a:cxn>
                <a:cxn ang="0">
                  <a:pos x="0" y="2"/>
                </a:cxn>
                <a:cxn ang="0">
                  <a:pos x="2" y="0"/>
                </a:cxn>
                <a:cxn ang="0">
                  <a:pos x="2" y="0"/>
                </a:cxn>
                <a:cxn ang="0">
                  <a:pos x="2" y="11"/>
                </a:cxn>
                <a:cxn ang="0">
                  <a:pos x="2" y="11"/>
                </a:cxn>
              </a:cxnLst>
              <a:rect l="0" t="0" r="r" b="b"/>
              <a:pathLst>
                <a:path w="2" h="11">
                  <a:moveTo>
                    <a:pt x="2" y="11"/>
                  </a:moveTo>
                  <a:lnTo>
                    <a:pt x="0" y="11"/>
                  </a:lnTo>
                  <a:lnTo>
                    <a:pt x="0" y="3"/>
                  </a:lnTo>
                  <a:lnTo>
                    <a:pt x="0" y="2"/>
                  </a:lnTo>
                  <a:lnTo>
                    <a:pt x="2" y="0"/>
                  </a:lnTo>
                  <a:lnTo>
                    <a:pt x="2" y="0"/>
                  </a:lnTo>
                  <a:lnTo>
                    <a:pt x="2" y="11"/>
                  </a:lnTo>
                  <a:lnTo>
                    <a:pt x="2" y="1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5" name="Freeform 64"/>
            <p:cNvSpPr>
              <a:spLocks/>
            </p:cNvSpPr>
            <p:nvPr/>
          </p:nvSpPr>
          <p:spPr bwMode="auto">
            <a:xfrm>
              <a:off x="5150755" y="4166047"/>
              <a:ext cx="4389" cy="9128"/>
            </a:xfrm>
            <a:custGeom>
              <a:avLst/>
              <a:gdLst/>
              <a:ahLst/>
              <a:cxnLst>
                <a:cxn ang="0">
                  <a:pos x="3" y="2"/>
                </a:cxn>
                <a:cxn ang="0">
                  <a:pos x="4" y="8"/>
                </a:cxn>
                <a:cxn ang="0">
                  <a:pos x="3" y="6"/>
                </a:cxn>
                <a:cxn ang="0">
                  <a:pos x="1" y="5"/>
                </a:cxn>
                <a:cxn ang="0">
                  <a:pos x="0" y="3"/>
                </a:cxn>
                <a:cxn ang="0">
                  <a:pos x="0" y="0"/>
                </a:cxn>
                <a:cxn ang="0">
                  <a:pos x="1" y="0"/>
                </a:cxn>
                <a:cxn ang="0">
                  <a:pos x="3" y="2"/>
                </a:cxn>
              </a:cxnLst>
              <a:rect l="0" t="0" r="r" b="b"/>
              <a:pathLst>
                <a:path w="4" h="8">
                  <a:moveTo>
                    <a:pt x="3" y="2"/>
                  </a:moveTo>
                  <a:lnTo>
                    <a:pt x="4" y="8"/>
                  </a:lnTo>
                  <a:lnTo>
                    <a:pt x="3" y="6"/>
                  </a:lnTo>
                  <a:lnTo>
                    <a:pt x="1" y="5"/>
                  </a:lnTo>
                  <a:lnTo>
                    <a:pt x="0" y="3"/>
                  </a:lnTo>
                  <a:lnTo>
                    <a:pt x="0" y="0"/>
                  </a:lnTo>
                  <a:lnTo>
                    <a:pt x="1" y="0"/>
                  </a:lnTo>
                  <a:lnTo>
                    <a:pt x="3"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6" name="Freeform 65"/>
            <p:cNvSpPr>
              <a:spLocks/>
            </p:cNvSpPr>
            <p:nvPr/>
          </p:nvSpPr>
          <p:spPr bwMode="auto">
            <a:xfrm>
              <a:off x="5150755" y="4166047"/>
              <a:ext cx="4389" cy="9128"/>
            </a:xfrm>
            <a:custGeom>
              <a:avLst/>
              <a:gdLst/>
              <a:ahLst/>
              <a:cxnLst>
                <a:cxn ang="0">
                  <a:pos x="3" y="2"/>
                </a:cxn>
                <a:cxn ang="0">
                  <a:pos x="4" y="8"/>
                </a:cxn>
                <a:cxn ang="0">
                  <a:pos x="3" y="6"/>
                </a:cxn>
                <a:cxn ang="0">
                  <a:pos x="1" y="5"/>
                </a:cxn>
                <a:cxn ang="0">
                  <a:pos x="0" y="3"/>
                </a:cxn>
                <a:cxn ang="0">
                  <a:pos x="0" y="0"/>
                </a:cxn>
                <a:cxn ang="0">
                  <a:pos x="1" y="0"/>
                </a:cxn>
                <a:cxn ang="0">
                  <a:pos x="3" y="2"/>
                </a:cxn>
              </a:cxnLst>
              <a:rect l="0" t="0" r="r" b="b"/>
              <a:pathLst>
                <a:path w="4" h="8">
                  <a:moveTo>
                    <a:pt x="3" y="2"/>
                  </a:moveTo>
                  <a:lnTo>
                    <a:pt x="4" y="8"/>
                  </a:lnTo>
                  <a:lnTo>
                    <a:pt x="3" y="6"/>
                  </a:lnTo>
                  <a:lnTo>
                    <a:pt x="1" y="5"/>
                  </a:lnTo>
                  <a:lnTo>
                    <a:pt x="0" y="3"/>
                  </a:lnTo>
                  <a:lnTo>
                    <a:pt x="0" y="0"/>
                  </a:lnTo>
                  <a:lnTo>
                    <a:pt x="1" y="0"/>
                  </a:lnTo>
                  <a:lnTo>
                    <a:pt x="3"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7" name="Freeform 66"/>
            <p:cNvSpPr>
              <a:spLocks/>
            </p:cNvSpPr>
            <p:nvPr/>
          </p:nvSpPr>
          <p:spPr bwMode="auto">
            <a:xfrm>
              <a:off x="5155144" y="4161991"/>
              <a:ext cx="2634" cy="7099"/>
            </a:xfrm>
            <a:custGeom>
              <a:avLst/>
              <a:gdLst/>
              <a:ahLst/>
              <a:cxnLst>
                <a:cxn ang="0">
                  <a:pos x="3" y="3"/>
                </a:cxn>
                <a:cxn ang="0">
                  <a:pos x="3" y="4"/>
                </a:cxn>
                <a:cxn ang="0">
                  <a:pos x="3" y="7"/>
                </a:cxn>
                <a:cxn ang="0">
                  <a:pos x="1" y="4"/>
                </a:cxn>
                <a:cxn ang="0">
                  <a:pos x="0" y="2"/>
                </a:cxn>
                <a:cxn ang="0">
                  <a:pos x="0" y="0"/>
                </a:cxn>
                <a:cxn ang="0">
                  <a:pos x="1" y="3"/>
                </a:cxn>
                <a:cxn ang="0">
                  <a:pos x="3" y="3"/>
                </a:cxn>
              </a:cxnLst>
              <a:rect l="0" t="0" r="r" b="b"/>
              <a:pathLst>
                <a:path w="3" h="7">
                  <a:moveTo>
                    <a:pt x="3" y="3"/>
                  </a:moveTo>
                  <a:lnTo>
                    <a:pt x="3" y="4"/>
                  </a:lnTo>
                  <a:lnTo>
                    <a:pt x="3" y="7"/>
                  </a:lnTo>
                  <a:lnTo>
                    <a:pt x="1" y="4"/>
                  </a:lnTo>
                  <a:lnTo>
                    <a:pt x="0" y="2"/>
                  </a:lnTo>
                  <a:lnTo>
                    <a:pt x="0" y="0"/>
                  </a:lnTo>
                  <a:lnTo>
                    <a:pt x="1" y="3"/>
                  </a:lnTo>
                  <a:lnTo>
                    <a:pt x="3"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8" name="Freeform 67"/>
            <p:cNvSpPr>
              <a:spLocks/>
            </p:cNvSpPr>
            <p:nvPr/>
          </p:nvSpPr>
          <p:spPr bwMode="auto">
            <a:xfrm>
              <a:off x="5155144" y="4161991"/>
              <a:ext cx="2634" cy="7099"/>
            </a:xfrm>
            <a:custGeom>
              <a:avLst/>
              <a:gdLst/>
              <a:ahLst/>
              <a:cxnLst>
                <a:cxn ang="0">
                  <a:pos x="3" y="3"/>
                </a:cxn>
                <a:cxn ang="0">
                  <a:pos x="3" y="4"/>
                </a:cxn>
                <a:cxn ang="0">
                  <a:pos x="3" y="7"/>
                </a:cxn>
                <a:cxn ang="0">
                  <a:pos x="1" y="4"/>
                </a:cxn>
                <a:cxn ang="0">
                  <a:pos x="0" y="2"/>
                </a:cxn>
                <a:cxn ang="0">
                  <a:pos x="0" y="0"/>
                </a:cxn>
                <a:cxn ang="0">
                  <a:pos x="1" y="3"/>
                </a:cxn>
                <a:cxn ang="0">
                  <a:pos x="3" y="3"/>
                </a:cxn>
              </a:cxnLst>
              <a:rect l="0" t="0" r="r" b="b"/>
              <a:pathLst>
                <a:path w="3" h="7">
                  <a:moveTo>
                    <a:pt x="3" y="3"/>
                  </a:moveTo>
                  <a:lnTo>
                    <a:pt x="3" y="4"/>
                  </a:lnTo>
                  <a:lnTo>
                    <a:pt x="3" y="7"/>
                  </a:lnTo>
                  <a:lnTo>
                    <a:pt x="1" y="4"/>
                  </a:lnTo>
                  <a:lnTo>
                    <a:pt x="0" y="2"/>
                  </a:lnTo>
                  <a:lnTo>
                    <a:pt x="0" y="0"/>
                  </a:lnTo>
                  <a:lnTo>
                    <a:pt x="1" y="3"/>
                  </a:lnTo>
                  <a:lnTo>
                    <a:pt x="3"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9" name="Freeform 68"/>
            <p:cNvSpPr>
              <a:spLocks/>
            </p:cNvSpPr>
            <p:nvPr/>
          </p:nvSpPr>
          <p:spPr bwMode="auto">
            <a:xfrm>
              <a:off x="5158655" y="4178217"/>
              <a:ext cx="28090" cy="35495"/>
            </a:xfrm>
            <a:custGeom>
              <a:avLst/>
              <a:gdLst/>
              <a:ahLst/>
              <a:cxnLst>
                <a:cxn ang="0">
                  <a:pos x="2" y="4"/>
                </a:cxn>
                <a:cxn ang="0">
                  <a:pos x="2" y="4"/>
                </a:cxn>
                <a:cxn ang="0">
                  <a:pos x="2" y="3"/>
                </a:cxn>
                <a:cxn ang="0">
                  <a:pos x="2" y="3"/>
                </a:cxn>
                <a:cxn ang="0">
                  <a:pos x="3" y="4"/>
                </a:cxn>
                <a:cxn ang="0">
                  <a:pos x="5" y="4"/>
                </a:cxn>
                <a:cxn ang="0">
                  <a:pos x="6" y="3"/>
                </a:cxn>
                <a:cxn ang="0">
                  <a:pos x="8" y="3"/>
                </a:cxn>
                <a:cxn ang="0">
                  <a:pos x="9" y="3"/>
                </a:cxn>
                <a:cxn ang="0">
                  <a:pos x="9" y="7"/>
                </a:cxn>
                <a:cxn ang="0">
                  <a:pos x="10" y="5"/>
                </a:cxn>
                <a:cxn ang="0">
                  <a:pos x="12" y="3"/>
                </a:cxn>
                <a:cxn ang="0">
                  <a:pos x="10" y="1"/>
                </a:cxn>
                <a:cxn ang="0">
                  <a:pos x="10" y="0"/>
                </a:cxn>
                <a:cxn ang="0">
                  <a:pos x="12" y="0"/>
                </a:cxn>
                <a:cxn ang="0">
                  <a:pos x="13" y="1"/>
                </a:cxn>
                <a:cxn ang="0">
                  <a:pos x="15" y="7"/>
                </a:cxn>
                <a:cxn ang="0">
                  <a:pos x="12" y="10"/>
                </a:cxn>
                <a:cxn ang="0">
                  <a:pos x="10" y="14"/>
                </a:cxn>
                <a:cxn ang="0">
                  <a:pos x="12" y="16"/>
                </a:cxn>
                <a:cxn ang="0">
                  <a:pos x="13" y="17"/>
                </a:cxn>
                <a:cxn ang="0">
                  <a:pos x="15" y="18"/>
                </a:cxn>
                <a:cxn ang="0">
                  <a:pos x="16" y="20"/>
                </a:cxn>
                <a:cxn ang="0">
                  <a:pos x="21" y="16"/>
                </a:cxn>
                <a:cxn ang="0">
                  <a:pos x="29" y="16"/>
                </a:cxn>
                <a:cxn ang="0">
                  <a:pos x="31" y="17"/>
                </a:cxn>
                <a:cxn ang="0">
                  <a:pos x="31" y="20"/>
                </a:cxn>
                <a:cxn ang="0">
                  <a:pos x="22" y="26"/>
                </a:cxn>
                <a:cxn ang="0">
                  <a:pos x="21" y="26"/>
                </a:cxn>
                <a:cxn ang="0">
                  <a:pos x="19" y="26"/>
                </a:cxn>
                <a:cxn ang="0">
                  <a:pos x="19" y="27"/>
                </a:cxn>
                <a:cxn ang="0">
                  <a:pos x="19" y="27"/>
                </a:cxn>
                <a:cxn ang="0">
                  <a:pos x="18" y="27"/>
                </a:cxn>
                <a:cxn ang="0">
                  <a:pos x="16" y="29"/>
                </a:cxn>
                <a:cxn ang="0">
                  <a:pos x="16" y="30"/>
                </a:cxn>
                <a:cxn ang="0">
                  <a:pos x="16" y="30"/>
                </a:cxn>
                <a:cxn ang="0">
                  <a:pos x="16" y="33"/>
                </a:cxn>
                <a:cxn ang="0">
                  <a:pos x="16" y="34"/>
                </a:cxn>
                <a:cxn ang="0">
                  <a:pos x="15" y="33"/>
                </a:cxn>
                <a:cxn ang="0">
                  <a:pos x="8" y="27"/>
                </a:cxn>
                <a:cxn ang="0">
                  <a:pos x="8" y="27"/>
                </a:cxn>
                <a:cxn ang="0">
                  <a:pos x="9" y="26"/>
                </a:cxn>
                <a:cxn ang="0">
                  <a:pos x="12" y="27"/>
                </a:cxn>
                <a:cxn ang="0">
                  <a:pos x="13" y="27"/>
                </a:cxn>
                <a:cxn ang="0">
                  <a:pos x="13" y="26"/>
                </a:cxn>
                <a:cxn ang="0">
                  <a:pos x="12" y="24"/>
                </a:cxn>
                <a:cxn ang="0">
                  <a:pos x="10" y="21"/>
                </a:cxn>
                <a:cxn ang="0">
                  <a:pos x="10" y="23"/>
                </a:cxn>
                <a:cxn ang="0">
                  <a:pos x="9" y="23"/>
                </a:cxn>
                <a:cxn ang="0">
                  <a:pos x="5" y="23"/>
                </a:cxn>
                <a:cxn ang="0">
                  <a:pos x="6" y="21"/>
                </a:cxn>
                <a:cxn ang="0">
                  <a:pos x="6" y="20"/>
                </a:cxn>
                <a:cxn ang="0">
                  <a:pos x="3" y="20"/>
                </a:cxn>
                <a:cxn ang="0">
                  <a:pos x="2" y="18"/>
                </a:cxn>
                <a:cxn ang="0">
                  <a:pos x="3" y="17"/>
                </a:cxn>
                <a:cxn ang="0">
                  <a:pos x="2" y="16"/>
                </a:cxn>
                <a:cxn ang="0">
                  <a:pos x="0" y="17"/>
                </a:cxn>
                <a:cxn ang="0">
                  <a:pos x="2" y="4"/>
                </a:cxn>
              </a:cxnLst>
              <a:rect l="0" t="0" r="r" b="b"/>
              <a:pathLst>
                <a:path w="31" h="34">
                  <a:moveTo>
                    <a:pt x="2" y="4"/>
                  </a:moveTo>
                  <a:lnTo>
                    <a:pt x="2" y="4"/>
                  </a:lnTo>
                  <a:lnTo>
                    <a:pt x="2" y="3"/>
                  </a:lnTo>
                  <a:lnTo>
                    <a:pt x="2" y="3"/>
                  </a:lnTo>
                  <a:lnTo>
                    <a:pt x="3" y="4"/>
                  </a:lnTo>
                  <a:lnTo>
                    <a:pt x="5" y="4"/>
                  </a:lnTo>
                  <a:lnTo>
                    <a:pt x="6" y="3"/>
                  </a:lnTo>
                  <a:lnTo>
                    <a:pt x="8" y="3"/>
                  </a:lnTo>
                  <a:lnTo>
                    <a:pt x="9" y="3"/>
                  </a:lnTo>
                  <a:lnTo>
                    <a:pt x="9" y="7"/>
                  </a:lnTo>
                  <a:lnTo>
                    <a:pt x="10" y="5"/>
                  </a:lnTo>
                  <a:lnTo>
                    <a:pt x="12" y="3"/>
                  </a:lnTo>
                  <a:lnTo>
                    <a:pt x="10" y="1"/>
                  </a:lnTo>
                  <a:lnTo>
                    <a:pt x="10" y="0"/>
                  </a:lnTo>
                  <a:lnTo>
                    <a:pt x="12" y="0"/>
                  </a:lnTo>
                  <a:lnTo>
                    <a:pt x="13" y="1"/>
                  </a:lnTo>
                  <a:lnTo>
                    <a:pt x="15" y="7"/>
                  </a:lnTo>
                  <a:lnTo>
                    <a:pt x="12" y="10"/>
                  </a:lnTo>
                  <a:lnTo>
                    <a:pt x="10" y="14"/>
                  </a:lnTo>
                  <a:lnTo>
                    <a:pt x="12" y="16"/>
                  </a:lnTo>
                  <a:lnTo>
                    <a:pt x="13" y="17"/>
                  </a:lnTo>
                  <a:lnTo>
                    <a:pt x="15" y="18"/>
                  </a:lnTo>
                  <a:lnTo>
                    <a:pt x="16" y="20"/>
                  </a:lnTo>
                  <a:lnTo>
                    <a:pt x="21" y="16"/>
                  </a:lnTo>
                  <a:lnTo>
                    <a:pt x="29" y="16"/>
                  </a:lnTo>
                  <a:lnTo>
                    <a:pt x="31" y="17"/>
                  </a:lnTo>
                  <a:lnTo>
                    <a:pt x="31" y="20"/>
                  </a:lnTo>
                  <a:lnTo>
                    <a:pt x="22" y="26"/>
                  </a:lnTo>
                  <a:lnTo>
                    <a:pt x="21" y="26"/>
                  </a:lnTo>
                  <a:lnTo>
                    <a:pt x="19" y="26"/>
                  </a:lnTo>
                  <a:lnTo>
                    <a:pt x="19" y="27"/>
                  </a:lnTo>
                  <a:lnTo>
                    <a:pt x="19" y="27"/>
                  </a:lnTo>
                  <a:lnTo>
                    <a:pt x="18" y="27"/>
                  </a:lnTo>
                  <a:lnTo>
                    <a:pt x="16" y="29"/>
                  </a:lnTo>
                  <a:lnTo>
                    <a:pt x="16" y="30"/>
                  </a:lnTo>
                  <a:lnTo>
                    <a:pt x="16" y="30"/>
                  </a:lnTo>
                  <a:lnTo>
                    <a:pt x="16" y="33"/>
                  </a:lnTo>
                  <a:lnTo>
                    <a:pt x="16" y="34"/>
                  </a:lnTo>
                  <a:lnTo>
                    <a:pt x="15" y="33"/>
                  </a:lnTo>
                  <a:lnTo>
                    <a:pt x="8" y="27"/>
                  </a:lnTo>
                  <a:lnTo>
                    <a:pt x="8" y="27"/>
                  </a:lnTo>
                  <a:lnTo>
                    <a:pt x="9" y="26"/>
                  </a:lnTo>
                  <a:lnTo>
                    <a:pt x="12" y="27"/>
                  </a:lnTo>
                  <a:lnTo>
                    <a:pt x="13" y="27"/>
                  </a:lnTo>
                  <a:lnTo>
                    <a:pt x="13" y="26"/>
                  </a:lnTo>
                  <a:lnTo>
                    <a:pt x="12" y="24"/>
                  </a:lnTo>
                  <a:lnTo>
                    <a:pt x="10" y="21"/>
                  </a:lnTo>
                  <a:lnTo>
                    <a:pt x="10" y="23"/>
                  </a:lnTo>
                  <a:lnTo>
                    <a:pt x="9" y="23"/>
                  </a:lnTo>
                  <a:lnTo>
                    <a:pt x="5" y="23"/>
                  </a:lnTo>
                  <a:lnTo>
                    <a:pt x="6" y="21"/>
                  </a:lnTo>
                  <a:lnTo>
                    <a:pt x="6" y="20"/>
                  </a:lnTo>
                  <a:lnTo>
                    <a:pt x="3" y="20"/>
                  </a:lnTo>
                  <a:lnTo>
                    <a:pt x="2" y="18"/>
                  </a:lnTo>
                  <a:lnTo>
                    <a:pt x="3" y="17"/>
                  </a:lnTo>
                  <a:lnTo>
                    <a:pt x="2" y="16"/>
                  </a:lnTo>
                  <a:lnTo>
                    <a:pt x="0" y="17"/>
                  </a:lnTo>
                  <a:lnTo>
                    <a:pt x="2"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0" name="Freeform 69"/>
            <p:cNvSpPr>
              <a:spLocks/>
            </p:cNvSpPr>
            <p:nvPr/>
          </p:nvSpPr>
          <p:spPr bwMode="auto">
            <a:xfrm>
              <a:off x="5158655" y="4178217"/>
              <a:ext cx="28090" cy="35495"/>
            </a:xfrm>
            <a:custGeom>
              <a:avLst/>
              <a:gdLst/>
              <a:ahLst/>
              <a:cxnLst>
                <a:cxn ang="0">
                  <a:pos x="2" y="4"/>
                </a:cxn>
                <a:cxn ang="0">
                  <a:pos x="2" y="4"/>
                </a:cxn>
                <a:cxn ang="0">
                  <a:pos x="2" y="3"/>
                </a:cxn>
                <a:cxn ang="0">
                  <a:pos x="2" y="3"/>
                </a:cxn>
                <a:cxn ang="0">
                  <a:pos x="3" y="4"/>
                </a:cxn>
                <a:cxn ang="0">
                  <a:pos x="5" y="4"/>
                </a:cxn>
                <a:cxn ang="0">
                  <a:pos x="6" y="3"/>
                </a:cxn>
                <a:cxn ang="0">
                  <a:pos x="8" y="3"/>
                </a:cxn>
                <a:cxn ang="0">
                  <a:pos x="9" y="3"/>
                </a:cxn>
                <a:cxn ang="0">
                  <a:pos x="9" y="7"/>
                </a:cxn>
                <a:cxn ang="0">
                  <a:pos x="10" y="5"/>
                </a:cxn>
                <a:cxn ang="0">
                  <a:pos x="12" y="3"/>
                </a:cxn>
                <a:cxn ang="0">
                  <a:pos x="10" y="1"/>
                </a:cxn>
                <a:cxn ang="0">
                  <a:pos x="10" y="0"/>
                </a:cxn>
                <a:cxn ang="0">
                  <a:pos x="12" y="0"/>
                </a:cxn>
                <a:cxn ang="0">
                  <a:pos x="13" y="1"/>
                </a:cxn>
                <a:cxn ang="0">
                  <a:pos x="15" y="7"/>
                </a:cxn>
                <a:cxn ang="0">
                  <a:pos x="12" y="10"/>
                </a:cxn>
                <a:cxn ang="0">
                  <a:pos x="10" y="14"/>
                </a:cxn>
                <a:cxn ang="0">
                  <a:pos x="12" y="16"/>
                </a:cxn>
                <a:cxn ang="0">
                  <a:pos x="13" y="17"/>
                </a:cxn>
                <a:cxn ang="0">
                  <a:pos x="15" y="18"/>
                </a:cxn>
                <a:cxn ang="0">
                  <a:pos x="16" y="20"/>
                </a:cxn>
                <a:cxn ang="0">
                  <a:pos x="21" y="16"/>
                </a:cxn>
                <a:cxn ang="0">
                  <a:pos x="29" y="16"/>
                </a:cxn>
                <a:cxn ang="0">
                  <a:pos x="31" y="17"/>
                </a:cxn>
                <a:cxn ang="0">
                  <a:pos x="31" y="20"/>
                </a:cxn>
                <a:cxn ang="0">
                  <a:pos x="22" y="26"/>
                </a:cxn>
                <a:cxn ang="0">
                  <a:pos x="21" y="26"/>
                </a:cxn>
                <a:cxn ang="0">
                  <a:pos x="19" y="26"/>
                </a:cxn>
                <a:cxn ang="0">
                  <a:pos x="19" y="27"/>
                </a:cxn>
                <a:cxn ang="0">
                  <a:pos x="19" y="27"/>
                </a:cxn>
                <a:cxn ang="0">
                  <a:pos x="18" y="27"/>
                </a:cxn>
                <a:cxn ang="0">
                  <a:pos x="16" y="29"/>
                </a:cxn>
                <a:cxn ang="0">
                  <a:pos x="16" y="30"/>
                </a:cxn>
                <a:cxn ang="0">
                  <a:pos x="16" y="30"/>
                </a:cxn>
                <a:cxn ang="0">
                  <a:pos x="16" y="33"/>
                </a:cxn>
                <a:cxn ang="0">
                  <a:pos x="16" y="34"/>
                </a:cxn>
                <a:cxn ang="0">
                  <a:pos x="15" y="33"/>
                </a:cxn>
                <a:cxn ang="0">
                  <a:pos x="8" y="27"/>
                </a:cxn>
                <a:cxn ang="0">
                  <a:pos x="8" y="27"/>
                </a:cxn>
                <a:cxn ang="0">
                  <a:pos x="9" y="26"/>
                </a:cxn>
                <a:cxn ang="0">
                  <a:pos x="12" y="27"/>
                </a:cxn>
                <a:cxn ang="0">
                  <a:pos x="13" y="27"/>
                </a:cxn>
                <a:cxn ang="0">
                  <a:pos x="13" y="26"/>
                </a:cxn>
                <a:cxn ang="0">
                  <a:pos x="12" y="24"/>
                </a:cxn>
                <a:cxn ang="0">
                  <a:pos x="10" y="21"/>
                </a:cxn>
                <a:cxn ang="0">
                  <a:pos x="10" y="23"/>
                </a:cxn>
                <a:cxn ang="0">
                  <a:pos x="9" y="23"/>
                </a:cxn>
                <a:cxn ang="0">
                  <a:pos x="5" y="23"/>
                </a:cxn>
                <a:cxn ang="0">
                  <a:pos x="6" y="21"/>
                </a:cxn>
                <a:cxn ang="0">
                  <a:pos x="6" y="20"/>
                </a:cxn>
                <a:cxn ang="0">
                  <a:pos x="3" y="20"/>
                </a:cxn>
                <a:cxn ang="0">
                  <a:pos x="2" y="18"/>
                </a:cxn>
                <a:cxn ang="0">
                  <a:pos x="3" y="17"/>
                </a:cxn>
                <a:cxn ang="0">
                  <a:pos x="2" y="16"/>
                </a:cxn>
                <a:cxn ang="0">
                  <a:pos x="0" y="17"/>
                </a:cxn>
                <a:cxn ang="0">
                  <a:pos x="2" y="4"/>
                </a:cxn>
              </a:cxnLst>
              <a:rect l="0" t="0" r="r" b="b"/>
              <a:pathLst>
                <a:path w="31" h="34">
                  <a:moveTo>
                    <a:pt x="2" y="4"/>
                  </a:moveTo>
                  <a:lnTo>
                    <a:pt x="2" y="4"/>
                  </a:lnTo>
                  <a:lnTo>
                    <a:pt x="2" y="3"/>
                  </a:lnTo>
                  <a:lnTo>
                    <a:pt x="2" y="3"/>
                  </a:lnTo>
                  <a:lnTo>
                    <a:pt x="3" y="4"/>
                  </a:lnTo>
                  <a:lnTo>
                    <a:pt x="5" y="4"/>
                  </a:lnTo>
                  <a:lnTo>
                    <a:pt x="6" y="3"/>
                  </a:lnTo>
                  <a:lnTo>
                    <a:pt x="8" y="3"/>
                  </a:lnTo>
                  <a:lnTo>
                    <a:pt x="9" y="3"/>
                  </a:lnTo>
                  <a:lnTo>
                    <a:pt x="9" y="7"/>
                  </a:lnTo>
                  <a:lnTo>
                    <a:pt x="10" y="5"/>
                  </a:lnTo>
                  <a:lnTo>
                    <a:pt x="12" y="3"/>
                  </a:lnTo>
                  <a:lnTo>
                    <a:pt x="10" y="1"/>
                  </a:lnTo>
                  <a:lnTo>
                    <a:pt x="10" y="0"/>
                  </a:lnTo>
                  <a:lnTo>
                    <a:pt x="12" y="0"/>
                  </a:lnTo>
                  <a:lnTo>
                    <a:pt x="13" y="1"/>
                  </a:lnTo>
                  <a:lnTo>
                    <a:pt x="15" y="7"/>
                  </a:lnTo>
                  <a:lnTo>
                    <a:pt x="12" y="10"/>
                  </a:lnTo>
                  <a:lnTo>
                    <a:pt x="10" y="14"/>
                  </a:lnTo>
                  <a:lnTo>
                    <a:pt x="12" y="16"/>
                  </a:lnTo>
                  <a:lnTo>
                    <a:pt x="13" y="17"/>
                  </a:lnTo>
                  <a:lnTo>
                    <a:pt x="15" y="18"/>
                  </a:lnTo>
                  <a:lnTo>
                    <a:pt x="16" y="20"/>
                  </a:lnTo>
                  <a:lnTo>
                    <a:pt x="21" y="16"/>
                  </a:lnTo>
                  <a:lnTo>
                    <a:pt x="29" y="16"/>
                  </a:lnTo>
                  <a:lnTo>
                    <a:pt x="31" y="17"/>
                  </a:lnTo>
                  <a:lnTo>
                    <a:pt x="31" y="20"/>
                  </a:lnTo>
                  <a:lnTo>
                    <a:pt x="22" y="26"/>
                  </a:lnTo>
                  <a:lnTo>
                    <a:pt x="21" y="26"/>
                  </a:lnTo>
                  <a:lnTo>
                    <a:pt x="19" y="26"/>
                  </a:lnTo>
                  <a:lnTo>
                    <a:pt x="19" y="27"/>
                  </a:lnTo>
                  <a:lnTo>
                    <a:pt x="19" y="27"/>
                  </a:lnTo>
                  <a:lnTo>
                    <a:pt x="18" y="27"/>
                  </a:lnTo>
                  <a:lnTo>
                    <a:pt x="16" y="29"/>
                  </a:lnTo>
                  <a:lnTo>
                    <a:pt x="16" y="30"/>
                  </a:lnTo>
                  <a:lnTo>
                    <a:pt x="16" y="30"/>
                  </a:lnTo>
                  <a:lnTo>
                    <a:pt x="16" y="33"/>
                  </a:lnTo>
                  <a:lnTo>
                    <a:pt x="16" y="34"/>
                  </a:lnTo>
                  <a:lnTo>
                    <a:pt x="15" y="33"/>
                  </a:lnTo>
                  <a:lnTo>
                    <a:pt x="8" y="27"/>
                  </a:lnTo>
                  <a:lnTo>
                    <a:pt x="8" y="27"/>
                  </a:lnTo>
                  <a:lnTo>
                    <a:pt x="9" y="26"/>
                  </a:lnTo>
                  <a:lnTo>
                    <a:pt x="12" y="27"/>
                  </a:lnTo>
                  <a:lnTo>
                    <a:pt x="13" y="27"/>
                  </a:lnTo>
                  <a:lnTo>
                    <a:pt x="13" y="26"/>
                  </a:lnTo>
                  <a:lnTo>
                    <a:pt x="12" y="24"/>
                  </a:lnTo>
                  <a:lnTo>
                    <a:pt x="10" y="21"/>
                  </a:lnTo>
                  <a:lnTo>
                    <a:pt x="10" y="23"/>
                  </a:lnTo>
                  <a:lnTo>
                    <a:pt x="9" y="23"/>
                  </a:lnTo>
                  <a:lnTo>
                    <a:pt x="5" y="23"/>
                  </a:lnTo>
                  <a:lnTo>
                    <a:pt x="6" y="21"/>
                  </a:lnTo>
                  <a:lnTo>
                    <a:pt x="6" y="20"/>
                  </a:lnTo>
                  <a:lnTo>
                    <a:pt x="3" y="20"/>
                  </a:lnTo>
                  <a:lnTo>
                    <a:pt x="2" y="18"/>
                  </a:lnTo>
                  <a:lnTo>
                    <a:pt x="3" y="17"/>
                  </a:lnTo>
                  <a:lnTo>
                    <a:pt x="2" y="16"/>
                  </a:lnTo>
                  <a:lnTo>
                    <a:pt x="0" y="17"/>
                  </a:lnTo>
                  <a:lnTo>
                    <a:pt x="2"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1" name="Freeform 70"/>
            <p:cNvSpPr>
              <a:spLocks/>
            </p:cNvSpPr>
            <p:nvPr/>
          </p:nvSpPr>
          <p:spPr bwMode="auto">
            <a:xfrm>
              <a:off x="5155144" y="4188358"/>
              <a:ext cx="2634" cy="6085"/>
            </a:xfrm>
            <a:custGeom>
              <a:avLst/>
              <a:gdLst/>
              <a:ahLst/>
              <a:cxnLst>
                <a:cxn ang="0">
                  <a:pos x="3" y="0"/>
                </a:cxn>
                <a:cxn ang="0">
                  <a:pos x="3" y="0"/>
                </a:cxn>
                <a:cxn ang="0">
                  <a:pos x="3" y="4"/>
                </a:cxn>
                <a:cxn ang="0">
                  <a:pos x="1" y="6"/>
                </a:cxn>
                <a:cxn ang="0">
                  <a:pos x="1" y="6"/>
                </a:cxn>
                <a:cxn ang="0">
                  <a:pos x="0" y="4"/>
                </a:cxn>
                <a:cxn ang="0">
                  <a:pos x="1" y="3"/>
                </a:cxn>
                <a:cxn ang="0">
                  <a:pos x="1" y="3"/>
                </a:cxn>
                <a:cxn ang="0">
                  <a:pos x="1" y="3"/>
                </a:cxn>
                <a:cxn ang="0">
                  <a:pos x="0" y="3"/>
                </a:cxn>
                <a:cxn ang="0">
                  <a:pos x="0" y="1"/>
                </a:cxn>
                <a:cxn ang="0">
                  <a:pos x="0" y="0"/>
                </a:cxn>
                <a:cxn ang="0">
                  <a:pos x="3" y="0"/>
                </a:cxn>
              </a:cxnLst>
              <a:rect l="0" t="0" r="r" b="b"/>
              <a:pathLst>
                <a:path w="3" h="6">
                  <a:moveTo>
                    <a:pt x="3" y="0"/>
                  </a:moveTo>
                  <a:lnTo>
                    <a:pt x="3" y="0"/>
                  </a:lnTo>
                  <a:lnTo>
                    <a:pt x="3" y="4"/>
                  </a:lnTo>
                  <a:lnTo>
                    <a:pt x="1" y="6"/>
                  </a:lnTo>
                  <a:lnTo>
                    <a:pt x="1" y="6"/>
                  </a:lnTo>
                  <a:lnTo>
                    <a:pt x="0" y="4"/>
                  </a:lnTo>
                  <a:lnTo>
                    <a:pt x="1" y="3"/>
                  </a:lnTo>
                  <a:lnTo>
                    <a:pt x="1" y="3"/>
                  </a:lnTo>
                  <a:lnTo>
                    <a:pt x="1" y="3"/>
                  </a:lnTo>
                  <a:lnTo>
                    <a:pt x="0" y="3"/>
                  </a:lnTo>
                  <a:lnTo>
                    <a:pt x="0" y="1"/>
                  </a:lnTo>
                  <a:lnTo>
                    <a:pt x="0" y="0"/>
                  </a:lnTo>
                  <a:lnTo>
                    <a:pt x="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2" name="Freeform 71"/>
            <p:cNvSpPr>
              <a:spLocks/>
            </p:cNvSpPr>
            <p:nvPr/>
          </p:nvSpPr>
          <p:spPr bwMode="auto">
            <a:xfrm>
              <a:off x="5155144" y="4188358"/>
              <a:ext cx="2634" cy="6085"/>
            </a:xfrm>
            <a:custGeom>
              <a:avLst/>
              <a:gdLst/>
              <a:ahLst/>
              <a:cxnLst>
                <a:cxn ang="0">
                  <a:pos x="3" y="0"/>
                </a:cxn>
                <a:cxn ang="0">
                  <a:pos x="3" y="0"/>
                </a:cxn>
                <a:cxn ang="0">
                  <a:pos x="3" y="4"/>
                </a:cxn>
                <a:cxn ang="0">
                  <a:pos x="1" y="6"/>
                </a:cxn>
                <a:cxn ang="0">
                  <a:pos x="1" y="6"/>
                </a:cxn>
                <a:cxn ang="0">
                  <a:pos x="0" y="4"/>
                </a:cxn>
                <a:cxn ang="0">
                  <a:pos x="1" y="3"/>
                </a:cxn>
                <a:cxn ang="0">
                  <a:pos x="1" y="3"/>
                </a:cxn>
                <a:cxn ang="0">
                  <a:pos x="1" y="3"/>
                </a:cxn>
                <a:cxn ang="0">
                  <a:pos x="0" y="3"/>
                </a:cxn>
                <a:cxn ang="0">
                  <a:pos x="0" y="1"/>
                </a:cxn>
                <a:cxn ang="0">
                  <a:pos x="0" y="0"/>
                </a:cxn>
                <a:cxn ang="0">
                  <a:pos x="3" y="0"/>
                </a:cxn>
              </a:cxnLst>
              <a:rect l="0" t="0" r="r" b="b"/>
              <a:pathLst>
                <a:path w="3" h="6">
                  <a:moveTo>
                    <a:pt x="3" y="0"/>
                  </a:moveTo>
                  <a:lnTo>
                    <a:pt x="3" y="0"/>
                  </a:lnTo>
                  <a:lnTo>
                    <a:pt x="3" y="4"/>
                  </a:lnTo>
                  <a:lnTo>
                    <a:pt x="1" y="6"/>
                  </a:lnTo>
                  <a:lnTo>
                    <a:pt x="1" y="6"/>
                  </a:lnTo>
                  <a:lnTo>
                    <a:pt x="0" y="4"/>
                  </a:lnTo>
                  <a:lnTo>
                    <a:pt x="1" y="3"/>
                  </a:lnTo>
                  <a:lnTo>
                    <a:pt x="1" y="3"/>
                  </a:lnTo>
                  <a:lnTo>
                    <a:pt x="1" y="3"/>
                  </a:lnTo>
                  <a:lnTo>
                    <a:pt x="0" y="3"/>
                  </a:lnTo>
                  <a:lnTo>
                    <a:pt x="0" y="1"/>
                  </a:lnTo>
                  <a:lnTo>
                    <a:pt x="0" y="0"/>
                  </a:lnTo>
                  <a:lnTo>
                    <a:pt x="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3" name="Freeform 72"/>
            <p:cNvSpPr>
              <a:spLocks/>
            </p:cNvSpPr>
            <p:nvPr/>
          </p:nvSpPr>
          <p:spPr bwMode="auto">
            <a:xfrm>
              <a:off x="5145489" y="4195458"/>
              <a:ext cx="20189" cy="15212"/>
            </a:xfrm>
            <a:custGeom>
              <a:avLst/>
              <a:gdLst/>
              <a:ahLst/>
              <a:cxnLst>
                <a:cxn ang="0">
                  <a:pos x="0" y="0"/>
                </a:cxn>
                <a:cxn ang="0">
                  <a:pos x="0" y="0"/>
                </a:cxn>
                <a:cxn ang="0">
                  <a:pos x="3" y="3"/>
                </a:cxn>
                <a:cxn ang="0">
                  <a:pos x="16" y="9"/>
                </a:cxn>
                <a:cxn ang="0">
                  <a:pos x="16" y="12"/>
                </a:cxn>
                <a:cxn ang="0">
                  <a:pos x="16" y="12"/>
                </a:cxn>
                <a:cxn ang="0">
                  <a:pos x="17" y="10"/>
                </a:cxn>
                <a:cxn ang="0">
                  <a:pos x="17" y="10"/>
                </a:cxn>
                <a:cxn ang="0">
                  <a:pos x="19" y="12"/>
                </a:cxn>
                <a:cxn ang="0">
                  <a:pos x="22" y="13"/>
                </a:cxn>
                <a:cxn ang="0">
                  <a:pos x="22" y="15"/>
                </a:cxn>
                <a:cxn ang="0">
                  <a:pos x="19" y="15"/>
                </a:cxn>
                <a:cxn ang="0">
                  <a:pos x="16" y="13"/>
                </a:cxn>
                <a:cxn ang="0">
                  <a:pos x="14" y="12"/>
                </a:cxn>
                <a:cxn ang="0">
                  <a:pos x="11" y="9"/>
                </a:cxn>
                <a:cxn ang="0">
                  <a:pos x="11" y="9"/>
                </a:cxn>
                <a:cxn ang="0">
                  <a:pos x="11" y="10"/>
                </a:cxn>
                <a:cxn ang="0">
                  <a:pos x="10" y="10"/>
                </a:cxn>
                <a:cxn ang="0">
                  <a:pos x="1" y="6"/>
                </a:cxn>
                <a:cxn ang="0">
                  <a:pos x="0" y="0"/>
                </a:cxn>
              </a:cxnLst>
              <a:rect l="0" t="0" r="r" b="b"/>
              <a:pathLst>
                <a:path w="22" h="15">
                  <a:moveTo>
                    <a:pt x="0" y="0"/>
                  </a:moveTo>
                  <a:lnTo>
                    <a:pt x="0" y="0"/>
                  </a:lnTo>
                  <a:lnTo>
                    <a:pt x="3" y="3"/>
                  </a:lnTo>
                  <a:lnTo>
                    <a:pt x="16" y="9"/>
                  </a:lnTo>
                  <a:lnTo>
                    <a:pt x="16" y="12"/>
                  </a:lnTo>
                  <a:lnTo>
                    <a:pt x="16" y="12"/>
                  </a:lnTo>
                  <a:lnTo>
                    <a:pt x="17" y="10"/>
                  </a:lnTo>
                  <a:lnTo>
                    <a:pt x="17" y="10"/>
                  </a:lnTo>
                  <a:lnTo>
                    <a:pt x="19" y="12"/>
                  </a:lnTo>
                  <a:lnTo>
                    <a:pt x="22" y="13"/>
                  </a:lnTo>
                  <a:lnTo>
                    <a:pt x="22" y="15"/>
                  </a:lnTo>
                  <a:lnTo>
                    <a:pt x="19" y="15"/>
                  </a:lnTo>
                  <a:lnTo>
                    <a:pt x="16" y="13"/>
                  </a:lnTo>
                  <a:lnTo>
                    <a:pt x="14" y="12"/>
                  </a:lnTo>
                  <a:lnTo>
                    <a:pt x="11" y="9"/>
                  </a:lnTo>
                  <a:lnTo>
                    <a:pt x="11" y="9"/>
                  </a:lnTo>
                  <a:lnTo>
                    <a:pt x="11" y="10"/>
                  </a:lnTo>
                  <a:lnTo>
                    <a:pt x="10" y="10"/>
                  </a:lnTo>
                  <a:lnTo>
                    <a:pt x="1" y="6"/>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4" name="Freeform 73"/>
            <p:cNvSpPr>
              <a:spLocks/>
            </p:cNvSpPr>
            <p:nvPr/>
          </p:nvSpPr>
          <p:spPr bwMode="auto">
            <a:xfrm>
              <a:off x="5145489" y="4195458"/>
              <a:ext cx="20189" cy="15212"/>
            </a:xfrm>
            <a:custGeom>
              <a:avLst/>
              <a:gdLst/>
              <a:ahLst/>
              <a:cxnLst>
                <a:cxn ang="0">
                  <a:pos x="0" y="0"/>
                </a:cxn>
                <a:cxn ang="0">
                  <a:pos x="0" y="0"/>
                </a:cxn>
                <a:cxn ang="0">
                  <a:pos x="3" y="3"/>
                </a:cxn>
                <a:cxn ang="0">
                  <a:pos x="16" y="9"/>
                </a:cxn>
                <a:cxn ang="0">
                  <a:pos x="16" y="12"/>
                </a:cxn>
                <a:cxn ang="0">
                  <a:pos x="16" y="12"/>
                </a:cxn>
                <a:cxn ang="0">
                  <a:pos x="17" y="10"/>
                </a:cxn>
                <a:cxn ang="0">
                  <a:pos x="17" y="10"/>
                </a:cxn>
                <a:cxn ang="0">
                  <a:pos x="19" y="12"/>
                </a:cxn>
                <a:cxn ang="0">
                  <a:pos x="22" y="13"/>
                </a:cxn>
                <a:cxn ang="0">
                  <a:pos x="22" y="15"/>
                </a:cxn>
                <a:cxn ang="0">
                  <a:pos x="19" y="15"/>
                </a:cxn>
                <a:cxn ang="0">
                  <a:pos x="16" y="13"/>
                </a:cxn>
                <a:cxn ang="0">
                  <a:pos x="14" y="12"/>
                </a:cxn>
                <a:cxn ang="0">
                  <a:pos x="11" y="9"/>
                </a:cxn>
                <a:cxn ang="0">
                  <a:pos x="11" y="9"/>
                </a:cxn>
                <a:cxn ang="0">
                  <a:pos x="11" y="10"/>
                </a:cxn>
                <a:cxn ang="0">
                  <a:pos x="10" y="10"/>
                </a:cxn>
                <a:cxn ang="0">
                  <a:pos x="1" y="6"/>
                </a:cxn>
                <a:cxn ang="0">
                  <a:pos x="0" y="0"/>
                </a:cxn>
              </a:cxnLst>
              <a:rect l="0" t="0" r="r" b="b"/>
              <a:pathLst>
                <a:path w="22" h="15">
                  <a:moveTo>
                    <a:pt x="0" y="0"/>
                  </a:moveTo>
                  <a:lnTo>
                    <a:pt x="0" y="0"/>
                  </a:lnTo>
                  <a:lnTo>
                    <a:pt x="3" y="3"/>
                  </a:lnTo>
                  <a:lnTo>
                    <a:pt x="16" y="9"/>
                  </a:lnTo>
                  <a:lnTo>
                    <a:pt x="16" y="12"/>
                  </a:lnTo>
                  <a:lnTo>
                    <a:pt x="16" y="12"/>
                  </a:lnTo>
                  <a:lnTo>
                    <a:pt x="17" y="10"/>
                  </a:lnTo>
                  <a:lnTo>
                    <a:pt x="17" y="10"/>
                  </a:lnTo>
                  <a:lnTo>
                    <a:pt x="19" y="12"/>
                  </a:lnTo>
                  <a:lnTo>
                    <a:pt x="22" y="13"/>
                  </a:lnTo>
                  <a:lnTo>
                    <a:pt x="22" y="15"/>
                  </a:lnTo>
                  <a:lnTo>
                    <a:pt x="19" y="15"/>
                  </a:lnTo>
                  <a:lnTo>
                    <a:pt x="16" y="13"/>
                  </a:lnTo>
                  <a:lnTo>
                    <a:pt x="14" y="12"/>
                  </a:lnTo>
                  <a:lnTo>
                    <a:pt x="11" y="9"/>
                  </a:lnTo>
                  <a:lnTo>
                    <a:pt x="11" y="9"/>
                  </a:lnTo>
                  <a:lnTo>
                    <a:pt x="11" y="10"/>
                  </a:lnTo>
                  <a:lnTo>
                    <a:pt x="10" y="10"/>
                  </a:lnTo>
                  <a:lnTo>
                    <a:pt x="1" y="6"/>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5" name="Freeform 74"/>
            <p:cNvSpPr>
              <a:spLocks/>
            </p:cNvSpPr>
            <p:nvPr/>
          </p:nvSpPr>
          <p:spPr bwMode="auto">
            <a:xfrm>
              <a:off x="5143733" y="4169090"/>
              <a:ext cx="1756" cy="10141"/>
            </a:xfrm>
            <a:custGeom>
              <a:avLst/>
              <a:gdLst/>
              <a:ahLst/>
              <a:cxnLst>
                <a:cxn ang="0">
                  <a:pos x="2" y="0"/>
                </a:cxn>
                <a:cxn ang="0">
                  <a:pos x="2" y="2"/>
                </a:cxn>
                <a:cxn ang="0">
                  <a:pos x="2" y="8"/>
                </a:cxn>
                <a:cxn ang="0">
                  <a:pos x="2" y="9"/>
                </a:cxn>
                <a:cxn ang="0">
                  <a:pos x="0" y="9"/>
                </a:cxn>
                <a:cxn ang="0">
                  <a:pos x="0" y="9"/>
                </a:cxn>
                <a:cxn ang="0">
                  <a:pos x="0" y="5"/>
                </a:cxn>
                <a:cxn ang="0">
                  <a:pos x="2" y="3"/>
                </a:cxn>
                <a:cxn ang="0">
                  <a:pos x="0" y="0"/>
                </a:cxn>
                <a:cxn ang="0">
                  <a:pos x="2" y="0"/>
                </a:cxn>
                <a:cxn ang="0">
                  <a:pos x="2" y="0"/>
                </a:cxn>
              </a:cxnLst>
              <a:rect l="0" t="0" r="r" b="b"/>
              <a:pathLst>
                <a:path w="2" h="9">
                  <a:moveTo>
                    <a:pt x="2" y="0"/>
                  </a:moveTo>
                  <a:lnTo>
                    <a:pt x="2" y="2"/>
                  </a:lnTo>
                  <a:lnTo>
                    <a:pt x="2" y="8"/>
                  </a:lnTo>
                  <a:lnTo>
                    <a:pt x="2" y="9"/>
                  </a:lnTo>
                  <a:lnTo>
                    <a:pt x="0" y="9"/>
                  </a:lnTo>
                  <a:lnTo>
                    <a:pt x="0" y="9"/>
                  </a:lnTo>
                  <a:lnTo>
                    <a:pt x="0" y="5"/>
                  </a:lnTo>
                  <a:lnTo>
                    <a:pt x="2" y="3"/>
                  </a:lnTo>
                  <a:lnTo>
                    <a:pt x="0" y="0"/>
                  </a:lnTo>
                  <a:lnTo>
                    <a:pt x="2" y="0"/>
                  </a:lnTo>
                  <a:lnTo>
                    <a:pt x="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6" name="Freeform 75"/>
            <p:cNvSpPr>
              <a:spLocks/>
            </p:cNvSpPr>
            <p:nvPr/>
          </p:nvSpPr>
          <p:spPr bwMode="auto">
            <a:xfrm>
              <a:off x="5143733" y="4169090"/>
              <a:ext cx="1756" cy="10141"/>
            </a:xfrm>
            <a:custGeom>
              <a:avLst/>
              <a:gdLst/>
              <a:ahLst/>
              <a:cxnLst>
                <a:cxn ang="0">
                  <a:pos x="2" y="0"/>
                </a:cxn>
                <a:cxn ang="0">
                  <a:pos x="2" y="2"/>
                </a:cxn>
                <a:cxn ang="0">
                  <a:pos x="2" y="8"/>
                </a:cxn>
                <a:cxn ang="0">
                  <a:pos x="2" y="9"/>
                </a:cxn>
                <a:cxn ang="0">
                  <a:pos x="0" y="9"/>
                </a:cxn>
                <a:cxn ang="0">
                  <a:pos x="0" y="9"/>
                </a:cxn>
                <a:cxn ang="0">
                  <a:pos x="0" y="5"/>
                </a:cxn>
                <a:cxn ang="0">
                  <a:pos x="2" y="3"/>
                </a:cxn>
                <a:cxn ang="0">
                  <a:pos x="0" y="0"/>
                </a:cxn>
                <a:cxn ang="0">
                  <a:pos x="2" y="0"/>
                </a:cxn>
                <a:cxn ang="0">
                  <a:pos x="2" y="0"/>
                </a:cxn>
              </a:cxnLst>
              <a:rect l="0" t="0" r="r" b="b"/>
              <a:pathLst>
                <a:path w="2" h="9">
                  <a:moveTo>
                    <a:pt x="2" y="0"/>
                  </a:moveTo>
                  <a:lnTo>
                    <a:pt x="2" y="2"/>
                  </a:lnTo>
                  <a:lnTo>
                    <a:pt x="2" y="8"/>
                  </a:lnTo>
                  <a:lnTo>
                    <a:pt x="2" y="9"/>
                  </a:lnTo>
                  <a:lnTo>
                    <a:pt x="0" y="9"/>
                  </a:lnTo>
                  <a:lnTo>
                    <a:pt x="0" y="9"/>
                  </a:lnTo>
                  <a:lnTo>
                    <a:pt x="0" y="5"/>
                  </a:lnTo>
                  <a:lnTo>
                    <a:pt x="2" y="3"/>
                  </a:lnTo>
                  <a:lnTo>
                    <a:pt x="0" y="0"/>
                  </a:lnTo>
                  <a:lnTo>
                    <a:pt x="2" y="0"/>
                  </a:lnTo>
                  <a:lnTo>
                    <a:pt x="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7" name="Freeform 76"/>
            <p:cNvSpPr>
              <a:spLocks/>
            </p:cNvSpPr>
            <p:nvPr/>
          </p:nvSpPr>
          <p:spPr bwMode="auto">
            <a:xfrm>
              <a:off x="5157778" y="4210669"/>
              <a:ext cx="20189" cy="19269"/>
            </a:xfrm>
            <a:custGeom>
              <a:avLst/>
              <a:gdLst/>
              <a:ahLst/>
              <a:cxnLst>
                <a:cxn ang="0">
                  <a:pos x="1" y="0"/>
                </a:cxn>
                <a:cxn ang="0">
                  <a:pos x="3" y="0"/>
                </a:cxn>
                <a:cxn ang="0">
                  <a:pos x="4" y="0"/>
                </a:cxn>
                <a:cxn ang="0">
                  <a:pos x="4" y="1"/>
                </a:cxn>
                <a:cxn ang="0">
                  <a:pos x="7" y="1"/>
                </a:cxn>
                <a:cxn ang="0">
                  <a:pos x="7" y="2"/>
                </a:cxn>
                <a:cxn ang="0">
                  <a:pos x="9" y="2"/>
                </a:cxn>
                <a:cxn ang="0">
                  <a:pos x="9" y="1"/>
                </a:cxn>
                <a:cxn ang="0">
                  <a:pos x="9" y="1"/>
                </a:cxn>
                <a:cxn ang="0">
                  <a:pos x="10" y="1"/>
                </a:cxn>
                <a:cxn ang="0">
                  <a:pos x="11" y="2"/>
                </a:cxn>
                <a:cxn ang="0">
                  <a:pos x="13" y="1"/>
                </a:cxn>
                <a:cxn ang="0">
                  <a:pos x="14" y="5"/>
                </a:cxn>
                <a:cxn ang="0">
                  <a:pos x="16" y="4"/>
                </a:cxn>
                <a:cxn ang="0">
                  <a:pos x="17" y="4"/>
                </a:cxn>
                <a:cxn ang="0">
                  <a:pos x="17" y="5"/>
                </a:cxn>
                <a:cxn ang="0">
                  <a:pos x="17" y="7"/>
                </a:cxn>
                <a:cxn ang="0">
                  <a:pos x="20" y="8"/>
                </a:cxn>
                <a:cxn ang="0">
                  <a:pos x="22" y="10"/>
                </a:cxn>
                <a:cxn ang="0">
                  <a:pos x="22" y="11"/>
                </a:cxn>
                <a:cxn ang="0">
                  <a:pos x="19" y="11"/>
                </a:cxn>
                <a:cxn ang="0">
                  <a:pos x="19" y="16"/>
                </a:cxn>
                <a:cxn ang="0">
                  <a:pos x="19" y="16"/>
                </a:cxn>
                <a:cxn ang="0">
                  <a:pos x="16" y="16"/>
                </a:cxn>
                <a:cxn ang="0">
                  <a:pos x="16" y="14"/>
                </a:cxn>
                <a:cxn ang="0">
                  <a:pos x="16" y="16"/>
                </a:cxn>
                <a:cxn ang="0">
                  <a:pos x="16" y="17"/>
                </a:cxn>
                <a:cxn ang="0">
                  <a:pos x="14" y="18"/>
                </a:cxn>
                <a:cxn ang="0">
                  <a:pos x="13" y="17"/>
                </a:cxn>
                <a:cxn ang="0">
                  <a:pos x="11" y="17"/>
                </a:cxn>
                <a:cxn ang="0">
                  <a:pos x="10" y="17"/>
                </a:cxn>
                <a:cxn ang="0">
                  <a:pos x="13" y="16"/>
                </a:cxn>
                <a:cxn ang="0">
                  <a:pos x="7" y="14"/>
                </a:cxn>
                <a:cxn ang="0">
                  <a:pos x="6" y="14"/>
                </a:cxn>
                <a:cxn ang="0">
                  <a:pos x="6" y="10"/>
                </a:cxn>
                <a:cxn ang="0">
                  <a:pos x="4" y="8"/>
                </a:cxn>
                <a:cxn ang="0">
                  <a:pos x="3" y="4"/>
                </a:cxn>
                <a:cxn ang="0">
                  <a:pos x="0" y="1"/>
                </a:cxn>
                <a:cxn ang="0">
                  <a:pos x="0" y="1"/>
                </a:cxn>
                <a:cxn ang="0">
                  <a:pos x="1" y="0"/>
                </a:cxn>
              </a:cxnLst>
              <a:rect l="0" t="0" r="r" b="b"/>
              <a:pathLst>
                <a:path w="22" h="18">
                  <a:moveTo>
                    <a:pt x="1" y="0"/>
                  </a:moveTo>
                  <a:lnTo>
                    <a:pt x="3" y="0"/>
                  </a:lnTo>
                  <a:lnTo>
                    <a:pt x="4" y="0"/>
                  </a:lnTo>
                  <a:lnTo>
                    <a:pt x="4" y="1"/>
                  </a:lnTo>
                  <a:lnTo>
                    <a:pt x="7" y="1"/>
                  </a:lnTo>
                  <a:lnTo>
                    <a:pt x="7" y="2"/>
                  </a:lnTo>
                  <a:lnTo>
                    <a:pt x="9" y="2"/>
                  </a:lnTo>
                  <a:lnTo>
                    <a:pt x="9" y="1"/>
                  </a:lnTo>
                  <a:lnTo>
                    <a:pt x="9" y="1"/>
                  </a:lnTo>
                  <a:lnTo>
                    <a:pt x="10" y="1"/>
                  </a:lnTo>
                  <a:lnTo>
                    <a:pt x="11" y="2"/>
                  </a:lnTo>
                  <a:lnTo>
                    <a:pt x="13" y="1"/>
                  </a:lnTo>
                  <a:lnTo>
                    <a:pt x="14" y="5"/>
                  </a:lnTo>
                  <a:lnTo>
                    <a:pt x="16" y="4"/>
                  </a:lnTo>
                  <a:lnTo>
                    <a:pt x="17" y="4"/>
                  </a:lnTo>
                  <a:lnTo>
                    <a:pt x="17" y="5"/>
                  </a:lnTo>
                  <a:lnTo>
                    <a:pt x="17" y="7"/>
                  </a:lnTo>
                  <a:lnTo>
                    <a:pt x="20" y="8"/>
                  </a:lnTo>
                  <a:lnTo>
                    <a:pt x="22" y="10"/>
                  </a:lnTo>
                  <a:lnTo>
                    <a:pt x="22" y="11"/>
                  </a:lnTo>
                  <a:lnTo>
                    <a:pt x="19" y="11"/>
                  </a:lnTo>
                  <a:lnTo>
                    <a:pt x="19" y="16"/>
                  </a:lnTo>
                  <a:lnTo>
                    <a:pt x="19" y="16"/>
                  </a:lnTo>
                  <a:lnTo>
                    <a:pt x="16" y="16"/>
                  </a:lnTo>
                  <a:lnTo>
                    <a:pt x="16" y="14"/>
                  </a:lnTo>
                  <a:lnTo>
                    <a:pt x="16" y="16"/>
                  </a:lnTo>
                  <a:lnTo>
                    <a:pt x="16" y="17"/>
                  </a:lnTo>
                  <a:lnTo>
                    <a:pt x="14" y="18"/>
                  </a:lnTo>
                  <a:lnTo>
                    <a:pt x="13" y="17"/>
                  </a:lnTo>
                  <a:lnTo>
                    <a:pt x="11" y="17"/>
                  </a:lnTo>
                  <a:lnTo>
                    <a:pt x="10" y="17"/>
                  </a:lnTo>
                  <a:lnTo>
                    <a:pt x="13" y="16"/>
                  </a:lnTo>
                  <a:lnTo>
                    <a:pt x="7" y="14"/>
                  </a:lnTo>
                  <a:lnTo>
                    <a:pt x="6" y="14"/>
                  </a:lnTo>
                  <a:lnTo>
                    <a:pt x="6" y="10"/>
                  </a:lnTo>
                  <a:lnTo>
                    <a:pt x="4" y="8"/>
                  </a:lnTo>
                  <a:lnTo>
                    <a:pt x="3" y="4"/>
                  </a:lnTo>
                  <a:lnTo>
                    <a:pt x="0" y="1"/>
                  </a:lnTo>
                  <a:lnTo>
                    <a:pt x="0" y="1"/>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8" name="Freeform 77"/>
            <p:cNvSpPr>
              <a:spLocks/>
            </p:cNvSpPr>
            <p:nvPr/>
          </p:nvSpPr>
          <p:spPr bwMode="auto">
            <a:xfrm>
              <a:off x="5157778" y="4210669"/>
              <a:ext cx="20189" cy="19269"/>
            </a:xfrm>
            <a:custGeom>
              <a:avLst/>
              <a:gdLst/>
              <a:ahLst/>
              <a:cxnLst>
                <a:cxn ang="0">
                  <a:pos x="1" y="0"/>
                </a:cxn>
                <a:cxn ang="0">
                  <a:pos x="3" y="0"/>
                </a:cxn>
                <a:cxn ang="0">
                  <a:pos x="4" y="0"/>
                </a:cxn>
                <a:cxn ang="0">
                  <a:pos x="4" y="1"/>
                </a:cxn>
                <a:cxn ang="0">
                  <a:pos x="7" y="1"/>
                </a:cxn>
                <a:cxn ang="0">
                  <a:pos x="7" y="2"/>
                </a:cxn>
                <a:cxn ang="0">
                  <a:pos x="9" y="2"/>
                </a:cxn>
                <a:cxn ang="0">
                  <a:pos x="9" y="1"/>
                </a:cxn>
                <a:cxn ang="0">
                  <a:pos x="9" y="1"/>
                </a:cxn>
                <a:cxn ang="0">
                  <a:pos x="10" y="1"/>
                </a:cxn>
                <a:cxn ang="0">
                  <a:pos x="11" y="2"/>
                </a:cxn>
                <a:cxn ang="0">
                  <a:pos x="13" y="1"/>
                </a:cxn>
                <a:cxn ang="0">
                  <a:pos x="14" y="5"/>
                </a:cxn>
                <a:cxn ang="0">
                  <a:pos x="16" y="4"/>
                </a:cxn>
                <a:cxn ang="0">
                  <a:pos x="17" y="4"/>
                </a:cxn>
                <a:cxn ang="0">
                  <a:pos x="17" y="5"/>
                </a:cxn>
                <a:cxn ang="0">
                  <a:pos x="17" y="7"/>
                </a:cxn>
                <a:cxn ang="0">
                  <a:pos x="20" y="8"/>
                </a:cxn>
                <a:cxn ang="0">
                  <a:pos x="22" y="10"/>
                </a:cxn>
                <a:cxn ang="0">
                  <a:pos x="22" y="11"/>
                </a:cxn>
                <a:cxn ang="0">
                  <a:pos x="19" y="11"/>
                </a:cxn>
                <a:cxn ang="0">
                  <a:pos x="19" y="16"/>
                </a:cxn>
                <a:cxn ang="0">
                  <a:pos x="19" y="16"/>
                </a:cxn>
                <a:cxn ang="0">
                  <a:pos x="16" y="16"/>
                </a:cxn>
                <a:cxn ang="0">
                  <a:pos x="16" y="14"/>
                </a:cxn>
                <a:cxn ang="0">
                  <a:pos x="16" y="16"/>
                </a:cxn>
                <a:cxn ang="0">
                  <a:pos x="16" y="17"/>
                </a:cxn>
                <a:cxn ang="0">
                  <a:pos x="14" y="18"/>
                </a:cxn>
                <a:cxn ang="0">
                  <a:pos x="13" y="17"/>
                </a:cxn>
                <a:cxn ang="0">
                  <a:pos x="11" y="17"/>
                </a:cxn>
                <a:cxn ang="0">
                  <a:pos x="10" y="17"/>
                </a:cxn>
                <a:cxn ang="0">
                  <a:pos x="13" y="16"/>
                </a:cxn>
                <a:cxn ang="0">
                  <a:pos x="7" y="14"/>
                </a:cxn>
                <a:cxn ang="0">
                  <a:pos x="6" y="14"/>
                </a:cxn>
                <a:cxn ang="0">
                  <a:pos x="6" y="10"/>
                </a:cxn>
                <a:cxn ang="0">
                  <a:pos x="4" y="8"/>
                </a:cxn>
                <a:cxn ang="0">
                  <a:pos x="3" y="4"/>
                </a:cxn>
                <a:cxn ang="0">
                  <a:pos x="0" y="1"/>
                </a:cxn>
                <a:cxn ang="0">
                  <a:pos x="0" y="1"/>
                </a:cxn>
                <a:cxn ang="0">
                  <a:pos x="1" y="0"/>
                </a:cxn>
              </a:cxnLst>
              <a:rect l="0" t="0" r="r" b="b"/>
              <a:pathLst>
                <a:path w="22" h="18">
                  <a:moveTo>
                    <a:pt x="1" y="0"/>
                  </a:moveTo>
                  <a:lnTo>
                    <a:pt x="3" y="0"/>
                  </a:lnTo>
                  <a:lnTo>
                    <a:pt x="4" y="0"/>
                  </a:lnTo>
                  <a:lnTo>
                    <a:pt x="4" y="1"/>
                  </a:lnTo>
                  <a:lnTo>
                    <a:pt x="7" y="1"/>
                  </a:lnTo>
                  <a:lnTo>
                    <a:pt x="7" y="2"/>
                  </a:lnTo>
                  <a:lnTo>
                    <a:pt x="9" y="2"/>
                  </a:lnTo>
                  <a:lnTo>
                    <a:pt x="9" y="1"/>
                  </a:lnTo>
                  <a:lnTo>
                    <a:pt x="9" y="1"/>
                  </a:lnTo>
                  <a:lnTo>
                    <a:pt x="10" y="1"/>
                  </a:lnTo>
                  <a:lnTo>
                    <a:pt x="11" y="2"/>
                  </a:lnTo>
                  <a:lnTo>
                    <a:pt x="13" y="1"/>
                  </a:lnTo>
                  <a:lnTo>
                    <a:pt x="14" y="5"/>
                  </a:lnTo>
                  <a:lnTo>
                    <a:pt x="16" y="4"/>
                  </a:lnTo>
                  <a:lnTo>
                    <a:pt x="17" y="4"/>
                  </a:lnTo>
                  <a:lnTo>
                    <a:pt x="17" y="5"/>
                  </a:lnTo>
                  <a:lnTo>
                    <a:pt x="17" y="7"/>
                  </a:lnTo>
                  <a:lnTo>
                    <a:pt x="20" y="8"/>
                  </a:lnTo>
                  <a:lnTo>
                    <a:pt x="22" y="10"/>
                  </a:lnTo>
                  <a:lnTo>
                    <a:pt x="22" y="11"/>
                  </a:lnTo>
                  <a:lnTo>
                    <a:pt x="19" y="11"/>
                  </a:lnTo>
                  <a:lnTo>
                    <a:pt x="19" y="16"/>
                  </a:lnTo>
                  <a:lnTo>
                    <a:pt x="19" y="16"/>
                  </a:lnTo>
                  <a:lnTo>
                    <a:pt x="16" y="16"/>
                  </a:lnTo>
                  <a:lnTo>
                    <a:pt x="16" y="14"/>
                  </a:lnTo>
                  <a:lnTo>
                    <a:pt x="16" y="16"/>
                  </a:lnTo>
                  <a:lnTo>
                    <a:pt x="16" y="17"/>
                  </a:lnTo>
                  <a:lnTo>
                    <a:pt x="14" y="18"/>
                  </a:lnTo>
                  <a:lnTo>
                    <a:pt x="13" y="17"/>
                  </a:lnTo>
                  <a:lnTo>
                    <a:pt x="11" y="17"/>
                  </a:lnTo>
                  <a:lnTo>
                    <a:pt x="10" y="17"/>
                  </a:lnTo>
                  <a:lnTo>
                    <a:pt x="13" y="16"/>
                  </a:lnTo>
                  <a:lnTo>
                    <a:pt x="7" y="14"/>
                  </a:lnTo>
                  <a:lnTo>
                    <a:pt x="6" y="14"/>
                  </a:lnTo>
                  <a:lnTo>
                    <a:pt x="6" y="10"/>
                  </a:lnTo>
                  <a:lnTo>
                    <a:pt x="4" y="8"/>
                  </a:lnTo>
                  <a:lnTo>
                    <a:pt x="3" y="4"/>
                  </a:lnTo>
                  <a:lnTo>
                    <a:pt x="0" y="1"/>
                  </a:lnTo>
                  <a:lnTo>
                    <a:pt x="0" y="1"/>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9" name="Freeform 78"/>
            <p:cNvSpPr>
              <a:spLocks/>
            </p:cNvSpPr>
            <p:nvPr/>
          </p:nvSpPr>
          <p:spPr bwMode="auto">
            <a:xfrm>
              <a:off x="5177966" y="4222838"/>
              <a:ext cx="14045" cy="12170"/>
            </a:xfrm>
            <a:custGeom>
              <a:avLst/>
              <a:gdLst/>
              <a:ahLst/>
              <a:cxnLst>
                <a:cxn ang="0">
                  <a:pos x="4" y="0"/>
                </a:cxn>
                <a:cxn ang="0">
                  <a:pos x="4" y="0"/>
                </a:cxn>
                <a:cxn ang="0">
                  <a:pos x="5" y="2"/>
                </a:cxn>
                <a:cxn ang="0">
                  <a:pos x="5" y="2"/>
                </a:cxn>
                <a:cxn ang="0">
                  <a:pos x="7" y="3"/>
                </a:cxn>
                <a:cxn ang="0">
                  <a:pos x="7" y="3"/>
                </a:cxn>
                <a:cxn ang="0">
                  <a:pos x="7" y="5"/>
                </a:cxn>
                <a:cxn ang="0">
                  <a:pos x="7" y="6"/>
                </a:cxn>
                <a:cxn ang="0">
                  <a:pos x="7" y="5"/>
                </a:cxn>
                <a:cxn ang="0">
                  <a:pos x="8" y="3"/>
                </a:cxn>
                <a:cxn ang="0">
                  <a:pos x="10" y="3"/>
                </a:cxn>
                <a:cxn ang="0">
                  <a:pos x="11" y="5"/>
                </a:cxn>
                <a:cxn ang="0">
                  <a:pos x="11" y="5"/>
                </a:cxn>
                <a:cxn ang="0">
                  <a:pos x="13" y="7"/>
                </a:cxn>
                <a:cxn ang="0">
                  <a:pos x="14" y="7"/>
                </a:cxn>
                <a:cxn ang="0">
                  <a:pos x="16" y="7"/>
                </a:cxn>
                <a:cxn ang="0">
                  <a:pos x="16" y="9"/>
                </a:cxn>
                <a:cxn ang="0">
                  <a:pos x="16" y="10"/>
                </a:cxn>
                <a:cxn ang="0">
                  <a:pos x="16" y="12"/>
                </a:cxn>
                <a:cxn ang="0">
                  <a:pos x="13" y="12"/>
                </a:cxn>
                <a:cxn ang="0">
                  <a:pos x="11" y="9"/>
                </a:cxn>
                <a:cxn ang="0">
                  <a:pos x="7" y="9"/>
                </a:cxn>
                <a:cxn ang="0">
                  <a:pos x="5" y="10"/>
                </a:cxn>
                <a:cxn ang="0">
                  <a:pos x="7" y="10"/>
                </a:cxn>
                <a:cxn ang="0">
                  <a:pos x="7" y="10"/>
                </a:cxn>
                <a:cxn ang="0">
                  <a:pos x="4" y="10"/>
                </a:cxn>
                <a:cxn ang="0">
                  <a:pos x="4" y="9"/>
                </a:cxn>
                <a:cxn ang="0">
                  <a:pos x="3" y="7"/>
                </a:cxn>
                <a:cxn ang="0">
                  <a:pos x="1" y="7"/>
                </a:cxn>
                <a:cxn ang="0">
                  <a:pos x="0" y="2"/>
                </a:cxn>
                <a:cxn ang="0">
                  <a:pos x="1" y="2"/>
                </a:cxn>
                <a:cxn ang="0">
                  <a:pos x="3" y="2"/>
                </a:cxn>
                <a:cxn ang="0">
                  <a:pos x="3" y="0"/>
                </a:cxn>
                <a:cxn ang="0">
                  <a:pos x="4" y="0"/>
                </a:cxn>
              </a:cxnLst>
              <a:rect l="0" t="0" r="r" b="b"/>
              <a:pathLst>
                <a:path w="16" h="12">
                  <a:moveTo>
                    <a:pt x="4" y="0"/>
                  </a:moveTo>
                  <a:lnTo>
                    <a:pt x="4" y="0"/>
                  </a:lnTo>
                  <a:lnTo>
                    <a:pt x="5" y="2"/>
                  </a:lnTo>
                  <a:lnTo>
                    <a:pt x="5" y="2"/>
                  </a:lnTo>
                  <a:lnTo>
                    <a:pt x="7" y="3"/>
                  </a:lnTo>
                  <a:lnTo>
                    <a:pt x="7" y="3"/>
                  </a:lnTo>
                  <a:lnTo>
                    <a:pt x="7" y="5"/>
                  </a:lnTo>
                  <a:lnTo>
                    <a:pt x="7" y="6"/>
                  </a:lnTo>
                  <a:lnTo>
                    <a:pt x="7" y="5"/>
                  </a:lnTo>
                  <a:lnTo>
                    <a:pt x="8" y="3"/>
                  </a:lnTo>
                  <a:lnTo>
                    <a:pt x="10" y="3"/>
                  </a:lnTo>
                  <a:lnTo>
                    <a:pt x="11" y="5"/>
                  </a:lnTo>
                  <a:lnTo>
                    <a:pt x="11" y="5"/>
                  </a:lnTo>
                  <a:lnTo>
                    <a:pt x="13" y="7"/>
                  </a:lnTo>
                  <a:lnTo>
                    <a:pt x="14" y="7"/>
                  </a:lnTo>
                  <a:lnTo>
                    <a:pt x="16" y="7"/>
                  </a:lnTo>
                  <a:lnTo>
                    <a:pt x="16" y="9"/>
                  </a:lnTo>
                  <a:lnTo>
                    <a:pt x="16" y="10"/>
                  </a:lnTo>
                  <a:lnTo>
                    <a:pt x="16" y="12"/>
                  </a:lnTo>
                  <a:lnTo>
                    <a:pt x="13" y="12"/>
                  </a:lnTo>
                  <a:lnTo>
                    <a:pt x="11" y="9"/>
                  </a:lnTo>
                  <a:lnTo>
                    <a:pt x="7" y="9"/>
                  </a:lnTo>
                  <a:lnTo>
                    <a:pt x="5" y="10"/>
                  </a:lnTo>
                  <a:lnTo>
                    <a:pt x="7" y="10"/>
                  </a:lnTo>
                  <a:lnTo>
                    <a:pt x="7" y="10"/>
                  </a:lnTo>
                  <a:lnTo>
                    <a:pt x="4" y="10"/>
                  </a:lnTo>
                  <a:lnTo>
                    <a:pt x="4" y="9"/>
                  </a:lnTo>
                  <a:lnTo>
                    <a:pt x="3" y="7"/>
                  </a:lnTo>
                  <a:lnTo>
                    <a:pt x="1" y="7"/>
                  </a:lnTo>
                  <a:lnTo>
                    <a:pt x="0" y="2"/>
                  </a:lnTo>
                  <a:lnTo>
                    <a:pt x="1" y="2"/>
                  </a:lnTo>
                  <a:lnTo>
                    <a:pt x="3" y="2"/>
                  </a:lnTo>
                  <a:lnTo>
                    <a:pt x="3" y="0"/>
                  </a:lnTo>
                  <a:lnTo>
                    <a:pt x="4"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0" name="Freeform 79"/>
            <p:cNvSpPr>
              <a:spLocks/>
            </p:cNvSpPr>
            <p:nvPr/>
          </p:nvSpPr>
          <p:spPr bwMode="auto">
            <a:xfrm>
              <a:off x="5177966" y="4222838"/>
              <a:ext cx="14045" cy="12170"/>
            </a:xfrm>
            <a:custGeom>
              <a:avLst/>
              <a:gdLst/>
              <a:ahLst/>
              <a:cxnLst>
                <a:cxn ang="0">
                  <a:pos x="4" y="0"/>
                </a:cxn>
                <a:cxn ang="0">
                  <a:pos x="4" y="0"/>
                </a:cxn>
                <a:cxn ang="0">
                  <a:pos x="5" y="2"/>
                </a:cxn>
                <a:cxn ang="0">
                  <a:pos x="5" y="2"/>
                </a:cxn>
                <a:cxn ang="0">
                  <a:pos x="7" y="3"/>
                </a:cxn>
                <a:cxn ang="0">
                  <a:pos x="7" y="3"/>
                </a:cxn>
                <a:cxn ang="0">
                  <a:pos x="7" y="5"/>
                </a:cxn>
                <a:cxn ang="0">
                  <a:pos x="7" y="6"/>
                </a:cxn>
                <a:cxn ang="0">
                  <a:pos x="7" y="5"/>
                </a:cxn>
                <a:cxn ang="0">
                  <a:pos x="8" y="3"/>
                </a:cxn>
                <a:cxn ang="0">
                  <a:pos x="10" y="3"/>
                </a:cxn>
                <a:cxn ang="0">
                  <a:pos x="11" y="5"/>
                </a:cxn>
                <a:cxn ang="0">
                  <a:pos x="11" y="5"/>
                </a:cxn>
                <a:cxn ang="0">
                  <a:pos x="13" y="7"/>
                </a:cxn>
                <a:cxn ang="0">
                  <a:pos x="14" y="7"/>
                </a:cxn>
                <a:cxn ang="0">
                  <a:pos x="16" y="7"/>
                </a:cxn>
                <a:cxn ang="0">
                  <a:pos x="16" y="9"/>
                </a:cxn>
                <a:cxn ang="0">
                  <a:pos x="16" y="10"/>
                </a:cxn>
                <a:cxn ang="0">
                  <a:pos x="16" y="12"/>
                </a:cxn>
                <a:cxn ang="0">
                  <a:pos x="13" y="12"/>
                </a:cxn>
                <a:cxn ang="0">
                  <a:pos x="11" y="9"/>
                </a:cxn>
                <a:cxn ang="0">
                  <a:pos x="7" y="9"/>
                </a:cxn>
                <a:cxn ang="0">
                  <a:pos x="5" y="10"/>
                </a:cxn>
                <a:cxn ang="0">
                  <a:pos x="7" y="10"/>
                </a:cxn>
                <a:cxn ang="0">
                  <a:pos x="7" y="10"/>
                </a:cxn>
                <a:cxn ang="0">
                  <a:pos x="4" y="10"/>
                </a:cxn>
                <a:cxn ang="0">
                  <a:pos x="4" y="9"/>
                </a:cxn>
                <a:cxn ang="0">
                  <a:pos x="3" y="7"/>
                </a:cxn>
                <a:cxn ang="0">
                  <a:pos x="1" y="7"/>
                </a:cxn>
                <a:cxn ang="0">
                  <a:pos x="0" y="2"/>
                </a:cxn>
                <a:cxn ang="0">
                  <a:pos x="1" y="2"/>
                </a:cxn>
                <a:cxn ang="0">
                  <a:pos x="3" y="2"/>
                </a:cxn>
                <a:cxn ang="0">
                  <a:pos x="3" y="0"/>
                </a:cxn>
                <a:cxn ang="0">
                  <a:pos x="4" y="0"/>
                </a:cxn>
              </a:cxnLst>
              <a:rect l="0" t="0" r="r" b="b"/>
              <a:pathLst>
                <a:path w="16" h="12">
                  <a:moveTo>
                    <a:pt x="4" y="0"/>
                  </a:moveTo>
                  <a:lnTo>
                    <a:pt x="4" y="0"/>
                  </a:lnTo>
                  <a:lnTo>
                    <a:pt x="5" y="2"/>
                  </a:lnTo>
                  <a:lnTo>
                    <a:pt x="5" y="2"/>
                  </a:lnTo>
                  <a:lnTo>
                    <a:pt x="7" y="3"/>
                  </a:lnTo>
                  <a:lnTo>
                    <a:pt x="7" y="3"/>
                  </a:lnTo>
                  <a:lnTo>
                    <a:pt x="7" y="5"/>
                  </a:lnTo>
                  <a:lnTo>
                    <a:pt x="7" y="6"/>
                  </a:lnTo>
                  <a:lnTo>
                    <a:pt x="7" y="5"/>
                  </a:lnTo>
                  <a:lnTo>
                    <a:pt x="8" y="3"/>
                  </a:lnTo>
                  <a:lnTo>
                    <a:pt x="10" y="3"/>
                  </a:lnTo>
                  <a:lnTo>
                    <a:pt x="11" y="5"/>
                  </a:lnTo>
                  <a:lnTo>
                    <a:pt x="11" y="5"/>
                  </a:lnTo>
                  <a:lnTo>
                    <a:pt x="13" y="7"/>
                  </a:lnTo>
                  <a:lnTo>
                    <a:pt x="14" y="7"/>
                  </a:lnTo>
                  <a:lnTo>
                    <a:pt x="16" y="7"/>
                  </a:lnTo>
                  <a:lnTo>
                    <a:pt x="16" y="9"/>
                  </a:lnTo>
                  <a:lnTo>
                    <a:pt x="16" y="10"/>
                  </a:lnTo>
                  <a:lnTo>
                    <a:pt x="16" y="12"/>
                  </a:lnTo>
                  <a:lnTo>
                    <a:pt x="13" y="12"/>
                  </a:lnTo>
                  <a:lnTo>
                    <a:pt x="11" y="9"/>
                  </a:lnTo>
                  <a:lnTo>
                    <a:pt x="7" y="9"/>
                  </a:lnTo>
                  <a:lnTo>
                    <a:pt x="5" y="10"/>
                  </a:lnTo>
                  <a:lnTo>
                    <a:pt x="7" y="10"/>
                  </a:lnTo>
                  <a:lnTo>
                    <a:pt x="7" y="10"/>
                  </a:lnTo>
                  <a:lnTo>
                    <a:pt x="4" y="10"/>
                  </a:lnTo>
                  <a:lnTo>
                    <a:pt x="4" y="9"/>
                  </a:lnTo>
                  <a:lnTo>
                    <a:pt x="3" y="7"/>
                  </a:lnTo>
                  <a:lnTo>
                    <a:pt x="1" y="7"/>
                  </a:lnTo>
                  <a:lnTo>
                    <a:pt x="0" y="2"/>
                  </a:lnTo>
                  <a:lnTo>
                    <a:pt x="1" y="2"/>
                  </a:lnTo>
                  <a:lnTo>
                    <a:pt x="3" y="2"/>
                  </a:lnTo>
                  <a:lnTo>
                    <a:pt x="3" y="0"/>
                  </a:lnTo>
                  <a:lnTo>
                    <a:pt x="4"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1" name="Freeform 80"/>
            <p:cNvSpPr>
              <a:spLocks/>
            </p:cNvSpPr>
            <p:nvPr/>
          </p:nvSpPr>
          <p:spPr bwMode="auto">
            <a:xfrm>
              <a:off x="5194646" y="4215740"/>
              <a:ext cx="7022" cy="17240"/>
            </a:xfrm>
            <a:custGeom>
              <a:avLst/>
              <a:gdLst/>
              <a:ahLst/>
              <a:cxnLst>
                <a:cxn ang="0">
                  <a:pos x="4" y="0"/>
                </a:cxn>
                <a:cxn ang="0">
                  <a:pos x="5" y="1"/>
                </a:cxn>
                <a:cxn ang="0">
                  <a:pos x="7" y="13"/>
                </a:cxn>
                <a:cxn ang="0">
                  <a:pos x="5" y="12"/>
                </a:cxn>
                <a:cxn ang="0">
                  <a:pos x="4" y="10"/>
                </a:cxn>
                <a:cxn ang="0">
                  <a:pos x="2" y="10"/>
                </a:cxn>
                <a:cxn ang="0">
                  <a:pos x="2" y="12"/>
                </a:cxn>
                <a:cxn ang="0">
                  <a:pos x="4" y="14"/>
                </a:cxn>
                <a:cxn ang="0">
                  <a:pos x="4" y="16"/>
                </a:cxn>
                <a:cxn ang="0">
                  <a:pos x="7" y="16"/>
                </a:cxn>
                <a:cxn ang="0">
                  <a:pos x="7" y="17"/>
                </a:cxn>
                <a:cxn ang="0">
                  <a:pos x="5" y="17"/>
                </a:cxn>
                <a:cxn ang="0">
                  <a:pos x="4" y="16"/>
                </a:cxn>
                <a:cxn ang="0">
                  <a:pos x="0" y="12"/>
                </a:cxn>
                <a:cxn ang="0">
                  <a:pos x="0" y="7"/>
                </a:cxn>
                <a:cxn ang="0">
                  <a:pos x="1" y="7"/>
                </a:cxn>
                <a:cxn ang="0">
                  <a:pos x="2" y="7"/>
                </a:cxn>
                <a:cxn ang="0">
                  <a:pos x="2" y="7"/>
                </a:cxn>
                <a:cxn ang="0">
                  <a:pos x="2" y="4"/>
                </a:cxn>
                <a:cxn ang="0">
                  <a:pos x="2" y="4"/>
                </a:cxn>
                <a:cxn ang="0">
                  <a:pos x="4" y="0"/>
                </a:cxn>
              </a:cxnLst>
              <a:rect l="0" t="0" r="r" b="b"/>
              <a:pathLst>
                <a:path w="7" h="17">
                  <a:moveTo>
                    <a:pt x="4" y="0"/>
                  </a:moveTo>
                  <a:lnTo>
                    <a:pt x="5" y="1"/>
                  </a:lnTo>
                  <a:lnTo>
                    <a:pt x="7" y="13"/>
                  </a:lnTo>
                  <a:lnTo>
                    <a:pt x="5" y="12"/>
                  </a:lnTo>
                  <a:lnTo>
                    <a:pt x="4" y="10"/>
                  </a:lnTo>
                  <a:lnTo>
                    <a:pt x="2" y="10"/>
                  </a:lnTo>
                  <a:lnTo>
                    <a:pt x="2" y="12"/>
                  </a:lnTo>
                  <a:lnTo>
                    <a:pt x="4" y="14"/>
                  </a:lnTo>
                  <a:lnTo>
                    <a:pt x="4" y="16"/>
                  </a:lnTo>
                  <a:lnTo>
                    <a:pt x="7" y="16"/>
                  </a:lnTo>
                  <a:lnTo>
                    <a:pt x="7" y="17"/>
                  </a:lnTo>
                  <a:lnTo>
                    <a:pt x="5" y="17"/>
                  </a:lnTo>
                  <a:lnTo>
                    <a:pt x="4" y="16"/>
                  </a:lnTo>
                  <a:lnTo>
                    <a:pt x="0" y="12"/>
                  </a:lnTo>
                  <a:lnTo>
                    <a:pt x="0" y="7"/>
                  </a:lnTo>
                  <a:lnTo>
                    <a:pt x="1" y="7"/>
                  </a:lnTo>
                  <a:lnTo>
                    <a:pt x="2" y="7"/>
                  </a:lnTo>
                  <a:lnTo>
                    <a:pt x="2" y="7"/>
                  </a:lnTo>
                  <a:lnTo>
                    <a:pt x="2" y="4"/>
                  </a:lnTo>
                  <a:lnTo>
                    <a:pt x="2" y="4"/>
                  </a:lnTo>
                  <a:lnTo>
                    <a:pt x="4"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2" name="Freeform 81"/>
            <p:cNvSpPr>
              <a:spLocks/>
            </p:cNvSpPr>
            <p:nvPr/>
          </p:nvSpPr>
          <p:spPr bwMode="auto">
            <a:xfrm>
              <a:off x="5194646" y="4215740"/>
              <a:ext cx="7022" cy="17240"/>
            </a:xfrm>
            <a:custGeom>
              <a:avLst/>
              <a:gdLst/>
              <a:ahLst/>
              <a:cxnLst>
                <a:cxn ang="0">
                  <a:pos x="4" y="0"/>
                </a:cxn>
                <a:cxn ang="0">
                  <a:pos x="5" y="1"/>
                </a:cxn>
                <a:cxn ang="0">
                  <a:pos x="7" y="13"/>
                </a:cxn>
                <a:cxn ang="0">
                  <a:pos x="5" y="12"/>
                </a:cxn>
                <a:cxn ang="0">
                  <a:pos x="4" y="10"/>
                </a:cxn>
                <a:cxn ang="0">
                  <a:pos x="2" y="10"/>
                </a:cxn>
                <a:cxn ang="0">
                  <a:pos x="2" y="12"/>
                </a:cxn>
                <a:cxn ang="0">
                  <a:pos x="4" y="14"/>
                </a:cxn>
                <a:cxn ang="0">
                  <a:pos x="4" y="16"/>
                </a:cxn>
                <a:cxn ang="0">
                  <a:pos x="7" y="16"/>
                </a:cxn>
                <a:cxn ang="0">
                  <a:pos x="7" y="17"/>
                </a:cxn>
                <a:cxn ang="0">
                  <a:pos x="5" y="17"/>
                </a:cxn>
                <a:cxn ang="0">
                  <a:pos x="4" y="16"/>
                </a:cxn>
                <a:cxn ang="0">
                  <a:pos x="0" y="12"/>
                </a:cxn>
                <a:cxn ang="0">
                  <a:pos x="0" y="7"/>
                </a:cxn>
                <a:cxn ang="0">
                  <a:pos x="1" y="7"/>
                </a:cxn>
                <a:cxn ang="0">
                  <a:pos x="2" y="7"/>
                </a:cxn>
                <a:cxn ang="0">
                  <a:pos x="2" y="7"/>
                </a:cxn>
                <a:cxn ang="0">
                  <a:pos x="2" y="4"/>
                </a:cxn>
                <a:cxn ang="0">
                  <a:pos x="2" y="4"/>
                </a:cxn>
                <a:cxn ang="0">
                  <a:pos x="4" y="0"/>
                </a:cxn>
              </a:cxnLst>
              <a:rect l="0" t="0" r="r" b="b"/>
              <a:pathLst>
                <a:path w="7" h="17">
                  <a:moveTo>
                    <a:pt x="4" y="0"/>
                  </a:moveTo>
                  <a:lnTo>
                    <a:pt x="5" y="1"/>
                  </a:lnTo>
                  <a:lnTo>
                    <a:pt x="7" y="13"/>
                  </a:lnTo>
                  <a:lnTo>
                    <a:pt x="5" y="12"/>
                  </a:lnTo>
                  <a:lnTo>
                    <a:pt x="4" y="10"/>
                  </a:lnTo>
                  <a:lnTo>
                    <a:pt x="2" y="10"/>
                  </a:lnTo>
                  <a:lnTo>
                    <a:pt x="2" y="12"/>
                  </a:lnTo>
                  <a:lnTo>
                    <a:pt x="4" y="14"/>
                  </a:lnTo>
                  <a:lnTo>
                    <a:pt x="4" y="16"/>
                  </a:lnTo>
                  <a:lnTo>
                    <a:pt x="7" y="16"/>
                  </a:lnTo>
                  <a:lnTo>
                    <a:pt x="7" y="17"/>
                  </a:lnTo>
                  <a:lnTo>
                    <a:pt x="5" y="17"/>
                  </a:lnTo>
                  <a:lnTo>
                    <a:pt x="4" y="16"/>
                  </a:lnTo>
                  <a:lnTo>
                    <a:pt x="0" y="12"/>
                  </a:lnTo>
                  <a:lnTo>
                    <a:pt x="0" y="7"/>
                  </a:lnTo>
                  <a:lnTo>
                    <a:pt x="1" y="7"/>
                  </a:lnTo>
                  <a:lnTo>
                    <a:pt x="2" y="7"/>
                  </a:lnTo>
                  <a:lnTo>
                    <a:pt x="2" y="7"/>
                  </a:lnTo>
                  <a:lnTo>
                    <a:pt x="2" y="4"/>
                  </a:lnTo>
                  <a:lnTo>
                    <a:pt x="2" y="4"/>
                  </a:lnTo>
                  <a:lnTo>
                    <a:pt x="4"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3" name="Freeform 82"/>
            <p:cNvSpPr>
              <a:spLocks/>
            </p:cNvSpPr>
            <p:nvPr/>
          </p:nvSpPr>
          <p:spPr bwMode="auto">
            <a:xfrm>
              <a:off x="5192011" y="4252249"/>
              <a:ext cx="4389" cy="4057"/>
            </a:xfrm>
            <a:custGeom>
              <a:avLst/>
              <a:gdLst/>
              <a:ahLst/>
              <a:cxnLst>
                <a:cxn ang="0">
                  <a:pos x="0" y="3"/>
                </a:cxn>
                <a:cxn ang="0">
                  <a:pos x="0" y="1"/>
                </a:cxn>
                <a:cxn ang="0">
                  <a:pos x="1" y="0"/>
                </a:cxn>
                <a:cxn ang="0">
                  <a:pos x="1" y="0"/>
                </a:cxn>
                <a:cxn ang="0">
                  <a:pos x="3" y="0"/>
                </a:cxn>
                <a:cxn ang="0">
                  <a:pos x="4" y="1"/>
                </a:cxn>
                <a:cxn ang="0">
                  <a:pos x="4" y="3"/>
                </a:cxn>
                <a:cxn ang="0">
                  <a:pos x="4" y="4"/>
                </a:cxn>
                <a:cxn ang="0">
                  <a:pos x="3" y="4"/>
                </a:cxn>
                <a:cxn ang="0">
                  <a:pos x="0" y="3"/>
                </a:cxn>
              </a:cxnLst>
              <a:rect l="0" t="0" r="r" b="b"/>
              <a:pathLst>
                <a:path w="4" h="4">
                  <a:moveTo>
                    <a:pt x="0" y="3"/>
                  </a:moveTo>
                  <a:lnTo>
                    <a:pt x="0" y="1"/>
                  </a:lnTo>
                  <a:lnTo>
                    <a:pt x="1" y="0"/>
                  </a:lnTo>
                  <a:lnTo>
                    <a:pt x="1" y="0"/>
                  </a:lnTo>
                  <a:lnTo>
                    <a:pt x="3" y="0"/>
                  </a:lnTo>
                  <a:lnTo>
                    <a:pt x="4" y="1"/>
                  </a:lnTo>
                  <a:lnTo>
                    <a:pt x="4" y="3"/>
                  </a:lnTo>
                  <a:lnTo>
                    <a:pt x="4" y="4"/>
                  </a:lnTo>
                  <a:lnTo>
                    <a:pt x="3" y="4"/>
                  </a:lnTo>
                  <a:lnTo>
                    <a:pt x="0"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4" name="Freeform 83"/>
            <p:cNvSpPr>
              <a:spLocks/>
            </p:cNvSpPr>
            <p:nvPr/>
          </p:nvSpPr>
          <p:spPr bwMode="auto">
            <a:xfrm>
              <a:off x="5192011" y="4252249"/>
              <a:ext cx="4389" cy="4057"/>
            </a:xfrm>
            <a:custGeom>
              <a:avLst/>
              <a:gdLst/>
              <a:ahLst/>
              <a:cxnLst>
                <a:cxn ang="0">
                  <a:pos x="0" y="3"/>
                </a:cxn>
                <a:cxn ang="0">
                  <a:pos x="0" y="1"/>
                </a:cxn>
                <a:cxn ang="0">
                  <a:pos x="1" y="0"/>
                </a:cxn>
                <a:cxn ang="0">
                  <a:pos x="1" y="0"/>
                </a:cxn>
                <a:cxn ang="0">
                  <a:pos x="3" y="0"/>
                </a:cxn>
                <a:cxn ang="0">
                  <a:pos x="4" y="1"/>
                </a:cxn>
                <a:cxn ang="0">
                  <a:pos x="4" y="3"/>
                </a:cxn>
                <a:cxn ang="0">
                  <a:pos x="4" y="4"/>
                </a:cxn>
                <a:cxn ang="0">
                  <a:pos x="3" y="4"/>
                </a:cxn>
                <a:cxn ang="0">
                  <a:pos x="0" y="3"/>
                </a:cxn>
              </a:cxnLst>
              <a:rect l="0" t="0" r="r" b="b"/>
              <a:pathLst>
                <a:path w="4" h="4">
                  <a:moveTo>
                    <a:pt x="0" y="3"/>
                  </a:moveTo>
                  <a:lnTo>
                    <a:pt x="0" y="1"/>
                  </a:lnTo>
                  <a:lnTo>
                    <a:pt x="1" y="0"/>
                  </a:lnTo>
                  <a:lnTo>
                    <a:pt x="1" y="0"/>
                  </a:lnTo>
                  <a:lnTo>
                    <a:pt x="3" y="0"/>
                  </a:lnTo>
                  <a:lnTo>
                    <a:pt x="4" y="1"/>
                  </a:lnTo>
                  <a:lnTo>
                    <a:pt x="4" y="3"/>
                  </a:lnTo>
                  <a:lnTo>
                    <a:pt x="4" y="4"/>
                  </a:lnTo>
                  <a:lnTo>
                    <a:pt x="3" y="4"/>
                  </a:lnTo>
                  <a:lnTo>
                    <a:pt x="0"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5" name="Freeform 84"/>
            <p:cNvSpPr>
              <a:spLocks/>
            </p:cNvSpPr>
            <p:nvPr/>
          </p:nvSpPr>
          <p:spPr bwMode="auto">
            <a:xfrm>
              <a:off x="5197278" y="4255291"/>
              <a:ext cx="4389" cy="4057"/>
            </a:xfrm>
            <a:custGeom>
              <a:avLst/>
              <a:gdLst/>
              <a:ahLst/>
              <a:cxnLst>
                <a:cxn ang="0">
                  <a:pos x="5" y="4"/>
                </a:cxn>
                <a:cxn ang="0">
                  <a:pos x="3" y="3"/>
                </a:cxn>
                <a:cxn ang="0">
                  <a:pos x="2" y="3"/>
                </a:cxn>
                <a:cxn ang="0">
                  <a:pos x="0" y="1"/>
                </a:cxn>
                <a:cxn ang="0">
                  <a:pos x="0" y="0"/>
                </a:cxn>
                <a:cxn ang="0">
                  <a:pos x="2" y="0"/>
                </a:cxn>
                <a:cxn ang="0">
                  <a:pos x="3" y="0"/>
                </a:cxn>
                <a:cxn ang="0">
                  <a:pos x="5" y="0"/>
                </a:cxn>
                <a:cxn ang="0">
                  <a:pos x="5" y="1"/>
                </a:cxn>
                <a:cxn ang="0">
                  <a:pos x="5" y="4"/>
                </a:cxn>
              </a:cxnLst>
              <a:rect l="0" t="0" r="r" b="b"/>
              <a:pathLst>
                <a:path w="5" h="4">
                  <a:moveTo>
                    <a:pt x="5" y="4"/>
                  </a:moveTo>
                  <a:lnTo>
                    <a:pt x="3" y="3"/>
                  </a:lnTo>
                  <a:lnTo>
                    <a:pt x="2" y="3"/>
                  </a:lnTo>
                  <a:lnTo>
                    <a:pt x="0" y="1"/>
                  </a:lnTo>
                  <a:lnTo>
                    <a:pt x="0" y="0"/>
                  </a:lnTo>
                  <a:lnTo>
                    <a:pt x="2" y="0"/>
                  </a:lnTo>
                  <a:lnTo>
                    <a:pt x="3" y="0"/>
                  </a:lnTo>
                  <a:lnTo>
                    <a:pt x="5" y="0"/>
                  </a:lnTo>
                  <a:lnTo>
                    <a:pt x="5" y="1"/>
                  </a:lnTo>
                  <a:lnTo>
                    <a:pt x="5"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6" name="Freeform 85"/>
            <p:cNvSpPr>
              <a:spLocks/>
            </p:cNvSpPr>
            <p:nvPr/>
          </p:nvSpPr>
          <p:spPr bwMode="auto">
            <a:xfrm>
              <a:off x="5197278" y="4255291"/>
              <a:ext cx="4389" cy="4057"/>
            </a:xfrm>
            <a:custGeom>
              <a:avLst/>
              <a:gdLst/>
              <a:ahLst/>
              <a:cxnLst>
                <a:cxn ang="0">
                  <a:pos x="5" y="4"/>
                </a:cxn>
                <a:cxn ang="0">
                  <a:pos x="3" y="3"/>
                </a:cxn>
                <a:cxn ang="0">
                  <a:pos x="2" y="3"/>
                </a:cxn>
                <a:cxn ang="0">
                  <a:pos x="0" y="1"/>
                </a:cxn>
                <a:cxn ang="0">
                  <a:pos x="0" y="0"/>
                </a:cxn>
                <a:cxn ang="0">
                  <a:pos x="2" y="0"/>
                </a:cxn>
                <a:cxn ang="0">
                  <a:pos x="3" y="0"/>
                </a:cxn>
                <a:cxn ang="0">
                  <a:pos x="5" y="0"/>
                </a:cxn>
                <a:cxn ang="0">
                  <a:pos x="5" y="1"/>
                </a:cxn>
                <a:cxn ang="0">
                  <a:pos x="5" y="4"/>
                </a:cxn>
              </a:cxnLst>
              <a:rect l="0" t="0" r="r" b="b"/>
              <a:pathLst>
                <a:path w="5" h="4">
                  <a:moveTo>
                    <a:pt x="5" y="4"/>
                  </a:moveTo>
                  <a:lnTo>
                    <a:pt x="3" y="3"/>
                  </a:lnTo>
                  <a:lnTo>
                    <a:pt x="2" y="3"/>
                  </a:lnTo>
                  <a:lnTo>
                    <a:pt x="0" y="1"/>
                  </a:lnTo>
                  <a:lnTo>
                    <a:pt x="0" y="0"/>
                  </a:lnTo>
                  <a:lnTo>
                    <a:pt x="2" y="0"/>
                  </a:lnTo>
                  <a:lnTo>
                    <a:pt x="3" y="0"/>
                  </a:lnTo>
                  <a:lnTo>
                    <a:pt x="5" y="0"/>
                  </a:lnTo>
                  <a:lnTo>
                    <a:pt x="5" y="1"/>
                  </a:lnTo>
                  <a:lnTo>
                    <a:pt x="5"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7" name="Freeform 86"/>
            <p:cNvSpPr>
              <a:spLocks/>
            </p:cNvSpPr>
            <p:nvPr/>
          </p:nvSpPr>
          <p:spPr bwMode="auto">
            <a:xfrm>
              <a:off x="5207812" y="4248193"/>
              <a:ext cx="9656" cy="5071"/>
            </a:xfrm>
            <a:custGeom>
              <a:avLst/>
              <a:gdLst/>
              <a:ahLst/>
              <a:cxnLst>
                <a:cxn ang="0">
                  <a:pos x="10" y="3"/>
                </a:cxn>
                <a:cxn ang="0">
                  <a:pos x="10" y="3"/>
                </a:cxn>
                <a:cxn ang="0">
                  <a:pos x="0" y="4"/>
                </a:cxn>
                <a:cxn ang="0">
                  <a:pos x="0" y="4"/>
                </a:cxn>
                <a:cxn ang="0">
                  <a:pos x="0" y="3"/>
                </a:cxn>
                <a:cxn ang="0">
                  <a:pos x="0" y="1"/>
                </a:cxn>
                <a:cxn ang="0">
                  <a:pos x="2" y="0"/>
                </a:cxn>
                <a:cxn ang="0">
                  <a:pos x="2" y="1"/>
                </a:cxn>
                <a:cxn ang="0">
                  <a:pos x="4" y="0"/>
                </a:cxn>
                <a:cxn ang="0">
                  <a:pos x="9" y="1"/>
                </a:cxn>
                <a:cxn ang="0">
                  <a:pos x="10" y="3"/>
                </a:cxn>
              </a:cxnLst>
              <a:rect l="0" t="0" r="r" b="b"/>
              <a:pathLst>
                <a:path w="10" h="4">
                  <a:moveTo>
                    <a:pt x="10" y="3"/>
                  </a:moveTo>
                  <a:lnTo>
                    <a:pt x="10" y="3"/>
                  </a:lnTo>
                  <a:lnTo>
                    <a:pt x="0" y="4"/>
                  </a:lnTo>
                  <a:lnTo>
                    <a:pt x="0" y="4"/>
                  </a:lnTo>
                  <a:lnTo>
                    <a:pt x="0" y="3"/>
                  </a:lnTo>
                  <a:lnTo>
                    <a:pt x="0" y="1"/>
                  </a:lnTo>
                  <a:lnTo>
                    <a:pt x="2" y="0"/>
                  </a:lnTo>
                  <a:lnTo>
                    <a:pt x="2" y="1"/>
                  </a:lnTo>
                  <a:lnTo>
                    <a:pt x="4" y="0"/>
                  </a:lnTo>
                  <a:lnTo>
                    <a:pt x="9" y="1"/>
                  </a:lnTo>
                  <a:lnTo>
                    <a:pt x="10"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8" name="Freeform 87"/>
            <p:cNvSpPr>
              <a:spLocks/>
            </p:cNvSpPr>
            <p:nvPr/>
          </p:nvSpPr>
          <p:spPr bwMode="auto">
            <a:xfrm>
              <a:off x="5207812" y="4248193"/>
              <a:ext cx="9656" cy="5071"/>
            </a:xfrm>
            <a:custGeom>
              <a:avLst/>
              <a:gdLst/>
              <a:ahLst/>
              <a:cxnLst>
                <a:cxn ang="0">
                  <a:pos x="10" y="3"/>
                </a:cxn>
                <a:cxn ang="0">
                  <a:pos x="10" y="3"/>
                </a:cxn>
                <a:cxn ang="0">
                  <a:pos x="0" y="4"/>
                </a:cxn>
                <a:cxn ang="0">
                  <a:pos x="0" y="4"/>
                </a:cxn>
                <a:cxn ang="0">
                  <a:pos x="0" y="3"/>
                </a:cxn>
                <a:cxn ang="0">
                  <a:pos x="0" y="1"/>
                </a:cxn>
                <a:cxn ang="0">
                  <a:pos x="2" y="0"/>
                </a:cxn>
                <a:cxn ang="0">
                  <a:pos x="2" y="1"/>
                </a:cxn>
                <a:cxn ang="0">
                  <a:pos x="4" y="0"/>
                </a:cxn>
                <a:cxn ang="0">
                  <a:pos x="9" y="1"/>
                </a:cxn>
                <a:cxn ang="0">
                  <a:pos x="10" y="3"/>
                </a:cxn>
              </a:cxnLst>
              <a:rect l="0" t="0" r="r" b="b"/>
              <a:pathLst>
                <a:path w="10" h="4">
                  <a:moveTo>
                    <a:pt x="10" y="3"/>
                  </a:moveTo>
                  <a:lnTo>
                    <a:pt x="10" y="3"/>
                  </a:lnTo>
                  <a:lnTo>
                    <a:pt x="0" y="4"/>
                  </a:lnTo>
                  <a:lnTo>
                    <a:pt x="0" y="4"/>
                  </a:lnTo>
                  <a:lnTo>
                    <a:pt x="0" y="3"/>
                  </a:lnTo>
                  <a:lnTo>
                    <a:pt x="0" y="1"/>
                  </a:lnTo>
                  <a:lnTo>
                    <a:pt x="2" y="0"/>
                  </a:lnTo>
                  <a:lnTo>
                    <a:pt x="2" y="1"/>
                  </a:lnTo>
                  <a:lnTo>
                    <a:pt x="4" y="0"/>
                  </a:lnTo>
                  <a:lnTo>
                    <a:pt x="9" y="1"/>
                  </a:lnTo>
                  <a:lnTo>
                    <a:pt x="10"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9" name="Freeform 88"/>
            <p:cNvSpPr>
              <a:spLocks/>
            </p:cNvSpPr>
            <p:nvPr/>
          </p:nvSpPr>
          <p:spPr bwMode="auto">
            <a:xfrm>
              <a:off x="5206934" y="4249206"/>
              <a:ext cx="26334" cy="20283"/>
            </a:xfrm>
            <a:custGeom>
              <a:avLst/>
              <a:gdLst/>
              <a:ahLst/>
              <a:cxnLst>
                <a:cxn ang="0">
                  <a:pos x="0" y="6"/>
                </a:cxn>
                <a:cxn ang="0">
                  <a:pos x="0" y="6"/>
                </a:cxn>
                <a:cxn ang="0">
                  <a:pos x="20" y="0"/>
                </a:cxn>
                <a:cxn ang="0">
                  <a:pos x="21" y="0"/>
                </a:cxn>
                <a:cxn ang="0">
                  <a:pos x="23" y="3"/>
                </a:cxn>
                <a:cxn ang="0">
                  <a:pos x="23" y="5"/>
                </a:cxn>
                <a:cxn ang="0">
                  <a:pos x="20" y="6"/>
                </a:cxn>
                <a:cxn ang="0">
                  <a:pos x="18" y="5"/>
                </a:cxn>
                <a:cxn ang="0">
                  <a:pos x="16" y="3"/>
                </a:cxn>
                <a:cxn ang="0">
                  <a:pos x="14" y="5"/>
                </a:cxn>
                <a:cxn ang="0">
                  <a:pos x="17" y="6"/>
                </a:cxn>
                <a:cxn ang="0">
                  <a:pos x="23" y="8"/>
                </a:cxn>
                <a:cxn ang="0">
                  <a:pos x="24" y="8"/>
                </a:cxn>
                <a:cxn ang="0">
                  <a:pos x="24" y="9"/>
                </a:cxn>
                <a:cxn ang="0">
                  <a:pos x="24" y="9"/>
                </a:cxn>
                <a:cxn ang="0">
                  <a:pos x="21" y="9"/>
                </a:cxn>
                <a:cxn ang="0">
                  <a:pos x="20" y="9"/>
                </a:cxn>
                <a:cxn ang="0">
                  <a:pos x="20" y="11"/>
                </a:cxn>
                <a:cxn ang="0">
                  <a:pos x="24" y="12"/>
                </a:cxn>
                <a:cxn ang="0">
                  <a:pos x="26" y="12"/>
                </a:cxn>
                <a:cxn ang="0">
                  <a:pos x="26" y="13"/>
                </a:cxn>
                <a:cxn ang="0">
                  <a:pos x="27" y="15"/>
                </a:cxn>
                <a:cxn ang="0">
                  <a:pos x="27" y="16"/>
                </a:cxn>
                <a:cxn ang="0">
                  <a:pos x="29" y="19"/>
                </a:cxn>
                <a:cxn ang="0">
                  <a:pos x="29" y="19"/>
                </a:cxn>
                <a:cxn ang="0">
                  <a:pos x="27" y="19"/>
                </a:cxn>
                <a:cxn ang="0">
                  <a:pos x="26" y="18"/>
                </a:cxn>
                <a:cxn ang="0">
                  <a:pos x="26" y="16"/>
                </a:cxn>
                <a:cxn ang="0">
                  <a:pos x="24" y="15"/>
                </a:cxn>
                <a:cxn ang="0">
                  <a:pos x="24" y="15"/>
                </a:cxn>
                <a:cxn ang="0">
                  <a:pos x="21" y="13"/>
                </a:cxn>
                <a:cxn ang="0">
                  <a:pos x="18" y="15"/>
                </a:cxn>
                <a:cxn ang="0">
                  <a:pos x="16" y="13"/>
                </a:cxn>
                <a:cxn ang="0">
                  <a:pos x="16" y="11"/>
                </a:cxn>
                <a:cxn ang="0">
                  <a:pos x="14" y="11"/>
                </a:cxn>
                <a:cxn ang="0">
                  <a:pos x="14" y="9"/>
                </a:cxn>
                <a:cxn ang="0">
                  <a:pos x="13" y="9"/>
                </a:cxn>
                <a:cxn ang="0">
                  <a:pos x="10" y="8"/>
                </a:cxn>
                <a:cxn ang="0">
                  <a:pos x="8" y="9"/>
                </a:cxn>
                <a:cxn ang="0">
                  <a:pos x="10" y="12"/>
                </a:cxn>
                <a:cxn ang="0">
                  <a:pos x="13" y="15"/>
                </a:cxn>
                <a:cxn ang="0">
                  <a:pos x="8" y="15"/>
                </a:cxn>
                <a:cxn ang="0">
                  <a:pos x="7" y="13"/>
                </a:cxn>
                <a:cxn ang="0">
                  <a:pos x="7" y="12"/>
                </a:cxn>
                <a:cxn ang="0">
                  <a:pos x="4" y="11"/>
                </a:cxn>
                <a:cxn ang="0">
                  <a:pos x="4" y="11"/>
                </a:cxn>
                <a:cxn ang="0">
                  <a:pos x="8" y="8"/>
                </a:cxn>
                <a:cxn ang="0">
                  <a:pos x="8" y="8"/>
                </a:cxn>
                <a:cxn ang="0">
                  <a:pos x="8" y="8"/>
                </a:cxn>
                <a:cxn ang="0">
                  <a:pos x="7" y="8"/>
                </a:cxn>
                <a:cxn ang="0">
                  <a:pos x="4" y="9"/>
                </a:cxn>
                <a:cxn ang="0">
                  <a:pos x="1" y="9"/>
                </a:cxn>
                <a:cxn ang="0">
                  <a:pos x="0" y="9"/>
                </a:cxn>
                <a:cxn ang="0">
                  <a:pos x="0" y="8"/>
                </a:cxn>
                <a:cxn ang="0">
                  <a:pos x="0" y="6"/>
                </a:cxn>
              </a:cxnLst>
              <a:rect l="0" t="0" r="r" b="b"/>
              <a:pathLst>
                <a:path w="29" h="19">
                  <a:moveTo>
                    <a:pt x="0" y="6"/>
                  </a:moveTo>
                  <a:lnTo>
                    <a:pt x="0" y="6"/>
                  </a:lnTo>
                  <a:lnTo>
                    <a:pt x="20" y="0"/>
                  </a:lnTo>
                  <a:lnTo>
                    <a:pt x="21" y="0"/>
                  </a:lnTo>
                  <a:lnTo>
                    <a:pt x="23" y="3"/>
                  </a:lnTo>
                  <a:lnTo>
                    <a:pt x="23" y="5"/>
                  </a:lnTo>
                  <a:lnTo>
                    <a:pt x="20" y="6"/>
                  </a:lnTo>
                  <a:lnTo>
                    <a:pt x="18" y="5"/>
                  </a:lnTo>
                  <a:lnTo>
                    <a:pt x="16" y="3"/>
                  </a:lnTo>
                  <a:lnTo>
                    <a:pt x="14" y="5"/>
                  </a:lnTo>
                  <a:lnTo>
                    <a:pt x="17" y="6"/>
                  </a:lnTo>
                  <a:lnTo>
                    <a:pt x="23" y="8"/>
                  </a:lnTo>
                  <a:lnTo>
                    <a:pt x="24" y="8"/>
                  </a:lnTo>
                  <a:lnTo>
                    <a:pt x="24" y="9"/>
                  </a:lnTo>
                  <a:lnTo>
                    <a:pt x="24" y="9"/>
                  </a:lnTo>
                  <a:lnTo>
                    <a:pt x="21" y="9"/>
                  </a:lnTo>
                  <a:lnTo>
                    <a:pt x="20" y="9"/>
                  </a:lnTo>
                  <a:lnTo>
                    <a:pt x="20" y="11"/>
                  </a:lnTo>
                  <a:lnTo>
                    <a:pt x="24" y="12"/>
                  </a:lnTo>
                  <a:lnTo>
                    <a:pt x="26" y="12"/>
                  </a:lnTo>
                  <a:lnTo>
                    <a:pt x="26" y="13"/>
                  </a:lnTo>
                  <a:lnTo>
                    <a:pt x="27" y="15"/>
                  </a:lnTo>
                  <a:lnTo>
                    <a:pt x="27" y="16"/>
                  </a:lnTo>
                  <a:lnTo>
                    <a:pt x="29" y="19"/>
                  </a:lnTo>
                  <a:lnTo>
                    <a:pt x="29" y="19"/>
                  </a:lnTo>
                  <a:lnTo>
                    <a:pt x="27" y="19"/>
                  </a:lnTo>
                  <a:lnTo>
                    <a:pt x="26" y="18"/>
                  </a:lnTo>
                  <a:lnTo>
                    <a:pt x="26" y="16"/>
                  </a:lnTo>
                  <a:lnTo>
                    <a:pt x="24" y="15"/>
                  </a:lnTo>
                  <a:lnTo>
                    <a:pt x="24" y="15"/>
                  </a:lnTo>
                  <a:lnTo>
                    <a:pt x="21" y="13"/>
                  </a:lnTo>
                  <a:lnTo>
                    <a:pt x="18" y="15"/>
                  </a:lnTo>
                  <a:lnTo>
                    <a:pt x="16" y="13"/>
                  </a:lnTo>
                  <a:lnTo>
                    <a:pt x="16" y="11"/>
                  </a:lnTo>
                  <a:lnTo>
                    <a:pt x="14" y="11"/>
                  </a:lnTo>
                  <a:lnTo>
                    <a:pt x="14" y="9"/>
                  </a:lnTo>
                  <a:lnTo>
                    <a:pt x="13" y="9"/>
                  </a:lnTo>
                  <a:lnTo>
                    <a:pt x="10" y="8"/>
                  </a:lnTo>
                  <a:lnTo>
                    <a:pt x="8" y="9"/>
                  </a:lnTo>
                  <a:lnTo>
                    <a:pt x="10" y="12"/>
                  </a:lnTo>
                  <a:lnTo>
                    <a:pt x="13" y="15"/>
                  </a:lnTo>
                  <a:lnTo>
                    <a:pt x="8" y="15"/>
                  </a:lnTo>
                  <a:lnTo>
                    <a:pt x="7" y="13"/>
                  </a:lnTo>
                  <a:lnTo>
                    <a:pt x="7" y="12"/>
                  </a:lnTo>
                  <a:lnTo>
                    <a:pt x="4" y="11"/>
                  </a:lnTo>
                  <a:lnTo>
                    <a:pt x="4" y="11"/>
                  </a:lnTo>
                  <a:lnTo>
                    <a:pt x="8" y="8"/>
                  </a:lnTo>
                  <a:lnTo>
                    <a:pt x="8" y="8"/>
                  </a:lnTo>
                  <a:lnTo>
                    <a:pt x="8" y="8"/>
                  </a:lnTo>
                  <a:lnTo>
                    <a:pt x="7" y="8"/>
                  </a:lnTo>
                  <a:lnTo>
                    <a:pt x="4" y="9"/>
                  </a:lnTo>
                  <a:lnTo>
                    <a:pt x="1" y="9"/>
                  </a:lnTo>
                  <a:lnTo>
                    <a:pt x="0" y="9"/>
                  </a:lnTo>
                  <a:lnTo>
                    <a:pt x="0" y="8"/>
                  </a:lnTo>
                  <a:lnTo>
                    <a:pt x="0"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0" name="Freeform 89"/>
            <p:cNvSpPr>
              <a:spLocks/>
            </p:cNvSpPr>
            <p:nvPr/>
          </p:nvSpPr>
          <p:spPr bwMode="auto">
            <a:xfrm>
              <a:off x="5206934" y="4249206"/>
              <a:ext cx="26334" cy="20283"/>
            </a:xfrm>
            <a:custGeom>
              <a:avLst/>
              <a:gdLst/>
              <a:ahLst/>
              <a:cxnLst>
                <a:cxn ang="0">
                  <a:pos x="0" y="6"/>
                </a:cxn>
                <a:cxn ang="0">
                  <a:pos x="0" y="6"/>
                </a:cxn>
                <a:cxn ang="0">
                  <a:pos x="20" y="0"/>
                </a:cxn>
                <a:cxn ang="0">
                  <a:pos x="21" y="0"/>
                </a:cxn>
                <a:cxn ang="0">
                  <a:pos x="23" y="3"/>
                </a:cxn>
                <a:cxn ang="0">
                  <a:pos x="23" y="5"/>
                </a:cxn>
                <a:cxn ang="0">
                  <a:pos x="20" y="6"/>
                </a:cxn>
                <a:cxn ang="0">
                  <a:pos x="18" y="5"/>
                </a:cxn>
                <a:cxn ang="0">
                  <a:pos x="16" y="3"/>
                </a:cxn>
                <a:cxn ang="0">
                  <a:pos x="14" y="5"/>
                </a:cxn>
                <a:cxn ang="0">
                  <a:pos x="17" y="6"/>
                </a:cxn>
                <a:cxn ang="0">
                  <a:pos x="23" y="8"/>
                </a:cxn>
                <a:cxn ang="0">
                  <a:pos x="24" y="8"/>
                </a:cxn>
                <a:cxn ang="0">
                  <a:pos x="24" y="9"/>
                </a:cxn>
                <a:cxn ang="0">
                  <a:pos x="24" y="9"/>
                </a:cxn>
                <a:cxn ang="0">
                  <a:pos x="21" y="9"/>
                </a:cxn>
                <a:cxn ang="0">
                  <a:pos x="20" y="9"/>
                </a:cxn>
                <a:cxn ang="0">
                  <a:pos x="20" y="11"/>
                </a:cxn>
                <a:cxn ang="0">
                  <a:pos x="24" y="12"/>
                </a:cxn>
                <a:cxn ang="0">
                  <a:pos x="26" y="12"/>
                </a:cxn>
                <a:cxn ang="0">
                  <a:pos x="26" y="13"/>
                </a:cxn>
                <a:cxn ang="0">
                  <a:pos x="27" y="15"/>
                </a:cxn>
                <a:cxn ang="0">
                  <a:pos x="27" y="16"/>
                </a:cxn>
                <a:cxn ang="0">
                  <a:pos x="29" y="19"/>
                </a:cxn>
                <a:cxn ang="0">
                  <a:pos x="29" y="19"/>
                </a:cxn>
                <a:cxn ang="0">
                  <a:pos x="27" y="19"/>
                </a:cxn>
                <a:cxn ang="0">
                  <a:pos x="26" y="18"/>
                </a:cxn>
                <a:cxn ang="0">
                  <a:pos x="26" y="16"/>
                </a:cxn>
                <a:cxn ang="0">
                  <a:pos x="24" y="15"/>
                </a:cxn>
                <a:cxn ang="0">
                  <a:pos x="24" y="15"/>
                </a:cxn>
                <a:cxn ang="0">
                  <a:pos x="21" y="13"/>
                </a:cxn>
                <a:cxn ang="0">
                  <a:pos x="18" y="15"/>
                </a:cxn>
                <a:cxn ang="0">
                  <a:pos x="16" y="13"/>
                </a:cxn>
                <a:cxn ang="0">
                  <a:pos x="16" y="11"/>
                </a:cxn>
                <a:cxn ang="0">
                  <a:pos x="14" y="11"/>
                </a:cxn>
                <a:cxn ang="0">
                  <a:pos x="14" y="9"/>
                </a:cxn>
                <a:cxn ang="0">
                  <a:pos x="13" y="9"/>
                </a:cxn>
                <a:cxn ang="0">
                  <a:pos x="10" y="8"/>
                </a:cxn>
                <a:cxn ang="0">
                  <a:pos x="8" y="9"/>
                </a:cxn>
                <a:cxn ang="0">
                  <a:pos x="10" y="12"/>
                </a:cxn>
                <a:cxn ang="0">
                  <a:pos x="13" y="15"/>
                </a:cxn>
                <a:cxn ang="0">
                  <a:pos x="8" y="15"/>
                </a:cxn>
                <a:cxn ang="0">
                  <a:pos x="7" y="13"/>
                </a:cxn>
                <a:cxn ang="0">
                  <a:pos x="7" y="12"/>
                </a:cxn>
                <a:cxn ang="0">
                  <a:pos x="4" y="11"/>
                </a:cxn>
                <a:cxn ang="0">
                  <a:pos x="4" y="11"/>
                </a:cxn>
                <a:cxn ang="0">
                  <a:pos x="8" y="8"/>
                </a:cxn>
                <a:cxn ang="0">
                  <a:pos x="8" y="8"/>
                </a:cxn>
                <a:cxn ang="0">
                  <a:pos x="8" y="8"/>
                </a:cxn>
                <a:cxn ang="0">
                  <a:pos x="7" y="8"/>
                </a:cxn>
                <a:cxn ang="0">
                  <a:pos x="4" y="9"/>
                </a:cxn>
                <a:cxn ang="0">
                  <a:pos x="1" y="9"/>
                </a:cxn>
                <a:cxn ang="0">
                  <a:pos x="0" y="9"/>
                </a:cxn>
                <a:cxn ang="0">
                  <a:pos x="0" y="8"/>
                </a:cxn>
                <a:cxn ang="0">
                  <a:pos x="0" y="6"/>
                </a:cxn>
              </a:cxnLst>
              <a:rect l="0" t="0" r="r" b="b"/>
              <a:pathLst>
                <a:path w="29" h="19">
                  <a:moveTo>
                    <a:pt x="0" y="6"/>
                  </a:moveTo>
                  <a:lnTo>
                    <a:pt x="0" y="6"/>
                  </a:lnTo>
                  <a:lnTo>
                    <a:pt x="20" y="0"/>
                  </a:lnTo>
                  <a:lnTo>
                    <a:pt x="21" y="0"/>
                  </a:lnTo>
                  <a:lnTo>
                    <a:pt x="23" y="3"/>
                  </a:lnTo>
                  <a:lnTo>
                    <a:pt x="23" y="5"/>
                  </a:lnTo>
                  <a:lnTo>
                    <a:pt x="20" y="6"/>
                  </a:lnTo>
                  <a:lnTo>
                    <a:pt x="18" y="5"/>
                  </a:lnTo>
                  <a:lnTo>
                    <a:pt x="16" y="3"/>
                  </a:lnTo>
                  <a:lnTo>
                    <a:pt x="14" y="5"/>
                  </a:lnTo>
                  <a:lnTo>
                    <a:pt x="17" y="6"/>
                  </a:lnTo>
                  <a:lnTo>
                    <a:pt x="23" y="8"/>
                  </a:lnTo>
                  <a:lnTo>
                    <a:pt x="24" y="8"/>
                  </a:lnTo>
                  <a:lnTo>
                    <a:pt x="24" y="9"/>
                  </a:lnTo>
                  <a:lnTo>
                    <a:pt x="24" y="9"/>
                  </a:lnTo>
                  <a:lnTo>
                    <a:pt x="21" y="9"/>
                  </a:lnTo>
                  <a:lnTo>
                    <a:pt x="20" y="9"/>
                  </a:lnTo>
                  <a:lnTo>
                    <a:pt x="20" y="11"/>
                  </a:lnTo>
                  <a:lnTo>
                    <a:pt x="24" y="12"/>
                  </a:lnTo>
                  <a:lnTo>
                    <a:pt x="26" y="12"/>
                  </a:lnTo>
                  <a:lnTo>
                    <a:pt x="26" y="13"/>
                  </a:lnTo>
                  <a:lnTo>
                    <a:pt x="27" y="15"/>
                  </a:lnTo>
                  <a:lnTo>
                    <a:pt x="27" y="16"/>
                  </a:lnTo>
                  <a:lnTo>
                    <a:pt x="29" y="19"/>
                  </a:lnTo>
                  <a:lnTo>
                    <a:pt x="29" y="19"/>
                  </a:lnTo>
                  <a:lnTo>
                    <a:pt x="27" y="19"/>
                  </a:lnTo>
                  <a:lnTo>
                    <a:pt x="26" y="18"/>
                  </a:lnTo>
                  <a:lnTo>
                    <a:pt x="26" y="16"/>
                  </a:lnTo>
                  <a:lnTo>
                    <a:pt x="24" y="15"/>
                  </a:lnTo>
                  <a:lnTo>
                    <a:pt x="24" y="15"/>
                  </a:lnTo>
                  <a:lnTo>
                    <a:pt x="21" y="13"/>
                  </a:lnTo>
                  <a:lnTo>
                    <a:pt x="18" y="15"/>
                  </a:lnTo>
                  <a:lnTo>
                    <a:pt x="16" y="13"/>
                  </a:lnTo>
                  <a:lnTo>
                    <a:pt x="16" y="11"/>
                  </a:lnTo>
                  <a:lnTo>
                    <a:pt x="14" y="11"/>
                  </a:lnTo>
                  <a:lnTo>
                    <a:pt x="14" y="9"/>
                  </a:lnTo>
                  <a:lnTo>
                    <a:pt x="13" y="9"/>
                  </a:lnTo>
                  <a:lnTo>
                    <a:pt x="10" y="8"/>
                  </a:lnTo>
                  <a:lnTo>
                    <a:pt x="8" y="9"/>
                  </a:lnTo>
                  <a:lnTo>
                    <a:pt x="10" y="12"/>
                  </a:lnTo>
                  <a:lnTo>
                    <a:pt x="13" y="15"/>
                  </a:lnTo>
                  <a:lnTo>
                    <a:pt x="8" y="15"/>
                  </a:lnTo>
                  <a:lnTo>
                    <a:pt x="7" y="13"/>
                  </a:lnTo>
                  <a:lnTo>
                    <a:pt x="7" y="12"/>
                  </a:lnTo>
                  <a:lnTo>
                    <a:pt x="4" y="11"/>
                  </a:lnTo>
                  <a:lnTo>
                    <a:pt x="4" y="11"/>
                  </a:lnTo>
                  <a:lnTo>
                    <a:pt x="8" y="8"/>
                  </a:lnTo>
                  <a:lnTo>
                    <a:pt x="8" y="8"/>
                  </a:lnTo>
                  <a:lnTo>
                    <a:pt x="8" y="8"/>
                  </a:lnTo>
                  <a:lnTo>
                    <a:pt x="7" y="8"/>
                  </a:lnTo>
                  <a:lnTo>
                    <a:pt x="4" y="9"/>
                  </a:lnTo>
                  <a:lnTo>
                    <a:pt x="1" y="9"/>
                  </a:lnTo>
                  <a:lnTo>
                    <a:pt x="0" y="9"/>
                  </a:lnTo>
                  <a:lnTo>
                    <a:pt x="0" y="8"/>
                  </a:lnTo>
                  <a:lnTo>
                    <a:pt x="0"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1" name="Freeform 90"/>
            <p:cNvSpPr>
              <a:spLocks/>
            </p:cNvSpPr>
            <p:nvPr/>
          </p:nvSpPr>
          <p:spPr bwMode="auto">
            <a:xfrm>
              <a:off x="5228001" y="4249206"/>
              <a:ext cx="15800" cy="12170"/>
            </a:xfrm>
            <a:custGeom>
              <a:avLst/>
              <a:gdLst/>
              <a:ahLst/>
              <a:cxnLst>
                <a:cxn ang="0">
                  <a:pos x="3" y="2"/>
                </a:cxn>
                <a:cxn ang="0">
                  <a:pos x="3" y="2"/>
                </a:cxn>
                <a:cxn ang="0">
                  <a:pos x="0" y="2"/>
                </a:cxn>
                <a:cxn ang="0">
                  <a:pos x="0" y="0"/>
                </a:cxn>
                <a:cxn ang="0">
                  <a:pos x="7" y="0"/>
                </a:cxn>
                <a:cxn ang="0">
                  <a:pos x="16" y="0"/>
                </a:cxn>
                <a:cxn ang="0">
                  <a:pos x="17" y="2"/>
                </a:cxn>
                <a:cxn ang="0">
                  <a:pos x="17" y="8"/>
                </a:cxn>
                <a:cxn ang="0">
                  <a:pos x="17" y="8"/>
                </a:cxn>
                <a:cxn ang="0">
                  <a:pos x="16" y="9"/>
                </a:cxn>
                <a:cxn ang="0">
                  <a:pos x="14" y="9"/>
                </a:cxn>
                <a:cxn ang="0">
                  <a:pos x="13" y="11"/>
                </a:cxn>
                <a:cxn ang="0">
                  <a:pos x="13" y="9"/>
                </a:cxn>
                <a:cxn ang="0">
                  <a:pos x="13" y="8"/>
                </a:cxn>
                <a:cxn ang="0">
                  <a:pos x="11" y="8"/>
                </a:cxn>
                <a:cxn ang="0">
                  <a:pos x="10" y="8"/>
                </a:cxn>
                <a:cxn ang="0">
                  <a:pos x="10" y="8"/>
                </a:cxn>
                <a:cxn ang="0">
                  <a:pos x="9" y="9"/>
                </a:cxn>
                <a:cxn ang="0">
                  <a:pos x="9" y="8"/>
                </a:cxn>
                <a:cxn ang="0">
                  <a:pos x="9" y="8"/>
                </a:cxn>
                <a:cxn ang="0">
                  <a:pos x="4" y="6"/>
                </a:cxn>
                <a:cxn ang="0">
                  <a:pos x="3" y="2"/>
                </a:cxn>
              </a:cxnLst>
              <a:rect l="0" t="0" r="r" b="b"/>
              <a:pathLst>
                <a:path w="17" h="11">
                  <a:moveTo>
                    <a:pt x="3" y="2"/>
                  </a:moveTo>
                  <a:lnTo>
                    <a:pt x="3" y="2"/>
                  </a:lnTo>
                  <a:lnTo>
                    <a:pt x="0" y="2"/>
                  </a:lnTo>
                  <a:lnTo>
                    <a:pt x="0" y="0"/>
                  </a:lnTo>
                  <a:lnTo>
                    <a:pt x="7" y="0"/>
                  </a:lnTo>
                  <a:lnTo>
                    <a:pt x="16" y="0"/>
                  </a:lnTo>
                  <a:lnTo>
                    <a:pt x="17" y="2"/>
                  </a:lnTo>
                  <a:lnTo>
                    <a:pt x="17" y="8"/>
                  </a:lnTo>
                  <a:lnTo>
                    <a:pt x="17" y="8"/>
                  </a:lnTo>
                  <a:lnTo>
                    <a:pt x="16" y="9"/>
                  </a:lnTo>
                  <a:lnTo>
                    <a:pt x="14" y="9"/>
                  </a:lnTo>
                  <a:lnTo>
                    <a:pt x="13" y="11"/>
                  </a:lnTo>
                  <a:lnTo>
                    <a:pt x="13" y="9"/>
                  </a:lnTo>
                  <a:lnTo>
                    <a:pt x="13" y="8"/>
                  </a:lnTo>
                  <a:lnTo>
                    <a:pt x="11" y="8"/>
                  </a:lnTo>
                  <a:lnTo>
                    <a:pt x="10" y="8"/>
                  </a:lnTo>
                  <a:lnTo>
                    <a:pt x="10" y="8"/>
                  </a:lnTo>
                  <a:lnTo>
                    <a:pt x="9" y="9"/>
                  </a:lnTo>
                  <a:lnTo>
                    <a:pt x="9" y="8"/>
                  </a:lnTo>
                  <a:lnTo>
                    <a:pt x="9" y="8"/>
                  </a:lnTo>
                  <a:lnTo>
                    <a:pt x="4" y="6"/>
                  </a:lnTo>
                  <a:lnTo>
                    <a:pt x="3"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2" name="Freeform 91"/>
            <p:cNvSpPr>
              <a:spLocks/>
            </p:cNvSpPr>
            <p:nvPr/>
          </p:nvSpPr>
          <p:spPr bwMode="auto">
            <a:xfrm>
              <a:off x="5228001" y="4249206"/>
              <a:ext cx="15800" cy="12170"/>
            </a:xfrm>
            <a:custGeom>
              <a:avLst/>
              <a:gdLst/>
              <a:ahLst/>
              <a:cxnLst>
                <a:cxn ang="0">
                  <a:pos x="3" y="2"/>
                </a:cxn>
                <a:cxn ang="0">
                  <a:pos x="3" y="2"/>
                </a:cxn>
                <a:cxn ang="0">
                  <a:pos x="0" y="2"/>
                </a:cxn>
                <a:cxn ang="0">
                  <a:pos x="0" y="0"/>
                </a:cxn>
                <a:cxn ang="0">
                  <a:pos x="7" y="0"/>
                </a:cxn>
                <a:cxn ang="0">
                  <a:pos x="16" y="0"/>
                </a:cxn>
                <a:cxn ang="0">
                  <a:pos x="17" y="2"/>
                </a:cxn>
                <a:cxn ang="0">
                  <a:pos x="17" y="8"/>
                </a:cxn>
                <a:cxn ang="0">
                  <a:pos x="17" y="8"/>
                </a:cxn>
                <a:cxn ang="0">
                  <a:pos x="16" y="9"/>
                </a:cxn>
                <a:cxn ang="0">
                  <a:pos x="14" y="9"/>
                </a:cxn>
                <a:cxn ang="0">
                  <a:pos x="13" y="11"/>
                </a:cxn>
                <a:cxn ang="0">
                  <a:pos x="13" y="9"/>
                </a:cxn>
                <a:cxn ang="0">
                  <a:pos x="13" y="8"/>
                </a:cxn>
                <a:cxn ang="0">
                  <a:pos x="11" y="8"/>
                </a:cxn>
                <a:cxn ang="0">
                  <a:pos x="10" y="8"/>
                </a:cxn>
                <a:cxn ang="0">
                  <a:pos x="10" y="8"/>
                </a:cxn>
                <a:cxn ang="0">
                  <a:pos x="9" y="9"/>
                </a:cxn>
                <a:cxn ang="0">
                  <a:pos x="9" y="8"/>
                </a:cxn>
                <a:cxn ang="0">
                  <a:pos x="9" y="8"/>
                </a:cxn>
                <a:cxn ang="0">
                  <a:pos x="4" y="6"/>
                </a:cxn>
                <a:cxn ang="0">
                  <a:pos x="3" y="2"/>
                </a:cxn>
              </a:cxnLst>
              <a:rect l="0" t="0" r="r" b="b"/>
              <a:pathLst>
                <a:path w="17" h="11">
                  <a:moveTo>
                    <a:pt x="3" y="2"/>
                  </a:moveTo>
                  <a:lnTo>
                    <a:pt x="3" y="2"/>
                  </a:lnTo>
                  <a:lnTo>
                    <a:pt x="0" y="2"/>
                  </a:lnTo>
                  <a:lnTo>
                    <a:pt x="0" y="0"/>
                  </a:lnTo>
                  <a:lnTo>
                    <a:pt x="7" y="0"/>
                  </a:lnTo>
                  <a:lnTo>
                    <a:pt x="16" y="0"/>
                  </a:lnTo>
                  <a:lnTo>
                    <a:pt x="17" y="2"/>
                  </a:lnTo>
                  <a:lnTo>
                    <a:pt x="17" y="8"/>
                  </a:lnTo>
                  <a:lnTo>
                    <a:pt x="17" y="8"/>
                  </a:lnTo>
                  <a:lnTo>
                    <a:pt x="16" y="9"/>
                  </a:lnTo>
                  <a:lnTo>
                    <a:pt x="14" y="9"/>
                  </a:lnTo>
                  <a:lnTo>
                    <a:pt x="13" y="11"/>
                  </a:lnTo>
                  <a:lnTo>
                    <a:pt x="13" y="9"/>
                  </a:lnTo>
                  <a:lnTo>
                    <a:pt x="13" y="8"/>
                  </a:lnTo>
                  <a:lnTo>
                    <a:pt x="11" y="8"/>
                  </a:lnTo>
                  <a:lnTo>
                    <a:pt x="10" y="8"/>
                  </a:lnTo>
                  <a:lnTo>
                    <a:pt x="10" y="8"/>
                  </a:lnTo>
                  <a:lnTo>
                    <a:pt x="9" y="9"/>
                  </a:lnTo>
                  <a:lnTo>
                    <a:pt x="9" y="8"/>
                  </a:lnTo>
                  <a:lnTo>
                    <a:pt x="9" y="8"/>
                  </a:lnTo>
                  <a:lnTo>
                    <a:pt x="4" y="6"/>
                  </a:lnTo>
                  <a:lnTo>
                    <a:pt x="3"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3" name="Freeform 92"/>
            <p:cNvSpPr>
              <a:spLocks/>
            </p:cNvSpPr>
            <p:nvPr/>
          </p:nvSpPr>
          <p:spPr bwMode="auto">
            <a:xfrm>
              <a:off x="5249069" y="4258334"/>
              <a:ext cx="2633" cy="1014"/>
            </a:xfrm>
            <a:custGeom>
              <a:avLst/>
              <a:gdLst/>
              <a:ahLst/>
              <a:cxnLst>
                <a:cxn ang="0">
                  <a:pos x="2" y="0"/>
                </a:cxn>
                <a:cxn ang="0">
                  <a:pos x="3" y="0"/>
                </a:cxn>
                <a:cxn ang="0">
                  <a:pos x="3" y="0"/>
                </a:cxn>
                <a:cxn ang="0">
                  <a:pos x="3" y="1"/>
                </a:cxn>
                <a:cxn ang="0">
                  <a:pos x="2" y="1"/>
                </a:cxn>
                <a:cxn ang="0">
                  <a:pos x="2" y="1"/>
                </a:cxn>
                <a:cxn ang="0">
                  <a:pos x="0" y="0"/>
                </a:cxn>
                <a:cxn ang="0">
                  <a:pos x="2" y="0"/>
                </a:cxn>
              </a:cxnLst>
              <a:rect l="0" t="0" r="r" b="b"/>
              <a:pathLst>
                <a:path w="3" h="1">
                  <a:moveTo>
                    <a:pt x="2" y="0"/>
                  </a:moveTo>
                  <a:lnTo>
                    <a:pt x="3" y="0"/>
                  </a:lnTo>
                  <a:lnTo>
                    <a:pt x="3" y="0"/>
                  </a:lnTo>
                  <a:lnTo>
                    <a:pt x="3" y="1"/>
                  </a:lnTo>
                  <a:lnTo>
                    <a:pt x="2" y="1"/>
                  </a:lnTo>
                  <a:lnTo>
                    <a:pt x="2" y="1"/>
                  </a:lnTo>
                  <a:lnTo>
                    <a:pt x="0" y="0"/>
                  </a:lnTo>
                  <a:lnTo>
                    <a:pt x="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4" name="Freeform 93"/>
            <p:cNvSpPr>
              <a:spLocks/>
            </p:cNvSpPr>
            <p:nvPr/>
          </p:nvSpPr>
          <p:spPr bwMode="auto">
            <a:xfrm>
              <a:off x="5249069" y="4258334"/>
              <a:ext cx="2633" cy="1014"/>
            </a:xfrm>
            <a:custGeom>
              <a:avLst/>
              <a:gdLst/>
              <a:ahLst/>
              <a:cxnLst>
                <a:cxn ang="0">
                  <a:pos x="2" y="0"/>
                </a:cxn>
                <a:cxn ang="0">
                  <a:pos x="3" y="0"/>
                </a:cxn>
                <a:cxn ang="0">
                  <a:pos x="3" y="0"/>
                </a:cxn>
                <a:cxn ang="0">
                  <a:pos x="3" y="1"/>
                </a:cxn>
                <a:cxn ang="0">
                  <a:pos x="2" y="1"/>
                </a:cxn>
                <a:cxn ang="0">
                  <a:pos x="2" y="1"/>
                </a:cxn>
                <a:cxn ang="0">
                  <a:pos x="0" y="0"/>
                </a:cxn>
                <a:cxn ang="0">
                  <a:pos x="2" y="0"/>
                </a:cxn>
              </a:cxnLst>
              <a:rect l="0" t="0" r="r" b="b"/>
              <a:pathLst>
                <a:path w="3" h="1">
                  <a:moveTo>
                    <a:pt x="2" y="0"/>
                  </a:moveTo>
                  <a:lnTo>
                    <a:pt x="3" y="0"/>
                  </a:lnTo>
                  <a:lnTo>
                    <a:pt x="3" y="0"/>
                  </a:lnTo>
                  <a:lnTo>
                    <a:pt x="3" y="1"/>
                  </a:lnTo>
                  <a:lnTo>
                    <a:pt x="2" y="1"/>
                  </a:lnTo>
                  <a:lnTo>
                    <a:pt x="2" y="1"/>
                  </a:lnTo>
                  <a:lnTo>
                    <a:pt x="0" y="0"/>
                  </a:lnTo>
                  <a:lnTo>
                    <a:pt x="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5" name="Freeform 94"/>
            <p:cNvSpPr>
              <a:spLocks/>
            </p:cNvSpPr>
            <p:nvPr/>
          </p:nvSpPr>
          <p:spPr bwMode="auto">
            <a:xfrm>
              <a:off x="5243803" y="4252249"/>
              <a:ext cx="4389" cy="3042"/>
            </a:xfrm>
            <a:custGeom>
              <a:avLst/>
              <a:gdLst/>
              <a:ahLst/>
              <a:cxnLst>
                <a:cxn ang="0">
                  <a:pos x="5" y="3"/>
                </a:cxn>
                <a:cxn ang="0">
                  <a:pos x="3" y="3"/>
                </a:cxn>
                <a:cxn ang="0">
                  <a:pos x="0" y="0"/>
                </a:cxn>
                <a:cxn ang="0">
                  <a:pos x="0" y="0"/>
                </a:cxn>
                <a:cxn ang="0">
                  <a:pos x="3" y="0"/>
                </a:cxn>
                <a:cxn ang="0">
                  <a:pos x="5" y="1"/>
                </a:cxn>
                <a:cxn ang="0">
                  <a:pos x="5" y="3"/>
                </a:cxn>
              </a:cxnLst>
              <a:rect l="0" t="0" r="r" b="b"/>
              <a:pathLst>
                <a:path w="5" h="3">
                  <a:moveTo>
                    <a:pt x="5" y="3"/>
                  </a:moveTo>
                  <a:lnTo>
                    <a:pt x="3" y="3"/>
                  </a:lnTo>
                  <a:lnTo>
                    <a:pt x="0" y="0"/>
                  </a:lnTo>
                  <a:lnTo>
                    <a:pt x="0" y="0"/>
                  </a:lnTo>
                  <a:lnTo>
                    <a:pt x="3" y="0"/>
                  </a:lnTo>
                  <a:lnTo>
                    <a:pt x="5" y="1"/>
                  </a:lnTo>
                  <a:lnTo>
                    <a:pt x="5"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6" name="Freeform 95"/>
            <p:cNvSpPr>
              <a:spLocks/>
            </p:cNvSpPr>
            <p:nvPr/>
          </p:nvSpPr>
          <p:spPr bwMode="auto">
            <a:xfrm>
              <a:off x="5243803" y="4252249"/>
              <a:ext cx="4389" cy="3042"/>
            </a:xfrm>
            <a:custGeom>
              <a:avLst/>
              <a:gdLst/>
              <a:ahLst/>
              <a:cxnLst>
                <a:cxn ang="0">
                  <a:pos x="5" y="3"/>
                </a:cxn>
                <a:cxn ang="0">
                  <a:pos x="3" y="3"/>
                </a:cxn>
                <a:cxn ang="0">
                  <a:pos x="0" y="0"/>
                </a:cxn>
                <a:cxn ang="0">
                  <a:pos x="0" y="0"/>
                </a:cxn>
                <a:cxn ang="0">
                  <a:pos x="3" y="0"/>
                </a:cxn>
                <a:cxn ang="0">
                  <a:pos x="5" y="1"/>
                </a:cxn>
                <a:cxn ang="0">
                  <a:pos x="5" y="3"/>
                </a:cxn>
              </a:cxnLst>
              <a:rect l="0" t="0" r="r" b="b"/>
              <a:pathLst>
                <a:path w="5" h="3">
                  <a:moveTo>
                    <a:pt x="5" y="3"/>
                  </a:moveTo>
                  <a:lnTo>
                    <a:pt x="3" y="3"/>
                  </a:lnTo>
                  <a:lnTo>
                    <a:pt x="0" y="0"/>
                  </a:lnTo>
                  <a:lnTo>
                    <a:pt x="0" y="0"/>
                  </a:lnTo>
                  <a:lnTo>
                    <a:pt x="3" y="0"/>
                  </a:lnTo>
                  <a:lnTo>
                    <a:pt x="5" y="1"/>
                  </a:lnTo>
                  <a:lnTo>
                    <a:pt x="5"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7" name="Freeform 96"/>
            <p:cNvSpPr>
              <a:spLocks/>
            </p:cNvSpPr>
            <p:nvPr/>
          </p:nvSpPr>
          <p:spPr bwMode="auto">
            <a:xfrm>
              <a:off x="5245558" y="4258334"/>
              <a:ext cx="877" cy="3042"/>
            </a:xfrm>
            <a:custGeom>
              <a:avLst/>
              <a:gdLst/>
              <a:ahLst/>
              <a:cxnLst>
                <a:cxn ang="0">
                  <a:pos x="1" y="3"/>
                </a:cxn>
                <a:cxn ang="0">
                  <a:pos x="0" y="3"/>
                </a:cxn>
                <a:cxn ang="0">
                  <a:pos x="0" y="3"/>
                </a:cxn>
                <a:cxn ang="0">
                  <a:pos x="0" y="1"/>
                </a:cxn>
                <a:cxn ang="0">
                  <a:pos x="0" y="0"/>
                </a:cxn>
                <a:cxn ang="0">
                  <a:pos x="1" y="0"/>
                </a:cxn>
                <a:cxn ang="0">
                  <a:pos x="1" y="1"/>
                </a:cxn>
                <a:cxn ang="0">
                  <a:pos x="1" y="3"/>
                </a:cxn>
              </a:cxnLst>
              <a:rect l="0" t="0" r="r" b="b"/>
              <a:pathLst>
                <a:path w="1" h="3">
                  <a:moveTo>
                    <a:pt x="1" y="3"/>
                  </a:moveTo>
                  <a:lnTo>
                    <a:pt x="0" y="3"/>
                  </a:lnTo>
                  <a:lnTo>
                    <a:pt x="0" y="3"/>
                  </a:lnTo>
                  <a:lnTo>
                    <a:pt x="0" y="1"/>
                  </a:lnTo>
                  <a:lnTo>
                    <a:pt x="0" y="0"/>
                  </a:lnTo>
                  <a:lnTo>
                    <a:pt x="1" y="0"/>
                  </a:lnTo>
                  <a:lnTo>
                    <a:pt x="1" y="1"/>
                  </a:lnTo>
                  <a:lnTo>
                    <a:pt x="1"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8" name="Freeform 97"/>
            <p:cNvSpPr>
              <a:spLocks/>
            </p:cNvSpPr>
            <p:nvPr/>
          </p:nvSpPr>
          <p:spPr bwMode="auto">
            <a:xfrm>
              <a:off x="5245558" y="4258334"/>
              <a:ext cx="877" cy="3042"/>
            </a:xfrm>
            <a:custGeom>
              <a:avLst/>
              <a:gdLst/>
              <a:ahLst/>
              <a:cxnLst>
                <a:cxn ang="0">
                  <a:pos x="1" y="3"/>
                </a:cxn>
                <a:cxn ang="0">
                  <a:pos x="0" y="3"/>
                </a:cxn>
                <a:cxn ang="0">
                  <a:pos x="0" y="3"/>
                </a:cxn>
                <a:cxn ang="0">
                  <a:pos x="0" y="1"/>
                </a:cxn>
                <a:cxn ang="0">
                  <a:pos x="0" y="0"/>
                </a:cxn>
                <a:cxn ang="0">
                  <a:pos x="1" y="0"/>
                </a:cxn>
                <a:cxn ang="0">
                  <a:pos x="1" y="1"/>
                </a:cxn>
                <a:cxn ang="0">
                  <a:pos x="1" y="3"/>
                </a:cxn>
              </a:cxnLst>
              <a:rect l="0" t="0" r="r" b="b"/>
              <a:pathLst>
                <a:path w="1" h="3">
                  <a:moveTo>
                    <a:pt x="1" y="3"/>
                  </a:moveTo>
                  <a:lnTo>
                    <a:pt x="0" y="3"/>
                  </a:lnTo>
                  <a:lnTo>
                    <a:pt x="0" y="3"/>
                  </a:lnTo>
                  <a:lnTo>
                    <a:pt x="0" y="1"/>
                  </a:lnTo>
                  <a:lnTo>
                    <a:pt x="0" y="0"/>
                  </a:lnTo>
                  <a:lnTo>
                    <a:pt x="1" y="0"/>
                  </a:lnTo>
                  <a:lnTo>
                    <a:pt x="1" y="1"/>
                  </a:lnTo>
                  <a:lnTo>
                    <a:pt x="1"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9" name="Freeform 98"/>
            <p:cNvSpPr>
              <a:spLocks/>
            </p:cNvSpPr>
            <p:nvPr/>
          </p:nvSpPr>
          <p:spPr bwMode="auto">
            <a:xfrm>
              <a:off x="4924283" y="3272598"/>
              <a:ext cx="8777" cy="20283"/>
            </a:xfrm>
            <a:custGeom>
              <a:avLst/>
              <a:gdLst/>
              <a:ahLst/>
              <a:cxnLst>
                <a:cxn ang="0">
                  <a:pos x="3" y="0"/>
                </a:cxn>
                <a:cxn ang="0">
                  <a:pos x="4" y="5"/>
                </a:cxn>
                <a:cxn ang="0">
                  <a:pos x="7" y="8"/>
                </a:cxn>
                <a:cxn ang="0">
                  <a:pos x="9" y="14"/>
                </a:cxn>
                <a:cxn ang="0">
                  <a:pos x="9" y="16"/>
                </a:cxn>
                <a:cxn ang="0">
                  <a:pos x="7" y="17"/>
                </a:cxn>
                <a:cxn ang="0">
                  <a:pos x="4" y="19"/>
                </a:cxn>
                <a:cxn ang="0">
                  <a:pos x="1" y="17"/>
                </a:cxn>
                <a:cxn ang="0">
                  <a:pos x="1" y="16"/>
                </a:cxn>
                <a:cxn ang="0">
                  <a:pos x="1" y="14"/>
                </a:cxn>
                <a:cxn ang="0">
                  <a:pos x="1" y="13"/>
                </a:cxn>
                <a:cxn ang="0">
                  <a:pos x="3" y="13"/>
                </a:cxn>
                <a:cxn ang="0">
                  <a:pos x="4" y="10"/>
                </a:cxn>
                <a:cxn ang="0">
                  <a:pos x="6" y="8"/>
                </a:cxn>
                <a:cxn ang="0">
                  <a:pos x="3" y="5"/>
                </a:cxn>
                <a:cxn ang="0">
                  <a:pos x="1" y="4"/>
                </a:cxn>
                <a:cxn ang="0">
                  <a:pos x="0" y="4"/>
                </a:cxn>
                <a:cxn ang="0">
                  <a:pos x="0" y="3"/>
                </a:cxn>
                <a:cxn ang="0">
                  <a:pos x="0" y="1"/>
                </a:cxn>
                <a:cxn ang="0">
                  <a:pos x="3" y="0"/>
                </a:cxn>
              </a:cxnLst>
              <a:rect l="0" t="0" r="r" b="b"/>
              <a:pathLst>
                <a:path w="9" h="19">
                  <a:moveTo>
                    <a:pt x="3" y="0"/>
                  </a:moveTo>
                  <a:lnTo>
                    <a:pt x="4" y="5"/>
                  </a:lnTo>
                  <a:lnTo>
                    <a:pt x="7" y="8"/>
                  </a:lnTo>
                  <a:lnTo>
                    <a:pt x="9" y="14"/>
                  </a:lnTo>
                  <a:lnTo>
                    <a:pt x="9" y="16"/>
                  </a:lnTo>
                  <a:lnTo>
                    <a:pt x="7" y="17"/>
                  </a:lnTo>
                  <a:lnTo>
                    <a:pt x="4" y="19"/>
                  </a:lnTo>
                  <a:lnTo>
                    <a:pt x="1" y="17"/>
                  </a:lnTo>
                  <a:lnTo>
                    <a:pt x="1" y="16"/>
                  </a:lnTo>
                  <a:lnTo>
                    <a:pt x="1" y="14"/>
                  </a:lnTo>
                  <a:lnTo>
                    <a:pt x="1" y="13"/>
                  </a:lnTo>
                  <a:lnTo>
                    <a:pt x="3" y="13"/>
                  </a:lnTo>
                  <a:lnTo>
                    <a:pt x="4" y="10"/>
                  </a:lnTo>
                  <a:lnTo>
                    <a:pt x="6" y="8"/>
                  </a:lnTo>
                  <a:lnTo>
                    <a:pt x="3" y="5"/>
                  </a:lnTo>
                  <a:lnTo>
                    <a:pt x="1" y="4"/>
                  </a:lnTo>
                  <a:lnTo>
                    <a:pt x="0" y="4"/>
                  </a:lnTo>
                  <a:lnTo>
                    <a:pt x="0" y="3"/>
                  </a:lnTo>
                  <a:lnTo>
                    <a:pt x="0" y="1"/>
                  </a:lnTo>
                  <a:lnTo>
                    <a:pt x="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0" name="Freeform 99"/>
            <p:cNvSpPr>
              <a:spLocks/>
            </p:cNvSpPr>
            <p:nvPr/>
          </p:nvSpPr>
          <p:spPr bwMode="auto">
            <a:xfrm>
              <a:off x="4924283" y="3272598"/>
              <a:ext cx="8777" cy="20283"/>
            </a:xfrm>
            <a:custGeom>
              <a:avLst/>
              <a:gdLst/>
              <a:ahLst/>
              <a:cxnLst>
                <a:cxn ang="0">
                  <a:pos x="3" y="0"/>
                </a:cxn>
                <a:cxn ang="0">
                  <a:pos x="4" y="5"/>
                </a:cxn>
                <a:cxn ang="0">
                  <a:pos x="7" y="8"/>
                </a:cxn>
                <a:cxn ang="0">
                  <a:pos x="9" y="14"/>
                </a:cxn>
                <a:cxn ang="0">
                  <a:pos x="9" y="16"/>
                </a:cxn>
                <a:cxn ang="0">
                  <a:pos x="7" y="17"/>
                </a:cxn>
                <a:cxn ang="0">
                  <a:pos x="4" y="19"/>
                </a:cxn>
                <a:cxn ang="0">
                  <a:pos x="1" y="17"/>
                </a:cxn>
                <a:cxn ang="0">
                  <a:pos x="1" y="16"/>
                </a:cxn>
                <a:cxn ang="0">
                  <a:pos x="1" y="14"/>
                </a:cxn>
                <a:cxn ang="0">
                  <a:pos x="1" y="13"/>
                </a:cxn>
                <a:cxn ang="0">
                  <a:pos x="3" y="13"/>
                </a:cxn>
                <a:cxn ang="0">
                  <a:pos x="4" y="10"/>
                </a:cxn>
                <a:cxn ang="0">
                  <a:pos x="6" y="8"/>
                </a:cxn>
                <a:cxn ang="0">
                  <a:pos x="3" y="5"/>
                </a:cxn>
                <a:cxn ang="0">
                  <a:pos x="1" y="4"/>
                </a:cxn>
                <a:cxn ang="0">
                  <a:pos x="0" y="4"/>
                </a:cxn>
                <a:cxn ang="0">
                  <a:pos x="0" y="3"/>
                </a:cxn>
                <a:cxn ang="0">
                  <a:pos x="0" y="1"/>
                </a:cxn>
                <a:cxn ang="0">
                  <a:pos x="3" y="0"/>
                </a:cxn>
              </a:cxnLst>
              <a:rect l="0" t="0" r="r" b="b"/>
              <a:pathLst>
                <a:path w="9" h="19">
                  <a:moveTo>
                    <a:pt x="3" y="0"/>
                  </a:moveTo>
                  <a:lnTo>
                    <a:pt x="4" y="5"/>
                  </a:lnTo>
                  <a:lnTo>
                    <a:pt x="7" y="8"/>
                  </a:lnTo>
                  <a:lnTo>
                    <a:pt x="9" y="14"/>
                  </a:lnTo>
                  <a:lnTo>
                    <a:pt x="9" y="16"/>
                  </a:lnTo>
                  <a:lnTo>
                    <a:pt x="7" y="17"/>
                  </a:lnTo>
                  <a:lnTo>
                    <a:pt x="4" y="19"/>
                  </a:lnTo>
                  <a:lnTo>
                    <a:pt x="1" y="17"/>
                  </a:lnTo>
                  <a:lnTo>
                    <a:pt x="1" y="16"/>
                  </a:lnTo>
                  <a:lnTo>
                    <a:pt x="1" y="14"/>
                  </a:lnTo>
                  <a:lnTo>
                    <a:pt x="1" y="13"/>
                  </a:lnTo>
                  <a:lnTo>
                    <a:pt x="3" y="13"/>
                  </a:lnTo>
                  <a:lnTo>
                    <a:pt x="4" y="10"/>
                  </a:lnTo>
                  <a:lnTo>
                    <a:pt x="6" y="8"/>
                  </a:lnTo>
                  <a:lnTo>
                    <a:pt x="3" y="5"/>
                  </a:lnTo>
                  <a:lnTo>
                    <a:pt x="1" y="4"/>
                  </a:lnTo>
                  <a:lnTo>
                    <a:pt x="0" y="4"/>
                  </a:lnTo>
                  <a:lnTo>
                    <a:pt x="0" y="3"/>
                  </a:lnTo>
                  <a:lnTo>
                    <a:pt x="0" y="1"/>
                  </a:lnTo>
                  <a:lnTo>
                    <a:pt x="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1" name="Freeform 100"/>
            <p:cNvSpPr>
              <a:spLocks/>
            </p:cNvSpPr>
            <p:nvPr/>
          </p:nvSpPr>
          <p:spPr bwMode="auto">
            <a:xfrm>
              <a:off x="4933938" y="3277668"/>
              <a:ext cx="2634" cy="3043"/>
            </a:xfrm>
            <a:custGeom>
              <a:avLst/>
              <a:gdLst/>
              <a:ahLst/>
              <a:cxnLst>
                <a:cxn ang="0">
                  <a:pos x="1" y="0"/>
                </a:cxn>
                <a:cxn ang="0">
                  <a:pos x="0" y="0"/>
                </a:cxn>
                <a:cxn ang="0">
                  <a:pos x="0" y="2"/>
                </a:cxn>
                <a:cxn ang="0">
                  <a:pos x="0" y="2"/>
                </a:cxn>
                <a:cxn ang="0">
                  <a:pos x="1" y="3"/>
                </a:cxn>
                <a:cxn ang="0">
                  <a:pos x="3" y="3"/>
                </a:cxn>
                <a:cxn ang="0">
                  <a:pos x="3" y="2"/>
                </a:cxn>
                <a:cxn ang="0">
                  <a:pos x="3" y="0"/>
                </a:cxn>
                <a:cxn ang="0">
                  <a:pos x="1" y="0"/>
                </a:cxn>
              </a:cxnLst>
              <a:rect l="0" t="0" r="r" b="b"/>
              <a:pathLst>
                <a:path w="3" h="3">
                  <a:moveTo>
                    <a:pt x="1" y="0"/>
                  </a:moveTo>
                  <a:lnTo>
                    <a:pt x="0" y="0"/>
                  </a:lnTo>
                  <a:lnTo>
                    <a:pt x="0" y="2"/>
                  </a:lnTo>
                  <a:lnTo>
                    <a:pt x="0" y="2"/>
                  </a:lnTo>
                  <a:lnTo>
                    <a:pt x="1" y="3"/>
                  </a:lnTo>
                  <a:lnTo>
                    <a:pt x="3" y="3"/>
                  </a:lnTo>
                  <a:lnTo>
                    <a:pt x="3" y="2"/>
                  </a:lnTo>
                  <a:lnTo>
                    <a:pt x="3" y="0"/>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2" name="Freeform 101"/>
            <p:cNvSpPr>
              <a:spLocks/>
            </p:cNvSpPr>
            <p:nvPr/>
          </p:nvSpPr>
          <p:spPr bwMode="auto">
            <a:xfrm>
              <a:off x="4933938" y="3277668"/>
              <a:ext cx="2634" cy="3043"/>
            </a:xfrm>
            <a:custGeom>
              <a:avLst/>
              <a:gdLst/>
              <a:ahLst/>
              <a:cxnLst>
                <a:cxn ang="0">
                  <a:pos x="1" y="0"/>
                </a:cxn>
                <a:cxn ang="0">
                  <a:pos x="0" y="0"/>
                </a:cxn>
                <a:cxn ang="0">
                  <a:pos x="0" y="2"/>
                </a:cxn>
                <a:cxn ang="0">
                  <a:pos x="0" y="2"/>
                </a:cxn>
                <a:cxn ang="0">
                  <a:pos x="1" y="3"/>
                </a:cxn>
                <a:cxn ang="0">
                  <a:pos x="3" y="3"/>
                </a:cxn>
                <a:cxn ang="0">
                  <a:pos x="3" y="2"/>
                </a:cxn>
                <a:cxn ang="0">
                  <a:pos x="3" y="0"/>
                </a:cxn>
                <a:cxn ang="0">
                  <a:pos x="1" y="0"/>
                </a:cxn>
              </a:cxnLst>
              <a:rect l="0" t="0" r="r" b="b"/>
              <a:pathLst>
                <a:path w="3" h="3">
                  <a:moveTo>
                    <a:pt x="1" y="0"/>
                  </a:moveTo>
                  <a:lnTo>
                    <a:pt x="0" y="0"/>
                  </a:lnTo>
                  <a:lnTo>
                    <a:pt x="0" y="2"/>
                  </a:lnTo>
                  <a:lnTo>
                    <a:pt x="0" y="2"/>
                  </a:lnTo>
                  <a:lnTo>
                    <a:pt x="1" y="3"/>
                  </a:lnTo>
                  <a:lnTo>
                    <a:pt x="3" y="3"/>
                  </a:lnTo>
                  <a:lnTo>
                    <a:pt x="3" y="2"/>
                  </a:lnTo>
                  <a:lnTo>
                    <a:pt x="3" y="0"/>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3" name="Freeform 102"/>
            <p:cNvSpPr>
              <a:spLocks/>
            </p:cNvSpPr>
            <p:nvPr/>
          </p:nvSpPr>
          <p:spPr bwMode="auto">
            <a:xfrm>
              <a:off x="4939206" y="3283753"/>
              <a:ext cx="3511" cy="3043"/>
            </a:xfrm>
            <a:custGeom>
              <a:avLst/>
              <a:gdLst/>
              <a:ahLst/>
              <a:cxnLst>
                <a:cxn ang="0">
                  <a:pos x="4" y="0"/>
                </a:cxn>
                <a:cxn ang="0">
                  <a:pos x="4" y="3"/>
                </a:cxn>
                <a:cxn ang="0">
                  <a:pos x="3" y="3"/>
                </a:cxn>
                <a:cxn ang="0">
                  <a:pos x="0" y="3"/>
                </a:cxn>
                <a:cxn ang="0">
                  <a:pos x="0" y="3"/>
                </a:cxn>
                <a:cxn ang="0">
                  <a:pos x="0" y="0"/>
                </a:cxn>
                <a:cxn ang="0">
                  <a:pos x="0" y="0"/>
                </a:cxn>
                <a:cxn ang="0">
                  <a:pos x="1" y="0"/>
                </a:cxn>
                <a:cxn ang="0">
                  <a:pos x="3" y="0"/>
                </a:cxn>
                <a:cxn ang="0">
                  <a:pos x="4" y="0"/>
                </a:cxn>
              </a:cxnLst>
              <a:rect l="0" t="0" r="r" b="b"/>
              <a:pathLst>
                <a:path w="4" h="3">
                  <a:moveTo>
                    <a:pt x="4" y="0"/>
                  </a:moveTo>
                  <a:lnTo>
                    <a:pt x="4" y="3"/>
                  </a:lnTo>
                  <a:lnTo>
                    <a:pt x="3" y="3"/>
                  </a:lnTo>
                  <a:lnTo>
                    <a:pt x="0" y="3"/>
                  </a:lnTo>
                  <a:lnTo>
                    <a:pt x="0" y="3"/>
                  </a:lnTo>
                  <a:lnTo>
                    <a:pt x="0" y="0"/>
                  </a:lnTo>
                  <a:lnTo>
                    <a:pt x="0" y="0"/>
                  </a:lnTo>
                  <a:lnTo>
                    <a:pt x="1" y="0"/>
                  </a:lnTo>
                  <a:lnTo>
                    <a:pt x="3" y="0"/>
                  </a:lnTo>
                  <a:lnTo>
                    <a:pt x="4"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4" name="Freeform 103"/>
            <p:cNvSpPr>
              <a:spLocks/>
            </p:cNvSpPr>
            <p:nvPr/>
          </p:nvSpPr>
          <p:spPr bwMode="auto">
            <a:xfrm>
              <a:off x="4939206" y="3283753"/>
              <a:ext cx="3511" cy="3043"/>
            </a:xfrm>
            <a:custGeom>
              <a:avLst/>
              <a:gdLst/>
              <a:ahLst/>
              <a:cxnLst>
                <a:cxn ang="0">
                  <a:pos x="4" y="0"/>
                </a:cxn>
                <a:cxn ang="0">
                  <a:pos x="4" y="3"/>
                </a:cxn>
                <a:cxn ang="0">
                  <a:pos x="3" y="3"/>
                </a:cxn>
                <a:cxn ang="0">
                  <a:pos x="0" y="3"/>
                </a:cxn>
                <a:cxn ang="0">
                  <a:pos x="0" y="3"/>
                </a:cxn>
                <a:cxn ang="0">
                  <a:pos x="0" y="0"/>
                </a:cxn>
                <a:cxn ang="0">
                  <a:pos x="0" y="0"/>
                </a:cxn>
                <a:cxn ang="0">
                  <a:pos x="1" y="0"/>
                </a:cxn>
                <a:cxn ang="0">
                  <a:pos x="3" y="0"/>
                </a:cxn>
                <a:cxn ang="0">
                  <a:pos x="4" y="0"/>
                </a:cxn>
              </a:cxnLst>
              <a:rect l="0" t="0" r="r" b="b"/>
              <a:pathLst>
                <a:path w="4" h="3">
                  <a:moveTo>
                    <a:pt x="4" y="0"/>
                  </a:moveTo>
                  <a:lnTo>
                    <a:pt x="4" y="3"/>
                  </a:lnTo>
                  <a:lnTo>
                    <a:pt x="3" y="3"/>
                  </a:lnTo>
                  <a:lnTo>
                    <a:pt x="0" y="3"/>
                  </a:lnTo>
                  <a:lnTo>
                    <a:pt x="0" y="3"/>
                  </a:lnTo>
                  <a:lnTo>
                    <a:pt x="0" y="0"/>
                  </a:lnTo>
                  <a:lnTo>
                    <a:pt x="0" y="0"/>
                  </a:lnTo>
                  <a:lnTo>
                    <a:pt x="1" y="0"/>
                  </a:lnTo>
                  <a:lnTo>
                    <a:pt x="3" y="0"/>
                  </a:lnTo>
                  <a:lnTo>
                    <a:pt x="4"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5" name="Freeform 104"/>
            <p:cNvSpPr>
              <a:spLocks/>
            </p:cNvSpPr>
            <p:nvPr/>
          </p:nvSpPr>
          <p:spPr bwMode="auto">
            <a:xfrm>
              <a:off x="4948861" y="3286795"/>
              <a:ext cx="5267" cy="3042"/>
            </a:xfrm>
            <a:custGeom>
              <a:avLst/>
              <a:gdLst/>
              <a:ahLst/>
              <a:cxnLst>
                <a:cxn ang="0">
                  <a:pos x="5" y="0"/>
                </a:cxn>
                <a:cxn ang="0">
                  <a:pos x="5" y="0"/>
                </a:cxn>
                <a:cxn ang="0">
                  <a:pos x="5" y="0"/>
                </a:cxn>
                <a:cxn ang="0">
                  <a:pos x="5" y="1"/>
                </a:cxn>
                <a:cxn ang="0">
                  <a:pos x="3" y="3"/>
                </a:cxn>
                <a:cxn ang="0">
                  <a:pos x="2" y="3"/>
                </a:cxn>
                <a:cxn ang="0">
                  <a:pos x="0" y="3"/>
                </a:cxn>
                <a:cxn ang="0">
                  <a:pos x="0" y="1"/>
                </a:cxn>
                <a:cxn ang="0">
                  <a:pos x="3" y="0"/>
                </a:cxn>
                <a:cxn ang="0">
                  <a:pos x="5" y="0"/>
                </a:cxn>
              </a:cxnLst>
              <a:rect l="0" t="0" r="r" b="b"/>
              <a:pathLst>
                <a:path w="5" h="3">
                  <a:moveTo>
                    <a:pt x="5" y="0"/>
                  </a:moveTo>
                  <a:lnTo>
                    <a:pt x="5" y="0"/>
                  </a:lnTo>
                  <a:lnTo>
                    <a:pt x="5" y="0"/>
                  </a:lnTo>
                  <a:lnTo>
                    <a:pt x="5" y="1"/>
                  </a:lnTo>
                  <a:lnTo>
                    <a:pt x="3" y="3"/>
                  </a:lnTo>
                  <a:lnTo>
                    <a:pt x="2" y="3"/>
                  </a:lnTo>
                  <a:lnTo>
                    <a:pt x="0" y="3"/>
                  </a:lnTo>
                  <a:lnTo>
                    <a:pt x="0" y="1"/>
                  </a:lnTo>
                  <a:lnTo>
                    <a:pt x="3" y="0"/>
                  </a:lnTo>
                  <a:lnTo>
                    <a:pt x="5"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6" name="Freeform 105"/>
            <p:cNvSpPr>
              <a:spLocks/>
            </p:cNvSpPr>
            <p:nvPr/>
          </p:nvSpPr>
          <p:spPr bwMode="auto">
            <a:xfrm>
              <a:off x="4948861" y="3286795"/>
              <a:ext cx="5267" cy="3042"/>
            </a:xfrm>
            <a:custGeom>
              <a:avLst/>
              <a:gdLst/>
              <a:ahLst/>
              <a:cxnLst>
                <a:cxn ang="0">
                  <a:pos x="5" y="0"/>
                </a:cxn>
                <a:cxn ang="0">
                  <a:pos x="5" y="0"/>
                </a:cxn>
                <a:cxn ang="0">
                  <a:pos x="5" y="0"/>
                </a:cxn>
                <a:cxn ang="0">
                  <a:pos x="5" y="1"/>
                </a:cxn>
                <a:cxn ang="0">
                  <a:pos x="3" y="3"/>
                </a:cxn>
                <a:cxn ang="0">
                  <a:pos x="2" y="3"/>
                </a:cxn>
                <a:cxn ang="0">
                  <a:pos x="0" y="3"/>
                </a:cxn>
                <a:cxn ang="0">
                  <a:pos x="0" y="1"/>
                </a:cxn>
                <a:cxn ang="0">
                  <a:pos x="3" y="0"/>
                </a:cxn>
                <a:cxn ang="0">
                  <a:pos x="5" y="0"/>
                </a:cxn>
              </a:cxnLst>
              <a:rect l="0" t="0" r="r" b="b"/>
              <a:pathLst>
                <a:path w="5" h="3">
                  <a:moveTo>
                    <a:pt x="5" y="0"/>
                  </a:moveTo>
                  <a:lnTo>
                    <a:pt x="5" y="0"/>
                  </a:lnTo>
                  <a:lnTo>
                    <a:pt x="5" y="0"/>
                  </a:lnTo>
                  <a:lnTo>
                    <a:pt x="5" y="1"/>
                  </a:lnTo>
                  <a:lnTo>
                    <a:pt x="3" y="3"/>
                  </a:lnTo>
                  <a:lnTo>
                    <a:pt x="2" y="3"/>
                  </a:lnTo>
                  <a:lnTo>
                    <a:pt x="0" y="3"/>
                  </a:lnTo>
                  <a:lnTo>
                    <a:pt x="0" y="1"/>
                  </a:lnTo>
                  <a:lnTo>
                    <a:pt x="3" y="0"/>
                  </a:lnTo>
                  <a:lnTo>
                    <a:pt x="5"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7" name="Freeform 106"/>
            <p:cNvSpPr>
              <a:spLocks/>
            </p:cNvSpPr>
            <p:nvPr/>
          </p:nvSpPr>
          <p:spPr bwMode="auto">
            <a:xfrm>
              <a:off x="4922527" y="3279695"/>
              <a:ext cx="2633" cy="4057"/>
            </a:xfrm>
            <a:custGeom>
              <a:avLst/>
              <a:gdLst/>
              <a:ahLst/>
              <a:cxnLst>
                <a:cxn ang="0">
                  <a:pos x="3" y="0"/>
                </a:cxn>
                <a:cxn ang="0">
                  <a:pos x="3" y="0"/>
                </a:cxn>
                <a:cxn ang="0">
                  <a:pos x="3" y="3"/>
                </a:cxn>
                <a:cxn ang="0">
                  <a:pos x="2" y="3"/>
                </a:cxn>
                <a:cxn ang="0">
                  <a:pos x="2" y="1"/>
                </a:cxn>
                <a:cxn ang="0">
                  <a:pos x="0" y="1"/>
                </a:cxn>
                <a:cxn ang="0">
                  <a:pos x="0" y="0"/>
                </a:cxn>
                <a:cxn ang="0">
                  <a:pos x="3" y="0"/>
                </a:cxn>
              </a:cxnLst>
              <a:rect l="0" t="0" r="r" b="b"/>
              <a:pathLst>
                <a:path w="3" h="3">
                  <a:moveTo>
                    <a:pt x="3" y="0"/>
                  </a:moveTo>
                  <a:lnTo>
                    <a:pt x="3" y="0"/>
                  </a:lnTo>
                  <a:lnTo>
                    <a:pt x="3" y="3"/>
                  </a:lnTo>
                  <a:lnTo>
                    <a:pt x="2" y="3"/>
                  </a:lnTo>
                  <a:lnTo>
                    <a:pt x="2" y="1"/>
                  </a:lnTo>
                  <a:lnTo>
                    <a:pt x="0" y="1"/>
                  </a:lnTo>
                  <a:lnTo>
                    <a:pt x="0" y="0"/>
                  </a:lnTo>
                  <a:lnTo>
                    <a:pt x="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8" name="Freeform 107"/>
            <p:cNvSpPr>
              <a:spLocks/>
            </p:cNvSpPr>
            <p:nvPr/>
          </p:nvSpPr>
          <p:spPr bwMode="auto">
            <a:xfrm>
              <a:off x="4922527" y="3279695"/>
              <a:ext cx="2633" cy="4057"/>
            </a:xfrm>
            <a:custGeom>
              <a:avLst/>
              <a:gdLst/>
              <a:ahLst/>
              <a:cxnLst>
                <a:cxn ang="0">
                  <a:pos x="3" y="0"/>
                </a:cxn>
                <a:cxn ang="0">
                  <a:pos x="3" y="0"/>
                </a:cxn>
                <a:cxn ang="0">
                  <a:pos x="3" y="3"/>
                </a:cxn>
                <a:cxn ang="0">
                  <a:pos x="2" y="3"/>
                </a:cxn>
                <a:cxn ang="0">
                  <a:pos x="2" y="1"/>
                </a:cxn>
                <a:cxn ang="0">
                  <a:pos x="0" y="1"/>
                </a:cxn>
                <a:cxn ang="0">
                  <a:pos x="0" y="0"/>
                </a:cxn>
                <a:cxn ang="0">
                  <a:pos x="3" y="0"/>
                </a:cxn>
              </a:cxnLst>
              <a:rect l="0" t="0" r="r" b="b"/>
              <a:pathLst>
                <a:path w="3" h="3">
                  <a:moveTo>
                    <a:pt x="3" y="0"/>
                  </a:moveTo>
                  <a:lnTo>
                    <a:pt x="3" y="0"/>
                  </a:lnTo>
                  <a:lnTo>
                    <a:pt x="3" y="3"/>
                  </a:lnTo>
                  <a:lnTo>
                    <a:pt x="2" y="3"/>
                  </a:lnTo>
                  <a:lnTo>
                    <a:pt x="2" y="1"/>
                  </a:lnTo>
                  <a:lnTo>
                    <a:pt x="0" y="1"/>
                  </a:lnTo>
                  <a:lnTo>
                    <a:pt x="0" y="0"/>
                  </a:lnTo>
                  <a:lnTo>
                    <a:pt x="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9" name="Freeform 108"/>
            <p:cNvSpPr>
              <a:spLocks/>
            </p:cNvSpPr>
            <p:nvPr/>
          </p:nvSpPr>
          <p:spPr bwMode="auto">
            <a:xfrm>
              <a:off x="6374409" y="2147924"/>
              <a:ext cx="6144" cy="13184"/>
            </a:xfrm>
            <a:custGeom>
              <a:avLst/>
              <a:gdLst/>
              <a:ahLst/>
              <a:cxnLst>
                <a:cxn ang="0">
                  <a:pos x="6" y="1"/>
                </a:cxn>
                <a:cxn ang="0">
                  <a:pos x="3" y="0"/>
                </a:cxn>
                <a:cxn ang="0">
                  <a:pos x="3" y="0"/>
                </a:cxn>
                <a:cxn ang="0">
                  <a:pos x="1" y="1"/>
                </a:cxn>
                <a:cxn ang="0">
                  <a:pos x="3" y="3"/>
                </a:cxn>
                <a:cxn ang="0">
                  <a:pos x="1" y="4"/>
                </a:cxn>
                <a:cxn ang="0">
                  <a:pos x="0" y="3"/>
                </a:cxn>
                <a:cxn ang="0">
                  <a:pos x="0" y="9"/>
                </a:cxn>
                <a:cxn ang="0">
                  <a:pos x="4" y="9"/>
                </a:cxn>
                <a:cxn ang="0">
                  <a:pos x="6" y="12"/>
                </a:cxn>
                <a:cxn ang="0">
                  <a:pos x="7" y="10"/>
                </a:cxn>
                <a:cxn ang="0">
                  <a:pos x="4" y="9"/>
                </a:cxn>
                <a:cxn ang="0">
                  <a:pos x="4" y="7"/>
                </a:cxn>
                <a:cxn ang="0">
                  <a:pos x="6" y="6"/>
                </a:cxn>
                <a:cxn ang="0">
                  <a:pos x="7" y="4"/>
                </a:cxn>
                <a:cxn ang="0">
                  <a:pos x="7" y="3"/>
                </a:cxn>
                <a:cxn ang="0">
                  <a:pos x="6" y="1"/>
                </a:cxn>
              </a:cxnLst>
              <a:rect l="0" t="0" r="r" b="b"/>
              <a:pathLst>
                <a:path w="7" h="12">
                  <a:moveTo>
                    <a:pt x="6" y="1"/>
                  </a:moveTo>
                  <a:lnTo>
                    <a:pt x="3" y="0"/>
                  </a:lnTo>
                  <a:lnTo>
                    <a:pt x="3" y="0"/>
                  </a:lnTo>
                  <a:lnTo>
                    <a:pt x="1" y="1"/>
                  </a:lnTo>
                  <a:lnTo>
                    <a:pt x="3" y="3"/>
                  </a:lnTo>
                  <a:lnTo>
                    <a:pt x="1" y="4"/>
                  </a:lnTo>
                  <a:lnTo>
                    <a:pt x="0" y="3"/>
                  </a:lnTo>
                  <a:lnTo>
                    <a:pt x="0" y="9"/>
                  </a:lnTo>
                  <a:lnTo>
                    <a:pt x="4" y="9"/>
                  </a:lnTo>
                  <a:lnTo>
                    <a:pt x="6" y="12"/>
                  </a:lnTo>
                  <a:lnTo>
                    <a:pt x="7" y="10"/>
                  </a:lnTo>
                  <a:lnTo>
                    <a:pt x="4" y="9"/>
                  </a:lnTo>
                  <a:lnTo>
                    <a:pt x="4" y="7"/>
                  </a:lnTo>
                  <a:lnTo>
                    <a:pt x="6" y="6"/>
                  </a:lnTo>
                  <a:lnTo>
                    <a:pt x="7" y="4"/>
                  </a:lnTo>
                  <a:lnTo>
                    <a:pt x="7" y="3"/>
                  </a:lnTo>
                  <a:lnTo>
                    <a:pt x="6"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0" name="Freeform 109"/>
            <p:cNvSpPr>
              <a:spLocks/>
            </p:cNvSpPr>
            <p:nvPr/>
          </p:nvSpPr>
          <p:spPr bwMode="auto">
            <a:xfrm>
              <a:off x="6374409" y="2147924"/>
              <a:ext cx="6144" cy="13184"/>
            </a:xfrm>
            <a:custGeom>
              <a:avLst/>
              <a:gdLst/>
              <a:ahLst/>
              <a:cxnLst>
                <a:cxn ang="0">
                  <a:pos x="6" y="1"/>
                </a:cxn>
                <a:cxn ang="0">
                  <a:pos x="3" y="0"/>
                </a:cxn>
                <a:cxn ang="0">
                  <a:pos x="3" y="0"/>
                </a:cxn>
                <a:cxn ang="0">
                  <a:pos x="1" y="1"/>
                </a:cxn>
                <a:cxn ang="0">
                  <a:pos x="3" y="3"/>
                </a:cxn>
                <a:cxn ang="0">
                  <a:pos x="1" y="4"/>
                </a:cxn>
                <a:cxn ang="0">
                  <a:pos x="0" y="3"/>
                </a:cxn>
                <a:cxn ang="0">
                  <a:pos x="0" y="9"/>
                </a:cxn>
                <a:cxn ang="0">
                  <a:pos x="4" y="9"/>
                </a:cxn>
                <a:cxn ang="0">
                  <a:pos x="6" y="12"/>
                </a:cxn>
                <a:cxn ang="0">
                  <a:pos x="7" y="10"/>
                </a:cxn>
                <a:cxn ang="0">
                  <a:pos x="4" y="9"/>
                </a:cxn>
                <a:cxn ang="0">
                  <a:pos x="4" y="7"/>
                </a:cxn>
                <a:cxn ang="0">
                  <a:pos x="6" y="6"/>
                </a:cxn>
                <a:cxn ang="0">
                  <a:pos x="7" y="4"/>
                </a:cxn>
                <a:cxn ang="0">
                  <a:pos x="7" y="3"/>
                </a:cxn>
                <a:cxn ang="0">
                  <a:pos x="6" y="1"/>
                </a:cxn>
              </a:cxnLst>
              <a:rect l="0" t="0" r="r" b="b"/>
              <a:pathLst>
                <a:path w="7" h="12">
                  <a:moveTo>
                    <a:pt x="6" y="1"/>
                  </a:moveTo>
                  <a:lnTo>
                    <a:pt x="3" y="0"/>
                  </a:lnTo>
                  <a:lnTo>
                    <a:pt x="3" y="0"/>
                  </a:lnTo>
                  <a:lnTo>
                    <a:pt x="1" y="1"/>
                  </a:lnTo>
                  <a:lnTo>
                    <a:pt x="3" y="3"/>
                  </a:lnTo>
                  <a:lnTo>
                    <a:pt x="1" y="4"/>
                  </a:lnTo>
                  <a:lnTo>
                    <a:pt x="0" y="3"/>
                  </a:lnTo>
                  <a:lnTo>
                    <a:pt x="0" y="9"/>
                  </a:lnTo>
                  <a:lnTo>
                    <a:pt x="4" y="9"/>
                  </a:lnTo>
                  <a:lnTo>
                    <a:pt x="6" y="12"/>
                  </a:lnTo>
                  <a:lnTo>
                    <a:pt x="7" y="10"/>
                  </a:lnTo>
                  <a:lnTo>
                    <a:pt x="4" y="9"/>
                  </a:lnTo>
                  <a:lnTo>
                    <a:pt x="4" y="7"/>
                  </a:lnTo>
                  <a:lnTo>
                    <a:pt x="6" y="6"/>
                  </a:lnTo>
                  <a:lnTo>
                    <a:pt x="7" y="4"/>
                  </a:lnTo>
                  <a:lnTo>
                    <a:pt x="7" y="3"/>
                  </a:lnTo>
                  <a:lnTo>
                    <a:pt x="6"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1" name="Freeform 110"/>
            <p:cNvSpPr>
              <a:spLocks/>
            </p:cNvSpPr>
            <p:nvPr/>
          </p:nvSpPr>
          <p:spPr bwMode="auto">
            <a:xfrm>
              <a:off x="6400744" y="2151980"/>
              <a:ext cx="2633" cy="5071"/>
            </a:xfrm>
            <a:custGeom>
              <a:avLst/>
              <a:gdLst/>
              <a:ahLst/>
              <a:cxnLst>
                <a:cxn ang="0">
                  <a:pos x="3" y="2"/>
                </a:cxn>
                <a:cxn ang="0">
                  <a:pos x="1" y="0"/>
                </a:cxn>
                <a:cxn ang="0">
                  <a:pos x="0" y="2"/>
                </a:cxn>
                <a:cxn ang="0">
                  <a:pos x="0" y="3"/>
                </a:cxn>
                <a:cxn ang="0">
                  <a:pos x="0" y="5"/>
                </a:cxn>
                <a:cxn ang="0">
                  <a:pos x="1" y="5"/>
                </a:cxn>
                <a:cxn ang="0">
                  <a:pos x="3" y="2"/>
                </a:cxn>
              </a:cxnLst>
              <a:rect l="0" t="0" r="r" b="b"/>
              <a:pathLst>
                <a:path w="3" h="5">
                  <a:moveTo>
                    <a:pt x="3" y="2"/>
                  </a:moveTo>
                  <a:lnTo>
                    <a:pt x="1" y="0"/>
                  </a:lnTo>
                  <a:lnTo>
                    <a:pt x="0" y="2"/>
                  </a:lnTo>
                  <a:lnTo>
                    <a:pt x="0" y="3"/>
                  </a:lnTo>
                  <a:lnTo>
                    <a:pt x="0" y="5"/>
                  </a:lnTo>
                  <a:lnTo>
                    <a:pt x="1" y="5"/>
                  </a:lnTo>
                  <a:lnTo>
                    <a:pt x="3"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2" name="Freeform 111"/>
            <p:cNvSpPr>
              <a:spLocks/>
            </p:cNvSpPr>
            <p:nvPr/>
          </p:nvSpPr>
          <p:spPr bwMode="auto">
            <a:xfrm>
              <a:off x="6400744" y="2151980"/>
              <a:ext cx="2633" cy="5071"/>
            </a:xfrm>
            <a:custGeom>
              <a:avLst/>
              <a:gdLst/>
              <a:ahLst/>
              <a:cxnLst>
                <a:cxn ang="0">
                  <a:pos x="3" y="2"/>
                </a:cxn>
                <a:cxn ang="0">
                  <a:pos x="1" y="0"/>
                </a:cxn>
                <a:cxn ang="0">
                  <a:pos x="0" y="2"/>
                </a:cxn>
                <a:cxn ang="0">
                  <a:pos x="0" y="3"/>
                </a:cxn>
                <a:cxn ang="0">
                  <a:pos x="0" y="5"/>
                </a:cxn>
                <a:cxn ang="0">
                  <a:pos x="1" y="5"/>
                </a:cxn>
                <a:cxn ang="0">
                  <a:pos x="3" y="2"/>
                </a:cxn>
              </a:cxnLst>
              <a:rect l="0" t="0" r="r" b="b"/>
              <a:pathLst>
                <a:path w="3" h="5">
                  <a:moveTo>
                    <a:pt x="3" y="2"/>
                  </a:moveTo>
                  <a:lnTo>
                    <a:pt x="1" y="0"/>
                  </a:lnTo>
                  <a:lnTo>
                    <a:pt x="0" y="2"/>
                  </a:lnTo>
                  <a:lnTo>
                    <a:pt x="0" y="3"/>
                  </a:lnTo>
                  <a:lnTo>
                    <a:pt x="0" y="5"/>
                  </a:lnTo>
                  <a:lnTo>
                    <a:pt x="1" y="5"/>
                  </a:lnTo>
                  <a:lnTo>
                    <a:pt x="3"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3" name="Freeform 112"/>
            <p:cNvSpPr>
              <a:spLocks/>
            </p:cNvSpPr>
            <p:nvPr/>
          </p:nvSpPr>
          <p:spPr bwMode="auto">
            <a:xfrm>
              <a:off x="6409522" y="2150967"/>
              <a:ext cx="6144" cy="7098"/>
            </a:xfrm>
            <a:custGeom>
              <a:avLst/>
              <a:gdLst/>
              <a:ahLst/>
              <a:cxnLst>
                <a:cxn ang="0">
                  <a:pos x="4" y="7"/>
                </a:cxn>
                <a:cxn ang="0">
                  <a:pos x="5" y="7"/>
                </a:cxn>
                <a:cxn ang="0">
                  <a:pos x="7" y="0"/>
                </a:cxn>
                <a:cxn ang="0">
                  <a:pos x="5" y="1"/>
                </a:cxn>
                <a:cxn ang="0">
                  <a:pos x="3" y="3"/>
                </a:cxn>
                <a:cxn ang="0">
                  <a:pos x="1" y="6"/>
                </a:cxn>
                <a:cxn ang="0">
                  <a:pos x="1" y="6"/>
                </a:cxn>
                <a:cxn ang="0">
                  <a:pos x="0" y="7"/>
                </a:cxn>
                <a:cxn ang="0">
                  <a:pos x="3" y="7"/>
                </a:cxn>
                <a:cxn ang="0">
                  <a:pos x="4" y="7"/>
                </a:cxn>
              </a:cxnLst>
              <a:rect l="0" t="0" r="r" b="b"/>
              <a:pathLst>
                <a:path w="7" h="7">
                  <a:moveTo>
                    <a:pt x="4" y="7"/>
                  </a:moveTo>
                  <a:lnTo>
                    <a:pt x="5" y="7"/>
                  </a:lnTo>
                  <a:lnTo>
                    <a:pt x="7" y="0"/>
                  </a:lnTo>
                  <a:lnTo>
                    <a:pt x="5" y="1"/>
                  </a:lnTo>
                  <a:lnTo>
                    <a:pt x="3" y="3"/>
                  </a:lnTo>
                  <a:lnTo>
                    <a:pt x="1" y="6"/>
                  </a:lnTo>
                  <a:lnTo>
                    <a:pt x="1" y="6"/>
                  </a:lnTo>
                  <a:lnTo>
                    <a:pt x="0" y="7"/>
                  </a:lnTo>
                  <a:lnTo>
                    <a:pt x="3" y="7"/>
                  </a:lnTo>
                  <a:lnTo>
                    <a:pt x="4" y="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4" name="Freeform 113"/>
            <p:cNvSpPr>
              <a:spLocks/>
            </p:cNvSpPr>
            <p:nvPr/>
          </p:nvSpPr>
          <p:spPr bwMode="auto">
            <a:xfrm>
              <a:off x="6409522" y="2150967"/>
              <a:ext cx="6144" cy="7098"/>
            </a:xfrm>
            <a:custGeom>
              <a:avLst/>
              <a:gdLst/>
              <a:ahLst/>
              <a:cxnLst>
                <a:cxn ang="0">
                  <a:pos x="4" y="7"/>
                </a:cxn>
                <a:cxn ang="0">
                  <a:pos x="5" y="7"/>
                </a:cxn>
                <a:cxn ang="0">
                  <a:pos x="7" y="0"/>
                </a:cxn>
                <a:cxn ang="0">
                  <a:pos x="5" y="1"/>
                </a:cxn>
                <a:cxn ang="0">
                  <a:pos x="3" y="3"/>
                </a:cxn>
                <a:cxn ang="0">
                  <a:pos x="1" y="6"/>
                </a:cxn>
                <a:cxn ang="0">
                  <a:pos x="1" y="6"/>
                </a:cxn>
                <a:cxn ang="0">
                  <a:pos x="0" y="7"/>
                </a:cxn>
                <a:cxn ang="0">
                  <a:pos x="3" y="7"/>
                </a:cxn>
                <a:cxn ang="0">
                  <a:pos x="4" y="7"/>
                </a:cxn>
              </a:cxnLst>
              <a:rect l="0" t="0" r="r" b="b"/>
              <a:pathLst>
                <a:path w="7" h="7">
                  <a:moveTo>
                    <a:pt x="4" y="7"/>
                  </a:moveTo>
                  <a:lnTo>
                    <a:pt x="5" y="7"/>
                  </a:lnTo>
                  <a:lnTo>
                    <a:pt x="7" y="0"/>
                  </a:lnTo>
                  <a:lnTo>
                    <a:pt x="5" y="1"/>
                  </a:lnTo>
                  <a:lnTo>
                    <a:pt x="3" y="3"/>
                  </a:lnTo>
                  <a:lnTo>
                    <a:pt x="1" y="6"/>
                  </a:lnTo>
                  <a:lnTo>
                    <a:pt x="1" y="6"/>
                  </a:lnTo>
                  <a:lnTo>
                    <a:pt x="0" y="7"/>
                  </a:lnTo>
                  <a:lnTo>
                    <a:pt x="3" y="7"/>
                  </a:lnTo>
                  <a:lnTo>
                    <a:pt x="4" y="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5" name="Freeform 114"/>
            <p:cNvSpPr>
              <a:spLocks/>
            </p:cNvSpPr>
            <p:nvPr/>
          </p:nvSpPr>
          <p:spPr bwMode="auto">
            <a:xfrm>
              <a:off x="6283118" y="2663103"/>
              <a:ext cx="38623" cy="29410"/>
            </a:xfrm>
            <a:custGeom>
              <a:avLst/>
              <a:gdLst/>
              <a:ahLst/>
              <a:cxnLst>
                <a:cxn ang="0">
                  <a:pos x="43" y="0"/>
                </a:cxn>
                <a:cxn ang="0">
                  <a:pos x="43" y="0"/>
                </a:cxn>
                <a:cxn ang="0">
                  <a:pos x="43" y="0"/>
                </a:cxn>
                <a:cxn ang="0">
                  <a:pos x="42" y="3"/>
                </a:cxn>
                <a:cxn ang="0">
                  <a:pos x="36" y="16"/>
                </a:cxn>
                <a:cxn ang="0">
                  <a:pos x="36" y="17"/>
                </a:cxn>
                <a:cxn ang="0">
                  <a:pos x="37" y="17"/>
                </a:cxn>
                <a:cxn ang="0">
                  <a:pos x="39" y="22"/>
                </a:cxn>
                <a:cxn ang="0">
                  <a:pos x="36" y="29"/>
                </a:cxn>
                <a:cxn ang="0">
                  <a:pos x="30" y="28"/>
                </a:cxn>
                <a:cxn ang="0">
                  <a:pos x="24" y="23"/>
                </a:cxn>
                <a:cxn ang="0">
                  <a:pos x="17" y="20"/>
                </a:cxn>
                <a:cxn ang="0">
                  <a:pos x="8" y="15"/>
                </a:cxn>
                <a:cxn ang="0">
                  <a:pos x="1" y="12"/>
                </a:cxn>
                <a:cxn ang="0">
                  <a:pos x="0" y="10"/>
                </a:cxn>
                <a:cxn ang="0">
                  <a:pos x="0" y="7"/>
                </a:cxn>
                <a:cxn ang="0">
                  <a:pos x="0" y="4"/>
                </a:cxn>
                <a:cxn ang="0">
                  <a:pos x="1" y="3"/>
                </a:cxn>
                <a:cxn ang="0">
                  <a:pos x="1" y="1"/>
                </a:cxn>
                <a:cxn ang="0">
                  <a:pos x="4" y="4"/>
                </a:cxn>
                <a:cxn ang="0">
                  <a:pos x="6" y="3"/>
                </a:cxn>
                <a:cxn ang="0">
                  <a:pos x="10" y="1"/>
                </a:cxn>
                <a:cxn ang="0">
                  <a:pos x="16" y="4"/>
                </a:cxn>
                <a:cxn ang="0">
                  <a:pos x="16" y="6"/>
                </a:cxn>
                <a:cxn ang="0">
                  <a:pos x="30" y="3"/>
                </a:cxn>
                <a:cxn ang="0">
                  <a:pos x="32" y="1"/>
                </a:cxn>
                <a:cxn ang="0">
                  <a:pos x="37" y="1"/>
                </a:cxn>
                <a:cxn ang="0">
                  <a:pos x="39" y="1"/>
                </a:cxn>
                <a:cxn ang="0">
                  <a:pos x="42" y="0"/>
                </a:cxn>
                <a:cxn ang="0">
                  <a:pos x="43" y="0"/>
                </a:cxn>
              </a:cxnLst>
              <a:rect l="0" t="0" r="r" b="b"/>
              <a:pathLst>
                <a:path w="43" h="29">
                  <a:moveTo>
                    <a:pt x="43" y="0"/>
                  </a:moveTo>
                  <a:lnTo>
                    <a:pt x="43" y="0"/>
                  </a:lnTo>
                  <a:lnTo>
                    <a:pt x="43" y="0"/>
                  </a:lnTo>
                  <a:lnTo>
                    <a:pt x="42" y="3"/>
                  </a:lnTo>
                  <a:lnTo>
                    <a:pt x="36" y="16"/>
                  </a:lnTo>
                  <a:lnTo>
                    <a:pt x="36" y="17"/>
                  </a:lnTo>
                  <a:lnTo>
                    <a:pt x="37" y="17"/>
                  </a:lnTo>
                  <a:lnTo>
                    <a:pt x="39" y="22"/>
                  </a:lnTo>
                  <a:lnTo>
                    <a:pt x="36" y="29"/>
                  </a:lnTo>
                  <a:lnTo>
                    <a:pt x="30" y="28"/>
                  </a:lnTo>
                  <a:lnTo>
                    <a:pt x="24" y="23"/>
                  </a:lnTo>
                  <a:lnTo>
                    <a:pt x="17" y="20"/>
                  </a:lnTo>
                  <a:lnTo>
                    <a:pt x="8" y="15"/>
                  </a:lnTo>
                  <a:lnTo>
                    <a:pt x="1" y="12"/>
                  </a:lnTo>
                  <a:lnTo>
                    <a:pt x="0" y="10"/>
                  </a:lnTo>
                  <a:lnTo>
                    <a:pt x="0" y="7"/>
                  </a:lnTo>
                  <a:lnTo>
                    <a:pt x="0" y="4"/>
                  </a:lnTo>
                  <a:lnTo>
                    <a:pt x="1" y="3"/>
                  </a:lnTo>
                  <a:lnTo>
                    <a:pt x="1" y="1"/>
                  </a:lnTo>
                  <a:lnTo>
                    <a:pt x="4" y="4"/>
                  </a:lnTo>
                  <a:lnTo>
                    <a:pt x="6" y="3"/>
                  </a:lnTo>
                  <a:lnTo>
                    <a:pt x="10" y="1"/>
                  </a:lnTo>
                  <a:lnTo>
                    <a:pt x="16" y="4"/>
                  </a:lnTo>
                  <a:lnTo>
                    <a:pt x="16" y="6"/>
                  </a:lnTo>
                  <a:lnTo>
                    <a:pt x="30" y="3"/>
                  </a:lnTo>
                  <a:lnTo>
                    <a:pt x="32" y="1"/>
                  </a:lnTo>
                  <a:lnTo>
                    <a:pt x="37" y="1"/>
                  </a:lnTo>
                  <a:lnTo>
                    <a:pt x="39" y="1"/>
                  </a:lnTo>
                  <a:lnTo>
                    <a:pt x="42" y="0"/>
                  </a:lnTo>
                  <a:lnTo>
                    <a:pt x="4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6" name="Freeform 115"/>
            <p:cNvSpPr>
              <a:spLocks/>
            </p:cNvSpPr>
            <p:nvPr/>
          </p:nvSpPr>
          <p:spPr bwMode="auto">
            <a:xfrm>
              <a:off x="6283118" y="2663103"/>
              <a:ext cx="38623" cy="29410"/>
            </a:xfrm>
            <a:custGeom>
              <a:avLst/>
              <a:gdLst/>
              <a:ahLst/>
              <a:cxnLst>
                <a:cxn ang="0">
                  <a:pos x="43" y="0"/>
                </a:cxn>
                <a:cxn ang="0">
                  <a:pos x="43" y="0"/>
                </a:cxn>
                <a:cxn ang="0">
                  <a:pos x="43" y="0"/>
                </a:cxn>
                <a:cxn ang="0">
                  <a:pos x="42" y="3"/>
                </a:cxn>
                <a:cxn ang="0">
                  <a:pos x="36" y="16"/>
                </a:cxn>
                <a:cxn ang="0">
                  <a:pos x="36" y="17"/>
                </a:cxn>
                <a:cxn ang="0">
                  <a:pos x="37" y="17"/>
                </a:cxn>
                <a:cxn ang="0">
                  <a:pos x="39" y="22"/>
                </a:cxn>
                <a:cxn ang="0">
                  <a:pos x="36" y="29"/>
                </a:cxn>
                <a:cxn ang="0">
                  <a:pos x="30" y="28"/>
                </a:cxn>
                <a:cxn ang="0">
                  <a:pos x="24" y="23"/>
                </a:cxn>
                <a:cxn ang="0">
                  <a:pos x="17" y="20"/>
                </a:cxn>
                <a:cxn ang="0">
                  <a:pos x="8" y="15"/>
                </a:cxn>
                <a:cxn ang="0">
                  <a:pos x="1" y="12"/>
                </a:cxn>
                <a:cxn ang="0">
                  <a:pos x="0" y="10"/>
                </a:cxn>
                <a:cxn ang="0">
                  <a:pos x="0" y="7"/>
                </a:cxn>
                <a:cxn ang="0">
                  <a:pos x="0" y="4"/>
                </a:cxn>
                <a:cxn ang="0">
                  <a:pos x="1" y="3"/>
                </a:cxn>
                <a:cxn ang="0">
                  <a:pos x="1" y="1"/>
                </a:cxn>
                <a:cxn ang="0">
                  <a:pos x="4" y="4"/>
                </a:cxn>
                <a:cxn ang="0">
                  <a:pos x="6" y="3"/>
                </a:cxn>
                <a:cxn ang="0">
                  <a:pos x="10" y="1"/>
                </a:cxn>
                <a:cxn ang="0">
                  <a:pos x="16" y="4"/>
                </a:cxn>
                <a:cxn ang="0">
                  <a:pos x="16" y="6"/>
                </a:cxn>
                <a:cxn ang="0">
                  <a:pos x="30" y="3"/>
                </a:cxn>
                <a:cxn ang="0">
                  <a:pos x="32" y="1"/>
                </a:cxn>
                <a:cxn ang="0">
                  <a:pos x="37" y="1"/>
                </a:cxn>
                <a:cxn ang="0">
                  <a:pos x="39" y="1"/>
                </a:cxn>
                <a:cxn ang="0">
                  <a:pos x="42" y="0"/>
                </a:cxn>
                <a:cxn ang="0">
                  <a:pos x="43" y="0"/>
                </a:cxn>
              </a:cxnLst>
              <a:rect l="0" t="0" r="r" b="b"/>
              <a:pathLst>
                <a:path w="43" h="29">
                  <a:moveTo>
                    <a:pt x="43" y="0"/>
                  </a:moveTo>
                  <a:lnTo>
                    <a:pt x="43" y="0"/>
                  </a:lnTo>
                  <a:lnTo>
                    <a:pt x="43" y="0"/>
                  </a:lnTo>
                  <a:lnTo>
                    <a:pt x="42" y="3"/>
                  </a:lnTo>
                  <a:lnTo>
                    <a:pt x="36" y="16"/>
                  </a:lnTo>
                  <a:lnTo>
                    <a:pt x="36" y="17"/>
                  </a:lnTo>
                  <a:lnTo>
                    <a:pt x="37" y="17"/>
                  </a:lnTo>
                  <a:lnTo>
                    <a:pt x="39" y="22"/>
                  </a:lnTo>
                  <a:lnTo>
                    <a:pt x="36" y="29"/>
                  </a:lnTo>
                  <a:lnTo>
                    <a:pt x="30" y="28"/>
                  </a:lnTo>
                  <a:lnTo>
                    <a:pt x="24" y="23"/>
                  </a:lnTo>
                  <a:lnTo>
                    <a:pt x="17" y="20"/>
                  </a:lnTo>
                  <a:lnTo>
                    <a:pt x="8" y="15"/>
                  </a:lnTo>
                  <a:lnTo>
                    <a:pt x="1" y="12"/>
                  </a:lnTo>
                  <a:lnTo>
                    <a:pt x="0" y="10"/>
                  </a:lnTo>
                  <a:lnTo>
                    <a:pt x="0" y="7"/>
                  </a:lnTo>
                  <a:lnTo>
                    <a:pt x="0" y="4"/>
                  </a:lnTo>
                  <a:lnTo>
                    <a:pt x="1" y="3"/>
                  </a:lnTo>
                  <a:lnTo>
                    <a:pt x="1" y="1"/>
                  </a:lnTo>
                  <a:lnTo>
                    <a:pt x="4" y="4"/>
                  </a:lnTo>
                  <a:lnTo>
                    <a:pt x="6" y="3"/>
                  </a:lnTo>
                  <a:lnTo>
                    <a:pt x="10" y="1"/>
                  </a:lnTo>
                  <a:lnTo>
                    <a:pt x="16" y="4"/>
                  </a:lnTo>
                  <a:lnTo>
                    <a:pt x="16" y="6"/>
                  </a:lnTo>
                  <a:lnTo>
                    <a:pt x="30" y="3"/>
                  </a:lnTo>
                  <a:lnTo>
                    <a:pt x="32" y="1"/>
                  </a:lnTo>
                  <a:lnTo>
                    <a:pt x="37" y="1"/>
                  </a:lnTo>
                  <a:lnTo>
                    <a:pt x="39" y="1"/>
                  </a:lnTo>
                  <a:lnTo>
                    <a:pt x="42" y="0"/>
                  </a:lnTo>
                  <a:lnTo>
                    <a:pt x="4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7" name="Freeform 116"/>
            <p:cNvSpPr>
              <a:spLocks/>
            </p:cNvSpPr>
            <p:nvPr/>
          </p:nvSpPr>
          <p:spPr bwMode="auto">
            <a:xfrm>
              <a:off x="6226939" y="2605298"/>
              <a:ext cx="18433" cy="46651"/>
            </a:xfrm>
            <a:custGeom>
              <a:avLst/>
              <a:gdLst/>
              <a:ahLst/>
              <a:cxnLst>
                <a:cxn ang="0">
                  <a:pos x="13" y="0"/>
                </a:cxn>
                <a:cxn ang="0">
                  <a:pos x="16" y="1"/>
                </a:cxn>
                <a:cxn ang="0">
                  <a:pos x="16" y="1"/>
                </a:cxn>
                <a:cxn ang="0">
                  <a:pos x="17" y="3"/>
                </a:cxn>
                <a:cxn ang="0">
                  <a:pos x="20" y="10"/>
                </a:cxn>
                <a:cxn ang="0">
                  <a:pos x="20" y="35"/>
                </a:cxn>
                <a:cxn ang="0">
                  <a:pos x="19" y="36"/>
                </a:cxn>
                <a:cxn ang="0">
                  <a:pos x="19" y="38"/>
                </a:cxn>
                <a:cxn ang="0">
                  <a:pos x="17" y="39"/>
                </a:cxn>
                <a:cxn ang="0">
                  <a:pos x="14" y="39"/>
                </a:cxn>
                <a:cxn ang="0">
                  <a:pos x="13" y="39"/>
                </a:cxn>
                <a:cxn ang="0">
                  <a:pos x="11" y="42"/>
                </a:cxn>
                <a:cxn ang="0">
                  <a:pos x="10" y="43"/>
                </a:cxn>
                <a:cxn ang="0">
                  <a:pos x="7" y="45"/>
                </a:cxn>
                <a:cxn ang="0">
                  <a:pos x="3" y="39"/>
                </a:cxn>
                <a:cxn ang="0">
                  <a:pos x="3" y="36"/>
                </a:cxn>
                <a:cxn ang="0">
                  <a:pos x="3" y="35"/>
                </a:cxn>
                <a:cxn ang="0">
                  <a:pos x="3" y="33"/>
                </a:cxn>
                <a:cxn ang="0">
                  <a:pos x="3" y="27"/>
                </a:cxn>
                <a:cxn ang="0">
                  <a:pos x="4" y="27"/>
                </a:cxn>
                <a:cxn ang="0">
                  <a:pos x="4" y="26"/>
                </a:cxn>
                <a:cxn ang="0">
                  <a:pos x="3" y="24"/>
                </a:cxn>
                <a:cxn ang="0">
                  <a:pos x="3" y="17"/>
                </a:cxn>
                <a:cxn ang="0">
                  <a:pos x="1" y="13"/>
                </a:cxn>
                <a:cxn ang="0">
                  <a:pos x="1" y="13"/>
                </a:cxn>
                <a:cxn ang="0">
                  <a:pos x="0" y="13"/>
                </a:cxn>
                <a:cxn ang="0">
                  <a:pos x="0" y="11"/>
                </a:cxn>
                <a:cxn ang="0">
                  <a:pos x="0" y="6"/>
                </a:cxn>
                <a:cxn ang="0">
                  <a:pos x="0" y="6"/>
                </a:cxn>
                <a:cxn ang="0">
                  <a:pos x="1" y="9"/>
                </a:cxn>
                <a:cxn ang="0">
                  <a:pos x="4" y="7"/>
                </a:cxn>
                <a:cxn ang="0">
                  <a:pos x="10" y="3"/>
                </a:cxn>
                <a:cxn ang="0">
                  <a:pos x="11" y="1"/>
                </a:cxn>
                <a:cxn ang="0">
                  <a:pos x="13" y="0"/>
                </a:cxn>
              </a:cxnLst>
              <a:rect l="0" t="0" r="r" b="b"/>
              <a:pathLst>
                <a:path w="20" h="45">
                  <a:moveTo>
                    <a:pt x="13" y="0"/>
                  </a:moveTo>
                  <a:lnTo>
                    <a:pt x="16" y="1"/>
                  </a:lnTo>
                  <a:lnTo>
                    <a:pt x="16" y="1"/>
                  </a:lnTo>
                  <a:lnTo>
                    <a:pt x="17" y="3"/>
                  </a:lnTo>
                  <a:lnTo>
                    <a:pt x="20" y="10"/>
                  </a:lnTo>
                  <a:lnTo>
                    <a:pt x="20" y="35"/>
                  </a:lnTo>
                  <a:lnTo>
                    <a:pt x="19" y="36"/>
                  </a:lnTo>
                  <a:lnTo>
                    <a:pt x="19" y="38"/>
                  </a:lnTo>
                  <a:lnTo>
                    <a:pt x="17" y="39"/>
                  </a:lnTo>
                  <a:lnTo>
                    <a:pt x="14" y="39"/>
                  </a:lnTo>
                  <a:lnTo>
                    <a:pt x="13" y="39"/>
                  </a:lnTo>
                  <a:lnTo>
                    <a:pt x="11" y="42"/>
                  </a:lnTo>
                  <a:lnTo>
                    <a:pt x="10" y="43"/>
                  </a:lnTo>
                  <a:lnTo>
                    <a:pt x="7" y="45"/>
                  </a:lnTo>
                  <a:lnTo>
                    <a:pt x="3" y="39"/>
                  </a:lnTo>
                  <a:lnTo>
                    <a:pt x="3" y="36"/>
                  </a:lnTo>
                  <a:lnTo>
                    <a:pt x="3" y="35"/>
                  </a:lnTo>
                  <a:lnTo>
                    <a:pt x="3" y="33"/>
                  </a:lnTo>
                  <a:lnTo>
                    <a:pt x="3" y="27"/>
                  </a:lnTo>
                  <a:lnTo>
                    <a:pt x="4" y="27"/>
                  </a:lnTo>
                  <a:lnTo>
                    <a:pt x="4" y="26"/>
                  </a:lnTo>
                  <a:lnTo>
                    <a:pt x="3" y="24"/>
                  </a:lnTo>
                  <a:lnTo>
                    <a:pt x="3" y="17"/>
                  </a:lnTo>
                  <a:lnTo>
                    <a:pt x="1" y="13"/>
                  </a:lnTo>
                  <a:lnTo>
                    <a:pt x="1" y="13"/>
                  </a:lnTo>
                  <a:lnTo>
                    <a:pt x="0" y="13"/>
                  </a:lnTo>
                  <a:lnTo>
                    <a:pt x="0" y="11"/>
                  </a:lnTo>
                  <a:lnTo>
                    <a:pt x="0" y="6"/>
                  </a:lnTo>
                  <a:lnTo>
                    <a:pt x="0" y="6"/>
                  </a:lnTo>
                  <a:lnTo>
                    <a:pt x="1" y="9"/>
                  </a:lnTo>
                  <a:lnTo>
                    <a:pt x="4" y="7"/>
                  </a:lnTo>
                  <a:lnTo>
                    <a:pt x="10" y="3"/>
                  </a:lnTo>
                  <a:lnTo>
                    <a:pt x="11" y="1"/>
                  </a:lnTo>
                  <a:lnTo>
                    <a:pt x="1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8" name="Freeform 117"/>
            <p:cNvSpPr>
              <a:spLocks/>
            </p:cNvSpPr>
            <p:nvPr/>
          </p:nvSpPr>
          <p:spPr bwMode="auto">
            <a:xfrm>
              <a:off x="6226939" y="2605298"/>
              <a:ext cx="18433" cy="46651"/>
            </a:xfrm>
            <a:custGeom>
              <a:avLst/>
              <a:gdLst/>
              <a:ahLst/>
              <a:cxnLst>
                <a:cxn ang="0">
                  <a:pos x="13" y="0"/>
                </a:cxn>
                <a:cxn ang="0">
                  <a:pos x="16" y="1"/>
                </a:cxn>
                <a:cxn ang="0">
                  <a:pos x="16" y="1"/>
                </a:cxn>
                <a:cxn ang="0">
                  <a:pos x="17" y="3"/>
                </a:cxn>
                <a:cxn ang="0">
                  <a:pos x="20" y="10"/>
                </a:cxn>
                <a:cxn ang="0">
                  <a:pos x="20" y="35"/>
                </a:cxn>
                <a:cxn ang="0">
                  <a:pos x="19" y="36"/>
                </a:cxn>
                <a:cxn ang="0">
                  <a:pos x="19" y="38"/>
                </a:cxn>
                <a:cxn ang="0">
                  <a:pos x="17" y="39"/>
                </a:cxn>
                <a:cxn ang="0">
                  <a:pos x="14" y="39"/>
                </a:cxn>
                <a:cxn ang="0">
                  <a:pos x="13" y="39"/>
                </a:cxn>
                <a:cxn ang="0">
                  <a:pos x="11" y="42"/>
                </a:cxn>
                <a:cxn ang="0">
                  <a:pos x="10" y="43"/>
                </a:cxn>
                <a:cxn ang="0">
                  <a:pos x="7" y="45"/>
                </a:cxn>
                <a:cxn ang="0">
                  <a:pos x="3" y="39"/>
                </a:cxn>
                <a:cxn ang="0">
                  <a:pos x="3" y="36"/>
                </a:cxn>
                <a:cxn ang="0">
                  <a:pos x="3" y="35"/>
                </a:cxn>
                <a:cxn ang="0">
                  <a:pos x="3" y="33"/>
                </a:cxn>
                <a:cxn ang="0">
                  <a:pos x="3" y="27"/>
                </a:cxn>
                <a:cxn ang="0">
                  <a:pos x="4" y="27"/>
                </a:cxn>
                <a:cxn ang="0">
                  <a:pos x="4" y="26"/>
                </a:cxn>
                <a:cxn ang="0">
                  <a:pos x="3" y="24"/>
                </a:cxn>
                <a:cxn ang="0">
                  <a:pos x="3" y="17"/>
                </a:cxn>
                <a:cxn ang="0">
                  <a:pos x="1" y="13"/>
                </a:cxn>
                <a:cxn ang="0">
                  <a:pos x="1" y="13"/>
                </a:cxn>
                <a:cxn ang="0">
                  <a:pos x="0" y="13"/>
                </a:cxn>
                <a:cxn ang="0">
                  <a:pos x="0" y="11"/>
                </a:cxn>
                <a:cxn ang="0">
                  <a:pos x="0" y="6"/>
                </a:cxn>
                <a:cxn ang="0">
                  <a:pos x="0" y="6"/>
                </a:cxn>
                <a:cxn ang="0">
                  <a:pos x="1" y="9"/>
                </a:cxn>
                <a:cxn ang="0">
                  <a:pos x="4" y="7"/>
                </a:cxn>
                <a:cxn ang="0">
                  <a:pos x="10" y="3"/>
                </a:cxn>
                <a:cxn ang="0">
                  <a:pos x="11" y="1"/>
                </a:cxn>
                <a:cxn ang="0">
                  <a:pos x="13" y="0"/>
                </a:cxn>
              </a:cxnLst>
              <a:rect l="0" t="0" r="r" b="b"/>
              <a:pathLst>
                <a:path w="20" h="45">
                  <a:moveTo>
                    <a:pt x="13" y="0"/>
                  </a:moveTo>
                  <a:lnTo>
                    <a:pt x="16" y="1"/>
                  </a:lnTo>
                  <a:lnTo>
                    <a:pt x="16" y="1"/>
                  </a:lnTo>
                  <a:lnTo>
                    <a:pt x="17" y="3"/>
                  </a:lnTo>
                  <a:lnTo>
                    <a:pt x="20" y="10"/>
                  </a:lnTo>
                  <a:lnTo>
                    <a:pt x="20" y="35"/>
                  </a:lnTo>
                  <a:lnTo>
                    <a:pt x="19" y="36"/>
                  </a:lnTo>
                  <a:lnTo>
                    <a:pt x="19" y="38"/>
                  </a:lnTo>
                  <a:lnTo>
                    <a:pt x="17" y="39"/>
                  </a:lnTo>
                  <a:lnTo>
                    <a:pt x="14" y="39"/>
                  </a:lnTo>
                  <a:lnTo>
                    <a:pt x="13" y="39"/>
                  </a:lnTo>
                  <a:lnTo>
                    <a:pt x="11" y="42"/>
                  </a:lnTo>
                  <a:lnTo>
                    <a:pt x="10" y="43"/>
                  </a:lnTo>
                  <a:lnTo>
                    <a:pt x="7" y="45"/>
                  </a:lnTo>
                  <a:lnTo>
                    <a:pt x="3" y="39"/>
                  </a:lnTo>
                  <a:lnTo>
                    <a:pt x="3" y="36"/>
                  </a:lnTo>
                  <a:lnTo>
                    <a:pt x="3" y="35"/>
                  </a:lnTo>
                  <a:lnTo>
                    <a:pt x="3" y="33"/>
                  </a:lnTo>
                  <a:lnTo>
                    <a:pt x="3" y="27"/>
                  </a:lnTo>
                  <a:lnTo>
                    <a:pt x="4" y="27"/>
                  </a:lnTo>
                  <a:lnTo>
                    <a:pt x="4" y="26"/>
                  </a:lnTo>
                  <a:lnTo>
                    <a:pt x="3" y="24"/>
                  </a:lnTo>
                  <a:lnTo>
                    <a:pt x="3" y="17"/>
                  </a:lnTo>
                  <a:lnTo>
                    <a:pt x="1" y="13"/>
                  </a:lnTo>
                  <a:lnTo>
                    <a:pt x="1" y="13"/>
                  </a:lnTo>
                  <a:lnTo>
                    <a:pt x="0" y="13"/>
                  </a:lnTo>
                  <a:lnTo>
                    <a:pt x="0" y="11"/>
                  </a:lnTo>
                  <a:lnTo>
                    <a:pt x="0" y="6"/>
                  </a:lnTo>
                  <a:lnTo>
                    <a:pt x="0" y="6"/>
                  </a:lnTo>
                  <a:lnTo>
                    <a:pt x="1" y="9"/>
                  </a:lnTo>
                  <a:lnTo>
                    <a:pt x="4" y="7"/>
                  </a:lnTo>
                  <a:lnTo>
                    <a:pt x="10" y="3"/>
                  </a:lnTo>
                  <a:lnTo>
                    <a:pt x="11" y="1"/>
                  </a:lnTo>
                  <a:lnTo>
                    <a:pt x="1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9" name="Freeform 118"/>
            <p:cNvSpPr>
              <a:spLocks/>
            </p:cNvSpPr>
            <p:nvPr/>
          </p:nvSpPr>
          <p:spPr bwMode="auto">
            <a:xfrm>
              <a:off x="6438488" y="2614426"/>
              <a:ext cx="3511" cy="4057"/>
            </a:xfrm>
            <a:custGeom>
              <a:avLst/>
              <a:gdLst/>
              <a:ahLst/>
              <a:cxnLst>
                <a:cxn ang="0">
                  <a:pos x="3" y="4"/>
                </a:cxn>
                <a:cxn ang="0">
                  <a:pos x="4" y="2"/>
                </a:cxn>
                <a:cxn ang="0">
                  <a:pos x="4" y="2"/>
                </a:cxn>
                <a:cxn ang="0">
                  <a:pos x="4" y="1"/>
                </a:cxn>
                <a:cxn ang="0">
                  <a:pos x="3" y="0"/>
                </a:cxn>
                <a:cxn ang="0">
                  <a:pos x="0" y="2"/>
                </a:cxn>
                <a:cxn ang="0">
                  <a:pos x="1" y="4"/>
                </a:cxn>
                <a:cxn ang="0">
                  <a:pos x="3" y="4"/>
                </a:cxn>
                <a:cxn ang="0">
                  <a:pos x="3" y="4"/>
                </a:cxn>
              </a:cxnLst>
              <a:rect l="0" t="0" r="r" b="b"/>
              <a:pathLst>
                <a:path w="4" h="4">
                  <a:moveTo>
                    <a:pt x="3" y="4"/>
                  </a:moveTo>
                  <a:lnTo>
                    <a:pt x="4" y="2"/>
                  </a:lnTo>
                  <a:lnTo>
                    <a:pt x="4" y="2"/>
                  </a:lnTo>
                  <a:lnTo>
                    <a:pt x="4" y="1"/>
                  </a:lnTo>
                  <a:lnTo>
                    <a:pt x="3" y="0"/>
                  </a:lnTo>
                  <a:lnTo>
                    <a:pt x="0" y="2"/>
                  </a:lnTo>
                  <a:lnTo>
                    <a:pt x="1" y="4"/>
                  </a:lnTo>
                  <a:lnTo>
                    <a:pt x="3" y="4"/>
                  </a:lnTo>
                  <a:lnTo>
                    <a:pt x="3"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0" name="Freeform 119"/>
            <p:cNvSpPr>
              <a:spLocks/>
            </p:cNvSpPr>
            <p:nvPr/>
          </p:nvSpPr>
          <p:spPr bwMode="auto">
            <a:xfrm>
              <a:off x="6438488" y="2614426"/>
              <a:ext cx="3511" cy="4057"/>
            </a:xfrm>
            <a:custGeom>
              <a:avLst/>
              <a:gdLst/>
              <a:ahLst/>
              <a:cxnLst>
                <a:cxn ang="0">
                  <a:pos x="3" y="4"/>
                </a:cxn>
                <a:cxn ang="0">
                  <a:pos x="4" y="2"/>
                </a:cxn>
                <a:cxn ang="0">
                  <a:pos x="4" y="2"/>
                </a:cxn>
                <a:cxn ang="0">
                  <a:pos x="4" y="1"/>
                </a:cxn>
                <a:cxn ang="0">
                  <a:pos x="3" y="0"/>
                </a:cxn>
                <a:cxn ang="0">
                  <a:pos x="0" y="2"/>
                </a:cxn>
                <a:cxn ang="0">
                  <a:pos x="1" y="4"/>
                </a:cxn>
                <a:cxn ang="0">
                  <a:pos x="3" y="4"/>
                </a:cxn>
                <a:cxn ang="0">
                  <a:pos x="3" y="4"/>
                </a:cxn>
              </a:cxnLst>
              <a:rect l="0" t="0" r="r" b="b"/>
              <a:pathLst>
                <a:path w="4" h="4">
                  <a:moveTo>
                    <a:pt x="3" y="4"/>
                  </a:moveTo>
                  <a:lnTo>
                    <a:pt x="4" y="2"/>
                  </a:lnTo>
                  <a:lnTo>
                    <a:pt x="4" y="2"/>
                  </a:lnTo>
                  <a:lnTo>
                    <a:pt x="4" y="1"/>
                  </a:lnTo>
                  <a:lnTo>
                    <a:pt x="3" y="0"/>
                  </a:lnTo>
                  <a:lnTo>
                    <a:pt x="0" y="2"/>
                  </a:lnTo>
                  <a:lnTo>
                    <a:pt x="1" y="4"/>
                  </a:lnTo>
                  <a:lnTo>
                    <a:pt x="3" y="4"/>
                  </a:lnTo>
                  <a:lnTo>
                    <a:pt x="3"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1" name="Freeform 120"/>
            <p:cNvSpPr>
              <a:spLocks/>
            </p:cNvSpPr>
            <p:nvPr/>
          </p:nvSpPr>
          <p:spPr bwMode="auto">
            <a:xfrm>
              <a:off x="6444634" y="2630651"/>
              <a:ext cx="6144" cy="3043"/>
            </a:xfrm>
            <a:custGeom>
              <a:avLst/>
              <a:gdLst/>
              <a:ahLst/>
              <a:cxnLst>
                <a:cxn ang="0">
                  <a:pos x="6" y="2"/>
                </a:cxn>
                <a:cxn ang="0">
                  <a:pos x="4" y="2"/>
                </a:cxn>
                <a:cxn ang="0">
                  <a:pos x="4" y="0"/>
                </a:cxn>
                <a:cxn ang="0">
                  <a:pos x="3" y="0"/>
                </a:cxn>
                <a:cxn ang="0">
                  <a:pos x="1" y="0"/>
                </a:cxn>
                <a:cxn ang="0">
                  <a:pos x="0" y="3"/>
                </a:cxn>
                <a:cxn ang="0">
                  <a:pos x="1" y="3"/>
                </a:cxn>
                <a:cxn ang="0">
                  <a:pos x="3" y="3"/>
                </a:cxn>
                <a:cxn ang="0">
                  <a:pos x="4" y="3"/>
                </a:cxn>
                <a:cxn ang="0">
                  <a:pos x="6" y="2"/>
                </a:cxn>
              </a:cxnLst>
              <a:rect l="0" t="0" r="r" b="b"/>
              <a:pathLst>
                <a:path w="6" h="3">
                  <a:moveTo>
                    <a:pt x="6" y="2"/>
                  </a:moveTo>
                  <a:lnTo>
                    <a:pt x="4" y="2"/>
                  </a:lnTo>
                  <a:lnTo>
                    <a:pt x="4" y="0"/>
                  </a:lnTo>
                  <a:lnTo>
                    <a:pt x="3" y="0"/>
                  </a:lnTo>
                  <a:lnTo>
                    <a:pt x="1" y="0"/>
                  </a:lnTo>
                  <a:lnTo>
                    <a:pt x="0" y="3"/>
                  </a:lnTo>
                  <a:lnTo>
                    <a:pt x="1" y="3"/>
                  </a:lnTo>
                  <a:lnTo>
                    <a:pt x="3" y="3"/>
                  </a:lnTo>
                  <a:lnTo>
                    <a:pt x="4" y="3"/>
                  </a:lnTo>
                  <a:lnTo>
                    <a:pt x="6"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2" name="Freeform 121"/>
            <p:cNvSpPr>
              <a:spLocks/>
            </p:cNvSpPr>
            <p:nvPr/>
          </p:nvSpPr>
          <p:spPr bwMode="auto">
            <a:xfrm>
              <a:off x="6444634" y="2630651"/>
              <a:ext cx="6144" cy="3043"/>
            </a:xfrm>
            <a:custGeom>
              <a:avLst/>
              <a:gdLst/>
              <a:ahLst/>
              <a:cxnLst>
                <a:cxn ang="0">
                  <a:pos x="6" y="2"/>
                </a:cxn>
                <a:cxn ang="0">
                  <a:pos x="4" y="2"/>
                </a:cxn>
                <a:cxn ang="0">
                  <a:pos x="4" y="0"/>
                </a:cxn>
                <a:cxn ang="0">
                  <a:pos x="3" y="0"/>
                </a:cxn>
                <a:cxn ang="0">
                  <a:pos x="1" y="0"/>
                </a:cxn>
                <a:cxn ang="0">
                  <a:pos x="0" y="3"/>
                </a:cxn>
                <a:cxn ang="0">
                  <a:pos x="1" y="3"/>
                </a:cxn>
                <a:cxn ang="0">
                  <a:pos x="3" y="3"/>
                </a:cxn>
                <a:cxn ang="0">
                  <a:pos x="4" y="3"/>
                </a:cxn>
                <a:cxn ang="0">
                  <a:pos x="6" y="2"/>
                </a:cxn>
              </a:cxnLst>
              <a:rect l="0" t="0" r="r" b="b"/>
              <a:pathLst>
                <a:path w="6" h="3">
                  <a:moveTo>
                    <a:pt x="6" y="2"/>
                  </a:moveTo>
                  <a:lnTo>
                    <a:pt x="4" y="2"/>
                  </a:lnTo>
                  <a:lnTo>
                    <a:pt x="4" y="0"/>
                  </a:lnTo>
                  <a:lnTo>
                    <a:pt x="3" y="0"/>
                  </a:lnTo>
                  <a:lnTo>
                    <a:pt x="1" y="0"/>
                  </a:lnTo>
                  <a:lnTo>
                    <a:pt x="0" y="3"/>
                  </a:lnTo>
                  <a:lnTo>
                    <a:pt x="1" y="3"/>
                  </a:lnTo>
                  <a:lnTo>
                    <a:pt x="3" y="3"/>
                  </a:lnTo>
                  <a:lnTo>
                    <a:pt x="4" y="3"/>
                  </a:lnTo>
                  <a:lnTo>
                    <a:pt x="6"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3" name="Freeform 122"/>
            <p:cNvSpPr>
              <a:spLocks/>
            </p:cNvSpPr>
            <p:nvPr/>
          </p:nvSpPr>
          <p:spPr bwMode="auto">
            <a:xfrm>
              <a:off x="6456922" y="2641807"/>
              <a:ext cx="8777" cy="7098"/>
            </a:xfrm>
            <a:custGeom>
              <a:avLst/>
              <a:gdLst/>
              <a:ahLst/>
              <a:cxnLst>
                <a:cxn ang="0">
                  <a:pos x="9" y="5"/>
                </a:cxn>
                <a:cxn ang="0">
                  <a:pos x="10" y="7"/>
                </a:cxn>
                <a:cxn ang="0">
                  <a:pos x="7" y="0"/>
                </a:cxn>
                <a:cxn ang="0">
                  <a:pos x="0" y="3"/>
                </a:cxn>
                <a:cxn ang="0">
                  <a:pos x="0" y="4"/>
                </a:cxn>
                <a:cxn ang="0">
                  <a:pos x="1" y="5"/>
                </a:cxn>
                <a:cxn ang="0">
                  <a:pos x="3" y="4"/>
                </a:cxn>
                <a:cxn ang="0">
                  <a:pos x="4" y="4"/>
                </a:cxn>
                <a:cxn ang="0">
                  <a:pos x="4" y="5"/>
                </a:cxn>
                <a:cxn ang="0">
                  <a:pos x="6" y="7"/>
                </a:cxn>
                <a:cxn ang="0">
                  <a:pos x="9" y="5"/>
                </a:cxn>
                <a:cxn ang="0">
                  <a:pos x="9" y="5"/>
                </a:cxn>
                <a:cxn ang="0">
                  <a:pos x="9" y="5"/>
                </a:cxn>
              </a:cxnLst>
              <a:rect l="0" t="0" r="r" b="b"/>
              <a:pathLst>
                <a:path w="10" h="7">
                  <a:moveTo>
                    <a:pt x="9" y="5"/>
                  </a:moveTo>
                  <a:lnTo>
                    <a:pt x="10" y="7"/>
                  </a:lnTo>
                  <a:lnTo>
                    <a:pt x="7" y="0"/>
                  </a:lnTo>
                  <a:lnTo>
                    <a:pt x="0" y="3"/>
                  </a:lnTo>
                  <a:lnTo>
                    <a:pt x="0" y="4"/>
                  </a:lnTo>
                  <a:lnTo>
                    <a:pt x="1" y="5"/>
                  </a:lnTo>
                  <a:lnTo>
                    <a:pt x="3" y="4"/>
                  </a:lnTo>
                  <a:lnTo>
                    <a:pt x="4" y="4"/>
                  </a:lnTo>
                  <a:lnTo>
                    <a:pt x="4" y="5"/>
                  </a:lnTo>
                  <a:lnTo>
                    <a:pt x="6" y="7"/>
                  </a:lnTo>
                  <a:lnTo>
                    <a:pt x="9" y="5"/>
                  </a:lnTo>
                  <a:lnTo>
                    <a:pt x="9" y="5"/>
                  </a:lnTo>
                  <a:lnTo>
                    <a:pt x="9" y="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4" name="Freeform 123"/>
            <p:cNvSpPr>
              <a:spLocks/>
            </p:cNvSpPr>
            <p:nvPr/>
          </p:nvSpPr>
          <p:spPr bwMode="auto">
            <a:xfrm>
              <a:off x="6456922" y="2641807"/>
              <a:ext cx="8777" cy="7098"/>
            </a:xfrm>
            <a:custGeom>
              <a:avLst/>
              <a:gdLst/>
              <a:ahLst/>
              <a:cxnLst>
                <a:cxn ang="0">
                  <a:pos x="9" y="5"/>
                </a:cxn>
                <a:cxn ang="0">
                  <a:pos x="10" y="7"/>
                </a:cxn>
                <a:cxn ang="0">
                  <a:pos x="7" y="0"/>
                </a:cxn>
                <a:cxn ang="0">
                  <a:pos x="0" y="3"/>
                </a:cxn>
                <a:cxn ang="0">
                  <a:pos x="0" y="4"/>
                </a:cxn>
                <a:cxn ang="0">
                  <a:pos x="1" y="5"/>
                </a:cxn>
                <a:cxn ang="0">
                  <a:pos x="3" y="4"/>
                </a:cxn>
                <a:cxn ang="0">
                  <a:pos x="4" y="4"/>
                </a:cxn>
                <a:cxn ang="0">
                  <a:pos x="4" y="5"/>
                </a:cxn>
                <a:cxn ang="0">
                  <a:pos x="6" y="7"/>
                </a:cxn>
                <a:cxn ang="0">
                  <a:pos x="9" y="5"/>
                </a:cxn>
                <a:cxn ang="0">
                  <a:pos x="9" y="5"/>
                </a:cxn>
                <a:cxn ang="0">
                  <a:pos x="9" y="5"/>
                </a:cxn>
              </a:cxnLst>
              <a:rect l="0" t="0" r="r" b="b"/>
              <a:pathLst>
                <a:path w="10" h="7">
                  <a:moveTo>
                    <a:pt x="9" y="5"/>
                  </a:moveTo>
                  <a:lnTo>
                    <a:pt x="10" y="7"/>
                  </a:lnTo>
                  <a:lnTo>
                    <a:pt x="7" y="0"/>
                  </a:lnTo>
                  <a:lnTo>
                    <a:pt x="0" y="3"/>
                  </a:lnTo>
                  <a:lnTo>
                    <a:pt x="0" y="4"/>
                  </a:lnTo>
                  <a:lnTo>
                    <a:pt x="1" y="5"/>
                  </a:lnTo>
                  <a:lnTo>
                    <a:pt x="3" y="4"/>
                  </a:lnTo>
                  <a:lnTo>
                    <a:pt x="4" y="4"/>
                  </a:lnTo>
                  <a:lnTo>
                    <a:pt x="4" y="5"/>
                  </a:lnTo>
                  <a:lnTo>
                    <a:pt x="6" y="7"/>
                  </a:lnTo>
                  <a:lnTo>
                    <a:pt x="9" y="5"/>
                  </a:lnTo>
                  <a:lnTo>
                    <a:pt x="9" y="5"/>
                  </a:lnTo>
                  <a:lnTo>
                    <a:pt x="9" y="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5" name="Freeform 124"/>
            <p:cNvSpPr>
              <a:spLocks/>
            </p:cNvSpPr>
            <p:nvPr/>
          </p:nvSpPr>
          <p:spPr bwMode="auto">
            <a:xfrm>
              <a:off x="6456922" y="2656005"/>
              <a:ext cx="2633" cy="8113"/>
            </a:xfrm>
            <a:custGeom>
              <a:avLst/>
              <a:gdLst/>
              <a:ahLst/>
              <a:cxnLst>
                <a:cxn ang="0">
                  <a:pos x="1" y="7"/>
                </a:cxn>
                <a:cxn ang="0">
                  <a:pos x="3" y="6"/>
                </a:cxn>
                <a:cxn ang="0">
                  <a:pos x="3" y="2"/>
                </a:cxn>
                <a:cxn ang="0">
                  <a:pos x="3" y="0"/>
                </a:cxn>
                <a:cxn ang="0">
                  <a:pos x="0" y="0"/>
                </a:cxn>
                <a:cxn ang="0">
                  <a:pos x="0" y="2"/>
                </a:cxn>
                <a:cxn ang="0">
                  <a:pos x="1" y="5"/>
                </a:cxn>
                <a:cxn ang="0">
                  <a:pos x="0" y="6"/>
                </a:cxn>
                <a:cxn ang="0">
                  <a:pos x="0" y="7"/>
                </a:cxn>
                <a:cxn ang="0">
                  <a:pos x="1" y="7"/>
                </a:cxn>
              </a:cxnLst>
              <a:rect l="0" t="0" r="r" b="b"/>
              <a:pathLst>
                <a:path w="3" h="7">
                  <a:moveTo>
                    <a:pt x="1" y="7"/>
                  </a:moveTo>
                  <a:lnTo>
                    <a:pt x="3" y="6"/>
                  </a:lnTo>
                  <a:lnTo>
                    <a:pt x="3" y="2"/>
                  </a:lnTo>
                  <a:lnTo>
                    <a:pt x="3" y="0"/>
                  </a:lnTo>
                  <a:lnTo>
                    <a:pt x="0" y="0"/>
                  </a:lnTo>
                  <a:lnTo>
                    <a:pt x="0" y="2"/>
                  </a:lnTo>
                  <a:lnTo>
                    <a:pt x="1" y="5"/>
                  </a:lnTo>
                  <a:lnTo>
                    <a:pt x="0" y="6"/>
                  </a:lnTo>
                  <a:lnTo>
                    <a:pt x="0" y="7"/>
                  </a:lnTo>
                  <a:lnTo>
                    <a:pt x="1" y="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6" name="Freeform 125"/>
            <p:cNvSpPr>
              <a:spLocks/>
            </p:cNvSpPr>
            <p:nvPr/>
          </p:nvSpPr>
          <p:spPr bwMode="auto">
            <a:xfrm>
              <a:off x="6456922" y="2656005"/>
              <a:ext cx="2633" cy="8113"/>
            </a:xfrm>
            <a:custGeom>
              <a:avLst/>
              <a:gdLst/>
              <a:ahLst/>
              <a:cxnLst>
                <a:cxn ang="0">
                  <a:pos x="1" y="7"/>
                </a:cxn>
                <a:cxn ang="0">
                  <a:pos x="3" y="6"/>
                </a:cxn>
                <a:cxn ang="0">
                  <a:pos x="3" y="2"/>
                </a:cxn>
                <a:cxn ang="0">
                  <a:pos x="3" y="0"/>
                </a:cxn>
                <a:cxn ang="0">
                  <a:pos x="0" y="0"/>
                </a:cxn>
                <a:cxn ang="0">
                  <a:pos x="0" y="2"/>
                </a:cxn>
                <a:cxn ang="0">
                  <a:pos x="1" y="5"/>
                </a:cxn>
                <a:cxn ang="0">
                  <a:pos x="0" y="6"/>
                </a:cxn>
                <a:cxn ang="0">
                  <a:pos x="0" y="7"/>
                </a:cxn>
                <a:cxn ang="0">
                  <a:pos x="1" y="7"/>
                </a:cxn>
              </a:cxnLst>
              <a:rect l="0" t="0" r="r" b="b"/>
              <a:pathLst>
                <a:path w="3" h="7">
                  <a:moveTo>
                    <a:pt x="1" y="7"/>
                  </a:moveTo>
                  <a:lnTo>
                    <a:pt x="3" y="6"/>
                  </a:lnTo>
                  <a:lnTo>
                    <a:pt x="3" y="2"/>
                  </a:lnTo>
                  <a:lnTo>
                    <a:pt x="3" y="0"/>
                  </a:lnTo>
                  <a:lnTo>
                    <a:pt x="0" y="0"/>
                  </a:lnTo>
                  <a:lnTo>
                    <a:pt x="0" y="2"/>
                  </a:lnTo>
                  <a:lnTo>
                    <a:pt x="1" y="5"/>
                  </a:lnTo>
                  <a:lnTo>
                    <a:pt x="0" y="6"/>
                  </a:lnTo>
                  <a:lnTo>
                    <a:pt x="0" y="7"/>
                  </a:lnTo>
                  <a:lnTo>
                    <a:pt x="1" y="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7" name="Freeform 126"/>
            <p:cNvSpPr>
              <a:spLocks/>
            </p:cNvSpPr>
            <p:nvPr/>
          </p:nvSpPr>
          <p:spPr bwMode="auto">
            <a:xfrm>
              <a:off x="6480623" y="2696570"/>
              <a:ext cx="8777" cy="10141"/>
            </a:xfrm>
            <a:custGeom>
              <a:avLst/>
              <a:gdLst/>
              <a:ahLst/>
              <a:cxnLst>
                <a:cxn ang="0">
                  <a:pos x="6" y="6"/>
                </a:cxn>
                <a:cxn ang="0">
                  <a:pos x="6" y="6"/>
                </a:cxn>
                <a:cxn ang="0">
                  <a:pos x="7" y="5"/>
                </a:cxn>
                <a:cxn ang="0">
                  <a:pos x="7" y="3"/>
                </a:cxn>
                <a:cxn ang="0">
                  <a:pos x="9" y="0"/>
                </a:cxn>
                <a:cxn ang="0">
                  <a:pos x="4" y="2"/>
                </a:cxn>
                <a:cxn ang="0">
                  <a:pos x="2" y="5"/>
                </a:cxn>
                <a:cxn ang="0">
                  <a:pos x="0" y="6"/>
                </a:cxn>
                <a:cxn ang="0">
                  <a:pos x="0" y="9"/>
                </a:cxn>
                <a:cxn ang="0">
                  <a:pos x="6" y="6"/>
                </a:cxn>
              </a:cxnLst>
              <a:rect l="0" t="0" r="r" b="b"/>
              <a:pathLst>
                <a:path w="9" h="9">
                  <a:moveTo>
                    <a:pt x="6" y="6"/>
                  </a:moveTo>
                  <a:lnTo>
                    <a:pt x="6" y="6"/>
                  </a:lnTo>
                  <a:lnTo>
                    <a:pt x="7" y="5"/>
                  </a:lnTo>
                  <a:lnTo>
                    <a:pt x="7" y="3"/>
                  </a:lnTo>
                  <a:lnTo>
                    <a:pt x="9" y="0"/>
                  </a:lnTo>
                  <a:lnTo>
                    <a:pt x="4" y="2"/>
                  </a:lnTo>
                  <a:lnTo>
                    <a:pt x="2" y="5"/>
                  </a:lnTo>
                  <a:lnTo>
                    <a:pt x="0" y="6"/>
                  </a:lnTo>
                  <a:lnTo>
                    <a:pt x="0" y="9"/>
                  </a:lnTo>
                  <a:lnTo>
                    <a:pt x="6"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8" name="Freeform 127"/>
            <p:cNvSpPr>
              <a:spLocks/>
            </p:cNvSpPr>
            <p:nvPr/>
          </p:nvSpPr>
          <p:spPr bwMode="auto">
            <a:xfrm>
              <a:off x="6480623" y="2696570"/>
              <a:ext cx="8777" cy="10141"/>
            </a:xfrm>
            <a:custGeom>
              <a:avLst/>
              <a:gdLst/>
              <a:ahLst/>
              <a:cxnLst>
                <a:cxn ang="0">
                  <a:pos x="6" y="6"/>
                </a:cxn>
                <a:cxn ang="0">
                  <a:pos x="6" y="6"/>
                </a:cxn>
                <a:cxn ang="0">
                  <a:pos x="7" y="5"/>
                </a:cxn>
                <a:cxn ang="0">
                  <a:pos x="7" y="3"/>
                </a:cxn>
                <a:cxn ang="0">
                  <a:pos x="9" y="0"/>
                </a:cxn>
                <a:cxn ang="0">
                  <a:pos x="4" y="2"/>
                </a:cxn>
                <a:cxn ang="0">
                  <a:pos x="2" y="5"/>
                </a:cxn>
                <a:cxn ang="0">
                  <a:pos x="0" y="6"/>
                </a:cxn>
                <a:cxn ang="0">
                  <a:pos x="0" y="9"/>
                </a:cxn>
                <a:cxn ang="0">
                  <a:pos x="6" y="6"/>
                </a:cxn>
              </a:cxnLst>
              <a:rect l="0" t="0" r="r" b="b"/>
              <a:pathLst>
                <a:path w="9" h="9">
                  <a:moveTo>
                    <a:pt x="6" y="6"/>
                  </a:moveTo>
                  <a:lnTo>
                    <a:pt x="6" y="6"/>
                  </a:lnTo>
                  <a:lnTo>
                    <a:pt x="7" y="5"/>
                  </a:lnTo>
                  <a:lnTo>
                    <a:pt x="7" y="3"/>
                  </a:lnTo>
                  <a:lnTo>
                    <a:pt x="9" y="0"/>
                  </a:lnTo>
                  <a:lnTo>
                    <a:pt x="4" y="2"/>
                  </a:lnTo>
                  <a:lnTo>
                    <a:pt x="2" y="5"/>
                  </a:lnTo>
                  <a:lnTo>
                    <a:pt x="0" y="6"/>
                  </a:lnTo>
                  <a:lnTo>
                    <a:pt x="0" y="9"/>
                  </a:lnTo>
                  <a:lnTo>
                    <a:pt x="6"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9" name="Freeform 128"/>
            <p:cNvSpPr>
              <a:spLocks/>
            </p:cNvSpPr>
            <p:nvPr/>
          </p:nvSpPr>
          <p:spPr bwMode="auto">
            <a:xfrm>
              <a:off x="6427077" y="2712796"/>
              <a:ext cx="35112" cy="12170"/>
            </a:xfrm>
            <a:custGeom>
              <a:avLst/>
              <a:gdLst/>
              <a:ahLst/>
              <a:cxnLst>
                <a:cxn ang="0">
                  <a:pos x="21" y="4"/>
                </a:cxn>
                <a:cxn ang="0">
                  <a:pos x="18" y="3"/>
                </a:cxn>
                <a:cxn ang="0">
                  <a:pos x="11" y="4"/>
                </a:cxn>
                <a:cxn ang="0">
                  <a:pos x="10" y="3"/>
                </a:cxn>
                <a:cxn ang="0">
                  <a:pos x="8" y="3"/>
                </a:cxn>
                <a:cxn ang="0">
                  <a:pos x="8" y="1"/>
                </a:cxn>
                <a:cxn ang="0">
                  <a:pos x="8" y="0"/>
                </a:cxn>
                <a:cxn ang="0">
                  <a:pos x="5" y="1"/>
                </a:cxn>
                <a:cxn ang="0">
                  <a:pos x="4" y="0"/>
                </a:cxn>
                <a:cxn ang="0">
                  <a:pos x="2" y="0"/>
                </a:cxn>
                <a:cxn ang="0">
                  <a:pos x="1" y="1"/>
                </a:cxn>
                <a:cxn ang="0">
                  <a:pos x="0" y="1"/>
                </a:cxn>
                <a:cxn ang="0">
                  <a:pos x="0" y="7"/>
                </a:cxn>
                <a:cxn ang="0">
                  <a:pos x="8" y="7"/>
                </a:cxn>
                <a:cxn ang="0">
                  <a:pos x="13" y="7"/>
                </a:cxn>
                <a:cxn ang="0">
                  <a:pos x="14" y="9"/>
                </a:cxn>
                <a:cxn ang="0">
                  <a:pos x="16" y="10"/>
                </a:cxn>
                <a:cxn ang="0">
                  <a:pos x="17" y="12"/>
                </a:cxn>
                <a:cxn ang="0">
                  <a:pos x="34" y="10"/>
                </a:cxn>
                <a:cxn ang="0">
                  <a:pos x="37" y="12"/>
                </a:cxn>
                <a:cxn ang="0">
                  <a:pos x="39" y="7"/>
                </a:cxn>
                <a:cxn ang="0">
                  <a:pos x="39" y="6"/>
                </a:cxn>
                <a:cxn ang="0">
                  <a:pos x="33" y="7"/>
                </a:cxn>
                <a:cxn ang="0">
                  <a:pos x="31" y="7"/>
                </a:cxn>
                <a:cxn ang="0">
                  <a:pos x="30" y="6"/>
                </a:cxn>
                <a:cxn ang="0">
                  <a:pos x="23" y="6"/>
                </a:cxn>
                <a:cxn ang="0">
                  <a:pos x="21" y="4"/>
                </a:cxn>
                <a:cxn ang="0">
                  <a:pos x="21" y="4"/>
                </a:cxn>
              </a:cxnLst>
              <a:rect l="0" t="0" r="r" b="b"/>
              <a:pathLst>
                <a:path w="39" h="12">
                  <a:moveTo>
                    <a:pt x="21" y="4"/>
                  </a:moveTo>
                  <a:lnTo>
                    <a:pt x="18" y="3"/>
                  </a:lnTo>
                  <a:lnTo>
                    <a:pt x="11" y="4"/>
                  </a:lnTo>
                  <a:lnTo>
                    <a:pt x="10" y="3"/>
                  </a:lnTo>
                  <a:lnTo>
                    <a:pt x="8" y="3"/>
                  </a:lnTo>
                  <a:lnTo>
                    <a:pt x="8" y="1"/>
                  </a:lnTo>
                  <a:lnTo>
                    <a:pt x="8" y="0"/>
                  </a:lnTo>
                  <a:lnTo>
                    <a:pt x="5" y="1"/>
                  </a:lnTo>
                  <a:lnTo>
                    <a:pt x="4" y="0"/>
                  </a:lnTo>
                  <a:lnTo>
                    <a:pt x="2" y="0"/>
                  </a:lnTo>
                  <a:lnTo>
                    <a:pt x="1" y="1"/>
                  </a:lnTo>
                  <a:lnTo>
                    <a:pt x="0" y="1"/>
                  </a:lnTo>
                  <a:lnTo>
                    <a:pt x="0" y="7"/>
                  </a:lnTo>
                  <a:lnTo>
                    <a:pt x="8" y="7"/>
                  </a:lnTo>
                  <a:lnTo>
                    <a:pt x="13" y="7"/>
                  </a:lnTo>
                  <a:lnTo>
                    <a:pt x="14" y="9"/>
                  </a:lnTo>
                  <a:lnTo>
                    <a:pt x="16" y="10"/>
                  </a:lnTo>
                  <a:lnTo>
                    <a:pt x="17" y="12"/>
                  </a:lnTo>
                  <a:lnTo>
                    <a:pt x="34" y="10"/>
                  </a:lnTo>
                  <a:lnTo>
                    <a:pt x="37" y="12"/>
                  </a:lnTo>
                  <a:lnTo>
                    <a:pt x="39" y="7"/>
                  </a:lnTo>
                  <a:lnTo>
                    <a:pt x="39" y="6"/>
                  </a:lnTo>
                  <a:lnTo>
                    <a:pt x="33" y="7"/>
                  </a:lnTo>
                  <a:lnTo>
                    <a:pt x="31" y="7"/>
                  </a:lnTo>
                  <a:lnTo>
                    <a:pt x="30" y="6"/>
                  </a:lnTo>
                  <a:lnTo>
                    <a:pt x="23" y="6"/>
                  </a:lnTo>
                  <a:lnTo>
                    <a:pt x="21" y="4"/>
                  </a:lnTo>
                  <a:lnTo>
                    <a:pt x="21"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0" name="Freeform 129"/>
            <p:cNvSpPr>
              <a:spLocks/>
            </p:cNvSpPr>
            <p:nvPr/>
          </p:nvSpPr>
          <p:spPr bwMode="auto">
            <a:xfrm>
              <a:off x="6427077" y="2712796"/>
              <a:ext cx="35112" cy="12170"/>
            </a:xfrm>
            <a:custGeom>
              <a:avLst/>
              <a:gdLst/>
              <a:ahLst/>
              <a:cxnLst>
                <a:cxn ang="0">
                  <a:pos x="21" y="4"/>
                </a:cxn>
                <a:cxn ang="0">
                  <a:pos x="18" y="3"/>
                </a:cxn>
                <a:cxn ang="0">
                  <a:pos x="11" y="4"/>
                </a:cxn>
                <a:cxn ang="0">
                  <a:pos x="10" y="3"/>
                </a:cxn>
                <a:cxn ang="0">
                  <a:pos x="8" y="3"/>
                </a:cxn>
                <a:cxn ang="0">
                  <a:pos x="8" y="1"/>
                </a:cxn>
                <a:cxn ang="0">
                  <a:pos x="8" y="0"/>
                </a:cxn>
                <a:cxn ang="0">
                  <a:pos x="5" y="1"/>
                </a:cxn>
                <a:cxn ang="0">
                  <a:pos x="4" y="0"/>
                </a:cxn>
                <a:cxn ang="0">
                  <a:pos x="2" y="0"/>
                </a:cxn>
                <a:cxn ang="0">
                  <a:pos x="1" y="1"/>
                </a:cxn>
                <a:cxn ang="0">
                  <a:pos x="0" y="1"/>
                </a:cxn>
                <a:cxn ang="0">
                  <a:pos x="0" y="7"/>
                </a:cxn>
                <a:cxn ang="0">
                  <a:pos x="8" y="7"/>
                </a:cxn>
                <a:cxn ang="0">
                  <a:pos x="13" y="7"/>
                </a:cxn>
                <a:cxn ang="0">
                  <a:pos x="14" y="9"/>
                </a:cxn>
                <a:cxn ang="0">
                  <a:pos x="16" y="10"/>
                </a:cxn>
                <a:cxn ang="0">
                  <a:pos x="17" y="12"/>
                </a:cxn>
                <a:cxn ang="0">
                  <a:pos x="34" y="10"/>
                </a:cxn>
                <a:cxn ang="0">
                  <a:pos x="37" y="12"/>
                </a:cxn>
                <a:cxn ang="0">
                  <a:pos x="39" y="7"/>
                </a:cxn>
                <a:cxn ang="0">
                  <a:pos x="39" y="6"/>
                </a:cxn>
                <a:cxn ang="0">
                  <a:pos x="33" y="7"/>
                </a:cxn>
                <a:cxn ang="0">
                  <a:pos x="31" y="7"/>
                </a:cxn>
                <a:cxn ang="0">
                  <a:pos x="30" y="6"/>
                </a:cxn>
                <a:cxn ang="0">
                  <a:pos x="23" y="6"/>
                </a:cxn>
                <a:cxn ang="0">
                  <a:pos x="21" y="4"/>
                </a:cxn>
                <a:cxn ang="0">
                  <a:pos x="21" y="4"/>
                </a:cxn>
              </a:cxnLst>
              <a:rect l="0" t="0" r="r" b="b"/>
              <a:pathLst>
                <a:path w="39" h="12">
                  <a:moveTo>
                    <a:pt x="21" y="4"/>
                  </a:moveTo>
                  <a:lnTo>
                    <a:pt x="18" y="3"/>
                  </a:lnTo>
                  <a:lnTo>
                    <a:pt x="11" y="4"/>
                  </a:lnTo>
                  <a:lnTo>
                    <a:pt x="10" y="3"/>
                  </a:lnTo>
                  <a:lnTo>
                    <a:pt x="8" y="3"/>
                  </a:lnTo>
                  <a:lnTo>
                    <a:pt x="8" y="1"/>
                  </a:lnTo>
                  <a:lnTo>
                    <a:pt x="8" y="0"/>
                  </a:lnTo>
                  <a:lnTo>
                    <a:pt x="5" y="1"/>
                  </a:lnTo>
                  <a:lnTo>
                    <a:pt x="4" y="0"/>
                  </a:lnTo>
                  <a:lnTo>
                    <a:pt x="2" y="0"/>
                  </a:lnTo>
                  <a:lnTo>
                    <a:pt x="1" y="1"/>
                  </a:lnTo>
                  <a:lnTo>
                    <a:pt x="0" y="1"/>
                  </a:lnTo>
                  <a:lnTo>
                    <a:pt x="0" y="7"/>
                  </a:lnTo>
                  <a:lnTo>
                    <a:pt x="8" y="7"/>
                  </a:lnTo>
                  <a:lnTo>
                    <a:pt x="13" y="7"/>
                  </a:lnTo>
                  <a:lnTo>
                    <a:pt x="14" y="9"/>
                  </a:lnTo>
                  <a:lnTo>
                    <a:pt x="16" y="10"/>
                  </a:lnTo>
                  <a:lnTo>
                    <a:pt x="17" y="12"/>
                  </a:lnTo>
                  <a:lnTo>
                    <a:pt x="34" y="10"/>
                  </a:lnTo>
                  <a:lnTo>
                    <a:pt x="37" y="12"/>
                  </a:lnTo>
                  <a:lnTo>
                    <a:pt x="39" y="7"/>
                  </a:lnTo>
                  <a:lnTo>
                    <a:pt x="39" y="6"/>
                  </a:lnTo>
                  <a:lnTo>
                    <a:pt x="33" y="7"/>
                  </a:lnTo>
                  <a:lnTo>
                    <a:pt x="31" y="7"/>
                  </a:lnTo>
                  <a:lnTo>
                    <a:pt x="30" y="6"/>
                  </a:lnTo>
                  <a:lnTo>
                    <a:pt x="23" y="6"/>
                  </a:lnTo>
                  <a:lnTo>
                    <a:pt x="21" y="4"/>
                  </a:lnTo>
                  <a:lnTo>
                    <a:pt x="21"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1" name="Freeform 130"/>
            <p:cNvSpPr>
              <a:spLocks/>
            </p:cNvSpPr>
            <p:nvPr/>
          </p:nvSpPr>
          <p:spPr bwMode="auto">
            <a:xfrm>
              <a:off x="6441122" y="2669188"/>
              <a:ext cx="3511" cy="6085"/>
            </a:xfrm>
            <a:custGeom>
              <a:avLst/>
              <a:gdLst/>
              <a:ahLst/>
              <a:cxnLst>
                <a:cxn ang="0">
                  <a:pos x="4" y="6"/>
                </a:cxn>
                <a:cxn ang="0">
                  <a:pos x="4" y="4"/>
                </a:cxn>
                <a:cxn ang="0">
                  <a:pos x="4" y="3"/>
                </a:cxn>
                <a:cxn ang="0">
                  <a:pos x="4" y="1"/>
                </a:cxn>
                <a:cxn ang="0">
                  <a:pos x="2" y="1"/>
                </a:cxn>
                <a:cxn ang="0">
                  <a:pos x="0" y="0"/>
                </a:cxn>
                <a:cxn ang="0">
                  <a:pos x="0" y="1"/>
                </a:cxn>
                <a:cxn ang="0">
                  <a:pos x="1" y="3"/>
                </a:cxn>
                <a:cxn ang="0">
                  <a:pos x="2" y="6"/>
                </a:cxn>
                <a:cxn ang="0">
                  <a:pos x="4" y="6"/>
                </a:cxn>
              </a:cxnLst>
              <a:rect l="0" t="0" r="r" b="b"/>
              <a:pathLst>
                <a:path w="4" h="6">
                  <a:moveTo>
                    <a:pt x="4" y="6"/>
                  </a:moveTo>
                  <a:lnTo>
                    <a:pt x="4" y="4"/>
                  </a:lnTo>
                  <a:lnTo>
                    <a:pt x="4" y="3"/>
                  </a:lnTo>
                  <a:lnTo>
                    <a:pt x="4" y="1"/>
                  </a:lnTo>
                  <a:lnTo>
                    <a:pt x="2" y="1"/>
                  </a:lnTo>
                  <a:lnTo>
                    <a:pt x="0" y="0"/>
                  </a:lnTo>
                  <a:lnTo>
                    <a:pt x="0" y="1"/>
                  </a:lnTo>
                  <a:lnTo>
                    <a:pt x="1" y="3"/>
                  </a:lnTo>
                  <a:lnTo>
                    <a:pt x="2" y="6"/>
                  </a:lnTo>
                  <a:lnTo>
                    <a:pt x="4"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2" name="Freeform 131"/>
            <p:cNvSpPr>
              <a:spLocks/>
            </p:cNvSpPr>
            <p:nvPr/>
          </p:nvSpPr>
          <p:spPr bwMode="auto">
            <a:xfrm>
              <a:off x="6441122" y="2669188"/>
              <a:ext cx="3511" cy="6085"/>
            </a:xfrm>
            <a:custGeom>
              <a:avLst/>
              <a:gdLst/>
              <a:ahLst/>
              <a:cxnLst>
                <a:cxn ang="0">
                  <a:pos x="4" y="6"/>
                </a:cxn>
                <a:cxn ang="0">
                  <a:pos x="4" y="4"/>
                </a:cxn>
                <a:cxn ang="0">
                  <a:pos x="4" y="3"/>
                </a:cxn>
                <a:cxn ang="0">
                  <a:pos x="4" y="1"/>
                </a:cxn>
                <a:cxn ang="0">
                  <a:pos x="2" y="1"/>
                </a:cxn>
                <a:cxn ang="0">
                  <a:pos x="0" y="0"/>
                </a:cxn>
                <a:cxn ang="0">
                  <a:pos x="0" y="1"/>
                </a:cxn>
                <a:cxn ang="0">
                  <a:pos x="1" y="3"/>
                </a:cxn>
                <a:cxn ang="0">
                  <a:pos x="2" y="6"/>
                </a:cxn>
                <a:cxn ang="0">
                  <a:pos x="4" y="6"/>
                </a:cxn>
              </a:cxnLst>
              <a:rect l="0" t="0" r="r" b="b"/>
              <a:pathLst>
                <a:path w="4" h="6">
                  <a:moveTo>
                    <a:pt x="4" y="6"/>
                  </a:moveTo>
                  <a:lnTo>
                    <a:pt x="4" y="4"/>
                  </a:lnTo>
                  <a:lnTo>
                    <a:pt x="4" y="3"/>
                  </a:lnTo>
                  <a:lnTo>
                    <a:pt x="4" y="1"/>
                  </a:lnTo>
                  <a:lnTo>
                    <a:pt x="2" y="1"/>
                  </a:lnTo>
                  <a:lnTo>
                    <a:pt x="0" y="0"/>
                  </a:lnTo>
                  <a:lnTo>
                    <a:pt x="0" y="1"/>
                  </a:lnTo>
                  <a:lnTo>
                    <a:pt x="1" y="3"/>
                  </a:lnTo>
                  <a:lnTo>
                    <a:pt x="2" y="6"/>
                  </a:lnTo>
                  <a:lnTo>
                    <a:pt x="4"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3" name="Freeform 132"/>
            <p:cNvSpPr>
              <a:spLocks/>
            </p:cNvSpPr>
            <p:nvPr/>
          </p:nvSpPr>
          <p:spPr bwMode="auto">
            <a:xfrm>
              <a:off x="6450777" y="2683387"/>
              <a:ext cx="2634" cy="5071"/>
            </a:xfrm>
            <a:custGeom>
              <a:avLst/>
              <a:gdLst/>
              <a:ahLst/>
              <a:cxnLst>
                <a:cxn ang="0">
                  <a:pos x="0" y="5"/>
                </a:cxn>
                <a:cxn ang="0">
                  <a:pos x="3" y="5"/>
                </a:cxn>
                <a:cxn ang="0">
                  <a:pos x="3" y="0"/>
                </a:cxn>
                <a:cxn ang="0">
                  <a:pos x="1" y="0"/>
                </a:cxn>
                <a:cxn ang="0">
                  <a:pos x="0" y="2"/>
                </a:cxn>
                <a:cxn ang="0">
                  <a:pos x="0" y="5"/>
                </a:cxn>
                <a:cxn ang="0">
                  <a:pos x="0" y="5"/>
                </a:cxn>
              </a:cxnLst>
              <a:rect l="0" t="0" r="r" b="b"/>
              <a:pathLst>
                <a:path w="3" h="5">
                  <a:moveTo>
                    <a:pt x="0" y="5"/>
                  </a:moveTo>
                  <a:lnTo>
                    <a:pt x="3" y="5"/>
                  </a:lnTo>
                  <a:lnTo>
                    <a:pt x="3" y="0"/>
                  </a:lnTo>
                  <a:lnTo>
                    <a:pt x="1" y="0"/>
                  </a:lnTo>
                  <a:lnTo>
                    <a:pt x="0" y="2"/>
                  </a:lnTo>
                  <a:lnTo>
                    <a:pt x="0" y="5"/>
                  </a:lnTo>
                  <a:lnTo>
                    <a:pt x="0" y="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4" name="Freeform 133"/>
            <p:cNvSpPr>
              <a:spLocks/>
            </p:cNvSpPr>
            <p:nvPr/>
          </p:nvSpPr>
          <p:spPr bwMode="auto">
            <a:xfrm>
              <a:off x="6450777" y="2683387"/>
              <a:ext cx="2634" cy="5071"/>
            </a:xfrm>
            <a:custGeom>
              <a:avLst/>
              <a:gdLst/>
              <a:ahLst/>
              <a:cxnLst>
                <a:cxn ang="0">
                  <a:pos x="0" y="5"/>
                </a:cxn>
                <a:cxn ang="0">
                  <a:pos x="3" y="5"/>
                </a:cxn>
                <a:cxn ang="0">
                  <a:pos x="3" y="0"/>
                </a:cxn>
                <a:cxn ang="0">
                  <a:pos x="1" y="0"/>
                </a:cxn>
                <a:cxn ang="0">
                  <a:pos x="0" y="2"/>
                </a:cxn>
                <a:cxn ang="0">
                  <a:pos x="0" y="5"/>
                </a:cxn>
                <a:cxn ang="0">
                  <a:pos x="0" y="5"/>
                </a:cxn>
              </a:cxnLst>
              <a:rect l="0" t="0" r="r" b="b"/>
              <a:pathLst>
                <a:path w="3" h="5">
                  <a:moveTo>
                    <a:pt x="0" y="5"/>
                  </a:moveTo>
                  <a:lnTo>
                    <a:pt x="3" y="5"/>
                  </a:lnTo>
                  <a:lnTo>
                    <a:pt x="3" y="0"/>
                  </a:lnTo>
                  <a:lnTo>
                    <a:pt x="1" y="0"/>
                  </a:lnTo>
                  <a:lnTo>
                    <a:pt x="0" y="2"/>
                  </a:lnTo>
                  <a:lnTo>
                    <a:pt x="0" y="5"/>
                  </a:lnTo>
                  <a:lnTo>
                    <a:pt x="0" y="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5" name="Freeform 134"/>
            <p:cNvSpPr>
              <a:spLocks/>
            </p:cNvSpPr>
            <p:nvPr/>
          </p:nvSpPr>
          <p:spPr bwMode="auto">
            <a:xfrm>
              <a:off x="6394599" y="2663103"/>
              <a:ext cx="29845" cy="33467"/>
            </a:xfrm>
            <a:custGeom>
              <a:avLst/>
              <a:gdLst/>
              <a:ahLst/>
              <a:cxnLst>
                <a:cxn ang="0">
                  <a:pos x="13" y="0"/>
                </a:cxn>
                <a:cxn ang="0">
                  <a:pos x="10" y="0"/>
                </a:cxn>
                <a:cxn ang="0">
                  <a:pos x="6" y="3"/>
                </a:cxn>
                <a:cxn ang="0">
                  <a:pos x="4" y="1"/>
                </a:cxn>
                <a:cxn ang="0">
                  <a:pos x="1" y="7"/>
                </a:cxn>
                <a:cxn ang="0">
                  <a:pos x="0" y="9"/>
                </a:cxn>
                <a:cxn ang="0">
                  <a:pos x="1" y="13"/>
                </a:cxn>
                <a:cxn ang="0">
                  <a:pos x="6" y="15"/>
                </a:cxn>
                <a:cxn ang="0">
                  <a:pos x="7" y="17"/>
                </a:cxn>
                <a:cxn ang="0">
                  <a:pos x="7" y="22"/>
                </a:cxn>
                <a:cxn ang="0">
                  <a:pos x="7" y="26"/>
                </a:cxn>
                <a:cxn ang="0">
                  <a:pos x="8" y="28"/>
                </a:cxn>
                <a:cxn ang="0">
                  <a:pos x="10" y="28"/>
                </a:cxn>
                <a:cxn ang="0">
                  <a:pos x="11" y="25"/>
                </a:cxn>
                <a:cxn ang="0">
                  <a:pos x="13" y="23"/>
                </a:cxn>
                <a:cxn ang="0">
                  <a:pos x="14" y="25"/>
                </a:cxn>
                <a:cxn ang="0">
                  <a:pos x="16" y="26"/>
                </a:cxn>
                <a:cxn ang="0">
                  <a:pos x="17" y="33"/>
                </a:cxn>
                <a:cxn ang="0">
                  <a:pos x="19" y="33"/>
                </a:cxn>
                <a:cxn ang="0">
                  <a:pos x="20" y="29"/>
                </a:cxn>
                <a:cxn ang="0">
                  <a:pos x="21" y="28"/>
                </a:cxn>
                <a:cxn ang="0">
                  <a:pos x="24" y="31"/>
                </a:cxn>
                <a:cxn ang="0">
                  <a:pos x="26" y="32"/>
                </a:cxn>
                <a:cxn ang="0">
                  <a:pos x="27" y="33"/>
                </a:cxn>
                <a:cxn ang="0">
                  <a:pos x="26" y="20"/>
                </a:cxn>
                <a:cxn ang="0">
                  <a:pos x="24" y="17"/>
                </a:cxn>
                <a:cxn ang="0">
                  <a:pos x="23" y="15"/>
                </a:cxn>
                <a:cxn ang="0">
                  <a:pos x="27" y="17"/>
                </a:cxn>
                <a:cxn ang="0">
                  <a:pos x="29" y="19"/>
                </a:cxn>
                <a:cxn ang="0">
                  <a:pos x="29" y="17"/>
                </a:cxn>
                <a:cxn ang="0">
                  <a:pos x="32" y="16"/>
                </a:cxn>
                <a:cxn ang="0">
                  <a:pos x="33" y="16"/>
                </a:cxn>
                <a:cxn ang="0">
                  <a:pos x="33" y="15"/>
                </a:cxn>
                <a:cxn ang="0">
                  <a:pos x="30" y="12"/>
                </a:cxn>
                <a:cxn ang="0">
                  <a:pos x="27" y="9"/>
                </a:cxn>
                <a:cxn ang="0">
                  <a:pos x="27" y="6"/>
                </a:cxn>
                <a:cxn ang="0">
                  <a:pos x="16" y="1"/>
                </a:cxn>
                <a:cxn ang="0">
                  <a:pos x="14" y="1"/>
                </a:cxn>
                <a:cxn ang="0">
                  <a:pos x="13" y="0"/>
                </a:cxn>
              </a:cxnLst>
              <a:rect l="0" t="0" r="r" b="b"/>
              <a:pathLst>
                <a:path w="33" h="33">
                  <a:moveTo>
                    <a:pt x="13" y="0"/>
                  </a:moveTo>
                  <a:lnTo>
                    <a:pt x="10" y="0"/>
                  </a:lnTo>
                  <a:lnTo>
                    <a:pt x="6" y="3"/>
                  </a:lnTo>
                  <a:lnTo>
                    <a:pt x="4" y="1"/>
                  </a:lnTo>
                  <a:lnTo>
                    <a:pt x="1" y="7"/>
                  </a:lnTo>
                  <a:lnTo>
                    <a:pt x="0" y="9"/>
                  </a:lnTo>
                  <a:lnTo>
                    <a:pt x="1" y="13"/>
                  </a:lnTo>
                  <a:lnTo>
                    <a:pt x="6" y="15"/>
                  </a:lnTo>
                  <a:lnTo>
                    <a:pt x="7" y="17"/>
                  </a:lnTo>
                  <a:lnTo>
                    <a:pt x="7" y="22"/>
                  </a:lnTo>
                  <a:lnTo>
                    <a:pt x="7" y="26"/>
                  </a:lnTo>
                  <a:lnTo>
                    <a:pt x="8" y="28"/>
                  </a:lnTo>
                  <a:lnTo>
                    <a:pt x="10" y="28"/>
                  </a:lnTo>
                  <a:lnTo>
                    <a:pt x="11" y="25"/>
                  </a:lnTo>
                  <a:lnTo>
                    <a:pt x="13" y="23"/>
                  </a:lnTo>
                  <a:lnTo>
                    <a:pt x="14" y="25"/>
                  </a:lnTo>
                  <a:lnTo>
                    <a:pt x="16" y="26"/>
                  </a:lnTo>
                  <a:lnTo>
                    <a:pt x="17" y="33"/>
                  </a:lnTo>
                  <a:lnTo>
                    <a:pt x="19" y="33"/>
                  </a:lnTo>
                  <a:lnTo>
                    <a:pt x="20" y="29"/>
                  </a:lnTo>
                  <a:lnTo>
                    <a:pt x="21" y="28"/>
                  </a:lnTo>
                  <a:lnTo>
                    <a:pt x="24" y="31"/>
                  </a:lnTo>
                  <a:lnTo>
                    <a:pt x="26" y="32"/>
                  </a:lnTo>
                  <a:lnTo>
                    <a:pt x="27" y="33"/>
                  </a:lnTo>
                  <a:lnTo>
                    <a:pt x="26" y="20"/>
                  </a:lnTo>
                  <a:lnTo>
                    <a:pt x="24" y="17"/>
                  </a:lnTo>
                  <a:lnTo>
                    <a:pt x="23" y="15"/>
                  </a:lnTo>
                  <a:lnTo>
                    <a:pt x="27" y="17"/>
                  </a:lnTo>
                  <a:lnTo>
                    <a:pt x="29" y="19"/>
                  </a:lnTo>
                  <a:lnTo>
                    <a:pt x="29" y="17"/>
                  </a:lnTo>
                  <a:lnTo>
                    <a:pt x="32" y="16"/>
                  </a:lnTo>
                  <a:lnTo>
                    <a:pt x="33" y="16"/>
                  </a:lnTo>
                  <a:lnTo>
                    <a:pt x="33" y="15"/>
                  </a:lnTo>
                  <a:lnTo>
                    <a:pt x="30" y="12"/>
                  </a:lnTo>
                  <a:lnTo>
                    <a:pt x="27" y="9"/>
                  </a:lnTo>
                  <a:lnTo>
                    <a:pt x="27" y="6"/>
                  </a:lnTo>
                  <a:lnTo>
                    <a:pt x="16" y="1"/>
                  </a:lnTo>
                  <a:lnTo>
                    <a:pt x="14" y="1"/>
                  </a:lnTo>
                  <a:lnTo>
                    <a:pt x="1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6" name="Freeform 135"/>
            <p:cNvSpPr>
              <a:spLocks/>
            </p:cNvSpPr>
            <p:nvPr/>
          </p:nvSpPr>
          <p:spPr bwMode="auto">
            <a:xfrm>
              <a:off x="6394599" y="2663103"/>
              <a:ext cx="29845" cy="33467"/>
            </a:xfrm>
            <a:custGeom>
              <a:avLst/>
              <a:gdLst/>
              <a:ahLst/>
              <a:cxnLst>
                <a:cxn ang="0">
                  <a:pos x="13" y="0"/>
                </a:cxn>
                <a:cxn ang="0">
                  <a:pos x="10" y="0"/>
                </a:cxn>
                <a:cxn ang="0">
                  <a:pos x="6" y="3"/>
                </a:cxn>
                <a:cxn ang="0">
                  <a:pos x="4" y="1"/>
                </a:cxn>
                <a:cxn ang="0">
                  <a:pos x="1" y="7"/>
                </a:cxn>
                <a:cxn ang="0">
                  <a:pos x="0" y="9"/>
                </a:cxn>
                <a:cxn ang="0">
                  <a:pos x="1" y="13"/>
                </a:cxn>
                <a:cxn ang="0">
                  <a:pos x="6" y="15"/>
                </a:cxn>
                <a:cxn ang="0">
                  <a:pos x="7" y="17"/>
                </a:cxn>
                <a:cxn ang="0">
                  <a:pos x="7" y="22"/>
                </a:cxn>
                <a:cxn ang="0">
                  <a:pos x="7" y="26"/>
                </a:cxn>
                <a:cxn ang="0">
                  <a:pos x="8" y="28"/>
                </a:cxn>
                <a:cxn ang="0">
                  <a:pos x="10" y="28"/>
                </a:cxn>
                <a:cxn ang="0">
                  <a:pos x="11" y="25"/>
                </a:cxn>
                <a:cxn ang="0">
                  <a:pos x="13" y="23"/>
                </a:cxn>
                <a:cxn ang="0">
                  <a:pos x="14" y="25"/>
                </a:cxn>
                <a:cxn ang="0">
                  <a:pos x="16" y="26"/>
                </a:cxn>
                <a:cxn ang="0">
                  <a:pos x="17" y="33"/>
                </a:cxn>
                <a:cxn ang="0">
                  <a:pos x="19" y="33"/>
                </a:cxn>
                <a:cxn ang="0">
                  <a:pos x="20" y="29"/>
                </a:cxn>
                <a:cxn ang="0">
                  <a:pos x="21" y="28"/>
                </a:cxn>
                <a:cxn ang="0">
                  <a:pos x="24" y="31"/>
                </a:cxn>
                <a:cxn ang="0">
                  <a:pos x="26" y="32"/>
                </a:cxn>
                <a:cxn ang="0">
                  <a:pos x="27" y="33"/>
                </a:cxn>
                <a:cxn ang="0">
                  <a:pos x="26" y="20"/>
                </a:cxn>
                <a:cxn ang="0">
                  <a:pos x="24" y="17"/>
                </a:cxn>
                <a:cxn ang="0">
                  <a:pos x="23" y="15"/>
                </a:cxn>
                <a:cxn ang="0">
                  <a:pos x="27" y="17"/>
                </a:cxn>
                <a:cxn ang="0">
                  <a:pos x="29" y="19"/>
                </a:cxn>
                <a:cxn ang="0">
                  <a:pos x="29" y="17"/>
                </a:cxn>
                <a:cxn ang="0">
                  <a:pos x="32" y="16"/>
                </a:cxn>
                <a:cxn ang="0">
                  <a:pos x="33" y="16"/>
                </a:cxn>
                <a:cxn ang="0">
                  <a:pos x="33" y="15"/>
                </a:cxn>
                <a:cxn ang="0">
                  <a:pos x="30" y="12"/>
                </a:cxn>
                <a:cxn ang="0">
                  <a:pos x="27" y="9"/>
                </a:cxn>
                <a:cxn ang="0">
                  <a:pos x="27" y="6"/>
                </a:cxn>
                <a:cxn ang="0">
                  <a:pos x="16" y="1"/>
                </a:cxn>
                <a:cxn ang="0">
                  <a:pos x="14" y="1"/>
                </a:cxn>
                <a:cxn ang="0">
                  <a:pos x="13" y="0"/>
                </a:cxn>
              </a:cxnLst>
              <a:rect l="0" t="0" r="r" b="b"/>
              <a:pathLst>
                <a:path w="33" h="33">
                  <a:moveTo>
                    <a:pt x="13" y="0"/>
                  </a:moveTo>
                  <a:lnTo>
                    <a:pt x="10" y="0"/>
                  </a:lnTo>
                  <a:lnTo>
                    <a:pt x="6" y="3"/>
                  </a:lnTo>
                  <a:lnTo>
                    <a:pt x="4" y="1"/>
                  </a:lnTo>
                  <a:lnTo>
                    <a:pt x="1" y="7"/>
                  </a:lnTo>
                  <a:lnTo>
                    <a:pt x="0" y="9"/>
                  </a:lnTo>
                  <a:lnTo>
                    <a:pt x="1" y="13"/>
                  </a:lnTo>
                  <a:lnTo>
                    <a:pt x="6" y="15"/>
                  </a:lnTo>
                  <a:lnTo>
                    <a:pt x="7" y="17"/>
                  </a:lnTo>
                  <a:lnTo>
                    <a:pt x="7" y="22"/>
                  </a:lnTo>
                  <a:lnTo>
                    <a:pt x="7" y="26"/>
                  </a:lnTo>
                  <a:lnTo>
                    <a:pt x="8" y="28"/>
                  </a:lnTo>
                  <a:lnTo>
                    <a:pt x="10" y="28"/>
                  </a:lnTo>
                  <a:lnTo>
                    <a:pt x="11" y="25"/>
                  </a:lnTo>
                  <a:lnTo>
                    <a:pt x="13" y="23"/>
                  </a:lnTo>
                  <a:lnTo>
                    <a:pt x="14" y="25"/>
                  </a:lnTo>
                  <a:lnTo>
                    <a:pt x="16" y="26"/>
                  </a:lnTo>
                  <a:lnTo>
                    <a:pt x="17" y="33"/>
                  </a:lnTo>
                  <a:lnTo>
                    <a:pt x="19" y="33"/>
                  </a:lnTo>
                  <a:lnTo>
                    <a:pt x="20" y="29"/>
                  </a:lnTo>
                  <a:lnTo>
                    <a:pt x="21" y="28"/>
                  </a:lnTo>
                  <a:lnTo>
                    <a:pt x="24" y="31"/>
                  </a:lnTo>
                  <a:lnTo>
                    <a:pt x="26" y="32"/>
                  </a:lnTo>
                  <a:lnTo>
                    <a:pt x="27" y="33"/>
                  </a:lnTo>
                  <a:lnTo>
                    <a:pt x="26" y="20"/>
                  </a:lnTo>
                  <a:lnTo>
                    <a:pt x="24" y="17"/>
                  </a:lnTo>
                  <a:lnTo>
                    <a:pt x="23" y="15"/>
                  </a:lnTo>
                  <a:lnTo>
                    <a:pt x="27" y="17"/>
                  </a:lnTo>
                  <a:lnTo>
                    <a:pt x="29" y="19"/>
                  </a:lnTo>
                  <a:lnTo>
                    <a:pt x="29" y="17"/>
                  </a:lnTo>
                  <a:lnTo>
                    <a:pt x="32" y="16"/>
                  </a:lnTo>
                  <a:lnTo>
                    <a:pt x="33" y="16"/>
                  </a:lnTo>
                  <a:lnTo>
                    <a:pt x="33" y="15"/>
                  </a:lnTo>
                  <a:lnTo>
                    <a:pt x="30" y="12"/>
                  </a:lnTo>
                  <a:lnTo>
                    <a:pt x="27" y="9"/>
                  </a:lnTo>
                  <a:lnTo>
                    <a:pt x="27" y="6"/>
                  </a:lnTo>
                  <a:lnTo>
                    <a:pt x="16" y="1"/>
                  </a:lnTo>
                  <a:lnTo>
                    <a:pt x="14" y="1"/>
                  </a:lnTo>
                  <a:lnTo>
                    <a:pt x="1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7" name="Freeform 136"/>
            <p:cNvSpPr>
              <a:spLocks/>
            </p:cNvSpPr>
            <p:nvPr/>
          </p:nvSpPr>
          <p:spPr bwMode="auto">
            <a:xfrm>
              <a:off x="6385821" y="2661075"/>
              <a:ext cx="4389" cy="6085"/>
            </a:xfrm>
            <a:custGeom>
              <a:avLst/>
              <a:gdLst/>
              <a:ahLst/>
              <a:cxnLst>
                <a:cxn ang="0">
                  <a:pos x="4" y="5"/>
                </a:cxn>
                <a:cxn ang="0">
                  <a:pos x="5" y="2"/>
                </a:cxn>
                <a:cxn ang="0">
                  <a:pos x="4" y="2"/>
                </a:cxn>
                <a:cxn ang="0">
                  <a:pos x="2" y="0"/>
                </a:cxn>
                <a:cxn ang="0">
                  <a:pos x="0" y="2"/>
                </a:cxn>
                <a:cxn ang="0">
                  <a:pos x="1" y="4"/>
                </a:cxn>
                <a:cxn ang="0">
                  <a:pos x="2" y="4"/>
                </a:cxn>
                <a:cxn ang="0">
                  <a:pos x="4" y="5"/>
                </a:cxn>
              </a:cxnLst>
              <a:rect l="0" t="0" r="r" b="b"/>
              <a:pathLst>
                <a:path w="5" h="5">
                  <a:moveTo>
                    <a:pt x="4" y="5"/>
                  </a:moveTo>
                  <a:lnTo>
                    <a:pt x="5" y="2"/>
                  </a:lnTo>
                  <a:lnTo>
                    <a:pt x="4" y="2"/>
                  </a:lnTo>
                  <a:lnTo>
                    <a:pt x="2" y="0"/>
                  </a:lnTo>
                  <a:lnTo>
                    <a:pt x="0" y="2"/>
                  </a:lnTo>
                  <a:lnTo>
                    <a:pt x="1" y="4"/>
                  </a:lnTo>
                  <a:lnTo>
                    <a:pt x="2" y="4"/>
                  </a:lnTo>
                  <a:lnTo>
                    <a:pt x="4" y="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8" name="Freeform 137"/>
            <p:cNvSpPr>
              <a:spLocks/>
            </p:cNvSpPr>
            <p:nvPr/>
          </p:nvSpPr>
          <p:spPr bwMode="auto">
            <a:xfrm>
              <a:off x="6385821" y="2661075"/>
              <a:ext cx="4389" cy="6085"/>
            </a:xfrm>
            <a:custGeom>
              <a:avLst/>
              <a:gdLst/>
              <a:ahLst/>
              <a:cxnLst>
                <a:cxn ang="0">
                  <a:pos x="4" y="5"/>
                </a:cxn>
                <a:cxn ang="0">
                  <a:pos x="5" y="2"/>
                </a:cxn>
                <a:cxn ang="0">
                  <a:pos x="4" y="2"/>
                </a:cxn>
                <a:cxn ang="0">
                  <a:pos x="2" y="0"/>
                </a:cxn>
                <a:cxn ang="0">
                  <a:pos x="0" y="2"/>
                </a:cxn>
                <a:cxn ang="0">
                  <a:pos x="1" y="4"/>
                </a:cxn>
                <a:cxn ang="0">
                  <a:pos x="2" y="4"/>
                </a:cxn>
                <a:cxn ang="0">
                  <a:pos x="4" y="5"/>
                </a:cxn>
              </a:cxnLst>
              <a:rect l="0" t="0" r="r" b="b"/>
              <a:pathLst>
                <a:path w="5" h="5">
                  <a:moveTo>
                    <a:pt x="4" y="5"/>
                  </a:moveTo>
                  <a:lnTo>
                    <a:pt x="5" y="2"/>
                  </a:lnTo>
                  <a:lnTo>
                    <a:pt x="4" y="2"/>
                  </a:lnTo>
                  <a:lnTo>
                    <a:pt x="2" y="0"/>
                  </a:lnTo>
                  <a:lnTo>
                    <a:pt x="0" y="2"/>
                  </a:lnTo>
                  <a:lnTo>
                    <a:pt x="1" y="4"/>
                  </a:lnTo>
                  <a:lnTo>
                    <a:pt x="2" y="4"/>
                  </a:lnTo>
                  <a:lnTo>
                    <a:pt x="4" y="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9" name="Freeform 138"/>
            <p:cNvSpPr>
              <a:spLocks/>
            </p:cNvSpPr>
            <p:nvPr/>
          </p:nvSpPr>
          <p:spPr bwMode="auto">
            <a:xfrm>
              <a:off x="6418299" y="2648906"/>
              <a:ext cx="21067" cy="21296"/>
            </a:xfrm>
            <a:custGeom>
              <a:avLst/>
              <a:gdLst/>
              <a:ahLst/>
              <a:cxnLst>
                <a:cxn ang="0">
                  <a:pos x="23" y="17"/>
                </a:cxn>
                <a:cxn ang="0">
                  <a:pos x="23" y="17"/>
                </a:cxn>
                <a:cxn ang="0">
                  <a:pos x="23" y="16"/>
                </a:cxn>
                <a:cxn ang="0">
                  <a:pos x="19" y="14"/>
                </a:cxn>
                <a:cxn ang="0">
                  <a:pos x="17" y="10"/>
                </a:cxn>
                <a:cxn ang="0">
                  <a:pos x="17" y="9"/>
                </a:cxn>
                <a:cxn ang="0">
                  <a:pos x="16" y="7"/>
                </a:cxn>
                <a:cxn ang="0">
                  <a:pos x="13" y="6"/>
                </a:cxn>
                <a:cxn ang="0">
                  <a:pos x="10" y="4"/>
                </a:cxn>
                <a:cxn ang="0">
                  <a:pos x="6" y="1"/>
                </a:cxn>
                <a:cxn ang="0">
                  <a:pos x="6" y="0"/>
                </a:cxn>
                <a:cxn ang="0">
                  <a:pos x="4" y="0"/>
                </a:cxn>
                <a:cxn ang="0">
                  <a:pos x="0" y="3"/>
                </a:cxn>
                <a:cxn ang="0">
                  <a:pos x="3" y="3"/>
                </a:cxn>
                <a:cxn ang="0">
                  <a:pos x="9" y="9"/>
                </a:cxn>
                <a:cxn ang="0">
                  <a:pos x="9" y="10"/>
                </a:cxn>
                <a:cxn ang="0">
                  <a:pos x="11" y="12"/>
                </a:cxn>
                <a:cxn ang="0">
                  <a:pos x="14" y="12"/>
                </a:cxn>
                <a:cxn ang="0">
                  <a:pos x="17" y="14"/>
                </a:cxn>
                <a:cxn ang="0">
                  <a:pos x="17" y="16"/>
                </a:cxn>
                <a:cxn ang="0">
                  <a:pos x="19" y="17"/>
                </a:cxn>
                <a:cxn ang="0">
                  <a:pos x="20" y="19"/>
                </a:cxn>
                <a:cxn ang="0">
                  <a:pos x="23" y="20"/>
                </a:cxn>
                <a:cxn ang="0">
                  <a:pos x="23" y="17"/>
                </a:cxn>
              </a:cxnLst>
              <a:rect l="0" t="0" r="r" b="b"/>
              <a:pathLst>
                <a:path w="23" h="20">
                  <a:moveTo>
                    <a:pt x="23" y="17"/>
                  </a:moveTo>
                  <a:lnTo>
                    <a:pt x="23" y="17"/>
                  </a:lnTo>
                  <a:lnTo>
                    <a:pt x="23" y="16"/>
                  </a:lnTo>
                  <a:lnTo>
                    <a:pt x="19" y="14"/>
                  </a:lnTo>
                  <a:lnTo>
                    <a:pt x="17" y="10"/>
                  </a:lnTo>
                  <a:lnTo>
                    <a:pt x="17" y="9"/>
                  </a:lnTo>
                  <a:lnTo>
                    <a:pt x="16" y="7"/>
                  </a:lnTo>
                  <a:lnTo>
                    <a:pt x="13" y="6"/>
                  </a:lnTo>
                  <a:lnTo>
                    <a:pt x="10" y="4"/>
                  </a:lnTo>
                  <a:lnTo>
                    <a:pt x="6" y="1"/>
                  </a:lnTo>
                  <a:lnTo>
                    <a:pt x="6" y="0"/>
                  </a:lnTo>
                  <a:lnTo>
                    <a:pt x="4" y="0"/>
                  </a:lnTo>
                  <a:lnTo>
                    <a:pt x="0" y="3"/>
                  </a:lnTo>
                  <a:lnTo>
                    <a:pt x="3" y="3"/>
                  </a:lnTo>
                  <a:lnTo>
                    <a:pt x="9" y="9"/>
                  </a:lnTo>
                  <a:lnTo>
                    <a:pt x="9" y="10"/>
                  </a:lnTo>
                  <a:lnTo>
                    <a:pt x="11" y="12"/>
                  </a:lnTo>
                  <a:lnTo>
                    <a:pt x="14" y="12"/>
                  </a:lnTo>
                  <a:lnTo>
                    <a:pt x="17" y="14"/>
                  </a:lnTo>
                  <a:lnTo>
                    <a:pt x="17" y="16"/>
                  </a:lnTo>
                  <a:lnTo>
                    <a:pt x="19" y="17"/>
                  </a:lnTo>
                  <a:lnTo>
                    <a:pt x="20" y="19"/>
                  </a:lnTo>
                  <a:lnTo>
                    <a:pt x="23" y="20"/>
                  </a:lnTo>
                  <a:lnTo>
                    <a:pt x="23" y="1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0" name="Freeform 139"/>
            <p:cNvSpPr>
              <a:spLocks/>
            </p:cNvSpPr>
            <p:nvPr/>
          </p:nvSpPr>
          <p:spPr bwMode="auto">
            <a:xfrm>
              <a:off x="6418299" y="2648906"/>
              <a:ext cx="21067" cy="21296"/>
            </a:xfrm>
            <a:custGeom>
              <a:avLst/>
              <a:gdLst/>
              <a:ahLst/>
              <a:cxnLst>
                <a:cxn ang="0">
                  <a:pos x="23" y="17"/>
                </a:cxn>
                <a:cxn ang="0">
                  <a:pos x="23" y="17"/>
                </a:cxn>
                <a:cxn ang="0">
                  <a:pos x="23" y="16"/>
                </a:cxn>
                <a:cxn ang="0">
                  <a:pos x="19" y="14"/>
                </a:cxn>
                <a:cxn ang="0">
                  <a:pos x="17" y="10"/>
                </a:cxn>
                <a:cxn ang="0">
                  <a:pos x="17" y="9"/>
                </a:cxn>
                <a:cxn ang="0">
                  <a:pos x="16" y="7"/>
                </a:cxn>
                <a:cxn ang="0">
                  <a:pos x="13" y="6"/>
                </a:cxn>
                <a:cxn ang="0">
                  <a:pos x="10" y="4"/>
                </a:cxn>
                <a:cxn ang="0">
                  <a:pos x="6" y="1"/>
                </a:cxn>
                <a:cxn ang="0">
                  <a:pos x="6" y="0"/>
                </a:cxn>
                <a:cxn ang="0">
                  <a:pos x="4" y="0"/>
                </a:cxn>
                <a:cxn ang="0">
                  <a:pos x="0" y="3"/>
                </a:cxn>
                <a:cxn ang="0">
                  <a:pos x="3" y="3"/>
                </a:cxn>
                <a:cxn ang="0">
                  <a:pos x="9" y="9"/>
                </a:cxn>
                <a:cxn ang="0">
                  <a:pos x="9" y="10"/>
                </a:cxn>
                <a:cxn ang="0">
                  <a:pos x="11" y="12"/>
                </a:cxn>
                <a:cxn ang="0">
                  <a:pos x="14" y="12"/>
                </a:cxn>
                <a:cxn ang="0">
                  <a:pos x="17" y="14"/>
                </a:cxn>
                <a:cxn ang="0">
                  <a:pos x="17" y="16"/>
                </a:cxn>
                <a:cxn ang="0">
                  <a:pos x="19" y="17"/>
                </a:cxn>
                <a:cxn ang="0">
                  <a:pos x="20" y="19"/>
                </a:cxn>
                <a:cxn ang="0">
                  <a:pos x="23" y="20"/>
                </a:cxn>
                <a:cxn ang="0">
                  <a:pos x="23" y="17"/>
                </a:cxn>
              </a:cxnLst>
              <a:rect l="0" t="0" r="r" b="b"/>
              <a:pathLst>
                <a:path w="23" h="20">
                  <a:moveTo>
                    <a:pt x="23" y="17"/>
                  </a:moveTo>
                  <a:lnTo>
                    <a:pt x="23" y="17"/>
                  </a:lnTo>
                  <a:lnTo>
                    <a:pt x="23" y="16"/>
                  </a:lnTo>
                  <a:lnTo>
                    <a:pt x="19" y="14"/>
                  </a:lnTo>
                  <a:lnTo>
                    <a:pt x="17" y="10"/>
                  </a:lnTo>
                  <a:lnTo>
                    <a:pt x="17" y="9"/>
                  </a:lnTo>
                  <a:lnTo>
                    <a:pt x="16" y="7"/>
                  </a:lnTo>
                  <a:lnTo>
                    <a:pt x="13" y="6"/>
                  </a:lnTo>
                  <a:lnTo>
                    <a:pt x="10" y="4"/>
                  </a:lnTo>
                  <a:lnTo>
                    <a:pt x="6" y="1"/>
                  </a:lnTo>
                  <a:lnTo>
                    <a:pt x="6" y="0"/>
                  </a:lnTo>
                  <a:lnTo>
                    <a:pt x="4" y="0"/>
                  </a:lnTo>
                  <a:lnTo>
                    <a:pt x="0" y="3"/>
                  </a:lnTo>
                  <a:lnTo>
                    <a:pt x="3" y="3"/>
                  </a:lnTo>
                  <a:lnTo>
                    <a:pt x="9" y="9"/>
                  </a:lnTo>
                  <a:lnTo>
                    <a:pt x="9" y="10"/>
                  </a:lnTo>
                  <a:lnTo>
                    <a:pt x="11" y="12"/>
                  </a:lnTo>
                  <a:lnTo>
                    <a:pt x="14" y="12"/>
                  </a:lnTo>
                  <a:lnTo>
                    <a:pt x="17" y="14"/>
                  </a:lnTo>
                  <a:lnTo>
                    <a:pt x="17" y="16"/>
                  </a:lnTo>
                  <a:lnTo>
                    <a:pt x="19" y="17"/>
                  </a:lnTo>
                  <a:lnTo>
                    <a:pt x="20" y="19"/>
                  </a:lnTo>
                  <a:lnTo>
                    <a:pt x="23" y="20"/>
                  </a:lnTo>
                  <a:lnTo>
                    <a:pt x="23" y="1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1" name="Freeform 140"/>
            <p:cNvSpPr>
              <a:spLocks/>
            </p:cNvSpPr>
            <p:nvPr/>
          </p:nvSpPr>
          <p:spPr bwMode="auto">
            <a:xfrm>
              <a:off x="6375288" y="2635722"/>
              <a:ext cx="5267" cy="6085"/>
            </a:xfrm>
            <a:custGeom>
              <a:avLst/>
              <a:gdLst/>
              <a:ahLst/>
              <a:cxnLst>
                <a:cxn ang="0">
                  <a:pos x="6" y="6"/>
                </a:cxn>
                <a:cxn ang="0">
                  <a:pos x="6" y="6"/>
                </a:cxn>
                <a:cxn ang="0">
                  <a:pos x="3" y="0"/>
                </a:cxn>
                <a:cxn ang="0">
                  <a:pos x="2" y="0"/>
                </a:cxn>
                <a:cxn ang="0">
                  <a:pos x="0" y="0"/>
                </a:cxn>
                <a:cxn ang="0">
                  <a:pos x="2" y="4"/>
                </a:cxn>
                <a:cxn ang="0">
                  <a:pos x="5" y="6"/>
                </a:cxn>
                <a:cxn ang="0">
                  <a:pos x="6" y="6"/>
                </a:cxn>
              </a:cxnLst>
              <a:rect l="0" t="0" r="r" b="b"/>
              <a:pathLst>
                <a:path w="6" h="6">
                  <a:moveTo>
                    <a:pt x="6" y="6"/>
                  </a:moveTo>
                  <a:lnTo>
                    <a:pt x="6" y="6"/>
                  </a:lnTo>
                  <a:lnTo>
                    <a:pt x="3" y="0"/>
                  </a:lnTo>
                  <a:lnTo>
                    <a:pt x="2" y="0"/>
                  </a:lnTo>
                  <a:lnTo>
                    <a:pt x="0" y="0"/>
                  </a:lnTo>
                  <a:lnTo>
                    <a:pt x="2" y="4"/>
                  </a:lnTo>
                  <a:lnTo>
                    <a:pt x="5" y="6"/>
                  </a:lnTo>
                  <a:lnTo>
                    <a:pt x="6"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2" name="Freeform 141"/>
            <p:cNvSpPr>
              <a:spLocks/>
            </p:cNvSpPr>
            <p:nvPr/>
          </p:nvSpPr>
          <p:spPr bwMode="auto">
            <a:xfrm>
              <a:off x="6375288" y="2635722"/>
              <a:ext cx="5267" cy="6085"/>
            </a:xfrm>
            <a:custGeom>
              <a:avLst/>
              <a:gdLst/>
              <a:ahLst/>
              <a:cxnLst>
                <a:cxn ang="0">
                  <a:pos x="6" y="6"/>
                </a:cxn>
                <a:cxn ang="0">
                  <a:pos x="6" y="6"/>
                </a:cxn>
                <a:cxn ang="0">
                  <a:pos x="3" y="0"/>
                </a:cxn>
                <a:cxn ang="0">
                  <a:pos x="2" y="0"/>
                </a:cxn>
                <a:cxn ang="0">
                  <a:pos x="0" y="0"/>
                </a:cxn>
                <a:cxn ang="0">
                  <a:pos x="2" y="4"/>
                </a:cxn>
                <a:cxn ang="0">
                  <a:pos x="5" y="6"/>
                </a:cxn>
                <a:cxn ang="0">
                  <a:pos x="6" y="6"/>
                </a:cxn>
              </a:cxnLst>
              <a:rect l="0" t="0" r="r" b="b"/>
              <a:pathLst>
                <a:path w="6" h="6">
                  <a:moveTo>
                    <a:pt x="6" y="6"/>
                  </a:moveTo>
                  <a:lnTo>
                    <a:pt x="6" y="6"/>
                  </a:lnTo>
                  <a:lnTo>
                    <a:pt x="3" y="0"/>
                  </a:lnTo>
                  <a:lnTo>
                    <a:pt x="2" y="0"/>
                  </a:lnTo>
                  <a:lnTo>
                    <a:pt x="0" y="0"/>
                  </a:lnTo>
                  <a:lnTo>
                    <a:pt x="2" y="4"/>
                  </a:lnTo>
                  <a:lnTo>
                    <a:pt x="5" y="6"/>
                  </a:lnTo>
                  <a:lnTo>
                    <a:pt x="6"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3" name="Freeform 142"/>
            <p:cNvSpPr>
              <a:spLocks/>
            </p:cNvSpPr>
            <p:nvPr/>
          </p:nvSpPr>
          <p:spPr bwMode="auto">
            <a:xfrm>
              <a:off x="6840521" y="2862888"/>
              <a:ext cx="11412" cy="7098"/>
            </a:xfrm>
            <a:custGeom>
              <a:avLst/>
              <a:gdLst/>
              <a:ahLst/>
              <a:cxnLst>
                <a:cxn ang="0">
                  <a:pos x="13" y="0"/>
                </a:cxn>
                <a:cxn ang="0">
                  <a:pos x="12" y="0"/>
                </a:cxn>
                <a:cxn ang="0">
                  <a:pos x="7" y="0"/>
                </a:cxn>
                <a:cxn ang="0">
                  <a:pos x="6" y="3"/>
                </a:cxn>
                <a:cxn ang="0">
                  <a:pos x="0" y="6"/>
                </a:cxn>
                <a:cxn ang="0">
                  <a:pos x="0" y="7"/>
                </a:cxn>
                <a:cxn ang="0">
                  <a:pos x="7" y="4"/>
                </a:cxn>
                <a:cxn ang="0">
                  <a:pos x="13" y="0"/>
                </a:cxn>
              </a:cxnLst>
              <a:rect l="0" t="0" r="r" b="b"/>
              <a:pathLst>
                <a:path w="13" h="7">
                  <a:moveTo>
                    <a:pt x="13" y="0"/>
                  </a:moveTo>
                  <a:lnTo>
                    <a:pt x="12" y="0"/>
                  </a:lnTo>
                  <a:lnTo>
                    <a:pt x="7" y="0"/>
                  </a:lnTo>
                  <a:lnTo>
                    <a:pt x="6" y="3"/>
                  </a:lnTo>
                  <a:lnTo>
                    <a:pt x="0" y="6"/>
                  </a:lnTo>
                  <a:lnTo>
                    <a:pt x="0" y="7"/>
                  </a:lnTo>
                  <a:lnTo>
                    <a:pt x="7" y="4"/>
                  </a:lnTo>
                  <a:lnTo>
                    <a:pt x="1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4" name="Freeform 143"/>
            <p:cNvSpPr>
              <a:spLocks/>
            </p:cNvSpPr>
            <p:nvPr/>
          </p:nvSpPr>
          <p:spPr bwMode="auto">
            <a:xfrm>
              <a:off x="6840521" y="2862888"/>
              <a:ext cx="11412" cy="7098"/>
            </a:xfrm>
            <a:custGeom>
              <a:avLst/>
              <a:gdLst/>
              <a:ahLst/>
              <a:cxnLst>
                <a:cxn ang="0">
                  <a:pos x="13" y="0"/>
                </a:cxn>
                <a:cxn ang="0">
                  <a:pos x="12" y="0"/>
                </a:cxn>
                <a:cxn ang="0">
                  <a:pos x="7" y="0"/>
                </a:cxn>
                <a:cxn ang="0">
                  <a:pos x="6" y="3"/>
                </a:cxn>
                <a:cxn ang="0">
                  <a:pos x="0" y="6"/>
                </a:cxn>
                <a:cxn ang="0">
                  <a:pos x="0" y="7"/>
                </a:cxn>
                <a:cxn ang="0">
                  <a:pos x="7" y="4"/>
                </a:cxn>
                <a:cxn ang="0">
                  <a:pos x="13" y="0"/>
                </a:cxn>
              </a:cxnLst>
              <a:rect l="0" t="0" r="r" b="b"/>
              <a:pathLst>
                <a:path w="13" h="7">
                  <a:moveTo>
                    <a:pt x="13" y="0"/>
                  </a:moveTo>
                  <a:lnTo>
                    <a:pt x="12" y="0"/>
                  </a:lnTo>
                  <a:lnTo>
                    <a:pt x="7" y="0"/>
                  </a:lnTo>
                  <a:lnTo>
                    <a:pt x="6" y="3"/>
                  </a:lnTo>
                  <a:lnTo>
                    <a:pt x="0" y="6"/>
                  </a:lnTo>
                  <a:lnTo>
                    <a:pt x="0" y="7"/>
                  </a:lnTo>
                  <a:lnTo>
                    <a:pt x="7" y="4"/>
                  </a:lnTo>
                  <a:lnTo>
                    <a:pt x="1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5" name="Freeform 144"/>
            <p:cNvSpPr>
              <a:spLocks/>
            </p:cNvSpPr>
            <p:nvPr/>
          </p:nvSpPr>
          <p:spPr bwMode="auto">
            <a:xfrm>
              <a:off x="6883534" y="2963287"/>
              <a:ext cx="3511" cy="6085"/>
            </a:xfrm>
            <a:custGeom>
              <a:avLst/>
              <a:gdLst/>
              <a:ahLst/>
              <a:cxnLst>
                <a:cxn ang="0">
                  <a:pos x="0" y="6"/>
                </a:cxn>
                <a:cxn ang="0">
                  <a:pos x="1" y="6"/>
                </a:cxn>
                <a:cxn ang="0">
                  <a:pos x="1" y="6"/>
                </a:cxn>
                <a:cxn ang="0">
                  <a:pos x="2" y="5"/>
                </a:cxn>
                <a:cxn ang="0">
                  <a:pos x="2" y="5"/>
                </a:cxn>
                <a:cxn ang="0">
                  <a:pos x="2" y="3"/>
                </a:cxn>
                <a:cxn ang="0">
                  <a:pos x="4" y="2"/>
                </a:cxn>
                <a:cxn ang="0">
                  <a:pos x="4" y="2"/>
                </a:cxn>
                <a:cxn ang="0">
                  <a:pos x="4" y="2"/>
                </a:cxn>
                <a:cxn ang="0">
                  <a:pos x="4" y="0"/>
                </a:cxn>
                <a:cxn ang="0">
                  <a:pos x="4" y="0"/>
                </a:cxn>
                <a:cxn ang="0">
                  <a:pos x="2" y="0"/>
                </a:cxn>
                <a:cxn ang="0">
                  <a:pos x="1" y="3"/>
                </a:cxn>
                <a:cxn ang="0">
                  <a:pos x="0" y="5"/>
                </a:cxn>
                <a:cxn ang="0">
                  <a:pos x="1" y="5"/>
                </a:cxn>
                <a:cxn ang="0">
                  <a:pos x="0" y="6"/>
                </a:cxn>
                <a:cxn ang="0">
                  <a:pos x="0" y="6"/>
                </a:cxn>
              </a:cxnLst>
              <a:rect l="0" t="0" r="r" b="b"/>
              <a:pathLst>
                <a:path w="4" h="6">
                  <a:moveTo>
                    <a:pt x="0" y="6"/>
                  </a:moveTo>
                  <a:lnTo>
                    <a:pt x="1" y="6"/>
                  </a:lnTo>
                  <a:lnTo>
                    <a:pt x="1" y="6"/>
                  </a:lnTo>
                  <a:lnTo>
                    <a:pt x="2" y="5"/>
                  </a:lnTo>
                  <a:lnTo>
                    <a:pt x="2" y="5"/>
                  </a:lnTo>
                  <a:lnTo>
                    <a:pt x="2" y="3"/>
                  </a:lnTo>
                  <a:lnTo>
                    <a:pt x="4" y="2"/>
                  </a:lnTo>
                  <a:lnTo>
                    <a:pt x="4" y="2"/>
                  </a:lnTo>
                  <a:lnTo>
                    <a:pt x="4" y="2"/>
                  </a:lnTo>
                  <a:lnTo>
                    <a:pt x="4" y="0"/>
                  </a:lnTo>
                  <a:lnTo>
                    <a:pt x="4" y="0"/>
                  </a:lnTo>
                  <a:lnTo>
                    <a:pt x="2" y="0"/>
                  </a:lnTo>
                  <a:lnTo>
                    <a:pt x="1" y="3"/>
                  </a:lnTo>
                  <a:lnTo>
                    <a:pt x="0" y="5"/>
                  </a:lnTo>
                  <a:lnTo>
                    <a:pt x="1" y="5"/>
                  </a:lnTo>
                  <a:lnTo>
                    <a:pt x="0" y="6"/>
                  </a:lnTo>
                  <a:lnTo>
                    <a:pt x="0"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6" name="Freeform 145"/>
            <p:cNvSpPr>
              <a:spLocks/>
            </p:cNvSpPr>
            <p:nvPr/>
          </p:nvSpPr>
          <p:spPr bwMode="auto">
            <a:xfrm>
              <a:off x="6883534" y="2963287"/>
              <a:ext cx="3511" cy="6085"/>
            </a:xfrm>
            <a:custGeom>
              <a:avLst/>
              <a:gdLst/>
              <a:ahLst/>
              <a:cxnLst>
                <a:cxn ang="0">
                  <a:pos x="0" y="6"/>
                </a:cxn>
                <a:cxn ang="0">
                  <a:pos x="1" y="6"/>
                </a:cxn>
                <a:cxn ang="0">
                  <a:pos x="1" y="6"/>
                </a:cxn>
                <a:cxn ang="0">
                  <a:pos x="2" y="5"/>
                </a:cxn>
                <a:cxn ang="0">
                  <a:pos x="2" y="5"/>
                </a:cxn>
                <a:cxn ang="0">
                  <a:pos x="2" y="3"/>
                </a:cxn>
                <a:cxn ang="0">
                  <a:pos x="4" y="2"/>
                </a:cxn>
                <a:cxn ang="0">
                  <a:pos x="4" y="2"/>
                </a:cxn>
                <a:cxn ang="0">
                  <a:pos x="4" y="2"/>
                </a:cxn>
                <a:cxn ang="0">
                  <a:pos x="4" y="0"/>
                </a:cxn>
                <a:cxn ang="0">
                  <a:pos x="4" y="0"/>
                </a:cxn>
                <a:cxn ang="0">
                  <a:pos x="2" y="0"/>
                </a:cxn>
                <a:cxn ang="0">
                  <a:pos x="1" y="3"/>
                </a:cxn>
                <a:cxn ang="0">
                  <a:pos x="0" y="5"/>
                </a:cxn>
                <a:cxn ang="0">
                  <a:pos x="1" y="5"/>
                </a:cxn>
                <a:cxn ang="0">
                  <a:pos x="0" y="6"/>
                </a:cxn>
                <a:cxn ang="0">
                  <a:pos x="0" y="6"/>
                </a:cxn>
              </a:cxnLst>
              <a:rect l="0" t="0" r="r" b="b"/>
              <a:pathLst>
                <a:path w="4" h="6">
                  <a:moveTo>
                    <a:pt x="0" y="6"/>
                  </a:moveTo>
                  <a:lnTo>
                    <a:pt x="1" y="6"/>
                  </a:lnTo>
                  <a:lnTo>
                    <a:pt x="1" y="6"/>
                  </a:lnTo>
                  <a:lnTo>
                    <a:pt x="2" y="5"/>
                  </a:lnTo>
                  <a:lnTo>
                    <a:pt x="2" y="5"/>
                  </a:lnTo>
                  <a:lnTo>
                    <a:pt x="2" y="3"/>
                  </a:lnTo>
                  <a:lnTo>
                    <a:pt x="4" y="2"/>
                  </a:lnTo>
                  <a:lnTo>
                    <a:pt x="4" y="2"/>
                  </a:lnTo>
                  <a:lnTo>
                    <a:pt x="4" y="2"/>
                  </a:lnTo>
                  <a:lnTo>
                    <a:pt x="4" y="0"/>
                  </a:lnTo>
                  <a:lnTo>
                    <a:pt x="4" y="0"/>
                  </a:lnTo>
                  <a:lnTo>
                    <a:pt x="2" y="0"/>
                  </a:lnTo>
                  <a:lnTo>
                    <a:pt x="1" y="3"/>
                  </a:lnTo>
                  <a:lnTo>
                    <a:pt x="0" y="5"/>
                  </a:lnTo>
                  <a:lnTo>
                    <a:pt x="1" y="5"/>
                  </a:lnTo>
                  <a:lnTo>
                    <a:pt x="0" y="6"/>
                  </a:lnTo>
                  <a:lnTo>
                    <a:pt x="0"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7" name="Freeform 146"/>
            <p:cNvSpPr>
              <a:spLocks/>
            </p:cNvSpPr>
            <p:nvPr/>
          </p:nvSpPr>
          <p:spPr bwMode="auto">
            <a:xfrm>
              <a:off x="7325946" y="3073827"/>
              <a:ext cx="7022" cy="30424"/>
            </a:xfrm>
            <a:custGeom>
              <a:avLst/>
              <a:gdLst/>
              <a:ahLst/>
              <a:cxnLst>
                <a:cxn ang="0">
                  <a:pos x="6" y="0"/>
                </a:cxn>
                <a:cxn ang="0">
                  <a:pos x="0" y="24"/>
                </a:cxn>
                <a:cxn ang="0">
                  <a:pos x="0" y="26"/>
                </a:cxn>
                <a:cxn ang="0">
                  <a:pos x="1" y="29"/>
                </a:cxn>
                <a:cxn ang="0">
                  <a:pos x="3" y="28"/>
                </a:cxn>
                <a:cxn ang="0">
                  <a:pos x="3" y="26"/>
                </a:cxn>
                <a:cxn ang="0">
                  <a:pos x="6" y="10"/>
                </a:cxn>
                <a:cxn ang="0">
                  <a:pos x="4" y="9"/>
                </a:cxn>
                <a:cxn ang="0">
                  <a:pos x="4" y="8"/>
                </a:cxn>
                <a:cxn ang="0">
                  <a:pos x="6" y="6"/>
                </a:cxn>
                <a:cxn ang="0">
                  <a:pos x="7" y="0"/>
                </a:cxn>
                <a:cxn ang="0">
                  <a:pos x="6" y="0"/>
                </a:cxn>
              </a:cxnLst>
              <a:rect l="0" t="0" r="r" b="b"/>
              <a:pathLst>
                <a:path w="7" h="29">
                  <a:moveTo>
                    <a:pt x="6" y="0"/>
                  </a:moveTo>
                  <a:lnTo>
                    <a:pt x="0" y="24"/>
                  </a:lnTo>
                  <a:lnTo>
                    <a:pt x="0" y="26"/>
                  </a:lnTo>
                  <a:lnTo>
                    <a:pt x="1" y="29"/>
                  </a:lnTo>
                  <a:lnTo>
                    <a:pt x="3" y="28"/>
                  </a:lnTo>
                  <a:lnTo>
                    <a:pt x="3" y="26"/>
                  </a:lnTo>
                  <a:lnTo>
                    <a:pt x="6" y="10"/>
                  </a:lnTo>
                  <a:lnTo>
                    <a:pt x="4" y="9"/>
                  </a:lnTo>
                  <a:lnTo>
                    <a:pt x="4" y="8"/>
                  </a:lnTo>
                  <a:lnTo>
                    <a:pt x="6" y="6"/>
                  </a:lnTo>
                  <a:lnTo>
                    <a:pt x="7" y="0"/>
                  </a:lnTo>
                  <a:lnTo>
                    <a:pt x="6"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8" name="Freeform 147"/>
            <p:cNvSpPr>
              <a:spLocks/>
            </p:cNvSpPr>
            <p:nvPr/>
          </p:nvSpPr>
          <p:spPr bwMode="auto">
            <a:xfrm>
              <a:off x="7325946" y="3073827"/>
              <a:ext cx="7022" cy="30424"/>
            </a:xfrm>
            <a:custGeom>
              <a:avLst/>
              <a:gdLst/>
              <a:ahLst/>
              <a:cxnLst>
                <a:cxn ang="0">
                  <a:pos x="6" y="0"/>
                </a:cxn>
                <a:cxn ang="0">
                  <a:pos x="0" y="24"/>
                </a:cxn>
                <a:cxn ang="0">
                  <a:pos x="0" y="26"/>
                </a:cxn>
                <a:cxn ang="0">
                  <a:pos x="1" y="29"/>
                </a:cxn>
                <a:cxn ang="0">
                  <a:pos x="3" y="28"/>
                </a:cxn>
                <a:cxn ang="0">
                  <a:pos x="3" y="26"/>
                </a:cxn>
                <a:cxn ang="0">
                  <a:pos x="6" y="10"/>
                </a:cxn>
                <a:cxn ang="0">
                  <a:pos x="4" y="9"/>
                </a:cxn>
                <a:cxn ang="0">
                  <a:pos x="4" y="8"/>
                </a:cxn>
                <a:cxn ang="0">
                  <a:pos x="6" y="6"/>
                </a:cxn>
                <a:cxn ang="0">
                  <a:pos x="7" y="0"/>
                </a:cxn>
                <a:cxn ang="0">
                  <a:pos x="6" y="0"/>
                </a:cxn>
              </a:cxnLst>
              <a:rect l="0" t="0" r="r" b="b"/>
              <a:pathLst>
                <a:path w="7" h="29">
                  <a:moveTo>
                    <a:pt x="6" y="0"/>
                  </a:moveTo>
                  <a:lnTo>
                    <a:pt x="0" y="24"/>
                  </a:lnTo>
                  <a:lnTo>
                    <a:pt x="0" y="26"/>
                  </a:lnTo>
                  <a:lnTo>
                    <a:pt x="1" y="29"/>
                  </a:lnTo>
                  <a:lnTo>
                    <a:pt x="3" y="28"/>
                  </a:lnTo>
                  <a:lnTo>
                    <a:pt x="3" y="26"/>
                  </a:lnTo>
                  <a:lnTo>
                    <a:pt x="6" y="10"/>
                  </a:lnTo>
                  <a:lnTo>
                    <a:pt x="4" y="9"/>
                  </a:lnTo>
                  <a:lnTo>
                    <a:pt x="4" y="8"/>
                  </a:lnTo>
                  <a:lnTo>
                    <a:pt x="6" y="6"/>
                  </a:lnTo>
                  <a:lnTo>
                    <a:pt x="7" y="0"/>
                  </a:lnTo>
                  <a:lnTo>
                    <a:pt x="6"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9" name="Freeform 148"/>
            <p:cNvSpPr>
              <a:spLocks/>
            </p:cNvSpPr>
            <p:nvPr/>
          </p:nvSpPr>
          <p:spPr bwMode="auto">
            <a:xfrm>
              <a:off x="7340868" y="3167127"/>
              <a:ext cx="2634" cy="7098"/>
            </a:xfrm>
            <a:custGeom>
              <a:avLst/>
              <a:gdLst/>
              <a:ahLst/>
              <a:cxnLst>
                <a:cxn ang="0">
                  <a:pos x="3" y="1"/>
                </a:cxn>
                <a:cxn ang="0">
                  <a:pos x="1" y="0"/>
                </a:cxn>
                <a:cxn ang="0">
                  <a:pos x="0" y="1"/>
                </a:cxn>
                <a:cxn ang="0">
                  <a:pos x="0" y="4"/>
                </a:cxn>
                <a:cxn ang="0">
                  <a:pos x="1" y="7"/>
                </a:cxn>
                <a:cxn ang="0">
                  <a:pos x="3" y="6"/>
                </a:cxn>
                <a:cxn ang="0">
                  <a:pos x="3" y="3"/>
                </a:cxn>
                <a:cxn ang="0">
                  <a:pos x="3" y="0"/>
                </a:cxn>
                <a:cxn ang="0">
                  <a:pos x="3" y="1"/>
                </a:cxn>
              </a:cxnLst>
              <a:rect l="0" t="0" r="r" b="b"/>
              <a:pathLst>
                <a:path w="3" h="7">
                  <a:moveTo>
                    <a:pt x="3" y="1"/>
                  </a:moveTo>
                  <a:lnTo>
                    <a:pt x="1" y="0"/>
                  </a:lnTo>
                  <a:lnTo>
                    <a:pt x="0" y="1"/>
                  </a:lnTo>
                  <a:lnTo>
                    <a:pt x="0" y="4"/>
                  </a:lnTo>
                  <a:lnTo>
                    <a:pt x="1" y="7"/>
                  </a:lnTo>
                  <a:lnTo>
                    <a:pt x="3" y="6"/>
                  </a:lnTo>
                  <a:lnTo>
                    <a:pt x="3" y="3"/>
                  </a:lnTo>
                  <a:lnTo>
                    <a:pt x="3" y="0"/>
                  </a:lnTo>
                  <a:lnTo>
                    <a:pt x="3"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0" name="Freeform 149"/>
            <p:cNvSpPr>
              <a:spLocks/>
            </p:cNvSpPr>
            <p:nvPr/>
          </p:nvSpPr>
          <p:spPr bwMode="auto">
            <a:xfrm>
              <a:off x="7340868" y="3167127"/>
              <a:ext cx="2634" cy="7098"/>
            </a:xfrm>
            <a:custGeom>
              <a:avLst/>
              <a:gdLst/>
              <a:ahLst/>
              <a:cxnLst>
                <a:cxn ang="0">
                  <a:pos x="3" y="1"/>
                </a:cxn>
                <a:cxn ang="0">
                  <a:pos x="1" y="0"/>
                </a:cxn>
                <a:cxn ang="0">
                  <a:pos x="0" y="1"/>
                </a:cxn>
                <a:cxn ang="0">
                  <a:pos x="0" y="4"/>
                </a:cxn>
                <a:cxn ang="0">
                  <a:pos x="1" y="7"/>
                </a:cxn>
                <a:cxn ang="0">
                  <a:pos x="3" y="6"/>
                </a:cxn>
                <a:cxn ang="0">
                  <a:pos x="3" y="3"/>
                </a:cxn>
                <a:cxn ang="0">
                  <a:pos x="3" y="0"/>
                </a:cxn>
                <a:cxn ang="0">
                  <a:pos x="3" y="1"/>
                </a:cxn>
              </a:cxnLst>
              <a:rect l="0" t="0" r="r" b="b"/>
              <a:pathLst>
                <a:path w="3" h="7">
                  <a:moveTo>
                    <a:pt x="3" y="1"/>
                  </a:moveTo>
                  <a:lnTo>
                    <a:pt x="1" y="0"/>
                  </a:lnTo>
                  <a:lnTo>
                    <a:pt x="0" y="1"/>
                  </a:lnTo>
                  <a:lnTo>
                    <a:pt x="0" y="4"/>
                  </a:lnTo>
                  <a:lnTo>
                    <a:pt x="1" y="7"/>
                  </a:lnTo>
                  <a:lnTo>
                    <a:pt x="3" y="6"/>
                  </a:lnTo>
                  <a:lnTo>
                    <a:pt x="3" y="3"/>
                  </a:lnTo>
                  <a:lnTo>
                    <a:pt x="3" y="0"/>
                  </a:lnTo>
                  <a:lnTo>
                    <a:pt x="3" y="1"/>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1" name="Freeform 150"/>
            <p:cNvSpPr>
              <a:spLocks/>
            </p:cNvSpPr>
            <p:nvPr/>
          </p:nvSpPr>
          <p:spPr bwMode="auto">
            <a:xfrm>
              <a:off x="7476049" y="3119464"/>
              <a:ext cx="878" cy="6085"/>
            </a:xfrm>
            <a:custGeom>
              <a:avLst/>
              <a:gdLst/>
              <a:ahLst/>
              <a:cxnLst>
                <a:cxn ang="0">
                  <a:pos x="0" y="0"/>
                </a:cxn>
                <a:cxn ang="0">
                  <a:pos x="1" y="1"/>
                </a:cxn>
                <a:cxn ang="0">
                  <a:pos x="1" y="4"/>
                </a:cxn>
                <a:cxn ang="0">
                  <a:pos x="1" y="6"/>
                </a:cxn>
                <a:cxn ang="0">
                  <a:pos x="0" y="3"/>
                </a:cxn>
                <a:cxn ang="0">
                  <a:pos x="0" y="1"/>
                </a:cxn>
                <a:cxn ang="0">
                  <a:pos x="0" y="0"/>
                </a:cxn>
              </a:cxnLst>
              <a:rect l="0" t="0" r="r" b="b"/>
              <a:pathLst>
                <a:path w="1" h="6">
                  <a:moveTo>
                    <a:pt x="0" y="0"/>
                  </a:moveTo>
                  <a:lnTo>
                    <a:pt x="1" y="1"/>
                  </a:lnTo>
                  <a:lnTo>
                    <a:pt x="1" y="4"/>
                  </a:lnTo>
                  <a:lnTo>
                    <a:pt x="1" y="6"/>
                  </a:lnTo>
                  <a:lnTo>
                    <a:pt x="0" y="3"/>
                  </a:lnTo>
                  <a:lnTo>
                    <a:pt x="0" y="1"/>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2" name="Freeform 151"/>
            <p:cNvSpPr>
              <a:spLocks/>
            </p:cNvSpPr>
            <p:nvPr/>
          </p:nvSpPr>
          <p:spPr bwMode="auto">
            <a:xfrm>
              <a:off x="7476049" y="3119464"/>
              <a:ext cx="878" cy="6085"/>
            </a:xfrm>
            <a:custGeom>
              <a:avLst/>
              <a:gdLst/>
              <a:ahLst/>
              <a:cxnLst>
                <a:cxn ang="0">
                  <a:pos x="0" y="0"/>
                </a:cxn>
                <a:cxn ang="0">
                  <a:pos x="1" y="1"/>
                </a:cxn>
                <a:cxn ang="0">
                  <a:pos x="1" y="4"/>
                </a:cxn>
                <a:cxn ang="0">
                  <a:pos x="1" y="6"/>
                </a:cxn>
                <a:cxn ang="0">
                  <a:pos x="0" y="3"/>
                </a:cxn>
                <a:cxn ang="0">
                  <a:pos x="0" y="1"/>
                </a:cxn>
                <a:cxn ang="0">
                  <a:pos x="0" y="0"/>
                </a:cxn>
              </a:cxnLst>
              <a:rect l="0" t="0" r="r" b="b"/>
              <a:pathLst>
                <a:path w="1" h="6">
                  <a:moveTo>
                    <a:pt x="0" y="0"/>
                  </a:moveTo>
                  <a:lnTo>
                    <a:pt x="1" y="1"/>
                  </a:lnTo>
                  <a:lnTo>
                    <a:pt x="1" y="4"/>
                  </a:lnTo>
                  <a:lnTo>
                    <a:pt x="1" y="6"/>
                  </a:lnTo>
                  <a:lnTo>
                    <a:pt x="0" y="3"/>
                  </a:lnTo>
                  <a:lnTo>
                    <a:pt x="0" y="1"/>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3" name="Freeform 152"/>
            <p:cNvSpPr>
              <a:spLocks/>
            </p:cNvSpPr>
            <p:nvPr/>
          </p:nvSpPr>
          <p:spPr bwMode="auto">
            <a:xfrm>
              <a:off x="7804346" y="2736121"/>
              <a:ext cx="1756" cy="4057"/>
            </a:xfrm>
            <a:custGeom>
              <a:avLst/>
              <a:gdLst/>
              <a:ahLst/>
              <a:cxnLst>
                <a:cxn ang="0">
                  <a:pos x="2" y="0"/>
                </a:cxn>
                <a:cxn ang="0">
                  <a:pos x="0" y="2"/>
                </a:cxn>
                <a:cxn ang="0">
                  <a:pos x="0" y="3"/>
                </a:cxn>
                <a:cxn ang="0">
                  <a:pos x="2" y="2"/>
                </a:cxn>
                <a:cxn ang="0">
                  <a:pos x="2" y="0"/>
                </a:cxn>
              </a:cxnLst>
              <a:rect l="0" t="0" r="r" b="b"/>
              <a:pathLst>
                <a:path w="2" h="3">
                  <a:moveTo>
                    <a:pt x="2" y="0"/>
                  </a:moveTo>
                  <a:lnTo>
                    <a:pt x="0" y="2"/>
                  </a:lnTo>
                  <a:lnTo>
                    <a:pt x="0" y="3"/>
                  </a:lnTo>
                  <a:lnTo>
                    <a:pt x="2" y="2"/>
                  </a:lnTo>
                  <a:lnTo>
                    <a:pt x="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4" name="Freeform 153"/>
            <p:cNvSpPr>
              <a:spLocks/>
            </p:cNvSpPr>
            <p:nvPr/>
          </p:nvSpPr>
          <p:spPr bwMode="auto">
            <a:xfrm>
              <a:off x="7804346" y="2736121"/>
              <a:ext cx="1756" cy="4057"/>
            </a:xfrm>
            <a:custGeom>
              <a:avLst/>
              <a:gdLst/>
              <a:ahLst/>
              <a:cxnLst>
                <a:cxn ang="0">
                  <a:pos x="2" y="0"/>
                </a:cxn>
                <a:cxn ang="0">
                  <a:pos x="0" y="2"/>
                </a:cxn>
                <a:cxn ang="0">
                  <a:pos x="0" y="3"/>
                </a:cxn>
                <a:cxn ang="0">
                  <a:pos x="2" y="2"/>
                </a:cxn>
                <a:cxn ang="0">
                  <a:pos x="2" y="0"/>
                </a:cxn>
              </a:cxnLst>
              <a:rect l="0" t="0" r="r" b="b"/>
              <a:pathLst>
                <a:path w="2" h="3">
                  <a:moveTo>
                    <a:pt x="2" y="0"/>
                  </a:moveTo>
                  <a:lnTo>
                    <a:pt x="0" y="2"/>
                  </a:lnTo>
                  <a:lnTo>
                    <a:pt x="0" y="3"/>
                  </a:lnTo>
                  <a:lnTo>
                    <a:pt x="2" y="2"/>
                  </a:lnTo>
                  <a:lnTo>
                    <a:pt x="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5" name="Freeform 154"/>
            <p:cNvSpPr>
              <a:spLocks/>
            </p:cNvSpPr>
            <p:nvPr/>
          </p:nvSpPr>
          <p:spPr bwMode="auto">
            <a:xfrm>
              <a:off x="7806980" y="2730036"/>
              <a:ext cx="1756" cy="6085"/>
            </a:xfrm>
            <a:custGeom>
              <a:avLst/>
              <a:gdLst/>
              <a:ahLst/>
              <a:cxnLst>
                <a:cxn ang="0">
                  <a:pos x="0" y="0"/>
                </a:cxn>
                <a:cxn ang="0">
                  <a:pos x="2" y="0"/>
                </a:cxn>
                <a:cxn ang="0">
                  <a:pos x="2" y="3"/>
                </a:cxn>
                <a:cxn ang="0">
                  <a:pos x="2" y="6"/>
                </a:cxn>
                <a:cxn ang="0">
                  <a:pos x="0" y="3"/>
                </a:cxn>
                <a:cxn ang="0">
                  <a:pos x="0" y="2"/>
                </a:cxn>
                <a:cxn ang="0">
                  <a:pos x="0" y="0"/>
                </a:cxn>
              </a:cxnLst>
              <a:rect l="0" t="0" r="r" b="b"/>
              <a:pathLst>
                <a:path w="2" h="6">
                  <a:moveTo>
                    <a:pt x="0" y="0"/>
                  </a:moveTo>
                  <a:lnTo>
                    <a:pt x="2" y="0"/>
                  </a:lnTo>
                  <a:lnTo>
                    <a:pt x="2" y="3"/>
                  </a:lnTo>
                  <a:lnTo>
                    <a:pt x="2" y="6"/>
                  </a:lnTo>
                  <a:lnTo>
                    <a:pt x="0" y="3"/>
                  </a:lnTo>
                  <a:lnTo>
                    <a:pt x="0" y="2"/>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6" name="Freeform 155"/>
            <p:cNvSpPr>
              <a:spLocks/>
            </p:cNvSpPr>
            <p:nvPr/>
          </p:nvSpPr>
          <p:spPr bwMode="auto">
            <a:xfrm>
              <a:off x="7806980" y="2730036"/>
              <a:ext cx="1756" cy="6085"/>
            </a:xfrm>
            <a:custGeom>
              <a:avLst/>
              <a:gdLst/>
              <a:ahLst/>
              <a:cxnLst>
                <a:cxn ang="0">
                  <a:pos x="0" y="0"/>
                </a:cxn>
                <a:cxn ang="0">
                  <a:pos x="2" y="0"/>
                </a:cxn>
                <a:cxn ang="0">
                  <a:pos x="2" y="3"/>
                </a:cxn>
                <a:cxn ang="0">
                  <a:pos x="2" y="6"/>
                </a:cxn>
                <a:cxn ang="0">
                  <a:pos x="0" y="3"/>
                </a:cxn>
                <a:cxn ang="0">
                  <a:pos x="0" y="2"/>
                </a:cxn>
                <a:cxn ang="0">
                  <a:pos x="0" y="0"/>
                </a:cxn>
              </a:cxnLst>
              <a:rect l="0" t="0" r="r" b="b"/>
              <a:pathLst>
                <a:path w="2" h="6">
                  <a:moveTo>
                    <a:pt x="0" y="0"/>
                  </a:moveTo>
                  <a:lnTo>
                    <a:pt x="2" y="0"/>
                  </a:lnTo>
                  <a:lnTo>
                    <a:pt x="2" y="3"/>
                  </a:lnTo>
                  <a:lnTo>
                    <a:pt x="2" y="6"/>
                  </a:lnTo>
                  <a:lnTo>
                    <a:pt x="0" y="3"/>
                  </a:lnTo>
                  <a:lnTo>
                    <a:pt x="0" y="2"/>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7" name="Freeform 156"/>
            <p:cNvSpPr>
              <a:spLocks/>
            </p:cNvSpPr>
            <p:nvPr/>
          </p:nvSpPr>
          <p:spPr bwMode="auto">
            <a:xfrm>
              <a:off x="7826291" y="2676287"/>
              <a:ext cx="1756" cy="3042"/>
            </a:xfrm>
            <a:custGeom>
              <a:avLst/>
              <a:gdLst/>
              <a:ahLst/>
              <a:cxnLst>
                <a:cxn ang="0">
                  <a:pos x="1" y="0"/>
                </a:cxn>
                <a:cxn ang="0">
                  <a:pos x="0" y="2"/>
                </a:cxn>
                <a:cxn ang="0">
                  <a:pos x="0" y="2"/>
                </a:cxn>
                <a:cxn ang="0">
                  <a:pos x="1" y="3"/>
                </a:cxn>
                <a:cxn ang="0">
                  <a:pos x="2" y="2"/>
                </a:cxn>
                <a:cxn ang="0">
                  <a:pos x="1" y="0"/>
                </a:cxn>
              </a:cxnLst>
              <a:rect l="0" t="0" r="r" b="b"/>
              <a:pathLst>
                <a:path w="2" h="3">
                  <a:moveTo>
                    <a:pt x="1" y="0"/>
                  </a:moveTo>
                  <a:lnTo>
                    <a:pt x="0" y="2"/>
                  </a:lnTo>
                  <a:lnTo>
                    <a:pt x="0" y="2"/>
                  </a:lnTo>
                  <a:lnTo>
                    <a:pt x="1" y="3"/>
                  </a:lnTo>
                  <a:lnTo>
                    <a:pt x="2" y="2"/>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8" name="Freeform 157"/>
            <p:cNvSpPr>
              <a:spLocks/>
            </p:cNvSpPr>
            <p:nvPr/>
          </p:nvSpPr>
          <p:spPr bwMode="auto">
            <a:xfrm>
              <a:off x="7826291" y="2676287"/>
              <a:ext cx="1756" cy="3042"/>
            </a:xfrm>
            <a:custGeom>
              <a:avLst/>
              <a:gdLst/>
              <a:ahLst/>
              <a:cxnLst>
                <a:cxn ang="0">
                  <a:pos x="1" y="0"/>
                </a:cxn>
                <a:cxn ang="0">
                  <a:pos x="0" y="2"/>
                </a:cxn>
                <a:cxn ang="0">
                  <a:pos x="0" y="2"/>
                </a:cxn>
                <a:cxn ang="0">
                  <a:pos x="1" y="3"/>
                </a:cxn>
                <a:cxn ang="0">
                  <a:pos x="2" y="2"/>
                </a:cxn>
                <a:cxn ang="0">
                  <a:pos x="1" y="0"/>
                </a:cxn>
              </a:cxnLst>
              <a:rect l="0" t="0" r="r" b="b"/>
              <a:pathLst>
                <a:path w="2" h="3">
                  <a:moveTo>
                    <a:pt x="1" y="0"/>
                  </a:moveTo>
                  <a:lnTo>
                    <a:pt x="0" y="2"/>
                  </a:lnTo>
                  <a:lnTo>
                    <a:pt x="0" y="2"/>
                  </a:lnTo>
                  <a:lnTo>
                    <a:pt x="1" y="3"/>
                  </a:lnTo>
                  <a:lnTo>
                    <a:pt x="2" y="2"/>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59" name="Freeform 158"/>
            <p:cNvSpPr>
              <a:spLocks/>
            </p:cNvSpPr>
            <p:nvPr/>
          </p:nvSpPr>
          <p:spPr bwMode="auto">
            <a:xfrm>
              <a:off x="7765723" y="2750320"/>
              <a:ext cx="8777" cy="6085"/>
            </a:xfrm>
            <a:custGeom>
              <a:avLst/>
              <a:gdLst/>
              <a:ahLst/>
              <a:cxnLst>
                <a:cxn ang="0">
                  <a:pos x="2" y="3"/>
                </a:cxn>
                <a:cxn ang="0">
                  <a:pos x="0" y="5"/>
                </a:cxn>
                <a:cxn ang="0">
                  <a:pos x="0" y="6"/>
                </a:cxn>
                <a:cxn ang="0">
                  <a:pos x="7" y="6"/>
                </a:cxn>
                <a:cxn ang="0">
                  <a:pos x="10" y="3"/>
                </a:cxn>
                <a:cxn ang="0">
                  <a:pos x="10" y="0"/>
                </a:cxn>
                <a:cxn ang="0">
                  <a:pos x="6" y="0"/>
                </a:cxn>
                <a:cxn ang="0">
                  <a:pos x="2" y="3"/>
                </a:cxn>
              </a:cxnLst>
              <a:rect l="0" t="0" r="r" b="b"/>
              <a:pathLst>
                <a:path w="10" h="6">
                  <a:moveTo>
                    <a:pt x="2" y="3"/>
                  </a:moveTo>
                  <a:lnTo>
                    <a:pt x="0" y="5"/>
                  </a:lnTo>
                  <a:lnTo>
                    <a:pt x="0" y="6"/>
                  </a:lnTo>
                  <a:lnTo>
                    <a:pt x="7" y="6"/>
                  </a:lnTo>
                  <a:lnTo>
                    <a:pt x="10" y="3"/>
                  </a:lnTo>
                  <a:lnTo>
                    <a:pt x="10" y="0"/>
                  </a:lnTo>
                  <a:lnTo>
                    <a:pt x="6" y="0"/>
                  </a:lnTo>
                  <a:lnTo>
                    <a:pt x="2"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0" name="Freeform 159"/>
            <p:cNvSpPr>
              <a:spLocks/>
            </p:cNvSpPr>
            <p:nvPr/>
          </p:nvSpPr>
          <p:spPr bwMode="auto">
            <a:xfrm>
              <a:off x="7765723" y="2750320"/>
              <a:ext cx="8777" cy="6085"/>
            </a:xfrm>
            <a:custGeom>
              <a:avLst/>
              <a:gdLst/>
              <a:ahLst/>
              <a:cxnLst>
                <a:cxn ang="0">
                  <a:pos x="2" y="3"/>
                </a:cxn>
                <a:cxn ang="0">
                  <a:pos x="0" y="5"/>
                </a:cxn>
                <a:cxn ang="0">
                  <a:pos x="0" y="6"/>
                </a:cxn>
                <a:cxn ang="0">
                  <a:pos x="7" y="6"/>
                </a:cxn>
                <a:cxn ang="0">
                  <a:pos x="10" y="3"/>
                </a:cxn>
                <a:cxn ang="0">
                  <a:pos x="10" y="0"/>
                </a:cxn>
                <a:cxn ang="0">
                  <a:pos x="6" y="0"/>
                </a:cxn>
                <a:cxn ang="0">
                  <a:pos x="2" y="3"/>
                </a:cxn>
              </a:cxnLst>
              <a:rect l="0" t="0" r="r" b="b"/>
              <a:pathLst>
                <a:path w="10" h="6">
                  <a:moveTo>
                    <a:pt x="2" y="3"/>
                  </a:moveTo>
                  <a:lnTo>
                    <a:pt x="0" y="5"/>
                  </a:lnTo>
                  <a:lnTo>
                    <a:pt x="0" y="6"/>
                  </a:lnTo>
                  <a:lnTo>
                    <a:pt x="7" y="6"/>
                  </a:lnTo>
                  <a:lnTo>
                    <a:pt x="10" y="3"/>
                  </a:lnTo>
                  <a:lnTo>
                    <a:pt x="10" y="0"/>
                  </a:lnTo>
                  <a:lnTo>
                    <a:pt x="6" y="0"/>
                  </a:lnTo>
                  <a:lnTo>
                    <a:pt x="2"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1" name="Freeform 160"/>
            <p:cNvSpPr>
              <a:spLocks/>
            </p:cNvSpPr>
            <p:nvPr/>
          </p:nvSpPr>
          <p:spPr bwMode="auto">
            <a:xfrm>
              <a:off x="8126500" y="2905482"/>
              <a:ext cx="877" cy="1014"/>
            </a:xfrm>
            <a:custGeom>
              <a:avLst/>
              <a:gdLst/>
              <a:ahLst/>
              <a:cxnLst>
                <a:cxn ang="0">
                  <a:pos x="1" y="0"/>
                </a:cxn>
                <a:cxn ang="0">
                  <a:pos x="1" y="0"/>
                </a:cxn>
                <a:cxn ang="0">
                  <a:pos x="0" y="0"/>
                </a:cxn>
                <a:cxn ang="0">
                  <a:pos x="1" y="0"/>
                </a:cxn>
                <a:cxn ang="0">
                  <a:pos x="1" y="0"/>
                </a:cxn>
                <a:cxn ang="0">
                  <a:pos x="0" y="0"/>
                </a:cxn>
                <a:cxn ang="0">
                  <a:pos x="0" y="0"/>
                </a:cxn>
                <a:cxn ang="0">
                  <a:pos x="0" y="0"/>
                </a:cxn>
                <a:cxn ang="0">
                  <a:pos x="1" y="0"/>
                </a:cxn>
              </a:cxnLst>
              <a:rect l="0" t="0" r="r" b="b"/>
              <a:pathLst>
                <a:path w="1">
                  <a:moveTo>
                    <a:pt x="1" y="0"/>
                  </a:moveTo>
                  <a:lnTo>
                    <a:pt x="1" y="0"/>
                  </a:lnTo>
                  <a:lnTo>
                    <a:pt x="0" y="0"/>
                  </a:lnTo>
                  <a:lnTo>
                    <a:pt x="1" y="0"/>
                  </a:lnTo>
                  <a:lnTo>
                    <a:pt x="1" y="0"/>
                  </a:lnTo>
                  <a:lnTo>
                    <a:pt x="0" y="0"/>
                  </a:lnTo>
                  <a:lnTo>
                    <a:pt x="0" y="0"/>
                  </a:lnTo>
                  <a:lnTo>
                    <a:pt x="0" y="0"/>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2" name="Freeform 161"/>
            <p:cNvSpPr>
              <a:spLocks/>
            </p:cNvSpPr>
            <p:nvPr/>
          </p:nvSpPr>
          <p:spPr bwMode="auto">
            <a:xfrm>
              <a:off x="8126500" y="2905482"/>
              <a:ext cx="877" cy="1014"/>
            </a:xfrm>
            <a:custGeom>
              <a:avLst/>
              <a:gdLst/>
              <a:ahLst/>
              <a:cxnLst>
                <a:cxn ang="0">
                  <a:pos x="1" y="0"/>
                </a:cxn>
                <a:cxn ang="0">
                  <a:pos x="1" y="0"/>
                </a:cxn>
                <a:cxn ang="0">
                  <a:pos x="0" y="0"/>
                </a:cxn>
                <a:cxn ang="0">
                  <a:pos x="1" y="0"/>
                </a:cxn>
                <a:cxn ang="0">
                  <a:pos x="1" y="0"/>
                </a:cxn>
                <a:cxn ang="0">
                  <a:pos x="0" y="0"/>
                </a:cxn>
                <a:cxn ang="0">
                  <a:pos x="0" y="0"/>
                </a:cxn>
                <a:cxn ang="0">
                  <a:pos x="0" y="0"/>
                </a:cxn>
                <a:cxn ang="0">
                  <a:pos x="1" y="0"/>
                </a:cxn>
              </a:cxnLst>
              <a:rect l="0" t="0" r="r" b="b"/>
              <a:pathLst>
                <a:path w="1">
                  <a:moveTo>
                    <a:pt x="1" y="0"/>
                  </a:moveTo>
                  <a:lnTo>
                    <a:pt x="1" y="0"/>
                  </a:lnTo>
                  <a:lnTo>
                    <a:pt x="0" y="0"/>
                  </a:lnTo>
                  <a:lnTo>
                    <a:pt x="1" y="0"/>
                  </a:lnTo>
                  <a:lnTo>
                    <a:pt x="1" y="0"/>
                  </a:lnTo>
                  <a:lnTo>
                    <a:pt x="0" y="0"/>
                  </a:lnTo>
                  <a:lnTo>
                    <a:pt x="0" y="0"/>
                  </a:lnTo>
                  <a:lnTo>
                    <a:pt x="0" y="0"/>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3" name="Freeform 162"/>
            <p:cNvSpPr>
              <a:spLocks/>
            </p:cNvSpPr>
            <p:nvPr/>
          </p:nvSpPr>
          <p:spPr bwMode="auto">
            <a:xfrm>
              <a:off x="8015018" y="2974443"/>
              <a:ext cx="878" cy="1014"/>
            </a:xfrm>
            <a:custGeom>
              <a:avLst/>
              <a:gdLst/>
              <a:ahLst/>
              <a:cxnLst>
                <a:cxn ang="0">
                  <a:pos x="0" y="0"/>
                </a:cxn>
                <a:cxn ang="0">
                  <a:pos x="1" y="0"/>
                </a:cxn>
                <a:cxn ang="0">
                  <a:pos x="0" y="0"/>
                </a:cxn>
                <a:cxn ang="0">
                  <a:pos x="0" y="0"/>
                </a:cxn>
                <a:cxn ang="0">
                  <a:pos x="0" y="0"/>
                </a:cxn>
                <a:cxn ang="0">
                  <a:pos x="0" y="0"/>
                </a:cxn>
              </a:cxnLst>
              <a:rect l="0" t="0" r="r" b="b"/>
              <a:pathLst>
                <a:path w="1">
                  <a:moveTo>
                    <a:pt x="0" y="0"/>
                  </a:moveTo>
                  <a:lnTo>
                    <a:pt x="1" y="0"/>
                  </a:lnTo>
                  <a:lnTo>
                    <a:pt x="0" y="0"/>
                  </a:lnTo>
                  <a:lnTo>
                    <a:pt x="0" y="0"/>
                  </a:lnTo>
                  <a:lnTo>
                    <a:pt x="0" y="0"/>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4" name="Freeform 163"/>
            <p:cNvSpPr>
              <a:spLocks/>
            </p:cNvSpPr>
            <p:nvPr/>
          </p:nvSpPr>
          <p:spPr bwMode="auto">
            <a:xfrm>
              <a:off x="8015018" y="2974443"/>
              <a:ext cx="878" cy="1014"/>
            </a:xfrm>
            <a:custGeom>
              <a:avLst/>
              <a:gdLst/>
              <a:ahLst/>
              <a:cxnLst>
                <a:cxn ang="0">
                  <a:pos x="0" y="0"/>
                </a:cxn>
                <a:cxn ang="0">
                  <a:pos x="1" y="0"/>
                </a:cxn>
                <a:cxn ang="0">
                  <a:pos x="0" y="0"/>
                </a:cxn>
                <a:cxn ang="0">
                  <a:pos x="0" y="0"/>
                </a:cxn>
                <a:cxn ang="0">
                  <a:pos x="0" y="0"/>
                </a:cxn>
                <a:cxn ang="0">
                  <a:pos x="0" y="0"/>
                </a:cxn>
              </a:cxnLst>
              <a:rect l="0" t="0" r="r" b="b"/>
              <a:pathLst>
                <a:path w="1">
                  <a:moveTo>
                    <a:pt x="0" y="0"/>
                  </a:moveTo>
                  <a:lnTo>
                    <a:pt x="1" y="0"/>
                  </a:lnTo>
                  <a:lnTo>
                    <a:pt x="0" y="0"/>
                  </a:lnTo>
                  <a:lnTo>
                    <a:pt x="0" y="0"/>
                  </a:lnTo>
                  <a:lnTo>
                    <a:pt x="0" y="0"/>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5" name="Freeform 164"/>
            <p:cNvSpPr>
              <a:spLocks/>
            </p:cNvSpPr>
            <p:nvPr/>
          </p:nvSpPr>
          <p:spPr bwMode="auto">
            <a:xfrm>
              <a:off x="8021164" y="3002839"/>
              <a:ext cx="877" cy="1014"/>
            </a:xfrm>
            <a:custGeom>
              <a:avLst/>
              <a:gdLst/>
              <a:ahLst/>
              <a:cxnLst>
                <a:cxn ang="0">
                  <a:pos x="1" y="0"/>
                </a:cxn>
                <a:cxn ang="0">
                  <a:pos x="1" y="0"/>
                </a:cxn>
                <a:cxn ang="0">
                  <a:pos x="1" y="0"/>
                </a:cxn>
                <a:cxn ang="0">
                  <a:pos x="1" y="1"/>
                </a:cxn>
                <a:cxn ang="0">
                  <a:pos x="0" y="1"/>
                </a:cxn>
                <a:cxn ang="0">
                  <a:pos x="0" y="0"/>
                </a:cxn>
                <a:cxn ang="0">
                  <a:pos x="1" y="0"/>
                </a:cxn>
              </a:cxnLst>
              <a:rect l="0" t="0" r="r" b="b"/>
              <a:pathLst>
                <a:path w="1" h="1">
                  <a:moveTo>
                    <a:pt x="1" y="0"/>
                  </a:moveTo>
                  <a:lnTo>
                    <a:pt x="1" y="0"/>
                  </a:lnTo>
                  <a:lnTo>
                    <a:pt x="1" y="0"/>
                  </a:lnTo>
                  <a:lnTo>
                    <a:pt x="1" y="1"/>
                  </a:lnTo>
                  <a:lnTo>
                    <a:pt x="0" y="1"/>
                  </a:lnTo>
                  <a:lnTo>
                    <a:pt x="0" y="0"/>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6" name="Freeform 165"/>
            <p:cNvSpPr>
              <a:spLocks/>
            </p:cNvSpPr>
            <p:nvPr/>
          </p:nvSpPr>
          <p:spPr bwMode="auto">
            <a:xfrm>
              <a:off x="8021164" y="3002839"/>
              <a:ext cx="877" cy="1014"/>
            </a:xfrm>
            <a:custGeom>
              <a:avLst/>
              <a:gdLst/>
              <a:ahLst/>
              <a:cxnLst>
                <a:cxn ang="0">
                  <a:pos x="1" y="0"/>
                </a:cxn>
                <a:cxn ang="0">
                  <a:pos x="1" y="0"/>
                </a:cxn>
                <a:cxn ang="0">
                  <a:pos x="1" y="0"/>
                </a:cxn>
                <a:cxn ang="0">
                  <a:pos x="1" y="1"/>
                </a:cxn>
                <a:cxn ang="0">
                  <a:pos x="0" y="1"/>
                </a:cxn>
                <a:cxn ang="0">
                  <a:pos x="0" y="0"/>
                </a:cxn>
                <a:cxn ang="0">
                  <a:pos x="1" y="0"/>
                </a:cxn>
              </a:cxnLst>
              <a:rect l="0" t="0" r="r" b="b"/>
              <a:pathLst>
                <a:path w="1" h="1">
                  <a:moveTo>
                    <a:pt x="1" y="0"/>
                  </a:moveTo>
                  <a:lnTo>
                    <a:pt x="1" y="0"/>
                  </a:lnTo>
                  <a:lnTo>
                    <a:pt x="1" y="0"/>
                  </a:lnTo>
                  <a:lnTo>
                    <a:pt x="1" y="1"/>
                  </a:lnTo>
                  <a:lnTo>
                    <a:pt x="0" y="1"/>
                  </a:lnTo>
                  <a:lnTo>
                    <a:pt x="0" y="0"/>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7" name="Freeform 166"/>
            <p:cNvSpPr>
              <a:spLocks/>
            </p:cNvSpPr>
            <p:nvPr/>
          </p:nvSpPr>
          <p:spPr bwMode="auto">
            <a:xfrm>
              <a:off x="8019407" y="3050502"/>
              <a:ext cx="1756" cy="1015"/>
            </a:xfrm>
            <a:custGeom>
              <a:avLst/>
              <a:gdLst/>
              <a:ahLst/>
              <a:cxnLst>
                <a:cxn ang="0">
                  <a:pos x="2" y="1"/>
                </a:cxn>
                <a:cxn ang="0">
                  <a:pos x="2" y="0"/>
                </a:cxn>
                <a:cxn ang="0">
                  <a:pos x="2" y="1"/>
                </a:cxn>
                <a:cxn ang="0">
                  <a:pos x="0" y="1"/>
                </a:cxn>
                <a:cxn ang="0">
                  <a:pos x="0" y="1"/>
                </a:cxn>
                <a:cxn ang="0">
                  <a:pos x="0" y="0"/>
                </a:cxn>
                <a:cxn ang="0">
                  <a:pos x="2" y="1"/>
                </a:cxn>
                <a:cxn ang="0">
                  <a:pos x="2" y="1"/>
                </a:cxn>
              </a:cxnLst>
              <a:rect l="0" t="0" r="r" b="b"/>
              <a:pathLst>
                <a:path w="2" h="1">
                  <a:moveTo>
                    <a:pt x="2" y="1"/>
                  </a:moveTo>
                  <a:lnTo>
                    <a:pt x="2" y="0"/>
                  </a:lnTo>
                  <a:lnTo>
                    <a:pt x="2" y="1"/>
                  </a:lnTo>
                  <a:lnTo>
                    <a:pt x="0" y="1"/>
                  </a:lnTo>
                  <a:lnTo>
                    <a:pt x="0" y="1"/>
                  </a:lnTo>
                  <a:lnTo>
                    <a:pt x="0" y="0"/>
                  </a:lnTo>
                  <a:lnTo>
                    <a:pt x="2" y="1"/>
                  </a:lnTo>
                  <a:lnTo>
                    <a:pt x="2"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8" name="Freeform 167"/>
            <p:cNvSpPr>
              <a:spLocks/>
            </p:cNvSpPr>
            <p:nvPr/>
          </p:nvSpPr>
          <p:spPr bwMode="auto">
            <a:xfrm>
              <a:off x="8019407" y="3050502"/>
              <a:ext cx="1756" cy="1015"/>
            </a:xfrm>
            <a:custGeom>
              <a:avLst/>
              <a:gdLst/>
              <a:ahLst/>
              <a:cxnLst>
                <a:cxn ang="0">
                  <a:pos x="2" y="1"/>
                </a:cxn>
                <a:cxn ang="0">
                  <a:pos x="2" y="0"/>
                </a:cxn>
                <a:cxn ang="0">
                  <a:pos x="2" y="1"/>
                </a:cxn>
                <a:cxn ang="0">
                  <a:pos x="0" y="1"/>
                </a:cxn>
                <a:cxn ang="0">
                  <a:pos x="0" y="1"/>
                </a:cxn>
                <a:cxn ang="0">
                  <a:pos x="0" y="0"/>
                </a:cxn>
                <a:cxn ang="0">
                  <a:pos x="2" y="1"/>
                </a:cxn>
                <a:cxn ang="0">
                  <a:pos x="2" y="1"/>
                </a:cxn>
              </a:cxnLst>
              <a:rect l="0" t="0" r="r" b="b"/>
              <a:pathLst>
                <a:path w="2" h="1">
                  <a:moveTo>
                    <a:pt x="2" y="1"/>
                  </a:moveTo>
                  <a:lnTo>
                    <a:pt x="2" y="0"/>
                  </a:lnTo>
                  <a:lnTo>
                    <a:pt x="2" y="1"/>
                  </a:lnTo>
                  <a:lnTo>
                    <a:pt x="0" y="1"/>
                  </a:lnTo>
                  <a:lnTo>
                    <a:pt x="0" y="1"/>
                  </a:lnTo>
                  <a:lnTo>
                    <a:pt x="0" y="0"/>
                  </a:lnTo>
                  <a:lnTo>
                    <a:pt x="2" y="1"/>
                  </a:lnTo>
                  <a:lnTo>
                    <a:pt x="2"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69" name="Freeform 168"/>
            <p:cNvSpPr>
              <a:spLocks/>
            </p:cNvSpPr>
            <p:nvPr/>
          </p:nvSpPr>
          <p:spPr bwMode="auto">
            <a:xfrm>
              <a:off x="8007996" y="3073827"/>
              <a:ext cx="2634" cy="3042"/>
            </a:xfrm>
            <a:custGeom>
              <a:avLst/>
              <a:gdLst/>
              <a:ahLst/>
              <a:cxnLst>
                <a:cxn ang="0">
                  <a:pos x="3" y="0"/>
                </a:cxn>
                <a:cxn ang="0">
                  <a:pos x="3" y="0"/>
                </a:cxn>
                <a:cxn ang="0">
                  <a:pos x="3" y="2"/>
                </a:cxn>
                <a:cxn ang="0">
                  <a:pos x="2" y="2"/>
                </a:cxn>
                <a:cxn ang="0">
                  <a:pos x="2" y="3"/>
                </a:cxn>
                <a:cxn ang="0">
                  <a:pos x="0" y="3"/>
                </a:cxn>
                <a:cxn ang="0">
                  <a:pos x="0" y="3"/>
                </a:cxn>
                <a:cxn ang="0">
                  <a:pos x="0" y="2"/>
                </a:cxn>
                <a:cxn ang="0">
                  <a:pos x="0" y="2"/>
                </a:cxn>
                <a:cxn ang="0">
                  <a:pos x="3" y="0"/>
                </a:cxn>
              </a:cxnLst>
              <a:rect l="0" t="0" r="r" b="b"/>
              <a:pathLst>
                <a:path w="3" h="3">
                  <a:moveTo>
                    <a:pt x="3" y="0"/>
                  </a:moveTo>
                  <a:lnTo>
                    <a:pt x="3" y="0"/>
                  </a:lnTo>
                  <a:lnTo>
                    <a:pt x="3" y="2"/>
                  </a:lnTo>
                  <a:lnTo>
                    <a:pt x="2" y="2"/>
                  </a:lnTo>
                  <a:lnTo>
                    <a:pt x="2" y="3"/>
                  </a:lnTo>
                  <a:lnTo>
                    <a:pt x="0" y="3"/>
                  </a:lnTo>
                  <a:lnTo>
                    <a:pt x="0" y="3"/>
                  </a:lnTo>
                  <a:lnTo>
                    <a:pt x="0" y="2"/>
                  </a:lnTo>
                  <a:lnTo>
                    <a:pt x="0" y="2"/>
                  </a:lnTo>
                  <a:lnTo>
                    <a:pt x="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0" name="Freeform 169"/>
            <p:cNvSpPr>
              <a:spLocks/>
            </p:cNvSpPr>
            <p:nvPr/>
          </p:nvSpPr>
          <p:spPr bwMode="auto">
            <a:xfrm>
              <a:off x="8007996" y="3073827"/>
              <a:ext cx="2634" cy="3042"/>
            </a:xfrm>
            <a:custGeom>
              <a:avLst/>
              <a:gdLst/>
              <a:ahLst/>
              <a:cxnLst>
                <a:cxn ang="0">
                  <a:pos x="3" y="0"/>
                </a:cxn>
                <a:cxn ang="0">
                  <a:pos x="3" y="0"/>
                </a:cxn>
                <a:cxn ang="0">
                  <a:pos x="3" y="2"/>
                </a:cxn>
                <a:cxn ang="0">
                  <a:pos x="2" y="2"/>
                </a:cxn>
                <a:cxn ang="0">
                  <a:pos x="2" y="3"/>
                </a:cxn>
                <a:cxn ang="0">
                  <a:pos x="0" y="3"/>
                </a:cxn>
                <a:cxn ang="0">
                  <a:pos x="0" y="3"/>
                </a:cxn>
                <a:cxn ang="0">
                  <a:pos x="0" y="2"/>
                </a:cxn>
                <a:cxn ang="0">
                  <a:pos x="0" y="2"/>
                </a:cxn>
                <a:cxn ang="0">
                  <a:pos x="3" y="0"/>
                </a:cxn>
              </a:cxnLst>
              <a:rect l="0" t="0" r="r" b="b"/>
              <a:pathLst>
                <a:path w="3" h="3">
                  <a:moveTo>
                    <a:pt x="3" y="0"/>
                  </a:moveTo>
                  <a:lnTo>
                    <a:pt x="3" y="0"/>
                  </a:lnTo>
                  <a:lnTo>
                    <a:pt x="3" y="2"/>
                  </a:lnTo>
                  <a:lnTo>
                    <a:pt x="2" y="2"/>
                  </a:lnTo>
                  <a:lnTo>
                    <a:pt x="2" y="3"/>
                  </a:lnTo>
                  <a:lnTo>
                    <a:pt x="0" y="3"/>
                  </a:lnTo>
                  <a:lnTo>
                    <a:pt x="0" y="3"/>
                  </a:lnTo>
                  <a:lnTo>
                    <a:pt x="0" y="2"/>
                  </a:lnTo>
                  <a:lnTo>
                    <a:pt x="0" y="2"/>
                  </a:lnTo>
                  <a:lnTo>
                    <a:pt x="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1" name="Freeform 170"/>
            <p:cNvSpPr>
              <a:spLocks/>
            </p:cNvSpPr>
            <p:nvPr/>
          </p:nvSpPr>
          <p:spPr bwMode="auto">
            <a:xfrm>
              <a:off x="7814880" y="3445000"/>
              <a:ext cx="5267" cy="6085"/>
            </a:xfrm>
            <a:custGeom>
              <a:avLst/>
              <a:gdLst/>
              <a:ahLst/>
              <a:cxnLst>
                <a:cxn ang="0">
                  <a:pos x="1" y="6"/>
                </a:cxn>
                <a:cxn ang="0">
                  <a:pos x="0" y="6"/>
                </a:cxn>
                <a:cxn ang="0">
                  <a:pos x="0" y="3"/>
                </a:cxn>
                <a:cxn ang="0">
                  <a:pos x="0" y="3"/>
                </a:cxn>
                <a:cxn ang="0">
                  <a:pos x="0" y="2"/>
                </a:cxn>
                <a:cxn ang="0">
                  <a:pos x="1" y="0"/>
                </a:cxn>
                <a:cxn ang="0">
                  <a:pos x="3" y="0"/>
                </a:cxn>
                <a:cxn ang="0">
                  <a:pos x="4" y="3"/>
                </a:cxn>
                <a:cxn ang="0">
                  <a:pos x="6" y="6"/>
                </a:cxn>
                <a:cxn ang="0">
                  <a:pos x="1" y="6"/>
                </a:cxn>
              </a:cxnLst>
              <a:rect l="0" t="0" r="r" b="b"/>
              <a:pathLst>
                <a:path w="6" h="6">
                  <a:moveTo>
                    <a:pt x="1" y="6"/>
                  </a:moveTo>
                  <a:lnTo>
                    <a:pt x="0" y="6"/>
                  </a:lnTo>
                  <a:lnTo>
                    <a:pt x="0" y="3"/>
                  </a:lnTo>
                  <a:lnTo>
                    <a:pt x="0" y="3"/>
                  </a:lnTo>
                  <a:lnTo>
                    <a:pt x="0" y="2"/>
                  </a:lnTo>
                  <a:lnTo>
                    <a:pt x="1" y="0"/>
                  </a:lnTo>
                  <a:lnTo>
                    <a:pt x="3" y="0"/>
                  </a:lnTo>
                  <a:lnTo>
                    <a:pt x="4" y="3"/>
                  </a:lnTo>
                  <a:lnTo>
                    <a:pt x="6" y="6"/>
                  </a:lnTo>
                  <a:lnTo>
                    <a:pt x="1" y="6"/>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2" name="Freeform 171"/>
            <p:cNvSpPr>
              <a:spLocks/>
            </p:cNvSpPr>
            <p:nvPr/>
          </p:nvSpPr>
          <p:spPr bwMode="auto">
            <a:xfrm>
              <a:off x="7814880" y="3445000"/>
              <a:ext cx="5267" cy="6085"/>
            </a:xfrm>
            <a:custGeom>
              <a:avLst/>
              <a:gdLst/>
              <a:ahLst/>
              <a:cxnLst>
                <a:cxn ang="0">
                  <a:pos x="1" y="6"/>
                </a:cxn>
                <a:cxn ang="0">
                  <a:pos x="0" y="6"/>
                </a:cxn>
                <a:cxn ang="0">
                  <a:pos x="0" y="3"/>
                </a:cxn>
                <a:cxn ang="0">
                  <a:pos x="0" y="3"/>
                </a:cxn>
                <a:cxn ang="0">
                  <a:pos x="0" y="2"/>
                </a:cxn>
                <a:cxn ang="0">
                  <a:pos x="1" y="0"/>
                </a:cxn>
                <a:cxn ang="0">
                  <a:pos x="3" y="0"/>
                </a:cxn>
                <a:cxn ang="0">
                  <a:pos x="4" y="3"/>
                </a:cxn>
                <a:cxn ang="0">
                  <a:pos x="6" y="6"/>
                </a:cxn>
                <a:cxn ang="0">
                  <a:pos x="1" y="6"/>
                </a:cxn>
              </a:cxnLst>
              <a:rect l="0" t="0" r="r" b="b"/>
              <a:pathLst>
                <a:path w="6" h="6">
                  <a:moveTo>
                    <a:pt x="1" y="6"/>
                  </a:moveTo>
                  <a:lnTo>
                    <a:pt x="0" y="6"/>
                  </a:lnTo>
                  <a:lnTo>
                    <a:pt x="0" y="3"/>
                  </a:lnTo>
                  <a:lnTo>
                    <a:pt x="0" y="3"/>
                  </a:lnTo>
                  <a:lnTo>
                    <a:pt x="0" y="2"/>
                  </a:lnTo>
                  <a:lnTo>
                    <a:pt x="1" y="0"/>
                  </a:lnTo>
                  <a:lnTo>
                    <a:pt x="3" y="0"/>
                  </a:lnTo>
                  <a:lnTo>
                    <a:pt x="4" y="3"/>
                  </a:lnTo>
                  <a:lnTo>
                    <a:pt x="6" y="6"/>
                  </a:lnTo>
                  <a:lnTo>
                    <a:pt x="1" y="6"/>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3" name="Freeform 172"/>
            <p:cNvSpPr>
              <a:spLocks/>
            </p:cNvSpPr>
            <p:nvPr/>
          </p:nvSpPr>
          <p:spPr bwMode="auto">
            <a:xfrm>
              <a:off x="7818391" y="3441957"/>
              <a:ext cx="14923" cy="9128"/>
            </a:xfrm>
            <a:custGeom>
              <a:avLst/>
              <a:gdLst/>
              <a:ahLst/>
              <a:cxnLst>
                <a:cxn ang="0">
                  <a:pos x="0" y="0"/>
                </a:cxn>
                <a:cxn ang="0">
                  <a:pos x="0" y="2"/>
                </a:cxn>
                <a:cxn ang="0">
                  <a:pos x="2" y="2"/>
                </a:cxn>
                <a:cxn ang="0">
                  <a:pos x="3" y="3"/>
                </a:cxn>
                <a:cxn ang="0">
                  <a:pos x="5" y="3"/>
                </a:cxn>
                <a:cxn ang="0">
                  <a:pos x="9" y="2"/>
                </a:cxn>
                <a:cxn ang="0">
                  <a:pos x="9" y="3"/>
                </a:cxn>
                <a:cxn ang="0">
                  <a:pos x="13" y="0"/>
                </a:cxn>
                <a:cxn ang="0">
                  <a:pos x="13" y="0"/>
                </a:cxn>
                <a:cxn ang="0">
                  <a:pos x="15" y="2"/>
                </a:cxn>
                <a:cxn ang="0">
                  <a:pos x="16" y="5"/>
                </a:cxn>
                <a:cxn ang="0">
                  <a:pos x="13" y="8"/>
                </a:cxn>
                <a:cxn ang="0">
                  <a:pos x="10" y="9"/>
                </a:cxn>
                <a:cxn ang="0">
                  <a:pos x="8" y="9"/>
                </a:cxn>
                <a:cxn ang="0">
                  <a:pos x="2" y="6"/>
                </a:cxn>
                <a:cxn ang="0">
                  <a:pos x="0" y="0"/>
                </a:cxn>
              </a:cxnLst>
              <a:rect l="0" t="0" r="r" b="b"/>
              <a:pathLst>
                <a:path w="16" h="9">
                  <a:moveTo>
                    <a:pt x="0" y="0"/>
                  </a:moveTo>
                  <a:lnTo>
                    <a:pt x="0" y="2"/>
                  </a:lnTo>
                  <a:lnTo>
                    <a:pt x="2" y="2"/>
                  </a:lnTo>
                  <a:lnTo>
                    <a:pt x="3" y="3"/>
                  </a:lnTo>
                  <a:lnTo>
                    <a:pt x="5" y="3"/>
                  </a:lnTo>
                  <a:lnTo>
                    <a:pt x="9" y="2"/>
                  </a:lnTo>
                  <a:lnTo>
                    <a:pt x="9" y="3"/>
                  </a:lnTo>
                  <a:lnTo>
                    <a:pt x="13" y="0"/>
                  </a:lnTo>
                  <a:lnTo>
                    <a:pt x="13" y="0"/>
                  </a:lnTo>
                  <a:lnTo>
                    <a:pt x="15" y="2"/>
                  </a:lnTo>
                  <a:lnTo>
                    <a:pt x="16" y="5"/>
                  </a:lnTo>
                  <a:lnTo>
                    <a:pt x="13" y="8"/>
                  </a:lnTo>
                  <a:lnTo>
                    <a:pt x="10" y="9"/>
                  </a:lnTo>
                  <a:lnTo>
                    <a:pt x="8" y="9"/>
                  </a:lnTo>
                  <a:lnTo>
                    <a:pt x="2" y="6"/>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4" name="Freeform 173"/>
            <p:cNvSpPr>
              <a:spLocks/>
            </p:cNvSpPr>
            <p:nvPr/>
          </p:nvSpPr>
          <p:spPr bwMode="auto">
            <a:xfrm>
              <a:off x="7818391" y="3441957"/>
              <a:ext cx="14923" cy="9128"/>
            </a:xfrm>
            <a:custGeom>
              <a:avLst/>
              <a:gdLst/>
              <a:ahLst/>
              <a:cxnLst>
                <a:cxn ang="0">
                  <a:pos x="0" y="0"/>
                </a:cxn>
                <a:cxn ang="0">
                  <a:pos x="0" y="2"/>
                </a:cxn>
                <a:cxn ang="0">
                  <a:pos x="2" y="2"/>
                </a:cxn>
                <a:cxn ang="0">
                  <a:pos x="3" y="3"/>
                </a:cxn>
                <a:cxn ang="0">
                  <a:pos x="5" y="3"/>
                </a:cxn>
                <a:cxn ang="0">
                  <a:pos x="9" y="2"/>
                </a:cxn>
                <a:cxn ang="0">
                  <a:pos x="9" y="3"/>
                </a:cxn>
                <a:cxn ang="0">
                  <a:pos x="13" y="0"/>
                </a:cxn>
                <a:cxn ang="0">
                  <a:pos x="13" y="0"/>
                </a:cxn>
                <a:cxn ang="0">
                  <a:pos x="15" y="2"/>
                </a:cxn>
                <a:cxn ang="0">
                  <a:pos x="16" y="5"/>
                </a:cxn>
                <a:cxn ang="0">
                  <a:pos x="13" y="8"/>
                </a:cxn>
                <a:cxn ang="0">
                  <a:pos x="10" y="9"/>
                </a:cxn>
                <a:cxn ang="0">
                  <a:pos x="8" y="9"/>
                </a:cxn>
                <a:cxn ang="0">
                  <a:pos x="2" y="6"/>
                </a:cxn>
                <a:cxn ang="0">
                  <a:pos x="0" y="0"/>
                </a:cxn>
              </a:cxnLst>
              <a:rect l="0" t="0" r="r" b="b"/>
              <a:pathLst>
                <a:path w="16" h="9">
                  <a:moveTo>
                    <a:pt x="0" y="0"/>
                  </a:moveTo>
                  <a:lnTo>
                    <a:pt x="0" y="2"/>
                  </a:lnTo>
                  <a:lnTo>
                    <a:pt x="2" y="2"/>
                  </a:lnTo>
                  <a:lnTo>
                    <a:pt x="3" y="3"/>
                  </a:lnTo>
                  <a:lnTo>
                    <a:pt x="5" y="3"/>
                  </a:lnTo>
                  <a:lnTo>
                    <a:pt x="9" y="2"/>
                  </a:lnTo>
                  <a:lnTo>
                    <a:pt x="9" y="3"/>
                  </a:lnTo>
                  <a:lnTo>
                    <a:pt x="13" y="0"/>
                  </a:lnTo>
                  <a:lnTo>
                    <a:pt x="13" y="0"/>
                  </a:lnTo>
                  <a:lnTo>
                    <a:pt x="15" y="2"/>
                  </a:lnTo>
                  <a:lnTo>
                    <a:pt x="16" y="5"/>
                  </a:lnTo>
                  <a:lnTo>
                    <a:pt x="13" y="8"/>
                  </a:lnTo>
                  <a:lnTo>
                    <a:pt x="10" y="9"/>
                  </a:lnTo>
                  <a:lnTo>
                    <a:pt x="8" y="9"/>
                  </a:lnTo>
                  <a:lnTo>
                    <a:pt x="2" y="6"/>
                  </a:lnTo>
                  <a:lnTo>
                    <a:pt x="0"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5" name="Freeform 174"/>
            <p:cNvSpPr>
              <a:spLocks/>
            </p:cNvSpPr>
            <p:nvPr/>
          </p:nvSpPr>
          <p:spPr bwMode="auto">
            <a:xfrm>
              <a:off x="7898271" y="3440943"/>
              <a:ext cx="2633" cy="6085"/>
            </a:xfrm>
            <a:custGeom>
              <a:avLst/>
              <a:gdLst/>
              <a:ahLst/>
              <a:cxnLst>
                <a:cxn ang="0">
                  <a:pos x="0" y="6"/>
                </a:cxn>
                <a:cxn ang="0">
                  <a:pos x="0" y="6"/>
                </a:cxn>
                <a:cxn ang="0">
                  <a:pos x="0" y="1"/>
                </a:cxn>
                <a:cxn ang="0">
                  <a:pos x="2" y="0"/>
                </a:cxn>
                <a:cxn ang="0">
                  <a:pos x="3" y="0"/>
                </a:cxn>
                <a:cxn ang="0">
                  <a:pos x="3" y="1"/>
                </a:cxn>
                <a:cxn ang="0">
                  <a:pos x="0" y="6"/>
                </a:cxn>
              </a:cxnLst>
              <a:rect l="0" t="0" r="r" b="b"/>
              <a:pathLst>
                <a:path w="3" h="6">
                  <a:moveTo>
                    <a:pt x="0" y="6"/>
                  </a:moveTo>
                  <a:lnTo>
                    <a:pt x="0" y="6"/>
                  </a:lnTo>
                  <a:lnTo>
                    <a:pt x="0" y="1"/>
                  </a:lnTo>
                  <a:lnTo>
                    <a:pt x="2" y="0"/>
                  </a:lnTo>
                  <a:lnTo>
                    <a:pt x="3" y="0"/>
                  </a:lnTo>
                  <a:lnTo>
                    <a:pt x="3" y="1"/>
                  </a:lnTo>
                  <a:lnTo>
                    <a:pt x="0" y="6"/>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6" name="Freeform 175"/>
            <p:cNvSpPr>
              <a:spLocks/>
            </p:cNvSpPr>
            <p:nvPr/>
          </p:nvSpPr>
          <p:spPr bwMode="auto">
            <a:xfrm>
              <a:off x="7898271" y="3440943"/>
              <a:ext cx="2633" cy="6085"/>
            </a:xfrm>
            <a:custGeom>
              <a:avLst/>
              <a:gdLst/>
              <a:ahLst/>
              <a:cxnLst>
                <a:cxn ang="0">
                  <a:pos x="0" y="6"/>
                </a:cxn>
                <a:cxn ang="0">
                  <a:pos x="0" y="6"/>
                </a:cxn>
                <a:cxn ang="0">
                  <a:pos x="0" y="1"/>
                </a:cxn>
                <a:cxn ang="0">
                  <a:pos x="2" y="0"/>
                </a:cxn>
                <a:cxn ang="0">
                  <a:pos x="3" y="0"/>
                </a:cxn>
                <a:cxn ang="0">
                  <a:pos x="3" y="1"/>
                </a:cxn>
                <a:cxn ang="0">
                  <a:pos x="0" y="6"/>
                </a:cxn>
              </a:cxnLst>
              <a:rect l="0" t="0" r="r" b="b"/>
              <a:pathLst>
                <a:path w="3" h="6">
                  <a:moveTo>
                    <a:pt x="0" y="6"/>
                  </a:moveTo>
                  <a:lnTo>
                    <a:pt x="0" y="6"/>
                  </a:lnTo>
                  <a:lnTo>
                    <a:pt x="0" y="1"/>
                  </a:lnTo>
                  <a:lnTo>
                    <a:pt x="2" y="0"/>
                  </a:lnTo>
                  <a:lnTo>
                    <a:pt x="3" y="0"/>
                  </a:lnTo>
                  <a:lnTo>
                    <a:pt x="3" y="1"/>
                  </a:lnTo>
                  <a:lnTo>
                    <a:pt x="0" y="6"/>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7" name="Freeform 176"/>
            <p:cNvSpPr>
              <a:spLocks/>
            </p:cNvSpPr>
            <p:nvPr/>
          </p:nvSpPr>
          <p:spPr bwMode="auto">
            <a:xfrm>
              <a:off x="7898271" y="3480494"/>
              <a:ext cx="6144" cy="8113"/>
            </a:xfrm>
            <a:custGeom>
              <a:avLst/>
              <a:gdLst/>
              <a:ahLst/>
              <a:cxnLst>
                <a:cxn ang="0">
                  <a:pos x="0" y="0"/>
                </a:cxn>
                <a:cxn ang="0">
                  <a:pos x="0" y="0"/>
                </a:cxn>
                <a:cxn ang="0">
                  <a:pos x="2" y="1"/>
                </a:cxn>
                <a:cxn ang="0">
                  <a:pos x="2" y="0"/>
                </a:cxn>
                <a:cxn ang="0">
                  <a:pos x="3" y="1"/>
                </a:cxn>
                <a:cxn ang="0">
                  <a:pos x="5" y="0"/>
                </a:cxn>
                <a:cxn ang="0">
                  <a:pos x="6" y="6"/>
                </a:cxn>
                <a:cxn ang="0">
                  <a:pos x="6" y="7"/>
                </a:cxn>
                <a:cxn ang="0">
                  <a:pos x="5" y="8"/>
                </a:cxn>
                <a:cxn ang="0">
                  <a:pos x="2" y="7"/>
                </a:cxn>
                <a:cxn ang="0">
                  <a:pos x="0" y="6"/>
                </a:cxn>
                <a:cxn ang="0">
                  <a:pos x="0" y="0"/>
                </a:cxn>
              </a:cxnLst>
              <a:rect l="0" t="0" r="r" b="b"/>
              <a:pathLst>
                <a:path w="6" h="8">
                  <a:moveTo>
                    <a:pt x="0" y="0"/>
                  </a:moveTo>
                  <a:lnTo>
                    <a:pt x="0" y="0"/>
                  </a:lnTo>
                  <a:lnTo>
                    <a:pt x="2" y="1"/>
                  </a:lnTo>
                  <a:lnTo>
                    <a:pt x="2" y="0"/>
                  </a:lnTo>
                  <a:lnTo>
                    <a:pt x="3" y="1"/>
                  </a:lnTo>
                  <a:lnTo>
                    <a:pt x="5" y="0"/>
                  </a:lnTo>
                  <a:lnTo>
                    <a:pt x="6" y="6"/>
                  </a:lnTo>
                  <a:lnTo>
                    <a:pt x="6" y="7"/>
                  </a:lnTo>
                  <a:lnTo>
                    <a:pt x="5" y="8"/>
                  </a:lnTo>
                  <a:lnTo>
                    <a:pt x="2" y="7"/>
                  </a:lnTo>
                  <a:lnTo>
                    <a:pt x="0" y="6"/>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8" name="Freeform 177"/>
            <p:cNvSpPr>
              <a:spLocks/>
            </p:cNvSpPr>
            <p:nvPr/>
          </p:nvSpPr>
          <p:spPr bwMode="auto">
            <a:xfrm>
              <a:off x="7898271" y="3480494"/>
              <a:ext cx="6144" cy="8113"/>
            </a:xfrm>
            <a:custGeom>
              <a:avLst/>
              <a:gdLst/>
              <a:ahLst/>
              <a:cxnLst>
                <a:cxn ang="0">
                  <a:pos x="0" y="0"/>
                </a:cxn>
                <a:cxn ang="0">
                  <a:pos x="0" y="0"/>
                </a:cxn>
                <a:cxn ang="0">
                  <a:pos x="2" y="1"/>
                </a:cxn>
                <a:cxn ang="0">
                  <a:pos x="2" y="0"/>
                </a:cxn>
                <a:cxn ang="0">
                  <a:pos x="3" y="1"/>
                </a:cxn>
                <a:cxn ang="0">
                  <a:pos x="5" y="0"/>
                </a:cxn>
                <a:cxn ang="0">
                  <a:pos x="6" y="6"/>
                </a:cxn>
                <a:cxn ang="0">
                  <a:pos x="6" y="7"/>
                </a:cxn>
                <a:cxn ang="0">
                  <a:pos x="5" y="8"/>
                </a:cxn>
                <a:cxn ang="0">
                  <a:pos x="2" y="7"/>
                </a:cxn>
                <a:cxn ang="0">
                  <a:pos x="0" y="6"/>
                </a:cxn>
                <a:cxn ang="0">
                  <a:pos x="0" y="0"/>
                </a:cxn>
              </a:cxnLst>
              <a:rect l="0" t="0" r="r" b="b"/>
              <a:pathLst>
                <a:path w="6" h="8">
                  <a:moveTo>
                    <a:pt x="0" y="0"/>
                  </a:moveTo>
                  <a:lnTo>
                    <a:pt x="0" y="0"/>
                  </a:lnTo>
                  <a:lnTo>
                    <a:pt x="2" y="1"/>
                  </a:lnTo>
                  <a:lnTo>
                    <a:pt x="2" y="0"/>
                  </a:lnTo>
                  <a:lnTo>
                    <a:pt x="3" y="1"/>
                  </a:lnTo>
                  <a:lnTo>
                    <a:pt x="5" y="0"/>
                  </a:lnTo>
                  <a:lnTo>
                    <a:pt x="6" y="6"/>
                  </a:lnTo>
                  <a:lnTo>
                    <a:pt x="6" y="7"/>
                  </a:lnTo>
                  <a:lnTo>
                    <a:pt x="5" y="8"/>
                  </a:lnTo>
                  <a:lnTo>
                    <a:pt x="2" y="7"/>
                  </a:lnTo>
                  <a:lnTo>
                    <a:pt x="0" y="6"/>
                  </a:lnTo>
                  <a:lnTo>
                    <a:pt x="0"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79" name="Freeform 178"/>
            <p:cNvSpPr>
              <a:spLocks/>
            </p:cNvSpPr>
            <p:nvPr/>
          </p:nvSpPr>
          <p:spPr bwMode="auto">
            <a:xfrm>
              <a:off x="7935139" y="3521059"/>
              <a:ext cx="7022" cy="4057"/>
            </a:xfrm>
            <a:custGeom>
              <a:avLst/>
              <a:gdLst/>
              <a:ahLst/>
              <a:cxnLst>
                <a:cxn ang="0">
                  <a:pos x="5" y="0"/>
                </a:cxn>
                <a:cxn ang="0">
                  <a:pos x="7" y="0"/>
                </a:cxn>
                <a:cxn ang="0">
                  <a:pos x="8" y="1"/>
                </a:cxn>
                <a:cxn ang="0">
                  <a:pos x="7" y="1"/>
                </a:cxn>
                <a:cxn ang="0">
                  <a:pos x="4" y="3"/>
                </a:cxn>
                <a:cxn ang="0">
                  <a:pos x="4" y="3"/>
                </a:cxn>
                <a:cxn ang="0">
                  <a:pos x="4" y="4"/>
                </a:cxn>
                <a:cxn ang="0">
                  <a:pos x="1" y="4"/>
                </a:cxn>
                <a:cxn ang="0">
                  <a:pos x="0" y="3"/>
                </a:cxn>
                <a:cxn ang="0">
                  <a:pos x="1" y="1"/>
                </a:cxn>
                <a:cxn ang="0">
                  <a:pos x="2" y="1"/>
                </a:cxn>
                <a:cxn ang="0">
                  <a:pos x="4" y="0"/>
                </a:cxn>
                <a:cxn ang="0">
                  <a:pos x="5" y="0"/>
                </a:cxn>
              </a:cxnLst>
              <a:rect l="0" t="0" r="r" b="b"/>
              <a:pathLst>
                <a:path w="8" h="4">
                  <a:moveTo>
                    <a:pt x="5" y="0"/>
                  </a:moveTo>
                  <a:lnTo>
                    <a:pt x="7" y="0"/>
                  </a:lnTo>
                  <a:lnTo>
                    <a:pt x="8" y="1"/>
                  </a:lnTo>
                  <a:lnTo>
                    <a:pt x="7" y="1"/>
                  </a:lnTo>
                  <a:lnTo>
                    <a:pt x="4" y="3"/>
                  </a:lnTo>
                  <a:lnTo>
                    <a:pt x="4" y="3"/>
                  </a:lnTo>
                  <a:lnTo>
                    <a:pt x="4" y="4"/>
                  </a:lnTo>
                  <a:lnTo>
                    <a:pt x="1" y="4"/>
                  </a:lnTo>
                  <a:lnTo>
                    <a:pt x="0" y="3"/>
                  </a:lnTo>
                  <a:lnTo>
                    <a:pt x="1" y="1"/>
                  </a:lnTo>
                  <a:lnTo>
                    <a:pt x="2" y="1"/>
                  </a:lnTo>
                  <a:lnTo>
                    <a:pt x="4" y="0"/>
                  </a:lnTo>
                  <a:lnTo>
                    <a:pt x="5"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0" name="Freeform 179"/>
            <p:cNvSpPr>
              <a:spLocks/>
            </p:cNvSpPr>
            <p:nvPr/>
          </p:nvSpPr>
          <p:spPr bwMode="auto">
            <a:xfrm>
              <a:off x="7935139" y="3521059"/>
              <a:ext cx="7022" cy="4057"/>
            </a:xfrm>
            <a:custGeom>
              <a:avLst/>
              <a:gdLst/>
              <a:ahLst/>
              <a:cxnLst>
                <a:cxn ang="0">
                  <a:pos x="5" y="0"/>
                </a:cxn>
                <a:cxn ang="0">
                  <a:pos x="7" y="0"/>
                </a:cxn>
                <a:cxn ang="0">
                  <a:pos x="8" y="1"/>
                </a:cxn>
                <a:cxn ang="0">
                  <a:pos x="7" y="1"/>
                </a:cxn>
                <a:cxn ang="0">
                  <a:pos x="4" y="3"/>
                </a:cxn>
                <a:cxn ang="0">
                  <a:pos x="4" y="3"/>
                </a:cxn>
                <a:cxn ang="0">
                  <a:pos x="4" y="4"/>
                </a:cxn>
                <a:cxn ang="0">
                  <a:pos x="1" y="4"/>
                </a:cxn>
                <a:cxn ang="0">
                  <a:pos x="0" y="3"/>
                </a:cxn>
                <a:cxn ang="0">
                  <a:pos x="1" y="1"/>
                </a:cxn>
                <a:cxn ang="0">
                  <a:pos x="2" y="1"/>
                </a:cxn>
                <a:cxn ang="0">
                  <a:pos x="4" y="0"/>
                </a:cxn>
                <a:cxn ang="0">
                  <a:pos x="5" y="0"/>
                </a:cxn>
              </a:cxnLst>
              <a:rect l="0" t="0" r="r" b="b"/>
              <a:pathLst>
                <a:path w="8" h="4">
                  <a:moveTo>
                    <a:pt x="5" y="0"/>
                  </a:moveTo>
                  <a:lnTo>
                    <a:pt x="7" y="0"/>
                  </a:lnTo>
                  <a:lnTo>
                    <a:pt x="8" y="1"/>
                  </a:lnTo>
                  <a:lnTo>
                    <a:pt x="7" y="1"/>
                  </a:lnTo>
                  <a:lnTo>
                    <a:pt x="4" y="3"/>
                  </a:lnTo>
                  <a:lnTo>
                    <a:pt x="4" y="3"/>
                  </a:lnTo>
                  <a:lnTo>
                    <a:pt x="4" y="4"/>
                  </a:lnTo>
                  <a:lnTo>
                    <a:pt x="1" y="4"/>
                  </a:lnTo>
                  <a:lnTo>
                    <a:pt x="0" y="3"/>
                  </a:lnTo>
                  <a:lnTo>
                    <a:pt x="1" y="1"/>
                  </a:lnTo>
                  <a:lnTo>
                    <a:pt x="2" y="1"/>
                  </a:lnTo>
                  <a:lnTo>
                    <a:pt x="4" y="0"/>
                  </a:lnTo>
                  <a:lnTo>
                    <a:pt x="5"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1" name="Freeform 180"/>
            <p:cNvSpPr>
              <a:spLocks/>
            </p:cNvSpPr>
            <p:nvPr/>
          </p:nvSpPr>
          <p:spPr bwMode="auto">
            <a:xfrm>
              <a:off x="8115087" y="3650868"/>
              <a:ext cx="3511" cy="16226"/>
            </a:xfrm>
            <a:custGeom>
              <a:avLst/>
              <a:gdLst/>
              <a:ahLst/>
              <a:cxnLst>
                <a:cxn ang="0">
                  <a:pos x="1" y="1"/>
                </a:cxn>
                <a:cxn ang="0">
                  <a:pos x="2" y="0"/>
                </a:cxn>
                <a:cxn ang="0">
                  <a:pos x="4" y="4"/>
                </a:cxn>
                <a:cxn ang="0">
                  <a:pos x="4" y="9"/>
                </a:cxn>
                <a:cxn ang="0">
                  <a:pos x="1" y="16"/>
                </a:cxn>
                <a:cxn ang="0">
                  <a:pos x="0" y="16"/>
                </a:cxn>
                <a:cxn ang="0">
                  <a:pos x="0" y="9"/>
                </a:cxn>
                <a:cxn ang="0">
                  <a:pos x="2" y="3"/>
                </a:cxn>
                <a:cxn ang="0">
                  <a:pos x="1" y="1"/>
                </a:cxn>
              </a:cxnLst>
              <a:rect l="0" t="0" r="r" b="b"/>
              <a:pathLst>
                <a:path w="4" h="16">
                  <a:moveTo>
                    <a:pt x="1" y="1"/>
                  </a:moveTo>
                  <a:lnTo>
                    <a:pt x="2" y="0"/>
                  </a:lnTo>
                  <a:lnTo>
                    <a:pt x="4" y="4"/>
                  </a:lnTo>
                  <a:lnTo>
                    <a:pt x="4" y="9"/>
                  </a:lnTo>
                  <a:lnTo>
                    <a:pt x="1" y="16"/>
                  </a:lnTo>
                  <a:lnTo>
                    <a:pt x="0" y="16"/>
                  </a:lnTo>
                  <a:lnTo>
                    <a:pt x="0" y="9"/>
                  </a:lnTo>
                  <a:lnTo>
                    <a:pt x="2" y="3"/>
                  </a:lnTo>
                  <a:lnTo>
                    <a:pt x="1"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2" name="Freeform 181"/>
            <p:cNvSpPr>
              <a:spLocks/>
            </p:cNvSpPr>
            <p:nvPr/>
          </p:nvSpPr>
          <p:spPr bwMode="auto">
            <a:xfrm>
              <a:off x="8115087" y="3650868"/>
              <a:ext cx="3511" cy="16226"/>
            </a:xfrm>
            <a:custGeom>
              <a:avLst/>
              <a:gdLst/>
              <a:ahLst/>
              <a:cxnLst>
                <a:cxn ang="0">
                  <a:pos x="1" y="1"/>
                </a:cxn>
                <a:cxn ang="0">
                  <a:pos x="2" y="0"/>
                </a:cxn>
                <a:cxn ang="0">
                  <a:pos x="4" y="4"/>
                </a:cxn>
                <a:cxn ang="0">
                  <a:pos x="4" y="9"/>
                </a:cxn>
                <a:cxn ang="0">
                  <a:pos x="1" y="16"/>
                </a:cxn>
                <a:cxn ang="0">
                  <a:pos x="0" y="16"/>
                </a:cxn>
                <a:cxn ang="0">
                  <a:pos x="0" y="9"/>
                </a:cxn>
                <a:cxn ang="0">
                  <a:pos x="2" y="3"/>
                </a:cxn>
                <a:cxn ang="0">
                  <a:pos x="1" y="1"/>
                </a:cxn>
              </a:cxnLst>
              <a:rect l="0" t="0" r="r" b="b"/>
              <a:pathLst>
                <a:path w="4" h="16">
                  <a:moveTo>
                    <a:pt x="1" y="1"/>
                  </a:moveTo>
                  <a:lnTo>
                    <a:pt x="2" y="0"/>
                  </a:lnTo>
                  <a:lnTo>
                    <a:pt x="4" y="4"/>
                  </a:lnTo>
                  <a:lnTo>
                    <a:pt x="4" y="9"/>
                  </a:lnTo>
                  <a:lnTo>
                    <a:pt x="1" y="16"/>
                  </a:lnTo>
                  <a:lnTo>
                    <a:pt x="0" y="16"/>
                  </a:lnTo>
                  <a:lnTo>
                    <a:pt x="0" y="9"/>
                  </a:lnTo>
                  <a:lnTo>
                    <a:pt x="2" y="3"/>
                  </a:lnTo>
                  <a:lnTo>
                    <a:pt x="1"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3" name="Freeform 182"/>
            <p:cNvSpPr>
              <a:spLocks/>
            </p:cNvSpPr>
            <p:nvPr/>
          </p:nvSpPr>
          <p:spPr bwMode="auto">
            <a:xfrm>
              <a:off x="8119477" y="3694476"/>
              <a:ext cx="2633" cy="4057"/>
            </a:xfrm>
            <a:custGeom>
              <a:avLst/>
              <a:gdLst/>
              <a:ahLst/>
              <a:cxnLst>
                <a:cxn ang="0">
                  <a:pos x="2" y="0"/>
                </a:cxn>
                <a:cxn ang="0">
                  <a:pos x="2" y="0"/>
                </a:cxn>
                <a:cxn ang="0">
                  <a:pos x="3" y="0"/>
                </a:cxn>
                <a:cxn ang="0">
                  <a:pos x="2" y="4"/>
                </a:cxn>
                <a:cxn ang="0">
                  <a:pos x="2" y="3"/>
                </a:cxn>
                <a:cxn ang="0">
                  <a:pos x="0" y="2"/>
                </a:cxn>
                <a:cxn ang="0">
                  <a:pos x="2" y="0"/>
                </a:cxn>
                <a:cxn ang="0">
                  <a:pos x="0" y="2"/>
                </a:cxn>
                <a:cxn ang="0">
                  <a:pos x="2" y="0"/>
                </a:cxn>
              </a:cxnLst>
              <a:rect l="0" t="0" r="r" b="b"/>
              <a:pathLst>
                <a:path w="3" h="4">
                  <a:moveTo>
                    <a:pt x="2" y="0"/>
                  </a:moveTo>
                  <a:lnTo>
                    <a:pt x="2" y="0"/>
                  </a:lnTo>
                  <a:lnTo>
                    <a:pt x="3" y="0"/>
                  </a:lnTo>
                  <a:lnTo>
                    <a:pt x="2" y="4"/>
                  </a:lnTo>
                  <a:lnTo>
                    <a:pt x="2" y="3"/>
                  </a:lnTo>
                  <a:lnTo>
                    <a:pt x="0" y="2"/>
                  </a:lnTo>
                  <a:lnTo>
                    <a:pt x="2" y="0"/>
                  </a:lnTo>
                  <a:lnTo>
                    <a:pt x="0" y="2"/>
                  </a:lnTo>
                  <a:lnTo>
                    <a:pt x="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4" name="Freeform 183"/>
            <p:cNvSpPr>
              <a:spLocks/>
            </p:cNvSpPr>
            <p:nvPr/>
          </p:nvSpPr>
          <p:spPr bwMode="auto">
            <a:xfrm>
              <a:off x="8119477" y="3694476"/>
              <a:ext cx="2633" cy="4057"/>
            </a:xfrm>
            <a:custGeom>
              <a:avLst/>
              <a:gdLst/>
              <a:ahLst/>
              <a:cxnLst>
                <a:cxn ang="0">
                  <a:pos x="2" y="0"/>
                </a:cxn>
                <a:cxn ang="0">
                  <a:pos x="2" y="0"/>
                </a:cxn>
                <a:cxn ang="0">
                  <a:pos x="3" y="0"/>
                </a:cxn>
                <a:cxn ang="0">
                  <a:pos x="2" y="4"/>
                </a:cxn>
                <a:cxn ang="0">
                  <a:pos x="2" y="3"/>
                </a:cxn>
                <a:cxn ang="0">
                  <a:pos x="0" y="2"/>
                </a:cxn>
                <a:cxn ang="0">
                  <a:pos x="2" y="0"/>
                </a:cxn>
                <a:cxn ang="0">
                  <a:pos x="0" y="2"/>
                </a:cxn>
                <a:cxn ang="0">
                  <a:pos x="2" y="0"/>
                </a:cxn>
              </a:cxnLst>
              <a:rect l="0" t="0" r="r" b="b"/>
              <a:pathLst>
                <a:path w="3" h="4">
                  <a:moveTo>
                    <a:pt x="2" y="0"/>
                  </a:moveTo>
                  <a:lnTo>
                    <a:pt x="2" y="0"/>
                  </a:lnTo>
                  <a:lnTo>
                    <a:pt x="3" y="0"/>
                  </a:lnTo>
                  <a:lnTo>
                    <a:pt x="2" y="4"/>
                  </a:lnTo>
                  <a:lnTo>
                    <a:pt x="2" y="3"/>
                  </a:lnTo>
                  <a:lnTo>
                    <a:pt x="0" y="2"/>
                  </a:lnTo>
                  <a:lnTo>
                    <a:pt x="2" y="0"/>
                  </a:lnTo>
                  <a:lnTo>
                    <a:pt x="0" y="2"/>
                  </a:lnTo>
                  <a:lnTo>
                    <a:pt x="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5" name="Freeform 184"/>
            <p:cNvSpPr>
              <a:spLocks/>
            </p:cNvSpPr>
            <p:nvPr/>
          </p:nvSpPr>
          <p:spPr bwMode="auto">
            <a:xfrm>
              <a:off x="7900027" y="3837469"/>
              <a:ext cx="20189" cy="8113"/>
            </a:xfrm>
            <a:custGeom>
              <a:avLst/>
              <a:gdLst/>
              <a:ahLst/>
              <a:cxnLst>
                <a:cxn ang="0">
                  <a:pos x="0" y="4"/>
                </a:cxn>
                <a:cxn ang="0">
                  <a:pos x="1" y="3"/>
                </a:cxn>
                <a:cxn ang="0">
                  <a:pos x="11" y="0"/>
                </a:cxn>
                <a:cxn ang="0">
                  <a:pos x="14" y="1"/>
                </a:cxn>
                <a:cxn ang="0">
                  <a:pos x="14" y="3"/>
                </a:cxn>
                <a:cxn ang="0">
                  <a:pos x="20" y="4"/>
                </a:cxn>
                <a:cxn ang="0">
                  <a:pos x="22" y="5"/>
                </a:cxn>
                <a:cxn ang="0">
                  <a:pos x="16" y="5"/>
                </a:cxn>
                <a:cxn ang="0">
                  <a:pos x="16" y="7"/>
                </a:cxn>
                <a:cxn ang="0">
                  <a:pos x="13" y="8"/>
                </a:cxn>
                <a:cxn ang="0">
                  <a:pos x="11" y="8"/>
                </a:cxn>
                <a:cxn ang="0">
                  <a:pos x="1" y="7"/>
                </a:cxn>
                <a:cxn ang="0">
                  <a:pos x="0" y="5"/>
                </a:cxn>
                <a:cxn ang="0">
                  <a:pos x="0" y="4"/>
                </a:cxn>
              </a:cxnLst>
              <a:rect l="0" t="0" r="r" b="b"/>
              <a:pathLst>
                <a:path w="22" h="8">
                  <a:moveTo>
                    <a:pt x="0" y="4"/>
                  </a:moveTo>
                  <a:lnTo>
                    <a:pt x="1" y="3"/>
                  </a:lnTo>
                  <a:lnTo>
                    <a:pt x="11" y="0"/>
                  </a:lnTo>
                  <a:lnTo>
                    <a:pt x="14" y="1"/>
                  </a:lnTo>
                  <a:lnTo>
                    <a:pt x="14" y="3"/>
                  </a:lnTo>
                  <a:lnTo>
                    <a:pt x="20" y="4"/>
                  </a:lnTo>
                  <a:lnTo>
                    <a:pt x="22" y="5"/>
                  </a:lnTo>
                  <a:lnTo>
                    <a:pt x="16" y="5"/>
                  </a:lnTo>
                  <a:lnTo>
                    <a:pt x="16" y="7"/>
                  </a:lnTo>
                  <a:lnTo>
                    <a:pt x="13" y="8"/>
                  </a:lnTo>
                  <a:lnTo>
                    <a:pt x="11" y="8"/>
                  </a:lnTo>
                  <a:lnTo>
                    <a:pt x="1" y="7"/>
                  </a:lnTo>
                  <a:lnTo>
                    <a:pt x="0" y="5"/>
                  </a:lnTo>
                  <a:lnTo>
                    <a:pt x="0"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6" name="Freeform 185"/>
            <p:cNvSpPr>
              <a:spLocks/>
            </p:cNvSpPr>
            <p:nvPr/>
          </p:nvSpPr>
          <p:spPr bwMode="auto">
            <a:xfrm>
              <a:off x="7900027" y="3837469"/>
              <a:ext cx="20189" cy="8113"/>
            </a:xfrm>
            <a:custGeom>
              <a:avLst/>
              <a:gdLst/>
              <a:ahLst/>
              <a:cxnLst>
                <a:cxn ang="0">
                  <a:pos x="0" y="4"/>
                </a:cxn>
                <a:cxn ang="0">
                  <a:pos x="1" y="3"/>
                </a:cxn>
                <a:cxn ang="0">
                  <a:pos x="11" y="0"/>
                </a:cxn>
                <a:cxn ang="0">
                  <a:pos x="14" y="1"/>
                </a:cxn>
                <a:cxn ang="0">
                  <a:pos x="14" y="3"/>
                </a:cxn>
                <a:cxn ang="0">
                  <a:pos x="20" y="4"/>
                </a:cxn>
                <a:cxn ang="0">
                  <a:pos x="22" y="5"/>
                </a:cxn>
                <a:cxn ang="0">
                  <a:pos x="16" y="5"/>
                </a:cxn>
                <a:cxn ang="0">
                  <a:pos x="16" y="7"/>
                </a:cxn>
                <a:cxn ang="0">
                  <a:pos x="13" y="8"/>
                </a:cxn>
                <a:cxn ang="0">
                  <a:pos x="11" y="8"/>
                </a:cxn>
                <a:cxn ang="0">
                  <a:pos x="1" y="7"/>
                </a:cxn>
                <a:cxn ang="0">
                  <a:pos x="0" y="5"/>
                </a:cxn>
                <a:cxn ang="0">
                  <a:pos x="0" y="4"/>
                </a:cxn>
              </a:cxnLst>
              <a:rect l="0" t="0" r="r" b="b"/>
              <a:pathLst>
                <a:path w="22" h="8">
                  <a:moveTo>
                    <a:pt x="0" y="4"/>
                  </a:moveTo>
                  <a:lnTo>
                    <a:pt x="1" y="3"/>
                  </a:lnTo>
                  <a:lnTo>
                    <a:pt x="11" y="0"/>
                  </a:lnTo>
                  <a:lnTo>
                    <a:pt x="14" y="1"/>
                  </a:lnTo>
                  <a:lnTo>
                    <a:pt x="14" y="3"/>
                  </a:lnTo>
                  <a:lnTo>
                    <a:pt x="20" y="4"/>
                  </a:lnTo>
                  <a:lnTo>
                    <a:pt x="22" y="5"/>
                  </a:lnTo>
                  <a:lnTo>
                    <a:pt x="16" y="5"/>
                  </a:lnTo>
                  <a:lnTo>
                    <a:pt x="16" y="7"/>
                  </a:lnTo>
                  <a:lnTo>
                    <a:pt x="13" y="8"/>
                  </a:lnTo>
                  <a:lnTo>
                    <a:pt x="11" y="8"/>
                  </a:lnTo>
                  <a:lnTo>
                    <a:pt x="1" y="7"/>
                  </a:lnTo>
                  <a:lnTo>
                    <a:pt x="0" y="5"/>
                  </a:lnTo>
                  <a:lnTo>
                    <a:pt x="0"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7" name="Freeform 186"/>
            <p:cNvSpPr>
              <a:spLocks/>
            </p:cNvSpPr>
            <p:nvPr/>
          </p:nvSpPr>
          <p:spPr bwMode="auto">
            <a:xfrm>
              <a:off x="8048375" y="3914542"/>
              <a:ext cx="6145" cy="10141"/>
            </a:xfrm>
            <a:custGeom>
              <a:avLst/>
              <a:gdLst/>
              <a:ahLst/>
              <a:cxnLst>
                <a:cxn ang="0">
                  <a:pos x="0" y="1"/>
                </a:cxn>
                <a:cxn ang="0">
                  <a:pos x="1" y="0"/>
                </a:cxn>
                <a:cxn ang="0">
                  <a:pos x="6" y="4"/>
                </a:cxn>
                <a:cxn ang="0">
                  <a:pos x="7" y="7"/>
                </a:cxn>
                <a:cxn ang="0">
                  <a:pos x="7" y="10"/>
                </a:cxn>
                <a:cxn ang="0">
                  <a:pos x="4" y="10"/>
                </a:cxn>
                <a:cxn ang="0">
                  <a:pos x="3" y="7"/>
                </a:cxn>
                <a:cxn ang="0">
                  <a:pos x="1" y="4"/>
                </a:cxn>
                <a:cxn ang="0">
                  <a:pos x="0" y="3"/>
                </a:cxn>
                <a:cxn ang="0">
                  <a:pos x="0" y="1"/>
                </a:cxn>
              </a:cxnLst>
              <a:rect l="0" t="0" r="r" b="b"/>
              <a:pathLst>
                <a:path w="7" h="10">
                  <a:moveTo>
                    <a:pt x="0" y="1"/>
                  </a:moveTo>
                  <a:lnTo>
                    <a:pt x="1" y="0"/>
                  </a:lnTo>
                  <a:lnTo>
                    <a:pt x="6" y="4"/>
                  </a:lnTo>
                  <a:lnTo>
                    <a:pt x="7" y="7"/>
                  </a:lnTo>
                  <a:lnTo>
                    <a:pt x="7" y="10"/>
                  </a:lnTo>
                  <a:lnTo>
                    <a:pt x="4" y="10"/>
                  </a:lnTo>
                  <a:lnTo>
                    <a:pt x="3" y="7"/>
                  </a:lnTo>
                  <a:lnTo>
                    <a:pt x="1" y="4"/>
                  </a:lnTo>
                  <a:lnTo>
                    <a:pt x="0" y="3"/>
                  </a:lnTo>
                  <a:lnTo>
                    <a:pt x="0"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8" name="Freeform 187"/>
            <p:cNvSpPr>
              <a:spLocks/>
            </p:cNvSpPr>
            <p:nvPr/>
          </p:nvSpPr>
          <p:spPr bwMode="auto">
            <a:xfrm>
              <a:off x="8048375" y="3914542"/>
              <a:ext cx="6145" cy="10141"/>
            </a:xfrm>
            <a:custGeom>
              <a:avLst/>
              <a:gdLst/>
              <a:ahLst/>
              <a:cxnLst>
                <a:cxn ang="0">
                  <a:pos x="0" y="1"/>
                </a:cxn>
                <a:cxn ang="0">
                  <a:pos x="1" y="0"/>
                </a:cxn>
                <a:cxn ang="0">
                  <a:pos x="6" y="4"/>
                </a:cxn>
                <a:cxn ang="0">
                  <a:pos x="7" y="7"/>
                </a:cxn>
                <a:cxn ang="0">
                  <a:pos x="7" y="10"/>
                </a:cxn>
                <a:cxn ang="0">
                  <a:pos x="4" y="10"/>
                </a:cxn>
                <a:cxn ang="0">
                  <a:pos x="3" y="7"/>
                </a:cxn>
                <a:cxn ang="0">
                  <a:pos x="1" y="4"/>
                </a:cxn>
                <a:cxn ang="0">
                  <a:pos x="0" y="3"/>
                </a:cxn>
                <a:cxn ang="0">
                  <a:pos x="0" y="1"/>
                </a:cxn>
              </a:cxnLst>
              <a:rect l="0" t="0" r="r" b="b"/>
              <a:pathLst>
                <a:path w="7" h="10">
                  <a:moveTo>
                    <a:pt x="0" y="1"/>
                  </a:moveTo>
                  <a:lnTo>
                    <a:pt x="1" y="0"/>
                  </a:lnTo>
                  <a:lnTo>
                    <a:pt x="6" y="4"/>
                  </a:lnTo>
                  <a:lnTo>
                    <a:pt x="7" y="7"/>
                  </a:lnTo>
                  <a:lnTo>
                    <a:pt x="7" y="10"/>
                  </a:lnTo>
                  <a:lnTo>
                    <a:pt x="4" y="10"/>
                  </a:lnTo>
                  <a:lnTo>
                    <a:pt x="3" y="7"/>
                  </a:lnTo>
                  <a:lnTo>
                    <a:pt x="1" y="4"/>
                  </a:lnTo>
                  <a:lnTo>
                    <a:pt x="0" y="3"/>
                  </a:lnTo>
                  <a:lnTo>
                    <a:pt x="0"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89" name="Freeform 188"/>
            <p:cNvSpPr>
              <a:spLocks/>
            </p:cNvSpPr>
            <p:nvPr/>
          </p:nvSpPr>
          <p:spPr bwMode="auto">
            <a:xfrm>
              <a:off x="8051008" y="3925699"/>
              <a:ext cx="5267" cy="3042"/>
            </a:xfrm>
            <a:custGeom>
              <a:avLst/>
              <a:gdLst/>
              <a:ahLst/>
              <a:cxnLst>
                <a:cxn ang="0">
                  <a:pos x="1" y="2"/>
                </a:cxn>
                <a:cxn ang="0">
                  <a:pos x="0" y="0"/>
                </a:cxn>
                <a:cxn ang="0">
                  <a:pos x="4" y="0"/>
                </a:cxn>
                <a:cxn ang="0">
                  <a:pos x="6" y="0"/>
                </a:cxn>
                <a:cxn ang="0">
                  <a:pos x="6" y="2"/>
                </a:cxn>
                <a:cxn ang="0">
                  <a:pos x="4" y="3"/>
                </a:cxn>
                <a:cxn ang="0">
                  <a:pos x="1" y="2"/>
                </a:cxn>
              </a:cxnLst>
              <a:rect l="0" t="0" r="r" b="b"/>
              <a:pathLst>
                <a:path w="6" h="3">
                  <a:moveTo>
                    <a:pt x="1" y="2"/>
                  </a:moveTo>
                  <a:lnTo>
                    <a:pt x="0" y="0"/>
                  </a:lnTo>
                  <a:lnTo>
                    <a:pt x="4" y="0"/>
                  </a:lnTo>
                  <a:lnTo>
                    <a:pt x="6" y="0"/>
                  </a:lnTo>
                  <a:lnTo>
                    <a:pt x="6" y="2"/>
                  </a:lnTo>
                  <a:lnTo>
                    <a:pt x="4" y="3"/>
                  </a:lnTo>
                  <a:lnTo>
                    <a:pt x="1"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0" name="Freeform 189"/>
            <p:cNvSpPr>
              <a:spLocks/>
            </p:cNvSpPr>
            <p:nvPr/>
          </p:nvSpPr>
          <p:spPr bwMode="auto">
            <a:xfrm>
              <a:off x="8051008" y="3925699"/>
              <a:ext cx="5267" cy="3042"/>
            </a:xfrm>
            <a:custGeom>
              <a:avLst/>
              <a:gdLst/>
              <a:ahLst/>
              <a:cxnLst>
                <a:cxn ang="0">
                  <a:pos x="1" y="2"/>
                </a:cxn>
                <a:cxn ang="0">
                  <a:pos x="0" y="0"/>
                </a:cxn>
                <a:cxn ang="0">
                  <a:pos x="4" y="0"/>
                </a:cxn>
                <a:cxn ang="0">
                  <a:pos x="6" y="0"/>
                </a:cxn>
                <a:cxn ang="0">
                  <a:pos x="6" y="2"/>
                </a:cxn>
                <a:cxn ang="0">
                  <a:pos x="4" y="3"/>
                </a:cxn>
                <a:cxn ang="0">
                  <a:pos x="1" y="2"/>
                </a:cxn>
              </a:cxnLst>
              <a:rect l="0" t="0" r="r" b="b"/>
              <a:pathLst>
                <a:path w="6" h="3">
                  <a:moveTo>
                    <a:pt x="1" y="2"/>
                  </a:moveTo>
                  <a:lnTo>
                    <a:pt x="0" y="0"/>
                  </a:lnTo>
                  <a:lnTo>
                    <a:pt x="4" y="0"/>
                  </a:lnTo>
                  <a:lnTo>
                    <a:pt x="6" y="0"/>
                  </a:lnTo>
                  <a:lnTo>
                    <a:pt x="6" y="2"/>
                  </a:lnTo>
                  <a:lnTo>
                    <a:pt x="4" y="3"/>
                  </a:lnTo>
                  <a:lnTo>
                    <a:pt x="1"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1" name="Freeform 190"/>
            <p:cNvSpPr>
              <a:spLocks/>
            </p:cNvSpPr>
            <p:nvPr/>
          </p:nvSpPr>
          <p:spPr bwMode="auto">
            <a:xfrm>
              <a:off x="8007996" y="3931783"/>
              <a:ext cx="48279" cy="59833"/>
            </a:xfrm>
            <a:custGeom>
              <a:avLst/>
              <a:gdLst/>
              <a:ahLst/>
              <a:cxnLst>
                <a:cxn ang="0">
                  <a:pos x="0" y="0"/>
                </a:cxn>
                <a:cxn ang="0">
                  <a:pos x="0" y="2"/>
                </a:cxn>
                <a:cxn ang="0">
                  <a:pos x="5" y="3"/>
                </a:cxn>
                <a:cxn ang="0">
                  <a:pos x="6" y="3"/>
                </a:cxn>
                <a:cxn ang="0">
                  <a:pos x="8" y="3"/>
                </a:cxn>
                <a:cxn ang="0">
                  <a:pos x="18" y="9"/>
                </a:cxn>
                <a:cxn ang="0">
                  <a:pos x="27" y="10"/>
                </a:cxn>
                <a:cxn ang="0">
                  <a:pos x="32" y="7"/>
                </a:cxn>
                <a:cxn ang="0">
                  <a:pos x="38" y="6"/>
                </a:cxn>
                <a:cxn ang="0">
                  <a:pos x="41" y="3"/>
                </a:cxn>
                <a:cxn ang="0">
                  <a:pos x="44" y="5"/>
                </a:cxn>
                <a:cxn ang="0">
                  <a:pos x="45" y="3"/>
                </a:cxn>
                <a:cxn ang="0">
                  <a:pos x="48" y="3"/>
                </a:cxn>
                <a:cxn ang="0">
                  <a:pos x="50" y="6"/>
                </a:cxn>
                <a:cxn ang="0">
                  <a:pos x="51" y="28"/>
                </a:cxn>
                <a:cxn ang="0">
                  <a:pos x="53" y="29"/>
                </a:cxn>
                <a:cxn ang="0">
                  <a:pos x="51" y="32"/>
                </a:cxn>
                <a:cxn ang="0">
                  <a:pos x="51" y="28"/>
                </a:cxn>
                <a:cxn ang="0">
                  <a:pos x="50" y="25"/>
                </a:cxn>
                <a:cxn ang="0">
                  <a:pos x="47" y="32"/>
                </a:cxn>
                <a:cxn ang="0">
                  <a:pos x="47" y="35"/>
                </a:cxn>
                <a:cxn ang="0">
                  <a:pos x="45" y="35"/>
                </a:cxn>
                <a:cxn ang="0">
                  <a:pos x="45" y="41"/>
                </a:cxn>
                <a:cxn ang="0">
                  <a:pos x="44" y="41"/>
                </a:cxn>
                <a:cxn ang="0">
                  <a:pos x="43" y="41"/>
                </a:cxn>
                <a:cxn ang="0">
                  <a:pos x="41" y="41"/>
                </a:cxn>
                <a:cxn ang="0">
                  <a:pos x="40" y="42"/>
                </a:cxn>
                <a:cxn ang="0">
                  <a:pos x="40" y="44"/>
                </a:cxn>
                <a:cxn ang="0">
                  <a:pos x="40" y="47"/>
                </a:cxn>
                <a:cxn ang="0">
                  <a:pos x="37" y="47"/>
                </a:cxn>
                <a:cxn ang="0">
                  <a:pos x="37" y="50"/>
                </a:cxn>
                <a:cxn ang="0">
                  <a:pos x="35" y="48"/>
                </a:cxn>
                <a:cxn ang="0">
                  <a:pos x="34" y="48"/>
                </a:cxn>
                <a:cxn ang="0">
                  <a:pos x="32" y="50"/>
                </a:cxn>
                <a:cxn ang="0">
                  <a:pos x="32" y="54"/>
                </a:cxn>
                <a:cxn ang="0">
                  <a:pos x="31" y="57"/>
                </a:cxn>
                <a:cxn ang="0">
                  <a:pos x="29" y="57"/>
                </a:cxn>
                <a:cxn ang="0">
                  <a:pos x="27" y="55"/>
                </a:cxn>
                <a:cxn ang="0">
                  <a:pos x="25" y="55"/>
                </a:cxn>
                <a:cxn ang="0">
                  <a:pos x="24" y="55"/>
                </a:cxn>
                <a:cxn ang="0">
                  <a:pos x="21" y="54"/>
                </a:cxn>
                <a:cxn ang="0">
                  <a:pos x="19" y="54"/>
                </a:cxn>
                <a:cxn ang="0">
                  <a:pos x="18" y="53"/>
                </a:cxn>
                <a:cxn ang="0">
                  <a:pos x="19" y="53"/>
                </a:cxn>
                <a:cxn ang="0">
                  <a:pos x="21" y="51"/>
                </a:cxn>
                <a:cxn ang="0">
                  <a:pos x="18" y="51"/>
                </a:cxn>
                <a:cxn ang="0">
                  <a:pos x="16" y="50"/>
                </a:cxn>
                <a:cxn ang="0">
                  <a:pos x="9" y="39"/>
                </a:cxn>
                <a:cxn ang="0">
                  <a:pos x="6" y="28"/>
                </a:cxn>
                <a:cxn ang="0">
                  <a:pos x="9" y="34"/>
                </a:cxn>
                <a:cxn ang="0">
                  <a:pos x="12" y="31"/>
                </a:cxn>
                <a:cxn ang="0">
                  <a:pos x="9" y="29"/>
                </a:cxn>
                <a:cxn ang="0">
                  <a:pos x="0" y="10"/>
                </a:cxn>
                <a:cxn ang="0">
                  <a:pos x="0" y="0"/>
                </a:cxn>
              </a:cxnLst>
              <a:rect l="0" t="0" r="r" b="b"/>
              <a:pathLst>
                <a:path w="53" h="57">
                  <a:moveTo>
                    <a:pt x="0" y="0"/>
                  </a:moveTo>
                  <a:lnTo>
                    <a:pt x="0" y="2"/>
                  </a:lnTo>
                  <a:lnTo>
                    <a:pt x="5" y="3"/>
                  </a:lnTo>
                  <a:lnTo>
                    <a:pt x="6" y="3"/>
                  </a:lnTo>
                  <a:lnTo>
                    <a:pt x="8" y="3"/>
                  </a:lnTo>
                  <a:lnTo>
                    <a:pt x="18" y="9"/>
                  </a:lnTo>
                  <a:lnTo>
                    <a:pt x="27" y="10"/>
                  </a:lnTo>
                  <a:lnTo>
                    <a:pt x="32" y="7"/>
                  </a:lnTo>
                  <a:lnTo>
                    <a:pt x="38" y="6"/>
                  </a:lnTo>
                  <a:lnTo>
                    <a:pt x="41" y="3"/>
                  </a:lnTo>
                  <a:lnTo>
                    <a:pt x="44" y="5"/>
                  </a:lnTo>
                  <a:lnTo>
                    <a:pt x="45" y="3"/>
                  </a:lnTo>
                  <a:lnTo>
                    <a:pt x="48" y="3"/>
                  </a:lnTo>
                  <a:lnTo>
                    <a:pt x="50" y="6"/>
                  </a:lnTo>
                  <a:lnTo>
                    <a:pt x="51" y="28"/>
                  </a:lnTo>
                  <a:lnTo>
                    <a:pt x="53" y="29"/>
                  </a:lnTo>
                  <a:lnTo>
                    <a:pt x="51" y="32"/>
                  </a:lnTo>
                  <a:lnTo>
                    <a:pt x="51" y="28"/>
                  </a:lnTo>
                  <a:lnTo>
                    <a:pt x="50" y="25"/>
                  </a:lnTo>
                  <a:lnTo>
                    <a:pt x="47" y="32"/>
                  </a:lnTo>
                  <a:lnTo>
                    <a:pt x="47" y="35"/>
                  </a:lnTo>
                  <a:lnTo>
                    <a:pt x="45" y="35"/>
                  </a:lnTo>
                  <a:lnTo>
                    <a:pt x="45" y="41"/>
                  </a:lnTo>
                  <a:lnTo>
                    <a:pt x="44" y="41"/>
                  </a:lnTo>
                  <a:lnTo>
                    <a:pt x="43" y="41"/>
                  </a:lnTo>
                  <a:lnTo>
                    <a:pt x="41" y="41"/>
                  </a:lnTo>
                  <a:lnTo>
                    <a:pt x="40" y="42"/>
                  </a:lnTo>
                  <a:lnTo>
                    <a:pt x="40" y="44"/>
                  </a:lnTo>
                  <a:lnTo>
                    <a:pt x="40" y="47"/>
                  </a:lnTo>
                  <a:lnTo>
                    <a:pt x="37" y="47"/>
                  </a:lnTo>
                  <a:lnTo>
                    <a:pt x="37" y="50"/>
                  </a:lnTo>
                  <a:lnTo>
                    <a:pt x="35" y="48"/>
                  </a:lnTo>
                  <a:lnTo>
                    <a:pt x="34" y="48"/>
                  </a:lnTo>
                  <a:lnTo>
                    <a:pt x="32" y="50"/>
                  </a:lnTo>
                  <a:lnTo>
                    <a:pt x="32" y="54"/>
                  </a:lnTo>
                  <a:lnTo>
                    <a:pt x="31" y="57"/>
                  </a:lnTo>
                  <a:lnTo>
                    <a:pt x="29" y="57"/>
                  </a:lnTo>
                  <a:lnTo>
                    <a:pt x="27" y="55"/>
                  </a:lnTo>
                  <a:lnTo>
                    <a:pt x="25" y="55"/>
                  </a:lnTo>
                  <a:lnTo>
                    <a:pt x="24" y="55"/>
                  </a:lnTo>
                  <a:lnTo>
                    <a:pt x="21" y="54"/>
                  </a:lnTo>
                  <a:lnTo>
                    <a:pt x="19" y="54"/>
                  </a:lnTo>
                  <a:lnTo>
                    <a:pt x="18" y="53"/>
                  </a:lnTo>
                  <a:lnTo>
                    <a:pt x="19" y="53"/>
                  </a:lnTo>
                  <a:lnTo>
                    <a:pt x="21" y="51"/>
                  </a:lnTo>
                  <a:lnTo>
                    <a:pt x="18" y="51"/>
                  </a:lnTo>
                  <a:lnTo>
                    <a:pt x="16" y="50"/>
                  </a:lnTo>
                  <a:lnTo>
                    <a:pt x="9" y="39"/>
                  </a:lnTo>
                  <a:lnTo>
                    <a:pt x="6" y="28"/>
                  </a:lnTo>
                  <a:lnTo>
                    <a:pt x="9" y="34"/>
                  </a:lnTo>
                  <a:lnTo>
                    <a:pt x="12" y="31"/>
                  </a:lnTo>
                  <a:lnTo>
                    <a:pt x="9" y="29"/>
                  </a:lnTo>
                  <a:lnTo>
                    <a:pt x="0" y="10"/>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2" name="Freeform 184"/>
            <p:cNvSpPr>
              <a:spLocks/>
            </p:cNvSpPr>
            <p:nvPr/>
          </p:nvSpPr>
          <p:spPr bwMode="auto">
            <a:xfrm>
              <a:off x="7594552" y="3433844"/>
              <a:ext cx="527558" cy="470557"/>
            </a:xfrm>
            <a:custGeom>
              <a:avLst/>
              <a:gdLst/>
              <a:ahLst/>
              <a:cxnLst>
                <a:cxn ang="0">
                  <a:pos x="25" y="163"/>
                </a:cxn>
                <a:cxn ang="0">
                  <a:pos x="64" y="145"/>
                </a:cxn>
                <a:cxn ang="0">
                  <a:pos x="122" y="113"/>
                </a:cxn>
                <a:cxn ang="0">
                  <a:pos x="135" y="87"/>
                </a:cxn>
                <a:cxn ang="0">
                  <a:pos x="150" y="89"/>
                </a:cxn>
                <a:cxn ang="0">
                  <a:pos x="159" y="81"/>
                </a:cxn>
                <a:cxn ang="0">
                  <a:pos x="167" y="63"/>
                </a:cxn>
                <a:cxn ang="0">
                  <a:pos x="182" y="48"/>
                </a:cxn>
                <a:cxn ang="0">
                  <a:pos x="192" y="45"/>
                </a:cxn>
                <a:cxn ang="0">
                  <a:pos x="212" y="66"/>
                </a:cxn>
                <a:cxn ang="0">
                  <a:pos x="233" y="66"/>
                </a:cxn>
                <a:cxn ang="0">
                  <a:pos x="237" y="41"/>
                </a:cxn>
                <a:cxn ang="0">
                  <a:pos x="252" y="28"/>
                </a:cxn>
                <a:cxn ang="0">
                  <a:pos x="273" y="12"/>
                </a:cxn>
                <a:cxn ang="0">
                  <a:pos x="269" y="12"/>
                </a:cxn>
                <a:cxn ang="0">
                  <a:pos x="281" y="13"/>
                </a:cxn>
                <a:cxn ang="0">
                  <a:pos x="301" y="19"/>
                </a:cxn>
                <a:cxn ang="0">
                  <a:pos x="323" y="18"/>
                </a:cxn>
                <a:cxn ang="0">
                  <a:pos x="328" y="20"/>
                </a:cxn>
                <a:cxn ang="0">
                  <a:pos x="331" y="31"/>
                </a:cxn>
                <a:cxn ang="0">
                  <a:pos x="323" y="44"/>
                </a:cxn>
                <a:cxn ang="0">
                  <a:pos x="331" y="73"/>
                </a:cxn>
                <a:cxn ang="0">
                  <a:pos x="382" y="103"/>
                </a:cxn>
                <a:cxn ang="0">
                  <a:pos x="408" y="19"/>
                </a:cxn>
                <a:cxn ang="0">
                  <a:pos x="421" y="3"/>
                </a:cxn>
                <a:cxn ang="0">
                  <a:pos x="433" y="39"/>
                </a:cxn>
                <a:cxn ang="0">
                  <a:pos x="455" y="60"/>
                </a:cxn>
                <a:cxn ang="0">
                  <a:pos x="469" y="106"/>
                </a:cxn>
                <a:cxn ang="0">
                  <a:pos x="474" y="122"/>
                </a:cxn>
                <a:cxn ang="0">
                  <a:pos x="501" y="138"/>
                </a:cxn>
                <a:cxn ang="0">
                  <a:pos x="519" y="169"/>
                </a:cxn>
                <a:cxn ang="0">
                  <a:pos x="533" y="172"/>
                </a:cxn>
                <a:cxn ang="0">
                  <a:pos x="558" y="208"/>
                </a:cxn>
                <a:cxn ang="0">
                  <a:pos x="569" y="244"/>
                </a:cxn>
                <a:cxn ang="0">
                  <a:pos x="567" y="314"/>
                </a:cxn>
                <a:cxn ang="0">
                  <a:pos x="543" y="352"/>
                </a:cxn>
                <a:cxn ang="0">
                  <a:pos x="532" y="384"/>
                </a:cxn>
                <a:cxn ang="0">
                  <a:pos x="522" y="422"/>
                </a:cxn>
                <a:cxn ang="0">
                  <a:pos x="472" y="442"/>
                </a:cxn>
                <a:cxn ang="0">
                  <a:pos x="466" y="442"/>
                </a:cxn>
                <a:cxn ang="0">
                  <a:pos x="455" y="432"/>
                </a:cxn>
                <a:cxn ang="0">
                  <a:pos x="429" y="443"/>
                </a:cxn>
                <a:cxn ang="0">
                  <a:pos x="378" y="411"/>
                </a:cxn>
                <a:cxn ang="0">
                  <a:pos x="356" y="388"/>
                </a:cxn>
                <a:cxn ang="0">
                  <a:pos x="342" y="381"/>
                </a:cxn>
                <a:cxn ang="0">
                  <a:pos x="352" y="352"/>
                </a:cxn>
                <a:cxn ang="0">
                  <a:pos x="343" y="350"/>
                </a:cxn>
                <a:cxn ang="0">
                  <a:pos x="323" y="374"/>
                </a:cxn>
                <a:cxn ang="0">
                  <a:pos x="317" y="368"/>
                </a:cxn>
                <a:cxn ang="0">
                  <a:pos x="298" y="339"/>
                </a:cxn>
                <a:cxn ang="0">
                  <a:pos x="273" y="326"/>
                </a:cxn>
                <a:cxn ang="0">
                  <a:pos x="170" y="336"/>
                </a:cxn>
                <a:cxn ang="0">
                  <a:pos x="127" y="356"/>
                </a:cxn>
                <a:cxn ang="0">
                  <a:pos x="82" y="368"/>
                </a:cxn>
                <a:cxn ang="0">
                  <a:pos x="47" y="374"/>
                </a:cxn>
                <a:cxn ang="0">
                  <a:pos x="37" y="342"/>
                </a:cxn>
                <a:cxn ang="0">
                  <a:pos x="13" y="254"/>
                </a:cxn>
                <a:cxn ang="0">
                  <a:pos x="3" y="234"/>
                </a:cxn>
                <a:cxn ang="0">
                  <a:pos x="8" y="231"/>
                </a:cxn>
                <a:cxn ang="0">
                  <a:pos x="2" y="204"/>
                </a:cxn>
              </a:cxnLst>
              <a:rect l="0" t="0" r="r" b="b"/>
              <a:pathLst>
                <a:path w="575" h="451">
                  <a:moveTo>
                    <a:pt x="10" y="164"/>
                  </a:moveTo>
                  <a:lnTo>
                    <a:pt x="12" y="163"/>
                  </a:lnTo>
                  <a:lnTo>
                    <a:pt x="12" y="167"/>
                  </a:lnTo>
                  <a:lnTo>
                    <a:pt x="12" y="169"/>
                  </a:lnTo>
                  <a:lnTo>
                    <a:pt x="12" y="170"/>
                  </a:lnTo>
                  <a:lnTo>
                    <a:pt x="12" y="170"/>
                  </a:lnTo>
                  <a:lnTo>
                    <a:pt x="12" y="174"/>
                  </a:lnTo>
                  <a:lnTo>
                    <a:pt x="13" y="174"/>
                  </a:lnTo>
                  <a:lnTo>
                    <a:pt x="15" y="173"/>
                  </a:lnTo>
                  <a:lnTo>
                    <a:pt x="19" y="164"/>
                  </a:lnTo>
                  <a:lnTo>
                    <a:pt x="25" y="163"/>
                  </a:lnTo>
                  <a:lnTo>
                    <a:pt x="26" y="160"/>
                  </a:lnTo>
                  <a:lnTo>
                    <a:pt x="31" y="160"/>
                  </a:lnTo>
                  <a:lnTo>
                    <a:pt x="34" y="156"/>
                  </a:lnTo>
                  <a:lnTo>
                    <a:pt x="37" y="154"/>
                  </a:lnTo>
                  <a:lnTo>
                    <a:pt x="38" y="151"/>
                  </a:lnTo>
                  <a:lnTo>
                    <a:pt x="51" y="144"/>
                  </a:lnTo>
                  <a:lnTo>
                    <a:pt x="51" y="145"/>
                  </a:lnTo>
                  <a:lnTo>
                    <a:pt x="56" y="145"/>
                  </a:lnTo>
                  <a:lnTo>
                    <a:pt x="57" y="145"/>
                  </a:lnTo>
                  <a:lnTo>
                    <a:pt x="60" y="147"/>
                  </a:lnTo>
                  <a:lnTo>
                    <a:pt x="64" y="145"/>
                  </a:lnTo>
                  <a:lnTo>
                    <a:pt x="70" y="141"/>
                  </a:lnTo>
                  <a:lnTo>
                    <a:pt x="77" y="140"/>
                  </a:lnTo>
                  <a:lnTo>
                    <a:pt x="83" y="135"/>
                  </a:lnTo>
                  <a:lnTo>
                    <a:pt x="87" y="135"/>
                  </a:lnTo>
                  <a:lnTo>
                    <a:pt x="89" y="137"/>
                  </a:lnTo>
                  <a:lnTo>
                    <a:pt x="111" y="131"/>
                  </a:lnTo>
                  <a:lnTo>
                    <a:pt x="118" y="124"/>
                  </a:lnTo>
                  <a:lnTo>
                    <a:pt x="119" y="122"/>
                  </a:lnTo>
                  <a:lnTo>
                    <a:pt x="119" y="119"/>
                  </a:lnTo>
                  <a:lnTo>
                    <a:pt x="122" y="115"/>
                  </a:lnTo>
                  <a:lnTo>
                    <a:pt x="122" y="113"/>
                  </a:lnTo>
                  <a:lnTo>
                    <a:pt x="124" y="113"/>
                  </a:lnTo>
                  <a:lnTo>
                    <a:pt x="130" y="108"/>
                  </a:lnTo>
                  <a:lnTo>
                    <a:pt x="130" y="106"/>
                  </a:lnTo>
                  <a:lnTo>
                    <a:pt x="130" y="106"/>
                  </a:lnTo>
                  <a:lnTo>
                    <a:pt x="127" y="99"/>
                  </a:lnTo>
                  <a:lnTo>
                    <a:pt x="127" y="95"/>
                  </a:lnTo>
                  <a:lnTo>
                    <a:pt x="130" y="92"/>
                  </a:lnTo>
                  <a:lnTo>
                    <a:pt x="131" y="92"/>
                  </a:lnTo>
                  <a:lnTo>
                    <a:pt x="132" y="92"/>
                  </a:lnTo>
                  <a:lnTo>
                    <a:pt x="132" y="89"/>
                  </a:lnTo>
                  <a:lnTo>
                    <a:pt x="135" y="87"/>
                  </a:lnTo>
                  <a:lnTo>
                    <a:pt x="137" y="87"/>
                  </a:lnTo>
                  <a:lnTo>
                    <a:pt x="135" y="86"/>
                  </a:lnTo>
                  <a:lnTo>
                    <a:pt x="137" y="83"/>
                  </a:lnTo>
                  <a:lnTo>
                    <a:pt x="137" y="83"/>
                  </a:lnTo>
                  <a:lnTo>
                    <a:pt x="146" y="99"/>
                  </a:lnTo>
                  <a:lnTo>
                    <a:pt x="147" y="99"/>
                  </a:lnTo>
                  <a:lnTo>
                    <a:pt x="147" y="97"/>
                  </a:lnTo>
                  <a:lnTo>
                    <a:pt x="147" y="93"/>
                  </a:lnTo>
                  <a:lnTo>
                    <a:pt x="148" y="93"/>
                  </a:lnTo>
                  <a:lnTo>
                    <a:pt x="150" y="93"/>
                  </a:lnTo>
                  <a:lnTo>
                    <a:pt x="150" y="89"/>
                  </a:lnTo>
                  <a:lnTo>
                    <a:pt x="148" y="86"/>
                  </a:lnTo>
                  <a:lnTo>
                    <a:pt x="147" y="86"/>
                  </a:lnTo>
                  <a:lnTo>
                    <a:pt x="147" y="84"/>
                  </a:lnTo>
                  <a:lnTo>
                    <a:pt x="147" y="80"/>
                  </a:lnTo>
                  <a:lnTo>
                    <a:pt x="148" y="79"/>
                  </a:lnTo>
                  <a:lnTo>
                    <a:pt x="150" y="80"/>
                  </a:lnTo>
                  <a:lnTo>
                    <a:pt x="153" y="80"/>
                  </a:lnTo>
                  <a:lnTo>
                    <a:pt x="156" y="84"/>
                  </a:lnTo>
                  <a:lnTo>
                    <a:pt x="160" y="84"/>
                  </a:lnTo>
                  <a:lnTo>
                    <a:pt x="160" y="83"/>
                  </a:lnTo>
                  <a:lnTo>
                    <a:pt x="159" y="81"/>
                  </a:lnTo>
                  <a:lnTo>
                    <a:pt x="159" y="79"/>
                  </a:lnTo>
                  <a:lnTo>
                    <a:pt x="161" y="76"/>
                  </a:lnTo>
                  <a:lnTo>
                    <a:pt x="163" y="74"/>
                  </a:lnTo>
                  <a:lnTo>
                    <a:pt x="161" y="70"/>
                  </a:lnTo>
                  <a:lnTo>
                    <a:pt x="163" y="68"/>
                  </a:lnTo>
                  <a:lnTo>
                    <a:pt x="164" y="67"/>
                  </a:lnTo>
                  <a:lnTo>
                    <a:pt x="167" y="68"/>
                  </a:lnTo>
                  <a:lnTo>
                    <a:pt x="167" y="68"/>
                  </a:lnTo>
                  <a:lnTo>
                    <a:pt x="166" y="66"/>
                  </a:lnTo>
                  <a:lnTo>
                    <a:pt x="166" y="64"/>
                  </a:lnTo>
                  <a:lnTo>
                    <a:pt x="167" y="63"/>
                  </a:lnTo>
                  <a:lnTo>
                    <a:pt x="172" y="64"/>
                  </a:lnTo>
                  <a:lnTo>
                    <a:pt x="172" y="63"/>
                  </a:lnTo>
                  <a:lnTo>
                    <a:pt x="170" y="60"/>
                  </a:lnTo>
                  <a:lnTo>
                    <a:pt x="170" y="57"/>
                  </a:lnTo>
                  <a:lnTo>
                    <a:pt x="176" y="55"/>
                  </a:lnTo>
                  <a:lnTo>
                    <a:pt x="177" y="55"/>
                  </a:lnTo>
                  <a:lnTo>
                    <a:pt x="179" y="57"/>
                  </a:lnTo>
                  <a:lnTo>
                    <a:pt x="182" y="55"/>
                  </a:lnTo>
                  <a:lnTo>
                    <a:pt x="183" y="52"/>
                  </a:lnTo>
                  <a:lnTo>
                    <a:pt x="183" y="51"/>
                  </a:lnTo>
                  <a:lnTo>
                    <a:pt x="182" y="48"/>
                  </a:lnTo>
                  <a:lnTo>
                    <a:pt x="182" y="47"/>
                  </a:lnTo>
                  <a:lnTo>
                    <a:pt x="183" y="48"/>
                  </a:lnTo>
                  <a:lnTo>
                    <a:pt x="183" y="51"/>
                  </a:lnTo>
                  <a:lnTo>
                    <a:pt x="186" y="50"/>
                  </a:lnTo>
                  <a:lnTo>
                    <a:pt x="186" y="48"/>
                  </a:lnTo>
                  <a:lnTo>
                    <a:pt x="188" y="48"/>
                  </a:lnTo>
                  <a:lnTo>
                    <a:pt x="188" y="50"/>
                  </a:lnTo>
                  <a:lnTo>
                    <a:pt x="189" y="50"/>
                  </a:lnTo>
                  <a:lnTo>
                    <a:pt x="192" y="48"/>
                  </a:lnTo>
                  <a:lnTo>
                    <a:pt x="193" y="47"/>
                  </a:lnTo>
                  <a:lnTo>
                    <a:pt x="192" y="45"/>
                  </a:lnTo>
                  <a:lnTo>
                    <a:pt x="195" y="45"/>
                  </a:lnTo>
                  <a:lnTo>
                    <a:pt x="195" y="45"/>
                  </a:lnTo>
                  <a:lnTo>
                    <a:pt x="198" y="47"/>
                  </a:lnTo>
                  <a:lnTo>
                    <a:pt x="199" y="47"/>
                  </a:lnTo>
                  <a:lnTo>
                    <a:pt x="205" y="50"/>
                  </a:lnTo>
                  <a:lnTo>
                    <a:pt x="209" y="55"/>
                  </a:lnTo>
                  <a:lnTo>
                    <a:pt x="212" y="58"/>
                  </a:lnTo>
                  <a:lnTo>
                    <a:pt x="211" y="66"/>
                  </a:lnTo>
                  <a:lnTo>
                    <a:pt x="212" y="66"/>
                  </a:lnTo>
                  <a:lnTo>
                    <a:pt x="212" y="67"/>
                  </a:lnTo>
                  <a:lnTo>
                    <a:pt x="212" y="66"/>
                  </a:lnTo>
                  <a:lnTo>
                    <a:pt x="214" y="64"/>
                  </a:lnTo>
                  <a:lnTo>
                    <a:pt x="212" y="63"/>
                  </a:lnTo>
                  <a:lnTo>
                    <a:pt x="214" y="61"/>
                  </a:lnTo>
                  <a:lnTo>
                    <a:pt x="215" y="61"/>
                  </a:lnTo>
                  <a:lnTo>
                    <a:pt x="215" y="61"/>
                  </a:lnTo>
                  <a:lnTo>
                    <a:pt x="217" y="61"/>
                  </a:lnTo>
                  <a:lnTo>
                    <a:pt x="217" y="60"/>
                  </a:lnTo>
                  <a:lnTo>
                    <a:pt x="218" y="60"/>
                  </a:lnTo>
                  <a:lnTo>
                    <a:pt x="221" y="60"/>
                  </a:lnTo>
                  <a:lnTo>
                    <a:pt x="227" y="60"/>
                  </a:lnTo>
                  <a:lnTo>
                    <a:pt x="233" y="66"/>
                  </a:lnTo>
                  <a:lnTo>
                    <a:pt x="234" y="66"/>
                  </a:lnTo>
                  <a:lnTo>
                    <a:pt x="234" y="61"/>
                  </a:lnTo>
                  <a:lnTo>
                    <a:pt x="236" y="60"/>
                  </a:lnTo>
                  <a:lnTo>
                    <a:pt x="236" y="60"/>
                  </a:lnTo>
                  <a:lnTo>
                    <a:pt x="230" y="52"/>
                  </a:lnTo>
                  <a:lnTo>
                    <a:pt x="231" y="48"/>
                  </a:lnTo>
                  <a:lnTo>
                    <a:pt x="231" y="50"/>
                  </a:lnTo>
                  <a:lnTo>
                    <a:pt x="233" y="48"/>
                  </a:lnTo>
                  <a:lnTo>
                    <a:pt x="236" y="44"/>
                  </a:lnTo>
                  <a:lnTo>
                    <a:pt x="236" y="42"/>
                  </a:lnTo>
                  <a:lnTo>
                    <a:pt x="237" y="41"/>
                  </a:lnTo>
                  <a:lnTo>
                    <a:pt x="241" y="41"/>
                  </a:lnTo>
                  <a:lnTo>
                    <a:pt x="243" y="39"/>
                  </a:lnTo>
                  <a:lnTo>
                    <a:pt x="243" y="36"/>
                  </a:lnTo>
                  <a:lnTo>
                    <a:pt x="241" y="36"/>
                  </a:lnTo>
                  <a:lnTo>
                    <a:pt x="241" y="35"/>
                  </a:lnTo>
                  <a:lnTo>
                    <a:pt x="241" y="32"/>
                  </a:lnTo>
                  <a:lnTo>
                    <a:pt x="243" y="29"/>
                  </a:lnTo>
                  <a:lnTo>
                    <a:pt x="247" y="28"/>
                  </a:lnTo>
                  <a:lnTo>
                    <a:pt x="247" y="26"/>
                  </a:lnTo>
                  <a:lnTo>
                    <a:pt x="250" y="26"/>
                  </a:lnTo>
                  <a:lnTo>
                    <a:pt x="252" y="28"/>
                  </a:lnTo>
                  <a:lnTo>
                    <a:pt x="253" y="29"/>
                  </a:lnTo>
                  <a:lnTo>
                    <a:pt x="253" y="28"/>
                  </a:lnTo>
                  <a:lnTo>
                    <a:pt x="252" y="25"/>
                  </a:lnTo>
                  <a:lnTo>
                    <a:pt x="252" y="25"/>
                  </a:lnTo>
                  <a:lnTo>
                    <a:pt x="253" y="22"/>
                  </a:lnTo>
                  <a:lnTo>
                    <a:pt x="257" y="23"/>
                  </a:lnTo>
                  <a:lnTo>
                    <a:pt x="257" y="22"/>
                  </a:lnTo>
                  <a:lnTo>
                    <a:pt x="269" y="23"/>
                  </a:lnTo>
                  <a:lnTo>
                    <a:pt x="276" y="20"/>
                  </a:lnTo>
                  <a:lnTo>
                    <a:pt x="276" y="13"/>
                  </a:lnTo>
                  <a:lnTo>
                    <a:pt x="273" y="12"/>
                  </a:lnTo>
                  <a:lnTo>
                    <a:pt x="272" y="12"/>
                  </a:lnTo>
                  <a:lnTo>
                    <a:pt x="269" y="12"/>
                  </a:lnTo>
                  <a:lnTo>
                    <a:pt x="266" y="9"/>
                  </a:lnTo>
                  <a:lnTo>
                    <a:pt x="263" y="9"/>
                  </a:lnTo>
                  <a:lnTo>
                    <a:pt x="265" y="9"/>
                  </a:lnTo>
                  <a:lnTo>
                    <a:pt x="265" y="7"/>
                  </a:lnTo>
                  <a:lnTo>
                    <a:pt x="266" y="9"/>
                  </a:lnTo>
                  <a:lnTo>
                    <a:pt x="266" y="7"/>
                  </a:lnTo>
                  <a:lnTo>
                    <a:pt x="267" y="6"/>
                  </a:lnTo>
                  <a:lnTo>
                    <a:pt x="267" y="7"/>
                  </a:lnTo>
                  <a:lnTo>
                    <a:pt x="269" y="12"/>
                  </a:lnTo>
                  <a:lnTo>
                    <a:pt x="269" y="9"/>
                  </a:lnTo>
                  <a:lnTo>
                    <a:pt x="269" y="7"/>
                  </a:lnTo>
                  <a:lnTo>
                    <a:pt x="270" y="7"/>
                  </a:lnTo>
                  <a:lnTo>
                    <a:pt x="272" y="9"/>
                  </a:lnTo>
                  <a:lnTo>
                    <a:pt x="273" y="7"/>
                  </a:lnTo>
                  <a:lnTo>
                    <a:pt x="275" y="10"/>
                  </a:lnTo>
                  <a:lnTo>
                    <a:pt x="278" y="12"/>
                  </a:lnTo>
                  <a:lnTo>
                    <a:pt x="278" y="10"/>
                  </a:lnTo>
                  <a:lnTo>
                    <a:pt x="279" y="10"/>
                  </a:lnTo>
                  <a:lnTo>
                    <a:pt x="281" y="10"/>
                  </a:lnTo>
                  <a:lnTo>
                    <a:pt x="281" y="13"/>
                  </a:lnTo>
                  <a:lnTo>
                    <a:pt x="283" y="15"/>
                  </a:lnTo>
                  <a:lnTo>
                    <a:pt x="286" y="16"/>
                  </a:lnTo>
                  <a:lnTo>
                    <a:pt x="288" y="16"/>
                  </a:lnTo>
                  <a:lnTo>
                    <a:pt x="289" y="16"/>
                  </a:lnTo>
                  <a:lnTo>
                    <a:pt x="289" y="16"/>
                  </a:lnTo>
                  <a:lnTo>
                    <a:pt x="292" y="15"/>
                  </a:lnTo>
                  <a:lnTo>
                    <a:pt x="292" y="16"/>
                  </a:lnTo>
                  <a:lnTo>
                    <a:pt x="294" y="18"/>
                  </a:lnTo>
                  <a:lnTo>
                    <a:pt x="297" y="18"/>
                  </a:lnTo>
                  <a:lnTo>
                    <a:pt x="298" y="19"/>
                  </a:lnTo>
                  <a:lnTo>
                    <a:pt x="301" y="19"/>
                  </a:lnTo>
                  <a:lnTo>
                    <a:pt x="302" y="20"/>
                  </a:lnTo>
                  <a:lnTo>
                    <a:pt x="305" y="19"/>
                  </a:lnTo>
                  <a:lnTo>
                    <a:pt x="305" y="19"/>
                  </a:lnTo>
                  <a:lnTo>
                    <a:pt x="307" y="20"/>
                  </a:lnTo>
                  <a:lnTo>
                    <a:pt x="310" y="20"/>
                  </a:lnTo>
                  <a:lnTo>
                    <a:pt x="311" y="22"/>
                  </a:lnTo>
                  <a:lnTo>
                    <a:pt x="312" y="23"/>
                  </a:lnTo>
                  <a:lnTo>
                    <a:pt x="315" y="20"/>
                  </a:lnTo>
                  <a:lnTo>
                    <a:pt x="318" y="19"/>
                  </a:lnTo>
                  <a:lnTo>
                    <a:pt x="320" y="19"/>
                  </a:lnTo>
                  <a:lnTo>
                    <a:pt x="323" y="18"/>
                  </a:lnTo>
                  <a:lnTo>
                    <a:pt x="321" y="20"/>
                  </a:lnTo>
                  <a:lnTo>
                    <a:pt x="321" y="22"/>
                  </a:lnTo>
                  <a:lnTo>
                    <a:pt x="323" y="22"/>
                  </a:lnTo>
                  <a:lnTo>
                    <a:pt x="324" y="20"/>
                  </a:lnTo>
                  <a:lnTo>
                    <a:pt x="324" y="22"/>
                  </a:lnTo>
                  <a:lnTo>
                    <a:pt x="324" y="26"/>
                  </a:lnTo>
                  <a:lnTo>
                    <a:pt x="324" y="26"/>
                  </a:lnTo>
                  <a:lnTo>
                    <a:pt x="327" y="26"/>
                  </a:lnTo>
                  <a:lnTo>
                    <a:pt x="328" y="23"/>
                  </a:lnTo>
                  <a:lnTo>
                    <a:pt x="327" y="22"/>
                  </a:lnTo>
                  <a:lnTo>
                    <a:pt x="328" y="20"/>
                  </a:lnTo>
                  <a:lnTo>
                    <a:pt x="330" y="18"/>
                  </a:lnTo>
                  <a:lnTo>
                    <a:pt x="331" y="19"/>
                  </a:lnTo>
                  <a:lnTo>
                    <a:pt x="331" y="19"/>
                  </a:lnTo>
                  <a:lnTo>
                    <a:pt x="333" y="23"/>
                  </a:lnTo>
                  <a:lnTo>
                    <a:pt x="334" y="22"/>
                  </a:lnTo>
                  <a:lnTo>
                    <a:pt x="336" y="22"/>
                  </a:lnTo>
                  <a:lnTo>
                    <a:pt x="337" y="23"/>
                  </a:lnTo>
                  <a:lnTo>
                    <a:pt x="334" y="29"/>
                  </a:lnTo>
                  <a:lnTo>
                    <a:pt x="333" y="31"/>
                  </a:lnTo>
                  <a:lnTo>
                    <a:pt x="331" y="31"/>
                  </a:lnTo>
                  <a:lnTo>
                    <a:pt x="331" y="31"/>
                  </a:lnTo>
                  <a:lnTo>
                    <a:pt x="333" y="34"/>
                  </a:lnTo>
                  <a:lnTo>
                    <a:pt x="331" y="36"/>
                  </a:lnTo>
                  <a:lnTo>
                    <a:pt x="330" y="36"/>
                  </a:lnTo>
                  <a:lnTo>
                    <a:pt x="328" y="36"/>
                  </a:lnTo>
                  <a:lnTo>
                    <a:pt x="327" y="35"/>
                  </a:lnTo>
                  <a:lnTo>
                    <a:pt x="327" y="36"/>
                  </a:lnTo>
                  <a:lnTo>
                    <a:pt x="327" y="39"/>
                  </a:lnTo>
                  <a:lnTo>
                    <a:pt x="326" y="39"/>
                  </a:lnTo>
                  <a:lnTo>
                    <a:pt x="326" y="36"/>
                  </a:lnTo>
                  <a:lnTo>
                    <a:pt x="324" y="36"/>
                  </a:lnTo>
                  <a:lnTo>
                    <a:pt x="323" y="44"/>
                  </a:lnTo>
                  <a:lnTo>
                    <a:pt x="326" y="44"/>
                  </a:lnTo>
                  <a:lnTo>
                    <a:pt x="324" y="48"/>
                  </a:lnTo>
                  <a:lnTo>
                    <a:pt x="324" y="50"/>
                  </a:lnTo>
                  <a:lnTo>
                    <a:pt x="318" y="60"/>
                  </a:lnTo>
                  <a:lnTo>
                    <a:pt x="318" y="63"/>
                  </a:lnTo>
                  <a:lnTo>
                    <a:pt x="320" y="63"/>
                  </a:lnTo>
                  <a:lnTo>
                    <a:pt x="321" y="66"/>
                  </a:lnTo>
                  <a:lnTo>
                    <a:pt x="323" y="64"/>
                  </a:lnTo>
                  <a:lnTo>
                    <a:pt x="326" y="67"/>
                  </a:lnTo>
                  <a:lnTo>
                    <a:pt x="330" y="68"/>
                  </a:lnTo>
                  <a:lnTo>
                    <a:pt x="331" y="73"/>
                  </a:lnTo>
                  <a:lnTo>
                    <a:pt x="331" y="77"/>
                  </a:lnTo>
                  <a:lnTo>
                    <a:pt x="333" y="74"/>
                  </a:lnTo>
                  <a:lnTo>
                    <a:pt x="339" y="76"/>
                  </a:lnTo>
                  <a:lnTo>
                    <a:pt x="343" y="76"/>
                  </a:lnTo>
                  <a:lnTo>
                    <a:pt x="343" y="79"/>
                  </a:lnTo>
                  <a:lnTo>
                    <a:pt x="352" y="83"/>
                  </a:lnTo>
                  <a:lnTo>
                    <a:pt x="355" y="86"/>
                  </a:lnTo>
                  <a:lnTo>
                    <a:pt x="366" y="89"/>
                  </a:lnTo>
                  <a:lnTo>
                    <a:pt x="369" y="92"/>
                  </a:lnTo>
                  <a:lnTo>
                    <a:pt x="371" y="96"/>
                  </a:lnTo>
                  <a:lnTo>
                    <a:pt x="382" y="103"/>
                  </a:lnTo>
                  <a:lnTo>
                    <a:pt x="394" y="99"/>
                  </a:lnTo>
                  <a:lnTo>
                    <a:pt x="394" y="97"/>
                  </a:lnTo>
                  <a:lnTo>
                    <a:pt x="405" y="64"/>
                  </a:lnTo>
                  <a:lnTo>
                    <a:pt x="403" y="42"/>
                  </a:lnTo>
                  <a:lnTo>
                    <a:pt x="405" y="36"/>
                  </a:lnTo>
                  <a:lnTo>
                    <a:pt x="405" y="32"/>
                  </a:lnTo>
                  <a:lnTo>
                    <a:pt x="405" y="31"/>
                  </a:lnTo>
                  <a:lnTo>
                    <a:pt x="407" y="28"/>
                  </a:lnTo>
                  <a:lnTo>
                    <a:pt x="404" y="28"/>
                  </a:lnTo>
                  <a:lnTo>
                    <a:pt x="405" y="19"/>
                  </a:lnTo>
                  <a:lnTo>
                    <a:pt x="408" y="19"/>
                  </a:lnTo>
                  <a:lnTo>
                    <a:pt x="411" y="12"/>
                  </a:lnTo>
                  <a:lnTo>
                    <a:pt x="414" y="7"/>
                  </a:lnTo>
                  <a:lnTo>
                    <a:pt x="414" y="3"/>
                  </a:lnTo>
                  <a:lnTo>
                    <a:pt x="416" y="3"/>
                  </a:lnTo>
                  <a:lnTo>
                    <a:pt x="416" y="2"/>
                  </a:lnTo>
                  <a:lnTo>
                    <a:pt x="418" y="0"/>
                  </a:lnTo>
                  <a:lnTo>
                    <a:pt x="420" y="0"/>
                  </a:lnTo>
                  <a:lnTo>
                    <a:pt x="421" y="0"/>
                  </a:lnTo>
                  <a:lnTo>
                    <a:pt x="421" y="2"/>
                  </a:lnTo>
                  <a:lnTo>
                    <a:pt x="421" y="3"/>
                  </a:lnTo>
                  <a:lnTo>
                    <a:pt x="421" y="3"/>
                  </a:lnTo>
                  <a:lnTo>
                    <a:pt x="421" y="4"/>
                  </a:lnTo>
                  <a:lnTo>
                    <a:pt x="423" y="18"/>
                  </a:lnTo>
                  <a:lnTo>
                    <a:pt x="426" y="18"/>
                  </a:lnTo>
                  <a:lnTo>
                    <a:pt x="426" y="19"/>
                  </a:lnTo>
                  <a:lnTo>
                    <a:pt x="426" y="22"/>
                  </a:lnTo>
                  <a:lnTo>
                    <a:pt x="427" y="23"/>
                  </a:lnTo>
                  <a:lnTo>
                    <a:pt x="429" y="26"/>
                  </a:lnTo>
                  <a:lnTo>
                    <a:pt x="430" y="28"/>
                  </a:lnTo>
                  <a:lnTo>
                    <a:pt x="430" y="31"/>
                  </a:lnTo>
                  <a:lnTo>
                    <a:pt x="430" y="32"/>
                  </a:lnTo>
                  <a:lnTo>
                    <a:pt x="433" y="39"/>
                  </a:lnTo>
                  <a:lnTo>
                    <a:pt x="433" y="44"/>
                  </a:lnTo>
                  <a:lnTo>
                    <a:pt x="434" y="51"/>
                  </a:lnTo>
                  <a:lnTo>
                    <a:pt x="437" y="54"/>
                  </a:lnTo>
                  <a:lnTo>
                    <a:pt x="439" y="54"/>
                  </a:lnTo>
                  <a:lnTo>
                    <a:pt x="442" y="51"/>
                  </a:lnTo>
                  <a:lnTo>
                    <a:pt x="445" y="51"/>
                  </a:lnTo>
                  <a:lnTo>
                    <a:pt x="448" y="51"/>
                  </a:lnTo>
                  <a:lnTo>
                    <a:pt x="449" y="55"/>
                  </a:lnTo>
                  <a:lnTo>
                    <a:pt x="452" y="57"/>
                  </a:lnTo>
                  <a:lnTo>
                    <a:pt x="453" y="58"/>
                  </a:lnTo>
                  <a:lnTo>
                    <a:pt x="455" y="60"/>
                  </a:lnTo>
                  <a:lnTo>
                    <a:pt x="458" y="63"/>
                  </a:lnTo>
                  <a:lnTo>
                    <a:pt x="458" y="66"/>
                  </a:lnTo>
                  <a:lnTo>
                    <a:pt x="458" y="67"/>
                  </a:lnTo>
                  <a:lnTo>
                    <a:pt x="458" y="71"/>
                  </a:lnTo>
                  <a:lnTo>
                    <a:pt x="458" y="74"/>
                  </a:lnTo>
                  <a:lnTo>
                    <a:pt x="458" y="76"/>
                  </a:lnTo>
                  <a:lnTo>
                    <a:pt x="459" y="79"/>
                  </a:lnTo>
                  <a:lnTo>
                    <a:pt x="461" y="86"/>
                  </a:lnTo>
                  <a:lnTo>
                    <a:pt x="463" y="90"/>
                  </a:lnTo>
                  <a:lnTo>
                    <a:pt x="466" y="90"/>
                  </a:lnTo>
                  <a:lnTo>
                    <a:pt x="469" y="106"/>
                  </a:lnTo>
                  <a:lnTo>
                    <a:pt x="468" y="111"/>
                  </a:lnTo>
                  <a:lnTo>
                    <a:pt x="469" y="113"/>
                  </a:lnTo>
                  <a:lnTo>
                    <a:pt x="471" y="115"/>
                  </a:lnTo>
                  <a:lnTo>
                    <a:pt x="472" y="115"/>
                  </a:lnTo>
                  <a:lnTo>
                    <a:pt x="472" y="116"/>
                  </a:lnTo>
                  <a:lnTo>
                    <a:pt x="472" y="115"/>
                  </a:lnTo>
                  <a:lnTo>
                    <a:pt x="472" y="116"/>
                  </a:lnTo>
                  <a:lnTo>
                    <a:pt x="472" y="116"/>
                  </a:lnTo>
                  <a:lnTo>
                    <a:pt x="472" y="118"/>
                  </a:lnTo>
                  <a:lnTo>
                    <a:pt x="472" y="119"/>
                  </a:lnTo>
                  <a:lnTo>
                    <a:pt x="474" y="122"/>
                  </a:lnTo>
                  <a:lnTo>
                    <a:pt x="477" y="122"/>
                  </a:lnTo>
                  <a:lnTo>
                    <a:pt x="478" y="125"/>
                  </a:lnTo>
                  <a:lnTo>
                    <a:pt x="485" y="127"/>
                  </a:lnTo>
                  <a:lnTo>
                    <a:pt x="487" y="127"/>
                  </a:lnTo>
                  <a:lnTo>
                    <a:pt x="488" y="125"/>
                  </a:lnTo>
                  <a:lnTo>
                    <a:pt x="490" y="132"/>
                  </a:lnTo>
                  <a:lnTo>
                    <a:pt x="491" y="134"/>
                  </a:lnTo>
                  <a:lnTo>
                    <a:pt x="494" y="132"/>
                  </a:lnTo>
                  <a:lnTo>
                    <a:pt x="495" y="134"/>
                  </a:lnTo>
                  <a:lnTo>
                    <a:pt x="498" y="134"/>
                  </a:lnTo>
                  <a:lnTo>
                    <a:pt x="501" y="138"/>
                  </a:lnTo>
                  <a:lnTo>
                    <a:pt x="503" y="137"/>
                  </a:lnTo>
                  <a:lnTo>
                    <a:pt x="509" y="141"/>
                  </a:lnTo>
                  <a:lnTo>
                    <a:pt x="509" y="144"/>
                  </a:lnTo>
                  <a:lnTo>
                    <a:pt x="507" y="144"/>
                  </a:lnTo>
                  <a:lnTo>
                    <a:pt x="507" y="147"/>
                  </a:lnTo>
                  <a:lnTo>
                    <a:pt x="509" y="148"/>
                  </a:lnTo>
                  <a:lnTo>
                    <a:pt x="511" y="148"/>
                  </a:lnTo>
                  <a:lnTo>
                    <a:pt x="514" y="159"/>
                  </a:lnTo>
                  <a:lnTo>
                    <a:pt x="517" y="159"/>
                  </a:lnTo>
                  <a:lnTo>
                    <a:pt x="517" y="167"/>
                  </a:lnTo>
                  <a:lnTo>
                    <a:pt x="519" y="169"/>
                  </a:lnTo>
                  <a:lnTo>
                    <a:pt x="519" y="170"/>
                  </a:lnTo>
                  <a:lnTo>
                    <a:pt x="520" y="172"/>
                  </a:lnTo>
                  <a:lnTo>
                    <a:pt x="520" y="174"/>
                  </a:lnTo>
                  <a:lnTo>
                    <a:pt x="522" y="174"/>
                  </a:lnTo>
                  <a:lnTo>
                    <a:pt x="522" y="173"/>
                  </a:lnTo>
                  <a:lnTo>
                    <a:pt x="523" y="173"/>
                  </a:lnTo>
                  <a:lnTo>
                    <a:pt x="523" y="170"/>
                  </a:lnTo>
                  <a:lnTo>
                    <a:pt x="524" y="169"/>
                  </a:lnTo>
                  <a:lnTo>
                    <a:pt x="526" y="170"/>
                  </a:lnTo>
                  <a:lnTo>
                    <a:pt x="532" y="174"/>
                  </a:lnTo>
                  <a:lnTo>
                    <a:pt x="533" y="172"/>
                  </a:lnTo>
                  <a:lnTo>
                    <a:pt x="533" y="172"/>
                  </a:lnTo>
                  <a:lnTo>
                    <a:pt x="535" y="174"/>
                  </a:lnTo>
                  <a:lnTo>
                    <a:pt x="535" y="174"/>
                  </a:lnTo>
                  <a:lnTo>
                    <a:pt x="538" y="190"/>
                  </a:lnTo>
                  <a:lnTo>
                    <a:pt x="545" y="198"/>
                  </a:lnTo>
                  <a:lnTo>
                    <a:pt x="548" y="198"/>
                  </a:lnTo>
                  <a:lnTo>
                    <a:pt x="549" y="198"/>
                  </a:lnTo>
                  <a:lnTo>
                    <a:pt x="552" y="204"/>
                  </a:lnTo>
                  <a:lnTo>
                    <a:pt x="554" y="205"/>
                  </a:lnTo>
                  <a:lnTo>
                    <a:pt x="555" y="206"/>
                  </a:lnTo>
                  <a:lnTo>
                    <a:pt x="558" y="208"/>
                  </a:lnTo>
                  <a:lnTo>
                    <a:pt x="558" y="209"/>
                  </a:lnTo>
                  <a:lnTo>
                    <a:pt x="561" y="214"/>
                  </a:lnTo>
                  <a:lnTo>
                    <a:pt x="561" y="215"/>
                  </a:lnTo>
                  <a:lnTo>
                    <a:pt x="564" y="217"/>
                  </a:lnTo>
                  <a:lnTo>
                    <a:pt x="565" y="224"/>
                  </a:lnTo>
                  <a:lnTo>
                    <a:pt x="567" y="227"/>
                  </a:lnTo>
                  <a:lnTo>
                    <a:pt x="568" y="225"/>
                  </a:lnTo>
                  <a:lnTo>
                    <a:pt x="568" y="230"/>
                  </a:lnTo>
                  <a:lnTo>
                    <a:pt x="568" y="234"/>
                  </a:lnTo>
                  <a:lnTo>
                    <a:pt x="569" y="246"/>
                  </a:lnTo>
                  <a:lnTo>
                    <a:pt x="569" y="244"/>
                  </a:lnTo>
                  <a:lnTo>
                    <a:pt x="568" y="247"/>
                  </a:lnTo>
                  <a:lnTo>
                    <a:pt x="569" y="247"/>
                  </a:lnTo>
                  <a:lnTo>
                    <a:pt x="569" y="250"/>
                  </a:lnTo>
                  <a:lnTo>
                    <a:pt x="569" y="250"/>
                  </a:lnTo>
                  <a:lnTo>
                    <a:pt x="575" y="266"/>
                  </a:lnTo>
                  <a:lnTo>
                    <a:pt x="571" y="297"/>
                  </a:lnTo>
                  <a:lnTo>
                    <a:pt x="569" y="297"/>
                  </a:lnTo>
                  <a:lnTo>
                    <a:pt x="568" y="302"/>
                  </a:lnTo>
                  <a:lnTo>
                    <a:pt x="568" y="311"/>
                  </a:lnTo>
                  <a:lnTo>
                    <a:pt x="567" y="313"/>
                  </a:lnTo>
                  <a:lnTo>
                    <a:pt x="567" y="314"/>
                  </a:lnTo>
                  <a:lnTo>
                    <a:pt x="561" y="329"/>
                  </a:lnTo>
                  <a:lnTo>
                    <a:pt x="559" y="330"/>
                  </a:lnTo>
                  <a:lnTo>
                    <a:pt x="559" y="331"/>
                  </a:lnTo>
                  <a:lnTo>
                    <a:pt x="559" y="333"/>
                  </a:lnTo>
                  <a:lnTo>
                    <a:pt x="556" y="337"/>
                  </a:lnTo>
                  <a:lnTo>
                    <a:pt x="555" y="337"/>
                  </a:lnTo>
                  <a:lnTo>
                    <a:pt x="554" y="339"/>
                  </a:lnTo>
                  <a:lnTo>
                    <a:pt x="555" y="339"/>
                  </a:lnTo>
                  <a:lnTo>
                    <a:pt x="551" y="342"/>
                  </a:lnTo>
                  <a:lnTo>
                    <a:pt x="545" y="352"/>
                  </a:lnTo>
                  <a:lnTo>
                    <a:pt x="543" y="352"/>
                  </a:lnTo>
                  <a:lnTo>
                    <a:pt x="542" y="353"/>
                  </a:lnTo>
                  <a:lnTo>
                    <a:pt x="542" y="353"/>
                  </a:lnTo>
                  <a:lnTo>
                    <a:pt x="543" y="355"/>
                  </a:lnTo>
                  <a:lnTo>
                    <a:pt x="543" y="358"/>
                  </a:lnTo>
                  <a:lnTo>
                    <a:pt x="542" y="360"/>
                  </a:lnTo>
                  <a:lnTo>
                    <a:pt x="542" y="360"/>
                  </a:lnTo>
                  <a:lnTo>
                    <a:pt x="542" y="363"/>
                  </a:lnTo>
                  <a:lnTo>
                    <a:pt x="539" y="366"/>
                  </a:lnTo>
                  <a:lnTo>
                    <a:pt x="536" y="381"/>
                  </a:lnTo>
                  <a:lnTo>
                    <a:pt x="533" y="379"/>
                  </a:lnTo>
                  <a:lnTo>
                    <a:pt x="532" y="384"/>
                  </a:lnTo>
                  <a:lnTo>
                    <a:pt x="530" y="385"/>
                  </a:lnTo>
                  <a:lnTo>
                    <a:pt x="530" y="388"/>
                  </a:lnTo>
                  <a:lnTo>
                    <a:pt x="529" y="390"/>
                  </a:lnTo>
                  <a:lnTo>
                    <a:pt x="527" y="391"/>
                  </a:lnTo>
                  <a:lnTo>
                    <a:pt x="527" y="398"/>
                  </a:lnTo>
                  <a:lnTo>
                    <a:pt x="527" y="401"/>
                  </a:lnTo>
                  <a:lnTo>
                    <a:pt x="524" y="411"/>
                  </a:lnTo>
                  <a:lnTo>
                    <a:pt x="526" y="419"/>
                  </a:lnTo>
                  <a:lnTo>
                    <a:pt x="524" y="423"/>
                  </a:lnTo>
                  <a:lnTo>
                    <a:pt x="522" y="422"/>
                  </a:lnTo>
                  <a:lnTo>
                    <a:pt x="522" y="422"/>
                  </a:lnTo>
                  <a:lnTo>
                    <a:pt x="520" y="424"/>
                  </a:lnTo>
                  <a:lnTo>
                    <a:pt x="501" y="426"/>
                  </a:lnTo>
                  <a:lnTo>
                    <a:pt x="487" y="436"/>
                  </a:lnTo>
                  <a:lnTo>
                    <a:pt x="485" y="438"/>
                  </a:lnTo>
                  <a:lnTo>
                    <a:pt x="484" y="439"/>
                  </a:lnTo>
                  <a:lnTo>
                    <a:pt x="481" y="440"/>
                  </a:lnTo>
                  <a:lnTo>
                    <a:pt x="479" y="442"/>
                  </a:lnTo>
                  <a:lnTo>
                    <a:pt x="478" y="442"/>
                  </a:lnTo>
                  <a:lnTo>
                    <a:pt x="475" y="442"/>
                  </a:lnTo>
                  <a:lnTo>
                    <a:pt x="474" y="442"/>
                  </a:lnTo>
                  <a:lnTo>
                    <a:pt x="472" y="442"/>
                  </a:lnTo>
                  <a:lnTo>
                    <a:pt x="472" y="445"/>
                  </a:lnTo>
                  <a:lnTo>
                    <a:pt x="472" y="446"/>
                  </a:lnTo>
                  <a:lnTo>
                    <a:pt x="474" y="445"/>
                  </a:lnTo>
                  <a:lnTo>
                    <a:pt x="475" y="443"/>
                  </a:lnTo>
                  <a:lnTo>
                    <a:pt x="477" y="443"/>
                  </a:lnTo>
                  <a:lnTo>
                    <a:pt x="475" y="449"/>
                  </a:lnTo>
                  <a:lnTo>
                    <a:pt x="474" y="451"/>
                  </a:lnTo>
                  <a:lnTo>
                    <a:pt x="471" y="445"/>
                  </a:lnTo>
                  <a:lnTo>
                    <a:pt x="469" y="445"/>
                  </a:lnTo>
                  <a:lnTo>
                    <a:pt x="466" y="445"/>
                  </a:lnTo>
                  <a:lnTo>
                    <a:pt x="466" y="442"/>
                  </a:lnTo>
                  <a:lnTo>
                    <a:pt x="463" y="442"/>
                  </a:lnTo>
                  <a:lnTo>
                    <a:pt x="461" y="440"/>
                  </a:lnTo>
                  <a:lnTo>
                    <a:pt x="461" y="439"/>
                  </a:lnTo>
                  <a:lnTo>
                    <a:pt x="462" y="436"/>
                  </a:lnTo>
                  <a:lnTo>
                    <a:pt x="459" y="433"/>
                  </a:lnTo>
                  <a:lnTo>
                    <a:pt x="456" y="436"/>
                  </a:lnTo>
                  <a:lnTo>
                    <a:pt x="455" y="438"/>
                  </a:lnTo>
                  <a:lnTo>
                    <a:pt x="452" y="436"/>
                  </a:lnTo>
                  <a:lnTo>
                    <a:pt x="450" y="435"/>
                  </a:lnTo>
                  <a:lnTo>
                    <a:pt x="453" y="435"/>
                  </a:lnTo>
                  <a:lnTo>
                    <a:pt x="455" y="432"/>
                  </a:lnTo>
                  <a:lnTo>
                    <a:pt x="453" y="429"/>
                  </a:lnTo>
                  <a:lnTo>
                    <a:pt x="452" y="427"/>
                  </a:lnTo>
                  <a:lnTo>
                    <a:pt x="448" y="430"/>
                  </a:lnTo>
                  <a:lnTo>
                    <a:pt x="445" y="430"/>
                  </a:lnTo>
                  <a:lnTo>
                    <a:pt x="449" y="433"/>
                  </a:lnTo>
                  <a:lnTo>
                    <a:pt x="449" y="433"/>
                  </a:lnTo>
                  <a:lnTo>
                    <a:pt x="443" y="436"/>
                  </a:lnTo>
                  <a:lnTo>
                    <a:pt x="440" y="438"/>
                  </a:lnTo>
                  <a:lnTo>
                    <a:pt x="439" y="442"/>
                  </a:lnTo>
                  <a:lnTo>
                    <a:pt x="430" y="445"/>
                  </a:lnTo>
                  <a:lnTo>
                    <a:pt x="429" y="443"/>
                  </a:lnTo>
                  <a:lnTo>
                    <a:pt x="408" y="435"/>
                  </a:lnTo>
                  <a:lnTo>
                    <a:pt x="405" y="435"/>
                  </a:lnTo>
                  <a:lnTo>
                    <a:pt x="404" y="436"/>
                  </a:lnTo>
                  <a:lnTo>
                    <a:pt x="401" y="433"/>
                  </a:lnTo>
                  <a:lnTo>
                    <a:pt x="397" y="430"/>
                  </a:lnTo>
                  <a:lnTo>
                    <a:pt x="392" y="430"/>
                  </a:lnTo>
                  <a:lnTo>
                    <a:pt x="388" y="427"/>
                  </a:lnTo>
                  <a:lnTo>
                    <a:pt x="385" y="424"/>
                  </a:lnTo>
                  <a:lnTo>
                    <a:pt x="384" y="422"/>
                  </a:lnTo>
                  <a:lnTo>
                    <a:pt x="382" y="420"/>
                  </a:lnTo>
                  <a:lnTo>
                    <a:pt x="378" y="411"/>
                  </a:lnTo>
                  <a:lnTo>
                    <a:pt x="378" y="410"/>
                  </a:lnTo>
                  <a:lnTo>
                    <a:pt x="379" y="408"/>
                  </a:lnTo>
                  <a:lnTo>
                    <a:pt x="379" y="404"/>
                  </a:lnTo>
                  <a:lnTo>
                    <a:pt x="376" y="397"/>
                  </a:lnTo>
                  <a:lnTo>
                    <a:pt x="371" y="388"/>
                  </a:lnTo>
                  <a:lnTo>
                    <a:pt x="373" y="385"/>
                  </a:lnTo>
                  <a:lnTo>
                    <a:pt x="372" y="384"/>
                  </a:lnTo>
                  <a:lnTo>
                    <a:pt x="369" y="384"/>
                  </a:lnTo>
                  <a:lnTo>
                    <a:pt x="360" y="388"/>
                  </a:lnTo>
                  <a:lnTo>
                    <a:pt x="358" y="388"/>
                  </a:lnTo>
                  <a:lnTo>
                    <a:pt x="356" y="388"/>
                  </a:lnTo>
                  <a:lnTo>
                    <a:pt x="360" y="381"/>
                  </a:lnTo>
                  <a:lnTo>
                    <a:pt x="360" y="376"/>
                  </a:lnTo>
                  <a:lnTo>
                    <a:pt x="360" y="372"/>
                  </a:lnTo>
                  <a:lnTo>
                    <a:pt x="359" y="368"/>
                  </a:lnTo>
                  <a:lnTo>
                    <a:pt x="355" y="363"/>
                  </a:lnTo>
                  <a:lnTo>
                    <a:pt x="352" y="369"/>
                  </a:lnTo>
                  <a:lnTo>
                    <a:pt x="350" y="379"/>
                  </a:lnTo>
                  <a:lnTo>
                    <a:pt x="350" y="379"/>
                  </a:lnTo>
                  <a:lnTo>
                    <a:pt x="347" y="379"/>
                  </a:lnTo>
                  <a:lnTo>
                    <a:pt x="344" y="381"/>
                  </a:lnTo>
                  <a:lnTo>
                    <a:pt x="342" y="381"/>
                  </a:lnTo>
                  <a:lnTo>
                    <a:pt x="339" y="382"/>
                  </a:lnTo>
                  <a:lnTo>
                    <a:pt x="337" y="381"/>
                  </a:lnTo>
                  <a:lnTo>
                    <a:pt x="339" y="375"/>
                  </a:lnTo>
                  <a:lnTo>
                    <a:pt x="343" y="376"/>
                  </a:lnTo>
                  <a:lnTo>
                    <a:pt x="346" y="374"/>
                  </a:lnTo>
                  <a:lnTo>
                    <a:pt x="346" y="368"/>
                  </a:lnTo>
                  <a:lnTo>
                    <a:pt x="346" y="366"/>
                  </a:lnTo>
                  <a:lnTo>
                    <a:pt x="346" y="362"/>
                  </a:lnTo>
                  <a:lnTo>
                    <a:pt x="349" y="355"/>
                  </a:lnTo>
                  <a:lnTo>
                    <a:pt x="350" y="355"/>
                  </a:lnTo>
                  <a:lnTo>
                    <a:pt x="352" y="352"/>
                  </a:lnTo>
                  <a:lnTo>
                    <a:pt x="352" y="345"/>
                  </a:lnTo>
                  <a:lnTo>
                    <a:pt x="353" y="346"/>
                  </a:lnTo>
                  <a:lnTo>
                    <a:pt x="353" y="342"/>
                  </a:lnTo>
                  <a:lnTo>
                    <a:pt x="353" y="339"/>
                  </a:lnTo>
                  <a:lnTo>
                    <a:pt x="352" y="339"/>
                  </a:lnTo>
                  <a:lnTo>
                    <a:pt x="352" y="336"/>
                  </a:lnTo>
                  <a:lnTo>
                    <a:pt x="350" y="334"/>
                  </a:lnTo>
                  <a:lnTo>
                    <a:pt x="350" y="336"/>
                  </a:lnTo>
                  <a:lnTo>
                    <a:pt x="350" y="342"/>
                  </a:lnTo>
                  <a:lnTo>
                    <a:pt x="349" y="342"/>
                  </a:lnTo>
                  <a:lnTo>
                    <a:pt x="343" y="350"/>
                  </a:lnTo>
                  <a:lnTo>
                    <a:pt x="343" y="353"/>
                  </a:lnTo>
                  <a:lnTo>
                    <a:pt x="342" y="355"/>
                  </a:lnTo>
                  <a:lnTo>
                    <a:pt x="339" y="355"/>
                  </a:lnTo>
                  <a:lnTo>
                    <a:pt x="339" y="355"/>
                  </a:lnTo>
                  <a:lnTo>
                    <a:pt x="337" y="356"/>
                  </a:lnTo>
                  <a:lnTo>
                    <a:pt x="334" y="358"/>
                  </a:lnTo>
                  <a:lnTo>
                    <a:pt x="333" y="360"/>
                  </a:lnTo>
                  <a:lnTo>
                    <a:pt x="331" y="360"/>
                  </a:lnTo>
                  <a:lnTo>
                    <a:pt x="330" y="365"/>
                  </a:lnTo>
                  <a:lnTo>
                    <a:pt x="324" y="369"/>
                  </a:lnTo>
                  <a:lnTo>
                    <a:pt x="323" y="374"/>
                  </a:lnTo>
                  <a:lnTo>
                    <a:pt x="324" y="372"/>
                  </a:lnTo>
                  <a:lnTo>
                    <a:pt x="324" y="378"/>
                  </a:lnTo>
                  <a:lnTo>
                    <a:pt x="323" y="376"/>
                  </a:lnTo>
                  <a:lnTo>
                    <a:pt x="321" y="376"/>
                  </a:lnTo>
                  <a:lnTo>
                    <a:pt x="320" y="374"/>
                  </a:lnTo>
                  <a:lnTo>
                    <a:pt x="317" y="372"/>
                  </a:lnTo>
                  <a:lnTo>
                    <a:pt x="315" y="371"/>
                  </a:lnTo>
                  <a:lnTo>
                    <a:pt x="312" y="369"/>
                  </a:lnTo>
                  <a:lnTo>
                    <a:pt x="312" y="368"/>
                  </a:lnTo>
                  <a:lnTo>
                    <a:pt x="317" y="371"/>
                  </a:lnTo>
                  <a:lnTo>
                    <a:pt x="317" y="368"/>
                  </a:lnTo>
                  <a:lnTo>
                    <a:pt x="317" y="365"/>
                  </a:lnTo>
                  <a:lnTo>
                    <a:pt x="315" y="363"/>
                  </a:lnTo>
                  <a:lnTo>
                    <a:pt x="314" y="359"/>
                  </a:lnTo>
                  <a:lnTo>
                    <a:pt x="312" y="356"/>
                  </a:lnTo>
                  <a:lnTo>
                    <a:pt x="310" y="355"/>
                  </a:lnTo>
                  <a:lnTo>
                    <a:pt x="310" y="349"/>
                  </a:lnTo>
                  <a:lnTo>
                    <a:pt x="307" y="346"/>
                  </a:lnTo>
                  <a:lnTo>
                    <a:pt x="305" y="346"/>
                  </a:lnTo>
                  <a:lnTo>
                    <a:pt x="299" y="343"/>
                  </a:lnTo>
                  <a:lnTo>
                    <a:pt x="298" y="342"/>
                  </a:lnTo>
                  <a:lnTo>
                    <a:pt x="298" y="339"/>
                  </a:lnTo>
                  <a:lnTo>
                    <a:pt x="299" y="339"/>
                  </a:lnTo>
                  <a:lnTo>
                    <a:pt x="299" y="334"/>
                  </a:lnTo>
                  <a:lnTo>
                    <a:pt x="295" y="334"/>
                  </a:lnTo>
                  <a:lnTo>
                    <a:pt x="289" y="329"/>
                  </a:lnTo>
                  <a:lnTo>
                    <a:pt x="288" y="327"/>
                  </a:lnTo>
                  <a:lnTo>
                    <a:pt x="288" y="330"/>
                  </a:lnTo>
                  <a:lnTo>
                    <a:pt x="285" y="329"/>
                  </a:lnTo>
                  <a:lnTo>
                    <a:pt x="278" y="324"/>
                  </a:lnTo>
                  <a:lnTo>
                    <a:pt x="276" y="326"/>
                  </a:lnTo>
                  <a:lnTo>
                    <a:pt x="273" y="327"/>
                  </a:lnTo>
                  <a:lnTo>
                    <a:pt x="273" y="326"/>
                  </a:lnTo>
                  <a:lnTo>
                    <a:pt x="272" y="326"/>
                  </a:lnTo>
                  <a:lnTo>
                    <a:pt x="265" y="320"/>
                  </a:lnTo>
                  <a:lnTo>
                    <a:pt x="257" y="318"/>
                  </a:lnTo>
                  <a:lnTo>
                    <a:pt x="228" y="318"/>
                  </a:lnTo>
                  <a:lnTo>
                    <a:pt x="212" y="327"/>
                  </a:lnTo>
                  <a:lnTo>
                    <a:pt x="207" y="327"/>
                  </a:lnTo>
                  <a:lnTo>
                    <a:pt x="202" y="330"/>
                  </a:lnTo>
                  <a:lnTo>
                    <a:pt x="188" y="330"/>
                  </a:lnTo>
                  <a:lnTo>
                    <a:pt x="185" y="329"/>
                  </a:lnTo>
                  <a:lnTo>
                    <a:pt x="180" y="330"/>
                  </a:lnTo>
                  <a:lnTo>
                    <a:pt x="170" y="336"/>
                  </a:lnTo>
                  <a:lnTo>
                    <a:pt x="166" y="337"/>
                  </a:lnTo>
                  <a:lnTo>
                    <a:pt x="163" y="340"/>
                  </a:lnTo>
                  <a:lnTo>
                    <a:pt x="159" y="340"/>
                  </a:lnTo>
                  <a:lnTo>
                    <a:pt x="156" y="343"/>
                  </a:lnTo>
                  <a:lnTo>
                    <a:pt x="150" y="356"/>
                  </a:lnTo>
                  <a:lnTo>
                    <a:pt x="144" y="358"/>
                  </a:lnTo>
                  <a:lnTo>
                    <a:pt x="143" y="358"/>
                  </a:lnTo>
                  <a:lnTo>
                    <a:pt x="140" y="356"/>
                  </a:lnTo>
                  <a:lnTo>
                    <a:pt x="128" y="358"/>
                  </a:lnTo>
                  <a:lnTo>
                    <a:pt x="127" y="356"/>
                  </a:lnTo>
                  <a:lnTo>
                    <a:pt x="127" y="356"/>
                  </a:lnTo>
                  <a:lnTo>
                    <a:pt x="121" y="356"/>
                  </a:lnTo>
                  <a:lnTo>
                    <a:pt x="112" y="356"/>
                  </a:lnTo>
                  <a:lnTo>
                    <a:pt x="109" y="358"/>
                  </a:lnTo>
                  <a:lnTo>
                    <a:pt x="98" y="358"/>
                  </a:lnTo>
                  <a:lnTo>
                    <a:pt x="95" y="359"/>
                  </a:lnTo>
                  <a:lnTo>
                    <a:pt x="92" y="360"/>
                  </a:lnTo>
                  <a:lnTo>
                    <a:pt x="90" y="363"/>
                  </a:lnTo>
                  <a:lnTo>
                    <a:pt x="92" y="365"/>
                  </a:lnTo>
                  <a:lnTo>
                    <a:pt x="90" y="365"/>
                  </a:lnTo>
                  <a:lnTo>
                    <a:pt x="89" y="366"/>
                  </a:lnTo>
                  <a:lnTo>
                    <a:pt x="82" y="368"/>
                  </a:lnTo>
                  <a:lnTo>
                    <a:pt x="76" y="372"/>
                  </a:lnTo>
                  <a:lnTo>
                    <a:pt x="74" y="374"/>
                  </a:lnTo>
                  <a:lnTo>
                    <a:pt x="73" y="376"/>
                  </a:lnTo>
                  <a:lnTo>
                    <a:pt x="70" y="376"/>
                  </a:lnTo>
                  <a:lnTo>
                    <a:pt x="69" y="375"/>
                  </a:lnTo>
                  <a:lnTo>
                    <a:pt x="67" y="378"/>
                  </a:lnTo>
                  <a:lnTo>
                    <a:pt x="66" y="378"/>
                  </a:lnTo>
                  <a:lnTo>
                    <a:pt x="63" y="378"/>
                  </a:lnTo>
                  <a:lnTo>
                    <a:pt x="61" y="376"/>
                  </a:lnTo>
                  <a:lnTo>
                    <a:pt x="50" y="376"/>
                  </a:lnTo>
                  <a:lnTo>
                    <a:pt x="47" y="374"/>
                  </a:lnTo>
                  <a:lnTo>
                    <a:pt x="45" y="374"/>
                  </a:lnTo>
                  <a:lnTo>
                    <a:pt x="45" y="374"/>
                  </a:lnTo>
                  <a:lnTo>
                    <a:pt x="42" y="374"/>
                  </a:lnTo>
                  <a:lnTo>
                    <a:pt x="34" y="365"/>
                  </a:lnTo>
                  <a:lnTo>
                    <a:pt x="28" y="363"/>
                  </a:lnTo>
                  <a:lnTo>
                    <a:pt x="28" y="352"/>
                  </a:lnTo>
                  <a:lnTo>
                    <a:pt x="28" y="352"/>
                  </a:lnTo>
                  <a:lnTo>
                    <a:pt x="31" y="353"/>
                  </a:lnTo>
                  <a:lnTo>
                    <a:pt x="32" y="352"/>
                  </a:lnTo>
                  <a:lnTo>
                    <a:pt x="37" y="345"/>
                  </a:lnTo>
                  <a:lnTo>
                    <a:pt x="37" y="342"/>
                  </a:lnTo>
                  <a:lnTo>
                    <a:pt x="35" y="339"/>
                  </a:lnTo>
                  <a:lnTo>
                    <a:pt x="35" y="334"/>
                  </a:lnTo>
                  <a:lnTo>
                    <a:pt x="37" y="336"/>
                  </a:lnTo>
                  <a:lnTo>
                    <a:pt x="37" y="334"/>
                  </a:lnTo>
                  <a:lnTo>
                    <a:pt x="37" y="320"/>
                  </a:lnTo>
                  <a:lnTo>
                    <a:pt x="28" y="302"/>
                  </a:lnTo>
                  <a:lnTo>
                    <a:pt x="25" y="283"/>
                  </a:lnTo>
                  <a:lnTo>
                    <a:pt x="21" y="273"/>
                  </a:lnTo>
                  <a:lnTo>
                    <a:pt x="19" y="269"/>
                  </a:lnTo>
                  <a:lnTo>
                    <a:pt x="13" y="260"/>
                  </a:lnTo>
                  <a:lnTo>
                    <a:pt x="13" y="254"/>
                  </a:lnTo>
                  <a:lnTo>
                    <a:pt x="10" y="244"/>
                  </a:lnTo>
                  <a:lnTo>
                    <a:pt x="8" y="243"/>
                  </a:lnTo>
                  <a:lnTo>
                    <a:pt x="3" y="238"/>
                  </a:lnTo>
                  <a:lnTo>
                    <a:pt x="3" y="236"/>
                  </a:lnTo>
                  <a:lnTo>
                    <a:pt x="2" y="234"/>
                  </a:lnTo>
                  <a:lnTo>
                    <a:pt x="0" y="233"/>
                  </a:lnTo>
                  <a:lnTo>
                    <a:pt x="0" y="231"/>
                  </a:lnTo>
                  <a:lnTo>
                    <a:pt x="0" y="231"/>
                  </a:lnTo>
                  <a:lnTo>
                    <a:pt x="2" y="233"/>
                  </a:lnTo>
                  <a:lnTo>
                    <a:pt x="3" y="233"/>
                  </a:lnTo>
                  <a:lnTo>
                    <a:pt x="3" y="234"/>
                  </a:lnTo>
                  <a:lnTo>
                    <a:pt x="5" y="237"/>
                  </a:lnTo>
                  <a:lnTo>
                    <a:pt x="5" y="236"/>
                  </a:lnTo>
                  <a:lnTo>
                    <a:pt x="6" y="238"/>
                  </a:lnTo>
                  <a:lnTo>
                    <a:pt x="8" y="238"/>
                  </a:lnTo>
                  <a:lnTo>
                    <a:pt x="9" y="237"/>
                  </a:lnTo>
                  <a:lnTo>
                    <a:pt x="9" y="234"/>
                  </a:lnTo>
                  <a:lnTo>
                    <a:pt x="6" y="233"/>
                  </a:lnTo>
                  <a:lnTo>
                    <a:pt x="3" y="224"/>
                  </a:lnTo>
                  <a:lnTo>
                    <a:pt x="3" y="222"/>
                  </a:lnTo>
                  <a:lnTo>
                    <a:pt x="5" y="222"/>
                  </a:lnTo>
                  <a:lnTo>
                    <a:pt x="8" y="231"/>
                  </a:lnTo>
                  <a:lnTo>
                    <a:pt x="9" y="230"/>
                  </a:lnTo>
                  <a:lnTo>
                    <a:pt x="10" y="234"/>
                  </a:lnTo>
                  <a:lnTo>
                    <a:pt x="12" y="234"/>
                  </a:lnTo>
                  <a:lnTo>
                    <a:pt x="13" y="233"/>
                  </a:lnTo>
                  <a:lnTo>
                    <a:pt x="13" y="230"/>
                  </a:lnTo>
                  <a:lnTo>
                    <a:pt x="13" y="225"/>
                  </a:lnTo>
                  <a:lnTo>
                    <a:pt x="12" y="222"/>
                  </a:lnTo>
                  <a:lnTo>
                    <a:pt x="10" y="220"/>
                  </a:lnTo>
                  <a:lnTo>
                    <a:pt x="9" y="221"/>
                  </a:lnTo>
                  <a:lnTo>
                    <a:pt x="10" y="218"/>
                  </a:lnTo>
                  <a:lnTo>
                    <a:pt x="2" y="204"/>
                  </a:lnTo>
                  <a:lnTo>
                    <a:pt x="2" y="196"/>
                  </a:lnTo>
                  <a:lnTo>
                    <a:pt x="3" y="193"/>
                  </a:lnTo>
                  <a:lnTo>
                    <a:pt x="8" y="190"/>
                  </a:lnTo>
                  <a:lnTo>
                    <a:pt x="8" y="180"/>
                  </a:lnTo>
                  <a:lnTo>
                    <a:pt x="6" y="177"/>
                  </a:lnTo>
                  <a:lnTo>
                    <a:pt x="10" y="164"/>
                  </a:lnTo>
                  <a:lnTo>
                    <a:pt x="10" y="16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3" name="Freeform 186"/>
            <p:cNvSpPr>
              <a:spLocks/>
            </p:cNvSpPr>
            <p:nvPr/>
          </p:nvSpPr>
          <p:spPr bwMode="auto">
            <a:xfrm>
              <a:off x="5744149" y="2656005"/>
              <a:ext cx="1756" cy="2029"/>
            </a:xfrm>
            <a:custGeom>
              <a:avLst/>
              <a:gdLst/>
              <a:ahLst/>
              <a:cxnLst>
                <a:cxn ang="0">
                  <a:pos x="2" y="0"/>
                </a:cxn>
                <a:cxn ang="0">
                  <a:pos x="0" y="2"/>
                </a:cxn>
                <a:cxn ang="0">
                  <a:pos x="2" y="2"/>
                </a:cxn>
                <a:cxn ang="0">
                  <a:pos x="2" y="2"/>
                </a:cxn>
                <a:cxn ang="0">
                  <a:pos x="2" y="0"/>
                </a:cxn>
              </a:cxnLst>
              <a:rect l="0" t="0" r="r" b="b"/>
              <a:pathLst>
                <a:path w="2" h="2">
                  <a:moveTo>
                    <a:pt x="2" y="0"/>
                  </a:moveTo>
                  <a:lnTo>
                    <a:pt x="0" y="2"/>
                  </a:lnTo>
                  <a:lnTo>
                    <a:pt x="2" y="2"/>
                  </a:lnTo>
                  <a:lnTo>
                    <a:pt x="2" y="2"/>
                  </a:lnTo>
                  <a:lnTo>
                    <a:pt x="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4" name="Freeform 187"/>
            <p:cNvSpPr>
              <a:spLocks/>
            </p:cNvSpPr>
            <p:nvPr/>
          </p:nvSpPr>
          <p:spPr bwMode="auto">
            <a:xfrm>
              <a:off x="5744149" y="2656005"/>
              <a:ext cx="1756" cy="2029"/>
            </a:xfrm>
            <a:custGeom>
              <a:avLst/>
              <a:gdLst/>
              <a:ahLst/>
              <a:cxnLst>
                <a:cxn ang="0">
                  <a:pos x="2" y="0"/>
                </a:cxn>
                <a:cxn ang="0">
                  <a:pos x="0" y="2"/>
                </a:cxn>
                <a:cxn ang="0">
                  <a:pos x="2" y="2"/>
                </a:cxn>
                <a:cxn ang="0">
                  <a:pos x="2" y="2"/>
                </a:cxn>
                <a:cxn ang="0">
                  <a:pos x="2" y="0"/>
                </a:cxn>
              </a:cxnLst>
              <a:rect l="0" t="0" r="r" b="b"/>
              <a:pathLst>
                <a:path w="2" h="2">
                  <a:moveTo>
                    <a:pt x="2" y="0"/>
                  </a:moveTo>
                  <a:lnTo>
                    <a:pt x="0" y="2"/>
                  </a:lnTo>
                  <a:lnTo>
                    <a:pt x="2" y="2"/>
                  </a:lnTo>
                  <a:lnTo>
                    <a:pt x="2" y="2"/>
                  </a:lnTo>
                  <a:lnTo>
                    <a:pt x="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5" name="Freeform 188"/>
            <p:cNvSpPr>
              <a:spLocks/>
            </p:cNvSpPr>
            <p:nvPr/>
          </p:nvSpPr>
          <p:spPr bwMode="auto">
            <a:xfrm>
              <a:off x="5748538" y="2658033"/>
              <a:ext cx="5267" cy="3042"/>
            </a:xfrm>
            <a:custGeom>
              <a:avLst/>
              <a:gdLst/>
              <a:ahLst/>
              <a:cxnLst>
                <a:cxn ang="0">
                  <a:pos x="4" y="3"/>
                </a:cxn>
                <a:cxn ang="0">
                  <a:pos x="5" y="3"/>
                </a:cxn>
                <a:cxn ang="0">
                  <a:pos x="4" y="1"/>
                </a:cxn>
                <a:cxn ang="0">
                  <a:pos x="1" y="0"/>
                </a:cxn>
                <a:cxn ang="0">
                  <a:pos x="0" y="0"/>
                </a:cxn>
                <a:cxn ang="0">
                  <a:pos x="0" y="1"/>
                </a:cxn>
                <a:cxn ang="0">
                  <a:pos x="1" y="3"/>
                </a:cxn>
                <a:cxn ang="0">
                  <a:pos x="2" y="3"/>
                </a:cxn>
                <a:cxn ang="0">
                  <a:pos x="4" y="3"/>
                </a:cxn>
              </a:cxnLst>
              <a:rect l="0" t="0" r="r" b="b"/>
              <a:pathLst>
                <a:path w="5" h="3">
                  <a:moveTo>
                    <a:pt x="4" y="3"/>
                  </a:moveTo>
                  <a:lnTo>
                    <a:pt x="5" y="3"/>
                  </a:lnTo>
                  <a:lnTo>
                    <a:pt x="4" y="1"/>
                  </a:lnTo>
                  <a:lnTo>
                    <a:pt x="1" y="0"/>
                  </a:lnTo>
                  <a:lnTo>
                    <a:pt x="0" y="0"/>
                  </a:lnTo>
                  <a:lnTo>
                    <a:pt x="0" y="1"/>
                  </a:lnTo>
                  <a:lnTo>
                    <a:pt x="1" y="3"/>
                  </a:lnTo>
                  <a:lnTo>
                    <a:pt x="2" y="3"/>
                  </a:lnTo>
                  <a:lnTo>
                    <a:pt x="4"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6" name="Freeform 189"/>
            <p:cNvSpPr>
              <a:spLocks/>
            </p:cNvSpPr>
            <p:nvPr/>
          </p:nvSpPr>
          <p:spPr bwMode="auto">
            <a:xfrm>
              <a:off x="5748538" y="2658033"/>
              <a:ext cx="5267" cy="3042"/>
            </a:xfrm>
            <a:custGeom>
              <a:avLst/>
              <a:gdLst/>
              <a:ahLst/>
              <a:cxnLst>
                <a:cxn ang="0">
                  <a:pos x="4" y="3"/>
                </a:cxn>
                <a:cxn ang="0">
                  <a:pos x="5" y="3"/>
                </a:cxn>
                <a:cxn ang="0">
                  <a:pos x="4" y="1"/>
                </a:cxn>
                <a:cxn ang="0">
                  <a:pos x="1" y="0"/>
                </a:cxn>
                <a:cxn ang="0">
                  <a:pos x="0" y="0"/>
                </a:cxn>
                <a:cxn ang="0">
                  <a:pos x="0" y="1"/>
                </a:cxn>
                <a:cxn ang="0">
                  <a:pos x="1" y="3"/>
                </a:cxn>
                <a:cxn ang="0">
                  <a:pos x="2" y="3"/>
                </a:cxn>
                <a:cxn ang="0">
                  <a:pos x="4" y="3"/>
                </a:cxn>
              </a:cxnLst>
              <a:rect l="0" t="0" r="r" b="b"/>
              <a:pathLst>
                <a:path w="5" h="3">
                  <a:moveTo>
                    <a:pt x="4" y="3"/>
                  </a:moveTo>
                  <a:lnTo>
                    <a:pt x="5" y="3"/>
                  </a:lnTo>
                  <a:lnTo>
                    <a:pt x="4" y="1"/>
                  </a:lnTo>
                  <a:lnTo>
                    <a:pt x="1" y="0"/>
                  </a:lnTo>
                  <a:lnTo>
                    <a:pt x="0" y="0"/>
                  </a:lnTo>
                  <a:lnTo>
                    <a:pt x="0" y="1"/>
                  </a:lnTo>
                  <a:lnTo>
                    <a:pt x="1" y="3"/>
                  </a:lnTo>
                  <a:lnTo>
                    <a:pt x="2" y="3"/>
                  </a:lnTo>
                  <a:lnTo>
                    <a:pt x="4"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7" name="Freeform 190"/>
            <p:cNvSpPr>
              <a:spLocks/>
            </p:cNvSpPr>
            <p:nvPr/>
          </p:nvSpPr>
          <p:spPr bwMode="auto">
            <a:xfrm>
              <a:off x="5752926" y="2654991"/>
              <a:ext cx="5267" cy="3043"/>
            </a:xfrm>
            <a:custGeom>
              <a:avLst/>
              <a:gdLst/>
              <a:ahLst/>
              <a:cxnLst>
                <a:cxn ang="0">
                  <a:pos x="6" y="3"/>
                </a:cxn>
                <a:cxn ang="0">
                  <a:pos x="6" y="1"/>
                </a:cxn>
                <a:cxn ang="0">
                  <a:pos x="0" y="0"/>
                </a:cxn>
                <a:cxn ang="0">
                  <a:pos x="0" y="0"/>
                </a:cxn>
                <a:cxn ang="0">
                  <a:pos x="3" y="3"/>
                </a:cxn>
                <a:cxn ang="0">
                  <a:pos x="4" y="3"/>
                </a:cxn>
                <a:cxn ang="0">
                  <a:pos x="6" y="3"/>
                </a:cxn>
              </a:cxnLst>
              <a:rect l="0" t="0" r="r" b="b"/>
              <a:pathLst>
                <a:path w="6" h="3">
                  <a:moveTo>
                    <a:pt x="6" y="3"/>
                  </a:moveTo>
                  <a:lnTo>
                    <a:pt x="6" y="1"/>
                  </a:lnTo>
                  <a:lnTo>
                    <a:pt x="0" y="0"/>
                  </a:lnTo>
                  <a:lnTo>
                    <a:pt x="0" y="0"/>
                  </a:lnTo>
                  <a:lnTo>
                    <a:pt x="3" y="3"/>
                  </a:lnTo>
                  <a:lnTo>
                    <a:pt x="4" y="3"/>
                  </a:lnTo>
                  <a:lnTo>
                    <a:pt x="6"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8" name="Freeform 191"/>
            <p:cNvSpPr>
              <a:spLocks/>
            </p:cNvSpPr>
            <p:nvPr/>
          </p:nvSpPr>
          <p:spPr bwMode="auto">
            <a:xfrm>
              <a:off x="5752926" y="2654991"/>
              <a:ext cx="5267" cy="3043"/>
            </a:xfrm>
            <a:custGeom>
              <a:avLst/>
              <a:gdLst/>
              <a:ahLst/>
              <a:cxnLst>
                <a:cxn ang="0">
                  <a:pos x="6" y="3"/>
                </a:cxn>
                <a:cxn ang="0">
                  <a:pos x="6" y="1"/>
                </a:cxn>
                <a:cxn ang="0">
                  <a:pos x="0" y="0"/>
                </a:cxn>
                <a:cxn ang="0">
                  <a:pos x="0" y="0"/>
                </a:cxn>
                <a:cxn ang="0">
                  <a:pos x="3" y="3"/>
                </a:cxn>
                <a:cxn ang="0">
                  <a:pos x="4" y="3"/>
                </a:cxn>
                <a:cxn ang="0">
                  <a:pos x="6" y="3"/>
                </a:cxn>
              </a:cxnLst>
              <a:rect l="0" t="0" r="r" b="b"/>
              <a:pathLst>
                <a:path w="6" h="3">
                  <a:moveTo>
                    <a:pt x="6" y="3"/>
                  </a:moveTo>
                  <a:lnTo>
                    <a:pt x="6" y="1"/>
                  </a:lnTo>
                  <a:lnTo>
                    <a:pt x="0" y="0"/>
                  </a:lnTo>
                  <a:lnTo>
                    <a:pt x="0" y="0"/>
                  </a:lnTo>
                  <a:lnTo>
                    <a:pt x="3" y="3"/>
                  </a:lnTo>
                  <a:lnTo>
                    <a:pt x="4" y="3"/>
                  </a:lnTo>
                  <a:lnTo>
                    <a:pt x="6"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99" name="Freeform 192"/>
            <p:cNvSpPr>
              <a:spLocks/>
            </p:cNvSpPr>
            <p:nvPr/>
          </p:nvSpPr>
          <p:spPr bwMode="auto">
            <a:xfrm>
              <a:off x="5762582" y="2652962"/>
              <a:ext cx="4389" cy="3043"/>
            </a:xfrm>
            <a:custGeom>
              <a:avLst/>
              <a:gdLst/>
              <a:ahLst/>
              <a:cxnLst>
                <a:cxn ang="0">
                  <a:pos x="3" y="0"/>
                </a:cxn>
                <a:cxn ang="0">
                  <a:pos x="3" y="0"/>
                </a:cxn>
                <a:cxn ang="0">
                  <a:pos x="0" y="0"/>
                </a:cxn>
                <a:cxn ang="0">
                  <a:pos x="0" y="2"/>
                </a:cxn>
                <a:cxn ang="0">
                  <a:pos x="2" y="3"/>
                </a:cxn>
                <a:cxn ang="0">
                  <a:pos x="3" y="3"/>
                </a:cxn>
                <a:cxn ang="0">
                  <a:pos x="5" y="2"/>
                </a:cxn>
                <a:cxn ang="0">
                  <a:pos x="3" y="0"/>
                </a:cxn>
              </a:cxnLst>
              <a:rect l="0" t="0" r="r" b="b"/>
              <a:pathLst>
                <a:path w="5" h="3">
                  <a:moveTo>
                    <a:pt x="3" y="0"/>
                  </a:moveTo>
                  <a:lnTo>
                    <a:pt x="3" y="0"/>
                  </a:lnTo>
                  <a:lnTo>
                    <a:pt x="0" y="0"/>
                  </a:lnTo>
                  <a:lnTo>
                    <a:pt x="0" y="2"/>
                  </a:lnTo>
                  <a:lnTo>
                    <a:pt x="2" y="3"/>
                  </a:lnTo>
                  <a:lnTo>
                    <a:pt x="3" y="3"/>
                  </a:lnTo>
                  <a:lnTo>
                    <a:pt x="5" y="2"/>
                  </a:lnTo>
                  <a:lnTo>
                    <a:pt x="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0" name="Freeform 193"/>
            <p:cNvSpPr>
              <a:spLocks/>
            </p:cNvSpPr>
            <p:nvPr/>
          </p:nvSpPr>
          <p:spPr bwMode="auto">
            <a:xfrm>
              <a:off x="5762582" y="2652962"/>
              <a:ext cx="4389" cy="3043"/>
            </a:xfrm>
            <a:custGeom>
              <a:avLst/>
              <a:gdLst/>
              <a:ahLst/>
              <a:cxnLst>
                <a:cxn ang="0">
                  <a:pos x="3" y="0"/>
                </a:cxn>
                <a:cxn ang="0">
                  <a:pos x="3" y="0"/>
                </a:cxn>
                <a:cxn ang="0">
                  <a:pos x="0" y="0"/>
                </a:cxn>
                <a:cxn ang="0">
                  <a:pos x="0" y="2"/>
                </a:cxn>
                <a:cxn ang="0">
                  <a:pos x="2" y="3"/>
                </a:cxn>
                <a:cxn ang="0">
                  <a:pos x="3" y="3"/>
                </a:cxn>
                <a:cxn ang="0">
                  <a:pos x="5" y="2"/>
                </a:cxn>
                <a:cxn ang="0">
                  <a:pos x="3" y="0"/>
                </a:cxn>
              </a:cxnLst>
              <a:rect l="0" t="0" r="r" b="b"/>
              <a:pathLst>
                <a:path w="5" h="3">
                  <a:moveTo>
                    <a:pt x="3" y="0"/>
                  </a:moveTo>
                  <a:lnTo>
                    <a:pt x="3" y="0"/>
                  </a:lnTo>
                  <a:lnTo>
                    <a:pt x="0" y="0"/>
                  </a:lnTo>
                  <a:lnTo>
                    <a:pt x="0" y="2"/>
                  </a:lnTo>
                  <a:lnTo>
                    <a:pt x="2" y="3"/>
                  </a:lnTo>
                  <a:lnTo>
                    <a:pt x="3" y="3"/>
                  </a:lnTo>
                  <a:lnTo>
                    <a:pt x="5" y="2"/>
                  </a:lnTo>
                  <a:lnTo>
                    <a:pt x="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1" name="Freeform 194"/>
            <p:cNvSpPr>
              <a:spLocks/>
            </p:cNvSpPr>
            <p:nvPr/>
          </p:nvSpPr>
          <p:spPr bwMode="auto">
            <a:xfrm>
              <a:off x="5782772" y="2672231"/>
              <a:ext cx="9656" cy="3042"/>
            </a:xfrm>
            <a:custGeom>
              <a:avLst/>
              <a:gdLst/>
              <a:ahLst/>
              <a:cxnLst>
                <a:cxn ang="0">
                  <a:pos x="10" y="0"/>
                </a:cxn>
                <a:cxn ang="0">
                  <a:pos x="9" y="0"/>
                </a:cxn>
                <a:cxn ang="0">
                  <a:pos x="0" y="0"/>
                </a:cxn>
                <a:cxn ang="0">
                  <a:pos x="0" y="0"/>
                </a:cxn>
                <a:cxn ang="0">
                  <a:pos x="6" y="3"/>
                </a:cxn>
                <a:cxn ang="0">
                  <a:pos x="9" y="1"/>
                </a:cxn>
                <a:cxn ang="0">
                  <a:pos x="10" y="0"/>
                </a:cxn>
              </a:cxnLst>
              <a:rect l="0" t="0" r="r" b="b"/>
              <a:pathLst>
                <a:path w="10" h="3">
                  <a:moveTo>
                    <a:pt x="10" y="0"/>
                  </a:moveTo>
                  <a:lnTo>
                    <a:pt x="9" y="0"/>
                  </a:lnTo>
                  <a:lnTo>
                    <a:pt x="0" y="0"/>
                  </a:lnTo>
                  <a:lnTo>
                    <a:pt x="0" y="0"/>
                  </a:lnTo>
                  <a:lnTo>
                    <a:pt x="6" y="3"/>
                  </a:lnTo>
                  <a:lnTo>
                    <a:pt x="9" y="1"/>
                  </a:lnTo>
                  <a:lnTo>
                    <a:pt x="1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2" name="Freeform 195"/>
            <p:cNvSpPr>
              <a:spLocks/>
            </p:cNvSpPr>
            <p:nvPr/>
          </p:nvSpPr>
          <p:spPr bwMode="auto">
            <a:xfrm>
              <a:off x="5782772" y="2672231"/>
              <a:ext cx="9656" cy="3042"/>
            </a:xfrm>
            <a:custGeom>
              <a:avLst/>
              <a:gdLst/>
              <a:ahLst/>
              <a:cxnLst>
                <a:cxn ang="0">
                  <a:pos x="10" y="0"/>
                </a:cxn>
                <a:cxn ang="0">
                  <a:pos x="9" y="0"/>
                </a:cxn>
                <a:cxn ang="0">
                  <a:pos x="0" y="0"/>
                </a:cxn>
                <a:cxn ang="0">
                  <a:pos x="0" y="0"/>
                </a:cxn>
                <a:cxn ang="0">
                  <a:pos x="6" y="3"/>
                </a:cxn>
                <a:cxn ang="0">
                  <a:pos x="9" y="1"/>
                </a:cxn>
                <a:cxn ang="0">
                  <a:pos x="10" y="0"/>
                </a:cxn>
              </a:cxnLst>
              <a:rect l="0" t="0" r="r" b="b"/>
              <a:pathLst>
                <a:path w="10" h="3">
                  <a:moveTo>
                    <a:pt x="10" y="0"/>
                  </a:moveTo>
                  <a:lnTo>
                    <a:pt x="9" y="0"/>
                  </a:lnTo>
                  <a:lnTo>
                    <a:pt x="0" y="0"/>
                  </a:lnTo>
                  <a:lnTo>
                    <a:pt x="0" y="0"/>
                  </a:lnTo>
                  <a:lnTo>
                    <a:pt x="6" y="3"/>
                  </a:lnTo>
                  <a:lnTo>
                    <a:pt x="9" y="1"/>
                  </a:lnTo>
                  <a:lnTo>
                    <a:pt x="1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3" name="Freeform 196"/>
            <p:cNvSpPr>
              <a:spLocks/>
            </p:cNvSpPr>
            <p:nvPr/>
          </p:nvSpPr>
          <p:spPr bwMode="auto">
            <a:xfrm>
              <a:off x="5792428" y="2686430"/>
              <a:ext cx="1756" cy="2029"/>
            </a:xfrm>
            <a:custGeom>
              <a:avLst/>
              <a:gdLst/>
              <a:ahLst/>
              <a:cxnLst>
                <a:cxn ang="0">
                  <a:pos x="2" y="0"/>
                </a:cxn>
                <a:cxn ang="0">
                  <a:pos x="2" y="0"/>
                </a:cxn>
                <a:cxn ang="0">
                  <a:pos x="2" y="0"/>
                </a:cxn>
                <a:cxn ang="0">
                  <a:pos x="0" y="0"/>
                </a:cxn>
                <a:cxn ang="0">
                  <a:pos x="0" y="2"/>
                </a:cxn>
                <a:cxn ang="0">
                  <a:pos x="2" y="0"/>
                </a:cxn>
              </a:cxnLst>
              <a:rect l="0" t="0" r="r" b="b"/>
              <a:pathLst>
                <a:path w="2" h="2">
                  <a:moveTo>
                    <a:pt x="2" y="0"/>
                  </a:moveTo>
                  <a:lnTo>
                    <a:pt x="2" y="0"/>
                  </a:lnTo>
                  <a:lnTo>
                    <a:pt x="2" y="0"/>
                  </a:lnTo>
                  <a:lnTo>
                    <a:pt x="0" y="0"/>
                  </a:lnTo>
                  <a:lnTo>
                    <a:pt x="0" y="2"/>
                  </a:lnTo>
                  <a:lnTo>
                    <a:pt x="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4" name="Freeform 197"/>
            <p:cNvSpPr>
              <a:spLocks/>
            </p:cNvSpPr>
            <p:nvPr/>
          </p:nvSpPr>
          <p:spPr bwMode="auto">
            <a:xfrm>
              <a:off x="5792428" y="2686430"/>
              <a:ext cx="1756" cy="2029"/>
            </a:xfrm>
            <a:custGeom>
              <a:avLst/>
              <a:gdLst/>
              <a:ahLst/>
              <a:cxnLst>
                <a:cxn ang="0">
                  <a:pos x="2" y="0"/>
                </a:cxn>
                <a:cxn ang="0">
                  <a:pos x="2" y="0"/>
                </a:cxn>
                <a:cxn ang="0">
                  <a:pos x="2" y="0"/>
                </a:cxn>
                <a:cxn ang="0">
                  <a:pos x="0" y="0"/>
                </a:cxn>
                <a:cxn ang="0">
                  <a:pos x="0" y="2"/>
                </a:cxn>
                <a:cxn ang="0">
                  <a:pos x="2" y="0"/>
                </a:cxn>
              </a:cxnLst>
              <a:rect l="0" t="0" r="r" b="b"/>
              <a:pathLst>
                <a:path w="2" h="2">
                  <a:moveTo>
                    <a:pt x="2" y="0"/>
                  </a:moveTo>
                  <a:lnTo>
                    <a:pt x="2" y="0"/>
                  </a:lnTo>
                  <a:lnTo>
                    <a:pt x="2" y="0"/>
                  </a:lnTo>
                  <a:lnTo>
                    <a:pt x="0" y="0"/>
                  </a:lnTo>
                  <a:lnTo>
                    <a:pt x="0" y="2"/>
                  </a:lnTo>
                  <a:lnTo>
                    <a:pt x="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5" name="Freeform 198"/>
            <p:cNvSpPr>
              <a:spLocks/>
            </p:cNvSpPr>
            <p:nvPr/>
          </p:nvSpPr>
          <p:spPr bwMode="auto">
            <a:xfrm>
              <a:off x="6683395" y="3443985"/>
              <a:ext cx="2633" cy="7099"/>
            </a:xfrm>
            <a:custGeom>
              <a:avLst/>
              <a:gdLst/>
              <a:ahLst/>
              <a:cxnLst>
                <a:cxn ang="0">
                  <a:pos x="1" y="0"/>
                </a:cxn>
                <a:cxn ang="0">
                  <a:pos x="3" y="0"/>
                </a:cxn>
                <a:cxn ang="0">
                  <a:pos x="1" y="3"/>
                </a:cxn>
                <a:cxn ang="0">
                  <a:pos x="3" y="6"/>
                </a:cxn>
                <a:cxn ang="0">
                  <a:pos x="3" y="7"/>
                </a:cxn>
                <a:cxn ang="0">
                  <a:pos x="3" y="7"/>
                </a:cxn>
                <a:cxn ang="0">
                  <a:pos x="1" y="7"/>
                </a:cxn>
                <a:cxn ang="0">
                  <a:pos x="1" y="6"/>
                </a:cxn>
                <a:cxn ang="0">
                  <a:pos x="0" y="6"/>
                </a:cxn>
                <a:cxn ang="0">
                  <a:pos x="0" y="4"/>
                </a:cxn>
                <a:cxn ang="0">
                  <a:pos x="0" y="3"/>
                </a:cxn>
                <a:cxn ang="0">
                  <a:pos x="0" y="0"/>
                </a:cxn>
                <a:cxn ang="0">
                  <a:pos x="0" y="0"/>
                </a:cxn>
                <a:cxn ang="0">
                  <a:pos x="1" y="0"/>
                </a:cxn>
                <a:cxn ang="0">
                  <a:pos x="1" y="0"/>
                </a:cxn>
              </a:cxnLst>
              <a:rect l="0" t="0" r="r" b="b"/>
              <a:pathLst>
                <a:path w="3" h="7">
                  <a:moveTo>
                    <a:pt x="1" y="0"/>
                  </a:moveTo>
                  <a:lnTo>
                    <a:pt x="3" y="0"/>
                  </a:lnTo>
                  <a:lnTo>
                    <a:pt x="1" y="3"/>
                  </a:lnTo>
                  <a:lnTo>
                    <a:pt x="3" y="6"/>
                  </a:lnTo>
                  <a:lnTo>
                    <a:pt x="3" y="7"/>
                  </a:lnTo>
                  <a:lnTo>
                    <a:pt x="3" y="7"/>
                  </a:lnTo>
                  <a:lnTo>
                    <a:pt x="1" y="7"/>
                  </a:lnTo>
                  <a:lnTo>
                    <a:pt x="1" y="6"/>
                  </a:lnTo>
                  <a:lnTo>
                    <a:pt x="0" y="6"/>
                  </a:lnTo>
                  <a:lnTo>
                    <a:pt x="0" y="4"/>
                  </a:lnTo>
                  <a:lnTo>
                    <a:pt x="0" y="3"/>
                  </a:lnTo>
                  <a:lnTo>
                    <a:pt x="0" y="0"/>
                  </a:lnTo>
                  <a:lnTo>
                    <a:pt x="0" y="0"/>
                  </a:lnTo>
                  <a:lnTo>
                    <a:pt x="1" y="0"/>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6" name="Freeform 199"/>
            <p:cNvSpPr>
              <a:spLocks/>
            </p:cNvSpPr>
            <p:nvPr/>
          </p:nvSpPr>
          <p:spPr bwMode="auto">
            <a:xfrm>
              <a:off x="6683395" y="3443985"/>
              <a:ext cx="2633" cy="7099"/>
            </a:xfrm>
            <a:custGeom>
              <a:avLst/>
              <a:gdLst/>
              <a:ahLst/>
              <a:cxnLst>
                <a:cxn ang="0">
                  <a:pos x="1" y="0"/>
                </a:cxn>
                <a:cxn ang="0">
                  <a:pos x="3" y="0"/>
                </a:cxn>
                <a:cxn ang="0">
                  <a:pos x="1" y="3"/>
                </a:cxn>
                <a:cxn ang="0">
                  <a:pos x="3" y="6"/>
                </a:cxn>
                <a:cxn ang="0">
                  <a:pos x="3" y="7"/>
                </a:cxn>
                <a:cxn ang="0">
                  <a:pos x="3" y="7"/>
                </a:cxn>
                <a:cxn ang="0">
                  <a:pos x="1" y="7"/>
                </a:cxn>
                <a:cxn ang="0">
                  <a:pos x="1" y="6"/>
                </a:cxn>
                <a:cxn ang="0">
                  <a:pos x="0" y="6"/>
                </a:cxn>
                <a:cxn ang="0">
                  <a:pos x="0" y="4"/>
                </a:cxn>
                <a:cxn ang="0">
                  <a:pos x="0" y="3"/>
                </a:cxn>
                <a:cxn ang="0">
                  <a:pos x="0" y="0"/>
                </a:cxn>
                <a:cxn ang="0">
                  <a:pos x="0" y="0"/>
                </a:cxn>
                <a:cxn ang="0">
                  <a:pos x="1" y="0"/>
                </a:cxn>
                <a:cxn ang="0">
                  <a:pos x="1" y="0"/>
                </a:cxn>
              </a:cxnLst>
              <a:rect l="0" t="0" r="r" b="b"/>
              <a:pathLst>
                <a:path w="3" h="7">
                  <a:moveTo>
                    <a:pt x="1" y="0"/>
                  </a:moveTo>
                  <a:lnTo>
                    <a:pt x="3" y="0"/>
                  </a:lnTo>
                  <a:lnTo>
                    <a:pt x="1" y="3"/>
                  </a:lnTo>
                  <a:lnTo>
                    <a:pt x="3" y="6"/>
                  </a:lnTo>
                  <a:lnTo>
                    <a:pt x="3" y="7"/>
                  </a:lnTo>
                  <a:lnTo>
                    <a:pt x="3" y="7"/>
                  </a:lnTo>
                  <a:lnTo>
                    <a:pt x="1" y="7"/>
                  </a:lnTo>
                  <a:lnTo>
                    <a:pt x="1" y="6"/>
                  </a:lnTo>
                  <a:lnTo>
                    <a:pt x="0" y="6"/>
                  </a:lnTo>
                  <a:lnTo>
                    <a:pt x="0" y="4"/>
                  </a:lnTo>
                  <a:lnTo>
                    <a:pt x="0" y="3"/>
                  </a:lnTo>
                  <a:lnTo>
                    <a:pt x="0" y="0"/>
                  </a:lnTo>
                  <a:lnTo>
                    <a:pt x="0" y="0"/>
                  </a:lnTo>
                  <a:lnTo>
                    <a:pt x="1" y="0"/>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7" name="Freeform 200"/>
            <p:cNvSpPr>
              <a:spLocks/>
            </p:cNvSpPr>
            <p:nvPr/>
          </p:nvSpPr>
          <p:spPr bwMode="auto">
            <a:xfrm>
              <a:off x="6688661" y="3457170"/>
              <a:ext cx="1756" cy="1014"/>
            </a:xfrm>
            <a:custGeom>
              <a:avLst/>
              <a:gdLst/>
              <a:ahLst/>
              <a:cxnLst>
                <a:cxn ang="0">
                  <a:pos x="2" y="1"/>
                </a:cxn>
                <a:cxn ang="0">
                  <a:pos x="2" y="1"/>
                </a:cxn>
                <a:cxn ang="0">
                  <a:pos x="1" y="1"/>
                </a:cxn>
                <a:cxn ang="0">
                  <a:pos x="1" y="1"/>
                </a:cxn>
                <a:cxn ang="0">
                  <a:pos x="0" y="1"/>
                </a:cxn>
                <a:cxn ang="0">
                  <a:pos x="0" y="0"/>
                </a:cxn>
                <a:cxn ang="0">
                  <a:pos x="0" y="0"/>
                </a:cxn>
                <a:cxn ang="0">
                  <a:pos x="2" y="1"/>
                </a:cxn>
                <a:cxn ang="0">
                  <a:pos x="2" y="1"/>
                </a:cxn>
              </a:cxnLst>
              <a:rect l="0" t="0" r="r" b="b"/>
              <a:pathLst>
                <a:path w="2" h="1">
                  <a:moveTo>
                    <a:pt x="2" y="1"/>
                  </a:moveTo>
                  <a:lnTo>
                    <a:pt x="2" y="1"/>
                  </a:lnTo>
                  <a:lnTo>
                    <a:pt x="1" y="1"/>
                  </a:lnTo>
                  <a:lnTo>
                    <a:pt x="1" y="1"/>
                  </a:lnTo>
                  <a:lnTo>
                    <a:pt x="0" y="1"/>
                  </a:lnTo>
                  <a:lnTo>
                    <a:pt x="0" y="0"/>
                  </a:lnTo>
                  <a:lnTo>
                    <a:pt x="0" y="0"/>
                  </a:lnTo>
                  <a:lnTo>
                    <a:pt x="2" y="1"/>
                  </a:lnTo>
                  <a:lnTo>
                    <a:pt x="2"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8" name="Freeform 201"/>
            <p:cNvSpPr>
              <a:spLocks/>
            </p:cNvSpPr>
            <p:nvPr/>
          </p:nvSpPr>
          <p:spPr bwMode="auto">
            <a:xfrm>
              <a:off x="6688661" y="3457170"/>
              <a:ext cx="1756" cy="1014"/>
            </a:xfrm>
            <a:custGeom>
              <a:avLst/>
              <a:gdLst/>
              <a:ahLst/>
              <a:cxnLst>
                <a:cxn ang="0">
                  <a:pos x="2" y="1"/>
                </a:cxn>
                <a:cxn ang="0">
                  <a:pos x="2" y="1"/>
                </a:cxn>
                <a:cxn ang="0">
                  <a:pos x="1" y="1"/>
                </a:cxn>
                <a:cxn ang="0">
                  <a:pos x="1" y="1"/>
                </a:cxn>
                <a:cxn ang="0">
                  <a:pos x="0" y="1"/>
                </a:cxn>
                <a:cxn ang="0">
                  <a:pos x="0" y="0"/>
                </a:cxn>
                <a:cxn ang="0">
                  <a:pos x="0" y="0"/>
                </a:cxn>
                <a:cxn ang="0">
                  <a:pos x="2" y="1"/>
                </a:cxn>
                <a:cxn ang="0">
                  <a:pos x="2" y="1"/>
                </a:cxn>
              </a:cxnLst>
              <a:rect l="0" t="0" r="r" b="b"/>
              <a:pathLst>
                <a:path w="2" h="1">
                  <a:moveTo>
                    <a:pt x="2" y="1"/>
                  </a:moveTo>
                  <a:lnTo>
                    <a:pt x="2" y="1"/>
                  </a:lnTo>
                  <a:lnTo>
                    <a:pt x="1" y="1"/>
                  </a:lnTo>
                  <a:lnTo>
                    <a:pt x="1" y="1"/>
                  </a:lnTo>
                  <a:lnTo>
                    <a:pt x="0" y="1"/>
                  </a:lnTo>
                  <a:lnTo>
                    <a:pt x="0" y="0"/>
                  </a:lnTo>
                  <a:lnTo>
                    <a:pt x="0" y="0"/>
                  </a:lnTo>
                  <a:lnTo>
                    <a:pt x="2" y="1"/>
                  </a:lnTo>
                  <a:lnTo>
                    <a:pt x="2"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09" name="Freeform 202"/>
            <p:cNvSpPr>
              <a:spLocks/>
            </p:cNvSpPr>
            <p:nvPr/>
          </p:nvSpPr>
          <p:spPr bwMode="auto">
            <a:xfrm>
              <a:off x="6696562" y="3454126"/>
              <a:ext cx="4389" cy="4057"/>
            </a:xfrm>
            <a:custGeom>
              <a:avLst/>
              <a:gdLst/>
              <a:ahLst/>
              <a:cxnLst>
                <a:cxn ang="0">
                  <a:pos x="3" y="0"/>
                </a:cxn>
                <a:cxn ang="0">
                  <a:pos x="5" y="1"/>
                </a:cxn>
                <a:cxn ang="0">
                  <a:pos x="5" y="4"/>
                </a:cxn>
                <a:cxn ang="0">
                  <a:pos x="3" y="4"/>
                </a:cxn>
                <a:cxn ang="0">
                  <a:pos x="3" y="4"/>
                </a:cxn>
                <a:cxn ang="0">
                  <a:pos x="3" y="3"/>
                </a:cxn>
                <a:cxn ang="0">
                  <a:pos x="2" y="3"/>
                </a:cxn>
                <a:cxn ang="0">
                  <a:pos x="0" y="3"/>
                </a:cxn>
                <a:cxn ang="0">
                  <a:pos x="0" y="1"/>
                </a:cxn>
                <a:cxn ang="0">
                  <a:pos x="2" y="1"/>
                </a:cxn>
                <a:cxn ang="0">
                  <a:pos x="3" y="1"/>
                </a:cxn>
                <a:cxn ang="0">
                  <a:pos x="3" y="0"/>
                </a:cxn>
              </a:cxnLst>
              <a:rect l="0" t="0" r="r" b="b"/>
              <a:pathLst>
                <a:path w="5" h="4">
                  <a:moveTo>
                    <a:pt x="3" y="0"/>
                  </a:moveTo>
                  <a:lnTo>
                    <a:pt x="5" y="1"/>
                  </a:lnTo>
                  <a:lnTo>
                    <a:pt x="5" y="4"/>
                  </a:lnTo>
                  <a:lnTo>
                    <a:pt x="3" y="4"/>
                  </a:lnTo>
                  <a:lnTo>
                    <a:pt x="3" y="4"/>
                  </a:lnTo>
                  <a:lnTo>
                    <a:pt x="3" y="3"/>
                  </a:lnTo>
                  <a:lnTo>
                    <a:pt x="2" y="3"/>
                  </a:lnTo>
                  <a:lnTo>
                    <a:pt x="0" y="3"/>
                  </a:lnTo>
                  <a:lnTo>
                    <a:pt x="0" y="1"/>
                  </a:lnTo>
                  <a:lnTo>
                    <a:pt x="2" y="1"/>
                  </a:lnTo>
                  <a:lnTo>
                    <a:pt x="3" y="1"/>
                  </a:lnTo>
                  <a:lnTo>
                    <a:pt x="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0" name="Freeform 203"/>
            <p:cNvSpPr>
              <a:spLocks/>
            </p:cNvSpPr>
            <p:nvPr/>
          </p:nvSpPr>
          <p:spPr bwMode="auto">
            <a:xfrm>
              <a:off x="6696562" y="3454126"/>
              <a:ext cx="4389" cy="4057"/>
            </a:xfrm>
            <a:custGeom>
              <a:avLst/>
              <a:gdLst/>
              <a:ahLst/>
              <a:cxnLst>
                <a:cxn ang="0">
                  <a:pos x="3" y="0"/>
                </a:cxn>
                <a:cxn ang="0">
                  <a:pos x="5" y="1"/>
                </a:cxn>
                <a:cxn ang="0">
                  <a:pos x="5" y="4"/>
                </a:cxn>
                <a:cxn ang="0">
                  <a:pos x="3" y="4"/>
                </a:cxn>
                <a:cxn ang="0">
                  <a:pos x="3" y="4"/>
                </a:cxn>
                <a:cxn ang="0">
                  <a:pos x="3" y="3"/>
                </a:cxn>
                <a:cxn ang="0">
                  <a:pos x="2" y="3"/>
                </a:cxn>
                <a:cxn ang="0">
                  <a:pos x="0" y="3"/>
                </a:cxn>
                <a:cxn ang="0">
                  <a:pos x="0" y="1"/>
                </a:cxn>
                <a:cxn ang="0">
                  <a:pos x="2" y="1"/>
                </a:cxn>
                <a:cxn ang="0">
                  <a:pos x="3" y="1"/>
                </a:cxn>
                <a:cxn ang="0">
                  <a:pos x="3" y="0"/>
                </a:cxn>
              </a:cxnLst>
              <a:rect l="0" t="0" r="r" b="b"/>
              <a:pathLst>
                <a:path w="5" h="4">
                  <a:moveTo>
                    <a:pt x="3" y="0"/>
                  </a:moveTo>
                  <a:lnTo>
                    <a:pt x="5" y="1"/>
                  </a:lnTo>
                  <a:lnTo>
                    <a:pt x="5" y="4"/>
                  </a:lnTo>
                  <a:lnTo>
                    <a:pt x="3" y="4"/>
                  </a:lnTo>
                  <a:lnTo>
                    <a:pt x="3" y="4"/>
                  </a:lnTo>
                  <a:lnTo>
                    <a:pt x="3" y="3"/>
                  </a:lnTo>
                  <a:lnTo>
                    <a:pt x="2" y="3"/>
                  </a:lnTo>
                  <a:lnTo>
                    <a:pt x="0" y="3"/>
                  </a:lnTo>
                  <a:lnTo>
                    <a:pt x="0" y="1"/>
                  </a:lnTo>
                  <a:lnTo>
                    <a:pt x="2" y="1"/>
                  </a:lnTo>
                  <a:lnTo>
                    <a:pt x="3" y="1"/>
                  </a:lnTo>
                  <a:lnTo>
                    <a:pt x="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1" name="Freeform 204"/>
            <p:cNvSpPr>
              <a:spLocks/>
            </p:cNvSpPr>
            <p:nvPr/>
          </p:nvSpPr>
          <p:spPr bwMode="auto">
            <a:xfrm>
              <a:off x="6707096" y="3464267"/>
              <a:ext cx="2634" cy="5071"/>
            </a:xfrm>
            <a:custGeom>
              <a:avLst/>
              <a:gdLst/>
              <a:ahLst/>
              <a:cxnLst>
                <a:cxn ang="0">
                  <a:pos x="3" y="0"/>
                </a:cxn>
                <a:cxn ang="0">
                  <a:pos x="1" y="2"/>
                </a:cxn>
                <a:cxn ang="0">
                  <a:pos x="3" y="3"/>
                </a:cxn>
                <a:cxn ang="0">
                  <a:pos x="1" y="3"/>
                </a:cxn>
                <a:cxn ang="0">
                  <a:pos x="1" y="5"/>
                </a:cxn>
                <a:cxn ang="0">
                  <a:pos x="0" y="3"/>
                </a:cxn>
                <a:cxn ang="0">
                  <a:pos x="0" y="2"/>
                </a:cxn>
                <a:cxn ang="0">
                  <a:pos x="0" y="2"/>
                </a:cxn>
                <a:cxn ang="0">
                  <a:pos x="0" y="0"/>
                </a:cxn>
                <a:cxn ang="0">
                  <a:pos x="0" y="0"/>
                </a:cxn>
                <a:cxn ang="0">
                  <a:pos x="0" y="0"/>
                </a:cxn>
                <a:cxn ang="0">
                  <a:pos x="3" y="0"/>
                </a:cxn>
              </a:cxnLst>
              <a:rect l="0" t="0" r="r" b="b"/>
              <a:pathLst>
                <a:path w="3" h="5">
                  <a:moveTo>
                    <a:pt x="3" y="0"/>
                  </a:moveTo>
                  <a:lnTo>
                    <a:pt x="1" y="2"/>
                  </a:lnTo>
                  <a:lnTo>
                    <a:pt x="3" y="3"/>
                  </a:lnTo>
                  <a:lnTo>
                    <a:pt x="1" y="3"/>
                  </a:lnTo>
                  <a:lnTo>
                    <a:pt x="1" y="5"/>
                  </a:lnTo>
                  <a:lnTo>
                    <a:pt x="0" y="3"/>
                  </a:lnTo>
                  <a:lnTo>
                    <a:pt x="0" y="2"/>
                  </a:lnTo>
                  <a:lnTo>
                    <a:pt x="0" y="2"/>
                  </a:lnTo>
                  <a:lnTo>
                    <a:pt x="0" y="0"/>
                  </a:lnTo>
                  <a:lnTo>
                    <a:pt x="0" y="0"/>
                  </a:lnTo>
                  <a:lnTo>
                    <a:pt x="0" y="0"/>
                  </a:lnTo>
                  <a:lnTo>
                    <a:pt x="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2" name="Freeform 205"/>
            <p:cNvSpPr>
              <a:spLocks/>
            </p:cNvSpPr>
            <p:nvPr/>
          </p:nvSpPr>
          <p:spPr bwMode="auto">
            <a:xfrm>
              <a:off x="6707096" y="3464267"/>
              <a:ext cx="2634" cy="5071"/>
            </a:xfrm>
            <a:custGeom>
              <a:avLst/>
              <a:gdLst/>
              <a:ahLst/>
              <a:cxnLst>
                <a:cxn ang="0">
                  <a:pos x="3" y="0"/>
                </a:cxn>
                <a:cxn ang="0">
                  <a:pos x="1" y="2"/>
                </a:cxn>
                <a:cxn ang="0">
                  <a:pos x="3" y="3"/>
                </a:cxn>
                <a:cxn ang="0">
                  <a:pos x="1" y="3"/>
                </a:cxn>
                <a:cxn ang="0">
                  <a:pos x="1" y="5"/>
                </a:cxn>
                <a:cxn ang="0">
                  <a:pos x="0" y="3"/>
                </a:cxn>
                <a:cxn ang="0">
                  <a:pos x="0" y="2"/>
                </a:cxn>
                <a:cxn ang="0">
                  <a:pos x="0" y="2"/>
                </a:cxn>
                <a:cxn ang="0">
                  <a:pos x="0" y="0"/>
                </a:cxn>
                <a:cxn ang="0">
                  <a:pos x="0" y="0"/>
                </a:cxn>
                <a:cxn ang="0">
                  <a:pos x="0" y="0"/>
                </a:cxn>
                <a:cxn ang="0">
                  <a:pos x="3" y="0"/>
                </a:cxn>
              </a:cxnLst>
              <a:rect l="0" t="0" r="r" b="b"/>
              <a:pathLst>
                <a:path w="3" h="5">
                  <a:moveTo>
                    <a:pt x="3" y="0"/>
                  </a:moveTo>
                  <a:lnTo>
                    <a:pt x="1" y="2"/>
                  </a:lnTo>
                  <a:lnTo>
                    <a:pt x="3" y="3"/>
                  </a:lnTo>
                  <a:lnTo>
                    <a:pt x="1" y="3"/>
                  </a:lnTo>
                  <a:lnTo>
                    <a:pt x="1" y="5"/>
                  </a:lnTo>
                  <a:lnTo>
                    <a:pt x="0" y="3"/>
                  </a:lnTo>
                  <a:lnTo>
                    <a:pt x="0" y="2"/>
                  </a:lnTo>
                  <a:lnTo>
                    <a:pt x="0" y="2"/>
                  </a:lnTo>
                  <a:lnTo>
                    <a:pt x="0" y="0"/>
                  </a:lnTo>
                  <a:lnTo>
                    <a:pt x="0" y="0"/>
                  </a:lnTo>
                  <a:lnTo>
                    <a:pt x="0" y="0"/>
                  </a:lnTo>
                  <a:lnTo>
                    <a:pt x="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3" name="Freeform 207"/>
            <p:cNvSpPr>
              <a:spLocks/>
            </p:cNvSpPr>
            <p:nvPr/>
          </p:nvSpPr>
          <p:spPr bwMode="auto">
            <a:xfrm>
              <a:off x="5908297" y="3110336"/>
              <a:ext cx="3511" cy="2029"/>
            </a:xfrm>
            <a:custGeom>
              <a:avLst/>
              <a:gdLst/>
              <a:ahLst/>
              <a:cxnLst>
                <a:cxn ang="0">
                  <a:pos x="4" y="0"/>
                </a:cxn>
                <a:cxn ang="0">
                  <a:pos x="1" y="0"/>
                </a:cxn>
                <a:cxn ang="0">
                  <a:pos x="0" y="0"/>
                </a:cxn>
                <a:cxn ang="0">
                  <a:pos x="1" y="2"/>
                </a:cxn>
                <a:cxn ang="0">
                  <a:pos x="3" y="2"/>
                </a:cxn>
                <a:cxn ang="0">
                  <a:pos x="4" y="0"/>
                </a:cxn>
              </a:cxnLst>
              <a:rect l="0" t="0" r="r" b="b"/>
              <a:pathLst>
                <a:path w="4" h="2">
                  <a:moveTo>
                    <a:pt x="4" y="0"/>
                  </a:moveTo>
                  <a:lnTo>
                    <a:pt x="1" y="0"/>
                  </a:lnTo>
                  <a:lnTo>
                    <a:pt x="0" y="0"/>
                  </a:lnTo>
                  <a:lnTo>
                    <a:pt x="1" y="2"/>
                  </a:lnTo>
                  <a:lnTo>
                    <a:pt x="3" y="2"/>
                  </a:lnTo>
                  <a:lnTo>
                    <a:pt x="4"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4" name="Freeform 208"/>
            <p:cNvSpPr>
              <a:spLocks/>
            </p:cNvSpPr>
            <p:nvPr/>
          </p:nvSpPr>
          <p:spPr bwMode="auto">
            <a:xfrm>
              <a:off x="5908297" y="3110336"/>
              <a:ext cx="3511" cy="2029"/>
            </a:xfrm>
            <a:custGeom>
              <a:avLst/>
              <a:gdLst/>
              <a:ahLst/>
              <a:cxnLst>
                <a:cxn ang="0">
                  <a:pos x="4" y="0"/>
                </a:cxn>
                <a:cxn ang="0">
                  <a:pos x="1" y="0"/>
                </a:cxn>
                <a:cxn ang="0">
                  <a:pos x="0" y="0"/>
                </a:cxn>
                <a:cxn ang="0">
                  <a:pos x="1" y="2"/>
                </a:cxn>
                <a:cxn ang="0">
                  <a:pos x="3" y="2"/>
                </a:cxn>
                <a:cxn ang="0">
                  <a:pos x="4" y="0"/>
                </a:cxn>
              </a:cxnLst>
              <a:rect l="0" t="0" r="r" b="b"/>
              <a:pathLst>
                <a:path w="4" h="2">
                  <a:moveTo>
                    <a:pt x="4" y="0"/>
                  </a:moveTo>
                  <a:lnTo>
                    <a:pt x="1" y="0"/>
                  </a:lnTo>
                  <a:lnTo>
                    <a:pt x="0" y="0"/>
                  </a:lnTo>
                  <a:lnTo>
                    <a:pt x="1" y="2"/>
                  </a:lnTo>
                  <a:lnTo>
                    <a:pt x="3" y="2"/>
                  </a:lnTo>
                  <a:lnTo>
                    <a:pt x="4"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5" name="Freeform 209"/>
            <p:cNvSpPr>
              <a:spLocks/>
            </p:cNvSpPr>
            <p:nvPr/>
          </p:nvSpPr>
          <p:spPr bwMode="auto">
            <a:xfrm>
              <a:off x="6229572" y="3217834"/>
              <a:ext cx="4389" cy="9127"/>
            </a:xfrm>
            <a:custGeom>
              <a:avLst/>
              <a:gdLst/>
              <a:ahLst/>
              <a:cxnLst>
                <a:cxn ang="0">
                  <a:pos x="5" y="3"/>
                </a:cxn>
                <a:cxn ang="0">
                  <a:pos x="5" y="5"/>
                </a:cxn>
                <a:cxn ang="0">
                  <a:pos x="5" y="8"/>
                </a:cxn>
                <a:cxn ang="0">
                  <a:pos x="4" y="8"/>
                </a:cxn>
                <a:cxn ang="0">
                  <a:pos x="3" y="9"/>
                </a:cxn>
                <a:cxn ang="0">
                  <a:pos x="1" y="9"/>
                </a:cxn>
                <a:cxn ang="0">
                  <a:pos x="0" y="8"/>
                </a:cxn>
                <a:cxn ang="0">
                  <a:pos x="0" y="6"/>
                </a:cxn>
                <a:cxn ang="0">
                  <a:pos x="3" y="0"/>
                </a:cxn>
                <a:cxn ang="0">
                  <a:pos x="4" y="0"/>
                </a:cxn>
                <a:cxn ang="0">
                  <a:pos x="5" y="3"/>
                </a:cxn>
              </a:cxnLst>
              <a:rect l="0" t="0" r="r" b="b"/>
              <a:pathLst>
                <a:path w="5" h="9">
                  <a:moveTo>
                    <a:pt x="5" y="3"/>
                  </a:moveTo>
                  <a:lnTo>
                    <a:pt x="5" y="5"/>
                  </a:lnTo>
                  <a:lnTo>
                    <a:pt x="5" y="8"/>
                  </a:lnTo>
                  <a:lnTo>
                    <a:pt x="4" y="8"/>
                  </a:lnTo>
                  <a:lnTo>
                    <a:pt x="3" y="9"/>
                  </a:lnTo>
                  <a:lnTo>
                    <a:pt x="1" y="9"/>
                  </a:lnTo>
                  <a:lnTo>
                    <a:pt x="0" y="8"/>
                  </a:lnTo>
                  <a:lnTo>
                    <a:pt x="0" y="6"/>
                  </a:lnTo>
                  <a:lnTo>
                    <a:pt x="3" y="0"/>
                  </a:lnTo>
                  <a:lnTo>
                    <a:pt x="4" y="0"/>
                  </a:lnTo>
                  <a:lnTo>
                    <a:pt x="5"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6" name="Freeform 210"/>
            <p:cNvSpPr>
              <a:spLocks/>
            </p:cNvSpPr>
            <p:nvPr/>
          </p:nvSpPr>
          <p:spPr bwMode="auto">
            <a:xfrm>
              <a:off x="6229572" y="3217834"/>
              <a:ext cx="4389" cy="9127"/>
            </a:xfrm>
            <a:custGeom>
              <a:avLst/>
              <a:gdLst/>
              <a:ahLst/>
              <a:cxnLst>
                <a:cxn ang="0">
                  <a:pos x="5" y="3"/>
                </a:cxn>
                <a:cxn ang="0">
                  <a:pos x="5" y="5"/>
                </a:cxn>
                <a:cxn ang="0">
                  <a:pos x="5" y="8"/>
                </a:cxn>
                <a:cxn ang="0">
                  <a:pos x="4" y="8"/>
                </a:cxn>
                <a:cxn ang="0">
                  <a:pos x="3" y="9"/>
                </a:cxn>
                <a:cxn ang="0">
                  <a:pos x="1" y="9"/>
                </a:cxn>
                <a:cxn ang="0">
                  <a:pos x="0" y="8"/>
                </a:cxn>
                <a:cxn ang="0">
                  <a:pos x="0" y="6"/>
                </a:cxn>
                <a:cxn ang="0">
                  <a:pos x="3" y="0"/>
                </a:cxn>
                <a:cxn ang="0">
                  <a:pos x="4" y="0"/>
                </a:cxn>
                <a:cxn ang="0">
                  <a:pos x="5" y="3"/>
                </a:cxn>
              </a:cxnLst>
              <a:rect l="0" t="0" r="r" b="b"/>
              <a:pathLst>
                <a:path w="5" h="9">
                  <a:moveTo>
                    <a:pt x="5" y="3"/>
                  </a:moveTo>
                  <a:lnTo>
                    <a:pt x="5" y="5"/>
                  </a:lnTo>
                  <a:lnTo>
                    <a:pt x="5" y="8"/>
                  </a:lnTo>
                  <a:lnTo>
                    <a:pt x="4" y="8"/>
                  </a:lnTo>
                  <a:lnTo>
                    <a:pt x="3" y="9"/>
                  </a:lnTo>
                  <a:lnTo>
                    <a:pt x="1" y="9"/>
                  </a:lnTo>
                  <a:lnTo>
                    <a:pt x="0" y="8"/>
                  </a:lnTo>
                  <a:lnTo>
                    <a:pt x="0" y="6"/>
                  </a:lnTo>
                  <a:lnTo>
                    <a:pt x="3" y="0"/>
                  </a:lnTo>
                  <a:lnTo>
                    <a:pt x="4" y="0"/>
                  </a:lnTo>
                  <a:lnTo>
                    <a:pt x="5"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7" name="Freeform 213"/>
            <p:cNvSpPr>
              <a:spLocks/>
            </p:cNvSpPr>
            <p:nvPr/>
          </p:nvSpPr>
          <p:spPr bwMode="auto">
            <a:xfrm>
              <a:off x="6639506" y="3033262"/>
              <a:ext cx="2633" cy="3042"/>
            </a:xfrm>
            <a:custGeom>
              <a:avLst/>
              <a:gdLst/>
              <a:ahLst/>
              <a:cxnLst>
                <a:cxn ang="0">
                  <a:pos x="1" y="1"/>
                </a:cxn>
                <a:cxn ang="0">
                  <a:pos x="1" y="1"/>
                </a:cxn>
                <a:cxn ang="0">
                  <a:pos x="1" y="1"/>
                </a:cxn>
                <a:cxn ang="0">
                  <a:pos x="0" y="1"/>
                </a:cxn>
                <a:cxn ang="0">
                  <a:pos x="0" y="3"/>
                </a:cxn>
                <a:cxn ang="0">
                  <a:pos x="1" y="3"/>
                </a:cxn>
                <a:cxn ang="0">
                  <a:pos x="1" y="3"/>
                </a:cxn>
                <a:cxn ang="0">
                  <a:pos x="3" y="3"/>
                </a:cxn>
                <a:cxn ang="0">
                  <a:pos x="3" y="3"/>
                </a:cxn>
                <a:cxn ang="0">
                  <a:pos x="3" y="1"/>
                </a:cxn>
                <a:cxn ang="0">
                  <a:pos x="1" y="0"/>
                </a:cxn>
                <a:cxn ang="0">
                  <a:pos x="1" y="1"/>
                </a:cxn>
                <a:cxn ang="0">
                  <a:pos x="1" y="1"/>
                </a:cxn>
              </a:cxnLst>
              <a:rect l="0" t="0" r="r" b="b"/>
              <a:pathLst>
                <a:path w="3" h="3">
                  <a:moveTo>
                    <a:pt x="1" y="1"/>
                  </a:moveTo>
                  <a:lnTo>
                    <a:pt x="1" y="1"/>
                  </a:lnTo>
                  <a:lnTo>
                    <a:pt x="1" y="1"/>
                  </a:lnTo>
                  <a:lnTo>
                    <a:pt x="0" y="1"/>
                  </a:lnTo>
                  <a:lnTo>
                    <a:pt x="0" y="3"/>
                  </a:lnTo>
                  <a:lnTo>
                    <a:pt x="1" y="3"/>
                  </a:lnTo>
                  <a:lnTo>
                    <a:pt x="1" y="3"/>
                  </a:lnTo>
                  <a:lnTo>
                    <a:pt x="3" y="3"/>
                  </a:lnTo>
                  <a:lnTo>
                    <a:pt x="3" y="3"/>
                  </a:lnTo>
                  <a:lnTo>
                    <a:pt x="3" y="1"/>
                  </a:lnTo>
                  <a:lnTo>
                    <a:pt x="1" y="0"/>
                  </a:lnTo>
                  <a:lnTo>
                    <a:pt x="1" y="1"/>
                  </a:lnTo>
                  <a:lnTo>
                    <a:pt x="1"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8" name="Freeform 214"/>
            <p:cNvSpPr>
              <a:spLocks/>
            </p:cNvSpPr>
            <p:nvPr/>
          </p:nvSpPr>
          <p:spPr bwMode="auto">
            <a:xfrm>
              <a:off x="6639506" y="3033262"/>
              <a:ext cx="2633" cy="3042"/>
            </a:xfrm>
            <a:custGeom>
              <a:avLst/>
              <a:gdLst/>
              <a:ahLst/>
              <a:cxnLst>
                <a:cxn ang="0">
                  <a:pos x="1" y="1"/>
                </a:cxn>
                <a:cxn ang="0">
                  <a:pos x="1" y="1"/>
                </a:cxn>
                <a:cxn ang="0">
                  <a:pos x="1" y="1"/>
                </a:cxn>
                <a:cxn ang="0">
                  <a:pos x="0" y="1"/>
                </a:cxn>
                <a:cxn ang="0">
                  <a:pos x="0" y="3"/>
                </a:cxn>
                <a:cxn ang="0">
                  <a:pos x="1" y="3"/>
                </a:cxn>
                <a:cxn ang="0">
                  <a:pos x="1" y="3"/>
                </a:cxn>
                <a:cxn ang="0">
                  <a:pos x="3" y="3"/>
                </a:cxn>
                <a:cxn ang="0">
                  <a:pos x="3" y="3"/>
                </a:cxn>
                <a:cxn ang="0">
                  <a:pos x="3" y="1"/>
                </a:cxn>
                <a:cxn ang="0">
                  <a:pos x="1" y="0"/>
                </a:cxn>
                <a:cxn ang="0">
                  <a:pos x="1" y="1"/>
                </a:cxn>
                <a:cxn ang="0">
                  <a:pos x="1" y="1"/>
                </a:cxn>
              </a:cxnLst>
              <a:rect l="0" t="0" r="r" b="b"/>
              <a:pathLst>
                <a:path w="3" h="3">
                  <a:moveTo>
                    <a:pt x="1" y="1"/>
                  </a:moveTo>
                  <a:lnTo>
                    <a:pt x="1" y="1"/>
                  </a:lnTo>
                  <a:lnTo>
                    <a:pt x="1" y="1"/>
                  </a:lnTo>
                  <a:lnTo>
                    <a:pt x="0" y="1"/>
                  </a:lnTo>
                  <a:lnTo>
                    <a:pt x="0" y="3"/>
                  </a:lnTo>
                  <a:lnTo>
                    <a:pt x="1" y="3"/>
                  </a:lnTo>
                  <a:lnTo>
                    <a:pt x="1" y="3"/>
                  </a:lnTo>
                  <a:lnTo>
                    <a:pt x="3" y="3"/>
                  </a:lnTo>
                  <a:lnTo>
                    <a:pt x="3" y="3"/>
                  </a:lnTo>
                  <a:lnTo>
                    <a:pt x="3" y="1"/>
                  </a:lnTo>
                  <a:lnTo>
                    <a:pt x="1" y="0"/>
                  </a:lnTo>
                  <a:lnTo>
                    <a:pt x="1" y="1"/>
                  </a:lnTo>
                  <a:lnTo>
                    <a:pt x="1"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19" name="Freeform 215"/>
            <p:cNvSpPr>
              <a:spLocks/>
            </p:cNvSpPr>
            <p:nvPr/>
          </p:nvSpPr>
          <p:spPr bwMode="auto">
            <a:xfrm>
              <a:off x="6639506" y="3037318"/>
              <a:ext cx="6144" cy="5071"/>
            </a:xfrm>
            <a:custGeom>
              <a:avLst/>
              <a:gdLst/>
              <a:ahLst/>
              <a:cxnLst>
                <a:cxn ang="0">
                  <a:pos x="4" y="3"/>
                </a:cxn>
                <a:cxn ang="0">
                  <a:pos x="4" y="5"/>
                </a:cxn>
                <a:cxn ang="0">
                  <a:pos x="4" y="5"/>
                </a:cxn>
                <a:cxn ang="0">
                  <a:pos x="3" y="3"/>
                </a:cxn>
                <a:cxn ang="0">
                  <a:pos x="3" y="2"/>
                </a:cxn>
                <a:cxn ang="0">
                  <a:pos x="1" y="0"/>
                </a:cxn>
                <a:cxn ang="0">
                  <a:pos x="1" y="0"/>
                </a:cxn>
                <a:cxn ang="0">
                  <a:pos x="0" y="2"/>
                </a:cxn>
                <a:cxn ang="0">
                  <a:pos x="0" y="2"/>
                </a:cxn>
                <a:cxn ang="0">
                  <a:pos x="0" y="2"/>
                </a:cxn>
                <a:cxn ang="0">
                  <a:pos x="1" y="2"/>
                </a:cxn>
                <a:cxn ang="0">
                  <a:pos x="1" y="2"/>
                </a:cxn>
                <a:cxn ang="0">
                  <a:pos x="1" y="3"/>
                </a:cxn>
                <a:cxn ang="0">
                  <a:pos x="1" y="5"/>
                </a:cxn>
                <a:cxn ang="0">
                  <a:pos x="0" y="3"/>
                </a:cxn>
                <a:cxn ang="0">
                  <a:pos x="0" y="3"/>
                </a:cxn>
                <a:cxn ang="0">
                  <a:pos x="1" y="5"/>
                </a:cxn>
                <a:cxn ang="0">
                  <a:pos x="6" y="5"/>
                </a:cxn>
                <a:cxn ang="0">
                  <a:pos x="7" y="5"/>
                </a:cxn>
                <a:cxn ang="0">
                  <a:pos x="6" y="5"/>
                </a:cxn>
                <a:cxn ang="0">
                  <a:pos x="6" y="3"/>
                </a:cxn>
                <a:cxn ang="0">
                  <a:pos x="6" y="3"/>
                </a:cxn>
                <a:cxn ang="0">
                  <a:pos x="4" y="3"/>
                </a:cxn>
                <a:cxn ang="0">
                  <a:pos x="4" y="3"/>
                </a:cxn>
              </a:cxnLst>
              <a:rect l="0" t="0" r="r" b="b"/>
              <a:pathLst>
                <a:path w="7" h="5">
                  <a:moveTo>
                    <a:pt x="4" y="3"/>
                  </a:moveTo>
                  <a:lnTo>
                    <a:pt x="4" y="5"/>
                  </a:lnTo>
                  <a:lnTo>
                    <a:pt x="4" y="5"/>
                  </a:lnTo>
                  <a:lnTo>
                    <a:pt x="3" y="3"/>
                  </a:lnTo>
                  <a:lnTo>
                    <a:pt x="3" y="2"/>
                  </a:lnTo>
                  <a:lnTo>
                    <a:pt x="1" y="0"/>
                  </a:lnTo>
                  <a:lnTo>
                    <a:pt x="1" y="0"/>
                  </a:lnTo>
                  <a:lnTo>
                    <a:pt x="0" y="2"/>
                  </a:lnTo>
                  <a:lnTo>
                    <a:pt x="0" y="2"/>
                  </a:lnTo>
                  <a:lnTo>
                    <a:pt x="0" y="2"/>
                  </a:lnTo>
                  <a:lnTo>
                    <a:pt x="1" y="2"/>
                  </a:lnTo>
                  <a:lnTo>
                    <a:pt x="1" y="2"/>
                  </a:lnTo>
                  <a:lnTo>
                    <a:pt x="1" y="3"/>
                  </a:lnTo>
                  <a:lnTo>
                    <a:pt x="1" y="5"/>
                  </a:lnTo>
                  <a:lnTo>
                    <a:pt x="0" y="3"/>
                  </a:lnTo>
                  <a:lnTo>
                    <a:pt x="0" y="3"/>
                  </a:lnTo>
                  <a:lnTo>
                    <a:pt x="1" y="5"/>
                  </a:lnTo>
                  <a:lnTo>
                    <a:pt x="6" y="5"/>
                  </a:lnTo>
                  <a:lnTo>
                    <a:pt x="7" y="5"/>
                  </a:lnTo>
                  <a:lnTo>
                    <a:pt x="6" y="5"/>
                  </a:lnTo>
                  <a:lnTo>
                    <a:pt x="6" y="3"/>
                  </a:lnTo>
                  <a:lnTo>
                    <a:pt x="6" y="3"/>
                  </a:lnTo>
                  <a:lnTo>
                    <a:pt x="4" y="3"/>
                  </a:lnTo>
                  <a:lnTo>
                    <a:pt x="4"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0" name="Freeform 216"/>
            <p:cNvSpPr>
              <a:spLocks/>
            </p:cNvSpPr>
            <p:nvPr/>
          </p:nvSpPr>
          <p:spPr bwMode="auto">
            <a:xfrm>
              <a:off x="6639506" y="3037318"/>
              <a:ext cx="6144" cy="5071"/>
            </a:xfrm>
            <a:custGeom>
              <a:avLst/>
              <a:gdLst/>
              <a:ahLst/>
              <a:cxnLst>
                <a:cxn ang="0">
                  <a:pos x="4" y="3"/>
                </a:cxn>
                <a:cxn ang="0">
                  <a:pos x="4" y="5"/>
                </a:cxn>
                <a:cxn ang="0">
                  <a:pos x="4" y="5"/>
                </a:cxn>
                <a:cxn ang="0">
                  <a:pos x="3" y="3"/>
                </a:cxn>
                <a:cxn ang="0">
                  <a:pos x="3" y="2"/>
                </a:cxn>
                <a:cxn ang="0">
                  <a:pos x="1" y="0"/>
                </a:cxn>
                <a:cxn ang="0">
                  <a:pos x="1" y="0"/>
                </a:cxn>
                <a:cxn ang="0">
                  <a:pos x="0" y="2"/>
                </a:cxn>
                <a:cxn ang="0">
                  <a:pos x="0" y="2"/>
                </a:cxn>
                <a:cxn ang="0">
                  <a:pos x="0" y="2"/>
                </a:cxn>
                <a:cxn ang="0">
                  <a:pos x="1" y="2"/>
                </a:cxn>
                <a:cxn ang="0">
                  <a:pos x="1" y="2"/>
                </a:cxn>
                <a:cxn ang="0">
                  <a:pos x="1" y="3"/>
                </a:cxn>
                <a:cxn ang="0">
                  <a:pos x="1" y="5"/>
                </a:cxn>
                <a:cxn ang="0">
                  <a:pos x="0" y="3"/>
                </a:cxn>
                <a:cxn ang="0">
                  <a:pos x="0" y="3"/>
                </a:cxn>
                <a:cxn ang="0">
                  <a:pos x="1" y="5"/>
                </a:cxn>
                <a:cxn ang="0">
                  <a:pos x="6" y="5"/>
                </a:cxn>
                <a:cxn ang="0">
                  <a:pos x="7" y="5"/>
                </a:cxn>
                <a:cxn ang="0">
                  <a:pos x="6" y="5"/>
                </a:cxn>
                <a:cxn ang="0">
                  <a:pos x="6" y="3"/>
                </a:cxn>
                <a:cxn ang="0">
                  <a:pos x="6" y="3"/>
                </a:cxn>
                <a:cxn ang="0">
                  <a:pos x="4" y="3"/>
                </a:cxn>
                <a:cxn ang="0">
                  <a:pos x="4" y="3"/>
                </a:cxn>
              </a:cxnLst>
              <a:rect l="0" t="0" r="r" b="b"/>
              <a:pathLst>
                <a:path w="7" h="5">
                  <a:moveTo>
                    <a:pt x="4" y="3"/>
                  </a:moveTo>
                  <a:lnTo>
                    <a:pt x="4" y="5"/>
                  </a:lnTo>
                  <a:lnTo>
                    <a:pt x="4" y="5"/>
                  </a:lnTo>
                  <a:lnTo>
                    <a:pt x="3" y="3"/>
                  </a:lnTo>
                  <a:lnTo>
                    <a:pt x="3" y="2"/>
                  </a:lnTo>
                  <a:lnTo>
                    <a:pt x="1" y="0"/>
                  </a:lnTo>
                  <a:lnTo>
                    <a:pt x="1" y="0"/>
                  </a:lnTo>
                  <a:lnTo>
                    <a:pt x="0" y="2"/>
                  </a:lnTo>
                  <a:lnTo>
                    <a:pt x="0" y="2"/>
                  </a:lnTo>
                  <a:lnTo>
                    <a:pt x="0" y="2"/>
                  </a:lnTo>
                  <a:lnTo>
                    <a:pt x="1" y="2"/>
                  </a:lnTo>
                  <a:lnTo>
                    <a:pt x="1" y="2"/>
                  </a:lnTo>
                  <a:lnTo>
                    <a:pt x="1" y="3"/>
                  </a:lnTo>
                  <a:lnTo>
                    <a:pt x="1" y="5"/>
                  </a:lnTo>
                  <a:lnTo>
                    <a:pt x="0" y="3"/>
                  </a:lnTo>
                  <a:lnTo>
                    <a:pt x="0" y="3"/>
                  </a:lnTo>
                  <a:lnTo>
                    <a:pt x="1" y="5"/>
                  </a:lnTo>
                  <a:lnTo>
                    <a:pt x="6" y="5"/>
                  </a:lnTo>
                  <a:lnTo>
                    <a:pt x="7" y="5"/>
                  </a:lnTo>
                  <a:lnTo>
                    <a:pt x="6" y="5"/>
                  </a:lnTo>
                  <a:lnTo>
                    <a:pt x="6" y="3"/>
                  </a:lnTo>
                  <a:lnTo>
                    <a:pt x="6" y="3"/>
                  </a:lnTo>
                  <a:lnTo>
                    <a:pt x="4" y="3"/>
                  </a:lnTo>
                  <a:lnTo>
                    <a:pt x="4"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1" name="Freeform 217"/>
            <p:cNvSpPr>
              <a:spLocks/>
            </p:cNvSpPr>
            <p:nvPr/>
          </p:nvSpPr>
          <p:spPr bwMode="auto">
            <a:xfrm>
              <a:off x="6722895" y="3414575"/>
              <a:ext cx="4389" cy="2029"/>
            </a:xfrm>
            <a:custGeom>
              <a:avLst/>
              <a:gdLst/>
              <a:ahLst/>
              <a:cxnLst>
                <a:cxn ang="0">
                  <a:pos x="2" y="0"/>
                </a:cxn>
                <a:cxn ang="0">
                  <a:pos x="3" y="0"/>
                </a:cxn>
                <a:cxn ang="0">
                  <a:pos x="2" y="0"/>
                </a:cxn>
                <a:cxn ang="0">
                  <a:pos x="0" y="0"/>
                </a:cxn>
                <a:cxn ang="0">
                  <a:pos x="2" y="2"/>
                </a:cxn>
                <a:cxn ang="0">
                  <a:pos x="5" y="0"/>
                </a:cxn>
                <a:cxn ang="0">
                  <a:pos x="2" y="0"/>
                </a:cxn>
              </a:cxnLst>
              <a:rect l="0" t="0" r="r" b="b"/>
              <a:pathLst>
                <a:path w="5" h="2">
                  <a:moveTo>
                    <a:pt x="2" y="0"/>
                  </a:moveTo>
                  <a:lnTo>
                    <a:pt x="3" y="0"/>
                  </a:lnTo>
                  <a:lnTo>
                    <a:pt x="2" y="0"/>
                  </a:lnTo>
                  <a:lnTo>
                    <a:pt x="0" y="0"/>
                  </a:lnTo>
                  <a:lnTo>
                    <a:pt x="2" y="2"/>
                  </a:lnTo>
                  <a:lnTo>
                    <a:pt x="5" y="0"/>
                  </a:lnTo>
                  <a:lnTo>
                    <a:pt x="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2" name="Freeform 218"/>
            <p:cNvSpPr>
              <a:spLocks/>
            </p:cNvSpPr>
            <p:nvPr/>
          </p:nvSpPr>
          <p:spPr bwMode="auto">
            <a:xfrm>
              <a:off x="6722895" y="3414575"/>
              <a:ext cx="4389" cy="2029"/>
            </a:xfrm>
            <a:custGeom>
              <a:avLst/>
              <a:gdLst/>
              <a:ahLst/>
              <a:cxnLst>
                <a:cxn ang="0">
                  <a:pos x="2" y="0"/>
                </a:cxn>
                <a:cxn ang="0">
                  <a:pos x="3" y="0"/>
                </a:cxn>
                <a:cxn ang="0">
                  <a:pos x="2" y="0"/>
                </a:cxn>
                <a:cxn ang="0">
                  <a:pos x="0" y="0"/>
                </a:cxn>
                <a:cxn ang="0">
                  <a:pos x="2" y="2"/>
                </a:cxn>
                <a:cxn ang="0">
                  <a:pos x="5" y="0"/>
                </a:cxn>
                <a:cxn ang="0">
                  <a:pos x="2" y="0"/>
                </a:cxn>
              </a:cxnLst>
              <a:rect l="0" t="0" r="r" b="b"/>
              <a:pathLst>
                <a:path w="5" h="2">
                  <a:moveTo>
                    <a:pt x="2" y="0"/>
                  </a:moveTo>
                  <a:lnTo>
                    <a:pt x="3" y="0"/>
                  </a:lnTo>
                  <a:lnTo>
                    <a:pt x="2" y="0"/>
                  </a:lnTo>
                  <a:lnTo>
                    <a:pt x="0" y="0"/>
                  </a:lnTo>
                  <a:lnTo>
                    <a:pt x="2" y="2"/>
                  </a:lnTo>
                  <a:lnTo>
                    <a:pt x="5" y="0"/>
                  </a:lnTo>
                  <a:lnTo>
                    <a:pt x="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3" name="Freeform 219"/>
            <p:cNvSpPr>
              <a:spLocks/>
            </p:cNvSpPr>
            <p:nvPr/>
          </p:nvSpPr>
          <p:spPr bwMode="auto">
            <a:xfrm>
              <a:off x="6292773" y="2919679"/>
              <a:ext cx="140448" cy="244406"/>
            </a:xfrm>
            <a:custGeom>
              <a:avLst/>
              <a:gdLst/>
              <a:ahLst/>
              <a:cxnLst>
                <a:cxn ang="0">
                  <a:pos x="25" y="32"/>
                </a:cxn>
                <a:cxn ang="0">
                  <a:pos x="28" y="38"/>
                </a:cxn>
                <a:cxn ang="0">
                  <a:pos x="38" y="45"/>
                </a:cxn>
                <a:cxn ang="0">
                  <a:pos x="29" y="97"/>
                </a:cxn>
                <a:cxn ang="0">
                  <a:pos x="5" y="128"/>
                </a:cxn>
                <a:cxn ang="0">
                  <a:pos x="3" y="131"/>
                </a:cxn>
                <a:cxn ang="0">
                  <a:pos x="0" y="132"/>
                </a:cxn>
                <a:cxn ang="0">
                  <a:pos x="5" y="137"/>
                </a:cxn>
                <a:cxn ang="0">
                  <a:pos x="8" y="140"/>
                </a:cxn>
                <a:cxn ang="0">
                  <a:pos x="11" y="147"/>
                </a:cxn>
                <a:cxn ang="0">
                  <a:pos x="18" y="147"/>
                </a:cxn>
                <a:cxn ang="0">
                  <a:pos x="24" y="148"/>
                </a:cxn>
                <a:cxn ang="0">
                  <a:pos x="25" y="153"/>
                </a:cxn>
                <a:cxn ang="0">
                  <a:pos x="22" y="157"/>
                </a:cxn>
                <a:cxn ang="0">
                  <a:pos x="19" y="160"/>
                </a:cxn>
                <a:cxn ang="0">
                  <a:pos x="22" y="170"/>
                </a:cxn>
                <a:cxn ang="0">
                  <a:pos x="26" y="195"/>
                </a:cxn>
                <a:cxn ang="0">
                  <a:pos x="28" y="199"/>
                </a:cxn>
                <a:cxn ang="0">
                  <a:pos x="18" y="198"/>
                </a:cxn>
                <a:cxn ang="0">
                  <a:pos x="12" y="199"/>
                </a:cxn>
                <a:cxn ang="0">
                  <a:pos x="11" y="205"/>
                </a:cxn>
                <a:cxn ang="0">
                  <a:pos x="13" y="212"/>
                </a:cxn>
                <a:cxn ang="0">
                  <a:pos x="21" y="215"/>
                </a:cxn>
                <a:cxn ang="0">
                  <a:pos x="28" y="235"/>
                </a:cxn>
                <a:cxn ang="0">
                  <a:pos x="29" y="235"/>
                </a:cxn>
                <a:cxn ang="0">
                  <a:pos x="37" y="235"/>
                </a:cxn>
                <a:cxn ang="0">
                  <a:pos x="40" y="233"/>
                </a:cxn>
                <a:cxn ang="0">
                  <a:pos x="44" y="230"/>
                </a:cxn>
                <a:cxn ang="0">
                  <a:pos x="45" y="230"/>
                </a:cxn>
                <a:cxn ang="0">
                  <a:pos x="47" y="230"/>
                </a:cxn>
                <a:cxn ang="0">
                  <a:pos x="48" y="231"/>
                </a:cxn>
                <a:cxn ang="0">
                  <a:pos x="51" y="233"/>
                </a:cxn>
                <a:cxn ang="0">
                  <a:pos x="56" y="231"/>
                </a:cxn>
                <a:cxn ang="0">
                  <a:pos x="64" y="227"/>
                </a:cxn>
                <a:cxn ang="0">
                  <a:pos x="70" y="227"/>
                </a:cxn>
                <a:cxn ang="0">
                  <a:pos x="76" y="227"/>
                </a:cxn>
                <a:cxn ang="0">
                  <a:pos x="77" y="224"/>
                </a:cxn>
                <a:cxn ang="0">
                  <a:pos x="79" y="222"/>
                </a:cxn>
                <a:cxn ang="0">
                  <a:pos x="82" y="219"/>
                </a:cxn>
                <a:cxn ang="0">
                  <a:pos x="82" y="217"/>
                </a:cxn>
                <a:cxn ang="0">
                  <a:pos x="80" y="215"/>
                </a:cxn>
                <a:cxn ang="0">
                  <a:pos x="98" y="211"/>
                </a:cxn>
                <a:cxn ang="0">
                  <a:pos x="102" y="209"/>
                </a:cxn>
                <a:cxn ang="0">
                  <a:pos x="108" y="206"/>
                </a:cxn>
                <a:cxn ang="0">
                  <a:pos x="111" y="202"/>
                </a:cxn>
                <a:cxn ang="0">
                  <a:pos x="115" y="198"/>
                </a:cxn>
                <a:cxn ang="0">
                  <a:pos x="118" y="195"/>
                </a:cxn>
                <a:cxn ang="0">
                  <a:pos x="119" y="190"/>
                </a:cxn>
                <a:cxn ang="0">
                  <a:pos x="122" y="186"/>
                </a:cxn>
                <a:cxn ang="0">
                  <a:pos x="135" y="177"/>
                </a:cxn>
                <a:cxn ang="0">
                  <a:pos x="132" y="176"/>
                </a:cxn>
                <a:cxn ang="0">
                  <a:pos x="128" y="163"/>
                </a:cxn>
                <a:cxn ang="0">
                  <a:pos x="122" y="160"/>
                </a:cxn>
                <a:cxn ang="0">
                  <a:pos x="122" y="154"/>
                </a:cxn>
                <a:cxn ang="0">
                  <a:pos x="125" y="142"/>
                </a:cxn>
                <a:cxn ang="0">
                  <a:pos x="128" y="141"/>
                </a:cxn>
                <a:cxn ang="0">
                  <a:pos x="128" y="138"/>
                </a:cxn>
                <a:cxn ang="0">
                  <a:pos x="137" y="121"/>
                </a:cxn>
                <a:cxn ang="0">
                  <a:pos x="138" y="116"/>
                </a:cxn>
                <a:cxn ang="0">
                  <a:pos x="153" y="60"/>
                </a:cxn>
                <a:cxn ang="0">
                  <a:pos x="38" y="0"/>
                </a:cxn>
                <a:cxn ang="0">
                  <a:pos x="24" y="28"/>
                </a:cxn>
              </a:cxnLst>
              <a:rect l="0" t="0" r="r" b="b"/>
              <a:pathLst>
                <a:path w="153" h="235">
                  <a:moveTo>
                    <a:pt x="24" y="28"/>
                  </a:moveTo>
                  <a:lnTo>
                    <a:pt x="25" y="32"/>
                  </a:lnTo>
                  <a:lnTo>
                    <a:pt x="25" y="32"/>
                  </a:lnTo>
                  <a:lnTo>
                    <a:pt x="28" y="38"/>
                  </a:lnTo>
                  <a:lnTo>
                    <a:pt x="31" y="41"/>
                  </a:lnTo>
                  <a:lnTo>
                    <a:pt x="38" y="45"/>
                  </a:lnTo>
                  <a:lnTo>
                    <a:pt x="34" y="51"/>
                  </a:lnTo>
                  <a:lnTo>
                    <a:pt x="29" y="97"/>
                  </a:lnTo>
                  <a:lnTo>
                    <a:pt x="5" y="125"/>
                  </a:lnTo>
                  <a:lnTo>
                    <a:pt x="5" y="128"/>
                  </a:lnTo>
                  <a:lnTo>
                    <a:pt x="3" y="128"/>
                  </a:lnTo>
                  <a:lnTo>
                    <a:pt x="3" y="131"/>
                  </a:lnTo>
                  <a:lnTo>
                    <a:pt x="2" y="131"/>
                  </a:lnTo>
                  <a:lnTo>
                    <a:pt x="0" y="132"/>
                  </a:lnTo>
                  <a:lnTo>
                    <a:pt x="0" y="135"/>
                  </a:lnTo>
                  <a:lnTo>
                    <a:pt x="5" y="137"/>
                  </a:lnTo>
                  <a:lnTo>
                    <a:pt x="6" y="138"/>
                  </a:lnTo>
                  <a:lnTo>
                    <a:pt x="8" y="140"/>
                  </a:lnTo>
                  <a:lnTo>
                    <a:pt x="9" y="141"/>
                  </a:lnTo>
                  <a:lnTo>
                    <a:pt x="11" y="147"/>
                  </a:lnTo>
                  <a:lnTo>
                    <a:pt x="15" y="148"/>
                  </a:lnTo>
                  <a:lnTo>
                    <a:pt x="18" y="147"/>
                  </a:lnTo>
                  <a:lnTo>
                    <a:pt x="22" y="148"/>
                  </a:lnTo>
                  <a:lnTo>
                    <a:pt x="24" y="148"/>
                  </a:lnTo>
                  <a:lnTo>
                    <a:pt x="25" y="151"/>
                  </a:lnTo>
                  <a:lnTo>
                    <a:pt x="25" y="153"/>
                  </a:lnTo>
                  <a:lnTo>
                    <a:pt x="25" y="156"/>
                  </a:lnTo>
                  <a:lnTo>
                    <a:pt x="22" y="157"/>
                  </a:lnTo>
                  <a:lnTo>
                    <a:pt x="18" y="158"/>
                  </a:lnTo>
                  <a:lnTo>
                    <a:pt x="19" y="160"/>
                  </a:lnTo>
                  <a:lnTo>
                    <a:pt x="21" y="167"/>
                  </a:lnTo>
                  <a:lnTo>
                    <a:pt x="22" y="170"/>
                  </a:lnTo>
                  <a:lnTo>
                    <a:pt x="21" y="185"/>
                  </a:lnTo>
                  <a:lnTo>
                    <a:pt x="26" y="195"/>
                  </a:lnTo>
                  <a:lnTo>
                    <a:pt x="28" y="199"/>
                  </a:lnTo>
                  <a:lnTo>
                    <a:pt x="28" y="199"/>
                  </a:lnTo>
                  <a:lnTo>
                    <a:pt x="26" y="199"/>
                  </a:lnTo>
                  <a:lnTo>
                    <a:pt x="18" y="198"/>
                  </a:lnTo>
                  <a:lnTo>
                    <a:pt x="13" y="199"/>
                  </a:lnTo>
                  <a:lnTo>
                    <a:pt x="12" y="199"/>
                  </a:lnTo>
                  <a:lnTo>
                    <a:pt x="11" y="201"/>
                  </a:lnTo>
                  <a:lnTo>
                    <a:pt x="11" y="205"/>
                  </a:lnTo>
                  <a:lnTo>
                    <a:pt x="11" y="208"/>
                  </a:lnTo>
                  <a:lnTo>
                    <a:pt x="13" y="212"/>
                  </a:lnTo>
                  <a:lnTo>
                    <a:pt x="15" y="214"/>
                  </a:lnTo>
                  <a:lnTo>
                    <a:pt x="21" y="215"/>
                  </a:lnTo>
                  <a:lnTo>
                    <a:pt x="22" y="215"/>
                  </a:lnTo>
                  <a:lnTo>
                    <a:pt x="28" y="235"/>
                  </a:lnTo>
                  <a:lnTo>
                    <a:pt x="29" y="235"/>
                  </a:lnTo>
                  <a:lnTo>
                    <a:pt x="29" y="235"/>
                  </a:lnTo>
                  <a:lnTo>
                    <a:pt x="35" y="234"/>
                  </a:lnTo>
                  <a:lnTo>
                    <a:pt x="37" y="235"/>
                  </a:lnTo>
                  <a:lnTo>
                    <a:pt x="38" y="234"/>
                  </a:lnTo>
                  <a:lnTo>
                    <a:pt x="40" y="233"/>
                  </a:lnTo>
                  <a:lnTo>
                    <a:pt x="44" y="233"/>
                  </a:lnTo>
                  <a:lnTo>
                    <a:pt x="44" y="230"/>
                  </a:lnTo>
                  <a:lnTo>
                    <a:pt x="45" y="230"/>
                  </a:lnTo>
                  <a:lnTo>
                    <a:pt x="45" y="230"/>
                  </a:lnTo>
                  <a:lnTo>
                    <a:pt x="47" y="230"/>
                  </a:lnTo>
                  <a:lnTo>
                    <a:pt x="47" y="230"/>
                  </a:lnTo>
                  <a:lnTo>
                    <a:pt x="48" y="231"/>
                  </a:lnTo>
                  <a:lnTo>
                    <a:pt x="48" y="231"/>
                  </a:lnTo>
                  <a:lnTo>
                    <a:pt x="51" y="234"/>
                  </a:lnTo>
                  <a:lnTo>
                    <a:pt x="51" y="233"/>
                  </a:lnTo>
                  <a:lnTo>
                    <a:pt x="53" y="233"/>
                  </a:lnTo>
                  <a:lnTo>
                    <a:pt x="56" y="231"/>
                  </a:lnTo>
                  <a:lnTo>
                    <a:pt x="58" y="230"/>
                  </a:lnTo>
                  <a:lnTo>
                    <a:pt x="64" y="227"/>
                  </a:lnTo>
                  <a:lnTo>
                    <a:pt x="67" y="228"/>
                  </a:lnTo>
                  <a:lnTo>
                    <a:pt x="70" y="227"/>
                  </a:lnTo>
                  <a:lnTo>
                    <a:pt x="76" y="227"/>
                  </a:lnTo>
                  <a:lnTo>
                    <a:pt x="76" y="227"/>
                  </a:lnTo>
                  <a:lnTo>
                    <a:pt x="76" y="225"/>
                  </a:lnTo>
                  <a:lnTo>
                    <a:pt x="77" y="224"/>
                  </a:lnTo>
                  <a:lnTo>
                    <a:pt x="79" y="224"/>
                  </a:lnTo>
                  <a:lnTo>
                    <a:pt x="79" y="222"/>
                  </a:lnTo>
                  <a:lnTo>
                    <a:pt x="80" y="221"/>
                  </a:lnTo>
                  <a:lnTo>
                    <a:pt x="82" y="219"/>
                  </a:lnTo>
                  <a:lnTo>
                    <a:pt x="82" y="219"/>
                  </a:lnTo>
                  <a:lnTo>
                    <a:pt x="82" y="217"/>
                  </a:lnTo>
                  <a:lnTo>
                    <a:pt x="80" y="215"/>
                  </a:lnTo>
                  <a:lnTo>
                    <a:pt x="80" y="215"/>
                  </a:lnTo>
                  <a:lnTo>
                    <a:pt x="80" y="214"/>
                  </a:lnTo>
                  <a:lnTo>
                    <a:pt x="98" y="211"/>
                  </a:lnTo>
                  <a:lnTo>
                    <a:pt x="99" y="211"/>
                  </a:lnTo>
                  <a:lnTo>
                    <a:pt x="102" y="209"/>
                  </a:lnTo>
                  <a:lnTo>
                    <a:pt x="103" y="208"/>
                  </a:lnTo>
                  <a:lnTo>
                    <a:pt x="108" y="206"/>
                  </a:lnTo>
                  <a:lnTo>
                    <a:pt x="109" y="205"/>
                  </a:lnTo>
                  <a:lnTo>
                    <a:pt x="111" y="202"/>
                  </a:lnTo>
                  <a:lnTo>
                    <a:pt x="115" y="199"/>
                  </a:lnTo>
                  <a:lnTo>
                    <a:pt x="115" y="198"/>
                  </a:lnTo>
                  <a:lnTo>
                    <a:pt x="117" y="198"/>
                  </a:lnTo>
                  <a:lnTo>
                    <a:pt x="118" y="195"/>
                  </a:lnTo>
                  <a:lnTo>
                    <a:pt x="119" y="195"/>
                  </a:lnTo>
                  <a:lnTo>
                    <a:pt x="119" y="190"/>
                  </a:lnTo>
                  <a:lnTo>
                    <a:pt x="121" y="187"/>
                  </a:lnTo>
                  <a:lnTo>
                    <a:pt x="122" y="186"/>
                  </a:lnTo>
                  <a:lnTo>
                    <a:pt x="135" y="183"/>
                  </a:lnTo>
                  <a:lnTo>
                    <a:pt x="135" y="177"/>
                  </a:lnTo>
                  <a:lnTo>
                    <a:pt x="134" y="177"/>
                  </a:lnTo>
                  <a:lnTo>
                    <a:pt x="132" y="176"/>
                  </a:lnTo>
                  <a:lnTo>
                    <a:pt x="132" y="176"/>
                  </a:lnTo>
                  <a:lnTo>
                    <a:pt x="128" y="163"/>
                  </a:lnTo>
                  <a:lnTo>
                    <a:pt x="128" y="158"/>
                  </a:lnTo>
                  <a:lnTo>
                    <a:pt x="122" y="160"/>
                  </a:lnTo>
                  <a:lnTo>
                    <a:pt x="122" y="160"/>
                  </a:lnTo>
                  <a:lnTo>
                    <a:pt x="122" y="154"/>
                  </a:lnTo>
                  <a:lnTo>
                    <a:pt x="125" y="150"/>
                  </a:lnTo>
                  <a:lnTo>
                    <a:pt x="125" y="142"/>
                  </a:lnTo>
                  <a:lnTo>
                    <a:pt x="125" y="141"/>
                  </a:lnTo>
                  <a:lnTo>
                    <a:pt x="128" y="141"/>
                  </a:lnTo>
                  <a:lnTo>
                    <a:pt x="128" y="140"/>
                  </a:lnTo>
                  <a:lnTo>
                    <a:pt x="128" y="138"/>
                  </a:lnTo>
                  <a:lnTo>
                    <a:pt x="128" y="134"/>
                  </a:lnTo>
                  <a:lnTo>
                    <a:pt x="137" y="121"/>
                  </a:lnTo>
                  <a:lnTo>
                    <a:pt x="137" y="116"/>
                  </a:lnTo>
                  <a:lnTo>
                    <a:pt x="138" y="116"/>
                  </a:lnTo>
                  <a:lnTo>
                    <a:pt x="153" y="115"/>
                  </a:lnTo>
                  <a:lnTo>
                    <a:pt x="153" y="60"/>
                  </a:lnTo>
                  <a:lnTo>
                    <a:pt x="150" y="60"/>
                  </a:lnTo>
                  <a:lnTo>
                    <a:pt x="38" y="0"/>
                  </a:lnTo>
                  <a:lnTo>
                    <a:pt x="24" y="6"/>
                  </a:lnTo>
                  <a:lnTo>
                    <a:pt x="24" y="28"/>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4" name="Freeform 220"/>
            <p:cNvSpPr>
              <a:spLocks/>
            </p:cNvSpPr>
            <p:nvPr/>
          </p:nvSpPr>
          <p:spPr bwMode="auto">
            <a:xfrm>
              <a:off x="6292773" y="2919679"/>
              <a:ext cx="140448" cy="244406"/>
            </a:xfrm>
            <a:custGeom>
              <a:avLst/>
              <a:gdLst/>
              <a:ahLst/>
              <a:cxnLst>
                <a:cxn ang="0">
                  <a:pos x="25" y="32"/>
                </a:cxn>
                <a:cxn ang="0">
                  <a:pos x="28" y="38"/>
                </a:cxn>
                <a:cxn ang="0">
                  <a:pos x="38" y="45"/>
                </a:cxn>
                <a:cxn ang="0">
                  <a:pos x="29" y="97"/>
                </a:cxn>
                <a:cxn ang="0">
                  <a:pos x="5" y="128"/>
                </a:cxn>
                <a:cxn ang="0">
                  <a:pos x="3" y="131"/>
                </a:cxn>
                <a:cxn ang="0">
                  <a:pos x="0" y="132"/>
                </a:cxn>
                <a:cxn ang="0">
                  <a:pos x="5" y="137"/>
                </a:cxn>
                <a:cxn ang="0">
                  <a:pos x="8" y="140"/>
                </a:cxn>
                <a:cxn ang="0">
                  <a:pos x="11" y="147"/>
                </a:cxn>
                <a:cxn ang="0">
                  <a:pos x="18" y="147"/>
                </a:cxn>
                <a:cxn ang="0">
                  <a:pos x="24" y="148"/>
                </a:cxn>
                <a:cxn ang="0">
                  <a:pos x="25" y="153"/>
                </a:cxn>
                <a:cxn ang="0">
                  <a:pos x="22" y="157"/>
                </a:cxn>
                <a:cxn ang="0">
                  <a:pos x="19" y="160"/>
                </a:cxn>
                <a:cxn ang="0">
                  <a:pos x="22" y="170"/>
                </a:cxn>
                <a:cxn ang="0">
                  <a:pos x="26" y="195"/>
                </a:cxn>
                <a:cxn ang="0">
                  <a:pos x="28" y="199"/>
                </a:cxn>
                <a:cxn ang="0">
                  <a:pos x="18" y="198"/>
                </a:cxn>
                <a:cxn ang="0">
                  <a:pos x="12" y="199"/>
                </a:cxn>
                <a:cxn ang="0">
                  <a:pos x="11" y="205"/>
                </a:cxn>
                <a:cxn ang="0">
                  <a:pos x="13" y="212"/>
                </a:cxn>
                <a:cxn ang="0">
                  <a:pos x="21" y="215"/>
                </a:cxn>
                <a:cxn ang="0">
                  <a:pos x="28" y="235"/>
                </a:cxn>
                <a:cxn ang="0">
                  <a:pos x="29" y="235"/>
                </a:cxn>
                <a:cxn ang="0">
                  <a:pos x="37" y="235"/>
                </a:cxn>
                <a:cxn ang="0">
                  <a:pos x="40" y="233"/>
                </a:cxn>
                <a:cxn ang="0">
                  <a:pos x="44" y="230"/>
                </a:cxn>
                <a:cxn ang="0">
                  <a:pos x="45" y="230"/>
                </a:cxn>
                <a:cxn ang="0">
                  <a:pos x="47" y="230"/>
                </a:cxn>
                <a:cxn ang="0">
                  <a:pos x="48" y="231"/>
                </a:cxn>
                <a:cxn ang="0">
                  <a:pos x="51" y="233"/>
                </a:cxn>
                <a:cxn ang="0">
                  <a:pos x="56" y="231"/>
                </a:cxn>
                <a:cxn ang="0">
                  <a:pos x="64" y="227"/>
                </a:cxn>
                <a:cxn ang="0">
                  <a:pos x="70" y="227"/>
                </a:cxn>
                <a:cxn ang="0">
                  <a:pos x="76" y="227"/>
                </a:cxn>
                <a:cxn ang="0">
                  <a:pos x="77" y="224"/>
                </a:cxn>
                <a:cxn ang="0">
                  <a:pos x="79" y="222"/>
                </a:cxn>
                <a:cxn ang="0">
                  <a:pos x="82" y="219"/>
                </a:cxn>
                <a:cxn ang="0">
                  <a:pos x="82" y="217"/>
                </a:cxn>
                <a:cxn ang="0">
                  <a:pos x="80" y="215"/>
                </a:cxn>
                <a:cxn ang="0">
                  <a:pos x="98" y="211"/>
                </a:cxn>
                <a:cxn ang="0">
                  <a:pos x="102" y="209"/>
                </a:cxn>
                <a:cxn ang="0">
                  <a:pos x="108" y="206"/>
                </a:cxn>
                <a:cxn ang="0">
                  <a:pos x="111" y="202"/>
                </a:cxn>
                <a:cxn ang="0">
                  <a:pos x="115" y="198"/>
                </a:cxn>
                <a:cxn ang="0">
                  <a:pos x="118" y="195"/>
                </a:cxn>
                <a:cxn ang="0">
                  <a:pos x="119" y="190"/>
                </a:cxn>
                <a:cxn ang="0">
                  <a:pos x="122" y="186"/>
                </a:cxn>
                <a:cxn ang="0">
                  <a:pos x="135" y="177"/>
                </a:cxn>
                <a:cxn ang="0">
                  <a:pos x="132" y="176"/>
                </a:cxn>
                <a:cxn ang="0">
                  <a:pos x="128" y="163"/>
                </a:cxn>
                <a:cxn ang="0">
                  <a:pos x="122" y="160"/>
                </a:cxn>
                <a:cxn ang="0">
                  <a:pos x="122" y="154"/>
                </a:cxn>
                <a:cxn ang="0">
                  <a:pos x="125" y="142"/>
                </a:cxn>
                <a:cxn ang="0">
                  <a:pos x="128" y="141"/>
                </a:cxn>
                <a:cxn ang="0">
                  <a:pos x="128" y="138"/>
                </a:cxn>
                <a:cxn ang="0">
                  <a:pos x="137" y="121"/>
                </a:cxn>
                <a:cxn ang="0">
                  <a:pos x="138" y="116"/>
                </a:cxn>
                <a:cxn ang="0">
                  <a:pos x="153" y="60"/>
                </a:cxn>
                <a:cxn ang="0">
                  <a:pos x="38" y="0"/>
                </a:cxn>
                <a:cxn ang="0">
                  <a:pos x="24" y="28"/>
                </a:cxn>
              </a:cxnLst>
              <a:rect l="0" t="0" r="r" b="b"/>
              <a:pathLst>
                <a:path w="153" h="235">
                  <a:moveTo>
                    <a:pt x="24" y="28"/>
                  </a:moveTo>
                  <a:lnTo>
                    <a:pt x="25" y="32"/>
                  </a:lnTo>
                  <a:lnTo>
                    <a:pt x="25" y="32"/>
                  </a:lnTo>
                  <a:lnTo>
                    <a:pt x="28" y="38"/>
                  </a:lnTo>
                  <a:lnTo>
                    <a:pt x="31" y="41"/>
                  </a:lnTo>
                  <a:lnTo>
                    <a:pt x="38" y="45"/>
                  </a:lnTo>
                  <a:lnTo>
                    <a:pt x="34" y="51"/>
                  </a:lnTo>
                  <a:lnTo>
                    <a:pt x="29" y="97"/>
                  </a:lnTo>
                  <a:lnTo>
                    <a:pt x="5" y="125"/>
                  </a:lnTo>
                  <a:lnTo>
                    <a:pt x="5" y="128"/>
                  </a:lnTo>
                  <a:lnTo>
                    <a:pt x="3" y="128"/>
                  </a:lnTo>
                  <a:lnTo>
                    <a:pt x="3" y="131"/>
                  </a:lnTo>
                  <a:lnTo>
                    <a:pt x="2" y="131"/>
                  </a:lnTo>
                  <a:lnTo>
                    <a:pt x="0" y="132"/>
                  </a:lnTo>
                  <a:lnTo>
                    <a:pt x="0" y="135"/>
                  </a:lnTo>
                  <a:lnTo>
                    <a:pt x="5" y="137"/>
                  </a:lnTo>
                  <a:lnTo>
                    <a:pt x="6" y="138"/>
                  </a:lnTo>
                  <a:lnTo>
                    <a:pt x="8" y="140"/>
                  </a:lnTo>
                  <a:lnTo>
                    <a:pt x="9" y="141"/>
                  </a:lnTo>
                  <a:lnTo>
                    <a:pt x="11" y="147"/>
                  </a:lnTo>
                  <a:lnTo>
                    <a:pt x="15" y="148"/>
                  </a:lnTo>
                  <a:lnTo>
                    <a:pt x="18" y="147"/>
                  </a:lnTo>
                  <a:lnTo>
                    <a:pt x="22" y="148"/>
                  </a:lnTo>
                  <a:lnTo>
                    <a:pt x="24" y="148"/>
                  </a:lnTo>
                  <a:lnTo>
                    <a:pt x="25" y="151"/>
                  </a:lnTo>
                  <a:lnTo>
                    <a:pt x="25" y="153"/>
                  </a:lnTo>
                  <a:lnTo>
                    <a:pt x="25" y="156"/>
                  </a:lnTo>
                  <a:lnTo>
                    <a:pt x="22" y="157"/>
                  </a:lnTo>
                  <a:lnTo>
                    <a:pt x="18" y="158"/>
                  </a:lnTo>
                  <a:lnTo>
                    <a:pt x="19" y="160"/>
                  </a:lnTo>
                  <a:lnTo>
                    <a:pt x="21" y="167"/>
                  </a:lnTo>
                  <a:lnTo>
                    <a:pt x="22" y="170"/>
                  </a:lnTo>
                  <a:lnTo>
                    <a:pt x="21" y="185"/>
                  </a:lnTo>
                  <a:lnTo>
                    <a:pt x="26" y="195"/>
                  </a:lnTo>
                  <a:lnTo>
                    <a:pt x="28" y="199"/>
                  </a:lnTo>
                  <a:lnTo>
                    <a:pt x="28" y="199"/>
                  </a:lnTo>
                  <a:lnTo>
                    <a:pt x="26" y="199"/>
                  </a:lnTo>
                  <a:lnTo>
                    <a:pt x="18" y="198"/>
                  </a:lnTo>
                  <a:lnTo>
                    <a:pt x="13" y="199"/>
                  </a:lnTo>
                  <a:lnTo>
                    <a:pt x="12" y="199"/>
                  </a:lnTo>
                  <a:lnTo>
                    <a:pt x="11" y="201"/>
                  </a:lnTo>
                  <a:lnTo>
                    <a:pt x="11" y="205"/>
                  </a:lnTo>
                  <a:lnTo>
                    <a:pt x="11" y="208"/>
                  </a:lnTo>
                  <a:lnTo>
                    <a:pt x="13" y="212"/>
                  </a:lnTo>
                  <a:lnTo>
                    <a:pt x="15" y="214"/>
                  </a:lnTo>
                  <a:lnTo>
                    <a:pt x="21" y="215"/>
                  </a:lnTo>
                  <a:lnTo>
                    <a:pt x="22" y="215"/>
                  </a:lnTo>
                  <a:lnTo>
                    <a:pt x="28" y="235"/>
                  </a:lnTo>
                  <a:lnTo>
                    <a:pt x="29" y="235"/>
                  </a:lnTo>
                  <a:lnTo>
                    <a:pt x="29" y="235"/>
                  </a:lnTo>
                  <a:lnTo>
                    <a:pt x="35" y="234"/>
                  </a:lnTo>
                  <a:lnTo>
                    <a:pt x="37" y="235"/>
                  </a:lnTo>
                  <a:lnTo>
                    <a:pt x="38" y="234"/>
                  </a:lnTo>
                  <a:lnTo>
                    <a:pt x="40" y="233"/>
                  </a:lnTo>
                  <a:lnTo>
                    <a:pt x="44" y="233"/>
                  </a:lnTo>
                  <a:lnTo>
                    <a:pt x="44" y="230"/>
                  </a:lnTo>
                  <a:lnTo>
                    <a:pt x="45" y="230"/>
                  </a:lnTo>
                  <a:lnTo>
                    <a:pt x="45" y="230"/>
                  </a:lnTo>
                  <a:lnTo>
                    <a:pt x="47" y="230"/>
                  </a:lnTo>
                  <a:lnTo>
                    <a:pt x="47" y="230"/>
                  </a:lnTo>
                  <a:lnTo>
                    <a:pt x="48" y="231"/>
                  </a:lnTo>
                  <a:lnTo>
                    <a:pt x="48" y="231"/>
                  </a:lnTo>
                  <a:lnTo>
                    <a:pt x="51" y="234"/>
                  </a:lnTo>
                  <a:lnTo>
                    <a:pt x="51" y="233"/>
                  </a:lnTo>
                  <a:lnTo>
                    <a:pt x="53" y="233"/>
                  </a:lnTo>
                  <a:lnTo>
                    <a:pt x="56" y="231"/>
                  </a:lnTo>
                  <a:lnTo>
                    <a:pt x="58" y="230"/>
                  </a:lnTo>
                  <a:lnTo>
                    <a:pt x="64" y="227"/>
                  </a:lnTo>
                  <a:lnTo>
                    <a:pt x="67" y="228"/>
                  </a:lnTo>
                  <a:lnTo>
                    <a:pt x="70" y="227"/>
                  </a:lnTo>
                  <a:lnTo>
                    <a:pt x="76" y="227"/>
                  </a:lnTo>
                  <a:lnTo>
                    <a:pt x="76" y="227"/>
                  </a:lnTo>
                  <a:lnTo>
                    <a:pt x="76" y="225"/>
                  </a:lnTo>
                  <a:lnTo>
                    <a:pt x="77" y="224"/>
                  </a:lnTo>
                  <a:lnTo>
                    <a:pt x="79" y="224"/>
                  </a:lnTo>
                  <a:lnTo>
                    <a:pt x="79" y="222"/>
                  </a:lnTo>
                  <a:lnTo>
                    <a:pt x="80" y="221"/>
                  </a:lnTo>
                  <a:lnTo>
                    <a:pt x="82" y="219"/>
                  </a:lnTo>
                  <a:lnTo>
                    <a:pt x="82" y="219"/>
                  </a:lnTo>
                  <a:lnTo>
                    <a:pt x="82" y="217"/>
                  </a:lnTo>
                  <a:lnTo>
                    <a:pt x="80" y="215"/>
                  </a:lnTo>
                  <a:lnTo>
                    <a:pt x="80" y="215"/>
                  </a:lnTo>
                  <a:lnTo>
                    <a:pt x="80" y="214"/>
                  </a:lnTo>
                  <a:lnTo>
                    <a:pt x="98" y="211"/>
                  </a:lnTo>
                  <a:lnTo>
                    <a:pt x="99" y="211"/>
                  </a:lnTo>
                  <a:lnTo>
                    <a:pt x="102" y="209"/>
                  </a:lnTo>
                  <a:lnTo>
                    <a:pt x="103" y="208"/>
                  </a:lnTo>
                  <a:lnTo>
                    <a:pt x="108" y="206"/>
                  </a:lnTo>
                  <a:lnTo>
                    <a:pt x="109" y="205"/>
                  </a:lnTo>
                  <a:lnTo>
                    <a:pt x="111" y="202"/>
                  </a:lnTo>
                  <a:lnTo>
                    <a:pt x="115" y="199"/>
                  </a:lnTo>
                  <a:lnTo>
                    <a:pt x="115" y="198"/>
                  </a:lnTo>
                  <a:lnTo>
                    <a:pt x="117" y="198"/>
                  </a:lnTo>
                  <a:lnTo>
                    <a:pt x="118" y="195"/>
                  </a:lnTo>
                  <a:lnTo>
                    <a:pt x="119" y="195"/>
                  </a:lnTo>
                  <a:lnTo>
                    <a:pt x="119" y="190"/>
                  </a:lnTo>
                  <a:lnTo>
                    <a:pt x="121" y="187"/>
                  </a:lnTo>
                  <a:lnTo>
                    <a:pt x="122" y="186"/>
                  </a:lnTo>
                  <a:lnTo>
                    <a:pt x="135" y="183"/>
                  </a:lnTo>
                  <a:lnTo>
                    <a:pt x="135" y="177"/>
                  </a:lnTo>
                  <a:lnTo>
                    <a:pt x="134" y="177"/>
                  </a:lnTo>
                  <a:lnTo>
                    <a:pt x="132" y="176"/>
                  </a:lnTo>
                  <a:lnTo>
                    <a:pt x="132" y="176"/>
                  </a:lnTo>
                  <a:lnTo>
                    <a:pt x="128" y="163"/>
                  </a:lnTo>
                  <a:lnTo>
                    <a:pt x="128" y="158"/>
                  </a:lnTo>
                  <a:lnTo>
                    <a:pt x="122" y="160"/>
                  </a:lnTo>
                  <a:lnTo>
                    <a:pt x="122" y="160"/>
                  </a:lnTo>
                  <a:lnTo>
                    <a:pt x="122" y="154"/>
                  </a:lnTo>
                  <a:lnTo>
                    <a:pt x="125" y="150"/>
                  </a:lnTo>
                  <a:lnTo>
                    <a:pt x="125" y="142"/>
                  </a:lnTo>
                  <a:lnTo>
                    <a:pt x="125" y="141"/>
                  </a:lnTo>
                  <a:lnTo>
                    <a:pt x="128" y="141"/>
                  </a:lnTo>
                  <a:lnTo>
                    <a:pt x="128" y="140"/>
                  </a:lnTo>
                  <a:lnTo>
                    <a:pt x="128" y="138"/>
                  </a:lnTo>
                  <a:lnTo>
                    <a:pt x="128" y="134"/>
                  </a:lnTo>
                  <a:lnTo>
                    <a:pt x="137" y="121"/>
                  </a:lnTo>
                  <a:lnTo>
                    <a:pt x="137" y="116"/>
                  </a:lnTo>
                  <a:lnTo>
                    <a:pt x="138" y="116"/>
                  </a:lnTo>
                  <a:lnTo>
                    <a:pt x="153" y="115"/>
                  </a:lnTo>
                  <a:lnTo>
                    <a:pt x="153" y="60"/>
                  </a:lnTo>
                  <a:lnTo>
                    <a:pt x="150" y="60"/>
                  </a:lnTo>
                  <a:lnTo>
                    <a:pt x="38" y="0"/>
                  </a:lnTo>
                  <a:lnTo>
                    <a:pt x="24" y="6"/>
                  </a:lnTo>
                  <a:lnTo>
                    <a:pt x="24" y="28"/>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5" name="Freeform 221"/>
            <p:cNvSpPr>
              <a:spLocks/>
            </p:cNvSpPr>
            <p:nvPr/>
          </p:nvSpPr>
          <p:spPr bwMode="auto">
            <a:xfrm>
              <a:off x="4976073" y="3051517"/>
              <a:ext cx="56179" cy="62876"/>
            </a:xfrm>
            <a:custGeom>
              <a:avLst/>
              <a:gdLst/>
              <a:ahLst/>
              <a:cxnLst>
                <a:cxn ang="0">
                  <a:pos x="61" y="0"/>
                </a:cxn>
                <a:cxn ang="0">
                  <a:pos x="58" y="0"/>
                </a:cxn>
                <a:cxn ang="0">
                  <a:pos x="54" y="2"/>
                </a:cxn>
                <a:cxn ang="0">
                  <a:pos x="54" y="3"/>
                </a:cxn>
                <a:cxn ang="0">
                  <a:pos x="51" y="3"/>
                </a:cxn>
                <a:cxn ang="0">
                  <a:pos x="50" y="3"/>
                </a:cxn>
                <a:cxn ang="0">
                  <a:pos x="47" y="5"/>
                </a:cxn>
                <a:cxn ang="0">
                  <a:pos x="43" y="5"/>
                </a:cxn>
                <a:cxn ang="0">
                  <a:pos x="43" y="5"/>
                </a:cxn>
                <a:cxn ang="0">
                  <a:pos x="41" y="3"/>
                </a:cxn>
                <a:cxn ang="0">
                  <a:pos x="40" y="3"/>
                </a:cxn>
                <a:cxn ang="0">
                  <a:pos x="40" y="3"/>
                </a:cxn>
                <a:cxn ang="0">
                  <a:pos x="38" y="5"/>
                </a:cxn>
                <a:cxn ang="0">
                  <a:pos x="38" y="5"/>
                </a:cxn>
                <a:cxn ang="0">
                  <a:pos x="37" y="6"/>
                </a:cxn>
                <a:cxn ang="0">
                  <a:pos x="35" y="11"/>
                </a:cxn>
                <a:cxn ang="0">
                  <a:pos x="35" y="11"/>
                </a:cxn>
                <a:cxn ang="0">
                  <a:pos x="32" y="11"/>
                </a:cxn>
                <a:cxn ang="0">
                  <a:pos x="31" y="12"/>
                </a:cxn>
                <a:cxn ang="0">
                  <a:pos x="31" y="14"/>
                </a:cxn>
                <a:cxn ang="0">
                  <a:pos x="29" y="14"/>
                </a:cxn>
                <a:cxn ang="0">
                  <a:pos x="29" y="15"/>
                </a:cxn>
                <a:cxn ang="0">
                  <a:pos x="27" y="15"/>
                </a:cxn>
                <a:cxn ang="0">
                  <a:pos x="27" y="16"/>
                </a:cxn>
                <a:cxn ang="0">
                  <a:pos x="27" y="16"/>
                </a:cxn>
                <a:cxn ang="0">
                  <a:pos x="25" y="16"/>
                </a:cxn>
                <a:cxn ang="0">
                  <a:pos x="22" y="15"/>
                </a:cxn>
                <a:cxn ang="0">
                  <a:pos x="21" y="14"/>
                </a:cxn>
                <a:cxn ang="0">
                  <a:pos x="18" y="19"/>
                </a:cxn>
                <a:cxn ang="0">
                  <a:pos x="12" y="19"/>
                </a:cxn>
                <a:cxn ang="0">
                  <a:pos x="12" y="21"/>
                </a:cxn>
                <a:cxn ang="0">
                  <a:pos x="12" y="25"/>
                </a:cxn>
                <a:cxn ang="0">
                  <a:pos x="11" y="25"/>
                </a:cxn>
                <a:cxn ang="0">
                  <a:pos x="9" y="27"/>
                </a:cxn>
                <a:cxn ang="0">
                  <a:pos x="9" y="28"/>
                </a:cxn>
                <a:cxn ang="0">
                  <a:pos x="8" y="30"/>
                </a:cxn>
                <a:cxn ang="0">
                  <a:pos x="0" y="30"/>
                </a:cxn>
                <a:cxn ang="0">
                  <a:pos x="0" y="31"/>
                </a:cxn>
                <a:cxn ang="0">
                  <a:pos x="25" y="56"/>
                </a:cxn>
                <a:cxn ang="0">
                  <a:pos x="25" y="57"/>
                </a:cxn>
                <a:cxn ang="0">
                  <a:pos x="27" y="57"/>
                </a:cxn>
                <a:cxn ang="0">
                  <a:pos x="27" y="57"/>
                </a:cxn>
                <a:cxn ang="0">
                  <a:pos x="28" y="56"/>
                </a:cxn>
                <a:cxn ang="0">
                  <a:pos x="29" y="56"/>
                </a:cxn>
                <a:cxn ang="0">
                  <a:pos x="38" y="59"/>
                </a:cxn>
                <a:cxn ang="0">
                  <a:pos x="43" y="59"/>
                </a:cxn>
                <a:cxn ang="0">
                  <a:pos x="50" y="61"/>
                </a:cxn>
                <a:cxn ang="0">
                  <a:pos x="56" y="60"/>
                </a:cxn>
                <a:cxn ang="0">
                  <a:pos x="56" y="59"/>
                </a:cxn>
                <a:cxn ang="0">
                  <a:pos x="54" y="56"/>
                </a:cxn>
                <a:cxn ang="0">
                  <a:pos x="53" y="51"/>
                </a:cxn>
                <a:cxn ang="0">
                  <a:pos x="54" y="50"/>
                </a:cxn>
                <a:cxn ang="0">
                  <a:pos x="61" y="0"/>
                </a:cxn>
              </a:cxnLst>
              <a:rect l="0" t="0" r="r" b="b"/>
              <a:pathLst>
                <a:path w="61" h="61">
                  <a:moveTo>
                    <a:pt x="61" y="0"/>
                  </a:moveTo>
                  <a:lnTo>
                    <a:pt x="58" y="0"/>
                  </a:lnTo>
                  <a:lnTo>
                    <a:pt x="54" y="2"/>
                  </a:lnTo>
                  <a:lnTo>
                    <a:pt x="54" y="3"/>
                  </a:lnTo>
                  <a:lnTo>
                    <a:pt x="51" y="3"/>
                  </a:lnTo>
                  <a:lnTo>
                    <a:pt x="50" y="3"/>
                  </a:lnTo>
                  <a:lnTo>
                    <a:pt x="47" y="5"/>
                  </a:lnTo>
                  <a:lnTo>
                    <a:pt x="43" y="5"/>
                  </a:lnTo>
                  <a:lnTo>
                    <a:pt x="43" y="5"/>
                  </a:lnTo>
                  <a:lnTo>
                    <a:pt x="41" y="3"/>
                  </a:lnTo>
                  <a:lnTo>
                    <a:pt x="40" y="3"/>
                  </a:lnTo>
                  <a:lnTo>
                    <a:pt x="40" y="3"/>
                  </a:lnTo>
                  <a:lnTo>
                    <a:pt x="38" y="5"/>
                  </a:lnTo>
                  <a:lnTo>
                    <a:pt x="38" y="5"/>
                  </a:lnTo>
                  <a:lnTo>
                    <a:pt x="37" y="6"/>
                  </a:lnTo>
                  <a:lnTo>
                    <a:pt x="35" y="11"/>
                  </a:lnTo>
                  <a:lnTo>
                    <a:pt x="35" y="11"/>
                  </a:lnTo>
                  <a:lnTo>
                    <a:pt x="32" y="11"/>
                  </a:lnTo>
                  <a:lnTo>
                    <a:pt x="31" y="12"/>
                  </a:lnTo>
                  <a:lnTo>
                    <a:pt x="31" y="14"/>
                  </a:lnTo>
                  <a:lnTo>
                    <a:pt x="29" y="14"/>
                  </a:lnTo>
                  <a:lnTo>
                    <a:pt x="29" y="15"/>
                  </a:lnTo>
                  <a:lnTo>
                    <a:pt x="27" y="15"/>
                  </a:lnTo>
                  <a:lnTo>
                    <a:pt x="27" y="16"/>
                  </a:lnTo>
                  <a:lnTo>
                    <a:pt x="27" y="16"/>
                  </a:lnTo>
                  <a:lnTo>
                    <a:pt x="25" y="16"/>
                  </a:lnTo>
                  <a:lnTo>
                    <a:pt x="22" y="15"/>
                  </a:lnTo>
                  <a:lnTo>
                    <a:pt x="21" y="14"/>
                  </a:lnTo>
                  <a:lnTo>
                    <a:pt x="18" y="19"/>
                  </a:lnTo>
                  <a:lnTo>
                    <a:pt x="12" y="19"/>
                  </a:lnTo>
                  <a:lnTo>
                    <a:pt x="12" y="21"/>
                  </a:lnTo>
                  <a:lnTo>
                    <a:pt x="12" y="25"/>
                  </a:lnTo>
                  <a:lnTo>
                    <a:pt x="11" y="25"/>
                  </a:lnTo>
                  <a:lnTo>
                    <a:pt x="9" y="27"/>
                  </a:lnTo>
                  <a:lnTo>
                    <a:pt x="9" y="28"/>
                  </a:lnTo>
                  <a:lnTo>
                    <a:pt x="8" y="30"/>
                  </a:lnTo>
                  <a:lnTo>
                    <a:pt x="0" y="30"/>
                  </a:lnTo>
                  <a:lnTo>
                    <a:pt x="0" y="31"/>
                  </a:lnTo>
                  <a:lnTo>
                    <a:pt x="25" y="56"/>
                  </a:lnTo>
                  <a:lnTo>
                    <a:pt x="25" y="57"/>
                  </a:lnTo>
                  <a:lnTo>
                    <a:pt x="27" y="57"/>
                  </a:lnTo>
                  <a:lnTo>
                    <a:pt x="27" y="57"/>
                  </a:lnTo>
                  <a:lnTo>
                    <a:pt x="28" y="56"/>
                  </a:lnTo>
                  <a:lnTo>
                    <a:pt x="29" y="56"/>
                  </a:lnTo>
                  <a:lnTo>
                    <a:pt x="38" y="59"/>
                  </a:lnTo>
                  <a:lnTo>
                    <a:pt x="43" y="59"/>
                  </a:lnTo>
                  <a:lnTo>
                    <a:pt x="50" y="61"/>
                  </a:lnTo>
                  <a:lnTo>
                    <a:pt x="56" y="60"/>
                  </a:lnTo>
                  <a:lnTo>
                    <a:pt x="56" y="59"/>
                  </a:lnTo>
                  <a:lnTo>
                    <a:pt x="54" y="56"/>
                  </a:lnTo>
                  <a:lnTo>
                    <a:pt x="53" y="51"/>
                  </a:lnTo>
                  <a:lnTo>
                    <a:pt x="54" y="50"/>
                  </a:lnTo>
                  <a:lnTo>
                    <a:pt x="6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6" name="Freeform 222"/>
            <p:cNvSpPr>
              <a:spLocks/>
            </p:cNvSpPr>
            <p:nvPr/>
          </p:nvSpPr>
          <p:spPr bwMode="auto">
            <a:xfrm>
              <a:off x="4976073" y="3051517"/>
              <a:ext cx="56179" cy="62876"/>
            </a:xfrm>
            <a:custGeom>
              <a:avLst/>
              <a:gdLst/>
              <a:ahLst/>
              <a:cxnLst>
                <a:cxn ang="0">
                  <a:pos x="61" y="0"/>
                </a:cxn>
                <a:cxn ang="0">
                  <a:pos x="58" y="0"/>
                </a:cxn>
                <a:cxn ang="0">
                  <a:pos x="54" y="2"/>
                </a:cxn>
                <a:cxn ang="0">
                  <a:pos x="54" y="3"/>
                </a:cxn>
                <a:cxn ang="0">
                  <a:pos x="51" y="3"/>
                </a:cxn>
                <a:cxn ang="0">
                  <a:pos x="50" y="3"/>
                </a:cxn>
                <a:cxn ang="0">
                  <a:pos x="47" y="5"/>
                </a:cxn>
                <a:cxn ang="0">
                  <a:pos x="43" y="5"/>
                </a:cxn>
                <a:cxn ang="0">
                  <a:pos x="43" y="5"/>
                </a:cxn>
                <a:cxn ang="0">
                  <a:pos x="41" y="3"/>
                </a:cxn>
                <a:cxn ang="0">
                  <a:pos x="40" y="3"/>
                </a:cxn>
                <a:cxn ang="0">
                  <a:pos x="40" y="3"/>
                </a:cxn>
                <a:cxn ang="0">
                  <a:pos x="38" y="5"/>
                </a:cxn>
                <a:cxn ang="0">
                  <a:pos x="38" y="5"/>
                </a:cxn>
                <a:cxn ang="0">
                  <a:pos x="37" y="6"/>
                </a:cxn>
                <a:cxn ang="0">
                  <a:pos x="35" y="11"/>
                </a:cxn>
                <a:cxn ang="0">
                  <a:pos x="35" y="11"/>
                </a:cxn>
                <a:cxn ang="0">
                  <a:pos x="32" y="11"/>
                </a:cxn>
                <a:cxn ang="0">
                  <a:pos x="31" y="12"/>
                </a:cxn>
                <a:cxn ang="0">
                  <a:pos x="31" y="14"/>
                </a:cxn>
                <a:cxn ang="0">
                  <a:pos x="29" y="14"/>
                </a:cxn>
                <a:cxn ang="0">
                  <a:pos x="29" y="15"/>
                </a:cxn>
                <a:cxn ang="0">
                  <a:pos x="27" y="15"/>
                </a:cxn>
                <a:cxn ang="0">
                  <a:pos x="27" y="16"/>
                </a:cxn>
                <a:cxn ang="0">
                  <a:pos x="27" y="16"/>
                </a:cxn>
                <a:cxn ang="0">
                  <a:pos x="25" y="16"/>
                </a:cxn>
                <a:cxn ang="0">
                  <a:pos x="22" y="15"/>
                </a:cxn>
                <a:cxn ang="0">
                  <a:pos x="21" y="14"/>
                </a:cxn>
                <a:cxn ang="0">
                  <a:pos x="18" y="19"/>
                </a:cxn>
                <a:cxn ang="0">
                  <a:pos x="12" y="19"/>
                </a:cxn>
                <a:cxn ang="0">
                  <a:pos x="12" y="21"/>
                </a:cxn>
                <a:cxn ang="0">
                  <a:pos x="12" y="25"/>
                </a:cxn>
                <a:cxn ang="0">
                  <a:pos x="11" y="25"/>
                </a:cxn>
                <a:cxn ang="0">
                  <a:pos x="9" y="27"/>
                </a:cxn>
                <a:cxn ang="0">
                  <a:pos x="9" y="28"/>
                </a:cxn>
                <a:cxn ang="0">
                  <a:pos x="8" y="30"/>
                </a:cxn>
                <a:cxn ang="0">
                  <a:pos x="0" y="30"/>
                </a:cxn>
                <a:cxn ang="0">
                  <a:pos x="0" y="31"/>
                </a:cxn>
                <a:cxn ang="0">
                  <a:pos x="25" y="56"/>
                </a:cxn>
                <a:cxn ang="0">
                  <a:pos x="25" y="57"/>
                </a:cxn>
                <a:cxn ang="0">
                  <a:pos x="27" y="57"/>
                </a:cxn>
                <a:cxn ang="0">
                  <a:pos x="27" y="57"/>
                </a:cxn>
                <a:cxn ang="0">
                  <a:pos x="28" y="56"/>
                </a:cxn>
                <a:cxn ang="0">
                  <a:pos x="29" y="56"/>
                </a:cxn>
                <a:cxn ang="0">
                  <a:pos x="38" y="59"/>
                </a:cxn>
                <a:cxn ang="0">
                  <a:pos x="43" y="59"/>
                </a:cxn>
                <a:cxn ang="0">
                  <a:pos x="50" y="61"/>
                </a:cxn>
                <a:cxn ang="0">
                  <a:pos x="56" y="60"/>
                </a:cxn>
                <a:cxn ang="0">
                  <a:pos x="56" y="59"/>
                </a:cxn>
                <a:cxn ang="0">
                  <a:pos x="54" y="56"/>
                </a:cxn>
                <a:cxn ang="0">
                  <a:pos x="53" y="51"/>
                </a:cxn>
                <a:cxn ang="0">
                  <a:pos x="54" y="50"/>
                </a:cxn>
                <a:cxn ang="0">
                  <a:pos x="61" y="0"/>
                </a:cxn>
              </a:cxnLst>
              <a:rect l="0" t="0" r="r" b="b"/>
              <a:pathLst>
                <a:path w="61" h="61">
                  <a:moveTo>
                    <a:pt x="61" y="0"/>
                  </a:moveTo>
                  <a:lnTo>
                    <a:pt x="58" y="0"/>
                  </a:lnTo>
                  <a:lnTo>
                    <a:pt x="54" y="2"/>
                  </a:lnTo>
                  <a:lnTo>
                    <a:pt x="54" y="3"/>
                  </a:lnTo>
                  <a:lnTo>
                    <a:pt x="51" y="3"/>
                  </a:lnTo>
                  <a:lnTo>
                    <a:pt x="50" y="3"/>
                  </a:lnTo>
                  <a:lnTo>
                    <a:pt x="47" y="5"/>
                  </a:lnTo>
                  <a:lnTo>
                    <a:pt x="43" y="5"/>
                  </a:lnTo>
                  <a:lnTo>
                    <a:pt x="43" y="5"/>
                  </a:lnTo>
                  <a:lnTo>
                    <a:pt x="41" y="3"/>
                  </a:lnTo>
                  <a:lnTo>
                    <a:pt x="40" y="3"/>
                  </a:lnTo>
                  <a:lnTo>
                    <a:pt x="40" y="3"/>
                  </a:lnTo>
                  <a:lnTo>
                    <a:pt x="38" y="5"/>
                  </a:lnTo>
                  <a:lnTo>
                    <a:pt x="38" y="5"/>
                  </a:lnTo>
                  <a:lnTo>
                    <a:pt x="37" y="6"/>
                  </a:lnTo>
                  <a:lnTo>
                    <a:pt x="35" y="11"/>
                  </a:lnTo>
                  <a:lnTo>
                    <a:pt x="35" y="11"/>
                  </a:lnTo>
                  <a:lnTo>
                    <a:pt x="32" y="11"/>
                  </a:lnTo>
                  <a:lnTo>
                    <a:pt x="31" y="12"/>
                  </a:lnTo>
                  <a:lnTo>
                    <a:pt x="31" y="14"/>
                  </a:lnTo>
                  <a:lnTo>
                    <a:pt x="29" y="14"/>
                  </a:lnTo>
                  <a:lnTo>
                    <a:pt x="29" y="15"/>
                  </a:lnTo>
                  <a:lnTo>
                    <a:pt x="27" y="15"/>
                  </a:lnTo>
                  <a:lnTo>
                    <a:pt x="27" y="16"/>
                  </a:lnTo>
                  <a:lnTo>
                    <a:pt x="27" y="16"/>
                  </a:lnTo>
                  <a:lnTo>
                    <a:pt x="25" y="16"/>
                  </a:lnTo>
                  <a:lnTo>
                    <a:pt x="22" y="15"/>
                  </a:lnTo>
                  <a:lnTo>
                    <a:pt x="21" y="14"/>
                  </a:lnTo>
                  <a:lnTo>
                    <a:pt x="18" y="19"/>
                  </a:lnTo>
                  <a:lnTo>
                    <a:pt x="12" y="19"/>
                  </a:lnTo>
                  <a:lnTo>
                    <a:pt x="12" y="21"/>
                  </a:lnTo>
                  <a:lnTo>
                    <a:pt x="12" y="25"/>
                  </a:lnTo>
                  <a:lnTo>
                    <a:pt x="11" y="25"/>
                  </a:lnTo>
                  <a:lnTo>
                    <a:pt x="9" y="27"/>
                  </a:lnTo>
                  <a:lnTo>
                    <a:pt x="9" y="28"/>
                  </a:lnTo>
                  <a:lnTo>
                    <a:pt x="8" y="30"/>
                  </a:lnTo>
                  <a:lnTo>
                    <a:pt x="0" y="30"/>
                  </a:lnTo>
                  <a:lnTo>
                    <a:pt x="0" y="31"/>
                  </a:lnTo>
                  <a:lnTo>
                    <a:pt x="25" y="56"/>
                  </a:lnTo>
                  <a:lnTo>
                    <a:pt x="25" y="57"/>
                  </a:lnTo>
                  <a:lnTo>
                    <a:pt x="27" y="57"/>
                  </a:lnTo>
                  <a:lnTo>
                    <a:pt x="27" y="57"/>
                  </a:lnTo>
                  <a:lnTo>
                    <a:pt x="28" y="56"/>
                  </a:lnTo>
                  <a:lnTo>
                    <a:pt x="29" y="56"/>
                  </a:lnTo>
                  <a:lnTo>
                    <a:pt x="38" y="59"/>
                  </a:lnTo>
                  <a:lnTo>
                    <a:pt x="43" y="59"/>
                  </a:lnTo>
                  <a:lnTo>
                    <a:pt x="50" y="61"/>
                  </a:lnTo>
                  <a:lnTo>
                    <a:pt x="56" y="60"/>
                  </a:lnTo>
                  <a:lnTo>
                    <a:pt x="56" y="59"/>
                  </a:lnTo>
                  <a:lnTo>
                    <a:pt x="54" y="56"/>
                  </a:lnTo>
                  <a:lnTo>
                    <a:pt x="53" y="51"/>
                  </a:lnTo>
                  <a:lnTo>
                    <a:pt x="54" y="50"/>
                  </a:lnTo>
                  <a:lnTo>
                    <a:pt x="6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7" name="Freeform 223"/>
            <p:cNvSpPr>
              <a:spLocks/>
            </p:cNvSpPr>
            <p:nvPr/>
          </p:nvSpPr>
          <p:spPr bwMode="auto">
            <a:xfrm>
              <a:off x="5036641" y="3133661"/>
              <a:ext cx="73736" cy="34481"/>
            </a:xfrm>
            <a:custGeom>
              <a:avLst/>
              <a:gdLst/>
              <a:ahLst/>
              <a:cxnLst>
                <a:cxn ang="0">
                  <a:pos x="6" y="0"/>
                </a:cxn>
                <a:cxn ang="0">
                  <a:pos x="4" y="0"/>
                </a:cxn>
                <a:cxn ang="0">
                  <a:pos x="1" y="1"/>
                </a:cxn>
                <a:cxn ang="0">
                  <a:pos x="3" y="6"/>
                </a:cxn>
                <a:cxn ang="0">
                  <a:pos x="3" y="9"/>
                </a:cxn>
                <a:cxn ang="0">
                  <a:pos x="1" y="10"/>
                </a:cxn>
                <a:cxn ang="0">
                  <a:pos x="0" y="17"/>
                </a:cxn>
                <a:cxn ang="0">
                  <a:pos x="1" y="20"/>
                </a:cxn>
                <a:cxn ang="0">
                  <a:pos x="1" y="19"/>
                </a:cxn>
                <a:cxn ang="0">
                  <a:pos x="10" y="19"/>
                </a:cxn>
                <a:cxn ang="0">
                  <a:pos x="17" y="20"/>
                </a:cxn>
                <a:cxn ang="0">
                  <a:pos x="23" y="28"/>
                </a:cxn>
                <a:cxn ang="0">
                  <a:pos x="26" y="26"/>
                </a:cxn>
                <a:cxn ang="0">
                  <a:pos x="30" y="33"/>
                </a:cxn>
                <a:cxn ang="0">
                  <a:pos x="40" y="29"/>
                </a:cxn>
                <a:cxn ang="0">
                  <a:pos x="36" y="23"/>
                </a:cxn>
                <a:cxn ang="0">
                  <a:pos x="35" y="22"/>
                </a:cxn>
                <a:cxn ang="0">
                  <a:pos x="40" y="17"/>
                </a:cxn>
                <a:cxn ang="0">
                  <a:pos x="45" y="14"/>
                </a:cxn>
                <a:cxn ang="0">
                  <a:pos x="49" y="9"/>
                </a:cxn>
                <a:cxn ang="0">
                  <a:pos x="53" y="9"/>
                </a:cxn>
                <a:cxn ang="0">
                  <a:pos x="65" y="16"/>
                </a:cxn>
                <a:cxn ang="0">
                  <a:pos x="68" y="16"/>
                </a:cxn>
                <a:cxn ang="0">
                  <a:pos x="69" y="17"/>
                </a:cxn>
                <a:cxn ang="0">
                  <a:pos x="67" y="20"/>
                </a:cxn>
                <a:cxn ang="0">
                  <a:pos x="67" y="26"/>
                </a:cxn>
                <a:cxn ang="0">
                  <a:pos x="72" y="32"/>
                </a:cxn>
                <a:cxn ang="0">
                  <a:pos x="72" y="30"/>
                </a:cxn>
                <a:cxn ang="0">
                  <a:pos x="75" y="28"/>
                </a:cxn>
                <a:cxn ang="0">
                  <a:pos x="77" y="28"/>
                </a:cxn>
                <a:cxn ang="0">
                  <a:pos x="81" y="22"/>
                </a:cxn>
                <a:cxn ang="0">
                  <a:pos x="81" y="22"/>
                </a:cxn>
                <a:cxn ang="0">
                  <a:pos x="80" y="17"/>
                </a:cxn>
                <a:cxn ang="0">
                  <a:pos x="78" y="16"/>
                </a:cxn>
                <a:cxn ang="0">
                  <a:pos x="80" y="13"/>
                </a:cxn>
                <a:cxn ang="0">
                  <a:pos x="56" y="1"/>
                </a:cxn>
                <a:cxn ang="0">
                  <a:pos x="46" y="0"/>
                </a:cxn>
                <a:cxn ang="0">
                  <a:pos x="45" y="6"/>
                </a:cxn>
                <a:cxn ang="0">
                  <a:pos x="42" y="7"/>
                </a:cxn>
                <a:cxn ang="0">
                  <a:pos x="40" y="4"/>
                </a:cxn>
                <a:cxn ang="0">
                  <a:pos x="35" y="7"/>
                </a:cxn>
                <a:cxn ang="0">
                  <a:pos x="27" y="10"/>
                </a:cxn>
                <a:cxn ang="0">
                  <a:pos x="23" y="10"/>
                </a:cxn>
                <a:cxn ang="0">
                  <a:pos x="11" y="9"/>
                </a:cxn>
                <a:cxn ang="0">
                  <a:pos x="11" y="6"/>
                </a:cxn>
                <a:cxn ang="0">
                  <a:pos x="8" y="1"/>
                </a:cxn>
                <a:cxn ang="0">
                  <a:pos x="6" y="0"/>
                </a:cxn>
              </a:cxnLst>
              <a:rect l="0" t="0" r="r" b="b"/>
              <a:pathLst>
                <a:path w="81" h="33">
                  <a:moveTo>
                    <a:pt x="6" y="0"/>
                  </a:moveTo>
                  <a:lnTo>
                    <a:pt x="6" y="0"/>
                  </a:lnTo>
                  <a:lnTo>
                    <a:pt x="4" y="0"/>
                  </a:lnTo>
                  <a:lnTo>
                    <a:pt x="4" y="0"/>
                  </a:lnTo>
                  <a:lnTo>
                    <a:pt x="3" y="0"/>
                  </a:lnTo>
                  <a:lnTo>
                    <a:pt x="1" y="1"/>
                  </a:lnTo>
                  <a:lnTo>
                    <a:pt x="1" y="6"/>
                  </a:lnTo>
                  <a:lnTo>
                    <a:pt x="3" y="6"/>
                  </a:lnTo>
                  <a:lnTo>
                    <a:pt x="4" y="7"/>
                  </a:lnTo>
                  <a:lnTo>
                    <a:pt x="3" y="9"/>
                  </a:lnTo>
                  <a:lnTo>
                    <a:pt x="3" y="10"/>
                  </a:lnTo>
                  <a:lnTo>
                    <a:pt x="1" y="10"/>
                  </a:lnTo>
                  <a:lnTo>
                    <a:pt x="3" y="14"/>
                  </a:lnTo>
                  <a:lnTo>
                    <a:pt x="0" y="17"/>
                  </a:lnTo>
                  <a:lnTo>
                    <a:pt x="0" y="17"/>
                  </a:lnTo>
                  <a:lnTo>
                    <a:pt x="1" y="20"/>
                  </a:lnTo>
                  <a:lnTo>
                    <a:pt x="1" y="20"/>
                  </a:lnTo>
                  <a:lnTo>
                    <a:pt x="1" y="19"/>
                  </a:lnTo>
                  <a:lnTo>
                    <a:pt x="3" y="17"/>
                  </a:lnTo>
                  <a:lnTo>
                    <a:pt x="10" y="19"/>
                  </a:lnTo>
                  <a:lnTo>
                    <a:pt x="14" y="20"/>
                  </a:lnTo>
                  <a:lnTo>
                    <a:pt x="17" y="20"/>
                  </a:lnTo>
                  <a:lnTo>
                    <a:pt x="17" y="20"/>
                  </a:lnTo>
                  <a:lnTo>
                    <a:pt x="23" y="28"/>
                  </a:lnTo>
                  <a:lnTo>
                    <a:pt x="24" y="28"/>
                  </a:lnTo>
                  <a:lnTo>
                    <a:pt x="26" y="26"/>
                  </a:lnTo>
                  <a:lnTo>
                    <a:pt x="27" y="26"/>
                  </a:lnTo>
                  <a:lnTo>
                    <a:pt x="30" y="33"/>
                  </a:lnTo>
                  <a:lnTo>
                    <a:pt x="35" y="33"/>
                  </a:lnTo>
                  <a:lnTo>
                    <a:pt x="40" y="29"/>
                  </a:lnTo>
                  <a:lnTo>
                    <a:pt x="40" y="28"/>
                  </a:lnTo>
                  <a:lnTo>
                    <a:pt x="36" y="23"/>
                  </a:lnTo>
                  <a:lnTo>
                    <a:pt x="35" y="23"/>
                  </a:lnTo>
                  <a:lnTo>
                    <a:pt x="35" y="22"/>
                  </a:lnTo>
                  <a:lnTo>
                    <a:pt x="36" y="20"/>
                  </a:lnTo>
                  <a:lnTo>
                    <a:pt x="40" y="17"/>
                  </a:lnTo>
                  <a:lnTo>
                    <a:pt x="40" y="17"/>
                  </a:lnTo>
                  <a:lnTo>
                    <a:pt x="45" y="14"/>
                  </a:lnTo>
                  <a:lnTo>
                    <a:pt x="48" y="10"/>
                  </a:lnTo>
                  <a:lnTo>
                    <a:pt x="49" y="9"/>
                  </a:lnTo>
                  <a:lnTo>
                    <a:pt x="52" y="9"/>
                  </a:lnTo>
                  <a:lnTo>
                    <a:pt x="53" y="9"/>
                  </a:lnTo>
                  <a:lnTo>
                    <a:pt x="62" y="13"/>
                  </a:lnTo>
                  <a:lnTo>
                    <a:pt x="65" y="16"/>
                  </a:lnTo>
                  <a:lnTo>
                    <a:pt x="67" y="16"/>
                  </a:lnTo>
                  <a:lnTo>
                    <a:pt x="68" y="16"/>
                  </a:lnTo>
                  <a:lnTo>
                    <a:pt x="69" y="17"/>
                  </a:lnTo>
                  <a:lnTo>
                    <a:pt x="69" y="17"/>
                  </a:lnTo>
                  <a:lnTo>
                    <a:pt x="69" y="17"/>
                  </a:lnTo>
                  <a:lnTo>
                    <a:pt x="67" y="20"/>
                  </a:lnTo>
                  <a:lnTo>
                    <a:pt x="67" y="23"/>
                  </a:lnTo>
                  <a:lnTo>
                    <a:pt x="67" y="26"/>
                  </a:lnTo>
                  <a:lnTo>
                    <a:pt x="69" y="30"/>
                  </a:lnTo>
                  <a:lnTo>
                    <a:pt x="72" y="32"/>
                  </a:lnTo>
                  <a:lnTo>
                    <a:pt x="72" y="32"/>
                  </a:lnTo>
                  <a:lnTo>
                    <a:pt x="72" y="30"/>
                  </a:lnTo>
                  <a:lnTo>
                    <a:pt x="74" y="29"/>
                  </a:lnTo>
                  <a:lnTo>
                    <a:pt x="75" y="28"/>
                  </a:lnTo>
                  <a:lnTo>
                    <a:pt x="75" y="28"/>
                  </a:lnTo>
                  <a:lnTo>
                    <a:pt x="77" y="28"/>
                  </a:lnTo>
                  <a:lnTo>
                    <a:pt x="81" y="23"/>
                  </a:lnTo>
                  <a:lnTo>
                    <a:pt x="81" y="22"/>
                  </a:lnTo>
                  <a:lnTo>
                    <a:pt x="81" y="22"/>
                  </a:lnTo>
                  <a:lnTo>
                    <a:pt x="81" y="22"/>
                  </a:lnTo>
                  <a:lnTo>
                    <a:pt x="81" y="19"/>
                  </a:lnTo>
                  <a:lnTo>
                    <a:pt x="80" y="17"/>
                  </a:lnTo>
                  <a:lnTo>
                    <a:pt x="78" y="17"/>
                  </a:lnTo>
                  <a:lnTo>
                    <a:pt x="78" y="16"/>
                  </a:lnTo>
                  <a:lnTo>
                    <a:pt x="78" y="14"/>
                  </a:lnTo>
                  <a:lnTo>
                    <a:pt x="80" y="13"/>
                  </a:lnTo>
                  <a:lnTo>
                    <a:pt x="68" y="4"/>
                  </a:lnTo>
                  <a:lnTo>
                    <a:pt x="56" y="1"/>
                  </a:lnTo>
                  <a:lnTo>
                    <a:pt x="53" y="0"/>
                  </a:lnTo>
                  <a:lnTo>
                    <a:pt x="46" y="0"/>
                  </a:lnTo>
                  <a:lnTo>
                    <a:pt x="45" y="1"/>
                  </a:lnTo>
                  <a:lnTo>
                    <a:pt x="45" y="6"/>
                  </a:lnTo>
                  <a:lnTo>
                    <a:pt x="43" y="7"/>
                  </a:lnTo>
                  <a:lnTo>
                    <a:pt x="42" y="7"/>
                  </a:lnTo>
                  <a:lnTo>
                    <a:pt x="42" y="4"/>
                  </a:lnTo>
                  <a:lnTo>
                    <a:pt x="40" y="4"/>
                  </a:lnTo>
                  <a:lnTo>
                    <a:pt x="40" y="4"/>
                  </a:lnTo>
                  <a:lnTo>
                    <a:pt x="35" y="7"/>
                  </a:lnTo>
                  <a:lnTo>
                    <a:pt x="30" y="9"/>
                  </a:lnTo>
                  <a:lnTo>
                    <a:pt x="27" y="10"/>
                  </a:lnTo>
                  <a:lnTo>
                    <a:pt x="27" y="10"/>
                  </a:lnTo>
                  <a:lnTo>
                    <a:pt x="23" y="10"/>
                  </a:lnTo>
                  <a:lnTo>
                    <a:pt x="17" y="9"/>
                  </a:lnTo>
                  <a:lnTo>
                    <a:pt x="11" y="9"/>
                  </a:lnTo>
                  <a:lnTo>
                    <a:pt x="11" y="7"/>
                  </a:lnTo>
                  <a:lnTo>
                    <a:pt x="11" y="6"/>
                  </a:lnTo>
                  <a:lnTo>
                    <a:pt x="10" y="4"/>
                  </a:lnTo>
                  <a:lnTo>
                    <a:pt x="8" y="1"/>
                  </a:lnTo>
                  <a:lnTo>
                    <a:pt x="8" y="1"/>
                  </a:lnTo>
                  <a:lnTo>
                    <a:pt x="6" y="0"/>
                  </a:lnTo>
                  <a:lnTo>
                    <a:pt x="6"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8" name="Freeform 224"/>
            <p:cNvSpPr>
              <a:spLocks/>
            </p:cNvSpPr>
            <p:nvPr/>
          </p:nvSpPr>
          <p:spPr bwMode="auto">
            <a:xfrm>
              <a:off x="5036641" y="3133661"/>
              <a:ext cx="73736" cy="34481"/>
            </a:xfrm>
            <a:custGeom>
              <a:avLst/>
              <a:gdLst/>
              <a:ahLst/>
              <a:cxnLst>
                <a:cxn ang="0">
                  <a:pos x="6" y="0"/>
                </a:cxn>
                <a:cxn ang="0">
                  <a:pos x="4" y="0"/>
                </a:cxn>
                <a:cxn ang="0">
                  <a:pos x="1" y="1"/>
                </a:cxn>
                <a:cxn ang="0">
                  <a:pos x="3" y="6"/>
                </a:cxn>
                <a:cxn ang="0">
                  <a:pos x="3" y="9"/>
                </a:cxn>
                <a:cxn ang="0">
                  <a:pos x="1" y="10"/>
                </a:cxn>
                <a:cxn ang="0">
                  <a:pos x="0" y="17"/>
                </a:cxn>
                <a:cxn ang="0">
                  <a:pos x="1" y="20"/>
                </a:cxn>
                <a:cxn ang="0">
                  <a:pos x="1" y="19"/>
                </a:cxn>
                <a:cxn ang="0">
                  <a:pos x="10" y="19"/>
                </a:cxn>
                <a:cxn ang="0">
                  <a:pos x="17" y="20"/>
                </a:cxn>
                <a:cxn ang="0">
                  <a:pos x="23" y="28"/>
                </a:cxn>
                <a:cxn ang="0">
                  <a:pos x="26" y="26"/>
                </a:cxn>
                <a:cxn ang="0">
                  <a:pos x="30" y="33"/>
                </a:cxn>
                <a:cxn ang="0">
                  <a:pos x="40" y="29"/>
                </a:cxn>
                <a:cxn ang="0">
                  <a:pos x="36" y="23"/>
                </a:cxn>
                <a:cxn ang="0">
                  <a:pos x="35" y="22"/>
                </a:cxn>
                <a:cxn ang="0">
                  <a:pos x="40" y="17"/>
                </a:cxn>
                <a:cxn ang="0">
                  <a:pos x="45" y="14"/>
                </a:cxn>
                <a:cxn ang="0">
                  <a:pos x="49" y="9"/>
                </a:cxn>
                <a:cxn ang="0">
                  <a:pos x="53" y="9"/>
                </a:cxn>
                <a:cxn ang="0">
                  <a:pos x="65" y="16"/>
                </a:cxn>
                <a:cxn ang="0">
                  <a:pos x="68" y="16"/>
                </a:cxn>
                <a:cxn ang="0">
                  <a:pos x="69" y="17"/>
                </a:cxn>
                <a:cxn ang="0">
                  <a:pos x="67" y="20"/>
                </a:cxn>
                <a:cxn ang="0">
                  <a:pos x="67" y="26"/>
                </a:cxn>
                <a:cxn ang="0">
                  <a:pos x="72" y="32"/>
                </a:cxn>
                <a:cxn ang="0">
                  <a:pos x="72" y="30"/>
                </a:cxn>
                <a:cxn ang="0">
                  <a:pos x="75" y="28"/>
                </a:cxn>
                <a:cxn ang="0">
                  <a:pos x="77" y="28"/>
                </a:cxn>
                <a:cxn ang="0">
                  <a:pos x="81" y="22"/>
                </a:cxn>
                <a:cxn ang="0">
                  <a:pos x="81" y="22"/>
                </a:cxn>
                <a:cxn ang="0">
                  <a:pos x="80" y="17"/>
                </a:cxn>
                <a:cxn ang="0">
                  <a:pos x="78" y="16"/>
                </a:cxn>
                <a:cxn ang="0">
                  <a:pos x="80" y="13"/>
                </a:cxn>
                <a:cxn ang="0">
                  <a:pos x="56" y="1"/>
                </a:cxn>
                <a:cxn ang="0">
                  <a:pos x="46" y="0"/>
                </a:cxn>
                <a:cxn ang="0">
                  <a:pos x="45" y="6"/>
                </a:cxn>
                <a:cxn ang="0">
                  <a:pos x="42" y="7"/>
                </a:cxn>
                <a:cxn ang="0">
                  <a:pos x="40" y="4"/>
                </a:cxn>
                <a:cxn ang="0">
                  <a:pos x="35" y="7"/>
                </a:cxn>
                <a:cxn ang="0">
                  <a:pos x="27" y="10"/>
                </a:cxn>
                <a:cxn ang="0">
                  <a:pos x="23" y="10"/>
                </a:cxn>
                <a:cxn ang="0">
                  <a:pos x="11" y="9"/>
                </a:cxn>
                <a:cxn ang="0">
                  <a:pos x="11" y="6"/>
                </a:cxn>
                <a:cxn ang="0">
                  <a:pos x="8" y="1"/>
                </a:cxn>
                <a:cxn ang="0">
                  <a:pos x="6" y="0"/>
                </a:cxn>
              </a:cxnLst>
              <a:rect l="0" t="0" r="r" b="b"/>
              <a:pathLst>
                <a:path w="81" h="33">
                  <a:moveTo>
                    <a:pt x="6" y="0"/>
                  </a:moveTo>
                  <a:lnTo>
                    <a:pt x="6" y="0"/>
                  </a:lnTo>
                  <a:lnTo>
                    <a:pt x="4" y="0"/>
                  </a:lnTo>
                  <a:lnTo>
                    <a:pt x="4" y="0"/>
                  </a:lnTo>
                  <a:lnTo>
                    <a:pt x="3" y="0"/>
                  </a:lnTo>
                  <a:lnTo>
                    <a:pt x="1" y="1"/>
                  </a:lnTo>
                  <a:lnTo>
                    <a:pt x="1" y="6"/>
                  </a:lnTo>
                  <a:lnTo>
                    <a:pt x="3" y="6"/>
                  </a:lnTo>
                  <a:lnTo>
                    <a:pt x="4" y="7"/>
                  </a:lnTo>
                  <a:lnTo>
                    <a:pt x="3" y="9"/>
                  </a:lnTo>
                  <a:lnTo>
                    <a:pt x="3" y="10"/>
                  </a:lnTo>
                  <a:lnTo>
                    <a:pt x="1" y="10"/>
                  </a:lnTo>
                  <a:lnTo>
                    <a:pt x="3" y="14"/>
                  </a:lnTo>
                  <a:lnTo>
                    <a:pt x="0" y="17"/>
                  </a:lnTo>
                  <a:lnTo>
                    <a:pt x="0" y="17"/>
                  </a:lnTo>
                  <a:lnTo>
                    <a:pt x="1" y="20"/>
                  </a:lnTo>
                  <a:lnTo>
                    <a:pt x="1" y="20"/>
                  </a:lnTo>
                  <a:lnTo>
                    <a:pt x="1" y="19"/>
                  </a:lnTo>
                  <a:lnTo>
                    <a:pt x="3" y="17"/>
                  </a:lnTo>
                  <a:lnTo>
                    <a:pt x="10" y="19"/>
                  </a:lnTo>
                  <a:lnTo>
                    <a:pt x="14" y="20"/>
                  </a:lnTo>
                  <a:lnTo>
                    <a:pt x="17" y="20"/>
                  </a:lnTo>
                  <a:lnTo>
                    <a:pt x="17" y="20"/>
                  </a:lnTo>
                  <a:lnTo>
                    <a:pt x="23" y="28"/>
                  </a:lnTo>
                  <a:lnTo>
                    <a:pt x="24" y="28"/>
                  </a:lnTo>
                  <a:lnTo>
                    <a:pt x="26" y="26"/>
                  </a:lnTo>
                  <a:lnTo>
                    <a:pt x="27" y="26"/>
                  </a:lnTo>
                  <a:lnTo>
                    <a:pt x="30" y="33"/>
                  </a:lnTo>
                  <a:lnTo>
                    <a:pt x="35" y="33"/>
                  </a:lnTo>
                  <a:lnTo>
                    <a:pt x="40" y="29"/>
                  </a:lnTo>
                  <a:lnTo>
                    <a:pt x="40" y="28"/>
                  </a:lnTo>
                  <a:lnTo>
                    <a:pt x="36" y="23"/>
                  </a:lnTo>
                  <a:lnTo>
                    <a:pt x="35" y="23"/>
                  </a:lnTo>
                  <a:lnTo>
                    <a:pt x="35" y="22"/>
                  </a:lnTo>
                  <a:lnTo>
                    <a:pt x="36" y="20"/>
                  </a:lnTo>
                  <a:lnTo>
                    <a:pt x="40" y="17"/>
                  </a:lnTo>
                  <a:lnTo>
                    <a:pt x="40" y="17"/>
                  </a:lnTo>
                  <a:lnTo>
                    <a:pt x="45" y="14"/>
                  </a:lnTo>
                  <a:lnTo>
                    <a:pt x="48" y="10"/>
                  </a:lnTo>
                  <a:lnTo>
                    <a:pt x="49" y="9"/>
                  </a:lnTo>
                  <a:lnTo>
                    <a:pt x="52" y="9"/>
                  </a:lnTo>
                  <a:lnTo>
                    <a:pt x="53" y="9"/>
                  </a:lnTo>
                  <a:lnTo>
                    <a:pt x="62" y="13"/>
                  </a:lnTo>
                  <a:lnTo>
                    <a:pt x="65" y="16"/>
                  </a:lnTo>
                  <a:lnTo>
                    <a:pt x="67" y="16"/>
                  </a:lnTo>
                  <a:lnTo>
                    <a:pt x="68" y="16"/>
                  </a:lnTo>
                  <a:lnTo>
                    <a:pt x="69" y="17"/>
                  </a:lnTo>
                  <a:lnTo>
                    <a:pt x="69" y="17"/>
                  </a:lnTo>
                  <a:lnTo>
                    <a:pt x="69" y="17"/>
                  </a:lnTo>
                  <a:lnTo>
                    <a:pt x="67" y="20"/>
                  </a:lnTo>
                  <a:lnTo>
                    <a:pt x="67" y="23"/>
                  </a:lnTo>
                  <a:lnTo>
                    <a:pt x="67" y="26"/>
                  </a:lnTo>
                  <a:lnTo>
                    <a:pt x="69" y="30"/>
                  </a:lnTo>
                  <a:lnTo>
                    <a:pt x="72" y="32"/>
                  </a:lnTo>
                  <a:lnTo>
                    <a:pt x="72" y="32"/>
                  </a:lnTo>
                  <a:lnTo>
                    <a:pt x="72" y="30"/>
                  </a:lnTo>
                  <a:lnTo>
                    <a:pt x="74" y="29"/>
                  </a:lnTo>
                  <a:lnTo>
                    <a:pt x="75" y="28"/>
                  </a:lnTo>
                  <a:lnTo>
                    <a:pt x="75" y="28"/>
                  </a:lnTo>
                  <a:lnTo>
                    <a:pt x="77" y="28"/>
                  </a:lnTo>
                  <a:lnTo>
                    <a:pt x="81" y="23"/>
                  </a:lnTo>
                  <a:lnTo>
                    <a:pt x="81" y="22"/>
                  </a:lnTo>
                  <a:lnTo>
                    <a:pt x="81" y="22"/>
                  </a:lnTo>
                  <a:lnTo>
                    <a:pt x="81" y="22"/>
                  </a:lnTo>
                  <a:lnTo>
                    <a:pt x="81" y="19"/>
                  </a:lnTo>
                  <a:lnTo>
                    <a:pt x="80" y="17"/>
                  </a:lnTo>
                  <a:lnTo>
                    <a:pt x="78" y="17"/>
                  </a:lnTo>
                  <a:lnTo>
                    <a:pt x="78" y="16"/>
                  </a:lnTo>
                  <a:lnTo>
                    <a:pt x="78" y="14"/>
                  </a:lnTo>
                  <a:lnTo>
                    <a:pt x="80" y="13"/>
                  </a:lnTo>
                  <a:lnTo>
                    <a:pt x="68" y="4"/>
                  </a:lnTo>
                  <a:lnTo>
                    <a:pt x="56" y="1"/>
                  </a:lnTo>
                  <a:lnTo>
                    <a:pt x="53" y="0"/>
                  </a:lnTo>
                  <a:lnTo>
                    <a:pt x="46" y="0"/>
                  </a:lnTo>
                  <a:lnTo>
                    <a:pt x="45" y="1"/>
                  </a:lnTo>
                  <a:lnTo>
                    <a:pt x="45" y="6"/>
                  </a:lnTo>
                  <a:lnTo>
                    <a:pt x="43" y="7"/>
                  </a:lnTo>
                  <a:lnTo>
                    <a:pt x="42" y="7"/>
                  </a:lnTo>
                  <a:lnTo>
                    <a:pt x="42" y="4"/>
                  </a:lnTo>
                  <a:lnTo>
                    <a:pt x="40" y="4"/>
                  </a:lnTo>
                  <a:lnTo>
                    <a:pt x="40" y="4"/>
                  </a:lnTo>
                  <a:lnTo>
                    <a:pt x="35" y="7"/>
                  </a:lnTo>
                  <a:lnTo>
                    <a:pt x="30" y="9"/>
                  </a:lnTo>
                  <a:lnTo>
                    <a:pt x="27" y="10"/>
                  </a:lnTo>
                  <a:lnTo>
                    <a:pt x="27" y="10"/>
                  </a:lnTo>
                  <a:lnTo>
                    <a:pt x="23" y="10"/>
                  </a:lnTo>
                  <a:lnTo>
                    <a:pt x="17" y="9"/>
                  </a:lnTo>
                  <a:lnTo>
                    <a:pt x="11" y="9"/>
                  </a:lnTo>
                  <a:lnTo>
                    <a:pt x="11" y="7"/>
                  </a:lnTo>
                  <a:lnTo>
                    <a:pt x="11" y="6"/>
                  </a:lnTo>
                  <a:lnTo>
                    <a:pt x="10" y="4"/>
                  </a:lnTo>
                  <a:lnTo>
                    <a:pt x="8" y="1"/>
                  </a:lnTo>
                  <a:lnTo>
                    <a:pt x="8" y="1"/>
                  </a:lnTo>
                  <a:lnTo>
                    <a:pt x="6" y="0"/>
                  </a:lnTo>
                  <a:lnTo>
                    <a:pt x="6"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29" name="Freeform 225"/>
            <p:cNvSpPr>
              <a:spLocks/>
            </p:cNvSpPr>
            <p:nvPr/>
          </p:nvSpPr>
          <p:spPr bwMode="auto">
            <a:xfrm>
              <a:off x="4915505" y="3006894"/>
              <a:ext cx="50035" cy="63891"/>
            </a:xfrm>
            <a:custGeom>
              <a:avLst/>
              <a:gdLst/>
              <a:ahLst/>
              <a:cxnLst>
                <a:cxn ang="0">
                  <a:pos x="19" y="0"/>
                </a:cxn>
                <a:cxn ang="0">
                  <a:pos x="10" y="8"/>
                </a:cxn>
                <a:cxn ang="0">
                  <a:pos x="21" y="16"/>
                </a:cxn>
                <a:cxn ang="0">
                  <a:pos x="24" y="21"/>
                </a:cxn>
                <a:cxn ang="0">
                  <a:pos x="24" y="25"/>
                </a:cxn>
                <a:cxn ang="0">
                  <a:pos x="24" y="25"/>
                </a:cxn>
                <a:cxn ang="0">
                  <a:pos x="4" y="35"/>
                </a:cxn>
                <a:cxn ang="0">
                  <a:pos x="3" y="41"/>
                </a:cxn>
                <a:cxn ang="0">
                  <a:pos x="3" y="42"/>
                </a:cxn>
                <a:cxn ang="0">
                  <a:pos x="1" y="44"/>
                </a:cxn>
                <a:cxn ang="0">
                  <a:pos x="0" y="48"/>
                </a:cxn>
                <a:cxn ang="0">
                  <a:pos x="3" y="50"/>
                </a:cxn>
                <a:cxn ang="0">
                  <a:pos x="4" y="53"/>
                </a:cxn>
                <a:cxn ang="0">
                  <a:pos x="13" y="57"/>
                </a:cxn>
                <a:cxn ang="0">
                  <a:pos x="32" y="61"/>
                </a:cxn>
                <a:cxn ang="0">
                  <a:pos x="33" y="57"/>
                </a:cxn>
                <a:cxn ang="0">
                  <a:pos x="36" y="56"/>
                </a:cxn>
                <a:cxn ang="0">
                  <a:pos x="39" y="53"/>
                </a:cxn>
                <a:cxn ang="0">
                  <a:pos x="40" y="50"/>
                </a:cxn>
                <a:cxn ang="0">
                  <a:pos x="40" y="48"/>
                </a:cxn>
                <a:cxn ang="0">
                  <a:pos x="43" y="47"/>
                </a:cxn>
                <a:cxn ang="0">
                  <a:pos x="42" y="45"/>
                </a:cxn>
                <a:cxn ang="0">
                  <a:pos x="43" y="42"/>
                </a:cxn>
                <a:cxn ang="0">
                  <a:pos x="45" y="41"/>
                </a:cxn>
                <a:cxn ang="0">
                  <a:pos x="55" y="34"/>
                </a:cxn>
                <a:cxn ang="0">
                  <a:pos x="55" y="31"/>
                </a:cxn>
                <a:cxn ang="0">
                  <a:pos x="55" y="31"/>
                </a:cxn>
                <a:cxn ang="0">
                  <a:pos x="53" y="29"/>
                </a:cxn>
                <a:cxn ang="0">
                  <a:pos x="50" y="31"/>
                </a:cxn>
                <a:cxn ang="0">
                  <a:pos x="48" y="28"/>
                </a:cxn>
                <a:cxn ang="0">
                  <a:pos x="45" y="28"/>
                </a:cxn>
                <a:cxn ang="0">
                  <a:pos x="43" y="28"/>
                </a:cxn>
              </a:cxnLst>
              <a:rect l="0" t="0" r="r" b="b"/>
              <a:pathLst>
                <a:path w="55" h="61">
                  <a:moveTo>
                    <a:pt x="43" y="0"/>
                  </a:moveTo>
                  <a:lnTo>
                    <a:pt x="19" y="0"/>
                  </a:lnTo>
                  <a:lnTo>
                    <a:pt x="19" y="8"/>
                  </a:lnTo>
                  <a:lnTo>
                    <a:pt x="10" y="8"/>
                  </a:lnTo>
                  <a:lnTo>
                    <a:pt x="10" y="6"/>
                  </a:lnTo>
                  <a:lnTo>
                    <a:pt x="21" y="16"/>
                  </a:lnTo>
                  <a:lnTo>
                    <a:pt x="21" y="18"/>
                  </a:lnTo>
                  <a:lnTo>
                    <a:pt x="24" y="21"/>
                  </a:lnTo>
                  <a:lnTo>
                    <a:pt x="24" y="22"/>
                  </a:lnTo>
                  <a:lnTo>
                    <a:pt x="24" y="25"/>
                  </a:lnTo>
                  <a:lnTo>
                    <a:pt x="24" y="25"/>
                  </a:lnTo>
                  <a:lnTo>
                    <a:pt x="24" y="25"/>
                  </a:lnTo>
                  <a:lnTo>
                    <a:pt x="11" y="26"/>
                  </a:lnTo>
                  <a:lnTo>
                    <a:pt x="4" y="35"/>
                  </a:lnTo>
                  <a:lnTo>
                    <a:pt x="4" y="37"/>
                  </a:lnTo>
                  <a:lnTo>
                    <a:pt x="3" y="41"/>
                  </a:lnTo>
                  <a:lnTo>
                    <a:pt x="1" y="41"/>
                  </a:lnTo>
                  <a:lnTo>
                    <a:pt x="3" y="42"/>
                  </a:lnTo>
                  <a:lnTo>
                    <a:pt x="3" y="44"/>
                  </a:lnTo>
                  <a:lnTo>
                    <a:pt x="1" y="44"/>
                  </a:lnTo>
                  <a:lnTo>
                    <a:pt x="1" y="48"/>
                  </a:lnTo>
                  <a:lnTo>
                    <a:pt x="0" y="48"/>
                  </a:lnTo>
                  <a:lnTo>
                    <a:pt x="1" y="50"/>
                  </a:lnTo>
                  <a:lnTo>
                    <a:pt x="3" y="50"/>
                  </a:lnTo>
                  <a:lnTo>
                    <a:pt x="3" y="51"/>
                  </a:lnTo>
                  <a:lnTo>
                    <a:pt x="4" y="53"/>
                  </a:lnTo>
                  <a:lnTo>
                    <a:pt x="5" y="53"/>
                  </a:lnTo>
                  <a:lnTo>
                    <a:pt x="13" y="57"/>
                  </a:lnTo>
                  <a:lnTo>
                    <a:pt x="29" y="60"/>
                  </a:lnTo>
                  <a:lnTo>
                    <a:pt x="32" y="61"/>
                  </a:lnTo>
                  <a:lnTo>
                    <a:pt x="32" y="60"/>
                  </a:lnTo>
                  <a:lnTo>
                    <a:pt x="33" y="57"/>
                  </a:lnTo>
                  <a:lnTo>
                    <a:pt x="34" y="57"/>
                  </a:lnTo>
                  <a:lnTo>
                    <a:pt x="36" y="56"/>
                  </a:lnTo>
                  <a:lnTo>
                    <a:pt x="37" y="54"/>
                  </a:lnTo>
                  <a:lnTo>
                    <a:pt x="39" y="53"/>
                  </a:lnTo>
                  <a:lnTo>
                    <a:pt x="39" y="51"/>
                  </a:lnTo>
                  <a:lnTo>
                    <a:pt x="40" y="50"/>
                  </a:lnTo>
                  <a:lnTo>
                    <a:pt x="40" y="50"/>
                  </a:lnTo>
                  <a:lnTo>
                    <a:pt x="40" y="48"/>
                  </a:lnTo>
                  <a:lnTo>
                    <a:pt x="43" y="47"/>
                  </a:lnTo>
                  <a:lnTo>
                    <a:pt x="43" y="47"/>
                  </a:lnTo>
                  <a:lnTo>
                    <a:pt x="43" y="45"/>
                  </a:lnTo>
                  <a:lnTo>
                    <a:pt x="42" y="45"/>
                  </a:lnTo>
                  <a:lnTo>
                    <a:pt x="42" y="44"/>
                  </a:lnTo>
                  <a:lnTo>
                    <a:pt x="43" y="42"/>
                  </a:lnTo>
                  <a:lnTo>
                    <a:pt x="45" y="41"/>
                  </a:lnTo>
                  <a:lnTo>
                    <a:pt x="45" y="41"/>
                  </a:lnTo>
                  <a:lnTo>
                    <a:pt x="46" y="40"/>
                  </a:lnTo>
                  <a:lnTo>
                    <a:pt x="55" y="34"/>
                  </a:lnTo>
                  <a:lnTo>
                    <a:pt x="55" y="32"/>
                  </a:lnTo>
                  <a:lnTo>
                    <a:pt x="55" y="31"/>
                  </a:lnTo>
                  <a:lnTo>
                    <a:pt x="55" y="31"/>
                  </a:lnTo>
                  <a:lnTo>
                    <a:pt x="55" y="31"/>
                  </a:lnTo>
                  <a:lnTo>
                    <a:pt x="55" y="31"/>
                  </a:lnTo>
                  <a:lnTo>
                    <a:pt x="53" y="29"/>
                  </a:lnTo>
                  <a:lnTo>
                    <a:pt x="50" y="31"/>
                  </a:lnTo>
                  <a:lnTo>
                    <a:pt x="50" y="31"/>
                  </a:lnTo>
                  <a:lnTo>
                    <a:pt x="49" y="29"/>
                  </a:lnTo>
                  <a:lnTo>
                    <a:pt x="48" y="28"/>
                  </a:lnTo>
                  <a:lnTo>
                    <a:pt x="48" y="28"/>
                  </a:lnTo>
                  <a:lnTo>
                    <a:pt x="45" y="28"/>
                  </a:lnTo>
                  <a:lnTo>
                    <a:pt x="43" y="28"/>
                  </a:lnTo>
                  <a:lnTo>
                    <a:pt x="43" y="28"/>
                  </a:lnTo>
                  <a:lnTo>
                    <a:pt x="4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0" name="Freeform 226"/>
            <p:cNvSpPr>
              <a:spLocks/>
            </p:cNvSpPr>
            <p:nvPr/>
          </p:nvSpPr>
          <p:spPr bwMode="auto">
            <a:xfrm>
              <a:off x="4915505" y="3006894"/>
              <a:ext cx="50035" cy="63891"/>
            </a:xfrm>
            <a:custGeom>
              <a:avLst/>
              <a:gdLst/>
              <a:ahLst/>
              <a:cxnLst>
                <a:cxn ang="0">
                  <a:pos x="19" y="0"/>
                </a:cxn>
                <a:cxn ang="0">
                  <a:pos x="10" y="8"/>
                </a:cxn>
                <a:cxn ang="0">
                  <a:pos x="21" y="16"/>
                </a:cxn>
                <a:cxn ang="0">
                  <a:pos x="24" y="21"/>
                </a:cxn>
                <a:cxn ang="0">
                  <a:pos x="24" y="25"/>
                </a:cxn>
                <a:cxn ang="0">
                  <a:pos x="24" y="25"/>
                </a:cxn>
                <a:cxn ang="0">
                  <a:pos x="4" y="35"/>
                </a:cxn>
                <a:cxn ang="0">
                  <a:pos x="3" y="41"/>
                </a:cxn>
                <a:cxn ang="0">
                  <a:pos x="3" y="42"/>
                </a:cxn>
                <a:cxn ang="0">
                  <a:pos x="1" y="44"/>
                </a:cxn>
                <a:cxn ang="0">
                  <a:pos x="0" y="48"/>
                </a:cxn>
                <a:cxn ang="0">
                  <a:pos x="3" y="50"/>
                </a:cxn>
                <a:cxn ang="0">
                  <a:pos x="4" y="53"/>
                </a:cxn>
                <a:cxn ang="0">
                  <a:pos x="13" y="57"/>
                </a:cxn>
                <a:cxn ang="0">
                  <a:pos x="32" y="61"/>
                </a:cxn>
                <a:cxn ang="0">
                  <a:pos x="33" y="57"/>
                </a:cxn>
                <a:cxn ang="0">
                  <a:pos x="36" y="56"/>
                </a:cxn>
                <a:cxn ang="0">
                  <a:pos x="39" y="53"/>
                </a:cxn>
                <a:cxn ang="0">
                  <a:pos x="40" y="50"/>
                </a:cxn>
                <a:cxn ang="0">
                  <a:pos x="40" y="48"/>
                </a:cxn>
                <a:cxn ang="0">
                  <a:pos x="43" y="47"/>
                </a:cxn>
                <a:cxn ang="0">
                  <a:pos x="42" y="45"/>
                </a:cxn>
                <a:cxn ang="0">
                  <a:pos x="43" y="42"/>
                </a:cxn>
                <a:cxn ang="0">
                  <a:pos x="45" y="41"/>
                </a:cxn>
                <a:cxn ang="0">
                  <a:pos x="55" y="34"/>
                </a:cxn>
                <a:cxn ang="0">
                  <a:pos x="55" y="31"/>
                </a:cxn>
                <a:cxn ang="0">
                  <a:pos x="55" y="31"/>
                </a:cxn>
                <a:cxn ang="0">
                  <a:pos x="53" y="29"/>
                </a:cxn>
                <a:cxn ang="0">
                  <a:pos x="50" y="31"/>
                </a:cxn>
                <a:cxn ang="0">
                  <a:pos x="48" y="28"/>
                </a:cxn>
                <a:cxn ang="0">
                  <a:pos x="45" y="28"/>
                </a:cxn>
                <a:cxn ang="0">
                  <a:pos x="43" y="28"/>
                </a:cxn>
              </a:cxnLst>
              <a:rect l="0" t="0" r="r" b="b"/>
              <a:pathLst>
                <a:path w="55" h="61">
                  <a:moveTo>
                    <a:pt x="43" y="0"/>
                  </a:moveTo>
                  <a:lnTo>
                    <a:pt x="19" y="0"/>
                  </a:lnTo>
                  <a:lnTo>
                    <a:pt x="19" y="8"/>
                  </a:lnTo>
                  <a:lnTo>
                    <a:pt x="10" y="8"/>
                  </a:lnTo>
                  <a:lnTo>
                    <a:pt x="10" y="6"/>
                  </a:lnTo>
                  <a:lnTo>
                    <a:pt x="21" y="16"/>
                  </a:lnTo>
                  <a:lnTo>
                    <a:pt x="21" y="18"/>
                  </a:lnTo>
                  <a:lnTo>
                    <a:pt x="24" y="21"/>
                  </a:lnTo>
                  <a:lnTo>
                    <a:pt x="24" y="22"/>
                  </a:lnTo>
                  <a:lnTo>
                    <a:pt x="24" y="25"/>
                  </a:lnTo>
                  <a:lnTo>
                    <a:pt x="24" y="25"/>
                  </a:lnTo>
                  <a:lnTo>
                    <a:pt x="24" y="25"/>
                  </a:lnTo>
                  <a:lnTo>
                    <a:pt x="11" y="26"/>
                  </a:lnTo>
                  <a:lnTo>
                    <a:pt x="4" y="35"/>
                  </a:lnTo>
                  <a:lnTo>
                    <a:pt x="4" y="37"/>
                  </a:lnTo>
                  <a:lnTo>
                    <a:pt x="3" y="41"/>
                  </a:lnTo>
                  <a:lnTo>
                    <a:pt x="1" y="41"/>
                  </a:lnTo>
                  <a:lnTo>
                    <a:pt x="3" y="42"/>
                  </a:lnTo>
                  <a:lnTo>
                    <a:pt x="3" y="44"/>
                  </a:lnTo>
                  <a:lnTo>
                    <a:pt x="1" y="44"/>
                  </a:lnTo>
                  <a:lnTo>
                    <a:pt x="1" y="48"/>
                  </a:lnTo>
                  <a:lnTo>
                    <a:pt x="0" y="48"/>
                  </a:lnTo>
                  <a:lnTo>
                    <a:pt x="1" y="50"/>
                  </a:lnTo>
                  <a:lnTo>
                    <a:pt x="3" y="50"/>
                  </a:lnTo>
                  <a:lnTo>
                    <a:pt x="3" y="51"/>
                  </a:lnTo>
                  <a:lnTo>
                    <a:pt x="4" y="53"/>
                  </a:lnTo>
                  <a:lnTo>
                    <a:pt x="5" y="53"/>
                  </a:lnTo>
                  <a:lnTo>
                    <a:pt x="13" y="57"/>
                  </a:lnTo>
                  <a:lnTo>
                    <a:pt x="29" y="60"/>
                  </a:lnTo>
                  <a:lnTo>
                    <a:pt x="32" y="61"/>
                  </a:lnTo>
                  <a:lnTo>
                    <a:pt x="32" y="60"/>
                  </a:lnTo>
                  <a:lnTo>
                    <a:pt x="33" y="57"/>
                  </a:lnTo>
                  <a:lnTo>
                    <a:pt x="34" y="57"/>
                  </a:lnTo>
                  <a:lnTo>
                    <a:pt x="36" y="56"/>
                  </a:lnTo>
                  <a:lnTo>
                    <a:pt x="37" y="54"/>
                  </a:lnTo>
                  <a:lnTo>
                    <a:pt x="39" y="53"/>
                  </a:lnTo>
                  <a:lnTo>
                    <a:pt x="39" y="51"/>
                  </a:lnTo>
                  <a:lnTo>
                    <a:pt x="40" y="50"/>
                  </a:lnTo>
                  <a:lnTo>
                    <a:pt x="40" y="50"/>
                  </a:lnTo>
                  <a:lnTo>
                    <a:pt x="40" y="48"/>
                  </a:lnTo>
                  <a:lnTo>
                    <a:pt x="43" y="47"/>
                  </a:lnTo>
                  <a:lnTo>
                    <a:pt x="43" y="47"/>
                  </a:lnTo>
                  <a:lnTo>
                    <a:pt x="43" y="45"/>
                  </a:lnTo>
                  <a:lnTo>
                    <a:pt x="42" y="45"/>
                  </a:lnTo>
                  <a:lnTo>
                    <a:pt x="42" y="44"/>
                  </a:lnTo>
                  <a:lnTo>
                    <a:pt x="43" y="42"/>
                  </a:lnTo>
                  <a:lnTo>
                    <a:pt x="45" y="41"/>
                  </a:lnTo>
                  <a:lnTo>
                    <a:pt x="45" y="41"/>
                  </a:lnTo>
                  <a:lnTo>
                    <a:pt x="46" y="40"/>
                  </a:lnTo>
                  <a:lnTo>
                    <a:pt x="55" y="34"/>
                  </a:lnTo>
                  <a:lnTo>
                    <a:pt x="55" y="32"/>
                  </a:lnTo>
                  <a:lnTo>
                    <a:pt x="55" y="31"/>
                  </a:lnTo>
                  <a:lnTo>
                    <a:pt x="55" y="31"/>
                  </a:lnTo>
                  <a:lnTo>
                    <a:pt x="55" y="31"/>
                  </a:lnTo>
                  <a:lnTo>
                    <a:pt x="55" y="31"/>
                  </a:lnTo>
                  <a:lnTo>
                    <a:pt x="53" y="29"/>
                  </a:lnTo>
                  <a:lnTo>
                    <a:pt x="50" y="31"/>
                  </a:lnTo>
                  <a:lnTo>
                    <a:pt x="50" y="31"/>
                  </a:lnTo>
                  <a:lnTo>
                    <a:pt x="49" y="29"/>
                  </a:lnTo>
                  <a:lnTo>
                    <a:pt x="48" y="28"/>
                  </a:lnTo>
                  <a:lnTo>
                    <a:pt x="48" y="28"/>
                  </a:lnTo>
                  <a:lnTo>
                    <a:pt x="45" y="28"/>
                  </a:lnTo>
                  <a:lnTo>
                    <a:pt x="43" y="28"/>
                  </a:lnTo>
                  <a:lnTo>
                    <a:pt x="43" y="28"/>
                  </a:lnTo>
                  <a:lnTo>
                    <a:pt x="4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1" name="Freeform 227"/>
            <p:cNvSpPr>
              <a:spLocks/>
            </p:cNvSpPr>
            <p:nvPr/>
          </p:nvSpPr>
          <p:spPr bwMode="auto">
            <a:xfrm>
              <a:off x="5181478" y="2976470"/>
              <a:ext cx="44768" cy="33466"/>
            </a:xfrm>
            <a:custGeom>
              <a:avLst/>
              <a:gdLst/>
              <a:ahLst/>
              <a:cxnLst>
                <a:cxn ang="0">
                  <a:pos x="1" y="1"/>
                </a:cxn>
                <a:cxn ang="0">
                  <a:pos x="1" y="0"/>
                </a:cxn>
                <a:cxn ang="0">
                  <a:pos x="3" y="0"/>
                </a:cxn>
                <a:cxn ang="0">
                  <a:pos x="16" y="0"/>
                </a:cxn>
                <a:cxn ang="0">
                  <a:pos x="23" y="3"/>
                </a:cxn>
                <a:cxn ang="0">
                  <a:pos x="26" y="3"/>
                </a:cxn>
                <a:cxn ang="0">
                  <a:pos x="28" y="4"/>
                </a:cxn>
                <a:cxn ang="0">
                  <a:pos x="29" y="7"/>
                </a:cxn>
                <a:cxn ang="0">
                  <a:pos x="29" y="7"/>
                </a:cxn>
                <a:cxn ang="0">
                  <a:pos x="36" y="9"/>
                </a:cxn>
                <a:cxn ang="0">
                  <a:pos x="38" y="9"/>
                </a:cxn>
                <a:cxn ang="0">
                  <a:pos x="38" y="10"/>
                </a:cxn>
                <a:cxn ang="0">
                  <a:pos x="35" y="10"/>
                </a:cxn>
                <a:cxn ang="0">
                  <a:pos x="33" y="10"/>
                </a:cxn>
                <a:cxn ang="0">
                  <a:pos x="33" y="11"/>
                </a:cxn>
                <a:cxn ang="0">
                  <a:pos x="36" y="13"/>
                </a:cxn>
                <a:cxn ang="0">
                  <a:pos x="44" y="13"/>
                </a:cxn>
                <a:cxn ang="0">
                  <a:pos x="48" y="17"/>
                </a:cxn>
                <a:cxn ang="0">
                  <a:pos x="49" y="17"/>
                </a:cxn>
                <a:cxn ang="0">
                  <a:pos x="49" y="19"/>
                </a:cxn>
                <a:cxn ang="0">
                  <a:pos x="49" y="20"/>
                </a:cxn>
                <a:cxn ang="0">
                  <a:pos x="48" y="23"/>
                </a:cxn>
                <a:cxn ang="0">
                  <a:pos x="46" y="25"/>
                </a:cxn>
                <a:cxn ang="0">
                  <a:pos x="44" y="25"/>
                </a:cxn>
                <a:cxn ang="0">
                  <a:pos x="42" y="23"/>
                </a:cxn>
                <a:cxn ang="0">
                  <a:pos x="39" y="22"/>
                </a:cxn>
                <a:cxn ang="0">
                  <a:pos x="26" y="22"/>
                </a:cxn>
                <a:cxn ang="0">
                  <a:pos x="25" y="23"/>
                </a:cxn>
                <a:cxn ang="0">
                  <a:pos x="25" y="25"/>
                </a:cxn>
                <a:cxn ang="0">
                  <a:pos x="25" y="25"/>
                </a:cxn>
                <a:cxn ang="0">
                  <a:pos x="19" y="26"/>
                </a:cxn>
                <a:cxn ang="0">
                  <a:pos x="17" y="23"/>
                </a:cxn>
                <a:cxn ang="0">
                  <a:pos x="17" y="23"/>
                </a:cxn>
                <a:cxn ang="0">
                  <a:pos x="15" y="22"/>
                </a:cxn>
                <a:cxn ang="0">
                  <a:pos x="13" y="23"/>
                </a:cxn>
                <a:cxn ang="0">
                  <a:pos x="9" y="30"/>
                </a:cxn>
                <a:cxn ang="0">
                  <a:pos x="7" y="30"/>
                </a:cxn>
                <a:cxn ang="0">
                  <a:pos x="6" y="33"/>
                </a:cxn>
                <a:cxn ang="0">
                  <a:pos x="4" y="33"/>
                </a:cxn>
                <a:cxn ang="0">
                  <a:pos x="4" y="33"/>
                </a:cxn>
                <a:cxn ang="0">
                  <a:pos x="3" y="32"/>
                </a:cxn>
                <a:cxn ang="0">
                  <a:pos x="1" y="30"/>
                </a:cxn>
                <a:cxn ang="0">
                  <a:pos x="1" y="29"/>
                </a:cxn>
                <a:cxn ang="0">
                  <a:pos x="1" y="27"/>
                </a:cxn>
                <a:cxn ang="0">
                  <a:pos x="1" y="27"/>
                </a:cxn>
                <a:cxn ang="0">
                  <a:pos x="1" y="23"/>
                </a:cxn>
                <a:cxn ang="0">
                  <a:pos x="1" y="22"/>
                </a:cxn>
                <a:cxn ang="0">
                  <a:pos x="0" y="20"/>
                </a:cxn>
                <a:cxn ang="0">
                  <a:pos x="0" y="19"/>
                </a:cxn>
                <a:cxn ang="0">
                  <a:pos x="0" y="19"/>
                </a:cxn>
                <a:cxn ang="0">
                  <a:pos x="3" y="17"/>
                </a:cxn>
                <a:cxn ang="0">
                  <a:pos x="3" y="13"/>
                </a:cxn>
                <a:cxn ang="0">
                  <a:pos x="3" y="11"/>
                </a:cxn>
                <a:cxn ang="0">
                  <a:pos x="3" y="10"/>
                </a:cxn>
                <a:cxn ang="0">
                  <a:pos x="3" y="9"/>
                </a:cxn>
                <a:cxn ang="0">
                  <a:pos x="3" y="6"/>
                </a:cxn>
                <a:cxn ang="0">
                  <a:pos x="3" y="3"/>
                </a:cxn>
                <a:cxn ang="0">
                  <a:pos x="1" y="1"/>
                </a:cxn>
                <a:cxn ang="0">
                  <a:pos x="1" y="1"/>
                </a:cxn>
              </a:cxnLst>
              <a:rect l="0" t="0" r="r" b="b"/>
              <a:pathLst>
                <a:path w="49" h="33">
                  <a:moveTo>
                    <a:pt x="1" y="1"/>
                  </a:moveTo>
                  <a:lnTo>
                    <a:pt x="1" y="0"/>
                  </a:lnTo>
                  <a:lnTo>
                    <a:pt x="3" y="0"/>
                  </a:lnTo>
                  <a:lnTo>
                    <a:pt x="16" y="0"/>
                  </a:lnTo>
                  <a:lnTo>
                    <a:pt x="23" y="3"/>
                  </a:lnTo>
                  <a:lnTo>
                    <a:pt x="26" y="3"/>
                  </a:lnTo>
                  <a:lnTo>
                    <a:pt x="28" y="4"/>
                  </a:lnTo>
                  <a:lnTo>
                    <a:pt x="29" y="7"/>
                  </a:lnTo>
                  <a:lnTo>
                    <a:pt x="29" y="7"/>
                  </a:lnTo>
                  <a:lnTo>
                    <a:pt x="36" y="9"/>
                  </a:lnTo>
                  <a:lnTo>
                    <a:pt x="38" y="9"/>
                  </a:lnTo>
                  <a:lnTo>
                    <a:pt x="38" y="10"/>
                  </a:lnTo>
                  <a:lnTo>
                    <a:pt x="35" y="10"/>
                  </a:lnTo>
                  <a:lnTo>
                    <a:pt x="33" y="10"/>
                  </a:lnTo>
                  <a:lnTo>
                    <a:pt x="33" y="11"/>
                  </a:lnTo>
                  <a:lnTo>
                    <a:pt x="36" y="13"/>
                  </a:lnTo>
                  <a:lnTo>
                    <a:pt x="44" y="13"/>
                  </a:lnTo>
                  <a:lnTo>
                    <a:pt x="48" y="17"/>
                  </a:lnTo>
                  <a:lnTo>
                    <a:pt x="49" y="17"/>
                  </a:lnTo>
                  <a:lnTo>
                    <a:pt x="49" y="19"/>
                  </a:lnTo>
                  <a:lnTo>
                    <a:pt x="49" y="20"/>
                  </a:lnTo>
                  <a:lnTo>
                    <a:pt x="48" y="23"/>
                  </a:lnTo>
                  <a:lnTo>
                    <a:pt x="46" y="25"/>
                  </a:lnTo>
                  <a:lnTo>
                    <a:pt x="44" y="25"/>
                  </a:lnTo>
                  <a:lnTo>
                    <a:pt x="42" y="23"/>
                  </a:lnTo>
                  <a:lnTo>
                    <a:pt x="39" y="22"/>
                  </a:lnTo>
                  <a:lnTo>
                    <a:pt x="26" y="22"/>
                  </a:lnTo>
                  <a:lnTo>
                    <a:pt x="25" y="23"/>
                  </a:lnTo>
                  <a:lnTo>
                    <a:pt x="25" y="25"/>
                  </a:lnTo>
                  <a:lnTo>
                    <a:pt x="25" y="25"/>
                  </a:lnTo>
                  <a:lnTo>
                    <a:pt x="19" y="26"/>
                  </a:lnTo>
                  <a:lnTo>
                    <a:pt x="17" y="23"/>
                  </a:lnTo>
                  <a:lnTo>
                    <a:pt x="17" y="23"/>
                  </a:lnTo>
                  <a:lnTo>
                    <a:pt x="15" y="22"/>
                  </a:lnTo>
                  <a:lnTo>
                    <a:pt x="13" y="23"/>
                  </a:lnTo>
                  <a:lnTo>
                    <a:pt x="9" y="30"/>
                  </a:lnTo>
                  <a:lnTo>
                    <a:pt x="7" y="30"/>
                  </a:lnTo>
                  <a:lnTo>
                    <a:pt x="6" y="33"/>
                  </a:lnTo>
                  <a:lnTo>
                    <a:pt x="4" y="33"/>
                  </a:lnTo>
                  <a:lnTo>
                    <a:pt x="4" y="33"/>
                  </a:lnTo>
                  <a:lnTo>
                    <a:pt x="3" y="32"/>
                  </a:lnTo>
                  <a:lnTo>
                    <a:pt x="1" y="30"/>
                  </a:lnTo>
                  <a:lnTo>
                    <a:pt x="1" y="29"/>
                  </a:lnTo>
                  <a:lnTo>
                    <a:pt x="1" y="27"/>
                  </a:lnTo>
                  <a:lnTo>
                    <a:pt x="1" y="27"/>
                  </a:lnTo>
                  <a:lnTo>
                    <a:pt x="1" y="23"/>
                  </a:lnTo>
                  <a:lnTo>
                    <a:pt x="1" y="22"/>
                  </a:lnTo>
                  <a:lnTo>
                    <a:pt x="0" y="20"/>
                  </a:lnTo>
                  <a:lnTo>
                    <a:pt x="0" y="19"/>
                  </a:lnTo>
                  <a:lnTo>
                    <a:pt x="0" y="19"/>
                  </a:lnTo>
                  <a:lnTo>
                    <a:pt x="3" y="17"/>
                  </a:lnTo>
                  <a:lnTo>
                    <a:pt x="3" y="13"/>
                  </a:lnTo>
                  <a:lnTo>
                    <a:pt x="3" y="11"/>
                  </a:lnTo>
                  <a:lnTo>
                    <a:pt x="3" y="10"/>
                  </a:lnTo>
                  <a:lnTo>
                    <a:pt x="3" y="9"/>
                  </a:lnTo>
                  <a:lnTo>
                    <a:pt x="3" y="6"/>
                  </a:lnTo>
                  <a:lnTo>
                    <a:pt x="3" y="3"/>
                  </a:lnTo>
                  <a:lnTo>
                    <a:pt x="1" y="1"/>
                  </a:lnTo>
                  <a:lnTo>
                    <a:pt x="1"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2" name="Freeform 228"/>
            <p:cNvSpPr>
              <a:spLocks/>
            </p:cNvSpPr>
            <p:nvPr/>
          </p:nvSpPr>
          <p:spPr bwMode="auto">
            <a:xfrm>
              <a:off x="5181478" y="2976470"/>
              <a:ext cx="44768" cy="33466"/>
            </a:xfrm>
            <a:custGeom>
              <a:avLst/>
              <a:gdLst/>
              <a:ahLst/>
              <a:cxnLst>
                <a:cxn ang="0">
                  <a:pos x="1" y="1"/>
                </a:cxn>
                <a:cxn ang="0">
                  <a:pos x="1" y="0"/>
                </a:cxn>
                <a:cxn ang="0">
                  <a:pos x="3" y="0"/>
                </a:cxn>
                <a:cxn ang="0">
                  <a:pos x="16" y="0"/>
                </a:cxn>
                <a:cxn ang="0">
                  <a:pos x="23" y="3"/>
                </a:cxn>
                <a:cxn ang="0">
                  <a:pos x="26" y="3"/>
                </a:cxn>
                <a:cxn ang="0">
                  <a:pos x="28" y="4"/>
                </a:cxn>
                <a:cxn ang="0">
                  <a:pos x="29" y="7"/>
                </a:cxn>
                <a:cxn ang="0">
                  <a:pos x="29" y="7"/>
                </a:cxn>
                <a:cxn ang="0">
                  <a:pos x="36" y="9"/>
                </a:cxn>
                <a:cxn ang="0">
                  <a:pos x="38" y="9"/>
                </a:cxn>
                <a:cxn ang="0">
                  <a:pos x="38" y="10"/>
                </a:cxn>
                <a:cxn ang="0">
                  <a:pos x="35" y="10"/>
                </a:cxn>
                <a:cxn ang="0">
                  <a:pos x="33" y="10"/>
                </a:cxn>
                <a:cxn ang="0">
                  <a:pos x="33" y="11"/>
                </a:cxn>
                <a:cxn ang="0">
                  <a:pos x="36" y="13"/>
                </a:cxn>
                <a:cxn ang="0">
                  <a:pos x="44" y="13"/>
                </a:cxn>
                <a:cxn ang="0">
                  <a:pos x="48" y="17"/>
                </a:cxn>
                <a:cxn ang="0">
                  <a:pos x="49" y="17"/>
                </a:cxn>
                <a:cxn ang="0">
                  <a:pos x="49" y="19"/>
                </a:cxn>
                <a:cxn ang="0">
                  <a:pos x="49" y="20"/>
                </a:cxn>
                <a:cxn ang="0">
                  <a:pos x="48" y="23"/>
                </a:cxn>
                <a:cxn ang="0">
                  <a:pos x="46" y="25"/>
                </a:cxn>
                <a:cxn ang="0">
                  <a:pos x="44" y="25"/>
                </a:cxn>
                <a:cxn ang="0">
                  <a:pos x="42" y="23"/>
                </a:cxn>
                <a:cxn ang="0">
                  <a:pos x="39" y="22"/>
                </a:cxn>
                <a:cxn ang="0">
                  <a:pos x="26" y="22"/>
                </a:cxn>
                <a:cxn ang="0">
                  <a:pos x="25" y="23"/>
                </a:cxn>
                <a:cxn ang="0">
                  <a:pos x="25" y="25"/>
                </a:cxn>
                <a:cxn ang="0">
                  <a:pos x="25" y="25"/>
                </a:cxn>
                <a:cxn ang="0">
                  <a:pos x="19" y="26"/>
                </a:cxn>
                <a:cxn ang="0">
                  <a:pos x="17" y="23"/>
                </a:cxn>
                <a:cxn ang="0">
                  <a:pos x="17" y="23"/>
                </a:cxn>
                <a:cxn ang="0">
                  <a:pos x="15" y="22"/>
                </a:cxn>
                <a:cxn ang="0">
                  <a:pos x="13" y="23"/>
                </a:cxn>
                <a:cxn ang="0">
                  <a:pos x="9" y="30"/>
                </a:cxn>
                <a:cxn ang="0">
                  <a:pos x="7" y="30"/>
                </a:cxn>
                <a:cxn ang="0">
                  <a:pos x="6" y="33"/>
                </a:cxn>
                <a:cxn ang="0">
                  <a:pos x="4" y="33"/>
                </a:cxn>
                <a:cxn ang="0">
                  <a:pos x="4" y="33"/>
                </a:cxn>
                <a:cxn ang="0">
                  <a:pos x="3" y="32"/>
                </a:cxn>
                <a:cxn ang="0">
                  <a:pos x="1" y="30"/>
                </a:cxn>
                <a:cxn ang="0">
                  <a:pos x="1" y="29"/>
                </a:cxn>
                <a:cxn ang="0">
                  <a:pos x="1" y="27"/>
                </a:cxn>
                <a:cxn ang="0">
                  <a:pos x="1" y="27"/>
                </a:cxn>
                <a:cxn ang="0">
                  <a:pos x="1" y="23"/>
                </a:cxn>
                <a:cxn ang="0">
                  <a:pos x="1" y="22"/>
                </a:cxn>
                <a:cxn ang="0">
                  <a:pos x="0" y="20"/>
                </a:cxn>
                <a:cxn ang="0">
                  <a:pos x="0" y="19"/>
                </a:cxn>
                <a:cxn ang="0">
                  <a:pos x="0" y="19"/>
                </a:cxn>
                <a:cxn ang="0">
                  <a:pos x="3" y="17"/>
                </a:cxn>
                <a:cxn ang="0">
                  <a:pos x="3" y="13"/>
                </a:cxn>
                <a:cxn ang="0">
                  <a:pos x="3" y="11"/>
                </a:cxn>
                <a:cxn ang="0">
                  <a:pos x="3" y="10"/>
                </a:cxn>
                <a:cxn ang="0">
                  <a:pos x="3" y="9"/>
                </a:cxn>
                <a:cxn ang="0">
                  <a:pos x="3" y="6"/>
                </a:cxn>
                <a:cxn ang="0">
                  <a:pos x="3" y="3"/>
                </a:cxn>
                <a:cxn ang="0">
                  <a:pos x="1" y="1"/>
                </a:cxn>
                <a:cxn ang="0">
                  <a:pos x="1" y="1"/>
                </a:cxn>
              </a:cxnLst>
              <a:rect l="0" t="0" r="r" b="b"/>
              <a:pathLst>
                <a:path w="49" h="33">
                  <a:moveTo>
                    <a:pt x="1" y="1"/>
                  </a:moveTo>
                  <a:lnTo>
                    <a:pt x="1" y="0"/>
                  </a:lnTo>
                  <a:lnTo>
                    <a:pt x="3" y="0"/>
                  </a:lnTo>
                  <a:lnTo>
                    <a:pt x="16" y="0"/>
                  </a:lnTo>
                  <a:lnTo>
                    <a:pt x="23" y="3"/>
                  </a:lnTo>
                  <a:lnTo>
                    <a:pt x="26" y="3"/>
                  </a:lnTo>
                  <a:lnTo>
                    <a:pt x="28" y="4"/>
                  </a:lnTo>
                  <a:lnTo>
                    <a:pt x="29" y="7"/>
                  </a:lnTo>
                  <a:lnTo>
                    <a:pt x="29" y="7"/>
                  </a:lnTo>
                  <a:lnTo>
                    <a:pt x="36" y="9"/>
                  </a:lnTo>
                  <a:lnTo>
                    <a:pt x="38" y="9"/>
                  </a:lnTo>
                  <a:lnTo>
                    <a:pt x="38" y="10"/>
                  </a:lnTo>
                  <a:lnTo>
                    <a:pt x="35" y="10"/>
                  </a:lnTo>
                  <a:lnTo>
                    <a:pt x="33" y="10"/>
                  </a:lnTo>
                  <a:lnTo>
                    <a:pt x="33" y="11"/>
                  </a:lnTo>
                  <a:lnTo>
                    <a:pt x="36" y="13"/>
                  </a:lnTo>
                  <a:lnTo>
                    <a:pt x="44" y="13"/>
                  </a:lnTo>
                  <a:lnTo>
                    <a:pt x="48" y="17"/>
                  </a:lnTo>
                  <a:lnTo>
                    <a:pt x="49" y="17"/>
                  </a:lnTo>
                  <a:lnTo>
                    <a:pt x="49" y="19"/>
                  </a:lnTo>
                  <a:lnTo>
                    <a:pt x="49" y="20"/>
                  </a:lnTo>
                  <a:lnTo>
                    <a:pt x="48" y="23"/>
                  </a:lnTo>
                  <a:lnTo>
                    <a:pt x="46" y="25"/>
                  </a:lnTo>
                  <a:lnTo>
                    <a:pt x="44" y="25"/>
                  </a:lnTo>
                  <a:lnTo>
                    <a:pt x="42" y="23"/>
                  </a:lnTo>
                  <a:lnTo>
                    <a:pt x="39" y="22"/>
                  </a:lnTo>
                  <a:lnTo>
                    <a:pt x="26" y="22"/>
                  </a:lnTo>
                  <a:lnTo>
                    <a:pt x="25" y="23"/>
                  </a:lnTo>
                  <a:lnTo>
                    <a:pt x="25" y="25"/>
                  </a:lnTo>
                  <a:lnTo>
                    <a:pt x="25" y="25"/>
                  </a:lnTo>
                  <a:lnTo>
                    <a:pt x="19" y="26"/>
                  </a:lnTo>
                  <a:lnTo>
                    <a:pt x="17" y="23"/>
                  </a:lnTo>
                  <a:lnTo>
                    <a:pt x="17" y="23"/>
                  </a:lnTo>
                  <a:lnTo>
                    <a:pt x="15" y="22"/>
                  </a:lnTo>
                  <a:lnTo>
                    <a:pt x="13" y="23"/>
                  </a:lnTo>
                  <a:lnTo>
                    <a:pt x="9" y="30"/>
                  </a:lnTo>
                  <a:lnTo>
                    <a:pt x="7" y="30"/>
                  </a:lnTo>
                  <a:lnTo>
                    <a:pt x="6" y="33"/>
                  </a:lnTo>
                  <a:lnTo>
                    <a:pt x="4" y="33"/>
                  </a:lnTo>
                  <a:lnTo>
                    <a:pt x="4" y="33"/>
                  </a:lnTo>
                  <a:lnTo>
                    <a:pt x="3" y="32"/>
                  </a:lnTo>
                  <a:lnTo>
                    <a:pt x="1" y="30"/>
                  </a:lnTo>
                  <a:lnTo>
                    <a:pt x="1" y="29"/>
                  </a:lnTo>
                  <a:lnTo>
                    <a:pt x="1" y="27"/>
                  </a:lnTo>
                  <a:lnTo>
                    <a:pt x="1" y="27"/>
                  </a:lnTo>
                  <a:lnTo>
                    <a:pt x="1" y="23"/>
                  </a:lnTo>
                  <a:lnTo>
                    <a:pt x="1" y="22"/>
                  </a:lnTo>
                  <a:lnTo>
                    <a:pt x="0" y="20"/>
                  </a:lnTo>
                  <a:lnTo>
                    <a:pt x="0" y="19"/>
                  </a:lnTo>
                  <a:lnTo>
                    <a:pt x="0" y="19"/>
                  </a:lnTo>
                  <a:lnTo>
                    <a:pt x="3" y="17"/>
                  </a:lnTo>
                  <a:lnTo>
                    <a:pt x="3" y="13"/>
                  </a:lnTo>
                  <a:lnTo>
                    <a:pt x="3" y="11"/>
                  </a:lnTo>
                  <a:lnTo>
                    <a:pt x="3" y="10"/>
                  </a:lnTo>
                  <a:lnTo>
                    <a:pt x="3" y="9"/>
                  </a:lnTo>
                  <a:lnTo>
                    <a:pt x="3" y="6"/>
                  </a:lnTo>
                  <a:lnTo>
                    <a:pt x="3" y="3"/>
                  </a:lnTo>
                  <a:lnTo>
                    <a:pt x="1" y="1"/>
                  </a:lnTo>
                  <a:lnTo>
                    <a:pt x="1"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3" name="Freeform 229"/>
            <p:cNvSpPr>
              <a:spLocks/>
            </p:cNvSpPr>
            <p:nvPr/>
          </p:nvSpPr>
          <p:spPr bwMode="auto">
            <a:xfrm>
              <a:off x="5163044" y="3094110"/>
              <a:ext cx="174682" cy="170375"/>
            </a:xfrm>
            <a:custGeom>
              <a:avLst/>
              <a:gdLst/>
              <a:ahLst/>
              <a:cxnLst>
                <a:cxn ang="0">
                  <a:pos x="20" y="10"/>
                </a:cxn>
                <a:cxn ang="0">
                  <a:pos x="23" y="19"/>
                </a:cxn>
                <a:cxn ang="0">
                  <a:pos x="19" y="29"/>
                </a:cxn>
                <a:cxn ang="0">
                  <a:pos x="21" y="39"/>
                </a:cxn>
                <a:cxn ang="0">
                  <a:pos x="29" y="45"/>
                </a:cxn>
                <a:cxn ang="0">
                  <a:pos x="26" y="20"/>
                </a:cxn>
                <a:cxn ang="0">
                  <a:pos x="30" y="18"/>
                </a:cxn>
                <a:cxn ang="0">
                  <a:pos x="49" y="9"/>
                </a:cxn>
                <a:cxn ang="0">
                  <a:pos x="43" y="7"/>
                </a:cxn>
                <a:cxn ang="0">
                  <a:pos x="48" y="0"/>
                </a:cxn>
                <a:cxn ang="0">
                  <a:pos x="52" y="7"/>
                </a:cxn>
                <a:cxn ang="0">
                  <a:pos x="72" y="23"/>
                </a:cxn>
                <a:cxn ang="0">
                  <a:pos x="104" y="25"/>
                </a:cxn>
                <a:cxn ang="0">
                  <a:pos x="123" y="29"/>
                </a:cxn>
                <a:cxn ang="0">
                  <a:pos x="136" y="23"/>
                </a:cxn>
                <a:cxn ang="0">
                  <a:pos x="130" y="22"/>
                </a:cxn>
                <a:cxn ang="0">
                  <a:pos x="156" y="23"/>
                </a:cxn>
                <a:cxn ang="0">
                  <a:pos x="148" y="25"/>
                </a:cxn>
                <a:cxn ang="0">
                  <a:pos x="152" y="29"/>
                </a:cxn>
                <a:cxn ang="0">
                  <a:pos x="156" y="35"/>
                </a:cxn>
                <a:cxn ang="0">
                  <a:pos x="174" y="39"/>
                </a:cxn>
                <a:cxn ang="0">
                  <a:pos x="178" y="51"/>
                </a:cxn>
                <a:cxn ang="0">
                  <a:pos x="175" y="54"/>
                </a:cxn>
                <a:cxn ang="0">
                  <a:pos x="186" y="52"/>
                </a:cxn>
                <a:cxn ang="0">
                  <a:pos x="191" y="58"/>
                </a:cxn>
                <a:cxn ang="0">
                  <a:pos x="187" y="61"/>
                </a:cxn>
                <a:cxn ang="0">
                  <a:pos x="178" y="66"/>
                </a:cxn>
                <a:cxn ang="0">
                  <a:pos x="180" y="73"/>
                </a:cxn>
                <a:cxn ang="0">
                  <a:pos x="181" y="76"/>
                </a:cxn>
                <a:cxn ang="0">
                  <a:pos x="171" y="87"/>
                </a:cxn>
                <a:cxn ang="0">
                  <a:pos x="180" y="100"/>
                </a:cxn>
                <a:cxn ang="0">
                  <a:pos x="175" y="109"/>
                </a:cxn>
                <a:cxn ang="0">
                  <a:pos x="164" y="115"/>
                </a:cxn>
                <a:cxn ang="0">
                  <a:pos x="141" y="119"/>
                </a:cxn>
                <a:cxn ang="0">
                  <a:pos x="122" y="116"/>
                </a:cxn>
                <a:cxn ang="0">
                  <a:pos x="127" y="132"/>
                </a:cxn>
                <a:cxn ang="0">
                  <a:pos x="141" y="141"/>
                </a:cxn>
                <a:cxn ang="0">
                  <a:pos x="136" y="145"/>
                </a:cxn>
                <a:cxn ang="0">
                  <a:pos x="130" y="148"/>
                </a:cxn>
                <a:cxn ang="0">
                  <a:pos x="125" y="154"/>
                </a:cxn>
                <a:cxn ang="0">
                  <a:pos x="109" y="163"/>
                </a:cxn>
                <a:cxn ang="0">
                  <a:pos x="94" y="160"/>
                </a:cxn>
                <a:cxn ang="0">
                  <a:pos x="82" y="129"/>
                </a:cxn>
                <a:cxn ang="0">
                  <a:pos x="85" y="127"/>
                </a:cxn>
                <a:cxn ang="0">
                  <a:pos x="81" y="119"/>
                </a:cxn>
                <a:cxn ang="0">
                  <a:pos x="77" y="109"/>
                </a:cxn>
                <a:cxn ang="0">
                  <a:pos x="78" y="99"/>
                </a:cxn>
                <a:cxn ang="0">
                  <a:pos x="82" y="90"/>
                </a:cxn>
                <a:cxn ang="0">
                  <a:pos x="81" y="86"/>
                </a:cxn>
                <a:cxn ang="0">
                  <a:pos x="59" y="87"/>
                </a:cxn>
                <a:cxn ang="0">
                  <a:pos x="55" y="87"/>
                </a:cxn>
                <a:cxn ang="0">
                  <a:pos x="27" y="74"/>
                </a:cxn>
                <a:cxn ang="0">
                  <a:pos x="13" y="68"/>
                </a:cxn>
                <a:cxn ang="0">
                  <a:pos x="10" y="55"/>
                </a:cxn>
                <a:cxn ang="0">
                  <a:pos x="5" y="44"/>
                </a:cxn>
                <a:cxn ang="0">
                  <a:pos x="23" y="6"/>
                </a:cxn>
              </a:cxnLst>
              <a:rect l="0" t="0" r="r" b="b"/>
              <a:pathLst>
                <a:path w="191" h="164">
                  <a:moveTo>
                    <a:pt x="27" y="6"/>
                  </a:moveTo>
                  <a:lnTo>
                    <a:pt x="24" y="7"/>
                  </a:lnTo>
                  <a:lnTo>
                    <a:pt x="20" y="9"/>
                  </a:lnTo>
                  <a:lnTo>
                    <a:pt x="20" y="10"/>
                  </a:lnTo>
                  <a:lnTo>
                    <a:pt x="21" y="15"/>
                  </a:lnTo>
                  <a:lnTo>
                    <a:pt x="23" y="18"/>
                  </a:lnTo>
                  <a:lnTo>
                    <a:pt x="24" y="18"/>
                  </a:lnTo>
                  <a:lnTo>
                    <a:pt x="23" y="19"/>
                  </a:lnTo>
                  <a:lnTo>
                    <a:pt x="23" y="19"/>
                  </a:lnTo>
                  <a:lnTo>
                    <a:pt x="24" y="20"/>
                  </a:lnTo>
                  <a:lnTo>
                    <a:pt x="23" y="25"/>
                  </a:lnTo>
                  <a:lnTo>
                    <a:pt x="19" y="29"/>
                  </a:lnTo>
                  <a:lnTo>
                    <a:pt x="19" y="31"/>
                  </a:lnTo>
                  <a:lnTo>
                    <a:pt x="19" y="36"/>
                  </a:lnTo>
                  <a:lnTo>
                    <a:pt x="20" y="38"/>
                  </a:lnTo>
                  <a:lnTo>
                    <a:pt x="21" y="39"/>
                  </a:lnTo>
                  <a:lnTo>
                    <a:pt x="24" y="45"/>
                  </a:lnTo>
                  <a:lnTo>
                    <a:pt x="24" y="45"/>
                  </a:lnTo>
                  <a:lnTo>
                    <a:pt x="26" y="45"/>
                  </a:lnTo>
                  <a:lnTo>
                    <a:pt x="29" y="45"/>
                  </a:lnTo>
                  <a:lnTo>
                    <a:pt x="32" y="42"/>
                  </a:lnTo>
                  <a:lnTo>
                    <a:pt x="32" y="35"/>
                  </a:lnTo>
                  <a:lnTo>
                    <a:pt x="26" y="26"/>
                  </a:lnTo>
                  <a:lnTo>
                    <a:pt x="26" y="20"/>
                  </a:lnTo>
                  <a:lnTo>
                    <a:pt x="27" y="19"/>
                  </a:lnTo>
                  <a:lnTo>
                    <a:pt x="27" y="19"/>
                  </a:lnTo>
                  <a:lnTo>
                    <a:pt x="29" y="18"/>
                  </a:lnTo>
                  <a:lnTo>
                    <a:pt x="30" y="18"/>
                  </a:lnTo>
                  <a:lnTo>
                    <a:pt x="35" y="13"/>
                  </a:lnTo>
                  <a:lnTo>
                    <a:pt x="51" y="10"/>
                  </a:lnTo>
                  <a:lnTo>
                    <a:pt x="51" y="9"/>
                  </a:lnTo>
                  <a:lnTo>
                    <a:pt x="49" y="9"/>
                  </a:lnTo>
                  <a:lnTo>
                    <a:pt x="49" y="7"/>
                  </a:lnTo>
                  <a:lnTo>
                    <a:pt x="45" y="7"/>
                  </a:lnTo>
                  <a:lnTo>
                    <a:pt x="43" y="7"/>
                  </a:lnTo>
                  <a:lnTo>
                    <a:pt x="43" y="7"/>
                  </a:lnTo>
                  <a:lnTo>
                    <a:pt x="43" y="7"/>
                  </a:lnTo>
                  <a:lnTo>
                    <a:pt x="45" y="2"/>
                  </a:lnTo>
                  <a:lnTo>
                    <a:pt x="46" y="0"/>
                  </a:lnTo>
                  <a:lnTo>
                    <a:pt x="48" y="0"/>
                  </a:lnTo>
                  <a:lnTo>
                    <a:pt x="49" y="0"/>
                  </a:lnTo>
                  <a:lnTo>
                    <a:pt x="49" y="2"/>
                  </a:lnTo>
                  <a:lnTo>
                    <a:pt x="51" y="7"/>
                  </a:lnTo>
                  <a:lnTo>
                    <a:pt x="52" y="7"/>
                  </a:lnTo>
                  <a:lnTo>
                    <a:pt x="53" y="10"/>
                  </a:lnTo>
                  <a:lnTo>
                    <a:pt x="69" y="15"/>
                  </a:lnTo>
                  <a:lnTo>
                    <a:pt x="71" y="16"/>
                  </a:lnTo>
                  <a:lnTo>
                    <a:pt x="72" y="23"/>
                  </a:lnTo>
                  <a:lnTo>
                    <a:pt x="75" y="25"/>
                  </a:lnTo>
                  <a:lnTo>
                    <a:pt x="103" y="23"/>
                  </a:lnTo>
                  <a:lnTo>
                    <a:pt x="103" y="23"/>
                  </a:lnTo>
                  <a:lnTo>
                    <a:pt x="104" y="25"/>
                  </a:lnTo>
                  <a:lnTo>
                    <a:pt x="104" y="26"/>
                  </a:lnTo>
                  <a:lnTo>
                    <a:pt x="106" y="28"/>
                  </a:lnTo>
                  <a:lnTo>
                    <a:pt x="111" y="29"/>
                  </a:lnTo>
                  <a:lnTo>
                    <a:pt x="123" y="29"/>
                  </a:lnTo>
                  <a:lnTo>
                    <a:pt x="127" y="26"/>
                  </a:lnTo>
                  <a:lnTo>
                    <a:pt x="135" y="25"/>
                  </a:lnTo>
                  <a:lnTo>
                    <a:pt x="136" y="25"/>
                  </a:lnTo>
                  <a:lnTo>
                    <a:pt x="136" y="23"/>
                  </a:lnTo>
                  <a:lnTo>
                    <a:pt x="130" y="23"/>
                  </a:lnTo>
                  <a:lnTo>
                    <a:pt x="129" y="23"/>
                  </a:lnTo>
                  <a:lnTo>
                    <a:pt x="129" y="23"/>
                  </a:lnTo>
                  <a:lnTo>
                    <a:pt x="130" y="22"/>
                  </a:lnTo>
                  <a:lnTo>
                    <a:pt x="159" y="22"/>
                  </a:lnTo>
                  <a:lnTo>
                    <a:pt x="159" y="22"/>
                  </a:lnTo>
                  <a:lnTo>
                    <a:pt x="159" y="23"/>
                  </a:lnTo>
                  <a:lnTo>
                    <a:pt x="156" y="23"/>
                  </a:lnTo>
                  <a:lnTo>
                    <a:pt x="156" y="23"/>
                  </a:lnTo>
                  <a:lnTo>
                    <a:pt x="155" y="25"/>
                  </a:lnTo>
                  <a:lnTo>
                    <a:pt x="152" y="25"/>
                  </a:lnTo>
                  <a:lnTo>
                    <a:pt x="148" y="25"/>
                  </a:lnTo>
                  <a:lnTo>
                    <a:pt x="146" y="26"/>
                  </a:lnTo>
                  <a:lnTo>
                    <a:pt x="148" y="26"/>
                  </a:lnTo>
                  <a:lnTo>
                    <a:pt x="151" y="28"/>
                  </a:lnTo>
                  <a:lnTo>
                    <a:pt x="152" y="29"/>
                  </a:lnTo>
                  <a:lnTo>
                    <a:pt x="152" y="31"/>
                  </a:lnTo>
                  <a:lnTo>
                    <a:pt x="155" y="32"/>
                  </a:lnTo>
                  <a:lnTo>
                    <a:pt x="155" y="34"/>
                  </a:lnTo>
                  <a:lnTo>
                    <a:pt x="156" y="35"/>
                  </a:lnTo>
                  <a:lnTo>
                    <a:pt x="159" y="35"/>
                  </a:lnTo>
                  <a:lnTo>
                    <a:pt x="165" y="35"/>
                  </a:lnTo>
                  <a:lnTo>
                    <a:pt x="171" y="39"/>
                  </a:lnTo>
                  <a:lnTo>
                    <a:pt x="174" y="39"/>
                  </a:lnTo>
                  <a:lnTo>
                    <a:pt x="175" y="41"/>
                  </a:lnTo>
                  <a:lnTo>
                    <a:pt x="178" y="47"/>
                  </a:lnTo>
                  <a:lnTo>
                    <a:pt x="178" y="50"/>
                  </a:lnTo>
                  <a:lnTo>
                    <a:pt x="178" y="51"/>
                  </a:lnTo>
                  <a:lnTo>
                    <a:pt x="177" y="52"/>
                  </a:lnTo>
                  <a:lnTo>
                    <a:pt x="175" y="52"/>
                  </a:lnTo>
                  <a:lnTo>
                    <a:pt x="175" y="54"/>
                  </a:lnTo>
                  <a:lnTo>
                    <a:pt x="175" y="54"/>
                  </a:lnTo>
                  <a:lnTo>
                    <a:pt x="181" y="55"/>
                  </a:lnTo>
                  <a:lnTo>
                    <a:pt x="181" y="54"/>
                  </a:lnTo>
                  <a:lnTo>
                    <a:pt x="184" y="52"/>
                  </a:lnTo>
                  <a:lnTo>
                    <a:pt x="186" y="52"/>
                  </a:lnTo>
                  <a:lnTo>
                    <a:pt x="190" y="54"/>
                  </a:lnTo>
                  <a:lnTo>
                    <a:pt x="191" y="55"/>
                  </a:lnTo>
                  <a:lnTo>
                    <a:pt x="191" y="57"/>
                  </a:lnTo>
                  <a:lnTo>
                    <a:pt x="191" y="58"/>
                  </a:lnTo>
                  <a:lnTo>
                    <a:pt x="191" y="60"/>
                  </a:lnTo>
                  <a:lnTo>
                    <a:pt x="190" y="60"/>
                  </a:lnTo>
                  <a:lnTo>
                    <a:pt x="188" y="60"/>
                  </a:lnTo>
                  <a:lnTo>
                    <a:pt x="187" y="61"/>
                  </a:lnTo>
                  <a:lnTo>
                    <a:pt x="183" y="63"/>
                  </a:lnTo>
                  <a:lnTo>
                    <a:pt x="181" y="64"/>
                  </a:lnTo>
                  <a:lnTo>
                    <a:pt x="181" y="64"/>
                  </a:lnTo>
                  <a:lnTo>
                    <a:pt x="178" y="66"/>
                  </a:lnTo>
                  <a:lnTo>
                    <a:pt x="178" y="66"/>
                  </a:lnTo>
                  <a:lnTo>
                    <a:pt x="177" y="67"/>
                  </a:lnTo>
                  <a:lnTo>
                    <a:pt x="178" y="73"/>
                  </a:lnTo>
                  <a:lnTo>
                    <a:pt x="180" y="73"/>
                  </a:lnTo>
                  <a:lnTo>
                    <a:pt x="181" y="73"/>
                  </a:lnTo>
                  <a:lnTo>
                    <a:pt x="181" y="73"/>
                  </a:lnTo>
                  <a:lnTo>
                    <a:pt x="183" y="74"/>
                  </a:lnTo>
                  <a:lnTo>
                    <a:pt x="181" y="76"/>
                  </a:lnTo>
                  <a:lnTo>
                    <a:pt x="174" y="79"/>
                  </a:lnTo>
                  <a:lnTo>
                    <a:pt x="174" y="80"/>
                  </a:lnTo>
                  <a:lnTo>
                    <a:pt x="174" y="83"/>
                  </a:lnTo>
                  <a:lnTo>
                    <a:pt x="171" y="87"/>
                  </a:lnTo>
                  <a:lnTo>
                    <a:pt x="171" y="87"/>
                  </a:lnTo>
                  <a:lnTo>
                    <a:pt x="171" y="89"/>
                  </a:lnTo>
                  <a:lnTo>
                    <a:pt x="171" y="89"/>
                  </a:lnTo>
                  <a:lnTo>
                    <a:pt x="180" y="100"/>
                  </a:lnTo>
                  <a:lnTo>
                    <a:pt x="180" y="100"/>
                  </a:lnTo>
                  <a:lnTo>
                    <a:pt x="180" y="105"/>
                  </a:lnTo>
                  <a:lnTo>
                    <a:pt x="175" y="109"/>
                  </a:lnTo>
                  <a:lnTo>
                    <a:pt x="175" y="109"/>
                  </a:lnTo>
                  <a:lnTo>
                    <a:pt x="171" y="111"/>
                  </a:lnTo>
                  <a:lnTo>
                    <a:pt x="167" y="112"/>
                  </a:lnTo>
                  <a:lnTo>
                    <a:pt x="165" y="115"/>
                  </a:lnTo>
                  <a:lnTo>
                    <a:pt x="164" y="115"/>
                  </a:lnTo>
                  <a:lnTo>
                    <a:pt x="148" y="118"/>
                  </a:lnTo>
                  <a:lnTo>
                    <a:pt x="146" y="119"/>
                  </a:lnTo>
                  <a:lnTo>
                    <a:pt x="146" y="119"/>
                  </a:lnTo>
                  <a:lnTo>
                    <a:pt x="141" y="119"/>
                  </a:lnTo>
                  <a:lnTo>
                    <a:pt x="122" y="113"/>
                  </a:lnTo>
                  <a:lnTo>
                    <a:pt x="122" y="113"/>
                  </a:lnTo>
                  <a:lnTo>
                    <a:pt x="120" y="113"/>
                  </a:lnTo>
                  <a:lnTo>
                    <a:pt x="122" y="116"/>
                  </a:lnTo>
                  <a:lnTo>
                    <a:pt x="122" y="118"/>
                  </a:lnTo>
                  <a:lnTo>
                    <a:pt x="127" y="121"/>
                  </a:lnTo>
                  <a:lnTo>
                    <a:pt x="129" y="122"/>
                  </a:lnTo>
                  <a:lnTo>
                    <a:pt x="127" y="132"/>
                  </a:lnTo>
                  <a:lnTo>
                    <a:pt x="130" y="140"/>
                  </a:lnTo>
                  <a:lnTo>
                    <a:pt x="133" y="141"/>
                  </a:lnTo>
                  <a:lnTo>
                    <a:pt x="135" y="141"/>
                  </a:lnTo>
                  <a:lnTo>
                    <a:pt x="141" y="141"/>
                  </a:lnTo>
                  <a:lnTo>
                    <a:pt x="141" y="143"/>
                  </a:lnTo>
                  <a:lnTo>
                    <a:pt x="141" y="144"/>
                  </a:lnTo>
                  <a:lnTo>
                    <a:pt x="138" y="144"/>
                  </a:lnTo>
                  <a:lnTo>
                    <a:pt x="136" y="145"/>
                  </a:lnTo>
                  <a:lnTo>
                    <a:pt x="135" y="145"/>
                  </a:lnTo>
                  <a:lnTo>
                    <a:pt x="133" y="147"/>
                  </a:lnTo>
                  <a:lnTo>
                    <a:pt x="132" y="147"/>
                  </a:lnTo>
                  <a:lnTo>
                    <a:pt x="130" y="148"/>
                  </a:lnTo>
                  <a:lnTo>
                    <a:pt x="129" y="153"/>
                  </a:lnTo>
                  <a:lnTo>
                    <a:pt x="127" y="154"/>
                  </a:lnTo>
                  <a:lnTo>
                    <a:pt x="126" y="154"/>
                  </a:lnTo>
                  <a:lnTo>
                    <a:pt x="125" y="154"/>
                  </a:lnTo>
                  <a:lnTo>
                    <a:pt x="123" y="156"/>
                  </a:lnTo>
                  <a:lnTo>
                    <a:pt x="122" y="157"/>
                  </a:lnTo>
                  <a:lnTo>
                    <a:pt x="111" y="160"/>
                  </a:lnTo>
                  <a:lnTo>
                    <a:pt x="109" y="163"/>
                  </a:lnTo>
                  <a:lnTo>
                    <a:pt x="98" y="164"/>
                  </a:lnTo>
                  <a:lnTo>
                    <a:pt x="98" y="163"/>
                  </a:lnTo>
                  <a:lnTo>
                    <a:pt x="98" y="163"/>
                  </a:lnTo>
                  <a:lnTo>
                    <a:pt x="94" y="160"/>
                  </a:lnTo>
                  <a:lnTo>
                    <a:pt x="82" y="138"/>
                  </a:lnTo>
                  <a:lnTo>
                    <a:pt x="78" y="135"/>
                  </a:lnTo>
                  <a:lnTo>
                    <a:pt x="78" y="134"/>
                  </a:lnTo>
                  <a:lnTo>
                    <a:pt x="82" y="129"/>
                  </a:lnTo>
                  <a:lnTo>
                    <a:pt x="84" y="129"/>
                  </a:lnTo>
                  <a:lnTo>
                    <a:pt x="84" y="128"/>
                  </a:lnTo>
                  <a:lnTo>
                    <a:pt x="85" y="128"/>
                  </a:lnTo>
                  <a:lnTo>
                    <a:pt x="85" y="127"/>
                  </a:lnTo>
                  <a:lnTo>
                    <a:pt x="85" y="125"/>
                  </a:lnTo>
                  <a:lnTo>
                    <a:pt x="84" y="124"/>
                  </a:lnTo>
                  <a:lnTo>
                    <a:pt x="82" y="121"/>
                  </a:lnTo>
                  <a:lnTo>
                    <a:pt x="81" y="119"/>
                  </a:lnTo>
                  <a:lnTo>
                    <a:pt x="80" y="118"/>
                  </a:lnTo>
                  <a:lnTo>
                    <a:pt x="78" y="118"/>
                  </a:lnTo>
                  <a:lnTo>
                    <a:pt x="78" y="111"/>
                  </a:lnTo>
                  <a:lnTo>
                    <a:pt x="77" y="109"/>
                  </a:lnTo>
                  <a:lnTo>
                    <a:pt x="77" y="106"/>
                  </a:lnTo>
                  <a:lnTo>
                    <a:pt x="78" y="105"/>
                  </a:lnTo>
                  <a:lnTo>
                    <a:pt x="78" y="102"/>
                  </a:lnTo>
                  <a:lnTo>
                    <a:pt x="78" y="99"/>
                  </a:lnTo>
                  <a:lnTo>
                    <a:pt x="81" y="96"/>
                  </a:lnTo>
                  <a:lnTo>
                    <a:pt x="81" y="93"/>
                  </a:lnTo>
                  <a:lnTo>
                    <a:pt x="81" y="92"/>
                  </a:lnTo>
                  <a:lnTo>
                    <a:pt x="82" y="90"/>
                  </a:lnTo>
                  <a:lnTo>
                    <a:pt x="82" y="89"/>
                  </a:lnTo>
                  <a:lnTo>
                    <a:pt x="82" y="86"/>
                  </a:lnTo>
                  <a:lnTo>
                    <a:pt x="81" y="86"/>
                  </a:lnTo>
                  <a:lnTo>
                    <a:pt x="81" y="86"/>
                  </a:lnTo>
                  <a:lnTo>
                    <a:pt x="71" y="89"/>
                  </a:lnTo>
                  <a:lnTo>
                    <a:pt x="66" y="87"/>
                  </a:lnTo>
                  <a:lnTo>
                    <a:pt x="62" y="86"/>
                  </a:lnTo>
                  <a:lnTo>
                    <a:pt x="59" y="87"/>
                  </a:lnTo>
                  <a:lnTo>
                    <a:pt x="59" y="87"/>
                  </a:lnTo>
                  <a:lnTo>
                    <a:pt x="55" y="87"/>
                  </a:lnTo>
                  <a:lnTo>
                    <a:pt x="55" y="87"/>
                  </a:lnTo>
                  <a:lnTo>
                    <a:pt x="55" y="87"/>
                  </a:lnTo>
                  <a:lnTo>
                    <a:pt x="46" y="77"/>
                  </a:lnTo>
                  <a:lnTo>
                    <a:pt x="46" y="76"/>
                  </a:lnTo>
                  <a:lnTo>
                    <a:pt x="39" y="73"/>
                  </a:lnTo>
                  <a:lnTo>
                    <a:pt x="27" y="74"/>
                  </a:lnTo>
                  <a:lnTo>
                    <a:pt x="19" y="73"/>
                  </a:lnTo>
                  <a:lnTo>
                    <a:pt x="17" y="71"/>
                  </a:lnTo>
                  <a:lnTo>
                    <a:pt x="16" y="70"/>
                  </a:lnTo>
                  <a:lnTo>
                    <a:pt x="13" y="68"/>
                  </a:lnTo>
                  <a:lnTo>
                    <a:pt x="13" y="68"/>
                  </a:lnTo>
                  <a:lnTo>
                    <a:pt x="13" y="57"/>
                  </a:lnTo>
                  <a:lnTo>
                    <a:pt x="11" y="55"/>
                  </a:lnTo>
                  <a:lnTo>
                    <a:pt x="10" y="55"/>
                  </a:lnTo>
                  <a:lnTo>
                    <a:pt x="10" y="54"/>
                  </a:lnTo>
                  <a:lnTo>
                    <a:pt x="8" y="52"/>
                  </a:lnTo>
                  <a:lnTo>
                    <a:pt x="5" y="44"/>
                  </a:lnTo>
                  <a:lnTo>
                    <a:pt x="5" y="44"/>
                  </a:lnTo>
                  <a:lnTo>
                    <a:pt x="0" y="44"/>
                  </a:lnTo>
                  <a:lnTo>
                    <a:pt x="5" y="25"/>
                  </a:lnTo>
                  <a:lnTo>
                    <a:pt x="20" y="7"/>
                  </a:lnTo>
                  <a:lnTo>
                    <a:pt x="23" y="6"/>
                  </a:lnTo>
                  <a:lnTo>
                    <a:pt x="27"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4" name="Freeform 230"/>
            <p:cNvSpPr>
              <a:spLocks/>
            </p:cNvSpPr>
            <p:nvPr/>
          </p:nvSpPr>
          <p:spPr bwMode="auto">
            <a:xfrm>
              <a:off x="5163044" y="3094110"/>
              <a:ext cx="174682" cy="170375"/>
            </a:xfrm>
            <a:custGeom>
              <a:avLst/>
              <a:gdLst/>
              <a:ahLst/>
              <a:cxnLst>
                <a:cxn ang="0">
                  <a:pos x="20" y="10"/>
                </a:cxn>
                <a:cxn ang="0">
                  <a:pos x="23" y="19"/>
                </a:cxn>
                <a:cxn ang="0">
                  <a:pos x="19" y="29"/>
                </a:cxn>
                <a:cxn ang="0">
                  <a:pos x="21" y="39"/>
                </a:cxn>
                <a:cxn ang="0">
                  <a:pos x="29" y="45"/>
                </a:cxn>
                <a:cxn ang="0">
                  <a:pos x="26" y="20"/>
                </a:cxn>
                <a:cxn ang="0">
                  <a:pos x="30" y="18"/>
                </a:cxn>
                <a:cxn ang="0">
                  <a:pos x="49" y="9"/>
                </a:cxn>
                <a:cxn ang="0">
                  <a:pos x="43" y="7"/>
                </a:cxn>
                <a:cxn ang="0">
                  <a:pos x="48" y="0"/>
                </a:cxn>
                <a:cxn ang="0">
                  <a:pos x="52" y="7"/>
                </a:cxn>
                <a:cxn ang="0">
                  <a:pos x="72" y="23"/>
                </a:cxn>
                <a:cxn ang="0">
                  <a:pos x="104" y="25"/>
                </a:cxn>
                <a:cxn ang="0">
                  <a:pos x="123" y="29"/>
                </a:cxn>
                <a:cxn ang="0">
                  <a:pos x="136" y="23"/>
                </a:cxn>
                <a:cxn ang="0">
                  <a:pos x="130" y="22"/>
                </a:cxn>
                <a:cxn ang="0">
                  <a:pos x="156" y="23"/>
                </a:cxn>
                <a:cxn ang="0">
                  <a:pos x="148" y="25"/>
                </a:cxn>
                <a:cxn ang="0">
                  <a:pos x="152" y="29"/>
                </a:cxn>
                <a:cxn ang="0">
                  <a:pos x="156" y="35"/>
                </a:cxn>
                <a:cxn ang="0">
                  <a:pos x="174" y="39"/>
                </a:cxn>
                <a:cxn ang="0">
                  <a:pos x="178" y="51"/>
                </a:cxn>
                <a:cxn ang="0">
                  <a:pos x="175" y="54"/>
                </a:cxn>
                <a:cxn ang="0">
                  <a:pos x="186" y="52"/>
                </a:cxn>
                <a:cxn ang="0">
                  <a:pos x="191" y="58"/>
                </a:cxn>
                <a:cxn ang="0">
                  <a:pos x="187" y="61"/>
                </a:cxn>
                <a:cxn ang="0">
                  <a:pos x="178" y="66"/>
                </a:cxn>
                <a:cxn ang="0">
                  <a:pos x="180" y="73"/>
                </a:cxn>
                <a:cxn ang="0">
                  <a:pos x="181" y="76"/>
                </a:cxn>
                <a:cxn ang="0">
                  <a:pos x="171" y="87"/>
                </a:cxn>
                <a:cxn ang="0">
                  <a:pos x="180" y="100"/>
                </a:cxn>
                <a:cxn ang="0">
                  <a:pos x="175" y="109"/>
                </a:cxn>
                <a:cxn ang="0">
                  <a:pos x="164" y="115"/>
                </a:cxn>
                <a:cxn ang="0">
                  <a:pos x="141" y="119"/>
                </a:cxn>
                <a:cxn ang="0">
                  <a:pos x="122" y="116"/>
                </a:cxn>
                <a:cxn ang="0">
                  <a:pos x="127" y="132"/>
                </a:cxn>
                <a:cxn ang="0">
                  <a:pos x="141" y="141"/>
                </a:cxn>
                <a:cxn ang="0">
                  <a:pos x="136" y="145"/>
                </a:cxn>
                <a:cxn ang="0">
                  <a:pos x="130" y="148"/>
                </a:cxn>
                <a:cxn ang="0">
                  <a:pos x="125" y="154"/>
                </a:cxn>
                <a:cxn ang="0">
                  <a:pos x="109" y="163"/>
                </a:cxn>
                <a:cxn ang="0">
                  <a:pos x="94" y="160"/>
                </a:cxn>
                <a:cxn ang="0">
                  <a:pos x="82" y="129"/>
                </a:cxn>
                <a:cxn ang="0">
                  <a:pos x="85" y="127"/>
                </a:cxn>
                <a:cxn ang="0">
                  <a:pos x="81" y="119"/>
                </a:cxn>
                <a:cxn ang="0">
                  <a:pos x="77" y="109"/>
                </a:cxn>
                <a:cxn ang="0">
                  <a:pos x="78" y="99"/>
                </a:cxn>
                <a:cxn ang="0">
                  <a:pos x="82" y="90"/>
                </a:cxn>
                <a:cxn ang="0">
                  <a:pos x="81" y="86"/>
                </a:cxn>
                <a:cxn ang="0">
                  <a:pos x="59" y="87"/>
                </a:cxn>
                <a:cxn ang="0">
                  <a:pos x="55" y="87"/>
                </a:cxn>
                <a:cxn ang="0">
                  <a:pos x="27" y="74"/>
                </a:cxn>
                <a:cxn ang="0">
                  <a:pos x="13" y="68"/>
                </a:cxn>
                <a:cxn ang="0">
                  <a:pos x="10" y="55"/>
                </a:cxn>
                <a:cxn ang="0">
                  <a:pos x="5" y="44"/>
                </a:cxn>
                <a:cxn ang="0">
                  <a:pos x="23" y="6"/>
                </a:cxn>
              </a:cxnLst>
              <a:rect l="0" t="0" r="r" b="b"/>
              <a:pathLst>
                <a:path w="191" h="164">
                  <a:moveTo>
                    <a:pt x="27" y="6"/>
                  </a:moveTo>
                  <a:lnTo>
                    <a:pt x="24" y="7"/>
                  </a:lnTo>
                  <a:lnTo>
                    <a:pt x="20" y="9"/>
                  </a:lnTo>
                  <a:lnTo>
                    <a:pt x="20" y="10"/>
                  </a:lnTo>
                  <a:lnTo>
                    <a:pt x="21" y="15"/>
                  </a:lnTo>
                  <a:lnTo>
                    <a:pt x="23" y="18"/>
                  </a:lnTo>
                  <a:lnTo>
                    <a:pt x="24" y="18"/>
                  </a:lnTo>
                  <a:lnTo>
                    <a:pt x="23" y="19"/>
                  </a:lnTo>
                  <a:lnTo>
                    <a:pt x="23" y="19"/>
                  </a:lnTo>
                  <a:lnTo>
                    <a:pt x="24" y="20"/>
                  </a:lnTo>
                  <a:lnTo>
                    <a:pt x="23" y="25"/>
                  </a:lnTo>
                  <a:lnTo>
                    <a:pt x="19" y="29"/>
                  </a:lnTo>
                  <a:lnTo>
                    <a:pt x="19" y="31"/>
                  </a:lnTo>
                  <a:lnTo>
                    <a:pt x="19" y="36"/>
                  </a:lnTo>
                  <a:lnTo>
                    <a:pt x="20" y="38"/>
                  </a:lnTo>
                  <a:lnTo>
                    <a:pt x="21" y="39"/>
                  </a:lnTo>
                  <a:lnTo>
                    <a:pt x="24" y="45"/>
                  </a:lnTo>
                  <a:lnTo>
                    <a:pt x="24" y="45"/>
                  </a:lnTo>
                  <a:lnTo>
                    <a:pt x="26" y="45"/>
                  </a:lnTo>
                  <a:lnTo>
                    <a:pt x="29" y="45"/>
                  </a:lnTo>
                  <a:lnTo>
                    <a:pt x="32" y="42"/>
                  </a:lnTo>
                  <a:lnTo>
                    <a:pt x="32" y="35"/>
                  </a:lnTo>
                  <a:lnTo>
                    <a:pt x="26" y="26"/>
                  </a:lnTo>
                  <a:lnTo>
                    <a:pt x="26" y="20"/>
                  </a:lnTo>
                  <a:lnTo>
                    <a:pt x="27" y="19"/>
                  </a:lnTo>
                  <a:lnTo>
                    <a:pt x="27" y="19"/>
                  </a:lnTo>
                  <a:lnTo>
                    <a:pt x="29" y="18"/>
                  </a:lnTo>
                  <a:lnTo>
                    <a:pt x="30" y="18"/>
                  </a:lnTo>
                  <a:lnTo>
                    <a:pt x="35" y="13"/>
                  </a:lnTo>
                  <a:lnTo>
                    <a:pt x="51" y="10"/>
                  </a:lnTo>
                  <a:lnTo>
                    <a:pt x="51" y="9"/>
                  </a:lnTo>
                  <a:lnTo>
                    <a:pt x="49" y="9"/>
                  </a:lnTo>
                  <a:lnTo>
                    <a:pt x="49" y="7"/>
                  </a:lnTo>
                  <a:lnTo>
                    <a:pt x="45" y="7"/>
                  </a:lnTo>
                  <a:lnTo>
                    <a:pt x="43" y="7"/>
                  </a:lnTo>
                  <a:lnTo>
                    <a:pt x="43" y="7"/>
                  </a:lnTo>
                  <a:lnTo>
                    <a:pt x="43" y="7"/>
                  </a:lnTo>
                  <a:lnTo>
                    <a:pt x="45" y="2"/>
                  </a:lnTo>
                  <a:lnTo>
                    <a:pt x="46" y="0"/>
                  </a:lnTo>
                  <a:lnTo>
                    <a:pt x="48" y="0"/>
                  </a:lnTo>
                  <a:lnTo>
                    <a:pt x="49" y="0"/>
                  </a:lnTo>
                  <a:lnTo>
                    <a:pt x="49" y="2"/>
                  </a:lnTo>
                  <a:lnTo>
                    <a:pt x="51" y="7"/>
                  </a:lnTo>
                  <a:lnTo>
                    <a:pt x="52" y="7"/>
                  </a:lnTo>
                  <a:lnTo>
                    <a:pt x="53" y="10"/>
                  </a:lnTo>
                  <a:lnTo>
                    <a:pt x="69" y="15"/>
                  </a:lnTo>
                  <a:lnTo>
                    <a:pt x="71" y="16"/>
                  </a:lnTo>
                  <a:lnTo>
                    <a:pt x="72" y="23"/>
                  </a:lnTo>
                  <a:lnTo>
                    <a:pt x="75" y="25"/>
                  </a:lnTo>
                  <a:lnTo>
                    <a:pt x="103" y="23"/>
                  </a:lnTo>
                  <a:lnTo>
                    <a:pt x="103" y="23"/>
                  </a:lnTo>
                  <a:lnTo>
                    <a:pt x="104" y="25"/>
                  </a:lnTo>
                  <a:lnTo>
                    <a:pt x="104" y="26"/>
                  </a:lnTo>
                  <a:lnTo>
                    <a:pt x="106" y="28"/>
                  </a:lnTo>
                  <a:lnTo>
                    <a:pt x="111" y="29"/>
                  </a:lnTo>
                  <a:lnTo>
                    <a:pt x="123" y="29"/>
                  </a:lnTo>
                  <a:lnTo>
                    <a:pt x="127" y="26"/>
                  </a:lnTo>
                  <a:lnTo>
                    <a:pt x="135" y="25"/>
                  </a:lnTo>
                  <a:lnTo>
                    <a:pt x="136" y="25"/>
                  </a:lnTo>
                  <a:lnTo>
                    <a:pt x="136" y="23"/>
                  </a:lnTo>
                  <a:lnTo>
                    <a:pt x="130" y="23"/>
                  </a:lnTo>
                  <a:lnTo>
                    <a:pt x="129" y="23"/>
                  </a:lnTo>
                  <a:lnTo>
                    <a:pt x="129" y="23"/>
                  </a:lnTo>
                  <a:lnTo>
                    <a:pt x="130" y="22"/>
                  </a:lnTo>
                  <a:lnTo>
                    <a:pt x="159" y="22"/>
                  </a:lnTo>
                  <a:lnTo>
                    <a:pt x="159" y="22"/>
                  </a:lnTo>
                  <a:lnTo>
                    <a:pt x="159" y="23"/>
                  </a:lnTo>
                  <a:lnTo>
                    <a:pt x="156" y="23"/>
                  </a:lnTo>
                  <a:lnTo>
                    <a:pt x="156" y="23"/>
                  </a:lnTo>
                  <a:lnTo>
                    <a:pt x="155" y="25"/>
                  </a:lnTo>
                  <a:lnTo>
                    <a:pt x="152" y="25"/>
                  </a:lnTo>
                  <a:lnTo>
                    <a:pt x="148" y="25"/>
                  </a:lnTo>
                  <a:lnTo>
                    <a:pt x="146" y="26"/>
                  </a:lnTo>
                  <a:lnTo>
                    <a:pt x="148" y="26"/>
                  </a:lnTo>
                  <a:lnTo>
                    <a:pt x="151" y="28"/>
                  </a:lnTo>
                  <a:lnTo>
                    <a:pt x="152" y="29"/>
                  </a:lnTo>
                  <a:lnTo>
                    <a:pt x="152" y="31"/>
                  </a:lnTo>
                  <a:lnTo>
                    <a:pt x="155" y="32"/>
                  </a:lnTo>
                  <a:lnTo>
                    <a:pt x="155" y="34"/>
                  </a:lnTo>
                  <a:lnTo>
                    <a:pt x="156" y="35"/>
                  </a:lnTo>
                  <a:lnTo>
                    <a:pt x="159" y="35"/>
                  </a:lnTo>
                  <a:lnTo>
                    <a:pt x="165" y="35"/>
                  </a:lnTo>
                  <a:lnTo>
                    <a:pt x="171" y="39"/>
                  </a:lnTo>
                  <a:lnTo>
                    <a:pt x="174" y="39"/>
                  </a:lnTo>
                  <a:lnTo>
                    <a:pt x="175" y="41"/>
                  </a:lnTo>
                  <a:lnTo>
                    <a:pt x="178" y="47"/>
                  </a:lnTo>
                  <a:lnTo>
                    <a:pt x="178" y="50"/>
                  </a:lnTo>
                  <a:lnTo>
                    <a:pt x="178" y="51"/>
                  </a:lnTo>
                  <a:lnTo>
                    <a:pt x="177" y="52"/>
                  </a:lnTo>
                  <a:lnTo>
                    <a:pt x="175" y="52"/>
                  </a:lnTo>
                  <a:lnTo>
                    <a:pt x="175" y="54"/>
                  </a:lnTo>
                  <a:lnTo>
                    <a:pt x="175" y="54"/>
                  </a:lnTo>
                  <a:lnTo>
                    <a:pt x="181" y="55"/>
                  </a:lnTo>
                  <a:lnTo>
                    <a:pt x="181" y="54"/>
                  </a:lnTo>
                  <a:lnTo>
                    <a:pt x="184" y="52"/>
                  </a:lnTo>
                  <a:lnTo>
                    <a:pt x="186" y="52"/>
                  </a:lnTo>
                  <a:lnTo>
                    <a:pt x="190" y="54"/>
                  </a:lnTo>
                  <a:lnTo>
                    <a:pt x="191" y="55"/>
                  </a:lnTo>
                  <a:lnTo>
                    <a:pt x="191" y="57"/>
                  </a:lnTo>
                  <a:lnTo>
                    <a:pt x="191" y="58"/>
                  </a:lnTo>
                  <a:lnTo>
                    <a:pt x="191" y="60"/>
                  </a:lnTo>
                  <a:lnTo>
                    <a:pt x="190" y="60"/>
                  </a:lnTo>
                  <a:lnTo>
                    <a:pt x="188" y="60"/>
                  </a:lnTo>
                  <a:lnTo>
                    <a:pt x="187" y="61"/>
                  </a:lnTo>
                  <a:lnTo>
                    <a:pt x="183" y="63"/>
                  </a:lnTo>
                  <a:lnTo>
                    <a:pt x="181" y="64"/>
                  </a:lnTo>
                  <a:lnTo>
                    <a:pt x="181" y="64"/>
                  </a:lnTo>
                  <a:lnTo>
                    <a:pt x="178" y="66"/>
                  </a:lnTo>
                  <a:lnTo>
                    <a:pt x="178" y="66"/>
                  </a:lnTo>
                  <a:lnTo>
                    <a:pt x="177" y="67"/>
                  </a:lnTo>
                  <a:lnTo>
                    <a:pt x="178" y="73"/>
                  </a:lnTo>
                  <a:lnTo>
                    <a:pt x="180" y="73"/>
                  </a:lnTo>
                  <a:lnTo>
                    <a:pt x="181" y="73"/>
                  </a:lnTo>
                  <a:lnTo>
                    <a:pt x="181" y="73"/>
                  </a:lnTo>
                  <a:lnTo>
                    <a:pt x="183" y="74"/>
                  </a:lnTo>
                  <a:lnTo>
                    <a:pt x="181" y="76"/>
                  </a:lnTo>
                  <a:lnTo>
                    <a:pt x="174" y="79"/>
                  </a:lnTo>
                  <a:lnTo>
                    <a:pt x="174" y="80"/>
                  </a:lnTo>
                  <a:lnTo>
                    <a:pt x="174" y="83"/>
                  </a:lnTo>
                  <a:lnTo>
                    <a:pt x="171" y="87"/>
                  </a:lnTo>
                  <a:lnTo>
                    <a:pt x="171" y="87"/>
                  </a:lnTo>
                  <a:lnTo>
                    <a:pt x="171" y="89"/>
                  </a:lnTo>
                  <a:lnTo>
                    <a:pt x="171" y="89"/>
                  </a:lnTo>
                  <a:lnTo>
                    <a:pt x="180" y="100"/>
                  </a:lnTo>
                  <a:lnTo>
                    <a:pt x="180" y="100"/>
                  </a:lnTo>
                  <a:lnTo>
                    <a:pt x="180" y="105"/>
                  </a:lnTo>
                  <a:lnTo>
                    <a:pt x="175" y="109"/>
                  </a:lnTo>
                  <a:lnTo>
                    <a:pt x="175" y="109"/>
                  </a:lnTo>
                  <a:lnTo>
                    <a:pt x="171" y="111"/>
                  </a:lnTo>
                  <a:lnTo>
                    <a:pt x="167" y="112"/>
                  </a:lnTo>
                  <a:lnTo>
                    <a:pt x="165" y="115"/>
                  </a:lnTo>
                  <a:lnTo>
                    <a:pt x="164" y="115"/>
                  </a:lnTo>
                  <a:lnTo>
                    <a:pt x="148" y="118"/>
                  </a:lnTo>
                  <a:lnTo>
                    <a:pt x="146" y="119"/>
                  </a:lnTo>
                  <a:lnTo>
                    <a:pt x="146" y="119"/>
                  </a:lnTo>
                  <a:lnTo>
                    <a:pt x="141" y="119"/>
                  </a:lnTo>
                  <a:lnTo>
                    <a:pt x="122" y="113"/>
                  </a:lnTo>
                  <a:lnTo>
                    <a:pt x="122" y="113"/>
                  </a:lnTo>
                  <a:lnTo>
                    <a:pt x="120" y="113"/>
                  </a:lnTo>
                  <a:lnTo>
                    <a:pt x="122" y="116"/>
                  </a:lnTo>
                  <a:lnTo>
                    <a:pt x="122" y="118"/>
                  </a:lnTo>
                  <a:lnTo>
                    <a:pt x="127" y="121"/>
                  </a:lnTo>
                  <a:lnTo>
                    <a:pt x="129" y="122"/>
                  </a:lnTo>
                  <a:lnTo>
                    <a:pt x="127" y="132"/>
                  </a:lnTo>
                  <a:lnTo>
                    <a:pt x="130" y="140"/>
                  </a:lnTo>
                  <a:lnTo>
                    <a:pt x="133" y="141"/>
                  </a:lnTo>
                  <a:lnTo>
                    <a:pt x="135" y="141"/>
                  </a:lnTo>
                  <a:lnTo>
                    <a:pt x="141" y="141"/>
                  </a:lnTo>
                  <a:lnTo>
                    <a:pt x="141" y="143"/>
                  </a:lnTo>
                  <a:lnTo>
                    <a:pt x="141" y="144"/>
                  </a:lnTo>
                  <a:lnTo>
                    <a:pt x="138" y="144"/>
                  </a:lnTo>
                  <a:lnTo>
                    <a:pt x="136" y="145"/>
                  </a:lnTo>
                  <a:lnTo>
                    <a:pt x="135" y="145"/>
                  </a:lnTo>
                  <a:lnTo>
                    <a:pt x="133" y="147"/>
                  </a:lnTo>
                  <a:lnTo>
                    <a:pt x="132" y="147"/>
                  </a:lnTo>
                  <a:lnTo>
                    <a:pt x="130" y="148"/>
                  </a:lnTo>
                  <a:lnTo>
                    <a:pt x="129" y="153"/>
                  </a:lnTo>
                  <a:lnTo>
                    <a:pt x="127" y="154"/>
                  </a:lnTo>
                  <a:lnTo>
                    <a:pt x="126" y="154"/>
                  </a:lnTo>
                  <a:lnTo>
                    <a:pt x="125" y="154"/>
                  </a:lnTo>
                  <a:lnTo>
                    <a:pt x="123" y="156"/>
                  </a:lnTo>
                  <a:lnTo>
                    <a:pt x="122" y="157"/>
                  </a:lnTo>
                  <a:lnTo>
                    <a:pt x="111" y="160"/>
                  </a:lnTo>
                  <a:lnTo>
                    <a:pt x="109" y="163"/>
                  </a:lnTo>
                  <a:lnTo>
                    <a:pt x="98" y="164"/>
                  </a:lnTo>
                  <a:lnTo>
                    <a:pt x="98" y="163"/>
                  </a:lnTo>
                  <a:lnTo>
                    <a:pt x="98" y="163"/>
                  </a:lnTo>
                  <a:lnTo>
                    <a:pt x="94" y="160"/>
                  </a:lnTo>
                  <a:lnTo>
                    <a:pt x="82" y="138"/>
                  </a:lnTo>
                  <a:lnTo>
                    <a:pt x="78" y="135"/>
                  </a:lnTo>
                  <a:lnTo>
                    <a:pt x="78" y="134"/>
                  </a:lnTo>
                  <a:lnTo>
                    <a:pt x="82" y="129"/>
                  </a:lnTo>
                  <a:lnTo>
                    <a:pt x="84" y="129"/>
                  </a:lnTo>
                  <a:lnTo>
                    <a:pt x="84" y="128"/>
                  </a:lnTo>
                  <a:lnTo>
                    <a:pt x="85" y="128"/>
                  </a:lnTo>
                  <a:lnTo>
                    <a:pt x="85" y="127"/>
                  </a:lnTo>
                  <a:lnTo>
                    <a:pt x="85" y="125"/>
                  </a:lnTo>
                  <a:lnTo>
                    <a:pt x="84" y="124"/>
                  </a:lnTo>
                  <a:lnTo>
                    <a:pt x="82" y="121"/>
                  </a:lnTo>
                  <a:lnTo>
                    <a:pt x="81" y="119"/>
                  </a:lnTo>
                  <a:lnTo>
                    <a:pt x="80" y="118"/>
                  </a:lnTo>
                  <a:lnTo>
                    <a:pt x="78" y="118"/>
                  </a:lnTo>
                  <a:lnTo>
                    <a:pt x="78" y="111"/>
                  </a:lnTo>
                  <a:lnTo>
                    <a:pt x="77" y="109"/>
                  </a:lnTo>
                  <a:lnTo>
                    <a:pt x="77" y="106"/>
                  </a:lnTo>
                  <a:lnTo>
                    <a:pt x="78" y="105"/>
                  </a:lnTo>
                  <a:lnTo>
                    <a:pt x="78" y="102"/>
                  </a:lnTo>
                  <a:lnTo>
                    <a:pt x="78" y="99"/>
                  </a:lnTo>
                  <a:lnTo>
                    <a:pt x="81" y="96"/>
                  </a:lnTo>
                  <a:lnTo>
                    <a:pt x="81" y="93"/>
                  </a:lnTo>
                  <a:lnTo>
                    <a:pt x="81" y="92"/>
                  </a:lnTo>
                  <a:lnTo>
                    <a:pt x="82" y="90"/>
                  </a:lnTo>
                  <a:lnTo>
                    <a:pt x="82" y="89"/>
                  </a:lnTo>
                  <a:lnTo>
                    <a:pt x="82" y="86"/>
                  </a:lnTo>
                  <a:lnTo>
                    <a:pt x="81" y="86"/>
                  </a:lnTo>
                  <a:lnTo>
                    <a:pt x="81" y="86"/>
                  </a:lnTo>
                  <a:lnTo>
                    <a:pt x="71" y="89"/>
                  </a:lnTo>
                  <a:lnTo>
                    <a:pt x="66" y="87"/>
                  </a:lnTo>
                  <a:lnTo>
                    <a:pt x="62" y="86"/>
                  </a:lnTo>
                  <a:lnTo>
                    <a:pt x="59" y="87"/>
                  </a:lnTo>
                  <a:lnTo>
                    <a:pt x="59" y="87"/>
                  </a:lnTo>
                  <a:lnTo>
                    <a:pt x="55" y="87"/>
                  </a:lnTo>
                  <a:lnTo>
                    <a:pt x="55" y="87"/>
                  </a:lnTo>
                  <a:lnTo>
                    <a:pt x="55" y="87"/>
                  </a:lnTo>
                  <a:lnTo>
                    <a:pt x="46" y="77"/>
                  </a:lnTo>
                  <a:lnTo>
                    <a:pt x="46" y="76"/>
                  </a:lnTo>
                  <a:lnTo>
                    <a:pt x="39" y="73"/>
                  </a:lnTo>
                  <a:lnTo>
                    <a:pt x="27" y="74"/>
                  </a:lnTo>
                  <a:lnTo>
                    <a:pt x="19" y="73"/>
                  </a:lnTo>
                  <a:lnTo>
                    <a:pt x="17" y="71"/>
                  </a:lnTo>
                  <a:lnTo>
                    <a:pt x="16" y="70"/>
                  </a:lnTo>
                  <a:lnTo>
                    <a:pt x="13" y="68"/>
                  </a:lnTo>
                  <a:lnTo>
                    <a:pt x="13" y="68"/>
                  </a:lnTo>
                  <a:lnTo>
                    <a:pt x="13" y="57"/>
                  </a:lnTo>
                  <a:lnTo>
                    <a:pt x="11" y="55"/>
                  </a:lnTo>
                  <a:lnTo>
                    <a:pt x="10" y="55"/>
                  </a:lnTo>
                  <a:lnTo>
                    <a:pt x="10" y="54"/>
                  </a:lnTo>
                  <a:lnTo>
                    <a:pt x="8" y="52"/>
                  </a:lnTo>
                  <a:lnTo>
                    <a:pt x="5" y="44"/>
                  </a:lnTo>
                  <a:lnTo>
                    <a:pt x="5" y="44"/>
                  </a:lnTo>
                  <a:lnTo>
                    <a:pt x="0" y="44"/>
                  </a:lnTo>
                  <a:lnTo>
                    <a:pt x="5" y="25"/>
                  </a:lnTo>
                  <a:lnTo>
                    <a:pt x="20" y="7"/>
                  </a:lnTo>
                  <a:lnTo>
                    <a:pt x="23" y="6"/>
                  </a:lnTo>
                  <a:lnTo>
                    <a:pt x="27"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5" name="Freeform 231"/>
            <p:cNvSpPr>
              <a:spLocks/>
            </p:cNvSpPr>
            <p:nvPr/>
          </p:nvSpPr>
          <p:spPr bwMode="auto">
            <a:xfrm>
              <a:off x="5063852" y="3256370"/>
              <a:ext cx="73736" cy="93300"/>
            </a:xfrm>
            <a:custGeom>
              <a:avLst/>
              <a:gdLst/>
              <a:ahLst/>
              <a:cxnLst>
                <a:cxn ang="0">
                  <a:pos x="29" y="0"/>
                </a:cxn>
                <a:cxn ang="0">
                  <a:pos x="51" y="16"/>
                </a:cxn>
                <a:cxn ang="0">
                  <a:pos x="66" y="16"/>
                </a:cxn>
                <a:cxn ang="0">
                  <a:pos x="68" y="14"/>
                </a:cxn>
                <a:cxn ang="0">
                  <a:pos x="79" y="20"/>
                </a:cxn>
                <a:cxn ang="0">
                  <a:pos x="76" y="20"/>
                </a:cxn>
                <a:cxn ang="0">
                  <a:pos x="76" y="23"/>
                </a:cxn>
                <a:cxn ang="0">
                  <a:pos x="79" y="27"/>
                </a:cxn>
                <a:cxn ang="0">
                  <a:pos x="80" y="32"/>
                </a:cxn>
                <a:cxn ang="0">
                  <a:pos x="73" y="43"/>
                </a:cxn>
                <a:cxn ang="0">
                  <a:pos x="39" y="64"/>
                </a:cxn>
                <a:cxn ang="0">
                  <a:pos x="38" y="66"/>
                </a:cxn>
                <a:cxn ang="0">
                  <a:pos x="37" y="69"/>
                </a:cxn>
                <a:cxn ang="0">
                  <a:pos x="35" y="68"/>
                </a:cxn>
                <a:cxn ang="0">
                  <a:pos x="35" y="69"/>
                </a:cxn>
                <a:cxn ang="0">
                  <a:pos x="29" y="85"/>
                </a:cxn>
                <a:cxn ang="0">
                  <a:pos x="26" y="85"/>
                </a:cxn>
                <a:cxn ang="0">
                  <a:pos x="22" y="90"/>
                </a:cxn>
                <a:cxn ang="0">
                  <a:pos x="18" y="82"/>
                </a:cxn>
                <a:cxn ang="0">
                  <a:pos x="12" y="82"/>
                </a:cxn>
                <a:cxn ang="0">
                  <a:pos x="9" y="81"/>
                </a:cxn>
                <a:cxn ang="0">
                  <a:pos x="5" y="82"/>
                </a:cxn>
                <a:cxn ang="0">
                  <a:pos x="5" y="78"/>
                </a:cxn>
                <a:cxn ang="0">
                  <a:pos x="3" y="77"/>
                </a:cxn>
                <a:cxn ang="0">
                  <a:pos x="8" y="75"/>
                </a:cxn>
                <a:cxn ang="0">
                  <a:pos x="9" y="71"/>
                </a:cxn>
                <a:cxn ang="0">
                  <a:pos x="8" y="68"/>
                </a:cxn>
                <a:cxn ang="0">
                  <a:pos x="8" y="68"/>
                </a:cxn>
                <a:cxn ang="0">
                  <a:pos x="12" y="65"/>
                </a:cxn>
                <a:cxn ang="0">
                  <a:pos x="15" y="55"/>
                </a:cxn>
                <a:cxn ang="0">
                  <a:pos x="13" y="53"/>
                </a:cxn>
                <a:cxn ang="0">
                  <a:pos x="8" y="56"/>
                </a:cxn>
                <a:cxn ang="0">
                  <a:pos x="5" y="53"/>
                </a:cxn>
                <a:cxn ang="0">
                  <a:pos x="0" y="50"/>
                </a:cxn>
                <a:cxn ang="0">
                  <a:pos x="0" y="32"/>
                </a:cxn>
                <a:cxn ang="0">
                  <a:pos x="6" y="29"/>
                </a:cxn>
                <a:cxn ang="0">
                  <a:pos x="12" y="17"/>
                </a:cxn>
                <a:cxn ang="0">
                  <a:pos x="12" y="7"/>
                </a:cxn>
                <a:cxn ang="0">
                  <a:pos x="23" y="3"/>
                </a:cxn>
                <a:cxn ang="0">
                  <a:pos x="28" y="0"/>
                </a:cxn>
              </a:cxnLst>
              <a:rect l="0" t="0" r="r" b="b"/>
              <a:pathLst>
                <a:path w="80" h="90">
                  <a:moveTo>
                    <a:pt x="28" y="0"/>
                  </a:moveTo>
                  <a:lnTo>
                    <a:pt x="29" y="0"/>
                  </a:lnTo>
                  <a:lnTo>
                    <a:pt x="50" y="10"/>
                  </a:lnTo>
                  <a:lnTo>
                    <a:pt x="51" y="16"/>
                  </a:lnTo>
                  <a:lnTo>
                    <a:pt x="66" y="16"/>
                  </a:lnTo>
                  <a:lnTo>
                    <a:pt x="66" y="16"/>
                  </a:lnTo>
                  <a:lnTo>
                    <a:pt x="67" y="14"/>
                  </a:lnTo>
                  <a:lnTo>
                    <a:pt x="68" y="14"/>
                  </a:lnTo>
                  <a:lnTo>
                    <a:pt x="77" y="19"/>
                  </a:lnTo>
                  <a:lnTo>
                    <a:pt x="79" y="20"/>
                  </a:lnTo>
                  <a:lnTo>
                    <a:pt x="79" y="20"/>
                  </a:lnTo>
                  <a:lnTo>
                    <a:pt x="76" y="20"/>
                  </a:lnTo>
                  <a:lnTo>
                    <a:pt x="76" y="21"/>
                  </a:lnTo>
                  <a:lnTo>
                    <a:pt x="76" y="23"/>
                  </a:lnTo>
                  <a:lnTo>
                    <a:pt x="79" y="26"/>
                  </a:lnTo>
                  <a:lnTo>
                    <a:pt x="79" y="27"/>
                  </a:lnTo>
                  <a:lnTo>
                    <a:pt x="80" y="32"/>
                  </a:lnTo>
                  <a:lnTo>
                    <a:pt x="80" y="32"/>
                  </a:lnTo>
                  <a:lnTo>
                    <a:pt x="79" y="32"/>
                  </a:lnTo>
                  <a:lnTo>
                    <a:pt x="73" y="43"/>
                  </a:lnTo>
                  <a:lnTo>
                    <a:pt x="60" y="55"/>
                  </a:lnTo>
                  <a:lnTo>
                    <a:pt x="39" y="64"/>
                  </a:lnTo>
                  <a:lnTo>
                    <a:pt x="39" y="64"/>
                  </a:lnTo>
                  <a:lnTo>
                    <a:pt x="38" y="66"/>
                  </a:lnTo>
                  <a:lnTo>
                    <a:pt x="38" y="68"/>
                  </a:lnTo>
                  <a:lnTo>
                    <a:pt x="37" y="69"/>
                  </a:lnTo>
                  <a:lnTo>
                    <a:pt x="37" y="69"/>
                  </a:lnTo>
                  <a:lnTo>
                    <a:pt x="35" y="68"/>
                  </a:lnTo>
                  <a:lnTo>
                    <a:pt x="35" y="68"/>
                  </a:lnTo>
                  <a:lnTo>
                    <a:pt x="35" y="69"/>
                  </a:lnTo>
                  <a:lnTo>
                    <a:pt x="31" y="74"/>
                  </a:lnTo>
                  <a:lnTo>
                    <a:pt x="29" y="85"/>
                  </a:lnTo>
                  <a:lnTo>
                    <a:pt x="29" y="85"/>
                  </a:lnTo>
                  <a:lnTo>
                    <a:pt x="26" y="85"/>
                  </a:lnTo>
                  <a:lnTo>
                    <a:pt x="25" y="88"/>
                  </a:lnTo>
                  <a:lnTo>
                    <a:pt x="22" y="90"/>
                  </a:lnTo>
                  <a:lnTo>
                    <a:pt x="21" y="88"/>
                  </a:lnTo>
                  <a:lnTo>
                    <a:pt x="18" y="82"/>
                  </a:lnTo>
                  <a:lnTo>
                    <a:pt x="13" y="82"/>
                  </a:lnTo>
                  <a:lnTo>
                    <a:pt x="12" y="82"/>
                  </a:lnTo>
                  <a:lnTo>
                    <a:pt x="10" y="81"/>
                  </a:lnTo>
                  <a:lnTo>
                    <a:pt x="9" y="81"/>
                  </a:lnTo>
                  <a:lnTo>
                    <a:pt x="6" y="82"/>
                  </a:lnTo>
                  <a:lnTo>
                    <a:pt x="5" y="82"/>
                  </a:lnTo>
                  <a:lnTo>
                    <a:pt x="5" y="82"/>
                  </a:lnTo>
                  <a:lnTo>
                    <a:pt x="5" y="78"/>
                  </a:lnTo>
                  <a:lnTo>
                    <a:pt x="3" y="78"/>
                  </a:lnTo>
                  <a:lnTo>
                    <a:pt x="3" y="77"/>
                  </a:lnTo>
                  <a:lnTo>
                    <a:pt x="5" y="75"/>
                  </a:lnTo>
                  <a:lnTo>
                    <a:pt x="8" y="75"/>
                  </a:lnTo>
                  <a:lnTo>
                    <a:pt x="9" y="74"/>
                  </a:lnTo>
                  <a:lnTo>
                    <a:pt x="9" y="71"/>
                  </a:lnTo>
                  <a:lnTo>
                    <a:pt x="8" y="71"/>
                  </a:lnTo>
                  <a:lnTo>
                    <a:pt x="8" y="68"/>
                  </a:lnTo>
                  <a:lnTo>
                    <a:pt x="8" y="68"/>
                  </a:lnTo>
                  <a:lnTo>
                    <a:pt x="8" y="68"/>
                  </a:lnTo>
                  <a:lnTo>
                    <a:pt x="8" y="66"/>
                  </a:lnTo>
                  <a:lnTo>
                    <a:pt x="12" y="65"/>
                  </a:lnTo>
                  <a:lnTo>
                    <a:pt x="13" y="62"/>
                  </a:lnTo>
                  <a:lnTo>
                    <a:pt x="15" y="55"/>
                  </a:lnTo>
                  <a:lnTo>
                    <a:pt x="15" y="53"/>
                  </a:lnTo>
                  <a:lnTo>
                    <a:pt x="13" y="53"/>
                  </a:lnTo>
                  <a:lnTo>
                    <a:pt x="13" y="49"/>
                  </a:lnTo>
                  <a:lnTo>
                    <a:pt x="8" y="56"/>
                  </a:lnTo>
                  <a:lnTo>
                    <a:pt x="6" y="55"/>
                  </a:lnTo>
                  <a:lnTo>
                    <a:pt x="5" y="53"/>
                  </a:lnTo>
                  <a:lnTo>
                    <a:pt x="3" y="53"/>
                  </a:lnTo>
                  <a:lnTo>
                    <a:pt x="0" y="50"/>
                  </a:lnTo>
                  <a:lnTo>
                    <a:pt x="0" y="33"/>
                  </a:lnTo>
                  <a:lnTo>
                    <a:pt x="0" y="32"/>
                  </a:lnTo>
                  <a:lnTo>
                    <a:pt x="5" y="32"/>
                  </a:lnTo>
                  <a:lnTo>
                    <a:pt x="6" y="29"/>
                  </a:lnTo>
                  <a:lnTo>
                    <a:pt x="8" y="23"/>
                  </a:lnTo>
                  <a:lnTo>
                    <a:pt x="12" y="17"/>
                  </a:lnTo>
                  <a:lnTo>
                    <a:pt x="10" y="8"/>
                  </a:lnTo>
                  <a:lnTo>
                    <a:pt x="12" y="7"/>
                  </a:lnTo>
                  <a:lnTo>
                    <a:pt x="18" y="7"/>
                  </a:lnTo>
                  <a:lnTo>
                    <a:pt x="23" y="3"/>
                  </a:lnTo>
                  <a:lnTo>
                    <a:pt x="26" y="1"/>
                  </a:lnTo>
                  <a:lnTo>
                    <a:pt x="28"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6" name="Freeform 232"/>
            <p:cNvSpPr>
              <a:spLocks/>
            </p:cNvSpPr>
            <p:nvPr/>
          </p:nvSpPr>
          <p:spPr bwMode="auto">
            <a:xfrm>
              <a:off x="5063852" y="3256370"/>
              <a:ext cx="73736" cy="93300"/>
            </a:xfrm>
            <a:custGeom>
              <a:avLst/>
              <a:gdLst/>
              <a:ahLst/>
              <a:cxnLst>
                <a:cxn ang="0">
                  <a:pos x="29" y="0"/>
                </a:cxn>
                <a:cxn ang="0">
                  <a:pos x="51" y="16"/>
                </a:cxn>
                <a:cxn ang="0">
                  <a:pos x="66" y="16"/>
                </a:cxn>
                <a:cxn ang="0">
                  <a:pos x="68" y="14"/>
                </a:cxn>
                <a:cxn ang="0">
                  <a:pos x="79" y="20"/>
                </a:cxn>
                <a:cxn ang="0">
                  <a:pos x="76" y="20"/>
                </a:cxn>
                <a:cxn ang="0">
                  <a:pos x="76" y="23"/>
                </a:cxn>
                <a:cxn ang="0">
                  <a:pos x="79" y="27"/>
                </a:cxn>
                <a:cxn ang="0">
                  <a:pos x="80" y="32"/>
                </a:cxn>
                <a:cxn ang="0">
                  <a:pos x="73" y="43"/>
                </a:cxn>
                <a:cxn ang="0">
                  <a:pos x="39" y="64"/>
                </a:cxn>
                <a:cxn ang="0">
                  <a:pos x="38" y="66"/>
                </a:cxn>
                <a:cxn ang="0">
                  <a:pos x="37" y="69"/>
                </a:cxn>
                <a:cxn ang="0">
                  <a:pos x="35" y="68"/>
                </a:cxn>
                <a:cxn ang="0">
                  <a:pos x="35" y="69"/>
                </a:cxn>
                <a:cxn ang="0">
                  <a:pos x="29" y="85"/>
                </a:cxn>
                <a:cxn ang="0">
                  <a:pos x="26" y="85"/>
                </a:cxn>
                <a:cxn ang="0">
                  <a:pos x="22" y="90"/>
                </a:cxn>
                <a:cxn ang="0">
                  <a:pos x="18" y="82"/>
                </a:cxn>
                <a:cxn ang="0">
                  <a:pos x="12" y="82"/>
                </a:cxn>
                <a:cxn ang="0">
                  <a:pos x="9" y="81"/>
                </a:cxn>
                <a:cxn ang="0">
                  <a:pos x="5" y="82"/>
                </a:cxn>
                <a:cxn ang="0">
                  <a:pos x="5" y="78"/>
                </a:cxn>
                <a:cxn ang="0">
                  <a:pos x="3" y="77"/>
                </a:cxn>
                <a:cxn ang="0">
                  <a:pos x="8" y="75"/>
                </a:cxn>
                <a:cxn ang="0">
                  <a:pos x="9" y="71"/>
                </a:cxn>
                <a:cxn ang="0">
                  <a:pos x="8" y="68"/>
                </a:cxn>
                <a:cxn ang="0">
                  <a:pos x="8" y="68"/>
                </a:cxn>
                <a:cxn ang="0">
                  <a:pos x="12" y="65"/>
                </a:cxn>
                <a:cxn ang="0">
                  <a:pos x="15" y="55"/>
                </a:cxn>
                <a:cxn ang="0">
                  <a:pos x="13" y="53"/>
                </a:cxn>
                <a:cxn ang="0">
                  <a:pos x="8" y="56"/>
                </a:cxn>
                <a:cxn ang="0">
                  <a:pos x="5" y="53"/>
                </a:cxn>
                <a:cxn ang="0">
                  <a:pos x="0" y="50"/>
                </a:cxn>
                <a:cxn ang="0">
                  <a:pos x="0" y="32"/>
                </a:cxn>
                <a:cxn ang="0">
                  <a:pos x="6" y="29"/>
                </a:cxn>
                <a:cxn ang="0">
                  <a:pos x="12" y="17"/>
                </a:cxn>
                <a:cxn ang="0">
                  <a:pos x="12" y="7"/>
                </a:cxn>
                <a:cxn ang="0">
                  <a:pos x="23" y="3"/>
                </a:cxn>
                <a:cxn ang="0">
                  <a:pos x="28" y="0"/>
                </a:cxn>
              </a:cxnLst>
              <a:rect l="0" t="0" r="r" b="b"/>
              <a:pathLst>
                <a:path w="80" h="90">
                  <a:moveTo>
                    <a:pt x="28" y="0"/>
                  </a:moveTo>
                  <a:lnTo>
                    <a:pt x="29" y="0"/>
                  </a:lnTo>
                  <a:lnTo>
                    <a:pt x="50" y="10"/>
                  </a:lnTo>
                  <a:lnTo>
                    <a:pt x="51" y="16"/>
                  </a:lnTo>
                  <a:lnTo>
                    <a:pt x="66" y="16"/>
                  </a:lnTo>
                  <a:lnTo>
                    <a:pt x="66" y="16"/>
                  </a:lnTo>
                  <a:lnTo>
                    <a:pt x="67" y="14"/>
                  </a:lnTo>
                  <a:lnTo>
                    <a:pt x="68" y="14"/>
                  </a:lnTo>
                  <a:lnTo>
                    <a:pt x="77" y="19"/>
                  </a:lnTo>
                  <a:lnTo>
                    <a:pt x="79" y="20"/>
                  </a:lnTo>
                  <a:lnTo>
                    <a:pt x="79" y="20"/>
                  </a:lnTo>
                  <a:lnTo>
                    <a:pt x="76" y="20"/>
                  </a:lnTo>
                  <a:lnTo>
                    <a:pt x="76" y="21"/>
                  </a:lnTo>
                  <a:lnTo>
                    <a:pt x="76" y="23"/>
                  </a:lnTo>
                  <a:lnTo>
                    <a:pt x="79" y="26"/>
                  </a:lnTo>
                  <a:lnTo>
                    <a:pt x="79" y="27"/>
                  </a:lnTo>
                  <a:lnTo>
                    <a:pt x="80" y="32"/>
                  </a:lnTo>
                  <a:lnTo>
                    <a:pt x="80" y="32"/>
                  </a:lnTo>
                  <a:lnTo>
                    <a:pt x="79" y="32"/>
                  </a:lnTo>
                  <a:lnTo>
                    <a:pt x="73" y="43"/>
                  </a:lnTo>
                  <a:lnTo>
                    <a:pt x="60" y="55"/>
                  </a:lnTo>
                  <a:lnTo>
                    <a:pt x="39" y="64"/>
                  </a:lnTo>
                  <a:lnTo>
                    <a:pt x="39" y="64"/>
                  </a:lnTo>
                  <a:lnTo>
                    <a:pt x="38" y="66"/>
                  </a:lnTo>
                  <a:lnTo>
                    <a:pt x="38" y="68"/>
                  </a:lnTo>
                  <a:lnTo>
                    <a:pt x="37" y="69"/>
                  </a:lnTo>
                  <a:lnTo>
                    <a:pt x="37" y="69"/>
                  </a:lnTo>
                  <a:lnTo>
                    <a:pt x="35" y="68"/>
                  </a:lnTo>
                  <a:lnTo>
                    <a:pt x="35" y="68"/>
                  </a:lnTo>
                  <a:lnTo>
                    <a:pt x="35" y="69"/>
                  </a:lnTo>
                  <a:lnTo>
                    <a:pt x="31" y="74"/>
                  </a:lnTo>
                  <a:lnTo>
                    <a:pt x="29" y="85"/>
                  </a:lnTo>
                  <a:lnTo>
                    <a:pt x="29" y="85"/>
                  </a:lnTo>
                  <a:lnTo>
                    <a:pt x="26" y="85"/>
                  </a:lnTo>
                  <a:lnTo>
                    <a:pt x="25" y="88"/>
                  </a:lnTo>
                  <a:lnTo>
                    <a:pt x="22" y="90"/>
                  </a:lnTo>
                  <a:lnTo>
                    <a:pt x="21" y="88"/>
                  </a:lnTo>
                  <a:lnTo>
                    <a:pt x="18" y="82"/>
                  </a:lnTo>
                  <a:lnTo>
                    <a:pt x="13" y="82"/>
                  </a:lnTo>
                  <a:lnTo>
                    <a:pt x="12" y="82"/>
                  </a:lnTo>
                  <a:lnTo>
                    <a:pt x="10" y="81"/>
                  </a:lnTo>
                  <a:lnTo>
                    <a:pt x="9" y="81"/>
                  </a:lnTo>
                  <a:lnTo>
                    <a:pt x="6" y="82"/>
                  </a:lnTo>
                  <a:lnTo>
                    <a:pt x="5" y="82"/>
                  </a:lnTo>
                  <a:lnTo>
                    <a:pt x="5" y="82"/>
                  </a:lnTo>
                  <a:lnTo>
                    <a:pt x="5" y="78"/>
                  </a:lnTo>
                  <a:lnTo>
                    <a:pt x="3" y="78"/>
                  </a:lnTo>
                  <a:lnTo>
                    <a:pt x="3" y="77"/>
                  </a:lnTo>
                  <a:lnTo>
                    <a:pt x="5" y="75"/>
                  </a:lnTo>
                  <a:lnTo>
                    <a:pt x="8" y="75"/>
                  </a:lnTo>
                  <a:lnTo>
                    <a:pt x="9" y="74"/>
                  </a:lnTo>
                  <a:lnTo>
                    <a:pt x="9" y="71"/>
                  </a:lnTo>
                  <a:lnTo>
                    <a:pt x="8" y="71"/>
                  </a:lnTo>
                  <a:lnTo>
                    <a:pt x="8" y="68"/>
                  </a:lnTo>
                  <a:lnTo>
                    <a:pt x="8" y="68"/>
                  </a:lnTo>
                  <a:lnTo>
                    <a:pt x="8" y="68"/>
                  </a:lnTo>
                  <a:lnTo>
                    <a:pt x="8" y="66"/>
                  </a:lnTo>
                  <a:lnTo>
                    <a:pt x="12" y="65"/>
                  </a:lnTo>
                  <a:lnTo>
                    <a:pt x="13" y="62"/>
                  </a:lnTo>
                  <a:lnTo>
                    <a:pt x="15" y="55"/>
                  </a:lnTo>
                  <a:lnTo>
                    <a:pt x="15" y="53"/>
                  </a:lnTo>
                  <a:lnTo>
                    <a:pt x="13" y="53"/>
                  </a:lnTo>
                  <a:lnTo>
                    <a:pt x="13" y="49"/>
                  </a:lnTo>
                  <a:lnTo>
                    <a:pt x="8" y="56"/>
                  </a:lnTo>
                  <a:lnTo>
                    <a:pt x="6" y="55"/>
                  </a:lnTo>
                  <a:lnTo>
                    <a:pt x="5" y="53"/>
                  </a:lnTo>
                  <a:lnTo>
                    <a:pt x="3" y="53"/>
                  </a:lnTo>
                  <a:lnTo>
                    <a:pt x="0" y="50"/>
                  </a:lnTo>
                  <a:lnTo>
                    <a:pt x="0" y="33"/>
                  </a:lnTo>
                  <a:lnTo>
                    <a:pt x="0" y="32"/>
                  </a:lnTo>
                  <a:lnTo>
                    <a:pt x="5" y="32"/>
                  </a:lnTo>
                  <a:lnTo>
                    <a:pt x="6" y="29"/>
                  </a:lnTo>
                  <a:lnTo>
                    <a:pt x="8" y="23"/>
                  </a:lnTo>
                  <a:lnTo>
                    <a:pt x="12" y="17"/>
                  </a:lnTo>
                  <a:lnTo>
                    <a:pt x="10" y="8"/>
                  </a:lnTo>
                  <a:lnTo>
                    <a:pt x="12" y="7"/>
                  </a:lnTo>
                  <a:lnTo>
                    <a:pt x="18" y="7"/>
                  </a:lnTo>
                  <a:lnTo>
                    <a:pt x="23" y="3"/>
                  </a:lnTo>
                  <a:lnTo>
                    <a:pt x="26" y="1"/>
                  </a:lnTo>
                  <a:lnTo>
                    <a:pt x="28"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7" name="Freeform 233"/>
            <p:cNvSpPr>
              <a:spLocks/>
            </p:cNvSpPr>
            <p:nvPr/>
          </p:nvSpPr>
          <p:spPr bwMode="auto">
            <a:xfrm>
              <a:off x="5301737" y="3564667"/>
              <a:ext cx="108848" cy="131837"/>
            </a:xfrm>
            <a:custGeom>
              <a:avLst/>
              <a:gdLst/>
              <a:ahLst/>
              <a:cxnLst>
                <a:cxn ang="0">
                  <a:pos x="0" y="47"/>
                </a:cxn>
                <a:cxn ang="0">
                  <a:pos x="4" y="32"/>
                </a:cxn>
                <a:cxn ang="0">
                  <a:pos x="4" y="22"/>
                </a:cxn>
                <a:cxn ang="0">
                  <a:pos x="10" y="13"/>
                </a:cxn>
                <a:cxn ang="0">
                  <a:pos x="11" y="7"/>
                </a:cxn>
                <a:cxn ang="0">
                  <a:pos x="39" y="0"/>
                </a:cxn>
                <a:cxn ang="0">
                  <a:pos x="55" y="0"/>
                </a:cxn>
                <a:cxn ang="0">
                  <a:pos x="65" y="13"/>
                </a:cxn>
                <a:cxn ang="0">
                  <a:pos x="65" y="13"/>
                </a:cxn>
                <a:cxn ang="0">
                  <a:pos x="65" y="15"/>
                </a:cxn>
                <a:cxn ang="0">
                  <a:pos x="66" y="18"/>
                </a:cxn>
                <a:cxn ang="0">
                  <a:pos x="66" y="39"/>
                </a:cxn>
                <a:cxn ang="0">
                  <a:pos x="68" y="42"/>
                </a:cxn>
                <a:cxn ang="0">
                  <a:pos x="75" y="45"/>
                </a:cxn>
                <a:cxn ang="0">
                  <a:pos x="87" y="45"/>
                </a:cxn>
                <a:cxn ang="0">
                  <a:pos x="87" y="44"/>
                </a:cxn>
                <a:cxn ang="0">
                  <a:pos x="90" y="44"/>
                </a:cxn>
                <a:cxn ang="0">
                  <a:pos x="91" y="45"/>
                </a:cxn>
                <a:cxn ang="0">
                  <a:pos x="97" y="47"/>
                </a:cxn>
                <a:cxn ang="0">
                  <a:pos x="98" y="49"/>
                </a:cxn>
                <a:cxn ang="0">
                  <a:pos x="101" y="67"/>
                </a:cxn>
                <a:cxn ang="0">
                  <a:pos x="103" y="70"/>
                </a:cxn>
                <a:cxn ang="0">
                  <a:pos x="106" y="71"/>
                </a:cxn>
                <a:cxn ang="0">
                  <a:pos x="109" y="71"/>
                </a:cxn>
                <a:cxn ang="0">
                  <a:pos x="110" y="70"/>
                </a:cxn>
                <a:cxn ang="0">
                  <a:pos x="116" y="70"/>
                </a:cxn>
                <a:cxn ang="0">
                  <a:pos x="117" y="71"/>
                </a:cxn>
                <a:cxn ang="0">
                  <a:pos x="119" y="73"/>
                </a:cxn>
                <a:cxn ang="0">
                  <a:pos x="114" y="109"/>
                </a:cxn>
                <a:cxn ang="0">
                  <a:pos x="111" y="113"/>
                </a:cxn>
                <a:cxn ang="0">
                  <a:pos x="100" y="124"/>
                </a:cxn>
                <a:cxn ang="0">
                  <a:pos x="100" y="124"/>
                </a:cxn>
                <a:cxn ang="0">
                  <a:pos x="100" y="124"/>
                </a:cxn>
                <a:cxn ang="0">
                  <a:pos x="97" y="125"/>
                </a:cxn>
                <a:cxn ang="0">
                  <a:pos x="94" y="125"/>
                </a:cxn>
                <a:cxn ang="0">
                  <a:pos x="91" y="125"/>
                </a:cxn>
                <a:cxn ang="0">
                  <a:pos x="91" y="127"/>
                </a:cxn>
                <a:cxn ang="0">
                  <a:pos x="87" y="127"/>
                </a:cxn>
                <a:cxn ang="0">
                  <a:pos x="85" y="127"/>
                </a:cxn>
                <a:cxn ang="0">
                  <a:pos x="82" y="127"/>
                </a:cxn>
                <a:cxn ang="0">
                  <a:pos x="74" y="122"/>
                </a:cxn>
                <a:cxn ang="0">
                  <a:pos x="61" y="121"/>
                </a:cxn>
                <a:cxn ang="0">
                  <a:pos x="59" y="121"/>
                </a:cxn>
                <a:cxn ang="0">
                  <a:pos x="59" y="116"/>
                </a:cxn>
                <a:cxn ang="0">
                  <a:pos x="69" y="99"/>
                </a:cxn>
                <a:cxn ang="0">
                  <a:pos x="69" y="96"/>
                </a:cxn>
                <a:cxn ang="0">
                  <a:pos x="69" y="93"/>
                </a:cxn>
                <a:cxn ang="0">
                  <a:pos x="68" y="92"/>
                </a:cxn>
                <a:cxn ang="0">
                  <a:pos x="66" y="90"/>
                </a:cxn>
                <a:cxn ang="0">
                  <a:pos x="65" y="89"/>
                </a:cxn>
                <a:cxn ang="0">
                  <a:pos x="61" y="87"/>
                </a:cxn>
                <a:cxn ang="0">
                  <a:pos x="59" y="84"/>
                </a:cxn>
                <a:cxn ang="0">
                  <a:pos x="42" y="76"/>
                </a:cxn>
                <a:cxn ang="0">
                  <a:pos x="27" y="73"/>
                </a:cxn>
                <a:cxn ang="0">
                  <a:pos x="26" y="71"/>
                </a:cxn>
                <a:cxn ang="0">
                  <a:pos x="23" y="67"/>
                </a:cxn>
                <a:cxn ang="0">
                  <a:pos x="11" y="58"/>
                </a:cxn>
                <a:cxn ang="0">
                  <a:pos x="4" y="48"/>
                </a:cxn>
                <a:cxn ang="0">
                  <a:pos x="0" y="47"/>
                </a:cxn>
              </a:cxnLst>
              <a:rect l="0" t="0" r="r" b="b"/>
              <a:pathLst>
                <a:path w="119" h="127">
                  <a:moveTo>
                    <a:pt x="0" y="47"/>
                  </a:moveTo>
                  <a:lnTo>
                    <a:pt x="4" y="32"/>
                  </a:lnTo>
                  <a:lnTo>
                    <a:pt x="4" y="22"/>
                  </a:lnTo>
                  <a:lnTo>
                    <a:pt x="10" y="13"/>
                  </a:lnTo>
                  <a:lnTo>
                    <a:pt x="11" y="7"/>
                  </a:lnTo>
                  <a:lnTo>
                    <a:pt x="39" y="0"/>
                  </a:lnTo>
                  <a:lnTo>
                    <a:pt x="55" y="0"/>
                  </a:lnTo>
                  <a:lnTo>
                    <a:pt x="65" y="13"/>
                  </a:lnTo>
                  <a:lnTo>
                    <a:pt x="65" y="13"/>
                  </a:lnTo>
                  <a:lnTo>
                    <a:pt x="65" y="15"/>
                  </a:lnTo>
                  <a:lnTo>
                    <a:pt x="66" y="18"/>
                  </a:lnTo>
                  <a:lnTo>
                    <a:pt x="66" y="39"/>
                  </a:lnTo>
                  <a:lnTo>
                    <a:pt x="68" y="42"/>
                  </a:lnTo>
                  <a:lnTo>
                    <a:pt x="75" y="45"/>
                  </a:lnTo>
                  <a:lnTo>
                    <a:pt x="87" y="45"/>
                  </a:lnTo>
                  <a:lnTo>
                    <a:pt x="87" y="44"/>
                  </a:lnTo>
                  <a:lnTo>
                    <a:pt x="90" y="44"/>
                  </a:lnTo>
                  <a:lnTo>
                    <a:pt x="91" y="45"/>
                  </a:lnTo>
                  <a:lnTo>
                    <a:pt x="97" y="47"/>
                  </a:lnTo>
                  <a:lnTo>
                    <a:pt x="98" y="49"/>
                  </a:lnTo>
                  <a:lnTo>
                    <a:pt x="101" y="67"/>
                  </a:lnTo>
                  <a:lnTo>
                    <a:pt x="103" y="70"/>
                  </a:lnTo>
                  <a:lnTo>
                    <a:pt x="106" y="71"/>
                  </a:lnTo>
                  <a:lnTo>
                    <a:pt x="109" y="71"/>
                  </a:lnTo>
                  <a:lnTo>
                    <a:pt x="110" y="70"/>
                  </a:lnTo>
                  <a:lnTo>
                    <a:pt x="116" y="70"/>
                  </a:lnTo>
                  <a:lnTo>
                    <a:pt x="117" y="71"/>
                  </a:lnTo>
                  <a:lnTo>
                    <a:pt x="119" y="73"/>
                  </a:lnTo>
                  <a:lnTo>
                    <a:pt x="114" y="109"/>
                  </a:lnTo>
                  <a:lnTo>
                    <a:pt x="111" y="113"/>
                  </a:lnTo>
                  <a:lnTo>
                    <a:pt x="100" y="124"/>
                  </a:lnTo>
                  <a:lnTo>
                    <a:pt x="100" y="124"/>
                  </a:lnTo>
                  <a:lnTo>
                    <a:pt x="100" y="124"/>
                  </a:lnTo>
                  <a:lnTo>
                    <a:pt x="97" y="125"/>
                  </a:lnTo>
                  <a:lnTo>
                    <a:pt x="94" y="125"/>
                  </a:lnTo>
                  <a:lnTo>
                    <a:pt x="91" y="125"/>
                  </a:lnTo>
                  <a:lnTo>
                    <a:pt x="91" y="127"/>
                  </a:lnTo>
                  <a:lnTo>
                    <a:pt x="87" y="127"/>
                  </a:lnTo>
                  <a:lnTo>
                    <a:pt x="85" y="127"/>
                  </a:lnTo>
                  <a:lnTo>
                    <a:pt x="82" y="127"/>
                  </a:lnTo>
                  <a:lnTo>
                    <a:pt x="74" y="122"/>
                  </a:lnTo>
                  <a:lnTo>
                    <a:pt x="61" y="121"/>
                  </a:lnTo>
                  <a:lnTo>
                    <a:pt x="59" y="121"/>
                  </a:lnTo>
                  <a:lnTo>
                    <a:pt x="59" y="116"/>
                  </a:lnTo>
                  <a:lnTo>
                    <a:pt x="69" y="99"/>
                  </a:lnTo>
                  <a:lnTo>
                    <a:pt x="69" y="96"/>
                  </a:lnTo>
                  <a:lnTo>
                    <a:pt x="69" y="93"/>
                  </a:lnTo>
                  <a:lnTo>
                    <a:pt x="68" y="92"/>
                  </a:lnTo>
                  <a:lnTo>
                    <a:pt x="66" y="90"/>
                  </a:lnTo>
                  <a:lnTo>
                    <a:pt x="65" y="89"/>
                  </a:lnTo>
                  <a:lnTo>
                    <a:pt x="61" y="87"/>
                  </a:lnTo>
                  <a:lnTo>
                    <a:pt x="59" y="84"/>
                  </a:lnTo>
                  <a:lnTo>
                    <a:pt x="42" y="76"/>
                  </a:lnTo>
                  <a:lnTo>
                    <a:pt x="27" y="73"/>
                  </a:lnTo>
                  <a:lnTo>
                    <a:pt x="26" y="71"/>
                  </a:lnTo>
                  <a:lnTo>
                    <a:pt x="23" y="67"/>
                  </a:lnTo>
                  <a:lnTo>
                    <a:pt x="11" y="58"/>
                  </a:lnTo>
                  <a:lnTo>
                    <a:pt x="4" y="48"/>
                  </a:lnTo>
                  <a:lnTo>
                    <a:pt x="0" y="4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8" name="Freeform 234"/>
            <p:cNvSpPr>
              <a:spLocks/>
            </p:cNvSpPr>
            <p:nvPr/>
          </p:nvSpPr>
          <p:spPr bwMode="auto">
            <a:xfrm>
              <a:off x="5301737" y="3564667"/>
              <a:ext cx="108848" cy="131837"/>
            </a:xfrm>
            <a:custGeom>
              <a:avLst/>
              <a:gdLst/>
              <a:ahLst/>
              <a:cxnLst>
                <a:cxn ang="0">
                  <a:pos x="0" y="47"/>
                </a:cxn>
                <a:cxn ang="0">
                  <a:pos x="4" y="32"/>
                </a:cxn>
                <a:cxn ang="0">
                  <a:pos x="4" y="22"/>
                </a:cxn>
                <a:cxn ang="0">
                  <a:pos x="10" y="13"/>
                </a:cxn>
                <a:cxn ang="0">
                  <a:pos x="11" y="7"/>
                </a:cxn>
                <a:cxn ang="0">
                  <a:pos x="39" y="0"/>
                </a:cxn>
                <a:cxn ang="0">
                  <a:pos x="55" y="0"/>
                </a:cxn>
                <a:cxn ang="0">
                  <a:pos x="65" y="13"/>
                </a:cxn>
                <a:cxn ang="0">
                  <a:pos x="65" y="13"/>
                </a:cxn>
                <a:cxn ang="0">
                  <a:pos x="65" y="15"/>
                </a:cxn>
                <a:cxn ang="0">
                  <a:pos x="66" y="18"/>
                </a:cxn>
                <a:cxn ang="0">
                  <a:pos x="66" y="39"/>
                </a:cxn>
                <a:cxn ang="0">
                  <a:pos x="68" y="42"/>
                </a:cxn>
                <a:cxn ang="0">
                  <a:pos x="75" y="45"/>
                </a:cxn>
                <a:cxn ang="0">
                  <a:pos x="87" y="45"/>
                </a:cxn>
                <a:cxn ang="0">
                  <a:pos x="87" y="44"/>
                </a:cxn>
                <a:cxn ang="0">
                  <a:pos x="90" y="44"/>
                </a:cxn>
                <a:cxn ang="0">
                  <a:pos x="91" y="45"/>
                </a:cxn>
                <a:cxn ang="0">
                  <a:pos x="97" y="47"/>
                </a:cxn>
                <a:cxn ang="0">
                  <a:pos x="98" y="49"/>
                </a:cxn>
                <a:cxn ang="0">
                  <a:pos x="101" y="67"/>
                </a:cxn>
                <a:cxn ang="0">
                  <a:pos x="103" y="70"/>
                </a:cxn>
                <a:cxn ang="0">
                  <a:pos x="106" y="71"/>
                </a:cxn>
                <a:cxn ang="0">
                  <a:pos x="109" y="71"/>
                </a:cxn>
                <a:cxn ang="0">
                  <a:pos x="110" y="70"/>
                </a:cxn>
                <a:cxn ang="0">
                  <a:pos x="116" y="70"/>
                </a:cxn>
                <a:cxn ang="0">
                  <a:pos x="117" y="71"/>
                </a:cxn>
                <a:cxn ang="0">
                  <a:pos x="119" y="73"/>
                </a:cxn>
                <a:cxn ang="0">
                  <a:pos x="114" y="109"/>
                </a:cxn>
                <a:cxn ang="0">
                  <a:pos x="111" y="113"/>
                </a:cxn>
                <a:cxn ang="0">
                  <a:pos x="100" y="124"/>
                </a:cxn>
                <a:cxn ang="0">
                  <a:pos x="100" y="124"/>
                </a:cxn>
                <a:cxn ang="0">
                  <a:pos x="100" y="124"/>
                </a:cxn>
                <a:cxn ang="0">
                  <a:pos x="97" y="125"/>
                </a:cxn>
                <a:cxn ang="0">
                  <a:pos x="94" y="125"/>
                </a:cxn>
                <a:cxn ang="0">
                  <a:pos x="91" y="125"/>
                </a:cxn>
                <a:cxn ang="0">
                  <a:pos x="91" y="127"/>
                </a:cxn>
                <a:cxn ang="0">
                  <a:pos x="87" y="127"/>
                </a:cxn>
                <a:cxn ang="0">
                  <a:pos x="85" y="127"/>
                </a:cxn>
                <a:cxn ang="0">
                  <a:pos x="82" y="127"/>
                </a:cxn>
                <a:cxn ang="0">
                  <a:pos x="74" y="122"/>
                </a:cxn>
                <a:cxn ang="0">
                  <a:pos x="61" y="121"/>
                </a:cxn>
                <a:cxn ang="0">
                  <a:pos x="59" y="121"/>
                </a:cxn>
                <a:cxn ang="0">
                  <a:pos x="59" y="116"/>
                </a:cxn>
                <a:cxn ang="0">
                  <a:pos x="69" y="99"/>
                </a:cxn>
                <a:cxn ang="0">
                  <a:pos x="69" y="96"/>
                </a:cxn>
                <a:cxn ang="0">
                  <a:pos x="69" y="93"/>
                </a:cxn>
                <a:cxn ang="0">
                  <a:pos x="68" y="92"/>
                </a:cxn>
                <a:cxn ang="0">
                  <a:pos x="66" y="90"/>
                </a:cxn>
                <a:cxn ang="0">
                  <a:pos x="65" y="89"/>
                </a:cxn>
                <a:cxn ang="0">
                  <a:pos x="61" y="87"/>
                </a:cxn>
                <a:cxn ang="0">
                  <a:pos x="59" y="84"/>
                </a:cxn>
                <a:cxn ang="0">
                  <a:pos x="42" y="76"/>
                </a:cxn>
                <a:cxn ang="0">
                  <a:pos x="27" y="73"/>
                </a:cxn>
                <a:cxn ang="0">
                  <a:pos x="26" y="71"/>
                </a:cxn>
                <a:cxn ang="0">
                  <a:pos x="23" y="67"/>
                </a:cxn>
                <a:cxn ang="0">
                  <a:pos x="11" y="58"/>
                </a:cxn>
                <a:cxn ang="0">
                  <a:pos x="4" y="48"/>
                </a:cxn>
                <a:cxn ang="0">
                  <a:pos x="0" y="47"/>
                </a:cxn>
              </a:cxnLst>
              <a:rect l="0" t="0" r="r" b="b"/>
              <a:pathLst>
                <a:path w="119" h="127">
                  <a:moveTo>
                    <a:pt x="0" y="47"/>
                  </a:moveTo>
                  <a:lnTo>
                    <a:pt x="4" y="32"/>
                  </a:lnTo>
                  <a:lnTo>
                    <a:pt x="4" y="22"/>
                  </a:lnTo>
                  <a:lnTo>
                    <a:pt x="10" y="13"/>
                  </a:lnTo>
                  <a:lnTo>
                    <a:pt x="11" y="7"/>
                  </a:lnTo>
                  <a:lnTo>
                    <a:pt x="39" y="0"/>
                  </a:lnTo>
                  <a:lnTo>
                    <a:pt x="55" y="0"/>
                  </a:lnTo>
                  <a:lnTo>
                    <a:pt x="65" y="13"/>
                  </a:lnTo>
                  <a:lnTo>
                    <a:pt x="65" y="13"/>
                  </a:lnTo>
                  <a:lnTo>
                    <a:pt x="65" y="15"/>
                  </a:lnTo>
                  <a:lnTo>
                    <a:pt x="66" y="18"/>
                  </a:lnTo>
                  <a:lnTo>
                    <a:pt x="66" y="39"/>
                  </a:lnTo>
                  <a:lnTo>
                    <a:pt x="68" y="42"/>
                  </a:lnTo>
                  <a:lnTo>
                    <a:pt x="75" y="45"/>
                  </a:lnTo>
                  <a:lnTo>
                    <a:pt x="87" y="45"/>
                  </a:lnTo>
                  <a:lnTo>
                    <a:pt x="87" y="44"/>
                  </a:lnTo>
                  <a:lnTo>
                    <a:pt x="90" y="44"/>
                  </a:lnTo>
                  <a:lnTo>
                    <a:pt x="91" y="45"/>
                  </a:lnTo>
                  <a:lnTo>
                    <a:pt x="97" y="47"/>
                  </a:lnTo>
                  <a:lnTo>
                    <a:pt x="98" y="49"/>
                  </a:lnTo>
                  <a:lnTo>
                    <a:pt x="101" y="67"/>
                  </a:lnTo>
                  <a:lnTo>
                    <a:pt x="103" y="70"/>
                  </a:lnTo>
                  <a:lnTo>
                    <a:pt x="106" y="71"/>
                  </a:lnTo>
                  <a:lnTo>
                    <a:pt x="109" y="71"/>
                  </a:lnTo>
                  <a:lnTo>
                    <a:pt x="110" y="70"/>
                  </a:lnTo>
                  <a:lnTo>
                    <a:pt x="116" y="70"/>
                  </a:lnTo>
                  <a:lnTo>
                    <a:pt x="117" y="71"/>
                  </a:lnTo>
                  <a:lnTo>
                    <a:pt x="119" y="73"/>
                  </a:lnTo>
                  <a:lnTo>
                    <a:pt x="114" y="109"/>
                  </a:lnTo>
                  <a:lnTo>
                    <a:pt x="111" y="113"/>
                  </a:lnTo>
                  <a:lnTo>
                    <a:pt x="100" y="124"/>
                  </a:lnTo>
                  <a:lnTo>
                    <a:pt x="100" y="124"/>
                  </a:lnTo>
                  <a:lnTo>
                    <a:pt x="100" y="124"/>
                  </a:lnTo>
                  <a:lnTo>
                    <a:pt x="97" y="125"/>
                  </a:lnTo>
                  <a:lnTo>
                    <a:pt x="94" y="125"/>
                  </a:lnTo>
                  <a:lnTo>
                    <a:pt x="91" y="125"/>
                  </a:lnTo>
                  <a:lnTo>
                    <a:pt x="91" y="127"/>
                  </a:lnTo>
                  <a:lnTo>
                    <a:pt x="87" y="127"/>
                  </a:lnTo>
                  <a:lnTo>
                    <a:pt x="85" y="127"/>
                  </a:lnTo>
                  <a:lnTo>
                    <a:pt x="82" y="127"/>
                  </a:lnTo>
                  <a:lnTo>
                    <a:pt x="74" y="122"/>
                  </a:lnTo>
                  <a:lnTo>
                    <a:pt x="61" y="121"/>
                  </a:lnTo>
                  <a:lnTo>
                    <a:pt x="59" y="121"/>
                  </a:lnTo>
                  <a:lnTo>
                    <a:pt x="59" y="116"/>
                  </a:lnTo>
                  <a:lnTo>
                    <a:pt x="69" y="99"/>
                  </a:lnTo>
                  <a:lnTo>
                    <a:pt x="69" y="96"/>
                  </a:lnTo>
                  <a:lnTo>
                    <a:pt x="69" y="93"/>
                  </a:lnTo>
                  <a:lnTo>
                    <a:pt x="68" y="92"/>
                  </a:lnTo>
                  <a:lnTo>
                    <a:pt x="66" y="90"/>
                  </a:lnTo>
                  <a:lnTo>
                    <a:pt x="65" y="89"/>
                  </a:lnTo>
                  <a:lnTo>
                    <a:pt x="61" y="87"/>
                  </a:lnTo>
                  <a:lnTo>
                    <a:pt x="59" y="84"/>
                  </a:lnTo>
                  <a:lnTo>
                    <a:pt x="42" y="76"/>
                  </a:lnTo>
                  <a:lnTo>
                    <a:pt x="27" y="73"/>
                  </a:lnTo>
                  <a:lnTo>
                    <a:pt x="26" y="71"/>
                  </a:lnTo>
                  <a:lnTo>
                    <a:pt x="23" y="67"/>
                  </a:lnTo>
                  <a:lnTo>
                    <a:pt x="11" y="58"/>
                  </a:lnTo>
                  <a:lnTo>
                    <a:pt x="4" y="48"/>
                  </a:lnTo>
                  <a:lnTo>
                    <a:pt x="0" y="4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39" name="Freeform 235"/>
            <p:cNvSpPr>
              <a:spLocks/>
            </p:cNvSpPr>
            <p:nvPr/>
          </p:nvSpPr>
          <p:spPr bwMode="auto">
            <a:xfrm>
              <a:off x="5133199" y="3537285"/>
              <a:ext cx="109725" cy="685554"/>
            </a:xfrm>
            <a:custGeom>
              <a:avLst/>
              <a:gdLst/>
              <a:ahLst/>
              <a:cxnLst>
                <a:cxn ang="0">
                  <a:pos x="98" y="29"/>
                </a:cxn>
                <a:cxn ang="0">
                  <a:pos x="96" y="41"/>
                </a:cxn>
                <a:cxn ang="0">
                  <a:pos x="107" y="80"/>
                </a:cxn>
                <a:cxn ang="0">
                  <a:pos x="119" y="83"/>
                </a:cxn>
                <a:cxn ang="0">
                  <a:pos x="98" y="145"/>
                </a:cxn>
                <a:cxn ang="0">
                  <a:pos x="72" y="211"/>
                </a:cxn>
                <a:cxn ang="0">
                  <a:pos x="80" y="263"/>
                </a:cxn>
                <a:cxn ang="0">
                  <a:pos x="68" y="301"/>
                </a:cxn>
                <a:cxn ang="0">
                  <a:pos x="62" y="344"/>
                </a:cxn>
                <a:cxn ang="0">
                  <a:pos x="49" y="424"/>
                </a:cxn>
                <a:cxn ang="0">
                  <a:pos x="53" y="452"/>
                </a:cxn>
                <a:cxn ang="0">
                  <a:pos x="55" y="463"/>
                </a:cxn>
                <a:cxn ang="0">
                  <a:pos x="43" y="527"/>
                </a:cxn>
                <a:cxn ang="0">
                  <a:pos x="30" y="581"/>
                </a:cxn>
                <a:cxn ang="0">
                  <a:pos x="43" y="584"/>
                </a:cxn>
                <a:cxn ang="0">
                  <a:pos x="68" y="616"/>
                </a:cxn>
                <a:cxn ang="0">
                  <a:pos x="85" y="622"/>
                </a:cxn>
                <a:cxn ang="0">
                  <a:pos x="64" y="657"/>
                </a:cxn>
                <a:cxn ang="0">
                  <a:pos x="46" y="645"/>
                </a:cxn>
                <a:cxn ang="0">
                  <a:pos x="61" y="639"/>
                </a:cxn>
                <a:cxn ang="0">
                  <a:pos x="43" y="626"/>
                </a:cxn>
                <a:cxn ang="0">
                  <a:pos x="43" y="613"/>
                </a:cxn>
                <a:cxn ang="0">
                  <a:pos x="37" y="609"/>
                </a:cxn>
                <a:cxn ang="0">
                  <a:pos x="32" y="616"/>
                </a:cxn>
                <a:cxn ang="0">
                  <a:pos x="20" y="588"/>
                </a:cxn>
                <a:cxn ang="0">
                  <a:pos x="20" y="583"/>
                </a:cxn>
                <a:cxn ang="0">
                  <a:pos x="17" y="570"/>
                </a:cxn>
                <a:cxn ang="0">
                  <a:pos x="23" y="558"/>
                </a:cxn>
                <a:cxn ang="0">
                  <a:pos x="19" y="542"/>
                </a:cxn>
                <a:cxn ang="0">
                  <a:pos x="17" y="536"/>
                </a:cxn>
                <a:cxn ang="0">
                  <a:pos x="20" y="526"/>
                </a:cxn>
                <a:cxn ang="0">
                  <a:pos x="19" y="520"/>
                </a:cxn>
                <a:cxn ang="0">
                  <a:pos x="22" y="504"/>
                </a:cxn>
                <a:cxn ang="0">
                  <a:pos x="6" y="497"/>
                </a:cxn>
                <a:cxn ang="0">
                  <a:pos x="4" y="493"/>
                </a:cxn>
                <a:cxn ang="0">
                  <a:pos x="7" y="484"/>
                </a:cxn>
                <a:cxn ang="0">
                  <a:pos x="20" y="487"/>
                </a:cxn>
                <a:cxn ang="0">
                  <a:pos x="24" y="495"/>
                </a:cxn>
                <a:cxn ang="0">
                  <a:pos x="30" y="482"/>
                </a:cxn>
                <a:cxn ang="0">
                  <a:pos x="32" y="477"/>
                </a:cxn>
                <a:cxn ang="0">
                  <a:pos x="37" y="474"/>
                </a:cxn>
                <a:cxn ang="0">
                  <a:pos x="35" y="463"/>
                </a:cxn>
                <a:cxn ang="0">
                  <a:pos x="33" y="449"/>
                </a:cxn>
                <a:cxn ang="0">
                  <a:pos x="37" y="439"/>
                </a:cxn>
                <a:cxn ang="0">
                  <a:pos x="39" y="418"/>
                </a:cxn>
                <a:cxn ang="0">
                  <a:pos x="43" y="405"/>
                </a:cxn>
                <a:cxn ang="0">
                  <a:pos x="43" y="400"/>
                </a:cxn>
                <a:cxn ang="0">
                  <a:pos x="30" y="401"/>
                </a:cxn>
                <a:cxn ang="0">
                  <a:pos x="26" y="366"/>
                </a:cxn>
                <a:cxn ang="0">
                  <a:pos x="27" y="340"/>
                </a:cxn>
                <a:cxn ang="0">
                  <a:pos x="35" y="307"/>
                </a:cxn>
                <a:cxn ang="0">
                  <a:pos x="53" y="247"/>
                </a:cxn>
                <a:cxn ang="0">
                  <a:pos x="62" y="157"/>
                </a:cxn>
                <a:cxn ang="0">
                  <a:pos x="71" y="91"/>
                </a:cxn>
                <a:cxn ang="0">
                  <a:pos x="74" y="9"/>
                </a:cxn>
                <a:cxn ang="0">
                  <a:pos x="84" y="0"/>
                </a:cxn>
              </a:cxnLst>
              <a:rect l="0" t="0" r="r" b="b"/>
              <a:pathLst>
                <a:path w="119" h="658">
                  <a:moveTo>
                    <a:pt x="84" y="0"/>
                  </a:moveTo>
                  <a:lnTo>
                    <a:pt x="84" y="0"/>
                  </a:lnTo>
                  <a:lnTo>
                    <a:pt x="87" y="4"/>
                  </a:lnTo>
                  <a:lnTo>
                    <a:pt x="88" y="4"/>
                  </a:lnTo>
                  <a:lnTo>
                    <a:pt x="90" y="7"/>
                  </a:lnTo>
                  <a:lnTo>
                    <a:pt x="93" y="20"/>
                  </a:lnTo>
                  <a:lnTo>
                    <a:pt x="98" y="26"/>
                  </a:lnTo>
                  <a:lnTo>
                    <a:pt x="98" y="29"/>
                  </a:lnTo>
                  <a:lnTo>
                    <a:pt x="98" y="30"/>
                  </a:lnTo>
                  <a:lnTo>
                    <a:pt x="98" y="32"/>
                  </a:lnTo>
                  <a:lnTo>
                    <a:pt x="98" y="33"/>
                  </a:lnTo>
                  <a:lnTo>
                    <a:pt x="98" y="35"/>
                  </a:lnTo>
                  <a:lnTo>
                    <a:pt x="98" y="35"/>
                  </a:lnTo>
                  <a:lnTo>
                    <a:pt x="96" y="35"/>
                  </a:lnTo>
                  <a:lnTo>
                    <a:pt x="96" y="36"/>
                  </a:lnTo>
                  <a:lnTo>
                    <a:pt x="96" y="41"/>
                  </a:lnTo>
                  <a:lnTo>
                    <a:pt x="97" y="42"/>
                  </a:lnTo>
                  <a:lnTo>
                    <a:pt x="98" y="42"/>
                  </a:lnTo>
                  <a:lnTo>
                    <a:pt x="98" y="46"/>
                  </a:lnTo>
                  <a:lnTo>
                    <a:pt x="98" y="48"/>
                  </a:lnTo>
                  <a:lnTo>
                    <a:pt x="101" y="51"/>
                  </a:lnTo>
                  <a:lnTo>
                    <a:pt x="103" y="57"/>
                  </a:lnTo>
                  <a:lnTo>
                    <a:pt x="104" y="60"/>
                  </a:lnTo>
                  <a:lnTo>
                    <a:pt x="107" y="80"/>
                  </a:lnTo>
                  <a:lnTo>
                    <a:pt x="109" y="81"/>
                  </a:lnTo>
                  <a:lnTo>
                    <a:pt x="114" y="81"/>
                  </a:lnTo>
                  <a:lnTo>
                    <a:pt x="116" y="80"/>
                  </a:lnTo>
                  <a:lnTo>
                    <a:pt x="117" y="80"/>
                  </a:lnTo>
                  <a:lnTo>
                    <a:pt x="117" y="81"/>
                  </a:lnTo>
                  <a:lnTo>
                    <a:pt x="119" y="81"/>
                  </a:lnTo>
                  <a:lnTo>
                    <a:pt x="119" y="81"/>
                  </a:lnTo>
                  <a:lnTo>
                    <a:pt x="119" y="83"/>
                  </a:lnTo>
                  <a:lnTo>
                    <a:pt x="117" y="99"/>
                  </a:lnTo>
                  <a:lnTo>
                    <a:pt x="100" y="106"/>
                  </a:lnTo>
                  <a:lnTo>
                    <a:pt x="100" y="115"/>
                  </a:lnTo>
                  <a:lnTo>
                    <a:pt x="98" y="116"/>
                  </a:lnTo>
                  <a:lnTo>
                    <a:pt x="98" y="118"/>
                  </a:lnTo>
                  <a:lnTo>
                    <a:pt x="101" y="142"/>
                  </a:lnTo>
                  <a:lnTo>
                    <a:pt x="101" y="144"/>
                  </a:lnTo>
                  <a:lnTo>
                    <a:pt x="98" y="145"/>
                  </a:lnTo>
                  <a:lnTo>
                    <a:pt x="93" y="150"/>
                  </a:lnTo>
                  <a:lnTo>
                    <a:pt x="91" y="155"/>
                  </a:lnTo>
                  <a:lnTo>
                    <a:pt x="85" y="163"/>
                  </a:lnTo>
                  <a:lnTo>
                    <a:pt x="78" y="198"/>
                  </a:lnTo>
                  <a:lnTo>
                    <a:pt x="77" y="199"/>
                  </a:lnTo>
                  <a:lnTo>
                    <a:pt x="77" y="202"/>
                  </a:lnTo>
                  <a:lnTo>
                    <a:pt x="75" y="203"/>
                  </a:lnTo>
                  <a:lnTo>
                    <a:pt x="72" y="211"/>
                  </a:lnTo>
                  <a:lnTo>
                    <a:pt x="72" y="212"/>
                  </a:lnTo>
                  <a:lnTo>
                    <a:pt x="71" y="222"/>
                  </a:lnTo>
                  <a:lnTo>
                    <a:pt x="72" y="224"/>
                  </a:lnTo>
                  <a:lnTo>
                    <a:pt x="72" y="232"/>
                  </a:lnTo>
                  <a:lnTo>
                    <a:pt x="77" y="241"/>
                  </a:lnTo>
                  <a:lnTo>
                    <a:pt x="77" y="246"/>
                  </a:lnTo>
                  <a:lnTo>
                    <a:pt x="78" y="248"/>
                  </a:lnTo>
                  <a:lnTo>
                    <a:pt x="80" y="263"/>
                  </a:lnTo>
                  <a:lnTo>
                    <a:pt x="75" y="272"/>
                  </a:lnTo>
                  <a:lnTo>
                    <a:pt x="74" y="279"/>
                  </a:lnTo>
                  <a:lnTo>
                    <a:pt x="74" y="280"/>
                  </a:lnTo>
                  <a:lnTo>
                    <a:pt x="71" y="282"/>
                  </a:lnTo>
                  <a:lnTo>
                    <a:pt x="71" y="296"/>
                  </a:lnTo>
                  <a:lnTo>
                    <a:pt x="69" y="298"/>
                  </a:lnTo>
                  <a:lnTo>
                    <a:pt x="68" y="299"/>
                  </a:lnTo>
                  <a:lnTo>
                    <a:pt x="68" y="301"/>
                  </a:lnTo>
                  <a:lnTo>
                    <a:pt x="68" y="302"/>
                  </a:lnTo>
                  <a:lnTo>
                    <a:pt x="67" y="302"/>
                  </a:lnTo>
                  <a:lnTo>
                    <a:pt x="65" y="302"/>
                  </a:lnTo>
                  <a:lnTo>
                    <a:pt x="64" y="305"/>
                  </a:lnTo>
                  <a:lnTo>
                    <a:pt x="62" y="336"/>
                  </a:lnTo>
                  <a:lnTo>
                    <a:pt x="64" y="339"/>
                  </a:lnTo>
                  <a:lnTo>
                    <a:pt x="64" y="341"/>
                  </a:lnTo>
                  <a:lnTo>
                    <a:pt x="62" y="344"/>
                  </a:lnTo>
                  <a:lnTo>
                    <a:pt x="59" y="347"/>
                  </a:lnTo>
                  <a:lnTo>
                    <a:pt x="51" y="392"/>
                  </a:lnTo>
                  <a:lnTo>
                    <a:pt x="52" y="397"/>
                  </a:lnTo>
                  <a:lnTo>
                    <a:pt x="53" y="398"/>
                  </a:lnTo>
                  <a:lnTo>
                    <a:pt x="53" y="400"/>
                  </a:lnTo>
                  <a:lnTo>
                    <a:pt x="53" y="404"/>
                  </a:lnTo>
                  <a:lnTo>
                    <a:pt x="51" y="410"/>
                  </a:lnTo>
                  <a:lnTo>
                    <a:pt x="49" y="424"/>
                  </a:lnTo>
                  <a:lnTo>
                    <a:pt x="49" y="426"/>
                  </a:lnTo>
                  <a:lnTo>
                    <a:pt x="51" y="427"/>
                  </a:lnTo>
                  <a:lnTo>
                    <a:pt x="51" y="436"/>
                  </a:lnTo>
                  <a:lnTo>
                    <a:pt x="52" y="439"/>
                  </a:lnTo>
                  <a:lnTo>
                    <a:pt x="53" y="442"/>
                  </a:lnTo>
                  <a:lnTo>
                    <a:pt x="52" y="450"/>
                  </a:lnTo>
                  <a:lnTo>
                    <a:pt x="52" y="452"/>
                  </a:lnTo>
                  <a:lnTo>
                    <a:pt x="53" y="452"/>
                  </a:lnTo>
                  <a:lnTo>
                    <a:pt x="58" y="453"/>
                  </a:lnTo>
                  <a:lnTo>
                    <a:pt x="59" y="455"/>
                  </a:lnTo>
                  <a:lnTo>
                    <a:pt x="59" y="458"/>
                  </a:lnTo>
                  <a:lnTo>
                    <a:pt x="59" y="459"/>
                  </a:lnTo>
                  <a:lnTo>
                    <a:pt x="52" y="459"/>
                  </a:lnTo>
                  <a:lnTo>
                    <a:pt x="51" y="459"/>
                  </a:lnTo>
                  <a:lnTo>
                    <a:pt x="52" y="462"/>
                  </a:lnTo>
                  <a:lnTo>
                    <a:pt x="55" y="463"/>
                  </a:lnTo>
                  <a:lnTo>
                    <a:pt x="58" y="466"/>
                  </a:lnTo>
                  <a:lnTo>
                    <a:pt x="58" y="469"/>
                  </a:lnTo>
                  <a:lnTo>
                    <a:pt x="55" y="472"/>
                  </a:lnTo>
                  <a:lnTo>
                    <a:pt x="55" y="497"/>
                  </a:lnTo>
                  <a:lnTo>
                    <a:pt x="43" y="520"/>
                  </a:lnTo>
                  <a:lnTo>
                    <a:pt x="43" y="525"/>
                  </a:lnTo>
                  <a:lnTo>
                    <a:pt x="43" y="525"/>
                  </a:lnTo>
                  <a:lnTo>
                    <a:pt x="43" y="527"/>
                  </a:lnTo>
                  <a:lnTo>
                    <a:pt x="45" y="527"/>
                  </a:lnTo>
                  <a:lnTo>
                    <a:pt x="45" y="532"/>
                  </a:lnTo>
                  <a:lnTo>
                    <a:pt x="45" y="533"/>
                  </a:lnTo>
                  <a:lnTo>
                    <a:pt x="45" y="535"/>
                  </a:lnTo>
                  <a:lnTo>
                    <a:pt x="42" y="545"/>
                  </a:lnTo>
                  <a:lnTo>
                    <a:pt x="35" y="556"/>
                  </a:lnTo>
                  <a:lnTo>
                    <a:pt x="35" y="556"/>
                  </a:lnTo>
                  <a:lnTo>
                    <a:pt x="30" y="581"/>
                  </a:lnTo>
                  <a:lnTo>
                    <a:pt x="30" y="583"/>
                  </a:lnTo>
                  <a:lnTo>
                    <a:pt x="32" y="588"/>
                  </a:lnTo>
                  <a:lnTo>
                    <a:pt x="33" y="588"/>
                  </a:lnTo>
                  <a:lnTo>
                    <a:pt x="35" y="587"/>
                  </a:lnTo>
                  <a:lnTo>
                    <a:pt x="35" y="586"/>
                  </a:lnTo>
                  <a:lnTo>
                    <a:pt x="37" y="584"/>
                  </a:lnTo>
                  <a:lnTo>
                    <a:pt x="42" y="586"/>
                  </a:lnTo>
                  <a:lnTo>
                    <a:pt x="43" y="584"/>
                  </a:lnTo>
                  <a:lnTo>
                    <a:pt x="43" y="584"/>
                  </a:lnTo>
                  <a:lnTo>
                    <a:pt x="45" y="584"/>
                  </a:lnTo>
                  <a:lnTo>
                    <a:pt x="45" y="584"/>
                  </a:lnTo>
                  <a:lnTo>
                    <a:pt x="46" y="609"/>
                  </a:lnTo>
                  <a:lnTo>
                    <a:pt x="49" y="615"/>
                  </a:lnTo>
                  <a:lnTo>
                    <a:pt x="52" y="616"/>
                  </a:lnTo>
                  <a:lnTo>
                    <a:pt x="67" y="616"/>
                  </a:lnTo>
                  <a:lnTo>
                    <a:pt x="68" y="616"/>
                  </a:lnTo>
                  <a:lnTo>
                    <a:pt x="81" y="616"/>
                  </a:lnTo>
                  <a:lnTo>
                    <a:pt x="101" y="622"/>
                  </a:lnTo>
                  <a:lnTo>
                    <a:pt x="101" y="622"/>
                  </a:lnTo>
                  <a:lnTo>
                    <a:pt x="101" y="622"/>
                  </a:lnTo>
                  <a:lnTo>
                    <a:pt x="96" y="622"/>
                  </a:lnTo>
                  <a:lnTo>
                    <a:pt x="91" y="620"/>
                  </a:lnTo>
                  <a:lnTo>
                    <a:pt x="90" y="619"/>
                  </a:lnTo>
                  <a:lnTo>
                    <a:pt x="85" y="622"/>
                  </a:lnTo>
                  <a:lnTo>
                    <a:pt x="84" y="625"/>
                  </a:lnTo>
                  <a:lnTo>
                    <a:pt x="80" y="626"/>
                  </a:lnTo>
                  <a:lnTo>
                    <a:pt x="75" y="629"/>
                  </a:lnTo>
                  <a:lnTo>
                    <a:pt x="72" y="631"/>
                  </a:lnTo>
                  <a:lnTo>
                    <a:pt x="71" y="631"/>
                  </a:lnTo>
                  <a:lnTo>
                    <a:pt x="67" y="632"/>
                  </a:lnTo>
                  <a:lnTo>
                    <a:pt x="64" y="655"/>
                  </a:lnTo>
                  <a:lnTo>
                    <a:pt x="64" y="657"/>
                  </a:lnTo>
                  <a:lnTo>
                    <a:pt x="62" y="657"/>
                  </a:lnTo>
                  <a:lnTo>
                    <a:pt x="61" y="658"/>
                  </a:lnTo>
                  <a:lnTo>
                    <a:pt x="58" y="657"/>
                  </a:lnTo>
                  <a:lnTo>
                    <a:pt x="55" y="655"/>
                  </a:lnTo>
                  <a:lnTo>
                    <a:pt x="51" y="654"/>
                  </a:lnTo>
                  <a:lnTo>
                    <a:pt x="48" y="651"/>
                  </a:lnTo>
                  <a:lnTo>
                    <a:pt x="46" y="648"/>
                  </a:lnTo>
                  <a:lnTo>
                    <a:pt x="46" y="645"/>
                  </a:lnTo>
                  <a:lnTo>
                    <a:pt x="48" y="645"/>
                  </a:lnTo>
                  <a:lnTo>
                    <a:pt x="49" y="647"/>
                  </a:lnTo>
                  <a:lnTo>
                    <a:pt x="49" y="648"/>
                  </a:lnTo>
                  <a:lnTo>
                    <a:pt x="51" y="647"/>
                  </a:lnTo>
                  <a:lnTo>
                    <a:pt x="52" y="645"/>
                  </a:lnTo>
                  <a:lnTo>
                    <a:pt x="53" y="644"/>
                  </a:lnTo>
                  <a:lnTo>
                    <a:pt x="56" y="644"/>
                  </a:lnTo>
                  <a:lnTo>
                    <a:pt x="61" y="639"/>
                  </a:lnTo>
                  <a:lnTo>
                    <a:pt x="64" y="635"/>
                  </a:lnTo>
                  <a:lnTo>
                    <a:pt x="61" y="633"/>
                  </a:lnTo>
                  <a:lnTo>
                    <a:pt x="56" y="628"/>
                  </a:lnTo>
                  <a:lnTo>
                    <a:pt x="49" y="626"/>
                  </a:lnTo>
                  <a:lnTo>
                    <a:pt x="45" y="628"/>
                  </a:lnTo>
                  <a:lnTo>
                    <a:pt x="43" y="629"/>
                  </a:lnTo>
                  <a:lnTo>
                    <a:pt x="43" y="628"/>
                  </a:lnTo>
                  <a:lnTo>
                    <a:pt x="43" y="626"/>
                  </a:lnTo>
                  <a:lnTo>
                    <a:pt x="39" y="628"/>
                  </a:lnTo>
                  <a:lnTo>
                    <a:pt x="39" y="626"/>
                  </a:lnTo>
                  <a:lnTo>
                    <a:pt x="40" y="625"/>
                  </a:lnTo>
                  <a:lnTo>
                    <a:pt x="43" y="623"/>
                  </a:lnTo>
                  <a:lnTo>
                    <a:pt x="43" y="620"/>
                  </a:lnTo>
                  <a:lnTo>
                    <a:pt x="43" y="618"/>
                  </a:lnTo>
                  <a:lnTo>
                    <a:pt x="40" y="615"/>
                  </a:lnTo>
                  <a:lnTo>
                    <a:pt x="43" y="613"/>
                  </a:lnTo>
                  <a:lnTo>
                    <a:pt x="43" y="609"/>
                  </a:lnTo>
                  <a:lnTo>
                    <a:pt x="37" y="603"/>
                  </a:lnTo>
                  <a:lnTo>
                    <a:pt x="35" y="602"/>
                  </a:lnTo>
                  <a:lnTo>
                    <a:pt x="33" y="602"/>
                  </a:lnTo>
                  <a:lnTo>
                    <a:pt x="40" y="607"/>
                  </a:lnTo>
                  <a:lnTo>
                    <a:pt x="40" y="609"/>
                  </a:lnTo>
                  <a:lnTo>
                    <a:pt x="39" y="610"/>
                  </a:lnTo>
                  <a:lnTo>
                    <a:pt x="37" y="609"/>
                  </a:lnTo>
                  <a:lnTo>
                    <a:pt x="35" y="607"/>
                  </a:lnTo>
                  <a:lnTo>
                    <a:pt x="35" y="607"/>
                  </a:lnTo>
                  <a:lnTo>
                    <a:pt x="36" y="610"/>
                  </a:lnTo>
                  <a:lnTo>
                    <a:pt x="35" y="613"/>
                  </a:lnTo>
                  <a:lnTo>
                    <a:pt x="35" y="615"/>
                  </a:lnTo>
                  <a:lnTo>
                    <a:pt x="30" y="604"/>
                  </a:lnTo>
                  <a:lnTo>
                    <a:pt x="32" y="609"/>
                  </a:lnTo>
                  <a:lnTo>
                    <a:pt x="32" y="616"/>
                  </a:lnTo>
                  <a:lnTo>
                    <a:pt x="30" y="616"/>
                  </a:lnTo>
                  <a:lnTo>
                    <a:pt x="29" y="615"/>
                  </a:lnTo>
                  <a:lnTo>
                    <a:pt x="29" y="612"/>
                  </a:lnTo>
                  <a:lnTo>
                    <a:pt x="29" y="606"/>
                  </a:lnTo>
                  <a:lnTo>
                    <a:pt x="27" y="600"/>
                  </a:lnTo>
                  <a:lnTo>
                    <a:pt x="20" y="594"/>
                  </a:lnTo>
                  <a:lnTo>
                    <a:pt x="20" y="591"/>
                  </a:lnTo>
                  <a:lnTo>
                    <a:pt x="20" y="588"/>
                  </a:lnTo>
                  <a:lnTo>
                    <a:pt x="23" y="588"/>
                  </a:lnTo>
                  <a:lnTo>
                    <a:pt x="26" y="588"/>
                  </a:lnTo>
                  <a:lnTo>
                    <a:pt x="26" y="586"/>
                  </a:lnTo>
                  <a:lnTo>
                    <a:pt x="24" y="584"/>
                  </a:lnTo>
                  <a:lnTo>
                    <a:pt x="24" y="586"/>
                  </a:lnTo>
                  <a:lnTo>
                    <a:pt x="23" y="586"/>
                  </a:lnTo>
                  <a:lnTo>
                    <a:pt x="22" y="584"/>
                  </a:lnTo>
                  <a:lnTo>
                    <a:pt x="20" y="583"/>
                  </a:lnTo>
                  <a:lnTo>
                    <a:pt x="20" y="580"/>
                  </a:lnTo>
                  <a:lnTo>
                    <a:pt x="24" y="581"/>
                  </a:lnTo>
                  <a:lnTo>
                    <a:pt x="22" y="578"/>
                  </a:lnTo>
                  <a:lnTo>
                    <a:pt x="19" y="578"/>
                  </a:lnTo>
                  <a:lnTo>
                    <a:pt x="17" y="577"/>
                  </a:lnTo>
                  <a:lnTo>
                    <a:pt x="16" y="575"/>
                  </a:lnTo>
                  <a:lnTo>
                    <a:pt x="14" y="572"/>
                  </a:lnTo>
                  <a:lnTo>
                    <a:pt x="17" y="570"/>
                  </a:lnTo>
                  <a:lnTo>
                    <a:pt x="17" y="565"/>
                  </a:lnTo>
                  <a:lnTo>
                    <a:pt x="19" y="564"/>
                  </a:lnTo>
                  <a:lnTo>
                    <a:pt x="19" y="562"/>
                  </a:lnTo>
                  <a:lnTo>
                    <a:pt x="22" y="559"/>
                  </a:lnTo>
                  <a:lnTo>
                    <a:pt x="24" y="561"/>
                  </a:lnTo>
                  <a:lnTo>
                    <a:pt x="24" y="561"/>
                  </a:lnTo>
                  <a:lnTo>
                    <a:pt x="24" y="559"/>
                  </a:lnTo>
                  <a:lnTo>
                    <a:pt x="23" y="558"/>
                  </a:lnTo>
                  <a:lnTo>
                    <a:pt x="23" y="556"/>
                  </a:lnTo>
                  <a:lnTo>
                    <a:pt x="24" y="549"/>
                  </a:lnTo>
                  <a:lnTo>
                    <a:pt x="24" y="551"/>
                  </a:lnTo>
                  <a:lnTo>
                    <a:pt x="22" y="552"/>
                  </a:lnTo>
                  <a:lnTo>
                    <a:pt x="20" y="556"/>
                  </a:lnTo>
                  <a:lnTo>
                    <a:pt x="19" y="556"/>
                  </a:lnTo>
                  <a:lnTo>
                    <a:pt x="17" y="542"/>
                  </a:lnTo>
                  <a:lnTo>
                    <a:pt x="19" y="542"/>
                  </a:lnTo>
                  <a:lnTo>
                    <a:pt x="20" y="542"/>
                  </a:lnTo>
                  <a:lnTo>
                    <a:pt x="17" y="539"/>
                  </a:lnTo>
                  <a:lnTo>
                    <a:pt x="19" y="536"/>
                  </a:lnTo>
                  <a:lnTo>
                    <a:pt x="23" y="536"/>
                  </a:lnTo>
                  <a:lnTo>
                    <a:pt x="24" y="539"/>
                  </a:lnTo>
                  <a:lnTo>
                    <a:pt x="24" y="533"/>
                  </a:lnTo>
                  <a:lnTo>
                    <a:pt x="23" y="535"/>
                  </a:lnTo>
                  <a:lnTo>
                    <a:pt x="17" y="536"/>
                  </a:lnTo>
                  <a:lnTo>
                    <a:pt x="16" y="535"/>
                  </a:lnTo>
                  <a:lnTo>
                    <a:pt x="16" y="532"/>
                  </a:lnTo>
                  <a:lnTo>
                    <a:pt x="14" y="530"/>
                  </a:lnTo>
                  <a:lnTo>
                    <a:pt x="14" y="525"/>
                  </a:lnTo>
                  <a:lnTo>
                    <a:pt x="17" y="526"/>
                  </a:lnTo>
                  <a:lnTo>
                    <a:pt x="19" y="530"/>
                  </a:lnTo>
                  <a:lnTo>
                    <a:pt x="19" y="527"/>
                  </a:lnTo>
                  <a:lnTo>
                    <a:pt x="20" y="526"/>
                  </a:lnTo>
                  <a:lnTo>
                    <a:pt x="26" y="527"/>
                  </a:lnTo>
                  <a:lnTo>
                    <a:pt x="29" y="530"/>
                  </a:lnTo>
                  <a:lnTo>
                    <a:pt x="32" y="530"/>
                  </a:lnTo>
                  <a:lnTo>
                    <a:pt x="27" y="527"/>
                  </a:lnTo>
                  <a:lnTo>
                    <a:pt x="24" y="519"/>
                  </a:lnTo>
                  <a:lnTo>
                    <a:pt x="24" y="522"/>
                  </a:lnTo>
                  <a:lnTo>
                    <a:pt x="20" y="522"/>
                  </a:lnTo>
                  <a:lnTo>
                    <a:pt x="19" y="520"/>
                  </a:lnTo>
                  <a:lnTo>
                    <a:pt x="20" y="519"/>
                  </a:lnTo>
                  <a:lnTo>
                    <a:pt x="22" y="517"/>
                  </a:lnTo>
                  <a:lnTo>
                    <a:pt x="16" y="514"/>
                  </a:lnTo>
                  <a:lnTo>
                    <a:pt x="16" y="513"/>
                  </a:lnTo>
                  <a:lnTo>
                    <a:pt x="16" y="511"/>
                  </a:lnTo>
                  <a:lnTo>
                    <a:pt x="22" y="509"/>
                  </a:lnTo>
                  <a:lnTo>
                    <a:pt x="20" y="507"/>
                  </a:lnTo>
                  <a:lnTo>
                    <a:pt x="22" y="504"/>
                  </a:lnTo>
                  <a:lnTo>
                    <a:pt x="22" y="504"/>
                  </a:lnTo>
                  <a:lnTo>
                    <a:pt x="20" y="501"/>
                  </a:lnTo>
                  <a:lnTo>
                    <a:pt x="17" y="498"/>
                  </a:lnTo>
                  <a:lnTo>
                    <a:pt x="14" y="498"/>
                  </a:lnTo>
                  <a:lnTo>
                    <a:pt x="13" y="501"/>
                  </a:lnTo>
                  <a:lnTo>
                    <a:pt x="11" y="501"/>
                  </a:lnTo>
                  <a:lnTo>
                    <a:pt x="8" y="500"/>
                  </a:lnTo>
                  <a:lnTo>
                    <a:pt x="6" y="497"/>
                  </a:lnTo>
                  <a:lnTo>
                    <a:pt x="1" y="498"/>
                  </a:lnTo>
                  <a:lnTo>
                    <a:pt x="3" y="500"/>
                  </a:lnTo>
                  <a:lnTo>
                    <a:pt x="3" y="501"/>
                  </a:lnTo>
                  <a:lnTo>
                    <a:pt x="3" y="504"/>
                  </a:lnTo>
                  <a:lnTo>
                    <a:pt x="0" y="503"/>
                  </a:lnTo>
                  <a:lnTo>
                    <a:pt x="0" y="501"/>
                  </a:lnTo>
                  <a:lnTo>
                    <a:pt x="0" y="495"/>
                  </a:lnTo>
                  <a:lnTo>
                    <a:pt x="4" y="493"/>
                  </a:lnTo>
                  <a:lnTo>
                    <a:pt x="7" y="490"/>
                  </a:lnTo>
                  <a:lnTo>
                    <a:pt x="8" y="490"/>
                  </a:lnTo>
                  <a:lnTo>
                    <a:pt x="11" y="488"/>
                  </a:lnTo>
                  <a:lnTo>
                    <a:pt x="11" y="487"/>
                  </a:lnTo>
                  <a:lnTo>
                    <a:pt x="10" y="485"/>
                  </a:lnTo>
                  <a:lnTo>
                    <a:pt x="8" y="487"/>
                  </a:lnTo>
                  <a:lnTo>
                    <a:pt x="8" y="485"/>
                  </a:lnTo>
                  <a:lnTo>
                    <a:pt x="7" y="484"/>
                  </a:lnTo>
                  <a:lnTo>
                    <a:pt x="7" y="482"/>
                  </a:lnTo>
                  <a:lnTo>
                    <a:pt x="11" y="481"/>
                  </a:lnTo>
                  <a:lnTo>
                    <a:pt x="14" y="482"/>
                  </a:lnTo>
                  <a:lnTo>
                    <a:pt x="14" y="482"/>
                  </a:lnTo>
                  <a:lnTo>
                    <a:pt x="17" y="481"/>
                  </a:lnTo>
                  <a:lnTo>
                    <a:pt x="20" y="484"/>
                  </a:lnTo>
                  <a:lnTo>
                    <a:pt x="19" y="485"/>
                  </a:lnTo>
                  <a:lnTo>
                    <a:pt x="20" y="487"/>
                  </a:lnTo>
                  <a:lnTo>
                    <a:pt x="20" y="485"/>
                  </a:lnTo>
                  <a:lnTo>
                    <a:pt x="22" y="487"/>
                  </a:lnTo>
                  <a:lnTo>
                    <a:pt x="19" y="491"/>
                  </a:lnTo>
                  <a:lnTo>
                    <a:pt x="20" y="493"/>
                  </a:lnTo>
                  <a:lnTo>
                    <a:pt x="22" y="493"/>
                  </a:lnTo>
                  <a:lnTo>
                    <a:pt x="23" y="491"/>
                  </a:lnTo>
                  <a:lnTo>
                    <a:pt x="24" y="490"/>
                  </a:lnTo>
                  <a:lnTo>
                    <a:pt x="24" y="495"/>
                  </a:lnTo>
                  <a:lnTo>
                    <a:pt x="26" y="494"/>
                  </a:lnTo>
                  <a:lnTo>
                    <a:pt x="26" y="493"/>
                  </a:lnTo>
                  <a:lnTo>
                    <a:pt x="29" y="490"/>
                  </a:lnTo>
                  <a:lnTo>
                    <a:pt x="30" y="490"/>
                  </a:lnTo>
                  <a:lnTo>
                    <a:pt x="30" y="488"/>
                  </a:lnTo>
                  <a:lnTo>
                    <a:pt x="32" y="482"/>
                  </a:lnTo>
                  <a:lnTo>
                    <a:pt x="32" y="481"/>
                  </a:lnTo>
                  <a:lnTo>
                    <a:pt x="30" y="482"/>
                  </a:lnTo>
                  <a:lnTo>
                    <a:pt x="27" y="488"/>
                  </a:lnTo>
                  <a:lnTo>
                    <a:pt x="29" y="482"/>
                  </a:lnTo>
                  <a:lnTo>
                    <a:pt x="29" y="481"/>
                  </a:lnTo>
                  <a:lnTo>
                    <a:pt x="29" y="481"/>
                  </a:lnTo>
                  <a:lnTo>
                    <a:pt x="33" y="479"/>
                  </a:lnTo>
                  <a:lnTo>
                    <a:pt x="30" y="479"/>
                  </a:lnTo>
                  <a:lnTo>
                    <a:pt x="30" y="478"/>
                  </a:lnTo>
                  <a:lnTo>
                    <a:pt x="32" y="477"/>
                  </a:lnTo>
                  <a:lnTo>
                    <a:pt x="33" y="475"/>
                  </a:lnTo>
                  <a:lnTo>
                    <a:pt x="33" y="475"/>
                  </a:lnTo>
                  <a:lnTo>
                    <a:pt x="32" y="475"/>
                  </a:lnTo>
                  <a:lnTo>
                    <a:pt x="29" y="477"/>
                  </a:lnTo>
                  <a:lnTo>
                    <a:pt x="29" y="474"/>
                  </a:lnTo>
                  <a:lnTo>
                    <a:pt x="32" y="471"/>
                  </a:lnTo>
                  <a:lnTo>
                    <a:pt x="32" y="471"/>
                  </a:lnTo>
                  <a:lnTo>
                    <a:pt x="37" y="474"/>
                  </a:lnTo>
                  <a:lnTo>
                    <a:pt x="39" y="474"/>
                  </a:lnTo>
                  <a:lnTo>
                    <a:pt x="39" y="472"/>
                  </a:lnTo>
                  <a:lnTo>
                    <a:pt x="36" y="472"/>
                  </a:lnTo>
                  <a:lnTo>
                    <a:pt x="33" y="469"/>
                  </a:lnTo>
                  <a:lnTo>
                    <a:pt x="30" y="469"/>
                  </a:lnTo>
                  <a:lnTo>
                    <a:pt x="32" y="465"/>
                  </a:lnTo>
                  <a:lnTo>
                    <a:pt x="32" y="463"/>
                  </a:lnTo>
                  <a:lnTo>
                    <a:pt x="35" y="463"/>
                  </a:lnTo>
                  <a:lnTo>
                    <a:pt x="37" y="463"/>
                  </a:lnTo>
                  <a:lnTo>
                    <a:pt x="40" y="461"/>
                  </a:lnTo>
                  <a:lnTo>
                    <a:pt x="40" y="459"/>
                  </a:lnTo>
                  <a:lnTo>
                    <a:pt x="40" y="455"/>
                  </a:lnTo>
                  <a:lnTo>
                    <a:pt x="39" y="452"/>
                  </a:lnTo>
                  <a:lnTo>
                    <a:pt x="37" y="452"/>
                  </a:lnTo>
                  <a:lnTo>
                    <a:pt x="35" y="449"/>
                  </a:lnTo>
                  <a:lnTo>
                    <a:pt x="33" y="449"/>
                  </a:lnTo>
                  <a:lnTo>
                    <a:pt x="32" y="447"/>
                  </a:lnTo>
                  <a:lnTo>
                    <a:pt x="32" y="447"/>
                  </a:lnTo>
                  <a:lnTo>
                    <a:pt x="33" y="447"/>
                  </a:lnTo>
                  <a:lnTo>
                    <a:pt x="33" y="446"/>
                  </a:lnTo>
                  <a:lnTo>
                    <a:pt x="35" y="445"/>
                  </a:lnTo>
                  <a:lnTo>
                    <a:pt x="36" y="442"/>
                  </a:lnTo>
                  <a:lnTo>
                    <a:pt x="37" y="439"/>
                  </a:lnTo>
                  <a:lnTo>
                    <a:pt x="37" y="439"/>
                  </a:lnTo>
                  <a:lnTo>
                    <a:pt x="37" y="436"/>
                  </a:lnTo>
                  <a:lnTo>
                    <a:pt x="36" y="434"/>
                  </a:lnTo>
                  <a:lnTo>
                    <a:pt x="36" y="433"/>
                  </a:lnTo>
                  <a:lnTo>
                    <a:pt x="36" y="432"/>
                  </a:lnTo>
                  <a:lnTo>
                    <a:pt x="36" y="430"/>
                  </a:lnTo>
                  <a:lnTo>
                    <a:pt x="37" y="429"/>
                  </a:lnTo>
                  <a:lnTo>
                    <a:pt x="39" y="424"/>
                  </a:lnTo>
                  <a:lnTo>
                    <a:pt x="39" y="418"/>
                  </a:lnTo>
                  <a:lnTo>
                    <a:pt x="40" y="416"/>
                  </a:lnTo>
                  <a:lnTo>
                    <a:pt x="42" y="417"/>
                  </a:lnTo>
                  <a:lnTo>
                    <a:pt x="40" y="416"/>
                  </a:lnTo>
                  <a:lnTo>
                    <a:pt x="40" y="413"/>
                  </a:lnTo>
                  <a:lnTo>
                    <a:pt x="40" y="410"/>
                  </a:lnTo>
                  <a:lnTo>
                    <a:pt x="43" y="411"/>
                  </a:lnTo>
                  <a:lnTo>
                    <a:pt x="45" y="414"/>
                  </a:lnTo>
                  <a:lnTo>
                    <a:pt x="43" y="405"/>
                  </a:lnTo>
                  <a:lnTo>
                    <a:pt x="42" y="405"/>
                  </a:lnTo>
                  <a:lnTo>
                    <a:pt x="39" y="405"/>
                  </a:lnTo>
                  <a:lnTo>
                    <a:pt x="40" y="402"/>
                  </a:lnTo>
                  <a:lnTo>
                    <a:pt x="42" y="401"/>
                  </a:lnTo>
                  <a:lnTo>
                    <a:pt x="45" y="400"/>
                  </a:lnTo>
                  <a:lnTo>
                    <a:pt x="46" y="398"/>
                  </a:lnTo>
                  <a:lnTo>
                    <a:pt x="46" y="398"/>
                  </a:lnTo>
                  <a:lnTo>
                    <a:pt x="43" y="400"/>
                  </a:lnTo>
                  <a:lnTo>
                    <a:pt x="42" y="400"/>
                  </a:lnTo>
                  <a:lnTo>
                    <a:pt x="40" y="398"/>
                  </a:lnTo>
                  <a:lnTo>
                    <a:pt x="39" y="397"/>
                  </a:lnTo>
                  <a:lnTo>
                    <a:pt x="36" y="397"/>
                  </a:lnTo>
                  <a:lnTo>
                    <a:pt x="35" y="397"/>
                  </a:lnTo>
                  <a:lnTo>
                    <a:pt x="35" y="400"/>
                  </a:lnTo>
                  <a:lnTo>
                    <a:pt x="33" y="400"/>
                  </a:lnTo>
                  <a:lnTo>
                    <a:pt x="30" y="401"/>
                  </a:lnTo>
                  <a:lnTo>
                    <a:pt x="26" y="400"/>
                  </a:lnTo>
                  <a:lnTo>
                    <a:pt x="26" y="398"/>
                  </a:lnTo>
                  <a:lnTo>
                    <a:pt x="26" y="397"/>
                  </a:lnTo>
                  <a:lnTo>
                    <a:pt x="24" y="395"/>
                  </a:lnTo>
                  <a:lnTo>
                    <a:pt x="24" y="394"/>
                  </a:lnTo>
                  <a:lnTo>
                    <a:pt x="24" y="381"/>
                  </a:lnTo>
                  <a:lnTo>
                    <a:pt x="26" y="378"/>
                  </a:lnTo>
                  <a:lnTo>
                    <a:pt x="26" y="366"/>
                  </a:lnTo>
                  <a:lnTo>
                    <a:pt x="29" y="365"/>
                  </a:lnTo>
                  <a:lnTo>
                    <a:pt x="29" y="363"/>
                  </a:lnTo>
                  <a:lnTo>
                    <a:pt x="30" y="362"/>
                  </a:lnTo>
                  <a:lnTo>
                    <a:pt x="32" y="359"/>
                  </a:lnTo>
                  <a:lnTo>
                    <a:pt x="30" y="346"/>
                  </a:lnTo>
                  <a:lnTo>
                    <a:pt x="27" y="341"/>
                  </a:lnTo>
                  <a:lnTo>
                    <a:pt x="27" y="340"/>
                  </a:lnTo>
                  <a:lnTo>
                    <a:pt x="27" y="340"/>
                  </a:lnTo>
                  <a:lnTo>
                    <a:pt x="29" y="334"/>
                  </a:lnTo>
                  <a:lnTo>
                    <a:pt x="26" y="327"/>
                  </a:lnTo>
                  <a:lnTo>
                    <a:pt x="27" y="318"/>
                  </a:lnTo>
                  <a:lnTo>
                    <a:pt x="29" y="315"/>
                  </a:lnTo>
                  <a:lnTo>
                    <a:pt x="32" y="317"/>
                  </a:lnTo>
                  <a:lnTo>
                    <a:pt x="33" y="315"/>
                  </a:lnTo>
                  <a:lnTo>
                    <a:pt x="33" y="307"/>
                  </a:lnTo>
                  <a:lnTo>
                    <a:pt x="35" y="307"/>
                  </a:lnTo>
                  <a:lnTo>
                    <a:pt x="35" y="308"/>
                  </a:lnTo>
                  <a:lnTo>
                    <a:pt x="36" y="307"/>
                  </a:lnTo>
                  <a:lnTo>
                    <a:pt x="51" y="270"/>
                  </a:lnTo>
                  <a:lnTo>
                    <a:pt x="51" y="266"/>
                  </a:lnTo>
                  <a:lnTo>
                    <a:pt x="51" y="266"/>
                  </a:lnTo>
                  <a:lnTo>
                    <a:pt x="52" y="259"/>
                  </a:lnTo>
                  <a:lnTo>
                    <a:pt x="53" y="256"/>
                  </a:lnTo>
                  <a:lnTo>
                    <a:pt x="53" y="247"/>
                  </a:lnTo>
                  <a:lnTo>
                    <a:pt x="56" y="241"/>
                  </a:lnTo>
                  <a:lnTo>
                    <a:pt x="55" y="199"/>
                  </a:lnTo>
                  <a:lnTo>
                    <a:pt x="58" y="196"/>
                  </a:lnTo>
                  <a:lnTo>
                    <a:pt x="59" y="192"/>
                  </a:lnTo>
                  <a:lnTo>
                    <a:pt x="55" y="180"/>
                  </a:lnTo>
                  <a:lnTo>
                    <a:pt x="56" y="179"/>
                  </a:lnTo>
                  <a:lnTo>
                    <a:pt x="59" y="173"/>
                  </a:lnTo>
                  <a:lnTo>
                    <a:pt x="62" y="157"/>
                  </a:lnTo>
                  <a:lnTo>
                    <a:pt x="64" y="154"/>
                  </a:lnTo>
                  <a:lnTo>
                    <a:pt x="64" y="148"/>
                  </a:lnTo>
                  <a:lnTo>
                    <a:pt x="67" y="147"/>
                  </a:lnTo>
                  <a:lnTo>
                    <a:pt x="68" y="134"/>
                  </a:lnTo>
                  <a:lnTo>
                    <a:pt x="68" y="126"/>
                  </a:lnTo>
                  <a:lnTo>
                    <a:pt x="69" y="122"/>
                  </a:lnTo>
                  <a:lnTo>
                    <a:pt x="71" y="121"/>
                  </a:lnTo>
                  <a:lnTo>
                    <a:pt x="71" y="91"/>
                  </a:lnTo>
                  <a:lnTo>
                    <a:pt x="69" y="89"/>
                  </a:lnTo>
                  <a:lnTo>
                    <a:pt x="71" y="84"/>
                  </a:lnTo>
                  <a:lnTo>
                    <a:pt x="72" y="83"/>
                  </a:lnTo>
                  <a:lnTo>
                    <a:pt x="72" y="83"/>
                  </a:lnTo>
                  <a:lnTo>
                    <a:pt x="74" y="81"/>
                  </a:lnTo>
                  <a:lnTo>
                    <a:pt x="77" y="58"/>
                  </a:lnTo>
                  <a:lnTo>
                    <a:pt x="71" y="10"/>
                  </a:lnTo>
                  <a:lnTo>
                    <a:pt x="74" y="9"/>
                  </a:lnTo>
                  <a:lnTo>
                    <a:pt x="74" y="7"/>
                  </a:lnTo>
                  <a:lnTo>
                    <a:pt x="78" y="7"/>
                  </a:lnTo>
                  <a:lnTo>
                    <a:pt x="80" y="7"/>
                  </a:lnTo>
                  <a:lnTo>
                    <a:pt x="81" y="7"/>
                  </a:lnTo>
                  <a:lnTo>
                    <a:pt x="81" y="4"/>
                  </a:lnTo>
                  <a:lnTo>
                    <a:pt x="83" y="1"/>
                  </a:lnTo>
                  <a:lnTo>
                    <a:pt x="83" y="1"/>
                  </a:lnTo>
                  <a:lnTo>
                    <a:pt x="84"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0" name="Freeform 237"/>
            <p:cNvSpPr>
              <a:spLocks/>
            </p:cNvSpPr>
            <p:nvPr/>
          </p:nvSpPr>
          <p:spPr bwMode="auto">
            <a:xfrm>
              <a:off x="5187622" y="4188358"/>
              <a:ext cx="35990" cy="63891"/>
            </a:xfrm>
            <a:custGeom>
              <a:avLst/>
              <a:gdLst/>
              <a:ahLst/>
              <a:cxnLst>
                <a:cxn ang="0">
                  <a:pos x="37" y="58"/>
                </a:cxn>
                <a:cxn ang="0">
                  <a:pos x="35" y="59"/>
                </a:cxn>
                <a:cxn ang="0">
                  <a:pos x="29" y="58"/>
                </a:cxn>
                <a:cxn ang="0">
                  <a:pos x="19" y="58"/>
                </a:cxn>
                <a:cxn ang="0">
                  <a:pos x="10" y="56"/>
                </a:cxn>
                <a:cxn ang="0">
                  <a:pos x="8" y="56"/>
                </a:cxn>
                <a:cxn ang="0">
                  <a:pos x="8" y="55"/>
                </a:cxn>
                <a:cxn ang="0">
                  <a:pos x="6" y="54"/>
                </a:cxn>
                <a:cxn ang="0">
                  <a:pos x="5" y="52"/>
                </a:cxn>
                <a:cxn ang="0">
                  <a:pos x="0" y="52"/>
                </a:cxn>
                <a:cxn ang="0">
                  <a:pos x="2" y="51"/>
                </a:cxn>
                <a:cxn ang="0">
                  <a:pos x="5" y="48"/>
                </a:cxn>
                <a:cxn ang="0">
                  <a:pos x="6" y="46"/>
                </a:cxn>
                <a:cxn ang="0">
                  <a:pos x="9" y="46"/>
                </a:cxn>
                <a:cxn ang="0">
                  <a:pos x="9" y="43"/>
                </a:cxn>
                <a:cxn ang="0">
                  <a:pos x="6" y="39"/>
                </a:cxn>
                <a:cxn ang="0">
                  <a:pos x="16" y="48"/>
                </a:cxn>
                <a:cxn ang="0">
                  <a:pos x="19" y="46"/>
                </a:cxn>
                <a:cxn ang="0">
                  <a:pos x="16" y="43"/>
                </a:cxn>
                <a:cxn ang="0">
                  <a:pos x="21" y="46"/>
                </a:cxn>
                <a:cxn ang="0">
                  <a:pos x="24" y="43"/>
                </a:cxn>
                <a:cxn ang="0">
                  <a:pos x="26" y="45"/>
                </a:cxn>
                <a:cxn ang="0">
                  <a:pos x="28" y="43"/>
                </a:cxn>
                <a:cxn ang="0">
                  <a:pos x="19" y="39"/>
                </a:cxn>
                <a:cxn ang="0">
                  <a:pos x="18" y="29"/>
                </a:cxn>
                <a:cxn ang="0">
                  <a:pos x="22" y="27"/>
                </a:cxn>
                <a:cxn ang="0">
                  <a:pos x="29" y="23"/>
                </a:cxn>
                <a:cxn ang="0">
                  <a:pos x="26" y="20"/>
                </a:cxn>
                <a:cxn ang="0">
                  <a:pos x="18" y="23"/>
                </a:cxn>
                <a:cxn ang="0">
                  <a:pos x="13" y="19"/>
                </a:cxn>
                <a:cxn ang="0">
                  <a:pos x="15" y="11"/>
                </a:cxn>
                <a:cxn ang="0">
                  <a:pos x="18" y="13"/>
                </a:cxn>
                <a:cxn ang="0">
                  <a:pos x="16" y="8"/>
                </a:cxn>
                <a:cxn ang="0">
                  <a:pos x="13" y="7"/>
                </a:cxn>
                <a:cxn ang="0">
                  <a:pos x="19" y="7"/>
                </a:cxn>
                <a:cxn ang="0">
                  <a:pos x="24" y="6"/>
                </a:cxn>
                <a:cxn ang="0">
                  <a:pos x="28" y="0"/>
                </a:cxn>
                <a:cxn ang="0">
                  <a:pos x="32" y="4"/>
                </a:cxn>
                <a:cxn ang="0">
                  <a:pos x="38" y="1"/>
                </a:cxn>
                <a:cxn ang="0">
                  <a:pos x="39" y="58"/>
                </a:cxn>
              </a:cxnLst>
              <a:rect l="0" t="0" r="r" b="b"/>
              <a:pathLst>
                <a:path w="39" h="61">
                  <a:moveTo>
                    <a:pt x="39" y="58"/>
                  </a:moveTo>
                  <a:lnTo>
                    <a:pt x="37" y="58"/>
                  </a:lnTo>
                  <a:lnTo>
                    <a:pt x="38" y="59"/>
                  </a:lnTo>
                  <a:lnTo>
                    <a:pt x="35" y="59"/>
                  </a:lnTo>
                  <a:lnTo>
                    <a:pt x="34" y="61"/>
                  </a:lnTo>
                  <a:lnTo>
                    <a:pt x="29" y="58"/>
                  </a:lnTo>
                  <a:lnTo>
                    <a:pt x="21" y="56"/>
                  </a:lnTo>
                  <a:lnTo>
                    <a:pt x="19" y="58"/>
                  </a:lnTo>
                  <a:lnTo>
                    <a:pt x="16" y="58"/>
                  </a:lnTo>
                  <a:lnTo>
                    <a:pt x="10" y="56"/>
                  </a:lnTo>
                  <a:lnTo>
                    <a:pt x="9" y="56"/>
                  </a:lnTo>
                  <a:lnTo>
                    <a:pt x="8" y="56"/>
                  </a:lnTo>
                  <a:lnTo>
                    <a:pt x="8" y="55"/>
                  </a:lnTo>
                  <a:lnTo>
                    <a:pt x="8" y="55"/>
                  </a:lnTo>
                  <a:lnTo>
                    <a:pt x="6" y="55"/>
                  </a:lnTo>
                  <a:lnTo>
                    <a:pt x="6" y="54"/>
                  </a:lnTo>
                  <a:lnTo>
                    <a:pt x="8" y="52"/>
                  </a:lnTo>
                  <a:lnTo>
                    <a:pt x="5" y="52"/>
                  </a:lnTo>
                  <a:lnTo>
                    <a:pt x="3" y="52"/>
                  </a:lnTo>
                  <a:lnTo>
                    <a:pt x="0" y="52"/>
                  </a:lnTo>
                  <a:lnTo>
                    <a:pt x="2" y="52"/>
                  </a:lnTo>
                  <a:lnTo>
                    <a:pt x="2" y="51"/>
                  </a:lnTo>
                  <a:lnTo>
                    <a:pt x="0" y="49"/>
                  </a:lnTo>
                  <a:lnTo>
                    <a:pt x="5" y="48"/>
                  </a:lnTo>
                  <a:lnTo>
                    <a:pt x="5" y="46"/>
                  </a:lnTo>
                  <a:lnTo>
                    <a:pt x="6" y="46"/>
                  </a:lnTo>
                  <a:lnTo>
                    <a:pt x="8" y="45"/>
                  </a:lnTo>
                  <a:lnTo>
                    <a:pt x="9" y="46"/>
                  </a:lnTo>
                  <a:lnTo>
                    <a:pt x="9" y="45"/>
                  </a:lnTo>
                  <a:lnTo>
                    <a:pt x="9" y="43"/>
                  </a:lnTo>
                  <a:lnTo>
                    <a:pt x="6" y="40"/>
                  </a:lnTo>
                  <a:lnTo>
                    <a:pt x="6" y="39"/>
                  </a:lnTo>
                  <a:lnTo>
                    <a:pt x="15" y="46"/>
                  </a:lnTo>
                  <a:lnTo>
                    <a:pt x="16" y="48"/>
                  </a:lnTo>
                  <a:lnTo>
                    <a:pt x="18" y="46"/>
                  </a:lnTo>
                  <a:lnTo>
                    <a:pt x="19" y="46"/>
                  </a:lnTo>
                  <a:lnTo>
                    <a:pt x="16" y="45"/>
                  </a:lnTo>
                  <a:lnTo>
                    <a:pt x="16" y="43"/>
                  </a:lnTo>
                  <a:lnTo>
                    <a:pt x="18" y="42"/>
                  </a:lnTo>
                  <a:lnTo>
                    <a:pt x="21" y="46"/>
                  </a:lnTo>
                  <a:lnTo>
                    <a:pt x="22" y="43"/>
                  </a:lnTo>
                  <a:lnTo>
                    <a:pt x="24" y="43"/>
                  </a:lnTo>
                  <a:lnTo>
                    <a:pt x="26" y="46"/>
                  </a:lnTo>
                  <a:lnTo>
                    <a:pt x="26" y="45"/>
                  </a:lnTo>
                  <a:lnTo>
                    <a:pt x="29" y="45"/>
                  </a:lnTo>
                  <a:lnTo>
                    <a:pt x="28" y="43"/>
                  </a:lnTo>
                  <a:lnTo>
                    <a:pt x="19" y="40"/>
                  </a:lnTo>
                  <a:lnTo>
                    <a:pt x="19" y="39"/>
                  </a:lnTo>
                  <a:lnTo>
                    <a:pt x="18" y="30"/>
                  </a:lnTo>
                  <a:lnTo>
                    <a:pt x="18" y="29"/>
                  </a:lnTo>
                  <a:lnTo>
                    <a:pt x="21" y="29"/>
                  </a:lnTo>
                  <a:lnTo>
                    <a:pt x="22" y="27"/>
                  </a:lnTo>
                  <a:lnTo>
                    <a:pt x="28" y="26"/>
                  </a:lnTo>
                  <a:lnTo>
                    <a:pt x="29" y="23"/>
                  </a:lnTo>
                  <a:lnTo>
                    <a:pt x="28" y="20"/>
                  </a:lnTo>
                  <a:lnTo>
                    <a:pt x="26" y="20"/>
                  </a:lnTo>
                  <a:lnTo>
                    <a:pt x="22" y="20"/>
                  </a:lnTo>
                  <a:lnTo>
                    <a:pt x="18" y="23"/>
                  </a:lnTo>
                  <a:lnTo>
                    <a:pt x="13" y="20"/>
                  </a:lnTo>
                  <a:lnTo>
                    <a:pt x="13" y="19"/>
                  </a:lnTo>
                  <a:lnTo>
                    <a:pt x="13" y="13"/>
                  </a:lnTo>
                  <a:lnTo>
                    <a:pt x="15" y="11"/>
                  </a:lnTo>
                  <a:lnTo>
                    <a:pt x="16" y="13"/>
                  </a:lnTo>
                  <a:lnTo>
                    <a:pt x="18" y="13"/>
                  </a:lnTo>
                  <a:lnTo>
                    <a:pt x="18" y="11"/>
                  </a:lnTo>
                  <a:lnTo>
                    <a:pt x="16" y="8"/>
                  </a:lnTo>
                  <a:lnTo>
                    <a:pt x="16" y="7"/>
                  </a:lnTo>
                  <a:lnTo>
                    <a:pt x="13" y="7"/>
                  </a:lnTo>
                  <a:lnTo>
                    <a:pt x="18" y="6"/>
                  </a:lnTo>
                  <a:lnTo>
                    <a:pt x="19" y="7"/>
                  </a:lnTo>
                  <a:lnTo>
                    <a:pt x="21" y="7"/>
                  </a:lnTo>
                  <a:lnTo>
                    <a:pt x="24" y="6"/>
                  </a:lnTo>
                  <a:lnTo>
                    <a:pt x="25" y="1"/>
                  </a:lnTo>
                  <a:lnTo>
                    <a:pt x="28" y="0"/>
                  </a:lnTo>
                  <a:lnTo>
                    <a:pt x="29" y="4"/>
                  </a:lnTo>
                  <a:lnTo>
                    <a:pt x="32" y="4"/>
                  </a:lnTo>
                  <a:lnTo>
                    <a:pt x="35" y="3"/>
                  </a:lnTo>
                  <a:lnTo>
                    <a:pt x="38" y="1"/>
                  </a:lnTo>
                  <a:lnTo>
                    <a:pt x="39" y="4"/>
                  </a:lnTo>
                  <a:lnTo>
                    <a:pt x="39" y="58"/>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1" name="Freeform 238"/>
            <p:cNvSpPr>
              <a:spLocks/>
            </p:cNvSpPr>
            <p:nvPr/>
          </p:nvSpPr>
          <p:spPr bwMode="auto">
            <a:xfrm>
              <a:off x="5187622" y="4188358"/>
              <a:ext cx="35990" cy="63891"/>
            </a:xfrm>
            <a:custGeom>
              <a:avLst/>
              <a:gdLst/>
              <a:ahLst/>
              <a:cxnLst>
                <a:cxn ang="0">
                  <a:pos x="37" y="58"/>
                </a:cxn>
                <a:cxn ang="0">
                  <a:pos x="35" y="59"/>
                </a:cxn>
                <a:cxn ang="0">
                  <a:pos x="29" y="58"/>
                </a:cxn>
                <a:cxn ang="0">
                  <a:pos x="19" y="58"/>
                </a:cxn>
                <a:cxn ang="0">
                  <a:pos x="10" y="56"/>
                </a:cxn>
                <a:cxn ang="0">
                  <a:pos x="8" y="56"/>
                </a:cxn>
                <a:cxn ang="0">
                  <a:pos x="8" y="55"/>
                </a:cxn>
                <a:cxn ang="0">
                  <a:pos x="6" y="54"/>
                </a:cxn>
                <a:cxn ang="0">
                  <a:pos x="5" y="52"/>
                </a:cxn>
                <a:cxn ang="0">
                  <a:pos x="0" y="52"/>
                </a:cxn>
                <a:cxn ang="0">
                  <a:pos x="2" y="51"/>
                </a:cxn>
                <a:cxn ang="0">
                  <a:pos x="5" y="48"/>
                </a:cxn>
                <a:cxn ang="0">
                  <a:pos x="6" y="46"/>
                </a:cxn>
                <a:cxn ang="0">
                  <a:pos x="9" y="46"/>
                </a:cxn>
                <a:cxn ang="0">
                  <a:pos x="9" y="43"/>
                </a:cxn>
                <a:cxn ang="0">
                  <a:pos x="6" y="39"/>
                </a:cxn>
                <a:cxn ang="0">
                  <a:pos x="16" y="48"/>
                </a:cxn>
                <a:cxn ang="0">
                  <a:pos x="19" y="46"/>
                </a:cxn>
                <a:cxn ang="0">
                  <a:pos x="16" y="43"/>
                </a:cxn>
                <a:cxn ang="0">
                  <a:pos x="21" y="46"/>
                </a:cxn>
                <a:cxn ang="0">
                  <a:pos x="24" y="43"/>
                </a:cxn>
                <a:cxn ang="0">
                  <a:pos x="26" y="45"/>
                </a:cxn>
                <a:cxn ang="0">
                  <a:pos x="28" y="43"/>
                </a:cxn>
                <a:cxn ang="0">
                  <a:pos x="19" y="39"/>
                </a:cxn>
                <a:cxn ang="0">
                  <a:pos x="18" y="29"/>
                </a:cxn>
                <a:cxn ang="0">
                  <a:pos x="22" y="27"/>
                </a:cxn>
                <a:cxn ang="0">
                  <a:pos x="29" y="23"/>
                </a:cxn>
                <a:cxn ang="0">
                  <a:pos x="26" y="20"/>
                </a:cxn>
                <a:cxn ang="0">
                  <a:pos x="18" y="23"/>
                </a:cxn>
                <a:cxn ang="0">
                  <a:pos x="13" y="19"/>
                </a:cxn>
                <a:cxn ang="0">
                  <a:pos x="15" y="11"/>
                </a:cxn>
                <a:cxn ang="0">
                  <a:pos x="18" y="13"/>
                </a:cxn>
                <a:cxn ang="0">
                  <a:pos x="16" y="8"/>
                </a:cxn>
                <a:cxn ang="0">
                  <a:pos x="13" y="7"/>
                </a:cxn>
                <a:cxn ang="0">
                  <a:pos x="19" y="7"/>
                </a:cxn>
                <a:cxn ang="0">
                  <a:pos x="24" y="6"/>
                </a:cxn>
                <a:cxn ang="0">
                  <a:pos x="28" y="0"/>
                </a:cxn>
                <a:cxn ang="0">
                  <a:pos x="32" y="4"/>
                </a:cxn>
                <a:cxn ang="0">
                  <a:pos x="38" y="1"/>
                </a:cxn>
                <a:cxn ang="0">
                  <a:pos x="39" y="58"/>
                </a:cxn>
              </a:cxnLst>
              <a:rect l="0" t="0" r="r" b="b"/>
              <a:pathLst>
                <a:path w="39" h="61">
                  <a:moveTo>
                    <a:pt x="39" y="58"/>
                  </a:moveTo>
                  <a:lnTo>
                    <a:pt x="37" y="58"/>
                  </a:lnTo>
                  <a:lnTo>
                    <a:pt x="38" y="59"/>
                  </a:lnTo>
                  <a:lnTo>
                    <a:pt x="35" y="59"/>
                  </a:lnTo>
                  <a:lnTo>
                    <a:pt x="34" y="61"/>
                  </a:lnTo>
                  <a:lnTo>
                    <a:pt x="29" y="58"/>
                  </a:lnTo>
                  <a:lnTo>
                    <a:pt x="21" y="56"/>
                  </a:lnTo>
                  <a:lnTo>
                    <a:pt x="19" y="58"/>
                  </a:lnTo>
                  <a:lnTo>
                    <a:pt x="16" y="58"/>
                  </a:lnTo>
                  <a:lnTo>
                    <a:pt x="10" y="56"/>
                  </a:lnTo>
                  <a:lnTo>
                    <a:pt x="9" y="56"/>
                  </a:lnTo>
                  <a:lnTo>
                    <a:pt x="8" y="56"/>
                  </a:lnTo>
                  <a:lnTo>
                    <a:pt x="8" y="55"/>
                  </a:lnTo>
                  <a:lnTo>
                    <a:pt x="8" y="55"/>
                  </a:lnTo>
                  <a:lnTo>
                    <a:pt x="6" y="55"/>
                  </a:lnTo>
                  <a:lnTo>
                    <a:pt x="6" y="54"/>
                  </a:lnTo>
                  <a:lnTo>
                    <a:pt x="8" y="52"/>
                  </a:lnTo>
                  <a:lnTo>
                    <a:pt x="5" y="52"/>
                  </a:lnTo>
                  <a:lnTo>
                    <a:pt x="3" y="52"/>
                  </a:lnTo>
                  <a:lnTo>
                    <a:pt x="0" y="52"/>
                  </a:lnTo>
                  <a:lnTo>
                    <a:pt x="2" y="52"/>
                  </a:lnTo>
                  <a:lnTo>
                    <a:pt x="2" y="51"/>
                  </a:lnTo>
                  <a:lnTo>
                    <a:pt x="0" y="49"/>
                  </a:lnTo>
                  <a:lnTo>
                    <a:pt x="5" y="48"/>
                  </a:lnTo>
                  <a:lnTo>
                    <a:pt x="5" y="46"/>
                  </a:lnTo>
                  <a:lnTo>
                    <a:pt x="6" y="46"/>
                  </a:lnTo>
                  <a:lnTo>
                    <a:pt x="8" y="45"/>
                  </a:lnTo>
                  <a:lnTo>
                    <a:pt x="9" y="46"/>
                  </a:lnTo>
                  <a:lnTo>
                    <a:pt x="9" y="45"/>
                  </a:lnTo>
                  <a:lnTo>
                    <a:pt x="9" y="43"/>
                  </a:lnTo>
                  <a:lnTo>
                    <a:pt x="6" y="40"/>
                  </a:lnTo>
                  <a:lnTo>
                    <a:pt x="6" y="39"/>
                  </a:lnTo>
                  <a:lnTo>
                    <a:pt x="15" y="46"/>
                  </a:lnTo>
                  <a:lnTo>
                    <a:pt x="16" y="48"/>
                  </a:lnTo>
                  <a:lnTo>
                    <a:pt x="18" y="46"/>
                  </a:lnTo>
                  <a:lnTo>
                    <a:pt x="19" y="46"/>
                  </a:lnTo>
                  <a:lnTo>
                    <a:pt x="16" y="45"/>
                  </a:lnTo>
                  <a:lnTo>
                    <a:pt x="16" y="43"/>
                  </a:lnTo>
                  <a:lnTo>
                    <a:pt x="18" y="42"/>
                  </a:lnTo>
                  <a:lnTo>
                    <a:pt x="21" y="46"/>
                  </a:lnTo>
                  <a:lnTo>
                    <a:pt x="22" y="43"/>
                  </a:lnTo>
                  <a:lnTo>
                    <a:pt x="24" y="43"/>
                  </a:lnTo>
                  <a:lnTo>
                    <a:pt x="26" y="46"/>
                  </a:lnTo>
                  <a:lnTo>
                    <a:pt x="26" y="45"/>
                  </a:lnTo>
                  <a:lnTo>
                    <a:pt x="29" y="45"/>
                  </a:lnTo>
                  <a:lnTo>
                    <a:pt x="28" y="43"/>
                  </a:lnTo>
                  <a:lnTo>
                    <a:pt x="19" y="40"/>
                  </a:lnTo>
                  <a:lnTo>
                    <a:pt x="19" y="39"/>
                  </a:lnTo>
                  <a:lnTo>
                    <a:pt x="18" y="30"/>
                  </a:lnTo>
                  <a:lnTo>
                    <a:pt x="18" y="29"/>
                  </a:lnTo>
                  <a:lnTo>
                    <a:pt x="21" y="29"/>
                  </a:lnTo>
                  <a:lnTo>
                    <a:pt x="22" y="27"/>
                  </a:lnTo>
                  <a:lnTo>
                    <a:pt x="28" y="26"/>
                  </a:lnTo>
                  <a:lnTo>
                    <a:pt x="29" y="23"/>
                  </a:lnTo>
                  <a:lnTo>
                    <a:pt x="28" y="20"/>
                  </a:lnTo>
                  <a:lnTo>
                    <a:pt x="26" y="20"/>
                  </a:lnTo>
                  <a:lnTo>
                    <a:pt x="22" y="20"/>
                  </a:lnTo>
                  <a:lnTo>
                    <a:pt x="18" y="23"/>
                  </a:lnTo>
                  <a:lnTo>
                    <a:pt x="13" y="20"/>
                  </a:lnTo>
                  <a:lnTo>
                    <a:pt x="13" y="19"/>
                  </a:lnTo>
                  <a:lnTo>
                    <a:pt x="13" y="13"/>
                  </a:lnTo>
                  <a:lnTo>
                    <a:pt x="15" y="11"/>
                  </a:lnTo>
                  <a:lnTo>
                    <a:pt x="16" y="13"/>
                  </a:lnTo>
                  <a:lnTo>
                    <a:pt x="18" y="13"/>
                  </a:lnTo>
                  <a:lnTo>
                    <a:pt x="18" y="11"/>
                  </a:lnTo>
                  <a:lnTo>
                    <a:pt x="16" y="8"/>
                  </a:lnTo>
                  <a:lnTo>
                    <a:pt x="16" y="7"/>
                  </a:lnTo>
                  <a:lnTo>
                    <a:pt x="13" y="7"/>
                  </a:lnTo>
                  <a:lnTo>
                    <a:pt x="18" y="6"/>
                  </a:lnTo>
                  <a:lnTo>
                    <a:pt x="19" y="7"/>
                  </a:lnTo>
                  <a:lnTo>
                    <a:pt x="21" y="7"/>
                  </a:lnTo>
                  <a:lnTo>
                    <a:pt x="24" y="6"/>
                  </a:lnTo>
                  <a:lnTo>
                    <a:pt x="25" y="1"/>
                  </a:lnTo>
                  <a:lnTo>
                    <a:pt x="28" y="0"/>
                  </a:lnTo>
                  <a:lnTo>
                    <a:pt x="29" y="4"/>
                  </a:lnTo>
                  <a:lnTo>
                    <a:pt x="32" y="4"/>
                  </a:lnTo>
                  <a:lnTo>
                    <a:pt x="35" y="3"/>
                  </a:lnTo>
                  <a:lnTo>
                    <a:pt x="38" y="1"/>
                  </a:lnTo>
                  <a:lnTo>
                    <a:pt x="39" y="4"/>
                  </a:lnTo>
                  <a:lnTo>
                    <a:pt x="39" y="58"/>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2" name="Freeform 239"/>
            <p:cNvSpPr>
              <a:spLocks/>
            </p:cNvSpPr>
            <p:nvPr/>
          </p:nvSpPr>
          <p:spPr bwMode="auto">
            <a:xfrm>
              <a:off x="6387576" y="1803119"/>
              <a:ext cx="140448" cy="362045"/>
            </a:xfrm>
            <a:custGeom>
              <a:avLst/>
              <a:gdLst/>
              <a:ahLst/>
              <a:cxnLst>
                <a:cxn ang="0">
                  <a:pos x="19" y="61"/>
                </a:cxn>
                <a:cxn ang="0">
                  <a:pos x="41" y="93"/>
                </a:cxn>
                <a:cxn ang="0">
                  <a:pos x="43" y="113"/>
                </a:cxn>
                <a:cxn ang="0">
                  <a:pos x="45" y="138"/>
                </a:cxn>
                <a:cxn ang="0">
                  <a:pos x="53" y="159"/>
                </a:cxn>
                <a:cxn ang="0">
                  <a:pos x="57" y="161"/>
                </a:cxn>
                <a:cxn ang="0">
                  <a:pos x="69" y="177"/>
                </a:cxn>
                <a:cxn ang="0">
                  <a:pos x="67" y="191"/>
                </a:cxn>
                <a:cxn ang="0">
                  <a:pos x="59" y="194"/>
                </a:cxn>
                <a:cxn ang="0">
                  <a:pos x="27" y="242"/>
                </a:cxn>
                <a:cxn ang="0">
                  <a:pos x="16" y="245"/>
                </a:cxn>
                <a:cxn ang="0">
                  <a:pos x="11" y="252"/>
                </a:cxn>
                <a:cxn ang="0">
                  <a:pos x="8" y="257"/>
                </a:cxn>
                <a:cxn ang="0">
                  <a:pos x="9" y="276"/>
                </a:cxn>
                <a:cxn ang="0">
                  <a:pos x="12" y="295"/>
                </a:cxn>
                <a:cxn ang="0">
                  <a:pos x="14" y="298"/>
                </a:cxn>
                <a:cxn ang="0">
                  <a:pos x="11" y="302"/>
                </a:cxn>
                <a:cxn ang="0">
                  <a:pos x="9" y="312"/>
                </a:cxn>
                <a:cxn ang="0">
                  <a:pos x="9" y="318"/>
                </a:cxn>
                <a:cxn ang="0">
                  <a:pos x="11" y="322"/>
                </a:cxn>
                <a:cxn ang="0">
                  <a:pos x="25" y="331"/>
                </a:cxn>
                <a:cxn ang="0">
                  <a:pos x="31" y="332"/>
                </a:cxn>
                <a:cxn ang="0">
                  <a:pos x="34" y="343"/>
                </a:cxn>
                <a:cxn ang="0">
                  <a:pos x="34" y="347"/>
                </a:cxn>
                <a:cxn ang="0">
                  <a:pos x="40" y="344"/>
                </a:cxn>
                <a:cxn ang="0">
                  <a:pos x="51" y="340"/>
                </a:cxn>
                <a:cxn ang="0">
                  <a:pos x="60" y="337"/>
                </a:cxn>
                <a:cxn ang="0">
                  <a:pos x="70" y="331"/>
                </a:cxn>
                <a:cxn ang="0">
                  <a:pos x="76" y="329"/>
                </a:cxn>
                <a:cxn ang="0">
                  <a:pos x="86" y="329"/>
                </a:cxn>
                <a:cxn ang="0">
                  <a:pos x="99" y="327"/>
                </a:cxn>
                <a:cxn ang="0">
                  <a:pos x="154" y="263"/>
                </a:cxn>
                <a:cxn ang="0">
                  <a:pos x="149" y="245"/>
                </a:cxn>
                <a:cxn ang="0">
                  <a:pos x="143" y="218"/>
                </a:cxn>
                <a:cxn ang="0">
                  <a:pos x="137" y="200"/>
                </a:cxn>
                <a:cxn ang="0">
                  <a:pos x="133" y="186"/>
                </a:cxn>
                <a:cxn ang="0">
                  <a:pos x="137" y="165"/>
                </a:cxn>
                <a:cxn ang="0">
                  <a:pos x="134" y="91"/>
                </a:cxn>
                <a:cxn ang="0">
                  <a:pos x="117" y="74"/>
                </a:cxn>
                <a:cxn ang="0">
                  <a:pos x="115" y="49"/>
                </a:cxn>
                <a:cxn ang="0">
                  <a:pos x="118" y="36"/>
                </a:cxn>
                <a:cxn ang="0">
                  <a:pos x="118" y="10"/>
                </a:cxn>
                <a:cxn ang="0">
                  <a:pos x="106" y="0"/>
                </a:cxn>
                <a:cxn ang="0">
                  <a:pos x="74" y="20"/>
                </a:cxn>
                <a:cxn ang="0">
                  <a:pos x="57" y="56"/>
                </a:cxn>
                <a:cxn ang="0">
                  <a:pos x="44" y="53"/>
                </a:cxn>
                <a:cxn ang="0">
                  <a:pos x="27" y="52"/>
                </a:cxn>
                <a:cxn ang="0">
                  <a:pos x="11" y="30"/>
                </a:cxn>
                <a:cxn ang="0">
                  <a:pos x="3" y="37"/>
                </a:cxn>
              </a:cxnLst>
              <a:rect l="0" t="0" r="r" b="b"/>
              <a:pathLst>
                <a:path w="154" h="347">
                  <a:moveTo>
                    <a:pt x="0" y="40"/>
                  </a:moveTo>
                  <a:lnTo>
                    <a:pt x="0" y="40"/>
                  </a:lnTo>
                  <a:lnTo>
                    <a:pt x="2" y="42"/>
                  </a:lnTo>
                  <a:lnTo>
                    <a:pt x="19" y="61"/>
                  </a:lnTo>
                  <a:lnTo>
                    <a:pt x="29" y="64"/>
                  </a:lnTo>
                  <a:lnTo>
                    <a:pt x="34" y="68"/>
                  </a:lnTo>
                  <a:lnTo>
                    <a:pt x="43" y="85"/>
                  </a:lnTo>
                  <a:lnTo>
                    <a:pt x="41" y="93"/>
                  </a:lnTo>
                  <a:lnTo>
                    <a:pt x="41" y="101"/>
                  </a:lnTo>
                  <a:lnTo>
                    <a:pt x="43" y="103"/>
                  </a:lnTo>
                  <a:lnTo>
                    <a:pt x="44" y="107"/>
                  </a:lnTo>
                  <a:lnTo>
                    <a:pt x="43" y="113"/>
                  </a:lnTo>
                  <a:lnTo>
                    <a:pt x="43" y="117"/>
                  </a:lnTo>
                  <a:lnTo>
                    <a:pt x="48" y="129"/>
                  </a:lnTo>
                  <a:lnTo>
                    <a:pt x="48" y="135"/>
                  </a:lnTo>
                  <a:lnTo>
                    <a:pt x="45" y="138"/>
                  </a:lnTo>
                  <a:lnTo>
                    <a:pt x="44" y="142"/>
                  </a:lnTo>
                  <a:lnTo>
                    <a:pt x="50" y="157"/>
                  </a:lnTo>
                  <a:lnTo>
                    <a:pt x="51" y="159"/>
                  </a:lnTo>
                  <a:lnTo>
                    <a:pt x="53" y="159"/>
                  </a:lnTo>
                  <a:lnTo>
                    <a:pt x="53" y="161"/>
                  </a:lnTo>
                  <a:lnTo>
                    <a:pt x="56" y="162"/>
                  </a:lnTo>
                  <a:lnTo>
                    <a:pt x="57" y="161"/>
                  </a:lnTo>
                  <a:lnTo>
                    <a:pt x="57" y="161"/>
                  </a:lnTo>
                  <a:lnTo>
                    <a:pt x="59" y="165"/>
                  </a:lnTo>
                  <a:lnTo>
                    <a:pt x="63" y="168"/>
                  </a:lnTo>
                  <a:lnTo>
                    <a:pt x="67" y="174"/>
                  </a:lnTo>
                  <a:lnTo>
                    <a:pt x="69" y="177"/>
                  </a:lnTo>
                  <a:lnTo>
                    <a:pt x="67" y="186"/>
                  </a:lnTo>
                  <a:lnTo>
                    <a:pt x="70" y="190"/>
                  </a:lnTo>
                  <a:lnTo>
                    <a:pt x="69" y="190"/>
                  </a:lnTo>
                  <a:lnTo>
                    <a:pt x="67" y="191"/>
                  </a:lnTo>
                  <a:lnTo>
                    <a:pt x="69" y="194"/>
                  </a:lnTo>
                  <a:lnTo>
                    <a:pt x="66" y="193"/>
                  </a:lnTo>
                  <a:lnTo>
                    <a:pt x="63" y="193"/>
                  </a:lnTo>
                  <a:lnTo>
                    <a:pt x="59" y="194"/>
                  </a:lnTo>
                  <a:lnTo>
                    <a:pt x="56" y="205"/>
                  </a:lnTo>
                  <a:lnTo>
                    <a:pt x="31" y="238"/>
                  </a:lnTo>
                  <a:lnTo>
                    <a:pt x="28" y="239"/>
                  </a:lnTo>
                  <a:lnTo>
                    <a:pt x="27" y="242"/>
                  </a:lnTo>
                  <a:lnTo>
                    <a:pt x="25" y="244"/>
                  </a:lnTo>
                  <a:lnTo>
                    <a:pt x="24" y="247"/>
                  </a:lnTo>
                  <a:lnTo>
                    <a:pt x="18" y="247"/>
                  </a:lnTo>
                  <a:lnTo>
                    <a:pt x="16" y="245"/>
                  </a:lnTo>
                  <a:lnTo>
                    <a:pt x="15" y="250"/>
                  </a:lnTo>
                  <a:lnTo>
                    <a:pt x="16" y="252"/>
                  </a:lnTo>
                  <a:lnTo>
                    <a:pt x="15" y="252"/>
                  </a:lnTo>
                  <a:lnTo>
                    <a:pt x="11" y="252"/>
                  </a:lnTo>
                  <a:lnTo>
                    <a:pt x="11" y="254"/>
                  </a:lnTo>
                  <a:lnTo>
                    <a:pt x="11" y="257"/>
                  </a:lnTo>
                  <a:lnTo>
                    <a:pt x="9" y="257"/>
                  </a:lnTo>
                  <a:lnTo>
                    <a:pt x="8" y="257"/>
                  </a:lnTo>
                  <a:lnTo>
                    <a:pt x="6" y="264"/>
                  </a:lnTo>
                  <a:lnTo>
                    <a:pt x="6" y="271"/>
                  </a:lnTo>
                  <a:lnTo>
                    <a:pt x="8" y="273"/>
                  </a:lnTo>
                  <a:lnTo>
                    <a:pt x="9" y="276"/>
                  </a:lnTo>
                  <a:lnTo>
                    <a:pt x="8" y="283"/>
                  </a:lnTo>
                  <a:lnTo>
                    <a:pt x="9" y="286"/>
                  </a:lnTo>
                  <a:lnTo>
                    <a:pt x="11" y="287"/>
                  </a:lnTo>
                  <a:lnTo>
                    <a:pt x="12" y="295"/>
                  </a:lnTo>
                  <a:lnTo>
                    <a:pt x="14" y="296"/>
                  </a:lnTo>
                  <a:lnTo>
                    <a:pt x="15" y="298"/>
                  </a:lnTo>
                  <a:lnTo>
                    <a:pt x="15" y="299"/>
                  </a:lnTo>
                  <a:lnTo>
                    <a:pt x="14" y="298"/>
                  </a:lnTo>
                  <a:lnTo>
                    <a:pt x="12" y="298"/>
                  </a:lnTo>
                  <a:lnTo>
                    <a:pt x="12" y="299"/>
                  </a:lnTo>
                  <a:lnTo>
                    <a:pt x="12" y="300"/>
                  </a:lnTo>
                  <a:lnTo>
                    <a:pt x="11" y="302"/>
                  </a:lnTo>
                  <a:lnTo>
                    <a:pt x="12" y="305"/>
                  </a:lnTo>
                  <a:lnTo>
                    <a:pt x="12" y="308"/>
                  </a:lnTo>
                  <a:lnTo>
                    <a:pt x="11" y="312"/>
                  </a:lnTo>
                  <a:lnTo>
                    <a:pt x="9" y="312"/>
                  </a:lnTo>
                  <a:lnTo>
                    <a:pt x="9" y="315"/>
                  </a:lnTo>
                  <a:lnTo>
                    <a:pt x="9" y="316"/>
                  </a:lnTo>
                  <a:lnTo>
                    <a:pt x="9" y="318"/>
                  </a:lnTo>
                  <a:lnTo>
                    <a:pt x="9" y="318"/>
                  </a:lnTo>
                  <a:lnTo>
                    <a:pt x="9" y="319"/>
                  </a:lnTo>
                  <a:lnTo>
                    <a:pt x="12" y="321"/>
                  </a:lnTo>
                  <a:lnTo>
                    <a:pt x="12" y="322"/>
                  </a:lnTo>
                  <a:lnTo>
                    <a:pt x="11" y="322"/>
                  </a:lnTo>
                  <a:lnTo>
                    <a:pt x="11" y="324"/>
                  </a:lnTo>
                  <a:lnTo>
                    <a:pt x="14" y="324"/>
                  </a:lnTo>
                  <a:lnTo>
                    <a:pt x="18" y="328"/>
                  </a:lnTo>
                  <a:lnTo>
                    <a:pt x="25" y="331"/>
                  </a:lnTo>
                  <a:lnTo>
                    <a:pt x="27" y="331"/>
                  </a:lnTo>
                  <a:lnTo>
                    <a:pt x="25" y="334"/>
                  </a:lnTo>
                  <a:lnTo>
                    <a:pt x="28" y="335"/>
                  </a:lnTo>
                  <a:lnTo>
                    <a:pt x="31" y="332"/>
                  </a:lnTo>
                  <a:lnTo>
                    <a:pt x="32" y="334"/>
                  </a:lnTo>
                  <a:lnTo>
                    <a:pt x="32" y="337"/>
                  </a:lnTo>
                  <a:lnTo>
                    <a:pt x="34" y="341"/>
                  </a:lnTo>
                  <a:lnTo>
                    <a:pt x="34" y="343"/>
                  </a:lnTo>
                  <a:lnTo>
                    <a:pt x="35" y="344"/>
                  </a:lnTo>
                  <a:lnTo>
                    <a:pt x="35" y="345"/>
                  </a:lnTo>
                  <a:lnTo>
                    <a:pt x="32" y="347"/>
                  </a:lnTo>
                  <a:lnTo>
                    <a:pt x="34" y="347"/>
                  </a:lnTo>
                  <a:lnTo>
                    <a:pt x="37" y="345"/>
                  </a:lnTo>
                  <a:lnTo>
                    <a:pt x="40" y="341"/>
                  </a:lnTo>
                  <a:lnTo>
                    <a:pt x="40" y="341"/>
                  </a:lnTo>
                  <a:lnTo>
                    <a:pt x="40" y="344"/>
                  </a:lnTo>
                  <a:lnTo>
                    <a:pt x="41" y="344"/>
                  </a:lnTo>
                  <a:lnTo>
                    <a:pt x="47" y="341"/>
                  </a:lnTo>
                  <a:lnTo>
                    <a:pt x="50" y="341"/>
                  </a:lnTo>
                  <a:lnTo>
                    <a:pt x="51" y="340"/>
                  </a:lnTo>
                  <a:lnTo>
                    <a:pt x="53" y="341"/>
                  </a:lnTo>
                  <a:lnTo>
                    <a:pt x="53" y="341"/>
                  </a:lnTo>
                  <a:lnTo>
                    <a:pt x="57" y="337"/>
                  </a:lnTo>
                  <a:lnTo>
                    <a:pt x="60" y="337"/>
                  </a:lnTo>
                  <a:lnTo>
                    <a:pt x="61" y="337"/>
                  </a:lnTo>
                  <a:lnTo>
                    <a:pt x="66" y="335"/>
                  </a:lnTo>
                  <a:lnTo>
                    <a:pt x="67" y="335"/>
                  </a:lnTo>
                  <a:lnTo>
                    <a:pt x="70" y="331"/>
                  </a:lnTo>
                  <a:lnTo>
                    <a:pt x="70" y="334"/>
                  </a:lnTo>
                  <a:lnTo>
                    <a:pt x="76" y="331"/>
                  </a:lnTo>
                  <a:lnTo>
                    <a:pt x="74" y="329"/>
                  </a:lnTo>
                  <a:lnTo>
                    <a:pt x="76" y="329"/>
                  </a:lnTo>
                  <a:lnTo>
                    <a:pt x="77" y="331"/>
                  </a:lnTo>
                  <a:lnTo>
                    <a:pt x="79" y="331"/>
                  </a:lnTo>
                  <a:lnTo>
                    <a:pt x="80" y="329"/>
                  </a:lnTo>
                  <a:lnTo>
                    <a:pt x="86" y="329"/>
                  </a:lnTo>
                  <a:lnTo>
                    <a:pt x="92" y="327"/>
                  </a:lnTo>
                  <a:lnTo>
                    <a:pt x="93" y="328"/>
                  </a:lnTo>
                  <a:lnTo>
                    <a:pt x="98" y="328"/>
                  </a:lnTo>
                  <a:lnTo>
                    <a:pt x="99" y="327"/>
                  </a:lnTo>
                  <a:lnTo>
                    <a:pt x="101" y="327"/>
                  </a:lnTo>
                  <a:lnTo>
                    <a:pt x="101" y="327"/>
                  </a:lnTo>
                  <a:lnTo>
                    <a:pt x="146" y="277"/>
                  </a:lnTo>
                  <a:lnTo>
                    <a:pt x="154" y="263"/>
                  </a:lnTo>
                  <a:lnTo>
                    <a:pt x="154" y="252"/>
                  </a:lnTo>
                  <a:lnTo>
                    <a:pt x="153" y="254"/>
                  </a:lnTo>
                  <a:lnTo>
                    <a:pt x="150" y="250"/>
                  </a:lnTo>
                  <a:lnTo>
                    <a:pt x="149" y="245"/>
                  </a:lnTo>
                  <a:lnTo>
                    <a:pt x="141" y="239"/>
                  </a:lnTo>
                  <a:lnTo>
                    <a:pt x="140" y="235"/>
                  </a:lnTo>
                  <a:lnTo>
                    <a:pt x="137" y="231"/>
                  </a:lnTo>
                  <a:lnTo>
                    <a:pt x="143" y="218"/>
                  </a:lnTo>
                  <a:lnTo>
                    <a:pt x="143" y="213"/>
                  </a:lnTo>
                  <a:lnTo>
                    <a:pt x="138" y="209"/>
                  </a:lnTo>
                  <a:lnTo>
                    <a:pt x="137" y="205"/>
                  </a:lnTo>
                  <a:lnTo>
                    <a:pt x="137" y="200"/>
                  </a:lnTo>
                  <a:lnTo>
                    <a:pt x="135" y="196"/>
                  </a:lnTo>
                  <a:lnTo>
                    <a:pt x="131" y="194"/>
                  </a:lnTo>
                  <a:lnTo>
                    <a:pt x="131" y="189"/>
                  </a:lnTo>
                  <a:lnTo>
                    <a:pt x="133" y="186"/>
                  </a:lnTo>
                  <a:lnTo>
                    <a:pt x="133" y="181"/>
                  </a:lnTo>
                  <a:lnTo>
                    <a:pt x="131" y="178"/>
                  </a:lnTo>
                  <a:lnTo>
                    <a:pt x="133" y="168"/>
                  </a:lnTo>
                  <a:lnTo>
                    <a:pt x="137" y="165"/>
                  </a:lnTo>
                  <a:lnTo>
                    <a:pt x="124" y="128"/>
                  </a:lnTo>
                  <a:lnTo>
                    <a:pt x="124" y="122"/>
                  </a:lnTo>
                  <a:lnTo>
                    <a:pt x="134" y="97"/>
                  </a:lnTo>
                  <a:lnTo>
                    <a:pt x="134" y="91"/>
                  </a:lnTo>
                  <a:lnTo>
                    <a:pt x="125" y="78"/>
                  </a:lnTo>
                  <a:lnTo>
                    <a:pt x="122" y="75"/>
                  </a:lnTo>
                  <a:lnTo>
                    <a:pt x="118" y="75"/>
                  </a:lnTo>
                  <a:lnTo>
                    <a:pt x="117" y="74"/>
                  </a:lnTo>
                  <a:lnTo>
                    <a:pt x="115" y="71"/>
                  </a:lnTo>
                  <a:lnTo>
                    <a:pt x="112" y="59"/>
                  </a:lnTo>
                  <a:lnTo>
                    <a:pt x="117" y="50"/>
                  </a:lnTo>
                  <a:lnTo>
                    <a:pt x="115" y="49"/>
                  </a:lnTo>
                  <a:lnTo>
                    <a:pt x="114" y="48"/>
                  </a:lnTo>
                  <a:lnTo>
                    <a:pt x="121" y="40"/>
                  </a:lnTo>
                  <a:lnTo>
                    <a:pt x="118" y="39"/>
                  </a:lnTo>
                  <a:lnTo>
                    <a:pt x="118" y="36"/>
                  </a:lnTo>
                  <a:lnTo>
                    <a:pt x="120" y="32"/>
                  </a:lnTo>
                  <a:lnTo>
                    <a:pt x="125" y="26"/>
                  </a:lnTo>
                  <a:lnTo>
                    <a:pt x="122" y="14"/>
                  </a:lnTo>
                  <a:lnTo>
                    <a:pt x="118" y="10"/>
                  </a:lnTo>
                  <a:lnTo>
                    <a:pt x="114" y="8"/>
                  </a:lnTo>
                  <a:lnTo>
                    <a:pt x="111" y="5"/>
                  </a:lnTo>
                  <a:lnTo>
                    <a:pt x="108" y="1"/>
                  </a:lnTo>
                  <a:lnTo>
                    <a:pt x="106" y="0"/>
                  </a:lnTo>
                  <a:lnTo>
                    <a:pt x="83" y="5"/>
                  </a:lnTo>
                  <a:lnTo>
                    <a:pt x="80" y="8"/>
                  </a:lnTo>
                  <a:lnTo>
                    <a:pt x="77" y="11"/>
                  </a:lnTo>
                  <a:lnTo>
                    <a:pt x="74" y="20"/>
                  </a:lnTo>
                  <a:lnTo>
                    <a:pt x="73" y="43"/>
                  </a:lnTo>
                  <a:lnTo>
                    <a:pt x="67" y="48"/>
                  </a:lnTo>
                  <a:lnTo>
                    <a:pt x="64" y="52"/>
                  </a:lnTo>
                  <a:lnTo>
                    <a:pt x="57" y="56"/>
                  </a:lnTo>
                  <a:lnTo>
                    <a:pt x="54" y="55"/>
                  </a:lnTo>
                  <a:lnTo>
                    <a:pt x="51" y="49"/>
                  </a:lnTo>
                  <a:lnTo>
                    <a:pt x="48" y="48"/>
                  </a:lnTo>
                  <a:lnTo>
                    <a:pt x="44" y="53"/>
                  </a:lnTo>
                  <a:lnTo>
                    <a:pt x="41" y="55"/>
                  </a:lnTo>
                  <a:lnTo>
                    <a:pt x="38" y="55"/>
                  </a:lnTo>
                  <a:lnTo>
                    <a:pt x="34" y="53"/>
                  </a:lnTo>
                  <a:lnTo>
                    <a:pt x="27" y="52"/>
                  </a:lnTo>
                  <a:lnTo>
                    <a:pt x="25" y="50"/>
                  </a:lnTo>
                  <a:lnTo>
                    <a:pt x="24" y="46"/>
                  </a:lnTo>
                  <a:lnTo>
                    <a:pt x="14" y="32"/>
                  </a:lnTo>
                  <a:lnTo>
                    <a:pt x="11" y="30"/>
                  </a:lnTo>
                  <a:lnTo>
                    <a:pt x="6" y="32"/>
                  </a:lnTo>
                  <a:lnTo>
                    <a:pt x="8" y="37"/>
                  </a:lnTo>
                  <a:lnTo>
                    <a:pt x="5" y="39"/>
                  </a:lnTo>
                  <a:lnTo>
                    <a:pt x="3" y="37"/>
                  </a:lnTo>
                  <a:lnTo>
                    <a:pt x="0" y="37"/>
                  </a:lnTo>
                  <a:lnTo>
                    <a:pt x="0" y="4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3" name="Freeform 240"/>
            <p:cNvSpPr>
              <a:spLocks/>
            </p:cNvSpPr>
            <p:nvPr/>
          </p:nvSpPr>
          <p:spPr bwMode="auto">
            <a:xfrm>
              <a:off x="6387576" y="1803119"/>
              <a:ext cx="140448" cy="362045"/>
            </a:xfrm>
            <a:custGeom>
              <a:avLst/>
              <a:gdLst/>
              <a:ahLst/>
              <a:cxnLst>
                <a:cxn ang="0">
                  <a:pos x="19" y="61"/>
                </a:cxn>
                <a:cxn ang="0">
                  <a:pos x="41" y="93"/>
                </a:cxn>
                <a:cxn ang="0">
                  <a:pos x="43" y="113"/>
                </a:cxn>
                <a:cxn ang="0">
                  <a:pos x="45" y="138"/>
                </a:cxn>
                <a:cxn ang="0">
                  <a:pos x="53" y="159"/>
                </a:cxn>
                <a:cxn ang="0">
                  <a:pos x="57" y="161"/>
                </a:cxn>
                <a:cxn ang="0">
                  <a:pos x="69" y="177"/>
                </a:cxn>
                <a:cxn ang="0">
                  <a:pos x="67" y="191"/>
                </a:cxn>
                <a:cxn ang="0">
                  <a:pos x="59" y="194"/>
                </a:cxn>
                <a:cxn ang="0">
                  <a:pos x="27" y="242"/>
                </a:cxn>
                <a:cxn ang="0">
                  <a:pos x="16" y="245"/>
                </a:cxn>
                <a:cxn ang="0">
                  <a:pos x="11" y="252"/>
                </a:cxn>
                <a:cxn ang="0">
                  <a:pos x="8" y="257"/>
                </a:cxn>
                <a:cxn ang="0">
                  <a:pos x="9" y="276"/>
                </a:cxn>
                <a:cxn ang="0">
                  <a:pos x="12" y="295"/>
                </a:cxn>
                <a:cxn ang="0">
                  <a:pos x="14" y="298"/>
                </a:cxn>
                <a:cxn ang="0">
                  <a:pos x="11" y="302"/>
                </a:cxn>
                <a:cxn ang="0">
                  <a:pos x="9" y="312"/>
                </a:cxn>
                <a:cxn ang="0">
                  <a:pos x="9" y="318"/>
                </a:cxn>
                <a:cxn ang="0">
                  <a:pos x="11" y="322"/>
                </a:cxn>
                <a:cxn ang="0">
                  <a:pos x="25" y="331"/>
                </a:cxn>
                <a:cxn ang="0">
                  <a:pos x="31" y="332"/>
                </a:cxn>
                <a:cxn ang="0">
                  <a:pos x="34" y="343"/>
                </a:cxn>
                <a:cxn ang="0">
                  <a:pos x="34" y="347"/>
                </a:cxn>
                <a:cxn ang="0">
                  <a:pos x="40" y="344"/>
                </a:cxn>
                <a:cxn ang="0">
                  <a:pos x="51" y="340"/>
                </a:cxn>
                <a:cxn ang="0">
                  <a:pos x="60" y="337"/>
                </a:cxn>
                <a:cxn ang="0">
                  <a:pos x="70" y="331"/>
                </a:cxn>
                <a:cxn ang="0">
                  <a:pos x="76" y="329"/>
                </a:cxn>
                <a:cxn ang="0">
                  <a:pos x="86" y="329"/>
                </a:cxn>
                <a:cxn ang="0">
                  <a:pos x="99" y="327"/>
                </a:cxn>
                <a:cxn ang="0">
                  <a:pos x="154" y="263"/>
                </a:cxn>
                <a:cxn ang="0">
                  <a:pos x="149" y="245"/>
                </a:cxn>
                <a:cxn ang="0">
                  <a:pos x="143" y="218"/>
                </a:cxn>
                <a:cxn ang="0">
                  <a:pos x="137" y="200"/>
                </a:cxn>
                <a:cxn ang="0">
                  <a:pos x="133" y="186"/>
                </a:cxn>
                <a:cxn ang="0">
                  <a:pos x="137" y="165"/>
                </a:cxn>
                <a:cxn ang="0">
                  <a:pos x="134" y="91"/>
                </a:cxn>
                <a:cxn ang="0">
                  <a:pos x="117" y="74"/>
                </a:cxn>
                <a:cxn ang="0">
                  <a:pos x="115" y="49"/>
                </a:cxn>
                <a:cxn ang="0">
                  <a:pos x="118" y="36"/>
                </a:cxn>
                <a:cxn ang="0">
                  <a:pos x="118" y="10"/>
                </a:cxn>
                <a:cxn ang="0">
                  <a:pos x="106" y="0"/>
                </a:cxn>
                <a:cxn ang="0">
                  <a:pos x="74" y="20"/>
                </a:cxn>
                <a:cxn ang="0">
                  <a:pos x="57" y="56"/>
                </a:cxn>
                <a:cxn ang="0">
                  <a:pos x="44" y="53"/>
                </a:cxn>
                <a:cxn ang="0">
                  <a:pos x="27" y="52"/>
                </a:cxn>
                <a:cxn ang="0">
                  <a:pos x="11" y="30"/>
                </a:cxn>
                <a:cxn ang="0">
                  <a:pos x="3" y="37"/>
                </a:cxn>
              </a:cxnLst>
              <a:rect l="0" t="0" r="r" b="b"/>
              <a:pathLst>
                <a:path w="154" h="347">
                  <a:moveTo>
                    <a:pt x="0" y="40"/>
                  </a:moveTo>
                  <a:lnTo>
                    <a:pt x="0" y="40"/>
                  </a:lnTo>
                  <a:lnTo>
                    <a:pt x="2" y="42"/>
                  </a:lnTo>
                  <a:lnTo>
                    <a:pt x="19" y="61"/>
                  </a:lnTo>
                  <a:lnTo>
                    <a:pt x="29" y="64"/>
                  </a:lnTo>
                  <a:lnTo>
                    <a:pt x="34" y="68"/>
                  </a:lnTo>
                  <a:lnTo>
                    <a:pt x="43" y="85"/>
                  </a:lnTo>
                  <a:lnTo>
                    <a:pt x="41" y="93"/>
                  </a:lnTo>
                  <a:lnTo>
                    <a:pt x="41" y="101"/>
                  </a:lnTo>
                  <a:lnTo>
                    <a:pt x="43" y="103"/>
                  </a:lnTo>
                  <a:lnTo>
                    <a:pt x="44" y="107"/>
                  </a:lnTo>
                  <a:lnTo>
                    <a:pt x="43" y="113"/>
                  </a:lnTo>
                  <a:lnTo>
                    <a:pt x="43" y="117"/>
                  </a:lnTo>
                  <a:lnTo>
                    <a:pt x="48" y="129"/>
                  </a:lnTo>
                  <a:lnTo>
                    <a:pt x="48" y="135"/>
                  </a:lnTo>
                  <a:lnTo>
                    <a:pt x="45" y="138"/>
                  </a:lnTo>
                  <a:lnTo>
                    <a:pt x="44" y="142"/>
                  </a:lnTo>
                  <a:lnTo>
                    <a:pt x="50" y="157"/>
                  </a:lnTo>
                  <a:lnTo>
                    <a:pt x="51" y="159"/>
                  </a:lnTo>
                  <a:lnTo>
                    <a:pt x="53" y="159"/>
                  </a:lnTo>
                  <a:lnTo>
                    <a:pt x="53" y="161"/>
                  </a:lnTo>
                  <a:lnTo>
                    <a:pt x="56" y="162"/>
                  </a:lnTo>
                  <a:lnTo>
                    <a:pt x="57" y="161"/>
                  </a:lnTo>
                  <a:lnTo>
                    <a:pt x="57" y="161"/>
                  </a:lnTo>
                  <a:lnTo>
                    <a:pt x="59" y="165"/>
                  </a:lnTo>
                  <a:lnTo>
                    <a:pt x="63" y="168"/>
                  </a:lnTo>
                  <a:lnTo>
                    <a:pt x="67" y="174"/>
                  </a:lnTo>
                  <a:lnTo>
                    <a:pt x="69" y="177"/>
                  </a:lnTo>
                  <a:lnTo>
                    <a:pt x="67" y="186"/>
                  </a:lnTo>
                  <a:lnTo>
                    <a:pt x="70" y="190"/>
                  </a:lnTo>
                  <a:lnTo>
                    <a:pt x="69" y="190"/>
                  </a:lnTo>
                  <a:lnTo>
                    <a:pt x="67" y="191"/>
                  </a:lnTo>
                  <a:lnTo>
                    <a:pt x="69" y="194"/>
                  </a:lnTo>
                  <a:lnTo>
                    <a:pt x="66" y="193"/>
                  </a:lnTo>
                  <a:lnTo>
                    <a:pt x="63" y="193"/>
                  </a:lnTo>
                  <a:lnTo>
                    <a:pt x="59" y="194"/>
                  </a:lnTo>
                  <a:lnTo>
                    <a:pt x="56" y="205"/>
                  </a:lnTo>
                  <a:lnTo>
                    <a:pt x="31" y="238"/>
                  </a:lnTo>
                  <a:lnTo>
                    <a:pt x="28" y="239"/>
                  </a:lnTo>
                  <a:lnTo>
                    <a:pt x="27" y="242"/>
                  </a:lnTo>
                  <a:lnTo>
                    <a:pt x="25" y="244"/>
                  </a:lnTo>
                  <a:lnTo>
                    <a:pt x="24" y="247"/>
                  </a:lnTo>
                  <a:lnTo>
                    <a:pt x="18" y="247"/>
                  </a:lnTo>
                  <a:lnTo>
                    <a:pt x="16" y="245"/>
                  </a:lnTo>
                  <a:lnTo>
                    <a:pt x="15" y="250"/>
                  </a:lnTo>
                  <a:lnTo>
                    <a:pt x="16" y="252"/>
                  </a:lnTo>
                  <a:lnTo>
                    <a:pt x="15" y="252"/>
                  </a:lnTo>
                  <a:lnTo>
                    <a:pt x="11" y="252"/>
                  </a:lnTo>
                  <a:lnTo>
                    <a:pt x="11" y="254"/>
                  </a:lnTo>
                  <a:lnTo>
                    <a:pt x="11" y="257"/>
                  </a:lnTo>
                  <a:lnTo>
                    <a:pt x="9" y="257"/>
                  </a:lnTo>
                  <a:lnTo>
                    <a:pt x="8" y="257"/>
                  </a:lnTo>
                  <a:lnTo>
                    <a:pt x="6" y="264"/>
                  </a:lnTo>
                  <a:lnTo>
                    <a:pt x="6" y="271"/>
                  </a:lnTo>
                  <a:lnTo>
                    <a:pt x="8" y="273"/>
                  </a:lnTo>
                  <a:lnTo>
                    <a:pt x="9" y="276"/>
                  </a:lnTo>
                  <a:lnTo>
                    <a:pt x="8" y="283"/>
                  </a:lnTo>
                  <a:lnTo>
                    <a:pt x="9" y="286"/>
                  </a:lnTo>
                  <a:lnTo>
                    <a:pt x="11" y="287"/>
                  </a:lnTo>
                  <a:lnTo>
                    <a:pt x="12" y="295"/>
                  </a:lnTo>
                  <a:lnTo>
                    <a:pt x="14" y="296"/>
                  </a:lnTo>
                  <a:lnTo>
                    <a:pt x="15" y="298"/>
                  </a:lnTo>
                  <a:lnTo>
                    <a:pt x="15" y="299"/>
                  </a:lnTo>
                  <a:lnTo>
                    <a:pt x="14" y="298"/>
                  </a:lnTo>
                  <a:lnTo>
                    <a:pt x="12" y="298"/>
                  </a:lnTo>
                  <a:lnTo>
                    <a:pt x="12" y="299"/>
                  </a:lnTo>
                  <a:lnTo>
                    <a:pt x="12" y="300"/>
                  </a:lnTo>
                  <a:lnTo>
                    <a:pt x="11" y="302"/>
                  </a:lnTo>
                  <a:lnTo>
                    <a:pt x="12" y="305"/>
                  </a:lnTo>
                  <a:lnTo>
                    <a:pt x="12" y="308"/>
                  </a:lnTo>
                  <a:lnTo>
                    <a:pt x="11" y="312"/>
                  </a:lnTo>
                  <a:lnTo>
                    <a:pt x="9" y="312"/>
                  </a:lnTo>
                  <a:lnTo>
                    <a:pt x="9" y="315"/>
                  </a:lnTo>
                  <a:lnTo>
                    <a:pt x="9" y="316"/>
                  </a:lnTo>
                  <a:lnTo>
                    <a:pt x="9" y="318"/>
                  </a:lnTo>
                  <a:lnTo>
                    <a:pt x="9" y="318"/>
                  </a:lnTo>
                  <a:lnTo>
                    <a:pt x="9" y="319"/>
                  </a:lnTo>
                  <a:lnTo>
                    <a:pt x="12" y="321"/>
                  </a:lnTo>
                  <a:lnTo>
                    <a:pt x="12" y="322"/>
                  </a:lnTo>
                  <a:lnTo>
                    <a:pt x="11" y="322"/>
                  </a:lnTo>
                  <a:lnTo>
                    <a:pt x="11" y="324"/>
                  </a:lnTo>
                  <a:lnTo>
                    <a:pt x="14" y="324"/>
                  </a:lnTo>
                  <a:lnTo>
                    <a:pt x="18" y="328"/>
                  </a:lnTo>
                  <a:lnTo>
                    <a:pt x="25" y="331"/>
                  </a:lnTo>
                  <a:lnTo>
                    <a:pt x="27" y="331"/>
                  </a:lnTo>
                  <a:lnTo>
                    <a:pt x="25" y="334"/>
                  </a:lnTo>
                  <a:lnTo>
                    <a:pt x="28" y="335"/>
                  </a:lnTo>
                  <a:lnTo>
                    <a:pt x="31" y="332"/>
                  </a:lnTo>
                  <a:lnTo>
                    <a:pt x="32" y="334"/>
                  </a:lnTo>
                  <a:lnTo>
                    <a:pt x="32" y="337"/>
                  </a:lnTo>
                  <a:lnTo>
                    <a:pt x="34" y="341"/>
                  </a:lnTo>
                  <a:lnTo>
                    <a:pt x="34" y="343"/>
                  </a:lnTo>
                  <a:lnTo>
                    <a:pt x="35" y="344"/>
                  </a:lnTo>
                  <a:lnTo>
                    <a:pt x="35" y="345"/>
                  </a:lnTo>
                  <a:lnTo>
                    <a:pt x="32" y="347"/>
                  </a:lnTo>
                  <a:lnTo>
                    <a:pt x="34" y="347"/>
                  </a:lnTo>
                  <a:lnTo>
                    <a:pt x="37" y="345"/>
                  </a:lnTo>
                  <a:lnTo>
                    <a:pt x="40" y="341"/>
                  </a:lnTo>
                  <a:lnTo>
                    <a:pt x="40" y="341"/>
                  </a:lnTo>
                  <a:lnTo>
                    <a:pt x="40" y="344"/>
                  </a:lnTo>
                  <a:lnTo>
                    <a:pt x="41" y="344"/>
                  </a:lnTo>
                  <a:lnTo>
                    <a:pt x="47" y="341"/>
                  </a:lnTo>
                  <a:lnTo>
                    <a:pt x="50" y="341"/>
                  </a:lnTo>
                  <a:lnTo>
                    <a:pt x="51" y="340"/>
                  </a:lnTo>
                  <a:lnTo>
                    <a:pt x="53" y="341"/>
                  </a:lnTo>
                  <a:lnTo>
                    <a:pt x="53" y="341"/>
                  </a:lnTo>
                  <a:lnTo>
                    <a:pt x="57" y="337"/>
                  </a:lnTo>
                  <a:lnTo>
                    <a:pt x="60" y="337"/>
                  </a:lnTo>
                  <a:lnTo>
                    <a:pt x="61" y="337"/>
                  </a:lnTo>
                  <a:lnTo>
                    <a:pt x="66" y="335"/>
                  </a:lnTo>
                  <a:lnTo>
                    <a:pt x="67" y="335"/>
                  </a:lnTo>
                  <a:lnTo>
                    <a:pt x="70" y="331"/>
                  </a:lnTo>
                  <a:lnTo>
                    <a:pt x="70" y="334"/>
                  </a:lnTo>
                  <a:lnTo>
                    <a:pt x="76" y="331"/>
                  </a:lnTo>
                  <a:lnTo>
                    <a:pt x="74" y="329"/>
                  </a:lnTo>
                  <a:lnTo>
                    <a:pt x="76" y="329"/>
                  </a:lnTo>
                  <a:lnTo>
                    <a:pt x="77" y="331"/>
                  </a:lnTo>
                  <a:lnTo>
                    <a:pt x="79" y="331"/>
                  </a:lnTo>
                  <a:lnTo>
                    <a:pt x="80" y="329"/>
                  </a:lnTo>
                  <a:lnTo>
                    <a:pt x="86" y="329"/>
                  </a:lnTo>
                  <a:lnTo>
                    <a:pt x="92" y="327"/>
                  </a:lnTo>
                  <a:lnTo>
                    <a:pt x="93" y="328"/>
                  </a:lnTo>
                  <a:lnTo>
                    <a:pt x="98" y="328"/>
                  </a:lnTo>
                  <a:lnTo>
                    <a:pt x="99" y="327"/>
                  </a:lnTo>
                  <a:lnTo>
                    <a:pt x="101" y="327"/>
                  </a:lnTo>
                  <a:lnTo>
                    <a:pt x="101" y="327"/>
                  </a:lnTo>
                  <a:lnTo>
                    <a:pt x="146" y="277"/>
                  </a:lnTo>
                  <a:lnTo>
                    <a:pt x="154" y="263"/>
                  </a:lnTo>
                  <a:lnTo>
                    <a:pt x="154" y="252"/>
                  </a:lnTo>
                  <a:lnTo>
                    <a:pt x="153" y="254"/>
                  </a:lnTo>
                  <a:lnTo>
                    <a:pt x="150" y="250"/>
                  </a:lnTo>
                  <a:lnTo>
                    <a:pt x="149" y="245"/>
                  </a:lnTo>
                  <a:lnTo>
                    <a:pt x="141" y="239"/>
                  </a:lnTo>
                  <a:lnTo>
                    <a:pt x="140" y="235"/>
                  </a:lnTo>
                  <a:lnTo>
                    <a:pt x="137" y="231"/>
                  </a:lnTo>
                  <a:lnTo>
                    <a:pt x="143" y="218"/>
                  </a:lnTo>
                  <a:lnTo>
                    <a:pt x="143" y="213"/>
                  </a:lnTo>
                  <a:lnTo>
                    <a:pt x="138" y="209"/>
                  </a:lnTo>
                  <a:lnTo>
                    <a:pt x="137" y="205"/>
                  </a:lnTo>
                  <a:lnTo>
                    <a:pt x="137" y="200"/>
                  </a:lnTo>
                  <a:lnTo>
                    <a:pt x="135" y="196"/>
                  </a:lnTo>
                  <a:lnTo>
                    <a:pt x="131" y="194"/>
                  </a:lnTo>
                  <a:lnTo>
                    <a:pt x="131" y="189"/>
                  </a:lnTo>
                  <a:lnTo>
                    <a:pt x="133" y="186"/>
                  </a:lnTo>
                  <a:lnTo>
                    <a:pt x="133" y="181"/>
                  </a:lnTo>
                  <a:lnTo>
                    <a:pt x="131" y="178"/>
                  </a:lnTo>
                  <a:lnTo>
                    <a:pt x="133" y="168"/>
                  </a:lnTo>
                  <a:lnTo>
                    <a:pt x="137" y="165"/>
                  </a:lnTo>
                  <a:lnTo>
                    <a:pt x="124" y="128"/>
                  </a:lnTo>
                  <a:lnTo>
                    <a:pt x="124" y="122"/>
                  </a:lnTo>
                  <a:lnTo>
                    <a:pt x="134" y="97"/>
                  </a:lnTo>
                  <a:lnTo>
                    <a:pt x="134" y="91"/>
                  </a:lnTo>
                  <a:lnTo>
                    <a:pt x="125" y="78"/>
                  </a:lnTo>
                  <a:lnTo>
                    <a:pt x="122" y="75"/>
                  </a:lnTo>
                  <a:lnTo>
                    <a:pt x="118" y="75"/>
                  </a:lnTo>
                  <a:lnTo>
                    <a:pt x="117" y="74"/>
                  </a:lnTo>
                  <a:lnTo>
                    <a:pt x="115" y="71"/>
                  </a:lnTo>
                  <a:lnTo>
                    <a:pt x="112" y="59"/>
                  </a:lnTo>
                  <a:lnTo>
                    <a:pt x="117" y="50"/>
                  </a:lnTo>
                  <a:lnTo>
                    <a:pt x="115" y="49"/>
                  </a:lnTo>
                  <a:lnTo>
                    <a:pt x="114" y="48"/>
                  </a:lnTo>
                  <a:lnTo>
                    <a:pt x="121" y="40"/>
                  </a:lnTo>
                  <a:lnTo>
                    <a:pt x="118" y="39"/>
                  </a:lnTo>
                  <a:lnTo>
                    <a:pt x="118" y="36"/>
                  </a:lnTo>
                  <a:lnTo>
                    <a:pt x="120" y="32"/>
                  </a:lnTo>
                  <a:lnTo>
                    <a:pt x="125" y="26"/>
                  </a:lnTo>
                  <a:lnTo>
                    <a:pt x="122" y="14"/>
                  </a:lnTo>
                  <a:lnTo>
                    <a:pt x="118" y="10"/>
                  </a:lnTo>
                  <a:lnTo>
                    <a:pt x="114" y="8"/>
                  </a:lnTo>
                  <a:lnTo>
                    <a:pt x="111" y="5"/>
                  </a:lnTo>
                  <a:lnTo>
                    <a:pt x="108" y="1"/>
                  </a:lnTo>
                  <a:lnTo>
                    <a:pt x="106" y="0"/>
                  </a:lnTo>
                  <a:lnTo>
                    <a:pt x="83" y="5"/>
                  </a:lnTo>
                  <a:lnTo>
                    <a:pt x="80" y="8"/>
                  </a:lnTo>
                  <a:lnTo>
                    <a:pt x="77" y="11"/>
                  </a:lnTo>
                  <a:lnTo>
                    <a:pt x="74" y="20"/>
                  </a:lnTo>
                  <a:lnTo>
                    <a:pt x="73" y="43"/>
                  </a:lnTo>
                  <a:lnTo>
                    <a:pt x="67" y="48"/>
                  </a:lnTo>
                  <a:lnTo>
                    <a:pt x="64" y="52"/>
                  </a:lnTo>
                  <a:lnTo>
                    <a:pt x="57" y="56"/>
                  </a:lnTo>
                  <a:lnTo>
                    <a:pt x="54" y="55"/>
                  </a:lnTo>
                  <a:lnTo>
                    <a:pt x="51" y="49"/>
                  </a:lnTo>
                  <a:lnTo>
                    <a:pt x="48" y="48"/>
                  </a:lnTo>
                  <a:lnTo>
                    <a:pt x="44" y="53"/>
                  </a:lnTo>
                  <a:lnTo>
                    <a:pt x="41" y="55"/>
                  </a:lnTo>
                  <a:lnTo>
                    <a:pt x="38" y="55"/>
                  </a:lnTo>
                  <a:lnTo>
                    <a:pt x="34" y="53"/>
                  </a:lnTo>
                  <a:lnTo>
                    <a:pt x="27" y="52"/>
                  </a:lnTo>
                  <a:lnTo>
                    <a:pt x="25" y="50"/>
                  </a:lnTo>
                  <a:lnTo>
                    <a:pt x="24" y="46"/>
                  </a:lnTo>
                  <a:lnTo>
                    <a:pt x="14" y="32"/>
                  </a:lnTo>
                  <a:lnTo>
                    <a:pt x="11" y="30"/>
                  </a:lnTo>
                  <a:lnTo>
                    <a:pt x="6" y="32"/>
                  </a:lnTo>
                  <a:lnTo>
                    <a:pt x="8" y="37"/>
                  </a:lnTo>
                  <a:lnTo>
                    <a:pt x="5" y="39"/>
                  </a:lnTo>
                  <a:lnTo>
                    <a:pt x="3" y="37"/>
                  </a:lnTo>
                  <a:lnTo>
                    <a:pt x="0" y="37"/>
                  </a:lnTo>
                  <a:lnTo>
                    <a:pt x="0" y="4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4" name="Freeform 241"/>
            <p:cNvSpPr>
              <a:spLocks/>
            </p:cNvSpPr>
            <p:nvPr/>
          </p:nvSpPr>
          <p:spPr bwMode="auto">
            <a:xfrm>
              <a:off x="6206749" y="2485631"/>
              <a:ext cx="152738" cy="184572"/>
            </a:xfrm>
            <a:custGeom>
              <a:avLst/>
              <a:gdLst/>
              <a:ahLst/>
              <a:cxnLst>
                <a:cxn ang="0">
                  <a:pos x="52" y="9"/>
                </a:cxn>
                <a:cxn ang="0">
                  <a:pos x="48" y="12"/>
                </a:cxn>
                <a:cxn ang="0">
                  <a:pos x="48" y="16"/>
                </a:cxn>
                <a:cxn ang="0">
                  <a:pos x="36" y="13"/>
                </a:cxn>
                <a:cxn ang="0">
                  <a:pos x="32" y="23"/>
                </a:cxn>
                <a:cxn ang="0">
                  <a:pos x="29" y="20"/>
                </a:cxn>
                <a:cxn ang="0">
                  <a:pos x="20" y="15"/>
                </a:cxn>
                <a:cxn ang="0">
                  <a:pos x="16" y="23"/>
                </a:cxn>
                <a:cxn ang="0">
                  <a:pos x="4" y="36"/>
                </a:cxn>
                <a:cxn ang="0">
                  <a:pos x="0" y="42"/>
                </a:cxn>
                <a:cxn ang="0">
                  <a:pos x="3" y="46"/>
                </a:cxn>
                <a:cxn ang="0">
                  <a:pos x="3" y="55"/>
                </a:cxn>
                <a:cxn ang="0">
                  <a:pos x="12" y="61"/>
                </a:cxn>
                <a:cxn ang="0">
                  <a:pos x="12" y="65"/>
                </a:cxn>
                <a:cxn ang="0">
                  <a:pos x="20" y="62"/>
                </a:cxn>
                <a:cxn ang="0">
                  <a:pos x="25" y="57"/>
                </a:cxn>
                <a:cxn ang="0">
                  <a:pos x="49" y="62"/>
                </a:cxn>
                <a:cxn ang="0">
                  <a:pos x="62" y="90"/>
                </a:cxn>
                <a:cxn ang="0">
                  <a:pos x="67" y="93"/>
                </a:cxn>
                <a:cxn ang="0">
                  <a:pos x="75" y="100"/>
                </a:cxn>
                <a:cxn ang="0">
                  <a:pos x="100" y="115"/>
                </a:cxn>
                <a:cxn ang="0">
                  <a:pos x="109" y="124"/>
                </a:cxn>
                <a:cxn ang="0">
                  <a:pos x="113" y="126"/>
                </a:cxn>
                <a:cxn ang="0">
                  <a:pos x="118" y="131"/>
                </a:cxn>
                <a:cxn ang="0">
                  <a:pos x="120" y="137"/>
                </a:cxn>
                <a:cxn ang="0">
                  <a:pos x="126" y="137"/>
                </a:cxn>
                <a:cxn ang="0">
                  <a:pos x="131" y="166"/>
                </a:cxn>
                <a:cxn ang="0">
                  <a:pos x="129" y="176"/>
                </a:cxn>
                <a:cxn ang="0">
                  <a:pos x="134" y="176"/>
                </a:cxn>
                <a:cxn ang="0">
                  <a:pos x="139" y="169"/>
                </a:cxn>
                <a:cxn ang="0">
                  <a:pos x="141" y="160"/>
                </a:cxn>
                <a:cxn ang="0">
                  <a:pos x="148" y="157"/>
                </a:cxn>
                <a:cxn ang="0">
                  <a:pos x="144" y="147"/>
                </a:cxn>
                <a:cxn ang="0">
                  <a:pos x="141" y="135"/>
                </a:cxn>
                <a:cxn ang="0">
                  <a:pos x="154" y="132"/>
                </a:cxn>
                <a:cxn ang="0">
                  <a:pos x="166" y="141"/>
                </a:cxn>
                <a:cxn ang="0">
                  <a:pos x="160" y="125"/>
                </a:cxn>
                <a:cxn ang="0">
                  <a:pos x="132" y="112"/>
                </a:cxn>
                <a:cxn ang="0">
                  <a:pos x="131" y="109"/>
                </a:cxn>
                <a:cxn ang="0">
                  <a:pos x="134" y="103"/>
                </a:cxn>
                <a:cxn ang="0">
                  <a:pos x="129" y="102"/>
                </a:cxn>
                <a:cxn ang="0">
                  <a:pos x="120" y="102"/>
                </a:cxn>
                <a:cxn ang="0">
                  <a:pos x="113" y="99"/>
                </a:cxn>
                <a:cxn ang="0">
                  <a:pos x="105" y="90"/>
                </a:cxn>
                <a:cxn ang="0">
                  <a:pos x="94" y="70"/>
                </a:cxn>
                <a:cxn ang="0">
                  <a:pos x="80" y="55"/>
                </a:cxn>
                <a:cxn ang="0">
                  <a:pos x="81" y="42"/>
                </a:cxn>
                <a:cxn ang="0">
                  <a:pos x="78" y="36"/>
                </a:cxn>
                <a:cxn ang="0">
                  <a:pos x="83" y="32"/>
                </a:cxn>
                <a:cxn ang="0">
                  <a:pos x="94" y="29"/>
                </a:cxn>
                <a:cxn ang="0">
                  <a:pos x="99" y="29"/>
                </a:cxn>
                <a:cxn ang="0">
                  <a:pos x="100" y="32"/>
                </a:cxn>
                <a:cxn ang="0">
                  <a:pos x="102" y="29"/>
                </a:cxn>
                <a:cxn ang="0">
                  <a:pos x="100" y="26"/>
                </a:cxn>
                <a:cxn ang="0">
                  <a:pos x="97" y="23"/>
                </a:cxn>
                <a:cxn ang="0">
                  <a:pos x="96" y="17"/>
                </a:cxn>
                <a:cxn ang="0">
                  <a:pos x="96" y="15"/>
                </a:cxn>
                <a:cxn ang="0">
                  <a:pos x="83" y="7"/>
                </a:cxn>
                <a:cxn ang="0">
                  <a:pos x="77" y="1"/>
                </a:cxn>
                <a:cxn ang="0">
                  <a:pos x="74" y="0"/>
                </a:cxn>
                <a:cxn ang="0">
                  <a:pos x="52" y="4"/>
                </a:cxn>
              </a:cxnLst>
              <a:rect l="0" t="0" r="r" b="b"/>
              <a:pathLst>
                <a:path w="167" h="177">
                  <a:moveTo>
                    <a:pt x="52" y="4"/>
                  </a:moveTo>
                  <a:lnTo>
                    <a:pt x="51" y="7"/>
                  </a:lnTo>
                  <a:lnTo>
                    <a:pt x="52" y="9"/>
                  </a:lnTo>
                  <a:lnTo>
                    <a:pt x="51" y="10"/>
                  </a:lnTo>
                  <a:lnTo>
                    <a:pt x="48" y="10"/>
                  </a:lnTo>
                  <a:lnTo>
                    <a:pt x="48" y="12"/>
                  </a:lnTo>
                  <a:lnTo>
                    <a:pt x="48" y="13"/>
                  </a:lnTo>
                  <a:lnTo>
                    <a:pt x="48" y="15"/>
                  </a:lnTo>
                  <a:lnTo>
                    <a:pt x="48" y="16"/>
                  </a:lnTo>
                  <a:lnTo>
                    <a:pt x="39" y="15"/>
                  </a:lnTo>
                  <a:lnTo>
                    <a:pt x="38" y="13"/>
                  </a:lnTo>
                  <a:lnTo>
                    <a:pt x="36" y="13"/>
                  </a:lnTo>
                  <a:lnTo>
                    <a:pt x="35" y="16"/>
                  </a:lnTo>
                  <a:lnTo>
                    <a:pt x="33" y="20"/>
                  </a:lnTo>
                  <a:lnTo>
                    <a:pt x="32" y="23"/>
                  </a:lnTo>
                  <a:lnTo>
                    <a:pt x="32" y="25"/>
                  </a:lnTo>
                  <a:lnTo>
                    <a:pt x="30" y="23"/>
                  </a:lnTo>
                  <a:lnTo>
                    <a:pt x="29" y="20"/>
                  </a:lnTo>
                  <a:lnTo>
                    <a:pt x="25" y="19"/>
                  </a:lnTo>
                  <a:lnTo>
                    <a:pt x="23" y="13"/>
                  </a:lnTo>
                  <a:lnTo>
                    <a:pt x="20" y="15"/>
                  </a:lnTo>
                  <a:lnTo>
                    <a:pt x="19" y="17"/>
                  </a:lnTo>
                  <a:lnTo>
                    <a:pt x="19" y="19"/>
                  </a:lnTo>
                  <a:lnTo>
                    <a:pt x="16" y="23"/>
                  </a:lnTo>
                  <a:lnTo>
                    <a:pt x="1" y="25"/>
                  </a:lnTo>
                  <a:lnTo>
                    <a:pt x="1" y="26"/>
                  </a:lnTo>
                  <a:lnTo>
                    <a:pt x="4" y="36"/>
                  </a:lnTo>
                  <a:lnTo>
                    <a:pt x="1" y="39"/>
                  </a:lnTo>
                  <a:lnTo>
                    <a:pt x="0" y="41"/>
                  </a:lnTo>
                  <a:lnTo>
                    <a:pt x="0" y="42"/>
                  </a:lnTo>
                  <a:lnTo>
                    <a:pt x="0" y="44"/>
                  </a:lnTo>
                  <a:lnTo>
                    <a:pt x="0" y="45"/>
                  </a:lnTo>
                  <a:lnTo>
                    <a:pt x="3" y="46"/>
                  </a:lnTo>
                  <a:lnTo>
                    <a:pt x="3" y="48"/>
                  </a:lnTo>
                  <a:lnTo>
                    <a:pt x="3" y="51"/>
                  </a:lnTo>
                  <a:lnTo>
                    <a:pt x="3" y="55"/>
                  </a:lnTo>
                  <a:lnTo>
                    <a:pt x="4" y="58"/>
                  </a:lnTo>
                  <a:lnTo>
                    <a:pt x="12" y="60"/>
                  </a:lnTo>
                  <a:lnTo>
                    <a:pt x="12" y="61"/>
                  </a:lnTo>
                  <a:lnTo>
                    <a:pt x="12" y="62"/>
                  </a:lnTo>
                  <a:lnTo>
                    <a:pt x="12" y="65"/>
                  </a:lnTo>
                  <a:lnTo>
                    <a:pt x="12" y="65"/>
                  </a:lnTo>
                  <a:lnTo>
                    <a:pt x="16" y="65"/>
                  </a:lnTo>
                  <a:lnTo>
                    <a:pt x="20" y="64"/>
                  </a:lnTo>
                  <a:lnTo>
                    <a:pt x="20" y="62"/>
                  </a:lnTo>
                  <a:lnTo>
                    <a:pt x="23" y="58"/>
                  </a:lnTo>
                  <a:lnTo>
                    <a:pt x="25" y="58"/>
                  </a:lnTo>
                  <a:lnTo>
                    <a:pt x="25" y="57"/>
                  </a:lnTo>
                  <a:lnTo>
                    <a:pt x="29" y="54"/>
                  </a:lnTo>
                  <a:lnTo>
                    <a:pt x="35" y="55"/>
                  </a:lnTo>
                  <a:lnTo>
                    <a:pt x="49" y="62"/>
                  </a:lnTo>
                  <a:lnTo>
                    <a:pt x="55" y="78"/>
                  </a:lnTo>
                  <a:lnTo>
                    <a:pt x="55" y="81"/>
                  </a:lnTo>
                  <a:lnTo>
                    <a:pt x="62" y="90"/>
                  </a:lnTo>
                  <a:lnTo>
                    <a:pt x="64" y="93"/>
                  </a:lnTo>
                  <a:lnTo>
                    <a:pt x="65" y="93"/>
                  </a:lnTo>
                  <a:lnTo>
                    <a:pt x="67" y="93"/>
                  </a:lnTo>
                  <a:lnTo>
                    <a:pt x="70" y="94"/>
                  </a:lnTo>
                  <a:lnTo>
                    <a:pt x="73" y="100"/>
                  </a:lnTo>
                  <a:lnTo>
                    <a:pt x="75" y="100"/>
                  </a:lnTo>
                  <a:lnTo>
                    <a:pt x="90" y="115"/>
                  </a:lnTo>
                  <a:lnTo>
                    <a:pt x="91" y="115"/>
                  </a:lnTo>
                  <a:lnTo>
                    <a:pt x="100" y="115"/>
                  </a:lnTo>
                  <a:lnTo>
                    <a:pt x="103" y="119"/>
                  </a:lnTo>
                  <a:lnTo>
                    <a:pt x="105" y="122"/>
                  </a:lnTo>
                  <a:lnTo>
                    <a:pt x="109" y="124"/>
                  </a:lnTo>
                  <a:lnTo>
                    <a:pt x="109" y="125"/>
                  </a:lnTo>
                  <a:lnTo>
                    <a:pt x="109" y="126"/>
                  </a:lnTo>
                  <a:lnTo>
                    <a:pt x="113" y="126"/>
                  </a:lnTo>
                  <a:lnTo>
                    <a:pt x="115" y="126"/>
                  </a:lnTo>
                  <a:lnTo>
                    <a:pt x="116" y="128"/>
                  </a:lnTo>
                  <a:lnTo>
                    <a:pt x="118" y="131"/>
                  </a:lnTo>
                  <a:lnTo>
                    <a:pt x="118" y="132"/>
                  </a:lnTo>
                  <a:lnTo>
                    <a:pt x="118" y="135"/>
                  </a:lnTo>
                  <a:lnTo>
                    <a:pt x="120" y="137"/>
                  </a:lnTo>
                  <a:lnTo>
                    <a:pt x="123" y="139"/>
                  </a:lnTo>
                  <a:lnTo>
                    <a:pt x="125" y="137"/>
                  </a:lnTo>
                  <a:lnTo>
                    <a:pt x="126" y="137"/>
                  </a:lnTo>
                  <a:lnTo>
                    <a:pt x="135" y="160"/>
                  </a:lnTo>
                  <a:lnTo>
                    <a:pt x="129" y="163"/>
                  </a:lnTo>
                  <a:lnTo>
                    <a:pt x="131" y="166"/>
                  </a:lnTo>
                  <a:lnTo>
                    <a:pt x="128" y="171"/>
                  </a:lnTo>
                  <a:lnTo>
                    <a:pt x="128" y="176"/>
                  </a:lnTo>
                  <a:lnTo>
                    <a:pt x="129" y="176"/>
                  </a:lnTo>
                  <a:lnTo>
                    <a:pt x="129" y="177"/>
                  </a:lnTo>
                  <a:lnTo>
                    <a:pt x="132" y="176"/>
                  </a:lnTo>
                  <a:lnTo>
                    <a:pt x="134" y="176"/>
                  </a:lnTo>
                  <a:lnTo>
                    <a:pt x="136" y="170"/>
                  </a:lnTo>
                  <a:lnTo>
                    <a:pt x="138" y="169"/>
                  </a:lnTo>
                  <a:lnTo>
                    <a:pt x="139" y="169"/>
                  </a:lnTo>
                  <a:lnTo>
                    <a:pt x="141" y="167"/>
                  </a:lnTo>
                  <a:lnTo>
                    <a:pt x="141" y="161"/>
                  </a:lnTo>
                  <a:lnTo>
                    <a:pt x="141" y="160"/>
                  </a:lnTo>
                  <a:lnTo>
                    <a:pt x="147" y="157"/>
                  </a:lnTo>
                  <a:lnTo>
                    <a:pt x="147" y="157"/>
                  </a:lnTo>
                  <a:lnTo>
                    <a:pt x="148" y="157"/>
                  </a:lnTo>
                  <a:lnTo>
                    <a:pt x="147" y="150"/>
                  </a:lnTo>
                  <a:lnTo>
                    <a:pt x="147" y="148"/>
                  </a:lnTo>
                  <a:lnTo>
                    <a:pt x="144" y="147"/>
                  </a:lnTo>
                  <a:lnTo>
                    <a:pt x="142" y="144"/>
                  </a:lnTo>
                  <a:lnTo>
                    <a:pt x="139" y="144"/>
                  </a:lnTo>
                  <a:lnTo>
                    <a:pt x="141" y="135"/>
                  </a:lnTo>
                  <a:lnTo>
                    <a:pt x="147" y="129"/>
                  </a:lnTo>
                  <a:lnTo>
                    <a:pt x="150" y="129"/>
                  </a:lnTo>
                  <a:lnTo>
                    <a:pt x="154" y="132"/>
                  </a:lnTo>
                  <a:lnTo>
                    <a:pt x="160" y="134"/>
                  </a:lnTo>
                  <a:lnTo>
                    <a:pt x="163" y="139"/>
                  </a:lnTo>
                  <a:lnTo>
                    <a:pt x="166" y="141"/>
                  </a:lnTo>
                  <a:lnTo>
                    <a:pt x="166" y="141"/>
                  </a:lnTo>
                  <a:lnTo>
                    <a:pt x="167" y="137"/>
                  </a:lnTo>
                  <a:lnTo>
                    <a:pt x="160" y="125"/>
                  </a:lnTo>
                  <a:lnTo>
                    <a:pt x="151" y="122"/>
                  </a:lnTo>
                  <a:lnTo>
                    <a:pt x="148" y="119"/>
                  </a:lnTo>
                  <a:lnTo>
                    <a:pt x="132" y="112"/>
                  </a:lnTo>
                  <a:lnTo>
                    <a:pt x="131" y="112"/>
                  </a:lnTo>
                  <a:lnTo>
                    <a:pt x="131" y="110"/>
                  </a:lnTo>
                  <a:lnTo>
                    <a:pt x="131" y="109"/>
                  </a:lnTo>
                  <a:lnTo>
                    <a:pt x="132" y="108"/>
                  </a:lnTo>
                  <a:lnTo>
                    <a:pt x="134" y="106"/>
                  </a:lnTo>
                  <a:lnTo>
                    <a:pt x="134" y="103"/>
                  </a:lnTo>
                  <a:lnTo>
                    <a:pt x="132" y="102"/>
                  </a:lnTo>
                  <a:lnTo>
                    <a:pt x="129" y="102"/>
                  </a:lnTo>
                  <a:lnTo>
                    <a:pt x="129" y="102"/>
                  </a:lnTo>
                  <a:lnTo>
                    <a:pt x="131" y="102"/>
                  </a:lnTo>
                  <a:lnTo>
                    <a:pt x="129" y="102"/>
                  </a:lnTo>
                  <a:lnTo>
                    <a:pt x="120" y="102"/>
                  </a:lnTo>
                  <a:lnTo>
                    <a:pt x="120" y="105"/>
                  </a:lnTo>
                  <a:lnTo>
                    <a:pt x="115" y="99"/>
                  </a:lnTo>
                  <a:lnTo>
                    <a:pt x="113" y="99"/>
                  </a:lnTo>
                  <a:lnTo>
                    <a:pt x="113" y="97"/>
                  </a:lnTo>
                  <a:lnTo>
                    <a:pt x="112" y="97"/>
                  </a:lnTo>
                  <a:lnTo>
                    <a:pt x="105" y="90"/>
                  </a:lnTo>
                  <a:lnTo>
                    <a:pt x="97" y="70"/>
                  </a:lnTo>
                  <a:lnTo>
                    <a:pt x="96" y="70"/>
                  </a:lnTo>
                  <a:lnTo>
                    <a:pt x="94" y="70"/>
                  </a:lnTo>
                  <a:lnTo>
                    <a:pt x="94" y="68"/>
                  </a:lnTo>
                  <a:lnTo>
                    <a:pt x="83" y="61"/>
                  </a:lnTo>
                  <a:lnTo>
                    <a:pt x="80" y="55"/>
                  </a:lnTo>
                  <a:lnTo>
                    <a:pt x="80" y="45"/>
                  </a:lnTo>
                  <a:lnTo>
                    <a:pt x="81" y="45"/>
                  </a:lnTo>
                  <a:lnTo>
                    <a:pt x="81" y="42"/>
                  </a:lnTo>
                  <a:lnTo>
                    <a:pt x="81" y="41"/>
                  </a:lnTo>
                  <a:lnTo>
                    <a:pt x="78" y="41"/>
                  </a:lnTo>
                  <a:lnTo>
                    <a:pt x="78" y="36"/>
                  </a:lnTo>
                  <a:lnTo>
                    <a:pt x="78" y="35"/>
                  </a:lnTo>
                  <a:lnTo>
                    <a:pt x="81" y="32"/>
                  </a:lnTo>
                  <a:lnTo>
                    <a:pt x="83" y="32"/>
                  </a:lnTo>
                  <a:lnTo>
                    <a:pt x="83" y="33"/>
                  </a:lnTo>
                  <a:lnTo>
                    <a:pt x="93" y="28"/>
                  </a:lnTo>
                  <a:lnTo>
                    <a:pt x="94" y="29"/>
                  </a:lnTo>
                  <a:lnTo>
                    <a:pt x="97" y="28"/>
                  </a:lnTo>
                  <a:lnTo>
                    <a:pt x="99" y="28"/>
                  </a:lnTo>
                  <a:lnTo>
                    <a:pt x="99" y="29"/>
                  </a:lnTo>
                  <a:lnTo>
                    <a:pt x="99" y="31"/>
                  </a:lnTo>
                  <a:lnTo>
                    <a:pt x="99" y="32"/>
                  </a:lnTo>
                  <a:lnTo>
                    <a:pt x="100" y="32"/>
                  </a:lnTo>
                  <a:lnTo>
                    <a:pt x="102" y="32"/>
                  </a:lnTo>
                  <a:lnTo>
                    <a:pt x="102" y="31"/>
                  </a:lnTo>
                  <a:lnTo>
                    <a:pt x="102" y="29"/>
                  </a:lnTo>
                  <a:lnTo>
                    <a:pt x="102" y="29"/>
                  </a:lnTo>
                  <a:lnTo>
                    <a:pt x="100" y="28"/>
                  </a:lnTo>
                  <a:lnTo>
                    <a:pt x="100" y="26"/>
                  </a:lnTo>
                  <a:lnTo>
                    <a:pt x="99" y="26"/>
                  </a:lnTo>
                  <a:lnTo>
                    <a:pt x="97" y="25"/>
                  </a:lnTo>
                  <a:lnTo>
                    <a:pt x="97" y="23"/>
                  </a:lnTo>
                  <a:lnTo>
                    <a:pt x="96" y="22"/>
                  </a:lnTo>
                  <a:lnTo>
                    <a:pt x="97" y="17"/>
                  </a:lnTo>
                  <a:lnTo>
                    <a:pt x="96" y="17"/>
                  </a:lnTo>
                  <a:lnTo>
                    <a:pt x="96" y="17"/>
                  </a:lnTo>
                  <a:lnTo>
                    <a:pt x="96" y="16"/>
                  </a:lnTo>
                  <a:lnTo>
                    <a:pt x="96" y="15"/>
                  </a:lnTo>
                  <a:lnTo>
                    <a:pt x="99" y="12"/>
                  </a:lnTo>
                  <a:lnTo>
                    <a:pt x="84" y="10"/>
                  </a:lnTo>
                  <a:lnTo>
                    <a:pt x="83" y="7"/>
                  </a:lnTo>
                  <a:lnTo>
                    <a:pt x="81" y="7"/>
                  </a:lnTo>
                  <a:lnTo>
                    <a:pt x="78" y="6"/>
                  </a:lnTo>
                  <a:lnTo>
                    <a:pt x="77" y="1"/>
                  </a:lnTo>
                  <a:lnTo>
                    <a:pt x="77" y="0"/>
                  </a:lnTo>
                  <a:lnTo>
                    <a:pt x="75" y="0"/>
                  </a:lnTo>
                  <a:lnTo>
                    <a:pt x="74" y="0"/>
                  </a:lnTo>
                  <a:lnTo>
                    <a:pt x="74" y="1"/>
                  </a:lnTo>
                  <a:lnTo>
                    <a:pt x="55" y="6"/>
                  </a:lnTo>
                  <a:lnTo>
                    <a:pt x="52"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5" name="Freeform 242"/>
            <p:cNvSpPr>
              <a:spLocks/>
            </p:cNvSpPr>
            <p:nvPr/>
          </p:nvSpPr>
          <p:spPr bwMode="auto">
            <a:xfrm>
              <a:off x="6206749" y="2485631"/>
              <a:ext cx="152738" cy="184572"/>
            </a:xfrm>
            <a:custGeom>
              <a:avLst/>
              <a:gdLst/>
              <a:ahLst/>
              <a:cxnLst>
                <a:cxn ang="0">
                  <a:pos x="52" y="9"/>
                </a:cxn>
                <a:cxn ang="0">
                  <a:pos x="48" y="12"/>
                </a:cxn>
                <a:cxn ang="0">
                  <a:pos x="48" y="16"/>
                </a:cxn>
                <a:cxn ang="0">
                  <a:pos x="36" y="13"/>
                </a:cxn>
                <a:cxn ang="0">
                  <a:pos x="32" y="23"/>
                </a:cxn>
                <a:cxn ang="0">
                  <a:pos x="29" y="20"/>
                </a:cxn>
                <a:cxn ang="0">
                  <a:pos x="20" y="15"/>
                </a:cxn>
                <a:cxn ang="0">
                  <a:pos x="16" y="23"/>
                </a:cxn>
                <a:cxn ang="0">
                  <a:pos x="4" y="36"/>
                </a:cxn>
                <a:cxn ang="0">
                  <a:pos x="0" y="42"/>
                </a:cxn>
                <a:cxn ang="0">
                  <a:pos x="3" y="46"/>
                </a:cxn>
                <a:cxn ang="0">
                  <a:pos x="3" y="55"/>
                </a:cxn>
                <a:cxn ang="0">
                  <a:pos x="12" y="61"/>
                </a:cxn>
                <a:cxn ang="0">
                  <a:pos x="12" y="65"/>
                </a:cxn>
                <a:cxn ang="0">
                  <a:pos x="20" y="62"/>
                </a:cxn>
                <a:cxn ang="0">
                  <a:pos x="25" y="57"/>
                </a:cxn>
                <a:cxn ang="0">
                  <a:pos x="49" y="62"/>
                </a:cxn>
                <a:cxn ang="0">
                  <a:pos x="62" y="90"/>
                </a:cxn>
                <a:cxn ang="0">
                  <a:pos x="67" y="93"/>
                </a:cxn>
                <a:cxn ang="0">
                  <a:pos x="75" y="100"/>
                </a:cxn>
                <a:cxn ang="0">
                  <a:pos x="100" y="115"/>
                </a:cxn>
                <a:cxn ang="0">
                  <a:pos x="109" y="124"/>
                </a:cxn>
                <a:cxn ang="0">
                  <a:pos x="113" y="126"/>
                </a:cxn>
                <a:cxn ang="0">
                  <a:pos x="118" y="131"/>
                </a:cxn>
                <a:cxn ang="0">
                  <a:pos x="120" y="137"/>
                </a:cxn>
                <a:cxn ang="0">
                  <a:pos x="126" y="137"/>
                </a:cxn>
                <a:cxn ang="0">
                  <a:pos x="131" y="166"/>
                </a:cxn>
                <a:cxn ang="0">
                  <a:pos x="129" y="176"/>
                </a:cxn>
                <a:cxn ang="0">
                  <a:pos x="134" y="176"/>
                </a:cxn>
                <a:cxn ang="0">
                  <a:pos x="139" y="169"/>
                </a:cxn>
                <a:cxn ang="0">
                  <a:pos x="141" y="160"/>
                </a:cxn>
                <a:cxn ang="0">
                  <a:pos x="148" y="157"/>
                </a:cxn>
                <a:cxn ang="0">
                  <a:pos x="144" y="147"/>
                </a:cxn>
                <a:cxn ang="0">
                  <a:pos x="141" y="135"/>
                </a:cxn>
                <a:cxn ang="0">
                  <a:pos x="154" y="132"/>
                </a:cxn>
                <a:cxn ang="0">
                  <a:pos x="166" y="141"/>
                </a:cxn>
                <a:cxn ang="0">
                  <a:pos x="160" y="125"/>
                </a:cxn>
                <a:cxn ang="0">
                  <a:pos x="132" y="112"/>
                </a:cxn>
                <a:cxn ang="0">
                  <a:pos x="131" y="109"/>
                </a:cxn>
                <a:cxn ang="0">
                  <a:pos x="134" y="103"/>
                </a:cxn>
                <a:cxn ang="0">
                  <a:pos x="129" y="102"/>
                </a:cxn>
                <a:cxn ang="0">
                  <a:pos x="120" y="102"/>
                </a:cxn>
                <a:cxn ang="0">
                  <a:pos x="113" y="99"/>
                </a:cxn>
                <a:cxn ang="0">
                  <a:pos x="105" y="90"/>
                </a:cxn>
                <a:cxn ang="0">
                  <a:pos x="94" y="70"/>
                </a:cxn>
                <a:cxn ang="0">
                  <a:pos x="80" y="55"/>
                </a:cxn>
                <a:cxn ang="0">
                  <a:pos x="81" y="42"/>
                </a:cxn>
                <a:cxn ang="0">
                  <a:pos x="78" y="36"/>
                </a:cxn>
                <a:cxn ang="0">
                  <a:pos x="83" y="32"/>
                </a:cxn>
                <a:cxn ang="0">
                  <a:pos x="94" y="29"/>
                </a:cxn>
                <a:cxn ang="0">
                  <a:pos x="99" y="29"/>
                </a:cxn>
                <a:cxn ang="0">
                  <a:pos x="100" y="32"/>
                </a:cxn>
                <a:cxn ang="0">
                  <a:pos x="102" y="29"/>
                </a:cxn>
                <a:cxn ang="0">
                  <a:pos x="100" y="26"/>
                </a:cxn>
                <a:cxn ang="0">
                  <a:pos x="97" y="23"/>
                </a:cxn>
                <a:cxn ang="0">
                  <a:pos x="96" y="17"/>
                </a:cxn>
                <a:cxn ang="0">
                  <a:pos x="96" y="15"/>
                </a:cxn>
                <a:cxn ang="0">
                  <a:pos x="83" y="7"/>
                </a:cxn>
                <a:cxn ang="0">
                  <a:pos x="77" y="1"/>
                </a:cxn>
                <a:cxn ang="0">
                  <a:pos x="74" y="0"/>
                </a:cxn>
                <a:cxn ang="0">
                  <a:pos x="52" y="4"/>
                </a:cxn>
              </a:cxnLst>
              <a:rect l="0" t="0" r="r" b="b"/>
              <a:pathLst>
                <a:path w="167" h="177">
                  <a:moveTo>
                    <a:pt x="52" y="4"/>
                  </a:moveTo>
                  <a:lnTo>
                    <a:pt x="51" y="7"/>
                  </a:lnTo>
                  <a:lnTo>
                    <a:pt x="52" y="9"/>
                  </a:lnTo>
                  <a:lnTo>
                    <a:pt x="51" y="10"/>
                  </a:lnTo>
                  <a:lnTo>
                    <a:pt x="48" y="10"/>
                  </a:lnTo>
                  <a:lnTo>
                    <a:pt x="48" y="12"/>
                  </a:lnTo>
                  <a:lnTo>
                    <a:pt x="48" y="13"/>
                  </a:lnTo>
                  <a:lnTo>
                    <a:pt x="48" y="15"/>
                  </a:lnTo>
                  <a:lnTo>
                    <a:pt x="48" y="16"/>
                  </a:lnTo>
                  <a:lnTo>
                    <a:pt x="39" y="15"/>
                  </a:lnTo>
                  <a:lnTo>
                    <a:pt x="38" y="13"/>
                  </a:lnTo>
                  <a:lnTo>
                    <a:pt x="36" y="13"/>
                  </a:lnTo>
                  <a:lnTo>
                    <a:pt x="35" y="16"/>
                  </a:lnTo>
                  <a:lnTo>
                    <a:pt x="33" y="20"/>
                  </a:lnTo>
                  <a:lnTo>
                    <a:pt x="32" y="23"/>
                  </a:lnTo>
                  <a:lnTo>
                    <a:pt x="32" y="25"/>
                  </a:lnTo>
                  <a:lnTo>
                    <a:pt x="30" y="23"/>
                  </a:lnTo>
                  <a:lnTo>
                    <a:pt x="29" y="20"/>
                  </a:lnTo>
                  <a:lnTo>
                    <a:pt x="25" y="19"/>
                  </a:lnTo>
                  <a:lnTo>
                    <a:pt x="23" y="13"/>
                  </a:lnTo>
                  <a:lnTo>
                    <a:pt x="20" y="15"/>
                  </a:lnTo>
                  <a:lnTo>
                    <a:pt x="19" y="17"/>
                  </a:lnTo>
                  <a:lnTo>
                    <a:pt x="19" y="19"/>
                  </a:lnTo>
                  <a:lnTo>
                    <a:pt x="16" y="23"/>
                  </a:lnTo>
                  <a:lnTo>
                    <a:pt x="1" y="25"/>
                  </a:lnTo>
                  <a:lnTo>
                    <a:pt x="1" y="26"/>
                  </a:lnTo>
                  <a:lnTo>
                    <a:pt x="4" y="36"/>
                  </a:lnTo>
                  <a:lnTo>
                    <a:pt x="1" y="39"/>
                  </a:lnTo>
                  <a:lnTo>
                    <a:pt x="0" y="41"/>
                  </a:lnTo>
                  <a:lnTo>
                    <a:pt x="0" y="42"/>
                  </a:lnTo>
                  <a:lnTo>
                    <a:pt x="0" y="44"/>
                  </a:lnTo>
                  <a:lnTo>
                    <a:pt x="0" y="45"/>
                  </a:lnTo>
                  <a:lnTo>
                    <a:pt x="3" y="46"/>
                  </a:lnTo>
                  <a:lnTo>
                    <a:pt x="3" y="48"/>
                  </a:lnTo>
                  <a:lnTo>
                    <a:pt x="3" y="51"/>
                  </a:lnTo>
                  <a:lnTo>
                    <a:pt x="3" y="55"/>
                  </a:lnTo>
                  <a:lnTo>
                    <a:pt x="4" y="58"/>
                  </a:lnTo>
                  <a:lnTo>
                    <a:pt x="12" y="60"/>
                  </a:lnTo>
                  <a:lnTo>
                    <a:pt x="12" y="61"/>
                  </a:lnTo>
                  <a:lnTo>
                    <a:pt x="12" y="62"/>
                  </a:lnTo>
                  <a:lnTo>
                    <a:pt x="12" y="65"/>
                  </a:lnTo>
                  <a:lnTo>
                    <a:pt x="12" y="65"/>
                  </a:lnTo>
                  <a:lnTo>
                    <a:pt x="16" y="65"/>
                  </a:lnTo>
                  <a:lnTo>
                    <a:pt x="20" y="64"/>
                  </a:lnTo>
                  <a:lnTo>
                    <a:pt x="20" y="62"/>
                  </a:lnTo>
                  <a:lnTo>
                    <a:pt x="23" y="58"/>
                  </a:lnTo>
                  <a:lnTo>
                    <a:pt x="25" y="58"/>
                  </a:lnTo>
                  <a:lnTo>
                    <a:pt x="25" y="57"/>
                  </a:lnTo>
                  <a:lnTo>
                    <a:pt x="29" y="54"/>
                  </a:lnTo>
                  <a:lnTo>
                    <a:pt x="35" y="55"/>
                  </a:lnTo>
                  <a:lnTo>
                    <a:pt x="49" y="62"/>
                  </a:lnTo>
                  <a:lnTo>
                    <a:pt x="55" y="78"/>
                  </a:lnTo>
                  <a:lnTo>
                    <a:pt x="55" y="81"/>
                  </a:lnTo>
                  <a:lnTo>
                    <a:pt x="62" y="90"/>
                  </a:lnTo>
                  <a:lnTo>
                    <a:pt x="64" y="93"/>
                  </a:lnTo>
                  <a:lnTo>
                    <a:pt x="65" y="93"/>
                  </a:lnTo>
                  <a:lnTo>
                    <a:pt x="67" y="93"/>
                  </a:lnTo>
                  <a:lnTo>
                    <a:pt x="70" y="94"/>
                  </a:lnTo>
                  <a:lnTo>
                    <a:pt x="73" y="100"/>
                  </a:lnTo>
                  <a:lnTo>
                    <a:pt x="75" y="100"/>
                  </a:lnTo>
                  <a:lnTo>
                    <a:pt x="90" y="115"/>
                  </a:lnTo>
                  <a:lnTo>
                    <a:pt x="91" y="115"/>
                  </a:lnTo>
                  <a:lnTo>
                    <a:pt x="100" y="115"/>
                  </a:lnTo>
                  <a:lnTo>
                    <a:pt x="103" y="119"/>
                  </a:lnTo>
                  <a:lnTo>
                    <a:pt x="105" y="122"/>
                  </a:lnTo>
                  <a:lnTo>
                    <a:pt x="109" y="124"/>
                  </a:lnTo>
                  <a:lnTo>
                    <a:pt x="109" y="125"/>
                  </a:lnTo>
                  <a:lnTo>
                    <a:pt x="109" y="126"/>
                  </a:lnTo>
                  <a:lnTo>
                    <a:pt x="113" y="126"/>
                  </a:lnTo>
                  <a:lnTo>
                    <a:pt x="115" y="126"/>
                  </a:lnTo>
                  <a:lnTo>
                    <a:pt x="116" y="128"/>
                  </a:lnTo>
                  <a:lnTo>
                    <a:pt x="118" y="131"/>
                  </a:lnTo>
                  <a:lnTo>
                    <a:pt x="118" y="132"/>
                  </a:lnTo>
                  <a:lnTo>
                    <a:pt x="118" y="135"/>
                  </a:lnTo>
                  <a:lnTo>
                    <a:pt x="120" y="137"/>
                  </a:lnTo>
                  <a:lnTo>
                    <a:pt x="123" y="139"/>
                  </a:lnTo>
                  <a:lnTo>
                    <a:pt x="125" y="137"/>
                  </a:lnTo>
                  <a:lnTo>
                    <a:pt x="126" y="137"/>
                  </a:lnTo>
                  <a:lnTo>
                    <a:pt x="135" y="160"/>
                  </a:lnTo>
                  <a:lnTo>
                    <a:pt x="129" y="163"/>
                  </a:lnTo>
                  <a:lnTo>
                    <a:pt x="131" y="166"/>
                  </a:lnTo>
                  <a:lnTo>
                    <a:pt x="128" y="171"/>
                  </a:lnTo>
                  <a:lnTo>
                    <a:pt x="128" y="176"/>
                  </a:lnTo>
                  <a:lnTo>
                    <a:pt x="129" y="176"/>
                  </a:lnTo>
                  <a:lnTo>
                    <a:pt x="129" y="177"/>
                  </a:lnTo>
                  <a:lnTo>
                    <a:pt x="132" y="176"/>
                  </a:lnTo>
                  <a:lnTo>
                    <a:pt x="134" y="176"/>
                  </a:lnTo>
                  <a:lnTo>
                    <a:pt x="136" y="170"/>
                  </a:lnTo>
                  <a:lnTo>
                    <a:pt x="138" y="169"/>
                  </a:lnTo>
                  <a:lnTo>
                    <a:pt x="139" y="169"/>
                  </a:lnTo>
                  <a:lnTo>
                    <a:pt x="141" y="167"/>
                  </a:lnTo>
                  <a:lnTo>
                    <a:pt x="141" y="161"/>
                  </a:lnTo>
                  <a:lnTo>
                    <a:pt x="141" y="160"/>
                  </a:lnTo>
                  <a:lnTo>
                    <a:pt x="147" y="157"/>
                  </a:lnTo>
                  <a:lnTo>
                    <a:pt x="147" y="157"/>
                  </a:lnTo>
                  <a:lnTo>
                    <a:pt x="148" y="157"/>
                  </a:lnTo>
                  <a:lnTo>
                    <a:pt x="147" y="150"/>
                  </a:lnTo>
                  <a:lnTo>
                    <a:pt x="147" y="148"/>
                  </a:lnTo>
                  <a:lnTo>
                    <a:pt x="144" y="147"/>
                  </a:lnTo>
                  <a:lnTo>
                    <a:pt x="142" y="144"/>
                  </a:lnTo>
                  <a:lnTo>
                    <a:pt x="139" y="144"/>
                  </a:lnTo>
                  <a:lnTo>
                    <a:pt x="141" y="135"/>
                  </a:lnTo>
                  <a:lnTo>
                    <a:pt x="147" y="129"/>
                  </a:lnTo>
                  <a:lnTo>
                    <a:pt x="150" y="129"/>
                  </a:lnTo>
                  <a:lnTo>
                    <a:pt x="154" y="132"/>
                  </a:lnTo>
                  <a:lnTo>
                    <a:pt x="160" y="134"/>
                  </a:lnTo>
                  <a:lnTo>
                    <a:pt x="163" y="139"/>
                  </a:lnTo>
                  <a:lnTo>
                    <a:pt x="166" y="141"/>
                  </a:lnTo>
                  <a:lnTo>
                    <a:pt x="166" y="141"/>
                  </a:lnTo>
                  <a:lnTo>
                    <a:pt x="167" y="137"/>
                  </a:lnTo>
                  <a:lnTo>
                    <a:pt x="160" y="125"/>
                  </a:lnTo>
                  <a:lnTo>
                    <a:pt x="151" y="122"/>
                  </a:lnTo>
                  <a:lnTo>
                    <a:pt x="148" y="119"/>
                  </a:lnTo>
                  <a:lnTo>
                    <a:pt x="132" y="112"/>
                  </a:lnTo>
                  <a:lnTo>
                    <a:pt x="131" y="112"/>
                  </a:lnTo>
                  <a:lnTo>
                    <a:pt x="131" y="110"/>
                  </a:lnTo>
                  <a:lnTo>
                    <a:pt x="131" y="109"/>
                  </a:lnTo>
                  <a:lnTo>
                    <a:pt x="132" y="108"/>
                  </a:lnTo>
                  <a:lnTo>
                    <a:pt x="134" y="106"/>
                  </a:lnTo>
                  <a:lnTo>
                    <a:pt x="134" y="103"/>
                  </a:lnTo>
                  <a:lnTo>
                    <a:pt x="132" y="102"/>
                  </a:lnTo>
                  <a:lnTo>
                    <a:pt x="129" y="102"/>
                  </a:lnTo>
                  <a:lnTo>
                    <a:pt x="129" y="102"/>
                  </a:lnTo>
                  <a:lnTo>
                    <a:pt x="131" y="102"/>
                  </a:lnTo>
                  <a:lnTo>
                    <a:pt x="129" y="102"/>
                  </a:lnTo>
                  <a:lnTo>
                    <a:pt x="120" y="102"/>
                  </a:lnTo>
                  <a:lnTo>
                    <a:pt x="120" y="105"/>
                  </a:lnTo>
                  <a:lnTo>
                    <a:pt x="115" y="99"/>
                  </a:lnTo>
                  <a:lnTo>
                    <a:pt x="113" y="99"/>
                  </a:lnTo>
                  <a:lnTo>
                    <a:pt x="113" y="97"/>
                  </a:lnTo>
                  <a:lnTo>
                    <a:pt x="112" y="97"/>
                  </a:lnTo>
                  <a:lnTo>
                    <a:pt x="105" y="90"/>
                  </a:lnTo>
                  <a:lnTo>
                    <a:pt x="97" y="70"/>
                  </a:lnTo>
                  <a:lnTo>
                    <a:pt x="96" y="70"/>
                  </a:lnTo>
                  <a:lnTo>
                    <a:pt x="94" y="70"/>
                  </a:lnTo>
                  <a:lnTo>
                    <a:pt x="94" y="68"/>
                  </a:lnTo>
                  <a:lnTo>
                    <a:pt x="83" y="61"/>
                  </a:lnTo>
                  <a:lnTo>
                    <a:pt x="80" y="55"/>
                  </a:lnTo>
                  <a:lnTo>
                    <a:pt x="80" y="45"/>
                  </a:lnTo>
                  <a:lnTo>
                    <a:pt x="81" y="45"/>
                  </a:lnTo>
                  <a:lnTo>
                    <a:pt x="81" y="42"/>
                  </a:lnTo>
                  <a:lnTo>
                    <a:pt x="81" y="41"/>
                  </a:lnTo>
                  <a:lnTo>
                    <a:pt x="78" y="41"/>
                  </a:lnTo>
                  <a:lnTo>
                    <a:pt x="78" y="36"/>
                  </a:lnTo>
                  <a:lnTo>
                    <a:pt x="78" y="35"/>
                  </a:lnTo>
                  <a:lnTo>
                    <a:pt x="81" y="32"/>
                  </a:lnTo>
                  <a:lnTo>
                    <a:pt x="83" y="32"/>
                  </a:lnTo>
                  <a:lnTo>
                    <a:pt x="83" y="33"/>
                  </a:lnTo>
                  <a:lnTo>
                    <a:pt x="93" y="28"/>
                  </a:lnTo>
                  <a:lnTo>
                    <a:pt x="94" y="29"/>
                  </a:lnTo>
                  <a:lnTo>
                    <a:pt x="97" y="28"/>
                  </a:lnTo>
                  <a:lnTo>
                    <a:pt x="99" y="28"/>
                  </a:lnTo>
                  <a:lnTo>
                    <a:pt x="99" y="29"/>
                  </a:lnTo>
                  <a:lnTo>
                    <a:pt x="99" y="31"/>
                  </a:lnTo>
                  <a:lnTo>
                    <a:pt x="99" y="32"/>
                  </a:lnTo>
                  <a:lnTo>
                    <a:pt x="100" y="32"/>
                  </a:lnTo>
                  <a:lnTo>
                    <a:pt x="102" y="32"/>
                  </a:lnTo>
                  <a:lnTo>
                    <a:pt x="102" y="31"/>
                  </a:lnTo>
                  <a:lnTo>
                    <a:pt x="102" y="29"/>
                  </a:lnTo>
                  <a:lnTo>
                    <a:pt x="102" y="29"/>
                  </a:lnTo>
                  <a:lnTo>
                    <a:pt x="100" y="28"/>
                  </a:lnTo>
                  <a:lnTo>
                    <a:pt x="100" y="26"/>
                  </a:lnTo>
                  <a:lnTo>
                    <a:pt x="99" y="26"/>
                  </a:lnTo>
                  <a:lnTo>
                    <a:pt x="97" y="25"/>
                  </a:lnTo>
                  <a:lnTo>
                    <a:pt x="97" y="23"/>
                  </a:lnTo>
                  <a:lnTo>
                    <a:pt x="96" y="22"/>
                  </a:lnTo>
                  <a:lnTo>
                    <a:pt x="97" y="17"/>
                  </a:lnTo>
                  <a:lnTo>
                    <a:pt x="96" y="17"/>
                  </a:lnTo>
                  <a:lnTo>
                    <a:pt x="96" y="17"/>
                  </a:lnTo>
                  <a:lnTo>
                    <a:pt x="96" y="16"/>
                  </a:lnTo>
                  <a:lnTo>
                    <a:pt x="96" y="15"/>
                  </a:lnTo>
                  <a:lnTo>
                    <a:pt x="99" y="12"/>
                  </a:lnTo>
                  <a:lnTo>
                    <a:pt x="84" y="10"/>
                  </a:lnTo>
                  <a:lnTo>
                    <a:pt x="83" y="7"/>
                  </a:lnTo>
                  <a:lnTo>
                    <a:pt x="81" y="7"/>
                  </a:lnTo>
                  <a:lnTo>
                    <a:pt x="78" y="6"/>
                  </a:lnTo>
                  <a:lnTo>
                    <a:pt x="77" y="1"/>
                  </a:lnTo>
                  <a:lnTo>
                    <a:pt x="77" y="0"/>
                  </a:lnTo>
                  <a:lnTo>
                    <a:pt x="75" y="0"/>
                  </a:lnTo>
                  <a:lnTo>
                    <a:pt x="74" y="0"/>
                  </a:lnTo>
                  <a:lnTo>
                    <a:pt x="74" y="1"/>
                  </a:lnTo>
                  <a:lnTo>
                    <a:pt x="55" y="6"/>
                  </a:lnTo>
                  <a:lnTo>
                    <a:pt x="52" y="4"/>
                  </a:lnTo>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6" name="Freeform 243"/>
            <p:cNvSpPr>
              <a:spLocks/>
            </p:cNvSpPr>
            <p:nvPr/>
          </p:nvSpPr>
          <p:spPr bwMode="auto">
            <a:xfrm>
              <a:off x="6324374" y="2522139"/>
              <a:ext cx="50913" cy="58820"/>
            </a:xfrm>
            <a:custGeom>
              <a:avLst/>
              <a:gdLst/>
              <a:ahLst/>
              <a:cxnLst>
                <a:cxn ang="0">
                  <a:pos x="38" y="54"/>
                </a:cxn>
                <a:cxn ang="0">
                  <a:pos x="33" y="51"/>
                </a:cxn>
                <a:cxn ang="0">
                  <a:pos x="30" y="48"/>
                </a:cxn>
                <a:cxn ang="0">
                  <a:pos x="26" y="46"/>
                </a:cxn>
                <a:cxn ang="0">
                  <a:pos x="22" y="36"/>
                </a:cxn>
                <a:cxn ang="0">
                  <a:pos x="14" y="30"/>
                </a:cxn>
                <a:cxn ang="0">
                  <a:pos x="8" y="25"/>
                </a:cxn>
                <a:cxn ang="0">
                  <a:pos x="6" y="19"/>
                </a:cxn>
                <a:cxn ang="0">
                  <a:pos x="6" y="16"/>
                </a:cxn>
                <a:cxn ang="0">
                  <a:pos x="3" y="11"/>
                </a:cxn>
                <a:cxn ang="0">
                  <a:pos x="1" y="7"/>
                </a:cxn>
                <a:cxn ang="0">
                  <a:pos x="3" y="0"/>
                </a:cxn>
                <a:cxn ang="0">
                  <a:pos x="8" y="6"/>
                </a:cxn>
                <a:cxn ang="0">
                  <a:pos x="16" y="1"/>
                </a:cxn>
                <a:cxn ang="0">
                  <a:pos x="20" y="3"/>
                </a:cxn>
                <a:cxn ang="0">
                  <a:pos x="23" y="3"/>
                </a:cxn>
                <a:cxn ang="0">
                  <a:pos x="29" y="3"/>
                </a:cxn>
                <a:cxn ang="0">
                  <a:pos x="33" y="3"/>
                </a:cxn>
                <a:cxn ang="0">
                  <a:pos x="35" y="4"/>
                </a:cxn>
                <a:cxn ang="0">
                  <a:pos x="40" y="6"/>
                </a:cxn>
                <a:cxn ang="0">
                  <a:pos x="42" y="4"/>
                </a:cxn>
                <a:cxn ang="0">
                  <a:pos x="43" y="7"/>
                </a:cxn>
                <a:cxn ang="0">
                  <a:pos x="49" y="7"/>
                </a:cxn>
                <a:cxn ang="0">
                  <a:pos x="52" y="10"/>
                </a:cxn>
                <a:cxn ang="0">
                  <a:pos x="49" y="16"/>
                </a:cxn>
                <a:cxn ang="0">
                  <a:pos x="48" y="19"/>
                </a:cxn>
                <a:cxn ang="0">
                  <a:pos x="51" y="20"/>
                </a:cxn>
                <a:cxn ang="0">
                  <a:pos x="53" y="23"/>
                </a:cxn>
                <a:cxn ang="0">
                  <a:pos x="53" y="23"/>
                </a:cxn>
                <a:cxn ang="0">
                  <a:pos x="56" y="26"/>
                </a:cxn>
                <a:cxn ang="0">
                  <a:pos x="52" y="26"/>
                </a:cxn>
                <a:cxn ang="0">
                  <a:pos x="53" y="30"/>
                </a:cxn>
                <a:cxn ang="0">
                  <a:pos x="53" y="35"/>
                </a:cxn>
                <a:cxn ang="0">
                  <a:pos x="51" y="35"/>
                </a:cxn>
                <a:cxn ang="0">
                  <a:pos x="49" y="36"/>
                </a:cxn>
                <a:cxn ang="0">
                  <a:pos x="46" y="35"/>
                </a:cxn>
                <a:cxn ang="0">
                  <a:pos x="48" y="38"/>
                </a:cxn>
                <a:cxn ang="0">
                  <a:pos x="48" y="41"/>
                </a:cxn>
                <a:cxn ang="0">
                  <a:pos x="46" y="41"/>
                </a:cxn>
                <a:cxn ang="0">
                  <a:pos x="45" y="39"/>
                </a:cxn>
                <a:cxn ang="0">
                  <a:pos x="42" y="42"/>
                </a:cxn>
                <a:cxn ang="0">
                  <a:pos x="40" y="45"/>
                </a:cxn>
                <a:cxn ang="0">
                  <a:pos x="39" y="48"/>
                </a:cxn>
                <a:cxn ang="0">
                  <a:pos x="40" y="51"/>
                </a:cxn>
                <a:cxn ang="0">
                  <a:pos x="39" y="57"/>
                </a:cxn>
              </a:cxnLst>
              <a:rect l="0" t="0" r="r" b="b"/>
              <a:pathLst>
                <a:path w="56" h="57">
                  <a:moveTo>
                    <a:pt x="39" y="57"/>
                  </a:moveTo>
                  <a:lnTo>
                    <a:pt x="39" y="55"/>
                  </a:lnTo>
                  <a:lnTo>
                    <a:pt x="38" y="54"/>
                  </a:lnTo>
                  <a:lnTo>
                    <a:pt x="38" y="54"/>
                  </a:lnTo>
                  <a:lnTo>
                    <a:pt x="36" y="52"/>
                  </a:lnTo>
                  <a:lnTo>
                    <a:pt x="33" y="51"/>
                  </a:lnTo>
                  <a:lnTo>
                    <a:pt x="32" y="51"/>
                  </a:lnTo>
                  <a:lnTo>
                    <a:pt x="30" y="48"/>
                  </a:lnTo>
                  <a:lnTo>
                    <a:pt x="30" y="48"/>
                  </a:lnTo>
                  <a:lnTo>
                    <a:pt x="27" y="46"/>
                  </a:lnTo>
                  <a:lnTo>
                    <a:pt x="26" y="48"/>
                  </a:lnTo>
                  <a:lnTo>
                    <a:pt x="26" y="46"/>
                  </a:lnTo>
                  <a:lnTo>
                    <a:pt x="27" y="46"/>
                  </a:lnTo>
                  <a:lnTo>
                    <a:pt x="22" y="39"/>
                  </a:lnTo>
                  <a:lnTo>
                    <a:pt x="22" y="36"/>
                  </a:lnTo>
                  <a:lnTo>
                    <a:pt x="20" y="36"/>
                  </a:lnTo>
                  <a:lnTo>
                    <a:pt x="19" y="35"/>
                  </a:lnTo>
                  <a:lnTo>
                    <a:pt x="14" y="30"/>
                  </a:lnTo>
                  <a:lnTo>
                    <a:pt x="13" y="29"/>
                  </a:lnTo>
                  <a:lnTo>
                    <a:pt x="11" y="25"/>
                  </a:lnTo>
                  <a:lnTo>
                    <a:pt x="8" y="25"/>
                  </a:lnTo>
                  <a:lnTo>
                    <a:pt x="7" y="22"/>
                  </a:lnTo>
                  <a:lnTo>
                    <a:pt x="6" y="22"/>
                  </a:lnTo>
                  <a:lnTo>
                    <a:pt x="6" y="19"/>
                  </a:lnTo>
                  <a:lnTo>
                    <a:pt x="7" y="19"/>
                  </a:lnTo>
                  <a:lnTo>
                    <a:pt x="6" y="17"/>
                  </a:lnTo>
                  <a:lnTo>
                    <a:pt x="6" y="16"/>
                  </a:lnTo>
                  <a:lnTo>
                    <a:pt x="4" y="14"/>
                  </a:lnTo>
                  <a:lnTo>
                    <a:pt x="3" y="11"/>
                  </a:lnTo>
                  <a:lnTo>
                    <a:pt x="3" y="11"/>
                  </a:lnTo>
                  <a:lnTo>
                    <a:pt x="0" y="9"/>
                  </a:lnTo>
                  <a:lnTo>
                    <a:pt x="0" y="9"/>
                  </a:lnTo>
                  <a:lnTo>
                    <a:pt x="1" y="7"/>
                  </a:lnTo>
                  <a:lnTo>
                    <a:pt x="1" y="7"/>
                  </a:lnTo>
                  <a:lnTo>
                    <a:pt x="1" y="1"/>
                  </a:lnTo>
                  <a:lnTo>
                    <a:pt x="3" y="0"/>
                  </a:lnTo>
                  <a:lnTo>
                    <a:pt x="4" y="1"/>
                  </a:lnTo>
                  <a:lnTo>
                    <a:pt x="4" y="1"/>
                  </a:lnTo>
                  <a:lnTo>
                    <a:pt x="8" y="6"/>
                  </a:lnTo>
                  <a:lnTo>
                    <a:pt x="8" y="6"/>
                  </a:lnTo>
                  <a:lnTo>
                    <a:pt x="11" y="1"/>
                  </a:lnTo>
                  <a:lnTo>
                    <a:pt x="16" y="1"/>
                  </a:lnTo>
                  <a:lnTo>
                    <a:pt x="17" y="0"/>
                  </a:lnTo>
                  <a:lnTo>
                    <a:pt x="17" y="0"/>
                  </a:lnTo>
                  <a:lnTo>
                    <a:pt x="20" y="3"/>
                  </a:lnTo>
                  <a:lnTo>
                    <a:pt x="22" y="3"/>
                  </a:lnTo>
                  <a:lnTo>
                    <a:pt x="22" y="1"/>
                  </a:lnTo>
                  <a:lnTo>
                    <a:pt x="23" y="3"/>
                  </a:lnTo>
                  <a:lnTo>
                    <a:pt x="27" y="3"/>
                  </a:lnTo>
                  <a:lnTo>
                    <a:pt x="27" y="3"/>
                  </a:lnTo>
                  <a:lnTo>
                    <a:pt x="29" y="3"/>
                  </a:lnTo>
                  <a:lnTo>
                    <a:pt x="30" y="4"/>
                  </a:lnTo>
                  <a:lnTo>
                    <a:pt x="30" y="4"/>
                  </a:lnTo>
                  <a:lnTo>
                    <a:pt x="33" y="3"/>
                  </a:lnTo>
                  <a:lnTo>
                    <a:pt x="33" y="3"/>
                  </a:lnTo>
                  <a:lnTo>
                    <a:pt x="35" y="4"/>
                  </a:lnTo>
                  <a:lnTo>
                    <a:pt x="35" y="4"/>
                  </a:lnTo>
                  <a:lnTo>
                    <a:pt x="36" y="3"/>
                  </a:lnTo>
                  <a:lnTo>
                    <a:pt x="39" y="4"/>
                  </a:lnTo>
                  <a:lnTo>
                    <a:pt x="40" y="6"/>
                  </a:lnTo>
                  <a:lnTo>
                    <a:pt x="40" y="4"/>
                  </a:lnTo>
                  <a:lnTo>
                    <a:pt x="40" y="4"/>
                  </a:lnTo>
                  <a:lnTo>
                    <a:pt x="42" y="4"/>
                  </a:lnTo>
                  <a:lnTo>
                    <a:pt x="43" y="6"/>
                  </a:lnTo>
                  <a:lnTo>
                    <a:pt x="43" y="7"/>
                  </a:lnTo>
                  <a:lnTo>
                    <a:pt x="43" y="7"/>
                  </a:lnTo>
                  <a:lnTo>
                    <a:pt x="45" y="9"/>
                  </a:lnTo>
                  <a:lnTo>
                    <a:pt x="48" y="9"/>
                  </a:lnTo>
                  <a:lnTo>
                    <a:pt x="49" y="7"/>
                  </a:lnTo>
                  <a:lnTo>
                    <a:pt x="52" y="7"/>
                  </a:lnTo>
                  <a:lnTo>
                    <a:pt x="52" y="9"/>
                  </a:lnTo>
                  <a:lnTo>
                    <a:pt x="52" y="10"/>
                  </a:lnTo>
                  <a:lnTo>
                    <a:pt x="52" y="10"/>
                  </a:lnTo>
                  <a:lnTo>
                    <a:pt x="49" y="16"/>
                  </a:lnTo>
                  <a:lnTo>
                    <a:pt x="49" y="16"/>
                  </a:lnTo>
                  <a:lnTo>
                    <a:pt x="49" y="16"/>
                  </a:lnTo>
                  <a:lnTo>
                    <a:pt x="49" y="17"/>
                  </a:lnTo>
                  <a:lnTo>
                    <a:pt x="48" y="19"/>
                  </a:lnTo>
                  <a:lnTo>
                    <a:pt x="49" y="20"/>
                  </a:lnTo>
                  <a:lnTo>
                    <a:pt x="49" y="20"/>
                  </a:lnTo>
                  <a:lnTo>
                    <a:pt x="51" y="20"/>
                  </a:lnTo>
                  <a:lnTo>
                    <a:pt x="51" y="20"/>
                  </a:lnTo>
                  <a:lnTo>
                    <a:pt x="52" y="22"/>
                  </a:lnTo>
                  <a:lnTo>
                    <a:pt x="53" y="23"/>
                  </a:lnTo>
                  <a:lnTo>
                    <a:pt x="53" y="23"/>
                  </a:lnTo>
                  <a:lnTo>
                    <a:pt x="53" y="23"/>
                  </a:lnTo>
                  <a:lnTo>
                    <a:pt x="53" y="23"/>
                  </a:lnTo>
                  <a:lnTo>
                    <a:pt x="55" y="25"/>
                  </a:lnTo>
                  <a:lnTo>
                    <a:pt x="56" y="25"/>
                  </a:lnTo>
                  <a:lnTo>
                    <a:pt x="56" y="26"/>
                  </a:lnTo>
                  <a:lnTo>
                    <a:pt x="55" y="26"/>
                  </a:lnTo>
                  <a:lnTo>
                    <a:pt x="52" y="26"/>
                  </a:lnTo>
                  <a:lnTo>
                    <a:pt x="52" y="26"/>
                  </a:lnTo>
                  <a:lnTo>
                    <a:pt x="51" y="26"/>
                  </a:lnTo>
                  <a:lnTo>
                    <a:pt x="51" y="26"/>
                  </a:lnTo>
                  <a:lnTo>
                    <a:pt x="53" y="30"/>
                  </a:lnTo>
                  <a:lnTo>
                    <a:pt x="55" y="30"/>
                  </a:lnTo>
                  <a:lnTo>
                    <a:pt x="53" y="33"/>
                  </a:lnTo>
                  <a:lnTo>
                    <a:pt x="53" y="35"/>
                  </a:lnTo>
                  <a:lnTo>
                    <a:pt x="52" y="33"/>
                  </a:lnTo>
                  <a:lnTo>
                    <a:pt x="52" y="33"/>
                  </a:lnTo>
                  <a:lnTo>
                    <a:pt x="51" y="35"/>
                  </a:lnTo>
                  <a:lnTo>
                    <a:pt x="51" y="35"/>
                  </a:lnTo>
                  <a:lnTo>
                    <a:pt x="49" y="35"/>
                  </a:lnTo>
                  <a:lnTo>
                    <a:pt x="49" y="36"/>
                  </a:lnTo>
                  <a:lnTo>
                    <a:pt x="48" y="36"/>
                  </a:lnTo>
                  <a:lnTo>
                    <a:pt x="48" y="35"/>
                  </a:lnTo>
                  <a:lnTo>
                    <a:pt x="46" y="35"/>
                  </a:lnTo>
                  <a:lnTo>
                    <a:pt x="46" y="36"/>
                  </a:lnTo>
                  <a:lnTo>
                    <a:pt x="46" y="36"/>
                  </a:lnTo>
                  <a:lnTo>
                    <a:pt x="48" y="38"/>
                  </a:lnTo>
                  <a:lnTo>
                    <a:pt x="48" y="38"/>
                  </a:lnTo>
                  <a:lnTo>
                    <a:pt x="48" y="39"/>
                  </a:lnTo>
                  <a:lnTo>
                    <a:pt x="48" y="41"/>
                  </a:lnTo>
                  <a:lnTo>
                    <a:pt x="48" y="41"/>
                  </a:lnTo>
                  <a:lnTo>
                    <a:pt x="48" y="41"/>
                  </a:lnTo>
                  <a:lnTo>
                    <a:pt x="46" y="41"/>
                  </a:lnTo>
                  <a:lnTo>
                    <a:pt x="46" y="39"/>
                  </a:lnTo>
                  <a:lnTo>
                    <a:pt x="46" y="39"/>
                  </a:lnTo>
                  <a:lnTo>
                    <a:pt x="45" y="39"/>
                  </a:lnTo>
                  <a:lnTo>
                    <a:pt x="42" y="41"/>
                  </a:lnTo>
                  <a:lnTo>
                    <a:pt x="42" y="42"/>
                  </a:lnTo>
                  <a:lnTo>
                    <a:pt x="42" y="42"/>
                  </a:lnTo>
                  <a:lnTo>
                    <a:pt x="42" y="45"/>
                  </a:lnTo>
                  <a:lnTo>
                    <a:pt x="40" y="45"/>
                  </a:lnTo>
                  <a:lnTo>
                    <a:pt x="40" y="45"/>
                  </a:lnTo>
                  <a:lnTo>
                    <a:pt x="39" y="46"/>
                  </a:lnTo>
                  <a:lnTo>
                    <a:pt x="39" y="48"/>
                  </a:lnTo>
                  <a:lnTo>
                    <a:pt x="39" y="48"/>
                  </a:lnTo>
                  <a:lnTo>
                    <a:pt x="39" y="49"/>
                  </a:lnTo>
                  <a:lnTo>
                    <a:pt x="39" y="51"/>
                  </a:lnTo>
                  <a:lnTo>
                    <a:pt x="40" y="51"/>
                  </a:lnTo>
                  <a:lnTo>
                    <a:pt x="40" y="52"/>
                  </a:lnTo>
                  <a:lnTo>
                    <a:pt x="39" y="55"/>
                  </a:lnTo>
                  <a:lnTo>
                    <a:pt x="39" y="5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7" name="Freeform 244"/>
            <p:cNvSpPr>
              <a:spLocks/>
            </p:cNvSpPr>
            <p:nvPr/>
          </p:nvSpPr>
          <p:spPr bwMode="auto">
            <a:xfrm>
              <a:off x="6324374" y="2522139"/>
              <a:ext cx="50913" cy="58820"/>
            </a:xfrm>
            <a:custGeom>
              <a:avLst/>
              <a:gdLst/>
              <a:ahLst/>
              <a:cxnLst>
                <a:cxn ang="0">
                  <a:pos x="38" y="54"/>
                </a:cxn>
                <a:cxn ang="0">
                  <a:pos x="33" y="51"/>
                </a:cxn>
                <a:cxn ang="0">
                  <a:pos x="30" y="48"/>
                </a:cxn>
                <a:cxn ang="0">
                  <a:pos x="26" y="46"/>
                </a:cxn>
                <a:cxn ang="0">
                  <a:pos x="22" y="36"/>
                </a:cxn>
                <a:cxn ang="0">
                  <a:pos x="14" y="30"/>
                </a:cxn>
                <a:cxn ang="0">
                  <a:pos x="8" y="25"/>
                </a:cxn>
                <a:cxn ang="0">
                  <a:pos x="6" y="19"/>
                </a:cxn>
                <a:cxn ang="0">
                  <a:pos x="6" y="16"/>
                </a:cxn>
                <a:cxn ang="0">
                  <a:pos x="3" y="11"/>
                </a:cxn>
                <a:cxn ang="0">
                  <a:pos x="1" y="7"/>
                </a:cxn>
                <a:cxn ang="0">
                  <a:pos x="3" y="0"/>
                </a:cxn>
                <a:cxn ang="0">
                  <a:pos x="8" y="6"/>
                </a:cxn>
                <a:cxn ang="0">
                  <a:pos x="16" y="1"/>
                </a:cxn>
                <a:cxn ang="0">
                  <a:pos x="20" y="3"/>
                </a:cxn>
                <a:cxn ang="0">
                  <a:pos x="23" y="3"/>
                </a:cxn>
                <a:cxn ang="0">
                  <a:pos x="29" y="3"/>
                </a:cxn>
                <a:cxn ang="0">
                  <a:pos x="33" y="3"/>
                </a:cxn>
                <a:cxn ang="0">
                  <a:pos x="35" y="4"/>
                </a:cxn>
                <a:cxn ang="0">
                  <a:pos x="40" y="6"/>
                </a:cxn>
                <a:cxn ang="0">
                  <a:pos x="42" y="4"/>
                </a:cxn>
                <a:cxn ang="0">
                  <a:pos x="43" y="7"/>
                </a:cxn>
                <a:cxn ang="0">
                  <a:pos x="49" y="7"/>
                </a:cxn>
                <a:cxn ang="0">
                  <a:pos x="52" y="10"/>
                </a:cxn>
                <a:cxn ang="0">
                  <a:pos x="49" y="16"/>
                </a:cxn>
                <a:cxn ang="0">
                  <a:pos x="48" y="19"/>
                </a:cxn>
                <a:cxn ang="0">
                  <a:pos x="51" y="20"/>
                </a:cxn>
                <a:cxn ang="0">
                  <a:pos x="53" y="23"/>
                </a:cxn>
                <a:cxn ang="0">
                  <a:pos x="53" y="23"/>
                </a:cxn>
                <a:cxn ang="0">
                  <a:pos x="56" y="26"/>
                </a:cxn>
                <a:cxn ang="0">
                  <a:pos x="52" y="26"/>
                </a:cxn>
                <a:cxn ang="0">
                  <a:pos x="53" y="30"/>
                </a:cxn>
                <a:cxn ang="0">
                  <a:pos x="53" y="35"/>
                </a:cxn>
                <a:cxn ang="0">
                  <a:pos x="51" y="35"/>
                </a:cxn>
                <a:cxn ang="0">
                  <a:pos x="49" y="36"/>
                </a:cxn>
                <a:cxn ang="0">
                  <a:pos x="46" y="35"/>
                </a:cxn>
                <a:cxn ang="0">
                  <a:pos x="48" y="38"/>
                </a:cxn>
                <a:cxn ang="0">
                  <a:pos x="48" y="41"/>
                </a:cxn>
                <a:cxn ang="0">
                  <a:pos x="46" y="41"/>
                </a:cxn>
                <a:cxn ang="0">
                  <a:pos x="45" y="39"/>
                </a:cxn>
                <a:cxn ang="0">
                  <a:pos x="42" y="42"/>
                </a:cxn>
                <a:cxn ang="0">
                  <a:pos x="40" y="45"/>
                </a:cxn>
                <a:cxn ang="0">
                  <a:pos x="39" y="48"/>
                </a:cxn>
                <a:cxn ang="0">
                  <a:pos x="40" y="51"/>
                </a:cxn>
                <a:cxn ang="0">
                  <a:pos x="39" y="57"/>
                </a:cxn>
              </a:cxnLst>
              <a:rect l="0" t="0" r="r" b="b"/>
              <a:pathLst>
                <a:path w="56" h="57">
                  <a:moveTo>
                    <a:pt x="39" y="57"/>
                  </a:moveTo>
                  <a:lnTo>
                    <a:pt x="39" y="55"/>
                  </a:lnTo>
                  <a:lnTo>
                    <a:pt x="38" y="54"/>
                  </a:lnTo>
                  <a:lnTo>
                    <a:pt x="38" y="54"/>
                  </a:lnTo>
                  <a:lnTo>
                    <a:pt x="36" y="52"/>
                  </a:lnTo>
                  <a:lnTo>
                    <a:pt x="33" y="51"/>
                  </a:lnTo>
                  <a:lnTo>
                    <a:pt x="32" y="51"/>
                  </a:lnTo>
                  <a:lnTo>
                    <a:pt x="30" y="48"/>
                  </a:lnTo>
                  <a:lnTo>
                    <a:pt x="30" y="48"/>
                  </a:lnTo>
                  <a:lnTo>
                    <a:pt x="27" y="46"/>
                  </a:lnTo>
                  <a:lnTo>
                    <a:pt x="26" y="48"/>
                  </a:lnTo>
                  <a:lnTo>
                    <a:pt x="26" y="46"/>
                  </a:lnTo>
                  <a:lnTo>
                    <a:pt x="27" y="46"/>
                  </a:lnTo>
                  <a:lnTo>
                    <a:pt x="22" y="39"/>
                  </a:lnTo>
                  <a:lnTo>
                    <a:pt x="22" y="36"/>
                  </a:lnTo>
                  <a:lnTo>
                    <a:pt x="20" y="36"/>
                  </a:lnTo>
                  <a:lnTo>
                    <a:pt x="19" y="35"/>
                  </a:lnTo>
                  <a:lnTo>
                    <a:pt x="14" y="30"/>
                  </a:lnTo>
                  <a:lnTo>
                    <a:pt x="13" y="29"/>
                  </a:lnTo>
                  <a:lnTo>
                    <a:pt x="11" y="25"/>
                  </a:lnTo>
                  <a:lnTo>
                    <a:pt x="8" y="25"/>
                  </a:lnTo>
                  <a:lnTo>
                    <a:pt x="7" y="22"/>
                  </a:lnTo>
                  <a:lnTo>
                    <a:pt x="6" y="22"/>
                  </a:lnTo>
                  <a:lnTo>
                    <a:pt x="6" y="19"/>
                  </a:lnTo>
                  <a:lnTo>
                    <a:pt x="7" y="19"/>
                  </a:lnTo>
                  <a:lnTo>
                    <a:pt x="6" y="17"/>
                  </a:lnTo>
                  <a:lnTo>
                    <a:pt x="6" y="16"/>
                  </a:lnTo>
                  <a:lnTo>
                    <a:pt x="4" y="14"/>
                  </a:lnTo>
                  <a:lnTo>
                    <a:pt x="3" y="11"/>
                  </a:lnTo>
                  <a:lnTo>
                    <a:pt x="3" y="11"/>
                  </a:lnTo>
                  <a:lnTo>
                    <a:pt x="0" y="9"/>
                  </a:lnTo>
                  <a:lnTo>
                    <a:pt x="0" y="9"/>
                  </a:lnTo>
                  <a:lnTo>
                    <a:pt x="1" y="7"/>
                  </a:lnTo>
                  <a:lnTo>
                    <a:pt x="1" y="7"/>
                  </a:lnTo>
                  <a:lnTo>
                    <a:pt x="1" y="1"/>
                  </a:lnTo>
                  <a:lnTo>
                    <a:pt x="3" y="0"/>
                  </a:lnTo>
                  <a:lnTo>
                    <a:pt x="4" y="1"/>
                  </a:lnTo>
                  <a:lnTo>
                    <a:pt x="4" y="1"/>
                  </a:lnTo>
                  <a:lnTo>
                    <a:pt x="8" y="6"/>
                  </a:lnTo>
                  <a:lnTo>
                    <a:pt x="8" y="6"/>
                  </a:lnTo>
                  <a:lnTo>
                    <a:pt x="11" y="1"/>
                  </a:lnTo>
                  <a:lnTo>
                    <a:pt x="16" y="1"/>
                  </a:lnTo>
                  <a:lnTo>
                    <a:pt x="17" y="0"/>
                  </a:lnTo>
                  <a:lnTo>
                    <a:pt x="17" y="0"/>
                  </a:lnTo>
                  <a:lnTo>
                    <a:pt x="20" y="3"/>
                  </a:lnTo>
                  <a:lnTo>
                    <a:pt x="22" y="3"/>
                  </a:lnTo>
                  <a:lnTo>
                    <a:pt x="22" y="1"/>
                  </a:lnTo>
                  <a:lnTo>
                    <a:pt x="23" y="3"/>
                  </a:lnTo>
                  <a:lnTo>
                    <a:pt x="27" y="3"/>
                  </a:lnTo>
                  <a:lnTo>
                    <a:pt x="27" y="3"/>
                  </a:lnTo>
                  <a:lnTo>
                    <a:pt x="29" y="3"/>
                  </a:lnTo>
                  <a:lnTo>
                    <a:pt x="30" y="4"/>
                  </a:lnTo>
                  <a:lnTo>
                    <a:pt x="30" y="4"/>
                  </a:lnTo>
                  <a:lnTo>
                    <a:pt x="33" y="3"/>
                  </a:lnTo>
                  <a:lnTo>
                    <a:pt x="33" y="3"/>
                  </a:lnTo>
                  <a:lnTo>
                    <a:pt x="35" y="4"/>
                  </a:lnTo>
                  <a:lnTo>
                    <a:pt x="35" y="4"/>
                  </a:lnTo>
                  <a:lnTo>
                    <a:pt x="36" y="3"/>
                  </a:lnTo>
                  <a:lnTo>
                    <a:pt x="39" y="4"/>
                  </a:lnTo>
                  <a:lnTo>
                    <a:pt x="40" y="6"/>
                  </a:lnTo>
                  <a:lnTo>
                    <a:pt x="40" y="4"/>
                  </a:lnTo>
                  <a:lnTo>
                    <a:pt x="40" y="4"/>
                  </a:lnTo>
                  <a:lnTo>
                    <a:pt x="42" y="4"/>
                  </a:lnTo>
                  <a:lnTo>
                    <a:pt x="43" y="6"/>
                  </a:lnTo>
                  <a:lnTo>
                    <a:pt x="43" y="7"/>
                  </a:lnTo>
                  <a:lnTo>
                    <a:pt x="43" y="7"/>
                  </a:lnTo>
                  <a:lnTo>
                    <a:pt x="45" y="9"/>
                  </a:lnTo>
                  <a:lnTo>
                    <a:pt x="48" y="9"/>
                  </a:lnTo>
                  <a:lnTo>
                    <a:pt x="49" y="7"/>
                  </a:lnTo>
                  <a:lnTo>
                    <a:pt x="52" y="7"/>
                  </a:lnTo>
                  <a:lnTo>
                    <a:pt x="52" y="9"/>
                  </a:lnTo>
                  <a:lnTo>
                    <a:pt x="52" y="10"/>
                  </a:lnTo>
                  <a:lnTo>
                    <a:pt x="52" y="10"/>
                  </a:lnTo>
                  <a:lnTo>
                    <a:pt x="49" y="16"/>
                  </a:lnTo>
                  <a:lnTo>
                    <a:pt x="49" y="16"/>
                  </a:lnTo>
                  <a:lnTo>
                    <a:pt x="49" y="16"/>
                  </a:lnTo>
                  <a:lnTo>
                    <a:pt x="49" y="17"/>
                  </a:lnTo>
                  <a:lnTo>
                    <a:pt x="48" y="19"/>
                  </a:lnTo>
                  <a:lnTo>
                    <a:pt x="49" y="20"/>
                  </a:lnTo>
                  <a:lnTo>
                    <a:pt x="49" y="20"/>
                  </a:lnTo>
                  <a:lnTo>
                    <a:pt x="51" y="20"/>
                  </a:lnTo>
                  <a:lnTo>
                    <a:pt x="51" y="20"/>
                  </a:lnTo>
                  <a:lnTo>
                    <a:pt x="52" y="22"/>
                  </a:lnTo>
                  <a:lnTo>
                    <a:pt x="53" y="23"/>
                  </a:lnTo>
                  <a:lnTo>
                    <a:pt x="53" y="23"/>
                  </a:lnTo>
                  <a:lnTo>
                    <a:pt x="53" y="23"/>
                  </a:lnTo>
                  <a:lnTo>
                    <a:pt x="53" y="23"/>
                  </a:lnTo>
                  <a:lnTo>
                    <a:pt x="55" y="25"/>
                  </a:lnTo>
                  <a:lnTo>
                    <a:pt x="56" y="25"/>
                  </a:lnTo>
                  <a:lnTo>
                    <a:pt x="56" y="26"/>
                  </a:lnTo>
                  <a:lnTo>
                    <a:pt x="55" y="26"/>
                  </a:lnTo>
                  <a:lnTo>
                    <a:pt x="52" y="26"/>
                  </a:lnTo>
                  <a:lnTo>
                    <a:pt x="52" y="26"/>
                  </a:lnTo>
                  <a:lnTo>
                    <a:pt x="51" y="26"/>
                  </a:lnTo>
                  <a:lnTo>
                    <a:pt x="51" y="26"/>
                  </a:lnTo>
                  <a:lnTo>
                    <a:pt x="53" y="30"/>
                  </a:lnTo>
                  <a:lnTo>
                    <a:pt x="55" y="30"/>
                  </a:lnTo>
                  <a:lnTo>
                    <a:pt x="53" y="33"/>
                  </a:lnTo>
                  <a:lnTo>
                    <a:pt x="53" y="35"/>
                  </a:lnTo>
                  <a:lnTo>
                    <a:pt x="52" y="33"/>
                  </a:lnTo>
                  <a:lnTo>
                    <a:pt x="52" y="33"/>
                  </a:lnTo>
                  <a:lnTo>
                    <a:pt x="51" y="35"/>
                  </a:lnTo>
                  <a:lnTo>
                    <a:pt x="51" y="35"/>
                  </a:lnTo>
                  <a:lnTo>
                    <a:pt x="49" y="35"/>
                  </a:lnTo>
                  <a:lnTo>
                    <a:pt x="49" y="36"/>
                  </a:lnTo>
                  <a:lnTo>
                    <a:pt x="48" y="36"/>
                  </a:lnTo>
                  <a:lnTo>
                    <a:pt x="48" y="35"/>
                  </a:lnTo>
                  <a:lnTo>
                    <a:pt x="46" y="35"/>
                  </a:lnTo>
                  <a:lnTo>
                    <a:pt x="46" y="36"/>
                  </a:lnTo>
                  <a:lnTo>
                    <a:pt x="46" y="36"/>
                  </a:lnTo>
                  <a:lnTo>
                    <a:pt x="48" y="38"/>
                  </a:lnTo>
                  <a:lnTo>
                    <a:pt x="48" y="38"/>
                  </a:lnTo>
                  <a:lnTo>
                    <a:pt x="48" y="39"/>
                  </a:lnTo>
                  <a:lnTo>
                    <a:pt x="48" y="41"/>
                  </a:lnTo>
                  <a:lnTo>
                    <a:pt x="48" y="41"/>
                  </a:lnTo>
                  <a:lnTo>
                    <a:pt x="48" y="41"/>
                  </a:lnTo>
                  <a:lnTo>
                    <a:pt x="46" y="41"/>
                  </a:lnTo>
                  <a:lnTo>
                    <a:pt x="46" y="39"/>
                  </a:lnTo>
                  <a:lnTo>
                    <a:pt x="46" y="39"/>
                  </a:lnTo>
                  <a:lnTo>
                    <a:pt x="45" y="39"/>
                  </a:lnTo>
                  <a:lnTo>
                    <a:pt x="42" y="41"/>
                  </a:lnTo>
                  <a:lnTo>
                    <a:pt x="42" y="42"/>
                  </a:lnTo>
                  <a:lnTo>
                    <a:pt x="42" y="42"/>
                  </a:lnTo>
                  <a:lnTo>
                    <a:pt x="42" y="45"/>
                  </a:lnTo>
                  <a:lnTo>
                    <a:pt x="40" y="45"/>
                  </a:lnTo>
                  <a:lnTo>
                    <a:pt x="40" y="45"/>
                  </a:lnTo>
                  <a:lnTo>
                    <a:pt x="39" y="46"/>
                  </a:lnTo>
                  <a:lnTo>
                    <a:pt x="39" y="48"/>
                  </a:lnTo>
                  <a:lnTo>
                    <a:pt x="39" y="48"/>
                  </a:lnTo>
                  <a:lnTo>
                    <a:pt x="39" y="49"/>
                  </a:lnTo>
                  <a:lnTo>
                    <a:pt x="39" y="51"/>
                  </a:lnTo>
                  <a:lnTo>
                    <a:pt x="40" y="51"/>
                  </a:lnTo>
                  <a:lnTo>
                    <a:pt x="40" y="52"/>
                  </a:lnTo>
                  <a:lnTo>
                    <a:pt x="39" y="55"/>
                  </a:lnTo>
                  <a:lnTo>
                    <a:pt x="39" y="5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8" name="Freeform 245"/>
            <p:cNvSpPr>
              <a:spLocks/>
            </p:cNvSpPr>
            <p:nvPr/>
          </p:nvSpPr>
          <p:spPr bwMode="auto">
            <a:xfrm>
              <a:off x="6382309" y="2595158"/>
              <a:ext cx="83392" cy="80116"/>
            </a:xfrm>
            <a:custGeom>
              <a:avLst/>
              <a:gdLst/>
              <a:ahLst/>
              <a:cxnLst>
                <a:cxn ang="0">
                  <a:pos x="81" y="19"/>
                </a:cxn>
                <a:cxn ang="0">
                  <a:pos x="65" y="17"/>
                </a:cxn>
                <a:cxn ang="0">
                  <a:pos x="61" y="16"/>
                </a:cxn>
                <a:cxn ang="0">
                  <a:pos x="53" y="20"/>
                </a:cxn>
                <a:cxn ang="0">
                  <a:pos x="52" y="24"/>
                </a:cxn>
                <a:cxn ang="0">
                  <a:pos x="58" y="29"/>
                </a:cxn>
                <a:cxn ang="0">
                  <a:pos x="55" y="29"/>
                </a:cxn>
                <a:cxn ang="0">
                  <a:pos x="50" y="29"/>
                </a:cxn>
                <a:cxn ang="0">
                  <a:pos x="53" y="34"/>
                </a:cxn>
                <a:cxn ang="0">
                  <a:pos x="48" y="29"/>
                </a:cxn>
                <a:cxn ang="0">
                  <a:pos x="46" y="32"/>
                </a:cxn>
                <a:cxn ang="0">
                  <a:pos x="48" y="34"/>
                </a:cxn>
                <a:cxn ang="0">
                  <a:pos x="43" y="29"/>
                </a:cxn>
                <a:cxn ang="0">
                  <a:pos x="37" y="24"/>
                </a:cxn>
                <a:cxn ang="0">
                  <a:pos x="34" y="24"/>
                </a:cxn>
                <a:cxn ang="0">
                  <a:pos x="36" y="36"/>
                </a:cxn>
                <a:cxn ang="0">
                  <a:pos x="42" y="45"/>
                </a:cxn>
                <a:cxn ang="0">
                  <a:pos x="43" y="50"/>
                </a:cxn>
                <a:cxn ang="0">
                  <a:pos x="42" y="48"/>
                </a:cxn>
                <a:cxn ang="0">
                  <a:pos x="39" y="46"/>
                </a:cxn>
                <a:cxn ang="0">
                  <a:pos x="39" y="52"/>
                </a:cxn>
                <a:cxn ang="0">
                  <a:pos x="33" y="53"/>
                </a:cxn>
                <a:cxn ang="0">
                  <a:pos x="42" y="58"/>
                </a:cxn>
                <a:cxn ang="0">
                  <a:pos x="45" y="62"/>
                </a:cxn>
                <a:cxn ang="0">
                  <a:pos x="50" y="65"/>
                </a:cxn>
                <a:cxn ang="0">
                  <a:pos x="53" y="66"/>
                </a:cxn>
                <a:cxn ang="0">
                  <a:pos x="50" y="74"/>
                </a:cxn>
                <a:cxn ang="0">
                  <a:pos x="40" y="71"/>
                </a:cxn>
                <a:cxn ang="0">
                  <a:pos x="42" y="69"/>
                </a:cxn>
                <a:cxn ang="0">
                  <a:pos x="39" y="66"/>
                </a:cxn>
                <a:cxn ang="0">
                  <a:pos x="33" y="65"/>
                </a:cxn>
                <a:cxn ang="0">
                  <a:pos x="27" y="65"/>
                </a:cxn>
                <a:cxn ang="0">
                  <a:pos x="20" y="65"/>
                </a:cxn>
                <a:cxn ang="0">
                  <a:pos x="16" y="64"/>
                </a:cxn>
                <a:cxn ang="0">
                  <a:pos x="14" y="65"/>
                </a:cxn>
                <a:cxn ang="0">
                  <a:pos x="10" y="55"/>
                </a:cxn>
                <a:cxn ang="0">
                  <a:pos x="13" y="52"/>
                </a:cxn>
                <a:cxn ang="0">
                  <a:pos x="7" y="53"/>
                </a:cxn>
                <a:cxn ang="0">
                  <a:pos x="1" y="45"/>
                </a:cxn>
                <a:cxn ang="0">
                  <a:pos x="0" y="39"/>
                </a:cxn>
                <a:cxn ang="0">
                  <a:pos x="0" y="40"/>
                </a:cxn>
                <a:cxn ang="0">
                  <a:pos x="3" y="36"/>
                </a:cxn>
                <a:cxn ang="0">
                  <a:pos x="7" y="32"/>
                </a:cxn>
                <a:cxn ang="0">
                  <a:pos x="11" y="24"/>
                </a:cxn>
                <a:cxn ang="0">
                  <a:pos x="20" y="17"/>
                </a:cxn>
                <a:cxn ang="0">
                  <a:pos x="29" y="11"/>
                </a:cxn>
                <a:cxn ang="0">
                  <a:pos x="37" y="8"/>
                </a:cxn>
                <a:cxn ang="0">
                  <a:pos x="66" y="7"/>
                </a:cxn>
                <a:cxn ang="0">
                  <a:pos x="81" y="8"/>
                </a:cxn>
                <a:cxn ang="0">
                  <a:pos x="84" y="0"/>
                </a:cxn>
                <a:cxn ang="0">
                  <a:pos x="88" y="1"/>
                </a:cxn>
                <a:cxn ang="0">
                  <a:pos x="90" y="7"/>
                </a:cxn>
                <a:cxn ang="0">
                  <a:pos x="85" y="17"/>
                </a:cxn>
              </a:cxnLst>
              <a:rect l="0" t="0" r="r" b="b"/>
              <a:pathLst>
                <a:path w="91" h="77">
                  <a:moveTo>
                    <a:pt x="84" y="20"/>
                  </a:moveTo>
                  <a:lnTo>
                    <a:pt x="81" y="19"/>
                  </a:lnTo>
                  <a:lnTo>
                    <a:pt x="69" y="16"/>
                  </a:lnTo>
                  <a:lnTo>
                    <a:pt x="65" y="17"/>
                  </a:lnTo>
                  <a:lnTo>
                    <a:pt x="64" y="17"/>
                  </a:lnTo>
                  <a:lnTo>
                    <a:pt x="61" y="16"/>
                  </a:lnTo>
                  <a:lnTo>
                    <a:pt x="58" y="19"/>
                  </a:lnTo>
                  <a:lnTo>
                    <a:pt x="53" y="20"/>
                  </a:lnTo>
                  <a:lnTo>
                    <a:pt x="49" y="23"/>
                  </a:lnTo>
                  <a:lnTo>
                    <a:pt x="52" y="24"/>
                  </a:lnTo>
                  <a:lnTo>
                    <a:pt x="55" y="26"/>
                  </a:lnTo>
                  <a:lnTo>
                    <a:pt x="58" y="29"/>
                  </a:lnTo>
                  <a:lnTo>
                    <a:pt x="58" y="30"/>
                  </a:lnTo>
                  <a:lnTo>
                    <a:pt x="55" y="29"/>
                  </a:lnTo>
                  <a:lnTo>
                    <a:pt x="52" y="27"/>
                  </a:lnTo>
                  <a:lnTo>
                    <a:pt x="50" y="29"/>
                  </a:lnTo>
                  <a:lnTo>
                    <a:pt x="53" y="32"/>
                  </a:lnTo>
                  <a:lnTo>
                    <a:pt x="53" y="34"/>
                  </a:lnTo>
                  <a:lnTo>
                    <a:pt x="50" y="30"/>
                  </a:lnTo>
                  <a:lnTo>
                    <a:pt x="48" y="29"/>
                  </a:lnTo>
                  <a:lnTo>
                    <a:pt x="46" y="29"/>
                  </a:lnTo>
                  <a:lnTo>
                    <a:pt x="46" y="32"/>
                  </a:lnTo>
                  <a:lnTo>
                    <a:pt x="49" y="34"/>
                  </a:lnTo>
                  <a:lnTo>
                    <a:pt x="48" y="34"/>
                  </a:lnTo>
                  <a:lnTo>
                    <a:pt x="45" y="33"/>
                  </a:lnTo>
                  <a:lnTo>
                    <a:pt x="43" y="29"/>
                  </a:lnTo>
                  <a:lnTo>
                    <a:pt x="37" y="26"/>
                  </a:lnTo>
                  <a:lnTo>
                    <a:pt x="37" y="24"/>
                  </a:lnTo>
                  <a:lnTo>
                    <a:pt x="39" y="23"/>
                  </a:lnTo>
                  <a:lnTo>
                    <a:pt x="34" y="24"/>
                  </a:lnTo>
                  <a:lnTo>
                    <a:pt x="34" y="34"/>
                  </a:lnTo>
                  <a:lnTo>
                    <a:pt x="36" y="36"/>
                  </a:lnTo>
                  <a:lnTo>
                    <a:pt x="37" y="40"/>
                  </a:lnTo>
                  <a:lnTo>
                    <a:pt x="42" y="45"/>
                  </a:lnTo>
                  <a:lnTo>
                    <a:pt x="43" y="49"/>
                  </a:lnTo>
                  <a:lnTo>
                    <a:pt x="43" y="50"/>
                  </a:lnTo>
                  <a:lnTo>
                    <a:pt x="42" y="50"/>
                  </a:lnTo>
                  <a:lnTo>
                    <a:pt x="42" y="48"/>
                  </a:lnTo>
                  <a:lnTo>
                    <a:pt x="40" y="46"/>
                  </a:lnTo>
                  <a:lnTo>
                    <a:pt x="39" y="46"/>
                  </a:lnTo>
                  <a:lnTo>
                    <a:pt x="37" y="49"/>
                  </a:lnTo>
                  <a:lnTo>
                    <a:pt x="39" y="52"/>
                  </a:lnTo>
                  <a:lnTo>
                    <a:pt x="39" y="53"/>
                  </a:lnTo>
                  <a:lnTo>
                    <a:pt x="33" y="53"/>
                  </a:lnTo>
                  <a:lnTo>
                    <a:pt x="34" y="55"/>
                  </a:lnTo>
                  <a:lnTo>
                    <a:pt x="42" y="58"/>
                  </a:lnTo>
                  <a:lnTo>
                    <a:pt x="43" y="59"/>
                  </a:lnTo>
                  <a:lnTo>
                    <a:pt x="45" y="62"/>
                  </a:lnTo>
                  <a:lnTo>
                    <a:pt x="46" y="62"/>
                  </a:lnTo>
                  <a:lnTo>
                    <a:pt x="50" y="65"/>
                  </a:lnTo>
                  <a:lnTo>
                    <a:pt x="52" y="65"/>
                  </a:lnTo>
                  <a:lnTo>
                    <a:pt x="53" y="66"/>
                  </a:lnTo>
                  <a:lnTo>
                    <a:pt x="55" y="77"/>
                  </a:lnTo>
                  <a:lnTo>
                    <a:pt x="50" y="74"/>
                  </a:lnTo>
                  <a:lnTo>
                    <a:pt x="48" y="71"/>
                  </a:lnTo>
                  <a:lnTo>
                    <a:pt x="40" y="71"/>
                  </a:lnTo>
                  <a:lnTo>
                    <a:pt x="39" y="71"/>
                  </a:lnTo>
                  <a:lnTo>
                    <a:pt x="42" y="69"/>
                  </a:lnTo>
                  <a:lnTo>
                    <a:pt x="42" y="68"/>
                  </a:lnTo>
                  <a:lnTo>
                    <a:pt x="39" y="66"/>
                  </a:lnTo>
                  <a:lnTo>
                    <a:pt x="34" y="64"/>
                  </a:lnTo>
                  <a:lnTo>
                    <a:pt x="33" y="65"/>
                  </a:lnTo>
                  <a:lnTo>
                    <a:pt x="32" y="64"/>
                  </a:lnTo>
                  <a:lnTo>
                    <a:pt x="27" y="65"/>
                  </a:lnTo>
                  <a:lnTo>
                    <a:pt x="24" y="64"/>
                  </a:lnTo>
                  <a:lnTo>
                    <a:pt x="20" y="65"/>
                  </a:lnTo>
                  <a:lnTo>
                    <a:pt x="17" y="64"/>
                  </a:lnTo>
                  <a:lnTo>
                    <a:pt x="16" y="64"/>
                  </a:lnTo>
                  <a:lnTo>
                    <a:pt x="16" y="64"/>
                  </a:lnTo>
                  <a:lnTo>
                    <a:pt x="14" y="65"/>
                  </a:lnTo>
                  <a:lnTo>
                    <a:pt x="8" y="55"/>
                  </a:lnTo>
                  <a:lnTo>
                    <a:pt x="10" y="55"/>
                  </a:lnTo>
                  <a:lnTo>
                    <a:pt x="13" y="55"/>
                  </a:lnTo>
                  <a:lnTo>
                    <a:pt x="13" y="52"/>
                  </a:lnTo>
                  <a:lnTo>
                    <a:pt x="8" y="50"/>
                  </a:lnTo>
                  <a:lnTo>
                    <a:pt x="7" y="53"/>
                  </a:lnTo>
                  <a:lnTo>
                    <a:pt x="4" y="46"/>
                  </a:lnTo>
                  <a:lnTo>
                    <a:pt x="1" y="45"/>
                  </a:lnTo>
                  <a:lnTo>
                    <a:pt x="0" y="40"/>
                  </a:lnTo>
                  <a:lnTo>
                    <a:pt x="0" y="39"/>
                  </a:lnTo>
                  <a:lnTo>
                    <a:pt x="0" y="39"/>
                  </a:lnTo>
                  <a:lnTo>
                    <a:pt x="0" y="40"/>
                  </a:lnTo>
                  <a:lnTo>
                    <a:pt x="1" y="37"/>
                  </a:lnTo>
                  <a:lnTo>
                    <a:pt x="3" y="36"/>
                  </a:lnTo>
                  <a:lnTo>
                    <a:pt x="4" y="33"/>
                  </a:lnTo>
                  <a:lnTo>
                    <a:pt x="7" y="32"/>
                  </a:lnTo>
                  <a:lnTo>
                    <a:pt x="8" y="27"/>
                  </a:lnTo>
                  <a:lnTo>
                    <a:pt x="11" y="24"/>
                  </a:lnTo>
                  <a:lnTo>
                    <a:pt x="11" y="17"/>
                  </a:lnTo>
                  <a:lnTo>
                    <a:pt x="20" y="17"/>
                  </a:lnTo>
                  <a:lnTo>
                    <a:pt x="23" y="14"/>
                  </a:lnTo>
                  <a:lnTo>
                    <a:pt x="29" y="11"/>
                  </a:lnTo>
                  <a:lnTo>
                    <a:pt x="33" y="11"/>
                  </a:lnTo>
                  <a:lnTo>
                    <a:pt x="37" y="8"/>
                  </a:lnTo>
                  <a:lnTo>
                    <a:pt x="64" y="4"/>
                  </a:lnTo>
                  <a:lnTo>
                    <a:pt x="66" y="7"/>
                  </a:lnTo>
                  <a:lnTo>
                    <a:pt x="75" y="10"/>
                  </a:lnTo>
                  <a:lnTo>
                    <a:pt x="81" y="8"/>
                  </a:lnTo>
                  <a:lnTo>
                    <a:pt x="84" y="5"/>
                  </a:lnTo>
                  <a:lnTo>
                    <a:pt x="84" y="0"/>
                  </a:lnTo>
                  <a:lnTo>
                    <a:pt x="88" y="0"/>
                  </a:lnTo>
                  <a:lnTo>
                    <a:pt x="88" y="1"/>
                  </a:lnTo>
                  <a:lnTo>
                    <a:pt x="91" y="4"/>
                  </a:lnTo>
                  <a:lnTo>
                    <a:pt x="90" y="7"/>
                  </a:lnTo>
                  <a:lnTo>
                    <a:pt x="87" y="8"/>
                  </a:lnTo>
                  <a:lnTo>
                    <a:pt x="85" y="17"/>
                  </a:lnTo>
                  <a:lnTo>
                    <a:pt x="84" y="2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49" name="Freeform 246"/>
            <p:cNvSpPr>
              <a:spLocks/>
            </p:cNvSpPr>
            <p:nvPr/>
          </p:nvSpPr>
          <p:spPr bwMode="auto">
            <a:xfrm>
              <a:off x="6382309" y="2595158"/>
              <a:ext cx="83392" cy="80116"/>
            </a:xfrm>
            <a:custGeom>
              <a:avLst/>
              <a:gdLst/>
              <a:ahLst/>
              <a:cxnLst>
                <a:cxn ang="0">
                  <a:pos x="81" y="19"/>
                </a:cxn>
                <a:cxn ang="0">
                  <a:pos x="65" y="17"/>
                </a:cxn>
                <a:cxn ang="0">
                  <a:pos x="61" y="16"/>
                </a:cxn>
                <a:cxn ang="0">
                  <a:pos x="53" y="20"/>
                </a:cxn>
                <a:cxn ang="0">
                  <a:pos x="52" y="24"/>
                </a:cxn>
                <a:cxn ang="0">
                  <a:pos x="58" y="29"/>
                </a:cxn>
                <a:cxn ang="0">
                  <a:pos x="55" y="29"/>
                </a:cxn>
                <a:cxn ang="0">
                  <a:pos x="50" y="29"/>
                </a:cxn>
                <a:cxn ang="0">
                  <a:pos x="53" y="34"/>
                </a:cxn>
                <a:cxn ang="0">
                  <a:pos x="48" y="29"/>
                </a:cxn>
                <a:cxn ang="0">
                  <a:pos x="46" y="32"/>
                </a:cxn>
                <a:cxn ang="0">
                  <a:pos x="48" y="34"/>
                </a:cxn>
                <a:cxn ang="0">
                  <a:pos x="43" y="29"/>
                </a:cxn>
                <a:cxn ang="0">
                  <a:pos x="37" y="24"/>
                </a:cxn>
                <a:cxn ang="0">
                  <a:pos x="34" y="24"/>
                </a:cxn>
                <a:cxn ang="0">
                  <a:pos x="36" y="36"/>
                </a:cxn>
                <a:cxn ang="0">
                  <a:pos x="42" y="45"/>
                </a:cxn>
                <a:cxn ang="0">
                  <a:pos x="43" y="50"/>
                </a:cxn>
                <a:cxn ang="0">
                  <a:pos x="42" y="48"/>
                </a:cxn>
                <a:cxn ang="0">
                  <a:pos x="39" y="46"/>
                </a:cxn>
                <a:cxn ang="0">
                  <a:pos x="39" y="52"/>
                </a:cxn>
                <a:cxn ang="0">
                  <a:pos x="33" y="53"/>
                </a:cxn>
                <a:cxn ang="0">
                  <a:pos x="42" y="58"/>
                </a:cxn>
                <a:cxn ang="0">
                  <a:pos x="45" y="62"/>
                </a:cxn>
                <a:cxn ang="0">
                  <a:pos x="50" y="65"/>
                </a:cxn>
                <a:cxn ang="0">
                  <a:pos x="53" y="66"/>
                </a:cxn>
                <a:cxn ang="0">
                  <a:pos x="50" y="74"/>
                </a:cxn>
                <a:cxn ang="0">
                  <a:pos x="40" y="71"/>
                </a:cxn>
                <a:cxn ang="0">
                  <a:pos x="42" y="69"/>
                </a:cxn>
                <a:cxn ang="0">
                  <a:pos x="39" y="66"/>
                </a:cxn>
                <a:cxn ang="0">
                  <a:pos x="33" y="65"/>
                </a:cxn>
                <a:cxn ang="0">
                  <a:pos x="27" y="65"/>
                </a:cxn>
                <a:cxn ang="0">
                  <a:pos x="20" y="65"/>
                </a:cxn>
                <a:cxn ang="0">
                  <a:pos x="16" y="64"/>
                </a:cxn>
                <a:cxn ang="0">
                  <a:pos x="14" y="65"/>
                </a:cxn>
                <a:cxn ang="0">
                  <a:pos x="10" y="55"/>
                </a:cxn>
                <a:cxn ang="0">
                  <a:pos x="13" y="52"/>
                </a:cxn>
                <a:cxn ang="0">
                  <a:pos x="7" y="53"/>
                </a:cxn>
                <a:cxn ang="0">
                  <a:pos x="1" y="45"/>
                </a:cxn>
                <a:cxn ang="0">
                  <a:pos x="0" y="39"/>
                </a:cxn>
                <a:cxn ang="0">
                  <a:pos x="0" y="40"/>
                </a:cxn>
                <a:cxn ang="0">
                  <a:pos x="3" y="36"/>
                </a:cxn>
                <a:cxn ang="0">
                  <a:pos x="7" y="32"/>
                </a:cxn>
                <a:cxn ang="0">
                  <a:pos x="11" y="24"/>
                </a:cxn>
                <a:cxn ang="0">
                  <a:pos x="20" y="17"/>
                </a:cxn>
                <a:cxn ang="0">
                  <a:pos x="29" y="11"/>
                </a:cxn>
                <a:cxn ang="0">
                  <a:pos x="37" y="8"/>
                </a:cxn>
                <a:cxn ang="0">
                  <a:pos x="66" y="7"/>
                </a:cxn>
                <a:cxn ang="0">
                  <a:pos x="81" y="8"/>
                </a:cxn>
                <a:cxn ang="0">
                  <a:pos x="84" y="0"/>
                </a:cxn>
                <a:cxn ang="0">
                  <a:pos x="88" y="1"/>
                </a:cxn>
                <a:cxn ang="0">
                  <a:pos x="90" y="7"/>
                </a:cxn>
                <a:cxn ang="0">
                  <a:pos x="85" y="17"/>
                </a:cxn>
              </a:cxnLst>
              <a:rect l="0" t="0" r="r" b="b"/>
              <a:pathLst>
                <a:path w="91" h="77">
                  <a:moveTo>
                    <a:pt x="84" y="20"/>
                  </a:moveTo>
                  <a:lnTo>
                    <a:pt x="81" y="19"/>
                  </a:lnTo>
                  <a:lnTo>
                    <a:pt x="69" y="16"/>
                  </a:lnTo>
                  <a:lnTo>
                    <a:pt x="65" y="17"/>
                  </a:lnTo>
                  <a:lnTo>
                    <a:pt x="64" y="17"/>
                  </a:lnTo>
                  <a:lnTo>
                    <a:pt x="61" y="16"/>
                  </a:lnTo>
                  <a:lnTo>
                    <a:pt x="58" y="19"/>
                  </a:lnTo>
                  <a:lnTo>
                    <a:pt x="53" y="20"/>
                  </a:lnTo>
                  <a:lnTo>
                    <a:pt x="49" y="23"/>
                  </a:lnTo>
                  <a:lnTo>
                    <a:pt x="52" y="24"/>
                  </a:lnTo>
                  <a:lnTo>
                    <a:pt x="55" y="26"/>
                  </a:lnTo>
                  <a:lnTo>
                    <a:pt x="58" y="29"/>
                  </a:lnTo>
                  <a:lnTo>
                    <a:pt x="58" y="30"/>
                  </a:lnTo>
                  <a:lnTo>
                    <a:pt x="55" y="29"/>
                  </a:lnTo>
                  <a:lnTo>
                    <a:pt x="52" y="27"/>
                  </a:lnTo>
                  <a:lnTo>
                    <a:pt x="50" y="29"/>
                  </a:lnTo>
                  <a:lnTo>
                    <a:pt x="53" y="32"/>
                  </a:lnTo>
                  <a:lnTo>
                    <a:pt x="53" y="34"/>
                  </a:lnTo>
                  <a:lnTo>
                    <a:pt x="50" y="30"/>
                  </a:lnTo>
                  <a:lnTo>
                    <a:pt x="48" y="29"/>
                  </a:lnTo>
                  <a:lnTo>
                    <a:pt x="46" y="29"/>
                  </a:lnTo>
                  <a:lnTo>
                    <a:pt x="46" y="32"/>
                  </a:lnTo>
                  <a:lnTo>
                    <a:pt x="49" y="34"/>
                  </a:lnTo>
                  <a:lnTo>
                    <a:pt x="48" y="34"/>
                  </a:lnTo>
                  <a:lnTo>
                    <a:pt x="45" y="33"/>
                  </a:lnTo>
                  <a:lnTo>
                    <a:pt x="43" y="29"/>
                  </a:lnTo>
                  <a:lnTo>
                    <a:pt x="37" y="26"/>
                  </a:lnTo>
                  <a:lnTo>
                    <a:pt x="37" y="24"/>
                  </a:lnTo>
                  <a:lnTo>
                    <a:pt x="39" y="23"/>
                  </a:lnTo>
                  <a:lnTo>
                    <a:pt x="34" y="24"/>
                  </a:lnTo>
                  <a:lnTo>
                    <a:pt x="34" y="34"/>
                  </a:lnTo>
                  <a:lnTo>
                    <a:pt x="36" y="36"/>
                  </a:lnTo>
                  <a:lnTo>
                    <a:pt x="37" y="40"/>
                  </a:lnTo>
                  <a:lnTo>
                    <a:pt x="42" y="45"/>
                  </a:lnTo>
                  <a:lnTo>
                    <a:pt x="43" y="49"/>
                  </a:lnTo>
                  <a:lnTo>
                    <a:pt x="43" y="50"/>
                  </a:lnTo>
                  <a:lnTo>
                    <a:pt x="42" y="50"/>
                  </a:lnTo>
                  <a:lnTo>
                    <a:pt x="42" y="48"/>
                  </a:lnTo>
                  <a:lnTo>
                    <a:pt x="40" y="46"/>
                  </a:lnTo>
                  <a:lnTo>
                    <a:pt x="39" y="46"/>
                  </a:lnTo>
                  <a:lnTo>
                    <a:pt x="37" y="49"/>
                  </a:lnTo>
                  <a:lnTo>
                    <a:pt x="39" y="52"/>
                  </a:lnTo>
                  <a:lnTo>
                    <a:pt x="39" y="53"/>
                  </a:lnTo>
                  <a:lnTo>
                    <a:pt x="33" y="53"/>
                  </a:lnTo>
                  <a:lnTo>
                    <a:pt x="34" y="55"/>
                  </a:lnTo>
                  <a:lnTo>
                    <a:pt x="42" y="58"/>
                  </a:lnTo>
                  <a:lnTo>
                    <a:pt x="43" y="59"/>
                  </a:lnTo>
                  <a:lnTo>
                    <a:pt x="45" y="62"/>
                  </a:lnTo>
                  <a:lnTo>
                    <a:pt x="46" y="62"/>
                  </a:lnTo>
                  <a:lnTo>
                    <a:pt x="50" y="65"/>
                  </a:lnTo>
                  <a:lnTo>
                    <a:pt x="52" y="65"/>
                  </a:lnTo>
                  <a:lnTo>
                    <a:pt x="53" y="66"/>
                  </a:lnTo>
                  <a:lnTo>
                    <a:pt x="55" y="77"/>
                  </a:lnTo>
                  <a:lnTo>
                    <a:pt x="50" y="74"/>
                  </a:lnTo>
                  <a:lnTo>
                    <a:pt x="48" y="71"/>
                  </a:lnTo>
                  <a:lnTo>
                    <a:pt x="40" y="71"/>
                  </a:lnTo>
                  <a:lnTo>
                    <a:pt x="39" y="71"/>
                  </a:lnTo>
                  <a:lnTo>
                    <a:pt x="42" y="69"/>
                  </a:lnTo>
                  <a:lnTo>
                    <a:pt x="42" y="68"/>
                  </a:lnTo>
                  <a:lnTo>
                    <a:pt x="39" y="66"/>
                  </a:lnTo>
                  <a:lnTo>
                    <a:pt x="34" y="64"/>
                  </a:lnTo>
                  <a:lnTo>
                    <a:pt x="33" y="65"/>
                  </a:lnTo>
                  <a:lnTo>
                    <a:pt x="32" y="64"/>
                  </a:lnTo>
                  <a:lnTo>
                    <a:pt x="27" y="65"/>
                  </a:lnTo>
                  <a:lnTo>
                    <a:pt x="24" y="64"/>
                  </a:lnTo>
                  <a:lnTo>
                    <a:pt x="20" y="65"/>
                  </a:lnTo>
                  <a:lnTo>
                    <a:pt x="17" y="64"/>
                  </a:lnTo>
                  <a:lnTo>
                    <a:pt x="16" y="64"/>
                  </a:lnTo>
                  <a:lnTo>
                    <a:pt x="16" y="64"/>
                  </a:lnTo>
                  <a:lnTo>
                    <a:pt x="14" y="65"/>
                  </a:lnTo>
                  <a:lnTo>
                    <a:pt x="8" y="55"/>
                  </a:lnTo>
                  <a:lnTo>
                    <a:pt x="10" y="55"/>
                  </a:lnTo>
                  <a:lnTo>
                    <a:pt x="13" y="55"/>
                  </a:lnTo>
                  <a:lnTo>
                    <a:pt x="13" y="52"/>
                  </a:lnTo>
                  <a:lnTo>
                    <a:pt x="8" y="50"/>
                  </a:lnTo>
                  <a:lnTo>
                    <a:pt x="7" y="53"/>
                  </a:lnTo>
                  <a:lnTo>
                    <a:pt x="4" y="46"/>
                  </a:lnTo>
                  <a:lnTo>
                    <a:pt x="1" y="45"/>
                  </a:lnTo>
                  <a:lnTo>
                    <a:pt x="0" y="40"/>
                  </a:lnTo>
                  <a:lnTo>
                    <a:pt x="0" y="39"/>
                  </a:lnTo>
                  <a:lnTo>
                    <a:pt x="0" y="39"/>
                  </a:lnTo>
                  <a:lnTo>
                    <a:pt x="0" y="40"/>
                  </a:lnTo>
                  <a:lnTo>
                    <a:pt x="1" y="37"/>
                  </a:lnTo>
                  <a:lnTo>
                    <a:pt x="3" y="36"/>
                  </a:lnTo>
                  <a:lnTo>
                    <a:pt x="4" y="33"/>
                  </a:lnTo>
                  <a:lnTo>
                    <a:pt x="7" y="32"/>
                  </a:lnTo>
                  <a:lnTo>
                    <a:pt x="8" y="27"/>
                  </a:lnTo>
                  <a:lnTo>
                    <a:pt x="11" y="24"/>
                  </a:lnTo>
                  <a:lnTo>
                    <a:pt x="11" y="17"/>
                  </a:lnTo>
                  <a:lnTo>
                    <a:pt x="20" y="17"/>
                  </a:lnTo>
                  <a:lnTo>
                    <a:pt x="23" y="14"/>
                  </a:lnTo>
                  <a:lnTo>
                    <a:pt x="29" y="11"/>
                  </a:lnTo>
                  <a:lnTo>
                    <a:pt x="33" y="11"/>
                  </a:lnTo>
                  <a:lnTo>
                    <a:pt x="37" y="8"/>
                  </a:lnTo>
                  <a:lnTo>
                    <a:pt x="64" y="4"/>
                  </a:lnTo>
                  <a:lnTo>
                    <a:pt x="66" y="7"/>
                  </a:lnTo>
                  <a:lnTo>
                    <a:pt x="75" y="10"/>
                  </a:lnTo>
                  <a:lnTo>
                    <a:pt x="81" y="8"/>
                  </a:lnTo>
                  <a:lnTo>
                    <a:pt x="84" y="5"/>
                  </a:lnTo>
                  <a:lnTo>
                    <a:pt x="84" y="0"/>
                  </a:lnTo>
                  <a:lnTo>
                    <a:pt x="88" y="0"/>
                  </a:lnTo>
                  <a:lnTo>
                    <a:pt x="88" y="1"/>
                  </a:lnTo>
                  <a:lnTo>
                    <a:pt x="91" y="4"/>
                  </a:lnTo>
                  <a:lnTo>
                    <a:pt x="90" y="7"/>
                  </a:lnTo>
                  <a:lnTo>
                    <a:pt x="87" y="8"/>
                  </a:lnTo>
                  <a:lnTo>
                    <a:pt x="85" y="17"/>
                  </a:lnTo>
                  <a:lnTo>
                    <a:pt x="84" y="2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0" name="Freeform 247"/>
            <p:cNvSpPr>
              <a:spLocks/>
            </p:cNvSpPr>
            <p:nvPr/>
          </p:nvSpPr>
          <p:spPr bwMode="auto">
            <a:xfrm>
              <a:off x="6575426" y="2726994"/>
              <a:ext cx="22823" cy="31438"/>
            </a:xfrm>
            <a:custGeom>
              <a:avLst/>
              <a:gdLst/>
              <a:ahLst/>
              <a:cxnLst>
                <a:cxn ang="0">
                  <a:pos x="9" y="27"/>
                </a:cxn>
                <a:cxn ang="0">
                  <a:pos x="10" y="25"/>
                </a:cxn>
                <a:cxn ang="0">
                  <a:pos x="12" y="25"/>
                </a:cxn>
                <a:cxn ang="0">
                  <a:pos x="12" y="24"/>
                </a:cxn>
                <a:cxn ang="0">
                  <a:pos x="15" y="21"/>
                </a:cxn>
                <a:cxn ang="0">
                  <a:pos x="15" y="21"/>
                </a:cxn>
                <a:cxn ang="0">
                  <a:pos x="15" y="19"/>
                </a:cxn>
                <a:cxn ang="0">
                  <a:pos x="13" y="19"/>
                </a:cxn>
                <a:cxn ang="0">
                  <a:pos x="13" y="19"/>
                </a:cxn>
                <a:cxn ang="0">
                  <a:pos x="15" y="18"/>
                </a:cxn>
                <a:cxn ang="0">
                  <a:pos x="15" y="18"/>
                </a:cxn>
                <a:cxn ang="0">
                  <a:pos x="16" y="16"/>
                </a:cxn>
                <a:cxn ang="0">
                  <a:pos x="19" y="16"/>
                </a:cxn>
                <a:cxn ang="0">
                  <a:pos x="20" y="16"/>
                </a:cxn>
                <a:cxn ang="0">
                  <a:pos x="20" y="16"/>
                </a:cxn>
                <a:cxn ang="0">
                  <a:pos x="20" y="16"/>
                </a:cxn>
                <a:cxn ang="0">
                  <a:pos x="20" y="15"/>
                </a:cxn>
                <a:cxn ang="0">
                  <a:pos x="19" y="15"/>
                </a:cxn>
                <a:cxn ang="0">
                  <a:pos x="19" y="14"/>
                </a:cxn>
                <a:cxn ang="0">
                  <a:pos x="20" y="14"/>
                </a:cxn>
                <a:cxn ang="0">
                  <a:pos x="20" y="12"/>
                </a:cxn>
                <a:cxn ang="0">
                  <a:pos x="22" y="12"/>
                </a:cxn>
                <a:cxn ang="0">
                  <a:pos x="23" y="11"/>
                </a:cxn>
                <a:cxn ang="0">
                  <a:pos x="23" y="11"/>
                </a:cxn>
                <a:cxn ang="0">
                  <a:pos x="23" y="9"/>
                </a:cxn>
                <a:cxn ang="0">
                  <a:pos x="25" y="9"/>
                </a:cxn>
                <a:cxn ang="0">
                  <a:pos x="23" y="9"/>
                </a:cxn>
                <a:cxn ang="0">
                  <a:pos x="23" y="8"/>
                </a:cxn>
                <a:cxn ang="0">
                  <a:pos x="23" y="6"/>
                </a:cxn>
                <a:cxn ang="0">
                  <a:pos x="23" y="5"/>
                </a:cxn>
                <a:cxn ang="0">
                  <a:pos x="22" y="5"/>
                </a:cxn>
                <a:cxn ang="0">
                  <a:pos x="22" y="3"/>
                </a:cxn>
                <a:cxn ang="0">
                  <a:pos x="20" y="3"/>
                </a:cxn>
                <a:cxn ang="0">
                  <a:pos x="20" y="3"/>
                </a:cxn>
                <a:cxn ang="0">
                  <a:pos x="20" y="3"/>
                </a:cxn>
                <a:cxn ang="0">
                  <a:pos x="20" y="2"/>
                </a:cxn>
                <a:cxn ang="0">
                  <a:pos x="22" y="2"/>
                </a:cxn>
                <a:cxn ang="0">
                  <a:pos x="22" y="2"/>
                </a:cxn>
                <a:cxn ang="0">
                  <a:pos x="22" y="0"/>
                </a:cxn>
                <a:cxn ang="0">
                  <a:pos x="20" y="0"/>
                </a:cxn>
                <a:cxn ang="0">
                  <a:pos x="20" y="0"/>
                </a:cxn>
                <a:cxn ang="0">
                  <a:pos x="19" y="0"/>
                </a:cxn>
                <a:cxn ang="0">
                  <a:pos x="19" y="0"/>
                </a:cxn>
                <a:cxn ang="0">
                  <a:pos x="15" y="0"/>
                </a:cxn>
                <a:cxn ang="0">
                  <a:pos x="15" y="3"/>
                </a:cxn>
                <a:cxn ang="0">
                  <a:pos x="10" y="8"/>
                </a:cxn>
                <a:cxn ang="0">
                  <a:pos x="9" y="14"/>
                </a:cxn>
                <a:cxn ang="0">
                  <a:pos x="7" y="14"/>
                </a:cxn>
                <a:cxn ang="0">
                  <a:pos x="7" y="15"/>
                </a:cxn>
                <a:cxn ang="0">
                  <a:pos x="6" y="15"/>
                </a:cxn>
                <a:cxn ang="0">
                  <a:pos x="0" y="28"/>
                </a:cxn>
                <a:cxn ang="0">
                  <a:pos x="0" y="30"/>
                </a:cxn>
                <a:cxn ang="0">
                  <a:pos x="3" y="30"/>
                </a:cxn>
                <a:cxn ang="0">
                  <a:pos x="5" y="30"/>
                </a:cxn>
                <a:cxn ang="0">
                  <a:pos x="5" y="30"/>
                </a:cxn>
                <a:cxn ang="0">
                  <a:pos x="6" y="30"/>
                </a:cxn>
                <a:cxn ang="0">
                  <a:pos x="7" y="30"/>
                </a:cxn>
                <a:cxn ang="0">
                  <a:pos x="7" y="27"/>
                </a:cxn>
                <a:cxn ang="0">
                  <a:pos x="7" y="25"/>
                </a:cxn>
                <a:cxn ang="0">
                  <a:pos x="9" y="25"/>
                </a:cxn>
                <a:cxn ang="0">
                  <a:pos x="9" y="27"/>
                </a:cxn>
              </a:cxnLst>
              <a:rect l="0" t="0" r="r" b="b"/>
              <a:pathLst>
                <a:path w="25" h="30">
                  <a:moveTo>
                    <a:pt x="9" y="27"/>
                  </a:moveTo>
                  <a:lnTo>
                    <a:pt x="10" y="25"/>
                  </a:lnTo>
                  <a:lnTo>
                    <a:pt x="12" y="25"/>
                  </a:lnTo>
                  <a:lnTo>
                    <a:pt x="12" y="24"/>
                  </a:lnTo>
                  <a:lnTo>
                    <a:pt x="15" y="21"/>
                  </a:lnTo>
                  <a:lnTo>
                    <a:pt x="15" y="21"/>
                  </a:lnTo>
                  <a:lnTo>
                    <a:pt x="15" y="19"/>
                  </a:lnTo>
                  <a:lnTo>
                    <a:pt x="13" y="19"/>
                  </a:lnTo>
                  <a:lnTo>
                    <a:pt x="13" y="19"/>
                  </a:lnTo>
                  <a:lnTo>
                    <a:pt x="15" y="18"/>
                  </a:lnTo>
                  <a:lnTo>
                    <a:pt x="15" y="18"/>
                  </a:lnTo>
                  <a:lnTo>
                    <a:pt x="16" y="16"/>
                  </a:lnTo>
                  <a:lnTo>
                    <a:pt x="19" y="16"/>
                  </a:lnTo>
                  <a:lnTo>
                    <a:pt x="20" y="16"/>
                  </a:lnTo>
                  <a:lnTo>
                    <a:pt x="20" y="16"/>
                  </a:lnTo>
                  <a:lnTo>
                    <a:pt x="20" y="16"/>
                  </a:lnTo>
                  <a:lnTo>
                    <a:pt x="20" y="15"/>
                  </a:lnTo>
                  <a:lnTo>
                    <a:pt x="19" y="15"/>
                  </a:lnTo>
                  <a:lnTo>
                    <a:pt x="19" y="14"/>
                  </a:lnTo>
                  <a:lnTo>
                    <a:pt x="20" y="14"/>
                  </a:lnTo>
                  <a:lnTo>
                    <a:pt x="20" y="12"/>
                  </a:lnTo>
                  <a:lnTo>
                    <a:pt x="22" y="12"/>
                  </a:lnTo>
                  <a:lnTo>
                    <a:pt x="23" y="11"/>
                  </a:lnTo>
                  <a:lnTo>
                    <a:pt x="23" y="11"/>
                  </a:lnTo>
                  <a:lnTo>
                    <a:pt x="23" y="9"/>
                  </a:lnTo>
                  <a:lnTo>
                    <a:pt x="25" y="9"/>
                  </a:lnTo>
                  <a:lnTo>
                    <a:pt x="23" y="9"/>
                  </a:lnTo>
                  <a:lnTo>
                    <a:pt x="23" y="8"/>
                  </a:lnTo>
                  <a:lnTo>
                    <a:pt x="23" y="6"/>
                  </a:lnTo>
                  <a:lnTo>
                    <a:pt x="23" y="5"/>
                  </a:lnTo>
                  <a:lnTo>
                    <a:pt x="22" y="5"/>
                  </a:lnTo>
                  <a:lnTo>
                    <a:pt x="22" y="3"/>
                  </a:lnTo>
                  <a:lnTo>
                    <a:pt x="20" y="3"/>
                  </a:lnTo>
                  <a:lnTo>
                    <a:pt x="20" y="3"/>
                  </a:lnTo>
                  <a:lnTo>
                    <a:pt x="20" y="3"/>
                  </a:lnTo>
                  <a:lnTo>
                    <a:pt x="20" y="2"/>
                  </a:lnTo>
                  <a:lnTo>
                    <a:pt x="22" y="2"/>
                  </a:lnTo>
                  <a:lnTo>
                    <a:pt x="22" y="2"/>
                  </a:lnTo>
                  <a:lnTo>
                    <a:pt x="22" y="0"/>
                  </a:lnTo>
                  <a:lnTo>
                    <a:pt x="20" y="0"/>
                  </a:lnTo>
                  <a:lnTo>
                    <a:pt x="20" y="0"/>
                  </a:lnTo>
                  <a:lnTo>
                    <a:pt x="19" y="0"/>
                  </a:lnTo>
                  <a:lnTo>
                    <a:pt x="19" y="0"/>
                  </a:lnTo>
                  <a:lnTo>
                    <a:pt x="15" y="0"/>
                  </a:lnTo>
                  <a:lnTo>
                    <a:pt x="15" y="3"/>
                  </a:lnTo>
                  <a:lnTo>
                    <a:pt x="10" y="8"/>
                  </a:lnTo>
                  <a:lnTo>
                    <a:pt x="9" y="14"/>
                  </a:lnTo>
                  <a:lnTo>
                    <a:pt x="7" y="14"/>
                  </a:lnTo>
                  <a:lnTo>
                    <a:pt x="7" y="15"/>
                  </a:lnTo>
                  <a:lnTo>
                    <a:pt x="6" y="15"/>
                  </a:lnTo>
                  <a:lnTo>
                    <a:pt x="0" y="28"/>
                  </a:lnTo>
                  <a:lnTo>
                    <a:pt x="0" y="30"/>
                  </a:lnTo>
                  <a:lnTo>
                    <a:pt x="3" y="30"/>
                  </a:lnTo>
                  <a:lnTo>
                    <a:pt x="5" y="30"/>
                  </a:lnTo>
                  <a:lnTo>
                    <a:pt x="5" y="30"/>
                  </a:lnTo>
                  <a:lnTo>
                    <a:pt x="6" y="30"/>
                  </a:lnTo>
                  <a:lnTo>
                    <a:pt x="7" y="30"/>
                  </a:lnTo>
                  <a:lnTo>
                    <a:pt x="7" y="27"/>
                  </a:lnTo>
                  <a:lnTo>
                    <a:pt x="7" y="25"/>
                  </a:lnTo>
                  <a:lnTo>
                    <a:pt x="9" y="25"/>
                  </a:lnTo>
                  <a:lnTo>
                    <a:pt x="9" y="2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1" name="Freeform 248"/>
            <p:cNvSpPr>
              <a:spLocks/>
            </p:cNvSpPr>
            <p:nvPr/>
          </p:nvSpPr>
          <p:spPr bwMode="auto">
            <a:xfrm>
              <a:off x="6575426" y="2726994"/>
              <a:ext cx="22823" cy="31438"/>
            </a:xfrm>
            <a:custGeom>
              <a:avLst/>
              <a:gdLst/>
              <a:ahLst/>
              <a:cxnLst>
                <a:cxn ang="0">
                  <a:pos x="9" y="27"/>
                </a:cxn>
                <a:cxn ang="0">
                  <a:pos x="10" y="25"/>
                </a:cxn>
                <a:cxn ang="0">
                  <a:pos x="12" y="25"/>
                </a:cxn>
                <a:cxn ang="0">
                  <a:pos x="12" y="24"/>
                </a:cxn>
                <a:cxn ang="0">
                  <a:pos x="15" y="21"/>
                </a:cxn>
                <a:cxn ang="0">
                  <a:pos x="15" y="21"/>
                </a:cxn>
                <a:cxn ang="0">
                  <a:pos x="15" y="19"/>
                </a:cxn>
                <a:cxn ang="0">
                  <a:pos x="13" y="19"/>
                </a:cxn>
                <a:cxn ang="0">
                  <a:pos x="13" y="19"/>
                </a:cxn>
                <a:cxn ang="0">
                  <a:pos x="15" y="18"/>
                </a:cxn>
                <a:cxn ang="0">
                  <a:pos x="15" y="18"/>
                </a:cxn>
                <a:cxn ang="0">
                  <a:pos x="16" y="16"/>
                </a:cxn>
                <a:cxn ang="0">
                  <a:pos x="19" y="16"/>
                </a:cxn>
                <a:cxn ang="0">
                  <a:pos x="20" y="16"/>
                </a:cxn>
                <a:cxn ang="0">
                  <a:pos x="20" y="16"/>
                </a:cxn>
                <a:cxn ang="0">
                  <a:pos x="20" y="16"/>
                </a:cxn>
                <a:cxn ang="0">
                  <a:pos x="20" y="15"/>
                </a:cxn>
                <a:cxn ang="0">
                  <a:pos x="19" y="15"/>
                </a:cxn>
                <a:cxn ang="0">
                  <a:pos x="19" y="14"/>
                </a:cxn>
                <a:cxn ang="0">
                  <a:pos x="20" y="14"/>
                </a:cxn>
                <a:cxn ang="0">
                  <a:pos x="20" y="12"/>
                </a:cxn>
                <a:cxn ang="0">
                  <a:pos x="22" y="12"/>
                </a:cxn>
                <a:cxn ang="0">
                  <a:pos x="23" y="11"/>
                </a:cxn>
                <a:cxn ang="0">
                  <a:pos x="23" y="11"/>
                </a:cxn>
                <a:cxn ang="0">
                  <a:pos x="23" y="9"/>
                </a:cxn>
                <a:cxn ang="0">
                  <a:pos x="25" y="9"/>
                </a:cxn>
                <a:cxn ang="0">
                  <a:pos x="23" y="9"/>
                </a:cxn>
                <a:cxn ang="0">
                  <a:pos x="23" y="8"/>
                </a:cxn>
                <a:cxn ang="0">
                  <a:pos x="23" y="6"/>
                </a:cxn>
                <a:cxn ang="0">
                  <a:pos x="23" y="5"/>
                </a:cxn>
                <a:cxn ang="0">
                  <a:pos x="22" y="5"/>
                </a:cxn>
                <a:cxn ang="0">
                  <a:pos x="22" y="3"/>
                </a:cxn>
                <a:cxn ang="0">
                  <a:pos x="20" y="3"/>
                </a:cxn>
                <a:cxn ang="0">
                  <a:pos x="20" y="3"/>
                </a:cxn>
                <a:cxn ang="0">
                  <a:pos x="20" y="3"/>
                </a:cxn>
                <a:cxn ang="0">
                  <a:pos x="20" y="2"/>
                </a:cxn>
                <a:cxn ang="0">
                  <a:pos x="22" y="2"/>
                </a:cxn>
                <a:cxn ang="0">
                  <a:pos x="22" y="2"/>
                </a:cxn>
                <a:cxn ang="0">
                  <a:pos x="22" y="0"/>
                </a:cxn>
                <a:cxn ang="0">
                  <a:pos x="20" y="0"/>
                </a:cxn>
                <a:cxn ang="0">
                  <a:pos x="20" y="0"/>
                </a:cxn>
                <a:cxn ang="0">
                  <a:pos x="19" y="0"/>
                </a:cxn>
                <a:cxn ang="0">
                  <a:pos x="19" y="0"/>
                </a:cxn>
                <a:cxn ang="0">
                  <a:pos x="15" y="0"/>
                </a:cxn>
                <a:cxn ang="0">
                  <a:pos x="15" y="3"/>
                </a:cxn>
                <a:cxn ang="0">
                  <a:pos x="10" y="8"/>
                </a:cxn>
                <a:cxn ang="0">
                  <a:pos x="9" y="14"/>
                </a:cxn>
                <a:cxn ang="0">
                  <a:pos x="7" y="14"/>
                </a:cxn>
                <a:cxn ang="0">
                  <a:pos x="7" y="15"/>
                </a:cxn>
                <a:cxn ang="0">
                  <a:pos x="6" y="15"/>
                </a:cxn>
                <a:cxn ang="0">
                  <a:pos x="0" y="28"/>
                </a:cxn>
                <a:cxn ang="0">
                  <a:pos x="0" y="30"/>
                </a:cxn>
                <a:cxn ang="0">
                  <a:pos x="3" y="30"/>
                </a:cxn>
                <a:cxn ang="0">
                  <a:pos x="5" y="30"/>
                </a:cxn>
                <a:cxn ang="0">
                  <a:pos x="5" y="30"/>
                </a:cxn>
                <a:cxn ang="0">
                  <a:pos x="6" y="30"/>
                </a:cxn>
                <a:cxn ang="0">
                  <a:pos x="7" y="30"/>
                </a:cxn>
                <a:cxn ang="0">
                  <a:pos x="7" y="27"/>
                </a:cxn>
                <a:cxn ang="0">
                  <a:pos x="7" y="25"/>
                </a:cxn>
                <a:cxn ang="0">
                  <a:pos x="9" y="25"/>
                </a:cxn>
                <a:cxn ang="0">
                  <a:pos x="9" y="27"/>
                </a:cxn>
              </a:cxnLst>
              <a:rect l="0" t="0" r="r" b="b"/>
              <a:pathLst>
                <a:path w="25" h="30">
                  <a:moveTo>
                    <a:pt x="9" y="27"/>
                  </a:moveTo>
                  <a:lnTo>
                    <a:pt x="10" y="25"/>
                  </a:lnTo>
                  <a:lnTo>
                    <a:pt x="12" y="25"/>
                  </a:lnTo>
                  <a:lnTo>
                    <a:pt x="12" y="24"/>
                  </a:lnTo>
                  <a:lnTo>
                    <a:pt x="15" y="21"/>
                  </a:lnTo>
                  <a:lnTo>
                    <a:pt x="15" y="21"/>
                  </a:lnTo>
                  <a:lnTo>
                    <a:pt x="15" y="19"/>
                  </a:lnTo>
                  <a:lnTo>
                    <a:pt x="13" y="19"/>
                  </a:lnTo>
                  <a:lnTo>
                    <a:pt x="13" y="19"/>
                  </a:lnTo>
                  <a:lnTo>
                    <a:pt x="15" y="18"/>
                  </a:lnTo>
                  <a:lnTo>
                    <a:pt x="15" y="18"/>
                  </a:lnTo>
                  <a:lnTo>
                    <a:pt x="16" y="16"/>
                  </a:lnTo>
                  <a:lnTo>
                    <a:pt x="19" y="16"/>
                  </a:lnTo>
                  <a:lnTo>
                    <a:pt x="20" y="16"/>
                  </a:lnTo>
                  <a:lnTo>
                    <a:pt x="20" y="16"/>
                  </a:lnTo>
                  <a:lnTo>
                    <a:pt x="20" y="16"/>
                  </a:lnTo>
                  <a:lnTo>
                    <a:pt x="20" y="15"/>
                  </a:lnTo>
                  <a:lnTo>
                    <a:pt x="19" y="15"/>
                  </a:lnTo>
                  <a:lnTo>
                    <a:pt x="19" y="14"/>
                  </a:lnTo>
                  <a:lnTo>
                    <a:pt x="20" y="14"/>
                  </a:lnTo>
                  <a:lnTo>
                    <a:pt x="20" y="12"/>
                  </a:lnTo>
                  <a:lnTo>
                    <a:pt x="22" y="12"/>
                  </a:lnTo>
                  <a:lnTo>
                    <a:pt x="23" y="11"/>
                  </a:lnTo>
                  <a:lnTo>
                    <a:pt x="23" y="11"/>
                  </a:lnTo>
                  <a:lnTo>
                    <a:pt x="23" y="9"/>
                  </a:lnTo>
                  <a:lnTo>
                    <a:pt x="25" y="9"/>
                  </a:lnTo>
                  <a:lnTo>
                    <a:pt x="23" y="9"/>
                  </a:lnTo>
                  <a:lnTo>
                    <a:pt x="23" y="8"/>
                  </a:lnTo>
                  <a:lnTo>
                    <a:pt x="23" y="6"/>
                  </a:lnTo>
                  <a:lnTo>
                    <a:pt x="23" y="5"/>
                  </a:lnTo>
                  <a:lnTo>
                    <a:pt x="22" y="5"/>
                  </a:lnTo>
                  <a:lnTo>
                    <a:pt x="22" y="3"/>
                  </a:lnTo>
                  <a:lnTo>
                    <a:pt x="20" y="3"/>
                  </a:lnTo>
                  <a:lnTo>
                    <a:pt x="20" y="3"/>
                  </a:lnTo>
                  <a:lnTo>
                    <a:pt x="20" y="3"/>
                  </a:lnTo>
                  <a:lnTo>
                    <a:pt x="20" y="2"/>
                  </a:lnTo>
                  <a:lnTo>
                    <a:pt x="22" y="2"/>
                  </a:lnTo>
                  <a:lnTo>
                    <a:pt x="22" y="2"/>
                  </a:lnTo>
                  <a:lnTo>
                    <a:pt x="22" y="0"/>
                  </a:lnTo>
                  <a:lnTo>
                    <a:pt x="20" y="0"/>
                  </a:lnTo>
                  <a:lnTo>
                    <a:pt x="20" y="0"/>
                  </a:lnTo>
                  <a:lnTo>
                    <a:pt x="19" y="0"/>
                  </a:lnTo>
                  <a:lnTo>
                    <a:pt x="19" y="0"/>
                  </a:lnTo>
                  <a:lnTo>
                    <a:pt x="15" y="0"/>
                  </a:lnTo>
                  <a:lnTo>
                    <a:pt x="15" y="3"/>
                  </a:lnTo>
                  <a:lnTo>
                    <a:pt x="10" y="8"/>
                  </a:lnTo>
                  <a:lnTo>
                    <a:pt x="9" y="14"/>
                  </a:lnTo>
                  <a:lnTo>
                    <a:pt x="7" y="14"/>
                  </a:lnTo>
                  <a:lnTo>
                    <a:pt x="7" y="15"/>
                  </a:lnTo>
                  <a:lnTo>
                    <a:pt x="6" y="15"/>
                  </a:lnTo>
                  <a:lnTo>
                    <a:pt x="0" y="28"/>
                  </a:lnTo>
                  <a:lnTo>
                    <a:pt x="0" y="30"/>
                  </a:lnTo>
                  <a:lnTo>
                    <a:pt x="3" y="30"/>
                  </a:lnTo>
                  <a:lnTo>
                    <a:pt x="5" y="30"/>
                  </a:lnTo>
                  <a:lnTo>
                    <a:pt x="5" y="30"/>
                  </a:lnTo>
                  <a:lnTo>
                    <a:pt x="6" y="30"/>
                  </a:lnTo>
                  <a:lnTo>
                    <a:pt x="7" y="30"/>
                  </a:lnTo>
                  <a:lnTo>
                    <a:pt x="7" y="27"/>
                  </a:lnTo>
                  <a:lnTo>
                    <a:pt x="7" y="25"/>
                  </a:lnTo>
                  <a:lnTo>
                    <a:pt x="9" y="25"/>
                  </a:lnTo>
                  <a:lnTo>
                    <a:pt x="9" y="2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2" name="Freeform 249"/>
            <p:cNvSpPr>
              <a:spLocks/>
            </p:cNvSpPr>
            <p:nvPr/>
          </p:nvSpPr>
          <p:spPr bwMode="auto">
            <a:xfrm>
              <a:off x="6849299" y="2873029"/>
              <a:ext cx="5267" cy="10141"/>
            </a:xfrm>
            <a:custGeom>
              <a:avLst/>
              <a:gdLst/>
              <a:ahLst/>
              <a:cxnLst>
                <a:cxn ang="0">
                  <a:pos x="0" y="3"/>
                </a:cxn>
                <a:cxn ang="0">
                  <a:pos x="0" y="4"/>
                </a:cxn>
                <a:cxn ang="0">
                  <a:pos x="2" y="6"/>
                </a:cxn>
                <a:cxn ang="0">
                  <a:pos x="0" y="7"/>
                </a:cxn>
                <a:cxn ang="0">
                  <a:pos x="2" y="7"/>
                </a:cxn>
                <a:cxn ang="0">
                  <a:pos x="0" y="9"/>
                </a:cxn>
                <a:cxn ang="0">
                  <a:pos x="2" y="10"/>
                </a:cxn>
                <a:cxn ang="0">
                  <a:pos x="3" y="10"/>
                </a:cxn>
                <a:cxn ang="0">
                  <a:pos x="3" y="9"/>
                </a:cxn>
                <a:cxn ang="0">
                  <a:pos x="5" y="7"/>
                </a:cxn>
                <a:cxn ang="0">
                  <a:pos x="5" y="4"/>
                </a:cxn>
                <a:cxn ang="0">
                  <a:pos x="5" y="3"/>
                </a:cxn>
                <a:cxn ang="0">
                  <a:pos x="5" y="3"/>
                </a:cxn>
                <a:cxn ang="0">
                  <a:pos x="6" y="1"/>
                </a:cxn>
                <a:cxn ang="0">
                  <a:pos x="6" y="0"/>
                </a:cxn>
                <a:cxn ang="0">
                  <a:pos x="5" y="0"/>
                </a:cxn>
                <a:cxn ang="0">
                  <a:pos x="3" y="1"/>
                </a:cxn>
                <a:cxn ang="0">
                  <a:pos x="2" y="1"/>
                </a:cxn>
                <a:cxn ang="0">
                  <a:pos x="0" y="3"/>
                </a:cxn>
              </a:cxnLst>
              <a:rect l="0" t="0" r="r" b="b"/>
              <a:pathLst>
                <a:path w="6" h="10">
                  <a:moveTo>
                    <a:pt x="0" y="3"/>
                  </a:moveTo>
                  <a:lnTo>
                    <a:pt x="0" y="4"/>
                  </a:lnTo>
                  <a:lnTo>
                    <a:pt x="2" y="6"/>
                  </a:lnTo>
                  <a:lnTo>
                    <a:pt x="0" y="7"/>
                  </a:lnTo>
                  <a:lnTo>
                    <a:pt x="2" y="7"/>
                  </a:lnTo>
                  <a:lnTo>
                    <a:pt x="0" y="9"/>
                  </a:lnTo>
                  <a:lnTo>
                    <a:pt x="2" y="10"/>
                  </a:lnTo>
                  <a:lnTo>
                    <a:pt x="3" y="10"/>
                  </a:lnTo>
                  <a:lnTo>
                    <a:pt x="3" y="9"/>
                  </a:lnTo>
                  <a:lnTo>
                    <a:pt x="5" y="7"/>
                  </a:lnTo>
                  <a:lnTo>
                    <a:pt x="5" y="4"/>
                  </a:lnTo>
                  <a:lnTo>
                    <a:pt x="5" y="3"/>
                  </a:lnTo>
                  <a:lnTo>
                    <a:pt x="5" y="3"/>
                  </a:lnTo>
                  <a:lnTo>
                    <a:pt x="6" y="1"/>
                  </a:lnTo>
                  <a:lnTo>
                    <a:pt x="6" y="0"/>
                  </a:lnTo>
                  <a:lnTo>
                    <a:pt x="5" y="0"/>
                  </a:lnTo>
                  <a:lnTo>
                    <a:pt x="3" y="1"/>
                  </a:lnTo>
                  <a:lnTo>
                    <a:pt x="2" y="1"/>
                  </a:lnTo>
                  <a:lnTo>
                    <a:pt x="0"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3" name="Freeform 250"/>
            <p:cNvSpPr>
              <a:spLocks/>
            </p:cNvSpPr>
            <p:nvPr/>
          </p:nvSpPr>
          <p:spPr bwMode="auto">
            <a:xfrm>
              <a:off x="6849299" y="2873029"/>
              <a:ext cx="5267" cy="10141"/>
            </a:xfrm>
            <a:custGeom>
              <a:avLst/>
              <a:gdLst/>
              <a:ahLst/>
              <a:cxnLst>
                <a:cxn ang="0">
                  <a:pos x="0" y="3"/>
                </a:cxn>
                <a:cxn ang="0">
                  <a:pos x="0" y="4"/>
                </a:cxn>
                <a:cxn ang="0">
                  <a:pos x="2" y="6"/>
                </a:cxn>
                <a:cxn ang="0">
                  <a:pos x="0" y="7"/>
                </a:cxn>
                <a:cxn ang="0">
                  <a:pos x="2" y="7"/>
                </a:cxn>
                <a:cxn ang="0">
                  <a:pos x="0" y="9"/>
                </a:cxn>
                <a:cxn ang="0">
                  <a:pos x="2" y="10"/>
                </a:cxn>
                <a:cxn ang="0">
                  <a:pos x="3" y="10"/>
                </a:cxn>
                <a:cxn ang="0">
                  <a:pos x="3" y="9"/>
                </a:cxn>
                <a:cxn ang="0">
                  <a:pos x="5" y="7"/>
                </a:cxn>
                <a:cxn ang="0">
                  <a:pos x="5" y="4"/>
                </a:cxn>
                <a:cxn ang="0">
                  <a:pos x="5" y="3"/>
                </a:cxn>
                <a:cxn ang="0">
                  <a:pos x="5" y="3"/>
                </a:cxn>
                <a:cxn ang="0">
                  <a:pos x="6" y="1"/>
                </a:cxn>
                <a:cxn ang="0">
                  <a:pos x="6" y="0"/>
                </a:cxn>
                <a:cxn ang="0">
                  <a:pos x="5" y="0"/>
                </a:cxn>
                <a:cxn ang="0">
                  <a:pos x="3" y="1"/>
                </a:cxn>
                <a:cxn ang="0">
                  <a:pos x="2" y="1"/>
                </a:cxn>
                <a:cxn ang="0">
                  <a:pos x="0" y="3"/>
                </a:cxn>
              </a:cxnLst>
              <a:rect l="0" t="0" r="r" b="b"/>
              <a:pathLst>
                <a:path w="6" h="10">
                  <a:moveTo>
                    <a:pt x="0" y="3"/>
                  </a:moveTo>
                  <a:lnTo>
                    <a:pt x="0" y="4"/>
                  </a:lnTo>
                  <a:lnTo>
                    <a:pt x="2" y="6"/>
                  </a:lnTo>
                  <a:lnTo>
                    <a:pt x="0" y="7"/>
                  </a:lnTo>
                  <a:lnTo>
                    <a:pt x="2" y="7"/>
                  </a:lnTo>
                  <a:lnTo>
                    <a:pt x="0" y="9"/>
                  </a:lnTo>
                  <a:lnTo>
                    <a:pt x="2" y="10"/>
                  </a:lnTo>
                  <a:lnTo>
                    <a:pt x="3" y="10"/>
                  </a:lnTo>
                  <a:lnTo>
                    <a:pt x="3" y="9"/>
                  </a:lnTo>
                  <a:lnTo>
                    <a:pt x="5" y="7"/>
                  </a:lnTo>
                  <a:lnTo>
                    <a:pt x="5" y="4"/>
                  </a:lnTo>
                  <a:lnTo>
                    <a:pt x="5" y="3"/>
                  </a:lnTo>
                  <a:lnTo>
                    <a:pt x="5" y="3"/>
                  </a:lnTo>
                  <a:lnTo>
                    <a:pt x="6" y="1"/>
                  </a:lnTo>
                  <a:lnTo>
                    <a:pt x="6" y="0"/>
                  </a:lnTo>
                  <a:lnTo>
                    <a:pt x="5" y="0"/>
                  </a:lnTo>
                  <a:lnTo>
                    <a:pt x="3" y="1"/>
                  </a:lnTo>
                  <a:lnTo>
                    <a:pt x="2" y="1"/>
                  </a:lnTo>
                  <a:lnTo>
                    <a:pt x="0"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4" name="Freeform 253"/>
            <p:cNvSpPr>
              <a:spLocks/>
            </p:cNvSpPr>
            <p:nvPr/>
          </p:nvSpPr>
          <p:spPr bwMode="auto">
            <a:xfrm>
              <a:off x="7452348" y="2922721"/>
              <a:ext cx="93925" cy="225137"/>
            </a:xfrm>
            <a:custGeom>
              <a:avLst/>
              <a:gdLst/>
              <a:ahLst/>
              <a:cxnLst>
                <a:cxn ang="0">
                  <a:pos x="62" y="199"/>
                </a:cxn>
                <a:cxn ang="0">
                  <a:pos x="63" y="196"/>
                </a:cxn>
                <a:cxn ang="0">
                  <a:pos x="65" y="192"/>
                </a:cxn>
                <a:cxn ang="0">
                  <a:pos x="69" y="189"/>
                </a:cxn>
                <a:cxn ang="0">
                  <a:pos x="82" y="184"/>
                </a:cxn>
                <a:cxn ang="0">
                  <a:pos x="95" y="177"/>
                </a:cxn>
                <a:cxn ang="0">
                  <a:pos x="100" y="171"/>
                </a:cxn>
                <a:cxn ang="0">
                  <a:pos x="100" y="169"/>
                </a:cxn>
                <a:cxn ang="0">
                  <a:pos x="100" y="160"/>
                </a:cxn>
                <a:cxn ang="0">
                  <a:pos x="101" y="157"/>
                </a:cxn>
                <a:cxn ang="0">
                  <a:pos x="101" y="153"/>
                </a:cxn>
                <a:cxn ang="0">
                  <a:pos x="87" y="110"/>
                </a:cxn>
                <a:cxn ang="0">
                  <a:pos x="85" y="107"/>
                </a:cxn>
                <a:cxn ang="0">
                  <a:pos x="79" y="103"/>
                </a:cxn>
                <a:cxn ang="0">
                  <a:pos x="50" y="70"/>
                </a:cxn>
                <a:cxn ang="0">
                  <a:pos x="62" y="44"/>
                </a:cxn>
                <a:cxn ang="0">
                  <a:pos x="74" y="32"/>
                </a:cxn>
                <a:cxn ang="0">
                  <a:pos x="81" y="28"/>
                </a:cxn>
                <a:cxn ang="0">
                  <a:pos x="81" y="26"/>
                </a:cxn>
                <a:cxn ang="0">
                  <a:pos x="66" y="20"/>
                </a:cxn>
                <a:cxn ang="0">
                  <a:pos x="63" y="9"/>
                </a:cxn>
                <a:cxn ang="0">
                  <a:pos x="43" y="0"/>
                </a:cxn>
                <a:cxn ang="0">
                  <a:pos x="31" y="7"/>
                </a:cxn>
                <a:cxn ang="0">
                  <a:pos x="24" y="10"/>
                </a:cxn>
                <a:cxn ang="0">
                  <a:pos x="18" y="9"/>
                </a:cxn>
                <a:cxn ang="0">
                  <a:pos x="11" y="10"/>
                </a:cxn>
                <a:cxn ang="0">
                  <a:pos x="5" y="7"/>
                </a:cxn>
                <a:cxn ang="0">
                  <a:pos x="1" y="13"/>
                </a:cxn>
                <a:cxn ang="0">
                  <a:pos x="10" y="29"/>
                </a:cxn>
                <a:cxn ang="0">
                  <a:pos x="20" y="36"/>
                </a:cxn>
                <a:cxn ang="0">
                  <a:pos x="33" y="41"/>
                </a:cxn>
                <a:cxn ang="0">
                  <a:pos x="36" y="46"/>
                </a:cxn>
                <a:cxn ang="0">
                  <a:pos x="33" y="54"/>
                </a:cxn>
                <a:cxn ang="0">
                  <a:pos x="26" y="55"/>
                </a:cxn>
                <a:cxn ang="0">
                  <a:pos x="42" y="70"/>
                </a:cxn>
                <a:cxn ang="0">
                  <a:pos x="49" y="81"/>
                </a:cxn>
                <a:cxn ang="0">
                  <a:pos x="59" y="90"/>
                </a:cxn>
                <a:cxn ang="0">
                  <a:pos x="62" y="97"/>
                </a:cxn>
                <a:cxn ang="0">
                  <a:pos x="71" y="105"/>
                </a:cxn>
                <a:cxn ang="0">
                  <a:pos x="78" y="145"/>
                </a:cxn>
                <a:cxn ang="0">
                  <a:pos x="72" y="163"/>
                </a:cxn>
                <a:cxn ang="0">
                  <a:pos x="61" y="169"/>
                </a:cxn>
                <a:cxn ang="0">
                  <a:pos x="53" y="176"/>
                </a:cxn>
                <a:cxn ang="0">
                  <a:pos x="47" y="183"/>
                </a:cxn>
                <a:cxn ang="0">
                  <a:pos x="40" y="183"/>
                </a:cxn>
                <a:cxn ang="0">
                  <a:pos x="33" y="189"/>
                </a:cxn>
                <a:cxn ang="0">
                  <a:pos x="42" y="195"/>
                </a:cxn>
                <a:cxn ang="0">
                  <a:pos x="40" y="214"/>
                </a:cxn>
                <a:cxn ang="0">
                  <a:pos x="42" y="216"/>
                </a:cxn>
                <a:cxn ang="0">
                  <a:pos x="56" y="203"/>
                </a:cxn>
              </a:cxnLst>
              <a:rect l="0" t="0" r="r" b="b"/>
              <a:pathLst>
                <a:path w="103" h="216">
                  <a:moveTo>
                    <a:pt x="59" y="200"/>
                  </a:moveTo>
                  <a:lnTo>
                    <a:pt x="62" y="202"/>
                  </a:lnTo>
                  <a:lnTo>
                    <a:pt x="62" y="199"/>
                  </a:lnTo>
                  <a:lnTo>
                    <a:pt x="61" y="198"/>
                  </a:lnTo>
                  <a:lnTo>
                    <a:pt x="62" y="196"/>
                  </a:lnTo>
                  <a:lnTo>
                    <a:pt x="63" y="196"/>
                  </a:lnTo>
                  <a:lnTo>
                    <a:pt x="63" y="195"/>
                  </a:lnTo>
                  <a:lnTo>
                    <a:pt x="65" y="195"/>
                  </a:lnTo>
                  <a:lnTo>
                    <a:pt x="65" y="192"/>
                  </a:lnTo>
                  <a:lnTo>
                    <a:pt x="65" y="192"/>
                  </a:lnTo>
                  <a:lnTo>
                    <a:pt x="66" y="190"/>
                  </a:lnTo>
                  <a:lnTo>
                    <a:pt x="69" y="189"/>
                  </a:lnTo>
                  <a:lnTo>
                    <a:pt x="71" y="190"/>
                  </a:lnTo>
                  <a:lnTo>
                    <a:pt x="74" y="190"/>
                  </a:lnTo>
                  <a:lnTo>
                    <a:pt x="82" y="184"/>
                  </a:lnTo>
                  <a:lnTo>
                    <a:pt x="85" y="183"/>
                  </a:lnTo>
                  <a:lnTo>
                    <a:pt x="92" y="179"/>
                  </a:lnTo>
                  <a:lnTo>
                    <a:pt x="95" y="177"/>
                  </a:lnTo>
                  <a:lnTo>
                    <a:pt x="97" y="177"/>
                  </a:lnTo>
                  <a:lnTo>
                    <a:pt x="98" y="173"/>
                  </a:lnTo>
                  <a:lnTo>
                    <a:pt x="100" y="171"/>
                  </a:lnTo>
                  <a:lnTo>
                    <a:pt x="100" y="170"/>
                  </a:lnTo>
                  <a:lnTo>
                    <a:pt x="100" y="169"/>
                  </a:lnTo>
                  <a:lnTo>
                    <a:pt x="100" y="169"/>
                  </a:lnTo>
                  <a:lnTo>
                    <a:pt x="100" y="169"/>
                  </a:lnTo>
                  <a:lnTo>
                    <a:pt x="100" y="161"/>
                  </a:lnTo>
                  <a:lnTo>
                    <a:pt x="100" y="160"/>
                  </a:lnTo>
                  <a:lnTo>
                    <a:pt x="100" y="161"/>
                  </a:lnTo>
                  <a:lnTo>
                    <a:pt x="100" y="158"/>
                  </a:lnTo>
                  <a:lnTo>
                    <a:pt x="101" y="157"/>
                  </a:lnTo>
                  <a:lnTo>
                    <a:pt x="103" y="157"/>
                  </a:lnTo>
                  <a:lnTo>
                    <a:pt x="103" y="158"/>
                  </a:lnTo>
                  <a:lnTo>
                    <a:pt x="101" y="153"/>
                  </a:lnTo>
                  <a:lnTo>
                    <a:pt x="101" y="153"/>
                  </a:lnTo>
                  <a:lnTo>
                    <a:pt x="94" y="119"/>
                  </a:lnTo>
                  <a:lnTo>
                    <a:pt x="87" y="110"/>
                  </a:lnTo>
                  <a:lnTo>
                    <a:pt x="87" y="106"/>
                  </a:lnTo>
                  <a:lnTo>
                    <a:pt x="87" y="107"/>
                  </a:lnTo>
                  <a:lnTo>
                    <a:pt x="85" y="107"/>
                  </a:lnTo>
                  <a:lnTo>
                    <a:pt x="85" y="106"/>
                  </a:lnTo>
                  <a:lnTo>
                    <a:pt x="84" y="105"/>
                  </a:lnTo>
                  <a:lnTo>
                    <a:pt x="79" y="103"/>
                  </a:lnTo>
                  <a:lnTo>
                    <a:pt x="61" y="84"/>
                  </a:lnTo>
                  <a:lnTo>
                    <a:pt x="59" y="77"/>
                  </a:lnTo>
                  <a:lnTo>
                    <a:pt x="50" y="70"/>
                  </a:lnTo>
                  <a:lnTo>
                    <a:pt x="49" y="67"/>
                  </a:lnTo>
                  <a:lnTo>
                    <a:pt x="55" y="51"/>
                  </a:lnTo>
                  <a:lnTo>
                    <a:pt x="62" y="44"/>
                  </a:lnTo>
                  <a:lnTo>
                    <a:pt x="63" y="39"/>
                  </a:lnTo>
                  <a:lnTo>
                    <a:pt x="66" y="36"/>
                  </a:lnTo>
                  <a:lnTo>
                    <a:pt x="74" y="32"/>
                  </a:lnTo>
                  <a:lnTo>
                    <a:pt x="74" y="30"/>
                  </a:lnTo>
                  <a:lnTo>
                    <a:pt x="79" y="28"/>
                  </a:lnTo>
                  <a:lnTo>
                    <a:pt x="81" y="28"/>
                  </a:lnTo>
                  <a:lnTo>
                    <a:pt x="82" y="28"/>
                  </a:lnTo>
                  <a:lnTo>
                    <a:pt x="82" y="26"/>
                  </a:lnTo>
                  <a:lnTo>
                    <a:pt x="81" y="26"/>
                  </a:lnTo>
                  <a:lnTo>
                    <a:pt x="74" y="25"/>
                  </a:lnTo>
                  <a:lnTo>
                    <a:pt x="72" y="23"/>
                  </a:lnTo>
                  <a:lnTo>
                    <a:pt x="66" y="20"/>
                  </a:lnTo>
                  <a:lnTo>
                    <a:pt x="63" y="17"/>
                  </a:lnTo>
                  <a:lnTo>
                    <a:pt x="62" y="13"/>
                  </a:lnTo>
                  <a:lnTo>
                    <a:pt x="63" y="9"/>
                  </a:lnTo>
                  <a:lnTo>
                    <a:pt x="63" y="7"/>
                  </a:lnTo>
                  <a:lnTo>
                    <a:pt x="55" y="6"/>
                  </a:lnTo>
                  <a:lnTo>
                    <a:pt x="43" y="0"/>
                  </a:lnTo>
                  <a:lnTo>
                    <a:pt x="42" y="0"/>
                  </a:lnTo>
                  <a:lnTo>
                    <a:pt x="36" y="6"/>
                  </a:lnTo>
                  <a:lnTo>
                    <a:pt x="31" y="7"/>
                  </a:lnTo>
                  <a:lnTo>
                    <a:pt x="29" y="7"/>
                  </a:lnTo>
                  <a:lnTo>
                    <a:pt x="27" y="9"/>
                  </a:lnTo>
                  <a:lnTo>
                    <a:pt x="24" y="10"/>
                  </a:lnTo>
                  <a:lnTo>
                    <a:pt x="23" y="9"/>
                  </a:lnTo>
                  <a:lnTo>
                    <a:pt x="20" y="10"/>
                  </a:lnTo>
                  <a:lnTo>
                    <a:pt x="18" y="9"/>
                  </a:lnTo>
                  <a:lnTo>
                    <a:pt x="17" y="9"/>
                  </a:lnTo>
                  <a:lnTo>
                    <a:pt x="13" y="12"/>
                  </a:lnTo>
                  <a:lnTo>
                    <a:pt x="11" y="10"/>
                  </a:lnTo>
                  <a:lnTo>
                    <a:pt x="10" y="9"/>
                  </a:lnTo>
                  <a:lnTo>
                    <a:pt x="5" y="9"/>
                  </a:lnTo>
                  <a:lnTo>
                    <a:pt x="5" y="7"/>
                  </a:lnTo>
                  <a:lnTo>
                    <a:pt x="4" y="9"/>
                  </a:lnTo>
                  <a:lnTo>
                    <a:pt x="1" y="12"/>
                  </a:lnTo>
                  <a:lnTo>
                    <a:pt x="1" y="13"/>
                  </a:lnTo>
                  <a:lnTo>
                    <a:pt x="0" y="12"/>
                  </a:lnTo>
                  <a:lnTo>
                    <a:pt x="11" y="26"/>
                  </a:lnTo>
                  <a:lnTo>
                    <a:pt x="10" y="29"/>
                  </a:lnTo>
                  <a:lnTo>
                    <a:pt x="11" y="32"/>
                  </a:lnTo>
                  <a:lnTo>
                    <a:pt x="14" y="35"/>
                  </a:lnTo>
                  <a:lnTo>
                    <a:pt x="20" y="36"/>
                  </a:lnTo>
                  <a:lnTo>
                    <a:pt x="24" y="35"/>
                  </a:lnTo>
                  <a:lnTo>
                    <a:pt x="29" y="35"/>
                  </a:lnTo>
                  <a:lnTo>
                    <a:pt x="33" y="41"/>
                  </a:lnTo>
                  <a:lnTo>
                    <a:pt x="33" y="42"/>
                  </a:lnTo>
                  <a:lnTo>
                    <a:pt x="36" y="44"/>
                  </a:lnTo>
                  <a:lnTo>
                    <a:pt x="36" y="46"/>
                  </a:lnTo>
                  <a:lnTo>
                    <a:pt x="37" y="48"/>
                  </a:lnTo>
                  <a:lnTo>
                    <a:pt x="37" y="49"/>
                  </a:lnTo>
                  <a:lnTo>
                    <a:pt x="33" y="54"/>
                  </a:lnTo>
                  <a:lnTo>
                    <a:pt x="29" y="54"/>
                  </a:lnTo>
                  <a:lnTo>
                    <a:pt x="27" y="54"/>
                  </a:lnTo>
                  <a:lnTo>
                    <a:pt x="26" y="55"/>
                  </a:lnTo>
                  <a:lnTo>
                    <a:pt x="26" y="58"/>
                  </a:lnTo>
                  <a:lnTo>
                    <a:pt x="26" y="60"/>
                  </a:lnTo>
                  <a:lnTo>
                    <a:pt x="42" y="70"/>
                  </a:lnTo>
                  <a:lnTo>
                    <a:pt x="42" y="73"/>
                  </a:lnTo>
                  <a:lnTo>
                    <a:pt x="47" y="78"/>
                  </a:lnTo>
                  <a:lnTo>
                    <a:pt x="49" y="81"/>
                  </a:lnTo>
                  <a:lnTo>
                    <a:pt x="53" y="86"/>
                  </a:lnTo>
                  <a:lnTo>
                    <a:pt x="55" y="86"/>
                  </a:lnTo>
                  <a:lnTo>
                    <a:pt x="59" y="90"/>
                  </a:lnTo>
                  <a:lnTo>
                    <a:pt x="62" y="96"/>
                  </a:lnTo>
                  <a:lnTo>
                    <a:pt x="62" y="97"/>
                  </a:lnTo>
                  <a:lnTo>
                    <a:pt x="62" y="97"/>
                  </a:lnTo>
                  <a:lnTo>
                    <a:pt x="62" y="100"/>
                  </a:lnTo>
                  <a:lnTo>
                    <a:pt x="65" y="100"/>
                  </a:lnTo>
                  <a:lnTo>
                    <a:pt x="71" y="105"/>
                  </a:lnTo>
                  <a:lnTo>
                    <a:pt x="75" y="116"/>
                  </a:lnTo>
                  <a:lnTo>
                    <a:pt x="75" y="141"/>
                  </a:lnTo>
                  <a:lnTo>
                    <a:pt x="78" y="145"/>
                  </a:lnTo>
                  <a:lnTo>
                    <a:pt x="76" y="161"/>
                  </a:lnTo>
                  <a:lnTo>
                    <a:pt x="75" y="163"/>
                  </a:lnTo>
                  <a:lnTo>
                    <a:pt x="72" y="163"/>
                  </a:lnTo>
                  <a:lnTo>
                    <a:pt x="68" y="166"/>
                  </a:lnTo>
                  <a:lnTo>
                    <a:pt x="66" y="166"/>
                  </a:lnTo>
                  <a:lnTo>
                    <a:pt x="61" y="169"/>
                  </a:lnTo>
                  <a:lnTo>
                    <a:pt x="61" y="170"/>
                  </a:lnTo>
                  <a:lnTo>
                    <a:pt x="53" y="171"/>
                  </a:lnTo>
                  <a:lnTo>
                    <a:pt x="53" y="176"/>
                  </a:lnTo>
                  <a:lnTo>
                    <a:pt x="53" y="180"/>
                  </a:lnTo>
                  <a:lnTo>
                    <a:pt x="50" y="182"/>
                  </a:lnTo>
                  <a:lnTo>
                    <a:pt x="47" y="183"/>
                  </a:lnTo>
                  <a:lnTo>
                    <a:pt x="45" y="184"/>
                  </a:lnTo>
                  <a:lnTo>
                    <a:pt x="42" y="183"/>
                  </a:lnTo>
                  <a:lnTo>
                    <a:pt x="40" y="183"/>
                  </a:lnTo>
                  <a:lnTo>
                    <a:pt x="40" y="186"/>
                  </a:lnTo>
                  <a:lnTo>
                    <a:pt x="39" y="187"/>
                  </a:lnTo>
                  <a:lnTo>
                    <a:pt x="33" y="189"/>
                  </a:lnTo>
                  <a:lnTo>
                    <a:pt x="34" y="192"/>
                  </a:lnTo>
                  <a:lnTo>
                    <a:pt x="40" y="193"/>
                  </a:lnTo>
                  <a:lnTo>
                    <a:pt x="42" y="195"/>
                  </a:lnTo>
                  <a:lnTo>
                    <a:pt x="39" y="200"/>
                  </a:lnTo>
                  <a:lnTo>
                    <a:pt x="39" y="208"/>
                  </a:lnTo>
                  <a:lnTo>
                    <a:pt x="40" y="214"/>
                  </a:lnTo>
                  <a:lnTo>
                    <a:pt x="39" y="215"/>
                  </a:lnTo>
                  <a:lnTo>
                    <a:pt x="39" y="216"/>
                  </a:lnTo>
                  <a:lnTo>
                    <a:pt x="42" y="216"/>
                  </a:lnTo>
                  <a:lnTo>
                    <a:pt x="50" y="208"/>
                  </a:lnTo>
                  <a:lnTo>
                    <a:pt x="56" y="205"/>
                  </a:lnTo>
                  <a:lnTo>
                    <a:pt x="56" y="203"/>
                  </a:lnTo>
                  <a:lnTo>
                    <a:pt x="56" y="202"/>
                  </a:lnTo>
                  <a:lnTo>
                    <a:pt x="59" y="20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5" name="Freeform 254"/>
            <p:cNvSpPr>
              <a:spLocks/>
            </p:cNvSpPr>
            <p:nvPr/>
          </p:nvSpPr>
          <p:spPr bwMode="auto">
            <a:xfrm>
              <a:off x="7451916" y="2922957"/>
              <a:ext cx="94456" cy="224944"/>
            </a:xfrm>
            <a:custGeom>
              <a:avLst/>
              <a:gdLst>
                <a:gd name="T0" fmla="*/ 2147483647 w 103"/>
                <a:gd name="T1" fmla="*/ 2147483647 h 216"/>
                <a:gd name="T2" fmla="*/ 2147483647 w 103"/>
                <a:gd name="T3" fmla="*/ 2147483647 h 216"/>
                <a:gd name="T4" fmla="*/ 2147483647 w 103"/>
                <a:gd name="T5" fmla="*/ 2147483647 h 216"/>
                <a:gd name="T6" fmla="*/ 2147483647 w 103"/>
                <a:gd name="T7" fmla="*/ 2147483647 h 216"/>
                <a:gd name="T8" fmla="*/ 2147483647 w 103"/>
                <a:gd name="T9" fmla="*/ 2147483647 h 216"/>
                <a:gd name="T10" fmla="*/ 2147483647 w 103"/>
                <a:gd name="T11" fmla="*/ 2147483647 h 216"/>
                <a:gd name="T12" fmla="*/ 2147483647 w 103"/>
                <a:gd name="T13" fmla="*/ 2147483647 h 216"/>
                <a:gd name="T14" fmla="*/ 2147483647 w 103"/>
                <a:gd name="T15" fmla="*/ 2147483647 h 216"/>
                <a:gd name="T16" fmla="*/ 2147483647 w 103"/>
                <a:gd name="T17" fmla="*/ 2147483647 h 216"/>
                <a:gd name="T18" fmla="*/ 2147483647 w 103"/>
                <a:gd name="T19" fmla="*/ 2147483647 h 216"/>
                <a:gd name="T20" fmla="*/ 2147483647 w 103"/>
                <a:gd name="T21" fmla="*/ 2147483647 h 216"/>
                <a:gd name="T22" fmla="*/ 2147483647 w 103"/>
                <a:gd name="T23" fmla="*/ 2147483647 h 216"/>
                <a:gd name="T24" fmla="*/ 2147483647 w 103"/>
                <a:gd name="T25" fmla="*/ 2147483647 h 216"/>
                <a:gd name="T26" fmla="*/ 2147483647 w 103"/>
                <a:gd name="T27" fmla="*/ 2147483647 h 216"/>
                <a:gd name="T28" fmla="*/ 2147483647 w 103"/>
                <a:gd name="T29" fmla="*/ 2147483647 h 216"/>
                <a:gd name="T30" fmla="*/ 2147483647 w 103"/>
                <a:gd name="T31" fmla="*/ 2147483647 h 216"/>
                <a:gd name="T32" fmla="*/ 2147483647 w 103"/>
                <a:gd name="T33" fmla="*/ 2147483647 h 216"/>
                <a:gd name="T34" fmla="*/ 2147483647 w 103"/>
                <a:gd name="T35" fmla="*/ 2147483647 h 216"/>
                <a:gd name="T36" fmla="*/ 2147483647 w 103"/>
                <a:gd name="T37" fmla="*/ 2147483647 h 216"/>
                <a:gd name="T38" fmla="*/ 2147483647 w 103"/>
                <a:gd name="T39" fmla="*/ 2147483647 h 216"/>
                <a:gd name="T40" fmla="*/ 2147483647 w 103"/>
                <a:gd name="T41" fmla="*/ 2147483647 h 216"/>
                <a:gd name="T42" fmla="*/ 2147483647 w 103"/>
                <a:gd name="T43" fmla="*/ 0 h 216"/>
                <a:gd name="T44" fmla="*/ 2147483647 w 103"/>
                <a:gd name="T45" fmla="*/ 2147483647 h 216"/>
                <a:gd name="T46" fmla="*/ 2147483647 w 103"/>
                <a:gd name="T47" fmla="*/ 2147483647 h 216"/>
                <a:gd name="T48" fmla="*/ 2147483647 w 103"/>
                <a:gd name="T49" fmla="*/ 2147483647 h 216"/>
                <a:gd name="T50" fmla="*/ 2147483647 w 103"/>
                <a:gd name="T51" fmla="*/ 2147483647 h 216"/>
                <a:gd name="T52" fmla="*/ 2147483647 w 103"/>
                <a:gd name="T53" fmla="*/ 2147483647 h 216"/>
                <a:gd name="T54" fmla="*/ 2147483647 w 103"/>
                <a:gd name="T55" fmla="*/ 2147483647 h 216"/>
                <a:gd name="T56" fmla="*/ 2147483647 w 103"/>
                <a:gd name="T57" fmla="*/ 2147483647 h 216"/>
                <a:gd name="T58" fmla="*/ 2147483647 w 103"/>
                <a:gd name="T59" fmla="*/ 2147483647 h 216"/>
                <a:gd name="T60" fmla="*/ 2147483647 w 103"/>
                <a:gd name="T61" fmla="*/ 2147483647 h 216"/>
                <a:gd name="T62" fmla="*/ 2147483647 w 103"/>
                <a:gd name="T63" fmla="*/ 2147483647 h 216"/>
                <a:gd name="T64" fmla="*/ 2147483647 w 103"/>
                <a:gd name="T65" fmla="*/ 2147483647 h 216"/>
                <a:gd name="T66" fmla="*/ 2147483647 w 103"/>
                <a:gd name="T67" fmla="*/ 2147483647 h 216"/>
                <a:gd name="T68" fmla="*/ 2147483647 w 103"/>
                <a:gd name="T69" fmla="*/ 2147483647 h 216"/>
                <a:gd name="T70" fmla="*/ 2147483647 w 103"/>
                <a:gd name="T71" fmla="*/ 2147483647 h 216"/>
                <a:gd name="T72" fmla="*/ 2147483647 w 103"/>
                <a:gd name="T73" fmla="*/ 2147483647 h 216"/>
                <a:gd name="T74" fmla="*/ 2147483647 w 103"/>
                <a:gd name="T75" fmla="*/ 2147483647 h 216"/>
                <a:gd name="T76" fmla="*/ 2147483647 w 103"/>
                <a:gd name="T77" fmla="*/ 2147483647 h 216"/>
                <a:gd name="T78" fmla="*/ 2147483647 w 103"/>
                <a:gd name="T79" fmla="*/ 2147483647 h 216"/>
                <a:gd name="T80" fmla="*/ 2147483647 w 103"/>
                <a:gd name="T81" fmla="*/ 2147483647 h 216"/>
                <a:gd name="T82" fmla="*/ 2147483647 w 103"/>
                <a:gd name="T83" fmla="*/ 2147483647 h 216"/>
                <a:gd name="T84" fmla="*/ 2147483647 w 103"/>
                <a:gd name="T85" fmla="*/ 2147483647 h 216"/>
                <a:gd name="T86" fmla="*/ 2147483647 w 103"/>
                <a:gd name="T87" fmla="*/ 2147483647 h 216"/>
                <a:gd name="T88" fmla="*/ 2147483647 w 103"/>
                <a:gd name="T89" fmla="*/ 2147483647 h 216"/>
                <a:gd name="T90" fmla="*/ 2147483647 w 103"/>
                <a:gd name="T91" fmla="*/ 2147483647 h 216"/>
                <a:gd name="T92" fmla="*/ 2147483647 w 103"/>
                <a:gd name="T93" fmla="*/ 2147483647 h 216"/>
                <a:gd name="T94" fmla="*/ 2147483647 w 103"/>
                <a:gd name="T95" fmla="*/ 2147483647 h 216"/>
                <a:gd name="T96" fmla="*/ 2147483647 w 103"/>
                <a:gd name="T97" fmla="*/ 2147483647 h 216"/>
                <a:gd name="T98" fmla="*/ 2147483647 w 103"/>
                <a:gd name="T99" fmla="*/ 2147483647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03"/>
                <a:gd name="T151" fmla="*/ 0 h 216"/>
                <a:gd name="T152" fmla="*/ 103 w 103"/>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03" h="216">
                  <a:moveTo>
                    <a:pt x="59" y="200"/>
                  </a:moveTo>
                  <a:lnTo>
                    <a:pt x="62" y="202"/>
                  </a:lnTo>
                  <a:lnTo>
                    <a:pt x="62" y="199"/>
                  </a:lnTo>
                  <a:lnTo>
                    <a:pt x="61" y="198"/>
                  </a:lnTo>
                  <a:lnTo>
                    <a:pt x="62" y="196"/>
                  </a:lnTo>
                  <a:lnTo>
                    <a:pt x="63" y="196"/>
                  </a:lnTo>
                  <a:lnTo>
                    <a:pt x="63" y="195"/>
                  </a:lnTo>
                  <a:lnTo>
                    <a:pt x="65" y="195"/>
                  </a:lnTo>
                  <a:lnTo>
                    <a:pt x="65" y="192"/>
                  </a:lnTo>
                  <a:lnTo>
                    <a:pt x="66" y="190"/>
                  </a:lnTo>
                  <a:lnTo>
                    <a:pt x="69" y="189"/>
                  </a:lnTo>
                  <a:lnTo>
                    <a:pt x="71" y="190"/>
                  </a:lnTo>
                  <a:lnTo>
                    <a:pt x="74" y="190"/>
                  </a:lnTo>
                  <a:lnTo>
                    <a:pt x="82" y="184"/>
                  </a:lnTo>
                  <a:lnTo>
                    <a:pt x="85" y="183"/>
                  </a:lnTo>
                  <a:lnTo>
                    <a:pt x="92" y="179"/>
                  </a:lnTo>
                  <a:lnTo>
                    <a:pt x="95" y="177"/>
                  </a:lnTo>
                  <a:lnTo>
                    <a:pt x="97" y="177"/>
                  </a:lnTo>
                  <a:lnTo>
                    <a:pt x="98" y="173"/>
                  </a:lnTo>
                  <a:lnTo>
                    <a:pt x="100" y="171"/>
                  </a:lnTo>
                  <a:lnTo>
                    <a:pt x="100" y="170"/>
                  </a:lnTo>
                  <a:lnTo>
                    <a:pt x="100" y="169"/>
                  </a:lnTo>
                  <a:lnTo>
                    <a:pt x="100" y="161"/>
                  </a:lnTo>
                  <a:lnTo>
                    <a:pt x="100" y="160"/>
                  </a:lnTo>
                  <a:lnTo>
                    <a:pt x="100" y="161"/>
                  </a:lnTo>
                  <a:lnTo>
                    <a:pt x="100" y="158"/>
                  </a:lnTo>
                  <a:lnTo>
                    <a:pt x="101" y="157"/>
                  </a:lnTo>
                  <a:lnTo>
                    <a:pt x="103" y="157"/>
                  </a:lnTo>
                  <a:lnTo>
                    <a:pt x="103" y="158"/>
                  </a:lnTo>
                  <a:lnTo>
                    <a:pt x="101" y="153"/>
                  </a:lnTo>
                  <a:lnTo>
                    <a:pt x="94" y="119"/>
                  </a:lnTo>
                  <a:lnTo>
                    <a:pt x="87" y="110"/>
                  </a:lnTo>
                  <a:lnTo>
                    <a:pt x="87" y="106"/>
                  </a:lnTo>
                  <a:lnTo>
                    <a:pt x="87" y="107"/>
                  </a:lnTo>
                  <a:lnTo>
                    <a:pt x="85" y="107"/>
                  </a:lnTo>
                  <a:lnTo>
                    <a:pt x="85" y="106"/>
                  </a:lnTo>
                  <a:lnTo>
                    <a:pt x="84" y="105"/>
                  </a:lnTo>
                  <a:lnTo>
                    <a:pt x="79" y="103"/>
                  </a:lnTo>
                  <a:lnTo>
                    <a:pt x="61" y="84"/>
                  </a:lnTo>
                  <a:lnTo>
                    <a:pt x="59" y="77"/>
                  </a:lnTo>
                  <a:lnTo>
                    <a:pt x="50" y="70"/>
                  </a:lnTo>
                  <a:lnTo>
                    <a:pt x="49" y="67"/>
                  </a:lnTo>
                  <a:lnTo>
                    <a:pt x="55" y="51"/>
                  </a:lnTo>
                  <a:lnTo>
                    <a:pt x="62" y="44"/>
                  </a:lnTo>
                  <a:lnTo>
                    <a:pt x="63" y="39"/>
                  </a:lnTo>
                  <a:lnTo>
                    <a:pt x="66" y="36"/>
                  </a:lnTo>
                  <a:lnTo>
                    <a:pt x="74" y="32"/>
                  </a:lnTo>
                  <a:lnTo>
                    <a:pt x="74" y="30"/>
                  </a:lnTo>
                  <a:lnTo>
                    <a:pt x="79" y="28"/>
                  </a:lnTo>
                  <a:lnTo>
                    <a:pt x="81" y="28"/>
                  </a:lnTo>
                  <a:lnTo>
                    <a:pt x="82" y="28"/>
                  </a:lnTo>
                  <a:lnTo>
                    <a:pt x="82" y="26"/>
                  </a:lnTo>
                  <a:lnTo>
                    <a:pt x="81" y="26"/>
                  </a:lnTo>
                  <a:lnTo>
                    <a:pt x="74" y="25"/>
                  </a:lnTo>
                  <a:lnTo>
                    <a:pt x="72" y="23"/>
                  </a:lnTo>
                  <a:lnTo>
                    <a:pt x="66" y="20"/>
                  </a:lnTo>
                  <a:lnTo>
                    <a:pt x="63" y="17"/>
                  </a:lnTo>
                  <a:lnTo>
                    <a:pt x="62" y="13"/>
                  </a:lnTo>
                  <a:lnTo>
                    <a:pt x="63" y="9"/>
                  </a:lnTo>
                  <a:lnTo>
                    <a:pt x="63" y="7"/>
                  </a:lnTo>
                  <a:lnTo>
                    <a:pt x="55" y="6"/>
                  </a:lnTo>
                  <a:lnTo>
                    <a:pt x="43" y="0"/>
                  </a:lnTo>
                  <a:lnTo>
                    <a:pt x="42" y="0"/>
                  </a:lnTo>
                  <a:lnTo>
                    <a:pt x="36" y="6"/>
                  </a:lnTo>
                  <a:lnTo>
                    <a:pt x="31" y="7"/>
                  </a:lnTo>
                  <a:lnTo>
                    <a:pt x="29" y="7"/>
                  </a:lnTo>
                  <a:lnTo>
                    <a:pt x="27" y="9"/>
                  </a:lnTo>
                  <a:lnTo>
                    <a:pt x="24" y="10"/>
                  </a:lnTo>
                  <a:lnTo>
                    <a:pt x="23" y="9"/>
                  </a:lnTo>
                  <a:lnTo>
                    <a:pt x="20" y="10"/>
                  </a:lnTo>
                  <a:lnTo>
                    <a:pt x="18" y="9"/>
                  </a:lnTo>
                  <a:lnTo>
                    <a:pt x="17" y="9"/>
                  </a:lnTo>
                  <a:lnTo>
                    <a:pt x="13" y="12"/>
                  </a:lnTo>
                  <a:lnTo>
                    <a:pt x="11" y="10"/>
                  </a:lnTo>
                  <a:lnTo>
                    <a:pt x="10" y="9"/>
                  </a:lnTo>
                  <a:lnTo>
                    <a:pt x="5" y="9"/>
                  </a:lnTo>
                  <a:lnTo>
                    <a:pt x="5" y="7"/>
                  </a:lnTo>
                  <a:lnTo>
                    <a:pt x="4" y="9"/>
                  </a:lnTo>
                  <a:lnTo>
                    <a:pt x="1" y="12"/>
                  </a:lnTo>
                  <a:lnTo>
                    <a:pt x="1" y="13"/>
                  </a:lnTo>
                  <a:lnTo>
                    <a:pt x="0" y="12"/>
                  </a:lnTo>
                  <a:lnTo>
                    <a:pt x="11" y="26"/>
                  </a:lnTo>
                  <a:lnTo>
                    <a:pt x="10" y="29"/>
                  </a:lnTo>
                  <a:lnTo>
                    <a:pt x="11" y="32"/>
                  </a:lnTo>
                  <a:lnTo>
                    <a:pt x="14" y="35"/>
                  </a:lnTo>
                  <a:lnTo>
                    <a:pt x="20" y="36"/>
                  </a:lnTo>
                  <a:lnTo>
                    <a:pt x="24" y="35"/>
                  </a:lnTo>
                  <a:lnTo>
                    <a:pt x="29" y="35"/>
                  </a:lnTo>
                  <a:lnTo>
                    <a:pt x="33" y="41"/>
                  </a:lnTo>
                  <a:lnTo>
                    <a:pt x="33" y="42"/>
                  </a:lnTo>
                  <a:lnTo>
                    <a:pt x="36" y="44"/>
                  </a:lnTo>
                  <a:lnTo>
                    <a:pt x="36" y="46"/>
                  </a:lnTo>
                  <a:lnTo>
                    <a:pt x="37" y="48"/>
                  </a:lnTo>
                  <a:lnTo>
                    <a:pt x="37" y="49"/>
                  </a:lnTo>
                  <a:lnTo>
                    <a:pt x="33" y="54"/>
                  </a:lnTo>
                  <a:lnTo>
                    <a:pt x="29" y="54"/>
                  </a:lnTo>
                  <a:lnTo>
                    <a:pt x="27" y="54"/>
                  </a:lnTo>
                  <a:lnTo>
                    <a:pt x="26" y="55"/>
                  </a:lnTo>
                  <a:lnTo>
                    <a:pt x="26" y="58"/>
                  </a:lnTo>
                  <a:lnTo>
                    <a:pt x="26" y="60"/>
                  </a:lnTo>
                  <a:lnTo>
                    <a:pt x="42" y="70"/>
                  </a:lnTo>
                  <a:lnTo>
                    <a:pt x="42" y="73"/>
                  </a:lnTo>
                  <a:lnTo>
                    <a:pt x="47" y="78"/>
                  </a:lnTo>
                  <a:lnTo>
                    <a:pt x="49" y="81"/>
                  </a:lnTo>
                  <a:lnTo>
                    <a:pt x="53" y="86"/>
                  </a:lnTo>
                  <a:lnTo>
                    <a:pt x="55" y="86"/>
                  </a:lnTo>
                  <a:lnTo>
                    <a:pt x="59" y="90"/>
                  </a:lnTo>
                  <a:lnTo>
                    <a:pt x="62" y="96"/>
                  </a:lnTo>
                  <a:lnTo>
                    <a:pt x="62" y="97"/>
                  </a:lnTo>
                  <a:lnTo>
                    <a:pt x="62" y="100"/>
                  </a:lnTo>
                  <a:lnTo>
                    <a:pt x="65" y="100"/>
                  </a:lnTo>
                  <a:lnTo>
                    <a:pt x="71" y="105"/>
                  </a:lnTo>
                  <a:lnTo>
                    <a:pt x="75" y="116"/>
                  </a:lnTo>
                  <a:lnTo>
                    <a:pt x="75" y="141"/>
                  </a:lnTo>
                  <a:lnTo>
                    <a:pt x="78" y="145"/>
                  </a:lnTo>
                  <a:lnTo>
                    <a:pt x="76" y="161"/>
                  </a:lnTo>
                  <a:lnTo>
                    <a:pt x="75" y="163"/>
                  </a:lnTo>
                  <a:lnTo>
                    <a:pt x="72" y="163"/>
                  </a:lnTo>
                  <a:lnTo>
                    <a:pt x="68" y="166"/>
                  </a:lnTo>
                  <a:lnTo>
                    <a:pt x="66" y="166"/>
                  </a:lnTo>
                  <a:lnTo>
                    <a:pt x="61" y="169"/>
                  </a:lnTo>
                  <a:lnTo>
                    <a:pt x="61" y="170"/>
                  </a:lnTo>
                  <a:lnTo>
                    <a:pt x="53" y="171"/>
                  </a:lnTo>
                  <a:lnTo>
                    <a:pt x="53" y="176"/>
                  </a:lnTo>
                  <a:lnTo>
                    <a:pt x="53" y="180"/>
                  </a:lnTo>
                  <a:lnTo>
                    <a:pt x="50" y="182"/>
                  </a:lnTo>
                  <a:lnTo>
                    <a:pt x="47" y="183"/>
                  </a:lnTo>
                  <a:lnTo>
                    <a:pt x="45" y="184"/>
                  </a:lnTo>
                  <a:lnTo>
                    <a:pt x="42" y="183"/>
                  </a:lnTo>
                  <a:lnTo>
                    <a:pt x="40" y="183"/>
                  </a:lnTo>
                  <a:lnTo>
                    <a:pt x="40" y="186"/>
                  </a:lnTo>
                  <a:lnTo>
                    <a:pt x="39" y="187"/>
                  </a:lnTo>
                  <a:lnTo>
                    <a:pt x="33" y="189"/>
                  </a:lnTo>
                  <a:lnTo>
                    <a:pt x="34" y="192"/>
                  </a:lnTo>
                  <a:lnTo>
                    <a:pt x="40" y="193"/>
                  </a:lnTo>
                  <a:lnTo>
                    <a:pt x="42" y="195"/>
                  </a:lnTo>
                  <a:lnTo>
                    <a:pt x="39" y="200"/>
                  </a:lnTo>
                  <a:lnTo>
                    <a:pt x="39" y="208"/>
                  </a:lnTo>
                  <a:lnTo>
                    <a:pt x="40" y="214"/>
                  </a:lnTo>
                  <a:lnTo>
                    <a:pt x="39" y="215"/>
                  </a:lnTo>
                  <a:lnTo>
                    <a:pt x="39" y="216"/>
                  </a:lnTo>
                  <a:lnTo>
                    <a:pt x="42" y="216"/>
                  </a:lnTo>
                  <a:lnTo>
                    <a:pt x="50" y="208"/>
                  </a:lnTo>
                  <a:lnTo>
                    <a:pt x="56" y="205"/>
                  </a:lnTo>
                  <a:lnTo>
                    <a:pt x="56" y="203"/>
                  </a:lnTo>
                  <a:lnTo>
                    <a:pt x="56" y="202"/>
                  </a:lnTo>
                  <a:lnTo>
                    <a:pt x="59" y="20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6" name="Freeform 255"/>
            <p:cNvSpPr>
              <a:spLocks/>
            </p:cNvSpPr>
            <p:nvPr/>
          </p:nvSpPr>
          <p:spPr bwMode="auto">
            <a:xfrm>
              <a:off x="7764845" y="2659047"/>
              <a:ext cx="44768" cy="76060"/>
            </a:xfrm>
            <a:custGeom>
              <a:avLst/>
              <a:gdLst/>
              <a:ahLst/>
              <a:cxnLst>
                <a:cxn ang="0">
                  <a:pos x="48" y="23"/>
                </a:cxn>
                <a:cxn ang="0">
                  <a:pos x="49" y="44"/>
                </a:cxn>
                <a:cxn ang="0">
                  <a:pos x="43" y="58"/>
                </a:cxn>
                <a:cxn ang="0">
                  <a:pos x="35" y="58"/>
                </a:cxn>
                <a:cxn ang="0">
                  <a:pos x="30" y="63"/>
                </a:cxn>
                <a:cxn ang="0">
                  <a:pos x="26" y="61"/>
                </a:cxn>
                <a:cxn ang="0">
                  <a:pos x="23" y="65"/>
                </a:cxn>
                <a:cxn ang="0">
                  <a:pos x="22" y="67"/>
                </a:cxn>
                <a:cxn ang="0">
                  <a:pos x="19" y="64"/>
                </a:cxn>
                <a:cxn ang="0">
                  <a:pos x="17" y="70"/>
                </a:cxn>
                <a:cxn ang="0">
                  <a:pos x="16" y="68"/>
                </a:cxn>
                <a:cxn ang="0">
                  <a:pos x="17" y="65"/>
                </a:cxn>
                <a:cxn ang="0">
                  <a:pos x="11" y="71"/>
                </a:cxn>
                <a:cxn ang="0">
                  <a:pos x="10" y="70"/>
                </a:cxn>
                <a:cxn ang="0">
                  <a:pos x="6" y="70"/>
                </a:cxn>
                <a:cxn ang="0">
                  <a:pos x="3" y="73"/>
                </a:cxn>
                <a:cxn ang="0">
                  <a:pos x="3" y="67"/>
                </a:cxn>
                <a:cxn ang="0">
                  <a:pos x="6" y="67"/>
                </a:cxn>
                <a:cxn ang="0">
                  <a:pos x="6" y="64"/>
                </a:cxn>
                <a:cxn ang="0">
                  <a:pos x="3" y="64"/>
                </a:cxn>
                <a:cxn ang="0">
                  <a:pos x="4" y="58"/>
                </a:cxn>
                <a:cxn ang="0">
                  <a:pos x="6" y="51"/>
                </a:cxn>
                <a:cxn ang="0">
                  <a:pos x="8" y="47"/>
                </a:cxn>
                <a:cxn ang="0">
                  <a:pos x="8" y="44"/>
                </a:cxn>
                <a:cxn ang="0">
                  <a:pos x="6" y="34"/>
                </a:cxn>
                <a:cxn ang="0">
                  <a:pos x="4" y="35"/>
                </a:cxn>
                <a:cxn ang="0">
                  <a:pos x="1" y="34"/>
                </a:cxn>
                <a:cxn ang="0">
                  <a:pos x="0" y="31"/>
                </a:cxn>
                <a:cxn ang="0">
                  <a:pos x="8" y="28"/>
                </a:cxn>
                <a:cxn ang="0">
                  <a:pos x="11" y="29"/>
                </a:cxn>
                <a:cxn ang="0">
                  <a:pos x="10" y="25"/>
                </a:cxn>
                <a:cxn ang="0">
                  <a:pos x="10" y="22"/>
                </a:cxn>
                <a:cxn ang="0">
                  <a:pos x="8" y="20"/>
                </a:cxn>
                <a:cxn ang="0">
                  <a:pos x="7" y="19"/>
                </a:cxn>
                <a:cxn ang="0">
                  <a:pos x="7" y="18"/>
                </a:cxn>
                <a:cxn ang="0">
                  <a:pos x="6" y="15"/>
                </a:cxn>
                <a:cxn ang="0">
                  <a:pos x="6" y="13"/>
                </a:cxn>
                <a:cxn ang="0">
                  <a:pos x="24" y="4"/>
                </a:cxn>
                <a:cxn ang="0">
                  <a:pos x="33" y="0"/>
                </a:cxn>
              </a:cxnLst>
              <a:rect l="0" t="0" r="r" b="b"/>
              <a:pathLst>
                <a:path w="49" h="73">
                  <a:moveTo>
                    <a:pt x="33" y="0"/>
                  </a:moveTo>
                  <a:lnTo>
                    <a:pt x="48" y="23"/>
                  </a:lnTo>
                  <a:lnTo>
                    <a:pt x="48" y="44"/>
                  </a:lnTo>
                  <a:lnTo>
                    <a:pt x="49" y="44"/>
                  </a:lnTo>
                  <a:lnTo>
                    <a:pt x="46" y="55"/>
                  </a:lnTo>
                  <a:lnTo>
                    <a:pt x="43" y="58"/>
                  </a:lnTo>
                  <a:lnTo>
                    <a:pt x="37" y="60"/>
                  </a:lnTo>
                  <a:lnTo>
                    <a:pt x="35" y="58"/>
                  </a:lnTo>
                  <a:lnTo>
                    <a:pt x="32" y="65"/>
                  </a:lnTo>
                  <a:lnTo>
                    <a:pt x="30" y="63"/>
                  </a:lnTo>
                  <a:lnTo>
                    <a:pt x="29" y="63"/>
                  </a:lnTo>
                  <a:lnTo>
                    <a:pt x="26" y="61"/>
                  </a:lnTo>
                  <a:lnTo>
                    <a:pt x="22" y="63"/>
                  </a:lnTo>
                  <a:lnTo>
                    <a:pt x="23" y="65"/>
                  </a:lnTo>
                  <a:lnTo>
                    <a:pt x="23" y="67"/>
                  </a:lnTo>
                  <a:lnTo>
                    <a:pt x="22" y="67"/>
                  </a:lnTo>
                  <a:lnTo>
                    <a:pt x="20" y="65"/>
                  </a:lnTo>
                  <a:lnTo>
                    <a:pt x="19" y="64"/>
                  </a:lnTo>
                  <a:lnTo>
                    <a:pt x="19" y="68"/>
                  </a:lnTo>
                  <a:lnTo>
                    <a:pt x="17" y="70"/>
                  </a:lnTo>
                  <a:lnTo>
                    <a:pt x="16" y="70"/>
                  </a:lnTo>
                  <a:lnTo>
                    <a:pt x="16" y="68"/>
                  </a:lnTo>
                  <a:lnTo>
                    <a:pt x="17" y="67"/>
                  </a:lnTo>
                  <a:lnTo>
                    <a:pt x="17" y="65"/>
                  </a:lnTo>
                  <a:lnTo>
                    <a:pt x="13" y="68"/>
                  </a:lnTo>
                  <a:lnTo>
                    <a:pt x="11" y="71"/>
                  </a:lnTo>
                  <a:lnTo>
                    <a:pt x="10" y="71"/>
                  </a:lnTo>
                  <a:lnTo>
                    <a:pt x="10" y="70"/>
                  </a:lnTo>
                  <a:lnTo>
                    <a:pt x="6" y="73"/>
                  </a:lnTo>
                  <a:lnTo>
                    <a:pt x="6" y="70"/>
                  </a:lnTo>
                  <a:lnTo>
                    <a:pt x="3" y="71"/>
                  </a:lnTo>
                  <a:lnTo>
                    <a:pt x="3" y="73"/>
                  </a:lnTo>
                  <a:lnTo>
                    <a:pt x="1" y="73"/>
                  </a:lnTo>
                  <a:lnTo>
                    <a:pt x="3" y="67"/>
                  </a:lnTo>
                  <a:lnTo>
                    <a:pt x="6" y="68"/>
                  </a:lnTo>
                  <a:lnTo>
                    <a:pt x="6" y="67"/>
                  </a:lnTo>
                  <a:lnTo>
                    <a:pt x="7" y="65"/>
                  </a:lnTo>
                  <a:lnTo>
                    <a:pt x="6" y="64"/>
                  </a:lnTo>
                  <a:lnTo>
                    <a:pt x="4" y="65"/>
                  </a:lnTo>
                  <a:lnTo>
                    <a:pt x="3" y="64"/>
                  </a:lnTo>
                  <a:lnTo>
                    <a:pt x="4" y="60"/>
                  </a:lnTo>
                  <a:lnTo>
                    <a:pt x="4" y="58"/>
                  </a:lnTo>
                  <a:lnTo>
                    <a:pt x="7" y="52"/>
                  </a:lnTo>
                  <a:lnTo>
                    <a:pt x="6" y="51"/>
                  </a:lnTo>
                  <a:lnTo>
                    <a:pt x="8" y="50"/>
                  </a:lnTo>
                  <a:lnTo>
                    <a:pt x="8" y="47"/>
                  </a:lnTo>
                  <a:lnTo>
                    <a:pt x="8" y="45"/>
                  </a:lnTo>
                  <a:lnTo>
                    <a:pt x="8" y="44"/>
                  </a:lnTo>
                  <a:lnTo>
                    <a:pt x="7" y="42"/>
                  </a:lnTo>
                  <a:lnTo>
                    <a:pt x="6" y="34"/>
                  </a:lnTo>
                  <a:lnTo>
                    <a:pt x="4" y="32"/>
                  </a:lnTo>
                  <a:lnTo>
                    <a:pt x="4" y="35"/>
                  </a:lnTo>
                  <a:lnTo>
                    <a:pt x="3" y="36"/>
                  </a:lnTo>
                  <a:lnTo>
                    <a:pt x="1" y="34"/>
                  </a:lnTo>
                  <a:lnTo>
                    <a:pt x="0" y="34"/>
                  </a:lnTo>
                  <a:lnTo>
                    <a:pt x="0" y="31"/>
                  </a:lnTo>
                  <a:lnTo>
                    <a:pt x="3" y="29"/>
                  </a:lnTo>
                  <a:lnTo>
                    <a:pt x="8" y="28"/>
                  </a:lnTo>
                  <a:lnTo>
                    <a:pt x="10" y="29"/>
                  </a:lnTo>
                  <a:lnTo>
                    <a:pt x="11" y="29"/>
                  </a:lnTo>
                  <a:lnTo>
                    <a:pt x="10" y="28"/>
                  </a:lnTo>
                  <a:lnTo>
                    <a:pt x="10" y="25"/>
                  </a:lnTo>
                  <a:lnTo>
                    <a:pt x="8" y="23"/>
                  </a:lnTo>
                  <a:lnTo>
                    <a:pt x="10" y="22"/>
                  </a:lnTo>
                  <a:lnTo>
                    <a:pt x="10" y="22"/>
                  </a:lnTo>
                  <a:lnTo>
                    <a:pt x="8" y="20"/>
                  </a:lnTo>
                  <a:lnTo>
                    <a:pt x="8" y="20"/>
                  </a:lnTo>
                  <a:lnTo>
                    <a:pt x="7" y="19"/>
                  </a:lnTo>
                  <a:lnTo>
                    <a:pt x="7" y="18"/>
                  </a:lnTo>
                  <a:lnTo>
                    <a:pt x="7" y="18"/>
                  </a:lnTo>
                  <a:lnTo>
                    <a:pt x="6" y="16"/>
                  </a:lnTo>
                  <a:lnTo>
                    <a:pt x="6" y="15"/>
                  </a:lnTo>
                  <a:lnTo>
                    <a:pt x="6" y="13"/>
                  </a:lnTo>
                  <a:lnTo>
                    <a:pt x="6" y="13"/>
                  </a:lnTo>
                  <a:lnTo>
                    <a:pt x="16" y="4"/>
                  </a:lnTo>
                  <a:lnTo>
                    <a:pt x="24" y="4"/>
                  </a:lnTo>
                  <a:lnTo>
                    <a:pt x="29" y="3"/>
                  </a:lnTo>
                  <a:lnTo>
                    <a:pt x="3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7" name="Freeform 256"/>
            <p:cNvSpPr>
              <a:spLocks/>
            </p:cNvSpPr>
            <p:nvPr/>
          </p:nvSpPr>
          <p:spPr bwMode="auto">
            <a:xfrm>
              <a:off x="7764845" y="2659047"/>
              <a:ext cx="44768" cy="76060"/>
            </a:xfrm>
            <a:custGeom>
              <a:avLst/>
              <a:gdLst/>
              <a:ahLst/>
              <a:cxnLst>
                <a:cxn ang="0">
                  <a:pos x="48" y="23"/>
                </a:cxn>
                <a:cxn ang="0">
                  <a:pos x="49" y="44"/>
                </a:cxn>
                <a:cxn ang="0">
                  <a:pos x="43" y="58"/>
                </a:cxn>
                <a:cxn ang="0">
                  <a:pos x="35" y="58"/>
                </a:cxn>
                <a:cxn ang="0">
                  <a:pos x="30" y="63"/>
                </a:cxn>
                <a:cxn ang="0">
                  <a:pos x="26" y="61"/>
                </a:cxn>
                <a:cxn ang="0">
                  <a:pos x="23" y="65"/>
                </a:cxn>
                <a:cxn ang="0">
                  <a:pos x="22" y="67"/>
                </a:cxn>
                <a:cxn ang="0">
                  <a:pos x="19" y="64"/>
                </a:cxn>
                <a:cxn ang="0">
                  <a:pos x="17" y="70"/>
                </a:cxn>
                <a:cxn ang="0">
                  <a:pos x="16" y="68"/>
                </a:cxn>
                <a:cxn ang="0">
                  <a:pos x="17" y="65"/>
                </a:cxn>
                <a:cxn ang="0">
                  <a:pos x="11" y="71"/>
                </a:cxn>
                <a:cxn ang="0">
                  <a:pos x="10" y="70"/>
                </a:cxn>
                <a:cxn ang="0">
                  <a:pos x="6" y="70"/>
                </a:cxn>
                <a:cxn ang="0">
                  <a:pos x="3" y="73"/>
                </a:cxn>
                <a:cxn ang="0">
                  <a:pos x="3" y="67"/>
                </a:cxn>
                <a:cxn ang="0">
                  <a:pos x="6" y="67"/>
                </a:cxn>
                <a:cxn ang="0">
                  <a:pos x="6" y="64"/>
                </a:cxn>
                <a:cxn ang="0">
                  <a:pos x="3" y="64"/>
                </a:cxn>
                <a:cxn ang="0">
                  <a:pos x="4" y="58"/>
                </a:cxn>
                <a:cxn ang="0">
                  <a:pos x="6" y="51"/>
                </a:cxn>
                <a:cxn ang="0">
                  <a:pos x="8" y="47"/>
                </a:cxn>
                <a:cxn ang="0">
                  <a:pos x="8" y="44"/>
                </a:cxn>
                <a:cxn ang="0">
                  <a:pos x="6" y="34"/>
                </a:cxn>
                <a:cxn ang="0">
                  <a:pos x="4" y="35"/>
                </a:cxn>
                <a:cxn ang="0">
                  <a:pos x="1" y="34"/>
                </a:cxn>
                <a:cxn ang="0">
                  <a:pos x="0" y="31"/>
                </a:cxn>
                <a:cxn ang="0">
                  <a:pos x="8" y="28"/>
                </a:cxn>
                <a:cxn ang="0">
                  <a:pos x="11" y="29"/>
                </a:cxn>
                <a:cxn ang="0">
                  <a:pos x="10" y="25"/>
                </a:cxn>
                <a:cxn ang="0">
                  <a:pos x="10" y="22"/>
                </a:cxn>
                <a:cxn ang="0">
                  <a:pos x="8" y="20"/>
                </a:cxn>
                <a:cxn ang="0">
                  <a:pos x="7" y="19"/>
                </a:cxn>
                <a:cxn ang="0">
                  <a:pos x="7" y="18"/>
                </a:cxn>
                <a:cxn ang="0">
                  <a:pos x="6" y="15"/>
                </a:cxn>
                <a:cxn ang="0">
                  <a:pos x="6" y="13"/>
                </a:cxn>
                <a:cxn ang="0">
                  <a:pos x="24" y="4"/>
                </a:cxn>
                <a:cxn ang="0">
                  <a:pos x="33" y="0"/>
                </a:cxn>
              </a:cxnLst>
              <a:rect l="0" t="0" r="r" b="b"/>
              <a:pathLst>
                <a:path w="49" h="73">
                  <a:moveTo>
                    <a:pt x="33" y="0"/>
                  </a:moveTo>
                  <a:lnTo>
                    <a:pt x="48" y="23"/>
                  </a:lnTo>
                  <a:lnTo>
                    <a:pt x="48" y="44"/>
                  </a:lnTo>
                  <a:lnTo>
                    <a:pt x="49" y="44"/>
                  </a:lnTo>
                  <a:lnTo>
                    <a:pt x="46" y="55"/>
                  </a:lnTo>
                  <a:lnTo>
                    <a:pt x="43" y="58"/>
                  </a:lnTo>
                  <a:lnTo>
                    <a:pt x="37" y="60"/>
                  </a:lnTo>
                  <a:lnTo>
                    <a:pt x="35" y="58"/>
                  </a:lnTo>
                  <a:lnTo>
                    <a:pt x="32" y="65"/>
                  </a:lnTo>
                  <a:lnTo>
                    <a:pt x="30" y="63"/>
                  </a:lnTo>
                  <a:lnTo>
                    <a:pt x="29" y="63"/>
                  </a:lnTo>
                  <a:lnTo>
                    <a:pt x="26" y="61"/>
                  </a:lnTo>
                  <a:lnTo>
                    <a:pt x="22" y="63"/>
                  </a:lnTo>
                  <a:lnTo>
                    <a:pt x="23" y="65"/>
                  </a:lnTo>
                  <a:lnTo>
                    <a:pt x="23" y="67"/>
                  </a:lnTo>
                  <a:lnTo>
                    <a:pt x="22" y="67"/>
                  </a:lnTo>
                  <a:lnTo>
                    <a:pt x="20" y="65"/>
                  </a:lnTo>
                  <a:lnTo>
                    <a:pt x="19" y="64"/>
                  </a:lnTo>
                  <a:lnTo>
                    <a:pt x="19" y="68"/>
                  </a:lnTo>
                  <a:lnTo>
                    <a:pt x="17" y="70"/>
                  </a:lnTo>
                  <a:lnTo>
                    <a:pt x="16" y="70"/>
                  </a:lnTo>
                  <a:lnTo>
                    <a:pt x="16" y="68"/>
                  </a:lnTo>
                  <a:lnTo>
                    <a:pt x="17" y="67"/>
                  </a:lnTo>
                  <a:lnTo>
                    <a:pt x="17" y="65"/>
                  </a:lnTo>
                  <a:lnTo>
                    <a:pt x="13" y="68"/>
                  </a:lnTo>
                  <a:lnTo>
                    <a:pt x="11" y="71"/>
                  </a:lnTo>
                  <a:lnTo>
                    <a:pt x="10" y="71"/>
                  </a:lnTo>
                  <a:lnTo>
                    <a:pt x="10" y="70"/>
                  </a:lnTo>
                  <a:lnTo>
                    <a:pt x="6" y="73"/>
                  </a:lnTo>
                  <a:lnTo>
                    <a:pt x="6" y="70"/>
                  </a:lnTo>
                  <a:lnTo>
                    <a:pt x="3" y="71"/>
                  </a:lnTo>
                  <a:lnTo>
                    <a:pt x="3" y="73"/>
                  </a:lnTo>
                  <a:lnTo>
                    <a:pt x="1" y="73"/>
                  </a:lnTo>
                  <a:lnTo>
                    <a:pt x="3" y="67"/>
                  </a:lnTo>
                  <a:lnTo>
                    <a:pt x="6" y="68"/>
                  </a:lnTo>
                  <a:lnTo>
                    <a:pt x="6" y="67"/>
                  </a:lnTo>
                  <a:lnTo>
                    <a:pt x="7" y="65"/>
                  </a:lnTo>
                  <a:lnTo>
                    <a:pt x="6" y="64"/>
                  </a:lnTo>
                  <a:lnTo>
                    <a:pt x="4" y="65"/>
                  </a:lnTo>
                  <a:lnTo>
                    <a:pt x="3" y="64"/>
                  </a:lnTo>
                  <a:lnTo>
                    <a:pt x="4" y="60"/>
                  </a:lnTo>
                  <a:lnTo>
                    <a:pt x="4" y="58"/>
                  </a:lnTo>
                  <a:lnTo>
                    <a:pt x="7" y="52"/>
                  </a:lnTo>
                  <a:lnTo>
                    <a:pt x="6" y="51"/>
                  </a:lnTo>
                  <a:lnTo>
                    <a:pt x="8" y="50"/>
                  </a:lnTo>
                  <a:lnTo>
                    <a:pt x="8" y="47"/>
                  </a:lnTo>
                  <a:lnTo>
                    <a:pt x="8" y="45"/>
                  </a:lnTo>
                  <a:lnTo>
                    <a:pt x="8" y="44"/>
                  </a:lnTo>
                  <a:lnTo>
                    <a:pt x="7" y="42"/>
                  </a:lnTo>
                  <a:lnTo>
                    <a:pt x="6" y="34"/>
                  </a:lnTo>
                  <a:lnTo>
                    <a:pt x="4" y="32"/>
                  </a:lnTo>
                  <a:lnTo>
                    <a:pt x="4" y="35"/>
                  </a:lnTo>
                  <a:lnTo>
                    <a:pt x="3" y="36"/>
                  </a:lnTo>
                  <a:lnTo>
                    <a:pt x="1" y="34"/>
                  </a:lnTo>
                  <a:lnTo>
                    <a:pt x="0" y="34"/>
                  </a:lnTo>
                  <a:lnTo>
                    <a:pt x="0" y="31"/>
                  </a:lnTo>
                  <a:lnTo>
                    <a:pt x="3" y="29"/>
                  </a:lnTo>
                  <a:lnTo>
                    <a:pt x="8" y="28"/>
                  </a:lnTo>
                  <a:lnTo>
                    <a:pt x="10" y="29"/>
                  </a:lnTo>
                  <a:lnTo>
                    <a:pt x="11" y="29"/>
                  </a:lnTo>
                  <a:lnTo>
                    <a:pt x="10" y="28"/>
                  </a:lnTo>
                  <a:lnTo>
                    <a:pt x="10" y="25"/>
                  </a:lnTo>
                  <a:lnTo>
                    <a:pt x="8" y="23"/>
                  </a:lnTo>
                  <a:lnTo>
                    <a:pt x="10" y="22"/>
                  </a:lnTo>
                  <a:lnTo>
                    <a:pt x="10" y="22"/>
                  </a:lnTo>
                  <a:lnTo>
                    <a:pt x="8" y="20"/>
                  </a:lnTo>
                  <a:lnTo>
                    <a:pt x="8" y="20"/>
                  </a:lnTo>
                  <a:lnTo>
                    <a:pt x="7" y="19"/>
                  </a:lnTo>
                  <a:lnTo>
                    <a:pt x="7" y="18"/>
                  </a:lnTo>
                  <a:lnTo>
                    <a:pt x="7" y="18"/>
                  </a:lnTo>
                  <a:lnTo>
                    <a:pt x="6" y="16"/>
                  </a:lnTo>
                  <a:lnTo>
                    <a:pt x="6" y="15"/>
                  </a:lnTo>
                  <a:lnTo>
                    <a:pt x="6" y="13"/>
                  </a:lnTo>
                  <a:lnTo>
                    <a:pt x="6" y="13"/>
                  </a:lnTo>
                  <a:lnTo>
                    <a:pt x="16" y="4"/>
                  </a:lnTo>
                  <a:lnTo>
                    <a:pt x="24" y="4"/>
                  </a:lnTo>
                  <a:lnTo>
                    <a:pt x="29" y="3"/>
                  </a:lnTo>
                  <a:lnTo>
                    <a:pt x="3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8" name="Freeform 257"/>
            <p:cNvSpPr>
              <a:spLocks/>
            </p:cNvSpPr>
            <p:nvPr/>
          </p:nvSpPr>
          <p:spPr bwMode="auto">
            <a:xfrm>
              <a:off x="7548907" y="3173211"/>
              <a:ext cx="125525" cy="88228"/>
            </a:xfrm>
            <a:custGeom>
              <a:avLst/>
              <a:gdLst/>
              <a:ahLst/>
              <a:cxnLst>
                <a:cxn ang="0">
                  <a:pos x="71" y="40"/>
                </a:cxn>
                <a:cxn ang="0">
                  <a:pos x="74" y="39"/>
                </a:cxn>
                <a:cxn ang="0">
                  <a:pos x="76" y="30"/>
                </a:cxn>
                <a:cxn ang="0">
                  <a:pos x="79" y="35"/>
                </a:cxn>
                <a:cxn ang="0">
                  <a:pos x="82" y="35"/>
                </a:cxn>
                <a:cxn ang="0">
                  <a:pos x="79" y="29"/>
                </a:cxn>
                <a:cxn ang="0">
                  <a:pos x="85" y="24"/>
                </a:cxn>
                <a:cxn ang="0">
                  <a:pos x="84" y="20"/>
                </a:cxn>
                <a:cxn ang="0">
                  <a:pos x="92" y="13"/>
                </a:cxn>
                <a:cxn ang="0">
                  <a:pos x="100" y="1"/>
                </a:cxn>
                <a:cxn ang="0">
                  <a:pos x="103" y="0"/>
                </a:cxn>
                <a:cxn ang="0">
                  <a:pos x="101" y="6"/>
                </a:cxn>
                <a:cxn ang="0">
                  <a:pos x="107" y="0"/>
                </a:cxn>
                <a:cxn ang="0">
                  <a:pos x="111" y="6"/>
                </a:cxn>
                <a:cxn ang="0">
                  <a:pos x="116" y="10"/>
                </a:cxn>
                <a:cxn ang="0">
                  <a:pos x="116" y="14"/>
                </a:cxn>
                <a:cxn ang="0">
                  <a:pos x="119" y="13"/>
                </a:cxn>
                <a:cxn ang="0">
                  <a:pos x="120" y="16"/>
                </a:cxn>
                <a:cxn ang="0">
                  <a:pos x="121" y="17"/>
                </a:cxn>
                <a:cxn ang="0">
                  <a:pos x="130" y="20"/>
                </a:cxn>
                <a:cxn ang="0">
                  <a:pos x="137" y="24"/>
                </a:cxn>
                <a:cxn ang="0">
                  <a:pos x="124" y="27"/>
                </a:cxn>
                <a:cxn ang="0">
                  <a:pos x="123" y="32"/>
                </a:cxn>
                <a:cxn ang="0">
                  <a:pos x="127" y="35"/>
                </a:cxn>
                <a:cxn ang="0">
                  <a:pos x="117" y="37"/>
                </a:cxn>
                <a:cxn ang="0">
                  <a:pos x="114" y="37"/>
                </a:cxn>
                <a:cxn ang="0">
                  <a:pos x="107" y="36"/>
                </a:cxn>
                <a:cxn ang="0">
                  <a:pos x="84" y="52"/>
                </a:cxn>
                <a:cxn ang="0">
                  <a:pos x="68" y="77"/>
                </a:cxn>
                <a:cxn ang="0">
                  <a:pos x="47" y="78"/>
                </a:cxn>
                <a:cxn ang="0">
                  <a:pos x="39" y="77"/>
                </a:cxn>
                <a:cxn ang="0">
                  <a:pos x="30" y="84"/>
                </a:cxn>
                <a:cxn ang="0">
                  <a:pos x="20" y="84"/>
                </a:cxn>
                <a:cxn ang="0">
                  <a:pos x="10" y="84"/>
                </a:cxn>
                <a:cxn ang="0">
                  <a:pos x="1" y="68"/>
                </a:cxn>
                <a:cxn ang="0">
                  <a:pos x="4" y="71"/>
                </a:cxn>
                <a:cxn ang="0">
                  <a:pos x="15" y="74"/>
                </a:cxn>
                <a:cxn ang="0">
                  <a:pos x="23" y="65"/>
                </a:cxn>
                <a:cxn ang="0">
                  <a:pos x="27" y="65"/>
                </a:cxn>
                <a:cxn ang="0">
                  <a:pos x="29" y="58"/>
                </a:cxn>
                <a:cxn ang="0">
                  <a:pos x="36" y="56"/>
                </a:cxn>
                <a:cxn ang="0">
                  <a:pos x="46" y="55"/>
                </a:cxn>
                <a:cxn ang="0">
                  <a:pos x="62" y="33"/>
                </a:cxn>
              </a:cxnLst>
              <a:rect l="0" t="0" r="r" b="b"/>
              <a:pathLst>
                <a:path w="137" h="85">
                  <a:moveTo>
                    <a:pt x="62" y="33"/>
                  </a:moveTo>
                  <a:lnTo>
                    <a:pt x="63" y="33"/>
                  </a:lnTo>
                  <a:lnTo>
                    <a:pt x="71" y="40"/>
                  </a:lnTo>
                  <a:lnTo>
                    <a:pt x="72" y="40"/>
                  </a:lnTo>
                  <a:lnTo>
                    <a:pt x="72" y="40"/>
                  </a:lnTo>
                  <a:lnTo>
                    <a:pt x="74" y="39"/>
                  </a:lnTo>
                  <a:lnTo>
                    <a:pt x="74" y="32"/>
                  </a:lnTo>
                  <a:lnTo>
                    <a:pt x="75" y="30"/>
                  </a:lnTo>
                  <a:lnTo>
                    <a:pt x="76" y="30"/>
                  </a:lnTo>
                  <a:lnTo>
                    <a:pt x="76" y="30"/>
                  </a:lnTo>
                  <a:lnTo>
                    <a:pt x="78" y="32"/>
                  </a:lnTo>
                  <a:lnTo>
                    <a:pt x="79" y="35"/>
                  </a:lnTo>
                  <a:lnTo>
                    <a:pt x="81" y="36"/>
                  </a:lnTo>
                  <a:lnTo>
                    <a:pt x="82" y="36"/>
                  </a:lnTo>
                  <a:lnTo>
                    <a:pt x="82" y="35"/>
                  </a:lnTo>
                  <a:lnTo>
                    <a:pt x="82" y="32"/>
                  </a:lnTo>
                  <a:lnTo>
                    <a:pt x="81" y="29"/>
                  </a:lnTo>
                  <a:lnTo>
                    <a:pt x="79" y="29"/>
                  </a:lnTo>
                  <a:lnTo>
                    <a:pt x="82" y="27"/>
                  </a:lnTo>
                  <a:lnTo>
                    <a:pt x="82" y="27"/>
                  </a:lnTo>
                  <a:lnTo>
                    <a:pt x="85" y="24"/>
                  </a:lnTo>
                  <a:lnTo>
                    <a:pt x="84" y="23"/>
                  </a:lnTo>
                  <a:lnTo>
                    <a:pt x="82" y="22"/>
                  </a:lnTo>
                  <a:lnTo>
                    <a:pt x="84" y="20"/>
                  </a:lnTo>
                  <a:lnTo>
                    <a:pt x="85" y="20"/>
                  </a:lnTo>
                  <a:lnTo>
                    <a:pt x="88" y="20"/>
                  </a:lnTo>
                  <a:lnTo>
                    <a:pt x="92" y="13"/>
                  </a:lnTo>
                  <a:lnTo>
                    <a:pt x="92" y="11"/>
                  </a:lnTo>
                  <a:lnTo>
                    <a:pt x="100" y="3"/>
                  </a:lnTo>
                  <a:lnTo>
                    <a:pt x="100" y="1"/>
                  </a:lnTo>
                  <a:lnTo>
                    <a:pt x="101" y="0"/>
                  </a:lnTo>
                  <a:lnTo>
                    <a:pt x="103" y="0"/>
                  </a:lnTo>
                  <a:lnTo>
                    <a:pt x="103" y="0"/>
                  </a:lnTo>
                  <a:lnTo>
                    <a:pt x="103" y="3"/>
                  </a:lnTo>
                  <a:lnTo>
                    <a:pt x="101" y="4"/>
                  </a:lnTo>
                  <a:lnTo>
                    <a:pt x="101" y="6"/>
                  </a:lnTo>
                  <a:lnTo>
                    <a:pt x="104" y="1"/>
                  </a:lnTo>
                  <a:lnTo>
                    <a:pt x="106" y="0"/>
                  </a:lnTo>
                  <a:lnTo>
                    <a:pt x="107" y="0"/>
                  </a:lnTo>
                  <a:lnTo>
                    <a:pt x="108" y="1"/>
                  </a:lnTo>
                  <a:lnTo>
                    <a:pt x="110" y="4"/>
                  </a:lnTo>
                  <a:lnTo>
                    <a:pt x="111" y="6"/>
                  </a:lnTo>
                  <a:lnTo>
                    <a:pt x="113" y="4"/>
                  </a:lnTo>
                  <a:lnTo>
                    <a:pt x="114" y="7"/>
                  </a:lnTo>
                  <a:lnTo>
                    <a:pt x="116" y="10"/>
                  </a:lnTo>
                  <a:lnTo>
                    <a:pt x="114" y="11"/>
                  </a:lnTo>
                  <a:lnTo>
                    <a:pt x="114" y="14"/>
                  </a:lnTo>
                  <a:lnTo>
                    <a:pt x="116" y="14"/>
                  </a:lnTo>
                  <a:lnTo>
                    <a:pt x="116" y="14"/>
                  </a:lnTo>
                  <a:lnTo>
                    <a:pt x="117" y="14"/>
                  </a:lnTo>
                  <a:lnTo>
                    <a:pt x="119" y="13"/>
                  </a:lnTo>
                  <a:lnTo>
                    <a:pt x="120" y="13"/>
                  </a:lnTo>
                  <a:lnTo>
                    <a:pt x="120" y="14"/>
                  </a:lnTo>
                  <a:lnTo>
                    <a:pt x="120" y="16"/>
                  </a:lnTo>
                  <a:lnTo>
                    <a:pt x="119" y="17"/>
                  </a:lnTo>
                  <a:lnTo>
                    <a:pt x="120" y="17"/>
                  </a:lnTo>
                  <a:lnTo>
                    <a:pt x="121" y="17"/>
                  </a:lnTo>
                  <a:lnTo>
                    <a:pt x="123" y="16"/>
                  </a:lnTo>
                  <a:lnTo>
                    <a:pt x="124" y="17"/>
                  </a:lnTo>
                  <a:lnTo>
                    <a:pt x="130" y="20"/>
                  </a:lnTo>
                  <a:lnTo>
                    <a:pt x="136" y="22"/>
                  </a:lnTo>
                  <a:lnTo>
                    <a:pt x="137" y="23"/>
                  </a:lnTo>
                  <a:lnTo>
                    <a:pt x="137" y="24"/>
                  </a:lnTo>
                  <a:lnTo>
                    <a:pt x="136" y="26"/>
                  </a:lnTo>
                  <a:lnTo>
                    <a:pt x="127" y="29"/>
                  </a:lnTo>
                  <a:lnTo>
                    <a:pt x="124" y="27"/>
                  </a:lnTo>
                  <a:lnTo>
                    <a:pt x="123" y="29"/>
                  </a:lnTo>
                  <a:lnTo>
                    <a:pt x="123" y="30"/>
                  </a:lnTo>
                  <a:lnTo>
                    <a:pt x="123" y="32"/>
                  </a:lnTo>
                  <a:lnTo>
                    <a:pt x="124" y="33"/>
                  </a:lnTo>
                  <a:lnTo>
                    <a:pt x="126" y="35"/>
                  </a:lnTo>
                  <a:lnTo>
                    <a:pt x="127" y="35"/>
                  </a:lnTo>
                  <a:lnTo>
                    <a:pt x="127" y="36"/>
                  </a:lnTo>
                  <a:lnTo>
                    <a:pt x="120" y="37"/>
                  </a:lnTo>
                  <a:lnTo>
                    <a:pt x="117" y="37"/>
                  </a:lnTo>
                  <a:lnTo>
                    <a:pt x="116" y="36"/>
                  </a:lnTo>
                  <a:lnTo>
                    <a:pt x="116" y="36"/>
                  </a:lnTo>
                  <a:lnTo>
                    <a:pt x="114" y="37"/>
                  </a:lnTo>
                  <a:lnTo>
                    <a:pt x="114" y="39"/>
                  </a:lnTo>
                  <a:lnTo>
                    <a:pt x="108" y="37"/>
                  </a:lnTo>
                  <a:lnTo>
                    <a:pt x="107" y="36"/>
                  </a:lnTo>
                  <a:lnTo>
                    <a:pt x="88" y="36"/>
                  </a:lnTo>
                  <a:lnTo>
                    <a:pt x="87" y="39"/>
                  </a:lnTo>
                  <a:lnTo>
                    <a:pt x="84" y="52"/>
                  </a:lnTo>
                  <a:lnTo>
                    <a:pt x="76" y="59"/>
                  </a:lnTo>
                  <a:lnTo>
                    <a:pt x="71" y="75"/>
                  </a:lnTo>
                  <a:lnTo>
                    <a:pt x="68" y="77"/>
                  </a:lnTo>
                  <a:lnTo>
                    <a:pt x="56" y="81"/>
                  </a:lnTo>
                  <a:lnTo>
                    <a:pt x="55" y="81"/>
                  </a:lnTo>
                  <a:lnTo>
                    <a:pt x="47" y="78"/>
                  </a:lnTo>
                  <a:lnTo>
                    <a:pt x="47" y="77"/>
                  </a:lnTo>
                  <a:lnTo>
                    <a:pt x="46" y="77"/>
                  </a:lnTo>
                  <a:lnTo>
                    <a:pt x="39" y="77"/>
                  </a:lnTo>
                  <a:lnTo>
                    <a:pt x="37" y="77"/>
                  </a:lnTo>
                  <a:lnTo>
                    <a:pt x="31" y="84"/>
                  </a:lnTo>
                  <a:lnTo>
                    <a:pt x="30" y="84"/>
                  </a:lnTo>
                  <a:lnTo>
                    <a:pt x="24" y="84"/>
                  </a:lnTo>
                  <a:lnTo>
                    <a:pt x="23" y="85"/>
                  </a:lnTo>
                  <a:lnTo>
                    <a:pt x="20" y="84"/>
                  </a:lnTo>
                  <a:lnTo>
                    <a:pt x="17" y="84"/>
                  </a:lnTo>
                  <a:lnTo>
                    <a:pt x="14" y="85"/>
                  </a:lnTo>
                  <a:lnTo>
                    <a:pt x="10" y="84"/>
                  </a:lnTo>
                  <a:lnTo>
                    <a:pt x="0" y="71"/>
                  </a:lnTo>
                  <a:lnTo>
                    <a:pt x="0" y="69"/>
                  </a:lnTo>
                  <a:lnTo>
                    <a:pt x="1" y="68"/>
                  </a:lnTo>
                  <a:lnTo>
                    <a:pt x="1" y="68"/>
                  </a:lnTo>
                  <a:lnTo>
                    <a:pt x="2" y="71"/>
                  </a:lnTo>
                  <a:lnTo>
                    <a:pt x="4" y="71"/>
                  </a:lnTo>
                  <a:lnTo>
                    <a:pt x="8" y="74"/>
                  </a:lnTo>
                  <a:lnTo>
                    <a:pt x="11" y="72"/>
                  </a:lnTo>
                  <a:lnTo>
                    <a:pt x="15" y="74"/>
                  </a:lnTo>
                  <a:lnTo>
                    <a:pt x="21" y="75"/>
                  </a:lnTo>
                  <a:lnTo>
                    <a:pt x="24" y="68"/>
                  </a:lnTo>
                  <a:lnTo>
                    <a:pt x="23" y="65"/>
                  </a:lnTo>
                  <a:lnTo>
                    <a:pt x="24" y="64"/>
                  </a:lnTo>
                  <a:lnTo>
                    <a:pt x="26" y="65"/>
                  </a:lnTo>
                  <a:lnTo>
                    <a:pt x="27" y="65"/>
                  </a:lnTo>
                  <a:lnTo>
                    <a:pt x="27" y="61"/>
                  </a:lnTo>
                  <a:lnTo>
                    <a:pt x="27" y="61"/>
                  </a:lnTo>
                  <a:lnTo>
                    <a:pt x="29" y="58"/>
                  </a:lnTo>
                  <a:lnTo>
                    <a:pt x="30" y="56"/>
                  </a:lnTo>
                  <a:lnTo>
                    <a:pt x="34" y="56"/>
                  </a:lnTo>
                  <a:lnTo>
                    <a:pt x="36" y="56"/>
                  </a:lnTo>
                  <a:lnTo>
                    <a:pt x="36" y="56"/>
                  </a:lnTo>
                  <a:lnTo>
                    <a:pt x="45" y="55"/>
                  </a:lnTo>
                  <a:lnTo>
                    <a:pt x="46" y="55"/>
                  </a:lnTo>
                  <a:lnTo>
                    <a:pt x="62" y="36"/>
                  </a:lnTo>
                  <a:lnTo>
                    <a:pt x="62" y="33"/>
                  </a:lnTo>
                  <a:lnTo>
                    <a:pt x="62" y="33"/>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59" name="Freeform 258"/>
            <p:cNvSpPr>
              <a:spLocks/>
            </p:cNvSpPr>
            <p:nvPr/>
          </p:nvSpPr>
          <p:spPr bwMode="auto">
            <a:xfrm>
              <a:off x="5900397" y="3067742"/>
              <a:ext cx="40380" cy="12170"/>
            </a:xfrm>
            <a:custGeom>
              <a:avLst/>
              <a:gdLst/>
              <a:ahLst/>
              <a:cxnLst>
                <a:cxn ang="0">
                  <a:pos x="0" y="12"/>
                </a:cxn>
                <a:cxn ang="0">
                  <a:pos x="1" y="11"/>
                </a:cxn>
                <a:cxn ang="0">
                  <a:pos x="13" y="9"/>
                </a:cxn>
                <a:cxn ang="0">
                  <a:pos x="15" y="9"/>
                </a:cxn>
                <a:cxn ang="0">
                  <a:pos x="15" y="8"/>
                </a:cxn>
                <a:cxn ang="0">
                  <a:pos x="16" y="8"/>
                </a:cxn>
                <a:cxn ang="0">
                  <a:pos x="17" y="8"/>
                </a:cxn>
                <a:cxn ang="0">
                  <a:pos x="20" y="8"/>
                </a:cxn>
                <a:cxn ang="0">
                  <a:pos x="22" y="6"/>
                </a:cxn>
                <a:cxn ang="0">
                  <a:pos x="23" y="5"/>
                </a:cxn>
                <a:cxn ang="0">
                  <a:pos x="23" y="5"/>
                </a:cxn>
                <a:cxn ang="0">
                  <a:pos x="25" y="5"/>
                </a:cxn>
                <a:cxn ang="0">
                  <a:pos x="26" y="6"/>
                </a:cxn>
                <a:cxn ang="0">
                  <a:pos x="28" y="6"/>
                </a:cxn>
                <a:cxn ang="0">
                  <a:pos x="31" y="8"/>
                </a:cxn>
                <a:cxn ang="0">
                  <a:pos x="32" y="8"/>
                </a:cxn>
                <a:cxn ang="0">
                  <a:pos x="35" y="9"/>
                </a:cxn>
                <a:cxn ang="0">
                  <a:pos x="36" y="9"/>
                </a:cxn>
                <a:cxn ang="0">
                  <a:pos x="38" y="9"/>
                </a:cxn>
                <a:cxn ang="0">
                  <a:pos x="39" y="9"/>
                </a:cxn>
                <a:cxn ang="0">
                  <a:pos x="42" y="8"/>
                </a:cxn>
                <a:cxn ang="0">
                  <a:pos x="44" y="8"/>
                </a:cxn>
                <a:cxn ang="0">
                  <a:pos x="44" y="6"/>
                </a:cxn>
                <a:cxn ang="0">
                  <a:pos x="42" y="5"/>
                </a:cxn>
                <a:cxn ang="0">
                  <a:pos x="42" y="5"/>
                </a:cxn>
                <a:cxn ang="0">
                  <a:pos x="42" y="5"/>
                </a:cxn>
                <a:cxn ang="0">
                  <a:pos x="41" y="5"/>
                </a:cxn>
                <a:cxn ang="0">
                  <a:pos x="39" y="5"/>
                </a:cxn>
                <a:cxn ang="0">
                  <a:pos x="36" y="6"/>
                </a:cxn>
                <a:cxn ang="0">
                  <a:pos x="35" y="6"/>
                </a:cxn>
                <a:cxn ang="0">
                  <a:pos x="33" y="5"/>
                </a:cxn>
                <a:cxn ang="0">
                  <a:pos x="32" y="3"/>
                </a:cxn>
                <a:cxn ang="0">
                  <a:pos x="32" y="3"/>
                </a:cxn>
                <a:cxn ang="0">
                  <a:pos x="29" y="3"/>
                </a:cxn>
                <a:cxn ang="0">
                  <a:pos x="26" y="2"/>
                </a:cxn>
                <a:cxn ang="0">
                  <a:pos x="25" y="0"/>
                </a:cxn>
                <a:cxn ang="0">
                  <a:pos x="25" y="0"/>
                </a:cxn>
                <a:cxn ang="0">
                  <a:pos x="22" y="2"/>
                </a:cxn>
                <a:cxn ang="0">
                  <a:pos x="20" y="2"/>
                </a:cxn>
                <a:cxn ang="0">
                  <a:pos x="19" y="2"/>
                </a:cxn>
                <a:cxn ang="0">
                  <a:pos x="17" y="5"/>
                </a:cxn>
                <a:cxn ang="0">
                  <a:pos x="3" y="5"/>
                </a:cxn>
                <a:cxn ang="0">
                  <a:pos x="3" y="5"/>
                </a:cxn>
                <a:cxn ang="0">
                  <a:pos x="3" y="6"/>
                </a:cxn>
                <a:cxn ang="0">
                  <a:pos x="1" y="6"/>
                </a:cxn>
                <a:cxn ang="0">
                  <a:pos x="1" y="6"/>
                </a:cxn>
                <a:cxn ang="0">
                  <a:pos x="0" y="8"/>
                </a:cxn>
                <a:cxn ang="0">
                  <a:pos x="0" y="8"/>
                </a:cxn>
                <a:cxn ang="0">
                  <a:pos x="0" y="12"/>
                </a:cxn>
                <a:cxn ang="0">
                  <a:pos x="0" y="12"/>
                </a:cxn>
                <a:cxn ang="0">
                  <a:pos x="0" y="12"/>
                </a:cxn>
              </a:cxnLst>
              <a:rect l="0" t="0" r="r" b="b"/>
              <a:pathLst>
                <a:path w="44" h="12">
                  <a:moveTo>
                    <a:pt x="0" y="12"/>
                  </a:moveTo>
                  <a:lnTo>
                    <a:pt x="1" y="11"/>
                  </a:lnTo>
                  <a:lnTo>
                    <a:pt x="13" y="9"/>
                  </a:lnTo>
                  <a:lnTo>
                    <a:pt x="15" y="9"/>
                  </a:lnTo>
                  <a:lnTo>
                    <a:pt x="15" y="8"/>
                  </a:lnTo>
                  <a:lnTo>
                    <a:pt x="16" y="8"/>
                  </a:lnTo>
                  <a:lnTo>
                    <a:pt x="17" y="8"/>
                  </a:lnTo>
                  <a:lnTo>
                    <a:pt x="20" y="8"/>
                  </a:lnTo>
                  <a:lnTo>
                    <a:pt x="22" y="6"/>
                  </a:lnTo>
                  <a:lnTo>
                    <a:pt x="23" y="5"/>
                  </a:lnTo>
                  <a:lnTo>
                    <a:pt x="23" y="5"/>
                  </a:lnTo>
                  <a:lnTo>
                    <a:pt x="25" y="5"/>
                  </a:lnTo>
                  <a:lnTo>
                    <a:pt x="26" y="6"/>
                  </a:lnTo>
                  <a:lnTo>
                    <a:pt x="28" y="6"/>
                  </a:lnTo>
                  <a:lnTo>
                    <a:pt x="31" y="8"/>
                  </a:lnTo>
                  <a:lnTo>
                    <a:pt x="32" y="8"/>
                  </a:lnTo>
                  <a:lnTo>
                    <a:pt x="35" y="9"/>
                  </a:lnTo>
                  <a:lnTo>
                    <a:pt x="36" y="9"/>
                  </a:lnTo>
                  <a:lnTo>
                    <a:pt x="38" y="9"/>
                  </a:lnTo>
                  <a:lnTo>
                    <a:pt x="39" y="9"/>
                  </a:lnTo>
                  <a:lnTo>
                    <a:pt x="42" y="8"/>
                  </a:lnTo>
                  <a:lnTo>
                    <a:pt x="44" y="8"/>
                  </a:lnTo>
                  <a:lnTo>
                    <a:pt x="44" y="6"/>
                  </a:lnTo>
                  <a:lnTo>
                    <a:pt x="42" y="5"/>
                  </a:lnTo>
                  <a:lnTo>
                    <a:pt x="42" y="5"/>
                  </a:lnTo>
                  <a:lnTo>
                    <a:pt x="42" y="5"/>
                  </a:lnTo>
                  <a:lnTo>
                    <a:pt x="41" y="5"/>
                  </a:lnTo>
                  <a:lnTo>
                    <a:pt x="39" y="5"/>
                  </a:lnTo>
                  <a:lnTo>
                    <a:pt x="36" y="6"/>
                  </a:lnTo>
                  <a:lnTo>
                    <a:pt x="35" y="6"/>
                  </a:lnTo>
                  <a:lnTo>
                    <a:pt x="33" y="5"/>
                  </a:lnTo>
                  <a:lnTo>
                    <a:pt x="32" y="3"/>
                  </a:lnTo>
                  <a:lnTo>
                    <a:pt x="32" y="3"/>
                  </a:lnTo>
                  <a:lnTo>
                    <a:pt x="29" y="3"/>
                  </a:lnTo>
                  <a:lnTo>
                    <a:pt x="26" y="2"/>
                  </a:lnTo>
                  <a:lnTo>
                    <a:pt x="25" y="0"/>
                  </a:lnTo>
                  <a:lnTo>
                    <a:pt x="25" y="0"/>
                  </a:lnTo>
                  <a:lnTo>
                    <a:pt x="22" y="2"/>
                  </a:lnTo>
                  <a:lnTo>
                    <a:pt x="20" y="2"/>
                  </a:lnTo>
                  <a:lnTo>
                    <a:pt x="19" y="2"/>
                  </a:lnTo>
                  <a:lnTo>
                    <a:pt x="17" y="5"/>
                  </a:lnTo>
                  <a:lnTo>
                    <a:pt x="3" y="5"/>
                  </a:lnTo>
                  <a:lnTo>
                    <a:pt x="3" y="5"/>
                  </a:lnTo>
                  <a:lnTo>
                    <a:pt x="3" y="6"/>
                  </a:lnTo>
                  <a:lnTo>
                    <a:pt x="1" y="6"/>
                  </a:lnTo>
                  <a:lnTo>
                    <a:pt x="1" y="6"/>
                  </a:lnTo>
                  <a:lnTo>
                    <a:pt x="0" y="8"/>
                  </a:lnTo>
                  <a:lnTo>
                    <a:pt x="0" y="8"/>
                  </a:lnTo>
                  <a:lnTo>
                    <a:pt x="0" y="12"/>
                  </a:lnTo>
                  <a:lnTo>
                    <a:pt x="0" y="12"/>
                  </a:lnTo>
                  <a:lnTo>
                    <a:pt x="0" y="1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0" name="Freeform 259"/>
            <p:cNvSpPr>
              <a:spLocks/>
            </p:cNvSpPr>
            <p:nvPr/>
          </p:nvSpPr>
          <p:spPr bwMode="auto">
            <a:xfrm>
              <a:off x="5900397" y="3067742"/>
              <a:ext cx="40380" cy="12170"/>
            </a:xfrm>
            <a:custGeom>
              <a:avLst/>
              <a:gdLst/>
              <a:ahLst/>
              <a:cxnLst>
                <a:cxn ang="0">
                  <a:pos x="0" y="12"/>
                </a:cxn>
                <a:cxn ang="0">
                  <a:pos x="1" y="11"/>
                </a:cxn>
                <a:cxn ang="0">
                  <a:pos x="13" y="9"/>
                </a:cxn>
                <a:cxn ang="0">
                  <a:pos x="15" y="9"/>
                </a:cxn>
                <a:cxn ang="0">
                  <a:pos x="15" y="8"/>
                </a:cxn>
                <a:cxn ang="0">
                  <a:pos x="16" y="8"/>
                </a:cxn>
                <a:cxn ang="0">
                  <a:pos x="17" y="8"/>
                </a:cxn>
                <a:cxn ang="0">
                  <a:pos x="20" y="8"/>
                </a:cxn>
                <a:cxn ang="0">
                  <a:pos x="22" y="6"/>
                </a:cxn>
                <a:cxn ang="0">
                  <a:pos x="23" y="5"/>
                </a:cxn>
                <a:cxn ang="0">
                  <a:pos x="23" y="5"/>
                </a:cxn>
                <a:cxn ang="0">
                  <a:pos x="25" y="5"/>
                </a:cxn>
                <a:cxn ang="0">
                  <a:pos x="26" y="6"/>
                </a:cxn>
                <a:cxn ang="0">
                  <a:pos x="28" y="6"/>
                </a:cxn>
                <a:cxn ang="0">
                  <a:pos x="31" y="8"/>
                </a:cxn>
                <a:cxn ang="0">
                  <a:pos x="32" y="8"/>
                </a:cxn>
                <a:cxn ang="0">
                  <a:pos x="35" y="9"/>
                </a:cxn>
                <a:cxn ang="0">
                  <a:pos x="36" y="9"/>
                </a:cxn>
                <a:cxn ang="0">
                  <a:pos x="38" y="9"/>
                </a:cxn>
                <a:cxn ang="0">
                  <a:pos x="39" y="9"/>
                </a:cxn>
                <a:cxn ang="0">
                  <a:pos x="42" y="8"/>
                </a:cxn>
                <a:cxn ang="0">
                  <a:pos x="44" y="8"/>
                </a:cxn>
                <a:cxn ang="0">
                  <a:pos x="44" y="6"/>
                </a:cxn>
                <a:cxn ang="0">
                  <a:pos x="42" y="5"/>
                </a:cxn>
                <a:cxn ang="0">
                  <a:pos x="42" y="5"/>
                </a:cxn>
                <a:cxn ang="0">
                  <a:pos x="42" y="5"/>
                </a:cxn>
                <a:cxn ang="0">
                  <a:pos x="41" y="5"/>
                </a:cxn>
                <a:cxn ang="0">
                  <a:pos x="39" y="5"/>
                </a:cxn>
                <a:cxn ang="0">
                  <a:pos x="36" y="6"/>
                </a:cxn>
                <a:cxn ang="0">
                  <a:pos x="35" y="6"/>
                </a:cxn>
                <a:cxn ang="0">
                  <a:pos x="33" y="5"/>
                </a:cxn>
                <a:cxn ang="0">
                  <a:pos x="32" y="3"/>
                </a:cxn>
                <a:cxn ang="0">
                  <a:pos x="32" y="3"/>
                </a:cxn>
                <a:cxn ang="0">
                  <a:pos x="29" y="3"/>
                </a:cxn>
                <a:cxn ang="0">
                  <a:pos x="26" y="2"/>
                </a:cxn>
                <a:cxn ang="0">
                  <a:pos x="25" y="0"/>
                </a:cxn>
                <a:cxn ang="0">
                  <a:pos x="25" y="0"/>
                </a:cxn>
                <a:cxn ang="0">
                  <a:pos x="22" y="2"/>
                </a:cxn>
                <a:cxn ang="0">
                  <a:pos x="20" y="2"/>
                </a:cxn>
                <a:cxn ang="0">
                  <a:pos x="19" y="2"/>
                </a:cxn>
                <a:cxn ang="0">
                  <a:pos x="17" y="5"/>
                </a:cxn>
                <a:cxn ang="0">
                  <a:pos x="3" y="5"/>
                </a:cxn>
                <a:cxn ang="0">
                  <a:pos x="3" y="5"/>
                </a:cxn>
                <a:cxn ang="0">
                  <a:pos x="3" y="6"/>
                </a:cxn>
                <a:cxn ang="0">
                  <a:pos x="1" y="6"/>
                </a:cxn>
                <a:cxn ang="0">
                  <a:pos x="1" y="6"/>
                </a:cxn>
                <a:cxn ang="0">
                  <a:pos x="0" y="8"/>
                </a:cxn>
                <a:cxn ang="0">
                  <a:pos x="0" y="8"/>
                </a:cxn>
                <a:cxn ang="0">
                  <a:pos x="0" y="12"/>
                </a:cxn>
                <a:cxn ang="0">
                  <a:pos x="0" y="12"/>
                </a:cxn>
                <a:cxn ang="0">
                  <a:pos x="0" y="12"/>
                </a:cxn>
              </a:cxnLst>
              <a:rect l="0" t="0" r="r" b="b"/>
              <a:pathLst>
                <a:path w="44" h="12">
                  <a:moveTo>
                    <a:pt x="0" y="12"/>
                  </a:moveTo>
                  <a:lnTo>
                    <a:pt x="1" y="11"/>
                  </a:lnTo>
                  <a:lnTo>
                    <a:pt x="13" y="9"/>
                  </a:lnTo>
                  <a:lnTo>
                    <a:pt x="15" y="9"/>
                  </a:lnTo>
                  <a:lnTo>
                    <a:pt x="15" y="8"/>
                  </a:lnTo>
                  <a:lnTo>
                    <a:pt x="16" y="8"/>
                  </a:lnTo>
                  <a:lnTo>
                    <a:pt x="17" y="8"/>
                  </a:lnTo>
                  <a:lnTo>
                    <a:pt x="20" y="8"/>
                  </a:lnTo>
                  <a:lnTo>
                    <a:pt x="22" y="6"/>
                  </a:lnTo>
                  <a:lnTo>
                    <a:pt x="23" y="5"/>
                  </a:lnTo>
                  <a:lnTo>
                    <a:pt x="23" y="5"/>
                  </a:lnTo>
                  <a:lnTo>
                    <a:pt x="25" y="5"/>
                  </a:lnTo>
                  <a:lnTo>
                    <a:pt x="26" y="6"/>
                  </a:lnTo>
                  <a:lnTo>
                    <a:pt x="28" y="6"/>
                  </a:lnTo>
                  <a:lnTo>
                    <a:pt x="31" y="8"/>
                  </a:lnTo>
                  <a:lnTo>
                    <a:pt x="32" y="8"/>
                  </a:lnTo>
                  <a:lnTo>
                    <a:pt x="35" y="9"/>
                  </a:lnTo>
                  <a:lnTo>
                    <a:pt x="36" y="9"/>
                  </a:lnTo>
                  <a:lnTo>
                    <a:pt x="38" y="9"/>
                  </a:lnTo>
                  <a:lnTo>
                    <a:pt x="39" y="9"/>
                  </a:lnTo>
                  <a:lnTo>
                    <a:pt x="42" y="8"/>
                  </a:lnTo>
                  <a:lnTo>
                    <a:pt x="44" y="8"/>
                  </a:lnTo>
                  <a:lnTo>
                    <a:pt x="44" y="6"/>
                  </a:lnTo>
                  <a:lnTo>
                    <a:pt x="42" y="5"/>
                  </a:lnTo>
                  <a:lnTo>
                    <a:pt x="42" y="5"/>
                  </a:lnTo>
                  <a:lnTo>
                    <a:pt x="42" y="5"/>
                  </a:lnTo>
                  <a:lnTo>
                    <a:pt x="41" y="5"/>
                  </a:lnTo>
                  <a:lnTo>
                    <a:pt x="39" y="5"/>
                  </a:lnTo>
                  <a:lnTo>
                    <a:pt x="36" y="6"/>
                  </a:lnTo>
                  <a:lnTo>
                    <a:pt x="35" y="6"/>
                  </a:lnTo>
                  <a:lnTo>
                    <a:pt x="33" y="5"/>
                  </a:lnTo>
                  <a:lnTo>
                    <a:pt x="32" y="3"/>
                  </a:lnTo>
                  <a:lnTo>
                    <a:pt x="32" y="3"/>
                  </a:lnTo>
                  <a:lnTo>
                    <a:pt x="29" y="3"/>
                  </a:lnTo>
                  <a:lnTo>
                    <a:pt x="26" y="2"/>
                  </a:lnTo>
                  <a:lnTo>
                    <a:pt x="25" y="0"/>
                  </a:lnTo>
                  <a:lnTo>
                    <a:pt x="25" y="0"/>
                  </a:lnTo>
                  <a:lnTo>
                    <a:pt x="22" y="2"/>
                  </a:lnTo>
                  <a:lnTo>
                    <a:pt x="20" y="2"/>
                  </a:lnTo>
                  <a:lnTo>
                    <a:pt x="19" y="2"/>
                  </a:lnTo>
                  <a:lnTo>
                    <a:pt x="17" y="5"/>
                  </a:lnTo>
                  <a:lnTo>
                    <a:pt x="3" y="5"/>
                  </a:lnTo>
                  <a:lnTo>
                    <a:pt x="3" y="5"/>
                  </a:lnTo>
                  <a:lnTo>
                    <a:pt x="3" y="6"/>
                  </a:lnTo>
                  <a:lnTo>
                    <a:pt x="1" y="6"/>
                  </a:lnTo>
                  <a:lnTo>
                    <a:pt x="1" y="6"/>
                  </a:lnTo>
                  <a:lnTo>
                    <a:pt x="0" y="8"/>
                  </a:lnTo>
                  <a:lnTo>
                    <a:pt x="0" y="8"/>
                  </a:lnTo>
                  <a:lnTo>
                    <a:pt x="0" y="12"/>
                  </a:lnTo>
                  <a:lnTo>
                    <a:pt x="0" y="12"/>
                  </a:lnTo>
                  <a:lnTo>
                    <a:pt x="0" y="1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1" name="Freeform 260"/>
            <p:cNvSpPr>
              <a:spLocks/>
            </p:cNvSpPr>
            <p:nvPr/>
          </p:nvSpPr>
          <p:spPr bwMode="auto">
            <a:xfrm>
              <a:off x="5900397" y="3083968"/>
              <a:ext cx="41256" cy="28396"/>
            </a:xfrm>
            <a:custGeom>
              <a:avLst/>
              <a:gdLst/>
              <a:ahLst/>
              <a:cxnLst>
                <a:cxn ang="0">
                  <a:pos x="44" y="0"/>
                </a:cxn>
                <a:cxn ang="0">
                  <a:pos x="44" y="3"/>
                </a:cxn>
                <a:cxn ang="0">
                  <a:pos x="45" y="5"/>
                </a:cxn>
                <a:cxn ang="0">
                  <a:pos x="45" y="6"/>
                </a:cxn>
                <a:cxn ang="0">
                  <a:pos x="45" y="8"/>
                </a:cxn>
                <a:cxn ang="0">
                  <a:pos x="44" y="8"/>
                </a:cxn>
                <a:cxn ang="0">
                  <a:pos x="42" y="8"/>
                </a:cxn>
                <a:cxn ang="0">
                  <a:pos x="42" y="8"/>
                </a:cxn>
                <a:cxn ang="0">
                  <a:pos x="41" y="9"/>
                </a:cxn>
                <a:cxn ang="0">
                  <a:pos x="42" y="11"/>
                </a:cxn>
                <a:cxn ang="0">
                  <a:pos x="44" y="11"/>
                </a:cxn>
                <a:cxn ang="0">
                  <a:pos x="44" y="16"/>
                </a:cxn>
                <a:cxn ang="0">
                  <a:pos x="42" y="16"/>
                </a:cxn>
                <a:cxn ang="0">
                  <a:pos x="41" y="16"/>
                </a:cxn>
                <a:cxn ang="0">
                  <a:pos x="36" y="16"/>
                </a:cxn>
                <a:cxn ang="0">
                  <a:pos x="32" y="18"/>
                </a:cxn>
                <a:cxn ang="0">
                  <a:pos x="31" y="19"/>
                </a:cxn>
                <a:cxn ang="0">
                  <a:pos x="28" y="25"/>
                </a:cxn>
                <a:cxn ang="0">
                  <a:pos x="26" y="27"/>
                </a:cxn>
                <a:cxn ang="0">
                  <a:pos x="25" y="27"/>
                </a:cxn>
                <a:cxn ang="0">
                  <a:pos x="25" y="25"/>
                </a:cxn>
                <a:cxn ang="0">
                  <a:pos x="25" y="25"/>
                </a:cxn>
                <a:cxn ang="0">
                  <a:pos x="22" y="25"/>
                </a:cxn>
                <a:cxn ang="0">
                  <a:pos x="22" y="25"/>
                </a:cxn>
                <a:cxn ang="0">
                  <a:pos x="20" y="24"/>
                </a:cxn>
                <a:cxn ang="0">
                  <a:pos x="19" y="22"/>
                </a:cxn>
                <a:cxn ang="0">
                  <a:pos x="20" y="19"/>
                </a:cxn>
                <a:cxn ang="0">
                  <a:pos x="19" y="16"/>
                </a:cxn>
                <a:cxn ang="0">
                  <a:pos x="20" y="15"/>
                </a:cxn>
                <a:cxn ang="0">
                  <a:pos x="28" y="14"/>
                </a:cxn>
                <a:cxn ang="0">
                  <a:pos x="28" y="14"/>
                </a:cxn>
                <a:cxn ang="0">
                  <a:pos x="19" y="14"/>
                </a:cxn>
                <a:cxn ang="0">
                  <a:pos x="16" y="16"/>
                </a:cxn>
                <a:cxn ang="0">
                  <a:pos x="13" y="16"/>
                </a:cxn>
                <a:cxn ang="0">
                  <a:pos x="13" y="16"/>
                </a:cxn>
                <a:cxn ang="0">
                  <a:pos x="12" y="14"/>
                </a:cxn>
                <a:cxn ang="0">
                  <a:pos x="10" y="14"/>
                </a:cxn>
                <a:cxn ang="0">
                  <a:pos x="9" y="14"/>
                </a:cxn>
                <a:cxn ang="0">
                  <a:pos x="7" y="12"/>
                </a:cxn>
                <a:cxn ang="0">
                  <a:pos x="7" y="9"/>
                </a:cxn>
                <a:cxn ang="0">
                  <a:pos x="1" y="8"/>
                </a:cxn>
                <a:cxn ang="0">
                  <a:pos x="0" y="6"/>
                </a:cxn>
                <a:cxn ang="0">
                  <a:pos x="0" y="5"/>
                </a:cxn>
                <a:cxn ang="0">
                  <a:pos x="1" y="6"/>
                </a:cxn>
                <a:cxn ang="0">
                  <a:pos x="3" y="6"/>
                </a:cxn>
                <a:cxn ang="0">
                  <a:pos x="4" y="6"/>
                </a:cxn>
                <a:cxn ang="0">
                  <a:pos x="7" y="5"/>
                </a:cxn>
                <a:cxn ang="0">
                  <a:pos x="16" y="5"/>
                </a:cxn>
                <a:cxn ang="0">
                  <a:pos x="23" y="2"/>
                </a:cxn>
                <a:cxn ang="0">
                  <a:pos x="44" y="0"/>
                </a:cxn>
              </a:cxnLst>
              <a:rect l="0" t="0" r="r" b="b"/>
              <a:pathLst>
                <a:path w="45" h="27">
                  <a:moveTo>
                    <a:pt x="44" y="0"/>
                  </a:moveTo>
                  <a:lnTo>
                    <a:pt x="44" y="3"/>
                  </a:lnTo>
                  <a:lnTo>
                    <a:pt x="45" y="5"/>
                  </a:lnTo>
                  <a:lnTo>
                    <a:pt x="45" y="6"/>
                  </a:lnTo>
                  <a:lnTo>
                    <a:pt x="45" y="8"/>
                  </a:lnTo>
                  <a:lnTo>
                    <a:pt x="44" y="8"/>
                  </a:lnTo>
                  <a:lnTo>
                    <a:pt x="42" y="8"/>
                  </a:lnTo>
                  <a:lnTo>
                    <a:pt x="42" y="8"/>
                  </a:lnTo>
                  <a:lnTo>
                    <a:pt x="41" y="9"/>
                  </a:lnTo>
                  <a:lnTo>
                    <a:pt x="42" y="11"/>
                  </a:lnTo>
                  <a:lnTo>
                    <a:pt x="44" y="11"/>
                  </a:lnTo>
                  <a:lnTo>
                    <a:pt x="44" y="16"/>
                  </a:lnTo>
                  <a:lnTo>
                    <a:pt x="42" y="16"/>
                  </a:lnTo>
                  <a:lnTo>
                    <a:pt x="41" y="16"/>
                  </a:lnTo>
                  <a:lnTo>
                    <a:pt x="36" y="16"/>
                  </a:lnTo>
                  <a:lnTo>
                    <a:pt x="32" y="18"/>
                  </a:lnTo>
                  <a:lnTo>
                    <a:pt x="31" y="19"/>
                  </a:lnTo>
                  <a:lnTo>
                    <a:pt x="28" y="25"/>
                  </a:lnTo>
                  <a:lnTo>
                    <a:pt x="26" y="27"/>
                  </a:lnTo>
                  <a:lnTo>
                    <a:pt x="25" y="27"/>
                  </a:lnTo>
                  <a:lnTo>
                    <a:pt x="25" y="25"/>
                  </a:lnTo>
                  <a:lnTo>
                    <a:pt x="25" y="25"/>
                  </a:lnTo>
                  <a:lnTo>
                    <a:pt x="22" y="25"/>
                  </a:lnTo>
                  <a:lnTo>
                    <a:pt x="22" y="25"/>
                  </a:lnTo>
                  <a:lnTo>
                    <a:pt x="20" y="24"/>
                  </a:lnTo>
                  <a:lnTo>
                    <a:pt x="19" y="22"/>
                  </a:lnTo>
                  <a:lnTo>
                    <a:pt x="20" y="19"/>
                  </a:lnTo>
                  <a:lnTo>
                    <a:pt x="19" y="16"/>
                  </a:lnTo>
                  <a:lnTo>
                    <a:pt x="20" y="15"/>
                  </a:lnTo>
                  <a:lnTo>
                    <a:pt x="28" y="14"/>
                  </a:lnTo>
                  <a:lnTo>
                    <a:pt x="28" y="14"/>
                  </a:lnTo>
                  <a:lnTo>
                    <a:pt x="19" y="14"/>
                  </a:lnTo>
                  <a:lnTo>
                    <a:pt x="16" y="16"/>
                  </a:lnTo>
                  <a:lnTo>
                    <a:pt x="13" y="16"/>
                  </a:lnTo>
                  <a:lnTo>
                    <a:pt x="13" y="16"/>
                  </a:lnTo>
                  <a:lnTo>
                    <a:pt x="12" y="14"/>
                  </a:lnTo>
                  <a:lnTo>
                    <a:pt x="10" y="14"/>
                  </a:lnTo>
                  <a:lnTo>
                    <a:pt x="9" y="14"/>
                  </a:lnTo>
                  <a:lnTo>
                    <a:pt x="7" y="12"/>
                  </a:lnTo>
                  <a:lnTo>
                    <a:pt x="7" y="9"/>
                  </a:lnTo>
                  <a:lnTo>
                    <a:pt x="1" y="8"/>
                  </a:lnTo>
                  <a:lnTo>
                    <a:pt x="0" y="6"/>
                  </a:lnTo>
                  <a:lnTo>
                    <a:pt x="0" y="5"/>
                  </a:lnTo>
                  <a:lnTo>
                    <a:pt x="1" y="6"/>
                  </a:lnTo>
                  <a:lnTo>
                    <a:pt x="3" y="6"/>
                  </a:lnTo>
                  <a:lnTo>
                    <a:pt x="4" y="6"/>
                  </a:lnTo>
                  <a:lnTo>
                    <a:pt x="7" y="5"/>
                  </a:lnTo>
                  <a:lnTo>
                    <a:pt x="16" y="5"/>
                  </a:lnTo>
                  <a:lnTo>
                    <a:pt x="23" y="2"/>
                  </a:lnTo>
                  <a:lnTo>
                    <a:pt x="44"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2" name="Freeform 261"/>
            <p:cNvSpPr>
              <a:spLocks/>
            </p:cNvSpPr>
            <p:nvPr/>
          </p:nvSpPr>
          <p:spPr bwMode="auto">
            <a:xfrm>
              <a:off x="5900397" y="3083968"/>
              <a:ext cx="41256" cy="28396"/>
            </a:xfrm>
            <a:custGeom>
              <a:avLst/>
              <a:gdLst/>
              <a:ahLst/>
              <a:cxnLst>
                <a:cxn ang="0">
                  <a:pos x="44" y="0"/>
                </a:cxn>
                <a:cxn ang="0">
                  <a:pos x="44" y="3"/>
                </a:cxn>
                <a:cxn ang="0">
                  <a:pos x="45" y="5"/>
                </a:cxn>
                <a:cxn ang="0">
                  <a:pos x="45" y="6"/>
                </a:cxn>
                <a:cxn ang="0">
                  <a:pos x="45" y="8"/>
                </a:cxn>
                <a:cxn ang="0">
                  <a:pos x="44" y="8"/>
                </a:cxn>
                <a:cxn ang="0">
                  <a:pos x="42" y="8"/>
                </a:cxn>
                <a:cxn ang="0">
                  <a:pos x="42" y="8"/>
                </a:cxn>
                <a:cxn ang="0">
                  <a:pos x="41" y="9"/>
                </a:cxn>
                <a:cxn ang="0">
                  <a:pos x="42" y="11"/>
                </a:cxn>
                <a:cxn ang="0">
                  <a:pos x="44" y="11"/>
                </a:cxn>
                <a:cxn ang="0">
                  <a:pos x="44" y="16"/>
                </a:cxn>
                <a:cxn ang="0">
                  <a:pos x="42" y="16"/>
                </a:cxn>
                <a:cxn ang="0">
                  <a:pos x="41" y="16"/>
                </a:cxn>
                <a:cxn ang="0">
                  <a:pos x="36" y="16"/>
                </a:cxn>
                <a:cxn ang="0">
                  <a:pos x="32" y="18"/>
                </a:cxn>
                <a:cxn ang="0">
                  <a:pos x="31" y="19"/>
                </a:cxn>
                <a:cxn ang="0">
                  <a:pos x="28" y="25"/>
                </a:cxn>
                <a:cxn ang="0">
                  <a:pos x="26" y="27"/>
                </a:cxn>
                <a:cxn ang="0">
                  <a:pos x="25" y="27"/>
                </a:cxn>
                <a:cxn ang="0">
                  <a:pos x="25" y="25"/>
                </a:cxn>
                <a:cxn ang="0">
                  <a:pos x="25" y="25"/>
                </a:cxn>
                <a:cxn ang="0">
                  <a:pos x="22" y="25"/>
                </a:cxn>
                <a:cxn ang="0">
                  <a:pos x="22" y="25"/>
                </a:cxn>
                <a:cxn ang="0">
                  <a:pos x="20" y="24"/>
                </a:cxn>
                <a:cxn ang="0">
                  <a:pos x="19" y="22"/>
                </a:cxn>
                <a:cxn ang="0">
                  <a:pos x="20" y="19"/>
                </a:cxn>
                <a:cxn ang="0">
                  <a:pos x="19" y="16"/>
                </a:cxn>
                <a:cxn ang="0">
                  <a:pos x="20" y="15"/>
                </a:cxn>
                <a:cxn ang="0">
                  <a:pos x="28" y="14"/>
                </a:cxn>
                <a:cxn ang="0">
                  <a:pos x="28" y="14"/>
                </a:cxn>
                <a:cxn ang="0">
                  <a:pos x="19" y="14"/>
                </a:cxn>
                <a:cxn ang="0">
                  <a:pos x="16" y="16"/>
                </a:cxn>
                <a:cxn ang="0">
                  <a:pos x="13" y="16"/>
                </a:cxn>
                <a:cxn ang="0">
                  <a:pos x="13" y="16"/>
                </a:cxn>
                <a:cxn ang="0">
                  <a:pos x="12" y="14"/>
                </a:cxn>
                <a:cxn ang="0">
                  <a:pos x="10" y="14"/>
                </a:cxn>
                <a:cxn ang="0">
                  <a:pos x="9" y="14"/>
                </a:cxn>
                <a:cxn ang="0">
                  <a:pos x="7" y="12"/>
                </a:cxn>
                <a:cxn ang="0">
                  <a:pos x="7" y="9"/>
                </a:cxn>
                <a:cxn ang="0">
                  <a:pos x="1" y="8"/>
                </a:cxn>
                <a:cxn ang="0">
                  <a:pos x="0" y="6"/>
                </a:cxn>
                <a:cxn ang="0">
                  <a:pos x="0" y="5"/>
                </a:cxn>
                <a:cxn ang="0">
                  <a:pos x="1" y="6"/>
                </a:cxn>
                <a:cxn ang="0">
                  <a:pos x="3" y="6"/>
                </a:cxn>
                <a:cxn ang="0">
                  <a:pos x="4" y="6"/>
                </a:cxn>
                <a:cxn ang="0">
                  <a:pos x="7" y="5"/>
                </a:cxn>
                <a:cxn ang="0">
                  <a:pos x="16" y="5"/>
                </a:cxn>
                <a:cxn ang="0">
                  <a:pos x="23" y="2"/>
                </a:cxn>
                <a:cxn ang="0">
                  <a:pos x="44" y="0"/>
                </a:cxn>
              </a:cxnLst>
              <a:rect l="0" t="0" r="r" b="b"/>
              <a:pathLst>
                <a:path w="45" h="27">
                  <a:moveTo>
                    <a:pt x="44" y="0"/>
                  </a:moveTo>
                  <a:lnTo>
                    <a:pt x="44" y="3"/>
                  </a:lnTo>
                  <a:lnTo>
                    <a:pt x="45" y="5"/>
                  </a:lnTo>
                  <a:lnTo>
                    <a:pt x="45" y="6"/>
                  </a:lnTo>
                  <a:lnTo>
                    <a:pt x="45" y="8"/>
                  </a:lnTo>
                  <a:lnTo>
                    <a:pt x="44" y="8"/>
                  </a:lnTo>
                  <a:lnTo>
                    <a:pt x="42" y="8"/>
                  </a:lnTo>
                  <a:lnTo>
                    <a:pt x="42" y="8"/>
                  </a:lnTo>
                  <a:lnTo>
                    <a:pt x="41" y="9"/>
                  </a:lnTo>
                  <a:lnTo>
                    <a:pt x="42" y="11"/>
                  </a:lnTo>
                  <a:lnTo>
                    <a:pt x="44" y="11"/>
                  </a:lnTo>
                  <a:lnTo>
                    <a:pt x="44" y="16"/>
                  </a:lnTo>
                  <a:lnTo>
                    <a:pt x="42" y="16"/>
                  </a:lnTo>
                  <a:lnTo>
                    <a:pt x="41" y="16"/>
                  </a:lnTo>
                  <a:lnTo>
                    <a:pt x="36" y="16"/>
                  </a:lnTo>
                  <a:lnTo>
                    <a:pt x="32" y="18"/>
                  </a:lnTo>
                  <a:lnTo>
                    <a:pt x="31" y="19"/>
                  </a:lnTo>
                  <a:lnTo>
                    <a:pt x="28" y="25"/>
                  </a:lnTo>
                  <a:lnTo>
                    <a:pt x="26" y="27"/>
                  </a:lnTo>
                  <a:lnTo>
                    <a:pt x="25" y="27"/>
                  </a:lnTo>
                  <a:lnTo>
                    <a:pt x="25" y="25"/>
                  </a:lnTo>
                  <a:lnTo>
                    <a:pt x="25" y="25"/>
                  </a:lnTo>
                  <a:lnTo>
                    <a:pt x="22" y="25"/>
                  </a:lnTo>
                  <a:lnTo>
                    <a:pt x="22" y="25"/>
                  </a:lnTo>
                  <a:lnTo>
                    <a:pt x="20" y="24"/>
                  </a:lnTo>
                  <a:lnTo>
                    <a:pt x="19" y="22"/>
                  </a:lnTo>
                  <a:lnTo>
                    <a:pt x="20" y="19"/>
                  </a:lnTo>
                  <a:lnTo>
                    <a:pt x="19" y="16"/>
                  </a:lnTo>
                  <a:lnTo>
                    <a:pt x="20" y="15"/>
                  </a:lnTo>
                  <a:lnTo>
                    <a:pt x="28" y="14"/>
                  </a:lnTo>
                  <a:lnTo>
                    <a:pt x="28" y="14"/>
                  </a:lnTo>
                  <a:lnTo>
                    <a:pt x="19" y="14"/>
                  </a:lnTo>
                  <a:lnTo>
                    <a:pt x="16" y="16"/>
                  </a:lnTo>
                  <a:lnTo>
                    <a:pt x="13" y="16"/>
                  </a:lnTo>
                  <a:lnTo>
                    <a:pt x="13" y="16"/>
                  </a:lnTo>
                  <a:lnTo>
                    <a:pt x="12" y="14"/>
                  </a:lnTo>
                  <a:lnTo>
                    <a:pt x="10" y="14"/>
                  </a:lnTo>
                  <a:lnTo>
                    <a:pt x="9" y="14"/>
                  </a:lnTo>
                  <a:lnTo>
                    <a:pt x="7" y="12"/>
                  </a:lnTo>
                  <a:lnTo>
                    <a:pt x="7" y="9"/>
                  </a:lnTo>
                  <a:lnTo>
                    <a:pt x="1" y="8"/>
                  </a:lnTo>
                  <a:lnTo>
                    <a:pt x="0" y="6"/>
                  </a:lnTo>
                  <a:lnTo>
                    <a:pt x="0" y="5"/>
                  </a:lnTo>
                  <a:lnTo>
                    <a:pt x="1" y="6"/>
                  </a:lnTo>
                  <a:lnTo>
                    <a:pt x="3" y="6"/>
                  </a:lnTo>
                  <a:lnTo>
                    <a:pt x="4" y="6"/>
                  </a:lnTo>
                  <a:lnTo>
                    <a:pt x="7" y="5"/>
                  </a:lnTo>
                  <a:lnTo>
                    <a:pt x="16" y="5"/>
                  </a:lnTo>
                  <a:lnTo>
                    <a:pt x="23" y="2"/>
                  </a:lnTo>
                  <a:lnTo>
                    <a:pt x="44"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3" name="Freeform 262"/>
            <p:cNvSpPr>
              <a:spLocks/>
            </p:cNvSpPr>
            <p:nvPr/>
          </p:nvSpPr>
          <p:spPr bwMode="auto">
            <a:xfrm>
              <a:off x="5969743" y="3147858"/>
              <a:ext cx="53546" cy="62876"/>
            </a:xfrm>
            <a:custGeom>
              <a:avLst/>
              <a:gdLst/>
              <a:ahLst/>
              <a:cxnLst>
                <a:cxn ang="0">
                  <a:pos x="0" y="22"/>
                </a:cxn>
                <a:cxn ang="0">
                  <a:pos x="1" y="21"/>
                </a:cxn>
                <a:cxn ang="0">
                  <a:pos x="2" y="19"/>
                </a:cxn>
                <a:cxn ang="0">
                  <a:pos x="4" y="18"/>
                </a:cxn>
                <a:cxn ang="0">
                  <a:pos x="8" y="15"/>
                </a:cxn>
                <a:cxn ang="0">
                  <a:pos x="11" y="12"/>
                </a:cxn>
                <a:cxn ang="0">
                  <a:pos x="13" y="11"/>
                </a:cxn>
                <a:cxn ang="0">
                  <a:pos x="13" y="6"/>
                </a:cxn>
                <a:cxn ang="0">
                  <a:pos x="17" y="5"/>
                </a:cxn>
                <a:cxn ang="0">
                  <a:pos x="16" y="3"/>
                </a:cxn>
                <a:cxn ang="0">
                  <a:pos x="17" y="2"/>
                </a:cxn>
                <a:cxn ang="0">
                  <a:pos x="18" y="0"/>
                </a:cxn>
                <a:cxn ang="0">
                  <a:pos x="21" y="2"/>
                </a:cxn>
                <a:cxn ang="0">
                  <a:pos x="24" y="0"/>
                </a:cxn>
                <a:cxn ang="0">
                  <a:pos x="24" y="0"/>
                </a:cxn>
                <a:cxn ang="0">
                  <a:pos x="27" y="3"/>
                </a:cxn>
                <a:cxn ang="0">
                  <a:pos x="29" y="6"/>
                </a:cxn>
                <a:cxn ang="0">
                  <a:pos x="30" y="11"/>
                </a:cxn>
                <a:cxn ang="0">
                  <a:pos x="29" y="16"/>
                </a:cxn>
                <a:cxn ang="0">
                  <a:pos x="27" y="16"/>
                </a:cxn>
                <a:cxn ang="0">
                  <a:pos x="29" y="18"/>
                </a:cxn>
                <a:cxn ang="0">
                  <a:pos x="30" y="16"/>
                </a:cxn>
                <a:cxn ang="0">
                  <a:pos x="34" y="19"/>
                </a:cxn>
                <a:cxn ang="0">
                  <a:pos x="37" y="18"/>
                </a:cxn>
                <a:cxn ang="0">
                  <a:pos x="39" y="16"/>
                </a:cxn>
                <a:cxn ang="0">
                  <a:pos x="39" y="14"/>
                </a:cxn>
                <a:cxn ang="0">
                  <a:pos x="43" y="16"/>
                </a:cxn>
                <a:cxn ang="0">
                  <a:pos x="43" y="19"/>
                </a:cxn>
                <a:cxn ang="0">
                  <a:pos x="45" y="21"/>
                </a:cxn>
                <a:cxn ang="0">
                  <a:pos x="45" y="25"/>
                </a:cxn>
                <a:cxn ang="0">
                  <a:pos x="40" y="30"/>
                </a:cxn>
                <a:cxn ang="0">
                  <a:pos x="42" y="30"/>
                </a:cxn>
                <a:cxn ang="0">
                  <a:pos x="43" y="30"/>
                </a:cxn>
                <a:cxn ang="0">
                  <a:pos x="43" y="31"/>
                </a:cxn>
                <a:cxn ang="0">
                  <a:pos x="46" y="32"/>
                </a:cxn>
                <a:cxn ang="0">
                  <a:pos x="49" y="32"/>
                </a:cxn>
                <a:cxn ang="0">
                  <a:pos x="50" y="35"/>
                </a:cxn>
                <a:cxn ang="0">
                  <a:pos x="53" y="38"/>
                </a:cxn>
                <a:cxn ang="0">
                  <a:pos x="56" y="40"/>
                </a:cxn>
                <a:cxn ang="0">
                  <a:pos x="58" y="40"/>
                </a:cxn>
                <a:cxn ang="0">
                  <a:pos x="58" y="43"/>
                </a:cxn>
                <a:cxn ang="0">
                  <a:pos x="58" y="46"/>
                </a:cxn>
                <a:cxn ang="0">
                  <a:pos x="56" y="47"/>
                </a:cxn>
                <a:cxn ang="0">
                  <a:pos x="56" y="50"/>
                </a:cxn>
                <a:cxn ang="0">
                  <a:pos x="55" y="50"/>
                </a:cxn>
                <a:cxn ang="0">
                  <a:pos x="55" y="53"/>
                </a:cxn>
                <a:cxn ang="0">
                  <a:pos x="50" y="59"/>
                </a:cxn>
                <a:cxn ang="0">
                  <a:pos x="36" y="53"/>
                </a:cxn>
                <a:cxn ang="0">
                  <a:pos x="30" y="48"/>
                </a:cxn>
                <a:cxn ang="0">
                  <a:pos x="8" y="32"/>
                </a:cxn>
                <a:cxn ang="0">
                  <a:pos x="4" y="28"/>
                </a:cxn>
                <a:cxn ang="0">
                  <a:pos x="4" y="25"/>
                </a:cxn>
                <a:cxn ang="0">
                  <a:pos x="0" y="24"/>
                </a:cxn>
                <a:cxn ang="0">
                  <a:pos x="0" y="24"/>
                </a:cxn>
                <a:cxn ang="0">
                  <a:pos x="0" y="22"/>
                </a:cxn>
              </a:cxnLst>
              <a:rect l="0" t="0" r="r" b="b"/>
              <a:pathLst>
                <a:path w="58" h="60">
                  <a:moveTo>
                    <a:pt x="0" y="22"/>
                  </a:moveTo>
                  <a:lnTo>
                    <a:pt x="0" y="22"/>
                  </a:lnTo>
                  <a:lnTo>
                    <a:pt x="1" y="22"/>
                  </a:lnTo>
                  <a:lnTo>
                    <a:pt x="1" y="21"/>
                  </a:lnTo>
                  <a:lnTo>
                    <a:pt x="2" y="19"/>
                  </a:lnTo>
                  <a:lnTo>
                    <a:pt x="2" y="19"/>
                  </a:lnTo>
                  <a:lnTo>
                    <a:pt x="2" y="18"/>
                  </a:lnTo>
                  <a:lnTo>
                    <a:pt x="4" y="18"/>
                  </a:lnTo>
                  <a:lnTo>
                    <a:pt x="7" y="15"/>
                  </a:lnTo>
                  <a:lnTo>
                    <a:pt x="8" y="15"/>
                  </a:lnTo>
                  <a:lnTo>
                    <a:pt x="10" y="14"/>
                  </a:lnTo>
                  <a:lnTo>
                    <a:pt x="11" y="12"/>
                  </a:lnTo>
                  <a:lnTo>
                    <a:pt x="11" y="12"/>
                  </a:lnTo>
                  <a:lnTo>
                    <a:pt x="13" y="11"/>
                  </a:lnTo>
                  <a:lnTo>
                    <a:pt x="13" y="8"/>
                  </a:lnTo>
                  <a:lnTo>
                    <a:pt x="13" y="6"/>
                  </a:lnTo>
                  <a:lnTo>
                    <a:pt x="14" y="5"/>
                  </a:lnTo>
                  <a:lnTo>
                    <a:pt x="17" y="5"/>
                  </a:lnTo>
                  <a:lnTo>
                    <a:pt x="17" y="5"/>
                  </a:lnTo>
                  <a:lnTo>
                    <a:pt x="16" y="3"/>
                  </a:lnTo>
                  <a:lnTo>
                    <a:pt x="16" y="2"/>
                  </a:lnTo>
                  <a:lnTo>
                    <a:pt x="17" y="2"/>
                  </a:lnTo>
                  <a:lnTo>
                    <a:pt x="17" y="0"/>
                  </a:lnTo>
                  <a:lnTo>
                    <a:pt x="18" y="0"/>
                  </a:lnTo>
                  <a:lnTo>
                    <a:pt x="21" y="2"/>
                  </a:lnTo>
                  <a:lnTo>
                    <a:pt x="21" y="2"/>
                  </a:lnTo>
                  <a:lnTo>
                    <a:pt x="21" y="2"/>
                  </a:lnTo>
                  <a:lnTo>
                    <a:pt x="24" y="0"/>
                  </a:lnTo>
                  <a:lnTo>
                    <a:pt x="24" y="0"/>
                  </a:lnTo>
                  <a:lnTo>
                    <a:pt x="24" y="0"/>
                  </a:lnTo>
                  <a:lnTo>
                    <a:pt x="26" y="2"/>
                  </a:lnTo>
                  <a:lnTo>
                    <a:pt x="27" y="3"/>
                  </a:lnTo>
                  <a:lnTo>
                    <a:pt x="27" y="5"/>
                  </a:lnTo>
                  <a:lnTo>
                    <a:pt x="29" y="6"/>
                  </a:lnTo>
                  <a:lnTo>
                    <a:pt x="29" y="11"/>
                  </a:lnTo>
                  <a:lnTo>
                    <a:pt x="30" y="11"/>
                  </a:lnTo>
                  <a:lnTo>
                    <a:pt x="30" y="15"/>
                  </a:lnTo>
                  <a:lnTo>
                    <a:pt x="29" y="16"/>
                  </a:lnTo>
                  <a:lnTo>
                    <a:pt x="27" y="16"/>
                  </a:lnTo>
                  <a:lnTo>
                    <a:pt x="27" y="16"/>
                  </a:lnTo>
                  <a:lnTo>
                    <a:pt x="27" y="18"/>
                  </a:lnTo>
                  <a:lnTo>
                    <a:pt x="29" y="18"/>
                  </a:lnTo>
                  <a:lnTo>
                    <a:pt x="30" y="16"/>
                  </a:lnTo>
                  <a:lnTo>
                    <a:pt x="30" y="16"/>
                  </a:lnTo>
                  <a:lnTo>
                    <a:pt x="33" y="19"/>
                  </a:lnTo>
                  <a:lnTo>
                    <a:pt x="34" y="19"/>
                  </a:lnTo>
                  <a:lnTo>
                    <a:pt x="36" y="19"/>
                  </a:lnTo>
                  <a:lnTo>
                    <a:pt x="37" y="18"/>
                  </a:lnTo>
                  <a:lnTo>
                    <a:pt x="37" y="18"/>
                  </a:lnTo>
                  <a:lnTo>
                    <a:pt x="39" y="16"/>
                  </a:lnTo>
                  <a:lnTo>
                    <a:pt x="39" y="14"/>
                  </a:lnTo>
                  <a:lnTo>
                    <a:pt x="39" y="14"/>
                  </a:lnTo>
                  <a:lnTo>
                    <a:pt x="42" y="14"/>
                  </a:lnTo>
                  <a:lnTo>
                    <a:pt x="43" y="16"/>
                  </a:lnTo>
                  <a:lnTo>
                    <a:pt x="43" y="18"/>
                  </a:lnTo>
                  <a:lnTo>
                    <a:pt x="43" y="19"/>
                  </a:lnTo>
                  <a:lnTo>
                    <a:pt x="45" y="19"/>
                  </a:lnTo>
                  <a:lnTo>
                    <a:pt x="45" y="21"/>
                  </a:lnTo>
                  <a:lnTo>
                    <a:pt x="45" y="21"/>
                  </a:lnTo>
                  <a:lnTo>
                    <a:pt x="45" y="25"/>
                  </a:lnTo>
                  <a:lnTo>
                    <a:pt x="42" y="28"/>
                  </a:lnTo>
                  <a:lnTo>
                    <a:pt x="40" y="30"/>
                  </a:lnTo>
                  <a:lnTo>
                    <a:pt x="42" y="30"/>
                  </a:lnTo>
                  <a:lnTo>
                    <a:pt x="42" y="30"/>
                  </a:lnTo>
                  <a:lnTo>
                    <a:pt x="42" y="30"/>
                  </a:lnTo>
                  <a:lnTo>
                    <a:pt x="43" y="30"/>
                  </a:lnTo>
                  <a:lnTo>
                    <a:pt x="43" y="31"/>
                  </a:lnTo>
                  <a:lnTo>
                    <a:pt x="43" y="31"/>
                  </a:lnTo>
                  <a:lnTo>
                    <a:pt x="45" y="31"/>
                  </a:lnTo>
                  <a:lnTo>
                    <a:pt x="46" y="32"/>
                  </a:lnTo>
                  <a:lnTo>
                    <a:pt x="49" y="32"/>
                  </a:lnTo>
                  <a:lnTo>
                    <a:pt x="49" y="32"/>
                  </a:lnTo>
                  <a:lnTo>
                    <a:pt x="50" y="34"/>
                  </a:lnTo>
                  <a:lnTo>
                    <a:pt x="50" y="35"/>
                  </a:lnTo>
                  <a:lnTo>
                    <a:pt x="52" y="35"/>
                  </a:lnTo>
                  <a:lnTo>
                    <a:pt x="53" y="38"/>
                  </a:lnTo>
                  <a:lnTo>
                    <a:pt x="55" y="38"/>
                  </a:lnTo>
                  <a:lnTo>
                    <a:pt x="56" y="40"/>
                  </a:lnTo>
                  <a:lnTo>
                    <a:pt x="58" y="38"/>
                  </a:lnTo>
                  <a:lnTo>
                    <a:pt x="58" y="40"/>
                  </a:lnTo>
                  <a:lnTo>
                    <a:pt x="58" y="41"/>
                  </a:lnTo>
                  <a:lnTo>
                    <a:pt x="58" y="43"/>
                  </a:lnTo>
                  <a:lnTo>
                    <a:pt x="58" y="46"/>
                  </a:lnTo>
                  <a:lnTo>
                    <a:pt x="58" y="46"/>
                  </a:lnTo>
                  <a:lnTo>
                    <a:pt x="58" y="47"/>
                  </a:lnTo>
                  <a:lnTo>
                    <a:pt x="56" y="47"/>
                  </a:lnTo>
                  <a:lnTo>
                    <a:pt x="56" y="47"/>
                  </a:lnTo>
                  <a:lnTo>
                    <a:pt x="56" y="50"/>
                  </a:lnTo>
                  <a:lnTo>
                    <a:pt x="56" y="50"/>
                  </a:lnTo>
                  <a:lnTo>
                    <a:pt x="55" y="50"/>
                  </a:lnTo>
                  <a:lnTo>
                    <a:pt x="56" y="51"/>
                  </a:lnTo>
                  <a:lnTo>
                    <a:pt x="55" y="53"/>
                  </a:lnTo>
                  <a:lnTo>
                    <a:pt x="55" y="60"/>
                  </a:lnTo>
                  <a:lnTo>
                    <a:pt x="50" y="59"/>
                  </a:lnTo>
                  <a:lnTo>
                    <a:pt x="49" y="57"/>
                  </a:lnTo>
                  <a:lnTo>
                    <a:pt x="36" y="53"/>
                  </a:lnTo>
                  <a:lnTo>
                    <a:pt x="33" y="50"/>
                  </a:lnTo>
                  <a:lnTo>
                    <a:pt x="30" y="48"/>
                  </a:lnTo>
                  <a:lnTo>
                    <a:pt x="14" y="34"/>
                  </a:lnTo>
                  <a:lnTo>
                    <a:pt x="8" y="32"/>
                  </a:lnTo>
                  <a:lnTo>
                    <a:pt x="7" y="28"/>
                  </a:lnTo>
                  <a:lnTo>
                    <a:pt x="4" y="28"/>
                  </a:lnTo>
                  <a:lnTo>
                    <a:pt x="2" y="27"/>
                  </a:lnTo>
                  <a:lnTo>
                    <a:pt x="4" y="25"/>
                  </a:lnTo>
                  <a:lnTo>
                    <a:pt x="2" y="25"/>
                  </a:lnTo>
                  <a:lnTo>
                    <a:pt x="0" y="24"/>
                  </a:lnTo>
                  <a:lnTo>
                    <a:pt x="0" y="24"/>
                  </a:lnTo>
                  <a:lnTo>
                    <a:pt x="0" y="24"/>
                  </a:lnTo>
                  <a:lnTo>
                    <a:pt x="0" y="22"/>
                  </a:lnTo>
                  <a:lnTo>
                    <a:pt x="0" y="2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4" name="Freeform 263"/>
            <p:cNvSpPr>
              <a:spLocks/>
            </p:cNvSpPr>
            <p:nvPr/>
          </p:nvSpPr>
          <p:spPr bwMode="auto">
            <a:xfrm>
              <a:off x="5969743" y="3147858"/>
              <a:ext cx="53546" cy="62876"/>
            </a:xfrm>
            <a:custGeom>
              <a:avLst/>
              <a:gdLst/>
              <a:ahLst/>
              <a:cxnLst>
                <a:cxn ang="0">
                  <a:pos x="0" y="22"/>
                </a:cxn>
                <a:cxn ang="0">
                  <a:pos x="1" y="21"/>
                </a:cxn>
                <a:cxn ang="0">
                  <a:pos x="2" y="19"/>
                </a:cxn>
                <a:cxn ang="0">
                  <a:pos x="4" y="18"/>
                </a:cxn>
                <a:cxn ang="0">
                  <a:pos x="8" y="15"/>
                </a:cxn>
                <a:cxn ang="0">
                  <a:pos x="11" y="12"/>
                </a:cxn>
                <a:cxn ang="0">
                  <a:pos x="13" y="11"/>
                </a:cxn>
                <a:cxn ang="0">
                  <a:pos x="13" y="6"/>
                </a:cxn>
                <a:cxn ang="0">
                  <a:pos x="17" y="5"/>
                </a:cxn>
                <a:cxn ang="0">
                  <a:pos x="16" y="3"/>
                </a:cxn>
                <a:cxn ang="0">
                  <a:pos x="17" y="2"/>
                </a:cxn>
                <a:cxn ang="0">
                  <a:pos x="18" y="0"/>
                </a:cxn>
                <a:cxn ang="0">
                  <a:pos x="21" y="2"/>
                </a:cxn>
                <a:cxn ang="0">
                  <a:pos x="24" y="0"/>
                </a:cxn>
                <a:cxn ang="0">
                  <a:pos x="24" y="0"/>
                </a:cxn>
                <a:cxn ang="0">
                  <a:pos x="27" y="3"/>
                </a:cxn>
                <a:cxn ang="0">
                  <a:pos x="29" y="6"/>
                </a:cxn>
                <a:cxn ang="0">
                  <a:pos x="30" y="11"/>
                </a:cxn>
                <a:cxn ang="0">
                  <a:pos x="29" y="16"/>
                </a:cxn>
                <a:cxn ang="0">
                  <a:pos x="27" y="16"/>
                </a:cxn>
                <a:cxn ang="0">
                  <a:pos x="29" y="18"/>
                </a:cxn>
                <a:cxn ang="0">
                  <a:pos x="30" y="16"/>
                </a:cxn>
                <a:cxn ang="0">
                  <a:pos x="34" y="19"/>
                </a:cxn>
                <a:cxn ang="0">
                  <a:pos x="37" y="18"/>
                </a:cxn>
                <a:cxn ang="0">
                  <a:pos x="39" y="16"/>
                </a:cxn>
                <a:cxn ang="0">
                  <a:pos x="39" y="14"/>
                </a:cxn>
                <a:cxn ang="0">
                  <a:pos x="43" y="16"/>
                </a:cxn>
                <a:cxn ang="0">
                  <a:pos x="43" y="19"/>
                </a:cxn>
                <a:cxn ang="0">
                  <a:pos x="45" y="21"/>
                </a:cxn>
                <a:cxn ang="0">
                  <a:pos x="45" y="25"/>
                </a:cxn>
                <a:cxn ang="0">
                  <a:pos x="40" y="30"/>
                </a:cxn>
                <a:cxn ang="0">
                  <a:pos x="42" y="30"/>
                </a:cxn>
                <a:cxn ang="0">
                  <a:pos x="43" y="30"/>
                </a:cxn>
                <a:cxn ang="0">
                  <a:pos x="43" y="31"/>
                </a:cxn>
                <a:cxn ang="0">
                  <a:pos x="46" y="32"/>
                </a:cxn>
                <a:cxn ang="0">
                  <a:pos x="49" y="32"/>
                </a:cxn>
                <a:cxn ang="0">
                  <a:pos x="50" y="35"/>
                </a:cxn>
                <a:cxn ang="0">
                  <a:pos x="53" y="38"/>
                </a:cxn>
                <a:cxn ang="0">
                  <a:pos x="56" y="40"/>
                </a:cxn>
                <a:cxn ang="0">
                  <a:pos x="58" y="40"/>
                </a:cxn>
                <a:cxn ang="0">
                  <a:pos x="58" y="43"/>
                </a:cxn>
                <a:cxn ang="0">
                  <a:pos x="58" y="46"/>
                </a:cxn>
                <a:cxn ang="0">
                  <a:pos x="56" y="47"/>
                </a:cxn>
                <a:cxn ang="0">
                  <a:pos x="56" y="50"/>
                </a:cxn>
                <a:cxn ang="0">
                  <a:pos x="55" y="50"/>
                </a:cxn>
                <a:cxn ang="0">
                  <a:pos x="55" y="53"/>
                </a:cxn>
                <a:cxn ang="0">
                  <a:pos x="50" y="59"/>
                </a:cxn>
                <a:cxn ang="0">
                  <a:pos x="36" y="53"/>
                </a:cxn>
                <a:cxn ang="0">
                  <a:pos x="30" y="48"/>
                </a:cxn>
                <a:cxn ang="0">
                  <a:pos x="8" y="32"/>
                </a:cxn>
                <a:cxn ang="0">
                  <a:pos x="4" y="28"/>
                </a:cxn>
                <a:cxn ang="0">
                  <a:pos x="4" y="25"/>
                </a:cxn>
                <a:cxn ang="0">
                  <a:pos x="0" y="24"/>
                </a:cxn>
                <a:cxn ang="0">
                  <a:pos x="0" y="24"/>
                </a:cxn>
                <a:cxn ang="0">
                  <a:pos x="0" y="22"/>
                </a:cxn>
              </a:cxnLst>
              <a:rect l="0" t="0" r="r" b="b"/>
              <a:pathLst>
                <a:path w="58" h="60">
                  <a:moveTo>
                    <a:pt x="0" y="22"/>
                  </a:moveTo>
                  <a:lnTo>
                    <a:pt x="0" y="22"/>
                  </a:lnTo>
                  <a:lnTo>
                    <a:pt x="1" y="22"/>
                  </a:lnTo>
                  <a:lnTo>
                    <a:pt x="1" y="21"/>
                  </a:lnTo>
                  <a:lnTo>
                    <a:pt x="2" y="19"/>
                  </a:lnTo>
                  <a:lnTo>
                    <a:pt x="2" y="19"/>
                  </a:lnTo>
                  <a:lnTo>
                    <a:pt x="2" y="18"/>
                  </a:lnTo>
                  <a:lnTo>
                    <a:pt x="4" y="18"/>
                  </a:lnTo>
                  <a:lnTo>
                    <a:pt x="7" y="15"/>
                  </a:lnTo>
                  <a:lnTo>
                    <a:pt x="8" y="15"/>
                  </a:lnTo>
                  <a:lnTo>
                    <a:pt x="10" y="14"/>
                  </a:lnTo>
                  <a:lnTo>
                    <a:pt x="11" y="12"/>
                  </a:lnTo>
                  <a:lnTo>
                    <a:pt x="11" y="12"/>
                  </a:lnTo>
                  <a:lnTo>
                    <a:pt x="13" y="11"/>
                  </a:lnTo>
                  <a:lnTo>
                    <a:pt x="13" y="8"/>
                  </a:lnTo>
                  <a:lnTo>
                    <a:pt x="13" y="6"/>
                  </a:lnTo>
                  <a:lnTo>
                    <a:pt x="14" y="5"/>
                  </a:lnTo>
                  <a:lnTo>
                    <a:pt x="17" y="5"/>
                  </a:lnTo>
                  <a:lnTo>
                    <a:pt x="17" y="5"/>
                  </a:lnTo>
                  <a:lnTo>
                    <a:pt x="16" y="3"/>
                  </a:lnTo>
                  <a:lnTo>
                    <a:pt x="16" y="2"/>
                  </a:lnTo>
                  <a:lnTo>
                    <a:pt x="17" y="2"/>
                  </a:lnTo>
                  <a:lnTo>
                    <a:pt x="17" y="0"/>
                  </a:lnTo>
                  <a:lnTo>
                    <a:pt x="18" y="0"/>
                  </a:lnTo>
                  <a:lnTo>
                    <a:pt x="21" y="2"/>
                  </a:lnTo>
                  <a:lnTo>
                    <a:pt x="21" y="2"/>
                  </a:lnTo>
                  <a:lnTo>
                    <a:pt x="21" y="2"/>
                  </a:lnTo>
                  <a:lnTo>
                    <a:pt x="24" y="0"/>
                  </a:lnTo>
                  <a:lnTo>
                    <a:pt x="24" y="0"/>
                  </a:lnTo>
                  <a:lnTo>
                    <a:pt x="24" y="0"/>
                  </a:lnTo>
                  <a:lnTo>
                    <a:pt x="26" y="2"/>
                  </a:lnTo>
                  <a:lnTo>
                    <a:pt x="27" y="3"/>
                  </a:lnTo>
                  <a:lnTo>
                    <a:pt x="27" y="5"/>
                  </a:lnTo>
                  <a:lnTo>
                    <a:pt x="29" y="6"/>
                  </a:lnTo>
                  <a:lnTo>
                    <a:pt x="29" y="11"/>
                  </a:lnTo>
                  <a:lnTo>
                    <a:pt x="30" y="11"/>
                  </a:lnTo>
                  <a:lnTo>
                    <a:pt x="30" y="15"/>
                  </a:lnTo>
                  <a:lnTo>
                    <a:pt x="29" y="16"/>
                  </a:lnTo>
                  <a:lnTo>
                    <a:pt x="27" y="16"/>
                  </a:lnTo>
                  <a:lnTo>
                    <a:pt x="27" y="16"/>
                  </a:lnTo>
                  <a:lnTo>
                    <a:pt x="27" y="18"/>
                  </a:lnTo>
                  <a:lnTo>
                    <a:pt x="29" y="18"/>
                  </a:lnTo>
                  <a:lnTo>
                    <a:pt x="30" y="16"/>
                  </a:lnTo>
                  <a:lnTo>
                    <a:pt x="30" y="16"/>
                  </a:lnTo>
                  <a:lnTo>
                    <a:pt x="33" y="19"/>
                  </a:lnTo>
                  <a:lnTo>
                    <a:pt x="34" y="19"/>
                  </a:lnTo>
                  <a:lnTo>
                    <a:pt x="36" y="19"/>
                  </a:lnTo>
                  <a:lnTo>
                    <a:pt x="37" y="18"/>
                  </a:lnTo>
                  <a:lnTo>
                    <a:pt x="37" y="18"/>
                  </a:lnTo>
                  <a:lnTo>
                    <a:pt x="39" y="16"/>
                  </a:lnTo>
                  <a:lnTo>
                    <a:pt x="39" y="14"/>
                  </a:lnTo>
                  <a:lnTo>
                    <a:pt x="39" y="14"/>
                  </a:lnTo>
                  <a:lnTo>
                    <a:pt x="42" y="14"/>
                  </a:lnTo>
                  <a:lnTo>
                    <a:pt x="43" y="16"/>
                  </a:lnTo>
                  <a:lnTo>
                    <a:pt x="43" y="18"/>
                  </a:lnTo>
                  <a:lnTo>
                    <a:pt x="43" y="19"/>
                  </a:lnTo>
                  <a:lnTo>
                    <a:pt x="45" y="19"/>
                  </a:lnTo>
                  <a:lnTo>
                    <a:pt x="45" y="21"/>
                  </a:lnTo>
                  <a:lnTo>
                    <a:pt x="45" y="21"/>
                  </a:lnTo>
                  <a:lnTo>
                    <a:pt x="45" y="25"/>
                  </a:lnTo>
                  <a:lnTo>
                    <a:pt x="42" y="28"/>
                  </a:lnTo>
                  <a:lnTo>
                    <a:pt x="40" y="30"/>
                  </a:lnTo>
                  <a:lnTo>
                    <a:pt x="42" y="30"/>
                  </a:lnTo>
                  <a:lnTo>
                    <a:pt x="42" y="30"/>
                  </a:lnTo>
                  <a:lnTo>
                    <a:pt x="42" y="30"/>
                  </a:lnTo>
                  <a:lnTo>
                    <a:pt x="43" y="30"/>
                  </a:lnTo>
                  <a:lnTo>
                    <a:pt x="43" y="31"/>
                  </a:lnTo>
                  <a:lnTo>
                    <a:pt x="43" y="31"/>
                  </a:lnTo>
                  <a:lnTo>
                    <a:pt x="45" y="31"/>
                  </a:lnTo>
                  <a:lnTo>
                    <a:pt x="46" y="32"/>
                  </a:lnTo>
                  <a:lnTo>
                    <a:pt x="49" y="32"/>
                  </a:lnTo>
                  <a:lnTo>
                    <a:pt x="49" y="32"/>
                  </a:lnTo>
                  <a:lnTo>
                    <a:pt x="50" y="34"/>
                  </a:lnTo>
                  <a:lnTo>
                    <a:pt x="50" y="35"/>
                  </a:lnTo>
                  <a:lnTo>
                    <a:pt x="52" y="35"/>
                  </a:lnTo>
                  <a:lnTo>
                    <a:pt x="53" y="38"/>
                  </a:lnTo>
                  <a:lnTo>
                    <a:pt x="55" y="38"/>
                  </a:lnTo>
                  <a:lnTo>
                    <a:pt x="56" y="40"/>
                  </a:lnTo>
                  <a:lnTo>
                    <a:pt x="58" y="38"/>
                  </a:lnTo>
                  <a:lnTo>
                    <a:pt x="58" y="40"/>
                  </a:lnTo>
                  <a:lnTo>
                    <a:pt x="58" y="41"/>
                  </a:lnTo>
                  <a:lnTo>
                    <a:pt x="58" y="43"/>
                  </a:lnTo>
                  <a:lnTo>
                    <a:pt x="58" y="46"/>
                  </a:lnTo>
                  <a:lnTo>
                    <a:pt x="58" y="46"/>
                  </a:lnTo>
                  <a:lnTo>
                    <a:pt x="58" y="47"/>
                  </a:lnTo>
                  <a:lnTo>
                    <a:pt x="56" y="47"/>
                  </a:lnTo>
                  <a:lnTo>
                    <a:pt x="56" y="47"/>
                  </a:lnTo>
                  <a:lnTo>
                    <a:pt x="56" y="50"/>
                  </a:lnTo>
                  <a:lnTo>
                    <a:pt x="56" y="50"/>
                  </a:lnTo>
                  <a:lnTo>
                    <a:pt x="55" y="50"/>
                  </a:lnTo>
                  <a:lnTo>
                    <a:pt x="56" y="51"/>
                  </a:lnTo>
                  <a:lnTo>
                    <a:pt x="55" y="53"/>
                  </a:lnTo>
                  <a:lnTo>
                    <a:pt x="55" y="60"/>
                  </a:lnTo>
                  <a:lnTo>
                    <a:pt x="50" y="59"/>
                  </a:lnTo>
                  <a:lnTo>
                    <a:pt x="49" y="57"/>
                  </a:lnTo>
                  <a:lnTo>
                    <a:pt x="36" y="53"/>
                  </a:lnTo>
                  <a:lnTo>
                    <a:pt x="33" y="50"/>
                  </a:lnTo>
                  <a:lnTo>
                    <a:pt x="30" y="48"/>
                  </a:lnTo>
                  <a:lnTo>
                    <a:pt x="14" y="34"/>
                  </a:lnTo>
                  <a:lnTo>
                    <a:pt x="8" y="32"/>
                  </a:lnTo>
                  <a:lnTo>
                    <a:pt x="7" y="28"/>
                  </a:lnTo>
                  <a:lnTo>
                    <a:pt x="4" y="28"/>
                  </a:lnTo>
                  <a:lnTo>
                    <a:pt x="2" y="27"/>
                  </a:lnTo>
                  <a:lnTo>
                    <a:pt x="4" y="25"/>
                  </a:lnTo>
                  <a:lnTo>
                    <a:pt x="2" y="25"/>
                  </a:lnTo>
                  <a:lnTo>
                    <a:pt x="0" y="24"/>
                  </a:lnTo>
                  <a:lnTo>
                    <a:pt x="0" y="24"/>
                  </a:lnTo>
                  <a:lnTo>
                    <a:pt x="0" y="24"/>
                  </a:lnTo>
                  <a:lnTo>
                    <a:pt x="0" y="22"/>
                  </a:lnTo>
                  <a:lnTo>
                    <a:pt x="0" y="2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5" name="Freeform 264"/>
            <p:cNvSpPr>
              <a:spLocks/>
            </p:cNvSpPr>
            <p:nvPr/>
          </p:nvSpPr>
          <p:spPr bwMode="auto">
            <a:xfrm>
              <a:off x="6076835" y="3109322"/>
              <a:ext cx="58813" cy="97357"/>
            </a:xfrm>
            <a:custGeom>
              <a:avLst/>
              <a:gdLst/>
              <a:ahLst/>
              <a:cxnLst>
                <a:cxn ang="0">
                  <a:pos x="63" y="72"/>
                </a:cxn>
                <a:cxn ang="0">
                  <a:pos x="52" y="24"/>
                </a:cxn>
                <a:cxn ang="0">
                  <a:pos x="50" y="14"/>
                </a:cxn>
                <a:cxn ang="0">
                  <a:pos x="44" y="7"/>
                </a:cxn>
                <a:cxn ang="0">
                  <a:pos x="45" y="4"/>
                </a:cxn>
                <a:cxn ang="0">
                  <a:pos x="45" y="1"/>
                </a:cxn>
                <a:cxn ang="0">
                  <a:pos x="44" y="1"/>
                </a:cxn>
                <a:cxn ang="0">
                  <a:pos x="42" y="0"/>
                </a:cxn>
                <a:cxn ang="0">
                  <a:pos x="35" y="3"/>
                </a:cxn>
                <a:cxn ang="0">
                  <a:pos x="6" y="3"/>
                </a:cxn>
                <a:cxn ang="0">
                  <a:pos x="5" y="7"/>
                </a:cxn>
                <a:cxn ang="0">
                  <a:pos x="6" y="10"/>
                </a:cxn>
                <a:cxn ang="0">
                  <a:pos x="6" y="11"/>
                </a:cxn>
                <a:cxn ang="0">
                  <a:pos x="7" y="17"/>
                </a:cxn>
                <a:cxn ang="0">
                  <a:pos x="7" y="23"/>
                </a:cxn>
                <a:cxn ang="0">
                  <a:pos x="7" y="26"/>
                </a:cxn>
                <a:cxn ang="0">
                  <a:pos x="7" y="29"/>
                </a:cxn>
                <a:cxn ang="0">
                  <a:pos x="7" y="29"/>
                </a:cxn>
                <a:cxn ang="0">
                  <a:pos x="12" y="42"/>
                </a:cxn>
                <a:cxn ang="0">
                  <a:pos x="10" y="43"/>
                </a:cxn>
                <a:cxn ang="0">
                  <a:pos x="7" y="45"/>
                </a:cxn>
                <a:cxn ang="0">
                  <a:pos x="5" y="51"/>
                </a:cxn>
                <a:cxn ang="0">
                  <a:pos x="3" y="58"/>
                </a:cxn>
                <a:cxn ang="0">
                  <a:pos x="2" y="61"/>
                </a:cxn>
                <a:cxn ang="0">
                  <a:pos x="3" y="77"/>
                </a:cxn>
                <a:cxn ang="0">
                  <a:pos x="6" y="78"/>
                </a:cxn>
                <a:cxn ang="0">
                  <a:pos x="7" y="85"/>
                </a:cxn>
                <a:cxn ang="0">
                  <a:pos x="5" y="85"/>
                </a:cxn>
                <a:cxn ang="0">
                  <a:pos x="3" y="85"/>
                </a:cxn>
                <a:cxn ang="0">
                  <a:pos x="18" y="93"/>
                </a:cxn>
                <a:cxn ang="0">
                  <a:pos x="36" y="85"/>
                </a:cxn>
                <a:cxn ang="0">
                  <a:pos x="57" y="77"/>
                </a:cxn>
                <a:cxn ang="0">
                  <a:pos x="60" y="78"/>
                </a:cxn>
                <a:cxn ang="0">
                  <a:pos x="64" y="74"/>
                </a:cxn>
              </a:cxnLst>
              <a:rect l="0" t="0" r="r" b="b"/>
              <a:pathLst>
                <a:path w="64" h="93">
                  <a:moveTo>
                    <a:pt x="64" y="74"/>
                  </a:moveTo>
                  <a:lnTo>
                    <a:pt x="63" y="72"/>
                  </a:lnTo>
                  <a:lnTo>
                    <a:pt x="57" y="65"/>
                  </a:lnTo>
                  <a:lnTo>
                    <a:pt x="52" y="24"/>
                  </a:lnTo>
                  <a:lnTo>
                    <a:pt x="51" y="23"/>
                  </a:lnTo>
                  <a:lnTo>
                    <a:pt x="50" y="14"/>
                  </a:lnTo>
                  <a:lnTo>
                    <a:pt x="47" y="8"/>
                  </a:lnTo>
                  <a:lnTo>
                    <a:pt x="44" y="7"/>
                  </a:lnTo>
                  <a:lnTo>
                    <a:pt x="44" y="5"/>
                  </a:lnTo>
                  <a:lnTo>
                    <a:pt x="45" y="4"/>
                  </a:lnTo>
                  <a:lnTo>
                    <a:pt x="45" y="3"/>
                  </a:lnTo>
                  <a:lnTo>
                    <a:pt x="45" y="1"/>
                  </a:lnTo>
                  <a:lnTo>
                    <a:pt x="45" y="1"/>
                  </a:lnTo>
                  <a:lnTo>
                    <a:pt x="44" y="1"/>
                  </a:lnTo>
                  <a:lnTo>
                    <a:pt x="42" y="1"/>
                  </a:lnTo>
                  <a:lnTo>
                    <a:pt x="42" y="0"/>
                  </a:lnTo>
                  <a:lnTo>
                    <a:pt x="38" y="1"/>
                  </a:lnTo>
                  <a:lnTo>
                    <a:pt x="35" y="3"/>
                  </a:lnTo>
                  <a:lnTo>
                    <a:pt x="34" y="3"/>
                  </a:lnTo>
                  <a:lnTo>
                    <a:pt x="6" y="3"/>
                  </a:lnTo>
                  <a:lnTo>
                    <a:pt x="5" y="4"/>
                  </a:lnTo>
                  <a:lnTo>
                    <a:pt x="5" y="7"/>
                  </a:lnTo>
                  <a:lnTo>
                    <a:pt x="5" y="8"/>
                  </a:lnTo>
                  <a:lnTo>
                    <a:pt x="6" y="10"/>
                  </a:lnTo>
                  <a:lnTo>
                    <a:pt x="6" y="11"/>
                  </a:lnTo>
                  <a:lnTo>
                    <a:pt x="6" y="11"/>
                  </a:lnTo>
                  <a:lnTo>
                    <a:pt x="6" y="14"/>
                  </a:lnTo>
                  <a:lnTo>
                    <a:pt x="7" y="17"/>
                  </a:lnTo>
                  <a:lnTo>
                    <a:pt x="7" y="21"/>
                  </a:lnTo>
                  <a:lnTo>
                    <a:pt x="7" y="23"/>
                  </a:lnTo>
                  <a:lnTo>
                    <a:pt x="7" y="24"/>
                  </a:lnTo>
                  <a:lnTo>
                    <a:pt x="7" y="26"/>
                  </a:lnTo>
                  <a:lnTo>
                    <a:pt x="9" y="27"/>
                  </a:lnTo>
                  <a:lnTo>
                    <a:pt x="7" y="29"/>
                  </a:lnTo>
                  <a:lnTo>
                    <a:pt x="7" y="29"/>
                  </a:lnTo>
                  <a:lnTo>
                    <a:pt x="7" y="29"/>
                  </a:lnTo>
                  <a:lnTo>
                    <a:pt x="9" y="30"/>
                  </a:lnTo>
                  <a:lnTo>
                    <a:pt x="12" y="42"/>
                  </a:lnTo>
                  <a:lnTo>
                    <a:pt x="10" y="42"/>
                  </a:lnTo>
                  <a:lnTo>
                    <a:pt x="10" y="43"/>
                  </a:lnTo>
                  <a:lnTo>
                    <a:pt x="9" y="43"/>
                  </a:lnTo>
                  <a:lnTo>
                    <a:pt x="7" y="45"/>
                  </a:lnTo>
                  <a:lnTo>
                    <a:pt x="7" y="45"/>
                  </a:lnTo>
                  <a:lnTo>
                    <a:pt x="5" y="51"/>
                  </a:lnTo>
                  <a:lnTo>
                    <a:pt x="5" y="56"/>
                  </a:lnTo>
                  <a:lnTo>
                    <a:pt x="3" y="58"/>
                  </a:lnTo>
                  <a:lnTo>
                    <a:pt x="2" y="59"/>
                  </a:lnTo>
                  <a:lnTo>
                    <a:pt x="2" y="61"/>
                  </a:lnTo>
                  <a:lnTo>
                    <a:pt x="0" y="68"/>
                  </a:lnTo>
                  <a:lnTo>
                    <a:pt x="3" y="77"/>
                  </a:lnTo>
                  <a:lnTo>
                    <a:pt x="5" y="78"/>
                  </a:lnTo>
                  <a:lnTo>
                    <a:pt x="6" y="78"/>
                  </a:lnTo>
                  <a:lnTo>
                    <a:pt x="7" y="78"/>
                  </a:lnTo>
                  <a:lnTo>
                    <a:pt x="7" y="85"/>
                  </a:lnTo>
                  <a:lnTo>
                    <a:pt x="6" y="85"/>
                  </a:lnTo>
                  <a:lnTo>
                    <a:pt x="5" y="85"/>
                  </a:lnTo>
                  <a:lnTo>
                    <a:pt x="3" y="85"/>
                  </a:lnTo>
                  <a:lnTo>
                    <a:pt x="3" y="85"/>
                  </a:lnTo>
                  <a:lnTo>
                    <a:pt x="2" y="87"/>
                  </a:lnTo>
                  <a:lnTo>
                    <a:pt x="18" y="93"/>
                  </a:lnTo>
                  <a:lnTo>
                    <a:pt x="25" y="88"/>
                  </a:lnTo>
                  <a:lnTo>
                    <a:pt x="36" y="85"/>
                  </a:lnTo>
                  <a:lnTo>
                    <a:pt x="50" y="78"/>
                  </a:lnTo>
                  <a:lnTo>
                    <a:pt x="57" y="77"/>
                  </a:lnTo>
                  <a:lnTo>
                    <a:pt x="57" y="78"/>
                  </a:lnTo>
                  <a:lnTo>
                    <a:pt x="60" y="78"/>
                  </a:lnTo>
                  <a:lnTo>
                    <a:pt x="63" y="74"/>
                  </a:lnTo>
                  <a:lnTo>
                    <a:pt x="64" y="7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6" name="Freeform 265"/>
            <p:cNvSpPr>
              <a:spLocks/>
            </p:cNvSpPr>
            <p:nvPr/>
          </p:nvSpPr>
          <p:spPr bwMode="auto">
            <a:xfrm>
              <a:off x="6076835" y="3109322"/>
              <a:ext cx="58813" cy="97357"/>
            </a:xfrm>
            <a:custGeom>
              <a:avLst/>
              <a:gdLst/>
              <a:ahLst/>
              <a:cxnLst>
                <a:cxn ang="0">
                  <a:pos x="63" y="72"/>
                </a:cxn>
                <a:cxn ang="0">
                  <a:pos x="52" y="24"/>
                </a:cxn>
                <a:cxn ang="0">
                  <a:pos x="50" y="14"/>
                </a:cxn>
                <a:cxn ang="0">
                  <a:pos x="44" y="7"/>
                </a:cxn>
                <a:cxn ang="0">
                  <a:pos x="45" y="4"/>
                </a:cxn>
                <a:cxn ang="0">
                  <a:pos x="45" y="1"/>
                </a:cxn>
                <a:cxn ang="0">
                  <a:pos x="44" y="1"/>
                </a:cxn>
                <a:cxn ang="0">
                  <a:pos x="42" y="0"/>
                </a:cxn>
                <a:cxn ang="0">
                  <a:pos x="35" y="3"/>
                </a:cxn>
                <a:cxn ang="0">
                  <a:pos x="6" y="3"/>
                </a:cxn>
                <a:cxn ang="0">
                  <a:pos x="5" y="7"/>
                </a:cxn>
                <a:cxn ang="0">
                  <a:pos x="6" y="10"/>
                </a:cxn>
                <a:cxn ang="0">
                  <a:pos x="6" y="11"/>
                </a:cxn>
                <a:cxn ang="0">
                  <a:pos x="7" y="17"/>
                </a:cxn>
                <a:cxn ang="0">
                  <a:pos x="7" y="23"/>
                </a:cxn>
                <a:cxn ang="0">
                  <a:pos x="7" y="26"/>
                </a:cxn>
                <a:cxn ang="0">
                  <a:pos x="7" y="29"/>
                </a:cxn>
                <a:cxn ang="0">
                  <a:pos x="7" y="29"/>
                </a:cxn>
                <a:cxn ang="0">
                  <a:pos x="12" y="42"/>
                </a:cxn>
                <a:cxn ang="0">
                  <a:pos x="10" y="43"/>
                </a:cxn>
                <a:cxn ang="0">
                  <a:pos x="7" y="45"/>
                </a:cxn>
                <a:cxn ang="0">
                  <a:pos x="5" y="51"/>
                </a:cxn>
                <a:cxn ang="0">
                  <a:pos x="3" y="58"/>
                </a:cxn>
                <a:cxn ang="0">
                  <a:pos x="2" y="61"/>
                </a:cxn>
                <a:cxn ang="0">
                  <a:pos x="3" y="77"/>
                </a:cxn>
                <a:cxn ang="0">
                  <a:pos x="6" y="78"/>
                </a:cxn>
                <a:cxn ang="0">
                  <a:pos x="7" y="85"/>
                </a:cxn>
                <a:cxn ang="0">
                  <a:pos x="5" y="85"/>
                </a:cxn>
                <a:cxn ang="0">
                  <a:pos x="3" y="85"/>
                </a:cxn>
                <a:cxn ang="0">
                  <a:pos x="18" y="93"/>
                </a:cxn>
                <a:cxn ang="0">
                  <a:pos x="36" y="85"/>
                </a:cxn>
                <a:cxn ang="0">
                  <a:pos x="57" y="77"/>
                </a:cxn>
                <a:cxn ang="0">
                  <a:pos x="60" y="78"/>
                </a:cxn>
                <a:cxn ang="0">
                  <a:pos x="64" y="74"/>
                </a:cxn>
              </a:cxnLst>
              <a:rect l="0" t="0" r="r" b="b"/>
              <a:pathLst>
                <a:path w="64" h="93">
                  <a:moveTo>
                    <a:pt x="64" y="74"/>
                  </a:moveTo>
                  <a:lnTo>
                    <a:pt x="63" y="72"/>
                  </a:lnTo>
                  <a:lnTo>
                    <a:pt x="57" y="65"/>
                  </a:lnTo>
                  <a:lnTo>
                    <a:pt x="52" y="24"/>
                  </a:lnTo>
                  <a:lnTo>
                    <a:pt x="51" y="23"/>
                  </a:lnTo>
                  <a:lnTo>
                    <a:pt x="50" y="14"/>
                  </a:lnTo>
                  <a:lnTo>
                    <a:pt x="47" y="8"/>
                  </a:lnTo>
                  <a:lnTo>
                    <a:pt x="44" y="7"/>
                  </a:lnTo>
                  <a:lnTo>
                    <a:pt x="44" y="5"/>
                  </a:lnTo>
                  <a:lnTo>
                    <a:pt x="45" y="4"/>
                  </a:lnTo>
                  <a:lnTo>
                    <a:pt x="45" y="3"/>
                  </a:lnTo>
                  <a:lnTo>
                    <a:pt x="45" y="1"/>
                  </a:lnTo>
                  <a:lnTo>
                    <a:pt x="45" y="1"/>
                  </a:lnTo>
                  <a:lnTo>
                    <a:pt x="44" y="1"/>
                  </a:lnTo>
                  <a:lnTo>
                    <a:pt x="42" y="1"/>
                  </a:lnTo>
                  <a:lnTo>
                    <a:pt x="42" y="0"/>
                  </a:lnTo>
                  <a:lnTo>
                    <a:pt x="38" y="1"/>
                  </a:lnTo>
                  <a:lnTo>
                    <a:pt x="35" y="3"/>
                  </a:lnTo>
                  <a:lnTo>
                    <a:pt x="34" y="3"/>
                  </a:lnTo>
                  <a:lnTo>
                    <a:pt x="6" y="3"/>
                  </a:lnTo>
                  <a:lnTo>
                    <a:pt x="5" y="4"/>
                  </a:lnTo>
                  <a:lnTo>
                    <a:pt x="5" y="7"/>
                  </a:lnTo>
                  <a:lnTo>
                    <a:pt x="5" y="8"/>
                  </a:lnTo>
                  <a:lnTo>
                    <a:pt x="6" y="10"/>
                  </a:lnTo>
                  <a:lnTo>
                    <a:pt x="6" y="11"/>
                  </a:lnTo>
                  <a:lnTo>
                    <a:pt x="6" y="11"/>
                  </a:lnTo>
                  <a:lnTo>
                    <a:pt x="6" y="14"/>
                  </a:lnTo>
                  <a:lnTo>
                    <a:pt x="7" y="17"/>
                  </a:lnTo>
                  <a:lnTo>
                    <a:pt x="7" y="21"/>
                  </a:lnTo>
                  <a:lnTo>
                    <a:pt x="7" y="23"/>
                  </a:lnTo>
                  <a:lnTo>
                    <a:pt x="7" y="24"/>
                  </a:lnTo>
                  <a:lnTo>
                    <a:pt x="7" y="26"/>
                  </a:lnTo>
                  <a:lnTo>
                    <a:pt x="9" y="27"/>
                  </a:lnTo>
                  <a:lnTo>
                    <a:pt x="7" y="29"/>
                  </a:lnTo>
                  <a:lnTo>
                    <a:pt x="7" y="29"/>
                  </a:lnTo>
                  <a:lnTo>
                    <a:pt x="7" y="29"/>
                  </a:lnTo>
                  <a:lnTo>
                    <a:pt x="9" y="30"/>
                  </a:lnTo>
                  <a:lnTo>
                    <a:pt x="12" y="42"/>
                  </a:lnTo>
                  <a:lnTo>
                    <a:pt x="10" y="42"/>
                  </a:lnTo>
                  <a:lnTo>
                    <a:pt x="10" y="43"/>
                  </a:lnTo>
                  <a:lnTo>
                    <a:pt x="9" y="43"/>
                  </a:lnTo>
                  <a:lnTo>
                    <a:pt x="7" y="45"/>
                  </a:lnTo>
                  <a:lnTo>
                    <a:pt x="7" y="45"/>
                  </a:lnTo>
                  <a:lnTo>
                    <a:pt x="5" y="51"/>
                  </a:lnTo>
                  <a:lnTo>
                    <a:pt x="5" y="56"/>
                  </a:lnTo>
                  <a:lnTo>
                    <a:pt x="3" y="58"/>
                  </a:lnTo>
                  <a:lnTo>
                    <a:pt x="2" y="59"/>
                  </a:lnTo>
                  <a:lnTo>
                    <a:pt x="2" y="61"/>
                  </a:lnTo>
                  <a:lnTo>
                    <a:pt x="0" y="68"/>
                  </a:lnTo>
                  <a:lnTo>
                    <a:pt x="3" y="77"/>
                  </a:lnTo>
                  <a:lnTo>
                    <a:pt x="5" y="78"/>
                  </a:lnTo>
                  <a:lnTo>
                    <a:pt x="6" y="78"/>
                  </a:lnTo>
                  <a:lnTo>
                    <a:pt x="7" y="78"/>
                  </a:lnTo>
                  <a:lnTo>
                    <a:pt x="7" y="85"/>
                  </a:lnTo>
                  <a:lnTo>
                    <a:pt x="6" y="85"/>
                  </a:lnTo>
                  <a:lnTo>
                    <a:pt x="5" y="85"/>
                  </a:lnTo>
                  <a:lnTo>
                    <a:pt x="3" y="85"/>
                  </a:lnTo>
                  <a:lnTo>
                    <a:pt x="3" y="85"/>
                  </a:lnTo>
                  <a:lnTo>
                    <a:pt x="2" y="87"/>
                  </a:lnTo>
                  <a:lnTo>
                    <a:pt x="18" y="93"/>
                  </a:lnTo>
                  <a:lnTo>
                    <a:pt x="25" y="88"/>
                  </a:lnTo>
                  <a:lnTo>
                    <a:pt x="36" y="85"/>
                  </a:lnTo>
                  <a:lnTo>
                    <a:pt x="50" y="78"/>
                  </a:lnTo>
                  <a:lnTo>
                    <a:pt x="57" y="77"/>
                  </a:lnTo>
                  <a:lnTo>
                    <a:pt x="57" y="78"/>
                  </a:lnTo>
                  <a:lnTo>
                    <a:pt x="60" y="78"/>
                  </a:lnTo>
                  <a:lnTo>
                    <a:pt x="63" y="74"/>
                  </a:lnTo>
                  <a:lnTo>
                    <a:pt x="64" y="7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7" name="Freeform 266"/>
            <p:cNvSpPr>
              <a:spLocks/>
            </p:cNvSpPr>
            <p:nvPr/>
          </p:nvSpPr>
          <p:spPr bwMode="auto">
            <a:xfrm>
              <a:off x="6154081" y="3069771"/>
              <a:ext cx="152738" cy="144007"/>
            </a:xfrm>
            <a:custGeom>
              <a:avLst/>
              <a:gdLst/>
              <a:ahLst/>
              <a:cxnLst>
                <a:cxn ang="0">
                  <a:pos x="12" y="19"/>
                </a:cxn>
                <a:cxn ang="0">
                  <a:pos x="13" y="16"/>
                </a:cxn>
                <a:cxn ang="0">
                  <a:pos x="18" y="14"/>
                </a:cxn>
                <a:cxn ang="0">
                  <a:pos x="25" y="1"/>
                </a:cxn>
                <a:cxn ang="0">
                  <a:pos x="51" y="4"/>
                </a:cxn>
                <a:cxn ang="0">
                  <a:pos x="60" y="12"/>
                </a:cxn>
                <a:cxn ang="0">
                  <a:pos x="64" y="9"/>
                </a:cxn>
                <a:cxn ang="0">
                  <a:pos x="74" y="6"/>
                </a:cxn>
                <a:cxn ang="0">
                  <a:pos x="93" y="14"/>
                </a:cxn>
                <a:cxn ang="0">
                  <a:pos x="108" y="6"/>
                </a:cxn>
                <a:cxn ang="0">
                  <a:pos x="134" y="9"/>
                </a:cxn>
                <a:cxn ang="0">
                  <a:pos x="138" y="7"/>
                </a:cxn>
                <a:cxn ang="0">
                  <a:pos x="141" y="4"/>
                </a:cxn>
                <a:cxn ang="0">
                  <a:pos x="144" y="3"/>
                </a:cxn>
                <a:cxn ang="0">
                  <a:pos x="148" y="0"/>
                </a:cxn>
                <a:cxn ang="0">
                  <a:pos x="148" y="0"/>
                </a:cxn>
                <a:cxn ang="0">
                  <a:pos x="156" y="9"/>
                </a:cxn>
                <a:cxn ang="0">
                  <a:pos x="162" y="19"/>
                </a:cxn>
                <a:cxn ang="0">
                  <a:pos x="164" y="20"/>
                </a:cxn>
                <a:cxn ang="0">
                  <a:pos x="166" y="22"/>
                </a:cxn>
                <a:cxn ang="0">
                  <a:pos x="162" y="33"/>
                </a:cxn>
                <a:cxn ang="0">
                  <a:pos x="156" y="36"/>
                </a:cxn>
                <a:cxn ang="0">
                  <a:pos x="143" y="73"/>
                </a:cxn>
                <a:cxn ang="0">
                  <a:pos x="135" y="77"/>
                </a:cxn>
                <a:cxn ang="0">
                  <a:pos x="122" y="106"/>
                </a:cxn>
                <a:cxn ang="0">
                  <a:pos x="117" y="103"/>
                </a:cxn>
                <a:cxn ang="0">
                  <a:pos x="115" y="102"/>
                </a:cxn>
                <a:cxn ang="0">
                  <a:pos x="111" y="99"/>
                </a:cxn>
                <a:cxn ang="0">
                  <a:pos x="98" y="100"/>
                </a:cxn>
                <a:cxn ang="0">
                  <a:pos x="93" y="105"/>
                </a:cxn>
                <a:cxn ang="0">
                  <a:pos x="86" y="118"/>
                </a:cxn>
                <a:cxn ang="0">
                  <a:pos x="83" y="126"/>
                </a:cxn>
                <a:cxn ang="0">
                  <a:pos x="82" y="131"/>
                </a:cxn>
                <a:cxn ang="0">
                  <a:pos x="79" y="128"/>
                </a:cxn>
                <a:cxn ang="0">
                  <a:pos x="77" y="134"/>
                </a:cxn>
                <a:cxn ang="0">
                  <a:pos x="63" y="131"/>
                </a:cxn>
                <a:cxn ang="0">
                  <a:pos x="60" y="134"/>
                </a:cxn>
                <a:cxn ang="0">
                  <a:pos x="58" y="135"/>
                </a:cxn>
                <a:cxn ang="0">
                  <a:pos x="57" y="135"/>
                </a:cxn>
                <a:cxn ang="0">
                  <a:pos x="56" y="135"/>
                </a:cxn>
                <a:cxn ang="0">
                  <a:pos x="50" y="138"/>
                </a:cxn>
                <a:cxn ang="0">
                  <a:pos x="47" y="135"/>
                </a:cxn>
                <a:cxn ang="0">
                  <a:pos x="44" y="135"/>
                </a:cxn>
                <a:cxn ang="0">
                  <a:pos x="40" y="129"/>
                </a:cxn>
                <a:cxn ang="0">
                  <a:pos x="40" y="121"/>
                </a:cxn>
                <a:cxn ang="0">
                  <a:pos x="37" y="121"/>
                </a:cxn>
                <a:cxn ang="0">
                  <a:pos x="34" y="116"/>
                </a:cxn>
                <a:cxn ang="0">
                  <a:pos x="32" y="115"/>
                </a:cxn>
                <a:cxn ang="0">
                  <a:pos x="29" y="110"/>
                </a:cxn>
                <a:cxn ang="0">
                  <a:pos x="2" y="107"/>
                </a:cxn>
                <a:cxn ang="0">
                  <a:pos x="2" y="75"/>
                </a:cxn>
                <a:cxn ang="0">
                  <a:pos x="6" y="61"/>
                </a:cxn>
                <a:cxn ang="0">
                  <a:pos x="12" y="54"/>
                </a:cxn>
                <a:cxn ang="0">
                  <a:pos x="13" y="54"/>
                </a:cxn>
                <a:cxn ang="0">
                  <a:pos x="12" y="51"/>
                </a:cxn>
                <a:cxn ang="0">
                  <a:pos x="13" y="49"/>
                </a:cxn>
                <a:cxn ang="0">
                  <a:pos x="15" y="48"/>
                </a:cxn>
                <a:cxn ang="0">
                  <a:pos x="13" y="38"/>
                </a:cxn>
                <a:cxn ang="0">
                  <a:pos x="11" y="35"/>
                </a:cxn>
                <a:cxn ang="0">
                  <a:pos x="12" y="29"/>
                </a:cxn>
              </a:cxnLst>
              <a:rect l="0" t="0" r="r" b="b"/>
              <a:pathLst>
                <a:path w="166" h="138">
                  <a:moveTo>
                    <a:pt x="12" y="29"/>
                  </a:moveTo>
                  <a:lnTo>
                    <a:pt x="12" y="19"/>
                  </a:lnTo>
                  <a:lnTo>
                    <a:pt x="13" y="17"/>
                  </a:lnTo>
                  <a:lnTo>
                    <a:pt x="13" y="16"/>
                  </a:lnTo>
                  <a:lnTo>
                    <a:pt x="16" y="16"/>
                  </a:lnTo>
                  <a:lnTo>
                    <a:pt x="18" y="14"/>
                  </a:lnTo>
                  <a:lnTo>
                    <a:pt x="21" y="4"/>
                  </a:lnTo>
                  <a:lnTo>
                    <a:pt x="25" y="1"/>
                  </a:lnTo>
                  <a:lnTo>
                    <a:pt x="41" y="0"/>
                  </a:lnTo>
                  <a:lnTo>
                    <a:pt x="51" y="4"/>
                  </a:lnTo>
                  <a:lnTo>
                    <a:pt x="58" y="12"/>
                  </a:lnTo>
                  <a:lnTo>
                    <a:pt x="60" y="12"/>
                  </a:lnTo>
                  <a:lnTo>
                    <a:pt x="63" y="12"/>
                  </a:lnTo>
                  <a:lnTo>
                    <a:pt x="64" y="9"/>
                  </a:lnTo>
                  <a:lnTo>
                    <a:pt x="72" y="6"/>
                  </a:lnTo>
                  <a:lnTo>
                    <a:pt x="74" y="6"/>
                  </a:lnTo>
                  <a:lnTo>
                    <a:pt x="85" y="13"/>
                  </a:lnTo>
                  <a:lnTo>
                    <a:pt x="93" y="14"/>
                  </a:lnTo>
                  <a:lnTo>
                    <a:pt x="98" y="14"/>
                  </a:lnTo>
                  <a:lnTo>
                    <a:pt x="108" y="6"/>
                  </a:lnTo>
                  <a:lnTo>
                    <a:pt x="127" y="6"/>
                  </a:lnTo>
                  <a:lnTo>
                    <a:pt x="134" y="9"/>
                  </a:lnTo>
                  <a:lnTo>
                    <a:pt x="137" y="9"/>
                  </a:lnTo>
                  <a:lnTo>
                    <a:pt x="138" y="7"/>
                  </a:lnTo>
                  <a:lnTo>
                    <a:pt x="141" y="6"/>
                  </a:lnTo>
                  <a:lnTo>
                    <a:pt x="141" y="4"/>
                  </a:lnTo>
                  <a:lnTo>
                    <a:pt x="143" y="3"/>
                  </a:lnTo>
                  <a:lnTo>
                    <a:pt x="144" y="3"/>
                  </a:lnTo>
                  <a:lnTo>
                    <a:pt x="147" y="3"/>
                  </a:lnTo>
                  <a:lnTo>
                    <a:pt x="148" y="0"/>
                  </a:lnTo>
                  <a:lnTo>
                    <a:pt x="148" y="0"/>
                  </a:lnTo>
                  <a:lnTo>
                    <a:pt x="148" y="0"/>
                  </a:lnTo>
                  <a:lnTo>
                    <a:pt x="153" y="7"/>
                  </a:lnTo>
                  <a:lnTo>
                    <a:pt x="156" y="9"/>
                  </a:lnTo>
                  <a:lnTo>
                    <a:pt x="159" y="16"/>
                  </a:lnTo>
                  <a:lnTo>
                    <a:pt x="162" y="19"/>
                  </a:lnTo>
                  <a:lnTo>
                    <a:pt x="162" y="19"/>
                  </a:lnTo>
                  <a:lnTo>
                    <a:pt x="164" y="20"/>
                  </a:lnTo>
                  <a:lnTo>
                    <a:pt x="166" y="20"/>
                  </a:lnTo>
                  <a:lnTo>
                    <a:pt x="166" y="22"/>
                  </a:lnTo>
                  <a:lnTo>
                    <a:pt x="166" y="30"/>
                  </a:lnTo>
                  <a:lnTo>
                    <a:pt x="162" y="33"/>
                  </a:lnTo>
                  <a:lnTo>
                    <a:pt x="162" y="35"/>
                  </a:lnTo>
                  <a:lnTo>
                    <a:pt x="156" y="36"/>
                  </a:lnTo>
                  <a:lnTo>
                    <a:pt x="153" y="41"/>
                  </a:lnTo>
                  <a:lnTo>
                    <a:pt x="143" y="73"/>
                  </a:lnTo>
                  <a:lnTo>
                    <a:pt x="138" y="74"/>
                  </a:lnTo>
                  <a:lnTo>
                    <a:pt x="135" y="77"/>
                  </a:lnTo>
                  <a:lnTo>
                    <a:pt x="124" y="105"/>
                  </a:lnTo>
                  <a:lnTo>
                    <a:pt x="122" y="106"/>
                  </a:lnTo>
                  <a:lnTo>
                    <a:pt x="118" y="105"/>
                  </a:lnTo>
                  <a:lnTo>
                    <a:pt x="117" y="103"/>
                  </a:lnTo>
                  <a:lnTo>
                    <a:pt x="115" y="103"/>
                  </a:lnTo>
                  <a:lnTo>
                    <a:pt x="115" y="102"/>
                  </a:lnTo>
                  <a:lnTo>
                    <a:pt x="114" y="102"/>
                  </a:lnTo>
                  <a:lnTo>
                    <a:pt x="111" y="99"/>
                  </a:lnTo>
                  <a:lnTo>
                    <a:pt x="98" y="99"/>
                  </a:lnTo>
                  <a:lnTo>
                    <a:pt x="98" y="100"/>
                  </a:lnTo>
                  <a:lnTo>
                    <a:pt x="96" y="105"/>
                  </a:lnTo>
                  <a:lnTo>
                    <a:pt x="93" y="105"/>
                  </a:lnTo>
                  <a:lnTo>
                    <a:pt x="89" y="110"/>
                  </a:lnTo>
                  <a:lnTo>
                    <a:pt x="86" y="118"/>
                  </a:lnTo>
                  <a:lnTo>
                    <a:pt x="86" y="122"/>
                  </a:lnTo>
                  <a:lnTo>
                    <a:pt x="83" y="126"/>
                  </a:lnTo>
                  <a:lnTo>
                    <a:pt x="82" y="128"/>
                  </a:lnTo>
                  <a:lnTo>
                    <a:pt x="82" y="131"/>
                  </a:lnTo>
                  <a:lnTo>
                    <a:pt x="80" y="129"/>
                  </a:lnTo>
                  <a:lnTo>
                    <a:pt x="79" y="128"/>
                  </a:lnTo>
                  <a:lnTo>
                    <a:pt x="77" y="131"/>
                  </a:lnTo>
                  <a:lnTo>
                    <a:pt x="77" y="134"/>
                  </a:lnTo>
                  <a:lnTo>
                    <a:pt x="69" y="134"/>
                  </a:lnTo>
                  <a:lnTo>
                    <a:pt x="63" y="131"/>
                  </a:lnTo>
                  <a:lnTo>
                    <a:pt x="61" y="132"/>
                  </a:lnTo>
                  <a:lnTo>
                    <a:pt x="60" y="134"/>
                  </a:lnTo>
                  <a:lnTo>
                    <a:pt x="60" y="135"/>
                  </a:lnTo>
                  <a:lnTo>
                    <a:pt x="58" y="135"/>
                  </a:lnTo>
                  <a:lnTo>
                    <a:pt x="58" y="135"/>
                  </a:lnTo>
                  <a:lnTo>
                    <a:pt x="57" y="135"/>
                  </a:lnTo>
                  <a:lnTo>
                    <a:pt x="56" y="135"/>
                  </a:lnTo>
                  <a:lnTo>
                    <a:pt x="56" y="135"/>
                  </a:lnTo>
                  <a:lnTo>
                    <a:pt x="54" y="135"/>
                  </a:lnTo>
                  <a:lnTo>
                    <a:pt x="50" y="138"/>
                  </a:lnTo>
                  <a:lnTo>
                    <a:pt x="50" y="135"/>
                  </a:lnTo>
                  <a:lnTo>
                    <a:pt x="47" y="135"/>
                  </a:lnTo>
                  <a:lnTo>
                    <a:pt x="47" y="135"/>
                  </a:lnTo>
                  <a:lnTo>
                    <a:pt x="44" y="135"/>
                  </a:lnTo>
                  <a:lnTo>
                    <a:pt x="42" y="132"/>
                  </a:lnTo>
                  <a:lnTo>
                    <a:pt x="40" y="129"/>
                  </a:lnTo>
                  <a:lnTo>
                    <a:pt x="38" y="122"/>
                  </a:lnTo>
                  <a:lnTo>
                    <a:pt x="40" y="121"/>
                  </a:lnTo>
                  <a:lnTo>
                    <a:pt x="38" y="121"/>
                  </a:lnTo>
                  <a:lnTo>
                    <a:pt x="37" y="121"/>
                  </a:lnTo>
                  <a:lnTo>
                    <a:pt x="35" y="118"/>
                  </a:lnTo>
                  <a:lnTo>
                    <a:pt x="34" y="116"/>
                  </a:lnTo>
                  <a:lnTo>
                    <a:pt x="34" y="115"/>
                  </a:lnTo>
                  <a:lnTo>
                    <a:pt x="32" y="115"/>
                  </a:lnTo>
                  <a:lnTo>
                    <a:pt x="32" y="113"/>
                  </a:lnTo>
                  <a:lnTo>
                    <a:pt x="29" y="110"/>
                  </a:lnTo>
                  <a:lnTo>
                    <a:pt x="22" y="107"/>
                  </a:lnTo>
                  <a:lnTo>
                    <a:pt x="2" y="107"/>
                  </a:lnTo>
                  <a:lnTo>
                    <a:pt x="0" y="106"/>
                  </a:lnTo>
                  <a:lnTo>
                    <a:pt x="2" y="75"/>
                  </a:lnTo>
                  <a:lnTo>
                    <a:pt x="6" y="68"/>
                  </a:lnTo>
                  <a:lnTo>
                    <a:pt x="6" y="61"/>
                  </a:lnTo>
                  <a:lnTo>
                    <a:pt x="12" y="55"/>
                  </a:lnTo>
                  <a:lnTo>
                    <a:pt x="12" y="54"/>
                  </a:lnTo>
                  <a:lnTo>
                    <a:pt x="13" y="54"/>
                  </a:lnTo>
                  <a:lnTo>
                    <a:pt x="13" y="54"/>
                  </a:lnTo>
                  <a:lnTo>
                    <a:pt x="13" y="52"/>
                  </a:lnTo>
                  <a:lnTo>
                    <a:pt x="12" y="51"/>
                  </a:lnTo>
                  <a:lnTo>
                    <a:pt x="12" y="51"/>
                  </a:lnTo>
                  <a:lnTo>
                    <a:pt x="13" y="49"/>
                  </a:lnTo>
                  <a:lnTo>
                    <a:pt x="13" y="48"/>
                  </a:lnTo>
                  <a:lnTo>
                    <a:pt x="15" y="48"/>
                  </a:lnTo>
                  <a:lnTo>
                    <a:pt x="15" y="48"/>
                  </a:lnTo>
                  <a:lnTo>
                    <a:pt x="13" y="38"/>
                  </a:lnTo>
                  <a:lnTo>
                    <a:pt x="12" y="35"/>
                  </a:lnTo>
                  <a:lnTo>
                    <a:pt x="11" y="35"/>
                  </a:lnTo>
                  <a:lnTo>
                    <a:pt x="12" y="32"/>
                  </a:lnTo>
                  <a:lnTo>
                    <a:pt x="12" y="2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8" name="Freeform 267"/>
            <p:cNvSpPr>
              <a:spLocks/>
            </p:cNvSpPr>
            <p:nvPr/>
          </p:nvSpPr>
          <p:spPr bwMode="auto">
            <a:xfrm>
              <a:off x="6154081" y="3069771"/>
              <a:ext cx="152738" cy="144007"/>
            </a:xfrm>
            <a:custGeom>
              <a:avLst/>
              <a:gdLst/>
              <a:ahLst/>
              <a:cxnLst>
                <a:cxn ang="0">
                  <a:pos x="12" y="19"/>
                </a:cxn>
                <a:cxn ang="0">
                  <a:pos x="13" y="16"/>
                </a:cxn>
                <a:cxn ang="0">
                  <a:pos x="18" y="14"/>
                </a:cxn>
                <a:cxn ang="0">
                  <a:pos x="25" y="1"/>
                </a:cxn>
                <a:cxn ang="0">
                  <a:pos x="51" y="4"/>
                </a:cxn>
                <a:cxn ang="0">
                  <a:pos x="60" y="12"/>
                </a:cxn>
                <a:cxn ang="0">
                  <a:pos x="64" y="9"/>
                </a:cxn>
                <a:cxn ang="0">
                  <a:pos x="74" y="6"/>
                </a:cxn>
                <a:cxn ang="0">
                  <a:pos x="93" y="14"/>
                </a:cxn>
                <a:cxn ang="0">
                  <a:pos x="108" y="6"/>
                </a:cxn>
                <a:cxn ang="0">
                  <a:pos x="134" y="9"/>
                </a:cxn>
                <a:cxn ang="0">
                  <a:pos x="138" y="7"/>
                </a:cxn>
                <a:cxn ang="0">
                  <a:pos x="141" y="4"/>
                </a:cxn>
                <a:cxn ang="0">
                  <a:pos x="144" y="3"/>
                </a:cxn>
                <a:cxn ang="0">
                  <a:pos x="148" y="0"/>
                </a:cxn>
                <a:cxn ang="0">
                  <a:pos x="148" y="0"/>
                </a:cxn>
                <a:cxn ang="0">
                  <a:pos x="156" y="9"/>
                </a:cxn>
                <a:cxn ang="0">
                  <a:pos x="162" y="19"/>
                </a:cxn>
                <a:cxn ang="0">
                  <a:pos x="164" y="20"/>
                </a:cxn>
                <a:cxn ang="0">
                  <a:pos x="166" y="22"/>
                </a:cxn>
                <a:cxn ang="0">
                  <a:pos x="162" y="33"/>
                </a:cxn>
                <a:cxn ang="0">
                  <a:pos x="156" y="36"/>
                </a:cxn>
                <a:cxn ang="0">
                  <a:pos x="143" y="73"/>
                </a:cxn>
                <a:cxn ang="0">
                  <a:pos x="135" y="77"/>
                </a:cxn>
                <a:cxn ang="0">
                  <a:pos x="122" y="106"/>
                </a:cxn>
                <a:cxn ang="0">
                  <a:pos x="117" y="103"/>
                </a:cxn>
                <a:cxn ang="0">
                  <a:pos x="115" y="102"/>
                </a:cxn>
                <a:cxn ang="0">
                  <a:pos x="111" y="99"/>
                </a:cxn>
                <a:cxn ang="0">
                  <a:pos x="98" y="100"/>
                </a:cxn>
                <a:cxn ang="0">
                  <a:pos x="93" y="105"/>
                </a:cxn>
                <a:cxn ang="0">
                  <a:pos x="86" y="118"/>
                </a:cxn>
                <a:cxn ang="0">
                  <a:pos x="83" y="126"/>
                </a:cxn>
                <a:cxn ang="0">
                  <a:pos x="82" y="131"/>
                </a:cxn>
                <a:cxn ang="0">
                  <a:pos x="79" y="128"/>
                </a:cxn>
                <a:cxn ang="0">
                  <a:pos x="77" y="134"/>
                </a:cxn>
                <a:cxn ang="0">
                  <a:pos x="63" y="131"/>
                </a:cxn>
                <a:cxn ang="0">
                  <a:pos x="60" y="134"/>
                </a:cxn>
                <a:cxn ang="0">
                  <a:pos x="58" y="135"/>
                </a:cxn>
                <a:cxn ang="0">
                  <a:pos x="57" y="135"/>
                </a:cxn>
                <a:cxn ang="0">
                  <a:pos x="56" y="135"/>
                </a:cxn>
                <a:cxn ang="0">
                  <a:pos x="50" y="138"/>
                </a:cxn>
                <a:cxn ang="0">
                  <a:pos x="47" y="135"/>
                </a:cxn>
                <a:cxn ang="0">
                  <a:pos x="44" y="135"/>
                </a:cxn>
                <a:cxn ang="0">
                  <a:pos x="40" y="129"/>
                </a:cxn>
                <a:cxn ang="0">
                  <a:pos x="40" y="121"/>
                </a:cxn>
                <a:cxn ang="0">
                  <a:pos x="37" y="121"/>
                </a:cxn>
                <a:cxn ang="0">
                  <a:pos x="34" y="116"/>
                </a:cxn>
                <a:cxn ang="0">
                  <a:pos x="32" y="115"/>
                </a:cxn>
                <a:cxn ang="0">
                  <a:pos x="29" y="110"/>
                </a:cxn>
                <a:cxn ang="0">
                  <a:pos x="2" y="107"/>
                </a:cxn>
                <a:cxn ang="0">
                  <a:pos x="2" y="75"/>
                </a:cxn>
                <a:cxn ang="0">
                  <a:pos x="6" y="61"/>
                </a:cxn>
                <a:cxn ang="0">
                  <a:pos x="12" y="54"/>
                </a:cxn>
                <a:cxn ang="0">
                  <a:pos x="13" y="54"/>
                </a:cxn>
                <a:cxn ang="0">
                  <a:pos x="12" y="51"/>
                </a:cxn>
                <a:cxn ang="0">
                  <a:pos x="13" y="49"/>
                </a:cxn>
                <a:cxn ang="0">
                  <a:pos x="15" y="48"/>
                </a:cxn>
                <a:cxn ang="0">
                  <a:pos x="13" y="38"/>
                </a:cxn>
                <a:cxn ang="0">
                  <a:pos x="11" y="35"/>
                </a:cxn>
                <a:cxn ang="0">
                  <a:pos x="12" y="29"/>
                </a:cxn>
              </a:cxnLst>
              <a:rect l="0" t="0" r="r" b="b"/>
              <a:pathLst>
                <a:path w="166" h="138">
                  <a:moveTo>
                    <a:pt x="12" y="29"/>
                  </a:moveTo>
                  <a:lnTo>
                    <a:pt x="12" y="19"/>
                  </a:lnTo>
                  <a:lnTo>
                    <a:pt x="13" y="17"/>
                  </a:lnTo>
                  <a:lnTo>
                    <a:pt x="13" y="16"/>
                  </a:lnTo>
                  <a:lnTo>
                    <a:pt x="16" y="16"/>
                  </a:lnTo>
                  <a:lnTo>
                    <a:pt x="18" y="14"/>
                  </a:lnTo>
                  <a:lnTo>
                    <a:pt x="21" y="4"/>
                  </a:lnTo>
                  <a:lnTo>
                    <a:pt x="25" y="1"/>
                  </a:lnTo>
                  <a:lnTo>
                    <a:pt x="41" y="0"/>
                  </a:lnTo>
                  <a:lnTo>
                    <a:pt x="51" y="4"/>
                  </a:lnTo>
                  <a:lnTo>
                    <a:pt x="58" y="12"/>
                  </a:lnTo>
                  <a:lnTo>
                    <a:pt x="60" y="12"/>
                  </a:lnTo>
                  <a:lnTo>
                    <a:pt x="63" y="12"/>
                  </a:lnTo>
                  <a:lnTo>
                    <a:pt x="64" y="9"/>
                  </a:lnTo>
                  <a:lnTo>
                    <a:pt x="72" y="6"/>
                  </a:lnTo>
                  <a:lnTo>
                    <a:pt x="74" y="6"/>
                  </a:lnTo>
                  <a:lnTo>
                    <a:pt x="85" y="13"/>
                  </a:lnTo>
                  <a:lnTo>
                    <a:pt x="93" y="14"/>
                  </a:lnTo>
                  <a:lnTo>
                    <a:pt x="98" y="14"/>
                  </a:lnTo>
                  <a:lnTo>
                    <a:pt x="108" y="6"/>
                  </a:lnTo>
                  <a:lnTo>
                    <a:pt x="127" y="6"/>
                  </a:lnTo>
                  <a:lnTo>
                    <a:pt x="134" y="9"/>
                  </a:lnTo>
                  <a:lnTo>
                    <a:pt x="137" y="9"/>
                  </a:lnTo>
                  <a:lnTo>
                    <a:pt x="138" y="7"/>
                  </a:lnTo>
                  <a:lnTo>
                    <a:pt x="141" y="6"/>
                  </a:lnTo>
                  <a:lnTo>
                    <a:pt x="141" y="4"/>
                  </a:lnTo>
                  <a:lnTo>
                    <a:pt x="143" y="3"/>
                  </a:lnTo>
                  <a:lnTo>
                    <a:pt x="144" y="3"/>
                  </a:lnTo>
                  <a:lnTo>
                    <a:pt x="147" y="3"/>
                  </a:lnTo>
                  <a:lnTo>
                    <a:pt x="148" y="0"/>
                  </a:lnTo>
                  <a:lnTo>
                    <a:pt x="148" y="0"/>
                  </a:lnTo>
                  <a:lnTo>
                    <a:pt x="148" y="0"/>
                  </a:lnTo>
                  <a:lnTo>
                    <a:pt x="153" y="7"/>
                  </a:lnTo>
                  <a:lnTo>
                    <a:pt x="156" y="9"/>
                  </a:lnTo>
                  <a:lnTo>
                    <a:pt x="159" y="16"/>
                  </a:lnTo>
                  <a:lnTo>
                    <a:pt x="162" y="19"/>
                  </a:lnTo>
                  <a:lnTo>
                    <a:pt x="162" y="19"/>
                  </a:lnTo>
                  <a:lnTo>
                    <a:pt x="164" y="20"/>
                  </a:lnTo>
                  <a:lnTo>
                    <a:pt x="166" y="20"/>
                  </a:lnTo>
                  <a:lnTo>
                    <a:pt x="166" y="22"/>
                  </a:lnTo>
                  <a:lnTo>
                    <a:pt x="166" y="30"/>
                  </a:lnTo>
                  <a:lnTo>
                    <a:pt x="162" y="33"/>
                  </a:lnTo>
                  <a:lnTo>
                    <a:pt x="162" y="35"/>
                  </a:lnTo>
                  <a:lnTo>
                    <a:pt x="156" y="36"/>
                  </a:lnTo>
                  <a:lnTo>
                    <a:pt x="153" y="41"/>
                  </a:lnTo>
                  <a:lnTo>
                    <a:pt x="143" y="73"/>
                  </a:lnTo>
                  <a:lnTo>
                    <a:pt x="138" y="74"/>
                  </a:lnTo>
                  <a:lnTo>
                    <a:pt x="135" y="77"/>
                  </a:lnTo>
                  <a:lnTo>
                    <a:pt x="124" y="105"/>
                  </a:lnTo>
                  <a:lnTo>
                    <a:pt x="122" y="106"/>
                  </a:lnTo>
                  <a:lnTo>
                    <a:pt x="118" y="105"/>
                  </a:lnTo>
                  <a:lnTo>
                    <a:pt x="117" y="103"/>
                  </a:lnTo>
                  <a:lnTo>
                    <a:pt x="115" y="103"/>
                  </a:lnTo>
                  <a:lnTo>
                    <a:pt x="115" y="102"/>
                  </a:lnTo>
                  <a:lnTo>
                    <a:pt x="114" y="102"/>
                  </a:lnTo>
                  <a:lnTo>
                    <a:pt x="111" y="99"/>
                  </a:lnTo>
                  <a:lnTo>
                    <a:pt x="98" y="99"/>
                  </a:lnTo>
                  <a:lnTo>
                    <a:pt x="98" y="100"/>
                  </a:lnTo>
                  <a:lnTo>
                    <a:pt x="96" y="105"/>
                  </a:lnTo>
                  <a:lnTo>
                    <a:pt x="93" y="105"/>
                  </a:lnTo>
                  <a:lnTo>
                    <a:pt x="89" y="110"/>
                  </a:lnTo>
                  <a:lnTo>
                    <a:pt x="86" y="118"/>
                  </a:lnTo>
                  <a:lnTo>
                    <a:pt x="86" y="122"/>
                  </a:lnTo>
                  <a:lnTo>
                    <a:pt x="83" y="126"/>
                  </a:lnTo>
                  <a:lnTo>
                    <a:pt x="82" y="128"/>
                  </a:lnTo>
                  <a:lnTo>
                    <a:pt x="82" y="131"/>
                  </a:lnTo>
                  <a:lnTo>
                    <a:pt x="80" y="129"/>
                  </a:lnTo>
                  <a:lnTo>
                    <a:pt x="79" y="128"/>
                  </a:lnTo>
                  <a:lnTo>
                    <a:pt x="77" y="131"/>
                  </a:lnTo>
                  <a:lnTo>
                    <a:pt x="77" y="134"/>
                  </a:lnTo>
                  <a:lnTo>
                    <a:pt x="69" y="134"/>
                  </a:lnTo>
                  <a:lnTo>
                    <a:pt x="63" y="131"/>
                  </a:lnTo>
                  <a:lnTo>
                    <a:pt x="61" y="132"/>
                  </a:lnTo>
                  <a:lnTo>
                    <a:pt x="60" y="134"/>
                  </a:lnTo>
                  <a:lnTo>
                    <a:pt x="60" y="135"/>
                  </a:lnTo>
                  <a:lnTo>
                    <a:pt x="58" y="135"/>
                  </a:lnTo>
                  <a:lnTo>
                    <a:pt x="58" y="135"/>
                  </a:lnTo>
                  <a:lnTo>
                    <a:pt x="57" y="135"/>
                  </a:lnTo>
                  <a:lnTo>
                    <a:pt x="56" y="135"/>
                  </a:lnTo>
                  <a:lnTo>
                    <a:pt x="56" y="135"/>
                  </a:lnTo>
                  <a:lnTo>
                    <a:pt x="54" y="135"/>
                  </a:lnTo>
                  <a:lnTo>
                    <a:pt x="50" y="138"/>
                  </a:lnTo>
                  <a:lnTo>
                    <a:pt x="50" y="135"/>
                  </a:lnTo>
                  <a:lnTo>
                    <a:pt x="47" y="135"/>
                  </a:lnTo>
                  <a:lnTo>
                    <a:pt x="47" y="135"/>
                  </a:lnTo>
                  <a:lnTo>
                    <a:pt x="44" y="135"/>
                  </a:lnTo>
                  <a:lnTo>
                    <a:pt x="42" y="132"/>
                  </a:lnTo>
                  <a:lnTo>
                    <a:pt x="40" y="129"/>
                  </a:lnTo>
                  <a:lnTo>
                    <a:pt x="38" y="122"/>
                  </a:lnTo>
                  <a:lnTo>
                    <a:pt x="40" y="121"/>
                  </a:lnTo>
                  <a:lnTo>
                    <a:pt x="38" y="121"/>
                  </a:lnTo>
                  <a:lnTo>
                    <a:pt x="37" y="121"/>
                  </a:lnTo>
                  <a:lnTo>
                    <a:pt x="35" y="118"/>
                  </a:lnTo>
                  <a:lnTo>
                    <a:pt x="34" y="116"/>
                  </a:lnTo>
                  <a:lnTo>
                    <a:pt x="34" y="115"/>
                  </a:lnTo>
                  <a:lnTo>
                    <a:pt x="32" y="115"/>
                  </a:lnTo>
                  <a:lnTo>
                    <a:pt x="32" y="113"/>
                  </a:lnTo>
                  <a:lnTo>
                    <a:pt x="29" y="110"/>
                  </a:lnTo>
                  <a:lnTo>
                    <a:pt x="22" y="107"/>
                  </a:lnTo>
                  <a:lnTo>
                    <a:pt x="2" y="107"/>
                  </a:lnTo>
                  <a:lnTo>
                    <a:pt x="0" y="106"/>
                  </a:lnTo>
                  <a:lnTo>
                    <a:pt x="2" y="75"/>
                  </a:lnTo>
                  <a:lnTo>
                    <a:pt x="6" y="68"/>
                  </a:lnTo>
                  <a:lnTo>
                    <a:pt x="6" y="61"/>
                  </a:lnTo>
                  <a:lnTo>
                    <a:pt x="12" y="55"/>
                  </a:lnTo>
                  <a:lnTo>
                    <a:pt x="12" y="54"/>
                  </a:lnTo>
                  <a:lnTo>
                    <a:pt x="13" y="54"/>
                  </a:lnTo>
                  <a:lnTo>
                    <a:pt x="13" y="54"/>
                  </a:lnTo>
                  <a:lnTo>
                    <a:pt x="13" y="52"/>
                  </a:lnTo>
                  <a:lnTo>
                    <a:pt x="12" y="51"/>
                  </a:lnTo>
                  <a:lnTo>
                    <a:pt x="12" y="51"/>
                  </a:lnTo>
                  <a:lnTo>
                    <a:pt x="13" y="49"/>
                  </a:lnTo>
                  <a:lnTo>
                    <a:pt x="13" y="48"/>
                  </a:lnTo>
                  <a:lnTo>
                    <a:pt x="15" y="48"/>
                  </a:lnTo>
                  <a:lnTo>
                    <a:pt x="15" y="48"/>
                  </a:lnTo>
                  <a:lnTo>
                    <a:pt x="13" y="38"/>
                  </a:lnTo>
                  <a:lnTo>
                    <a:pt x="12" y="35"/>
                  </a:lnTo>
                  <a:lnTo>
                    <a:pt x="11" y="35"/>
                  </a:lnTo>
                  <a:lnTo>
                    <a:pt x="12" y="32"/>
                  </a:lnTo>
                  <a:lnTo>
                    <a:pt x="12" y="29"/>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69" name="Freeform 268"/>
            <p:cNvSpPr>
              <a:spLocks/>
            </p:cNvSpPr>
            <p:nvPr/>
          </p:nvSpPr>
          <p:spPr bwMode="auto">
            <a:xfrm>
              <a:off x="6263807" y="3219862"/>
              <a:ext cx="98314" cy="129808"/>
            </a:xfrm>
            <a:custGeom>
              <a:avLst/>
              <a:gdLst/>
              <a:ahLst/>
              <a:cxnLst>
                <a:cxn ang="0">
                  <a:pos x="106" y="1"/>
                </a:cxn>
                <a:cxn ang="0">
                  <a:pos x="89" y="0"/>
                </a:cxn>
                <a:cxn ang="0">
                  <a:pos x="73" y="8"/>
                </a:cxn>
                <a:cxn ang="0">
                  <a:pos x="70" y="16"/>
                </a:cxn>
                <a:cxn ang="0">
                  <a:pos x="70" y="29"/>
                </a:cxn>
                <a:cxn ang="0">
                  <a:pos x="63" y="24"/>
                </a:cxn>
                <a:cxn ang="0">
                  <a:pos x="53" y="24"/>
                </a:cxn>
                <a:cxn ang="0">
                  <a:pos x="31" y="22"/>
                </a:cxn>
                <a:cxn ang="0">
                  <a:pos x="29" y="36"/>
                </a:cxn>
                <a:cxn ang="0">
                  <a:pos x="35" y="30"/>
                </a:cxn>
                <a:cxn ang="0">
                  <a:pos x="45" y="36"/>
                </a:cxn>
                <a:cxn ang="0">
                  <a:pos x="41" y="49"/>
                </a:cxn>
                <a:cxn ang="0">
                  <a:pos x="45" y="64"/>
                </a:cxn>
                <a:cxn ang="0">
                  <a:pos x="38" y="87"/>
                </a:cxn>
                <a:cxn ang="0">
                  <a:pos x="27" y="84"/>
                </a:cxn>
                <a:cxn ang="0">
                  <a:pos x="22" y="80"/>
                </a:cxn>
                <a:cxn ang="0">
                  <a:pos x="8" y="88"/>
                </a:cxn>
                <a:cxn ang="0">
                  <a:pos x="6" y="94"/>
                </a:cxn>
                <a:cxn ang="0">
                  <a:pos x="8" y="103"/>
                </a:cxn>
                <a:cxn ang="0">
                  <a:pos x="2" y="103"/>
                </a:cxn>
                <a:cxn ang="0">
                  <a:pos x="0" y="109"/>
                </a:cxn>
                <a:cxn ang="0">
                  <a:pos x="9" y="116"/>
                </a:cxn>
                <a:cxn ang="0">
                  <a:pos x="19" y="120"/>
                </a:cxn>
                <a:cxn ang="0">
                  <a:pos x="24" y="116"/>
                </a:cxn>
                <a:cxn ang="0">
                  <a:pos x="27" y="119"/>
                </a:cxn>
                <a:cxn ang="0">
                  <a:pos x="34" y="120"/>
                </a:cxn>
                <a:cxn ang="0">
                  <a:pos x="38" y="116"/>
                </a:cxn>
                <a:cxn ang="0">
                  <a:pos x="45" y="116"/>
                </a:cxn>
                <a:cxn ang="0">
                  <a:pos x="48" y="122"/>
                </a:cxn>
                <a:cxn ang="0">
                  <a:pos x="64" y="112"/>
                </a:cxn>
                <a:cxn ang="0">
                  <a:pos x="74" y="83"/>
                </a:cxn>
                <a:cxn ang="0">
                  <a:pos x="95" y="62"/>
                </a:cxn>
                <a:cxn ang="0">
                  <a:pos x="108" y="4"/>
                </a:cxn>
              </a:cxnLst>
              <a:rect l="0" t="0" r="r" b="b"/>
              <a:pathLst>
                <a:path w="108" h="125">
                  <a:moveTo>
                    <a:pt x="108" y="0"/>
                  </a:moveTo>
                  <a:lnTo>
                    <a:pt x="106" y="1"/>
                  </a:lnTo>
                  <a:lnTo>
                    <a:pt x="98" y="4"/>
                  </a:lnTo>
                  <a:lnTo>
                    <a:pt x="89" y="0"/>
                  </a:lnTo>
                  <a:lnTo>
                    <a:pt x="85" y="1"/>
                  </a:lnTo>
                  <a:lnTo>
                    <a:pt x="73" y="8"/>
                  </a:lnTo>
                  <a:lnTo>
                    <a:pt x="72" y="13"/>
                  </a:lnTo>
                  <a:lnTo>
                    <a:pt x="70" y="16"/>
                  </a:lnTo>
                  <a:lnTo>
                    <a:pt x="72" y="27"/>
                  </a:lnTo>
                  <a:lnTo>
                    <a:pt x="70" y="29"/>
                  </a:lnTo>
                  <a:lnTo>
                    <a:pt x="69" y="30"/>
                  </a:lnTo>
                  <a:lnTo>
                    <a:pt x="63" y="24"/>
                  </a:lnTo>
                  <a:lnTo>
                    <a:pt x="60" y="26"/>
                  </a:lnTo>
                  <a:lnTo>
                    <a:pt x="53" y="24"/>
                  </a:lnTo>
                  <a:lnTo>
                    <a:pt x="50" y="22"/>
                  </a:lnTo>
                  <a:lnTo>
                    <a:pt x="31" y="22"/>
                  </a:lnTo>
                  <a:lnTo>
                    <a:pt x="29" y="26"/>
                  </a:lnTo>
                  <a:lnTo>
                    <a:pt x="29" y="36"/>
                  </a:lnTo>
                  <a:lnTo>
                    <a:pt x="31" y="36"/>
                  </a:lnTo>
                  <a:lnTo>
                    <a:pt x="35" y="30"/>
                  </a:lnTo>
                  <a:lnTo>
                    <a:pt x="43" y="33"/>
                  </a:lnTo>
                  <a:lnTo>
                    <a:pt x="45" y="36"/>
                  </a:lnTo>
                  <a:lnTo>
                    <a:pt x="45" y="42"/>
                  </a:lnTo>
                  <a:lnTo>
                    <a:pt x="41" y="49"/>
                  </a:lnTo>
                  <a:lnTo>
                    <a:pt x="41" y="54"/>
                  </a:lnTo>
                  <a:lnTo>
                    <a:pt x="45" y="64"/>
                  </a:lnTo>
                  <a:lnTo>
                    <a:pt x="41" y="85"/>
                  </a:lnTo>
                  <a:lnTo>
                    <a:pt x="38" y="87"/>
                  </a:lnTo>
                  <a:lnTo>
                    <a:pt x="32" y="83"/>
                  </a:lnTo>
                  <a:lnTo>
                    <a:pt x="27" y="84"/>
                  </a:lnTo>
                  <a:lnTo>
                    <a:pt x="24" y="81"/>
                  </a:lnTo>
                  <a:lnTo>
                    <a:pt x="22" y="80"/>
                  </a:lnTo>
                  <a:lnTo>
                    <a:pt x="16" y="84"/>
                  </a:lnTo>
                  <a:lnTo>
                    <a:pt x="8" y="88"/>
                  </a:lnTo>
                  <a:lnTo>
                    <a:pt x="6" y="91"/>
                  </a:lnTo>
                  <a:lnTo>
                    <a:pt x="6" y="94"/>
                  </a:lnTo>
                  <a:lnTo>
                    <a:pt x="9" y="101"/>
                  </a:lnTo>
                  <a:lnTo>
                    <a:pt x="8" y="103"/>
                  </a:lnTo>
                  <a:lnTo>
                    <a:pt x="5" y="103"/>
                  </a:lnTo>
                  <a:lnTo>
                    <a:pt x="2" y="103"/>
                  </a:lnTo>
                  <a:lnTo>
                    <a:pt x="0" y="106"/>
                  </a:lnTo>
                  <a:lnTo>
                    <a:pt x="0" y="109"/>
                  </a:lnTo>
                  <a:lnTo>
                    <a:pt x="3" y="110"/>
                  </a:lnTo>
                  <a:lnTo>
                    <a:pt x="9" y="116"/>
                  </a:lnTo>
                  <a:lnTo>
                    <a:pt x="12" y="125"/>
                  </a:lnTo>
                  <a:lnTo>
                    <a:pt x="19" y="120"/>
                  </a:lnTo>
                  <a:lnTo>
                    <a:pt x="21" y="117"/>
                  </a:lnTo>
                  <a:lnTo>
                    <a:pt x="24" y="116"/>
                  </a:lnTo>
                  <a:lnTo>
                    <a:pt x="25" y="116"/>
                  </a:lnTo>
                  <a:lnTo>
                    <a:pt x="27" y="119"/>
                  </a:lnTo>
                  <a:lnTo>
                    <a:pt x="31" y="122"/>
                  </a:lnTo>
                  <a:lnTo>
                    <a:pt x="34" y="120"/>
                  </a:lnTo>
                  <a:lnTo>
                    <a:pt x="37" y="117"/>
                  </a:lnTo>
                  <a:lnTo>
                    <a:pt x="38" y="116"/>
                  </a:lnTo>
                  <a:lnTo>
                    <a:pt x="45" y="115"/>
                  </a:lnTo>
                  <a:lnTo>
                    <a:pt x="45" y="116"/>
                  </a:lnTo>
                  <a:lnTo>
                    <a:pt x="47" y="120"/>
                  </a:lnTo>
                  <a:lnTo>
                    <a:pt x="48" y="122"/>
                  </a:lnTo>
                  <a:lnTo>
                    <a:pt x="54" y="119"/>
                  </a:lnTo>
                  <a:lnTo>
                    <a:pt x="64" y="112"/>
                  </a:lnTo>
                  <a:lnTo>
                    <a:pt x="72" y="103"/>
                  </a:lnTo>
                  <a:lnTo>
                    <a:pt x="74" y="83"/>
                  </a:lnTo>
                  <a:lnTo>
                    <a:pt x="85" y="70"/>
                  </a:lnTo>
                  <a:lnTo>
                    <a:pt x="95" y="62"/>
                  </a:lnTo>
                  <a:lnTo>
                    <a:pt x="99" y="26"/>
                  </a:lnTo>
                  <a:lnTo>
                    <a:pt x="108" y="4"/>
                  </a:lnTo>
                  <a:lnTo>
                    <a:pt x="108"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0" name="Freeform 269"/>
            <p:cNvSpPr>
              <a:spLocks/>
            </p:cNvSpPr>
            <p:nvPr/>
          </p:nvSpPr>
          <p:spPr bwMode="auto">
            <a:xfrm>
              <a:off x="6263807" y="3219862"/>
              <a:ext cx="98314" cy="129808"/>
            </a:xfrm>
            <a:custGeom>
              <a:avLst/>
              <a:gdLst/>
              <a:ahLst/>
              <a:cxnLst>
                <a:cxn ang="0">
                  <a:pos x="106" y="1"/>
                </a:cxn>
                <a:cxn ang="0">
                  <a:pos x="89" y="0"/>
                </a:cxn>
                <a:cxn ang="0">
                  <a:pos x="73" y="8"/>
                </a:cxn>
                <a:cxn ang="0">
                  <a:pos x="70" y="16"/>
                </a:cxn>
                <a:cxn ang="0">
                  <a:pos x="70" y="29"/>
                </a:cxn>
                <a:cxn ang="0">
                  <a:pos x="63" y="24"/>
                </a:cxn>
                <a:cxn ang="0">
                  <a:pos x="53" y="24"/>
                </a:cxn>
                <a:cxn ang="0">
                  <a:pos x="31" y="22"/>
                </a:cxn>
                <a:cxn ang="0">
                  <a:pos x="29" y="36"/>
                </a:cxn>
                <a:cxn ang="0">
                  <a:pos x="35" y="30"/>
                </a:cxn>
                <a:cxn ang="0">
                  <a:pos x="45" y="36"/>
                </a:cxn>
                <a:cxn ang="0">
                  <a:pos x="41" y="49"/>
                </a:cxn>
                <a:cxn ang="0">
                  <a:pos x="45" y="64"/>
                </a:cxn>
                <a:cxn ang="0">
                  <a:pos x="38" y="87"/>
                </a:cxn>
                <a:cxn ang="0">
                  <a:pos x="27" y="84"/>
                </a:cxn>
                <a:cxn ang="0">
                  <a:pos x="22" y="80"/>
                </a:cxn>
                <a:cxn ang="0">
                  <a:pos x="8" y="88"/>
                </a:cxn>
                <a:cxn ang="0">
                  <a:pos x="6" y="94"/>
                </a:cxn>
                <a:cxn ang="0">
                  <a:pos x="8" y="103"/>
                </a:cxn>
                <a:cxn ang="0">
                  <a:pos x="2" y="103"/>
                </a:cxn>
                <a:cxn ang="0">
                  <a:pos x="0" y="109"/>
                </a:cxn>
                <a:cxn ang="0">
                  <a:pos x="9" y="116"/>
                </a:cxn>
                <a:cxn ang="0">
                  <a:pos x="19" y="120"/>
                </a:cxn>
                <a:cxn ang="0">
                  <a:pos x="24" y="116"/>
                </a:cxn>
                <a:cxn ang="0">
                  <a:pos x="27" y="119"/>
                </a:cxn>
                <a:cxn ang="0">
                  <a:pos x="34" y="120"/>
                </a:cxn>
                <a:cxn ang="0">
                  <a:pos x="38" y="116"/>
                </a:cxn>
                <a:cxn ang="0">
                  <a:pos x="45" y="116"/>
                </a:cxn>
                <a:cxn ang="0">
                  <a:pos x="48" y="122"/>
                </a:cxn>
                <a:cxn ang="0">
                  <a:pos x="64" y="112"/>
                </a:cxn>
                <a:cxn ang="0">
                  <a:pos x="74" y="83"/>
                </a:cxn>
                <a:cxn ang="0">
                  <a:pos x="95" y="62"/>
                </a:cxn>
                <a:cxn ang="0">
                  <a:pos x="108" y="4"/>
                </a:cxn>
              </a:cxnLst>
              <a:rect l="0" t="0" r="r" b="b"/>
              <a:pathLst>
                <a:path w="108" h="125">
                  <a:moveTo>
                    <a:pt x="108" y="0"/>
                  </a:moveTo>
                  <a:lnTo>
                    <a:pt x="106" y="1"/>
                  </a:lnTo>
                  <a:lnTo>
                    <a:pt x="98" y="4"/>
                  </a:lnTo>
                  <a:lnTo>
                    <a:pt x="89" y="0"/>
                  </a:lnTo>
                  <a:lnTo>
                    <a:pt x="85" y="1"/>
                  </a:lnTo>
                  <a:lnTo>
                    <a:pt x="73" y="8"/>
                  </a:lnTo>
                  <a:lnTo>
                    <a:pt x="72" y="13"/>
                  </a:lnTo>
                  <a:lnTo>
                    <a:pt x="70" y="16"/>
                  </a:lnTo>
                  <a:lnTo>
                    <a:pt x="72" y="27"/>
                  </a:lnTo>
                  <a:lnTo>
                    <a:pt x="70" y="29"/>
                  </a:lnTo>
                  <a:lnTo>
                    <a:pt x="69" y="30"/>
                  </a:lnTo>
                  <a:lnTo>
                    <a:pt x="63" y="24"/>
                  </a:lnTo>
                  <a:lnTo>
                    <a:pt x="60" y="26"/>
                  </a:lnTo>
                  <a:lnTo>
                    <a:pt x="53" y="24"/>
                  </a:lnTo>
                  <a:lnTo>
                    <a:pt x="50" y="22"/>
                  </a:lnTo>
                  <a:lnTo>
                    <a:pt x="31" y="22"/>
                  </a:lnTo>
                  <a:lnTo>
                    <a:pt x="29" y="26"/>
                  </a:lnTo>
                  <a:lnTo>
                    <a:pt x="29" y="36"/>
                  </a:lnTo>
                  <a:lnTo>
                    <a:pt x="31" y="36"/>
                  </a:lnTo>
                  <a:lnTo>
                    <a:pt x="35" y="30"/>
                  </a:lnTo>
                  <a:lnTo>
                    <a:pt x="43" y="33"/>
                  </a:lnTo>
                  <a:lnTo>
                    <a:pt x="45" y="36"/>
                  </a:lnTo>
                  <a:lnTo>
                    <a:pt x="45" y="42"/>
                  </a:lnTo>
                  <a:lnTo>
                    <a:pt x="41" y="49"/>
                  </a:lnTo>
                  <a:lnTo>
                    <a:pt x="41" y="54"/>
                  </a:lnTo>
                  <a:lnTo>
                    <a:pt x="45" y="64"/>
                  </a:lnTo>
                  <a:lnTo>
                    <a:pt x="41" y="85"/>
                  </a:lnTo>
                  <a:lnTo>
                    <a:pt x="38" y="87"/>
                  </a:lnTo>
                  <a:lnTo>
                    <a:pt x="32" y="83"/>
                  </a:lnTo>
                  <a:lnTo>
                    <a:pt x="27" y="84"/>
                  </a:lnTo>
                  <a:lnTo>
                    <a:pt x="24" y="81"/>
                  </a:lnTo>
                  <a:lnTo>
                    <a:pt x="22" y="80"/>
                  </a:lnTo>
                  <a:lnTo>
                    <a:pt x="16" y="84"/>
                  </a:lnTo>
                  <a:lnTo>
                    <a:pt x="8" y="88"/>
                  </a:lnTo>
                  <a:lnTo>
                    <a:pt x="6" y="91"/>
                  </a:lnTo>
                  <a:lnTo>
                    <a:pt x="6" y="94"/>
                  </a:lnTo>
                  <a:lnTo>
                    <a:pt x="9" y="101"/>
                  </a:lnTo>
                  <a:lnTo>
                    <a:pt x="8" y="103"/>
                  </a:lnTo>
                  <a:lnTo>
                    <a:pt x="5" y="103"/>
                  </a:lnTo>
                  <a:lnTo>
                    <a:pt x="2" y="103"/>
                  </a:lnTo>
                  <a:lnTo>
                    <a:pt x="0" y="106"/>
                  </a:lnTo>
                  <a:lnTo>
                    <a:pt x="0" y="109"/>
                  </a:lnTo>
                  <a:lnTo>
                    <a:pt x="3" y="110"/>
                  </a:lnTo>
                  <a:lnTo>
                    <a:pt x="9" y="116"/>
                  </a:lnTo>
                  <a:lnTo>
                    <a:pt x="12" y="125"/>
                  </a:lnTo>
                  <a:lnTo>
                    <a:pt x="19" y="120"/>
                  </a:lnTo>
                  <a:lnTo>
                    <a:pt x="21" y="117"/>
                  </a:lnTo>
                  <a:lnTo>
                    <a:pt x="24" y="116"/>
                  </a:lnTo>
                  <a:lnTo>
                    <a:pt x="25" y="116"/>
                  </a:lnTo>
                  <a:lnTo>
                    <a:pt x="27" y="119"/>
                  </a:lnTo>
                  <a:lnTo>
                    <a:pt x="31" y="122"/>
                  </a:lnTo>
                  <a:lnTo>
                    <a:pt x="34" y="120"/>
                  </a:lnTo>
                  <a:lnTo>
                    <a:pt x="37" y="117"/>
                  </a:lnTo>
                  <a:lnTo>
                    <a:pt x="38" y="116"/>
                  </a:lnTo>
                  <a:lnTo>
                    <a:pt x="45" y="115"/>
                  </a:lnTo>
                  <a:lnTo>
                    <a:pt x="45" y="116"/>
                  </a:lnTo>
                  <a:lnTo>
                    <a:pt x="47" y="120"/>
                  </a:lnTo>
                  <a:lnTo>
                    <a:pt x="48" y="122"/>
                  </a:lnTo>
                  <a:lnTo>
                    <a:pt x="54" y="119"/>
                  </a:lnTo>
                  <a:lnTo>
                    <a:pt x="64" y="112"/>
                  </a:lnTo>
                  <a:lnTo>
                    <a:pt x="72" y="103"/>
                  </a:lnTo>
                  <a:lnTo>
                    <a:pt x="74" y="83"/>
                  </a:lnTo>
                  <a:lnTo>
                    <a:pt x="85" y="70"/>
                  </a:lnTo>
                  <a:lnTo>
                    <a:pt x="95" y="62"/>
                  </a:lnTo>
                  <a:lnTo>
                    <a:pt x="99" y="26"/>
                  </a:lnTo>
                  <a:lnTo>
                    <a:pt x="108" y="4"/>
                  </a:lnTo>
                  <a:lnTo>
                    <a:pt x="108"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1" name="Freeform 270"/>
            <p:cNvSpPr>
              <a:spLocks/>
            </p:cNvSpPr>
            <p:nvPr/>
          </p:nvSpPr>
          <p:spPr bwMode="auto">
            <a:xfrm>
              <a:off x="6239228" y="3242173"/>
              <a:ext cx="26334" cy="18254"/>
            </a:xfrm>
            <a:custGeom>
              <a:avLst/>
              <a:gdLst/>
              <a:ahLst/>
              <a:cxnLst>
                <a:cxn ang="0">
                  <a:pos x="28" y="0"/>
                </a:cxn>
                <a:cxn ang="0">
                  <a:pos x="6" y="1"/>
                </a:cxn>
                <a:cxn ang="0">
                  <a:pos x="6" y="2"/>
                </a:cxn>
                <a:cxn ang="0">
                  <a:pos x="5" y="7"/>
                </a:cxn>
                <a:cxn ang="0">
                  <a:pos x="3" y="10"/>
                </a:cxn>
                <a:cxn ang="0">
                  <a:pos x="0" y="14"/>
                </a:cxn>
                <a:cxn ang="0">
                  <a:pos x="5" y="16"/>
                </a:cxn>
                <a:cxn ang="0">
                  <a:pos x="5" y="17"/>
                </a:cxn>
                <a:cxn ang="0">
                  <a:pos x="5" y="17"/>
                </a:cxn>
                <a:cxn ang="0">
                  <a:pos x="5" y="17"/>
                </a:cxn>
                <a:cxn ang="0">
                  <a:pos x="28" y="16"/>
                </a:cxn>
                <a:cxn ang="0">
                  <a:pos x="28" y="14"/>
                </a:cxn>
                <a:cxn ang="0">
                  <a:pos x="26" y="2"/>
                </a:cxn>
                <a:cxn ang="0">
                  <a:pos x="28" y="0"/>
                </a:cxn>
              </a:cxnLst>
              <a:rect l="0" t="0" r="r" b="b"/>
              <a:pathLst>
                <a:path w="28" h="17">
                  <a:moveTo>
                    <a:pt x="28" y="0"/>
                  </a:moveTo>
                  <a:lnTo>
                    <a:pt x="6" y="1"/>
                  </a:lnTo>
                  <a:lnTo>
                    <a:pt x="6" y="2"/>
                  </a:lnTo>
                  <a:lnTo>
                    <a:pt x="5" y="7"/>
                  </a:lnTo>
                  <a:lnTo>
                    <a:pt x="3" y="10"/>
                  </a:lnTo>
                  <a:lnTo>
                    <a:pt x="0" y="14"/>
                  </a:lnTo>
                  <a:lnTo>
                    <a:pt x="5" y="16"/>
                  </a:lnTo>
                  <a:lnTo>
                    <a:pt x="5" y="17"/>
                  </a:lnTo>
                  <a:lnTo>
                    <a:pt x="5" y="17"/>
                  </a:lnTo>
                  <a:lnTo>
                    <a:pt x="5" y="17"/>
                  </a:lnTo>
                  <a:lnTo>
                    <a:pt x="28" y="16"/>
                  </a:lnTo>
                  <a:lnTo>
                    <a:pt x="28" y="14"/>
                  </a:lnTo>
                  <a:lnTo>
                    <a:pt x="26" y="2"/>
                  </a:lnTo>
                  <a:lnTo>
                    <a:pt x="28"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2" name="Freeform 271"/>
            <p:cNvSpPr>
              <a:spLocks/>
            </p:cNvSpPr>
            <p:nvPr/>
          </p:nvSpPr>
          <p:spPr bwMode="auto">
            <a:xfrm>
              <a:off x="6239228" y="3242173"/>
              <a:ext cx="26334" cy="18254"/>
            </a:xfrm>
            <a:custGeom>
              <a:avLst/>
              <a:gdLst/>
              <a:ahLst/>
              <a:cxnLst>
                <a:cxn ang="0">
                  <a:pos x="28" y="0"/>
                </a:cxn>
                <a:cxn ang="0">
                  <a:pos x="6" y="1"/>
                </a:cxn>
                <a:cxn ang="0">
                  <a:pos x="6" y="2"/>
                </a:cxn>
                <a:cxn ang="0">
                  <a:pos x="5" y="7"/>
                </a:cxn>
                <a:cxn ang="0">
                  <a:pos x="3" y="10"/>
                </a:cxn>
                <a:cxn ang="0">
                  <a:pos x="0" y="14"/>
                </a:cxn>
                <a:cxn ang="0">
                  <a:pos x="5" y="16"/>
                </a:cxn>
                <a:cxn ang="0">
                  <a:pos x="5" y="17"/>
                </a:cxn>
                <a:cxn ang="0">
                  <a:pos x="5" y="17"/>
                </a:cxn>
                <a:cxn ang="0">
                  <a:pos x="5" y="17"/>
                </a:cxn>
                <a:cxn ang="0">
                  <a:pos x="28" y="16"/>
                </a:cxn>
                <a:cxn ang="0">
                  <a:pos x="28" y="14"/>
                </a:cxn>
                <a:cxn ang="0">
                  <a:pos x="26" y="2"/>
                </a:cxn>
                <a:cxn ang="0">
                  <a:pos x="28" y="0"/>
                </a:cxn>
              </a:cxnLst>
              <a:rect l="0" t="0" r="r" b="b"/>
              <a:pathLst>
                <a:path w="28" h="17">
                  <a:moveTo>
                    <a:pt x="28" y="0"/>
                  </a:moveTo>
                  <a:lnTo>
                    <a:pt x="6" y="1"/>
                  </a:lnTo>
                  <a:lnTo>
                    <a:pt x="6" y="2"/>
                  </a:lnTo>
                  <a:lnTo>
                    <a:pt x="5" y="7"/>
                  </a:lnTo>
                  <a:lnTo>
                    <a:pt x="3" y="10"/>
                  </a:lnTo>
                  <a:lnTo>
                    <a:pt x="0" y="14"/>
                  </a:lnTo>
                  <a:lnTo>
                    <a:pt x="5" y="16"/>
                  </a:lnTo>
                  <a:lnTo>
                    <a:pt x="5" y="17"/>
                  </a:lnTo>
                  <a:lnTo>
                    <a:pt x="5" y="17"/>
                  </a:lnTo>
                  <a:lnTo>
                    <a:pt x="5" y="17"/>
                  </a:lnTo>
                  <a:lnTo>
                    <a:pt x="28" y="16"/>
                  </a:lnTo>
                  <a:lnTo>
                    <a:pt x="28" y="14"/>
                  </a:lnTo>
                  <a:lnTo>
                    <a:pt x="26" y="2"/>
                  </a:lnTo>
                  <a:lnTo>
                    <a:pt x="28"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3" name="Freeform 272"/>
            <p:cNvSpPr>
              <a:spLocks/>
            </p:cNvSpPr>
            <p:nvPr/>
          </p:nvSpPr>
          <p:spPr bwMode="auto">
            <a:xfrm>
              <a:off x="6593860" y="3002839"/>
              <a:ext cx="86902" cy="88228"/>
            </a:xfrm>
            <a:custGeom>
              <a:avLst/>
              <a:gdLst/>
              <a:ahLst/>
              <a:cxnLst>
                <a:cxn ang="0">
                  <a:pos x="27" y="7"/>
                </a:cxn>
                <a:cxn ang="0">
                  <a:pos x="15" y="13"/>
                </a:cxn>
                <a:cxn ang="0">
                  <a:pos x="9" y="16"/>
                </a:cxn>
                <a:cxn ang="0">
                  <a:pos x="2" y="57"/>
                </a:cxn>
                <a:cxn ang="0">
                  <a:pos x="6" y="57"/>
                </a:cxn>
                <a:cxn ang="0">
                  <a:pos x="8" y="58"/>
                </a:cxn>
                <a:cxn ang="0">
                  <a:pos x="9" y="57"/>
                </a:cxn>
                <a:cxn ang="0">
                  <a:pos x="12" y="55"/>
                </a:cxn>
                <a:cxn ang="0">
                  <a:pos x="14" y="58"/>
                </a:cxn>
                <a:cxn ang="0">
                  <a:pos x="21" y="49"/>
                </a:cxn>
                <a:cxn ang="0">
                  <a:pos x="25" y="51"/>
                </a:cxn>
                <a:cxn ang="0">
                  <a:pos x="25" y="52"/>
                </a:cxn>
                <a:cxn ang="0">
                  <a:pos x="30" y="55"/>
                </a:cxn>
                <a:cxn ang="0">
                  <a:pos x="35" y="54"/>
                </a:cxn>
                <a:cxn ang="0">
                  <a:pos x="37" y="52"/>
                </a:cxn>
                <a:cxn ang="0">
                  <a:pos x="38" y="54"/>
                </a:cxn>
                <a:cxn ang="0">
                  <a:pos x="40" y="55"/>
                </a:cxn>
                <a:cxn ang="0">
                  <a:pos x="43" y="54"/>
                </a:cxn>
                <a:cxn ang="0">
                  <a:pos x="44" y="54"/>
                </a:cxn>
                <a:cxn ang="0">
                  <a:pos x="48" y="54"/>
                </a:cxn>
                <a:cxn ang="0">
                  <a:pos x="50" y="55"/>
                </a:cxn>
                <a:cxn ang="0">
                  <a:pos x="53" y="55"/>
                </a:cxn>
                <a:cxn ang="0">
                  <a:pos x="61" y="60"/>
                </a:cxn>
                <a:cxn ang="0">
                  <a:pos x="76" y="73"/>
                </a:cxn>
                <a:cxn ang="0">
                  <a:pos x="82" y="81"/>
                </a:cxn>
                <a:cxn ang="0">
                  <a:pos x="86" y="83"/>
                </a:cxn>
                <a:cxn ang="0">
                  <a:pos x="93" y="77"/>
                </a:cxn>
                <a:cxn ang="0">
                  <a:pos x="91" y="77"/>
                </a:cxn>
                <a:cxn ang="0">
                  <a:pos x="89" y="74"/>
                </a:cxn>
                <a:cxn ang="0">
                  <a:pos x="86" y="74"/>
                </a:cxn>
                <a:cxn ang="0">
                  <a:pos x="85" y="70"/>
                </a:cxn>
                <a:cxn ang="0">
                  <a:pos x="83" y="67"/>
                </a:cxn>
                <a:cxn ang="0">
                  <a:pos x="80" y="67"/>
                </a:cxn>
                <a:cxn ang="0">
                  <a:pos x="79" y="64"/>
                </a:cxn>
                <a:cxn ang="0">
                  <a:pos x="77" y="62"/>
                </a:cxn>
                <a:cxn ang="0">
                  <a:pos x="76" y="62"/>
                </a:cxn>
                <a:cxn ang="0">
                  <a:pos x="70" y="52"/>
                </a:cxn>
                <a:cxn ang="0">
                  <a:pos x="64" y="52"/>
                </a:cxn>
                <a:cxn ang="0">
                  <a:pos x="63" y="51"/>
                </a:cxn>
                <a:cxn ang="0">
                  <a:pos x="60" y="48"/>
                </a:cxn>
                <a:cxn ang="0">
                  <a:pos x="57" y="46"/>
                </a:cxn>
                <a:cxn ang="0">
                  <a:pos x="56" y="48"/>
                </a:cxn>
                <a:cxn ang="0">
                  <a:pos x="53" y="45"/>
                </a:cxn>
                <a:cxn ang="0">
                  <a:pos x="51" y="42"/>
                </a:cxn>
                <a:cxn ang="0">
                  <a:pos x="51" y="41"/>
                </a:cxn>
                <a:cxn ang="0">
                  <a:pos x="50" y="39"/>
                </a:cxn>
                <a:cxn ang="0">
                  <a:pos x="48" y="41"/>
                </a:cxn>
                <a:cxn ang="0">
                  <a:pos x="50" y="44"/>
                </a:cxn>
                <a:cxn ang="0">
                  <a:pos x="48" y="45"/>
                </a:cxn>
                <a:cxn ang="0">
                  <a:pos x="47" y="44"/>
                </a:cxn>
                <a:cxn ang="0">
                  <a:pos x="47" y="41"/>
                </a:cxn>
                <a:cxn ang="0">
                  <a:pos x="46" y="38"/>
                </a:cxn>
                <a:cxn ang="0">
                  <a:pos x="43" y="38"/>
                </a:cxn>
                <a:cxn ang="0">
                  <a:pos x="43" y="36"/>
                </a:cxn>
                <a:cxn ang="0">
                  <a:pos x="40" y="32"/>
                </a:cxn>
                <a:cxn ang="0">
                  <a:pos x="31" y="1"/>
                </a:cxn>
              </a:cxnLst>
              <a:rect l="0" t="0" r="r" b="b"/>
              <a:pathLst>
                <a:path w="95" h="84">
                  <a:moveTo>
                    <a:pt x="30" y="0"/>
                  </a:moveTo>
                  <a:lnTo>
                    <a:pt x="27" y="7"/>
                  </a:lnTo>
                  <a:lnTo>
                    <a:pt x="16" y="12"/>
                  </a:lnTo>
                  <a:lnTo>
                    <a:pt x="15" y="13"/>
                  </a:lnTo>
                  <a:lnTo>
                    <a:pt x="12" y="14"/>
                  </a:lnTo>
                  <a:lnTo>
                    <a:pt x="9" y="16"/>
                  </a:lnTo>
                  <a:lnTo>
                    <a:pt x="0" y="52"/>
                  </a:lnTo>
                  <a:lnTo>
                    <a:pt x="2" y="57"/>
                  </a:lnTo>
                  <a:lnTo>
                    <a:pt x="2" y="57"/>
                  </a:lnTo>
                  <a:lnTo>
                    <a:pt x="6" y="57"/>
                  </a:lnTo>
                  <a:lnTo>
                    <a:pt x="8" y="58"/>
                  </a:lnTo>
                  <a:lnTo>
                    <a:pt x="8" y="58"/>
                  </a:lnTo>
                  <a:lnTo>
                    <a:pt x="9" y="57"/>
                  </a:lnTo>
                  <a:lnTo>
                    <a:pt x="9" y="57"/>
                  </a:lnTo>
                  <a:lnTo>
                    <a:pt x="11" y="55"/>
                  </a:lnTo>
                  <a:lnTo>
                    <a:pt x="12" y="55"/>
                  </a:lnTo>
                  <a:lnTo>
                    <a:pt x="14" y="57"/>
                  </a:lnTo>
                  <a:lnTo>
                    <a:pt x="14" y="58"/>
                  </a:lnTo>
                  <a:lnTo>
                    <a:pt x="15" y="60"/>
                  </a:lnTo>
                  <a:lnTo>
                    <a:pt x="21" y="49"/>
                  </a:lnTo>
                  <a:lnTo>
                    <a:pt x="24" y="51"/>
                  </a:lnTo>
                  <a:lnTo>
                    <a:pt x="25" y="51"/>
                  </a:lnTo>
                  <a:lnTo>
                    <a:pt x="25" y="52"/>
                  </a:lnTo>
                  <a:lnTo>
                    <a:pt x="25" y="52"/>
                  </a:lnTo>
                  <a:lnTo>
                    <a:pt x="28" y="55"/>
                  </a:lnTo>
                  <a:lnTo>
                    <a:pt x="30" y="55"/>
                  </a:lnTo>
                  <a:lnTo>
                    <a:pt x="31" y="55"/>
                  </a:lnTo>
                  <a:lnTo>
                    <a:pt x="35" y="54"/>
                  </a:lnTo>
                  <a:lnTo>
                    <a:pt x="37" y="54"/>
                  </a:lnTo>
                  <a:lnTo>
                    <a:pt x="37" y="52"/>
                  </a:lnTo>
                  <a:lnTo>
                    <a:pt x="37" y="52"/>
                  </a:lnTo>
                  <a:lnTo>
                    <a:pt x="38" y="54"/>
                  </a:lnTo>
                  <a:lnTo>
                    <a:pt x="40" y="55"/>
                  </a:lnTo>
                  <a:lnTo>
                    <a:pt x="40" y="55"/>
                  </a:lnTo>
                  <a:lnTo>
                    <a:pt x="41" y="55"/>
                  </a:lnTo>
                  <a:lnTo>
                    <a:pt x="43" y="54"/>
                  </a:lnTo>
                  <a:lnTo>
                    <a:pt x="44" y="54"/>
                  </a:lnTo>
                  <a:lnTo>
                    <a:pt x="44" y="54"/>
                  </a:lnTo>
                  <a:lnTo>
                    <a:pt x="46" y="54"/>
                  </a:lnTo>
                  <a:lnTo>
                    <a:pt x="48" y="54"/>
                  </a:lnTo>
                  <a:lnTo>
                    <a:pt x="48" y="55"/>
                  </a:lnTo>
                  <a:lnTo>
                    <a:pt x="50" y="55"/>
                  </a:lnTo>
                  <a:lnTo>
                    <a:pt x="50" y="55"/>
                  </a:lnTo>
                  <a:lnTo>
                    <a:pt x="53" y="55"/>
                  </a:lnTo>
                  <a:lnTo>
                    <a:pt x="59" y="58"/>
                  </a:lnTo>
                  <a:lnTo>
                    <a:pt x="61" y="60"/>
                  </a:lnTo>
                  <a:lnTo>
                    <a:pt x="67" y="67"/>
                  </a:lnTo>
                  <a:lnTo>
                    <a:pt x="76" y="73"/>
                  </a:lnTo>
                  <a:lnTo>
                    <a:pt x="79" y="78"/>
                  </a:lnTo>
                  <a:lnTo>
                    <a:pt x="82" y="81"/>
                  </a:lnTo>
                  <a:lnTo>
                    <a:pt x="85" y="84"/>
                  </a:lnTo>
                  <a:lnTo>
                    <a:pt x="86" y="83"/>
                  </a:lnTo>
                  <a:lnTo>
                    <a:pt x="95" y="78"/>
                  </a:lnTo>
                  <a:lnTo>
                    <a:pt x="93" y="77"/>
                  </a:lnTo>
                  <a:lnTo>
                    <a:pt x="92" y="77"/>
                  </a:lnTo>
                  <a:lnTo>
                    <a:pt x="91" y="77"/>
                  </a:lnTo>
                  <a:lnTo>
                    <a:pt x="91" y="76"/>
                  </a:lnTo>
                  <a:lnTo>
                    <a:pt x="89" y="74"/>
                  </a:lnTo>
                  <a:lnTo>
                    <a:pt x="89" y="74"/>
                  </a:lnTo>
                  <a:lnTo>
                    <a:pt x="86" y="74"/>
                  </a:lnTo>
                  <a:lnTo>
                    <a:pt x="86" y="73"/>
                  </a:lnTo>
                  <a:lnTo>
                    <a:pt x="85" y="70"/>
                  </a:lnTo>
                  <a:lnTo>
                    <a:pt x="83" y="68"/>
                  </a:lnTo>
                  <a:lnTo>
                    <a:pt x="83" y="67"/>
                  </a:lnTo>
                  <a:lnTo>
                    <a:pt x="82" y="67"/>
                  </a:lnTo>
                  <a:lnTo>
                    <a:pt x="80" y="67"/>
                  </a:lnTo>
                  <a:lnTo>
                    <a:pt x="79" y="64"/>
                  </a:lnTo>
                  <a:lnTo>
                    <a:pt x="79" y="64"/>
                  </a:lnTo>
                  <a:lnTo>
                    <a:pt x="77" y="64"/>
                  </a:lnTo>
                  <a:lnTo>
                    <a:pt x="77" y="62"/>
                  </a:lnTo>
                  <a:lnTo>
                    <a:pt x="76" y="62"/>
                  </a:lnTo>
                  <a:lnTo>
                    <a:pt x="76" y="62"/>
                  </a:lnTo>
                  <a:lnTo>
                    <a:pt x="76" y="61"/>
                  </a:lnTo>
                  <a:lnTo>
                    <a:pt x="70" y="52"/>
                  </a:lnTo>
                  <a:lnTo>
                    <a:pt x="67" y="52"/>
                  </a:lnTo>
                  <a:lnTo>
                    <a:pt x="64" y="52"/>
                  </a:lnTo>
                  <a:lnTo>
                    <a:pt x="63" y="51"/>
                  </a:lnTo>
                  <a:lnTo>
                    <a:pt x="63" y="51"/>
                  </a:lnTo>
                  <a:lnTo>
                    <a:pt x="61" y="49"/>
                  </a:lnTo>
                  <a:lnTo>
                    <a:pt x="60" y="48"/>
                  </a:lnTo>
                  <a:lnTo>
                    <a:pt x="59" y="46"/>
                  </a:lnTo>
                  <a:lnTo>
                    <a:pt x="57" y="46"/>
                  </a:lnTo>
                  <a:lnTo>
                    <a:pt x="56" y="48"/>
                  </a:lnTo>
                  <a:lnTo>
                    <a:pt x="56" y="48"/>
                  </a:lnTo>
                  <a:lnTo>
                    <a:pt x="54" y="48"/>
                  </a:lnTo>
                  <a:lnTo>
                    <a:pt x="53" y="45"/>
                  </a:lnTo>
                  <a:lnTo>
                    <a:pt x="51" y="44"/>
                  </a:lnTo>
                  <a:lnTo>
                    <a:pt x="51" y="42"/>
                  </a:lnTo>
                  <a:lnTo>
                    <a:pt x="53" y="42"/>
                  </a:lnTo>
                  <a:lnTo>
                    <a:pt x="51" y="41"/>
                  </a:lnTo>
                  <a:lnTo>
                    <a:pt x="51" y="41"/>
                  </a:lnTo>
                  <a:lnTo>
                    <a:pt x="50" y="39"/>
                  </a:lnTo>
                  <a:lnTo>
                    <a:pt x="48" y="41"/>
                  </a:lnTo>
                  <a:lnTo>
                    <a:pt x="48" y="41"/>
                  </a:lnTo>
                  <a:lnTo>
                    <a:pt x="48" y="42"/>
                  </a:lnTo>
                  <a:lnTo>
                    <a:pt x="50" y="44"/>
                  </a:lnTo>
                  <a:lnTo>
                    <a:pt x="48" y="44"/>
                  </a:lnTo>
                  <a:lnTo>
                    <a:pt x="48" y="45"/>
                  </a:lnTo>
                  <a:lnTo>
                    <a:pt x="47" y="44"/>
                  </a:lnTo>
                  <a:lnTo>
                    <a:pt x="47" y="44"/>
                  </a:lnTo>
                  <a:lnTo>
                    <a:pt x="47" y="42"/>
                  </a:lnTo>
                  <a:lnTo>
                    <a:pt x="47" y="41"/>
                  </a:lnTo>
                  <a:lnTo>
                    <a:pt x="46" y="38"/>
                  </a:lnTo>
                  <a:lnTo>
                    <a:pt x="46" y="38"/>
                  </a:lnTo>
                  <a:lnTo>
                    <a:pt x="44" y="38"/>
                  </a:lnTo>
                  <a:lnTo>
                    <a:pt x="43" y="38"/>
                  </a:lnTo>
                  <a:lnTo>
                    <a:pt x="43" y="36"/>
                  </a:lnTo>
                  <a:lnTo>
                    <a:pt x="43" y="36"/>
                  </a:lnTo>
                  <a:lnTo>
                    <a:pt x="43" y="35"/>
                  </a:lnTo>
                  <a:lnTo>
                    <a:pt x="40" y="32"/>
                  </a:lnTo>
                  <a:lnTo>
                    <a:pt x="35" y="9"/>
                  </a:lnTo>
                  <a:lnTo>
                    <a:pt x="31" y="1"/>
                  </a:lnTo>
                  <a:lnTo>
                    <a:pt x="3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4" name="Freeform 273"/>
            <p:cNvSpPr>
              <a:spLocks/>
            </p:cNvSpPr>
            <p:nvPr/>
          </p:nvSpPr>
          <p:spPr bwMode="auto">
            <a:xfrm>
              <a:off x="6593860" y="3002839"/>
              <a:ext cx="86902" cy="88228"/>
            </a:xfrm>
            <a:custGeom>
              <a:avLst/>
              <a:gdLst/>
              <a:ahLst/>
              <a:cxnLst>
                <a:cxn ang="0">
                  <a:pos x="27" y="7"/>
                </a:cxn>
                <a:cxn ang="0">
                  <a:pos x="15" y="13"/>
                </a:cxn>
                <a:cxn ang="0">
                  <a:pos x="9" y="16"/>
                </a:cxn>
                <a:cxn ang="0">
                  <a:pos x="2" y="57"/>
                </a:cxn>
                <a:cxn ang="0">
                  <a:pos x="6" y="57"/>
                </a:cxn>
                <a:cxn ang="0">
                  <a:pos x="8" y="58"/>
                </a:cxn>
                <a:cxn ang="0">
                  <a:pos x="9" y="57"/>
                </a:cxn>
                <a:cxn ang="0">
                  <a:pos x="12" y="55"/>
                </a:cxn>
                <a:cxn ang="0">
                  <a:pos x="14" y="58"/>
                </a:cxn>
                <a:cxn ang="0">
                  <a:pos x="21" y="49"/>
                </a:cxn>
                <a:cxn ang="0">
                  <a:pos x="25" y="51"/>
                </a:cxn>
                <a:cxn ang="0">
                  <a:pos x="25" y="52"/>
                </a:cxn>
                <a:cxn ang="0">
                  <a:pos x="30" y="55"/>
                </a:cxn>
                <a:cxn ang="0">
                  <a:pos x="35" y="54"/>
                </a:cxn>
                <a:cxn ang="0">
                  <a:pos x="37" y="52"/>
                </a:cxn>
                <a:cxn ang="0">
                  <a:pos x="38" y="54"/>
                </a:cxn>
                <a:cxn ang="0">
                  <a:pos x="40" y="55"/>
                </a:cxn>
                <a:cxn ang="0">
                  <a:pos x="43" y="54"/>
                </a:cxn>
                <a:cxn ang="0">
                  <a:pos x="44" y="54"/>
                </a:cxn>
                <a:cxn ang="0">
                  <a:pos x="48" y="54"/>
                </a:cxn>
                <a:cxn ang="0">
                  <a:pos x="50" y="55"/>
                </a:cxn>
                <a:cxn ang="0">
                  <a:pos x="53" y="55"/>
                </a:cxn>
                <a:cxn ang="0">
                  <a:pos x="61" y="60"/>
                </a:cxn>
                <a:cxn ang="0">
                  <a:pos x="76" y="73"/>
                </a:cxn>
                <a:cxn ang="0">
                  <a:pos x="82" y="81"/>
                </a:cxn>
                <a:cxn ang="0">
                  <a:pos x="86" y="83"/>
                </a:cxn>
                <a:cxn ang="0">
                  <a:pos x="93" y="77"/>
                </a:cxn>
                <a:cxn ang="0">
                  <a:pos x="91" y="77"/>
                </a:cxn>
                <a:cxn ang="0">
                  <a:pos x="89" y="74"/>
                </a:cxn>
                <a:cxn ang="0">
                  <a:pos x="86" y="74"/>
                </a:cxn>
                <a:cxn ang="0">
                  <a:pos x="85" y="70"/>
                </a:cxn>
                <a:cxn ang="0">
                  <a:pos x="83" y="67"/>
                </a:cxn>
                <a:cxn ang="0">
                  <a:pos x="80" y="67"/>
                </a:cxn>
                <a:cxn ang="0">
                  <a:pos x="79" y="64"/>
                </a:cxn>
                <a:cxn ang="0">
                  <a:pos x="77" y="62"/>
                </a:cxn>
                <a:cxn ang="0">
                  <a:pos x="76" y="62"/>
                </a:cxn>
                <a:cxn ang="0">
                  <a:pos x="70" y="52"/>
                </a:cxn>
                <a:cxn ang="0">
                  <a:pos x="64" y="52"/>
                </a:cxn>
                <a:cxn ang="0">
                  <a:pos x="63" y="51"/>
                </a:cxn>
                <a:cxn ang="0">
                  <a:pos x="60" y="48"/>
                </a:cxn>
                <a:cxn ang="0">
                  <a:pos x="57" y="46"/>
                </a:cxn>
                <a:cxn ang="0">
                  <a:pos x="56" y="48"/>
                </a:cxn>
                <a:cxn ang="0">
                  <a:pos x="53" y="45"/>
                </a:cxn>
                <a:cxn ang="0">
                  <a:pos x="51" y="42"/>
                </a:cxn>
                <a:cxn ang="0">
                  <a:pos x="51" y="41"/>
                </a:cxn>
                <a:cxn ang="0">
                  <a:pos x="50" y="39"/>
                </a:cxn>
                <a:cxn ang="0">
                  <a:pos x="48" y="41"/>
                </a:cxn>
                <a:cxn ang="0">
                  <a:pos x="50" y="44"/>
                </a:cxn>
                <a:cxn ang="0">
                  <a:pos x="48" y="45"/>
                </a:cxn>
                <a:cxn ang="0">
                  <a:pos x="47" y="44"/>
                </a:cxn>
                <a:cxn ang="0">
                  <a:pos x="47" y="41"/>
                </a:cxn>
                <a:cxn ang="0">
                  <a:pos x="46" y="38"/>
                </a:cxn>
                <a:cxn ang="0">
                  <a:pos x="43" y="38"/>
                </a:cxn>
                <a:cxn ang="0">
                  <a:pos x="43" y="36"/>
                </a:cxn>
                <a:cxn ang="0">
                  <a:pos x="40" y="32"/>
                </a:cxn>
                <a:cxn ang="0">
                  <a:pos x="31" y="1"/>
                </a:cxn>
              </a:cxnLst>
              <a:rect l="0" t="0" r="r" b="b"/>
              <a:pathLst>
                <a:path w="95" h="84">
                  <a:moveTo>
                    <a:pt x="30" y="0"/>
                  </a:moveTo>
                  <a:lnTo>
                    <a:pt x="27" y="7"/>
                  </a:lnTo>
                  <a:lnTo>
                    <a:pt x="16" y="12"/>
                  </a:lnTo>
                  <a:lnTo>
                    <a:pt x="15" y="13"/>
                  </a:lnTo>
                  <a:lnTo>
                    <a:pt x="12" y="14"/>
                  </a:lnTo>
                  <a:lnTo>
                    <a:pt x="9" y="16"/>
                  </a:lnTo>
                  <a:lnTo>
                    <a:pt x="0" y="52"/>
                  </a:lnTo>
                  <a:lnTo>
                    <a:pt x="2" y="57"/>
                  </a:lnTo>
                  <a:lnTo>
                    <a:pt x="2" y="57"/>
                  </a:lnTo>
                  <a:lnTo>
                    <a:pt x="6" y="57"/>
                  </a:lnTo>
                  <a:lnTo>
                    <a:pt x="8" y="58"/>
                  </a:lnTo>
                  <a:lnTo>
                    <a:pt x="8" y="58"/>
                  </a:lnTo>
                  <a:lnTo>
                    <a:pt x="9" y="57"/>
                  </a:lnTo>
                  <a:lnTo>
                    <a:pt x="9" y="57"/>
                  </a:lnTo>
                  <a:lnTo>
                    <a:pt x="11" y="55"/>
                  </a:lnTo>
                  <a:lnTo>
                    <a:pt x="12" y="55"/>
                  </a:lnTo>
                  <a:lnTo>
                    <a:pt x="14" y="57"/>
                  </a:lnTo>
                  <a:lnTo>
                    <a:pt x="14" y="58"/>
                  </a:lnTo>
                  <a:lnTo>
                    <a:pt x="15" y="60"/>
                  </a:lnTo>
                  <a:lnTo>
                    <a:pt x="21" y="49"/>
                  </a:lnTo>
                  <a:lnTo>
                    <a:pt x="24" y="51"/>
                  </a:lnTo>
                  <a:lnTo>
                    <a:pt x="25" y="51"/>
                  </a:lnTo>
                  <a:lnTo>
                    <a:pt x="25" y="52"/>
                  </a:lnTo>
                  <a:lnTo>
                    <a:pt x="25" y="52"/>
                  </a:lnTo>
                  <a:lnTo>
                    <a:pt x="28" y="55"/>
                  </a:lnTo>
                  <a:lnTo>
                    <a:pt x="30" y="55"/>
                  </a:lnTo>
                  <a:lnTo>
                    <a:pt x="31" y="55"/>
                  </a:lnTo>
                  <a:lnTo>
                    <a:pt x="35" y="54"/>
                  </a:lnTo>
                  <a:lnTo>
                    <a:pt x="37" y="54"/>
                  </a:lnTo>
                  <a:lnTo>
                    <a:pt x="37" y="52"/>
                  </a:lnTo>
                  <a:lnTo>
                    <a:pt x="37" y="52"/>
                  </a:lnTo>
                  <a:lnTo>
                    <a:pt x="38" y="54"/>
                  </a:lnTo>
                  <a:lnTo>
                    <a:pt x="40" y="55"/>
                  </a:lnTo>
                  <a:lnTo>
                    <a:pt x="40" y="55"/>
                  </a:lnTo>
                  <a:lnTo>
                    <a:pt x="41" y="55"/>
                  </a:lnTo>
                  <a:lnTo>
                    <a:pt x="43" y="54"/>
                  </a:lnTo>
                  <a:lnTo>
                    <a:pt x="44" y="54"/>
                  </a:lnTo>
                  <a:lnTo>
                    <a:pt x="44" y="54"/>
                  </a:lnTo>
                  <a:lnTo>
                    <a:pt x="46" y="54"/>
                  </a:lnTo>
                  <a:lnTo>
                    <a:pt x="48" y="54"/>
                  </a:lnTo>
                  <a:lnTo>
                    <a:pt x="48" y="55"/>
                  </a:lnTo>
                  <a:lnTo>
                    <a:pt x="50" y="55"/>
                  </a:lnTo>
                  <a:lnTo>
                    <a:pt x="50" y="55"/>
                  </a:lnTo>
                  <a:lnTo>
                    <a:pt x="53" y="55"/>
                  </a:lnTo>
                  <a:lnTo>
                    <a:pt x="59" y="58"/>
                  </a:lnTo>
                  <a:lnTo>
                    <a:pt x="61" y="60"/>
                  </a:lnTo>
                  <a:lnTo>
                    <a:pt x="67" y="67"/>
                  </a:lnTo>
                  <a:lnTo>
                    <a:pt x="76" y="73"/>
                  </a:lnTo>
                  <a:lnTo>
                    <a:pt x="79" y="78"/>
                  </a:lnTo>
                  <a:lnTo>
                    <a:pt x="82" y="81"/>
                  </a:lnTo>
                  <a:lnTo>
                    <a:pt x="85" y="84"/>
                  </a:lnTo>
                  <a:lnTo>
                    <a:pt x="86" y="83"/>
                  </a:lnTo>
                  <a:lnTo>
                    <a:pt x="95" y="78"/>
                  </a:lnTo>
                  <a:lnTo>
                    <a:pt x="93" y="77"/>
                  </a:lnTo>
                  <a:lnTo>
                    <a:pt x="92" y="77"/>
                  </a:lnTo>
                  <a:lnTo>
                    <a:pt x="91" y="77"/>
                  </a:lnTo>
                  <a:lnTo>
                    <a:pt x="91" y="76"/>
                  </a:lnTo>
                  <a:lnTo>
                    <a:pt x="89" y="74"/>
                  </a:lnTo>
                  <a:lnTo>
                    <a:pt x="89" y="74"/>
                  </a:lnTo>
                  <a:lnTo>
                    <a:pt x="86" y="74"/>
                  </a:lnTo>
                  <a:lnTo>
                    <a:pt x="86" y="73"/>
                  </a:lnTo>
                  <a:lnTo>
                    <a:pt x="85" y="70"/>
                  </a:lnTo>
                  <a:lnTo>
                    <a:pt x="83" y="68"/>
                  </a:lnTo>
                  <a:lnTo>
                    <a:pt x="83" y="67"/>
                  </a:lnTo>
                  <a:lnTo>
                    <a:pt x="82" y="67"/>
                  </a:lnTo>
                  <a:lnTo>
                    <a:pt x="80" y="67"/>
                  </a:lnTo>
                  <a:lnTo>
                    <a:pt x="79" y="64"/>
                  </a:lnTo>
                  <a:lnTo>
                    <a:pt x="79" y="64"/>
                  </a:lnTo>
                  <a:lnTo>
                    <a:pt x="77" y="64"/>
                  </a:lnTo>
                  <a:lnTo>
                    <a:pt x="77" y="62"/>
                  </a:lnTo>
                  <a:lnTo>
                    <a:pt x="76" y="62"/>
                  </a:lnTo>
                  <a:lnTo>
                    <a:pt x="76" y="62"/>
                  </a:lnTo>
                  <a:lnTo>
                    <a:pt x="76" y="61"/>
                  </a:lnTo>
                  <a:lnTo>
                    <a:pt x="70" y="52"/>
                  </a:lnTo>
                  <a:lnTo>
                    <a:pt x="67" y="52"/>
                  </a:lnTo>
                  <a:lnTo>
                    <a:pt x="64" y="52"/>
                  </a:lnTo>
                  <a:lnTo>
                    <a:pt x="63" y="51"/>
                  </a:lnTo>
                  <a:lnTo>
                    <a:pt x="63" y="51"/>
                  </a:lnTo>
                  <a:lnTo>
                    <a:pt x="61" y="49"/>
                  </a:lnTo>
                  <a:lnTo>
                    <a:pt x="60" y="48"/>
                  </a:lnTo>
                  <a:lnTo>
                    <a:pt x="59" y="46"/>
                  </a:lnTo>
                  <a:lnTo>
                    <a:pt x="57" y="46"/>
                  </a:lnTo>
                  <a:lnTo>
                    <a:pt x="56" y="48"/>
                  </a:lnTo>
                  <a:lnTo>
                    <a:pt x="56" y="48"/>
                  </a:lnTo>
                  <a:lnTo>
                    <a:pt x="54" y="48"/>
                  </a:lnTo>
                  <a:lnTo>
                    <a:pt x="53" y="45"/>
                  </a:lnTo>
                  <a:lnTo>
                    <a:pt x="51" y="44"/>
                  </a:lnTo>
                  <a:lnTo>
                    <a:pt x="51" y="42"/>
                  </a:lnTo>
                  <a:lnTo>
                    <a:pt x="53" y="42"/>
                  </a:lnTo>
                  <a:lnTo>
                    <a:pt x="51" y="41"/>
                  </a:lnTo>
                  <a:lnTo>
                    <a:pt x="51" y="41"/>
                  </a:lnTo>
                  <a:lnTo>
                    <a:pt x="50" y="39"/>
                  </a:lnTo>
                  <a:lnTo>
                    <a:pt x="48" y="41"/>
                  </a:lnTo>
                  <a:lnTo>
                    <a:pt x="48" y="41"/>
                  </a:lnTo>
                  <a:lnTo>
                    <a:pt x="48" y="42"/>
                  </a:lnTo>
                  <a:lnTo>
                    <a:pt x="50" y="44"/>
                  </a:lnTo>
                  <a:lnTo>
                    <a:pt x="48" y="44"/>
                  </a:lnTo>
                  <a:lnTo>
                    <a:pt x="48" y="45"/>
                  </a:lnTo>
                  <a:lnTo>
                    <a:pt x="47" y="44"/>
                  </a:lnTo>
                  <a:lnTo>
                    <a:pt x="47" y="44"/>
                  </a:lnTo>
                  <a:lnTo>
                    <a:pt x="47" y="42"/>
                  </a:lnTo>
                  <a:lnTo>
                    <a:pt x="47" y="41"/>
                  </a:lnTo>
                  <a:lnTo>
                    <a:pt x="46" y="38"/>
                  </a:lnTo>
                  <a:lnTo>
                    <a:pt x="46" y="38"/>
                  </a:lnTo>
                  <a:lnTo>
                    <a:pt x="44" y="38"/>
                  </a:lnTo>
                  <a:lnTo>
                    <a:pt x="43" y="38"/>
                  </a:lnTo>
                  <a:lnTo>
                    <a:pt x="43" y="36"/>
                  </a:lnTo>
                  <a:lnTo>
                    <a:pt x="43" y="36"/>
                  </a:lnTo>
                  <a:lnTo>
                    <a:pt x="43" y="35"/>
                  </a:lnTo>
                  <a:lnTo>
                    <a:pt x="40" y="32"/>
                  </a:lnTo>
                  <a:lnTo>
                    <a:pt x="35" y="9"/>
                  </a:lnTo>
                  <a:lnTo>
                    <a:pt x="31" y="1"/>
                  </a:lnTo>
                  <a:lnTo>
                    <a:pt x="3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5" name="Freeform 274"/>
            <p:cNvSpPr>
              <a:spLocks/>
            </p:cNvSpPr>
            <p:nvPr/>
          </p:nvSpPr>
          <p:spPr bwMode="auto">
            <a:xfrm>
              <a:off x="6499057" y="3308091"/>
              <a:ext cx="22823" cy="31439"/>
            </a:xfrm>
            <a:custGeom>
              <a:avLst/>
              <a:gdLst/>
              <a:ahLst/>
              <a:cxnLst>
                <a:cxn ang="0">
                  <a:pos x="22" y="2"/>
                </a:cxn>
                <a:cxn ang="0">
                  <a:pos x="21" y="0"/>
                </a:cxn>
                <a:cxn ang="0">
                  <a:pos x="21" y="0"/>
                </a:cxn>
                <a:cxn ang="0">
                  <a:pos x="21" y="0"/>
                </a:cxn>
                <a:cxn ang="0">
                  <a:pos x="19" y="0"/>
                </a:cxn>
                <a:cxn ang="0">
                  <a:pos x="15" y="2"/>
                </a:cxn>
                <a:cxn ang="0">
                  <a:pos x="13" y="0"/>
                </a:cxn>
                <a:cxn ang="0">
                  <a:pos x="12" y="2"/>
                </a:cxn>
                <a:cxn ang="0">
                  <a:pos x="12" y="2"/>
                </a:cxn>
                <a:cxn ang="0">
                  <a:pos x="12" y="5"/>
                </a:cxn>
                <a:cxn ang="0">
                  <a:pos x="11" y="6"/>
                </a:cxn>
                <a:cxn ang="0">
                  <a:pos x="9" y="6"/>
                </a:cxn>
                <a:cxn ang="0">
                  <a:pos x="8" y="6"/>
                </a:cxn>
                <a:cxn ang="0">
                  <a:pos x="6" y="6"/>
                </a:cxn>
                <a:cxn ang="0">
                  <a:pos x="5" y="6"/>
                </a:cxn>
                <a:cxn ang="0">
                  <a:pos x="3" y="3"/>
                </a:cxn>
                <a:cxn ang="0">
                  <a:pos x="3" y="2"/>
                </a:cxn>
                <a:cxn ang="0">
                  <a:pos x="2" y="2"/>
                </a:cxn>
                <a:cxn ang="0">
                  <a:pos x="0" y="3"/>
                </a:cxn>
                <a:cxn ang="0">
                  <a:pos x="0" y="6"/>
                </a:cxn>
                <a:cxn ang="0">
                  <a:pos x="0" y="6"/>
                </a:cxn>
                <a:cxn ang="0">
                  <a:pos x="3" y="9"/>
                </a:cxn>
                <a:cxn ang="0">
                  <a:pos x="3" y="15"/>
                </a:cxn>
                <a:cxn ang="0">
                  <a:pos x="3" y="16"/>
                </a:cxn>
                <a:cxn ang="0">
                  <a:pos x="5" y="27"/>
                </a:cxn>
                <a:cxn ang="0">
                  <a:pos x="8" y="30"/>
                </a:cxn>
                <a:cxn ang="0">
                  <a:pos x="9" y="30"/>
                </a:cxn>
                <a:cxn ang="0">
                  <a:pos x="15" y="28"/>
                </a:cxn>
                <a:cxn ang="0">
                  <a:pos x="25" y="12"/>
                </a:cxn>
                <a:cxn ang="0">
                  <a:pos x="25" y="11"/>
                </a:cxn>
                <a:cxn ang="0">
                  <a:pos x="24" y="9"/>
                </a:cxn>
                <a:cxn ang="0">
                  <a:pos x="22" y="8"/>
                </a:cxn>
                <a:cxn ang="0">
                  <a:pos x="21" y="8"/>
                </a:cxn>
                <a:cxn ang="0">
                  <a:pos x="21" y="6"/>
                </a:cxn>
                <a:cxn ang="0">
                  <a:pos x="21" y="5"/>
                </a:cxn>
                <a:cxn ang="0">
                  <a:pos x="21" y="3"/>
                </a:cxn>
                <a:cxn ang="0">
                  <a:pos x="22" y="2"/>
                </a:cxn>
              </a:cxnLst>
              <a:rect l="0" t="0" r="r" b="b"/>
              <a:pathLst>
                <a:path w="25" h="30">
                  <a:moveTo>
                    <a:pt x="22" y="2"/>
                  </a:moveTo>
                  <a:lnTo>
                    <a:pt x="21" y="0"/>
                  </a:lnTo>
                  <a:lnTo>
                    <a:pt x="21" y="0"/>
                  </a:lnTo>
                  <a:lnTo>
                    <a:pt x="21" y="0"/>
                  </a:lnTo>
                  <a:lnTo>
                    <a:pt x="19" y="0"/>
                  </a:lnTo>
                  <a:lnTo>
                    <a:pt x="15" y="2"/>
                  </a:lnTo>
                  <a:lnTo>
                    <a:pt x="13" y="0"/>
                  </a:lnTo>
                  <a:lnTo>
                    <a:pt x="12" y="2"/>
                  </a:lnTo>
                  <a:lnTo>
                    <a:pt x="12" y="2"/>
                  </a:lnTo>
                  <a:lnTo>
                    <a:pt x="12" y="5"/>
                  </a:lnTo>
                  <a:lnTo>
                    <a:pt x="11" y="6"/>
                  </a:lnTo>
                  <a:lnTo>
                    <a:pt x="9" y="6"/>
                  </a:lnTo>
                  <a:lnTo>
                    <a:pt x="8" y="6"/>
                  </a:lnTo>
                  <a:lnTo>
                    <a:pt x="6" y="6"/>
                  </a:lnTo>
                  <a:lnTo>
                    <a:pt x="5" y="6"/>
                  </a:lnTo>
                  <a:lnTo>
                    <a:pt x="3" y="3"/>
                  </a:lnTo>
                  <a:lnTo>
                    <a:pt x="3" y="2"/>
                  </a:lnTo>
                  <a:lnTo>
                    <a:pt x="2" y="2"/>
                  </a:lnTo>
                  <a:lnTo>
                    <a:pt x="0" y="3"/>
                  </a:lnTo>
                  <a:lnTo>
                    <a:pt x="0" y="6"/>
                  </a:lnTo>
                  <a:lnTo>
                    <a:pt x="0" y="6"/>
                  </a:lnTo>
                  <a:lnTo>
                    <a:pt x="3" y="9"/>
                  </a:lnTo>
                  <a:lnTo>
                    <a:pt x="3" y="15"/>
                  </a:lnTo>
                  <a:lnTo>
                    <a:pt x="3" y="16"/>
                  </a:lnTo>
                  <a:lnTo>
                    <a:pt x="5" y="27"/>
                  </a:lnTo>
                  <a:lnTo>
                    <a:pt x="8" y="30"/>
                  </a:lnTo>
                  <a:lnTo>
                    <a:pt x="9" y="30"/>
                  </a:lnTo>
                  <a:lnTo>
                    <a:pt x="15" y="28"/>
                  </a:lnTo>
                  <a:lnTo>
                    <a:pt x="25" y="12"/>
                  </a:lnTo>
                  <a:lnTo>
                    <a:pt x="25" y="11"/>
                  </a:lnTo>
                  <a:lnTo>
                    <a:pt x="24" y="9"/>
                  </a:lnTo>
                  <a:lnTo>
                    <a:pt x="22" y="8"/>
                  </a:lnTo>
                  <a:lnTo>
                    <a:pt x="21" y="8"/>
                  </a:lnTo>
                  <a:lnTo>
                    <a:pt x="21" y="6"/>
                  </a:lnTo>
                  <a:lnTo>
                    <a:pt x="21" y="5"/>
                  </a:lnTo>
                  <a:lnTo>
                    <a:pt x="21" y="3"/>
                  </a:lnTo>
                  <a:lnTo>
                    <a:pt x="22"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6" name="Freeform 275"/>
            <p:cNvSpPr>
              <a:spLocks/>
            </p:cNvSpPr>
            <p:nvPr/>
          </p:nvSpPr>
          <p:spPr bwMode="auto">
            <a:xfrm>
              <a:off x="6499057" y="3308091"/>
              <a:ext cx="22823" cy="31439"/>
            </a:xfrm>
            <a:custGeom>
              <a:avLst/>
              <a:gdLst/>
              <a:ahLst/>
              <a:cxnLst>
                <a:cxn ang="0">
                  <a:pos x="22" y="2"/>
                </a:cxn>
                <a:cxn ang="0">
                  <a:pos x="21" y="0"/>
                </a:cxn>
                <a:cxn ang="0">
                  <a:pos x="21" y="0"/>
                </a:cxn>
                <a:cxn ang="0">
                  <a:pos x="21" y="0"/>
                </a:cxn>
                <a:cxn ang="0">
                  <a:pos x="19" y="0"/>
                </a:cxn>
                <a:cxn ang="0">
                  <a:pos x="15" y="2"/>
                </a:cxn>
                <a:cxn ang="0">
                  <a:pos x="13" y="0"/>
                </a:cxn>
                <a:cxn ang="0">
                  <a:pos x="12" y="2"/>
                </a:cxn>
                <a:cxn ang="0">
                  <a:pos x="12" y="2"/>
                </a:cxn>
                <a:cxn ang="0">
                  <a:pos x="12" y="5"/>
                </a:cxn>
                <a:cxn ang="0">
                  <a:pos x="11" y="6"/>
                </a:cxn>
                <a:cxn ang="0">
                  <a:pos x="9" y="6"/>
                </a:cxn>
                <a:cxn ang="0">
                  <a:pos x="8" y="6"/>
                </a:cxn>
                <a:cxn ang="0">
                  <a:pos x="6" y="6"/>
                </a:cxn>
                <a:cxn ang="0">
                  <a:pos x="5" y="6"/>
                </a:cxn>
                <a:cxn ang="0">
                  <a:pos x="3" y="3"/>
                </a:cxn>
                <a:cxn ang="0">
                  <a:pos x="3" y="2"/>
                </a:cxn>
                <a:cxn ang="0">
                  <a:pos x="2" y="2"/>
                </a:cxn>
                <a:cxn ang="0">
                  <a:pos x="0" y="3"/>
                </a:cxn>
                <a:cxn ang="0">
                  <a:pos x="0" y="6"/>
                </a:cxn>
                <a:cxn ang="0">
                  <a:pos x="0" y="6"/>
                </a:cxn>
                <a:cxn ang="0">
                  <a:pos x="3" y="9"/>
                </a:cxn>
                <a:cxn ang="0">
                  <a:pos x="3" y="15"/>
                </a:cxn>
                <a:cxn ang="0">
                  <a:pos x="3" y="16"/>
                </a:cxn>
                <a:cxn ang="0">
                  <a:pos x="5" y="27"/>
                </a:cxn>
                <a:cxn ang="0">
                  <a:pos x="8" y="30"/>
                </a:cxn>
                <a:cxn ang="0">
                  <a:pos x="9" y="30"/>
                </a:cxn>
                <a:cxn ang="0">
                  <a:pos x="15" y="28"/>
                </a:cxn>
                <a:cxn ang="0">
                  <a:pos x="25" y="12"/>
                </a:cxn>
                <a:cxn ang="0">
                  <a:pos x="25" y="11"/>
                </a:cxn>
                <a:cxn ang="0">
                  <a:pos x="24" y="9"/>
                </a:cxn>
                <a:cxn ang="0">
                  <a:pos x="22" y="8"/>
                </a:cxn>
                <a:cxn ang="0">
                  <a:pos x="21" y="8"/>
                </a:cxn>
                <a:cxn ang="0">
                  <a:pos x="21" y="6"/>
                </a:cxn>
                <a:cxn ang="0">
                  <a:pos x="21" y="5"/>
                </a:cxn>
                <a:cxn ang="0">
                  <a:pos x="21" y="3"/>
                </a:cxn>
                <a:cxn ang="0">
                  <a:pos x="22" y="2"/>
                </a:cxn>
              </a:cxnLst>
              <a:rect l="0" t="0" r="r" b="b"/>
              <a:pathLst>
                <a:path w="25" h="30">
                  <a:moveTo>
                    <a:pt x="22" y="2"/>
                  </a:moveTo>
                  <a:lnTo>
                    <a:pt x="21" y="0"/>
                  </a:lnTo>
                  <a:lnTo>
                    <a:pt x="21" y="0"/>
                  </a:lnTo>
                  <a:lnTo>
                    <a:pt x="21" y="0"/>
                  </a:lnTo>
                  <a:lnTo>
                    <a:pt x="19" y="0"/>
                  </a:lnTo>
                  <a:lnTo>
                    <a:pt x="15" y="2"/>
                  </a:lnTo>
                  <a:lnTo>
                    <a:pt x="13" y="0"/>
                  </a:lnTo>
                  <a:lnTo>
                    <a:pt x="12" y="2"/>
                  </a:lnTo>
                  <a:lnTo>
                    <a:pt x="12" y="2"/>
                  </a:lnTo>
                  <a:lnTo>
                    <a:pt x="12" y="5"/>
                  </a:lnTo>
                  <a:lnTo>
                    <a:pt x="11" y="6"/>
                  </a:lnTo>
                  <a:lnTo>
                    <a:pt x="9" y="6"/>
                  </a:lnTo>
                  <a:lnTo>
                    <a:pt x="8" y="6"/>
                  </a:lnTo>
                  <a:lnTo>
                    <a:pt x="6" y="6"/>
                  </a:lnTo>
                  <a:lnTo>
                    <a:pt x="5" y="6"/>
                  </a:lnTo>
                  <a:lnTo>
                    <a:pt x="3" y="3"/>
                  </a:lnTo>
                  <a:lnTo>
                    <a:pt x="3" y="2"/>
                  </a:lnTo>
                  <a:lnTo>
                    <a:pt x="2" y="2"/>
                  </a:lnTo>
                  <a:lnTo>
                    <a:pt x="0" y="3"/>
                  </a:lnTo>
                  <a:lnTo>
                    <a:pt x="0" y="6"/>
                  </a:lnTo>
                  <a:lnTo>
                    <a:pt x="0" y="6"/>
                  </a:lnTo>
                  <a:lnTo>
                    <a:pt x="3" y="9"/>
                  </a:lnTo>
                  <a:lnTo>
                    <a:pt x="3" y="15"/>
                  </a:lnTo>
                  <a:lnTo>
                    <a:pt x="3" y="16"/>
                  </a:lnTo>
                  <a:lnTo>
                    <a:pt x="5" y="27"/>
                  </a:lnTo>
                  <a:lnTo>
                    <a:pt x="8" y="30"/>
                  </a:lnTo>
                  <a:lnTo>
                    <a:pt x="9" y="30"/>
                  </a:lnTo>
                  <a:lnTo>
                    <a:pt x="15" y="28"/>
                  </a:lnTo>
                  <a:lnTo>
                    <a:pt x="25" y="12"/>
                  </a:lnTo>
                  <a:lnTo>
                    <a:pt x="25" y="11"/>
                  </a:lnTo>
                  <a:lnTo>
                    <a:pt x="24" y="9"/>
                  </a:lnTo>
                  <a:lnTo>
                    <a:pt x="22" y="8"/>
                  </a:lnTo>
                  <a:lnTo>
                    <a:pt x="21" y="8"/>
                  </a:lnTo>
                  <a:lnTo>
                    <a:pt x="21" y="6"/>
                  </a:lnTo>
                  <a:lnTo>
                    <a:pt x="21" y="5"/>
                  </a:lnTo>
                  <a:lnTo>
                    <a:pt x="21" y="3"/>
                  </a:lnTo>
                  <a:lnTo>
                    <a:pt x="22"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7" name="Freeform 276"/>
            <p:cNvSpPr>
              <a:spLocks/>
            </p:cNvSpPr>
            <p:nvPr/>
          </p:nvSpPr>
          <p:spPr bwMode="auto">
            <a:xfrm>
              <a:off x="6545580" y="3414575"/>
              <a:ext cx="41256" cy="115611"/>
            </a:xfrm>
            <a:custGeom>
              <a:avLst/>
              <a:gdLst/>
              <a:ahLst/>
              <a:cxnLst>
                <a:cxn ang="0">
                  <a:pos x="16" y="2"/>
                </a:cxn>
                <a:cxn ang="0">
                  <a:pos x="15" y="2"/>
                </a:cxn>
                <a:cxn ang="0">
                  <a:pos x="10" y="3"/>
                </a:cxn>
                <a:cxn ang="0">
                  <a:pos x="7" y="2"/>
                </a:cxn>
                <a:cxn ang="0">
                  <a:pos x="3" y="0"/>
                </a:cxn>
                <a:cxn ang="0">
                  <a:pos x="5" y="2"/>
                </a:cxn>
                <a:cxn ang="0">
                  <a:pos x="7" y="3"/>
                </a:cxn>
                <a:cxn ang="0">
                  <a:pos x="10" y="9"/>
                </a:cxn>
                <a:cxn ang="0">
                  <a:pos x="12" y="16"/>
                </a:cxn>
                <a:cxn ang="0">
                  <a:pos x="13" y="18"/>
                </a:cxn>
                <a:cxn ang="0">
                  <a:pos x="12" y="21"/>
                </a:cxn>
                <a:cxn ang="0">
                  <a:pos x="10" y="21"/>
                </a:cxn>
                <a:cxn ang="0">
                  <a:pos x="9" y="31"/>
                </a:cxn>
                <a:cxn ang="0">
                  <a:pos x="9" y="42"/>
                </a:cxn>
                <a:cxn ang="0">
                  <a:pos x="10" y="44"/>
                </a:cxn>
                <a:cxn ang="0">
                  <a:pos x="9" y="45"/>
                </a:cxn>
                <a:cxn ang="0">
                  <a:pos x="5" y="47"/>
                </a:cxn>
                <a:cxn ang="0">
                  <a:pos x="3" y="58"/>
                </a:cxn>
                <a:cxn ang="0">
                  <a:pos x="0" y="61"/>
                </a:cxn>
                <a:cxn ang="0">
                  <a:pos x="3" y="64"/>
                </a:cxn>
                <a:cxn ang="0">
                  <a:pos x="6" y="66"/>
                </a:cxn>
                <a:cxn ang="0">
                  <a:pos x="6" y="67"/>
                </a:cxn>
                <a:cxn ang="0">
                  <a:pos x="10" y="71"/>
                </a:cxn>
                <a:cxn ang="0">
                  <a:pos x="13" y="74"/>
                </a:cxn>
                <a:cxn ang="0">
                  <a:pos x="25" y="73"/>
                </a:cxn>
                <a:cxn ang="0">
                  <a:pos x="26" y="85"/>
                </a:cxn>
                <a:cxn ang="0">
                  <a:pos x="25" y="89"/>
                </a:cxn>
                <a:cxn ang="0">
                  <a:pos x="23" y="92"/>
                </a:cxn>
                <a:cxn ang="0">
                  <a:pos x="23" y="95"/>
                </a:cxn>
                <a:cxn ang="0">
                  <a:pos x="26" y="100"/>
                </a:cxn>
                <a:cxn ang="0">
                  <a:pos x="31" y="106"/>
                </a:cxn>
                <a:cxn ang="0">
                  <a:pos x="35" y="108"/>
                </a:cxn>
                <a:cxn ang="0">
                  <a:pos x="34" y="111"/>
                </a:cxn>
                <a:cxn ang="0">
                  <a:pos x="37" y="111"/>
                </a:cxn>
                <a:cxn ang="0">
                  <a:pos x="37" y="106"/>
                </a:cxn>
                <a:cxn ang="0">
                  <a:pos x="35" y="105"/>
                </a:cxn>
                <a:cxn ang="0">
                  <a:pos x="37" y="102"/>
                </a:cxn>
                <a:cxn ang="0">
                  <a:pos x="37" y="99"/>
                </a:cxn>
                <a:cxn ang="0">
                  <a:pos x="44" y="95"/>
                </a:cxn>
                <a:cxn ang="0">
                  <a:pos x="45" y="87"/>
                </a:cxn>
                <a:cxn ang="0">
                  <a:pos x="45" y="79"/>
                </a:cxn>
                <a:cxn ang="0">
                  <a:pos x="31" y="58"/>
                </a:cxn>
                <a:cxn ang="0">
                  <a:pos x="31" y="61"/>
                </a:cxn>
                <a:cxn ang="0">
                  <a:pos x="32" y="63"/>
                </a:cxn>
                <a:cxn ang="0">
                  <a:pos x="35" y="70"/>
                </a:cxn>
                <a:cxn ang="0">
                  <a:pos x="35" y="73"/>
                </a:cxn>
                <a:cxn ang="0">
                  <a:pos x="34" y="70"/>
                </a:cxn>
                <a:cxn ang="0">
                  <a:pos x="31" y="67"/>
                </a:cxn>
                <a:cxn ang="0">
                  <a:pos x="31" y="67"/>
                </a:cxn>
                <a:cxn ang="0">
                  <a:pos x="28" y="70"/>
                </a:cxn>
                <a:cxn ang="0">
                  <a:pos x="26" y="70"/>
                </a:cxn>
                <a:cxn ang="0">
                  <a:pos x="26" y="66"/>
                </a:cxn>
                <a:cxn ang="0">
                  <a:pos x="26" y="63"/>
                </a:cxn>
                <a:cxn ang="0">
                  <a:pos x="23" y="57"/>
                </a:cxn>
                <a:cxn ang="0">
                  <a:pos x="22" y="54"/>
                </a:cxn>
                <a:cxn ang="0">
                  <a:pos x="18" y="41"/>
                </a:cxn>
                <a:cxn ang="0">
                  <a:pos x="22" y="32"/>
                </a:cxn>
                <a:cxn ang="0">
                  <a:pos x="22" y="15"/>
                </a:cxn>
                <a:cxn ang="0">
                  <a:pos x="21" y="12"/>
                </a:cxn>
                <a:cxn ang="0">
                  <a:pos x="16" y="7"/>
                </a:cxn>
                <a:cxn ang="0">
                  <a:pos x="18" y="2"/>
                </a:cxn>
              </a:cxnLst>
              <a:rect l="0" t="0" r="r" b="b"/>
              <a:pathLst>
                <a:path w="45" h="111">
                  <a:moveTo>
                    <a:pt x="18" y="3"/>
                  </a:moveTo>
                  <a:lnTo>
                    <a:pt x="16" y="2"/>
                  </a:lnTo>
                  <a:lnTo>
                    <a:pt x="15" y="2"/>
                  </a:lnTo>
                  <a:lnTo>
                    <a:pt x="15" y="2"/>
                  </a:lnTo>
                  <a:lnTo>
                    <a:pt x="12" y="3"/>
                  </a:lnTo>
                  <a:lnTo>
                    <a:pt x="10" y="3"/>
                  </a:lnTo>
                  <a:lnTo>
                    <a:pt x="10" y="2"/>
                  </a:lnTo>
                  <a:lnTo>
                    <a:pt x="7" y="2"/>
                  </a:lnTo>
                  <a:lnTo>
                    <a:pt x="5" y="0"/>
                  </a:lnTo>
                  <a:lnTo>
                    <a:pt x="3" y="0"/>
                  </a:lnTo>
                  <a:lnTo>
                    <a:pt x="3" y="2"/>
                  </a:lnTo>
                  <a:lnTo>
                    <a:pt x="5" y="2"/>
                  </a:lnTo>
                  <a:lnTo>
                    <a:pt x="5" y="3"/>
                  </a:lnTo>
                  <a:lnTo>
                    <a:pt x="7" y="3"/>
                  </a:lnTo>
                  <a:lnTo>
                    <a:pt x="9" y="6"/>
                  </a:lnTo>
                  <a:lnTo>
                    <a:pt x="10" y="9"/>
                  </a:lnTo>
                  <a:lnTo>
                    <a:pt x="12" y="10"/>
                  </a:lnTo>
                  <a:lnTo>
                    <a:pt x="12" y="16"/>
                  </a:lnTo>
                  <a:lnTo>
                    <a:pt x="13" y="16"/>
                  </a:lnTo>
                  <a:lnTo>
                    <a:pt x="13" y="18"/>
                  </a:lnTo>
                  <a:lnTo>
                    <a:pt x="13" y="19"/>
                  </a:lnTo>
                  <a:lnTo>
                    <a:pt x="12" y="21"/>
                  </a:lnTo>
                  <a:lnTo>
                    <a:pt x="10" y="21"/>
                  </a:lnTo>
                  <a:lnTo>
                    <a:pt x="10" y="21"/>
                  </a:lnTo>
                  <a:lnTo>
                    <a:pt x="10" y="26"/>
                  </a:lnTo>
                  <a:lnTo>
                    <a:pt x="9" y="31"/>
                  </a:lnTo>
                  <a:lnTo>
                    <a:pt x="9" y="41"/>
                  </a:lnTo>
                  <a:lnTo>
                    <a:pt x="9" y="42"/>
                  </a:lnTo>
                  <a:lnTo>
                    <a:pt x="10" y="42"/>
                  </a:lnTo>
                  <a:lnTo>
                    <a:pt x="10" y="44"/>
                  </a:lnTo>
                  <a:lnTo>
                    <a:pt x="10" y="45"/>
                  </a:lnTo>
                  <a:lnTo>
                    <a:pt x="9" y="45"/>
                  </a:lnTo>
                  <a:lnTo>
                    <a:pt x="6" y="47"/>
                  </a:lnTo>
                  <a:lnTo>
                    <a:pt x="5" y="47"/>
                  </a:lnTo>
                  <a:lnTo>
                    <a:pt x="5" y="47"/>
                  </a:lnTo>
                  <a:lnTo>
                    <a:pt x="3" y="58"/>
                  </a:lnTo>
                  <a:lnTo>
                    <a:pt x="0" y="60"/>
                  </a:lnTo>
                  <a:lnTo>
                    <a:pt x="0" y="61"/>
                  </a:lnTo>
                  <a:lnTo>
                    <a:pt x="2" y="64"/>
                  </a:lnTo>
                  <a:lnTo>
                    <a:pt x="3" y="64"/>
                  </a:lnTo>
                  <a:lnTo>
                    <a:pt x="3" y="66"/>
                  </a:lnTo>
                  <a:lnTo>
                    <a:pt x="6" y="66"/>
                  </a:lnTo>
                  <a:lnTo>
                    <a:pt x="6" y="66"/>
                  </a:lnTo>
                  <a:lnTo>
                    <a:pt x="6" y="67"/>
                  </a:lnTo>
                  <a:lnTo>
                    <a:pt x="7" y="67"/>
                  </a:lnTo>
                  <a:lnTo>
                    <a:pt x="10" y="71"/>
                  </a:lnTo>
                  <a:lnTo>
                    <a:pt x="13" y="74"/>
                  </a:lnTo>
                  <a:lnTo>
                    <a:pt x="13" y="74"/>
                  </a:lnTo>
                  <a:lnTo>
                    <a:pt x="23" y="73"/>
                  </a:lnTo>
                  <a:lnTo>
                    <a:pt x="25" y="73"/>
                  </a:lnTo>
                  <a:lnTo>
                    <a:pt x="25" y="74"/>
                  </a:lnTo>
                  <a:lnTo>
                    <a:pt x="26" y="85"/>
                  </a:lnTo>
                  <a:lnTo>
                    <a:pt x="26" y="86"/>
                  </a:lnTo>
                  <a:lnTo>
                    <a:pt x="25" y="89"/>
                  </a:lnTo>
                  <a:lnTo>
                    <a:pt x="25" y="90"/>
                  </a:lnTo>
                  <a:lnTo>
                    <a:pt x="23" y="92"/>
                  </a:lnTo>
                  <a:lnTo>
                    <a:pt x="23" y="95"/>
                  </a:lnTo>
                  <a:lnTo>
                    <a:pt x="23" y="95"/>
                  </a:lnTo>
                  <a:lnTo>
                    <a:pt x="25" y="99"/>
                  </a:lnTo>
                  <a:lnTo>
                    <a:pt x="26" y="100"/>
                  </a:lnTo>
                  <a:lnTo>
                    <a:pt x="26" y="100"/>
                  </a:lnTo>
                  <a:lnTo>
                    <a:pt x="31" y="106"/>
                  </a:lnTo>
                  <a:lnTo>
                    <a:pt x="34" y="108"/>
                  </a:lnTo>
                  <a:lnTo>
                    <a:pt x="35" y="108"/>
                  </a:lnTo>
                  <a:lnTo>
                    <a:pt x="35" y="109"/>
                  </a:lnTo>
                  <a:lnTo>
                    <a:pt x="34" y="111"/>
                  </a:lnTo>
                  <a:lnTo>
                    <a:pt x="34" y="111"/>
                  </a:lnTo>
                  <a:lnTo>
                    <a:pt x="37" y="111"/>
                  </a:lnTo>
                  <a:lnTo>
                    <a:pt x="37" y="111"/>
                  </a:lnTo>
                  <a:lnTo>
                    <a:pt x="37" y="106"/>
                  </a:lnTo>
                  <a:lnTo>
                    <a:pt x="37" y="105"/>
                  </a:lnTo>
                  <a:lnTo>
                    <a:pt x="35" y="105"/>
                  </a:lnTo>
                  <a:lnTo>
                    <a:pt x="35" y="103"/>
                  </a:lnTo>
                  <a:lnTo>
                    <a:pt x="37" y="102"/>
                  </a:lnTo>
                  <a:lnTo>
                    <a:pt x="37" y="100"/>
                  </a:lnTo>
                  <a:lnTo>
                    <a:pt x="37" y="99"/>
                  </a:lnTo>
                  <a:lnTo>
                    <a:pt x="44" y="96"/>
                  </a:lnTo>
                  <a:lnTo>
                    <a:pt x="44" y="95"/>
                  </a:lnTo>
                  <a:lnTo>
                    <a:pt x="45" y="89"/>
                  </a:lnTo>
                  <a:lnTo>
                    <a:pt x="45" y="87"/>
                  </a:lnTo>
                  <a:lnTo>
                    <a:pt x="44" y="83"/>
                  </a:lnTo>
                  <a:lnTo>
                    <a:pt x="45" y="79"/>
                  </a:lnTo>
                  <a:lnTo>
                    <a:pt x="45" y="76"/>
                  </a:lnTo>
                  <a:lnTo>
                    <a:pt x="31" y="58"/>
                  </a:lnTo>
                  <a:lnTo>
                    <a:pt x="31" y="60"/>
                  </a:lnTo>
                  <a:lnTo>
                    <a:pt x="31" y="61"/>
                  </a:lnTo>
                  <a:lnTo>
                    <a:pt x="31" y="63"/>
                  </a:lnTo>
                  <a:lnTo>
                    <a:pt x="32" y="63"/>
                  </a:lnTo>
                  <a:lnTo>
                    <a:pt x="34" y="64"/>
                  </a:lnTo>
                  <a:lnTo>
                    <a:pt x="35" y="70"/>
                  </a:lnTo>
                  <a:lnTo>
                    <a:pt x="35" y="71"/>
                  </a:lnTo>
                  <a:lnTo>
                    <a:pt x="35" y="73"/>
                  </a:lnTo>
                  <a:lnTo>
                    <a:pt x="35" y="71"/>
                  </a:lnTo>
                  <a:lnTo>
                    <a:pt x="34" y="70"/>
                  </a:lnTo>
                  <a:lnTo>
                    <a:pt x="32" y="69"/>
                  </a:lnTo>
                  <a:lnTo>
                    <a:pt x="31" y="67"/>
                  </a:lnTo>
                  <a:lnTo>
                    <a:pt x="31" y="67"/>
                  </a:lnTo>
                  <a:lnTo>
                    <a:pt x="31" y="67"/>
                  </a:lnTo>
                  <a:lnTo>
                    <a:pt x="29" y="70"/>
                  </a:lnTo>
                  <a:lnTo>
                    <a:pt x="28" y="70"/>
                  </a:lnTo>
                  <a:lnTo>
                    <a:pt x="28" y="70"/>
                  </a:lnTo>
                  <a:lnTo>
                    <a:pt x="26" y="70"/>
                  </a:lnTo>
                  <a:lnTo>
                    <a:pt x="26" y="69"/>
                  </a:lnTo>
                  <a:lnTo>
                    <a:pt x="26" y="66"/>
                  </a:lnTo>
                  <a:lnTo>
                    <a:pt x="26" y="64"/>
                  </a:lnTo>
                  <a:lnTo>
                    <a:pt x="26" y="63"/>
                  </a:lnTo>
                  <a:lnTo>
                    <a:pt x="23" y="60"/>
                  </a:lnTo>
                  <a:lnTo>
                    <a:pt x="23" y="57"/>
                  </a:lnTo>
                  <a:lnTo>
                    <a:pt x="23" y="54"/>
                  </a:lnTo>
                  <a:lnTo>
                    <a:pt x="22" y="54"/>
                  </a:lnTo>
                  <a:lnTo>
                    <a:pt x="18" y="42"/>
                  </a:lnTo>
                  <a:lnTo>
                    <a:pt x="18" y="41"/>
                  </a:lnTo>
                  <a:lnTo>
                    <a:pt x="18" y="39"/>
                  </a:lnTo>
                  <a:lnTo>
                    <a:pt x="22" y="32"/>
                  </a:lnTo>
                  <a:lnTo>
                    <a:pt x="21" y="18"/>
                  </a:lnTo>
                  <a:lnTo>
                    <a:pt x="22" y="15"/>
                  </a:lnTo>
                  <a:lnTo>
                    <a:pt x="22" y="13"/>
                  </a:lnTo>
                  <a:lnTo>
                    <a:pt x="21" y="12"/>
                  </a:lnTo>
                  <a:lnTo>
                    <a:pt x="19" y="12"/>
                  </a:lnTo>
                  <a:lnTo>
                    <a:pt x="16" y="7"/>
                  </a:lnTo>
                  <a:lnTo>
                    <a:pt x="18" y="3"/>
                  </a:lnTo>
                  <a:lnTo>
                    <a:pt x="18" y="2"/>
                  </a:lnTo>
                  <a:lnTo>
                    <a:pt x="18"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8" name="Freeform 277"/>
            <p:cNvSpPr>
              <a:spLocks/>
            </p:cNvSpPr>
            <p:nvPr/>
          </p:nvSpPr>
          <p:spPr bwMode="auto">
            <a:xfrm>
              <a:off x="6545580" y="3414575"/>
              <a:ext cx="41256" cy="115611"/>
            </a:xfrm>
            <a:custGeom>
              <a:avLst/>
              <a:gdLst/>
              <a:ahLst/>
              <a:cxnLst>
                <a:cxn ang="0">
                  <a:pos x="16" y="2"/>
                </a:cxn>
                <a:cxn ang="0">
                  <a:pos x="15" y="2"/>
                </a:cxn>
                <a:cxn ang="0">
                  <a:pos x="10" y="3"/>
                </a:cxn>
                <a:cxn ang="0">
                  <a:pos x="7" y="2"/>
                </a:cxn>
                <a:cxn ang="0">
                  <a:pos x="3" y="0"/>
                </a:cxn>
                <a:cxn ang="0">
                  <a:pos x="5" y="2"/>
                </a:cxn>
                <a:cxn ang="0">
                  <a:pos x="7" y="3"/>
                </a:cxn>
                <a:cxn ang="0">
                  <a:pos x="10" y="9"/>
                </a:cxn>
                <a:cxn ang="0">
                  <a:pos x="12" y="16"/>
                </a:cxn>
                <a:cxn ang="0">
                  <a:pos x="13" y="18"/>
                </a:cxn>
                <a:cxn ang="0">
                  <a:pos x="12" y="21"/>
                </a:cxn>
                <a:cxn ang="0">
                  <a:pos x="10" y="21"/>
                </a:cxn>
                <a:cxn ang="0">
                  <a:pos x="9" y="31"/>
                </a:cxn>
                <a:cxn ang="0">
                  <a:pos x="9" y="42"/>
                </a:cxn>
                <a:cxn ang="0">
                  <a:pos x="10" y="44"/>
                </a:cxn>
                <a:cxn ang="0">
                  <a:pos x="9" y="45"/>
                </a:cxn>
                <a:cxn ang="0">
                  <a:pos x="5" y="47"/>
                </a:cxn>
                <a:cxn ang="0">
                  <a:pos x="3" y="58"/>
                </a:cxn>
                <a:cxn ang="0">
                  <a:pos x="0" y="61"/>
                </a:cxn>
                <a:cxn ang="0">
                  <a:pos x="3" y="64"/>
                </a:cxn>
                <a:cxn ang="0">
                  <a:pos x="6" y="66"/>
                </a:cxn>
                <a:cxn ang="0">
                  <a:pos x="6" y="67"/>
                </a:cxn>
                <a:cxn ang="0">
                  <a:pos x="10" y="71"/>
                </a:cxn>
                <a:cxn ang="0">
                  <a:pos x="13" y="74"/>
                </a:cxn>
                <a:cxn ang="0">
                  <a:pos x="25" y="73"/>
                </a:cxn>
                <a:cxn ang="0">
                  <a:pos x="26" y="85"/>
                </a:cxn>
                <a:cxn ang="0">
                  <a:pos x="25" y="89"/>
                </a:cxn>
                <a:cxn ang="0">
                  <a:pos x="23" y="92"/>
                </a:cxn>
                <a:cxn ang="0">
                  <a:pos x="23" y="95"/>
                </a:cxn>
                <a:cxn ang="0">
                  <a:pos x="26" y="100"/>
                </a:cxn>
                <a:cxn ang="0">
                  <a:pos x="31" y="106"/>
                </a:cxn>
                <a:cxn ang="0">
                  <a:pos x="35" y="108"/>
                </a:cxn>
                <a:cxn ang="0">
                  <a:pos x="34" y="111"/>
                </a:cxn>
                <a:cxn ang="0">
                  <a:pos x="37" y="111"/>
                </a:cxn>
                <a:cxn ang="0">
                  <a:pos x="37" y="106"/>
                </a:cxn>
                <a:cxn ang="0">
                  <a:pos x="35" y="105"/>
                </a:cxn>
                <a:cxn ang="0">
                  <a:pos x="37" y="102"/>
                </a:cxn>
                <a:cxn ang="0">
                  <a:pos x="37" y="99"/>
                </a:cxn>
                <a:cxn ang="0">
                  <a:pos x="44" y="95"/>
                </a:cxn>
                <a:cxn ang="0">
                  <a:pos x="45" y="87"/>
                </a:cxn>
                <a:cxn ang="0">
                  <a:pos x="45" y="79"/>
                </a:cxn>
                <a:cxn ang="0">
                  <a:pos x="31" y="58"/>
                </a:cxn>
                <a:cxn ang="0">
                  <a:pos x="31" y="61"/>
                </a:cxn>
                <a:cxn ang="0">
                  <a:pos x="32" y="63"/>
                </a:cxn>
                <a:cxn ang="0">
                  <a:pos x="35" y="70"/>
                </a:cxn>
                <a:cxn ang="0">
                  <a:pos x="35" y="73"/>
                </a:cxn>
                <a:cxn ang="0">
                  <a:pos x="34" y="70"/>
                </a:cxn>
                <a:cxn ang="0">
                  <a:pos x="31" y="67"/>
                </a:cxn>
                <a:cxn ang="0">
                  <a:pos x="31" y="67"/>
                </a:cxn>
                <a:cxn ang="0">
                  <a:pos x="28" y="70"/>
                </a:cxn>
                <a:cxn ang="0">
                  <a:pos x="26" y="70"/>
                </a:cxn>
                <a:cxn ang="0">
                  <a:pos x="26" y="66"/>
                </a:cxn>
                <a:cxn ang="0">
                  <a:pos x="26" y="63"/>
                </a:cxn>
                <a:cxn ang="0">
                  <a:pos x="23" y="57"/>
                </a:cxn>
                <a:cxn ang="0">
                  <a:pos x="22" y="54"/>
                </a:cxn>
                <a:cxn ang="0">
                  <a:pos x="18" y="41"/>
                </a:cxn>
                <a:cxn ang="0">
                  <a:pos x="22" y="32"/>
                </a:cxn>
                <a:cxn ang="0">
                  <a:pos x="22" y="15"/>
                </a:cxn>
                <a:cxn ang="0">
                  <a:pos x="21" y="12"/>
                </a:cxn>
                <a:cxn ang="0">
                  <a:pos x="16" y="7"/>
                </a:cxn>
                <a:cxn ang="0">
                  <a:pos x="18" y="2"/>
                </a:cxn>
              </a:cxnLst>
              <a:rect l="0" t="0" r="r" b="b"/>
              <a:pathLst>
                <a:path w="45" h="111">
                  <a:moveTo>
                    <a:pt x="18" y="3"/>
                  </a:moveTo>
                  <a:lnTo>
                    <a:pt x="16" y="2"/>
                  </a:lnTo>
                  <a:lnTo>
                    <a:pt x="15" y="2"/>
                  </a:lnTo>
                  <a:lnTo>
                    <a:pt x="15" y="2"/>
                  </a:lnTo>
                  <a:lnTo>
                    <a:pt x="12" y="3"/>
                  </a:lnTo>
                  <a:lnTo>
                    <a:pt x="10" y="3"/>
                  </a:lnTo>
                  <a:lnTo>
                    <a:pt x="10" y="2"/>
                  </a:lnTo>
                  <a:lnTo>
                    <a:pt x="7" y="2"/>
                  </a:lnTo>
                  <a:lnTo>
                    <a:pt x="5" y="0"/>
                  </a:lnTo>
                  <a:lnTo>
                    <a:pt x="3" y="0"/>
                  </a:lnTo>
                  <a:lnTo>
                    <a:pt x="3" y="2"/>
                  </a:lnTo>
                  <a:lnTo>
                    <a:pt x="5" y="2"/>
                  </a:lnTo>
                  <a:lnTo>
                    <a:pt x="5" y="3"/>
                  </a:lnTo>
                  <a:lnTo>
                    <a:pt x="7" y="3"/>
                  </a:lnTo>
                  <a:lnTo>
                    <a:pt x="9" y="6"/>
                  </a:lnTo>
                  <a:lnTo>
                    <a:pt x="10" y="9"/>
                  </a:lnTo>
                  <a:lnTo>
                    <a:pt x="12" y="10"/>
                  </a:lnTo>
                  <a:lnTo>
                    <a:pt x="12" y="16"/>
                  </a:lnTo>
                  <a:lnTo>
                    <a:pt x="13" y="16"/>
                  </a:lnTo>
                  <a:lnTo>
                    <a:pt x="13" y="18"/>
                  </a:lnTo>
                  <a:lnTo>
                    <a:pt x="13" y="19"/>
                  </a:lnTo>
                  <a:lnTo>
                    <a:pt x="12" y="21"/>
                  </a:lnTo>
                  <a:lnTo>
                    <a:pt x="10" y="21"/>
                  </a:lnTo>
                  <a:lnTo>
                    <a:pt x="10" y="21"/>
                  </a:lnTo>
                  <a:lnTo>
                    <a:pt x="10" y="26"/>
                  </a:lnTo>
                  <a:lnTo>
                    <a:pt x="9" y="31"/>
                  </a:lnTo>
                  <a:lnTo>
                    <a:pt x="9" y="41"/>
                  </a:lnTo>
                  <a:lnTo>
                    <a:pt x="9" y="42"/>
                  </a:lnTo>
                  <a:lnTo>
                    <a:pt x="10" y="42"/>
                  </a:lnTo>
                  <a:lnTo>
                    <a:pt x="10" y="44"/>
                  </a:lnTo>
                  <a:lnTo>
                    <a:pt x="10" y="45"/>
                  </a:lnTo>
                  <a:lnTo>
                    <a:pt x="9" y="45"/>
                  </a:lnTo>
                  <a:lnTo>
                    <a:pt x="6" y="47"/>
                  </a:lnTo>
                  <a:lnTo>
                    <a:pt x="5" y="47"/>
                  </a:lnTo>
                  <a:lnTo>
                    <a:pt x="5" y="47"/>
                  </a:lnTo>
                  <a:lnTo>
                    <a:pt x="3" y="58"/>
                  </a:lnTo>
                  <a:lnTo>
                    <a:pt x="0" y="60"/>
                  </a:lnTo>
                  <a:lnTo>
                    <a:pt x="0" y="61"/>
                  </a:lnTo>
                  <a:lnTo>
                    <a:pt x="2" y="64"/>
                  </a:lnTo>
                  <a:lnTo>
                    <a:pt x="3" y="64"/>
                  </a:lnTo>
                  <a:lnTo>
                    <a:pt x="3" y="66"/>
                  </a:lnTo>
                  <a:lnTo>
                    <a:pt x="6" y="66"/>
                  </a:lnTo>
                  <a:lnTo>
                    <a:pt x="6" y="66"/>
                  </a:lnTo>
                  <a:lnTo>
                    <a:pt x="6" y="67"/>
                  </a:lnTo>
                  <a:lnTo>
                    <a:pt x="7" y="67"/>
                  </a:lnTo>
                  <a:lnTo>
                    <a:pt x="10" y="71"/>
                  </a:lnTo>
                  <a:lnTo>
                    <a:pt x="13" y="74"/>
                  </a:lnTo>
                  <a:lnTo>
                    <a:pt x="13" y="74"/>
                  </a:lnTo>
                  <a:lnTo>
                    <a:pt x="23" y="73"/>
                  </a:lnTo>
                  <a:lnTo>
                    <a:pt x="25" y="73"/>
                  </a:lnTo>
                  <a:lnTo>
                    <a:pt x="25" y="74"/>
                  </a:lnTo>
                  <a:lnTo>
                    <a:pt x="26" y="85"/>
                  </a:lnTo>
                  <a:lnTo>
                    <a:pt x="26" y="86"/>
                  </a:lnTo>
                  <a:lnTo>
                    <a:pt x="25" y="89"/>
                  </a:lnTo>
                  <a:lnTo>
                    <a:pt x="25" y="90"/>
                  </a:lnTo>
                  <a:lnTo>
                    <a:pt x="23" y="92"/>
                  </a:lnTo>
                  <a:lnTo>
                    <a:pt x="23" y="95"/>
                  </a:lnTo>
                  <a:lnTo>
                    <a:pt x="23" y="95"/>
                  </a:lnTo>
                  <a:lnTo>
                    <a:pt x="25" y="99"/>
                  </a:lnTo>
                  <a:lnTo>
                    <a:pt x="26" y="100"/>
                  </a:lnTo>
                  <a:lnTo>
                    <a:pt x="26" y="100"/>
                  </a:lnTo>
                  <a:lnTo>
                    <a:pt x="31" y="106"/>
                  </a:lnTo>
                  <a:lnTo>
                    <a:pt x="34" y="108"/>
                  </a:lnTo>
                  <a:lnTo>
                    <a:pt x="35" y="108"/>
                  </a:lnTo>
                  <a:lnTo>
                    <a:pt x="35" y="109"/>
                  </a:lnTo>
                  <a:lnTo>
                    <a:pt x="34" y="111"/>
                  </a:lnTo>
                  <a:lnTo>
                    <a:pt x="34" y="111"/>
                  </a:lnTo>
                  <a:lnTo>
                    <a:pt x="37" y="111"/>
                  </a:lnTo>
                  <a:lnTo>
                    <a:pt x="37" y="111"/>
                  </a:lnTo>
                  <a:lnTo>
                    <a:pt x="37" y="106"/>
                  </a:lnTo>
                  <a:lnTo>
                    <a:pt x="37" y="105"/>
                  </a:lnTo>
                  <a:lnTo>
                    <a:pt x="35" y="105"/>
                  </a:lnTo>
                  <a:lnTo>
                    <a:pt x="35" y="103"/>
                  </a:lnTo>
                  <a:lnTo>
                    <a:pt x="37" y="102"/>
                  </a:lnTo>
                  <a:lnTo>
                    <a:pt x="37" y="100"/>
                  </a:lnTo>
                  <a:lnTo>
                    <a:pt x="37" y="99"/>
                  </a:lnTo>
                  <a:lnTo>
                    <a:pt x="44" y="96"/>
                  </a:lnTo>
                  <a:lnTo>
                    <a:pt x="44" y="95"/>
                  </a:lnTo>
                  <a:lnTo>
                    <a:pt x="45" y="89"/>
                  </a:lnTo>
                  <a:lnTo>
                    <a:pt x="45" y="87"/>
                  </a:lnTo>
                  <a:lnTo>
                    <a:pt x="44" y="83"/>
                  </a:lnTo>
                  <a:lnTo>
                    <a:pt x="45" y="79"/>
                  </a:lnTo>
                  <a:lnTo>
                    <a:pt x="45" y="76"/>
                  </a:lnTo>
                  <a:lnTo>
                    <a:pt x="31" y="58"/>
                  </a:lnTo>
                  <a:lnTo>
                    <a:pt x="31" y="60"/>
                  </a:lnTo>
                  <a:lnTo>
                    <a:pt x="31" y="61"/>
                  </a:lnTo>
                  <a:lnTo>
                    <a:pt x="31" y="63"/>
                  </a:lnTo>
                  <a:lnTo>
                    <a:pt x="32" y="63"/>
                  </a:lnTo>
                  <a:lnTo>
                    <a:pt x="34" y="64"/>
                  </a:lnTo>
                  <a:lnTo>
                    <a:pt x="35" y="70"/>
                  </a:lnTo>
                  <a:lnTo>
                    <a:pt x="35" y="71"/>
                  </a:lnTo>
                  <a:lnTo>
                    <a:pt x="35" y="73"/>
                  </a:lnTo>
                  <a:lnTo>
                    <a:pt x="35" y="71"/>
                  </a:lnTo>
                  <a:lnTo>
                    <a:pt x="34" y="70"/>
                  </a:lnTo>
                  <a:lnTo>
                    <a:pt x="32" y="69"/>
                  </a:lnTo>
                  <a:lnTo>
                    <a:pt x="31" y="67"/>
                  </a:lnTo>
                  <a:lnTo>
                    <a:pt x="31" y="67"/>
                  </a:lnTo>
                  <a:lnTo>
                    <a:pt x="31" y="67"/>
                  </a:lnTo>
                  <a:lnTo>
                    <a:pt x="29" y="70"/>
                  </a:lnTo>
                  <a:lnTo>
                    <a:pt x="28" y="70"/>
                  </a:lnTo>
                  <a:lnTo>
                    <a:pt x="28" y="70"/>
                  </a:lnTo>
                  <a:lnTo>
                    <a:pt x="26" y="70"/>
                  </a:lnTo>
                  <a:lnTo>
                    <a:pt x="26" y="69"/>
                  </a:lnTo>
                  <a:lnTo>
                    <a:pt x="26" y="66"/>
                  </a:lnTo>
                  <a:lnTo>
                    <a:pt x="26" y="64"/>
                  </a:lnTo>
                  <a:lnTo>
                    <a:pt x="26" y="63"/>
                  </a:lnTo>
                  <a:lnTo>
                    <a:pt x="23" y="60"/>
                  </a:lnTo>
                  <a:lnTo>
                    <a:pt x="23" y="57"/>
                  </a:lnTo>
                  <a:lnTo>
                    <a:pt x="23" y="54"/>
                  </a:lnTo>
                  <a:lnTo>
                    <a:pt x="22" y="54"/>
                  </a:lnTo>
                  <a:lnTo>
                    <a:pt x="18" y="42"/>
                  </a:lnTo>
                  <a:lnTo>
                    <a:pt x="18" y="41"/>
                  </a:lnTo>
                  <a:lnTo>
                    <a:pt x="18" y="39"/>
                  </a:lnTo>
                  <a:lnTo>
                    <a:pt x="22" y="32"/>
                  </a:lnTo>
                  <a:lnTo>
                    <a:pt x="21" y="18"/>
                  </a:lnTo>
                  <a:lnTo>
                    <a:pt x="22" y="15"/>
                  </a:lnTo>
                  <a:lnTo>
                    <a:pt x="22" y="13"/>
                  </a:lnTo>
                  <a:lnTo>
                    <a:pt x="21" y="12"/>
                  </a:lnTo>
                  <a:lnTo>
                    <a:pt x="19" y="12"/>
                  </a:lnTo>
                  <a:lnTo>
                    <a:pt x="16" y="7"/>
                  </a:lnTo>
                  <a:lnTo>
                    <a:pt x="18" y="3"/>
                  </a:lnTo>
                  <a:lnTo>
                    <a:pt x="18" y="2"/>
                  </a:lnTo>
                  <a:lnTo>
                    <a:pt x="18"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79" name="Freeform 278"/>
            <p:cNvSpPr>
              <a:spLocks/>
            </p:cNvSpPr>
            <p:nvPr/>
          </p:nvSpPr>
          <p:spPr bwMode="auto">
            <a:xfrm>
              <a:off x="6639506" y="2558648"/>
              <a:ext cx="87780" cy="49692"/>
            </a:xfrm>
            <a:custGeom>
              <a:avLst/>
              <a:gdLst/>
              <a:ahLst/>
              <a:cxnLst>
                <a:cxn ang="0">
                  <a:pos x="25" y="40"/>
                </a:cxn>
                <a:cxn ang="0">
                  <a:pos x="30" y="39"/>
                </a:cxn>
                <a:cxn ang="0">
                  <a:pos x="36" y="40"/>
                </a:cxn>
                <a:cxn ang="0">
                  <a:pos x="39" y="38"/>
                </a:cxn>
                <a:cxn ang="0">
                  <a:pos x="46" y="45"/>
                </a:cxn>
                <a:cxn ang="0">
                  <a:pos x="49" y="48"/>
                </a:cxn>
                <a:cxn ang="0">
                  <a:pos x="56" y="46"/>
                </a:cxn>
                <a:cxn ang="0">
                  <a:pos x="62" y="45"/>
                </a:cxn>
                <a:cxn ang="0">
                  <a:pos x="77" y="40"/>
                </a:cxn>
                <a:cxn ang="0">
                  <a:pos x="83" y="43"/>
                </a:cxn>
                <a:cxn ang="0">
                  <a:pos x="88" y="45"/>
                </a:cxn>
                <a:cxn ang="0">
                  <a:pos x="96" y="45"/>
                </a:cxn>
                <a:cxn ang="0">
                  <a:pos x="91" y="40"/>
                </a:cxn>
                <a:cxn ang="0">
                  <a:pos x="90" y="38"/>
                </a:cxn>
                <a:cxn ang="0">
                  <a:pos x="93" y="32"/>
                </a:cxn>
                <a:cxn ang="0">
                  <a:pos x="86" y="29"/>
                </a:cxn>
                <a:cxn ang="0">
                  <a:pos x="84" y="22"/>
                </a:cxn>
                <a:cxn ang="0">
                  <a:pos x="81" y="19"/>
                </a:cxn>
                <a:cxn ang="0">
                  <a:pos x="77" y="19"/>
                </a:cxn>
                <a:cxn ang="0">
                  <a:pos x="71" y="16"/>
                </a:cxn>
                <a:cxn ang="0">
                  <a:pos x="68" y="16"/>
                </a:cxn>
                <a:cxn ang="0">
                  <a:pos x="58" y="19"/>
                </a:cxn>
                <a:cxn ang="0">
                  <a:pos x="55" y="16"/>
                </a:cxn>
                <a:cxn ang="0">
                  <a:pos x="39" y="7"/>
                </a:cxn>
                <a:cxn ang="0">
                  <a:pos x="26" y="7"/>
                </a:cxn>
                <a:cxn ang="0">
                  <a:pos x="14" y="1"/>
                </a:cxn>
                <a:cxn ang="0">
                  <a:pos x="9" y="1"/>
                </a:cxn>
                <a:cxn ang="0">
                  <a:pos x="0" y="1"/>
                </a:cxn>
                <a:cxn ang="0">
                  <a:pos x="14" y="10"/>
                </a:cxn>
                <a:cxn ang="0">
                  <a:pos x="22" y="17"/>
                </a:cxn>
                <a:cxn ang="0">
                  <a:pos x="26" y="29"/>
                </a:cxn>
                <a:cxn ang="0">
                  <a:pos x="25" y="38"/>
                </a:cxn>
                <a:cxn ang="0">
                  <a:pos x="23" y="38"/>
                </a:cxn>
              </a:cxnLst>
              <a:rect l="0" t="0" r="r" b="b"/>
              <a:pathLst>
                <a:path w="96" h="48">
                  <a:moveTo>
                    <a:pt x="23" y="38"/>
                  </a:moveTo>
                  <a:lnTo>
                    <a:pt x="25" y="40"/>
                  </a:lnTo>
                  <a:lnTo>
                    <a:pt x="27" y="40"/>
                  </a:lnTo>
                  <a:lnTo>
                    <a:pt x="30" y="39"/>
                  </a:lnTo>
                  <a:lnTo>
                    <a:pt x="35" y="40"/>
                  </a:lnTo>
                  <a:lnTo>
                    <a:pt x="36" y="40"/>
                  </a:lnTo>
                  <a:lnTo>
                    <a:pt x="38" y="39"/>
                  </a:lnTo>
                  <a:lnTo>
                    <a:pt x="39" y="38"/>
                  </a:lnTo>
                  <a:lnTo>
                    <a:pt x="41" y="39"/>
                  </a:lnTo>
                  <a:lnTo>
                    <a:pt x="46" y="45"/>
                  </a:lnTo>
                  <a:lnTo>
                    <a:pt x="48" y="45"/>
                  </a:lnTo>
                  <a:lnTo>
                    <a:pt x="49" y="48"/>
                  </a:lnTo>
                  <a:lnTo>
                    <a:pt x="55" y="46"/>
                  </a:lnTo>
                  <a:lnTo>
                    <a:pt x="56" y="46"/>
                  </a:lnTo>
                  <a:lnTo>
                    <a:pt x="61" y="45"/>
                  </a:lnTo>
                  <a:lnTo>
                    <a:pt x="62" y="45"/>
                  </a:lnTo>
                  <a:lnTo>
                    <a:pt x="67" y="45"/>
                  </a:lnTo>
                  <a:lnTo>
                    <a:pt x="77" y="40"/>
                  </a:lnTo>
                  <a:lnTo>
                    <a:pt x="81" y="42"/>
                  </a:lnTo>
                  <a:lnTo>
                    <a:pt x="83" y="43"/>
                  </a:lnTo>
                  <a:lnTo>
                    <a:pt x="87" y="45"/>
                  </a:lnTo>
                  <a:lnTo>
                    <a:pt x="88" y="45"/>
                  </a:lnTo>
                  <a:lnTo>
                    <a:pt x="94" y="46"/>
                  </a:lnTo>
                  <a:lnTo>
                    <a:pt x="96" y="45"/>
                  </a:lnTo>
                  <a:lnTo>
                    <a:pt x="94" y="43"/>
                  </a:lnTo>
                  <a:lnTo>
                    <a:pt x="91" y="40"/>
                  </a:lnTo>
                  <a:lnTo>
                    <a:pt x="91" y="39"/>
                  </a:lnTo>
                  <a:lnTo>
                    <a:pt x="90" y="38"/>
                  </a:lnTo>
                  <a:lnTo>
                    <a:pt x="90" y="35"/>
                  </a:lnTo>
                  <a:lnTo>
                    <a:pt x="93" y="32"/>
                  </a:lnTo>
                  <a:lnTo>
                    <a:pt x="90" y="30"/>
                  </a:lnTo>
                  <a:lnTo>
                    <a:pt x="86" y="29"/>
                  </a:lnTo>
                  <a:lnTo>
                    <a:pt x="83" y="26"/>
                  </a:lnTo>
                  <a:lnTo>
                    <a:pt x="84" y="22"/>
                  </a:lnTo>
                  <a:lnTo>
                    <a:pt x="83" y="20"/>
                  </a:lnTo>
                  <a:lnTo>
                    <a:pt x="81" y="19"/>
                  </a:lnTo>
                  <a:lnTo>
                    <a:pt x="78" y="19"/>
                  </a:lnTo>
                  <a:lnTo>
                    <a:pt x="77" y="19"/>
                  </a:lnTo>
                  <a:lnTo>
                    <a:pt x="75" y="17"/>
                  </a:lnTo>
                  <a:lnTo>
                    <a:pt x="71" y="16"/>
                  </a:lnTo>
                  <a:lnTo>
                    <a:pt x="70" y="17"/>
                  </a:lnTo>
                  <a:lnTo>
                    <a:pt x="68" y="16"/>
                  </a:lnTo>
                  <a:lnTo>
                    <a:pt x="65" y="16"/>
                  </a:lnTo>
                  <a:lnTo>
                    <a:pt x="58" y="19"/>
                  </a:lnTo>
                  <a:lnTo>
                    <a:pt x="56" y="17"/>
                  </a:lnTo>
                  <a:lnTo>
                    <a:pt x="55" y="16"/>
                  </a:lnTo>
                  <a:lnTo>
                    <a:pt x="43" y="7"/>
                  </a:lnTo>
                  <a:lnTo>
                    <a:pt x="39" y="7"/>
                  </a:lnTo>
                  <a:lnTo>
                    <a:pt x="35" y="6"/>
                  </a:lnTo>
                  <a:lnTo>
                    <a:pt x="26" y="7"/>
                  </a:lnTo>
                  <a:lnTo>
                    <a:pt x="16" y="3"/>
                  </a:lnTo>
                  <a:lnTo>
                    <a:pt x="14" y="1"/>
                  </a:lnTo>
                  <a:lnTo>
                    <a:pt x="10" y="0"/>
                  </a:lnTo>
                  <a:lnTo>
                    <a:pt x="9" y="1"/>
                  </a:lnTo>
                  <a:lnTo>
                    <a:pt x="6" y="0"/>
                  </a:lnTo>
                  <a:lnTo>
                    <a:pt x="0" y="1"/>
                  </a:lnTo>
                  <a:lnTo>
                    <a:pt x="6" y="7"/>
                  </a:lnTo>
                  <a:lnTo>
                    <a:pt x="14" y="10"/>
                  </a:lnTo>
                  <a:lnTo>
                    <a:pt x="20" y="14"/>
                  </a:lnTo>
                  <a:lnTo>
                    <a:pt x="22" y="17"/>
                  </a:lnTo>
                  <a:lnTo>
                    <a:pt x="25" y="27"/>
                  </a:lnTo>
                  <a:lnTo>
                    <a:pt x="26" y="29"/>
                  </a:lnTo>
                  <a:lnTo>
                    <a:pt x="26" y="36"/>
                  </a:lnTo>
                  <a:lnTo>
                    <a:pt x="25" y="38"/>
                  </a:lnTo>
                  <a:lnTo>
                    <a:pt x="23" y="38"/>
                  </a:lnTo>
                  <a:lnTo>
                    <a:pt x="23" y="38"/>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80" name="Freeform 279"/>
            <p:cNvSpPr>
              <a:spLocks/>
            </p:cNvSpPr>
            <p:nvPr/>
          </p:nvSpPr>
          <p:spPr bwMode="auto">
            <a:xfrm>
              <a:off x="6639506" y="2558648"/>
              <a:ext cx="87780" cy="49692"/>
            </a:xfrm>
            <a:custGeom>
              <a:avLst/>
              <a:gdLst/>
              <a:ahLst/>
              <a:cxnLst>
                <a:cxn ang="0">
                  <a:pos x="25" y="40"/>
                </a:cxn>
                <a:cxn ang="0">
                  <a:pos x="30" y="39"/>
                </a:cxn>
                <a:cxn ang="0">
                  <a:pos x="36" y="40"/>
                </a:cxn>
                <a:cxn ang="0">
                  <a:pos x="39" y="38"/>
                </a:cxn>
                <a:cxn ang="0">
                  <a:pos x="46" y="45"/>
                </a:cxn>
                <a:cxn ang="0">
                  <a:pos x="49" y="48"/>
                </a:cxn>
                <a:cxn ang="0">
                  <a:pos x="56" y="46"/>
                </a:cxn>
                <a:cxn ang="0">
                  <a:pos x="62" y="45"/>
                </a:cxn>
                <a:cxn ang="0">
                  <a:pos x="77" y="40"/>
                </a:cxn>
                <a:cxn ang="0">
                  <a:pos x="83" y="43"/>
                </a:cxn>
                <a:cxn ang="0">
                  <a:pos x="88" y="45"/>
                </a:cxn>
                <a:cxn ang="0">
                  <a:pos x="96" y="45"/>
                </a:cxn>
                <a:cxn ang="0">
                  <a:pos x="91" y="40"/>
                </a:cxn>
                <a:cxn ang="0">
                  <a:pos x="90" y="38"/>
                </a:cxn>
                <a:cxn ang="0">
                  <a:pos x="93" y="32"/>
                </a:cxn>
                <a:cxn ang="0">
                  <a:pos x="86" y="29"/>
                </a:cxn>
                <a:cxn ang="0">
                  <a:pos x="84" y="22"/>
                </a:cxn>
                <a:cxn ang="0">
                  <a:pos x="81" y="19"/>
                </a:cxn>
                <a:cxn ang="0">
                  <a:pos x="77" y="19"/>
                </a:cxn>
                <a:cxn ang="0">
                  <a:pos x="71" y="16"/>
                </a:cxn>
                <a:cxn ang="0">
                  <a:pos x="68" y="16"/>
                </a:cxn>
                <a:cxn ang="0">
                  <a:pos x="58" y="19"/>
                </a:cxn>
                <a:cxn ang="0">
                  <a:pos x="55" y="16"/>
                </a:cxn>
                <a:cxn ang="0">
                  <a:pos x="39" y="7"/>
                </a:cxn>
                <a:cxn ang="0">
                  <a:pos x="26" y="7"/>
                </a:cxn>
                <a:cxn ang="0">
                  <a:pos x="14" y="1"/>
                </a:cxn>
                <a:cxn ang="0">
                  <a:pos x="9" y="1"/>
                </a:cxn>
                <a:cxn ang="0">
                  <a:pos x="0" y="1"/>
                </a:cxn>
                <a:cxn ang="0">
                  <a:pos x="14" y="10"/>
                </a:cxn>
                <a:cxn ang="0">
                  <a:pos x="22" y="17"/>
                </a:cxn>
                <a:cxn ang="0">
                  <a:pos x="26" y="29"/>
                </a:cxn>
                <a:cxn ang="0">
                  <a:pos x="25" y="38"/>
                </a:cxn>
                <a:cxn ang="0">
                  <a:pos x="23" y="38"/>
                </a:cxn>
              </a:cxnLst>
              <a:rect l="0" t="0" r="r" b="b"/>
              <a:pathLst>
                <a:path w="96" h="48">
                  <a:moveTo>
                    <a:pt x="23" y="38"/>
                  </a:moveTo>
                  <a:lnTo>
                    <a:pt x="25" y="40"/>
                  </a:lnTo>
                  <a:lnTo>
                    <a:pt x="27" y="40"/>
                  </a:lnTo>
                  <a:lnTo>
                    <a:pt x="30" y="39"/>
                  </a:lnTo>
                  <a:lnTo>
                    <a:pt x="35" y="40"/>
                  </a:lnTo>
                  <a:lnTo>
                    <a:pt x="36" y="40"/>
                  </a:lnTo>
                  <a:lnTo>
                    <a:pt x="38" y="39"/>
                  </a:lnTo>
                  <a:lnTo>
                    <a:pt x="39" y="38"/>
                  </a:lnTo>
                  <a:lnTo>
                    <a:pt x="41" y="39"/>
                  </a:lnTo>
                  <a:lnTo>
                    <a:pt x="46" y="45"/>
                  </a:lnTo>
                  <a:lnTo>
                    <a:pt x="48" y="45"/>
                  </a:lnTo>
                  <a:lnTo>
                    <a:pt x="49" y="48"/>
                  </a:lnTo>
                  <a:lnTo>
                    <a:pt x="55" y="46"/>
                  </a:lnTo>
                  <a:lnTo>
                    <a:pt x="56" y="46"/>
                  </a:lnTo>
                  <a:lnTo>
                    <a:pt x="61" y="45"/>
                  </a:lnTo>
                  <a:lnTo>
                    <a:pt x="62" y="45"/>
                  </a:lnTo>
                  <a:lnTo>
                    <a:pt x="67" y="45"/>
                  </a:lnTo>
                  <a:lnTo>
                    <a:pt x="77" y="40"/>
                  </a:lnTo>
                  <a:lnTo>
                    <a:pt x="81" y="42"/>
                  </a:lnTo>
                  <a:lnTo>
                    <a:pt x="83" y="43"/>
                  </a:lnTo>
                  <a:lnTo>
                    <a:pt x="87" y="45"/>
                  </a:lnTo>
                  <a:lnTo>
                    <a:pt x="88" y="45"/>
                  </a:lnTo>
                  <a:lnTo>
                    <a:pt x="94" y="46"/>
                  </a:lnTo>
                  <a:lnTo>
                    <a:pt x="96" y="45"/>
                  </a:lnTo>
                  <a:lnTo>
                    <a:pt x="94" y="43"/>
                  </a:lnTo>
                  <a:lnTo>
                    <a:pt x="91" y="40"/>
                  </a:lnTo>
                  <a:lnTo>
                    <a:pt x="91" y="39"/>
                  </a:lnTo>
                  <a:lnTo>
                    <a:pt x="90" y="38"/>
                  </a:lnTo>
                  <a:lnTo>
                    <a:pt x="90" y="35"/>
                  </a:lnTo>
                  <a:lnTo>
                    <a:pt x="93" y="32"/>
                  </a:lnTo>
                  <a:lnTo>
                    <a:pt x="90" y="30"/>
                  </a:lnTo>
                  <a:lnTo>
                    <a:pt x="86" y="29"/>
                  </a:lnTo>
                  <a:lnTo>
                    <a:pt x="83" y="26"/>
                  </a:lnTo>
                  <a:lnTo>
                    <a:pt x="84" y="22"/>
                  </a:lnTo>
                  <a:lnTo>
                    <a:pt x="83" y="20"/>
                  </a:lnTo>
                  <a:lnTo>
                    <a:pt x="81" y="19"/>
                  </a:lnTo>
                  <a:lnTo>
                    <a:pt x="78" y="19"/>
                  </a:lnTo>
                  <a:lnTo>
                    <a:pt x="77" y="19"/>
                  </a:lnTo>
                  <a:lnTo>
                    <a:pt x="75" y="17"/>
                  </a:lnTo>
                  <a:lnTo>
                    <a:pt x="71" y="16"/>
                  </a:lnTo>
                  <a:lnTo>
                    <a:pt x="70" y="17"/>
                  </a:lnTo>
                  <a:lnTo>
                    <a:pt x="68" y="16"/>
                  </a:lnTo>
                  <a:lnTo>
                    <a:pt x="65" y="16"/>
                  </a:lnTo>
                  <a:lnTo>
                    <a:pt x="58" y="19"/>
                  </a:lnTo>
                  <a:lnTo>
                    <a:pt x="56" y="17"/>
                  </a:lnTo>
                  <a:lnTo>
                    <a:pt x="55" y="16"/>
                  </a:lnTo>
                  <a:lnTo>
                    <a:pt x="43" y="7"/>
                  </a:lnTo>
                  <a:lnTo>
                    <a:pt x="39" y="7"/>
                  </a:lnTo>
                  <a:lnTo>
                    <a:pt x="35" y="6"/>
                  </a:lnTo>
                  <a:lnTo>
                    <a:pt x="26" y="7"/>
                  </a:lnTo>
                  <a:lnTo>
                    <a:pt x="16" y="3"/>
                  </a:lnTo>
                  <a:lnTo>
                    <a:pt x="14" y="1"/>
                  </a:lnTo>
                  <a:lnTo>
                    <a:pt x="10" y="0"/>
                  </a:lnTo>
                  <a:lnTo>
                    <a:pt x="9" y="1"/>
                  </a:lnTo>
                  <a:lnTo>
                    <a:pt x="6" y="0"/>
                  </a:lnTo>
                  <a:lnTo>
                    <a:pt x="0" y="1"/>
                  </a:lnTo>
                  <a:lnTo>
                    <a:pt x="6" y="7"/>
                  </a:lnTo>
                  <a:lnTo>
                    <a:pt x="14" y="10"/>
                  </a:lnTo>
                  <a:lnTo>
                    <a:pt x="20" y="14"/>
                  </a:lnTo>
                  <a:lnTo>
                    <a:pt x="22" y="17"/>
                  </a:lnTo>
                  <a:lnTo>
                    <a:pt x="25" y="27"/>
                  </a:lnTo>
                  <a:lnTo>
                    <a:pt x="26" y="29"/>
                  </a:lnTo>
                  <a:lnTo>
                    <a:pt x="26" y="36"/>
                  </a:lnTo>
                  <a:lnTo>
                    <a:pt x="25" y="38"/>
                  </a:lnTo>
                  <a:lnTo>
                    <a:pt x="23" y="38"/>
                  </a:lnTo>
                  <a:lnTo>
                    <a:pt x="23" y="38"/>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81" name="Freeform 280"/>
            <p:cNvSpPr>
              <a:spLocks/>
            </p:cNvSpPr>
            <p:nvPr/>
          </p:nvSpPr>
          <p:spPr bwMode="auto">
            <a:xfrm>
              <a:off x="7044171" y="2626594"/>
              <a:ext cx="4389" cy="6085"/>
            </a:xfrm>
            <a:custGeom>
              <a:avLst/>
              <a:gdLst/>
              <a:ahLst/>
              <a:cxnLst>
                <a:cxn ang="0">
                  <a:pos x="5" y="4"/>
                </a:cxn>
                <a:cxn ang="0">
                  <a:pos x="5" y="3"/>
                </a:cxn>
                <a:cxn ang="0">
                  <a:pos x="2" y="0"/>
                </a:cxn>
                <a:cxn ang="0">
                  <a:pos x="0" y="2"/>
                </a:cxn>
                <a:cxn ang="0">
                  <a:pos x="2" y="6"/>
                </a:cxn>
                <a:cxn ang="0">
                  <a:pos x="5" y="6"/>
                </a:cxn>
                <a:cxn ang="0">
                  <a:pos x="5" y="4"/>
                </a:cxn>
              </a:cxnLst>
              <a:rect l="0" t="0" r="r" b="b"/>
              <a:pathLst>
                <a:path w="5" h="6">
                  <a:moveTo>
                    <a:pt x="5" y="4"/>
                  </a:moveTo>
                  <a:lnTo>
                    <a:pt x="5" y="3"/>
                  </a:lnTo>
                  <a:lnTo>
                    <a:pt x="2" y="0"/>
                  </a:lnTo>
                  <a:lnTo>
                    <a:pt x="0" y="2"/>
                  </a:lnTo>
                  <a:lnTo>
                    <a:pt x="2" y="6"/>
                  </a:lnTo>
                  <a:lnTo>
                    <a:pt x="5" y="6"/>
                  </a:lnTo>
                  <a:lnTo>
                    <a:pt x="5"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82" name="Freeform 281"/>
            <p:cNvSpPr>
              <a:spLocks/>
            </p:cNvSpPr>
            <p:nvPr/>
          </p:nvSpPr>
          <p:spPr bwMode="auto">
            <a:xfrm>
              <a:off x="7044171" y="2626594"/>
              <a:ext cx="4389" cy="6085"/>
            </a:xfrm>
            <a:custGeom>
              <a:avLst/>
              <a:gdLst/>
              <a:ahLst/>
              <a:cxnLst>
                <a:cxn ang="0">
                  <a:pos x="5" y="4"/>
                </a:cxn>
                <a:cxn ang="0">
                  <a:pos x="5" y="3"/>
                </a:cxn>
                <a:cxn ang="0">
                  <a:pos x="2" y="0"/>
                </a:cxn>
                <a:cxn ang="0">
                  <a:pos x="0" y="2"/>
                </a:cxn>
                <a:cxn ang="0">
                  <a:pos x="2" y="6"/>
                </a:cxn>
                <a:cxn ang="0">
                  <a:pos x="5" y="6"/>
                </a:cxn>
                <a:cxn ang="0">
                  <a:pos x="5" y="4"/>
                </a:cxn>
              </a:cxnLst>
              <a:rect l="0" t="0" r="r" b="b"/>
              <a:pathLst>
                <a:path w="5" h="6">
                  <a:moveTo>
                    <a:pt x="5" y="4"/>
                  </a:moveTo>
                  <a:lnTo>
                    <a:pt x="5" y="3"/>
                  </a:lnTo>
                  <a:lnTo>
                    <a:pt x="2" y="0"/>
                  </a:lnTo>
                  <a:lnTo>
                    <a:pt x="0" y="2"/>
                  </a:lnTo>
                  <a:lnTo>
                    <a:pt x="2" y="6"/>
                  </a:lnTo>
                  <a:lnTo>
                    <a:pt x="5" y="6"/>
                  </a:lnTo>
                  <a:lnTo>
                    <a:pt x="5"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83" name="Freeform 282"/>
            <p:cNvSpPr>
              <a:spLocks/>
            </p:cNvSpPr>
            <p:nvPr/>
          </p:nvSpPr>
          <p:spPr bwMode="auto">
            <a:xfrm>
              <a:off x="7052949" y="2629637"/>
              <a:ext cx="2634" cy="3042"/>
            </a:xfrm>
            <a:custGeom>
              <a:avLst/>
              <a:gdLst/>
              <a:ahLst/>
              <a:cxnLst>
                <a:cxn ang="0">
                  <a:pos x="3" y="1"/>
                </a:cxn>
                <a:cxn ang="0">
                  <a:pos x="2" y="0"/>
                </a:cxn>
                <a:cxn ang="0">
                  <a:pos x="0" y="1"/>
                </a:cxn>
                <a:cxn ang="0">
                  <a:pos x="2" y="3"/>
                </a:cxn>
                <a:cxn ang="0">
                  <a:pos x="3" y="1"/>
                </a:cxn>
                <a:cxn ang="0">
                  <a:pos x="3" y="1"/>
                </a:cxn>
              </a:cxnLst>
              <a:rect l="0" t="0" r="r" b="b"/>
              <a:pathLst>
                <a:path w="3" h="3">
                  <a:moveTo>
                    <a:pt x="3" y="1"/>
                  </a:moveTo>
                  <a:lnTo>
                    <a:pt x="2" y="0"/>
                  </a:lnTo>
                  <a:lnTo>
                    <a:pt x="0" y="1"/>
                  </a:lnTo>
                  <a:lnTo>
                    <a:pt x="2" y="3"/>
                  </a:lnTo>
                  <a:lnTo>
                    <a:pt x="3" y="1"/>
                  </a:lnTo>
                  <a:lnTo>
                    <a:pt x="3"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84" name="Freeform 283"/>
            <p:cNvSpPr>
              <a:spLocks/>
            </p:cNvSpPr>
            <p:nvPr/>
          </p:nvSpPr>
          <p:spPr bwMode="auto">
            <a:xfrm>
              <a:off x="7052949" y="2629637"/>
              <a:ext cx="2634" cy="3042"/>
            </a:xfrm>
            <a:custGeom>
              <a:avLst/>
              <a:gdLst/>
              <a:ahLst/>
              <a:cxnLst>
                <a:cxn ang="0">
                  <a:pos x="3" y="1"/>
                </a:cxn>
                <a:cxn ang="0">
                  <a:pos x="2" y="0"/>
                </a:cxn>
                <a:cxn ang="0">
                  <a:pos x="0" y="1"/>
                </a:cxn>
                <a:cxn ang="0">
                  <a:pos x="2" y="3"/>
                </a:cxn>
                <a:cxn ang="0">
                  <a:pos x="3" y="1"/>
                </a:cxn>
                <a:cxn ang="0">
                  <a:pos x="3" y="1"/>
                </a:cxn>
              </a:cxnLst>
              <a:rect l="0" t="0" r="r" b="b"/>
              <a:pathLst>
                <a:path w="3" h="3">
                  <a:moveTo>
                    <a:pt x="3" y="1"/>
                  </a:moveTo>
                  <a:lnTo>
                    <a:pt x="2" y="0"/>
                  </a:lnTo>
                  <a:lnTo>
                    <a:pt x="0" y="1"/>
                  </a:lnTo>
                  <a:lnTo>
                    <a:pt x="2" y="3"/>
                  </a:lnTo>
                  <a:lnTo>
                    <a:pt x="3" y="1"/>
                  </a:lnTo>
                  <a:lnTo>
                    <a:pt x="3"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85" name="Freeform 284"/>
            <p:cNvSpPr>
              <a:spLocks/>
            </p:cNvSpPr>
            <p:nvPr/>
          </p:nvSpPr>
          <p:spPr bwMode="auto">
            <a:xfrm>
              <a:off x="6695685" y="2632679"/>
              <a:ext cx="250173" cy="259618"/>
            </a:xfrm>
            <a:custGeom>
              <a:avLst/>
              <a:gdLst/>
              <a:ahLst/>
              <a:cxnLst>
                <a:cxn ang="0">
                  <a:pos x="245" y="250"/>
                </a:cxn>
                <a:cxn ang="0">
                  <a:pos x="231" y="247"/>
                </a:cxn>
                <a:cxn ang="0">
                  <a:pos x="212" y="246"/>
                </a:cxn>
                <a:cxn ang="0">
                  <a:pos x="181" y="221"/>
                </a:cxn>
                <a:cxn ang="0">
                  <a:pos x="162" y="221"/>
                </a:cxn>
                <a:cxn ang="0">
                  <a:pos x="155" y="225"/>
                </a:cxn>
                <a:cxn ang="0">
                  <a:pos x="145" y="227"/>
                </a:cxn>
                <a:cxn ang="0">
                  <a:pos x="133" y="225"/>
                </a:cxn>
                <a:cxn ang="0">
                  <a:pos x="132" y="222"/>
                </a:cxn>
                <a:cxn ang="0">
                  <a:pos x="120" y="214"/>
                </a:cxn>
                <a:cxn ang="0">
                  <a:pos x="106" y="208"/>
                </a:cxn>
                <a:cxn ang="0">
                  <a:pos x="96" y="190"/>
                </a:cxn>
                <a:cxn ang="0">
                  <a:pos x="87" y="177"/>
                </a:cxn>
                <a:cxn ang="0">
                  <a:pos x="83" y="170"/>
                </a:cxn>
                <a:cxn ang="0">
                  <a:pos x="77" y="173"/>
                </a:cxn>
                <a:cxn ang="0">
                  <a:pos x="74" y="170"/>
                </a:cxn>
                <a:cxn ang="0">
                  <a:pos x="70" y="164"/>
                </a:cxn>
                <a:cxn ang="0">
                  <a:pos x="65" y="163"/>
                </a:cxn>
                <a:cxn ang="0">
                  <a:pos x="65" y="169"/>
                </a:cxn>
                <a:cxn ang="0">
                  <a:pos x="55" y="164"/>
                </a:cxn>
                <a:cxn ang="0">
                  <a:pos x="49" y="154"/>
                </a:cxn>
                <a:cxn ang="0">
                  <a:pos x="36" y="126"/>
                </a:cxn>
                <a:cxn ang="0">
                  <a:pos x="25" y="113"/>
                </a:cxn>
                <a:cxn ang="0">
                  <a:pos x="19" y="109"/>
                </a:cxn>
                <a:cxn ang="0">
                  <a:pos x="17" y="103"/>
                </a:cxn>
                <a:cxn ang="0">
                  <a:pos x="20" y="94"/>
                </a:cxn>
                <a:cxn ang="0">
                  <a:pos x="29" y="83"/>
                </a:cxn>
                <a:cxn ang="0">
                  <a:pos x="30" y="73"/>
                </a:cxn>
                <a:cxn ang="0">
                  <a:pos x="16" y="62"/>
                </a:cxn>
                <a:cxn ang="0">
                  <a:pos x="9" y="42"/>
                </a:cxn>
                <a:cxn ang="0">
                  <a:pos x="1" y="14"/>
                </a:cxn>
                <a:cxn ang="0">
                  <a:pos x="6" y="0"/>
                </a:cxn>
                <a:cxn ang="0">
                  <a:pos x="40" y="10"/>
                </a:cxn>
                <a:cxn ang="0">
                  <a:pos x="56" y="6"/>
                </a:cxn>
                <a:cxn ang="0">
                  <a:pos x="55" y="17"/>
                </a:cxn>
                <a:cxn ang="0">
                  <a:pos x="58" y="22"/>
                </a:cxn>
                <a:cxn ang="0">
                  <a:pos x="65" y="25"/>
                </a:cxn>
                <a:cxn ang="0">
                  <a:pos x="74" y="44"/>
                </a:cxn>
                <a:cxn ang="0">
                  <a:pos x="87" y="46"/>
                </a:cxn>
                <a:cxn ang="0">
                  <a:pos x="110" y="60"/>
                </a:cxn>
                <a:cxn ang="0">
                  <a:pos x="131" y="54"/>
                </a:cxn>
                <a:cxn ang="0">
                  <a:pos x="141" y="49"/>
                </a:cxn>
                <a:cxn ang="0">
                  <a:pos x="160" y="32"/>
                </a:cxn>
                <a:cxn ang="0">
                  <a:pos x="173" y="32"/>
                </a:cxn>
                <a:cxn ang="0">
                  <a:pos x="184" y="28"/>
                </a:cxn>
                <a:cxn ang="0">
                  <a:pos x="209" y="39"/>
                </a:cxn>
                <a:cxn ang="0">
                  <a:pos x="218" y="45"/>
                </a:cxn>
                <a:cxn ang="0">
                  <a:pos x="241" y="58"/>
                </a:cxn>
                <a:cxn ang="0">
                  <a:pos x="244" y="73"/>
                </a:cxn>
                <a:cxn ang="0">
                  <a:pos x="238" y="99"/>
                </a:cxn>
                <a:cxn ang="0">
                  <a:pos x="235" y="110"/>
                </a:cxn>
                <a:cxn ang="0">
                  <a:pos x="235" y="129"/>
                </a:cxn>
                <a:cxn ang="0">
                  <a:pos x="245" y="145"/>
                </a:cxn>
                <a:cxn ang="0">
                  <a:pos x="250" y="155"/>
                </a:cxn>
                <a:cxn ang="0">
                  <a:pos x="248" y="192"/>
                </a:cxn>
                <a:cxn ang="0">
                  <a:pos x="264" y="200"/>
                </a:cxn>
                <a:cxn ang="0">
                  <a:pos x="271" y="218"/>
                </a:cxn>
                <a:cxn ang="0">
                  <a:pos x="268" y="225"/>
                </a:cxn>
                <a:cxn ang="0">
                  <a:pos x="248" y="248"/>
                </a:cxn>
              </a:cxnLst>
              <a:rect l="0" t="0" r="r" b="b"/>
              <a:pathLst>
                <a:path w="273" h="250">
                  <a:moveTo>
                    <a:pt x="248" y="248"/>
                  </a:moveTo>
                  <a:lnTo>
                    <a:pt x="248" y="248"/>
                  </a:lnTo>
                  <a:lnTo>
                    <a:pt x="245" y="250"/>
                  </a:lnTo>
                  <a:lnTo>
                    <a:pt x="234" y="247"/>
                  </a:lnTo>
                  <a:lnTo>
                    <a:pt x="232" y="246"/>
                  </a:lnTo>
                  <a:lnTo>
                    <a:pt x="231" y="247"/>
                  </a:lnTo>
                  <a:lnTo>
                    <a:pt x="213" y="244"/>
                  </a:lnTo>
                  <a:lnTo>
                    <a:pt x="213" y="244"/>
                  </a:lnTo>
                  <a:lnTo>
                    <a:pt x="212" y="246"/>
                  </a:lnTo>
                  <a:lnTo>
                    <a:pt x="209" y="244"/>
                  </a:lnTo>
                  <a:lnTo>
                    <a:pt x="189" y="240"/>
                  </a:lnTo>
                  <a:lnTo>
                    <a:pt x="181" y="221"/>
                  </a:lnTo>
                  <a:lnTo>
                    <a:pt x="174" y="218"/>
                  </a:lnTo>
                  <a:lnTo>
                    <a:pt x="173" y="218"/>
                  </a:lnTo>
                  <a:lnTo>
                    <a:pt x="162" y="221"/>
                  </a:lnTo>
                  <a:lnTo>
                    <a:pt x="161" y="224"/>
                  </a:lnTo>
                  <a:lnTo>
                    <a:pt x="158" y="225"/>
                  </a:lnTo>
                  <a:lnTo>
                    <a:pt x="155" y="225"/>
                  </a:lnTo>
                  <a:lnTo>
                    <a:pt x="152" y="227"/>
                  </a:lnTo>
                  <a:lnTo>
                    <a:pt x="148" y="228"/>
                  </a:lnTo>
                  <a:lnTo>
                    <a:pt x="145" y="227"/>
                  </a:lnTo>
                  <a:lnTo>
                    <a:pt x="144" y="225"/>
                  </a:lnTo>
                  <a:lnTo>
                    <a:pt x="139" y="225"/>
                  </a:lnTo>
                  <a:lnTo>
                    <a:pt x="133" y="225"/>
                  </a:lnTo>
                  <a:lnTo>
                    <a:pt x="132" y="222"/>
                  </a:lnTo>
                  <a:lnTo>
                    <a:pt x="132" y="222"/>
                  </a:lnTo>
                  <a:lnTo>
                    <a:pt x="132" y="222"/>
                  </a:lnTo>
                  <a:lnTo>
                    <a:pt x="122" y="218"/>
                  </a:lnTo>
                  <a:lnTo>
                    <a:pt x="120" y="215"/>
                  </a:lnTo>
                  <a:lnTo>
                    <a:pt x="120" y="214"/>
                  </a:lnTo>
                  <a:lnTo>
                    <a:pt x="117" y="211"/>
                  </a:lnTo>
                  <a:lnTo>
                    <a:pt x="110" y="208"/>
                  </a:lnTo>
                  <a:lnTo>
                    <a:pt x="106" y="208"/>
                  </a:lnTo>
                  <a:lnTo>
                    <a:pt x="103" y="206"/>
                  </a:lnTo>
                  <a:lnTo>
                    <a:pt x="101" y="203"/>
                  </a:lnTo>
                  <a:lnTo>
                    <a:pt x="96" y="190"/>
                  </a:lnTo>
                  <a:lnTo>
                    <a:pt x="91" y="186"/>
                  </a:lnTo>
                  <a:lnTo>
                    <a:pt x="88" y="179"/>
                  </a:lnTo>
                  <a:lnTo>
                    <a:pt x="87" y="177"/>
                  </a:lnTo>
                  <a:lnTo>
                    <a:pt x="84" y="174"/>
                  </a:lnTo>
                  <a:lnTo>
                    <a:pt x="84" y="171"/>
                  </a:lnTo>
                  <a:lnTo>
                    <a:pt x="83" y="170"/>
                  </a:lnTo>
                  <a:lnTo>
                    <a:pt x="81" y="169"/>
                  </a:lnTo>
                  <a:lnTo>
                    <a:pt x="78" y="170"/>
                  </a:lnTo>
                  <a:lnTo>
                    <a:pt x="77" y="173"/>
                  </a:lnTo>
                  <a:lnTo>
                    <a:pt x="75" y="171"/>
                  </a:lnTo>
                  <a:lnTo>
                    <a:pt x="74" y="171"/>
                  </a:lnTo>
                  <a:lnTo>
                    <a:pt x="74" y="170"/>
                  </a:lnTo>
                  <a:lnTo>
                    <a:pt x="71" y="169"/>
                  </a:lnTo>
                  <a:lnTo>
                    <a:pt x="70" y="167"/>
                  </a:lnTo>
                  <a:lnTo>
                    <a:pt x="70" y="164"/>
                  </a:lnTo>
                  <a:lnTo>
                    <a:pt x="68" y="163"/>
                  </a:lnTo>
                  <a:lnTo>
                    <a:pt x="67" y="163"/>
                  </a:lnTo>
                  <a:lnTo>
                    <a:pt x="65" y="163"/>
                  </a:lnTo>
                  <a:lnTo>
                    <a:pt x="65" y="164"/>
                  </a:lnTo>
                  <a:lnTo>
                    <a:pt x="65" y="166"/>
                  </a:lnTo>
                  <a:lnTo>
                    <a:pt x="65" y="169"/>
                  </a:lnTo>
                  <a:lnTo>
                    <a:pt x="64" y="169"/>
                  </a:lnTo>
                  <a:lnTo>
                    <a:pt x="62" y="170"/>
                  </a:lnTo>
                  <a:lnTo>
                    <a:pt x="55" y="164"/>
                  </a:lnTo>
                  <a:lnTo>
                    <a:pt x="54" y="161"/>
                  </a:lnTo>
                  <a:lnTo>
                    <a:pt x="52" y="157"/>
                  </a:lnTo>
                  <a:lnTo>
                    <a:pt x="49" y="154"/>
                  </a:lnTo>
                  <a:lnTo>
                    <a:pt x="49" y="142"/>
                  </a:lnTo>
                  <a:lnTo>
                    <a:pt x="42" y="129"/>
                  </a:lnTo>
                  <a:lnTo>
                    <a:pt x="36" y="126"/>
                  </a:lnTo>
                  <a:lnTo>
                    <a:pt x="26" y="119"/>
                  </a:lnTo>
                  <a:lnTo>
                    <a:pt x="26" y="116"/>
                  </a:lnTo>
                  <a:lnTo>
                    <a:pt x="25" y="113"/>
                  </a:lnTo>
                  <a:lnTo>
                    <a:pt x="22" y="112"/>
                  </a:lnTo>
                  <a:lnTo>
                    <a:pt x="22" y="109"/>
                  </a:lnTo>
                  <a:lnTo>
                    <a:pt x="19" y="109"/>
                  </a:lnTo>
                  <a:lnTo>
                    <a:pt x="17" y="107"/>
                  </a:lnTo>
                  <a:lnTo>
                    <a:pt x="17" y="105"/>
                  </a:lnTo>
                  <a:lnTo>
                    <a:pt x="17" y="103"/>
                  </a:lnTo>
                  <a:lnTo>
                    <a:pt x="19" y="102"/>
                  </a:lnTo>
                  <a:lnTo>
                    <a:pt x="20" y="96"/>
                  </a:lnTo>
                  <a:lnTo>
                    <a:pt x="20" y="94"/>
                  </a:lnTo>
                  <a:lnTo>
                    <a:pt x="23" y="93"/>
                  </a:lnTo>
                  <a:lnTo>
                    <a:pt x="23" y="91"/>
                  </a:lnTo>
                  <a:lnTo>
                    <a:pt x="29" y="83"/>
                  </a:lnTo>
                  <a:lnTo>
                    <a:pt x="27" y="78"/>
                  </a:lnTo>
                  <a:lnTo>
                    <a:pt x="29" y="74"/>
                  </a:lnTo>
                  <a:lnTo>
                    <a:pt x="30" y="73"/>
                  </a:lnTo>
                  <a:lnTo>
                    <a:pt x="20" y="71"/>
                  </a:lnTo>
                  <a:lnTo>
                    <a:pt x="17" y="68"/>
                  </a:lnTo>
                  <a:lnTo>
                    <a:pt x="16" y="62"/>
                  </a:lnTo>
                  <a:lnTo>
                    <a:pt x="13" y="60"/>
                  </a:lnTo>
                  <a:lnTo>
                    <a:pt x="10" y="55"/>
                  </a:lnTo>
                  <a:lnTo>
                    <a:pt x="9" y="42"/>
                  </a:lnTo>
                  <a:lnTo>
                    <a:pt x="6" y="38"/>
                  </a:lnTo>
                  <a:lnTo>
                    <a:pt x="1" y="36"/>
                  </a:lnTo>
                  <a:lnTo>
                    <a:pt x="1" y="14"/>
                  </a:lnTo>
                  <a:lnTo>
                    <a:pt x="0" y="9"/>
                  </a:lnTo>
                  <a:lnTo>
                    <a:pt x="4" y="6"/>
                  </a:lnTo>
                  <a:lnTo>
                    <a:pt x="6" y="0"/>
                  </a:lnTo>
                  <a:lnTo>
                    <a:pt x="17" y="16"/>
                  </a:lnTo>
                  <a:lnTo>
                    <a:pt x="36" y="17"/>
                  </a:lnTo>
                  <a:lnTo>
                    <a:pt x="40" y="10"/>
                  </a:lnTo>
                  <a:lnTo>
                    <a:pt x="46" y="4"/>
                  </a:lnTo>
                  <a:lnTo>
                    <a:pt x="52" y="3"/>
                  </a:lnTo>
                  <a:lnTo>
                    <a:pt x="56" y="6"/>
                  </a:lnTo>
                  <a:lnTo>
                    <a:pt x="56" y="9"/>
                  </a:lnTo>
                  <a:lnTo>
                    <a:pt x="59" y="14"/>
                  </a:lnTo>
                  <a:lnTo>
                    <a:pt x="55" y="17"/>
                  </a:lnTo>
                  <a:lnTo>
                    <a:pt x="54" y="19"/>
                  </a:lnTo>
                  <a:lnTo>
                    <a:pt x="56" y="20"/>
                  </a:lnTo>
                  <a:lnTo>
                    <a:pt x="58" y="22"/>
                  </a:lnTo>
                  <a:lnTo>
                    <a:pt x="61" y="22"/>
                  </a:lnTo>
                  <a:lnTo>
                    <a:pt x="62" y="25"/>
                  </a:lnTo>
                  <a:lnTo>
                    <a:pt x="65" y="25"/>
                  </a:lnTo>
                  <a:lnTo>
                    <a:pt x="67" y="25"/>
                  </a:lnTo>
                  <a:lnTo>
                    <a:pt x="70" y="41"/>
                  </a:lnTo>
                  <a:lnTo>
                    <a:pt x="74" y="44"/>
                  </a:lnTo>
                  <a:lnTo>
                    <a:pt x="78" y="45"/>
                  </a:lnTo>
                  <a:lnTo>
                    <a:pt x="86" y="45"/>
                  </a:lnTo>
                  <a:lnTo>
                    <a:pt x="87" y="46"/>
                  </a:lnTo>
                  <a:lnTo>
                    <a:pt x="88" y="49"/>
                  </a:lnTo>
                  <a:lnTo>
                    <a:pt x="97" y="55"/>
                  </a:lnTo>
                  <a:lnTo>
                    <a:pt x="110" y="60"/>
                  </a:lnTo>
                  <a:lnTo>
                    <a:pt x="135" y="52"/>
                  </a:lnTo>
                  <a:lnTo>
                    <a:pt x="133" y="54"/>
                  </a:lnTo>
                  <a:lnTo>
                    <a:pt x="131" y="54"/>
                  </a:lnTo>
                  <a:lnTo>
                    <a:pt x="135" y="55"/>
                  </a:lnTo>
                  <a:lnTo>
                    <a:pt x="141" y="54"/>
                  </a:lnTo>
                  <a:lnTo>
                    <a:pt x="141" y="49"/>
                  </a:lnTo>
                  <a:lnTo>
                    <a:pt x="139" y="44"/>
                  </a:lnTo>
                  <a:lnTo>
                    <a:pt x="146" y="42"/>
                  </a:lnTo>
                  <a:lnTo>
                    <a:pt x="160" y="32"/>
                  </a:lnTo>
                  <a:lnTo>
                    <a:pt x="167" y="30"/>
                  </a:lnTo>
                  <a:lnTo>
                    <a:pt x="170" y="32"/>
                  </a:lnTo>
                  <a:lnTo>
                    <a:pt x="173" y="32"/>
                  </a:lnTo>
                  <a:lnTo>
                    <a:pt x="174" y="30"/>
                  </a:lnTo>
                  <a:lnTo>
                    <a:pt x="174" y="28"/>
                  </a:lnTo>
                  <a:lnTo>
                    <a:pt x="184" y="28"/>
                  </a:lnTo>
                  <a:lnTo>
                    <a:pt x="190" y="33"/>
                  </a:lnTo>
                  <a:lnTo>
                    <a:pt x="206" y="39"/>
                  </a:lnTo>
                  <a:lnTo>
                    <a:pt x="209" y="39"/>
                  </a:lnTo>
                  <a:lnTo>
                    <a:pt x="212" y="39"/>
                  </a:lnTo>
                  <a:lnTo>
                    <a:pt x="215" y="41"/>
                  </a:lnTo>
                  <a:lnTo>
                    <a:pt x="218" y="45"/>
                  </a:lnTo>
                  <a:lnTo>
                    <a:pt x="218" y="48"/>
                  </a:lnTo>
                  <a:lnTo>
                    <a:pt x="235" y="58"/>
                  </a:lnTo>
                  <a:lnTo>
                    <a:pt x="241" y="58"/>
                  </a:lnTo>
                  <a:lnTo>
                    <a:pt x="242" y="60"/>
                  </a:lnTo>
                  <a:lnTo>
                    <a:pt x="242" y="70"/>
                  </a:lnTo>
                  <a:lnTo>
                    <a:pt x="244" y="73"/>
                  </a:lnTo>
                  <a:lnTo>
                    <a:pt x="241" y="89"/>
                  </a:lnTo>
                  <a:lnTo>
                    <a:pt x="238" y="94"/>
                  </a:lnTo>
                  <a:lnTo>
                    <a:pt x="238" y="99"/>
                  </a:lnTo>
                  <a:lnTo>
                    <a:pt x="232" y="102"/>
                  </a:lnTo>
                  <a:lnTo>
                    <a:pt x="232" y="109"/>
                  </a:lnTo>
                  <a:lnTo>
                    <a:pt x="235" y="110"/>
                  </a:lnTo>
                  <a:lnTo>
                    <a:pt x="237" y="112"/>
                  </a:lnTo>
                  <a:lnTo>
                    <a:pt x="234" y="122"/>
                  </a:lnTo>
                  <a:lnTo>
                    <a:pt x="235" y="129"/>
                  </a:lnTo>
                  <a:lnTo>
                    <a:pt x="235" y="142"/>
                  </a:lnTo>
                  <a:lnTo>
                    <a:pt x="238" y="144"/>
                  </a:lnTo>
                  <a:lnTo>
                    <a:pt x="245" y="145"/>
                  </a:lnTo>
                  <a:lnTo>
                    <a:pt x="248" y="148"/>
                  </a:lnTo>
                  <a:lnTo>
                    <a:pt x="250" y="153"/>
                  </a:lnTo>
                  <a:lnTo>
                    <a:pt x="250" y="155"/>
                  </a:lnTo>
                  <a:lnTo>
                    <a:pt x="238" y="176"/>
                  </a:lnTo>
                  <a:lnTo>
                    <a:pt x="242" y="182"/>
                  </a:lnTo>
                  <a:lnTo>
                    <a:pt x="248" y="192"/>
                  </a:lnTo>
                  <a:lnTo>
                    <a:pt x="255" y="198"/>
                  </a:lnTo>
                  <a:lnTo>
                    <a:pt x="263" y="199"/>
                  </a:lnTo>
                  <a:lnTo>
                    <a:pt x="264" y="200"/>
                  </a:lnTo>
                  <a:lnTo>
                    <a:pt x="266" y="215"/>
                  </a:lnTo>
                  <a:lnTo>
                    <a:pt x="270" y="216"/>
                  </a:lnTo>
                  <a:lnTo>
                    <a:pt x="271" y="218"/>
                  </a:lnTo>
                  <a:lnTo>
                    <a:pt x="273" y="221"/>
                  </a:lnTo>
                  <a:lnTo>
                    <a:pt x="271" y="222"/>
                  </a:lnTo>
                  <a:lnTo>
                    <a:pt x="268" y="225"/>
                  </a:lnTo>
                  <a:lnTo>
                    <a:pt x="257" y="228"/>
                  </a:lnTo>
                  <a:lnTo>
                    <a:pt x="251" y="234"/>
                  </a:lnTo>
                  <a:lnTo>
                    <a:pt x="248" y="248"/>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86" name="Freeform 285"/>
            <p:cNvSpPr>
              <a:spLocks/>
            </p:cNvSpPr>
            <p:nvPr/>
          </p:nvSpPr>
          <p:spPr bwMode="auto">
            <a:xfrm>
              <a:off x="6695685" y="2632679"/>
              <a:ext cx="250173" cy="259618"/>
            </a:xfrm>
            <a:custGeom>
              <a:avLst/>
              <a:gdLst/>
              <a:ahLst/>
              <a:cxnLst>
                <a:cxn ang="0">
                  <a:pos x="245" y="250"/>
                </a:cxn>
                <a:cxn ang="0">
                  <a:pos x="231" y="247"/>
                </a:cxn>
                <a:cxn ang="0">
                  <a:pos x="212" y="246"/>
                </a:cxn>
                <a:cxn ang="0">
                  <a:pos x="181" y="221"/>
                </a:cxn>
                <a:cxn ang="0">
                  <a:pos x="162" y="221"/>
                </a:cxn>
                <a:cxn ang="0">
                  <a:pos x="155" y="225"/>
                </a:cxn>
                <a:cxn ang="0">
                  <a:pos x="145" y="227"/>
                </a:cxn>
                <a:cxn ang="0">
                  <a:pos x="133" y="225"/>
                </a:cxn>
                <a:cxn ang="0">
                  <a:pos x="132" y="222"/>
                </a:cxn>
                <a:cxn ang="0">
                  <a:pos x="120" y="214"/>
                </a:cxn>
                <a:cxn ang="0">
                  <a:pos x="106" y="208"/>
                </a:cxn>
                <a:cxn ang="0">
                  <a:pos x="96" y="190"/>
                </a:cxn>
                <a:cxn ang="0">
                  <a:pos x="87" y="177"/>
                </a:cxn>
                <a:cxn ang="0">
                  <a:pos x="83" y="170"/>
                </a:cxn>
                <a:cxn ang="0">
                  <a:pos x="77" y="173"/>
                </a:cxn>
                <a:cxn ang="0">
                  <a:pos x="74" y="170"/>
                </a:cxn>
                <a:cxn ang="0">
                  <a:pos x="70" y="164"/>
                </a:cxn>
                <a:cxn ang="0">
                  <a:pos x="65" y="163"/>
                </a:cxn>
                <a:cxn ang="0">
                  <a:pos x="65" y="169"/>
                </a:cxn>
                <a:cxn ang="0">
                  <a:pos x="55" y="164"/>
                </a:cxn>
                <a:cxn ang="0">
                  <a:pos x="49" y="154"/>
                </a:cxn>
                <a:cxn ang="0">
                  <a:pos x="36" y="126"/>
                </a:cxn>
                <a:cxn ang="0">
                  <a:pos x="25" y="113"/>
                </a:cxn>
                <a:cxn ang="0">
                  <a:pos x="19" y="109"/>
                </a:cxn>
                <a:cxn ang="0">
                  <a:pos x="17" y="103"/>
                </a:cxn>
                <a:cxn ang="0">
                  <a:pos x="20" y="94"/>
                </a:cxn>
                <a:cxn ang="0">
                  <a:pos x="29" y="83"/>
                </a:cxn>
                <a:cxn ang="0">
                  <a:pos x="30" y="73"/>
                </a:cxn>
                <a:cxn ang="0">
                  <a:pos x="16" y="62"/>
                </a:cxn>
                <a:cxn ang="0">
                  <a:pos x="9" y="42"/>
                </a:cxn>
                <a:cxn ang="0">
                  <a:pos x="1" y="14"/>
                </a:cxn>
                <a:cxn ang="0">
                  <a:pos x="6" y="0"/>
                </a:cxn>
                <a:cxn ang="0">
                  <a:pos x="40" y="10"/>
                </a:cxn>
                <a:cxn ang="0">
                  <a:pos x="56" y="6"/>
                </a:cxn>
                <a:cxn ang="0">
                  <a:pos x="55" y="17"/>
                </a:cxn>
                <a:cxn ang="0">
                  <a:pos x="58" y="22"/>
                </a:cxn>
                <a:cxn ang="0">
                  <a:pos x="65" y="25"/>
                </a:cxn>
                <a:cxn ang="0">
                  <a:pos x="74" y="44"/>
                </a:cxn>
                <a:cxn ang="0">
                  <a:pos x="87" y="46"/>
                </a:cxn>
                <a:cxn ang="0">
                  <a:pos x="110" y="60"/>
                </a:cxn>
                <a:cxn ang="0">
                  <a:pos x="131" y="54"/>
                </a:cxn>
                <a:cxn ang="0">
                  <a:pos x="141" y="49"/>
                </a:cxn>
                <a:cxn ang="0">
                  <a:pos x="160" y="32"/>
                </a:cxn>
                <a:cxn ang="0">
                  <a:pos x="173" y="32"/>
                </a:cxn>
                <a:cxn ang="0">
                  <a:pos x="184" y="28"/>
                </a:cxn>
                <a:cxn ang="0">
                  <a:pos x="209" y="39"/>
                </a:cxn>
                <a:cxn ang="0">
                  <a:pos x="218" y="45"/>
                </a:cxn>
                <a:cxn ang="0">
                  <a:pos x="241" y="58"/>
                </a:cxn>
                <a:cxn ang="0">
                  <a:pos x="244" y="73"/>
                </a:cxn>
                <a:cxn ang="0">
                  <a:pos x="238" y="99"/>
                </a:cxn>
                <a:cxn ang="0">
                  <a:pos x="235" y="110"/>
                </a:cxn>
                <a:cxn ang="0">
                  <a:pos x="235" y="129"/>
                </a:cxn>
                <a:cxn ang="0">
                  <a:pos x="245" y="145"/>
                </a:cxn>
                <a:cxn ang="0">
                  <a:pos x="250" y="155"/>
                </a:cxn>
                <a:cxn ang="0">
                  <a:pos x="248" y="192"/>
                </a:cxn>
                <a:cxn ang="0">
                  <a:pos x="264" y="200"/>
                </a:cxn>
                <a:cxn ang="0">
                  <a:pos x="271" y="218"/>
                </a:cxn>
                <a:cxn ang="0">
                  <a:pos x="268" y="225"/>
                </a:cxn>
                <a:cxn ang="0">
                  <a:pos x="248" y="248"/>
                </a:cxn>
              </a:cxnLst>
              <a:rect l="0" t="0" r="r" b="b"/>
              <a:pathLst>
                <a:path w="273" h="250">
                  <a:moveTo>
                    <a:pt x="248" y="248"/>
                  </a:moveTo>
                  <a:lnTo>
                    <a:pt x="248" y="248"/>
                  </a:lnTo>
                  <a:lnTo>
                    <a:pt x="245" y="250"/>
                  </a:lnTo>
                  <a:lnTo>
                    <a:pt x="234" y="247"/>
                  </a:lnTo>
                  <a:lnTo>
                    <a:pt x="232" y="246"/>
                  </a:lnTo>
                  <a:lnTo>
                    <a:pt x="231" y="247"/>
                  </a:lnTo>
                  <a:lnTo>
                    <a:pt x="213" y="244"/>
                  </a:lnTo>
                  <a:lnTo>
                    <a:pt x="213" y="244"/>
                  </a:lnTo>
                  <a:lnTo>
                    <a:pt x="212" y="246"/>
                  </a:lnTo>
                  <a:lnTo>
                    <a:pt x="209" y="244"/>
                  </a:lnTo>
                  <a:lnTo>
                    <a:pt x="189" y="240"/>
                  </a:lnTo>
                  <a:lnTo>
                    <a:pt x="181" y="221"/>
                  </a:lnTo>
                  <a:lnTo>
                    <a:pt x="174" y="218"/>
                  </a:lnTo>
                  <a:lnTo>
                    <a:pt x="173" y="218"/>
                  </a:lnTo>
                  <a:lnTo>
                    <a:pt x="162" y="221"/>
                  </a:lnTo>
                  <a:lnTo>
                    <a:pt x="161" y="224"/>
                  </a:lnTo>
                  <a:lnTo>
                    <a:pt x="158" y="225"/>
                  </a:lnTo>
                  <a:lnTo>
                    <a:pt x="155" y="225"/>
                  </a:lnTo>
                  <a:lnTo>
                    <a:pt x="152" y="227"/>
                  </a:lnTo>
                  <a:lnTo>
                    <a:pt x="148" y="228"/>
                  </a:lnTo>
                  <a:lnTo>
                    <a:pt x="145" y="227"/>
                  </a:lnTo>
                  <a:lnTo>
                    <a:pt x="144" y="225"/>
                  </a:lnTo>
                  <a:lnTo>
                    <a:pt x="139" y="225"/>
                  </a:lnTo>
                  <a:lnTo>
                    <a:pt x="133" y="225"/>
                  </a:lnTo>
                  <a:lnTo>
                    <a:pt x="132" y="222"/>
                  </a:lnTo>
                  <a:lnTo>
                    <a:pt x="132" y="222"/>
                  </a:lnTo>
                  <a:lnTo>
                    <a:pt x="132" y="222"/>
                  </a:lnTo>
                  <a:lnTo>
                    <a:pt x="122" y="218"/>
                  </a:lnTo>
                  <a:lnTo>
                    <a:pt x="120" y="215"/>
                  </a:lnTo>
                  <a:lnTo>
                    <a:pt x="120" y="214"/>
                  </a:lnTo>
                  <a:lnTo>
                    <a:pt x="117" y="211"/>
                  </a:lnTo>
                  <a:lnTo>
                    <a:pt x="110" y="208"/>
                  </a:lnTo>
                  <a:lnTo>
                    <a:pt x="106" y="208"/>
                  </a:lnTo>
                  <a:lnTo>
                    <a:pt x="103" y="206"/>
                  </a:lnTo>
                  <a:lnTo>
                    <a:pt x="101" y="203"/>
                  </a:lnTo>
                  <a:lnTo>
                    <a:pt x="96" y="190"/>
                  </a:lnTo>
                  <a:lnTo>
                    <a:pt x="91" y="186"/>
                  </a:lnTo>
                  <a:lnTo>
                    <a:pt x="88" y="179"/>
                  </a:lnTo>
                  <a:lnTo>
                    <a:pt x="87" y="177"/>
                  </a:lnTo>
                  <a:lnTo>
                    <a:pt x="84" y="174"/>
                  </a:lnTo>
                  <a:lnTo>
                    <a:pt x="84" y="171"/>
                  </a:lnTo>
                  <a:lnTo>
                    <a:pt x="83" y="170"/>
                  </a:lnTo>
                  <a:lnTo>
                    <a:pt x="81" y="169"/>
                  </a:lnTo>
                  <a:lnTo>
                    <a:pt x="78" y="170"/>
                  </a:lnTo>
                  <a:lnTo>
                    <a:pt x="77" y="173"/>
                  </a:lnTo>
                  <a:lnTo>
                    <a:pt x="75" y="171"/>
                  </a:lnTo>
                  <a:lnTo>
                    <a:pt x="74" y="171"/>
                  </a:lnTo>
                  <a:lnTo>
                    <a:pt x="74" y="170"/>
                  </a:lnTo>
                  <a:lnTo>
                    <a:pt x="71" y="169"/>
                  </a:lnTo>
                  <a:lnTo>
                    <a:pt x="70" y="167"/>
                  </a:lnTo>
                  <a:lnTo>
                    <a:pt x="70" y="164"/>
                  </a:lnTo>
                  <a:lnTo>
                    <a:pt x="68" y="163"/>
                  </a:lnTo>
                  <a:lnTo>
                    <a:pt x="67" y="163"/>
                  </a:lnTo>
                  <a:lnTo>
                    <a:pt x="65" y="163"/>
                  </a:lnTo>
                  <a:lnTo>
                    <a:pt x="65" y="164"/>
                  </a:lnTo>
                  <a:lnTo>
                    <a:pt x="65" y="166"/>
                  </a:lnTo>
                  <a:lnTo>
                    <a:pt x="65" y="169"/>
                  </a:lnTo>
                  <a:lnTo>
                    <a:pt x="64" y="169"/>
                  </a:lnTo>
                  <a:lnTo>
                    <a:pt x="62" y="170"/>
                  </a:lnTo>
                  <a:lnTo>
                    <a:pt x="55" y="164"/>
                  </a:lnTo>
                  <a:lnTo>
                    <a:pt x="54" y="161"/>
                  </a:lnTo>
                  <a:lnTo>
                    <a:pt x="52" y="157"/>
                  </a:lnTo>
                  <a:lnTo>
                    <a:pt x="49" y="154"/>
                  </a:lnTo>
                  <a:lnTo>
                    <a:pt x="49" y="142"/>
                  </a:lnTo>
                  <a:lnTo>
                    <a:pt x="42" y="129"/>
                  </a:lnTo>
                  <a:lnTo>
                    <a:pt x="36" y="126"/>
                  </a:lnTo>
                  <a:lnTo>
                    <a:pt x="26" y="119"/>
                  </a:lnTo>
                  <a:lnTo>
                    <a:pt x="26" y="116"/>
                  </a:lnTo>
                  <a:lnTo>
                    <a:pt x="25" y="113"/>
                  </a:lnTo>
                  <a:lnTo>
                    <a:pt x="22" y="112"/>
                  </a:lnTo>
                  <a:lnTo>
                    <a:pt x="22" y="109"/>
                  </a:lnTo>
                  <a:lnTo>
                    <a:pt x="19" y="109"/>
                  </a:lnTo>
                  <a:lnTo>
                    <a:pt x="17" y="107"/>
                  </a:lnTo>
                  <a:lnTo>
                    <a:pt x="17" y="105"/>
                  </a:lnTo>
                  <a:lnTo>
                    <a:pt x="17" y="103"/>
                  </a:lnTo>
                  <a:lnTo>
                    <a:pt x="19" y="102"/>
                  </a:lnTo>
                  <a:lnTo>
                    <a:pt x="20" y="96"/>
                  </a:lnTo>
                  <a:lnTo>
                    <a:pt x="20" y="94"/>
                  </a:lnTo>
                  <a:lnTo>
                    <a:pt x="23" y="93"/>
                  </a:lnTo>
                  <a:lnTo>
                    <a:pt x="23" y="91"/>
                  </a:lnTo>
                  <a:lnTo>
                    <a:pt x="29" y="83"/>
                  </a:lnTo>
                  <a:lnTo>
                    <a:pt x="27" y="78"/>
                  </a:lnTo>
                  <a:lnTo>
                    <a:pt x="29" y="74"/>
                  </a:lnTo>
                  <a:lnTo>
                    <a:pt x="30" y="73"/>
                  </a:lnTo>
                  <a:lnTo>
                    <a:pt x="20" y="71"/>
                  </a:lnTo>
                  <a:lnTo>
                    <a:pt x="17" y="68"/>
                  </a:lnTo>
                  <a:lnTo>
                    <a:pt x="16" y="62"/>
                  </a:lnTo>
                  <a:lnTo>
                    <a:pt x="13" y="60"/>
                  </a:lnTo>
                  <a:lnTo>
                    <a:pt x="10" y="55"/>
                  </a:lnTo>
                  <a:lnTo>
                    <a:pt x="9" y="42"/>
                  </a:lnTo>
                  <a:lnTo>
                    <a:pt x="6" y="38"/>
                  </a:lnTo>
                  <a:lnTo>
                    <a:pt x="1" y="36"/>
                  </a:lnTo>
                  <a:lnTo>
                    <a:pt x="1" y="14"/>
                  </a:lnTo>
                  <a:lnTo>
                    <a:pt x="0" y="9"/>
                  </a:lnTo>
                  <a:lnTo>
                    <a:pt x="4" y="6"/>
                  </a:lnTo>
                  <a:lnTo>
                    <a:pt x="6" y="0"/>
                  </a:lnTo>
                  <a:lnTo>
                    <a:pt x="17" y="16"/>
                  </a:lnTo>
                  <a:lnTo>
                    <a:pt x="36" y="17"/>
                  </a:lnTo>
                  <a:lnTo>
                    <a:pt x="40" y="10"/>
                  </a:lnTo>
                  <a:lnTo>
                    <a:pt x="46" y="4"/>
                  </a:lnTo>
                  <a:lnTo>
                    <a:pt x="52" y="3"/>
                  </a:lnTo>
                  <a:lnTo>
                    <a:pt x="56" y="6"/>
                  </a:lnTo>
                  <a:lnTo>
                    <a:pt x="56" y="9"/>
                  </a:lnTo>
                  <a:lnTo>
                    <a:pt x="59" y="14"/>
                  </a:lnTo>
                  <a:lnTo>
                    <a:pt x="55" y="17"/>
                  </a:lnTo>
                  <a:lnTo>
                    <a:pt x="54" y="19"/>
                  </a:lnTo>
                  <a:lnTo>
                    <a:pt x="56" y="20"/>
                  </a:lnTo>
                  <a:lnTo>
                    <a:pt x="58" y="22"/>
                  </a:lnTo>
                  <a:lnTo>
                    <a:pt x="61" y="22"/>
                  </a:lnTo>
                  <a:lnTo>
                    <a:pt x="62" y="25"/>
                  </a:lnTo>
                  <a:lnTo>
                    <a:pt x="65" y="25"/>
                  </a:lnTo>
                  <a:lnTo>
                    <a:pt x="67" y="25"/>
                  </a:lnTo>
                  <a:lnTo>
                    <a:pt x="70" y="41"/>
                  </a:lnTo>
                  <a:lnTo>
                    <a:pt x="74" y="44"/>
                  </a:lnTo>
                  <a:lnTo>
                    <a:pt x="78" y="45"/>
                  </a:lnTo>
                  <a:lnTo>
                    <a:pt x="86" y="45"/>
                  </a:lnTo>
                  <a:lnTo>
                    <a:pt x="87" y="46"/>
                  </a:lnTo>
                  <a:lnTo>
                    <a:pt x="88" y="49"/>
                  </a:lnTo>
                  <a:lnTo>
                    <a:pt x="97" y="55"/>
                  </a:lnTo>
                  <a:lnTo>
                    <a:pt x="110" y="60"/>
                  </a:lnTo>
                  <a:lnTo>
                    <a:pt x="135" y="52"/>
                  </a:lnTo>
                  <a:lnTo>
                    <a:pt x="133" y="54"/>
                  </a:lnTo>
                  <a:lnTo>
                    <a:pt x="131" y="54"/>
                  </a:lnTo>
                  <a:lnTo>
                    <a:pt x="135" y="55"/>
                  </a:lnTo>
                  <a:lnTo>
                    <a:pt x="141" y="54"/>
                  </a:lnTo>
                  <a:lnTo>
                    <a:pt x="141" y="49"/>
                  </a:lnTo>
                  <a:lnTo>
                    <a:pt x="139" y="44"/>
                  </a:lnTo>
                  <a:lnTo>
                    <a:pt x="146" y="42"/>
                  </a:lnTo>
                  <a:lnTo>
                    <a:pt x="160" y="32"/>
                  </a:lnTo>
                  <a:lnTo>
                    <a:pt x="167" y="30"/>
                  </a:lnTo>
                  <a:lnTo>
                    <a:pt x="170" y="32"/>
                  </a:lnTo>
                  <a:lnTo>
                    <a:pt x="173" y="32"/>
                  </a:lnTo>
                  <a:lnTo>
                    <a:pt x="174" y="30"/>
                  </a:lnTo>
                  <a:lnTo>
                    <a:pt x="174" y="28"/>
                  </a:lnTo>
                  <a:lnTo>
                    <a:pt x="184" y="28"/>
                  </a:lnTo>
                  <a:lnTo>
                    <a:pt x="190" y="33"/>
                  </a:lnTo>
                  <a:lnTo>
                    <a:pt x="206" y="39"/>
                  </a:lnTo>
                  <a:lnTo>
                    <a:pt x="209" y="39"/>
                  </a:lnTo>
                  <a:lnTo>
                    <a:pt x="212" y="39"/>
                  </a:lnTo>
                  <a:lnTo>
                    <a:pt x="215" y="41"/>
                  </a:lnTo>
                  <a:lnTo>
                    <a:pt x="218" y="45"/>
                  </a:lnTo>
                  <a:lnTo>
                    <a:pt x="218" y="48"/>
                  </a:lnTo>
                  <a:lnTo>
                    <a:pt x="235" y="58"/>
                  </a:lnTo>
                  <a:lnTo>
                    <a:pt x="241" y="58"/>
                  </a:lnTo>
                  <a:lnTo>
                    <a:pt x="242" y="60"/>
                  </a:lnTo>
                  <a:lnTo>
                    <a:pt x="242" y="70"/>
                  </a:lnTo>
                  <a:lnTo>
                    <a:pt x="244" y="73"/>
                  </a:lnTo>
                  <a:lnTo>
                    <a:pt x="241" y="89"/>
                  </a:lnTo>
                  <a:lnTo>
                    <a:pt x="238" y="94"/>
                  </a:lnTo>
                  <a:lnTo>
                    <a:pt x="238" y="99"/>
                  </a:lnTo>
                  <a:lnTo>
                    <a:pt x="232" y="102"/>
                  </a:lnTo>
                  <a:lnTo>
                    <a:pt x="232" y="109"/>
                  </a:lnTo>
                  <a:lnTo>
                    <a:pt x="235" y="110"/>
                  </a:lnTo>
                  <a:lnTo>
                    <a:pt x="237" y="112"/>
                  </a:lnTo>
                  <a:lnTo>
                    <a:pt x="234" y="122"/>
                  </a:lnTo>
                  <a:lnTo>
                    <a:pt x="235" y="129"/>
                  </a:lnTo>
                  <a:lnTo>
                    <a:pt x="235" y="142"/>
                  </a:lnTo>
                  <a:lnTo>
                    <a:pt x="238" y="144"/>
                  </a:lnTo>
                  <a:lnTo>
                    <a:pt x="245" y="145"/>
                  </a:lnTo>
                  <a:lnTo>
                    <a:pt x="248" y="148"/>
                  </a:lnTo>
                  <a:lnTo>
                    <a:pt x="250" y="153"/>
                  </a:lnTo>
                  <a:lnTo>
                    <a:pt x="250" y="155"/>
                  </a:lnTo>
                  <a:lnTo>
                    <a:pt x="238" y="176"/>
                  </a:lnTo>
                  <a:lnTo>
                    <a:pt x="242" y="182"/>
                  </a:lnTo>
                  <a:lnTo>
                    <a:pt x="248" y="192"/>
                  </a:lnTo>
                  <a:lnTo>
                    <a:pt x="255" y="198"/>
                  </a:lnTo>
                  <a:lnTo>
                    <a:pt x="263" y="199"/>
                  </a:lnTo>
                  <a:lnTo>
                    <a:pt x="264" y="200"/>
                  </a:lnTo>
                  <a:lnTo>
                    <a:pt x="266" y="215"/>
                  </a:lnTo>
                  <a:lnTo>
                    <a:pt x="270" y="216"/>
                  </a:lnTo>
                  <a:lnTo>
                    <a:pt x="271" y="218"/>
                  </a:lnTo>
                  <a:lnTo>
                    <a:pt x="273" y="221"/>
                  </a:lnTo>
                  <a:lnTo>
                    <a:pt x="271" y="222"/>
                  </a:lnTo>
                  <a:lnTo>
                    <a:pt x="268" y="225"/>
                  </a:lnTo>
                  <a:lnTo>
                    <a:pt x="257" y="228"/>
                  </a:lnTo>
                  <a:lnTo>
                    <a:pt x="251" y="234"/>
                  </a:lnTo>
                  <a:lnTo>
                    <a:pt x="248" y="248"/>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87" name="Freeform 286"/>
            <p:cNvSpPr>
              <a:spLocks/>
            </p:cNvSpPr>
            <p:nvPr/>
          </p:nvSpPr>
          <p:spPr bwMode="auto">
            <a:xfrm>
              <a:off x="6439367" y="2782771"/>
              <a:ext cx="144837" cy="163276"/>
            </a:xfrm>
            <a:custGeom>
              <a:avLst/>
              <a:gdLst/>
              <a:ahLst/>
              <a:cxnLst>
                <a:cxn ang="0">
                  <a:pos x="6" y="43"/>
                </a:cxn>
                <a:cxn ang="0">
                  <a:pos x="3" y="35"/>
                </a:cxn>
                <a:cxn ang="0">
                  <a:pos x="0" y="26"/>
                </a:cxn>
                <a:cxn ang="0">
                  <a:pos x="2" y="25"/>
                </a:cxn>
                <a:cxn ang="0">
                  <a:pos x="3" y="22"/>
                </a:cxn>
                <a:cxn ang="0">
                  <a:pos x="2" y="6"/>
                </a:cxn>
                <a:cxn ang="0">
                  <a:pos x="4" y="3"/>
                </a:cxn>
                <a:cxn ang="0">
                  <a:pos x="6" y="0"/>
                </a:cxn>
                <a:cxn ang="0">
                  <a:pos x="9" y="3"/>
                </a:cxn>
                <a:cxn ang="0">
                  <a:pos x="32" y="3"/>
                </a:cxn>
                <a:cxn ang="0">
                  <a:pos x="47" y="9"/>
                </a:cxn>
                <a:cxn ang="0">
                  <a:pos x="55" y="10"/>
                </a:cxn>
                <a:cxn ang="0">
                  <a:pos x="81" y="4"/>
                </a:cxn>
                <a:cxn ang="0">
                  <a:pos x="87" y="3"/>
                </a:cxn>
                <a:cxn ang="0">
                  <a:pos x="83" y="6"/>
                </a:cxn>
                <a:cxn ang="0">
                  <a:pos x="89" y="4"/>
                </a:cxn>
                <a:cxn ang="0">
                  <a:pos x="92" y="3"/>
                </a:cxn>
                <a:cxn ang="0">
                  <a:pos x="102" y="3"/>
                </a:cxn>
                <a:cxn ang="0">
                  <a:pos x="105" y="3"/>
                </a:cxn>
                <a:cxn ang="0">
                  <a:pos x="106" y="4"/>
                </a:cxn>
                <a:cxn ang="0">
                  <a:pos x="108" y="7"/>
                </a:cxn>
                <a:cxn ang="0">
                  <a:pos x="113" y="11"/>
                </a:cxn>
                <a:cxn ang="0">
                  <a:pos x="119" y="10"/>
                </a:cxn>
                <a:cxn ang="0">
                  <a:pos x="122" y="11"/>
                </a:cxn>
                <a:cxn ang="0">
                  <a:pos x="135" y="6"/>
                </a:cxn>
                <a:cxn ang="0">
                  <a:pos x="139" y="58"/>
                </a:cxn>
                <a:cxn ang="0">
                  <a:pos x="139" y="61"/>
                </a:cxn>
                <a:cxn ang="0">
                  <a:pos x="137" y="64"/>
                </a:cxn>
                <a:cxn ang="0">
                  <a:pos x="123" y="49"/>
                </a:cxn>
                <a:cxn ang="0">
                  <a:pos x="116" y="36"/>
                </a:cxn>
                <a:cxn ang="0">
                  <a:pos x="113" y="29"/>
                </a:cxn>
                <a:cxn ang="0">
                  <a:pos x="113" y="27"/>
                </a:cxn>
                <a:cxn ang="0">
                  <a:pos x="112" y="30"/>
                </a:cxn>
                <a:cxn ang="0">
                  <a:pos x="110" y="35"/>
                </a:cxn>
                <a:cxn ang="0">
                  <a:pos x="113" y="38"/>
                </a:cxn>
                <a:cxn ang="0">
                  <a:pos x="115" y="43"/>
                </a:cxn>
                <a:cxn ang="0">
                  <a:pos x="125" y="61"/>
                </a:cxn>
                <a:cxn ang="0">
                  <a:pos x="128" y="67"/>
                </a:cxn>
                <a:cxn ang="0">
                  <a:pos x="157" y="122"/>
                </a:cxn>
                <a:cxn ang="0">
                  <a:pos x="158" y="123"/>
                </a:cxn>
                <a:cxn ang="0">
                  <a:pos x="155" y="123"/>
                </a:cxn>
                <a:cxn ang="0">
                  <a:pos x="154" y="125"/>
                </a:cxn>
                <a:cxn ang="0">
                  <a:pos x="155" y="133"/>
                </a:cxn>
                <a:cxn ang="0">
                  <a:pos x="151" y="142"/>
                </a:cxn>
                <a:cxn ang="0">
                  <a:pos x="144" y="148"/>
                </a:cxn>
                <a:cxn ang="0">
                  <a:pos x="134" y="157"/>
                </a:cxn>
                <a:cxn ang="0">
                  <a:pos x="122" y="154"/>
                </a:cxn>
                <a:cxn ang="0">
                  <a:pos x="99" y="151"/>
                </a:cxn>
                <a:cxn ang="0">
                  <a:pos x="97" y="151"/>
                </a:cxn>
                <a:cxn ang="0">
                  <a:pos x="94" y="154"/>
                </a:cxn>
                <a:cxn ang="0">
                  <a:pos x="6" y="144"/>
                </a:cxn>
              </a:cxnLst>
              <a:rect l="0" t="0" r="r" b="b"/>
              <a:pathLst>
                <a:path w="158" h="157">
                  <a:moveTo>
                    <a:pt x="6" y="144"/>
                  </a:moveTo>
                  <a:lnTo>
                    <a:pt x="6" y="43"/>
                  </a:lnTo>
                  <a:lnTo>
                    <a:pt x="2" y="38"/>
                  </a:lnTo>
                  <a:lnTo>
                    <a:pt x="3" y="35"/>
                  </a:lnTo>
                  <a:lnTo>
                    <a:pt x="0" y="32"/>
                  </a:lnTo>
                  <a:lnTo>
                    <a:pt x="0" y="26"/>
                  </a:lnTo>
                  <a:lnTo>
                    <a:pt x="0" y="25"/>
                  </a:lnTo>
                  <a:lnTo>
                    <a:pt x="2" y="25"/>
                  </a:lnTo>
                  <a:lnTo>
                    <a:pt x="3" y="23"/>
                  </a:lnTo>
                  <a:lnTo>
                    <a:pt x="3" y="22"/>
                  </a:lnTo>
                  <a:lnTo>
                    <a:pt x="3" y="9"/>
                  </a:lnTo>
                  <a:lnTo>
                    <a:pt x="2" y="6"/>
                  </a:lnTo>
                  <a:lnTo>
                    <a:pt x="2" y="6"/>
                  </a:lnTo>
                  <a:lnTo>
                    <a:pt x="4" y="3"/>
                  </a:lnTo>
                  <a:lnTo>
                    <a:pt x="4" y="1"/>
                  </a:lnTo>
                  <a:lnTo>
                    <a:pt x="6" y="0"/>
                  </a:lnTo>
                  <a:lnTo>
                    <a:pt x="7" y="1"/>
                  </a:lnTo>
                  <a:lnTo>
                    <a:pt x="9" y="3"/>
                  </a:lnTo>
                  <a:lnTo>
                    <a:pt x="17" y="1"/>
                  </a:lnTo>
                  <a:lnTo>
                    <a:pt x="32" y="3"/>
                  </a:lnTo>
                  <a:lnTo>
                    <a:pt x="39" y="7"/>
                  </a:lnTo>
                  <a:lnTo>
                    <a:pt x="47" y="9"/>
                  </a:lnTo>
                  <a:lnTo>
                    <a:pt x="48" y="10"/>
                  </a:lnTo>
                  <a:lnTo>
                    <a:pt x="55" y="10"/>
                  </a:lnTo>
                  <a:lnTo>
                    <a:pt x="63" y="14"/>
                  </a:lnTo>
                  <a:lnTo>
                    <a:pt x="81" y="4"/>
                  </a:lnTo>
                  <a:lnTo>
                    <a:pt x="87" y="3"/>
                  </a:lnTo>
                  <a:lnTo>
                    <a:pt x="87" y="3"/>
                  </a:lnTo>
                  <a:lnTo>
                    <a:pt x="84" y="4"/>
                  </a:lnTo>
                  <a:lnTo>
                    <a:pt x="83" y="6"/>
                  </a:lnTo>
                  <a:lnTo>
                    <a:pt x="84" y="6"/>
                  </a:lnTo>
                  <a:lnTo>
                    <a:pt x="89" y="4"/>
                  </a:lnTo>
                  <a:lnTo>
                    <a:pt x="90" y="4"/>
                  </a:lnTo>
                  <a:lnTo>
                    <a:pt x="92" y="3"/>
                  </a:lnTo>
                  <a:lnTo>
                    <a:pt x="93" y="3"/>
                  </a:lnTo>
                  <a:lnTo>
                    <a:pt x="102" y="3"/>
                  </a:lnTo>
                  <a:lnTo>
                    <a:pt x="103" y="1"/>
                  </a:lnTo>
                  <a:lnTo>
                    <a:pt x="105" y="3"/>
                  </a:lnTo>
                  <a:lnTo>
                    <a:pt x="105" y="4"/>
                  </a:lnTo>
                  <a:lnTo>
                    <a:pt x="106" y="4"/>
                  </a:lnTo>
                  <a:lnTo>
                    <a:pt x="106" y="6"/>
                  </a:lnTo>
                  <a:lnTo>
                    <a:pt x="108" y="7"/>
                  </a:lnTo>
                  <a:lnTo>
                    <a:pt x="110" y="7"/>
                  </a:lnTo>
                  <a:lnTo>
                    <a:pt x="113" y="11"/>
                  </a:lnTo>
                  <a:lnTo>
                    <a:pt x="118" y="10"/>
                  </a:lnTo>
                  <a:lnTo>
                    <a:pt x="119" y="10"/>
                  </a:lnTo>
                  <a:lnTo>
                    <a:pt x="121" y="10"/>
                  </a:lnTo>
                  <a:lnTo>
                    <a:pt x="122" y="11"/>
                  </a:lnTo>
                  <a:lnTo>
                    <a:pt x="128" y="10"/>
                  </a:lnTo>
                  <a:lnTo>
                    <a:pt x="135" y="6"/>
                  </a:lnTo>
                  <a:lnTo>
                    <a:pt x="145" y="38"/>
                  </a:lnTo>
                  <a:lnTo>
                    <a:pt x="139" y="58"/>
                  </a:lnTo>
                  <a:lnTo>
                    <a:pt x="139" y="59"/>
                  </a:lnTo>
                  <a:lnTo>
                    <a:pt x="139" y="61"/>
                  </a:lnTo>
                  <a:lnTo>
                    <a:pt x="138" y="62"/>
                  </a:lnTo>
                  <a:lnTo>
                    <a:pt x="137" y="64"/>
                  </a:lnTo>
                  <a:lnTo>
                    <a:pt x="135" y="64"/>
                  </a:lnTo>
                  <a:lnTo>
                    <a:pt x="123" y="49"/>
                  </a:lnTo>
                  <a:lnTo>
                    <a:pt x="122" y="46"/>
                  </a:lnTo>
                  <a:lnTo>
                    <a:pt x="116" y="36"/>
                  </a:lnTo>
                  <a:lnTo>
                    <a:pt x="115" y="30"/>
                  </a:lnTo>
                  <a:lnTo>
                    <a:pt x="113" y="29"/>
                  </a:lnTo>
                  <a:lnTo>
                    <a:pt x="113" y="27"/>
                  </a:lnTo>
                  <a:lnTo>
                    <a:pt x="113" y="27"/>
                  </a:lnTo>
                  <a:lnTo>
                    <a:pt x="112" y="29"/>
                  </a:lnTo>
                  <a:lnTo>
                    <a:pt x="112" y="30"/>
                  </a:lnTo>
                  <a:lnTo>
                    <a:pt x="112" y="32"/>
                  </a:lnTo>
                  <a:lnTo>
                    <a:pt x="110" y="35"/>
                  </a:lnTo>
                  <a:lnTo>
                    <a:pt x="110" y="35"/>
                  </a:lnTo>
                  <a:lnTo>
                    <a:pt x="113" y="38"/>
                  </a:lnTo>
                  <a:lnTo>
                    <a:pt x="115" y="40"/>
                  </a:lnTo>
                  <a:lnTo>
                    <a:pt x="115" y="43"/>
                  </a:lnTo>
                  <a:lnTo>
                    <a:pt x="119" y="54"/>
                  </a:lnTo>
                  <a:lnTo>
                    <a:pt x="125" y="61"/>
                  </a:lnTo>
                  <a:lnTo>
                    <a:pt x="126" y="61"/>
                  </a:lnTo>
                  <a:lnTo>
                    <a:pt x="128" y="67"/>
                  </a:lnTo>
                  <a:lnTo>
                    <a:pt x="150" y="116"/>
                  </a:lnTo>
                  <a:lnTo>
                    <a:pt x="157" y="122"/>
                  </a:lnTo>
                  <a:lnTo>
                    <a:pt x="157" y="123"/>
                  </a:lnTo>
                  <a:lnTo>
                    <a:pt x="158" y="123"/>
                  </a:lnTo>
                  <a:lnTo>
                    <a:pt x="158" y="125"/>
                  </a:lnTo>
                  <a:lnTo>
                    <a:pt x="155" y="123"/>
                  </a:lnTo>
                  <a:lnTo>
                    <a:pt x="154" y="125"/>
                  </a:lnTo>
                  <a:lnTo>
                    <a:pt x="154" y="125"/>
                  </a:lnTo>
                  <a:lnTo>
                    <a:pt x="155" y="128"/>
                  </a:lnTo>
                  <a:lnTo>
                    <a:pt x="155" y="133"/>
                  </a:lnTo>
                  <a:lnTo>
                    <a:pt x="157" y="136"/>
                  </a:lnTo>
                  <a:lnTo>
                    <a:pt x="151" y="142"/>
                  </a:lnTo>
                  <a:lnTo>
                    <a:pt x="147" y="141"/>
                  </a:lnTo>
                  <a:lnTo>
                    <a:pt x="144" y="148"/>
                  </a:lnTo>
                  <a:lnTo>
                    <a:pt x="137" y="151"/>
                  </a:lnTo>
                  <a:lnTo>
                    <a:pt x="134" y="157"/>
                  </a:lnTo>
                  <a:lnTo>
                    <a:pt x="128" y="157"/>
                  </a:lnTo>
                  <a:lnTo>
                    <a:pt x="122" y="154"/>
                  </a:lnTo>
                  <a:lnTo>
                    <a:pt x="97" y="154"/>
                  </a:lnTo>
                  <a:lnTo>
                    <a:pt x="99" y="151"/>
                  </a:lnTo>
                  <a:lnTo>
                    <a:pt x="99" y="151"/>
                  </a:lnTo>
                  <a:lnTo>
                    <a:pt x="97" y="151"/>
                  </a:lnTo>
                  <a:lnTo>
                    <a:pt x="97" y="151"/>
                  </a:lnTo>
                  <a:lnTo>
                    <a:pt x="94" y="154"/>
                  </a:lnTo>
                  <a:lnTo>
                    <a:pt x="6" y="154"/>
                  </a:lnTo>
                  <a:lnTo>
                    <a:pt x="6" y="144"/>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88" name="Freeform 287"/>
            <p:cNvSpPr>
              <a:spLocks/>
            </p:cNvSpPr>
            <p:nvPr/>
          </p:nvSpPr>
          <p:spPr bwMode="auto">
            <a:xfrm>
              <a:off x="6006611" y="2685414"/>
              <a:ext cx="265095" cy="304240"/>
            </a:xfrm>
            <a:custGeom>
              <a:avLst/>
              <a:gdLst/>
              <a:ahLst/>
              <a:cxnLst>
                <a:cxn ang="0">
                  <a:pos x="0" y="139"/>
                </a:cxn>
                <a:cxn ang="0">
                  <a:pos x="19" y="128"/>
                </a:cxn>
                <a:cxn ang="0">
                  <a:pos x="25" y="125"/>
                </a:cxn>
                <a:cxn ang="0">
                  <a:pos x="29" y="123"/>
                </a:cxn>
                <a:cxn ang="0">
                  <a:pos x="42" y="122"/>
                </a:cxn>
                <a:cxn ang="0">
                  <a:pos x="51" y="115"/>
                </a:cxn>
                <a:cxn ang="0">
                  <a:pos x="60" y="109"/>
                </a:cxn>
                <a:cxn ang="0">
                  <a:pos x="71" y="102"/>
                </a:cxn>
                <a:cxn ang="0">
                  <a:pos x="68" y="100"/>
                </a:cxn>
                <a:cxn ang="0">
                  <a:pos x="70" y="96"/>
                </a:cxn>
                <a:cxn ang="0">
                  <a:pos x="68" y="93"/>
                </a:cxn>
                <a:cxn ang="0">
                  <a:pos x="80" y="90"/>
                </a:cxn>
                <a:cxn ang="0">
                  <a:pos x="82" y="84"/>
                </a:cxn>
                <a:cxn ang="0">
                  <a:pos x="86" y="84"/>
                </a:cxn>
                <a:cxn ang="0">
                  <a:pos x="106" y="84"/>
                </a:cxn>
                <a:cxn ang="0">
                  <a:pos x="106" y="80"/>
                </a:cxn>
                <a:cxn ang="0">
                  <a:pos x="105" y="74"/>
                </a:cxn>
                <a:cxn ang="0">
                  <a:pos x="102" y="64"/>
                </a:cxn>
                <a:cxn ang="0">
                  <a:pos x="100" y="56"/>
                </a:cxn>
                <a:cxn ang="0">
                  <a:pos x="99" y="43"/>
                </a:cxn>
                <a:cxn ang="0">
                  <a:pos x="99" y="40"/>
                </a:cxn>
                <a:cxn ang="0">
                  <a:pos x="96" y="38"/>
                </a:cxn>
                <a:cxn ang="0">
                  <a:pos x="96" y="35"/>
                </a:cxn>
                <a:cxn ang="0">
                  <a:pos x="116" y="23"/>
                </a:cxn>
                <a:cxn ang="0">
                  <a:pos x="128" y="16"/>
                </a:cxn>
                <a:cxn ang="0">
                  <a:pos x="161" y="9"/>
                </a:cxn>
                <a:cxn ang="0">
                  <a:pos x="173" y="6"/>
                </a:cxn>
                <a:cxn ang="0">
                  <a:pos x="196" y="6"/>
                </a:cxn>
                <a:cxn ang="0">
                  <a:pos x="218" y="1"/>
                </a:cxn>
                <a:cxn ang="0">
                  <a:pos x="227" y="0"/>
                </a:cxn>
                <a:cxn ang="0">
                  <a:pos x="240" y="1"/>
                </a:cxn>
                <a:cxn ang="0">
                  <a:pos x="241" y="9"/>
                </a:cxn>
                <a:cxn ang="0">
                  <a:pos x="241" y="30"/>
                </a:cxn>
                <a:cxn ang="0">
                  <a:pos x="234" y="49"/>
                </a:cxn>
                <a:cxn ang="0">
                  <a:pos x="228" y="54"/>
                </a:cxn>
                <a:cxn ang="0">
                  <a:pos x="237" y="70"/>
                </a:cxn>
                <a:cxn ang="0">
                  <a:pos x="251" y="86"/>
                </a:cxn>
                <a:cxn ang="0">
                  <a:pos x="253" y="122"/>
                </a:cxn>
                <a:cxn ang="0">
                  <a:pos x="254" y="181"/>
                </a:cxn>
                <a:cxn ang="0">
                  <a:pos x="267" y="208"/>
                </a:cxn>
                <a:cxn ang="0">
                  <a:pos x="289" y="224"/>
                </a:cxn>
                <a:cxn ang="0">
                  <a:pos x="167" y="290"/>
                </a:cxn>
                <a:cxn ang="0">
                  <a:pos x="167" y="285"/>
                </a:cxn>
                <a:cxn ang="0">
                  <a:pos x="169" y="282"/>
                </a:cxn>
                <a:cxn ang="0">
                  <a:pos x="167" y="279"/>
                </a:cxn>
                <a:cxn ang="0">
                  <a:pos x="161" y="276"/>
                </a:cxn>
                <a:cxn ang="0">
                  <a:pos x="156" y="273"/>
                </a:cxn>
                <a:cxn ang="0">
                  <a:pos x="147" y="270"/>
                </a:cxn>
                <a:cxn ang="0">
                  <a:pos x="141" y="264"/>
                </a:cxn>
                <a:cxn ang="0">
                  <a:pos x="138" y="260"/>
                </a:cxn>
              </a:cxnLst>
              <a:rect l="0" t="0" r="r" b="b"/>
              <a:pathLst>
                <a:path w="289" h="292">
                  <a:moveTo>
                    <a:pt x="52" y="200"/>
                  </a:moveTo>
                  <a:lnTo>
                    <a:pt x="52" y="200"/>
                  </a:lnTo>
                  <a:lnTo>
                    <a:pt x="0" y="165"/>
                  </a:lnTo>
                  <a:lnTo>
                    <a:pt x="0" y="139"/>
                  </a:lnTo>
                  <a:lnTo>
                    <a:pt x="12" y="131"/>
                  </a:lnTo>
                  <a:lnTo>
                    <a:pt x="16" y="131"/>
                  </a:lnTo>
                  <a:lnTo>
                    <a:pt x="18" y="129"/>
                  </a:lnTo>
                  <a:lnTo>
                    <a:pt x="19" y="128"/>
                  </a:lnTo>
                  <a:lnTo>
                    <a:pt x="21" y="126"/>
                  </a:lnTo>
                  <a:lnTo>
                    <a:pt x="22" y="125"/>
                  </a:lnTo>
                  <a:lnTo>
                    <a:pt x="23" y="126"/>
                  </a:lnTo>
                  <a:lnTo>
                    <a:pt x="25" y="125"/>
                  </a:lnTo>
                  <a:lnTo>
                    <a:pt x="26" y="126"/>
                  </a:lnTo>
                  <a:lnTo>
                    <a:pt x="29" y="126"/>
                  </a:lnTo>
                  <a:lnTo>
                    <a:pt x="29" y="126"/>
                  </a:lnTo>
                  <a:lnTo>
                    <a:pt x="29" y="123"/>
                  </a:lnTo>
                  <a:lnTo>
                    <a:pt x="31" y="122"/>
                  </a:lnTo>
                  <a:lnTo>
                    <a:pt x="35" y="123"/>
                  </a:lnTo>
                  <a:lnTo>
                    <a:pt x="36" y="122"/>
                  </a:lnTo>
                  <a:lnTo>
                    <a:pt x="42" y="122"/>
                  </a:lnTo>
                  <a:lnTo>
                    <a:pt x="47" y="119"/>
                  </a:lnTo>
                  <a:lnTo>
                    <a:pt x="50" y="118"/>
                  </a:lnTo>
                  <a:lnTo>
                    <a:pt x="51" y="116"/>
                  </a:lnTo>
                  <a:lnTo>
                    <a:pt x="51" y="115"/>
                  </a:lnTo>
                  <a:lnTo>
                    <a:pt x="51" y="113"/>
                  </a:lnTo>
                  <a:lnTo>
                    <a:pt x="54" y="110"/>
                  </a:lnTo>
                  <a:lnTo>
                    <a:pt x="58" y="109"/>
                  </a:lnTo>
                  <a:lnTo>
                    <a:pt x="60" y="109"/>
                  </a:lnTo>
                  <a:lnTo>
                    <a:pt x="66" y="104"/>
                  </a:lnTo>
                  <a:lnTo>
                    <a:pt x="71" y="104"/>
                  </a:lnTo>
                  <a:lnTo>
                    <a:pt x="73" y="103"/>
                  </a:lnTo>
                  <a:lnTo>
                    <a:pt x="71" y="102"/>
                  </a:lnTo>
                  <a:lnTo>
                    <a:pt x="71" y="102"/>
                  </a:lnTo>
                  <a:lnTo>
                    <a:pt x="70" y="100"/>
                  </a:lnTo>
                  <a:lnTo>
                    <a:pt x="70" y="100"/>
                  </a:lnTo>
                  <a:lnTo>
                    <a:pt x="68" y="100"/>
                  </a:lnTo>
                  <a:lnTo>
                    <a:pt x="68" y="100"/>
                  </a:lnTo>
                  <a:lnTo>
                    <a:pt x="68" y="97"/>
                  </a:lnTo>
                  <a:lnTo>
                    <a:pt x="70" y="97"/>
                  </a:lnTo>
                  <a:lnTo>
                    <a:pt x="70" y="96"/>
                  </a:lnTo>
                  <a:lnTo>
                    <a:pt x="68" y="96"/>
                  </a:lnTo>
                  <a:lnTo>
                    <a:pt x="68" y="96"/>
                  </a:lnTo>
                  <a:lnTo>
                    <a:pt x="68" y="93"/>
                  </a:lnTo>
                  <a:lnTo>
                    <a:pt x="68" y="93"/>
                  </a:lnTo>
                  <a:lnTo>
                    <a:pt x="70" y="91"/>
                  </a:lnTo>
                  <a:lnTo>
                    <a:pt x="71" y="91"/>
                  </a:lnTo>
                  <a:lnTo>
                    <a:pt x="73" y="91"/>
                  </a:lnTo>
                  <a:lnTo>
                    <a:pt x="80" y="90"/>
                  </a:lnTo>
                  <a:lnTo>
                    <a:pt x="82" y="88"/>
                  </a:lnTo>
                  <a:lnTo>
                    <a:pt x="82" y="87"/>
                  </a:lnTo>
                  <a:lnTo>
                    <a:pt x="82" y="86"/>
                  </a:lnTo>
                  <a:lnTo>
                    <a:pt x="82" y="84"/>
                  </a:lnTo>
                  <a:lnTo>
                    <a:pt x="83" y="84"/>
                  </a:lnTo>
                  <a:lnTo>
                    <a:pt x="84" y="86"/>
                  </a:lnTo>
                  <a:lnTo>
                    <a:pt x="86" y="84"/>
                  </a:lnTo>
                  <a:lnTo>
                    <a:pt x="86" y="84"/>
                  </a:lnTo>
                  <a:lnTo>
                    <a:pt x="97" y="83"/>
                  </a:lnTo>
                  <a:lnTo>
                    <a:pt x="97" y="83"/>
                  </a:lnTo>
                  <a:lnTo>
                    <a:pt x="105" y="84"/>
                  </a:lnTo>
                  <a:lnTo>
                    <a:pt x="106" y="84"/>
                  </a:lnTo>
                  <a:lnTo>
                    <a:pt x="106" y="84"/>
                  </a:lnTo>
                  <a:lnTo>
                    <a:pt x="106" y="84"/>
                  </a:lnTo>
                  <a:lnTo>
                    <a:pt x="106" y="83"/>
                  </a:lnTo>
                  <a:lnTo>
                    <a:pt x="106" y="80"/>
                  </a:lnTo>
                  <a:lnTo>
                    <a:pt x="108" y="78"/>
                  </a:lnTo>
                  <a:lnTo>
                    <a:pt x="109" y="78"/>
                  </a:lnTo>
                  <a:lnTo>
                    <a:pt x="109" y="78"/>
                  </a:lnTo>
                  <a:lnTo>
                    <a:pt x="105" y="74"/>
                  </a:lnTo>
                  <a:lnTo>
                    <a:pt x="102" y="70"/>
                  </a:lnTo>
                  <a:lnTo>
                    <a:pt x="103" y="68"/>
                  </a:lnTo>
                  <a:lnTo>
                    <a:pt x="102" y="65"/>
                  </a:lnTo>
                  <a:lnTo>
                    <a:pt x="102" y="64"/>
                  </a:lnTo>
                  <a:lnTo>
                    <a:pt x="102" y="62"/>
                  </a:lnTo>
                  <a:lnTo>
                    <a:pt x="102" y="59"/>
                  </a:lnTo>
                  <a:lnTo>
                    <a:pt x="100" y="58"/>
                  </a:lnTo>
                  <a:lnTo>
                    <a:pt x="100" y="56"/>
                  </a:lnTo>
                  <a:lnTo>
                    <a:pt x="100" y="52"/>
                  </a:lnTo>
                  <a:lnTo>
                    <a:pt x="100" y="48"/>
                  </a:lnTo>
                  <a:lnTo>
                    <a:pt x="100" y="46"/>
                  </a:lnTo>
                  <a:lnTo>
                    <a:pt x="99" y="43"/>
                  </a:lnTo>
                  <a:lnTo>
                    <a:pt x="99" y="42"/>
                  </a:lnTo>
                  <a:lnTo>
                    <a:pt x="100" y="42"/>
                  </a:lnTo>
                  <a:lnTo>
                    <a:pt x="100" y="42"/>
                  </a:lnTo>
                  <a:lnTo>
                    <a:pt x="99" y="40"/>
                  </a:lnTo>
                  <a:lnTo>
                    <a:pt x="99" y="40"/>
                  </a:lnTo>
                  <a:lnTo>
                    <a:pt x="97" y="39"/>
                  </a:lnTo>
                  <a:lnTo>
                    <a:pt x="97" y="39"/>
                  </a:lnTo>
                  <a:lnTo>
                    <a:pt x="96" y="38"/>
                  </a:lnTo>
                  <a:lnTo>
                    <a:pt x="95" y="36"/>
                  </a:lnTo>
                  <a:lnTo>
                    <a:pt x="95" y="35"/>
                  </a:lnTo>
                  <a:lnTo>
                    <a:pt x="95" y="35"/>
                  </a:lnTo>
                  <a:lnTo>
                    <a:pt x="96" y="35"/>
                  </a:lnTo>
                  <a:lnTo>
                    <a:pt x="105" y="30"/>
                  </a:lnTo>
                  <a:lnTo>
                    <a:pt x="109" y="25"/>
                  </a:lnTo>
                  <a:lnTo>
                    <a:pt x="112" y="23"/>
                  </a:lnTo>
                  <a:lnTo>
                    <a:pt x="116" y="23"/>
                  </a:lnTo>
                  <a:lnTo>
                    <a:pt x="119" y="20"/>
                  </a:lnTo>
                  <a:lnTo>
                    <a:pt x="122" y="22"/>
                  </a:lnTo>
                  <a:lnTo>
                    <a:pt x="125" y="20"/>
                  </a:lnTo>
                  <a:lnTo>
                    <a:pt x="128" y="16"/>
                  </a:lnTo>
                  <a:lnTo>
                    <a:pt x="132" y="14"/>
                  </a:lnTo>
                  <a:lnTo>
                    <a:pt x="134" y="13"/>
                  </a:lnTo>
                  <a:lnTo>
                    <a:pt x="144" y="9"/>
                  </a:lnTo>
                  <a:lnTo>
                    <a:pt x="161" y="9"/>
                  </a:lnTo>
                  <a:lnTo>
                    <a:pt x="167" y="4"/>
                  </a:lnTo>
                  <a:lnTo>
                    <a:pt x="169" y="6"/>
                  </a:lnTo>
                  <a:lnTo>
                    <a:pt x="172" y="4"/>
                  </a:lnTo>
                  <a:lnTo>
                    <a:pt x="173" y="6"/>
                  </a:lnTo>
                  <a:lnTo>
                    <a:pt x="174" y="4"/>
                  </a:lnTo>
                  <a:lnTo>
                    <a:pt x="179" y="3"/>
                  </a:lnTo>
                  <a:lnTo>
                    <a:pt x="193" y="3"/>
                  </a:lnTo>
                  <a:lnTo>
                    <a:pt x="196" y="6"/>
                  </a:lnTo>
                  <a:lnTo>
                    <a:pt x="199" y="6"/>
                  </a:lnTo>
                  <a:lnTo>
                    <a:pt x="211" y="3"/>
                  </a:lnTo>
                  <a:lnTo>
                    <a:pt x="214" y="0"/>
                  </a:lnTo>
                  <a:lnTo>
                    <a:pt x="218" y="1"/>
                  </a:lnTo>
                  <a:lnTo>
                    <a:pt x="219" y="1"/>
                  </a:lnTo>
                  <a:lnTo>
                    <a:pt x="222" y="3"/>
                  </a:lnTo>
                  <a:lnTo>
                    <a:pt x="225" y="1"/>
                  </a:lnTo>
                  <a:lnTo>
                    <a:pt x="227" y="0"/>
                  </a:lnTo>
                  <a:lnTo>
                    <a:pt x="233" y="1"/>
                  </a:lnTo>
                  <a:lnTo>
                    <a:pt x="234" y="3"/>
                  </a:lnTo>
                  <a:lnTo>
                    <a:pt x="237" y="3"/>
                  </a:lnTo>
                  <a:lnTo>
                    <a:pt x="240" y="1"/>
                  </a:lnTo>
                  <a:lnTo>
                    <a:pt x="243" y="3"/>
                  </a:lnTo>
                  <a:lnTo>
                    <a:pt x="247" y="1"/>
                  </a:lnTo>
                  <a:lnTo>
                    <a:pt x="246" y="3"/>
                  </a:lnTo>
                  <a:lnTo>
                    <a:pt x="241" y="9"/>
                  </a:lnTo>
                  <a:lnTo>
                    <a:pt x="240" y="10"/>
                  </a:lnTo>
                  <a:lnTo>
                    <a:pt x="241" y="10"/>
                  </a:lnTo>
                  <a:lnTo>
                    <a:pt x="243" y="11"/>
                  </a:lnTo>
                  <a:lnTo>
                    <a:pt x="241" y="30"/>
                  </a:lnTo>
                  <a:lnTo>
                    <a:pt x="243" y="32"/>
                  </a:lnTo>
                  <a:lnTo>
                    <a:pt x="240" y="43"/>
                  </a:lnTo>
                  <a:lnTo>
                    <a:pt x="235" y="46"/>
                  </a:lnTo>
                  <a:lnTo>
                    <a:pt x="234" y="49"/>
                  </a:lnTo>
                  <a:lnTo>
                    <a:pt x="233" y="51"/>
                  </a:lnTo>
                  <a:lnTo>
                    <a:pt x="231" y="52"/>
                  </a:lnTo>
                  <a:lnTo>
                    <a:pt x="230" y="52"/>
                  </a:lnTo>
                  <a:lnTo>
                    <a:pt x="228" y="54"/>
                  </a:lnTo>
                  <a:lnTo>
                    <a:pt x="227" y="54"/>
                  </a:lnTo>
                  <a:lnTo>
                    <a:pt x="231" y="65"/>
                  </a:lnTo>
                  <a:lnTo>
                    <a:pt x="235" y="68"/>
                  </a:lnTo>
                  <a:lnTo>
                    <a:pt x="237" y="70"/>
                  </a:lnTo>
                  <a:lnTo>
                    <a:pt x="238" y="74"/>
                  </a:lnTo>
                  <a:lnTo>
                    <a:pt x="238" y="80"/>
                  </a:lnTo>
                  <a:lnTo>
                    <a:pt x="250" y="86"/>
                  </a:lnTo>
                  <a:lnTo>
                    <a:pt x="251" y="86"/>
                  </a:lnTo>
                  <a:lnTo>
                    <a:pt x="256" y="115"/>
                  </a:lnTo>
                  <a:lnTo>
                    <a:pt x="256" y="116"/>
                  </a:lnTo>
                  <a:lnTo>
                    <a:pt x="253" y="118"/>
                  </a:lnTo>
                  <a:lnTo>
                    <a:pt x="253" y="122"/>
                  </a:lnTo>
                  <a:lnTo>
                    <a:pt x="259" y="131"/>
                  </a:lnTo>
                  <a:lnTo>
                    <a:pt x="260" y="177"/>
                  </a:lnTo>
                  <a:lnTo>
                    <a:pt x="254" y="179"/>
                  </a:lnTo>
                  <a:lnTo>
                    <a:pt x="254" y="181"/>
                  </a:lnTo>
                  <a:lnTo>
                    <a:pt x="256" y="184"/>
                  </a:lnTo>
                  <a:lnTo>
                    <a:pt x="263" y="195"/>
                  </a:lnTo>
                  <a:lnTo>
                    <a:pt x="264" y="203"/>
                  </a:lnTo>
                  <a:lnTo>
                    <a:pt x="267" y="208"/>
                  </a:lnTo>
                  <a:lnTo>
                    <a:pt x="275" y="208"/>
                  </a:lnTo>
                  <a:lnTo>
                    <a:pt x="283" y="211"/>
                  </a:lnTo>
                  <a:lnTo>
                    <a:pt x="289" y="222"/>
                  </a:lnTo>
                  <a:lnTo>
                    <a:pt x="289" y="224"/>
                  </a:lnTo>
                  <a:lnTo>
                    <a:pt x="203" y="283"/>
                  </a:lnTo>
                  <a:lnTo>
                    <a:pt x="173" y="292"/>
                  </a:lnTo>
                  <a:lnTo>
                    <a:pt x="169" y="292"/>
                  </a:lnTo>
                  <a:lnTo>
                    <a:pt x="167" y="290"/>
                  </a:lnTo>
                  <a:lnTo>
                    <a:pt x="167" y="289"/>
                  </a:lnTo>
                  <a:lnTo>
                    <a:pt x="167" y="288"/>
                  </a:lnTo>
                  <a:lnTo>
                    <a:pt x="167" y="286"/>
                  </a:lnTo>
                  <a:lnTo>
                    <a:pt x="167" y="285"/>
                  </a:lnTo>
                  <a:lnTo>
                    <a:pt x="169" y="285"/>
                  </a:lnTo>
                  <a:lnTo>
                    <a:pt x="169" y="283"/>
                  </a:lnTo>
                  <a:lnTo>
                    <a:pt x="169" y="283"/>
                  </a:lnTo>
                  <a:lnTo>
                    <a:pt x="169" y="282"/>
                  </a:lnTo>
                  <a:lnTo>
                    <a:pt x="169" y="282"/>
                  </a:lnTo>
                  <a:lnTo>
                    <a:pt x="169" y="280"/>
                  </a:lnTo>
                  <a:lnTo>
                    <a:pt x="167" y="279"/>
                  </a:lnTo>
                  <a:lnTo>
                    <a:pt x="167" y="279"/>
                  </a:lnTo>
                  <a:lnTo>
                    <a:pt x="167" y="277"/>
                  </a:lnTo>
                  <a:lnTo>
                    <a:pt x="164" y="277"/>
                  </a:lnTo>
                  <a:lnTo>
                    <a:pt x="161" y="276"/>
                  </a:lnTo>
                  <a:lnTo>
                    <a:pt x="161" y="276"/>
                  </a:lnTo>
                  <a:lnTo>
                    <a:pt x="160" y="276"/>
                  </a:lnTo>
                  <a:lnTo>
                    <a:pt x="157" y="276"/>
                  </a:lnTo>
                  <a:lnTo>
                    <a:pt x="156" y="274"/>
                  </a:lnTo>
                  <a:lnTo>
                    <a:pt x="156" y="273"/>
                  </a:lnTo>
                  <a:lnTo>
                    <a:pt x="154" y="273"/>
                  </a:lnTo>
                  <a:lnTo>
                    <a:pt x="153" y="273"/>
                  </a:lnTo>
                  <a:lnTo>
                    <a:pt x="150" y="273"/>
                  </a:lnTo>
                  <a:lnTo>
                    <a:pt x="147" y="270"/>
                  </a:lnTo>
                  <a:lnTo>
                    <a:pt x="145" y="269"/>
                  </a:lnTo>
                  <a:lnTo>
                    <a:pt x="145" y="267"/>
                  </a:lnTo>
                  <a:lnTo>
                    <a:pt x="142" y="266"/>
                  </a:lnTo>
                  <a:lnTo>
                    <a:pt x="141" y="264"/>
                  </a:lnTo>
                  <a:lnTo>
                    <a:pt x="138" y="264"/>
                  </a:lnTo>
                  <a:lnTo>
                    <a:pt x="138" y="263"/>
                  </a:lnTo>
                  <a:lnTo>
                    <a:pt x="140" y="261"/>
                  </a:lnTo>
                  <a:lnTo>
                    <a:pt x="138" y="260"/>
                  </a:lnTo>
                  <a:lnTo>
                    <a:pt x="138" y="258"/>
                  </a:lnTo>
                  <a:lnTo>
                    <a:pt x="52" y="200"/>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89" name="Freeform 288"/>
            <p:cNvSpPr>
              <a:spLocks/>
            </p:cNvSpPr>
            <p:nvPr/>
          </p:nvSpPr>
          <p:spPr bwMode="auto">
            <a:xfrm>
              <a:off x="6327886" y="2452164"/>
              <a:ext cx="87780" cy="60848"/>
            </a:xfrm>
            <a:custGeom>
              <a:avLst/>
              <a:gdLst/>
              <a:ahLst/>
              <a:cxnLst>
                <a:cxn ang="0">
                  <a:pos x="16" y="10"/>
                </a:cxn>
                <a:cxn ang="0">
                  <a:pos x="25" y="17"/>
                </a:cxn>
                <a:cxn ang="0">
                  <a:pos x="35" y="17"/>
                </a:cxn>
                <a:cxn ang="0">
                  <a:pos x="39" y="12"/>
                </a:cxn>
                <a:cxn ang="0">
                  <a:pos x="51" y="7"/>
                </a:cxn>
                <a:cxn ang="0">
                  <a:pos x="55" y="9"/>
                </a:cxn>
                <a:cxn ang="0">
                  <a:pos x="61" y="6"/>
                </a:cxn>
                <a:cxn ang="0">
                  <a:pos x="63" y="3"/>
                </a:cxn>
                <a:cxn ang="0">
                  <a:pos x="67" y="1"/>
                </a:cxn>
                <a:cxn ang="0">
                  <a:pos x="71" y="1"/>
                </a:cxn>
                <a:cxn ang="0">
                  <a:pos x="74" y="0"/>
                </a:cxn>
                <a:cxn ang="0">
                  <a:pos x="79" y="1"/>
                </a:cxn>
                <a:cxn ang="0">
                  <a:pos x="83" y="4"/>
                </a:cxn>
                <a:cxn ang="0">
                  <a:pos x="86" y="4"/>
                </a:cxn>
                <a:cxn ang="0">
                  <a:pos x="96" y="10"/>
                </a:cxn>
                <a:cxn ang="0">
                  <a:pos x="96" y="13"/>
                </a:cxn>
                <a:cxn ang="0">
                  <a:pos x="93" y="16"/>
                </a:cxn>
                <a:cxn ang="0">
                  <a:pos x="92" y="16"/>
                </a:cxn>
                <a:cxn ang="0">
                  <a:pos x="87" y="19"/>
                </a:cxn>
                <a:cxn ang="0">
                  <a:pos x="86" y="20"/>
                </a:cxn>
                <a:cxn ang="0">
                  <a:pos x="84" y="23"/>
                </a:cxn>
                <a:cxn ang="0">
                  <a:pos x="83" y="26"/>
                </a:cxn>
                <a:cxn ang="0">
                  <a:pos x="83" y="29"/>
                </a:cxn>
                <a:cxn ang="0">
                  <a:pos x="73" y="47"/>
                </a:cxn>
                <a:cxn ang="0">
                  <a:pos x="60" y="51"/>
                </a:cxn>
                <a:cxn ang="0">
                  <a:pos x="60" y="51"/>
                </a:cxn>
                <a:cxn ang="0">
                  <a:pos x="58" y="49"/>
                </a:cxn>
                <a:cxn ang="0">
                  <a:pos x="55" y="51"/>
                </a:cxn>
                <a:cxn ang="0">
                  <a:pos x="52" y="51"/>
                </a:cxn>
                <a:cxn ang="0">
                  <a:pos x="48" y="54"/>
                </a:cxn>
                <a:cxn ang="0">
                  <a:pos x="44" y="54"/>
                </a:cxn>
                <a:cxn ang="0">
                  <a:pos x="42" y="55"/>
                </a:cxn>
                <a:cxn ang="0">
                  <a:pos x="38" y="55"/>
                </a:cxn>
                <a:cxn ang="0">
                  <a:pos x="35" y="57"/>
                </a:cxn>
                <a:cxn ang="0">
                  <a:pos x="28" y="58"/>
                </a:cxn>
                <a:cxn ang="0">
                  <a:pos x="23" y="57"/>
                </a:cxn>
                <a:cxn ang="0">
                  <a:pos x="20" y="55"/>
                </a:cxn>
                <a:cxn ang="0">
                  <a:pos x="18" y="51"/>
                </a:cxn>
                <a:cxn ang="0">
                  <a:pos x="15" y="49"/>
                </a:cxn>
                <a:cxn ang="0">
                  <a:pos x="12" y="45"/>
                </a:cxn>
                <a:cxn ang="0">
                  <a:pos x="9" y="44"/>
                </a:cxn>
                <a:cxn ang="0">
                  <a:pos x="4" y="36"/>
                </a:cxn>
                <a:cxn ang="0">
                  <a:pos x="3" y="36"/>
                </a:cxn>
                <a:cxn ang="0">
                  <a:pos x="0" y="36"/>
                </a:cxn>
                <a:cxn ang="0">
                  <a:pos x="3" y="33"/>
                </a:cxn>
                <a:cxn ang="0">
                  <a:pos x="6" y="32"/>
                </a:cxn>
                <a:cxn ang="0">
                  <a:pos x="6" y="28"/>
                </a:cxn>
                <a:cxn ang="0">
                  <a:pos x="9" y="22"/>
                </a:cxn>
                <a:cxn ang="0">
                  <a:pos x="6" y="20"/>
                </a:cxn>
                <a:cxn ang="0">
                  <a:pos x="7" y="17"/>
                </a:cxn>
                <a:cxn ang="0">
                  <a:pos x="15" y="17"/>
                </a:cxn>
                <a:cxn ang="0">
                  <a:pos x="16" y="16"/>
                </a:cxn>
                <a:cxn ang="0">
                  <a:pos x="16" y="10"/>
                </a:cxn>
              </a:cxnLst>
              <a:rect l="0" t="0" r="r" b="b"/>
              <a:pathLst>
                <a:path w="96" h="58">
                  <a:moveTo>
                    <a:pt x="16" y="10"/>
                  </a:moveTo>
                  <a:lnTo>
                    <a:pt x="25" y="17"/>
                  </a:lnTo>
                  <a:lnTo>
                    <a:pt x="35" y="17"/>
                  </a:lnTo>
                  <a:lnTo>
                    <a:pt x="39" y="12"/>
                  </a:lnTo>
                  <a:lnTo>
                    <a:pt x="51" y="7"/>
                  </a:lnTo>
                  <a:lnTo>
                    <a:pt x="55" y="9"/>
                  </a:lnTo>
                  <a:lnTo>
                    <a:pt x="61" y="6"/>
                  </a:lnTo>
                  <a:lnTo>
                    <a:pt x="63" y="3"/>
                  </a:lnTo>
                  <a:lnTo>
                    <a:pt x="67" y="1"/>
                  </a:lnTo>
                  <a:lnTo>
                    <a:pt x="71" y="1"/>
                  </a:lnTo>
                  <a:lnTo>
                    <a:pt x="74" y="0"/>
                  </a:lnTo>
                  <a:lnTo>
                    <a:pt x="79" y="1"/>
                  </a:lnTo>
                  <a:lnTo>
                    <a:pt x="83" y="4"/>
                  </a:lnTo>
                  <a:lnTo>
                    <a:pt x="86" y="4"/>
                  </a:lnTo>
                  <a:lnTo>
                    <a:pt x="96" y="10"/>
                  </a:lnTo>
                  <a:lnTo>
                    <a:pt x="96" y="13"/>
                  </a:lnTo>
                  <a:lnTo>
                    <a:pt x="93" y="16"/>
                  </a:lnTo>
                  <a:lnTo>
                    <a:pt x="92" y="16"/>
                  </a:lnTo>
                  <a:lnTo>
                    <a:pt x="87" y="19"/>
                  </a:lnTo>
                  <a:lnTo>
                    <a:pt x="86" y="20"/>
                  </a:lnTo>
                  <a:lnTo>
                    <a:pt x="84" y="23"/>
                  </a:lnTo>
                  <a:lnTo>
                    <a:pt x="83" y="26"/>
                  </a:lnTo>
                  <a:lnTo>
                    <a:pt x="83" y="29"/>
                  </a:lnTo>
                  <a:lnTo>
                    <a:pt x="73" y="47"/>
                  </a:lnTo>
                  <a:lnTo>
                    <a:pt x="60" y="51"/>
                  </a:lnTo>
                  <a:lnTo>
                    <a:pt x="60" y="51"/>
                  </a:lnTo>
                  <a:lnTo>
                    <a:pt x="58" y="49"/>
                  </a:lnTo>
                  <a:lnTo>
                    <a:pt x="55" y="51"/>
                  </a:lnTo>
                  <a:lnTo>
                    <a:pt x="52" y="51"/>
                  </a:lnTo>
                  <a:lnTo>
                    <a:pt x="48" y="54"/>
                  </a:lnTo>
                  <a:lnTo>
                    <a:pt x="44" y="54"/>
                  </a:lnTo>
                  <a:lnTo>
                    <a:pt x="42" y="55"/>
                  </a:lnTo>
                  <a:lnTo>
                    <a:pt x="38" y="55"/>
                  </a:lnTo>
                  <a:lnTo>
                    <a:pt x="35" y="57"/>
                  </a:lnTo>
                  <a:lnTo>
                    <a:pt x="28" y="58"/>
                  </a:lnTo>
                  <a:lnTo>
                    <a:pt x="23" y="57"/>
                  </a:lnTo>
                  <a:lnTo>
                    <a:pt x="20" y="55"/>
                  </a:lnTo>
                  <a:lnTo>
                    <a:pt x="18" y="51"/>
                  </a:lnTo>
                  <a:lnTo>
                    <a:pt x="15" y="49"/>
                  </a:lnTo>
                  <a:lnTo>
                    <a:pt x="12" y="45"/>
                  </a:lnTo>
                  <a:lnTo>
                    <a:pt x="9" y="44"/>
                  </a:lnTo>
                  <a:lnTo>
                    <a:pt x="4" y="36"/>
                  </a:lnTo>
                  <a:lnTo>
                    <a:pt x="3" y="36"/>
                  </a:lnTo>
                  <a:lnTo>
                    <a:pt x="0" y="36"/>
                  </a:lnTo>
                  <a:lnTo>
                    <a:pt x="3" y="33"/>
                  </a:lnTo>
                  <a:lnTo>
                    <a:pt x="6" y="32"/>
                  </a:lnTo>
                  <a:lnTo>
                    <a:pt x="6" y="28"/>
                  </a:lnTo>
                  <a:lnTo>
                    <a:pt x="9" y="22"/>
                  </a:lnTo>
                  <a:lnTo>
                    <a:pt x="6" y="20"/>
                  </a:lnTo>
                  <a:lnTo>
                    <a:pt x="7" y="17"/>
                  </a:lnTo>
                  <a:lnTo>
                    <a:pt x="15" y="17"/>
                  </a:lnTo>
                  <a:lnTo>
                    <a:pt x="16" y="16"/>
                  </a:lnTo>
                  <a:lnTo>
                    <a:pt x="16" y="1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90" name="Freeform 289"/>
            <p:cNvSpPr>
              <a:spLocks/>
            </p:cNvSpPr>
            <p:nvPr/>
          </p:nvSpPr>
          <p:spPr bwMode="auto">
            <a:xfrm>
              <a:off x="6327886" y="2452164"/>
              <a:ext cx="87780" cy="60848"/>
            </a:xfrm>
            <a:custGeom>
              <a:avLst/>
              <a:gdLst/>
              <a:ahLst/>
              <a:cxnLst>
                <a:cxn ang="0">
                  <a:pos x="16" y="10"/>
                </a:cxn>
                <a:cxn ang="0">
                  <a:pos x="25" y="17"/>
                </a:cxn>
                <a:cxn ang="0">
                  <a:pos x="35" y="17"/>
                </a:cxn>
                <a:cxn ang="0">
                  <a:pos x="39" y="12"/>
                </a:cxn>
                <a:cxn ang="0">
                  <a:pos x="51" y="7"/>
                </a:cxn>
                <a:cxn ang="0">
                  <a:pos x="55" y="9"/>
                </a:cxn>
                <a:cxn ang="0">
                  <a:pos x="61" y="6"/>
                </a:cxn>
                <a:cxn ang="0">
                  <a:pos x="63" y="3"/>
                </a:cxn>
                <a:cxn ang="0">
                  <a:pos x="67" y="1"/>
                </a:cxn>
                <a:cxn ang="0">
                  <a:pos x="71" y="1"/>
                </a:cxn>
                <a:cxn ang="0">
                  <a:pos x="74" y="0"/>
                </a:cxn>
                <a:cxn ang="0">
                  <a:pos x="79" y="1"/>
                </a:cxn>
                <a:cxn ang="0">
                  <a:pos x="83" y="4"/>
                </a:cxn>
                <a:cxn ang="0">
                  <a:pos x="86" y="4"/>
                </a:cxn>
                <a:cxn ang="0">
                  <a:pos x="96" y="10"/>
                </a:cxn>
                <a:cxn ang="0">
                  <a:pos x="96" y="13"/>
                </a:cxn>
                <a:cxn ang="0">
                  <a:pos x="93" y="16"/>
                </a:cxn>
                <a:cxn ang="0">
                  <a:pos x="92" y="16"/>
                </a:cxn>
                <a:cxn ang="0">
                  <a:pos x="87" y="19"/>
                </a:cxn>
                <a:cxn ang="0">
                  <a:pos x="86" y="20"/>
                </a:cxn>
                <a:cxn ang="0">
                  <a:pos x="84" y="23"/>
                </a:cxn>
                <a:cxn ang="0">
                  <a:pos x="83" y="26"/>
                </a:cxn>
                <a:cxn ang="0">
                  <a:pos x="83" y="29"/>
                </a:cxn>
                <a:cxn ang="0">
                  <a:pos x="73" y="47"/>
                </a:cxn>
                <a:cxn ang="0">
                  <a:pos x="60" y="51"/>
                </a:cxn>
                <a:cxn ang="0">
                  <a:pos x="60" y="51"/>
                </a:cxn>
                <a:cxn ang="0">
                  <a:pos x="58" y="49"/>
                </a:cxn>
                <a:cxn ang="0">
                  <a:pos x="55" y="51"/>
                </a:cxn>
                <a:cxn ang="0">
                  <a:pos x="52" y="51"/>
                </a:cxn>
                <a:cxn ang="0">
                  <a:pos x="48" y="54"/>
                </a:cxn>
                <a:cxn ang="0">
                  <a:pos x="44" y="54"/>
                </a:cxn>
                <a:cxn ang="0">
                  <a:pos x="42" y="55"/>
                </a:cxn>
                <a:cxn ang="0">
                  <a:pos x="38" y="55"/>
                </a:cxn>
                <a:cxn ang="0">
                  <a:pos x="35" y="57"/>
                </a:cxn>
                <a:cxn ang="0">
                  <a:pos x="28" y="58"/>
                </a:cxn>
                <a:cxn ang="0">
                  <a:pos x="23" y="57"/>
                </a:cxn>
                <a:cxn ang="0">
                  <a:pos x="20" y="55"/>
                </a:cxn>
                <a:cxn ang="0">
                  <a:pos x="18" y="51"/>
                </a:cxn>
                <a:cxn ang="0">
                  <a:pos x="15" y="49"/>
                </a:cxn>
                <a:cxn ang="0">
                  <a:pos x="12" y="45"/>
                </a:cxn>
                <a:cxn ang="0">
                  <a:pos x="9" y="44"/>
                </a:cxn>
                <a:cxn ang="0">
                  <a:pos x="4" y="36"/>
                </a:cxn>
                <a:cxn ang="0">
                  <a:pos x="3" y="36"/>
                </a:cxn>
                <a:cxn ang="0">
                  <a:pos x="0" y="36"/>
                </a:cxn>
                <a:cxn ang="0">
                  <a:pos x="3" y="33"/>
                </a:cxn>
                <a:cxn ang="0">
                  <a:pos x="6" y="32"/>
                </a:cxn>
                <a:cxn ang="0">
                  <a:pos x="6" y="28"/>
                </a:cxn>
                <a:cxn ang="0">
                  <a:pos x="9" y="22"/>
                </a:cxn>
                <a:cxn ang="0">
                  <a:pos x="6" y="20"/>
                </a:cxn>
                <a:cxn ang="0">
                  <a:pos x="7" y="17"/>
                </a:cxn>
                <a:cxn ang="0">
                  <a:pos x="15" y="17"/>
                </a:cxn>
                <a:cxn ang="0">
                  <a:pos x="16" y="16"/>
                </a:cxn>
                <a:cxn ang="0">
                  <a:pos x="16" y="10"/>
                </a:cxn>
              </a:cxnLst>
              <a:rect l="0" t="0" r="r" b="b"/>
              <a:pathLst>
                <a:path w="96" h="58">
                  <a:moveTo>
                    <a:pt x="16" y="10"/>
                  </a:moveTo>
                  <a:lnTo>
                    <a:pt x="25" y="17"/>
                  </a:lnTo>
                  <a:lnTo>
                    <a:pt x="35" y="17"/>
                  </a:lnTo>
                  <a:lnTo>
                    <a:pt x="39" y="12"/>
                  </a:lnTo>
                  <a:lnTo>
                    <a:pt x="51" y="7"/>
                  </a:lnTo>
                  <a:lnTo>
                    <a:pt x="55" y="9"/>
                  </a:lnTo>
                  <a:lnTo>
                    <a:pt x="61" y="6"/>
                  </a:lnTo>
                  <a:lnTo>
                    <a:pt x="63" y="3"/>
                  </a:lnTo>
                  <a:lnTo>
                    <a:pt x="67" y="1"/>
                  </a:lnTo>
                  <a:lnTo>
                    <a:pt x="71" y="1"/>
                  </a:lnTo>
                  <a:lnTo>
                    <a:pt x="74" y="0"/>
                  </a:lnTo>
                  <a:lnTo>
                    <a:pt x="79" y="1"/>
                  </a:lnTo>
                  <a:lnTo>
                    <a:pt x="83" y="4"/>
                  </a:lnTo>
                  <a:lnTo>
                    <a:pt x="86" y="4"/>
                  </a:lnTo>
                  <a:lnTo>
                    <a:pt x="96" y="10"/>
                  </a:lnTo>
                  <a:lnTo>
                    <a:pt x="96" y="13"/>
                  </a:lnTo>
                  <a:lnTo>
                    <a:pt x="93" y="16"/>
                  </a:lnTo>
                  <a:lnTo>
                    <a:pt x="92" y="16"/>
                  </a:lnTo>
                  <a:lnTo>
                    <a:pt x="87" y="19"/>
                  </a:lnTo>
                  <a:lnTo>
                    <a:pt x="86" y="20"/>
                  </a:lnTo>
                  <a:lnTo>
                    <a:pt x="84" y="23"/>
                  </a:lnTo>
                  <a:lnTo>
                    <a:pt x="83" y="26"/>
                  </a:lnTo>
                  <a:lnTo>
                    <a:pt x="83" y="29"/>
                  </a:lnTo>
                  <a:lnTo>
                    <a:pt x="73" y="47"/>
                  </a:lnTo>
                  <a:lnTo>
                    <a:pt x="60" y="51"/>
                  </a:lnTo>
                  <a:lnTo>
                    <a:pt x="60" y="51"/>
                  </a:lnTo>
                  <a:lnTo>
                    <a:pt x="58" y="49"/>
                  </a:lnTo>
                  <a:lnTo>
                    <a:pt x="55" y="51"/>
                  </a:lnTo>
                  <a:lnTo>
                    <a:pt x="52" y="51"/>
                  </a:lnTo>
                  <a:lnTo>
                    <a:pt x="48" y="54"/>
                  </a:lnTo>
                  <a:lnTo>
                    <a:pt x="44" y="54"/>
                  </a:lnTo>
                  <a:lnTo>
                    <a:pt x="42" y="55"/>
                  </a:lnTo>
                  <a:lnTo>
                    <a:pt x="38" y="55"/>
                  </a:lnTo>
                  <a:lnTo>
                    <a:pt x="35" y="57"/>
                  </a:lnTo>
                  <a:lnTo>
                    <a:pt x="28" y="58"/>
                  </a:lnTo>
                  <a:lnTo>
                    <a:pt x="23" y="57"/>
                  </a:lnTo>
                  <a:lnTo>
                    <a:pt x="20" y="55"/>
                  </a:lnTo>
                  <a:lnTo>
                    <a:pt x="18" y="51"/>
                  </a:lnTo>
                  <a:lnTo>
                    <a:pt x="15" y="49"/>
                  </a:lnTo>
                  <a:lnTo>
                    <a:pt x="12" y="45"/>
                  </a:lnTo>
                  <a:lnTo>
                    <a:pt x="9" y="44"/>
                  </a:lnTo>
                  <a:lnTo>
                    <a:pt x="4" y="36"/>
                  </a:lnTo>
                  <a:lnTo>
                    <a:pt x="3" y="36"/>
                  </a:lnTo>
                  <a:lnTo>
                    <a:pt x="0" y="36"/>
                  </a:lnTo>
                  <a:lnTo>
                    <a:pt x="3" y="33"/>
                  </a:lnTo>
                  <a:lnTo>
                    <a:pt x="6" y="32"/>
                  </a:lnTo>
                  <a:lnTo>
                    <a:pt x="6" y="28"/>
                  </a:lnTo>
                  <a:lnTo>
                    <a:pt x="9" y="22"/>
                  </a:lnTo>
                  <a:lnTo>
                    <a:pt x="6" y="20"/>
                  </a:lnTo>
                  <a:lnTo>
                    <a:pt x="7" y="17"/>
                  </a:lnTo>
                  <a:lnTo>
                    <a:pt x="15" y="17"/>
                  </a:lnTo>
                  <a:lnTo>
                    <a:pt x="16" y="16"/>
                  </a:lnTo>
                  <a:lnTo>
                    <a:pt x="16" y="1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91" name="Freeform 290"/>
            <p:cNvSpPr>
              <a:spLocks/>
            </p:cNvSpPr>
            <p:nvPr/>
          </p:nvSpPr>
          <p:spPr bwMode="auto">
            <a:xfrm>
              <a:off x="5799450" y="1944084"/>
              <a:ext cx="142204" cy="111555"/>
            </a:xfrm>
            <a:custGeom>
              <a:avLst/>
              <a:gdLst/>
              <a:ahLst/>
              <a:cxnLst>
                <a:cxn ang="0">
                  <a:pos x="56" y="97"/>
                </a:cxn>
                <a:cxn ang="0">
                  <a:pos x="30" y="91"/>
                </a:cxn>
                <a:cxn ang="0">
                  <a:pos x="29" y="87"/>
                </a:cxn>
                <a:cxn ang="0">
                  <a:pos x="36" y="74"/>
                </a:cxn>
                <a:cxn ang="0">
                  <a:pos x="35" y="71"/>
                </a:cxn>
                <a:cxn ang="0">
                  <a:pos x="27" y="59"/>
                </a:cxn>
                <a:cxn ang="0">
                  <a:pos x="11" y="62"/>
                </a:cxn>
                <a:cxn ang="0">
                  <a:pos x="19" y="55"/>
                </a:cxn>
                <a:cxn ang="0">
                  <a:pos x="30" y="52"/>
                </a:cxn>
                <a:cxn ang="0">
                  <a:pos x="33" y="49"/>
                </a:cxn>
                <a:cxn ang="0">
                  <a:pos x="37" y="39"/>
                </a:cxn>
                <a:cxn ang="0">
                  <a:pos x="32" y="36"/>
                </a:cxn>
                <a:cxn ang="0">
                  <a:pos x="20" y="33"/>
                </a:cxn>
                <a:cxn ang="0">
                  <a:pos x="6" y="36"/>
                </a:cxn>
                <a:cxn ang="0">
                  <a:pos x="10" y="35"/>
                </a:cxn>
                <a:cxn ang="0">
                  <a:pos x="4" y="26"/>
                </a:cxn>
                <a:cxn ang="0">
                  <a:pos x="17" y="29"/>
                </a:cxn>
                <a:cxn ang="0">
                  <a:pos x="13" y="23"/>
                </a:cxn>
                <a:cxn ang="0">
                  <a:pos x="11" y="16"/>
                </a:cxn>
                <a:cxn ang="0">
                  <a:pos x="20" y="20"/>
                </a:cxn>
                <a:cxn ang="0">
                  <a:pos x="26" y="24"/>
                </a:cxn>
                <a:cxn ang="0">
                  <a:pos x="29" y="16"/>
                </a:cxn>
                <a:cxn ang="0">
                  <a:pos x="29" y="10"/>
                </a:cxn>
                <a:cxn ang="0">
                  <a:pos x="19" y="7"/>
                </a:cxn>
                <a:cxn ang="0">
                  <a:pos x="21" y="3"/>
                </a:cxn>
                <a:cxn ang="0">
                  <a:pos x="32" y="8"/>
                </a:cxn>
                <a:cxn ang="0">
                  <a:pos x="42" y="20"/>
                </a:cxn>
                <a:cxn ang="0">
                  <a:pos x="42" y="30"/>
                </a:cxn>
                <a:cxn ang="0">
                  <a:pos x="45" y="33"/>
                </a:cxn>
                <a:cxn ang="0">
                  <a:pos x="48" y="42"/>
                </a:cxn>
                <a:cxn ang="0">
                  <a:pos x="55" y="32"/>
                </a:cxn>
                <a:cxn ang="0">
                  <a:pos x="59" y="16"/>
                </a:cxn>
                <a:cxn ang="0">
                  <a:pos x="72" y="27"/>
                </a:cxn>
                <a:cxn ang="0">
                  <a:pos x="78" y="14"/>
                </a:cxn>
                <a:cxn ang="0">
                  <a:pos x="85" y="17"/>
                </a:cxn>
                <a:cxn ang="0">
                  <a:pos x="88" y="16"/>
                </a:cxn>
                <a:cxn ang="0">
                  <a:pos x="97" y="19"/>
                </a:cxn>
                <a:cxn ang="0">
                  <a:pos x="106" y="13"/>
                </a:cxn>
                <a:cxn ang="0">
                  <a:pos x="113" y="4"/>
                </a:cxn>
                <a:cxn ang="0">
                  <a:pos x="120" y="4"/>
                </a:cxn>
                <a:cxn ang="0">
                  <a:pos x="129" y="13"/>
                </a:cxn>
                <a:cxn ang="0">
                  <a:pos x="136" y="6"/>
                </a:cxn>
                <a:cxn ang="0">
                  <a:pos x="133" y="19"/>
                </a:cxn>
                <a:cxn ang="0">
                  <a:pos x="138" y="29"/>
                </a:cxn>
                <a:cxn ang="0">
                  <a:pos x="149" y="30"/>
                </a:cxn>
                <a:cxn ang="0">
                  <a:pos x="154" y="48"/>
                </a:cxn>
                <a:cxn ang="0">
                  <a:pos x="152" y="54"/>
                </a:cxn>
                <a:cxn ang="0">
                  <a:pos x="145" y="64"/>
                </a:cxn>
                <a:cxn ang="0">
                  <a:pos x="146" y="65"/>
                </a:cxn>
                <a:cxn ang="0">
                  <a:pos x="133" y="74"/>
                </a:cxn>
                <a:cxn ang="0">
                  <a:pos x="109" y="90"/>
                </a:cxn>
                <a:cxn ang="0">
                  <a:pos x="103" y="94"/>
                </a:cxn>
                <a:cxn ang="0">
                  <a:pos x="80" y="106"/>
                </a:cxn>
                <a:cxn ang="0">
                  <a:pos x="64" y="101"/>
                </a:cxn>
              </a:cxnLst>
              <a:rect l="0" t="0" r="r" b="b"/>
              <a:pathLst>
                <a:path w="155" h="107">
                  <a:moveTo>
                    <a:pt x="64" y="101"/>
                  </a:moveTo>
                  <a:lnTo>
                    <a:pt x="64" y="101"/>
                  </a:lnTo>
                  <a:lnTo>
                    <a:pt x="62" y="100"/>
                  </a:lnTo>
                  <a:lnTo>
                    <a:pt x="59" y="100"/>
                  </a:lnTo>
                  <a:lnTo>
                    <a:pt x="56" y="97"/>
                  </a:lnTo>
                  <a:lnTo>
                    <a:pt x="46" y="91"/>
                  </a:lnTo>
                  <a:lnTo>
                    <a:pt x="43" y="93"/>
                  </a:lnTo>
                  <a:lnTo>
                    <a:pt x="39" y="91"/>
                  </a:lnTo>
                  <a:lnTo>
                    <a:pt x="37" y="91"/>
                  </a:lnTo>
                  <a:lnTo>
                    <a:pt x="30" y="91"/>
                  </a:lnTo>
                  <a:lnTo>
                    <a:pt x="27" y="93"/>
                  </a:lnTo>
                  <a:lnTo>
                    <a:pt x="26" y="93"/>
                  </a:lnTo>
                  <a:lnTo>
                    <a:pt x="26" y="88"/>
                  </a:lnTo>
                  <a:lnTo>
                    <a:pt x="24" y="84"/>
                  </a:lnTo>
                  <a:lnTo>
                    <a:pt x="29" y="87"/>
                  </a:lnTo>
                  <a:lnTo>
                    <a:pt x="30" y="86"/>
                  </a:lnTo>
                  <a:lnTo>
                    <a:pt x="37" y="81"/>
                  </a:lnTo>
                  <a:lnTo>
                    <a:pt x="37" y="75"/>
                  </a:lnTo>
                  <a:lnTo>
                    <a:pt x="33" y="77"/>
                  </a:lnTo>
                  <a:lnTo>
                    <a:pt x="36" y="74"/>
                  </a:lnTo>
                  <a:lnTo>
                    <a:pt x="36" y="72"/>
                  </a:lnTo>
                  <a:lnTo>
                    <a:pt x="36" y="71"/>
                  </a:lnTo>
                  <a:lnTo>
                    <a:pt x="39" y="68"/>
                  </a:lnTo>
                  <a:lnTo>
                    <a:pt x="36" y="68"/>
                  </a:lnTo>
                  <a:lnTo>
                    <a:pt x="35" y="71"/>
                  </a:lnTo>
                  <a:lnTo>
                    <a:pt x="33" y="70"/>
                  </a:lnTo>
                  <a:lnTo>
                    <a:pt x="32" y="68"/>
                  </a:lnTo>
                  <a:lnTo>
                    <a:pt x="30" y="68"/>
                  </a:lnTo>
                  <a:lnTo>
                    <a:pt x="29" y="59"/>
                  </a:lnTo>
                  <a:lnTo>
                    <a:pt x="27" y="59"/>
                  </a:lnTo>
                  <a:lnTo>
                    <a:pt x="24" y="61"/>
                  </a:lnTo>
                  <a:lnTo>
                    <a:pt x="23" y="59"/>
                  </a:lnTo>
                  <a:lnTo>
                    <a:pt x="20" y="59"/>
                  </a:lnTo>
                  <a:lnTo>
                    <a:pt x="14" y="59"/>
                  </a:lnTo>
                  <a:lnTo>
                    <a:pt x="11" y="62"/>
                  </a:lnTo>
                  <a:lnTo>
                    <a:pt x="8" y="62"/>
                  </a:lnTo>
                  <a:lnTo>
                    <a:pt x="7" y="61"/>
                  </a:lnTo>
                  <a:lnTo>
                    <a:pt x="8" y="58"/>
                  </a:lnTo>
                  <a:lnTo>
                    <a:pt x="16" y="56"/>
                  </a:lnTo>
                  <a:lnTo>
                    <a:pt x="19" y="55"/>
                  </a:lnTo>
                  <a:lnTo>
                    <a:pt x="21" y="55"/>
                  </a:lnTo>
                  <a:lnTo>
                    <a:pt x="24" y="52"/>
                  </a:lnTo>
                  <a:lnTo>
                    <a:pt x="26" y="54"/>
                  </a:lnTo>
                  <a:lnTo>
                    <a:pt x="27" y="52"/>
                  </a:lnTo>
                  <a:lnTo>
                    <a:pt x="30" y="52"/>
                  </a:lnTo>
                  <a:lnTo>
                    <a:pt x="36" y="54"/>
                  </a:lnTo>
                  <a:lnTo>
                    <a:pt x="39" y="46"/>
                  </a:lnTo>
                  <a:lnTo>
                    <a:pt x="37" y="48"/>
                  </a:lnTo>
                  <a:lnTo>
                    <a:pt x="36" y="51"/>
                  </a:lnTo>
                  <a:lnTo>
                    <a:pt x="33" y="49"/>
                  </a:lnTo>
                  <a:lnTo>
                    <a:pt x="27" y="48"/>
                  </a:lnTo>
                  <a:lnTo>
                    <a:pt x="27" y="46"/>
                  </a:lnTo>
                  <a:lnTo>
                    <a:pt x="30" y="43"/>
                  </a:lnTo>
                  <a:lnTo>
                    <a:pt x="32" y="43"/>
                  </a:lnTo>
                  <a:lnTo>
                    <a:pt x="37" y="39"/>
                  </a:lnTo>
                  <a:lnTo>
                    <a:pt x="37" y="38"/>
                  </a:lnTo>
                  <a:lnTo>
                    <a:pt x="35" y="36"/>
                  </a:lnTo>
                  <a:lnTo>
                    <a:pt x="33" y="38"/>
                  </a:lnTo>
                  <a:lnTo>
                    <a:pt x="32" y="38"/>
                  </a:lnTo>
                  <a:lnTo>
                    <a:pt x="32" y="36"/>
                  </a:lnTo>
                  <a:lnTo>
                    <a:pt x="30" y="35"/>
                  </a:lnTo>
                  <a:lnTo>
                    <a:pt x="30" y="36"/>
                  </a:lnTo>
                  <a:lnTo>
                    <a:pt x="29" y="33"/>
                  </a:lnTo>
                  <a:lnTo>
                    <a:pt x="23" y="33"/>
                  </a:lnTo>
                  <a:lnTo>
                    <a:pt x="20" y="33"/>
                  </a:lnTo>
                  <a:lnTo>
                    <a:pt x="19" y="36"/>
                  </a:lnTo>
                  <a:lnTo>
                    <a:pt x="16" y="36"/>
                  </a:lnTo>
                  <a:lnTo>
                    <a:pt x="11" y="39"/>
                  </a:lnTo>
                  <a:lnTo>
                    <a:pt x="10" y="39"/>
                  </a:lnTo>
                  <a:lnTo>
                    <a:pt x="6" y="36"/>
                  </a:lnTo>
                  <a:lnTo>
                    <a:pt x="0" y="38"/>
                  </a:lnTo>
                  <a:lnTo>
                    <a:pt x="1" y="32"/>
                  </a:lnTo>
                  <a:lnTo>
                    <a:pt x="3" y="33"/>
                  </a:lnTo>
                  <a:lnTo>
                    <a:pt x="8" y="36"/>
                  </a:lnTo>
                  <a:lnTo>
                    <a:pt x="10" y="35"/>
                  </a:lnTo>
                  <a:lnTo>
                    <a:pt x="7" y="33"/>
                  </a:lnTo>
                  <a:lnTo>
                    <a:pt x="8" y="33"/>
                  </a:lnTo>
                  <a:lnTo>
                    <a:pt x="8" y="30"/>
                  </a:lnTo>
                  <a:lnTo>
                    <a:pt x="6" y="29"/>
                  </a:lnTo>
                  <a:lnTo>
                    <a:pt x="4" y="26"/>
                  </a:lnTo>
                  <a:lnTo>
                    <a:pt x="10" y="29"/>
                  </a:lnTo>
                  <a:lnTo>
                    <a:pt x="13" y="32"/>
                  </a:lnTo>
                  <a:lnTo>
                    <a:pt x="17" y="30"/>
                  </a:lnTo>
                  <a:lnTo>
                    <a:pt x="16" y="29"/>
                  </a:lnTo>
                  <a:lnTo>
                    <a:pt x="17" y="29"/>
                  </a:lnTo>
                  <a:lnTo>
                    <a:pt x="17" y="26"/>
                  </a:lnTo>
                  <a:lnTo>
                    <a:pt x="13" y="27"/>
                  </a:lnTo>
                  <a:lnTo>
                    <a:pt x="10" y="24"/>
                  </a:lnTo>
                  <a:lnTo>
                    <a:pt x="10" y="23"/>
                  </a:lnTo>
                  <a:lnTo>
                    <a:pt x="13" y="23"/>
                  </a:lnTo>
                  <a:lnTo>
                    <a:pt x="8" y="17"/>
                  </a:lnTo>
                  <a:lnTo>
                    <a:pt x="8" y="19"/>
                  </a:lnTo>
                  <a:lnTo>
                    <a:pt x="13" y="20"/>
                  </a:lnTo>
                  <a:lnTo>
                    <a:pt x="13" y="19"/>
                  </a:lnTo>
                  <a:lnTo>
                    <a:pt x="11" y="16"/>
                  </a:lnTo>
                  <a:lnTo>
                    <a:pt x="14" y="17"/>
                  </a:lnTo>
                  <a:lnTo>
                    <a:pt x="13" y="14"/>
                  </a:lnTo>
                  <a:lnTo>
                    <a:pt x="14" y="13"/>
                  </a:lnTo>
                  <a:lnTo>
                    <a:pt x="19" y="16"/>
                  </a:lnTo>
                  <a:lnTo>
                    <a:pt x="20" y="20"/>
                  </a:lnTo>
                  <a:lnTo>
                    <a:pt x="20" y="20"/>
                  </a:lnTo>
                  <a:lnTo>
                    <a:pt x="21" y="20"/>
                  </a:lnTo>
                  <a:lnTo>
                    <a:pt x="23" y="19"/>
                  </a:lnTo>
                  <a:lnTo>
                    <a:pt x="26" y="22"/>
                  </a:lnTo>
                  <a:lnTo>
                    <a:pt x="26" y="24"/>
                  </a:lnTo>
                  <a:lnTo>
                    <a:pt x="27" y="22"/>
                  </a:lnTo>
                  <a:lnTo>
                    <a:pt x="29" y="24"/>
                  </a:lnTo>
                  <a:lnTo>
                    <a:pt x="30" y="22"/>
                  </a:lnTo>
                  <a:lnTo>
                    <a:pt x="29" y="17"/>
                  </a:lnTo>
                  <a:lnTo>
                    <a:pt x="29" y="16"/>
                  </a:lnTo>
                  <a:lnTo>
                    <a:pt x="21" y="11"/>
                  </a:lnTo>
                  <a:lnTo>
                    <a:pt x="24" y="8"/>
                  </a:lnTo>
                  <a:lnTo>
                    <a:pt x="26" y="11"/>
                  </a:lnTo>
                  <a:lnTo>
                    <a:pt x="27" y="11"/>
                  </a:lnTo>
                  <a:lnTo>
                    <a:pt x="29" y="10"/>
                  </a:lnTo>
                  <a:lnTo>
                    <a:pt x="26" y="8"/>
                  </a:lnTo>
                  <a:lnTo>
                    <a:pt x="26" y="7"/>
                  </a:lnTo>
                  <a:lnTo>
                    <a:pt x="24" y="7"/>
                  </a:lnTo>
                  <a:lnTo>
                    <a:pt x="21" y="8"/>
                  </a:lnTo>
                  <a:lnTo>
                    <a:pt x="19" y="7"/>
                  </a:lnTo>
                  <a:lnTo>
                    <a:pt x="19" y="7"/>
                  </a:lnTo>
                  <a:lnTo>
                    <a:pt x="20" y="6"/>
                  </a:lnTo>
                  <a:lnTo>
                    <a:pt x="20" y="3"/>
                  </a:lnTo>
                  <a:lnTo>
                    <a:pt x="21" y="4"/>
                  </a:lnTo>
                  <a:lnTo>
                    <a:pt x="21" y="3"/>
                  </a:lnTo>
                  <a:lnTo>
                    <a:pt x="24" y="4"/>
                  </a:lnTo>
                  <a:lnTo>
                    <a:pt x="26" y="4"/>
                  </a:lnTo>
                  <a:lnTo>
                    <a:pt x="27" y="6"/>
                  </a:lnTo>
                  <a:lnTo>
                    <a:pt x="29" y="4"/>
                  </a:lnTo>
                  <a:lnTo>
                    <a:pt x="32" y="8"/>
                  </a:lnTo>
                  <a:lnTo>
                    <a:pt x="36" y="10"/>
                  </a:lnTo>
                  <a:lnTo>
                    <a:pt x="39" y="16"/>
                  </a:lnTo>
                  <a:lnTo>
                    <a:pt x="42" y="17"/>
                  </a:lnTo>
                  <a:lnTo>
                    <a:pt x="45" y="19"/>
                  </a:lnTo>
                  <a:lnTo>
                    <a:pt x="42" y="20"/>
                  </a:lnTo>
                  <a:lnTo>
                    <a:pt x="45" y="23"/>
                  </a:lnTo>
                  <a:lnTo>
                    <a:pt x="45" y="26"/>
                  </a:lnTo>
                  <a:lnTo>
                    <a:pt x="43" y="27"/>
                  </a:lnTo>
                  <a:lnTo>
                    <a:pt x="43" y="29"/>
                  </a:lnTo>
                  <a:lnTo>
                    <a:pt x="42" y="30"/>
                  </a:lnTo>
                  <a:lnTo>
                    <a:pt x="39" y="29"/>
                  </a:lnTo>
                  <a:lnTo>
                    <a:pt x="40" y="32"/>
                  </a:lnTo>
                  <a:lnTo>
                    <a:pt x="43" y="33"/>
                  </a:lnTo>
                  <a:lnTo>
                    <a:pt x="43" y="35"/>
                  </a:lnTo>
                  <a:lnTo>
                    <a:pt x="45" y="33"/>
                  </a:lnTo>
                  <a:lnTo>
                    <a:pt x="45" y="38"/>
                  </a:lnTo>
                  <a:lnTo>
                    <a:pt x="43" y="39"/>
                  </a:lnTo>
                  <a:lnTo>
                    <a:pt x="46" y="39"/>
                  </a:lnTo>
                  <a:lnTo>
                    <a:pt x="46" y="46"/>
                  </a:lnTo>
                  <a:lnTo>
                    <a:pt x="48" y="42"/>
                  </a:lnTo>
                  <a:lnTo>
                    <a:pt x="49" y="40"/>
                  </a:lnTo>
                  <a:lnTo>
                    <a:pt x="52" y="39"/>
                  </a:lnTo>
                  <a:lnTo>
                    <a:pt x="52" y="33"/>
                  </a:lnTo>
                  <a:lnTo>
                    <a:pt x="53" y="30"/>
                  </a:lnTo>
                  <a:lnTo>
                    <a:pt x="55" y="32"/>
                  </a:lnTo>
                  <a:lnTo>
                    <a:pt x="56" y="36"/>
                  </a:lnTo>
                  <a:lnTo>
                    <a:pt x="59" y="33"/>
                  </a:lnTo>
                  <a:lnTo>
                    <a:pt x="59" y="26"/>
                  </a:lnTo>
                  <a:lnTo>
                    <a:pt x="58" y="16"/>
                  </a:lnTo>
                  <a:lnTo>
                    <a:pt x="59" y="16"/>
                  </a:lnTo>
                  <a:lnTo>
                    <a:pt x="62" y="16"/>
                  </a:lnTo>
                  <a:lnTo>
                    <a:pt x="68" y="26"/>
                  </a:lnTo>
                  <a:lnTo>
                    <a:pt x="69" y="29"/>
                  </a:lnTo>
                  <a:lnTo>
                    <a:pt x="71" y="29"/>
                  </a:lnTo>
                  <a:lnTo>
                    <a:pt x="72" y="27"/>
                  </a:lnTo>
                  <a:lnTo>
                    <a:pt x="72" y="20"/>
                  </a:lnTo>
                  <a:lnTo>
                    <a:pt x="72" y="17"/>
                  </a:lnTo>
                  <a:lnTo>
                    <a:pt x="75" y="17"/>
                  </a:lnTo>
                  <a:lnTo>
                    <a:pt x="77" y="17"/>
                  </a:lnTo>
                  <a:lnTo>
                    <a:pt x="78" y="14"/>
                  </a:lnTo>
                  <a:lnTo>
                    <a:pt x="82" y="13"/>
                  </a:lnTo>
                  <a:lnTo>
                    <a:pt x="82" y="14"/>
                  </a:lnTo>
                  <a:lnTo>
                    <a:pt x="82" y="14"/>
                  </a:lnTo>
                  <a:lnTo>
                    <a:pt x="82" y="17"/>
                  </a:lnTo>
                  <a:lnTo>
                    <a:pt x="85" y="17"/>
                  </a:lnTo>
                  <a:lnTo>
                    <a:pt x="85" y="20"/>
                  </a:lnTo>
                  <a:lnTo>
                    <a:pt x="88" y="23"/>
                  </a:lnTo>
                  <a:lnTo>
                    <a:pt x="91" y="32"/>
                  </a:lnTo>
                  <a:lnTo>
                    <a:pt x="91" y="24"/>
                  </a:lnTo>
                  <a:lnTo>
                    <a:pt x="88" y="16"/>
                  </a:lnTo>
                  <a:lnTo>
                    <a:pt x="88" y="13"/>
                  </a:lnTo>
                  <a:lnTo>
                    <a:pt x="90" y="13"/>
                  </a:lnTo>
                  <a:lnTo>
                    <a:pt x="93" y="13"/>
                  </a:lnTo>
                  <a:lnTo>
                    <a:pt x="96" y="16"/>
                  </a:lnTo>
                  <a:lnTo>
                    <a:pt x="97" y="19"/>
                  </a:lnTo>
                  <a:lnTo>
                    <a:pt x="100" y="19"/>
                  </a:lnTo>
                  <a:lnTo>
                    <a:pt x="101" y="17"/>
                  </a:lnTo>
                  <a:lnTo>
                    <a:pt x="103" y="14"/>
                  </a:lnTo>
                  <a:lnTo>
                    <a:pt x="103" y="13"/>
                  </a:lnTo>
                  <a:lnTo>
                    <a:pt x="106" y="13"/>
                  </a:lnTo>
                  <a:lnTo>
                    <a:pt x="106" y="16"/>
                  </a:lnTo>
                  <a:lnTo>
                    <a:pt x="109" y="16"/>
                  </a:lnTo>
                  <a:lnTo>
                    <a:pt x="111" y="14"/>
                  </a:lnTo>
                  <a:lnTo>
                    <a:pt x="114" y="13"/>
                  </a:lnTo>
                  <a:lnTo>
                    <a:pt x="113" y="4"/>
                  </a:lnTo>
                  <a:lnTo>
                    <a:pt x="113" y="3"/>
                  </a:lnTo>
                  <a:lnTo>
                    <a:pt x="116" y="3"/>
                  </a:lnTo>
                  <a:lnTo>
                    <a:pt x="117" y="0"/>
                  </a:lnTo>
                  <a:lnTo>
                    <a:pt x="120" y="1"/>
                  </a:lnTo>
                  <a:lnTo>
                    <a:pt x="120" y="4"/>
                  </a:lnTo>
                  <a:lnTo>
                    <a:pt x="125" y="6"/>
                  </a:lnTo>
                  <a:lnTo>
                    <a:pt x="125" y="8"/>
                  </a:lnTo>
                  <a:lnTo>
                    <a:pt x="123" y="10"/>
                  </a:lnTo>
                  <a:lnTo>
                    <a:pt x="127" y="13"/>
                  </a:lnTo>
                  <a:lnTo>
                    <a:pt x="129" y="13"/>
                  </a:lnTo>
                  <a:lnTo>
                    <a:pt x="130" y="11"/>
                  </a:lnTo>
                  <a:lnTo>
                    <a:pt x="129" y="10"/>
                  </a:lnTo>
                  <a:lnTo>
                    <a:pt x="133" y="10"/>
                  </a:lnTo>
                  <a:lnTo>
                    <a:pt x="135" y="7"/>
                  </a:lnTo>
                  <a:lnTo>
                    <a:pt x="136" y="6"/>
                  </a:lnTo>
                  <a:lnTo>
                    <a:pt x="141" y="6"/>
                  </a:lnTo>
                  <a:lnTo>
                    <a:pt x="141" y="7"/>
                  </a:lnTo>
                  <a:lnTo>
                    <a:pt x="138" y="8"/>
                  </a:lnTo>
                  <a:lnTo>
                    <a:pt x="133" y="16"/>
                  </a:lnTo>
                  <a:lnTo>
                    <a:pt x="133" y="19"/>
                  </a:lnTo>
                  <a:lnTo>
                    <a:pt x="135" y="19"/>
                  </a:lnTo>
                  <a:lnTo>
                    <a:pt x="139" y="17"/>
                  </a:lnTo>
                  <a:lnTo>
                    <a:pt x="139" y="22"/>
                  </a:lnTo>
                  <a:lnTo>
                    <a:pt x="138" y="26"/>
                  </a:lnTo>
                  <a:lnTo>
                    <a:pt x="138" y="29"/>
                  </a:lnTo>
                  <a:lnTo>
                    <a:pt x="145" y="29"/>
                  </a:lnTo>
                  <a:lnTo>
                    <a:pt x="143" y="30"/>
                  </a:lnTo>
                  <a:lnTo>
                    <a:pt x="145" y="33"/>
                  </a:lnTo>
                  <a:lnTo>
                    <a:pt x="149" y="35"/>
                  </a:lnTo>
                  <a:lnTo>
                    <a:pt x="149" y="30"/>
                  </a:lnTo>
                  <a:lnTo>
                    <a:pt x="151" y="32"/>
                  </a:lnTo>
                  <a:lnTo>
                    <a:pt x="154" y="39"/>
                  </a:lnTo>
                  <a:lnTo>
                    <a:pt x="152" y="42"/>
                  </a:lnTo>
                  <a:lnTo>
                    <a:pt x="151" y="43"/>
                  </a:lnTo>
                  <a:lnTo>
                    <a:pt x="154" y="48"/>
                  </a:lnTo>
                  <a:lnTo>
                    <a:pt x="155" y="48"/>
                  </a:lnTo>
                  <a:lnTo>
                    <a:pt x="155" y="46"/>
                  </a:lnTo>
                  <a:lnTo>
                    <a:pt x="155" y="49"/>
                  </a:lnTo>
                  <a:lnTo>
                    <a:pt x="155" y="54"/>
                  </a:lnTo>
                  <a:lnTo>
                    <a:pt x="152" y="54"/>
                  </a:lnTo>
                  <a:lnTo>
                    <a:pt x="152" y="56"/>
                  </a:lnTo>
                  <a:lnTo>
                    <a:pt x="152" y="58"/>
                  </a:lnTo>
                  <a:lnTo>
                    <a:pt x="149" y="61"/>
                  </a:lnTo>
                  <a:lnTo>
                    <a:pt x="145" y="61"/>
                  </a:lnTo>
                  <a:lnTo>
                    <a:pt x="145" y="64"/>
                  </a:lnTo>
                  <a:lnTo>
                    <a:pt x="142" y="64"/>
                  </a:lnTo>
                  <a:lnTo>
                    <a:pt x="142" y="65"/>
                  </a:lnTo>
                  <a:lnTo>
                    <a:pt x="142" y="67"/>
                  </a:lnTo>
                  <a:lnTo>
                    <a:pt x="143" y="67"/>
                  </a:lnTo>
                  <a:lnTo>
                    <a:pt x="146" y="65"/>
                  </a:lnTo>
                  <a:lnTo>
                    <a:pt x="141" y="74"/>
                  </a:lnTo>
                  <a:lnTo>
                    <a:pt x="138" y="75"/>
                  </a:lnTo>
                  <a:lnTo>
                    <a:pt x="136" y="78"/>
                  </a:lnTo>
                  <a:lnTo>
                    <a:pt x="133" y="77"/>
                  </a:lnTo>
                  <a:lnTo>
                    <a:pt x="133" y="74"/>
                  </a:lnTo>
                  <a:lnTo>
                    <a:pt x="132" y="72"/>
                  </a:lnTo>
                  <a:lnTo>
                    <a:pt x="130" y="72"/>
                  </a:lnTo>
                  <a:lnTo>
                    <a:pt x="129" y="77"/>
                  </a:lnTo>
                  <a:lnTo>
                    <a:pt x="113" y="90"/>
                  </a:lnTo>
                  <a:lnTo>
                    <a:pt x="109" y="90"/>
                  </a:lnTo>
                  <a:lnTo>
                    <a:pt x="106" y="91"/>
                  </a:lnTo>
                  <a:lnTo>
                    <a:pt x="106" y="90"/>
                  </a:lnTo>
                  <a:lnTo>
                    <a:pt x="104" y="90"/>
                  </a:lnTo>
                  <a:lnTo>
                    <a:pt x="103" y="91"/>
                  </a:lnTo>
                  <a:lnTo>
                    <a:pt x="103" y="94"/>
                  </a:lnTo>
                  <a:lnTo>
                    <a:pt x="98" y="96"/>
                  </a:lnTo>
                  <a:lnTo>
                    <a:pt x="91" y="103"/>
                  </a:lnTo>
                  <a:lnTo>
                    <a:pt x="85" y="104"/>
                  </a:lnTo>
                  <a:lnTo>
                    <a:pt x="84" y="107"/>
                  </a:lnTo>
                  <a:lnTo>
                    <a:pt x="80" y="106"/>
                  </a:lnTo>
                  <a:lnTo>
                    <a:pt x="78" y="106"/>
                  </a:lnTo>
                  <a:lnTo>
                    <a:pt x="75" y="104"/>
                  </a:lnTo>
                  <a:lnTo>
                    <a:pt x="72" y="104"/>
                  </a:lnTo>
                  <a:lnTo>
                    <a:pt x="66" y="101"/>
                  </a:lnTo>
                  <a:lnTo>
                    <a:pt x="64" y="10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92" name="Freeform 291"/>
            <p:cNvSpPr>
              <a:spLocks/>
            </p:cNvSpPr>
            <p:nvPr/>
          </p:nvSpPr>
          <p:spPr bwMode="auto">
            <a:xfrm>
              <a:off x="6609660" y="4059564"/>
              <a:ext cx="3511" cy="3042"/>
            </a:xfrm>
            <a:custGeom>
              <a:avLst/>
              <a:gdLst/>
              <a:ahLst/>
              <a:cxnLst>
                <a:cxn ang="0">
                  <a:pos x="0" y="0"/>
                </a:cxn>
                <a:cxn ang="0">
                  <a:pos x="1" y="0"/>
                </a:cxn>
                <a:cxn ang="0">
                  <a:pos x="3" y="2"/>
                </a:cxn>
                <a:cxn ang="0">
                  <a:pos x="3" y="3"/>
                </a:cxn>
                <a:cxn ang="0">
                  <a:pos x="3" y="3"/>
                </a:cxn>
                <a:cxn ang="0">
                  <a:pos x="0" y="3"/>
                </a:cxn>
                <a:cxn ang="0">
                  <a:pos x="0" y="2"/>
                </a:cxn>
                <a:cxn ang="0">
                  <a:pos x="0" y="0"/>
                </a:cxn>
              </a:cxnLst>
              <a:rect l="0" t="0" r="r" b="b"/>
              <a:pathLst>
                <a:path w="3" h="3">
                  <a:moveTo>
                    <a:pt x="0" y="0"/>
                  </a:moveTo>
                  <a:lnTo>
                    <a:pt x="1" y="0"/>
                  </a:lnTo>
                  <a:lnTo>
                    <a:pt x="3" y="2"/>
                  </a:lnTo>
                  <a:lnTo>
                    <a:pt x="3" y="3"/>
                  </a:lnTo>
                  <a:lnTo>
                    <a:pt x="3" y="3"/>
                  </a:lnTo>
                  <a:lnTo>
                    <a:pt x="0" y="3"/>
                  </a:lnTo>
                  <a:lnTo>
                    <a:pt x="0" y="2"/>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93" name="Freeform 292"/>
            <p:cNvSpPr>
              <a:spLocks/>
            </p:cNvSpPr>
            <p:nvPr/>
          </p:nvSpPr>
          <p:spPr bwMode="auto">
            <a:xfrm>
              <a:off x="6609660" y="4059564"/>
              <a:ext cx="3511" cy="3042"/>
            </a:xfrm>
            <a:custGeom>
              <a:avLst/>
              <a:gdLst/>
              <a:ahLst/>
              <a:cxnLst>
                <a:cxn ang="0">
                  <a:pos x="0" y="0"/>
                </a:cxn>
                <a:cxn ang="0">
                  <a:pos x="1" y="0"/>
                </a:cxn>
                <a:cxn ang="0">
                  <a:pos x="3" y="2"/>
                </a:cxn>
                <a:cxn ang="0">
                  <a:pos x="3" y="3"/>
                </a:cxn>
                <a:cxn ang="0">
                  <a:pos x="3" y="3"/>
                </a:cxn>
                <a:cxn ang="0">
                  <a:pos x="0" y="3"/>
                </a:cxn>
                <a:cxn ang="0">
                  <a:pos x="0" y="2"/>
                </a:cxn>
                <a:cxn ang="0">
                  <a:pos x="0" y="0"/>
                </a:cxn>
              </a:cxnLst>
              <a:rect l="0" t="0" r="r" b="b"/>
              <a:pathLst>
                <a:path w="3" h="3">
                  <a:moveTo>
                    <a:pt x="0" y="0"/>
                  </a:moveTo>
                  <a:lnTo>
                    <a:pt x="1" y="0"/>
                  </a:lnTo>
                  <a:lnTo>
                    <a:pt x="3" y="2"/>
                  </a:lnTo>
                  <a:lnTo>
                    <a:pt x="3" y="3"/>
                  </a:lnTo>
                  <a:lnTo>
                    <a:pt x="3" y="3"/>
                  </a:lnTo>
                  <a:lnTo>
                    <a:pt x="0" y="3"/>
                  </a:lnTo>
                  <a:lnTo>
                    <a:pt x="0" y="2"/>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94" name="Freeform 293"/>
            <p:cNvSpPr>
              <a:spLocks/>
            </p:cNvSpPr>
            <p:nvPr/>
          </p:nvSpPr>
          <p:spPr bwMode="auto">
            <a:xfrm>
              <a:off x="6996770" y="2608340"/>
              <a:ext cx="100069" cy="84174"/>
            </a:xfrm>
            <a:custGeom>
              <a:avLst/>
              <a:gdLst/>
              <a:ahLst/>
              <a:cxnLst>
                <a:cxn ang="0">
                  <a:pos x="12" y="74"/>
                </a:cxn>
                <a:cxn ang="0">
                  <a:pos x="19" y="71"/>
                </a:cxn>
                <a:cxn ang="0">
                  <a:pos x="24" y="69"/>
                </a:cxn>
                <a:cxn ang="0">
                  <a:pos x="29" y="72"/>
                </a:cxn>
                <a:cxn ang="0">
                  <a:pos x="29" y="69"/>
                </a:cxn>
                <a:cxn ang="0">
                  <a:pos x="32" y="64"/>
                </a:cxn>
                <a:cxn ang="0">
                  <a:pos x="37" y="64"/>
                </a:cxn>
                <a:cxn ang="0">
                  <a:pos x="41" y="65"/>
                </a:cxn>
                <a:cxn ang="0">
                  <a:pos x="41" y="61"/>
                </a:cxn>
                <a:cxn ang="0">
                  <a:pos x="47" y="51"/>
                </a:cxn>
                <a:cxn ang="0">
                  <a:pos x="50" y="49"/>
                </a:cxn>
                <a:cxn ang="0">
                  <a:pos x="57" y="52"/>
                </a:cxn>
                <a:cxn ang="0">
                  <a:pos x="56" y="58"/>
                </a:cxn>
                <a:cxn ang="0">
                  <a:pos x="60" y="58"/>
                </a:cxn>
                <a:cxn ang="0">
                  <a:pos x="60" y="61"/>
                </a:cxn>
                <a:cxn ang="0">
                  <a:pos x="60" y="67"/>
                </a:cxn>
                <a:cxn ang="0">
                  <a:pos x="58" y="72"/>
                </a:cxn>
                <a:cxn ang="0">
                  <a:pos x="63" y="81"/>
                </a:cxn>
                <a:cxn ang="0">
                  <a:pos x="77" y="75"/>
                </a:cxn>
                <a:cxn ang="0">
                  <a:pos x="80" y="71"/>
                </a:cxn>
                <a:cxn ang="0">
                  <a:pos x="85" y="68"/>
                </a:cxn>
                <a:cxn ang="0">
                  <a:pos x="89" y="67"/>
                </a:cxn>
                <a:cxn ang="0">
                  <a:pos x="92" y="71"/>
                </a:cxn>
                <a:cxn ang="0">
                  <a:pos x="95" y="69"/>
                </a:cxn>
                <a:cxn ang="0">
                  <a:pos x="104" y="68"/>
                </a:cxn>
                <a:cxn ang="0">
                  <a:pos x="108" y="69"/>
                </a:cxn>
                <a:cxn ang="0">
                  <a:pos x="108" y="71"/>
                </a:cxn>
                <a:cxn ang="0">
                  <a:pos x="106" y="55"/>
                </a:cxn>
                <a:cxn ang="0">
                  <a:pos x="101" y="48"/>
                </a:cxn>
                <a:cxn ang="0">
                  <a:pos x="90" y="37"/>
                </a:cxn>
                <a:cxn ang="0">
                  <a:pos x="88" y="32"/>
                </a:cxn>
                <a:cxn ang="0">
                  <a:pos x="79" y="32"/>
                </a:cxn>
                <a:cxn ang="0">
                  <a:pos x="69" y="33"/>
                </a:cxn>
                <a:cxn ang="0">
                  <a:pos x="61" y="29"/>
                </a:cxn>
                <a:cxn ang="0">
                  <a:pos x="48" y="30"/>
                </a:cxn>
                <a:cxn ang="0">
                  <a:pos x="37" y="29"/>
                </a:cxn>
                <a:cxn ang="0">
                  <a:pos x="29" y="29"/>
                </a:cxn>
                <a:cxn ang="0">
                  <a:pos x="34" y="17"/>
                </a:cxn>
                <a:cxn ang="0">
                  <a:pos x="48" y="20"/>
                </a:cxn>
                <a:cxn ang="0">
                  <a:pos x="51" y="14"/>
                </a:cxn>
                <a:cxn ang="0">
                  <a:pos x="47" y="16"/>
                </a:cxn>
                <a:cxn ang="0">
                  <a:pos x="48" y="8"/>
                </a:cxn>
                <a:cxn ang="0">
                  <a:pos x="47" y="3"/>
                </a:cxn>
                <a:cxn ang="0">
                  <a:pos x="44" y="1"/>
                </a:cxn>
                <a:cxn ang="0">
                  <a:pos x="32" y="7"/>
                </a:cxn>
                <a:cxn ang="0">
                  <a:pos x="29" y="10"/>
                </a:cxn>
                <a:cxn ang="0">
                  <a:pos x="29" y="14"/>
                </a:cxn>
                <a:cxn ang="0">
                  <a:pos x="22" y="19"/>
                </a:cxn>
                <a:cxn ang="0">
                  <a:pos x="18" y="27"/>
                </a:cxn>
                <a:cxn ang="0">
                  <a:pos x="8" y="26"/>
                </a:cxn>
                <a:cxn ang="0">
                  <a:pos x="3" y="32"/>
                </a:cxn>
                <a:cxn ang="0">
                  <a:pos x="5" y="37"/>
                </a:cxn>
                <a:cxn ang="0">
                  <a:pos x="12" y="39"/>
                </a:cxn>
                <a:cxn ang="0">
                  <a:pos x="12" y="49"/>
                </a:cxn>
                <a:cxn ang="0">
                  <a:pos x="15" y="53"/>
                </a:cxn>
                <a:cxn ang="0">
                  <a:pos x="12" y="58"/>
                </a:cxn>
                <a:cxn ang="0">
                  <a:pos x="6" y="69"/>
                </a:cxn>
              </a:cxnLst>
              <a:rect l="0" t="0" r="r" b="b"/>
              <a:pathLst>
                <a:path w="109" h="81">
                  <a:moveTo>
                    <a:pt x="6" y="69"/>
                  </a:moveTo>
                  <a:lnTo>
                    <a:pt x="11" y="75"/>
                  </a:lnTo>
                  <a:lnTo>
                    <a:pt x="12" y="74"/>
                  </a:lnTo>
                  <a:lnTo>
                    <a:pt x="15" y="74"/>
                  </a:lnTo>
                  <a:lnTo>
                    <a:pt x="15" y="74"/>
                  </a:lnTo>
                  <a:lnTo>
                    <a:pt x="19" y="71"/>
                  </a:lnTo>
                  <a:lnTo>
                    <a:pt x="21" y="71"/>
                  </a:lnTo>
                  <a:lnTo>
                    <a:pt x="22" y="71"/>
                  </a:lnTo>
                  <a:lnTo>
                    <a:pt x="24" y="69"/>
                  </a:lnTo>
                  <a:lnTo>
                    <a:pt x="24" y="69"/>
                  </a:lnTo>
                  <a:lnTo>
                    <a:pt x="25" y="71"/>
                  </a:lnTo>
                  <a:lnTo>
                    <a:pt x="29" y="72"/>
                  </a:lnTo>
                  <a:lnTo>
                    <a:pt x="29" y="72"/>
                  </a:lnTo>
                  <a:lnTo>
                    <a:pt x="29" y="71"/>
                  </a:lnTo>
                  <a:lnTo>
                    <a:pt x="29" y="69"/>
                  </a:lnTo>
                  <a:lnTo>
                    <a:pt x="29" y="69"/>
                  </a:lnTo>
                  <a:lnTo>
                    <a:pt x="29" y="67"/>
                  </a:lnTo>
                  <a:lnTo>
                    <a:pt x="32" y="64"/>
                  </a:lnTo>
                  <a:lnTo>
                    <a:pt x="32" y="64"/>
                  </a:lnTo>
                  <a:lnTo>
                    <a:pt x="34" y="65"/>
                  </a:lnTo>
                  <a:lnTo>
                    <a:pt x="37" y="64"/>
                  </a:lnTo>
                  <a:lnTo>
                    <a:pt x="38" y="65"/>
                  </a:lnTo>
                  <a:lnTo>
                    <a:pt x="40" y="65"/>
                  </a:lnTo>
                  <a:lnTo>
                    <a:pt x="41" y="65"/>
                  </a:lnTo>
                  <a:lnTo>
                    <a:pt x="43" y="64"/>
                  </a:lnTo>
                  <a:lnTo>
                    <a:pt x="43" y="62"/>
                  </a:lnTo>
                  <a:lnTo>
                    <a:pt x="41" y="61"/>
                  </a:lnTo>
                  <a:lnTo>
                    <a:pt x="41" y="59"/>
                  </a:lnTo>
                  <a:lnTo>
                    <a:pt x="47" y="52"/>
                  </a:lnTo>
                  <a:lnTo>
                    <a:pt x="47" y="51"/>
                  </a:lnTo>
                  <a:lnTo>
                    <a:pt x="48" y="49"/>
                  </a:lnTo>
                  <a:lnTo>
                    <a:pt x="48" y="49"/>
                  </a:lnTo>
                  <a:lnTo>
                    <a:pt x="50" y="49"/>
                  </a:lnTo>
                  <a:lnTo>
                    <a:pt x="51" y="49"/>
                  </a:lnTo>
                  <a:lnTo>
                    <a:pt x="54" y="49"/>
                  </a:lnTo>
                  <a:lnTo>
                    <a:pt x="57" y="52"/>
                  </a:lnTo>
                  <a:lnTo>
                    <a:pt x="57" y="53"/>
                  </a:lnTo>
                  <a:lnTo>
                    <a:pt x="56" y="56"/>
                  </a:lnTo>
                  <a:lnTo>
                    <a:pt x="56" y="58"/>
                  </a:lnTo>
                  <a:lnTo>
                    <a:pt x="57" y="58"/>
                  </a:lnTo>
                  <a:lnTo>
                    <a:pt x="58" y="59"/>
                  </a:lnTo>
                  <a:lnTo>
                    <a:pt x="60" y="58"/>
                  </a:lnTo>
                  <a:lnTo>
                    <a:pt x="60" y="59"/>
                  </a:lnTo>
                  <a:lnTo>
                    <a:pt x="61" y="59"/>
                  </a:lnTo>
                  <a:lnTo>
                    <a:pt x="60" y="61"/>
                  </a:lnTo>
                  <a:lnTo>
                    <a:pt x="60" y="62"/>
                  </a:lnTo>
                  <a:lnTo>
                    <a:pt x="60" y="65"/>
                  </a:lnTo>
                  <a:lnTo>
                    <a:pt x="60" y="67"/>
                  </a:lnTo>
                  <a:lnTo>
                    <a:pt x="58" y="68"/>
                  </a:lnTo>
                  <a:lnTo>
                    <a:pt x="58" y="69"/>
                  </a:lnTo>
                  <a:lnTo>
                    <a:pt x="58" y="72"/>
                  </a:lnTo>
                  <a:lnTo>
                    <a:pt x="58" y="75"/>
                  </a:lnTo>
                  <a:lnTo>
                    <a:pt x="61" y="81"/>
                  </a:lnTo>
                  <a:lnTo>
                    <a:pt x="63" y="81"/>
                  </a:lnTo>
                  <a:lnTo>
                    <a:pt x="63" y="81"/>
                  </a:lnTo>
                  <a:lnTo>
                    <a:pt x="72" y="75"/>
                  </a:lnTo>
                  <a:lnTo>
                    <a:pt x="77" y="75"/>
                  </a:lnTo>
                  <a:lnTo>
                    <a:pt x="77" y="74"/>
                  </a:lnTo>
                  <a:lnTo>
                    <a:pt x="79" y="72"/>
                  </a:lnTo>
                  <a:lnTo>
                    <a:pt x="80" y="71"/>
                  </a:lnTo>
                  <a:lnTo>
                    <a:pt x="80" y="71"/>
                  </a:lnTo>
                  <a:lnTo>
                    <a:pt x="82" y="71"/>
                  </a:lnTo>
                  <a:lnTo>
                    <a:pt x="85" y="68"/>
                  </a:lnTo>
                  <a:lnTo>
                    <a:pt x="86" y="68"/>
                  </a:lnTo>
                  <a:lnTo>
                    <a:pt x="88" y="67"/>
                  </a:lnTo>
                  <a:lnTo>
                    <a:pt x="89" y="67"/>
                  </a:lnTo>
                  <a:lnTo>
                    <a:pt x="90" y="68"/>
                  </a:lnTo>
                  <a:lnTo>
                    <a:pt x="92" y="68"/>
                  </a:lnTo>
                  <a:lnTo>
                    <a:pt x="92" y="71"/>
                  </a:lnTo>
                  <a:lnTo>
                    <a:pt x="93" y="71"/>
                  </a:lnTo>
                  <a:lnTo>
                    <a:pt x="93" y="71"/>
                  </a:lnTo>
                  <a:lnTo>
                    <a:pt x="95" y="69"/>
                  </a:lnTo>
                  <a:lnTo>
                    <a:pt x="95" y="69"/>
                  </a:lnTo>
                  <a:lnTo>
                    <a:pt x="99" y="68"/>
                  </a:lnTo>
                  <a:lnTo>
                    <a:pt x="104" y="68"/>
                  </a:lnTo>
                  <a:lnTo>
                    <a:pt x="105" y="69"/>
                  </a:lnTo>
                  <a:lnTo>
                    <a:pt x="106" y="69"/>
                  </a:lnTo>
                  <a:lnTo>
                    <a:pt x="108" y="69"/>
                  </a:lnTo>
                  <a:lnTo>
                    <a:pt x="108" y="71"/>
                  </a:lnTo>
                  <a:lnTo>
                    <a:pt x="106" y="71"/>
                  </a:lnTo>
                  <a:lnTo>
                    <a:pt x="108" y="71"/>
                  </a:lnTo>
                  <a:lnTo>
                    <a:pt x="109" y="71"/>
                  </a:lnTo>
                  <a:lnTo>
                    <a:pt x="109" y="62"/>
                  </a:lnTo>
                  <a:lnTo>
                    <a:pt x="106" y="55"/>
                  </a:lnTo>
                  <a:lnTo>
                    <a:pt x="106" y="51"/>
                  </a:lnTo>
                  <a:lnTo>
                    <a:pt x="105" y="48"/>
                  </a:lnTo>
                  <a:lnTo>
                    <a:pt x="101" y="48"/>
                  </a:lnTo>
                  <a:lnTo>
                    <a:pt x="95" y="49"/>
                  </a:lnTo>
                  <a:lnTo>
                    <a:pt x="92" y="46"/>
                  </a:lnTo>
                  <a:lnTo>
                    <a:pt x="90" y="37"/>
                  </a:lnTo>
                  <a:lnTo>
                    <a:pt x="93" y="29"/>
                  </a:lnTo>
                  <a:lnTo>
                    <a:pt x="88" y="27"/>
                  </a:lnTo>
                  <a:lnTo>
                    <a:pt x="88" y="32"/>
                  </a:lnTo>
                  <a:lnTo>
                    <a:pt x="85" y="32"/>
                  </a:lnTo>
                  <a:lnTo>
                    <a:pt x="82" y="32"/>
                  </a:lnTo>
                  <a:lnTo>
                    <a:pt x="79" y="32"/>
                  </a:lnTo>
                  <a:lnTo>
                    <a:pt x="74" y="32"/>
                  </a:lnTo>
                  <a:lnTo>
                    <a:pt x="70" y="33"/>
                  </a:lnTo>
                  <a:lnTo>
                    <a:pt x="69" y="33"/>
                  </a:lnTo>
                  <a:lnTo>
                    <a:pt x="64" y="33"/>
                  </a:lnTo>
                  <a:lnTo>
                    <a:pt x="63" y="29"/>
                  </a:lnTo>
                  <a:lnTo>
                    <a:pt x="61" y="29"/>
                  </a:lnTo>
                  <a:lnTo>
                    <a:pt x="58" y="27"/>
                  </a:lnTo>
                  <a:lnTo>
                    <a:pt x="51" y="30"/>
                  </a:lnTo>
                  <a:lnTo>
                    <a:pt x="48" y="30"/>
                  </a:lnTo>
                  <a:lnTo>
                    <a:pt x="48" y="29"/>
                  </a:lnTo>
                  <a:lnTo>
                    <a:pt x="44" y="27"/>
                  </a:lnTo>
                  <a:lnTo>
                    <a:pt x="37" y="29"/>
                  </a:lnTo>
                  <a:lnTo>
                    <a:pt x="34" y="27"/>
                  </a:lnTo>
                  <a:lnTo>
                    <a:pt x="31" y="29"/>
                  </a:lnTo>
                  <a:lnTo>
                    <a:pt x="29" y="29"/>
                  </a:lnTo>
                  <a:lnTo>
                    <a:pt x="28" y="27"/>
                  </a:lnTo>
                  <a:lnTo>
                    <a:pt x="28" y="20"/>
                  </a:lnTo>
                  <a:lnTo>
                    <a:pt x="34" y="17"/>
                  </a:lnTo>
                  <a:lnTo>
                    <a:pt x="43" y="19"/>
                  </a:lnTo>
                  <a:lnTo>
                    <a:pt x="45" y="20"/>
                  </a:lnTo>
                  <a:lnTo>
                    <a:pt x="48" y="20"/>
                  </a:lnTo>
                  <a:lnTo>
                    <a:pt x="48" y="17"/>
                  </a:lnTo>
                  <a:lnTo>
                    <a:pt x="51" y="17"/>
                  </a:lnTo>
                  <a:lnTo>
                    <a:pt x="51" y="14"/>
                  </a:lnTo>
                  <a:lnTo>
                    <a:pt x="51" y="14"/>
                  </a:lnTo>
                  <a:lnTo>
                    <a:pt x="48" y="16"/>
                  </a:lnTo>
                  <a:lnTo>
                    <a:pt x="47" y="16"/>
                  </a:lnTo>
                  <a:lnTo>
                    <a:pt x="44" y="10"/>
                  </a:lnTo>
                  <a:lnTo>
                    <a:pt x="45" y="8"/>
                  </a:lnTo>
                  <a:lnTo>
                    <a:pt x="48" y="8"/>
                  </a:lnTo>
                  <a:lnTo>
                    <a:pt x="48" y="6"/>
                  </a:lnTo>
                  <a:lnTo>
                    <a:pt x="48" y="4"/>
                  </a:lnTo>
                  <a:lnTo>
                    <a:pt x="47" y="3"/>
                  </a:lnTo>
                  <a:lnTo>
                    <a:pt x="47" y="0"/>
                  </a:lnTo>
                  <a:lnTo>
                    <a:pt x="45" y="0"/>
                  </a:lnTo>
                  <a:lnTo>
                    <a:pt x="44" y="1"/>
                  </a:lnTo>
                  <a:lnTo>
                    <a:pt x="43" y="3"/>
                  </a:lnTo>
                  <a:lnTo>
                    <a:pt x="35" y="7"/>
                  </a:lnTo>
                  <a:lnTo>
                    <a:pt x="32" y="7"/>
                  </a:lnTo>
                  <a:lnTo>
                    <a:pt x="31" y="6"/>
                  </a:lnTo>
                  <a:lnTo>
                    <a:pt x="29" y="7"/>
                  </a:lnTo>
                  <a:lnTo>
                    <a:pt x="29" y="10"/>
                  </a:lnTo>
                  <a:lnTo>
                    <a:pt x="28" y="10"/>
                  </a:lnTo>
                  <a:lnTo>
                    <a:pt x="28" y="13"/>
                  </a:lnTo>
                  <a:lnTo>
                    <a:pt x="29" y="14"/>
                  </a:lnTo>
                  <a:lnTo>
                    <a:pt x="28" y="16"/>
                  </a:lnTo>
                  <a:lnTo>
                    <a:pt x="27" y="17"/>
                  </a:lnTo>
                  <a:lnTo>
                    <a:pt x="22" y="19"/>
                  </a:lnTo>
                  <a:lnTo>
                    <a:pt x="21" y="20"/>
                  </a:lnTo>
                  <a:lnTo>
                    <a:pt x="21" y="21"/>
                  </a:lnTo>
                  <a:lnTo>
                    <a:pt x="18" y="27"/>
                  </a:lnTo>
                  <a:lnTo>
                    <a:pt x="15" y="29"/>
                  </a:lnTo>
                  <a:lnTo>
                    <a:pt x="9" y="27"/>
                  </a:lnTo>
                  <a:lnTo>
                    <a:pt x="8" y="26"/>
                  </a:lnTo>
                  <a:lnTo>
                    <a:pt x="3" y="27"/>
                  </a:lnTo>
                  <a:lnTo>
                    <a:pt x="2" y="29"/>
                  </a:lnTo>
                  <a:lnTo>
                    <a:pt x="3" y="32"/>
                  </a:lnTo>
                  <a:lnTo>
                    <a:pt x="0" y="33"/>
                  </a:lnTo>
                  <a:lnTo>
                    <a:pt x="5" y="36"/>
                  </a:lnTo>
                  <a:lnTo>
                    <a:pt x="5" y="37"/>
                  </a:lnTo>
                  <a:lnTo>
                    <a:pt x="8" y="37"/>
                  </a:lnTo>
                  <a:lnTo>
                    <a:pt x="9" y="37"/>
                  </a:lnTo>
                  <a:lnTo>
                    <a:pt x="12" y="39"/>
                  </a:lnTo>
                  <a:lnTo>
                    <a:pt x="12" y="40"/>
                  </a:lnTo>
                  <a:lnTo>
                    <a:pt x="11" y="45"/>
                  </a:lnTo>
                  <a:lnTo>
                    <a:pt x="12" y="49"/>
                  </a:lnTo>
                  <a:lnTo>
                    <a:pt x="13" y="51"/>
                  </a:lnTo>
                  <a:lnTo>
                    <a:pt x="15" y="52"/>
                  </a:lnTo>
                  <a:lnTo>
                    <a:pt x="15" y="53"/>
                  </a:lnTo>
                  <a:lnTo>
                    <a:pt x="15" y="55"/>
                  </a:lnTo>
                  <a:lnTo>
                    <a:pt x="13" y="56"/>
                  </a:lnTo>
                  <a:lnTo>
                    <a:pt x="12" y="58"/>
                  </a:lnTo>
                  <a:lnTo>
                    <a:pt x="6" y="67"/>
                  </a:lnTo>
                  <a:lnTo>
                    <a:pt x="8" y="69"/>
                  </a:lnTo>
                  <a:lnTo>
                    <a:pt x="6" y="69"/>
                  </a:lnTo>
                  <a:lnTo>
                    <a:pt x="6" y="6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95" name="Freeform 294"/>
            <p:cNvSpPr>
              <a:spLocks/>
            </p:cNvSpPr>
            <p:nvPr/>
          </p:nvSpPr>
          <p:spPr bwMode="auto">
            <a:xfrm>
              <a:off x="6996770" y="2608340"/>
              <a:ext cx="100069" cy="84174"/>
            </a:xfrm>
            <a:custGeom>
              <a:avLst/>
              <a:gdLst/>
              <a:ahLst/>
              <a:cxnLst>
                <a:cxn ang="0">
                  <a:pos x="12" y="74"/>
                </a:cxn>
                <a:cxn ang="0">
                  <a:pos x="19" y="71"/>
                </a:cxn>
                <a:cxn ang="0">
                  <a:pos x="24" y="69"/>
                </a:cxn>
                <a:cxn ang="0">
                  <a:pos x="29" y="72"/>
                </a:cxn>
                <a:cxn ang="0">
                  <a:pos x="29" y="69"/>
                </a:cxn>
                <a:cxn ang="0">
                  <a:pos x="32" y="64"/>
                </a:cxn>
                <a:cxn ang="0">
                  <a:pos x="37" y="64"/>
                </a:cxn>
                <a:cxn ang="0">
                  <a:pos x="41" y="65"/>
                </a:cxn>
                <a:cxn ang="0">
                  <a:pos x="41" y="61"/>
                </a:cxn>
                <a:cxn ang="0">
                  <a:pos x="47" y="51"/>
                </a:cxn>
                <a:cxn ang="0">
                  <a:pos x="50" y="49"/>
                </a:cxn>
                <a:cxn ang="0">
                  <a:pos x="57" y="52"/>
                </a:cxn>
                <a:cxn ang="0">
                  <a:pos x="56" y="58"/>
                </a:cxn>
                <a:cxn ang="0">
                  <a:pos x="60" y="58"/>
                </a:cxn>
                <a:cxn ang="0">
                  <a:pos x="60" y="61"/>
                </a:cxn>
                <a:cxn ang="0">
                  <a:pos x="60" y="67"/>
                </a:cxn>
                <a:cxn ang="0">
                  <a:pos x="58" y="72"/>
                </a:cxn>
                <a:cxn ang="0">
                  <a:pos x="63" y="81"/>
                </a:cxn>
                <a:cxn ang="0">
                  <a:pos x="77" y="75"/>
                </a:cxn>
                <a:cxn ang="0">
                  <a:pos x="80" y="71"/>
                </a:cxn>
                <a:cxn ang="0">
                  <a:pos x="85" y="68"/>
                </a:cxn>
                <a:cxn ang="0">
                  <a:pos x="89" y="67"/>
                </a:cxn>
                <a:cxn ang="0">
                  <a:pos x="92" y="71"/>
                </a:cxn>
                <a:cxn ang="0">
                  <a:pos x="95" y="69"/>
                </a:cxn>
                <a:cxn ang="0">
                  <a:pos x="104" y="68"/>
                </a:cxn>
                <a:cxn ang="0">
                  <a:pos x="108" y="69"/>
                </a:cxn>
                <a:cxn ang="0">
                  <a:pos x="108" y="71"/>
                </a:cxn>
                <a:cxn ang="0">
                  <a:pos x="106" y="55"/>
                </a:cxn>
                <a:cxn ang="0">
                  <a:pos x="101" y="48"/>
                </a:cxn>
                <a:cxn ang="0">
                  <a:pos x="90" y="37"/>
                </a:cxn>
                <a:cxn ang="0">
                  <a:pos x="88" y="32"/>
                </a:cxn>
                <a:cxn ang="0">
                  <a:pos x="79" y="32"/>
                </a:cxn>
                <a:cxn ang="0">
                  <a:pos x="69" y="33"/>
                </a:cxn>
                <a:cxn ang="0">
                  <a:pos x="61" y="29"/>
                </a:cxn>
                <a:cxn ang="0">
                  <a:pos x="48" y="30"/>
                </a:cxn>
                <a:cxn ang="0">
                  <a:pos x="37" y="29"/>
                </a:cxn>
                <a:cxn ang="0">
                  <a:pos x="29" y="29"/>
                </a:cxn>
                <a:cxn ang="0">
                  <a:pos x="34" y="17"/>
                </a:cxn>
                <a:cxn ang="0">
                  <a:pos x="48" y="20"/>
                </a:cxn>
                <a:cxn ang="0">
                  <a:pos x="51" y="14"/>
                </a:cxn>
                <a:cxn ang="0">
                  <a:pos x="47" y="16"/>
                </a:cxn>
                <a:cxn ang="0">
                  <a:pos x="48" y="8"/>
                </a:cxn>
                <a:cxn ang="0">
                  <a:pos x="47" y="3"/>
                </a:cxn>
                <a:cxn ang="0">
                  <a:pos x="44" y="1"/>
                </a:cxn>
                <a:cxn ang="0">
                  <a:pos x="32" y="7"/>
                </a:cxn>
                <a:cxn ang="0">
                  <a:pos x="29" y="10"/>
                </a:cxn>
                <a:cxn ang="0">
                  <a:pos x="29" y="14"/>
                </a:cxn>
                <a:cxn ang="0">
                  <a:pos x="22" y="19"/>
                </a:cxn>
                <a:cxn ang="0">
                  <a:pos x="18" y="27"/>
                </a:cxn>
                <a:cxn ang="0">
                  <a:pos x="8" y="26"/>
                </a:cxn>
                <a:cxn ang="0">
                  <a:pos x="3" y="32"/>
                </a:cxn>
                <a:cxn ang="0">
                  <a:pos x="5" y="37"/>
                </a:cxn>
                <a:cxn ang="0">
                  <a:pos x="12" y="39"/>
                </a:cxn>
                <a:cxn ang="0">
                  <a:pos x="12" y="49"/>
                </a:cxn>
                <a:cxn ang="0">
                  <a:pos x="15" y="53"/>
                </a:cxn>
                <a:cxn ang="0">
                  <a:pos x="12" y="58"/>
                </a:cxn>
                <a:cxn ang="0">
                  <a:pos x="6" y="69"/>
                </a:cxn>
              </a:cxnLst>
              <a:rect l="0" t="0" r="r" b="b"/>
              <a:pathLst>
                <a:path w="109" h="81">
                  <a:moveTo>
                    <a:pt x="6" y="69"/>
                  </a:moveTo>
                  <a:lnTo>
                    <a:pt x="11" y="75"/>
                  </a:lnTo>
                  <a:lnTo>
                    <a:pt x="12" y="74"/>
                  </a:lnTo>
                  <a:lnTo>
                    <a:pt x="15" y="74"/>
                  </a:lnTo>
                  <a:lnTo>
                    <a:pt x="15" y="74"/>
                  </a:lnTo>
                  <a:lnTo>
                    <a:pt x="19" y="71"/>
                  </a:lnTo>
                  <a:lnTo>
                    <a:pt x="21" y="71"/>
                  </a:lnTo>
                  <a:lnTo>
                    <a:pt x="22" y="71"/>
                  </a:lnTo>
                  <a:lnTo>
                    <a:pt x="24" y="69"/>
                  </a:lnTo>
                  <a:lnTo>
                    <a:pt x="24" y="69"/>
                  </a:lnTo>
                  <a:lnTo>
                    <a:pt x="25" y="71"/>
                  </a:lnTo>
                  <a:lnTo>
                    <a:pt x="29" y="72"/>
                  </a:lnTo>
                  <a:lnTo>
                    <a:pt x="29" y="72"/>
                  </a:lnTo>
                  <a:lnTo>
                    <a:pt x="29" y="71"/>
                  </a:lnTo>
                  <a:lnTo>
                    <a:pt x="29" y="69"/>
                  </a:lnTo>
                  <a:lnTo>
                    <a:pt x="29" y="69"/>
                  </a:lnTo>
                  <a:lnTo>
                    <a:pt x="29" y="67"/>
                  </a:lnTo>
                  <a:lnTo>
                    <a:pt x="32" y="64"/>
                  </a:lnTo>
                  <a:lnTo>
                    <a:pt x="32" y="64"/>
                  </a:lnTo>
                  <a:lnTo>
                    <a:pt x="34" y="65"/>
                  </a:lnTo>
                  <a:lnTo>
                    <a:pt x="37" y="64"/>
                  </a:lnTo>
                  <a:lnTo>
                    <a:pt x="38" y="65"/>
                  </a:lnTo>
                  <a:lnTo>
                    <a:pt x="40" y="65"/>
                  </a:lnTo>
                  <a:lnTo>
                    <a:pt x="41" y="65"/>
                  </a:lnTo>
                  <a:lnTo>
                    <a:pt x="43" y="64"/>
                  </a:lnTo>
                  <a:lnTo>
                    <a:pt x="43" y="62"/>
                  </a:lnTo>
                  <a:lnTo>
                    <a:pt x="41" y="61"/>
                  </a:lnTo>
                  <a:lnTo>
                    <a:pt x="41" y="59"/>
                  </a:lnTo>
                  <a:lnTo>
                    <a:pt x="47" y="52"/>
                  </a:lnTo>
                  <a:lnTo>
                    <a:pt x="47" y="51"/>
                  </a:lnTo>
                  <a:lnTo>
                    <a:pt x="48" y="49"/>
                  </a:lnTo>
                  <a:lnTo>
                    <a:pt x="48" y="49"/>
                  </a:lnTo>
                  <a:lnTo>
                    <a:pt x="50" y="49"/>
                  </a:lnTo>
                  <a:lnTo>
                    <a:pt x="51" y="49"/>
                  </a:lnTo>
                  <a:lnTo>
                    <a:pt x="54" y="49"/>
                  </a:lnTo>
                  <a:lnTo>
                    <a:pt x="57" y="52"/>
                  </a:lnTo>
                  <a:lnTo>
                    <a:pt x="57" y="53"/>
                  </a:lnTo>
                  <a:lnTo>
                    <a:pt x="56" y="56"/>
                  </a:lnTo>
                  <a:lnTo>
                    <a:pt x="56" y="58"/>
                  </a:lnTo>
                  <a:lnTo>
                    <a:pt x="57" y="58"/>
                  </a:lnTo>
                  <a:lnTo>
                    <a:pt x="58" y="59"/>
                  </a:lnTo>
                  <a:lnTo>
                    <a:pt x="60" y="58"/>
                  </a:lnTo>
                  <a:lnTo>
                    <a:pt x="60" y="59"/>
                  </a:lnTo>
                  <a:lnTo>
                    <a:pt x="61" y="59"/>
                  </a:lnTo>
                  <a:lnTo>
                    <a:pt x="60" y="61"/>
                  </a:lnTo>
                  <a:lnTo>
                    <a:pt x="60" y="62"/>
                  </a:lnTo>
                  <a:lnTo>
                    <a:pt x="60" y="65"/>
                  </a:lnTo>
                  <a:lnTo>
                    <a:pt x="60" y="67"/>
                  </a:lnTo>
                  <a:lnTo>
                    <a:pt x="58" y="68"/>
                  </a:lnTo>
                  <a:lnTo>
                    <a:pt x="58" y="69"/>
                  </a:lnTo>
                  <a:lnTo>
                    <a:pt x="58" y="72"/>
                  </a:lnTo>
                  <a:lnTo>
                    <a:pt x="58" y="75"/>
                  </a:lnTo>
                  <a:lnTo>
                    <a:pt x="61" y="81"/>
                  </a:lnTo>
                  <a:lnTo>
                    <a:pt x="63" y="81"/>
                  </a:lnTo>
                  <a:lnTo>
                    <a:pt x="63" y="81"/>
                  </a:lnTo>
                  <a:lnTo>
                    <a:pt x="72" y="75"/>
                  </a:lnTo>
                  <a:lnTo>
                    <a:pt x="77" y="75"/>
                  </a:lnTo>
                  <a:lnTo>
                    <a:pt x="77" y="74"/>
                  </a:lnTo>
                  <a:lnTo>
                    <a:pt x="79" y="72"/>
                  </a:lnTo>
                  <a:lnTo>
                    <a:pt x="80" y="71"/>
                  </a:lnTo>
                  <a:lnTo>
                    <a:pt x="80" y="71"/>
                  </a:lnTo>
                  <a:lnTo>
                    <a:pt x="82" y="71"/>
                  </a:lnTo>
                  <a:lnTo>
                    <a:pt x="85" y="68"/>
                  </a:lnTo>
                  <a:lnTo>
                    <a:pt x="86" y="68"/>
                  </a:lnTo>
                  <a:lnTo>
                    <a:pt x="88" y="67"/>
                  </a:lnTo>
                  <a:lnTo>
                    <a:pt x="89" y="67"/>
                  </a:lnTo>
                  <a:lnTo>
                    <a:pt x="90" y="68"/>
                  </a:lnTo>
                  <a:lnTo>
                    <a:pt x="92" y="68"/>
                  </a:lnTo>
                  <a:lnTo>
                    <a:pt x="92" y="71"/>
                  </a:lnTo>
                  <a:lnTo>
                    <a:pt x="93" y="71"/>
                  </a:lnTo>
                  <a:lnTo>
                    <a:pt x="93" y="71"/>
                  </a:lnTo>
                  <a:lnTo>
                    <a:pt x="95" y="69"/>
                  </a:lnTo>
                  <a:lnTo>
                    <a:pt x="95" y="69"/>
                  </a:lnTo>
                  <a:lnTo>
                    <a:pt x="99" y="68"/>
                  </a:lnTo>
                  <a:lnTo>
                    <a:pt x="104" y="68"/>
                  </a:lnTo>
                  <a:lnTo>
                    <a:pt x="105" y="69"/>
                  </a:lnTo>
                  <a:lnTo>
                    <a:pt x="106" y="69"/>
                  </a:lnTo>
                  <a:lnTo>
                    <a:pt x="108" y="69"/>
                  </a:lnTo>
                  <a:lnTo>
                    <a:pt x="108" y="71"/>
                  </a:lnTo>
                  <a:lnTo>
                    <a:pt x="106" y="71"/>
                  </a:lnTo>
                  <a:lnTo>
                    <a:pt x="108" y="71"/>
                  </a:lnTo>
                  <a:lnTo>
                    <a:pt x="109" y="71"/>
                  </a:lnTo>
                  <a:lnTo>
                    <a:pt x="109" y="62"/>
                  </a:lnTo>
                  <a:lnTo>
                    <a:pt x="106" y="55"/>
                  </a:lnTo>
                  <a:lnTo>
                    <a:pt x="106" y="51"/>
                  </a:lnTo>
                  <a:lnTo>
                    <a:pt x="105" y="48"/>
                  </a:lnTo>
                  <a:lnTo>
                    <a:pt x="101" y="48"/>
                  </a:lnTo>
                  <a:lnTo>
                    <a:pt x="95" y="49"/>
                  </a:lnTo>
                  <a:lnTo>
                    <a:pt x="92" y="46"/>
                  </a:lnTo>
                  <a:lnTo>
                    <a:pt x="90" y="37"/>
                  </a:lnTo>
                  <a:lnTo>
                    <a:pt x="93" y="29"/>
                  </a:lnTo>
                  <a:lnTo>
                    <a:pt x="88" y="27"/>
                  </a:lnTo>
                  <a:lnTo>
                    <a:pt x="88" y="32"/>
                  </a:lnTo>
                  <a:lnTo>
                    <a:pt x="85" y="32"/>
                  </a:lnTo>
                  <a:lnTo>
                    <a:pt x="82" y="32"/>
                  </a:lnTo>
                  <a:lnTo>
                    <a:pt x="79" y="32"/>
                  </a:lnTo>
                  <a:lnTo>
                    <a:pt x="74" y="32"/>
                  </a:lnTo>
                  <a:lnTo>
                    <a:pt x="70" y="33"/>
                  </a:lnTo>
                  <a:lnTo>
                    <a:pt x="69" y="33"/>
                  </a:lnTo>
                  <a:lnTo>
                    <a:pt x="64" y="33"/>
                  </a:lnTo>
                  <a:lnTo>
                    <a:pt x="63" y="29"/>
                  </a:lnTo>
                  <a:lnTo>
                    <a:pt x="61" y="29"/>
                  </a:lnTo>
                  <a:lnTo>
                    <a:pt x="58" y="27"/>
                  </a:lnTo>
                  <a:lnTo>
                    <a:pt x="51" y="30"/>
                  </a:lnTo>
                  <a:lnTo>
                    <a:pt x="48" y="30"/>
                  </a:lnTo>
                  <a:lnTo>
                    <a:pt x="48" y="29"/>
                  </a:lnTo>
                  <a:lnTo>
                    <a:pt x="44" y="27"/>
                  </a:lnTo>
                  <a:lnTo>
                    <a:pt x="37" y="29"/>
                  </a:lnTo>
                  <a:lnTo>
                    <a:pt x="34" y="27"/>
                  </a:lnTo>
                  <a:lnTo>
                    <a:pt x="31" y="29"/>
                  </a:lnTo>
                  <a:lnTo>
                    <a:pt x="29" y="29"/>
                  </a:lnTo>
                  <a:lnTo>
                    <a:pt x="28" y="27"/>
                  </a:lnTo>
                  <a:lnTo>
                    <a:pt x="28" y="20"/>
                  </a:lnTo>
                  <a:lnTo>
                    <a:pt x="34" y="17"/>
                  </a:lnTo>
                  <a:lnTo>
                    <a:pt x="43" y="19"/>
                  </a:lnTo>
                  <a:lnTo>
                    <a:pt x="45" y="20"/>
                  </a:lnTo>
                  <a:lnTo>
                    <a:pt x="48" y="20"/>
                  </a:lnTo>
                  <a:lnTo>
                    <a:pt x="48" y="17"/>
                  </a:lnTo>
                  <a:lnTo>
                    <a:pt x="51" y="17"/>
                  </a:lnTo>
                  <a:lnTo>
                    <a:pt x="51" y="14"/>
                  </a:lnTo>
                  <a:lnTo>
                    <a:pt x="51" y="14"/>
                  </a:lnTo>
                  <a:lnTo>
                    <a:pt x="48" y="16"/>
                  </a:lnTo>
                  <a:lnTo>
                    <a:pt x="47" y="16"/>
                  </a:lnTo>
                  <a:lnTo>
                    <a:pt x="44" y="10"/>
                  </a:lnTo>
                  <a:lnTo>
                    <a:pt x="45" y="8"/>
                  </a:lnTo>
                  <a:lnTo>
                    <a:pt x="48" y="8"/>
                  </a:lnTo>
                  <a:lnTo>
                    <a:pt x="48" y="6"/>
                  </a:lnTo>
                  <a:lnTo>
                    <a:pt x="48" y="4"/>
                  </a:lnTo>
                  <a:lnTo>
                    <a:pt x="47" y="3"/>
                  </a:lnTo>
                  <a:lnTo>
                    <a:pt x="47" y="0"/>
                  </a:lnTo>
                  <a:lnTo>
                    <a:pt x="45" y="0"/>
                  </a:lnTo>
                  <a:lnTo>
                    <a:pt x="44" y="1"/>
                  </a:lnTo>
                  <a:lnTo>
                    <a:pt x="43" y="3"/>
                  </a:lnTo>
                  <a:lnTo>
                    <a:pt x="35" y="7"/>
                  </a:lnTo>
                  <a:lnTo>
                    <a:pt x="32" y="7"/>
                  </a:lnTo>
                  <a:lnTo>
                    <a:pt x="31" y="6"/>
                  </a:lnTo>
                  <a:lnTo>
                    <a:pt x="29" y="7"/>
                  </a:lnTo>
                  <a:lnTo>
                    <a:pt x="29" y="10"/>
                  </a:lnTo>
                  <a:lnTo>
                    <a:pt x="28" y="10"/>
                  </a:lnTo>
                  <a:lnTo>
                    <a:pt x="28" y="13"/>
                  </a:lnTo>
                  <a:lnTo>
                    <a:pt x="29" y="14"/>
                  </a:lnTo>
                  <a:lnTo>
                    <a:pt x="28" y="16"/>
                  </a:lnTo>
                  <a:lnTo>
                    <a:pt x="27" y="17"/>
                  </a:lnTo>
                  <a:lnTo>
                    <a:pt x="22" y="19"/>
                  </a:lnTo>
                  <a:lnTo>
                    <a:pt x="21" y="20"/>
                  </a:lnTo>
                  <a:lnTo>
                    <a:pt x="21" y="21"/>
                  </a:lnTo>
                  <a:lnTo>
                    <a:pt x="18" y="27"/>
                  </a:lnTo>
                  <a:lnTo>
                    <a:pt x="15" y="29"/>
                  </a:lnTo>
                  <a:lnTo>
                    <a:pt x="9" y="27"/>
                  </a:lnTo>
                  <a:lnTo>
                    <a:pt x="8" y="26"/>
                  </a:lnTo>
                  <a:lnTo>
                    <a:pt x="3" y="27"/>
                  </a:lnTo>
                  <a:lnTo>
                    <a:pt x="2" y="29"/>
                  </a:lnTo>
                  <a:lnTo>
                    <a:pt x="3" y="32"/>
                  </a:lnTo>
                  <a:lnTo>
                    <a:pt x="0" y="33"/>
                  </a:lnTo>
                  <a:lnTo>
                    <a:pt x="5" y="36"/>
                  </a:lnTo>
                  <a:lnTo>
                    <a:pt x="5" y="37"/>
                  </a:lnTo>
                  <a:lnTo>
                    <a:pt x="8" y="37"/>
                  </a:lnTo>
                  <a:lnTo>
                    <a:pt x="9" y="37"/>
                  </a:lnTo>
                  <a:lnTo>
                    <a:pt x="12" y="39"/>
                  </a:lnTo>
                  <a:lnTo>
                    <a:pt x="12" y="40"/>
                  </a:lnTo>
                  <a:lnTo>
                    <a:pt x="11" y="45"/>
                  </a:lnTo>
                  <a:lnTo>
                    <a:pt x="12" y="49"/>
                  </a:lnTo>
                  <a:lnTo>
                    <a:pt x="13" y="51"/>
                  </a:lnTo>
                  <a:lnTo>
                    <a:pt x="15" y="52"/>
                  </a:lnTo>
                  <a:lnTo>
                    <a:pt x="15" y="53"/>
                  </a:lnTo>
                  <a:lnTo>
                    <a:pt x="15" y="55"/>
                  </a:lnTo>
                  <a:lnTo>
                    <a:pt x="13" y="56"/>
                  </a:lnTo>
                  <a:lnTo>
                    <a:pt x="12" y="58"/>
                  </a:lnTo>
                  <a:lnTo>
                    <a:pt x="6" y="67"/>
                  </a:lnTo>
                  <a:lnTo>
                    <a:pt x="8" y="69"/>
                  </a:lnTo>
                  <a:lnTo>
                    <a:pt x="6" y="69"/>
                  </a:lnTo>
                  <a:lnTo>
                    <a:pt x="6" y="69"/>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96" name="Freeform 295"/>
            <p:cNvSpPr>
              <a:spLocks/>
            </p:cNvSpPr>
            <p:nvPr/>
          </p:nvSpPr>
          <p:spPr bwMode="auto">
            <a:xfrm>
              <a:off x="7264499" y="2369005"/>
              <a:ext cx="413444" cy="230208"/>
            </a:xfrm>
            <a:custGeom>
              <a:avLst/>
              <a:gdLst/>
              <a:ahLst/>
              <a:cxnLst>
                <a:cxn ang="0">
                  <a:pos x="8" y="61"/>
                </a:cxn>
                <a:cxn ang="0">
                  <a:pos x="63" y="35"/>
                </a:cxn>
                <a:cxn ang="0">
                  <a:pos x="86" y="39"/>
                </a:cxn>
                <a:cxn ang="0">
                  <a:pos x="105" y="50"/>
                </a:cxn>
                <a:cxn ang="0">
                  <a:pos x="141" y="48"/>
                </a:cxn>
                <a:cxn ang="0">
                  <a:pos x="144" y="38"/>
                </a:cxn>
                <a:cxn ang="0">
                  <a:pos x="144" y="26"/>
                </a:cxn>
                <a:cxn ang="0">
                  <a:pos x="159" y="2"/>
                </a:cxn>
                <a:cxn ang="0">
                  <a:pos x="172" y="4"/>
                </a:cxn>
                <a:cxn ang="0">
                  <a:pos x="201" y="16"/>
                </a:cxn>
                <a:cxn ang="0">
                  <a:pos x="205" y="32"/>
                </a:cxn>
                <a:cxn ang="0">
                  <a:pos x="231" y="42"/>
                </a:cxn>
                <a:cxn ang="0">
                  <a:pos x="267" y="44"/>
                </a:cxn>
                <a:cxn ang="0">
                  <a:pos x="286" y="52"/>
                </a:cxn>
                <a:cxn ang="0">
                  <a:pos x="323" y="65"/>
                </a:cxn>
                <a:cxn ang="0">
                  <a:pos x="373" y="47"/>
                </a:cxn>
                <a:cxn ang="0">
                  <a:pos x="391" y="51"/>
                </a:cxn>
                <a:cxn ang="0">
                  <a:pos x="404" y="50"/>
                </a:cxn>
                <a:cxn ang="0">
                  <a:pos x="405" y="51"/>
                </a:cxn>
                <a:cxn ang="0">
                  <a:pos x="395" y="80"/>
                </a:cxn>
                <a:cxn ang="0">
                  <a:pos x="397" y="100"/>
                </a:cxn>
                <a:cxn ang="0">
                  <a:pos x="433" y="92"/>
                </a:cxn>
                <a:cxn ang="0">
                  <a:pos x="446" y="108"/>
                </a:cxn>
                <a:cxn ang="0">
                  <a:pos x="450" y="119"/>
                </a:cxn>
                <a:cxn ang="0">
                  <a:pos x="413" y="122"/>
                </a:cxn>
                <a:cxn ang="0">
                  <a:pos x="384" y="144"/>
                </a:cxn>
                <a:cxn ang="0">
                  <a:pos x="356" y="158"/>
                </a:cxn>
                <a:cxn ang="0">
                  <a:pos x="343" y="156"/>
                </a:cxn>
                <a:cxn ang="0">
                  <a:pos x="343" y="176"/>
                </a:cxn>
                <a:cxn ang="0">
                  <a:pos x="325" y="196"/>
                </a:cxn>
                <a:cxn ang="0">
                  <a:pos x="301" y="206"/>
                </a:cxn>
                <a:cxn ang="0">
                  <a:pos x="282" y="205"/>
                </a:cxn>
                <a:cxn ang="0">
                  <a:pos x="249" y="217"/>
                </a:cxn>
                <a:cxn ang="0">
                  <a:pos x="238" y="220"/>
                </a:cxn>
                <a:cxn ang="0">
                  <a:pos x="195" y="201"/>
                </a:cxn>
                <a:cxn ang="0">
                  <a:pos x="128" y="198"/>
                </a:cxn>
                <a:cxn ang="0">
                  <a:pos x="73" y="154"/>
                </a:cxn>
                <a:cxn ang="0">
                  <a:pos x="41" y="148"/>
                </a:cxn>
                <a:cxn ang="0">
                  <a:pos x="39" y="112"/>
                </a:cxn>
                <a:cxn ang="0">
                  <a:pos x="23" y="95"/>
                </a:cxn>
                <a:cxn ang="0">
                  <a:pos x="13" y="93"/>
                </a:cxn>
                <a:cxn ang="0">
                  <a:pos x="0" y="73"/>
                </a:cxn>
              </a:cxnLst>
              <a:rect l="0" t="0" r="r" b="b"/>
              <a:pathLst>
                <a:path w="450" h="221">
                  <a:moveTo>
                    <a:pt x="0" y="71"/>
                  </a:moveTo>
                  <a:lnTo>
                    <a:pt x="3" y="65"/>
                  </a:lnTo>
                  <a:lnTo>
                    <a:pt x="8" y="61"/>
                  </a:lnTo>
                  <a:lnTo>
                    <a:pt x="16" y="58"/>
                  </a:lnTo>
                  <a:lnTo>
                    <a:pt x="39" y="42"/>
                  </a:lnTo>
                  <a:lnTo>
                    <a:pt x="63" y="35"/>
                  </a:lnTo>
                  <a:lnTo>
                    <a:pt x="73" y="38"/>
                  </a:lnTo>
                  <a:lnTo>
                    <a:pt x="76" y="41"/>
                  </a:lnTo>
                  <a:lnTo>
                    <a:pt x="86" y="39"/>
                  </a:lnTo>
                  <a:lnTo>
                    <a:pt x="92" y="39"/>
                  </a:lnTo>
                  <a:lnTo>
                    <a:pt x="100" y="50"/>
                  </a:lnTo>
                  <a:lnTo>
                    <a:pt x="105" y="50"/>
                  </a:lnTo>
                  <a:lnTo>
                    <a:pt x="116" y="48"/>
                  </a:lnTo>
                  <a:lnTo>
                    <a:pt x="121" y="50"/>
                  </a:lnTo>
                  <a:lnTo>
                    <a:pt x="141" y="48"/>
                  </a:lnTo>
                  <a:lnTo>
                    <a:pt x="144" y="48"/>
                  </a:lnTo>
                  <a:lnTo>
                    <a:pt x="143" y="42"/>
                  </a:lnTo>
                  <a:lnTo>
                    <a:pt x="144" y="38"/>
                  </a:lnTo>
                  <a:lnTo>
                    <a:pt x="147" y="34"/>
                  </a:lnTo>
                  <a:lnTo>
                    <a:pt x="147" y="31"/>
                  </a:lnTo>
                  <a:lnTo>
                    <a:pt x="144" y="26"/>
                  </a:lnTo>
                  <a:lnTo>
                    <a:pt x="143" y="22"/>
                  </a:lnTo>
                  <a:lnTo>
                    <a:pt x="143" y="18"/>
                  </a:lnTo>
                  <a:lnTo>
                    <a:pt x="159" y="2"/>
                  </a:lnTo>
                  <a:lnTo>
                    <a:pt x="161" y="0"/>
                  </a:lnTo>
                  <a:lnTo>
                    <a:pt x="167" y="2"/>
                  </a:lnTo>
                  <a:lnTo>
                    <a:pt x="172" y="4"/>
                  </a:lnTo>
                  <a:lnTo>
                    <a:pt x="180" y="7"/>
                  </a:lnTo>
                  <a:lnTo>
                    <a:pt x="183" y="12"/>
                  </a:lnTo>
                  <a:lnTo>
                    <a:pt x="201" y="16"/>
                  </a:lnTo>
                  <a:lnTo>
                    <a:pt x="202" y="20"/>
                  </a:lnTo>
                  <a:lnTo>
                    <a:pt x="204" y="32"/>
                  </a:lnTo>
                  <a:lnTo>
                    <a:pt x="205" y="32"/>
                  </a:lnTo>
                  <a:lnTo>
                    <a:pt x="215" y="41"/>
                  </a:lnTo>
                  <a:lnTo>
                    <a:pt x="224" y="44"/>
                  </a:lnTo>
                  <a:lnTo>
                    <a:pt x="231" y="42"/>
                  </a:lnTo>
                  <a:lnTo>
                    <a:pt x="246" y="35"/>
                  </a:lnTo>
                  <a:lnTo>
                    <a:pt x="265" y="41"/>
                  </a:lnTo>
                  <a:lnTo>
                    <a:pt x="267" y="44"/>
                  </a:lnTo>
                  <a:lnTo>
                    <a:pt x="269" y="44"/>
                  </a:lnTo>
                  <a:lnTo>
                    <a:pt x="275" y="50"/>
                  </a:lnTo>
                  <a:lnTo>
                    <a:pt x="286" y="52"/>
                  </a:lnTo>
                  <a:lnTo>
                    <a:pt x="289" y="58"/>
                  </a:lnTo>
                  <a:lnTo>
                    <a:pt x="296" y="63"/>
                  </a:lnTo>
                  <a:lnTo>
                    <a:pt x="323" y="65"/>
                  </a:lnTo>
                  <a:lnTo>
                    <a:pt x="327" y="67"/>
                  </a:lnTo>
                  <a:lnTo>
                    <a:pt x="357" y="58"/>
                  </a:lnTo>
                  <a:lnTo>
                    <a:pt x="373" y="47"/>
                  </a:lnTo>
                  <a:lnTo>
                    <a:pt x="379" y="45"/>
                  </a:lnTo>
                  <a:lnTo>
                    <a:pt x="386" y="48"/>
                  </a:lnTo>
                  <a:lnTo>
                    <a:pt x="391" y="51"/>
                  </a:lnTo>
                  <a:lnTo>
                    <a:pt x="397" y="52"/>
                  </a:lnTo>
                  <a:lnTo>
                    <a:pt x="401" y="51"/>
                  </a:lnTo>
                  <a:lnTo>
                    <a:pt x="404" y="50"/>
                  </a:lnTo>
                  <a:lnTo>
                    <a:pt x="405" y="50"/>
                  </a:lnTo>
                  <a:lnTo>
                    <a:pt x="405" y="50"/>
                  </a:lnTo>
                  <a:lnTo>
                    <a:pt x="405" y="51"/>
                  </a:lnTo>
                  <a:lnTo>
                    <a:pt x="404" y="54"/>
                  </a:lnTo>
                  <a:lnTo>
                    <a:pt x="395" y="67"/>
                  </a:lnTo>
                  <a:lnTo>
                    <a:pt x="395" y="80"/>
                  </a:lnTo>
                  <a:lnTo>
                    <a:pt x="394" y="84"/>
                  </a:lnTo>
                  <a:lnTo>
                    <a:pt x="394" y="96"/>
                  </a:lnTo>
                  <a:lnTo>
                    <a:pt x="397" y="100"/>
                  </a:lnTo>
                  <a:lnTo>
                    <a:pt x="407" y="102"/>
                  </a:lnTo>
                  <a:lnTo>
                    <a:pt x="420" y="100"/>
                  </a:lnTo>
                  <a:lnTo>
                    <a:pt x="433" y="92"/>
                  </a:lnTo>
                  <a:lnTo>
                    <a:pt x="437" y="99"/>
                  </a:lnTo>
                  <a:lnTo>
                    <a:pt x="445" y="105"/>
                  </a:lnTo>
                  <a:lnTo>
                    <a:pt x="446" y="108"/>
                  </a:lnTo>
                  <a:lnTo>
                    <a:pt x="446" y="113"/>
                  </a:lnTo>
                  <a:lnTo>
                    <a:pt x="449" y="116"/>
                  </a:lnTo>
                  <a:lnTo>
                    <a:pt x="450" y="119"/>
                  </a:lnTo>
                  <a:lnTo>
                    <a:pt x="447" y="121"/>
                  </a:lnTo>
                  <a:lnTo>
                    <a:pt x="437" y="119"/>
                  </a:lnTo>
                  <a:lnTo>
                    <a:pt x="413" y="122"/>
                  </a:lnTo>
                  <a:lnTo>
                    <a:pt x="395" y="140"/>
                  </a:lnTo>
                  <a:lnTo>
                    <a:pt x="389" y="144"/>
                  </a:lnTo>
                  <a:lnTo>
                    <a:pt x="384" y="144"/>
                  </a:lnTo>
                  <a:lnTo>
                    <a:pt x="373" y="154"/>
                  </a:lnTo>
                  <a:lnTo>
                    <a:pt x="366" y="158"/>
                  </a:lnTo>
                  <a:lnTo>
                    <a:pt x="356" y="158"/>
                  </a:lnTo>
                  <a:lnTo>
                    <a:pt x="353" y="154"/>
                  </a:lnTo>
                  <a:lnTo>
                    <a:pt x="349" y="153"/>
                  </a:lnTo>
                  <a:lnTo>
                    <a:pt x="343" y="156"/>
                  </a:lnTo>
                  <a:lnTo>
                    <a:pt x="337" y="164"/>
                  </a:lnTo>
                  <a:lnTo>
                    <a:pt x="337" y="169"/>
                  </a:lnTo>
                  <a:lnTo>
                    <a:pt x="343" y="176"/>
                  </a:lnTo>
                  <a:lnTo>
                    <a:pt x="343" y="179"/>
                  </a:lnTo>
                  <a:lnTo>
                    <a:pt x="328" y="192"/>
                  </a:lnTo>
                  <a:lnTo>
                    <a:pt x="325" y="196"/>
                  </a:lnTo>
                  <a:lnTo>
                    <a:pt x="310" y="205"/>
                  </a:lnTo>
                  <a:lnTo>
                    <a:pt x="302" y="205"/>
                  </a:lnTo>
                  <a:lnTo>
                    <a:pt x="301" y="206"/>
                  </a:lnTo>
                  <a:lnTo>
                    <a:pt x="294" y="204"/>
                  </a:lnTo>
                  <a:lnTo>
                    <a:pt x="289" y="205"/>
                  </a:lnTo>
                  <a:lnTo>
                    <a:pt x="282" y="205"/>
                  </a:lnTo>
                  <a:lnTo>
                    <a:pt x="265" y="209"/>
                  </a:lnTo>
                  <a:lnTo>
                    <a:pt x="263" y="212"/>
                  </a:lnTo>
                  <a:lnTo>
                    <a:pt x="249" y="217"/>
                  </a:lnTo>
                  <a:lnTo>
                    <a:pt x="244" y="221"/>
                  </a:lnTo>
                  <a:lnTo>
                    <a:pt x="241" y="221"/>
                  </a:lnTo>
                  <a:lnTo>
                    <a:pt x="238" y="220"/>
                  </a:lnTo>
                  <a:lnTo>
                    <a:pt x="235" y="218"/>
                  </a:lnTo>
                  <a:lnTo>
                    <a:pt x="202" y="206"/>
                  </a:lnTo>
                  <a:lnTo>
                    <a:pt x="195" y="201"/>
                  </a:lnTo>
                  <a:lnTo>
                    <a:pt x="179" y="196"/>
                  </a:lnTo>
                  <a:lnTo>
                    <a:pt x="131" y="199"/>
                  </a:lnTo>
                  <a:lnTo>
                    <a:pt x="128" y="198"/>
                  </a:lnTo>
                  <a:lnTo>
                    <a:pt x="106" y="167"/>
                  </a:lnTo>
                  <a:lnTo>
                    <a:pt x="103" y="167"/>
                  </a:lnTo>
                  <a:lnTo>
                    <a:pt x="73" y="154"/>
                  </a:lnTo>
                  <a:lnTo>
                    <a:pt x="66" y="156"/>
                  </a:lnTo>
                  <a:lnTo>
                    <a:pt x="42" y="150"/>
                  </a:lnTo>
                  <a:lnTo>
                    <a:pt x="41" y="148"/>
                  </a:lnTo>
                  <a:lnTo>
                    <a:pt x="41" y="144"/>
                  </a:lnTo>
                  <a:lnTo>
                    <a:pt x="42" y="140"/>
                  </a:lnTo>
                  <a:lnTo>
                    <a:pt x="39" y="112"/>
                  </a:lnTo>
                  <a:lnTo>
                    <a:pt x="32" y="97"/>
                  </a:lnTo>
                  <a:lnTo>
                    <a:pt x="28" y="96"/>
                  </a:lnTo>
                  <a:lnTo>
                    <a:pt x="23" y="95"/>
                  </a:lnTo>
                  <a:lnTo>
                    <a:pt x="19" y="93"/>
                  </a:lnTo>
                  <a:lnTo>
                    <a:pt x="18" y="96"/>
                  </a:lnTo>
                  <a:lnTo>
                    <a:pt x="13" y="93"/>
                  </a:lnTo>
                  <a:lnTo>
                    <a:pt x="12" y="89"/>
                  </a:lnTo>
                  <a:lnTo>
                    <a:pt x="3" y="81"/>
                  </a:lnTo>
                  <a:lnTo>
                    <a:pt x="0" y="73"/>
                  </a:lnTo>
                  <a:lnTo>
                    <a:pt x="0" y="71"/>
                  </a:lnTo>
                  <a:lnTo>
                    <a:pt x="0" y="7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97" name="Freeform 296"/>
            <p:cNvSpPr>
              <a:spLocks/>
            </p:cNvSpPr>
            <p:nvPr/>
          </p:nvSpPr>
          <p:spPr bwMode="auto">
            <a:xfrm>
              <a:off x="7264499" y="2369005"/>
              <a:ext cx="413444" cy="230208"/>
            </a:xfrm>
            <a:custGeom>
              <a:avLst/>
              <a:gdLst/>
              <a:ahLst/>
              <a:cxnLst>
                <a:cxn ang="0">
                  <a:pos x="8" y="61"/>
                </a:cxn>
                <a:cxn ang="0">
                  <a:pos x="63" y="35"/>
                </a:cxn>
                <a:cxn ang="0">
                  <a:pos x="86" y="39"/>
                </a:cxn>
                <a:cxn ang="0">
                  <a:pos x="105" y="50"/>
                </a:cxn>
                <a:cxn ang="0">
                  <a:pos x="141" y="48"/>
                </a:cxn>
                <a:cxn ang="0">
                  <a:pos x="144" y="38"/>
                </a:cxn>
                <a:cxn ang="0">
                  <a:pos x="144" y="26"/>
                </a:cxn>
                <a:cxn ang="0">
                  <a:pos x="159" y="2"/>
                </a:cxn>
                <a:cxn ang="0">
                  <a:pos x="172" y="4"/>
                </a:cxn>
                <a:cxn ang="0">
                  <a:pos x="201" y="16"/>
                </a:cxn>
                <a:cxn ang="0">
                  <a:pos x="205" y="32"/>
                </a:cxn>
                <a:cxn ang="0">
                  <a:pos x="231" y="42"/>
                </a:cxn>
                <a:cxn ang="0">
                  <a:pos x="267" y="44"/>
                </a:cxn>
                <a:cxn ang="0">
                  <a:pos x="286" y="52"/>
                </a:cxn>
                <a:cxn ang="0">
                  <a:pos x="323" y="65"/>
                </a:cxn>
                <a:cxn ang="0">
                  <a:pos x="373" y="47"/>
                </a:cxn>
                <a:cxn ang="0">
                  <a:pos x="391" y="51"/>
                </a:cxn>
                <a:cxn ang="0">
                  <a:pos x="404" y="50"/>
                </a:cxn>
                <a:cxn ang="0">
                  <a:pos x="405" y="51"/>
                </a:cxn>
                <a:cxn ang="0">
                  <a:pos x="395" y="80"/>
                </a:cxn>
                <a:cxn ang="0">
                  <a:pos x="397" y="100"/>
                </a:cxn>
                <a:cxn ang="0">
                  <a:pos x="433" y="92"/>
                </a:cxn>
                <a:cxn ang="0">
                  <a:pos x="446" y="108"/>
                </a:cxn>
                <a:cxn ang="0">
                  <a:pos x="450" y="119"/>
                </a:cxn>
                <a:cxn ang="0">
                  <a:pos x="413" y="122"/>
                </a:cxn>
                <a:cxn ang="0">
                  <a:pos x="384" y="144"/>
                </a:cxn>
                <a:cxn ang="0">
                  <a:pos x="356" y="158"/>
                </a:cxn>
                <a:cxn ang="0">
                  <a:pos x="343" y="156"/>
                </a:cxn>
                <a:cxn ang="0">
                  <a:pos x="343" y="176"/>
                </a:cxn>
                <a:cxn ang="0">
                  <a:pos x="325" y="196"/>
                </a:cxn>
                <a:cxn ang="0">
                  <a:pos x="301" y="206"/>
                </a:cxn>
                <a:cxn ang="0">
                  <a:pos x="282" y="205"/>
                </a:cxn>
                <a:cxn ang="0">
                  <a:pos x="249" y="217"/>
                </a:cxn>
                <a:cxn ang="0">
                  <a:pos x="238" y="220"/>
                </a:cxn>
                <a:cxn ang="0">
                  <a:pos x="195" y="201"/>
                </a:cxn>
                <a:cxn ang="0">
                  <a:pos x="128" y="198"/>
                </a:cxn>
                <a:cxn ang="0">
                  <a:pos x="73" y="154"/>
                </a:cxn>
                <a:cxn ang="0">
                  <a:pos x="41" y="148"/>
                </a:cxn>
                <a:cxn ang="0">
                  <a:pos x="39" y="112"/>
                </a:cxn>
                <a:cxn ang="0">
                  <a:pos x="23" y="95"/>
                </a:cxn>
                <a:cxn ang="0">
                  <a:pos x="13" y="93"/>
                </a:cxn>
                <a:cxn ang="0">
                  <a:pos x="0" y="73"/>
                </a:cxn>
              </a:cxnLst>
              <a:rect l="0" t="0" r="r" b="b"/>
              <a:pathLst>
                <a:path w="450" h="221">
                  <a:moveTo>
                    <a:pt x="0" y="71"/>
                  </a:moveTo>
                  <a:lnTo>
                    <a:pt x="3" y="65"/>
                  </a:lnTo>
                  <a:lnTo>
                    <a:pt x="8" y="61"/>
                  </a:lnTo>
                  <a:lnTo>
                    <a:pt x="16" y="58"/>
                  </a:lnTo>
                  <a:lnTo>
                    <a:pt x="39" y="42"/>
                  </a:lnTo>
                  <a:lnTo>
                    <a:pt x="63" y="35"/>
                  </a:lnTo>
                  <a:lnTo>
                    <a:pt x="73" y="38"/>
                  </a:lnTo>
                  <a:lnTo>
                    <a:pt x="76" y="41"/>
                  </a:lnTo>
                  <a:lnTo>
                    <a:pt x="86" y="39"/>
                  </a:lnTo>
                  <a:lnTo>
                    <a:pt x="92" y="39"/>
                  </a:lnTo>
                  <a:lnTo>
                    <a:pt x="100" y="50"/>
                  </a:lnTo>
                  <a:lnTo>
                    <a:pt x="105" y="50"/>
                  </a:lnTo>
                  <a:lnTo>
                    <a:pt x="116" y="48"/>
                  </a:lnTo>
                  <a:lnTo>
                    <a:pt x="121" y="50"/>
                  </a:lnTo>
                  <a:lnTo>
                    <a:pt x="141" y="48"/>
                  </a:lnTo>
                  <a:lnTo>
                    <a:pt x="144" y="48"/>
                  </a:lnTo>
                  <a:lnTo>
                    <a:pt x="143" y="42"/>
                  </a:lnTo>
                  <a:lnTo>
                    <a:pt x="144" y="38"/>
                  </a:lnTo>
                  <a:lnTo>
                    <a:pt x="147" y="34"/>
                  </a:lnTo>
                  <a:lnTo>
                    <a:pt x="147" y="31"/>
                  </a:lnTo>
                  <a:lnTo>
                    <a:pt x="144" y="26"/>
                  </a:lnTo>
                  <a:lnTo>
                    <a:pt x="143" y="22"/>
                  </a:lnTo>
                  <a:lnTo>
                    <a:pt x="143" y="18"/>
                  </a:lnTo>
                  <a:lnTo>
                    <a:pt x="159" y="2"/>
                  </a:lnTo>
                  <a:lnTo>
                    <a:pt x="161" y="0"/>
                  </a:lnTo>
                  <a:lnTo>
                    <a:pt x="167" y="2"/>
                  </a:lnTo>
                  <a:lnTo>
                    <a:pt x="172" y="4"/>
                  </a:lnTo>
                  <a:lnTo>
                    <a:pt x="180" y="7"/>
                  </a:lnTo>
                  <a:lnTo>
                    <a:pt x="183" y="12"/>
                  </a:lnTo>
                  <a:lnTo>
                    <a:pt x="201" y="16"/>
                  </a:lnTo>
                  <a:lnTo>
                    <a:pt x="202" y="20"/>
                  </a:lnTo>
                  <a:lnTo>
                    <a:pt x="204" y="32"/>
                  </a:lnTo>
                  <a:lnTo>
                    <a:pt x="205" y="32"/>
                  </a:lnTo>
                  <a:lnTo>
                    <a:pt x="215" y="41"/>
                  </a:lnTo>
                  <a:lnTo>
                    <a:pt x="224" y="44"/>
                  </a:lnTo>
                  <a:lnTo>
                    <a:pt x="231" y="42"/>
                  </a:lnTo>
                  <a:lnTo>
                    <a:pt x="246" y="35"/>
                  </a:lnTo>
                  <a:lnTo>
                    <a:pt x="265" y="41"/>
                  </a:lnTo>
                  <a:lnTo>
                    <a:pt x="267" y="44"/>
                  </a:lnTo>
                  <a:lnTo>
                    <a:pt x="269" y="44"/>
                  </a:lnTo>
                  <a:lnTo>
                    <a:pt x="275" y="50"/>
                  </a:lnTo>
                  <a:lnTo>
                    <a:pt x="286" y="52"/>
                  </a:lnTo>
                  <a:lnTo>
                    <a:pt x="289" y="58"/>
                  </a:lnTo>
                  <a:lnTo>
                    <a:pt x="296" y="63"/>
                  </a:lnTo>
                  <a:lnTo>
                    <a:pt x="323" y="65"/>
                  </a:lnTo>
                  <a:lnTo>
                    <a:pt x="327" y="67"/>
                  </a:lnTo>
                  <a:lnTo>
                    <a:pt x="357" y="58"/>
                  </a:lnTo>
                  <a:lnTo>
                    <a:pt x="373" y="47"/>
                  </a:lnTo>
                  <a:lnTo>
                    <a:pt x="379" y="45"/>
                  </a:lnTo>
                  <a:lnTo>
                    <a:pt x="386" y="48"/>
                  </a:lnTo>
                  <a:lnTo>
                    <a:pt x="391" y="51"/>
                  </a:lnTo>
                  <a:lnTo>
                    <a:pt x="397" y="52"/>
                  </a:lnTo>
                  <a:lnTo>
                    <a:pt x="401" y="51"/>
                  </a:lnTo>
                  <a:lnTo>
                    <a:pt x="404" y="50"/>
                  </a:lnTo>
                  <a:lnTo>
                    <a:pt x="405" y="50"/>
                  </a:lnTo>
                  <a:lnTo>
                    <a:pt x="405" y="50"/>
                  </a:lnTo>
                  <a:lnTo>
                    <a:pt x="405" y="51"/>
                  </a:lnTo>
                  <a:lnTo>
                    <a:pt x="404" y="54"/>
                  </a:lnTo>
                  <a:lnTo>
                    <a:pt x="395" y="67"/>
                  </a:lnTo>
                  <a:lnTo>
                    <a:pt x="395" y="80"/>
                  </a:lnTo>
                  <a:lnTo>
                    <a:pt x="394" y="84"/>
                  </a:lnTo>
                  <a:lnTo>
                    <a:pt x="394" y="96"/>
                  </a:lnTo>
                  <a:lnTo>
                    <a:pt x="397" y="100"/>
                  </a:lnTo>
                  <a:lnTo>
                    <a:pt x="407" y="102"/>
                  </a:lnTo>
                  <a:lnTo>
                    <a:pt x="420" y="100"/>
                  </a:lnTo>
                  <a:lnTo>
                    <a:pt x="433" y="92"/>
                  </a:lnTo>
                  <a:lnTo>
                    <a:pt x="437" y="99"/>
                  </a:lnTo>
                  <a:lnTo>
                    <a:pt x="445" y="105"/>
                  </a:lnTo>
                  <a:lnTo>
                    <a:pt x="446" y="108"/>
                  </a:lnTo>
                  <a:lnTo>
                    <a:pt x="446" y="113"/>
                  </a:lnTo>
                  <a:lnTo>
                    <a:pt x="449" y="116"/>
                  </a:lnTo>
                  <a:lnTo>
                    <a:pt x="450" y="119"/>
                  </a:lnTo>
                  <a:lnTo>
                    <a:pt x="447" y="121"/>
                  </a:lnTo>
                  <a:lnTo>
                    <a:pt x="437" y="119"/>
                  </a:lnTo>
                  <a:lnTo>
                    <a:pt x="413" y="122"/>
                  </a:lnTo>
                  <a:lnTo>
                    <a:pt x="395" y="140"/>
                  </a:lnTo>
                  <a:lnTo>
                    <a:pt x="389" y="144"/>
                  </a:lnTo>
                  <a:lnTo>
                    <a:pt x="384" y="144"/>
                  </a:lnTo>
                  <a:lnTo>
                    <a:pt x="373" y="154"/>
                  </a:lnTo>
                  <a:lnTo>
                    <a:pt x="366" y="158"/>
                  </a:lnTo>
                  <a:lnTo>
                    <a:pt x="356" y="158"/>
                  </a:lnTo>
                  <a:lnTo>
                    <a:pt x="353" y="154"/>
                  </a:lnTo>
                  <a:lnTo>
                    <a:pt x="349" y="153"/>
                  </a:lnTo>
                  <a:lnTo>
                    <a:pt x="343" y="156"/>
                  </a:lnTo>
                  <a:lnTo>
                    <a:pt x="337" y="164"/>
                  </a:lnTo>
                  <a:lnTo>
                    <a:pt x="337" y="169"/>
                  </a:lnTo>
                  <a:lnTo>
                    <a:pt x="343" y="176"/>
                  </a:lnTo>
                  <a:lnTo>
                    <a:pt x="343" y="179"/>
                  </a:lnTo>
                  <a:lnTo>
                    <a:pt x="328" y="192"/>
                  </a:lnTo>
                  <a:lnTo>
                    <a:pt x="325" y="196"/>
                  </a:lnTo>
                  <a:lnTo>
                    <a:pt x="310" y="205"/>
                  </a:lnTo>
                  <a:lnTo>
                    <a:pt x="302" y="205"/>
                  </a:lnTo>
                  <a:lnTo>
                    <a:pt x="301" y="206"/>
                  </a:lnTo>
                  <a:lnTo>
                    <a:pt x="294" y="204"/>
                  </a:lnTo>
                  <a:lnTo>
                    <a:pt x="289" y="205"/>
                  </a:lnTo>
                  <a:lnTo>
                    <a:pt x="282" y="205"/>
                  </a:lnTo>
                  <a:lnTo>
                    <a:pt x="265" y="209"/>
                  </a:lnTo>
                  <a:lnTo>
                    <a:pt x="263" y="212"/>
                  </a:lnTo>
                  <a:lnTo>
                    <a:pt x="249" y="217"/>
                  </a:lnTo>
                  <a:lnTo>
                    <a:pt x="244" y="221"/>
                  </a:lnTo>
                  <a:lnTo>
                    <a:pt x="241" y="221"/>
                  </a:lnTo>
                  <a:lnTo>
                    <a:pt x="238" y="220"/>
                  </a:lnTo>
                  <a:lnTo>
                    <a:pt x="235" y="218"/>
                  </a:lnTo>
                  <a:lnTo>
                    <a:pt x="202" y="206"/>
                  </a:lnTo>
                  <a:lnTo>
                    <a:pt x="195" y="201"/>
                  </a:lnTo>
                  <a:lnTo>
                    <a:pt x="179" y="196"/>
                  </a:lnTo>
                  <a:lnTo>
                    <a:pt x="131" y="199"/>
                  </a:lnTo>
                  <a:lnTo>
                    <a:pt x="128" y="198"/>
                  </a:lnTo>
                  <a:lnTo>
                    <a:pt x="106" y="167"/>
                  </a:lnTo>
                  <a:lnTo>
                    <a:pt x="103" y="167"/>
                  </a:lnTo>
                  <a:lnTo>
                    <a:pt x="73" y="154"/>
                  </a:lnTo>
                  <a:lnTo>
                    <a:pt x="66" y="156"/>
                  </a:lnTo>
                  <a:lnTo>
                    <a:pt x="42" y="150"/>
                  </a:lnTo>
                  <a:lnTo>
                    <a:pt x="41" y="148"/>
                  </a:lnTo>
                  <a:lnTo>
                    <a:pt x="41" y="144"/>
                  </a:lnTo>
                  <a:lnTo>
                    <a:pt x="42" y="140"/>
                  </a:lnTo>
                  <a:lnTo>
                    <a:pt x="39" y="112"/>
                  </a:lnTo>
                  <a:lnTo>
                    <a:pt x="32" y="97"/>
                  </a:lnTo>
                  <a:lnTo>
                    <a:pt x="28" y="96"/>
                  </a:lnTo>
                  <a:lnTo>
                    <a:pt x="23" y="95"/>
                  </a:lnTo>
                  <a:lnTo>
                    <a:pt x="19" y="93"/>
                  </a:lnTo>
                  <a:lnTo>
                    <a:pt x="18" y="96"/>
                  </a:lnTo>
                  <a:lnTo>
                    <a:pt x="13" y="93"/>
                  </a:lnTo>
                  <a:lnTo>
                    <a:pt x="12" y="89"/>
                  </a:lnTo>
                  <a:lnTo>
                    <a:pt x="3" y="81"/>
                  </a:lnTo>
                  <a:lnTo>
                    <a:pt x="0" y="73"/>
                  </a:lnTo>
                  <a:lnTo>
                    <a:pt x="0" y="71"/>
                  </a:lnTo>
                  <a:lnTo>
                    <a:pt x="0" y="7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98" name="Freeform 297"/>
            <p:cNvSpPr>
              <a:spLocks/>
            </p:cNvSpPr>
            <p:nvPr/>
          </p:nvSpPr>
          <p:spPr bwMode="auto">
            <a:xfrm>
              <a:off x="7426014" y="3176254"/>
              <a:ext cx="53546" cy="78089"/>
            </a:xfrm>
            <a:custGeom>
              <a:avLst/>
              <a:gdLst/>
              <a:ahLst/>
              <a:cxnLst>
                <a:cxn ang="0">
                  <a:pos x="1" y="4"/>
                </a:cxn>
                <a:cxn ang="0">
                  <a:pos x="1" y="4"/>
                </a:cxn>
                <a:cxn ang="0">
                  <a:pos x="4" y="26"/>
                </a:cxn>
                <a:cxn ang="0">
                  <a:pos x="7" y="27"/>
                </a:cxn>
                <a:cxn ang="0">
                  <a:pos x="7" y="33"/>
                </a:cxn>
                <a:cxn ang="0">
                  <a:pos x="9" y="36"/>
                </a:cxn>
                <a:cxn ang="0">
                  <a:pos x="9" y="39"/>
                </a:cxn>
                <a:cxn ang="0">
                  <a:pos x="17" y="50"/>
                </a:cxn>
                <a:cxn ang="0">
                  <a:pos x="17" y="53"/>
                </a:cxn>
                <a:cxn ang="0">
                  <a:pos x="46" y="74"/>
                </a:cxn>
                <a:cxn ang="0">
                  <a:pos x="46" y="74"/>
                </a:cxn>
                <a:cxn ang="0">
                  <a:pos x="48" y="75"/>
                </a:cxn>
                <a:cxn ang="0">
                  <a:pos x="49" y="74"/>
                </a:cxn>
                <a:cxn ang="0">
                  <a:pos x="49" y="72"/>
                </a:cxn>
                <a:cxn ang="0">
                  <a:pos x="51" y="72"/>
                </a:cxn>
                <a:cxn ang="0">
                  <a:pos x="55" y="72"/>
                </a:cxn>
                <a:cxn ang="0">
                  <a:pos x="57" y="75"/>
                </a:cxn>
                <a:cxn ang="0">
                  <a:pos x="58" y="72"/>
                </a:cxn>
                <a:cxn ang="0">
                  <a:pos x="58" y="68"/>
                </a:cxn>
                <a:cxn ang="0">
                  <a:pos x="54" y="58"/>
                </a:cxn>
                <a:cxn ang="0">
                  <a:pos x="49" y="55"/>
                </a:cxn>
                <a:cxn ang="0">
                  <a:pos x="46" y="24"/>
                </a:cxn>
                <a:cxn ang="0">
                  <a:pos x="41" y="16"/>
                </a:cxn>
                <a:cxn ang="0">
                  <a:pos x="32" y="7"/>
                </a:cxn>
                <a:cxn ang="0">
                  <a:pos x="29" y="7"/>
                </a:cxn>
                <a:cxn ang="0">
                  <a:pos x="26" y="10"/>
                </a:cxn>
                <a:cxn ang="0">
                  <a:pos x="25" y="11"/>
                </a:cxn>
                <a:cxn ang="0">
                  <a:pos x="22" y="10"/>
                </a:cxn>
                <a:cxn ang="0">
                  <a:pos x="14" y="14"/>
                </a:cxn>
                <a:cxn ang="0">
                  <a:pos x="14" y="11"/>
                </a:cxn>
                <a:cxn ang="0">
                  <a:pos x="14" y="7"/>
                </a:cxn>
                <a:cxn ang="0">
                  <a:pos x="12" y="4"/>
                </a:cxn>
                <a:cxn ang="0">
                  <a:pos x="6" y="3"/>
                </a:cxn>
                <a:cxn ang="0">
                  <a:pos x="3" y="0"/>
                </a:cxn>
                <a:cxn ang="0">
                  <a:pos x="0" y="0"/>
                </a:cxn>
                <a:cxn ang="0">
                  <a:pos x="1" y="4"/>
                </a:cxn>
              </a:cxnLst>
              <a:rect l="0" t="0" r="r" b="b"/>
              <a:pathLst>
                <a:path w="58" h="75">
                  <a:moveTo>
                    <a:pt x="1" y="4"/>
                  </a:moveTo>
                  <a:lnTo>
                    <a:pt x="1" y="4"/>
                  </a:lnTo>
                  <a:lnTo>
                    <a:pt x="4" y="26"/>
                  </a:lnTo>
                  <a:lnTo>
                    <a:pt x="7" y="27"/>
                  </a:lnTo>
                  <a:lnTo>
                    <a:pt x="7" y="33"/>
                  </a:lnTo>
                  <a:lnTo>
                    <a:pt x="9" y="36"/>
                  </a:lnTo>
                  <a:lnTo>
                    <a:pt x="9" y="39"/>
                  </a:lnTo>
                  <a:lnTo>
                    <a:pt x="17" y="50"/>
                  </a:lnTo>
                  <a:lnTo>
                    <a:pt x="17" y="53"/>
                  </a:lnTo>
                  <a:lnTo>
                    <a:pt x="46" y="74"/>
                  </a:lnTo>
                  <a:lnTo>
                    <a:pt x="46" y="74"/>
                  </a:lnTo>
                  <a:lnTo>
                    <a:pt x="48" y="75"/>
                  </a:lnTo>
                  <a:lnTo>
                    <a:pt x="49" y="74"/>
                  </a:lnTo>
                  <a:lnTo>
                    <a:pt x="49" y="72"/>
                  </a:lnTo>
                  <a:lnTo>
                    <a:pt x="51" y="72"/>
                  </a:lnTo>
                  <a:lnTo>
                    <a:pt x="55" y="72"/>
                  </a:lnTo>
                  <a:lnTo>
                    <a:pt x="57" y="75"/>
                  </a:lnTo>
                  <a:lnTo>
                    <a:pt x="58" y="72"/>
                  </a:lnTo>
                  <a:lnTo>
                    <a:pt x="58" y="68"/>
                  </a:lnTo>
                  <a:lnTo>
                    <a:pt x="54" y="58"/>
                  </a:lnTo>
                  <a:lnTo>
                    <a:pt x="49" y="55"/>
                  </a:lnTo>
                  <a:lnTo>
                    <a:pt x="46" y="24"/>
                  </a:lnTo>
                  <a:lnTo>
                    <a:pt x="41" y="16"/>
                  </a:lnTo>
                  <a:lnTo>
                    <a:pt x="32" y="7"/>
                  </a:lnTo>
                  <a:lnTo>
                    <a:pt x="29" y="7"/>
                  </a:lnTo>
                  <a:lnTo>
                    <a:pt x="26" y="10"/>
                  </a:lnTo>
                  <a:lnTo>
                    <a:pt x="25" y="11"/>
                  </a:lnTo>
                  <a:lnTo>
                    <a:pt x="22" y="10"/>
                  </a:lnTo>
                  <a:lnTo>
                    <a:pt x="14" y="14"/>
                  </a:lnTo>
                  <a:lnTo>
                    <a:pt x="14" y="11"/>
                  </a:lnTo>
                  <a:lnTo>
                    <a:pt x="14" y="7"/>
                  </a:lnTo>
                  <a:lnTo>
                    <a:pt x="12" y="4"/>
                  </a:lnTo>
                  <a:lnTo>
                    <a:pt x="6" y="3"/>
                  </a:lnTo>
                  <a:lnTo>
                    <a:pt x="3" y="0"/>
                  </a:lnTo>
                  <a:lnTo>
                    <a:pt x="0" y="0"/>
                  </a:lnTo>
                  <a:lnTo>
                    <a:pt x="1" y="4"/>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299" name="Freeform 298"/>
            <p:cNvSpPr>
              <a:spLocks/>
            </p:cNvSpPr>
            <p:nvPr/>
          </p:nvSpPr>
          <p:spPr bwMode="auto">
            <a:xfrm>
              <a:off x="6302430" y="2302072"/>
              <a:ext cx="130792" cy="137922"/>
            </a:xfrm>
            <a:custGeom>
              <a:avLst/>
              <a:gdLst/>
              <a:ahLst/>
              <a:cxnLst>
                <a:cxn ang="0">
                  <a:pos x="137" y="90"/>
                </a:cxn>
                <a:cxn ang="0">
                  <a:pos x="139" y="96"/>
                </a:cxn>
                <a:cxn ang="0">
                  <a:pos x="140" y="103"/>
                </a:cxn>
                <a:cxn ang="0">
                  <a:pos x="121" y="125"/>
                </a:cxn>
                <a:cxn ang="0">
                  <a:pos x="121" y="132"/>
                </a:cxn>
                <a:cxn ang="0">
                  <a:pos x="116" y="131"/>
                </a:cxn>
                <a:cxn ang="0">
                  <a:pos x="101" y="125"/>
                </a:cxn>
                <a:cxn ang="0">
                  <a:pos x="94" y="127"/>
                </a:cxn>
                <a:cxn ang="0">
                  <a:pos x="87" y="129"/>
                </a:cxn>
                <a:cxn ang="0">
                  <a:pos x="82" y="129"/>
                </a:cxn>
                <a:cxn ang="0">
                  <a:pos x="71" y="125"/>
                </a:cxn>
                <a:cxn ang="0">
                  <a:pos x="58" y="114"/>
                </a:cxn>
                <a:cxn ang="0">
                  <a:pos x="53" y="114"/>
                </a:cxn>
                <a:cxn ang="0">
                  <a:pos x="50" y="106"/>
                </a:cxn>
                <a:cxn ang="0">
                  <a:pos x="39" y="106"/>
                </a:cxn>
                <a:cxn ang="0">
                  <a:pos x="37" y="109"/>
                </a:cxn>
                <a:cxn ang="0">
                  <a:pos x="30" y="103"/>
                </a:cxn>
                <a:cxn ang="0">
                  <a:pos x="31" y="100"/>
                </a:cxn>
                <a:cxn ang="0">
                  <a:pos x="29" y="99"/>
                </a:cxn>
                <a:cxn ang="0">
                  <a:pos x="18" y="95"/>
                </a:cxn>
                <a:cxn ang="0">
                  <a:pos x="14" y="92"/>
                </a:cxn>
                <a:cxn ang="0">
                  <a:pos x="8" y="95"/>
                </a:cxn>
                <a:cxn ang="0">
                  <a:pos x="11" y="82"/>
                </a:cxn>
                <a:cxn ang="0">
                  <a:pos x="4" y="52"/>
                </a:cxn>
                <a:cxn ang="0">
                  <a:pos x="0" y="47"/>
                </a:cxn>
                <a:cxn ang="0">
                  <a:pos x="2" y="34"/>
                </a:cxn>
                <a:cxn ang="0">
                  <a:pos x="4" y="29"/>
                </a:cxn>
                <a:cxn ang="0">
                  <a:pos x="5" y="25"/>
                </a:cxn>
                <a:cxn ang="0">
                  <a:pos x="4" y="22"/>
                </a:cxn>
                <a:cxn ang="0">
                  <a:pos x="7" y="22"/>
                </a:cxn>
                <a:cxn ang="0">
                  <a:pos x="26" y="13"/>
                </a:cxn>
                <a:cxn ang="0">
                  <a:pos x="45" y="2"/>
                </a:cxn>
                <a:cxn ang="0">
                  <a:pos x="65" y="2"/>
                </a:cxn>
                <a:cxn ang="0">
                  <a:pos x="66" y="6"/>
                </a:cxn>
                <a:cxn ang="0">
                  <a:pos x="65" y="13"/>
                </a:cxn>
                <a:cxn ang="0">
                  <a:pos x="66" y="13"/>
                </a:cxn>
                <a:cxn ang="0">
                  <a:pos x="69" y="12"/>
                </a:cxn>
                <a:cxn ang="0">
                  <a:pos x="78" y="9"/>
                </a:cxn>
                <a:cxn ang="0">
                  <a:pos x="123" y="10"/>
                </a:cxn>
                <a:cxn ang="0">
                  <a:pos x="139" y="51"/>
                </a:cxn>
                <a:cxn ang="0">
                  <a:pos x="132" y="57"/>
                </a:cxn>
                <a:cxn ang="0">
                  <a:pos x="130" y="64"/>
                </a:cxn>
                <a:cxn ang="0">
                  <a:pos x="133" y="77"/>
                </a:cxn>
              </a:cxnLst>
              <a:rect l="0" t="0" r="r" b="b"/>
              <a:pathLst>
                <a:path w="142" h="132">
                  <a:moveTo>
                    <a:pt x="133" y="77"/>
                  </a:moveTo>
                  <a:lnTo>
                    <a:pt x="137" y="90"/>
                  </a:lnTo>
                  <a:lnTo>
                    <a:pt x="140" y="93"/>
                  </a:lnTo>
                  <a:lnTo>
                    <a:pt x="139" y="96"/>
                  </a:lnTo>
                  <a:lnTo>
                    <a:pt x="142" y="99"/>
                  </a:lnTo>
                  <a:lnTo>
                    <a:pt x="140" y="103"/>
                  </a:lnTo>
                  <a:lnTo>
                    <a:pt x="130" y="111"/>
                  </a:lnTo>
                  <a:lnTo>
                    <a:pt x="121" y="125"/>
                  </a:lnTo>
                  <a:lnTo>
                    <a:pt x="121" y="129"/>
                  </a:lnTo>
                  <a:lnTo>
                    <a:pt x="121" y="132"/>
                  </a:lnTo>
                  <a:lnTo>
                    <a:pt x="119" y="132"/>
                  </a:lnTo>
                  <a:lnTo>
                    <a:pt x="116" y="131"/>
                  </a:lnTo>
                  <a:lnTo>
                    <a:pt x="108" y="125"/>
                  </a:lnTo>
                  <a:lnTo>
                    <a:pt x="101" y="125"/>
                  </a:lnTo>
                  <a:lnTo>
                    <a:pt x="97" y="128"/>
                  </a:lnTo>
                  <a:lnTo>
                    <a:pt x="94" y="127"/>
                  </a:lnTo>
                  <a:lnTo>
                    <a:pt x="88" y="127"/>
                  </a:lnTo>
                  <a:lnTo>
                    <a:pt x="87" y="129"/>
                  </a:lnTo>
                  <a:lnTo>
                    <a:pt x="84" y="129"/>
                  </a:lnTo>
                  <a:lnTo>
                    <a:pt x="82" y="129"/>
                  </a:lnTo>
                  <a:lnTo>
                    <a:pt x="75" y="122"/>
                  </a:lnTo>
                  <a:lnTo>
                    <a:pt x="71" y="125"/>
                  </a:lnTo>
                  <a:lnTo>
                    <a:pt x="62" y="121"/>
                  </a:lnTo>
                  <a:lnTo>
                    <a:pt x="58" y="114"/>
                  </a:lnTo>
                  <a:lnTo>
                    <a:pt x="55" y="112"/>
                  </a:lnTo>
                  <a:lnTo>
                    <a:pt x="53" y="114"/>
                  </a:lnTo>
                  <a:lnTo>
                    <a:pt x="52" y="111"/>
                  </a:lnTo>
                  <a:lnTo>
                    <a:pt x="50" y="106"/>
                  </a:lnTo>
                  <a:lnTo>
                    <a:pt x="40" y="103"/>
                  </a:lnTo>
                  <a:lnTo>
                    <a:pt x="39" y="106"/>
                  </a:lnTo>
                  <a:lnTo>
                    <a:pt x="40" y="108"/>
                  </a:lnTo>
                  <a:lnTo>
                    <a:pt x="37" y="109"/>
                  </a:lnTo>
                  <a:lnTo>
                    <a:pt x="36" y="108"/>
                  </a:lnTo>
                  <a:lnTo>
                    <a:pt x="30" y="103"/>
                  </a:lnTo>
                  <a:lnTo>
                    <a:pt x="31" y="100"/>
                  </a:lnTo>
                  <a:lnTo>
                    <a:pt x="31" y="100"/>
                  </a:lnTo>
                  <a:lnTo>
                    <a:pt x="31" y="99"/>
                  </a:lnTo>
                  <a:lnTo>
                    <a:pt x="29" y="99"/>
                  </a:lnTo>
                  <a:lnTo>
                    <a:pt x="26" y="96"/>
                  </a:lnTo>
                  <a:lnTo>
                    <a:pt x="18" y="95"/>
                  </a:lnTo>
                  <a:lnTo>
                    <a:pt x="17" y="93"/>
                  </a:lnTo>
                  <a:lnTo>
                    <a:pt x="14" y="92"/>
                  </a:lnTo>
                  <a:lnTo>
                    <a:pt x="10" y="95"/>
                  </a:lnTo>
                  <a:lnTo>
                    <a:pt x="8" y="95"/>
                  </a:lnTo>
                  <a:lnTo>
                    <a:pt x="11" y="82"/>
                  </a:lnTo>
                  <a:lnTo>
                    <a:pt x="11" y="82"/>
                  </a:lnTo>
                  <a:lnTo>
                    <a:pt x="7" y="76"/>
                  </a:lnTo>
                  <a:lnTo>
                    <a:pt x="4" y="52"/>
                  </a:lnTo>
                  <a:lnTo>
                    <a:pt x="0" y="50"/>
                  </a:lnTo>
                  <a:lnTo>
                    <a:pt x="0" y="47"/>
                  </a:lnTo>
                  <a:lnTo>
                    <a:pt x="2" y="41"/>
                  </a:lnTo>
                  <a:lnTo>
                    <a:pt x="2" y="34"/>
                  </a:lnTo>
                  <a:lnTo>
                    <a:pt x="0" y="26"/>
                  </a:lnTo>
                  <a:lnTo>
                    <a:pt x="4" y="29"/>
                  </a:lnTo>
                  <a:lnTo>
                    <a:pt x="5" y="28"/>
                  </a:lnTo>
                  <a:lnTo>
                    <a:pt x="5" y="25"/>
                  </a:lnTo>
                  <a:lnTo>
                    <a:pt x="2" y="23"/>
                  </a:lnTo>
                  <a:lnTo>
                    <a:pt x="4" y="22"/>
                  </a:lnTo>
                  <a:lnTo>
                    <a:pt x="7" y="22"/>
                  </a:lnTo>
                  <a:lnTo>
                    <a:pt x="7" y="22"/>
                  </a:lnTo>
                  <a:lnTo>
                    <a:pt x="10" y="19"/>
                  </a:lnTo>
                  <a:lnTo>
                    <a:pt x="26" y="13"/>
                  </a:lnTo>
                  <a:lnTo>
                    <a:pt x="34" y="6"/>
                  </a:lnTo>
                  <a:lnTo>
                    <a:pt x="45" y="2"/>
                  </a:lnTo>
                  <a:lnTo>
                    <a:pt x="59" y="0"/>
                  </a:lnTo>
                  <a:lnTo>
                    <a:pt x="65" y="2"/>
                  </a:lnTo>
                  <a:lnTo>
                    <a:pt x="66" y="5"/>
                  </a:lnTo>
                  <a:lnTo>
                    <a:pt x="66" y="6"/>
                  </a:lnTo>
                  <a:lnTo>
                    <a:pt x="61" y="3"/>
                  </a:lnTo>
                  <a:lnTo>
                    <a:pt x="65" y="13"/>
                  </a:lnTo>
                  <a:lnTo>
                    <a:pt x="66" y="13"/>
                  </a:lnTo>
                  <a:lnTo>
                    <a:pt x="66" y="13"/>
                  </a:lnTo>
                  <a:lnTo>
                    <a:pt x="68" y="12"/>
                  </a:lnTo>
                  <a:lnTo>
                    <a:pt x="69" y="12"/>
                  </a:lnTo>
                  <a:lnTo>
                    <a:pt x="75" y="10"/>
                  </a:lnTo>
                  <a:lnTo>
                    <a:pt x="78" y="9"/>
                  </a:lnTo>
                  <a:lnTo>
                    <a:pt x="98" y="13"/>
                  </a:lnTo>
                  <a:lnTo>
                    <a:pt x="123" y="10"/>
                  </a:lnTo>
                  <a:lnTo>
                    <a:pt x="132" y="16"/>
                  </a:lnTo>
                  <a:lnTo>
                    <a:pt x="139" y="51"/>
                  </a:lnTo>
                  <a:lnTo>
                    <a:pt x="135" y="55"/>
                  </a:lnTo>
                  <a:lnTo>
                    <a:pt x="132" y="57"/>
                  </a:lnTo>
                  <a:lnTo>
                    <a:pt x="129" y="61"/>
                  </a:lnTo>
                  <a:lnTo>
                    <a:pt x="130" y="64"/>
                  </a:lnTo>
                  <a:lnTo>
                    <a:pt x="135" y="67"/>
                  </a:lnTo>
                  <a:lnTo>
                    <a:pt x="133" y="7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00" name="Freeform 299"/>
            <p:cNvSpPr>
              <a:spLocks/>
            </p:cNvSpPr>
            <p:nvPr/>
          </p:nvSpPr>
          <p:spPr bwMode="auto">
            <a:xfrm>
              <a:off x="6302430" y="2302072"/>
              <a:ext cx="130792" cy="137922"/>
            </a:xfrm>
            <a:custGeom>
              <a:avLst/>
              <a:gdLst/>
              <a:ahLst/>
              <a:cxnLst>
                <a:cxn ang="0">
                  <a:pos x="137" y="90"/>
                </a:cxn>
                <a:cxn ang="0">
                  <a:pos x="139" y="96"/>
                </a:cxn>
                <a:cxn ang="0">
                  <a:pos x="140" y="103"/>
                </a:cxn>
                <a:cxn ang="0">
                  <a:pos x="121" y="125"/>
                </a:cxn>
                <a:cxn ang="0">
                  <a:pos x="121" y="132"/>
                </a:cxn>
                <a:cxn ang="0">
                  <a:pos x="116" y="131"/>
                </a:cxn>
                <a:cxn ang="0">
                  <a:pos x="101" y="125"/>
                </a:cxn>
                <a:cxn ang="0">
                  <a:pos x="94" y="127"/>
                </a:cxn>
                <a:cxn ang="0">
                  <a:pos x="87" y="129"/>
                </a:cxn>
                <a:cxn ang="0">
                  <a:pos x="82" y="129"/>
                </a:cxn>
                <a:cxn ang="0">
                  <a:pos x="71" y="125"/>
                </a:cxn>
                <a:cxn ang="0">
                  <a:pos x="58" y="114"/>
                </a:cxn>
                <a:cxn ang="0">
                  <a:pos x="53" y="114"/>
                </a:cxn>
                <a:cxn ang="0">
                  <a:pos x="50" y="106"/>
                </a:cxn>
                <a:cxn ang="0">
                  <a:pos x="39" y="106"/>
                </a:cxn>
                <a:cxn ang="0">
                  <a:pos x="37" y="109"/>
                </a:cxn>
                <a:cxn ang="0">
                  <a:pos x="30" y="103"/>
                </a:cxn>
                <a:cxn ang="0">
                  <a:pos x="31" y="100"/>
                </a:cxn>
                <a:cxn ang="0">
                  <a:pos x="29" y="99"/>
                </a:cxn>
                <a:cxn ang="0">
                  <a:pos x="18" y="95"/>
                </a:cxn>
                <a:cxn ang="0">
                  <a:pos x="14" y="92"/>
                </a:cxn>
                <a:cxn ang="0">
                  <a:pos x="8" y="95"/>
                </a:cxn>
                <a:cxn ang="0">
                  <a:pos x="11" y="82"/>
                </a:cxn>
                <a:cxn ang="0">
                  <a:pos x="4" y="52"/>
                </a:cxn>
                <a:cxn ang="0">
                  <a:pos x="0" y="47"/>
                </a:cxn>
                <a:cxn ang="0">
                  <a:pos x="2" y="34"/>
                </a:cxn>
                <a:cxn ang="0">
                  <a:pos x="4" y="29"/>
                </a:cxn>
                <a:cxn ang="0">
                  <a:pos x="5" y="25"/>
                </a:cxn>
                <a:cxn ang="0">
                  <a:pos x="4" y="22"/>
                </a:cxn>
                <a:cxn ang="0">
                  <a:pos x="7" y="22"/>
                </a:cxn>
                <a:cxn ang="0">
                  <a:pos x="26" y="13"/>
                </a:cxn>
                <a:cxn ang="0">
                  <a:pos x="45" y="2"/>
                </a:cxn>
                <a:cxn ang="0">
                  <a:pos x="65" y="2"/>
                </a:cxn>
                <a:cxn ang="0">
                  <a:pos x="66" y="6"/>
                </a:cxn>
                <a:cxn ang="0">
                  <a:pos x="65" y="13"/>
                </a:cxn>
                <a:cxn ang="0">
                  <a:pos x="66" y="13"/>
                </a:cxn>
                <a:cxn ang="0">
                  <a:pos x="69" y="12"/>
                </a:cxn>
                <a:cxn ang="0">
                  <a:pos x="78" y="9"/>
                </a:cxn>
                <a:cxn ang="0">
                  <a:pos x="123" y="10"/>
                </a:cxn>
                <a:cxn ang="0">
                  <a:pos x="139" y="51"/>
                </a:cxn>
                <a:cxn ang="0">
                  <a:pos x="132" y="57"/>
                </a:cxn>
                <a:cxn ang="0">
                  <a:pos x="130" y="64"/>
                </a:cxn>
                <a:cxn ang="0">
                  <a:pos x="133" y="77"/>
                </a:cxn>
              </a:cxnLst>
              <a:rect l="0" t="0" r="r" b="b"/>
              <a:pathLst>
                <a:path w="142" h="132">
                  <a:moveTo>
                    <a:pt x="133" y="77"/>
                  </a:moveTo>
                  <a:lnTo>
                    <a:pt x="137" y="90"/>
                  </a:lnTo>
                  <a:lnTo>
                    <a:pt x="140" y="93"/>
                  </a:lnTo>
                  <a:lnTo>
                    <a:pt x="139" y="96"/>
                  </a:lnTo>
                  <a:lnTo>
                    <a:pt x="142" y="99"/>
                  </a:lnTo>
                  <a:lnTo>
                    <a:pt x="140" y="103"/>
                  </a:lnTo>
                  <a:lnTo>
                    <a:pt x="130" y="111"/>
                  </a:lnTo>
                  <a:lnTo>
                    <a:pt x="121" y="125"/>
                  </a:lnTo>
                  <a:lnTo>
                    <a:pt x="121" y="129"/>
                  </a:lnTo>
                  <a:lnTo>
                    <a:pt x="121" y="132"/>
                  </a:lnTo>
                  <a:lnTo>
                    <a:pt x="119" y="132"/>
                  </a:lnTo>
                  <a:lnTo>
                    <a:pt x="116" y="131"/>
                  </a:lnTo>
                  <a:lnTo>
                    <a:pt x="108" y="125"/>
                  </a:lnTo>
                  <a:lnTo>
                    <a:pt x="101" y="125"/>
                  </a:lnTo>
                  <a:lnTo>
                    <a:pt x="97" y="128"/>
                  </a:lnTo>
                  <a:lnTo>
                    <a:pt x="94" y="127"/>
                  </a:lnTo>
                  <a:lnTo>
                    <a:pt x="88" y="127"/>
                  </a:lnTo>
                  <a:lnTo>
                    <a:pt x="87" y="129"/>
                  </a:lnTo>
                  <a:lnTo>
                    <a:pt x="84" y="129"/>
                  </a:lnTo>
                  <a:lnTo>
                    <a:pt x="82" y="129"/>
                  </a:lnTo>
                  <a:lnTo>
                    <a:pt x="75" y="122"/>
                  </a:lnTo>
                  <a:lnTo>
                    <a:pt x="71" y="125"/>
                  </a:lnTo>
                  <a:lnTo>
                    <a:pt x="62" y="121"/>
                  </a:lnTo>
                  <a:lnTo>
                    <a:pt x="58" y="114"/>
                  </a:lnTo>
                  <a:lnTo>
                    <a:pt x="55" y="112"/>
                  </a:lnTo>
                  <a:lnTo>
                    <a:pt x="53" y="114"/>
                  </a:lnTo>
                  <a:lnTo>
                    <a:pt x="52" y="111"/>
                  </a:lnTo>
                  <a:lnTo>
                    <a:pt x="50" y="106"/>
                  </a:lnTo>
                  <a:lnTo>
                    <a:pt x="40" y="103"/>
                  </a:lnTo>
                  <a:lnTo>
                    <a:pt x="39" y="106"/>
                  </a:lnTo>
                  <a:lnTo>
                    <a:pt x="40" y="108"/>
                  </a:lnTo>
                  <a:lnTo>
                    <a:pt x="37" y="109"/>
                  </a:lnTo>
                  <a:lnTo>
                    <a:pt x="36" y="108"/>
                  </a:lnTo>
                  <a:lnTo>
                    <a:pt x="30" y="103"/>
                  </a:lnTo>
                  <a:lnTo>
                    <a:pt x="31" y="100"/>
                  </a:lnTo>
                  <a:lnTo>
                    <a:pt x="31" y="100"/>
                  </a:lnTo>
                  <a:lnTo>
                    <a:pt x="31" y="99"/>
                  </a:lnTo>
                  <a:lnTo>
                    <a:pt x="29" y="99"/>
                  </a:lnTo>
                  <a:lnTo>
                    <a:pt x="26" y="96"/>
                  </a:lnTo>
                  <a:lnTo>
                    <a:pt x="18" y="95"/>
                  </a:lnTo>
                  <a:lnTo>
                    <a:pt x="17" y="93"/>
                  </a:lnTo>
                  <a:lnTo>
                    <a:pt x="14" y="92"/>
                  </a:lnTo>
                  <a:lnTo>
                    <a:pt x="10" y="95"/>
                  </a:lnTo>
                  <a:lnTo>
                    <a:pt x="8" y="95"/>
                  </a:lnTo>
                  <a:lnTo>
                    <a:pt x="11" y="82"/>
                  </a:lnTo>
                  <a:lnTo>
                    <a:pt x="11" y="82"/>
                  </a:lnTo>
                  <a:lnTo>
                    <a:pt x="7" y="76"/>
                  </a:lnTo>
                  <a:lnTo>
                    <a:pt x="4" y="52"/>
                  </a:lnTo>
                  <a:lnTo>
                    <a:pt x="0" y="50"/>
                  </a:lnTo>
                  <a:lnTo>
                    <a:pt x="0" y="47"/>
                  </a:lnTo>
                  <a:lnTo>
                    <a:pt x="2" y="41"/>
                  </a:lnTo>
                  <a:lnTo>
                    <a:pt x="2" y="34"/>
                  </a:lnTo>
                  <a:lnTo>
                    <a:pt x="0" y="26"/>
                  </a:lnTo>
                  <a:lnTo>
                    <a:pt x="4" y="29"/>
                  </a:lnTo>
                  <a:lnTo>
                    <a:pt x="5" y="28"/>
                  </a:lnTo>
                  <a:lnTo>
                    <a:pt x="5" y="25"/>
                  </a:lnTo>
                  <a:lnTo>
                    <a:pt x="2" y="23"/>
                  </a:lnTo>
                  <a:lnTo>
                    <a:pt x="4" y="22"/>
                  </a:lnTo>
                  <a:lnTo>
                    <a:pt x="7" y="22"/>
                  </a:lnTo>
                  <a:lnTo>
                    <a:pt x="7" y="22"/>
                  </a:lnTo>
                  <a:lnTo>
                    <a:pt x="10" y="19"/>
                  </a:lnTo>
                  <a:lnTo>
                    <a:pt x="26" y="13"/>
                  </a:lnTo>
                  <a:lnTo>
                    <a:pt x="34" y="6"/>
                  </a:lnTo>
                  <a:lnTo>
                    <a:pt x="45" y="2"/>
                  </a:lnTo>
                  <a:lnTo>
                    <a:pt x="59" y="0"/>
                  </a:lnTo>
                  <a:lnTo>
                    <a:pt x="65" y="2"/>
                  </a:lnTo>
                  <a:lnTo>
                    <a:pt x="66" y="5"/>
                  </a:lnTo>
                  <a:lnTo>
                    <a:pt x="66" y="6"/>
                  </a:lnTo>
                  <a:lnTo>
                    <a:pt x="61" y="3"/>
                  </a:lnTo>
                  <a:lnTo>
                    <a:pt x="65" y="13"/>
                  </a:lnTo>
                  <a:lnTo>
                    <a:pt x="66" y="13"/>
                  </a:lnTo>
                  <a:lnTo>
                    <a:pt x="66" y="13"/>
                  </a:lnTo>
                  <a:lnTo>
                    <a:pt x="68" y="12"/>
                  </a:lnTo>
                  <a:lnTo>
                    <a:pt x="69" y="12"/>
                  </a:lnTo>
                  <a:lnTo>
                    <a:pt x="75" y="10"/>
                  </a:lnTo>
                  <a:lnTo>
                    <a:pt x="78" y="9"/>
                  </a:lnTo>
                  <a:lnTo>
                    <a:pt x="98" y="13"/>
                  </a:lnTo>
                  <a:lnTo>
                    <a:pt x="123" y="10"/>
                  </a:lnTo>
                  <a:lnTo>
                    <a:pt x="132" y="16"/>
                  </a:lnTo>
                  <a:lnTo>
                    <a:pt x="139" y="51"/>
                  </a:lnTo>
                  <a:lnTo>
                    <a:pt x="135" y="55"/>
                  </a:lnTo>
                  <a:lnTo>
                    <a:pt x="132" y="57"/>
                  </a:lnTo>
                  <a:lnTo>
                    <a:pt x="129" y="61"/>
                  </a:lnTo>
                  <a:lnTo>
                    <a:pt x="130" y="64"/>
                  </a:lnTo>
                  <a:lnTo>
                    <a:pt x="135" y="67"/>
                  </a:lnTo>
                  <a:lnTo>
                    <a:pt x="133" y="77"/>
                  </a:lnTo>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01" name="Freeform 300"/>
            <p:cNvSpPr>
              <a:spLocks/>
            </p:cNvSpPr>
            <p:nvPr/>
          </p:nvSpPr>
          <p:spPr bwMode="auto">
            <a:xfrm>
              <a:off x="6391965" y="2215871"/>
              <a:ext cx="97435" cy="65918"/>
            </a:xfrm>
            <a:custGeom>
              <a:avLst/>
              <a:gdLst/>
              <a:ahLst/>
              <a:cxnLst>
                <a:cxn ang="0">
                  <a:pos x="0" y="48"/>
                </a:cxn>
                <a:cxn ang="0">
                  <a:pos x="9" y="16"/>
                </a:cxn>
                <a:cxn ang="0">
                  <a:pos x="23" y="9"/>
                </a:cxn>
                <a:cxn ang="0">
                  <a:pos x="30" y="22"/>
                </a:cxn>
                <a:cxn ang="0">
                  <a:pos x="33" y="24"/>
                </a:cxn>
                <a:cxn ang="0">
                  <a:pos x="39" y="28"/>
                </a:cxn>
                <a:cxn ang="0">
                  <a:pos x="43" y="26"/>
                </a:cxn>
                <a:cxn ang="0">
                  <a:pos x="45" y="29"/>
                </a:cxn>
                <a:cxn ang="0">
                  <a:pos x="48" y="22"/>
                </a:cxn>
                <a:cxn ang="0">
                  <a:pos x="49" y="5"/>
                </a:cxn>
                <a:cxn ang="0">
                  <a:pos x="55" y="2"/>
                </a:cxn>
                <a:cxn ang="0">
                  <a:pos x="67" y="2"/>
                </a:cxn>
                <a:cxn ang="0">
                  <a:pos x="74" y="5"/>
                </a:cxn>
                <a:cxn ang="0">
                  <a:pos x="81" y="13"/>
                </a:cxn>
                <a:cxn ang="0">
                  <a:pos x="84" y="12"/>
                </a:cxn>
                <a:cxn ang="0">
                  <a:pos x="93" y="13"/>
                </a:cxn>
                <a:cxn ang="0">
                  <a:pos x="96" y="16"/>
                </a:cxn>
                <a:cxn ang="0">
                  <a:pos x="99" y="19"/>
                </a:cxn>
                <a:cxn ang="0">
                  <a:pos x="97" y="29"/>
                </a:cxn>
                <a:cxn ang="0">
                  <a:pos x="100" y="31"/>
                </a:cxn>
                <a:cxn ang="0">
                  <a:pos x="106" y="42"/>
                </a:cxn>
                <a:cxn ang="0">
                  <a:pos x="103" y="50"/>
                </a:cxn>
                <a:cxn ang="0">
                  <a:pos x="97" y="56"/>
                </a:cxn>
                <a:cxn ang="0">
                  <a:pos x="93" y="60"/>
                </a:cxn>
                <a:cxn ang="0">
                  <a:pos x="87" y="58"/>
                </a:cxn>
                <a:cxn ang="0">
                  <a:pos x="84" y="63"/>
                </a:cxn>
                <a:cxn ang="0">
                  <a:pos x="81" y="61"/>
                </a:cxn>
                <a:cxn ang="0">
                  <a:pos x="74" y="54"/>
                </a:cxn>
                <a:cxn ang="0">
                  <a:pos x="62" y="50"/>
                </a:cxn>
                <a:cxn ang="0">
                  <a:pos x="58" y="42"/>
                </a:cxn>
                <a:cxn ang="0">
                  <a:pos x="55" y="42"/>
                </a:cxn>
                <a:cxn ang="0">
                  <a:pos x="48" y="47"/>
                </a:cxn>
                <a:cxn ang="0">
                  <a:pos x="33" y="42"/>
                </a:cxn>
                <a:cxn ang="0">
                  <a:pos x="30" y="42"/>
                </a:cxn>
                <a:cxn ang="0">
                  <a:pos x="26" y="44"/>
                </a:cxn>
                <a:cxn ang="0">
                  <a:pos x="17" y="42"/>
                </a:cxn>
                <a:cxn ang="0">
                  <a:pos x="6" y="50"/>
                </a:cxn>
                <a:cxn ang="0">
                  <a:pos x="1" y="51"/>
                </a:cxn>
              </a:cxnLst>
              <a:rect l="0" t="0" r="r" b="b"/>
              <a:pathLst>
                <a:path w="106" h="63">
                  <a:moveTo>
                    <a:pt x="1" y="51"/>
                  </a:moveTo>
                  <a:lnTo>
                    <a:pt x="0" y="48"/>
                  </a:lnTo>
                  <a:lnTo>
                    <a:pt x="1" y="35"/>
                  </a:lnTo>
                  <a:lnTo>
                    <a:pt x="9" y="16"/>
                  </a:lnTo>
                  <a:lnTo>
                    <a:pt x="13" y="12"/>
                  </a:lnTo>
                  <a:lnTo>
                    <a:pt x="23" y="9"/>
                  </a:lnTo>
                  <a:lnTo>
                    <a:pt x="29" y="18"/>
                  </a:lnTo>
                  <a:lnTo>
                    <a:pt x="30" y="22"/>
                  </a:lnTo>
                  <a:lnTo>
                    <a:pt x="32" y="19"/>
                  </a:lnTo>
                  <a:lnTo>
                    <a:pt x="33" y="24"/>
                  </a:lnTo>
                  <a:lnTo>
                    <a:pt x="35" y="26"/>
                  </a:lnTo>
                  <a:lnTo>
                    <a:pt x="39" y="28"/>
                  </a:lnTo>
                  <a:lnTo>
                    <a:pt x="40" y="28"/>
                  </a:lnTo>
                  <a:lnTo>
                    <a:pt x="43" y="26"/>
                  </a:lnTo>
                  <a:lnTo>
                    <a:pt x="43" y="28"/>
                  </a:lnTo>
                  <a:lnTo>
                    <a:pt x="45" y="29"/>
                  </a:lnTo>
                  <a:lnTo>
                    <a:pt x="46" y="25"/>
                  </a:lnTo>
                  <a:lnTo>
                    <a:pt x="48" y="22"/>
                  </a:lnTo>
                  <a:lnTo>
                    <a:pt x="48" y="6"/>
                  </a:lnTo>
                  <a:lnTo>
                    <a:pt x="49" y="5"/>
                  </a:lnTo>
                  <a:lnTo>
                    <a:pt x="52" y="3"/>
                  </a:lnTo>
                  <a:lnTo>
                    <a:pt x="55" y="2"/>
                  </a:lnTo>
                  <a:lnTo>
                    <a:pt x="62" y="0"/>
                  </a:lnTo>
                  <a:lnTo>
                    <a:pt x="67" y="2"/>
                  </a:lnTo>
                  <a:lnTo>
                    <a:pt x="69" y="3"/>
                  </a:lnTo>
                  <a:lnTo>
                    <a:pt x="74" y="5"/>
                  </a:lnTo>
                  <a:lnTo>
                    <a:pt x="75" y="8"/>
                  </a:lnTo>
                  <a:lnTo>
                    <a:pt x="81" y="13"/>
                  </a:lnTo>
                  <a:lnTo>
                    <a:pt x="83" y="13"/>
                  </a:lnTo>
                  <a:lnTo>
                    <a:pt x="84" y="12"/>
                  </a:lnTo>
                  <a:lnTo>
                    <a:pt x="88" y="12"/>
                  </a:lnTo>
                  <a:lnTo>
                    <a:pt x="93" y="13"/>
                  </a:lnTo>
                  <a:lnTo>
                    <a:pt x="94" y="15"/>
                  </a:lnTo>
                  <a:lnTo>
                    <a:pt x="96" y="16"/>
                  </a:lnTo>
                  <a:lnTo>
                    <a:pt x="97" y="18"/>
                  </a:lnTo>
                  <a:lnTo>
                    <a:pt x="99" y="19"/>
                  </a:lnTo>
                  <a:lnTo>
                    <a:pt x="99" y="21"/>
                  </a:lnTo>
                  <a:lnTo>
                    <a:pt x="97" y="29"/>
                  </a:lnTo>
                  <a:lnTo>
                    <a:pt x="99" y="31"/>
                  </a:lnTo>
                  <a:lnTo>
                    <a:pt x="100" y="31"/>
                  </a:lnTo>
                  <a:lnTo>
                    <a:pt x="100" y="34"/>
                  </a:lnTo>
                  <a:lnTo>
                    <a:pt x="106" y="42"/>
                  </a:lnTo>
                  <a:lnTo>
                    <a:pt x="106" y="50"/>
                  </a:lnTo>
                  <a:lnTo>
                    <a:pt x="103" y="50"/>
                  </a:lnTo>
                  <a:lnTo>
                    <a:pt x="97" y="54"/>
                  </a:lnTo>
                  <a:lnTo>
                    <a:pt x="97" y="56"/>
                  </a:lnTo>
                  <a:lnTo>
                    <a:pt x="94" y="58"/>
                  </a:lnTo>
                  <a:lnTo>
                    <a:pt x="93" y="60"/>
                  </a:lnTo>
                  <a:lnTo>
                    <a:pt x="88" y="58"/>
                  </a:lnTo>
                  <a:lnTo>
                    <a:pt x="87" y="58"/>
                  </a:lnTo>
                  <a:lnTo>
                    <a:pt x="85" y="61"/>
                  </a:lnTo>
                  <a:lnTo>
                    <a:pt x="84" y="63"/>
                  </a:lnTo>
                  <a:lnTo>
                    <a:pt x="83" y="61"/>
                  </a:lnTo>
                  <a:lnTo>
                    <a:pt x="81" y="61"/>
                  </a:lnTo>
                  <a:lnTo>
                    <a:pt x="78" y="60"/>
                  </a:lnTo>
                  <a:lnTo>
                    <a:pt x="74" y="54"/>
                  </a:lnTo>
                  <a:lnTo>
                    <a:pt x="67" y="50"/>
                  </a:lnTo>
                  <a:lnTo>
                    <a:pt x="62" y="50"/>
                  </a:lnTo>
                  <a:lnTo>
                    <a:pt x="61" y="48"/>
                  </a:lnTo>
                  <a:lnTo>
                    <a:pt x="58" y="42"/>
                  </a:lnTo>
                  <a:lnTo>
                    <a:pt x="56" y="41"/>
                  </a:lnTo>
                  <a:lnTo>
                    <a:pt x="55" y="42"/>
                  </a:lnTo>
                  <a:lnTo>
                    <a:pt x="52" y="45"/>
                  </a:lnTo>
                  <a:lnTo>
                    <a:pt x="48" y="47"/>
                  </a:lnTo>
                  <a:lnTo>
                    <a:pt x="40" y="42"/>
                  </a:lnTo>
                  <a:lnTo>
                    <a:pt x="33" y="42"/>
                  </a:lnTo>
                  <a:lnTo>
                    <a:pt x="32" y="42"/>
                  </a:lnTo>
                  <a:lnTo>
                    <a:pt x="30" y="42"/>
                  </a:lnTo>
                  <a:lnTo>
                    <a:pt x="27" y="44"/>
                  </a:lnTo>
                  <a:lnTo>
                    <a:pt x="26" y="44"/>
                  </a:lnTo>
                  <a:lnTo>
                    <a:pt x="23" y="42"/>
                  </a:lnTo>
                  <a:lnTo>
                    <a:pt x="17" y="42"/>
                  </a:lnTo>
                  <a:lnTo>
                    <a:pt x="7" y="47"/>
                  </a:lnTo>
                  <a:lnTo>
                    <a:pt x="6" y="50"/>
                  </a:lnTo>
                  <a:lnTo>
                    <a:pt x="4" y="51"/>
                  </a:lnTo>
                  <a:lnTo>
                    <a:pt x="1" y="5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02" name="Freeform 301"/>
            <p:cNvSpPr>
              <a:spLocks/>
            </p:cNvSpPr>
            <p:nvPr/>
          </p:nvSpPr>
          <p:spPr bwMode="auto">
            <a:xfrm>
              <a:off x="6391965" y="2215871"/>
              <a:ext cx="97435" cy="65918"/>
            </a:xfrm>
            <a:custGeom>
              <a:avLst/>
              <a:gdLst/>
              <a:ahLst/>
              <a:cxnLst>
                <a:cxn ang="0">
                  <a:pos x="0" y="48"/>
                </a:cxn>
                <a:cxn ang="0">
                  <a:pos x="9" y="16"/>
                </a:cxn>
                <a:cxn ang="0">
                  <a:pos x="23" y="9"/>
                </a:cxn>
                <a:cxn ang="0">
                  <a:pos x="30" y="22"/>
                </a:cxn>
                <a:cxn ang="0">
                  <a:pos x="33" y="24"/>
                </a:cxn>
                <a:cxn ang="0">
                  <a:pos x="39" y="28"/>
                </a:cxn>
                <a:cxn ang="0">
                  <a:pos x="43" y="26"/>
                </a:cxn>
                <a:cxn ang="0">
                  <a:pos x="45" y="29"/>
                </a:cxn>
                <a:cxn ang="0">
                  <a:pos x="48" y="22"/>
                </a:cxn>
                <a:cxn ang="0">
                  <a:pos x="49" y="5"/>
                </a:cxn>
                <a:cxn ang="0">
                  <a:pos x="55" y="2"/>
                </a:cxn>
                <a:cxn ang="0">
                  <a:pos x="67" y="2"/>
                </a:cxn>
                <a:cxn ang="0">
                  <a:pos x="74" y="5"/>
                </a:cxn>
                <a:cxn ang="0">
                  <a:pos x="81" y="13"/>
                </a:cxn>
                <a:cxn ang="0">
                  <a:pos x="84" y="12"/>
                </a:cxn>
                <a:cxn ang="0">
                  <a:pos x="93" y="13"/>
                </a:cxn>
                <a:cxn ang="0">
                  <a:pos x="96" y="16"/>
                </a:cxn>
                <a:cxn ang="0">
                  <a:pos x="99" y="19"/>
                </a:cxn>
                <a:cxn ang="0">
                  <a:pos x="97" y="29"/>
                </a:cxn>
                <a:cxn ang="0">
                  <a:pos x="100" y="31"/>
                </a:cxn>
                <a:cxn ang="0">
                  <a:pos x="106" y="42"/>
                </a:cxn>
                <a:cxn ang="0">
                  <a:pos x="103" y="50"/>
                </a:cxn>
                <a:cxn ang="0">
                  <a:pos x="97" y="56"/>
                </a:cxn>
                <a:cxn ang="0">
                  <a:pos x="93" y="60"/>
                </a:cxn>
                <a:cxn ang="0">
                  <a:pos x="87" y="58"/>
                </a:cxn>
                <a:cxn ang="0">
                  <a:pos x="84" y="63"/>
                </a:cxn>
                <a:cxn ang="0">
                  <a:pos x="81" y="61"/>
                </a:cxn>
                <a:cxn ang="0">
                  <a:pos x="74" y="54"/>
                </a:cxn>
                <a:cxn ang="0">
                  <a:pos x="62" y="50"/>
                </a:cxn>
                <a:cxn ang="0">
                  <a:pos x="58" y="42"/>
                </a:cxn>
                <a:cxn ang="0">
                  <a:pos x="55" y="42"/>
                </a:cxn>
                <a:cxn ang="0">
                  <a:pos x="48" y="47"/>
                </a:cxn>
                <a:cxn ang="0">
                  <a:pos x="33" y="42"/>
                </a:cxn>
                <a:cxn ang="0">
                  <a:pos x="30" y="42"/>
                </a:cxn>
                <a:cxn ang="0">
                  <a:pos x="26" y="44"/>
                </a:cxn>
                <a:cxn ang="0">
                  <a:pos x="17" y="42"/>
                </a:cxn>
                <a:cxn ang="0">
                  <a:pos x="6" y="50"/>
                </a:cxn>
                <a:cxn ang="0">
                  <a:pos x="1" y="51"/>
                </a:cxn>
              </a:cxnLst>
              <a:rect l="0" t="0" r="r" b="b"/>
              <a:pathLst>
                <a:path w="106" h="63">
                  <a:moveTo>
                    <a:pt x="1" y="51"/>
                  </a:moveTo>
                  <a:lnTo>
                    <a:pt x="0" y="48"/>
                  </a:lnTo>
                  <a:lnTo>
                    <a:pt x="1" y="35"/>
                  </a:lnTo>
                  <a:lnTo>
                    <a:pt x="9" y="16"/>
                  </a:lnTo>
                  <a:lnTo>
                    <a:pt x="13" y="12"/>
                  </a:lnTo>
                  <a:lnTo>
                    <a:pt x="23" y="9"/>
                  </a:lnTo>
                  <a:lnTo>
                    <a:pt x="29" y="18"/>
                  </a:lnTo>
                  <a:lnTo>
                    <a:pt x="30" y="22"/>
                  </a:lnTo>
                  <a:lnTo>
                    <a:pt x="32" y="19"/>
                  </a:lnTo>
                  <a:lnTo>
                    <a:pt x="33" y="24"/>
                  </a:lnTo>
                  <a:lnTo>
                    <a:pt x="35" y="26"/>
                  </a:lnTo>
                  <a:lnTo>
                    <a:pt x="39" y="28"/>
                  </a:lnTo>
                  <a:lnTo>
                    <a:pt x="40" y="28"/>
                  </a:lnTo>
                  <a:lnTo>
                    <a:pt x="43" y="26"/>
                  </a:lnTo>
                  <a:lnTo>
                    <a:pt x="43" y="28"/>
                  </a:lnTo>
                  <a:lnTo>
                    <a:pt x="45" y="29"/>
                  </a:lnTo>
                  <a:lnTo>
                    <a:pt x="46" y="25"/>
                  </a:lnTo>
                  <a:lnTo>
                    <a:pt x="48" y="22"/>
                  </a:lnTo>
                  <a:lnTo>
                    <a:pt x="48" y="6"/>
                  </a:lnTo>
                  <a:lnTo>
                    <a:pt x="49" y="5"/>
                  </a:lnTo>
                  <a:lnTo>
                    <a:pt x="52" y="3"/>
                  </a:lnTo>
                  <a:lnTo>
                    <a:pt x="55" y="2"/>
                  </a:lnTo>
                  <a:lnTo>
                    <a:pt x="62" y="0"/>
                  </a:lnTo>
                  <a:lnTo>
                    <a:pt x="67" y="2"/>
                  </a:lnTo>
                  <a:lnTo>
                    <a:pt x="69" y="3"/>
                  </a:lnTo>
                  <a:lnTo>
                    <a:pt x="74" y="5"/>
                  </a:lnTo>
                  <a:lnTo>
                    <a:pt x="75" y="8"/>
                  </a:lnTo>
                  <a:lnTo>
                    <a:pt x="81" y="13"/>
                  </a:lnTo>
                  <a:lnTo>
                    <a:pt x="83" y="13"/>
                  </a:lnTo>
                  <a:lnTo>
                    <a:pt x="84" y="12"/>
                  </a:lnTo>
                  <a:lnTo>
                    <a:pt x="88" y="12"/>
                  </a:lnTo>
                  <a:lnTo>
                    <a:pt x="93" y="13"/>
                  </a:lnTo>
                  <a:lnTo>
                    <a:pt x="94" y="15"/>
                  </a:lnTo>
                  <a:lnTo>
                    <a:pt x="96" y="16"/>
                  </a:lnTo>
                  <a:lnTo>
                    <a:pt x="97" y="18"/>
                  </a:lnTo>
                  <a:lnTo>
                    <a:pt x="99" y="19"/>
                  </a:lnTo>
                  <a:lnTo>
                    <a:pt x="99" y="21"/>
                  </a:lnTo>
                  <a:lnTo>
                    <a:pt x="97" y="29"/>
                  </a:lnTo>
                  <a:lnTo>
                    <a:pt x="99" y="31"/>
                  </a:lnTo>
                  <a:lnTo>
                    <a:pt x="100" y="31"/>
                  </a:lnTo>
                  <a:lnTo>
                    <a:pt x="100" y="34"/>
                  </a:lnTo>
                  <a:lnTo>
                    <a:pt x="106" y="42"/>
                  </a:lnTo>
                  <a:lnTo>
                    <a:pt x="106" y="50"/>
                  </a:lnTo>
                  <a:lnTo>
                    <a:pt x="103" y="50"/>
                  </a:lnTo>
                  <a:lnTo>
                    <a:pt x="97" y="54"/>
                  </a:lnTo>
                  <a:lnTo>
                    <a:pt x="97" y="56"/>
                  </a:lnTo>
                  <a:lnTo>
                    <a:pt x="94" y="58"/>
                  </a:lnTo>
                  <a:lnTo>
                    <a:pt x="93" y="60"/>
                  </a:lnTo>
                  <a:lnTo>
                    <a:pt x="88" y="58"/>
                  </a:lnTo>
                  <a:lnTo>
                    <a:pt x="87" y="58"/>
                  </a:lnTo>
                  <a:lnTo>
                    <a:pt x="85" y="61"/>
                  </a:lnTo>
                  <a:lnTo>
                    <a:pt x="84" y="63"/>
                  </a:lnTo>
                  <a:lnTo>
                    <a:pt x="83" y="61"/>
                  </a:lnTo>
                  <a:lnTo>
                    <a:pt x="81" y="61"/>
                  </a:lnTo>
                  <a:lnTo>
                    <a:pt x="78" y="60"/>
                  </a:lnTo>
                  <a:lnTo>
                    <a:pt x="74" y="54"/>
                  </a:lnTo>
                  <a:lnTo>
                    <a:pt x="67" y="50"/>
                  </a:lnTo>
                  <a:lnTo>
                    <a:pt x="62" y="50"/>
                  </a:lnTo>
                  <a:lnTo>
                    <a:pt x="61" y="48"/>
                  </a:lnTo>
                  <a:lnTo>
                    <a:pt x="58" y="42"/>
                  </a:lnTo>
                  <a:lnTo>
                    <a:pt x="56" y="41"/>
                  </a:lnTo>
                  <a:lnTo>
                    <a:pt x="55" y="42"/>
                  </a:lnTo>
                  <a:lnTo>
                    <a:pt x="52" y="45"/>
                  </a:lnTo>
                  <a:lnTo>
                    <a:pt x="48" y="47"/>
                  </a:lnTo>
                  <a:lnTo>
                    <a:pt x="40" y="42"/>
                  </a:lnTo>
                  <a:lnTo>
                    <a:pt x="33" y="42"/>
                  </a:lnTo>
                  <a:lnTo>
                    <a:pt x="32" y="42"/>
                  </a:lnTo>
                  <a:lnTo>
                    <a:pt x="30" y="42"/>
                  </a:lnTo>
                  <a:lnTo>
                    <a:pt x="27" y="44"/>
                  </a:lnTo>
                  <a:lnTo>
                    <a:pt x="26" y="44"/>
                  </a:lnTo>
                  <a:lnTo>
                    <a:pt x="23" y="42"/>
                  </a:lnTo>
                  <a:lnTo>
                    <a:pt x="17" y="42"/>
                  </a:lnTo>
                  <a:lnTo>
                    <a:pt x="7" y="47"/>
                  </a:lnTo>
                  <a:lnTo>
                    <a:pt x="6" y="50"/>
                  </a:lnTo>
                  <a:lnTo>
                    <a:pt x="4" y="51"/>
                  </a:lnTo>
                  <a:lnTo>
                    <a:pt x="1" y="5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03" name="Freeform 302"/>
            <p:cNvSpPr>
              <a:spLocks/>
            </p:cNvSpPr>
            <p:nvPr/>
          </p:nvSpPr>
          <p:spPr bwMode="auto">
            <a:xfrm>
              <a:off x="6021534" y="2097218"/>
              <a:ext cx="5267" cy="1015"/>
            </a:xfrm>
            <a:custGeom>
              <a:avLst/>
              <a:gdLst/>
              <a:ahLst/>
              <a:cxnLst>
                <a:cxn ang="0">
                  <a:pos x="6" y="1"/>
                </a:cxn>
                <a:cxn ang="0">
                  <a:pos x="5" y="0"/>
                </a:cxn>
                <a:cxn ang="0">
                  <a:pos x="2" y="0"/>
                </a:cxn>
                <a:cxn ang="0">
                  <a:pos x="0" y="0"/>
                </a:cxn>
                <a:cxn ang="0">
                  <a:pos x="2" y="1"/>
                </a:cxn>
                <a:cxn ang="0">
                  <a:pos x="5" y="1"/>
                </a:cxn>
                <a:cxn ang="0">
                  <a:pos x="6" y="1"/>
                </a:cxn>
              </a:cxnLst>
              <a:rect l="0" t="0" r="r" b="b"/>
              <a:pathLst>
                <a:path w="6" h="1">
                  <a:moveTo>
                    <a:pt x="6" y="1"/>
                  </a:moveTo>
                  <a:lnTo>
                    <a:pt x="5" y="0"/>
                  </a:lnTo>
                  <a:lnTo>
                    <a:pt x="2" y="0"/>
                  </a:lnTo>
                  <a:lnTo>
                    <a:pt x="0" y="0"/>
                  </a:lnTo>
                  <a:lnTo>
                    <a:pt x="2" y="1"/>
                  </a:lnTo>
                  <a:lnTo>
                    <a:pt x="5" y="1"/>
                  </a:lnTo>
                  <a:lnTo>
                    <a:pt x="6"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04" name="Freeform 303"/>
            <p:cNvSpPr>
              <a:spLocks/>
            </p:cNvSpPr>
            <p:nvPr/>
          </p:nvSpPr>
          <p:spPr bwMode="auto">
            <a:xfrm>
              <a:off x="6021534" y="2097218"/>
              <a:ext cx="5267" cy="1015"/>
            </a:xfrm>
            <a:custGeom>
              <a:avLst/>
              <a:gdLst/>
              <a:ahLst/>
              <a:cxnLst>
                <a:cxn ang="0">
                  <a:pos x="6" y="1"/>
                </a:cxn>
                <a:cxn ang="0">
                  <a:pos x="5" y="0"/>
                </a:cxn>
                <a:cxn ang="0">
                  <a:pos x="2" y="0"/>
                </a:cxn>
                <a:cxn ang="0">
                  <a:pos x="0" y="0"/>
                </a:cxn>
                <a:cxn ang="0">
                  <a:pos x="2" y="1"/>
                </a:cxn>
                <a:cxn ang="0">
                  <a:pos x="5" y="1"/>
                </a:cxn>
                <a:cxn ang="0">
                  <a:pos x="6" y="1"/>
                </a:cxn>
              </a:cxnLst>
              <a:rect l="0" t="0" r="r" b="b"/>
              <a:pathLst>
                <a:path w="6" h="1">
                  <a:moveTo>
                    <a:pt x="6" y="1"/>
                  </a:moveTo>
                  <a:lnTo>
                    <a:pt x="5" y="0"/>
                  </a:lnTo>
                  <a:lnTo>
                    <a:pt x="2" y="0"/>
                  </a:lnTo>
                  <a:lnTo>
                    <a:pt x="0" y="0"/>
                  </a:lnTo>
                  <a:lnTo>
                    <a:pt x="2" y="1"/>
                  </a:lnTo>
                  <a:lnTo>
                    <a:pt x="5" y="1"/>
                  </a:lnTo>
                  <a:lnTo>
                    <a:pt x="6"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05" name="Freeform 304"/>
            <p:cNvSpPr>
              <a:spLocks/>
            </p:cNvSpPr>
            <p:nvPr/>
          </p:nvSpPr>
          <p:spPr bwMode="auto">
            <a:xfrm>
              <a:off x="6024167" y="2091132"/>
              <a:ext cx="6145" cy="10141"/>
            </a:xfrm>
            <a:custGeom>
              <a:avLst/>
              <a:gdLst/>
              <a:ahLst/>
              <a:cxnLst>
                <a:cxn ang="0">
                  <a:pos x="7" y="10"/>
                </a:cxn>
                <a:cxn ang="0">
                  <a:pos x="7" y="10"/>
                </a:cxn>
                <a:cxn ang="0">
                  <a:pos x="7" y="7"/>
                </a:cxn>
                <a:cxn ang="0">
                  <a:pos x="4" y="1"/>
                </a:cxn>
                <a:cxn ang="0">
                  <a:pos x="2" y="0"/>
                </a:cxn>
                <a:cxn ang="0">
                  <a:pos x="0" y="3"/>
                </a:cxn>
                <a:cxn ang="0">
                  <a:pos x="0" y="4"/>
                </a:cxn>
                <a:cxn ang="0">
                  <a:pos x="3" y="6"/>
                </a:cxn>
                <a:cxn ang="0">
                  <a:pos x="6" y="7"/>
                </a:cxn>
                <a:cxn ang="0">
                  <a:pos x="6" y="10"/>
                </a:cxn>
                <a:cxn ang="0">
                  <a:pos x="6" y="10"/>
                </a:cxn>
                <a:cxn ang="0">
                  <a:pos x="7" y="10"/>
                </a:cxn>
              </a:cxnLst>
              <a:rect l="0" t="0" r="r" b="b"/>
              <a:pathLst>
                <a:path w="7" h="10">
                  <a:moveTo>
                    <a:pt x="7" y="10"/>
                  </a:moveTo>
                  <a:lnTo>
                    <a:pt x="7" y="10"/>
                  </a:lnTo>
                  <a:lnTo>
                    <a:pt x="7" y="7"/>
                  </a:lnTo>
                  <a:lnTo>
                    <a:pt x="4" y="1"/>
                  </a:lnTo>
                  <a:lnTo>
                    <a:pt x="2" y="0"/>
                  </a:lnTo>
                  <a:lnTo>
                    <a:pt x="0" y="3"/>
                  </a:lnTo>
                  <a:lnTo>
                    <a:pt x="0" y="4"/>
                  </a:lnTo>
                  <a:lnTo>
                    <a:pt x="3" y="6"/>
                  </a:lnTo>
                  <a:lnTo>
                    <a:pt x="6" y="7"/>
                  </a:lnTo>
                  <a:lnTo>
                    <a:pt x="6" y="10"/>
                  </a:lnTo>
                  <a:lnTo>
                    <a:pt x="6" y="10"/>
                  </a:lnTo>
                  <a:lnTo>
                    <a:pt x="7" y="1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06" name="Freeform 305"/>
            <p:cNvSpPr>
              <a:spLocks/>
            </p:cNvSpPr>
            <p:nvPr/>
          </p:nvSpPr>
          <p:spPr bwMode="auto">
            <a:xfrm>
              <a:off x="6024167" y="2091132"/>
              <a:ext cx="6145" cy="10141"/>
            </a:xfrm>
            <a:custGeom>
              <a:avLst/>
              <a:gdLst/>
              <a:ahLst/>
              <a:cxnLst>
                <a:cxn ang="0">
                  <a:pos x="7" y="10"/>
                </a:cxn>
                <a:cxn ang="0">
                  <a:pos x="7" y="10"/>
                </a:cxn>
                <a:cxn ang="0">
                  <a:pos x="7" y="7"/>
                </a:cxn>
                <a:cxn ang="0">
                  <a:pos x="4" y="1"/>
                </a:cxn>
                <a:cxn ang="0">
                  <a:pos x="2" y="0"/>
                </a:cxn>
                <a:cxn ang="0">
                  <a:pos x="0" y="3"/>
                </a:cxn>
                <a:cxn ang="0">
                  <a:pos x="0" y="4"/>
                </a:cxn>
                <a:cxn ang="0">
                  <a:pos x="3" y="6"/>
                </a:cxn>
                <a:cxn ang="0">
                  <a:pos x="6" y="7"/>
                </a:cxn>
                <a:cxn ang="0">
                  <a:pos x="6" y="10"/>
                </a:cxn>
                <a:cxn ang="0">
                  <a:pos x="6" y="10"/>
                </a:cxn>
                <a:cxn ang="0">
                  <a:pos x="7" y="10"/>
                </a:cxn>
              </a:cxnLst>
              <a:rect l="0" t="0" r="r" b="b"/>
              <a:pathLst>
                <a:path w="7" h="10">
                  <a:moveTo>
                    <a:pt x="7" y="10"/>
                  </a:moveTo>
                  <a:lnTo>
                    <a:pt x="7" y="10"/>
                  </a:lnTo>
                  <a:lnTo>
                    <a:pt x="7" y="7"/>
                  </a:lnTo>
                  <a:lnTo>
                    <a:pt x="4" y="1"/>
                  </a:lnTo>
                  <a:lnTo>
                    <a:pt x="2" y="0"/>
                  </a:lnTo>
                  <a:lnTo>
                    <a:pt x="0" y="3"/>
                  </a:lnTo>
                  <a:lnTo>
                    <a:pt x="0" y="4"/>
                  </a:lnTo>
                  <a:lnTo>
                    <a:pt x="3" y="6"/>
                  </a:lnTo>
                  <a:lnTo>
                    <a:pt x="6" y="7"/>
                  </a:lnTo>
                  <a:lnTo>
                    <a:pt x="6" y="10"/>
                  </a:lnTo>
                  <a:lnTo>
                    <a:pt x="6" y="10"/>
                  </a:lnTo>
                  <a:lnTo>
                    <a:pt x="7" y="1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07" name="Freeform 306"/>
            <p:cNvSpPr>
              <a:spLocks/>
            </p:cNvSpPr>
            <p:nvPr/>
          </p:nvSpPr>
          <p:spPr bwMode="auto">
            <a:xfrm>
              <a:off x="6027678" y="2091132"/>
              <a:ext cx="5267" cy="7099"/>
            </a:xfrm>
            <a:custGeom>
              <a:avLst/>
              <a:gdLst/>
              <a:ahLst/>
              <a:cxnLst>
                <a:cxn ang="0">
                  <a:pos x="5" y="7"/>
                </a:cxn>
                <a:cxn ang="0">
                  <a:pos x="6" y="7"/>
                </a:cxn>
                <a:cxn ang="0">
                  <a:pos x="6" y="6"/>
                </a:cxn>
                <a:cxn ang="0">
                  <a:pos x="3" y="1"/>
                </a:cxn>
                <a:cxn ang="0">
                  <a:pos x="2" y="1"/>
                </a:cxn>
                <a:cxn ang="0">
                  <a:pos x="0" y="0"/>
                </a:cxn>
                <a:cxn ang="0">
                  <a:pos x="0" y="0"/>
                </a:cxn>
                <a:cxn ang="0">
                  <a:pos x="0" y="1"/>
                </a:cxn>
                <a:cxn ang="0">
                  <a:pos x="2" y="3"/>
                </a:cxn>
                <a:cxn ang="0">
                  <a:pos x="3" y="7"/>
                </a:cxn>
                <a:cxn ang="0">
                  <a:pos x="5" y="7"/>
                </a:cxn>
              </a:cxnLst>
              <a:rect l="0" t="0" r="r" b="b"/>
              <a:pathLst>
                <a:path w="6" h="7">
                  <a:moveTo>
                    <a:pt x="5" y="7"/>
                  </a:moveTo>
                  <a:lnTo>
                    <a:pt x="6" y="7"/>
                  </a:lnTo>
                  <a:lnTo>
                    <a:pt x="6" y="6"/>
                  </a:lnTo>
                  <a:lnTo>
                    <a:pt x="3" y="1"/>
                  </a:lnTo>
                  <a:lnTo>
                    <a:pt x="2" y="1"/>
                  </a:lnTo>
                  <a:lnTo>
                    <a:pt x="0" y="0"/>
                  </a:lnTo>
                  <a:lnTo>
                    <a:pt x="0" y="0"/>
                  </a:lnTo>
                  <a:lnTo>
                    <a:pt x="0" y="1"/>
                  </a:lnTo>
                  <a:lnTo>
                    <a:pt x="2" y="3"/>
                  </a:lnTo>
                  <a:lnTo>
                    <a:pt x="3" y="7"/>
                  </a:lnTo>
                  <a:lnTo>
                    <a:pt x="5" y="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08" name="Freeform 307"/>
            <p:cNvSpPr>
              <a:spLocks/>
            </p:cNvSpPr>
            <p:nvPr/>
          </p:nvSpPr>
          <p:spPr bwMode="auto">
            <a:xfrm>
              <a:off x="6027678" y="2091132"/>
              <a:ext cx="5267" cy="7099"/>
            </a:xfrm>
            <a:custGeom>
              <a:avLst/>
              <a:gdLst/>
              <a:ahLst/>
              <a:cxnLst>
                <a:cxn ang="0">
                  <a:pos x="5" y="7"/>
                </a:cxn>
                <a:cxn ang="0">
                  <a:pos x="6" y="7"/>
                </a:cxn>
                <a:cxn ang="0">
                  <a:pos x="6" y="6"/>
                </a:cxn>
                <a:cxn ang="0">
                  <a:pos x="3" y="1"/>
                </a:cxn>
                <a:cxn ang="0">
                  <a:pos x="2" y="1"/>
                </a:cxn>
                <a:cxn ang="0">
                  <a:pos x="0" y="0"/>
                </a:cxn>
                <a:cxn ang="0">
                  <a:pos x="0" y="0"/>
                </a:cxn>
                <a:cxn ang="0">
                  <a:pos x="0" y="1"/>
                </a:cxn>
                <a:cxn ang="0">
                  <a:pos x="2" y="3"/>
                </a:cxn>
                <a:cxn ang="0">
                  <a:pos x="3" y="7"/>
                </a:cxn>
                <a:cxn ang="0">
                  <a:pos x="5" y="7"/>
                </a:cxn>
              </a:cxnLst>
              <a:rect l="0" t="0" r="r" b="b"/>
              <a:pathLst>
                <a:path w="6" h="7">
                  <a:moveTo>
                    <a:pt x="5" y="7"/>
                  </a:moveTo>
                  <a:lnTo>
                    <a:pt x="6" y="7"/>
                  </a:lnTo>
                  <a:lnTo>
                    <a:pt x="6" y="6"/>
                  </a:lnTo>
                  <a:lnTo>
                    <a:pt x="3" y="1"/>
                  </a:lnTo>
                  <a:lnTo>
                    <a:pt x="2" y="1"/>
                  </a:lnTo>
                  <a:lnTo>
                    <a:pt x="0" y="0"/>
                  </a:lnTo>
                  <a:lnTo>
                    <a:pt x="0" y="0"/>
                  </a:lnTo>
                  <a:lnTo>
                    <a:pt x="0" y="1"/>
                  </a:lnTo>
                  <a:lnTo>
                    <a:pt x="2" y="3"/>
                  </a:lnTo>
                  <a:lnTo>
                    <a:pt x="3" y="7"/>
                  </a:lnTo>
                  <a:lnTo>
                    <a:pt x="5" y="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09" name="Freeform 308"/>
            <p:cNvSpPr>
              <a:spLocks/>
            </p:cNvSpPr>
            <p:nvPr/>
          </p:nvSpPr>
          <p:spPr bwMode="auto">
            <a:xfrm>
              <a:off x="6032067" y="2091132"/>
              <a:ext cx="2633" cy="3043"/>
            </a:xfrm>
            <a:custGeom>
              <a:avLst/>
              <a:gdLst/>
              <a:ahLst/>
              <a:cxnLst>
                <a:cxn ang="0">
                  <a:pos x="3" y="0"/>
                </a:cxn>
                <a:cxn ang="0">
                  <a:pos x="3" y="0"/>
                </a:cxn>
                <a:cxn ang="0">
                  <a:pos x="0" y="0"/>
                </a:cxn>
                <a:cxn ang="0">
                  <a:pos x="0" y="1"/>
                </a:cxn>
                <a:cxn ang="0">
                  <a:pos x="0" y="3"/>
                </a:cxn>
                <a:cxn ang="0">
                  <a:pos x="1" y="3"/>
                </a:cxn>
                <a:cxn ang="0">
                  <a:pos x="3" y="3"/>
                </a:cxn>
                <a:cxn ang="0">
                  <a:pos x="3" y="0"/>
                </a:cxn>
              </a:cxnLst>
              <a:rect l="0" t="0" r="r" b="b"/>
              <a:pathLst>
                <a:path w="3" h="3">
                  <a:moveTo>
                    <a:pt x="3" y="0"/>
                  </a:moveTo>
                  <a:lnTo>
                    <a:pt x="3" y="0"/>
                  </a:lnTo>
                  <a:lnTo>
                    <a:pt x="0" y="0"/>
                  </a:lnTo>
                  <a:lnTo>
                    <a:pt x="0" y="1"/>
                  </a:lnTo>
                  <a:lnTo>
                    <a:pt x="0" y="3"/>
                  </a:lnTo>
                  <a:lnTo>
                    <a:pt x="1" y="3"/>
                  </a:lnTo>
                  <a:lnTo>
                    <a:pt x="3" y="3"/>
                  </a:lnTo>
                  <a:lnTo>
                    <a:pt x="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10" name="Freeform 309"/>
            <p:cNvSpPr>
              <a:spLocks/>
            </p:cNvSpPr>
            <p:nvPr/>
          </p:nvSpPr>
          <p:spPr bwMode="auto">
            <a:xfrm>
              <a:off x="6032067" y="2091132"/>
              <a:ext cx="2633" cy="3043"/>
            </a:xfrm>
            <a:custGeom>
              <a:avLst/>
              <a:gdLst/>
              <a:ahLst/>
              <a:cxnLst>
                <a:cxn ang="0">
                  <a:pos x="3" y="0"/>
                </a:cxn>
                <a:cxn ang="0">
                  <a:pos x="3" y="0"/>
                </a:cxn>
                <a:cxn ang="0">
                  <a:pos x="0" y="0"/>
                </a:cxn>
                <a:cxn ang="0">
                  <a:pos x="0" y="1"/>
                </a:cxn>
                <a:cxn ang="0">
                  <a:pos x="0" y="3"/>
                </a:cxn>
                <a:cxn ang="0">
                  <a:pos x="1" y="3"/>
                </a:cxn>
                <a:cxn ang="0">
                  <a:pos x="3" y="3"/>
                </a:cxn>
                <a:cxn ang="0">
                  <a:pos x="3" y="0"/>
                </a:cxn>
              </a:cxnLst>
              <a:rect l="0" t="0" r="r" b="b"/>
              <a:pathLst>
                <a:path w="3" h="3">
                  <a:moveTo>
                    <a:pt x="3" y="0"/>
                  </a:moveTo>
                  <a:lnTo>
                    <a:pt x="3" y="0"/>
                  </a:lnTo>
                  <a:lnTo>
                    <a:pt x="0" y="0"/>
                  </a:lnTo>
                  <a:lnTo>
                    <a:pt x="0" y="1"/>
                  </a:lnTo>
                  <a:lnTo>
                    <a:pt x="0" y="3"/>
                  </a:lnTo>
                  <a:lnTo>
                    <a:pt x="1" y="3"/>
                  </a:lnTo>
                  <a:lnTo>
                    <a:pt x="3" y="3"/>
                  </a:lnTo>
                  <a:lnTo>
                    <a:pt x="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11" name="Freeform 310"/>
            <p:cNvSpPr>
              <a:spLocks/>
            </p:cNvSpPr>
            <p:nvPr/>
          </p:nvSpPr>
          <p:spPr bwMode="auto">
            <a:xfrm>
              <a:off x="6029433" y="2102288"/>
              <a:ext cx="3511" cy="5071"/>
            </a:xfrm>
            <a:custGeom>
              <a:avLst/>
              <a:gdLst/>
              <a:ahLst/>
              <a:cxnLst>
                <a:cxn ang="0">
                  <a:pos x="3" y="5"/>
                </a:cxn>
                <a:cxn ang="0">
                  <a:pos x="4" y="3"/>
                </a:cxn>
                <a:cxn ang="0">
                  <a:pos x="3" y="2"/>
                </a:cxn>
                <a:cxn ang="0">
                  <a:pos x="1" y="0"/>
                </a:cxn>
                <a:cxn ang="0">
                  <a:pos x="0" y="2"/>
                </a:cxn>
                <a:cxn ang="0">
                  <a:pos x="0" y="3"/>
                </a:cxn>
                <a:cxn ang="0">
                  <a:pos x="1" y="3"/>
                </a:cxn>
                <a:cxn ang="0">
                  <a:pos x="3" y="5"/>
                </a:cxn>
                <a:cxn ang="0">
                  <a:pos x="3" y="5"/>
                </a:cxn>
                <a:cxn ang="0">
                  <a:pos x="3" y="5"/>
                </a:cxn>
              </a:cxnLst>
              <a:rect l="0" t="0" r="r" b="b"/>
              <a:pathLst>
                <a:path w="4" h="5">
                  <a:moveTo>
                    <a:pt x="3" y="5"/>
                  </a:moveTo>
                  <a:lnTo>
                    <a:pt x="4" y="3"/>
                  </a:lnTo>
                  <a:lnTo>
                    <a:pt x="3" y="2"/>
                  </a:lnTo>
                  <a:lnTo>
                    <a:pt x="1" y="0"/>
                  </a:lnTo>
                  <a:lnTo>
                    <a:pt x="0" y="2"/>
                  </a:lnTo>
                  <a:lnTo>
                    <a:pt x="0" y="3"/>
                  </a:lnTo>
                  <a:lnTo>
                    <a:pt x="1" y="3"/>
                  </a:lnTo>
                  <a:lnTo>
                    <a:pt x="3" y="5"/>
                  </a:lnTo>
                  <a:lnTo>
                    <a:pt x="3" y="5"/>
                  </a:lnTo>
                  <a:lnTo>
                    <a:pt x="3" y="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12" name="Freeform 311"/>
            <p:cNvSpPr>
              <a:spLocks/>
            </p:cNvSpPr>
            <p:nvPr/>
          </p:nvSpPr>
          <p:spPr bwMode="auto">
            <a:xfrm>
              <a:off x="6029433" y="2102288"/>
              <a:ext cx="3511" cy="5071"/>
            </a:xfrm>
            <a:custGeom>
              <a:avLst/>
              <a:gdLst/>
              <a:ahLst/>
              <a:cxnLst>
                <a:cxn ang="0">
                  <a:pos x="3" y="5"/>
                </a:cxn>
                <a:cxn ang="0">
                  <a:pos x="4" y="3"/>
                </a:cxn>
                <a:cxn ang="0">
                  <a:pos x="3" y="2"/>
                </a:cxn>
                <a:cxn ang="0">
                  <a:pos x="1" y="0"/>
                </a:cxn>
                <a:cxn ang="0">
                  <a:pos x="0" y="2"/>
                </a:cxn>
                <a:cxn ang="0">
                  <a:pos x="0" y="3"/>
                </a:cxn>
                <a:cxn ang="0">
                  <a:pos x="1" y="3"/>
                </a:cxn>
                <a:cxn ang="0">
                  <a:pos x="3" y="5"/>
                </a:cxn>
                <a:cxn ang="0">
                  <a:pos x="3" y="5"/>
                </a:cxn>
                <a:cxn ang="0">
                  <a:pos x="3" y="5"/>
                </a:cxn>
              </a:cxnLst>
              <a:rect l="0" t="0" r="r" b="b"/>
              <a:pathLst>
                <a:path w="4" h="5">
                  <a:moveTo>
                    <a:pt x="3" y="5"/>
                  </a:moveTo>
                  <a:lnTo>
                    <a:pt x="4" y="3"/>
                  </a:lnTo>
                  <a:lnTo>
                    <a:pt x="3" y="2"/>
                  </a:lnTo>
                  <a:lnTo>
                    <a:pt x="1" y="0"/>
                  </a:lnTo>
                  <a:lnTo>
                    <a:pt x="0" y="2"/>
                  </a:lnTo>
                  <a:lnTo>
                    <a:pt x="0" y="3"/>
                  </a:lnTo>
                  <a:lnTo>
                    <a:pt x="1" y="3"/>
                  </a:lnTo>
                  <a:lnTo>
                    <a:pt x="3" y="5"/>
                  </a:lnTo>
                  <a:lnTo>
                    <a:pt x="3" y="5"/>
                  </a:lnTo>
                  <a:lnTo>
                    <a:pt x="3" y="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13" name="Freeform 312"/>
            <p:cNvSpPr>
              <a:spLocks/>
            </p:cNvSpPr>
            <p:nvPr/>
          </p:nvSpPr>
          <p:spPr bwMode="auto">
            <a:xfrm>
              <a:off x="6027678" y="2110402"/>
              <a:ext cx="2634" cy="8113"/>
            </a:xfrm>
            <a:custGeom>
              <a:avLst/>
              <a:gdLst/>
              <a:ahLst/>
              <a:cxnLst>
                <a:cxn ang="0">
                  <a:pos x="2" y="1"/>
                </a:cxn>
                <a:cxn ang="0">
                  <a:pos x="0" y="0"/>
                </a:cxn>
                <a:cxn ang="0">
                  <a:pos x="0" y="1"/>
                </a:cxn>
                <a:cxn ang="0">
                  <a:pos x="2" y="5"/>
                </a:cxn>
                <a:cxn ang="0">
                  <a:pos x="2" y="7"/>
                </a:cxn>
                <a:cxn ang="0">
                  <a:pos x="3" y="8"/>
                </a:cxn>
                <a:cxn ang="0">
                  <a:pos x="3" y="7"/>
                </a:cxn>
                <a:cxn ang="0">
                  <a:pos x="3" y="5"/>
                </a:cxn>
                <a:cxn ang="0">
                  <a:pos x="3" y="4"/>
                </a:cxn>
                <a:cxn ang="0">
                  <a:pos x="2" y="1"/>
                </a:cxn>
              </a:cxnLst>
              <a:rect l="0" t="0" r="r" b="b"/>
              <a:pathLst>
                <a:path w="3" h="8">
                  <a:moveTo>
                    <a:pt x="2" y="1"/>
                  </a:moveTo>
                  <a:lnTo>
                    <a:pt x="0" y="0"/>
                  </a:lnTo>
                  <a:lnTo>
                    <a:pt x="0" y="1"/>
                  </a:lnTo>
                  <a:lnTo>
                    <a:pt x="2" y="5"/>
                  </a:lnTo>
                  <a:lnTo>
                    <a:pt x="2" y="7"/>
                  </a:lnTo>
                  <a:lnTo>
                    <a:pt x="3" y="8"/>
                  </a:lnTo>
                  <a:lnTo>
                    <a:pt x="3" y="7"/>
                  </a:lnTo>
                  <a:lnTo>
                    <a:pt x="3" y="5"/>
                  </a:lnTo>
                  <a:lnTo>
                    <a:pt x="3" y="4"/>
                  </a:lnTo>
                  <a:lnTo>
                    <a:pt x="2"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14" name="Freeform 313"/>
            <p:cNvSpPr>
              <a:spLocks/>
            </p:cNvSpPr>
            <p:nvPr/>
          </p:nvSpPr>
          <p:spPr bwMode="auto">
            <a:xfrm>
              <a:off x="6027678" y="2110402"/>
              <a:ext cx="2634" cy="8113"/>
            </a:xfrm>
            <a:custGeom>
              <a:avLst/>
              <a:gdLst/>
              <a:ahLst/>
              <a:cxnLst>
                <a:cxn ang="0">
                  <a:pos x="2" y="1"/>
                </a:cxn>
                <a:cxn ang="0">
                  <a:pos x="0" y="0"/>
                </a:cxn>
                <a:cxn ang="0">
                  <a:pos x="0" y="1"/>
                </a:cxn>
                <a:cxn ang="0">
                  <a:pos x="2" y="5"/>
                </a:cxn>
                <a:cxn ang="0">
                  <a:pos x="2" y="7"/>
                </a:cxn>
                <a:cxn ang="0">
                  <a:pos x="3" y="8"/>
                </a:cxn>
                <a:cxn ang="0">
                  <a:pos x="3" y="7"/>
                </a:cxn>
                <a:cxn ang="0">
                  <a:pos x="3" y="5"/>
                </a:cxn>
                <a:cxn ang="0">
                  <a:pos x="3" y="4"/>
                </a:cxn>
                <a:cxn ang="0">
                  <a:pos x="2" y="1"/>
                </a:cxn>
              </a:cxnLst>
              <a:rect l="0" t="0" r="r" b="b"/>
              <a:pathLst>
                <a:path w="3" h="8">
                  <a:moveTo>
                    <a:pt x="2" y="1"/>
                  </a:moveTo>
                  <a:lnTo>
                    <a:pt x="0" y="0"/>
                  </a:lnTo>
                  <a:lnTo>
                    <a:pt x="0" y="1"/>
                  </a:lnTo>
                  <a:lnTo>
                    <a:pt x="2" y="5"/>
                  </a:lnTo>
                  <a:lnTo>
                    <a:pt x="2" y="7"/>
                  </a:lnTo>
                  <a:lnTo>
                    <a:pt x="3" y="8"/>
                  </a:lnTo>
                  <a:lnTo>
                    <a:pt x="3" y="7"/>
                  </a:lnTo>
                  <a:lnTo>
                    <a:pt x="3" y="5"/>
                  </a:lnTo>
                  <a:lnTo>
                    <a:pt x="3" y="4"/>
                  </a:lnTo>
                  <a:lnTo>
                    <a:pt x="2"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15" name="Freeform 314"/>
            <p:cNvSpPr>
              <a:spLocks/>
            </p:cNvSpPr>
            <p:nvPr/>
          </p:nvSpPr>
          <p:spPr bwMode="auto">
            <a:xfrm>
              <a:off x="6309452" y="2291930"/>
              <a:ext cx="5267" cy="6085"/>
            </a:xfrm>
            <a:custGeom>
              <a:avLst/>
              <a:gdLst/>
              <a:ahLst/>
              <a:cxnLst>
                <a:cxn ang="0">
                  <a:pos x="6" y="6"/>
                </a:cxn>
                <a:cxn ang="0">
                  <a:pos x="4" y="1"/>
                </a:cxn>
                <a:cxn ang="0">
                  <a:pos x="3" y="0"/>
                </a:cxn>
                <a:cxn ang="0">
                  <a:pos x="1" y="0"/>
                </a:cxn>
                <a:cxn ang="0">
                  <a:pos x="0" y="4"/>
                </a:cxn>
                <a:cxn ang="0">
                  <a:pos x="1" y="6"/>
                </a:cxn>
                <a:cxn ang="0">
                  <a:pos x="3" y="6"/>
                </a:cxn>
                <a:cxn ang="0">
                  <a:pos x="6" y="6"/>
                </a:cxn>
              </a:cxnLst>
              <a:rect l="0" t="0" r="r" b="b"/>
              <a:pathLst>
                <a:path w="6" h="6">
                  <a:moveTo>
                    <a:pt x="6" y="6"/>
                  </a:moveTo>
                  <a:lnTo>
                    <a:pt x="4" y="1"/>
                  </a:lnTo>
                  <a:lnTo>
                    <a:pt x="3" y="0"/>
                  </a:lnTo>
                  <a:lnTo>
                    <a:pt x="1" y="0"/>
                  </a:lnTo>
                  <a:lnTo>
                    <a:pt x="0" y="4"/>
                  </a:lnTo>
                  <a:lnTo>
                    <a:pt x="1" y="6"/>
                  </a:lnTo>
                  <a:lnTo>
                    <a:pt x="3" y="6"/>
                  </a:lnTo>
                  <a:lnTo>
                    <a:pt x="6"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16" name="Freeform 315"/>
            <p:cNvSpPr>
              <a:spLocks/>
            </p:cNvSpPr>
            <p:nvPr/>
          </p:nvSpPr>
          <p:spPr bwMode="auto">
            <a:xfrm>
              <a:off x="6309452" y="2291930"/>
              <a:ext cx="5267" cy="6085"/>
            </a:xfrm>
            <a:custGeom>
              <a:avLst/>
              <a:gdLst/>
              <a:ahLst/>
              <a:cxnLst>
                <a:cxn ang="0">
                  <a:pos x="6" y="6"/>
                </a:cxn>
                <a:cxn ang="0">
                  <a:pos x="4" y="1"/>
                </a:cxn>
                <a:cxn ang="0">
                  <a:pos x="3" y="0"/>
                </a:cxn>
                <a:cxn ang="0">
                  <a:pos x="1" y="0"/>
                </a:cxn>
                <a:cxn ang="0">
                  <a:pos x="0" y="4"/>
                </a:cxn>
                <a:cxn ang="0">
                  <a:pos x="1" y="6"/>
                </a:cxn>
                <a:cxn ang="0">
                  <a:pos x="3" y="6"/>
                </a:cxn>
                <a:cxn ang="0">
                  <a:pos x="6" y="6"/>
                </a:cxn>
              </a:cxnLst>
              <a:rect l="0" t="0" r="r" b="b"/>
              <a:pathLst>
                <a:path w="6" h="6">
                  <a:moveTo>
                    <a:pt x="6" y="6"/>
                  </a:moveTo>
                  <a:lnTo>
                    <a:pt x="4" y="1"/>
                  </a:lnTo>
                  <a:lnTo>
                    <a:pt x="3" y="0"/>
                  </a:lnTo>
                  <a:lnTo>
                    <a:pt x="1" y="0"/>
                  </a:lnTo>
                  <a:lnTo>
                    <a:pt x="0" y="4"/>
                  </a:lnTo>
                  <a:lnTo>
                    <a:pt x="1" y="6"/>
                  </a:lnTo>
                  <a:lnTo>
                    <a:pt x="3" y="6"/>
                  </a:lnTo>
                  <a:lnTo>
                    <a:pt x="6"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17" name="Freeform 316"/>
            <p:cNvSpPr>
              <a:spLocks/>
            </p:cNvSpPr>
            <p:nvPr/>
          </p:nvSpPr>
          <p:spPr bwMode="auto">
            <a:xfrm>
              <a:off x="6273462" y="2299030"/>
              <a:ext cx="3511" cy="10141"/>
            </a:xfrm>
            <a:custGeom>
              <a:avLst/>
              <a:gdLst/>
              <a:ahLst/>
              <a:cxnLst>
                <a:cxn ang="0">
                  <a:pos x="0" y="0"/>
                </a:cxn>
                <a:cxn ang="0">
                  <a:pos x="1" y="0"/>
                </a:cxn>
                <a:cxn ang="0">
                  <a:pos x="1" y="0"/>
                </a:cxn>
                <a:cxn ang="0">
                  <a:pos x="2" y="2"/>
                </a:cxn>
                <a:cxn ang="0">
                  <a:pos x="4" y="3"/>
                </a:cxn>
                <a:cxn ang="0">
                  <a:pos x="4" y="5"/>
                </a:cxn>
                <a:cxn ang="0">
                  <a:pos x="2" y="6"/>
                </a:cxn>
                <a:cxn ang="0">
                  <a:pos x="2" y="10"/>
                </a:cxn>
                <a:cxn ang="0">
                  <a:pos x="1" y="9"/>
                </a:cxn>
                <a:cxn ang="0">
                  <a:pos x="1" y="6"/>
                </a:cxn>
                <a:cxn ang="0">
                  <a:pos x="1" y="5"/>
                </a:cxn>
                <a:cxn ang="0">
                  <a:pos x="0" y="3"/>
                </a:cxn>
                <a:cxn ang="0">
                  <a:pos x="0" y="3"/>
                </a:cxn>
                <a:cxn ang="0">
                  <a:pos x="0" y="0"/>
                </a:cxn>
                <a:cxn ang="0">
                  <a:pos x="0" y="0"/>
                </a:cxn>
                <a:cxn ang="0">
                  <a:pos x="0" y="0"/>
                </a:cxn>
              </a:cxnLst>
              <a:rect l="0" t="0" r="r" b="b"/>
              <a:pathLst>
                <a:path w="4" h="10">
                  <a:moveTo>
                    <a:pt x="0" y="0"/>
                  </a:moveTo>
                  <a:lnTo>
                    <a:pt x="1" y="0"/>
                  </a:lnTo>
                  <a:lnTo>
                    <a:pt x="1" y="0"/>
                  </a:lnTo>
                  <a:lnTo>
                    <a:pt x="2" y="2"/>
                  </a:lnTo>
                  <a:lnTo>
                    <a:pt x="4" y="3"/>
                  </a:lnTo>
                  <a:lnTo>
                    <a:pt x="4" y="5"/>
                  </a:lnTo>
                  <a:lnTo>
                    <a:pt x="2" y="6"/>
                  </a:lnTo>
                  <a:lnTo>
                    <a:pt x="2" y="10"/>
                  </a:lnTo>
                  <a:lnTo>
                    <a:pt x="1" y="9"/>
                  </a:lnTo>
                  <a:lnTo>
                    <a:pt x="1" y="6"/>
                  </a:lnTo>
                  <a:lnTo>
                    <a:pt x="1" y="5"/>
                  </a:lnTo>
                  <a:lnTo>
                    <a:pt x="0" y="3"/>
                  </a:lnTo>
                  <a:lnTo>
                    <a:pt x="0" y="3"/>
                  </a:lnTo>
                  <a:lnTo>
                    <a:pt x="0" y="0"/>
                  </a:lnTo>
                  <a:lnTo>
                    <a:pt x="0" y="0"/>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18" name="Freeform 317"/>
            <p:cNvSpPr>
              <a:spLocks/>
            </p:cNvSpPr>
            <p:nvPr/>
          </p:nvSpPr>
          <p:spPr bwMode="auto">
            <a:xfrm>
              <a:off x="6273462" y="2299030"/>
              <a:ext cx="3511" cy="10141"/>
            </a:xfrm>
            <a:custGeom>
              <a:avLst/>
              <a:gdLst/>
              <a:ahLst/>
              <a:cxnLst>
                <a:cxn ang="0">
                  <a:pos x="0" y="0"/>
                </a:cxn>
                <a:cxn ang="0">
                  <a:pos x="1" y="0"/>
                </a:cxn>
                <a:cxn ang="0">
                  <a:pos x="1" y="0"/>
                </a:cxn>
                <a:cxn ang="0">
                  <a:pos x="2" y="2"/>
                </a:cxn>
                <a:cxn ang="0">
                  <a:pos x="4" y="3"/>
                </a:cxn>
                <a:cxn ang="0">
                  <a:pos x="4" y="5"/>
                </a:cxn>
                <a:cxn ang="0">
                  <a:pos x="2" y="6"/>
                </a:cxn>
                <a:cxn ang="0">
                  <a:pos x="2" y="10"/>
                </a:cxn>
                <a:cxn ang="0">
                  <a:pos x="1" y="9"/>
                </a:cxn>
                <a:cxn ang="0">
                  <a:pos x="1" y="6"/>
                </a:cxn>
                <a:cxn ang="0">
                  <a:pos x="1" y="5"/>
                </a:cxn>
                <a:cxn ang="0">
                  <a:pos x="0" y="3"/>
                </a:cxn>
                <a:cxn ang="0">
                  <a:pos x="0" y="3"/>
                </a:cxn>
                <a:cxn ang="0">
                  <a:pos x="0" y="0"/>
                </a:cxn>
                <a:cxn ang="0">
                  <a:pos x="0" y="0"/>
                </a:cxn>
                <a:cxn ang="0">
                  <a:pos x="0" y="0"/>
                </a:cxn>
              </a:cxnLst>
              <a:rect l="0" t="0" r="r" b="b"/>
              <a:pathLst>
                <a:path w="4" h="10">
                  <a:moveTo>
                    <a:pt x="0" y="0"/>
                  </a:moveTo>
                  <a:lnTo>
                    <a:pt x="1" y="0"/>
                  </a:lnTo>
                  <a:lnTo>
                    <a:pt x="1" y="0"/>
                  </a:lnTo>
                  <a:lnTo>
                    <a:pt x="2" y="2"/>
                  </a:lnTo>
                  <a:lnTo>
                    <a:pt x="4" y="3"/>
                  </a:lnTo>
                  <a:lnTo>
                    <a:pt x="4" y="5"/>
                  </a:lnTo>
                  <a:lnTo>
                    <a:pt x="2" y="6"/>
                  </a:lnTo>
                  <a:lnTo>
                    <a:pt x="2" y="10"/>
                  </a:lnTo>
                  <a:lnTo>
                    <a:pt x="1" y="9"/>
                  </a:lnTo>
                  <a:lnTo>
                    <a:pt x="1" y="6"/>
                  </a:lnTo>
                  <a:lnTo>
                    <a:pt x="1" y="5"/>
                  </a:lnTo>
                  <a:lnTo>
                    <a:pt x="0" y="3"/>
                  </a:lnTo>
                  <a:lnTo>
                    <a:pt x="0" y="3"/>
                  </a:lnTo>
                  <a:lnTo>
                    <a:pt x="0" y="0"/>
                  </a:lnTo>
                  <a:lnTo>
                    <a:pt x="0" y="0"/>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19" name="Freeform 318"/>
            <p:cNvSpPr>
              <a:spLocks/>
            </p:cNvSpPr>
            <p:nvPr/>
          </p:nvSpPr>
          <p:spPr bwMode="auto">
            <a:xfrm>
              <a:off x="6262929" y="2299030"/>
              <a:ext cx="10534" cy="9127"/>
            </a:xfrm>
            <a:custGeom>
              <a:avLst/>
              <a:gdLst/>
              <a:ahLst/>
              <a:cxnLst>
                <a:cxn ang="0">
                  <a:pos x="4" y="0"/>
                </a:cxn>
                <a:cxn ang="0">
                  <a:pos x="4" y="0"/>
                </a:cxn>
                <a:cxn ang="0">
                  <a:pos x="4" y="2"/>
                </a:cxn>
                <a:cxn ang="0">
                  <a:pos x="6" y="2"/>
                </a:cxn>
                <a:cxn ang="0">
                  <a:pos x="7" y="3"/>
                </a:cxn>
                <a:cxn ang="0">
                  <a:pos x="7" y="3"/>
                </a:cxn>
                <a:cxn ang="0">
                  <a:pos x="7" y="3"/>
                </a:cxn>
                <a:cxn ang="0">
                  <a:pos x="9" y="3"/>
                </a:cxn>
                <a:cxn ang="0">
                  <a:pos x="9" y="2"/>
                </a:cxn>
                <a:cxn ang="0">
                  <a:pos x="10" y="2"/>
                </a:cxn>
                <a:cxn ang="0">
                  <a:pos x="10" y="3"/>
                </a:cxn>
                <a:cxn ang="0">
                  <a:pos x="10" y="5"/>
                </a:cxn>
                <a:cxn ang="0">
                  <a:pos x="12" y="8"/>
                </a:cxn>
                <a:cxn ang="0">
                  <a:pos x="10" y="8"/>
                </a:cxn>
                <a:cxn ang="0">
                  <a:pos x="9" y="8"/>
                </a:cxn>
                <a:cxn ang="0">
                  <a:pos x="7" y="8"/>
                </a:cxn>
                <a:cxn ang="0">
                  <a:pos x="6" y="9"/>
                </a:cxn>
                <a:cxn ang="0">
                  <a:pos x="4" y="6"/>
                </a:cxn>
                <a:cxn ang="0">
                  <a:pos x="1" y="5"/>
                </a:cxn>
                <a:cxn ang="0">
                  <a:pos x="0" y="3"/>
                </a:cxn>
                <a:cxn ang="0">
                  <a:pos x="1" y="5"/>
                </a:cxn>
                <a:cxn ang="0">
                  <a:pos x="3" y="3"/>
                </a:cxn>
                <a:cxn ang="0">
                  <a:pos x="1" y="3"/>
                </a:cxn>
                <a:cxn ang="0">
                  <a:pos x="1" y="2"/>
                </a:cxn>
                <a:cxn ang="0">
                  <a:pos x="1" y="0"/>
                </a:cxn>
                <a:cxn ang="0">
                  <a:pos x="4" y="0"/>
                </a:cxn>
                <a:cxn ang="0">
                  <a:pos x="4" y="0"/>
                </a:cxn>
              </a:cxnLst>
              <a:rect l="0" t="0" r="r" b="b"/>
              <a:pathLst>
                <a:path w="12" h="9">
                  <a:moveTo>
                    <a:pt x="4" y="0"/>
                  </a:moveTo>
                  <a:lnTo>
                    <a:pt x="4" y="0"/>
                  </a:lnTo>
                  <a:lnTo>
                    <a:pt x="4" y="2"/>
                  </a:lnTo>
                  <a:lnTo>
                    <a:pt x="6" y="2"/>
                  </a:lnTo>
                  <a:lnTo>
                    <a:pt x="7" y="3"/>
                  </a:lnTo>
                  <a:lnTo>
                    <a:pt x="7" y="3"/>
                  </a:lnTo>
                  <a:lnTo>
                    <a:pt x="7" y="3"/>
                  </a:lnTo>
                  <a:lnTo>
                    <a:pt x="9" y="3"/>
                  </a:lnTo>
                  <a:lnTo>
                    <a:pt x="9" y="2"/>
                  </a:lnTo>
                  <a:lnTo>
                    <a:pt x="10" y="2"/>
                  </a:lnTo>
                  <a:lnTo>
                    <a:pt x="10" y="3"/>
                  </a:lnTo>
                  <a:lnTo>
                    <a:pt x="10" y="5"/>
                  </a:lnTo>
                  <a:lnTo>
                    <a:pt x="12" y="8"/>
                  </a:lnTo>
                  <a:lnTo>
                    <a:pt x="10" y="8"/>
                  </a:lnTo>
                  <a:lnTo>
                    <a:pt x="9" y="8"/>
                  </a:lnTo>
                  <a:lnTo>
                    <a:pt x="7" y="8"/>
                  </a:lnTo>
                  <a:lnTo>
                    <a:pt x="6" y="9"/>
                  </a:lnTo>
                  <a:lnTo>
                    <a:pt x="4" y="6"/>
                  </a:lnTo>
                  <a:lnTo>
                    <a:pt x="1" y="5"/>
                  </a:lnTo>
                  <a:lnTo>
                    <a:pt x="0" y="3"/>
                  </a:lnTo>
                  <a:lnTo>
                    <a:pt x="1" y="5"/>
                  </a:lnTo>
                  <a:lnTo>
                    <a:pt x="3" y="3"/>
                  </a:lnTo>
                  <a:lnTo>
                    <a:pt x="1" y="3"/>
                  </a:lnTo>
                  <a:lnTo>
                    <a:pt x="1" y="2"/>
                  </a:lnTo>
                  <a:lnTo>
                    <a:pt x="1" y="0"/>
                  </a:lnTo>
                  <a:lnTo>
                    <a:pt x="4" y="0"/>
                  </a:lnTo>
                  <a:lnTo>
                    <a:pt x="4"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20" name="Freeform 319"/>
            <p:cNvSpPr>
              <a:spLocks/>
            </p:cNvSpPr>
            <p:nvPr/>
          </p:nvSpPr>
          <p:spPr bwMode="auto">
            <a:xfrm>
              <a:off x="6262929" y="2299030"/>
              <a:ext cx="10534" cy="9127"/>
            </a:xfrm>
            <a:custGeom>
              <a:avLst/>
              <a:gdLst/>
              <a:ahLst/>
              <a:cxnLst>
                <a:cxn ang="0">
                  <a:pos x="4" y="0"/>
                </a:cxn>
                <a:cxn ang="0">
                  <a:pos x="4" y="0"/>
                </a:cxn>
                <a:cxn ang="0">
                  <a:pos x="4" y="2"/>
                </a:cxn>
                <a:cxn ang="0">
                  <a:pos x="6" y="2"/>
                </a:cxn>
                <a:cxn ang="0">
                  <a:pos x="7" y="3"/>
                </a:cxn>
                <a:cxn ang="0">
                  <a:pos x="7" y="3"/>
                </a:cxn>
                <a:cxn ang="0">
                  <a:pos x="7" y="3"/>
                </a:cxn>
                <a:cxn ang="0">
                  <a:pos x="9" y="3"/>
                </a:cxn>
                <a:cxn ang="0">
                  <a:pos x="9" y="2"/>
                </a:cxn>
                <a:cxn ang="0">
                  <a:pos x="10" y="2"/>
                </a:cxn>
                <a:cxn ang="0">
                  <a:pos x="10" y="3"/>
                </a:cxn>
                <a:cxn ang="0">
                  <a:pos x="10" y="5"/>
                </a:cxn>
                <a:cxn ang="0">
                  <a:pos x="12" y="8"/>
                </a:cxn>
                <a:cxn ang="0">
                  <a:pos x="10" y="8"/>
                </a:cxn>
                <a:cxn ang="0">
                  <a:pos x="9" y="8"/>
                </a:cxn>
                <a:cxn ang="0">
                  <a:pos x="7" y="8"/>
                </a:cxn>
                <a:cxn ang="0">
                  <a:pos x="6" y="9"/>
                </a:cxn>
                <a:cxn ang="0">
                  <a:pos x="4" y="6"/>
                </a:cxn>
                <a:cxn ang="0">
                  <a:pos x="1" y="5"/>
                </a:cxn>
                <a:cxn ang="0">
                  <a:pos x="0" y="3"/>
                </a:cxn>
                <a:cxn ang="0">
                  <a:pos x="1" y="5"/>
                </a:cxn>
                <a:cxn ang="0">
                  <a:pos x="3" y="3"/>
                </a:cxn>
                <a:cxn ang="0">
                  <a:pos x="1" y="3"/>
                </a:cxn>
                <a:cxn ang="0">
                  <a:pos x="1" y="2"/>
                </a:cxn>
                <a:cxn ang="0">
                  <a:pos x="1" y="0"/>
                </a:cxn>
                <a:cxn ang="0">
                  <a:pos x="4" y="0"/>
                </a:cxn>
                <a:cxn ang="0">
                  <a:pos x="4" y="0"/>
                </a:cxn>
              </a:cxnLst>
              <a:rect l="0" t="0" r="r" b="b"/>
              <a:pathLst>
                <a:path w="12" h="9">
                  <a:moveTo>
                    <a:pt x="4" y="0"/>
                  </a:moveTo>
                  <a:lnTo>
                    <a:pt x="4" y="0"/>
                  </a:lnTo>
                  <a:lnTo>
                    <a:pt x="4" y="2"/>
                  </a:lnTo>
                  <a:lnTo>
                    <a:pt x="6" y="2"/>
                  </a:lnTo>
                  <a:lnTo>
                    <a:pt x="7" y="3"/>
                  </a:lnTo>
                  <a:lnTo>
                    <a:pt x="7" y="3"/>
                  </a:lnTo>
                  <a:lnTo>
                    <a:pt x="7" y="3"/>
                  </a:lnTo>
                  <a:lnTo>
                    <a:pt x="9" y="3"/>
                  </a:lnTo>
                  <a:lnTo>
                    <a:pt x="9" y="2"/>
                  </a:lnTo>
                  <a:lnTo>
                    <a:pt x="10" y="2"/>
                  </a:lnTo>
                  <a:lnTo>
                    <a:pt x="10" y="3"/>
                  </a:lnTo>
                  <a:lnTo>
                    <a:pt x="10" y="5"/>
                  </a:lnTo>
                  <a:lnTo>
                    <a:pt x="12" y="8"/>
                  </a:lnTo>
                  <a:lnTo>
                    <a:pt x="10" y="8"/>
                  </a:lnTo>
                  <a:lnTo>
                    <a:pt x="9" y="8"/>
                  </a:lnTo>
                  <a:lnTo>
                    <a:pt x="7" y="8"/>
                  </a:lnTo>
                  <a:lnTo>
                    <a:pt x="6" y="9"/>
                  </a:lnTo>
                  <a:lnTo>
                    <a:pt x="4" y="6"/>
                  </a:lnTo>
                  <a:lnTo>
                    <a:pt x="1" y="5"/>
                  </a:lnTo>
                  <a:lnTo>
                    <a:pt x="0" y="3"/>
                  </a:lnTo>
                  <a:lnTo>
                    <a:pt x="1" y="5"/>
                  </a:lnTo>
                  <a:lnTo>
                    <a:pt x="3" y="3"/>
                  </a:lnTo>
                  <a:lnTo>
                    <a:pt x="1" y="3"/>
                  </a:lnTo>
                  <a:lnTo>
                    <a:pt x="1" y="2"/>
                  </a:lnTo>
                  <a:lnTo>
                    <a:pt x="1" y="0"/>
                  </a:lnTo>
                  <a:lnTo>
                    <a:pt x="4" y="0"/>
                  </a:lnTo>
                  <a:lnTo>
                    <a:pt x="4"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21" name="Freeform 320"/>
            <p:cNvSpPr>
              <a:spLocks/>
            </p:cNvSpPr>
            <p:nvPr/>
          </p:nvSpPr>
          <p:spPr bwMode="auto">
            <a:xfrm>
              <a:off x="6247128" y="2282804"/>
              <a:ext cx="14045" cy="15212"/>
            </a:xfrm>
            <a:custGeom>
              <a:avLst/>
              <a:gdLst/>
              <a:ahLst/>
              <a:cxnLst>
                <a:cxn ang="0">
                  <a:pos x="4" y="2"/>
                </a:cxn>
                <a:cxn ang="0">
                  <a:pos x="5" y="2"/>
                </a:cxn>
                <a:cxn ang="0">
                  <a:pos x="8" y="0"/>
                </a:cxn>
                <a:cxn ang="0">
                  <a:pos x="10" y="2"/>
                </a:cxn>
                <a:cxn ang="0">
                  <a:pos x="11" y="2"/>
                </a:cxn>
                <a:cxn ang="0">
                  <a:pos x="11" y="0"/>
                </a:cxn>
                <a:cxn ang="0">
                  <a:pos x="11" y="0"/>
                </a:cxn>
                <a:cxn ang="0">
                  <a:pos x="14" y="3"/>
                </a:cxn>
                <a:cxn ang="0">
                  <a:pos x="13" y="6"/>
                </a:cxn>
                <a:cxn ang="0">
                  <a:pos x="14" y="8"/>
                </a:cxn>
                <a:cxn ang="0">
                  <a:pos x="14" y="8"/>
                </a:cxn>
                <a:cxn ang="0">
                  <a:pos x="16" y="8"/>
                </a:cxn>
                <a:cxn ang="0">
                  <a:pos x="16" y="9"/>
                </a:cxn>
                <a:cxn ang="0">
                  <a:pos x="14" y="9"/>
                </a:cxn>
                <a:cxn ang="0">
                  <a:pos x="14" y="13"/>
                </a:cxn>
                <a:cxn ang="0">
                  <a:pos x="13" y="13"/>
                </a:cxn>
                <a:cxn ang="0">
                  <a:pos x="11" y="15"/>
                </a:cxn>
                <a:cxn ang="0">
                  <a:pos x="10" y="15"/>
                </a:cxn>
                <a:cxn ang="0">
                  <a:pos x="7" y="13"/>
                </a:cxn>
                <a:cxn ang="0">
                  <a:pos x="4" y="13"/>
                </a:cxn>
                <a:cxn ang="0">
                  <a:pos x="4" y="12"/>
                </a:cxn>
                <a:cxn ang="0">
                  <a:pos x="5" y="12"/>
                </a:cxn>
                <a:cxn ang="0">
                  <a:pos x="4" y="12"/>
                </a:cxn>
                <a:cxn ang="0">
                  <a:pos x="1" y="10"/>
                </a:cxn>
                <a:cxn ang="0">
                  <a:pos x="1" y="8"/>
                </a:cxn>
                <a:cxn ang="0">
                  <a:pos x="0" y="8"/>
                </a:cxn>
                <a:cxn ang="0">
                  <a:pos x="1" y="6"/>
                </a:cxn>
                <a:cxn ang="0">
                  <a:pos x="0" y="5"/>
                </a:cxn>
                <a:cxn ang="0">
                  <a:pos x="0" y="5"/>
                </a:cxn>
                <a:cxn ang="0">
                  <a:pos x="0" y="5"/>
                </a:cxn>
                <a:cxn ang="0">
                  <a:pos x="0" y="3"/>
                </a:cxn>
                <a:cxn ang="0">
                  <a:pos x="0" y="3"/>
                </a:cxn>
                <a:cxn ang="0">
                  <a:pos x="1" y="3"/>
                </a:cxn>
                <a:cxn ang="0">
                  <a:pos x="2" y="3"/>
                </a:cxn>
                <a:cxn ang="0">
                  <a:pos x="4" y="2"/>
                </a:cxn>
              </a:cxnLst>
              <a:rect l="0" t="0" r="r" b="b"/>
              <a:pathLst>
                <a:path w="16" h="15">
                  <a:moveTo>
                    <a:pt x="4" y="2"/>
                  </a:moveTo>
                  <a:lnTo>
                    <a:pt x="5" y="2"/>
                  </a:lnTo>
                  <a:lnTo>
                    <a:pt x="8" y="0"/>
                  </a:lnTo>
                  <a:lnTo>
                    <a:pt x="10" y="2"/>
                  </a:lnTo>
                  <a:lnTo>
                    <a:pt x="11" y="2"/>
                  </a:lnTo>
                  <a:lnTo>
                    <a:pt x="11" y="0"/>
                  </a:lnTo>
                  <a:lnTo>
                    <a:pt x="11" y="0"/>
                  </a:lnTo>
                  <a:lnTo>
                    <a:pt x="14" y="3"/>
                  </a:lnTo>
                  <a:lnTo>
                    <a:pt x="13" y="6"/>
                  </a:lnTo>
                  <a:lnTo>
                    <a:pt x="14" y="8"/>
                  </a:lnTo>
                  <a:lnTo>
                    <a:pt x="14" y="8"/>
                  </a:lnTo>
                  <a:lnTo>
                    <a:pt x="16" y="8"/>
                  </a:lnTo>
                  <a:lnTo>
                    <a:pt x="16" y="9"/>
                  </a:lnTo>
                  <a:lnTo>
                    <a:pt x="14" y="9"/>
                  </a:lnTo>
                  <a:lnTo>
                    <a:pt x="14" y="13"/>
                  </a:lnTo>
                  <a:lnTo>
                    <a:pt x="13" y="13"/>
                  </a:lnTo>
                  <a:lnTo>
                    <a:pt x="11" y="15"/>
                  </a:lnTo>
                  <a:lnTo>
                    <a:pt x="10" y="15"/>
                  </a:lnTo>
                  <a:lnTo>
                    <a:pt x="7" y="13"/>
                  </a:lnTo>
                  <a:lnTo>
                    <a:pt x="4" y="13"/>
                  </a:lnTo>
                  <a:lnTo>
                    <a:pt x="4" y="12"/>
                  </a:lnTo>
                  <a:lnTo>
                    <a:pt x="5" y="12"/>
                  </a:lnTo>
                  <a:lnTo>
                    <a:pt x="4" y="12"/>
                  </a:lnTo>
                  <a:lnTo>
                    <a:pt x="1" y="10"/>
                  </a:lnTo>
                  <a:lnTo>
                    <a:pt x="1" y="8"/>
                  </a:lnTo>
                  <a:lnTo>
                    <a:pt x="0" y="8"/>
                  </a:lnTo>
                  <a:lnTo>
                    <a:pt x="1" y="6"/>
                  </a:lnTo>
                  <a:lnTo>
                    <a:pt x="0" y="5"/>
                  </a:lnTo>
                  <a:lnTo>
                    <a:pt x="0" y="5"/>
                  </a:lnTo>
                  <a:lnTo>
                    <a:pt x="0" y="5"/>
                  </a:lnTo>
                  <a:lnTo>
                    <a:pt x="0" y="3"/>
                  </a:lnTo>
                  <a:lnTo>
                    <a:pt x="0" y="3"/>
                  </a:lnTo>
                  <a:lnTo>
                    <a:pt x="1" y="3"/>
                  </a:lnTo>
                  <a:lnTo>
                    <a:pt x="2" y="3"/>
                  </a:lnTo>
                  <a:lnTo>
                    <a:pt x="4"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22" name="Freeform 321"/>
            <p:cNvSpPr>
              <a:spLocks/>
            </p:cNvSpPr>
            <p:nvPr/>
          </p:nvSpPr>
          <p:spPr bwMode="auto">
            <a:xfrm>
              <a:off x="6247128" y="2282804"/>
              <a:ext cx="14045" cy="15212"/>
            </a:xfrm>
            <a:custGeom>
              <a:avLst/>
              <a:gdLst/>
              <a:ahLst/>
              <a:cxnLst>
                <a:cxn ang="0">
                  <a:pos x="4" y="2"/>
                </a:cxn>
                <a:cxn ang="0">
                  <a:pos x="5" y="2"/>
                </a:cxn>
                <a:cxn ang="0">
                  <a:pos x="8" y="0"/>
                </a:cxn>
                <a:cxn ang="0">
                  <a:pos x="10" y="2"/>
                </a:cxn>
                <a:cxn ang="0">
                  <a:pos x="11" y="2"/>
                </a:cxn>
                <a:cxn ang="0">
                  <a:pos x="11" y="0"/>
                </a:cxn>
                <a:cxn ang="0">
                  <a:pos x="11" y="0"/>
                </a:cxn>
                <a:cxn ang="0">
                  <a:pos x="14" y="3"/>
                </a:cxn>
                <a:cxn ang="0">
                  <a:pos x="13" y="6"/>
                </a:cxn>
                <a:cxn ang="0">
                  <a:pos x="14" y="8"/>
                </a:cxn>
                <a:cxn ang="0">
                  <a:pos x="14" y="8"/>
                </a:cxn>
                <a:cxn ang="0">
                  <a:pos x="16" y="8"/>
                </a:cxn>
                <a:cxn ang="0">
                  <a:pos x="16" y="9"/>
                </a:cxn>
                <a:cxn ang="0">
                  <a:pos x="14" y="9"/>
                </a:cxn>
                <a:cxn ang="0">
                  <a:pos x="14" y="13"/>
                </a:cxn>
                <a:cxn ang="0">
                  <a:pos x="13" y="13"/>
                </a:cxn>
                <a:cxn ang="0">
                  <a:pos x="11" y="15"/>
                </a:cxn>
                <a:cxn ang="0">
                  <a:pos x="10" y="15"/>
                </a:cxn>
                <a:cxn ang="0">
                  <a:pos x="7" y="13"/>
                </a:cxn>
                <a:cxn ang="0">
                  <a:pos x="4" y="13"/>
                </a:cxn>
                <a:cxn ang="0">
                  <a:pos x="4" y="12"/>
                </a:cxn>
                <a:cxn ang="0">
                  <a:pos x="5" y="12"/>
                </a:cxn>
                <a:cxn ang="0">
                  <a:pos x="4" y="12"/>
                </a:cxn>
                <a:cxn ang="0">
                  <a:pos x="1" y="10"/>
                </a:cxn>
                <a:cxn ang="0">
                  <a:pos x="1" y="8"/>
                </a:cxn>
                <a:cxn ang="0">
                  <a:pos x="0" y="8"/>
                </a:cxn>
                <a:cxn ang="0">
                  <a:pos x="1" y="6"/>
                </a:cxn>
                <a:cxn ang="0">
                  <a:pos x="0" y="5"/>
                </a:cxn>
                <a:cxn ang="0">
                  <a:pos x="0" y="5"/>
                </a:cxn>
                <a:cxn ang="0">
                  <a:pos x="0" y="5"/>
                </a:cxn>
                <a:cxn ang="0">
                  <a:pos x="0" y="3"/>
                </a:cxn>
                <a:cxn ang="0">
                  <a:pos x="0" y="3"/>
                </a:cxn>
                <a:cxn ang="0">
                  <a:pos x="1" y="3"/>
                </a:cxn>
                <a:cxn ang="0">
                  <a:pos x="2" y="3"/>
                </a:cxn>
                <a:cxn ang="0">
                  <a:pos x="4" y="2"/>
                </a:cxn>
              </a:cxnLst>
              <a:rect l="0" t="0" r="r" b="b"/>
              <a:pathLst>
                <a:path w="16" h="15">
                  <a:moveTo>
                    <a:pt x="4" y="2"/>
                  </a:moveTo>
                  <a:lnTo>
                    <a:pt x="5" y="2"/>
                  </a:lnTo>
                  <a:lnTo>
                    <a:pt x="8" y="0"/>
                  </a:lnTo>
                  <a:lnTo>
                    <a:pt x="10" y="2"/>
                  </a:lnTo>
                  <a:lnTo>
                    <a:pt x="11" y="2"/>
                  </a:lnTo>
                  <a:lnTo>
                    <a:pt x="11" y="0"/>
                  </a:lnTo>
                  <a:lnTo>
                    <a:pt x="11" y="0"/>
                  </a:lnTo>
                  <a:lnTo>
                    <a:pt x="14" y="3"/>
                  </a:lnTo>
                  <a:lnTo>
                    <a:pt x="13" y="6"/>
                  </a:lnTo>
                  <a:lnTo>
                    <a:pt x="14" y="8"/>
                  </a:lnTo>
                  <a:lnTo>
                    <a:pt x="14" y="8"/>
                  </a:lnTo>
                  <a:lnTo>
                    <a:pt x="16" y="8"/>
                  </a:lnTo>
                  <a:lnTo>
                    <a:pt x="16" y="9"/>
                  </a:lnTo>
                  <a:lnTo>
                    <a:pt x="14" y="9"/>
                  </a:lnTo>
                  <a:lnTo>
                    <a:pt x="14" y="13"/>
                  </a:lnTo>
                  <a:lnTo>
                    <a:pt x="13" y="13"/>
                  </a:lnTo>
                  <a:lnTo>
                    <a:pt x="11" y="15"/>
                  </a:lnTo>
                  <a:lnTo>
                    <a:pt x="10" y="15"/>
                  </a:lnTo>
                  <a:lnTo>
                    <a:pt x="7" y="13"/>
                  </a:lnTo>
                  <a:lnTo>
                    <a:pt x="4" y="13"/>
                  </a:lnTo>
                  <a:lnTo>
                    <a:pt x="4" y="12"/>
                  </a:lnTo>
                  <a:lnTo>
                    <a:pt x="5" y="12"/>
                  </a:lnTo>
                  <a:lnTo>
                    <a:pt x="4" y="12"/>
                  </a:lnTo>
                  <a:lnTo>
                    <a:pt x="1" y="10"/>
                  </a:lnTo>
                  <a:lnTo>
                    <a:pt x="1" y="8"/>
                  </a:lnTo>
                  <a:lnTo>
                    <a:pt x="0" y="8"/>
                  </a:lnTo>
                  <a:lnTo>
                    <a:pt x="1" y="6"/>
                  </a:lnTo>
                  <a:lnTo>
                    <a:pt x="0" y="5"/>
                  </a:lnTo>
                  <a:lnTo>
                    <a:pt x="0" y="5"/>
                  </a:lnTo>
                  <a:lnTo>
                    <a:pt x="0" y="5"/>
                  </a:lnTo>
                  <a:lnTo>
                    <a:pt x="0" y="3"/>
                  </a:lnTo>
                  <a:lnTo>
                    <a:pt x="0" y="3"/>
                  </a:lnTo>
                  <a:lnTo>
                    <a:pt x="1" y="3"/>
                  </a:lnTo>
                  <a:lnTo>
                    <a:pt x="2" y="3"/>
                  </a:lnTo>
                  <a:lnTo>
                    <a:pt x="4"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23" name="Freeform 322"/>
            <p:cNvSpPr>
              <a:spLocks/>
            </p:cNvSpPr>
            <p:nvPr/>
          </p:nvSpPr>
          <p:spPr bwMode="auto">
            <a:xfrm>
              <a:off x="6258540" y="2294974"/>
              <a:ext cx="4389" cy="10141"/>
            </a:xfrm>
            <a:custGeom>
              <a:avLst/>
              <a:gdLst/>
              <a:ahLst/>
              <a:cxnLst>
                <a:cxn ang="0">
                  <a:pos x="3" y="1"/>
                </a:cxn>
                <a:cxn ang="0">
                  <a:pos x="3" y="0"/>
                </a:cxn>
                <a:cxn ang="0">
                  <a:pos x="3" y="0"/>
                </a:cxn>
                <a:cxn ang="0">
                  <a:pos x="4" y="0"/>
                </a:cxn>
                <a:cxn ang="0">
                  <a:pos x="4" y="3"/>
                </a:cxn>
                <a:cxn ang="0">
                  <a:pos x="3" y="6"/>
                </a:cxn>
                <a:cxn ang="0">
                  <a:pos x="3" y="7"/>
                </a:cxn>
                <a:cxn ang="0">
                  <a:pos x="1" y="7"/>
                </a:cxn>
                <a:cxn ang="0">
                  <a:pos x="1" y="10"/>
                </a:cxn>
                <a:cxn ang="0">
                  <a:pos x="1" y="10"/>
                </a:cxn>
                <a:cxn ang="0">
                  <a:pos x="0" y="9"/>
                </a:cxn>
                <a:cxn ang="0">
                  <a:pos x="0" y="7"/>
                </a:cxn>
                <a:cxn ang="0">
                  <a:pos x="0" y="6"/>
                </a:cxn>
                <a:cxn ang="0">
                  <a:pos x="1" y="4"/>
                </a:cxn>
                <a:cxn ang="0">
                  <a:pos x="1" y="3"/>
                </a:cxn>
                <a:cxn ang="0">
                  <a:pos x="3" y="1"/>
                </a:cxn>
              </a:cxnLst>
              <a:rect l="0" t="0" r="r" b="b"/>
              <a:pathLst>
                <a:path w="4" h="10">
                  <a:moveTo>
                    <a:pt x="3" y="1"/>
                  </a:moveTo>
                  <a:lnTo>
                    <a:pt x="3" y="0"/>
                  </a:lnTo>
                  <a:lnTo>
                    <a:pt x="3" y="0"/>
                  </a:lnTo>
                  <a:lnTo>
                    <a:pt x="4" y="0"/>
                  </a:lnTo>
                  <a:lnTo>
                    <a:pt x="4" y="3"/>
                  </a:lnTo>
                  <a:lnTo>
                    <a:pt x="3" y="6"/>
                  </a:lnTo>
                  <a:lnTo>
                    <a:pt x="3" y="7"/>
                  </a:lnTo>
                  <a:lnTo>
                    <a:pt x="1" y="7"/>
                  </a:lnTo>
                  <a:lnTo>
                    <a:pt x="1" y="10"/>
                  </a:lnTo>
                  <a:lnTo>
                    <a:pt x="1" y="10"/>
                  </a:lnTo>
                  <a:lnTo>
                    <a:pt x="0" y="9"/>
                  </a:lnTo>
                  <a:lnTo>
                    <a:pt x="0" y="7"/>
                  </a:lnTo>
                  <a:lnTo>
                    <a:pt x="0" y="6"/>
                  </a:lnTo>
                  <a:lnTo>
                    <a:pt x="1" y="4"/>
                  </a:lnTo>
                  <a:lnTo>
                    <a:pt x="1" y="3"/>
                  </a:lnTo>
                  <a:lnTo>
                    <a:pt x="3"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24" name="Freeform 323"/>
            <p:cNvSpPr>
              <a:spLocks/>
            </p:cNvSpPr>
            <p:nvPr/>
          </p:nvSpPr>
          <p:spPr bwMode="auto">
            <a:xfrm>
              <a:off x="6258540" y="2294974"/>
              <a:ext cx="4389" cy="10141"/>
            </a:xfrm>
            <a:custGeom>
              <a:avLst/>
              <a:gdLst/>
              <a:ahLst/>
              <a:cxnLst>
                <a:cxn ang="0">
                  <a:pos x="3" y="1"/>
                </a:cxn>
                <a:cxn ang="0">
                  <a:pos x="3" y="0"/>
                </a:cxn>
                <a:cxn ang="0">
                  <a:pos x="3" y="0"/>
                </a:cxn>
                <a:cxn ang="0">
                  <a:pos x="4" y="0"/>
                </a:cxn>
                <a:cxn ang="0">
                  <a:pos x="4" y="3"/>
                </a:cxn>
                <a:cxn ang="0">
                  <a:pos x="3" y="6"/>
                </a:cxn>
                <a:cxn ang="0">
                  <a:pos x="3" y="7"/>
                </a:cxn>
                <a:cxn ang="0">
                  <a:pos x="1" y="7"/>
                </a:cxn>
                <a:cxn ang="0">
                  <a:pos x="1" y="10"/>
                </a:cxn>
                <a:cxn ang="0">
                  <a:pos x="1" y="10"/>
                </a:cxn>
                <a:cxn ang="0">
                  <a:pos x="0" y="9"/>
                </a:cxn>
                <a:cxn ang="0">
                  <a:pos x="0" y="7"/>
                </a:cxn>
                <a:cxn ang="0">
                  <a:pos x="0" y="6"/>
                </a:cxn>
                <a:cxn ang="0">
                  <a:pos x="1" y="4"/>
                </a:cxn>
                <a:cxn ang="0">
                  <a:pos x="1" y="3"/>
                </a:cxn>
                <a:cxn ang="0">
                  <a:pos x="3" y="1"/>
                </a:cxn>
              </a:cxnLst>
              <a:rect l="0" t="0" r="r" b="b"/>
              <a:pathLst>
                <a:path w="4" h="10">
                  <a:moveTo>
                    <a:pt x="3" y="1"/>
                  </a:moveTo>
                  <a:lnTo>
                    <a:pt x="3" y="0"/>
                  </a:lnTo>
                  <a:lnTo>
                    <a:pt x="3" y="0"/>
                  </a:lnTo>
                  <a:lnTo>
                    <a:pt x="4" y="0"/>
                  </a:lnTo>
                  <a:lnTo>
                    <a:pt x="4" y="3"/>
                  </a:lnTo>
                  <a:lnTo>
                    <a:pt x="3" y="6"/>
                  </a:lnTo>
                  <a:lnTo>
                    <a:pt x="3" y="7"/>
                  </a:lnTo>
                  <a:lnTo>
                    <a:pt x="1" y="7"/>
                  </a:lnTo>
                  <a:lnTo>
                    <a:pt x="1" y="10"/>
                  </a:lnTo>
                  <a:lnTo>
                    <a:pt x="1" y="10"/>
                  </a:lnTo>
                  <a:lnTo>
                    <a:pt x="0" y="9"/>
                  </a:lnTo>
                  <a:lnTo>
                    <a:pt x="0" y="7"/>
                  </a:lnTo>
                  <a:lnTo>
                    <a:pt x="0" y="6"/>
                  </a:lnTo>
                  <a:lnTo>
                    <a:pt x="1" y="4"/>
                  </a:lnTo>
                  <a:lnTo>
                    <a:pt x="1" y="3"/>
                  </a:lnTo>
                  <a:lnTo>
                    <a:pt x="3"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25" name="Freeform 324"/>
            <p:cNvSpPr>
              <a:spLocks/>
            </p:cNvSpPr>
            <p:nvPr/>
          </p:nvSpPr>
          <p:spPr bwMode="auto">
            <a:xfrm>
              <a:off x="6262929" y="2268605"/>
              <a:ext cx="22823" cy="30424"/>
            </a:xfrm>
            <a:custGeom>
              <a:avLst/>
              <a:gdLst/>
              <a:ahLst/>
              <a:cxnLst>
                <a:cxn ang="0">
                  <a:pos x="12" y="5"/>
                </a:cxn>
                <a:cxn ang="0">
                  <a:pos x="12" y="6"/>
                </a:cxn>
                <a:cxn ang="0">
                  <a:pos x="10" y="7"/>
                </a:cxn>
                <a:cxn ang="0">
                  <a:pos x="12" y="7"/>
                </a:cxn>
                <a:cxn ang="0">
                  <a:pos x="13" y="10"/>
                </a:cxn>
                <a:cxn ang="0">
                  <a:pos x="13" y="7"/>
                </a:cxn>
                <a:cxn ang="0">
                  <a:pos x="13" y="6"/>
                </a:cxn>
                <a:cxn ang="0">
                  <a:pos x="14" y="6"/>
                </a:cxn>
                <a:cxn ang="0">
                  <a:pos x="14" y="10"/>
                </a:cxn>
                <a:cxn ang="0">
                  <a:pos x="14" y="10"/>
                </a:cxn>
                <a:cxn ang="0">
                  <a:pos x="14" y="12"/>
                </a:cxn>
                <a:cxn ang="0">
                  <a:pos x="16" y="6"/>
                </a:cxn>
                <a:cxn ang="0">
                  <a:pos x="13" y="5"/>
                </a:cxn>
                <a:cxn ang="0">
                  <a:pos x="16" y="2"/>
                </a:cxn>
                <a:cxn ang="0">
                  <a:pos x="17" y="0"/>
                </a:cxn>
                <a:cxn ang="0">
                  <a:pos x="22" y="2"/>
                </a:cxn>
                <a:cxn ang="0">
                  <a:pos x="23" y="5"/>
                </a:cxn>
                <a:cxn ang="0">
                  <a:pos x="23" y="7"/>
                </a:cxn>
                <a:cxn ang="0">
                  <a:pos x="23" y="9"/>
                </a:cxn>
                <a:cxn ang="0">
                  <a:pos x="22" y="12"/>
                </a:cxn>
                <a:cxn ang="0">
                  <a:pos x="20" y="13"/>
                </a:cxn>
                <a:cxn ang="0">
                  <a:pos x="17" y="18"/>
                </a:cxn>
                <a:cxn ang="0">
                  <a:pos x="20" y="19"/>
                </a:cxn>
                <a:cxn ang="0">
                  <a:pos x="17" y="23"/>
                </a:cxn>
                <a:cxn ang="0">
                  <a:pos x="16" y="25"/>
                </a:cxn>
                <a:cxn ang="0">
                  <a:pos x="17" y="26"/>
                </a:cxn>
                <a:cxn ang="0">
                  <a:pos x="17" y="26"/>
                </a:cxn>
                <a:cxn ang="0">
                  <a:pos x="16" y="29"/>
                </a:cxn>
                <a:cxn ang="0">
                  <a:pos x="10" y="28"/>
                </a:cxn>
                <a:cxn ang="0">
                  <a:pos x="10" y="26"/>
                </a:cxn>
                <a:cxn ang="0">
                  <a:pos x="10" y="25"/>
                </a:cxn>
                <a:cxn ang="0">
                  <a:pos x="12" y="23"/>
                </a:cxn>
                <a:cxn ang="0">
                  <a:pos x="4" y="23"/>
                </a:cxn>
                <a:cxn ang="0">
                  <a:pos x="3" y="21"/>
                </a:cxn>
                <a:cxn ang="0">
                  <a:pos x="3" y="19"/>
                </a:cxn>
                <a:cxn ang="0">
                  <a:pos x="3" y="13"/>
                </a:cxn>
                <a:cxn ang="0">
                  <a:pos x="0" y="12"/>
                </a:cxn>
                <a:cxn ang="0">
                  <a:pos x="1" y="12"/>
                </a:cxn>
                <a:cxn ang="0">
                  <a:pos x="0" y="10"/>
                </a:cxn>
                <a:cxn ang="0">
                  <a:pos x="4" y="10"/>
                </a:cxn>
                <a:cxn ang="0">
                  <a:pos x="6" y="7"/>
                </a:cxn>
                <a:cxn ang="0">
                  <a:pos x="7" y="6"/>
                </a:cxn>
                <a:cxn ang="0">
                  <a:pos x="6" y="3"/>
                </a:cxn>
              </a:cxnLst>
              <a:rect l="0" t="0" r="r" b="b"/>
              <a:pathLst>
                <a:path w="25" h="29">
                  <a:moveTo>
                    <a:pt x="6" y="3"/>
                  </a:moveTo>
                  <a:lnTo>
                    <a:pt x="12" y="5"/>
                  </a:lnTo>
                  <a:lnTo>
                    <a:pt x="12" y="5"/>
                  </a:lnTo>
                  <a:lnTo>
                    <a:pt x="12" y="6"/>
                  </a:lnTo>
                  <a:lnTo>
                    <a:pt x="10" y="7"/>
                  </a:lnTo>
                  <a:lnTo>
                    <a:pt x="10" y="7"/>
                  </a:lnTo>
                  <a:lnTo>
                    <a:pt x="10" y="9"/>
                  </a:lnTo>
                  <a:lnTo>
                    <a:pt x="12" y="7"/>
                  </a:lnTo>
                  <a:lnTo>
                    <a:pt x="12" y="12"/>
                  </a:lnTo>
                  <a:lnTo>
                    <a:pt x="13" y="10"/>
                  </a:lnTo>
                  <a:lnTo>
                    <a:pt x="13" y="7"/>
                  </a:lnTo>
                  <a:lnTo>
                    <a:pt x="13" y="7"/>
                  </a:lnTo>
                  <a:lnTo>
                    <a:pt x="13" y="6"/>
                  </a:lnTo>
                  <a:lnTo>
                    <a:pt x="13" y="6"/>
                  </a:lnTo>
                  <a:lnTo>
                    <a:pt x="13" y="6"/>
                  </a:lnTo>
                  <a:lnTo>
                    <a:pt x="14" y="6"/>
                  </a:lnTo>
                  <a:lnTo>
                    <a:pt x="14" y="9"/>
                  </a:lnTo>
                  <a:lnTo>
                    <a:pt x="14" y="10"/>
                  </a:lnTo>
                  <a:lnTo>
                    <a:pt x="14" y="10"/>
                  </a:lnTo>
                  <a:lnTo>
                    <a:pt x="14" y="10"/>
                  </a:lnTo>
                  <a:lnTo>
                    <a:pt x="14" y="10"/>
                  </a:lnTo>
                  <a:lnTo>
                    <a:pt x="14" y="12"/>
                  </a:lnTo>
                  <a:lnTo>
                    <a:pt x="16" y="12"/>
                  </a:lnTo>
                  <a:lnTo>
                    <a:pt x="16" y="6"/>
                  </a:lnTo>
                  <a:lnTo>
                    <a:pt x="14" y="5"/>
                  </a:lnTo>
                  <a:lnTo>
                    <a:pt x="13" y="5"/>
                  </a:lnTo>
                  <a:lnTo>
                    <a:pt x="13" y="3"/>
                  </a:lnTo>
                  <a:lnTo>
                    <a:pt x="16" y="2"/>
                  </a:lnTo>
                  <a:lnTo>
                    <a:pt x="17" y="0"/>
                  </a:lnTo>
                  <a:lnTo>
                    <a:pt x="17" y="0"/>
                  </a:lnTo>
                  <a:lnTo>
                    <a:pt x="20" y="0"/>
                  </a:lnTo>
                  <a:lnTo>
                    <a:pt x="22" y="2"/>
                  </a:lnTo>
                  <a:lnTo>
                    <a:pt x="22" y="5"/>
                  </a:lnTo>
                  <a:lnTo>
                    <a:pt x="23" y="5"/>
                  </a:lnTo>
                  <a:lnTo>
                    <a:pt x="23" y="6"/>
                  </a:lnTo>
                  <a:lnTo>
                    <a:pt x="23" y="7"/>
                  </a:lnTo>
                  <a:lnTo>
                    <a:pt x="23" y="7"/>
                  </a:lnTo>
                  <a:lnTo>
                    <a:pt x="23" y="9"/>
                  </a:lnTo>
                  <a:lnTo>
                    <a:pt x="25" y="12"/>
                  </a:lnTo>
                  <a:lnTo>
                    <a:pt x="22" y="12"/>
                  </a:lnTo>
                  <a:lnTo>
                    <a:pt x="22" y="13"/>
                  </a:lnTo>
                  <a:lnTo>
                    <a:pt x="20" y="13"/>
                  </a:lnTo>
                  <a:lnTo>
                    <a:pt x="19" y="16"/>
                  </a:lnTo>
                  <a:lnTo>
                    <a:pt x="17" y="18"/>
                  </a:lnTo>
                  <a:lnTo>
                    <a:pt x="20" y="18"/>
                  </a:lnTo>
                  <a:lnTo>
                    <a:pt x="20" y="19"/>
                  </a:lnTo>
                  <a:lnTo>
                    <a:pt x="20" y="22"/>
                  </a:lnTo>
                  <a:lnTo>
                    <a:pt x="17" y="23"/>
                  </a:lnTo>
                  <a:lnTo>
                    <a:pt x="16" y="23"/>
                  </a:lnTo>
                  <a:lnTo>
                    <a:pt x="16" y="25"/>
                  </a:lnTo>
                  <a:lnTo>
                    <a:pt x="17" y="25"/>
                  </a:lnTo>
                  <a:lnTo>
                    <a:pt x="17" y="26"/>
                  </a:lnTo>
                  <a:lnTo>
                    <a:pt x="17" y="26"/>
                  </a:lnTo>
                  <a:lnTo>
                    <a:pt x="17" y="26"/>
                  </a:lnTo>
                  <a:lnTo>
                    <a:pt x="17" y="28"/>
                  </a:lnTo>
                  <a:lnTo>
                    <a:pt x="16" y="29"/>
                  </a:lnTo>
                  <a:lnTo>
                    <a:pt x="14" y="28"/>
                  </a:lnTo>
                  <a:lnTo>
                    <a:pt x="10" y="28"/>
                  </a:lnTo>
                  <a:lnTo>
                    <a:pt x="10" y="26"/>
                  </a:lnTo>
                  <a:lnTo>
                    <a:pt x="10" y="26"/>
                  </a:lnTo>
                  <a:lnTo>
                    <a:pt x="12" y="26"/>
                  </a:lnTo>
                  <a:lnTo>
                    <a:pt x="10" y="25"/>
                  </a:lnTo>
                  <a:lnTo>
                    <a:pt x="12" y="25"/>
                  </a:lnTo>
                  <a:lnTo>
                    <a:pt x="12" y="23"/>
                  </a:lnTo>
                  <a:lnTo>
                    <a:pt x="7" y="23"/>
                  </a:lnTo>
                  <a:lnTo>
                    <a:pt x="4" y="23"/>
                  </a:lnTo>
                  <a:lnTo>
                    <a:pt x="4" y="21"/>
                  </a:lnTo>
                  <a:lnTo>
                    <a:pt x="3" y="21"/>
                  </a:lnTo>
                  <a:lnTo>
                    <a:pt x="3" y="19"/>
                  </a:lnTo>
                  <a:lnTo>
                    <a:pt x="3" y="19"/>
                  </a:lnTo>
                  <a:lnTo>
                    <a:pt x="3" y="19"/>
                  </a:lnTo>
                  <a:lnTo>
                    <a:pt x="3" y="13"/>
                  </a:lnTo>
                  <a:lnTo>
                    <a:pt x="3" y="13"/>
                  </a:lnTo>
                  <a:lnTo>
                    <a:pt x="0" y="12"/>
                  </a:lnTo>
                  <a:lnTo>
                    <a:pt x="0" y="12"/>
                  </a:lnTo>
                  <a:lnTo>
                    <a:pt x="1" y="12"/>
                  </a:lnTo>
                  <a:lnTo>
                    <a:pt x="0" y="10"/>
                  </a:lnTo>
                  <a:lnTo>
                    <a:pt x="0" y="10"/>
                  </a:lnTo>
                  <a:lnTo>
                    <a:pt x="0" y="9"/>
                  </a:lnTo>
                  <a:lnTo>
                    <a:pt x="4" y="10"/>
                  </a:lnTo>
                  <a:lnTo>
                    <a:pt x="6" y="9"/>
                  </a:lnTo>
                  <a:lnTo>
                    <a:pt x="6" y="7"/>
                  </a:lnTo>
                  <a:lnTo>
                    <a:pt x="7" y="7"/>
                  </a:lnTo>
                  <a:lnTo>
                    <a:pt x="7" y="6"/>
                  </a:lnTo>
                  <a:lnTo>
                    <a:pt x="9" y="6"/>
                  </a:lnTo>
                  <a:lnTo>
                    <a:pt x="6"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26" name="Freeform 325"/>
            <p:cNvSpPr>
              <a:spLocks/>
            </p:cNvSpPr>
            <p:nvPr/>
          </p:nvSpPr>
          <p:spPr bwMode="auto">
            <a:xfrm>
              <a:off x="6262929" y="2268605"/>
              <a:ext cx="22823" cy="30424"/>
            </a:xfrm>
            <a:custGeom>
              <a:avLst/>
              <a:gdLst/>
              <a:ahLst/>
              <a:cxnLst>
                <a:cxn ang="0">
                  <a:pos x="12" y="5"/>
                </a:cxn>
                <a:cxn ang="0">
                  <a:pos x="12" y="6"/>
                </a:cxn>
                <a:cxn ang="0">
                  <a:pos x="10" y="7"/>
                </a:cxn>
                <a:cxn ang="0">
                  <a:pos x="12" y="7"/>
                </a:cxn>
                <a:cxn ang="0">
                  <a:pos x="13" y="10"/>
                </a:cxn>
                <a:cxn ang="0">
                  <a:pos x="13" y="7"/>
                </a:cxn>
                <a:cxn ang="0">
                  <a:pos x="13" y="6"/>
                </a:cxn>
                <a:cxn ang="0">
                  <a:pos x="14" y="6"/>
                </a:cxn>
                <a:cxn ang="0">
                  <a:pos x="14" y="10"/>
                </a:cxn>
                <a:cxn ang="0">
                  <a:pos x="14" y="10"/>
                </a:cxn>
                <a:cxn ang="0">
                  <a:pos x="14" y="12"/>
                </a:cxn>
                <a:cxn ang="0">
                  <a:pos x="16" y="6"/>
                </a:cxn>
                <a:cxn ang="0">
                  <a:pos x="13" y="5"/>
                </a:cxn>
                <a:cxn ang="0">
                  <a:pos x="16" y="2"/>
                </a:cxn>
                <a:cxn ang="0">
                  <a:pos x="17" y="0"/>
                </a:cxn>
                <a:cxn ang="0">
                  <a:pos x="22" y="2"/>
                </a:cxn>
                <a:cxn ang="0">
                  <a:pos x="23" y="5"/>
                </a:cxn>
                <a:cxn ang="0">
                  <a:pos x="23" y="7"/>
                </a:cxn>
                <a:cxn ang="0">
                  <a:pos x="23" y="9"/>
                </a:cxn>
                <a:cxn ang="0">
                  <a:pos x="22" y="12"/>
                </a:cxn>
                <a:cxn ang="0">
                  <a:pos x="20" y="13"/>
                </a:cxn>
                <a:cxn ang="0">
                  <a:pos x="17" y="18"/>
                </a:cxn>
                <a:cxn ang="0">
                  <a:pos x="20" y="19"/>
                </a:cxn>
                <a:cxn ang="0">
                  <a:pos x="17" y="23"/>
                </a:cxn>
                <a:cxn ang="0">
                  <a:pos x="16" y="25"/>
                </a:cxn>
                <a:cxn ang="0">
                  <a:pos x="17" y="26"/>
                </a:cxn>
                <a:cxn ang="0">
                  <a:pos x="17" y="26"/>
                </a:cxn>
                <a:cxn ang="0">
                  <a:pos x="16" y="29"/>
                </a:cxn>
                <a:cxn ang="0">
                  <a:pos x="10" y="28"/>
                </a:cxn>
                <a:cxn ang="0">
                  <a:pos x="10" y="26"/>
                </a:cxn>
                <a:cxn ang="0">
                  <a:pos x="10" y="25"/>
                </a:cxn>
                <a:cxn ang="0">
                  <a:pos x="12" y="23"/>
                </a:cxn>
                <a:cxn ang="0">
                  <a:pos x="4" y="23"/>
                </a:cxn>
                <a:cxn ang="0">
                  <a:pos x="3" y="21"/>
                </a:cxn>
                <a:cxn ang="0">
                  <a:pos x="3" y="19"/>
                </a:cxn>
                <a:cxn ang="0">
                  <a:pos x="3" y="13"/>
                </a:cxn>
                <a:cxn ang="0">
                  <a:pos x="0" y="12"/>
                </a:cxn>
                <a:cxn ang="0">
                  <a:pos x="1" y="12"/>
                </a:cxn>
                <a:cxn ang="0">
                  <a:pos x="0" y="10"/>
                </a:cxn>
                <a:cxn ang="0">
                  <a:pos x="4" y="10"/>
                </a:cxn>
                <a:cxn ang="0">
                  <a:pos x="6" y="7"/>
                </a:cxn>
                <a:cxn ang="0">
                  <a:pos x="7" y="6"/>
                </a:cxn>
                <a:cxn ang="0">
                  <a:pos x="6" y="3"/>
                </a:cxn>
              </a:cxnLst>
              <a:rect l="0" t="0" r="r" b="b"/>
              <a:pathLst>
                <a:path w="25" h="29">
                  <a:moveTo>
                    <a:pt x="6" y="3"/>
                  </a:moveTo>
                  <a:lnTo>
                    <a:pt x="12" y="5"/>
                  </a:lnTo>
                  <a:lnTo>
                    <a:pt x="12" y="5"/>
                  </a:lnTo>
                  <a:lnTo>
                    <a:pt x="12" y="6"/>
                  </a:lnTo>
                  <a:lnTo>
                    <a:pt x="10" y="7"/>
                  </a:lnTo>
                  <a:lnTo>
                    <a:pt x="10" y="7"/>
                  </a:lnTo>
                  <a:lnTo>
                    <a:pt x="10" y="9"/>
                  </a:lnTo>
                  <a:lnTo>
                    <a:pt x="12" y="7"/>
                  </a:lnTo>
                  <a:lnTo>
                    <a:pt x="12" y="12"/>
                  </a:lnTo>
                  <a:lnTo>
                    <a:pt x="13" y="10"/>
                  </a:lnTo>
                  <a:lnTo>
                    <a:pt x="13" y="7"/>
                  </a:lnTo>
                  <a:lnTo>
                    <a:pt x="13" y="7"/>
                  </a:lnTo>
                  <a:lnTo>
                    <a:pt x="13" y="6"/>
                  </a:lnTo>
                  <a:lnTo>
                    <a:pt x="13" y="6"/>
                  </a:lnTo>
                  <a:lnTo>
                    <a:pt x="13" y="6"/>
                  </a:lnTo>
                  <a:lnTo>
                    <a:pt x="14" y="6"/>
                  </a:lnTo>
                  <a:lnTo>
                    <a:pt x="14" y="9"/>
                  </a:lnTo>
                  <a:lnTo>
                    <a:pt x="14" y="10"/>
                  </a:lnTo>
                  <a:lnTo>
                    <a:pt x="14" y="10"/>
                  </a:lnTo>
                  <a:lnTo>
                    <a:pt x="14" y="10"/>
                  </a:lnTo>
                  <a:lnTo>
                    <a:pt x="14" y="10"/>
                  </a:lnTo>
                  <a:lnTo>
                    <a:pt x="14" y="12"/>
                  </a:lnTo>
                  <a:lnTo>
                    <a:pt x="16" y="12"/>
                  </a:lnTo>
                  <a:lnTo>
                    <a:pt x="16" y="6"/>
                  </a:lnTo>
                  <a:lnTo>
                    <a:pt x="14" y="5"/>
                  </a:lnTo>
                  <a:lnTo>
                    <a:pt x="13" y="5"/>
                  </a:lnTo>
                  <a:lnTo>
                    <a:pt x="13" y="3"/>
                  </a:lnTo>
                  <a:lnTo>
                    <a:pt x="16" y="2"/>
                  </a:lnTo>
                  <a:lnTo>
                    <a:pt x="17" y="0"/>
                  </a:lnTo>
                  <a:lnTo>
                    <a:pt x="17" y="0"/>
                  </a:lnTo>
                  <a:lnTo>
                    <a:pt x="20" y="0"/>
                  </a:lnTo>
                  <a:lnTo>
                    <a:pt x="22" y="2"/>
                  </a:lnTo>
                  <a:lnTo>
                    <a:pt x="22" y="5"/>
                  </a:lnTo>
                  <a:lnTo>
                    <a:pt x="23" y="5"/>
                  </a:lnTo>
                  <a:lnTo>
                    <a:pt x="23" y="6"/>
                  </a:lnTo>
                  <a:lnTo>
                    <a:pt x="23" y="7"/>
                  </a:lnTo>
                  <a:lnTo>
                    <a:pt x="23" y="7"/>
                  </a:lnTo>
                  <a:lnTo>
                    <a:pt x="23" y="9"/>
                  </a:lnTo>
                  <a:lnTo>
                    <a:pt x="25" y="12"/>
                  </a:lnTo>
                  <a:lnTo>
                    <a:pt x="22" y="12"/>
                  </a:lnTo>
                  <a:lnTo>
                    <a:pt x="22" y="13"/>
                  </a:lnTo>
                  <a:lnTo>
                    <a:pt x="20" y="13"/>
                  </a:lnTo>
                  <a:lnTo>
                    <a:pt x="19" y="16"/>
                  </a:lnTo>
                  <a:lnTo>
                    <a:pt x="17" y="18"/>
                  </a:lnTo>
                  <a:lnTo>
                    <a:pt x="20" y="18"/>
                  </a:lnTo>
                  <a:lnTo>
                    <a:pt x="20" y="19"/>
                  </a:lnTo>
                  <a:lnTo>
                    <a:pt x="20" y="22"/>
                  </a:lnTo>
                  <a:lnTo>
                    <a:pt x="17" y="23"/>
                  </a:lnTo>
                  <a:lnTo>
                    <a:pt x="16" y="23"/>
                  </a:lnTo>
                  <a:lnTo>
                    <a:pt x="16" y="25"/>
                  </a:lnTo>
                  <a:lnTo>
                    <a:pt x="17" y="25"/>
                  </a:lnTo>
                  <a:lnTo>
                    <a:pt x="17" y="26"/>
                  </a:lnTo>
                  <a:lnTo>
                    <a:pt x="17" y="26"/>
                  </a:lnTo>
                  <a:lnTo>
                    <a:pt x="17" y="26"/>
                  </a:lnTo>
                  <a:lnTo>
                    <a:pt x="17" y="28"/>
                  </a:lnTo>
                  <a:lnTo>
                    <a:pt x="16" y="29"/>
                  </a:lnTo>
                  <a:lnTo>
                    <a:pt x="14" y="28"/>
                  </a:lnTo>
                  <a:lnTo>
                    <a:pt x="10" y="28"/>
                  </a:lnTo>
                  <a:lnTo>
                    <a:pt x="10" y="26"/>
                  </a:lnTo>
                  <a:lnTo>
                    <a:pt x="10" y="26"/>
                  </a:lnTo>
                  <a:lnTo>
                    <a:pt x="12" y="26"/>
                  </a:lnTo>
                  <a:lnTo>
                    <a:pt x="10" y="25"/>
                  </a:lnTo>
                  <a:lnTo>
                    <a:pt x="12" y="25"/>
                  </a:lnTo>
                  <a:lnTo>
                    <a:pt x="12" y="23"/>
                  </a:lnTo>
                  <a:lnTo>
                    <a:pt x="7" y="23"/>
                  </a:lnTo>
                  <a:lnTo>
                    <a:pt x="4" y="23"/>
                  </a:lnTo>
                  <a:lnTo>
                    <a:pt x="4" y="21"/>
                  </a:lnTo>
                  <a:lnTo>
                    <a:pt x="3" y="21"/>
                  </a:lnTo>
                  <a:lnTo>
                    <a:pt x="3" y="19"/>
                  </a:lnTo>
                  <a:lnTo>
                    <a:pt x="3" y="19"/>
                  </a:lnTo>
                  <a:lnTo>
                    <a:pt x="3" y="19"/>
                  </a:lnTo>
                  <a:lnTo>
                    <a:pt x="3" y="13"/>
                  </a:lnTo>
                  <a:lnTo>
                    <a:pt x="3" y="13"/>
                  </a:lnTo>
                  <a:lnTo>
                    <a:pt x="0" y="12"/>
                  </a:lnTo>
                  <a:lnTo>
                    <a:pt x="0" y="12"/>
                  </a:lnTo>
                  <a:lnTo>
                    <a:pt x="1" y="12"/>
                  </a:lnTo>
                  <a:lnTo>
                    <a:pt x="0" y="10"/>
                  </a:lnTo>
                  <a:lnTo>
                    <a:pt x="0" y="10"/>
                  </a:lnTo>
                  <a:lnTo>
                    <a:pt x="0" y="9"/>
                  </a:lnTo>
                  <a:lnTo>
                    <a:pt x="4" y="10"/>
                  </a:lnTo>
                  <a:lnTo>
                    <a:pt x="6" y="9"/>
                  </a:lnTo>
                  <a:lnTo>
                    <a:pt x="6" y="7"/>
                  </a:lnTo>
                  <a:lnTo>
                    <a:pt x="7" y="7"/>
                  </a:lnTo>
                  <a:lnTo>
                    <a:pt x="7" y="6"/>
                  </a:lnTo>
                  <a:lnTo>
                    <a:pt x="9" y="6"/>
                  </a:lnTo>
                  <a:lnTo>
                    <a:pt x="6"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27" name="Freeform 326"/>
            <p:cNvSpPr>
              <a:spLocks/>
            </p:cNvSpPr>
            <p:nvPr/>
          </p:nvSpPr>
          <p:spPr bwMode="auto">
            <a:xfrm>
              <a:off x="6224305" y="2227026"/>
              <a:ext cx="35112" cy="75046"/>
            </a:xfrm>
            <a:custGeom>
              <a:avLst/>
              <a:gdLst/>
              <a:ahLst/>
              <a:cxnLst>
                <a:cxn ang="0">
                  <a:pos x="11" y="71"/>
                </a:cxn>
                <a:cxn ang="0">
                  <a:pos x="20" y="71"/>
                </a:cxn>
                <a:cxn ang="0">
                  <a:pos x="22" y="71"/>
                </a:cxn>
                <a:cxn ang="0">
                  <a:pos x="23" y="71"/>
                </a:cxn>
                <a:cxn ang="0">
                  <a:pos x="22" y="68"/>
                </a:cxn>
                <a:cxn ang="0">
                  <a:pos x="19" y="65"/>
                </a:cxn>
                <a:cxn ang="0">
                  <a:pos x="22" y="62"/>
                </a:cxn>
                <a:cxn ang="0">
                  <a:pos x="20" y="59"/>
                </a:cxn>
                <a:cxn ang="0">
                  <a:pos x="20" y="56"/>
                </a:cxn>
                <a:cxn ang="0">
                  <a:pos x="23" y="52"/>
                </a:cxn>
                <a:cxn ang="0">
                  <a:pos x="23" y="50"/>
                </a:cxn>
                <a:cxn ang="0">
                  <a:pos x="26" y="49"/>
                </a:cxn>
                <a:cxn ang="0">
                  <a:pos x="26" y="46"/>
                </a:cxn>
                <a:cxn ang="0">
                  <a:pos x="30" y="45"/>
                </a:cxn>
                <a:cxn ang="0">
                  <a:pos x="32" y="37"/>
                </a:cxn>
                <a:cxn ang="0">
                  <a:pos x="33" y="39"/>
                </a:cxn>
                <a:cxn ang="0">
                  <a:pos x="35" y="39"/>
                </a:cxn>
                <a:cxn ang="0">
                  <a:pos x="39" y="36"/>
                </a:cxn>
                <a:cxn ang="0">
                  <a:pos x="39" y="31"/>
                </a:cxn>
                <a:cxn ang="0">
                  <a:pos x="35" y="31"/>
                </a:cxn>
                <a:cxn ang="0">
                  <a:pos x="32" y="30"/>
                </a:cxn>
                <a:cxn ang="0">
                  <a:pos x="29" y="31"/>
                </a:cxn>
                <a:cxn ang="0">
                  <a:pos x="29" y="29"/>
                </a:cxn>
                <a:cxn ang="0">
                  <a:pos x="30" y="27"/>
                </a:cxn>
                <a:cxn ang="0">
                  <a:pos x="27" y="26"/>
                </a:cxn>
                <a:cxn ang="0">
                  <a:pos x="30" y="23"/>
                </a:cxn>
                <a:cxn ang="0">
                  <a:pos x="30" y="20"/>
                </a:cxn>
                <a:cxn ang="0">
                  <a:pos x="33" y="8"/>
                </a:cxn>
                <a:cxn ang="0">
                  <a:pos x="33" y="0"/>
                </a:cxn>
                <a:cxn ang="0">
                  <a:pos x="26" y="2"/>
                </a:cxn>
                <a:cxn ang="0">
                  <a:pos x="22" y="10"/>
                </a:cxn>
                <a:cxn ang="0">
                  <a:pos x="7" y="15"/>
                </a:cxn>
                <a:cxn ang="0">
                  <a:pos x="0" y="33"/>
                </a:cxn>
                <a:cxn ang="0">
                  <a:pos x="1" y="46"/>
                </a:cxn>
                <a:cxn ang="0">
                  <a:pos x="1" y="55"/>
                </a:cxn>
                <a:cxn ang="0">
                  <a:pos x="6" y="56"/>
                </a:cxn>
                <a:cxn ang="0">
                  <a:pos x="9" y="71"/>
                </a:cxn>
              </a:cxnLst>
              <a:rect l="0" t="0" r="r" b="b"/>
              <a:pathLst>
                <a:path w="39" h="72">
                  <a:moveTo>
                    <a:pt x="9" y="71"/>
                  </a:moveTo>
                  <a:lnTo>
                    <a:pt x="11" y="71"/>
                  </a:lnTo>
                  <a:lnTo>
                    <a:pt x="17" y="72"/>
                  </a:lnTo>
                  <a:lnTo>
                    <a:pt x="20" y="71"/>
                  </a:lnTo>
                  <a:lnTo>
                    <a:pt x="20" y="71"/>
                  </a:lnTo>
                  <a:lnTo>
                    <a:pt x="22" y="71"/>
                  </a:lnTo>
                  <a:lnTo>
                    <a:pt x="22" y="71"/>
                  </a:lnTo>
                  <a:lnTo>
                    <a:pt x="23" y="71"/>
                  </a:lnTo>
                  <a:lnTo>
                    <a:pt x="23" y="69"/>
                  </a:lnTo>
                  <a:lnTo>
                    <a:pt x="22" y="68"/>
                  </a:lnTo>
                  <a:lnTo>
                    <a:pt x="19" y="68"/>
                  </a:lnTo>
                  <a:lnTo>
                    <a:pt x="19" y="65"/>
                  </a:lnTo>
                  <a:lnTo>
                    <a:pt x="22" y="63"/>
                  </a:lnTo>
                  <a:lnTo>
                    <a:pt x="22" y="62"/>
                  </a:lnTo>
                  <a:lnTo>
                    <a:pt x="22" y="62"/>
                  </a:lnTo>
                  <a:lnTo>
                    <a:pt x="20" y="59"/>
                  </a:lnTo>
                  <a:lnTo>
                    <a:pt x="22" y="56"/>
                  </a:lnTo>
                  <a:lnTo>
                    <a:pt x="20" y="56"/>
                  </a:lnTo>
                  <a:lnTo>
                    <a:pt x="23" y="53"/>
                  </a:lnTo>
                  <a:lnTo>
                    <a:pt x="23" y="52"/>
                  </a:lnTo>
                  <a:lnTo>
                    <a:pt x="22" y="50"/>
                  </a:lnTo>
                  <a:lnTo>
                    <a:pt x="23" y="50"/>
                  </a:lnTo>
                  <a:lnTo>
                    <a:pt x="26" y="50"/>
                  </a:lnTo>
                  <a:lnTo>
                    <a:pt x="26" y="49"/>
                  </a:lnTo>
                  <a:lnTo>
                    <a:pt x="25" y="46"/>
                  </a:lnTo>
                  <a:lnTo>
                    <a:pt x="26" y="46"/>
                  </a:lnTo>
                  <a:lnTo>
                    <a:pt x="29" y="46"/>
                  </a:lnTo>
                  <a:lnTo>
                    <a:pt x="30" y="45"/>
                  </a:lnTo>
                  <a:lnTo>
                    <a:pt x="30" y="42"/>
                  </a:lnTo>
                  <a:lnTo>
                    <a:pt x="32" y="37"/>
                  </a:lnTo>
                  <a:lnTo>
                    <a:pt x="33" y="37"/>
                  </a:lnTo>
                  <a:lnTo>
                    <a:pt x="33" y="39"/>
                  </a:lnTo>
                  <a:lnTo>
                    <a:pt x="33" y="40"/>
                  </a:lnTo>
                  <a:lnTo>
                    <a:pt x="35" y="39"/>
                  </a:lnTo>
                  <a:lnTo>
                    <a:pt x="36" y="39"/>
                  </a:lnTo>
                  <a:lnTo>
                    <a:pt x="39" y="36"/>
                  </a:lnTo>
                  <a:lnTo>
                    <a:pt x="39" y="33"/>
                  </a:lnTo>
                  <a:lnTo>
                    <a:pt x="39" y="31"/>
                  </a:lnTo>
                  <a:lnTo>
                    <a:pt x="38" y="30"/>
                  </a:lnTo>
                  <a:lnTo>
                    <a:pt x="35" y="31"/>
                  </a:lnTo>
                  <a:lnTo>
                    <a:pt x="33" y="31"/>
                  </a:lnTo>
                  <a:lnTo>
                    <a:pt x="32" y="30"/>
                  </a:lnTo>
                  <a:lnTo>
                    <a:pt x="30" y="30"/>
                  </a:lnTo>
                  <a:lnTo>
                    <a:pt x="29" y="31"/>
                  </a:lnTo>
                  <a:lnTo>
                    <a:pt x="29" y="30"/>
                  </a:lnTo>
                  <a:lnTo>
                    <a:pt x="29" y="29"/>
                  </a:lnTo>
                  <a:lnTo>
                    <a:pt x="30" y="27"/>
                  </a:lnTo>
                  <a:lnTo>
                    <a:pt x="30" y="27"/>
                  </a:lnTo>
                  <a:lnTo>
                    <a:pt x="27" y="27"/>
                  </a:lnTo>
                  <a:lnTo>
                    <a:pt x="27" y="26"/>
                  </a:lnTo>
                  <a:lnTo>
                    <a:pt x="30" y="26"/>
                  </a:lnTo>
                  <a:lnTo>
                    <a:pt x="30" y="23"/>
                  </a:lnTo>
                  <a:lnTo>
                    <a:pt x="30" y="23"/>
                  </a:lnTo>
                  <a:lnTo>
                    <a:pt x="30" y="20"/>
                  </a:lnTo>
                  <a:lnTo>
                    <a:pt x="33" y="11"/>
                  </a:lnTo>
                  <a:lnTo>
                    <a:pt x="33" y="8"/>
                  </a:lnTo>
                  <a:lnTo>
                    <a:pt x="32" y="4"/>
                  </a:lnTo>
                  <a:lnTo>
                    <a:pt x="33" y="0"/>
                  </a:lnTo>
                  <a:lnTo>
                    <a:pt x="33" y="0"/>
                  </a:lnTo>
                  <a:lnTo>
                    <a:pt x="26" y="2"/>
                  </a:lnTo>
                  <a:lnTo>
                    <a:pt x="22" y="8"/>
                  </a:lnTo>
                  <a:lnTo>
                    <a:pt x="22" y="10"/>
                  </a:lnTo>
                  <a:lnTo>
                    <a:pt x="19" y="13"/>
                  </a:lnTo>
                  <a:lnTo>
                    <a:pt x="7" y="15"/>
                  </a:lnTo>
                  <a:lnTo>
                    <a:pt x="4" y="17"/>
                  </a:lnTo>
                  <a:lnTo>
                    <a:pt x="0" y="33"/>
                  </a:lnTo>
                  <a:lnTo>
                    <a:pt x="0" y="45"/>
                  </a:lnTo>
                  <a:lnTo>
                    <a:pt x="1" y="46"/>
                  </a:lnTo>
                  <a:lnTo>
                    <a:pt x="0" y="55"/>
                  </a:lnTo>
                  <a:lnTo>
                    <a:pt x="1" y="55"/>
                  </a:lnTo>
                  <a:lnTo>
                    <a:pt x="3" y="55"/>
                  </a:lnTo>
                  <a:lnTo>
                    <a:pt x="6" y="56"/>
                  </a:lnTo>
                  <a:lnTo>
                    <a:pt x="9" y="61"/>
                  </a:lnTo>
                  <a:lnTo>
                    <a:pt x="9" y="7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28" name="Freeform 327"/>
            <p:cNvSpPr>
              <a:spLocks/>
            </p:cNvSpPr>
            <p:nvPr/>
          </p:nvSpPr>
          <p:spPr bwMode="auto">
            <a:xfrm>
              <a:off x="6224305" y="2227026"/>
              <a:ext cx="35112" cy="75046"/>
            </a:xfrm>
            <a:custGeom>
              <a:avLst/>
              <a:gdLst/>
              <a:ahLst/>
              <a:cxnLst>
                <a:cxn ang="0">
                  <a:pos x="11" y="71"/>
                </a:cxn>
                <a:cxn ang="0">
                  <a:pos x="20" y="71"/>
                </a:cxn>
                <a:cxn ang="0">
                  <a:pos x="22" y="71"/>
                </a:cxn>
                <a:cxn ang="0">
                  <a:pos x="23" y="71"/>
                </a:cxn>
                <a:cxn ang="0">
                  <a:pos x="22" y="68"/>
                </a:cxn>
                <a:cxn ang="0">
                  <a:pos x="19" y="65"/>
                </a:cxn>
                <a:cxn ang="0">
                  <a:pos x="22" y="62"/>
                </a:cxn>
                <a:cxn ang="0">
                  <a:pos x="20" y="59"/>
                </a:cxn>
                <a:cxn ang="0">
                  <a:pos x="20" y="56"/>
                </a:cxn>
                <a:cxn ang="0">
                  <a:pos x="23" y="52"/>
                </a:cxn>
                <a:cxn ang="0">
                  <a:pos x="23" y="50"/>
                </a:cxn>
                <a:cxn ang="0">
                  <a:pos x="26" y="49"/>
                </a:cxn>
                <a:cxn ang="0">
                  <a:pos x="26" y="46"/>
                </a:cxn>
                <a:cxn ang="0">
                  <a:pos x="30" y="45"/>
                </a:cxn>
                <a:cxn ang="0">
                  <a:pos x="32" y="37"/>
                </a:cxn>
                <a:cxn ang="0">
                  <a:pos x="33" y="39"/>
                </a:cxn>
                <a:cxn ang="0">
                  <a:pos x="35" y="39"/>
                </a:cxn>
                <a:cxn ang="0">
                  <a:pos x="39" y="36"/>
                </a:cxn>
                <a:cxn ang="0">
                  <a:pos x="39" y="31"/>
                </a:cxn>
                <a:cxn ang="0">
                  <a:pos x="35" y="31"/>
                </a:cxn>
                <a:cxn ang="0">
                  <a:pos x="32" y="30"/>
                </a:cxn>
                <a:cxn ang="0">
                  <a:pos x="29" y="31"/>
                </a:cxn>
                <a:cxn ang="0">
                  <a:pos x="29" y="29"/>
                </a:cxn>
                <a:cxn ang="0">
                  <a:pos x="30" y="27"/>
                </a:cxn>
                <a:cxn ang="0">
                  <a:pos x="27" y="26"/>
                </a:cxn>
                <a:cxn ang="0">
                  <a:pos x="30" y="23"/>
                </a:cxn>
                <a:cxn ang="0">
                  <a:pos x="30" y="20"/>
                </a:cxn>
                <a:cxn ang="0">
                  <a:pos x="33" y="8"/>
                </a:cxn>
                <a:cxn ang="0">
                  <a:pos x="33" y="0"/>
                </a:cxn>
                <a:cxn ang="0">
                  <a:pos x="26" y="2"/>
                </a:cxn>
                <a:cxn ang="0">
                  <a:pos x="22" y="10"/>
                </a:cxn>
                <a:cxn ang="0">
                  <a:pos x="7" y="15"/>
                </a:cxn>
                <a:cxn ang="0">
                  <a:pos x="0" y="33"/>
                </a:cxn>
                <a:cxn ang="0">
                  <a:pos x="1" y="46"/>
                </a:cxn>
                <a:cxn ang="0">
                  <a:pos x="1" y="55"/>
                </a:cxn>
                <a:cxn ang="0">
                  <a:pos x="6" y="56"/>
                </a:cxn>
                <a:cxn ang="0">
                  <a:pos x="9" y="71"/>
                </a:cxn>
              </a:cxnLst>
              <a:rect l="0" t="0" r="r" b="b"/>
              <a:pathLst>
                <a:path w="39" h="72">
                  <a:moveTo>
                    <a:pt x="9" y="71"/>
                  </a:moveTo>
                  <a:lnTo>
                    <a:pt x="11" y="71"/>
                  </a:lnTo>
                  <a:lnTo>
                    <a:pt x="17" y="72"/>
                  </a:lnTo>
                  <a:lnTo>
                    <a:pt x="20" y="71"/>
                  </a:lnTo>
                  <a:lnTo>
                    <a:pt x="20" y="71"/>
                  </a:lnTo>
                  <a:lnTo>
                    <a:pt x="22" y="71"/>
                  </a:lnTo>
                  <a:lnTo>
                    <a:pt x="22" y="71"/>
                  </a:lnTo>
                  <a:lnTo>
                    <a:pt x="23" y="71"/>
                  </a:lnTo>
                  <a:lnTo>
                    <a:pt x="23" y="69"/>
                  </a:lnTo>
                  <a:lnTo>
                    <a:pt x="22" y="68"/>
                  </a:lnTo>
                  <a:lnTo>
                    <a:pt x="19" y="68"/>
                  </a:lnTo>
                  <a:lnTo>
                    <a:pt x="19" y="65"/>
                  </a:lnTo>
                  <a:lnTo>
                    <a:pt x="22" y="63"/>
                  </a:lnTo>
                  <a:lnTo>
                    <a:pt x="22" y="62"/>
                  </a:lnTo>
                  <a:lnTo>
                    <a:pt x="22" y="62"/>
                  </a:lnTo>
                  <a:lnTo>
                    <a:pt x="20" y="59"/>
                  </a:lnTo>
                  <a:lnTo>
                    <a:pt x="22" y="56"/>
                  </a:lnTo>
                  <a:lnTo>
                    <a:pt x="20" y="56"/>
                  </a:lnTo>
                  <a:lnTo>
                    <a:pt x="23" y="53"/>
                  </a:lnTo>
                  <a:lnTo>
                    <a:pt x="23" y="52"/>
                  </a:lnTo>
                  <a:lnTo>
                    <a:pt x="22" y="50"/>
                  </a:lnTo>
                  <a:lnTo>
                    <a:pt x="23" y="50"/>
                  </a:lnTo>
                  <a:lnTo>
                    <a:pt x="26" y="50"/>
                  </a:lnTo>
                  <a:lnTo>
                    <a:pt x="26" y="49"/>
                  </a:lnTo>
                  <a:lnTo>
                    <a:pt x="25" y="46"/>
                  </a:lnTo>
                  <a:lnTo>
                    <a:pt x="26" y="46"/>
                  </a:lnTo>
                  <a:lnTo>
                    <a:pt x="29" y="46"/>
                  </a:lnTo>
                  <a:lnTo>
                    <a:pt x="30" y="45"/>
                  </a:lnTo>
                  <a:lnTo>
                    <a:pt x="30" y="42"/>
                  </a:lnTo>
                  <a:lnTo>
                    <a:pt x="32" y="37"/>
                  </a:lnTo>
                  <a:lnTo>
                    <a:pt x="33" y="37"/>
                  </a:lnTo>
                  <a:lnTo>
                    <a:pt x="33" y="39"/>
                  </a:lnTo>
                  <a:lnTo>
                    <a:pt x="33" y="40"/>
                  </a:lnTo>
                  <a:lnTo>
                    <a:pt x="35" y="39"/>
                  </a:lnTo>
                  <a:lnTo>
                    <a:pt x="36" y="39"/>
                  </a:lnTo>
                  <a:lnTo>
                    <a:pt x="39" y="36"/>
                  </a:lnTo>
                  <a:lnTo>
                    <a:pt x="39" y="33"/>
                  </a:lnTo>
                  <a:lnTo>
                    <a:pt x="39" y="31"/>
                  </a:lnTo>
                  <a:lnTo>
                    <a:pt x="38" y="30"/>
                  </a:lnTo>
                  <a:lnTo>
                    <a:pt x="35" y="31"/>
                  </a:lnTo>
                  <a:lnTo>
                    <a:pt x="33" y="31"/>
                  </a:lnTo>
                  <a:lnTo>
                    <a:pt x="32" y="30"/>
                  </a:lnTo>
                  <a:lnTo>
                    <a:pt x="30" y="30"/>
                  </a:lnTo>
                  <a:lnTo>
                    <a:pt x="29" y="31"/>
                  </a:lnTo>
                  <a:lnTo>
                    <a:pt x="29" y="30"/>
                  </a:lnTo>
                  <a:lnTo>
                    <a:pt x="29" y="29"/>
                  </a:lnTo>
                  <a:lnTo>
                    <a:pt x="30" y="27"/>
                  </a:lnTo>
                  <a:lnTo>
                    <a:pt x="30" y="27"/>
                  </a:lnTo>
                  <a:lnTo>
                    <a:pt x="27" y="27"/>
                  </a:lnTo>
                  <a:lnTo>
                    <a:pt x="27" y="26"/>
                  </a:lnTo>
                  <a:lnTo>
                    <a:pt x="30" y="26"/>
                  </a:lnTo>
                  <a:lnTo>
                    <a:pt x="30" y="23"/>
                  </a:lnTo>
                  <a:lnTo>
                    <a:pt x="30" y="23"/>
                  </a:lnTo>
                  <a:lnTo>
                    <a:pt x="30" y="20"/>
                  </a:lnTo>
                  <a:lnTo>
                    <a:pt x="33" y="11"/>
                  </a:lnTo>
                  <a:lnTo>
                    <a:pt x="33" y="8"/>
                  </a:lnTo>
                  <a:lnTo>
                    <a:pt x="32" y="4"/>
                  </a:lnTo>
                  <a:lnTo>
                    <a:pt x="33" y="0"/>
                  </a:lnTo>
                  <a:lnTo>
                    <a:pt x="33" y="0"/>
                  </a:lnTo>
                  <a:lnTo>
                    <a:pt x="26" y="2"/>
                  </a:lnTo>
                  <a:lnTo>
                    <a:pt x="22" y="8"/>
                  </a:lnTo>
                  <a:lnTo>
                    <a:pt x="22" y="10"/>
                  </a:lnTo>
                  <a:lnTo>
                    <a:pt x="19" y="13"/>
                  </a:lnTo>
                  <a:lnTo>
                    <a:pt x="7" y="15"/>
                  </a:lnTo>
                  <a:lnTo>
                    <a:pt x="4" y="17"/>
                  </a:lnTo>
                  <a:lnTo>
                    <a:pt x="0" y="33"/>
                  </a:lnTo>
                  <a:lnTo>
                    <a:pt x="0" y="45"/>
                  </a:lnTo>
                  <a:lnTo>
                    <a:pt x="1" y="46"/>
                  </a:lnTo>
                  <a:lnTo>
                    <a:pt x="0" y="55"/>
                  </a:lnTo>
                  <a:lnTo>
                    <a:pt x="1" y="55"/>
                  </a:lnTo>
                  <a:lnTo>
                    <a:pt x="3" y="55"/>
                  </a:lnTo>
                  <a:lnTo>
                    <a:pt x="6" y="56"/>
                  </a:lnTo>
                  <a:lnTo>
                    <a:pt x="9" y="61"/>
                  </a:lnTo>
                  <a:lnTo>
                    <a:pt x="9" y="7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29" name="Freeform 328"/>
            <p:cNvSpPr>
              <a:spLocks/>
            </p:cNvSpPr>
            <p:nvPr/>
          </p:nvSpPr>
          <p:spPr bwMode="auto">
            <a:xfrm>
              <a:off x="6191828" y="2415655"/>
              <a:ext cx="9656" cy="16226"/>
            </a:xfrm>
            <a:custGeom>
              <a:avLst/>
              <a:gdLst/>
              <a:ahLst/>
              <a:cxnLst>
                <a:cxn ang="0">
                  <a:pos x="6" y="15"/>
                </a:cxn>
                <a:cxn ang="0">
                  <a:pos x="9" y="15"/>
                </a:cxn>
                <a:cxn ang="0">
                  <a:pos x="10" y="13"/>
                </a:cxn>
                <a:cxn ang="0">
                  <a:pos x="10" y="9"/>
                </a:cxn>
                <a:cxn ang="0">
                  <a:pos x="7" y="6"/>
                </a:cxn>
                <a:cxn ang="0">
                  <a:pos x="7" y="3"/>
                </a:cxn>
                <a:cxn ang="0">
                  <a:pos x="9" y="2"/>
                </a:cxn>
                <a:cxn ang="0">
                  <a:pos x="6" y="0"/>
                </a:cxn>
                <a:cxn ang="0">
                  <a:pos x="4" y="0"/>
                </a:cxn>
                <a:cxn ang="0">
                  <a:pos x="1" y="3"/>
                </a:cxn>
                <a:cxn ang="0">
                  <a:pos x="0" y="6"/>
                </a:cxn>
                <a:cxn ang="0">
                  <a:pos x="1" y="9"/>
                </a:cxn>
                <a:cxn ang="0">
                  <a:pos x="1" y="13"/>
                </a:cxn>
                <a:cxn ang="0">
                  <a:pos x="6" y="15"/>
                </a:cxn>
              </a:cxnLst>
              <a:rect l="0" t="0" r="r" b="b"/>
              <a:pathLst>
                <a:path w="10" h="15">
                  <a:moveTo>
                    <a:pt x="6" y="15"/>
                  </a:moveTo>
                  <a:lnTo>
                    <a:pt x="9" y="15"/>
                  </a:lnTo>
                  <a:lnTo>
                    <a:pt x="10" y="13"/>
                  </a:lnTo>
                  <a:lnTo>
                    <a:pt x="10" y="9"/>
                  </a:lnTo>
                  <a:lnTo>
                    <a:pt x="7" y="6"/>
                  </a:lnTo>
                  <a:lnTo>
                    <a:pt x="7" y="3"/>
                  </a:lnTo>
                  <a:lnTo>
                    <a:pt x="9" y="2"/>
                  </a:lnTo>
                  <a:lnTo>
                    <a:pt x="6" y="0"/>
                  </a:lnTo>
                  <a:lnTo>
                    <a:pt x="4" y="0"/>
                  </a:lnTo>
                  <a:lnTo>
                    <a:pt x="1" y="3"/>
                  </a:lnTo>
                  <a:lnTo>
                    <a:pt x="0" y="6"/>
                  </a:lnTo>
                  <a:lnTo>
                    <a:pt x="1" y="9"/>
                  </a:lnTo>
                  <a:lnTo>
                    <a:pt x="1" y="13"/>
                  </a:lnTo>
                  <a:lnTo>
                    <a:pt x="6" y="1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30" name="Freeform 329"/>
            <p:cNvSpPr>
              <a:spLocks/>
            </p:cNvSpPr>
            <p:nvPr/>
          </p:nvSpPr>
          <p:spPr bwMode="auto">
            <a:xfrm>
              <a:off x="6191828" y="2415655"/>
              <a:ext cx="9656" cy="16226"/>
            </a:xfrm>
            <a:custGeom>
              <a:avLst/>
              <a:gdLst/>
              <a:ahLst/>
              <a:cxnLst>
                <a:cxn ang="0">
                  <a:pos x="6" y="15"/>
                </a:cxn>
                <a:cxn ang="0">
                  <a:pos x="9" y="15"/>
                </a:cxn>
                <a:cxn ang="0">
                  <a:pos x="10" y="13"/>
                </a:cxn>
                <a:cxn ang="0">
                  <a:pos x="10" y="9"/>
                </a:cxn>
                <a:cxn ang="0">
                  <a:pos x="7" y="6"/>
                </a:cxn>
                <a:cxn ang="0">
                  <a:pos x="7" y="3"/>
                </a:cxn>
                <a:cxn ang="0">
                  <a:pos x="9" y="2"/>
                </a:cxn>
                <a:cxn ang="0">
                  <a:pos x="6" y="0"/>
                </a:cxn>
                <a:cxn ang="0">
                  <a:pos x="4" y="0"/>
                </a:cxn>
                <a:cxn ang="0">
                  <a:pos x="1" y="3"/>
                </a:cxn>
                <a:cxn ang="0">
                  <a:pos x="0" y="6"/>
                </a:cxn>
                <a:cxn ang="0">
                  <a:pos x="1" y="9"/>
                </a:cxn>
                <a:cxn ang="0">
                  <a:pos x="1" y="13"/>
                </a:cxn>
                <a:cxn ang="0">
                  <a:pos x="6" y="15"/>
                </a:cxn>
              </a:cxnLst>
              <a:rect l="0" t="0" r="r" b="b"/>
              <a:pathLst>
                <a:path w="10" h="15">
                  <a:moveTo>
                    <a:pt x="6" y="15"/>
                  </a:moveTo>
                  <a:lnTo>
                    <a:pt x="9" y="15"/>
                  </a:lnTo>
                  <a:lnTo>
                    <a:pt x="10" y="13"/>
                  </a:lnTo>
                  <a:lnTo>
                    <a:pt x="10" y="9"/>
                  </a:lnTo>
                  <a:lnTo>
                    <a:pt x="7" y="6"/>
                  </a:lnTo>
                  <a:lnTo>
                    <a:pt x="7" y="3"/>
                  </a:lnTo>
                  <a:lnTo>
                    <a:pt x="9" y="2"/>
                  </a:lnTo>
                  <a:lnTo>
                    <a:pt x="6" y="0"/>
                  </a:lnTo>
                  <a:lnTo>
                    <a:pt x="4" y="0"/>
                  </a:lnTo>
                  <a:lnTo>
                    <a:pt x="1" y="3"/>
                  </a:lnTo>
                  <a:lnTo>
                    <a:pt x="0" y="6"/>
                  </a:lnTo>
                  <a:lnTo>
                    <a:pt x="1" y="9"/>
                  </a:lnTo>
                  <a:lnTo>
                    <a:pt x="1" y="13"/>
                  </a:lnTo>
                  <a:lnTo>
                    <a:pt x="6" y="1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31" name="Freeform 330"/>
            <p:cNvSpPr>
              <a:spLocks/>
            </p:cNvSpPr>
            <p:nvPr/>
          </p:nvSpPr>
          <p:spPr bwMode="auto">
            <a:xfrm>
              <a:off x="5311393" y="3018050"/>
              <a:ext cx="2634" cy="3043"/>
            </a:xfrm>
            <a:custGeom>
              <a:avLst/>
              <a:gdLst/>
              <a:ahLst/>
              <a:cxnLst>
                <a:cxn ang="0">
                  <a:pos x="0" y="0"/>
                </a:cxn>
                <a:cxn ang="0">
                  <a:pos x="0" y="0"/>
                </a:cxn>
                <a:cxn ang="0">
                  <a:pos x="0" y="2"/>
                </a:cxn>
                <a:cxn ang="0">
                  <a:pos x="0" y="3"/>
                </a:cxn>
                <a:cxn ang="0">
                  <a:pos x="2" y="3"/>
                </a:cxn>
                <a:cxn ang="0">
                  <a:pos x="2" y="2"/>
                </a:cxn>
                <a:cxn ang="0">
                  <a:pos x="3" y="2"/>
                </a:cxn>
                <a:cxn ang="0">
                  <a:pos x="0" y="0"/>
                </a:cxn>
              </a:cxnLst>
              <a:rect l="0" t="0" r="r" b="b"/>
              <a:pathLst>
                <a:path w="3" h="3">
                  <a:moveTo>
                    <a:pt x="0" y="0"/>
                  </a:moveTo>
                  <a:lnTo>
                    <a:pt x="0" y="0"/>
                  </a:lnTo>
                  <a:lnTo>
                    <a:pt x="0" y="2"/>
                  </a:lnTo>
                  <a:lnTo>
                    <a:pt x="0" y="3"/>
                  </a:lnTo>
                  <a:lnTo>
                    <a:pt x="2" y="3"/>
                  </a:lnTo>
                  <a:lnTo>
                    <a:pt x="2" y="2"/>
                  </a:lnTo>
                  <a:lnTo>
                    <a:pt x="3" y="2"/>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32" name="Freeform 331"/>
            <p:cNvSpPr>
              <a:spLocks/>
            </p:cNvSpPr>
            <p:nvPr/>
          </p:nvSpPr>
          <p:spPr bwMode="auto">
            <a:xfrm>
              <a:off x="5311393" y="3018050"/>
              <a:ext cx="2634" cy="3043"/>
            </a:xfrm>
            <a:custGeom>
              <a:avLst/>
              <a:gdLst/>
              <a:ahLst/>
              <a:cxnLst>
                <a:cxn ang="0">
                  <a:pos x="0" y="0"/>
                </a:cxn>
                <a:cxn ang="0">
                  <a:pos x="0" y="0"/>
                </a:cxn>
                <a:cxn ang="0">
                  <a:pos x="0" y="2"/>
                </a:cxn>
                <a:cxn ang="0">
                  <a:pos x="0" y="3"/>
                </a:cxn>
                <a:cxn ang="0">
                  <a:pos x="2" y="3"/>
                </a:cxn>
                <a:cxn ang="0">
                  <a:pos x="2" y="2"/>
                </a:cxn>
                <a:cxn ang="0">
                  <a:pos x="3" y="2"/>
                </a:cxn>
                <a:cxn ang="0">
                  <a:pos x="0" y="0"/>
                </a:cxn>
              </a:cxnLst>
              <a:rect l="0" t="0" r="r" b="b"/>
              <a:pathLst>
                <a:path w="3" h="3">
                  <a:moveTo>
                    <a:pt x="0" y="0"/>
                  </a:moveTo>
                  <a:lnTo>
                    <a:pt x="0" y="0"/>
                  </a:lnTo>
                  <a:lnTo>
                    <a:pt x="0" y="2"/>
                  </a:lnTo>
                  <a:lnTo>
                    <a:pt x="0" y="3"/>
                  </a:lnTo>
                  <a:lnTo>
                    <a:pt x="2" y="3"/>
                  </a:lnTo>
                  <a:lnTo>
                    <a:pt x="2" y="2"/>
                  </a:lnTo>
                  <a:lnTo>
                    <a:pt x="3" y="2"/>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33" name="Freeform 332"/>
            <p:cNvSpPr>
              <a:spLocks/>
            </p:cNvSpPr>
            <p:nvPr/>
          </p:nvSpPr>
          <p:spPr bwMode="auto">
            <a:xfrm>
              <a:off x="5320171" y="3053545"/>
              <a:ext cx="5267" cy="7098"/>
            </a:xfrm>
            <a:custGeom>
              <a:avLst/>
              <a:gdLst/>
              <a:ahLst/>
              <a:cxnLst>
                <a:cxn ang="0">
                  <a:pos x="1" y="0"/>
                </a:cxn>
                <a:cxn ang="0">
                  <a:pos x="1" y="0"/>
                </a:cxn>
                <a:cxn ang="0">
                  <a:pos x="3" y="1"/>
                </a:cxn>
                <a:cxn ang="0">
                  <a:pos x="6" y="6"/>
                </a:cxn>
                <a:cxn ang="0">
                  <a:pos x="6" y="6"/>
                </a:cxn>
                <a:cxn ang="0">
                  <a:pos x="3" y="7"/>
                </a:cxn>
                <a:cxn ang="0">
                  <a:pos x="3" y="6"/>
                </a:cxn>
                <a:cxn ang="0">
                  <a:pos x="0" y="1"/>
                </a:cxn>
                <a:cxn ang="0">
                  <a:pos x="1" y="0"/>
                </a:cxn>
              </a:cxnLst>
              <a:rect l="0" t="0" r="r" b="b"/>
              <a:pathLst>
                <a:path w="6" h="7">
                  <a:moveTo>
                    <a:pt x="1" y="0"/>
                  </a:moveTo>
                  <a:lnTo>
                    <a:pt x="1" y="0"/>
                  </a:lnTo>
                  <a:lnTo>
                    <a:pt x="3" y="1"/>
                  </a:lnTo>
                  <a:lnTo>
                    <a:pt x="6" y="6"/>
                  </a:lnTo>
                  <a:lnTo>
                    <a:pt x="6" y="6"/>
                  </a:lnTo>
                  <a:lnTo>
                    <a:pt x="3" y="7"/>
                  </a:lnTo>
                  <a:lnTo>
                    <a:pt x="3" y="6"/>
                  </a:lnTo>
                  <a:lnTo>
                    <a:pt x="0" y="1"/>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34" name="Freeform 333"/>
            <p:cNvSpPr>
              <a:spLocks/>
            </p:cNvSpPr>
            <p:nvPr/>
          </p:nvSpPr>
          <p:spPr bwMode="auto">
            <a:xfrm>
              <a:off x="5320171" y="3053545"/>
              <a:ext cx="5267" cy="7098"/>
            </a:xfrm>
            <a:custGeom>
              <a:avLst/>
              <a:gdLst/>
              <a:ahLst/>
              <a:cxnLst>
                <a:cxn ang="0">
                  <a:pos x="1" y="0"/>
                </a:cxn>
                <a:cxn ang="0">
                  <a:pos x="1" y="0"/>
                </a:cxn>
                <a:cxn ang="0">
                  <a:pos x="3" y="1"/>
                </a:cxn>
                <a:cxn ang="0">
                  <a:pos x="6" y="6"/>
                </a:cxn>
                <a:cxn ang="0">
                  <a:pos x="6" y="6"/>
                </a:cxn>
                <a:cxn ang="0">
                  <a:pos x="3" y="7"/>
                </a:cxn>
                <a:cxn ang="0">
                  <a:pos x="3" y="6"/>
                </a:cxn>
                <a:cxn ang="0">
                  <a:pos x="0" y="1"/>
                </a:cxn>
                <a:cxn ang="0">
                  <a:pos x="1" y="0"/>
                </a:cxn>
              </a:cxnLst>
              <a:rect l="0" t="0" r="r" b="b"/>
              <a:pathLst>
                <a:path w="6" h="7">
                  <a:moveTo>
                    <a:pt x="1" y="0"/>
                  </a:moveTo>
                  <a:lnTo>
                    <a:pt x="1" y="0"/>
                  </a:lnTo>
                  <a:lnTo>
                    <a:pt x="3" y="1"/>
                  </a:lnTo>
                  <a:lnTo>
                    <a:pt x="6" y="6"/>
                  </a:lnTo>
                  <a:lnTo>
                    <a:pt x="6" y="6"/>
                  </a:lnTo>
                  <a:lnTo>
                    <a:pt x="3" y="7"/>
                  </a:lnTo>
                  <a:lnTo>
                    <a:pt x="3" y="6"/>
                  </a:lnTo>
                  <a:lnTo>
                    <a:pt x="0" y="1"/>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35" name="Freeform 334"/>
            <p:cNvSpPr>
              <a:spLocks/>
            </p:cNvSpPr>
            <p:nvPr/>
          </p:nvSpPr>
          <p:spPr bwMode="auto">
            <a:xfrm>
              <a:off x="5278915" y="3109322"/>
              <a:ext cx="7900" cy="4057"/>
            </a:xfrm>
            <a:custGeom>
              <a:avLst/>
              <a:gdLst/>
              <a:ahLst/>
              <a:cxnLst>
                <a:cxn ang="0">
                  <a:pos x="7" y="0"/>
                </a:cxn>
                <a:cxn ang="0">
                  <a:pos x="9" y="1"/>
                </a:cxn>
                <a:cxn ang="0">
                  <a:pos x="9" y="3"/>
                </a:cxn>
                <a:cxn ang="0">
                  <a:pos x="6" y="4"/>
                </a:cxn>
                <a:cxn ang="0">
                  <a:pos x="4" y="4"/>
                </a:cxn>
                <a:cxn ang="0">
                  <a:pos x="3" y="3"/>
                </a:cxn>
                <a:cxn ang="0">
                  <a:pos x="1" y="3"/>
                </a:cxn>
                <a:cxn ang="0">
                  <a:pos x="0" y="1"/>
                </a:cxn>
                <a:cxn ang="0">
                  <a:pos x="1" y="1"/>
                </a:cxn>
                <a:cxn ang="0">
                  <a:pos x="3" y="1"/>
                </a:cxn>
                <a:cxn ang="0">
                  <a:pos x="4" y="3"/>
                </a:cxn>
                <a:cxn ang="0">
                  <a:pos x="7" y="0"/>
                </a:cxn>
              </a:cxnLst>
              <a:rect l="0" t="0" r="r" b="b"/>
              <a:pathLst>
                <a:path w="9" h="4">
                  <a:moveTo>
                    <a:pt x="7" y="0"/>
                  </a:moveTo>
                  <a:lnTo>
                    <a:pt x="9" y="1"/>
                  </a:lnTo>
                  <a:lnTo>
                    <a:pt x="9" y="3"/>
                  </a:lnTo>
                  <a:lnTo>
                    <a:pt x="6" y="4"/>
                  </a:lnTo>
                  <a:lnTo>
                    <a:pt x="4" y="4"/>
                  </a:lnTo>
                  <a:lnTo>
                    <a:pt x="3" y="3"/>
                  </a:lnTo>
                  <a:lnTo>
                    <a:pt x="1" y="3"/>
                  </a:lnTo>
                  <a:lnTo>
                    <a:pt x="0" y="1"/>
                  </a:lnTo>
                  <a:lnTo>
                    <a:pt x="1" y="1"/>
                  </a:lnTo>
                  <a:lnTo>
                    <a:pt x="3" y="1"/>
                  </a:lnTo>
                  <a:lnTo>
                    <a:pt x="4" y="3"/>
                  </a:lnTo>
                  <a:lnTo>
                    <a:pt x="7"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36" name="Freeform 335"/>
            <p:cNvSpPr>
              <a:spLocks/>
            </p:cNvSpPr>
            <p:nvPr/>
          </p:nvSpPr>
          <p:spPr bwMode="auto">
            <a:xfrm>
              <a:off x="5278915" y="3109322"/>
              <a:ext cx="7900" cy="4057"/>
            </a:xfrm>
            <a:custGeom>
              <a:avLst/>
              <a:gdLst/>
              <a:ahLst/>
              <a:cxnLst>
                <a:cxn ang="0">
                  <a:pos x="7" y="0"/>
                </a:cxn>
                <a:cxn ang="0">
                  <a:pos x="9" y="1"/>
                </a:cxn>
                <a:cxn ang="0">
                  <a:pos x="9" y="3"/>
                </a:cxn>
                <a:cxn ang="0">
                  <a:pos x="6" y="4"/>
                </a:cxn>
                <a:cxn ang="0">
                  <a:pos x="4" y="4"/>
                </a:cxn>
                <a:cxn ang="0">
                  <a:pos x="3" y="3"/>
                </a:cxn>
                <a:cxn ang="0">
                  <a:pos x="1" y="3"/>
                </a:cxn>
                <a:cxn ang="0">
                  <a:pos x="0" y="1"/>
                </a:cxn>
                <a:cxn ang="0">
                  <a:pos x="1" y="1"/>
                </a:cxn>
                <a:cxn ang="0">
                  <a:pos x="3" y="1"/>
                </a:cxn>
                <a:cxn ang="0">
                  <a:pos x="4" y="3"/>
                </a:cxn>
                <a:cxn ang="0">
                  <a:pos x="7" y="0"/>
                </a:cxn>
              </a:cxnLst>
              <a:rect l="0" t="0" r="r" b="b"/>
              <a:pathLst>
                <a:path w="9" h="4">
                  <a:moveTo>
                    <a:pt x="7" y="0"/>
                  </a:moveTo>
                  <a:lnTo>
                    <a:pt x="9" y="1"/>
                  </a:lnTo>
                  <a:lnTo>
                    <a:pt x="9" y="3"/>
                  </a:lnTo>
                  <a:lnTo>
                    <a:pt x="6" y="4"/>
                  </a:lnTo>
                  <a:lnTo>
                    <a:pt x="4" y="4"/>
                  </a:lnTo>
                  <a:lnTo>
                    <a:pt x="3" y="3"/>
                  </a:lnTo>
                  <a:lnTo>
                    <a:pt x="1" y="3"/>
                  </a:lnTo>
                  <a:lnTo>
                    <a:pt x="0" y="1"/>
                  </a:lnTo>
                  <a:lnTo>
                    <a:pt x="1" y="1"/>
                  </a:lnTo>
                  <a:lnTo>
                    <a:pt x="3" y="1"/>
                  </a:lnTo>
                  <a:lnTo>
                    <a:pt x="4" y="3"/>
                  </a:lnTo>
                  <a:lnTo>
                    <a:pt x="7"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37" name="Freeform 336"/>
            <p:cNvSpPr>
              <a:spLocks/>
            </p:cNvSpPr>
            <p:nvPr/>
          </p:nvSpPr>
          <p:spPr bwMode="auto">
            <a:xfrm>
              <a:off x="6506957" y="3213778"/>
              <a:ext cx="68469" cy="81131"/>
            </a:xfrm>
            <a:custGeom>
              <a:avLst/>
              <a:gdLst/>
              <a:ahLst/>
              <a:cxnLst>
                <a:cxn ang="0">
                  <a:pos x="60" y="1"/>
                </a:cxn>
                <a:cxn ang="0">
                  <a:pos x="60" y="0"/>
                </a:cxn>
                <a:cxn ang="0">
                  <a:pos x="60" y="1"/>
                </a:cxn>
                <a:cxn ang="0">
                  <a:pos x="52" y="6"/>
                </a:cxn>
                <a:cxn ang="0">
                  <a:pos x="32" y="7"/>
                </a:cxn>
                <a:cxn ang="0">
                  <a:pos x="31" y="6"/>
                </a:cxn>
                <a:cxn ang="0">
                  <a:pos x="28" y="6"/>
                </a:cxn>
                <a:cxn ang="0">
                  <a:pos x="25" y="7"/>
                </a:cxn>
                <a:cxn ang="0">
                  <a:pos x="22" y="6"/>
                </a:cxn>
                <a:cxn ang="0">
                  <a:pos x="19" y="6"/>
                </a:cxn>
                <a:cxn ang="0">
                  <a:pos x="18" y="7"/>
                </a:cxn>
                <a:cxn ang="0">
                  <a:pos x="16" y="20"/>
                </a:cxn>
                <a:cxn ang="0">
                  <a:pos x="16" y="23"/>
                </a:cxn>
                <a:cxn ang="0">
                  <a:pos x="19" y="26"/>
                </a:cxn>
                <a:cxn ang="0">
                  <a:pos x="20" y="26"/>
                </a:cxn>
                <a:cxn ang="0">
                  <a:pos x="22" y="28"/>
                </a:cxn>
                <a:cxn ang="0">
                  <a:pos x="22" y="29"/>
                </a:cxn>
                <a:cxn ang="0">
                  <a:pos x="20" y="32"/>
                </a:cxn>
                <a:cxn ang="0">
                  <a:pos x="18" y="35"/>
                </a:cxn>
                <a:cxn ang="0">
                  <a:pos x="15" y="36"/>
                </a:cxn>
                <a:cxn ang="0">
                  <a:pos x="4" y="49"/>
                </a:cxn>
                <a:cxn ang="0">
                  <a:pos x="0" y="77"/>
                </a:cxn>
                <a:cxn ang="0">
                  <a:pos x="0" y="78"/>
                </a:cxn>
                <a:cxn ang="0">
                  <a:pos x="3" y="78"/>
                </a:cxn>
                <a:cxn ang="0">
                  <a:pos x="4" y="78"/>
                </a:cxn>
                <a:cxn ang="0">
                  <a:pos x="6" y="76"/>
                </a:cxn>
                <a:cxn ang="0">
                  <a:pos x="7" y="74"/>
                </a:cxn>
                <a:cxn ang="0">
                  <a:pos x="9" y="74"/>
                </a:cxn>
                <a:cxn ang="0">
                  <a:pos x="10" y="73"/>
                </a:cxn>
                <a:cxn ang="0">
                  <a:pos x="16" y="74"/>
                </a:cxn>
                <a:cxn ang="0">
                  <a:pos x="18" y="73"/>
                </a:cxn>
                <a:cxn ang="0">
                  <a:pos x="18" y="73"/>
                </a:cxn>
                <a:cxn ang="0">
                  <a:pos x="29" y="73"/>
                </a:cxn>
                <a:cxn ang="0">
                  <a:pos x="28" y="71"/>
                </a:cxn>
                <a:cxn ang="0">
                  <a:pos x="32" y="64"/>
                </a:cxn>
                <a:cxn ang="0">
                  <a:pos x="31" y="62"/>
                </a:cxn>
                <a:cxn ang="0">
                  <a:pos x="31" y="61"/>
                </a:cxn>
                <a:cxn ang="0">
                  <a:pos x="36" y="60"/>
                </a:cxn>
                <a:cxn ang="0">
                  <a:pos x="38" y="58"/>
                </a:cxn>
                <a:cxn ang="0">
                  <a:pos x="39" y="58"/>
                </a:cxn>
                <a:cxn ang="0">
                  <a:pos x="41" y="58"/>
                </a:cxn>
                <a:cxn ang="0">
                  <a:pos x="41" y="57"/>
                </a:cxn>
                <a:cxn ang="0">
                  <a:pos x="42" y="57"/>
                </a:cxn>
                <a:cxn ang="0">
                  <a:pos x="45" y="57"/>
                </a:cxn>
                <a:cxn ang="0">
                  <a:pos x="47" y="58"/>
                </a:cxn>
                <a:cxn ang="0">
                  <a:pos x="51" y="54"/>
                </a:cxn>
                <a:cxn ang="0">
                  <a:pos x="55" y="57"/>
                </a:cxn>
                <a:cxn ang="0">
                  <a:pos x="58" y="55"/>
                </a:cxn>
                <a:cxn ang="0">
                  <a:pos x="60" y="57"/>
                </a:cxn>
                <a:cxn ang="0">
                  <a:pos x="74" y="38"/>
                </a:cxn>
                <a:cxn ang="0">
                  <a:pos x="74" y="22"/>
                </a:cxn>
                <a:cxn ang="0">
                  <a:pos x="74" y="20"/>
                </a:cxn>
                <a:cxn ang="0">
                  <a:pos x="71" y="17"/>
                </a:cxn>
                <a:cxn ang="0">
                  <a:pos x="68" y="16"/>
                </a:cxn>
                <a:cxn ang="0">
                  <a:pos x="68" y="14"/>
                </a:cxn>
                <a:cxn ang="0">
                  <a:pos x="65" y="6"/>
                </a:cxn>
                <a:cxn ang="0">
                  <a:pos x="65" y="6"/>
                </a:cxn>
                <a:cxn ang="0">
                  <a:pos x="65" y="4"/>
                </a:cxn>
                <a:cxn ang="0">
                  <a:pos x="65" y="3"/>
                </a:cxn>
                <a:cxn ang="0">
                  <a:pos x="64" y="3"/>
                </a:cxn>
                <a:cxn ang="0">
                  <a:pos x="61" y="1"/>
                </a:cxn>
                <a:cxn ang="0">
                  <a:pos x="61" y="1"/>
                </a:cxn>
                <a:cxn ang="0">
                  <a:pos x="60" y="1"/>
                </a:cxn>
              </a:cxnLst>
              <a:rect l="0" t="0" r="r" b="b"/>
              <a:pathLst>
                <a:path w="74" h="78">
                  <a:moveTo>
                    <a:pt x="60" y="1"/>
                  </a:moveTo>
                  <a:lnTo>
                    <a:pt x="60" y="0"/>
                  </a:lnTo>
                  <a:lnTo>
                    <a:pt x="60" y="1"/>
                  </a:lnTo>
                  <a:lnTo>
                    <a:pt x="52" y="6"/>
                  </a:lnTo>
                  <a:lnTo>
                    <a:pt x="32" y="7"/>
                  </a:lnTo>
                  <a:lnTo>
                    <a:pt x="31" y="6"/>
                  </a:lnTo>
                  <a:lnTo>
                    <a:pt x="28" y="6"/>
                  </a:lnTo>
                  <a:lnTo>
                    <a:pt x="25" y="7"/>
                  </a:lnTo>
                  <a:lnTo>
                    <a:pt x="22" y="6"/>
                  </a:lnTo>
                  <a:lnTo>
                    <a:pt x="19" y="6"/>
                  </a:lnTo>
                  <a:lnTo>
                    <a:pt x="18" y="7"/>
                  </a:lnTo>
                  <a:lnTo>
                    <a:pt x="16" y="20"/>
                  </a:lnTo>
                  <a:lnTo>
                    <a:pt x="16" y="23"/>
                  </a:lnTo>
                  <a:lnTo>
                    <a:pt x="19" y="26"/>
                  </a:lnTo>
                  <a:lnTo>
                    <a:pt x="20" y="26"/>
                  </a:lnTo>
                  <a:lnTo>
                    <a:pt x="22" y="28"/>
                  </a:lnTo>
                  <a:lnTo>
                    <a:pt x="22" y="29"/>
                  </a:lnTo>
                  <a:lnTo>
                    <a:pt x="20" y="32"/>
                  </a:lnTo>
                  <a:lnTo>
                    <a:pt x="18" y="35"/>
                  </a:lnTo>
                  <a:lnTo>
                    <a:pt x="15" y="36"/>
                  </a:lnTo>
                  <a:lnTo>
                    <a:pt x="4" y="49"/>
                  </a:lnTo>
                  <a:lnTo>
                    <a:pt x="0" y="77"/>
                  </a:lnTo>
                  <a:lnTo>
                    <a:pt x="0" y="78"/>
                  </a:lnTo>
                  <a:lnTo>
                    <a:pt x="3" y="78"/>
                  </a:lnTo>
                  <a:lnTo>
                    <a:pt x="4" y="78"/>
                  </a:lnTo>
                  <a:lnTo>
                    <a:pt x="6" y="76"/>
                  </a:lnTo>
                  <a:lnTo>
                    <a:pt x="7" y="74"/>
                  </a:lnTo>
                  <a:lnTo>
                    <a:pt x="9" y="74"/>
                  </a:lnTo>
                  <a:lnTo>
                    <a:pt x="10" y="73"/>
                  </a:lnTo>
                  <a:lnTo>
                    <a:pt x="16" y="74"/>
                  </a:lnTo>
                  <a:lnTo>
                    <a:pt x="18" y="73"/>
                  </a:lnTo>
                  <a:lnTo>
                    <a:pt x="18" y="73"/>
                  </a:lnTo>
                  <a:lnTo>
                    <a:pt x="29" y="73"/>
                  </a:lnTo>
                  <a:lnTo>
                    <a:pt x="28" y="71"/>
                  </a:lnTo>
                  <a:lnTo>
                    <a:pt x="32" y="64"/>
                  </a:lnTo>
                  <a:lnTo>
                    <a:pt x="31" y="62"/>
                  </a:lnTo>
                  <a:lnTo>
                    <a:pt x="31" y="61"/>
                  </a:lnTo>
                  <a:lnTo>
                    <a:pt x="36" y="60"/>
                  </a:lnTo>
                  <a:lnTo>
                    <a:pt x="38" y="58"/>
                  </a:lnTo>
                  <a:lnTo>
                    <a:pt x="39" y="58"/>
                  </a:lnTo>
                  <a:lnTo>
                    <a:pt x="41" y="58"/>
                  </a:lnTo>
                  <a:lnTo>
                    <a:pt x="41" y="57"/>
                  </a:lnTo>
                  <a:lnTo>
                    <a:pt x="42" y="57"/>
                  </a:lnTo>
                  <a:lnTo>
                    <a:pt x="45" y="57"/>
                  </a:lnTo>
                  <a:lnTo>
                    <a:pt x="47" y="58"/>
                  </a:lnTo>
                  <a:lnTo>
                    <a:pt x="51" y="54"/>
                  </a:lnTo>
                  <a:lnTo>
                    <a:pt x="55" y="57"/>
                  </a:lnTo>
                  <a:lnTo>
                    <a:pt x="58" y="55"/>
                  </a:lnTo>
                  <a:lnTo>
                    <a:pt x="60" y="57"/>
                  </a:lnTo>
                  <a:lnTo>
                    <a:pt x="74" y="38"/>
                  </a:lnTo>
                  <a:lnTo>
                    <a:pt x="74" y="22"/>
                  </a:lnTo>
                  <a:lnTo>
                    <a:pt x="74" y="20"/>
                  </a:lnTo>
                  <a:lnTo>
                    <a:pt x="71" y="17"/>
                  </a:lnTo>
                  <a:lnTo>
                    <a:pt x="68" y="16"/>
                  </a:lnTo>
                  <a:lnTo>
                    <a:pt x="68" y="14"/>
                  </a:lnTo>
                  <a:lnTo>
                    <a:pt x="65" y="6"/>
                  </a:lnTo>
                  <a:lnTo>
                    <a:pt x="65" y="6"/>
                  </a:lnTo>
                  <a:lnTo>
                    <a:pt x="65" y="4"/>
                  </a:lnTo>
                  <a:lnTo>
                    <a:pt x="65" y="3"/>
                  </a:lnTo>
                  <a:lnTo>
                    <a:pt x="64" y="3"/>
                  </a:lnTo>
                  <a:lnTo>
                    <a:pt x="61" y="1"/>
                  </a:lnTo>
                  <a:lnTo>
                    <a:pt x="61" y="1"/>
                  </a:lnTo>
                  <a:lnTo>
                    <a:pt x="60"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38" name="Freeform 337"/>
            <p:cNvSpPr>
              <a:spLocks/>
            </p:cNvSpPr>
            <p:nvPr/>
          </p:nvSpPr>
          <p:spPr bwMode="auto">
            <a:xfrm>
              <a:off x="6506957" y="3213778"/>
              <a:ext cx="68469" cy="81131"/>
            </a:xfrm>
            <a:custGeom>
              <a:avLst/>
              <a:gdLst/>
              <a:ahLst/>
              <a:cxnLst>
                <a:cxn ang="0">
                  <a:pos x="60" y="1"/>
                </a:cxn>
                <a:cxn ang="0">
                  <a:pos x="60" y="0"/>
                </a:cxn>
                <a:cxn ang="0">
                  <a:pos x="60" y="1"/>
                </a:cxn>
                <a:cxn ang="0">
                  <a:pos x="52" y="6"/>
                </a:cxn>
                <a:cxn ang="0">
                  <a:pos x="32" y="7"/>
                </a:cxn>
                <a:cxn ang="0">
                  <a:pos x="31" y="6"/>
                </a:cxn>
                <a:cxn ang="0">
                  <a:pos x="28" y="6"/>
                </a:cxn>
                <a:cxn ang="0">
                  <a:pos x="25" y="7"/>
                </a:cxn>
                <a:cxn ang="0">
                  <a:pos x="22" y="6"/>
                </a:cxn>
                <a:cxn ang="0">
                  <a:pos x="19" y="6"/>
                </a:cxn>
                <a:cxn ang="0">
                  <a:pos x="18" y="7"/>
                </a:cxn>
                <a:cxn ang="0">
                  <a:pos x="16" y="20"/>
                </a:cxn>
                <a:cxn ang="0">
                  <a:pos x="16" y="23"/>
                </a:cxn>
                <a:cxn ang="0">
                  <a:pos x="19" y="26"/>
                </a:cxn>
                <a:cxn ang="0">
                  <a:pos x="20" y="26"/>
                </a:cxn>
                <a:cxn ang="0">
                  <a:pos x="22" y="28"/>
                </a:cxn>
                <a:cxn ang="0">
                  <a:pos x="22" y="29"/>
                </a:cxn>
                <a:cxn ang="0">
                  <a:pos x="20" y="32"/>
                </a:cxn>
                <a:cxn ang="0">
                  <a:pos x="18" y="35"/>
                </a:cxn>
                <a:cxn ang="0">
                  <a:pos x="15" y="36"/>
                </a:cxn>
                <a:cxn ang="0">
                  <a:pos x="4" y="49"/>
                </a:cxn>
                <a:cxn ang="0">
                  <a:pos x="0" y="77"/>
                </a:cxn>
                <a:cxn ang="0">
                  <a:pos x="0" y="78"/>
                </a:cxn>
                <a:cxn ang="0">
                  <a:pos x="3" y="78"/>
                </a:cxn>
                <a:cxn ang="0">
                  <a:pos x="4" y="78"/>
                </a:cxn>
                <a:cxn ang="0">
                  <a:pos x="6" y="76"/>
                </a:cxn>
                <a:cxn ang="0">
                  <a:pos x="7" y="74"/>
                </a:cxn>
                <a:cxn ang="0">
                  <a:pos x="9" y="74"/>
                </a:cxn>
                <a:cxn ang="0">
                  <a:pos x="10" y="73"/>
                </a:cxn>
                <a:cxn ang="0">
                  <a:pos x="16" y="74"/>
                </a:cxn>
                <a:cxn ang="0">
                  <a:pos x="18" y="73"/>
                </a:cxn>
                <a:cxn ang="0">
                  <a:pos x="18" y="73"/>
                </a:cxn>
                <a:cxn ang="0">
                  <a:pos x="29" y="73"/>
                </a:cxn>
                <a:cxn ang="0">
                  <a:pos x="28" y="71"/>
                </a:cxn>
                <a:cxn ang="0">
                  <a:pos x="32" y="64"/>
                </a:cxn>
                <a:cxn ang="0">
                  <a:pos x="31" y="62"/>
                </a:cxn>
                <a:cxn ang="0">
                  <a:pos x="31" y="61"/>
                </a:cxn>
                <a:cxn ang="0">
                  <a:pos x="36" y="60"/>
                </a:cxn>
                <a:cxn ang="0">
                  <a:pos x="38" y="58"/>
                </a:cxn>
                <a:cxn ang="0">
                  <a:pos x="39" y="58"/>
                </a:cxn>
                <a:cxn ang="0">
                  <a:pos x="41" y="58"/>
                </a:cxn>
                <a:cxn ang="0">
                  <a:pos x="41" y="57"/>
                </a:cxn>
                <a:cxn ang="0">
                  <a:pos x="42" y="57"/>
                </a:cxn>
                <a:cxn ang="0">
                  <a:pos x="45" y="57"/>
                </a:cxn>
                <a:cxn ang="0">
                  <a:pos x="47" y="58"/>
                </a:cxn>
                <a:cxn ang="0">
                  <a:pos x="51" y="54"/>
                </a:cxn>
                <a:cxn ang="0">
                  <a:pos x="55" y="57"/>
                </a:cxn>
                <a:cxn ang="0">
                  <a:pos x="58" y="55"/>
                </a:cxn>
                <a:cxn ang="0">
                  <a:pos x="60" y="57"/>
                </a:cxn>
                <a:cxn ang="0">
                  <a:pos x="74" y="38"/>
                </a:cxn>
                <a:cxn ang="0">
                  <a:pos x="74" y="22"/>
                </a:cxn>
                <a:cxn ang="0">
                  <a:pos x="74" y="20"/>
                </a:cxn>
                <a:cxn ang="0">
                  <a:pos x="71" y="17"/>
                </a:cxn>
                <a:cxn ang="0">
                  <a:pos x="68" y="16"/>
                </a:cxn>
                <a:cxn ang="0">
                  <a:pos x="68" y="14"/>
                </a:cxn>
                <a:cxn ang="0">
                  <a:pos x="65" y="6"/>
                </a:cxn>
                <a:cxn ang="0">
                  <a:pos x="65" y="6"/>
                </a:cxn>
                <a:cxn ang="0">
                  <a:pos x="65" y="4"/>
                </a:cxn>
                <a:cxn ang="0">
                  <a:pos x="65" y="3"/>
                </a:cxn>
                <a:cxn ang="0">
                  <a:pos x="64" y="3"/>
                </a:cxn>
                <a:cxn ang="0">
                  <a:pos x="61" y="1"/>
                </a:cxn>
                <a:cxn ang="0">
                  <a:pos x="61" y="1"/>
                </a:cxn>
                <a:cxn ang="0">
                  <a:pos x="60" y="1"/>
                </a:cxn>
              </a:cxnLst>
              <a:rect l="0" t="0" r="r" b="b"/>
              <a:pathLst>
                <a:path w="74" h="78">
                  <a:moveTo>
                    <a:pt x="60" y="1"/>
                  </a:moveTo>
                  <a:lnTo>
                    <a:pt x="60" y="0"/>
                  </a:lnTo>
                  <a:lnTo>
                    <a:pt x="60" y="1"/>
                  </a:lnTo>
                  <a:lnTo>
                    <a:pt x="52" y="6"/>
                  </a:lnTo>
                  <a:lnTo>
                    <a:pt x="32" y="7"/>
                  </a:lnTo>
                  <a:lnTo>
                    <a:pt x="31" y="6"/>
                  </a:lnTo>
                  <a:lnTo>
                    <a:pt x="28" y="6"/>
                  </a:lnTo>
                  <a:lnTo>
                    <a:pt x="25" y="7"/>
                  </a:lnTo>
                  <a:lnTo>
                    <a:pt x="22" y="6"/>
                  </a:lnTo>
                  <a:lnTo>
                    <a:pt x="19" y="6"/>
                  </a:lnTo>
                  <a:lnTo>
                    <a:pt x="18" y="7"/>
                  </a:lnTo>
                  <a:lnTo>
                    <a:pt x="16" y="20"/>
                  </a:lnTo>
                  <a:lnTo>
                    <a:pt x="16" y="23"/>
                  </a:lnTo>
                  <a:lnTo>
                    <a:pt x="19" y="26"/>
                  </a:lnTo>
                  <a:lnTo>
                    <a:pt x="20" y="26"/>
                  </a:lnTo>
                  <a:lnTo>
                    <a:pt x="22" y="28"/>
                  </a:lnTo>
                  <a:lnTo>
                    <a:pt x="22" y="29"/>
                  </a:lnTo>
                  <a:lnTo>
                    <a:pt x="20" y="32"/>
                  </a:lnTo>
                  <a:lnTo>
                    <a:pt x="18" y="35"/>
                  </a:lnTo>
                  <a:lnTo>
                    <a:pt x="15" y="36"/>
                  </a:lnTo>
                  <a:lnTo>
                    <a:pt x="4" y="49"/>
                  </a:lnTo>
                  <a:lnTo>
                    <a:pt x="0" y="77"/>
                  </a:lnTo>
                  <a:lnTo>
                    <a:pt x="0" y="78"/>
                  </a:lnTo>
                  <a:lnTo>
                    <a:pt x="3" y="78"/>
                  </a:lnTo>
                  <a:lnTo>
                    <a:pt x="4" y="78"/>
                  </a:lnTo>
                  <a:lnTo>
                    <a:pt x="6" y="76"/>
                  </a:lnTo>
                  <a:lnTo>
                    <a:pt x="7" y="74"/>
                  </a:lnTo>
                  <a:lnTo>
                    <a:pt x="9" y="74"/>
                  </a:lnTo>
                  <a:lnTo>
                    <a:pt x="10" y="73"/>
                  </a:lnTo>
                  <a:lnTo>
                    <a:pt x="16" y="74"/>
                  </a:lnTo>
                  <a:lnTo>
                    <a:pt x="18" y="73"/>
                  </a:lnTo>
                  <a:lnTo>
                    <a:pt x="18" y="73"/>
                  </a:lnTo>
                  <a:lnTo>
                    <a:pt x="29" y="73"/>
                  </a:lnTo>
                  <a:lnTo>
                    <a:pt x="28" y="71"/>
                  </a:lnTo>
                  <a:lnTo>
                    <a:pt x="32" y="64"/>
                  </a:lnTo>
                  <a:lnTo>
                    <a:pt x="31" y="62"/>
                  </a:lnTo>
                  <a:lnTo>
                    <a:pt x="31" y="61"/>
                  </a:lnTo>
                  <a:lnTo>
                    <a:pt x="36" y="60"/>
                  </a:lnTo>
                  <a:lnTo>
                    <a:pt x="38" y="58"/>
                  </a:lnTo>
                  <a:lnTo>
                    <a:pt x="39" y="58"/>
                  </a:lnTo>
                  <a:lnTo>
                    <a:pt x="41" y="58"/>
                  </a:lnTo>
                  <a:lnTo>
                    <a:pt x="41" y="57"/>
                  </a:lnTo>
                  <a:lnTo>
                    <a:pt x="42" y="57"/>
                  </a:lnTo>
                  <a:lnTo>
                    <a:pt x="45" y="57"/>
                  </a:lnTo>
                  <a:lnTo>
                    <a:pt x="47" y="58"/>
                  </a:lnTo>
                  <a:lnTo>
                    <a:pt x="51" y="54"/>
                  </a:lnTo>
                  <a:lnTo>
                    <a:pt x="55" y="57"/>
                  </a:lnTo>
                  <a:lnTo>
                    <a:pt x="58" y="55"/>
                  </a:lnTo>
                  <a:lnTo>
                    <a:pt x="60" y="57"/>
                  </a:lnTo>
                  <a:lnTo>
                    <a:pt x="74" y="38"/>
                  </a:lnTo>
                  <a:lnTo>
                    <a:pt x="74" y="22"/>
                  </a:lnTo>
                  <a:lnTo>
                    <a:pt x="74" y="20"/>
                  </a:lnTo>
                  <a:lnTo>
                    <a:pt x="71" y="17"/>
                  </a:lnTo>
                  <a:lnTo>
                    <a:pt x="68" y="16"/>
                  </a:lnTo>
                  <a:lnTo>
                    <a:pt x="68" y="14"/>
                  </a:lnTo>
                  <a:lnTo>
                    <a:pt x="65" y="6"/>
                  </a:lnTo>
                  <a:lnTo>
                    <a:pt x="65" y="6"/>
                  </a:lnTo>
                  <a:lnTo>
                    <a:pt x="65" y="4"/>
                  </a:lnTo>
                  <a:lnTo>
                    <a:pt x="65" y="3"/>
                  </a:lnTo>
                  <a:lnTo>
                    <a:pt x="64" y="3"/>
                  </a:lnTo>
                  <a:lnTo>
                    <a:pt x="61" y="1"/>
                  </a:lnTo>
                  <a:lnTo>
                    <a:pt x="61" y="1"/>
                  </a:lnTo>
                  <a:lnTo>
                    <a:pt x="60"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39" name="Freeform 338"/>
            <p:cNvSpPr>
              <a:spLocks/>
            </p:cNvSpPr>
            <p:nvPr/>
          </p:nvSpPr>
          <p:spPr bwMode="auto">
            <a:xfrm>
              <a:off x="6798387" y="2896354"/>
              <a:ext cx="100946" cy="130824"/>
            </a:xfrm>
            <a:custGeom>
              <a:avLst/>
              <a:gdLst/>
              <a:ahLst/>
              <a:cxnLst>
                <a:cxn ang="0">
                  <a:pos x="52" y="0"/>
                </a:cxn>
                <a:cxn ang="0">
                  <a:pos x="52" y="10"/>
                </a:cxn>
                <a:cxn ang="0">
                  <a:pos x="55" y="10"/>
                </a:cxn>
                <a:cxn ang="0">
                  <a:pos x="50" y="14"/>
                </a:cxn>
                <a:cxn ang="0">
                  <a:pos x="52" y="45"/>
                </a:cxn>
                <a:cxn ang="0">
                  <a:pos x="0" y="90"/>
                </a:cxn>
                <a:cxn ang="0">
                  <a:pos x="29" y="120"/>
                </a:cxn>
                <a:cxn ang="0">
                  <a:pos x="39" y="120"/>
                </a:cxn>
                <a:cxn ang="0">
                  <a:pos x="43" y="119"/>
                </a:cxn>
                <a:cxn ang="0">
                  <a:pos x="46" y="112"/>
                </a:cxn>
                <a:cxn ang="0">
                  <a:pos x="58" y="106"/>
                </a:cxn>
                <a:cxn ang="0">
                  <a:pos x="62" y="106"/>
                </a:cxn>
                <a:cxn ang="0">
                  <a:pos x="65" y="97"/>
                </a:cxn>
                <a:cxn ang="0">
                  <a:pos x="69" y="93"/>
                </a:cxn>
                <a:cxn ang="0">
                  <a:pos x="72" y="90"/>
                </a:cxn>
                <a:cxn ang="0">
                  <a:pos x="79" y="90"/>
                </a:cxn>
                <a:cxn ang="0">
                  <a:pos x="81" y="88"/>
                </a:cxn>
                <a:cxn ang="0">
                  <a:pos x="81" y="84"/>
                </a:cxn>
                <a:cxn ang="0">
                  <a:pos x="81" y="77"/>
                </a:cxn>
                <a:cxn ang="0">
                  <a:pos x="85" y="67"/>
                </a:cxn>
                <a:cxn ang="0">
                  <a:pos x="88" y="67"/>
                </a:cxn>
                <a:cxn ang="0">
                  <a:pos x="88" y="68"/>
                </a:cxn>
                <a:cxn ang="0">
                  <a:pos x="91" y="68"/>
                </a:cxn>
                <a:cxn ang="0">
                  <a:pos x="101" y="54"/>
                </a:cxn>
                <a:cxn ang="0">
                  <a:pos x="110" y="38"/>
                </a:cxn>
                <a:cxn ang="0">
                  <a:pos x="107" y="36"/>
                </a:cxn>
                <a:cxn ang="0">
                  <a:pos x="104" y="35"/>
                </a:cxn>
                <a:cxn ang="0">
                  <a:pos x="100" y="29"/>
                </a:cxn>
                <a:cxn ang="0">
                  <a:pos x="98" y="26"/>
                </a:cxn>
                <a:cxn ang="0">
                  <a:pos x="91" y="20"/>
                </a:cxn>
                <a:cxn ang="0">
                  <a:pos x="85" y="17"/>
                </a:cxn>
                <a:cxn ang="0">
                  <a:pos x="74" y="14"/>
                </a:cxn>
                <a:cxn ang="0">
                  <a:pos x="68" y="11"/>
                </a:cxn>
                <a:cxn ang="0">
                  <a:pos x="64" y="6"/>
                </a:cxn>
                <a:cxn ang="0">
                  <a:pos x="61" y="0"/>
                </a:cxn>
              </a:cxnLst>
              <a:rect l="0" t="0" r="r" b="b"/>
              <a:pathLst>
                <a:path w="110" h="126">
                  <a:moveTo>
                    <a:pt x="61" y="0"/>
                  </a:moveTo>
                  <a:lnTo>
                    <a:pt x="52" y="0"/>
                  </a:lnTo>
                  <a:lnTo>
                    <a:pt x="53" y="9"/>
                  </a:lnTo>
                  <a:lnTo>
                    <a:pt x="52" y="10"/>
                  </a:lnTo>
                  <a:lnTo>
                    <a:pt x="53" y="11"/>
                  </a:lnTo>
                  <a:lnTo>
                    <a:pt x="55" y="10"/>
                  </a:lnTo>
                  <a:lnTo>
                    <a:pt x="53" y="13"/>
                  </a:lnTo>
                  <a:lnTo>
                    <a:pt x="50" y="14"/>
                  </a:lnTo>
                  <a:lnTo>
                    <a:pt x="45" y="33"/>
                  </a:lnTo>
                  <a:lnTo>
                    <a:pt x="52" y="45"/>
                  </a:lnTo>
                  <a:lnTo>
                    <a:pt x="42" y="75"/>
                  </a:lnTo>
                  <a:lnTo>
                    <a:pt x="0" y="90"/>
                  </a:lnTo>
                  <a:lnTo>
                    <a:pt x="14" y="126"/>
                  </a:lnTo>
                  <a:lnTo>
                    <a:pt x="29" y="120"/>
                  </a:lnTo>
                  <a:lnTo>
                    <a:pt x="37" y="120"/>
                  </a:lnTo>
                  <a:lnTo>
                    <a:pt x="39" y="120"/>
                  </a:lnTo>
                  <a:lnTo>
                    <a:pt x="40" y="120"/>
                  </a:lnTo>
                  <a:lnTo>
                    <a:pt x="43" y="119"/>
                  </a:lnTo>
                  <a:lnTo>
                    <a:pt x="46" y="116"/>
                  </a:lnTo>
                  <a:lnTo>
                    <a:pt x="46" y="112"/>
                  </a:lnTo>
                  <a:lnTo>
                    <a:pt x="49" y="107"/>
                  </a:lnTo>
                  <a:lnTo>
                    <a:pt x="58" y="106"/>
                  </a:lnTo>
                  <a:lnTo>
                    <a:pt x="59" y="106"/>
                  </a:lnTo>
                  <a:lnTo>
                    <a:pt x="62" y="106"/>
                  </a:lnTo>
                  <a:lnTo>
                    <a:pt x="64" y="103"/>
                  </a:lnTo>
                  <a:lnTo>
                    <a:pt x="65" y="97"/>
                  </a:lnTo>
                  <a:lnTo>
                    <a:pt x="66" y="94"/>
                  </a:lnTo>
                  <a:lnTo>
                    <a:pt x="69" y="93"/>
                  </a:lnTo>
                  <a:lnTo>
                    <a:pt x="71" y="91"/>
                  </a:lnTo>
                  <a:lnTo>
                    <a:pt x="72" y="90"/>
                  </a:lnTo>
                  <a:lnTo>
                    <a:pt x="74" y="91"/>
                  </a:lnTo>
                  <a:lnTo>
                    <a:pt x="79" y="90"/>
                  </a:lnTo>
                  <a:lnTo>
                    <a:pt x="81" y="90"/>
                  </a:lnTo>
                  <a:lnTo>
                    <a:pt x="81" y="88"/>
                  </a:lnTo>
                  <a:lnTo>
                    <a:pt x="81" y="86"/>
                  </a:lnTo>
                  <a:lnTo>
                    <a:pt x="81" y="84"/>
                  </a:lnTo>
                  <a:lnTo>
                    <a:pt x="79" y="80"/>
                  </a:lnTo>
                  <a:lnTo>
                    <a:pt x="81" y="77"/>
                  </a:lnTo>
                  <a:lnTo>
                    <a:pt x="81" y="74"/>
                  </a:lnTo>
                  <a:lnTo>
                    <a:pt x="85" y="67"/>
                  </a:lnTo>
                  <a:lnTo>
                    <a:pt x="87" y="67"/>
                  </a:lnTo>
                  <a:lnTo>
                    <a:pt x="88" y="67"/>
                  </a:lnTo>
                  <a:lnTo>
                    <a:pt x="88" y="68"/>
                  </a:lnTo>
                  <a:lnTo>
                    <a:pt x="88" y="68"/>
                  </a:lnTo>
                  <a:lnTo>
                    <a:pt x="91" y="70"/>
                  </a:lnTo>
                  <a:lnTo>
                    <a:pt x="91" y="68"/>
                  </a:lnTo>
                  <a:lnTo>
                    <a:pt x="98" y="56"/>
                  </a:lnTo>
                  <a:lnTo>
                    <a:pt x="101" y="54"/>
                  </a:lnTo>
                  <a:lnTo>
                    <a:pt x="109" y="43"/>
                  </a:lnTo>
                  <a:lnTo>
                    <a:pt x="110" y="38"/>
                  </a:lnTo>
                  <a:lnTo>
                    <a:pt x="109" y="36"/>
                  </a:lnTo>
                  <a:lnTo>
                    <a:pt x="107" y="36"/>
                  </a:lnTo>
                  <a:lnTo>
                    <a:pt x="107" y="35"/>
                  </a:lnTo>
                  <a:lnTo>
                    <a:pt x="104" y="35"/>
                  </a:lnTo>
                  <a:lnTo>
                    <a:pt x="101" y="32"/>
                  </a:lnTo>
                  <a:lnTo>
                    <a:pt x="100" y="29"/>
                  </a:lnTo>
                  <a:lnTo>
                    <a:pt x="98" y="27"/>
                  </a:lnTo>
                  <a:lnTo>
                    <a:pt x="98" y="26"/>
                  </a:lnTo>
                  <a:lnTo>
                    <a:pt x="94" y="22"/>
                  </a:lnTo>
                  <a:lnTo>
                    <a:pt x="91" y="20"/>
                  </a:lnTo>
                  <a:lnTo>
                    <a:pt x="90" y="20"/>
                  </a:lnTo>
                  <a:lnTo>
                    <a:pt x="85" y="17"/>
                  </a:lnTo>
                  <a:lnTo>
                    <a:pt x="81" y="17"/>
                  </a:lnTo>
                  <a:lnTo>
                    <a:pt x="74" y="14"/>
                  </a:lnTo>
                  <a:lnTo>
                    <a:pt x="71" y="11"/>
                  </a:lnTo>
                  <a:lnTo>
                    <a:pt x="68" y="11"/>
                  </a:lnTo>
                  <a:lnTo>
                    <a:pt x="65" y="6"/>
                  </a:lnTo>
                  <a:lnTo>
                    <a:pt x="64" y="6"/>
                  </a:lnTo>
                  <a:lnTo>
                    <a:pt x="62" y="4"/>
                  </a:lnTo>
                  <a:lnTo>
                    <a:pt x="61" y="0"/>
                  </a:lnTo>
                  <a:lnTo>
                    <a:pt x="61" y="0"/>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40" name="Freeform 339"/>
            <p:cNvSpPr>
              <a:spLocks/>
            </p:cNvSpPr>
            <p:nvPr/>
          </p:nvSpPr>
          <p:spPr bwMode="auto">
            <a:xfrm>
              <a:off x="6270829" y="3527145"/>
              <a:ext cx="173805" cy="194713"/>
            </a:xfrm>
            <a:custGeom>
              <a:avLst/>
              <a:gdLst/>
              <a:ahLst/>
              <a:cxnLst>
                <a:cxn ang="0">
                  <a:pos x="32" y="7"/>
                </a:cxn>
                <a:cxn ang="0">
                  <a:pos x="24" y="3"/>
                </a:cxn>
                <a:cxn ang="0">
                  <a:pos x="14" y="0"/>
                </a:cxn>
                <a:cxn ang="0">
                  <a:pos x="10" y="4"/>
                </a:cxn>
                <a:cxn ang="0">
                  <a:pos x="5" y="3"/>
                </a:cxn>
                <a:cxn ang="0">
                  <a:pos x="0" y="14"/>
                </a:cxn>
                <a:cxn ang="0">
                  <a:pos x="1" y="19"/>
                </a:cxn>
                <a:cxn ang="0">
                  <a:pos x="7" y="29"/>
                </a:cxn>
                <a:cxn ang="0">
                  <a:pos x="30" y="72"/>
                </a:cxn>
                <a:cxn ang="0">
                  <a:pos x="39" y="113"/>
                </a:cxn>
                <a:cxn ang="0">
                  <a:pos x="45" y="135"/>
                </a:cxn>
                <a:cxn ang="0">
                  <a:pos x="46" y="145"/>
                </a:cxn>
                <a:cxn ang="0">
                  <a:pos x="66" y="181"/>
                </a:cxn>
                <a:cxn ang="0">
                  <a:pos x="68" y="181"/>
                </a:cxn>
                <a:cxn ang="0">
                  <a:pos x="71" y="181"/>
                </a:cxn>
                <a:cxn ang="0">
                  <a:pos x="77" y="176"/>
                </a:cxn>
                <a:cxn ang="0">
                  <a:pos x="84" y="184"/>
                </a:cxn>
                <a:cxn ang="0">
                  <a:pos x="91" y="187"/>
                </a:cxn>
                <a:cxn ang="0">
                  <a:pos x="104" y="187"/>
                </a:cxn>
                <a:cxn ang="0">
                  <a:pos x="117" y="178"/>
                </a:cxn>
                <a:cxn ang="0">
                  <a:pos x="132" y="77"/>
                </a:cxn>
                <a:cxn ang="0">
                  <a:pos x="133" y="23"/>
                </a:cxn>
                <a:cxn ang="0">
                  <a:pos x="167" y="19"/>
                </a:cxn>
                <a:cxn ang="0">
                  <a:pos x="170" y="26"/>
                </a:cxn>
                <a:cxn ang="0">
                  <a:pos x="177" y="19"/>
                </a:cxn>
                <a:cxn ang="0">
                  <a:pos x="186" y="14"/>
                </a:cxn>
                <a:cxn ang="0">
                  <a:pos x="190" y="13"/>
                </a:cxn>
                <a:cxn ang="0">
                  <a:pos x="187" y="10"/>
                </a:cxn>
                <a:cxn ang="0">
                  <a:pos x="178" y="7"/>
                </a:cxn>
                <a:cxn ang="0">
                  <a:pos x="164" y="11"/>
                </a:cxn>
                <a:cxn ang="0">
                  <a:pos x="139" y="17"/>
                </a:cxn>
                <a:cxn ang="0">
                  <a:pos x="98" y="10"/>
                </a:cxn>
                <a:cxn ang="0">
                  <a:pos x="90" y="7"/>
                </a:cxn>
              </a:cxnLst>
              <a:rect l="0" t="0" r="r" b="b"/>
              <a:pathLst>
                <a:path w="190" h="187">
                  <a:moveTo>
                    <a:pt x="90" y="7"/>
                  </a:moveTo>
                  <a:lnTo>
                    <a:pt x="32" y="7"/>
                  </a:lnTo>
                  <a:lnTo>
                    <a:pt x="29" y="4"/>
                  </a:lnTo>
                  <a:lnTo>
                    <a:pt x="24" y="3"/>
                  </a:lnTo>
                  <a:lnTo>
                    <a:pt x="23" y="1"/>
                  </a:lnTo>
                  <a:lnTo>
                    <a:pt x="14" y="0"/>
                  </a:lnTo>
                  <a:lnTo>
                    <a:pt x="13" y="1"/>
                  </a:lnTo>
                  <a:lnTo>
                    <a:pt x="10" y="4"/>
                  </a:lnTo>
                  <a:lnTo>
                    <a:pt x="8" y="4"/>
                  </a:lnTo>
                  <a:lnTo>
                    <a:pt x="5" y="3"/>
                  </a:lnTo>
                  <a:lnTo>
                    <a:pt x="0" y="7"/>
                  </a:lnTo>
                  <a:lnTo>
                    <a:pt x="0" y="14"/>
                  </a:lnTo>
                  <a:lnTo>
                    <a:pt x="1" y="17"/>
                  </a:lnTo>
                  <a:lnTo>
                    <a:pt x="1" y="19"/>
                  </a:lnTo>
                  <a:lnTo>
                    <a:pt x="4" y="26"/>
                  </a:lnTo>
                  <a:lnTo>
                    <a:pt x="7" y="29"/>
                  </a:lnTo>
                  <a:lnTo>
                    <a:pt x="30" y="71"/>
                  </a:lnTo>
                  <a:lnTo>
                    <a:pt x="30" y="72"/>
                  </a:lnTo>
                  <a:lnTo>
                    <a:pt x="39" y="85"/>
                  </a:lnTo>
                  <a:lnTo>
                    <a:pt x="39" y="113"/>
                  </a:lnTo>
                  <a:lnTo>
                    <a:pt x="45" y="123"/>
                  </a:lnTo>
                  <a:lnTo>
                    <a:pt x="45" y="135"/>
                  </a:lnTo>
                  <a:lnTo>
                    <a:pt x="46" y="142"/>
                  </a:lnTo>
                  <a:lnTo>
                    <a:pt x="46" y="145"/>
                  </a:lnTo>
                  <a:lnTo>
                    <a:pt x="50" y="161"/>
                  </a:lnTo>
                  <a:lnTo>
                    <a:pt x="66" y="181"/>
                  </a:lnTo>
                  <a:lnTo>
                    <a:pt x="68" y="181"/>
                  </a:lnTo>
                  <a:lnTo>
                    <a:pt x="68" y="181"/>
                  </a:lnTo>
                  <a:lnTo>
                    <a:pt x="69" y="181"/>
                  </a:lnTo>
                  <a:lnTo>
                    <a:pt x="71" y="181"/>
                  </a:lnTo>
                  <a:lnTo>
                    <a:pt x="74" y="176"/>
                  </a:lnTo>
                  <a:lnTo>
                    <a:pt x="77" y="176"/>
                  </a:lnTo>
                  <a:lnTo>
                    <a:pt x="84" y="180"/>
                  </a:lnTo>
                  <a:lnTo>
                    <a:pt x="84" y="184"/>
                  </a:lnTo>
                  <a:lnTo>
                    <a:pt x="87" y="187"/>
                  </a:lnTo>
                  <a:lnTo>
                    <a:pt x="91" y="187"/>
                  </a:lnTo>
                  <a:lnTo>
                    <a:pt x="94" y="186"/>
                  </a:lnTo>
                  <a:lnTo>
                    <a:pt x="104" y="187"/>
                  </a:lnTo>
                  <a:lnTo>
                    <a:pt x="113" y="181"/>
                  </a:lnTo>
                  <a:lnTo>
                    <a:pt x="117" y="178"/>
                  </a:lnTo>
                  <a:lnTo>
                    <a:pt x="117" y="77"/>
                  </a:lnTo>
                  <a:lnTo>
                    <a:pt x="132" y="77"/>
                  </a:lnTo>
                  <a:lnTo>
                    <a:pt x="132" y="24"/>
                  </a:lnTo>
                  <a:lnTo>
                    <a:pt x="133" y="23"/>
                  </a:lnTo>
                  <a:lnTo>
                    <a:pt x="164" y="19"/>
                  </a:lnTo>
                  <a:lnTo>
                    <a:pt x="167" y="19"/>
                  </a:lnTo>
                  <a:lnTo>
                    <a:pt x="168" y="22"/>
                  </a:lnTo>
                  <a:lnTo>
                    <a:pt x="170" y="26"/>
                  </a:lnTo>
                  <a:lnTo>
                    <a:pt x="172" y="22"/>
                  </a:lnTo>
                  <a:lnTo>
                    <a:pt x="177" y="19"/>
                  </a:lnTo>
                  <a:lnTo>
                    <a:pt x="184" y="16"/>
                  </a:lnTo>
                  <a:lnTo>
                    <a:pt x="186" y="14"/>
                  </a:lnTo>
                  <a:lnTo>
                    <a:pt x="187" y="13"/>
                  </a:lnTo>
                  <a:lnTo>
                    <a:pt x="190" y="13"/>
                  </a:lnTo>
                  <a:lnTo>
                    <a:pt x="188" y="10"/>
                  </a:lnTo>
                  <a:lnTo>
                    <a:pt x="187" y="10"/>
                  </a:lnTo>
                  <a:lnTo>
                    <a:pt x="178" y="8"/>
                  </a:lnTo>
                  <a:lnTo>
                    <a:pt x="178" y="7"/>
                  </a:lnTo>
                  <a:lnTo>
                    <a:pt x="165" y="11"/>
                  </a:lnTo>
                  <a:lnTo>
                    <a:pt x="164" y="11"/>
                  </a:lnTo>
                  <a:lnTo>
                    <a:pt x="139" y="17"/>
                  </a:lnTo>
                  <a:lnTo>
                    <a:pt x="139" y="17"/>
                  </a:lnTo>
                  <a:lnTo>
                    <a:pt x="100" y="13"/>
                  </a:lnTo>
                  <a:lnTo>
                    <a:pt x="98" y="10"/>
                  </a:lnTo>
                  <a:lnTo>
                    <a:pt x="94" y="7"/>
                  </a:lnTo>
                  <a:lnTo>
                    <a:pt x="90" y="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41" name="Freeform 340"/>
            <p:cNvSpPr>
              <a:spLocks/>
            </p:cNvSpPr>
            <p:nvPr/>
          </p:nvSpPr>
          <p:spPr bwMode="auto">
            <a:xfrm>
              <a:off x="6270829" y="3527145"/>
              <a:ext cx="173805" cy="194713"/>
            </a:xfrm>
            <a:custGeom>
              <a:avLst/>
              <a:gdLst/>
              <a:ahLst/>
              <a:cxnLst>
                <a:cxn ang="0">
                  <a:pos x="32" y="7"/>
                </a:cxn>
                <a:cxn ang="0">
                  <a:pos x="24" y="3"/>
                </a:cxn>
                <a:cxn ang="0">
                  <a:pos x="14" y="0"/>
                </a:cxn>
                <a:cxn ang="0">
                  <a:pos x="10" y="4"/>
                </a:cxn>
                <a:cxn ang="0">
                  <a:pos x="5" y="3"/>
                </a:cxn>
                <a:cxn ang="0">
                  <a:pos x="0" y="14"/>
                </a:cxn>
                <a:cxn ang="0">
                  <a:pos x="1" y="19"/>
                </a:cxn>
                <a:cxn ang="0">
                  <a:pos x="7" y="29"/>
                </a:cxn>
                <a:cxn ang="0">
                  <a:pos x="30" y="72"/>
                </a:cxn>
                <a:cxn ang="0">
                  <a:pos x="39" y="113"/>
                </a:cxn>
                <a:cxn ang="0">
                  <a:pos x="45" y="135"/>
                </a:cxn>
                <a:cxn ang="0">
                  <a:pos x="46" y="145"/>
                </a:cxn>
                <a:cxn ang="0">
                  <a:pos x="66" y="181"/>
                </a:cxn>
                <a:cxn ang="0">
                  <a:pos x="68" y="181"/>
                </a:cxn>
                <a:cxn ang="0">
                  <a:pos x="71" y="181"/>
                </a:cxn>
                <a:cxn ang="0">
                  <a:pos x="77" y="176"/>
                </a:cxn>
                <a:cxn ang="0">
                  <a:pos x="84" y="184"/>
                </a:cxn>
                <a:cxn ang="0">
                  <a:pos x="91" y="187"/>
                </a:cxn>
                <a:cxn ang="0">
                  <a:pos x="104" y="187"/>
                </a:cxn>
                <a:cxn ang="0">
                  <a:pos x="117" y="178"/>
                </a:cxn>
                <a:cxn ang="0">
                  <a:pos x="132" y="77"/>
                </a:cxn>
                <a:cxn ang="0">
                  <a:pos x="133" y="23"/>
                </a:cxn>
                <a:cxn ang="0">
                  <a:pos x="167" y="19"/>
                </a:cxn>
                <a:cxn ang="0">
                  <a:pos x="170" y="26"/>
                </a:cxn>
                <a:cxn ang="0">
                  <a:pos x="177" y="19"/>
                </a:cxn>
                <a:cxn ang="0">
                  <a:pos x="186" y="14"/>
                </a:cxn>
                <a:cxn ang="0">
                  <a:pos x="190" y="13"/>
                </a:cxn>
                <a:cxn ang="0">
                  <a:pos x="187" y="10"/>
                </a:cxn>
                <a:cxn ang="0">
                  <a:pos x="178" y="7"/>
                </a:cxn>
                <a:cxn ang="0">
                  <a:pos x="164" y="11"/>
                </a:cxn>
                <a:cxn ang="0">
                  <a:pos x="139" y="17"/>
                </a:cxn>
                <a:cxn ang="0">
                  <a:pos x="98" y="10"/>
                </a:cxn>
                <a:cxn ang="0">
                  <a:pos x="90" y="7"/>
                </a:cxn>
              </a:cxnLst>
              <a:rect l="0" t="0" r="r" b="b"/>
              <a:pathLst>
                <a:path w="190" h="187">
                  <a:moveTo>
                    <a:pt x="90" y="7"/>
                  </a:moveTo>
                  <a:lnTo>
                    <a:pt x="32" y="7"/>
                  </a:lnTo>
                  <a:lnTo>
                    <a:pt x="29" y="4"/>
                  </a:lnTo>
                  <a:lnTo>
                    <a:pt x="24" y="3"/>
                  </a:lnTo>
                  <a:lnTo>
                    <a:pt x="23" y="1"/>
                  </a:lnTo>
                  <a:lnTo>
                    <a:pt x="14" y="0"/>
                  </a:lnTo>
                  <a:lnTo>
                    <a:pt x="13" y="1"/>
                  </a:lnTo>
                  <a:lnTo>
                    <a:pt x="10" y="4"/>
                  </a:lnTo>
                  <a:lnTo>
                    <a:pt x="8" y="4"/>
                  </a:lnTo>
                  <a:lnTo>
                    <a:pt x="5" y="3"/>
                  </a:lnTo>
                  <a:lnTo>
                    <a:pt x="0" y="7"/>
                  </a:lnTo>
                  <a:lnTo>
                    <a:pt x="0" y="14"/>
                  </a:lnTo>
                  <a:lnTo>
                    <a:pt x="1" y="17"/>
                  </a:lnTo>
                  <a:lnTo>
                    <a:pt x="1" y="19"/>
                  </a:lnTo>
                  <a:lnTo>
                    <a:pt x="4" y="26"/>
                  </a:lnTo>
                  <a:lnTo>
                    <a:pt x="7" y="29"/>
                  </a:lnTo>
                  <a:lnTo>
                    <a:pt x="30" y="71"/>
                  </a:lnTo>
                  <a:lnTo>
                    <a:pt x="30" y="72"/>
                  </a:lnTo>
                  <a:lnTo>
                    <a:pt x="39" y="85"/>
                  </a:lnTo>
                  <a:lnTo>
                    <a:pt x="39" y="113"/>
                  </a:lnTo>
                  <a:lnTo>
                    <a:pt x="45" y="123"/>
                  </a:lnTo>
                  <a:lnTo>
                    <a:pt x="45" y="135"/>
                  </a:lnTo>
                  <a:lnTo>
                    <a:pt x="46" y="142"/>
                  </a:lnTo>
                  <a:lnTo>
                    <a:pt x="46" y="145"/>
                  </a:lnTo>
                  <a:lnTo>
                    <a:pt x="50" y="161"/>
                  </a:lnTo>
                  <a:lnTo>
                    <a:pt x="66" y="181"/>
                  </a:lnTo>
                  <a:lnTo>
                    <a:pt x="68" y="181"/>
                  </a:lnTo>
                  <a:lnTo>
                    <a:pt x="68" y="181"/>
                  </a:lnTo>
                  <a:lnTo>
                    <a:pt x="69" y="181"/>
                  </a:lnTo>
                  <a:lnTo>
                    <a:pt x="71" y="181"/>
                  </a:lnTo>
                  <a:lnTo>
                    <a:pt x="74" y="176"/>
                  </a:lnTo>
                  <a:lnTo>
                    <a:pt x="77" y="176"/>
                  </a:lnTo>
                  <a:lnTo>
                    <a:pt x="84" y="180"/>
                  </a:lnTo>
                  <a:lnTo>
                    <a:pt x="84" y="184"/>
                  </a:lnTo>
                  <a:lnTo>
                    <a:pt x="87" y="187"/>
                  </a:lnTo>
                  <a:lnTo>
                    <a:pt x="91" y="187"/>
                  </a:lnTo>
                  <a:lnTo>
                    <a:pt x="94" y="186"/>
                  </a:lnTo>
                  <a:lnTo>
                    <a:pt x="104" y="187"/>
                  </a:lnTo>
                  <a:lnTo>
                    <a:pt x="113" y="181"/>
                  </a:lnTo>
                  <a:lnTo>
                    <a:pt x="117" y="178"/>
                  </a:lnTo>
                  <a:lnTo>
                    <a:pt x="117" y="77"/>
                  </a:lnTo>
                  <a:lnTo>
                    <a:pt x="132" y="77"/>
                  </a:lnTo>
                  <a:lnTo>
                    <a:pt x="132" y="24"/>
                  </a:lnTo>
                  <a:lnTo>
                    <a:pt x="133" y="23"/>
                  </a:lnTo>
                  <a:lnTo>
                    <a:pt x="164" y="19"/>
                  </a:lnTo>
                  <a:lnTo>
                    <a:pt x="167" y="19"/>
                  </a:lnTo>
                  <a:lnTo>
                    <a:pt x="168" y="22"/>
                  </a:lnTo>
                  <a:lnTo>
                    <a:pt x="170" y="26"/>
                  </a:lnTo>
                  <a:lnTo>
                    <a:pt x="172" y="22"/>
                  </a:lnTo>
                  <a:lnTo>
                    <a:pt x="177" y="19"/>
                  </a:lnTo>
                  <a:lnTo>
                    <a:pt x="184" y="16"/>
                  </a:lnTo>
                  <a:lnTo>
                    <a:pt x="186" y="14"/>
                  </a:lnTo>
                  <a:lnTo>
                    <a:pt x="187" y="13"/>
                  </a:lnTo>
                  <a:lnTo>
                    <a:pt x="190" y="13"/>
                  </a:lnTo>
                  <a:lnTo>
                    <a:pt x="188" y="10"/>
                  </a:lnTo>
                  <a:lnTo>
                    <a:pt x="187" y="10"/>
                  </a:lnTo>
                  <a:lnTo>
                    <a:pt x="178" y="8"/>
                  </a:lnTo>
                  <a:lnTo>
                    <a:pt x="178" y="7"/>
                  </a:lnTo>
                  <a:lnTo>
                    <a:pt x="165" y="11"/>
                  </a:lnTo>
                  <a:lnTo>
                    <a:pt x="164" y="11"/>
                  </a:lnTo>
                  <a:lnTo>
                    <a:pt x="139" y="17"/>
                  </a:lnTo>
                  <a:lnTo>
                    <a:pt x="139" y="17"/>
                  </a:lnTo>
                  <a:lnTo>
                    <a:pt x="100" y="13"/>
                  </a:lnTo>
                  <a:lnTo>
                    <a:pt x="98" y="10"/>
                  </a:lnTo>
                  <a:lnTo>
                    <a:pt x="94" y="7"/>
                  </a:lnTo>
                  <a:lnTo>
                    <a:pt x="90" y="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42" name="Freeform 341"/>
            <p:cNvSpPr>
              <a:spLocks/>
            </p:cNvSpPr>
            <p:nvPr/>
          </p:nvSpPr>
          <p:spPr bwMode="auto">
            <a:xfrm>
              <a:off x="6521002" y="3667094"/>
              <a:ext cx="15800" cy="24339"/>
            </a:xfrm>
            <a:custGeom>
              <a:avLst/>
              <a:gdLst/>
              <a:ahLst/>
              <a:cxnLst>
                <a:cxn ang="0">
                  <a:pos x="17" y="16"/>
                </a:cxn>
                <a:cxn ang="0">
                  <a:pos x="17" y="1"/>
                </a:cxn>
                <a:cxn ang="0">
                  <a:pos x="14" y="3"/>
                </a:cxn>
                <a:cxn ang="0">
                  <a:pos x="8" y="0"/>
                </a:cxn>
                <a:cxn ang="0">
                  <a:pos x="5" y="1"/>
                </a:cxn>
                <a:cxn ang="0">
                  <a:pos x="0" y="13"/>
                </a:cxn>
                <a:cxn ang="0">
                  <a:pos x="3" y="22"/>
                </a:cxn>
                <a:cxn ang="0">
                  <a:pos x="13" y="23"/>
                </a:cxn>
                <a:cxn ang="0">
                  <a:pos x="14" y="20"/>
                </a:cxn>
                <a:cxn ang="0">
                  <a:pos x="16" y="16"/>
                </a:cxn>
                <a:cxn ang="0">
                  <a:pos x="17" y="16"/>
                </a:cxn>
              </a:cxnLst>
              <a:rect l="0" t="0" r="r" b="b"/>
              <a:pathLst>
                <a:path w="17" h="23">
                  <a:moveTo>
                    <a:pt x="17" y="16"/>
                  </a:moveTo>
                  <a:lnTo>
                    <a:pt x="17" y="1"/>
                  </a:lnTo>
                  <a:lnTo>
                    <a:pt x="14" y="3"/>
                  </a:lnTo>
                  <a:lnTo>
                    <a:pt x="8" y="0"/>
                  </a:lnTo>
                  <a:lnTo>
                    <a:pt x="5" y="1"/>
                  </a:lnTo>
                  <a:lnTo>
                    <a:pt x="0" y="13"/>
                  </a:lnTo>
                  <a:lnTo>
                    <a:pt x="3" y="22"/>
                  </a:lnTo>
                  <a:lnTo>
                    <a:pt x="13" y="23"/>
                  </a:lnTo>
                  <a:lnTo>
                    <a:pt x="14" y="20"/>
                  </a:lnTo>
                  <a:lnTo>
                    <a:pt x="16" y="16"/>
                  </a:lnTo>
                  <a:lnTo>
                    <a:pt x="17" y="1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43" name="Freeform 342"/>
            <p:cNvSpPr>
              <a:spLocks/>
            </p:cNvSpPr>
            <p:nvPr/>
          </p:nvSpPr>
          <p:spPr bwMode="auto">
            <a:xfrm>
              <a:off x="6521002" y="3667094"/>
              <a:ext cx="15800" cy="24339"/>
            </a:xfrm>
            <a:custGeom>
              <a:avLst/>
              <a:gdLst/>
              <a:ahLst/>
              <a:cxnLst>
                <a:cxn ang="0">
                  <a:pos x="17" y="16"/>
                </a:cxn>
                <a:cxn ang="0">
                  <a:pos x="17" y="1"/>
                </a:cxn>
                <a:cxn ang="0">
                  <a:pos x="14" y="3"/>
                </a:cxn>
                <a:cxn ang="0">
                  <a:pos x="8" y="0"/>
                </a:cxn>
                <a:cxn ang="0">
                  <a:pos x="5" y="1"/>
                </a:cxn>
                <a:cxn ang="0">
                  <a:pos x="0" y="13"/>
                </a:cxn>
                <a:cxn ang="0">
                  <a:pos x="3" y="22"/>
                </a:cxn>
                <a:cxn ang="0">
                  <a:pos x="13" y="23"/>
                </a:cxn>
                <a:cxn ang="0">
                  <a:pos x="14" y="20"/>
                </a:cxn>
                <a:cxn ang="0">
                  <a:pos x="16" y="16"/>
                </a:cxn>
                <a:cxn ang="0">
                  <a:pos x="17" y="16"/>
                </a:cxn>
              </a:cxnLst>
              <a:rect l="0" t="0" r="r" b="b"/>
              <a:pathLst>
                <a:path w="17" h="23">
                  <a:moveTo>
                    <a:pt x="17" y="16"/>
                  </a:moveTo>
                  <a:lnTo>
                    <a:pt x="17" y="1"/>
                  </a:lnTo>
                  <a:lnTo>
                    <a:pt x="14" y="3"/>
                  </a:lnTo>
                  <a:lnTo>
                    <a:pt x="8" y="0"/>
                  </a:lnTo>
                  <a:lnTo>
                    <a:pt x="5" y="1"/>
                  </a:lnTo>
                  <a:lnTo>
                    <a:pt x="0" y="13"/>
                  </a:lnTo>
                  <a:lnTo>
                    <a:pt x="3" y="22"/>
                  </a:lnTo>
                  <a:lnTo>
                    <a:pt x="13" y="23"/>
                  </a:lnTo>
                  <a:lnTo>
                    <a:pt x="14" y="20"/>
                  </a:lnTo>
                  <a:lnTo>
                    <a:pt x="16" y="16"/>
                  </a:lnTo>
                  <a:lnTo>
                    <a:pt x="17" y="1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44" name="Freeform 343"/>
            <p:cNvSpPr>
              <a:spLocks/>
            </p:cNvSpPr>
            <p:nvPr/>
          </p:nvSpPr>
          <p:spPr bwMode="auto">
            <a:xfrm>
              <a:off x="8447774" y="1737201"/>
              <a:ext cx="19312" cy="32452"/>
            </a:xfrm>
            <a:custGeom>
              <a:avLst/>
              <a:gdLst/>
              <a:ahLst/>
              <a:cxnLst>
                <a:cxn ang="0">
                  <a:pos x="21" y="24"/>
                </a:cxn>
                <a:cxn ang="0">
                  <a:pos x="20" y="24"/>
                </a:cxn>
                <a:cxn ang="0">
                  <a:pos x="17" y="26"/>
                </a:cxn>
                <a:cxn ang="0">
                  <a:pos x="16" y="27"/>
                </a:cxn>
                <a:cxn ang="0">
                  <a:pos x="16" y="29"/>
                </a:cxn>
                <a:cxn ang="0">
                  <a:pos x="10" y="30"/>
                </a:cxn>
                <a:cxn ang="0">
                  <a:pos x="8" y="29"/>
                </a:cxn>
                <a:cxn ang="0">
                  <a:pos x="4" y="32"/>
                </a:cxn>
                <a:cxn ang="0">
                  <a:pos x="4" y="29"/>
                </a:cxn>
                <a:cxn ang="0">
                  <a:pos x="0" y="21"/>
                </a:cxn>
                <a:cxn ang="0">
                  <a:pos x="1" y="19"/>
                </a:cxn>
                <a:cxn ang="0">
                  <a:pos x="2" y="17"/>
                </a:cxn>
                <a:cxn ang="0">
                  <a:pos x="4" y="14"/>
                </a:cxn>
                <a:cxn ang="0">
                  <a:pos x="8" y="10"/>
                </a:cxn>
                <a:cxn ang="0">
                  <a:pos x="10" y="7"/>
                </a:cxn>
                <a:cxn ang="0">
                  <a:pos x="14" y="4"/>
                </a:cxn>
                <a:cxn ang="0">
                  <a:pos x="16" y="4"/>
                </a:cxn>
                <a:cxn ang="0">
                  <a:pos x="17" y="1"/>
                </a:cxn>
                <a:cxn ang="0">
                  <a:pos x="21" y="0"/>
                </a:cxn>
                <a:cxn ang="0">
                  <a:pos x="21" y="24"/>
                </a:cxn>
              </a:cxnLst>
              <a:rect l="0" t="0" r="r" b="b"/>
              <a:pathLst>
                <a:path w="21" h="32">
                  <a:moveTo>
                    <a:pt x="21" y="24"/>
                  </a:moveTo>
                  <a:lnTo>
                    <a:pt x="20" y="24"/>
                  </a:lnTo>
                  <a:lnTo>
                    <a:pt x="17" y="26"/>
                  </a:lnTo>
                  <a:lnTo>
                    <a:pt x="16" y="27"/>
                  </a:lnTo>
                  <a:lnTo>
                    <a:pt x="16" y="29"/>
                  </a:lnTo>
                  <a:lnTo>
                    <a:pt x="10" y="30"/>
                  </a:lnTo>
                  <a:lnTo>
                    <a:pt x="8" y="29"/>
                  </a:lnTo>
                  <a:lnTo>
                    <a:pt x="4" y="32"/>
                  </a:lnTo>
                  <a:lnTo>
                    <a:pt x="4" y="29"/>
                  </a:lnTo>
                  <a:lnTo>
                    <a:pt x="0" y="21"/>
                  </a:lnTo>
                  <a:lnTo>
                    <a:pt x="1" y="19"/>
                  </a:lnTo>
                  <a:lnTo>
                    <a:pt x="2" y="17"/>
                  </a:lnTo>
                  <a:lnTo>
                    <a:pt x="4" y="14"/>
                  </a:lnTo>
                  <a:lnTo>
                    <a:pt x="8" y="10"/>
                  </a:lnTo>
                  <a:lnTo>
                    <a:pt x="10" y="7"/>
                  </a:lnTo>
                  <a:lnTo>
                    <a:pt x="14" y="4"/>
                  </a:lnTo>
                  <a:lnTo>
                    <a:pt x="16" y="4"/>
                  </a:lnTo>
                  <a:lnTo>
                    <a:pt x="17" y="1"/>
                  </a:lnTo>
                  <a:lnTo>
                    <a:pt x="21" y="0"/>
                  </a:lnTo>
                  <a:lnTo>
                    <a:pt x="21" y="2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45" name="Freeform 344"/>
            <p:cNvSpPr>
              <a:spLocks/>
            </p:cNvSpPr>
            <p:nvPr/>
          </p:nvSpPr>
          <p:spPr bwMode="auto">
            <a:xfrm>
              <a:off x="8447774" y="1737201"/>
              <a:ext cx="19312" cy="32452"/>
            </a:xfrm>
            <a:custGeom>
              <a:avLst/>
              <a:gdLst/>
              <a:ahLst/>
              <a:cxnLst>
                <a:cxn ang="0">
                  <a:pos x="21" y="24"/>
                </a:cxn>
                <a:cxn ang="0">
                  <a:pos x="20" y="24"/>
                </a:cxn>
                <a:cxn ang="0">
                  <a:pos x="17" y="26"/>
                </a:cxn>
                <a:cxn ang="0">
                  <a:pos x="16" y="27"/>
                </a:cxn>
                <a:cxn ang="0">
                  <a:pos x="16" y="29"/>
                </a:cxn>
                <a:cxn ang="0">
                  <a:pos x="10" y="30"/>
                </a:cxn>
                <a:cxn ang="0">
                  <a:pos x="8" y="29"/>
                </a:cxn>
                <a:cxn ang="0">
                  <a:pos x="4" y="32"/>
                </a:cxn>
                <a:cxn ang="0">
                  <a:pos x="4" y="29"/>
                </a:cxn>
                <a:cxn ang="0">
                  <a:pos x="0" y="21"/>
                </a:cxn>
                <a:cxn ang="0">
                  <a:pos x="1" y="19"/>
                </a:cxn>
                <a:cxn ang="0">
                  <a:pos x="2" y="17"/>
                </a:cxn>
                <a:cxn ang="0">
                  <a:pos x="4" y="14"/>
                </a:cxn>
                <a:cxn ang="0">
                  <a:pos x="8" y="10"/>
                </a:cxn>
                <a:cxn ang="0">
                  <a:pos x="10" y="7"/>
                </a:cxn>
                <a:cxn ang="0">
                  <a:pos x="14" y="4"/>
                </a:cxn>
                <a:cxn ang="0">
                  <a:pos x="16" y="4"/>
                </a:cxn>
                <a:cxn ang="0">
                  <a:pos x="17" y="1"/>
                </a:cxn>
                <a:cxn ang="0">
                  <a:pos x="21" y="0"/>
                </a:cxn>
                <a:cxn ang="0">
                  <a:pos x="21" y="24"/>
                </a:cxn>
              </a:cxnLst>
              <a:rect l="0" t="0" r="r" b="b"/>
              <a:pathLst>
                <a:path w="21" h="32">
                  <a:moveTo>
                    <a:pt x="21" y="24"/>
                  </a:moveTo>
                  <a:lnTo>
                    <a:pt x="20" y="24"/>
                  </a:lnTo>
                  <a:lnTo>
                    <a:pt x="17" y="26"/>
                  </a:lnTo>
                  <a:lnTo>
                    <a:pt x="16" y="27"/>
                  </a:lnTo>
                  <a:lnTo>
                    <a:pt x="16" y="29"/>
                  </a:lnTo>
                  <a:lnTo>
                    <a:pt x="10" y="30"/>
                  </a:lnTo>
                  <a:lnTo>
                    <a:pt x="8" y="29"/>
                  </a:lnTo>
                  <a:lnTo>
                    <a:pt x="4" y="32"/>
                  </a:lnTo>
                  <a:lnTo>
                    <a:pt x="4" y="29"/>
                  </a:lnTo>
                  <a:lnTo>
                    <a:pt x="0" y="21"/>
                  </a:lnTo>
                  <a:lnTo>
                    <a:pt x="1" y="19"/>
                  </a:lnTo>
                  <a:lnTo>
                    <a:pt x="2" y="17"/>
                  </a:lnTo>
                  <a:lnTo>
                    <a:pt x="4" y="14"/>
                  </a:lnTo>
                  <a:lnTo>
                    <a:pt x="8" y="10"/>
                  </a:lnTo>
                  <a:lnTo>
                    <a:pt x="10" y="7"/>
                  </a:lnTo>
                  <a:lnTo>
                    <a:pt x="14" y="4"/>
                  </a:lnTo>
                  <a:lnTo>
                    <a:pt x="16" y="4"/>
                  </a:lnTo>
                  <a:lnTo>
                    <a:pt x="17" y="1"/>
                  </a:lnTo>
                  <a:lnTo>
                    <a:pt x="21" y="0"/>
                  </a:lnTo>
                  <a:lnTo>
                    <a:pt x="21" y="2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46" name="Freeform 345"/>
            <p:cNvSpPr>
              <a:spLocks/>
            </p:cNvSpPr>
            <p:nvPr/>
          </p:nvSpPr>
          <p:spPr bwMode="auto">
            <a:xfrm>
              <a:off x="5884597" y="1274756"/>
              <a:ext cx="4389" cy="16226"/>
            </a:xfrm>
            <a:custGeom>
              <a:avLst/>
              <a:gdLst/>
              <a:ahLst/>
              <a:cxnLst>
                <a:cxn ang="0">
                  <a:pos x="3" y="2"/>
                </a:cxn>
                <a:cxn ang="0">
                  <a:pos x="4" y="0"/>
                </a:cxn>
                <a:cxn ang="0">
                  <a:pos x="5" y="6"/>
                </a:cxn>
                <a:cxn ang="0">
                  <a:pos x="5" y="9"/>
                </a:cxn>
                <a:cxn ang="0">
                  <a:pos x="4" y="9"/>
                </a:cxn>
                <a:cxn ang="0">
                  <a:pos x="5" y="12"/>
                </a:cxn>
                <a:cxn ang="0">
                  <a:pos x="4" y="15"/>
                </a:cxn>
                <a:cxn ang="0">
                  <a:pos x="3" y="14"/>
                </a:cxn>
                <a:cxn ang="0">
                  <a:pos x="1" y="16"/>
                </a:cxn>
                <a:cxn ang="0">
                  <a:pos x="0" y="16"/>
                </a:cxn>
                <a:cxn ang="0">
                  <a:pos x="0" y="8"/>
                </a:cxn>
                <a:cxn ang="0">
                  <a:pos x="3" y="2"/>
                </a:cxn>
              </a:cxnLst>
              <a:rect l="0" t="0" r="r" b="b"/>
              <a:pathLst>
                <a:path w="5" h="16">
                  <a:moveTo>
                    <a:pt x="3" y="2"/>
                  </a:moveTo>
                  <a:lnTo>
                    <a:pt x="4" y="0"/>
                  </a:lnTo>
                  <a:lnTo>
                    <a:pt x="5" y="6"/>
                  </a:lnTo>
                  <a:lnTo>
                    <a:pt x="5" y="9"/>
                  </a:lnTo>
                  <a:lnTo>
                    <a:pt x="4" y="9"/>
                  </a:lnTo>
                  <a:lnTo>
                    <a:pt x="5" y="12"/>
                  </a:lnTo>
                  <a:lnTo>
                    <a:pt x="4" y="15"/>
                  </a:lnTo>
                  <a:lnTo>
                    <a:pt x="3" y="14"/>
                  </a:lnTo>
                  <a:lnTo>
                    <a:pt x="1" y="16"/>
                  </a:lnTo>
                  <a:lnTo>
                    <a:pt x="0" y="16"/>
                  </a:lnTo>
                  <a:lnTo>
                    <a:pt x="0" y="8"/>
                  </a:lnTo>
                  <a:lnTo>
                    <a:pt x="3"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47" name="Freeform 346"/>
            <p:cNvSpPr>
              <a:spLocks/>
            </p:cNvSpPr>
            <p:nvPr/>
          </p:nvSpPr>
          <p:spPr bwMode="auto">
            <a:xfrm>
              <a:off x="5884597" y="1274756"/>
              <a:ext cx="4389" cy="16226"/>
            </a:xfrm>
            <a:custGeom>
              <a:avLst/>
              <a:gdLst/>
              <a:ahLst/>
              <a:cxnLst>
                <a:cxn ang="0">
                  <a:pos x="3" y="2"/>
                </a:cxn>
                <a:cxn ang="0">
                  <a:pos x="4" y="0"/>
                </a:cxn>
                <a:cxn ang="0">
                  <a:pos x="5" y="6"/>
                </a:cxn>
                <a:cxn ang="0">
                  <a:pos x="5" y="9"/>
                </a:cxn>
                <a:cxn ang="0">
                  <a:pos x="4" y="9"/>
                </a:cxn>
                <a:cxn ang="0">
                  <a:pos x="5" y="12"/>
                </a:cxn>
                <a:cxn ang="0">
                  <a:pos x="4" y="15"/>
                </a:cxn>
                <a:cxn ang="0">
                  <a:pos x="3" y="14"/>
                </a:cxn>
                <a:cxn ang="0">
                  <a:pos x="1" y="16"/>
                </a:cxn>
                <a:cxn ang="0">
                  <a:pos x="0" y="16"/>
                </a:cxn>
                <a:cxn ang="0">
                  <a:pos x="0" y="8"/>
                </a:cxn>
                <a:cxn ang="0">
                  <a:pos x="3" y="2"/>
                </a:cxn>
              </a:cxnLst>
              <a:rect l="0" t="0" r="r" b="b"/>
              <a:pathLst>
                <a:path w="5" h="16">
                  <a:moveTo>
                    <a:pt x="3" y="2"/>
                  </a:moveTo>
                  <a:lnTo>
                    <a:pt x="4" y="0"/>
                  </a:lnTo>
                  <a:lnTo>
                    <a:pt x="5" y="6"/>
                  </a:lnTo>
                  <a:lnTo>
                    <a:pt x="5" y="9"/>
                  </a:lnTo>
                  <a:lnTo>
                    <a:pt x="4" y="9"/>
                  </a:lnTo>
                  <a:lnTo>
                    <a:pt x="5" y="12"/>
                  </a:lnTo>
                  <a:lnTo>
                    <a:pt x="4" y="15"/>
                  </a:lnTo>
                  <a:lnTo>
                    <a:pt x="3" y="14"/>
                  </a:lnTo>
                  <a:lnTo>
                    <a:pt x="1" y="16"/>
                  </a:lnTo>
                  <a:lnTo>
                    <a:pt x="0" y="16"/>
                  </a:lnTo>
                  <a:lnTo>
                    <a:pt x="0" y="8"/>
                  </a:lnTo>
                  <a:lnTo>
                    <a:pt x="3"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48" name="Freeform 347"/>
            <p:cNvSpPr>
              <a:spLocks/>
            </p:cNvSpPr>
            <p:nvPr/>
          </p:nvSpPr>
          <p:spPr bwMode="auto">
            <a:xfrm>
              <a:off x="5882841" y="1373127"/>
              <a:ext cx="6144" cy="18254"/>
            </a:xfrm>
            <a:custGeom>
              <a:avLst/>
              <a:gdLst/>
              <a:ahLst/>
              <a:cxnLst>
                <a:cxn ang="0">
                  <a:pos x="5" y="0"/>
                </a:cxn>
                <a:cxn ang="0">
                  <a:pos x="6" y="0"/>
                </a:cxn>
                <a:cxn ang="0">
                  <a:pos x="7" y="4"/>
                </a:cxn>
                <a:cxn ang="0">
                  <a:pos x="7" y="13"/>
                </a:cxn>
                <a:cxn ang="0">
                  <a:pos x="5" y="16"/>
                </a:cxn>
                <a:cxn ang="0">
                  <a:pos x="0" y="17"/>
                </a:cxn>
                <a:cxn ang="0">
                  <a:pos x="0" y="12"/>
                </a:cxn>
                <a:cxn ang="0">
                  <a:pos x="3" y="1"/>
                </a:cxn>
                <a:cxn ang="0">
                  <a:pos x="5" y="0"/>
                </a:cxn>
              </a:cxnLst>
              <a:rect l="0" t="0" r="r" b="b"/>
              <a:pathLst>
                <a:path w="7" h="17">
                  <a:moveTo>
                    <a:pt x="5" y="0"/>
                  </a:moveTo>
                  <a:lnTo>
                    <a:pt x="6" y="0"/>
                  </a:lnTo>
                  <a:lnTo>
                    <a:pt x="7" y="4"/>
                  </a:lnTo>
                  <a:lnTo>
                    <a:pt x="7" y="13"/>
                  </a:lnTo>
                  <a:lnTo>
                    <a:pt x="5" y="16"/>
                  </a:lnTo>
                  <a:lnTo>
                    <a:pt x="0" y="17"/>
                  </a:lnTo>
                  <a:lnTo>
                    <a:pt x="0" y="12"/>
                  </a:lnTo>
                  <a:lnTo>
                    <a:pt x="3" y="1"/>
                  </a:lnTo>
                  <a:lnTo>
                    <a:pt x="5"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49" name="Freeform 348"/>
            <p:cNvSpPr>
              <a:spLocks/>
            </p:cNvSpPr>
            <p:nvPr/>
          </p:nvSpPr>
          <p:spPr bwMode="auto">
            <a:xfrm>
              <a:off x="5882841" y="1373127"/>
              <a:ext cx="6144" cy="18254"/>
            </a:xfrm>
            <a:custGeom>
              <a:avLst/>
              <a:gdLst/>
              <a:ahLst/>
              <a:cxnLst>
                <a:cxn ang="0">
                  <a:pos x="5" y="0"/>
                </a:cxn>
                <a:cxn ang="0">
                  <a:pos x="6" y="0"/>
                </a:cxn>
                <a:cxn ang="0">
                  <a:pos x="7" y="4"/>
                </a:cxn>
                <a:cxn ang="0">
                  <a:pos x="7" y="13"/>
                </a:cxn>
                <a:cxn ang="0">
                  <a:pos x="5" y="16"/>
                </a:cxn>
                <a:cxn ang="0">
                  <a:pos x="0" y="17"/>
                </a:cxn>
                <a:cxn ang="0">
                  <a:pos x="0" y="12"/>
                </a:cxn>
                <a:cxn ang="0">
                  <a:pos x="3" y="1"/>
                </a:cxn>
                <a:cxn ang="0">
                  <a:pos x="5" y="0"/>
                </a:cxn>
              </a:cxnLst>
              <a:rect l="0" t="0" r="r" b="b"/>
              <a:pathLst>
                <a:path w="7" h="17">
                  <a:moveTo>
                    <a:pt x="5" y="0"/>
                  </a:moveTo>
                  <a:lnTo>
                    <a:pt x="6" y="0"/>
                  </a:lnTo>
                  <a:lnTo>
                    <a:pt x="7" y="4"/>
                  </a:lnTo>
                  <a:lnTo>
                    <a:pt x="7" y="13"/>
                  </a:lnTo>
                  <a:lnTo>
                    <a:pt x="5" y="16"/>
                  </a:lnTo>
                  <a:lnTo>
                    <a:pt x="0" y="17"/>
                  </a:lnTo>
                  <a:lnTo>
                    <a:pt x="0" y="12"/>
                  </a:lnTo>
                  <a:lnTo>
                    <a:pt x="3" y="1"/>
                  </a:lnTo>
                  <a:lnTo>
                    <a:pt x="5"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50" name="Freeform 349"/>
            <p:cNvSpPr>
              <a:spLocks/>
            </p:cNvSpPr>
            <p:nvPr/>
          </p:nvSpPr>
          <p:spPr bwMode="auto">
            <a:xfrm>
              <a:off x="5402684" y="1790950"/>
              <a:ext cx="40380" cy="45636"/>
            </a:xfrm>
            <a:custGeom>
              <a:avLst/>
              <a:gdLst/>
              <a:ahLst/>
              <a:cxnLst>
                <a:cxn ang="0">
                  <a:pos x="9" y="0"/>
                </a:cxn>
                <a:cxn ang="0">
                  <a:pos x="13" y="3"/>
                </a:cxn>
                <a:cxn ang="0">
                  <a:pos x="19" y="4"/>
                </a:cxn>
                <a:cxn ang="0">
                  <a:pos x="25" y="7"/>
                </a:cxn>
                <a:cxn ang="0">
                  <a:pos x="33" y="20"/>
                </a:cxn>
                <a:cxn ang="0">
                  <a:pos x="39" y="23"/>
                </a:cxn>
                <a:cxn ang="0">
                  <a:pos x="44" y="26"/>
                </a:cxn>
                <a:cxn ang="0">
                  <a:pos x="42" y="33"/>
                </a:cxn>
                <a:cxn ang="0">
                  <a:pos x="39" y="38"/>
                </a:cxn>
                <a:cxn ang="0">
                  <a:pos x="19" y="44"/>
                </a:cxn>
                <a:cxn ang="0">
                  <a:pos x="16" y="44"/>
                </a:cxn>
                <a:cxn ang="0">
                  <a:pos x="12" y="39"/>
                </a:cxn>
                <a:cxn ang="0">
                  <a:pos x="12" y="38"/>
                </a:cxn>
                <a:cxn ang="0">
                  <a:pos x="15" y="36"/>
                </a:cxn>
                <a:cxn ang="0">
                  <a:pos x="17" y="38"/>
                </a:cxn>
                <a:cxn ang="0">
                  <a:pos x="20" y="36"/>
                </a:cxn>
                <a:cxn ang="0">
                  <a:pos x="20" y="35"/>
                </a:cxn>
                <a:cxn ang="0">
                  <a:pos x="19" y="36"/>
                </a:cxn>
                <a:cxn ang="0">
                  <a:pos x="17" y="33"/>
                </a:cxn>
                <a:cxn ang="0">
                  <a:pos x="15" y="33"/>
                </a:cxn>
                <a:cxn ang="0">
                  <a:pos x="15" y="31"/>
                </a:cxn>
                <a:cxn ang="0">
                  <a:pos x="12" y="33"/>
                </a:cxn>
                <a:cxn ang="0">
                  <a:pos x="6" y="33"/>
                </a:cxn>
                <a:cxn ang="0">
                  <a:pos x="1" y="31"/>
                </a:cxn>
                <a:cxn ang="0">
                  <a:pos x="1" y="28"/>
                </a:cxn>
                <a:cxn ang="0">
                  <a:pos x="3" y="26"/>
                </a:cxn>
                <a:cxn ang="0">
                  <a:pos x="9" y="28"/>
                </a:cxn>
                <a:cxn ang="0">
                  <a:pos x="0" y="20"/>
                </a:cxn>
                <a:cxn ang="0">
                  <a:pos x="1" y="19"/>
                </a:cxn>
                <a:cxn ang="0">
                  <a:pos x="10" y="19"/>
                </a:cxn>
                <a:cxn ang="0">
                  <a:pos x="6" y="16"/>
                </a:cxn>
                <a:cxn ang="0">
                  <a:pos x="3" y="9"/>
                </a:cxn>
                <a:cxn ang="0">
                  <a:pos x="3" y="4"/>
                </a:cxn>
                <a:cxn ang="0">
                  <a:pos x="9" y="0"/>
                </a:cxn>
              </a:cxnLst>
              <a:rect l="0" t="0" r="r" b="b"/>
              <a:pathLst>
                <a:path w="44" h="44">
                  <a:moveTo>
                    <a:pt x="9" y="0"/>
                  </a:moveTo>
                  <a:lnTo>
                    <a:pt x="13" y="3"/>
                  </a:lnTo>
                  <a:lnTo>
                    <a:pt x="19" y="4"/>
                  </a:lnTo>
                  <a:lnTo>
                    <a:pt x="25" y="7"/>
                  </a:lnTo>
                  <a:lnTo>
                    <a:pt x="33" y="20"/>
                  </a:lnTo>
                  <a:lnTo>
                    <a:pt x="39" y="23"/>
                  </a:lnTo>
                  <a:lnTo>
                    <a:pt x="44" y="26"/>
                  </a:lnTo>
                  <a:lnTo>
                    <a:pt x="42" y="33"/>
                  </a:lnTo>
                  <a:lnTo>
                    <a:pt x="39" y="38"/>
                  </a:lnTo>
                  <a:lnTo>
                    <a:pt x="19" y="44"/>
                  </a:lnTo>
                  <a:lnTo>
                    <a:pt x="16" y="44"/>
                  </a:lnTo>
                  <a:lnTo>
                    <a:pt x="12" y="39"/>
                  </a:lnTo>
                  <a:lnTo>
                    <a:pt x="12" y="38"/>
                  </a:lnTo>
                  <a:lnTo>
                    <a:pt x="15" y="36"/>
                  </a:lnTo>
                  <a:lnTo>
                    <a:pt x="17" y="38"/>
                  </a:lnTo>
                  <a:lnTo>
                    <a:pt x="20" y="36"/>
                  </a:lnTo>
                  <a:lnTo>
                    <a:pt x="20" y="35"/>
                  </a:lnTo>
                  <a:lnTo>
                    <a:pt x="19" y="36"/>
                  </a:lnTo>
                  <a:lnTo>
                    <a:pt x="17" y="33"/>
                  </a:lnTo>
                  <a:lnTo>
                    <a:pt x="15" y="33"/>
                  </a:lnTo>
                  <a:lnTo>
                    <a:pt x="15" y="31"/>
                  </a:lnTo>
                  <a:lnTo>
                    <a:pt x="12" y="33"/>
                  </a:lnTo>
                  <a:lnTo>
                    <a:pt x="6" y="33"/>
                  </a:lnTo>
                  <a:lnTo>
                    <a:pt x="1" y="31"/>
                  </a:lnTo>
                  <a:lnTo>
                    <a:pt x="1" y="28"/>
                  </a:lnTo>
                  <a:lnTo>
                    <a:pt x="3" y="26"/>
                  </a:lnTo>
                  <a:lnTo>
                    <a:pt x="9" y="28"/>
                  </a:lnTo>
                  <a:lnTo>
                    <a:pt x="0" y="20"/>
                  </a:lnTo>
                  <a:lnTo>
                    <a:pt x="1" y="19"/>
                  </a:lnTo>
                  <a:lnTo>
                    <a:pt x="10" y="19"/>
                  </a:lnTo>
                  <a:lnTo>
                    <a:pt x="6" y="16"/>
                  </a:lnTo>
                  <a:lnTo>
                    <a:pt x="3" y="9"/>
                  </a:lnTo>
                  <a:lnTo>
                    <a:pt x="3" y="4"/>
                  </a:lnTo>
                  <a:lnTo>
                    <a:pt x="9"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51" name="Freeform 350"/>
            <p:cNvSpPr>
              <a:spLocks/>
            </p:cNvSpPr>
            <p:nvPr/>
          </p:nvSpPr>
          <p:spPr bwMode="auto">
            <a:xfrm>
              <a:off x="5402684" y="1790950"/>
              <a:ext cx="40380" cy="45636"/>
            </a:xfrm>
            <a:custGeom>
              <a:avLst/>
              <a:gdLst/>
              <a:ahLst/>
              <a:cxnLst>
                <a:cxn ang="0">
                  <a:pos x="9" y="0"/>
                </a:cxn>
                <a:cxn ang="0">
                  <a:pos x="13" y="3"/>
                </a:cxn>
                <a:cxn ang="0">
                  <a:pos x="19" y="4"/>
                </a:cxn>
                <a:cxn ang="0">
                  <a:pos x="25" y="7"/>
                </a:cxn>
                <a:cxn ang="0">
                  <a:pos x="33" y="20"/>
                </a:cxn>
                <a:cxn ang="0">
                  <a:pos x="39" y="23"/>
                </a:cxn>
                <a:cxn ang="0">
                  <a:pos x="44" y="26"/>
                </a:cxn>
                <a:cxn ang="0">
                  <a:pos x="42" y="33"/>
                </a:cxn>
                <a:cxn ang="0">
                  <a:pos x="39" y="38"/>
                </a:cxn>
                <a:cxn ang="0">
                  <a:pos x="19" y="44"/>
                </a:cxn>
                <a:cxn ang="0">
                  <a:pos x="16" y="44"/>
                </a:cxn>
                <a:cxn ang="0">
                  <a:pos x="12" y="39"/>
                </a:cxn>
                <a:cxn ang="0">
                  <a:pos x="12" y="38"/>
                </a:cxn>
                <a:cxn ang="0">
                  <a:pos x="15" y="36"/>
                </a:cxn>
                <a:cxn ang="0">
                  <a:pos x="17" y="38"/>
                </a:cxn>
                <a:cxn ang="0">
                  <a:pos x="20" y="36"/>
                </a:cxn>
                <a:cxn ang="0">
                  <a:pos x="20" y="35"/>
                </a:cxn>
                <a:cxn ang="0">
                  <a:pos x="19" y="36"/>
                </a:cxn>
                <a:cxn ang="0">
                  <a:pos x="17" y="33"/>
                </a:cxn>
                <a:cxn ang="0">
                  <a:pos x="15" y="33"/>
                </a:cxn>
                <a:cxn ang="0">
                  <a:pos x="15" y="31"/>
                </a:cxn>
                <a:cxn ang="0">
                  <a:pos x="12" y="33"/>
                </a:cxn>
                <a:cxn ang="0">
                  <a:pos x="6" y="33"/>
                </a:cxn>
                <a:cxn ang="0">
                  <a:pos x="1" y="31"/>
                </a:cxn>
                <a:cxn ang="0">
                  <a:pos x="1" y="28"/>
                </a:cxn>
                <a:cxn ang="0">
                  <a:pos x="3" y="26"/>
                </a:cxn>
                <a:cxn ang="0">
                  <a:pos x="9" y="28"/>
                </a:cxn>
                <a:cxn ang="0">
                  <a:pos x="0" y="20"/>
                </a:cxn>
                <a:cxn ang="0">
                  <a:pos x="1" y="19"/>
                </a:cxn>
                <a:cxn ang="0">
                  <a:pos x="10" y="19"/>
                </a:cxn>
                <a:cxn ang="0">
                  <a:pos x="6" y="16"/>
                </a:cxn>
                <a:cxn ang="0">
                  <a:pos x="3" y="9"/>
                </a:cxn>
                <a:cxn ang="0">
                  <a:pos x="3" y="4"/>
                </a:cxn>
                <a:cxn ang="0">
                  <a:pos x="9" y="0"/>
                </a:cxn>
              </a:cxnLst>
              <a:rect l="0" t="0" r="r" b="b"/>
              <a:pathLst>
                <a:path w="44" h="44">
                  <a:moveTo>
                    <a:pt x="9" y="0"/>
                  </a:moveTo>
                  <a:lnTo>
                    <a:pt x="13" y="3"/>
                  </a:lnTo>
                  <a:lnTo>
                    <a:pt x="19" y="4"/>
                  </a:lnTo>
                  <a:lnTo>
                    <a:pt x="25" y="7"/>
                  </a:lnTo>
                  <a:lnTo>
                    <a:pt x="33" y="20"/>
                  </a:lnTo>
                  <a:lnTo>
                    <a:pt x="39" y="23"/>
                  </a:lnTo>
                  <a:lnTo>
                    <a:pt x="44" y="26"/>
                  </a:lnTo>
                  <a:lnTo>
                    <a:pt x="42" y="33"/>
                  </a:lnTo>
                  <a:lnTo>
                    <a:pt x="39" y="38"/>
                  </a:lnTo>
                  <a:lnTo>
                    <a:pt x="19" y="44"/>
                  </a:lnTo>
                  <a:lnTo>
                    <a:pt x="16" y="44"/>
                  </a:lnTo>
                  <a:lnTo>
                    <a:pt x="12" y="39"/>
                  </a:lnTo>
                  <a:lnTo>
                    <a:pt x="12" y="38"/>
                  </a:lnTo>
                  <a:lnTo>
                    <a:pt x="15" y="36"/>
                  </a:lnTo>
                  <a:lnTo>
                    <a:pt x="17" y="38"/>
                  </a:lnTo>
                  <a:lnTo>
                    <a:pt x="20" y="36"/>
                  </a:lnTo>
                  <a:lnTo>
                    <a:pt x="20" y="35"/>
                  </a:lnTo>
                  <a:lnTo>
                    <a:pt x="19" y="36"/>
                  </a:lnTo>
                  <a:lnTo>
                    <a:pt x="17" y="33"/>
                  </a:lnTo>
                  <a:lnTo>
                    <a:pt x="15" y="33"/>
                  </a:lnTo>
                  <a:lnTo>
                    <a:pt x="15" y="31"/>
                  </a:lnTo>
                  <a:lnTo>
                    <a:pt x="12" y="33"/>
                  </a:lnTo>
                  <a:lnTo>
                    <a:pt x="6" y="33"/>
                  </a:lnTo>
                  <a:lnTo>
                    <a:pt x="1" y="31"/>
                  </a:lnTo>
                  <a:lnTo>
                    <a:pt x="1" y="28"/>
                  </a:lnTo>
                  <a:lnTo>
                    <a:pt x="3" y="26"/>
                  </a:lnTo>
                  <a:lnTo>
                    <a:pt x="9" y="28"/>
                  </a:lnTo>
                  <a:lnTo>
                    <a:pt x="0" y="20"/>
                  </a:lnTo>
                  <a:lnTo>
                    <a:pt x="1" y="19"/>
                  </a:lnTo>
                  <a:lnTo>
                    <a:pt x="10" y="19"/>
                  </a:lnTo>
                  <a:lnTo>
                    <a:pt x="6" y="16"/>
                  </a:lnTo>
                  <a:lnTo>
                    <a:pt x="3" y="9"/>
                  </a:lnTo>
                  <a:lnTo>
                    <a:pt x="3" y="4"/>
                  </a:lnTo>
                  <a:lnTo>
                    <a:pt x="9"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52" name="Freeform 351"/>
            <p:cNvSpPr>
              <a:spLocks/>
            </p:cNvSpPr>
            <p:nvPr/>
          </p:nvSpPr>
          <p:spPr bwMode="auto">
            <a:xfrm>
              <a:off x="5869674" y="1453244"/>
              <a:ext cx="5267" cy="48678"/>
            </a:xfrm>
            <a:custGeom>
              <a:avLst/>
              <a:gdLst/>
              <a:ahLst/>
              <a:cxnLst>
                <a:cxn ang="0">
                  <a:pos x="4" y="13"/>
                </a:cxn>
                <a:cxn ang="0">
                  <a:pos x="5" y="46"/>
                </a:cxn>
                <a:cxn ang="0">
                  <a:pos x="0" y="10"/>
                </a:cxn>
                <a:cxn ang="0">
                  <a:pos x="4" y="9"/>
                </a:cxn>
                <a:cxn ang="0">
                  <a:pos x="1" y="7"/>
                </a:cxn>
                <a:cxn ang="0">
                  <a:pos x="1" y="0"/>
                </a:cxn>
                <a:cxn ang="0">
                  <a:pos x="4" y="9"/>
                </a:cxn>
                <a:cxn ang="0">
                  <a:pos x="4" y="13"/>
                </a:cxn>
              </a:cxnLst>
              <a:rect l="0" t="0" r="r" b="b"/>
              <a:pathLst>
                <a:path w="5" h="46">
                  <a:moveTo>
                    <a:pt x="4" y="13"/>
                  </a:moveTo>
                  <a:lnTo>
                    <a:pt x="5" y="46"/>
                  </a:lnTo>
                  <a:lnTo>
                    <a:pt x="0" y="10"/>
                  </a:lnTo>
                  <a:lnTo>
                    <a:pt x="4" y="9"/>
                  </a:lnTo>
                  <a:lnTo>
                    <a:pt x="1" y="7"/>
                  </a:lnTo>
                  <a:lnTo>
                    <a:pt x="1" y="0"/>
                  </a:lnTo>
                  <a:lnTo>
                    <a:pt x="4" y="9"/>
                  </a:lnTo>
                  <a:lnTo>
                    <a:pt x="4" y="1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53" name="Freeform 352"/>
            <p:cNvSpPr>
              <a:spLocks/>
            </p:cNvSpPr>
            <p:nvPr/>
          </p:nvSpPr>
          <p:spPr bwMode="auto">
            <a:xfrm>
              <a:off x="5869674" y="1453244"/>
              <a:ext cx="5267" cy="48678"/>
            </a:xfrm>
            <a:custGeom>
              <a:avLst/>
              <a:gdLst/>
              <a:ahLst/>
              <a:cxnLst>
                <a:cxn ang="0">
                  <a:pos x="4" y="13"/>
                </a:cxn>
                <a:cxn ang="0">
                  <a:pos x="5" y="46"/>
                </a:cxn>
                <a:cxn ang="0">
                  <a:pos x="0" y="10"/>
                </a:cxn>
                <a:cxn ang="0">
                  <a:pos x="4" y="9"/>
                </a:cxn>
                <a:cxn ang="0">
                  <a:pos x="1" y="7"/>
                </a:cxn>
                <a:cxn ang="0">
                  <a:pos x="1" y="0"/>
                </a:cxn>
                <a:cxn ang="0">
                  <a:pos x="4" y="9"/>
                </a:cxn>
                <a:cxn ang="0">
                  <a:pos x="4" y="13"/>
                </a:cxn>
              </a:cxnLst>
              <a:rect l="0" t="0" r="r" b="b"/>
              <a:pathLst>
                <a:path w="5" h="46">
                  <a:moveTo>
                    <a:pt x="4" y="13"/>
                  </a:moveTo>
                  <a:lnTo>
                    <a:pt x="5" y="46"/>
                  </a:lnTo>
                  <a:lnTo>
                    <a:pt x="0" y="10"/>
                  </a:lnTo>
                  <a:lnTo>
                    <a:pt x="4" y="9"/>
                  </a:lnTo>
                  <a:lnTo>
                    <a:pt x="1" y="7"/>
                  </a:lnTo>
                  <a:lnTo>
                    <a:pt x="1" y="0"/>
                  </a:lnTo>
                  <a:lnTo>
                    <a:pt x="4" y="9"/>
                  </a:lnTo>
                  <a:lnTo>
                    <a:pt x="4" y="1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54" name="Freeform 353"/>
            <p:cNvSpPr>
              <a:spLocks/>
            </p:cNvSpPr>
            <p:nvPr/>
          </p:nvSpPr>
          <p:spPr bwMode="auto">
            <a:xfrm>
              <a:off x="5873184" y="1534375"/>
              <a:ext cx="17556" cy="28396"/>
            </a:xfrm>
            <a:custGeom>
              <a:avLst/>
              <a:gdLst/>
              <a:ahLst/>
              <a:cxnLst>
                <a:cxn ang="0">
                  <a:pos x="13" y="5"/>
                </a:cxn>
                <a:cxn ang="0">
                  <a:pos x="13" y="6"/>
                </a:cxn>
                <a:cxn ang="0">
                  <a:pos x="10" y="9"/>
                </a:cxn>
                <a:cxn ang="0">
                  <a:pos x="10" y="11"/>
                </a:cxn>
                <a:cxn ang="0">
                  <a:pos x="10" y="13"/>
                </a:cxn>
                <a:cxn ang="0">
                  <a:pos x="13" y="18"/>
                </a:cxn>
                <a:cxn ang="0">
                  <a:pos x="16" y="18"/>
                </a:cxn>
                <a:cxn ang="0">
                  <a:pos x="17" y="15"/>
                </a:cxn>
                <a:cxn ang="0">
                  <a:pos x="20" y="15"/>
                </a:cxn>
                <a:cxn ang="0">
                  <a:pos x="20" y="19"/>
                </a:cxn>
                <a:cxn ang="0">
                  <a:pos x="18" y="22"/>
                </a:cxn>
                <a:cxn ang="0">
                  <a:pos x="17" y="27"/>
                </a:cxn>
                <a:cxn ang="0">
                  <a:pos x="13" y="22"/>
                </a:cxn>
                <a:cxn ang="0">
                  <a:pos x="5" y="24"/>
                </a:cxn>
                <a:cxn ang="0">
                  <a:pos x="2" y="22"/>
                </a:cxn>
                <a:cxn ang="0">
                  <a:pos x="0" y="24"/>
                </a:cxn>
                <a:cxn ang="0">
                  <a:pos x="0" y="9"/>
                </a:cxn>
                <a:cxn ang="0">
                  <a:pos x="0" y="6"/>
                </a:cxn>
                <a:cxn ang="0">
                  <a:pos x="0" y="5"/>
                </a:cxn>
                <a:cxn ang="0">
                  <a:pos x="4" y="3"/>
                </a:cxn>
                <a:cxn ang="0">
                  <a:pos x="5" y="5"/>
                </a:cxn>
                <a:cxn ang="0">
                  <a:pos x="8" y="5"/>
                </a:cxn>
                <a:cxn ang="0">
                  <a:pos x="10" y="0"/>
                </a:cxn>
                <a:cxn ang="0">
                  <a:pos x="11" y="0"/>
                </a:cxn>
                <a:cxn ang="0">
                  <a:pos x="13" y="5"/>
                </a:cxn>
              </a:cxnLst>
              <a:rect l="0" t="0" r="r" b="b"/>
              <a:pathLst>
                <a:path w="20" h="27">
                  <a:moveTo>
                    <a:pt x="13" y="5"/>
                  </a:moveTo>
                  <a:lnTo>
                    <a:pt x="13" y="6"/>
                  </a:lnTo>
                  <a:lnTo>
                    <a:pt x="10" y="9"/>
                  </a:lnTo>
                  <a:lnTo>
                    <a:pt x="10" y="11"/>
                  </a:lnTo>
                  <a:lnTo>
                    <a:pt x="10" y="13"/>
                  </a:lnTo>
                  <a:lnTo>
                    <a:pt x="13" y="18"/>
                  </a:lnTo>
                  <a:lnTo>
                    <a:pt x="16" y="18"/>
                  </a:lnTo>
                  <a:lnTo>
                    <a:pt x="17" y="15"/>
                  </a:lnTo>
                  <a:lnTo>
                    <a:pt x="20" y="15"/>
                  </a:lnTo>
                  <a:lnTo>
                    <a:pt x="20" y="19"/>
                  </a:lnTo>
                  <a:lnTo>
                    <a:pt x="18" y="22"/>
                  </a:lnTo>
                  <a:lnTo>
                    <a:pt x="17" y="27"/>
                  </a:lnTo>
                  <a:lnTo>
                    <a:pt x="13" y="22"/>
                  </a:lnTo>
                  <a:lnTo>
                    <a:pt x="5" y="24"/>
                  </a:lnTo>
                  <a:lnTo>
                    <a:pt x="2" y="22"/>
                  </a:lnTo>
                  <a:lnTo>
                    <a:pt x="0" y="24"/>
                  </a:lnTo>
                  <a:lnTo>
                    <a:pt x="0" y="9"/>
                  </a:lnTo>
                  <a:lnTo>
                    <a:pt x="0" y="6"/>
                  </a:lnTo>
                  <a:lnTo>
                    <a:pt x="0" y="5"/>
                  </a:lnTo>
                  <a:lnTo>
                    <a:pt x="4" y="3"/>
                  </a:lnTo>
                  <a:lnTo>
                    <a:pt x="5" y="5"/>
                  </a:lnTo>
                  <a:lnTo>
                    <a:pt x="8" y="5"/>
                  </a:lnTo>
                  <a:lnTo>
                    <a:pt x="10" y="0"/>
                  </a:lnTo>
                  <a:lnTo>
                    <a:pt x="11" y="0"/>
                  </a:lnTo>
                  <a:lnTo>
                    <a:pt x="13" y="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55" name="Freeform 354"/>
            <p:cNvSpPr>
              <a:spLocks/>
            </p:cNvSpPr>
            <p:nvPr/>
          </p:nvSpPr>
          <p:spPr bwMode="auto">
            <a:xfrm>
              <a:off x="5873184" y="1534375"/>
              <a:ext cx="17556" cy="28396"/>
            </a:xfrm>
            <a:custGeom>
              <a:avLst/>
              <a:gdLst/>
              <a:ahLst/>
              <a:cxnLst>
                <a:cxn ang="0">
                  <a:pos x="13" y="5"/>
                </a:cxn>
                <a:cxn ang="0">
                  <a:pos x="13" y="6"/>
                </a:cxn>
                <a:cxn ang="0">
                  <a:pos x="10" y="9"/>
                </a:cxn>
                <a:cxn ang="0">
                  <a:pos x="10" y="11"/>
                </a:cxn>
                <a:cxn ang="0">
                  <a:pos x="10" y="13"/>
                </a:cxn>
                <a:cxn ang="0">
                  <a:pos x="13" y="18"/>
                </a:cxn>
                <a:cxn ang="0">
                  <a:pos x="16" y="18"/>
                </a:cxn>
                <a:cxn ang="0">
                  <a:pos x="17" y="15"/>
                </a:cxn>
                <a:cxn ang="0">
                  <a:pos x="20" y="15"/>
                </a:cxn>
                <a:cxn ang="0">
                  <a:pos x="20" y="19"/>
                </a:cxn>
                <a:cxn ang="0">
                  <a:pos x="18" y="22"/>
                </a:cxn>
                <a:cxn ang="0">
                  <a:pos x="17" y="27"/>
                </a:cxn>
                <a:cxn ang="0">
                  <a:pos x="13" y="22"/>
                </a:cxn>
                <a:cxn ang="0">
                  <a:pos x="5" y="24"/>
                </a:cxn>
                <a:cxn ang="0">
                  <a:pos x="2" y="22"/>
                </a:cxn>
                <a:cxn ang="0">
                  <a:pos x="0" y="24"/>
                </a:cxn>
                <a:cxn ang="0">
                  <a:pos x="0" y="9"/>
                </a:cxn>
                <a:cxn ang="0">
                  <a:pos x="0" y="6"/>
                </a:cxn>
                <a:cxn ang="0">
                  <a:pos x="0" y="5"/>
                </a:cxn>
                <a:cxn ang="0">
                  <a:pos x="4" y="3"/>
                </a:cxn>
                <a:cxn ang="0">
                  <a:pos x="5" y="5"/>
                </a:cxn>
                <a:cxn ang="0">
                  <a:pos x="8" y="5"/>
                </a:cxn>
                <a:cxn ang="0">
                  <a:pos x="10" y="0"/>
                </a:cxn>
                <a:cxn ang="0">
                  <a:pos x="11" y="0"/>
                </a:cxn>
                <a:cxn ang="0">
                  <a:pos x="13" y="5"/>
                </a:cxn>
              </a:cxnLst>
              <a:rect l="0" t="0" r="r" b="b"/>
              <a:pathLst>
                <a:path w="20" h="27">
                  <a:moveTo>
                    <a:pt x="13" y="5"/>
                  </a:moveTo>
                  <a:lnTo>
                    <a:pt x="13" y="6"/>
                  </a:lnTo>
                  <a:lnTo>
                    <a:pt x="10" y="9"/>
                  </a:lnTo>
                  <a:lnTo>
                    <a:pt x="10" y="11"/>
                  </a:lnTo>
                  <a:lnTo>
                    <a:pt x="10" y="13"/>
                  </a:lnTo>
                  <a:lnTo>
                    <a:pt x="13" y="18"/>
                  </a:lnTo>
                  <a:lnTo>
                    <a:pt x="16" y="18"/>
                  </a:lnTo>
                  <a:lnTo>
                    <a:pt x="17" y="15"/>
                  </a:lnTo>
                  <a:lnTo>
                    <a:pt x="20" y="15"/>
                  </a:lnTo>
                  <a:lnTo>
                    <a:pt x="20" y="19"/>
                  </a:lnTo>
                  <a:lnTo>
                    <a:pt x="18" y="22"/>
                  </a:lnTo>
                  <a:lnTo>
                    <a:pt x="17" y="27"/>
                  </a:lnTo>
                  <a:lnTo>
                    <a:pt x="13" y="22"/>
                  </a:lnTo>
                  <a:lnTo>
                    <a:pt x="5" y="24"/>
                  </a:lnTo>
                  <a:lnTo>
                    <a:pt x="2" y="22"/>
                  </a:lnTo>
                  <a:lnTo>
                    <a:pt x="0" y="24"/>
                  </a:lnTo>
                  <a:lnTo>
                    <a:pt x="0" y="9"/>
                  </a:lnTo>
                  <a:lnTo>
                    <a:pt x="0" y="6"/>
                  </a:lnTo>
                  <a:lnTo>
                    <a:pt x="0" y="5"/>
                  </a:lnTo>
                  <a:lnTo>
                    <a:pt x="4" y="3"/>
                  </a:lnTo>
                  <a:lnTo>
                    <a:pt x="5" y="5"/>
                  </a:lnTo>
                  <a:lnTo>
                    <a:pt x="8" y="5"/>
                  </a:lnTo>
                  <a:lnTo>
                    <a:pt x="10" y="0"/>
                  </a:lnTo>
                  <a:lnTo>
                    <a:pt x="11" y="0"/>
                  </a:lnTo>
                  <a:lnTo>
                    <a:pt x="13" y="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56" name="Freeform 355"/>
            <p:cNvSpPr>
              <a:spLocks/>
            </p:cNvSpPr>
            <p:nvPr/>
          </p:nvSpPr>
          <p:spPr bwMode="auto">
            <a:xfrm>
              <a:off x="5832807" y="1590151"/>
              <a:ext cx="22823" cy="17241"/>
            </a:xfrm>
            <a:custGeom>
              <a:avLst/>
              <a:gdLst/>
              <a:ahLst/>
              <a:cxnLst>
                <a:cxn ang="0">
                  <a:pos x="3" y="3"/>
                </a:cxn>
                <a:cxn ang="0">
                  <a:pos x="0" y="7"/>
                </a:cxn>
                <a:cxn ang="0">
                  <a:pos x="0" y="11"/>
                </a:cxn>
                <a:cxn ang="0">
                  <a:pos x="1" y="14"/>
                </a:cxn>
                <a:cxn ang="0">
                  <a:pos x="7" y="16"/>
                </a:cxn>
                <a:cxn ang="0">
                  <a:pos x="10" y="17"/>
                </a:cxn>
                <a:cxn ang="0">
                  <a:pos x="23" y="16"/>
                </a:cxn>
                <a:cxn ang="0">
                  <a:pos x="25" y="11"/>
                </a:cxn>
                <a:cxn ang="0">
                  <a:pos x="22" y="10"/>
                </a:cxn>
                <a:cxn ang="0">
                  <a:pos x="22" y="4"/>
                </a:cxn>
                <a:cxn ang="0">
                  <a:pos x="20" y="1"/>
                </a:cxn>
                <a:cxn ang="0">
                  <a:pos x="10" y="0"/>
                </a:cxn>
                <a:cxn ang="0">
                  <a:pos x="6" y="1"/>
                </a:cxn>
                <a:cxn ang="0">
                  <a:pos x="3" y="3"/>
                </a:cxn>
              </a:cxnLst>
              <a:rect l="0" t="0" r="r" b="b"/>
              <a:pathLst>
                <a:path w="25" h="17">
                  <a:moveTo>
                    <a:pt x="3" y="3"/>
                  </a:moveTo>
                  <a:lnTo>
                    <a:pt x="0" y="7"/>
                  </a:lnTo>
                  <a:lnTo>
                    <a:pt x="0" y="11"/>
                  </a:lnTo>
                  <a:lnTo>
                    <a:pt x="1" y="14"/>
                  </a:lnTo>
                  <a:lnTo>
                    <a:pt x="7" y="16"/>
                  </a:lnTo>
                  <a:lnTo>
                    <a:pt x="10" y="17"/>
                  </a:lnTo>
                  <a:lnTo>
                    <a:pt x="23" y="16"/>
                  </a:lnTo>
                  <a:lnTo>
                    <a:pt x="25" y="11"/>
                  </a:lnTo>
                  <a:lnTo>
                    <a:pt x="22" y="10"/>
                  </a:lnTo>
                  <a:lnTo>
                    <a:pt x="22" y="4"/>
                  </a:lnTo>
                  <a:lnTo>
                    <a:pt x="20" y="1"/>
                  </a:lnTo>
                  <a:lnTo>
                    <a:pt x="10" y="0"/>
                  </a:lnTo>
                  <a:lnTo>
                    <a:pt x="6" y="1"/>
                  </a:lnTo>
                  <a:lnTo>
                    <a:pt x="3"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57" name="Freeform 356"/>
            <p:cNvSpPr>
              <a:spLocks/>
            </p:cNvSpPr>
            <p:nvPr/>
          </p:nvSpPr>
          <p:spPr bwMode="auto">
            <a:xfrm>
              <a:off x="5832807" y="1590151"/>
              <a:ext cx="22823" cy="17241"/>
            </a:xfrm>
            <a:custGeom>
              <a:avLst/>
              <a:gdLst/>
              <a:ahLst/>
              <a:cxnLst>
                <a:cxn ang="0">
                  <a:pos x="3" y="3"/>
                </a:cxn>
                <a:cxn ang="0">
                  <a:pos x="0" y="7"/>
                </a:cxn>
                <a:cxn ang="0">
                  <a:pos x="0" y="11"/>
                </a:cxn>
                <a:cxn ang="0">
                  <a:pos x="1" y="14"/>
                </a:cxn>
                <a:cxn ang="0">
                  <a:pos x="7" y="16"/>
                </a:cxn>
                <a:cxn ang="0">
                  <a:pos x="10" y="17"/>
                </a:cxn>
                <a:cxn ang="0">
                  <a:pos x="23" y="16"/>
                </a:cxn>
                <a:cxn ang="0">
                  <a:pos x="25" y="11"/>
                </a:cxn>
                <a:cxn ang="0">
                  <a:pos x="22" y="10"/>
                </a:cxn>
                <a:cxn ang="0">
                  <a:pos x="22" y="4"/>
                </a:cxn>
                <a:cxn ang="0">
                  <a:pos x="20" y="1"/>
                </a:cxn>
                <a:cxn ang="0">
                  <a:pos x="10" y="0"/>
                </a:cxn>
                <a:cxn ang="0">
                  <a:pos x="6" y="1"/>
                </a:cxn>
                <a:cxn ang="0">
                  <a:pos x="3" y="3"/>
                </a:cxn>
              </a:cxnLst>
              <a:rect l="0" t="0" r="r" b="b"/>
              <a:pathLst>
                <a:path w="25" h="17">
                  <a:moveTo>
                    <a:pt x="3" y="3"/>
                  </a:moveTo>
                  <a:lnTo>
                    <a:pt x="0" y="7"/>
                  </a:lnTo>
                  <a:lnTo>
                    <a:pt x="0" y="11"/>
                  </a:lnTo>
                  <a:lnTo>
                    <a:pt x="1" y="14"/>
                  </a:lnTo>
                  <a:lnTo>
                    <a:pt x="7" y="16"/>
                  </a:lnTo>
                  <a:lnTo>
                    <a:pt x="10" y="17"/>
                  </a:lnTo>
                  <a:lnTo>
                    <a:pt x="23" y="16"/>
                  </a:lnTo>
                  <a:lnTo>
                    <a:pt x="25" y="11"/>
                  </a:lnTo>
                  <a:lnTo>
                    <a:pt x="22" y="10"/>
                  </a:lnTo>
                  <a:lnTo>
                    <a:pt x="22" y="4"/>
                  </a:lnTo>
                  <a:lnTo>
                    <a:pt x="20" y="1"/>
                  </a:lnTo>
                  <a:lnTo>
                    <a:pt x="10" y="0"/>
                  </a:lnTo>
                  <a:lnTo>
                    <a:pt x="6" y="1"/>
                  </a:lnTo>
                  <a:lnTo>
                    <a:pt x="3"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58" name="Freeform 357"/>
            <p:cNvSpPr>
              <a:spLocks/>
            </p:cNvSpPr>
            <p:nvPr/>
          </p:nvSpPr>
          <p:spPr bwMode="auto">
            <a:xfrm>
              <a:off x="5784527" y="1643901"/>
              <a:ext cx="34234" cy="21296"/>
            </a:xfrm>
            <a:custGeom>
              <a:avLst/>
              <a:gdLst/>
              <a:ahLst/>
              <a:cxnLst>
                <a:cxn ang="0">
                  <a:pos x="0" y="10"/>
                </a:cxn>
                <a:cxn ang="0">
                  <a:pos x="0" y="15"/>
                </a:cxn>
                <a:cxn ang="0">
                  <a:pos x="19" y="20"/>
                </a:cxn>
                <a:cxn ang="0">
                  <a:pos x="22" y="19"/>
                </a:cxn>
                <a:cxn ang="0">
                  <a:pos x="24" y="17"/>
                </a:cxn>
                <a:cxn ang="0">
                  <a:pos x="33" y="17"/>
                </a:cxn>
                <a:cxn ang="0">
                  <a:pos x="36" y="16"/>
                </a:cxn>
                <a:cxn ang="0">
                  <a:pos x="37" y="13"/>
                </a:cxn>
                <a:cxn ang="0">
                  <a:pos x="10" y="6"/>
                </a:cxn>
                <a:cxn ang="0">
                  <a:pos x="19" y="6"/>
                </a:cxn>
                <a:cxn ang="0">
                  <a:pos x="24" y="10"/>
                </a:cxn>
                <a:cxn ang="0">
                  <a:pos x="32" y="10"/>
                </a:cxn>
                <a:cxn ang="0">
                  <a:pos x="32" y="9"/>
                </a:cxn>
                <a:cxn ang="0">
                  <a:pos x="19" y="1"/>
                </a:cxn>
                <a:cxn ang="0">
                  <a:pos x="7" y="0"/>
                </a:cxn>
                <a:cxn ang="0">
                  <a:pos x="0" y="10"/>
                </a:cxn>
              </a:cxnLst>
              <a:rect l="0" t="0" r="r" b="b"/>
              <a:pathLst>
                <a:path w="37" h="20">
                  <a:moveTo>
                    <a:pt x="0" y="10"/>
                  </a:moveTo>
                  <a:lnTo>
                    <a:pt x="0" y="15"/>
                  </a:lnTo>
                  <a:lnTo>
                    <a:pt x="19" y="20"/>
                  </a:lnTo>
                  <a:lnTo>
                    <a:pt x="22" y="19"/>
                  </a:lnTo>
                  <a:lnTo>
                    <a:pt x="24" y="17"/>
                  </a:lnTo>
                  <a:lnTo>
                    <a:pt x="33" y="17"/>
                  </a:lnTo>
                  <a:lnTo>
                    <a:pt x="36" y="16"/>
                  </a:lnTo>
                  <a:lnTo>
                    <a:pt x="37" y="13"/>
                  </a:lnTo>
                  <a:lnTo>
                    <a:pt x="10" y="6"/>
                  </a:lnTo>
                  <a:lnTo>
                    <a:pt x="19" y="6"/>
                  </a:lnTo>
                  <a:lnTo>
                    <a:pt x="24" y="10"/>
                  </a:lnTo>
                  <a:lnTo>
                    <a:pt x="32" y="10"/>
                  </a:lnTo>
                  <a:lnTo>
                    <a:pt x="32" y="9"/>
                  </a:lnTo>
                  <a:lnTo>
                    <a:pt x="19" y="1"/>
                  </a:lnTo>
                  <a:lnTo>
                    <a:pt x="7" y="0"/>
                  </a:lnTo>
                  <a:lnTo>
                    <a:pt x="0" y="1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59" name="Freeform 358"/>
            <p:cNvSpPr>
              <a:spLocks/>
            </p:cNvSpPr>
            <p:nvPr/>
          </p:nvSpPr>
          <p:spPr bwMode="auto">
            <a:xfrm>
              <a:off x="5784527" y="1643901"/>
              <a:ext cx="34234" cy="21296"/>
            </a:xfrm>
            <a:custGeom>
              <a:avLst/>
              <a:gdLst/>
              <a:ahLst/>
              <a:cxnLst>
                <a:cxn ang="0">
                  <a:pos x="0" y="10"/>
                </a:cxn>
                <a:cxn ang="0">
                  <a:pos x="0" y="15"/>
                </a:cxn>
                <a:cxn ang="0">
                  <a:pos x="19" y="20"/>
                </a:cxn>
                <a:cxn ang="0">
                  <a:pos x="22" y="19"/>
                </a:cxn>
                <a:cxn ang="0">
                  <a:pos x="24" y="17"/>
                </a:cxn>
                <a:cxn ang="0">
                  <a:pos x="33" y="17"/>
                </a:cxn>
                <a:cxn ang="0">
                  <a:pos x="36" y="16"/>
                </a:cxn>
                <a:cxn ang="0">
                  <a:pos x="37" y="13"/>
                </a:cxn>
                <a:cxn ang="0">
                  <a:pos x="10" y="6"/>
                </a:cxn>
                <a:cxn ang="0">
                  <a:pos x="19" y="6"/>
                </a:cxn>
                <a:cxn ang="0">
                  <a:pos x="24" y="10"/>
                </a:cxn>
                <a:cxn ang="0">
                  <a:pos x="32" y="10"/>
                </a:cxn>
                <a:cxn ang="0">
                  <a:pos x="32" y="9"/>
                </a:cxn>
                <a:cxn ang="0">
                  <a:pos x="19" y="1"/>
                </a:cxn>
                <a:cxn ang="0">
                  <a:pos x="7" y="0"/>
                </a:cxn>
                <a:cxn ang="0">
                  <a:pos x="0" y="10"/>
                </a:cxn>
              </a:cxnLst>
              <a:rect l="0" t="0" r="r" b="b"/>
              <a:pathLst>
                <a:path w="37" h="20">
                  <a:moveTo>
                    <a:pt x="0" y="10"/>
                  </a:moveTo>
                  <a:lnTo>
                    <a:pt x="0" y="15"/>
                  </a:lnTo>
                  <a:lnTo>
                    <a:pt x="19" y="20"/>
                  </a:lnTo>
                  <a:lnTo>
                    <a:pt x="22" y="19"/>
                  </a:lnTo>
                  <a:lnTo>
                    <a:pt x="24" y="17"/>
                  </a:lnTo>
                  <a:lnTo>
                    <a:pt x="33" y="17"/>
                  </a:lnTo>
                  <a:lnTo>
                    <a:pt x="36" y="16"/>
                  </a:lnTo>
                  <a:lnTo>
                    <a:pt x="37" y="13"/>
                  </a:lnTo>
                  <a:lnTo>
                    <a:pt x="10" y="6"/>
                  </a:lnTo>
                  <a:lnTo>
                    <a:pt x="19" y="6"/>
                  </a:lnTo>
                  <a:lnTo>
                    <a:pt x="24" y="10"/>
                  </a:lnTo>
                  <a:lnTo>
                    <a:pt x="32" y="10"/>
                  </a:lnTo>
                  <a:lnTo>
                    <a:pt x="32" y="9"/>
                  </a:lnTo>
                  <a:lnTo>
                    <a:pt x="19" y="1"/>
                  </a:lnTo>
                  <a:lnTo>
                    <a:pt x="7" y="0"/>
                  </a:lnTo>
                  <a:lnTo>
                    <a:pt x="0" y="1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60" name="Freeform 359"/>
            <p:cNvSpPr>
              <a:spLocks/>
            </p:cNvSpPr>
            <p:nvPr/>
          </p:nvSpPr>
          <p:spPr bwMode="auto">
            <a:xfrm>
              <a:off x="5797695" y="1664183"/>
              <a:ext cx="34235" cy="16226"/>
            </a:xfrm>
            <a:custGeom>
              <a:avLst/>
              <a:gdLst/>
              <a:ahLst/>
              <a:cxnLst>
                <a:cxn ang="0">
                  <a:pos x="37" y="7"/>
                </a:cxn>
                <a:cxn ang="0">
                  <a:pos x="34" y="10"/>
                </a:cxn>
                <a:cxn ang="0">
                  <a:pos x="34" y="12"/>
                </a:cxn>
                <a:cxn ang="0">
                  <a:pos x="37" y="16"/>
                </a:cxn>
                <a:cxn ang="0">
                  <a:pos x="34" y="16"/>
                </a:cxn>
                <a:cxn ang="0">
                  <a:pos x="28" y="14"/>
                </a:cxn>
                <a:cxn ang="0">
                  <a:pos x="28" y="13"/>
                </a:cxn>
                <a:cxn ang="0">
                  <a:pos x="22" y="9"/>
                </a:cxn>
                <a:cxn ang="0">
                  <a:pos x="0" y="6"/>
                </a:cxn>
                <a:cxn ang="0">
                  <a:pos x="0" y="3"/>
                </a:cxn>
                <a:cxn ang="0">
                  <a:pos x="19" y="0"/>
                </a:cxn>
                <a:cxn ang="0">
                  <a:pos x="22" y="1"/>
                </a:cxn>
                <a:cxn ang="0">
                  <a:pos x="25" y="1"/>
                </a:cxn>
                <a:cxn ang="0">
                  <a:pos x="28" y="3"/>
                </a:cxn>
                <a:cxn ang="0">
                  <a:pos x="31" y="3"/>
                </a:cxn>
                <a:cxn ang="0">
                  <a:pos x="37" y="6"/>
                </a:cxn>
                <a:cxn ang="0">
                  <a:pos x="37" y="7"/>
                </a:cxn>
              </a:cxnLst>
              <a:rect l="0" t="0" r="r" b="b"/>
              <a:pathLst>
                <a:path w="37" h="16">
                  <a:moveTo>
                    <a:pt x="37" y="7"/>
                  </a:moveTo>
                  <a:lnTo>
                    <a:pt x="34" y="10"/>
                  </a:lnTo>
                  <a:lnTo>
                    <a:pt x="34" y="12"/>
                  </a:lnTo>
                  <a:lnTo>
                    <a:pt x="37" y="16"/>
                  </a:lnTo>
                  <a:lnTo>
                    <a:pt x="34" y="16"/>
                  </a:lnTo>
                  <a:lnTo>
                    <a:pt x="28" y="14"/>
                  </a:lnTo>
                  <a:lnTo>
                    <a:pt x="28" y="13"/>
                  </a:lnTo>
                  <a:lnTo>
                    <a:pt x="22" y="9"/>
                  </a:lnTo>
                  <a:lnTo>
                    <a:pt x="0" y="6"/>
                  </a:lnTo>
                  <a:lnTo>
                    <a:pt x="0" y="3"/>
                  </a:lnTo>
                  <a:lnTo>
                    <a:pt x="19" y="0"/>
                  </a:lnTo>
                  <a:lnTo>
                    <a:pt x="22" y="1"/>
                  </a:lnTo>
                  <a:lnTo>
                    <a:pt x="25" y="1"/>
                  </a:lnTo>
                  <a:lnTo>
                    <a:pt x="28" y="3"/>
                  </a:lnTo>
                  <a:lnTo>
                    <a:pt x="31" y="3"/>
                  </a:lnTo>
                  <a:lnTo>
                    <a:pt x="37" y="6"/>
                  </a:lnTo>
                  <a:lnTo>
                    <a:pt x="37" y="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61" name="Freeform 360"/>
            <p:cNvSpPr>
              <a:spLocks/>
            </p:cNvSpPr>
            <p:nvPr/>
          </p:nvSpPr>
          <p:spPr bwMode="auto">
            <a:xfrm>
              <a:off x="5797695" y="1664183"/>
              <a:ext cx="34235" cy="16226"/>
            </a:xfrm>
            <a:custGeom>
              <a:avLst/>
              <a:gdLst/>
              <a:ahLst/>
              <a:cxnLst>
                <a:cxn ang="0">
                  <a:pos x="37" y="7"/>
                </a:cxn>
                <a:cxn ang="0">
                  <a:pos x="34" y="10"/>
                </a:cxn>
                <a:cxn ang="0">
                  <a:pos x="34" y="12"/>
                </a:cxn>
                <a:cxn ang="0">
                  <a:pos x="37" y="16"/>
                </a:cxn>
                <a:cxn ang="0">
                  <a:pos x="34" y="16"/>
                </a:cxn>
                <a:cxn ang="0">
                  <a:pos x="28" y="14"/>
                </a:cxn>
                <a:cxn ang="0">
                  <a:pos x="28" y="13"/>
                </a:cxn>
                <a:cxn ang="0">
                  <a:pos x="22" y="9"/>
                </a:cxn>
                <a:cxn ang="0">
                  <a:pos x="0" y="6"/>
                </a:cxn>
                <a:cxn ang="0">
                  <a:pos x="0" y="3"/>
                </a:cxn>
                <a:cxn ang="0">
                  <a:pos x="19" y="0"/>
                </a:cxn>
                <a:cxn ang="0">
                  <a:pos x="22" y="1"/>
                </a:cxn>
                <a:cxn ang="0">
                  <a:pos x="25" y="1"/>
                </a:cxn>
                <a:cxn ang="0">
                  <a:pos x="28" y="3"/>
                </a:cxn>
                <a:cxn ang="0">
                  <a:pos x="31" y="3"/>
                </a:cxn>
                <a:cxn ang="0">
                  <a:pos x="37" y="6"/>
                </a:cxn>
                <a:cxn ang="0">
                  <a:pos x="37" y="7"/>
                </a:cxn>
              </a:cxnLst>
              <a:rect l="0" t="0" r="r" b="b"/>
              <a:pathLst>
                <a:path w="37" h="16">
                  <a:moveTo>
                    <a:pt x="37" y="7"/>
                  </a:moveTo>
                  <a:lnTo>
                    <a:pt x="34" y="10"/>
                  </a:lnTo>
                  <a:lnTo>
                    <a:pt x="34" y="12"/>
                  </a:lnTo>
                  <a:lnTo>
                    <a:pt x="37" y="16"/>
                  </a:lnTo>
                  <a:lnTo>
                    <a:pt x="34" y="16"/>
                  </a:lnTo>
                  <a:lnTo>
                    <a:pt x="28" y="14"/>
                  </a:lnTo>
                  <a:lnTo>
                    <a:pt x="28" y="13"/>
                  </a:lnTo>
                  <a:lnTo>
                    <a:pt x="22" y="9"/>
                  </a:lnTo>
                  <a:lnTo>
                    <a:pt x="0" y="6"/>
                  </a:lnTo>
                  <a:lnTo>
                    <a:pt x="0" y="3"/>
                  </a:lnTo>
                  <a:lnTo>
                    <a:pt x="19" y="0"/>
                  </a:lnTo>
                  <a:lnTo>
                    <a:pt x="22" y="1"/>
                  </a:lnTo>
                  <a:lnTo>
                    <a:pt x="25" y="1"/>
                  </a:lnTo>
                  <a:lnTo>
                    <a:pt x="28" y="3"/>
                  </a:lnTo>
                  <a:lnTo>
                    <a:pt x="31" y="3"/>
                  </a:lnTo>
                  <a:lnTo>
                    <a:pt x="37" y="6"/>
                  </a:lnTo>
                  <a:lnTo>
                    <a:pt x="37" y="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62" name="Freeform 361"/>
            <p:cNvSpPr>
              <a:spLocks/>
            </p:cNvSpPr>
            <p:nvPr/>
          </p:nvSpPr>
          <p:spPr bwMode="auto">
            <a:xfrm>
              <a:off x="5797695" y="1671282"/>
              <a:ext cx="35112" cy="38536"/>
            </a:xfrm>
            <a:custGeom>
              <a:avLst/>
              <a:gdLst/>
              <a:ahLst/>
              <a:cxnLst>
                <a:cxn ang="0">
                  <a:pos x="22" y="7"/>
                </a:cxn>
                <a:cxn ang="0">
                  <a:pos x="26" y="12"/>
                </a:cxn>
                <a:cxn ang="0">
                  <a:pos x="32" y="15"/>
                </a:cxn>
                <a:cxn ang="0">
                  <a:pos x="34" y="19"/>
                </a:cxn>
                <a:cxn ang="0">
                  <a:pos x="37" y="18"/>
                </a:cxn>
                <a:cxn ang="0">
                  <a:pos x="38" y="23"/>
                </a:cxn>
                <a:cxn ang="0">
                  <a:pos x="35" y="23"/>
                </a:cxn>
                <a:cxn ang="0">
                  <a:pos x="32" y="22"/>
                </a:cxn>
                <a:cxn ang="0">
                  <a:pos x="29" y="22"/>
                </a:cxn>
                <a:cxn ang="0">
                  <a:pos x="26" y="25"/>
                </a:cxn>
                <a:cxn ang="0">
                  <a:pos x="29" y="26"/>
                </a:cxn>
                <a:cxn ang="0">
                  <a:pos x="32" y="29"/>
                </a:cxn>
                <a:cxn ang="0">
                  <a:pos x="34" y="31"/>
                </a:cxn>
                <a:cxn ang="0">
                  <a:pos x="34" y="37"/>
                </a:cxn>
                <a:cxn ang="0">
                  <a:pos x="32" y="37"/>
                </a:cxn>
                <a:cxn ang="0">
                  <a:pos x="29" y="35"/>
                </a:cxn>
                <a:cxn ang="0">
                  <a:pos x="29" y="32"/>
                </a:cxn>
                <a:cxn ang="0">
                  <a:pos x="26" y="34"/>
                </a:cxn>
                <a:cxn ang="0">
                  <a:pos x="21" y="26"/>
                </a:cxn>
                <a:cxn ang="0">
                  <a:pos x="9" y="21"/>
                </a:cxn>
                <a:cxn ang="0">
                  <a:pos x="8" y="16"/>
                </a:cxn>
                <a:cxn ang="0">
                  <a:pos x="3" y="13"/>
                </a:cxn>
                <a:cxn ang="0">
                  <a:pos x="3" y="10"/>
                </a:cxn>
                <a:cxn ang="0">
                  <a:pos x="2" y="9"/>
                </a:cxn>
                <a:cxn ang="0">
                  <a:pos x="2" y="3"/>
                </a:cxn>
                <a:cxn ang="0">
                  <a:pos x="0" y="3"/>
                </a:cxn>
                <a:cxn ang="0">
                  <a:pos x="5" y="0"/>
                </a:cxn>
                <a:cxn ang="0">
                  <a:pos x="13" y="3"/>
                </a:cxn>
                <a:cxn ang="0">
                  <a:pos x="16" y="2"/>
                </a:cxn>
                <a:cxn ang="0">
                  <a:pos x="21" y="5"/>
                </a:cxn>
                <a:cxn ang="0">
                  <a:pos x="22" y="7"/>
                </a:cxn>
              </a:cxnLst>
              <a:rect l="0" t="0" r="r" b="b"/>
              <a:pathLst>
                <a:path w="38" h="37">
                  <a:moveTo>
                    <a:pt x="22" y="7"/>
                  </a:moveTo>
                  <a:lnTo>
                    <a:pt x="26" y="12"/>
                  </a:lnTo>
                  <a:lnTo>
                    <a:pt x="32" y="15"/>
                  </a:lnTo>
                  <a:lnTo>
                    <a:pt x="34" y="19"/>
                  </a:lnTo>
                  <a:lnTo>
                    <a:pt x="37" y="18"/>
                  </a:lnTo>
                  <a:lnTo>
                    <a:pt x="38" y="23"/>
                  </a:lnTo>
                  <a:lnTo>
                    <a:pt x="35" y="23"/>
                  </a:lnTo>
                  <a:lnTo>
                    <a:pt x="32" y="22"/>
                  </a:lnTo>
                  <a:lnTo>
                    <a:pt x="29" y="22"/>
                  </a:lnTo>
                  <a:lnTo>
                    <a:pt x="26" y="25"/>
                  </a:lnTo>
                  <a:lnTo>
                    <a:pt x="29" y="26"/>
                  </a:lnTo>
                  <a:lnTo>
                    <a:pt x="32" y="29"/>
                  </a:lnTo>
                  <a:lnTo>
                    <a:pt x="34" y="31"/>
                  </a:lnTo>
                  <a:lnTo>
                    <a:pt x="34" y="37"/>
                  </a:lnTo>
                  <a:lnTo>
                    <a:pt x="32" y="37"/>
                  </a:lnTo>
                  <a:lnTo>
                    <a:pt x="29" y="35"/>
                  </a:lnTo>
                  <a:lnTo>
                    <a:pt x="29" y="32"/>
                  </a:lnTo>
                  <a:lnTo>
                    <a:pt x="26" y="34"/>
                  </a:lnTo>
                  <a:lnTo>
                    <a:pt x="21" y="26"/>
                  </a:lnTo>
                  <a:lnTo>
                    <a:pt x="9" y="21"/>
                  </a:lnTo>
                  <a:lnTo>
                    <a:pt x="8" y="16"/>
                  </a:lnTo>
                  <a:lnTo>
                    <a:pt x="3" y="13"/>
                  </a:lnTo>
                  <a:lnTo>
                    <a:pt x="3" y="10"/>
                  </a:lnTo>
                  <a:lnTo>
                    <a:pt x="2" y="9"/>
                  </a:lnTo>
                  <a:lnTo>
                    <a:pt x="2" y="3"/>
                  </a:lnTo>
                  <a:lnTo>
                    <a:pt x="0" y="3"/>
                  </a:lnTo>
                  <a:lnTo>
                    <a:pt x="5" y="0"/>
                  </a:lnTo>
                  <a:lnTo>
                    <a:pt x="13" y="3"/>
                  </a:lnTo>
                  <a:lnTo>
                    <a:pt x="16" y="2"/>
                  </a:lnTo>
                  <a:lnTo>
                    <a:pt x="21" y="5"/>
                  </a:lnTo>
                  <a:lnTo>
                    <a:pt x="22" y="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63" name="Freeform 362"/>
            <p:cNvSpPr>
              <a:spLocks/>
            </p:cNvSpPr>
            <p:nvPr/>
          </p:nvSpPr>
          <p:spPr bwMode="auto">
            <a:xfrm>
              <a:off x="5797695" y="1671282"/>
              <a:ext cx="35112" cy="38536"/>
            </a:xfrm>
            <a:custGeom>
              <a:avLst/>
              <a:gdLst/>
              <a:ahLst/>
              <a:cxnLst>
                <a:cxn ang="0">
                  <a:pos x="22" y="7"/>
                </a:cxn>
                <a:cxn ang="0">
                  <a:pos x="26" y="12"/>
                </a:cxn>
                <a:cxn ang="0">
                  <a:pos x="32" y="15"/>
                </a:cxn>
                <a:cxn ang="0">
                  <a:pos x="34" y="19"/>
                </a:cxn>
                <a:cxn ang="0">
                  <a:pos x="37" y="18"/>
                </a:cxn>
                <a:cxn ang="0">
                  <a:pos x="38" y="23"/>
                </a:cxn>
                <a:cxn ang="0">
                  <a:pos x="35" y="23"/>
                </a:cxn>
                <a:cxn ang="0">
                  <a:pos x="32" y="22"/>
                </a:cxn>
                <a:cxn ang="0">
                  <a:pos x="29" y="22"/>
                </a:cxn>
                <a:cxn ang="0">
                  <a:pos x="26" y="25"/>
                </a:cxn>
                <a:cxn ang="0">
                  <a:pos x="29" y="26"/>
                </a:cxn>
                <a:cxn ang="0">
                  <a:pos x="32" y="29"/>
                </a:cxn>
                <a:cxn ang="0">
                  <a:pos x="34" y="31"/>
                </a:cxn>
                <a:cxn ang="0">
                  <a:pos x="34" y="37"/>
                </a:cxn>
                <a:cxn ang="0">
                  <a:pos x="32" y="37"/>
                </a:cxn>
                <a:cxn ang="0">
                  <a:pos x="29" y="35"/>
                </a:cxn>
                <a:cxn ang="0">
                  <a:pos x="29" y="32"/>
                </a:cxn>
                <a:cxn ang="0">
                  <a:pos x="26" y="34"/>
                </a:cxn>
                <a:cxn ang="0">
                  <a:pos x="21" y="26"/>
                </a:cxn>
                <a:cxn ang="0">
                  <a:pos x="9" y="21"/>
                </a:cxn>
                <a:cxn ang="0">
                  <a:pos x="8" y="16"/>
                </a:cxn>
                <a:cxn ang="0">
                  <a:pos x="3" y="13"/>
                </a:cxn>
                <a:cxn ang="0">
                  <a:pos x="3" y="10"/>
                </a:cxn>
                <a:cxn ang="0">
                  <a:pos x="2" y="9"/>
                </a:cxn>
                <a:cxn ang="0">
                  <a:pos x="2" y="3"/>
                </a:cxn>
                <a:cxn ang="0">
                  <a:pos x="0" y="3"/>
                </a:cxn>
                <a:cxn ang="0">
                  <a:pos x="5" y="0"/>
                </a:cxn>
                <a:cxn ang="0">
                  <a:pos x="13" y="3"/>
                </a:cxn>
                <a:cxn ang="0">
                  <a:pos x="16" y="2"/>
                </a:cxn>
                <a:cxn ang="0">
                  <a:pos x="21" y="5"/>
                </a:cxn>
                <a:cxn ang="0">
                  <a:pos x="22" y="7"/>
                </a:cxn>
              </a:cxnLst>
              <a:rect l="0" t="0" r="r" b="b"/>
              <a:pathLst>
                <a:path w="38" h="37">
                  <a:moveTo>
                    <a:pt x="22" y="7"/>
                  </a:moveTo>
                  <a:lnTo>
                    <a:pt x="26" y="12"/>
                  </a:lnTo>
                  <a:lnTo>
                    <a:pt x="32" y="15"/>
                  </a:lnTo>
                  <a:lnTo>
                    <a:pt x="34" y="19"/>
                  </a:lnTo>
                  <a:lnTo>
                    <a:pt x="37" y="18"/>
                  </a:lnTo>
                  <a:lnTo>
                    <a:pt x="38" y="23"/>
                  </a:lnTo>
                  <a:lnTo>
                    <a:pt x="35" y="23"/>
                  </a:lnTo>
                  <a:lnTo>
                    <a:pt x="32" y="22"/>
                  </a:lnTo>
                  <a:lnTo>
                    <a:pt x="29" y="22"/>
                  </a:lnTo>
                  <a:lnTo>
                    <a:pt x="26" y="25"/>
                  </a:lnTo>
                  <a:lnTo>
                    <a:pt x="29" y="26"/>
                  </a:lnTo>
                  <a:lnTo>
                    <a:pt x="32" y="29"/>
                  </a:lnTo>
                  <a:lnTo>
                    <a:pt x="34" y="31"/>
                  </a:lnTo>
                  <a:lnTo>
                    <a:pt x="34" y="37"/>
                  </a:lnTo>
                  <a:lnTo>
                    <a:pt x="32" y="37"/>
                  </a:lnTo>
                  <a:lnTo>
                    <a:pt x="29" y="35"/>
                  </a:lnTo>
                  <a:lnTo>
                    <a:pt x="29" y="32"/>
                  </a:lnTo>
                  <a:lnTo>
                    <a:pt x="26" y="34"/>
                  </a:lnTo>
                  <a:lnTo>
                    <a:pt x="21" y="26"/>
                  </a:lnTo>
                  <a:lnTo>
                    <a:pt x="9" y="21"/>
                  </a:lnTo>
                  <a:lnTo>
                    <a:pt x="8" y="16"/>
                  </a:lnTo>
                  <a:lnTo>
                    <a:pt x="3" y="13"/>
                  </a:lnTo>
                  <a:lnTo>
                    <a:pt x="3" y="10"/>
                  </a:lnTo>
                  <a:lnTo>
                    <a:pt x="2" y="9"/>
                  </a:lnTo>
                  <a:lnTo>
                    <a:pt x="2" y="3"/>
                  </a:lnTo>
                  <a:lnTo>
                    <a:pt x="0" y="3"/>
                  </a:lnTo>
                  <a:lnTo>
                    <a:pt x="5" y="0"/>
                  </a:lnTo>
                  <a:lnTo>
                    <a:pt x="13" y="3"/>
                  </a:lnTo>
                  <a:lnTo>
                    <a:pt x="16" y="2"/>
                  </a:lnTo>
                  <a:lnTo>
                    <a:pt x="21" y="5"/>
                  </a:lnTo>
                  <a:lnTo>
                    <a:pt x="22" y="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64" name="Freeform 363"/>
            <p:cNvSpPr>
              <a:spLocks/>
            </p:cNvSpPr>
            <p:nvPr/>
          </p:nvSpPr>
          <p:spPr bwMode="auto">
            <a:xfrm>
              <a:off x="5752926" y="1758497"/>
              <a:ext cx="34234" cy="28396"/>
            </a:xfrm>
            <a:custGeom>
              <a:avLst/>
              <a:gdLst/>
              <a:ahLst/>
              <a:cxnLst>
                <a:cxn ang="0">
                  <a:pos x="38" y="8"/>
                </a:cxn>
                <a:cxn ang="0">
                  <a:pos x="38" y="18"/>
                </a:cxn>
                <a:cxn ang="0">
                  <a:pos x="35" y="21"/>
                </a:cxn>
                <a:cxn ang="0">
                  <a:pos x="32" y="21"/>
                </a:cxn>
                <a:cxn ang="0">
                  <a:pos x="30" y="21"/>
                </a:cxn>
                <a:cxn ang="0">
                  <a:pos x="29" y="22"/>
                </a:cxn>
                <a:cxn ang="0">
                  <a:pos x="25" y="21"/>
                </a:cxn>
                <a:cxn ang="0">
                  <a:pos x="3" y="27"/>
                </a:cxn>
                <a:cxn ang="0">
                  <a:pos x="0" y="27"/>
                </a:cxn>
                <a:cxn ang="0">
                  <a:pos x="1" y="19"/>
                </a:cxn>
                <a:cxn ang="0">
                  <a:pos x="11" y="11"/>
                </a:cxn>
                <a:cxn ang="0">
                  <a:pos x="13" y="9"/>
                </a:cxn>
                <a:cxn ang="0">
                  <a:pos x="23" y="6"/>
                </a:cxn>
                <a:cxn ang="0">
                  <a:pos x="30" y="0"/>
                </a:cxn>
                <a:cxn ang="0">
                  <a:pos x="32" y="2"/>
                </a:cxn>
                <a:cxn ang="0">
                  <a:pos x="36" y="6"/>
                </a:cxn>
                <a:cxn ang="0">
                  <a:pos x="38" y="8"/>
                </a:cxn>
              </a:cxnLst>
              <a:rect l="0" t="0" r="r" b="b"/>
              <a:pathLst>
                <a:path w="38" h="27">
                  <a:moveTo>
                    <a:pt x="38" y="8"/>
                  </a:moveTo>
                  <a:lnTo>
                    <a:pt x="38" y="18"/>
                  </a:lnTo>
                  <a:lnTo>
                    <a:pt x="35" y="21"/>
                  </a:lnTo>
                  <a:lnTo>
                    <a:pt x="32" y="21"/>
                  </a:lnTo>
                  <a:lnTo>
                    <a:pt x="30" y="21"/>
                  </a:lnTo>
                  <a:lnTo>
                    <a:pt x="29" y="22"/>
                  </a:lnTo>
                  <a:lnTo>
                    <a:pt x="25" y="21"/>
                  </a:lnTo>
                  <a:lnTo>
                    <a:pt x="3" y="27"/>
                  </a:lnTo>
                  <a:lnTo>
                    <a:pt x="0" y="27"/>
                  </a:lnTo>
                  <a:lnTo>
                    <a:pt x="1" y="19"/>
                  </a:lnTo>
                  <a:lnTo>
                    <a:pt x="11" y="11"/>
                  </a:lnTo>
                  <a:lnTo>
                    <a:pt x="13" y="9"/>
                  </a:lnTo>
                  <a:lnTo>
                    <a:pt x="23" y="6"/>
                  </a:lnTo>
                  <a:lnTo>
                    <a:pt x="30" y="0"/>
                  </a:lnTo>
                  <a:lnTo>
                    <a:pt x="32" y="2"/>
                  </a:lnTo>
                  <a:lnTo>
                    <a:pt x="36" y="6"/>
                  </a:lnTo>
                  <a:lnTo>
                    <a:pt x="38" y="8"/>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65" name="Freeform 364"/>
            <p:cNvSpPr>
              <a:spLocks/>
            </p:cNvSpPr>
            <p:nvPr/>
          </p:nvSpPr>
          <p:spPr bwMode="auto">
            <a:xfrm>
              <a:off x="5752926" y="1758497"/>
              <a:ext cx="34234" cy="28396"/>
            </a:xfrm>
            <a:custGeom>
              <a:avLst/>
              <a:gdLst/>
              <a:ahLst/>
              <a:cxnLst>
                <a:cxn ang="0">
                  <a:pos x="38" y="8"/>
                </a:cxn>
                <a:cxn ang="0">
                  <a:pos x="38" y="18"/>
                </a:cxn>
                <a:cxn ang="0">
                  <a:pos x="35" y="21"/>
                </a:cxn>
                <a:cxn ang="0">
                  <a:pos x="32" y="21"/>
                </a:cxn>
                <a:cxn ang="0">
                  <a:pos x="30" y="21"/>
                </a:cxn>
                <a:cxn ang="0">
                  <a:pos x="29" y="22"/>
                </a:cxn>
                <a:cxn ang="0">
                  <a:pos x="25" y="21"/>
                </a:cxn>
                <a:cxn ang="0">
                  <a:pos x="3" y="27"/>
                </a:cxn>
                <a:cxn ang="0">
                  <a:pos x="0" y="27"/>
                </a:cxn>
                <a:cxn ang="0">
                  <a:pos x="1" y="19"/>
                </a:cxn>
                <a:cxn ang="0">
                  <a:pos x="11" y="11"/>
                </a:cxn>
                <a:cxn ang="0">
                  <a:pos x="13" y="9"/>
                </a:cxn>
                <a:cxn ang="0">
                  <a:pos x="23" y="6"/>
                </a:cxn>
                <a:cxn ang="0">
                  <a:pos x="30" y="0"/>
                </a:cxn>
                <a:cxn ang="0">
                  <a:pos x="32" y="2"/>
                </a:cxn>
                <a:cxn ang="0">
                  <a:pos x="36" y="6"/>
                </a:cxn>
                <a:cxn ang="0">
                  <a:pos x="38" y="8"/>
                </a:cxn>
              </a:cxnLst>
              <a:rect l="0" t="0" r="r" b="b"/>
              <a:pathLst>
                <a:path w="38" h="27">
                  <a:moveTo>
                    <a:pt x="38" y="8"/>
                  </a:moveTo>
                  <a:lnTo>
                    <a:pt x="38" y="18"/>
                  </a:lnTo>
                  <a:lnTo>
                    <a:pt x="35" y="21"/>
                  </a:lnTo>
                  <a:lnTo>
                    <a:pt x="32" y="21"/>
                  </a:lnTo>
                  <a:lnTo>
                    <a:pt x="30" y="21"/>
                  </a:lnTo>
                  <a:lnTo>
                    <a:pt x="29" y="22"/>
                  </a:lnTo>
                  <a:lnTo>
                    <a:pt x="25" y="21"/>
                  </a:lnTo>
                  <a:lnTo>
                    <a:pt x="3" y="27"/>
                  </a:lnTo>
                  <a:lnTo>
                    <a:pt x="0" y="27"/>
                  </a:lnTo>
                  <a:lnTo>
                    <a:pt x="1" y="19"/>
                  </a:lnTo>
                  <a:lnTo>
                    <a:pt x="11" y="11"/>
                  </a:lnTo>
                  <a:lnTo>
                    <a:pt x="13" y="9"/>
                  </a:lnTo>
                  <a:lnTo>
                    <a:pt x="23" y="6"/>
                  </a:lnTo>
                  <a:lnTo>
                    <a:pt x="30" y="0"/>
                  </a:lnTo>
                  <a:lnTo>
                    <a:pt x="32" y="2"/>
                  </a:lnTo>
                  <a:lnTo>
                    <a:pt x="36" y="6"/>
                  </a:lnTo>
                  <a:lnTo>
                    <a:pt x="38" y="8"/>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66" name="Freeform 365"/>
            <p:cNvSpPr>
              <a:spLocks/>
            </p:cNvSpPr>
            <p:nvPr/>
          </p:nvSpPr>
          <p:spPr bwMode="auto">
            <a:xfrm>
              <a:off x="5219224" y="1407608"/>
              <a:ext cx="39500" cy="17241"/>
            </a:xfrm>
            <a:custGeom>
              <a:avLst/>
              <a:gdLst/>
              <a:ahLst/>
              <a:cxnLst>
                <a:cxn ang="0">
                  <a:pos x="1" y="9"/>
                </a:cxn>
                <a:cxn ang="0">
                  <a:pos x="0" y="8"/>
                </a:cxn>
                <a:cxn ang="0">
                  <a:pos x="5" y="5"/>
                </a:cxn>
                <a:cxn ang="0">
                  <a:pos x="8" y="2"/>
                </a:cxn>
                <a:cxn ang="0">
                  <a:pos x="24" y="0"/>
                </a:cxn>
                <a:cxn ang="0">
                  <a:pos x="32" y="2"/>
                </a:cxn>
                <a:cxn ang="0">
                  <a:pos x="35" y="3"/>
                </a:cxn>
                <a:cxn ang="0">
                  <a:pos x="36" y="6"/>
                </a:cxn>
                <a:cxn ang="0">
                  <a:pos x="43" y="11"/>
                </a:cxn>
                <a:cxn ang="0">
                  <a:pos x="43" y="12"/>
                </a:cxn>
                <a:cxn ang="0">
                  <a:pos x="40" y="15"/>
                </a:cxn>
                <a:cxn ang="0">
                  <a:pos x="33" y="16"/>
                </a:cxn>
                <a:cxn ang="0">
                  <a:pos x="17" y="11"/>
                </a:cxn>
                <a:cxn ang="0">
                  <a:pos x="13" y="12"/>
                </a:cxn>
                <a:cxn ang="0">
                  <a:pos x="8" y="12"/>
                </a:cxn>
                <a:cxn ang="0">
                  <a:pos x="1" y="9"/>
                </a:cxn>
              </a:cxnLst>
              <a:rect l="0" t="0" r="r" b="b"/>
              <a:pathLst>
                <a:path w="43" h="16">
                  <a:moveTo>
                    <a:pt x="1" y="9"/>
                  </a:moveTo>
                  <a:lnTo>
                    <a:pt x="0" y="8"/>
                  </a:lnTo>
                  <a:lnTo>
                    <a:pt x="5" y="5"/>
                  </a:lnTo>
                  <a:lnTo>
                    <a:pt x="8" y="2"/>
                  </a:lnTo>
                  <a:lnTo>
                    <a:pt x="24" y="0"/>
                  </a:lnTo>
                  <a:lnTo>
                    <a:pt x="32" y="2"/>
                  </a:lnTo>
                  <a:lnTo>
                    <a:pt x="35" y="3"/>
                  </a:lnTo>
                  <a:lnTo>
                    <a:pt x="36" y="6"/>
                  </a:lnTo>
                  <a:lnTo>
                    <a:pt x="43" y="11"/>
                  </a:lnTo>
                  <a:lnTo>
                    <a:pt x="43" y="12"/>
                  </a:lnTo>
                  <a:lnTo>
                    <a:pt x="40" y="15"/>
                  </a:lnTo>
                  <a:lnTo>
                    <a:pt x="33" y="16"/>
                  </a:lnTo>
                  <a:lnTo>
                    <a:pt x="17" y="11"/>
                  </a:lnTo>
                  <a:lnTo>
                    <a:pt x="13" y="12"/>
                  </a:lnTo>
                  <a:lnTo>
                    <a:pt x="8" y="12"/>
                  </a:lnTo>
                  <a:lnTo>
                    <a:pt x="1" y="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67" name="Freeform 366"/>
            <p:cNvSpPr>
              <a:spLocks/>
            </p:cNvSpPr>
            <p:nvPr/>
          </p:nvSpPr>
          <p:spPr bwMode="auto">
            <a:xfrm>
              <a:off x="5544887" y="2162122"/>
              <a:ext cx="4389" cy="6085"/>
            </a:xfrm>
            <a:custGeom>
              <a:avLst/>
              <a:gdLst/>
              <a:ahLst/>
              <a:cxnLst>
                <a:cxn ang="0">
                  <a:pos x="0" y="0"/>
                </a:cxn>
                <a:cxn ang="0">
                  <a:pos x="0" y="6"/>
                </a:cxn>
                <a:cxn ang="0">
                  <a:pos x="0" y="0"/>
                </a:cxn>
                <a:cxn ang="0">
                  <a:pos x="0" y="4"/>
                </a:cxn>
                <a:cxn ang="0">
                  <a:pos x="0" y="4"/>
                </a:cxn>
                <a:cxn ang="0">
                  <a:pos x="3" y="4"/>
                </a:cxn>
                <a:cxn ang="0">
                  <a:pos x="5" y="3"/>
                </a:cxn>
                <a:cxn ang="0">
                  <a:pos x="5" y="3"/>
                </a:cxn>
                <a:cxn ang="0">
                  <a:pos x="2" y="0"/>
                </a:cxn>
                <a:cxn ang="0">
                  <a:pos x="0" y="0"/>
                </a:cxn>
              </a:cxnLst>
              <a:rect l="0" t="0" r="r" b="b"/>
              <a:pathLst>
                <a:path w="5" h="6">
                  <a:moveTo>
                    <a:pt x="0" y="0"/>
                  </a:moveTo>
                  <a:lnTo>
                    <a:pt x="0" y="6"/>
                  </a:lnTo>
                  <a:lnTo>
                    <a:pt x="0" y="0"/>
                  </a:lnTo>
                  <a:lnTo>
                    <a:pt x="0" y="4"/>
                  </a:lnTo>
                  <a:lnTo>
                    <a:pt x="0" y="4"/>
                  </a:lnTo>
                  <a:lnTo>
                    <a:pt x="3" y="4"/>
                  </a:lnTo>
                  <a:lnTo>
                    <a:pt x="5" y="3"/>
                  </a:lnTo>
                  <a:lnTo>
                    <a:pt x="5" y="3"/>
                  </a:lnTo>
                  <a:lnTo>
                    <a:pt x="2" y="0"/>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68" name="Freeform 367"/>
            <p:cNvSpPr>
              <a:spLocks/>
            </p:cNvSpPr>
            <p:nvPr/>
          </p:nvSpPr>
          <p:spPr bwMode="auto">
            <a:xfrm>
              <a:off x="5544887" y="2162122"/>
              <a:ext cx="4389" cy="6085"/>
            </a:xfrm>
            <a:custGeom>
              <a:avLst/>
              <a:gdLst/>
              <a:ahLst/>
              <a:cxnLst>
                <a:cxn ang="0">
                  <a:pos x="0" y="0"/>
                </a:cxn>
                <a:cxn ang="0">
                  <a:pos x="0" y="6"/>
                </a:cxn>
                <a:cxn ang="0">
                  <a:pos x="0" y="0"/>
                </a:cxn>
                <a:cxn ang="0">
                  <a:pos x="0" y="4"/>
                </a:cxn>
                <a:cxn ang="0">
                  <a:pos x="0" y="4"/>
                </a:cxn>
                <a:cxn ang="0">
                  <a:pos x="3" y="4"/>
                </a:cxn>
                <a:cxn ang="0">
                  <a:pos x="5" y="3"/>
                </a:cxn>
                <a:cxn ang="0">
                  <a:pos x="5" y="3"/>
                </a:cxn>
                <a:cxn ang="0">
                  <a:pos x="2" y="0"/>
                </a:cxn>
                <a:cxn ang="0">
                  <a:pos x="0" y="0"/>
                </a:cxn>
              </a:cxnLst>
              <a:rect l="0" t="0" r="r" b="b"/>
              <a:pathLst>
                <a:path w="5" h="6">
                  <a:moveTo>
                    <a:pt x="0" y="0"/>
                  </a:moveTo>
                  <a:lnTo>
                    <a:pt x="0" y="6"/>
                  </a:lnTo>
                  <a:lnTo>
                    <a:pt x="0" y="0"/>
                  </a:lnTo>
                  <a:lnTo>
                    <a:pt x="0" y="4"/>
                  </a:lnTo>
                  <a:lnTo>
                    <a:pt x="0" y="4"/>
                  </a:lnTo>
                  <a:lnTo>
                    <a:pt x="3" y="4"/>
                  </a:lnTo>
                  <a:lnTo>
                    <a:pt x="5" y="3"/>
                  </a:lnTo>
                  <a:lnTo>
                    <a:pt x="5" y="3"/>
                  </a:lnTo>
                  <a:lnTo>
                    <a:pt x="2" y="0"/>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69" name="Freeform 368"/>
            <p:cNvSpPr>
              <a:spLocks/>
            </p:cNvSpPr>
            <p:nvPr/>
          </p:nvSpPr>
          <p:spPr bwMode="auto">
            <a:xfrm>
              <a:off x="5546643" y="2157052"/>
              <a:ext cx="8777" cy="5071"/>
            </a:xfrm>
            <a:custGeom>
              <a:avLst/>
              <a:gdLst/>
              <a:ahLst/>
              <a:cxnLst>
                <a:cxn ang="0">
                  <a:pos x="10" y="1"/>
                </a:cxn>
                <a:cxn ang="0">
                  <a:pos x="10" y="1"/>
                </a:cxn>
                <a:cxn ang="0">
                  <a:pos x="0" y="0"/>
                </a:cxn>
                <a:cxn ang="0">
                  <a:pos x="0" y="1"/>
                </a:cxn>
                <a:cxn ang="0">
                  <a:pos x="0" y="3"/>
                </a:cxn>
                <a:cxn ang="0">
                  <a:pos x="1" y="4"/>
                </a:cxn>
                <a:cxn ang="0">
                  <a:pos x="6" y="4"/>
                </a:cxn>
                <a:cxn ang="0">
                  <a:pos x="6" y="3"/>
                </a:cxn>
                <a:cxn ang="0">
                  <a:pos x="6" y="1"/>
                </a:cxn>
                <a:cxn ang="0">
                  <a:pos x="10" y="3"/>
                </a:cxn>
                <a:cxn ang="0">
                  <a:pos x="10" y="1"/>
                </a:cxn>
              </a:cxnLst>
              <a:rect l="0" t="0" r="r" b="b"/>
              <a:pathLst>
                <a:path w="10" h="4">
                  <a:moveTo>
                    <a:pt x="10" y="1"/>
                  </a:moveTo>
                  <a:lnTo>
                    <a:pt x="10" y="1"/>
                  </a:lnTo>
                  <a:lnTo>
                    <a:pt x="0" y="0"/>
                  </a:lnTo>
                  <a:lnTo>
                    <a:pt x="0" y="1"/>
                  </a:lnTo>
                  <a:lnTo>
                    <a:pt x="0" y="3"/>
                  </a:lnTo>
                  <a:lnTo>
                    <a:pt x="1" y="4"/>
                  </a:lnTo>
                  <a:lnTo>
                    <a:pt x="6" y="4"/>
                  </a:lnTo>
                  <a:lnTo>
                    <a:pt x="6" y="3"/>
                  </a:lnTo>
                  <a:lnTo>
                    <a:pt x="6" y="1"/>
                  </a:lnTo>
                  <a:lnTo>
                    <a:pt x="10" y="3"/>
                  </a:lnTo>
                  <a:lnTo>
                    <a:pt x="10"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70" name="Freeform 369"/>
            <p:cNvSpPr>
              <a:spLocks/>
            </p:cNvSpPr>
            <p:nvPr/>
          </p:nvSpPr>
          <p:spPr bwMode="auto">
            <a:xfrm>
              <a:off x="5546643" y="2157052"/>
              <a:ext cx="8777" cy="5071"/>
            </a:xfrm>
            <a:custGeom>
              <a:avLst/>
              <a:gdLst/>
              <a:ahLst/>
              <a:cxnLst>
                <a:cxn ang="0">
                  <a:pos x="10" y="1"/>
                </a:cxn>
                <a:cxn ang="0">
                  <a:pos x="10" y="1"/>
                </a:cxn>
                <a:cxn ang="0">
                  <a:pos x="0" y="0"/>
                </a:cxn>
                <a:cxn ang="0">
                  <a:pos x="0" y="1"/>
                </a:cxn>
                <a:cxn ang="0">
                  <a:pos x="0" y="3"/>
                </a:cxn>
                <a:cxn ang="0">
                  <a:pos x="1" y="4"/>
                </a:cxn>
                <a:cxn ang="0">
                  <a:pos x="6" y="4"/>
                </a:cxn>
                <a:cxn ang="0">
                  <a:pos x="6" y="3"/>
                </a:cxn>
                <a:cxn ang="0">
                  <a:pos x="6" y="1"/>
                </a:cxn>
                <a:cxn ang="0">
                  <a:pos x="10" y="3"/>
                </a:cxn>
                <a:cxn ang="0">
                  <a:pos x="10" y="1"/>
                </a:cxn>
              </a:cxnLst>
              <a:rect l="0" t="0" r="r" b="b"/>
              <a:pathLst>
                <a:path w="10" h="4">
                  <a:moveTo>
                    <a:pt x="10" y="1"/>
                  </a:moveTo>
                  <a:lnTo>
                    <a:pt x="10" y="1"/>
                  </a:lnTo>
                  <a:lnTo>
                    <a:pt x="0" y="0"/>
                  </a:lnTo>
                  <a:lnTo>
                    <a:pt x="0" y="1"/>
                  </a:lnTo>
                  <a:lnTo>
                    <a:pt x="0" y="3"/>
                  </a:lnTo>
                  <a:lnTo>
                    <a:pt x="1" y="4"/>
                  </a:lnTo>
                  <a:lnTo>
                    <a:pt x="6" y="4"/>
                  </a:lnTo>
                  <a:lnTo>
                    <a:pt x="6" y="3"/>
                  </a:lnTo>
                  <a:lnTo>
                    <a:pt x="6" y="1"/>
                  </a:lnTo>
                  <a:lnTo>
                    <a:pt x="10" y="3"/>
                  </a:lnTo>
                  <a:lnTo>
                    <a:pt x="10"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71" name="Freeform 370"/>
            <p:cNvSpPr>
              <a:spLocks/>
            </p:cNvSpPr>
            <p:nvPr/>
          </p:nvSpPr>
          <p:spPr bwMode="auto">
            <a:xfrm>
              <a:off x="4576674" y="2826379"/>
              <a:ext cx="877" cy="4057"/>
            </a:xfrm>
            <a:custGeom>
              <a:avLst/>
              <a:gdLst/>
              <a:ahLst/>
              <a:cxnLst>
                <a:cxn ang="0">
                  <a:pos x="0" y="3"/>
                </a:cxn>
                <a:cxn ang="0">
                  <a:pos x="0" y="1"/>
                </a:cxn>
                <a:cxn ang="0">
                  <a:pos x="0" y="0"/>
                </a:cxn>
                <a:cxn ang="0">
                  <a:pos x="0" y="0"/>
                </a:cxn>
                <a:cxn ang="0">
                  <a:pos x="1" y="4"/>
                </a:cxn>
                <a:cxn ang="0">
                  <a:pos x="0" y="3"/>
                </a:cxn>
                <a:cxn ang="0">
                  <a:pos x="0" y="3"/>
                </a:cxn>
              </a:cxnLst>
              <a:rect l="0" t="0" r="r" b="b"/>
              <a:pathLst>
                <a:path w="1" h="4">
                  <a:moveTo>
                    <a:pt x="0" y="3"/>
                  </a:moveTo>
                  <a:lnTo>
                    <a:pt x="0" y="1"/>
                  </a:lnTo>
                  <a:lnTo>
                    <a:pt x="0" y="0"/>
                  </a:lnTo>
                  <a:lnTo>
                    <a:pt x="0" y="0"/>
                  </a:lnTo>
                  <a:lnTo>
                    <a:pt x="1" y="4"/>
                  </a:lnTo>
                  <a:lnTo>
                    <a:pt x="0" y="3"/>
                  </a:lnTo>
                  <a:lnTo>
                    <a:pt x="0"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72" name="Freeform 371"/>
            <p:cNvSpPr>
              <a:spLocks/>
            </p:cNvSpPr>
            <p:nvPr/>
          </p:nvSpPr>
          <p:spPr bwMode="auto">
            <a:xfrm>
              <a:off x="4576674" y="2826379"/>
              <a:ext cx="877" cy="4057"/>
            </a:xfrm>
            <a:custGeom>
              <a:avLst/>
              <a:gdLst/>
              <a:ahLst/>
              <a:cxnLst>
                <a:cxn ang="0">
                  <a:pos x="0" y="3"/>
                </a:cxn>
                <a:cxn ang="0">
                  <a:pos x="0" y="1"/>
                </a:cxn>
                <a:cxn ang="0">
                  <a:pos x="0" y="0"/>
                </a:cxn>
                <a:cxn ang="0">
                  <a:pos x="0" y="0"/>
                </a:cxn>
                <a:cxn ang="0">
                  <a:pos x="1" y="4"/>
                </a:cxn>
                <a:cxn ang="0">
                  <a:pos x="0" y="3"/>
                </a:cxn>
                <a:cxn ang="0">
                  <a:pos x="0" y="3"/>
                </a:cxn>
              </a:cxnLst>
              <a:rect l="0" t="0" r="r" b="b"/>
              <a:pathLst>
                <a:path w="1" h="4">
                  <a:moveTo>
                    <a:pt x="0" y="3"/>
                  </a:moveTo>
                  <a:lnTo>
                    <a:pt x="0" y="1"/>
                  </a:lnTo>
                  <a:lnTo>
                    <a:pt x="0" y="0"/>
                  </a:lnTo>
                  <a:lnTo>
                    <a:pt x="0" y="0"/>
                  </a:lnTo>
                  <a:lnTo>
                    <a:pt x="1" y="4"/>
                  </a:lnTo>
                  <a:lnTo>
                    <a:pt x="0" y="3"/>
                  </a:lnTo>
                  <a:lnTo>
                    <a:pt x="0"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73" name="Freeform 372"/>
            <p:cNvSpPr>
              <a:spLocks/>
            </p:cNvSpPr>
            <p:nvPr/>
          </p:nvSpPr>
          <p:spPr bwMode="auto">
            <a:xfrm>
              <a:off x="4615297" y="2839562"/>
              <a:ext cx="2633" cy="6085"/>
            </a:xfrm>
            <a:custGeom>
              <a:avLst/>
              <a:gdLst/>
              <a:ahLst/>
              <a:cxnLst>
                <a:cxn ang="0">
                  <a:pos x="3" y="6"/>
                </a:cxn>
                <a:cxn ang="0">
                  <a:pos x="1" y="6"/>
                </a:cxn>
                <a:cxn ang="0">
                  <a:pos x="1" y="4"/>
                </a:cxn>
                <a:cxn ang="0">
                  <a:pos x="1" y="4"/>
                </a:cxn>
                <a:cxn ang="0">
                  <a:pos x="0" y="3"/>
                </a:cxn>
                <a:cxn ang="0">
                  <a:pos x="1" y="3"/>
                </a:cxn>
                <a:cxn ang="0">
                  <a:pos x="1" y="0"/>
                </a:cxn>
                <a:cxn ang="0">
                  <a:pos x="3" y="0"/>
                </a:cxn>
                <a:cxn ang="0">
                  <a:pos x="3" y="4"/>
                </a:cxn>
                <a:cxn ang="0">
                  <a:pos x="3" y="6"/>
                </a:cxn>
                <a:cxn ang="0">
                  <a:pos x="3" y="6"/>
                </a:cxn>
              </a:cxnLst>
              <a:rect l="0" t="0" r="r" b="b"/>
              <a:pathLst>
                <a:path w="3" h="6">
                  <a:moveTo>
                    <a:pt x="3" y="6"/>
                  </a:moveTo>
                  <a:lnTo>
                    <a:pt x="1" y="6"/>
                  </a:lnTo>
                  <a:lnTo>
                    <a:pt x="1" y="4"/>
                  </a:lnTo>
                  <a:lnTo>
                    <a:pt x="1" y="4"/>
                  </a:lnTo>
                  <a:lnTo>
                    <a:pt x="0" y="3"/>
                  </a:lnTo>
                  <a:lnTo>
                    <a:pt x="1" y="3"/>
                  </a:lnTo>
                  <a:lnTo>
                    <a:pt x="1" y="0"/>
                  </a:lnTo>
                  <a:lnTo>
                    <a:pt x="3" y="0"/>
                  </a:lnTo>
                  <a:lnTo>
                    <a:pt x="3" y="4"/>
                  </a:lnTo>
                  <a:lnTo>
                    <a:pt x="3" y="6"/>
                  </a:lnTo>
                  <a:lnTo>
                    <a:pt x="3"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74" name="Freeform 373"/>
            <p:cNvSpPr>
              <a:spLocks/>
            </p:cNvSpPr>
            <p:nvPr/>
          </p:nvSpPr>
          <p:spPr bwMode="auto">
            <a:xfrm>
              <a:off x="4615297" y="2839562"/>
              <a:ext cx="2633" cy="6085"/>
            </a:xfrm>
            <a:custGeom>
              <a:avLst/>
              <a:gdLst/>
              <a:ahLst/>
              <a:cxnLst>
                <a:cxn ang="0">
                  <a:pos x="3" y="6"/>
                </a:cxn>
                <a:cxn ang="0">
                  <a:pos x="1" y="6"/>
                </a:cxn>
                <a:cxn ang="0">
                  <a:pos x="1" y="4"/>
                </a:cxn>
                <a:cxn ang="0">
                  <a:pos x="1" y="4"/>
                </a:cxn>
                <a:cxn ang="0">
                  <a:pos x="0" y="3"/>
                </a:cxn>
                <a:cxn ang="0">
                  <a:pos x="1" y="3"/>
                </a:cxn>
                <a:cxn ang="0">
                  <a:pos x="1" y="0"/>
                </a:cxn>
                <a:cxn ang="0">
                  <a:pos x="3" y="0"/>
                </a:cxn>
                <a:cxn ang="0">
                  <a:pos x="3" y="4"/>
                </a:cxn>
                <a:cxn ang="0">
                  <a:pos x="3" y="6"/>
                </a:cxn>
                <a:cxn ang="0">
                  <a:pos x="3" y="6"/>
                </a:cxn>
              </a:cxnLst>
              <a:rect l="0" t="0" r="r" b="b"/>
              <a:pathLst>
                <a:path w="3" h="6">
                  <a:moveTo>
                    <a:pt x="3" y="6"/>
                  </a:moveTo>
                  <a:lnTo>
                    <a:pt x="1" y="6"/>
                  </a:lnTo>
                  <a:lnTo>
                    <a:pt x="1" y="4"/>
                  </a:lnTo>
                  <a:lnTo>
                    <a:pt x="1" y="4"/>
                  </a:lnTo>
                  <a:lnTo>
                    <a:pt x="0" y="3"/>
                  </a:lnTo>
                  <a:lnTo>
                    <a:pt x="1" y="3"/>
                  </a:lnTo>
                  <a:lnTo>
                    <a:pt x="1" y="0"/>
                  </a:lnTo>
                  <a:lnTo>
                    <a:pt x="3" y="0"/>
                  </a:lnTo>
                  <a:lnTo>
                    <a:pt x="3" y="4"/>
                  </a:lnTo>
                  <a:lnTo>
                    <a:pt x="3" y="6"/>
                  </a:lnTo>
                  <a:lnTo>
                    <a:pt x="3"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75" name="Freeform 374"/>
            <p:cNvSpPr>
              <a:spLocks/>
            </p:cNvSpPr>
            <p:nvPr/>
          </p:nvSpPr>
          <p:spPr bwMode="auto">
            <a:xfrm>
              <a:off x="4638997" y="2820294"/>
              <a:ext cx="6145" cy="9127"/>
            </a:xfrm>
            <a:custGeom>
              <a:avLst/>
              <a:gdLst/>
              <a:ahLst/>
              <a:cxnLst>
                <a:cxn ang="0">
                  <a:pos x="6" y="9"/>
                </a:cxn>
                <a:cxn ang="0">
                  <a:pos x="4" y="9"/>
                </a:cxn>
                <a:cxn ang="0">
                  <a:pos x="0" y="2"/>
                </a:cxn>
                <a:cxn ang="0">
                  <a:pos x="0" y="0"/>
                </a:cxn>
                <a:cxn ang="0">
                  <a:pos x="0" y="0"/>
                </a:cxn>
                <a:cxn ang="0">
                  <a:pos x="3" y="4"/>
                </a:cxn>
                <a:cxn ang="0">
                  <a:pos x="4" y="4"/>
                </a:cxn>
                <a:cxn ang="0">
                  <a:pos x="4" y="7"/>
                </a:cxn>
                <a:cxn ang="0">
                  <a:pos x="6" y="7"/>
                </a:cxn>
                <a:cxn ang="0">
                  <a:pos x="6" y="9"/>
                </a:cxn>
              </a:cxnLst>
              <a:rect l="0" t="0" r="r" b="b"/>
              <a:pathLst>
                <a:path w="6" h="9">
                  <a:moveTo>
                    <a:pt x="6" y="9"/>
                  </a:moveTo>
                  <a:lnTo>
                    <a:pt x="4" y="9"/>
                  </a:lnTo>
                  <a:lnTo>
                    <a:pt x="0" y="2"/>
                  </a:lnTo>
                  <a:lnTo>
                    <a:pt x="0" y="0"/>
                  </a:lnTo>
                  <a:lnTo>
                    <a:pt x="0" y="0"/>
                  </a:lnTo>
                  <a:lnTo>
                    <a:pt x="3" y="4"/>
                  </a:lnTo>
                  <a:lnTo>
                    <a:pt x="4" y="4"/>
                  </a:lnTo>
                  <a:lnTo>
                    <a:pt x="4" y="7"/>
                  </a:lnTo>
                  <a:lnTo>
                    <a:pt x="6" y="7"/>
                  </a:lnTo>
                  <a:lnTo>
                    <a:pt x="6" y="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76" name="Freeform 375"/>
            <p:cNvSpPr>
              <a:spLocks/>
            </p:cNvSpPr>
            <p:nvPr/>
          </p:nvSpPr>
          <p:spPr bwMode="auto">
            <a:xfrm>
              <a:off x="4638997" y="2820294"/>
              <a:ext cx="6145" cy="9127"/>
            </a:xfrm>
            <a:custGeom>
              <a:avLst/>
              <a:gdLst/>
              <a:ahLst/>
              <a:cxnLst>
                <a:cxn ang="0">
                  <a:pos x="6" y="9"/>
                </a:cxn>
                <a:cxn ang="0">
                  <a:pos x="4" y="9"/>
                </a:cxn>
                <a:cxn ang="0">
                  <a:pos x="0" y="2"/>
                </a:cxn>
                <a:cxn ang="0">
                  <a:pos x="0" y="0"/>
                </a:cxn>
                <a:cxn ang="0">
                  <a:pos x="0" y="0"/>
                </a:cxn>
                <a:cxn ang="0">
                  <a:pos x="3" y="4"/>
                </a:cxn>
                <a:cxn ang="0">
                  <a:pos x="4" y="4"/>
                </a:cxn>
                <a:cxn ang="0">
                  <a:pos x="4" y="7"/>
                </a:cxn>
                <a:cxn ang="0">
                  <a:pos x="6" y="7"/>
                </a:cxn>
                <a:cxn ang="0">
                  <a:pos x="6" y="9"/>
                </a:cxn>
              </a:cxnLst>
              <a:rect l="0" t="0" r="r" b="b"/>
              <a:pathLst>
                <a:path w="6" h="9">
                  <a:moveTo>
                    <a:pt x="6" y="9"/>
                  </a:moveTo>
                  <a:lnTo>
                    <a:pt x="4" y="9"/>
                  </a:lnTo>
                  <a:lnTo>
                    <a:pt x="0" y="2"/>
                  </a:lnTo>
                  <a:lnTo>
                    <a:pt x="0" y="0"/>
                  </a:lnTo>
                  <a:lnTo>
                    <a:pt x="0" y="0"/>
                  </a:lnTo>
                  <a:lnTo>
                    <a:pt x="3" y="4"/>
                  </a:lnTo>
                  <a:lnTo>
                    <a:pt x="4" y="4"/>
                  </a:lnTo>
                  <a:lnTo>
                    <a:pt x="4" y="7"/>
                  </a:lnTo>
                  <a:lnTo>
                    <a:pt x="6" y="7"/>
                  </a:lnTo>
                  <a:lnTo>
                    <a:pt x="6" y="9"/>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77" name="Freeform 376"/>
            <p:cNvSpPr>
              <a:spLocks/>
            </p:cNvSpPr>
            <p:nvPr/>
          </p:nvSpPr>
          <p:spPr bwMode="auto">
            <a:xfrm>
              <a:off x="4653042" y="2826379"/>
              <a:ext cx="2634" cy="6085"/>
            </a:xfrm>
            <a:custGeom>
              <a:avLst/>
              <a:gdLst/>
              <a:ahLst/>
              <a:cxnLst>
                <a:cxn ang="0">
                  <a:pos x="0" y="1"/>
                </a:cxn>
                <a:cxn ang="0">
                  <a:pos x="0" y="0"/>
                </a:cxn>
                <a:cxn ang="0">
                  <a:pos x="1" y="0"/>
                </a:cxn>
                <a:cxn ang="0">
                  <a:pos x="3" y="0"/>
                </a:cxn>
                <a:cxn ang="0">
                  <a:pos x="3" y="3"/>
                </a:cxn>
                <a:cxn ang="0">
                  <a:pos x="3" y="6"/>
                </a:cxn>
                <a:cxn ang="0">
                  <a:pos x="1" y="6"/>
                </a:cxn>
                <a:cxn ang="0">
                  <a:pos x="0" y="6"/>
                </a:cxn>
                <a:cxn ang="0">
                  <a:pos x="0" y="4"/>
                </a:cxn>
                <a:cxn ang="0">
                  <a:pos x="0" y="1"/>
                </a:cxn>
              </a:cxnLst>
              <a:rect l="0" t="0" r="r" b="b"/>
              <a:pathLst>
                <a:path w="3" h="6">
                  <a:moveTo>
                    <a:pt x="0" y="1"/>
                  </a:moveTo>
                  <a:lnTo>
                    <a:pt x="0" y="0"/>
                  </a:lnTo>
                  <a:lnTo>
                    <a:pt x="1" y="0"/>
                  </a:lnTo>
                  <a:lnTo>
                    <a:pt x="3" y="0"/>
                  </a:lnTo>
                  <a:lnTo>
                    <a:pt x="3" y="3"/>
                  </a:lnTo>
                  <a:lnTo>
                    <a:pt x="3" y="6"/>
                  </a:lnTo>
                  <a:lnTo>
                    <a:pt x="1" y="6"/>
                  </a:lnTo>
                  <a:lnTo>
                    <a:pt x="0" y="6"/>
                  </a:lnTo>
                  <a:lnTo>
                    <a:pt x="0" y="4"/>
                  </a:lnTo>
                  <a:lnTo>
                    <a:pt x="0"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78" name="Freeform 377"/>
            <p:cNvSpPr>
              <a:spLocks/>
            </p:cNvSpPr>
            <p:nvPr/>
          </p:nvSpPr>
          <p:spPr bwMode="auto">
            <a:xfrm>
              <a:off x="4653042" y="2826379"/>
              <a:ext cx="2634" cy="6085"/>
            </a:xfrm>
            <a:custGeom>
              <a:avLst/>
              <a:gdLst/>
              <a:ahLst/>
              <a:cxnLst>
                <a:cxn ang="0">
                  <a:pos x="0" y="1"/>
                </a:cxn>
                <a:cxn ang="0">
                  <a:pos x="0" y="0"/>
                </a:cxn>
                <a:cxn ang="0">
                  <a:pos x="1" y="0"/>
                </a:cxn>
                <a:cxn ang="0">
                  <a:pos x="3" y="0"/>
                </a:cxn>
                <a:cxn ang="0">
                  <a:pos x="3" y="3"/>
                </a:cxn>
                <a:cxn ang="0">
                  <a:pos x="3" y="6"/>
                </a:cxn>
                <a:cxn ang="0">
                  <a:pos x="1" y="6"/>
                </a:cxn>
                <a:cxn ang="0">
                  <a:pos x="0" y="6"/>
                </a:cxn>
                <a:cxn ang="0">
                  <a:pos x="0" y="4"/>
                </a:cxn>
                <a:cxn ang="0">
                  <a:pos x="0" y="1"/>
                </a:cxn>
              </a:cxnLst>
              <a:rect l="0" t="0" r="r" b="b"/>
              <a:pathLst>
                <a:path w="3" h="6">
                  <a:moveTo>
                    <a:pt x="0" y="1"/>
                  </a:moveTo>
                  <a:lnTo>
                    <a:pt x="0" y="0"/>
                  </a:lnTo>
                  <a:lnTo>
                    <a:pt x="1" y="0"/>
                  </a:lnTo>
                  <a:lnTo>
                    <a:pt x="3" y="0"/>
                  </a:lnTo>
                  <a:lnTo>
                    <a:pt x="3" y="3"/>
                  </a:lnTo>
                  <a:lnTo>
                    <a:pt x="3" y="6"/>
                  </a:lnTo>
                  <a:lnTo>
                    <a:pt x="1" y="6"/>
                  </a:lnTo>
                  <a:lnTo>
                    <a:pt x="0" y="6"/>
                  </a:lnTo>
                  <a:lnTo>
                    <a:pt x="0" y="4"/>
                  </a:lnTo>
                  <a:lnTo>
                    <a:pt x="0"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79" name="Freeform 378"/>
            <p:cNvSpPr>
              <a:spLocks/>
            </p:cNvSpPr>
            <p:nvPr/>
          </p:nvSpPr>
          <p:spPr bwMode="auto">
            <a:xfrm>
              <a:off x="4848792" y="2889256"/>
              <a:ext cx="877" cy="4057"/>
            </a:xfrm>
            <a:custGeom>
              <a:avLst/>
              <a:gdLst/>
              <a:ahLst/>
              <a:cxnLst>
                <a:cxn ang="0">
                  <a:pos x="1" y="0"/>
                </a:cxn>
                <a:cxn ang="0">
                  <a:pos x="1" y="0"/>
                </a:cxn>
                <a:cxn ang="0">
                  <a:pos x="1" y="3"/>
                </a:cxn>
                <a:cxn ang="0">
                  <a:pos x="1" y="3"/>
                </a:cxn>
                <a:cxn ang="0">
                  <a:pos x="0" y="4"/>
                </a:cxn>
                <a:cxn ang="0">
                  <a:pos x="0" y="3"/>
                </a:cxn>
                <a:cxn ang="0">
                  <a:pos x="0" y="1"/>
                </a:cxn>
                <a:cxn ang="0">
                  <a:pos x="0" y="1"/>
                </a:cxn>
                <a:cxn ang="0">
                  <a:pos x="1" y="0"/>
                </a:cxn>
              </a:cxnLst>
              <a:rect l="0" t="0" r="r" b="b"/>
              <a:pathLst>
                <a:path w="1" h="4">
                  <a:moveTo>
                    <a:pt x="1" y="0"/>
                  </a:moveTo>
                  <a:lnTo>
                    <a:pt x="1" y="0"/>
                  </a:lnTo>
                  <a:lnTo>
                    <a:pt x="1" y="3"/>
                  </a:lnTo>
                  <a:lnTo>
                    <a:pt x="1" y="3"/>
                  </a:lnTo>
                  <a:lnTo>
                    <a:pt x="0" y="4"/>
                  </a:lnTo>
                  <a:lnTo>
                    <a:pt x="0" y="3"/>
                  </a:lnTo>
                  <a:lnTo>
                    <a:pt x="0" y="1"/>
                  </a:lnTo>
                  <a:lnTo>
                    <a:pt x="0" y="1"/>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80" name="Freeform 379"/>
            <p:cNvSpPr>
              <a:spLocks/>
            </p:cNvSpPr>
            <p:nvPr/>
          </p:nvSpPr>
          <p:spPr bwMode="auto">
            <a:xfrm>
              <a:off x="4848792" y="2889256"/>
              <a:ext cx="877" cy="4057"/>
            </a:xfrm>
            <a:custGeom>
              <a:avLst/>
              <a:gdLst/>
              <a:ahLst/>
              <a:cxnLst>
                <a:cxn ang="0">
                  <a:pos x="1" y="0"/>
                </a:cxn>
                <a:cxn ang="0">
                  <a:pos x="1" y="0"/>
                </a:cxn>
                <a:cxn ang="0">
                  <a:pos x="1" y="3"/>
                </a:cxn>
                <a:cxn ang="0">
                  <a:pos x="1" y="3"/>
                </a:cxn>
                <a:cxn ang="0">
                  <a:pos x="0" y="4"/>
                </a:cxn>
                <a:cxn ang="0">
                  <a:pos x="0" y="3"/>
                </a:cxn>
                <a:cxn ang="0">
                  <a:pos x="0" y="1"/>
                </a:cxn>
                <a:cxn ang="0">
                  <a:pos x="0" y="1"/>
                </a:cxn>
                <a:cxn ang="0">
                  <a:pos x="1" y="0"/>
                </a:cxn>
              </a:cxnLst>
              <a:rect l="0" t="0" r="r" b="b"/>
              <a:pathLst>
                <a:path w="1" h="4">
                  <a:moveTo>
                    <a:pt x="1" y="0"/>
                  </a:moveTo>
                  <a:lnTo>
                    <a:pt x="1" y="0"/>
                  </a:lnTo>
                  <a:lnTo>
                    <a:pt x="1" y="3"/>
                  </a:lnTo>
                  <a:lnTo>
                    <a:pt x="1" y="3"/>
                  </a:lnTo>
                  <a:lnTo>
                    <a:pt x="0" y="4"/>
                  </a:lnTo>
                  <a:lnTo>
                    <a:pt x="0" y="3"/>
                  </a:lnTo>
                  <a:lnTo>
                    <a:pt x="0" y="1"/>
                  </a:lnTo>
                  <a:lnTo>
                    <a:pt x="0" y="1"/>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81" name="Freeform 380"/>
            <p:cNvSpPr>
              <a:spLocks/>
            </p:cNvSpPr>
            <p:nvPr/>
          </p:nvSpPr>
          <p:spPr bwMode="auto">
            <a:xfrm>
              <a:off x="4983095" y="2965314"/>
              <a:ext cx="3511" cy="3043"/>
            </a:xfrm>
            <a:custGeom>
              <a:avLst/>
              <a:gdLst/>
              <a:ahLst/>
              <a:cxnLst>
                <a:cxn ang="0">
                  <a:pos x="4" y="0"/>
                </a:cxn>
                <a:cxn ang="0">
                  <a:pos x="1" y="0"/>
                </a:cxn>
                <a:cxn ang="0">
                  <a:pos x="0" y="1"/>
                </a:cxn>
                <a:cxn ang="0">
                  <a:pos x="0" y="3"/>
                </a:cxn>
                <a:cxn ang="0">
                  <a:pos x="3" y="1"/>
                </a:cxn>
                <a:cxn ang="0">
                  <a:pos x="4" y="0"/>
                </a:cxn>
              </a:cxnLst>
              <a:rect l="0" t="0" r="r" b="b"/>
              <a:pathLst>
                <a:path w="4" h="3">
                  <a:moveTo>
                    <a:pt x="4" y="0"/>
                  </a:moveTo>
                  <a:lnTo>
                    <a:pt x="1" y="0"/>
                  </a:lnTo>
                  <a:lnTo>
                    <a:pt x="0" y="1"/>
                  </a:lnTo>
                  <a:lnTo>
                    <a:pt x="0" y="3"/>
                  </a:lnTo>
                  <a:lnTo>
                    <a:pt x="3" y="1"/>
                  </a:lnTo>
                  <a:lnTo>
                    <a:pt x="4"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82" name="Freeform 381"/>
            <p:cNvSpPr>
              <a:spLocks/>
            </p:cNvSpPr>
            <p:nvPr/>
          </p:nvSpPr>
          <p:spPr bwMode="auto">
            <a:xfrm>
              <a:off x="4983095" y="2965314"/>
              <a:ext cx="3511" cy="3043"/>
            </a:xfrm>
            <a:custGeom>
              <a:avLst/>
              <a:gdLst/>
              <a:ahLst/>
              <a:cxnLst>
                <a:cxn ang="0">
                  <a:pos x="4" y="0"/>
                </a:cxn>
                <a:cxn ang="0">
                  <a:pos x="1" y="0"/>
                </a:cxn>
                <a:cxn ang="0">
                  <a:pos x="0" y="1"/>
                </a:cxn>
                <a:cxn ang="0">
                  <a:pos x="0" y="3"/>
                </a:cxn>
                <a:cxn ang="0">
                  <a:pos x="3" y="1"/>
                </a:cxn>
                <a:cxn ang="0">
                  <a:pos x="4" y="0"/>
                </a:cxn>
              </a:cxnLst>
              <a:rect l="0" t="0" r="r" b="b"/>
              <a:pathLst>
                <a:path w="4" h="3">
                  <a:moveTo>
                    <a:pt x="4" y="0"/>
                  </a:moveTo>
                  <a:lnTo>
                    <a:pt x="1" y="0"/>
                  </a:lnTo>
                  <a:lnTo>
                    <a:pt x="0" y="1"/>
                  </a:lnTo>
                  <a:lnTo>
                    <a:pt x="0" y="3"/>
                  </a:lnTo>
                  <a:lnTo>
                    <a:pt x="3" y="1"/>
                  </a:lnTo>
                  <a:lnTo>
                    <a:pt x="4"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83" name="Freeform 382"/>
            <p:cNvSpPr>
              <a:spLocks/>
            </p:cNvSpPr>
            <p:nvPr/>
          </p:nvSpPr>
          <p:spPr bwMode="auto">
            <a:xfrm>
              <a:off x="5087553" y="2863902"/>
              <a:ext cx="14922" cy="5071"/>
            </a:xfrm>
            <a:custGeom>
              <a:avLst/>
              <a:gdLst/>
              <a:ahLst/>
              <a:cxnLst>
                <a:cxn ang="0">
                  <a:pos x="13" y="0"/>
                </a:cxn>
                <a:cxn ang="0">
                  <a:pos x="13" y="0"/>
                </a:cxn>
                <a:cxn ang="0">
                  <a:pos x="13" y="2"/>
                </a:cxn>
                <a:cxn ang="0">
                  <a:pos x="13" y="2"/>
                </a:cxn>
                <a:cxn ang="0">
                  <a:pos x="15" y="3"/>
                </a:cxn>
                <a:cxn ang="0">
                  <a:pos x="16" y="5"/>
                </a:cxn>
                <a:cxn ang="0">
                  <a:pos x="15" y="3"/>
                </a:cxn>
                <a:cxn ang="0">
                  <a:pos x="13" y="3"/>
                </a:cxn>
                <a:cxn ang="0">
                  <a:pos x="5" y="5"/>
                </a:cxn>
                <a:cxn ang="0">
                  <a:pos x="2" y="5"/>
                </a:cxn>
                <a:cxn ang="0">
                  <a:pos x="0" y="3"/>
                </a:cxn>
                <a:cxn ang="0">
                  <a:pos x="5" y="2"/>
                </a:cxn>
                <a:cxn ang="0">
                  <a:pos x="11" y="0"/>
                </a:cxn>
                <a:cxn ang="0">
                  <a:pos x="12" y="0"/>
                </a:cxn>
                <a:cxn ang="0">
                  <a:pos x="13" y="0"/>
                </a:cxn>
              </a:cxnLst>
              <a:rect l="0" t="0" r="r" b="b"/>
              <a:pathLst>
                <a:path w="16" h="5">
                  <a:moveTo>
                    <a:pt x="13" y="0"/>
                  </a:moveTo>
                  <a:lnTo>
                    <a:pt x="13" y="0"/>
                  </a:lnTo>
                  <a:lnTo>
                    <a:pt x="13" y="2"/>
                  </a:lnTo>
                  <a:lnTo>
                    <a:pt x="13" y="2"/>
                  </a:lnTo>
                  <a:lnTo>
                    <a:pt x="15" y="3"/>
                  </a:lnTo>
                  <a:lnTo>
                    <a:pt x="16" y="5"/>
                  </a:lnTo>
                  <a:lnTo>
                    <a:pt x="15" y="3"/>
                  </a:lnTo>
                  <a:lnTo>
                    <a:pt x="13" y="3"/>
                  </a:lnTo>
                  <a:lnTo>
                    <a:pt x="5" y="5"/>
                  </a:lnTo>
                  <a:lnTo>
                    <a:pt x="2" y="5"/>
                  </a:lnTo>
                  <a:lnTo>
                    <a:pt x="0" y="3"/>
                  </a:lnTo>
                  <a:lnTo>
                    <a:pt x="5" y="2"/>
                  </a:lnTo>
                  <a:lnTo>
                    <a:pt x="11" y="0"/>
                  </a:lnTo>
                  <a:lnTo>
                    <a:pt x="12" y="0"/>
                  </a:lnTo>
                  <a:lnTo>
                    <a:pt x="1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84" name="Freeform 383"/>
            <p:cNvSpPr>
              <a:spLocks/>
            </p:cNvSpPr>
            <p:nvPr/>
          </p:nvSpPr>
          <p:spPr bwMode="auto">
            <a:xfrm>
              <a:off x="5087553" y="2863902"/>
              <a:ext cx="14922" cy="5071"/>
            </a:xfrm>
            <a:custGeom>
              <a:avLst/>
              <a:gdLst/>
              <a:ahLst/>
              <a:cxnLst>
                <a:cxn ang="0">
                  <a:pos x="13" y="0"/>
                </a:cxn>
                <a:cxn ang="0">
                  <a:pos x="13" y="0"/>
                </a:cxn>
                <a:cxn ang="0">
                  <a:pos x="13" y="2"/>
                </a:cxn>
                <a:cxn ang="0">
                  <a:pos x="13" y="2"/>
                </a:cxn>
                <a:cxn ang="0">
                  <a:pos x="15" y="3"/>
                </a:cxn>
                <a:cxn ang="0">
                  <a:pos x="16" y="5"/>
                </a:cxn>
                <a:cxn ang="0">
                  <a:pos x="15" y="3"/>
                </a:cxn>
                <a:cxn ang="0">
                  <a:pos x="13" y="3"/>
                </a:cxn>
                <a:cxn ang="0">
                  <a:pos x="5" y="5"/>
                </a:cxn>
                <a:cxn ang="0">
                  <a:pos x="2" y="5"/>
                </a:cxn>
                <a:cxn ang="0">
                  <a:pos x="0" y="3"/>
                </a:cxn>
                <a:cxn ang="0">
                  <a:pos x="5" y="2"/>
                </a:cxn>
                <a:cxn ang="0">
                  <a:pos x="11" y="0"/>
                </a:cxn>
                <a:cxn ang="0">
                  <a:pos x="12" y="0"/>
                </a:cxn>
                <a:cxn ang="0">
                  <a:pos x="13" y="0"/>
                </a:cxn>
              </a:cxnLst>
              <a:rect l="0" t="0" r="r" b="b"/>
              <a:pathLst>
                <a:path w="16" h="5">
                  <a:moveTo>
                    <a:pt x="13" y="0"/>
                  </a:moveTo>
                  <a:lnTo>
                    <a:pt x="13" y="0"/>
                  </a:lnTo>
                  <a:lnTo>
                    <a:pt x="13" y="2"/>
                  </a:lnTo>
                  <a:lnTo>
                    <a:pt x="13" y="2"/>
                  </a:lnTo>
                  <a:lnTo>
                    <a:pt x="15" y="3"/>
                  </a:lnTo>
                  <a:lnTo>
                    <a:pt x="16" y="5"/>
                  </a:lnTo>
                  <a:lnTo>
                    <a:pt x="15" y="3"/>
                  </a:lnTo>
                  <a:lnTo>
                    <a:pt x="13" y="3"/>
                  </a:lnTo>
                  <a:lnTo>
                    <a:pt x="5" y="5"/>
                  </a:lnTo>
                  <a:lnTo>
                    <a:pt x="2" y="5"/>
                  </a:lnTo>
                  <a:lnTo>
                    <a:pt x="0" y="3"/>
                  </a:lnTo>
                  <a:lnTo>
                    <a:pt x="5" y="2"/>
                  </a:lnTo>
                  <a:lnTo>
                    <a:pt x="11" y="0"/>
                  </a:lnTo>
                  <a:lnTo>
                    <a:pt x="12" y="0"/>
                  </a:lnTo>
                  <a:lnTo>
                    <a:pt x="1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85" name="Freeform 384"/>
            <p:cNvSpPr>
              <a:spLocks/>
            </p:cNvSpPr>
            <p:nvPr/>
          </p:nvSpPr>
          <p:spPr bwMode="auto">
            <a:xfrm>
              <a:off x="5109498" y="2868973"/>
              <a:ext cx="3511" cy="10141"/>
            </a:xfrm>
            <a:custGeom>
              <a:avLst/>
              <a:gdLst/>
              <a:ahLst/>
              <a:cxnLst>
                <a:cxn ang="0">
                  <a:pos x="3" y="4"/>
                </a:cxn>
                <a:cxn ang="0">
                  <a:pos x="4" y="0"/>
                </a:cxn>
                <a:cxn ang="0">
                  <a:pos x="4" y="3"/>
                </a:cxn>
                <a:cxn ang="0">
                  <a:pos x="1" y="10"/>
                </a:cxn>
                <a:cxn ang="0">
                  <a:pos x="0" y="7"/>
                </a:cxn>
                <a:cxn ang="0">
                  <a:pos x="1" y="7"/>
                </a:cxn>
                <a:cxn ang="0">
                  <a:pos x="1" y="5"/>
                </a:cxn>
                <a:cxn ang="0">
                  <a:pos x="1" y="4"/>
                </a:cxn>
                <a:cxn ang="0">
                  <a:pos x="1" y="0"/>
                </a:cxn>
                <a:cxn ang="0">
                  <a:pos x="3" y="0"/>
                </a:cxn>
                <a:cxn ang="0">
                  <a:pos x="3" y="1"/>
                </a:cxn>
                <a:cxn ang="0">
                  <a:pos x="3" y="4"/>
                </a:cxn>
              </a:cxnLst>
              <a:rect l="0" t="0" r="r" b="b"/>
              <a:pathLst>
                <a:path w="4" h="10">
                  <a:moveTo>
                    <a:pt x="3" y="4"/>
                  </a:moveTo>
                  <a:lnTo>
                    <a:pt x="4" y="0"/>
                  </a:lnTo>
                  <a:lnTo>
                    <a:pt x="4" y="3"/>
                  </a:lnTo>
                  <a:lnTo>
                    <a:pt x="1" y="10"/>
                  </a:lnTo>
                  <a:lnTo>
                    <a:pt x="0" y="7"/>
                  </a:lnTo>
                  <a:lnTo>
                    <a:pt x="1" y="7"/>
                  </a:lnTo>
                  <a:lnTo>
                    <a:pt x="1" y="5"/>
                  </a:lnTo>
                  <a:lnTo>
                    <a:pt x="1" y="4"/>
                  </a:lnTo>
                  <a:lnTo>
                    <a:pt x="1" y="0"/>
                  </a:lnTo>
                  <a:lnTo>
                    <a:pt x="3" y="0"/>
                  </a:lnTo>
                  <a:lnTo>
                    <a:pt x="3" y="1"/>
                  </a:lnTo>
                  <a:lnTo>
                    <a:pt x="3"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86" name="Freeform 385"/>
            <p:cNvSpPr>
              <a:spLocks/>
            </p:cNvSpPr>
            <p:nvPr/>
          </p:nvSpPr>
          <p:spPr bwMode="auto">
            <a:xfrm>
              <a:off x="5109498" y="2868973"/>
              <a:ext cx="3511" cy="10141"/>
            </a:xfrm>
            <a:custGeom>
              <a:avLst/>
              <a:gdLst/>
              <a:ahLst/>
              <a:cxnLst>
                <a:cxn ang="0">
                  <a:pos x="3" y="4"/>
                </a:cxn>
                <a:cxn ang="0">
                  <a:pos x="4" y="0"/>
                </a:cxn>
                <a:cxn ang="0">
                  <a:pos x="4" y="3"/>
                </a:cxn>
                <a:cxn ang="0">
                  <a:pos x="1" y="10"/>
                </a:cxn>
                <a:cxn ang="0">
                  <a:pos x="0" y="7"/>
                </a:cxn>
                <a:cxn ang="0">
                  <a:pos x="1" y="7"/>
                </a:cxn>
                <a:cxn ang="0">
                  <a:pos x="1" y="5"/>
                </a:cxn>
                <a:cxn ang="0">
                  <a:pos x="1" y="4"/>
                </a:cxn>
                <a:cxn ang="0">
                  <a:pos x="1" y="0"/>
                </a:cxn>
                <a:cxn ang="0">
                  <a:pos x="3" y="0"/>
                </a:cxn>
                <a:cxn ang="0">
                  <a:pos x="3" y="1"/>
                </a:cxn>
                <a:cxn ang="0">
                  <a:pos x="3" y="4"/>
                </a:cxn>
              </a:cxnLst>
              <a:rect l="0" t="0" r="r" b="b"/>
              <a:pathLst>
                <a:path w="4" h="10">
                  <a:moveTo>
                    <a:pt x="3" y="4"/>
                  </a:moveTo>
                  <a:lnTo>
                    <a:pt x="4" y="0"/>
                  </a:lnTo>
                  <a:lnTo>
                    <a:pt x="4" y="3"/>
                  </a:lnTo>
                  <a:lnTo>
                    <a:pt x="1" y="10"/>
                  </a:lnTo>
                  <a:lnTo>
                    <a:pt x="0" y="7"/>
                  </a:lnTo>
                  <a:lnTo>
                    <a:pt x="1" y="7"/>
                  </a:lnTo>
                  <a:lnTo>
                    <a:pt x="1" y="5"/>
                  </a:lnTo>
                  <a:lnTo>
                    <a:pt x="1" y="4"/>
                  </a:lnTo>
                  <a:lnTo>
                    <a:pt x="1" y="0"/>
                  </a:lnTo>
                  <a:lnTo>
                    <a:pt x="3" y="0"/>
                  </a:lnTo>
                  <a:lnTo>
                    <a:pt x="3" y="1"/>
                  </a:lnTo>
                  <a:lnTo>
                    <a:pt x="3"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87" name="Freeform 386"/>
            <p:cNvSpPr>
              <a:spLocks/>
            </p:cNvSpPr>
            <p:nvPr/>
          </p:nvSpPr>
          <p:spPr bwMode="auto">
            <a:xfrm>
              <a:off x="5106865" y="2892297"/>
              <a:ext cx="3511" cy="1015"/>
            </a:xfrm>
            <a:custGeom>
              <a:avLst/>
              <a:gdLst/>
              <a:ahLst/>
              <a:cxnLst>
                <a:cxn ang="0">
                  <a:pos x="3" y="1"/>
                </a:cxn>
                <a:cxn ang="0">
                  <a:pos x="4" y="0"/>
                </a:cxn>
                <a:cxn ang="0">
                  <a:pos x="4" y="0"/>
                </a:cxn>
                <a:cxn ang="0">
                  <a:pos x="0" y="0"/>
                </a:cxn>
                <a:cxn ang="0">
                  <a:pos x="0" y="1"/>
                </a:cxn>
                <a:cxn ang="0">
                  <a:pos x="3" y="1"/>
                </a:cxn>
              </a:cxnLst>
              <a:rect l="0" t="0" r="r" b="b"/>
              <a:pathLst>
                <a:path w="4" h="1">
                  <a:moveTo>
                    <a:pt x="3" y="1"/>
                  </a:moveTo>
                  <a:lnTo>
                    <a:pt x="4" y="0"/>
                  </a:lnTo>
                  <a:lnTo>
                    <a:pt x="4" y="0"/>
                  </a:lnTo>
                  <a:lnTo>
                    <a:pt x="0" y="0"/>
                  </a:lnTo>
                  <a:lnTo>
                    <a:pt x="0" y="1"/>
                  </a:lnTo>
                  <a:lnTo>
                    <a:pt x="3"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88" name="Freeform 387"/>
            <p:cNvSpPr>
              <a:spLocks/>
            </p:cNvSpPr>
            <p:nvPr/>
          </p:nvSpPr>
          <p:spPr bwMode="auto">
            <a:xfrm>
              <a:off x="5106865" y="2892297"/>
              <a:ext cx="3511" cy="1015"/>
            </a:xfrm>
            <a:custGeom>
              <a:avLst/>
              <a:gdLst/>
              <a:ahLst/>
              <a:cxnLst>
                <a:cxn ang="0">
                  <a:pos x="3" y="1"/>
                </a:cxn>
                <a:cxn ang="0">
                  <a:pos x="4" y="0"/>
                </a:cxn>
                <a:cxn ang="0">
                  <a:pos x="4" y="0"/>
                </a:cxn>
                <a:cxn ang="0">
                  <a:pos x="0" y="0"/>
                </a:cxn>
                <a:cxn ang="0">
                  <a:pos x="0" y="1"/>
                </a:cxn>
                <a:cxn ang="0">
                  <a:pos x="3" y="1"/>
                </a:cxn>
              </a:cxnLst>
              <a:rect l="0" t="0" r="r" b="b"/>
              <a:pathLst>
                <a:path w="4" h="1">
                  <a:moveTo>
                    <a:pt x="3" y="1"/>
                  </a:moveTo>
                  <a:lnTo>
                    <a:pt x="4" y="0"/>
                  </a:lnTo>
                  <a:lnTo>
                    <a:pt x="4" y="0"/>
                  </a:lnTo>
                  <a:lnTo>
                    <a:pt x="0" y="0"/>
                  </a:lnTo>
                  <a:lnTo>
                    <a:pt x="0" y="1"/>
                  </a:lnTo>
                  <a:lnTo>
                    <a:pt x="3"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89" name="Freeform 388"/>
            <p:cNvSpPr>
              <a:spLocks/>
            </p:cNvSpPr>
            <p:nvPr/>
          </p:nvSpPr>
          <p:spPr bwMode="auto">
            <a:xfrm>
              <a:off x="5096332" y="2890269"/>
              <a:ext cx="6144" cy="15212"/>
            </a:xfrm>
            <a:custGeom>
              <a:avLst/>
              <a:gdLst/>
              <a:ahLst/>
              <a:cxnLst>
                <a:cxn ang="0">
                  <a:pos x="4" y="2"/>
                </a:cxn>
                <a:cxn ang="0">
                  <a:pos x="4" y="2"/>
                </a:cxn>
                <a:cxn ang="0">
                  <a:pos x="6" y="3"/>
                </a:cxn>
                <a:cxn ang="0">
                  <a:pos x="7" y="8"/>
                </a:cxn>
                <a:cxn ang="0">
                  <a:pos x="7" y="11"/>
                </a:cxn>
                <a:cxn ang="0">
                  <a:pos x="7" y="12"/>
                </a:cxn>
                <a:cxn ang="0">
                  <a:pos x="6" y="14"/>
                </a:cxn>
                <a:cxn ang="0">
                  <a:pos x="4" y="14"/>
                </a:cxn>
                <a:cxn ang="0">
                  <a:pos x="3" y="11"/>
                </a:cxn>
                <a:cxn ang="0">
                  <a:pos x="0" y="9"/>
                </a:cxn>
                <a:cxn ang="0">
                  <a:pos x="0" y="8"/>
                </a:cxn>
                <a:cxn ang="0">
                  <a:pos x="2" y="2"/>
                </a:cxn>
                <a:cxn ang="0">
                  <a:pos x="2" y="0"/>
                </a:cxn>
                <a:cxn ang="0">
                  <a:pos x="3" y="0"/>
                </a:cxn>
                <a:cxn ang="0">
                  <a:pos x="4" y="2"/>
                </a:cxn>
              </a:cxnLst>
              <a:rect l="0" t="0" r="r" b="b"/>
              <a:pathLst>
                <a:path w="7" h="14">
                  <a:moveTo>
                    <a:pt x="4" y="2"/>
                  </a:moveTo>
                  <a:lnTo>
                    <a:pt x="4" y="2"/>
                  </a:lnTo>
                  <a:lnTo>
                    <a:pt x="6" y="3"/>
                  </a:lnTo>
                  <a:lnTo>
                    <a:pt x="7" y="8"/>
                  </a:lnTo>
                  <a:lnTo>
                    <a:pt x="7" y="11"/>
                  </a:lnTo>
                  <a:lnTo>
                    <a:pt x="7" y="12"/>
                  </a:lnTo>
                  <a:lnTo>
                    <a:pt x="6" y="14"/>
                  </a:lnTo>
                  <a:lnTo>
                    <a:pt x="4" y="14"/>
                  </a:lnTo>
                  <a:lnTo>
                    <a:pt x="3" y="11"/>
                  </a:lnTo>
                  <a:lnTo>
                    <a:pt x="0" y="9"/>
                  </a:lnTo>
                  <a:lnTo>
                    <a:pt x="0" y="8"/>
                  </a:lnTo>
                  <a:lnTo>
                    <a:pt x="2" y="2"/>
                  </a:lnTo>
                  <a:lnTo>
                    <a:pt x="2" y="0"/>
                  </a:lnTo>
                  <a:lnTo>
                    <a:pt x="3" y="0"/>
                  </a:lnTo>
                  <a:lnTo>
                    <a:pt x="4"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90" name="Freeform 389"/>
            <p:cNvSpPr>
              <a:spLocks/>
            </p:cNvSpPr>
            <p:nvPr/>
          </p:nvSpPr>
          <p:spPr bwMode="auto">
            <a:xfrm>
              <a:off x="5096332" y="2890269"/>
              <a:ext cx="6144" cy="15212"/>
            </a:xfrm>
            <a:custGeom>
              <a:avLst/>
              <a:gdLst/>
              <a:ahLst/>
              <a:cxnLst>
                <a:cxn ang="0">
                  <a:pos x="4" y="2"/>
                </a:cxn>
                <a:cxn ang="0">
                  <a:pos x="4" y="2"/>
                </a:cxn>
                <a:cxn ang="0">
                  <a:pos x="6" y="3"/>
                </a:cxn>
                <a:cxn ang="0">
                  <a:pos x="7" y="8"/>
                </a:cxn>
                <a:cxn ang="0">
                  <a:pos x="7" y="11"/>
                </a:cxn>
                <a:cxn ang="0">
                  <a:pos x="7" y="12"/>
                </a:cxn>
                <a:cxn ang="0">
                  <a:pos x="6" y="14"/>
                </a:cxn>
                <a:cxn ang="0">
                  <a:pos x="4" y="14"/>
                </a:cxn>
                <a:cxn ang="0">
                  <a:pos x="3" y="11"/>
                </a:cxn>
                <a:cxn ang="0">
                  <a:pos x="0" y="9"/>
                </a:cxn>
                <a:cxn ang="0">
                  <a:pos x="0" y="8"/>
                </a:cxn>
                <a:cxn ang="0">
                  <a:pos x="2" y="2"/>
                </a:cxn>
                <a:cxn ang="0">
                  <a:pos x="2" y="0"/>
                </a:cxn>
                <a:cxn ang="0">
                  <a:pos x="3" y="0"/>
                </a:cxn>
                <a:cxn ang="0">
                  <a:pos x="4" y="2"/>
                </a:cxn>
              </a:cxnLst>
              <a:rect l="0" t="0" r="r" b="b"/>
              <a:pathLst>
                <a:path w="7" h="14">
                  <a:moveTo>
                    <a:pt x="4" y="2"/>
                  </a:moveTo>
                  <a:lnTo>
                    <a:pt x="4" y="2"/>
                  </a:lnTo>
                  <a:lnTo>
                    <a:pt x="6" y="3"/>
                  </a:lnTo>
                  <a:lnTo>
                    <a:pt x="7" y="8"/>
                  </a:lnTo>
                  <a:lnTo>
                    <a:pt x="7" y="11"/>
                  </a:lnTo>
                  <a:lnTo>
                    <a:pt x="7" y="12"/>
                  </a:lnTo>
                  <a:lnTo>
                    <a:pt x="6" y="14"/>
                  </a:lnTo>
                  <a:lnTo>
                    <a:pt x="4" y="14"/>
                  </a:lnTo>
                  <a:lnTo>
                    <a:pt x="3" y="11"/>
                  </a:lnTo>
                  <a:lnTo>
                    <a:pt x="0" y="9"/>
                  </a:lnTo>
                  <a:lnTo>
                    <a:pt x="0" y="8"/>
                  </a:lnTo>
                  <a:lnTo>
                    <a:pt x="2" y="2"/>
                  </a:lnTo>
                  <a:lnTo>
                    <a:pt x="2" y="0"/>
                  </a:lnTo>
                  <a:lnTo>
                    <a:pt x="3" y="0"/>
                  </a:lnTo>
                  <a:lnTo>
                    <a:pt x="4"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91" name="Freeform 390"/>
            <p:cNvSpPr>
              <a:spLocks/>
            </p:cNvSpPr>
            <p:nvPr/>
          </p:nvSpPr>
          <p:spPr bwMode="auto">
            <a:xfrm>
              <a:off x="5104232" y="2906495"/>
              <a:ext cx="2634" cy="7099"/>
            </a:xfrm>
            <a:custGeom>
              <a:avLst/>
              <a:gdLst/>
              <a:ahLst/>
              <a:cxnLst>
                <a:cxn ang="0">
                  <a:pos x="0" y="4"/>
                </a:cxn>
                <a:cxn ang="0">
                  <a:pos x="1" y="0"/>
                </a:cxn>
                <a:cxn ang="0">
                  <a:pos x="3" y="6"/>
                </a:cxn>
                <a:cxn ang="0">
                  <a:pos x="1" y="7"/>
                </a:cxn>
                <a:cxn ang="0">
                  <a:pos x="0" y="6"/>
                </a:cxn>
                <a:cxn ang="0">
                  <a:pos x="0" y="4"/>
                </a:cxn>
              </a:cxnLst>
              <a:rect l="0" t="0" r="r" b="b"/>
              <a:pathLst>
                <a:path w="3" h="7">
                  <a:moveTo>
                    <a:pt x="0" y="4"/>
                  </a:moveTo>
                  <a:lnTo>
                    <a:pt x="1" y="0"/>
                  </a:lnTo>
                  <a:lnTo>
                    <a:pt x="3" y="6"/>
                  </a:lnTo>
                  <a:lnTo>
                    <a:pt x="1" y="7"/>
                  </a:lnTo>
                  <a:lnTo>
                    <a:pt x="0" y="6"/>
                  </a:lnTo>
                  <a:lnTo>
                    <a:pt x="0"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92" name="Freeform 391"/>
            <p:cNvSpPr>
              <a:spLocks/>
            </p:cNvSpPr>
            <p:nvPr/>
          </p:nvSpPr>
          <p:spPr bwMode="auto">
            <a:xfrm>
              <a:off x="5104232" y="2906495"/>
              <a:ext cx="2634" cy="7099"/>
            </a:xfrm>
            <a:custGeom>
              <a:avLst/>
              <a:gdLst/>
              <a:ahLst/>
              <a:cxnLst>
                <a:cxn ang="0">
                  <a:pos x="0" y="4"/>
                </a:cxn>
                <a:cxn ang="0">
                  <a:pos x="1" y="0"/>
                </a:cxn>
                <a:cxn ang="0">
                  <a:pos x="3" y="6"/>
                </a:cxn>
                <a:cxn ang="0">
                  <a:pos x="1" y="7"/>
                </a:cxn>
                <a:cxn ang="0">
                  <a:pos x="0" y="6"/>
                </a:cxn>
                <a:cxn ang="0">
                  <a:pos x="0" y="4"/>
                </a:cxn>
              </a:cxnLst>
              <a:rect l="0" t="0" r="r" b="b"/>
              <a:pathLst>
                <a:path w="3" h="7">
                  <a:moveTo>
                    <a:pt x="0" y="4"/>
                  </a:moveTo>
                  <a:lnTo>
                    <a:pt x="1" y="0"/>
                  </a:lnTo>
                  <a:lnTo>
                    <a:pt x="3" y="6"/>
                  </a:lnTo>
                  <a:lnTo>
                    <a:pt x="1" y="7"/>
                  </a:lnTo>
                  <a:lnTo>
                    <a:pt x="0" y="6"/>
                  </a:lnTo>
                  <a:lnTo>
                    <a:pt x="0"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93" name="Freeform 392"/>
            <p:cNvSpPr>
              <a:spLocks/>
            </p:cNvSpPr>
            <p:nvPr/>
          </p:nvSpPr>
          <p:spPr bwMode="auto">
            <a:xfrm>
              <a:off x="5122666" y="2889256"/>
              <a:ext cx="1756" cy="10141"/>
            </a:xfrm>
            <a:custGeom>
              <a:avLst/>
              <a:gdLst/>
              <a:ahLst/>
              <a:cxnLst>
                <a:cxn ang="0">
                  <a:pos x="2" y="1"/>
                </a:cxn>
                <a:cxn ang="0">
                  <a:pos x="2" y="0"/>
                </a:cxn>
                <a:cxn ang="0">
                  <a:pos x="2" y="3"/>
                </a:cxn>
                <a:cxn ang="0">
                  <a:pos x="2" y="9"/>
                </a:cxn>
                <a:cxn ang="0">
                  <a:pos x="0" y="7"/>
                </a:cxn>
                <a:cxn ang="0">
                  <a:pos x="0" y="6"/>
                </a:cxn>
                <a:cxn ang="0">
                  <a:pos x="2" y="4"/>
                </a:cxn>
                <a:cxn ang="0">
                  <a:pos x="2" y="1"/>
                </a:cxn>
              </a:cxnLst>
              <a:rect l="0" t="0" r="r" b="b"/>
              <a:pathLst>
                <a:path w="2" h="9">
                  <a:moveTo>
                    <a:pt x="2" y="1"/>
                  </a:moveTo>
                  <a:lnTo>
                    <a:pt x="2" y="0"/>
                  </a:lnTo>
                  <a:lnTo>
                    <a:pt x="2" y="3"/>
                  </a:lnTo>
                  <a:lnTo>
                    <a:pt x="2" y="9"/>
                  </a:lnTo>
                  <a:lnTo>
                    <a:pt x="0" y="7"/>
                  </a:lnTo>
                  <a:lnTo>
                    <a:pt x="0" y="6"/>
                  </a:lnTo>
                  <a:lnTo>
                    <a:pt x="2" y="4"/>
                  </a:lnTo>
                  <a:lnTo>
                    <a:pt x="2"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94" name="Freeform 393"/>
            <p:cNvSpPr>
              <a:spLocks/>
            </p:cNvSpPr>
            <p:nvPr/>
          </p:nvSpPr>
          <p:spPr bwMode="auto">
            <a:xfrm>
              <a:off x="5122666" y="2889256"/>
              <a:ext cx="1756" cy="10141"/>
            </a:xfrm>
            <a:custGeom>
              <a:avLst/>
              <a:gdLst/>
              <a:ahLst/>
              <a:cxnLst>
                <a:cxn ang="0">
                  <a:pos x="2" y="1"/>
                </a:cxn>
                <a:cxn ang="0">
                  <a:pos x="2" y="0"/>
                </a:cxn>
                <a:cxn ang="0">
                  <a:pos x="2" y="3"/>
                </a:cxn>
                <a:cxn ang="0">
                  <a:pos x="2" y="9"/>
                </a:cxn>
                <a:cxn ang="0">
                  <a:pos x="0" y="7"/>
                </a:cxn>
                <a:cxn ang="0">
                  <a:pos x="0" y="6"/>
                </a:cxn>
                <a:cxn ang="0">
                  <a:pos x="2" y="4"/>
                </a:cxn>
                <a:cxn ang="0">
                  <a:pos x="2" y="1"/>
                </a:cxn>
              </a:cxnLst>
              <a:rect l="0" t="0" r="r" b="b"/>
              <a:pathLst>
                <a:path w="2" h="9">
                  <a:moveTo>
                    <a:pt x="2" y="1"/>
                  </a:moveTo>
                  <a:lnTo>
                    <a:pt x="2" y="0"/>
                  </a:lnTo>
                  <a:lnTo>
                    <a:pt x="2" y="3"/>
                  </a:lnTo>
                  <a:lnTo>
                    <a:pt x="2" y="9"/>
                  </a:lnTo>
                  <a:lnTo>
                    <a:pt x="0" y="7"/>
                  </a:lnTo>
                  <a:lnTo>
                    <a:pt x="0" y="6"/>
                  </a:lnTo>
                  <a:lnTo>
                    <a:pt x="2" y="4"/>
                  </a:lnTo>
                  <a:lnTo>
                    <a:pt x="2"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95" name="Freeform 394"/>
            <p:cNvSpPr>
              <a:spLocks/>
            </p:cNvSpPr>
            <p:nvPr/>
          </p:nvSpPr>
          <p:spPr bwMode="auto">
            <a:xfrm>
              <a:off x="5128811" y="2899397"/>
              <a:ext cx="7901" cy="8113"/>
            </a:xfrm>
            <a:custGeom>
              <a:avLst/>
              <a:gdLst/>
              <a:ahLst/>
              <a:cxnLst>
                <a:cxn ang="0">
                  <a:pos x="6" y="6"/>
                </a:cxn>
                <a:cxn ang="0">
                  <a:pos x="8" y="6"/>
                </a:cxn>
                <a:cxn ang="0">
                  <a:pos x="8" y="8"/>
                </a:cxn>
                <a:cxn ang="0">
                  <a:pos x="6" y="8"/>
                </a:cxn>
                <a:cxn ang="0">
                  <a:pos x="5" y="8"/>
                </a:cxn>
                <a:cxn ang="0">
                  <a:pos x="6" y="6"/>
                </a:cxn>
                <a:cxn ang="0">
                  <a:pos x="0" y="0"/>
                </a:cxn>
                <a:cxn ang="0">
                  <a:pos x="2" y="0"/>
                </a:cxn>
                <a:cxn ang="0">
                  <a:pos x="6" y="6"/>
                </a:cxn>
              </a:cxnLst>
              <a:rect l="0" t="0" r="r" b="b"/>
              <a:pathLst>
                <a:path w="8" h="8">
                  <a:moveTo>
                    <a:pt x="6" y="6"/>
                  </a:moveTo>
                  <a:lnTo>
                    <a:pt x="8" y="6"/>
                  </a:lnTo>
                  <a:lnTo>
                    <a:pt x="8" y="8"/>
                  </a:lnTo>
                  <a:lnTo>
                    <a:pt x="6" y="8"/>
                  </a:lnTo>
                  <a:lnTo>
                    <a:pt x="5" y="8"/>
                  </a:lnTo>
                  <a:lnTo>
                    <a:pt x="6" y="6"/>
                  </a:lnTo>
                  <a:lnTo>
                    <a:pt x="0" y="0"/>
                  </a:lnTo>
                  <a:lnTo>
                    <a:pt x="2" y="0"/>
                  </a:lnTo>
                  <a:lnTo>
                    <a:pt x="6"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96" name="Freeform 395"/>
            <p:cNvSpPr>
              <a:spLocks/>
            </p:cNvSpPr>
            <p:nvPr/>
          </p:nvSpPr>
          <p:spPr bwMode="auto">
            <a:xfrm>
              <a:off x="5128811" y="2899397"/>
              <a:ext cx="7901" cy="8113"/>
            </a:xfrm>
            <a:custGeom>
              <a:avLst/>
              <a:gdLst/>
              <a:ahLst/>
              <a:cxnLst>
                <a:cxn ang="0">
                  <a:pos x="6" y="6"/>
                </a:cxn>
                <a:cxn ang="0">
                  <a:pos x="8" y="6"/>
                </a:cxn>
                <a:cxn ang="0">
                  <a:pos x="8" y="8"/>
                </a:cxn>
                <a:cxn ang="0">
                  <a:pos x="6" y="8"/>
                </a:cxn>
                <a:cxn ang="0">
                  <a:pos x="5" y="8"/>
                </a:cxn>
                <a:cxn ang="0">
                  <a:pos x="6" y="6"/>
                </a:cxn>
                <a:cxn ang="0">
                  <a:pos x="0" y="0"/>
                </a:cxn>
                <a:cxn ang="0">
                  <a:pos x="2" y="0"/>
                </a:cxn>
                <a:cxn ang="0">
                  <a:pos x="6" y="6"/>
                </a:cxn>
              </a:cxnLst>
              <a:rect l="0" t="0" r="r" b="b"/>
              <a:pathLst>
                <a:path w="8" h="8">
                  <a:moveTo>
                    <a:pt x="6" y="6"/>
                  </a:moveTo>
                  <a:lnTo>
                    <a:pt x="8" y="6"/>
                  </a:lnTo>
                  <a:lnTo>
                    <a:pt x="8" y="8"/>
                  </a:lnTo>
                  <a:lnTo>
                    <a:pt x="6" y="8"/>
                  </a:lnTo>
                  <a:lnTo>
                    <a:pt x="5" y="8"/>
                  </a:lnTo>
                  <a:lnTo>
                    <a:pt x="6" y="6"/>
                  </a:lnTo>
                  <a:lnTo>
                    <a:pt x="0" y="0"/>
                  </a:lnTo>
                  <a:lnTo>
                    <a:pt x="2" y="0"/>
                  </a:lnTo>
                  <a:lnTo>
                    <a:pt x="6"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97" name="Freeform 396"/>
            <p:cNvSpPr>
              <a:spLocks/>
            </p:cNvSpPr>
            <p:nvPr/>
          </p:nvSpPr>
          <p:spPr bwMode="auto">
            <a:xfrm>
              <a:off x="5145489" y="2907510"/>
              <a:ext cx="2633" cy="3042"/>
            </a:xfrm>
            <a:custGeom>
              <a:avLst/>
              <a:gdLst/>
              <a:ahLst/>
              <a:cxnLst>
                <a:cxn ang="0">
                  <a:pos x="1" y="0"/>
                </a:cxn>
                <a:cxn ang="0">
                  <a:pos x="0" y="2"/>
                </a:cxn>
                <a:cxn ang="0">
                  <a:pos x="0" y="3"/>
                </a:cxn>
                <a:cxn ang="0">
                  <a:pos x="1" y="3"/>
                </a:cxn>
                <a:cxn ang="0">
                  <a:pos x="3" y="0"/>
                </a:cxn>
                <a:cxn ang="0">
                  <a:pos x="1" y="0"/>
                </a:cxn>
              </a:cxnLst>
              <a:rect l="0" t="0" r="r" b="b"/>
              <a:pathLst>
                <a:path w="3" h="3">
                  <a:moveTo>
                    <a:pt x="1" y="0"/>
                  </a:moveTo>
                  <a:lnTo>
                    <a:pt x="0" y="2"/>
                  </a:lnTo>
                  <a:lnTo>
                    <a:pt x="0" y="3"/>
                  </a:lnTo>
                  <a:lnTo>
                    <a:pt x="1" y="3"/>
                  </a:lnTo>
                  <a:lnTo>
                    <a:pt x="3" y="0"/>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98" name="Freeform 397"/>
            <p:cNvSpPr>
              <a:spLocks/>
            </p:cNvSpPr>
            <p:nvPr/>
          </p:nvSpPr>
          <p:spPr bwMode="auto">
            <a:xfrm>
              <a:off x="5145489" y="2907510"/>
              <a:ext cx="2633" cy="3042"/>
            </a:xfrm>
            <a:custGeom>
              <a:avLst/>
              <a:gdLst/>
              <a:ahLst/>
              <a:cxnLst>
                <a:cxn ang="0">
                  <a:pos x="1" y="0"/>
                </a:cxn>
                <a:cxn ang="0">
                  <a:pos x="0" y="2"/>
                </a:cxn>
                <a:cxn ang="0">
                  <a:pos x="0" y="3"/>
                </a:cxn>
                <a:cxn ang="0">
                  <a:pos x="1" y="3"/>
                </a:cxn>
                <a:cxn ang="0">
                  <a:pos x="3" y="0"/>
                </a:cxn>
                <a:cxn ang="0">
                  <a:pos x="1" y="0"/>
                </a:cxn>
              </a:cxnLst>
              <a:rect l="0" t="0" r="r" b="b"/>
              <a:pathLst>
                <a:path w="3" h="3">
                  <a:moveTo>
                    <a:pt x="1" y="0"/>
                  </a:moveTo>
                  <a:lnTo>
                    <a:pt x="0" y="2"/>
                  </a:lnTo>
                  <a:lnTo>
                    <a:pt x="0" y="3"/>
                  </a:lnTo>
                  <a:lnTo>
                    <a:pt x="1" y="3"/>
                  </a:lnTo>
                  <a:lnTo>
                    <a:pt x="3" y="0"/>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399" name="Freeform 398"/>
            <p:cNvSpPr>
              <a:spLocks/>
            </p:cNvSpPr>
            <p:nvPr/>
          </p:nvSpPr>
          <p:spPr bwMode="auto">
            <a:xfrm>
              <a:off x="5136710" y="2916637"/>
              <a:ext cx="4389" cy="10141"/>
            </a:xfrm>
            <a:custGeom>
              <a:avLst/>
              <a:gdLst/>
              <a:ahLst/>
              <a:cxnLst>
                <a:cxn ang="0">
                  <a:pos x="0" y="0"/>
                </a:cxn>
                <a:cxn ang="0">
                  <a:pos x="3" y="6"/>
                </a:cxn>
                <a:cxn ang="0">
                  <a:pos x="4" y="7"/>
                </a:cxn>
                <a:cxn ang="0">
                  <a:pos x="5" y="10"/>
                </a:cxn>
                <a:cxn ang="0">
                  <a:pos x="5" y="10"/>
                </a:cxn>
                <a:cxn ang="0">
                  <a:pos x="4" y="9"/>
                </a:cxn>
                <a:cxn ang="0">
                  <a:pos x="3" y="7"/>
                </a:cxn>
                <a:cxn ang="0">
                  <a:pos x="1" y="2"/>
                </a:cxn>
                <a:cxn ang="0">
                  <a:pos x="0" y="0"/>
                </a:cxn>
              </a:cxnLst>
              <a:rect l="0" t="0" r="r" b="b"/>
              <a:pathLst>
                <a:path w="5" h="10">
                  <a:moveTo>
                    <a:pt x="0" y="0"/>
                  </a:moveTo>
                  <a:lnTo>
                    <a:pt x="3" y="6"/>
                  </a:lnTo>
                  <a:lnTo>
                    <a:pt x="4" y="7"/>
                  </a:lnTo>
                  <a:lnTo>
                    <a:pt x="5" y="10"/>
                  </a:lnTo>
                  <a:lnTo>
                    <a:pt x="5" y="10"/>
                  </a:lnTo>
                  <a:lnTo>
                    <a:pt x="4" y="9"/>
                  </a:lnTo>
                  <a:lnTo>
                    <a:pt x="3" y="7"/>
                  </a:lnTo>
                  <a:lnTo>
                    <a:pt x="1" y="2"/>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00" name="Freeform 399"/>
            <p:cNvSpPr>
              <a:spLocks/>
            </p:cNvSpPr>
            <p:nvPr/>
          </p:nvSpPr>
          <p:spPr bwMode="auto">
            <a:xfrm>
              <a:off x="5136710" y="2916637"/>
              <a:ext cx="4389" cy="10141"/>
            </a:xfrm>
            <a:custGeom>
              <a:avLst/>
              <a:gdLst/>
              <a:ahLst/>
              <a:cxnLst>
                <a:cxn ang="0">
                  <a:pos x="0" y="0"/>
                </a:cxn>
                <a:cxn ang="0">
                  <a:pos x="3" y="6"/>
                </a:cxn>
                <a:cxn ang="0">
                  <a:pos x="4" y="7"/>
                </a:cxn>
                <a:cxn ang="0">
                  <a:pos x="5" y="10"/>
                </a:cxn>
                <a:cxn ang="0">
                  <a:pos x="5" y="10"/>
                </a:cxn>
                <a:cxn ang="0">
                  <a:pos x="4" y="9"/>
                </a:cxn>
                <a:cxn ang="0">
                  <a:pos x="3" y="7"/>
                </a:cxn>
                <a:cxn ang="0">
                  <a:pos x="1" y="2"/>
                </a:cxn>
                <a:cxn ang="0">
                  <a:pos x="0" y="0"/>
                </a:cxn>
              </a:cxnLst>
              <a:rect l="0" t="0" r="r" b="b"/>
              <a:pathLst>
                <a:path w="5" h="10">
                  <a:moveTo>
                    <a:pt x="0" y="0"/>
                  </a:moveTo>
                  <a:lnTo>
                    <a:pt x="3" y="6"/>
                  </a:lnTo>
                  <a:lnTo>
                    <a:pt x="4" y="7"/>
                  </a:lnTo>
                  <a:lnTo>
                    <a:pt x="5" y="10"/>
                  </a:lnTo>
                  <a:lnTo>
                    <a:pt x="5" y="10"/>
                  </a:lnTo>
                  <a:lnTo>
                    <a:pt x="4" y="9"/>
                  </a:lnTo>
                  <a:lnTo>
                    <a:pt x="3" y="7"/>
                  </a:lnTo>
                  <a:lnTo>
                    <a:pt x="1" y="2"/>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01" name="Freeform 609"/>
            <p:cNvSpPr>
              <a:spLocks/>
            </p:cNvSpPr>
            <p:nvPr/>
          </p:nvSpPr>
          <p:spPr bwMode="auto">
            <a:xfrm>
              <a:off x="8032574" y="2553578"/>
              <a:ext cx="4389" cy="3043"/>
            </a:xfrm>
            <a:custGeom>
              <a:avLst/>
              <a:gdLst/>
              <a:ahLst/>
              <a:cxnLst>
                <a:cxn ang="0">
                  <a:pos x="4" y="0"/>
                </a:cxn>
                <a:cxn ang="0">
                  <a:pos x="5" y="2"/>
                </a:cxn>
                <a:cxn ang="0">
                  <a:pos x="4" y="2"/>
                </a:cxn>
                <a:cxn ang="0">
                  <a:pos x="1" y="3"/>
                </a:cxn>
                <a:cxn ang="0">
                  <a:pos x="0" y="3"/>
                </a:cxn>
                <a:cxn ang="0">
                  <a:pos x="1" y="2"/>
                </a:cxn>
                <a:cxn ang="0">
                  <a:pos x="4" y="0"/>
                </a:cxn>
              </a:cxnLst>
              <a:rect l="0" t="0" r="r" b="b"/>
              <a:pathLst>
                <a:path w="5" h="3">
                  <a:moveTo>
                    <a:pt x="4" y="0"/>
                  </a:moveTo>
                  <a:lnTo>
                    <a:pt x="5" y="2"/>
                  </a:lnTo>
                  <a:lnTo>
                    <a:pt x="4" y="2"/>
                  </a:lnTo>
                  <a:lnTo>
                    <a:pt x="1" y="3"/>
                  </a:lnTo>
                  <a:lnTo>
                    <a:pt x="0" y="3"/>
                  </a:lnTo>
                  <a:lnTo>
                    <a:pt x="1" y="2"/>
                  </a:lnTo>
                  <a:lnTo>
                    <a:pt x="4"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02" name="Freeform 610"/>
            <p:cNvSpPr>
              <a:spLocks/>
            </p:cNvSpPr>
            <p:nvPr/>
          </p:nvSpPr>
          <p:spPr bwMode="auto">
            <a:xfrm>
              <a:off x="8032574" y="2553578"/>
              <a:ext cx="4389" cy="3043"/>
            </a:xfrm>
            <a:custGeom>
              <a:avLst/>
              <a:gdLst/>
              <a:ahLst/>
              <a:cxnLst>
                <a:cxn ang="0">
                  <a:pos x="4" y="0"/>
                </a:cxn>
                <a:cxn ang="0">
                  <a:pos x="5" y="2"/>
                </a:cxn>
                <a:cxn ang="0">
                  <a:pos x="4" y="2"/>
                </a:cxn>
                <a:cxn ang="0">
                  <a:pos x="1" y="3"/>
                </a:cxn>
                <a:cxn ang="0">
                  <a:pos x="0" y="3"/>
                </a:cxn>
                <a:cxn ang="0">
                  <a:pos x="1" y="2"/>
                </a:cxn>
                <a:cxn ang="0">
                  <a:pos x="4" y="0"/>
                </a:cxn>
              </a:cxnLst>
              <a:rect l="0" t="0" r="r" b="b"/>
              <a:pathLst>
                <a:path w="5" h="3">
                  <a:moveTo>
                    <a:pt x="4" y="0"/>
                  </a:moveTo>
                  <a:lnTo>
                    <a:pt x="5" y="2"/>
                  </a:lnTo>
                  <a:lnTo>
                    <a:pt x="4" y="2"/>
                  </a:lnTo>
                  <a:lnTo>
                    <a:pt x="1" y="3"/>
                  </a:lnTo>
                  <a:lnTo>
                    <a:pt x="0" y="3"/>
                  </a:lnTo>
                  <a:lnTo>
                    <a:pt x="1" y="2"/>
                  </a:lnTo>
                  <a:lnTo>
                    <a:pt x="4"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03" name="Freeform 611"/>
            <p:cNvSpPr>
              <a:spLocks/>
            </p:cNvSpPr>
            <p:nvPr/>
          </p:nvSpPr>
          <p:spPr bwMode="auto">
            <a:xfrm>
              <a:off x="8017652" y="2539379"/>
              <a:ext cx="12289" cy="19269"/>
            </a:xfrm>
            <a:custGeom>
              <a:avLst/>
              <a:gdLst/>
              <a:ahLst/>
              <a:cxnLst>
                <a:cxn ang="0">
                  <a:pos x="10" y="2"/>
                </a:cxn>
                <a:cxn ang="0">
                  <a:pos x="10" y="0"/>
                </a:cxn>
                <a:cxn ang="0">
                  <a:pos x="11" y="3"/>
                </a:cxn>
                <a:cxn ang="0">
                  <a:pos x="13" y="5"/>
                </a:cxn>
                <a:cxn ang="0">
                  <a:pos x="1" y="18"/>
                </a:cxn>
                <a:cxn ang="0">
                  <a:pos x="0" y="15"/>
                </a:cxn>
                <a:cxn ang="0">
                  <a:pos x="8" y="5"/>
                </a:cxn>
                <a:cxn ang="0">
                  <a:pos x="8" y="2"/>
                </a:cxn>
                <a:cxn ang="0">
                  <a:pos x="10" y="2"/>
                </a:cxn>
              </a:cxnLst>
              <a:rect l="0" t="0" r="r" b="b"/>
              <a:pathLst>
                <a:path w="13" h="18">
                  <a:moveTo>
                    <a:pt x="10" y="2"/>
                  </a:moveTo>
                  <a:lnTo>
                    <a:pt x="10" y="0"/>
                  </a:lnTo>
                  <a:lnTo>
                    <a:pt x="11" y="3"/>
                  </a:lnTo>
                  <a:lnTo>
                    <a:pt x="13" y="5"/>
                  </a:lnTo>
                  <a:lnTo>
                    <a:pt x="1" y="18"/>
                  </a:lnTo>
                  <a:lnTo>
                    <a:pt x="0" y="15"/>
                  </a:lnTo>
                  <a:lnTo>
                    <a:pt x="8" y="5"/>
                  </a:lnTo>
                  <a:lnTo>
                    <a:pt x="8" y="2"/>
                  </a:lnTo>
                  <a:lnTo>
                    <a:pt x="10"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04" name="Freeform 612"/>
            <p:cNvSpPr>
              <a:spLocks/>
            </p:cNvSpPr>
            <p:nvPr/>
          </p:nvSpPr>
          <p:spPr bwMode="auto">
            <a:xfrm>
              <a:off x="8017652" y="2539379"/>
              <a:ext cx="12289" cy="19269"/>
            </a:xfrm>
            <a:custGeom>
              <a:avLst/>
              <a:gdLst/>
              <a:ahLst/>
              <a:cxnLst>
                <a:cxn ang="0">
                  <a:pos x="10" y="2"/>
                </a:cxn>
                <a:cxn ang="0">
                  <a:pos x="10" y="0"/>
                </a:cxn>
                <a:cxn ang="0">
                  <a:pos x="11" y="3"/>
                </a:cxn>
                <a:cxn ang="0">
                  <a:pos x="13" y="5"/>
                </a:cxn>
                <a:cxn ang="0">
                  <a:pos x="1" y="18"/>
                </a:cxn>
                <a:cxn ang="0">
                  <a:pos x="0" y="15"/>
                </a:cxn>
                <a:cxn ang="0">
                  <a:pos x="8" y="5"/>
                </a:cxn>
                <a:cxn ang="0">
                  <a:pos x="8" y="2"/>
                </a:cxn>
                <a:cxn ang="0">
                  <a:pos x="10" y="2"/>
                </a:cxn>
              </a:cxnLst>
              <a:rect l="0" t="0" r="r" b="b"/>
              <a:pathLst>
                <a:path w="13" h="18">
                  <a:moveTo>
                    <a:pt x="10" y="2"/>
                  </a:moveTo>
                  <a:lnTo>
                    <a:pt x="10" y="0"/>
                  </a:lnTo>
                  <a:lnTo>
                    <a:pt x="11" y="3"/>
                  </a:lnTo>
                  <a:lnTo>
                    <a:pt x="13" y="5"/>
                  </a:lnTo>
                  <a:lnTo>
                    <a:pt x="1" y="18"/>
                  </a:lnTo>
                  <a:lnTo>
                    <a:pt x="0" y="15"/>
                  </a:lnTo>
                  <a:lnTo>
                    <a:pt x="8" y="5"/>
                  </a:lnTo>
                  <a:lnTo>
                    <a:pt x="8" y="2"/>
                  </a:lnTo>
                  <a:lnTo>
                    <a:pt x="10"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05" name="Freeform 613"/>
            <p:cNvSpPr>
              <a:spLocks/>
            </p:cNvSpPr>
            <p:nvPr/>
          </p:nvSpPr>
          <p:spPr bwMode="auto">
            <a:xfrm>
              <a:off x="8282748" y="2290917"/>
              <a:ext cx="10534" cy="16226"/>
            </a:xfrm>
            <a:custGeom>
              <a:avLst/>
              <a:gdLst/>
              <a:ahLst/>
              <a:cxnLst>
                <a:cxn ang="0">
                  <a:pos x="2" y="0"/>
                </a:cxn>
                <a:cxn ang="0">
                  <a:pos x="5" y="1"/>
                </a:cxn>
                <a:cxn ang="0">
                  <a:pos x="5" y="1"/>
                </a:cxn>
                <a:cxn ang="0">
                  <a:pos x="5" y="2"/>
                </a:cxn>
                <a:cxn ang="0">
                  <a:pos x="5" y="4"/>
                </a:cxn>
                <a:cxn ang="0">
                  <a:pos x="5" y="5"/>
                </a:cxn>
                <a:cxn ang="0">
                  <a:pos x="7" y="7"/>
                </a:cxn>
                <a:cxn ang="0">
                  <a:pos x="7" y="8"/>
                </a:cxn>
                <a:cxn ang="0">
                  <a:pos x="10" y="10"/>
                </a:cxn>
                <a:cxn ang="0">
                  <a:pos x="11" y="14"/>
                </a:cxn>
                <a:cxn ang="0">
                  <a:pos x="10" y="16"/>
                </a:cxn>
                <a:cxn ang="0">
                  <a:pos x="5" y="11"/>
                </a:cxn>
                <a:cxn ang="0">
                  <a:pos x="0" y="1"/>
                </a:cxn>
                <a:cxn ang="0">
                  <a:pos x="0" y="0"/>
                </a:cxn>
                <a:cxn ang="0">
                  <a:pos x="2" y="0"/>
                </a:cxn>
              </a:cxnLst>
              <a:rect l="0" t="0" r="r" b="b"/>
              <a:pathLst>
                <a:path w="11" h="16">
                  <a:moveTo>
                    <a:pt x="2" y="0"/>
                  </a:moveTo>
                  <a:lnTo>
                    <a:pt x="5" y="1"/>
                  </a:lnTo>
                  <a:lnTo>
                    <a:pt x="5" y="1"/>
                  </a:lnTo>
                  <a:lnTo>
                    <a:pt x="5" y="2"/>
                  </a:lnTo>
                  <a:lnTo>
                    <a:pt x="5" y="4"/>
                  </a:lnTo>
                  <a:lnTo>
                    <a:pt x="5" y="5"/>
                  </a:lnTo>
                  <a:lnTo>
                    <a:pt x="7" y="7"/>
                  </a:lnTo>
                  <a:lnTo>
                    <a:pt x="7" y="8"/>
                  </a:lnTo>
                  <a:lnTo>
                    <a:pt x="10" y="10"/>
                  </a:lnTo>
                  <a:lnTo>
                    <a:pt x="11" y="14"/>
                  </a:lnTo>
                  <a:lnTo>
                    <a:pt x="10" y="16"/>
                  </a:lnTo>
                  <a:lnTo>
                    <a:pt x="5" y="11"/>
                  </a:lnTo>
                  <a:lnTo>
                    <a:pt x="0" y="1"/>
                  </a:lnTo>
                  <a:lnTo>
                    <a:pt x="0" y="0"/>
                  </a:lnTo>
                  <a:lnTo>
                    <a:pt x="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06" name="Freeform 614"/>
            <p:cNvSpPr>
              <a:spLocks/>
            </p:cNvSpPr>
            <p:nvPr/>
          </p:nvSpPr>
          <p:spPr bwMode="auto">
            <a:xfrm>
              <a:off x="8282748" y="2290917"/>
              <a:ext cx="10534" cy="16226"/>
            </a:xfrm>
            <a:custGeom>
              <a:avLst/>
              <a:gdLst/>
              <a:ahLst/>
              <a:cxnLst>
                <a:cxn ang="0">
                  <a:pos x="2" y="0"/>
                </a:cxn>
                <a:cxn ang="0">
                  <a:pos x="5" y="1"/>
                </a:cxn>
                <a:cxn ang="0">
                  <a:pos x="5" y="1"/>
                </a:cxn>
                <a:cxn ang="0">
                  <a:pos x="5" y="2"/>
                </a:cxn>
                <a:cxn ang="0">
                  <a:pos x="5" y="4"/>
                </a:cxn>
                <a:cxn ang="0">
                  <a:pos x="5" y="5"/>
                </a:cxn>
                <a:cxn ang="0">
                  <a:pos x="7" y="7"/>
                </a:cxn>
                <a:cxn ang="0">
                  <a:pos x="7" y="8"/>
                </a:cxn>
                <a:cxn ang="0">
                  <a:pos x="10" y="10"/>
                </a:cxn>
                <a:cxn ang="0">
                  <a:pos x="11" y="14"/>
                </a:cxn>
                <a:cxn ang="0">
                  <a:pos x="10" y="16"/>
                </a:cxn>
                <a:cxn ang="0">
                  <a:pos x="5" y="11"/>
                </a:cxn>
                <a:cxn ang="0">
                  <a:pos x="0" y="1"/>
                </a:cxn>
                <a:cxn ang="0">
                  <a:pos x="0" y="0"/>
                </a:cxn>
                <a:cxn ang="0">
                  <a:pos x="2" y="0"/>
                </a:cxn>
              </a:cxnLst>
              <a:rect l="0" t="0" r="r" b="b"/>
              <a:pathLst>
                <a:path w="11" h="16">
                  <a:moveTo>
                    <a:pt x="2" y="0"/>
                  </a:moveTo>
                  <a:lnTo>
                    <a:pt x="5" y="1"/>
                  </a:lnTo>
                  <a:lnTo>
                    <a:pt x="5" y="1"/>
                  </a:lnTo>
                  <a:lnTo>
                    <a:pt x="5" y="2"/>
                  </a:lnTo>
                  <a:lnTo>
                    <a:pt x="5" y="4"/>
                  </a:lnTo>
                  <a:lnTo>
                    <a:pt x="5" y="5"/>
                  </a:lnTo>
                  <a:lnTo>
                    <a:pt x="7" y="7"/>
                  </a:lnTo>
                  <a:lnTo>
                    <a:pt x="7" y="8"/>
                  </a:lnTo>
                  <a:lnTo>
                    <a:pt x="10" y="10"/>
                  </a:lnTo>
                  <a:lnTo>
                    <a:pt x="11" y="14"/>
                  </a:lnTo>
                  <a:lnTo>
                    <a:pt x="10" y="16"/>
                  </a:lnTo>
                  <a:lnTo>
                    <a:pt x="5" y="11"/>
                  </a:lnTo>
                  <a:lnTo>
                    <a:pt x="0" y="1"/>
                  </a:lnTo>
                  <a:lnTo>
                    <a:pt x="0" y="0"/>
                  </a:lnTo>
                  <a:lnTo>
                    <a:pt x="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07" name="Freeform 615"/>
            <p:cNvSpPr>
              <a:spLocks/>
            </p:cNvSpPr>
            <p:nvPr/>
          </p:nvSpPr>
          <p:spPr bwMode="auto">
            <a:xfrm>
              <a:off x="8302060" y="2302072"/>
              <a:ext cx="7022" cy="9128"/>
            </a:xfrm>
            <a:custGeom>
              <a:avLst/>
              <a:gdLst/>
              <a:ahLst/>
              <a:cxnLst>
                <a:cxn ang="0">
                  <a:pos x="0" y="0"/>
                </a:cxn>
                <a:cxn ang="0">
                  <a:pos x="0" y="0"/>
                </a:cxn>
                <a:cxn ang="0">
                  <a:pos x="3" y="5"/>
                </a:cxn>
                <a:cxn ang="0">
                  <a:pos x="5" y="5"/>
                </a:cxn>
                <a:cxn ang="0">
                  <a:pos x="8" y="7"/>
                </a:cxn>
                <a:cxn ang="0">
                  <a:pos x="8" y="9"/>
                </a:cxn>
                <a:cxn ang="0">
                  <a:pos x="5" y="6"/>
                </a:cxn>
                <a:cxn ang="0">
                  <a:pos x="3" y="5"/>
                </a:cxn>
                <a:cxn ang="0">
                  <a:pos x="2" y="5"/>
                </a:cxn>
                <a:cxn ang="0">
                  <a:pos x="0" y="0"/>
                </a:cxn>
              </a:cxnLst>
              <a:rect l="0" t="0" r="r" b="b"/>
              <a:pathLst>
                <a:path w="8" h="9">
                  <a:moveTo>
                    <a:pt x="0" y="0"/>
                  </a:moveTo>
                  <a:lnTo>
                    <a:pt x="0" y="0"/>
                  </a:lnTo>
                  <a:lnTo>
                    <a:pt x="3" y="5"/>
                  </a:lnTo>
                  <a:lnTo>
                    <a:pt x="5" y="5"/>
                  </a:lnTo>
                  <a:lnTo>
                    <a:pt x="8" y="7"/>
                  </a:lnTo>
                  <a:lnTo>
                    <a:pt x="8" y="9"/>
                  </a:lnTo>
                  <a:lnTo>
                    <a:pt x="5" y="6"/>
                  </a:lnTo>
                  <a:lnTo>
                    <a:pt x="3" y="5"/>
                  </a:lnTo>
                  <a:lnTo>
                    <a:pt x="2" y="5"/>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08" name="Freeform 616"/>
            <p:cNvSpPr>
              <a:spLocks/>
            </p:cNvSpPr>
            <p:nvPr/>
          </p:nvSpPr>
          <p:spPr bwMode="auto">
            <a:xfrm>
              <a:off x="8302060" y="2302072"/>
              <a:ext cx="7022" cy="9128"/>
            </a:xfrm>
            <a:custGeom>
              <a:avLst/>
              <a:gdLst/>
              <a:ahLst/>
              <a:cxnLst>
                <a:cxn ang="0">
                  <a:pos x="0" y="0"/>
                </a:cxn>
                <a:cxn ang="0">
                  <a:pos x="0" y="0"/>
                </a:cxn>
                <a:cxn ang="0">
                  <a:pos x="3" y="5"/>
                </a:cxn>
                <a:cxn ang="0">
                  <a:pos x="5" y="5"/>
                </a:cxn>
                <a:cxn ang="0">
                  <a:pos x="8" y="7"/>
                </a:cxn>
                <a:cxn ang="0">
                  <a:pos x="8" y="9"/>
                </a:cxn>
                <a:cxn ang="0">
                  <a:pos x="5" y="6"/>
                </a:cxn>
                <a:cxn ang="0">
                  <a:pos x="3" y="5"/>
                </a:cxn>
                <a:cxn ang="0">
                  <a:pos x="2" y="5"/>
                </a:cxn>
                <a:cxn ang="0">
                  <a:pos x="0" y="0"/>
                </a:cxn>
              </a:cxnLst>
              <a:rect l="0" t="0" r="r" b="b"/>
              <a:pathLst>
                <a:path w="8" h="9">
                  <a:moveTo>
                    <a:pt x="0" y="0"/>
                  </a:moveTo>
                  <a:lnTo>
                    <a:pt x="0" y="0"/>
                  </a:lnTo>
                  <a:lnTo>
                    <a:pt x="3" y="5"/>
                  </a:lnTo>
                  <a:lnTo>
                    <a:pt x="5" y="5"/>
                  </a:lnTo>
                  <a:lnTo>
                    <a:pt x="8" y="7"/>
                  </a:lnTo>
                  <a:lnTo>
                    <a:pt x="8" y="9"/>
                  </a:lnTo>
                  <a:lnTo>
                    <a:pt x="5" y="6"/>
                  </a:lnTo>
                  <a:lnTo>
                    <a:pt x="3" y="5"/>
                  </a:lnTo>
                  <a:lnTo>
                    <a:pt x="2" y="5"/>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09" name="Freeform 617"/>
            <p:cNvSpPr>
              <a:spLocks/>
            </p:cNvSpPr>
            <p:nvPr/>
          </p:nvSpPr>
          <p:spPr bwMode="auto">
            <a:xfrm>
              <a:off x="7415481" y="1257516"/>
              <a:ext cx="79880" cy="113584"/>
            </a:xfrm>
            <a:custGeom>
              <a:avLst/>
              <a:gdLst/>
              <a:ahLst/>
              <a:cxnLst>
                <a:cxn ang="0">
                  <a:pos x="10" y="72"/>
                </a:cxn>
                <a:cxn ang="0">
                  <a:pos x="13" y="62"/>
                </a:cxn>
                <a:cxn ang="0">
                  <a:pos x="16" y="48"/>
                </a:cxn>
                <a:cxn ang="0">
                  <a:pos x="25" y="53"/>
                </a:cxn>
                <a:cxn ang="0">
                  <a:pos x="21" y="34"/>
                </a:cxn>
                <a:cxn ang="0">
                  <a:pos x="25" y="31"/>
                </a:cxn>
                <a:cxn ang="0">
                  <a:pos x="24" y="27"/>
                </a:cxn>
                <a:cxn ang="0">
                  <a:pos x="28" y="24"/>
                </a:cxn>
                <a:cxn ang="0">
                  <a:pos x="26" y="19"/>
                </a:cxn>
                <a:cxn ang="0">
                  <a:pos x="32" y="12"/>
                </a:cxn>
                <a:cxn ang="0">
                  <a:pos x="34" y="6"/>
                </a:cxn>
                <a:cxn ang="0">
                  <a:pos x="40" y="16"/>
                </a:cxn>
                <a:cxn ang="0">
                  <a:pos x="42" y="0"/>
                </a:cxn>
                <a:cxn ang="0">
                  <a:pos x="50" y="9"/>
                </a:cxn>
                <a:cxn ang="0">
                  <a:pos x="51" y="6"/>
                </a:cxn>
                <a:cxn ang="0">
                  <a:pos x="54" y="11"/>
                </a:cxn>
                <a:cxn ang="0">
                  <a:pos x="51" y="25"/>
                </a:cxn>
                <a:cxn ang="0">
                  <a:pos x="50" y="32"/>
                </a:cxn>
                <a:cxn ang="0">
                  <a:pos x="57" y="18"/>
                </a:cxn>
                <a:cxn ang="0">
                  <a:pos x="60" y="21"/>
                </a:cxn>
                <a:cxn ang="0">
                  <a:pos x="61" y="27"/>
                </a:cxn>
                <a:cxn ang="0">
                  <a:pos x="64" y="19"/>
                </a:cxn>
                <a:cxn ang="0">
                  <a:pos x="67" y="25"/>
                </a:cxn>
                <a:cxn ang="0">
                  <a:pos x="67" y="31"/>
                </a:cxn>
                <a:cxn ang="0">
                  <a:pos x="70" y="34"/>
                </a:cxn>
                <a:cxn ang="0">
                  <a:pos x="71" y="28"/>
                </a:cxn>
                <a:cxn ang="0">
                  <a:pos x="85" y="48"/>
                </a:cxn>
                <a:cxn ang="0">
                  <a:pos x="87" y="62"/>
                </a:cxn>
                <a:cxn ang="0">
                  <a:pos x="87" y="72"/>
                </a:cxn>
                <a:cxn ang="0">
                  <a:pos x="79" y="83"/>
                </a:cxn>
                <a:cxn ang="0">
                  <a:pos x="71" y="83"/>
                </a:cxn>
                <a:cxn ang="0">
                  <a:pos x="58" y="89"/>
                </a:cxn>
                <a:cxn ang="0">
                  <a:pos x="53" y="89"/>
                </a:cxn>
                <a:cxn ang="0">
                  <a:pos x="51" y="92"/>
                </a:cxn>
                <a:cxn ang="0">
                  <a:pos x="45" y="89"/>
                </a:cxn>
                <a:cxn ang="0">
                  <a:pos x="37" y="91"/>
                </a:cxn>
                <a:cxn ang="0">
                  <a:pos x="25" y="91"/>
                </a:cxn>
                <a:cxn ang="0">
                  <a:pos x="22" y="96"/>
                </a:cxn>
                <a:cxn ang="0">
                  <a:pos x="13" y="104"/>
                </a:cxn>
                <a:cxn ang="0">
                  <a:pos x="9" y="109"/>
                </a:cxn>
                <a:cxn ang="0">
                  <a:pos x="2" y="107"/>
                </a:cxn>
                <a:cxn ang="0">
                  <a:pos x="3" y="101"/>
                </a:cxn>
                <a:cxn ang="0">
                  <a:pos x="2" y="92"/>
                </a:cxn>
                <a:cxn ang="0">
                  <a:pos x="8" y="78"/>
                </a:cxn>
              </a:cxnLst>
              <a:rect l="0" t="0" r="r" b="b"/>
              <a:pathLst>
                <a:path w="87" h="109">
                  <a:moveTo>
                    <a:pt x="9" y="75"/>
                  </a:moveTo>
                  <a:lnTo>
                    <a:pt x="10" y="72"/>
                  </a:lnTo>
                  <a:lnTo>
                    <a:pt x="10" y="70"/>
                  </a:lnTo>
                  <a:lnTo>
                    <a:pt x="13" y="62"/>
                  </a:lnTo>
                  <a:lnTo>
                    <a:pt x="12" y="60"/>
                  </a:lnTo>
                  <a:lnTo>
                    <a:pt x="16" y="48"/>
                  </a:lnTo>
                  <a:lnTo>
                    <a:pt x="22" y="53"/>
                  </a:lnTo>
                  <a:lnTo>
                    <a:pt x="25" y="53"/>
                  </a:lnTo>
                  <a:lnTo>
                    <a:pt x="21" y="47"/>
                  </a:lnTo>
                  <a:lnTo>
                    <a:pt x="21" y="34"/>
                  </a:lnTo>
                  <a:lnTo>
                    <a:pt x="24" y="31"/>
                  </a:lnTo>
                  <a:lnTo>
                    <a:pt x="25" y="31"/>
                  </a:lnTo>
                  <a:lnTo>
                    <a:pt x="24" y="30"/>
                  </a:lnTo>
                  <a:lnTo>
                    <a:pt x="24" y="27"/>
                  </a:lnTo>
                  <a:lnTo>
                    <a:pt x="25" y="25"/>
                  </a:lnTo>
                  <a:lnTo>
                    <a:pt x="28" y="24"/>
                  </a:lnTo>
                  <a:lnTo>
                    <a:pt x="26" y="24"/>
                  </a:lnTo>
                  <a:lnTo>
                    <a:pt x="26" y="19"/>
                  </a:lnTo>
                  <a:lnTo>
                    <a:pt x="32" y="14"/>
                  </a:lnTo>
                  <a:lnTo>
                    <a:pt x="32" y="12"/>
                  </a:lnTo>
                  <a:lnTo>
                    <a:pt x="32" y="8"/>
                  </a:lnTo>
                  <a:lnTo>
                    <a:pt x="34" y="6"/>
                  </a:lnTo>
                  <a:lnTo>
                    <a:pt x="35" y="15"/>
                  </a:lnTo>
                  <a:lnTo>
                    <a:pt x="40" y="16"/>
                  </a:lnTo>
                  <a:lnTo>
                    <a:pt x="40" y="5"/>
                  </a:lnTo>
                  <a:lnTo>
                    <a:pt x="42" y="0"/>
                  </a:lnTo>
                  <a:lnTo>
                    <a:pt x="50" y="3"/>
                  </a:lnTo>
                  <a:lnTo>
                    <a:pt x="50" y="9"/>
                  </a:lnTo>
                  <a:lnTo>
                    <a:pt x="51" y="8"/>
                  </a:lnTo>
                  <a:lnTo>
                    <a:pt x="51" y="6"/>
                  </a:lnTo>
                  <a:lnTo>
                    <a:pt x="54" y="8"/>
                  </a:lnTo>
                  <a:lnTo>
                    <a:pt x="54" y="11"/>
                  </a:lnTo>
                  <a:lnTo>
                    <a:pt x="51" y="19"/>
                  </a:lnTo>
                  <a:lnTo>
                    <a:pt x="51" y="25"/>
                  </a:lnTo>
                  <a:lnTo>
                    <a:pt x="50" y="28"/>
                  </a:lnTo>
                  <a:lnTo>
                    <a:pt x="50" y="32"/>
                  </a:lnTo>
                  <a:lnTo>
                    <a:pt x="57" y="22"/>
                  </a:lnTo>
                  <a:lnTo>
                    <a:pt x="57" y="18"/>
                  </a:lnTo>
                  <a:lnTo>
                    <a:pt x="57" y="16"/>
                  </a:lnTo>
                  <a:lnTo>
                    <a:pt x="60" y="21"/>
                  </a:lnTo>
                  <a:lnTo>
                    <a:pt x="61" y="25"/>
                  </a:lnTo>
                  <a:lnTo>
                    <a:pt x="61" y="27"/>
                  </a:lnTo>
                  <a:lnTo>
                    <a:pt x="63" y="24"/>
                  </a:lnTo>
                  <a:lnTo>
                    <a:pt x="64" y="19"/>
                  </a:lnTo>
                  <a:lnTo>
                    <a:pt x="67" y="21"/>
                  </a:lnTo>
                  <a:lnTo>
                    <a:pt x="67" y="25"/>
                  </a:lnTo>
                  <a:lnTo>
                    <a:pt x="67" y="28"/>
                  </a:lnTo>
                  <a:lnTo>
                    <a:pt x="67" y="31"/>
                  </a:lnTo>
                  <a:lnTo>
                    <a:pt x="69" y="34"/>
                  </a:lnTo>
                  <a:lnTo>
                    <a:pt x="70" y="34"/>
                  </a:lnTo>
                  <a:lnTo>
                    <a:pt x="70" y="31"/>
                  </a:lnTo>
                  <a:lnTo>
                    <a:pt x="71" y="28"/>
                  </a:lnTo>
                  <a:lnTo>
                    <a:pt x="76" y="43"/>
                  </a:lnTo>
                  <a:lnTo>
                    <a:pt x="85" y="48"/>
                  </a:lnTo>
                  <a:lnTo>
                    <a:pt x="86" y="51"/>
                  </a:lnTo>
                  <a:lnTo>
                    <a:pt x="87" y="62"/>
                  </a:lnTo>
                  <a:lnTo>
                    <a:pt x="86" y="64"/>
                  </a:lnTo>
                  <a:lnTo>
                    <a:pt x="87" y="72"/>
                  </a:lnTo>
                  <a:lnTo>
                    <a:pt x="82" y="80"/>
                  </a:lnTo>
                  <a:lnTo>
                    <a:pt x="79" y="83"/>
                  </a:lnTo>
                  <a:lnTo>
                    <a:pt x="77" y="82"/>
                  </a:lnTo>
                  <a:lnTo>
                    <a:pt x="71" y="83"/>
                  </a:lnTo>
                  <a:lnTo>
                    <a:pt x="63" y="89"/>
                  </a:lnTo>
                  <a:lnTo>
                    <a:pt x="58" y="89"/>
                  </a:lnTo>
                  <a:lnTo>
                    <a:pt x="55" y="91"/>
                  </a:lnTo>
                  <a:lnTo>
                    <a:pt x="53" y="89"/>
                  </a:lnTo>
                  <a:lnTo>
                    <a:pt x="51" y="91"/>
                  </a:lnTo>
                  <a:lnTo>
                    <a:pt x="51" y="92"/>
                  </a:lnTo>
                  <a:lnTo>
                    <a:pt x="50" y="93"/>
                  </a:lnTo>
                  <a:lnTo>
                    <a:pt x="45" y="89"/>
                  </a:lnTo>
                  <a:lnTo>
                    <a:pt x="38" y="92"/>
                  </a:lnTo>
                  <a:lnTo>
                    <a:pt x="37" y="91"/>
                  </a:lnTo>
                  <a:lnTo>
                    <a:pt x="34" y="92"/>
                  </a:lnTo>
                  <a:lnTo>
                    <a:pt x="25" y="91"/>
                  </a:lnTo>
                  <a:lnTo>
                    <a:pt x="24" y="96"/>
                  </a:lnTo>
                  <a:lnTo>
                    <a:pt x="22" y="96"/>
                  </a:lnTo>
                  <a:lnTo>
                    <a:pt x="19" y="101"/>
                  </a:lnTo>
                  <a:lnTo>
                    <a:pt x="13" y="104"/>
                  </a:lnTo>
                  <a:lnTo>
                    <a:pt x="10" y="107"/>
                  </a:lnTo>
                  <a:lnTo>
                    <a:pt x="9" y="109"/>
                  </a:lnTo>
                  <a:lnTo>
                    <a:pt x="2" y="108"/>
                  </a:lnTo>
                  <a:lnTo>
                    <a:pt x="2" y="107"/>
                  </a:lnTo>
                  <a:lnTo>
                    <a:pt x="3" y="104"/>
                  </a:lnTo>
                  <a:lnTo>
                    <a:pt x="3" y="101"/>
                  </a:lnTo>
                  <a:lnTo>
                    <a:pt x="0" y="102"/>
                  </a:lnTo>
                  <a:lnTo>
                    <a:pt x="2" y="92"/>
                  </a:lnTo>
                  <a:lnTo>
                    <a:pt x="9" y="79"/>
                  </a:lnTo>
                  <a:lnTo>
                    <a:pt x="8" y="78"/>
                  </a:lnTo>
                  <a:lnTo>
                    <a:pt x="9" y="7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10" name="Freeform 619"/>
            <p:cNvSpPr>
              <a:spLocks/>
            </p:cNvSpPr>
            <p:nvPr/>
          </p:nvSpPr>
          <p:spPr bwMode="auto">
            <a:xfrm>
              <a:off x="7885983" y="1600292"/>
              <a:ext cx="9656" cy="20283"/>
            </a:xfrm>
            <a:custGeom>
              <a:avLst/>
              <a:gdLst/>
              <a:ahLst/>
              <a:cxnLst>
                <a:cxn ang="0">
                  <a:pos x="9" y="9"/>
                </a:cxn>
                <a:cxn ang="0">
                  <a:pos x="10" y="12"/>
                </a:cxn>
                <a:cxn ang="0">
                  <a:pos x="11" y="12"/>
                </a:cxn>
                <a:cxn ang="0">
                  <a:pos x="11" y="14"/>
                </a:cxn>
                <a:cxn ang="0">
                  <a:pos x="11" y="19"/>
                </a:cxn>
                <a:cxn ang="0">
                  <a:pos x="10" y="17"/>
                </a:cxn>
                <a:cxn ang="0">
                  <a:pos x="9" y="14"/>
                </a:cxn>
                <a:cxn ang="0">
                  <a:pos x="4" y="10"/>
                </a:cxn>
                <a:cxn ang="0">
                  <a:pos x="4" y="7"/>
                </a:cxn>
                <a:cxn ang="0">
                  <a:pos x="0" y="3"/>
                </a:cxn>
                <a:cxn ang="0">
                  <a:pos x="0" y="0"/>
                </a:cxn>
                <a:cxn ang="0">
                  <a:pos x="1" y="0"/>
                </a:cxn>
                <a:cxn ang="0">
                  <a:pos x="4" y="4"/>
                </a:cxn>
                <a:cxn ang="0">
                  <a:pos x="9" y="10"/>
                </a:cxn>
                <a:cxn ang="0">
                  <a:pos x="9" y="9"/>
                </a:cxn>
              </a:cxnLst>
              <a:rect l="0" t="0" r="r" b="b"/>
              <a:pathLst>
                <a:path w="11" h="19">
                  <a:moveTo>
                    <a:pt x="9" y="9"/>
                  </a:moveTo>
                  <a:lnTo>
                    <a:pt x="10" y="12"/>
                  </a:lnTo>
                  <a:lnTo>
                    <a:pt x="11" y="12"/>
                  </a:lnTo>
                  <a:lnTo>
                    <a:pt x="11" y="14"/>
                  </a:lnTo>
                  <a:lnTo>
                    <a:pt x="11" y="19"/>
                  </a:lnTo>
                  <a:lnTo>
                    <a:pt x="10" y="17"/>
                  </a:lnTo>
                  <a:lnTo>
                    <a:pt x="9" y="14"/>
                  </a:lnTo>
                  <a:lnTo>
                    <a:pt x="4" y="10"/>
                  </a:lnTo>
                  <a:lnTo>
                    <a:pt x="4" y="7"/>
                  </a:lnTo>
                  <a:lnTo>
                    <a:pt x="0" y="3"/>
                  </a:lnTo>
                  <a:lnTo>
                    <a:pt x="0" y="0"/>
                  </a:lnTo>
                  <a:lnTo>
                    <a:pt x="1" y="0"/>
                  </a:lnTo>
                  <a:lnTo>
                    <a:pt x="4" y="4"/>
                  </a:lnTo>
                  <a:lnTo>
                    <a:pt x="9" y="10"/>
                  </a:lnTo>
                  <a:lnTo>
                    <a:pt x="9" y="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11" name="Freeform 620"/>
            <p:cNvSpPr>
              <a:spLocks/>
            </p:cNvSpPr>
            <p:nvPr/>
          </p:nvSpPr>
          <p:spPr bwMode="auto">
            <a:xfrm>
              <a:off x="7885983" y="1600292"/>
              <a:ext cx="9656" cy="20283"/>
            </a:xfrm>
            <a:custGeom>
              <a:avLst/>
              <a:gdLst/>
              <a:ahLst/>
              <a:cxnLst>
                <a:cxn ang="0">
                  <a:pos x="9" y="9"/>
                </a:cxn>
                <a:cxn ang="0">
                  <a:pos x="10" y="12"/>
                </a:cxn>
                <a:cxn ang="0">
                  <a:pos x="11" y="12"/>
                </a:cxn>
                <a:cxn ang="0">
                  <a:pos x="11" y="14"/>
                </a:cxn>
                <a:cxn ang="0">
                  <a:pos x="11" y="19"/>
                </a:cxn>
                <a:cxn ang="0">
                  <a:pos x="10" y="17"/>
                </a:cxn>
                <a:cxn ang="0">
                  <a:pos x="9" y="14"/>
                </a:cxn>
                <a:cxn ang="0">
                  <a:pos x="4" y="10"/>
                </a:cxn>
                <a:cxn ang="0">
                  <a:pos x="4" y="7"/>
                </a:cxn>
                <a:cxn ang="0">
                  <a:pos x="0" y="3"/>
                </a:cxn>
                <a:cxn ang="0">
                  <a:pos x="0" y="0"/>
                </a:cxn>
                <a:cxn ang="0">
                  <a:pos x="1" y="0"/>
                </a:cxn>
                <a:cxn ang="0">
                  <a:pos x="4" y="4"/>
                </a:cxn>
                <a:cxn ang="0">
                  <a:pos x="9" y="10"/>
                </a:cxn>
                <a:cxn ang="0">
                  <a:pos x="9" y="9"/>
                </a:cxn>
              </a:cxnLst>
              <a:rect l="0" t="0" r="r" b="b"/>
              <a:pathLst>
                <a:path w="11" h="19">
                  <a:moveTo>
                    <a:pt x="9" y="9"/>
                  </a:moveTo>
                  <a:lnTo>
                    <a:pt x="10" y="12"/>
                  </a:lnTo>
                  <a:lnTo>
                    <a:pt x="11" y="12"/>
                  </a:lnTo>
                  <a:lnTo>
                    <a:pt x="11" y="14"/>
                  </a:lnTo>
                  <a:lnTo>
                    <a:pt x="11" y="19"/>
                  </a:lnTo>
                  <a:lnTo>
                    <a:pt x="10" y="17"/>
                  </a:lnTo>
                  <a:lnTo>
                    <a:pt x="9" y="14"/>
                  </a:lnTo>
                  <a:lnTo>
                    <a:pt x="4" y="10"/>
                  </a:lnTo>
                  <a:lnTo>
                    <a:pt x="4" y="7"/>
                  </a:lnTo>
                  <a:lnTo>
                    <a:pt x="0" y="3"/>
                  </a:lnTo>
                  <a:lnTo>
                    <a:pt x="0" y="0"/>
                  </a:lnTo>
                  <a:lnTo>
                    <a:pt x="1" y="0"/>
                  </a:lnTo>
                  <a:lnTo>
                    <a:pt x="4" y="4"/>
                  </a:lnTo>
                  <a:lnTo>
                    <a:pt x="9" y="10"/>
                  </a:lnTo>
                  <a:lnTo>
                    <a:pt x="9" y="9"/>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12" name="Freeform 621"/>
            <p:cNvSpPr>
              <a:spLocks/>
            </p:cNvSpPr>
            <p:nvPr/>
          </p:nvSpPr>
          <p:spPr bwMode="auto">
            <a:xfrm>
              <a:off x="7885983" y="1508007"/>
              <a:ext cx="7900" cy="29409"/>
            </a:xfrm>
            <a:custGeom>
              <a:avLst/>
              <a:gdLst/>
              <a:ahLst/>
              <a:cxnLst>
                <a:cxn ang="0">
                  <a:pos x="6" y="16"/>
                </a:cxn>
                <a:cxn ang="0">
                  <a:pos x="6" y="21"/>
                </a:cxn>
                <a:cxn ang="0">
                  <a:pos x="4" y="22"/>
                </a:cxn>
                <a:cxn ang="0">
                  <a:pos x="6" y="26"/>
                </a:cxn>
                <a:cxn ang="0">
                  <a:pos x="4" y="29"/>
                </a:cxn>
                <a:cxn ang="0">
                  <a:pos x="1" y="26"/>
                </a:cxn>
                <a:cxn ang="0">
                  <a:pos x="0" y="24"/>
                </a:cxn>
                <a:cxn ang="0">
                  <a:pos x="1" y="22"/>
                </a:cxn>
                <a:cxn ang="0">
                  <a:pos x="0" y="19"/>
                </a:cxn>
                <a:cxn ang="0">
                  <a:pos x="1" y="0"/>
                </a:cxn>
                <a:cxn ang="0">
                  <a:pos x="3" y="3"/>
                </a:cxn>
                <a:cxn ang="0">
                  <a:pos x="3" y="5"/>
                </a:cxn>
                <a:cxn ang="0">
                  <a:pos x="4" y="10"/>
                </a:cxn>
                <a:cxn ang="0">
                  <a:pos x="6" y="12"/>
                </a:cxn>
                <a:cxn ang="0">
                  <a:pos x="9" y="13"/>
                </a:cxn>
                <a:cxn ang="0">
                  <a:pos x="6" y="16"/>
                </a:cxn>
              </a:cxnLst>
              <a:rect l="0" t="0" r="r" b="b"/>
              <a:pathLst>
                <a:path w="9" h="29">
                  <a:moveTo>
                    <a:pt x="6" y="16"/>
                  </a:moveTo>
                  <a:lnTo>
                    <a:pt x="6" y="21"/>
                  </a:lnTo>
                  <a:lnTo>
                    <a:pt x="4" y="22"/>
                  </a:lnTo>
                  <a:lnTo>
                    <a:pt x="6" y="26"/>
                  </a:lnTo>
                  <a:lnTo>
                    <a:pt x="4" y="29"/>
                  </a:lnTo>
                  <a:lnTo>
                    <a:pt x="1" y="26"/>
                  </a:lnTo>
                  <a:lnTo>
                    <a:pt x="0" y="24"/>
                  </a:lnTo>
                  <a:lnTo>
                    <a:pt x="1" y="22"/>
                  </a:lnTo>
                  <a:lnTo>
                    <a:pt x="0" y="19"/>
                  </a:lnTo>
                  <a:lnTo>
                    <a:pt x="1" y="0"/>
                  </a:lnTo>
                  <a:lnTo>
                    <a:pt x="3" y="3"/>
                  </a:lnTo>
                  <a:lnTo>
                    <a:pt x="3" y="5"/>
                  </a:lnTo>
                  <a:lnTo>
                    <a:pt x="4" y="10"/>
                  </a:lnTo>
                  <a:lnTo>
                    <a:pt x="6" y="12"/>
                  </a:lnTo>
                  <a:lnTo>
                    <a:pt x="9" y="13"/>
                  </a:lnTo>
                  <a:lnTo>
                    <a:pt x="6" y="1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13" name="Freeform 622"/>
            <p:cNvSpPr>
              <a:spLocks/>
            </p:cNvSpPr>
            <p:nvPr/>
          </p:nvSpPr>
          <p:spPr bwMode="auto">
            <a:xfrm>
              <a:off x="7885983" y="1508007"/>
              <a:ext cx="7900" cy="29409"/>
            </a:xfrm>
            <a:custGeom>
              <a:avLst/>
              <a:gdLst/>
              <a:ahLst/>
              <a:cxnLst>
                <a:cxn ang="0">
                  <a:pos x="6" y="16"/>
                </a:cxn>
                <a:cxn ang="0">
                  <a:pos x="6" y="21"/>
                </a:cxn>
                <a:cxn ang="0">
                  <a:pos x="4" y="22"/>
                </a:cxn>
                <a:cxn ang="0">
                  <a:pos x="6" y="26"/>
                </a:cxn>
                <a:cxn ang="0">
                  <a:pos x="4" y="29"/>
                </a:cxn>
                <a:cxn ang="0">
                  <a:pos x="1" y="26"/>
                </a:cxn>
                <a:cxn ang="0">
                  <a:pos x="0" y="24"/>
                </a:cxn>
                <a:cxn ang="0">
                  <a:pos x="1" y="22"/>
                </a:cxn>
                <a:cxn ang="0">
                  <a:pos x="0" y="19"/>
                </a:cxn>
                <a:cxn ang="0">
                  <a:pos x="1" y="0"/>
                </a:cxn>
                <a:cxn ang="0">
                  <a:pos x="3" y="3"/>
                </a:cxn>
                <a:cxn ang="0">
                  <a:pos x="3" y="5"/>
                </a:cxn>
                <a:cxn ang="0">
                  <a:pos x="4" y="10"/>
                </a:cxn>
                <a:cxn ang="0">
                  <a:pos x="6" y="12"/>
                </a:cxn>
                <a:cxn ang="0">
                  <a:pos x="9" y="13"/>
                </a:cxn>
                <a:cxn ang="0">
                  <a:pos x="6" y="16"/>
                </a:cxn>
              </a:cxnLst>
              <a:rect l="0" t="0" r="r" b="b"/>
              <a:pathLst>
                <a:path w="9" h="29">
                  <a:moveTo>
                    <a:pt x="6" y="16"/>
                  </a:moveTo>
                  <a:lnTo>
                    <a:pt x="6" y="21"/>
                  </a:lnTo>
                  <a:lnTo>
                    <a:pt x="4" y="22"/>
                  </a:lnTo>
                  <a:lnTo>
                    <a:pt x="6" y="26"/>
                  </a:lnTo>
                  <a:lnTo>
                    <a:pt x="4" y="29"/>
                  </a:lnTo>
                  <a:lnTo>
                    <a:pt x="1" y="26"/>
                  </a:lnTo>
                  <a:lnTo>
                    <a:pt x="0" y="24"/>
                  </a:lnTo>
                  <a:lnTo>
                    <a:pt x="1" y="22"/>
                  </a:lnTo>
                  <a:lnTo>
                    <a:pt x="0" y="19"/>
                  </a:lnTo>
                  <a:lnTo>
                    <a:pt x="1" y="0"/>
                  </a:lnTo>
                  <a:lnTo>
                    <a:pt x="3" y="3"/>
                  </a:lnTo>
                  <a:lnTo>
                    <a:pt x="3" y="5"/>
                  </a:lnTo>
                  <a:lnTo>
                    <a:pt x="4" y="10"/>
                  </a:lnTo>
                  <a:lnTo>
                    <a:pt x="6" y="12"/>
                  </a:lnTo>
                  <a:lnTo>
                    <a:pt x="9" y="13"/>
                  </a:lnTo>
                  <a:lnTo>
                    <a:pt x="6" y="1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14" name="Freeform 623"/>
            <p:cNvSpPr>
              <a:spLocks/>
            </p:cNvSpPr>
            <p:nvPr/>
          </p:nvSpPr>
          <p:spPr bwMode="auto">
            <a:xfrm>
              <a:off x="7900905" y="1484682"/>
              <a:ext cx="88658" cy="89244"/>
            </a:xfrm>
            <a:custGeom>
              <a:avLst/>
              <a:gdLst/>
              <a:ahLst/>
              <a:cxnLst>
                <a:cxn ang="0">
                  <a:pos x="48" y="24"/>
                </a:cxn>
                <a:cxn ang="0">
                  <a:pos x="50" y="24"/>
                </a:cxn>
                <a:cxn ang="0">
                  <a:pos x="53" y="27"/>
                </a:cxn>
                <a:cxn ang="0">
                  <a:pos x="51" y="31"/>
                </a:cxn>
                <a:cxn ang="0">
                  <a:pos x="51" y="34"/>
                </a:cxn>
                <a:cxn ang="0">
                  <a:pos x="54" y="34"/>
                </a:cxn>
                <a:cxn ang="0">
                  <a:pos x="57" y="35"/>
                </a:cxn>
                <a:cxn ang="0">
                  <a:pos x="60" y="35"/>
                </a:cxn>
                <a:cxn ang="0">
                  <a:pos x="61" y="27"/>
                </a:cxn>
                <a:cxn ang="0">
                  <a:pos x="60" y="12"/>
                </a:cxn>
                <a:cxn ang="0">
                  <a:pos x="64" y="8"/>
                </a:cxn>
                <a:cxn ang="0">
                  <a:pos x="79" y="28"/>
                </a:cxn>
                <a:cxn ang="0">
                  <a:pos x="83" y="30"/>
                </a:cxn>
                <a:cxn ang="0">
                  <a:pos x="77" y="47"/>
                </a:cxn>
                <a:cxn ang="0">
                  <a:pos x="84" y="66"/>
                </a:cxn>
                <a:cxn ang="0">
                  <a:pos x="95" y="70"/>
                </a:cxn>
                <a:cxn ang="0">
                  <a:pos x="95" y="73"/>
                </a:cxn>
                <a:cxn ang="0">
                  <a:pos x="83" y="72"/>
                </a:cxn>
                <a:cxn ang="0">
                  <a:pos x="80" y="79"/>
                </a:cxn>
                <a:cxn ang="0">
                  <a:pos x="76" y="70"/>
                </a:cxn>
                <a:cxn ang="0">
                  <a:pos x="73" y="66"/>
                </a:cxn>
                <a:cxn ang="0">
                  <a:pos x="60" y="75"/>
                </a:cxn>
                <a:cxn ang="0">
                  <a:pos x="48" y="80"/>
                </a:cxn>
                <a:cxn ang="0">
                  <a:pos x="44" y="79"/>
                </a:cxn>
                <a:cxn ang="0">
                  <a:pos x="48" y="77"/>
                </a:cxn>
                <a:cxn ang="0">
                  <a:pos x="44" y="72"/>
                </a:cxn>
                <a:cxn ang="0">
                  <a:pos x="39" y="69"/>
                </a:cxn>
                <a:cxn ang="0">
                  <a:pos x="41" y="75"/>
                </a:cxn>
                <a:cxn ang="0">
                  <a:pos x="37" y="86"/>
                </a:cxn>
                <a:cxn ang="0">
                  <a:pos x="31" y="85"/>
                </a:cxn>
                <a:cxn ang="0">
                  <a:pos x="19" y="80"/>
                </a:cxn>
                <a:cxn ang="0">
                  <a:pos x="12" y="69"/>
                </a:cxn>
                <a:cxn ang="0">
                  <a:pos x="0" y="51"/>
                </a:cxn>
                <a:cxn ang="0">
                  <a:pos x="6" y="51"/>
                </a:cxn>
                <a:cxn ang="0">
                  <a:pos x="8" y="47"/>
                </a:cxn>
                <a:cxn ang="0">
                  <a:pos x="5" y="46"/>
                </a:cxn>
                <a:cxn ang="0">
                  <a:pos x="8" y="46"/>
                </a:cxn>
                <a:cxn ang="0">
                  <a:pos x="5" y="40"/>
                </a:cxn>
                <a:cxn ang="0">
                  <a:pos x="3" y="37"/>
                </a:cxn>
                <a:cxn ang="0">
                  <a:pos x="6" y="37"/>
                </a:cxn>
                <a:cxn ang="0">
                  <a:pos x="6" y="32"/>
                </a:cxn>
                <a:cxn ang="0">
                  <a:pos x="8" y="27"/>
                </a:cxn>
                <a:cxn ang="0">
                  <a:pos x="12" y="25"/>
                </a:cxn>
                <a:cxn ang="0">
                  <a:pos x="9" y="24"/>
                </a:cxn>
                <a:cxn ang="0">
                  <a:pos x="10" y="14"/>
                </a:cxn>
                <a:cxn ang="0">
                  <a:pos x="19" y="11"/>
                </a:cxn>
                <a:cxn ang="0">
                  <a:pos x="22" y="6"/>
                </a:cxn>
                <a:cxn ang="0">
                  <a:pos x="32" y="0"/>
                </a:cxn>
                <a:cxn ang="0">
                  <a:pos x="31" y="3"/>
                </a:cxn>
                <a:cxn ang="0">
                  <a:pos x="38" y="14"/>
                </a:cxn>
                <a:cxn ang="0">
                  <a:pos x="42" y="14"/>
                </a:cxn>
                <a:cxn ang="0">
                  <a:pos x="45" y="18"/>
                </a:cxn>
                <a:cxn ang="0">
                  <a:pos x="45" y="22"/>
                </a:cxn>
              </a:cxnLst>
              <a:rect l="0" t="0" r="r" b="b"/>
              <a:pathLst>
                <a:path w="96" h="86">
                  <a:moveTo>
                    <a:pt x="47" y="22"/>
                  </a:moveTo>
                  <a:lnTo>
                    <a:pt x="48" y="24"/>
                  </a:lnTo>
                  <a:lnTo>
                    <a:pt x="48" y="25"/>
                  </a:lnTo>
                  <a:lnTo>
                    <a:pt x="50" y="24"/>
                  </a:lnTo>
                  <a:lnTo>
                    <a:pt x="53" y="24"/>
                  </a:lnTo>
                  <a:lnTo>
                    <a:pt x="53" y="27"/>
                  </a:lnTo>
                  <a:lnTo>
                    <a:pt x="53" y="28"/>
                  </a:lnTo>
                  <a:lnTo>
                    <a:pt x="51" y="31"/>
                  </a:lnTo>
                  <a:lnTo>
                    <a:pt x="53" y="31"/>
                  </a:lnTo>
                  <a:lnTo>
                    <a:pt x="51" y="34"/>
                  </a:lnTo>
                  <a:lnTo>
                    <a:pt x="53" y="35"/>
                  </a:lnTo>
                  <a:lnTo>
                    <a:pt x="54" y="34"/>
                  </a:lnTo>
                  <a:lnTo>
                    <a:pt x="55" y="37"/>
                  </a:lnTo>
                  <a:lnTo>
                    <a:pt x="57" y="35"/>
                  </a:lnTo>
                  <a:lnTo>
                    <a:pt x="60" y="35"/>
                  </a:lnTo>
                  <a:lnTo>
                    <a:pt x="60" y="35"/>
                  </a:lnTo>
                  <a:lnTo>
                    <a:pt x="60" y="28"/>
                  </a:lnTo>
                  <a:lnTo>
                    <a:pt x="61" y="27"/>
                  </a:lnTo>
                  <a:lnTo>
                    <a:pt x="60" y="24"/>
                  </a:lnTo>
                  <a:lnTo>
                    <a:pt x="60" y="12"/>
                  </a:lnTo>
                  <a:lnTo>
                    <a:pt x="61" y="9"/>
                  </a:lnTo>
                  <a:lnTo>
                    <a:pt x="64" y="8"/>
                  </a:lnTo>
                  <a:lnTo>
                    <a:pt x="70" y="12"/>
                  </a:lnTo>
                  <a:lnTo>
                    <a:pt x="79" y="28"/>
                  </a:lnTo>
                  <a:lnTo>
                    <a:pt x="80" y="28"/>
                  </a:lnTo>
                  <a:lnTo>
                    <a:pt x="83" y="30"/>
                  </a:lnTo>
                  <a:lnTo>
                    <a:pt x="83" y="34"/>
                  </a:lnTo>
                  <a:lnTo>
                    <a:pt x="77" y="47"/>
                  </a:lnTo>
                  <a:lnTo>
                    <a:pt x="82" y="61"/>
                  </a:lnTo>
                  <a:lnTo>
                    <a:pt x="84" y="66"/>
                  </a:lnTo>
                  <a:lnTo>
                    <a:pt x="90" y="67"/>
                  </a:lnTo>
                  <a:lnTo>
                    <a:pt x="95" y="70"/>
                  </a:lnTo>
                  <a:lnTo>
                    <a:pt x="96" y="73"/>
                  </a:lnTo>
                  <a:lnTo>
                    <a:pt x="95" y="73"/>
                  </a:lnTo>
                  <a:lnTo>
                    <a:pt x="90" y="76"/>
                  </a:lnTo>
                  <a:lnTo>
                    <a:pt x="83" y="72"/>
                  </a:lnTo>
                  <a:lnTo>
                    <a:pt x="83" y="76"/>
                  </a:lnTo>
                  <a:lnTo>
                    <a:pt x="80" y="79"/>
                  </a:lnTo>
                  <a:lnTo>
                    <a:pt x="74" y="72"/>
                  </a:lnTo>
                  <a:lnTo>
                    <a:pt x="76" y="70"/>
                  </a:lnTo>
                  <a:lnTo>
                    <a:pt x="76" y="67"/>
                  </a:lnTo>
                  <a:lnTo>
                    <a:pt x="73" y="66"/>
                  </a:lnTo>
                  <a:lnTo>
                    <a:pt x="70" y="70"/>
                  </a:lnTo>
                  <a:lnTo>
                    <a:pt x="60" y="75"/>
                  </a:lnTo>
                  <a:lnTo>
                    <a:pt x="55" y="77"/>
                  </a:lnTo>
                  <a:lnTo>
                    <a:pt x="48" y="80"/>
                  </a:lnTo>
                  <a:lnTo>
                    <a:pt x="47" y="80"/>
                  </a:lnTo>
                  <a:lnTo>
                    <a:pt x="44" y="79"/>
                  </a:lnTo>
                  <a:lnTo>
                    <a:pt x="45" y="79"/>
                  </a:lnTo>
                  <a:lnTo>
                    <a:pt x="48" y="77"/>
                  </a:lnTo>
                  <a:lnTo>
                    <a:pt x="45" y="76"/>
                  </a:lnTo>
                  <a:lnTo>
                    <a:pt x="44" y="72"/>
                  </a:lnTo>
                  <a:lnTo>
                    <a:pt x="42" y="67"/>
                  </a:lnTo>
                  <a:lnTo>
                    <a:pt x="39" y="69"/>
                  </a:lnTo>
                  <a:lnTo>
                    <a:pt x="38" y="75"/>
                  </a:lnTo>
                  <a:lnTo>
                    <a:pt x="41" y="75"/>
                  </a:lnTo>
                  <a:lnTo>
                    <a:pt x="38" y="83"/>
                  </a:lnTo>
                  <a:lnTo>
                    <a:pt x="37" y="86"/>
                  </a:lnTo>
                  <a:lnTo>
                    <a:pt x="35" y="86"/>
                  </a:lnTo>
                  <a:lnTo>
                    <a:pt x="31" y="85"/>
                  </a:lnTo>
                  <a:lnTo>
                    <a:pt x="24" y="83"/>
                  </a:lnTo>
                  <a:lnTo>
                    <a:pt x="19" y="80"/>
                  </a:lnTo>
                  <a:lnTo>
                    <a:pt x="15" y="67"/>
                  </a:lnTo>
                  <a:lnTo>
                    <a:pt x="12" y="69"/>
                  </a:lnTo>
                  <a:lnTo>
                    <a:pt x="5" y="63"/>
                  </a:lnTo>
                  <a:lnTo>
                    <a:pt x="0" y="51"/>
                  </a:lnTo>
                  <a:lnTo>
                    <a:pt x="3" y="50"/>
                  </a:lnTo>
                  <a:lnTo>
                    <a:pt x="6" y="51"/>
                  </a:lnTo>
                  <a:lnTo>
                    <a:pt x="9" y="50"/>
                  </a:lnTo>
                  <a:lnTo>
                    <a:pt x="8" y="47"/>
                  </a:lnTo>
                  <a:lnTo>
                    <a:pt x="6" y="47"/>
                  </a:lnTo>
                  <a:lnTo>
                    <a:pt x="5" y="46"/>
                  </a:lnTo>
                  <a:lnTo>
                    <a:pt x="6" y="46"/>
                  </a:lnTo>
                  <a:lnTo>
                    <a:pt x="8" y="46"/>
                  </a:lnTo>
                  <a:lnTo>
                    <a:pt x="8" y="41"/>
                  </a:lnTo>
                  <a:lnTo>
                    <a:pt x="5" y="40"/>
                  </a:lnTo>
                  <a:lnTo>
                    <a:pt x="3" y="37"/>
                  </a:lnTo>
                  <a:lnTo>
                    <a:pt x="3" y="37"/>
                  </a:lnTo>
                  <a:lnTo>
                    <a:pt x="6" y="40"/>
                  </a:lnTo>
                  <a:lnTo>
                    <a:pt x="6" y="37"/>
                  </a:lnTo>
                  <a:lnTo>
                    <a:pt x="6" y="34"/>
                  </a:lnTo>
                  <a:lnTo>
                    <a:pt x="6" y="32"/>
                  </a:lnTo>
                  <a:lnTo>
                    <a:pt x="6" y="28"/>
                  </a:lnTo>
                  <a:lnTo>
                    <a:pt x="8" y="27"/>
                  </a:lnTo>
                  <a:lnTo>
                    <a:pt x="12" y="27"/>
                  </a:lnTo>
                  <a:lnTo>
                    <a:pt x="12" y="25"/>
                  </a:lnTo>
                  <a:lnTo>
                    <a:pt x="10" y="22"/>
                  </a:lnTo>
                  <a:lnTo>
                    <a:pt x="9" y="24"/>
                  </a:lnTo>
                  <a:lnTo>
                    <a:pt x="8" y="18"/>
                  </a:lnTo>
                  <a:lnTo>
                    <a:pt x="10" y="14"/>
                  </a:lnTo>
                  <a:lnTo>
                    <a:pt x="12" y="15"/>
                  </a:lnTo>
                  <a:lnTo>
                    <a:pt x="19" y="11"/>
                  </a:lnTo>
                  <a:lnTo>
                    <a:pt x="21" y="5"/>
                  </a:lnTo>
                  <a:lnTo>
                    <a:pt x="22" y="6"/>
                  </a:lnTo>
                  <a:lnTo>
                    <a:pt x="28" y="0"/>
                  </a:lnTo>
                  <a:lnTo>
                    <a:pt x="32" y="0"/>
                  </a:lnTo>
                  <a:lnTo>
                    <a:pt x="32" y="0"/>
                  </a:lnTo>
                  <a:lnTo>
                    <a:pt x="31" y="3"/>
                  </a:lnTo>
                  <a:lnTo>
                    <a:pt x="32" y="6"/>
                  </a:lnTo>
                  <a:lnTo>
                    <a:pt x="38" y="14"/>
                  </a:lnTo>
                  <a:lnTo>
                    <a:pt x="39" y="15"/>
                  </a:lnTo>
                  <a:lnTo>
                    <a:pt x="42" y="14"/>
                  </a:lnTo>
                  <a:lnTo>
                    <a:pt x="42" y="16"/>
                  </a:lnTo>
                  <a:lnTo>
                    <a:pt x="45" y="18"/>
                  </a:lnTo>
                  <a:lnTo>
                    <a:pt x="44" y="21"/>
                  </a:lnTo>
                  <a:lnTo>
                    <a:pt x="45" y="22"/>
                  </a:lnTo>
                  <a:lnTo>
                    <a:pt x="47" y="2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15" name="Freeform 625"/>
            <p:cNvSpPr>
              <a:spLocks/>
            </p:cNvSpPr>
            <p:nvPr/>
          </p:nvSpPr>
          <p:spPr bwMode="auto">
            <a:xfrm>
              <a:off x="7962351" y="1489752"/>
              <a:ext cx="53546" cy="66933"/>
            </a:xfrm>
            <a:custGeom>
              <a:avLst/>
              <a:gdLst/>
              <a:ahLst/>
              <a:cxnLst>
                <a:cxn ang="0">
                  <a:pos x="0" y="0"/>
                </a:cxn>
                <a:cxn ang="0">
                  <a:pos x="4" y="1"/>
                </a:cxn>
                <a:cxn ang="0">
                  <a:pos x="9" y="7"/>
                </a:cxn>
                <a:cxn ang="0">
                  <a:pos x="12" y="10"/>
                </a:cxn>
                <a:cxn ang="0">
                  <a:pos x="15" y="14"/>
                </a:cxn>
                <a:cxn ang="0">
                  <a:pos x="17" y="17"/>
                </a:cxn>
                <a:cxn ang="0">
                  <a:pos x="23" y="19"/>
                </a:cxn>
                <a:cxn ang="0">
                  <a:pos x="28" y="14"/>
                </a:cxn>
                <a:cxn ang="0">
                  <a:pos x="31" y="14"/>
                </a:cxn>
                <a:cxn ang="0">
                  <a:pos x="36" y="16"/>
                </a:cxn>
                <a:cxn ang="0">
                  <a:pos x="39" y="23"/>
                </a:cxn>
                <a:cxn ang="0">
                  <a:pos x="52" y="30"/>
                </a:cxn>
                <a:cxn ang="0">
                  <a:pos x="57" y="35"/>
                </a:cxn>
                <a:cxn ang="0">
                  <a:pos x="58" y="35"/>
                </a:cxn>
                <a:cxn ang="0">
                  <a:pos x="58" y="38"/>
                </a:cxn>
                <a:cxn ang="0">
                  <a:pos x="54" y="36"/>
                </a:cxn>
                <a:cxn ang="0">
                  <a:pos x="51" y="38"/>
                </a:cxn>
                <a:cxn ang="0">
                  <a:pos x="51" y="39"/>
                </a:cxn>
                <a:cxn ang="0">
                  <a:pos x="47" y="41"/>
                </a:cxn>
                <a:cxn ang="0">
                  <a:pos x="48" y="41"/>
                </a:cxn>
                <a:cxn ang="0">
                  <a:pos x="48" y="46"/>
                </a:cxn>
                <a:cxn ang="0">
                  <a:pos x="49" y="49"/>
                </a:cxn>
                <a:cxn ang="0">
                  <a:pos x="48" y="52"/>
                </a:cxn>
                <a:cxn ang="0">
                  <a:pos x="47" y="56"/>
                </a:cxn>
                <a:cxn ang="0">
                  <a:pos x="44" y="58"/>
                </a:cxn>
                <a:cxn ang="0">
                  <a:pos x="42" y="59"/>
                </a:cxn>
                <a:cxn ang="0">
                  <a:pos x="36" y="64"/>
                </a:cxn>
                <a:cxn ang="0">
                  <a:pos x="33" y="62"/>
                </a:cxn>
                <a:cxn ang="0">
                  <a:pos x="23" y="59"/>
                </a:cxn>
                <a:cxn ang="0">
                  <a:pos x="20" y="56"/>
                </a:cxn>
                <a:cxn ang="0">
                  <a:pos x="15" y="42"/>
                </a:cxn>
                <a:cxn ang="0">
                  <a:pos x="19" y="22"/>
                </a:cxn>
                <a:cxn ang="0">
                  <a:pos x="17" y="22"/>
                </a:cxn>
                <a:cxn ang="0">
                  <a:pos x="16" y="19"/>
                </a:cxn>
                <a:cxn ang="0">
                  <a:pos x="0" y="0"/>
                </a:cxn>
              </a:cxnLst>
              <a:rect l="0" t="0" r="r" b="b"/>
              <a:pathLst>
                <a:path w="58" h="64">
                  <a:moveTo>
                    <a:pt x="0" y="0"/>
                  </a:moveTo>
                  <a:lnTo>
                    <a:pt x="4" y="1"/>
                  </a:lnTo>
                  <a:lnTo>
                    <a:pt x="9" y="7"/>
                  </a:lnTo>
                  <a:lnTo>
                    <a:pt x="12" y="10"/>
                  </a:lnTo>
                  <a:lnTo>
                    <a:pt x="15" y="14"/>
                  </a:lnTo>
                  <a:lnTo>
                    <a:pt x="17" y="17"/>
                  </a:lnTo>
                  <a:lnTo>
                    <a:pt x="23" y="19"/>
                  </a:lnTo>
                  <a:lnTo>
                    <a:pt x="28" y="14"/>
                  </a:lnTo>
                  <a:lnTo>
                    <a:pt x="31" y="14"/>
                  </a:lnTo>
                  <a:lnTo>
                    <a:pt x="36" y="16"/>
                  </a:lnTo>
                  <a:lnTo>
                    <a:pt x="39" y="23"/>
                  </a:lnTo>
                  <a:lnTo>
                    <a:pt x="52" y="30"/>
                  </a:lnTo>
                  <a:lnTo>
                    <a:pt x="57" y="35"/>
                  </a:lnTo>
                  <a:lnTo>
                    <a:pt x="58" y="35"/>
                  </a:lnTo>
                  <a:lnTo>
                    <a:pt x="58" y="38"/>
                  </a:lnTo>
                  <a:lnTo>
                    <a:pt x="54" y="36"/>
                  </a:lnTo>
                  <a:lnTo>
                    <a:pt x="51" y="38"/>
                  </a:lnTo>
                  <a:lnTo>
                    <a:pt x="51" y="39"/>
                  </a:lnTo>
                  <a:lnTo>
                    <a:pt x="47" y="41"/>
                  </a:lnTo>
                  <a:lnTo>
                    <a:pt x="48" y="41"/>
                  </a:lnTo>
                  <a:lnTo>
                    <a:pt x="48" y="46"/>
                  </a:lnTo>
                  <a:lnTo>
                    <a:pt x="49" y="49"/>
                  </a:lnTo>
                  <a:lnTo>
                    <a:pt x="48" y="52"/>
                  </a:lnTo>
                  <a:lnTo>
                    <a:pt x="47" y="56"/>
                  </a:lnTo>
                  <a:lnTo>
                    <a:pt x="44" y="58"/>
                  </a:lnTo>
                  <a:lnTo>
                    <a:pt x="42" y="59"/>
                  </a:lnTo>
                  <a:lnTo>
                    <a:pt x="36" y="64"/>
                  </a:lnTo>
                  <a:lnTo>
                    <a:pt x="33" y="62"/>
                  </a:lnTo>
                  <a:lnTo>
                    <a:pt x="23" y="59"/>
                  </a:lnTo>
                  <a:lnTo>
                    <a:pt x="20" y="56"/>
                  </a:lnTo>
                  <a:lnTo>
                    <a:pt x="15" y="42"/>
                  </a:lnTo>
                  <a:lnTo>
                    <a:pt x="19" y="22"/>
                  </a:lnTo>
                  <a:lnTo>
                    <a:pt x="17" y="22"/>
                  </a:lnTo>
                  <a:lnTo>
                    <a:pt x="16" y="19"/>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16" name="Freeform 627"/>
            <p:cNvSpPr>
              <a:spLocks/>
            </p:cNvSpPr>
            <p:nvPr/>
          </p:nvSpPr>
          <p:spPr bwMode="auto">
            <a:xfrm>
              <a:off x="8027308" y="1524233"/>
              <a:ext cx="63202" cy="48678"/>
            </a:xfrm>
            <a:custGeom>
              <a:avLst/>
              <a:gdLst/>
              <a:ahLst/>
              <a:cxnLst>
                <a:cxn ang="0">
                  <a:pos x="1" y="0"/>
                </a:cxn>
                <a:cxn ang="0">
                  <a:pos x="3" y="2"/>
                </a:cxn>
                <a:cxn ang="0">
                  <a:pos x="4" y="3"/>
                </a:cxn>
                <a:cxn ang="0">
                  <a:pos x="6" y="5"/>
                </a:cxn>
                <a:cxn ang="0">
                  <a:pos x="7" y="8"/>
                </a:cxn>
                <a:cxn ang="0">
                  <a:pos x="13" y="9"/>
                </a:cxn>
                <a:cxn ang="0">
                  <a:pos x="17" y="9"/>
                </a:cxn>
                <a:cxn ang="0">
                  <a:pos x="19" y="9"/>
                </a:cxn>
                <a:cxn ang="0">
                  <a:pos x="33" y="10"/>
                </a:cxn>
                <a:cxn ang="0">
                  <a:pos x="33" y="13"/>
                </a:cxn>
                <a:cxn ang="0">
                  <a:pos x="32" y="13"/>
                </a:cxn>
                <a:cxn ang="0">
                  <a:pos x="32" y="15"/>
                </a:cxn>
                <a:cxn ang="0">
                  <a:pos x="29" y="18"/>
                </a:cxn>
                <a:cxn ang="0">
                  <a:pos x="40" y="18"/>
                </a:cxn>
                <a:cxn ang="0">
                  <a:pos x="42" y="16"/>
                </a:cxn>
                <a:cxn ang="0">
                  <a:pos x="45" y="16"/>
                </a:cxn>
                <a:cxn ang="0">
                  <a:pos x="48" y="18"/>
                </a:cxn>
                <a:cxn ang="0">
                  <a:pos x="49" y="21"/>
                </a:cxn>
                <a:cxn ang="0">
                  <a:pos x="53" y="21"/>
                </a:cxn>
                <a:cxn ang="0">
                  <a:pos x="56" y="21"/>
                </a:cxn>
                <a:cxn ang="0">
                  <a:pos x="58" y="23"/>
                </a:cxn>
                <a:cxn ang="0">
                  <a:pos x="69" y="26"/>
                </a:cxn>
                <a:cxn ang="0">
                  <a:pos x="67" y="29"/>
                </a:cxn>
                <a:cxn ang="0">
                  <a:pos x="67" y="35"/>
                </a:cxn>
                <a:cxn ang="0">
                  <a:pos x="64" y="41"/>
                </a:cxn>
                <a:cxn ang="0">
                  <a:pos x="53" y="47"/>
                </a:cxn>
                <a:cxn ang="0">
                  <a:pos x="51" y="47"/>
                </a:cxn>
                <a:cxn ang="0">
                  <a:pos x="49" y="45"/>
                </a:cxn>
                <a:cxn ang="0">
                  <a:pos x="48" y="47"/>
                </a:cxn>
                <a:cxn ang="0">
                  <a:pos x="46" y="45"/>
                </a:cxn>
                <a:cxn ang="0">
                  <a:pos x="45" y="44"/>
                </a:cxn>
                <a:cxn ang="0">
                  <a:pos x="45" y="45"/>
                </a:cxn>
                <a:cxn ang="0">
                  <a:pos x="42" y="45"/>
                </a:cxn>
                <a:cxn ang="0">
                  <a:pos x="38" y="44"/>
                </a:cxn>
                <a:cxn ang="0">
                  <a:pos x="35" y="41"/>
                </a:cxn>
                <a:cxn ang="0">
                  <a:pos x="30" y="41"/>
                </a:cxn>
                <a:cxn ang="0">
                  <a:pos x="27" y="39"/>
                </a:cxn>
                <a:cxn ang="0">
                  <a:pos x="24" y="37"/>
                </a:cxn>
                <a:cxn ang="0">
                  <a:pos x="22" y="35"/>
                </a:cxn>
                <a:cxn ang="0">
                  <a:pos x="20" y="32"/>
                </a:cxn>
                <a:cxn ang="0">
                  <a:pos x="14" y="31"/>
                </a:cxn>
                <a:cxn ang="0">
                  <a:pos x="11" y="29"/>
                </a:cxn>
                <a:cxn ang="0">
                  <a:pos x="11" y="22"/>
                </a:cxn>
                <a:cxn ang="0">
                  <a:pos x="8" y="18"/>
                </a:cxn>
                <a:cxn ang="0">
                  <a:pos x="7" y="13"/>
                </a:cxn>
                <a:cxn ang="0">
                  <a:pos x="1" y="6"/>
                </a:cxn>
                <a:cxn ang="0">
                  <a:pos x="0" y="2"/>
                </a:cxn>
                <a:cxn ang="0">
                  <a:pos x="1" y="0"/>
                </a:cxn>
              </a:cxnLst>
              <a:rect l="0" t="0" r="r" b="b"/>
              <a:pathLst>
                <a:path w="69" h="47">
                  <a:moveTo>
                    <a:pt x="1" y="0"/>
                  </a:moveTo>
                  <a:lnTo>
                    <a:pt x="3" y="2"/>
                  </a:lnTo>
                  <a:lnTo>
                    <a:pt x="4" y="3"/>
                  </a:lnTo>
                  <a:lnTo>
                    <a:pt x="6" y="5"/>
                  </a:lnTo>
                  <a:lnTo>
                    <a:pt x="7" y="8"/>
                  </a:lnTo>
                  <a:lnTo>
                    <a:pt x="13" y="9"/>
                  </a:lnTo>
                  <a:lnTo>
                    <a:pt x="17" y="9"/>
                  </a:lnTo>
                  <a:lnTo>
                    <a:pt x="19" y="9"/>
                  </a:lnTo>
                  <a:lnTo>
                    <a:pt x="33" y="10"/>
                  </a:lnTo>
                  <a:lnTo>
                    <a:pt x="33" y="13"/>
                  </a:lnTo>
                  <a:lnTo>
                    <a:pt x="32" y="13"/>
                  </a:lnTo>
                  <a:lnTo>
                    <a:pt x="32" y="15"/>
                  </a:lnTo>
                  <a:lnTo>
                    <a:pt x="29" y="18"/>
                  </a:lnTo>
                  <a:lnTo>
                    <a:pt x="40" y="18"/>
                  </a:lnTo>
                  <a:lnTo>
                    <a:pt x="42" y="16"/>
                  </a:lnTo>
                  <a:lnTo>
                    <a:pt x="45" y="16"/>
                  </a:lnTo>
                  <a:lnTo>
                    <a:pt x="48" y="18"/>
                  </a:lnTo>
                  <a:lnTo>
                    <a:pt x="49" y="21"/>
                  </a:lnTo>
                  <a:lnTo>
                    <a:pt x="53" y="21"/>
                  </a:lnTo>
                  <a:lnTo>
                    <a:pt x="56" y="21"/>
                  </a:lnTo>
                  <a:lnTo>
                    <a:pt x="58" y="23"/>
                  </a:lnTo>
                  <a:lnTo>
                    <a:pt x="69" y="26"/>
                  </a:lnTo>
                  <a:lnTo>
                    <a:pt x="67" y="29"/>
                  </a:lnTo>
                  <a:lnTo>
                    <a:pt x="67" y="35"/>
                  </a:lnTo>
                  <a:lnTo>
                    <a:pt x="64" y="41"/>
                  </a:lnTo>
                  <a:lnTo>
                    <a:pt x="53" y="47"/>
                  </a:lnTo>
                  <a:lnTo>
                    <a:pt x="51" y="47"/>
                  </a:lnTo>
                  <a:lnTo>
                    <a:pt x="49" y="45"/>
                  </a:lnTo>
                  <a:lnTo>
                    <a:pt x="48" y="47"/>
                  </a:lnTo>
                  <a:lnTo>
                    <a:pt x="46" y="45"/>
                  </a:lnTo>
                  <a:lnTo>
                    <a:pt x="45" y="44"/>
                  </a:lnTo>
                  <a:lnTo>
                    <a:pt x="45" y="45"/>
                  </a:lnTo>
                  <a:lnTo>
                    <a:pt x="42" y="45"/>
                  </a:lnTo>
                  <a:lnTo>
                    <a:pt x="38" y="44"/>
                  </a:lnTo>
                  <a:lnTo>
                    <a:pt x="35" y="41"/>
                  </a:lnTo>
                  <a:lnTo>
                    <a:pt x="30" y="41"/>
                  </a:lnTo>
                  <a:lnTo>
                    <a:pt x="27" y="39"/>
                  </a:lnTo>
                  <a:lnTo>
                    <a:pt x="24" y="37"/>
                  </a:lnTo>
                  <a:lnTo>
                    <a:pt x="22" y="35"/>
                  </a:lnTo>
                  <a:lnTo>
                    <a:pt x="20" y="32"/>
                  </a:lnTo>
                  <a:lnTo>
                    <a:pt x="14" y="31"/>
                  </a:lnTo>
                  <a:lnTo>
                    <a:pt x="11" y="29"/>
                  </a:lnTo>
                  <a:lnTo>
                    <a:pt x="11" y="22"/>
                  </a:lnTo>
                  <a:lnTo>
                    <a:pt x="8" y="18"/>
                  </a:lnTo>
                  <a:lnTo>
                    <a:pt x="7" y="13"/>
                  </a:lnTo>
                  <a:lnTo>
                    <a:pt x="1" y="6"/>
                  </a:lnTo>
                  <a:lnTo>
                    <a:pt x="0" y="2"/>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17" name="Freeform 628"/>
            <p:cNvSpPr>
              <a:spLocks/>
            </p:cNvSpPr>
            <p:nvPr/>
          </p:nvSpPr>
          <p:spPr bwMode="auto">
            <a:xfrm>
              <a:off x="8027308" y="1524233"/>
              <a:ext cx="63202" cy="48678"/>
            </a:xfrm>
            <a:custGeom>
              <a:avLst/>
              <a:gdLst/>
              <a:ahLst/>
              <a:cxnLst>
                <a:cxn ang="0">
                  <a:pos x="1" y="0"/>
                </a:cxn>
                <a:cxn ang="0">
                  <a:pos x="3" y="2"/>
                </a:cxn>
                <a:cxn ang="0">
                  <a:pos x="4" y="3"/>
                </a:cxn>
                <a:cxn ang="0">
                  <a:pos x="6" y="5"/>
                </a:cxn>
                <a:cxn ang="0">
                  <a:pos x="7" y="8"/>
                </a:cxn>
                <a:cxn ang="0">
                  <a:pos x="13" y="9"/>
                </a:cxn>
                <a:cxn ang="0">
                  <a:pos x="17" y="9"/>
                </a:cxn>
                <a:cxn ang="0">
                  <a:pos x="19" y="9"/>
                </a:cxn>
                <a:cxn ang="0">
                  <a:pos x="33" y="10"/>
                </a:cxn>
                <a:cxn ang="0">
                  <a:pos x="33" y="13"/>
                </a:cxn>
                <a:cxn ang="0">
                  <a:pos x="32" y="13"/>
                </a:cxn>
                <a:cxn ang="0">
                  <a:pos x="32" y="15"/>
                </a:cxn>
                <a:cxn ang="0">
                  <a:pos x="29" y="18"/>
                </a:cxn>
                <a:cxn ang="0">
                  <a:pos x="40" y="18"/>
                </a:cxn>
                <a:cxn ang="0">
                  <a:pos x="42" y="16"/>
                </a:cxn>
                <a:cxn ang="0">
                  <a:pos x="45" y="16"/>
                </a:cxn>
                <a:cxn ang="0">
                  <a:pos x="48" y="18"/>
                </a:cxn>
                <a:cxn ang="0">
                  <a:pos x="49" y="21"/>
                </a:cxn>
                <a:cxn ang="0">
                  <a:pos x="53" y="21"/>
                </a:cxn>
                <a:cxn ang="0">
                  <a:pos x="56" y="21"/>
                </a:cxn>
                <a:cxn ang="0">
                  <a:pos x="58" y="23"/>
                </a:cxn>
                <a:cxn ang="0">
                  <a:pos x="69" y="26"/>
                </a:cxn>
                <a:cxn ang="0">
                  <a:pos x="67" y="29"/>
                </a:cxn>
                <a:cxn ang="0">
                  <a:pos x="67" y="35"/>
                </a:cxn>
                <a:cxn ang="0">
                  <a:pos x="64" y="41"/>
                </a:cxn>
                <a:cxn ang="0">
                  <a:pos x="53" y="47"/>
                </a:cxn>
                <a:cxn ang="0">
                  <a:pos x="51" y="47"/>
                </a:cxn>
                <a:cxn ang="0">
                  <a:pos x="49" y="45"/>
                </a:cxn>
                <a:cxn ang="0">
                  <a:pos x="48" y="47"/>
                </a:cxn>
                <a:cxn ang="0">
                  <a:pos x="46" y="45"/>
                </a:cxn>
                <a:cxn ang="0">
                  <a:pos x="45" y="44"/>
                </a:cxn>
                <a:cxn ang="0">
                  <a:pos x="45" y="45"/>
                </a:cxn>
                <a:cxn ang="0">
                  <a:pos x="42" y="45"/>
                </a:cxn>
                <a:cxn ang="0">
                  <a:pos x="38" y="44"/>
                </a:cxn>
                <a:cxn ang="0">
                  <a:pos x="35" y="41"/>
                </a:cxn>
                <a:cxn ang="0">
                  <a:pos x="30" y="41"/>
                </a:cxn>
                <a:cxn ang="0">
                  <a:pos x="27" y="39"/>
                </a:cxn>
                <a:cxn ang="0">
                  <a:pos x="24" y="37"/>
                </a:cxn>
                <a:cxn ang="0">
                  <a:pos x="22" y="35"/>
                </a:cxn>
                <a:cxn ang="0">
                  <a:pos x="20" y="32"/>
                </a:cxn>
                <a:cxn ang="0">
                  <a:pos x="14" y="31"/>
                </a:cxn>
                <a:cxn ang="0">
                  <a:pos x="11" y="29"/>
                </a:cxn>
                <a:cxn ang="0">
                  <a:pos x="11" y="22"/>
                </a:cxn>
                <a:cxn ang="0">
                  <a:pos x="8" y="18"/>
                </a:cxn>
                <a:cxn ang="0">
                  <a:pos x="7" y="13"/>
                </a:cxn>
                <a:cxn ang="0">
                  <a:pos x="1" y="6"/>
                </a:cxn>
                <a:cxn ang="0">
                  <a:pos x="0" y="2"/>
                </a:cxn>
                <a:cxn ang="0">
                  <a:pos x="1" y="0"/>
                </a:cxn>
              </a:cxnLst>
              <a:rect l="0" t="0" r="r" b="b"/>
              <a:pathLst>
                <a:path w="69" h="47">
                  <a:moveTo>
                    <a:pt x="1" y="0"/>
                  </a:moveTo>
                  <a:lnTo>
                    <a:pt x="3" y="2"/>
                  </a:lnTo>
                  <a:lnTo>
                    <a:pt x="4" y="3"/>
                  </a:lnTo>
                  <a:lnTo>
                    <a:pt x="6" y="5"/>
                  </a:lnTo>
                  <a:lnTo>
                    <a:pt x="7" y="8"/>
                  </a:lnTo>
                  <a:lnTo>
                    <a:pt x="13" y="9"/>
                  </a:lnTo>
                  <a:lnTo>
                    <a:pt x="17" y="9"/>
                  </a:lnTo>
                  <a:lnTo>
                    <a:pt x="19" y="9"/>
                  </a:lnTo>
                  <a:lnTo>
                    <a:pt x="33" y="10"/>
                  </a:lnTo>
                  <a:lnTo>
                    <a:pt x="33" y="13"/>
                  </a:lnTo>
                  <a:lnTo>
                    <a:pt x="32" y="13"/>
                  </a:lnTo>
                  <a:lnTo>
                    <a:pt x="32" y="15"/>
                  </a:lnTo>
                  <a:lnTo>
                    <a:pt x="29" y="18"/>
                  </a:lnTo>
                  <a:lnTo>
                    <a:pt x="40" y="18"/>
                  </a:lnTo>
                  <a:lnTo>
                    <a:pt x="42" y="16"/>
                  </a:lnTo>
                  <a:lnTo>
                    <a:pt x="45" y="16"/>
                  </a:lnTo>
                  <a:lnTo>
                    <a:pt x="48" y="18"/>
                  </a:lnTo>
                  <a:lnTo>
                    <a:pt x="49" y="21"/>
                  </a:lnTo>
                  <a:lnTo>
                    <a:pt x="53" y="21"/>
                  </a:lnTo>
                  <a:lnTo>
                    <a:pt x="56" y="21"/>
                  </a:lnTo>
                  <a:lnTo>
                    <a:pt x="58" y="23"/>
                  </a:lnTo>
                  <a:lnTo>
                    <a:pt x="69" y="26"/>
                  </a:lnTo>
                  <a:lnTo>
                    <a:pt x="67" y="29"/>
                  </a:lnTo>
                  <a:lnTo>
                    <a:pt x="67" y="35"/>
                  </a:lnTo>
                  <a:lnTo>
                    <a:pt x="64" y="41"/>
                  </a:lnTo>
                  <a:lnTo>
                    <a:pt x="53" y="47"/>
                  </a:lnTo>
                  <a:lnTo>
                    <a:pt x="51" y="47"/>
                  </a:lnTo>
                  <a:lnTo>
                    <a:pt x="49" y="45"/>
                  </a:lnTo>
                  <a:lnTo>
                    <a:pt x="48" y="47"/>
                  </a:lnTo>
                  <a:lnTo>
                    <a:pt x="46" y="45"/>
                  </a:lnTo>
                  <a:lnTo>
                    <a:pt x="45" y="44"/>
                  </a:lnTo>
                  <a:lnTo>
                    <a:pt x="45" y="45"/>
                  </a:lnTo>
                  <a:lnTo>
                    <a:pt x="42" y="45"/>
                  </a:lnTo>
                  <a:lnTo>
                    <a:pt x="38" y="44"/>
                  </a:lnTo>
                  <a:lnTo>
                    <a:pt x="35" y="41"/>
                  </a:lnTo>
                  <a:lnTo>
                    <a:pt x="30" y="41"/>
                  </a:lnTo>
                  <a:lnTo>
                    <a:pt x="27" y="39"/>
                  </a:lnTo>
                  <a:lnTo>
                    <a:pt x="24" y="37"/>
                  </a:lnTo>
                  <a:lnTo>
                    <a:pt x="22" y="35"/>
                  </a:lnTo>
                  <a:lnTo>
                    <a:pt x="20" y="32"/>
                  </a:lnTo>
                  <a:lnTo>
                    <a:pt x="14" y="31"/>
                  </a:lnTo>
                  <a:lnTo>
                    <a:pt x="11" y="29"/>
                  </a:lnTo>
                  <a:lnTo>
                    <a:pt x="11" y="22"/>
                  </a:lnTo>
                  <a:lnTo>
                    <a:pt x="8" y="18"/>
                  </a:lnTo>
                  <a:lnTo>
                    <a:pt x="7" y="13"/>
                  </a:lnTo>
                  <a:lnTo>
                    <a:pt x="1" y="6"/>
                  </a:lnTo>
                  <a:lnTo>
                    <a:pt x="0" y="2"/>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18" name="Freeform 629"/>
            <p:cNvSpPr>
              <a:spLocks/>
            </p:cNvSpPr>
            <p:nvPr/>
          </p:nvSpPr>
          <p:spPr bwMode="auto">
            <a:xfrm>
              <a:off x="7947428" y="1596236"/>
              <a:ext cx="11411" cy="22311"/>
            </a:xfrm>
            <a:custGeom>
              <a:avLst/>
              <a:gdLst/>
              <a:ahLst/>
              <a:cxnLst>
                <a:cxn ang="0">
                  <a:pos x="11" y="8"/>
                </a:cxn>
                <a:cxn ang="0">
                  <a:pos x="13" y="4"/>
                </a:cxn>
                <a:cxn ang="0">
                  <a:pos x="10" y="2"/>
                </a:cxn>
                <a:cxn ang="0">
                  <a:pos x="5" y="0"/>
                </a:cxn>
                <a:cxn ang="0">
                  <a:pos x="1" y="2"/>
                </a:cxn>
                <a:cxn ang="0">
                  <a:pos x="0" y="5"/>
                </a:cxn>
                <a:cxn ang="0">
                  <a:pos x="1" y="18"/>
                </a:cxn>
                <a:cxn ang="0">
                  <a:pos x="5" y="21"/>
                </a:cxn>
                <a:cxn ang="0">
                  <a:pos x="5" y="21"/>
                </a:cxn>
                <a:cxn ang="0">
                  <a:pos x="4" y="20"/>
                </a:cxn>
                <a:cxn ang="0">
                  <a:pos x="4" y="18"/>
                </a:cxn>
                <a:cxn ang="0">
                  <a:pos x="8" y="18"/>
                </a:cxn>
                <a:cxn ang="0">
                  <a:pos x="8" y="17"/>
                </a:cxn>
                <a:cxn ang="0">
                  <a:pos x="11" y="16"/>
                </a:cxn>
                <a:cxn ang="0">
                  <a:pos x="13" y="13"/>
                </a:cxn>
                <a:cxn ang="0">
                  <a:pos x="13" y="11"/>
                </a:cxn>
                <a:cxn ang="0">
                  <a:pos x="11" y="11"/>
                </a:cxn>
                <a:cxn ang="0">
                  <a:pos x="11" y="8"/>
                </a:cxn>
              </a:cxnLst>
              <a:rect l="0" t="0" r="r" b="b"/>
              <a:pathLst>
                <a:path w="13" h="21">
                  <a:moveTo>
                    <a:pt x="11" y="8"/>
                  </a:moveTo>
                  <a:lnTo>
                    <a:pt x="13" y="4"/>
                  </a:lnTo>
                  <a:lnTo>
                    <a:pt x="10" y="2"/>
                  </a:lnTo>
                  <a:lnTo>
                    <a:pt x="5" y="0"/>
                  </a:lnTo>
                  <a:lnTo>
                    <a:pt x="1" y="2"/>
                  </a:lnTo>
                  <a:lnTo>
                    <a:pt x="0" y="5"/>
                  </a:lnTo>
                  <a:lnTo>
                    <a:pt x="1" y="18"/>
                  </a:lnTo>
                  <a:lnTo>
                    <a:pt x="5" y="21"/>
                  </a:lnTo>
                  <a:lnTo>
                    <a:pt x="5" y="21"/>
                  </a:lnTo>
                  <a:lnTo>
                    <a:pt x="4" y="20"/>
                  </a:lnTo>
                  <a:lnTo>
                    <a:pt x="4" y="18"/>
                  </a:lnTo>
                  <a:lnTo>
                    <a:pt x="8" y="18"/>
                  </a:lnTo>
                  <a:lnTo>
                    <a:pt x="8" y="17"/>
                  </a:lnTo>
                  <a:lnTo>
                    <a:pt x="11" y="16"/>
                  </a:lnTo>
                  <a:lnTo>
                    <a:pt x="13" y="13"/>
                  </a:lnTo>
                  <a:lnTo>
                    <a:pt x="13" y="11"/>
                  </a:lnTo>
                  <a:lnTo>
                    <a:pt x="11" y="11"/>
                  </a:lnTo>
                  <a:lnTo>
                    <a:pt x="11" y="8"/>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19" name="Freeform 630"/>
            <p:cNvSpPr>
              <a:spLocks/>
            </p:cNvSpPr>
            <p:nvPr/>
          </p:nvSpPr>
          <p:spPr bwMode="auto">
            <a:xfrm>
              <a:off x="7947428" y="1596236"/>
              <a:ext cx="11411" cy="22311"/>
            </a:xfrm>
            <a:custGeom>
              <a:avLst/>
              <a:gdLst/>
              <a:ahLst/>
              <a:cxnLst>
                <a:cxn ang="0">
                  <a:pos x="11" y="8"/>
                </a:cxn>
                <a:cxn ang="0">
                  <a:pos x="13" y="4"/>
                </a:cxn>
                <a:cxn ang="0">
                  <a:pos x="10" y="2"/>
                </a:cxn>
                <a:cxn ang="0">
                  <a:pos x="5" y="0"/>
                </a:cxn>
                <a:cxn ang="0">
                  <a:pos x="1" y="2"/>
                </a:cxn>
                <a:cxn ang="0">
                  <a:pos x="0" y="5"/>
                </a:cxn>
                <a:cxn ang="0">
                  <a:pos x="1" y="18"/>
                </a:cxn>
                <a:cxn ang="0">
                  <a:pos x="5" y="21"/>
                </a:cxn>
                <a:cxn ang="0">
                  <a:pos x="5" y="21"/>
                </a:cxn>
                <a:cxn ang="0">
                  <a:pos x="4" y="20"/>
                </a:cxn>
                <a:cxn ang="0">
                  <a:pos x="4" y="18"/>
                </a:cxn>
                <a:cxn ang="0">
                  <a:pos x="8" y="18"/>
                </a:cxn>
                <a:cxn ang="0">
                  <a:pos x="8" y="17"/>
                </a:cxn>
                <a:cxn ang="0">
                  <a:pos x="11" y="16"/>
                </a:cxn>
                <a:cxn ang="0">
                  <a:pos x="13" y="13"/>
                </a:cxn>
                <a:cxn ang="0">
                  <a:pos x="13" y="11"/>
                </a:cxn>
                <a:cxn ang="0">
                  <a:pos x="11" y="11"/>
                </a:cxn>
                <a:cxn ang="0">
                  <a:pos x="11" y="8"/>
                </a:cxn>
              </a:cxnLst>
              <a:rect l="0" t="0" r="r" b="b"/>
              <a:pathLst>
                <a:path w="13" h="21">
                  <a:moveTo>
                    <a:pt x="11" y="8"/>
                  </a:moveTo>
                  <a:lnTo>
                    <a:pt x="13" y="4"/>
                  </a:lnTo>
                  <a:lnTo>
                    <a:pt x="10" y="2"/>
                  </a:lnTo>
                  <a:lnTo>
                    <a:pt x="5" y="0"/>
                  </a:lnTo>
                  <a:lnTo>
                    <a:pt x="1" y="2"/>
                  </a:lnTo>
                  <a:lnTo>
                    <a:pt x="0" y="5"/>
                  </a:lnTo>
                  <a:lnTo>
                    <a:pt x="1" y="18"/>
                  </a:lnTo>
                  <a:lnTo>
                    <a:pt x="5" y="21"/>
                  </a:lnTo>
                  <a:lnTo>
                    <a:pt x="5" y="21"/>
                  </a:lnTo>
                  <a:lnTo>
                    <a:pt x="4" y="20"/>
                  </a:lnTo>
                  <a:lnTo>
                    <a:pt x="4" y="18"/>
                  </a:lnTo>
                  <a:lnTo>
                    <a:pt x="8" y="18"/>
                  </a:lnTo>
                  <a:lnTo>
                    <a:pt x="8" y="17"/>
                  </a:lnTo>
                  <a:lnTo>
                    <a:pt x="11" y="16"/>
                  </a:lnTo>
                  <a:lnTo>
                    <a:pt x="13" y="13"/>
                  </a:lnTo>
                  <a:lnTo>
                    <a:pt x="13" y="11"/>
                  </a:lnTo>
                  <a:lnTo>
                    <a:pt x="11" y="11"/>
                  </a:lnTo>
                  <a:lnTo>
                    <a:pt x="11" y="8"/>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20" name="Freeform 631"/>
            <p:cNvSpPr>
              <a:spLocks/>
            </p:cNvSpPr>
            <p:nvPr/>
          </p:nvSpPr>
          <p:spPr bwMode="auto">
            <a:xfrm>
              <a:off x="7941283" y="1617532"/>
              <a:ext cx="50035" cy="35494"/>
            </a:xfrm>
            <a:custGeom>
              <a:avLst/>
              <a:gdLst/>
              <a:ahLst/>
              <a:cxnLst>
                <a:cxn ang="0">
                  <a:pos x="23" y="1"/>
                </a:cxn>
                <a:cxn ang="0">
                  <a:pos x="27" y="0"/>
                </a:cxn>
                <a:cxn ang="0">
                  <a:pos x="32" y="0"/>
                </a:cxn>
                <a:cxn ang="0">
                  <a:pos x="35" y="1"/>
                </a:cxn>
                <a:cxn ang="0">
                  <a:pos x="38" y="4"/>
                </a:cxn>
                <a:cxn ang="0">
                  <a:pos x="40" y="4"/>
                </a:cxn>
                <a:cxn ang="0">
                  <a:pos x="43" y="9"/>
                </a:cxn>
                <a:cxn ang="0">
                  <a:pos x="48" y="13"/>
                </a:cxn>
                <a:cxn ang="0">
                  <a:pos x="52" y="20"/>
                </a:cxn>
                <a:cxn ang="0">
                  <a:pos x="54" y="35"/>
                </a:cxn>
                <a:cxn ang="0">
                  <a:pos x="52" y="35"/>
                </a:cxn>
                <a:cxn ang="0">
                  <a:pos x="49" y="35"/>
                </a:cxn>
                <a:cxn ang="0">
                  <a:pos x="46" y="35"/>
                </a:cxn>
                <a:cxn ang="0">
                  <a:pos x="42" y="33"/>
                </a:cxn>
                <a:cxn ang="0">
                  <a:pos x="36" y="33"/>
                </a:cxn>
                <a:cxn ang="0">
                  <a:pos x="30" y="30"/>
                </a:cxn>
                <a:cxn ang="0">
                  <a:pos x="29" y="29"/>
                </a:cxn>
                <a:cxn ang="0">
                  <a:pos x="26" y="29"/>
                </a:cxn>
                <a:cxn ang="0">
                  <a:pos x="22" y="29"/>
                </a:cxn>
                <a:cxn ang="0">
                  <a:pos x="17" y="26"/>
                </a:cxn>
                <a:cxn ang="0">
                  <a:pos x="11" y="25"/>
                </a:cxn>
                <a:cxn ang="0">
                  <a:pos x="4" y="29"/>
                </a:cxn>
                <a:cxn ang="0">
                  <a:pos x="1" y="27"/>
                </a:cxn>
                <a:cxn ang="0">
                  <a:pos x="0" y="25"/>
                </a:cxn>
                <a:cxn ang="0">
                  <a:pos x="1" y="23"/>
                </a:cxn>
                <a:cxn ang="0">
                  <a:pos x="9" y="22"/>
                </a:cxn>
                <a:cxn ang="0">
                  <a:pos x="14" y="9"/>
                </a:cxn>
                <a:cxn ang="0">
                  <a:pos x="14" y="4"/>
                </a:cxn>
                <a:cxn ang="0">
                  <a:pos x="16" y="3"/>
                </a:cxn>
                <a:cxn ang="0">
                  <a:pos x="23" y="1"/>
                </a:cxn>
              </a:cxnLst>
              <a:rect l="0" t="0" r="r" b="b"/>
              <a:pathLst>
                <a:path w="54" h="35">
                  <a:moveTo>
                    <a:pt x="23" y="1"/>
                  </a:moveTo>
                  <a:lnTo>
                    <a:pt x="27" y="0"/>
                  </a:lnTo>
                  <a:lnTo>
                    <a:pt x="32" y="0"/>
                  </a:lnTo>
                  <a:lnTo>
                    <a:pt x="35" y="1"/>
                  </a:lnTo>
                  <a:lnTo>
                    <a:pt x="38" y="4"/>
                  </a:lnTo>
                  <a:lnTo>
                    <a:pt x="40" y="4"/>
                  </a:lnTo>
                  <a:lnTo>
                    <a:pt x="43" y="9"/>
                  </a:lnTo>
                  <a:lnTo>
                    <a:pt x="48" y="13"/>
                  </a:lnTo>
                  <a:lnTo>
                    <a:pt x="52" y="20"/>
                  </a:lnTo>
                  <a:lnTo>
                    <a:pt x="54" y="35"/>
                  </a:lnTo>
                  <a:lnTo>
                    <a:pt x="52" y="35"/>
                  </a:lnTo>
                  <a:lnTo>
                    <a:pt x="49" y="35"/>
                  </a:lnTo>
                  <a:lnTo>
                    <a:pt x="46" y="35"/>
                  </a:lnTo>
                  <a:lnTo>
                    <a:pt x="42" y="33"/>
                  </a:lnTo>
                  <a:lnTo>
                    <a:pt x="36" y="33"/>
                  </a:lnTo>
                  <a:lnTo>
                    <a:pt x="30" y="30"/>
                  </a:lnTo>
                  <a:lnTo>
                    <a:pt x="29" y="29"/>
                  </a:lnTo>
                  <a:lnTo>
                    <a:pt x="26" y="29"/>
                  </a:lnTo>
                  <a:lnTo>
                    <a:pt x="22" y="29"/>
                  </a:lnTo>
                  <a:lnTo>
                    <a:pt x="17" y="26"/>
                  </a:lnTo>
                  <a:lnTo>
                    <a:pt x="11" y="25"/>
                  </a:lnTo>
                  <a:lnTo>
                    <a:pt x="4" y="29"/>
                  </a:lnTo>
                  <a:lnTo>
                    <a:pt x="1" y="27"/>
                  </a:lnTo>
                  <a:lnTo>
                    <a:pt x="0" y="25"/>
                  </a:lnTo>
                  <a:lnTo>
                    <a:pt x="1" y="23"/>
                  </a:lnTo>
                  <a:lnTo>
                    <a:pt x="9" y="22"/>
                  </a:lnTo>
                  <a:lnTo>
                    <a:pt x="14" y="9"/>
                  </a:lnTo>
                  <a:lnTo>
                    <a:pt x="14" y="4"/>
                  </a:lnTo>
                  <a:lnTo>
                    <a:pt x="16" y="3"/>
                  </a:lnTo>
                  <a:lnTo>
                    <a:pt x="23"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21" name="Freeform 632"/>
            <p:cNvSpPr>
              <a:spLocks/>
            </p:cNvSpPr>
            <p:nvPr/>
          </p:nvSpPr>
          <p:spPr bwMode="auto">
            <a:xfrm>
              <a:off x="7941283" y="1617532"/>
              <a:ext cx="50035" cy="35494"/>
            </a:xfrm>
            <a:custGeom>
              <a:avLst/>
              <a:gdLst/>
              <a:ahLst/>
              <a:cxnLst>
                <a:cxn ang="0">
                  <a:pos x="23" y="1"/>
                </a:cxn>
                <a:cxn ang="0">
                  <a:pos x="27" y="0"/>
                </a:cxn>
                <a:cxn ang="0">
                  <a:pos x="32" y="0"/>
                </a:cxn>
                <a:cxn ang="0">
                  <a:pos x="35" y="1"/>
                </a:cxn>
                <a:cxn ang="0">
                  <a:pos x="38" y="4"/>
                </a:cxn>
                <a:cxn ang="0">
                  <a:pos x="40" y="4"/>
                </a:cxn>
                <a:cxn ang="0">
                  <a:pos x="43" y="9"/>
                </a:cxn>
                <a:cxn ang="0">
                  <a:pos x="48" y="13"/>
                </a:cxn>
                <a:cxn ang="0">
                  <a:pos x="52" y="20"/>
                </a:cxn>
                <a:cxn ang="0">
                  <a:pos x="54" y="35"/>
                </a:cxn>
                <a:cxn ang="0">
                  <a:pos x="52" y="35"/>
                </a:cxn>
                <a:cxn ang="0">
                  <a:pos x="49" y="35"/>
                </a:cxn>
                <a:cxn ang="0">
                  <a:pos x="46" y="35"/>
                </a:cxn>
                <a:cxn ang="0">
                  <a:pos x="42" y="33"/>
                </a:cxn>
                <a:cxn ang="0">
                  <a:pos x="36" y="33"/>
                </a:cxn>
                <a:cxn ang="0">
                  <a:pos x="30" y="30"/>
                </a:cxn>
                <a:cxn ang="0">
                  <a:pos x="29" y="29"/>
                </a:cxn>
                <a:cxn ang="0">
                  <a:pos x="26" y="29"/>
                </a:cxn>
                <a:cxn ang="0">
                  <a:pos x="22" y="29"/>
                </a:cxn>
                <a:cxn ang="0">
                  <a:pos x="17" y="26"/>
                </a:cxn>
                <a:cxn ang="0">
                  <a:pos x="11" y="25"/>
                </a:cxn>
                <a:cxn ang="0">
                  <a:pos x="4" y="29"/>
                </a:cxn>
                <a:cxn ang="0">
                  <a:pos x="1" y="27"/>
                </a:cxn>
                <a:cxn ang="0">
                  <a:pos x="0" y="25"/>
                </a:cxn>
                <a:cxn ang="0">
                  <a:pos x="1" y="23"/>
                </a:cxn>
                <a:cxn ang="0">
                  <a:pos x="9" y="22"/>
                </a:cxn>
                <a:cxn ang="0">
                  <a:pos x="14" y="9"/>
                </a:cxn>
                <a:cxn ang="0">
                  <a:pos x="14" y="4"/>
                </a:cxn>
                <a:cxn ang="0">
                  <a:pos x="16" y="3"/>
                </a:cxn>
                <a:cxn ang="0">
                  <a:pos x="23" y="1"/>
                </a:cxn>
              </a:cxnLst>
              <a:rect l="0" t="0" r="r" b="b"/>
              <a:pathLst>
                <a:path w="54" h="35">
                  <a:moveTo>
                    <a:pt x="23" y="1"/>
                  </a:moveTo>
                  <a:lnTo>
                    <a:pt x="27" y="0"/>
                  </a:lnTo>
                  <a:lnTo>
                    <a:pt x="32" y="0"/>
                  </a:lnTo>
                  <a:lnTo>
                    <a:pt x="35" y="1"/>
                  </a:lnTo>
                  <a:lnTo>
                    <a:pt x="38" y="4"/>
                  </a:lnTo>
                  <a:lnTo>
                    <a:pt x="40" y="4"/>
                  </a:lnTo>
                  <a:lnTo>
                    <a:pt x="43" y="9"/>
                  </a:lnTo>
                  <a:lnTo>
                    <a:pt x="48" y="13"/>
                  </a:lnTo>
                  <a:lnTo>
                    <a:pt x="52" y="20"/>
                  </a:lnTo>
                  <a:lnTo>
                    <a:pt x="54" y="35"/>
                  </a:lnTo>
                  <a:lnTo>
                    <a:pt x="52" y="35"/>
                  </a:lnTo>
                  <a:lnTo>
                    <a:pt x="49" y="35"/>
                  </a:lnTo>
                  <a:lnTo>
                    <a:pt x="46" y="35"/>
                  </a:lnTo>
                  <a:lnTo>
                    <a:pt x="42" y="33"/>
                  </a:lnTo>
                  <a:lnTo>
                    <a:pt x="36" y="33"/>
                  </a:lnTo>
                  <a:lnTo>
                    <a:pt x="30" y="30"/>
                  </a:lnTo>
                  <a:lnTo>
                    <a:pt x="29" y="29"/>
                  </a:lnTo>
                  <a:lnTo>
                    <a:pt x="26" y="29"/>
                  </a:lnTo>
                  <a:lnTo>
                    <a:pt x="22" y="29"/>
                  </a:lnTo>
                  <a:lnTo>
                    <a:pt x="17" y="26"/>
                  </a:lnTo>
                  <a:lnTo>
                    <a:pt x="11" y="25"/>
                  </a:lnTo>
                  <a:lnTo>
                    <a:pt x="4" y="29"/>
                  </a:lnTo>
                  <a:lnTo>
                    <a:pt x="1" y="27"/>
                  </a:lnTo>
                  <a:lnTo>
                    <a:pt x="0" y="25"/>
                  </a:lnTo>
                  <a:lnTo>
                    <a:pt x="1" y="23"/>
                  </a:lnTo>
                  <a:lnTo>
                    <a:pt x="9" y="22"/>
                  </a:lnTo>
                  <a:lnTo>
                    <a:pt x="14" y="9"/>
                  </a:lnTo>
                  <a:lnTo>
                    <a:pt x="14" y="4"/>
                  </a:lnTo>
                  <a:lnTo>
                    <a:pt x="16" y="3"/>
                  </a:lnTo>
                  <a:lnTo>
                    <a:pt x="23"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22" name="Freeform 633"/>
            <p:cNvSpPr>
              <a:spLocks/>
            </p:cNvSpPr>
            <p:nvPr/>
          </p:nvSpPr>
          <p:spPr bwMode="auto">
            <a:xfrm>
              <a:off x="6790487" y="1644914"/>
              <a:ext cx="79880" cy="138936"/>
            </a:xfrm>
            <a:custGeom>
              <a:avLst/>
              <a:gdLst/>
              <a:ahLst/>
              <a:cxnLst>
                <a:cxn ang="0">
                  <a:pos x="40" y="6"/>
                </a:cxn>
                <a:cxn ang="0">
                  <a:pos x="51" y="0"/>
                </a:cxn>
                <a:cxn ang="0">
                  <a:pos x="60" y="5"/>
                </a:cxn>
                <a:cxn ang="0">
                  <a:pos x="72" y="14"/>
                </a:cxn>
                <a:cxn ang="0">
                  <a:pos x="70" y="19"/>
                </a:cxn>
                <a:cxn ang="0">
                  <a:pos x="60" y="24"/>
                </a:cxn>
                <a:cxn ang="0">
                  <a:pos x="69" y="25"/>
                </a:cxn>
                <a:cxn ang="0">
                  <a:pos x="63" y="31"/>
                </a:cxn>
                <a:cxn ang="0">
                  <a:pos x="61" y="32"/>
                </a:cxn>
                <a:cxn ang="0">
                  <a:pos x="60" y="43"/>
                </a:cxn>
                <a:cxn ang="0">
                  <a:pos x="58" y="44"/>
                </a:cxn>
                <a:cxn ang="0">
                  <a:pos x="57" y="57"/>
                </a:cxn>
                <a:cxn ang="0">
                  <a:pos x="56" y="70"/>
                </a:cxn>
                <a:cxn ang="0">
                  <a:pos x="64" y="98"/>
                </a:cxn>
                <a:cxn ang="0">
                  <a:pos x="76" y="115"/>
                </a:cxn>
                <a:cxn ang="0">
                  <a:pos x="87" y="124"/>
                </a:cxn>
                <a:cxn ang="0">
                  <a:pos x="83" y="128"/>
                </a:cxn>
                <a:cxn ang="0">
                  <a:pos x="83" y="130"/>
                </a:cxn>
                <a:cxn ang="0">
                  <a:pos x="77" y="131"/>
                </a:cxn>
                <a:cxn ang="0">
                  <a:pos x="73" y="123"/>
                </a:cxn>
                <a:cxn ang="0">
                  <a:pos x="67" y="125"/>
                </a:cxn>
                <a:cxn ang="0">
                  <a:pos x="70" y="127"/>
                </a:cxn>
                <a:cxn ang="0">
                  <a:pos x="64" y="128"/>
                </a:cxn>
                <a:cxn ang="0">
                  <a:pos x="63" y="130"/>
                </a:cxn>
                <a:cxn ang="0">
                  <a:pos x="57" y="125"/>
                </a:cxn>
                <a:cxn ang="0">
                  <a:pos x="54" y="128"/>
                </a:cxn>
                <a:cxn ang="0">
                  <a:pos x="47" y="125"/>
                </a:cxn>
                <a:cxn ang="0">
                  <a:pos x="48" y="123"/>
                </a:cxn>
                <a:cxn ang="0">
                  <a:pos x="37" y="124"/>
                </a:cxn>
                <a:cxn ang="0">
                  <a:pos x="32" y="121"/>
                </a:cxn>
                <a:cxn ang="0">
                  <a:pos x="31" y="111"/>
                </a:cxn>
                <a:cxn ang="0">
                  <a:pos x="35" y="111"/>
                </a:cxn>
                <a:cxn ang="0">
                  <a:pos x="40" y="109"/>
                </a:cxn>
                <a:cxn ang="0">
                  <a:pos x="38" y="107"/>
                </a:cxn>
                <a:cxn ang="0">
                  <a:pos x="29" y="102"/>
                </a:cxn>
                <a:cxn ang="0">
                  <a:pos x="31" y="98"/>
                </a:cxn>
                <a:cxn ang="0">
                  <a:pos x="28" y="99"/>
                </a:cxn>
                <a:cxn ang="0">
                  <a:pos x="28" y="89"/>
                </a:cxn>
                <a:cxn ang="0">
                  <a:pos x="22" y="92"/>
                </a:cxn>
                <a:cxn ang="0">
                  <a:pos x="19" y="86"/>
                </a:cxn>
                <a:cxn ang="0">
                  <a:pos x="13" y="91"/>
                </a:cxn>
                <a:cxn ang="0">
                  <a:pos x="11" y="91"/>
                </a:cxn>
                <a:cxn ang="0">
                  <a:pos x="3" y="89"/>
                </a:cxn>
                <a:cxn ang="0">
                  <a:pos x="2" y="64"/>
                </a:cxn>
                <a:cxn ang="0">
                  <a:pos x="9" y="62"/>
                </a:cxn>
                <a:cxn ang="0">
                  <a:pos x="12" y="66"/>
                </a:cxn>
                <a:cxn ang="0">
                  <a:pos x="15" y="54"/>
                </a:cxn>
                <a:cxn ang="0">
                  <a:pos x="16" y="50"/>
                </a:cxn>
                <a:cxn ang="0">
                  <a:pos x="19" y="46"/>
                </a:cxn>
                <a:cxn ang="0">
                  <a:pos x="22" y="40"/>
                </a:cxn>
                <a:cxn ang="0">
                  <a:pos x="19" y="37"/>
                </a:cxn>
                <a:cxn ang="0">
                  <a:pos x="13" y="30"/>
                </a:cxn>
                <a:cxn ang="0">
                  <a:pos x="24" y="25"/>
                </a:cxn>
                <a:cxn ang="0">
                  <a:pos x="24" y="22"/>
                </a:cxn>
                <a:cxn ang="0">
                  <a:pos x="25" y="18"/>
                </a:cxn>
                <a:cxn ang="0">
                  <a:pos x="28" y="9"/>
                </a:cxn>
              </a:cxnLst>
              <a:rect l="0" t="0" r="r" b="b"/>
              <a:pathLst>
                <a:path w="87" h="133">
                  <a:moveTo>
                    <a:pt x="32" y="6"/>
                  </a:moveTo>
                  <a:lnTo>
                    <a:pt x="32" y="6"/>
                  </a:lnTo>
                  <a:lnTo>
                    <a:pt x="40" y="6"/>
                  </a:lnTo>
                  <a:lnTo>
                    <a:pt x="41" y="5"/>
                  </a:lnTo>
                  <a:lnTo>
                    <a:pt x="48" y="0"/>
                  </a:lnTo>
                  <a:lnTo>
                    <a:pt x="51" y="0"/>
                  </a:lnTo>
                  <a:lnTo>
                    <a:pt x="54" y="3"/>
                  </a:lnTo>
                  <a:lnTo>
                    <a:pt x="57" y="5"/>
                  </a:lnTo>
                  <a:lnTo>
                    <a:pt x="60" y="5"/>
                  </a:lnTo>
                  <a:lnTo>
                    <a:pt x="66" y="9"/>
                  </a:lnTo>
                  <a:lnTo>
                    <a:pt x="69" y="9"/>
                  </a:lnTo>
                  <a:lnTo>
                    <a:pt x="72" y="14"/>
                  </a:lnTo>
                  <a:lnTo>
                    <a:pt x="72" y="15"/>
                  </a:lnTo>
                  <a:lnTo>
                    <a:pt x="63" y="18"/>
                  </a:lnTo>
                  <a:lnTo>
                    <a:pt x="70" y="19"/>
                  </a:lnTo>
                  <a:lnTo>
                    <a:pt x="69" y="21"/>
                  </a:lnTo>
                  <a:lnTo>
                    <a:pt x="66" y="21"/>
                  </a:lnTo>
                  <a:lnTo>
                    <a:pt x="60" y="24"/>
                  </a:lnTo>
                  <a:lnTo>
                    <a:pt x="63" y="24"/>
                  </a:lnTo>
                  <a:lnTo>
                    <a:pt x="69" y="22"/>
                  </a:lnTo>
                  <a:lnTo>
                    <a:pt x="69" y="25"/>
                  </a:lnTo>
                  <a:lnTo>
                    <a:pt x="67" y="28"/>
                  </a:lnTo>
                  <a:lnTo>
                    <a:pt x="66" y="30"/>
                  </a:lnTo>
                  <a:lnTo>
                    <a:pt x="63" y="31"/>
                  </a:lnTo>
                  <a:lnTo>
                    <a:pt x="58" y="30"/>
                  </a:lnTo>
                  <a:lnTo>
                    <a:pt x="57" y="32"/>
                  </a:lnTo>
                  <a:lnTo>
                    <a:pt x="61" y="32"/>
                  </a:lnTo>
                  <a:lnTo>
                    <a:pt x="63" y="35"/>
                  </a:lnTo>
                  <a:lnTo>
                    <a:pt x="61" y="38"/>
                  </a:lnTo>
                  <a:lnTo>
                    <a:pt x="60" y="43"/>
                  </a:lnTo>
                  <a:lnTo>
                    <a:pt x="58" y="41"/>
                  </a:lnTo>
                  <a:lnTo>
                    <a:pt x="57" y="43"/>
                  </a:lnTo>
                  <a:lnTo>
                    <a:pt x="58" y="44"/>
                  </a:lnTo>
                  <a:lnTo>
                    <a:pt x="58" y="47"/>
                  </a:lnTo>
                  <a:lnTo>
                    <a:pt x="57" y="47"/>
                  </a:lnTo>
                  <a:lnTo>
                    <a:pt x="57" y="57"/>
                  </a:lnTo>
                  <a:lnTo>
                    <a:pt x="58" y="60"/>
                  </a:lnTo>
                  <a:lnTo>
                    <a:pt x="56" y="67"/>
                  </a:lnTo>
                  <a:lnTo>
                    <a:pt x="56" y="70"/>
                  </a:lnTo>
                  <a:lnTo>
                    <a:pt x="57" y="72"/>
                  </a:lnTo>
                  <a:lnTo>
                    <a:pt x="60" y="89"/>
                  </a:lnTo>
                  <a:lnTo>
                    <a:pt x="64" y="98"/>
                  </a:lnTo>
                  <a:lnTo>
                    <a:pt x="66" y="104"/>
                  </a:lnTo>
                  <a:lnTo>
                    <a:pt x="74" y="114"/>
                  </a:lnTo>
                  <a:lnTo>
                    <a:pt x="76" y="115"/>
                  </a:lnTo>
                  <a:lnTo>
                    <a:pt x="83" y="121"/>
                  </a:lnTo>
                  <a:lnTo>
                    <a:pt x="85" y="121"/>
                  </a:lnTo>
                  <a:lnTo>
                    <a:pt x="87" y="124"/>
                  </a:lnTo>
                  <a:lnTo>
                    <a:pt x="86" y="124"/>
                  </a:lnTo>
                  <a:lnTo>
                    <a:pt x="86" y="127"/>
                  </a:lnTo>
                  <a:lnTo>
                    <a:pt x="83" y="128"/>
                  </a:lnTo>
                  <a:lnTo>
                    <a:pt x="77" y="127"/>
                  </a:lnTo>
                  <a:lnTo>
                    <a:pt x="76" y="128"/>
                  </a:lnTo>
                  <a:lnTo>
                    <a:pt x="83" y="130"/>
                  </a:lnTo>
                  <a:lnTo>
                    <a:pt x="80" y="131"/>
                  </a:lnTo>
                  <a:lnTo>
                    <a:pt x="80" y="133"/>
                  </a:lnTo>
                  <a:lnTo>
                    <a:pt x="77" y="131"/>
                  </a:lnTo>
                  <a:lnTo>
                    <a:pt x="74" y="127"/>
                  </a:lnTo>
                  <a:lnTo>
                    <a:pt x="73" y="127"/>
                  </a:lnTo>
                  <a:lnTo>
                    <a:pt x="73" y="123"/>
                  </a:lnTo>
                  <a:lnTo>
                    <a:pt x="72" y="124"/>
                  </a:lnTo>
                  <a:lnTo>
                    <a:pt x="69" y="124"/>
                  </a:lnTo>
                  <a:lnTo>
                    <a:pt x="67" y="125"/>
                  </a:lnTo>
                  <a:lnTo>
                    <a:pt x="67" y="128"/>
                  </a:lnTo>
                  <a:lnTo>
                    <a:pt x="69" y="128"/>
                  </a:lnTo>
                  <a:lnTo>
                    <a:pt x="70" y="127"/>
                  </a:lnTo>
                  <a:lnTo>
                    <a:pt x="72" y="130"/>
                  </a:lnTo>
                  <a:lnTo>
                    <a:pt x="67" y="131"/>
                  </a:lnTo>
                  <a:lnTo>
                    <a:pt x="64" y="128"/>
                  </a:lnTo>
                  <a:lnTo>
                    <a:pt x="63" y="128"/>
                  </a:lnTo>
                  <a:lnTo>
                    <a:pt x="64" y="131"/>
                  </a:lnTo>
                  <a:lnTo>
                    <a:pt x="63" y="130"/>
                  </a:lnTo>
                  <a:lnTo>
                    <a:pt x="61" y="125"/>
                  </a:lnTo>
                  <a:lnTo>
                    <a:pt x="58" y="127"/>
                  </a:lnTo>
                  <a:lnTo>
                    <a:pt x="57" y="125"/>
                  </a:lnTo>
                  <a:lnTo>
                    <a:pt x="56" y="127"/>
                  </a:lnTo>
                  <a:lnTo>
                    <a:pt x="56" y="127"/>
                  </a:lnTo>
                  <a:lnTo>
                    <a:pt x="54" y="128"/>
                  </a:lnTo>
                  <a:lnTo>
                    <a:pt x="54" y="131"/>
                  </a:lnTo>
                  <a:lnTo>
                    <a:pt x="53" y="131"/>
                  </a:lnTo>
                  <a:lnTo>
                    <a:pt x="47" y="125"/>
                  </a:lnTo>
                  <a:lnTo>
                    <a:pt x="45" y="124"/>
                  </a:lnTo>
                  <a:lnTo>
                    <a:pt x="50" y="124"/>
                  </a:lnTo>
                  <a:lnTo>
                    <a:pt x="48" y="123"/>
                  </a:lnTo>
                  <a:lnTo>
                    <a:pt x="44" y="123"/>
                  </a:lnTo>
                  <a:lnTo>
                    <a:pt x="38" y="124"/>
                  </a:lnTo>
                  <a:lnTo>
                    <a:pt x="37" y="124"/>
                  </a:lnTo>
                  <a:lnTo>
                    <a:pt x="35" y="121"/>
                  </a:lnTo>
                  <a:lnTo>
                    <a:pt x="35" y="123"/>
                  </a:lnTo>
                  <a:lnTo>
                    <a:pt x="32" y="121"/>
                  </a:lnTo>
                  <a:lnTo>
                    <a:pt x="32" y="120"/>
                  </a:lnTo>
                  <a:lnTo>
                    <a:pt x="32" y="114"/>
                  </a:lnTo>
                  <a:lnTo>
                    <a:pt x="31" y="111"/>
                  </a:lnTo>
                  <a:lnTo>
                    <a:pt x="32" y="111"/>
                  </a:lnTo>
                  <a:lnTo>
                    <a:pt x="35" y="112"/>
                  </a:lnTo>
                  <a:lnTo>
                    <a:pt x="35" y="111"/>
                  </a:lnTo>
                  <a:lnTo>
                    <a:pt x="35" y="108"/>
                  </a:lnTo>
                  <a:lnTo>
                    <a:pt x="37" y="109"/>
                  </a:lnTo>
                  <a:lnTo>
                    <a:pt x="40" y="109"/>
                  </a:lnTo>
                  <a:lnTo>
                    <a:pt x="41" y="108"/>
                  </a:lnTo>
                  <a:lnTo>
                    <a:pt x="37" y="108"/>
                  </a:lnTo>
                  <a:lnTo>
                    <a:pt x="38" y="107"/>
                  </a:lnTo>
                  <a:lnTo>
                    <a:pt x="37" y="105"/>
                  </a:lnTo>
                  <a:lnTo>
                    <a:pt x="32" y="104"/>
                  </a:lnTo>
                  <a:lnTo>
                    <a:pt x="29" y="102"/>
                  </a:lnTo>
                  <a:lnTo>
                    <a:pt x="29" y="99"/>
                  </a:lnTo>
                  <a:lnTo>
                    <a:pt x="31" y="101"/>
                  </a:lnTo>
                  <a:lnTo>
                    <a:pt x="31" y="98"/>
                  </a:lnTo>
                  <a:lnTo>
                    <a:pt x="35" y="92"/>
                  </a:lnTo>
                  <a:lnTo>
                    <a:pt x="32" y="93"/>
                  </a:lnTo>
                  <a:lnTo>
                    <a:pt x="28" y="99"/>
                  </a:lnTo>
                  <a:lnTo>
                    <a:pt x="28" y="96"/>
                  </a:lnTo>
                  <a:lnTo>
                    <a:pt x="28" y="93"/>
                  </a:lnTo>
                  <a:lnTo>
                    <a:pt x="28" y="89"/>
                  </a:lnTo>
                  <a:lnTo>
                    <a:pt x="25" y="92"/>
                  </a:lnTo>
                  <a:lnTo>
                    <a:pt x="24" y="91"/>
                  </a:lnTo>
                  <a:lnTo>
                    <a:pt x="22" y="92"/>
                  </a:lnTo>
                  <a:lnTo>
                    <a:pt x="21" y="92"/>
                  </a:lnTo>
                  <a:lnTo>
                    <a:pt x="19" y="93"/>
                  </a:lnTo>
                  <a:lnTo>
                    <a:pt x="19" y="86"/>
                  </a:lnTo>
                  <a:lnTo>
                    <a:pt x="16" y="83"/>
                  </a:lnTo>
                  <a:lnTo>
                    <a:pt x="15" y="88"/>
                  </a:lnTo>
                  <a:lnTo>
                    <a:pt x="13" y="91"/>
                  </a:lnTo>
                  <a:lnTo>
                    <a:pt x="13" y="88"/>
                  </a:lnTo>
                  <a:lnTo>
                    <a:pt x="12" y="89"/>
                  </a:lnTo>
                  <a:lnTo>
                    <a:pt x="11" y="91"/>
                  </a:lnTo>
                  <a:lnTo>
                    <a:pt x="6" y="91"/>
                  </a:lnTo>
                  <a:lnTo>
                    <a:pt x="6" y="89"/>
                  </a:lnTo>
                  <a:lnTo>
                    <a:pt x="3" y="89"/>
                  </a:lnTo>
                  <a:lnTo>
                    <a:pt x="0" y="82"/>
                  </a:lnTo>
                  <a:lnTo>
                    <a:pt x="0" y="67"/>
                  </a:lnTo>
                  <a:lnTo>
                    <a:pt x="2" y="64"/>
                  </a:lnTo>
                  <a:lnTo>
                    <a:pt x="5" y="62"/>
                  </a:lnTo>
                  <a:lnTo>
                    <a:pt x="6" y="64"/>
                  </a:lnTo>
                  <a:lnTo>
                    <a:pt x="9" y="62"/>
                  </a:lnTo>
                  <a:lnTo>
                    <a:pt x="11" y="62"/>
                  </a:lnTo>
                  <a:lnTo>
                    <a:pt x="11" y="64"/>
                  </a:lnTo>
                  <a:lnTo>
                    <a:pt x="12" y="66"/>
                  </a:lnTo>
                  <a:lnTo>
                    <a:pt x="13" y="62"/>
                  </a:lnTo>
                  <a:lnTo>
                    <a:pt x="15" y="60"/>
                  </a:lnTo>
                  <a:lnTo>
                    <a:pt x="15" y="54"/>
                  </a:lnTo>
                  <a:lnTo>
                    <a:pt x="16" y="54"/>
                  </a:lnTo>
                  <a:lnTo>
                    <a:pt x="16" y="53"/>
                  </a:lnTo>
                  <a:lnTo>
                    <a:pt x="16" y="50"/>
                  </a:lnTo>
                  <a:lnTo>
                    <a:pt x="18" y="50"/>
                  </a:lnTo>
                  <a:lnTo>
                    <a:pt x="18" y="46"/>
                  </a:lnTo>
                  <a:lnTo>
                    <a:pt x="19" y="46"/>
                  </a:lnTo>
                  <a:lnTo>
                    <a:pt x="21" y="43"/>
                  </a:lnTo>
                  <a:lnTo>
                    <a:pt x="22" y="41"/>
                  </a:lnTo>
                  <a:lnTo>
                    <a:pt x="22" y="40"/>
                  </a:lnTo>
                  <a:lnTo>
                    <a:pt x="19" y="43"/>
                  </a:lnTo>
                  <a:lnTo>
                    <a:pt x="18" y="41"/>
                  </a:lnTo>
                  <a:lnTo>
                    <a:pt x="19" y="37"/>
                  </a:lnTo>
                  <a:lnTo>
                    <a:pt x="18" y="38"/>
                  </a:lnTo>
                  <a:lnTo>
                    <a:pt x="13" y="34"/>
                  </a:lnTo>
                  <a:lnTo>
                    <a:pt x="13" y="30"/>
                  </a:lnTo>
                  <a:lnTo>
                    <a:pt x="18" y="27"/>
                  </a:lnTo>
                  <a:lnTo>
                    <a:pt x="22" y="25"/>
                  </a:lnTo>
                  <a:lnTo>
                    <a:pt x="24" y="25"/>
                  </a:lnTo>
                  <a:lnTo>
                    <a:pt x="27" y="24"/>
                  </a:lnTo>
                  <a:lnTo>
                    <a:pt x="24" y="24"/>
                  </a:lnTo>
                  <a:lnTo>
                    <a:pt x="24" y="22"/>
                  </a:lnTo>
                  <a:lnTo>
                    <a:pt x="24" y="21"/>
                  </a:lnTo>
                  <a:lnTo>
                    <a:pt x="25" y="19"/>
                  </a:lnTo>
                  <a:lnTo>
                    <a:pt x="25" y="18"/>
                  </a:lnTo>
                  <a:lnTo>
                    <a:pt x="24" y="16"/>
                  </a:lnTo>
                  <a:lnTo>
                    <a:pt x="24" y="15"/>
                  </a:lnTo>
                  <a:lnTo>
                    <a:pt x="28" y="9"/>
                  </a:lnTo>
                  <a:lnTo>
                    <a:pt x="32"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23" name="Freeform 635"/>
            <p:cNvSpPr>
              <a:spLocks/>
            </p:cNvSpPr>
            <p:nvPr/>
          </p:nvSpPr>
          <p:spPr bwMode="auto">
            <a:xfrm>
              <a:off x="6819454" y="1438031"/>
              <a:ext cx="200139" cy="214996"/>
            </a:xfrm>
            <a:custGeom>
              <a:avLst/>
              <a:gdLst/>
              <a:ahLst/>
              <a:cxnLst>
                <a:cxn ang="0">
                  <a:pos x="9" y="175"/>
                </a:cxn>
                <a:cxn ang="0">
                  <a:pos x="23" y="163"/>
                </a:cxn>
                <a:cxn ang="0">
                  <a:pos x="22" y="160"/>
                </a:cxn>
                <a:cxn ang="0">
                  <a:pos x="22" y="150"/>
                </a:cxn>
                <a:cxn ang="0">
                  <a:pos x="29" y="144"/>
                </a:cxn>
                <a:cxn ang="0">
                  <a:pos x="33" y="134"/>
                </a:cxn>
                <a:cxn ang="0">
                  <a:pos x="36" y="130"/>
                </a:cxn>
                <a:cxn ang="0">
                  <a:pos x="32" y="118"/>
                </a:cxn>
                <a:cxn ang="0">
                  <a:pos x="26" y="115"/>
                </a:cxn>
                <a:cxn ang="0">
                  <a:pos x="32" y="106"/>
                </a:cxn>
                <a:cxn ang="0">
                  <a:pos x="43" y="101"/>
                </a:cxn>
                <a:cxn ang="0">
                  <a:pos x="59" y="89"/>
                </a:cxn>
                <a:cxn ang="0">
                  <a:pos x="70" y="79"/>
                </a:cxn>
                <a:cxn ang="0">
                  <a:pos x="88" y="61"/>
                </a:cxn>
                <a:cxn ang="0">
                  <a:pos x="99" y="60"/>
                </a:cxn>
                <a:cxn ang="0">
                  <a:pos x="103" y="48"/>
                </a:cxn>
                <a:cxn ang="0">
                  <a:pos x="110" y="40"/>
                </a:cxn>
                <a:cxn ang="0">
                  <a:pos x="128" y="47"/>
                </a:cxn>
                <a:cxn ang="0">
                  <a:pos x="147" y="43"/>
                </a:cxn>
                <a:cxn ang="0">
                  <a:pos x="155" y="38"/>
                </a:cxn>
                <a:cxn ang="0">
                  <a:pos x="171" y="28"/>
                </a:cxn>
                <a:cxn ang="0">
                  <a:pos x="178" y="11"/>
                </a:cxn>
                <a:cxn ang="0">
                  <a:pos x="194" y="0"/>
                </a:cxn>
                <a:cxn ang="0">
                  <a:pos x="216" y="9"/>
                </a:cxn>
                <a:cxn ang="0">
                  <a:pos x="215" y="29"/>
                </a:cxn>
                <a:cxn ang="0">
                  <a:pos x="209" y="50"/>
                </a:cxn>
                <a:cxn ang="0">
                  <a:pos x="184" y="60"/>
                </a:cxn>
                <a:cxn ang="0">
                  <a:pos x="167" y="66"/>
                </a:cxn>
                <a:cxn ang="0">
                  <a:pos x="145" y="82"/>
                </a:cxn>
                <a:cxn ang="0">
                  <a:pos x="139" y="80"/>
                </a:cxn>
                <a:cxn ang="0">
                  <a:pos x="122" y="95"/>
                </a:cxn>
                <a:cxn ang="0">
                  <a:pos x="99" y="114"/>
                </a:cxn>
                <a:cxn ang="0">
                  <a:pos x="100" y="121"/>
                </a:cxn>
                <a:cxn ang="0">
                  <a:pos x="86" y="131"/>
                </a:cxn>
                <a:cxn ang="0">
                  <a:pos x="78" y="134"/>
                </a:cxn>
                <a:cxn ang="0">
                  <a:pos x="78" y="143"/>
                </a:cxn>
                <a:cxn ang="0">
                  <a:pos x="74" y="149"/>
                </a:cxn>
                <a:cxn ang="0">
                  <a:pos x="72" y="154"/>
                </a:cxn>
                <a:cxn ang="0">
                  <a:pos x="68" y="159"/>
                </a:cxn>
                <a:cxn ang="0">
                  <a:pos x="65" y="166"/>
                </a:cxn>
                <a:cxn ang="0">
                  <a:pos x="55" y="157"/>
                </a:cxn>
                <a:cxn ang="0">
                  <a:pos x="58" y="169"/>
                </a:cxn>
                <a:cxn ang="0">
                  <a:pos x="59" y="182"/>
                </a:cxn>
                <a:cxn ang="0">
                  <a:pos x="46" y="179"/>
                </a:cxn>
                <a:cxn ang="0">
                  <a:pos x="52" y="191"/>
                </a:cxn>
                <a:cxn ang="0">
                  <a:pos x="48" y="194"/>
                </a:cxn>
                <a:cxn ang="0">
                  <a:pos x="45" y="204"/>
                </a:cxn>
                <a:cxn ang="0">
                  <a:pos x="30" y="202"/>
                </a:cxn>
                <a:cxn ang="0">
                  <a:pos x="6" y="202"/>
                </a:cxn>
                <a:cxn ang="0">
                  <a:pos x="10" y="192"/>
                </a:cxn>
                <a:cxn ang="0">
                  <a:pos x="17" y="184"/>
                </a:cxn>
                <a:cxn ang="0">
                  <a:pos x="4" y="186"/>
                </a:cxn>
              </a:cxnLst>
              <a:rect l="0" t="0" r="r" b="b"/>
              <a:pathLst>
                <a:path w="219" h="207">
                  <a:moveTo>
                    <a:pt x="0" y="181"/>
                  </a:moveTo>
                  <a:lnTo>
                    <a:pt x="0" y="179"/>
                  </a:lnTo>
                  <a:lnTo>
                    <a:pt x="1" y="181"/>
                  </a:lnTo>
                  <a:lnTo>
                    <a:pt x="4" y="179"/>
                  </a:lnTo>
                  <a:lnTo>
                    <a:pt x="9" y="175"/>
                  </a:lnTo>
                  <a:lnTo>
                    <a:pt x="16" y="172"/>
                  </a:lnTo>
                  <a:lnTo>
                    <a:pt x="14" y="170"/>
                  </a:lnTo>
                  <a:lnTo>
                    <a:pt x="16" y="166"/>
                  </a:lnTo>
                  <a:lnTo>
                    <a:pt x="20" y="162"/>
                  </a:lnTo>
                  <a:lnTo>
                    <a:pt x="23" y="163"/>
                  </a:lnTo>
                  <a:lnTo>
                    <a:pt x="26" y="165"/>
                  </a:lnTo>
                  <a:lnTo>
                    <a:pt x="30" y="166"/>
                  </a:lnTo>
                  <a:lnTo>
                    <a:pt x="35" y="168"/>
                  </a:lnTo>
                  <a:lnTo>
                    <a:pt x="32" y="165"/>
                  </a:lnTo>
                  <a:lnTo>
                    <a:pt x="22" y="160"/>
                  </a:lnTo>
                  <a:lnTo>
                    <a:pt x="20" y="157"/>
                  </a:lnTo>
                  <a:lnTo>
                    <a:pt x="22" y="157"/>
                  </a:lnTo>
                  <a:lnTo>
                    <a:pt x="27" y="157"/>
                  </a:lnTo>
                  <a:lnTo>
                    <a:pt x="27" y="154"/>
                  </a:lnTo>
                  <a:lnTo>
                    <a:pt x="22" y="150"/>
                  </a:lnTo>
                  <a:lnTo>
                    <a:pt x="22" y="149"/>
                  </a:lnTo>
                  <a:lnTo>
                    <a:pt x="30" y="149"/>
                  </a:lnTo>
                  <a:lnTo>
                    <a:pt x="33" y="147"/>
                  </a:lnTo>
                  <a:lnTo>
                    <a:pt x="32" y="144"/>
                  </a:lnTo>
                  <a:lnTo>
                    <a:pt x="29" y="144"/>
                  </a:lnTo>
                  <a:lnTo>
                    <a:pt x="26" y="140"/>
                  </a:lnTo>
                  <a:lnTo>
                    <a:pt x="26" y="136"/>
                  </a:lnTo>
                  <a:lnTo>
                    <a:pt x="26" y="136"/>
                  </a:lnTo>
                  <a:lnTo>
                    <a:pt x="27" y="137"/>
                  </a:lnTo>
                  <a:lnTo>
                    <a:pt x="33" y="134"/>
                  </a:lnTo>
                  <a:lnTo>
                    <a:pt x="39" y="136"/>
                  </a:lnTo>
                  <a:lnTo>
                    <a:pt x="42" y="133"/>
                  </a:lnTo>
                  <a:lnTo>
                    <a:pt x="39" y="134"/>
                  </a:lnTo>
                  <a:lnTo>
                    <a:pt x="38" y="133"/>
                  </a:lnTo>
                  <a:lnTo>
                    <a:pt x="36" y="130"/>
                  </a:lnTo>
                  <a:lnTo>
                    <a:pt x="33" y="128"/>
                  </a:lnTo>
                  <a:lnTo>
                    <a:pt x="27" y="130"/>
                  </a:lnTo>
                  <a:lnTo>
                    <a:pt x="27" y="127"/>
                  </a:lnTo>
                  <a:lnTo>
                    <a:pt x="29" y="125"/>
                  </a:lnTo>
                  <a:lnTo>
                    <a:pt x="32" y="118"/>
                  </a:lnTo>
                  <a:lnTo>
                    <a:pt x="30" y="120"/>
                  </a:lnTo>
                  <a:lnTo>
                    <a:pt x="30" y="118"/>
                  </a:lnTo>
                  <a:lnTo>
                    <a:pt x="29" y="115"/>
                  </a:lnTo>
                  <a:lnTo>
                    <a:pt x="27" y="120"/>
                  </a:lnTo>
                  <a:lnTo>
                    <a:pt x="26" y="115"/>
                  </a:lnTo>
                  <a:lnTo>
                    <a:pt x="25" y="114"/>
                  </a:lnTo>
                  <a:lnTo>
                    <a:pt x="27" y="111"/>
                  </a:lnTo>
                  <a:lnTo>
                    <a:pt x="26" y="109"/>
                  </a:lnTo>
                  <a:lnTo>
                    <a:pt x="27" y="106"/>
                  </a:lnTo>
                  <a:lnTo>
                    <a:pt x="32" y="106"/>
                  </a:lnTo>
                  <a:lnTo>
                    <a:pt x="32" y="111"/>
                  </a:lnTo>
                  <a:lnTo>
                    <a:pt x="35" y="112"/>
                  </a:lnTo>
                  <a:lnTo>
                    <a:pt x="41" y="109"/>
                  </a:lnTo>
                  <a:lnTo>
                    <a:pt x="42" y="105"/>
                  </a:lnTo>
                  <a:lnTo>
                    <a:pt x="43" y="101"/>
                  </a:lnTo>
                  <a:lnTo>
                    <a:pt x="48" y="99"/>
                  </a:lnTo>
                  <a:lnTo>
                    <a:pt x="55" y="101"/>
                  </a:lnTo>
                  <a:lnTo>
                    <a:pt x="59" y="95"/>
                  </a:lnTo>
                  <a:lnTo>
                    <a:pt x="59" y="92"/>
                  </a:lnTo>
                  <a:lnTo>
                    <a:pt x="59" y="89"/>
                  </a:lnTo>
                  <a:lnTo>
                    <a:pt x="61" y="86"/>
                  </a:lnTo>
                  <a:lnTo>
                    <a:pt x="61" y="83"/>
                  </a:lnTo>
                  <a:lnTo>
                    <a:pt x="65" y="80"/>
                  </a:lnTo>
                  <a:lnTo>
                    <a:pt x="67" y="80"/>
                  </a:lnTo>
                  <a:lnTo>
                    <a:pt x="70" y="79"/>
                  </a:lnTo>
                  <a:lnTo>
                    <a:pt x="68" y="77"/>
                  </a:lnTo>
                  <a:lnTo>
                    <a:pt x="71" y="73"/>
                  </a:lnTo>
                  <a:lnTo>
                    <a:pt x="72" y="70"/>
                  </a:lnTo>
                  <a:lnTo>
                    <a:pt x="87" y="63"/>
                  </a:lnTo>
                  <a:lnTo>
                    <a:pt x="88" y="61"/>
                  </a:lnTo>
                  <a:lnTo>
                    <a:pt x="90" y="56"/>
                  </a:lnTo>
                  <a:lnTo>
                    <a:pt x="97" y="51"/>
                  </a:lnTo>
                  <a:lnTo>
                    <a:pt x="100" y="53"/>
                  </a:lnTo>
                  <a:lnTo>
                    <a:pt x="96" y="60"/>
                  </a:lnTo>
                  <a:lnTo>
                    <a:pt x="99" y="60"/>
                  </a:lnTo>
                  <a:lnTo>
                    <a:pt x="100" y="57"/>
                  </a:lnTo>
                  <a:lnTo>
                    <a:pt x="104" y="56"/>
                  </a:lnTo>
                  <a:lnTo>
                    <a:pt x="106" y="53"/>
                  </a:lnTo>
                  <a:lnTo>
                    <a:pt x="104" y="51"/>
                  </a:lnTo>
                  <a:lnTo>
                    <a:pt x="103" y="48"/>
                  </a:lnTo>
                  <a:lnTo>
                    <a:pt x="103" y="44"/>
                  </a:lnTo>
                  <a:lnTo>
                    <a:pt x="104" y="45"/>
                  </a:lnTo>
                  <a:lnTo>
                    <a:pt x="106" y="43"/>
                  </a:lnTo>
                  <a:lnTo>
                    <a:pt x="104" y="41"/>
                  </a:lnTo>
                  <a:lnTo>
                    <a:pt x="110" y="40"/>
                  </a:lnTo>
                  <a:lnTo>
                    <a:pt x="110" y="43"/>
                  </a:lnTo>
                  <a:lnTo>
                    <a:pt x="122" y="43"/>
                  </a:lnTo>
                  <a:lnTo>
                    <a:pt x="122" y="48"/>
                  </a:lnTo>
                  <a:lnTo>
                    <a:pt x="125" y="50"/>
                  </a:lnTo>
                  <a:lnTo>
                    <a:pt x="128" y="47"/>
                  </a:lnTo>
                  <a:lnTo>
                    <a:pt x="131" y="48"/>
                  </a:lnTo>
                  <a:lnTo>
                    <a:pt x="142" y="40"/>
                  </a:lnTo>
                  <a:lnTo>
                    <a:pt x="145" y="40"/>
                  </a:lnTo>
                  <a:lnTo>
                    <a:pt x="145" y="43"/>
                  </a:lnTo>
                  <a:lnTo>
                    <a:pt x="147" y="43"/>
                  </a:lnTo>
                  <a:lnTo>
                    <a:pt x="148" y="43"/>
                  </a:lnTo>
                  <a:lnTo>
                    <a:pt x="149" y="41"/>
                  </a:lnTo>
                  <a:lnTo>
                    <a:pt x="151" y="41"/>
                  </a:lnTo>
                  <a:lnTo>
                    <a:pt x="152" y="38"/>
                  </a:lnTo>
                  <a:lnTo>
                    <a:pt x="155" y="38"/>
                  </a:lnTo>
                  <a:lnTo>
                    <a:pt x="160" y="32"/>
                  </a:lnTo>
                  <a:lnTo>
                    <a:pt x="164" y="32"/>
                  </a:lnTo>
                  <a:lnTo>
                    <a:pt x="167" y="27"/>
                  </a:lnTo>
                  <a:lnTo>
                    <a:pt x="170" y="28"/>
                  </a:lnTo>
                  <a:lnTo>
                    <a:pt x="171" y="28"/>
                  </a:lnTo>
                  <a:lnTo>
                    <a:pt x="173" y="25"/>
                  </a:lnTo>
                  <a:lnTo>
                    <a:pt x="173" y="18"/>
                  </a:lnTo>
                  <a:lnTo>
                    <a:pt x="173" y="15"/>
                  </a:lnTo>
                  <a:lnTo>
                    <a:pt x="177" y="13"/>
                  </a:lnTo>
                  <a:lnTo>
                    <a:pt x="178" y="11"/>
                  </a:lnTo>
                  <a:lnTo>
                    <a:pt x="181" y="11"/>
                  </a:lnTo>
                  <a:lnTo>
                    <a:pt x="184" y="8"/>
                  </a:lnTo>
                  <a:lnTo>
                    <a:pt x="186" y="5"/>
                  </a:lnTo>
                  <a:lnTo>
                    <a:pt x="189" y="6"/>
                  </a:lnTo>
                  <a:lnTo>
                    <a:pt x="194" y="0"/>
                  </a:lnTo>
                  <a:lnTo>
                    <a:pt x="203" y="0"/>
                  </a:lnTo>
                  <a:lnTo>
                    <a:pt x="210" y="3"/>
                  </a:lnTo>
                  <a:lnTo>
                    <a:pt x="213" y="6"/>
                  </a:lnTo>
                  <a:lnTo>
                    <a:pt x="215" y="8"/>
                  </a:lnTo>
                  <a:lnTo>
                    <a:pt x="216" y="9"/>
                  </a:lnTo>
                  <a:lnTo>
                    <a:pt x="216" y="12"/>
                  </a:lnTo>
                  <a:lnTo>
                    <a:pt x="219" y="19"/>
                  </a:lnTo>
                  <a:lnTo>
                    <a:pt x="219" y="24"/>
                  </a:lnTo>
                  <a:lnTo>
                    <a:pt x="216" y="25"/>
                  </a:lnTo>
                  <a:lnTo>
                    <a:pt x="215" y="29"/>
                  </a:lnTo>
                  <a:lnTo>
                    <a:pt x="219" y="29"/>
                  </a:lnTo>
                  <a:lnTo>
                    <a:pt x="218" y="31"/>
                  </a:lnTo>
                  <a:lnTo>
                    <a:pt x="215" y="34"/>
                  </a:lnTo>
                  <a:lnTo>
                    <a:pt x="207" y="45"/>
                  </a:lnTo>
                  <a:lnTo>
                    <a:pt x="209" y="50"/>
                  </a:lnTo>
                  <a:lnTo>
                    <a:pt x="205" y="47"/>
                  </a:lnTo>
                  <a:lnTo>
                    <a:pt x="203" y="47"/>
                  </a:lnTo>
                  <a:lnTo>
                    <a:pt x="200" y="48"/>
                  </a:lnTo>
                  <a:lnTo>
                    <a:pt x="190" y="57"/>
                  </a:lnTo>
                  <a:lnTo>
                    <a:pt x="184" y="60"/>
                  </a:lnTo>
                  <a:lnTo>
                    <a:pt x="183" y="60"/>
                  </a:lnTo>
                  <a:lnTo>
                    <a:pt x="177" y="63"/>
                  </a:lnTo>
                  <a:lnTo>
                    <a:pt x="174" y="63"/>
                  </a:lnTo>
                  <a:lnTo>
                    <a:pt x="168" y="64"/>
                  </a:lnTo>
                  <a:lnTo>
                    <a:pt x="167" y="66"/>
                  </a:lnTo>
                  <a:lnTo>
                    <a:pt x="165" y="69"/>
                  </a:lnTo>
                  <a:lnTo>
                    <a:pt x="162" y="72"/>
                  </a:lnTo>
                  <a:lnTo>
                    <a:pt x="161" y="69"/>
                  </a:lnTo>
                  <a:lnTo>
                    <a:pt x="160" y="72"/>
                  </a:lnTo>
                  <a:lnTo>
                    <a:pt x="145" y="82"/>
                  </a:lnTo>
                  <a:lnTo>
                    <a:pt x="144" y="80"/>
                  </a:lnTo>
                  <a:lnTo>
                    <a:pt x="142" y="76"/>
                  </a:lnTo>
                  <a:lnTo>
                    <a:pt x="139" y="77"/>
                  </a:lnTo>
                  <a:lnTo>
                    <a:pt x="141" y="79"/>
                  </a:lnTo>
                  <a:lnTo>
                    <a:pt x="139" y="80"/>
                  </a:lnTo>
                  <a:lnTo>
                    <a:pt x="139" y="83"/>
                  </a:lnTo>
                  <a:lnTo>
                    <a:pt x="131" y="91"/>
                  </a:lnTo>
                  <a:lnTo>
                    <a:pt x="125" y="92"/>
                  </a:lnTo>
                  <a:lnTo>
                    <a:pt x="123" y="96"/>
                  </a:lnTo>
                  <a:lnTo>
                    <a:pt x="122" y="95"/>
                  </a:lnTo>
                  <a:lnTo>
                    <a:pt x="110" y="112"/>
                  </a:lnTo>
                  <a:lnTo>
                    <a:pt x="103" y="114"/>
                  </a:lnTo>
                  <a:lnTo>
                    <a:pt x="102" y="115"/>
                  </a:lnTo>
                  <a:lnTo>
                    <a:pt x="102" y="114"/>
                  </a:lnTo>
                  <a:lnTo>
                    <a:pt x="99" y="114"/>
                  </a:lnTo>
                  <a:lnTo>
                    <a:pt x="97" y="112"/>
                  </a:lnTo>
                  <a:lnTo>
                    <a:pt x="96" y="117"/>
                  </a:lnTo>
                  <a:lnTo>
                    <a:pt x="97" y="118"/>
                  </a:lnTo>
                  <a:lnTo>
                    <a:pt x="99" y="118"/>
                  </a:lnTo>
                  <a:lnTo>
                    <a:pt x="100" y="121"/>
                  </a:lnTo>
                  <a:lnTo>
                    <a:pt x="93" y="128"/>
                  </a:lnTo>
                  <a:lnTo>
                    <a:pt x="94" y="130"/>
                  </a:lnTo>
                  <a:lnTo>
                    <a:pt x="93" y="133"/>
                  </a:lnTo>
                  <a:lnTo>
                    <a:pt x="88" y="134"/>
                  </a:lnTo>
                  <a:lnTo>
                    <a:pt x="86" y="131"/>
                  </a:lnTo>
                  <a:lnTo>
                    <a:pt x="83" y="130"/>
                  </a:lnTo>
                  <a:lnTo>
                    <a:pt x="83" y="131"/>
                  </a:lnTo>
                  <a:lnTo>
                    <a:pt x="86" y="136"/>
                  </a:lnTo>
                  <a:lnTo>
                    <a:pt x="88" y="141"/>
                  </a:lnTo>
                  <a:lnTo>
                    <a:pt x="78" y="134"/>
                  </a:lnTo>
                  <a:lnTo>
                    <a:pt x="77" y="136"/>
                  </a:lnTo>
                  <a:lnTo>
                    <a:pt x="77" y="137"/>
                  </a:lnTo>
                  <a:lnTo>
                    <a:pt x="77" y="138"/>
                  </a:lnTo>
                  <a:lnTo>
                    <a:pt x="78" y="141"/>
                  </a:lnTo>
                  <a:lnTo>
                    <a:pt x="78" y="143"/>
                  </a:lnTo>
                  <a:lnTo>
                    <a:pt x="75" y="141"/>
                  </a:lnTo>
                  <a:lnTo>
                    <a:pt x="75" y="143"/>
                  </a:lnTo>
                  <a:lnTo>
                    <a:pt x="77" y="147"/>
                  </a:lnTo>
                  <a:lnTo>
                    <a:pt x="75" y="149"/>
                  </a:lnTo>
                  <a:lnTo>
                    <a:pt x="74" y="149"/>
                  </a:lnTo>
                  <a:lnTo>
                    <a:pt x="72" y="146"/>
                  </a:lnTo>
                  <a:lnTo>
                    <a:pt x="65" y="140"/>
                  </a:lnTo>
                  <a:lnTo>
                    <a:pt x="65" y="143"/>
                  </a:lnTo>
                  <a:lnTo>
                    <a:pt x="68" y="146"/>
                  </a:lnTo>
                  <a:lnTo>
                    <a:pt x="72" y="154"/>
                  </a:lnTo>
                  <a:lnTo>
                    <a:pt x="72" y="157"/>
                  </a:lnTo>
                  <a:lnTo>
                    <a:pt x="71" y="157"/>
                  </a:lnTo>
                  <a:lnTo>
                    <a:pt x="70" y="162"/>
                  </a:lnTo>
                  <a:lnTo>
                    <a:pt x="68" y="159"/>
                  </a:lnTo>
                  <a:lnTo>
                    <a:pt x="68" y="159"/>
                  </a:lnTo>
                  <a:lnTo>
                    <a:pt x="68" y="163"/>
                  </a:lnTo>
                  <a:lnTo>
                    <a:pt x="68" y="163"/>
                  </a:lnTo>
                  <a:lnTo>
                    <a:pt x="68" y="165"/>
                  </a:lnTo>
                  <a:lnTo>
                    <a:pt x="65" y="163"/>
                  </a:lnTo>
                  <a:lnTo>
                    <a:pt x="65" y="166"/>
                  </a:lnTo>
                  <a:lnTo>
                    <a:pt x="65" y="169"/>
                  </a:lnTo>
                  <a:lnTo>
                    <a:pt x="64" y="170"/>
                  </a:lnTo>
                  <a:lnTo>
                    <a:pt x="62" y="168"/>
                  </a:lnTo>
                  <a:lnTo>
                    <a:pt x="61" y="168"/>
                  </a:lnTo>
                  <a:lnTo>
                    <a:pt x="55" y="157"/>
                  </a:lnTo>
                  <a:lnTo>
                    <a:pt x="54" y="162"/>
                  </a:lnTo>
                  <a:lnTo>
                    <a:pt x="55" y="165"/>
                  </a:lnTo>
                  <a:lnTo>
                    <a:pt x="51" y="166"/>
                  </a:lnTo>
                  <a:lnTo>
                    <a:pt x="55" y="168"/>
                  </a:lnTo>
                  <a:lnTo>
                    <a:pt x="58" y="169"/>
                  </a:lnTo>
                  <a:lnTo>
                    <a:pt x="58" y="172"/>
                  </a:lnTo>
                  <a:lnTo>
                    <a:pt x="59" y="173"/>
                  </a:lnTo>
                  <a:lnTo>
                    <a:pt x="58" y="175"/>
                  </a:lnTo>
                  <a:lnTo>
                    <a:pt x="59" y="176"/>
                  </a:lnTo>
                  <a:lnTo>
                    <a:pt x="59" y="182"/>
                  </a:lnTo>
                  <a:lnTo>
                    <a:pt x="56" y="182"/>
                  </a:lnTo>
                  <a:lnTo>
                    <a:pt x="55" y="179"/>
                  </a:lnTo>
                  <a:lnTo>
                    <a:pt x="46" y="176"/>
                  </a:lnTo>
                  <a:lnTo>
                    <a:pt x="45" y="178"/>
                  </a:lnTo>
                  <a:lnTo>
                    <a:pt x="46" y="179"/>
                  </a:lnTo>
                  <a:lnTo>
                    <a:pt x="51" y="179"/>
                  </a:lnTo>
                  <a:lnTo>
                    <a:pt x="54" y="185"/>
                  </a:lnTo>
                  <a:lnTo>
                    <a:pt x="55" y="188"/>
                  </a:lnTo>
                  <a:lnTo>
                    <a:pt x="54" y="189"/>
                  </a:lnTo>
                  <a:lnTo>
                    <a:pt x="52" y="191"/>
                  </a:lnTo>
                  <a:lnTo>
                    <a:pt x="52" y="192"/>
                  </a:lnTo>
                  <a:lnTo>
                    <a:pt x="49" y="191"/>
                  </a:lnTo>
                  <a:lnTo>
                    <a:pt x="48" y="186"/>
                  </a:lnTo>
                  <a:lnTo>
                    <a:pt x="45" y="186"/>
                  </a:lnTo>
                  <a:lnTo>
                    <a:pt x="48" y="194"/>
                  </a:lnTo>
                  <a:lnTo>
                    <a:pt x="49" y="195"/>
                  </a:lnTo>
                  <a:lnTo>
                    <a:pt x="51" y="198"/>
                  </a:lnTo>
                  <a:lnTo>
                    <a:pt x="48" y="199"/>
                  </a:lnTo>
                  <a:lnTo>
                    <a:pt x="46" y="204"/>
                  </a:lnTo>
                  <a:lnTo>
                    <a:pt x="45" y="204"/>
                  </a:lnTo>
                  <a:lnTo>
                    <a:pt x="43" y="207"/>
                  </a:lnTo>
                  <a:lnTo>
                    <a:pt x="42" y="207"/>
                  </a:lnTo>
                  <a:lnTo>
                    <a:pt x="39" y="205"/>
                  </a:lnTo>
                  <a:lnTo>
                    <a:pt x="35" y="205"/>
                  </a:lnTo>
                  <a:lnTo>
                    <a:pt x="30" y="202"/>
                  </a:lnTo>
                  <a:lnTo>
                    <a:pt x="25" y="202"/>
                  </a:lnTo>
                  <a:lnTo>
                    <a:pt x="22" y="198"/>
                  </a:lnTo>
                  <a:lnTo>
                    <a:pt x="16" y="199"/>
                  </a:lnTo>
                  <a:lnTo>
                    <a:pt x="10" y="202"/>
                  </a:lnTo>
                  <a:lnTo>
                    <a:pt x="6" y="202"/>
                  </a:lnTo>
                  <a:lnTo>
                    <a:pt x="9" y="199"/>
                  </a:lnTo>
                  <a:lnTo>
                    <a:pt x="10" y="197"/>
                  </a:lnTo>
                  <a:lnTo>
                    <a:pt x="9" y="197"/>
                  </a:lnTo>
                  <a:lnTo>
                    <a:pt x="9" y="194"/>
                  </a:lnTo>
                  <a:lnTo>
                    <a:pt x="10" y="192"/>
                  </a:lnTo>
                  <a:lnTo>
                    <a:pt x="14" y="188"/>
                  </a:lnTo>
                  <a:lnTo>
                    <a:pt x="17" y="188"/>
                  </a:lnTo>
                  <a:lnTo>
                    <a:pt x="20" y="186"/>
                  </a:lnTo>
                  <a:lnTo>
                    <a:pt x="20" y="185"/>
                  </a:lnTo>
                  <a:lnTo>
                    <a:pt x="17" y="184"/>
                  </a:lnTo>
                  <a:lnTo>
                    <a:pt x="17" y="185"/>
                  </a:lnTo>
                  <a:lnTo>
                    <a:pt x="14" y="186"/>
                  </a:lnTo>
                  <a:lnTo>
                    <a:pt x="10" y="189"/>
                  </a:lnTo>
                  <a:lnTo>
                    <a:pt x="4" y="188"/>
                  </a:lnTo>
                  <a:lnTo>
                    <a:pt x="4" y="186"/>
                  </a:lnTo>
                  <a:lnTo>
                    <a:pt x="1" y="184"/>
                  </a:lnTo>
                  <a:lnTo>
                    <a:pt x="0" y="18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24" name="Freeform 637"/>
            <p:cNvSpPr>
              <a:spLocks/>
            </p:cNvSpPr>
            <p:nvPr/>
          </p:nvSpPr>
          <p:spPr bwMode="auto">
            <a:xfrm>
              <a:off x="6801898" y="1745314"/>
              <a:ext cx="11412" cy="21296"/>
            </a:xfrm>
            <a:custGeom>
              <a:avLst/>
              <a:gdLst/>
              <a:ahLst/>
              <a:cxnLst>
                <a:cxn ang="0">
                  <a:pos x="0" y="3"/>
                </a:cxn>
                <a:cxn ang="0">
                  <a:pos x="0" y="2"/>
                </a:cxn>
                <a:cxn ang="0">
                  <a:pos x="3" y="0"/>
                </a:cxn>
                <a:cxn ang="0">
                  <a:pos x="6" y="2"/>
                </a:cxn>
                <a:cxn ang="0">
                  <a:pos x="9" y="3"/>
                </a:cxn>
                <a:cxn ang="0">
                  <a:pos x="9" y="2"/>
                </a:cxn>
                <a:cxn ang="0">
                  <a:pos x="12" y="8"/>
                </a:cxn>
                <a:cxn ang="0">
                  <a:pos x="12" y="13"/>
                </a:cxn>
                <a:cxn ang="0">
                  <a:pos x="12" y="15"/>
                </a:cxn>
                <a:cxn ang="0">
                  <a:pos x="13" y="19"/>
                </a:cxn>
                <a:cxn ang="0">
                  <a:pos x="12" y="21"/>
                </a:cxn>
                <a:cxn ang="0">
                  <a:pos x="6" y="6"/>
                </a:cxn>
                <a:cxn ang="0">
                  <a:pos x="0" y="5"/>
                </a:cxn>
                <a:cxn ang="0">
                  <a:pos x="0" y="3"/>
                </a:cxn>
              </a:cxnLst>
              <a:rect l="0" t="0" r="r" b="b"/>
              <a:pathLst>
                <a:path w="13" h="21">
                  <a:moveTo>
                    <a:pt x="0" y="3"/>
                  </a:moveTo>
                  <a:lnTo>
                    <a:pt x="0" y="2"/>
                  </a:lnTo>
                  <a:lnTo>
                    <a:pt x="3" y="0"/>
                  </a:lnTo>
                  <a:lnTo>
                    <a:pt x="6" y="2"/>
                  </a:lnTo>
                  <a:lnTo>
                    <a:pt x="9" y="3"/>
                  </a:lnTo>
                  <a:lnTo>
                    <a:pt x="9" y="2"/>
                  </a:lnTo>
                  <a:lnTo>
                    <a:pt x="12" y="8"/>
                  </a:lnTo>
                  <a:lnTo>
                    <a:pt x="12" y="13"/>
                  </a:lnTo>
                  <a:lnTo>
                    <a:pt x="12" y="15"/>
                  </a:lnTo>
                  <a:lnTo>
                    <a:pt x="13" y="19"/>
                  </a:lnTo>
                  <a:lnTo>
                    <a:pt x="12" y="21"/>
                  </a:lnTo>
                  <a:lnTo>
                    <a:pt x="6" y="6"/>
                  </a:lnTo>
                  <a:lnTo>
                    <a:pt x="0" y="5"/>
                  </a:lnTo>
                  <a:lnTo>
                    <a:pt x="0"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25" name="Freeform 638"/>
            <p:cNvSpPr>
              <a:spLocks/>
            </p:cNvSpPr>
            <p:nvPr/>
          </p:nvSpPr>
          <p:spPr bwMode="auto">
            <a:xfrm>
              <a:off x="6801898" y="1745314"/>
              <a:ext cx="11412" cy="21296"/>
            </a:xfrm>
            <a:custGeom>
              <a:avLst/>
              <a:gdLst/>
              <a:ahLst/>
              <a:cxnLst>
                <a:cxn ang="0">
                  <a:pos x="0" y="3"/>
                </a:cxn>
                <a:cxn ang="0">
                  <a:pos x="0" y="2"/>
                </a:cxn>
                <a:cxn ang="0">
                  <a:pos x="3" y="0"/>
                </a:cxn>
                <a:cxn ang="0">
                  <a:pos x="6" y="2"/>
                </a:cxn>
                <a:cxn ang="0">
                  <a:pos x="9" y="3"/>
                </a:cxn>
                <a:cxn ang="0">
                  <a:pos x="9" y="2"/>
                </a:cxn>
                <a:cxn ang="0">
                  <a:pos x="12" y="8"/>
                </a:cxn>
                <a:cxn ang="0">
                  <a:pos x="12" y="13"/>
                </a:cxn>
                <a:cxn ang="0">
                  <a:pos x="12" y="15"/>
                </a:cxn>
                <a:cxn ang="0">
                  <a:pos x="13" y="19"/>
                </a:cxn>
                <a:cxn ang="0">
                  <a:pos x="12" y="21"/>
                </a:cxn>
                <a:cxn ang="0">
                  <a:pos x="6" y="6"/>
                </a:cxn>
                <a:cxn ang="0">
                  <a:pos x="0" y="5"/>
                </a:cxn>
                <a:cxn ang="0">
                  <a:pos x="0" y="3"/>
                </a:cxn>
              </a:cxnLst>
              <a:rect l="0" t="0" r="r" b="b"/>
              <a:pathLst>
                <a:path w="13" h="21">
                  <a:moveTo>
                    <a:pt x="0" y="3"/>
                  </a:moveTo>
                  <a:lnTo>
                    <a:pt x="0" y="2"/>
                  </a:lnTo>
                  <a:lnTo>
                    <a:pt x="3" y="0"/>
                  </a:lnTo>
                  <a:lnTo>
                    <a:pt x="6" y="2"/>
                  </a:lnTo>
                  <a:lnTo>
                    <a:pt x="9" y="3"/>
                  </a:lnTo>
                  <a:lnTo>
                    <a:pt x="9" y="2"/>
                  </a:lnTo>
                  <a:lnTo>
                    <a:pt x="12" y="8"/>
                  </a:lnTo>
                  <a:lnTo>
                    <a:pt x="12" y="13"/>
                  </a:lnTo>
                  <a:lnTo>
                    <a:pt x="12" y="15"/>
                  </a:lnTo>
                  <a:lnTo>
                    <a:pt x="13" y="19"/>
                  </a:lnTo>
                  <a:lnTo>
                    <a:pt x="12" y="21"/>
                  </a:lnTo>
                  <a:lnTo>
                    <a:pt x="6" y="6"/>
                  </a:lnTo>
                  <a:lnTo>
                    <a:pt x="0" y="5"/>
                  </a:lnTo>
                  <a:lnTo>
                    <a:pt x="0"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26" name="Freeform 639"/>
            <p:cNvSpPr>
              <a:spLocks/>
            </p:cNvSpPr>
            <p:nvPr/>
          </p:nvSpPr>
          <p:spPr bwMode="auto">
            <a:xfrm>
              <a:off x="7508528" y="1353859"/>
              <a:ext cx="17556" cy="10141"/>
            </a:xfrm>
            <a:custGeom>
              <a:avLst/>
              <a:gdLst/>
              <a:ahLst/>
              <a:cxnLst>
                <a:cxn ang="0">
                  <a:pos x="7" y="0"/>
                </a:cxn>
                <a:cxn ang="0">
                  <a:pos x="10" y="3"/>
                </a:cxn>
                <a:cxn ang="0">
                  <a:pos x="13" y="0"/>
                </a:cxn>
                <a:cxn ang="0">
                  <a:pos x="16" y="0"/>
                </a:cxn>
                <a:cxn ang="0">
                  <a:pos x="16" y="1"/>
                </a:cxn>
                <a:cxn ang="0">
                  <a:pos x="17" y="1"/>
                </a:cxn>
                <a:cxn ang="0">
                  <a:pos x="19" y="4"/>
                </a:cxn>
                <a:cxn ang="0">
                  <a:pos x="16" y="7"/>
                </a:cxn>
                <a:cxn ang="0">
                  <a:pos x="14" y="10"/>
                </a:cxn>
                <a:cxn ang="0">
                  <a:pos x="13" y="9"/>
                </a:cxn>
                <a:cxn ang="0">
                  <a:pos x="0" y="4"/>
                </a:cxn>
                <a:cxn ang="0">
                  <a:pos x="1" y="3"/>
                </a:cxn>
                <a:cxn ang="0">
                  <a:pos x="3" y="3"/>
                </a:cxn>
                <a:cxn ang="0">
                  <a:pos x="4" y="1"/>
                </a:cxn>
                <a:cxn ang="0">
                  <a:pos x="7" y="0"/>
                </a:cxn>
              </a:cxnLst>
              <a:rect l="0" t="0" r="r" b="b"/>
              <a:pathLst>
                <a:path w="19" h="10">
                  <a:moveTo>
                    <a:pt x="7" y="0"/>
                  </a:moveTo>
                  <a:lnTo>
                    <a:pt x="10" y="3"/>
                  </a:lnTo>
                  <a:lnTo>
                    <a:pt x="13" y="0"/>
                  </a:lnTo>
                  <a:lnTo>
                    <a:pt x="16" y="0"/>
                  </a:lnTo>
                  <a:lnTo>
                    <a:pt x="16" y="1"/>
                  </a:lnTo>
                  <a:lnTo>
                    <a:pt x="17" y="1"/>
                  </a:lnTo>
                  <a:lnTo>
                    <a:pt x="19" y="4"/>
                  </a:lnTo>
                  <a:lnTo>
                    <a:pt x="16" y="7"/>
                  </a:lnTo>
                  <a:lnTo>
                    <a:pt x="14" y="10"/>
                  </a:lnTo>
                  <a:lnTo>
                    <a:pt x="13" y="9"/>
                  </a:lnTo>
                  <a:lnTo>
                    <a:pt x="0" y="4"/>
                  </a:lnTo>
                  <a:lnTo>
                    <a:pt x="1" y="3"/>
                  </a:lnTo>
                  <a:lnTo>
                    <a:pt x="3" y="3"/>
                  </a:lnTo>
                  <a:lnTo>
                    <a:pt x="4" y="1"/>
                  </a:lnTo>
                  <a:lnTo>
                    <a:pt x="7"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27" name="Freeform 640"/>
            <p:cNvSpPr>
              <a:spLocks/>
            </p:cNvSpPr>
            <p:nvPr/>
          </p:nvSpPr>
          <p:spPr bwMode="auto">
            <a:xfrm>
              <a:off x="7508528" y="1353859"/>
              <a:ext cx="17556" cy="10141"/>
            </a:xfrm>
            <a:custGeom>
              <a:avLst/>
              <a:gdLst/>
              <a:ahLst/>
              <a:cxnLst>
                <a:cxn ang="0">
                  <a:pos x="7" y="0"/>
                </a:cxn>
                <a:cxn ang="0">
                  <a:pos x="10" y="3"/>
                </a:cxn>
                <a:cxn ang="0">
                  <a:pos x="13" y="0"/>
                </a:cxn>
                <a:cxn ang="0">
                  <a:pos x="16" y="0"/>
                </a:cxn>
                <a:cxn ang="0">
                  <a:pos x="16" y="1"/>
                </a:cxn>
                <a:cxn ang="0">
                  <a:pos x="17" y="1"/>
                </a:cxn>
                <a:cxn ang="0">
                  <a:pos x="19" y="4"/>
                </a:cxn>
                <a:cxn ang="0">
                  <a:pos x="16" y="7"/>
                </a:cxn>
                <a:cxn ang="0">
                  <a:pos x="14" y="10"/>
                </a:cxn>
                <a:cxn ang="0">
                  <a:pos x="13" y="9"/>
                </a:cxn>
                <a:cxn ang="0">
                  <a:pos x="0" y="4"/>
                </a:cxn>
                <a:cxn ang="0">
                  <a:pos x="1" y="3"/>
                </a:cxn>
                <a:cxn ang="0">
                  <a:pos x="3" y="3"/>
                </a:cxn>
                <a:cxn ang="0">
                  <a:pos x="4" y="1"/>
                </a:cxn>
                <a:cxn ang="0">
                  <a:pos x="7" y="0"/>
                </a:cxn>
              </a:cxnLst>
              <a:rect l="0" t="0" r="r" b="b"/>
              <a:pathLst>
                <a:path w="19" h="10">
                  <a:moveTo>
                    <a:pt x="7" y="0"/>
                  </a:moveTo>
                  <a:lnTo>
                    <a:pt x="10" y="3"/>
                  </a:lnTo>
                  <a:lnTo>
                    <a:pt x="13" y="0"/>
                  </a:lnTo>
                  <a:lnTo>
                    <a:pt x="16" y="0"/>
                  </a:lnTo>
                  <a:lnTo>
                    <a:pt x="16" y="1"/>
                  </a:lnTo>
                  <a:lnTo>
                    <a:pt x="17" y="1"/>
                  </a:lnTo>
                  <a:lnTo>
                    <a:pt x="19" y="4"/>
                  </a:lnTo>
                  <a:lnTo>
                    <a:pt x="16" y="7"/>
                  </a:lnTo>
                  <a:lnTo>
                    <a:pt x="14" y="10"/>
                  </a:lnTo>
                  <a:lnTo>
                    <a:pt x="13" y="9"/>
                  </a:lnTo>
                  <a:lnTo>
                    <a:pt x="0" y="4"/>
                  </a:lnTo>
                  <a:lnTo>
                    <a:pt x="1" y="3"/>
                  </a:lnTo>
                  <a:lnTo>
                    <a:pt x="3" y="3"/>
                  </a:lnTo>
                  <a:lnTo>
                    <a:pt x="4" y="1"/>
                  </a:lnTo>
                  <a:lnTo>
                    <a:pt x="7"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28" name="Freeform 641"/>
            <p:cNvSpPr>
              <a:spLocks/>
            </p:cNvSpPr>
            <p:nvPr/>
          </p:nvSpPr>
          <p:spPr bwMode="auto">
            <a:xfrm>
              <a:off x="7282055" y="1413693"/>
              <a:ext cx="6144" cy="13184"/>
            </a:xfrm>
            <a:custGeom>
              <a:avLst/>
              <a:gdLst/>
              <a:ahLst/>
              <a:cxnLst>
                <a:cxn ang="0">
                  <a:pos x="4" y="0"/>
                </a:cxn>
                <a:cxn ang="0">
                  <a:pos x="4" y="0"/>
                </a:cxn>
                <a:cxn ang="0">
                  <a:pos x="4" y="3"/>
                </a:cxn>
                <a:cxn ang="0">
                  <a:pos x="4" y="5"/>
                </a:cxn>
                <a:cxn ang="0">
                  <a:pos x="4" y="6"/>
                </a:cxn>
                <a:cxn ang="0">
                  <a:pos x="6" y="7"/>
                </a:cxn>
                <a:cxn ang="0">
                  <a:pos x="6" y="10"/>
                </a:cxn>
                <a:cxn ang="0">
                  <a:pos x="4" y="12"/>
                </a:cxn>
                <a:cxn ang="0">
                  <a:pos x="3" y="10"/>
                </a:cxn>
                <a:cxn ang="0">
                  <a:pos x="2" y="12"/>
                </a:cxn>
                <a:cxn ang="0">
                  <a:pos x="0" y="12"/>
                </a:cxn>
                <a:cxn ang="0">
                  <a:pos x="0" y="6"/>
                </a:cxn>
                <a:cxn ang="0">
                  <a:pos x="0" y="5"/>
                </a:cxn>
                <a:cxn ang="0">
                  <a:pos x="2" y="3"/>
                </a:cxn>
                <a:cxn ang="0">
                  <a:pos x="4" y="0"/>
                </a:cxn>
              </a:cxnLst>
              <a:rect l="0" t="0" r="r" b="b"/>
              <a:pathLst>
                <a:path w="6" h="12">
                  <a:moveTo>
                    <a:pt x="4" y="0"/>
                  </a:moveTo>
                  <a:lnTo>
                    <a:pt x="4" y="0"/>
                  </a:lnTo>
                  <a:lnTo>
                    <a:pt x="4" y="3"/>
                  </a:lnTo>
                  <a:lnTo>
                    <a:pt x="4" y="5"/>
                  </a:lnTo>
                  <a:lnTo>
                    <a:pt x="4" y="6"/>
                  </a:lnTo>
                  <a:lnTo>
                    <a:pt x="6" y="7"/>
                  </a:lnTo>
                  <a:lnTo>
                    <a:pt x="6" y="10"/>
                  </a:lnTo>
                  <a:lnTo>
                    <a:pt x="4" y="12"/>
                  </a:lnTo>
                  <a:lnTo>
                    <a:pt x="3" y="10"/>
                  </a:lnTo>
                  <a:lnTo>
                    <a:pt x="2" y="12"/>
                  </a:lnTo>
                  <a:lnTo>
                    <a:pt x="0" y="12"/>
                  </a:lnTo>
                  <a:lnTo>
                    <a:pt x="0" y="6"/>
                  </a:lnTo>
                  <a:lnTo>
                    <a:pt x="0" y="5"/>
                  </a:lnTo>
                  <a:lnTo>
                    <a:pt x="2" y="3"/>
                  </a:lnTo>
                  <a:lnTo>
                    <a:pt x="4"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29" name="Freeform 642"/>
            <p:cNvSpPr>
              <a:spLocks/>
            </p:cNvSpPr>
            <p:nvPr/>
          </p:nvSpPr>
          <p:spPr bwMode="auto">
            <a:xfrm>
              <a:off x="7282055" y="1413693"/>
              <a:ext cx="6144" cy="13184"/>
            </a:xfrm>
            <a:custGeom>
              <a:avLst/>
              <a:gdLst/>
              <a:ahLst/>
              <a:cxnLst>
                <a:cxn ang="0">
                  <a:pos x="4" y="0"/>
                </a:cxn>
                <a:cxn ang="0">
                  <a:pos x="4" y="0"/>
                </a:cxn>
                <a:cxn ang="0">
                  <a:pos x="4" y="3"/>
                </a:cxn>
                <a:cxn ang="0">
                  <a:pos x="4" y="5"/>
                </a:cxn>
                <a:cxn ang="0">
                  <a:pos x="4" y="6"/>
                </a:cxn>
                <a:cxn ang="0">
                  <a:pos x="6" y="7"/>
                </a:cxn>
                <a:cxn ang="0">
                  <a:pos x="6" y="10"/>
                </a:cxn>
                <a:cxn ang="0">
                  <a:pos x="4" y="12"/>
                </a:cxn>
                <a:cxn ang="0">
                  <a:pos x="3" y="10"/>
                </a:cxn>
                <a:cxn ang="0">
                  <a:pos x="2" y="12"/>
                </a:cxn>
                <a:cxn ang="0">
                  <a:pos x="0" y="12"/>
                </a:cxn>
                <a:cxn ang="0">
                  <a:pos x="0" y="6"/>
                </a:cxn>
                <a:cxn ang="0">
                  <a:pos x="0" y="5"/>
                </a:cxn>
                <a:cxn ang="0">
                  <a:pos x="2" y="3"/>
                </a:cxn>
                <a:cxn ang="0">
                  <a:pos x="4" y="0"/>
                </a:cxn>
              </a:cxnLst>
              <a:rect l="0" t="0" r="r" b="b"/>
              <a:pathLst>
                <a:path w="6" h="12">
                  <a:moveTo>
                    <a:pt x="4" y="0"/>
                  </a:moveTo>
                  <a:lnTo>
                    <a:pt x="4" y="0"/>
                  </a:lnTo>
                  <a:lnTo>
                    <a:pt x="4" y="3"/>
                  </a:lnTo>
                  <a:lnTo>
                    <a:pt x="4" y="5"/>
                  </a:lnTo>
                  <a:lnTo>
                    <a:pt x="4" y="6"/>
                  </a:lnTo>
                  <a:lnTo>
                    <a:pt x="6" y="7"/>
                  </a:lnTo>
                  <a:lnTo>
                    <a:pt x="6" y="10"/>
                  </a:lnTo>
                  <a:lnTo>
                    <a:pt x="4" y="12"/>
                  </a:lnTo>
                  <a:lnTo>
                    <a:pt x="3" y="10"/>
                  </a:lnTo>
                  <a:lnTo>
                    <a:pt x="2" y="12"/>
                  </a:lnTo>
                  <a:lnTo>
                    <a:pt x="0" y="12"/>
                  </a:lnTo>
                  <a:lnTo>
                    <a:pt x="0" y="6"/>
                  </a:lnTo>
                  <a:lnTo>
                    <a:pt x="0" y="5"/>
                  </a:lnTo>
                  <a:lnTo>
                    <a:pt x="2" y="3"/>
                  </a:lnTo>
                  <a:lnTo>
                    <a:pt x="4"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30" name="Freeform 643"/>
            <p:cNvSpPr>
              <a:spLocks/>
            </p:cNvSpPr>
            <p:nvPr/>
          </p:nvSpPr>
          <p:spPr bwMode="auto">
            <a:xfrm>
              <a:off x="7361935" y="1479612"/>
              <a:ext cx="17556" cy="10141"/>
            </a:xfrm>
            <a:custGeom>
              <a:avLst/>
              <a:gdLst/>
              <a:ahLst/>
              <a:cxnLst>
                <a:cxn ang="0">
                  <a:pos x="15" y="1"/>
                </a:cxn>
                <a:cxn ang="0">
                  <a:pos x="15" y="3"/>
                </a:cxn>
                <a:cxn ang="0">
                  <a:pos x="15" y="5"/>
                </a:cxn>
                <a:cxn ang="0">
                  <a:pos x="15" y="7"/>
                </a:cxn>
                <a:cxn ang="0">
                  <a:pos x="15" y="10"/>
                </a:cxn>
                <a:cxn ang="0">
                  <a:pos x="8" y="10"/>
                </a:cxn>
                <a:cxn ang="0">
                  <a:pos x="0" y="5"/>
                </a:cxn>
                <a:cxn ang="0">
                  <a:pos x="0" y="3"/>
                </a:cxn>
                <a:cxn ang="0">
                  <a:pos x="2" y="3"/>
                </a:cxn>
                <a:cxn ang="0">
                  <a:pos x="2" y="4"/>
                </a:cxn>
                <a:cxn ang="0">
                  <a:pos x="3" y="5"/>
                </a:cxn>
                <a:cxn ang="0">
                  <a:pos x="3" y="3"/>
                </a:cxn>
                <a:cxn ang="0">
                  <a:pos x="5" y="3"/>
                </a:cxn>
                <a:cxn ang="0">
                  <a:pos x="6" y="0"/>
                </a:cxn>
                <a:cxn ang="0">
                  <a:pos x="10" y="4"/>
                </a:cxn>
                <a:cxn ang="0">
                  <a:pos x="15" y="1"/>
                </a:cxn>
                <a:cxn ang="0">
                  <a:pos x="16" y="1"/>
                </a:cxn>
                <a:cxn ang="0">
                  <a:pos x="18" y="3"/>
                </a:cxn>
                <a:cxn ang="0">
                  <a:pos x="19" y="4"/>
                </a:cxn>
                <a:cxn ang="0">
                  <a:pos x="18" y="8"/>
                </a:cxn>
                <a:cxn ang="0">
                  <a:pos x="18" y="4"/>
                </a:cxn>
                <a:cxn ang="0">
                  <a:pos x="15" y="1"/>
                </a:cxn>
              </a:cxnLst>
              <a:rect l="0" t="0" r="r" b="b"/>
              <a:pathLst>
                <a:path w="19" h="10">
                  <a:moveTo>
                    <a:pt x="15" y="1"/>
                  </a:moveTo>
                  <a:lnTo>
                    <a:pt x="15" y="3"/>
                  </a:lnTo>
                  <a:lnTo>
                    <a:pt x="15" y="5"/>
                  </a:lnTo>
                  <a:lnTo>
                    <a:pt x="15" y="7"/>
                  </a:lnTo>
                  <a:lnTo>
                    <a:pt x="15" y="10"/>
                  </a:lnTo>
                  <a:lnTo>
                    <a:pt x="8" y="10"/>
                  </a:lnTo>
                  <a:lnTo>
                    <a:pt x="0" y="5"/>
                  </a:lnTo>
                  <a:lnTo>
                    <a:pt x="0" y="3"/>
                  </a:lnTo>
                  <a:lnTo>
                    <a:pt x="2" y="3"/>
                  </a:lnTo>
                  <a:lnTo>
                    <a:pt x="2" y="4"/>
                  </a:lnTo>
                  <a:lnTo>
                    <a:pt x="3" y="5"/>
                  </a:lnTo>
                  <a:lnTo>
                    <a:pt x="3" y="3"/>
                  </a:lnTo>
                  <a:lnTo>
                    <a:pt x="5" y="3"/>
                  </a:lnTo>
                  <a:lnTo>
                    <a:pt x="6" y="0"/>
                  </a:lnTo>
                  <a:lnTo>
                    <a:pt x="10" y="4"/>
                  </a:lnTo>
                  <a:lnTo>
                    <a:pt x="15" y="1"/>
                  </a:lnTo>
                  <a:lnTo>
                    <a:pt x="16" y="1"/>
                  </a:lnTo>
                  <a:lnTo>
                    <a:pt x="18" y="3"/>
                  </a:lnTo>
                  <a:lnTo>
                    <a:pt x="19" y="4"/>
                  </a:lnTo>
                  <a:lnTo>
                    <a:pt x="18" y="8"/>
                  </a:lnTo>
                  <a:lnTo>
                    <a:pt x="18" y="4"/>
                  </a:lnTo>
                  <a:lnTo>
                    <a:pt x="15"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31" name="Freeform 644"/>
            <p:cNvSpPr>
              <a:spLocks/>
            </p:cNvSpPr>
            <p:nvPr/>
          </p:nvSpPr>
          <p:spPr bwMode="auto">
            <a:xfrm>
              <a:off x="7361935" y="1479612"/>
              <a:ext cx="17556" cy="10141"/>
            </a:xfrm>
            <a:custGeom>
              <a:avLst/>
              <a:gdLst/>
              <a:ahLst/>
              <a:cxnLst>
                <a:cxn ang="0">
                  <a:pos x="15" y="1"/>
                </a:cxn>
                <a:cxn ang="0">
                  <a:pos x="15" y="3"/>
                </a:cxn>
                <a:cxn ang="0">
                  <a:pos x="15" y="5"/>
                </a:cxn>
                <a:cxn ang="0">
                  <a:pos x="15" y="7"/>
                </a:cxn>
                <a:cxn ang="0">
                  <a:pos x="15" y="10"/>
                </a:cxn>
                <a:cxn ang="0">
                  <a:pos x="8" y="10"/>
                </a:cxn>
                <a:cxn ang="0">
                  <a:pos x="0" y="5"/>
                </a:cxn>
                <a:cxn ang="0">
                  <a:pos x="0" y="3"/>
                </a:cxn>
                <a:cxn ang="0">
                  <a:pos x="2" y="3"/>
                </a:cxn>
                <a:cxn ang="0">
                  <a:pos x="2" y="4"/>
                </a:cxn>
                <a:cxn ang="0">
                  <a:pos x="3" y="5"/>
                </a:cxn>
                <a:cxn ang="0">
                  <a:pos x="3" y="3"/>
                </a:cxn>
                <a:cxn ang="0">
                  <a:pos x="5" y="3"/>
                </a:cxn>
                <a:cxn ang="0">
                  <a:pos x="6" y="0"/>
                </a:cxn>
                <a:cxn ang="0">
                  <a:pos x="10" y="4"/>
                </a:cxn>
                <a:cxn ang="0">
                  <a:pos x="15" y="1"/>
                </a:cxn>
                <a:cxn ang="0">
                  <a:pos x="16" y="1"/>
                </a:cxn>
                <a:cxn ang="0">
                  <a:pos x="18" y="3"/>
                </a:cxn>
                <a:cxn ang="0">
                  <a:pos x="19" y="4"/>
                </a:cxn>
                <a:cxn ang="0">
                  <a:pos x="18" y="8"/>
                </a:cxn>
                <a:cxn ang="0">
                  <a:pos x="18" y="4"/>
                </a:cxn>
                <a:cxn ang="0">
                  <a:pos x="15" y="1"/>
                </a:cxn>
              </a:cxnLst>
              <a:rect l="0" t="0" r="r" b="b"/>
              <a:pathLst>
                <a:path w="19" h="10">
                  <a:moveTo>
                    <a:pt x="15" y="1"/>
                  </a:moveTo>
                  <a:lnTo>
                    <a:pt x="15" y="3"/>
                  </a:lnTo>
                  <a:lnTo>
                    <a:pt x="15" y="5"/>
                  </a:lnTo>
                  <a:lnTo>
                    <a:pt x="15" y="7"/>
                  </a:lnTo>
                  <a:lnTo>
                    <a:pt x="15" y="10"/>
                  </a:lnTo>
                  <a:lnTo>
                    <a:pt x="8" y="10"/>
                  </a:lnTo>
                  <a:lnTo>
                    <a:pt x="0" y="5"/>
                  </a:lnTo>
                  <a:lnTo>
                    <a:pt x="0" y="3"/>
                  </a:lnTo>
                  <a:lnTo>
                    <a:pt x="2" y="3"/>
                  </a:lnTo>
                  <a:lnTo>
                    <a:pt x="2" y="4"/>
                  </a:lnTo>
                  <a:lnTo>
                    <a:pt x="3" y="5"/>
                  </a:lnTo>
                  <a:lnTo>
                    <a:pt x="3" y="3"/>
                  </a:lnTo>
                  <a:lnTo>
                    <a:pt x="5" y="3"/>
                  </a:lnTo>
                  <a:lnTo>
                    <a:pt x="6" y="0"/>
                  </a:lnTo>
                  <a:lnTo>
                    <a:pt x="10" y="4"/>
                  </a:lnTo>
                  <a:lnTo>
                    <a:pt x="15" y="1"/>
                  </a:lnTo>
                  <a:lnTo>
                    <a:pt x="16" y="1"/>
                  </a:lnTo>
                  <a:lnTo>
                    <a:pt x="18" y="3"/>
                  </a:lnTo>
                  <a:lnTo>
                    <a:pt x="19" y="4"/>
                  </a:lnTo>
                  <a:lnTo>
                    <a:pt x="18" y="8"/>
                  </a:lnTo>
                  <a:lnTo>
                    <a:pt x="18" y="4"/>
                  </a:lnTo>
                  <a:lnTo>
                    <a:pt x="15"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32" name="Freeform 645"/>
            <p:cNvSpPr>
              <a:spLocks/>
            </p:cNvSpPr>
            <p:nvPr/>
          </p:nvSpPr>
          <p:spPr bwMode="auto">
            <a:xfrm>
              <a:off x="7361058" y="1424848"/>
              <a:ext cx="15800" cy="19269"/>
            </a:xfrm>
            <a:custGeom>
              <a:avLst/>
              <a:gdLst/>
              <a:ahLst/>
              <a:cxnLst>
                <a:cxn ang="0">
                  <a:pos x="16" y="9"/>
                </a:cxn>
                <a:cxn ang="0">
                  <a:pos x="16" y="11"/>
                </a:cxn>
                <a:cxn ang="0">
                  <a:pos x="11" y="16"/>
                </a:cxn>
                <a:cxn ang="0">
                  <a:pos x="7" y="19"/>
                </a:cxn>
                <a:cxn ang="0">
                  <a:pos x="7" y="18"/>
                </a:cxn>
                <a:cxn ang="0">
                  <a:pos x="7" y="16"/>
                </a:cxn>
                <a:cxn ang="0">
                  <a:pos x="9" y="16"/>
                </a:cxn>
                <a:cxn ang="0">
                  <a:pos x="10" y="13"/>
                </a:cxn>
                <a:cxn ang="0">
                  <a:pos x="10" y="13"/>
                </a:cxn>
                <a:cxn ang="0">
                  <a:pos x="6" y="16"/>
                </a:cxn>
                <a:cxn ang="0">
                  <a:pos x="0" y="16"/>
                </a:cxn>
                <a:cxn ang="0">
                  <a:pos x="0" y="15"/>
                </a:cxn>
                <a:cxn ang="0">
                  <a:pos x="4" y="11"/>
                </a:cxn>
                <a:cxn ang="0">
                  <a:pos x="6" y="9"/>
                </a:cxn>
                <a:cxn ang="0">
                  <a:pos x="11" y="6"/>
                </a:cxn>
                <a:cxn ang="0">
                  <a:pos x="16" y="0"/>
                </a:cxn>
                <a:cxn ang="0">
                  <a:pos x="17" y="5"/>
                </a:cxn>
                <a:cxn ang="0">
                  <a:pos x="16" y="9"/>
                </a:cxn>
                <a:cxn ang="0">
                  <a:pos x="16" y="11"/>
                </a:cxn>
                <a:cxn ang="0">
                  <a:pos x="16" y="9"/>
                </a:cxn>
              </a:cxnLst>
              <a:rect l="0" t="0" r="r" b="b"/>
              <a:pathLst>
                <a:path w="17" h="19">
                  <a:moveTo>
                    <a:pt x="16" y="9"/>
                  </a:moveTo>
                  <a:lnTo>
                    <a:pt x="16" y="11"/>
                  </a:lnTo>
                  <a:lnTo>
                    <a:pt x="11" y="16"/>
                  </a:lnTo>
                  <a:lnTo>
                    <a:pt x="7" y="19"/>
                  </a:lnTo>
                  <a:lnTo>
                    <a:pt x="7" y="18"/>
                  </a:lnTo>
                  <a:lnTo>
                    <a:pt x="7" y="16"/>
                  </a:lnTo>
                  <a:lnTo>
                    <a:pt x="9" y="16"/>
                  </a:lnTo>
                  <a:lnTo>
                    <a:pt x="10" y="13"/>
                  </a:lnTo>
                  <a:lnTo>
                    <a:pt x="10" y="13"/>
                  </a:lnTo>
                  <a:lnTo>
                    <a:pt x="6" y="16"/>
                  </a:lnTo>
                  <a:lnTo>
                    <a:pt x="0" y="16"/>
                  </a:lnTo>
                  <a:lnTo>
                    <a:pt x="0" y="15"/>
                  </a:lnTo>
                  <a:lnTo>
                    <a:pt x="4" y="11"/>
                  </a:lnTo>
                  <a:lnTo>
                    <a:pt x="6" y="9"/>
                  </a:lnTo>
                  <a:lnTo>
                    <a:pt x="11" y="6"/>
                  </a:lnTo>
                  <a:lnTo>
                    <a:pt x="16" y="0"/>
                  </a:lnTo>
                  <a:lnTo>
                    <a:pt x="17" y="5"/>
                  </a:lnTo>
                  <a:lnTo>
                    <a:pt x="16" y="9"/>
                  </a:lnTo>
                  <a:lnTo>
                    <a:pt x="16" y="11"/>
                  </a:lnTo>
                  <a:lnTo>
                    <a:pt x="16" y="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33" name="Freeform 646"/>
            <p:cNvSpPr>
              <a:spLocks/>
            </p:cNvSpPr>
            <p:nvPr/>
          </p:nvSpPr>
          <p:spPr bwMode="auto">
            <a:xfrm>
              <a:off x="7361058" y="1424848"/>
              <a:ext cx="15800" cy="19269"/>
            </a:xfrm>
            <a:custGeom>
              <a:avLst/>
              <a:gdLst/>
              <a:ahLst/>
              <a:cxnLst>
                <a:cxn ang="0">
                  <a:pos x="16" y="9"/>
                </a:cxn>
                <a:cxn ang="0">
                  <a:pos x="16" y="11"/>
                </a:cxn>
                <a:cxn ang="0">
                  <a:pos x="11" y="16"/>
                </a:cxn>
                <a:cxn ang="0">
                  <a:pos x="7" y="19"/>
                </a:cxn>
                <a:cxn ang="0">
                  <a:pos x="7" y="18"/>
                </a:cxn>
                <a:cxn ang="0">
                  <a:pos x="7" y="16"/>
                </a:cxn>
                <a:cxn ang="0">
                  <a:pos x="9" y="16"/>
                </a:cxn>
                <a:cxn ang="0">
                  <a:pos x="10" y="13"/>
                </a:cxn>
                <a:cxn ang="0">
                  <a:pos x="10" y="13"/>
                </a:cxn>
                <a:cxn ang="0">
                  <a:pos x="6" y="16"/>
                </a:cxn>
                <a:cxn ang="0">
                  <a:pos x="0" y="16"/>
                </a:cxn>
                <a:cxn ang="0">
                  <a:pos x="0" y="15"/>
                </a:cxn>
                <a:cxn ang="0">
                  <a:pos x="4" y="11"/>
                </a:cxn>
                <a:cxn ang="0">
                  <a:pos x="6" y="9"/>
                </a:cxn>
                <a:cxn ang="0">
                  <a:pos x="11" y="6"/>
                </a:cxn>
                <a:cxn ang="0">
                  <a:pos x="16" y="0"/>
                </a:cxn>
                <a:cxn ang="0">
                  <a:pos x="17" y="5"/>
                </a:cxn>
                <a:cxn ang="0">
                  <a:pos x="16" y="9"/>
                </a:cxn>
                <a:cxn ang="0">
                  <a:pos x="16" y="11"/>
                </a:cxn>
                <a:cxn ang="0">
                  <a:pos x="16" y="9"/>
                </a:cxn>
              </a:cxnLst>
              <a:rect l="0" t="0" r="r" b="b"/>
              <a:pathLst>
                <a:path w="17" h="19">
                  <a:moveTo>
                    <a:pt x="16" y="9"/>
                  </a:moveTo>
                  <a:lnTo>
                    <a:pt x="16" y="11"/>
                  </a:lnTo>
                  <a:lnTo>
                    <a:pt x="11" y="16"/>
                  </a:lnTo>
                  <a:lnTo>
                    <a:pt x="7" y="19"/>
                  </a:lnTo>
                  <a:lnTo>
                    <a:pt x="7" y="18"/>
                  </a:lnTo>
                  <a:lnTo>
                    <a:pt x="7" y="16"/>
                  </a:lnTo>
                  <a:lnTo>
                    <a:pt x="9" y="16"/>
                  </a:lnTo>
                  <a:lnTo>
                    <a:pt x="10" y="13"/>
                  </a:lnTo>
                  <a:lnTo>
                    <a:pt x="10" y="13"/>
                  </a:lnTo>
                  <a:lnTo>
                    <a:pt x="6" y="16"/>
                  </a:lnTo>
                  <a:lnTo>
                    <a:pt x="0" y="16"/>
                  </a:lnTo>
                  <a:lnTo>
                    <a:pt x="0" y="15"/>
                  </a:lnTo>
                  <a:lnTo>
                    <a:pt x="4" y="11"/>
                  </a:lnTo>
                  <a:lnTo>
                    <a:pt x="6" y="9"/>
                  </a:lnTo>
                  <a:lnTo>
                    <a:pt x="11" y="6"/>
                  </a:lnTo>
                  <a:lnTo>
                    <a:pt x="16" y="0"/>
                  </a:lnTo>
                  <a:lnTo>
                    <a:pt x="17" y="5"/>
                  </a:lnTo>
                  <a:lnTo>
                    <a:pt x="16" y="9"/>
                  </a:lnTo>
                  <a:lnTo>
                    <a:pt x="16" y="11"/>
                  </a:lnTo>
                  <a:lnTo>
                    <a:pt x="16" y="9"/>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34" name="Freeform 647"/>
            <p:cNvSpPr>
              <a:spLocks/>
            </p:cNvSpPr>
            <p:nvPr/>
          </p:nvSpPr>
          <p:spPr bwMode="auto">
            <a:xfrm>
              <a:off x="7573485" y="1584066"/>
              <a:ext cx="24579" cy="23326"/>
            </a:xfrm>
            <a:custGeom>
              <a:avLst/>
              <a:gdLst/>
              <a:ahLst/>
              <a:cxnLst>
                <a:cxn ang="0">
                  <a:pos x="22" y="1"/>
                </a:cxn>
                <a:cxn ang="0">
                  <a:pos x="23" y="4"/>
                </a:cxn>
                <a:cxn ang="0">
                  <a:pos x="25" y="4"/>
                </a:cxn>
                <a:cxn ang="0">
                  <a:pos x="26" y="6"/>
                </a:cxn>
                <a:cxn ang="0">
                  <a:pos x="23" y="17"/>
                </a:cxn>
                <a:cxn ang="0">
                  <a:pos x="18" y="23"/>
                </a:cxn>
                <a:cxn ang="0">
                  <a:pos x="12" y="22"/>
                </a:cxn>
                <a:cxn ang="0">
                  <a:pos x="10" y="22"/>
                </a:cxn>
                <a:cxn ang="0">
                  <a:pos x="6" y="17"/>
                </a:cxn>
                <a:cxn ang="0">
                  <a:pos x="2" y="14"/>
                </a:cxn>
                <a:cxn ang="0">
                  <a:pos x="0" y="12"/>
                </a:cxn>
                <a:cxn ang="0">
                  <a:pos x="0" y="10"/>
                </a:cxn>
                <a:cxn ang="0">
                  <a:pos x="0" y="9"/>
                </a:cxn>
                <a:cxn ang="0">
                  <a:pos x="3" y="10"/>
                </a:cxn>
                <a:cxn ang="0">
                  <a:pos x="4" y="10"/>
                </a:cxn>
                <a:cxn ang="0">
                  <a:pos x="6" y="9"/>
                </a:cxn>
                <a:cxn ang="0">
                  <a:pos x="7" y="7"/>
                </a:cxn>
                <a:cxn ang="0">
                  <a:pos x="6" y="1"/>
                </a:cxn>
                <a:cxn ang="0">
                  <a:pos x="7" y="0"/>
                </a:cxn>
                <a:cxn ang="0">
                  <a:pos x="19" y="3"/>
                </a:cxn>
                <a:cxn ang="0">
                  <a:pos x="22" y="1"/>
                </a:cxn>
              </a:cxnLst>
              <a:rect l="0" t="0" r="r" b="b"/>
              <a:pathLst>
                <a:path w="26" h="23">
                  <a:moveTo>
                    <a:pt x="22" y="1"/>
                  </a:moveTo>
                  <a:lnTo>
                    <a:pt x="23" y="4"/>
                  </a:lnTo>
                  <a:lnTo>
                    <a:pt x="25" y="4"/>
                  </a:lnTo>
                  <a:lnTo>
                    <a:pt x="26" y="6"/>
                  </a:lnTo>
                  <a:lnTo>
                    <a:pt x="23" y="17"/>
                  </a:lnTo>
                  <a:lnTo>
                    <a:pt x="18" y="23"/>
                  </a:lnTo>
                  <a:lnTo>
                    <a:pt x="12" y="22"/>
                  </a:lnTo>
                  <a:lnTo>
                    <a:pt x="10" y="22"/>
                  </a:lnTo>
                  <a:lnTo>
                    <a:pt x="6" y="17"/>
                  </a:lnTo>
                  <a:lnTo>
                    <a:pt x="2" y="14"/>
                  </a:lnTo>
                  <a:lnTo>
                    <a:pt x="0" y="12"/>
                  </a:lnTo>
                  <a:lnTo>
                    <a:pt x="0" y="10"/>
                  </a:lnTo>
                  <a:lnTo>
                    <a:pt x="0" y="9"/>
                  </a:lnTo>
                  <a:lnTo>
                    <a:pt x="3" y="10"/>
                  </a:lnTo>
                  <a:lnTo>
                    <a:pt x="4" y="10"/>
                  </a:lnTo>
                  <a:lnTo>
                    <a:pt x="6" y="9"/>
                  </a:lnTo>
                  <a:lnTo>
                    <a:pt x="7" y="7"/>
                  </a:lnTo>
                  <a:lnTo>
                    <a:pt x="6" y="1"/>
                  </a:lnTo>
                  <a:lnTo>
                    <a:pt x="7" y="0"/>
                  </a:lnTo>
                  <a:lnTo>
                    <a:pt x="19" y="3"/>
                  </a:lnTo>
                  <a:lnTo>
                    <a:pt x="22"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35" name="Freeform 648"/>
            <p:cNvSpPr>
              <a:spLocks/>
            </p:cNvSpPr>
            <p:nvPr/>
          </p:nvSpPr>
          <p:spPr bwMode="auto">
            <a:xfrm>
              <a:off x="7573485" y="1584066"/>
              <a:ext cx="24579" cy="23326"/>
            </a:xfrm>
            <a:custGeom>
              <a:avLst/>
              <a:gdLst/>
              <a:ahLst/>
              <a:cxnLst>
                <a:cxn ang="0">
                  <a:pos x="22" y="1"/>
                </a:cxn>
                <a:cxn ang="0">
                  <a:pos x="23" y="4"/>
                </a:cxn>
                <a:cxn ang="0">
                  <a:pos x="25" y="4"/>
                </a:cxn>
                <a:cxn ang="0">
                  <a:pos x="26" y="6"/>
                </a:cxn>
                <a:cxn ang="0">
                  <a:pos x="23" y="17"/>
                </a:cxn>
                <a:cxn ang="0">
                  <a:pos x="18" y="23"/>
                </a:cxn>
                <a:cxn ang="0">
                  <a:pos x="12" y="22"/>
                </a:cxn>
                <a:cxn ang="0">
                  <a:pos x="10" y="22"/>
                </a:cxn>
                <a:cxn ang="0">
                  <a:pos x="6" y="17"/>
                </a:cxn>
                <a:cxn ang="0">
                  <a:pos x="2" y="14"/>
                </a:cxn>
                <a:cxn ang="0">
                  <a:pos x="0" y="12"/>
                </a:cxn>
                <a:cxn ang="0">
                  <a:pos x="0" y="10"/>
                </a:cxn>
                <a:cxn ang="0">
                  <a:pos x="0" y="9"/>
                </a:cxn>
                <a:cxn ang="0">
                  <a:pos x="3" y="10"/>
                </a:cxn>
                <a:cxn ang="0">
                  <a:pos x="4" y="10"/>
                </a:cxn>
                <a:cxn ang="0">
                  <a:pos x="6" y="9"/>
                </a:cxn>
                <a:cxn ang="0">
                  <a:pos x="7" y="7"/>
                </a:cxn>
                <a:cxn ang="0">
                  <a:pos x="6" y="1"/>
                </a:cxn>
                <a:cxn ang="0">
                  <a:pos x="7" y="0"/>
                </a:cxn>
                <a:cxn ang="0">
                  <a:pos x="19" y="3"/>
                </a:cxn>
                <a:cxn ang="0">
                  <a:pos x="22" y="1"/>
                </a:cxn>
              </a:cxnLst>
              <a:rect l="0" t="0" r="r" b="b"/>
              <a:pathLst>
                <a:path w="26" h="23">
                  <a:moveTo>
                    <a:pt x="22" y="1"/>
                  </a:moveTo>
                  <a:lnTo>
                    <a:pt x="23" y="4"/>
                  </a:lnTo>
                  <a:lnTo>
                    <a:pt x="25" y="4"/>
                  </a:lnTo>
                  <a:lnTo>
                    <a:pt x="26" y="6"/>
                  </a:lnTo>
                  <a:lnTo>
                    <a:pt x="23" y="17"/>
                  </a:lnTo>
                  <a:lnTo>
                    <a:pt x="18" y="23"/>
                  </a:lnTo>
                  <a:lnTo>
                    <a:pt x="12" y="22"/>
                  </a:lnTo>
                  <a:lnTo>
                    <a:pt x="10" y="22"/>
                  </a:lnTo>
                  <a:lnTo>
                    <a:pt x="6" y="17"/>
                  </a:lnTo>
                  <a:lnTo>
                    <a:pt x="2" y="14"/>
                  </a:lnTo>
                  <a:lnTo>
                    <a:pt x="0" y="12"/>
                  </a:lnTo>
                  <a:lnTo>
                    <a:pt x="0" y="10"/>
                  </a:lnTo>
                  <a:lnTo>
                    <a:pt x="0" y="9"/>
                  </a:lnTo>
                  <a:lnTo>
                    <a:pt x="3" y="10"/>
                  </a:lnTo>
                  <a:lnTo>
                    <a:pt x="4" y="10"/>
                  </a:lnTo>
                  <a:lnTo>
                    <a:pt x="6" y="9"/>
                  </a:lnTo>
                  <a:lnTo>
                    <a:pt x="7" y="7"/>
                  </a:lnTo>
                  <a:lnTo>
                    <a:pt x="6" y="1"/>
                  </a:lnTo>
                  <a:lnTo>
                    <a:pt x="7" y="0"/>
                  </a:lnTo>
                  <a:lnTo>
                    <a:pt x="19" y="3"/>
                  </a:lnTo>
                  <a:lnTo>
                    <a:pt x="22"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36" name="Freeform 649"/>
            <p:cNvSpPr>
              <a:spLocks/>
            </p:cNvSpPr>
            <p:nvPr/>
          </p:nvSpPr>
          <p:spPr bwMode="auto">
            <a:xfrm>
              <a:off x="7903539" y="1734159"/>
              <a:ext cx="14922" cy="7099"/>
            </a:xfrm>
            <a:custGeom>
              <a:avLst/>
              <a:gdLst/>
              <a:ahLst/>
              <a:cxnLst>
                <a:cxn ang="0">
                  <a:pos x="4" y="0"/>
                </a:cxn>
                <a:cxn ang="0">
                  <a:pos x="7" y="1"/>
                </a:cxn>
                <a:cxn ang="0">
                  <a:pos x="8" y="1"/>
                </a:cxn>
                <a:cxn ang="0">
                  <a:pos x="8" y="0"/>
                </a:cxn>
                <a:cxn ang="0">
                  <a:pos x="17" y="1"/>
                </a:cxn>
                <a:cxn ang="0">
                  <a:pos x="17" y="3"/>
                </a:cxn>
                <a:cxn ang="0">
                  <a:pos x="14" y="7"/>
                </a:cxn>
                <a:cxn ang="0">
                  <a:pos x="13" y="6"/>
                </a:cxn>
                <a:cxn ang="0">
                  <a:pos x="10" y="7"/>
                </a:cxn>
                <a:cxn ang="0">
                  <a:pos x="0" y="3"/>
                </a:cxn>
                <a:cxn ang="0">
                  <a:pos x="0" y="1"/>
                </a:cxn>
                <a:cxn ang="0">
                  <a:pos x="3" y="1"/>
                </a:cxn>
                <a:cxn ang="0">
                  <a:pos x="4" y="0"/>
                </a:cxn>
              </a:cxnLst>
              <a:rect l="0" t="0" r="r" b="b"/>
              <a:pathLst>
                <a:path w="17" h="7">
                  <a:moveTo>
                    <a:pt x="4" y="0"/>
                  </a:moveTo>
                  <a:lnTo>
                    <a:pt x="7" y="1"/>
                  </a:lnTo>
                  <a:lnTo>
                    <a:pt x="8" y="1"/>
                  </a:lnTo>
                  <a:lnTo>
                    <a:pt x="8" y="0"/>
                  </a:lnTo>
                  <a:lnTo>
                    <a:pt x="17" y="1"/>
                  </a:lnTo>
                  <a:lnTo>
                    <a:pt x="17" y="3"/>
                  </a:lnTo>
                  <a:lnTo>
                    <a:pt x="14" y="7"/>
                  </a:lnTo>
                  <a:lnTo>
                    <a:pt x="13" y="6"/>
                  </a:lnTo>
                  <a:lnTo>
                    <a:pt x="10" y="7"/>
                  </a:lnTo>
                  <a:lnTo>
                    <a:pt x="0" y="3"/>
                  </a:lnTo>
                  <a:lnTo>
                    <a:pt x="0" y="1"/>
                  </a:lnTo>
                  <a:lnTo>
                    <a:pt x="3" y="1"/>
                  </a:lnTo>
                  <a:lnTo>
                    <a:pt x="4"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37" name="Freeform 650"/>
            <p:cNvSpPr>
              <a:spLocks/>
            </p:cNvSpPr>
            <p:nvPr/>
          </p:nvSpPr>
          <p:spPr bwMode="auto">
            <a:xfrm>
              <a:off x="7903539" y="1734159"/>
              <a:ext cx="14922" cy="7099"/>
            </a:xfrm>
            <a:custGeom>
              <a:avLst/>
              <a:gdLst/>
              <a:ahLst/>
              <a:cxnLst>
                <a:cxn ang="0">
                  <a:pos x="4" y="0"/>
                </a:cxn>
                <a:cxn ang="0">
                  <a:pos x="7" y="1"/>
                </a:cxn>
                <a:cxn ang="0">
                  <a:pos x="8" y="1"/>
                </a:cxn>
                <a:cxn ang="0">
                  <a:pos x="8" y="0"/>
                </a:cxn>
                <a:cxn ang="0">
                  <a:pos x="17" y="1"/>
                </a:cxn>
                <a:cxn ang="0">
                  <a:pos x="17" y="3"/>
                </a:cxn>
                <a:cxn ang="0">
                  <a:pos x="14" y="7"/>
                </a:cxn>
                <a:cxn ang="0">
                  <a:pos x="13" y="6"/>
                </a:cxn>
                <a:cxn ang="0">
                  <a:pos x="10" y="7"/>
                </a:cxn>
                <a:cxn ang="0">
                  <a:pos x="0" y="3"/>
                </a:cxn>
                <a:cxn ang="0">
                  <a:pos x="0" y="1"/>
                </a:cxn>
                <a:cxn ang="0">
                  <a:pos x="3" y="1"/>
                </a:cxn>
                <a:cxn ang="0">
                  <a:pos x="4" y="0"/>
                </a:cxn>
              </a:cxnLst>
              <a:rect l="0" t="0" r="r" b="b"/>
              <a:pathLst>
                <a:path w="17" h="7">
                  <a:moveTo>
                    <a:pt x="4" y="0"/>
                  </a:moveTo>
                  <a:lnTo>
                    <a:pt x="7" y="1"/>
                  </a:lnTo>
                  <a:lnTo>
                    <a:pt x="8" y="1"/>
                  </a:lnTo>
                  <a:lnTo>
                    <a:pt x="8" y="0"/>
                  </a:lnTo>
                  <a:lnTo>
                    <a:pt x="17" y="1"/>
                  </a:lnTo>
                  <a:lnTo>
                    <a:pt x="17" y="3"/>
                  </a:lnTo>
                  <a:lnTo>
                    <a:pt x="14" y="7"/>
                  </a:lnTo>
                  <a:lnTo>
                    <a:pt x="13" y="6"/>
                  </a:lnTo>
                  <a:lnTo>
                    <a:pt x="10" y="7"/>
                  </a:lnTo>
                  <a:lnTo>
                    <a:pt x="0" y="3"/>
                  </a:lnTo>
                  <a:lnTo>
                    <a:pt x="0" y="1"/>
                  </a:lnTo>
                  <a:lnTo>
                    <a:pt x="3" y="1"/>
                  </a:lnTo>
                  <a:lnTo>
                    <a:pt x="4"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38" name="Freeform 651"/>
            <p:cNvSpPr>
              <a:spLocks/>
            </p:cNvSpPr>
            <p:nvPr/>
          </p:nvSpPr>
          <p:spPr bwMode="auto">
            <a:xfrm>
              <a:off x="7917583" y="1731116"/>
              <a:ext cx="14922" cy="14198"/>
            </a:xfrm>
            <a:custGeom>
              <a:avLst/>
              <a:gdLst/>
              <a:ahLst/>
              <a:cxnLst>
                <a:cxn ang="0">
                  <a:pos x="3" y="5"/>
                </a:cxn>
                <a:cxn ang="0">
                  <a:pos x="6" y="3"/>
                </a:cxn>
                <a:cxn ang="0">
                  <a:pos x="7" y="3"/>
                </a:cxn>
                <a:cxn ang="0">
                  <a:pos x="8" y="5"/>
                </a:cxn>
                <a:cxn ang="0">
                  <a:pos x="10" y="3"/>
                </a:cxn>
                <a:cxn ang="0">
                  <a:pos x="10" y="0"/>
                </a:cxn>
                <a:cxn ang="0">
                  <a:pos x="11" y="0"/>
                </a:cxn>
                <a:cxn ang="0">
                  <a:pos x="13" y="0"/>
                </a:cxn>
                <a:cxn ang="0">
                  <a:pos x="16" y="3"/>
                </a:cxn>
                <a:cxn ang="0">
                  <a:pos x="16" y="8"/>
                </a:cxn>
                <a:cxn ang="0">
                  <a:pos x="10" y="13"/>
                </a:cxn>
                <a:cxn ang="0">
                  <a:pos x="7" y="13"/>
                </a:cxn>
                <a:cxn ang="0">
                  <a:pos x="4" y="13"/>
                </a:cxn>
                <a:cxn ang="0">
                  <a:pos x="1" y="12"/>
                </a:cxn>
                <a:cxn ang="0">
                  <a:pos x="0" y="13"/>
                </a:cxn>
                <a:cxn ang="0">
                  <a:pos x="0" y="10"/>
                </a:cxn>
                <a:cxn ang="0">
                  <a:pos x="3" y="8"/>
                </a:cxn>
                <a:cxn ang="0">
                  <a:pos x="3" y="5"/>
                </a:cxn>
                <a:cxn ang="0">
                  <a:pos x="3" y="5"/>
                </a:cxn>
              </a:cxnLst>
              <a:rect l="0" t="0" r="r" b="b"/>
              <a:pathLst>
                <a:path w="16" h="13">
                  <a:moveTo>
                    <a:pt x="3" y="5"/>
                  </a:moveTo>
                  <a:lnTo>
                    <a:pt x="6" y="3"/>
                  </a:lnTo>
                  <a:lnTo>
                    <a:pt x="7" y="3"/>
                  </a:lnTo>
                  <a:lnTo>
                    <a:pt x="8" y="5"/>
                  </a:lnTo>
                  <a:lnTo>
                    <a:pt x="10" y="3"/>
                  </a:lnTo>
                  <a:lnTo>
                    <a:pt x="10" y="0"/>
                  </a:lnTo>
                  <a:lnTo>
                    <a:pt x="11" y="0"/>
                  </a:lnTo>
                  <a:lnTo>
                    <a:pt x="13" y="0"/>
                  </a:lnTo>
                  <a:lnTo>
                    <a:pt x="16" y="3"/>
                  </a:lnTo>
                  <a:lnTo>
                    <a:pt x="16" y="8"/>
                  </a:lnTo>
                  <a:lnTo>
                    <a:pt x="10" y="13"/>
                  </a:lnTo>
                  <a:lnTo>
                    <a:pt x="7" y="13"/>
                  </a:lnTo>
                  <a:lnTo>
                    <a:pt x="4" y="13"/>
                  </a:lnTo>
                  <a:lnTo>
                    <a:pt x="1" y="12"/>
                  </a:lnTo>
                  <a:lnTo>
                    <a:pt x="0" y="13"/>
                  </a:lnTo>
                  <a:lnTo>
                    <a:pt x="0" y="10"/>
                  </a:lnTo>
                  <a:lnTo>
                    <a:pt x="3" y="8"/>
                  </a:lnTo>
                  <a:lnTo>
                    <a:pt x="3" y="5"/>
                  </a:lnTo>
                  <a:lnTo>
                    <a:pt x="3" y="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39" name="Freeform 652"/>
            <p:cNvSpPr>
              <a:spLocks/>
            </p:cNvSpPr>
            <p:nvPr/>
          </p:nvSpPr>
          <p:spPr bwMode="auto">
            <a:xfrm>
              <a:off x="7917583" y="1731116"/>
              <a:ext cx="14922" cy="14198"/>
            </a:xfrm>
            <a:custGeom>
              <a:avLst/>
              <a:gdLst/>
              <a:ahLst/>
              <a:cxnLst>
                <a:cxn ang="0">
                  <a:pos x="3" y="5"/>
                </a:cxn>
                <a:cxn ang="0">
                  <a:pos x="6" y="3"/>
                </a:cxn>
                <a:cxn ang="0">
                  <a:pos x="7" y="3"/>
                </a:cxn>
                <a:cxn ang="0">
                  <a:pos x="8" y="5"/>
                </a:cxn>
                <a:cxn ang="0">
                  <a:pos x="10" y="3"/>
                </a:cxn>
                <a:cxn ang="0">
                  <a:pos x="10" y="0"/>
                </a:cxn>
                <a:cxn ang="0">
                  <a:pos x="11" y="0"/>
                </a:cxn>
                <a:cxn ang="0">
                  <a:pos x="13" y="0"/>
                </a:cxn>
                <a:cxn ang="0">
                  <a:pos x="16" y="3"/>
                </a:cxn>
                <a:cxn ang="0">
                  <a:pos x="16" y="8"/>
                </a:cxn>
                <a:cxn ang="0">
                  <a:pos x="10" y="13"/>
                </a:cxn>
                <a:cxn ang="0">
                  <a:pos x="7" y="13"/>
                </a:cxn>
                <a:cxn ang="0">
                  <a:pos x="4" y="13"/>
                </a:cxn>
                <a:cxn ang="0">
                  <a:pos x="1" y="12"/>
                </a:cxn>
                <a:cxn ang="0">
                  <a:pos x="0" y="13"/>
                </a:cxn>
                <a:cxn ang="0">
                  <a:pos x="0" y="10"/>
                </a:cxn>
                <a:cxn ang="0">
                  <a:pos x="3" y="8"/>
                </a:cxn>
                <a:cxn ang="0">
                  <a:pos x="3" y="5"/>
                </a:cxn>
                <a:cxn ang="0">
                  <a:pos x="3" y="5"/>
                </a:cxn>
              </a:cxnLst>
              <a:rect l="0" t="0" r="r" b="b"/>
              <a:pathLst>
                <a:path w="16" h="13">
                  <a:moveTo>
                    <a:pt x="3" y="5"/>
                  </a:moveTo>
                  <a:lnTo>
                    <a:pt x="6" y="3"/>
                  </a:lnTo>
                  <a:lnTo>
                    <a:pt x="7" y="3"/>
                  </a:lnTo>
                  <a:lnTo>
                    <a:pt x="8" y="5"/>
                  </a:lnTo>
                  <a:lnTo>
                    <a:pt x="10" y="3"/>
                  </a:lnTo>
                  <a:lnTo>
                    <a:pt x="10" y="0"/>
                  </a:lnTo>
                  <a:lnTo>
                    <a:pt x="11" y="0"/>
                  </a:lnTo>
                  <a:lnTo>
                    <a:pt x="13" y="0"/>
                  </a:lnTo>
                  <a:lnTo>
                    <a:pt x="16" y="3"/>
                  </a:lnTo>
                  <a:lnTo>
                    <a:pt x="16" y="8"/>
                  </a:lnTo>
                  <a:lnTo>
                    <a:pt x="10" y="13"/>
                  </a:lnTo>
                  <a:lnTo>
                    <a:pt x="7" y="13"/>
                  </a:lnTo>
                  <a:lnTo>
                    <a:pt x="4" y="13"/>
                  </a:lnTo>
                  <a:lnTo>
                    <a:pt x="1" y="12"/>
                  </a:lnTo>
                  <a:lnTo>
                    <a:pt x="0" y="13"/>
                  </a:lnTo>
                  <a:lnTo>
                    <a:pt x="0" y="10"/>
                  </a:lnTo>
                  <a:lnTo>
                    <a:pt x="3" y="8"/>
                  </a:lnTo>
                  <a:lnTo>
                    <a:pt x="3" y="5"/>
                  </a:lnTo>
                  <a:lnTo>
                    <a:pt x="3" y="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40" name="Freeform 653"/>
            <p:cNvSpPr>
              <a:spLocks/>
            </p:cNvSpPr>
            <p:nvPr/>
          </p:nvSpPr>
          <p:spPr bwMode="auto">
            <a:xfrm>
              <a:off x="7935139" y="1689537"/>
              <a:ext cx="19312" cy="17241"/>
            </a:xfrm>
            <a:custGeom>
              <a:avLst/>
              <a:gdLst/>
              <a:ahLst/>
              <a:cxnLst>
                <a:cxn ang="0">
                  <a:pos x="11" y="1"/>
                </a:cxn>
                <a:cxn ang="0">
                  <a:pos x="14" y="3"/>
                </a:cxn>
                <a:cxn ang="0">
                  <a:pos x="21" y="1"/>
                </a:cxn>
                <a:cxn ang="0">
                  <a:pos x="21" y="1"/>
                </a:cxn>
                <a:cxn ang="0">
                  <a:pos x="20" y="10"/>
                </a:cxn>
                <a:cxn ang="0">
                  <a:pos x="18" y="11"/>
                </a:cxn>
                <a:cxn ang="0">
                  <a:pos x="17" y="7"/>
                </a:cxn>
                <a:cxn ang="0">
                  <a:pos x="16" y="13"/>
                </a:cxn>
                <a:cxn ang="0">
                  <a:pos x="13" y="13"/>
                </a:cxn>
                <a:cxn ang="0">
                  <a:pos x="11" y="10"/>
                </a:cxn>
                <a:cxn ang="0">
                  <a:pos x="8" y="13"/>
                </a:cxn>
                <a:cxn ang="0">
                  <a:pos x="4" y="13"/>
                </a:cxn>
                <a:cxn ang="0">
                  <a:pos x="4" y="14"/>
                </a:cxn>
                <a:cxn ang="0">
                  <a:pos x="2" y="16"/>
                </a:cxn>
                <a:cxn ang="0">
                  <a:pos x="0" y="11"/>
                </a:cxn>
                <a:cxn ang="0">
                  <a:pos x="1" y="10"/>
                </a:cxn>
                <a:cxn ang="0">
                  <a:pos x="2" y="10"/>
                </a:cxn>
                <a:cxn ang="0">
                  <a:pos x="1" y="7"/>
                </a:cxn>
                <a:cxn ang="0">
                  <a:pos x="2" y="5"/>
                </a:cxn>
                <a:cxn ang="0">
                  <a:pos x="4" y="5"/>
                </a:cxn>
                <a:cxn ang="0">
                  <a:pos x="4" y="3"/>
                </a:cxn>
                <a:cxn ang="0">
                  <a:pos x="4" y="1"/>
                </a:cxn>
                <a:cxn ang="0">
                  <a:pos x="5" y="0"/>
                </a:cxn>
                <a:cxn ang="0">
                  <a:pos x="10" y="0"/>
                </a:cxn>
                <a:cxn ang="0">
                  <a:pos x="11" y="1"/>
                </a:cxn>
                <a:cxn ang="0">
                  <a:pos x="11" y="1"/>
                </a:cxn>
              </a:cxnLst>
              <a:rect l="0" t="0" r="r" b="b"/>
              <a:pathLst>
                <a:path w="21" h="16">
                  <a:moveTo>
                    <a:pt x="11" y="1"/>
                  </a:moveTo>
                  <a:lnTo>
                    <a:pt x="14" y="3"/>
                  </a:lnTo>
                  <a:lnTo>
                    <a:pt x="21" y="1"/>
                  </a:lnTo>
                  <a:lnTo>
                    <a:pt x="21" y="1"/>
                  </a:lnTo>
                  <a:lnTo>
                    <a:pt x="20" y="10"/>
                  </a:lnTo>
                  <a:lnTo>
                    <a:pt x="18" y="11"/>
                  </a:lnTo>
                  <a:lnTo>
                    <a:pt x="17" y="7"/>
                  </a:lnTo>
                  <a:lnTo>
                    <a:pt x="16" y="13"/>
                  </a:lnTo>
                  <a:lnTo>
                    <a:pt x="13" y="13"/>
                  </a:lnTo>
                  <a:lnTo>
                    <a:pt x="11" y="10"/>
                  </a:lnTo>
                  <a:lnTo>
                    <a:pt x="8" y="13"/>
                  </a:lnTo>
                  <a:lnTo>
                    <a:pt x="4" y="13"/>
                  </a:lnTo>
                  <a:lnTo>
                    <a:pt x="4" y="14"/>
                  </a:lnTo>
                  <a:lnTo>
                    <a:pt x="2" y="16"/>
                  </a:lnTo>
                  <a:lnTo>
                    <a:pt x="0" y="11"/>
                  </a:lnTo>
                  <a:lnTo>
                    <a:pt x="1" y="10"/>
                  </a:lnTo>
                  <a:lnTo>
                    <a:pt x="2" y="10"/>
                  </a:lnTo>
                  <a:lnTo>
                    <a:pt x="1" y="7"/>
                  </a:lnTo>
                  <a:lnTo>
                    <a:pt x="2" y="5"/>
                  </a:lnTo>
                  <a:lnTo>
                    <a:pt x="4" y="5"/>
                  </a:lnTo>
                  <a:lnTo>
                    <a:pt x="4" y="3"/>
                  </a:lnTo>
                  <a:lnTo>
                    <a:pt x="4" y="1"/>
                  </a:lnTo>
                  <a:lnTo>
                    <a:pt x="5" y="0"/>
                  </a:lnTo>
                  <a:lnTo>
                    <a:pt x="10" y="0"/>
                  </a:lnTo>
                  <a:lnTo>
                    <a:pt x="11" y="1"/>
                  </a:lnTo>
                  <a:lnTo>
                    <a:pt x="11"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41" name="Freeform 654"/>
            <p:cNvSpPr>
              <a:spLocks/>
            </p:cNvSpPr>
            <p:nvPr/>
          </p:nvSpPr>
          <p:spPr bwMode="auto">
            <a:xfrm>
              <a:off x="7935139" y="1689537"/>
              <a:ext cx="19312" cy="17241"/>
            </a:xfrm>
            <a:custGeom>
              <a:avLst/>
              <a:gdLst/>
              <a:ahLst/>
              <a:cxnLst>
                <a:cxn ang="0">
                  <a:pos x="11" y="1"/>
                </a:cxn>
                <a:cxn ang="0">
                  <a:pos x="14" y="3"/>
                </a:cxn>
                <a:cxn ang="0">
                  <a:pos x="21" y="1"/>
                </a:cxn>
                <a:cxn ang="0">
                  <a:pos x="21" y="1"/>
                </a:cxn>
                <a:cxn ang="0">
                  <a:pos x="20" y="10"/>
                </a:cxn>
                <a:cxn ang="0">
                  <a:pos x="18" y="11"/>
                </a:cxn>
                <a:cxn ang="0">
                  <a:pos x="17" y="7"/>
                </a:cxn>
                <a:cxn ang="0">
                  <a:pos x="16" y="13"/>
                </a:cxn>
                <a:cxn ang="0">
                  <a:pos x="13" y="13"/>
                </a:cxn>
                <a:cxn ang="0">
                  <a:pos x="11" y="10"/>
                </a:cxn>
                <a:cxn ang="0">
                  <a:pos x="8" y="13"/>
                </a:cxn>
                <a:cxn ang="0">
                  <a:pos x="4" y="13"/>
                </a:cxn>
                <a:cxn ang="0">
                  <a:pos x="4" y="14"/>
                </a:cxn>
                <a:cxn ang="0">
                  <a:pos x="2" y="16"/>
                </a:cxn>
                <a:cxn ang="0">
                  <a:pos x="0" y="11"/>
                </a:cxn>
                <a:cxn ang="0">
                  <a:pos x="1" y="10"/>
                </a:cxn>
                <a:cxn ang="0">
                  <a:pos x="2" y="10"/>
                </a:cxn>
                <a:cxn ang="0">
                  <a:pos x="1" y="7"/>
                </a:cxn>
                <a:cxn ang="0">
                  <a:pos x="2" y="5"/>
                </a:cxn>
                <a:cxn ang="0">
                  <a:pos x="4" y="5"/>
                </a:cxn>
                <a:cxn ang="0">
                  <a:pos x="4" y="3"/>
                </a:cxn>
                <a:cxn ang="0">
                  <a:pos x="4" y="1"/>
                </a:cxn>
                <a:cxn ang="0">
                  <a:pos x="5" y="0"/>
                </a:cxn>
                <a:cxn ang="0">
                  <a:pos x="10" y="0"/>
                </a:cxn>
                <a:cxn ang="0">
                  <a:pos x="11" y="1"/>
                </a:cxn>
                <a:cxn ang="0">
                  <a:pos x="11" y="1"/>
                </a:cxn>
              </a:cxnLst>
              <a:rect l="0" t="0" r="r" b="b"/>
              <a:pathLst>
                <a:path w="21" h="16">
                  <a:moveTo>
                    <a:pt x="11" y="1"/>
                  </a:moveTo>
                  <a:lnTo>
                    <a:pt x="14" y="3"/>
                  </a:lnTo>
                  <a:lnTo>
                    <a:pt x="21" y="1"/>
                  </a:lnTo>
                  <a:lnTo>
                    <a:pt x="21" y="1"/>
                  </a:lnTo>
                  <a:lnTo>
                    <a:pt x="20" y="10"/>
                  </a:lnTo>
                  <a:lnTo>
                    <a:pt x="18" y="11"/>
                  </a:lnTo>
                  <a:lnTo>
                    <a:pt x="17" y="7"/>
                  </a:lnTo>
                  <a:lnTo>
                    <a:pt x="16" y="13"/>
                  </a:lnTo>
                  <a:lnTo>
                    <a:pt x="13" y="13"/>
                  </a:lnTo>
                  <a:lnTo>
                    <a:pt x="11" y="10"/>
                  </a:lnTo>
                  <a:lnTo>
                    <a:pt x="8" y="13"/>
                  </a:lnTo>
                  <a:lnTo>
                    <a:pt x="4" y="13"/>
                  </a:lnTo>
                  <a:lnTo>
                    <a:pt x="4" y="14"/>
                  </a:lnTo>
                  <a:lnTo>
                    <a:pt x="2" y="16"/>
                  </a:lnTo>
                  <a:lnTo>
                    <a:pt x="0" y="11"/>
                  </a:lnTo>
                  <a:lnTo>
                    <a:pt x="1" y="10"/>
                  </a:lnTo>
                  <a:lnTo>
                    <a:pt x="2" y="10"/>
                  </a:lnTo>
                  <a:lnTo>
                    <a:pt x="1" y="7"/>
                  </a:lnTo>
                  <a:lnTo>
                    <a:pt x="2" y="5"/>
                  </a:lnTo>
                  <a:lnTo>
                    <a:pt x="4" y="5"/>
                  </a:lnTo>
                  <a:lnTo>
                    <a:pt x="4" y="3"/>
                  </a:lnTo>
                  <a:lnTo>
                    <a:pt x="4" y="1"/>
                  </a:lnTo>
                  <a:lnTo>
                    <a:pt x="5" y="0"/>
                  </a:lnTo>
                  <a:lnTo>
                    <a:pt x="10" y="0"/>
                  </a:lnTo>
                  <a:lnTo>
                    <a:pt x="11" y="1"/>
                  </a:lnTo>
                  <a:lnTo>
                    <a:pt x="11"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42" name="Freeform 655"/>
            <p:cNvSpPr>
              <a:spLocks/>
            </p:cNvSpPr>
            <p:nvPr/>
          </p:nvSpPr>
          <p:spPr bwMode="auto">
            <a:xfrm>
              <a:off x="8309082" y="1804134"/>
              <a:ext cx="19312" cy="21296"/>
            </a:xfrm>
            <a:custGeom>
              <a:avLst/>
              <a:gdLst/>
              <a:ahLst/>
              <a:cxnLst>
                <a:cxn ang="0">
                  <a:pos x="2" y="2"/>
                </a:cxn>
                <a:cxn ang="0">
                  <a:pos x="5" y="0"/>
                </a:cxn>
                <a:cxn ang="0">
                  <a:pos x="8" y="0"/>
                </a:cxn>
                <a:cxn ang="0">
                  <a:pos x="20" y="7"/>
                </a:cxn>
                <a:cxn ang="0">
                  <a:pos x="21" y="10"/>
                </a:cxn>
                <a:cxn ang="0">
                  <a:pos x="21" y="12"/>
                </a:cxn>
                <a:cxn ang="0">
                  <a:pos x="20" y="13"/>
                </a:cxn>
                <a:cxn ang="0">
                  <a:pos x="18" y="19"/>
                </a:cxn>
                <a:cxn ang="0">
                  <a:pos x="17" y="20"/>
                </a:cxn>
                <a:cxn ang="0">
                  <a:pos x="10" y="18"/>
                </a:cxn>
                <a:cxn ang="0">
                  <a:pos x="7" y="15"/>
                </a:cxn>
                <a:cxn ang="0">
                  <a:pos x="5" y="13"/>
                </a:cxn>
                <a:cxn ang="0">
                  <a:pos x="4" y="10"/>
                </a:cxn>
                <a:cxn ang="0">
                  <a:pos x="1" y="9"/>
                </a:cxn>
                <a:cxn ang="0">
                  <a:pos x="0" y="6"/>
                </a:cxn>
                <a:cxn ang="0">
                  <a:pos x="0" y="3"/>
                </a:cxn>
                <a:cxn ang="0">
                  <a:pos x="2" y="2"/>
                </a:cxn>
              </a:cxnLst>
              <a:rect l="0" t="0" r="r" b="b"/>
              <a:pathLst>
                <a:path w="21" h="20">
                  <a:moveTo>
                    <a:pt x="2" y="2"/>
                  </a:moveTo>
                  <a:lnTo>
                    <a:pt x="5" y="0"/>
                  </a:lnTo>
                  <a:lnTo>
                    <a:pt x="8" y="0"/>
                  </a:lnTo>
                  <a:lnTo>
                    <a:pt x="20" y="7"/>
                  </a:lnTo>
                  <a:lnTo>
                    <a:pt x="21" y="10"/>
                  </a:lnTo>
                  <a:lnTo>
                    <a:pt x="21" y="12"/>
                  </a:lnTo>
                  <a:lnTo>
                    <a:pt x="20" y="13"/>
                  </a:lnTo>
                  <a:lnTo>
                    <a:pt x="18" y="19"/>
                  </a:lnTo>
                  <a:lnTo>
                    <a:pt x="17" y="20"/>
                  </a:lnTo>
                  <a:lnTo>
                    <a:pt x="10" y="18"/>
                  </a:lnTo>
                  <a:lnTo>
                    <a:pt x="7" y="15"/>
                  </a:lnTo>
                  <a:lnTo>
                    <a:pt x="5" y="13"/>
                  </a:lnTo>
                  <a:lnTo>
                    <a:pt x="4" y="10"/>
                  </a:lnTo>
                  <a:lnTo>
                    <a:pt x="1" y="9"/>
                  </a:lnTo>
                  <a:lnTo>
                    <a:pt x="0" y="6"/>
                  </a:lnTo>
                  <a:lnTo>
                    <a:pt x="0" y="3"/>
                  </a:lnTo>
                  <a:lnTo>
                    <a:pt x="2"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43" name="Freeform 656"/>
            <p:cNvSpPr>
              <a:spLocks/>
            </p:cNvSpPr>
            <p:nvPr/>
          </p:nvSpPr>
          <p:spPr bwMode="auto">
            <a:xfrm>
              <a:off x="8309082" y="1804134"/>
              <a:ext cx="19312" cy="21296"/>
            </a:xfrm>
            <a:custGeom>
              <a:avLst/>
              <a:gdLst/>
              <a:ahLst/>
              <a:cxnLst>
                <a:cxn ang="0">
                  <a:pos x="2" y="2"/>
                </a:cxn>
                <a:cxn ang="0">
                  <a:pos x="5" y="0"/>
                </a:cxn>
                <a:cxn ang="0">
                  <a:pos x="8" y="0"/>
                </a:cxn>
                <a:cxn ang="0">
                  <a:pos x="20" y="7"/>
                </a:cxn>
                <a:cxn ang="0">
                  <a:pos x="21" y="10"/>
                </a:cxn>
                <a:cxn ang="0">
                  <a:pos x="21" y="12"/>
                </a:cxn>
                <a:cxn ang="0">
                  <a:pos x="20" y="13"/>
                </a:cxn>
                <a:cxn ang="0">
                  <a:pos x="18" y="19"/>
                </a:cxn>
                <a:cxn ang="0">
                  <a:pos x="17" y="20"/>
                </a:cxn>
                <a:cxn ang="0">
                  <a:pos x="10" y="18"/>
                </a:cxn>
                <a:cxn ang="0">
                  <a:pos x="7" y="15"/>
                </a:cxn>
                <a:cxn ang="0">
                  <a:pos x="5" y="13"/>
                </a:cxn>
                <a:cxn ang="0">
                  <a:pos x="4" y="10"/>
                </a:cxn>
                <a:cxn ang="0">
                  <a:pos x="1" y="9"/>
                </a:cxn>
                <a:cxn ang="0">
                  <a:pos x="0" y="6"/>
                </a:cxn>
                <a:cxn ang="0">
                  <a:pos x="0" y="3"/>
                </a:cxn>
                <a:cxn ang="0">
                  <a:pos x="2" y="2"/>
                </a:cxn>
              </a:cxnLst>
              <a:rect l="0" t="0" r="r" b="b"/>
              <a:pathLst>
                <a:path w="21" h="20">
                  <a:moveTo>
                    <a:pt x="2" y="2"/>
                  </a:moveTo>
                  <a:lnTo>
                    <a:pt x="5" y="0"/>
                  </a:lnTo>
                  <a:lnTo>
                    <a:pt x="8" y="0"/>
                  </a:lnTo>
                  <a:lnTo>
                    <a:pt x="20" y="7"/>
                  </a:lnTo>
                  <a:lnTo>
                    <a:pt x="21" y="10"/>
                  </a:lnTo>
                  <a:lnTo>
                    <a:pt x="21" y="12"/>
                  </a:lnTo>
                  <a:lnTo>
                    <a:pt x="20" y="13"/>
                  </a:lnTo>
                  <a:lnTo>
                    <a:pt x="18" y="19"/>
                  </a:lnTo>
                  <a:lnTo>
                    <a:pt x="17" y="20"/>
                  </a:lnTo>
                  <a:lnTo>
                    <a:pt x="10" y="18"/>
                  </a:lnTo>
                  <a:lnTo>
                    <a:pt x="7" y="15"/>
                  </a:lnTo>
                  <a:lnTo>
                    <a:pt x="5" y="13"/>
                  </a:lnTo>
                  <a:lnTo>
                    <a:pt x="4" y="10"/>
                  </a:lnTo>
                  <a:lnTo>
                    <a:pt x="1" y="9"/>
                  </a:lnTo>
                  <a:lnTo>
                    <a:pt x="0" y="6"/>
                  </a:lnTo>
                  <a:lnTo>
                    <a:pt x="0" y="3"/>
                  </a:lnTo>
                  <a:lnTo>
                    <a:pt x="2"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44" name="Freeform 657"/>
            <p:cNvSpPr>
              <a:spLocks/>
            </p:cNvSpPr>
            <p:nvPr/>
          </p:nvSpPr>
          <p:spPr bwMode="auto">
            <a:xfrm>
              <a:off x="6746597" y="1827458"/>
              <a:ext cx="28967" cy="33467"/>
            </a:xfrm>
            <a:custGeom>
              <a:avLst/>
              <a:gdLst/>
              <a:ahLst/>
              <a:cxnLst>
                <a:cxn ang="0">
                  <a:pos x="8" y="1"/>
                </a:cxn>
                <a:cxn ang="0">
                  <a:pos x="9" y="1"/>
                </a:cxn>
                <a:cxn ang="0">
                  <a:pos x="9" y="0"/>
                </a:cxn>
                <a:cxn ang="0">
                  <a:pos x="11" y="1"/>
                </a:cxn>
                <a:cxn ang="0">
                  <a:pos x="14" y="0"/>
                </a:cxn>
                <a:cxn ang="0">
                  <a:pos x="15" y="0"/>
                </a:cxn>
                <a:cxn ang="0">
                  <a:pos x="25" y="9"/>
                </a:cxn>
                <a:cxn ang="0">
                  <a:pos x="27" y="13"/>
                </a:cxn>
                <a:cxn ang="0">
                  <a:pos x="28" y="13"/>
                </a:cxn>
                <a:cxn ang="0">
                  <a:pos x="28" y="9"/>
                </a:cxn>
                <a:cxn ang="0">
                  <a:pos x="31" y="16"/>
                </a:cxn>
                <a:cxn ang="0">
                  <a:pos x="31" y="20"/>
                </a:cxn>
                <a:cxn ang="0">
                  <a:pos x="30" y="16"/>
                </a:cxn>
                <a:cxn ang="0">
                  <a:pos x="21" y="27"/>
                </a:cxn>
                <a:cxn ang="0">
                  <a:pos x="18" y="29"/>
                </a:cxn>
                <a:cxn ang="0">
                  <a:pos x="15" y="29"/>
                </a:cxn>
                <a:cxn ang="0">
                  <a:pos x="14" y="32"/>
                </a:cxn>
                <a:cxn ang="0">
                  <a:pos x="11" y="32"/>
                </a:cxn>
                <a:cxn ang="0">
                  <a:pos x="9" y="30"/>
                </a:cxn>
                <a:cxn ang="0">
                  <a:pos x="8" y="32"/>
                </a:cxn>
                <a:cxn ang="0">
                  <a:pos x="6" y="30"/>
                </a:cxn>
                <a:cxn ang="0">
                  <a:pos x="5" y="27"/>
                </a:cxn>
                <a:cxn ang="0">
                  <a:pos x="3" y="27"/>
                </a:cxn>
                <a:cxn ang="0">
                  <a:pos x="2" y="30"/>
                </a:cxn>
                <a:cxn ang="0">
                  <a:pos x="3" y="32"/>
                </a:cxn>
                <a:cxn ang="0">
                  <a:pos x="0" y="26"/>
                </a:cxn>
                <a:cxn ang="0">
                  <a:pos x="2" y="14"/>
                </a:cxn>
                <a:cxn ang="0">
                  <a:pos x="8" y="1"/>
                </a:cxn>
              </a:cxnLst>
              <a:rect l="0" t="0" r="r" b="b"/>
              <a:pathLst>
                <a:path w="31" h="32">
                  <a:moveTo>
                    <a:pt x="8" y="1"/>
                  </a:moveTo>
                  <a:lnTo>
                    <a:pt x="9" y="1"/>
                  </a:lnTo>
                  <a:lnTo>
                    <a:pt x="9" y="0"/>
                  </a:lnTo>
                  <a:lnTo>
                    <a:pt x="11" y="1"/>
                  </a:lnTo>
                  <a:lnTo>
                    <a:pt x="14" y="0"/>
                  </a:lnTo>
                  <a:lnTo>
                    <a:pt x="15" y="0"/>
                  </a:lnTo>
                  <a:lnTo>
                    <a:pt x="25" y="9"/>
                  </a:lnTo>
                  <a:lnTo>
                    <a:pt x="27" y="13"/>
                  </a:lnTo>
                  <a:lnTo>
                    <a:pt x="28" y="13"/>
                  </a:lnTo>
                  <a:lnTo>
                    <a:pt x="28" y="9"/>
                  </a:lnTo>
                  <a:lnTo>
                    <a:pt x="31" y="16"/>
                  </a:lnTo>
                  <a:lnTo>
                    <a:pt x="31" y="20"/>
                  </a:lnTo>
                  <a:lnTo>
                    <a:pt x="30" y="16"/>
                  </a:lnTo>
                  <a:lnTo>
                    <a:pt x="21" y="27"/>
                  </a:lnTo>
                  <a:lnTo>
                    <a:pt x="18" y="29"/>
                  </a:lnTo>
                  <a:lnTo>
                    <a:pt x="15" y="29"/>
                  </a:lnTo>
                  <a:lnTo>
                    <a:pt x="14" y="32"/>
                  </a:lnTo>
                  <a:lnTo>
                    <a:pt x="11" y="32"/>
                  </a:lnTo>
                  <a:lnTo>
                    <a:pt x="9" y="30"/>
                  </a:lnTo>
                  <a:lnTo>
                    <a:pt x="8" y="32"/>
                  </a:lnTo>
                  <a:lnTo>
                    <a:pt x="6" y="30"/>
                  </a:lnTo>
                  <a:lnTo>
                    <a:pt x="5" y="27"/>
                  </a:lnTo>
                  <a:lnTo>
                    <a:pt x="3" y="27"/>
                  </a:lnTo>
                  <a:lnTo>
                    <a:pt x="2" y="30"/>
                  </a:lnTo>
                  <a:lnTo>
                    <a:pt x="3" y="32"/>
                  </a:lnTo>
                  <a:lnTo>
                    <a:pt x="0" y="26"/>
                  </a:lnTo>
                  <a:lnTo>
                    <a:pt x="2" y="14"/>
                  </a:lnTo>
                  <a:lnTo>
                    <a:pt x="8"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45" name="Freeform 658"/>
            <p:cNvSpPr>
              <a:spLocks/>
            </p:cNvSpPr>
            <p:nvPr/>
          </p:nvSpPr>
          <p:spPr bwMode="auto">
            <a:xfrm>
              <a:off x="6746597" y="1827458"/>
              <a:ext cx="28967" cy="33467"/>
            </a:xfrm>
            <a:custGeom>
              <a:avLst/>
              <a:gdLst/>
              <a:ahLst/>
              <a:cxnLst>
                <a:cxn ang="0">
                  <a:pos x="8" y="1"/>
                </a:cxn>
                <a:cxn ang="0">
                  <a:pos x="9" y="1"/>
                </a:cxn>
                <a:cxn ang="0">
                  <a:pos x="9" y="0"/>
                </a:cxn>
                <a:cxn ang="0">
                  <a:pos x="11" y="1"/>
                </a:cxn>
                <a:cxn ang="0">
                  <a:pos x="14" y="0"/>
                </a:cxn>
                <a:cxn ang="0">
                  <a:pos x="15" y="0"/>
                </a:cxn>
                <a:cxn ang="0">
                  <a:pos x="25" y="9"/>
                </a:cxn>
                <a:cxn ang="0">
                  <a:pos x="27" y="13"/>
                </a:cxn>
                <a:cxn ang="0">
                  <a:pos x="28" y="13"/>
                </a:cxn>
                <a:cxn ang="0">
                  <a:pos x="28" y="9"/>
                </a:cxn>
                <a:cxn ang="0">
                  <a:pos x="31" y="16"/>
                </a:cxn>
                <a:cxn ang="0">
                  <a:pos x="31" y="20"/>
                </a:cxn>
                <a:cxn ang="0">
                  <a:pos x="30" y="16"/>
                </a:cxn>
                <a:cxn ang="0">
                  <a:pos x="21" y="27"/>
                </a:cxn>
                <a:cxn ang="0">
                  <a:pos x="18" y="29"/>
                </a:cxn>
                <a:cxn ang="0">
                  <a:pos x="15" y="29"/>
                </a:cxn>
                <a:cxn ang="0">
                  <a:pos x="14" y="32"/>
                </a:cxn>
                <a:cxn ang="0">
                  <a:pos x="11" y="32"/>
                </a:cxn>
                <a:cxn ang="0">
                  <a:pos x="9" y="30"/>
                </a:cxn>
                <a:cxn ang="0">
                  <a:pos x="8" y="32"/>
                </a:cxn>
                <a:cxn ang="0">
                  <a:pos x="6" y="30"/>
                </a:cxn>
                <a:cxn ang="0">
                  <a:pos x="5" y="27"/>
                </a:cxn>
                <a:cxn ang="0">
                  <a:pos x="3" y="27"/>
                </a:cxn>
                <a:cxn ang="0">
                  <a:pos x="2" y="30"/>
                </a:cxn>
                <a:cxn ang="0">
                  <a:pos x="3" y="32"/>
                </a:cxn>
                <a:cxn ang="0">
                  <a:pos x="0" y="26"/>
                </a:cxn>
                <a:cxn ang="0">
                  <a:pos x="2" y="14"/>
                </a:cxn>
                <a:cxn ang="0">
                  <a:pos x="8" y="1"/>
                </a:cxn>
              </a:cxnLst>
              <a:rect l="0" t="0" r="r" b="b"/>
              <a:pathLst>
                <a:path w="31" h="32">
                  <a:moveTo>
                    <a:pt x="8" y="1"/>
                  </a:moveTo>
                  <a:lnTo>
                    <a:pt x="9" y="1"/>
                  </a:lnTo>
                  <a:lnTo>
                    <a:pt x="9" y="0"/>
                  </a:lnTo>
                  <a:lnTo>
                    <a:pt x="11" y="1"/>
                  </a:lnTo>
                  <a:lnTo>
                    <a:pt x="14" y="0"/>
                  </a:lnTo>
                  <a:lnTo>
                    <a:pt x="15" y="0"/>
                  </a:lnTo>
                  <a:lnTo>
                    <a:pt x="25" y="9"/>
                  </a:lnTo>
                  <a:lnTo>
                    <a:pt x="27" y="13"/>
                  </a:lnTo>
                  <a:lnTo>
                    <a:pt x="28" y="13"/>
                  </a:lnTo>
                  <a:lnTo>
                    <a:pt x="28" y="9"/>
                  </a:lnTo>
                  <a:lnTo>
                    <a:pt x="31" y="16"/>
                  </a:lnTo>
                  <a:lnTo>
                    <a:pt x="31" y="20"/>
                  </a:lnTo>
                  <a:lnTo>
                    <a:pt x="30" y="16"/>
                  </a:lnTo>
                  <a:lnTo>
                    <a:pt x="21" y="27"/>
                  </a:lnTo>
                  <a:lnTo>
                    <a:pt x="18" y="29"/>
                  </a:lnTo>
                  <a:lnTo>
                    <a:pt x="15" y="29"/>
                  </a:lnTo>
                  <a:lnTo>
                    <a:pt x="14" y="32"/>
                  </a:lnTo>
                  <a:lnTo>
                    <a:pt x="11" y="32"/>
                  </a:lnTo>
                  <a:lnTo>
                    <a:pt x="9" y="30"/>
                  </a:lnTo>
                  <a:lnTo>
                    <a:pt x="8" y="32"/>
                  </a:lnTo>
                  <a:lnTo>
                    <a:pt x="6" y="30"/>
                  </a:lnTo>
                  <a:lnTo>
                    <a:pt x="5" y="27"/>
                  </a:lnTo>
                  <a:lnTo>
                    <a:pt x="3" y="27"/>
                  </a:lnTo>
                  <a:lnTo>
                    <a:pt x="2" y="30"/>
                  </a:lnTo>
                  <a:lnTo>
                    <a:pt x="3" y="32"/>
                  </a:lnTo>
                  <a:lnTo>
                    <a:pt x="0" y="26"/>
                  </a:lnTo>
                  <a:lnTo>
                    <a:pt x="2" y="14"/>
                  </a:lnTo>
                  <a:lnTo>
                    <a:pt x="8"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46" name="Freeform 659"/>
            <p:cNvSpPr>
              <a:spLocks/>
            </p:cNvSpPr>
            <p:nvPr/>
          </p:nvSpPr>
          <p:spPr bwMode="auto">
            <a:xfrm>
              <a:off x="6883534" y="1786892"/>
              <a:ext cx="26334" cy="33467"/>
            </a:xfrm>
            <a:custGeom>
              <a:avLst/>
              <a:gdLst/>
              <a:ahLst/>
              <a:cxnLst>
                <a:cxn ang="0">
                  <a:pos x="2" y="20"/>
                </a:cxn>
                <a:cxn ang="0">
                  <a:pos x="2" y="20"/>
                </a:cxn>
                <a:cxn ang="0">
                  <a:pos x="1" y="14"/>
                </a:cxn>
                <a:cxn ang="0">
                  <a:pos x="1" y="13"/>
                </a:cxn>
                <a:cxn ang="0">
                  <a:pos x="0" y="11"/>
                </a:cxn>
                <a:cxn ang="0">
                  <a:pos x="0" y="10"/>
                </a:cxn>
                <a:cxn ang="0">
                  <a:pos x="1" y="10"/>
                </a:cxn>
                <a:cxn ang="0">
                  <a:pos x="4" y="10"/>
                </a:cxn>
                <a:cxn ang="0">
                  <a:pos x="1" y="7"/>
                </a:cxn>
                <a:cxn ang="0">
                  <a:pos x="1" y="5"/>
                </a:cxn>
                <a:cxn ang="0">
                  <a:pos x="4" y="1"/>
                </a:cxn>
                <a:cxn ang="0">
                  <a:pos x="7" y="0"/>
                </a:cxn>
                <a:cxn ang="0">
                  <a:pos x="8" y="4"/>
                </a:cxn>
                <a:cxn ang="0">
                  <a:pos x="11" y="5"/>
                </a:cxn>
                <a:cxn ang="0">
                  <a:pos x="13" y="10"/>
                </a:cxn>
                <a:cxn ang="0">
                  <a:pos x="17" y="11"/>
                </a:cxn>
                <a:cxn ang="0">
                  <a:pos x="27" y="26"/>
                </a:cxn>
                <a:cxn ang="0">
                  <a:pos x="29" y="29"/>
                </a:cxn>
                <a:cxn ang="0">
                  <a:pos x="26" y="32"/>
                </a:cxn>
                <a:cxn ang="0">
                  <a:pos x="24" y="30"/>
                </a:cxn>
                <a:cxn ang="0">
                  <a:pos x="23" y="30"/>
                </a:cxn>
                <a:cxn ang="0">
                  <a:pos x="21" y="32"/>
                </a:cxn>
                <a:cxn ang="0">
                  <a:pos x="18" y="32"/>
                </a:cxn>
                <a:cxn ang="0">
                  <a:pos x="16" y="29"/>
                </a:cxn>
                <a:cxn ang="0">
                  <a:pos x="16" y="27"/>
                </a:cxn>
                <a:cxn ang="0">
                  <a:pos x="13" y="24"/>
                </a:cxn>
                <a:cxn ang="0">
                  <a:pos x="11" y="24"/>
                </a:cxn>
                <a:cxn ang="0">
                  <a:pos x="5" y="21"/>
                </a:cxn>
                <a:cxn ang="0">
                  <a:pos x="10" y="27"/>
                </a:cxn>
                <a:cxn ang="0">
                  <a:pos x="8" y="29"/>
                </a:cxn>
                <a:cxn ang="0">
                  <a:pos x="2" y="20"/>
                </a:cxn>
              </a:cxnLst>
              <a:rect l="0" t="0" r="r" b="b"/>
              <a:pathLst>
                <a:path w="29" h="32">
                  <a:moveTo>
                    <a:pt x="2" y="20"/>
                  </a:moveTo>
                  <a:lnTo>
                    <a:pt x="2" y="20"/>
                  </a:lnTo>
                  <a:lnTo>
                    <a:pt x="1" y="14"/>
                  </a:lnTo>
                  <a:lnTo>
                    <a:pt x="1" y="13"/>
                  </a:lnTo>
                  <a:lnTo>
                    <a:pt x="0" y="11"/>
                  </a:lnTo>
                  <a:lnTo>
                    <a:pt x="0" y="10"/>
                  </a:lnTo>
                  <a:lnTo>
                    <a:pt x="1" y="10"/>
                  </a:lnTo>
                  <a:lnTo>
                    <a:pt x="4" y="10"/>
                  </a:lnTo>
                  <a:lnTo>
                    <a:pt x="1" y="7"/>
                  </a:lnTo>
                  <a:lnTo>
                    <a:pt x="1" y="5"/>
                  </a:lnTo>
                  <a:lnTo>
                    <a:pt x="4" y="1"/>
                  </a:lnTo>
                  <a:lnTo>
                    <a:pt x="7" y="0"/>
                  </a:lnTo>
                  <a:lnTo>
                    <a:pt x="8" y="4"/>
                  </a:lnTo>
                  <a:lnTo>
                    <a:pt x="11" y="5"/>
                  </a:lnTo>
                  <a:lnTo>
                    <a:pt x="13" y="10"/>
                  </a:lnTo>
                  <a:lnTo>
                    <a:pt x="17" y="11"/>
                  </a:lnTo>
                  <a:lnTo>
                    <a:pt x="27" y="26"/>
                  </a:lnTo>
                  <a:lnTo>
                    <a:pt x="29" y="29"/>
                  </a:lnTo>
                  <a:lnTo>
                    <a:pt x="26" y="32"/>
                  </a:lnTo>
                  <a:lnTo>
                    <a:pt x="24" y="30"/>
                  </a:lnTo>
                  <a:lnTo>
                    <a:pt x="23" y="30"/>
                  </a:lnTo>
                  <a:lnTo>
                    <a:pt x="21" y="32"/>
                  </a:lnTo>
                  <a:lnTo>
                    <a:pt x="18" y="32"/>
                  </a:lnTo>
                  <a:lnTo>
                    <a:pt x="16" y="29"/>
                  </a:lnTo>
                  <a:lnTo>
                    <a:pt x="16" y="27"/>
                  </a:lnTo>
                  <a:lnTo>
                    <a:pt x="13" y="24"/>
                  </a:lnTo>
                  <a:lnTo>
                    <a:pt x="11" y="24"/>
                  </a:lnTo>
                  <a:lnTo>
                    <a:pt x="5" y="21"/>
                  </a:lnTo>
                  <a:lnTo>
                    <a:pt x="10" y="27"/>
                  </a:lnTo>
                  <a:lnTo>
                    <a:pt x="8" y="29"/>
                  </a:lnTo>
                  <a:lnTo>
                    <a:pt x="2" y="2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47" name="Freeform 660"/>
            <p:cNvSpPr>
              <a:spLocks/>
            </p:cNvSpPr>
            <p:nvPr/>
          </p:nvSpPr>
          <p:spPr bwMode="auto">
            <a:xfrm>
              <a:off x="6883534" y="1786892"/>
              <a:ext cx="26334" cy="33467"/>
            </a:xfrm>
            <a:custGeom>
              <a:avLst/>
              <a:gdLst/>
              <a:ahLst/>
              <a:cxnLst>
                <a:cxn ang="0">
                  <a:pos x="2" y="20"/>
                </a:cxn>
                <a:cxn ang="0">
                  <a:pos x="2" y="20"/>
                </a:cxn>
                <a:cxn ang="0">
                  <a:pos x="1" y="14"/>
                </a:cxn>
                <a:cxn ang="0">
                  <a:pos x="1" y="13"/>
                </a:cxn>
                <a:cxn ang="0">
                  <a:pos x="0" y="11"/>
                </a:cxn>
                <a:cxn ang="0">
                  <a:pos x="0" y="10"/>
                </a:cxn>
                <a:cxn ang="0">
                  <a:pos x="1" y="10"/>
                </a:cxn>
                <a:cxn ang="0">
                  <a:pos x="4" y="10"/>
                </a:cxn>
                <a:cxn ang="0">
                  <a:pos x="1" y="7"/>
                </a:cxn>
                <a:cxn ang="0">
                  <a:pos x="1" y="5"/>
                </a:cxn>
                <a:cxn ang="0">
                  <a:pos x="4" y="1"/>
                </a:cxn>
                <a:cxn ang="0">
                  <a:pos x="7" y="0"/>
                </a:cxn>
                <a:cxn ang="0">
                  <a:pos x="8" y="4"/>
                </a:cxn>
                <a:cxn ang="0">
                  <a:pos x="11" y="5"/>
                </a:cxn>
                <a:cxn ang="0">
                  <a:pos x="13" y="10"/>
                </a:cxn>
                <a:cxn ang="0">
                  <a:pos x="17" y="11"/>
                </a:cxn>
                <a:cxn ang="0">
                  <a:pos x="27" y="26"/>
                </a:cxn>
                <a:cxn ang="0">
                  <a:pos x="29" y="29"/>
                </a:cxn>
                <a:cxn ang="0">
                  <a:pos x="26" y="32"/>
                </a:cxn>
                <a:cxn ang="0">
                  <a:pos x="24" y="30"/>
                </a:cxn>
                <a:cxn ang="0">
                  <a:pos x="23" y="30"/>
                </a:cxn>
                <a:cxn ang="0">
                  <a:pos x="21" y="32"/>
                </a:cxn>
                <a:cxn ang="0">
                  <a:pos x="18" y="32"/>
                </a:cxn>
                <a:cxn ang="0">
                  <a:pos x="16" y="29"/>
                </a:cxn>
                <a:cxn ang="0">
                  <a:pos x="16" y="27"/>
                </a:cxn>
                <a:cxn ang="0">
                  <a:pos x="13" y="24"/>
                </a:cxn>
                <a:cxn ang="0">
                  <a:pos x="11" y="24"/>
                </a:cxn>
                <a:cxn ang="0">
                  <a:pos x="5" y="21"/>
                </a:cxn>
                <a:cxn ang="0">
                  <a:pos x="10" y="27"/>
                </a:cxn>
                <a:cxn ang="0">
                  <a:pos x="8" y="29"/>
                </a:cxn>
                <a:cxn ang="0">
                  <a:pos x="2" y="20"/>
                </a:cxn>
              </a:cxnLst>
              <a:rect l="0" t="0" r="r" b="b"/>
              <a:pathLst>
                <a:path w="29" h="32">
                  <a:moveTo>
                    <a:pt x="2" y="20"/>
                  </a:moveTo>
                  <a:lnTo>
                    <a:pt x="2" y="20"/>
                  </a:lnTo>
                  <a:lnTo>
                    <a:pt x="1" y="14"/>
                  </a:lnTo>
                  <a:lnTo>
                    <a:pt x="1" y="13"/>
                  </a:lnTo>
                  <a:lnTo>
                    <a:pt x="0" y="11"/>
                  </a:lnTo>
                  <a:lnTo>
                    <a:pt x="0" y="10"/>
                  </a:lnTo>
                  <a:lnTo>
                    <a:pt x="1" y="10"/>
                  </a:lnTo>
                  <a:lnTo>
                    <a:pt x="4" y="10"/>
                  </a:lnTo>
                  <a:lnTo>
                    <a:pt x="1" y="7"/>
                  </a:lnTo>
                  <a:lnTo>
                    <a:pt x="1" y="5"/>
                  </a:lnTo>
                  <a:lnTo>
                    <a:pt x="4" y="1"/>
                  </a:lnTo>
                  <a:lnTo>
                    <a:pt x="7" y="0"/>
                  </a:lnTo>
                  <a:lnTo>
                    <a:pt x="8" y="4"/>
                  </a:lnTo>
                  <a:lnTo>
                    <a:pt x="11" y="5"/>
                  </a:lnTo>
                  <a:lnTo>
                    <a:pt x="13" y="10"/>
                  </a:lnTo>
                  <a:lnTo>
                    <a:pt x="17" y="11"/>
                  </a:lnTo>
                  <a:lnTo>
                    <a:pt x="27" y="26"/>
                  </a:lnTo>
                  <a:lnTo>
                    <a:pt x="29" y="29"/>
                  </a:lnTo>
                  <a:lnTo>
                    <a:pt x="26" y="32"/>
                  </a:lnTo>
                  <a:lnTo>
                    <a:pt x="24" y="30"/>
                  </a:lnTo>
                  <a:lnTo>
                    <a:pt x="23" y="30"/>
                  </a:lnTo>
                  <a:lnTo>
                    <a:pt x="21" y="32"/>
                  </a:lnTo>
                  <a:lnTo>
                    <a:pt x="18" y="32"/>
                  </a:lnTo>
                  <a:lnTo>
                    <a:pt x="16" y="29"/>
                  </a:lnTo>
                  <a:lnTo>
                    <a:pt x="16" y="27"/>
                  </a:lnTo>
                  <a:lnTo>
                    <a:pt x="13" y="24"/>
                  </a:lnTo>
                  <a:lnTo>
                    <a:pt x="11" y="24"/>
                  </a:lnTo>
                  <a:lnTo>
                    <a:pt x="5" y="21"/>
                  </a:lnTo>
                  <a:lnTo>
                    <a:pt x="10" y="27"/>
                  </a:lnTo>
                  <a:lnTo>
                    <a:pt x="8" y="29"/>
                  </a:lnTo>
                  <a:lnTo>
                    <a:pt x="2" y="2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48" name="Freeform 661"/>
            <p:cNvSpPr>
              <a:spLocks/>
            </p:cNvSpPr>
            <p:nvPr/>
          </p:nvSpPr>
          <p:spPr bwMode="auto">
            <a:xfrm>
              <a:off x="7034515" y="1640858"/>
              <a:ext cx="18433" cy="23326"/>
            </a:xfrm>
            <a:custGeom>
              <a:avLst/>
              <a:gdLst/>
              <a:ahLst/>
              <a:cxnLst>
                <a:cxn ang="0">
                  <a:pos x="2" y="22"/>
                </a:cxn>
                <a:cxn ang="0">
                  <a:pos x="0" y="22"/>
                </a:cxn>
                <a:cxn ang="0">
                  <a:pos x="2" y="16"/>
                </a:cxn>
                <a:cxn ang="0">
                  <a:pos x="0" y="9"/>
                </a:cxn>
                <a:cxn ang="0">
                  <a:pos x="4" y="2"/>
                </a:cxn>
                <a:cxn ang="0">
                  <a:pos x="9" y="0"/>
                </a:cxn>
                <a:cxn ang="0">
                  <a:pos x="13" y="2"/>
                </a:cxn>
                <a:cxn ang="0">
                  <a:pos x="15" y="4"/>
                </a:cxn>
                <a:cxn ang="0">
                  <a:pos x="13" y="10"/>
                </a:cxn>
                <a:cxn ang="0">
                  <a:pos x="19" y="12"/>
                </a:cxn>
                <a:cxn ang="0">
                  <a:pos x="20" y="15"/>
                </a:cxn>
                <a:cxn ang="0">
                  <a:pos x="16" y="16"/>
                </a:cxn>
                <a:cxn ang="0">
                  <a:pos x="15" y="19"/>
                </a:cxn>
                <a:cxn ang="0">
                  <a:pos x="10" y="19"/>
                </a:cxn>
                <a:cxn ang="0">
                  <a:pos x="4" y="20"/>
                </a:cxn>
                <a:cxn ang="0">
                  <a:pos x="4" y="18"/>
                </a:cxn>
                <a:cxn ang="0">
                  <a:pos x="2" y="22"/>
                </a:cxn>
                <a:cxn ang="0">
                  <a:pos x="2" y="22"/>
                </a:cxn>
              </a:cxnLst>
              <a:rect l="0" t="0" r="r" b="b"/>
              <a:pathLst>
                <a:path w="20" h="22">
                  <a:moveTo>
                    <a:pt x="2" y="22"/>
                  </a:moveTo>
                  <a:lnTo>
                    <a:pt x="0" y="22"/>
                  </a:lnTo>
                  <a:lnTo>
                    <a:pt x="2" y="16"/>
                  </a:lnTo>
                  <a:lnTo>
                    <a:pt x="0" y="9"/>
                  </a:lnTo>
                  <a:lnTo>
                    <a:pt x="4" y="2"/>
                  </a:lnTo>
                  <a:lnTo>
                    <a:pt x="9" y="0"/>
                  </a:lnTo>
                  <a:lnTo>
                    <a:pt x="13" y="2"/>
                  </a:lnTo>
                  <a:lnTo>
                    <a:pt x="15" y="4"/>
                  </a:lnTo>
                  <a:lnTo>
                    <a:pt x="13" y="10"/>
                  </a:lnTo>
                  <a:lnTo>
                    <a:pt x="19" y="12"/>
                  </a:lnTo>
                  <a:lnTo>
                    <a:pt x="20" y="15"/>
                  </a:lnTo>
                  <a:lnTo>
                    <a:pt x="16" y="16"/>
                  </a:lnTo>
                  <a:lnTo>
                    <a:pt x="15" y="19"/>
                  </a:lnTo>
                  <a:lnTo>
                    <a:pt x="10" y="19"/>
                  </a:lnTo>
                  <a:lnTo>
                    <a:pt x="4" y="20"/>
                  </a:lnTo>
                  <a:lnTo>
                    <a:pt x="4" y="18"/>
                  </a:lnTo>
                  <a:lnTo>
                    <a:pt x="2" y="22"/>
                  </a:lnTo>
                  <a:lnTo>
                    <a:pt x="2" y="2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49" name="Freeform 662"/>
            <p:cNvSpPr>
              <a:spLocks/>
            </p:cNvSpPr>
            <p:nvPr/>
          </p:nvSpPr>
          <p:spPr bwMode="auto">
            <a:xfrm>
              <a:off x="7034515" y="1640858"/>
              <a:ext cx="18433" cy="23326"/>
            </a:xfrm>
            <a:custGeom>
              <a:avLst/>
              <a:gdLst/>
              <a:ahLst/>
              <a:cxnLst>
                <a:cxn ang="0">
                  <a:pos x="2" y="22"/>
                </a:cxn>
                <a:cxn ang="0">
                  <a:pos x="0" y="22"/>
                </a:cxn>
                <a:cxn ang="0">
                  <a:pos x="2" y="16"/>
                </a:cxn>
                <a:cxn ang="0">
                  <a:pos x="0" y="9"/>
                </a:cxn>
                <a:cxn ang="0">
                  <a:pos x="4" y="2"/>
                </a:cxn>
                <a:cxn ang="0">
                  <a:pos x="9" y="0"/>
                </a:cxn>
                <a:cxn ang="0">
                  <a:pos x="13" y="2"/>
                </a:cxn>
                <a:cxn ang="0">
                  <a:pos x="15" y="4"/>
                </a:cxn>
                <a:cxn ang="0">
                  <a:pos x="13" y="10"/>
                </a:cxn>
                <a:cxn ang="0">
                  <a:pos x="19" y="12"/>
                </a:cxn>
                <a:cxn ang="0">
                  <a:pos x="20" y="15"/>
                </a:cxn>
                <a:cxn ang="0">
                  <a:pos x="16" y="16"/>
                </a:cxn>
                <a:cxn ang="0">
                  <a:pos x="15" y="19"/>
                </a:cxn>
                <a:cxn ang="0">
                  <a:pos x="10" y="19"/>
                </a:cxn>
                <a:cxn ang="0">
                  <a:pos x="4" y="20"/>
                </a:cxn>
                <a:cxn ang="0">
                  <a:pos x="4" y="18"/>
                </a:cxn>
                <a:cxn ang="0">
                  <a:pos x="2" y="22"/>
                </a:cxn>
                <a:cxn ang="0">
                  <a:pos x="2" y="22"/>
                </a:cxn>
              </a:cxnLst>
              <a:rect l="0" t="0" r="r" b="b"/>
              <a:pathLst>
                <a:path w="20" h="22">
                  <a:moveTo>
                    <a:pt x="2" y="22"/>
                  </a:moveTo>
                  <a:lnTo>
                    <a:pt x="0" y="22"/>
                  </a:lnTo>
                  <a:lnTo>
                    <a:pt x="2" y="16"/>
                  </a:lnTo>
                  <a:lnTo>
                    <a:pt x="0" y="9"/>
                  </a:lnTo>
                  <a:lnTo>
                    <a:pt x="4" y="2"/>
                  </a:lnTo>
                  <a:lnTo>
                    <a:pt x="9" y="0"/>
                  </a:lnTo>
                  <a:lnTo>
                    <a:pt x="13" y="2"/>
                  </a:lnTo>
                  <a:lnTo>
                    <a:pt x="15" y="4"/>
                  </a:lnTo>
                  <a:lnTo>
                    <a:pt x="13" y="10"/>
                  </a:lnTo>
                  <a:lnTo>
                    <a:pt x="19" y="12"/>
                  </a:lnTo>
                  <a:lnTo>
                    <a:pt x="20" y="15"/>
                  </a:lnTo>
                  <a:lnTo>
                    <a:pt x="16" y="16"/>
                  </a:lnTo>
                  <a:lnTo>
                    <a:pt x="15" y="19"/>
                  </a:lnTo>
                  <a:lnTo>
                    <a:pt x="10" y="19"/>
                  </a:lnTo>
                  <a:lnTo>
                    <a:pt x="4" y="20"/>
                  </a:lnTo>
                  <a:lnTo>
                    <a:pt x="4" y="18"/>
                  </a:lnTo>
                  <a:lnTo>
                    <a:pt x="2" y="22"/>
                  </a:lnTo>
                  <a:lnTo>
                    <a:pt x="2" y="2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50" name="Freeform 663"/>
            <p:cNvSpPr>
              <a:spLocks/>
            </p:cNvSpPr>
            <p:nvPr/>
          </p:nvSpPr>
          <p:spPr bwMode="auto">
            <a:xfrm>
              <a:off x="7087184" y="1661140"/>
              <a:ext cx="8777" cy="12170"/>
            </a:xfrm>
            <a:custGeom>
              <a:avLst/>
              <a:gdLst/>
              <a:ahLst/>
              <a:cxnLst>
                <a:cxn ang="0">
                  <a:pos x="0" y="3"/>
                </a:cxn>
                <a:cxn ang="0">
                  <a:pos x="1" y="1"/>
                </a:cxn>
                <a:cxn ang="0">
                  <a:pos x="3" y="0"/>
                </a:cxn>
                <a:cxn ang="0">
                  <a:pos x="10" y="3"/>
                </a:cxn>
                <a:cxn ang="0">
                  <a:pos x="10" y="3"/>
                </a:cxn>
                <a:cxn ang="0">
                  <a:pos x="8" y="4"/>
                </a:cxn>
                <a:cxn ang="0">
                  <a:pos x="7" y="12"/>
                </a:cxn>
                <a:cxn ang="0">
                  <a:pos x="0" y="6"/>
                </a:cxn>
                <a:cxn ang="0">
                  <a:pos x="0" y="3"/>
                </a:cxn>
              </a:cxnLst>
              <a:rect l="0" t="0" r="r" b="b"/>
              <a:pathLst>
                <a:path w="10" h="12">
                  <a:moveTo>
                    <a:pt x="0" y="3"/>
                  </a:moveTo>
                  <a:lnTo>
                    <a:pt x="1" y="1"/>
                  </a:lnTo>
                  <a:lnTo>
                    <a:pt x="3" y="0"/>
                  </a:lnTo>
                  <a:lnTo>
                    <a:pt x="10" y="3"/>
                  </a:lnTo>
                  <a:lnTo>
                    <a:pt x="10" y="3"/>
                  </a:lnTo>
                  <a:lnTo>
                    <a:pt x="8" y="4"/>
                  </a:lnTo>
                  <a:lnTo>
                    <a:pt x="7" y="12"/>
                  </a:lnTo>
                  <a:lnTo>
                    <a:pt x="0" y="6"/>
                  </a:lnTo>
                  <a:lnTo>
                    <a:pt x="0"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51" name="Freeform 664"/>
            <p:cNvSpPr>
              <a:spLocks/>
            </p:cNvSpPr>
            <p:nvPr/>
          </p:nvSpPr>
          <p:spPr bwMode="auto">
            <a:xfrm>
              <a:off x="7087184" y="1661140"/>
              <a:ext cx="8777" cy="12170"/>
            </a:xfrm>
            <a:custGeom>
              <a:avLst/>
              <a:gdLst/>
              <a:ahLst/>
              <a:cxnLst>
                <a:cxn ang="0">
                  <a:pos x="0" y="3"/>
                </a:cxn>
                <a:cxn ang="0">
                  <a:pos x="1" y="1"/>
                </a:cxn>
                <a:cxn ang="0">
                  <a:pos x="3" y="0"/>
                </a:cxn>
                <a:cxn ang="0">
                  <a:pos x="10" y="3"/>
                </a:cxn>
                <a:cxn ang="0">
                  <a:pos x="10" y="3"/>
                </a:cxn>
                <a:cxn ang="0">
                  <a:pos x="8" y="4"/>
                </a:cxn>
                <a:cxn ang="0">
                  <a:pos x="7" y="12"/>
                </a:cxn>
                <a:cxn ang="0">
                  <a:pos x="0" y="6"/>
                </a:cxn>
                <a:cxn ang="0">
                  <a:pos x="0" y="3"/>
                </a:cxn>
              </a:cxnLst>
              <a:rect l="0" t="0" r="r" b="b"/>
              <a:pathLst>
                <a:path w="10" h="12">
                  <a:moveTo>
                    <a:pt x="0" y="3"/>
                  </a:moveTo>
                  <a:lnTo>
                    <a:pt x="1" y="1"/>
                  </a:lnTo>
                  <a:lnTo>
                    <a:pt x="3" y="0"/>
                  </a:lnTo>
                  <a:lnTo>
                    <a:pt x="10" y="3"/>
                  </a:lnTo>
                  <a:lnTo>
                    <a:pt x="10" y="3"/>
                  </a:lnTo>
                  <a:lnTo>
                    <a:pt x="8" y="4"/>
                  </a:lnTo>
                  <a:lnTo>
                    <a:pt x="7" y="12"/>
                  </a:lnTo>
                  <a:lnTo>
                    <a:pt x="0" y="6"/>
                  </a:lnTo>
                  <a:lnTo>
                    <a:pt x="0"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52" name="Freeform 665"/>
            <p:cNvSpPr>
              <a:spLocks/>
            </p:cNvSpPr>
            <p:nvPr/>
          </p:nvSpPr>
          <p:spPr bwMode="auto">
            <a:xfrm>
              <a:off x="7145996" y="1662155"/>
              <a:ext cx="9656" cy="19269"/>
            </a:xfrm>
            <a:custGeom>
              <a:avLst/>
              <a:gdLst/>
              <a:ahLst/>
              <a:cxnLst>
                <a:cxn ang="0">
                  <a:pos x="8" y="2"/>
                </a:cxn>
                <a:cxn ang="0">
                  <a:pos x="8" y="5"/>
                </a:cxn>
                <a:cxn ang="0">
                  <a:pos x="11" y="8"/>
                </a:cxn>
                <a:cxn ang="0">
                  <a:pos x="11" y="18"/>
                </a:cxn>
                <a:cxn ang="0">
                  <a:pos x="11" y="19"/>
                </a:cxn>
                <a:cxn ang="0">
                  <a:pos x="8" y="18"/>
                </a:cxn>
                <a:cxn ang="0">
                  <a:pos x="5" y="18"/>
                </a:cxn>
                <a:cxn ang="0">
                  <a:pos x="2" y="15"/>
                </a:cxn>
                <a:cxn ang="0">
                  <a:pos x="0" y="12"/>
                </a:cxn>
                <a:cxn ang="0">
                  <a:pos x="7" y="0"/>
                </a:cxn>
                <a:cxn ang="0">
                  <a:pos x="8" y="2"/>
                </a:cxn>
                <a:cxn ang="0">
                  <a:pos x="8" y="2"/>
                </a:cxn>
              </a:cxnLst>
              <a:rect l="0" t="0" r="r" b="b"/>
              <a:pathLst>
                <a:path w="11" h="19">
                  <a:moveTo>
                    <a:pt x="8" y="2"/>
                  </a:moveTo>
                  <a:lnTo>
                    <a:pt x="8" y="5"/>
                  </a:lnTo>
                  <a:lnTo>
                    <a:pt x="11" y="8"/>
                  </a:lnTo>
                  <a:lnTo>
                    <a:pt x="11" y="18"/>
                  </a:lnTo>
                  <a:lnTo>
                    <a:pt x="11" y="19"/>
                  </a:lnTo>
                  <a:lnTo>
                    <a:pt x="8" y="18"/>
                  </a:lnTo>
                  <a:lnTo>
                    <a:pt x="5" y="18"/>
                  </a:lnTo>
                  <a:lnTo>
                    <a:pt x="2" y="15"/>
                  </a:lnTo>
                  <a:lnTo>
                    <a:pt x="0" y="12"/>
                  </a:lnTo>
                  <a:lnTo>
                    <a:pt x="7" y="0"/>
                  </a:lnTo>
                  <a:lnTo>
                    <a:pt x="8" y="2"/>
                  </a:lnTo>
                  <a:lnTo>
                    <a:pt x="8"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53" name="Freeform 666"/>
            <p:cNvSpPr>
              <a:spLocks/>
            </p:cNvSpPr>
            <p:nvPr/>
          </p:nvSpPr>
          <p:spPr bwMode="auto">
            <a:xfrm>
              <a:off x="7145996" y="1662155"/>
              <a:ext cx="9656" cy="19269"/>
            </a:xfrm>
            <a:custGeom>
              <a:avLst/>
              <a:gdLst/>
              <a:ahLst/>
              <a:cxnLst>
                <a:cxn ang="0">
                  <a:pos x="8" y="2"/>
                </a:cxn>
                <a:cxn ang="0">
                  <a:pos x="8" y="5"/>
                </a:cxn>
                <a:cxn ang="0">
                  <a:pos x="11" y="8"/>
                </a:cxn>
                <a:cxn ang="0">
                  <a:pos x="11" y="18"/>
                </a:cxn>
                <a:cxn ang="0">
                  <a:pos x="11" y="19"/>
                </a:cxn>
                <a:cxn ang="0">
                  <a:pos x="8" y="18"/>
                </a:cxn>
                <a:cxn ang="0">
                  <a:pos x="5" y="18"/>
                </a:cxn>
                <a:cxn ang="0">
                  <a:pos x="2" y="15"/>
                </a:cxn>
                <a:cxn ang="0">
                  <a:pos x="0" y="12"/>
                </a:cxn>
                <a:cxn ang="0">
                  <a:pos x="7" y="0"/>
                </a:cxn>
                <a:cxn ang="0">
                  <a:pos x="8" y="2"/>
                </a:cxn>
                <a:cxn ang="0">
                  <a:pos x="8" y="2"/>
                </a:cxn>
              </a:cxnLst>
              <a:rect l="0" t="0" r="r" b="b"/>
              <a:pathLst>
                <a:path w="11" h="19">
                  <a:moveTo>
                    <a:pt x="8" y="2"/>
                  </a:moveTo>
                  <a:lnTo>
                    <a:pt x="8" y="5"/>
                  </a:lnTo>
                  <a:lnTo>
                    <a:pt x="11" y="8"/>
                  </a:lnTo>
                  <a:lnTo>
                    <a:pt x="11" y="18"/>
                  </a:lnTo>
                  <a:lnTo>
                    <a:pt x="11" y="19"/>
                  </a:lnTo>
                  <a:lnTo>
                    <a:pt x="8" y="18"/>
                  </a:lnTo>
                  <a:lnTo>
                    <a:pt x="5" y="18"/>
                  </a:lnTo>
                  <a:lnTo>
                    <a:pt x="2" y="15"/>
                  </a:lnTo>
                  <a:lnTo>
                    <a:pt x="0" y="12"/>
                  </a:lnTo>
                  <a:lnTo>
                    <a:pt x="7" y="0"/>
                  </a:lnTo>
                  <a:lnTo>
                    <a:pt x="8" y="2"/>
                  </a:lnTo>
                  <a:lnTo>
                    <a:pt x="8"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54" name="Freeform 667"/>
            <p:cNvSpPr>
              <a:spLocks/>
            </p:cNvSpPr>
            <p:nvPr/>
          </p:nvSpPr>
          <p:spPr bwMode="auto">
            <a:xfrm>
              <a:off x="7122295" y="1686494"/>
              <a:ext cx="18433" cy="17240"/>
            </a:xfrm>
            <a:custGeom>
              <a:avLst/>
              <a:gdLst/>
              <a:ahLst/>
              <a:cxnLst>
                <a:cxn ang="0">
                  <a:pos x="6" y="3"/>
                </a:cxn>
                <a:cxn ang="0">
                  <a:pos x="7" y="3"/>
                </a:cxn>
                <a:cxn ang="0">
                  <a:pos x="9" y="0"/>
                </a:cxn>
                <a:cxn ang="0">
                  <a:pos x="17" y="1"/>
                </a:cxn>
                <a:cxn ang="0">
                  <a:pos x="20" y="4"/>
                </a:cxn>
                <a:cxn ang="0">
                  <a:pos x="19" y="8"/>
                </a:cxn>
                <a:cxn ang="0">
                  <a:pos x="16" y="10"/>
                </a:cxn>
                <a:cxn ang="0">
                  <a:pos x="13" y="13"/>
                </a:cxn>
                <a:cxn ang="0">
                  <a:pos x="1" y="16"/>
                </a:cxn>
                <a:cxn ang="0">
                  <a:pos x="0" y="13"/>
                </a:cxn>
                <a:cxn ang="0">
                  <a:pos x="1" y="8"/>
                </a:cxn>
                <a:cxn ang="0">
                  <a:pos x="6" y="3"/>
                </a:cxn>
              </a:cxnLst>
              <a:rect l="0" t="0" r="r" b="b"/>
              <a:pathLst>
                <a:path w="20" h="16">
                  <a:moveTo>
                    <a:pt x="6" y="3"/>
                  </a:moveTo>
                  <a:lnTo>
                    <a:pt x="7" y="3"/>
                  </a:lnTo>
                  <a:lnTo>
                    <a:pt x="9" y="0"/>
                  </a:lnTo>
                  <a:lnTo>
                    <a:pt x="17" y="1"/>
                  </a:lnTo>
                  <a:lnTo>
                    <a:pt x="20" y="4"/>
                  </a:lnTo>
                  <a:lnTo>
                    <a:pt x="19" y="8"/>
                  </a:lnTo>
                  <a:lnTo>
                    <a:pt x="16" y="10"/>
                  </a:lnTo>
                  <a:lnTo>
                    <a:pt x="13" y="13"/>
                  </a:lnTo>
                  <a:lnTo>
                    <a:pt x="1" y="16"/>
                  </a:lnTo>
                  <a:lnTo>
                    <a:pt x="0" y="13"/>
                  </a:lnTo>
                  <a:lnTo>
                    <a:pt x="1" y="8"/>
                  </a:lnTo>
                  <a:lnTo>
                    <a:pt x="6"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55" name="Freeform 668"/>
            <p:cNvSpPr>
              <a:spLocks/>
            </p:cNvSpPr>
            <p:nvPr/>
          </p:nvSpPr>
          <p:spPr bwMode="auto">
            <a:xfrm>
              <a:off x="7122295" y="1686494"/>
              <a:ext cx="18433" cy="17240"/>
            </a:xfrm>
            <a:custGeom>
              <a:avLst/>
              <a:gdLst/>
              <a:ahLst/>
              <a:cxnLst>
                <a:cxn ang="0">
                  <a:pos x="6" y="3"/>
                </a:cxn>
                <a:cxn ang="0">
                  <a:pos x="7" y="3"/>
                </a:cxn>
                <a:cxn ang="0">
                  <a:pos x="9" y="0"/>
                </a:cxn>
                <a:cxn ang="0">
                  <a:pos x="17" y="1"/>
                </a:cxn>
                <a:cxn ang="0">
                  <a:pos x="20" y="4"/>
                </a:cxn>
                <a:cxn ang="0">
                  <a:pos x="19" y="8"/>
                </a:cxn>
                <a:cxn ang="0">
                  <a:pos x="16" y="10"/>
                </a:cxn>
                <a:cxn ang="0">
                  <a:pos x="13" y="13"/>
                </a:cxn>
                <a:cxn ang="0">
                  <a:pos x="1" y="16"/>
                </a:cxn>
                <a:cxn ang="0">
                  <a:pos x="0" y="13"/>
                </a:cxn>
                <a:cxn ang="0">
                  <a:pos x="1" y="8"/>
                </a:cxn>
                <a:cxn ang="0">
                  <a:pos x="6" y="3"/>
                </a:cxn>
              </a:cxnLst>
              <a:rect l="0" t="0" r="r" b="b"/>
              <a:pathLst>
                <a:path w="20" h="16">
                  <a:moveTo>
                    <a:pt x="6" y="3"/>
                  </a:moveTo>
                  <a:lnTo>
                    <a:pt x="7" y="3"/>
                  </a:lnTo>
                  <a:lnTo>
                    <a:pt x="9" y="0"/>
                  </a:lnTo>
                  <a:lnTo>
                    <a:pt x="17" y="1"/>
                  </a:lnTo>
                  <a:lnTo>
                    <a:pt x="20" y="4"/>
                  </a:lnTo>
                  <a:lnTo>
                    <a:pt x="19" y="8"/>
                  </a:lnTo>
                  <a:lnTo>
                    <a:pt x="16" y="10"/>
                  </a:lnTo>
                  <a:lnTo>
                    <a:pt x="13" y="13"/>
                  </a:lnTo>
                  <a:lnTo>
                    <a:pt x="1" y="16"/>
                  </a:lnTo>
                  <a:lnTo>
                    <a:pt x="0" y="13"/>
                  </a:lnTo>
                  <a:lnTo>
                    <a:pt x="1" y="8"/>
                  </a:lnTo>
                  <a:lnTo>
                    <a:pt x="6"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56" name="Freeform 669"/>
            <p:cNvSpPr>
              <a:spLocks/>
            </p:cNvSpPr>
            <p:nvPr/>
          </p:nvSpPr>
          <p:spPr bwMode="auto">
            <a:xfrm>
              <a:off x="7181986" y="1527275"/>
              <a:ext cx="9656" cy="19269"/>
            </a:xfrm>
            <a:custGeom>
              <a:avLst/>
              <a:gdLst/>
              <a:ahLst/>
              <a:cxnLst>
                <a:cxn ang="0">
                  <a:pos x="10" y="6"/>
                </a:cxn>
                <a:cxn ang="0">
                  <a:pos x="10" y="6"/>
                </a:cxn>
                <a:cxn ang="0">
                  <a:pos x="10" y="10"/>
                </a:cxn>
                <a:cxn ang="0">
                  <a:pos x="9" y="9"/>
                </a:cxn>
                <a:cxn ang="0">
                  <a:pos x="7" y="12"/>
                </a:cxn>
                <a:cxn ang="0">
                  <a:pos x="7" y="18"/>
                </a:cxn>
                <a:cxn ang="0">
                  <a:pos x="6" y="15"/>
                </a:cxn>
                <a:cxn ang="0">
                  <a:pos x="6" y="9"/>
                </a:cxn>
                <a:cxn ang="0">
                  <a:pos x="5" y="10"/>
                </a:cxn>
                <a:cxn ang="0">
                  <a:pos x="3" y="9"/>
                </a:cxn>
                <a:cxn ang="0">
                  <a:pos x="2" y="7"/>
                </a:cxn>
                <a:cxn ang="0">
                  <a:pos x="3" y="18"/>
                </a:cxn>
                <a:cxn ang="0">
                  <a:pos x="0" y="7"/>
                </a:cxn>
                <a:cxn ang="0">
                  <a:pos x="0" y="5"/>
                </a:cxn>
                <a:cxn ang="0">
                  <a:pos x="2" y="3"/>
                </a:cxn>
                <a:cxn ang="0">
                  <a:pos x="3" y="5"/>
                </a:cxn>
                <a:cxn ang="0">
                  <a:pos x="3" y="6"/>
                </a:cxn>
                <a:cxn ang="0">
                  <a:pos x="7" y="2"/>
                </a:cxn>
                <a:cxn ang="0">
                  <a:pos x="5" y="2"/>
                </a:cxn>
                <a:cxn ang="0">
                  <a:pos x="5" y="0"/>
                </a:cxn>
                <a:cxn ang="0">
                  <a:pos x="7" y="0"/>
                </a:cxn>
                <a:cxn ang="0">
                  <a:pos x="10" y="2"/>
                </a:cxn>
                <a:cxn ang="0">
                  <a:pos x="9" y="3"/>
                </a:cxn>
                <a:cxn ang="0">
                  <a:pos x="10" y="6"/>
                </a:cxn>
              </a:cxnLst>
              <a:rect l="0" t="0" r="r" b="b"/>
              <a:pathLst>
                <a:path w="10" h="18">
                  <a:moveTo>
                    <a:pt x="10" y="6"/>
                  </a:moveTo>
                  <a:lnTo>
                    <a:pt x="10" y="6"/>
                  </a:lnTo>
                  <a:lnTo>
                    <a:pt x="10" y="10"/>
                  </a:lnTo>
                  <a:lnTo>
                    <a:pt x="9" y="9"/>
                  </a:lnTo>
                  <a:lnTo>
                    <a:pt x="7" y="12"/>
                  </a:lnTo>
                  <a:lnTo>
                    <a:pt x="7" y="18"/>
                  </a:lnTo>
                  <a:lnTo>
                    <a:pt x="6" y="15"/>
                  </a:lnTo>
                  <a:lnTo>
                    <a:pt x="6" y="9"/>
                  </a:lnTo>
                  <a:lnTo>
                    <a:pt x="5" y="10"/>
                  </a:lnTo>
                  <a:lnTo>
                    <a:pt x="3" y="9"/>
                  </a:lnTo>
                  <a:lnTo>
                    <a:pt x="2" y="7"/>
                  </a:lnTo>
                  <a:lnTo>
                    <a:pt x="3" y="18"/>
                  </a:lnTo>
                  <a:lnTo>
                    <a:pt x="0" y="7"/>
                  </a:lnTo>
                  <a:lnTo>
                    <a:pt x="0" y="5"/>
                  </a:lnTo>
                  <a:lnTo>
                    <a:pt x="2" y="3"/>
                  </a:lnTo>
                  <a:lnTo>
                    <a:pt x="3" y="5"/>
                  </a:lnTo>
                  <a:lnTo>
                    <a:pt x="3" y="6"/>
                  </a:lnTo>
                  <a:lnTo>
                    <a:pt x="7" y="2"/>
                  </a:lnTo>
                  <a:lnTo>
                    <a:pt x="5" y="2"/>
                  </a:lnTo>
                  <a:lnTo>
                    <a:pt x="5" y="0"/>
                  </a:lnTo>
                  <a:lnTo>
                    <a:pt x="7" y="0"/>
                  </a:lnTo>
                  <a:lnTo>
                    <a:pt x="10" y="2"/>
                  </a:lnTo>
                  <a:lnTo>
                    <a:pt x="9" y="3"/>
                  </a:lnTo>
                  <a:lnTo>
                    <a:pt x="10"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57" name="Freeform 670"/>
            <p:cNvSpPr>
              <a:spLocks/>
            </p:cNvSpPr>
            <p:nvPr/>
          </p:nvSpPr>
          <p:spPr bwMode="auto">
            <a:xfrm>
              <a:off x="7181986" y="1527275"/>
              <a:ext cx="9656" cy="19269"/>
            </a:xfrm>
            <a:custGeom>
              <a:avLst/>
              <a:gdLst/>
              <a:ahLst/>
              <a:cxnLst>
                <a:cxn ang="0">
                  <a:pos x="10" y="6"/>
                </a:cxn>
                <a:cxn ang="0">
                  <a:pos x="10" y="6"/>
                </a:cxn>
                <a:cxn ang="0">
                  <a:pos x="10" y="10"/>
                </a:cxn>
                <a:cxn ang="0">
                  <a:pos x="9" y="9"/>
                </a:cxn>
                <a:cxn ang="0">
                  <a:pos x="7" y="12"/>
                </a:cxn>
                <a:cxn ang="0">
                  <a:pos x="7" y="18"/>
                </a:cxn>
                <a:cxn ang="0">
                  <a:pos x="6" y="15"/>
                </a:cxn>
                <a:cxn ang="0">
                  <a:pos x="6" y="9"/>
                </a:cxn>
                <a:cxn ang="0">
                  <a:pos x="5" y="10"/>
                </a:cxn>
                <a:cxn ang="0">
                  <a:pos x="3" y="9"/>
                </a:cxn>
                <a:cxn ang="0">
                  <a:pos x="2" y="7"/>
                </a:cxn>
                <a:cxn ang="0">
                  <a:pos x="3" y="18"/>
                </a:cxn>
                <a:cxn ang="0">
                  <a:pos x="0" y="7"/>
                </a:cxn>
                <a:cxn ang="0">
                  <a:pos x="0" y="5"/>
                </a:cxn>
                <a:cxn ang="0">
                  <a:pos x="2" y="3"/>
                </a:cxn>
                <a:cxn ang="0">
                  <a:pos x="3" y="5"/>
                </a:cxn>
                <a:cxn ang="0">
                  <a:pos x="3" y="6"/>
                </a:cxn>
                <a:cxn ang="0">
                  <a:pos x="7" y="2"/>
                </a:cxn>
                <a:cxn ang="0">
                  <a:pos x="5" y="2"/>
                </a:cxn>
                <a:cxn ang="0">
                  <a:pos x="5" y="0"/>
                </a:cxn>
                <a:cxn ang="0">
                  <a:pos x="7" y="0"/>
                </a:cxn>
                <a:cxn ang="0">
                  <a:pos x="10" y="2"/>
                </a:cxn>
                <a:cxn ang="0">
                  <a:pos x="9" y="3"/>
                </a:cxn>
                <a:cxn ang="0">
                  <a:pos x="10" y="6"/>
                </a:cxn>
              </a:cxnLst>
              <a:rect l="0" t="0" r="r" b="b"/>
              <a:pathLst>
                <a:path w="10" h="18">
                  <a:moveTo>
                    <a:pt x="10" y="6"/>
                  </a:moveTo>
                  <a:lnTo>
                    <a:pt x="10" y="6"/>
                  </a:lnTo>
                  <a:lnTo>
                    <a:pt x="10" y="10"/>
                  </a:lnTo>
                  <a:lnTo>
                    <a:pt x="9" y="9"/>
                  </a:lnTo>
                  <a:lnTo>
                    <a:pt x="7" y="12"/>
                  </a:lnTo>
                  <a:lnTo>
                    <a:pt x="7" y="18"/>
                  </a:lnTo>
                  <a:lnTo>
                    <a:pt x="6" y="15"/>
                  </a:lnTo>
                  <a:lnTo>
                    <a:pt x="6" y="9"/>
                  </a:lnTo>
                  <a:lnTo>
                    <a:pt x="5" y="10"/>
                  </a:lnTo>
                  <a:lnTo>
                    <a:pt x="3" y="9"/>
                  </a:lnTo>
                  <a:lnTo>
                    <a:pt x="2" y="7"/>
                  </a:lnTo>
                  <a:lnTo>
                    <a:pt x="3" y="18"/>
                  </a:lnTo>
                  <a:lnTo>
                    <a:pt x="0" y="7"/>
                  </a:lnTo>
                  <a:lnTo>
                    <a:pt x="0" y="5"/>
                  </a:lnTo>
                  <a:lnTo>
                    <a:pt x="2" y="3"/>
                  </a:lnTo>
                  <a:lnTo>
                    <a:pt x="3" y="5"/>
                  </a:lnTo>
                  <a:lnTo>
                    <a:pt x="3" y="6"/>
                  </a:lnTo>
                  <a:lnTo>
                    <a:pt x="7" y="2"/>
                  </a:lnTo>
                  <a:lnTo>
                    <a:pt x="5" y="2"/>
                  </a:lnTo>
                  <a:lnTo>
                    <a:pt x="5" y="0"/>
                  </a:lnTo>
                  <a:lnTo>
                    <a:pt x="7" y="0"/>
                  </a:lnTo>
                  <a:lnTo>
                    <a:pt x="10" y="2"/>
                  </a:lnTo>
                  <a:lnTo>
                    <a:pt x="9" y="3"/>
                  </a:lnTo>
                  <a:lnTo>
                    <a:pt x="10"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58" name="Freeform 671"/>
            <p:cNvSpPr>
              <a:spLocks/>
            </p:cNvSpPr>
            <p:nvPr/>
          </p:nvSpPr>
          <p:spPr bwMode="auto">
            <a:xfrm>
              <a:off x="7036272" y="1933943"/>
              <a:ext cx="16679" cy="11155"/>
            </a:xfrm>
            <a:custGeom>
              <a:avLst/>
              <a:gdLst/>
              <a:ahLst/>
              <a:cxnLst>
                <a:cxn ang="0">
                  <a:pos x="0" y="7"/>
                </a:cxn>
                <a:cxn ang="0">
                  <a:pos x="5" y="5"/>
                </a:cxn>
                <a:cxn ang="0">
                  <a:pos x="10" y="1"/>
                </a:cxn>
                <a:cxn ang="0">
                  <a:pos x="15" y="0"/>
                </a:cxn>
                <a:cxn ang="0">
                  <a:pos x="17" y="1"/>
                </a:cxn>
                <a:cxn ang="0">
                  <a:pos x="18" y="5"/>
                </a:cxn>
                <a:cxn ang="0">
                  <a:pos x="14" y="5"/>
                </a:cxn>
                <a:cxn ang="0">
                  <a:pos x="7" y="11"/>
                </a:cxn>
                <a:cxn ang="0">
                  <a:pos x="4" y="11"/>
                </a:cxn>
                <a:cxn ang="0">
                  <a:pos x="2" y="10"/>
                </a:cxn>
                <a:cxn ang="0">
                  <a:pos x="0" y="7"/>
                </a:cxn>
              </a:cxnLst>
              <a:rect l="0" t="0" r="r" b="b"/>
              <a:pathLst>
                <a:path w="18" h="11">
                  <a:moveTo>
                    <a:pt x="0" y="7"/>
                  </a:moveTo>
                  <a:lnTo>
                    <a:pt x="5" y="5"/>
                  </a:lnTo>
                  <a:lnTo>
                    <a:pt x="10" y="1"/>
                  </a:lnTo>
                  <a:lnTo>
                    <a:pt x="15" y="0"/>
                  </a:lnTo>
                  <a:lnTo>
                    <a:pt x="17" y="1"/>
                  </a:lnTo>
                  <a:lnTo>
                    <a:pt x="18" y="5"/>
                  </a:lnTo>
                  <a:lnTo>
                    <a:pt x="14" y="5"/>
                  </a:lnTo>
                  <a:lnTo>
                    <a:pt x="7" y="11"/>
                  </a:lnTo>
                  <a:lnTo>
                    <a:pt x="4" y="11"/>
                  </a:lnTo>
                  <a:lnTo>
                    <a:pt x="2" y="10"/>
                  </a:lnTo>
                  <a:lnTo>
                    <a:pt x="0" y="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59" name="Freeform 672"/>
            <p:cNvSpPr>
              <a:spLocks/>
            </p:cNvSpPr>
            <p:nvPr/>
          </p:nvSpPr>
          <p:spPr bwMode="auto">
            <a:xfrm>
              <a:off x="7036272" y="1933943"/>
              <a:ext cx="16679" cy="11155"/>
            </a:xfrm>
            <a:custGeom>
              <a:avLst/>
              <a:gdLst/>
              <a:ahLst/>
              <a:cxnLst>
                <a:cxn ang="0">
                  <a:pos x="0" y="7"/>
                </a:cxn>
                <a:cxn ang="0">
                  <a:pos x="5" y="5"/>
                </a:cxn>
                <a:cxn ang="0">
                  <a:pos x="10" y="1"/>
                </a:cxn>
                <a:cxn ang="0">
                  <a:pos x="15" y="0"/>
                </a:cxn>
                <a:cxn ang="0">
                  <a:pos x="17" y="1"/>
                </a:cxn>
                <a:cxn ang="0">
                  <a:pos x="18" y="5"/>
                </a:cxn>
                <a:cxn ang="0">
                  <a:pos x="14" y="5"/>
                </a:cxn>
                <a:cxn ang="0">
                  <a:pos x="7" y="11"/>
                </a:cxn>
                <a:cxn ang="0">
                  <a:pos x="4" y="11"/>
                </a:cxn>
                <a:cxn ang="0">
                  <a:pos x="2" y="10"/>
                </a:cxn>
                <a:cxn ang="0">
                  <a:pos x="0" y="7"/>
                </a:cxn>
              </a:cxnLst>
              <a:rect l="0" t="0" r="r" b="b"/>
              <a:pathLst>
                <a:path w="18" h="11">
                  <a:moveTo>
                    <a:pt x="0" y="7"/>
                  </a:moveTo>
                  <a:lnTo>
                    <a:pt x="5" y="5"/>
                  </a:lnTo>
                  <a:lnTo>
                    <a:pt x="10" y="1"/>
                  </a:lnTo>
                  <a:lnTo>
                    <a:pt x="15" y="0"/>
                  </a:lnTo>
                  <a:lnTo>
                    <a:pt x="17" y="1"/>
                  </a:lnTo>
                  <a:lnTo>
                    <a:pt x="18" y="5"/>
                  </a:lnTo>
                  <a:lnTo>
                    <a:pt x="14" y="5"/>
                  </a:lnTo>
                  <a:lnTo>
                    <a:pt x="7" y="11"/>
                  </a:lnTo>
                  <a:lnTo>
                    <a:pt x="4" y="11"/>
                  </a:lnTo>
                  <a:lnTo>
                    <a:pt x="2" y="10"/>
                  </a:lnTo>
                  <a:lnTo>
                    <a:pt x="0" y="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60" name="Freeform 673"/>
            <p:cNvSpPr>
              <a:spLocks/>
            </p:cNvSpPr>
            <p:nvPr/>
          </p:nvSpPr>
          <p:spPr bwMode="auto">
            <a:xfrm>
              <a:off x="7193397" y="1783851"/>
              <a:ext cx="6145" cy="14198"/>
            </a:xfrm>
            <a:custGeom>
              <a:avLst/>
              <a:gdLst/>
              <a:ahLst/>
              <a:cxnLst>
                <a:cxn ang="0">
                  <a:pos x="0" y="4"/>
                </a:cxn>
                <a:cxn ang="0">
                  <a:pos x="0" y="1"/>
                </a:cxn>
                <a:cxn ang="0">
                  <a:pos x="1" y="0"/>
                </a:cxn>
                <a:cxn ang="0">
                  <a:pos x="3" y="0"/>
                </a:cxn>
                <a:cxn ang="0">
                  <a:pos x="7" y="11"/>
                </a:cxn>
                <a:cxn ang="0">
                  <a:pos x="4" y="14"/>
                </a:cxn>
                <a:cxn ang="0">
                  <a:pos x="3" y="13"/>
                </a:cxn>
                <a:cxn ang="0">
                  <a:pos x="1" y="11"/>
                </a:cxn>
                <a:cxn ang="0">
                  <a:pos x="0" y="6"/>
                </a:cxn>
                <a:cxn ang="0">
                  <a:pos x="0" y="4"/>
                </a:cxn>
              </a:cxnLst>
              <a:rect l="0" t="0" r="r" b="b"/>
              <a:pathLst>
                <a:path w="7" h="14">
                  <a:moveTo>
                    <a:pt x="0" y="4"/>
                  </a:moveTo>
                  <a:lnTo>
                    <a:pt x="0" y="1"/>
                  </a:lnTo>
                  <a:lnTo>
                    <a:pt x="1" y="0"/>
                  </a:lnTo>
                  <a:lnTo>
                    <a:pt x="3" y="0"/>
                  </a:lnTo>
                  <a:lnTo>
                    <a:pt x="7" y="11"/>
                  </a:lnTo>
                  <a:lnTo>
                    <a:pt x="4" y="14"/>
                  </a:lnTo>
                  <a:lnTo>
                    <a:pt x="3" y="13"/>
                  </a:lnTo>
                  <a:lnTo>
                    <a:pt x="1" y="11"/>
                  </a:lnTo>
                  <a:lnTo>
                    <a:pt x="0" y="6"/>
                  </a:lnTo>
                  <a:lnTo>
                    <a:pt x="0"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61" name="Freeform 674"/>
            <p:cNvSpPr>
              <a:spLocks/>
            </p:cNvSpPr>
            <p:nvPr/>
          </p:nvSpPr>
          <p:spPr bwMode="auto">
            <a:xfrm>
              <a:off x="7193397" y="1783851"/>
              <a:ext cx="6145" cy="14198"/>
            </a:xfrm>
            <a:custGeom>
              <a:avLst/>
              <a:gdLst/>
              <a:ahLst/>
              <a:cxnLst>
                <a:cxn ang="0">
                  <a:pos x="0" y="4"/>
                </a:cxn>
                <a:cxn ang="0">
                  <a:pos x="0" y="1"/>
                </a:cxn>
                <a:cxn ang="0">
                  <a:pos x="1" y="0"/>
                </a:cxn>
                <a:cxn ang="0">
                  <a:pos x="3" y="0"/>
                </a:cxn>
                <a:cxn ang="0">
                  <a:pos x="7" y="11"/>
                </a:cxn>
                <a:cxn ang="0">
                  <a:pos x="4" y="14"/>
                </a:cxn>
                <a:cxn ang="0">
                  <a:pos x="3" y="13"/>
                </a:cxn>
                <a:cxn ang="0">
                  <a:pos x="1" y="11"/>
                </a:cxn>
                <a:cxn ang="0">
                  <a:pos x="0" y="6"/>
                </a:cxn>
                <a:cxn ang="0">
                  <a:pos x="0" y="4"/>
                </a:cxn>
              </a:cxnLst>
              <a:rect l="0" t="0" r="r" b="b"/>
              <a:pathLst>
                <a:path w="7" h="14">
                  <a:moveTo>
                    <a:pt x="0" y="4"/>
                  </a:moveTo>
                  <a:lnTo>
                    <a:pt x="0" y="1"/>
                  </a:lnTo>
                  <a:lnTo>
                    <a:pt x="1" y="0"/>
                  </a:lnTo>
                  <a:lnTo>
                    <a:pt x="3" y="0"/>
                  </a:lnTo>
                  <a:lnTo>
                    <a:pt x="7" y="11"/>
                  </a:lnTo>
                  <a:lnTo>
                    <a:pt x="4" y="14"/>
                  </a:lnTo>
                  <a:lnTo>
                    <a:pt x="3" y="13"/>
                  </a:lnTo>
                  <a:lnTo>
                    <a:pt x="1" y="11"/>
                  </a:lnTo>
                  <a:lnTo>
                    <a:pt x="0" y="6"/>
                  </a:lnTo>
                  <a:lnTo>
                    <a:pt x="0"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62" name="Freeform 675"/>
            <p:cNvSpPr>
              <a:spLocks/>
            </p:cNvSpPr>
            <p:nvPr/>
          </p:nvSpPr>
          <p:spPr bwMode="auto">
            <a:xfrm>
              <a:off x="5985543" y="2292946"/>
              <a:ext cx="54424" cy="92286"/>
            </a:xfrm>
            <a:custGeom>
              <a:avLst/>
              <a:gdLst/>
              <a:ahLst/>
              <a:cxnLst>
                <a:cxn ang="0">
                  <a:pos x="58" y="30"/>
                </a:cxn>
                <a:cxn ang="0">
                  <a:pos x="54" y="19"/>
                </a:cxn>
                <a:cxn ang="0">
                  <a:pos x="44" y="25"/>
                </a:cxn>
                <a:cxn ang="0">
                  <a:pos x="38" y="27"/>
                </a:cxn>
                <a:cxn ang="0">
                  <a:pos x="32" y="19"/>
                </a:cxn>
                <a:cxn ang="0">
                  <a:pos x="35" y="14"/>
                </a:cxn>
                <a:cxn ang="0">
                  <a:pos x="39" y="11"/>
                </a:cxn>
                <a:cxn ang="0">
                  <a:pos x="39" y="0"/>
                </a:cxn>
                <a:cxn ang="0">
                  <a:pos x="35" y="2"/>
                </a:cxn>
                <a:cxn ang="0">
                  <a:pos x="29" y="5"/>
                </a:cxn>
                <a:cxn ang="0">
                  <a:pos x="28" y="8"/>
                </a:cxn>
                <a:cxn ang="0">
                  <a:pos x="28" y="9"/>
                </a:cxn>
                <a:cxn ang="0">
                  <a:pos x="23" y="15"/>
                </a:cxn>
                <a:cxn ang="0">
                  <a:pos x="26" y="16"/>
                </a:cxn>
                <a:cxn ang="0">
                  <a:pos x="30" y="15"/>
                </a:cxn>
                <a:cxn ang="0">
                  <a:pos x="30" y="19"/>
                </a:cxn>
                <a:cxn ang="0">
                  <a:pos x="25" y="22"/>
                </a:cxn>
                <a:cxn ang="0">
                  <a:pos x="16" y="25"/>
                </a:cxn>
                <a:cxn ang="0">
                  <a:pos x="9" y="22"/>
                </a:cxn>
                <a:cxn ang="0">
                  <a:pos x="7" y="31"/>
                </a:cxn>
                <a:cxn ang="0">
                  <a:pos x="3" y="31"/>
                </a:cxn>
                <a:cxn ang="0">
                  <a:pos x="10" y="34"/>
                </a:cxn>
                <a:cxn ang="0">
                  <a:pos x="7" y="38"/>
                </a:cxn>
                <a:cxn ang="0">
                  <a:pos x="4" y="41"/>
                </a:cxn>
                <a:cxn ang="0">
                  <a:pos x="6" y="45"/>
                </a:cxn>
                <a:cxn ang="0">
                  <a:pos x="7" y="47"/>
                </a:cxn>
                <a:cxn ang="0">
                  <a:pos x="10" y="48"/>
                </a:cxn>
                <a:cxn ang="0">
                  <a:pos x="20" y="50"/>
                </a:cxn>
                <a:cxn ang="0">
                  <a:pos x="16" y="53"/>
                </a:cxn>
                <a:cxn ang="0">
                  <a:pos x="13" y="59"/>
                </a:cxn>
                <a:cxn ang="0">
                  <a:pos x="9" y="64"/>
                </a:cxn>
                <a:cxn ang="0">
                  <a:pos x="20" y="59"/>
                </a:cxn>
                <a:cxn ang="0">
                  <a:pos x="23" y="63"/>
                </a:cxn>
                <a:cxn ang="0">
                  <a:pos x="10" y="66"/>
                </a:cxn>
                <a:cxn ang="0">
                  <a:pos x="7" y="72"/>
                </a:cxn>
                <a:cxn ang="0">
                  <a:pos x="4" y="72"/>
                </a:cxn>
                <a:cxn ang="0">
                  <a:pos x="1" y="72"/>
                </a:cxn>
                <a:cxn ang="0">
                  <a:pos x="0" y="76"/>
                </a:cxn>
                <a:cxn ang="0">
                  <a:pos x="6" y="76"/>
                </a:cxn>
                <a:cxn ang="0">
                  <a:pos x="1" y="80"/>
                </a:cxn>
                <a:cxn ang="0">
                  <a:pos x="3" y="82"/>
                </a:cxn>
                <a:cxn ang="0">
                  <a:pos x="3" y="83"/>
                </a:cxn>
                <a:cxn ang="0">
                  <a:pos x="10" y="83"/>
                </a:cxn>
                <a:cxn ang="0">
                  <a:pos x="4" y="86"/>
                </a:cxn>
                <a:cxn ang="0">
                  <a:pos x="12" y="85"/>
                </a:cxn>
                <a:cxn ang="0">
                  <a:pos x="10" y="88"/>
                </a:cxn>
                <a:cxn ang="0">
                  <a:pos x="9" y="89"/>
                </a:cxn>
                <a:cxn ang="0">
                  <a:pos x="12" y="89"/>
                </a:cxn>
                <a:cxn ang="0">
                  <a:pos x="14" y="89"/>
                </a:cxn>
                <a:cxn ang="0">
                  <a:pos x="17" y="88"/>
                </a:cxn>
                <a:cxn ang="0">
                  <a:pos x="26" y="86"/>
                </a:cxn>
                <a:cxn ang="0">
                  <a:pos x="28" y="80"/>
                </a:cxn>
                <a:cxn ang="0">
                  <a:pos x="29" y="82"/>
                </a:cxn>
                <a:cxn ang="0">
                  <a:pos x="33" y="80"/>
                </a:cxn>
                <a:cxn ang="0">
                  <a:pos x="38" y="79"/>
                </a:cxn>
                <a:cxn ang="0">
                  <a:pos x="39" y="76"/>
                </a:cxn>
                <a:cxn ang="0">
                  <a:pos x="52" y="73"/>
                </a:cxn>
                <a:cxn ang="0">
                  <a:pos x="55" y="75"/>
                </a:cxn>
                <a:cxn ang="0">
                  <a:pos x="55" y="70"/>
                </a:cxn>
                <a:cxn ang="0">
                  <a:pos x="58" y="47"/>
                </a:cxn>
                <a:cxn ang="0">
                  <a:pos x="59" y="41"/>
                </a:cxn>
                <a:cxn ang="0">
                  <a:pos x="57" y="31"/>
                </a:cxn>
              </a:cxnLst>
              <a:rect l="0" t="0" r="r" b="b"/>
              <a:pathLst>
                <a:path w="59" h="89">
                  <a:moveTo>
                    <a:pt x="58" y="31"/>
                  </a:moveTo>
                  <a:lnTo>
                    <a:pt x="58" y="30"/>
                  </a:lnTo>
                  <a:lnTo>
                    <a:pt x="57" y="24"/>
                  </a:lnTo>
                  <a:lnTo>
                    <a:pt x="54" y="19"/>
                  </a:lnTo>
                  <a:lnTo>
                    <a:pt x="46" y="22"/>
                  </a:lnTo>
                  <a:lnTo>
                    <a:pt x="44" y="25"/>
                  </a:lnTo>
                  <a:lnTo>
                    <a:pt x="41" y="28"/>
                  </a:lnTo>
                  <a:lnTo>
                    <a:pt x="38" y="27"/>
                  </a:lnTo>
                  <a:lnTo>
                    <a:pt x="36" y="21"/>
                  </a:lnTo>
                  <a:lnTo>
                    <a:pt x="32" y="19"/>
                  </a:lnTo>
                  <a:lnTo>
                    <a:pt x="35" y="16"/>
                  </a:lnTo>
                  <a:lnTo>
                    <a:pt x="35" y="14"/>
                  </a:lnTo>
                  <a:lnTo>
                    <a:pt x="38" y="14"/>
                  </a:lnTo>
                  <a:lnTo>
                    <a:pt x="39" y="11"/>
                  </a:lnTo>
                  <a:lnTo>
                    <a:pt x="39" y="0"/>
                  </a:lnTo>
                  <a:lnTo>
                    <a:pt x="39" y="0"/>
                  </a:lnTo>
                  <a:lnTo>
                    <a:pt x="38" y="0"/>
                  </a:lnTo>
                  <a:lnTo>
                    <a:pt x="35" y="2"/>
                  </a:lnTo>
                  <a:lnTo>
                    <a:pt x="33" y="0"/>
                  </a:lnTo>
                  <a:lnTo>
                    <a:pt x="29" y="5"/>
                  </a:lnTo>
                  <a:lnTo>
                    <a:pt x="28" y="5"/>
                  </a:lnTo>
                  <a:lnTo>
                    <a:pt x="28" y="8"/>
                  </a:lnTo>
                  <a:lnTo>
                    <a:pt x="28" y="9"/>
                  </a:lnTo>
                  <a:lnTo>
                    <a:pt x="28" y="9"/>
                  </a:lnTo>
                  <a:lnTo>
                    <a:pt x="23" y="14"/>
                  </a:lnTo>
                  <a:lnTo>
                    <a:pt x="23" y="15"/>
                  </a:lnTo>
                  <a:lnTo>
                    <a:pt x="25" y="15"/>
                  </a:lnTo>
                  <a:lnTo>
                    <a:pt x="26" y="16"/>
                  </a:lnTo>
                  <a:lnTo>
                    <a:pt x="28" y="15"/>
                  </a:lnTo>
                  <a:lnTo>
                    <a:pt x="30" y="15"/>
                  </a:lnTo>
                  <a:lnTo>
                    <a:pt x="30" y="16"/>
                  </a:lnTo>
                  <a:lnTo>
                    <a:pt x="30" y="19"/>
                  </a:lnTo>
                  <a:lnTo>
                    <a:pt x="25" y="22"/>
                  </a:lnTo>
                  <a:lnTo>
                    <a:pt x="25" y="22"/>
                  </a:lnTo>
                  <a:lnTo>
                    <a:pt x="25" y="25"/>
                  </a:lnTo>
                  <a:lnTo>
                    <a:pt x="16" y="25"/>
                  </a:lnTo>
                  <a:lnTo>
                    <a:pt x="16" y="24"/>
                  </a:lnTo>
                  <a:lnTo>
                    <a:pt x="9" y="22"/>
                  </a:lnTo>
                  <a:lnTo>
                    <a:pt x="6" y="27"/>
                  </a:lnTo>
                  <a:lnTo>
                    <a:pt x="7" y="31"/>
                  </a:lnTo>
                  <a:lnTo>
                    <a:pt x="6" y="31"/>
                  </a:lnTo>
                  <a:lnTo>
                    <a:pt x="3" y="31"/>
                  </a:lnTo>
                  <a:lnTo>
                    <a:pt x="6" y="34"/>
                  </a:lnTo>
                  <a:lnTo>
                    <a:pt x="10" y="34"/>
                  </a:lnTo>
                  <a:lnTo>
                    <a:pt x="12" y="35"/>
                  </a:lnTo>
                  <a:lnTo>
                    <a:pt x="7" y="38"/>
                  </a:lnTo>
                  <a:lnTo>
                    <a:pt x="6" y="40"/>
                  </a:lnTo>
                  <a:lnTo>
                    <a:pt x="4" y="41"/>
                  </a:lnTo>
                  <a:lnTo>
                    <a:pt x="4" y="43"/>
                  </a:lnTo>
                  <a:lnTo>
                    <a:pt x="6" y="45"/>
                  </a:lnTo>
                  <a:lnTo>
                    <a:pt x="7" y="45"/>
                  </a:lnTo>
                  <a:lnTo>
                    <a:pt x="7" y="47"/>
                  </a:lnTo>
                  <a:lnTo>
                    <a:pt x="10" y="47"/>
                  </a:lnTo>
                  <a:lnTo>
                    <a:pt x="10" y="48"/>
                  </a:lnTo>
                  <a:lnTo>
                    <a:pt x="19" y="48"/>
                  </a:lnTo>
                  <a:lnTo>
                    <a:pt x="20" y="50"/>
                  </a:lnTo>
                  <a:lnTo>
                    <a:pt x="19" y="51"/>
                  </a:lnTo>
                  <a:lnTo>
                    <a:pt x="16" y="53"/>
                  </a:lnTo>
                  <a:lnTo>
                    <a:pt x="13" y="54"/>
                  </a:lnTo>
                  <a:lnTo>
                    <a:pt x="13" y="59"/>
                  </a:lnTo>
                  <a:lnTo>
                    <a:pt x="12" y="60"/>
                  </a:lnTo>
                  <a:lnTo>
                    <a:pt x="9" y="64"/>
                  </a:lnTo>
                  <a:lnTo>
                    <a:pt x="16" y="63"/>
                  </a:lnTo>
                  <a:lnTo>
                    <a:pt x="20" y="59"/>
                  </a:lnTo>
                  <a:lnTo>
                    <a:pt x="20" y="61"/>
                  </a:lnTo>
                  <a:lnTo>
                    <a:pt x="23" y="63"/>
                  </a:lnTo>
                  <a:lnTo>
                    <a:pt x="23" y="63"/>
                  </a:lnTo>
                  <a:lnTo>
                    <a:pt x="10" y="66"/>
                  </a:lnTo>
                  <a:lnTo>
                    <a:pt x="7" y="70"/>
                  </a:lnTo>
                  <a:lnTo>
                    <a:pt x="7" y="72"/>
                  </a:lnTo>
                  <a:lnTo>
                    <a:pt x="7" y="72"/>
                  </a:lnTo>
                  <a:lnTo>
                    <a:pt x="4" y="72"/>
                  </a:lnTo>
                  <a:lnTo>
                    <a:pt x="3" y="73"/>
                  </a:lnTo>
                  <a:lnTo>
                    <a:pt x="1" y="72"/>
                  </a:lnTo>
                  <a:lnTo>
                    <a:pt x="0" y="73"/>
                  </a:lnTo>
                  <a:lnTo>
                    <a:pt x="0" y="76"/>
                  </a:lnTo>
                  <a:lnTo>
                    <a:pt x="6" y="75"/>
                  </a:lnTo>
                  <a:lnTo>
                    <a:pt x="6" y="76"/>
                  </a:lnTo>
                  <a:lnTo>
                    <a:pt x="3" y="77"/>
                  </a:lnTo>
                  <a:lnTo>
                    <a:pt x="1" y="80"/>
                  </a:lnTo>
                  <a:lnTo>
                    <a:pt x="0" y="82"/>
                  </a:lnTo>
                  <a:lnTo>
                    <a:pt x="3" y="82"/>
                  </a:lnTo>
                  <a:lnTo>
                    <a:pt x="3" y="83"/>
                  </a:lnTo>
                  <a:lnTo>
                    <a:pt x="3" y="83"/>
                  </a:lnTo>
                  <a:lnTo>
                    <a:pt x="9" y="82"/>
                  </a:lnTo>
                  <a:lnTo>
                    <a:pt x="10" y="83"/>
                  </a:lnTo>
                  <a:lnTo>
                    <a:pt x="4" y="86"/>
                  </a:lnTo>
                  <a:lnTo>
                    <a:pt x="4" y="86"/>
                  </a:lnTo>
                  <a:lnTo>
                    <a:pt x="12" y="85"/>
                  </a:lnTo>
                  <a:lnTo>
                    <a:pt x="12" y="85"/>
                  </a:lnTo>
                  <a:lnTo>
                    <a:pt x="12" y="86"/>
                  </a:lnTo>
                  <a:lnTo>
                    <a:pt x="10" y="88"/>
                  </a:lnTo>
                  <a:lnTo>
                    <a:pt x="9" y="88"/>
                  </a:lnTo>
                  <a:lnTo>
                    <a:pt x="9" y="89"/>
                  </a:lnTo>
                  <a:lnTo>
                    <a:pt x="9" y="89"/>
                  </a:lnTo>
                  <a:lnTo>
                    <a:pt x="12" y="89"/>
                  </a:lnTo>
                  <a:lnTo>
                    <a:pt x="13" y="88"/>
                  </a:lnTo>
                  <a:lnTo>
                    <a:pt x="14" y="89"/>
                  </a:lnTo>
                  <a:lnTo>
                    <a:pt x="14" y="89"/>
                  </a:lnTo>
                  <a:lnTo>
                    <a:pt x="17" y="88"/>
                  </a:lnTo>
                  <a:lnTo>
                    <a:pt x="19" y="88"/>
                  </a:lnTo>
                  <a:lnTo>
                    <a:pt x="26" y="86"/>
                  </a:lnTo>
                  <a:lnTo>
                    <a:pt x="28" y="83"/>
                  </a:lnTo>
                  <a:lnTo>
                    <a:pt x="28" y="80"/>
                  </a:lnTo>
                  <a:lnTo>
                    <a:pt x="29" y="80"/>
                  </a:lnTo>
                  <a:lnTo>
                    <a:pt x="29" y="82"/>
                  </a:lnTo>
                  <a:lnTo>
                    <a:pt x="30" y="82"/>
                  </a:lnTo>
                  <a:lnTo>
                    <a:pt x="33" y="80"/>
                  </a:lnTo>
                  <a:lnTo>
                    <a:pt x="35" y="79"/>
                  </a:lnTo>
                  <a:lnTo>
                    <a:pt x="38" y="79"/>
                  </a:lnTo>
                  <a:lnTo>
                    <a:pt x="38" y="79"/>
                  </a:lnTo>
                  <a:lnTo>
                    <a:pt x="39" y="76"/>
                  </a:lnTo>
                  <a:lnTo>
                    <a:pt x="39" y="76"/>
                  </a:lnTo>
                  <a:lnTo>
                    <a:pt x="52" y="73"/>
                  </a:lnTo>
                  <a:lnTo>
                    <a:pt x="54" y="75"/>
                  </a:lnTo>
                  <a:lnTo>
                    <a:pt x="55" y="75"/>
                  </a:lnTo>
                  <a:lnTo>
                    <a:pt x="57" y="72"/>
                  </a:lnTo>
                  <a:lnTo>
                    <a:pt x="55" y="70"/>
                  </a:lnTo>
                  <a:lnTo>
                    <a:pt x="59" y="56"/>
                  </a:lnTo>
                  <a:lnTo>
                    <a:pt x="58" y="47"/>
                  </a:lnTo>
                  <a:lnTo>
                    <a:pt x="59" y="45"/>
                  </a:lnTo>
                  <a:lnTo>
                    <a:pt x="59" y="41"/>
                  </a:lnTo>
                  <a:lnTo>
                    <a:pt x="57" y="34"/>
                  </a:lnTo>
                  <a:lnTo>
                    <a:pt x="57" y="31"/>
                  </a:lnTo>
                  <a:lnTo>
                    <a:pt x="58" y="3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63" name="Freeform 676"/>
            <p:cNvSpPr>
              <a:spLocks/>
            </p:cNvSpPr>
            <p:nvPr/>
          </p:nvSpPr>
          <p:spPr bwMode="auto">
            <a:xfrm>
              <a:off x="5985543" y="2292946"/>
              <a:ext cx="54424" cy="92286"/>
            </a:xfrm>
            <a:custGeom>
              <a:avLst/>
              <a:gdLst/>
              <a:ahLst/>
              <a:cxnLst>
                <a:cxn ang="0">
                  <a:pos x="58" y="30"/>
                </a:cxn>
                <a:cxn ang="0">
                  <a:pos x="54" y="19"/>
                </a:cxn>
                <a:cxn ang="0">
                  <a:pos x="44" y="25"/>
                </a:cxn>
                <a:cxn ang="0">
                  <a:pos x="38" y="27"/>
                </a:cxn>
                <a:cxn ang="0">
                  <a:pos x="32" y="19"/>
                </a:cxn>
                <a:cxn ang="0">
                  <a:pos x="35" y="14"/>
                </a:cxn>
                <a:cxn ang="0">
                  <a:pos x="39" y="11"/>
                </a:cxn>
                <a:cxn ang="0">
                  <a:pos x="39" y="0"/>
                </a:cxn>
                <a:cxn ang="0">
                  <a:pos x="35" y="2"/>
                </a:cxn>
                <a:cxn ang="0">
                  <a:pos x="29" y="5"/>
                </a:cxn>
                <a:cxn ang="0">
                  <a:pos x="28" y="8"/>
                </a:cxn>
                <a:cxn ang="0">
                  <a:pos x="28" y="9"/>
                </a:cxn>
                <a:cxn ang="0">
                  <a:pos x="23" y="15"/>
                </a:cxn>
                <a:cxn ang="0">
                  <a:pos x="26" y="16"/>
                </a:cxn>
                <a:cxn ang="0">
                  <a:pos x="30" y="15"/>
                </a:cxn>
                <a:cxn ang="0">
                  <a:pos x="30" y="19"/>
                </a:cxn>
                <a:cxn ang="0">
                  <a:pos x="25" y="22"/>
                </a:cxn>
                <a:cxn ang="0">
                  <a:pos x="16" y="25"/>
                </a:cxn>
                <a:cxn ang="0">
                  <a:pos x="9" y="22"/>
                </a:cxn>
                <a:cxn ang="0">
                  <a:pos x="7" y="31"/>
                </a:cxn>
                <a:cxn ang="0">
                  <a:pos x="3" y="31"/>
                </a:cxn>
                <a:cxn ang="0">
                  <a:pos x="10" y="34"/>
                </a:cxn>
                <a:cxn ang="0">
                  <a:pos x="7" y="38"/>
                </a:cxn>
                <a:cxn ang="0">
                  <a:pos x="4" y="41"/>
                </a:cxn>
                <a:cxn ang="0">
                  <a:pos x="6" y="45"/>
                </a:cxn>
                <a:cxn ang="0">
                  <a:pos x="7" y="47"/>
                </a:cxn>
                <a:cxn ang="0">
                  <a:pos x="10" y="48"/>
                </a:cxn>
                <a:cxn ang="0">
                  <a:pos x="20" y="50"/>
                </a:cxn>
                <a:cxn ang="0">
                  <a:pos x="16" y="53"/>
                </a:cxn>
                <a:cxn ang="0">
                  <a:pos x="13" y="59"/>
                </a:cxn>
                <a:cxn ang="0">
                  <a:pos x="9" y="64"/>
                </a:cxn>
                <a:cxn ang="0">
                  <a:pos x="20" y="59"/>
                </a:cxn>
                <a:cxn ang="0">
                  <a:pos x="23" y="63"/>
                </a:cxn>
                <a:cxn ang="0">
                  <a:pos x="10" y="66"/>
                </a:cxn>
                <a:cxn ang="0">
                  <a:pos x="7" y="72"/>
                </a:cxn>
                <a:cxn ang="0">
                  <a:pos x="4" y="72"/>
                </a:cxn>
                <a:cxn ang="0">
                  <a:pos x="1" y="72"/>
                </a:cxn>
                <a:cxn ang="0">
                  <a:pos x="0" y="76"/>
                </a:cxn>
                <a:cxn ang="0">
                  <a:pos x="6" y="76"/>
                </a:cxn>
                <a:cxn ang="0">
                  <a:pos x="1" y="80"/>
                </a:cxn>
                <a:cxn ang="0">
                  <a:pos x="3" y="82"/>
                </a:cxn>
                <a:cxn ang="0">
                  <a:pos x="3" y="83"/>
                </a:cxn>
                <a:cxn ang="0">
                  <a:pos x="10" y="83"/>
                </a:cxn>
                <a:cxn ang="0">
                  <a:pos x="4" y="86"/>
                </a:cxn>
                <a:cxn ang="0">
                  <a:pos x="12" y="85"/>
                </a:cxn>
                <a:cxn ang="0">
                  <a:pos x="10" y="88"/>
                </a:cxn>
                <a:cxn ang="0">
                  <a:pos x="9" y="89"/>
                </a:cxn>
                <a:cxn ang="0">
                  <a:pos x="12" y="89"/>
                </a:cxn>
                <a:cxn ang="0">
                  <a:pos x="14" y="89"/>
                </a:cxn>
                <a:cxn ang="0">
                  <a:pos x="17" y="88"/>
                </a:cxn>
                <a:cxn ang="0">
                  <a:pos x="26" y="86"/>
                </a:cxn>
                <a:cxn ang="0">
                  <a:pos x="28" y="80"/>
                </a:cxn>
                <a:cxn ang="0">
                  <a:pos x="29" y="82"/>
                </a:cxn>
                <a:cxn ang="0">
                  <a:pos x="33" y="80"/>
                </a:cxn>
                <a:cxn ang="0">
                  <a:pos x="38" y="79"/>
                </a:cxn>
                <a:cxn ang="0">
                  <a:pos x="39" y="76"/>
                </a:cxn>
                <a:cxn ang="0">
                  <a:pos x="52" y="73"/>
                </a:cxn>
                <a:cxn ang="0">
                  <a:pos x="55" y="75"/>
                </a:cxn>
                <a:cxn ang="0">
                  <a:pos x="55" y="70"/>
                </a:cxn>
                <a:cxn ang="0">
                  <a:pos x="58" y="47"/>
                </a:cxn>
                <a:cxn ang="0">
                  <a:pos x="59" y="41"/>
                </a:cxn>
                <a:cxn ang="0">
                  <a:pos x="57" y="31"/>
                </a:cxn>
              </a:cxnLst>
              <a:rect l="0" t="0" r="r" b="b"/>
              <a:pathLst>
                <a:path w="59" h="89">
                  <a:moveTo>
                    <a:pt x="58" y="31"/>
                  </a:moveTo>
                  <a:lnTo>
                    <a:pt x="58" y="30"/>
                  </a:lnTo>
                  <a:lnTo>
                    <a:pt x="57" y="24"/>
                  </a:lnTo>
                  <a:lnTo>
                    <a:pt x="54" y="19"/>
                  </a:lnTo>
                  <a:lnTo>
                    <a:pt x="46" y="22"/>
                  </a:lnTo>
                  <a:lnTo>
                    <a:pt x="44" y="25"/>
                  </a:lnTo>
                  <a:lnTo>
                    <a:pt x="41" y="28"/>
                  </a:lnTo>
                  <a:lnTo>
                    <a:pt x="38" y="27"/>
                  </a:lnTo>
                  <a:lnTo>
                    <a:pt x="36" y="21"/>
                  </a:lnTo>
                  <a:lnTo>
                    <a:pt x="32" y="19"/>
                  </a:lnTo>
                  <a:lnTo>
                    <a:pt x="35" y="16"/>
                  </a:lnTo>
                  <a:lnTo>
                    <a:pt x="35" y="14"/>
                  </a:lnTo>
                  <a:lnTo>
                    <a:pt x="38" y="14"/>
                  </a:lnTo>
                  <a:lnTo>
                    <a:pt x="39" y="11"/>
                  </a:lnTo>
                  <a:lnTo>
                    <a:pt x="39" y="0"/>
                  </a:lnTo>
                  <a:lnTo>
                    <a:pt x="39" y="0"/>
                  </a:lnTo>
                  <a:lnTo>
                    <a:pt x="38" y="0"/>
                  </a:lnTo>
                  <a:lnTo>
                    <a:pt x="35" y="2"/>
                  </a:lnTo>
                  <a:lnTo>
                    <a:pt x="33" y="0"/>
                  </a:lnTo>
                  <a:lnTo>
                    <a:pt x="29" y="5"/>
                  </a:lnTo>
                  <a:lnTo>
                    <a:pt x="28" y="5"/>
                  </a:lnTo>
                  <a:lnTo>
                    <a:pt x="28" y="8"/>
                  </a:lnTo>
                  <a:lnTo>
                    <a:pt x="28" y="9"/>
                  </a:lnTo>
                  <a:lnTo>
                    <a:pt x="28" y="9"/>
                  </a:lnTo>
                  <a:lnTo>
                    <a:pt x="23" y="14"/>
                  </a:lnTo>
                  <a:lnTo>
                    <a:pt x="23" y="15"/>
                  </a:lnTo>
                  <a:lnTo>
                    <a:pt x="25" y="15"/>
                  </a:lnTo>
                  <a:lnTo>
                    <a:pt x="26" y="16"/>
                  </a:lnTo>
                  <a:lnTo>
                    <a:pt x="28" y="15"/>
                  </a:lnTo>
                  <a:lnTo>
                    <a:pt x="30" y="15"/>
                  </a:lnTo>
                  <a:lnTo>
                    <a:pt x="30" y="16"/>
                  </a:lnTo>
                  <a:lnTo>
                    <a:pt x="30" y="19"/>
                  </a:lnTo>
                  <a:lnTo>
                    <a:pt x="25" y="22"/>
                  </a:lnTo>
                  <a:lnTo>
                    <a:pt x="25" y="22"/>
                  </a:lnTo>
                  <a:lnTo>
                    <a:pt x="25" y="25"/>
                  </a:lnTo>
                  <a:lnTo>
                    <a:pt x="16" y="25"/>
                  </a:lnTo>
                  <a:lnTo>
                    <a:pt x="16" y="24"/>
                  </a:lnTo>
                  <a:lnTo>
                    <a:pt x="9" y="22"/>
                  </a:lnTo>
                  <a:lnTo>
                    <a:pt x="6" y="27"/>
                  </a:lnTo>
                  <a:lnTo>
                    <a:pt x="7" y="31"/>
                  </a:lnTo>
                  <a:lnTo>
                    <a:pt x="6" y="31"/>
                  </a:lnTo>
                  <a:lnTo>
                    <a:pt x="3" y="31"/>
                  </a:lnTo>
                  <a:lnTo>
                    <a:pt x="6" y="34"/>
                  </a:lnTo>
                  <a:lnTo>
                    <a:pt x="10" y="34"/>
                  </a:lnTo>
                  <a:lnTo>
                    <a:pt x="12" y="35"/>
                  </a:lnTo>
                  <a:lnTo>
                    <a:pt x="7" y="38"/>
                  </a:lnTo>
                  <a:lnTo>
                    <a:pt x="6" y="40"/>
                  </a:lnTo>
                  <a:lnTo>
                    <a:pt x="4" y="41"/>
                  </a:lnTo>
                  <a:lnTo>
                    <a:pt x="4" y="43"/>
                  </a:lnTo>
                  <a:lnTo>
                    <a:pt x="6" y="45"/>
                  </a:lnTo>
                  <a:lnTo>
                    <a:pt x="7" y="45"/>
                  </a:lnTo>
                  <a:lnTo>
                    <a:pt x="7" y="47"/>
                  </a:lnTo>
                  <a:lnTo>
                    <a:pt x="10" y="47"/>
                  </a:lnTo>
                  <a:lnTo>
                    <a:pt x="10" y="48"/>
                  </a:lnTo>
                  <a:lnTo>
                    <a:pt x="19" y="48"/>
                  </a:lnTo>
                  <a:lnTo>
                    <a:pt x="20" y="50"/>
                  </a:lnTo>
                  <a:lnTo>
                    <a:pt x="19" y="51"/>
                  </a:lnTo>
                  <a:lnTo>
                    <a:pt x="16" y="53"/>
                  </a:lnTo>
                  <a:lnTo>
                    <a:pt x="13" y="54"/>
                  </a:lnTo>
                  <a:lnTo>
                    <a:pt x="13" y="59"/>
                  </a:lnTo>
                  <a:lnTo>
                    <a:pt x="12" y="60"/>
                  </a:lnTo>
                  <a:lnTo>
                    <a:pt x="9" y="64"/>
                  </a:lnTo>
                  <a:lnTo>
                    <a:pt x="16" y="63"/>
                  </a:lnTo>
                  <a:lnTo>
                    <a:pt x="20" y="59"/>
                  </a:lnTo>
                  <a:lnTo>
                    <a:pt x="20" y="61"/>
                  </a:lnTo>
                  <a:lnTo>
                    <a:pt x="23" y="63"/>
                  </a:lnTo>
                  <a:lnTo>
                    <a:pt x="23" y="63"/>
                  </a:lnTo>
                  <a:lnTo>
                    <a:pt x="10" y="66"/>
                  </a:lnTo>
                  <a:lnTo>
                    <a:pt x="7" y="70"/>
                  </a:lnTo>
                  <a:lnTo>
                    <a:pt x="7" y="72"/>
                  </a:lnTo>
                  <a:lnTo>
                    <a:pt x="7" y="72"/>
                  </a:lnTo>
                  <a:lnTo>
                    <a:pt x="4" y="72"/>
                  </a:lnTo>
                  <a:lnTo>
                    <a:pt x="3" y="73"/>
                  </a:lnTo>
                  <a:lnTo>
                    <a:pt x="1" y="72"/>
                  </a:lnTo>
                  <a:lnTo>
                    <a:pt x="0" y="73"/>
                  </a:lnTo>
                  <a:lnTo>
                    <a:pt x="0" y="76"/>
                  </a:lnTo>
                  <a:lnTo>
                    <a:pt x="6" y="75"/>
                  </a:lnTo>
                  <a:lnTo>
                    <a:pt x="6" y="76"/>
                  </a:lnTo>
                  <a:lnTo>
                    <a:pt x="3" y="77"/>
                  </a:lnTo>
                  <a:lnTo>
                    <a:pt x="1" y="80"/>
                  </a:lnTo>
                  <a:lnTo>
                    <a:pt x="0" y="82"/>
                  </a:lnTo>
                  <a:lnTo>
                    <a:pt x="3" y="82"/>
                  </a:lnTo>
                  <a:lnTo>
                    <a:pt x="3" y="83"/>
                  </a:lnTo>
                  <a:lnTo>
                    <a:pt x="3" y="83"/>
                  </a:lnTo>
                  <a:lnTo>
                    <a:pt x="9" y="82"/>
                  </a:lnTo>
                  <a:lnTo>
                    <a:pt x="10" y="83"/>
                  </a:lnTo>
                  <a:lnTo>
                    <a:pt x="4" y="86"/>
                  </a:lnTo>
                  <a:lnTo>
                    <a:pt x="4" y="86"/>
                  </a:lnTo>
                  <a:lnTo>
                    <a:pt x="12" y="85"/>
                  </a:lnTo>
                  <a:lnTo>
                    <a:pt x="12" y="85"/>
                  </a:lnTo>
                  <a:lnTo>
                    <a:pt x="12" y="86"/>
                  </a:lnTo>
                  <a:lnTo>
                    <a:pt x="10" y="88"/>
                  </a:lnTo>
                  <a:lnTo>
                    <a:pt x="9" y="88"/>
                  </a:lnTo>
                  <a:lnTo>
                    <a:pt x="9" y="89"/>
                  </a:lnTo>
                  <a:lnTo>
                    <a:pt x="9" y="89"/>
                  </a:lnTo>
                  <a:lnTo>
                    <a:pt x="12" y="89"/>
                  </a:lnTo>
                  <a:lnTo>
                    <a:pt x="13" y="88"/>
                  </a:lnTo>
                  <a:lnTo>
                    <a:pt x="14" y="89"/>
                  </a:lnTo>
                  <a:lnTo>
                    <a:pt x="14" y="89"/>
                  </a:lnTo>
                  <a:lnTo>
                    <a:pt x="17" y="88"/>
                  </a:lnTo>
                  <a:lnTo>
                    <a:pt x="19" y="88"/>
                  </a:lnTo>
                  <a:lnTo>
                    <a:pt x="26" y="86"/>
                  </a:lnTo>
                  <a:lnTo>
                    <a:pt x="28" y="83"/>
                  </a:lnTo>
                  <a:lnTo>
                    <a:pt x="28" y="80"/>
                  </a:lnTo>
                  <a:lnTo>
                    <a:pt x="29" y="80"/>
                  </a:lnTo>
                  <a:lnTo>
                    <a:pt x="29" y="82"/>
                  </a:lnTo>
                  <a:lnTo>
                    <a:pt x="30" y="82"/>
                  </a:lnTo>
                  <a:lnTo>
                    <a:pt x="33" y="80"/>
                  </a:lnTo>
                  <a:lnTo>
                    <a:pt x="35" y="79"/>
                  </a:lnTo>
                  <a:lnTo>
                    <a:pt x="38" y="79"/>
                  </a:lnTo>
                  <a:lnTo>
                    <a:pt x="38" y="79"/>
                  </a:lnTo>
                  <a:lnTo>
                    <a:pt x="39" y="76"/>
                  </a:lnTo>
                  <a:lnTo>
                    <a:pt x="39" y="76"/>
                  </a:lnTo>
                  <a:lnTo>
                    <a:pt x="52" y="73"/>
                  </a:lnTo>
                  <a:lnTo>
                    <a:pt x="54" y="75"/>
                  </a:lnTo>
                  <a:lnTo>
                    <a:pt x="55" y="75"/>
                  </a:lnTo>
                  <a:lnTo>
                    <a:pt x="57" y="72"/>
                  </a:lnTo>
                  <a:lnTo>
                    <a:pt x="55" y="70"/>
                  </a:lnTo>
                  <a:lnTo>
                    <a:pt x="59" y="56"/>
                  </a:lnTo>
                  <a:lnTo>
                    <a:pt x="58" y="47"/>
                  </a:lnTo>
                  <a:lnTo>
                    <a:pt x="59" y="45"/>
                  </a:lnTo>
                  <a:lnTo>
                    <a:pt x="59" y="41"/>
                  </a:lnTo>
                  <a:lnTo>
                    <a:pt x="57" y="34"/>
                  </a:lnTo>
                  <a:lnTo>
                    <a:pt x="57" y="31"/>
                  </a:lnTo>
                  <a:lnTo>
                    <a:pt x="58" y="3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64" name="Freeform 677"/>
            <p:cNvSpPr>
              <a:spLocks/>
            </p:cNvSpPr>
            <p:nvPr/>
          </p:nvSpPr>
          <p:spPr bwMode="auto">
            <a:xfrm>
              <a:off x="6262929" y="1844699"/>
              <a:ext cx="170293" cy="444190"/>
            </a:xfrm>
            <a:custGeom>
              <a:avLst/>
              <a:gdLst/>
              <a:ahLst/>
              <a:cxnLst>
                <a:cxn ang="0">
                  <a:pos x="4" y="351"/>
                </a:cxn>
                <a:cxn ang="0">
                  <a:pos x="7" y="351"/>
                </a:cxn>
                <a:cxn ang="0">
                  <a:pos x="9" y="364"/>
                </a:cxn>
                <a:cxn ang="0">
                  <a:pos x="13" y="375"/>
                </a:cxn>
                <a:cxn ang="0">
                  <a:pos x="26" y="398"/>
                </a:cxn>
                <a:cxn ang="0">
                  <a:pos x="20" y="403"/>
                </a:cxn>
                <a:cxn ang="0">
                  <a:pos x="25" y="425"/>
                </a:cxn>
                <a:cxn ang="0">
                  <a:pos x="44" y="425"/>
                </a:cxn>
                <a:cxn ang="0">
                  <a:pos x="54" y="404"/>
                </a:cxn>
                <a:cxn ang="0">
                  <a:pos x="74" y="391"/>
                </a:cxn>
                <a:cxn ang="0">
                  <a:pos x="77" y="368"/>
                </a:cxn>
                <a:cxn ang="0">
                  <a:pos x="78" y="359"/>
                </a:cxn>
                <a:cxn ang="0">
                  <a:pos x="80" y="349"/>
                </a:cxn>
                <a:cxn ang="0">
                  <a:pos x="81" y="345"/>
                </a:cxn>
                <a:cxn ang="0">
                  <a:pos x="83" y="339"/>
                </a:cxn>
                <a:cxn ang="0">
                  <a:pos x="93" y="333"/>
                </a:cxn>
                <a:cxn ang="0">
                  <a:pos x="105" y="324"/>
                </a:cxn>
                <a:cxn ang="0">
                  <a:pos x="87" y="323"/>
                </a:cxn>
                <a:cxn ang="0">
                  <a:pos x="75" y="317"/>
                </a:cxn>
                <a:cxn ang="0">
                  <a:pos x="86" y="317"/>
                </a:cxn>
                <a:cxn ang="0">
                  <a:pos x="93" y="317"/>
                </a:cxn>
                <a:cxn ang="0">
                  <a:pos x="110" y="305"/>
                </a:cxn>
                <a:cxn ang="0">
                  <a:pos x="99" y="291"/>
                </a:cxn>
                <a:cxn ang="0">
                  <a:pos x="89" y="291"/>
                </a:cxn>
                <a:cxn ang="0">
                  <a:pos x="78" y="297"/>
                </a:cxn>
                <a:cxn ang="0">
                  <a:pos x="86" y="282"/>
                </a:cxn>
                <a:cxn ang="0">
                  <a:pos x="86" y="252"/>
                </a:cxn>
                <a:cxn ang="0">
                  <a:pos x="89" y="231"/>
                </a:cxn>
                <a:cxn ang="0">
                  <a:pos x="96" y="226"/>
                </a:cxn>
                <a:cxn ang="0">
                  <a:pos x="99" y="220"/>
                </a:cxn>
                <a:cxn ang="0">
                  <a:pos x="100" y="214"/>
                </a:cxn>
                <a:cxn ang="0">
                  <a:pos x="109" y="207"/>
                </a:cxn>
                <a:cxn ang="0">
                  <a:pos x="120" y="195"/>
                </a:cxn>
                <a:cxn ang="0">
                  <a:pos x="131" y="191"/>
                </a:cxn>
                <a:cxn ang="0">
                  <a:pos x="148" y="172"/>
                </a:cxn>
                <a:cxn ang="0">
                  <a:pos x="145" y="159"/>
                </a:cxn>
                <a:cxn ang="0">
                  <a:pos x="148" y="150"/>
                </a:cxn>
                <a:cxn ang="0">
                  <a:pos x="152" y="133"/>
                </a:cxn>
                <a:cxn ang="0">
                  <a:pos x="157" y="128"/>
                </a:cxn>
                <a:cxn ang="0">
                  <a:pos x="160" y="124"/>
                </a:cxn>
                <a:cxn ang="0">
                  <a:pos x="163" y="119"/>
                </a:cxn>
                <a:cxn ang="0">
                  <a:pos x="170" y="121"/>
                </a:cxn>
                <a:cxn ang="0">
                  <a:pos x="184" y="121"/>
                </a:cxn>
                <a:cxn ang="0">
                  <a:pos x="179" y="77"/>
                </a:cxn>
                <a:cxn ang="0">
                  <a:pos x="179" y="45"/>
                </a:cxn>
                <a:cxn ang="0">
                  <a:pos x="131" y="0"/>
                </a:cxn>
                <a:cxn ang="0">
                  <a:pos x="129" y="10"/>
                </a:cxn>
                <a:cxn ang="0">
                  <a:pos x="125" y="26"/>
                </a:cxn>
                <a:cxn ang="0">
                  <a:pos x="100" y="40"/>
                </a:cxn>
                <a:cxn ang="0">
                  <a:pos x="80" y="47"/>
                </a:cxn>
                <a:cxn ang="0">
                  <a:pos x="64" y="95"/>
                </a:cxn>
                <a:cxn ang="0">
                  <a:pos x="39" y="160"/>
                </a:cxn>
                <a:cxn ang="0">
                  <a:pos x="28" y="181"/>
                </a:cxn>
                <a:cxn ang="0">
                  <a:pos x="17" y="211"/>
                </a:cxn>
                <a:cxn ang="0">
                  <a:pos x="19" y="255"/>
                </a:cxn>
                <a:cxn ang="0">
                  <a:pos x="16" y="275"/>
                </a:cxn>
                <a:cxn ang="0">
                  <a:pos x="17" y="304"/>
                </a:cxn>
                <a:cxn ang="0">
                  <a:pos x="4" y="335"/>
                </a:cxn>
              </a:cxnLst>
              <a:rect l="0" t="0" r="r" b="b"/>
              <a:pathLst>
                <a:path w="186" h="426">
                  <a:moveTo>
                    <a:pt x="1" y="329"/>
                  </a:moveTo>
                  <a:lnTo>
                    <a:pt x="0" y="332"/>
                  </a:lnTo>
                  <a:lnTo>
                    <a:pt x="3" y="346"/>
                  </a:lnTo>
                  <a:lnTo>
                    <a:pt x="3" y="346"/>
                  </a:lnTo>
                  <a:lnTo>
                    <a:pt x="4" y="348"/>
                  </a:lnTo>
                  <a:lnTo>
                    <a:pt x="4" y="351"/>
                  </a:lnTo>
                  <a:lnTo>
                    <a:pt x="4" y="351"/>
                  </a:lnTo>
                  <a:lnTo>
                    <a:pt x="6" y="349"/>
                  </a:lnTo>
                  <a:lnTo>
                    <a:pt x="6" y="348"/>
                  </a:lnTo>
                  <a:lnTo>
                    <a:pt x="7" y="348"/>
                  </a:lnTo>
                  <a:lnTo>
                    <a:pt x="6" y="351"/>
                  </a:lnTo>
                  <a:lnTo>
                    <a:pt x="7" y="351"/>
                  </a:lnTo>
                  <a:lnTo>
                    <a:pt x="7" y="351"/>
                  </a:lnTo>
                  <a:lnTo>
                    <a:pt x="7" y="352"/>
                  </a:lnTo>
                  <a:lnTo>
                    <a:pt x="4" y="355"/>
                  </a:lnTo>
                  <a:lnTo>
                    <a:pt x="9" y="356"/>
                  </a:lnTo>
                  <a:lnTo>
                    <a:pt x="10" y="359"/>
                  </a:lnTo>
                  <a:lnTo>
                    <a:pt x="9" y="364"/>
                  </a:lnTo>
                  <a:lnTo>
                    <a:pt x="12" y="362"/>
                  </a:lnTo>
                  <a:lnTo>
                    <a:pt x="13" y="365"/>
                  </a:lnTo>
                  <a:lnTo>
                    <a:pt x="10" y="368"/>
                  </a:lnTo>
                  <a:lnTo>
                    <a:pt x="12" y="372"/>
                  </a:lnTo>
                  <a:lnTo>
                    <a:pt x="12" y="375"/>
                  </a:lnTo>
                  <a:lnTo>
                    <a:pt x="13" y="375"/>
                  </a:lnTo>
                  <a:lnTo>
                    <a:pt x="17" y="385"/>
                  </a:lnTo>
                  <a:lnTo>
                    <a:pt x="19" y="388"/>
                  </a:lnTo>
                  <a:lnTo>
                    <a:pt x="20" y="391"/>
                  </a:lnTo>
                  <a:lnTo>
                    <a:pt x="23" y="394"/>
                  </a:lnTo>
                  <a:lnTo>
                    <a:pt x="26" y="397"/>
                  </a:lnTo>
                  <a:lnTo>
                    <a:pt x="26" y="398"/>
                  </a:lnTo>
                  <a:lnTo>
                    <a:pt x="25" y="400"/>
                  </a:lnTo>
                  <a:lnTo>
                    <a:pt x="22" y="398"/>
                  </a:lnTo>
                  <a:lnTo>
                    <a:pt x="22" y="400"/>
                  </a:lnTo>
                  <a:lnTo>
                    <a:pt x="23" y="404"/>
                  </a:lnTo>
                  <a:lnTo>
                    <a:pt x="22" y="404"/>
                  </a:lnTo>
                  <a:lnTo>
                    <a:pt x="20" y="403"/>
                  </a:lnTo>
                  <a:lnTo>
                    <a:pt x="20" y="404"/>
                  </a:lnTo>
                  <a:lnTo>
                    <a:pt x="28" y="419"/>
                  </a:lnTo>
                  <a:lnTo>
                    <a:pt x="26" y="420"/>
                  </a:lnTo>
                  <a:lnTo>
                    <a:pt x="26" y="423"/>
                  </a:lnTo>
                  <a:lnTo>
                    <a:pt x="25" y="425"/>
                  </a:lnTo>
                  <a:lnTo>
                    <a:pt x="25" y="425"/>
                  </a:lnTo>
                  <a:lnTo>
                    <a:pt x="28" y="425"/>
                  </a:lnTo>
                  <a:lnTo>
                    <a:pt x="30" y="426"/>
                  </a:lnTo>
                  <a:lnTo>
                    <a:pt x="36" y="425"/>
                  </a:lnTo>
                  <a:lnTo>
                    <a:pt x="41" y="425"/>
                  </a:lnTo>
                  <a:lnTo>
                    <a:pt x="42" y="426"/>
                  </a:lnTo>
                  <a:lnTo>
                    <a:pt x="44" y="425"/>
                  </a:lnTo>
                  <a:lnTo>
                    <a:pt x="45" y="420"/>
                  </a:lnTo>
                  <a:lnTo>
                    <a:pt x="45" y="414"/>
                  </a:lnTo>
                  <a:lnTo>
                    <a:pt x="48" y="409"/>
                  </a:lnTo>
                  <a:lnTo>
                    <a:pt x="49" y="409"/>
                  </a:lnTo>
                  <a:lnTo>
                    <a:pt x="51" y="407"/>
                  </a:lnTo>
                  <a:lnTo>
                    <a:pt x="54" y="404"/>
                  </a:lnTo>
                  <a:lnTo>
                    <a:pt x="57" y="406"/>
                  </a:lnTo>
                  <a:lnTo>
                    <a:pt x="59" y="406"/>
                  </a:lnTo>
                  <a:lnTo>
                    <a:pt x="62" y="406"/>
                  </a:lnTo>
                  <a:lnTo>
                    <a:pt x="65" y="406"/>
                  </a:lnTo>
                  <a:lnTo>
                    <a:pt x="68" y="406"/>
                  </a:lnTo>
                  <a:lnTo>
                    <a:pt x="74" y="391"/>
                  </a:lnTo>
                  <a:lnTo>
                    <a:pt x="74" y="385"/>
                  </a:lnTo>
                  <a:lnTo>
                    <a:pt x="75" y="382"/>
                  </a:lnTo>
                  <a:lnTo>
                    <a:pt x="75" y="378"/>
                  </a:lnTo>
                  <a:lnTo>
                    <a:pt x="78" y="372"/>
                  </a:lnTo>
                  <a:lnTo>
                    <a:pt x="78" y="369"/>
                  </a:lnTo>
                  <a:lnTo>
                    <a:pt x="77" y="368"/>
                  </a:lnTo>
                  <a:lnTo>
                    <a:pt x="78" y="365"/>
                  </a:lnTo>
                  <a:lnTo>
                    <a:pt x="78" y="364"/>
                  </a:lnTo>
                  <a:lnTo>
                    <a:pt x="77" y="361"/>
                  </a:lnTo>
                  <a:lnTo>
                    <a:pt x="77" y="361"/>
                  </a:lnTo>
                  <a:lnTo>
                    <a:pt x="77" y="359"/>
                  </a:lnTo>
                  <a:lnTo>
                    <a:pt x="78" y="359"/>
                  </a:lnTo>
                  <a:lnTo>
                    <a:pt x="80" y="359"/>
                  </a:lnTo>
                  <a:lnTo>
                    <a:pt x="78" y="358"/>
                  </a:lnTo>
                  <a:lnTo>
                    <a:pt x="78" y="356"/>
                  </a:lnTo>
                  <a:lnTo>
                    <a:pt x="80" y="355"/>
                  </a:lnTo>
                  <a:lnTo>
                    <a:pt x="80" y="353"/>
                  </a:lnTo>
                  <a:lnTo>
                    <a:pt x="80" y="349"/>
                  </a:lnTo>
                  <a:lnTo>
                    <a:pt x="80" y="348"/>
                  </a:lnTo>
                  <a:lnTo>
                    <a:pt x="75" y="345"/>
                  </a:lnTo>
                  <a:lnTo>
                    <a:pt x="75" y="345"/>
                  </a:lnTo>
                  <a:lnTo>
                    <a:pt x="78" y="346"/>
                  </a:lnTo>
                  <a:lnTo>
                    <a:pt x="81" y="345"/>
                  </a:lnTo>
                  <a:lnTo>
                    <a:pt x="81" y="345"/>
                  </a:lnTo>
                  <a:lnTo>
                    <a:pt x="78" y="342"/>
                  </a:lnTo>
                  <a:lnTo>
                    <a:pt x="71" y="340"/>
                  </a:lnTo>
                  <a:lnTo>
                    <a:pt x="73" y="340"/>
                  </a:lnTo>
                  <a:lnTo>
                    <a:pt x="78" y="339"/>
                  </a:lnTo>
                  <a:lnTo>
                    <a:pt x="81" y="340"/>
                  </a:lnTo>
                  <a:lnTo>
                    <a:pt x="83" y="339"/>
                  </a:lnTo>
                  <a:lnTo>
                    <a:pt x="84" y="337"/>
                  </a:lnTo>
                  <a:lnTo>
                    <a:pt x="87" y="337"/>
                  </a:lnTo>
                  <a:lnTo>
                    <a:pt x="91" y="332"/>
                  </a:lnTo>
                  <a:lnTo>
                    <a:pt x="91" y="329"/>
                  </a:lnTo>
                  <a:lnTo>
                    <a:pt x="93" y="330"/>
                  </a:lnTo>
                  <a:lnTo>
                    <a:pt x="93" y="333"/>
                  </a:lnTo>
                  <a:lnTo>
                    <a:pt x="97" y="333"/>
                  </a:lnTo>
                  <a:lnTo>
                    <a:pt x="99" y="329"/>
                  </a:lnTo>
                  <a:lnTo>
                    <a:pt x="102" y="326"/>
                  </a:lnTo>
                  <a:lnTo>
                    <a:pt x="102" y="323"/>
                  </a:lnTo>
                  <a:lnTo>
                    <a:pt x="103" y="324"/>
                  </a:lnTo>
                  <a:lnTo>
                    <a:pt x="105" y="324"/>
                  </a:lnTo>
                  <a:lnTo>
                    <a:pt x="105" y="323"/>
                  </a:lnTo>
                  <a:lnTo>
                    <a:pt x="106" y="321"/>
                  </a:lnTo>
                  <a:lnTo>
                    <a:pt x="106" y="320"/>
                  </a:lnTo>
                  <a:lnTo>
                    <a:pt x="91" y="323"/>
                  </a:lnTo>
                  <a:lnTo>
                    <a:pt x="89" y="323"/>
                  </a:lnTo>
                  <a:lnTo>
                    <a:pt x="87" y="323"/>
                  </a:lnTo>
                  <a:lnTo>
                    <a:pt x="87" y="321"/>
                  </a:lnTo>
                  <a:lnTo>
                    <a:pt x="86" y="320"/>
                  </a:lnTo>
                  <a:lnTo>
                    <a:pt x="80" y="317"/>
                  </a:lnTo>
                  <a:lnTo>
                    <a:pt x="75" y="319"/>
                  </a:lnTo>
                  <a:lnTo>
                    <a:pt x="74" y="317"/>
                  </a:lnTo>
                  <a:lnTo>
                    <a:pt x="75" y="317"/>
                  </a:lnTo>
                  <a:lnTo>
                    <a:pt x="77" y="314"/>
                  </a:lnTo>
                  <a:lnTo>
                    <a:pt x="78" y="316"/>
                  </a:lnTo>
                  <a:lnTo>
                    <a:pt x="80" y="314"/>
                  </a:lnTo>
                  <a:lnTo>
                    <a:pt x="84" y="316"/>
                  </a:lnTo>
                  <a:lnTo>
                    <a:pt x="84" y="314"/>
                  </a:lnTo>
                  <a:lnTo>
                    <a:pt x="86" y="317"/>
                  </a:lnTo>
                  <a:lnTo>
                    <a:pt x="89" y="316"/>
                  </a:lnTo>
                  <a:lnTo>
                    <a:pt x="89" y="316"/>
                  </a:lnTo>
                  <a:lnTo>
                    <a:pt x="90" y="317"/>
                  </a:lnTo>
                  <a:lnTo>
                    <a:pt x="91" y="317"/>
                  </a:lnTo>
                  <a:lnTo>
                    <a:pt x="93" y="316"/>
                  </a:lnTo>
                  <a:lnTo>
                    <a:pt x="93" y="317"/>
                  </a:lnTo>
                  <a:lnTo>
                    <a:pt x="94" y="320"/>
                  </a:lnTo>
                  <a:lnTo>
                    <a:pt x="97" y="320"/>
                  </a:lnTo>
                  <a:lnTo>
                    <a:pt x="105" y="316"/>
                  </a:lnTo>
                  <a:lnTo>
                    <a:pt x="107" y="311"/>
                  </a:lnTo>
                  <a:lnTo>
                    <a:pt x="109" y="310"/>
                  </a:lnTo>
                  <a:lnTo>
                    <a:pt x="110" y="305"/>
                  </a:lnTo>
                  <a:lnTo>
                    <a:pt x="109" y="301"/>
                  </a:lnTo>
                  <a:lnTo>
                    <a:pt x="105" y="300"/>
                  </a:lnTo>
                  <a:lnTo>
                    <a:pt x="103" y="295"/>
                  </a:lnTo>
                  <a:lnTo>
                    <a:pt x="105" y="295"/>
                  </a:lnTo>
                  <a:lnTo>
                    <a:pt x="105" y="294"/>
                  </a:lnTo>
                  <a:lnTo>
                    <a:pt x="99" y="291"/>
                  </a:lnTo>
                  <a:lnTo>
                    <a:pt x="97" y="287"/>
                  </a:lnTo>
                  <a:lnTo>
                    <a:pt x="93" y="287"/>
                  </a:lnTo>
                  <a:lnTo>
                    <a:pt x="91" y="285"/>
                  </a:lnTo>
                  <a:lnTo>
                    <a:pt x="90" y="284"/>
                  </a:lnTo>
                  <a:lnTo>
                    <a:pt x="90" y="285"/>
                  </a:lnTo>
                  <a:lnTo>
                    <a:pt x="89" y="291"/>
                  </a:lnTo>
                  <a:lnTo>
                    <a:pt x="80" y="298"/>
                  </a:lnTo>
                  <a:lnTo>
                    <a:pt x="78" y="298"/>
                  </a:lnTo>
                  <a:lnTo>
                    <a:pt x="75" y="300"/>
                  </a:lnTo>
                  <a:lnTo>
                    <a:pt x="73" y="298"/>
                  </a:lnTo>
                  <a:lnTo>
                    <a:pt x="75" y="297"/>
                  </a:lnTo>
                  <a:lnTo>
                    <a:pt x="78" y="297"/>
                  </a:lnTo>
                  <a:lnTo>
                    <a:pt x="81" y="294"/>
                  </a:lnTo>
                  <a:lnTo>
                    <a:pt x="83" y="292"/>
                  </a:lnTo>
                  <a:lnTo>
                    <a:pt x="87" y="288"/>
                  </a:lnTo>
                  <a:lnTo>
                    <a:pt x="89" y="287"/>
                  </a:lnTo>
                  <a:lnTo>
                    <a:pt x="89" y="282"/>
                  </a:lnTo>
                  <a:lnTo>
                    <a:pt x="86" y="282"/>
                  </a:lnTo>
                  <a:lnTo>
                    <a:pt x="87" y="281"/>
                  </a:lnTo>
                  <a:lnTo>
                    <a:pt x="87" y="278"/>
                  </a:lnTo>
                  <a:lnTo>
                    <a:pt x="86" y="275"/>
                  </a:lnTo>
                  <a:lnTo>
                    <a:pt x="86" y="258"/>
                  </a:lnTo>
                  <a:lnTo>
                    <a:pt x="86" y="253"/>
                  </a:lnTo>
                  <a:lnTo>
                    <a:pt x="86" y="252"/>
                  </a:lnTo>
                  <a:lnTo>
                    <a:pt x="90" y="255"/>
                  </a:lnTo>
                  <a:lnTo>
                    <a:pt x="90" y="252"/>
                  </a:lnTo>
                  <a:lnTo>
                    <a:pt x="89" y="246"/>
                  </a:lnTo>
                  <a:lnTo>
                    <a:pt x="91" y="236"/>
                  </a:lnTo>
                  <a:lnTo>
                    <a:pt x="90" y="234"/>
                  </a:lnTo>
                  <a:lnTo>
                    <a:pt x="89" y="231"/>
                  </a:lnTo>
                  <a:lnTo>
                    <a:pt x="89" y="228"/>
                  </a:lnTo>
                  <a:lnTo>
                    <a:pt x="93" y="230"/>
                  </a:lnTo>
                  <a:lnTo>
                    <a:pt x="93" y="230"/>
                  </a:lnTo>
                  <a:lnTo>
                    <a:pt x="94" y="228"/>
                  </a:lnTo>
                  <a:lnTo>
                    <a:pt x="96" y="227"/>
                  </a:lnTo>
                  <a:lnTo>
                    <a:pt x="96" y="226"/>
                  </a:lnTo>
                  <a:lnTo>
                    <a:pt x="96" y="226"/>
                  </a:lnTo>
                  <a:lnTo>
                    <a:pt x="96" y="221"/>
                  </a:lnTo>
                  <a:lnTo>
                    <a:pt x="96" y="218"/>
                  </a:lnTo>
                  <a:lnTo>
                    <a:pt x="96" y="215"/>
                  </a:lnTo>
                  <a:lnTo>
                    <a:pt x="96" y="218"/>
                  </a:lnTo>
                  <a:lnTo>
                    <a:pt x="99" y="220"/>
                  </a:lnTo>
                  <a:lnTo>
                    <a:pt x="99" y="220"/>
                  </a:lnTo>
                  <a:lnTo>
                    <a:pt x="100" y="217"/>
                  </a:lnTo>
                  <a:lnTo>
                    <a:pt x="103" y="218"/>
                  </a:lnTo>
                  <a:lnTo>
                    <a:pt x="103" y="217"/>
                  </a:lnTo>
                  <a:lnTo>
                    <a:pt x="103" y="215"/>
                  </a:lnTo>
                  <a:lnTo>
                    <a:pt x="100" y="214"/>
                  </a:lnTo>
                  <a:lnTo>
                    <a:pt x="103" y="214"/>
                  </a:lnTo>
                  <a:lnTo>
                    <a:pt x="105" y="212"/>
                  </a:lnTo>
                  <a:lnTo>
                    <a:pt x="105" y="211"/>
                  </a:lnTo>
                  <a:lnTo>
                    <a:pt x="107" y="210"/>
                  </a:lnTo>
                  <a:lnTo>
                    <a:pt x="107" y="207"/>
                  </a:lnTo>
                  <a:lnTo>
                    <a:pt x="109" y="207"/>
                  </a:lnTo>
                  <a:lnTo>
                    <a:pt x="109" y="204"/>
                  </a:lnTo>
                  <a:lnTo>
                    <a:pt x="110" y="204"/>
                  </a:lnTo>
                  <a:lnTo>
                    <a:pt x="113" y="204"/>
                  </a:lnTo>
                  <a:lnTo>
                    <a:pt x="116" y="201"/>
                  </a:lnTo>
                  <a:lnTo>
                    <a:pt x="118" y="199"/>
                  </a:lnTo>
                  <a:lnTo>
                    <a:pt x="120" y="195"/>
                  </a:lnTo>
                  <a:lnTo>
                    <a:pt x="122" y="198"/>
                  </a:lnTo>
                  <a:lnTo>
                    <a:pt x="125" y="195"/>
                  </a:lnTo>
                  <a:lnTo>
                    <a:pt x="126" y="194"/>
                  </a:lnTo>
                  <a:lnTo>
                    <a:pt x="128" y="191"/>
                  </a:lnTo>
                  <a:lnTo>
                    <a:pt x="131" y="192"/>
                  </a:lnTo>
                  <a:lnTo>
                    <a:pt x="131" y="191"/>
                  </a:lnTo>
                  <a:lnTo>
                    <a:pt x="134" y="189"/>
                  </a:lnTo>
                  <a:lnTo>
                    <a:pt x="135" y="186"/>
                  </a:lnTo>
                  <a:lnTo>
                    <a:pt x="138" y="186"/>
                  </a:lnTo>
                  <a:lnTo>
                    <a:pt x="148" y="167"/>
                  </a:lnTo>
                  <a:lnTo>
                    <a:pt x="148" y="169"/>
                  </a:lnTo>
                  <a:lnTo>
                    <a:pt x="148" y="172"/>
                  </a:lnTo>
                  <a:lnTo>
                    <a:pt x="150" y="167"/>
                  </a:lnTo>
                  <a:lnTo>
                    <a:pt x="150" y="166"/>
                  </a:lnTo>
                  <a:lnTo>
                    <a:pt x="148" y="165"/>
                  </a:lnTo>
                  <a:lnTo>
                    <a:pt x="145" y="160"/>
                  </a:lnTo>
                  <a:lnTo>
                    <a:pt x="145" y="159"/>
                  </a:lnTo>
                  <a:lnTo>
                    <a:pt x="145" y="159"/>
                  </a:lnTo>
                  <a:lnTo>
                    <a:pt x="145" y="156"/>
                  </a:lnTo>
                  <a:lnTo>
                    <a:pt x="144" y="154"/>
                  </a:lnTo>
                  <a:lnTo>
                    <a:pt x="144" y="154"/>
                  </a:lnTo>
                  <a:lnTo>
                    <a:pt x="145" y="153"/>
                  </a:lnTo>
                  <a:lnTo>
                    <a:pt x="145" y="151"/>
                  </a:lnTo>
                  <a:lnTo>
                    <a:pt x="148" y="150"/>
                  </a:lnTo>
                  <a:lnTo>
                    <a:pt x="150" y="143"/>
                  </a:lnTo>
                  <a:lnTo>
                    <a:pt x="148" y="137"/>
                  </a:lnTo>
                  <a:lnTo>
                    <a:pt x="148" y="137"/>
                  </a:lnTo>
                  <a:lnTo>
                    <a:pt x="151" y="135"/>
                  </a:lnTo>
                  <a:lnTo>
                    <a:pt x="151" y="133"/>
                  </a:lnTo>
                  <a:lnTo>
                    <a:pt x="152" y="133"/>
                  </a:lnTo>
                  <a:lnTo>
                    <a:pt x="154" y="134"/>
                  </a:lnTo>
                  <a:lnTo>
                    <a:pt x="155" y="134"/>
                  </a:lnTo>
                  <a:lnTo>
                    <a:pt x="155" y="131"/>
                  </a:lnTo>
                  <a:lnTo>
                    <a:pt x="154" y="131"/>
                  </a:lnTo>
                  <a:lnTo>
                    <a:pt x="157" y="130"/>
                  </a:lnTo>
                  <a:lnTo>
                    <a:pt x="157" y="128"/>
                  </a:lnTo>
                  <a:lnTo>
                    <a:pt x="154" y="125"/>
                  </a:lnTo>
                  <a:lnTo>
                    <a:pt x="154" y="124"/>
                  </a:lnTo>
                  <a:lnTo>
                    <a:pt x="157" y="125"/>
                  </a:lnTo>
                  <a:lnTo>
                    <a:pt x="158" y="128"/>
                  </a:lnTo>
                  <a:lnTo>
                    <a:pt x="160" y="128"/>
                  </a:lnTo>
                  <a:lnTo>
                    <a:pt x="160" y="124"/>
                  </a:lnTo>
                  <a:lnTo>
                    <a:pt x="160" y="124"/>
                  </a:lnTo>
                  <a:lnTo>
                    <a:pt x="161" y="124"/>
                  </a:lnTo>
                  <a:lnTo>
                    <a:pt x="161" y="118"/>
                  </a:lnTo>
                  <a:lnTo>
                    <a:pt x="163" y="118"/>
                  </a:lnTo>
                  <a:lnTo>
                    <a:pt x="163" y="118"/>
                  </a:lnTo>
                  <a:lnTo>
                    <a:pt x="163" y="119"/>
                  </a:lnTo>
                  <a:lnTo>
                    <a:pt x="164" y="121"/>
                  </a:lnTo>
                  <a:lnTo>
                    <a:pt x="165" y="121"/>
                  </a:lnTo>
                  <a:lnTo>
                    <a:pt x="167" y="118"/>
                  </a:lnTo>
                  <a:lnTo>
                    <a:pt x="168" y="119"/>
                  </a:lnTo>
                  <a:lnTo>
                    <a:pt x="170" y="121"/>
                  </a:lnTo>
                  <a:lnTo>
                    <a:pt x="170" y="121"/>
                  </a:lnTo>
                  <a:lnTo>
                    <a:pt x="171" y="122"/>
                  </a:lnTo>
                  <a:lnTo>
                    <a:pt x="173" y="119"/>
                  </a:lnTo>
                  <a:lnTo>
                    <a:pt x="180" y="119"/>
                  </a:lnTo>
                  <a:lnTo>
                    <a:pt x="181" y="121"/>
                  </a:lnTo>
                  <a:lnTo>
                    <a:pt x="184" y="122"/>
                  </a:lnTo>
                  <a:lnTo>
                    <a:pt x="184" y="121"/>
                  </a:lnTo>
                  <a:lnTo>
                    <a:pt x="186" y="119"/>
                  </a:lnTo>
                  <a:lnTo>
                    <a:pt x="180" y="102"/>
                  </a:lnTo>
                  <a:lnTo>
                    <a:pt x="181" y="98"/>
                  </a:lnTo>
                  <a:lnTo>
                    <a:pt x="184" y="95"/>
                  </a:lnTo>
                  <a:lnTo>
                    <a:pt x="184" y="89"/>
                  </a:lnTo>
                  <a:lnTo>
                    <a:pt x="179" y="77"/>
                  </a:lnTo>
                  <a:lnTo>
                    <a:pt x="179" y="73"/>
                  </a:lnTo>
                  <a:lnTo>
                    <a:pt x="180" y="67"/>
                  </a:lnTo>
                  <a:lnTo>
                    <a:pt x="179" y="63"/>
                  </a:lnTo>
                  <a:lnTo>
                    <a:pt x="177" y="61"/>
                  </a:lnTo>
                  <a:lnTo>
                    <a:pt x="177" y="53"/>
                  </a:lnTo>
                  <a:lnTo>
                    <a:pt x="179" y="45"/>
                  </a:lnTo>
                  <a:lnTo>
                    <a:pt x="170" y="28"/>
                  </a:lnTo>
                  <a:lnTo>
                    <a:pt x="165" y="24"/>
                  </a:lnTo>
                  <a:lnTo>
                    <a:pt x="155" y="21"/>
                  </a:lnTo>
                  <a:lnTo>
                    <a:pt x="138" y="2"/>
                  </a:lnTo>
                  <a:lnTo>
                    <a:pt x="136" y="0"/>
                  </a:lnTo>
                  <a:lnTo>
                    <a:pt x="131" y="0"/>
                  </a:lnTo>
                  <a:lnTo>
                    <a:pt x="129" y="0"/>
                  </a:lnTo>
                  <a:lnTo>
                    <a:pt x="129" y="3"/>
                  </a:lnTo>
                  <a:lnTo>
                    <a:pt x="131" y="5"/>
                  </a:lnTo>
                  <a:lnTo>
                    <a:pt x="131" y="8"/>
                  </a:lnTo>
                  <a:lnTo>
                    <a:pt x="131" y="10"/>
                  </a:lnTo>
                  <a:lnTo>
                    <a:pt x="129" y="10"/>
                  </a:lnTo>
                  <a:lnTo>
                    <a:pt x="128" y="15"/>
                  </a:lnTo>
                  <a:lnTo>
                    <a:pt x="126" y="18"/>
                  </a:lnTo>
                  <a:lnTo>
                    <a:pt x="126" y="21"/>
                  </a:lnTo>
                  <a:lnTo>
                    <a:pt x="129" y="24"/>
                  </a:lnTo>
                  <a:lnTo>
                    <a:pt x="128" y="25"/>
                  </a:lnTo>
                  <a:lnTo>
                    <a:pt x="125" y="26"/>
                  </a:lnTo>
                  <a:lnTo>
                    <a:pt x="106" y="21"/>
                  </a:lnTo>
                  <a:lnTo>
                    <a:pt x="105" y="21"/>
                  </a:lnTo>
                  <a:lnTo>
                    <a:pt x="103" y="22"/>
                  </a:lnTo>
                  <a:lnTo>
                    <a:pt x="102" y="25"/>
                  </a:lnTo>
                  <a:lnTo>
                    <a:pt x="102" y="31"/>
                  </a:lnTo>
                  <a:lnTo>
                    <a:pt x="100" y="40"/>
                  </a:lnTo>
                  <a:lnTo>
                    <a:pt x="97" y="44"/>
                  </a:lnTo>
                  <a:lnTo>
                    <a:pt x="96" y="42"/>
                  </a:lnTo>
                  <a:lnTo>
                    <a:pt x="94" y="40"/>
                  </a:lnTo>
                  <a:lnTo>
                    <a:pt x="90" y="38"/>
                  </a:lnTo>
                  <a:lnTo>
                    <a:pt x="87" y="38"/>
                  </a:lnTo>
                  <a:lnTo>
                    <a:pt x="80" y="47"/>
                  </a:lnTo>
                  <a:lnTo>
                    <a:pt x="78" y="54"/>
                  </a:lnTo>
                  <a:lnTo>
                    <a:pt x="74" y="61"/>
                  </a:lnTo>
                  <a:lnTo>
                    <a:pt x="73" y="66"/>
                  </a:lnTo>
                  <a:lnTo>
                    <a:pt x="75" y="72"/>
                  </a:lnTo>
                  <a:lnTo>
                    <a:pt x="77" y="74"/>
                  </a:lnTo>
                  <a:lnTo>
                    <a:pt x="64" y="95"/>
                  </a:lnTo>
                  <a:lnTo>
                    <a:pt x="59" y="108"/>
                  </a:lnTo>
                  <a:lnTo>
                    <a:pt x="55" y="111"/>
                  </a:lnTo>
                  <a:lnTo>
                    <a:pt x="52" y="111"/>
                  </a:lnTo>
                  <a:lnTo>
                    <a:pt x="51" y="112"/>
                  </a:lnTo>
                  <a:lnTo>
                    <a:pt x="48" y="143"/>
                  </a:lnTo>
                  <a:lnTo>
                    <a:pt x="39" y="160"/>
                  </a:lnTo>
                  <a:lnTo>
                    <a:pt x="39" y="162"/>
                  </a:lnTo>
                  <a:lnTo>
                    <a:pt x="45" y="169"/>
                  </a:lnTo>
                  <a:lnTo>
                    <a:pt x="44" y="178"/>
                  </a:lnTo>
                  <a:lnTo>
                    <a:pt x="41" y="181"/>
                  </a:lnTo>
                  <a:lnTo>
                    <a:pt x="33" y="179"/>
                  </a:lnTo>
                  <a:lnTo>
                    <a:pt x="28" y="181"/>
                  </a:lnTo>
                  <a:lnTo>
                    <a:pt x="23" y="183"/>
                  </a:lnTo>
                  <a:lnTo>
                    <a:pt x="16" y="192"/>
                  </a:lnTo>
                  <a:lnTo>
                    <a:pt x="14" y="201"/>
                  </a:lnTo>
                  <a:lnTo>
                    <a:pt x="14" y="205"/>
                  </a:lnTo>
                  <a:lnTo>
                    <a:pt x="16" y="210"/>
                  </a:lnTo>
                  <a:lnTo>
                    <a:pt x="17" y="211"/>
                  </a:lnTo>
                  <a:lnTo>
                    <a:pt x="16" y="212"/>
                  </a:lnTo>
                  <a:lnTo>
                    <a:pt x="14" y="230"/>
                  </a:lnTo>
                  <a:lnTo>
                    <a:pt x="14" y="230"/>
                  </a:lnTo>
                  <a:lnTo>
                    <a:pt x="16" y="234"/>
                  </a:lnTo>
                  <a:lnTo>
                    <a:pt x="16" y="250"/>
                  </a:lnTo>
                  <a:lnTo>
                    <a:pt x="19" y="255"/>
                  </a:lnTo>
                  <a:lnTo>
                    <a:pt x="23" y="259"/>
                  </a:lnTo>
                  <a:lnTo>
                    <a:pt x="25" y="263"/>
                  </a:lnTo>
                  <a:lnTo>
                    <a:pt x="23" y="269"/>
                  </a:lnTo>
                  <a:lnTo>
                    <a:pt x="20" y="272"/>
                  </a:lnTo>
                  <a:lnTo>
                    <a:pt x="16" y="274"/>
                  </a:lnTo>
                  <a:lnTo>
                    <a:pt x="16" y="275"/>
                  </a:lnTo>
                  <a:lnTo>
                    <a:pt x="19" y="278"/>
                  </a:lnTo>
                  <a:lnTo>
                    <a:pt x="20" y="287"/>
                  </a:lnTo>
                  <a:lnTo>
                    <a:pt x="19" y="294"/>
                  </a:lnTo>
                  <a:lnTo>
                    <a:pt x="20" y="297"/>
                  </a:lnTo>
                  <a:lnTo>
                    <a:pt x="19" y="301"/>
                  </a:lnTo>
                  <a:lnTo>
                    <a:pt x="17" y="304"/>
                  </a:lnTo>
                  <a:lnTo>
                    <a:pt x="10" y="307"/>
                  </a:lnTo>
                  <a:lnTo>
                    <a:pt x="10" y="310"/>
                  </a:lnTo>
                  <a:lnTo>
                    <a:pt x="7" y="316"/>
                  </a:lnTo>
                  <a:lnTo>
                    <a:pt x="9" y="323"/>
                  </a:lnTo>
                  <a:lnTo>
                    <a:pt x="7" y="333"/>
                  </a:lnTo>
                  <a:lnTo>
                    <a:pt x="4" y="335"/>
                  </a:lnTo>
                  <a:lnTo>
                    <a:pt x="3" y="332"/>
                  </a:lnTo>
                  <a:lnTo>
                    <a:pt x="3" y="336"/>
                  </a:lnTo>
                  <a:lnTo>
                    <a:pt x="3" y="329"/>
                  </a:lnTo>
                  <a:lnTo>
                    <a:pt x="1" y="32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65" name="Freeform 678"/>
            <p:cNvSpPr>
              <a:spLocks/>
            </p:cNvSpPr>
            <p:nvPr/>
          </p:nvSpPr>
          <p:spPr bwMode="auto">
            <a:xfrm>
              <a:off x="6262929" y="1844699"/>
              <a:ext cx="170293" cy="444190"/>
            </a:xfrm>
            <a:custGeom>
              <a:avLst/>
              <a:gdLst/>
              <a:ahLst/>
              <a:cxnLst>
                <a:cxn ang="0">
                  <a:pos x="4" y="351"/>
                </a:cxn>
                <a:cxn ang="0">
                  <a:pos x="7" y="351"/>
                </a:cxn>
                <a:cxn ang="0">
                  <a:pos x="9" y="364"/>
                </a:cxn>
                <a:cxn ang="0">
                  <a:pos x="13" y="375"/>
                </a:cxn>
                <a:cxn ang="0">
                  <a:pos x="26" y="398"/>
                </a:cxn>
                <a:cxn ang="0">
                  <a:pos x="20" y="403"/>
                </a:cxn>
                <a:cxn ang="0">
                  <a:pos x="25" y="425"/>
                </a:cxn>
                <a:cxn ang="0">
                  <a:pos x="44" y="425"/>
                </a:cxn>
                <a:cxn ang="0">
                  <a:pos x="54" y="404"/>
                </a:cxn>
                <a:cxn ang="0">
                  <a:pos x="74" y="391"/>
                </a:cxn>
                <a:cxn ang="0">
                  <a:pos x="77" y="368"/>
                </a:cxn>
                <a:cxn ang="0">
                  <a:pos x="78" y="359"/>
                </a:cxn>
                <a:cxn ang="0">
                  <a:pos x="80" y="349"/>
                </a:cxn>
                <a:cxn ang="0">
                  <a:pos x="81" y="345"/>
                </a:cxn>
                <a:cxn ang="0">
                  <a:pos x="83" y="339"/>
                </a:cxn>
                <a:cxn ang="0">
                  <a:pos x="93" y="333"/>
                </a:cxn>
                <a:cxn ang="0">
                  <a:pos x="105" y="324"/>
                </a:cxn>
                <a:cxn ang="0">
                  <a:pos x="87" y="323"/>
                </a:cxn>
                <a:cxn ang="0">
                  <a:pos x="75" y="317"/>
                </a:cxn>
                <a:cxn ang="0">
                  <a:pos x="86" y="317"/>
                </a:cxn>
                <a:cxn ang="0">
                  <a:pos x="93" y="317"/>
                </a:cxn>
                <a:cxn ang="0">
                  <a:pos x="110" y="305"/>
                </a:cxn>
                <a:cxn ang="0">
                  <a:pos x="99" y="291"/>
                </a:cxn>
                <a:cxn ang="0">
                  <a:pos x="89" y="291"/>
                </a:cxn>
                <a:cxn ang="0">
                  <a:pos x="78" y="297"/>
                </a:cxn>
                <a:cxn ang="0">
                  <a:pos x="86" y="282"/>
                </a:cxn>
                <a:cxn ang="0">
                  <a:pos x="86" y="252"/>
                </a:cxn>
                <a:cxn ang="0">
                  <a:pos x="89" y="231"/>
                </a:cxn>
                <a:cxn ang="0">
                  <a:pos x="96" y="226"/>
                </a:cxn>
                <a:cxn ang="0">
                  <a:pos x="99" y="220"/>
                </a:cxn>
                <a:cxn ang="0">
                  <a:pos x="100" y="214"/>
                </a:cxn>
                <a:cxn ang="0">
                  <a:pos x="109" y="207"/>
                </a:cxn>
                <a:cxn ang="0">
                  <a:pos x="120" y="195"/>
                </a:cxn>
                <a:cxn ang="0">
                  <a:pos x="131" y="191"/>
                </a:cxn>
                <a:cxn ang="0">
                  <a:pos x="148" y="172"/>
                </a:cxn>
                <a:cxn ang="0">
                  <a:pos x="145" y="159"/>
                </a:cxn>
                <a:cxn ang="0">
                  <a:pos x="148" y="150"/>
                </a:cxn>
                <a:cxn ang="0">
                  <a:pos x="152" y="133"/>
                </a:cxn>
                <a:cxn ang="0">
                  <a:pos x="157" y="128"/>
                </a:cxn>
                <a:cxn ang="0">
                  <a:pos x="160" y="124"/>
                </a:cxn>
                <a:cxn ang="0">
                  <a:pos x="163" y="119"/>
                </a:cxn>
                <a:cxn ang="0">
                  <a:pos x="170" y="121"/>
                </a:cxn>
                <a:cxn ang="0">
                  <a:pos x="184" y="121"/>
                </a:cxn>
                <a:cxn ang="0">
                  <a:pos x="179" y="77"/>
                </a:cxn>
                <a:cxn ang="0">
                  <a:pos x="179" y="45"/>
                </a:cxn>
                <a:cxn ang="0">
                  <a:pos x="131" y="0"/>
                </a:cxn>
                <a:cxn ang="0">
                  <a:pos x="129" y="10"/>
                </a:cxn>
                <a:cxn ang="0">
                  <a:pos x="125" y="26"/>
                </a:cxn>
                <a:cxn ang="0">
                  <a:pos x="100" y="40"/>
                </a:cxn>
                <a:cxn ang="0">
                  <a:pos x="80" y="47"/>
                </a:cxn>
                <a:cxn ang="0">
                  <a:pos x="64" y="95"/>
                </a:cxn>
                <a:cxn ang="0">
                  <a:pos x="39" y="160"/>
                </a:cxn>
                <a:cxn ang="0">
                  <a:pos x="28" y="181"/>
                </a:cxn>
                <a:cxn ang="0">
                  <a:pos x="17" y="211"/>
                </a:cxn>
                <a:cxn ang="0">
                  <a:pos x="19" y="255"/>
                </a:cxn>
                <a:cxn ang="0">
                  <a:pos x="16" y="275"/>
                </a:cxn>
                <a:cxn ang="0">
                  <a:pos x="17" y="304"/>
                </a:cxn>
                <a:cxn ang="0">
                  <a:pos x="4" y="335"/>
                </a:cxn>
              </a:cxnLst>
              <a:rect l="0" t="0" r="r" b="b"/>
              <a:pathLst>
                <a:path w="186" h="426">
                  <a:moveTo>
                    <a:pt x="1" y="329"/>
                  </a:moveTo>
                  <a:lnTo>
                    <a:pt x="0" y="332"/>
                  </a:lnTo>
                  <a:lnTo>
                    <a:pt x="3" y="346"/>
                  </a:lnTo>
                  <a:lnTo>
                    <a:pt x="3" y="346"/>
                  </a:lnTo>
                  <a:lnTo>
                    <a:pt x="4" y="348"/>
                  </a:lnTo>
                  <a:lnTo>
                    <a:pt x="4" y="351"/>
                  </a:lnTo>
                  <a:lnTo>
                    <a:pt x="4" y="351"/>
                  </a:lnTo>
                  <a:lnTo>
                    <a:pt x="6" y="349"/>
                  </a:lnTo>
                  <a:lnTo>
                    <a:pt x="6" y="348"/>
                  </a:lnTo>
                  <a:lnTo>
                    <a:pt x="7" y="348"/>
                  </a:lnTo>
                  <a:lnTo>
                    <a:pt x="6" y="351"/>
                  </a:lnTo>
                  <a:lnTo>
                    <a:pt x="7" y="351"/>
                  </a:lnTo>
                  <a:lnTo>
                    <a:pt x="7" y="351"/>
                  </a:lnTo>
                  <a:lnTo>
                    <a:pt x="7" y="352"/>
                  </a:lnTo>
                  <a:lnTo>
                    <a:pt x="4" y="355"/>
                  </a:lnTo>
                  <a:lnTo>
                    <a:pt x="9" y="356"/>
                  </a:lnTo>
                  <a:lnTo>
                    <a:pt x="10" y="359"/>
                  </a:lnTo>
                  <a:lnTo>
                    <a:pt x="9" y="364"/>
                  </a:lnTo>
                  <a:lnTo>
                    <a:pt x="12" y="362"/>
                  </a:lnTo>
                  <a:lnTo>
                    <a:pt x="13" y="365"/>
                  </a:lnTo>
                  <a:lnTo>
                    <a:pt x="10" y="368"/>
                  </a:lnTo>
                  <a:lnTo>
                    <a:pt x="12" y="372"/>
                  </a:lnTo>
                  <a:lnTo>
                    <a:pt x="12" y="375"/>
                  </a:lnTo>
                  <a:lnTo>
                    <a:pt x="13" y="375"/>
                  </a:lnTo>
                  <a:lnTo>
                    <a:pt x="17" y="385"/>
                  </a:lnTo>
                  <a:lnTo>
                    <a:pt x="19" y="388"/>
                  </a:lnTo>
                  <a:lnTo>
                    <a:pt x="20" y="391"/>
                  </a:lnTo>
                  <a:lnTo>
                    <a:pt x="23" y="394"/>
                  </a:lnTo>
                  <a:lnTo>
                    <a:pt x="26" y="397"/>
                  </a:lnTo>
                  <a:lnTo>
                    <a:pt x="26" y="398"/>
                  </a:lnTo>
                  <a:lnTo>
                    <a:pt x="25" y="400"/>
                  </a:lnTo>
                  <a:lnTo>
                    <a:pt x="22" y="398"/>
                  </a:lnTo>
                  <a:lnTo>
                    <a:pt x="22" y="400"/>
                  </a:lnTo>
                  <a:lnTo>
                    <a:pt x="23" y="404"/>
                  </a:lnTo>
                  <a:lnTo>
                    <a:pt x="22" y="404"/>
                  </a:lnTo>
                  <a:lnTo>
                    <a:pt x="20" y="403"/>
                  </a:lnTo>
                  <a:lnTo>
                    <a:pt x="20" y="404"/>
                  </a:lnTo>
                  <a:lnTo>
                    <a:pt x="28" y="419"/>
                  </a:lnTo>
                  <a:lnTo>
                    <a:pt x="26" y="420"/>
                  </a:lnTo>
                  <a:lnTo>
                    <a:pt x="26" y="423"/>
                  </a:lnTo>
                  <a:lnTo>
                    <a:pt x="25" y="425"/>
                  </a:lnTo>
                  <a:lnTo>
                    <a:pt x="25" y="425"/>
                  </a:lnTo>
                  <a:lnTo>
                    <a:pt x="28" y="425"/>
                  </a:lnTo>
                  <a:lnTo>
                    <a:pt x="30" y="426"/>
                  </a:lnTo>
                  <a:lnTo>
                    <a:pt x="36" y="425"/>
                  </a:lnTo>
                  <a:lnTo>
                    <a:pt x="41" y="425"/>
                  </a:lnTo>
                  <a:lnTo>
                    <a:pt x="42" y="426"/>
                  </a:lnTo>
                  <a:lnTo>
                    <a:pt x="44" y="425"/>
                  </a:lnTo>
                  <a:lnTo>
                    <a:pt x="45" y="420"/>
                  </a:lnTo>
                  <a:lnTo>
                    <a:pt x="45" y="414"/>
                  </a:lnTo>
                  <a:lnTo>
                    <a:pt x="48" y="409"/>
                  </a:lnTo>
                  <a:lnTo>
                    <a:pt x="49" y="409"/>
                  </a:lnTo>
                  <a:lnTo>
                    <a:pt x="51" y="407"/>
                  </a:lnTo>
                  <a:lnTo>
                    <a:pt x="54" y="404"/>
                  </a:lnTo>
                  <a:lnTo>
                    <a:pt x="57" y="406"/>
                  </a:lnTo>
                  <a:lnTo>
                    <a:pt x="59" y="406"/>
                  </a:lnTo>
                  <a:lnTo>
                    <a:pt x="62" y="406"/>
                  </a:lnTo>
                  <a:lnTo>
                    <a:pt x="65" y="406"/>
                  </a:lnTo>
                  <a:lnTo>
                    <a:pt x="68" y="406"/>
                  </a:lnTo>
                  <a:lnTo>
                    <a:pt x="74" y="391"/>
                  </a:lnTo>
                  <a:lnTo>
                    <a:pt x="74" y="385"/>
                  </a:lnTo>
                  <a:lnTo>
                    <a:pt x="75" y="382"/>
                  </a:lnTo>
                  <a:lnTo>
                    <a:pt x="75" y="378"/>
                  </a:lnTo>
                  <a:lnTo>
                    <a:pt x="78" y="372"/>
                  </a:lnTo>
                  <a:lnTo>
                    <a:pt x="78" y="369"/>
                  </a:lnTo>
                  <a:lnTo>
                    <a:pt x="77" y="368"/>
                  </a:lnTo>
                  <a:lnTo>
                    <a:pt x="78" y="365"/>
                  </a:lnTo>
                  <a:lnTo>
                    <a:pt x="78" y="364"/>
                  </a:lnTo>
                  <a:lnTo>
                    <a:pt x="77" y="361"/>
                  </a:lnTo>
                  <a:lnTo>
                    <a:pt x="77" y="361"/>
                  </a:lnTo>
                  <a:lnTo>
                    <a:pt x="77" y="359"/>
                  </a:lnTo>
                  <a:lnTo>
                    <a:pt x="78" y="359"/>
                  </a:lnTo>
                  <a:lnTo>
                    <a:pt x="80" y="359"/>
                  </a:lnTo>
                  <a:lnTo>
                    <a:pt x="78" y="358"/>
                  </a:lnTo>
                  <a:lnTo>
                    <a:pt x="78" y="356"/>
                  </a:lnTo>
                  <a:lnTo>
                    <a:pt x="80" y="355"/>
                  </a:lnTo>
                  <a:lnTo>
                    <a:pt x="80" y="353"/>
                  </a:lnTo>
                  <a:lnTo>
                    <a:pt x="80" y="349"/>
                  </a:lnTo>
                  <a:lnTo>
                    <a:pt x="80" y="348"/>
                  </a:lnTo>
                  <a:lnTo>
                    <a:pt x="75" y="345"/>
                  </a:lnTo>
                  <a:lnTo>
                    <a:pt x="75" y="345"/>
                  </a:lnTo>
                  <a:lnTo>
                    <a:pt x="78" y="346"/>
                  </a:lnTo>
                  <a:lnTo>
                    <a:pt x="81" y="345"/>
                  </a:lnTo>
                  <a:lnTo>
                    <a:pt x="81" y="345"/>
                  </a:lnTo>
                  <a:lnTo>
                    <a:pt x="78" y="342"/>
                  </a:lnTo>
                  <a:lnTo>
                    <a:pt x="71" y="340"/>
                  </a:lnTo>
                  <a:lnTo>
                    <a:pt x="73" y="340"/>
                  </a:lnTo>
                  <a:lnTo>
                    <a:pt x="78" y="339"/>
                  </a:lnTo>
                  <a:lnTo>
                    <a:pt x="81" y="340"/>
                  </a:lnTo>
                  <a:lnTo>
                    <a:pt x="83" y="339"/>
                  </a:lnTo>
                  <a:lnTo>
                    <a:pt x="84" y="337"/>
                  </a:lnTo>
                  <a:lnTo>
                    <a:pt x="87" y="337"/>
                  </a:lnTo>
                  <a:lnTo>
                    <a:pt x="91" y="332"/>
                  </a:lnTo>
                  <a:lnTo>
                    <a:pt x="91" y="329"/>
                  </a:lnTo>
                  <a:lnTo>
                    <a:pt x="93" y="330"/>
                  </a:lnTo>
                  <a:lnTo>
                    <a:pt x="93" y="333"/>
                  </a:lnTo>
                  <a:lnTo>
                    <a:pt x="97" y="333"/>
                  </a:lnTo>
                  <a:lnTo>
                    <a:pt x="99" y="329"/>
                  </a:lnTo>
                  <a:lnTo>
                    <a:pt x="102" y="326"/>
                  </a:lnTo>
                  <a:lnTo>
                    <a:pt x="102" y="323"/>
                  </a:lnTo>
                  <a:lnTo>
                    <a:pt x="103" y="324"/>
                  </a:lnTo>
                  <a:lnTo>
                    <a:pt x="105" y="324"/>
                  </a:lnTo>
                  <a:lnTo>
                    <a:pt x="105" y="323"/>
                  </a:lnTo>
                  <a:lnTo>
                    <a:pt x="106" y="321"/>
                  </a:lnTo>
                  <a:lnTo>
                    <a:pt x="106" y="320"/>
                  </a:lnTo>
                  <a:lnTo>
                    <a:pt x="91" y="323"/>
                  </a:lnTo>
                  <a:lnTo>
                    <a:pt x="89" y="323"/>
                  </a:lnTo>
                  <a:lnTo>
                    <a:pt x="87" y="323"/>
                  </a:lnTo>
                  <a:lnTo>
                    <a:pt x="87" y="321"/>
                  </a:lnTo>
                  <a:lnTo>
                    <a:pt x="86" y="320"/>
                  </a:lnTo>
                  <a:lnTo>
                    <a:pt x="80" y="317"/>
                  </a:lnTo>
                  <a:lnTo>
                    <a:pt x="75" y="319"/>
                  </a:lnTo>
                  <a:lnTo>
                    <a:pt x="74" y="317"/>
                  </a:lnTo>
                  <a:lnTo>
                    <a:pt x="75" y="317"/>
                  </a:lnTo>
                  <a:lnTo>
                    <a:pt x="77" y="314"/>
                  </a:lnTo>
                  <a:lnTo>
                    <a:pt x="78" y="316"/>
                  </a:lnTo>
                  <a:lnTo>
                    <a:pt x="80" y="314"/>
                  </a:lnTo>
                  <a:lnTo>
                    <a:pt x="84" y="316"/>
                  </a:lnTo>
                  <a:lnTo>
                    <a:pt x="84" y="314"/>
                  </a:lnTo>
                  <a:lnTo>
                    <a:pt x="86" y="317"/>
                  </a:lnTo>
                  <a:lnTo>
                    <a:pt x="89" y="316"/>
                  </a:lnTo>
                  <a:lnTo>
                    <a:pt x="89" y="316"/>
                  </a:lnTo>
                  <a:lnTo>
                    <a:pt x="90" y="317"/>
                  </a:lnTo>
                  <a:lnTo>
                    <a:pt x="91" y="317"/>
                  </a:lnTo>
                  <a:lnTo>
                    <a:pt x="93" y="316"/>
                  </a:lnTo>
                  <a:lnTo>
                    <a:pt x="93" y="317"/>
                  </a:lnTo>
                  <a:lnTo>
                    <a:pt x="94" y="320"/>
                  </a:lnTo>
                  <a:lnTo>
                    <a:pt x="97" y="320"/>
                  </a:lnTo>
                  <a:lnTo>
                    <a:pt x="105" y="316"/>
                  </a:lnTo>
                  <a:lnTo>
                    <a:pt x="107" y="311"/>
                  </a:lnTo>
                  <a:lnTo>
                    <a:pt x="109" y="310"/>
                  </a:lnTo>
                  <a:lnTo>
                    <a:pt x="110" y="305"/>
                  </a:lnTo>
                  <a:lnTo>
                    <a:pt x="109" y="301"/>
                  </a:lnTo>
                  <a:lnTo>
                    <a:pt x="105" y="300"/>
                  </a:lnTo>
                  <a:lnTo>
                    <a:pt x="103" y="295"/>
                  </a:lnTo>
                  <a:lnTo>
                    <a:pt x="105" y="295"/>
                  </a:lnTo>
                  <a:lnTo>
                    <a:pt x="105" y="294"/>
                  </a:lnTo>
                  <a:lnTo>
                    <a:pt x="99" y="291"/>
                  </a:lnTo>
                  <a:lnTo>
                    <a:pt x="97" y="287"/>
                  </a:lnTo>
                  <a:lnTo>
                    <a:pt x="93" y="287"/>
                  </a:lnTo>
                  <a:lnTo>
                    <a:pt x="91" y="285"/>
                  </a:lnTo>
                  <a:lnTo>
                    <a:pt x="90" y="284"/>
                  </a:lnTo>
                  <a:lnTo>
                    <a:pt x="90" y="285"/>
                  </a:lnTo>
                  <a:lnTo>
                    <a:pt x="89" y="291"/>
                  </a:lnTo>
                  <a:lnTo>
                    <a:pt x="80" y="298"/>
                  </a:lnTo>
                  <a:lnTo>
                    <a:pt x="78" y="298"/>
                  </a:lnTo>
                  <a:lnTo>
                    <a:pt x="75" y="300"/>
                  </a:lnTo>
                  <a:lnTo>
                    <a:pt x="73" y="298"/>
                  </a:lnTo>
                  <a:lnTo>
                    <a:pt x="75" y="297"/>
                  </a:lnTo>
                  <a:lnTo>
                    <a:pt x="78" y="297"/>
                  </a:lnTo>
                  <a:lnTo>
                    <a:pt x="81" y="294"/>
                  </a:lnTo>
                  <a:lnTo>
                    <a:pt x="83" y="292"/>
                  </a:lnTo>
                  <a:lnTo>
                    <a:pt x="87" y="288"/>
                  </a:lnTo>
                  <a:lnTo>
                    <a:pt x="89" y="287"/>
                  </a:lnTo>
                  <a:lnTo>
                    <a:pt x="89" y="282"/>
                  </a:lnTo>
                  <a:lnTo>
                    <a:pt x="86" y="282"/>
                  </a:lnTo>
                  <a:lnTo>
                    <a:pt x="87" y="281"/>
                  </a:lnTo>
                  <a:lnTo>
                    <a:pt x="87" y="278"/>
                  </a:lnTo>
                  <a:lnTo>
                    <a:pt x="86" y="275"/>
                  </a:lnTo>
                  <a:lnTo>
                    <a:pt x="86" y="258"/>
                  </a:lnTo>
                  <a:lnTo>
                    <a:pt x="86" y="253"/>
                  </a:lnTo>
                  <a:lnTo>
                    <a:pt x="86" y="252"/>
                  </a:lnTo>
                  <a:lnTo>
                    <a:pt x="90" y="255"/>
                  </a:lnTo>
                  <a:lnTo>
                    <a:pt x="90" y="252"/>
                  </a:lnTo>
                  <a:lnTo>
                    <a:pt x="89" y="246"/>
                  </a:lnTo>
                  <a:lnTo>
                    <a:pt x="91" y="236"/>
                  </a:lnTo>
                  <a:lnTo>
                    <a:pt x="90" y="234"/>
                  </a:lnTo>
                  <a:lnTo>
                    <a:pt x="89" y="231"/>
                  </a:lnTo>
                  <a:lnTo>
                    <a:pt x="89" y="228"/>
                  </a:lnTo>
                  <a:lnTo>
                    <a:pt x="93" y="230"/>
                  </a:lnTo>
                  <a:lnTo>
                    <a:pt x="93" y="230"/>
                  </a:lnTo>
                  <a:lnTo>
                    <a:pt x="94" y="228"/>
                  </a:lnTo>
                  <a:lnTo>
                    <a:pt x="96" y="227"/>
                  </a:lnTo>
                  <a:lnTo>
                    <a:pt x="96" y="226"/>
                  </a:lnTo>
                  <a:lnTo>
                    <a:pt x="96" y="226"/>
                  </a:lnTo>
                  <a:lnTo>
                    <a:pt x="96" y="221"/>
                  </a:lnTo>
                  <a:lnTo>
                    <a:pt x="96" y="218"/>
                  </a:lnTo>
                  <a:lnTo>
                    <a:pt x="96" y="215"/>
                  </a:lnTo>
                  <a:lnTo>
                    <a:pt x="96" y="218"/>
                  </a:lnTo>
                  <a:lnTo>
                    <a:pt x="99" y="220"/>
                  </a:lnTo>
                  <a:lnTo>
                    <a:pt x="99" y="220"/>
                  </a:lnTo>
                  <a:lnTo>
                    <a:pt x="100" y="217"/>
                  </a:lnTo>
                  <a:lnTo>
                    <a:pt x="103" y="218"/>
                  </a:lnTo>
                  <a:lnTo>
                    <a:pt x="103" y="217"/>
                  </a:lnTo>
                  <a:lnTo>
                    <a:pt x="103" y="215"/>
                  </a:lnTo>
                  <a:lnTo>
                    <a:pt x="100" y="214"/>
                  </a:lnTo>
                  <a:lnTo>
                    <a:pt x="103" y="214"/>
                  </a:lnTo>
                  <a:lnTo>
                    <a:pt x="105" y="212"/>
                  </a:lnTo>
                  <a:lnTo>
                    <a:pt x="105" y="211"/>
                  </a:lnTo>
                  <a:lnTo>
                    <a:pt x="107" y="210"/>
                  </a:lnTo>
                  <a:lnTo>
                    <a:pt x="107" y="207"/>
                  </a:lnTo>
                  <a:lnTo>
                    <a:pt x="109" y="207"/>
                  </a:lnTo>
                  <a:lnTo>
                    <a:pt x="109" y="204"/>
                  </a:lnTo>
                  <a:lnTo>
                    <a:pt x="110" y="204"/>
                  </a:lnTo>
                  <a:lnTo>
                    <a:pt x="113" y="204"/>
                  </a:lnTo>
                  <a:lnTo>
                    <a:pt x="116" y="201"/>
                  </a:lnTo>
                  <a:lnTo>
                    <a:pt x="118" y="199"/>
                  </a:lnTo>
                  <a:lnTo>
                    <a:pt x="120" y="195"/>
                  </a:lnTo>
                  <a:lnTo>
                    <a:pt x="122" y="198"/>
                  </a:lnTo>
                  <a:lnTo>
                    <a:pt x="125" y="195"/>
                  </a:lnTo>
                  <a:lnTo>
                    <a:pt x="126" y="194"/>
                  </a:lnTo>
                  <a:lnTo>
                    <a:pt x="128" y="191"/>
                  </a:lnTo>
                  <a:lnTo>
                    <a:pt x="131" y="192"/>
                  </a:lnTo>
                  <a:lnTo>
                    <a:pt x="131" y="191"/>
                  </a:lnTo>
                  <a:lnTo>
                    <a:pt x="134" y="189"/>
                  </a:lnTo>
                  <a:lnTo>
                    <a:pt x="135" y="186"/>
                  </a:lnTo>
                  <a:lnTo>
                    <a:pt x="138" y="186"/>
                  </a:lnTo>
                  <a:lnTo>
                    <a:pt x="148" y="167"/>
                  </a:lnTo>
                  <a:lnTo>
                    <a:pt x="148" y="169"/>
                  </a:lnTo>
                  <a:lnTo>
                    <a:pt x="148" y="172"/>
                  </a:lnTo>
                  <a:lnTo>
                    <a:pt x="150" y="167"/>
                  </a:lnTo>
                  <a:lnTo>
                    <a:pt x="150" y="166"/>
                  </a:lnTo>
                  <a:lnTo>
                    <a:pt x="148" y="165"/>
                  </a:lnTo>
                  <a:lnTo>
                    <a:pt x="145" y="160"/>
                  </a:lnTo>
                  <a:lnTo>
                    <a:pt x="145" y="159"/>
                  </a:lnTo>
                  <a:lnTo>
                    <a:pt x="145" y="159"/>
                  </a:lnTo>
                  <a:lnTo>
                    <a:pt x="145" y="156"/>
                  </a:lnTo>
                  <a:lnTo>
                    <a:pt x="144" y="154"/>
                  </a:lnTo>
                  <a:lnTo>
                    <a:pt x="144" y="154"/>
                  </a:lnTo>
                  <a:lnTo>
                    <a:pt x="145" y="153"/>
                  </a:lnTo>
                  <a:lnTo>
                    <a:pt x="145" y="151"/>
                  </a:lnTo>
                  <a:lnTo>
                    <a:pt x="148" y="150"/>
                  </a:lnTo>
                  <a:lnTo>
                    <a:pt x="150" y="143"/>
                  </a:lnTo>
                  <a:lnTo>
                    <a:pt x="148" y="137"/>
                  </a:lnTo>
                  <a:lnTo>
                    <a:pt x="148" y="137"/>
                  </a:lnTo>
                  <a:lnTo>
                    <a:pt x="151" y="135"/>
                  </a:lnTo>
                  <a:lnTo>
                    <a:pt x="151" y="133"/>
                  </a:lnTo>
                  <a:lnTo>
                    <a:pt x="152" y="133"/>
                  </a:lnTo>
                  <a:lnTo>
                    <a:pt x="154" y="134"/>
                  </a:lnTo>
                  <a:lnTo>
                    <a:pt x="155" y="134"/>
                  </a:lnTo>
                  <a:lnTo>
                    <a:pt x="155" y="131"/>
                  </a:lnTo>
                  <a:lnTo>
                    <a:pt x="154" y="131"/>
                  </a:lnTo>
                  <a:lnTo>
                    <a:pt x="157" y="130"/>
                  </a:lnTo>
                  <a:lnTo>
                    <a:pt x="157" y="128"/>
                  </a:lnTo>
                  <a:lnTo>
                    <a:pt x="154" y="125"/>
                  </a:lnTo>
                  <a:lnTo>
                    <a:pt x="154" y="124"/>
                  </a:lnTo>
                  <a:lnTo>
                    <a:pt x="157" y="125"/>
                  </a:lnTo>
                  <a:lnTo>
                    <a:pt x="158" y="128"/>
                  </a:lnTo>
                  <a:lnTo>
                    <a:pt x="160" y="128"/>
                  </a:lnTo>
                  <a:lnTo>
                    <a:pt x="160" y="124"/>
                  </a:lnTo>
                  <a:lnTo>
                    <a:pt x="160" y="124"/>
                  </a:lnTo>
                  <a:lnTo>
                    <a:pt x="161" y="124"/>
                  </a:lnTo>
                  <a:lnTo>
                    <a:pt x="161" y="118"/>
                  </a:lnTo>
                  <a:lnTo>
                    <a:pt x="163" y="118"/>
                  </a:lnTo>
                  <a:lnTo>
                    <a:pt x="163" y="118"/>
                  </a:lnTo>
                  <a:lnTo>
                    <a:pt x="163" y="119"/>
                  </a:lnTo>
                  <a:lnTo>
                    <a:pt x="164" y="121"/>
                  </a:lnTo>
                  <a:lnTo>
                    <a:pt x="165" y="121"/>
                  </a:lnTo>
                  <a:lnTo>
                    <a:pt x="167" y="118"/>
                  </a:lnTo>
                  <a:lnTo>
                    <a:pt x="168" y="119"/>
                  </a:lnTo>
                  <a:lnTo>
                    <a:pt x="170" y="121"/>
                  </a:lnTo>
                  <a:lnTo>
                    <a:pt x="170" y="121"/>
                  </a:lnTo>
                  <a:lnTo>
                    <a:pt x="171" y="122"/>
                  </a:lnTo>
                  <a:lnTo>
                    <a:pt x="173" y="119"/>
                  </a:lnTo>
                  <a:lnTo>
                    <a:pt x="180" y="119"/>
                  </a:lnTo>
                  <a:lnTo>
                    <a:pt x="181" y="121"/>
                  </a:lnTo>
                  <a:lnTo>
                    <a:pt x="184" y="122"/>
                  </a:lnTo>
                  <a:lnTo>
                    <a:pt x="184" y="121"/>
                  </a:lnTo>
                  <a:lnTo>
                    <a:pt x="186" y="119"/>
                  </a:lnTo>
                  <a:lnTo>
                    <a:pt x="180" y="102"/>
                  </a:lnTo>
                  <a:lnTo>
                    <a:pt x="181" y="98"/>
                  </a:lnTo>
                  <a:lnTo>
                    <a:pt x="184" y="95"/>
                  </a:lnTo>
                  <a:lnTo>
                    <a:pt x="184" y="89"/>
                  </a:lnTo>
                  <a:lnTo>
                    <a:pt x="179" y="77"/>
                  </a:lnTo>
                  <a:lnTo>
                    <a:pt x="179" y="73"/>
                  </a:lnTo>
                  <a:lnTo>
                    <a:pt x="180" y="67"/>
                  </a:lnTo>
                  <a:lnTo>
                    <a:pt x="179" y="63"/>
                  </a:lnTo>
                  <a:lnTo>
                    <a:pt x="177" y="61"/>
                  </a:lnTo>
                  <a:lnTo>
                    <a:pt x="177" y="53"/>
                  </a:lnTo>
                  <a:lnTo>
                    <a:pt x="179" y="45"/>
                  </a:lnTo>
                  <a:lnTo>
                    <a:pt x="170" y="28"/>
                  </a:lnTo>
                  <a:lnTo>
                    <a:pt x="165" y="24"/>
                  </a:lnTo>
                  <a:lnTo>
                    <a:pt x="155" y="21"/>
                  </a:lnTo>
                  <a:lnTo>
                    <a:pt x="138" y="2"/>
                  </a:lnTo>
                  <a:lnTo>
                    <a:pt x="136" y="0"/>
                  </a:lnTo>
                  <a:lnTo>
                    <a:pt x="131" y="0"/>
                  </a:lnTo>
                  <a:lnTo>
                    <a:pt x="129" y="0"/>
                  </a:lnTo>
                  <a:lnTo>
                    <a:pt x="129" y="3"/>
                  </a:lnTo>
                  <a:lnTo>
                    <a:pt x="131" y="5"/>
                  </a:lnTo>
                  <a:lnTo>
                    <a:pt x="131" y="8"/>
                  </a:lnTo>
                  <a:lnTo>
                    <a:pt x="131" y="10"/>
                  </a:lnTo>
                  <a:lnTo>
                    <a:pt x="129" y="10"/>
                  </a:lnTo>
                  <a:lnTo>
                    <a:pt x="128" y="15"/>
                  </a:lnTo>
                  <a:lnTo>
                    <a:pt x="126" y="18"/>
                  </a:lnTo>
                  <a:lnTo>
                    <a:pt x="126" y="21"/>
                  </a:lnTo>
                  <a:lnTo>
                    <a:pt x="129" y="24"/>
                  </a:lnTo>
                  <a:lnTo>
                    <a:pt x="128" y="25"/>
                  </a:lnTo>
                  <a:lnTo>
                    <a:pt x="125" y="26"/>
                  </a:lnTo>
                  <a:lnTo>
                    <a:pt x="106" y="21"/>
                  </a:lnTo>
                  <a:lnTo>
                    <a:pt x="105" y="21"/>
                  </a:lnTo>
                  <a:lnTo>
                    <a:pt x="103" y="22"/>
                  </a:lnTo>
                  <a:lnTo>
                    <a:pt x="102" y="25"/>
                  </a:lnTo>
                  <a:lnTo>
                    <a:pt x="102" y="31"/>
                  </a:lnTo>
                  <a:lnTo>
                    <a:pt x="100" y="40"/>
                  </a:lnTo>
                  <a:lnTo>
                    <a:pt x="97" y="44"/>
                  </a:lnTo>
                  <a:lnTo>
                    <a:pt x="96" y="42"/>
                  </a:lnTo>
                  <a:lnTo>
                    <a:pt x="94" y="40"/>
                  </a:lnTo>
                  <a:lnTo>
                    <a:pt x="90" y="38"/>
                  </a:lnTo>
                  <a:lnTo>
                    <a:pt x="87" y="38"/>
                  </a:lnTo>
                  <a:lnTo>
                    <a:pt x="80" y="47"/>
                  </a:lnTo>
                  <a:lnTo>
                    <a:pt x="78" y="54"/>
                  </a:lnTo>
                  <a:lnTo>
                    <a:pt x="74" y="61"/>
                  </a:lnTo>
                  <a:lnTo>
                    <a:pt x="73" y="66"/>
                  </a:lnTo>
                  <a:lnTo>
                    <a:pt x="75" y="72"/>
                  </a:lnTo>
                  <a:lnTo>
                    <a:pt x="77" y="74"/>
                  </a:lnTo>
                  <a:lnTo>
                    <a:pt x="64" y="95"/>
                  </a:lnTo>
                  <a:lnTo>
                    <a:pt x="59" y="108"/>
                  </a:lnTo>
                  <a:lnTo>
                    <a:pt x="55" y="111"/>
                  </a:lnTo>
                  <a:lnTo>
                    <a:pt x="52" y="111"/>
                  </a:lnTo>
                  <a:lnTo>
                    <a:pt x="51" y="112"/>
                  </a:lnTo>
                  <a:lnTo>
                    <a:pt x="48" y="143"/>
                  </a:lnTo>
                  <a:lnTo>
                    <a:pt x="39" y="160"/>
                  </a:lnTo>
                  <a:lnTo>
                    <a:pt x="39" y="162"/>
                  </a:lnTo>
                  <a:lnTo>
                    <a:pt x="45" y="169"/>
                  </a:lnTo>
                  <a:lnTo>
                    <a:pt x="44" y="178"/>
                  </a:lnTo>
                  <a:lnTo>
                    <a:pt x="41" y="181"/>
                  </a:lnTo>
                  <a:lnTo>
                    <a:pt x="33" y="179"/>
                  </a:lnTo>
                  <a:lnTo>
                    <a:pt x="28" y="181"/>
                  </a:lnTo>
                  <a:lnTo>
                    <a:pt x="23" y="183"/>
                  </a:lnTo>
                  <a:lnTo>
                    <a:pt x="16" y="192"/>
                  </a:lnTo>
                  <a:lnTo>
                    <a:pt x="14" y="201"/>
                  </a:lnTo>
                  <a:lnTo>
                    <a:pt x="14" y="205"/>
                  </a:lnTo>
                  <a:lnTo>
                    <a:pt x="16" y="210"/>
                  </a:lnTo>
                  <a:lnTo>
                    <a:pt x="17" y="211"/>
                  </a:lnTo>
                  <a:lnTo>
                    <a:pt x="16" y="212"/>
                  </a:lnTo>
                  <a:lnTo>
                    <a:pt x="14" y="230"/>
                  </a:lnTo>
                  <a:lnTo>
                    <a:pt x="14" y="230"/>
                  </a:lnTo>
                  <a:lnTo>
                    <a:pt x="16" y="234"/>
                  </a:lnTo>
                  <a:lnTo>
                    <a:pt x="16" y="250"/>
                  </a:lnTo>
                  <a:lnTo>
                    <a:pt x="19" y="255"/>
                  </a:lnTo>
                  <a:lnTo>
                    <a:pt x="23" y="259"/>
                  </a:lnTo>
                  <a:lnTo>
                    <a:pt x="25" y="263"/>
                  </a:lnTo>
                  <a:lnTo>
                    <a:pt x="23" y="269"/>
                  </a:lnTo>
                  <a:lnTo>
                    <a:pt x="20" y="272"/>
                  </a:lnTo>
                  <a:lnTo>
                    <a:pt x="16" y="274"/>
                  </a:lnTo>
                  <a:lnTo>
                    <a:pt x="16" y="275"/>
                  </a:lnTo>
                  <a:lnTo>
                    <a:pt x="19" y="278"/>
                  </a:lnTo>
                  <a:lnTo>
                    <a:pt x="20" y="287"/>
                  </a:lnTo>
                  <a:lnTo>
                    <a:pt x="19" y="294"/>
                  </a:lnTo>
                  <a:lnTo>
                    <a:pt x="20" y="297"/>
                  </a:lnTo>
                  <a:lnTo>
                    <a:pt x="19" y="301"/>
                  </a:lnTo>
                  <a:lnTo>
                    <a:pt x="17" y="304"/>
                  </a:lnTo>
                  <a:lnTo>
                    <a:pt x="10" y="307"/>
                  </a:lnTo>
                  <a:lnTo>
                    <a:pt x="10" y="310"/>
                  </a:lnTo>
                  <a:lnTo>
                    <a:pt x="7" y="316"/>
                  </a:lnTo>
                  <a:lnTo>
                    <a:pt x="9" y="323"/>
                  </a:lnTo>
                  <a:lnTo>
                    <a:pt x="7" y="333"/>
                  </a:lnTo>
                  <a:lnTo>
                    <a:pt x="4" y="335"/>
                  </a:lnTo>
                  <a:lnTo>
                    <a:pt x="3" y="332"/>
                  </a:lnTo>
                  <a:lnTo>
                    <a:pt x="3" y="336"/>
                  </a:lnTo>
                  <a:lnTo>
                    <a:pt x="3" y="329"/>
                  </a:lnTo>
                  <a:lnTo>
                    <a:pt x="1" y="329"/>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66" name="Freeform 679"/>
            <p:cNvSpPr>
              <a:spLocks/>
            </p:cNvSpPr>
            <p:nvPr/>
          </p:nvSpPr>
          <p:spPr bwMode="auto">
            <a:xfrm>
              <a:off x="6465700" y="2453179"/>
              <a:ext cx="44768" cy="65918"/>
            </a:xfrm>
            <a:custGeom>
              <a:avLst/>
              <a:gdLst/>
              <a:ahLst/>
              <a:cxnLst>
                <a:cxn ang="0">
                  <a:pos x="22" y="63"/>
                </a:cxn>
                <a:cxn ang="0">
                  <a:pos x="20" y="35"/>
                </a:cxn>
                <a:cxn ang="0">
                  <a:pos x="12" y="19"/>
                </a:cxn>
                <a:cxn ang="0">
                  <a:pos x="10" y="15"/>
                </a:cxn>
                <a:cxn ang="0">
                  <a:pos x="2" y="6"/>
                </a:cxn>
                <a:cxn ang="0">
                  <a:pos x="0" y="6"/>
                </a:cxn>
                <a:cxn ang="0">
                  <a:pos x="2" y="3"/>
                </a:cxn>
                <a:cxn ang="0">
                  <a:pos x="3" y="2"/>
                </a:cxn>
                <a:cxn ang="0">
                  <a:pos x="4" y="2"/>
                </a:cxn>
                <a:cxn ang="0">
                  <a:pos x="12" y="0"/>
                </a:cxn>
                <a:cxn ang="0">
                  <a:pos x="18" y="3"/>
                </a:cxn>
                <a:cxn ang="0">
                  <a:pos x="22" y="8"/>
                </a:cxn>
                <a:cxn ang="0">
                  <a:pos x="25" y="8"/>
                </a:cxn>
                <a:cxn ang="0">
                  <a:pos x="29" y="6"/>
                </a:cxn>
                <a:cxn ang="0">
                  <a:pos x="31" y="8"/>
                </a:cxn>
                <a:cxn ang="0">
                  <a:pos x="34" y="11"/>
                </a:cxn>
                <a:cxn ang="0">
                  <a:pos x="35" y="11"/>
                </a:cxn>
                <a:cxn ang="0">
                  <a:pos x="36" y="12"/>
                </a:cxn>
                <a:cxn ang="0">
                  <a:pos x="36" y="21"/>
                </a:cxn>
                <a:cxn ang="0">
                  <a:pos x="38" y="22"/>
                </a:cxn>
                <a:cxn ang="0">
                  <a:pos x="38" y="24"/>
                </a:cxn>
                <a:cxn ang="0">
                  <a:pos x="41" y="24"/>
                </a:cxn>
                <a:cxn ang="0">
                  <a:pos x="41" y="27"/>
                </a:cxn>
                <a:cxn ang="0">
                  <a:pos x="41" y="28"/>
                </a:cxn>
                <a:cxn ang="0">
                  <a:pos x="42" y="32"/>
                </a:cxn>
                <a:cxn ang="0">
                  <a:pos x="47" y="34"/>
                </a:cxn>
                <a:cxn ang="0">
                  <a:pos x="47" y="35"/>
                </a:cxn>
                <a:cxn ang="0">
                  <a:pos x="48" y="38"/>
                </a:cxn>
                <a:cxn ang="0">
                  <a:pos x="47" y="40"/>
                </a:cxn>
                <a:cxn ang="0">
                  <a:pos x="48" y="41"/>
                </a:cxn>
                <a:cxn ang="0">
                  <a:pos x="47" y="44"/>
                </a:cxn>
                <a:cxn ang="0">
                  <a:pos x="45" y="44"/>
                </a:cxn>
                <a:cxn ang="0">
                  <a:pos x="39" y="43"/>
                </a:cxn>
                <a:cxn ang="0">
                  <a:pos x="38" y="44"/>
                </a:cxn>
                <a:cxn ang="0">
                  <a:pos x="36" y="43"/>
                </a:cxn>
                <a:cxn ang="0">
                  <a:pos x="35" y="44"/>
                </a:cxn>
                <a:cxn ang="0">
                  <a:pos x="34" y="46"/>
                </a:cxn>
                <a:cxn ang="0">
                  <a:pos x="32" y="51"/>
                </a:cxn>
                <a:cxn ang="0">
                  <a:pos x="31" y="53"/>
                </a:cxn>
                <a:cxn ang="0">
                  <a:pos x="29" y="54"/>
                </a:cxn>
                <a:cxn ang="0">
                  <a:pos x="29" y="56"/>
                </a:cxn>
                <a:cxn ang="0">
                  <a:pos x="28" y="57"/>
                </a:cxn>
                <a:cxn ang="0">
                  <a:pos x="26" y="60"/>
                </a:cxn>
                <a:cxn ang="0">
                  <a:pos x="26" y="62"/>
                </a:cxn>
                <a:cxn ang="0">
                  <a:pos x="25" y="63"/>
                </a:cxn>
                <a:cxn ang="0">
                  <a:pos x="22" y="63"/>
                </a:cxn>
              </a:cxnLst>
              <a:rect l="0" t="0" r="r" b="b"/>
              <a:pathLst>
                <a:path w="48" h="63">
                  <a:moveTo>
                    <a:pt x="22" y="63"/>
                  </a:moveTo>
                  <a:lnTo>
                    <a:pt x="20" y="35"/>
                  </a:lnTo>
                  <a:lnTo>
                    <a:pt x="12" y="19"/>
                  </a:lnTo>
                  <a:lnTo>
                    <a:pt x="10" y="15"/>
                  </a:lnTo>
                  <a:lnTo>
                    <a:pt x="2" y="6"/>
                  </a:lnTo>
                  <a:lnTo>
                    <a:pt x="0" y="6"/>
                  </a:lnTo>
                  <a:lnTo>
                    <a:pt x="2" y="3"/>
                  </a:lnTo>
                  <a:lnTo>
                    <a:pt x="3" y="2"/>
                  </a:lnTo>
                  <a:lnTo>
                    <a:pt x="4" y="2"/>
                  </a:lnTo>
                  <a:lnTo>
                    <a:pt x="12" y="0"/>
                  </a:lnTo>
                  <a:lnTo>
                    <a:pt x="18" y="3"/>
                  </a:lnTo>
                  <a:lnTo>
                    <a:pt x="22" y="8"/>
                  </a:lnTo>
                  <a:lnTo>
                    <a:pt x="25" y="8"/>
                  </a:lnTo>
                  <a:lnTo>
                    <a:pt x="29" y="6"/>
                  </a:lnTo>
                  <a:lnTo>
                    <a:pt x="31" y="8"/>
                  </a:lnTo>
                  <a:lnTo>
                    <a:pt x="34" y="11"/>
                  </a:lnTo>
                  <a:lnTo>
                    <a:pt x="35" y="11"/>
                  </a:lnTo>
                  <a:lnTo>
                    <a:pt x="36" y="12"/>
                  </a:lnTo>
                  <a:lnTo>
                    <a:pt x="36" y="21"/>
                  </a:lnTo>
                  <a:lnTo>
                    <a:pt x="38" y="22"/>
                  </a:lnTo>
                  <a:lnTo>
                    <a:pt x="38" y="24"/>
                  </a:lnTo>
                  <a:lnTo>
                    <a:pt x="41" y="24"/>
                  </a:lnTo>
                  <a:lnTo>
                    <a:pt x="41" y="27"/>
                  </a:lnTo>
                  <a:lnTo>
                    <a:pt x="41" y="28"/>
                  </a:lnTo>
                  <a:lnTo>
                    <a:pt x="42" y="32"/>
                  </a:lnTo>
                  <a:lnTo>
                    <a:pt x="47" y="34"/>
                  </a:lnTo>
                  <a:lnTo>
                    <a:pt x="47" y="35"/>
                  </a:lnTo>
                  <a:lnTo>
                    <a:pt x="48" y="38"/>
                  </a:lnTo>
                  <a:lnTo>
                    <a:pt x="47" y="40"/>
                  </a:lnTo>
                  <a:lnTo>
                    <a:pt x="48" y="41"/>
                  </a:lnTo>
                  <a:lnTo>
                    <a:pt x="47" y="44"/>
                  </a:lnTo>
                  <a:lnTo>
                    <a:pt x="45" y="44"/>
                  </a:lnTo>
                  <a:lnTo>
                    <a:pt x="39" y="43"/>
                  </a:lnTo>
                  <a:lnTo>
                    <a:pt x="38" y="44"/>
                  </a:lnTo>
                  <a:lnTo>
                    <a:pt x="36" y="43"/>
                  </a:lnTo>
                  <a:lnTo>
                    <a:pt x="35" y="44"/>
                  </a:lnTo>
                  <a:lnTo>
                    <a:pt x="34" y="46"/>
                  </a:lnTo>
                  <a:lnTo>
                    <a:pt x="32" y="51"/>
                  </a:lnTo>
                  <a:lnTo>
                    <a:pt x="31" y="53"/>
                  </a:lnTo>
                  <a:lnTo>
                    <a:pt x="29" y="54"/>
                  </a:lnTo>
                  <a:lnTo>
                    <a:pt x="29" y="56"/>
                  </a:lnTo>
                  <a:lnTo>
                    <a:pt x="28" y="57"/>
                  </a:lnTo>
                  <a:lnTo>
                    <a:pt x="26" y="60"/>
                  </a:lnTo>
                  <a:lnTo>
                    <a:pt x="26" y="62"/>
                  </a:lnTo>
                  <a:lnTo>
                    <a:pt x="25" y="63"/>
                  </a:lnTo>
                  <a:lnTo>
                    <a:pt x="22" y="6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67" name="Freeform 680"/>
            <p:cNvSpPr>
              <a:spLocks/>
            </p:cNvSpPr>
            <p:nvPr/>
          </p:nvSpPr>
          <p:spPr bwMode="auto">
            <a:xfrm>
              <a:off x="6465700" y="2453179"/>
              <a:ext cx="44768" cy="65918"/>
            </a:xfrm>
            <a:custGeom>
              <a:avLst/>
              <a:gdLst/>
              <a:ahLst/>
              <a:cxnLst>
                <a:cxn ang="0">
                  <a:pos x="22" y="63"/>
                </a:cxn>
                <a:cxn ang="0">
                  <a:pos x="20" y="35"/>
                </a:cxn>
                <a:cxn ang="0">
                  <a:pos x="12" y="19"/>
                </a:cxn>
                <a:cxn ang="0">
                  <a:pos x="10" y="15"/>
                </a:cxn>
                <a:cxn ang="0">
                  <a:pos x="2" y="6"/>
                </a:cxn>
                <a:cxn ang="0">
                  <a:pos x="0" y="6"/>
                </a:cxn>
                <a:cxn ang="0">
                  <a:pos x="2" y="3"/>
                </a:cxn>
                <a:cxn ang="0">
                  <a:pos x="3" y="2"/>
                </a:cxn>
                <a:cxn ang="0">
                  <a:pos x="4" y="2"/>
                </a:cxn>
                <a:cxn ang="0">
                  <a:pos x="12" y="0"/>
                </a:cxn>
                <a:cxn ang="0">
                  <a:pos x="18" y="3"/>
                </a:cxn>
                <a:cxn ang="0">
                  <a:pos x="22" y="8"/>
                </a:cxn>
                <a:cxn ang="0">
                  <a:pos x="25" y="8"/>
                </a:cxn>
                <a:cxn ang="0">
                  <a:pos x="29" y="6"/>
                </a:cxn>
                <a:cxn ang="0">
                  <a:pos x="31" y="8"/>
                </a:cxn>
                <a:cxn ang="0">
                  <a:pos x="34" y="11"/>
                </a:cxn>
                <a:cxn ang="0">
                  <a:pos x="35" y="11"/>
                </a:cxn>
                <a:cxn ang="0">
                  <a:pos x="36" y="12"/>
                </a:cxn>
                <a:cxn ang="0">
                  <a:pos x="36" y="21"/>
                </a:cxn>
                <a:cxn ang="0">
                  <a:pos x="38" y="22"/>
                </a:cxn>
                <a:cxn ang="0">
                  <a:pos x="38" y="24"/>
                </a:cxn>
                <a:cxn ang="0">
                  <a:pos x="41" y="24"/>
                </a:cxn>
                <a:cxn ang="0">
                  <a:pos x="41" y="27"/>
                </a:cxn>
                <a:cxn ang="0">
                  <a:pos x="41" y="28"/>
                </a:cxn>
                <a:cxn ang="0">
                  <a:pos x="42" y="32"/>
                </a:cxn>
                <a:cxn ang="0">
                  <a:pos x="47" y="34"/>
                </a:cxn>
                <a:cxn ang="0">
                  <a:pos x="47" y="35"/>
                </a:cxn>
                <a:cxn ang="0">
                  <a:pos x="48" y="38"/>
                </a:cxn>
                <a:cxn ang="0">
                  <a:pos x="47" y="40"/>
                </a:cxn>
                <a:cxn ang="0">
                  <a:pos x="48" y="41"/>
                </a:cxn>
                <a:cxn ang="0">
                  <a:pos x="47" y="44"/>
                </a:cxn>
                <a:cxn ang="0">
                  <a:pos x="45" y="44"/>
                </a:cxn>
                <a:cxn ang="0">
                  <a:pos x="39" y="43"/>
                </a:cxn>
                <a:cxn ang="0">
                  <a:pos x="38" y="44"/>
                </a:cxn>
                <a:cxn ang="0">
                  <a:pos x="36" y="43"/>
                </a:cxn>
                <a:cxn ang="0">
                  <a:pos x="35" y="44"/>
                </a:cxn>
                <a:cxn ang="0">
                  <a:pos x="34" y="46"/>
                </a:cxn>
                <a:cxn ang="0">
                  <a:pos x="32" y="51"/>
                </a:cxn>
                <a:cxn ang="0">
                  <a:pos x="31" y="53"/>
                </a:cxn>
                <a:cxn ang="0">
                  <a:pos x="29" y="54"/>
                </a:cxn>
                <a:cxn ang="0">
                  <a:pos x="29" y="56"/>
                </a:cxn>
                <a:cxn ang="0">
                  <a:pos x="28" y="57"/>
                </a:cxn>
                <a:cxn ang="0">
                  <a:pos x="26" y="60"/>
                </a:cxn>
                <a:cxn ang="0">
                  <a:pos x="26" y="62"/>
                </a:cxn>
                <a:cxn ang="0">
                  <a:pos x="25" y="63"/>
                </a:cxn>
                <a:cxn ang="0">
                  <a:pos x="22" y="63"/>
                </a:cxn>
              </a:cxnLst>
              <a:rect l="0" t="0" r="r" b="b"/>
              <a:pathLst>
                <a:path w="48" h="63">
                  <a:moveTo>
                    <a:pt x="22" y="63"/>
                  </a:moveTo>
                  <a:lnTo>
                    <a:pt x="20" y="35"/>
                  </a:lnTo>
                  <a:lnTo>
                    <a:pt x="12" y="19"/>
                  </a:lnTo>
                  <a:lnTo>
                    <a:pt x="10" y="15"/>
                  </a:lnTo>
                  <a:lnTo>
                    <a:pt x="2" y="6"/>
                  </a:lnTo>
                  <a:lnTo>
                    <a:pt x="0" y="6"/>
                  </a:lnTo>
                  <a:lnTo>
                    <a:pt x="2" y="3"/>
                  </a:lnTo>
                  <a:lnTo>
                    <a:pt x="3" y="2"/>
                  </a:lnTo>
                  <a:lnTo>
                    <a:pt x="4" y="2"/>
                  </a:lnTo>
                  <a:lnTo>
                    <a:pt x="12" y="0"/>
                  </a:lnTo>
                  <a:lnTo>
                    <a:pt x="18" y="3"/>
                  </a:lnTo>
                  <a:lnTo>
                    <a:pt x="22" y="8"/>
                  </a:lnTo>
                  <a:lnTo>
                    <a:pt x="25" y="8"/>
                  </a:lnTo>
                  <a:lnTo>
                    <a:pt x="29" y="6"/>
                  </a:lnTo>
                  <a:lnTo>
                    <a:pt x="31" y="8"/>
                  </a:lnTo>
                  <a:lnTo>
                    <a:pt x="34" y="11"/>
                  </a:lnTo>
                  <a:lnTo>
                    <a:pt x="35" y="11"/>
                  </a:lnTo>
                  <a:lnTo>
                    <a:pt x="36" y="12"/>
                  </a:lnTo>
                  <a:lnTo>
                    <a:pt x="36" y="21"/>
                  </a:lnTo>
                  <a:lnTo>
                    <a:pt x="38" y="22"/>
                  </a:lnTo>
                  <a:lnTo>
                    <a:pt x="38" y="24"/>
                  </a:lnTo>
                  <a:lnTo>
                    <a:pt x="41" y="24"/>
                  </a:lnTo>
                  <a:lnTo>
                    <a:pt x="41" y="27"/>
                  </a:lnTo>
                  <a:lnTo>
                    <a:pt x="41" y="28"/>
                  </a:lnTo>
                  <a:lnTo>
                    <a:pt x="42" y="32"/>
                  </a:lnTo>
                  <a:lnTo>
                    <a:pt x="47" y="34"/>
                  </a:lnTo>
                  <a:lnTo>
                    <a:pt x="47" y="35"/>
                  </a:lnTo>
                  <a:lnTo>
                    <a:pt x="48" y="38"/>
                  </a:lnTo>
                  <a:lnTo>
                    <a:pt x="47" y="40"/>
                  </a:lnTo>
                  <a:lnTo>
                    <a:pt x="48" y="41"/>
                  </a:lnTo>
                  <a:lnTo>
                    <a:pt x="47" y="44"/>
                  </a:lnTo>
                  <a:lnTo>
                    <a:pt x="45" y="44"/>
                  </a:lnTo>
                  <a:lnTo>
                    <a:pt x="39" y="43"/>
                  </a:lnTo>
                  <a:lnTo>
                    <a:pt x="38" y="44"/>
                  </a:lnTo>
                  <a:lnTo>
                    <a:pt x="36" y="43"/>
                  </a:lnTo>
                  <a:lnTo>
                    <a:pt x="35" y="44"/>
                  </a:lnTo>
                  <a:lnTo>
                    <a:pt x="34" y="46"/>
                  </a:lnTo>
                  <a:lnTo>
                    <a:pt x="32" y="51"/>
                  </a:lnTo>
                  <a:lnTo>
                    <a:pt x="31" y="53"/>
                  </a:lnTo>
                  <a:lnTo>
                    <a:pt x="29" y="54"/>
                  </a:lnTo>
                  <a:lnTo>
                    <a:pt x="29" y="56"/>
                  </a:lnTo>
                  <a:lnTo>
                    <a:pt x="28" y="57"/>
                  </a:lnTo>
                  <a:lnTo>
                    <a:pt x="26" y="60"/>
                  </a:lnTo>
                  <a:lnTo>
                    <a:pt x="26" y="62"/>
                  </a:lnTo>
                  <a:lnTo>
                    <a:pt x="25" y="63"/>
                  </a:lnTo>
                  <a:lnTo>
                    <a:pt x="22" y="6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68" name="Freeform 681"/>
            <p:cNvSpPr>
              <a:spLocks/>
            </p:cNvSpPr>
            <p:nvPr/>
          </p:nvSpPr>
          <p:spPr bwMode="auto">
            <a:xfrm>
              <a:off x="6242739" y="2443037"/>
              <a:ext cx="99192" cy="55776"/>
            </a:xfrm>
            <a:custGeom>
              <a:avLst/>
              <a:gdLst/>
              <a:ahLst/>
              <a:cxnLst>
                <a:cxn ang="0">
                  <a:pos x="61" y="8"/>
                </a:cxn>
                <a:cxn ang="0">
                  <a:pos x="54" y="13"/>
                </a:cxn>
                <a:cxn ang="0">
                  <a:pos x="47" y="19"/>
                </a:cxn>
                <a:cxn ang="0">
                  <a:pos x="50" y="28"/>
                </a:cxn>
                <a:cxn ang="0">
                  <a:pos x="48" y="31"/>
                </a:cxn>
                <a:cxn ang="0">
                  <a:pos x="42" y="28"/>
                </a:cxn>
                <a:cxn ang="0">
                  <a:pos x="38" y="29"/>
                </a:cxn>
                <a:cxn ang="0">
                  <a:pos x="25" y="34"/>
                </a:cxn>
                <a:cxn ang="0">
                  <a:pos x="18" y="31"/>
                </a:cxn>
                <a:cxn ang="0">
                  <a:pos x="13" y="32"/>
                </a:cxn>
                <a:cxn ang="0">
                  <a:pos x="12" y="35"/>
                </a:cxn>
                <a:cxn ang="0">
                  <a:pos x="7" y="32"/>
                </a:cxn>
                <a:cxn ang="0">
                  <a:pos x="3" y="31"/>
                </a:cxn>
                <a:cxn ang="0">
                  <a:pos x="2" y="34"/>
                </a:cxn>
                <a:cxn ang="0">
                  <a:pos x="5" y="41"/>
                </a:cxn>
                <a:cxn ang="0">
                  <a:pos x="5" y="44"/>
                </a:cxn>
                <a:cxn ang="0">
                  <a:pos x="12" y="44"/>
                </a:cxn>
                <a:cxn ang="0">
                  <a:pos x="16" y="47"/>
                </a:cxn>
                <a:cxn ang="0">
                  <a:pos x="35" y="41"/>
                </a:cxn>
                <a:cxn ang="0">
                  <a:pos x="38" y="41"/>
                </a:cxn>
                <a:cxn ang="0">
                  <a:pos x="39" y="47"/>
                </a:cxn>
                <a:cxn ang="0">
                  <a:pos x="44" y="48"/>
                </a:cxn>
                <a:cxn ang="0">
                  <a:pos x="71" y="54"/>
                </a:cxn>
                <a:cxn ang="0">
                  <a:pos x="76" y="50"/>
                </a:cxn>
                <a:cxn ang="0">
                  <a:pos x="84" y="50"/>
                </a:cxn>
                <a:cxn ang="0">
                  <a:pos x="86" y="47"/>
                </a:cxn>
                <a:cxn ang="0">
                  <a:pos x="92" y="45"/>
                </a:cxn>
                <a:cxn ang="0">
                  <a:pos x="96" y="42"/>
                </a:cxn>
                <a:cxn ang="0">
                  <a:pos x="99" y="37"/>
                </a:cxn>
                <a:cxn ang="0">
                  <a:pos x="99" y="29"/>
                </a:cxn>
                <a:cxn ang="0">
                  <a:pos x="108" y="26"/>
                </a:cxn>
                <a:cxn ang="0">
                  <a:pos x="109" y="19"/>
                </a:cxn>
                <a:cxn ang="0">
                  <a:pos x="105" y="10"/>
                </a:cxn>
                <a:cxn ang="0">
                  <a:pos x="103" y="5"/>
                </a:cxn>
                <a:cxn ang="0">
                  <a:pos x="89" y="0"/>
                </a:cxn>
                <a:cxn ang="0">
                  <a:pos x="77" y="5"/>
                </a:cxn>
                <a:cxn ang="0">
                  <a:pos x="70" y="9"/>
                </a:cxn>
                <a:cxn ang="0">
                  <a:pos x="61" y="5"/>
                </a:cxn>
              </a:cxnLst>
              <a:rect l="0" t="0" r="r" b="b"/>
              <a:pathLst>
                <a:path w="109" h="54">
                  <a:moveTo>
                    <a:pt x="61" y="5"/>
                  </a:moveTo>
                  <a:lnTo>
                    <a:pt x="61" y="8"/>
                  </a:lnTo>
                  <a:lnTo>
                    <a:pt x="57" y="9"/>
                  </a:lnTo>
                  <a:lnTo>
                    <a:pt x="54" y="13"/>
                  </a:lnTo>
                  <a:lnTo>
                    <a:pt x="48" y="16"/>
                  </a:lnTo>
                  <a:lnTo>
                    <a:pt x="47" y="19"/>
                  </a:lnTo>
                  <a:lnTo>
                    <a:pt x="48" y="24"/>
                  </a:lnTo>
                  <a:lnTo>
                    <a:pt x="50" y="28"/>
                  </a:lnTo>
                  <a:lnTo>
                    <a:pt x="50" y="29"/>
                  </a:lnTo>
                  <a:lnTo>
                    <a:pt x="48" y="31"/>
                  </a:lnTo>
                  <a:lnTo>
                    <a:pt x="47" y="28"/>
                  </a:lnTo>
                  <a:lnTo>
                    <a:pt x="42" y="28"/>
                  </a:lnTo>
                  <a:lnTo>
                    <a:pt x="39" y="28"/>
                  </a:lnTo>
                  <a:lnTo>
                    <a:pt x="38" y="29"/>
                  </a:lnTo>
                  <a:lnTo>
                    <a:pt x="29" y="29"/>
                  </a:lnTo>
                  <a:lnTo>
                    <a:pt x="25" y="34"/>
                  </a:lnTo>
                  <a:lnTo>
                    <a:pt x="22" y="34"/>
                  </a:lnTo>
                  <a:lnTo>
                    <a:pt x="18" y="31"/>
                  </a:lnTo>
                  <a:lnTo>
                    <a:pt x="15" y="31"/>
                  </a:lnTo>
                  <a:lnTo>
                    <a:pt x="13" y="32"/>
                  </a:lnTo>
                  <a:lnTo>
                    <a:pt x="12" y="34"/>
                  </a:lnTo>
                  <a:lnTo>
                    <a:pt x="12" y="35"/>
                  </a:lnTo>
                  <a:lnTo>
                    <a:pt x="9" y="34"/>
                  </a:lnTo>
                  <a:lnTo>
                    <a:pt x="7" y="32"/>
                  </a:lnTo>
                  <a:lnTo>
                    <a:pt x="5" y="31"/>
                  </a:lnTo>
                  <a:lnTo>
                    <a:pt x="3" y="31"/>
                  </a:lnTo>
                  <a:lnTo>
                    <a:pt x="0" y="32"/>
                  </a:lnTo>
                  <a:lnTo>
                    <a:pt x="2" y="34"/>
                  </a:lnTo>
                  <a:lnTo>
                    <a:pt x="3" y="35"/>
                  </a:lnTo>
                  <a:lnTo>
                    <a:pt x="5" y="41"/>
                  </a:lnTo>
                  <a:lnTo>
                    <a:pt x="3" y="42"/>
                  </a:lnTo>
                  <a:lnTo>
                    <a:pt x="5" y="44"/>
                  </a:lnTo>
                  <a:lnTo>
                    <a:pt x="9" y="45"/>
                  </a:lnTo>
                  <a:lnTo>
                    <a:pt x="12" y="44"/>
                  </a:lnTo>
                  <a:lnTo>
                    <a:pt x="13" y="45"/>
                  </a:lnTo>
                  <a:lnTo>
                    <a:pt x="16" y="47"/>
                  </a:lnTo>
                  <a:lnTo>
                    <a:pt x="35" y="42"/>
                  </a:lnTo>
                  <a:lnTo>
                    <a:pt x="35" y="41"/>
                  </a:lnTo>
                  <a:lnTo>
                    <a:pt x="36" y="41"/>
                  </a:lnTo>
                  <a:lnTo>
                    <a:pt x="38" y="41"/>
                  </a:lnTo>
                  <a:lnTo>
                    <a:pt x="38" y="45"/>
                  </a:lnTo>
                  <a:lnTo>
                    <a:pt x="39" y="47"/>
                  </a:lnTo>
                  <a:lnTo>
                    <a:pt x="42" y="48"/>
                  </a:lnTo>
                  <a:lnTo>
                    <a:pt x="44" y="48"/>
                  </a:lnTo>
                  <a:lnTo>
                    <a:pt x="45" y="51"/>
                  </a:lnTo>
                  <a:lnTo>
                    <a:pt x="71" y="54"/>
                  </a:lnTo>
                  <a:lnTo>
                    <a:pt x="74" y="53"/>
                  </a:lnTo>
                  <a:lnTo>
                    <a:pt x="76" y="50"/>
                  </a:lnTo>
                  <a:lnTo>
                    <a:pt x="79" y="48"/>
                  </a:lnTo>
                  <a:lnTo>
                    <a:pt x="84" y="50"/>
                  </a:lnTo>
                  <a:lnTo>
                    <a:pt x="86" y="48"/>
                  </a:lnTo>
                  <a:lnTo>
                    <a:pt x="86" y="47"/>
                  </a:lnTo>
                  <a:lnTo>
                    <a:pt x="92" y="48"/>
                  </a:lnTo>
                  <a:lnTo>
                    <a:pt x="92" y="45"/>
                  </a:lnTo>
                  <a:lnTo>
                    <a:pt x="93" y="45"/>
                  </a:lnTo>
                  <a:lnTo>
                    <a:pt x="96" y="42"/>
                  </a:lnTo>
                  <a:lnTo>
                    <a:pt x="99" y="41"/>
                  </a:lnTo>
                  <a:lnTo>
                    <a:pt x="99" y="37"/>
                  </a:lnTo>
                  <a:lnTo>
                    <a:pt x="102" y="31"/>
                  </a:lnTo>
                  <a:lnTo>
                    <a:pt x="99" y="29"/>
                  </a:lnTo>
                  <a:lnTo>
                    <a:pt x="100" y="26"/>
                  </a:lnTo>
                  <a:lnTo>
                    <a:pt x="108" y="26"/>
                  </a:lnTo>
                  <a:lnTo>
                    <a:pt x="109" y="25"/>
                  </a:lnTo>
                  <a:lnTo>
                    <a:pt x="109" y="19"/>
                  </a:lnTo>
                  <a:lnTo>
                    <a:pt x="105" y="10"/>
                  </a:lnTo>
                  <a:lnTo>
                    <a:pt x="105" y="10"/>
                  </a:lnTo>
                  <a:lnTo>
                    <a:pt x="105" y="8"/>
                  </a:lnTo>
                  <a:lnTo>
                    <a:pt x="103" y="5"/>
                  </a:lnTo>
                  <a:lnTo>
                    <a:pt x="95" y="5"/>
                  </a:lnTo>
                  <a:lnTo>
                    <a:pt x="89" y="0"/>
                  </a:lnTo>
                  <a:lnTo>
                    <a:pt x="80" y="0"/>
                  </a:lnTo>
                  <a:lnTo>
                    <a:pt x="77" y="5"/>
                  </a:lnTo>
                  <a:lnTo>
                    <a:pt x="74" y="8"/>
                  </a:lnTo>
                  <a:lnTo>
                    <a:pt x="70" y="9"/>
                  </a:lnTo>
                  <a:lnTo>
                    <a:pt x="67" y="8"/>
                  </a:lnTo>
                  <a:lnTo>
                    <a:pt x="61" y="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69" name="Freeform 682"/>
            <p:cNvSpPr>
              <a:spLocks/>
            </p:cNvSpPr>
            <p:nvPr/>
          </p:nvSpPr>
          <p:spPr bwMode="auto">
            <a:xfrm>
              <a:off x="6242739" y="2443037"/>
              <a:ext cx="99192" cy="55776"/>
            </a:xfrm>
            <a:custGeom>
              <a:avLst/>
              <a:gdLst/>
              <a:ahLst/>
              <a:cxnLst>
                <a:cxn ang="0">
                  <a:pos x="61" y="8"/>
                </a:cxn>
                <a:cxn ang="0">
                  <a:pos x="54" y="13"/>
                </a:cxn>
                <a:cxn ang="0">
                  <a:pos x="47" y="19"/>
                </a:cxn>
                <a:cxn ang="0">
                  <a:pos x="50" y="28"/>
                </a:cxn>
                <a:cxn ang="0">
                  <a:pos x="48" y="31"/>
                </a:cxn>
                <a:cxn ang="0">
                  <a:pos x="42" y="28"/>
                </a:cxn>
                <a:cxn ang="0">
                  <a:pos x="38" y="29"/>
                </a:cxn>
                <a:cxn ang="0">
                  <a:pos x="25" y="34"/>
                </a:cxn>
                <a:cxn ang="0">
                  <a:pos x="18" y="31"/>
                </a:cxn>
                <a:cxn ang="0">
                  <a:pos x="13" y="32"/>
                </a:cxn>
                <a:cxn ang="0">
                  <a:pos x="12" y="35"/>
                </a:cxn>
                <a:cxn ang="0">
                  <a:pos x="7" y="32"/>
                </a:cxn>
                <a:cxn ang="0">
                  <a:pos x="3" y="31"/>
                </a:cxn>
                <a:cxn ang="0">
                  <a:pos x="2" y="34"/>
                </a:cxn>
                <a:cxn ang="0">
                  <a:pos x="5" y="41"/>
                </a:cxn>
                <a:cxn ang="0">
                  <a:pos x="5" y="44"/>
                </a:cxn>
                <a:cxn ang="0">
                  <a:pos x="12" y="44"/>
                </a:cxn>
                <a:cxn ang="0">
                  <a:pos x="16" y="47"/>
                </a:cxn>
                <a:cxn ang="0">
                  <a:pos x="35" y="41"/>
                </a:cxn>
                <a:cxn ang="0">
                  <a:pos x="38" y="41"/>
                </a:cxn>
                <a:cxn ang="0">
                  <a:pos x="39" y="47"/>
                </a:cxn>
                <a:cxn ang="0">
                  <a:pos x="44" y="48"/>
                </a:cxn>
                <a:cxn ang="0">
                  <a:pos x="71" y="54"/>
                </a:cxn>
                <a:cxn ang="0">
                  <a:pos x="76" y="50"/>
                </a:cxn>
                <a:cxn ang="0">
                  <a:pos x="84" y="50"/>
                </a:cxn>
                <a:cxn ang="0">
                  <a:pos x="86" y="47"/>
                </a:cxn>
                <a:cxn ang="0">
                  <a:pos x="92" y="45"/>
                </a:cxn>
                <a:cxn ang="0">
                  <a:pos x="96" y="42"/>
                </a:cxn>
                <a:cxn ang="0">
                  <a:pos x="99" y="37"/>
                </a:cxn>
                <a:cxn ang="0">
                  <a:pos x="99" y="29"/>
                </a:cxn>
                <a:cxn ang="0">
                  <a:pos x="108" y="26"/>
                </a:cxn>
                <a:cxn ang="0">
                  <a:pos x="109" y="19"/>
                </a:cxn>
                <a:cxn ang="0">
                  <a:pos x="105" y="10"/>
                </a:cxn>
                <a:cxn ang="0">
                  <a:pos x="103" y="5"/>
                </a:cxn>
                <a:cxn ang="0">
                  <a:pos x="89" y="0"/>
                </a:cxn>
                <a:cxn ang="0">
                  <a:pos x="77" y="5"/>
                </a:cxn>
                <a:cxn ang="0">
                  <a:pos x="70" y="9"/>
                </a:cxn>
                <a:cxn ang="0">
                  <a:pos x="61" y="5"/>
                </a:cxn>
              </a:cxnLst>
              <a:rect l="0" t="0" r="r" b="b"/>
              <a:pathLst>
                <a:path w="109" h="54">
                  <a:moveTo>
                    <a:pt x="61" y="5"/>
                  </a:moveTo>
                  <a:lnTo>
                    <a:pt x="61" y="8"/>
                  </a:lnTo>
                  <a:lnTo>
                    <a:pt x="57" y="9"/>
                  </a:lnTo>
                  <a:lnTo>
                    <a:pt x="54" y="13"/>
                  </a:lnTo>
                  <a:lnTo>
                    <a:pt x="48" y="16"/>
                  </a:lnTo>
                  <a:lnTo>
                    <a:pt x="47" y="19"/>
                  </a:lnTo>
                  <a:lnTo>
                    <a:pt x="48" y="24"/>
                  </a:lnTo>
                  <a:lnTo>
                    <a:pt x="50" y="28"/>
                  </a:lnTo>
                  <a:lnTo>
                    <a:pt x="50" y="29"/>
                  </a:lnTo>
                  <a:lnTo>
                    <a:pt x="48" y="31"/>
                  </a:lnTo>
                  <a:lnTo>
                    <a:pt x="47" y="28"/>
                  </a:lnTo>
                  <a:lnTo>
                    <a:pt x="42" y="28"/>
                  </a:lnTo>
                  <a:lnTo>
                    <a:pt x="39" y="28"/>
                  </a:lnTo>
                  <a:lnTo>
                    <a:pt x="38" y="29"/>
                  </a:lnTo>
                  <a:lnTo>
                    <a:pt x="29" y="29"/>
                  </a:lnTo>
                  <a:lnTo>
                    <a:pt x="25" y="34"/>
                  </a:lnTo>
                  <a:lnTo>
                    <a:pt x="22" y="34"/>
                  </a:lnTo>
                  <a:lnTo>
                    <a:pt x="18" y="31"/>
                  </a:lnTo>
                  <a:lnTo>
                    <a:pt x="15" y="31"/>
                  </a:lnTo>
                  <a:lnTo>
                    <a:pt x="13" y="32"/>
                  </a:lnTo>
                  <a:lnTo>
                    <a:pt x="12" y="34"/>
                  </a:lnTo>
                  <a:lnTo>
                    <a:pt x="12" y="35"/>
                  </a:lnTo>
                  <a:lnTo>
                    <a:pt x="9" y="34"/>
                  </a:lnTo>
                  <a:lnTo>
                    <a:pt x="7" y="32"/>
                  </a:lnTo>
                  <a:lnTo>
                    <a:pt x="5" y="31"/>
                  </a:lnTo>
                  <a:lnTo>
                    <a:pt x="3" y="31"/>
                  </a:lnTo>
                  <a:lnTo>
                    <a:pt x="0" y="32"/>
                  </a:lnTo>
                  <a:lnTo>
                    <a:pt x="2" y="34"/>
                  </a:lnTo>
                  <a:lnTo>
                    <a:pt x="3" y="35"/>
                  </a:lnTo>
                  <a:lnTo>
                    <a:pt x="5" y="41"/>
                  </a:lnTo>
                  <a:lnTo>
                    <a:pt x="3" y="42"/>
                  </a:lnTo>
                  <a:lnTo>
                    <a:pt x="5" y="44"/>
                  </a:lnTo>
                  <a:lnTo>
                    <a:pt x="9" y="45"/>
                  </a:lnTo>
                  <a:lnTo>
                    <a:pt x="12" y="44"/>
                  </a:lnTo>
                  <a:lnTo>
                    <a:pt x="13" y="45"/>
                  </a:lnTo>
                  <a:lnTo>
                    <a:pt x="16" y="47"/>
                  </a:lnTo>
                  <a:lnTo>
                    <a:pt x="35" y="42"/>
                  </a:lnTo>
                  <a:lnTo>
                    <a:pt x="35" y="41"/>
                  </a:lnTo>
                  <a:lnTo>
                    <a:pt x="36" y="41"/>
                  </a:lnTo>
                  <a:lnTo>
                    <a:pt x="38" y="41"/>
                  </a:lnTo>
                  <a:lnTo>
                    <a:pt x="38" y="45"/>
                  </a:lnTo>
                  <a:lnTo>
                    <a:pt x="39" y="47"/>
                  </a:lnTo>
                  <a:lnTo>
                    <a:pt x="42" y="48"/>
                  </a:lnTo>
                  <a:lnTo>
                    <a:pt x="44" y="48"/>
                  </a:lnTo>
                  <a:lnTo>
                    <a:pt x="45" y="51"/>
                  </a:lnTo>
                  <a:lnTo>
                    <a:pt x="71" y="54"/>
                  </a:lnTo>
                  <a:lnTo>
                    <a:pt x="74" y="53"/>
                  </a:lnTo>
                  <a:lnTo>
                    <a:pt x="76" y="50"/>
                  </a:lnTo>
                  <a:lnTo>
                    <a:pt x="79" y="48"/>
                  </a:lnTo>
                  <a:lnTo>
                    <a:pt x="84" y="50"/>
                  </a:lnTo>
                  <a:lnTo>
                    <a:pt x="86" y="48"/>
                  </a:lnTo>
                  <a:lnTo>
                    <a:pt x="86" y="47"/>
                  </a:lnTo>
                  <a:lnTo>
                    <a:pt x="92" y="48"/>
                  </a:lnTo>
                  <a:lnTo>
                    <a:pt x="92" y="45"/>
                  </a:lnTo>
                  <a:lnTo>
                    <a:pt x="93" y="45"/>
                  </a:lnTo>
                  <a:lnTo>
                    <a:pt x="96" y="42"/>
                  </a:lnTo>
                  <a:lnTo>
                    <a:pt x="99" y="41"/>
                  </a:lnTo>
                  <a:lnTo>
                    <a:pt x="99" y="37"/>
                  </a:lnTo>
                  <a:lnTo>
                    <a:pt x="102" y="31"/>
                  </a:lnTo>
                  <a:lnTo>
                    <a:pt x="99" y="29"/>
                  </a:lnTo>
                  <a:lnTo>
                    <a:pt x="100" y="26"/>
                  </a:lnTo>
                  <a:lnTo>
                    <a:pt x="108" y="26"/>
                  </a:lnTo>
                  <a:lnTo>
                    <a:pt x="109" y="25"/>
                  </a:lnTo>
                  <a:lnTo>
                    <a:pt x="109" y="19"/>
                  </a:lnTo>
                  <a:lnTo>
                    <a:pt x="105" y="10"/>
                  </a:lnTo>
                  <a:lnTo>
                    <a:pt x="105" y="10"/>
                  </a:lnTo>
                  <a:lnTo>
                    <a:pt x="105" y="8"/>
                  </a:lnTo>
                  <a:lnTo>
                    <a:pt x="103" y="5"/>
                  </a:lnTo>
                  <a:lnTo>
                    <a:pt x="95" y="5"/>
                  </a:lnTo>
                  <a:lnTo>
                    <a:pt x="89" y="0"/>
                  </a:lnTo>
                  <a:lnTo>
                    <a:pt x="80" y="0"/>
                  </a:lnTo>
                  <a:lnTo>
                    <a:pt x="77" y="5"/>
                  </a:lnTo>
                  <a:lnTo>
                    <a:pt x="74" y="8"/>
                  </a:lnTo>
                  <a:lnTo>
                    <a:pt x="70" y="9"/>
                  </a:lnTo>
                  <a:lnTo>
                    <a:pt x="67" y="8"/>
                  </a:lnTo>
                  <a:lnTo>
                    <a:pt x="61" y="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70" name="Freeform 683"/>
            <p:cNvSpPr>
              <a:spLocks/>
            </p:cNvSpPr>
            <p:nvPr/>
          </p:nvSpPr>
          <p:spPr bwMode="auto">
            <a:xfrm>
              <a:off x="6165493" y="2338581"/>
              <a:ext cx="46523" cy="63891"/>
            </a:xfrm>
            <a:custGeom>
              <a:avLst/>
              <a:gdLst/>
              <a:ahLst/>
              <a:cxnLst>
                <a:cxn ang="0">
                  <a:pos x="32" y="61"/>
                </a:cxn>
                <a:cxn ang="0">
                  <a:pos x="29" y="52"/>
                </a:cxn>
                <a:cxn ang="0">
                  <a:pos x="25" y="51"/>
                </a:cxn>
                <a:cxn ang="0">
                  <a:pos x="22" y="48"/>
                </a:cxn>
                <a:cxn ang="0">
                  <a:pos x="20" y="45"/>
                </a:cxn>
                <a:cxn ang="0">
                  <a:pos x="4" y="51"/>
                </a:cxn>
                <a:cxn ang="0">
                  <a:pos x="0" y="48"/>
                </a:cxn>
                <a:cxn ang="0">
                  <a:pos x="3" y="48"/>
                </a:cxn>
                <a:cxn ang="0">
                  <a:pos x="7" y="48"/>
                </a:cxn>
                <a:cxn ang="0">
                  <a:pos x="10" y="47"/>
                </a:cxn>
                <a:cxn ang="0">
                  <a:pos x="6" y="47"/>
                </a:cxn>
                <a:cxn ang="0">
                  <a:pos x="6" y="45"/>
                </a:cxn>
                <a:cxn ang="0">
                  <a:pos x="13" y="42"/>
                </a:cxn>
                <a:cxn ang="0">
                  <a:pos x="20" y="39"/>
                </a:cxn>
                <a:cxn ang="0">
                  <a:pos x="16" y="41"/>
                </a:cxn>
                <a:cxn ang="0">
                  <a:pos x="12" y="39"/>
                </a:cxn>
                <a:cxn ang="0">
                  <a:pos x="10" y="35"/>
                </a:cxn>
                <a:cxn ang="0">
                  <a:pos x="16" y="28"/>
                </a:cxn>
                <a:cxn ang="0">
                  <a:pos x="22" y="12"/>
                </a:cxn>
                <a:cxn ang="0">
                  <a:pos x="23" y="16"/>
                </a:cxn>
                <a:cxn ang="0">
                  <a:pos x="23" y="17"/>
                </a:cxn>
                <a:cxn ang="0">
                  <a:pos x="22" y="19"/>
                </a:cxn>
                <a:cxn ang="0">
                  <a:pos x="22" y="23"/>
                </a:cxn>
                <a:cxn ang="0">
                  <a:pos x="23" y="26"/>
                </a:cxn>
                <a:cxn ang="0">
                  <a:pos x="26" y="26"/>
                </a:cxn>
                <a:cxn ang="0">
                  <a:pos x="26" y="23"/>
                </a:cxn>
                <a:cxn ang="0">
                  <a:pos x="26" y="22"/>
                </a:cxn>
                <a:cxn ang="0">
                  <a:pos x="28" y="19"/>
                </a:cxn>
                <a:cxn ang="0">
                  <a:pos x="29" y="13"/>
                </a:cxn>
                <a:cxn ang="0">
                  <a:pos x="26" y="12"/>
                </a:cxn>
                <a:cxn ang="0">
                  <a:pos x="26" y="6"/>
                </a:cxn>
                <a:cxn ang="0">
                  <a:pos x="33" y="1"/>
                </a:cxn>
                <a:cxn ang="0">
                  <a:pos x="39" y="1"/>
                </a:cxn>
                <a:cxn ang="0">
                  <a:pos x="45" y="0"/>
                </a:cxn>
                <a:cxn ang="0">
                  <a:pos x="51" y="4"/>
                </a:cxn>
                <a:cxn ang="0">
                  <a:pos x="44" y="19"/>
                </a:cxn>
                <a:cxn ang="0">
                  <a:pos x="49" y="23"/>
                </a:cxn>
                <a:cxn ang="0">
                  <a:pos x="46" y="29"/>
                </a:cxn>
                <a:cxn ang="0">
                  <a:pos x="44" y="33"/>
                </a:cxn>
                <a:cxn ang="0">
                  <a:pos x="41" y="36"/>
                </a:cxn>
                <a:cxn ang="0">
                  <a:pos x="35" y="35"/>
                </a:cxn>
                <a:cxn ang="0">
                  <a:pos x="33" y="54"/>
                </a:cxn>
                <a:cxn ang="0">
                  <a:pos x="35" y="60"/>
                </a:cxn>
              </a:cxnLst>
              <a:rect l="0" t="0" r="r" b="b"/>
              <a:pathLst>
                <a:path w="51" h="61">
                  <a:moveTo>
                    <a:pt x="35" y="61"/>
                  </a:moveTo>
                  <a:lnTo>
                    <a:pt x="32" y="61"/>
                  </a:lnTo>
                  <a:lnTo>
                    <a:pt x="30" y="60"/>
                  </a:lnTo>
                  <a:lnTo>
                    <a:pt x="29" y="52"/>
                  </a:lnTo>
                  <a:lnTo>
                    <a:pt x="28" y="51"/>
                  </a:lnTo>
                  <a:lnTo>
                    <a:pt x="25" y="51"/>
                  </a:lnTo>
                  <a:lnTo>
                    <a:pt x="23" y="49"/>
                  </a:lnTo>
                  <a:lnTo>
                    <a:pt x="22" y="48"/>
                  </a:lnTo>
                  <a:lnTo>
                    <a:pt x="22" y="48"/>
                  </a:lnTo>
                  <a:lnTo>
                    <a:pt x="20" y="45"/>
                  </a:lnTo>
                  <a:lnTo>
                    <a:pt x="13" y="47"/>
                  </a:lnTo>
                  <a:lnTo>
                    <a:pt x="4" y="51"/>
                  </a:lnTo>
                  <a:lnTo>
                    <a:pt x="0" y="48"/>
                  </a:lnTo>
                  <a:lnTo>
                    <a:pt x="0" y="48"/>
                  </a:lnTo>
                  <a:lnTo>
                    <a:pt x="0" y="48"/>
                  </a:lnTo>
                  <a:lnTo>
                    <a:pt x="3" y="48"/>
                  </a:lnTo>
                  <a:lnTo>
                    <a:pt x="4" y="49"/>
                  </a:lnTo>
                  <a:lnTo>
                    <a:pt x="7" y="48"/>
                  </a:lnTo>
                  <a:lnTo>
                    <a:pt x="10" y="48"/>
                  </a:lnTo>
                  <a:lnTo>
                    <a:pt x="10" y="47"/>
                  </a:lnTo>
                  <a:lnTo>
                    <a:pt x="9" y="47"/>
                  </a:lnTo>
                  <a:lnTo>
                    <a:pt x="6" y="47"/>
                  </a:lnTo>
                  <a:lnTo>
                    <a:pt x="4" y="47"/>
                  </a:lnTo>
                  <a:lnTo>
                    <a:pt x="6" y="45"/>
                  </a:lnTo>
                  <a:lnTo>
                    <a:pt x="12" y="44"/>
                  </a:lnTo>
                  <a:lnTo>
                    <a:pt x="13" y="42"/>
                  </a:lnTo>
                  <a:lnTo>
                    <a:pt x="17" y="41"/>
                  </a:lnTo>
                  <a:lnTo>
                    <a:pt x="20" y="39"/>
                  </a:lnTo>
                  <a:lnTo>
                    <a:pt x="19" y="39"/>
                  </a:lnTo>
                  <a:lnTo>
                    <a:pt x="16" y="41"/>
                  </a:lnTo>
                  <a:lnTo>
                    <a:pt x="13" y="41"/>
                  </a:lnTo>
                  <a:lnTo>
                    <a:pt x="12" y="39"/>
                  </a:lnTo>
                  <a:lnTo>
                    <a:pt x="10" y="38"/>
                  </a:lnTo>
                  <a:lnTo>
                    <a:pt x="10" y="35"/>
                  </a:lnTo>
                  <a:lnTo>
                    <a:pt x="10" y="33"/>
                  </a:lnTo>
                  <a:lnTo>
                    <a:pt x="16" y="28"/>
                  </a:lnTo>
                  <a:lnTo>
                    <a:pt x="19" y="13"/>
                  </a:lnTo>
                  <a:lnTo>
                    <a:pt x="22" y="12"/>
                  </a:lnTo>
                  <a:lnTo>
                    <a:pt x="22" y="15"/>
                  </a:lnTo>
                  <a:lnTo>
                    <a:pt x="23" y="16"/>
                  </a:lnTo>
                  <a:lnTo>
                    <a:pt x="23" y="16"/>
                  </a:lnTo>
                  <a:lnTo>
                    <a:pt x="23" y="17"/>
                  </a:lnTo>
                  <a:lnTo>
                    <a:pt x="22" y="17"/>
                  </a:lnTo>
                  <a:lnTo>
                    <a:pt x="22" y="19"/>
                  </a:lnTo>
                  <a:lnTo>
                    <a:pt x="20" y="20"/>
                  </a:lnTo>
                  <a:lnTo>
                    <a:pt x="22" y="23"/>
                  </a:lnTo>
                  <a:lnTo>
                    <a:pt x="22" y="25"/>
                  </a:lnTo>
                  <a:lnTo>
                    <a:pt x="23" y="26"/>
                  </a:lnTo>
                  <a:lnTo>
                    <a:pt x="25" y="26"/>
                  </a:lnTo>
                  <a:lnTo>
                    <a:pt x="26" y="26"/>
                  </a:lnTo>
                  <a:lnTo>
                    <a:pt x="28" y="26"/>
                  </a:lnTo>
                  <a:lnTo>
                    <a:pt x="26" y="23"/>
                  </a:lnTo>
                  <a:lnTo>
                    <a:pt x="26" y="22"/>
                  </a:lnTo>
                  <a:lnTo>
                    <a:pt x="26" y="22"/>
                  </a:lnTo>
                  <a:lnTo>
                    <a:pt x="26" y="20"/>
                  </a:lnTo>
                  <a:lnTo>
                    <a:pt x="28" y="19"/>
                  </a:lnTo>
                  <a:lnTo>
                    <a:pt x="29" y="13"/>
                  </a:lnTo>
                  <a:lnTo>
                    <a:pt x="29" y="13"/>
                  </a:lnTo>
                  <a:lnTo>
                    <a:pt x="28" y="13"/>
                  </a:lnTo>
                  <a:lnTo>
                    <a:pt x="26" y="12"/>
                  </a:lnTo>
                  <a:lnTo>
                    <a:pt x="26" y="7"/>
                  </a:lnTo>
                  <a:lnTo>
                    <a:pt x="26" y="6"/>
                  </a:lnTo>
                  <a:lnTo>
                    <a:pt x="28" y="4"/>
                  </a:lnTo>
                  <a:lnTo>
                    <a:pt x="33" y="1"/>
                  </a:lnTo>
                  <a:lnTo>
                    <a:pt x="35" y="0"/>
                  </a:lnTo>
                  <a:lnTo>
                    <a:pt x="39" y="1"/>
                  </a:lnTo>
                  <a:lnTo>
                    <a:pt x="42" y="0"/>
                  </a:lnTo>
                  <a:lnTo>
                    <a:pt x="45" y="0"/>
                  </a:lnTo>
                  <a:lnTo>
                    <a:pt x="46" y="0"/>
                  </a:lnTo>
                  <a:lnTo>
                    <a:pt x="51" y="4"/>
                  </a:lnTo>
                  <a:lnTo>
                    <a:pt x="48" y="16"/>
                  </a:lnTo>
                  <a:lnTo>
                    <a:pt x="44" y="19"/>
                  </a:lnTo>
                  <a:lnTo>
                    <a:pt x="45" y="20"/>
                  </a:lnTo>
                  <a:lnTo>
                    <a:pt x="49" y="23"/>
                  </a:lnTo>
                  <a:lnTo>
                    <a:pt x="49" y="26"/>
                  </a:lnTo>
                  <a:lnTo>
                    <a:pt x="46" y="29"/>
                  </a:lnTo>
                  <a:lnTo>
                    <a:pt x="45" y="31"/>
                  </a:lnTo>
                  <a:lnTo>
                    <a:pt x="44" y="33"/>
                  </a:lnTo>
                  <a:lnTo>
                    <a:pt x="42" y="36"/>
                  </a:lnTo>
                  <a:lnTo>
                    <a:pt x="41" y="36"/>
                  </a:lnTo>
                  <a:lnTo>
                    <a:pt x="38" y="35"/>
                  </a:lnTo>
                  <a:lnTo>
                    <a:pt x="35" y="35"/>
                  </a:lnTo>
                  <a:lnTo>
                    <a:pt x="35" y="52"/>
                  </a:lnTo>
                  <a:lnTo>
                    <a:pt x="33" y="54"/>
                  </a:lnTo>
                  <a:lnTo>
                    <a:pt x="33" y="55"/>
                  </a:lnTo>
                  <a:lnTo>
                    <a:pt x="35" y="60"/>
                  </a:lnTo>
                  <a:lnTo>
                    <a:pt x="35" y="6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71" name="Freeform 684"/>
            <p:cNvSpPr>
              <a:spLocks/>
            </p:cNvSpPr>
            <p:nvPr/>
          </p:nvSpPr>
          <p:spPr bwMode="auto">
            <a:xfrm>
              <a:off x="6165493" y="2338581"/>
              <a:ext cx="46523" cy="63891"/>
            </a:xfrm>
            <a:custGeom>
              <a:avLst/>
              <a:gdLst/>
              <a:ahLst/>
              <a:cxnLst>
                <a:cxn ang="0">
                  <a:pos x="32" y="61"/>
                </a:cxn>
                <a:cxn ang="0">
                  <a:pos x="29" y="52"/>
                </a:cxn>
                <a:cxn ang="0">
                  <a:pos x="25" y="51"/>
                </a:cxn>
                <a:cxn ang="0">
                  <a:pos x="22" y="48"/>
                </a:cxn>
                <a:cxn ang="0">
                  <a:pos x="20" y="45"/>
                </a:cxn>
                <a:cxn ang="0">
                  <a:pos x="4" y="51"/>
                </a:cxn>
                <a:cxn ang="0">
                  <a:pos x="0" y="48"/>
                </a:cxn>
                <a:cxn ang="0">
                  <a:pos x="3" y="48"/>
                </a:cxn>
                <a:cxn ang="0">
                  <a:pos x="7" y="48"/>
                </a:cxn>
                <a:cxn ang="0">
                  <a:pos x="10" y="47"/>
                </a:cxn>
                <a:cxn ang="0">
                  <a:pos x="6" y="47"/>
                </a:cxn>
                <a:cxn ang="0">
                  <a:pos x="6" y="45"/>
                </a:cxn>
                <a:cxn ang="0">
                  <a:pos x="13" y="42"/>
                </a:cxn>
                <a:cxn ang="0">
                  <a:pos x="20" y="39"/>
                </a:cxn>
                <a:cxn ang="0">
                  <a:pos x="16" y="41"/>
                </a:cxn>
                <a:cxn ang="0">
                  <a:pos x="12" y="39"/>
                </a:cxn>
                <a:cxn ang="0">
                  <a:pos x="10" y="35"/>
                </a:cxn>
                <a:cxn ang="0">
                  <a:pos x="16" y="28"/>
                </a:cxn>
                <a:cxn ang="0">
                  <a:pos x="22" y="12"/>
                </a:cxn>
                <a:cxn ang="0">
                  <a:pos x="23" y="16"/>
                </a:cxn>
                <a:cxn ang="0">
                  <a:pos x="23" y="17"/>
                </a:cxn>
                <a:cxn ang="0">
                  <a:pos x="22" y="19"/>
                </a:cxn>
                <a:cxn ang="0">
                  <a:pos x="22" y="23"/>
                </a:cxn>
                <a:cxn ang="0">
                  <a:pos x="23" y="26"/>
                </a:cxn>
                <a:cxn ang="0">
                  <a:pos x="26" y="26"/>
                </a:cxn>
                <a:cxn ang="0">
                  <a:pos x="26" y="23"/>
                </a:cxn>
                <a:cxn ang="0">
                  <a:pos x="26" y="22"/>
                </a:cxn>
                <a:cxn ang="0">
                  <a:pos x="28" y="19"/>
                </a:cxn>
                <a:cxn ang="0">
                  <a:pos x="29" y="13"/>
                </a:cxn>
                <a:cxn ang="0">
                  <a:pos x="26" y="12"/>
                </a:cxn>
                <a:cxn ang="0">
                  <a:pos x="26" y="6"/>
                </a:cxn>
                <a:cxn ang="0">
                  <a:pos x="33" y="1"/>
                </a:cxn>
                <a:cxn ang="0">
                  <a:pos x="39" y="1"/>
                </a:cxn>
                <a:cxn ang="0">
                  <a:pos x="45" y="0"/>
                </a:cxn>
                <a:cxn ang="0">
                  <a:pos x="51" y="4"/>
                </a:cxn>
                <a:cxn ang="0">
                  <a:pos x="44" y="19"/>
                </a:cxn>
                <a:cxn ang="0">
                  <a:pos x="49" y="23"/>
                </a:cxn>
                <a:cxn ang="0">
                  <a:pos x="46" y="29"/>
                </a:cxn>
                <a:cxn ang="0">
                  <a:pos x="44" y="33"/>
                </a:cxn>
                <a:cxn ang="0">
                  <a:pos x="41" y="36"/>
                </a:cxn>
                <a:cxn ang="0">
                  <a:pos x="35" y="35"/>
                </a:cxn>
                <a:cxn ang="0">
                  <a:pos x="33" y="54"/>
                </a:cxn>
                <a:cxn ang="0">
                  <a:pos x="35" y="60"/>
                </a:cxn>
              </a:cxnLst>
              <a:rect l="0" t="0" r="r" b="b"/>
              <a:pathLst>
                <a:path w="51" h="61">
                  <a:moveTo>
                    <a:pt x="35" y="61"/>
                  </a:moveTo>
                  <a:lnTo>
                    <a:pt x="32" y="61"/>
                  </a:lnTo>
                  <a:lnTo>
                    <a:pt x="30" y="60"/>
                  </a:lnTo>
                  <a:lnTo>
                    <a:pt x="29" y="52"/>
                  </a:lnTo>
                  <a:lnTo>
                    <a:pt x="28" y="51"/>
                  </a:lnTo>
                  <a:lnTo>
                    <a:pt x="25" y="51"/>
                  </a:lnTo>
                  <a:lnTo>
                    <a:pt x="23" y="49"/>
                  </a:lnTo>
                  <a:lnTo>
                    <a:pt x="22" y="48"/>
                  </a:lnTo>
                  <a:lnTo>
                    <a:pt x="22" y="48"/>
                  </a:lnTo>
                  <a:lnTo>
                    <a:pt x="20" y="45"/>
                  </a:lnTo>
                  <a:lnTo>
                    <a:pt x="13" y="47"/>
                  </a:lnTo>
                  <a:lnTo>
                    <a:pt x="4" y="51"/>
                  </a:lnTo>
                  <a:lnTo>
                    <a:pt x="0" y="48"/>
                  </a:lnTo>
                  <a:lnTo>
                    <a:pt x="0" y="48"/>
                  </a:lnTo>
                  <a:lnTo>
                    <a:pt x="0" y="48"/>
                  </a:lnTo>
                  <a:lnTo>
                    <a:pt x="3" y="48"/>
                  </a:lnTo>
                  <a:lnTo>
                    <a:pt x="4" y="49"/>
                  </a:lnTo>
                  <a:lnTo>
                    <a:pt x="7" y="48"/>
                  </a:lnTo>
                  <a:lnTo>
                    <a:pt x="10" y="48"/>
                  </a:lnTo>
                  <a:lnTo>
                    <a:pt x="10" y="47"/>
                  </a:lnTo>
                  <a:lnTo>
                    <a:pt x="9" y="47"/>
                  </a:lnTo>
                  <a:lnTo>
                    <a:pt x="6" y="47"/>
                  </a:lnTo>
                  <a:lnTo>
                    <a:pt x="4" y="47"/>
                  </a:lnTo>
                  <a:lnTo>
                    <a:pt x="6" y="45"/>
                  </a:lnTo>
                  <a:lnTo>
                    <a:pt x="12" y="44"/>
                  </a:lnTo>
                  <a:lnTo>
                    <a:pt x="13" y="42"/>
                  </a:lnTo>
                  <a:lnTo>
                    <a:pt x="17" y="41"/>
                  </a:lnTo>
                  <a:lnTo>
                    <a:pt x="20" y="39"/>
                  </a:lnTo>
                  <a:lnTo>
                    <a:pt x="19" y="39"/>
                  </a:lnTo>
                  <a:lnTo>
                    <a:pt x="16" y="41"/>
                  </a:lnTo>
                  <a:lnTo>
                    <a:pt x="13" y="41"/>
                  </a:lnTo>
                  <a:lnTo>
                    <a:pt x="12" y="39"/>
                  </a:lnTo>
                  <a:lnTo>
                    <a:pt x="10" y="38"/>
                  </a:lnTo>
                  <a:lnTo>
                    <a:pt x="10" y="35"/>
                  </a:lnTo>
                  <a:lnTo>
                    <a:pt x="10" y="33"/>
                  </a:lnTo>
                  <a:lnTo>
                    <a:pt x="16" y="28"/>
                  </a:lnTo>
                  <a:lnTo>
                    <a:pt x="19" y="13"/>
                  </a:lnTo>
                  <a:lnTo>
                    <a:pt x="22" y="12"/>
                  </a:lnTo>
                  <a:lnTo>
                    <a:pt x="22" y="15"/>
                  </a:lnTo>
                  <a:lnTo>
                    <a:pt x="23" y="16"/>
                  </a:lnTo>
                  <a:lnTo>
                    <a:pt x="23" y="16"/>
                  </a:lnTo>
                  <a:lnTo>
                    <a:pt x="23" y="17"/>
                  </a:lnTo>
                  <a:lnTo>
                    <a:pt x="22" y="17"/>
                  </a:lnTo>
                  <a:lnTo>
                    <a:pt x="22" y="19"/>
                  </a:lnTo>
                  <a:lnTo>
                    <a:pt x="20" y="20"/>
                  </a:lnTo>
                  <a:lnTo>
                    <a:pt x="22" y="23"/>
                  </a:lnTo>
                  <a:lnTo>
                    <a:pt x="22" y="25"/>
                  </a:lnTo>
                  <a:lnTo>
                    <a:pt x="23" y="26"/>
                  </a:lnTo>
                  <a:lnTo>
                    <a:pt x="25" y="26"/>
                  </a:lnTo>
                  <a:lnTo>
                    <a:pt x="26" y="26"/>
                  </a:lnTo>
                  <a:lnTo>
                    <a:pt x="28" y="26"/>
                  </a:lnTo>
                  <a:lnTo>
                    <a:pt x="26" y="23"/>
                  </a:lnTo>
                  <a:lnTo>
                    <a:pt x="26" y="22"/>
                  </a:lnTo>
                  <a:lnTo>
                    <a:pt x="26" y="22"/>
                  </a:lnTo>
                  <a:lnTo>
                    <a:pt x="26" y="20"/>
                  </a:lnTo>
                  <a:lnTo>
                    <a:pt x="28" y="19"/>
                  </a:lnTo>
                  <a:lnTo>
                    <a:pt x="29" y="13"/>
                  </a:lnTo>
                  <a:lnTo>
                    <a:pt x="29" y="13"/>
                  </a:lnTo>
                  <a:lnTo>
                    <a:pt x="28" y="13"/>
                  </a:lnTo>
                  <a:lnTo>
                    <a:pt x="26" y="12"/>
                  </a:lnTo>
                  <a:lnTo>
                    <a:pt x="26" y="7"/>
                  </a:lnTo>
                  <a:lnTo>
                    <a:pt x="26" y="6"/>
                  </a:lnTo>
                  <a:lnTo>
                    <a:pt x="28" y="4"/>
                  </a:lnTo>
                  <a:lnTo>
                    <a:pt x="33" y="1"/>
                  </a:lnTo>
                  <a:lnTo>
                    <a:pt x="35" y="0"/>
                  </a:lnTo>
                  <a:lnTo>
                    <a:pt x="39" y="1"/>
                  </a:lnTo>
                  <a:lnTo>
                    <a:pt x="42" y="0"/>
                  </a:lnTo>
                  <a:lnTo>
                    <a:pt x="45" y="0"/>
                  </a:lnTo>
                  <a:lnTo>
                    <a:pt x="46" y="0"/>
                  </a:lnTo>
                  <a:lnTo>
                    <a:pt x="51" y="4"/>
                  </a:lnTo>
                  <a:lnTo>
                    <a:pt x="48" y="16"/>
                  </a:lnTo>
                  <a:lnTo>
                    <a:pt x="44" y="19"/>
                  </a:lnTo>
                  <a:lnTo>
                    <a:pt x="45" y="20"/>
                  </a:lnTo>
                  <a:lnTo>
                    <a:pt x="49" y="23"/>
                  </a:lnTo>
                  <a:lnTo>
                    <a:pt x="49" y="26"/>
                  </a:lnTo>
                  <a:lnTo>
                    <a:pt x="46" y="29"/>
                  </a:lnTo>
                  <a:lnTo>
                    <a:pt x="45" y="31"/>
                  </a:lnTo>
                  <a:lnTo>
                    <a:pt x="44" y="33"/>
                  </a:lnTo>
                  <a:lnTo>
                    <a:pt x="42" y="36"/>
                  </a:lnTo>
                  <a:lnTo>
                    <a:pt x="41" y="36"/>
                  </a:lnTo>
                  <a:lnTo>
                    <a:pt x="38" y="35"/>
                  </a:lnTo>
                  <a:lnTo>
                    <a:pt x="35" y="35"/>
                  </a:lnTo>
                  <a:lnTo>
                    <a:pt x="35" y="52"/>
                  </a:lnTo>
                  <a:lnTo>
                    <a:pt x="33" y="54"/>
                  </a:lnTo>
                  <a:lnTo>
                    <a:pt x="33" y="55"/>
                  </a:lnTo>
                  <a:lnTo>
                    <a:pt x="35" y="60"/>
                  </a:lnTo>
                  <a:lnTo>
                    <a:pt x="35" y="6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72" name="Freeform 685"/>
            <p:cNvSpPr>
              <a:spLocks/>
            </p:cNvSpPr>
            <p:nvPr/>
          </p:nvSpPr>
          <p:spPr bwMode="auto">
            <a:xfrm>
              <a:off x="6059279" y="2395373"/>
              <a:ext cx="165026" cy="187615"/>
            </a:xfrm>
            <a:custGeom>
              <a:avLst/>
              <a:gdLst/>
              <a:ahLst/>
              <a:cxnLst>
                <a:cxn ang="0">
                  <a:pos x="88" y="17"/>
                </a:cxn>
                <a:cxn ang="0">
                  <a:pos x="75" y="29"/>
                </a:cxn>
                <a:cxn ang="0">
                  <a:pos x="72" y="36"/>
                </a:cxn>
                <a:cxn ang="0">
                  <a:pos x="67" y="39"/>
                </a:cxn>
                <a:cxn ang="0">
                  <a:pos x="49" y="35"/>
                </a:cxn>
                <a:cxn ang="0">
                  <a:pos x="40" y="32"/>
                </a:cxn>
                <a:cxn ang="0">
                  <a:pos x="48" y="54"/>
                </a:cxn>
                <a:cxn ang="0">
                  <a:pos x="40" y="54"/>
                </a:cxn>
                <a:cxn ang="0">
                  <a:pos x="25" y="51"/>
                </a:cxn>
                <a:cxn ang="0">
                  <a:pos x="16" y="52"/>
                </a:cxn>
                <a:cxn ang="0">
                  <a:pos x="4" y="61"/>
                </a:cxn>
                <a:cxn ang="0">
                  <a:pos x="3" y="65"/>
                </a:cxn>
                <a:cxn ang="0">
                  <a:pos x="3" y="68"/>
                </a:cxn>
                <a:cxn ang="0">
                  <a:pos x="9" y="71"/>
                </a:cxn>
                <a:cxn ang="0">
                  <a:pos x="23" y="77"/>
                </a:cxn>
                <a:cxn ang="0">
                  <a:pos x="30" y="80"/>
                </a:cxn>
                <a:cxn ang="0">
                  <a:pos x="36" y="84"/>
                </a:cxn>
                <a:cxn ang="0">
                  <a:pos x="38" y="87"/>
                </a:cxn>
                <a:cxn ang="0">
                  <a:pos x="36" y="91"/>
                </a:cxn>
                <a:cxn ang="0">
                  <a:pos x="52" y="104"/>
                </a:cxn>
                <a:cxn ang="0">
                  <a:pos x="51" y="115"/>
                </a:cxn>
                <a:cxn ang="0">
                  <a:pos x="58" y="125"/>
                </a:cxn>
                <a:cxn ang="0">
                  <a:pos x="52" y="135"/>
                </a:cxn>
                <a:cxn ang="0">
                  <a:pos x="43" y="163"/>
                </a:cxn>
                <a:cxn ang="0">
                  <a:pos x="52" y="170"/>
                </a:cxn>
                <a:cxn ang="0">
                  <a:pos x="77" y="174"/>
                </a:cxn>
                <a:cxn ang="0">
                  <a:pos x="93" y="181"/>
                </a:cxn>
                <a:cxn ang="0">
                  <a:pos x="110" y="173"/>
                </a:cxn>
                <a:cxn ang="0">
                  <a:pos x="122" y="160"/>
                </a:cxn>
                <a:cxn ang="0">
                  <a:pos x="130" y="161"/>
                </a:cxn>
                <a:cxn ang="0">
                  <a:pos x="136" y="161"/>
                </a:cxn>
                <a:cxn ang="0">
                  <a:pos x="142" y="163"/>
                </a:cxn>
                <a:cxn ang="0">
                  <a:pos x="149" y="167"/>
                </a:cxn>
                <a:cxn ang="0">
                  <a:pos x="161" y="163"/>
                </a:cxn>
                <a:cxn ang="0">
                  <a:pos x="173" y="152"/>
                </a:cxn>
                <a:cxn ang="0">
                  <a:pos x="173" y="147"/>
                </a:cxn>
                <a:cxn ang="0">
                  <a:pos x="164" y="135"/>
                </a:cxn>
                <a:cxn ang="0">
                  <a:pos x="161" y="129"/>
                </a:cxn>
                <a:cxn ang="0">
                  <a:pos x="162" y="113"/>
                </a:cxn>
                <a:cxn ang="0">
                  <a:pos x="162" y="109"/>
                </a:cxn>
                <a:cxn ang="0">
                  <a:pos x="154" y="104"/>
                </a:cxn>
                <a:cxn ang="0">
                  <a:pos x="152" y="96"/>
                </a:cxn>
                <a:cxn ang="0">
                  <a:pos x="157" y="90"/>
                </a:cxn>
                <a:cxn ang="0">
                  <a:pos x="168" y="78"/>
                </a:cxn>
                <a:cxn ang="0">
                  <a:pos x="174" y="55"/>
                </a:cxn>
                <a:cxn ang="0">
                  <a:pos x="158" y="38"/>
                </a:cxn>
                <a:cxn ang="0">
                  <a:pos x="145" y="33"/>
                </a:cxn>
                <a:cxn ang="0">
                  <a:pos x="136" y="27"/>
                </a:cxn>
                <a:cxn ang="0">
                  <a:pos x="129" y="26"/>
                </a:cxn>
                <a:cxn ang="0">
                  <a:pos x="115" y="13"/>
                </a:cxn>
                <a:cxn ang="0">
                  <a:pos x="106" y="0"/>
                </a:cxn>
              </a:cxnLst>
              <a:rect l="0" t="0" r="r" b="b"/>
              <a:pathLst>
                <a:path w="180" h="181">
                  <a:moveTo>
                    <a:pt x="106" y="0"/>
                  </a:moveTo>
                  <a:lnTo>
                    <a:pt x="104" y="1"/>
                  </a:lnTo>
                  <a:lnTo>
                    <a:pt x="91" y="4"/>
                  </a:lnTo>
                  <a:lnTo>
                    <a:pt x="88" y="17"/>
                  </a:lnTo>
                  <a:lnTo>
                    <a:pt x="90" y="19"/>
                  </a:lnTo>
                  <a:lnTo>
                    <a:pt x="90" y="20"/>
                  </a:lnTo>
                  <a:lnTo>
                    <a:pt x="83" y="26"/>
                  </a:lnTo>
                  <a:lnTo>
                    <a:pt x="75" y="29"/>
                  </a:lnTo>
                  <a:lnTo>
                    <a:pt x="71" y="30"/>
                  </a:lnTo>
                  <a:lnTo>
                    <a:pt x="70" y="35"/>
                  </a:lnTo>
                  <a:lnTo>
                    <a:pt x="70" y="36"/>
                  </a:lnTo>
                  <a:lnTo>
                    <a:pt x="72" y="36"/>
                  </a:lnTo>
                  <a:lnTo>
                    <a:pt x="75" y="36"/>
                  </a:lnTo>
                  <a:lnTo>
                    <a:pt x="74" y="38"/>
                  </a:lnTo>
                  <a:lnTo>
                    <a:pt x="70" y="38"/>
                  </a:lnTo>
                  <a:lnTo>
                    <a:pt x="67" y="39"/>
                  </a:lnTo>
                  <a:lnTo>
                    <a:pt x="61" y="40"/>
                  </a:lnTo>
                  <a:lnTo>
                    <a:pt x="54" y="39"/>
                  </a:lnTo>
                  <a:lnTo>
                    <a:pt x="52" y="39"/>
                  </a:lnTo>
                  <a:lnTo>
                    <a:pt x="49" y="35"/>
                  </a:lnTo>
                  <a:lnTo>
                    <a:pt x="49" y="32"/>
                  </a:lnTo>
                  <a:lnTo>
                    <a:pt x="48" y="32"/>
                  </a:lnTo>
                  <a:lnTo>
                    <a:pt x="43" y="32"/>
                  </a:lnTo>
                  <a:lnTo>
                    <a:pt x="40" y="32"/>
                  </a:lnTo>
                  <a:lnTo>
                    <a:pt x="42" y="39"/>
                  </a:lnTo>
                  <a:lnTo>
                    <a:pt x="43" y="40"/>
                  </a:lnTo>
                  <a:lnTo>
                    <a:pt x="45" y="52"/>
                  </a:lnTo>
                  <a:lnTo>
                    <a:pt x="48" y="54"/>
                  </a:lnTo>
                  <a:lnTo>
                    <a:pt x="46" y="55"/>
                  </a:lnTo>
                  <a:lnTo>
                    <a:pt x="43" y="55"/>
                  </a:lnTo>
                  <a:lnTo>
                    <a:pt x="42" y="54"/>
                  </a:lnTo>
                  <a:lnTo>
                    <a:pt x="40" y="54"/>
                  </a:lnTo>
                  <a:lnTo>
                    <a:pt x="38" y="55"/>
                  </a:lnTo>
                  <a:lnTo>
                    <a:pt x="35" y="54"/>
                  </a:lnTo>
                  <a:lnTo>
                    <a:pt x="30" y="56"/>
                  </a:lnTo>
                  <a:lnTo>
                    <a:pt x="25" y="51"/>
                  </a:lnTo>
                  <a:lnTo>
                    <a:pt x="19" y="51"/>
                  </a:lnTo>
                  <a:lnTo>
                    <a:pt x="19" y="51"/>
                  </a:lnTo>
                  <a:lnTo>
                    <a:pt x="17" y="51"/>
                  </a:lnTo>
                  <a:lnTo>
                    <a:pt x="16" y="52"/>
                  </a:lnTo>
                  <a:lnTo>
                    <a:pt x="0" y="56"/>
                  </a:lnTo>
                  <a:lnTo>
                    <a:pt x="0" y="59"/>
                  </a:lnTo>
                  <a:lnTo>
                    <a:pt x="0" y="61"/>
                  </a:lnTo>
                  <a:lnTo>
                    <a:pt x="4" y="61"/>
                  </a:lnTo>
                  <a:lnTo>
                    <a:pt x="4" y="61"/>
                  </a:lnTo>
                  <a:lnTo>
                    <a:pt x="3" y="62"/>
                  </a:lnTo>
                  <a:lnTo>
                    <a:pt x="1" y="64"/>
                  </a:lnTo>
                  <a:lnTo>
                    <a:pt x="3" y="65"/>
                  </a:lnTo>
                  <a:lnTo>
                    <a:pt x="7" y="64"/>
                  </a:lnTo>
                  <a:lnTo>
                    <a:pt x="6" y="67"/>
                  </a:lnTo>
                  <a:lnTo>
                    <a:pt x="1" y="67"/>
                  </a:lnTo>
                  <a:lnTo>
                    <a:pt x="3" y="68"/>
                  </a:lnTo>
                  <a:lnTo>
                    <a:pt x="6" y="70"/>
                  </a:lnTo>
                  <a:lnTo>
                    <a:pt x="6" y="72"/>
                  </a:lnTo>
                  <a:lnTo>
                    <a:pt x="9" y="72"/>
                  </a:lnTo>
                  <a:lnTo>
                    <a:pt x="9" y="71"/>
                  </a:lnTo>
                  <a:lnTo>
                    <a:pt x="11" y="71"/>
                  </a:lnTo>
                  <a:lnTo>
                    <a:pt x="22" y="75"/>
                  </a:lnTo>
                  <a:lnTo>
                    <a:pt x="22" y="77"/>
                  </a:lnTo>
                  <a:lnTo>
                    <a:pt x="23" y="77"/>
                  </a:lnTo>
                  <a:lnTo>
                    <a:pt x="26" y="77"/>
                  </a:lnTo>
                  <a:lnTo>
                    <a:pt x="29" y="77"/>
                  </a:lnTo>
                  <a:lnTo>
                    <a:pt x="27" y="78"/>
                  </a:lnTo>
                  <a:lnTo>
                    <a:pt x="30" y="80"/>
                  </a:lnTo>
                  <a:lnTo>
                    <a:pt x="32" y="78"/>
                  </a:lnTo>
                  <a:lnTo>
                    <a:pt x="33" y="78"/>
                  </a:lnTo>
                  <a:lnTo>
                    <a:pt x="32" y="83"/>
                  </a:lnTo>
                  <a:lnTo>
                    <a:pt x="36" y="84"/>
                  </a:lnTo>
                  <a:lnTo>
                    <a:pt x="39" y="83"/>
                  </a:lnTo>
                  <a:lnTo>
                    <a:pt x="42" y="84"/>
                  </a:lnTo>
                  <a:lnTo>
                    <a:pt x="38" y="86"/>
                  </a:lnTo>
                  <a:lnTo>
                    <a:pt x="38" y="87"/>
                  </a:lnTo>
                  <a:lnTo>
                    <a:pt x="40" y="88"/>
                  </a:lnTo>
                  <a:lnTo>
                    <a:pt x="39" y="91"/>
                  </a:lnTo>
                  <a:lnTo>
                    <a:pt x="38" y="90"/>
                  </a:lnTo>
                  <a:lnTo>
                    <a:pt x="36" y="91"/>
                  </a:lnTo>
                  <a:lnTo>
                    <a:pt x="42" y="97"/>
                  </a:lnTo>
                  <a:lnTo>
                    <a:pt x="42" y="99"/>
                  </a:lnTo>
                  <a:lnTo>
                    <a:pt x="48" y="103"/>
                  </a:lnTo>
                  <a:lnTo>
                    <a:pt x="52" y="104"/>
                  </a:lnTo>
                  <a:lnTo>
                    <a:pt x="52" y="106"/>
                  </a:lnTo>
                  <a:lnTo>
                    <a:pt x="52" y="109"/>
                  </a:lnTo>
                  <a:lnTo>
                    <a:pt x="52" y="112"/>
                  </a:lnTo>
                  <a:lnTo>
                    <a:pt x="51" y="115"/>
                  </a:lnTo>
                  <a:lnTo>
                    <a:pt x="52" y="118"/>
                  </a:lnTo>
                  <a:lnTo>
                    <a:pt x="55" y="119"/>
                  </a:lnTo>
                  <a:lnTo>
                    <a:pt x="56" y="122"/>
                  </a:lnTo>
                  <a:lnTo>
                    <a:pt x="58" y="125"/>
                  </a:lnTo>
                  <a:lnTo>
                    <a:pt x="54" y="119"/>
                  </a:lnTo>
                  <a:lnTo>
                    <a:pt x="52" y="122"/>
                  </a:lnTo>
                  <a:lnTo>
                    <a:pt x="51" y="136"/>
                  </a:lnTo>
                  <a:lnTo>
                    <a:pt x="52" y="135"/>
                  </a:lnTo>
                  <a:lnTo>
                    <a:pt x="54" y="136"/>
                  </a:lnTo>
                  <a:lnTo>
                    <a:pt x="51" y="139"/>
                  </a:lnTo>
                  <a:lnTo>
                    <a:pt x="46" y="161"/>
                  </a:lnTo>
                  <a:lnTo>
                    <a:pt x="43" y="163"/>
                  </a:lnTo>
                  <a:lnTo>
                    <a:pt x="42" y="163"/>
                  </a:lnTo>
                  <a:lnTo>
                    <a:pt x="42" y="163"/>
                  </a:lnTo>
                  <a:lnTo>
                    <a:pt x="49" y="168"/>
                  </a:lnTo>
                  <a:lnTo>
                    <a:pt x="52" y="170"/>
                  </a:lnTo>
                  <a:lnTo>
                    <a:pt x="58" y="173"/>
                  </a:lnTo>
                  <a:lnTo>
                    <a:pt x="72" y="177"/>
                  </a:lnTo>
                  <a:lnTo>
                    <a:pt x="75" y="176"/>
                  </a:lnTo>
                  <a:lnTo>
                    <a:pt x="77" y="174"/>
                  </a:lnTo>
                  <a:lnTo>
                    <a:pt x="80" y="174"/>
                  </a:lnTo>
                  <a:lnTo>
                    <a:pt x="85" y="177"/>
                  </a:lnTo>
                  <a:lnTo>
                    <a:pt x="88" y="177"/>
                  </a:lnTo>
                  <a:lnTo>
                    <a:pt x="93" y="181"/>
                  </a:lnTo>
                  <a:lnTo>
                    <a:pt x="96" y="181"/>
                  </a:lnTo>
                  <a:lnTo>
                    <a:pt x="112" y="181"/>
                  </a:lnTo>
                  <a:lnTo>
                    <a:pt x="110" y="173"/>
                  </a:lnTo>
                  <a:lnTo>
                    <a:pt x="110" y="173"/>
                  </a:lnTo>
                  <a:lnTo>
                    <a:pt x="110" y="168"/>
                  </a:lnTo>
                  <a:lnTo>
                    <a:pt x="112" y="165"/>
                  </a:lnTo>
                  <a:lnTo>
                    <a:pt x="120" y="161"/>
                  </a:lnTo>
                  <a:lnTo>
                    <a:pt x="122" y="160"/>
                  </a:lnTo>
                  <a:lnTo>
                    <a:pt x="123" y="158"/>
                  </a:lnTo>
                  <a:lnTo>
                    <a:pt x="125" y="158"/>
                  </a:lnTo>
                  <a:lnTo>
                    <a:pt x="126" y="160"/>
                  </a:lnTo>
                  <a:lnTo>
                    <a:pt x="130" y="161"/>
                  </a:lnTo>
                  <a:lnTo>
                    <a:pt x="130" y="161"/>
                  </a:lnTo>
                  <a:lnTo>
                    <a:pt x="132" y="163"/>
                  </a:lnTo>
                  <a:lnTo>
                    <a:pt x="136" y="163"/>
                  </a:lnTo>
                  <a:lnTo>
                    <a:pt x="136" y="161"/>
                  </a:lnTo>
                  <a:lnTo>
                    <a:pt x="139" y="161"/>
                  </a:lnTo>
                  <a:lnTo>
                    <a:pt x="139" y="163"/>
                  </a:lnTo>
                  <a:lnTo>
                    <a:pt x="141" y="163"/>
                  </a:lnTo>
                  <a:lnTo>
                    <a:pt x="142" y="163"/>
                  </a:lnTo>
                  <a:lnTo>
                    <a:pt x="144" y="164"/>
                  </a:lnTo>
                  <a:lnTo>
                    <a:pt x="144" y="164"/>
                  </a:lnTo>
                  <a:lnTo>
                    <a:pt x="146" y="165"/>
                  </a:lnTo>
                  <a:lnTo>
                    <a:pt x="149" y="167"/>
                  </a:lnTo>
                  <a:lnTo>
                    <a:pt x="154" y="167"/>
                  </a:lnTo>
                  <a:lnTo>
                    <a:pt x="160" y="164"/>
                  </a:lnTo>
                  <a:lnTo>
                    <a:pt x="161" y="164"/>
                  </a:lnTo>
                  <a:lnTo>
                    <a:pt x="161" y="163"/>
                  </a:lnTo>
                  <a:lnTo>
                    <a:pt x="167" y="157"/>
                  </a:lnTo>
                  <a:lnTo>
                    <a:pt x="168" y="155"/>
                  </a:lnTo>
                  <a:lnTo>
                    <a:pt x="173" y="154"/>
                  </a:lnTo>
                  <a:lnTo>
                    <a:pt x="173" y="152"/>
                  </a:lnTo>
                  <a:lnTo>
                    <a:pt x="173" y="152"/>
                  </a:lnTo>
                  <a:lnTo>
                    <a:pt x="173" y="149"/>
                  </a:lnTo>
                  <a:lnTo>
                    <a:pt x="173" y="148"/>
                  </a:lnTo>
                  <a:lnTo>
                    <a:pt x="173" y="147"/>
                  </a:lnTo>
                  <a:lnTo>
                    <a:pt x="165" y="145"/>
                  </a:lnTo>
                  <a:lnTo>
                    <a:pt x="164" y="142"/>
                  </a:lnTo>
                  <a:lnTo>
                    <a:pt x="164" y="138"/>
                  </a:lnTo>
                  <a:lnTo>
                    <a:pt x="164" y="135"/>
                  </a:lnTo>
                  <a:lnTo>
                    <a:pt x="164" y="133"/>
                  </a:lnTo>
                  <a:lnTo>
                    <a:pt x="161" y="132"/>
                  </a:lnTo>
                  <a:lnTo>
                    <a:pt x="161" y="131"/>
                  </a:lnTo>
                  <a:lnTo>
                    <a:pt x="161" y="129"/>
                  </a:lnTo>
                  <a:lnTo>
                    <a:pt x="161" y="128"/>
                  </a:lnTo>
                  <a:lnTo>
                    <a:pt x="162" y="126"/>
                  </a:lnTo>
                  <a:lnTo>
                    <a:pt x="165" y="123"/>
                  </a:lnTo>
                  <a:lnTo>
                    <a:pt x="162" y="113"/>
                  </a:lnTo>
                  <a:lnTo>
                    <a:pt x="162" y="112"/>
                  </a:lnTo>
                  <a:lnTo>
                    <a:pt x="165" y="112"/>
                  </a:lnTo>
                  <a:lnTo>
                    <a:pt x="164" y="109"/>
                  </a:lnTo>
                  <a:lnTo>
                    <a:pt x="162" y="109"/>
                  </a:lnTo>
                  <a:lnTo>
                    <a:pt x="161" y="102"/>
                  </a:lnTo>
                  <a:lnTo>
                    <a:pt x="161" y="100"/>
                  </a:lnTo>
                  <a:lnTo>
                    <a:pt x="157" y="100"/>
                  </a:lnTo>
                  <a:lnTo>
                    <a:pt x="154" y="104"/>
                  </a:lnTo>
                  <a:lnTo>
                    <a:pt x="151" y="106"/>
                  </a:lnTo>
                  <a:lnTo>
                    <a:pt x="151" y="106"/>
                  </a:lnTo>
                  <a:lnTo>
                    <a:pt x="152" y="97"/>
                  </a:lnTo>
                  <a:lnTo>
                    <a:pt x="152" y="96"/>
                  </a:lnTo>
                  <a:lnTo>
                    <a:pt x="154" y="94"/>
                  </a:lnTo>
                  <a:lnTo>
                    <a:pt x="155" y="93"/>
                  </a:lnTo>
                  <a:lnTo>
                    <a:pt x="157" y="93"/>
                  </a:lnTo>
                  <a:lnTo>
                    <a:pt x="157" y="90"/>
                  </a:lnTo>
                  <a:lnTo>
                    <a:pt x="164" y="81"/>
                  </a:lnTo>
                  <a:lnTo>
                    <a:pt x="164" y="80"/>
                  </a:lnTo>
                  <a:lnTo>
                    <a:pt x="164" y="78"/>
                  </a:lnTo>
                  <a:lnTo>
                    <a:pt x="168" y="78"/>
                  </a:lnTo>
                  <a:lnTo>
                    <a:pt x="173" y="75"/>
                  </a:lnTo>
                  <a:lnTo>
                    <a:pt x="173" y="75"/>
                  </a:lnTo>
                  <a:lnTo>
                    <a:pt x="173" y="65"/>
                  </a:lnTo>
                  <a:lnTo>
                    <a:pt x="174" y="55"/>
                  </a:lnTo>
                  <a:lnTo>
                    <a:pt x="178" y="49"/>
                  </a:lnTo>
                  <a:lnTo>
                    <a:pt x="180" y="46"/>
                  </a:lnTo>
                  <a:lnTo>
                    <a:pt x="161" y="42"/>
                  </a:lnTo>
                  <a:lnTo>
                    <a:pt x="158" y="38"/>
                  </a:lnTo>
                  <a:lnTo>
                    <a:pt x="154" y="35"/>
                  </a:lnTo>
                  <a:lnTo>
                    <a:pt x="151" y="35"/>
                  </a:lnTo>
                  <a:lnTo>
                    <a:pt x="146" y="33"/>
                  </a:lnTo>
                  <a:lnTo>
                    <a:pt x="145" y="33"/>
                  </a:lnTo>
                  <a:lnTo>
                    <a:pt x="142" y="33"/>
                  </a:lnTo>
                  <a:lnTo>
                    <a:pt x="136" y="29"/>
                  </a:lnTo>
                  <a:lnTo>
                    <a:pt x="138" y="27"/>
                  </a:lnTo>
                  <a:lnTo>
                    <a:pt x="136" y="27"/>
                  </a:lnTo>
                  <a:lnTo>
                    <a:pt x="136" y="22"/>
                  </a:lnTo>
                  <a:lnTo>
                    <a:pt x="135" y="22"/>
                  </a:lnTo>
                  <a:lnTo>
                    <a:pt x="132" y="26"/>
                  </a:lnTo>
                  <a:lnTo>
                    <a:pt x="129" y="26"/>
                  </a:lnTo>
                  <a:lnTo>
                    <a:pt x="126" y="25"/>
                  </a:lnTo>
                  <a:lnTo>
                    <a:pt x="125" y="19"/>
                  </a:lnTo>
                  <a:lnTo>
                    <a:pt x="123" y="17"/>
                  </a:lnTo>
                  <a:lnTo>
                    <a:pt x="115" y="13"/>
                  </a:lnTo>
                  <a:lnTo>
                    <a:pt x="112" y="7"/>
                  </a:lnTo>
                  <a:lnTo>
                    <a:pt x="109" y="9"/>
                  </a:lnTo>
                  <a:lnTo>
                    <a:pt x="106" y="7"/>
                  </a:lnTo>
                  <a:lnTo>
                    <a:pt x="106"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73" name="Freeform 686"/>
            <p:cNvSpPr>
              <a:spLocks/>
            </p:cNvSpPr>
            <p:nvPr/>
          </p:nvSpPr>
          <p:spPr bwMode="auto">
            <a:xfrm>
              <a:off x="6059279" y="2395373"/>
              <a:ext cx="165026" cy="187615"/>
            </a:xfrm>
            <a:custGeom>
              <a:avLst/>
              <a:gdLst/>
              <a:ahLst/>
              <a:cxnLst>
                <a:cxn ang="0">
                  <a:pos x="88" y="17"/>
                </a:cxn>
                <a:cxn ang="0">
                  <a:pos x="75" y="29"/>
                </a:cxn>
                <a:cxn ang="0">
                  <a:pos x="72" y="36"/>
                </a:cxn>
                <a:cxn ang="0">
                  <a:pos x="67" y="39"/>
                </a:cxn>
                <a:cxn ang="0">
                  <a:pos x="49" y="35"/>
                </a:cxn>
                <a:cxn ang="0">
                  <a:pos x="40" y="32"/>
                </a:cxn>
                <a:cxn ang="0">
                  <a:pos x="48" y="54"/>
                </a:cxn>
                <a:cxn ang="0">
                  <a:pos x="40" y="54"/>
                </a:cxn>
                <a:cxn ang="0">
                  <a:pos x="25" y="51"/>
                </a:cxn>
                <a:cxn ang="0">
                  <a:pos x="16" y="52"/>
                </a:cxn>
                <a:cxn ang="0">
                  <a:pos x="4" y="61"/>
                </a:cxn>
                <a:cxn ang="0">
                  <a:pos x="3" y="65"/>
                </a:cxn>
                <a:cxn ang="0">
                  <a:pos x="3" y="68"/>
                </a:cxn>
                <a:cxn ang="0">
                  <a:pos x="9" y="71"/>
                </a:cxn>
                <a:cxn ang="0">
                  <a:pos x="23" y="77"/>
                </a:cxn>
                <a:cxn ang="0">
                  <a:pos x="30" y="80"/>
                </a:cxn>
                <a:cxn ang="0">
                  <a:pos x="36" y="84"/>
                </a:cxn>
                <a:cxn ang="0">
                  <a:pos x="38" y="87"/>
                </a:cxn>
                <a:cxn ang="0">
                  <a:pos x="36" y="91"/>
                </a:cxn>
                <a:cxn ang="0">
                  <a:pos x="52" y="104"/>
                </a:cxn>
                <a:cxn ang="0">
                  <a:pos x="51" y="115"/>
                </a:cxn>
                <a:cxn ang="0">
                  <a:pos x="58" y="125"/>
                </a:cxn>
                <a:cxn ang="0">
                  <a:pos x="52" y="135"/>
                </a:cxn>
                <a:cxn ang="0">
                  <a:pos x="43" y="163"/>
                </a:cxn>
                <a:cxn ang="0">
                  <a:pos x="52" y="170"/>
                </a:cxn>
                <a:cxn ang="0">
                  <a:pos x="77" y="174"/>
                </a:cxn>
                <a:cxn ang="0">
                  <a:pos x="93" y="181"/>
                </a:cxn>
                <a:cxn ang="0">
                  <a:pos x="110" y="173"/>
                </a:cxn>
                <a:cxn ang="0">
                  <a:pos x="122" y="160"/>
                </a:cxn>
                <a:cxn ang="0">
                  <a:pos x="130" y="161"/>
                </a:cxn>
                <a:cxn ang="0">
                  <a:pos x="136" y="161"/>
                </a:cxn>
                <a:cxn ang="0">
                  <a:pos x="142" y="163"/>
                </a:cxn>
                <a:cxn ang="0">
                  <a:pos x="149" y="167"/>
                </a:cxn>
                <a:cxn ang="0">
                  <a:pos x="161" y="163"/>
                </a:cxn>
                <a:cxn ang="0">
                  <a:pos x="173" y="152"/>
                </a:cxn>
                <a:cxn ang="0">
                  <a:pos x="173" y="147"/>
                </a:cxn>
                <a:cxn ang="0">
                  <a:pos x="164" y="135"/>
                </a:cxn>
                <a:cxn ang="0">
                  <a:pos x="161" y="129"/>
                </a:cxn>
                <a:cxn ang="0">
                  <a:pos x="162" y="113"/>
                </a:cxn>
                <a:cxn ang="0">
                  <a:pos x="162" y="109"/>
                </a:cxn>
                <a:cxn ang="0">
                  <a:pos x="154" y="104"/>
                </a:cxn>
                <a:cxn ang="0">
                  <a:pos x="152" y="96"/>
                </a:cxn>
                <a:cxn ang="0">
                  <a:pos x="157" y="90"/>
                </a:cxn>
                <a:cxn ang="0">
                  <a:pos x="168" y="78"/>
                </a:cxn>
                <a:cxn ang="0">
                  <a:pos x="174" y="55"/>
                </a:cxn>
                <a:cxn ang="0">
                  <a:pos x="158" y="38"/>
                </a:cxn>
                <a:cxn ang="0">
                  <a:pos x="145" y="33"/>
                </a:cxn>
                <a:cxn ang="0">
                  <a:pos x="136" y="27"/>
                </a:cxn>
                <a:cxn ang="0">
                  <a:pos x="129" y="26"/>
                </a:cxn>
                <a:cxn ang="0">
                  <a:pos x="115" y="13"/>
                </a:cxn>
                <a:cxn ang="0">
                  <a:pos x="106" y="0"/>
                </a:cxn>
              </a:cxnLst>
              <a:rect l="0" t="0" r="r" b="b"/>
              <a:pathLst>
                <a:path w="180" h="181">
                  <a:moveTo>
                    <a:pt x="106" y="0"/>
                  </a:moveTo>
                  <a:lnTo>
                    <a:pt x="104" y="1"/>
                  </a:lnTo>
                  <a:lnTo>
                    <a:pt x="91" y="4"/>
                  </a:lnTo>
                  <a:lnTo>
                    <a:pt x="88" y="17"/>
                  </a:lnTo>
                  <a:lnTo>
                    <a:pt x="90" y="19"/>
                  </a:lnTo>
                  <a:lnTo>
                    <a:pt x="90" y="20"/>
                  </a:lnTo>
                  <a:lnTo>
                    <a:pt x="83" y="26"/>
                  </a:lnTo>
                  <a:lnTo>
                    <a:pt x="75" y="29"/>
                  </a:lnTo>
                  <a:lnTo>
                    <a:pt x="71" y="30"/>
                  </a:lnTo>
                  <a:lnTo>
                    <a:pt x="70" y="35"/>
                  </a:lnTo>
                  <a:lnTo>
                    <a:pt x="70" y="36"/>
                  </a:lnTo>
                  <a:lnTo>
                    <a:pt x="72" y="36"/>
                  </a:lnTo>
                  <a:lnTo>
                    <a:pt x="75" y="36"/>
                  </a:lnTo>
                  <a:lnTo>
                    <a:pt x="74" y="38"/>
                  </a:lnTo>
                  <a:lnTo>
                    <a:pt x="70" y="38"/>
                  </a:lnTo>
                  <a:lnTo>
                    <a:pt x="67" y="39"/>
                  </a:lnTo>
                  <a:lnTo>
                    <a:pt x="61" y="40"/>
                  </a:lnTo>
                  <a:lnTo>
                    <a:pt x="54" y="39"/>
                  </a:lnTo>
                  <a:lnTo>
                    <a:pt x="52" y="39"/>
                  </a:lnTo>
                  <a:lnTo>
                    <a:pt x="49" y="35"/>
                  </a:lnTo>
                  <a:lnTo>
                    <a:pt x="49" y="32"/>
                  </a:lnTo>
                  <a:lnTo>
                    <a:pt x="48" y="32"/>
                  </a:lnTo>
                  <a:lnTo>
                    <a:pt x="43" y="32"/>
                  </a:lnTo>
                  <a:lnTo>
                    <a:pt x="40" y="32"/>
                  </a:lnTo>
                  <a:lnTo>
                    <a:pt x="42" y="39"/>
                  </a:lnTo>
                  <a:lnTo>
                    <a:pt x="43" y="40"/>
                  </a:lnTo>
                  <a:lnTo>
                    <a:pt x="45" y="52"/>
                  </a:lnTo>
                  <a:lnTo>
                    <a:pt x="48" y="54"/>
                  </a:lnTo>
                  <a:lnTo>
                    <a:pt x="46" y="55"/>
                  </a:lnTo>
                  <a:lnTo>
                    <a:pt x="43" y="55"/>
                  </a:lnTo>
                  <a:lnTo>
                    <a:pt x="42" y="54"/>
                  </a:lnTo>
                  <a:lnTo>
                    <a:pt x="40" y="54"/>
                  </a:lnTo>
                  <a:lnTo>
                    <a:pt x="38" y="55"/>
                  </a:lnTo>
                  <a:lnTo>
                    <a:pt x="35" y="54"/>
                  </a:lnTo>
                  <a:lnTo>
                    <a:pt x="30" y="56"/>
                  </a:lnTo>
                  <a:lnTo>
                    <a:pt x="25" y="51"/>
                  </a:lnTo>
                  <a:lnTo>
                    <a:pt x="19" y="51"/>
                  </a:lnTo>
                  <a:lnTo>
                    <a:pt x="19" y="51"/>
                  </a:lnTo>
                  <a:lnTo>
                    <a:pt x="17" y="51"/>
                  </a:lnTo>
                  <a:lnTo>
                    <a:pt x="16" y="52"/>
                  </a:lnTo>
                  <a:lnTo>
                    <a:pt x="0" y="56"/>
                  </a:lnTo>
                  <a:lnTo>
                    <a:pt x="0" y="59"/>
                  </a:lnTo>
                  <a:lnTo>
                    <a:pt x="0" y="61"/>
                  </a:lnTo>
                  <a:lnTo>
                    <a:pt x="4" y="61"/>
                  </a:lnTo>
                  <a:lnTo>
                    <a:pt x="4" y="61"/>
                  </a:lnTo>
                  <a:lnTo>
                    <a:pt x="3" y="62"/>
                  </a:lnTo>
                  <a:lnTo>
                    <a:pt x="1" y="64"/>
                  </a:lnTo>
                  <a:lnTo>
                    <a:pt x="3" y="65"/>
                  </a:lnTo>
                  <a:lnTo>
                    <a:pt x="7" y="64"/>
                  </a:lnTo>
                  <a:lnTo>
                    <a:pt x="6" y="67"/>
                  </a:lnTo>
                  <a:lnTo>
                    <a:pt x="1" y="67"/>
                  </a:lnTo>
                  <a:lnTo>
                    <a:pt x="3" y="68"/>
                  </a:lnTo>
                  <a:lnTo>
                    <a:pt x="6" y="70"/>
                  </a:lnTo>
                  <a:lnTo>
                    <a:pt x="6" y="72"/>
                  </a:lnTo>
                  <a:lnTo>
                    <a:pt x="9" y="72"/>
                  </a:lnTo>
                  <a:lnTo>
                    <a:pt x="9" y="71"/>
                  </a:lnTo>
                  <a:lnTo>
                    <a:pt x="11" y="71"/>
                  </a:lnTo>
                  <a:lnTo>
                    <a:pt x="22" y="75"/>
                  </a:lnTo>
                  <a:lnTo>
                    <a:pt x="22" y="77"/>
                  </a:lnTo>
                  <a:lnTo>
                    <a:pt x="23" y="77"/>
                  </a:lnTo>
                  <a:lnTo>
                    <a:pt x="26" y="77"/>
                  </a:lnTo>
                  <a:lnTo>
                    <a:pt x="29" y="77"/>
                  </a:lnTo>
                  <a:lnTo>
                    <a:pt x="27" y="78"/>
                  </a:lnTo>
                  <a:lnTo>
                    <a:pt x="30" y="80"/>
                  </a:lnTo>
                  <a:lnTo>
                    <a:pt x="32" y="78"/>
                  </a:lnTo>
                  <a:lnTo>
                    <a:pt x="33" y="78"/>
                  </a:lnTo>
                  <a:lnTo>
                    <a:pt x="32" y="83"/>
                  </a:lnTo>
                  <a:lnTo>
                    <a:pt x="36" y="84"/>
                  </a:lnTo>
                  <a:lnTo>
                    <a:pt x="39" y="83"/>
                  </a:lnTo>
                  <a:lnTo>
                    <a:pt x="42" y="84"/>
                  </a:lnTo>
                  <a:lnTo>
                    <a:pt x="38" y="86"/>
                  </a:lnTo>
                  <a:lnTo>
                    <a:pt x="38" y="87"/>
                  </a:lnTo>
                  <a:lnTo>
                    <a:pt x="40" y="88"/>
                  </a:lnTo>
                  <a:lnTo>
                    <a:pt x="39" y="91"/>
                  </a:lnTo>
                  <a:lnTo>
                    <a:pt x="38" y="90"/>
                  </a:lnTo>
                  <a:lnTo>
                    <a:pt x="36" y="91"/>
                  </a:lnTo>
                  <a:lnTo>
                    <a:pt x="42" y="97"/>
                  </a:lnTo>
                  <a:lnTo>
                    <a:pt x="42" y="99"/>
                  </a:lnTo>
                  <a:lnTo>
                    <a:pt x="48" y="103"/>
                  </a:lnTo>
                  <a:lnTo>
                    <a:pt x="52" y="104"/>
                  </a:lnTo>
                  <a:lnTo>
                    <a:pt x="52" y="106"/>
                  </a:lnTo>
                  <a:lnTo>
                    <a:pt x="52" y="109"/>
                  </a:lnTo>
                  <a:lnTo>
                    <a:pt x="52" y="112"/>
                  </a:lnTo>
                  <a:lnTo>
                    <a:pt x="51" y="115"/>
                  </a:lnTo>
                  <a:lnTo>
                    <a:pt x="52" y="118"/>
                  </a:lnTo>
                  <a:lnTo>
                    <a:pt x="55" y="119"/>
                  </a:lnTo>
                  <a:lnTo>
                    <a:pt x="56" y="122"/>
                  </a:lnTo>
                  <a:lnTo>
                    <a:pt x="58" y="125"/>
                  </a:lnTo>
                  <a:lnTo>
                    <a:pt x="54" y="119"/>
                  </a:lnTo>
                  <a:lnTo>
                    <a:pt x="52" y="122"/>
                  </a:lnTo>
                  <a:lnTo>
                    <a:pt x="51" y="136"/>
                  </a:lnTo>
                  <a:lnTo>
                    <a:pt x="52" y="135"/>
                  </a:lnTo>
                  <a:lnTo>
                    <a:pt x="54" y="136"/>
                  </a:lnTo>
                  <a:lnTo>
                    <a:pt x="51" y="139"/>
                  </a:lnTo>
                  <a:lnTo>
                    <a:pt x="46" y="161"/>
                  </a:lnTo>
                  <a:lnTo>
                    <a:pt x="43" y="163"/>
                  </a:lnTo>
                  <a:lnTo>
                    <a:pt x="42" y="163"/>
                  </a:lnTo>
                  <a:lnTo>
                    <a:pt x="42" y="163"/>
                  </a:lnTo>
                  <a:lnTo>
                    <a:pt x="49" y="168"/>
                  </a:lnTo>
                  <a:lnTo>
                    <a:pt x="52" y="170"/>
                  </a:lnTo>
                  <a:lnTo>
                    <a:pt x="58" y="173"/>
                  </a:lnTo>
                  <a:lnTo>
                    <a:pt x="72" y="177"/>
                  </a:lnTo>
                  <a:lnTo>
                    <a:pt x="75" y="176"/>
                  </a:lnTo>
                  <a:lnTo>
                    <a:pt x="77" y="174"/>
                  </a:lnTo>
                  <a:lnTo>
                    <a:pt x="80" y="174"/>
                  </a:lnTo>
                  <a:lnTo>
                    <a:pt x="85" y="177"/>
                  </a:lnTo>
                  <a:lnTo>
                    <a:pt x="88" y="177"/>
                  </a:lnTo>
                  <a:lnTo>
                    <a:pt x="93" y="181"/>
                  </a:lnTo>
                  <a:lnTo>
                    <a:pt x="96" y="181"/>
                  </a:lnTo>
                  <a:lnTo>
                    <a:pt x="112" y="181"/>
                  </a:lnTo>
                  <a:lnTo>
                    <a:pt x="110" y="173"/>
                  </a:lnTo>
                  <a:lnTo>
                    <a:pt x="110" y="173"/>
                  </a:lnTo>
                  <a:lnTo>
                    <a:pt x="110" y="168"/>
                  </a:lnTo>
                  <a:lnTo>
                    <a:pt x="112" y="165"/>
                  </a:lnTo>
                  <a:lnTo>
                    <a:pt x="120" y="161"/>
                  </a:lnTo>
                  <a:lnTo>
                    <a:pt x="122" y="160"/>
                  </a:lnTo>
                  <a:lnTo>
                    <a:pt x="123" y="158"/>
                  </a:lnTo>
                  <a:lnTo>
                    <a:pt x="125" y="158"/>
                  </a:lnTo>
                  <a:lnTo>
                    <a:pt x="126" y="160"/>
                  </a:lnTo>
                  <a:lnTo>
                    <a:pt x="130" y="161"/>
                  </a:lnTo>
                  <a:lnTo>
                    <a:pt x="130" y="161"/>
                  </a:lnTo>
                  <a:lnTo>
                    <a:pt x="132" y="163"/>
                  </a:lnTo>
                  <a:lnTo>
                    <a:pt x="136" y="163"/>
                  </a:lnTo>
                  <a:lnTo>
                    <a:pt x="136" y="161"/>
                  </a:lnTo>
                  <a:lnTo>
                    <a:pt x="139" y="161"/>
                  </a:lnTo>
                  <a:lnTo>
                    <a:pt x="139" y="163"/>
                  </a:lnTo>
                  <a:lnTo>
                    <a:pt x="141" y="163"/>
                  </a:lnTo>
                  <a:lnTo>
                    <a:pt x="142" y="163"/>
                  </a:lnTo>
                  <a:lnTo>
                    <a:pt x="144" y="164"/>
                  </a:lnTo>
                  <a:lnTo>
                    <a:pt x="144" y="164"/>
                  </a:lnTo>
                  <a:lnTo>
                    <a:pt x="146" y="165"/>
                  </a:lnTo>
                  <a:lnTo>
                    <a:pt x="149" y="167"/>
                  </a:lnTo>
                  <a:lnTo>
                    <a:pt x="154" y="167"/>
                  </a:lnTo>
                  <a:lnTo>
                    <a:pt x="160" y="164"/>
                  </a:lnTo>
                  <a:lnTo>
                    <a:pt x="161" y="164"/>
                  </a:lnTo>
                  <a:lnTo>
                    <a:pt x="161" y="163"/>
                  </a:lnTo>
                  <a:lnTo>
                    <a:pt x="167" y="157"/>
                  </a:lnTo>
                  <a:lnTo>
                    <a:pt x="168" y="155"/>
                  </a:lnTo>
                  <a:lnTo>
                    <a:pt x="173" y="154"/>
                  </a:lnTo>
                  <a:lnTo>
                    <a:pt x="173" y="152"/>
                  </a:lnTo>
                  <a:lnTo>
                    <a:pt x="173" y="152"/>
                  </a:lnTo>
                  <a:lnTo>
                    <a:pt x="173" y="149"/>
                  </a:lnTo>
                  <a:lnTo>
                    <a:pt x="173" y="148"/>
                  </a:lnTo>
                  <a:lnTo>
                    <a:pt x="173" y="147"/>
                  </a:lnTo>
                  <a:lnTo>
                    <a:pt x="165" y="145"/>
                  </a:lnTo>
                  <a:lnTo>
                    <a:pt x="164" y="142"/>
                  </a:lnTo>
                  <a:lnTo>
                    <a:pt x="164" y="138"/>
                  </a:lnTo>
                  <a:lnTo>
                    <a:pt x="164" y="135"/>
                  </a:lnTo>
                  <a:lnTo>
                    <a:pt x="164" y="133"/>
                  </a:lnTo>
                  <a:lnTo>
                    <a:pt x="161" y="132"/>
                  </a:lnTo>
                  <a:lnTo>
                    <a:pt x="161" y="131"/>
                  </a:lnTo>
                  <a:lnTo>
                    <a:pt x="161" y="129"/>
                  </a:lnTo>
                  <a:lnTo>
                    <a:pt x="161" y="128"/>
                  </a:lnTo>
                  <a:lnTo>
                    <a:pt x="162" y="126"/>
                  </a:lnTo>
                  <a:lnTo>
                    <a:pt x="165" y="123"/>
                  </a:lnTo>
                  <a:lnTo>
                    <a:pt x="162" y="113"/>
                  </a:lnTo>
                  <a:lnTo>
                    <a:pt x="162" y="112"/>
                  </a:lnTo>
                  <a:lnTo>
                    <a:pt x="165" y="112"/>
                  </a:lnTo>
                  <a:lnTo>
                    <a:pt x="164" y="109"/>
                  </a:lnTo>
                  <a:lnTo>
                    <a:pt x="162" y="109"/>
                  </a:lnTo>
                  <a:lnTo>
                    <a:pt x="161" y="102"/>
                  </a:lnTo>
                  <a:lnTo>
                    <a:pt x="161" y="100"/>
                  </a:lnTo>
                  <a:lnTo>
                    <a:pt x="157" y="100"/>
                  </a:lnTo>
                  <a:lnTo>
                    <a:pt x="154" y="104"/>
                  </a:lnTo>
                  <a:lnTo>
                    <a:pt x="151" y="106"/>
                  </a:lnTo>
                  <a:lnTo>
                    <a:pt x="151" y="106"/>
                  </a:lnTo>
                  <a:lnTo>
                    <a:pt x="152" y="97"/>
                  </a:lnTo>
                  <a:lnTo>
                    <a:pt x="152" y="96"/>
                  </a:lnTo>
                  <a:lnTo>
                    <a:pt x="154" y="94"/>
                  </a:lnTo>
                  <a:lnTo>
                    <a:pt x="155" y="93"/>
                  </a:lnTo>
                  <a:lnTo>
                    <a:pt x="157" y="93"/>
                  </a:lnTo>
                  <a:lnTo>
                    <a:pt x="157" y="90"/>
                  </a:lnTo>
                  <a:lnTo>
                    <a:pt x="164" y="81"/>
                  </a:lnTo>
                  <a:lnTo>
                    <a:pt x="164" y="80"/>
                  </a:lnTo>
                  <a:lnTo>
                    <a:pt x="164" y="78"/>
                  </a:lnTo>
                  <a:lnTo>
                    <a:pt x="168" y="78"/>
                  </a:lnTo>
                  <a:lnTo>
                    <a:pt x="173" y="75"/>
                  </a:lnTo>
                  <a:lnTo>
                    <a:pt x="173" y="75"/>
                  </a:lnTo>
                  <a:lnTo>
                    <a:pt x="173" y="65"/>
                  </a:lnTo>
                  <a:lnTo>
                    <a:pt x="174" y="55"/>
                  </a:lnTo>
                  <a:lnTo>
                    <a:pt x="178" y="49"/>
                  </a:lnTo>
                  <a:lnTo>
                    <a:pt x="180" y="46"/>
                  </a:lnTo>
                  <a:lnTo>
                    <a:pt x="161" y="42"/>
                  </a:lnTo>
                  <a:lnTo>
                    <a:pt x="158" y="38"/>
                  </a:lnTo>
                  <a:lnTo>
                    <a:pt x="154" y="35"/>
                  </a:lnTo>
                  <a:lnTo>
                    <a:pt x="151" y="35"/>
                  </a:lnTo>
                  <a:lnTo>
                    <a:pt x="146" y="33"/>
                  </a:lnTo>
                  <a:lnTo>
                    <a:pt x="145" y="33"/>
                  </a:lnTo>
                  <a:lnTo>
                    <a:pt x="142" y="33"/>
                  </a:lnTo>
                  <a:lnTo>
                    <a:pt x="136" y="29"/>
                  </a:lnTo>
                  <a:lnTo>
                    <a:pt x="138" y="27"/>
                  </a:lnTo>
                  <a:lnTo>
                    <a:pt x="136" y="27"/>
                  </a:lnTo>
                  <a:lnTo>
                    <a:pt x="136" y="22"/>
                  </a:lnTo>
                  <a:lnTo>
                    <a:pt x="135" y="22"/>
                  </a:lnTo>
                  <a:lnTo>
                    <a:pt x="132" y="26"/>
                  </a:lnTo>
                  <a:lnTo>
                    <a:pt x="129" y="26"/>
                  </a:lnTo>
                  <a:lnTo>
                    <a:pt x="126" y="25"/>
                  </a:lnTo>
                  <a:lnTo>
                    <a:pt x="125" y="19"/>
                  </a:lnTo>
                  <a:lnTo>
                    <a:pt x="123" y="17"/>
                  </a:lnTo>
                  <a:lnTo>
                    <a:pt x="115" y="13"/>
                  </a:lnTo>
                  <a:lnTo>
                    <a:pt x="112" y="7"/>
                  </a:lnTo>
                  <a:lnTo>
                    <a:pt x="109" y="9"/>
                  </a:lnTo>
                  <a:lnTo>
                    <a:pt x="106" y="7"/>
                  </a:lnTo>
                  <a:lnTo>
                    <a:pt x="106"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74" name="Freeform 687"/>
            <p:cNvSpPr>
              <a:spLocks/>
            </p:cNvSpPr>
            <p:nvPr/>
          </p:nvSpPr>
          <p:spPr bwMode="auto">
            <a:xfrm>
              <a:off x="5997833" y="2590085"/>
              <a:ext cx="42134" cy="95329"/>
            </a:xfrm>
            <a:custGeom>
              <a:avLst/>
              <a:gdLst/>
              <a:ahLst/>
              <a:cxnLst>
                <a:cxn ang="0">
                  <a:pos x="29" y="89"/>
                </a:cxn>
                <a:cxn ang="0">
                  <a:pos x="29" y="82"/>
                </a:cxn>
                <a:cxn ang="0">
                  <a:pos x="36" y="74"/>
                </a:cxn>
                <a:cxn ang="0">
                  <a:pos x="35" y="71"/>
                </a:cxn>
                <a:cxn ang="0">
                  <a:pos x="32" y="69"/>
                </a:cxn>
                <a:cxn ang="0">
                  <a:pos x="32" y="66"/>
                </a:cxn>
                <a:cxn ang="0">
                  <a:pos x="32" y="61"/>
                </a:cxn>
                <a:cxn ang="0">
                  <a:pos x="35" y="57"/>
                </a:cxn>
                <a:cxn ang="0">
                  <a:pos x="31" y="50"/>
                </a:cxn>
                <a:cxn ang="0">
                  <a:pos x="31" y="47"/>
                </a:cxn>
                <a:cxn ang="0">
                  <a:pos x="32" y="44"/>
                </a:cxn>
                <a:cxn ang="0">
                  <a:pos x="35" y="44"/>
                </a:cxn>
                <a:cxn ang="0">
                  <a:pos x="38" y="41"/>
                </a:cxn>
                <a:cxn ang="0">
                  <a:pos x="38" y="38"/>
                </a:cxn>
                <a:cxn ang="0">
                  <a:pos x="36" y="35"/>
                </a:cxn>
                <a:cxn ang="0">
                  <a:pos x="39" y="21"/>
                </a:cxn>
                <a:cxn ang="0">
                  <a:pos x="44" y="15"/>
                </a:cxn>
                <a:cxn ang="0">
                  <a:pos x="46" y="10"/>
                </a:cxn>
                <a:cxn ang="0">
                  <a:pos x="46" y="9"/>
                </a:cxn>
                <a:cxn ang="0">
                  <a:pos x="42" y="3"/>
                </a:cxn>
                <a:cxn ang="0">
                  <a:pos x="35" y="3"/>
                </a:cxn>
                <a:cxn ang="0">
                  <a:pos x="31" y="5"/>
                </a:cxn>
                <a:cxn ang="0">
                  <a:pos x="22" y="5"/>
                </a:cxn>
                <a:cxn ang="0">
                  <a:pos x="19" y="3"/>
                </a:cxn>
                <a:cxn ang="0">
                  <a:pos x="19" y="0"/>
                </a:cxn>
                <a:cxn ang="0">
                  <a:pos x="12" y="2"/>
                </a:cxn>
                <a:cxn ang="0">
                  <a:pos x="10" y="5"/>
                </a:cxn>
                <a:cxn ang="0">
                  <a:pos x="12" y="19"/>
                </a:cxn>
                <a:cxn ang="0">
                  <a:pos x="12" y="21"/>
                </a:cxn>
                <a:cxn ang="0">
                  <a:pos x="6" y="45"/>
                </a:cxn>
                <a:cxn ang="0">
                  <a:pos x="1" y="53"/>
                </a:cxn>
                <a:cxn ang="0">
                  <a:pos x="1" y="57"/>
                </a:cxn>
                <a:cxn ang="0">
                  <a:pos x="0" y="61"/>
                </a:cxn>
                <a:cxn ang="0">
                  <a:pos x="0" y="61"/>
                </a:cxn>
                <a:cxn ang="0">
                  <a:pos x="3" y="63"/>
                </a:cxn>
                <a:cxn ang="0">
                  <a:pos x="6" y="67"/>
                </a:cxn>
                <a:cxn ang="0">
                  <a:pos x="10" y="66"/>
                </a:cxn>
                <a:cxn ang="0">
                  <a:pos x="10" y="67"/>
                </a:cxn>
                <a:cxn ang="0">
                  <a:pos x="10" y="69"/>
                </a:cxn>
                <a:cxn ang="0">
                  <a:pos x="10" y="83"/>
                </a:cxn>
                <a:cxn ang="0">
                  <a:pos x="7" y="89"/>
                </a:cxn>
                <a:cxn ang="0">
                  <a:pos x="7" y="92"/>
                </a:cxn>
                <a:cxn ang="0">
                  <a:pos x="9" y="92"/>
                </a:cxn>
                <a:cxn ang="0">
                  <a:pos x="12" y="92"/>
                </a:cxn>
                <a:cxn ang="0">
                  <a:pos x="17" y="92"/>
                </a:cxn>
                <a:cxn ang="0">
                  <a:pos x="20" y="92"/>
                </a:cxn>
                <a:cxn ang="0">
                  <a:pos x="23" y="92"/>
                </a:cxn>
                <a:cxn ang="0">
                  <a:pos x="29" y="89"/>
                </a:cxn>
              </a:cxnLst>
              <a:rect l="0" t="0" r="r" b="b"/>
              <a:pathLst>
                <a:path w="46" h="92">
                  <a:moveTo>
                    <a:pt x="29" y="89"/>
                  </a:moveTo>
                  <a:lnTo>
                    <a:pt x="29" y="82"/>
                  </a:lnTo>
                  <a:lnTo>
                    <a:pt x="36" y="74"/>
                  </a:lnTo>
                  <a:lnTo>
                    <a:pt x="35" y="71"/>
                  </a:lnTo>
                  <a:lnTo>
                    <a:pt x="32" y="69"/>
                  </a:lnTo>
                  <a:lnTo>
                    <a:pt x="32" y="66"/>
                  </a:lnTo>
                  <a:lnTo>
                    <a:pt x="32" y="61"/>
                  </a:lnTo>
                  <a:lnTo>
                    <a:pt x="35" y="57"/>
                  </a:lnTo>
                  <a:lnTo>
                    <a:pt x="31" y="50"/>
                  </a:lnTo>
                  <a:lnTo>
                    <a:pt x="31" y="47"/>
                  </a:lnTo>
                  <a:lnTo>
                    <a:pt x="32" y="44"/>
                  </a:lnTo>
                  <a:lnTo>
                    <a:pt x="35" y="44"/>
                  </a:lnTo>
                  <a:lnTo>
                    <a:pt x="38" y="41"/>
                  </a:lnTo>
                  <a:lnTo>
                    <a:pt x="38" y="38"/>
                  </a:lnTo>
                  <a:lnTo>
                    <a:pt x="36" y="35"/>
                  </a:lnTo>
                  <a:lnTo>
                    <a:pt x="39" y="21"/>
                  </a:lnTo>
                  <a:lnTo>
                    <a:pt x="44" y="15"/>
                  </a:lnTo>
                  <a:lnTo>
                    <a:pt x="46" y="10"/>
                  </a:lnTo>
                  <a:lnTo>
                    <a:pt x="46" y="9"/>
                  </a:lnTo>
                  <a:lnTo>
                    <a:pt x="42" y="3"/>
                  </a:lnTo>
                  <a:lnTo>
                    <a:pt x="35" y="3"/>
                  </a:lnTo>
                  <a:lnTo>
                    <a:pt x="31" y="5"/>
                  </a:lnTo>
                  <a:lnTo>
                    <a:pt x="22" y="5"/>
                  </a:lnTo>
                  <a:lnTo>
                    <a:pt x="19" y="3"/>
                  </a:lnTo>
                  <a:lnTo>
                    <a:pt x="19" y="0"/>
                  </a:lnTo>
                  <a:lnTo>
                    <a:pt x="12" y="2"/>
                  </a:lnTo>
                  <a:lnTo>
                    <a:pt x="10" y="5"/>
                  </a:lnTo>
                  <a:lnTo>
                    <a:pt x="12" y="19"/>
                  </a:lnTo>
                  <a:lnTo>
                    <a:pt x="12" y="21"/>
                  </a:lnTo>
                  <a:lnTo>
                    <a:pt x="6" y="45"/>
                  </a:lnTo>
                  <a:lnTo>
                    <a:pt x="1" y="53"/>
                  </a:lnTo>
                  <a:lnTo>
                    <a:pt x="1" y="57"/>
                  </a:lnTo>
                  <a:lnTo>
                    <a:pt x="0" y="61"/>
                  </a:lnTo>
                  <a:lnTo>
                    <a:pt x="0" y="61"/>
                  </a:lnTo>
                  <a:lnTo>
                    <a:pt x="3" y="63"/>
                  </a:lnTo>
                  <a:lnTo>
                    <a:pt x="6" y="67"/>
                  </a:lnTo>
                  <a:lnTo>
                    <a:pt x="10" y="66"/>
                  </a:lnTo>
                  <a:lnTo>
                    <a:pt x="10" y="67"/>
                  </a:lnTo>
                  <a:lnTo>
                    <a:pt x="10" y="69"/>
                  </a:lnTo>
                  <a:lnTo>
                    <a:pt x="10" y="83"/>
                  </a:lnTo>
                  <a:lnTo>
                    <a:pt x="7" y="89"/>
                  </a:lnTo>
                  <a:lnTo>
                    <a:pt x="7" y="92"/>
                  </a:lnTo>
                  <a:lnTo>
                    <a:pt x="9" y="92"/>
                  </a:lnTo>
                  <a:lnTo>
                    <a:pt x="12" y="92"/>
                  </a:lnTo>
                  <a:lnTo>
                    <a:pt x="17" y="92"/>
                  </a:lnTo>
                  <a:lnTo>
                    <a:pt x="20" y="92"/>
                  </a:lnTo>
                  <a:lnTo>
                    <a:pt x="23" y="92"/>
                  </a:lnTo>
                  <a:lnTo>
                    <a:pt x="29" y="8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75" name="Freeform 688"/>
            <p:cNvSpPr>
              <a:spLocks/>
            </p:cNvSpPr>
            <p:nvPr/>
          </p:nvSpPr>
          <p:spPr bwMode="auto">
            <a:xfrm>
              <a:off x="5997833" y="2590085"/>
              <a:ext cx="42134" cy="95329"/>
            </a:xfrm>
            <a:custGeom>
              <a:avLst/>
              <a:gdLst/>
              <a:ahLst/>
              <a:cxnLst>
                <a:cxn ang="0">
                  <a:pos x="29" y="89"/>
                </a:cxn>
                <a:cxn ang="0">
                  <a:pos x="29" y="82"/>
                </a:cxn>
                <a:cxn ang="0">
                  <a:pos x="36" y="74"/>
                </a:cxn>
                <a:cxn ang="0">
                  <a:pos x="35" y="71"/>
                </a:cxn>
                <a:cxn ang="0">
                  <a:pos x="32" y="69"/>
                </a:cxn>
                <a:cxn ang="0">
                  <a:pos x="32" y="66"/>
                </a:cxn>
                <a:cxn ang="0">
                  <a:pos x="32" y="61"/>
                </a:cxn>
                <a:cxn ang="0">
                  <a:pos x="35" y="57"/>
                </a:cxn>
                <a:cxn ang="0">
                  <a:pos x="31" y="50"/>
                </a:cxn>
                <a:cxn ang="0">
                  <a:pos x="31" y="47"/>
                </a:cxn>
                <a:cxn ang="0">
                  <a:pos x="32" y="44"/>
                </a:cxn>
                <a:cxn ang="0">
                  <a:pos x="35" y="44"/>
                </a:cxn>
                <a:cxn ang="0">
                  <a:pos x="38" y="41"/>
                </a:cxn>
                <a:cxn ang="0">
                  <a:pos x="38" y="38"/>
                </a:cxn>
                <a:cxn ang="0">
                  <a:pos x="36" y="35"/>
                </a:cxn>
                <a:cxn ang="0">
                  <a:pos x="39" y="21"/>
                </a:cxn>
                <a:cxn ang="0">
                  <a:pos x="44" y="15"/>
                </a:cxn>
                <a:cxn ang="0">
                  <a:pos x="46" y="10"/>
                </a:cxn>
                <a:cxn ang="0">
                  <a:pos x="46" y="9"/>
                </a:cxn>
                <a:cxn ang="0">
                  <a:pos x="42" y="3"/>
                </a:cxn>
                <a:cxn ang="0">
                  <a:pos x="35" y="3"/>
                </a:cxn>
                <a:cxn ang="0">
                  <a:pos x="31" y="5"/>
                </a:cxn>
                <a:cxn ang="0">
                  <a:pos x="22" y="5"/>
                </a:cxn>
                <a:cxn ang="0">
                  <a:pos x="19" y="3"/>
                </a:cxn>
                <a:cxn ang="0">
                  <a:pos x="19" y="0"/>
                </a:cxn>
                <a:cxn ang="0">
                  <a:pos x="12" y="2"/>
                </a:cxn>
                <a:cxn ang="0">
                  <a:pos x="10" y="5"/>
                </a:cxn>
                <a:cxn ang="0">
                  <a:pos x="12" y="19"/>
                </a:cxn>
                <a:cxn ang="0">
                  <a:pos x="12" y="21"/>
                </a:cxn>
                <a:cxn ang="0">
                  <a:pos x="6" y="45"/>
                </a:cxn>
                <a:cxn ang="0">
                  <a:pos x="1" y="53"/>
                </a:cxn>
                <a:cxn ang="0">
                  <a:pos x="1" y="57"/>
                </a:cxn>
                <a:cxn ang="0">
                  <a:pos x="0" y="61"/>
                </a:cxn>
                <a:cxn ang="0">
                  <a:pos x="0" y="61"/>
                </a:cxn>
                <a:cxn ang="0">
                  <a:pos x="3" y="63"/>
                </a:cxn>
                <a:cxn ang="0">
                  <a:pos x="6" y="67"/>
                </a:cxn>
                <a:cxn ang="0">
                  <a:pos x="10" y="66"/>
                </a:cxn>
                <a:cxn ang="0">
                  <a:pos x="10" y="67"/>
                </a:cxn>
                <a:cxn ang="0">
                  <a:pos x="10" y="69"/>
                </a:cxn>
                <a:cxn ang="0">
                  <a:pos x="10" y="83"/>
                </a:cxn>
                <a:cxn ang="0">
                  <a:pos x="7" y="89"/>
                </a:cxn>
                <a:cxn ang="0">
                  <a:pos x="7" y="92"/>
                </a:cxn>
                <a:cxn ang="0">
                  <a:pos x="9" y="92"/>
                </a:cxn>
                <a:cxn ang="0">
                  <a:pos x="12" y="92"/>
                </a:cxn>
                <a:cxn ang="0">
                  <a:pos x="17" y="92"/>
                </a:cxn>
                <a:cxn ang="0">
                  <a:pos x="20" y="92"/>
                </a:cxn>
                <a:cxn ang="0">
                  <a:pos x="23" y="92"/>
                </a:cxn>
                <a:cxn ang="0">
                  <a:pos x="29" y="89"/>
                </a:cxn>
              </a:cxnLst>
              <a:rect l="0" t="0" r="r" b="b"/>
              <a:pathLst>
                <a:path w="46" h="92">
                  <a:moveTo>
                    <a:pt x="29" y="89"/>
                  </a:moveTo>
                  <a:lnTo>
                    <a:pt x="29" y="82"/>
                  </a:lnTo>
                  <a:lnTo>
                    <a:pt x="36" y="74"/>
                  </a:lnTo>
                  <a:lnTo>
                    <a:pt x="35" y="71"/>
                  </a:lnTo>
                  <a:lnTo>
                    <a:pt x="32" y="69"/>
                  </a:lnTo>
                  <a:lnTo>
                    <a:pt x="32" y="66"/>
                  </a:lnTo>
                  <a:lnTo>
                    <a:pt x="32" y="61"/>
                  </a:lnTo>
                  <a:lnTo>
                    <a:pt x="35" y="57"/>
                  </a:lnTo>
                  <a:lnTo>
                    <a:pt x="31" y="50"/>
                  </a:lnTo>
                  <a:lnTo>
                    <a:pt x="31" y="47"/>
                  </a:lnTo>
                  <a:lnTo>
                    <a:pt x="32" y="44"/>
                  </a:lnTo>
                  <a:lnTo>
                    <a:pt x="35" y="44"/>
                  </a:lnTo>
                  <a:lnTo>
                    <a:pt x="38" y="41"/>
                  </a:lnTo>
                  <a:lnTo>
                    <a:pt x="38" y="38"/>
                  </a:lnTo>
                  <a:lnTo>
                    <a:pt x="36" y="35"/>
                  </a:lnTo>
                  <a:lnTo>
                    <a:pt x="39" y="21"/>
                  </a:lnTo>
                  <a:lnTo>
                    <a:pt x="44" y="15"/>
                  </a:lnTo>
                  <a:lnTo>
                    <a:pt x="46" y="10"/>
                  </a:lnTo>
                  <a:lnTo>
                    <a:pt x="46" y="9"/>
                  </a:lnTo>
                  <a:lnTo>
                    <a:pt x="42" y="3"/>
                  </a:lnTo>
                  <a:lnTo>
                    <a:pt x="35" y="3"/>
                  </a:lnTo>
                  <a:lnTo>
                    <a:pt x="31" y="5"/>
                  </a:lnTo>
                  <a:lnTo>
                    <a:pt x="22" y="5"/>
                  </a:lnTo>
                  <a:lnTo>
                    <a:pt x="19" y="3"/>
                  </a:lnTo>
                  <a:lnTo>
                    <a:pt x="19" y="0"/>
                  </a:lnTo>
                  <a:lnTo>
                    <a:pt x="12" y="2"/>
                  </a:lnTo>
                  <a:lnTo>
                    <a:pt x="10" y="5"/>
                  </a:lnTo>
                  <a:lnTo>
                    <a:pt x="12" y="19"/>
                  </a:lnTo>
                  <a:lnTo>
                    <a:pt x="12" y="21"/>
                  </a:lnTo>
                  <a:lnTo>
                    <a:pt x="6" y="45"/>
                  </a:lnTo>
                  <a:lnTo>
                    <a:pt x="1" y="53"/>
                  </a:lnTo>
                  <a:lnTo>
                    <a:pt x="1" y="57"/>
                  </a:lnTo>
                  <a:lnTo>
                    <a:pt x="0" y="61"/>
                  </a:lnTo>
                  <a:lnTo>
                    <a:pt x="0" y="61"/>
                  </a:lnTo>
                  <a:lnTo>
                    <a:pt x="3" y="63"/>
                  </a:lnTo>
                  <a:lnTo>
                    <a:pt x="6" y="67"/>
                  </a:lnTo>
                  <a:lnTo>
                    <a:pt x="10" y="66"/>
                  </a:lnTo>
                  <a:lnTo>
                    <a:pt x="10" y="67"/>
                  </a:lnTo>
                  <a:lnTo>
                    <a:pt x="10" y="69"/>
                  </a:lnTo>
                  <a:lnTo>
                    <a:pt x="10" y="83"/>
                  </a:lnTo>
                  <a:lnTo>
                    <a:pt x="7" y="89"/>
                  </a:lnTo>
                  <a:lnTo>
                    <a:pt x="7" y="92"/>
                  </a:lnTo>
                  <a:lnTo>
                    <a:pt x="9" y="92"/>
                  </a:lnTo>
                  <a:lnTo>
                    <a:pt x="12" y="92"/>
                  </a:lnTo>
                  <a:lnTo>
                    <a:pt x="17" y="92"/>
                  </a:lnTo>
                  <a:lnTo>
                    <a:pt x="20" y="92"/>
                  </a:lnTo>
                  <a:lnTo>
                    <a:pt x="23" y="92"/>
                  </a:lnTo>
                  <a:lnTo>
                    <a:pt x="29" y="89"/>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76" name="Freeform 689"/>
            <p:cNvSpPr>
              <a:spLocks/>
            </p:cNvSpPr>
            <p:nvPr/>
          </p:nvSpPr>
          <p:spPr bwMode="auto">
            <a:xfrm>
              <a:off x="6460434" y="2589072"/>
              <a:ext cx="243151" cy="119668"/>
            </a:xfrm>
            <a:custGeom>
              <a:avLst/>
              <a:gdLst/>
              <a:ahLst/>
              <a:cxnLst>
                <a:cxn ang="0">
                  <a:pos x="143" y="102"/>
                </a:cxn>
                <a:cxn ang="0">
                  <a:pos x="135" y="102"/>
                </a:cxn>
                <a:cxn ang="0">
                  <a:pos x="124" y="97"/>
                </a:cxn>
                <a:cxn ang="0">
                  <a:pos x="114" y="106"/>
                </a:cxn>
                <a:cxn ang="0">
                  <a:pos x="103" y="109"/>
                </a:cxn>
                <a:cxn ang="0">
                  <a:pos x="73" y="97"/>
                </a:cxn>
                <a:cxn ang="0">
                  <a:pos x="63" y="103"/>
                </a:cxn>
                <a:cxn ang="0">
                  <a:pos x="45" y="106"/>
                </a:cxn>
                <a:cxn ang="0">
                  <a:pos x="40" y="100"/>
                </a:cxn>
                <a:cxn ang="0">
                  <a:pos x="35" y="97"/>
                </a:cxn>
                <a:cxn ang="0">
                  <a:pos x="28" y="100"/>
                </a:cxn>
                <a:cxn ang="0">
                  <a:pos x="19" y="100"/>
                </a:cxn>
                <a:cxn ang="0">
                  <a:pos x="28" y="96"/>
                </a:cxn>
                <a:cxn ang="0">
                  <a:pos x="18" y="94"/>
                </a:cxn>
                <a:cxn ang="0">
                  <a:pos x="16" y="87"/>
                </a:cxn>
                <a:cxn ang="0">
                  <a:pos x="15" y="83"/>
                </a:cxn>
                <a:cxn ang="0">
                  <a:pos x="15" y="75"/>
                </a:cxn>
                <a:cxn ang="0">
                  <a:pos x="5" y="72"/>
                </a:cxn>
                <a:cxn ang="0">
                  <a:pos x="5" y="70"/>
                </a:cxn>
                <a:cxn ang="0">
                  <a:pos x="6" y="64"/>
                </a:cxn>
                <a:cxn ang="0">
                  <a:pos x="13" y="68"/>
                </a:cxn>
                <a:cxn ang="0">
                  <a:pos x="12" y="61"/>
                </a:cxn>
                <a:cxn ang="0">
                  <a:pos x="8" y="54"/>
                </a:cxn>
                <a:cxn ang="0">
                  <a:pos x="0" y="48"/>
                </a:cxn>
                <a:cxn ang="0">
                  <a:pos x="3" y="39"/>
                </a:cxn>
                <a:cxn ang="0">
                  <a:pos x="18" y="32"/>
                </a:cxn>
                <a:cxn ang="0">
                  <a:pos x="25" y="30"/>
                </a:cxn>
                <a:cxn ang="0">
                  <a:pos x="41" y="29"/>
                </a:cxn>
                <a:cxn ang="0">
                  <a:pos x="53" y="26"/>
                </a:cxn>
                <a:cxn ang="0">
                  <a:pos x="45" y="25"/>
                </a:cxn>
                <a:cxn ang="0">
                  <a:pos x="41" y="20"/>
                </a:cxn>
                <a:cxn ang="0">
                  <a:pos x="50" y="19"/>
                </a:cxn>
                <a:cxn ang="0">
                  <a:pos x="71" y="20"/>
                </a:cxn>
                <a:cxn ang="0">
                  <a:pos x="122" y="3"/>
                </a:cxn>
                <a:cxn ang="0">
                  <a:pos x="130" y="3"/>
                </a:cxn>
                <a:cxn ang="0">
                  <a:pos x="145" y="16"/>
                </a:cxn>
                <a:cxn ang="0">
                  <a:pos x="170" y="22"/>
                </a:cxn>
                <a:cxn ang="0">
                  <a:pos x="217" y="10"/>
                </a:cxn>
                <a:cxn ang="0">
                  <a:pos x="225" y="10"/>
                </a:cxn>
                <a:cxn ang="0">
                  <a:pos x="234" y="9"/>
                </a:cxn>
                <a:cxn ang="0">
                  <a:pos x="247" y="20"/>
                </a:cxn>
                <a:cxn ang="0">
                  <a:pos x="257" y="38"/>
                </a:cxn>
                <a:cxn ang="0">
                  <a:pos x="260" y="48"/>
                </a:cxn>
                <a:cxn ang="0">
                  <a:pos x="262" y="80"/>
                </a:cxn>
                <a:cxn ang="0">
                  <a:pos x="259" y="90"/>
                </a:cxn>
                <a:cxn ang="0">
                  <a:pos x="233" y="91"/>
                </a:cxn>
                <a:cxn ang="0">
                  <a:pos x="230" y="88"/>
                </a:cxn>
                <a:cxn ang="0">
                  <a:pos x="212" y="93"/>
                </a:cxn>
                <a:cxn ang="0">
                  <a:pos x="196" y="97"/>
                </a:cxn>
                <a:cxn ang="0">
                  <a:pos x="176" y="96"/>
                </a:cxn>
                <a:cxn ang="0">
                  <a:pos x="161" y="100"/>
                </a:cxn>
                <a:cxn ang="0">
                  <a:pos x="154" y="99"/>
                </a:cxn>
                <a:cxn ang="0">
                  <a:pos x="150" y="96"/>
                </a:cxn>
                <a:cxn ang="0">
                  <a:pos x="147" y="103"/>
                </a:cxn>
                <a:cxn ang="0">
                  <a:pos x="147" y="107"/>
                </a:cxn>
                <a:cxn ang="0">
                  <a:pos x="143" y="113"/>
                </a:cxn>
                <a:cxn ang="0">
                  <a:pos x="138" y="112"/>
                </a:cxn>
              </a:cxnLst>
              <a:rect l="0" t="0" r="r" b="b"/>
              <a:pathLst>
                <a:path w="265" h="115">
                  <a:moveTo>
                    <a:pt x="140" y="110"/>
                  </a:moveTo>
                  <a:lnTo>
                    <a:pt x="138" y="107"/>
                  </a:lnTo>
                  <a:lnTo>
                    <a:pt x="140" y="103"/>
                  </a:lnTo>
                  <a:lnTo>
                    <a:pt x="143" y="102"/>
                  </a:lnTo>
                  <a:lnTo>
                    <a:pt x="143" y="99"/>
                  </a:lnTo>
                  <a:lnTo>
                    <a:pt x="141" y="97"/>
                  </a:lnTo>
                  <a:lnTo>
                    <a:pt x="137" y="99"/>
                  </a:lnTo>
                  <a:lnTo>
                    <a:pt x="135" y="102"/>
                  </a:lnTo>
                  <a:lnTo>
                    <a:pt x="134" y="102"/>
                  </a:lnTo>
                  <a:lnTo>
                    <a:pt x="131" y="102"/>
                  </a:lnTo>
                  <a:lnTo>
                    <a:pt x="125" y="99"/>
                  </a:lnTo>
                  <a:lnTo>
                    <a:pt x="124" y="97"/>
                  </a:lnTo>
                  <a:lnTo>
                    <a:pt x="122" y="97"/>
                  </a:lnTo>
                  <a:lnTo>
                    <a:pt x="119" y="99"/>
                  </a:lnTo>
                  <a:lnTo>
                    <a:pt x="114" y="103"/>
                  </a:lnTo>
                  <a:lnTo>
                    <a:pt x="114" y="106"/>
                  </a:lnTo>
                  <a:lnTo>
                    <a:pt x="111" y="106"/>
                  </a:lnTo>
                  <a:lnTo>
                    <a:pt x="109" y="107"/>
                  </a:lnTo>
                  <a:lnTo>
                    <a:pt x="106" y="109"/>
                  </a:lnTo>
                  <a:lnTo>
                    <a:pt x="103" y="109"/>
                  </a:lnTo>
                  <a:lnTo>
                    <a:pt x="96" y="110"/>
                  </a:lnTo>
                  <a:lnTo>
                    <a:pt x="90" y="109"/>
                  </a:lnTo>
                  <a:lnTo>
                    <a:pt x="87" y="104"/>
                  </a:lnTo>
                  <a:lnTo>
                    <a:pt x="73" y="97"/>
                  </a:lnTo>
                  <a:lnTo>
                    <a:pt x="64" y="96"/>
                  </a:lnTo>
                  <a:lnTo>
                    <a:pt x="63" y="99"/>
                  </a:lnTo>
                  <a:lnTo>
                    <a:pt x="63" y="102"/>
                  </a:lnTo>
                  <a:lnTo>
                    <a:pt x="63" y="103"/>
                  </a:lnTo>
                  <a:lnTo>
                    <a:pt x="63" y="106"/>
                  </a:lnTo>
                  <a:lnTo>
                    <a:pt x="54" y="109"/>
                  </a:lnTo>
                  <a:lnTo>
                    <a:pt x="48" y="107"/>
                  </a:lnTo>
                  <a:lnTo>
                    <a:pt x="45" y="106"/>
                  </a:lnTo>
                  <a:lnTo>
                    <a:pt x="44" y="104"/>
                  </a:lnTo>
                  <a:lnTo>
                    <a:pt x="42" y="99"/>
                  </a:lnTo>
                  <a:lnTo>
                    <a:pt x="41" y="99"/>
                  </a:lnTo>
                  <a:lnTo>
                    <a:pt x="40" y="100"/>
                  </a:lnTo>
                  <a:lnTo>
                    <a:pt x="40" y="100"/>
                  </a:lnTo>
                  <a:lnTo>
                    <a:pt x="40" y="100"/>
                  </a:lnTo>
                  <a:lnTo>
                    <a:pt x="37" y="99"/>
                  </a:lnTo>
                  <a:lnTo>
                    <a:pt x="35" y="97"/>
                  </a:lnTo>
                  <a:lnTo>
                    <a:pt x="35" y="97"/>
                  </a:lnTo>
                  <a:lnTo>
                    <a:pt x="31" y="97"/>
                  </a:lnTo>
                  <a:lnTo>
                    <a:pt x="31" y="99"/>
                  </a:lnTo>
                  <a:lnTo>
                    <a:pt x="28" y="100"/>
                  </a:lnTo>
                  <a:lnTo>
                    <a:pt x="26" y="100"/>
                  </a:lnTo>
                  <a:lnTo>
                    <a:pt x="28" y="99"/>
                  </a:lnTo>
                  <a:lnTo>
                    <a:pt x="28" y="97"/>
                  </a:lnTo>
                  <a:lnTo>
                    <a:pt x="19" y="100"/>
                  </a:lnTo>
                  <a:lnTo>
                    <a:pt x="21" y="99"/>
                  </a:lnTo>
                  <a:lnTo>
                    <a:pt x="22" y="97"/>
                  </a:lnTo>
                  <a:lnTo>
                    <a:pt x="26" y="97"/>
                  </a:lnTo>
                  <a:lnTo>
                    <a:pt x="28" y="96"/>
                  </a:lnTo>
                  <a:lnTo>
                    <a:pt x="28" y="96"/>
                  </a:lnTo>
                  <a:lnTo>
                    <a:pt x="31" y="94"/>
                  </a:lnTo>
                  <a:lnTo>
                    <a:pt x="31" y="93"/>
                  </a:lnTo>
                  <a:lnTo>
                    <a:pt x="18" y="94"/>
                  </a:lnTo>
                  <a:lnTo>
                    <a:pt x="18" y="93"/>
                  </a:lnTo>
                  <a:lnTo>
                    <a:pt x="21" y="90"/>
                  </a:lnTo>
                  <a:lnTo>
                    <a:pt x="18" y="87"/>
                  </a:lnTo>
                  <a:lnTo>
                    <a:pt x="16" y="87"/>
                  </a:lnTo>
                  <a:lnTo>
                    <a:pt x="16" y="84"/>
                  </a:lnTo>
                  <a:lnTo>
                    <a:pt x="18" y="84"/>
                  </a:lnTo>
                  <a:lnTo>
                    <a:pt x="18" y="83"/>
                  </a:lnTo>
                  <a:lnTo>
                    <a:pt x="15" y="83"/>
                  </a:lnTo>
                  <a:lnTo>
                    <a:pt x="13" y="81"/>
                  </a:lnTo>
                  <a:lnTo>
                    <a:pt x="15" y="80"/>
                  </a:lnTo>
                  <a:lnTo>
                    <a:pt x="16" y="78"/>
                  </a:lnTo>
                  <a:lnTo>
                    <a:pt x="15" y="75"/>
                  </a:lnTo>
                  <a:lnTo>
                    <a:pt x="13" y="74"/>
                  </a:lnTo>
                  <a:lnTo>
                    <a:pt x="9" y="74"/>
                  </a:lnTo>
                  <a:lnTo>
                    <a:pt x="8" y="72"/>
                  </a:lnTo>
                  <a:lnTo>
                    <a:pt x="5" y="72"/>
                  </a:lnTo>
                  <a:lnTo>
                    <a:pt x="3" y="72"/>
                  </a:lnTo>
                  <a:lnTo>
                    <a:pt x="3" y="71"/>
                  </a:lnTo>
                  <a:lnTo>
                    <a:pt x="2" y="70"/>
                  </a:lnTo>
                  <a:lnTo>
                    <a:pt x="5" y="70"/>
                  </a:lnTo>
                  <a:lnTo>
                    <a:pt x="5" y="67"/>
                  </a:lnTo>
                  <a:lnTo>
                    <a:pt x="5" y="65"/>
                  </a:lnTo>
                  <a:lnTo>
                    <a:pt x="5" y="64"/>
                  </a:lnTo>
                  <a:lnTo>
                    <a:pt x="6" y="64"/>
                  </a:lnTo>
                  <a:lnTo>
                    <a:pt x="8" y="68"/>
                  </a:lnTo>
                  <a:lnTo>
                    <a:pt x="9" y="68"/>
                  </a:lnTo>
                  <a:lnTo>
                    <a:pt x="13" y="68"/>
                  </a:lnTo>
                  <a:lnTo>
                    <a:pt x="13" y="68"/>
                  </a:lnTo>
                  <a:lnTo>
                    <a:pt x="10" y="67"/>
                  </a:lnTo>
                  <a:lnTo>
                    <a:pt x="9" y="64"/>
                  </a:lnTo>
                  <a:lnTo>
                    <a:pt x="10" y="62"/>
                  </a:lnTo>
                  <a:lnTo>
                    <a:pt x="12" y="61"/>
                  </a:lnTo>
                  <a:lnTo>
                    <a:pt x="12" y="59"/>
                  </a:lnTo>
                  <a:lnTo>
                    <a:pt x="10" y="58"/>
                  </a:lnTo>
                  <a:lnTo>
                    <a:pt x="10" y="55"/>
                  </a:lnTo>
                  <a:lnTo>
                    <a:pt x="8" y="54"/>
                  </a:lnTo>
                  <a:lnTo>
                    <a:pt x="9" y="51"/>
                  </a:lnTo>
                  <a:lnTo>
                    <a:pt x="10" y="49"/>
                  </a:lnTo>
                  <a:lnTo>
                    <a:pt x="10" y="48"/>
                  </a:lnTo>
                  <a:lnTo>
                    <a:pt x="0" y="48"/>
                  </a:lnTo>
                  <a:lnTo>
                    <a:pt x="0" y="48"/>
                  </a:lnTo>
                  <a:lnTo>
                    <a:pt x="0" y="42"/>
                  </a:lnTo>
                  <a:lnTo>
                    <a:pt x="2" y="39"/>
                  </a:lnTo>
                  <a:lnTo>
                    <a:pt x="3" y="39"/>
                  </a:lnTo>
                  <a:lnTo>
                    <a:pt x="9" y="32"/>
                  </a:lnTo>
                  <a:lnTo>
                    <a:pt x="12" y="32"/>
                  </a:lnTo>
                  <a:lnTo>
                    <a:pt x="16" y="30"/>
                  </a:lnTo>
                  <a:lnTo>
                    <a:pt x="18" y="32"/>
                  </a:lnTo>
                  <a:lnTo>
                    <a:pt x="21" y="33"/>
                  </a:lnTo>
                  <a:lnTo>
                    <a:pt x="24" y="33"/>
                  </a:lnTo>
                  <a:lnTo>
                    <a:pt x="22" y="29"/>
                  </a:lnTo>
                  <a:lnTo>
                    <a:pt x="25" y="30"/>
                  </a:lnTo>
                  <a:lnTo>
                    <a:pt x="26" y="30"/>
                  </a:lnTo>
                  <a:lnTo>
                    <a:pt x="26" y="32"/>
                  </a:lnTo>
                  <a:lnTo>
                    <a:pt x="41" y="32"/>
                  </a:lnTo>
                  <a:lnTo>
                    <a:pt x="41" y="29"/>
                  </a:lnTo>
                  <a:lnTo>
                    <a:pt x="40" y="29"/>
                  </a:lnTo>
                  <a:lnTo>
                    <a:pt x="40" y="29"/>
                  </a:lnTo>
                  <a:lnTo>
                    <a:pt x="41" y="27"/>
                  </a:lnTo>
                  <a:lnTo>
                    <a:pt x="53" y="26"/>
                  </a:lnTo>
                  <a:lnTo>
                    <a:pt x="53" y="25"/>
                  </a:lnTo>
                  <a:lnTo>
                    <a:pt x="51" y="25"/>
                  </a:lnTo>
                  <a:lnTo>
                    <a:pt x="50" y="25"/>
                  </a:lnTo>
                  <a:lnTo>
                    <a:pt x="45" y="25"/>
                  </a:lnTo>
                  <a:lnTo>
                    <a:pt x="45" y="23"/>
                  </a:lnTo>
                  <a:lnTo>
                    <a:pt x="44" y="23"/>
                  </a:lnTo>
                  <a:lnTo>
                    <a:pt x="44" y="22"/>
                  </a:lnTo>
                  <a:lnTo>
                    <a:pt x="41" y="20"/>
                  </a:lnTo>
                  <a:lnTo>
                    <a:pt x="44" y="16"/>
                  </a:lnTo>
                  <a:lnTo>
                    <a:pt x="44" y="17"/>
                  </a:lnTo>
                  <a:lnTo>
                    <a:pt x="47" y="17"/>
                  </a:lnTo>
                  <a:lnTo>
                    <a:pt x="50" y="19"/>
                  </a:lnTo>
                  <a:lnTo>
                    <a:pt x="63" y="19"/>
                  </a:lnTo>
                  <a:lnTo>
                    <a:pt x="64" y="20"/>
                  </a:lnTo>
                  <a:lnTo>
                    <a:pt x="66" y="19"/>
                  </a:lnTo>
                  <a:lnTo>
                    <a:pt x="71" y="20"/>
                  </a:lnTo>
                  <a:lnTo>
                    <a:pt x="74" y="19"/>
                  </a:lnTo>
                  <a:lnTo>
                    <a:pt x="76" y="14"/>
                  </a:lnTo>
                  <a:lnTo>
                    <a:pt x="103" y="1"/>
                  </a:lnTo>
                  <a:lnTo>
                    <a:pt x="122" y="3"/>
                  </a:lnTo>
                  <a:lnTo>
                    <a:pt x="125" y="0"/>
                  </a:lnTo>
                  <a:lnTo>
                    <a:pt x="128" y="0"/>
                  </a:lnTo>
                  <a:lnTo>
                    <a:pt x="130" y="1"/>
                  </a:lnTo>
                  <a:lnTo>
                    <a:pt x="130" y="3"/>
                  </a:lnTo>
                  <a:lnTo>
                    <a:pt x="131" y="6"/>
                  </a:lnTo>
                  <a:lnTo>
                    <a:pt x="138" y="9"/>
                  </a:lnTo>
                  <a:lnTo>
                    <a:pt x="141" y="7"/>
                  </a:lnTo>
                  <a:lnTo>
                    <a:pt x="145" y="16"/>
                  </a:lnTo>
                  <a:lnTo>
                    <a:pt x="153" y="16"/>
                  </a:lnTo>
                  <a:lnTo>
                    <a:pt x="161" y="22"/>
                  </a:lnTo>
                  <a:lnTo>
                    <a:pt x="164" y="19"/>
                  </a:lnTo>
                  <a:lnTo>
                    <a:pt x="170" y="22"/>
                  </a:lnTo>
                  <a:lnTo>
                    <a:pt x="188" y="19"/>
                  </a:lnTo>
                  <a:lnTo>
                    <a:pt x="196" y="22"/>
                  </a:lnTo>
                  <a:lnTo>
                    <a:pt x="202" y="20"/>
                  </a:lnTo>
                  <a:lnTo>
                    <a:pt x="217" y="10"/>
                  </a:lnTo>
                  <a:lnTo>
                    <a:pt x="218" y="9"/>
                  </a:lnTo>
                  <a:lnTo>
                    <a:pt x="220" y="11"/>
                  </a:lnTo>
                  <a:lnTo>
                    <a:pt x="222" y="11"/>
                  </a:lnTo>
                  <a:lnTo>
                    <a:pt x="225" y="10"/>
                  </a:lnTo>
                  <a:lnTo>
                    <a:pt x="230" y="11"/>
                  </a:lnTo>
                  <a:lnTo>
                    <a:pt x="231" y="11"/>
                  </a:lnTo>
                  <a:lnTo>
                    <a:pt x="233" y="10"/>
                  </a:lnTo>
                  <a:lnTo>
                    <a:pt x="234" y="9"/>
                  </a:lnTo>
                  <a:lnTo>
                    <a:pt x="236" y="10"/>
                  </a:lnTo>
                  <a:lnTo>
                    <a:pt x="241" y="16"/>
                  </a:lnTo>
                  <a:lnTo>
                    <a:pt x="243" y="16"/>
                  </a:lnTo>
                  <a:lnTo>
                    <a:pt x="247" y="20"/>
                  </a:lnTo>
                  <a:lnTo>
                    <a:pt x="249" y="23"/>
                  </a:lnTo>
                  <a:lnTo>
                    <a:pt x="250" y="32"/>
                  </a:lnTo>
                  <a:lnTo>
                    <a:pt x="251" y="35"/>
                  </a:lnTo>
                  <a:lnTo>
                    <a:pt x="257" y="38"/>
                  </a:lnTo>
                  <a:lnTo>
                    <a:pt x="259" y="40"/>
                  </a:lnTo>
                  <a:lnTo>
                    <a:pt x="262" y="40"/>
                  </a:lnTo>
                  <a:lnTo>
                    <a:pt x="262" y="42"/>
                  </a:lnTo>
                  <a:lnTo>
                    <a:pt x="260" y="48"/>
                  </a:lnTo>
                  <a:lnTo>
                    <a:pt x="256" y="51"/>
                  </a:lnTo>
                  <a:lnTo>
                    <a:pt x="257" y="56"/>
                  </a:lnTo>
                  <a:lnTo>
                    <a:pt x="257" y="78"/>
                  </a:lnTo>
                  <a:lnTo>
                    <a:pt x="262" y="80"/>
                  </a:lnTo>
                  <a:lnTo>
                    <a:pt x="265" y="84"/>
                  </a:lnTo>
                  <a:lnTo>
                    <a:pt x="265" y="88"/>
                  </a:lnTo>
                  <a:lnTo>
                    <a:pt x="263" y="91"/>
                  </a:lnTo>
                  <a:lnTo>
                    <a:pt x="259" y="90"/>
                  </a:lnTo>
                  <a:lnTo>
                    <a:pt x="257" y="87"/>
                  </a:lnTo>
                  <a:lnTo>
                    <a:pt x="244" y="87"/>
                  </a:lnTo>
                  <a:lnTo>
                    <a:pt x="238" y="86"/>
                  </a:lnTo>
                  <a:lnTo>
                    <a:pt x="233" y="91"/>
                  </a:lnTo>
                  <a:lnTo>
                    <a:pt x="230" y="91"/>
                  </a:lnTo>
                  <a:lnTo>
                    <a:pt x="230" y="90"/>
                  </a:lnTo>
                  <a:lnTo>
                    <a:pt x="230" y="88"/>
                  </a:lnTo>
                  <a:lnTo>
                    <a:pt x="230" y="88"/>
                  </a:lnTo>
                  <a:lnTo>
                    <a:pt x="228" y="88"/>
                  </a:lnTo>
                  <a:lnTo>
                    <a:pt x="227" y="90"/>
                  </a:lnTo>
                  <a:lnTo>
                    <a:pt x="222" y="91"/>
                  </a:lnTo>
                  <a:lnTo>
                    <a:pt x="212" y="93"/>
                  </a:lnTo>
                  <a:lnTo>
                    <a:pt x="209" y="91"/>
                  </a:lnTo>
                  <a:lnTo>
                    <a:pt x="204" y="93"/>
                  </a:lnTo>
                  <a:lnTo>
                    <a:pt x="199" y="96"/>
                  </a:lnTo>
                  <a:lnTo>
                    <a:pt x="196" y="97"/>
                  </a:lnTo>
                  <a:lnTo>
                    <a:pt x="195" y="97"/>
                  </a:lnTo>
                  <a:lnTo>
                    <a:pt x="186" y="99"/>
                  </a:lnTo>
                  <a:lnTo>
                    <a:pt x="179" y="99"/>
                  </a:lnTo>
                  <a:lnTo>
                    <a:pt x="176" y="96"/>
                  </a:lnTo>
                  <a:lnTo>
                    <a:pt x="175" y="94"/>
                  </a:lnTo>
                  <a:lnTo>
                    <a:pt x="170" y="96"/>
                  </a:lnTo>
                  <a:lnTo>
                    <a:pt x="163" y="99"/>
                  </a:lnTo>
                  <a:lnTo>
                    <a:pt x="161" y="100"/>
                  </a:lnTo>
                  <a:lnTo>
                    <a:pt x="157" y="99"/>
                  </a:lnTo>
                  <a:lnTo>
                    <a:pt x="156" y="100"/>
                  </a:lnTo>
                  <a:lnTo>
                    <a:pt x="154" y="99"/>
                  </a:lnTo>
                  <a:lnTo>
                    <a:pt x="154" y="99"/>
                  </a:lnTo>
                  <a:lnTo>
                    <a:pt x="154" y="99"/>
                  </a:lnTo>
                  <a:lnTo>
                    <a:pt x="153" y="97"/>
                  </a:lnTo>
                  <a:lnTo>
                    <a:pt x="151" y="97"/>
                  </a:lnTo>
                  <a:lnTo>
                    <a:pt x="150" y="96"/>
                  </a:lnTo>
                  <a:lnTo>
                    <a:pt x="148" y="99"/>
                  </a:lnTo>
                  <a:lnTo>
                    <a:pt x="148" y="100"/>
                  </a:lnTo>
                  <a:lnTo>
                    <a:pt x="148" y="100"/>
                  </a:lnTo>
                  <a:lnTo>
                    <a:pt x="147" y="103"/>
                  </a:lnTo>
                  <a:lnTo>
                    <a:pt x="150" y="106"/>
                  </a:lnTo>
                  <a:lnTo>
                    <a:pt x="150" y="107"/>
                  </a:lnTo>
                  <a:lnTo>
                    <a:pt x="150" y="107"/>
                  </a:lnTo>
                  <a:lnTo>
                    <a:pt x="147" y="107"/>
                  </a:lnTo>
                  <a:lnTo>
                    <a:pt x="145" y="107"/>
                  </a:lnTo>
                  <a:lnTo>
                    <a:pt x="145" y="112"/>
                  </a:lnTo>
                  <a:lnTo>
                    <a:pt x="144" y="112"/>
                  </a:lnTo>
                  <a:lnTo>
                    <a:pt x="143" y="113"/>
                  </a:lnTo>
                  <a:lnTo>
                    <a:pt x="143" y="115"/>
                  </a:lnTo>
                  <a:lnTo>
                    <a:pt x="140" y="113"/>
                  </a:lnTo>
                  <a:lnTo>
                    <a:pt x="140" y="112"/>
                  </a:lnTo>
                  <a:lnTo>
                    <a:pt x="138" y="112"/>
                  </a:lnTo>
                  <a:lnTo>
                    <a:pt x="140" y="11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77" name="Freeform 691"/>
            <p:cNvSpPr>
              <a:spLocks/>
            </p:cNvSpPr>
            <p:nvPr/>
          </p:nvSpPr>
          <p:spPr bwMode="auto">
            <a:xfrm>
              <a:off x="6727285" y="2809138"/>
              <a:ext cx="21945" cy="26367"/>
            </a:xfrm>
            <a:custGeom>
              <a:avLst/>
              <a:gdLst/>
              <a:ahLst/>
              <a:cxnLst>
                <a:cxn ang="0">
                  <a:pos x="24" y="25"/>
                </a:cxn>
                <a:cxn ang="0">
                  <a:pos x="23" y="22"/>
                </a:cxn>
                <a:cxn ang="0">
                  <a:pos x="23" y="22"/>
                </a:cxn>
                <a:cxn ang="0">
                  <a:pos x="20" y="13"/>
                </a:cxn>
                <a:cxn ang="0">
                  <a:pos x="19" y="13"/>
                </a:cxn>
                <a:cxn ang="0">
                  <a:pos x="16" y="13"/>
                </a:cxn>
                <a:cxn ang="0">
                  <a:pos x="16" y="10"/>
                </a:cxn>
                <a:cxn ang="0">
                  <a:pos x="17" y="10"/>
                </a:cxn>
                <a:cxn ang="0">
                  <a:pos x="21" y="9"/>
                </a:cxn>
                <a:cxn ang="0">
                  <a:pos x="23" y="7"/>
                </a:cxn>
                <a:cxn ang="0">
                  <a:pos x="23" y="6"/>
                </a:cxn>
                <a:cxn ang="0">
                  <a:pos x="23" y="4"/>
                </a:cxn>
                <a:cxn ang="0">
                  <a:pos x="20" y="3"/>
                </a:cxn>
                <a:cxn ang="0">
                  <a:pos x="19" y="1"/>
                </a:cxn>
                <a:cxn ang="0">
                  <a:pos x="20" y="1"/>
                </a:cxn>
                <a:cxn ang="0">
                  <a:pos x="13" y="0"/>
                </a:cxn>
                <a:cxn ang="0">
                  <a:pos x="8" y="1"/>
                </a:cxn>
                <a:cxn ang="0">
                  <a:pos x="4" y="12"/>
                </a:cxn>
                <a:cxn ang="0">
                  <a:pos x="0" y="16"/>
                </a:cxn>
                <a:cxn ang="0">
                  <a:pos x="0" y="16"/>
                </a:cxn>
                <a:cxn ang="0">
                  <a:pos x="11" y="19"/>
                </a:cxn>
                <a:cxn ang="0">
                  <a:pos x="13" y="20"/>
                </a:cxn>
                <a:cxn ang="0">
                  <a:pos x="16" y="25"/>
                </a:cxn>
                <a:cxn ang="0">
                  <a:pos x="24" y="25"/>
                </a:cxn>
              </a:cxnLst>
              <a:rect l="0" t="0" r="r" b="b"/>
              <a:pathLst>
                <a:path w="24" h="25">
                  <a:moveTo>
                    <a:pt x="24" y="25"/>
                  </a:moveTo>
                  <a:lnTo>
                    <a:pt x="23" y="22"/>
                  </a:lnTo>
                  <a:lnTo>
                    <a:pt x="23" y="22"/>
                  </a:lnTo>
                  <a:lnTo>
                    <a:pt x="20" y="13"/>
                  </a:lnTo>
                  <a:lnTo>
                    <a:pt x="19" y="13"/>
                  </a:lnTo>
                  <a:lnTo>
                    <a:pt x="16" y="13"/>
                  </a:lnTo>
                  <a:lnTo>
                    <a:pt x="16" y="10"/>
                  </a:lnTo>
                  <a:lnTo>
                    <a:pt x="17" y="10"/>
                  </a:lnTo>
                  <a:lnTo>
                    <a:pt x="21" y="9"/>
                  </a:lnTo>
                  <a:lnTo>
                    <a:pt x="23" y="7"/>
                  </a:lnTo>
                  <a:lnTo>
                    <a:pt x="23" y="6"/>
                  </a:lnTo>
                  <a:lnTo>
                    <a:pt x="23" y="4"/>
                  </a:lnTo>
                  <a:lnTo>
                    <a:pt x="20" y="3"/>
                  </a:lnTo>
                  <a:lnTo>
                    <a:pt x="19" y="1"/>
                  </a:lnTo>
                  <a:lnTo>
                    <a:pt x="20" y="1"/>
                  </a:lnTo>
                  <a:lnTo>
                    <a:pt x="13" y="0"/>
                  </a:lnTo>
                  <a:lnTo>
                    <a:pt x="8" y="1"/>
                  </a:lnTo>
                  <a:lnTo>
                    <a:pt x="4" y="12"/>
                  </a:lnTo>
                  <a:lnTo>
                    <a:pt x="0" y="16"/>
                  </a:lnTo>
                  <a:lnTo>
                    <a:pt x="0" y="16"/>
                  </a:lnTo>
                  <a:lnTo>
                    <a:pt x="11" y="19"/>
                  </a:lnTo>
                  <a:lnTo>
                    <a:pt x="13" y="20"/>
                  </a:lnTo>
                  <a:lnTo>
                    <a:pt x="16" y="25"/>
                  </a:lnTo>
                  <a:lnTo>
                    <a:pt x="24" y="2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78" name="Freeform 692"/>
            <p:cNvSpPr>
              <a:spLocks/>
            </p:cNvSpPr>
            <p:nvPr/>
          </p:nvSpPr>
          <p:spPr bwMode="auto">
            <a:xfrm>
              <a:off x="6727285" y="2809138"/>
              <a:ext cx="21945" cy="26367"/>
            </a:xfrm>
            <a:custGeom>
              <a:avLst/>
              <a:gdLst/>
              <a:ahLst/>
              <a:cxnLst>
                <a:cxn ang="0">
                  <a:pos x="24" y="25"/>
                </a:cxn>
                <a:cxn ang="0">
                  <a:pos x="23" y="22"/>
                </a:cxn>
                <a:cxn ang="0">
                  <a:pos x="23" y="22"/>
                </a:cxn>
                <a:cxn ang="0">
                  <a:pos x="20" y="13"/>
                </a:cxn>
                <a:cxn ang="0">
                  <a:pos x="19" y="13"/>
                </a:cxn>
                <a:cxn ang="0">
                  <a:pos x="16" y="13"/>
                </a:cxn>
                <a:cxn ang="0">
                  <a:pos x="16" y="10"/>
                </a:cxn>
                <a:cxn ang="0">
                  <a:pos x="17" y="10"/>
                </a:cxn>
                <a:cxn ang="0">
                  <a:pos x="21" y="9"/>
                </a:cxn>
                <a:cxn ang="0">
                  <a:pos x="23" y="7"/>
                </a:cxn>
                <a:cxn ang="0">
                  <a:pos x="23" y="6"/>
                </a:cxn>
                <a:cxn ang="0">
                  <a:pos x="23" y="4"/>
                </a:cxn>
                <a:cxn ang="0">
                  <a:pos x="20" y="3"/>
                </a:cxn>
                <a:cxn ang="0">
                  <a:pos x="19" y="1"/>
                </a:cxn>
                <a:cxn ang="0">
                  <a:pos x="20" y="1"/>
                </a:cxn>
                <a:cxn ang="0">
                  <a:pos x="13" y="0"/>
                </a:cxn>
                <a:cxn ang="0">
                  <a:pos x="8" y="1"/>
                </a:cxn>
                <a:cxn ang="0">
                  <a:pos x="4" y="12"/>
                </a:cxn>
                <a:cxn ang="0">
                  <a:pos x="0" y="16"/>
                </a:cxn>
                <a:cxn ang="0">
                  <a:pos x="0" y="16"/>
                </a:cxn>
                <a:cxn ang="0">
                  <a:pos x="11" y="19"/>
                </a:cxn>
                <a:cxn ang="0">
                  <a:pos x="13" y="20"/>
                </a:cxn>
                <a:cxn ang="0">
                  <a:pos x="16" y="25"/>
                </a:cxn>
                <a:cxn ang="0">
                  <a:pos x="24" y="25"/>
                </a:cxn>
              </a:cxnLst>
              <a:rect l="0" t="0" r="r" b="b"/>
              <a:pathLst>
                <a:path w="24" h="25">
                  <a:moveTo>
                    <a:pt x="24" y="25"/>
                  </a:moveTo>
                  <a:lnTo>
                    <a:pt x="23" y="22"/>
                  </a:lnTo>
                  <a:lnTo>
                    <a:pt x="23" y="22"/>
                  </a:lnTo>
                  <a:lnTo>
                    <a:pt x="20" y="13"/>
                  </a:lnTo>
                  <a:lnTo>
                    <a:pt x="19" y="13"/>
                  </a:lnTo>
                  <a:lnTo>
                    <a:pt x="16" y="13"/>
                  </a:lnTo>
                  <a:lnTo>
                    <a:pt x="16" y="10"/>
                  </a:lnTo>
                  <a:lnTo>
                    <a:pt x="17" y="10"/>
                  </a:lnTo>
                  <a:lnTo>
                    <a:pt x="21" y="9"/>
                  </a:lnTo>
                  <a:lnTo>
                    <a:pt x="23" y="7"/>
                  </a:lnTo>
                  <a:lnTo>
                    <a:pt x="23" y="6"/>
                  </a:lnTo>
                  <a:lnTo>
                    <a:pt x="23" y="4"/>
                  </a:lnTo>
                  <a:lnTo>
                    <a:pt x="20" y="3"/>
                  </a:lnTo>
                  <a:lnTo>
                    <a:pt x="19" y="1"/>
                  </a:lnTo>
                  <a:lnTo>
                    <a:pt x="20" y="1"/>
                  </a:lnTo>
                  <a:lnTo>
                    <a:pt x="13" y="0"/>
                  </a:lnTo>
                  <a:lnTo>
                    <a:pt x="8" y="1"/>
                  </a:lnTo>
                  <a:lnTo>
                    <a:pt x="4" y="12"/>
                  </a:lnTo>
                  <a:lnTo>
                    <a:pt x="0" y="16"/>
                  </a:lnTo>
                  <a:lnTo>
                    <a:pt x="0" y="16"/>
                  </a:lnTo>
                  <a:lnTo>
                    <a:pt x="11" y="19"/>
                  </a:lnTo>
                  <a:lnTo>
                    <a:pt x="13" y="20"/>
                  </a:lnTo>
                  <a:lnTo>
                    <a:pt x="16" y="25"/>
                  </a:lnTo>
                  <a:lnTo>
                    <a:pt x="24" y="2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79" name="Freeform 693"/>
            <p:cNvSpPr>
              <a:spLocks/>
            </p:cNvSpPr>
            <p:nvPr/>
          </p:nvSpPr>
          <p:spPr bwMode="auto">
            <a:xfrm>
              <a:off x="6913379" y="2686430"/>
              <a:ext cx="218572" cy="227166"/>
            </a:xfrm>
            <a:custGeom>
              <a:avLst/>
              <a:gdLst/>
              <a:ahLst/>
              <a:cxnLst>
                <a:cxn ang="0">
                  <a:pos x="35" y="169"/>
                </a:cxn>
                <a:cxn ang="0">
                  <a:pos x="13" y="143"/>
                </a:cxn>
                <a:cxn ang="0">
                  <a:pos x="22" y="130"/>
                </a:cxn>
                <a:cxn ang="0">
                  <a:pos x="46" y="127"/>
                </a:cxn>
                <a:cxn ang="0">
                  <a:pos x="78" y="119"/>
                </a:cxn>
                <a:cxn ang="0">
                  <a:pos x="80" y="103"/>
                </a:cxn>
                <a:cxn ang="0">
                  <a:pos x="97" y="98"/>
                </a:cxn>
                <a:cxn ang="0">
                  <a:pos x="100" y="92"/>
                </a:cxn>
                <a:cxn ang="0">
                  <a:pos x="107" y="90"/>
                </a:cxn>
                <a:cxn ang="0">
                  <a:pos x="113" y="93"/>
                </a:cxn>
                <a:cxn ang="0">
                  <a:pos x="120" y="76"/>
                </a:cxn>
                <a:cxn ang="0">
                  <a:pos x="123" y="69"/>
                </a:cxn>
                <a:cxn ang="0">
                  <a:pos x="134" y="61"/>
                </a:cxn>
                <a:cxn ang="0">
                  <a:pos x="139" y="53"/>
                </a:cxn>
                <a:cxn ang="0">
                  <a:pos x="144" y="45"/>
                </a:cxn>
                <a:cxn ang="0">
                  <a:pos x="152" y="31"/>
                </a:cxn>
                <a:cxn ang="0">
                  <a:pos x="147" y="18"/>
                </a:cxn>
                <a:cxn ang="0">
                  <a:pos x="152" y="10"/>
                </a:cxn>
                <a:cxn ang="0">
                  <a:pos x="160" y="8"/>
                </a:cxn>
                <a:cxn ang="0">
                  <a:pos x="167" y="3"/>
                </a:cxn>
                <a:cxn ang="0">
                  <a:pos x="184" y="2"/>
                </a:cxn>
                <a:cxn ang="0">
                  <a:pos x="196" y="2"/>
                </a:cxn>
                <a:cxn ang="0">
                  <a:pos x="205" y="2"/>
                </a:cxn>
                <a:cxn ang="0">
                  <a:pos x="209" y="5"/>
                </a:cxn>
                <a:cxn ang="0">
                  <a:pos x="215" y="15"/>
                </a:cxn>
                <a:cxn ang="0">
                  <a:pos x="218" y="21"/>
                </a:cxn>
                <a:cxn ang="0">
                  <a:pos x="224" y="22"/>
                </a:cxn>
                <a:cxn ang="0">
                  <a:pos x="228" y="35"/>
                </a:cxn>
                <a:cxn ang="0">
                  <a:pos x="225" y="38"/>
                </a:cxn>
                <a:cxn ang="0">
                  <a:pos x="215" y="41"/>
                </a:cxn>
                <a:cxn ang="0">
                  <a:pos x="209" y="42"/>
                </a:cxn>
                <a:cxn ang="0">
                  <a:pos x="189" y="38"/>
                </a:cxn>
                <a:cxn ang="0">
                  <a:pos x="183" y="45"/>
                </a:cxn>
                <a:cxn ang="0">
                  <a:pos x="184" y="50"/>
                </a:cxn>
                <a:cxn ang="0">
                  <a:pos x="189" y="53"/>
                </a:cxn>
                <a:cxn ang="0">
                  <a:pos x="189" y="61"/>
                </a:cxn>
                <a:cxn ang="0">
                  <a:pos x="192" y="70"/>
                </a:cxn>
                <a:cxn ang="0">
                  <a:pos x="196" y="76"/>
                </a:cxn>
                <a:cxn ang="0">
                  <a:pos x="206" y="82"/>
                </a:cxn>
                <a:cxn ang="0">
                  <a:pos x="200" y="86"/>
                </a:cxn>
                <a:cxn ang="0">
                  <a:pos x="196" y="95"/>
                </a:cxn>
                <a:cxn ang="0">
                  <a:pos x="195" y="101"/>
                </a:cxn>
                <a:cxn ang="0">
                  <a:pos x="197" y="103"/>
                </a:cxn>
                <a:cxn ang="0">
                  <a:pos x="186" y="111"/>
                </a:cxn>
                <a:cxn ang="0">
                  <a:pos x="179" y="121"/>
                </a:cxn>
                <a:cxn ang="0">
                  <a:pos x="152" y="154"/>
                </a:cxn>
                <a:cxn ang="0">
                  <a:pos x="138" y="151"/>
                </a:cxn>
                <a:cxn ang="0">
                  <a:pos x="123" y="173"/>
                </a:cxn>
                <a:cxn ang="0">
                  <a:pos x="132" y="176"/>
                </a:cxn>
                <a:cxn ang="0">
                  <a:pos x="135" y="189"/>
                </a:cxn>
                <a:cxn ang="0">
                  <a:pos x="141" y="198"/>
                </a:cxn>
                <a:cxn ang="0">
                  <a:pos x="144" y="205"/>
                </a:cxn>
                <a:cxn ang="0">
                  <a:pos x="142" y="210"/>
                </a:cxn>
                <a:cxn ang="0">
                  <a:pos x="138" y="210"/>
                </a:cxn>
                <a:cxn ang="0">
                  <a:pos x="126" y="212"/>
                </a:cxn>
                <a:cxn ang="0">
                  <a:pos x="115" y="211"/>
                </a:cxn>
                <a:cxn ang="0">
                  <a:pos x="107" y="215"/>
                </a:cxn>
                <a:cxn ang="0">
                  <a:pos x="102" y="218"/>
                </a:cxn>
                <a:cxn ang="0">
                  <a:pos x="91" y="212"/>
                </a:cxn>
                <a:cxn ang="0">
                  <a:pos x="81" y="195"/>
                </a:cxn>
                <a:cxn ang="0">
                  <a:pos x="51" y="195"/>
                </a:cxn>
                <a:cxn ang="0">
                  <a:pos x="23" y="195"/>
                </a:cxn>
                <a:cxn ang="0">
                  <a:pos x="12" y="198"/>
                </a:cxn>
              </a:cxnLst>
              <a:rect l="0" t="0" r="r" b="b"/>
              <a:pathLst>
                <a:path w="238" h="218">
                  <a:moveTo>
                    <a:pt x="10" y="196"/>
                  </a:moveTo>
                  <a:lnTo>
                    <a:pt x="13" y="182"/>
                  </a:lnTo>
                  <a:lnTo>
                    <a:pt x="19" y="176"/>
                  </a:lnTo>
                  <a:lnTo>
                    <a:pt x="30" y="173"/>
                  </a:lnTo>
                  <a:lnTo>
                    <a:pt x="33" y="170"/>
                  </a:lnTo>
                  <a:lnTo>
                    <a:pt x="35" y="169"/>
                  </a:lnTo>
                  <a:lnTo>
                    <a:pt x="33" y="166"/>
                  </a:lnTo>
                  <a:lnTo>
                    <a:pt x="32" y="164"/>
                  </a:lnTo>
                  <a:lnTo>
                    <a:pt x="28" y="163"/>
                  </a:lnTo>
                  <a:lnTo>
                    <a:pt x="26" y="148"/>
                  </a:lnTo>
                  <a:lnTo>
                    <a:pt x="25" y="147"/>
                  </a:lnTo>
                  <a:lnTo>
                    <a:pt x="13" y="143"/>
                  </a:lnTo>
                  <a:lnTo>
                    <a:pt x="10" y="140"/>
                  </a:lnTo>
                  <a:lnTo>
                    <a:pt x="4" y="130"/>
                  </a:lnTo>
                  <a:lnTo>
                    <a:pt x="0" y="124"/>
                  </a:lnTo>
                  <a:lnTo>
                    <a:pt x="0" y="122"/>
                  </a:lnTo>
                  <a:lnTo>
                    <a:pt x="0" y="122"/>
                  </a:lnTo>
                  <a:lnTo>
                    <a:pt x="22" y="130"/>
                  </a:lnTo>
                  <a:lnTo>
                    <a:pt x="23" y="130"/>
                  </a:lnTo>
                  <a:lnTo>
                    <a:pt x="25" y="128"/>
                  </a:lnTo>
                  <a:lnTo>
                    <a:pt x="41" y="127"/>
                  </a:lnTo>
                  <a:lnTo>
                    <a:pt x="45" y="130"/>
                  </a:lnTo>
                  <a:lnTo>
                    <a:pt x="46" y="128"/>
                  </a:lnTo>
                  <a:lnTo>
                    <a:pt x="46" y="127"/>
                  </a:lnTo>
                  <a:lnTo>
                    <a:pt x="48" y="127"/>
                  </a:lnTo>
                  <a:lnTo>
                    <a:pt x="49" y="127"/>
                  </a:lnTo>
                  <a:lnTo>
                    <a:pt x="59" y="127"/>
                  </a:lnTo>
                  <a:lnTo>
                    <a:pt x="75" y="122"/>
                  </a:lnTo>
                  <a:lnTo>
                    <a:pt x="77" y="121"/>
                  </a:lnTo>
                  <a:lnTo>
                    <a:pt x="78" y="119"/>
                  </a:lnTo>
                  <a:lnTo>
                    <a:pt x="77" y="118"/>
                  </a:lnTo>
                  <a:lnTo>
                    <a:pt x="77" y="117"/>
                  </a:lnTo>
                  <a:lnTo>
                    <a:pt x="78" y="112"/>
                  </a:lnTo>
                  <a:lnTo>
                    <a:pt x="77" y="109"/>
                  </a:lnTo>
                  <a:lnTo>
                    <a:pt x="78" y="105"/>
                  </a:lnTo>
                  <a:lnTo>
                    <a:pt x="80" y="103"/>
                  </a:lnTo>
                  <a:lnTo>
                    <a:pt x="83" y="101"/>
                  </a:lnTo>
                  <a:lnTo>
                    <a:pt x="84" y="99"/>
                  </a:lnTo>
                  <a:lnTo>
                    <a:pt x="86" y="98"/>
                  </a:lnTo>
                  <a:lnTo>
                    <a:pt x="87" y="98"/>
                  </a:lnTo>
                  <a:lnTo>
                    <a:pt x="87" y="99"/>
                  </a:lnTo>
                  <a:lnTo>
                    <a:pt x="97" y="98"/>
                  </a:lnTo>
                  <a:lnTo>
                    <a:pt x="97" y="98"/>
                  </a:lnTo>
                  <a:lnTo>
                    <a:pt x="97" y="96"/>
                  </a:lnTo>
                  <a:lnTo>
                    <a:pt x="96" y="96"/>
                  </a:lnTo>
                  <a:lnTo>
                    <a:pt x="96" y="95"/>
                  </a:lnTo>
                  <a:lnTo>
                    <a:pt x="97" y="95"/>
                  </a:lnTo>
                  <a:lnTo>
                    <a:pt x="100" y="92"/>
                  </a:lnTo>
                  <a:lnTo>
                    <a:pt x="102" y="90"/>
                  </a:lnTo>
                  <a:lnTo>
                    <a:pt x="103" y="90"/>
                  </a:lnTo>
                  <a:lnTo>
                    <a:pt x="104" y="90"/>
                  </a:lnTo>
                  <a:lnTo>
                    <a:pt x="109" y="92"/>
                  </a:lnTo>
                  <a:lnTo>
                    <a:pt x="109" y="90"/>
                  </a:lnTo>
                  <a:lnTo>
                    <a:pt x="107" y="90"/>
                  </a:lnTo>
                  <a:lnTo>
                    <a:pt x="109" y="89"/>
                  </a:lnTo>
                  <a:lnTo>
                    <a:pt x="109" y="89"/>
                  </a:lnTo>
                  <a:lnTo>
                    <a:pt x="112" y="90"/>
                  </a:lnTo>
                  <a:lnTo>
                    <a:pt x="112" y="92"/>
                  </a:lnTo>
                  <a:lnTo>
                    <a:pt x="112" y="93"/>
                  </a:lnTo>
                  <a:lnTo>
                    <a:pt x="113" y="93"/>
                  </a:lnTo>
                  <a:lnTo>
                    <a:pt x="115" y="93"/>
                  </a:lnTo>
                  <a:lnTo>
                    <a:pt x="119" y="87"/>
                  </a:lnTo>
                  <a:lnTo>
                    <a:pt x="119" y="87"/>
                  </a:lnTo>
                  <a:lnTo>
                    <a:pt x="119" y="80"/>
                  </a:lnTo>
                  <a:lnTo>
                    <a:pt x="119" y="79"/>
                  </a:lnTo>
                  <a:lnTo>
                    <a:pt x="120" y="76"/>
                  </a:lnTo>
                  <a:lnTo>
                    <a:pt x="120" y="76"/>
                  </a:lnTo>
                  <a:lnTo>
                    <a:pt x="122" y="74"/>
                  </a:lnTo>
                  <a:lnTo>
                    <a:pt x="120" y="73"/>
                  </a:lnTo>
                  <a:lnTo>
                    <a:pt x="122" y="71"/>
                  </a:lnTo>
                  <a:lnTo>
                    <a:pt x="123" y="71"/>
                  </a:lnTo>
                  <a:lnTo>
                    <a:pt x="123" y="69"/>
                  </a:lnTo>
                  <a:lnTo>
                    <a:pt x="126" y="67"/>
                  </a:lnTo>
                  <a:lnTo>
                    <a:pt x="129" y="67"/>
                  </a:lnTo>
                  <a:lnTo>
                    <a:pt x="132" y="64"/>
                  </a:lnTo>
                  <a:lnTo>
                    <a:pt x="134" y="63"/>
                  </a:lnTo>
                  <a:lnTo>
                    <a:pt x="134" y="63"/>
                  </a:lnTo>
                  <a:lnTo>
                    <a:pt x="134" y="61"/>
                  </a:lnTo>
                  <a:lnTo>
                    <a:pt x="132" y="57"/>
                  </a:lnTo>
                  <a:lnTo>
                    <a:pt x="131" y="57"/>
                  </a:lnTo>
                  <a:lnTo>
                    <a:pt x="129" y="54"/>
                  </a:lnTo>
                  <a:lnTo>
                    <a:pt x="129" y="53"/>
                  </a:lnTo>
                  <a:lnTo>
                    <a:pt x="131" y="51"/>
                  </a:lnTo>
                  <a:lnTo>
                    <a:pt x="139" y="53"/>
                  </a:lnTo>
                  <a:lnTo>
                    <a:pt x="144" y="51"/>
                  </a:lnTo>
                  <a:lnTo>
                    <a:pt x="145" y="50"/>
                  </a:lnTo>
                  <a:lnTo>
                    <a:pt x="145" y="47"/>
                  </a:lnTo>
                  <a:lnTo>
                    <a:pt x="147" y="47"/>
                  </a:lnTo>
                  <a:lnTo>
                    <a:pt x="145" y="45"/>
                  </a:lnTo>
                  <a:lnTo>
                    <a:pt x="144" y="45"/>
                  </a:lnTo>
                  <a:lnTo>
                    <a:pt x="144" y="44"/>
                  </a:lnTo>
                  <a:lnTo>
                    <a:pt x="145" y="42"/>
                  </a:lnTo>
                  <a:lnTo>
                    <a:pt x="147" y="41"/>
                  </a:lnTo>
                  <a:lnTo>
                    <a:pt x="151" y="35"/>
                  </a:lnTo>
                  <a:lnTo>
                    <a:pt x="152" y="34"/>
                  </a:lnTo>
                  <a:lnTo>
                    <a:pt x="152" y="31"/>
                  </a:lnTo>
                  <a:lnTo>
                    <a:pt x="152" y="31"/>
                  </a:lnTo>
                  <a:lnTo>
                    <a:pt x="152" y="29"/>
                  </a:lnTo>
                  <a:lnTo>
                    <a:pt x="154" y="28"/>
                  </a:lnTo>
                  <a:lnTo>
                    <a:pt x="154" y="26"/>
                  </a:lnTo>
                  <a:lnTo>
                    <a:pt x="151" y="21"/>
                  </a:lnTo>
                  <a:lnTo>
                    <a:pt x="147" y="18"/>
                  </a:lnTo>
                  <a:lnTo>
                    <a:pt x="147" y="18"/>
                  </a:lnTo>
                  <a:lnTo>
                    <a:pt x="147" y="16"/>
                  </a:lnTo>
                  <a:lnTo>
                    <a:pt x="148" y="15"/>
                  </a:lnTo>
                  <a:lnTo>
                    <a:pt x="152" y="12"/>
                  </a:lnTo>
                  <a:lnTo>
                    <a:pt x="152" y="10"/>
                  </a:lnTo>
                  <a:lnTo>
                    <a:pt x="152" y="10"/>
                  </a:lnTo>
                  <a:lnTo>
                    <a:pt x="154" y="10"/>
                  </a:lnTo>
                  <a:lnTo>
                    <a:pt x="155" y="10"/>
                  </a:lnTo>
                  <a:lnTo>
                    <a:pt x="157" y="10"/>
                  </a:lnTo>
                  <a:lnTo>
                    <a:pt x="157" y="9"/>
                  </a:lnTo>
                  <a:lnTo>
                    <a:pt x="157" y="9"/>
                  </a:lnTo>
                  <a:lnTo>
                    <a:pt x="160" y="8"/>
                  </a:lnTo>
                  <a:lnTo>
                    <a:pt x="160" y="8"/>
                  </a:lnTo>
                  <a:lnTo>
                    <a:pt x="160" y="6"/>
                  </a:lnTo>
                  <a:lnTo>
                    <a:pt x="161" y="6"/>
                  </a:lnTo>
                  <a:lnTo>
                    <a:pt x="163" y="5"/>
                  </a:lnTo>
                  <a:lnTo>
                    <a:pt x="164" y="5"/>
                  </a:lnTo>
                  <a:lnTo>
                    <a:pt x="167" y="3"/>
                  </a:lnTo>
                  <a:lnTo>
                    <a:pt x="168" y="3"/>
                  </a:lnTo>
                  <a:lnTo>
                    <a:pt x="171" y="2"/>
                  </a:lnTo>
                  <a:lnTo>
                    <a:pt x="173" y="2"/>
                  </a:lnTo>
                  <a:lnTo>
                    <a:pt x="181" y="2"/>
                  </a:lnTo>
                  <a:lnTo>
                    <a:pt x="181" y="2"/>
                  </a:lnTo>
                  <a:lnTo>
                    <a:pt x="184" y="2"/>
                  </a:lnTo>
                  <a:lnTo>
                    <a:pt x="187" y="3"/>
                  </a:lnTo>
                  <a:lnTo>
                    <a:pt x="189" y="3"/>
                  </a:lnTo>
                  <a:lnTo>
                    <a:pt x="190" y="2"/>
                  </a:lnTo>
                  <a:lnTo>
                    <a:pt x="192" y="2"/>
                  </a:lnTo>
                  <a:lnTo>
                    <a:pt x="193" y="0"/>
                  </a:lnTo>
                  <a:lnTo>
                    <a:pt x="196" y="2"/>
                  </a:lnTo>
                  <a:lnTo>
                    <a:pt x="196" y="0"/>
                  </a:lnTo>
                  <a:lnTo>
                    <a:pt x="196" y="0"/>
                  </a:lnTo>
                  <a:lnTo>
                    <a:pt x="197" y="2"/>
                  </a:lnTo>
                  <a:lnTo>
                    <a:pt x="202" y="0"/>
                  </a:lnTo>
                  <a:lnTo>
                    <a:pt x="203" y="0"/>
                  </a:lnTo>
                  <a:lnTo>
                    <a:pt x="205" y="2"/>
                  </a:lnTo>
                  <a:lnTo>
                    <a:pt x="206" y="2"/>
                  </a:lnTo>
                  <a:lnTo>
                    <a:pt x="206" y="2"/>
                  </a:lnTo>
                  <a:lnTo>
                    <a:pt x="206" y="5"/>
                  </a:lnTo>
                  <a:lnTo>
                    <a:pt x="206" y="6"/>
                  </a:lnTo>
                  <a:lnTo>
                    <a:pt x="209" y="5"/>
                  </a:lnTo>
                  <a:lnTo>
                    <a:pt x="209" y="5"/>
                  </a:lnTo>
                  <a:lnTo>
                    <a:pt x="213" y="8"/>
                  </a:lnTo>
                  <a:lnTo>
                    <a:pt x="215" y="9"/>
                  </a:lnTo>
                  <a:lnTo>
                    <a:pt x="215" y="13"/>
                  </a:lnTo>
                  <a:lnTo>
                    <a:pt x="215" y="13"/>
                  </a:lnTo>
                  <a:lnTo>
                    <a:pt x="215" y="15"/>
                  </a:lnTo>
                  <a:lnTo>
                    <a:pt x="215" y="15"/>
                  </a:lnTo>
                  <a:lnTo>
                    <a:pt x="213" y="16"/>
                  </a:lnTo>
                  <a:lnTo>
                    <a:pt x="213" y="16"/>
                  </a:lnTo>
                  <a:lnTo>
                    <a:pt x="213" y="18"/>
                  </a:lnTo>
                  <a:lnTo>
                    <a:pt x="216" y="18"/>
                  </a:lnTo>
                  <a:lnTo>
                    <a:pt x="218" y="21"/>
                  </a:lnTo>
                  <a:lnTo>
                    <a:pt x="218" y="21"/>
                  </a:lnTo>
                  <a:lnTo>
                    <a:pt x="219" y="21"/>
                  </a:lnTo>
                  <a:lnTo>
                    <a:pt x="221" y="21"/>
                  </a:lnTo>
                  <a:lnTo>
                    <a:pt x="222" y="19"/>
                  </a:lnTo>
                  <a:lnTo>
                    <a:pt x="222" y="19"/>
                  </a:lnTo>
                  <a:lnTo>
                    <a:pt x="224" y="21"/>
                  </a:lnTo>
                  <a:lnTo>
                    <a:pt x="224" y="22"/>
                  </a:lnTo>
                  <a:lnTo>
                    <a:pt x="232" y="26"/>
                  </a:lnTo>
                  <a:lnTo>
                    <a:pt x="234" y="26"/>
                  </a:lnTo>
                  <a:lnTo>
                    <a:pt x="235" y="28"/>
                  </a:lnTo>
                  <a:lnTo>
                    <a:pt x="238" y="28"/>
                  </a:lnTo>
                  <a:lnTo>
                    <a:pt x="229" y="34"/>
                  </a:lnTo>
                  <a:lnTo>
                    <a:pt x="228" y="35"/>
                  </a:lnTo>
                  <a:lnTo>
                    <a:pt x="229" y="37"/>
                  </a:lnTo>
                  <a:lnTo>
                    <a:pt x="229" y="37"/>
                  </a:lnTo>
                  <a:lnTo>
                    <a:pt x="228" y="39"/>
                  </a:lnTo>
                  <a:lnTo>
                    <a:pt x="226" y="39"/>
                  </a:lnTo>
                  <a:lnTo>
                    <a:pt x="226" y="39"/>
                  </a:lnTo>
                  <a:lnTo>
                    <a:pt x="225" y="38"/>
                  </a:lnTo>
                  <a:lnTo>
                    <a:pt x="221" y="39"/>
                  </a:lnTo>
                  <a:lnTo>
                    <a:pt x="219" y="39"/>
                  </a:lnTo>
                  <a:lnTo>
                    <a:pt x="218" y="41"/>
                  </a:lnTo>
                  <a:lnTo>
                    <a:pt x="218" y="41"/>
                  </a:lnTo>
                  <a:lnTo>
                    <a:pt x="216" y="41"/>
                  </a:lnTo>
                  <a:lnTo>
                    <a:pt x="215" y="41"/>
                  </a:lnTo>
                  <a:lnTo>
                    <a:pt x="213" y="41"/>
                  </a:lnTo>
                  <a:lnTo>
                    <a:pt x="212" y="42"/>
                  </a:lnTo>
                  <a:lnTo>
                    <a:pt x="212" y="42"/>
                  </a:lnTo>
                  <a:lnTo>
                    <a:pt x="210" y="42"/>
                  </a:lnTo>
                  <a:lnTo>
                    <a:pt x="209" y="42"/>
                  </a:lnTo>
                  <a:lnTo>
                    <a:pt x="209" y="42"/>
                  </a:lnTo>
                  <a:lnTo>
                    <a:pt x="208" y="42"/>
                  </a:lnTo>
                  <a:lnTo>
                    <a:pt x="205" y="42"/>
                  </a:lnTo>
                  <a:lnTo>
                    <a:pt x="203" y="42"/>
                  </a:lnTo>
                  <a:lnTo>
                    <a:pt x="202" y="42"/>
                  </a:lnTo>
                  <a:lnTo>
                    <a:pt x="190" y="38"/>
                  </a:lnTo>
                  <a:lnTo>
                    <a:pt x="189" y="38"/>
                  </a:lnTo>
                  <a:lnTo>
                    <a:pt x="189" y="39"/>
                  </a:lnTo>
                  <a:lnTo>
                    <a:pt x="186" y="39"/>
                  </a:lnTo>
                  <a:lnTo>
                    <a:pt x="186" y="39"/>
                  </a:lnTo>
                  <a:lnTo>
                    <a:pt x="184" y="39"/>
                  </a:lnTo>
                  <a:lnTo>
                    <a:pt x="184" y="42"/>
                  </a:lnTo>
                  <a:lnTo>
                    <a:pt x="183" y="45"/>
                  </a:lnTo>
                  <a:lnTo>
                    <a:pt x="183" y="45"/>
                  </a:lnTo>
                  <a:lnTo>
                    <a:pt x="186" y="45"/>
                  </a:lnTo>
                  <a:lnTo>
                    <a:pt x="186" y="47"/>
                  </a:lnTo>
                  <a:lnTo>
                    <a:pt x="186" y="48"/>
                  </a:lnTo>
                  <a:lnTo>
                    <a:pt x="184" y="48"/>
                  </a:lnTo>
                  <a:lnTo>
                    <a:pt x="184" y="50"/>
                  </a:lnTo>
                  <a:lnTo>
                    <a:pt x="184" y="50"/>
                  </a:lnTo>
                  <a:lnTo>
                    <a:pt x="184" y="51"/>
                  </a:lnTo>
                  <a:lnTo>
                    <a:pt x="186" y="51"/>
                  </a:lnTo>
                  <a:lnTo>
                    <a:pt x="189" y="51"/>
                  </a:lnTo>
                  <a:lnTo>
                    <a:pt x="189" y="51"/>
                  </a:lnTo>
                  <a:lnTo>
                    <a:pt x="189" y="53"/>
                  </a:lnTo>
                  <a:lnTo>
                    <a:pt x="189" y="53"/>
                  </a:lnTo>
                  <a:lnTo>
                    <a:pt x="189" y="54"/>
                  </a:lnTo>
                  <a:lnTo>
                    <a:pt x="186" y="55"/>
                  </a:lnTo>
                  <a:lnTo>
                    <a:pt x="186" y="57"/>
                  </a:lnTo>
                  <a:lnTo>
                    <a:pt x="189" y="60"/>
                  </a:lnTo>
                  <a:lnTo>
                    <a:pt x="189" y="61"/>
                  </a:lnTo>
                  <a:lnTo>
                    <a:pt x="189" y="63"/>
                  </a:lnTo>
                  <a:lnTo>
                    <a:pt x="186" y="64"/>
                  </a:lnTo>
                  <a:lnTo>
                    <a:pt x="186" y="66"/>
                  </a:lnTo>
                  <a:lnTo>
                    <a:pt x="187" y="66"/>
                  </a:lnTo>
                  <a:lnTo>
                    <a:pt x="189" y="69"/>
                  </a:lnTo>
                  <a:lnTo>
                    <a:pt x="192" y="70"/>
                  </a:lnTo>
                  <a:lnTo>
                    <a:pt x="190" y="73"/>
                  </a:lnTo>
                  <a:lnTo>
                    <a:pt x="193" y="73"/>
                  </a:lnTo>
                  <a:lnTo>
                    <a:pt x="193" y="73"/>
                  </a:lnTo>
                  <a:lnTo>
                    <a:pt x="195" y="73"/>
                  </a:lnTo>
                  <a:lnTo>
                    <a:pt x="196" y="73"/>
                  </a:lnTo>
                  <a:lnTo>
                    <a:pt x="196" y="76"/>
                  </a:lnTo>
                  <a:lnTo>
                    <a:pt x="196" y="77"/>
                  </a:lnTo>
                  <a:lnTo>
                    <a:pt x="197" y="79"/>
                  </a:lnTo>
                  <a:lnTo>
                    <a:pt x="202" y="79"/>
                  </a:lnTo>
                  <a:lnTo>
                    <a:pt x="203" y="80"/>
                  </a:lnTo>
                  <a:lnTo>
                    <a:pt x="205" y="79"/>
                  </a:lnTo>
                  <a:lnTo>
                    <a:pt x="206" y="82"/>
                  </a:lnTo>
                  <a:lnTo>
                    <a:pt x="205" y="83"/>
                  </a:lnTo>
                  <a:lnTo>
                    <a:pt x="206" y="83"/>
                  </a:lnTo>
                  <a:lnTo>
                    <a:pt x="205" y="85"/>
                  </a:lnTo>
                  <a:lnTo>
                    <a:pt x="205" y="86"/>
                  </a:lnTo>
                  <a:lnTo>
                    <a:pt x="202" y="86"/>
                  </a:lnTo>
                  <a:lnTo>
                    <a:pt x="200" y="86"/>
                  </a:lnTo>
                  <a:lnTo>
                    <a:pt x="199" y="86"/>
                  </a:lnTo>
                  <a:lnTo>
                    <a:pt x="199" y="86"/>
                  </a:lnTo>
                  <a:lnTo>
                    <a:pt x="196" y="87"/>
                  </a:lnTo>
                  <a:lnTo>
                    <a:pt x="195" y="90"/>
                  </a:lnTo>
                  <a:lnTo>
                    <a:pt x="195" y="92"/>
                  </a:lnTo>
                  <a:lnTo>
                    <a:pt x="196" y="95"/>
                  </a:lnTo>
                  <a:lnTo>
                    <a:pt x="196" y="96"/>
                  </a:lnTo>
                  <a:lnTo>
                    <a:pt x="196" y="96"/>
                  </a:lnTo>
                  <a:lnTo>
                    <a:pt x="196" y="96"/>
                  </a:lnTo>
                  <a:lnTo>
                    <a:pt x="196" y="98"/>
                  </a:lnTo>
                  <a:lnTo>
                    <a:pt x="195" y="99"/>
                  </a:lnTo>
                  <a:lnTo>
                    <a:pt x="195" y="101"/>
                  </a:lnTo>
                  <a:lnTo>
                    <a:pt x="195" y="101"/>
                  </a:lnTo>
                  <a:lnTo>
                    <a:pt x="195" y="101"/>
                  </a:lnTo>
                  <a:lnTo>
                    <a:pt x="197" y="101"/>
                  </a:lnTo>
                  <a:lnTo>
                    <a:pt x="197" y="102"/>
                  </a:lnTo>
                  <a:lnTo>
                    <a:pt x="197" y="103"/>
                  </a:lnTo>
                  <a:lnTo>
                    <a:pt x="197" y="103"/>
                  </a:lnTo>
                  <a:lnTo>
                    <a:pt x="196" y="103"/>
                  </a:lnTo>
                  <a:lnTo>
                    <a:pt x="195" y="102"/>
                  </a:lnTo>
                  <a:lnTo>
                    <a:pt x="195" y="105"/>
                  </a:lnTo>
                  <a:lnTo>
                    <a:pt x="190" y="106"/>
                  </a:lnTo>
                  <a:lnTo>
                    <a:pt x="187" y="109"/>
                  </a:lnTo>
                  <a:lnTo>
                    <a:pt x="186" y="111"/>
                  </a:lnTo>
                  <a:lnTo>
                    <a:pt x="184" y="114"/>
                  </a:lnTo>
                  <a:lnTo>
                    <a:pt x="184" y="115"/>
                  </a:lnTo>
                  <a:lnTo>
                    <a:pt x="184" y="117"/>
                  </a:lnTo>
                  <a:lnTo>
                    <a:pt x="183" y="119"/>
                  </a:lnTo>
                  <a:lnTo>
                    <a:pt x="181" y="121"/>
                  </a:lnTo>
                  <a:lnTo>
                    <a:pt x="179" y="121"/>
                  </a:lnTo>
                  <a:lnTo>
                    <a:pt x="177" y="122"/>
                  </a:lnTo>
                  <a:lnTo>
                    <a:pt x="168" y="137"/>
                  </a:lnTo>
                  <a:lnTo>
                    <a:pt x="165" y="138"/>
                  </a:lnTo>
                  <a:lnTo>
                    <a:pt x="155" y="153"/>
                  </a:lnTo>
                  <a:lnTo>
                    <a:pt x="154" y="154"/>
                  </a:lnTo>
                  <a:lnTo>
                    <a:pt x="152" y="154"/>
                  </a:lnTo>
                  <a:lnTo>
                    <a:pt x="147" y="154"/>
                  </a:lnTo>
                  <a:lnTo>
                    <a:pt x="144" y="156"/>
                  </a:lnTo>
                  <a:lnTo>
                    <a:pt x="142" y="157"/>
                  </a:lnTo>
                  <a:lnTo>
                    <a:pt x="141" y="157"/>
                  </a:lnTo>
                  <a:lnTo>
                    <a:pt x="141" y="157"/>
                  </a:lnTo>
                  <a:lnTo>
                    <a:pt x="138" y="151"/>
                  </a:lnTo>
                  <a:lnTo>
                    <a:pt x="136" y="151"/>
                  </a:lnTo>
                  <a:lnTo>
                    <a:pt x="136" y="151"/>
                  </a:lnTo>
                  <a:lnTo>
                    <a:pt x="123" y="164"/>
                  </a:lnTo>
                  <a:lnTo>
                    <a:pt x="122" y="172"/>
                  </a:lnTo>
                  <a:lnTo>
                    <a:pt x="122" y="172"/>
                  </a:lnTo>
                  <a:lnTo>
                    <a:pt x="123" y="173"/>
                  </a:lnTo>
                  <a:lnTo>
                    <a:pt x="125" y="175"/>
                  </a:lnTo>
                  <a:lnTo>
                    <a:pt x="126" y="175"/>
                  </a:lnTo>
                  <a:lnTo>
                    <a:pt x="128" y="175"/>
                  </a:lnTo>
                  <a:lnTo>
                    <a:pt x="131" y="175"/>
                  </a:lnTo>
                  <a:lnTo>
                    <a:pt x="132" y="175"/>
                  </a:lnTo>
                  <a:lnTo>
                    <a:pt x="132" y="176"/>
                  </a:lnTo>
                  <a:lnTo>
                    <a:pt x="132" y="178"/>
                  </a:lnTo>
                  <a:lnTo>
                    <a:pt x="131" y="183"/>
                  </a:lnTo>
                  <a:lnTo>
                    <a:pt x="131" y="185"/>
                  </a:lnTo>
                  <a:lnTo>
                    <a:pt x="131" y="186"/>
                  </a:lnTo>
                  <a:lnTo>
                    <a:pt x="134" y="189"/>
                  </a:lnTo>
                  <a:lnTo>
                    <a:pt x="135" y="189"/>
                  </a:lnTo>
                  <a:lnTo>
                    <a:pt x="138" y="188"/>
                  </a:lnTo>
                  <a:lnTo>
                    <a:pt x="138" y="189"/>
                  </a:lnTo>
                  <a:lnTo>
                    <a:pt x="138" y="189"/>
                  </a:lnTo>
                  <a:lnTo>
                    <a:pt x="139" y="195"/>
                  </a:lnTo>
                  <a:lnTo>
                    <a:pt x="141" y="196"/>
                  </a:lnTo>
                  <a:lnTo>
                    <a:pt x="141" y="198"/>
                  </a:lnTo>
                  <a:lnTo>
                    <a:pt x="144" y="201"/>
                  </a:lnTo>
                  <a:lnTo>
                    <a:pt x="144" y="202"/>
                  </a:lnTo>
                  <a:lnTo>
                    <a:pt x="145" y="202"/>
                  </a:lnTo>
                  <a:lnTo>
                    <a:pt x="145" y="204"/>
                  </a:lnTo>
                  <a:lnTo>
                    <a:pt x="144" y="204"/>
                  </a:lnTo>
                  <a:lnTo>
                    <a:pt x="144" y="205"/>
                  </a:lnTo>
                  <a:lnTo>
                    <a:pt x="144" y="208"/>
                  </a:lnTo>
                  <a:lnTo>
                    <a:pt x="144" y="208"/>
                  </a:lnTo>
                  <a:lnTo>
                    <a:pt x="145" y="208"/>
                  </a:lnTo>
                  <a:lnTo>
                    <a:pt x="145" y="210"/>
                  </a:lnTo>
                  <a:lnTo>
                    <a:pt x="144" y="210"/>
                  </a:lnTo>
                  <a:lnTo>
                    <a:pt x="142" y="210"/>
                  </a:lnTo>
                  <a:lnTo>
                    <a:pt x="142" y="211"/>
                  </a:lnTo>
                  <a:lnTo>
                    <a:pt x="141" y="211"/>
                  </a:lnTo>
                  <a:lnTo>
                    <a:pt x="138" y="211"/>
                  </a:lnTo>
                  <a:lnTo>
                    <a:pt x="138" y="211"/>
                  </a:lnTo>
                  <a:lnTo>
                    <a:pt x="138" y="210"/>
                  </a:lnTo>
                  <a:lnTo>
                    <a:pt x="138" y="210"/>
                  </a:lnTo>
                  <a:lnTo>
                    <a:pt x="138" y="208"/>
                  </a:lnTo>
                  <a:lnTo>
                    <a:pt x="136" y="208"/>
                  </a:lnTo>
                  <a:lnTo>
                    <a:pt x="132" y="210"/>
                  </a:lnTo>
                  <a:lnTo>
                    <a:pt x="131" y="212"/>
                  </a:lnTo>
                  <a:lnTo>
                    <a:pt x="131" y="212"/>
                  </a:lnTo>
                  <a:lnTo>
                    <a:pt x="126" y="212"/>
                  </a:lnTo>
                  <a:lnTo>
                    <a:pt x="123" y="211"/>
                  </a:lnTo>
                  <a:lnTo>
                    <a:pt x="122" y="211"/>
                  </a:lnTo>
                  <a:lnTo>
                    <a:pt x="120" y="211"/>
                  </a:lnTo>
                  <a:lnTo>
                    <a:pt x="116" y="211"/>
                  </a:lnTo>
                  <a:lnTo>
                    <a:pt x="115" y="210"/>
                  </a:lnTo>
                  <a:lnTo>
                    <a:pt x="115" y="211"/>
                  </a:lnTo>
                  <a:lnTo>
                    <a:pt x="113" y="211"/>
                  </a:lnTo>
                  <a:lnTo>
                    <a:pt x="113" y="210"/>
                  </a:lnTo>
                  <a:lnTo>
                    <a:pt x="112" y="210"/>
                  </a:lnTo>
                  <a:lnTo>
                    <a:pt x="112" y="211"/>
                  </a:lnTo>
                  <a:lnTo>
                    <a:pt x="112" y="215"/>
                  </a:lnTo>
                  <a:lnTo>
                    <a:pt x="107" y="215"/>
                  </a:lnTo>
                  <a:lnTo>
                    <a:pt x="106" y="215"/>
                  </a:lnTo>
                  <a:lnTo>
                    <a:pt x="104" y="215"/>
                  </a:lnTo>
                  <a:lnTo>
                    <a:pt x="104" y="217"/>
                  </a:lnTo>
                  <a:lnTo>
                    <a:pt x="103" y="217"/>
                  </a:lnTo>
                  <a:lnTo>
                    <a:pt x="103" y="218"/>
                  </a:lnTo>
                  <a:lnTo>
                    <a:pt x="102" y="218"/>
                  </a:lnTo>
                  <a:lnTo>
                    <a:pt x="100" y="218"/>
                  </a:lnTo>
                  <a:lnTo>
                    <a:pt x="97" y="218"/>
                  </a:lnTo>
                  <a:lnTo>
                    <a:pt x="94" y="217"/>
                  </a:lnTo>
                  <a:lnTo>
                    <a:pt x="94" y="217"/>
                  </a:lnTo>
                  <a:lnTo>
                    <a:pt x="93" y="215"/>
                  </a:lnTo>
                  <a:lnTo>
                    <a:pt x="91" y="212"/>
                  </a:lnTo>
                  <a:lnTo>
                    <a:pt x="89" y="205"/>
                  </a:lnTo>
                  <a:lnTo>
                    <a:pt x="89" y="204"/>
                  </a:lnTo>
                  <a:lnTo>
                    <a:pt x="87" y="204"/>
                  </a:lnTo>
                  <a:lnTo>
                    <a:pt x="83" y="202"/>
                  </a:lnTo>
                  <a:lnTo>
                    <a:pt x="83" y="196"/>
                  </a:lnTo>
                  <a:lnTo>
                    <a:pt x="81" y="195"/>
                  </a:lnTo>
                  <a:lnTo>
                    <a:pt x="77" y="194"/>
                  </a:lnTo>
                  <a:lnTo>
                    <a:pt x="64" y="194"/>
                  </a:lnTo>
                  <a:lnTo>
                    <a:pt x="61" y="195"/>
                  </a:lnTo>
                  <a:lnTo>
                    <a:pt x="54" y="194"/>
                  </a:lnTo>
                  <a:lnTo>
                    <a:pt x="52" y="196"/>
                  </a:lnTo>
                  <a:lnTo>
                    <a:pt x="51" y="195"/>
                  </a:lnTo>
                  <a:lnTo>
                    <a:pt x="48" y="195"/>
                  </a:lnTo>
                  <a:lnTo>
                    <a:pt x="45" y="194"/>
                  </a:lnTo>
                  <a:lnTo>
                    <a:pt x="42" y="194"/>
                  </a:lnTo>
                  <a:lnTo>
                    <a:pt x="39" y="194"/>
                  </a:lnTo>
                  <a:lnTo>
                    <a:pt x="36" y="195"/>
                  </a:lnTo>
                  <a:lnTo>
                    <a:pt x="23" y="195"/>
                  </a:lnTo>
                  <a:lnTo>
                    <a:pt x="19" y="198"/>
                  </a:lnTo>
                  <a:lnTo>
                    <a:pt x="17" y="196"/>
                  </a:lnTo>
                  <a:lnTo>
                    <a:pt x="14" y="198"/>
                  </a:lnTo>
                  <a:lnTo>
                    <a:pt x="13" y="198"/>
                  </a:lnTo>
                  <a:lnTo>
                    <a:pt x="12" y="199"/>
                  </a:lnTo>
                  <a:lnTo>
                    <a:pt x="12" y="198"/>
                  </a:lnTo>
                  <a:lnTo>
                    <a:pt x="10" y="19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80" name="Freeform 694"/>
            <p:cNvSpPr>
              <a:spLocks/>
            </p:cNvSpPr>
            <p:nvPr/>
          </p:nvSpPr>
          <p:spPr bwMode="auto">
            <a:xfrm>
              <a:off x="6913379" y="2686430"/>
              <a:ext cx="218572" cy="227166"/>
            </a:xfrm>
            <a:custGeom>
              <a:avLst/>
              <a:gdLst/>
              <a:ahLst/>
              <a:cxnLst>
                <a:cxn ang="0">
                  <a:pos x="35" y="169"/>
                </a:cxn>
                <a:cxn ang="0">
                  <a:pos x="13" y="143"/>
                </a:cxn>
                <a:cxn ang="0">
                  <a:pos x="22" y="130"/>
                </a:cxn>
                <a:cxn ang="0">
                  <a:pos x="46" y="127"/>
                </a:cxn>
                <a:cxn ang="0">
                  <a:pos x="78" y="119"/>
                </a:cxn>
                <a:cxn ang="0">
                  <a:pos x="80" y="103"/>
                </a:cxn>
                <a:cxn ang="0">
                  <a:pos x="97" y="98"/>
                </a:cxn>
                <a:cxn ang="0">
                  <a:pos x="100" y="92"/>
                </a:cxn>
                <a:cxn ang="0">
                  <a:pos x="107" y="90"/>
                </a:cxn>
                <a:cxn ang="0">
                  <a:pos x="113" y="93"/>
                </a:cxn>
                <a:cxn ang="0">
                  <a:pos x="120" y="76"/>
                </a:cxn>
                <a:cxn ang="0">
                  <a:pos x="123" y="69"/>
                </a:cxn>
                <a:cxn ang="0">
                  <a:pos x="134" y="61"/>
                </a:cxn>
                <a:cxn ang="0">
                  <a:pos x="139" y="53"/>
                </a:cxn>
                <a:cxn ang="0">
                  <a:pos x="144" y="45"/>
                </a:cxn>
                <a:cxn ang="0">
                  <a:pos x="152" y="31"/>
                </a:cxn>
                <a:cxn ang="0">
                  <a:pos x="147" y="18"/>
                </a:cxn>
                <a:cxn ang="0">
                  <a:pos x="152" y="10"/>
                </a:cxn>
                <a:cxn ang="0">
                  <a:pos x="160" y="8"/>
                </a:cxn>
                <a:cxn ang="0">
                  <a:pos x="167" y="3"/>
                </a:cxn>
                <a:cxn ang="0">
                  <a:pos x="184" y="2"/>
                </a:cxn>
                <a:cxn ang="0">
                  <a:pos x="196" y="2"/>
                </a:cxn>
                <a:cxn ang="0">
                  <a:pos x="205" y="2"/>
                </a:cxn>
                <a:cxn ang="0">
                  <a:pos x="209" y="5"/>
                </a:cxn>
                <a:cxn ang="0">
                  <a:pos x="215" y="15"/>
                </a:cxn>
                <a:cxn ang="0">
                  <a:pos x="218" y="21"/>
                </a:cxn>
                <a:cxn ang="0">
                  <a:pos x="224" y="22"/>
                </a:cxn>
                <a:cxn ang="0">
                  <a:pos x="228" y="35"/>
                </a:cxn>
                <a:cxn ang="0">
                  <a:pos x="225" y="38"/>
                </a:cxn>
                <a:cxn ang="0">
                  <a:pos x="215" y="41"/>
                </a:cxn>
                <a:cxn ang="0">
                  <a:pos x="209" y="42"/>
                </a:cxn>
                <a:cxn ang="0">
                  <a:pos x="189" y="38"/>
                </a:cxn>
                <a:cxn ang="0">
                  <a:pos x="183" y="45"/>
                </a:cxn>
                <a:cxn ang="0">
                  <a:pos x="184" y="50"/>
                </a:cxn>
                <a:cxn ang="0">
                  <a:pos x="189" y="53"/>
                </a:cxn>
                <a:cxn ang="0">
                  <a:pos x="189" y="61"/>
                </a:cxn>
                <a:cxn ang="0">
                  <a:pos x="192" y="70"/>
                </a:cxn>
                <a:cxn ang="0">
                  <a:pos x="196" y="76"/>
                </a:cxn>
                <a:cxn ang="0">
                  <a:pos x="206" y="82"/>
                </a:cxn>
                <a:cxn ang="0">
                  <a:pos x="200" y="86"/>
                </a:cxn>
                <a:cxn ang="0">
                  <a:pos x="196" y="95"/>
                </a:cxn>
                <a:cxn ang="0">
                  <a:pos x="195" y="101"/>
                </a:cxn>
                <a:cxn ang="0">
                  <a:pos x="197" y="103"/>
                </a:cxn>
                <a:cxn ang="0">
                  <a:pos x="186" y="111"/>
                </a:cxn>
                <a:cxn ang="0">
                  <a:pos x="179" y="121"/>
                </a:cxn>
                <a:cxn ang="0">
                  <a:pos x="152" y="154"/>
                </a:cxn>
                <a:cxn ang="0">
                  <a:pos x="138" y="151"/>
                </a:cxn>
                <a:cxn ang="0">
                  <a:pos x="123" y="173"/>
                </a:cxn>
                <a:cxn ang="0">
                  <a:pos x="132" y="176"/>
                </a:cxn>
                <a:cxn ang="0">
                  <a:pos x="135" y="189"/>
                </a:cxn>
                <a:cxn ang="0">
                  <a:pos x="141" y="198"/>
                </a:cxn>
                <a:cxn ang="0">
                  <a:pos x="144" y="205"/>
                </a:cxn>
                <a:cxn ang="0">
                  <a:pos x="142" y="210"/>
                </a:cxn>
                <a:cxn ang="0">
                  <a:pos x="138" y="210"/>
                </a:cxn>
                <a:cxn ang="0">
                  <a:pos x="126" y="212"/>
                </a:cxn>
                <a:cxn ang="0">
                  <a:pos x="115" y="211"/>
                </a:cxn>
                <a:cxn ang="0">
                  <a:pos x="107" y="215"/>
                </a:cxn>
                <a:cxn ang="0">
                  <a:pos x="102" y="218"/>
                </a:cxn>
                <a:cxn ang="0">
                  <a:pos x="91" y="212"/>
                </a:cxn>
                <a:cxn ang="0">
                  <a:pos x="81" y="195"/>
                </a:cxn>
                <a:cxn ang="0">
                  <a:pos x="51" y="195"/>
                </a:cxn>
                <a:cxn ang="0">
                  <a:pos x="23" y="195"/>
                </a:cxn>
                <a:cxn ang="0">
                  <a:pos x="12" y="198"/>
                </a:cxn>
              </a:cxnLst>
              <a:rect l="0" t="0" r="r" b="b"/>
              <a:pathLst>
                <a:path w="238" h="218">
                  <a:moveTo>
                    <a:pt x="10" y="196"/>
                  </a:moveTo>
                  <a:lnTo>
                    <a:pt x="13" y="182"/>
                  </a:lnTo>
                  <a:lnTo>
                    <a:pt x="19" y="176"/>
                  </a:lnTo>
                  <a:lnTo>
                    <a:pt x="30" y="173"/>
                  </a:lnTo>
                  <a:lnTo>
                    <a:pt x="33" y="170"/>
                  </a:lnTo>
                  <a:lnTo>
                    <a:pt x="35" y="169"/>
                  </a:lnTo>
                  <a:lnTo>
                    <a:pt x="33" y="166"/>
                  </a:lnTo>
                  <a:lnTo>
                    <a:pt x="32" y="164"/>
                  </a:lnTo>
                  <a:lnTo>
                    <a:pt x="28" y="163"/>
                  </a:lnTo>
                  <a:lnTo>
                    <a:pt x="26" y="148"/>
                  </a:lnTo>
                  <a:lnTo>
                    <a:pt x="25" y="147"/>
                  </a:lnTo>
                  <a:lnTo>
                    <a:pt x="13" y="143"/>
                  </a:lnTo>
                  <a:lnTo>
                    <a:pt x="10" y="140"/>
                  </a:lnTo>
                  <a:lnTo>
                    <a:pt x="4" y="130"/>
                  </a:lnTo>
                  <a:lnTo>
                    <a:pt x="0" y="124"/>
                  </a:lnTo>
                  <a:lnTo>
                    <a:pt x="0" y="122"/>
                  </a:lnTo>
                  <a:lnTo>
                    <a:pt x="0" y="122"/>
                  </a:lnTo>
                  <a:lnTo>
                    <a:pt x="22" y="130"/>
                  </a:lnTo>
                  <a:lnTo>
                    <a:pt x="23" y="130"/>
                  </a:lnTo>
                  <a:lnTo>
                    <a:pt x="25" y="128"/>
                  </a:lnTo>
                  <a:lnTo>
                    <a:pt x="41" y="127"/>
                  </a:lnTo>
                  <a:lnTo>
                    <a:pt x="45" y="130"/>
                  </a:lnTo>
                  <a:lnTo>
                    <a:pt x="46" y="128"/>
                  </a:lnTo>
                  <a:lnTo>
                    <a:pt x="46" y="127"/>
                  </a:lnTo>
                  <a:lnTo>
                    <a:pt x="48" y="127"/>
                  </a:lnTo>
                  <a:lnTo>
                    <a:pt x="49" y="127"/>
                  </a:lnTo>
                  <a:lnTo>
                    <a:pt x="59" y="127"/>
                  </a:lnTo>
                  <a:lnTo>
                    <a:pt x="75" y="122"/>
                  </a:lnTo>
                  <a:lnTo>
                    <a:pt x="77" y="121"/>
                  </a:lnTo>
                  <a:lnTo>
                    <a:pt x="78" y="119"/>
                  </a:lnTo>
                  <a:lnTo>
                    <a:pt x="77" y="118"/>
                  </a:lnTo>
                  <a:lnTo>
                    <a:pt x="77" y="117"/>
                  </a:lnTo>
                  <a:lnTo>
                    <a:pt x="78" y="112"/>
                  </a:lnTo>
                  <a:lnTo>
                    <a:pt x="77" y="109"/>
                  </a:lnTo>
                  <a:lnTo>
                    <a:pt x="78" y="105"/>
                  </a:lnTo>
                  <a:lnTo>
                    <a:pt x="80" y="103"/>
                  </a:lnTo>
                  <a:lnTo>
                    <a:pt x="83" y="101"/>
                  </a:lnTo>
                  <a:lnTo>
                    <a:pt x="84" y="99"/>
                  </a:lnTo>
                  <a:lnTo>
                    <a:pt x="86" y="98"/>
                  </a:lnTo>
                  <a:lnTo>
                    <a:pt x="87" y="98"/>
                  </a:lnTo>
                  <a:lnTo>
                    <a:pt x="87" y="99"/>
                  </a:lnTo>
                  <a:lnTo>
                    <a:pt x="97" y="98"/>
                  </a:lnTo>
                  <a:lnTo>
                    <a:pt x="97" y="98"/>
                  </a:lnTo>
                  <a:lnTo>
                    <a:pt x="97" y="96"/>
                  </a:lnTo>
                  <a:lnTo>
                    <a:pt x="96" y="96"/>
                  </a:lnTo>
                  <a:lnTo>
                    <a:pt x="96" y="95"/>
                  </a:lnTo>
                  <a:lnTo>
                    <a:pt x="97" y="95"/>
                  </a:lnTo>
                  <a:lnTo>
                    <a:pt x="100" y="92"/>
                  </a:lnTo>
                  <a:lnTo>
                    <a:pt x="102" y="90"/>
                  </a:lnTo>
                  <a:lnTo>
                    <a:pt x="103" y="90"/>
                  </a:lnTo>
                  <a:lnTo>
                    <a:pt x="104" y="90"/>
                  </a:lnTo>
                  <a:lnTo>
                    <a:pt x="109" y="92"/>
                  </a:lnTo>
                  <a:lnTo>
                    <a:pt x="109" y="90"/>
                  </a:lnTo>
                  <a:lnTo>
                    <a:pt x="107" y="90"/>
                  </a:lnTo>
                  <a:lnTo>
                    <a:pt x="109" y="89"/>
                  </a:lnTo>
                  <a:lnTo>
                    <a:pt x="109" y="89"/>
                  </a:lnTo>
                  <a:lnTo>
                    <a:pt x="112" y="90"/>
                  </a:lnTo>
                  <a:lnTo>
                    <a:pt x="112" y="92"/>
                  </a:lnTo>
                  <a:lnTo>
                    <a:pt x="112" y="93"/>
                  </a:lnTo>
                  <a:lnTo>
                    <a:pt x="113" y="93"/>
                  </a:lnTo>
                  <a:lnTo>
                    <a:pt x="115" y="93"/>
                  </a:lnTo>
                  <a:lnTo>
                    <a:pt x="119" y="87"/>
                  </a:lnTo>
                  <a:lnTo>
                    <a:pt x="119" y="87"/>
                  </a:lnTo>
                  <a:lnTo>
                    <a:pt x="119" y="80"/>
                  </a:lnTo>
                  <a:lnTo>
                    <a:pt x="119" y="79"/>
                  </a:lnTo>
                  <a:lnTo>
                    <a:pt x="120" y="76"/>
                  </a:lnTo>
                  <a:lnTo>
                    <a:pt x="120" y="76"/>
                  </a:lnTo>
                  <a:lnTo>
                    <a:pt x="122" y="74"/>
                  </a:lnTo>
                  <a:lnTo>
                    <a:pt x="120" y="73"/>
                  </a:lnTo>
                  <a:lnTo>
                    <a:pt x="122" y="71"/>
                  </a:lnTo>
                  <a:lnTo>
                    <a:pt x="123" y="71"/>
                  </a:lnTo>
                  <a:lnTo>
                    <a:pt x="123" y="69"/>
                  </a:lnTo>
                  <a:lnTo>
                    <a:pt x="126" y="67"/>
                  </a:lnTo>
                  <a:lnTo>
                    <a:pt x="129" y="67"/>
                  </a:lnTo>
                  <a:lnTo>
                    <a:pt x="132" y="64"/>
                  </a:lnTo>
                  <a:lnTo>
                    <a:pt x="134" y="63"/>
                  </a:lnTo>
                  <a:lnTo>
                    <a:pt x="134" y="63"/>
                  </a:lnTo>
                  <a:lnTo>
                    <a:pt x="134" y="61"/>
                  </a:lnTo>
                  <a:lnTo>
                    <a:pt x="132" y="57"/>
                  </a:lnTo>
                  <a:lnTo>
                    <a:pt x="131" y="57"/>
                  </a:lnTo>
                  <a:lnTo>
                    <a:pt x="129" y="54"/>
                  </a:lnTo>
                  <a:lnTo>
                    <a:pt x="129" y="53"/>
                  </a:lnTo>
                  <a:lnTo>
                    <a:pt x="131" y="51"/>
                  </a:lnTo>
                  <a:lnTo>
                    <a:pt x="139" y="53"/>
                  </a:lnTo>
                  <a:lnTo>
                    <a:pt x="144" y="51"/>
                  </a:lnTo>
                  <a:lnTo>
                    <a:pt x="145" y="50"/>
                  </a:lnTo>
                  <a:lnTo>
                    <a:pt x="145" y="47"/>
                  </a:lnTo>
                  <a:lnTo>
                    <a:pt x="147" y="47"/>
                  </a:lnTo>
                  <a:lnTo>
                    <a:pt x="145" y="45"/>
                  </a:lnTo>
                  <a:lnTo>
                    <a:pt x="144" y="45"/>
                  </a:lnTo>
                  <a:lnTo>
                    <a:pt x="144" y="44"/>
                  </a:lnTo>
                  <a:lnTo>
                    <a:pt x="145" y="42"/>
                  </a:lnTo>
                  <a:lnTo>
                    <a:pt x="147" y="41"/>
                  </a:lnTo>
                  <a:lnTo>
                    <a:pt x="151" y="35"/>
                  </a:lnTo>
                  <a:lnTo>
                    <a:pt x="152" y="34"/>
                  </a:lnTo>
                  <a:lnTo>
                    <a:pt x="152" y="31"/>
                  </a:lnTo>
                  <a:lnTo>
                    <a:pt x="152" y="31"/>
                  </a:lnTo>
                  <a:lnTo>
                    <a:pt x="152" y="29"/>
                  </a:lnTo>
                  <a:lnTo>
                    <a:pt x="154" y="28"/>
                  </a:lnTo>
                  <a:lnTo>
                    <a:pt x="154" y="26"/>
                  </a:lnTo>
                  <a:lnTo>
                    <a:pt x="151" y="21"/>
                  </a:lnTo>
                  <a:lnTo>
                    <a:pt x="147" y="18"/>
                  </a:lnTo>
                  <a:lnTo>
                    <a:pt x="147" y="18"/>
                  </a:lnTo>
                  <a:lnTo>
                    <a:pt x="147" y="16"/>
                  </a:lnTo>
                  <a:lnTo>
                    <a:pt x="148" y="15"/>
                  </a:lnTo>
                  <a:lnTo>
                    <a:pt x="152" y="12"/>
                  </a:lnTo>
                  <a:lnTo>
                    <a:pt x="152" y="10"/>
                  </a:lnTo>
                  <a:lnTo>
                    <a:pt x="152" y="10"/>
                  </a:lnTo>
                  <a:lnTo>
                    <a:pt x="154" y="10"/>
                  </a:lnTo>
                  <a:lnTo>
                    <a:pt x="155" y="10"/>
                  </a:lnTo>
                  <a:lnTo>
                    <a:pt x="157" y="10"/>
                  </a:lnTo>
                  <a:lnTo>
                    <a:pt x="157" y="9"/>
                  </a:lnTo>
                  <a:lnTo>
                    <a:pt x="157" y="9"/>
                  </a:lnTo>
                  <a:lnTo>
                    <a:pt x="160" y="8"/>
                  </a:lnTo>
                  <a:lnTo>
                    <a:pt x="160" y="8"/>
                  </a:lnTo>
                  <a:lnTo>
                    <a:pt x="160" y="6"/>
                  </a:lnTo>
                  <a:lnTo>
                    <a:pt x="161" y="6"/>
                  </a:lnTo>
                  <a:lnTo>
                    <a:pt x="163" y="5"/>
                  </a:lnTo>
                  <a:lnTo>
                    <a:pt x="164" y="5"/>
                  </a:lnTo>
                  <a:lnTo>
                    <a:pt x="167" y="3"/>
                  </a:lnTo>
                  <a:lnTo>
                    <a:pt x="168" y="3"/>
                  </a:lnTo>
                  <a:lnTo>
                    <a:pt x="171" y="2"/>
                  </a:lnTo>
                  <a:lnTo>
                    <a:pt x="173" y="2"/>
                  </a:lnTo>
                  <a:lnTo>
                    <a:pt x="181" y="2"/>
                  </a:lnTo>
                  <a:lnTo>
                    <a:pt x="181" y="2"/>
                  </a:lnTo>
                  <a:lnTo>
                    <a:pt x="184" y="2"/>
                  </a:lnTo>
                  <a:lnTo>
                    <a:pt x="187" y="3"/>
                  </a:lnTo>
                  <a:lnTo>
                    <a:pt x="189" y="3"/>
                  </a:lnTo>
                  <a:lnTo>
                    <a:pt x="190" y="2"/>
                  </a:lnTo>
                  <a:lnTo>
                    <a:pt x="192" y="2"/>
                  </a:lnTo>
                  <a:lnTo>
                    <a:pt x="193" y="0"/>
                  </a:lnTo>
                  <a:lnTo>
                    <a:pt x="196" y="2"/>
                  </a:lnTo>
                  <a:lnTo>
                    <a:pt x="196" y="0"/>
                  </a:lnTo>
                  <a:lnTo>
                    <a:pt x="196" y="0"/>
                  </a:lnTo>
                  <a:lnTo>
                    <a:pt x="197" y="2"/>
                  </a:lnTo>
                  <a:lnTo>
                    <a:pt x="202" y="0"/>
                  </a:lnTo>
                  <a:lnTo>
                    <a:pt x="203" y="0"/>
                  </a:lnTo>
                  <a:lnTo>
                    <a:pt x="205" y="2"/>
                  </a:lnTo>
                  <a:lnTo>
                    <a:pt x="206" y="2"/>
                  </a:lnTo>
                  <a:lnTo>
                    <a:pt x="206" y="2"/>
                  </a:lnTo>
                  <a:lnTo>
                    <a:pt x="206" y="5"/>
                  </a:lnTo>
                  <a:lnTo>
                    <a:pt x="206" y="6"/>
                  </a:lnTo>
                  <a:lnTo>
                    <a:pt x="209" y="5"/>
                  </a:lnTo>
                  <a:lnTo>
                    <a:pt x="209" y="5"/>
                  </a:lnTo>
                  <a:lnTo>
                    <a:pt x="213" y="8"/>
                  </a:lnTo>
                  <a:lnTo>
                    <a:pt x="215" y="9"/>
                  </a:lnTo>
                  <a:lnTo>
                    <a:pt x="215" y="13"/>
                  </a:lnTo>
                  <a:lnTo>
                    <a:pt x="215" y="13"/>
                  </a:lnTo>
                  <a:lnTo>
                    <a:pt x="215" y="15"/>
                  </a:lnTo>
                  <a:lnTo>
                    <a:pt x="215" y="15"/>
                  </a:lnTo>
                  <a:lnTo>
                    <a:pt x="213" y="16"/>
                  </a:lnTo>
                  <a:lnTo>
                    <a:pt x="213" y="16"/>
                  </a:lnTo>
                  <a:lnTo>
                    <a:pt x="213" y="18"/>
                  </a:lnTo>
                  <a:lnTo>
                    <a:pt x="216" y="18"/>
                  </a:lnTo>
                  <a:lnTo>
                    <a:pt x="218" y="21"/>
                  </a:lnTo>
                  <a:lnTo>
                    <a:pt x="218" y="21"/>
                  </a:lnTo>
                  <a:lnTo>
                    <a:pt x="219" y="21"/>
                  </a:lnTo>
                  <a:lnTo>
                    <a:pt x="221" y="21"/>
                  </a:lnTo>
                  <a:lnTo>
                    <a:pt x="222" y="19"/>
                  </a:lnTo>
                  <a:lnTo>
                    <a:pt x="222" y="19"/>
                  </a:lnTo>
                  <a:lnTo>
                    <a:pt x="224" y="21"/>
                  </a:lnTo>
                  <a:lnTo>
                    <a:pt x="224" y="22"/>
                  </a:lnTo>
                  <a:lnTo>
                    <a:pt x="232" y="26"/>
                  </a:lnTo>
                  <a:lnTo>
                    <a:pt x="234" y="26"/>
                  </a:lnTo>
                  <a:lnTo>
                    <a:pt x="235" y="28"/>
                  </a:lnTo>
                  <a:lnTo>
                    <a:pt x="238" y="28"/>
                  </a:lnTo>
                  <a:lnTo>
                    <a:pt x="229" y="34"/>
                  </a:lnTo>
                  <a:lnTo>
                    <a:pt x="228" y="35"/>
                  </a:lnTo>
                  <a:lnTo>
                    <a:pt x="229" y="37"/>
                  </a:lnTo>
                  <a:lnTo>
                    <a:pt x="229" y="37"/>
                  </a:lnTo>
                  <a:lnTo>
                    <a:pt x="228" y="39"/>
                  </a:lnTo>
                  <a:lnTo>
                    <a:pt x="226" y="39"/>
                  </a:lnTo>
                  <a:lnTo>
                    <a:pt x="226" y="39"/>
                  </a:lnTo>
                  <a:lnTo>
                    <a:pt x="225" y="38"/>
                  </a:lnTo>
                  <a:lnTo>
                    <a:pt x="221" y="39"/>
                  </a:lnTo>
                  <a:lnTo>
                    <a:pt x="219" y="39"/>
                  </a:lnTo>
                  <a:lnTo>
                    <a:pt x="218" y="41"/>
                  </a:lnTo>
                  <a:lnTo>
                    <a:pt x="218" y="41"/>
                  </a:lnTo>
                  <a:lnTo>
                    <a:pt x="216" y="41"/>
                  </a:lnTo>
                  <a:lnTo>
                    <a:pt x="215" y="41"/>
                  </a:lnTo>
                  <a:lnTo>
                    <a:pt x="213" y="41"/>
                  </a:lnTo>
                  <a:lnTo>
                    <a:pt x="212" y="42"/>
                  </a:lnTo>
                  <a:lnTo>
                    <a:pt x="212" y="42"/>
                  </a:lnTo>
                  <a:lnTo>
                    <a:pt x="210" y="42"/>
                  </a:lnTo>
                  <a:lnTo>
                    <a:pt x="209" y="42"/>
                  </a:lnTo>
                  <a:lnTo>
                    <a:pt x="209" y="42"/>
                  </a:lnTo>
                  <a:lnTo>
                    <a:pt x="208" y="42"/>
                  </a:lnTo>
                  <a:lnTo>
                    <a:pt x="205" y="42"/>
                  </a:lnTo>
                  <a:lnTo>
                    <a:pt x="203" y="42"/>
                  </a:lnTo>
                  <a:lnTo>
                    <a:pt x="202" y="42"/>
                  </a:lnTo>
                  <a:lnTo>
                    <a:pt x="190" y="38"/>
                  </a:lnTo>
                  <a:lnTo>
                    <a:pt x="189" y="38"/>
                  </a:lnTo>
                  <a:lnTo>
                    <a:pt x="189" y="39"/>
                  </a:lnTo>
                  <a:lnTo>
                    <a:pt x="186" y="39"/>
                  </a:lnTo>
                  <a:lnTo>
                    <a:pt x="186" y="39"/>
                  </a:lnTo>
                  <a:lnTo>
                    <a:pt x="184" y="39"/>
                  </a:lnTo>
                  <a:lnTo>
                    <a:pt x="184" y="42"/>
                  </a:lnTo>
                  <a:lnTo>
                    <a:pt x="183" y="45"/>
                  </a:lnTo>
                  <a:lnTo>
                    <a:pt x="183" y="45"/>
                  </a:lnTo>
                  <a:lnTo>
                    <a:pt x="186" y="45"/>
                  </a:lnTo>
                  <a:lnTo>
                    <a:pt x="186" y="47"/>
                  </a:lnTo>
                  <a:lnTo>
                    <a:pt x="186" y="48"/>
                  </a:lnTo>
                  <a:lnTo>
                    <a:pt x="184" y="48"/>
                  </a:lnTo>
                  <a:lnTo>
                    <a:pt x="184" y="50"/>
                  </a:lnTo>
                  <a:lnTo>
                    <a:pt x="184" y="50"/>
                  </a:lnTo>
                  <a:lnTo>
                    <a:pt x="184" y="51"/>
                  </a:lnTo>
                  <a:lnTo>
                    <a:pt x="186" y="51"/>
                  </a:lnTo>
                  <a:lnTo>
                    <a:pt x="189" y="51"/>
                  </a:lnTo>
                  <a:lnTo>
                    <a:pt x="189" y="51"/>
                  </a:lnTo>
                  <a:lnTo>
                    <a:pt x="189" y="53"/>
                  </a:lnTo>
                  <a:lnTo>
                    <a:pt x="189" y="53"/>
                  </a:lnTo>
                  <a:lnTo>
                    <a:pt x="189" y="54"/>
                  </a:lnTo>
                  <a:lnTo>
                    <a:pt x="186" y="55"/>
                  </a:lnTo>
                  <a:lnTo>
                    <a:pt x="186" y="57"/>
                  </a:lnTo>
                  <a:lnTo>
                    <a:pt x="189" y="60"/>
                  </a:lnTo>
                  <a:lnTo>
                    <a:pt x="189" y="61"/>
                  </a:lnTo>
                  <a:lnTo>
                    <a:pt x="189" y="63"/>
                  </a:lnTo>
                  <a:lnTo>
                    <a:pt x="186" y="64"/>
                  </a:lnTo>
                  <a:lnTo>
                    <a:pt x="186" y="66"/>
                  </a:lnTo>
                  <a:lnTo>
                    <a:pt x="187" y="66"/>
                  </a:lnTo>
                  <a:lnTo>
                    <a:pt x="189" y="69"/>
                  </a:lnTo>
                  <a:lnTo>
                    <a:pt x="192" y="70"/>
                  </a:lnTo>
                  <a:lnTo>
                    <a:pt x="190" y="73"/>
                  </a:lnTo>
                  <a:lnTo>
                    <a:pt x="193" y="73"/>
                  </a:lnTo>
                  <a:lnTo>
                    <a:pt x="193" y="73"/>
                  </a:lnTo>
                  <a:lnTo>
                    <a:pt x="195" y="73"/>
                  </a:lnTo>
                  <a:lnTo>
                    <a:pt x="196" y="73"/>
                  </a:lnTo>
                  <a:lnTo>
                    <a:pt x="196" y="76"/>
                  </a:lnTo>
                  <a:lnTo>
                    <a:pt x="196" y="77"/>
                  </a:lnTo>
                  <a:lnTo>
                    <a:pt x="197" y="79"/>
                  </a:lnTo>
                  <a:lnTo>
                    <a:pt x="202" y="79"/>
                  </a:lnTo>
                  <a:lnTo>
                    <a:pt x="203" y="80"/>
                  </a:lnTo>
                  <a:lnTo>
                    <a:pt x="205" y="79"/>
                  </a:lnTo>
                  <a:lnTo>
                    <a:pt x="206" y="82"/>
                  </a:lnTo>
                  <a:lnTo>
                    <a:pt x="205" y="83"/>
                  </a:lnTo>
                  <a:lnTo>
                    <a:pt x="206" y="83"/>
                  </a:lnTo>
                  <a:lnTo>
                    <a:pt x="205" y="85"/>
                  </a:lnTo>
                  <a:lnTo>
                    <a:pt x="205" y="86"/>
                  </a:lnTo>
                  <a:lnTo>
                    <a:pt x="202" y="86"/>
                  </a:lnTo>
                  <a:lnTo>
                    <a:pt x="200" y="86"/>
                  </a:lnTo>
                  <a:lnTo>
                    <a:pt x="199" y="86"/>
                  </a:lnTo>
                  <a:lnTo>
                    <a:pt x="199" y="86"/>
                  </a:lnTo>
                  <a:lnTo>
                    <a:pt x="196" y="87"/>
                  </a:lnTo>
                  <a:lnTo>
                    <a:pt x="195" y="90"/>
                  </a:lnTo>
                  <a:lnTo>
                    <a:pt x="195" y="92"/>
                  </a:lnTo>
                  <a:lnTo>
                    <a:pt x="196" y="95"/>
                  </a:lnTo>
                  <a:lnTo>
                    <a:pt x="196" y="96"/>
                  </a:lnTo>
                  <a:lnTo>
                    <a:pt x="196" y="96"/>
                  </a:lnTo>
                  <a:lnTo>
                    <a:pt x="196" y="96"/>
                  </a:lnTo>
                  <a:lnTo>
                    <a:pt x="196" y="98"/>
                  </a:lnTo>
                  <a:lnTo>
                    <a:pt x="195" y="99"/>
                  </a:lnTo>
                  <a:lnTo>
                    <a:pt x="195" y="101"/>
                  </a:lnTo>
                  <a:lnTo>
                    <a:pt x="195" y="101"/>
                  </a:lnTo>
                  <a:lnTo>
                    <a:pt x="195" y="101"/>
                  </a:lnTo>
                  <a:lnTo>
                    <a:pt x="197" y="101"/>
                  </a:lnTo>
                  <a:lnTo>
                    <a:pt x="197" y="102"/>
                  </a:lnTo>
                  <a:lnTo>
                    <a:pt x="197" y="103"/>
                  </a:lnTo>
                  <a:lnTo>
                    <a:pt x="197" y="103"/>
                  </a:lnTo>
                  <a:lnTo>
                    <a:pt x="196" y="103"/>
                  </a:lnTo>
                  <a:lnTo>
                    <a:pt x="195" y="102"/>
                  </a:lnTo>
                  <a:lnTo>
                    <a:pt x="195" y="105"/>
                  </a:lnTo>
                  <a:lnTo>
                    <a:pt x="190" y="106"/>
                  </a:lnTo>
                  <a:lnTo>
                    <a:pt x="187" y="109"/>
                  </a:lnTo>
                  <a:lnTo>
                    <a:pt x="186" y="111"/>
                  </a:lnTo>
                  <a:lnTo>
                    <a:pt x="184" y="114"/>
                  </a:lnTo>
                  <a:lnTo>
                    <a:pt x="184" y="115"/>
                  </a:lnTo>
                  <a:lnTo>
                    <a:pt x="184" y="117"/>
                  </a:lnTo>
                  <a:lnTo>
                    <a:pt x="183" y="119"/>
                  </a:lnTo>
                  <a:lnTo>
                    <a:pt x="181" y="121"/>
                  </a:lnTo>
                  <a:lnTo>
                    <a:pt x="179" y="121"/>
                  </a:lnTo>
                  <a:lnTo>
                    <a:pt x="177" y="122"/>
                  </a:lnTo>
                  <a:lnTo>
                    <a:pt x="168" y="137"/>
                  </a:lnTo>
                  <a:lnTo>
                    <a:pt x="165" y="138"/>
                  </a:lnTo>
                  <a:lnTo>
                    <a:pt x="155" y="153"/>
                  </a:lnTo>
                  <a:lnTo>
                    <a:pt x="154" y="154"/>
                  </a:lnTo>
                  <a:lnTo>
                    <a:pt x="152" y="154"/>
                  </a:lnTo>
                  <a:lnTo>
                    <a:pt x="147" y="154"/>
                  </a:lnTo>
                  <a:lnTo>
                    <a:pt x="144" y="156"/>
                  </a:lnTo>
                  <a:lnTo>
                    <a:pt x="142" y="157"/>
                  </a:lnTo>
                  <a:lnTo>
                    <a:pt x="141" y="157"/>
                  </a:lnTo>
                  <a:lnTo>
                    <a:pt x="141" y="157"/>
                  </a:lnTo>
                  <a:lnTo>
                    <a:pt x="138" y="151"/>
                  </a:lnTo>
                  <a:lnTo>
                    <a:pt x="136" y="151"/>
                  </a:lnTo>
                  <a:lnTo>
                    <a:pt x="136" y="151"/>
                  </a:lnTo>
                  <a:lnTo>
                    <a:pt x="123" y="164"/>
                  </a:lnTo>
                  <a:lnTo>
                    <a:pt x="122" y="172"/>
                  </a:lnTo>
                  <a:lnTo>
                    <a:pt x="122" y="172"/>
                  </a:lnTo>
                  <a:lnTo>
                    <a:pt x="123" y="173"/>
                  </a:lnTo>
                  <a:lnTo>
                    <a:pt x="125" y="175"/>
                  </a:lnTo>
                  <a:lnTo>
                    <a:pt x="126" y="175"/>
                  </a:lnTo>
                  <a:lnTo>
                    <a:pt x="128" y="175"/>
                  </a:lnTo>
                  <a:lnTo>
                    <a:pt x="131" y="175"/>
                  </a:lnTo>
                  <a:lnTo>
                    <a:pt x="132" y="175"/>
                  </a:lnTo>
                  <a:lnTo>
                    <a:pt x="132" y="176"/>
                  </a:lnTo>
                  <a:lnTo>
                    <a:pt x="132" y="178"/>
                  </a:lnTo>
                  <a:lnTo>
                    <a:pt x="131" y="183"/>
                  </a:lnTo>
                  <a:lnTo>
                    <a:pt x="131" y="185"/>
                  </a:lnTo>
                  <a:lnTo>
                    <a:pt x="131" y="186"/>
                  </a:lnTo>
                  <a:lnTo>
                    <a:pt x="134" y="189"/>
                  </a:lnTo>
                  <a:lnTo>
                    <a:pt x="135" y="189"/>
                  </a:lnTo>
                  <a:lnTo>
                    <a:pt x="138" y="188"/>
                  </a:lnTo>
                  <a:lnTo>
                    <a:pt x="138" y="189"/>
                  </a:lnTo>
                  <a:lnTo>
                    <a:pt x="138" y="189"/>
                  </a:lnTo>
                  <a:lnTo>
                    <a:pt x="139" y="195"/>
                  </a:lnTo>
                  <a:lnTo>
                    <a:pt x="141" y="196"/>
                  </a:lnTo>
                  <a:lnTo>
                    <a:pt x="141" y="198"/>
                  </a:lnTo>
                  <a:lnTo>
                    <a:pt x="144" y="201"/>
                  </a:lnTo>
                  <a:lnTo>
                    <a:pt x="144" y="202"/>
                  </a:lnTo>
                  <a:lnTo>
                    <a:pt x="145" y="202"/>
                  </a:lnTo>
                  <a:lnTo>
                    <a:pt x="145" y="204"/>
                  </a:lnTo>
                  <a:lnTo>
                    <a:pt x="144" y="204"/>
                  </a:lnTo>
                  <a:lnTo>
                    <a:pt x="144" y="205"/>
                  </a:lnTo>
                  <a:lnTo>
                    <a:pt x="144" y="208"/>
                  </a:lnTo>
                  <a:lnTo>
                    <a:pt x="144" y="208"/>
                  </a:lnTo>
                  <a:lnTo>
                    <a:pt x="145" y="208"/>
                  </a:lnTo>
                  <a:lnTo>
                    <a:pt x="145" y="210"/>
                  </a:lnTo>
                  <a:lnTo>
                    <a:pt x="144" y="210"/>
                  </a:lnTo>
                  <a:lnTo>
                    <a:pt x="142" y="210"/>
                  </a:lnTo>
                  <a:lnTo>
                    <a:pt x="142" y="211"/>
                  </a:lnTo>
                  <a:lnTo>
                    <a:pt x="141" y="211"/>
                  </a:lnTo>
                  <a:lnTo>
                    <a:pt x="138" y="211"/>
                  </a:lnTo>
                  <a:lnTo>
                    <a:pt x="138" y="211"/>
                  </a:lnTo>
                  <a:lnTo>
                    <a:pt x="138" y="210"/>
                  </a:lnTo>
                  <a:lnTo>
                    <a:pt x="138" y="210"/>
                  </a:lnTo>
                  <a:lnTo>
                    <a:pt x="138" y="208"/>
                  </a:lnTo>
                  <a:lnTo>
                    <a:pt x="136" y="208"/>
                  </a:lnTo>
                  <a:lnTo>
                    <a:pt x="132" y="210"/>
                  </a:lnTo>
                  <a:lnTo>
                    <a:pt x="131" y="212"/>
                  </a:lnTo>
                  <a:lnTo>
                    <a:pt x="131" y="212"/>
                  </a:lnTo>
                  <a:lnTo>
                    <a:pt x="126" y="212"/>
                  </a:lnTo>
                  <a:lnTo>
                    <a:pt x="123" y="211"/>
                  </a:lnTo>
                  <a:lnTo>
                    <a:pt x="122" y="211"/>
                  </a:lnTo>
                  <a:lnTo>
                    <a:pt x="120" y="211"/>
                  </a:lnTo>
                  <a:lnTo>
                    <a:pt x="116" y="211"/>
                  </a:lnTo>
                  <a:lnTo>
                    <a:pt x="115" y="210"/>
                  </a:lnTo>
                  <a:lnTo>
                    <a:pt x="115" y="211"/>
                  </a:lnTo>
                  <a:lnTo>
                    <a:pt x="113" y="211"/>
                  </a:lnTo>
                  <a:lnTo>
                    <a:pt x="113" y="210"/>
                  </a:lnTo>
                  <a:lnTo>
                    <a:pt x="112" y="210"/>
                  </a:lnTo>
                  <a:lnTo>
                    <a:pt x="112" y="211"/>
                  </a:lnTo>
                  <a:lnTo>
                    <a:pt x="112" y="215"/>
                  </a:lnTo>
                  <a:lnTo>
                    <a:pt x="107" y="215"/>
                  </a:lnTo>
                  <a:lnTo>
                    <a:pt x="106" y="215"/>
                  </a:lnTo>
                  <a:lnTo>
                    <a:pt x="104" y="215"/>
                  </a:lnTo>
                  <a:lnTo>
                    <a:pt x="104" y="217"/>
                  </a:lnTo>
                  <a:lnTo>
                    <a:pt x="103" y="217"/>
                  </a:lnTo>
                  <a:lnTo>
                    <a:pt x="103" y="218"/>
                  </a:lnTo>
                  <a:lnTo>
                    <a:pt x="102" y="218"/>
                  </a:lnTo>
                  <a:lnTo>
                    <a:pt x="100" y="218"/>
                  </a:lnTo>
                  <a:lnTo>
                    <a:pt x="97" y="218"/>
                  </a:lnTo>
                  <a:lnTo>
                    <a:pt x="94" y="217"/>
                  </a:lnTo>
                  <a:lnTo>
                    <a:pt x="94" y="217"/>
                  </a:lnTo>
                  <a:lnTo>
                    <a:pt x="93" y="215"/>
                  </a:lnTo>
                  <a:lnTo>
                    <a:pt x="91" y="212"/>
                  </a:lnTo>
                  <a:lnTo>
                    <a:pt x="89" y="205"/>
                  </a:lnTo>
                  <a:lnTo>
                    <a:pt x="89" y="204"/>
                  </a:lnTo>
                  <a:lnTo>
                    <a:pt x="87" y="204"/>
                  </a:lnTo>
                  <a:lnTo>
                    <a:pt x="83" y="202"/>
                  </a:lnTo>
                  <a:lnTo>
                    <a:pt x="83" y="196"/>
                  </a:lnTo>
                  <a:lnTo>
                    <a:pt x="81" y="195"/>
                  </a:lnTo>
                  <a:lnTo>
                    <a:pt x="77" y="194"/>
                  </a:lnTo>
                  <a:lnTo>
                    <a:pt x="64" y="194"/>
                  </a:lnTo>
                  <a:lnTo>
                    <a:pt x="61" y="195"/>
                  </a:lnTo>
                  <a:lnTo>
                    <a:pt x="54" y="194"/>
                  </a:lnTo>
                  <a:lnTo>
                    <a:pt x="52" y="196"/>
                  </a:lnTo>
                  <a:lnTo>
                    <a:pt x="51" y="195"/>
                  </a:lnTo>
                  <a:lnTo>
                    <a:pt x="48" y="195"/>
                  </a:lnTo>
                  <a:lnTo>
                    <a:pt x="45" y="194"/>
                  </a:lnTo>
                  <a:lnTo>
                    <a:pt x="42" y="194"/>
                  </a:lnTo>
                  <a:lnTo>
                    <a:pt x="39" y="194"/>
                  </a:lnTo>
                  <a:lnTo>
                    <a:pt x="36" y="195"/>
                  </a:lnTo>
                  <a:lnTo>
                    <a:pt x="23" y="195"/>
                  </a:lnTo>
                  <a:lnTo>
                    <a:pt x="19" y="198"/>
                  </a:lnTo>
                  <a:lnTo>
                    <a:pt x="17" y="196"/>
                  </a:lnTo>
                  <a:lnTo>
                    <a:pt x="14" y="198"/>
                  </a:lnTo>
                  <a:lnTo>
                    <a:pt x="13" y="198"/>
                  </a:lnTo>
                  <a:lnTo>
                    <a:pt x="12" y="199"/>
                  </a:lnTo>
                  <a:lnTo>
                    <a:pt x="12" y="198"/>
                  </a:lnTo>
                  <a:lnTo>
                    <a:pt x="10" y="19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81" name="Freeform 695"/>
            <p:cNvSpPr>
              <a:spLocks/>
            </p:cNvSpPr>
            <p:nvPr/>
          </p:nvSpPr>
          <p:spPr bwMode="auto">
            <a:xfrm>
              <a:off x="6477112" y="1387324"/>
              <a:ext cx="2146188" cy="1217973"/>
            </a:xfrm>
            <a:custGeom>
              <a:avLst/>
              <a:gdLst>
                <a:gd name="connsiteX0" fmla="*/ 3212 w 10354"/>
                <a:gd name="connsiteY0" fmla="*/ 7675 h 10000"/>
                <a:gd name="connsiteX1" fmla="*/ 3217 w 10354"/>
                <a:gd name="connsiteY1" fmla="*/ 7692 h 10000"/>
                <a:gd name="connsiteX2" fmla="*/ 3226 w 10354"/>
                <a:gd name="connsiteY2" fmla="*/ 7692 h 10000"/>
                <a:gd name="connsiteX3" fmla="*/ 3309 w 10354"/>
                <a:gd name="connsiteY3" fmla="*/ 7838 h 10000"/>
                <a:gd name="connsiteX4" fmla="*/ 3452 w 10354"/>
                <a:gd name="connsiteY4" fmla="*/ 8325 h 10000"/>
                <a:gd name="connsiteX5" fmla="*/ 3470 w 10354"/>
                <a:gd name="connsiteY5" fmla="*/ 8299 h 10000"/>
                <a:gd name="connsiteX6" fmla="*/ 3470 w 10354"/>
                <a:gd name="connsiteY6" fmla="*/ 8282 h 10000"/>
                <a:gd name="connsiteX7" fmla="*/ 3470 w 10354"/>
                <a:gd name="connsiteY7" fmla="*/ 8274 h 10000"/>
                <a:gd name="connsiteX8" fmla="*/ 3484 w 10354"/>
                <a:gd name="connsiteY8" fmla="*/ 8231 h 10000"/>
                <a:gd name="connsiteX9" fmla="*/ 3498 w 10354"/>
                <a:gd name="connsiteY9" fmla="*/ 8231 h 10000"/>
                <a:gd name="connsiteX10" fmla="*/ 3498 w 10354"/>
                <a:gd name="connsiteY10" fmla="*/ 8248 h 10000"/>
                <a:gd name="connsiteX11" fmla="*/ 3512 w 10354"/>
                <a:gd name="connsiteY11" fmla="*/ 8256 h 10000"/>
                <a:gd name="connsiteX12" fmla="*/ 3525 w 10354"/>
                <a:gd name="connsiteY12" fmla="*/ 8274 h 10000"/>
                <a:gd name="connsiteX13" fmla="*/ 3525 w 10354"/>
                <a:gd name="connsiteY13" fmla="*/ 8282 h 10000"/>
                <a:gd name="connsiteX14" fmla="*/ 3525 w 10354"/>
                <a:gd name="connsiteY14" fmla="*/ 8308 h 10000"/>
                <a:gd name="connsiteX15" fmla="*/ 3530 w 10354"/>
                <a:gd name="connsiteY15" fmla="*/ 8308 h 10000"/>
                <a:gd name="connsiteX16" fmla="*/ 3539 w 10354"/>
                <a:gd name="connsiteY16" fmla="*/ 8333 h 10000"/>
                <a:gd name="connsiteX17" fmla="*/ 3571 w 10354"/>
                <a:gd name="connsiteY17" fmla="*/ 8333 h 10000"/>
                <a:gd name="connsiteX18" fmla="*/ 3590 w 10354"/>
                <a:gd name="connsiteY18" fmla="*/ 8350 h 10000"/>
                <a:gd name="connsiteX19" fmla="*/ 3599 w 10354"/>
                <a:gd name="connsiteY19" fmla="*/ 8333 h 10000"/>
                <a:gd name="connsiteX20" fmla="*/ 3618 w 10354"/>
                <a:gd name="connsiteY20" fmla="*/ 8333 h 10000"/>
                <a:gd name="connsiteX21" fmla="*/ 3618 w 10354"/>
                <a:gd name="connsiteY21" fmla="*/ 8325 h 10000"/>
                <a:gd name="connsiteX22" fmla="*/ 3627 w 10354"/>
                <a:gd name="connsiteY22" fmla="*/ 8308 h 10000"/>
                <a:gd name="connsiteX23" fmla="*/ 3641 w 10354"/>
                <a:gd name="connsiteY23" fmla="*/ 8308 h 10000"/>
                <a:gd name="connsiteX24" fmla="*/ 3645 w 10354"/>
                <a:gd name="connsiteY24" fmla="*/ 8308 h 10000"/>
                <a:gd name="connsiteX25" fmla="*/ 3650 w 10354"/>
                <a:gd name="connsiteY25" fmla="*/ 8299 h 10000"/>
                <a:gd name="connsiteX26" fmla="*/ 3659 w 10354"/>
                <a:gd name="connsiteY26" fmla="*/ 8282 h 10000"/>
                <a:gd name="connsiteX27" fmla="*/ 3677 w 10354"/>
                <a:gd name="connsiteY27" fmla="*/ 8299 h 10000"/>
                <a:gd name="connsiteX28" fmla="*/ 3687 w 10354"/>
                <a:gd name="connsiteY28" fmla="*/ 8299 h 10000"/>
                <a:gd name="connsiteX29" fmla="*/ 3691 w 10354"/>
                <a:gd name="connsiteY29" fmla="*/ 8325 h 10000"/>
                <a:gd name="connsiteX30" fmla="*/ 3700 w 10354"/>
                <a:gd name="connsiteY30" fmla="*/ 8325 h 10000"/>
                <a:gd name="connsiteX31" fmla="*/ 3714 w 10354"/>
                <a:gd name="connsiteY31" fmla="*/ 8359 h 10000"/>
                <a:gd name="connsiteX32" fmla="*/ 3719 w 10354"/>
                <a:gd name="connsiteY32" fmla="*/ 8359 h 10000"/>
                <a:gd name="connsiteX33" fmla="*/ 3724 w 10354"/>
                <a:gd name="connsiteY33" fmla="*/ 8368 h 10000"/>
                <a:gd name="connsiteX34" fmla="*/ 3719 w 10354"/>
                <a:gd name="connsiteY34" fmla="*/ 8393 h 10000"/>
                <a:gd name="connsiteX35" fmla="*/ 3724 w 10354"/>
                <a:gd name="connsiteY35" fmla="*/ 8410 h 10000"/>
                <a:gd name="connsiteX36" fmla="*/ 3724 w 10354"/>
                <a:gd name="connsiteY36" fmla="*/ 8436 h 10000"/>
                <a:gd name="connsiteX37" fmla="*/ 3737 w 10354"/>
                <a:gd name="connsiteY37" fmla="*/ 8436 h 10000"/>
                <a:gd name="connsiteX38" fmla="*/ 3765 w 10354"/>
                <a:gd name="connsiteY38" fmla="*/ 8462 h 10000"/>
                <a:gd name="connsiteX39" fmla="*/ 3765 w 10354"/>
                <a:gd name="connsiteY39" fmla="*/ 8470 h 10000"/>
                <a:gd name="connsiteX40" fmla="*/ 3765 w 10354"/>
                <a:gd name="connsiteY40" fmla="*/ 8496 h 10000"/>
                <a:gd name="connsiteX41" fmla="*/ 3774 w 10354"/>
                <a:gd name="connsiteY41" fmla="*/ 8496 h 10000"/>
                <a:gd name="connsiteX42" fmla="*/ 3779 w 10354"/>
                <a:gd name="connsiteY42" fmla="*/ 8504 h 10000"/>
                <a:gd name="connsiteX43" fmla="*/ 3793 w 10354"/>
                <a:gd name="connsiteY43" fmla="*/ 8547 h 10000"/>
                <a:gd name="connsiteX44" fmla="*/ 3797 w 10354"/>
                <a:gd name="connsiteY44" fmla="*/ 8547 h 10000"/>
                <a:gd name="connsiteX45" fmla="*/ 3820 w 10354"/>
                <a:gd name="connsiteY45" fmla="*/ 8556 h 10000"/>
                <a:gd name="connsiteX46" fmla="*/ 3834 w 10354"/>
                <a:gd name="connsiteY46" fmla="*/ 8573 h 10000"/>
                <a:gd name="connsiteX47" fmla="*/ 3853 w 10354"/>
                <a:gd name="connsiteY47" fmla="*/ 8573 h 10000"/>
                <a:gd name="connsiteX48" fmla="*/ 3857 w 10354"/>
                <a:gd name="connsiteY48" fmla="*/ 8556 h 10000"/>
                <a:gd name="connsiteX49" fmla="*/ 3866 w 10354"/>
                <a:gd name="connsiteY49" fmla="*/ 8547 h 10000"/>
                <a:gd name="connsiteX50" fmla="*/ 3880 w 10354"/>
                <a:gd name="connsiteY50" fmla="*/ 8530 h 10000"/>
                <a:gd name="connsiteX51" fmla="*/ 3885 w 10354"/>
                <a:gd name="connsiteY51" fmla="*/ 8547 h 10000"/>
                <a:gd name="connsiteX52" fmla="*/ 3885 w 10354"/>
                <a:gd name="connsiteY52" fmla="*/ 8573 h 10000"/>
                <a:gd name="connsiteX53" fmla="*/ 3899 w 10354"/>
                <a:gd name="connsiteY53" fmla="*/ 8573 h 10000"/>
                <a:gd name="connsiteX54" fmla="*/ 3908 w 10354"/>
                <a:gd name="connsiteY54" fmla="*/ 8607 h 10000"/>
                <a:gd name="connsiteX55" fmla="*/ 3912 w 10354"/>
                <a:gd name="connsiteY55" fmla="*/ 8615 h 10000"/>
                <a:gd name="connsiteX56" fmla="*/ 3922 w 10354"/>
                <a:gd name="connsiteY56" fmla="*/ 8632 h 10000"/>
                <a:gd name="connsiteX57" fmla="*/ 3908 w 10354"/>
                <a:gd name="connsiteY57" fmla="*/ 8692 h 10000"/>
                <a:gd name="connsiteX58" fmla="*/ 3908 w 10354"/>
                <a:gd name="connsiteY58" fmla="*/ 8692 h 10000"/>
                <a:gd name="connsiteX59" fmla="*/ 3931 w 10354"/>
                <a:gd name="connsiteY59" fmla="*/ 8709 h 10000"/>
                <a:gd name="connsiteX60" fmla="*/ 3954 w 10354"/>
                <a:gd name="connsiteY60" fmla="*/ 8667 h 10000"/>
                <a:gd name="connsiteX61" fmla="*/ 3959 w 10354"/>
                <a:gd name="connsiteY61" fmla="*/ 8667 h 10000"/>
                <a:gd name="connsiteX62" fmla="*/ 3972 w 10354"/>
                <a:gd name="connsiteY62" fmla="*/ 8615 h 10000"/>
                <a:gd name="connsiteX63" fmla="*/ 3995 w 10354"/>
                <a:gd name="connsiteY63" fmla="*/ 8581 h 10000"/>
                <a:gd name="connsiteX64" fmla="*/ 4032 w 10354"/>
                <a:gd name="connsiteY64" fmla="*/ 8556 h 10000"/>
                <a:gd name="connsiteX65" fmla="*/ 4138 w 10354"/>
                <a:gd name="connsiteY65" fmla="*/ 8419 h 10000"/>
                <a:gd name="connsiteX66" fmla="*/ 4249 w 10354"/>
                <a:gd name="connsiteY66" fmla="*/ 8359 h 10000"/>
                <a:gd name="connsiteX67" fmla="*/ 4295 w 10354"/>
                <a:gd name="connsiteY67" fmla="*/ 8385 h 10000"/>
                <a:gd name="connsiteX68" fmla="*/ 4309 w 10354"/>
                <a:gd name="connsiteY68" fmla="*/ 8410 h 10000"/>
                <a:gd name="connsiteX69" fmla="*/ 4355 w 10354"/>
                <a:gd name="connsiteY69" fmla="*/ 8393 h 10000"/>
                <a:gd name="connsiteX70" fmla="*/ 4382 w 10354"/>
                <a:gd name="connsiteY70" fmla="*/ 8393 h 10000"/>
                <a:gd name="connsiteX71" fmla="*/ 4419 w 10354"/>
                <a:gd name="connsiteY71" fmla="*/ 8487 h 10000"/>
                <a:gd name="connsiteX72" fmla="*/ 4442 w 10354"/>
                <a:gd name="connsiteY72" fmla="*/ 8487 h 10000"/>
                <a:gd name="connsiteX73" fmla="*/ 4493 w 10354"/>
                <a:gd name="connsiteY73" fmla="*/ 8470 h 10000"/>
                <a:gd name="connsiteX74" fmla="*/ 4516 w 10354"/>
                <a:gd name="connsiteY74" fmla="*/ 8487 h 10000"/>
                <a:gd name="connsiteX75" fmla="*/ 4608 w 10354"/>
                <a:gd name="connsiteY75" fmla="*/ 8470 h 10000"/>
                <a:gd name="connsiteX76" fmla="*/ 4622 w 10354"/>
                <a:gd name="connsiteY76" fmla="*/ 8470 h 10000"/>
                <a:gd name="connsiteX77" fmla="*/ 4618 w 10354"/>
                <a:gd name="connsiteY77" fmla="*/ 8419 h 10000"/>
                <a:gd name="connsiteX78" fmla="*/ 4622 w 10354"/>
                <a:gd name="connsiteY78" fmla="*/ 8385 h 10000"/>
                <a:gd name="connsiteX79" fmla="*/ 4636 w 10354"/>
                <a:gd name="connsiteY79" fmla="*/ 8350 h 10000"/>
                <a:gd name="connsiteX80" fmla="*/ 4636 w 10354"/>
                <a:gd name="connsiteY80" fmla="*/ 8325 h 10000"/>
                <a:gd name="connsiteX81" fmla="*/ 4622 w 10354"/>
                <a:gd name="connsiteY81" fmla="*/ 8282 h 10000"/>
                <a:gd name="connsiteX82" fmla="*/ 4618 w 10354"/>
                <a:gd name="connsiteY82" fmla="*/ 8248 h 10000"/>
                <a:gd name="connsiteX83" fmla="*/ 4618 w 10354"/>
                <a:gd name="connsiteY83" fmla="*/ 8214 h 10000"/>
                <a:gd name="connsiteX84" fmla="*/ 4691 w 10354"/>
                <a:gd name="connsiteY84" fmla="*/ 8077 h 10000"/>
                <a:gd name="connsiteX85" fmla="*/ 4700 w 10354"/>
                <a:gd name="connsiteY85" fmla="*/ 8060 h 10000"/>
                <a:gd name="connsiteX86" fmla="*/ 4728 w 10354"/>
                <a:gd name="connsiteY86" fmla="*/ 8077 h 10000"/>
                <a:gd name="connsiteX87" fmla="*/ 4751 w 10354"/>
                <a:gd name="connsiteY87" fmla="*/ 8094 h 10000"/>
                <a:gd name="connsiteX88" fmla="*/ 4788 w 10354"/>
                <a:gd name="connsiteY88" fmla="*/ 8120 h 10000"/>
                <a:gd name="connsiteX89" fmla="*/ 4802 w 10354"/>
                <a:gd name="connsiteY89" fmla="*/ 8162 h 10000"/>
                <a:gd name="connsiteX90" fmla="*/ 4885 w 10354"/>
                <a:gd name="connsiteY90" fmla="*/ 8197 h 10000"/>
                <a:gd name="connsiteX91" fmla="*/ 4889 w 10354"/>
                <a:gd name="connsiteY91" fmla="*/ 8231 h 10000"/>
                <a:gd name="connsiteX92" fmla="*/ 4899 w 10354"/>
                <a:gd name="connsiteY92" fmla="*/ 8333 h 10000"/>
                <a:gd name="connsiteX93" fmla="*/ 4903 w 10354"/>
                <a:gd name="connsiteY93" fmla="*/ 8333 h 10000"/>
                <a:gd name="connsiteX94" fmla="*/ 4949 w 10354"/>
                <a:gd name="connsiteY94" fmla="*/ 8410 h 10000"/>
                <a:gd name="connsiteX95" fmla="*/ 4991 w 10354"/>
                <a:gd name="connsiteY95" fmla="*/ 8436 h 10000"/>
                <a:gd name="connsiteX96" fmla="*/ 5023 w 10354"/>
                <a:gd name="connsiteY96" fmla="*/ 8419 h 10000"/>
                <a:gd name="connsiteX97" fmla="*/ 5092 w 10354"/>
                <a:gd name="connsiteY97" fmla="*/ 8359 h 10000"/>
                <a:gd name="connsiteX98" fmla="*/ 5180 w 10354"/>
                <a:gd name="connsiteY98" fmla="*/ 8410 h 10000"/>
                <a:gd name="connsiteX99" fmla="*/ 5189 w 10354"/>
                <a:gd name="connsiteY99" fmla="*/ 8436 h 10000"/>
                <a:gd name="connsiteX100" fmla="*/ 5198 w 10354"/>
                <a:gd name="connsiteY100" fmla="*/ 8436 h 10000"/>
                <a:gd name="connsiteX101" fmla="*/ 5226 w 10354"/>
                <a:gd name="connsiteY101" fmla="*/ 8487 h 10000"/>
                <a:gd name="connsiteX102" fmla="*/ 5276 w 10354"/>
                <a:gd name="connsiteY102" fmla="*/ 8504 h 10000"/>
                <a:gd name="connsiteX103" fmla="*/ 5290 w 10354"/>
                <a:gd name="connsiteY103" fmla="*/ 8556 h 10000"/>
                <a:gd name="connsiteX104" fmla="*/ 5323 w 10354"/>
                <a:gd name="connsiteY104" fmla="*/ 8598 h 10000"/>
                <a:gd name="connsiteX105" fmla="*/ 5447 w 10354"/>
                <a:gd name="connsiteY105" fmla="*/ 8615 h 10000"/>
                <a:gd name="connsiteX106" fmla="*/ 5465 w 10354"/>
                <a:gd name="connsiteY106" fmla="*/ 8632 h 10000"/>
                <a:gd name="connsiteX107" fmla="*/ 5604 w 10354"/>
                <a:gd name="connsiteY107" fmla="*/ 8556 h 10000"/>
                <a:gd name="connsiteX108" fmla="*/ 5677 w 10354"/>
                <a:gd name="connsiteY108" fmla="*/ 8462 h 10000"/>
                <a:gd name="connsiteX109" fmla="*/ 5705 w 10354"/>
                <a:gd name="connsiteY109" fmla="*/ 8444 h 10000"/>
                <a:gd name="connsiteX110" fmla="*/ 5737 w 10354"/>
                <a:gd name="connsiteY110" fmla="*/ 8470 h 10000"/>
                <a:gd name="connsiteX111" fmla="*/ 5760 w 10354"/>
                <a:gd name="connsiteY111" fmla="*/ 8496 h 10000"/>
                <a:gd name="connsiteX112" fmla="*/ 5788 w 10354"/>
                <a:gd name="connsiteY112" fmla="*/ 8504 h 10000"/>
                <a:gd name="connsiteX113" fmla="*/ 5806 w 10354"/>
                <a:gd name="connsiteY113" fmla="*/ 8496 h 10000"/>
                <a:gd name="connsiteX114" fmla="*/ 5820 w 10354"/>
                <a:gd name="connsiteY114" fmla="*/ 8487 h 10000"/>
                <a:gd name="connsiteX115" fmla="*/ 5825 w 10354"/>
                <a:gd name="connsiteY115" fmla="*/ 8487 h 10000"/>
                <a:gd name="connsiteX116" fmla="*/ 5825 w 10354"/>
                <a:gd name="connsiteY116" fmla="*/ 8487 h 10000"/>
                <a:gd name="connsiteX117" fmla="*/ 5926 w 10354"/>
                <a:gd name="connsiteY117" fmla="*/ 8556 h 10000"/>
                <a:gd name="connsiteX118" fmla="*/ 5940 w 10354"/>
                <a:gd name="connsiteY118" fmla="*/ 8556 h 10000"/>
                <a:gd name="connsiteX119" fmla="*/ 6014 w 10354"/>
                <a:gd name="connsiteY119" fmla="*/ 8470 h 10000"/>
                <a:gd name="connsiteX120" fmla="*/ 6018 w 10354"/>
                <a:gd name="connsiteY120" fmla="*/ 8444 h 10000"/>
                <a:gd name="connsiteX121" fmla="*/ 6014 w 10354"/>
                <a:gd name="connsiteY121" fmla="*/ 8419 h 10000"/>
                <a:gd name="connsiteX122" fmla="*/ 6018 w 10354"/>
                <a:gd name="connsiteY122" fmla="*/ 8393 h 10000"/>
                <a:gd name="connsiteX123" fmla="*/ 6041 w 10354"/>
                <a:gd name="connsiteY123" fmla="*/ 8333 h 10000"/>
                <a:gd name="connsiteX124" fmla="*/ 6069 w 10354"/>
                <a:gd name="connsiteY124" fmla="*/ 8188 h 10000"/>
                <a:gd name="connsiteX125" fmla="*/ 6088 w 10354"/>
                <a:gd name="connsiteY125" fmla="*/ 8162 h 10000"/>
                <a:gd name="connsiteX126" fmla="*/ 6115 w 10354"/>
                <a:gd name="connsiteY126" fmla="*/ 8094 h 10000"/>
                <a:gd name="connsiteX127" fmla="*/ 6115 w 10354"/>
                <a:gd name="connsiteY127" fmla="*/ 8094 h 10000"/>
                <a:gd name="connsiteX128" fmla="*/ 6106 w 10354"/>
                <a:gd name="connsiteY128" fmla="*/ 8077 h 10000"/>
                <a:gd name="connsiteX129" fmla="*/ 6106 w 10354"/>
                <a:gd name="connsiteY129" fmla="*/ 8009 h 10000"/>
                <a:gd name="connsiteX130" fmla="*/ 6101 w 10354"/>
                <a:gd name="connsiteY130" fmla="*/ 8000 h 10000"/>
                <a:gd name="connsiteX131" fmla="*/ 6069 w 10354"/>
                <a:gd name="connsiteY131" fmla="*/ 8009 h 10000"/>
                <a:gd name="connsiteX132" fmla="*/ 6069 w 10354"/>
                <a:gd name="connsiteY132" fmla="*/ 8000 h 10000"/>
                <a:gd name="connsiteX133" fmla="*/ 6069 w 10354"/>
                <a:gd name="connsiteY133" fmla="*/ 7974 h 10000"/>
                <a:gd name="connsiteX134" fmla="*/ 6101 w 10354"/>
                <a:gd name="connsiteY134" fmla="*/ 7923 h 10000"/>
                <a:gd name="connsiteX135" fmla="*/ 6106 w 10354"/>
                <a:gd name="connsiteY135" fmla="*/ 7889 h 10000"/>
                <a:gd name="connsiteX136" fmla="*/ 6129 w 10354"/>
                <a:gd name="connsiteY136" fmla="*/ 7863 h 10000"/>
                <a:gd name="connsiteX137" fmla="*/ 6300 w 10354"/>
                <a:gd name="connsiteY137" fmla="*/ 7812 h 10000"/>
                <a:gd name="connsiteX138" fmla="*/ 6359 w 10354"/>
                <a:gd name="connsiteY138" fmla="*/ 7872 h 10000"/>
                <a:gd name="connsiteX139" fmla="*/ 6373 w 10354"/>
                <a:gd name="connsiteY139" fmla="*/ 7889 h 10000"/>
                <a:gd name="connsiteX140" fmla="*/ 6401 w 10354"/>
                <a:gd name="connsiteY140" fmla="*/ 7889 h 10000"/>
                <a:gd name="connsiteX141" fmla="*/ 6433 w 10354"/>
                <a:gd name="connsiteY141" fmla="*/ 7915 h 10000"/>
                <a:gd name="connsiteX142" fmla="*/ 6461 w 10354"/>
                <a:gd name="connsiteY142" fmla="*/ 7974 h 10000"/>
                <a:gd name="connsiteX143" fmla="*/ 6461 w 10354"/>
                <a:gd name="connsiteY143" fmla="*/ 8000 h 10000"/>
                <a:gd name="connsiteX144" fmla="*/ 6484 w 10354"/>
                <a:gd name="connsiteY144" fmla="*/ 8034 h 10000"/>
                <a:gd name="connsiteX145" fmla="*/ 6484 w 10354"/>
                <a:gd name="connsiteY145" fmla="*/ 8051 h 10000"/>
                <a:gd name="connsiteX146" fmla="*/ 6484 w 10354"/>
                <a:gd name="connsiteY146" fmla="*/ 8034 h 10000"/>
                <a:gd name="connsiteX147" fmla="*/ 6558 w 10354"/>
                <a:gd name="connsiteY147" fmla="*/ 8444 h 10000"/>
                <a:gd name="connsiteX148" fmla="*/ 6558 w 10354"/>
                <a:gd name="connsiteY148" fmla="*/ 8462 h 10000"/>
                <a:gd name="connsiteX149" fmla="*/ 6558 w 10354"/>
                <a:gd name="connsiteY149" fmla="*/ 8462 h 10000"/>
                <a:gd name="connsiteX150" fmla="*/ 6562 w 10354"/>
                <a:gd name="connsiteY150" fmla="*/ 8547 h 10000"/>
                <a:gd name="connsiteX151" fmla="*/ 6576 w 10354"/>
                <a:gd name="connsiteY151" fmla="*/ 8573 h 10000"/>
                <a:gd name="connsiteX152" fmla="*/ 6604 w 10354"/>
                <a:gd name="connsiteY152" fmla="*/ 8581 h 10000"/>
                <a:gd name="connsiteX153" fmla="*/ 6631 w 10354"/>
                <a:gd name="connsiteY153" fmla="*/ 8556 h 10000"/>
                <a:gd name="connsiteX154" fmla="*/ 6691 w 10354"/>
                <a:gd name="connsiteY154" fmla="*/ 8607 h 10000"/>
                <a:gd name="connsiteX155" fmla="*/ 6728 w 10354"/>
                <a:gd name="connsiteY155" fmla="*/ 8667 h 10000"/>
                <a:gd name="connsiteX156" fmla="*/ 6742 w 10354"/>
                <a:gd name="connsiteY156" fmla="*/ 8684 h 10000"/>
                <a:gd name="connsiteX157" fmla="*/ 6765 w 10354"/>
                <a:gd name="connsiteY157" fmla="*/ 8684 h 10000"/>
                <a:gd name="connsiteX158" fmla="*/ 6765 w 10354"/>
                <a:gd name="connsiteY158" fmla="*/ 8709 h 10000"/>
                <a:gd name="connsiteX159" fmla="*/ 6765 w 10354"/>
                <a:gd name="connsiteY159" fmla="*/ 8709 h 10000"/>
                <a:gd name="connsiteX160" fmla="*/ 6770 w 10354"/>
                <a:gd name="connsiteY160" fmla="*/ 8709 h 10000"/>
                <a:gd name="connsiteX161" fmla="*/ 6770 w 10354"/>
                <a:gd name="connsiteY161" fmla="*/ 8744 h 10000"/>
                <a:gd name="connsiteX162" fmla="*/ 6779 w 10354"/>
                <a:gd name="connsiteY162" fmla="*/ 8769 h 10000"/>
                <a:gd name="connsiteX163" fmla="*/ 6779 w 10354"/>
                <a:gd name="connsiteY163" fmla="*/ 8846 h 10000"/>
                <a:gd name="connsiteX164" fmla="*/ 6797 w 10354"/>
                <a:gd name="connsiteY164" fmla="*/ 8906 h 10000"/>
                <a:gd name="connsiteX165" fmla="*/ 6816 w 10354"/>
                <a:gd name="connsiteY165" fmla="*/ 8906 h 10000"/>
                <a:gd name="connsiteX166" fmla="*/ 6843 w 10354"/>
                <a:gd name="connsiteY166" fmla="*/ 8915 h 10000"/>
                <a:gd name="connsiteX167" fmla="*/ 6862 w 10354"/>
                <a:gd name="connsiteY167" fmla="*/ 8906 h 10000"/>
                <a:gd name="connsiteX168" fmla="*/ 6935 w 10354"/>
                <a:gd name="connsiteY168" fmla="*/ 8829 h 10000"/>
                <a:gd name="connsiteX169" fmla="*/ 6963 w 10354"/>
                <a:gd name="connsiteY169" fmla="*/ 8829 h 10000"/>
                <a:gd name="connsiteX170" fmla="*/ 7046 w 10354"/>
                <a:gd name="connsiteY170" fmla="*/ 8769 h 10000"/>
                <a:gd name="connsiteX171" fmla="*/ 7046 w 10354"/>
                <a:gd name="connsiteY171" fmla="*/ 8769 h 10000"/>
                <a:gd name="connsiteX172" fmla="*/ 7032 w 10354"/>
                <a:gd name="connsiteY172" fmla="*/ 8803 h 10000"/>
                <a:gd name="connsiteX173" fmla="*/ 7032 w 10354"/>
                <a:gd name="connsiteY173" fmla="*/ 8846 h 10000"/>
                <a:gd name="connsiteX174" fmla="*/ 7037 w 10354"/>
                <a:gd name="connsiteY174" fmla="*/ 8880 h 10000"/>
                <a:gd name="connsiteX175" fmla="*/ 7037 w 10354"/>
                <a:gd name="connsiteY175" fmla="*/ 8932 h 10000"/>
                <a:gd name="connsiteX176" fmla="*/ 7005 w 10354"/>
                <a:gd name="connsiteY176" fmla="*/ 8983 h 10000"/>
                <a:gd name="connsiteX177" fmla="*/ 6977 w 10354"/>
                <a:gd name="connsiteY177" fmla="*/ 9188 h 10000"/>
                <a:gd name="connsiteX178" fmla="*/ 6935 w 10354"/>
                <a:gd name="connsiteY178" fmla="*/ 9316 h 10000"/>
                <a:gd name="connsiteX179" fmla="*/ 6931 w 10354"/>
                <a:gd name="connsiteY179" fmla="*/ 9368 h 10000"/>
                <a:gd name="connsiteX180" fmla="*/ 6917 w 10354"/>
                <a:gd name="connsiteY180" fmla="*/ 9376 h 10000"/>
                <a:gd name="connsiteX181" fmla="*/ 6912 w 10354"/>
                <a:gd name="connsiteY181" fmla="*/ 9376 h 10000"/>
                <a:gd name="connsiteX182" fmla="*/ 6848 w 10354"/>
                <a:gd name="connsiteY182" fmla="*/ 9342 h 10000"/>
                <a:gd name="connsiteX183" fmla="*/ 6788 w 10354"/>
                <a:gd name="connsiteY183" fmla="*/ 9436 h 10000"/>
                <a:gd name="connsiteX184" fmla="*/ 6802 w 10354"/>
                <a:gd name="connsiteY184" fmla="*/ 9462 h 10000"/>
                <a:gd name="connsiteX185" fmla="*/ 6811 w 10354"/>
                <a:gd name="connsiteY185" fmla="*/ 9667 h 10000"/>
                <a:gd name="connsiteX186" fmla="*/ 6788 w 10354"/>
                <a:gd name="connsiteY186" fmla="*/ 9709 h 10000"/>
                <a:gd name="connsiteX187" fmla="*/ 6765 w 10354"/>
                <a:gd name="connsiteY187" fmla="*/ 9752 h 10000"/>
                <a:gd name="connsiteX188" fmla="*/ 6765 w 10354"/>
                <a:gd name="connsiteY188" fmla="*/ 9803 h 10000"/>
                <a:gd name="connsiteX189" fmla="*/ 6770 w 10354"/>
                <a:gd name="connsiteY189" fmla="*/ 9821 h 10000"/>
                <a:gd name="connsiteX190" fmla="*/ 6779 w 10354"/>
                <a:gd name="connsiteY190" fmla="*/ 9812 h 10000"/>
                <a:gd name="connsiteX191" fmla="*/ 6779 w 10354"/>
                <a:gd name="connsiteY191" fmla="*/ 9803 h 10000"/>
                <a:gd name="connsiteX192" fmla="*/ 6770 w 10354"/>
                <a:gd name="connsiteY192" fmla="*/ 9786 h 10000"/>
                <a:gd name="connsiteX193" fmla="*/ 6811 w 10354"/>
                <a:gd name="connsiteY193" fmla="*/ 9786 h 10000"/>
                <a:gd name="connsiteX194" fmla="*/ 6816 w 10354"/>
                <a:gd name="connsiteY194" fmla="*/ 9761 h 10000"/>
                <a:gd name="connsiteX195" fmla="*/ 6825 w 10354"/>
                <a:gd name="connsiteY195" fmla="*/ 9752 h 10000"/>
                <a:gd name="connsiteX196" fmla="*/ 6825 w 10354"/>
                <a:gd name="connsiteY196" fmla="*/ 9726 h 10000"/>
                <a:gd name="connsiteX197" fmla="*/ 6843 w 10354"/>
                <a:gd name="connsiteY197" fmla="*/ 9701 h 10000"/>
                <a:gd name="connsiteX198" fmla="*/ 6848 w 10354"/>
                <a:gd name="connsiteY198" fmla="*/ 9650 h 10000"/>
                <a:gd name="connsiteX199" fmla="*/ 6848 w 10354"/>
                <a:gd name="connsiteY199" fmla="*/ 9675 h 10000"/>
                <a:gd name="connsiteX200" fmla="*/ 6862 w 10354"/>
                <a:gd name="connsiteY200" fmla="*/ 9675 h 10000"/>
                <a:gd name="connsiteX201" fmla="*/ 6857 w 10354"/>
                <a:gd name="connsiteY201" fmla="*/ 9701 h 10000"/>
                <a:gd name="connsiteX202" fmla="*/ 6857 w 10354"/>
                <a:gd name="connsiteY202" fmla="*/ 9701 h 10000"/>
                <a:gd name="connsiteX203" fmla="*/ 6876 w 10354"/>
                <a:gd name="connsiteY203" fmla="*/ 9684 h 10000"/>
                <a:gd name="connsiteX204" fmla="*/ 6885 w 10354"/>
                <a:gd name="connsiteY204" fmla="*/ 9675 h 10000"/>
                <a:gd name="connsiteX205" fmla="*/ 6876 w 10354"/>
                <a:gd name="connsiteY205" fmla="*/ 9735 h 10000"/>
                <a:gd name="connsiteX206" fmla="*/ 6885 w 10354"/>
                <a:gd name="connsiteY206" fmla="*/ 9752 h 10000"/>
                <a:gd name="connsiteX207" fmla="*/ 6903 w 10354"/>
                <a:gd name="connsiteY207" fmla="*/ 9752 h 10000"/>
                <a:gd name="connsiteX208" fmla="*/ 6917 w 10354"/>
                <a:gd name="connsiteY208" fmla="*/ 9761 h 10000"/>
                <a:gd name="connsiteX209" fmla="*/ 6917 w 10354"/>
                <a:gd name="connsiteY209" fmla="*/ 9761 h 10000"/>
                <a:gd name="connsiteX210" fmla="*/ 6922 w 10354"/>
                <a:gd name="connsiteY210" fmla="*/ 9778 h 10000"/>
                <a:gd name="connsiteX211" fmla="*/ 6945 w 10354"/>
                <a:gd name="connsiteY211" fmla="*/ 9778 h 10000"/>
                <a:gd name="connsiteX212" fmla="*/ 6972 w 10354"/>
                <a:gd name="connsiteY212" fmla="*/ 9752 h 10000"/>
                <a:gd name="connsiteX213" fmla="*/ 6977 w 10354"/>
                <a:gd name="connsiteY213" fmla="*/ 9752 h 10000"/>
                <a:gd name="connsiteX214" fmla="*/ 7069 w 10354"/>
                <a:gd name="connsiteY214" fmla="*/ 9624 h 10000"/>
                <a:gd name="connsiteX215" fmla="*/ 7097 w 10354"/>
                <a:gd name="connsiteY215" fmla="*/ 9547 h 10000"/>
                <a:gd name="connsiteX216" fmla="*/ 7106 w 10354"/>
                <a:gd name="connsiteY216" fmla="*/ 9530 h 10000"/>
                <a:gd name="connsiteX217" fmla="*/ 7124 w 10354"/>
                <a:gd name="connsiteY217" fmla="*/ 9479 h 10000"/>
                <a:gd name="connsiteX218" fmla="*/ 7138 w 10354"/>
                <a:gd name="connsiteY218" fmla="*/ 9462 h 10000"/>
                <a:gd name="connsiteX219" fmla="*/ 7378 w 10354"/>
                <a:gd name="connsiteY219" fmla="*/ 8795 h 10000"/>
                <a:gd name="connsiteX220" fmla="*/ 7392 w 10354"/>
                <a:gd name="connsiteY220" fmla="*/ 8795 h 10000"/>
                <a:gd name="connsiteX221" fmla="*/ 7401 w 10354"/>
                <a:gd name="connsiteY221" fmla="*/ 8769 h 10000"/>
                <a:gd name="connsiteX222" fmla="*/ 7406 w 10354"/>
                <a:gd name="connsiteY222" fmla="*/ 8692 h 10000"/>
                <a:gd name="connsiteX223" fmla="*/ 7406 w 10354"/>
                <a:gd name="connsiteY223" fmla="*/ 8667 h 10000"/>
                <a:gd name="connsiteX224" fmla="*/ 7419 w 10354"/>
                <a:gd name="connsiteY224" fmla="*/ 8598 h 10000"/>
                <a:gd name="connsiteX225" fmla="*/ 7419 w 10354"/>
                <a:gd name="connsiteY225" fmla="*/ 8496 h 10000"/>
                <a:gd name="connsiteX226" fmla="*/ 7424 w 10354"/>
                <a:gd name="connsiteY226" fmla="*/ 8470 h 10000"/>
                <a:gd name="connsiteX227" fmla="*/ 7424 w 10354"/>
                <a:gd name="connsiteY227" fmla="*/ 8462 h 10000"/>
                <a:gd name="connsiteX228" fmla="*/ 7419 w 10354"/>
                <a:gd name="connsiteY228" fmla="*/ 8462 h 10000"/>
                <a:gd name="connsiteX229" fmla="*/ 7410 w 10354"/>
                <a:gd name="connsiteY229" fmla="*/ 8350 h 10000"/>
                <a:gd name="connsiteX230" fmla="*/ 7419 w 10354"/>
                <a:gd name="connsiteY230" fmla="*/ 8325 h 10000"/>
                <a:gd name="connsiteX231" fmla="*/ 7424 w 10354"/>
                <a:gd name="connsiteY231" fmla="*/ 8248 h 10000"/>
                <a:gd name="connsiteX232" fmla="*/ 7433 w 10354"/>
                <a:gd name="connsiteY232" fmla="*/ 8248 h 10000"/>
                <a:gd name="connsiteX233" fmla="*/ 7433 w 10354"/>
                <a:gd name="connsiteY233" fmla="*/ 8231 h 10000"/>
                <a:gd name="connsiteX234" fmla="*/ 7433 w 10354"/>
                <a:gd name="connsiteY234" fmla="*/ 8222 h 10000"/>
                <a:gd name="connsiteX235" fmla="*/ 7433 w 10354"/>
                <a:gd name="connsiteY235" fmla="*/ 8214 h 10000"/>
                <a:gd name="connsiteX236" fmla="*/ 7447 w 10354"/>
                <a:gd name="connsiteY236" fmla="*/ 8162 h 10000"/>
                <a:gd name="connsiteX237" fmla="*/ 7461 w 10354"/>
                <a:gd name="connsiteY237" fmla="*/ 8162 h 10000"/>
                <a:gd name="connsiteX238" fmla="*/ 7475 w 10354"/>
                <a:gd name="connsiteY238" fmla="*/ 8111 h 10000"/>
                <a:gd name="connsiteX239" fmla="*/ 7475 w 10354"/>
                <a:gd name="connsiteY239" fmla="*/ 8085 h 10000"/>
                <a:gd name="connsiteX240" fmla="*/ 7479 w 10354"/>
                <a:gd name="connsiteY240" fmla="*/ 8060 h 10000"/>
                <a:gd name="connsiteX241" fmla="*/ 7452 w 10354"/>
                <a:gd name="connsiteY241" fmla="*/ 8009 h 10000"/>
                <a:gd name="connsiteX242" fmla="*/ 7465 w 10354"/>
                <a:gd name="connsiteY242" fmla="*/ 7974 h 10000"/>
                <a:gd name="connsiteX243" fmla="*/ 7452 w 10354"/>
                <a:gd name="connsiteY243" fmla="*/ 7923 h 10000"/>
                <a:gd name="connsiteX244" fmla="*/ 7433 w 10354"/>
                <a:gd name="connsiteY244" fmla="*/ 7889 h 10000"/>
                <a:gd name="connsiteX245" fmla="*/ 7419 w 10354"/>
                <a:gd name="connsiteY245" fmla="*/ 7889 h 10000"/>
                <a:gd name="connsiteX246" fmla="*/ 7401 w 10354"/>
                <a:gd name="connsiteY246" fmla="*/ 7863 h 10000"/>
                <a:gd name="connsiteX247" fmla="*/ 7387 w 10354"/>
                <a:gd name="connsiteY247" fmla="*/ 7863 h 10000"/>
                <a:gd name="connsiteX248" fmla="*/ 7373 w 10354"/>
                <a:gd name="connsiteY248" fmla="*/ 7863 h 10000"/>
                <a:gd name="connsiteX249" fmla="*/ 7387 w 10354"/>
                <a:gd name="connsiteY249" fmla="*/ 7846 h 10000"/>
                <a:gd name="connsiteX250" fmla="*/ 7401 w 10354"/>
                <a:gd name="connsiteY250" fmla="*/ 7846 h 10000"/>
                <a:gd name="connsiteX251" fmla="*/ 7410 w 10354"/>
                <a:gd name="connsiteY251" fmla="*/ 7863 h 10000"/>
                <a:gd name="connsiteX252" fmla="*/ 7424 w 10354"/>
                <a:gd name="connsiteY252" fmla="*/ 7872 h 10000"/>
                <a:gd name="connsiteX253" fmla="*/ 7433 w 10354"/>
                <a:gd name="connsiteY253" fmla="*/ 7863 h 10000"/>
                <a:gd name="connsiteX254" fmla="*/ 7461 w 10354"/>
                <a:gd name="connsiteY254" fmla="*/ 7897 h 10000"/>
                <a:gd name="connsiteX255" fmla="*/ 7465 w 10354"/>
                <a:gd name="connsiteY255" fmla="*/ 7889 h 10000"/>
                <a:gd name="connsiteX256" fmla="*/ 7475 w 10354"/>
                <a:gd name="connsiteY256" fmla="*/ 7863 h 10000"/>
                <a:gd name="connsiteX257" fmla="*/ 7475 w 10354"/>
                <a:gd name="connsiteY257" fmla="*/ 7838 h 10000"/>
                <a:gd name="connsiteX258" fmla="*/ 7465 w 10354"/>
                <a:gd name="connsiteY258" fmla="*/ 7838 h 10000"/>
                <a:gd name="connsiteX259" fmla="*/ 7406 w 10354"/>
                <a:gd name="connsiteY259" fmla="*/ 7752 h 10000"/>
                <a:gd name="connsiteX260" fmla="*/ 7401 w 10354"/>
                <a:gd name="connsiteY260" fmla="*/ 7735 h 10000"/>
                <a:gd name="connsiteX261" fmla="*/ 7401 w 10354"/>
                <a:gd name="connsiteY261" fmla="*/ 7701 h 10000"/>
                <a:gd name="connsiteX262" fmla="*/ 7378 w 10354"/>
                <a:gd name="connsiteY262" fmla="*/ 7675 h 10000"/>
                <a:gd name="connsiteX263" fmla="*/ 7373 w 10354"/>
                <a:gd name="connsiteY263" fmla="*/ 7667 h 10000"/>
                <a:gd name="connsiteX264" fmla="*/ 7364 w 10354"/>
                <a:gd name="connsiteY264" fmla="*/ 7650 h 10000"/>
                <a:gd name="connsiteX265" fmla="*/ 7364 w 10354"/>
                <a:gd name="connsiteY265" fmla="*/ 7641 h 10000"/>
                <a:gd name="connsiteX266" fmla="*/ 7350 w 10354"/>
                <a:gd name="connsiteY266" fmla="*/ 7641 h 10000"/>
                <a:gd name="connsiteX267" fmla="*/ 7336 w 10354"/>
                <a:gd name="connsiteY267" fmla="*/ 7650 h 10000"/>
                <a:gd name="connsiteX268" fmla="*/ 7327 w 10354"/>
                <a:gd name="connsiteY268" fmla="*/ 7650 h 10000"/>
                <a:gd name="connsiteX269" fmla="*/ 7300 w 10354"/>
                <a:gd name="connsiteY269" fmla="*/ 7641 h 10000"/>
                <a:gd name="connsiteX270" fmla="*/ 7300 w 10354"/>
                <a:gd name="connsiteY270" fmla="*/ 7675 h 10000"/>
                <a:gd name="connsiteX271" fmla="*/ 7300 w 10354"/>
                <a:gd name="connsiteY271" fmla="*/ 7692 h 10000"/>
                <a:gd name="connsiteX272" fmla="*/ 7286 w 10354"/>
                <a:gd name="connsiteY272" fmla="*/ 7786 h 10000"/>
                <a:gd name="connsiteX273" fmla="*/ 7272 w 10354"/>
                <a:gd name="connsiteY273" fmla="*/ 7803 h 10000"/>
                <a:gd name="connsiteX274" fmla="*/ 7276 w 10354"/>
                <a:gd name="connsiteY274" fmla="*/ 7761 h 10000"/>
                <a:gd name="connsiteX275" fmla="*/ 7286 w 10354"/>
                <a:gd name="connsiteY275" fmla="*/ 7735 h 10000"/>
                <a:gd name="connsiteX276" fmla="*/ 7276 w 10354"/>
                <a:gd name="connsiteY276" fmla="*/ 7709 h 10000"/>
                <a:gd name="connsiteX277" fmla="*/ 7258 w 10354"/>
                <a:gd name="connsiteY277" fmla="*/ 7761 h 10000"/>
                <a:gd name="connsiteX278" fmla="*/ 7217 w 10354"/>
                <a:gd name="connsiteY278" fmla="*/ 7786 h 10000"/>
                <a:gd name="connsiteX279" fmla="*/ 7203 w 10354"/>
                <a:gd name="connsiteY279" fmla="*/ 7786 h 10000"/>
                <a:gd name="connsiteX280" fmla="*/ 7198 w 10354"/>
                <a:gd name="connsiteY280" fmla="*/ 7778 h 10000"/>
                <a:gd name="connsiteX281" fmla="*/ 7212 w 10354"/>
                <a:gd name="connsiteY281" fmla="*/ 7761 h 10000"/>
                <a:gd name="connsiteX282" fmla="*/ 7230 w 10354"/>
                <a:gd name="connsiteY282" fmla="*/ 7726 h 10000"/>
                <a:gd name="connsiteX283" fmla="*/ 7226 w 10354"/>
                <a:gd name="connsiteY283" fmla="*/ 7709 h 10000"/>
                <a:gd name="connsiteX284" fmla="*/ 7212 w 10354"/>
                <a:gd name="connsiteY284" fmla="*/ 7701 h 10000"/>
                <a:gd name="connsiteX285" fmla="*/ 7203 w 10354"/>
                <a:gd name="connsiteY285" fmla="*/ 7675 h 10000"/>
                <a:gd name="connsiteX286" fmla="*/ 7217 w 10354"/>
                <a:gd name="connsiteY286" fmla="*/ 7675 h 10000"/>
                <a:gd name="connsiteX287" fmla="*/ 7226 w 10354"/>
                <a:gd name="connsiteY287" fmla="*/ 7650 h 10000"/>
                <a:gd name="connsiteX288" fmla="*/ 7226 w 10354"/>
                <a:gd name="connsiteY288" fmla="*/ 7641 h 10000"/>
                <a:gd name="connsiteX289" fmla="*/ 7203 w 10354"/>
                <a:gd name="connsiteY289" fmla="*/ 7641 h 10000"/>
                <a:gd name="connsiteX290" fmla="*/ 7198 w 10354"/>
                <a:gd name="connsiteY290" fmla="*/ 7650 h 10000"/>
                <a:gd name="connsiteX291" fmla="*/ 7194 w 10354"/>
                <a:gd name="connsiteY291" fmla="*/ 7675 h 10000"/>
                <a:gd name="connsiteX292" fmla="*/ 7198 w 10354"/>
                <a:gd name="connsiteY292" fmla="*/ 7692 h 10000"/>
                <a:gd name="connsiteX293" fmla="*/ 7198 w 10354"/>
                <a:gd name="connsiteY293" fmla="*/ 7709 h 10000"/>
                <a:gd name="connsiteX294" fmla="*/ 7184 w 10354"/>
                <a:gd name="connsiteY294" fmla="*/ 7726 h 10000"/>
                <a:gd name="connsiteX295" fmla="*/ 7180 w 10354"/>
                <a:gd name="connsiteY295" fmla="*/ 7726 h 10000"/>
                <a:gd name="connsiteX296" fmla="*/ 7171 w 10354"/>
                <a:gd name="connsiteY296" fmla="*/ 7752 h 10000"/>
                <a:gd name="connsiteX297" fmla="*/ 7166 w 10354"/>
                <a:gd name="connsiteY297" fmla="*/ 7735 h 10000"/>
                <a:gd name="connsiteX298" fmla="*/ 7171 w 10354"/>
                <a:gd name="connsiteY298" fmla="*/ 7624 h 10000"/>
                <a:gd name="connsiteX299" fmla="*/ 7171 w 10354"/>
                <a:gd name="connsiteY299" fmla="*/ 7615 h 10000"/>
                <a:gd name="connsiteX300" fmla="*/ 7171 w 10354"/>
                <a:gd name="connsiteY300" fmla="*/ 7590 h 10000"/>
                <a:gd name="connsiteX301" fmla="*/ 7166 w 10354"/>
                <a:gd name="connsiteY301" fmla="*/ 7564 h 10000"/>
                <a:gd name="connsiteX302" fmla="*/ 7157 w 10354"/>
                <a:gd name="connsiteY302" fmla="*/ 7564 h 10000"/>
                <a:gd name="connsiteX303" fmla="*/ 7097 w 10354"/>
                <a:gd name="connsiteY303" fmla="*/ 7573 h 10000"/>
                <a:gd name="connsiteX304" fmla="*/ 7065 w 10354"/>
                <a:gd name="connsiteY304" fmla="*/ 7538 h 10000"/>
                <a:gd name="connsiteX305" fmla="*/ 7069 w 10354"/>
                <a:gd name="connsiteY305" fmla="*/ 7504 h 10000"/>
                <a:gd name="connsiteX306" fmla="*/ 7106 w 10354"/>
                <a:gd name="connsiteY306" fmla="*/ 7453 h 10000"/>
                <a:gd name="connsiteX307" fmla="*/ 7111 w 10354"/>
                <a:gd name="connsiteY307" fmla="*/ 7436 h 10000"/>
                <a:gd name="connsiteX308" fmla="*/ 7138 w 10354"/>
                <a:gd name="connsiteY308" fmla="*/ 7402 h 10000"/>
                <a:gd name="connsiteX309" fmla="*/ 7143 w 10354"/>
                <a:gd name="connsiteY309" fmla="*/ 7376 h 10000"/>
                <a:gd name="connsiteX310" fmla="*/ 7152 w 10354"/>
                <a:gd name="connsiteY310" fmla="*/ 7368 h 10000"/>
                <a:gd name="connsiteX311" fmla="*/ 7157 w 10354"/>
                <a:gd name="connsiteY311" fmla="*/ 7350 h 10000"/>
                <a:gd name="connsiteX312" fmla="*/ 7230 w 10354"/>
                <a:gd name="connsiteY312" fmla="*/ 7239 h 10000"/>
                <a:gd name="connsiteX313" fmla="*/ 7240 w 10354"/>
                <a:gd name="connsiteY313" fmla="*/ 7205 h 10000"/>
                <a:gd name="connsiteX314" fmla="*/ 7253 w 10354"/>
                <a:gd name="connsiteY314" fmla="*/ 7188 h 10000"/>
                <a:gd name="connsiteX315" fmla="*/ 7258 w 10354"/>
                <a:gd name="connsiteY315" fmla="*/ 7162 h 10000"/>
                <a:gd name="connsiteX316" fmla="*/ 7258 w 10354"/>
                <a:gd name="connsiteY316" fmla="*/ 7154 h 10000"/>
                <a:gd name="connsiteX317" fmla="*/ 7272 w 10354"/>
                <a:gd name="connsiteY317" fmla="*/ 7120 h 10000"/>
                <a:gd name="connsiteX318" fmla="*/ 7276 w 10354"/>
                <a:gd name="connsiteY318" fmla="*/ 7094 h 10000"/>
                <a:gd name="connsiteX319" fmla="*/ 7286 w 10354"/>
                <a:gd name="connsiteY319" fmla="*/ 7094 h 10000"/>
                <a:gd name="connsiteX320" fmla="*/ 7290 w 10354"/>
                <a:gd name="connsiteY320" fmla="*/ 7068 h 10000"/>
                <a:gd name="connsiteX321" fmla="*/ 7332 w 10354"/>
                <a:gd name="connsiteY321" fmla="*/ 6991 h 10000"/>
                <a:gd name="connsiteX322" fmla="*/ 7336 w 10354"/>
                <a:gd name="connsiteY322" fmla="*/ 6991 h 10000"/>
                <a:gd name="connsiteX323" fmla="*/ 7364 w 10354"/>
                <a:gd name="connsiteY323" fmla="*/ 6940 h 10000"/>
                <a:gd name="connsiteX324" fmla="*/ 7373 w 10354"/>
                <a:gd name="connsiteY324" fmla="*/ 6906 h 10000"/>
                <a:gd name="connsiteX325" fmla="*/ 7378 w 10354"/>
                <a:gd name="connsiteY325" fmla="*/ 6915 h 10000"/>
                <a:gd name="connsiteX326" fmla="*/ 7406 w 10354"/>
                <a:gd name="connsiteY326" fmla="*/ 6880 h 10000"/>
                <a:gd name="connsiteX327" fmla="*/ 7410 w 10354"/>
                <a:gd name="connsiteY327" fmla="*/ 6846 h 10000"/>
                <a:gd name="connsiteX328" fmla="*/ 7419 w 10354"/>
                <a:gd name="connsiteY328" fmla="*/ 6803 h 10000"/>
                <a:gd name="connsiteX329" fmla="*/ 7585 w 10354"/>
                <a:gd name="connsiteY329" fmla="*/ 6504 h 10000"/>
                <a:gd name="connsiteX330" fmla="*/ 7765 w 10354"/>
                <a:gd name="connsiteY330" fmla="*/ 6504 h 10000"/>
                <a:gd name="connsiteX331" fmla="*/ 7765 w 10354"/>
                <a:gd name="connsiteY331" fmla="*/ 6530 h 10000"/>
                <a:gd name="connsiteX332" fmla="*/ 7774 w 10354"/>
                <a:gd name="connsiteY332" fmla="*/ 6556 h 10000"/>
                <a:gd name="connsiteX333" fmla="*/ 7779 w 10354"/>
                <a:gd name="connsiteY333" fmla="*/ 6556 h 10000"/>
                <a:gd name="connsiteX334" fmla="*/ 7793 w 10354"/>
                <a:gd name="connsiteY334" fmla="*/ 6547 h 10000"/>
                <a:gd name="connsiteX335" fmla="*/ 7793 w 10354"/>
                <a:gd name="connsiteY335" fmla="*/ 6530 h 10000"/>
                <a:gd name="connsiteX336" fmla="*/ 7802 w 10354"/>
                <a:gd name="connsiteY336" fmla="*/ 6496 h 10000"/>
                <a:gd name="connsiteX337" fmla="*/ 7806 w 10354"/>
                <a:gd name="connsiteY337" fmla="*/ 6487 h 10000"/>
                <a:gd name="connsiteX338" fmla="*/ 7876 w 10354"/>
                <a:gd name="connsiteY338" fmla="*/ 6530 h 10000"/>
                <a:gd name="connsiteX339" fmla="*/ 7894 w 10354"/>
                <a:gd name="connsiteY339" fmla="*/ 6530 h 10000"/>
                <a:gd name="connsiteX340" fmla="*/ 7894 w 10354"/>
                <a:gd name="connsiteY340" fmla="*/ 6504 h 10000"/>
                <a:gd name="connsiteX341" fmla="*/ 7899 w 10354"/>
                <a:gd name="connsiteY341" fmla="*/ 6504 h 10000"/>
                <a:gd name="connsiteX342" fmla="*/ 7926 w 10354"/>
                <a:gd name="connsiteY342" fmla="*/ 6504 h 10000"/>
                <a:gd name="connsiteX343" fmla="*/ 7940 w 10354"/>
                <a:gd name="connsiteY343" fmla="*/ 6547 h 10000"/>
                <a:gd name="connsiteX344" fmla="*/ 7949 w 10354"/>
                <a:gd name="connsiteY344" fmla="*/ 6547 h 10000"/>
                <a:gd name="connsiteX345" fmla="*/ 7963 w 10354"/>
                <a:gd name="connsiteY345" fmla="*/ 6530 h 10000"/>
                <a:gd name="connsiteX346" fmla="*/ 7963 w 10354"/>
                <a:gd name="connsiteY346" fmla="*/ 6504 h 10000"/>
                <a:gd name="connsiteX347" fmla="*/ 7963 w 10354"/>
                <a:gd name="connsiteY347" fmla="*/ 6504 h 10000"/>
                <a:gd name="connsiteX348" fmla="*/ 7954 w 10354"/>
                <a:gd name="connsiteY348" fmla="*/ 6496 h 10000"/>
                <a:gd name="connsiteX349" fmla="*/ 7963 w 10354"/>
                <a:gd name="connsiteY349" fmla="*/ 6487 h 10000"/>
                <a:gd name="connsiteX350" fmla="*/ 7982 w 10354"/>
                <a:gd name="connsiteY350" fmla="*/ 6487 h 10000"/>
                <a:gd name="connsiteX351" fmla="*/ 7982 w 10354"/>
                <a:gd name="connsiteY351" fmla="*/ 6470 h 10000"/>
                <a:gd name="connsiteX352" fmla="*/ 7972 w 10354"/>
                <a:gd name="connsiteY352" fmla="*/ 6462 h 10000"/>
                <a:gd name="connsiteX353" fmla="*/ 7972 w 10354"/>
                <a:gd name="connsiteY353" fmla="*/ 6436 h 10000"/>
                <a:gd name="connsiteX354" fmla="*/ 7986 w 10354"/>
                <a:gd name="connsiteY354" fmla="*/ 6419 h 10000"/>
                <a:gd name="connsiteX355" fmla="*/ 8000 w 10354"/>
                <a:gd name="connsiteY355" fmla="*/ 6419 h 10000"/>
                <a:gd name="connsiteX356" fmla="*/ 8055 w 10354"/>
                <a:gd name="connsiteY356" fmla="*/ 6462 h 10000"/>
                <a:gd name="connsiteX357" fmla="*/ 8069 w 10354"/>
                <a:gd name="connsiteY357" fmla="*/ 6444 h 10000"/>
                <a:gd name="connsiteX358" fmla="*/ 8083 w 10354"/>
                <a:gd name="connsiteY358" fmla="*/ 6470 h 10000"/>
                <a:gd name="connsiteX359" fmla="*/ 8083 w 10354"/>
                <a:gd name="connsiteY359" fmla="*/ 6487 h 10000"/>
                <a:gd name="connsiteX360" fmla="*/ 8097 w 10354"/>
                <a:gd name="connsiteY360" fmla="*/ 6487 h 10000"/>
                <a:gd name="connsiteX361" fmla="*/ 8101 w 10354"/>
                <a:gd name="connsiteY361" fmla="*/ 6462 h 10000"/>
                <a:gd name="connsiteX362" fmla="*/ 8115 w 10354"/>
                <a:gd name="connsiteY362" fmla="*/ 6462 h 10000"/>
                <a:gd name="connsiteX363" fmla="*/ 8129 w 10354"/>
                <a:gd name="connsiteY363" fmla="*/ 6462 h 10000"/>
                <a:gd name="connsiteX364" fmla="*/ 8157 w 10354"/>
                <a:gd name="connsiteY364" fmla="*/ 6496 h 10000"/>
                <a:gd name="connsiteX365" fmla="*/ 8157 w 10354"/>
                <a:gd name="connsiteY365" fmla="*/ 6521 h 10000"/>
                <a:gd name="connsiteX366" fmla="*/ 8180 w 10354"/>
                <a:gd name="connsiteY366" fmla="*/ 6530 h 10000"/>
                <a:gd name="connsiteX367" fmla="*/ 8180 w 10354"/>
                <a:gd name="connsiteY367" fmla="*/ 6547 h 10000"/>
                <a:gd name="connsiteX368" fmla="*/ 8171 w 10354"/>
                <a:gd name="connsiteY368" fmla="*/ 6556 h 10000"/>
                <a:gd name="connsiteX369" fmla="*/ 8129 w 10354"/>
                <a:gd name="connsiteY369" fmla="*/ 6556 h 10000"/>
                <a:gd name="connsiteX370" fmla="*/ 8106 w 10354"/>
                <a:gd name="connsiteY370" fmla="*/ 6573 h 10000"/>
                <a:gd name="connsiteX371" fmla="*/ 8115 w 10354"/>
                <a:gd name="connsiteY371" fmla="*/ 6581 h 10000"/>
                <a:gd name="connsiteX372" fmla="*/ 8129 w 10354"/>
                <a:gd name="connsiteY372" fmla="*/ 6632 h 10000"/>
                <a:gd name="connsiteX373" fmla="*/ 8171 w 10354"/>
                <a:gd name="connsiteY373" fmla="*/ 6632 h 10000"/>
                <a:gd name="connsiteX374" fmla="*/ 8180 w 10354"/>
                <a:gd name="connsiteY374" fmla="*/ 6624 h 10000"/>
                <a:gd name="connsiteX375" fmla="*/ 8189 w 10354"/>
                <a:gd name="connsiteY375" fmla="*/ 6598 h 10000"/>
                <a:gd name="connsiteX376" fmla="*/ 8203 w 10354"/>
                <a:gd name="connsiteY376" fmla="*/ 6581 h 10000"/>
                <a:gd name="connsiteX377" fmla="*/ 8207 w 10354"/>
                <a:gd name="connsiteY377" fmla="*/ 6607 h 10000"/>
                <a:gd name="connsiteX378" fmla="*/ 8221 w 10354"/>
                <a:gd name="connsiteY378" fmla="*/ 6624 h 10000"/>
                <a:gd name="connsiteX379" fmla="*/ 8235 w 10354"/>
                <a:gd name="connsiteY379" fmla="*/ 6607 h 10000"/>
                <a:gd name="connsiteX380" fmla="*/ 8240 w 10354"/>
                <a:gd name="connsiteY380" fmla="*/ 6581 h 10000"/>
                <a:gd name="connsiteX381" fmla="*/ 8253 w 10354"/>
                <a:gd name="connsiteY381" fmla="*/ 6573 h 10000"/>
                <a:gd name="connsiteX382" fmla="*/ 8263 w 10354"/>
                <a:gd name="connsiteY382" fmla="*/ 6556 h 10000"/>
                <a:gd name="connsiteX383" fmla="*/ 8276 w 10354"/>
                <a:gd name="connsiteY383" fmla="*/ 6547 h 10000"/>
                <a:gd name="connsiteX384" fmla="*/ 8290 w 10354"/>
                <a:gd name="connsiteY384" fmla="*/ 6556 h 10000"/>
                <a:gd name="connsiteX385" fmla="*/ 8304 w 10354"/>
                <a:gd name="connsiteY385" fmla="*/ 6581 h 10000"/>
                <a:gd name="connsiteX386" fmla="*/ 8309 w 10354"/>
                <a:gd name="connsiteY386" fmla="*/ 6581 h 10000"/>
                <a:gd name="connsiteX387" fmla="*/ 8327 w 10354"/>
                <a:gd name="connsiteY387" fmla="*/ 6573 h 10000"/>
                <a:gd name="connsiteX388" fmla="*/ 8327 w 10354"/>
                <a:gd name="connsiteY388" fmla="*/ 6556 h 10000"/>
                <a:gd name="connsiteX389" fmla="*/ 8350 w 10354"/>
                <a:gd name="connsiteY389" fmla="*/ 6556 h 10000"/>
                <a:gd name="connsiteX390" fmla="*/ 8355 w 10354"/>
                <a:gd name="connsiteY390" fmla="*/ 6573 h 10000"/>
                <a:gd name="connsiteX391" fmla="*/ 8364 w 10354"/>
                <a:gd name="connsiteY391" fmla="*/ 6556 h 10000"/>
                <a:gd name="connsiteX392" fmla="*/ 8369 w 10354"/>
                <a:gd name="connsiteY392" fmla="*/ 6556 h 10000"/>
                <a:gd name="connsiteX393" fmla="*/ 8378 w 10354"/>
                <a:gd name="connsiteY393" fmla="*/ 6530 h 10000"/>
                <a:gd name="connsiteX394" fmla="*/ 8369 w 10354"/>
                <a:gd name="connsiteY394" fmla="*/ 6504 h 10000"/>
                <a:gd name="connsiteX395" fmla="*/ 8364 w 10354"/>
                <a:gd name="connsiteY395" fmla="*/ 6496 h 10000"/>
                <a:gd name="connsiteX396" fmla="*/ 8336 w 10354"/>
                <a:gd name="connsiteY396" fmla="*/ 6470 h 10000"/>
                <a:gd name="connsiteX397" fmla="*/ 8309 w 10354"/>
                <a:gd name="connsiteY397" fmla="*/ 6487 h 10000"/>
                <a:gd name="connsiteX398" fmla="*/ 8313 w 10354"/>
                <a:gd name="connsiteY398" fmla="*/ 6462 h 10000"/>
                <a:gd name="connsiteX399" fmla="*/ 8323 w 10354"/>
                <a:gd name="connsiteY399" fmla="*/ 6444 h 10000"/>
                <a:gd name="connsiteX400" fmla="*/ 8309 w 10354"/>
                <a:gd name="connsiteY400" fmla="*/ 6393 h 10000"/>
                <a:gd name="connsiteX401" fmla="*/ 8313 w 10354"/>
                <a:gd name="connsiteY401" fmla="*/ 6385 h 10000"/>
                <a:gd name="connsiteX402" fmla="*/ 8323 w 10354"/>
                <a:gd name="connsiteY402" fmla="*/ 6393 h 10000"/>
                <a:gd name="connsiteX403" fmla="*/ 8323 w 10354"/>
                <a:gd name="connsiteY403" fmla="*/ 6393 h 10000"/>
                <a:gd name="connsiteX404" fmla="*/ 8355 w 10354"/>
                <a:gd name="connsiteY404" fmla="*/ 6282 h 10000"/>
                <a:gd name="connsiteX405" fmla="*/ 8369 w 10354"/>
                <a:gd name="connsiteY405" fmla="*/ 6256 h 10000"/>
                <a:gd name="connsiteX406" fmla="*/ 8382 w 10354"/>
                <a:gd name="connsiteY406" fmla="*/ 6248 h 10000"/>
                <a:gd name="connsiteX407" fmla="*/ 8424 w 10354"/>
                <a:gd name="connsiteY407" fmla="*/ 6162 h 10000"/>
                <a:gd name="connsiteX408" fmla="*/ 8429 w 10354"/>
                <a:gd name="connsiteY408" fmla="*/ 6145 h 10000"/>
                <a:gd name="connsiteX409" fmla="*/ 8470 w 10354"/>
                <a:gd name="connsiteY409" fmla="*/ 6051 h 10000"/>
                <a:gd name="connsiteX410" fmla="*/ 8475 w 10354"/>
                <a:gd name="connsiteY410" fmla="*/ 5983 h 10000"/>
                <a:gd name="connsiteX411" fmla="*/ 8512 w 10354"/>
                <a:gd name="connsiteY411" fmla="*/ 5940 h 10000"/>
                <a:gd name="connsiteX412" fmla="*/ 8521 w 10354"/>
                <a:gd name="connsiteY412" fmla="*/ 5923 h 10000"/>
                <a:gd name="connsiteX413" fmla="*/ 8535 w 10354"/>
                <a:gd name="connsiteY413" fmla="*/ 5915 h 10000"/>
                <a:gd name="connsiteX414" fmla="*/ 8562 w 10354"/>
                <a:gd name="connsiteY414" fmla="*/ 5915 h 10000"/>
                <a:gd name="connsiteX415" fmla="*/ 8618 w 10354"/>
                <a:gd name="connsiteY415" fmla="*/ 5889 h 10000"/>
                <a:gd name="connsiteX416" fmla="*/ 8622 w 10354"/>
                <a:gd name="connsiteY416" fmla="*/ 5889 h 10000"/>
                <a:gd name="connsiteX417" fmla="*/ 8622 w 10354"/>
                <a:gd name="connsiteY417" fmla="*/ 5872 h 10000"/>
                <a:gd name="connsiteX418" fmla="*/ 8636 w 10354"/>
                <a:gd name="connsiteY418" fmla="*/ 5872 h 10000"/>
                <a:gd name="connsiteX419" fmla="*/ 8650 w 10354"/>
                <a:gd name="connsiteY419" fmla="*/ 5889 h 10000"/>
                <a:gd name="connsiteX420" fmla="*/ 8659 w 10354"/>
                <a:gd name="connsiteY420" fmla="*/ 5915 h 10000"/>
                <a:gd name="connsiteX421" fmla="*/ 8664 w 10354"/>
                <a:gd name="connsiteY421" fmla="*/ 5940 h 10000"/>
                <a:gd name="connsiteX422" fmla="*/ 8682 w 10354"/>
                <a:gd name="connsiteY422" fmla="*/ 5923 h 10000"/>
                <a:gd name="connsiteX423" fmla="*/ 8719 w 10354"/>
                <a:gd name="connsiteY423" fmla="*/ 5863 h 10000"/>
                <a:gd name="connsiteX424" fmla="*/ 8705 w 10354"/>
                <a:gd name="connsiteY424" fmla="*/ 5966 h 10000"/>
                <a:gd name="connsiteX425" fmla="*/ 8696 w 10354"/>
                <a:gd name="connsiteY425" fmla="*/ 5983 h 10000"/>
                <a:gd name="connsiteX426" fmla="*/ 8682 w 10354"/>
                <a:gd name="connsiteY426" fmla="*/ 6026 h 10000"/>
                <a:gd name="connsiteX427" fmla="*/ 8682 w 10354"/>
                <a:gd name="connsiteY427" fmla="*/ 6051 h 10000"/>
                <a:gd name="connsiteX428" fmla="*/ 8691 w 10354"/>
                <a:gd name="connsiteY428" fmla="*/ 6077 h 10000"/>
                <a:gd name="connsiteX429" fmla="*/ 8691 w 10354"/>
                <a:gd name="connsiteY429" fmla="*/ 6085 h 10000"/>
                <a:gd name="connsiteX430" fmla="*/ 8682 w 10354"/>
                <a:gd name="connsiteY430" fmla="*/ 6103 h 10000"/>
                <a:gd name="connsiteX431" fmla="*/ 8682 w 10354"/>
                <a:gd name="connsiteY431" fmla="*/ 6111 h 10000"/>
                <a:gd name="connsiteX432" fmla="*/ 8691 w 10354"/>
                <a:gd name="connsiteY432" fmla="*/ 6120 h 10000"/>
                <a:gd name="connsiteX433" fmla="*/ 8719 w 10354"/>
                <a:gd name="connsiteY433" fmla="*/ 6103 h 10000"/>
                <a:gd name="connsiteX434" fmla="*/ 8705 w 10354"/>
                <a:gd name="connsiteY434" fmla="*/ 6188 h 10000"/>
                <a:gd name="connsiteX435" fmla="*/ 8705 w 10354"/>
                <a:gd name="connsiteY435" fmla="*/ 6214 h 10000"/>
                <a:gd name="connsiteX436" fmla="*/ 8710 w 10354"/>
                <a:gd name="connsiteY436" fmla="*/ 6197 h 10000"/>
                <a:gd name="connsiteX437" fmla="*/ 8728 w 10354"/>
                <a:gd name="connsiteY437" fmla="*/ 6171 h 10000"/>
                <a:gd name="connsiteX438" fmla="*/ 8737 w 10354"/>
                <a:gd name="connsiteY438" fmla="*/ 6171 h 10000"/>
                <a:gd name="connsiteX439" fmla="*/ 8843 w 10354"/>
                <a:gd name="connsiteY439" fmla="*/ 5949 h 10000"/>
                <a:gd name="connsiteX440" fmla="*/ 8866 w 10354"/>
                <a:gd name="connsiteY440" fmla="*/ 5949 h 10000"/>
                <a:gd name="connsiteX441" fmla="*/ 8871 w 10354"/>
                <a:gd name="connsiteY441" fmla="*/ 5940 h 10000"/>
                <a:gd name="connsiteX442" fmla="*/ 8876 w 10354"/>
                <a:gd name="connsiteY442" fmla="*/ 5923 h 10000"/>
                <a:gd name="connsiteX443" fmla="*/ 8885 w 10354"/>
                <a:gd name="connsiteY443" fmla="*/ 5940 h 10000"/>
                <a:gd name="connsiteX444" fmla="*/ 8885 w 10354"/>
                <a:gd name="connsiteY444" fmla="*/ 5949 h 10000"/>
                <a:gd name="connsiteX445" fmla="*/ 8885 w 10354"/>
                <a:gd name="connsiteY445" fmla="*/ 5974 h 10000"/>
                <a:gd name="connsiteX446" fmla="*/ 8889 w 10354"/>
                <a:gd name="connsiteY446" fmla="*/ 5974 h 10000"/>
                <a:gd name="connsiteX447" fmla="*/ 8903 w 10354"/>
                <a:gd name="connsiteY447" fmla="*/ 5923 h 10000"/>
                <a:gd name="connsiteX448" fmla="*/ 8889 w 10354"/>
                <a:gd name="connsiteY448" fmla="*/ 5923 h 10000"/>
                <a:gd name="connsiteX449" fmla="*/ 8889 w 10354"/>
                <a:gd name="connsiteY449" fmla="*/ 5897 h 10000"/>
                <a:gd name="connsiteX450" fmla="*/ 8899 w 10354"/>
                <a:gd name="connsiteY450" fmla="*/ 5838 h 10000"/>
                <a:gd name="connsiteX451" fmla="*/ 8889 w 10354"/>
                <a:gd name="connsiteY451" fmla="*/ 5812 h 10000"/>
                <a:gd name="connsiteX452" fmla="*/ 8903 w 10354"/>
                <a:gd name="connsiteY452" fmla="*/ 5778 h 10000"/>
                <a:gd name="connsiteX453" fmla="*/ 8903 w 10354"/>
                <a:gd name="connsiteY453" fmla="*/ 5761 h 10000"/>
                <a:gd name="connsiteX454" fmla="*/ 8912 w 10354"/>
                <a:gd name="connsiteY454" fmla="*/ 5735 h 10000"/>
                <a:gd name="connsiteX455" fmla="*/ 8931 w 10354"/>
                <a:gd name="connsiteY455" fmla="*/ 5701 h 10000"/>
                <a:gd name="connsiteX456" fmla="*/ 8977 w 10354"/>
                <a:gd name="connsiteY456" fmla="*/ 5675 h 10000"/>
                <a:gd name="connsiteX457" fmla="*/ 9000 w 10354"/>
                <a:gd name="connsiteY457" fmla="*/ 5675 h 10000"/>
                <a:gd name="connsiteX458" fmla="*/ 9018 w 10354"/>
                <a:gd name="connsiteY458" fmla="*/ 5709 h 10000"/>
                <a:gd name="connsiteX459" fmla="*/ 9009 w 10354"/>
                <a:gd name="connsiteY459" fmla="*/ 5735 h 10000"/>
                <a:gd name="connsiteX460" fmla="*/ 9000 w 10354"/>
                <a:gd name="connsiteY460" fmla="*/ 5735 h 10000"/>
                <a:gd name="connsiteX461" fmla="*/ 8963 w 10354"/>
                <a:gd name="connsiteY461" fmla="*/ 5786 h 10000"/>
                <a:gd name="connsiteX462" fmla="*/ 8949 w 10354"/>
                <a:gd name="connsiteY462" fmla="*/ 5940 h 10000"/>
                <a:gd name="connsiteX463" fmla="*/ 8945 w 10354"/>
                <a:gd name="connsiteY463" fmla="*/ 5966 h 10000"/>
                <a:gd name="connsiteX464" fmla="*/ 8945 w 10354"/>
                <a:gd name="connsiteY464" fmla="*/ 6000 h 10000"/>
                <a:gd name="connsiteX465" fmla="*/ 8945 w 10354"/>
                <a:gd name="connsiteY465" fmla="*/ 6009 h 10000"/>
                <a:gd name="connsiteX466" fmla="*/ 8945 w 10354"/>
                <a:gd name="connsiteY466" fmla="*/ 6034 h 10000"/>
                <a:gd name="connsiteX467" fmla="*/ 8931 w 10354"/>
                <a:gd name="connsiteY467" fmla="*/ 6060 h 10000"/>
                <a:gd name="connsiteX468" fmla="*/ 8926 w 10354"/>
                <a:gd name="connsiteY468" fmla="*/ 6077 h 10000"/>
                <a:gd name="connsiteX469" fmla="*/ 8926 w 10354"/>
                <a:gd name="connsiteY469" fmla="*/ 6111 h 10000"/>
                <a:gd name="connsiteX470" fmla="*/ 8931 w 10354"/>
                <a:gd name="connsiteY470" fmla="*/ 6120 h 10000"/>
                <a:gd name="connsiteX471" fmla="*/ 8931 w 10354"/>
                <a:gd name="connsiteY471" fmla="*/ 6137 h 10000"/>
                <a:gd name="connsiteX472" fmla="*/ 8912 w 10354"/>
                <a:gd name="connsiteY472" fmla="*/ 6171 h 10000"/>
                <a:gd name="connsiteX473" fmla="*/ 8899 w 10354"/>
                <a:gd name="connsiteY473" fmla="*/ 6162 h 10000"/>
                <a:gd name="connsiteX474" fmla="*/ 8885 w 10354"/>
                <a:gd name="connsiteY474" fmla="*/ 6171 h 10000"/>
                <a:gd name="connsiteX475" fmla="*/ 8866 w 10354"/>
                <a:gd name="connsiteY475" fmla="*/ 6214 h 10000"/>
                <a:gd name="connsiteX476" fmla="*/ 8853 w 10354"/>
                <a:gd name="connsiteY476" fmla="*/ 6214 h 10000"/>
                <a:gd name="connsiteX477" fmla="*/ 8816 w 10354"/>
                <a:gd name="connsiteY477" fmla="*/ 6248 h 10000"/>
                <a:gd name="connsiteX478" fmla="*/ 8816 w 10354"/>
                <a:gd name="connsiteY478" fmla="*/ 6248 h 10000"/>
                <a:gd name="connsiteX479" fmla="*/ 8816 w 10354"/>
                <a:gd name="connsiteY479" fmla="*/ 6282 h 10000"/>
                <a:gd name="connsiteX480" fmla="*/ 8811 w 10354"/>
                <a:gd name="connsiteY480" fmla="*/ 6308 h 10000"/>
                <a:gd name="connsiteX481" fmla="*/ 8751 w 10354"/>
                <a:gd name="connsiteY481" fmla="*/ 6436 h 10000"/>
                <a:gd name="connsiteX482" fmla="*/ 8724 w 10354"/>
                <a:gd name="connsiteY482" fmla="*/ 6470 h 10000"/>
                <a:gd name="connsiteX483" fmla="*/ 8710 w 10354"/>
                <a:gd name="connsiteY483" fmla="*/ 6504 h 10000"/>
                <a:gd name="connsiteX484" fmla="*/ 8705 w 10354"/>
                <a:gd name="connsiteY484" fmla="*/ 6521 h 10000"/>
                <a:gd name="connsiteX485" fmla="*/ 8677 w 10354"/>
                <a:gd name="connsiteY485" fmla="*/ 6573 h 10000"/>
                <a:gd name="connsiteX486" fmla="*/ 8677 w 10354"/>
                <a:gd name="connsiteY486" fmla="*/ 6624 h 10000"/>
                <a:gd name="connsiteX487" fmla="*/ 8590 w 10354"/>
                <a:gd name="connsiteY487" fmla="*/ 6803 h 10000"/>
                <a:gd name="connsiteX488" fmla="*/ 8562 w 10354"/>
                <a:gd name="connsiteY488" fmla="*/ 6829 h 10000"/>
                <a:gd name="connsiteX489" fmla="*/ 8544 w 10354"/>
                <a:gd name="connsiteY489" fmla="*/ 6829 h 10000"/>
                <a:gd name="connsiteX490" fmla="*/ 8521 w 10354"/>
                <a:gd name="connsiteY490" fmla="*/ 6880 h 10000"/>
                <a:gd name="connsiteX491" fmla="*/ 8498 w 10354"/>
                <a:gd name="connsiteY491" fmla="*/ 6872 h 10000"/>
                <a:gd name="connsiteX492" fmla="*/ 8488 w 10354"/>
                <a:gd name="connsiteY492" fmla="*/ 6872 h 10000"/>
                <a:gd name="connsiteX493" fmla="*/ 8498 w 10354"/>
                <a:gd name="connsiteY493" fmla="*/ 6940 h 10000"/>
                <a:gd name="connsiteX494" fmla="*/ 8484 w 10354"/>
                <a:gd name="connsiteY494" fmla="*/ 7026 h 10000"/>
                <a:gd name="connsiteX495" fmla="*/ 8429 w 10354"/>
                <a:gd name="connsiteY495" fmla="*/ 7094 h 10000"/>
                <a:gd name="connsiteX496" fmla="*/ 8401 w 10354"/>
                <a:gd name="connsiteY496" fmla="*/ 7291 h 10000"/>
                <a:gd name="connsiteX497" fmla="*/ 8424 w 10354"/>
                <a:gd name="connsiteY497" fmla="*/ 7692 h 10000"/>
                <a:gd name="connsiteX498" fmla="*/ 8424 w 10354"/>
                <a:gd name="connsiteY498" fmla="*/ 7701 h 10000"/>
                <a:gd name="connsiteX499" fmla="*/ 8484 w 10354"/>
                <a:gd name="connsiteY499" fmla="*/ 8308 h 10000"/>
                <a:gd name="connsiteX500" fmla="*/ 8576 w 10354"/>
                <a:gd name="connsiteY500" fmla="*/ 8120 h 10000"/>
                <a:gd name="connsiteX501" fmla="*/ 8590 w 10354"/>
                <a:gd name="connsiteY501" fmla="*/ 8026 h 10000"/>
                <a:gd name="connsiteX502" fmla="*/ 8590 w 10354"/>
                <a:gd name="connsiteY502" fmla="*/ 7983 h 10000"/>
                <a:gd name="connsiteX503" fmla="*/ 8594 w 10354"/>
                <a:gd name="connsiteY503" fmla="*/ 7974 h 10000"/>
                <a:gd name="connsiteX504" fmla="*/ 8594 w 10354"/>
                <a:gd name="connsiteY504" fmla="*/ 7940 h 10000"/>
                <a:gd name="connsiteX505" fmla="*/ 8594 w 10354"/>
                <a:gd name="connsiteY505" fmla="*/ 7923 h 10000"/>
                <a:gd name="connsiteX506" fmla="*/ 8594 w 10354"/>
                <a:gd name="connsiteY506" fmla="*/ 7915 h 10000"/>
                <a:gd name="connsiteX507" fmla="*/ 8604 w 10354"/>
                <a:gd name="connsiteY507" fmla="*/ 7915 h 10000"/>
                <a:gd name="connsiteX508" fmla="*/ 8608 w 10354"/>
                <a:gd name="connsiteY508" fmla="*/ 7923 h 10000"/>
                <a:gd name="connsiteX509" fmla="*/ 8645 w 10354"/>
                <a:gd name="connsiteY509" fmla="*/ 7872 h 10000"/>
                <a:gd name="connsiteX510" fmla="*/ 8668 w 10354"/>
                <a:gd name="connsiteY510" fmla="*/ 7846 h 10000"/>
                <a:gd name="connsiteX511" fmla="*/ 8691 w 10354"/>
                <a:gd name="connsiteY511" fmla="*/ 7863 h 10000"/>
                <a:gd name="connsiteX512" fmla="*/ 8691 w 10354"/>
                <a:gd name="connsiteY512" fmla="*/ 7846 h 10000"/>
                <a:gd name="connsiteX513" fmla="*/ 8682 w 10354"/>
                <a:gd name="connsiteY513" fmla="*/ 7838 h 10000"/>
                <a:gd name="connsiteX514" fmla="*/ 8682 w 10354"/>
                <a:gd name="connsiteY514" fmla="*/ 7692 h 10000"/>
                <a:gd name="connsiteX515" fmla="*/ 8728 w 10354"/>
                <a:gd name="connsiteY515" fmla="*/ 7598 h 10000"/>
                <a:gd name="connsiteX516" fmla="*/ 8751 w 10354"/>
                <a:gd name="connsiteY516" fmla="*/ 7573 h 10000"/>
                <a:gd name="connsiteX517" fmla="*/ 8770 w 10354"/>
                <a:gd name="connsiteY517" fmla="*/ 7573 h 10000"/>
                <a:gd name="connsiteX518" fmla="*/ 8779 w 10354"/>
                <a:gd name="connsiteY518" fmla="*/ 7590 h 10000"/>
                <a:gd name="connsiteX519" fmla="*/ 8793 w 10354"/>
                <a:gd name="connsiteY519" fmla="*/ 7590 h 10000"/>
                <a:gd name="connsiteX520" fmla="*/ 8811 w 10354"/>
                <a:gd name="connsiteY520" fmla="*/ 7590 h 10000"/>
                <a:gd name="connsiteX521" fmla="*/ 8825 w 10354"/>
                <a:gd name="connsiteY521" fmla="*/ 7556 h 10000"/>
                <a:gd name="connsiteX522" fmla="*/ 8829 w 10354"/>
                <a:gd name="connsiteY522" fmla="*/ 7530 h 10000"/>
                <a:gd name="connsiteX523" fmla="*/ 8802 w 10354"/>
                <a:gd name="connsiteY523" fmla="*/ 7462 h 10000"/>
                <a:gd name="connsiteX524" fmla="*/ 8797 w 10354"/>
                <a:gd name="connsiteY524" fmla="*/ 7402 h 10000"/>
                <a:gd name="connsiteX525" fmla="*/ 8816 w 10354"/>
                <a:gd name="connsiteY525" fmla="*/ 7291 h 10000"/>
                <a:gd name="connsiteX526" fmla="*/ 8825 w 10354"/>
                <a:gd name="connsiteY526" fmla="*/ 7256 h 10000"/>
                <a:gd name="connsiteX527" fmla="*/ 8843 w 10354"/>
                <a:gd name="connsiteY527" fmla="*/ 7231 h 10000"/>
                <a:gd name="connsiteX528" fmla="*/ 8839 w 10354"/>
                <a:gd name="connsiteY528" fmla="*/ 7205 h 10000"/>
                <a:gd name="connsiteX529" fmla="*/ 8839 w 10354"/>
                <a:gd name="connsiteY529" fmla="*/ 7188 h 10000"/>
                <a:gd name="connsiteX530" fmla="*/ 8876 w 10354"/>
                <a:gd name="connsiteY530" fmla="*/ 7162 h 10000"/>
                <a:gd name="connsiteX531" fmla="*/ 8885 w 10354"/>
                <a:gd name="connsiteY531" fmla="*/ 7154 h 10000"/>
                <a:gd name="connsiteX532" fmla="*/ 8885 w 10354"/>
                <a:gd name="connsiteY532" fmla="*/ 7162 h 10000"/>
                <a:gd name="connsiteX533" fmla="*/ 8876 w 10354"/>
                <a:gd name="connsiteY533" fmla="*/ 7188 h 10000"/>
                <a:gd name="connsiteX534" fmla="*/ 8871 w 10354"/>
                <a:gd name="connsiteY534" fmla="*/ 7205 h 10000"/>
                <a:gd name="connsiteX535" fmla="*/ 8866 w 10354"/>
                <a:gd name="connsiteY535" fmla="*/ 7214 h 10000"/>
                <a:gd name="connsiteX536" fmla="*/ 8876 w 10354"/>
                <a:gd name="connsiteY536" fmla="*/ 7265 h 10000"/>
                <a:gd name="connsiteX537" fmla="*/ 8885 w 10354"/>
                <a:gd name="connsiteY537" fmla="*/ 7282 h 10000"/>
                <a:gd name="connsiteX538" fmla="*/ 8889 w 10354"/>
                <a:gd name="connsiteY538" fmla="*/ 7282 h 10000"/>
                <a:gd name="connsiteX539" fmla="*/ 8903 w 10354"/>
                <a:gd name="connsiteY539" fmla="*/ 7239 h 10000"/>
                <a:gd name="connsiteX540" fmla="*/ 8903 w 10354"/>
                <a:gd name="connsiteY540" fmla="*/ 7214 h 10000"/>
                <a:gd name="connsiteX541" fmla="*/ 8899 w 10354"/>
                <a:gd name="connsiteY541" fmla="*/ 7128 h 10000"/>
                <a:gd name="connsiteX542" fmla="*/ 8889 w 10354"/>
                <a:gd name="connsiteY542" fmla="*/ 7120 h 10000"/>
                <a:gd name="connsiteX543" fmla="*/ 8871 w 10354"/>
                <a:gd name="connsiteY543" fmla="*/ 7120 h 10000"/>
                <a:gd name="connsiteX544" fmla="*/ 8871 w 10354"/>
                <a:gd name="connsiteY544" fmla="*/ 7120 h 10000"/>
                <a:gd name="connsiteX545" fmla="*/ 8871 w 10354"/>
                <a:gd name="connsiteY545" fmla="*/ 6991 h 10000"/>
                <a:gd name="connsiteX546" fmla="*/ 8871 w 10354"/>
                <a:gd name="connsiteY546" fmla="*/ 6966 h 10000"/>
                <a:gd name="connsiteX547" fmla="*/ 8889 w 10354"/>
                <a:gd name="connsiteY547" fmla="*/ 6940 h 10000"/>
                <a:gd name="connsiteX548" fmla="*/ 8903 w 10354"/>
                <a:gd name="connsiteY548" fmla="*/ 6906 h 10000"/>
                <a:gd name="connsiteX549" fmla="*/ 8899 w 10354"/>
                <a:gd name="connsiteY549" fmla="*/ 6880 h 10000"/>
                <a:gd name="connsiteX550" fmla="*/ 8866 w 10354"/>
                <a:gd name="connsiteY550" fmla="*/ 6846 h 10000"/>
                <a:gd name="connsiteX551" fmla="*/ 8853 w 10354"/>
                <a:gd name="connsiteY551" fmla="*/ 6846 h 10000"/>
                <a:gd name="connsiteX552" fmla="*/ 8843 w 10354"/>
                <a:gd name="connsiteY552" fmla="*/ 6880 h 10000"/>
                <a:gd name="connsiteX553" fmla="*/ 8843 w 10354"/>
                <a:gd name="connsiteY553" fmla="*/ 6897 h 10000"/>
                <a:gd name="connsiteX554" fmla="*/ 8829 w 10354"/>
                <a:gd name="connsiteY554" fmla="*/ 6880 h 10000"/>
                <a:gd name="connsiteX555" fmla="*/ 8825 w 10354"/>
                <a:gd name="connsiteY555" fmla="*/ 6872 h 10000"/>
                <a:gd name="connsiteX556" fmla="*/ 8816 w 10354"/>
                <a:gd name="connsiteY556" fmla="*/ 6846 h 10000"/>
                <a:gd name="connsiteX557" fmla="*/ 8816 w 10354"/>
                <a:gd name="connsiteY557" fmla="*/ 6803 h 10000"/>
                <a:gd name="connsiteX558" fmla="*/ 8876 w 10354"/>
                <a:gd name="connsiteY558" fmla="*/ 6598 h 10000"/>
                <a:gd name="connsiteX559" fmla="*/ 8876 w 10354"/>
                <a:gd name="connsiteY559" fmla="*/ 6573 h 10000"/>
                <a:gd name="connsiteX560" fmla="*/ 8885 w 10354"/>
                <a:gd name="connsiteY560" fmla="*/ 6556 h 10000"/>
                <a:gd name="connsiteX561" fmla="*/ 8899 w 10354"/>
                <a:gd name="connsiteY561" fmla="*/ 6573 h 10000"/>
                <a:gd name="connsiteX562" fmla="*/ 8889 w 10354"/>
                <a:gd name="connsiteY562" fmla="*/ 6556 h 10000"/>
                <a:gd name="connsiteX563" fmla="*/ 8889 w 10354"/>
                <a:gd name="connsiteY563" fmla="*/ 6530 h 10000"/>
                <a:gd name="connsiteX564" fmla="*/ 8903 w 10354"/>
                <a:gd name="connsiteY564" fmla="*/ 6521 h 10000"/>
                <a:gd name="connsiteX565" fmla="*/ 8903 w 10354"/>
                <a:gd name="connsiteY565" fmla="*/ 6504 h 10000"/>
                <a:gd name="connsiteX566" fmla="*/ 8903 w 10354"/>
                <a:gd name="connsiteY566" fmla="*/ 6487 h 10000"/>
                <a:gd name="connsiteX567" fmla="*/ 8903 w 10354"/>
                <a:gd name="connsiteY567" fmla="*/ 6462 h 10000"/>
                <a:gd name="connsiteX568" fmla="*/ 8912 w 10354"/>
                <a:gd name="connsiteY568" fmla="*/ 6419 h 10000"/>
                <a:gd name="connsiteX569" fmla="*/ 8917 w 10354"/>
                <a:gd name="connsiteY569" fmla="*/ 6393 h 10000"/>
                <a:gd name="connsiteX570" fmla="*/ 8926 w 10354"/>
                <a:gd name="connsiteY570" fmla="*/ 6385 h 10000"/>
                <a:gd name="connsiteX571" fmla="*/ 8931 w 10354"/>
                <a:gd name="connsiteY571" fmla="*/ 6385 h 10000"/>
                <a:gd name="connsiteX572" fmla="*/ 8949 w 10354"/>
                <a:gd name="connsiteY572" fmla="*/ 6359 h 10000"/>
                <a:gd name="connsiteX573" fmla="*/ 8959 w 10354"/>
                <a:gd name="connsiteY573" fmla="*/ 6368 h 10000"/>
                <a:gd name="connsiteX574" fmla="*/ 8963 w 10354"/>
                <a:gd name="connsiteY574" fmla="*/ 6385 h 10000"/>
                <a:gd name="connsiteX575" fmla="*/ 8972 w 10354"/>
                <a:gd name="connsiteY575" fmla="*/ 6359 h 10000"/>
                <a:gd name="connsiteX576" fmla="*/ 8991 w 10354"/>
                <a:gd name="connsiteY576" fmla="*/ 6350 h 10000"/>
                <a:gd name="connsiteX577" fmla="*/ 9000 w 10354"/>
                <a:gd name="connsiteY577" fmla="*/ 6368 h 10000"/>
                <a:gd name="connsiteX578" fmla="*/ 9005 w 10354"/>
                <a:gd name="connsiteY578" fmla="*/ 6393 h 10000"/>
                <a:gd name="connsiteX579" fmla="*/ 9018 w 10354"/>
                <a:gd name="connsiteY579" fmla="*/ 6393 h 10000"/>
                <a:gd name="connsiteX580" fmla="*/ 9023 w 10354"/>
                <a:gd name="connsiteY580" fmla="*/ 6359 h 10000"/>
                <a:gd name="connsiteX581" fmla="*/ 9023 w 10354"/>
                <a:gd name="connsiteY581" fmla="*/ 6333 h 10000"/>
                <a:gd name="connsiteX582" fmla="*/ 9037 w 10354"/>
                <a:gd name="connsiteY582" fmla="*/ 6308 h 10000"/>
                <a:gd name="connsiteX583" fmla="*/ 9074 w 10354"/>
                <a:gd name="connsiteY583" fmla="*/ 6274 h 10000"/>
                <a:gd name="connsiteX584" fmla="*/ 9092 w 10354"/>
                <a:gd name="connsiteY584" fmla="*/ 6222 h 10000"/>
                <a:gd name="connsiteX585" fmla="*/ 9097 w 10354"/>
                <a:gd name="connsiteY585" fmla="*/ 6231 h 10000"/>
                <a:gd name="connsiteX586" fmla="*/ 9097 w 10354"/>
                <a:gd name="connsiteY586" fmla="*/ 6248 h 10000"/>
                <a:gd name="connsiteX587" fmla="*/ 9097 w 10354"/>
                <a:gd name="connsiteY587" fmla="*/ 6274 h 10000"/>
                <a:gd name="connsiteX588" fmla="*/ 9097 w 10354"/>
                <a:gd name="connsiteY588" fmla="*/ 6308 h 10000"/>
                <a:gd name="connsiteX589" fmla="*/ 9092 w 10354"/>
                <a:gd name="connsiteY589" fmla="*/ 6368 h 10000"/>
                <a:gd name="connsiteX590" fmla="*/ 9092 w 10354"/>
                <a:gd name="connsiteY590" fmla="*/ 6385 h 10000"/>
                <a:gd name="connsiteX591" fmla="*/ 9092 w 10354"/>
                <a:gd name="connsiteY591" fmla="*/ 6393 h 10000"/>
                <a:gd name="connsiteX592" fmla="*/ 9092 w 10354"/>
                <a:gd name="connsiteY592" fmla="*/ 6393 h 10000"/>
                <a:gd name="connsiteX593" fmla="*/ 9143 w 10354"/>
                <a:gd name="connsiteY593" fmla="*/ 6299 h 10000"/>
                <a:gd name="connsiteX594" fmla="*/ 9143 w 10354"/>
                <a:gd name="connsiteY594" fmla="*/ 6282 h 10000"/>
                <a:gd name="connsiteX595" fmla="*/ 9143 w 10354"/>
                <a:gd name="connsiteY595" fmla="*/ 6256 h 10000"/>
                <a:gd name="connsiteX596" fmla="*/ 9143 w 10354"/>
                <a:gd name="connsiteY596" fmla="*/ 6256 h 10000"/>
                <a:gd name="connsiteX597" fmla="*/ 9157 w 10354"/>
                <a:gd name="connsiteY597" fmla="*/ 6274 h 10000"/>
                <a:gd name="connsiteX598" fmla="*/ 9166 w 10354"/>
                <a:gd name="connsiteY598" fmla="*/ 6248 h 10000"/>
                <a:gd name="connsiteX599" fmla="*/ 9180 w 10354"/>
                <a:gd name="connsiteY599" fmla="*/ 6248 h 10000"/>
                <a:gd name="connsiteX600" fmla="*/ 9198 w 10354"/>
                <a:gd name="connsiteY600" fmla="*/ 6222 h 10000"/>
                <a:gd name="connsiteX601" fmla="*/ 9212 w 10354"/>
                <a:gd name="connsiteY601" fmla="*/ 6222 h 10000"/>
                <a:gd name="connsiteX602" fmla="*/ 9226 w 10354"/>
                <a:gd name="connsiteY602" fmla="*/ 6197 h 10000"/>
                <a:gd name="connsiteX603" fmla="*/ 9230 w 10354"/>
                <a:gd name="connsiteY603" fmla="*/ 6214 h 10000"/>
                <a:gd name="connsiteX604" fmla="*/ 9272 w 10354"/>
                <a:gd name="connsiteY604" fmla="*/ 6214 h 10000"/>
                <a:gd name="connsiteX605" fmla="*/ 9304 w 10354"/>
                <a:gd name="connsiteY605" fmla="*/ 6231 h 10000"/>
                <a:gd name="connsiteX606" fmla="*/ 9318 w 10354"/>
                <a:gd name="connsiteY606" fmla="*/ 6248 h 10000"/>
                <a:gd name="connsiteX607" fmla="*/ 9327 w 10354"/>
                <a:gd name="connsiteY607" fmla="*/ 6282 h 10000"/>
                <a:gd name="connsiteX608" fmla="*/ 9355 w 10354"/>
                <a:gd name="connsiteY608" fmla="*/ 6350 h 10000"/>
                <a:gd name="connsiteX609" fmla="*/ 9355 w 10354"/>
                <a:gd name="connsiteY609" fmla="*/ 6359 h 10000"/>
                <a:gd name="connsiteX610" fmla="*/ 9364 w 10354"/>
                <a:gd name="connsiteY610" fmla="*/ 6368 h 10000"/>
                <a:gd name="connsiteX611" fmla="*/ 9373 w 10354"/>
                <a:gd name="connsiteY611" fmla="*/ 6359 h 10000"/>
                <a:gd name="connsiteX612" fmla="*/ 9373 w 10354"/>
                <a:gd name="connsiteY612" fmla="*/ 6325 h 10000"/>
                <a:gd name="connsiteX613" fmla="*/ 9387 w 10354"/>
                <a:gd name="connsiteY613" fmla="*/ 6256 h 10000"/>
                <a:gd name="connsiteX614" fmla="*/ 9387 w 10354"/>
                <a:gd name="connsiteY614" fmla="*/ 6248 h 10000"/>
                <a:gd name="connsiteX615" fmla="*/ 9378 w 10354"/>
                <a:gd name="connsiteY615" fmla="*/ 6248 h 10000"/>
                <a:gd name="connsiteX616" fmla="*/ 9406 w 10354"/>
                <a:gd name="connsiteY616" fmla="*/ 6222 h 10000"/>
                <a:gd name="connsiteX617" fmla="*/ 9415 w 10354"/>
                <a:gd name="connsiteY617" fmla="*/ 6222 h 10000"/>
                <a:gd name="connsiteX618" fmla="*/ 9415 w 10354"/>
                <a:gd name="connsiteY618" fmla="*/ 6197 h 10000"/>
                <a:gd name="connsiteX619" fmla="*/ 9419 w 10354"/>
                <a:gd name="connsiteY619" fmla="*/ 6214 h 10000"/>
                <a:gd name="connsiteX620" fmla="*/ 9424 w 10354"/>
                <a:gd name="connsiteY620" fmla="*/ 6214 h 10000"/>
                <a:gd name="connsiteX621" fmla="*/ 9447 w 10354"/>
                <a:gd name="connsiteY621" fmla="*/ 6171 h 10000"/>
                <a:gd name="connsiteX622" fmla="*/ 9452 w 10354"/>
                <a:gd name="connsiteY622" fmla="*/ 6171 h 10000"/>
                <a:gd name="connsiteX623" fmla="*/ 9452 w 10354"/>
                <a:gd name="connsiteY623" fmla="*/ 6162 h 10000"/>
                <a:gd name="connsiteX624" fmla="*/ 9461 w 10354"/>
                <a:gd name="connsiteY624" fmla="*/ 6137 h 10000"/>
                <a:gd name="connsiteX625" fmla="*/ 9475 w 10354"/>
                <a:gd name="connsiteY625" fmla="*/ 6137 h 10000"/>
                <a:gd name="connsiteX626" fmla="*/ 9475 w 10354"/>
                <a:gd name="connsiteY626" fmla="*/ 6137 h 10000"/>
                <a:gd name="connsiteX627" fmla="*/ 9479 w 10354"/>
                <a:gd name="connsiteY627" fmla="*/ 6120 h 10000"/>
                <a:gd name="connsiteX628" fmla="*/ 9488 w 10354"/>
                <a:gd name="connsiteY628" fmla="*/ 6120 h 10000"/>
                <a:gd name="connsiteX629" fmla="*/ 9488 w 10354"/>
                <a:gd name="connsiteY629" fmla="*/ 6111 h 10000"/>
                <a:gd name="connsiteX630" fmla="*/ 9479 w 10354"/>
                <a:gd name="connsiteY630" fmla="*/ 6103 h 10000"/>
                <a:gd name="connsiteX631" fmla="*/ 9479 w 10354"/>
                <a:gd name="connsiteY631" fmla="*/ 6085 h 10000"/>
                <a:gd name="connsiteX632" fmla="*/ 9488 w 10354"/>
                <a:gd name="connsiteY632" fmla="*/ 6103 h 10000"/>
                <a:gd name="connsiteX633" fmla="*/ 9493 w 10354"/>
                <a:gd name="connsiteY633" fmla="*/ 6111 h 10000"/>
                <a:gd name="connsiteX634" fmla="*/ 9498 w 10354"/>
                <a:gd name="connsiteY634" fmla="*/ 6103 h 10000"/>
                <a:gd name="connsiteX635" fmla="*/ 9507 w 10354"/>
                <a:gd name="connsiteY635" fmla="*/ 6077 h 10000"/>
                <a:gd name="connsiteX636" fmla="*/ 9498 w 10354"/>
                <a:gd name="connsiteY636" fmla="*/ 6060 h 10000"/>
                <a:gd name="connsiteX637" fmla="*/ 9512 w 10354"/>
                <a:gd name="connsiteY637" fmla="*/ 6060 h 10000"/>
                <a:gd name="connsiteX638" fmla="*/ 9525 w 10354"/>
                <a:gd name="connsiteY638" fmla="*/ 6034 h 10000"/>
                <a:gd name="connsiteX639" fmla="*/ 9535 w 10354"/>
                <a:gd name="connsiteY639" fmla="*/ 6034 h 10000"/>
                <a:gd name="connsiteX640" fmla="*/ 9535 w 10354"/>
                <a:gd name="connsiteY640" fmla="*/ 6026 h 10000"/>
                <a:gd name="connsiteX641" fmla="*/ 9525 w 10354"/>
                <a:gd name="connsiteY641" fmla="*/ 6009 h 10000"/>
                <a:gd name="connsiteX642" fmla="*/ 9535 w 10354"/>
                <a:gd name="connsiteY642" fmla="*/ 6000 h 10000"/>
                <a:gd name="connsiteX643" fmla="*/ 9539 w 10354"/>
                <a:gd name="connsiteY643" fmla="*/ 6009 h 10000"/>
                <a:gd name="connsiteX644" fmla="*/ 9548 w 10354"/>
                <a:gd name="connsiteY644" fmla="*/ 6009 h 10000"/>
                <a:gd name="connsiteX645" fmla="*/ 9553 w 10354"/>
                <a:gd name="connsiteY645" fmla="*/ 6000 h 10000"/>
                <a:gd name="connsiteX646" fmla="*/ 9562 w 10354"/>
                <a:gd name="connsiteY646" fmla="*/ 5983 h 10000"/>
                <a:gd name="connsiteX647" fmla="*/ 9562 w 10354"/>
                <a:gd name="connsiteY647" fmla="*/ 5974 h 10000"/>
                <a:gd name="connsiteX648" fmla="*/ 9567 w 10354"/>
                <a:gd name="connsiteY648" fmla="*/ 5974 h 10000"/>
                <a:gd name="connsiteX649" fmla="*/ 9567 w 10354"/>
                <a:gd name="connsiteY649" fmla="*/ 5966 h 10000"/>
                <a:gd name="connsiteX650" fmla="*/ 9567 w 10354"/>
                <a:gd name="connsiteY650" fmla="*/ 5940 h 10000"/>
                <a:gd name="connsiteX651" fmla="*/ 9571 w 10354"/>
                <a:gd name="connsiteY651" fmla="*/ 5915 h 10000"/>
                <a:gd name="connsiteX652" fmla="*/ 9581 w 10354"/>
                <a:gd name="connsiteY652" fmla="*/ 5923 h 10000"/>
                <a:gd name="connsiteX653" fmla="*/ 9585 w 10354"/>
                <a:gd name="connsiteY653" fmla="*/ 5940 h 10000"/>
                <a:gd name="connsiteX654" fmla="*/ 9594 w 10354"/>
                <a:gd name="connsiteY654" fmla="*/ 5949 h 10000"/>
                <a:gd name="connsiteX655" fmla="*/ 9599 w 10354"/>
                <a:gd name="connsiteY655" fmla="*/ 5940 h 10000"/>
                <a:gd name="connsiteX656" fmla="*/ 9613 w 10354"/>
                <a:gd name="connsiteY656" fmla="*/ 5915 h 10000"/>
                <a:gd name="connsiteX657" fmla="*/ 9645 w 10354"/>
                <a:gd name="connsiteY657" fmla="*/ 5889 h 10000"/>
                <a:gd name="connsiteX658" fmla="*/ 9654 w 10354"/>
                <a:gd name="connsiteY658" fmla="*/ 5872 h 10000"/>
                <a:gd name="connsiteX659" fmla="*/ 9673 w 10354"/>
                <a:gd name="connsiteY659" fmla="*/ 5863 h 10000"/>
                <a:gd name="connsiteX660" fmla="*/ 9682 w 10354"/>
                <a:gd name="connsiteY660" fmla="*/ 5838 h 10000"/>
                <a:gd name="connsiteX661" fmla="*/ 9682 w 10354"/>
                <a:gd name="connsiteY661" fmla="*/ 5829 h 10000"/>
                <a:gd name="connsiteX662" fmla="*/ 9682 w 10354"/>
                <a:gd name="connsiteY662" fmla="*/ 5812 h 10000"/>
                <a:gd name="connsiteX663" fmla="*/ 9687 w 10354"/>
                <a:gd name="connsiteY663" fmla="*/ 5812 h 10000"/>
                <a:gd name="connsiteX664" fmla="*/ 9687 w 10354"/>
                <a:gd name="connsiteY664" fmla="*/ 5829 h 10000"/>
                <a:gd name="connsiteX665" fmla="*/ 9687 w 10354"/>
                <a:gd name="connsiteY665" fmla="*/ 5829 h 10000"/>
                <a:gd name="connsiteX666" fmla="*/ 9719 w 10354"/>
                <a:gd name="connsiteY666" fmla="*/ 5803 h 10000"/>
                <a:gd name="connsiteX667" fmla="*/ 9728 w 10354"/>
                <a:gd name="connsiteY667" fmla="*/ 5803 h 10000"/>
                <a:gd name="connsiteX668" fmla="*/ 9779 w 10354"/>
                <a:gd name="connsiteY668" fmla="*/ 5726 h 10000"/>
                <a:gd name="connsiteX669" fmla="*/ 9816 w 10354"/>
                <a:gd name="connsiteY669" fmla="*/ 5709 h 10000"/>
                <a:gd name="connsiteX670" fmla="*/ 9820 w 10354"/>
                <a:gd name="connsiteY670" fmla="*/ 5701 h 10000"/>
                <a:gd name="connsiteX671" fmla="*/ 9816 w 10354"/>
                <a:gd name="connsiteY671" fmla="*/ 5692 h 10000"/>
                <a:gd name="connsiteX672" fmla="*/ 9816 w 10354"/>
                <a:gd name="connsiteY672" fmla="*/ 5692 h 10000"/>
                <a:gd name="connsiteX673" fmla="*/ 9802 w 10354"/>
                <a:gd name="connsiteY673" fmla="*/ 5624 h 10000"/>
                <a:gd name="connsiteX674" fmla="*/ 9806 w 10354"/>
                <a:gd name="connsiteY674" fmla="*/ 5624 h 10000"/>
                <a:gd name="connsiteX675" fmla="*/ 9820 w 10354"/>
                <a:gd name="connsiteY675" fmla="*/ 5675 h 10000"/>
                <a:gd name="connsiteX676" fmla="*/ 9829 w 10354"/>
                <a:gd name="connsiteY676" fmla="*/ 5675 h 10000"/>
                <a:gd name="connsiteX677" fmla="*/ 9829 w 10354"/>
                <a:gd name="connsiteY677" fmla="*/ 5692 h 10000"/>
                <a:gd name="connsiteX678" fmla="*/ 9829 w 10354"/>
                <a:gd name="connsiteY678" fmla="*/ 5701 h 10000"/>
                <a:gd name="connsiteX679" fmla="*/ 9839 w 10354"/>
                <a:gd name="connsiteY679" fmla="*/ 5701 h 10000"/>
                <a:gd name="connsiteX680" fmla="*/ 9839 w 10354"/>
                <a:gd name="connsiteY680" fmla="*/ 5692 h 10000"/>
                <a:gd name="connsiteX681" fmla="*/ 9839 w 10354"/>
                <a:gd name="connsiteY681" fmla="*/ 5675 h 10000"/>
                <a:gd name="connsiteX682" fmla="*/ 9848 w 10354"/>
                <a:gd name="connsiteY682" fmla="*/ 5675 h 10000"/>
                <a:gd name="connsiteX683" fmla="*/ 9848 w 10354"/>
                <a:gd name="connsiteY683" fmla="*/ 5692 h 10000"/>
                <a:gd name="connsiteX684" fmla="*/ 9853 w 10354"/>
                <a:gd name="connsiteY684" fmla="*/ 5701 h 10000"/>
                <a:gd name="connsiteX685" fmla="*/ 9880 w 10354"/>
                <a:gd name="connsiteY685" fmla="*/ 5709 h 10000"/>
                <a:gd name="connsiteX686" fmla="*/ 9912 w 10354"/>
                <a:gd name="connsiteY686" fmla="*/ 5752 h 10000"/>
                <a:gd name="connsiteX687" fmla="*/ 9926 w 10354"/>
                <a:gd name="connsiteY687" fmla="*/ 5761 h 10000"/>
                <a:gd name="connsiteX688" fmla="*/ 9935 w 10354"/>
                <a:gd name="connsiteY688" fmla="*/ 5761 h 10000"/>
                <a:gd name="connsiteX689" fmla="*/ 9940 w 10354"/>
                <a:gd name="connsiteY689" fmla="*/ 5735 h 10000"/>
                <a:gd name="connsiteX690" fmla="*/ 9949 w 10354"/>
                <a:gd name="connsiteY690" fmla="*/ 5735 h 10000"/>
                <a:gd name="connsiteX691" fmla="*/ 9968 w 10354"/>
                <a:gd name="connsiteY691" fmla="*/ 5692 h 10000"/>
                <a:gd name="connsiteX692" fmla="*/ 9968 w 10354"/>
                <a:gd name="connsiteY692" fmla="*/ 5650 h 10000"/>
                <a:gd name="connsiteX693" fmla="*/ 9968 w 10354"/>
                <a:gd name="connsiteY693" fmla="*/ 5624 h 10000"/>
                <a:gd name="connsiteX694" fmla="*/ 9935 w 10354"/>
                <a:gd name="connsiteY694" fmla="*/ 5598 h 10000"/>
                <a:gd name="connsiteX695" fmla="*/ 9935 w 10354"/>
                <a:gd name="connsiteY695" fmla="*/ 5590 h 10000"/>
                <a:gd name="connsiteX696" fmla="*/ 9935 w 10354"/>
                <a:gd name="connsiteY696" fmla="*/ 5573 h 10000"/>
                <a:gd name="connsiteX697" fmla="*/ 9935 w 10354"/>
                <a:gd name="connsiteY697" fmla="*/ 5573 h 10000"/>
                <a:gd name="connsiteX698" fmla="*/ 9940 w 10354"/>
                <a:gd name="connsiteY698" fmla="*/ 5573 h 10000"/>
                <a:gd name="connsiteX699" fmla="*/ 9954 w 10354"/>
                <a:gd name="connsiteY699" fmla="*/ 5573 h 10000"/>
                <a:gd name="connsiteX700" fmla="*/ 9963 w 10354"/>
                <a:gd name="connsiteY700" fmla="*/ 5564 h 10000"/>
                <a:gd name="connsiteX701" fmla="*/ 9954 w 10354"/>
                <a:gd name="connsiteY701" fmla="*/ 5530 h 10000"/>
                <a:gd name="connsiteX702" fmla="*/ 9949 w 10354"/>
                <a:gd name="connsiteY702" fmla="*/ 5530 h 10000"/>
                <a:gd name="connsiteX703" fmla="*/ 9926 w 10354"/>
                <a:gd name="connsiteY703" fmla="*/ 5479 h 10000"/>
                <a:gd name="connsiteX704" fmla="*/ 9912 w 10354"/>
                <a:gd name="connsiteY704" fmla="*/ 5325 h 10000"/>
                <a:gd name="connsiteX705" fmla="*/ 9903 w 10354"/>
                <a:gd name="connsiteY705" fmla="*/ 5342 h 10000"/>
                <a:gd name="connsiteX706" fmla="*/ 9889 w 10354"/>
                <a:gd name="connsiteY706" fmla="*/ 5316 h 10000"/>
                <a:gd name="connsiteX707" fmla="*/ 9889 w 10354"/>
                <a:gd name="connsiteY707" fmla="*/ 5291 h 10000"/>
                <a:gd name="connsiteX708" fmla="*/ 9903 w 10354"/>
                <a:gd name="connsiteY708" fmla="*/ 5291 h 10000"/>
                <a:gd name="connsiteX709" fmla="*/ 9903 w 10354"/>
                <a:gd name="connsiteY709" fmla="*/ 5291 h 10000"/>
                <a:gd name="connsiteX710" fmla="*/ 9894 w 10354"/>
                <a:gd name="connsiteY710" fmla="*/ 5214 h 10000"/>
                <a:gd name="connsiteX711" fmla="*/ 9880 w 10354"/>
                <a:gd name="connsiteY711" fmla="*/ 5239 h 10000"/>
                <a:gd name="connsiteX712" fmla="*/ 9876 w 10354"/>
                <a:gd name="connsiteY712" fmla="*/ 5256 h 10000"/>
                <a:gd name="connsiteX713" fmla="*/ 9862 w 10354"/>
                <a:gd name="connsiteY713" fmla="*/ 5239 h 10000"/>
                <a:gd name="connsiteX714" fmla="*/ 9853 w 10354"/>
                <a:gd name="connsiteY714" fmla="*/ 5214 h 10000"/>
                <a:gd name="connsiteX715" fmla="*/ 9839 w 10354"/>
                <a:gd name="connsiteY715" fmla="*/ 5214 h 10000"/>
                <a:gd name="connsiteX716" fmla="*/ 9834 w 10354"/>
                <a:gd name="connsiteY716" fmla="*/ 5188 h 10000"/>
                <a:gd name="connsiteX717" fmla="*/ 9834 w 10354"/>
                <a:gd name="connsiteY717" fmla="*/ 5103 h 10000"/>
                <a:gd name="connsiteX718" fmla="*/ 9839 w 10354"/>
                <a:gd name="connsiteY718" fmla="*/ 5094 h 10000"/>
                <a:gd name="connsiteX719" fmla="*/ 9853 w 10354"/>
                <a:gd name="connsiteY719" fmla="*/ 5103 h 10000"/>
                <a:gd name="connsiteX720" fmla="*/ 9876 w 10354"/>
                <a:gd name="connsiteY720" fmla="*/ 5128 h 10000"/>
                <a:gd name="connsiteX721" fmla="*/ 9889 w 10354"/>
                <a:gd name="connsiteY721" fmla="*/ 5103 h 10000"/>
                <a:gd name="connsiteX722" fmla="*/ 9880 w 10354"/>
                <a:gd name="connsiteY722" fmla="*/ 5120 h 10000"/>
                <a:gd name="connsiteX723" fmla="*/ 9889 w 10354"/>
                <a:gd name="connsiteY723" fmla="*/ 5128 h 10000"/>
                <a:gd name="connsiteX724" fmla="*/ 9912 w 10354"/>
                <a:gd name="connsiteY724" fmla="*/ 5128 h 10000"/>
                <a:gd name="connsiteX725" fmla="*/ 9908 w 10354"/>
                <a:gd name="connsiteY725" fmla="*/ 5145 h 10000"/>
                <a:gd name="connsiteX726" fmla="*/ 9908 w 10354"/>
                <a:gd name="connsiteY726" fmla="*/ 5154 h 10000"/>
                <a:gd name="connsiteX727" fmla="*/ 9922 w 10354"/>
                <a:gd name="connsiteY727" fmla="*/ 5128 h 10000"/>
                <a:gd name="connsiteX728" fmla="*/ 9935 w 10354"/>
                <a:gd name="connsiteY728" fmla="*/ 5103 h 10000"/>
                <a:gd name="connsiteX729" fmla="*/ 9968 w 10354"/>
                <a:gd name="connsiteY729" fmla="*/ 5077 h 10000"/>
                <a:gd name="connsiteX730" fmla="*/ 10000 w 10354"/>
                <a:gd name="connsiteY730" fmla="*/ 5017 h 10000"/>
                <a:gd name="connsiteX731" fmla="*/ 10354 w 10354"/>
                <a:gd name="connsiteY731" fmla="*/ 3895 h 10000"/>
                <a:gd name="connsiteX732" fmla="*/ 9912 w 10354"/>
                <a:gd name="connsiteY732" fmla="*/ 3675 h 10000"/>
                <a:gd name="connsiteX733" fmla="*/ 9903 w 10354"/>
                <a:gd name="connsiteY733" fmla="*/ 3667 h 10000"/>
                <a:gd name="connsiteX734" fmla="*/ 9894 w 10354"/>
                <a:gd name="connsiteY734" fmla="*/ 3641 h 10000"/>
                <a:gd name="connsiteX735" fmla="*/ 9889 w 10354"/>
                <a:gd name="connsiteY735" fmla="*/ 3650 h 10000"/>
                <a:gd name="connsiteX736" fmla="*/ 9848 w 10354"/>
                <a:gd name="connsiteY736" fmla="*/ 3598 h 10000"/>
                <a:gd name="connsiteX737" fmla="*/ 9829 w 10354"/>
                <a:gd name="connsiteY737" fmla="*/ 3581 h 10000"/>
                <a:gd name="connsiteX738" fmla="*/ 9820 w 10354"/>
                <a:gd name="connsiteY738" fmla="*/ 3581 h 10000"/>
                <a:gd name="connsiteX739" fmla="*/ 9793 w 10354"/>
                <a:gd name="connsiteY739" fmla="*/ 3556 h 10000"/>
                <a:gd name="connsiteX740" fmla="*/ 9779 w 10354"/>
                <a:gd name="connsiteY740" fmla="*/ 3556 h 10000"/>
                <a:gd name="connsiteX741" fmla="*/ 9747 w 10354"/>
                <a:gd name="connsiteY741" fmla="*/ 3487 h 10000"/>
                <a:gd name="connsiteX742" fmla="*/ 9668 w 10354"/>
                <a:gd name="connsiteY742" fmla="*/ 3479 h 10000"/>
                <a:gd name="connsiteX743" fmla="*/ 9659 w 10354"/>
                <a:gd name="connsiteY743" fmla="*/ 3487 h 10000"/>
                <a:gd name="connsiteX744" fmla="*/ 9645 w 10354"/>
                <a:gd name="connsiteY744" fmla="*/ 3504 h 10000"/>
                <a:gd name="connsiteX745" fmla="*/ 9631 w 10354"/>
                <a:gd name="connsiteY745" fmla="*/ 3487 h 10000"/>
                <a:gd name="connsiteX746" fmla="*/ 9613 w 10354"/>
                <a:gd name="connsiteY746" fmla="*/ 3479 h 10000"/>
                <a:gd name="connsiteX747" fmla="*/ 9599 w 10354"/>
                <a:gd name="connsiteY747" fmla="*/ 3479 h 10000"/>
                <a:gd name="connsiteX748" fmla="*/ 9571 w 10354"/>
                <a:gd name="connsiteY748" fmla="*/ 3479 h 10000"/>
                <a:gd name="connsiteX749" fmla="*/ 9562 w 10354"/>
                <a:gd name="connsiteY749" fmla="*/ 3487 h 10000"/>
                <a:gd name="connsiteX750" fmla="*/ 9539 w 10354"/>
                <a:gd name="connsiteY750" fmla="*/ 3487 h 10000"/>
                <a:gd name="connsiteX751" fmla="*/ 9507 w 10354"/>
                <a:gd name="connsiteY751" fmla="*/ 3453 h 10000"/>
                <a:gd name="connsiteX752" fmla="*/ 9498 w 10354"/>
                <a:gd name="connsiteY752" fmla="*/ 3453 h 10000"/>
                <a:gd name="connsiteX753" fmla="*/ 9387 w 10354"/>
                <a:gd name="connsiteY753" fmla="*/ 3419 h 10000"/>
                <a:gd name="connsiteX754" fmla="*/ 9373 w 10354"/>
                <a:gd name="connsiteY754" fmla="*/ 3427 h 10000"/>
                <a:gd name="connsiteX755" fmla="*/ 9373 w 10354"/>
                <a:gd name="connsiteY755" fmla="*/ 3462 h 10000"/>
                <a:gd name="connsiteX756" fmla="*/ 9378 w 10354"/>
                <a:gd name="connsiteY756" fmla="*/ 3479 h 10000"/>
                <a:gd name="connsiteX757" fmla="*/ 9378 w 10354"/>
                <a:gd name="connsiteY757" fmla="*/ 3530 h 10000"/>
                <a:gd name="connsiteX758" fmla="*/ 9355 w 10354"/>
                <a:gd name="connsiteY758" fmla="*/ 3538 h 10000"/>
                <a:gd name="connsiteX759" fmla="*/ 9355 w 10354"/>
                <a:gd name="connsiteY759" fmla="*/ 3581 h 10000"/>
                <a:gd name="connsiteX760" fmla="*/ 9387 w 10354"/>
                <a:gd name="connsiteY760" fmla="*/ 3590 h 10000"/>
                <a:gd name="connsiteX761" fmla="*/ 9401 w 10354"/>
                <a:gd name="connsiteY761" fmla="*/ 3667 h 10000"/>
                <a:gd name="connsiteX762" fmla="*/ 9406 w 10354"/>
                <a:gd name="connsiteY762" fmla="*/ 3675 h 10000"/>
                <a:gd name="connsiteX763" fmla="*/ 9406 w 10354"/>
                <a:gd name="connsiteY763" fmla="*/ 3701 h 10000"/>
                <a:gd name="connsiteX764" fmla="*/ 9415 w 10354"/>
                <a:gd name="connsiteY764" fmla="*/ 3752 h 10000"/>
                <a:gd name="connsiteX765" fmla="*/ 9373 w 10354"/>
                <a:gd name="connsiteY765" fmla="*/ 3838 h 10000"/>
                <a:gd name="connsiteX766" fmla="*/ 9355 w 10354"/>
                <a:gd name="connsiteY766" fmla="*/ 3863 h 10000"/>
                <a:gd name="connsiteX767" fmla="*/ 9327 w 10354"/>
                <a:gd name="connsiteY767" fmla="*/ 3863 h 10000"/>
                <a:gd name="connsiteX768" fmla="*/ 9313 w 10354"/>
                <a:gd name="connsiteY768" fmla="*/ 3846 h 10000"/>
                <a:gd name="connsiteX769" fmla="*/ 9300 w 10354"/>
                <a:gd name="connsiteY769" fmla="*/ 3778 h 10000"/>
                <a:gd name="connsiteX770" fmla="*/ 9281 w 10354"/>
                <a:gd name="connsiteY770" fmla="*/ 3752 h 10000"/>
                <a:gd name="connsiteX771" fmla="*/ 9281 w 10354"/>
                <a:gd name="connsiteY771" fmla="*/ 3735 h 10000"/>
                <a:gd name="connsiteX772" fmla="*/ 9267 w 10354"/>
                <a:gd name="connsiteY772" fmla="*/ 3726 h 10000"/>
                <a:gd name="connsiteX773" fmla="*/ 9240 w 10354"/>
                <a:gd name="connsiteY773" fmla="*/ 3726 h 10000"/>
                <a:gd name="connsiteX774" fmla="*/ 9230 w 10354"/>
                <a:gd name="connsiteY774" fmla="*/ 3718 h 10000"/>
                <a:gd name="connsiteX775" fmla="*/ 9226 w 10354"/>
                <a:gd name="connsiteY775" fmla="*/ 3590 h 10000"/>
                <a:gd name="connsiteX776" fmla="*/ 9207 w 10354"/>
                <a:gd name="connsiteY776" fmla="*/ 3581 h 10000"/>
                <a:gd name="connsiteX777" fmla="*/ 9207 w 10354"/>
                <a:gd name="connsiteY777" fmla="*/ 3556 h 10000"/>
                <a:gd name="connsiteX778" fmla="*/ 9217 w 10354"/>
                <a:gd name="connsiteY778" fmla="*/ 3538 h 10000"/>
                <a:gd name="connsiteX779" fmla="*/ 9212 w 10354"/>
                <a:gd name="connsiteY779" fmla="*/ 3538 h 10000"/>
                <a:gd name="connsiteX780" fmla="*/ 9198 w 10354"/>
                <a:gd name="connsiteY780" fmla="*/ 3513 h 10000"/>
                <a:gd name="connsiteX781" fmla="*/ 9194 w 10354"/>
                <a:gd name="connsiteY781" fmla="*/ 3530 h 10000"/>
                <a:gd name="connsiteX782" fmla="*/ 9143 w 10354"/>
                <a:gd name="connsiteY782" fmla="*/ 3615 h 10000"/>
                <a:gd name="connsiteX783" fmla="*/ 9138 w 10354"/>
                <a:gd name="connsiteY783" fmla="*/ 3615 h 10000"/>
                <a:gd name="connsiteX784" fmla="*/ 9134 w 10354"/>
                <a:gd name="connsiteY784" fmla="*/ 3615 h 10000"/>
                <a:gd name="connsiteX785" fmla="*/ 9106 w 10354"/>
                <a:gd name="connsiteY785" fmla="*/ 3615 h 10000"/>
                <a:gd name="connsiteX786" fmla="*/ 9078 w 10354"/>
                <a:gd name="connsiteY786" fmla="*/ 3590 h 10000"/>
                <a:gd name="connsiteX787" fmla="*/ 9037 w 10354"/>
                <a:gd name="connsiteY787" fmla="*/ 3581 h 10000"/>
                <a:gd name="connsiteX788" fmla="*/ 9023 w 10354"/>
                <a:gd name="connsiteY788" fmla="*/ 3590 h 10000"/>
                <a:gd name="connsiteX789" fmla="*/ 9018 w 10354"/>
                <a:gd name="connsiteY789" fmla="*/ 3590 h 10000"/>
                <a:gd name="connsiteX790" fmla="*/ 9018 w 10354"/>
                <a:gd name="connsiteY790" fmla="*/ 3590 h 10000"/>
                <a:gd name="connsiteX791" fmla="*/ 8991 w 10354"/>
                <a:gd name="connsiteY791" fmla="*/ 3590 h 10000"/>
                <a:gd name="connsiteX792" fmla="*/ 8972 w 10354"/>
                <a:gd name="connsiteY792" fmla="*/ 3581 h 10000"/>
                <a:gd name="connsiteX793" fmla="*/ 8959 w 10354"/>
                <a:gd name="connsiteY793" fmla="*/ 3513 h 10000"/>
                <a:gd name="connsiteX794" fmla="*/ 8931 w 10354"/>
                <a:gd name="connsiteY794" fmla="*/ 3538 h 10000"/>
                <a:gd name="connsiteX795" fmla="*/ 8889 w 10354"/>
                <a:gd name="connsiteY795" fmla="*/ 3538 h 10000"/>
                <a:gd name="connsiteX796" fmla="*/ 8871 w 10354"/>
                <a:gd name="connsiteY796" fmla="*/ 3556 h 10000"/>
                <a:gd name="connsiteX797" fmla="*/ 8857 w 10354"/>
                <a:gd name="connsiteY797" fmla="*/ 3538 h 10000"/>
                <a:gd name="connsiteX798" fmla="*/ 8843 w 10354"/>
                <a:gd name="connsiteY798" fmla="*/ 3538 h 10000"/>
                <a:gd name="connsiteX799" fmla="*/ 8839 w 10354"/>
                <a:gd name="connsiteY799" fmla="*/ 3556 h 10000"/>
                <a:gd name="connsiteX800" fmla="*/ 8839 w 10354"/>
                <a:gd name="connsiteY800" fmla="*/ 3581 h 10000"/>
                <a:gd name="connsiteX801" fmla="*/ 8825 w 10354"/>
                <a:gd name="connsiteY801" fmla="*/ 3564 h 10000"/>
                <a:gd name="connsiteX802" fmla="*/ 8825 w 10354"/>
                <a:gd name="connsiteY802" fmla="*/ 3615 h 10000"/>
                <a:gd name="connsiteX803" fmla="*/ 8802 w 10354"/>
                <a:gd name="connsiteY803" fmla="*/ 3598 h 10000"/>
                <a:gd name="connsiteX804" fmla="*/ 8797 w 10354"/>
                <a:gd name="connsiteY804" fmla="*/ 3641 h 10000"/>
                <a:gd name="connsiteX805" fmla="*/ 8783 w 10354"/>
                <a:gd name="connsiteY805" fmla="*/ 3667 h 10000"/>
                <a:gd name="connsiteX806" fmla="*/ 8779 w 10354"/>
                <a:gd name="connsiteY806" fmla="*/ 3650 h 10000"/>
                <a:gd name="connsiteX807" fmla="*/ 8779 w 10354"/>
                <a:gd name="connsiteY807" fmla="*/ 3615 h 10000"/>
                <a:gd name="connsiteX808" fmla="*/ 8770 w 10354"/>
                <a:gd name="connsiteY808" fmla="*/ 3590 h 10000"/>
                <a:gd name="connsiteX809" fmla="*/ 8765 w 10354"/>
                <a:gd name="connsiteY809" fmla="*/ 3598 h 10000"/>
                <a:gd name="connsiteX810" fmla="*/ 8756 w 10354"/>
                <a:gd name="connsiteY810" fmla="*/ 3590 h 10000"/>
                <a:gd name="connsiteX811" fmla="*/ 8737 w 10354"/>
                <a:gd name="connsiteY811" fmla="*/ 3556 h 10000"/>
                <a:gd name="connsiteX812" fmla="*/ 8724 w 10354"/>
                <a:gd name="connsiteY812" fmla="*/ 3538 h 10000"/>
                <a:gd name="connsiteX813" fmla="*/ 8696 w 10354"/>
                <a:gd name="connsiteY813" fmla="*/ 3538 h 10000"/>
                <a:gd name="connsiteX814" fmla="*/ 8691 w 10354"/>
                <a:gd name="connsiteY814" fmla="*/ 3513 h 10000"/>
                <a:gd name="connsiteX815" fmla="*/ 8668 w 10354"/>
                <a:gd name="connsiteY815" fmla="*/ 3504 h 10000"/>
                <a:gd name="connsiteX816" fmla="*/ 8668 w 10354"/>
                <a:gd name="connsiteY816" fmla="*/ 3487 h 10000"/>
                <a:gd name="connsiteX817" fmla="*/ 8691 w 10354"/>
                <a:gd name="connsiteY817" fmla="*/ 3350 h 10000"/>
                <a:gd name="connsiteX818" fmla="*/ 8691 w 10354"/>
                <a:gd name="connsiteY818" fmla="*/ 3291 h 10000"/>
                <a:gd name="connsiteX819" fmla="*/ 8677 w 10354"/>
                <a:gd name="connsiteY819" fmla="*/ 3239 h 10000"/>
                <a:gd name="connsiteX820" fmla="*/ 8677 w 10354"/>
                <a:gd name="connsiteY820" fmla="*/ 3231 h 10000"/>
                <a:gd name="connsiteX821" fmla="*/ 8636 w 10354"/>
                <a:gd name="connsiteY821" fmla="*/ 3128 h 10000"/>
                <a:gd name="connsiteX822" fmla="*/ 8622 w 10354"/>
                <a:gd name="connsiteY822" fmla="*/ 3120 h 10000"/>
                <a:gd name="connsiteX823" fmla="*/ 8618 w 10354"/>
                <a:gd name="connsiteY823" fmla="*/ 3094 h 10000"/>
                <a:gd name="connsiteX824" fmla="*/ 8594 w 10354"/>
                <a:gd name="connsiteY824" fmla="*/ 3077 h 10000"/>
                <a:gd name="connsiteX825" fmla="*/ 8548 w 10354"/>
                <a:gd name="connsiteY825" fmla="*/ 3077 h 10000"/>
                <a:gd name="connsiteX826" fmla="*/ 8535 w 10354"/>
                <a:gd name="connsiteY826" fmla="*/ 3068 h 10000"/>
                <a:gd name="connsiteX827" fmla="*/ 8429 w 10354"/>
                <a:gd name="connsiteY827" fmla="*/ 3077 h 10000"/>
                <a:gd name="connsiteX828" fmla="*/ 8424 w 10354"/>
                <a:gd name="connsiteY828" fmla="*/ 3077 h 10000"/>
                <a:gd name="connsiteX829" fmla="*/ 8396 w 10354"/>
                <a:gd name="connsiteY829" fmla="*/ 3077 h 10000"/>
                <a:gd name="connsiteX830" fmla="*/ 8387 w 10354"/>
                <a:gd name="connsiteY830" fmla="*/ 3094 h 10000"/>
                <a:gd name="connsiteX831" fmla="*/ 8378 w 10354"/>
                <a:gd name="connsiteY831" fmla="*/ 3094 h 10000"/>
                <a:gd name="connsiteX832" fmla="*/ 8341 w 10354"/>
                <a:gd name="connsiteY832" fmla="*/ 3077 h 10000"/>
                <a:gd name="connsiteX833" fmla="*/ 8336 w 10354"/>
                <a:gd name="connsiteY833" fmla="*/ 3077 h 10000"/>
                <a:gd name="connsiteX834" fmla="*/ 8327 w 10354"/>
                <a:gd name="connsiteY834" fmla="*/ 3103 h 10000"/>
                <a:gd name="connsiteX835" fmla="*/ 8309 w 10354"/>
                <a:gd name="connsiteY835" fmla="*/ 3120 h 10000"/>
                <a:gd name="connsiteX836" fmla="*/ 8304 w 10354"/>
                <a:gd name="connsiteY836" fmla="*/ 3103 h 10000"/>
                <a:gd name="connsiteX837" fmla="*/ 8276 w 10354"/>
                <a:gd name="connsiteY837" fmla="*/ 3103 h 10000"/>
                <a:gd name="connsiteX838" fmla="*/ 8267 w 10354"/>
                <a:gd name="connsiteY838" fmla="*/ 3120 h 10000"/>
                <a:gd name="connsiteX839" fmla="*/ 8253 w 10354"/>
                <a:gd name="connsiteY839" fmla="*/ 3103 h 10000"/>
                <a:gd name="connsiteX840" fmla="*/ 8230 w 10354"/>
                <a:gd name="connsiteY840" fmla="*/ 3128 h 10000"/>
                <a:gd name="connsiteX841" fmla="*/ 8217 w 10354"/>
                <a:gd name="connsiteY841" fmla="*/ 3128 h 10000"/>
                <a:gd name="connsiteX842" fmla="*/ 8203 w 10354"/>
                <a:gd name="connsiteY842" fmla="*/ 3154 h 10000"/>
                <a:gd name="connsiteX843" fmla="*/ 8175 w 10354"/>
                <a:gd name="connsiteY843" fmla="*/ 3094 h 10000"/>
                <a:gd name="connsiteX844" fmla="*/ 8161 w 10354"/>
                <a:gd name="connsiteY844" fmla="*/ 3094 h 10000"/>
                <a:gd name="connsiteX845" fmla="*/ 8157 w 10354"/>
                <a:gd name="connsiteY845" fmla="*/ 3077 h 10000"/>
                <a:gd name="connsiteX846" fmla="*/ 8180 w 10354"/>
                <a:gd name="connsiteY846" fmla="*/ 3068 h 10000"/>
                <a:gd name="connsiteX847" fmla="*/ 8189 w 10354"/>
                <a:gd name="connsiteY847" fmla="*/ 3043 h 10000"/>
                <a:gd name="connsiteX848" fmla="*/ 8189 w 10354"/>
                <a:gd name="connsiteY848" fmla="*/ 3017 h 10000"/>
                <a:gd name="connsiteX849" fmla="*/ 8147 w 10354"/>
                <a:gd name="connsiteY849" fmla="*/ 2940 h 10000"/>
                <a:gd name="connsiteX850" fmla="*/ 8143 w 10354"/>
                <a:gd name="connsiteY850" fmla="*/ 2915 h 10000"/>
                <a:gd name="connsiteX851" fmla="*/ 8143 w 10354"/>
                <a:gd name="connsiteY851" fmla="*/ 2906 h 10000"/>
                <a:gd name="connsiteX852" fmla="*/ 8097 w 10354"/>
                <a:gd name="connsiteY852" fmla="*/ 2932 h 10000"/>
                <a:gd name="connsiteX853" fmla="*/ 8083 w 10354"/>
                <a:gd name="connsiteY853" fmla="*/ 2932 h 10000"/>
                <a:gd name="connsiteX854" fmla="*/ 8074 w 10354"/>
                <a:gd name="connsiteY854" fmla="*/ 2906 h 10000"/>
                <a:gd name="connsiteX855" fmla="*/ 8074 w 10354"/>
                <a:gd name="connsiteY855" fmla="*/ 2897 h 10000"/>
                <a:gd name="connsiteX856" fmla="*/ 8055 w 10354"/>
                <a:gd name="connsiteY856" fmla="*/ 2872 h 10000"/>
                <a:gd name="connsiteX857" fmla="*/ 8046 w 10354"/>
                <a:gd name="connsiteY857" fmla="*/ 2829 h 10000"/>
                <a:gd name="connsiteX858" fmla="*/ 8041 w 10354"/>
                <a:gd name="connsiteY858" fmla="*/ 2829 h 10000"/>
                <a:gd name="connsiteX859" fmla="*/ 8023 w 10354"/>
                <a:gd name="connsiteY859" fmla="*/ 2803 h 10000"/>
                <a:gd name="connsiteX860" fmla="*/ 8014 w 10354"/>
                <a:gd name="connsiteY860" fmla="*/ 2829 h 10000"/>
                <a:gd name="connsiteX861" fmla="*/ 8000 w 10354"/>
                <a:gd name="connsiteY861" fmla="*/ 2829 h 10000"/>
                <a:gd name="connsiteX862" fmla="*/ 7995 w 10354"/>
                <a:gd name="connsiteY862" fmla="*/ 2821 h 10000"/>
                <a:gd name="connsiteX863" fmla="*/ 7972 w 10354"/>
                <a:gd name="connsiteY863" fmla="*/ 2803 h 10000"/>
                <a:gd name="connsiteX864" fmla="*/ 7968 w 10354"/>
                <a:gd name="connsiteY864" fmla="*/ 2821 h 10000"/>
                <a:gd name="connsiteX865" fmla="*/ 7968 w 10354"/>
                <a:gd name="connsiteY865" fmla="*/ 2803 h 10000"/>
                <a:gd name="connsiteX866" fmla="*/ 7995 w 10354"/>
                <a:gd name="connsiteY866" fmla="*/ 2735 h 10000"/>
                <a:gd name="connsiteX867" fmla="*/ 8000 w 10354"/>
                <a:gd name="connsiteY867" fmla="*/ 2735 h 10000"/>
                <a:gd name="connsiteX868" fmla="*/ 8014 w 10354"/>
                <a:gd name="connsiteY868" fmla="*/ 2744 h 10000"/>
                <a:gd name="connsiteX869" fmla="*/ 8023 w 10354"/>
                <a:gd name="connsiteY869" fmla="*/ 2769 h 10000"/>
                <a:gd name="connsiteX870" fmla="*/ 8032 w 10354"/>
                <a:gd name="connsiteY870" fmla="*/ 2744 h 10000"/>
                <a:gd name="connsiteX871" fmla="*/ 8032 w 10354"/>
                <a:gd name="connsiteY871" fmla="*/ 2709 h 10000"/>
                <a:gd name="connsiteX872" fmla="*/ 8023 w 10354"/>
                <a:gd name="connsiteY872" fmla="*/ 2632 h 10000"/>
                <a:gd name="connsiteX873" fmla="*/ 7986 w 10354"/>
                <a:gd name="connsiteY873" fmla="*/ 2581 h 10000"/>
                <a:gd name="connsiteX874" fmla="*/ 7968 w 10354"/>
                <a:gd name="connsiteY874" fmla="*/ 2581 h 10000"/>
                <a:gd name="connsiteX875" fmla="*/ 7963 w 10354"/>
                <a:gd name="connsiteY875" fmla="*/ 2556 h 10000"/>
                <a:gd name="connsiteX876" fmla="*/ 7935 w 10354"/>
                <a:gd name="connsiteY876" fmla="*/ 2547 h 10000"/>
                <a:gd name="connsiteX877" fmla="*/ 7912 w 10354"/>
                <a:gd name="connsiteY877" fmla="*/ 2547 h 10000"/>
                <a:gd name="connsiteX878" fmla="*/ 7912 w 10354"/>
                <a:gd name="connsiteY878" fmla="*/ 2556 h 10000"/>
                <a:gd name="connsiteX879" fmla="*/ 7908 w 10354"/>
                <a:gd name="connsiteY879" fmla="*/ 2547 h 10000"/>
                <a:gd name="connsiteX880" fmla="*/ 7862 w 10354"/>
                <a:gd name="connsiteY880" fmla="*/ 2547 h 10000"/>
                <a:gd name="connsiteX881" fmla="*/ 7848 w 10354"/>
                <a:gd name="connsiteY881" fmla="*/ 2556 h 10000"/>
                <a:gd name="connsiteX882" fmla="*/ 7820 w 10354"/>
                <a:gd name="connsiteY882" fmla="*/ 2547 h 10000"/>
                <a:gd name="connsiteX883" fmla="*/ 7806 w 10354"/>
                <a:gd name="connsiteY883" fmla="*/ 2513 h 10000"/>
                <a:gd name="connsiteX884" fmla="*/ 7788 w 10354"/>
                <a:gd name="connsiteY884" fmla="*/ 2513 h 10000"/>
                <a:gd name="connsiteX885" fmla="*/ 7760 w 10354"/>
                <a:gd name="connsiteY885" fmla="*/ 2470 h 10000"/>
                <a:gd name="connsiteX886" fmla="*/ 7751 w 10354"/>
                <a:gd name="connsiteY886" fmla="*/ 2470 h 10000"/>
                <a:gd name="connsiteX887" fmla="*/ 7705 w 10354"/>
                <a:gd name="connsiteY887" fmla="*/ 2462 h 10000"/>
                <a:gd name="connsiteX888" fmla="*/ 7673 w 10354"/>
                <a:gd name="connsiteY888" fmla="*/ 2419 h 10000"/>
                <a:gd name="connsiteX889" fmla="*/ 7627 w 10354"/>
                <a:gd name="connsiteY889" fmla="*/ 2419 h 10000"/>
                <a:gd name="connsiteX890" fmla="*/ 7613 w 10354"/>
                <a:gd name="connsiteY890" fmla="*/ 2410 h 10000"/>
                <a:gd name="connsiteX891" fmla="*/ 7493 w 10354"/>
                <a:gd name="connsiteY891" fmla="*/ 2393 h 10000"/>
                <a:gd name="connsiteX892" fmla="*/ 7479 w 10354"/>
                <a:gd name="connsiteY892" fmla="*/ 2385 h 10000"/>
                <a:gd name="connsiteX893" fmla="*/ 7479 w 10354"/>
                <a:gd name="connsiteY893" fmla="*/ 2376 h 10000"/>
                <a:gd name="connsiteX894" fmla="*/ 7465 w 10354"/>
                <a:gd name="connsiteY894" fmla="*/ 2359 h 10000"/>
                <a:gd name="connsiteX895" fmla="*/ 7447 w 10354"/>
                <a:gd name="connsiteY895" fmla="*/ 2350 h 10000"/>
                <a:gd name="connsiteX896" fmla="*/ 7433 w 10354"/>
                <a:gd name="connsiteY896" fmla="*/ 2376 h 10000"/>
                <a:gd name="connsiteX897" fmla="*/ 7433 w 10354"/>
                <a:gd name="connsiteY897" fmla="*/ 2385 h 10000"/>
                <a:gd name="connsiteX898" fmla="*/ 7447 w 10354"/>
                <a:gd name="connsiteY898" fmla="*/ 2410 h 10000"/>
                <a:gd name="connsiteX899" fmla="*/ 7447 w 10354"/>
                <a:gd name="connsiteY899" fmla="*/ 2436 h 10000"/>
                <a:gd name="connsiteX900" fmla="*/ 7452 w 10354"/>
                <a:gd name="connsiteY900" fmla="*/ 2462 h 10000"/>
                <a:gd name="connsiteX901" fmla="*/ 7447 w 10354"/>
                <a:gd name="connsiteY901" fmla="*/ 2470 h 10000"/>
                <a:gd name="connsiteX902" fmla="*/ 7424 w 10354"/>
                <a:gd name="connsiteY902" fmla="*/ 2513 h 10000"/>
                <a:gd name="connsiteX903" fmla="*/ 7419 w 10354"/>
                <a:gd name="connsiteY903" fmla="*/ 2556 h 10000"/>
                <a:gd name="connsiteX904" fmla="*/ 7406 w 10354"/>
                <a:gd name="connsiteY904" fmla="*/ 2624 h 10000"/>
                <a:gd name="connsiteX905" fmla="*/ 7392 w 10354"/>
                <a:gd name="connsiteY905" fmla="*/ 2624 h 10000"/>
                <a:gd name="connsiteX906" fmla="*/ 7373 w 10354"/>
                <a:gd name="connsiteY906" fmla="*/ 2650 h 10000"/>
                <a:gd name="connsiteX907" fmla="*/ 7364 w 10354"/>
                <a:gd name="connsiteY907" fmla="*/ 2684 h 10000"/>
                <a:gd name="connsiteX908" fmla="*/ 7364 w 10354"/>
                <a:gd name="connsiteY908" fmla="*/ 2692 h 10000"/>
                <a:gd name="connsiteX909" fmla="*/ 7373 w 10354"/>
                <a:gd name="connsiteY909" fmla="*/ 2718 h 10000"/>
                <a:gd name="connsiteX910" fmla="*/ 7373 w 10354"/>
                <a:gd name="connsiteY910" fmla="*/ 2744 h 10000"/>
                <a:gd name="connsiteX911" fmla="*/ 7359 w 10354"/>
                <a:gd name="connsiteY911" fmla="*/ 2744 h 10000"/>
                <a:gd name="connsiteX912" fmla="*/ 7359 w 10354"/>
                <a:gd name="connsiteY912" fmla="*/ 2795 h 10000"/>
                <a:gd name="connsiteX913" fmla="*/ 7364 w 10354"/>
                <a:gd name="connsiteY913" fmla="*/ 2821 h 10000"/>
                <a:gd name="connsiteX914" fmla="*/ 7378 w 10354"/>
                <a:gd name="connsiteY914" fmla="*/ 2846 h 10000"/>
                <a:gd name="connsiteX915" fmla="*/ 7378 w 10354"/>
                <a:gd name="connsiteY915" fmla="*/ 2855 h 10000"/>
                <a:gd name="connsiteX916" fmla="*/ 7378 w 10354"/>
                <a:gd name="connsiteY916" fmla="*/ 2880 h 10000"/>
                <a:gd name="connsiteX917" fmla="*/ 7378 w 10354"/>
                <a:gd name="connsiteY917" fmla="*/ 2906 h 10000"/>
                <a:gd name="connsiteX918" fmla="*/ 7364 w 10354"/>
                <a:gd name="connsiteY918" fmla="*/ 2906 h 10000"/>
                <a:gd name="connsiteX919" fmla="*/ 7346 w 10354"/>
                <a:gd name="connsiteY919" fmla="*/ 2880 h 10000"/>
                <a:gd name="connsiteX920" fmla="*/ 7332 w 10354"/>
                <a:gd name="connsiteY920" fmla="*/ 2915 h 10000"/>
                <a:gd name="connsiteX921" fmla="*/ 7318 w 10354"/>
                <a:gd name="connsiteY921" fmla="*/ 2906 h 10000"/>
                <a:gd name="connsiteX922" fmla="*/ 7313 w 10354"/>
                <a:gd name="connsiteY922" fmla="*/ 2915 h 10000"/>
                <a:gd name="connsiteX923" fmla="*/ 7313 w 10354"/>
                <a:gd name="connsiteY923" fmla="*/ 2906 h 10000"/>
                <a:gd name="connsiteX924" fmla="*/ 7286 w 10354"/>
                <a:gd name="connsiteY924" fmla="*/ 2940 h 10000"/>
                <a:gd name="connsiteX925" fmla="*/ 7276 w 10354"/>
                <a:gd name="connsiteY925" fmla="*/ 2966 h 10000"/>
                <a:gd name="connsiteX926" fmla="*/ 7272 w 10354"/>
                <a:gd name="connsiteY926" fmla="*/ 2983 h 10000"/>
                <a:gd name="connsiteX927" fmla="*/ 7267 w 10354"/>
                <a:gd name="connsiteY927" fmla="*/ 3009 h 10000"/>
                <a:gd name="connsiteX928" fmla="*/ 7253 w 10354"/>
                <a:gd name="connsiteY928" fmla="*/ 3009 h 10000"/>
                <a:gd name="connsiteX929" fmla="*/ 7244 w 10354"/>
                <a:gd name="connsiteY929" fmla="*/ 3017 h 10000"/>
                <a:gd name="connsiteX930" fmla="*/ 7240 w 10354"/>
                <a:gd name="connsiteY930" fmla="*/ 3009 h 10000"/>
                <a:gd name="connsiteX931" fmla="*/ 7230 w 10354"/>
                <a:gd name="connsiteY931" fmla="*/ 2991 h 10000"/>
                <a:gd name="connsiteX932" fmla="*/ 7226 w 10354"/>
                <a:gd name="connsiteY932" fmla="*/ 2983 h 10000"/>
                <a:gd name="connsiteX933" fmla="*/ 7226 w 10354"/>
                <a:gd name="connsiteY933" fmla="*/ 2966 h 10000"/>
                <a:gd name="connsiteX934" fmla="*/ 7212 w 10354"/>
                <a:gd name="connsiteY934" fmla="*/ 2957 h 10000"/>
                <a:gd name="connsiteX935" fmla="*/ 7212 w 10354"/>
                <a:gd name="connsiteY935" fmla="*/ 2932 h 10000"/>
                <a:gd name="connsiteX936" fmla="*/ 7198 w 10354"/>
                <a:gd name="connsiteY936" fmla="*/ 2915 h 10000"/>
                <a:gd name="connsiteX937" fmla="*/ 7194 w 10354"/>
                <a:gd name="connsiteY937" fmla="*/ 2915 h 10000"/>
                <a:gd name="connsiteX938" fmla="*/ 7157 w 10354"/>
                <a:gd name="connsiteY938" fmla="*/ 2880 h 10000"/>
                <a:gd name="connsiteX939" fmla="*/ 7138 w 10354"/>
                <a:gd name="connsiteY939" fmla="*/ 2880 h 10000"/>
                <a:gd name="connsiteX940" fmla="*/ 7120 w 10354"/>
                <a:gd name="connsiteY940" fmla="*/ 2872 h 10000"/>
                <a:gd name="connsiteX941" fmla="*/ 7111 w 10354"/>
                <a:gd name="connsiteY941" fmla="*/ 2846 h 10000"/>
                <a:gd name="connsiteX942" fmla="*/ 7106 w 10354"/>
                <a:gd name="connsiteY942" fmla="*/ 2846 h 10000"/>
                <a:gd name="connsiteX943" fmla="*/ 7092 w 10354"/>
                <a:gd name="connsiteY943" fmla="*/ 2829 h 10000"/>
                <a:gd name="connsiteX944" fmla="*/ 7051 w 10354"/>
                <a:gd name="connsiteY944" fmla="*/ 2829 h 10000"/>
                <a:gd name="connsiteX945" fmla="*/ 7037 w 10354"/>
                <a:gd name="connsiteY945" fmla="*/ 2880 h 10000"/>
                <a:gd name="connsiteX946" fmla="*/ 7037 w 10354"/>
                <a:gd name="connsiteY946" fmla="*/ 2906 h 10000"/>
                <a:gd name="connsiteX947" fmla="*/ 7037 w 10354"/>
                <a:gd name="connsiteY947" fmla="*/ 2932 h 10000"/>
                <a:gd name="connsiteX948" fmla="*/ 7037 w 10354"/>
                <a:gd name="connsiteY948" fmla="*/ 2940 h 10000"/>
                <a:gd name="connsiteX949" fmla="*/ 7023 w 10354"/>
                <a:gd name="connsiteY949" fmla="*/ 2906 h 10000"/>
                <a:gd name="connsiteX950" fmla="*/ 7023 w 10354"/>
                <a:gd name="connsiteY950" fmla="*/ 2915 h 10000"/>
                <a:gd name="connsiteX951" fmla="*/ 6991 w 10354"/>
                <a:gd name="connsiteY951" fmla="*/ 2906 h 10000"/>
                <a:gd name="connsiteX952" fmla="*/ 6977 w 10354"/>
                <a:gd name="connsiteY952" fmla="*/ 2915 h 10000"/>
                <a:gd name="connsiteX953" fmla="*/ 6963 w 10354"/>
                <a:gd name="connsiteY953" fmla="*/ 2915 h 10000"/>
                <a:gd name="connsiteX954" fmla="*/ 6949 w 10354"/>
                <a:gd name="connsiteY954" fmla="*/ 2872 h 10000"/>
                <a:gd name="connsiteX955" fmla="*/ 6935 w 10354"/>
                <a:gd name="connsiteY955" fmla="*/ 2855 h 10000"/>
                <a:gd name="connsiteX956" fmla="*/ 6922 w 10354"/>
                <a:gd name="connsiteY956" fmla="*/ 2803 h 10000"/>
                <a:gd name="connsiteX957" fmla="*/ 6917 w 10354"/>
                <a:gd name="connsiteY957" fmla="*/ 2786 h 10000"/>
                <a:gd name="connsiteX958" fmla="*/ 6903 w 10354"/>
                <a:gd name="connsiteY958" fmla="*/ 2709 h 10000"/>
                <a:gd name="connsiteX959" fmla="*/ 6903 w 10354"/>
                <a:gd name="connsiteY959" fmla="*/ 2692 h 10000"/>
                <a:gd name="connsiteX960" fmla="*/ 6899 w 10354"/>
                <a:gd name="connsiteY960" fmla="*/ 2709 h 10000"/>
                <a:gd name="connsiteX961" fmla="*/ 6857 w 10354"/>
                <a:gd name="connsiteY961" fmla="*/ 2872 h 10000"/>
                <a:gd name="connsiteX962" fmla="*/ 6857 w 10354"/>
                <a:gd name="connsiteY962" fmla="*/ 3009 h 10000"/>
                <a:gd name="connsiteX963" fmla="*/ 6848 w 10354"/>
                <a:gd name="connsiteY963" fmla="*/ 3017 h 10000"/>
                <a:gd name="connsiteX964" fmla="*/ 6839 w 10354"/>
                <a:gd name="connsiteY964" fmla="*/ 3068 h 10000"/>
                <a:gd name="connsiteX965" fmla="*/ 6829 w 10354"/>
                <a:gd name="connsiteY965" fmla="*/ 3077 h 10000"/>
                <a:gd name="connsiteX966" fmla="*/ 6829 w 10354"/>
                <a:gd name="connsiteY966" fmla="*/ 3128 h 10000"/>
                <a:gd name="connsiteX967" fmla="*/ 6816 w 10354"/>
                <a:gd name="connsiteY967" fmla="*/ 3154 h 10000"/>
                <a:gd name="connsiteX968" fmla="*/ 6811 w 10354"/>
                <a:gd name="connsiteY968" fmla="*/ 3179 h 10000"/>
                <a:gd name="connsiteX969" fmla="*/ 6797 w 10354"/>
                <a:gd name="connsiteY969" fmla="*/ 3171 h 10000"/>
                <a:gd name="connsiteX970" fmla="*/ 6783 w 10354"/>
                <a:gd name="connsiteY970" fmla="*/ 3103 h 10000"/>
                <a:gd name="connsiteX971" fmla="*/ 6779 w 10354"/>
                <a:gd name="connsiteY971" fmla="*/ 3094 h 10000"/>
                <a:gd name="connsiteX972" fmla="*/ 6779 w 10354"/>
                <a:gd name="connsiteY972" fmla="*/ 3120 h 10000"/>
                <a:gd name="connsiteX973" fmla="*/ 6770 w 10354"/>
                <a:gd name="connsiteY973" fmla="*/ 3128 h 10000"/>
                <a:gd name="connsiteX974" fmla="*/ 6765 w 10354"/>
                <a:gd name="connsiteY974" fmla="*/ 3103 h 10000"/>
                <a:gd name="connsiteX975" fmla="*/ 6756 w 10354"/>
                <a:gd name="connsiteY975" fmla="*/ 3103 h 10000"/>
                <a:gd name="connsiteX976" fmla="*/ 6742 w 10354"/>
                <a:gd name="connsiteY976" fmla="*/ 3103 h 10000"/>
                <a:gd name="connsiteX977" fmla="*/ 6737 w 10354"/>
                <a:gd name="connsiteY977" fmla="*/ 3077 h 10000"/>
                <a:gd name="connsiteX978" fmla="*/ 6737 w 10354"/>
                <a:gd name="connsiteY978" fmla="*/ 3068 h 10000"/>
                <a:gd name="connsiteX979" fmla="*/ 6728 w 10354"/>
                <a:gd name="connsiteY979" fmla="*/ 3043 h 10000"/>
                <a:gd name="connsiteX980" fmla="*/ 6724 w 10354"/>
                <a:gd name="connsiteY980" fmla="*/ 3051 h 10000"/>
                <a:gd name="connsiteX981" fmla="*/ 6714 w 10354"/>
                <a:gd name="connsiteY981" fmla="*/ 3043 h 10000"/>
                <a:gd name="connsiteX982" fmla="*/ 6710 w 10354"/>
                <a:gd name="connsiteY982" fmla="*/ 3034 h 10000"/>
                <a:gd name="connsiteX983" fmla="*/ 6705 w 10354"/>
                <a:gd name="connsiteY983" fmla="*/ 2983 h 10000"/>
                <a:gd name="connsiteX984" fmla="*/ 6696 w 10354"/>
                <a:gd name="connsiteY984" fmla="*/ 2966 h 10000"/>
                <a:gd name="connsiteX985" fmla="*/ 6691 w 10354"/>
                <a:gd name="connsiteY985" fmla="*/ 2983 h 10000"/>
                <a:gd name="connsiteX986" fmla="*/ 6677 w 10354"/>
                <a:gd name="connsiteY986" fmla="*/ 2897 h 10000"/>
                <a:gd name="connsiteX987" fmla="*/ 6677 w 10354"/>
                <a:gd name="connsiteY987" fmla="*/ 2897 h 10000"/>
                <a:gd name="connsiteX988" fmla="*/ 6677 w 10354"/>
                <a:gd name="connsiteY988" fmla="*/ 2872 h 10000"/>
                <a:gd name="connsiteX989" fmla="*/ 6668 w 10354"/>
                <a:gd name="connsiteY989" fmla="*/ 2821 h 10000"/>
                <a:gd name="connsiteX990" fmla="*/ 6664 w 10354"/>
                <a:gd name="connsiteY990" fmla="*/ 2829 h 10000"/>
                <a:gd name="connsiteX991" fmla="*/ 6654 w 10354"/>
                <a:gd name="connsiteY991" fmla="*/ 2846 h 10000"/>
                <a:gd name="connsiteX992" fmla="*/ 6650 w 10354"/>
                <a:gd name="connsiteY992" fmla="*/ 2829 h 10000"/>
                <a:gd name="connsiteX993" fmla="*/ 6650 w 10354"/>
                <a:gd name="connsiteY993" fmla="*/ 2803 h 10000"/>
                <a:gd name="connsiteX994" fmla="*/ 6650 w 10354"/>
                <a:gd name="connsiteY994" fmla="*/ 2795 h 10000"/>
                <a:gd name="connsiteX995" fmla="*/ 6641 w 10354"/>
                <a:gd name="connsiteY995" fmla="*/ 2786 h 10000"/>
                <a:gd name="connsiteX996" fmla="*/ 6636 w 10354"/>
                <a:gd name="connsiteY996" fmla="*/ 2735 h 10000"/>
                <a:gd name="connsiteX997" fmla="*/ 6664 w 10354"/>
                <a:gd name="connsiteY997" fmla="*/ 2667 h 10000"/>
                <a:gd name="connsiteX998" fmla="*/ 6668 w 10354"/>
                <a:gd name="connsiteY998" fmla="*/ 2684 h 10000"/>
                <a:gd name="connsiteX999" fmla="*/ 6677 w 10354"/>
                <a:gd name="connsiteY999" fmla="*/ 2667 h 10000"/>
                <a:gd name="connsiteX1000" fmla="*/ 6668 w 10354"/>
                <a:gd name="connsiteY1000" fmla="*/ 2667 h 10000"/>
                <a:gd name="connsiteX1001" fmla="*/ 6668 w 10354"/>
                <a:gd name="connsiteY1001" fmla="*/ 2650 h 10000"/>
                <a:gd name="connsiteX1002" fmla="*/ 6682 w 10354"/>
                <a:gd name="connsiteY1002" fmla="*/ 2650 h 10000"/>
                <a:gd name="connsiteX1003" fmla="*/ 6691 w 10354"/>
                <a:gd name="connsiteY1003" fmla="*/ 2624 h 10000"/>
                <a:gd name="connsiteX1004" fmla="*/ 6682 w 10354"/>
                <a:gd name="connsiteY1004" fmla="*/ 2632 h 10000"/>
                <a:gd name="connsiteX1005" fmla="*/ 6682 w 10354"/>
                <a:gd name="connsiteY1005" fmla="*/ 2624 h 10000"/>
                <a:gd name="connsiteX1006" fmla="*/ 6691 w 10354"/>
                <a:gd name="connsiteY1006" fmla="*/ 2607 h 10000"/>
                <a:gd name="connsiteX1007" fmla="*/ 6691 w 10354"/>
                <a:gd name="connsiteY1007" fmla="*/ 2598 h 10000"/>
                <a:gd name="connsiteX1008" fmla="*/ 6691 w 10354"/>
                <a:gd name="connsiteY1008" fmla="*/ 2581 h 10000"/>
                <a:gd name="connsiteX1009" fmla="*/ 6696 w 10354"/>
                <a:gd name="connsiteY1009" fmla="*/ 2530 h 10000"/>
                <a:gd name="connsiteX1010" fmla="*/ 6677 w 10354"/>
                <a:gd name="connsiteY1010" fmla="*/ 2513 h 10000"/>
                <a:gd name="connsiteX1011" fmla="*/ 6677 w 10354"/>
                <a:gd name="connsiteY1011" fmla="*/ 2496 h 10000"/>
                <a:gd name="connsiteX1012" fmla="*/ 6682 w 10354"/>
                <a:gd name="connsiteY1012" fmla="*/ 2470 h 10000"/>
                <a:gd name="connsiteX1013" fmla="*/ 6668 w 10354"/>
                <a:gd name="connsiteY1013" fmla="*/ 2462 h 10000"/>
                <a:gd name="connsiteX1014" fmla="*/ 6677 w 10354"/>
                <a:gd name="connsiteY1014" fmla="*/ 2436 h 10000"/>
                <a:gd name="connsiteX1015" fmla="*/ 6682 w 10354"/>
                <a:gd name="connsiteY1015" fmla="*/ 2419 h 10000"/>
                <a:gd name="connsiteX1016" fmla="*/ 6682 w 10354"/>
                <a:gd name="connsiteY1016" fmla="*/ 2393 h 10000"/>
                <a:gd name="connsiteX1017" fmla="*/ 6682 w 10354"/>
                <a:gd name="connsiteY1017" fmla="*/ 2385 h 10000"/>
                <a:gd name="connsiteX1018" fmla="*/ 6682 w 10354"/>
                <a:gd name="connsiteY1018" fmla="*/ 2385 h 10000"/>
                <a:gd name="connsiteX1019" fmla="*/ 6677 w 10354"/>
                <a:gd name="connsiteY1019" fmla="*/ 2376 h 10000"/>
                <a:gd name="connsiteX1020" fmla="*/ 6682 w 10354"/>
                <a:gd name="connsiteY1020" fmla="*/ 2359 h 10000"/>
                <a:gd name="connsiteX1021" fmla="*/ 6677 w 10354"/>
                <a:gd name="connsiteY1021" fmla="*/ 2333 h 10000"/>
                <a:gd name="connsiteX1022" fmla="*/ 6691 w 10354"/>
                <a:gd name="connsiteY1022" fmla="*/ 2333 h 10000"/>
                <a:gd name="connsiteX1023" fmla="*/ 6691 w 10354"/>
                <a:gd name="connsiteY1023" fmla="*/ 2325 h 10000"/>
                <a:gd name="connsiteX1024" fmla="*/ 6691 w 10354"/>
                <a:gd name="connsiteY1024" fmla="*/ 2308 h 10000"/>
                <a:gd name="connsiteX1025" fmla="*/ 6691 w 10354"/>
                <a:gd name="connsiteY1025" fmla="*/ 2299 h 10000"/>
                <a:gd name="connsiteX1026" fmla="*/ 6691 w 10354"/>
                <a:gd name="connsiteY1026" fmla="*/ 2282 h 10000"/>
                <a:gd name="connsiteX1027" fmla="*/ 6691 w 10354"/>
                <a:gd name="connsiteY1027" fmla="*/ 2274 h 10000"/>
                <a:gd name="connsiteX1028" fmla="*/ 6668 w 10354"/>
                <a:gd name="connsiteY1028" fmla="*/ 2248 h 10000"/>
                <a:gd name="connsiteX1029" fmla="*/ 6664 w 10354"/>
                <a:gd name="connsiteY1029" fmla="*/ 2222 h 10000"/>
                <a:gd name="connsiteX1030" fmla="*/ 6654 w 10354"/>
                <a:gd name="connsiteY1030" fmla="*/ 2214 h 10000"/>
                <a:gd name="connsiteX1031" fmla="*/ 6654 w 10354"/>
                <a:gd name="connsiteY1031" fmla="*/ 2188 h 10000"/>
                <a:gd name="connsiteX1032" fmla="*/ 6622 w 10354"/>
                <a:gd name="connsiteY1032" fmla="*/ 2162 h 10000"/>
                <a:gd name="connsiteX1033" fmla="*/ 6631 w 10354"/>
                <a:gd name="connsiteY1033" fmla="*/ 2145 h 10000"/>
                <a:gd name="connsiteX1034" fmla="*/ 6622 w 10354"/>
                <a:gd name="connsiteY1034" fmla="*/ 2120 h 10000"/>
                <a:gd name="connsiteX1035" fmla="*/ 6608 w 10354"/>
                <a:gd name="connsiteY1035" fmla="*/ 2120 h 10000"/>
                <a:gd name="connsiteX1036" fmla="*/ 6604 w 10354"/>
                <a:gd name="connsiteY1036" fmla="*/ 2111 h 10000"/>
                <a:gd name="connsiteX1037" fmla="*/ 6608 w 10354"/>
                <a:gd name="connsiteY1037" fmla="*/ 2111 h 10000"/>
                <a:gd name="connsiteX1038" fmla="*/ 6604 w 10354"/>
                <a:gd name="connsiteY1038" fmla="*/ 2085 h 10000"/>
                <a:gd name="connsiteX1039" fmla="*/ 6581 w 10354"/>
                <a:gd name="connsiteY1039" fmla="*/ 2077 h 10000"/>
                <a:gd name="connsiteX1040" fmla="*/ 6571 w 10354"/>
                <a:gd name="connsiteY1040" fmla="*/ 2085 h 10000"/>
                <a:gd name="connsiteX1041" fmla="*/ 6548 w 10354"/>
                <a:gd name="connsiteY1041" fmla="*/ 2077 h 10000"/>
                <a:gd name="connsiteX1042" fmla="*/ 6530 w 10354"/>
                <a:gd name="connsiteY1042" fmla="*/ 2060 h 10000"/>
                <a:gd name="connsiteX1043" fmla="*/ 6521 w 10354"/>
                <a:gd name="connsiteY1043" fmla="*/ 2060 h 10000"/>
                <a:gd name="connsiteX1044" fmla="*/ 6521 w 10354"/>
                <a:gd name="connsiteY1044" fmla="*/ 2085 h 10000"/>
                <a:gd name="connsiteX1045" fmla="*/ 6516 w 10354"/>
                <a:gd name="connsiteY1045" fmla="*/ 2085 h 10000"/>
                <a:gd name="connsiteX1046" fmla="*/ 6502 w 10354"/>
                <a:gd name="connsiteY1046" fmla="*/ 2111 h 10000"/>
                <a:gd name="connsiteX1047" fmla="*/ 6498 w 10354"/>
                <a:gd name="connsiteY1047" fmla="*/ 2111 h 10000"/>
                <a:gd name="connsiteX1048" fmla="*/ 6498 w 10354"/>
                <a:gd name="connsiteY1048" fmla="*/ 2103 h 10000"/>
                <a:gd name="connsiteX1049" fmla="*/ 6475 w 10354"/>
                <a:gd name="connsiteY1049" fmla="*/ 2051 h 10000"/>
                <a:gd name="connsiteX1050" fmla="*/ 6470 w 10354"/>
                <a:gd name="connsiteY1050" fmla="*/ 2060 h 10000"/>
                <a:gd name="connsiteX1051" fmla="*/ 6456 w 10354"/>
                <a:gd name="connsiteY1051" fmla="*/ 2051 h 10000"/>
                <a:gd name="connsiteX1052" fmla="*/ 6447 w 10354"/>
                <a:gd name="connsiteY1052" fmla="*/ 2051 h 10000"/>
                <a:gd name="connsiteX1053" fmla="*/ 6433 w 10354"/>
                <a:gd name="connsiteY1053" fmla="*/ 2026 h 10000"/>
                <a:gd name="connsiteX1054" fmla="*/ 6433 w 10354"/>
                <a:gd name="connsiteY1054" fmla="*/ 2034 h 10000"/>
                <a:gd name="connsiteX1055" fmla="*/ 6429 w 10354"/>
                <a:gd name="connsiteY1055" fmla="*/ 2026 h 10000"/>
                <a:gd name="connsiteX1056" fmla="*/ 6424 w 10354"/>
                <a:gd name="connsiteY1056" fmla="*/ 2034 h 10000"/>
                <a:gd name="connsiteX1057" fmla="*/ 6410 w 10354"/>
                <a:gd name="connsiteY1057" fmla="*/ 2026 h 10000"/>
                <a:gd name="connsiteX1058" fmla="*/ 6410 w 10354"/>
                <a:gd name="connsiteY1058" fmla="*/ 1991 h 10000"/>
                <a:gd name="connsiteX1059" fmla="*/ 6401 w 10354"/>
                <a:gd name="connsiteY1059" fmla="*/ 1991 h 10000"/>
                <a:gd name="connsiteX1060" fmla="*/ 6396 w 10354"/>
                <a:gd name="connsiteY1060" fmla="*/ 2000 h 10000"/>
                <a:gd name="connsiteX1061" fmla="*/ 6382 w 10354"/>
                <a:gd name="connsiteY1061" fmla="*/ 1966 h 10000"/>
                <a:gd name="connsiteX1062" fmla="*/ 6373 w 10354"/>
                <a:gd name="connsiteY1062" fmla="*/ 1974 h 10000"/>
                <a:gd name="connsiteX1063" fmla="*/ 6369 w 10354"/>
                <a:gd name="connsiteY1063" fmla="*/ 1966 h 10000"/>
                <a:gd name="connsiteX1064" fmla="*/ 6341 w 10354"/>
                <a:gd name="connsiteY1064" fmla="*/ 1949 h 10000"/>
                <a:gd name="connsiteX1065" fmla="*/ 6327 w 10354"/>
                <a:gd name="connsiteY1065" fmla="*/ 1923 h 10000"/>
                <a:gd name="connsiteX1066" fmla="*/ 6323 w 10354"/>
                <a:gd name="connsiteY1066" fmla="*/ 1923 h 10000"/>
                <a:gd name="connsiteX1067" fmla="*/ 6323 w 10354"/>
                <a:gd name="connsiteY1067" fmla="*/ 1966 h 10000"/>
                <a:gd name="connsiteX1068" fmla="*/ 6323 w 10354"/>
                <a:gd name="connsiteY1068" fmla="*/ 1991 h 10000"/>
                <a:gd name="connsiteX1069" fmla="*/ 6313 w 10354"/>
                <a:gd name="connsiteY1069" fmla="*/ 1991 h 10000"/>
                <a:gd name="connsiteX1070" fmla="*/ 6300 w 10354"/>
                <a:gd name="connsiteY1070" fmla="*/ 1991 h 10000"/>
                <a:gd name="connsiteX1071" fmla="*/ 6290 w 10354"/>
                <a:gd name="connsiteY1071" fmla="*/ 1949 h 10000"/>
                <a:gd name="connsiteX1072" fmla="*/ 6276 w 10354"/>
                <a:gd name="connsiteY1072" fmla="*/ 2103 h 10000"/>
                <a:gd name="connsiteX1073" fmla="*/ 6281 w 10354"/>
                <a:gd name="connsiteY1073" fmla="*/ 2103 h 10000"/>
                <a:gd name="connsiteX1074" fmla="*/ 6276 w 10354"/>
                <a:gd name="connsiteY1074" fmla="*/ 2111 h 10000"/>
                <a:gd name="connsiteX1075" fmla="*/ 6276 w 10354"/>
                <a:gd name="connsiteY1075" fmla="*/ 2120 h 10000"/>
                <a:gd name="connsiteX1076" fmla="*/ 6295 w 10354"/>
                <a:gd name="connsiteY1076" fmla="*/ 2239 h 10000"/>
                <a:gd name="connsiteX1077" fmla="*/ 6290 w 10354"/>
                <a:gd name="connsiteY1077" fmla="*/ 2248 h 10000"/>
                <a:gd name="connsiteX1078" fmla="*/ 6281 w 10354"/>
                <a:gd name="connsiteY1078" fmla="*/ 2274 h 10000"/>
                <a:gd name="connsiteX1079" fmla="*/ 6249 w 10354"/>
                <a:gd name="connsiteY1079" fmla="*/ 2274 h 10000"/>
                <a:gd name="connsiteX1080" fmla="*/ 6226 w 10354"/>
                <a:gd name="connsiteY1080" fmla="*/ 2308 h 10000"/>
                <a:gd name="connsiteX1081" fmla="*/ 6221 w 10354"/>
                <a:gd name="connsiteY1081" fmla="*/ 2299 h 10000"/>
                <a:gd name="connsiteX1082" fmla="*/ 6221 w 10354"/>
                <a:gd name="connsiteY1082" fmla="*/ 2308 h 10000"/>
                <a:gd name="connsiteX1083" fmla="*/ 6217 w 10354"/>
                <a:gd name="connsiteY1083" fmla="*/ 2299 h 10000"/>
                <a:gd name="connsiteX1084" fmla="*/ 6194 w 10354"/>
                <a:gd name="connsiteY1084" fmla="*/ 2308 h 10000"/>
                <a:gd name="connsiteX1085" fmla="*/ 6180 w 10354"/>
                <a:gd name="connsiteY1085" fmla="*/ 2299 h 10000"/>
                <a:gd name="connsiteX1086" fmla="*/ 6143 w 10354"/>
                <a:gd name="connsiteY1086" fmla="*/ 2308 h 10000"/>
                <a:gd name="connsiteX1087" fmla="*/ 6134 w 10354"/>
                <a:gd name="connsiteY1087" fmla="*/ 2325 h 10000"/>
                <a:gd name="connsiteX1088" fmla="*/ 6115 w 10354"/>
                <a:gd name="connsiteY1088" fmla="*/ 2282 h 10000"/>
                <a:gd name="connsiteX1089" fmla="*/ 6069 w 10354"/>
                <a:gd name="connsiteY1089" fmla="*/ 2274 h 10000"/>
                <a:gd name="connsiteX1090" fmla="*/ 6069 w 10354"/>
                <a:gd name="connsiteY1090" fmla="*/ 2282 h 10000"/>
                <a:gd name="connsiteX1091" fmla="*/ 6060 w 10354"/>
                <a:gd name="connsiteY1091" fmla="*/ 2299 h 10000"/>
                <a:gd name="connsiteX1092" fmla="*/ 5972 w 10354"/>
                <a:gd name="connsiteY1092" fmla="*/ 2214 h 10000"/>
                <a:gd name="connsiteX1093" fmla="*/ 5968 w 10354"/>
                <a:gd name="connsiteY1093" fmla="*/ 2197 h 10000"/>
                <a:gd name="connsiteX1094" fmla="*/ 5968 w 10354"/>
                <a:gd name="connsiteY1094" fmla="*/ 2171 h 10000"/>
                <a:gd name="connsiteX1095" fmla="*/ 5968 w 10354"/>
                <a:gd name="connsiteY1095" fmla="*/ 2162 h 10000"/>
                <a:gd name="connsiteX1096" fmla="*/ 5968 w 10354"/>
                <a:gd name="connsiteY1096" fmla="*/ 2120 h 10000"/>
                <a:gd name="connsiteX1097" fmla="*/ 5968 w 10354"/>
                <a:gd name="connsiteY1097" fmla="*/ 2111 h 10000"/>
                <a:gd name="connsiteX1098" fmla="*/ 5972 w 10354"/>
                <a:gd name="connsiteY1098" fmla="*/ 2103 h 10000"/>
                <a:gd name="connsiteX1099" fmla="*/ 5986 w 10354"/>
                <a:gd name="connsiteY1099" fmla="*/ 2103 h 10000"/>
                <a:gd name="connsiteX1100" fmla="*/ 5986 w 10354"/>
                <a:gd name="connsiteY1100" fmla="*/ 2085 h 10000"/>
                <a:gd name="connsiteX1101" fmla="*/ 5995 w 10354"/>
                <a:gd name="connsiteY1101" fmla="*/ 2085 h 10000"/>
                <a:gd name="connsiteX1102" fmla="*/ 5995 w 10354"/>
                <a:gd name="connsiteY1102" fmla="*/ 2077 h 10000"/>
                <a:gd name="connsiteX1103" fmla="*/ 5986 w 10354"/>
                <a:gd name="connsiteY1103" fmla="*/ 2060 h 10000"/>
                <a:gd name="connsiteX1104" fmla="*/ 5954 w 10354"/>
                <a:gd name="connsiteY1104" fmla="*/ 2060 h 10000"/>
                <a:gd name="connsiteX1105" fmla="*/ 5940 w 10354"/>
                <a:gd name="connsiteY1105" fmla="*/ 2051 h 10000"/>
                <a:gd name="connsiteX1106" fmla="*/ 5922 w 10354"/>
                <a:gd name="connsiteY1106" fmla="*/ 2060 h 10000"/>
                <a:gd name="connsiteX1107" fmla="*/ 5885 w 10354"/>
                <a:gd name="connsiteY1107" fmla="*/ 2051 h 10000"/>
                <a:gd name="connsiteX1108" fmla="*/ 5876 w 10354"/>
                <a:gd name="connsiteY1108" fmla="*/ 2026 h 10000"/>
                <a:gd name="connsiteX1109" fmla="*/ 5862 w 10354"/>
                <a:gd name="connsiteY1109" fmla="*/ 2026 h 10000"/>
                <a:gd name="connsiteX1110" fmla="*/ 5848 w 10354"/>
                <a:gd name="connsiteY1110" fmla="*/ 2026 h 10000"/>
                <a:gd name="connsiteX1111" fmla="*/ 5825 w 10354"/>
                <a:gd name="connsiteY1111" fmla="*/ 2026 h 10000"/>
                <a:gd name="connsiteX1112" fmla="*/ 5788 w 10354"/>
                <a:gd name="connsiteY1112" fmla="*/ 1991 h 10000"/>
                <a:gd name="connsiteX1113" fmla="*/ 5760 w 10354"/>
                <a:gd name="connsiteY1113" fmla="*/ 2000 h 10000"/>
                <a:gd name="connsiteX1114" fmla="*/ 5760 w 10354"/>
                <a:gd name="connsiteY1114" fmla="*/ 2026 h 10000"/>
                <a:gd name="connsiteX1115" fmla="*/ 5714 w 10354"/>
                <a:gd name="connsiteY1115" fmla="*/ 2051 h 10000"/>
                <a:gd name="connsiteX1116" fmla="*/ 5687 w 10354"/>
                <a:gd name="connsiteY1116" fmla="*/ 2034 h 10000"/>
                <a:gd name="connsiteX1117" fmla="*/ 5645 w 10354"/>
                <a:gd name="connsiteY1117" fmla="*/ 2077 h 10000"/>
                <a:gd name="connsiteX1118" fmla="*/ 5664 w 10354"/>
                <a:gd name="connsiteY1118" fmla="*/ 2120 h 10000"/>
                <a:gd name="connsiteX1119" fmla="*/ 5664 w 10354"/>
                <a:gd name="connsiteY1119" fmla="*/ 2162 h 10000"/>
                <a:gd name="connsiteX1120" fmla="*/ 5631 w 10354"/>
                <a:gd name="connsiteY1120" fmla="*/ 2197 h 10000"/>
                <a:gd name="connsiteX1121" fmla="*/ 5618 w 10354"/>
                <a:gd name="connsiteY1121" fmla="*/ 2188 h 10000"/>
                <a:gd name="connsiteX1122" fmla="*/ 5618 w 10354"/>
                <a:gd name="connsiteY1122" fmla="*/ 2171 h 10000"/>
                <a:gd name="connsiteX1123" fmla="*/ 5641 w 10354"/>
                <a:gd name="connsiteY1123" fmla="*/ 2171 h 10000"/>
                <a:gd name="connsiteX1124" fmla="*/ 5641 w 10354"/>
                <a:gd name="connsiteY1124" fmla="*/ 2162 h 10000"/>
                <a:gd name="connsiteX1125" fmla="*/ 5627 w 10354"/>
                <a:gd name="connsiteY1125" fmla="*/ 2145 h 10000"/>
                <a:gd name="connsiteX1126" fmla="*/ 5627 w 10354"/>
                <a:gd name="connsiteY1126" fmla="*/ 2120 h 10000"/>
                <a:gd name="connsiteX1127" fmla="*/ 5618 w 10354"/>
                <a:gd name="connsiteY1127" fmla="*/ 2111 h 10000"/>
                <a:gd name="connsiteX1128" fmla="*/ 5631 w 10354"/>
                <a:gd name="connsiteY1128" fmla="*/ 2051 h 10000"/>
                <a:gd name="connsiteX1129" fmla="*/ 5631 w 10354"/>
                <a:gd name="connsiteY1129" fmla="*/ 2026 h 10000"/>
                <a:gd name="connsiteX1130" fmla="*/ 5627 w 10354"/>
                <a:gd name="connsiteY1130" fmla="*/ 1991 h 10000"/>
                <a:gd name="connsiteX1131" fmla="*/ 5618 w 10354"/>
                <a:gd name="connsiteY1131" fmla="*/ 1974 h 10000"/>
                <a:gd name="connsiteX1132" fmla="*/ 5618 w 10354"/>
                <a:gd name="connsiteY1132" fmla="*/ 1940 h 10000"/>
                <a:gd name="connsiteX1133" fmla="*/ 5594 w 10354"/>
                <a:gd name="connsiteY1133" fmla="*/ 1855 h 10000"/>
                <a:gd name="connsiteX1134" fmla="*/ 5599 w 10354"/>
                <a:gd name="connsiteY1134" fmla="*/ 1915 h 10000"/>
                <a:gd name="connsiteX1135" fmla="*/ 5599 w 10354"/>
                <a:gd name="connsiteY1135" fmla="*/ 1949 h 10000"/>
                <a:gd name="connsiteX1136" fmla="*/ 5594 w 10354"/>
                <a:gd name="connsiteY1136" fmla="*/ 1991 h 10000"/>
                <a:gd name="connsiteX1137" fmla="*/ 5571 w 10354"/>
                <a:gd name="connsiteY1137" fmla="*/ 2000 h 10000"/>
                <a:gd name="connsiteX1138" fmla="*/ 5530 w 10354"/>
                <a:gd name="connsiteY1138" fmla="*/ 1991 h 10000"/>
                <a:gd name="connsiteX1139" fmla="*/ 5525 w 10354"/>
                <a:gd name="connsiteY1139" fmla="*/ 2000 h 10000"/>
                <a:gd name="connsiteX1140" fmla="*/ 5521 w 10354"/>
                <a:gd name="connsiteY1140" fmla="*/ 1991 h 10000"/>
                <a:gd name="connsiteX1141" fmla="*/ 5498 w 10354"/>
                <a:gd name="connsiteY1141" fmla="*/ 1949 h 10000"/>
                <a:gd name="connsiteX1142" fmla="*/ 5493 w 10354"/>
                <a:gd name="connsiteY1142" fmla="*/ 1889 h 10000"/>
                <a:gd name="connsiteX1143" fmla="*/ 5493 w 10354"/>
                <a:gd name="connsiteY1143" fmla="*/ 1863 h 10000"/>
                <a:gd name="connsiteX1144" fmla="*/ 5498 w 10354"/>
                <a:gd name="connsiteY1144" fmla="*/ 1889 h 10000"/>
                <a:gd name="connsiteX1145" fmla="*/ 5512 w 10354"/>
                <a:gd name="connsiteY1145" fmla="*/ 1855 h 10000"/>
                <a:gd name="connsiteX1146" fmla="*/ 5512 w 10354"/>
                <a:gd name="connsiteY1146" fmla="*/ 1838 h 10000"/>
                <a:gd name="connsiteX1147" fmla="*/ 5479 w 10354"/>
                <a:gd name="connsiteY1147" fmla="*/ 1855 h 10000"/>
                <a:gd name="connsiteX1148" fmla="*/ 5470 w 10354"/>
                <a:gd name="connsiteY1148" fmla="*/ 1872 h 10000"/>
                <a:gd name="connsiteX1149" fmla="*/ 5470 w 10354"/>
                <a:gd name="connsiteY1149" fmla="*/ 1889 h 10000"/>
                <a:gd name="connsiteX1150" fmla="*/ 5465 w 10354"/>
                <a:gd name="connsiteY1150" fmla="*/ 1897 h 10000"/>
                <a:gd name="connsiteX1151" fmla="*/ 5456 w 10354"/>
                <a:gd name="connsiteY1151" fmla="*/ 1872 h 10000"/>
                <a:gd name="connsiteX1152" fmla="*/ 5447 w 10354"/>
                <a:gd name="connsiteY1152" fmla="*/ 1872 h 10000"/>
                <a:gd name="connsiteX1153" fmla="*/ 5433 w 10354"/>
                <a:gd name="connsiteY1153" fmla="*/ 1855 h 10000"/>
                <a:gd name="connsiteX1154" fmla="*/ 5396 w 10354"/>
                <a:gd name="connsiteY1154" fmla="*/ 1863 h 10000"/>
                <a:gd name="connsiteX1155" fmla="*/ 5396 w 10354"/>
                <a:gd name="connsiteY1155" fmla="*/ 1897 h 10000"/>
                <a:gd name="connsiteX1156" fmla="*/ 5378 w 10354"/>
                <a:gd name="connsiteY1156" fmla="*/ 1949 h 10000"/>
                <a:gd name="connsiteX1157" fmla="*/ 5378 w 10354"/>
                <a:gd name="connsiteY1157" fmla="*/ 1966 h 10000"/>
                <a:gd name="connsiteX1158" fmla="*/ 5392 w 10354"/>
                <a:gd name="connsiteY1158" fmla="*/ 2026 h 10000"/>
                <a:gd name="connsiteX1159" fmla="*/ 5396 w 10354"/>
                <a:gd name="connsiteY1159" fmla="*/ 2026 h 10000"/>
                <a:gd name="connsiteX1160" fmla="*/ 5392 w 10354"/>
                <a:gd name="connsiteY1160" fmla="*/ 2009 h 10000"/>
                <a:gd name="connsiteX1161" fmla="*/ 5392 w 10354"/>
                <a:gd name="connsiteY1161" fmla="*/ 2000 h 10000"/>
                <a:gd name="connsiteX1162" fmla="*/ 5396 w 10354"/>
                <a:gd name="connsiteY1162" fmla="*/ 2009 h 10000"/>
                <a:gd name="connsiteX1163" fmla="*/ 5424 w 10354"/>
                <a:gd name="connsiteY1163" fmla="*/ 2009 h 10000"/>
                <a:gd name="connsiteX1164" fmla="*/ 5433 w 10354"/>
                <a:gd name="connsiteY1164" fmla="*/ 1991 h 10000"/>
                <a:gd name="connsiteX1165" fmla="*/ 5447 w 10354"/>
                <a:gd name="connsiteY1165" fmla="*/ 1974 h 10000"/>
                <a:gd name="connsiteX1166" fmla="*/ 5452 w 10354"/>
                <a:gd name="connsiteY1166" fmla="*/ 1966 h 10000"/>
                <a:gd name="connsiteX1167" fmla="*/ 5456 w 10354"/>
                <a:gd name="connsiteY1167" fmla="*/ 1966 h 10000"/>
                <a:gd name="connsiteX1168" fmla="*/ 5465 w 10354"/>
                <a:gd name="connsiteY1168" fmla="*/ 2009 h 10000"/>
                <a:gd name="connsiteX1169" fmla="*/ 5433 w 10354"/>
                <a:gd name="connsiteY1169" fmla="*/ 2034 h 10000"/>
                <a:gd name="connsiteX1170" fmla="*/ 5424 w 10354"/>
                <a:gd name="connsiteY1170" fmla="*/ 2060 h 10000"/>
                <a:gd name="connsiteX1171" fmla="*/ 5419 w 10354"/>
                <a:gd name="connsiteY1171" fmla="*/ 2060 h 10000"/>
                <a:gd name="connsiteX1172" fmla="*/ 5392 w 10354"/>
                <a:gd name="connsiteY1172" fmla="*/ 2111 h 10000"/>
                <a:gd name="connsiteX1173" fmla="*/ 5378 w 10354"/>
                <a:gd name="connsiteY1173" fmla="*/ 2111 h 10000"/>
                <a:gd name="connsiteX1174" fmla="*/ 5350 w 10354"/>
                <a:gd name="connsiteY1174" fmla="*/ 2060 h 10000"/>
                <a:gd name="connsiteX1175" fmla="*/ 5373 w 10354"/>
                <a:gd name="connsiteY1175" fmla="*/ 2111 h 10000"/>
                <a:gd name="connsiteX1176" fmla="*/ 5364 w 10354"/>
                <a:gd name="connsiteY1176" fmla="*/ 2111 h 10000"/>
                <a:gd name="connsiteX1177" fmla="*/ 5359 w 10354"/>
                <a:gd name="connsiteY1177" fmla="*/ 2103 h 10000"/>
                <a:gd name="connsiteX1178" fmla="*/ 5359 w 10354"/>
                <a:gd name="connsiteY1178" fmla="*/ 2120 h 10000"/>
                <a:gd name="connsiteX1179" fmla="*/ 5359 w 10354"/>
                <a:gd name="connsiteY1179" fmla="*/ 2137 h 10000"/>
                <a:gd name="connsiteX1180" fmla="*/ 5313 w 10354"/>
                <a:gd name="connsiteY1180" fmla="*/ 2162 h 10000"/>
                <a:gd name="connsiteX1181" fmla="*/ 5300 w 10354"/>
                <a:gd name="connsiteY1181" fmla="*/ 2162 h 10000"/>
                <a:gd name="connsiteX1182" fmla="*/ 5300 w 10354"/>
                <a:gd name="connsiteY1182" fmla="*/ 2171 h 10000"/>
                <a:gd name="connsiteX1183" fmla="*/ 5300 w 10354"/>
                <a:gd name="connsiteY1183" fmla="*/ 2197 h 10000"/>
                <a:gd name="connsiteX1184" fmla="*/ 5276 w 10354"/>
                <a:gd name="connsiteY1184" fmla="*/ 2188 h 10000"/>
                <a:gd name="connsiteX1185" fmla="*/ 5249 w 10354"/>
                <a:gd name="connsiteY1185" fmla="*/ 2222 h 10000"/>
                <a:gd name="connsiteX1186" fmla="*/ 5249 w 10354"/>
                <a:gd name="connsiteY1186" fmla="*/ 2222 h 10000"/>
                <a:gd name="connsiteX1187" fmla="*/ 5217 w 10354"/>
                <a:gd name="connsiteY1187" fmla="*/ 2214 h 10000"/>
                <a:gd name="connsiteX1188" fmla="*/ 5203 w 10354"/>
                <a:gd name="connsiteY1188" fmla="*/ 2239 h 10000"/>
                <a:gd name="connsiteX1189" fmla="*/ 5171 w 10354"/>
                <a:gd name="connsiteY1189" fmla="*/ 2214 h 10000"/>
                <a:gd name="connsiteX1190" fmla="*/ 5157 w 10354"/>
                <a:gd name="connsiteY1190" fmla="*/ 2239 h 10000"/>
                <a:gd name="connsiteX1191" fmla="*/ 5166 w 10354"/>
                <a:gd name="connsiteY1191" fmla="*/ 2256 h 10000"/>
                <a:gd name="connsiteX1192" fmla="*/ 5171 w 10354"/>
                <a:gd name="connsiteY1192" fmla="*/ 2308 h 10000"/>
                <a:gd name="connsiteX1193" fmla="*/ 5212 w 10354"/>
                <a:gd name="connsiteY1193" fmla="*/ 2350 h 10000"/>
                <a:gd name="connsiteX1194" fmla="*/ 5203 w 10354"/>
                <a:gd name="connsiteY1194" fmla="*/ 2350 h 10000"/>
                <a:gd name="connsiteX1195" fmla="*/ 5166 w 10354"/>
                <a:gd name="connsiteY1195" fmla="*/ 2325 h 10000"/>
                <a:gd name="connsiteX1196" fmla="*/ 5152 w 10354"/>
                <a:gd name="connsiteY1196" fmla="*/ 2308 h 10000"/>
                <a:gd name="connsiteX1197" fmla="*/ 5143 w 10354"/>
                <a:gd name="connsiteY1197" fmla="*/ 2333 h 10000"/>
                <a:gd name="connsiteX1198" fmla="*/ 5138 w 10354"/>
                <a:gd name="connsiteY1198" fmla="*/ 2333 h 10000"/>
                <a:gd name="connsiteX1199" fmla="*/ 5124 w 10354"/>
                <a:gd name="connsiteY1199" fmla="*/ 2376 h 10000"/>
                <a:gd name="connsiteX1200" fmla="*/ 5115 w 10354"/>
                <a:gd name="connsiteY1200" fmla="*/ 2385 h 10000"/>
                <a:gd name="connsiteX1201" fmla="*/ 5106 w 10354"/>
                <a:gd name="connsiteY1201" fmla="*/ 2385 h 10000"/>
                <a:gd name="connsiteX1202" fmla="*/ 5055 w 10354"/>
                <a:gd name="connsiteY1202" fmla="*/ 2470 h 10000"/>
                <a:gd name="connsiteX1203" fmla="*/ 5065 w 10354"/>
                <a:gd name="connsiteY1203" fmla="*/ 2462 h 10000"/>
                <a:gd name="connsiteX1204" fmla="*/ 5055 w 10354"/>
                <a:gd name="connsiteY1204" fmla="*/ 2444 h 10000"/>
                <a:gd name="connsiteX1205" fmla="*/ 5041 w 10354"/>
                <a:gd name="connsiteY1205" fmla="*/ 2462 h 10000"/>
                <a:gd name="connsiteX1206" fmla="*/ 5037 w 10354"/>
                <a:gd name="connsiteY1206" fmla="*/ 2470 h 10000"/>
                <a:gd name="connsiteX1207" fmla="*/ 5032 w 10354"/>
                <a:gd name="connsiteY1207" fmla="*/ 2470 h 10000"/>
                <a:gd name="connsiteX1208" fmla="*/ 5032 w 10354"/>
                <a:gd name="connsiteY1208" fmla="*/ 2444 h 10000"/>
                <a:gd name="connsiteX1209" fmla="*/ 5055 w 10354"/>
                <a:gd name="connsiteY1209" fmla="*/ 2410 h 10000"/>
                <a:gd name="connsiteX1210" fmla="*/ 5065 w 10354"/>
                <a:gd name="connsiteY1210" fmla="*/ 2393 h 10000"/>
                <a:gd name="connsiteX1211" fmla="*/ 5069 w 10354"/>
                <a:gd name="connsiteY1211" fmla="*/ 2385 h 10000"/>
                <a:gd name="connsiteX1212" fmla="*/ 5083 w 10354"/>
                <a:gd name="connsiteY1212" fmla="*/ 2376 h 10000"/>
                <a:gd name="connsiteX1213" fmla="*/ 5097 w 10354"/>
                <a:gd name="connsiteY1213" fmla="*/ 2376 h 10000"/>
                <a:gd name="connsiteX1214" fmla="*/ 5124 w 10354"/>
                <a:gd name="connsiteY1214" fmla="*/ 2325 h 10000"/>
                <a:gd name="connsiteX1215" fmla="*/ 5143 w 10354"/>
                <a:gd name="connsiteY1215" fmla="*/ 2248 h 10000"/>
                <a:gd name="connsiteX1216" fmla="*/ 5152 w 10354"/>
                <a:gd name="connsiteY1216" fmla="*/ 2239 h 10000"/>
                <a:gd name="connsiteX1217" fmla="*/ 5166 w 10354"/>
                <a:gd name="connsiteY1217" fmla="*/ 2162 h 10000"/>
                <a:gd name="connsiteX1218" fmla="*/ 5171 w 10354"/>
                <a:gd name="connsiteY1218" fmla="*/ 2171 h 10000"/>
                <a:gd name="connsiteX1219" fmla="*/ 5198 w 10354"/>
                <a:gd name="connsiteY1219" fmla="*/ 2145 h 10000"/>
                <a:gd name="connsiteX1220" fmla="*/ 5203 w 10354"/>
                <a:gd name="connsiteY1220" fmla="*/ 2111 h 10000"/>
                <a:gd name="connsiteX1221" fmla="*/ 5217 w 10354"/>
                <a:gd name="connsiteY1221" fmla="*/ 2060 h 10000"/>
                <a:gd name="connsiteX1222" fmla="*/ 5226 w 10354"/>
                <a:gd name="connsiteY1222" fmla="*/ 2026 h 10000"/>
                <a:gd name="connsiteX1223" fmla="*/ 5286 w 10354"/>
                <a:gd name="connsiteY1223" fmla="*/ 2026 h 10000"/>
                <a:gd name="connsiteX1224" fmla="*/ 5290 w 10354"/>
                <a:gd name="connsiteY1224" fmla="*/ 2034 h 10000"/>
                <a:gd name="connsiteX1225" fmla="*/ 5323 w 10354"/>
                <a:gd name="connsiteY1225" fmla="*/ 1923 h 10000"/>
                <a:gd name="connsiteX1226" fmla="*/ 5323 w 10354"/>
                <a:gd name="connsiteY1226" fmla="*/ 1889 h 10000"/>
                <a:gd name="connsiteX1227" fmla="*/ 5359 w 10354"/>
                <a:gd name="connsiteY1227" fmla="*/ 1829 h 10000"/>
                <a:gd name="connsiteX1228" fmla="*/ 5378 w 10354"/>
                <a:gd name="connsiteY1228" fmla="*/ 1812 h 10000"/>
                <a:gd name="connsiteX1229" fmla="*/ 5406 w 10354"/>
                <a:gd name="connsiteY1229" fmla="*/ 1752 h 10000"/>
                <a:gd name="connsiteX1230" fmla="*/ 5410 w 10354"/>
                <a:gd name="connsiteY1230" fmla="*/ 1718 h 10000"/>
                <a:gd name="connsiteX1231" fmla="*/ 5438 w 10354"/>
                <a:gd name="connsiteY1231" fmla="*/ 1667 h 10000"/>
                <a:gd name="connsiteX1232" fmla="*/ 5438 w 10354"/>
                <a:gd name="connsiteY1232" fmla="*/ 1650 h 10000"/>
                <a:gd name="connsiteX1233" fmla="*/ 5438 w 10354"/>
                <a:gd name="connsiteY1233" fmla="*/ 1641 h 10000"/>
                <a:gd name="connsiteX1234" fmla="*/ 5452 w 10354"/>
                <a:gd name="connsiteY1234" fmla="*/ 1641 h 10000"/>
                <a:gd name="connsiteX1235" fmla="*/ 5456 w 10354"/>
                <a:gd name="connsiteY1235" fmla="*/ 1615 h 10000"/>
                <a:gd name="connsiteX1236" fmla="*/ 5456 w 10354"/>
                <a:gd name="connsiteY1236" fmla="*/ 1615 h 10000"/>
                <a:gd name="connsiteX1237" fmla="*/ 5465 w 10354"/>
                <a:gd name="connsiteY1237" fmla="*/ 1598 h 10000"/>
                <a:gd name="connsiteX1238" fmla="*/ 5465 w 10354"/>
                <a:gd name="connsiteY1238" fmla="*/ 1615 h 10000"/>
                <a:gd name="connsiteX1239" fmla="*/ 5479 w 10354"/>
                <a:gd name="connsiteY1239" fmla="*/ 1598 h 10000"/>
                <a:gd name="connsiteX1240" fmla="*/ 5484 w 10354"/>
                <a:gd name="connsiteY1240" fmla="*/ 1581 h 10000"/>
                <a:gd name="connsiteX1241" fmla="*/ 5493 w 10354"/>
                <a:gd name="connsiteY1241" fmla="*/ 1581 h 10000"/>
                <a:gd name="connsiteX1242" fmla="*/ 5512 w 10354"/>
                <a:gd name="connsiteY1242" fmla="*/ 1538 h 10000"/>
                <a:gd name="connsiteX1243" fmla="*/ 5530 w 10354"/>
                <a:gd name="connsiteY1243" fmla="*/ 1564 h 10000"/>
                <a:gd name="connsiteX1244" fmla="*/ 5530 w 10354"/>
                <a:gd name="connsiteY1244" fmla="*/ 1538 h 10000"/>
                <a:gd name="connsiteX1245" fmla="*/ 5539 w 10354"/>
                <a:gd name="connsiteY1245" fmla="*/ 1530 h 10000"/>
                <a:gd name="connsiteX1246" fmla="*/ 5530 w 10354"/>
                <a:gd name="connsiteY1246" fmla="*/ 1504 h 10000"/>
                <a:gd name="connsiteX1247" fmla="*/ 5567 w 10354"/>
                <a:gd name="connsiteY1247" fmla="*/ 1479 h 10000"/>
                <a:gd name="connsiteX1248" fmla="*/ 5553 w 10354"/>
                <a:gd name="connsiteY1248" fmla="*/ 1479 h 10000"/>
                <a:gd name="connsiteX1249" fmla="*/ 5553 w 10354"/>
                <a:gd name="connsiteY1249" fmla="*/ 1453 h 10000"/>
                <a:gd name="connsiteX1250" fmla="*/ 5581 w 10354"/>
                <a:gd name="connsiteY1250" fmla="*/ 1444 h 10000"/>
                <a:gd name="connsiteX1251" fmla="*/ 5581 w 10354"/>
                <a:gd name="connsiteY1251" fmla="*/ 1453 h 10000"/>
                <a:gd name="connsiteX1252" fmla="*/ 5585 w 10354"/>
                <a:gd name="connsiteY1252" fmla="*/ 1444 h 10000"/>
                <a:gd name="connsiteX1253" fmla="*/ 5594 w 10354"/>
                <a:gd name="connsiteY1253" fmla="*/ 1427 h 10000"/>
                <a:gd name="connsiteX1254" fmla="*/ 5599 w 10354"/>
                <a:gd name="connsiteY1254" fmla="*/ 1419 h 10000"/>
                <a:gd name="connsiteX1255" fmla="*/ 5594 w 10354"/>
                <a:gd name="connsiteY1255" fmla="*/ 1402 h 10000"/>
                <a:gd name="connsiteX1256" fmla="*/ 5604 w 10354"/>
                <a:gd name="connsiteY1256" fmla="*/ 1393 h 10000"/>
                <a:gd name="connsiteX1257" fmla="*/ 5618 w 10354"/>
                <a:gd name="connsiteY1257" fmla="*/ 1393 h 10000"/>
                <a:gd name="connsiteX1258" fmla="*/ 5627 w 10354"/>
                <a:gd name="connsiteY1258" fmla="*/ 1368 h 10000"/>
                <a:gd name="connsiteX1259" fmla="*/ 5627 w 10354"/>
                <a:gd name="connsiteY1259" fmla="*/ 1325 h 10000"/>
                <a:gd name="connsiteX1260" fmla="*/ 5645 w 10354"/>
                <a:gd name="connsiteY1260" fmla="*/ 1291 h 10000"/>
                <a:gd name="connsiteX1261" fmla="*/ 5645 w 10354"/>
                <a:gd name="connsiteY1261" fmla="*/ 1282 h 10000"/>
                <a:gd name="connsiteX1262" fmla="*/ 5654 w 10354"/>
                <a:gd name="connsiteY1262" fmla="*/ 1265 h 10000"/>
                <a:gd name="connsiteX1263" fmla="*/ 5654 w 10354"/>
                <a:gd name="connsiteY1263" fmla="*/ 1214 h 10000"/>
                <a:gd name="connsiteX1264" fmla="*/ 5654 w 10354"/>
                <a:gd name="connsiteY1264" fmla="*/ 1214 h 10000"/>
                <a:gd name="connsiteX1265" fmla="*/ 5645 w 10354"/>
                <a:gd name="connsiteY1265" fmla="*/ 1197 h 10000"/>
                <a:gd name="connsiteX1266" fmla="*/ 5659 w 10354"/>
                <a:gd name="connsiteY1266" fmla="*/ 1197 h 10000"/>
                <a:gd name="connsiteX1267" fmla="*/ 5654 w 10354"/>
                <a:gd name="connsiteY1267" fmla="*/ 1154 h 10000"/>
                <a:gd name="connsiteX1268" fmla="*/ 5641 w 10354"/>
                <a:gd name="connsiteY1268" fmla="*/ 1154 h 10000"/>
                <a:gd name="connsiteX1269" fmla="*/ 5627 w 10354"/>
                <a:gd name="connsiteY1269" fmla="*/ 1128 h 10000"/>
                <a:gd name="connsiteX1270" fmla="*/ 5618 w 10354"/>
                <a:gd name="connsiteY1270" fmla="*/ 1094 h 10000"/>
                <a:gd name="connsiteX1271" fmla="*/ 5613 w 10354"/>
                <a:gd name="connsiteY1271" fmla="*/ 1094 h 10000"/>
                <a:gd name="connsiteX1272" fmla="*/ 5604 w 10354"/>
                <a:gd name="connsiteY1272" fmla="*/ 1120 h 10000"/>
                <a:gd name="connsiteX1273" fmla="*/ 5604 w 10354"/>
                <a:gd name="connsiteY1273" fmla="*/ 1128 h 10000"/>
                <a:gd name="connsiteX1274" fmla="*/ 5599 w 10354"/>
                <a:gd name="connsiteY1274" fmla="*/ 1103 h 10000"/>
                <a:gd name="connsiteX1275" fmla="*/ 5599 w 10354"/>
                <a:gd name="connsiteY1275" fmla="*/ 1103 h 10000"/>
                <a:gd name="connsiteX1276" fmla="*/ 5594 w 10354"/>
                <a:gd name="connsiteY1276" fmla="*/ 1068 h 10000"/>
                <a:gd name="connsiteX1277" fmla="*/ 5594 w 10354"/>
                <a:gd name="connsiteY1277" fmla="*/ 1060 h 10000"/>
                <a:gd name="connsiteX1278" fmla="*/ 5581 w 10354"/>
                <a:gd name="connsiteY1278" fmla="*/ 1034 h 10000"/>
                <a:gd name="connsiteX1279" fmla="*/ 5571 w 10354"/>
                <a:gd name="connsiteY1279" fmla="*/ 1009 h 10000"/>
                <a:gd name="connsiteX1280" fmla="*/ 5571 w 10354"/>
                <a:gd name="connsiteY1280" fmla="*/ 991 h 10000"/>
                <a:gd name="connsiteX1281" fmla="*/ 5585 w 10354"/>
                <a:gd name="connsiteY1281" fmla="*/ 1009 h 10000"/>
                <a:gd name="connsiteX1282" fmla="*/ 5604 w 10354"/>
                <a:gd name="connsiteY1282" fmla="*/ 1043 h 10000"/>
                <a:gd name="connsiteX1283" fmla="*/ 5641 w 10354"/>
                <a:gd name="connsiteY1283" fmla="*/ 1094 h 10000"/>
                <a:gd name="connsiteX1284" fmla="*/ 5631 w 10354"/>
                <a:gd name="connsiteY1284" fmla="*/ 1128 h 10000"/>
                <a:gd name="connsiteX1285" fmla="*/ 5641 w 10354"/>
                <a:gd name="connsiteY1285" fmla="*/ 1128 h 10000"/>
                <a:gd name="connsiteX1286" fmla="*/ 5659 w 10354"/>
                <a:gd name="connsiteY1286" fmla="*/ 1017 h 10000"/>
                <a:gd name="connsiteX1287" fmla="*/ 5659 w 10354"/>
                <a:gd name="connsiteY1287" fmla="*/ 983 h 10000"/>
                <a:gd name="connsiteX1288" fmla="*/ 5659 w 10354"/>
                <a:gd name="connsiteY1288" fmla="*/ 957 h 10000"/>
                <a:gd name="connsiteX1289" fmla="*/ 5654 w 10354"/>
                <a:gd name="connsiteY1289" fmla="*/ 966 h 10000"/>
                <a:gd name="connsiteX1290" fmla="*/ 5641 w 10354"/>
                <a:gd name="connsiteY1290" fmla="*/ 957 h 10000"/>
                <a:gd name="connsiteX1291" fmla="*/ 5631 w 10354"/>
                <a:gd name="connsiteY1291" fmla="*/ 897 h 10000"/>
                <a:gd name="connsiteX1292" fmla="*/ 5641 w 10354"/>
                <a:gd name="connsiteY1292" fmla="*/ 872 h 10000"/>
                <a:gd name="connsiteX1293" fmla="*/ 5618 w 10354"/>
                <a:gd name="connsiteY1293" fmla="*/ 803 h 10000"/>
                <a:gd name="connsiteX1294" fmla="*/ 5604 w 10354"/>
                <a:gd name="connsiteY1294" fmla="*/ 821 h 10000"/>
                <a:gd name="connsiteX1295" fmla="*/ 5613 w 10354"/>
                <a:gd name="connsiteY1295" fmla="*/ 846 h 10000"/>
                <a:gd name="connsiteX1296" fmla="*/ 5604 w 10354"/>
                <a:gd name="connsiteY1296" fmla="*/ 855 h 10000"/>
                <a:gd name="connsiteX1297" fmla="*/ 5599 w 10354"/>
                <a:gd name="connsiteY1297" fmla="*/ 880 h 10000"/>
                <a:gd name="connsiteX1298" fmla="*/ 5594 w 10354"/>
                <a:gd name="connsiteY1298" fmla="*/ 880 h 10000"/>
                <a:gd name="connsiteX1299" fmla="*/ 5585 w 10354"/>
                <a:gd name="connsiteY1299" fmla="*/ 829 h 10000"/>
                <a:gd name="connsiteX1300" fmla="*/ 5571 w 10354"/>
                <a:gd name="connsiteY1300" fmla="*/ 803 h 10000"/>
                <a:gd name="connsiteX1301" fmla="*/ 5585 w 10354"/>
                <a:gd name="connsiteY1301" fmla="*/ 795 h 10000"/>
                <a:gd name="connsiteX1302" fmla="*/ 5585 w 10354"/>
                <a:gd name="connsiteY1302" fmla="*/ 761 h 10000"/>
                <a:gd name="connsiteX1303" fmla="*/ 5558 w 10354"/>
                <a:gd name="connsiteY1303" fmla="*/ 709 h 10000"/>
                <a:gd name="connsiteX1304" fmla="*/ 5544 w 10354"/>
                <a:gd name="connsiteY1304" fmla="*/ 709 h 10000"/>
                <a:gd name="connsiteX1305" fmla="*/ 5544 w 10354"/>
                <a:gd name="connsiteY1305" fmla="*/ 684 h 10000"/>
                <a:gd name="connsiteX1306" fmla="*/ 5525 w 10354"/>
                <a:gd name="connsiteY1306" fmla="*/ 632 h 10000"/>
                <a:gd name="connsiteX1307" fmla="*/ 5507 w 10354"/>
                <a:gd name="connsiteY1307" fmla="*/ 607 h 10000"/>
                <a:gd name="connsiteX1308" fmla="*/ 5512 w 10354"/>
                <a:gd name="connsiteY1308" fmla="*/ 598 h 10000"/>
                <a:gd name="connsiteX1309" fmla="*/ 5507 w 10354"/>
                <a:gd name="connsiteY1309" fmla="*/ 581 h 10000"/>
                <a:gd name="connsiteX1310" fmla="*/ 5493 w 10354"/>
                <a:gd name="connsiteY1310" fmla="*/ 573 h 10000"/>
                <a:gd name="connsiteX1311" fmla="*/ 5484 w 10354"/>
                <a:gd name="connsiteY1311" fmla="*/ 581 h 10000"/>
                <a:gd name="connsiteX1312" fmla="*/ 5484 w 10354"/>
                <a:gd name="connsiteY1312" fmla="*/ 573 h 10000"/>
                <a:gd name="connsiteX1313" fmla="*/ 5484 w 10354"/>
                <a:gd name="connsiteY1313" fmla="*/ 547 h 10000"/>
                <a:gd name="connsiteX1314" fmla="*/ 5465 w 10354"/>
                <a:gd name="connsiteY1314" fmla="*/ 556 h 10000"/>
                <a:gd name="connsiteX1315" fmla="*/ 5433 w 10354"/>
                <a:gd name="connsiteY1315" fmla="*/ 547 h 10000"/>
                <a:gd name="connsiteX1316" fmla="*/ 5410 w 10354"/>
                <a:gd name="connsiteY1316" fmla="*/ 573 h 10000"/>
                <a:gd name="connsiteX1317" fmla="*/ 5406 w 10354"/>
                <a:gd name="connsiteY1317" fmla="*/ 573 h 10000"/>
                <a:gd name="connsiteX1318" fmla="*/ 5392 w 10354"/>
                <a:gd name="connsiteY1318" fmla="*/ 573 h 10000"/>
                <a:gd name="connsiteX1319" fmla="*/ 5364 w 10354"/>
                <a:gd name="connsiteY1319" fmla="*/ 530 h 10000"/>
                <a:gd name="connsiteX1320" fmla="*/ 5350 w 10354"/>
                <a:gd name="connsiteY1320" fmla="*/ 556 h 10000"/>
                <a:gd name="connsiteX1321" fmla="*/ 5346 w 10354"/>
                <a:gd name="connsiteY1321" fmla="*/ 556 h 10000"/>
                <a:gd name="connsiteX1322" fmla="*/ 5313 w 10354"/>
                <a:gd name="connsiteY1322" fmla="*/ 573 h 10000"/>
                <a:gd name="connsiteX1323" fmla="*/ 5304 w 10354"/>
                <a:gd name="connsiteY1323" fmla="*/ 556 h 10000"/>
                <a:gd name="connsiteX1324" fmla="*/ 5290 w 10354"/>
                <a:gd name="connsiteY1324" fmla="*/ 573 h 10000"/>
                <a:gd name="connsiteX1325" fmla="*/ 5290 w 10354"/>
                <a:gd name="connsiteY1325" fmla="*/ 556 h 10000"/>
                <a:gd name="connsiteX1326" fmla="*/ 5300 w 10354"/>
                <a:gd name="connsiteY1326" fmla="*/ 547 h 10000"/>
                <a:gd name="connsiteX1327" fmla="*/ 5300 w 10354"/>
                <a:gd name="connsiteY1327" fmla="*/ 530 h 10000"/>
                <a:gd name="connsiteX1328" fmla="*/ 5290 w 10354"/>
                <a:gd name="connsiteY1328" fmla="*/ 530 h 10000"/>
                <a:gd name="connsiteX1329" fmla="*/ 5286 w 10354"/>
                <a:gd name="connsiteY1329" fmla="*/ 547 h 10000"/>
                <a:gd name="connsiteX1330" fmla="*/ 5272 w 10354"/>
                <a:gd name="connsiteY1330" fmla="*/ 556 h 10000"/>
                <a:gd name="connsiteX1331" fmla="*/ 5272 w 10354"/>
                <a:gd name="connsiteY1331" fmla="*/ 598 h 10000"/>
                <a:gd name="connsiteX1332" fmla="*/ 5276 w 10354"/>
                <a:gd name="connsiteY1332" fmla="*/ 581 h 10000"/>
                <a:gd name="connsiteX1333" fmla="*/ 5272 w 10354"/>
                <a:gd name="connsiteY1333" fmla="*/ 607 h 10000"/>
                <a:gd name="connsiteX1334" fmla="*/ 5263 w 10354"/>
                <a:gd name="connsiteY1334" fmla="*/ 607 h 10000"/>
                <a:gd name="connsiteX1335" fmla="*/ 5263 w 10354"/>
                <a:gd name="connsiteY1335" fmla="*/ 632 h 10000"/>
                <a:gd name="connsiteX1336" fmla="*/ 5258 w 10354"/>
                <a:gd name="connsiteY1336" fmla="*/ 658 h 10000"/>
                <a:gd name="connsiteX1337" fmla="*/ 5244 w 10354"/>
                <a:gd name="connsiteY1337" fmla="*/ 667 h 10000"/>
                <a:gd name="connsiteX1338" fmla="*/ 5240 w 10354"/>
                <a:gd name="connsiteY1338" fmla="*/ 658 h 10000"/>
                <a:gd name="connsiteX1339" fmla="*/ 5240 w 10354"/>
                <a:gd name="connsiteY1339" fmla="*/ 684 h 10000"/>
                <a:gd name="connsiteX1340" fmla="*/ 5212 w 10354"/>
                <a:gd name="connsiteY1340" fmla="*/ 684 h 10000"/>
                <a:gd name="connsiteX1341" fmla="*/ 5198 w 10354"/>
                <a:gd name="connsiteY1341" fmla="*/ 692 h 10000"/>
                <a:gd name="connsiteX1342" fmla="*/ 5184 w 10354"/>
                <a:gd name="connsiteY1342" fmla="*/ 684 h 10000"/>
                <a:gd name="connsiteX1343" fmla="*/ 5157 w 10354"/>
                <a:gd name="connsiteY1343" fmla="*/ 684 h 10000"/>
                <a:gd name="connsiteX1344" fmla="*/ 5157 w 10354"/>
                <a:gd name="connsiteY1344" fmla="*/ 667 h 10000"/>
                <a:gd name="connsiteX1345" fmla="*/ 5157 w 10354"/>
                <a:gd name="connsiteY1345" fmla="*/ 667 h 10000"/>
                <a:gd name="connsiteX1346" fmla="*/ 5180 w 10354"/>
                <a:gd name="connsiteY1346" fmla="*/ 650 h 10000"/>
                <a:gd name="connsiteX1347" fmla="*/ 5184 w 10354"/>
                <a:gd name="connsiteY1347" fmla="*/ 658 h 10000"/>
                <a:gd name="connsiteX1348" fmla="*/ 5203 w 10354"/>
                <a:gd name="connsiteY1348" fmla="*/ 547 h 10000"/>
                <a:gd name="connsiteX1349" fmla="*/ 5226 w 10354"/>
                <a:gd name="connsiteY1349" fmla="*/ 530 h 10000"/>
                <a:gd name="connsiteX1350" fmla="*/ 5230 w 10354"/>
                <a:gd name="connsiteY1350" fmla="*/ 487 h 10000"/>
                <a:gd name="connsiteX1351" fmla="*/ 5230 w 10354"/>
                <a:gd name="connsiteY1351" fmla="*/ 487 h 10000"/>
                <a:gd name="connsiteX1352" fmla="*/ 5226 w 10354"/>
                <a:gd name="connsiteY1352" fmla="*/ 462 h 10000"/>
                <a:gd name="connsiteX1353" fmla="*/ 5226 w 10354"/>
                <a:gd name="connsiteY1353" fmla="*/ 462 h 10000"/>
                <a:gd name="connsiteX1354" fmla="*/ 5240 w 10354"/>
                <a:gd name="connsiteY1354" fmla="*/ 462 h 10000"/>
                <a:gd name="connsiteX1355" fmla="*/ 5240 w 10354"/>
                <a:gd name="connsiteY1355" fmla="*/ 444 h 10000"/>
                <a:gd name="connsiteX1356" fmla="*/ 5230 w 10354"/>
                <a:gd name="connsiteY1356" fmla="*/ 436 h 10000"/>
                <a:gd name="connsiteX1357" fmla="*/ 5230 w 10354"/>
                <a:gd name="connsiteY1357" fmla="*/ 419 h 10000"/>
                <a:gd name="connsiteX1358" fmla="*/ 5230 w 10354"/>
                <a:gd name="connsiteY1358" fmla="*/ 410 h 10000"/>
                <a:gd name="connsiteX1359" fmla="*/ 5198 w 10354"/>
                <a:gd name="connsiteY1359" fmla="*/ 402 h 10000"/>
                <a:gd name="connsiteX1360" fmla="*/ 5189 w 10354"/>
                <a:gd name="connsiteY1360" fmla="*/ 402 h 10000"/>
                <a:gd name="connsiteX1361" fmla="*/ 5184 w 10354"/>
                <a:gd name="connsiteY1361" fmla="*/ 376 h 10000"/>
                <a:gd name="connsiteX1362" fmla="*/ 5180 w 10354"/>
                <a:gd name="connsiteY1362" fmla="*/ 376 h 10000"/>
                <a:gd name="connsiteX1363" fmla="*/ 5166 w 10354"/>
                <a:gd name="connsiteY1363" fmla="*/ 376 h 10000"/>
                <a:gd name="connsiteX1364" fmla="*/ 5157 w 10354"/>
                <a:gd name="connsiteY1364" fmla="*/ 385 h 10000"/>
                <a:gd name="connsiteX1365" fmla="*/ 5152 w 10354"/>
                <a:gd name="connsiteY1365" fmla="*/ 376 h 10000"/>
                <a:gd name="connsiteX1366" fmla="*/ 5129 w 10354"/>
                <a:gd name="connsiteY1366" fmla="*/ 385 h 10000"/>
                <a:gd name="connsiteX1367" fmla="*/ 5129 w 10354"/>
                <a:gd name="connsiteY1367" fmla="*/ 350 h 10000"/>
                <a:gd name="connsiteX1368" fmla="*/ 5129 w 10354"/>
                <a:gd name="connsiteY1368" fmla="*/ 325 h 10000"/>
                <a:gd name="connsiteX1369" fmla="*/ 5124 w 10354"/>
                <a:gd name="connsiteY1369" fmla="*/ 359 h 10000"/>
                <a:gd name="connsiteX1370" fmla="*/ 5106 w 10354"/>
                <a:gd name="connsiteY1370" fmla="*/ 359 h 10000"/>
                <a:gd name="connsiteX1371" fmla="*/ 5037 w 10354"/>
                <a:gd name="connsiteY1371" fmla="*/ 419 h 10000"/>
                <a:gd name="connsiteX1372" fmla="*/ 5051 w 10354"/>
                <a:gd name="connsiteY1372" fmla="*/ 385 h 10000"/>
                <a:gd name="connsiteX1373" fmla="*/ 5055 w 10354"/>
                <a:gd name="connsiteY1373" fmla="*/ 376 h 10000"/>
                <a:gd name="connsiteX1374" fmla="*/ 5092 w 10354"/>
                <a:gd name="connsiteY1374" fmla="*/ 282 h 10000"/>
                <a:gd name="connsiteX1375" fmla="*/ 5106 w 10354"/>
                <a:gd name="connsiteY1375" fmla="*/ 265 h 10000"/>
                <a:gd name="connsiteX1376" fmla="*/ 5115 w 10354"/>
                <a:gd name="connsiteY1376" fmla="*/ 265 h 10000"/>
                <a:gd name="connsiteX1377" fmla="*/ 5124 w 10354"/>
                <a:gd name="connsiteY1377" fmla="*/ 222 h 10000"/>
                <a:gd name="connsiteX1378" fmla="*/ 5124 w 10354"/>
                <a:gd name="connsiteY1378" fmla="*/ 214 h 10000"/>
                <a:gd name="connsiteX1379" fmla="*/ 5143 w 10354"/>
                <a:gd name="connsiteY1379" fmla="*/ 197 h 10000"/>
                <a:gd name="connsiteX1380" fmla="*/ 5152 w 10354"/>
                <a:gd name="connsiteY1380" fmla="*/ 214 h 10000"/>
                <a:gd name="connsiteX1381" fmla="*/ 5143 w 10354"/>
                <a:gd name="connsiteY1381" fmla="*/ 188 h 10000"/>
                <a:gd name="connsiteX1382" fmla="*/ 5129 w 10354"/>
                <a:gd name="connsiteY1382" fmla="*/ 103 h 10000"/>
                <a:gd name="connsiteX1383" fmla="*/ 5115 w 10354"/>
                <a:gd name="connsiteY1383" fmla="*/ 85 h 10000"/>
                <a:gd name="connsiteX1384" fmla="*/ 5111 w 10354"/>
                <a:gd name="connsiteY1384" fmla="*/ 111 h 10000"/>
                <a:gd name="connsiteX1385" fmla="*/ 5092 w 10354"/>
                <a:gd name="connsiteY1385" fmla="*/ 103 h 10000"/>
                <a:gd name="connsiteX1386" fmla="*/ 5069 w 10354"/>
                <a:gd name="connsiteY1386" fmla="*/ 77 h 10000"/>
                <a:gd name="connsiteX1387" fmla="*/ 5051 w 10354"/>
                <a:gd name="connsiteY1387" fmla="*/ 26 h 10000"/>
                <a:gd name="connsiteX1388" fmla="*/ 5041 w 10354"/>
                <a:gd name="connsiteY1388" fmla="*/ 34 h 10000"/>
                <a:gd name="connsiteX1389" fmla="*/ 5037 w 10354"/>
                <a:gd name="connsiteY1389" fmla="*/ 34 h 10000"/>
                <a:gd name="connsiteX1390" fmla="*/ 5037 w 10354"/>
                <a:gd name="connsiteY1390" fmla="*/ 26 h 10000"/>
                <a:gd name="connsiteX1391" fmla="*/ 5037 w 10354"/>
                <a:gd name="connsiteY1391" fmla="*/ 9 h 10000"/>
                <a:gd name="connsiteX1392" fmla="*/ 5023 w 10354"/>
                <a:gd name="connsiteY1392" fmla="*/ 0 h 10000"/>
                <a:gd name="connsiteX1393" fmla="*/ 5009 w 10354"/>
                <a:gd name="connsiteY1393" fmla="*/ 9 h 10000"/>
                <a:gd name="connsiteX1394" fmla="*/ 4995 w 10354"/>
                <a:gd name="connsiteY1394" fmla="*/ 34 h 10000"/>
                <a:gd name="connsiteX1395" fmla="*/ 4991 w 10354"/>
                <a:gd name="connsiteY1395" fmla="*/ 60 h 10000"/>
                <a:gd name="connsiteX1396" fmla="*/ 4982 w 10354"/>
                <a:gd name="connsiteY1396" fmla="*/ 60 h 10000"/>
                <a:gd name="connsiteX1397" fmla="*/ 4949 w 10354"/>
                <a:gd name="connsiteY1397" fmla="*/ 51 h 10000"/>
                <a:gd name="connsiteX1398" fmla="*/ 4949 w 10354"/>
                <a:gd name="connsiteY1398" fmla="*/ 85 h 10000"/>
                <a:gd name="connsiteX1399" fmla="*/ 4903 w 10354"/>
                <a:gd name="connsiteY1399" fmla="*/ 197 h 10000"/>
                <a:gd name="connsiteX1400" fmla="*/ 4899 w 10354"/>
                <a:gd name="connsiteY1400" fmla="*/ 239 h 10000"/>
                <a:gd name="connsiteX1401" fmla="*/ 4871 w 10354"/>
                <a:gd name="connsiteY1401" fmla="*/ 274 h 10000"/>
                <a:gd name="connsiteX1402" fmla="*/ 4871 w 10354"/>
                <a:gd name="connsiteY1402" fmla="*/ 282 h 10000"/>
                <a:gd name="connsiteX1403" fmla="*/ 4834 w 10354"/>
                <a:gd name="connsiteY1403" fmla="*/ 376 h 10000"/>
                <a:gd name="connsiteX1404" fmla="*/ 4829 w 10354"/>
                <a:gd name="connsiteY1404" fmla="*/ 402 h 10000"/>
                <a:gd name="connsiteX1405" fmla="*/ 4834 w 10354"/>
                <a:gd name="connsiteY1405" fmla="*/ 410 h 10000"/>
                <a:gd name="connsiteX1406" fmla="*/ 4829 w 10354"/>
                <a:gd name="connsiteY1406" fmla="*/ 436 h 10000"/>
                <a:gd name="connsiteX1407" fmla="*/ 4825 w 10354"/>
                <a:gd name="connsiteY1407" fmla="*/ 436 h 10000"/>
                <a:gd name="connsiteX1408" fmla="*/ 4825 w 10354"/>
                <a:gd name="connsiteY1408" fmla="*/ 444 h 10000"/>
                <a:gd name="connsiteX1409" fmla="*/ 4811 w 10354"/>
                <a:gd name="connsiteY1409" fmla="*/ 496 h 10000"/>
                <a:gd name="connsiteX1410" fmla="*/ 4811 w 10354"/>
                <a:gd name="connsiteY1410" fmla="*/ 496 h 10000"/>
                <a:gd name="connsiteX1411" fmla="*/ 4811 w 10354"/>
                <a:gd name="connsiteY1411" fmla="*/ 521 h 10000"/>
                <a:gd name="connsiteX1412" fmla="*/ 4816 w 10354"/>
                <a:gd name="connsiteY1412" fmla="*/ 530 h 10000"/>
                <a:gd name="connsiteX1413" fmla="*/ 4834 w 10354"/>
                <a:gd name="connsiteY1413" fmla="*/ 547 h 10000"/>
                <a:gd name="connsiteX1414" fmla="*/ 4834 w 10354"/>
                <a:gd name="connsiteY1414" fmla="*/ 581 h 10000"/>
                <a:gd name="connsiteX1415" fmla="*/ 4843 w 10354"/>
                <a:gd name="connsiteY1415" fmla="*/ 581 h 10000"/>
                <a:gd name="connsiteX1416" fmla="*/ 4843 w 10354"/>
                <a:gd name="connsiteY1416" fmla="*/ 598 h 10000"/>
                <a:gd name="connsiteX1417" fmla="*/ 4829 w 10354"/>
                <a:gd name="connsiteY1417" fmla="*/ 598 h 10000"/>
                <a:gd name="connsiteX1418" fmla="*/ 4829 w 10354"/>
                <a:gd name="connsiteY1418" fmla="*/ 573 h 10000"/>
                <a:gd name="connsiteX1419" fmla="*/ 4829 w 10354"/>
                <a:gd name="connsiteY1419" fmla="*/ 632 h 10000"/>
                <a:gd name="connsiteX1420" fmla="*/ 4829 w 10354"/>
                <a:gd name="connsiteY1420" fmla="*/ 632 h 10000"/>
                <a:gd name="connsiteX1421" fmla="*/ 4829 w 10354"/>
                <a:gd name="connsiteY1421" fmla="*/ 650 h 10000"/>
                <a:gd name="connsiteX1422" fmla="*/ 4774 w 10354"/>
                <a:gd name="connsiteY1422" fmla="*/ 684 h 10000"/>
                <a:gd name="connsiteX1423" fmla="*/ 4756 w 10354"/>
                <a:gd name="connsiteY1423" fmla="*/ 684 h 10000"/>
                <a:gd name="connsiteX1424" fmla="*/ 4737 w 10354"/>
                <a:gd name="connsiteY1424" fmla="*/ 692 h 10000"/>
                <a:gd name="connsiteX1425" fmla="*/ 4677 w 10354"/>
                <a:gd name="connsiteY1425" fmla="*/ 667 h 10000"/>
                <a:gd name="connsiteX1426" fmla="*/ 4682 w 10354"/>
                <a:gd name="connsiteY1426" fmla="*/ 692 h 10000"/>
                <a:gd name="connsiteX1427" fmla="*/ 4682 w 10354"/>
                <a:gd name="connsiteY1427" fmla="*/ 709 h 10000"/>
                <a:gd name="connsiteX1428" fmla="*/ 4691 w 10354"/>
                <a:gd name="connsiteY1428" fmla="*/ 718 h 10000"/>
                <a:gd name="connsiteX1429" fmla="*/ 4691 w 10354"/>
                <a:gd name="connsiteY1429" fmla="*/ 744 h 10000"/>
                <a:gd name="connsiteX1430" fmla="*/ 4700 w 10354"/>
                <a:gd name="connsiteY1430" fmla="*/ 744 h 10000"/>
                <a:gd name="connsiteX1431" fmla="*/ 4714 w 10354"/>
                <a:gd name="connsiteY1431" fmla="*/ 769 h 10000"/>
                <a:gd name="connsiteX1432" fmla="*/ 4710 w 10354"/>
                <a:gd name="connsiteY1432" fmla="*/ 786 h 10000"/>
                <a:gd name="connsiteX1433" fmla="*/ 4737 w 10354"/>
                <a:gd name="connsiteY1433" fmla="*/ 786 h 10000"/>
                <a:gd name="connsiteX1434" fmla="*/ 4742 w 10354"/>
                <a:gd name="connsiteY1434" fmla="*/ 795 h 10000"/>
                <a:gd name="connsiteX1435" fmla="*/ 4742 w 10354"/>
                <a:gd name="connsiteY1435" fmla="*/ 803 h 10000"/>
                <a:gd name="connsiteX1436" fmla="*/ 4737 w 10354"/>
                <a:gd name="connsiteY1436" fmla="*/ 846 h 10000"/>
                <a:gd name="connsiteX1437" fmla="*/ 4737 w 10354"/>
                <a:gd name="connsiteY1437" fmla="*/ 880 h 10000"/>
                <a:gd name="connsiteX1438" fmla="*/ 4737 w 10354"/>
                <a:gd name="connsiteY1438" fmla="*/ 906 h 10000"/>
                <a:gd name="connsiteX1439" fmla="*/ 4724 w 10354"/>
                <a:gd name="connsiteY1439" fmla="*/ 897 h 10000"/>
                <a:gd name="connsiteX1440" fmla="*/ 4724 w 10354"/>
                <a:gd name="connsiteY1440" fmla="*/ 872 h 10000"/>
                <a:gd name="connsiteX1441" fmla="*/ 4714 w 10354"/>
                <a:gd name="connsiteY1441" fmla="*/ 855 h 10000"/>
                <a:gd name="connsiteX1442" fmla="*/ 4691 w 10354"/>
                <a:gd name="connsiteY1442" fmla="*/ 846 h 10000"/>
                <a:gd name="connsiteX1443" fmla="*/ 4691 w 10354"/>
                <a:gd name="connsiteY1443" fmla="*/ 846 h 10000"/>
                <a:gd name="connsiteX1444" fmla="*/ 4696 w 10354"/>
                <a:gd name="connsiteY1444" fmla="*/ 821 h 10000"/>
                <a:gd name="connsiteX1445" fmla="*/ 4691 w 10354"/>
                <a:gd name="connsiteY1445" fmla="*/ 803 h 10000"/>
                <a:gd name="connsiteX1446" fmla="*/ 4668 w 10354"/>
                <a:gd name="connsiteY1446" fmla="*/ 821 h 10000"/>
                <a:gd name="connsiteX1447" fmla="*/ 4668 w 10354"/>
                <a:gd name="connsiteY1447" fmla="*/ 786 h 10000"/>
                <a:gd name="connsiteX1448" fmla="*/ 4664 w 10354"/>
                <a:gd name="connsiteY1448" fmla="*/ 786 h 10000"/>
                <a:gd name="connsiteX1449" fmla="*/ 4622 w 10354"/>
                <a:gd name="connsiteY1449" fmla="*/ 846 h 10000"/>
                <a:gd name="connsiteX1450" fmla="*/ 4627 w 10354"/>
                <a:gd name="connsiteY1450" fmla="*/ 872 h 10000"/>
                <a:gd name="connsiteX1451" fmla="*/ 4622 w 10354"/>
                <a:gd name="connsiteY1451" fmla="*/ 880 h 10000"/>
                <a:gd name="connsiteX1452" fmla="*/ 4622 w 10354"/>
                <a:gd name="connsiteY1452" fmla="*/ 880 h 10000"/>
                <a:gd name="connsiteX1453" fmla="*/ 4618 w 10354"/>
                <a:gd name="connsiteY1453" fmla="*/ 872 h 10000"/>
                <a:gd name="connsiteX1454" fmla="*/ 4604 w 10354"/>
                <a:gd name="connsiteY1454" fmla="*/ 880 h 10000"/>
                <a:gd name="connsiteX1455" fmla="*/ 4594 w 10354"/>
                <a:gd name="connsiteY1455" fmla="*/ 906 h 10000"/>
                <a:gd name="connsiteX1456" fmla="*/ 4604 w 10354"/>
                <a:gd name="connsiteY1456" fmla="*/ 906 h 10000"/>
                <a:gd name="connsiteX1457" fmla="*/ 4608 w 10354"/>
                <a:gd name="connsiteY1457" fmla="*/ 906 h 10000"/>
                <a:gd name="connsiteX1458" fmla="*/ 4608 w 10354"/>
                <a:gd name="connsiteY1458" fmla="*/ 932 h 10000"/>
                <a:gd name="connsiteX1459" fmla="*/ 4604 w 10354"/>
                <a:gd name="connsiteY1459" fmla="*/ 932 h 10000"/>
                <a:gd name="connsiteX1460" fmla="*/ 4590 w 10354"/>
                <a:gd name="connsiteY1460" fmla="*/ 932 h 10000"/>
                <a:gd name="connsiteX1461" fmla="*/ 4567 w 10354"/>
                <a:gd name="connsiteY1461" fmla="*/ 957 h 10000"/>
                <a:gd name="connsiteX1462" fmla="*/ 4567 w 10354"/>
                <a:gd name="connsiteY1462" fmla="*/ 932 h 10000"/>
                <a:gd name="connsiteX1463" fmla="*/ 4567 w 10354"/>
                <a:gd name="connsiteY1463" fmla="*/ 923 h 10000"/>
                <a:gd name="connsiteX1464" fmla="*/ 4562 w 10354"/>
                <a:gd name="connsiteY1464" fmla="*/ 932 h 10000"/>
                <a:gd name="connsiteX1465" fmla="*/ 4548 w 10354"/>
                <a:gd name="connsiteY1465" fmla="*/ 957 h 10000"/>
                <a:gd name="connsiteX1466" fmla="*/ 4544 w 10354"/>
                <a:gd name="connsiteY1466" fmla="*/ 957 h 10000"/>
                <a:gd name="connsiteX1467" fmla="*/ 4521 w 10354"/>
                <a:gd name="connsiteY1467" fmla="*/ 983 h 10000"/>
                <a:gd name="connsiteX1468" fmla="*/ 4521 w 10354"/>
                <a:gd name="connsiteY1468" fmla="*/ 983 h 10000"/>
                <a:gd name="connsiteX1469" fmla="*/ 4530 w 10354"/>
                <a:gd name="connsiteY1469" fmla="*/ 957 h 10000"/>
                <a:gd name="connsiteX1470" fmla="*/ 4535 w 10354"/>
                <a:gd name="connsiteY1470" fmla="*/ 932 h 10000"/>
                <a:gd name="connsiteX1471" fmla="*/ 4521 w 10354"/>
                <a:gd name="connsiteY1471" fmla="*/ 932 h 10000"/>
                <a:gd name="connsiteX1472" fmla="*/ 4516 w 10354"/>
                <a:gd name="connsiteY1472" fmla="*/ 923 h 10000"/>
                <a:gd name="connsiteX1473" fmla="*/ 4516 w 10354"/>
                <a:gd name="connsiteY1473" fmla="*/ 932 h 10000"/>
                <a:gd name="connsiteX1474" fmla="*/ 4488 w 10354"/>
                <a:gd name="connsiteY1474" fmla="*/ 940 h 10000"/>
                <a:gd name="connsiteX1475" fmla="*/ 4484 w 10354"/>
                <a:gd name="connsiteY1475" fmla="*/ 983 h 10000"/>
                <a:gd name="connsiteX1476" fmla="*/ 4470 w 10354"/>
                <a:gd name="connsiteY1476" fmla="*/ 983 h 10000"/>
                <a:gd name="connsiteX1477" fmla="*/ 4470 w 10354"/>
                <a:gd name="connsiteY1477" fmla="*/ 966 h 10000"/>
                <a:gd name="connsiteX1478" fmla="*/ 4488 w 10354"/>
                <a:gd name="connsiteY1478" fmla="*/ 923 h 10000"/>
                <a:gd name="connsiteX1479" fmla="*/ 4493 w 10354"/>
                <a:gd name="connsiteY1479" fmla="*/ 880 h 10000"/>
                <a:gd name="connsiteX1480" fmla="*/ 4475 w 10354"/>
                <a:gd name="connsiteY1480" fmla="*/ 846 h 10000"/>
                <a:gd name="connsiteX1481" fmla="*/ 4442 w 10354"/>
                <a:gd name="connsiteY1481" fmla="*/ 855 h 10000"/>
                <a:gd name="connsiteX1482" fmla="*/ 4433 w 10354"/>
                <a:gd name="connsiteY1482" fmla="*/ 855 h 10000"/>
                <a:gd name="connsiteX1483" fmla="*/ 4433 w 10354"/>
                <a:gd name="connsiteY1483" fmla="*/ 880 h 10000"/>
                <a:gd name="connsiteX1484" fmla="*/ 4401 w 10354"/>
                <a:gd name="connsiteY1484" fmla="*/ 855 h 10000"/>
                <a:gd name="connsiteX1485" fmla="*/ 4396 w 10354"/>
                <a:gd name="connsiteY1485" fmla="*/ 872 h 10000"/>
                <a:gd name="connsiteX1486" fmla="*/ 4382 w 10354"/>
                <a:gd name="connsiteY1486" fmla="*/ 897 h 10000"/>
                <a:gd name="connsiteX1487" fmla="*/ 4373 w 10354"/>
                <a:gd name="connsiteY1487" fmla="*/ 872 h 10000"/>
                <a:gd name="connsiteX1488" fmla="*/ 4341 w 10354"/>
                <a:gd name="connsiteY1488" fmla="*/ 872 h 10000"/>
                <a:gd name="connsiteX1489" fmla="*/ 4336 w 10354"/>
                <a:gd name="connsiteY1489" fmla="*/ 880 h 10000"/>
                <a:gd name="connsiteX1490" fmla="*/ 4346 w 10354"/>
                <a:gd name="connsiteY1490" fmla="*/ 897 h 10000"/>
                <a:gd name="connsiteX1491" fmla="*/ 4346 w 10354"/>
                <a:gd name="connsiteY1491" fmla="*/ 897 h 10000"/>
                <a:gd name="connsiteX1492" fmla="*/ 4313 w 10354"/>
                <a:gd name="connsiteY1492" fmla="*/ 906 h 10000"/>
                <a:gd name="connsiteX1493" fmla="*/ 4313 w 10354"/>
                <a:gd name="connsiteY1493" fmla="*/ 906 h 10000"/>
                <a:gd name="connsiteX1494" fmla="*/ 4313 w 10354"/>
                <a:gd name="connsiteY1494" fmla="*/ 880 h 10000"/>
                <a:gd name="connsiteX1495" fmla="*/ 4309 w 10354"/>
                <a:gd name="connsiteY1495" fmla="*/ 897 h 10000"/>
                <a:gd name="connsiteX1496" fmla="*/ 4295 w 10354"/>
                <a:gd name="connsiteY1496" fmla="*/ 923 h 10000"/>
                <a:gd name="connsiteX1497" fmla="*/ 4286 w 10354"/>
                <a:gd name="connsiteY1497" fmla="*/ 897 h 10000"/>
                <a:gd name="connsiteX1498" fmla="*/ 4281 w 10354"/>
                <a:gd name="connsiteY1498" fmla="*/ 906 h 10000"/>
                <a:gd name="connsiteX1499" fmla="*/ 4281 w 10354"/>
                <a:gd name="connsiteY1499" fmla="*/ 940 h 10000"/>
                <a:gd name="connsiteX1500" fmla="*/ 4286 w 10354"/>
                <a:gd name="connsiteY1500" fmla="*/ 957 h 10000"/>
                <a:gd name="connsiteX1501" fmla="*/ 4309 w 10354"/>
                <a:gd name="connsiteY1501" fmla="*/ 932 h 10000"/>
                <a:gd name="connsiteX1502" fmla="*/ 4313 w 10354"/>
                <a:gd name="connsiteY1502" fmla="*/ 957 h 10000"/>
                <a:gd name="connsiteX1503" fmla="*/ 4313 w 10354"/>
                <a:gd name="connsiteY1503" fmla="*/ 966 h 10000"/>
                <a:gd name="connsiteX1504" fmla="*/ 4323 w 10354"/>
                <a:gd name="connsiteY1504" fmla="*/ 966 h 10000"/>
                <a:gd name="connsiteX1505" fmla="*/ 4323 w 10354"/>
                <a:gd name="connsiteY1505" fmla="*/ 940 h 10000"/>
                <a:gd name="connsiteX1506" fmla="*/ 4327 w 10354"/>
                <a:gd name="connsiteY1506" fmla="*/ 940 h 10000"/>
                <a:gd name="connsiteX1507" fmla="*/ 4327 w 10354"/>
                <a:gd name="connsiteY1507" fmla="*/ 957 h 10000"/>
                <a:gd name="connsiteX1508" fmla="*/ 4327 w 10354"/>
                <a:gd name="connsiteY1508" fmla="*/ 966 h 10000"/>
                <a:gd name="connsiteX1509" fmla="*/ 4323 w 10354"/>
                <a:gd name="connsiteY1509" fmla="*/ 991 h 10000"/>
                <a:gd name="connsiteX1510" fmla="*/ 4207 w 10354"/>
                <a:gd name="connsiteY1510" fmla="*/ 1060 h 10000"/>
                <a:gd name="connsiteX1511" fmla="*/ 4207 w 10354"/>
                <a:gd name="connsiteY1511" fmla="*/ 1060 h 10000"/>
                <a:gd name="connsiteX1512" fmla="*/ 4203 w 10354"/>
                <a:gd name="connsiteY1512" fmla="*/ 1068 h 10000"/>
                <a:gd name="connsiteX1513" fmla="*/ 4203 w 10354"/>
                <a:gd name="connsiteY1513" fmla="*/ 1094 h 10000"/>
                <a:gd name="connsiteX1514" fmla="*/ 4203 w 10354"/>
                <a:gd name="connsiteY1514" fmla="*/ 1094 h 10000"/>
                <a:gd name="connsiteX1515" fmla="*/ 4189 w 10354"/>
                <a:gd name="connsiteY1515" fmla="*/ 1094 h 10000"/>
                <a:gd name="connsiteX1516" fmla="*/ 4166 w 10354"/>
                <a:gd name="connsiteY1516" fmla="*/ 1103 h 10000"/>
                <a:gd name="connsiteX1517" fmla="*/ 4152 w 10354"/>
                <a:gd name="connsiteY1517" fmla="*/ 1094 h 10000"/>
                <a:gd name="connsiteX1518" fmla="*/ 4134 w 10354"/>
                <a:gd name="connsiteY1518" fmla="*/ 1120 h 10000"/>
                <a:gd name="connsiteX1519" fmla="*/ 4106 w 10354"/>
                <a:gd name="connsiteY1519" fmla="*/ 1120 h 10000"/>
                <a:gd name="connsiteX1520" fmla="*/ 4092 w 10354"/>
                <a:gd name="connsiteY1520" fmla="*/ 1154 h 10000"/>
                <a:gd name="connsiteX1521" fmla="*/ 4106 w 10354"/>
                <a:gd name="connsiteY1521" fmla="*/ 1171 h 10000"/>
                <a:gd name="connsiteX1522" fmla="*/ 4078 w 10354"/>
                <a:gd name="connsiteY1522" fmla="*/ 1179 h 10000"/>
                <a:gd name="connsiteX1523" fmla="*/ 4065 w 10354"/>
                <a:gd name="connsiteY1523" fmla="*/ 1205 h 10000"/>
                <a:gd name="connsiteX1524" fmla="*/ 4046 w 10354"/>
                <a:gd name="connsiteY1524" fmla="*/ 1179 h 10000"/>
                <a:gd name="connsiteX1525" fmla="*/ 4041 w 10354"/>
                <a:gd name="connsiteY1525" fmla="*/ 1197 h 10000"/>
                <a:gd name="connsiteX1526" fmla="*/ 4028 w 10354"/>
                <a:gd name="connsiteY1526" fmla="*/ 1205 h 10000"/>
                <a:gd name="connsiteX1527" fmla="*/ 4028 w 10354"/>
                <a:gd name="connsiteY1527" fmla="*/ 1205 h 10000"/>
                <a:gd name="connsiteX1528" fmla="*/ 4032 w 10354"/>
                <a:gd name="connsiteY1528" fmla="*/ 1205 h 10000"/>
                <a:gd name="connsiteX1529" fmla="*/ 4032 w 10354"/>
                <a:gd name="connsiteY1529" fmla="*/ 1231 h 10000"/>
                <a:gd name="connsiteX1530" fmla="*/ 4014 w 10354"/>
                <a:gd name="connsiteY1530" fmla="*/ 1239 h 10000"/>
                <a:gd name="connsiteX1531" fmla="*/ 4014 w 10354"/>
                <a:gd name="connsiteY1531" fmla="*/ 1256 h 10000"/>
                <a:gd name="connsiteX1532" fmla="*/ 4000 w 10354"/>
                <a:gd name="connsiteY1532" fmla="*/ 1265 h 10000"/>
                <a:gd name="connsiteX1533" fmla="*/ 3986 w 10354"/>
                <a:gd name="connsiteY1533" fmla="*/ 1308 h 10000"/>
                <a:gd name="connsiteX1534" fmla="*/ 3972 w 10354"/>
                <a:gd name="connsiteY1534" fmla="*/ 1316 h 10000"/>
                <a:gd name="connsiteX1535" fmla="*/ 3972 w 10354"/>
                <a:gd name="connsiteY1535" fmla="*/ 1325 h 10000"/>
                <a:gd name="connsiteX1536" fmla="*/ 3972 w 10354"/>
                <a:gd name="connsiteY1536" fmla="*/ 1342 h 10000"/>
                <a:gd name="connsiteX1537" fmla="*/ 3968 w 10354"/>
                <a:gd name="connsiteY1537" fmla="*/ 1350 h 10000"/>
                <a:gd name="connsiteX1538" fmla="*/ 3954 w 10354"/>
                <a:gd name="connsiteY1538" fmla="*/ 1368 h 10000"/>
                <a:gd name="connsiteX1539" fmla="*/ 3945 w 10354"/>
                <a:gd name="connsiteY1539" fmla="*/ 1350 h 10000"/>
                <a:gd name="connsiteX1540" fmla="*/ 3908 w 10354"/>
                <a:gd name="connsiteY1540" fmla="*/ 1342 h 10000"/>
                <a:gd name="connsiteX1541" fmla="*/ 3894 w 10354"/>
                <a:gd name="connsiteY1541" fmla="*/ 1368 h 10000"/>
                <a:gd name="connsiteX1542" fmla="*/ 3922 w 10354"/>
                <a:gd name="connsiteY1542" fmla="*/ 1393 h 10000"/>
                <a:gd name="connsiteX1543" fmla="*/ 3945 w 10354"/>
                <a:gd name="connsiteY1543" fmla="*/ 1393 h 10000"/>
                <a:gd name="connsiteX1544" fmla="*/ 3940 w 10354"/>
                <a:gd name="connsiteY1544" fmla="*/ 1419 h 10000"/>
                <a:gd name="connsiteX1545" fmla="*/ 3931 w 10354"/>
                <a:gd name="connsiteY1545" fmla="*/ 1427 h 10000"/>
                <a:gd name="connsiteX1546" fmla="*/ 3926 w 10354"/>
                <a:gd name="connsiteY1546" fmla="*/ 1427 h 10000"/>
                <a:gd name="connsiteX1547" fmla="*/ 3922 w 10354"/>
                <a:gd name="connsiteY1547" fmla="*/ 1419 h 10000"/>
                <a:gd name="connsiteX1548" fmla="*/ 3912 w 10354"/>
                <a:gd name="connsiteY1548" fmla="*/ 1427 h 10000"/>
                <a:gd name="connsiteX1549" fmla="*/ 3912 w 10354"/>
                <a:gd name="connsiteY1549" fmla="*/ 1444 h 10000"/>
                <a:gd name="connsiteX1550" fmla="*/ 3894 w 10354"/>
                <a:gd name="connsiteY1550" fmla="*/ 1513 h 10000"/>
                <a:gd name="connsiteX1551" fmla="*/ 3885 w 10354"/>
                <a:gd name="connsiteY1551" fmla="*/ 1513 h 10000"/>
                <a:gd name="connsiteX1552" fmla="*/ 3880 w 10354"/>
                <a:gd name="connsiteY1552" fmla="*/ 1538 h 10000"/>
                <a:gd name="connsiteX1553" fmla="*/ 3885 w 10354"/>
                <a:gd name="connsiteY1553" fmla="*/ 1564 h 10000"/>
                <a:gd name="connsiteX1554" fmla="*/ 3880 w 10354"/>
                <a:gd name="connsiteY1554" fmla="*/ 1581 h 10000"/>
                <a:gd name="connsiteX1555" fmla="*/ 3871 w 10354"/>
                <a:gd name="connsiteY1555" fmla="*/ 1538 h 10000"/>
                <a:gd name="connsiteX1556" fmla="*/ 3853 w 10354"/>
                <a:gd name="connsiteY1556" fmla="*/ 1530 h 10000"/>
                <a:gd name="connsiteX1557" fmla="*/ 3853 w 10354"/>
                <a:gd name="connsiteY1557" fmla="*/ 1504 h 10000"/>
                <a:gd name="connsiteX1558" fmla="*/ 3834 w 10354"/>
                <a:gd name="connsiteY1558" fmla="*/ 1487 h 10000"/>
                <a:gd name="connsiteX1559" fmla="*/ 3834 w 10354"/>
                <a:gd name="connsiteY1559" fmla="*/ 1487 h 10000"/>
                <a:gd name="connsiteX1560" fmla="*/ 3839 w 10354"/>
                <a:gd name="connsiteY1560" fmla="*/ 1513 h 10000"/>
                <a:gd name="connsiteX1561" fmla="*/ 3820 w 10354"/>
                <a:gd name="connsiteY1561" fmla="*/ 1538 h 10000"/>
                <a:gd name="connsiteX1562" fmla="*/ 3820 w 10354"/>
                <a:gd name="connsiteY1562" fmla="*/ 1556 h 10000"/>
                <a:gd name="connsiteX1563" fmla="*/ 3820 w 10354"/>
                <a:gd name="connsiteY1563" fmla="*/ 1564 h 10000"/>
                <a:gd name="connsiteX1564" fmla="*/ 3820 w 10354"/>
                <a:gd name="connsiteY1564" fmla="*/ 1581 h 10000"/>
                <a:gd name="connsiteX1565" fmla="*/ 3853 w 10354"/>
                <a:gd name="connsiteY1565" fmla="*/ 1581 h 10000"/>
                <a:gd name="connsiteX1566" fmla="*/ 3857 w 10354"/>
                <a:gd name="connsiteY1566" fmla="*/ 1598 h 10000"/>
                <a:gd name="connsiteX1567" fmla="*/ 3880 w 10354"/>
                <a:gd name="connsiteY1567" fmla="*/ 1615 h 10000"/>
                <a:gd name="connsiteX1568" fmla="*/ 3871 w 10354"/>
                <a:gd name="connsiteY1568" fmla="*/ 1615 h 10000"/>
                <a:gd name="connsiteX1569" fmla="*/ 3871 w 10354"/>
                <a:gd name="connsiteY1569" fmla="*/ 1641 h 10000"/>
                <a:gd name="connsiteX1570" fmla="*/ 3880 w 10354"/>
                <a:gd name="connsiteY1570" fmla="*/ 1641 h 10000"/>
                <a:gd name="connsiteX1571" fmla="*/ 3871 w 10354"/>
                <a:gd name="connsiteY1571" fmla="*/ 1650 h 10000"/>
                <a:gd name="connsiteX1572" fmla="*/ 3857 w 10354"/>
                <a:gd name="connsiteY1572" fmla="*/ 1650 h 10000"/>
                <a:gd name="connsiteX1573" fmla="*/ 3853 w 10354"/>
                <a:gd name="connsiteY1573" fmla="*/ 1650 h 10000"/>
                <a:gd name="connsiteX1574" fmla="*/ 3839 w 10354"/>
                <a:gd name="connsiteY1574" fmla="*/ 1667 h 10000"/>
                <a:gd name="connsiteX1575" fmla="*/ 3848 w 10354"/>
                <a:gd name="connsiteY1575" fmla="*/ 1692 h 10000"/>
                <a:gd name="connsiteX1576" fmla="*/ 3834 w 10354"/>
                <a:gd name="connsiteY1576" fmla="*/ 1692 h 10000"/>
                <a:gd name="connsiteX1577" fmla="*/ 3825 w 10354"/>
                <a:gd name="connsiteY1577" fmla="*/ 1692 h 10000"/>
                <a:gd name="connsiteX1578" fmla="*/ 3825 w 10354"/>
                <a:gd name="connsiteY1578" fmla="*/ 1718 h 10000"/>
                <a:gd name="connsiteX1579" fmla="*/ 3839 w 10354"/>
                <a:gd name="connsiteY1579" fmla="*/ 1726 h 10000"/>
                <a:gd name="connsiteX1580" fmla="*/ 3880 w 10354"/>
                <a:gd name="connsiteY1580" fmla="*/ 1752 h 10000"/>
                <a:gd name="connsiteX1581" fmla="*/ 3894 w 10354"/>
                <a:gd name="connsiteY1581" fmla="*/ 1829 h 10000"/>
                <a:gd name="connsiteX1582" fmla="*/ 3899 w 10354"/>
                <a:gd name="connsiteY1582" fmla="*/ 1838 h 10000"/>
                <a:gd name="connsiteX1583" fmla="*/ 3894 w 10354"/>
                <a:gd name="connsiteY1583" fmla="*/ 1855 h 10000"/>
                <a:gd name="connsiteX1584" fmla="*/ 3880 w 10354"/>
                <a:gd name="connsiteY1584" fmla="*/ 1838 h 10000"/>
                <a:gd name="connsiteX1585" fmla="*/ 3880 w 10354"/>
                <a:gd name="connsiteY1585" fmla="*/ 1855 h 10000"/>
                <a:gd name="connsiteX1586" fmla="*/ 3880 w 10354"/>
                <a:gd name="connsiteY1586" fmla="*/ 1863 h 10000"/>
                <a:gd name="connsiteX1587" fmla="*/ 3871 w 10354"/>
                <a:gd name="connsiteY1587" fmla="*/ 1872 h 10000"/>
                <a:gd name="connsiteX1588" fmla="*/ 3880 w 10354"/>
                <a:gd name="connsiteY1588" fmla="*/ 1889 h 10000"/>
                <a:gd name="connsiteX1589" fmla="*/ 3885 w 10354"/>
                <a:gd name="connsiteY1589" fmla="*/ 1889 h 10000"/>
                <a:gd name="connsiteX1590" fmla="*/ 3880 w 10354"/>
                <a:gd name="connsiteY1590" fmla="*/ 1897 h 10000"/>
                <a:gd name="connsiteX1591" fmla="*/ 3871 w 10354"/>
                <a:gd name="connsiteY1591" fmla="*/ 1915 h 10000"/>
                <a:gd name="connsiteX1592" fmla="*/ 3848 w 10354"/>
                <a:gd name="connsiteY1592" fmla="*/ 1923 h 10000"/>
                <a:gd name="connsiteX1593" fmla="*/ 3825 w 10354"/>
                <a:gd name="connsiteY1593" fmla="*/ 1940 h 10000"/>
                <a:gd name="connsiteX1594" fmla="*/ 3811 w 10354"/>
                <a:gd name="connsiteY1594" fmla="*/ 1940 h 10000"/>
                <a:gd name="connsiteX1595" fmla="*/ 3806 w 10354"/>
                <a:gd name="connsiteY1595" fmla="*/ 1949 h 10000"/>
                <a:gd name="connsiteX1596" fmla="*/ 3797 w 10354"/>
                <a:gd name="connsiteY1596" fmla="*/ 1966 h 10000"/>
                <a:gd name="connsiteX1597" fmla="*/ 3788 w 10354"/>
                <a:gd name="connsiteY1597" fmla="*/ 1991 h 10000"/>
                <a:gd name="connsiteX1598" fmla="*/ 3765 w 10354"/>
                <a:gd name="connsiteY1598" fmla="*/ 1974 h 10000"/>
                <a:gd name="connsiteX1599" fmla="*/ 3760 w 10354"/>
                <a:gd name="connsiteY1599" fmla="*/ 1966 h 10000"/>
                <a:gd name="connsiteX1600" fmla="*/ 3760 w 10354"/>
                <a:gd name="connsiteY1600" fmla="*/ 1966 h 10000"/>
                <a:gd name="connsiteX1601" fmla="*/ 3631 w 10354"/>
                <a:gd name="connsiteY1601" fmla="*/ 2009 h 10000"/>
                <a:gd name="connsiteX1602" fmla="*/ 3618 w 10354"/>
                <a:gd name="connsiteY1602" fmla="*/ 2000 h 10000"/>
                <a:gd name="connsiteX1603" fmla="*/ 3599 w 10354"/>
                <a:gd name="connsiteY1603" fmla="*/ 2009 h 10000"/>
                <a:gd name="connsiteX1604" fmla="*/ 3571 w 10354"/>
                <a:gd name="connsiteY1604" fmla="*/ 2000 h 10000"/>
                <a:gd name="connsiteX1605" fmla="*/ 3530 w 10354"/>
                <a:gd name="connsiteY1605" fmla="*/ 2026 h 10000"/>
                <a:gd name="connsiteX1606" fmla="*/ 3530 w 10354"/>
                <a:gd name="connsiteY1606" fmla="*/ 2034 h 10000"/>
                <a:gd name="connsiteX1607" fmla="*/ 3525 w 10354"/>
                <a:gd name="connsiteY1607" fmla="*/ 2051 h 10000"/>
                <a:gd name="connsiteX1608" fmla="*/ 3512 w 10354"/>
                <a:gd name="connsiteY1608" fmla="*/ 2034 h 10000"/>
                <a:gd name="connsiteX1609" fmla="*/ 3507 w 10354"/>
                <a:gd name="connsiteY1609" fmla="*/ 2034 h 10000"/>
                <a:gd name="connsiteX1610" fmla="*/ 3498 w 10354"/>
                <a:gd name="connsiteY1610" fmla="*/ 2051 h 10000"/>
                <a:gd name="connsiteX1611" fmla="*/ 3484 w 10354"/>
                <a:gd name="connsiteY1611" fmla="*/ 2060 h 10000"/>
                <a:gd name="connsiteX1612" fmla="*/ 3484 w 10354"/>
                <a:gd name="connsiteY1612" fmla="*/ 2085 h 10000"/>
                <a:gd name="connsiteX1613" fmla="*/ 3484 w 10354"/>
                <a:gd name="connsiteY1613" fmla="*/ 2103 h 10000"/>
                <a:gd name="connsiteX1614" fmla="*/ 3493 w 10354"/>
                <a:gd name="connsiteY1614" fmla="*/ 2103 h 10000"/>
                <a:gd name="connsiteX1615" fmla="*/ 3493 w 10354"/>
                <a:gd name="connsiteY1615" fmla="*/ 2085 h 10000"/>
                <a:gd name="connsiteX1616" fmla="*/ 3498 w 10354"/>
                <a:gd name="connsiteY1616" fmla="*/ 2085 h 10000"/>
                <a:gd name="connsiteX1617" fmla="*/ 3498 w 10354"/>
                <a:gd name="connsiteY1617" fmla="*/ 2111 h 10000"/>
                <a:gd name="connsiteX1618" fmla="*/ 3484 w 10354"/>
                <a:gd name="connsiteY1618" fmla="*/ 2120 h 10000"/>
                <a:gd name="connsiteX1619" fmla="*/ 3484 w 10354"/>
                <a:gd name="connsiteY1619" fmla="*/ 2145 h 10000"/>
                <a:gd name="connsiteX1620" fmla="*/ 3470 w 10354"/>
                <a:gd name="connsiteY1620" fmla="*/ 2137 h 10000"/>
                <a:gd name="connsiteX1621" fmla="*/ 3465 w 10354"/>
                <a:gd name="connsiteY1621" fmla="*/ 2145 h 10000"/>
                <a:gd name="connsiteX1622" fmla="*/ 3470 w 10354"/>
                <a:gd name="connsiteY1622" fmla="*/ 2171 h 10000"/>
                <a:gd name="connsiteX1623" fmla="*/ 3484 w 10354"/>
                <a:gd name="connsiteY1623" fmla="*/ 2171 h 10000"/>
                <a:gd name="connsiteX1624" fmla="*/ 3484 w 10354"/>
                <a:gd name="connsiteY1624" fmla="*/ 2197 h 10000"/>
                <a:gd name="connsiteX1625" fmla="*/ 3465 w 10354"/>
                <a:gd name="connsiteY1625" fmla="*/ 2214 h 10000"/>
                <a:gd name="connsiteX1626" fmla="*/ 3493 w 10354"/>
                <a:gd name="connsiteY1626" fmla="*/ 2248 h 10000"/>
                <a:gd name="connsiteX1627" fmla="*/ 3484 w 10354"/>
                <a:gd name="connsiteY1627" fmla="*/ 2256 h 10000"/>
                <a:gd name="connsiteX1628" fmla="*/ 3498 w 10354"/>
                <a:gd name="connsiteY1628" fmla="*/ 2274 h 10000"/>
                <a:gd name="connsiteX1629" fmla="*/ 3498 w 10354"/>
                <a:gd name="connsiteY1629" fmla="*/ 2256 h 10000"/>
                <a:gd name="connsiteX1630" fmla="*/ 3507 w 10354"/>
                <a:gd name="connsiteY1630" fmla="*/ 2308 h 10000"/>
                <a:gd name="connsiteX1631" fmla="*/ 3512 w 10354"/>
                <a:gd name="connsiteY1631" fmla="*/ 2325 h 10000"/>
                <a:gd name="connsiteX1632" fmla="*/ 3507 w 10354"/>
                <a:gd name="connsiteY1632" fmla="*/ 2333 h 10000"/>
                <a:gd name="connsiteX1633" fmla="*/ 3507 w 10354"/>
                <a:gd name="connsiteY1633" fmla="*/ 2359 h 10000"/>
                <a:gd name="connsiteX1634" fmla="*/ 3507 w 10354"/>
                <a:gd name="connsiteY1634" fmla="*/ 2376 h 10000"/>
                <a:gd name="connsiteX1635" fmla="*/ 3498 w 10354"/>
                <a:gd name="connsiteY1635" fmla="*/ 2410 h 10000"/>
                <a:gd name="connsiteX1636" fmla="*/ 3498 w 10354"/>
                <a:gd name="connsiteY1636" fmla="*/ 2436 h 10000"/>
                <a:gd name="connsiteX1637" fmla="*/ 3507 w 10354"/>
                <a:gd name="connsiteY1637" fmla="*/ 2462 h 10000"/>
                <a:gd name="connsiteX1638" fmla="*/ 3507 w 10354"/>
                <a:gd name="connsiteY1638" fmla="*/ 2496 h 10000"/>
                <a:gd name="connsiteX1639" fmla="*/ 3512 w 10354"/>
                <a:gd name="connsiteY1639" fmla="*/ 2521 h 10000"/>
                <a:gd name="connsiteX1640" fmla="*/ 3525 w 10354"/>
                <a:gd name="connsiteY1640" fmla="*/ 2556 h 10000"/>
                <a:gd name="connsiteX1641" fmla="*/ 3571 w 10354"/>
                <a:gd name="connsiteY1641" fmla="*/ 2573 h 10000"/>
                <a:gd name="connsiteX1642" fmla="*/ 3590 w 10354"/>
                <a:gd name="connsiteY1642" fmla="*/ 2598 h 10000"/>
                <a:gd name="connsiteX1643" fmla="*/ 3599 w 10354"/>
                <a:gd name="connsiteY1643" fmla="*/ 2598 h 10000"/>
                <a:gd name="connsiteX1644" fmla="*/ 3604 w 10354"/>
                <a:gd name="connsiteY1644" fmla="*/ 2632 h 10000"/>
                <a:gd name="connsiteX1645" fmla="*/ 3599 w 10354"/>
                <a:gd name="connsiteY1645" fmla="*/ 2658 h 10000"/>
                <a:gd name="connsiteX1646" fmla="*/ 3590 w 10354"/>
                <a:gd name="connsiteY1646" fmla="*/ 2667 h 10000"/>
                <a:gd name="connsiteX1647" fmla="*/ 3604 w 10354"/>
                <a:gd name="connsiteY1647" fmla="*/ 2667 h 10000"/>
                <a:gd name="connsiteX1648" fmla="*/ 3613 w 10354"/>
                <a:gd name="connsiteY1648" fmla="*/ 2692 h 10000"/>
                <a:gd name="connsiteX1649" fmla="*/ 3627 w 10354"/>
                <a:gd name="connsiteY1649" fmla="*/ 2735 h 10000"/>
                <a:gd name="connsiteX1650" fmla="*/ 3631 w 10354"/>
                <a:gd name="connsiteY1650" fmla="*/ 2744 h 10000"/>
                <a:gd name="connsiteX1651" fmla="*/ 3659 w 10354"/>
                <a:gd name="connsiteY1651" fmla="*/ 2761 h 10000"/>
                <a:gd name="connsiteX1652" fmla="*/ 3673 w 10354"/>
                <a:gd name="connsiteY1652" fmla="*/ 2769 h 10000"/>
                <a:gd name="connsiteX1653" fmla="*/ 3673 w 10354"/>
                <a:gd name="connsiteY1653" fmla="*/ 2761 h 10000"/>
                <a:gd name="connsiteX1654" fmla="*/ 3687 w 10354"/>
                <a:gd name="connsiteY1654" fmla="*/ 2829 h 10000"/>
                <a:gd name="connsiteX1655" fmla="*/ 3677 w 10354"/>
                <a:gd name="connsiteY1655" fmla="*/ 2897 h 10000"/>
                <a:gd name="connsiteX1656" fmla="*/ 3673 w 10354"/>
                <a:gd name="connsiteY1656" fmla="*/ 2915 h 10000"/>
                <a:gd name="connsiteX1657" fmla="*/ 3664 w 10354"/>
                <a:gd name="connsiteY1657" fmla="*/ 2957 h 10000"/>
                <a:gd name="connsiteX1658" fmla="*/ 3659 w 10354"/>
                <a:gd name="connsiteY1658" fmla="*/ 2983 h 10000"/>
                <a:gd name="connsiteX1659" fmla="*/ 3664 w 10354"/>
                <a:gd name="connsiteY1659" fmla="*/ 3017 h 10000"/>
                <a:gd name="connsiteX1660" fmla="*/ 3659 w 10354"/>
                <a:gd name="connsiteY1660" fmla="*/ 3043 h 10000"/>
                <a:gd name="connsiteX1661" fmla="*/ 3677 w 10354"/>
                <a:gd name="connsiteY1661" fmla="*/ 3094 h 10000"/>
                <a:gd name="connsiteX1662" fmla="*/ 3691 w 10354"/>
                <a:gd name="connsiteY1662" fmla="*/ 3282 h 10000"/>
                <a:gd name="connsiteX1663" fmla="*/ 3691 w 10354"/>
                <a:gd name="connsiteY1663" fmla="*/ 3308 h 10000"/>
                <a:gd name="connsiteX1664" fmla="*/ 3677 w 10354"/>
                <a:gd name="connsiteY1664" fmla="*/ 3342 h 10000"/>
                <a:gd name="connsiteX1665" fmla="*/ 3664 w 10354"/>
                <a:gd name="connsiteY1665" fmla="*/ 3342 h 10000"/>
                <a:gd name="connsiteX1666" fmla="*/ 3650 w 10354"/>
                <a:gd name="connsiteY1666" fmla="*/ 3342 h 10000"/>
                <a:gd name="connsiteX1667" fmla="*/ 3650 w 10354"/>
                <a:gd name="connsiteY1667" fmla="*/ 3350 h 10000"/>
                <a:gd name="connsiteX1668" fmla="*/ 3659 w 10354"/>
                <a:gd name="connsiteY1668" fmla="*/ 3402 h 10000"/>
                <a:gd name="connsiteX1669" fmla="*/ 3659 w 10354"/>
                <a:gd name="connsiteY1669" fmla="*/ 3419 h 10000"/>
                <a:gd name="connsiteX1670" fmla="*/ 3631 w 10354"/>
                <a:gd name="connsiteY1670" fmla="*/ 3402 h 10000"/>
                <a:gd name="connsiteX1671" fmla="*/ 3604 w 10354"/>
                <a:gd name="connsiteY1671" fmla="*/ 3393 h 10000"/>
                <a:gd name="connsiteX1672" fmla="*/ 3599 w 10354"/>
                <a:gd name="connsiteY1672" fmla="*/ 3368 h 10000"/>
                <a:gd name="connsiteX1673" fmla="*/ 3590 w 10354"/>
                <a:gd name="connsiteY1673" fmla="*/ 3239 h 10000"/>
                <a:gd name="connsiteX1674" fmla="*/ 3599 w 10354"/>
                <a:gd name="connsiteY1674" fmla="*/ 3179 h 10000"/>
                <a:gd name="connsiteX1675" fmla="*/ 3599 w 10354"/>
                <a:gd name="connsiteY1675" fmla="*/ 3171 h 10000"/>
                <a:gd name="connsiteX1676" fmla="*/ 3599 w 10354"/>
                <a:gd name="connsiteY1676" fmla="*/ 3009 h 10000"/>
                <a:gd name="connsiteX1677" fmla="*/ 3604 w 10354"/>
                <a:gd name="connsiteY1677" fmla="*/ 2983 h 10000"/>
                <a:gd name="connsiteX1678" fmla="*/ 3645 w 10354"/>
                <a:gd name="connsiteY1678" fmla="*/ 2932 h 10000"/>
                <a:gd name="connsiteX1679" fmla="*/ 3650 w 10354"/>
                <a:gd name="connsiteY1679" fmla="*/ 2872 h 10000"/>
                <a:gd name="connsiteX1680" fmla="*/ 3659 w 10354"/>
                <a:gd name="connsiteY1680" fmla="*/ 2855 h 10000"/>
                <a:gd name="connsiteX1681" fmla="*/ 3659 w 10354"/>
                <a:gd name="connsiteY1681" fmla="*/ 2821 h 10000"/>
                <a:gd name="connsiteX1682" fmla="*/ 3631 w 10354"/>
                <a:gd name="connsiteY1682" fmla="*/ 2795 h 10000"/>
                <a:gd name="connsiteX1683" fmla="*/ 3567 w 10354"/>
                <a:gd name="connsiteY1683" fmla="*/ 2821 h 10000"/>
                <a:gd name="connsiteX1684" fmla="*/ 3544 w 10354"/>
                <a:gd name="connsiteY1684" fmla="*/ 2795 h 10000"/>
                <a:gd name="connsiteX1685" fmla="*/ 3530 w 10354"/>
                <a:gd name="connsiteY1685" fmla="*/ 2769 h 10000"/>
                <a:gd name="connsiteX1686" fmla="*/ 3530 w 10354"/>
                <a:gd name="connsiteY1686" fmla="*/ 2786 h 10000"/>
                <a:gd name="connsiteX1687" fmla="*/ 3498 w 10354"/>
                <a:gd name="connsiteY1687" fmla="*/ 2692 h 10000"/>
                <a:gd name="connsiteX1688" fmla="*/ 3498 w 10354"/>
                <a:gd name="connsiteY1688" fmla="*/ 2667 h 10000"/>
                <a:gd name="connsiteX1689" fmla="*/ 3442 w 10354"/>
                <a:gd name="connsiteY1689" fmla="*/ 2607 h 10000"/>
                <a:gd name="connsiteX1690" fmla="*/ 3433 w 10354"/>
                <a:gd name="connsiteY1690" fmla="*/ 2581 h 10000"/>
                <a:gd name="connsiteX1691" fmla="*/ 3396 w 10354"/>
                <a:gd name="connsiteY1691" fmla="*/ 2556 h 10000"/>
                <a:gd name="connsiteX1692" fmla="*/ 3318 w 10354"/>
                <a:gd name="connsiteY1692" fmla="*/ 2556 h 10000"/>
                <a:gd name="connsiteX1693" fmla="*/ 3304 w 10354"/>
                <a:gd name="connsiteY1693" fmla="*/ 2607 h 10000"/>
                <a:gd name="connsiteX1694" fmla="*/ 3276 w 10354"/>
                <a:gd name="connsiteY1694" fmla="*/ 2632 h 10000"/>
                <a:gd name="connsiteX1695" fmla="*/ 3272 w 10354"/>
                <a:gd name="connsiteY1695" fmla="*/ 2667 h 10000"/>
                <a:gd name="connsiteX1696" fmla="*/ 3304 w 10354"/>
                <a:gd name="connsiteY1696" fmla="*/ 2667 h 10000"/>
                <a:gd name="connsiteX1697" fmla="*/ 3323 w 10354"/>
                <a:gd name="connsiteY1697" fmla="*/ 2692 h 10000"/>
                <a:gd name="connsiteX1698" fmla="*/ 3318 w 10354"/>
                <a:gd name="connsiteY1698" fmla="*/ 2735 h 10000"/>
                <a:gd name="connsiteX1699" fmla="*/ 3304 w 10354"/>
                <a:gd name="connsiteY1699" fmla="*/ 2761 h 10000"/>
                <a:gd name="connsiteX1700" fmla="*/ 3276 w 10354"/>
                <a:gd name="connsiteY1700" fmla="*/ 2769 h 10000"/>
                <a:gd name="connsiteX1701" fmla="*/ 3263 w 10354"/>
                <a:gd name="connsiteY1701" fmla="*/ 2795 h 10000"/>
                <a:gd name="connsiteX1702" fmla="*/ 3235 w 10354"/>
                <a:gd name="connsiteY1702" fmla="*/ 2803 h 10000"/>
                <a:gd name="connsiteX1703" fmla="*/ 3235 w 10354"/>
                <a:gd name="connsiteY1703" fmla="*/ 2786 h 10000"/>
                <a:gd name="connsiteX1704" fmla="*/ 3212 w 10354"/>
                <a:gd name="connsiteY1704" fmla="*/ 2709 h 10000"/>
                <a:gd name="connsiteX1705" fmla="*/ 3198 w 10354"/>
                <a:gd name="connsiteY1705" fmla="*/ 2709 h 10000"/>
                <a:gd name="connsiteX1706" fmla="*/ 3184 w 10354"/>
                <a:gd name="connsiteY1706" fmla="*/ 2735 h 10000"/>
                <a:gd name="connsiteX1707" fmla="*/ 3189 w 10354"/>
                <a:gd name="connsiteY1707" fmla="*/ 2761 h 10000"/>
                <a:gd name="connsiteX1708" fmla="*/ 3203 w 10354"/>
                <a:gd name="connsiteY1708" fmla="*/ 2855 h 10000"/>
                <a:gd name="connsiteX1709" fmla="*/ 3212 w 10354"/>
                <a:gd name="connsiteY1709" fmla="*/ 2872 h 10000"/>
                <a:gd name="connsiteX1710" fmla="*/ 3235 w 10354"/>
                <a:gd name="connsiteY1710" fmla="*/ 2906 h 10000"/>
                <a:gd name="connsiteX1711" fmla="*/ 3258 w 10354"/>
                <a:gd name="connsiteY1711" fmla="*/ 2915 h 10000"/>
                <a:gd name="connsiteX1712" fmla="*/ 3272 w 10354"/>
                <a:gd name="connsiteY1712" fmla="*/ 2957 h 10000"/>
                <a:gd name="connsiteX1713" fmla="*/ 3276 w 10354"/>
                <a:gd name="connsiteY1713" fmla="*/ 2957 h 10000"/>
                <a:gd name="connsiteX1714" fmla="*/ 3286 w 10354"/>
                <a:gd name="connsiteY1714" fmla="*/ 2966 h 10000"/>
                <a:gd name="connsiteX1715" fmla="*/ 3300 w 10354"/>
                <a:gd name="connsiteY1715" fmla="*/ 2957 h 10000"/>
                <a:gd name="connsiteX1716" fmla="*/ 3309 w 10354"/>
                <a:gd name="connsiteY1716" fmla="*/ 2932 h 10000"/>
                <a:gd name="connsiteX1717" fmla="*/ 3304 w 10354"/>
                <a:gd name="connsiteY1717" fmla="*/ 2966 h 10000"/>
                <a:gd name="connsiteX1718" fmla="*/ 3309 w 10354"/>
                <a:gd name="connsiteY1718" fmla="*/ 2983 h 10000"/>
                <a:gd name="connsiteX1719" fmla="*/ 3323 w 10354"/>
                <a:gd name="connsiteY1719" fmla="*/ 2966 h 10000"/>
                <a:gd name="connsiteX1720" fmla="*/ 3323 w 10354"/>
                <a:gd name="connsiteY1720" fmla="*/ 3043 h 10000"/>
                <a:gd name="connsiteX1721" fmla="*/ 3346 w 10354"/>
                <a:gd name="connsiteY1721" fmla="*/ 3068 h 10000"/>
                <a:gd name="connsiteX1722" fmla="*/ 3346 w 10354"/>
                <a:gd name="connsiteY1722" fmla="*/ 3094 h 10000"/>
                <a:gd name="connsiteX1723" fmla="*/ 3323 w 10354"/>
                <a:gd name="connsiteY1723" fmla="*/ 3094 h 10000"/>
                <a:gd name="connsiteX1724" fmla="*/ 3309 w 10354"/>
                <a:gd name="connsiteY1724" fmla="*/ 3077 h 10000"/>
                <a:gd name="connsiteX1725" fmla="*/ 3304 w 10354"/>
                <a:gd name="connsiteY1725" fmla="*/ 3051 h 10000"/>
                <a:gd name="connsiteX1726" fmla="*/ 3300 w 10354"/>
                <a:gd name="connsiteY1726" fmla="*/ 3043 h 10000"/>
                <a:gd name="connsiteX1727" fmla="*/ 3286 w 10354"/>
                <a:gd name="connsiteY1727" fmla="*/ 3017 h 10000"/>
                <a:gd name="connsiteX1728" fmla="*/ 3152 w 10354"/>
                <a:gd name="connsiteY1728" fmla="*/ 2966 h 10000"/>
                <a:gd name="connsiteX1729" fmla="*/ 3129 w 10354"/>
                <a:gd name="connsiteY1729" fmla="*/ 2915 h 10000"/>
                <a:gd name="connsiteX1730" fmla="*/ 3129 w 10354"/>
                <a:gd name="connsiteY1730" fmla="*/ 2906 h 10000"/>
                <a:gd name="connsiteX1731" fmla="*/ 3152 w 10354"/>
                <a:gd name="connsiteY1731" fmla="*/ 2906 h 10000"/>
                <a:gd name="connsiteX1732" fmla="*/ 3152 w 10354"/>
                <a:gd name="connsiteY1732" fmla="*/ 2846 h 10000"/>
                <a:gd name="connsiteX1733" fmla="*/ 3138 w 10354"/>
                <a:gd name="connsiteY1733" fmla="*/ 2795 h 10000"/>
                <a:gd name="connsiteX1734" fmla="*/ 3138 w 10354"/>
                <a:gd name="connsiteY1734" fmla="*/ 2769 h 10000"/>
                <a:gd name="connsiteX1735" fmla="*/ 3143 w 10354"/>
                <a:gd name="connsiteY1735" fmla="*/ 2718 h 10000"/>
                <a:gd name="connsiteX1736" fmla="*/ 3129 w 10354"/>
                <a:gd name="connsiteY1736" fmla="*/ 2692 h 10000"/>
                <a:gd name="connsiteX1737" fmla="*/ 3143 w 10354"/>
                <a:gd name="connsiteY1737" fmla="*/ 2667 h 10000"/>
                <a:gd name="connsiteX1738" fmla="*/ 3157 w 10354"/>
                <a:gd name="connsiteY1738" fmla="*/ 2581 h 10000"/>
                <a:gd name="connsiteX1739" fmla="*/ 3143 w 10354"/>
                <a:gd name="connsiteY1739" fmla="*/ 2496 h 10000"/>
                <a:gd name="connsiteX1740" fmla="*/ 3157 w 10354"/>
                <a:gd name="connsiteY1740" fmla="*/ 2487 h 10000"/>
                <a:gd name="connsiteX1741" fmla="*/ 3143 w 10354"/>
                <a:gd name="connsiteY1741" fmla="*/ 2444 h 10000"/>
                <a:gd name="connsiteX1742" fmla="*/ 3143 w 10354"/>
                <a:gd name="connsiteY1742" fmla="*/ 2419 h 10000"/>
                <a:gd name="connsiteX1743" fmla="*/ 3143 w 10354"/>
                <a:gd name="connsiteY1743" fmla="*/ 2410 h 10000"/>
                <a:gd name="connsiteX1744" fmla="*/ 3124 w 10354"/>
                <a:gd name="connsiteY1744" fmla="*/ 2376 h 10000"/>
                <a:gd name="connsiteX1745" fmla="*/ 3115 w 10354"/>
                <a:gd name="connsiteY1745" fmla="*/ 2350 h 10000"/>
                <a:gd name="connsiteX1746" fmla="*/ 3101 w 10354"/>
                <a:gd name="connsiteY1746" fmla="*/ 2359 h 10000"/>
                <a:gd name="connsiteX1747" fmla="*/ 3115 w 10354"/>
                <a:gd name="connsiteY1747" fmla="*/ 2581 h 10000"/>
                <a:gd name="connsiteX1748" fmla="*/ 3111 w 10354"/>
                <a:gd name="connsiteY1748" fmla="*/ 2624 h 10000"/>
                <a:gd name="connsiteX1749" fmla="*/ 3009 w 10354"/>
                <a:gd name="connsiteY1749" fmla="*/ 2761 h 10000"/>
                <a:gd name="connsiteX1750" fmla="*/ 3009 w 10354"/>
                <a:gd name="connsiteY1750" fmla="*/ 2803 h 10000"/>
                <a:gd name="connsiteX1751" fmla="*/ 3005 w 10354"/>
                <a:gd name="connsiteY1751" fmla="*/ 2829 h 10000"/>
                <a:gd name="connsiteX1752" fmla="*/ 2982 w 10354"/>
                <a:gd name="connsiteY1752" fmla="*/ 2872 h 10000"/>
                <a:gd name="connsiteX1753" fmla="*/ 2982 w 10354"/>
                <a:gd name="connsiteY1753" fmla="*/ 2880 h 10000"/>
                <a:gd name="connsiteX1754" fmla="*/ 3037 w 10354"/>
                <a:gd name="connsiteY1754" fmla="*/ 3034 h 10000"/>
                <a:gd name="connsiteX1755" fmla="*/ 3041 w 10354"/>
                <a:gd name="connsiteY1755" fmla="*/ 3103 h 10000"/>
                <a:gd name="connsiteX1756" fmla="*/ 3069 w 10354"/>
                <a:gd name="connsiteY1756" fmla="*/ 3188 h 10000"/>
                <a:gd name="connsiteX1757" fmla="*/ 3055 w 10354"/>
                <a:gd name="connsiteY1757" fmla="*/ 3325 h 10000"/>
                <a:gd name="connsiteX1758" fmla="*/ 3037 w 10354"/>
                <a:gd name="connsiteY1758" fmla="*/ 3368 h 10000"/>
                <a:gd name="connsiteX1759" fmla="*/ 3037 w 10354"/>
                <a:gd name="connsiteY1759" fmla="*/ 3444 h 10000"/>
                <a:gd name="connsiteX1760" fmla="*/ 3028 w 10354"/>
                <a:gd name="connsiteY1760" fmla="*/ 3453 h 10000"/>
                <a:gd name="connsiteX1761" fmla="*/ 3023 w 10354"/>
                <a:gd name="connsiteY1761" fmla="*/ 3530 h 10000"/>
                <a:gd name="connsiteX1762" fmla="*/ 3051 w 10354"/>
                <a:gd name="connsiteY1762" fmla="*/ 3624 h 10000"/>
                <a:gd name="connsiteX1763" fmla="*/ 3037 w 10354"/>
                <a:gd name="connsiteY1763" fmla="*/ 3718 h 10000"/>
                <a:gd name="connsiteX1764" fmla="*/ 3041 w 10354"/>
                <a:gd name="connsiteY1764" fmla="*/ 3752 h 10000"/>
                <a:gd name="connsiteX1765" fmla="*/ 3055 w 10354"/>
                <a:gd name="connsiteY1765" fmla="*/ 3761 h 10000"/>
                <a:gd name="connsiteX1766" fmla="*/ 3078 w 10354"/>
                <a:gd name="connsiteY1766" fmla="*/ 3752 h 10000"/>
                <a:gd name="connsiteX1767" fmla="*/ 3092 w 10354"/>
                <a:gd name="connsiteY1767" fmla="*/ 3752 h 10000"/>
                <a:gd name="connsiteX1768" fmla="*/ 3129 w 10354"/>
                <a:gd name="connsiteY1768" fmla="*/ 3761 h 10000"/>
                <a:gd name="connsiteX1769" fmla="*/ 3129 w 10354"/>
                <a:gd name="connsiteY1769" fmla="*/ 3735 h 10000"/>
                <a:gd name="connsiteX1770" fmla="*/ 3157 w 10354"/>
                <a:gd name="connsiteY1770" fmla="*/ 3718 h 10000"/>
                <a:gd name="connsiteX1771" fmla="*/ 3184 w 10354"/>
                <a:gd name="connsiteY1771" fmla="*/ 3718 h 10000"/>
                <a:gd name="connsiteX1772" fmla="*/ 3290 w 10354"/>
                <a:gd name="connsiteY1772" fmla="*/ 3838 h 10000"/>
                <a:gd name="connsiteX1773" fmla="*/ 3300 w 10354"/>
                <a:gd name="connsiteY1773" fmla="*/ 3846 h 10000"/>
                <a:gd name="connsiteX1774" fmla="*/ 3300 w 10354"/>
                <a:gd name="connsiteY1774" fmla="*/ 3915 h 10000"/>
                <a:gd name="connsiteX1775" fmla="*/ 3318 w 10354"/>
                <a:gd name="connsiteY1775" fmla="*/ 4000 h 10000"/>
                <a:gd name="connsiteX1776" fmla="*/ 3323 w 10354"/>
                <a:gd name="connsiteY1776" fmla="*/ 4000 h 10000"/>
                <a:gd name="connsiteX1777" fmla="*/ 3323 w 10354"/>
                <a:gd name="connsiteY1777" fmla="*/ 4034 h 10000"/>
                <a:gd name="connsiteX1778" fmla="*/ 3318 w 10354"/>
                <a:gd name="connsiteY1778" fmla="*/ 4051 h 10000"/>
                <a:gd name="connsiteX1779" fmla="*/ 3300 w 10354"/>
                <a:gd name="connsiteY1779" fmla="*/ 4051 h 10000"/>
                <a:gd name="connsiteX1780" fmla="*/ 3290 w 10354"/>
                <a:gd name="connsiteY1780" fmla="*/ 4077 h 10000"/>
                <a:gd name="connsiteX1781" fmla="*/ 3286 w 10354"/>
                <a:gd name="connsiteY1781" fmla="*/ 4103 h 10000"/>
                <a:gd name="connsiteX1782" fmla="*/ 3286 w 10354"/>
                <a:gd name="connsiteY1782" fmla="*/ 4197 h 10000"/>
                <a:gd name="connsiteX1783" fmla="*/ 3290 w 10354"/>
                <a:gd name="connsiteY1783" fmla="*/ 4214 h 10000"/>
                <a:gd name="connsiteX1784" fmla="*/ 3304 w 10354"/>
                <a:gd name="connsiteY1784" fmla="*/ 4214 h 10000"/>
                <a:gd name="connsiteX1785" fmla="*/ 3323 w 10354"/>
                <a:gd name="connsiteY1785" fmla="*/ 4239 h 10000"/>
                <a:gd name="connsiteX1786" fmla="*/ 3350 w 10354"/>
                <a:gd name="connsiteY1786" fmla="*/ 4222 h 10000"/>
                <a:gd name="connsiteX1787" fmla="*/ 3369 w 10354"/>
                <a:gd name="connsiteY1787" fmla="*/ 4256 h 10000"/>
                <a:gd name="connsiteX1788" fmla="*/ 3369 w 10354"/>
                <a:gd name="connsiteY1788" fmla="*/ 4256 h 10000"/>
                <a:gd name="connsiteX1789" fmla="*/ 3336 w 10354"/>
                <a:gd name="connsiteY1789" fmla="*/ 4274 h 10000"/>
                <a:gd name="connsiteX1790" fmla="*/ 3323 w 10354"/>
                <a:gd name="connsiteY1790" fmla="*/ 4274 h 10000"/>
                <a:gd name="connsiteX1791" fmla="*/ 3290 w 10354"/>
                <a:gd name="connsiteY1791" fmla="*/ 4274 h 10000"/>
                <a:gd name="connsiteX1792" fmla="*/ 3286 w 10354"/>
                <a:gd name="connsiteY1792" fmla="*/ 4239 h 10000"/>
                <a:gd name="connsiteX1793" fmla="*/ 3263 w 10354"/>
                <a:gd name="connsiteY1793" fmla="*/ 4214 h 10000"/>
                <a:gd name="connsiteX1794" fmla="*/ 3258 w 10354"/>
                <a:gd name="connsiteY1794" fmla="*/ 4188 h 10000"/>
                <a:gd name="connsiteX1795" fmla="*/ 3263 w 10354"/>
                <a:gd name="connsiteY1795" fmla="*/ 4171 h 10000"/>
                <a:gd name="connsiteX1796" fmla="*/ 3263 w 10354"/>
                <a:gd name="connsiteY1796" fmla="*/ 4103 h 10000"/>
                <a:gd name="connsiteX1797" fmla="*/ 3276 w 10354"/>
                <a:gd name="connsiteY1797" fmla="*/ 4060 h 10000"/>
                <a:gd name="connsiteX1798" fmla="*/ 3272 w 10354"/>
                <a:gd name="connsiteY1798" fmla="*/ 4051 h 10000"/>
                <a:gd name="connsiteX1799" fmla="*/ 3263 w 10354"/>
                <a:gd name="connsiteY1799" fmla="*/ 4051 h 10000"/>
                <a:gd name="connsiteX1800" fmla="*/ 3263 w 10354"/>
                <a:gd name="connsiteY1800" fmla="*/ 4034 h 10000"/>
                <a:gd name="connsiteX1801" fmla="*/ 3263 w 10354"/>
                <a:gd name="connsiteY1801" fmla="*/ 4000 h 10000"/>
                <a:gd name="connsiteX1802" fmla="*/ 3272 w 10354"/>
                <a:gd name="connsiteY1802" fmla="*/ 4000 h 10000"/>
                <a:gd name="connsiteX1803" fmla="*/ 3272 w 10354"/>
                <a:gd name="connsiteY1803" fmla="*/ 3974 h 10000"/>
                <a:gd name="connsiteX1804" fmla="*/ 3272 w 10354"/>
                <a:gd name="connsiteY1804" fmla="*/ 3966 h 10000"/>
                <a:gd name="connsiteX1805" fmla="*/ 3272 w 10354"/>
                <a:gd name="connsiteY1805" fmla="*/ 3949 h 10000"/>
                <a:gd name="connsiteX1806" fmla="*/ 3258 w 10354"/>
                <a:gd name="connsiteY1806" fmla="*/ 3923 h 10000"/>
                <a:gd name="connsiteX1807" fmla="*/ 3249 w 10354"/>
                <a:gd name="connsiteY1807" fmla="*/ 3915 h 10000"/>
                <a:gd name="connsiteX1808" fmla="*/ 3244 w 10354"/>
                <a:gd name="connsiteY1808" fmla="*/ 3897 h 10000"/>
                <a:gd name="connsiteX1809" fmla="*/ 3230 w 10354"/>
                <a:gd name="connsiteY1809" fmla="*/ 3889 h 10000"/>
                <a:gd name="connsiteX1810" fmla="*/ 3230 w 10354"/>
                <a:gd name="connsiteY1810" fmla="*/ 3863 h 10000"/>
                <a:gd name="connsiteX1811" fmla="*/ 3230 w 10354"/>
                <a:gd name="connsiteY1811" fmla="*/ 3838 h 10000"/>
                <a:gd name="connsiteX1812" fmla="*/ 3226 w 10354"/>
                <a:gd name="connsiteY1812" fmla="*/ 3803 h 10000"/>
                <a:gd name="connsiteX1813" fmla="*/ 3138 w 10354"/>
                <a:gd name="connsiteY1813" fmla="*/ 3838 h 10000"/>
                <a:gd name="connsiteX1814" fmla="*/ 3078 w 10354"/>
                <a:gd name="connsiteY1814" fmla="*/ 3889 h 10000"/>
                <a:gd name="connsiteX1815" fmla="*/ 3078 w 10354"/>
                <a:gd name="connsiteY1815" fmla="*/ 3940 h 10000"/>
                <a:gd name="connsiteX1816" fmla="*/ 3069 w 10354"/>
                <a:gd name="connsiteY1816" fmla="*/ 3983 h 10000"/>
                <a:gd name="connsiteX1817" fmla="*/ 3069 w 10354"/>
                <a:gd name="connsiteY1817" fmla="*/ 4009 h 10000"/>
                <a:gd name="connsiteX1818" fmla="*/ 3078 w 10354"/>
                <a:gd name="connsiteY1818" fmla="*/ 4026 h 10000"/>
                <a:gd name="connsiteX1819" fmla="*/ 3083 w 10354"/>
                <a:gd name="connsiteY1819" fmla="*/ 4034 h 10000"/>
                <a:gd name="connsiteX1820" fmla="*/ 3092 w 10354"/>
                <a:gd name="connsiteY1820" fmla="*/ 4060 h 10000"/>
                <a:gd name="connsiteX1821" fmla="*/ 3092 w 10354"/>
                <a:gd name="connsiteY1821" fmla="*/ 4077 h 10000"/>
                <a:gd name="connsiteX1822" fmla="*/ 3097 w 10354"/>
                <a:gd name="connsiteY1822" fmla="*/ 4103 h 10000"/>
                <a:gd name="connsiteX1823" fmla="*/ 3101 w 10354"/>
                <a:gd name="connsiteY1823" fmla="*/ 4162 h 10000"/>
                <a:gd name="connsiteX1824" fmla="*/ 3097 w 10354"/>
                <a:gd name="connsiteY1824" fmla="*/ 4222 h 10000"/>
                <a:gd name="connsiteX1825" fmla="*/ 3041 w 10354"/>
                <a:gd name="connsiteY1825" fmla="*/ 4325 h 10000"/>
                <a:gd name="connsiteX1826" fmla="*/ 3037 w 10354"/>
                <a:gd name="connsiteY1826" fmla="*/ 4419 h 10000"/>
                <a:gd name="connsiteX1827" fmla="*/ 3018 w 10354"/>
                <a:gd name="connsiteY1827" fmla="*/ 4470 h 10000"/>
                <a:gd name="connsiteX1828" fmla="*/ 2991 w 10354"/>
                <a:gd name="connsiteY1828" fmla="*/ 4513 h 10000"/>
                <a:gd name="connsiteX1829" fmla="*/ 2977 w 10354"/>
                <a:gd name="connsiteY1829" fmla="*/ 4530 h 10000"/>
                <a:gd name="connsiteX1830" fmla="*/ 2945 w 10354"/>
                <a:gd name="connsiteY1830" fmla="*/ 4556 h 10000"/>
                <a:gd name="connsiteX1831" fmla="*/ 2935 w 10354"/>
                <a:gd name="connsiteY1831" fmla="*/ 4581 h 10000"/>
                <a:gd name="connsiteX1832" fmla="*/ 2949 w 10354"/>
                <a:gd name="connsiteY1832" fmla="*/ 4624 h 10000"/>
                <a:gd name="connsiteX1833" fmla="*/ 2945 w 10354"/>
                <a:gd name="connsiteY1833" fmla="*/ 4658 h 10000"/>
                <a:gd name="connsiteX1834" fmla="*/ 2922 w 10354"/>
                <a:gd name="connsiteY1834" fmla="*/ 4667 h 10000"/>
                <a:gd name="connsiteX1835" fmla="*/ 2876 w 10354"/>
                <a:gd name="connsiteY1835" fmla="*/ 4632 h 10000"/>
                <a:gd name="connsiteX1836" fmla="*/ 2857 w 10354"/>
                <a:gd name="connsiteY1836" fmla="*/ 4632 h 10000"/>
                <a:gd name="connsiteX1837" fmla="*/ 2820 w 10354"/>
                <a:gd name="connsiteY1837" fmla="*/ 4641 h 10000"/>
                <a:gd name="connsiteX1838" fmla="*/ 2797 w 10354"/>
                <a:gd name="connsiteY1838" fmla="*/ 4632 h 10000"/>
                <a:gd name="connsiteX1839" fmla="*/ 2788 w 10354"/>
                <a:gd name="connsiteY1839" fmla="*/ 4624 h 10000"/>
                <a:gd name="connsiteX1840" fmla="*/ 2788 w 10354"/>
                <a:gd name="connsiteY1840" fmla="*/ 4598 h 10000"/>
                <a:gd name="connsiteX1841" fmla="*/ 2797 w 10354"/>
                <a:gd name="connsiteY1841" fmla="*/ 4581 h 10000"/>
                <a:gd name="connsiteX1842" fmla="*/ 2788 w 10354"/>
                <a:gd name="connsiteY1842" fmla="*/ 4530 h 10000"/>
                <a:gd name="connsiteX1843" fmla="*/ 2774 w 10354"/>
                <a:gd name="connsiteY1843" fmla="*/ 4530 h 10000"/>
                <a:gd name="connsiteX1844" fmla="*/ 2770 w 10354"/>
                <a:gd name="connsiteY1844" fmla="*/ 4513 h 10000"/>
                <a:gd name="connsiteX1845" fmla="*/ 2774 w 10354"/>
                <a:gd name="connsiteY1845" fmla="*/ 4513 h 10000"/>
                <a:gd name="connsiteX1846" fmla="*/ 2788 w 10354"/>
                <a:gd name="connsiteY1846" fmla="*/ 4496 h 10000"/>
                <a:gd name="connsiteX1847" fmla="*/ 2802 w 10354"/>
                <a:gd name="connsiteY1847" fmla="*/ 4513 h 10000"/>
                <a:gd name="connsiteX1848" fmla="*/ 2811 w 10354"/>
                <a:gd name="connsiteY1848" fmla="*/ 4530 h 10000"/>
                <a:gd name="connsiteX1849" fmla="*/ 2820 w 10354"/>
                <a:gd name="connsiteY1849" fmla="*/ 4521 h 10000"/>
                <a:gd name="connsiteX1850" fmla="*/ 2829 w 10354"/>
                <a:gd name="connsiteY1850" fmla="*/ 4513 h 10000"/>
                <a:gd name="connsiteX1851" fmla="*/ 2843 w 10354"/>
                <a:gd name="connsiteY1851" fmla="*/ 4513 h 10000"/>
                <a:gd name="connsiteX1852" fmla="*/ 2848 w 10354"/>
                <a:gd name="connsiteY1852" fmla="*/ 4470 h 10000"/>
                <a:gd name="connsiteX1853" fmla="*/ 2862 w 10354"/>
                <a:gd name="connsiteY1853" fmla="*/ 4487 h 10000"/>
                <a:gd name="connsiteX1854" fmla="*/ 2876 w 10354"/>
                <a:gd name="connsiteY1854" fmla="*/ 4470 h 10000"/>
                <a:gd name="connsiteX1855" fmla="*/ 2880 w 10354"/>
                <a:gd name="connsiteY1855" fmla="*/ 4462 h 10000"/>
                <a:gd name="connsiteX1856" fmla="*/ 2889 w 10354"/>
                <a:gd name="connsiteY1856" fmla="*/ 4444 h 10000"/>
                <a:gd name="connsiteX1857" fmla="*/ 2894 w 10354"/>
                <a:gd name="connsiteY1857" fmla="*/ 4462 h 10000"/>
                <a:gd name="connsiteX1858" fmla="*/ 2917 w 10354"/>
                <a:gd name="connsiteY1858" fmla="*/ 4444 h 10000"/>
                <a:gd name="connsiteX1859" fmla="*/ 2922 w 10354"/>
                <a:gd name="connsiteY1859" fmla="*/ 4436 h 10000"/>
                <a:gd name="connsiteX1860" fmla="*/ 2917 w 10354"/>
                <a:gd name="connsiteY1860" fmla="*/ 4410 h 10000"/>
                <a:gd name="connsiteX1861" fmla="*/ 2894 w 10354"/>
                <a:gd name="connsiteY1861" fmla="*/ 4410 h 10000"/>
                <a:gd name="connsiteX1862" fmla="*/ 2889 w 10354"/>
                <a:gd name="connsiteY1862" fmla="*/ 4419 h 10000"/>
                <a:gd name="connsiteX1863" fmla="*/ 2876 w 10354"/>
                <a:gd name="connsiteY1863" fmla="*/ 4410 h 10000"/>
                <a:gd name="connsiteX1864" fmla="*/ 2880 w 10354"/>
                <a:gd name="connsiteY1864" fmla="*/ 4376 h 10000"/>
                <a:gd name="connsiteX1865" fmla="*/ 2903 w 10354"/>
                <a:gd name="connsiteY1865" fmla="*/ 4393 h 10000"/>
                <a:gd name="connsiteX1866" fmla="*/ 2931 w 10354"/>
                <a:gd name="connsiteY1866" fmla="*/ 4393 h 10000"/>
                <a:gd name="connsiteX1867" fmla="*/ 2931 w 10354"/>
                <a:gd name="connsiteY1867" fmla="*/ 4385 h 10000"/>
                <a:gd name="connsiteX1868" fmla="*/ 2931 w 10354"/>
                <a:gd name="connsiteY1868" fmla="*/ 4350 h 10000"/>
                <a:gd name="connsiteX1869" fmla="*/ 2945 w 10354"/>
                <a:gd name="connsiteY1869" fmla="*/ 4350 h 10000"/>
                <a:gd name="connsiteX1870" fmla="*/ 2949 w 10354"/>
                <a:gd name="connsiteY1870" fmla="*/ 4325 h 10000"/>
                <a:gd name="connsiteX1871" fmla="*/ 2963 w 10354"/>
                <a:gd name="connsiteY1871" fmla="*/ 4256 h 10000"/>
                <a:gd name="connsiteX1872" fmla="*/ 2982 w 10354"/>
                <a:gd name="connsiteY1872" fmla="*/ 4239 h 10000"/>
                <a:gd name="connsiteX1873" fmla="*/ 2991 w 10354"/>
                <a:gd name="connsiteY1873" fmla="*/ 4214 h 10000"/>
                <a:gd name="connsiteX1874" fmla="*/ 2991 w 10354"/>
                <a:gd name="connsiteY1874" fmla="*/ 4197 h 10000"/>
                <a:gd name="connsiteX1875" fmla="*/ 2995 w 10354"/>
                <a:gd name="connsiteY1875" fmla="*/ 4171 h 10000"/>
                <a:gd name="connsiteX1876" fmla="*/ 2991 w 10354"/>
                <a:gd name="connsiteY1876" fmla="*/ 4077 h 10000"/>
                <a:gd name="connsiteX1877" fmla="*/ 2995 w 10354"/>
                <a:gd name="connsiteY1877" fmla="*/ 4034 h 10000"/>
                <a:gd name="connsiteX1878" fmla="*/ 3018 w 10354"/>
                <a:gd name="connsiteY1878" fmla="*/ 3983 h 10000"/>
                <a:gd name="connsiteX1879" fmla="*/ 3018 w 10354"/>
                <a:gd name="connsiteY1879" fmla="*/ 3915 h 10000"/>
                <a:gd name="connsiteX1880" fmla="*/ 2949 w 10354"/>
                <a:gd name="connsiteY1880" fmla="*/ 3778 h 10000"/>
                <a:gd name="connsiteX1881" fmla="*/ 2954 w 10354"/>
                <a:gd name="connsiteY1881" fmla="*/ 3675 h 10000"/>
                <a:gd name="connsiteX1882" fmla="*/ 2954 w 10354"/>
                <a:gd name="connsiteY1882" fmla="*/ 3650 h 10000"/>
                <a:gd name="connsiteX1883" fmla="*/ 2963 w 10354"/>
                <a:gd name="connsiteY1883" fmla="*/ 3624 h 10000"/>
                <a:gd name="connsiteX1884" fmla="*/ 2954 w 10354"/>
                <a:gd name="connsiteY1884" fmla="*/ 3564 h 10000"/>
                <a:gd name="connsiteX1885" fmla="*/ 2963 w 10354"/>
                <a:gd name="connsiteY1885" fmla="*/ 3538 h 10000"/>
                <a:gd name="connsiteX1886" fmla="*/ 2963 w 10354"/>
                <a:gd name="connsiteY1886" fmla="*/ 3487 h 10000"/>
                <a:gd name="connsiteX1887" fmla="*/ 2963 w 10354"/>
                <a:gd name="connsiteY1887" fmla="*/ 3479 h 10000"/>
                <a:gd name="connsiteX1888" fmla="*/ 2963 w 10354"/>
                <a:gd name="connsiteY1888" fmla="*/ 3462 h 10000"/>
                <a:gd name="connsiteX1889" fmla="*/ 2954 w 10354"/>
                <a:gd name="connsiteY1889" fmla="*/ 3453 h 10000"/>
                <a:gd name="connsiteX1890" fmla="*/ 2954 w 10354"/>
                <a:gd name="connsiteY1890" fmla="*/ 3444 h 10000"/>
                <a:gd name="connsiteX1891" fmla="*/ 2954 w 10354"/>
                <a:gd name="connsiteY1891" fmla="*/ 3402 h 10000"/>
                <a:gd name="connsiteX1892" fmla="*/ 2954 w 10354"/>
                <a:gd name="connsiteY1892" fmla="*/ 3393 h 10000"/>
                <a:gd name="connsiteX1893" fmla="*/ 2949 w 10354"/>
                <a:gd name="connsiteY1893" fmla="*/ 3376 h 10000"/>
                <a:gd name="connsiteX1894" fmla="*/ 2949 w 10354"/>
                <a:gd name="connsiteY1894" fmla="*/ 3342 h 10000"/>
                <a:gd name="connsiteX1895" fmla="*/ 2949 w 10354"/>
                <a:gd name="connsiteY1895" fmla="*/ 3316 h 10000"/>
                <a:gd name="connsiteX1896" fmla="*/ 2968 w 10354"/>
                <a:gd name="connsiteY1896" fmla="*/ 3291 h 10000"/>
                <a:gd name="connsiteX1897" fmla="*/ 2963 w 10354"/>
                <a:gd name="connsiteY1897" fmla="*/ 3205 h 10000"/>
                <a:gd name="connsiteX1898" fmla="*/ 2968 w 10354"/>
                <a:gd name="connsiteY1898" fmla="*/ 3171 h 10000"/>
                <a:gd name="connsiteX1899" fmla="*/ 2968 w 10354"/>
                <a:gd name="connsiteY1899" fmla="*/ 3128 h 10000"/>
                <a:gd name="connsiteX1900" fmla="*/ 2954 w 10354"/>
                <a:gd name="connsiteY1900" fmla="*/ 3051 h 10000"/>
                <a:gd name="connsiteX1901" fmla="*/ 2954 w 10354"/>
                <a:gd name="connsiteY1901" fmla="*/ 3009 h 10000"/>
                <a:gd name="connsiteX1902" fmla="*/ 2922 w 10354"/>
                <a:gd name="connsiteY1902" fmla="*/ 2940 h 10000"/>
                <a:gd name="connsiteX1903" fmla="*/ 2903 w 10354"/>
                <a:gd name="connsiteY1903" fmla="*/ 2880 h 10000"/>
                <a:gd name="connsiteX1904" fmla="*/ 2903 w 10354"/>
                <a:gd name="connsiteY1904" fmla="*/ 2855 h 10000"/>
                <a:gd name="connsiteX1905" fmla="*/ 2908 w 10354"/>
                <a:gd name="connsiteY1905" fmla="*/ 2846 h 10000"/>
                <a:gd name="connsiteX1906" fmla="*/ 2931 w 10354"/>
                <a:gd name="connsiteY1906" fmla="*/ 2821 h 10000"/>
                <a:gd name="connsiteX1907" fmla="*/ 2931 w 10354"/>
                <a:gd name="connsiteY1907" fmla="*/ 2803 h 10000"/>
                <a:gd name="connsiteX1908" fmla="*/ 2935 w 10354"/>
                <a:gd name="connsiteY1908" fmla="*/ 2786 h 10000"/>
                <a:gd name="connsiteX1909" fmla="*/ 2935 w 10354"/>
                <a:gd name="connsiteY1909" fmla="*/ 2744 h 10000"/>
                <a:gd name="connsiteX1910" fmla="*/ 2963 w 10354"/>
                <a:gd name="connsiteY1910" fmla="*/ 2607 h 10000"/>
                <a:gd name="connsiteX1911" fmla="*/ 2963 w 10354"/>
                <a:gd name="connsiteY1911" fmla="*/ 2419 h 10000"/>
                <a:gd name="connsiteX1912" fmla="*/ 2954 w 10354"/>
                <a:gd name="connsiteY1912" fmla="*/ 2410 h 10000"/>
                <a:gd name="connsiteX1913" fmla="*/ 2963 w 10354"/>
                <a:gd name="connsiteY1913" fmla="*/ 2393 h 10000"/>
                <a:gd name="connsiteX1914" fmla="*/ 2908 w 10354"/>
                <a:gd name="connsiteY1914" fmla="*/ 2359 h 10000"/>
                <a:gd name="connsiteX1915" fmla="*/ 2889 w 10354"/>
                <a:gd name="connsiteY1915" fmla="*/ 2325 h 10000"/>
                <a:gd name="connsiteX1916" fmla="*/ 2788 w 10354"/>
                <a:gd name="connsiteY1916" fmla="*/ 2333 h 10000"/>
                <a:gd name="connsiteX1917" fmla="*/ 2774 w 10354"/>
                <a:gd name="connsiteY1917" fmla="*/ 2325 h 10000"/>
                <a:gd name="connsiteX1918" fmla="*/ 2783 w 10354"/>
                <a:gd name="connsiteY1918" fmla="*/ 2308 h 10000"/>
                <a:gd name="connsiteX1919" fmla="*/ 2747 w 10354"/>
                <a:gd name="connsiteY1919" fmla="*/ 2308 h 10000"/>
                <a:gd name="connsiteX1920" fmla="*/ 2742 w 10354"/>
                <a:gd name="connsiteY1920" fmla="*/ 2333 h 10000"/>
                <a:gd name="connsiteX1921" fmla="*/ 2682 w 10354"/>
                <a:gd name="connsiteY1921" fmla="*/ 2769 h 10000"/>
                <a:gd name="connsiteX1922" fmla="*/ 2613 w 10354"/>
                <a:gd name="connsiteY1922" fmla="*/ 2940 h 10000"/>
                <a:gd name="connsiteX1923" fmla="*/ 2581 w 10354"/>
                <a:gd name="connsiteY1923" fmla="*/ 2966 h 10000"/>
                <a:gd name="connsiteX1924" fmla="*/ 2576 w 10354"/>
                <a:gd name="connsiteY1924" fmla="*/ 3051 h 10000"/>
                <a:gd name="connsiteX1925" fmla="*/ 2581 w 10354"/>
                <a:gd name="connsiteY1925" fmla="*/ 3051 h 10000"/>
                <a:gd name="connsiteX1926" fmla="*/ 2594 w 10354"/>
                <a:gd name="connsiteY1926" fmla="*/ 3017 h 10000"/>
                <a:gd name="connsiteX1927" fmla="*/ 2594 w 10354"/>
                <a:gd name="connsiteY1927" fmla="*/ 3034 h 10000"/>
                <a:gd name="connsiteX1928" fmla="*/ 2594 w 10354"/>
                <a:gd name="connsiteY1928" fmla="*/ 3051 h 10000"/>
                <a:gd name="connsiteX1929" fmla="*/ 2590 w 10354"/>
                <a:gd name="connsiteY1929" fmla="*/ 3077 h 10000"/>
                <a:gd name="connsiteX1930" fmla="*/ 2567 w 10354"/>
                <a:gd name="connsiteY1930" fmla="*/ 3103 h 10000"/>
                <a:gd name="connsiteX1931" fmla="*/ 2562 w 10354"/>
                <a:gd name="connsiteY1931" fmla="*/ 3145 h 10000"/>
                <a:gd name="connsiteX1932" fmla="*/ 2567 w 10354"/>
                <a:gd name="connsiteY1932" fmla="*/ 3179 h 10000"/>
                <a:gd name="connsiteX1933" fmla="*/ 2590 w 10354"/>
                <a:gd name="connsiteY1933" fmla="*/ 3171 h 10000"/>
                <a:gd name="connsiteX1934" fmla="*/ 2594 w 10354"/>
                <a:gd name="connsiteY1934" fmla="*/ 3145 h 10000"/>
                <a:gd name="connsiteX1935" fmla="*/ 2613 w 10354"/>
                <a:gd name="connsiteY1935" fmla="*/ 3154 h 10000"/>
                <a:gd name="connsiteX1936" fmla="*/ 2622 w 10354"/>
                <a:gd name="connsiteY1936" fmla="*/ 3179 h 10000"/>
                <a:gd name="connsiteX1937" fmla="*/ 2613 w 10354"/>
                <a:gd name="connsiteY1937" fmla="*/ 3214 h 10000"/>
                <a:gd name="connsiteX1938" fmla="*/ 2613 w 10354"/>
                <a:gd name="connsiteY1938" fmla="*/ 3308 h 10000"/>
                <a:gd name="connsiteX1939" fmla="*/ 2608 w 10354"/>
                <a:gd name="connsiteY1939" fmla="*/ 3325 h 10000"/>
                <a:gd name="connsiteX1940" fmla="*/ 2608 w 10354"/>
                <a:gd name="connsiteY1940" fmla="*/ 3376 h 10000"/>
                <a:gd name="connsiteX1941" fmla="*/ 2613 w 10354"/>
                <a:gd name="connsiteY1941" fmla="*/ 3419 h 10000"/>
                <a:gd name="connsiteX1942" fmla="*/ 2608 w 10354"/>
                <a:gd name="connsiteY1942" fmla="*/ 3444 h 10000"/>
                <a:gd name="connsiteX1943" fmla="*/ 2594 w 10354"/>
                <a:gd name="connsiteY1943" fmla="*/ 3444 h 10000"/>
                <a:gd name="connsiteX1944" fmla="*/ 2590 w 10354"/>
                <a:gd name="connsiteY1944" fmla="*/ 3427 h 10000"/>
                <a:gd name="connsiteX1945" fmla="*/ 2581 w 10354"/>
                <a:gd name="connsiteY1945" fmla="*/ 3564 h 10000"/>
                <a:gd name="connsiteX1946" fmla="*/ 2594 w 10354"/>
                <a:gd name="connsiteY1946" fmla="*/ 3598 h 10000"/>
                <a:gd name="connsiteX1947" fmla="*/ 2594 w 10354"/>
                <a:gd name="connsiteY1947" fmla="*/ 3581 h 10000"/>
                <a:gd name="connsiteX1948" fmla="*/ 2608 w 10354"/>
                <a:gd name="connsiteY1948" fmla="*/ 3556 h 10000"/>
                <a:gd name="connsiteX1949" fmla="*/ 2650 w 10354"/>
                <a:gd name="connsiteY1949" fmla="*/ 3615 h 10000"/>
                <a:gd name="connsiteX1950" fmla="*/ 2664 w 10354"/>
                <a:gd name="connsiteY1950" fmla="*/ 3615 h 10000"/>
                <a:gd name="connsiteX1951" fmla="*/ 2668 w 10354"/>
                <a:gd name="connsiteY1951" fmla="*/ 3615 h 10000"/>
                <a:gd name="connsiteX1952" fmla="*/ 2664 w 10354"/>
                <a:gd name="connsiteY1952" fmla="*/ 3667 h 10000"/>
                <a:gd name="connsiteX1953" fmla="*/ 2687 w 10354"/>
                <a:gd name="connsiteY1953" fmla="*/ 3786 h 10000"/>
                <a:gd name="connsiteX1954" fmla="*/ 2710 w 10354"/>
                <a:gd name="connsiteY1954" fmla="*/ 3812 h 10000"/>
                <a:gd name="connsiteX1955" fmla="*/ 2724 w 10354"/>
                <a:gd name="connsiteY1955" fmla="*/ 3812 h 10000"/>
                <a:gd name="connsiteX1956" fmla="*/ 2724 w 10354"/>
                <a:gd name="connsiteY1956" fmla="*/ 3829 h 10000"/>
                <a:gd name="connsiteX1957" fmla="*/ 2737 w 10354"/>
                <a:gd name="connsiteY1957" fmla="*/ 3838 h 10000"/>
                <a:gd name="connsiteX1958" fmla="*/ 2714 w 10354"/>
                <a:gd name="connsiteY1958" fmla="*/ 3872 h 10000"/>
                <a:gd name="connsiteX1959" fmla="*/ 2696 w 10354"/>
                <a:gd name="connsiteY1959" fmla="*/ 4026 h 10000"/>
                <a:gd name="connsiteX1960" fmla="*/ 2673 w 10354"/>
                <a:gd name="connsiteY1960" fmla="*/ 4051 h 10000"/>
                <a:gd name="connsiteX1961" fmla="*/ 2668 w 10354"/>
                <a:gd name="connsiteY1961" fmla="*/ 4034 h 10000"/>
                <a:gd name="connsiteX1962" fmla="*/ 2673 w 10354"/>
                <a:gd name="connsiteY1962" fmla="*/ 4000 h 10000"/>
                <a:gd name="connsiteX1963" fmla="*/ 2664 w 10354"/>
                <a:gd name="connsiteY1963" fmla="*/ 3974 h 10000"/>
                <a:gd name="connsiteX1964" fmla="*/ 2636 w 10354"/>
                <a:gd name="connsiteY1964" fmla="*/ 3949 h 10000"/>
                <a:gd name="connsiteX1965" fmla="*/ 2581 w 10354"/>
                <a:gd name="connsiteY1965" fmla="*/ 3838 h 10000"/>
                <a:gd name="connsiteX1966" fmla="*/ 2562 w 10354"/>
                <a:gd name="connsiteY1966" fmla="*/ 3829 h 10000"/>
                <a:gd name="connsiteX1967" fmla="*/ 2535 w 10354"/>
                <a:gd name="connsiteY1967" fmla="*/ 3778 h 10000"/>
                <a:gd name="connsiteX1968" fmla="*/ 2502 w 10354"/>
                <a:gd name="connsiteY1968" fmla="*/ 3761 h 10000"/>
                <a:gd name="connsiteX1969" fmla="*/ 2502 w 10354"/>
                <a:gd name="connsiteY1969" fmla="*/ 3735 h 10000"/>
                <a:gd name="connsiteX1970" fmla="*/ 2516 w 10354"/>
                <a:gd name="connsiteY1970" fmla="*/ 3735 h 10000"/>
                <a:gd name="connsiteX1971" fmla="*/ 2507 w 10354"/>
                <a:gd name="connsiteY1971" fmla="*/ 3726 h 10000"/>
                <a:gd name="connsiteX1972" fmla="*/ 2488 w 10354"/>
                <a:gd name="connsiteY1972" fmla="*/ 3726 h 10000"/>
                <a:gd name="connsiteX1973" fmla="*/ 2461 w 10354"/>
                <a:gd name="connsiteY1973" fmla="*/ 3692 h 10000"/>
                <a:gd name="connsiteX1974" fmla="*/ 2442 w 10354"/>
                <a:gd name="connsiteY1974" fmla="*/ 3675 h 10000"/>
                <a:gd name="connsiteX1975" fmla="*/ 2406 w 10354"/>
                <a:gd name="connsiteY1975" fmla="*/ 3598 h 10000"/>
                <a:gd name="connsiteX1976" fmla="*/ 2346 w 10354"/>
                <a:gd name="connsiteY1976" fmla="*/ 3564 h 10000"/>
                <a:gd name="connsiteX1977" fmla="*/ 2341 w 10354"/>
                <a:gd name="connsiteY1977" fmla="*/ 3564 h 10000"/>
                <a:gd name="connsiteX1978" fmla="*/ 2313 w 10354"/>
                <a:gd name="connsiteY1978" fmla="*/ 3530 h 10000"/>
                <a:gd name="connsiteX1979" fmla="*/ 2235 w 10354"/>
                <a:gd name="connsiteY1979" fmla="*/ 3530 h 10000"/>
                <a:gd name="connsiteX1980" fmla="*/ 2226 w 10354"/>
                <a:gd name="connsiteY1980" fmla="*/ 3513 h 10000"/>
                <a:gd name="connsiteX1981" fmla="*/ 2207 w 10354"/>
                <a:gd name="connsiteY1981" fmla="*/ 3504 h 10000"/>
                <a:gd name="connsiteX1982" fmla="*/ 2194 w 10354"/>
                <a:gd name="connsiteY1982" fmla="*/ 3504 h 10000"/>
                <a:gd name="connsiteX1983" fmla="*/ 2189 w 10354"/>
                <a:gd name="connsiteY1983" fmla="*/ 3504 h 10000"/>
                <a:gd name="connsiteX1984" fmla="*/ 2189 w 10354"/>
                <a:gd name="connsiteY1984" fmla="*/ 3530 h 10000"/>
                <a:gd name="connsiteX1985" fmla="*/ 2180 w 10354"/>
                <a:gd name="connsiteY1985" fmla="*/ 3538 h 10000"/>
                <a:gd name="connsiteX1986" fmla="*/ 2152 w 10354"/>
                <a:gd name="connsiteY1986" fmla="*/ 3581 h 10000"/>
                <a:gd name="connsiteX1987" fmla="*/ 2161 w 10354"/>
                <a:gd name="connsiteY1987" fmla="*/ 3598 h 10000"/>
                <a:gd name="connsiteX1988" fmla="*/ 2194 w 10354"/>
                <a:gd name="connsiteY1988" fmla="*/ 3752 h 10000"/>
                <a:gd name="connsiteX1989" fmla="*/ 2194 w 10354"/>
                <a:gd name="connsiteY1989" fmla="*/ 3735 h 10000"/>
                <a:gd name="connsiteX1990" fmla="*/ 2198 w 10354"/>
                <a:gd name="connsiteY1990" fmla="*/ 3735 h 10000"/>
                <a:gd name="connsiteX1991" fmla="*/ 2189 w 10354"/>
                <a:gd name="connsiteY1991" fmla="*/ 3838 h 10000"/>
                <a:gd name="connsiteX1992" fmla="*/ 2166 w 10354"/>
                <a:gd name="connsiteY1992" fmla="*/ 3889 h 10000"/>
                <a:gd name="connsiteX1993" fmla="*/ 2124 w 10354"/>
                <a:gd name="connsiteY1993" fmla="*/ 3889 h 10000"/>
                <a:gd name="connsiteX1994" fmla="*/ 2124 w 10354"/>
                <a:gd name="connsiteY1994" fmla="*/ 3923 h 10000"/>
                <a:gd name="connsiteX1995" fmla="*/ 2134 w 10354"/>
                <a:gd name="connsiteY1995" fmla="*/ 3940 h 10000"/>
                <a:gd name="connsiteX1996" fmla="*/ 2134 w 10354"/>
                <a:gd name="connsiteY1996" fmla="*/ 3966 h 10000"/>
                <a:gd name="connsiteX1997" fmla="*/ 2120 w 10354"/>
                <a:gd name="connsiteY1997" fmla="*/ 4000 h 10000"/>
                <a:gd name="connsiteX1998" fmla="*/ 2106 w 10354"/>
                <a:gd name="connsiteY1998" fmla="*/ 4009 h 10000"/>
                <a:gd name="connsiteX1999" fmla="*/ 2088 w 10354"/>
                <a:gd name="connsiteY1999" fmla="*/ 4000 h 10000"/>
                <a:gd name="connsiteX2000" fmla="*/ 2074 w 10354"/>
                <a:gd name="connsiteY2000" fmla="*/ 3974 h 10000"/>
                <a:gd name="connsiteX2001" fmla="*/ 2074 w 10354"/>
                <a:gd name="connsiteY2001" fmla="*/ 3940 h 10000"/>
                <a:gd name="connsiteX2002" fmla="*/ 2078 w 10354"/>
                <a:gd name="connsiteY2002" fmla="*/ 3915 h 10000"/>
                <a:gd name="connsiteX2003" fmla="*/ 2088 w 10354"/>
                <a:gd name="connsiteY2003" fmla="*/ 3889 h 10000"/>
                <a:gd name="connsiteX2004" fmla="*/ 2101 w 10354"/>
                <a:gd name="connsiteY2004" fmla="*/ 3872 h 10000"/>
                <a:gd name="connsiteX2005" fmla="*/ 2074 w 10354"/>
                <a:gd name="connsiteY2005" fmla="*/ 3812 h 10000"/>
                <a:gd name="connsiteX2006" fmla="*/ 2074 w 10354"/>
                <a:gd name="connsiteY2006" fmla="*/ 3786 h 10000"/>
                <a:gd name="connsiteX2007" fmla="*/ 2060 w 10354"/>
                <a:gd name="connsiteY2007" fmla="*/ 3786 h 10000"/>
                <a:gd name="connsiteX2008" fmla="*/ 2014 w 10354"/>
                <a:gd name="connsiteY2008" fmla="*/ 3829 h 10000"/>
                <a:gd name="connsiteX2009" fmla="*/ 2000 w 10354"/>
                <a:gd name="connsiteY2009" fmla="*/ 3863 h 10000"/>
                <a:gd name="connsiteX2010" fmla="*/ 1986 w 10354"/>
                <a:gd name="connsiteY2010" fmla="*/ 3872 h 10000"/>
                <a:gd name="connsiteX2011" fmla="*/ 1959 w 10354"/>
                <a:gd name="connsiteY2011" fmla="*/ 3940 h 10000"/>
                <a:gd name="connsiteX2012" fmla="*/ 1945 w 10354"/>
                <a:gd name="connsiteY2012" fmla="*/ 3949 h 10000"/>
                <a:gd name="connsiteX2013" fmla="*/ 1940 w 10354"/>
                <a:gd name="connsiteY2013" fmla="*/ 3923 h 10000"/>
                <a:gd name="connsiteX2014" fmla="*/ 1917 w 10354"/>
                <a:gd name="connsiteY2014" fmla="*/ 3915 h 10000"/>
                <a:gd name="connsiteX2015" fmla="*/ 1899 w 10354"/>
                <a:gd name="connsiteY2015" fmla="*/ 3923 h 10000"/>
                <a:gd name="connsiteX2016" fmla="*/ 1880 w 10354"/>
                <a:gd name="connsiteY2016" fmla="*/ 3915 h 10000"/>
                <a:gd name="connsiteX2017" fmla="*/ 1853 w 10354"/>
                <a:gd name="connsiteY2017" fmla="*/ 3940 h 10000"/>
                <a:gd name="connsiteX2018" fmla="*/ 1839 w 10354"/>
                <a:gd name="connsiteY2018" fmla="*/ 3940 h 10000"/>
                <a:gd name="connsiteX2019" fmla="*/ 1806 w 10354"/>
                <a:gd name="connsiteY2019" fmla="*/ 3983 h 10000"/>
                <a:gd name="connsiteX2020" fmla="*/ 1806 w 10354"/>
                <a:gd name="connsiteY2020" fmla="*/ 4000 h 10000"/>
                <a:gd name="connsiteX2021" fmla="*/ 1797 w 10354"/>
                <a:gd name="connsiteY2021" fmla="*/ 4077 h 10000"/>
                <a:gd name="connsiteX2022" fmla="*/ 1783 w 10354"/>
                <a:gd name="connsiteY2022" fmla="*/ 4077 h 10000"/>
                <a:gd name="connsiteX2023" fmla="*/ 1779 w 10354"/>
                <a:gd name="connsiteY2023" fmla="*/ 4051 h 10000"/>
                <a:gd name="connsiteX2024" fmla="*/ 1765 w 10354"/>
                <a:gd name="connsiteY2024" fmla="*/ 4026 h 10000"/>
                <a:gd name="connsiteX2025" fmla="*/ 1751 w 10354"/>
                <a:gd name="connsiteY2025" fmla="*/ 4051 h 10000"/>
                <a:gd name="connsiteX2026" fmla="*/ 1737 w 10354"/>
                <a:gd name="connsiteY2026" fmla="*/ 4009 h 10000"/>
                <a:gd name="connsiteX2027" fmla="*/ 1737 w 10354"/>
                <a:gd name="connsiteY2027" fmla="*/ 3966 h 10000"/>
                <a:gd name="connsiteX2028" fmla="*/ 1733 w 10354"/>
                <a:gd name="connsiteY2028" fmla="*/ 3940 h 10000"/>
                <a:gd name="connsiteX2029" fmla="*/ 1733 w 10354"/>
                <a:gd name="connsiteY2029" fmla="*/ 3923 h 10000"/>
                <a:gd name="connsiteX2030" fmla="*/ 1747 w 10354"/>
                <a:gd name="connsiteY2030" fmla="*/ 3889 h 10000"/>
                <a:gd name="connsiteX2031" fmla="*/ 1747 w 10354"/>
                <a:gd name="connsiteY2031" fmla="*/ 3863 h 10000"/>
                <a:gd name="connsiteX2032" fmla="*/ 1737 w 10354"/>
                <a:gd name="connsiteY2032" fmla="*/ 3838 h 10000"/>
                <a:gd name="connsiteX2033" fmla="*/ 1733 w 10354"/>
                <a:gd name="connsiteY2033" fmla="*/ 3829 h 10000"/>
                <a:gd name="connsiteX2034" fmla="*/ 1733 w 10354"/>
                <a:gd name="connsiteY2034" fmla="*/ 3846 h 10000"/>
                <a:gd name="connsiteX2035" fmla="*/ 1724 w 10354"/>
                <a:gd name="connsiteY2035" fmla="*/ 3846 h 10000"/>
                <a:gd name="connsiteX2036" fmla="*/ 1724 w 10354"/>
                <a:gd name="connsiteY2036" fmla="*/ 3829 h 10000"/>
                <a:gd name="connsiteX2037" fmla="*/ 1737 w 10354"/>
                <a:gd name="connsiteY2037" fmla="*/ 3812 h 10000"/>
                <a:gd name="connsiteX2038" fmla="*/ 1765 w 10354"/>
                <a:gd name="connsiteY2038" fmla="*/ 3812 h 10000"/>
                <a:gd name="connsiteX2039" fmla="*/ 1779 w 10354"/>
                <a:gd name="connsiteY2039" fmla="*/ 3786 h 10000"/>
                <a:gd name="connsiteX2040" fmla="*/ 1779 w 10354"/>
                <a:gd name="connsiteY2040" fmla="*/ 3786 h 10000"/>
                <a:gd name="connsiteX2041" fmla="*/ 1751 w 10354"/>
                <a:gd name="connsiteY2041" fmla="*/ 3803 h 10000"/>
                <a:gd name="connsiteX2042" fmla="*/ 1747 w 10354"/>
                <a:gd name="connsiteY2042" fmla="*/ 3803 h 10000"/>
                <a:gd name="connsiteX2043" fmla="*/ 1724 w 10354"/>
                <a:gd name="connsiteY2043" fmla="*/ 3803 h 10000"/>
                <a:gd name="connsiteX2044" fmla="*/ 1700 w 10354"/>
                <a:gd name="connsiteY2044" fmla="*/ 3829 h 10000"/>
                <a:gd name="connsiteX2045" fmla="*/ 1705 w 10354"/>
                <a:gd name="connsiteY2045" fmla="*/ 3846 h 10000"/>
                <a:gd name="connsiteX2046" fmla="*/ 1691 w 10354"/>
                <a:gd name="connsiteY2046" fmla="*/ 3846 h 10000"/>
                <a:gd name="connsiteX2047" fmla="*/ 1691 w 10354"/>
                <a:gd name="connsiteY2047" fmla="*/ 3863 h 10000"/>
                <a:gd name="connsiteX2048" fmla="*/ 1691 w 10354"/>
                <a:gd name="connsiteY2048" fmla="*/ 3915 h 10000"/>
                <a:gd name="connsiteX2049" fmla="*/ 1677 w 10354"/>
                <a:gd name="connsiteY2049" fmla="*/ 3923 h 10000"/>
                <a:gd name="connsiteX2050" fmla="*/ 1673 w 10354"/>
                <a:gd name="connsiteY2050" fmla="*/ 3915 h 10000"/>
                <a:gd name="connsiteX2051" fmla="*/ 1664 w 10354"/>
                <a:gd name="connsiteY2051" fmla="*/ 3889 h 10000"/>
                <a:gd name="connsiteX2052" fmla="*/ 1673 w 10354"/>
                <a:gd name="connsiteY2052" fmla="*/ 3872 h 10000"/>
                <a:gd name="connsiteX2053" fmla="*/ 1664 w 10354"/>
                <a:gd name="connsiteY2053" fmla="*/ 3872 h 10000"/>
                <a:gd name="connsiteX2054" fmla="*/ 1636 w 10354"/>
                <a:gd name="connsiteY2054" fmla="*/ 3923 h 10000"/>
                <a:gd name="connsiteX2055" fmla="*/ 1645 w 10354"/>
                <a:gd name="connsiteY2055" fmla="*/ 3923 h 10000"/>
                <a:gd name="connsiteX2056" fmla="*/ 1650 w 10354"/>
                <a:gd name="connsiteY2056" fmla="*/ 3949 h 10000"/>
                <a:gd name="connsiteX2057" fmla="*/ 1650 w 10354"/>
                <a:gd name="connsiteY2057" fmla="*/ 3983 h 10000"/>
                <a:gd name="connsiteX2058" fmla="*/ 1636 w 10354"/>
                <a:gd name="connsiteY2058" fmla="*/ 4000 h 10000"/>
                <a:gd name="connsiteX2059" fmla="*/ 1631 w 10354"/>
                <a:gd name="connsiteY2059" fmla="*/ 4009 h 10000"/>
                <a:gd name="connsiteX2060" fmla="*/ 1618 w 10354"/>
                <a:gd name="connsiteY2060" fmla="*/ 3949 h 10000"/>
                <a:gd name="connsiteX2061" fmla="*/ 1585 w 10354"/>
                <a:gd name="connsiteY2061" fmla="*/ 3966 h 10000"/>
                <a:gd name="connsiteX2062" fmla="*/ 1590 w 10354"/>
                <a:gd name="connsiteY2062" fmla="*/ 3974 h 10000"/>
                <a:gd name="connsiteX2063" fmla="*/ 1544 w 10354"/>
                <a:gd name="connsiteY2063" fmla="*/ 4009 h 10000"/>
                <a:gd name="connsiteX2064" fmla="*/ 1539 w 10354"/>
                <a:gd name="connsiteY2064" fmla="*/ 4009 h 10000"/>
                <a:gd name="connsiteX2065" fmla="*/ 1410 w 10354"/>
                <a:gd name="connsiteY2065" fmla="*/ 4188 h 10000"/>
                <a:gd name="connsiteX2066" fmla="*/ 1406 w 10354"/>
                <a:gd name="connsiteY2066" fmla="*/ 4171 h 10000"/>
                <a:gd name="connsiteX2067" fmla="*/ 1396 w 10354"/>
                <a:gd name="connsiteY2067" fmla="*/ 4214 h 10000"/>
                <a:gd name="connsiteX2068" fmla="*/ 1406 w 10354"/>
                <a:gd name="connsiteY2068" fmla="*/ 4222 h 10000"/>
                <a:gd name="connsiteX2069" fmla="*/ 1392 w 10354"/>
                <a:gd name="connsiteY2069" fmla="*/ 4239 h 10000"/>
                <a:gd name="connsiteX2070" fmla="*/ 1369 w 10354"/>
                <a:gd name="connsiteY2070" fmla="*/ 4248 h 10000"/>
                <a:gd name="connsiteX2071" fmla="*/ 1355 w 10354"/>
                <a:gd name="connsiteY2071" fmla="*/ 4256 h 10000"/>
                <a:gd name="connsiteX2072" fmla="*/ 1350 w 10354"/>
                <a:gd name="connsiteY2072" fmla="*/ 4248 h 10000"/>
                <a:gd name="connsiteX2073" fmla="*/ 1332 w 10354"/>
                <a:gd name="connsiteY2073" fmla="*/ 4376 h 10000"/>
                <a:gd name="connsiteX2074" fmla="*/ 1332 w 10354"/>
                <a:gd name="connsiteY2074" fmla="*/ 4436 h 10000"/>
                <a:gd name="connsiteX2075" fmla="*/ 1323 w 10354"/>
                <a:gd name="connsiteY2075" fmla="*/ 4462 h 10000"/>
                <a:gd name="connsiteX2076" fmla="*/ 1304 w 10354"/>
                <a:gd name="connsiteY2076" fmla="*/ 4487 h 10000"/>
                <a:gd name="connsiteX2077" fmla="*/ 1290 w 10354"/>
                <a:gd name="connsiteY2077" fmla="*/ 4470 h 10000"/>
                <a:gd name="connsiteX2078" fmla="*/ 1263 w 10354"/>
                <a:gd name="connsiteY2078" fmla="*/ 4496 h 10000"/>
                <a:gd name="connsiteX2079" fmla="*/ 1258 w 10354"/>
                <a:gd name="connsiteY2079" fmla="*/ 4547 h 10000"/>
                <a:gd name="connsiteX2080" fmla="*/ 1249 w 10354"/>
                <a:gd name="connsiteY2080" fmla="*/ 4487 h 10000"/>
                <a:gd name="connsiteX2081" fmla="*/ 1235 w 10354"/>
                <a:gd name="connsiteY2081" fmla="*/ 4496 h 10000"/>
                <a:gd name="connsiteX2082" fmla="*/ 1221 w 10354"/>
                <a:gd name="connsiteY2082" fmla="*/ 4496 h 10000"/>
                <a:gd name="connsiteX2083" fmla="*/ 1217 w 10354"/>
                <a:gd name="connsiteY2083" fmla="*/ 4487 h 10000"/>
                <a:gd name="connsiteX2084" fmla="*/ 1198 w 10354"/>
                <a:gd name="connsiteY2084" fmla="*/ 4410 h 10000"/>
                <a:gd name="connsiteX2085" fmla="*/ 1157 w 10354"/>
                <a:gd name="connsiteY2085" fmla="*/ 4333 h 10000"/>
                <a:gd name="connsiteX2086" fmla="*/ 1147 w 10354"/>
                <a:gd name="connsiteY2086" fmla="*/ 4299 h 10000"/>
                <a:gd name="connsiteX2087" fmla="*/ 1147 w 10354"/>
                <a:gd name="connsiteY2087" fmla="*/ 4274 h 10000"/>
                <a:gd name="connsiteX2088" fmla="*/ 1161 w 10354"/>
                <a:gd name="connsiteY2088" fmla="*/ 4256 h 10000"/>
                <a:gd name="connsiteX2089" fmla="*/ 1171 w 10354"/>
                <a:gd name="connsiteY2089" fmla="*/ 4248 h 10000"/>
                <a:gd name="connsiteX2090" fmla="*/ 1175 w 10354"/>
                <a:gd name="connsiteY2090" fmla="*/ 4214 h 10000"/>
                <a:gd name="connsiteX2091" fmla="*/ 1263 w 10354"/>
                <a:gd name="connsiteY2091" fmla="*/ 4171 h 10000"/>
                <a:gd name="connsiteX2092" fmla="*/ 1249 w 10354"/>
                <a:gd name="connsiteY2092" fmla="*/ 4137 h 10000"/>
                <a:gd name="connsiteX2093" fmla="*/ 1244 w 10354"/>
                <a:gd name="connsiteY2093" fmla="*/ 4060 h 10000"/>
                <a:gd name="connsiteX2094" fmla="*/ 1230 w 10354"/>
                <a:gd name="connsiteY2094" fmla="*/ 4077 h 10000"/>
                <a:gd name="connsiteX2095" fmla="*/ 1221 w 10354"/>
                <a:gd name="connsiteY2095" fmla="*/ 4026 h 10000"/>
                <a:gd name="connsiteX2096" fmla="*/ 1217 w 10354"/>
                <a:gd name="connsiteY2096" fmla="*/ 4026 h 10000"/>
                <a:gd name="connsiteX2097" fmla="*/ 1212 w 10354"/>
                <a:gd name="connsiteY2097" fmla="*/ 3983 h 10000"/>
                <a:gd name="connsiteX2098" fmla="*/ 1203 w 10354"/>
                <a:gd name="connsiteY2098" fmla="*/ 3966 h 10000"/>
                <a:gd name="connsiteX2099" fmla="*/ 1171 w 10354"/>
                <a:gd name="connsiteY2099" fmla="*/ 3949 h 10000"/>
                <a:gd name="connsiteX2100" fmla="*/ 1111 w 10354"/>
                <a:gd name="connsiteY2100" fmla="*/ 3940 h 10000"/>
                <a:gd name="connsiteX2101" fmla="*/ 1097 w 10354"/>
                <a:gd name="connsiteY2101" fmla="*/ 3949 h 10000"/>
                <a:gd name="connsiteX2102" fmla="*/ 1037 w 10354"/>
                <a:gd name="connsiteY2102" fmla="*/ 3897 h 10000"/>
                <a:gd name="connsiteX2103" fmla="*/ 1041 w 10354"/>
                <a:gd name="connsiteY2103" fmla="*/ 3923 h 10000"/>
                <a:gd name="connsiteX2104" fmla="*/ 1097 w 10354"/>
                <a:gd name="connsiteY2104" fmla="*/ 4009 h 10000"/>
                <a:gd name="connsiteX2105" fmla="*/ 1097 w 10354"/>
                <a:gd name="connsiteY2105" fmla="*/ 4120 h 10000"/>
                <a:gd name="connsiteX2106" fmla="*/ 1097 w 10354"/>
                <a:gd name="connsiteY2106" fmla="*/ 4162 h 10000"/>
                <a:gd name="connsiteX2107" fmla="*/ 1097 w 10354"/>
                <a:gd name="connsiteY2107" fmla="*/ 4197 h 10000"/>
                <a:gd name="connsiteX2108" fmla="*/ 1074 w 10354"/>
                <a:gd name="connsiteY2108" fmla="*/ 4333 h 10000"/>
                <a:gd name="connsiteX2109" fmla="*/ 1074 w 10354"/>
                <a:gd name="connsiteY2109" fmla="*/ 4376 h 10000"/>
                <a:gd name="connsiteX2110" fmla="*/ 1083 w 10354"/>
                <a:gd name="connsiteY2110" fmla="*/ 4385 h 10000"/>
                <a:gd name="connsiteX2111" fmla="*/ 1097 w 10354"/>
                <a:gd name="connsiteY2111" fmla="*/ 4385 h 10000"/>
                <a:gd name="connsiteX2112" fmla="*/ 1111 w 10354"/>
                <a:gd name="connsiteY2112" fmla="*/ 4410 h 10000"/>
                <a:gd name="connsiteX2113" fmla="*/ 1124 w 10354"/>
                <a:gd name="connsiteY2113" fmla="*/ 4444 h 10000"/>
                <a:gd name="connsiteX2114" fmla="*/ 1124 w 10354"/>
                <a:gd name="connsiteY2114" fmla="*/ 4470 h 10000"/>
                <a:gd name="connsiteX2115" fmla="*/ 1115 w 10354"/>
                <a:gd name="connsiteY2115" fmla="*/ 4513 h 10000"/>
                <a:gd name="connsiteX2116" fmla="*/ 1115 w 10354"/>
                <a:gd name="connsiteY2116" fmla="*/ 4530 h 10000"/>
                <a:gd name="connsiteX2117" fmla="*/ 1115 w 10354"/>
                <a:gd name="connsiteY2117" fmla="*/ 4573 h 10000"/>
                <a:gd name="connsiteX2118" fmla="*/ 1101 w 10354"/>
                <a:gd name="connsiteY2118" fmla="*/ 4607 h 10000"/>
                <a:gd name="connsiteX2119" fmla="*/ 1097 w 10354"/>
                <a:gd name="connsiteY2119" fmla="*/ 4658 h 10000"/>
                <a:gd name="connsiteX2120" fmla="*/ 1101 w 10354"/>
                <a:gd name="connsiteY2120" fmla="*/ 4692 h 10000"/>
                <a:gd name="connsiteX2121" fmla="*/ 1097 w 10354"/>
                <a:gd name="connsiteY2121" fmla="*/ 4778 h 10000"/>
                <a:gd name="connsiteX2122" fmla="*/ 1083 w 10354"/>
                <a:gd name="connsiteY2122" fmla="*/ 4744 h 10000"/>
                <a:gd name="connsiteX2123" fmla="*/ 1083 w 10354"/>
                <a:gd name="connsiteY2123" fmla="*/ 4718 h 10000"/>
                <a:gd name="connsiteX2124" fmla="*/ 1074 w 10354"/>
                <a:gd name="connsiteY2124" fmla="*/ 4692 h 10000"/>
                <a:gd name="connsiteX2125" fmla="*/ 1065 w 10354"/>
                <a:gd name="connsiteY2125" fmla="*/ 4692 h 10000"/>
                <a:gd name="connsiteX2126" fmla="*/ 1051 w 10354"/>
                <a:gd name="connsiteY2126" fmla="*/ 4718 h 10000"/>
                <a:gd name="connsiteX2127" fmla="*/ 1055 w 10354"/>
                <a:gd name="connsiteY2127" fmla="*/ 4692 h 10000"/>
                <a:gd name="connsiteX2128" fmla="*/ 1055 w 10354"/>
                <a:gd name="connsiteY2128" fmla="*/ 4667 h 10000"/>
                <a:gd name="connsiteX2129" fmla="*/ 1028 w 10354"/>
                <a:gd name="connsiteY2129" fmla="*/ 4624 h 10000"/>
                <a:gd name="connsiteX2130" fmla="*/ 1005 w 10354"/>
                <a:gd name="connsiteY2130" fmla="*/ 4624 h 10000"/>
                <a:gd name="connsiteX2131" fmla="*/ 977 w 10354"/>
                <a:gd name="connsiteY2131" fmla="*/ 4581 h 10000"/>
                <a:gd name="connsiteX2132" fmla="*/ 963 w 10354"/>
                <a:gd name="connsiteY2132" fmla="*/ 4607 h 10000"/>
                <a:gd name="connsiteX2133" fmla="*/ 963 w 10354"/>
                <a:gd name="connsiteY2133" fmla="*/ 4632 h 10000"/>
                <a:gd name="connsiteX2134" fmla="*/ 917 w 10354"/>
                <a:gd name="connsiteY2134" fmla="*/ 4718 h 10000"/>
                <a:gd name="connsiteX2135" fmla="*/ 889 w 10354"/>
                <a:gd name="connsiteY2135" fmla="*/ 4744 h 10000"/>
                <a:gd name="connsiteX2136" fmla="*/ 880 w 10354"/>
                <a:gd name="connsiteY2136" fmla="*/ 4744 h 10000"/>
                <a:gd name="connsiteX2137" fmla="*/ 862 w 10354"/>
                <a:gd name="connsiteY2137" fmla="*/ 4769 h 10000"/>
                <a:gd name="connsiteX2138" fmla="*/ 857 w 10354"/>
                <a:gd name="connsiteY2138" fmla="*/ 4795 h 10000"/>
                <a:gd name="connsiteX2139" fmla="*/ 829 w 10354"/>
                <a:gd name="connsiteY2139" fmla="*/ 4846 h 10000"/>
                <a:gd name="connsiteX2140" fmla="*/ 816 w 10354"/>
                <a:gd name="connsiteY2140" fmla="*/ 4855 h 10000"/>
                <a:gd name="connsiteX2141" fmla="*/ 816 w 10354"/>
                <a:gd name="connsiteY2141" fmla="*/ 4940 h 10000"/>
                <a:gd name="connsiteX2142" fmla="*/ 880 w 10354"/>
                <a:gd name="connsiteY2142" fmla="*/ 5179 h 10000"/>
                <a:gd name="connsiteX2143" fmla="*/ 880 w 10354"/>
                <a:gd name="connsiteY2143" fmla="*/ 5188 h 10000"/>
                <a:gd name="connsiteX2144" fmla="*/ 862 w 10354"/>
                <a:gd name="connsiteY2144" fmla="*/ 5171 h 10000"/>
                <a:gd name="connsiteX2145" fmla="*/ 857 w 10354"/>
                <a:gd name="connsiteY2145" fmla="*/ 5171 h 10000"/>
                <a:gd name="connsiteX2146" fmla="*/ 820 w 10354"/>
                <a:gd name="connsiteY2146" fmla="*/ 5145 h 10000"/>
                <a:gd name="connsiteX2147" fmla="*/ 820 w 10354"/>
                <a:gd name="connsiteY2147" fmla="*/ 5154 h 10000"/>
                <a:gd name="connsiteX2148" fmla="*/ 816 w 10354"/>
                <a:gd name="connsiteY2148" fmla="*/ 5171 h 10000"/>
                <a:gd name="connsiteX2149" fmla="*/ 783 w 10354"/>
                <a:gd name="connsiteY2149" fmla="*/ 5145 h 10000"/>
                <a:gd name="connsiteX2150" fmla="*/ 756 w 10354"/>
                <a:gd name="connsiteY2150" fmla="*/ 5103 h 10000"/>
                <a:gd name="connsiteX2151" fmla="*/ 742 w 10354"/>
                <a:gd name="connsiteY2151" fmla="*/ 5103 h 10000"/>
                <a:gd name="connsiteX2152" fmla="*/ 728 w 10354"/>
                <a:gd name="connsiteY2152" fmla="*/ 5094 h 10000"/>
                <a:gd name="connsiteX2153" fmla="*/ 710 w 10354"/>
                <a:gd name="connsiteY2153" fmla="*/ 5120 h 10000"/>
                <a:gd name="connsiteX2154" fmla="*/ 700 w 10354"/>
                <a:gd name="connsiteY2154" fmla="*/ 5145 h 10000"/>
                <a:gd name="connsiteX2155" fmla="*/ 696 w 10354"/>
                <a:gd name="connsiteY2155" fmla="*/ 5103 h 10000"/>
                <a:gd name="connsiteX2156" fmla="*/ 714 w 10354"/>
                <a:gd name="connsiteY2156" fmla="*/ 5077 h 10000"/>
                <a:gd name="connsiteX2157" fmla="*/ 682 w 10354"/>
                <a:gd name="connsiteY2157" fmla="*/ 5068 h 10000"/>
                <a:gd name="connsiteX2158" fmla="*/ 673 w 10354"/>
                <a:gd name="connsiteY2158" fmla="*/ 5034 h 10000"/>
                <a:gd name="connsiteX2159" fmla="*/ 636 w 10354"/>
                <a:gd name="connsiteY2159" fmla="*/ 4991 h 10000"/>
                <a:gd name="connsiteX2160" fmla="*/ 622 w 10354"/>
                <a:gd name="connsiteY2160" fmla="*/ 4983 h 10000"/>
                <a:gd name="connsiteX2161" fmla="*/ 622 w 10354"/>
                <a:gd name="connsiteY2161" fmla="*/ 5034 h 10000"/>
                <a:gd name="connsiteX2162" fmla="*/ 608 w 10354"/>
                <a:gd name="connsiteY2162" fmla="*/ 5051 h 10000"/>
                <a:gd name="connsiteX2163" fmla="*/ 594 w 10354"/>
                <a:gd name="connsiteY2163" fmla="*/ 5068 h 10000"/>
                <a:gd name="connsiteX2164" fmla="*/ 608 w 10354"/>
                <a:gd name="connsiteY2164" fmla="*/ 5120 h 10000"/>
                <a:gd name="connsiteX2165" fmla="*/ 613 w 10354"/>
                <a:gd name="connsiteY2165" fmla="*/ 5128 h 10000"/>
                <a:gd name="connsiteX2166" fmla="*/ 627 w 10354"/>
                <a:gd name="connsiteY2166" fmla="*/ 5179 h 10000"/>
                <a:gd name="connsiteX2167" fmla="*/ 650 w 10354"/>
                <a:gd name="connsiteY2167" fmla="*/ 5214 h 10000"/>
                <a:gd name="connsiteX2168" fmla="*/ 687 w 10354"/>
                <a:gd name="connsiteY2168" fmla="*/ 5188 h 10000"/>
                <a:gd name="connsiteX2169" fmla="*/ 700 w 10354"/>
                <a:gd name="connsiteY2169" fmla="*/ 5325 h 10000"/>
                <a:gd name="connsiteX2170" fmla="*/ 710 w 10354"/>
                <a:gd name="connsiteY2170" fmla="*/ 5350 h 10000"/>
                <a:gd name="connsiteX2171" fmla="*/ 687 w 10354"/>
                <a:gd name="connsiteY2171" fmla="*/ 5325 h 10000"/>
                <a:gd name="connsiteX2172" fmla="*/ 668 w 10354"/>
                <a:gd name="connsiteY2172" fmla="*/ 5350 h 10000"/>
                <a:gd name="connsiteX2173" fmla="*/ 668 w 10354"/>
                <a:gd name="connsiteY2173" fmla="*/ 5368 h 10000"/>
                <a:gd name="connsiteX2174" fmla="*/ 668 w 10354"/>
                <a:gd name="connsiteY2174" fmla="*/ 5376 h 10000"/>
                <a:gd name="connsiteX2175" fmla="*/ 581 w 10354"/>
                <a:gd name="connsiteY2175" fmla="*/ 5316 h 10000"/>
                <a:gd name="connsiteX2176" fmla="*/ 567 w 10354"/>
                <a:gd name="connsiteY2176" fmla="*/ 5265 h 10000"/>
                <a:gd name="connsiteX2177" fmla="*/ 562 w 10354"/>
                <a:gd name="connsiteY2177" fmla="*/ 5256 h 10000"/>
                <a:gd name="connsiteX2178" fmla="*/ 548 w 10354"/>
                <a:gd name="connsiteY2178" fmla="*/ 5231 h 10000"/>
                <a:gd name="connsiteX2179" fmla="*/ 535 w 10354"/>
                <a:gd name="connsiteY2179" fmla="*/ 5214 h 10000"/>
                <a:gd name="connsiteX2180" fmla="*/ 525 w 10354"/>
                <a:gd name="connsiteY2180" fmla="*/ 5231 h 10000"/>
                <a:gd name="connsiteX2181" fmla="*/ 521 w 10354"/>
                <a:gd name="connsiteY2181" fmla="*/ 5231 h 10000"/>
                <a:gd name="connsiteX2182" fmla="*/ 493 w 10354"/>
                <a:gd name="connsiteY2182" fmla="*/ 5205 h 10000"/>
                <a:gd name="connsiteX2183" fmla="*/ 488 w 10354"/>
                <a:gd name="connsiteY2183" fmla="*/ 5179 h 10000"/>
                <a:gd name="connsiteX2184" fmla="*/ 475 w 10354"/>
                <a:gd name="connsiteY2184" fmla="*/ 5188 h 10000"/>
                <a:gd name="connsiteX2185" fmla="*/ 475 w 10354"/>
                <a:gd name="connsiteY2185" fmla="*/ 5171 h 10000"/>
                <a:gd name="connsiteX2186" fmla="*/ 488 w 10354"/>
                <a:gd name="connsiteY2186" fmla="*/ 5154 h 10000"/>
                <a:gd name="connsiteX2187" fmla="*/ 488 w 10354"/>
                <a:gd name="connsiteY2187" fmla="*/ 5068 h 10000"/>
                <a:gd name="connsiteX2188" fmla="*/ 475 w 10354"/>
                <a:gd name="connsiteY2188" fmla="*/ 5051 h 10000"/>
                <a:gd name="connsiteX2189" fmla="*/ 475 w 10354"/>
                <a:gd name="connsiteY2189" fmla="*/ 5017 h 10000"/>
                <a:gd name="connsiteX2190" fmla="*/ 452 w 10354"/>
                <a:gd name="connsiteY2190" fmla="*/ 4932 h 10000"/>
                <a:gd name="connsiteX2191" fmla="*/ 461 w 10354"/>
                <a:gd name="connsiteY2191" fmla="*/ 4915 h 10000"/>
                <a:gd name="connsiteX2192" fmla="*/ 475 w 10354"/>
                <a:gd name="connsiteY2192" fmla="*/ 4906 h 10000"/>
                <a:gd name="connsiteX2193" fmla="*/ 479 w 10354"/>
                <a:gd name="connsiteY2193" fmla="*/ 4803 h 10000"/>
                <a:gd name="connsiteX2194" fmla="*/ 479 w 10354"/>
                <a:gd name="connsiteY2194" fmla="*/ 4778 h 10000"/>
                <a:gd name="connsiteX2195" fmla="*/ 475 w 10354"/>
                <a:gd name="connsiteY2195" fmla="*/ 4761 h 10000"/>
                <a:gd name="connsiteX2196" fmla="*/ 465 w 10354"/>
                <a:gd name="connsiteY2196" fmla="*/ 4718 h 10000"/>
                <a:gd name="connsiteX2197" fmla="*/ 461 w 10354"/>
                <a:gd name="connsiteY2197" fmla="*/ 4709 h 10000"/>
                <a:gd name="connsiteX2198" fmla="*/ 442 w 10354"/>
                <a:gd name="connsiteY2198" fmla="*/ 4692 h 10000"/>
                <a:gd name="connsiteX2199" fmla="*/ 433 w 10354"/>
                <a:gd name="connsiteY2199" fmla="*/ 4667 h 10000"/>
                <a:gd name="connsiteX2200" fmla="*/ 419 w 10354"/>
                <a:gd name="connsiteY2200" fmla="*/ 4667 h 10000"/>
                <a:gd name="connsiteX2201" fmla="*/ 401 w 10354"/>
                <a:gd name="connsiteY2201" fmla="*/ 4658 h 10000"/>
                <a:gd name="connsiteX2202" fmla="*/ 401 w 10354"/>
                <a:gd name="connsiteY2202" fmla="*/ 4624 h 10000"/>
                <a:gd name="connsiteX2203" fmla="*/ 401 w 10354"/>
                <a:gd name="connsiteY2203" fmla="*/ 4607 h 10000"/>
                <a:gd name="connsiteX2204" fmla="*/ 378 w 10354"/>
                <a:gd name="connsiteY2204" fmla="*/ 4607 h 10000"/>
                <a:gd name="connsiteX2205" fmla="*/ 341 w 10354"/>
                <a:gd name="connsiteY2205" fmla="*/ 4530 h 10000"/>
                <a:gd name="connsiteX2206" fmla="*/ 346 w 10354"/>
                <a:gd name="connsiteY2206" fmla="*/ 4521 h 10000"/>
                <a:gd name="connsiteX2207" fmla="*/ 332 w 10354"/>
                <a:gd name="connsiteY2207" fmla="*/ 4487 h 10000"/>
                <a:gd name="connsiteX2208" fmla="*/ 327 w 10354"/>
                <a:gd name="connsiteY2208" fmla="*/ 4462 h 10000"/>
                <a:gd name="connsiteX2209" fmla="*/ 313 w 10354"/>
                <a:gd name="connsiteY2209" fmla="*/ 4436 h 10000"/>
                <a:gd name="connsiteX2210" fmla="*/ 300 w 10354"/>
                <a:gd name="connsiteY2210" fmla="*/ 4419 h 10000"/>
                <a:gd name="connsiteX2211" fmla="*/ 309 w 10354"/>
                <a:gd name="connsiteY2211" fmla="*/ 4393 h 10000"/>
                <a:gd name="connsiteX2212" fmla="*/ 332 w 10354"/>
                <a:gd name="connsiteY2212" fmla="*/ 4385 h 10000"/>
                <a:gd name="connsiteX2213" fmla="*/ 355 w 10354"/>
                <a:gd name="connsiteY2213" fmla="*/ 4419 h 10000"/>
                <a:gd name="connsiteX2214" fmla="*/ 355 w 10354"/>
                <a:gd name="connsiteY2214" fmla="*/ 4444 h 10000"/>
                <a:gd name="connsiteX2215" fmla="*/ 369 w 10354"/>
                <a:gd name="connsiteY2215" fmla="*/ 4470 h 10000"/>
                <a:gd name="connsiteX2216" fmla="*/ 401 w 10354"/>
                <a:gd name="connsiteY2216" fmla="*/ 4521 h 10000"/>
                <a:gd name="connsiteX2217" fmla="*/ 406 w 10354"/>
                <a:gd name="connsiteY2217" fmla="*/ 4513 h 10000"/>
                <a:gd name="connsiteX2218" fmla="*/ 406 w 10354"/>
                <a:gd name="connsiteY2218" fmla="*/ 4496 h 10000"/>
                <a:gd name="connsiteX2219" fmla="*/ 419 w 10354"/>
                <a:gd name="connsiteY2219" fmla="*/ 4521 h 10000"/>
                <a:gd name="connsiteX2220" fmla="*/ 429 w 10354"/>
                <a:gd name="connsiteY2220" fmla="*/ 4530 h 10000"/>
                <a:gd name="connsiteX2221" fmla="*/ 433 w 10354"/>
                <a:gd name="connsiteY2221" fmla="*/ 4521 h 10000"/>
                <a:gd name="connsiteX2222" fmla="*/ 442 w 10354"/>
                <a:gd name="connsiteY2222" fmla="*/ 4530 h 10000"/>
                <a:gd name="connsiteX2223" fmla="*/ 447 w 10354"/>
                <a:gd name="connsiteY2223" fmla="*/ 4521 h 10000"/>
                <a:gd name="connsiteX2224" fmla="*/ 452 w 10354"/>
                <a:gd name="connsiteY2224" fmla="*/ 4521 h 10000"/>
                <a:gd name="connsiteX2225" fmla="*/ 461 w 10354"/>
                <a:gd name="connsiteY2225" fmla="*/ 4573 h 10000"/>
                <a:gd name="connsiteX2226" fmla="*/ 479 w 10354"/>
                <a:gd name="connsiteY2226" fmla="*/ 4556 h 10000"/>
                <a:gd name="connsiteX2227" fmla="*/ 502 w 10354"/>
                <a:gd name="connsiteY2227" fmla="*/ 4573 h 10000"/>
                <a:gd name="connsiteX2228" fmla="*/ 507 w 10354"/>
                <a:gd name="connsiteY2228" fmla="*/ 4598 h 10000"/>
                <a:gd name="connsiteX2229" fmla="*/ 525 w 10354"/>
                <a:gd name="connsiteY2229" fmla="*/ 4598 h 10000"/>
                <a:gd name="connsiteX2230" fmla="*/ 535 w 10354"/>
                <a:gd name="connsiteY2230" fmla="*/ 4624 h 10000"/>
                <a:gd name="connsiteX2231" fmla="*/ 594 w 10354"/>
                <a:gd name="connsiteY2231" fmla="*/ 4658 h 10000"/>
                <a:gd name="connsiteX2232" fmla="*/ 627 w 10354"/>
                <a:gd name="connsiteY2232" fmla="*/ 4658 h 10000"/>
                <a:gd name="connsiteX2233" fmla="*/ 654 w 10354"/>
                <a:gd name="connsiteY2233" fmla="*/ 4684 h 10000"/>
                <a:gd name="connsiteX2234" fmla="*/ 668 w 10354"/>
                <a:gd name="connsiteY2234" fmla="*/ 4709 h 10000"/>
                <a:gd name="connsiteX2235" fmla="*/ 747 w 10354"/>
                <a:gd name="connsiteY2235" fmla="*/ 4718 h 10000"/>
                <a:gd name="connsiteX2236" fmla="*/ 760 w 10354"/>
                <a:gd name="connsiteY2236" fmla="*/ 4709 h 10000"/>
                <a:gd name="connsiteX2237" fmla="*/ 774 w 10354"/>
                <a:gd name="connsiteY2237" fmla="*/ 4692 h 10000"/>
                <a:gd name="connsiteX2238" fmla="*/ 829 w 10354"/>
                <a:gd name="connsiteY2238" fmla="*/ 4658 h 10000"/>
                <a:gd name="connsiteX2239" fmla="*/ 903 w 10354"/>
                <a:gd name="connsiteY2239" fmla="*/ 4496 h 10000"/>
                <a:gd name="connsiteX2240" fmla="*/ 917 w 10354"/>
                <a:gd name="connsiteY2240" fmla="*/ 4385 h 10000"/>
                <a:gd name="connsiteX2241" fmla="*/ 903 w 10354"/>
                <a:gd name="connsiteY2241" fmla="*/ 4376 h 10000"/>
                <a:gd name="connsiteX2242" fmla="*/ 903 w 10354"/>
                <a:gd name="connsiteY2242" fmla="*/ 4376 h 10000"/>
                <a:gd name="connsiteX2243" fmla="*/ 889 w 10354"/>
                <a:gd name="connsiteY2243" fmla="*/ 4239 h 10000"/>
                <a:gd name="connsiteX2244" fmla="*/ 880 w 10354"/>
                <a:gd name="connsiteY2244" fmla="*/ 4214 h 10000"/>
                <a:gd name="connsiteX2245" fmla="*/ 862 w 10354"/>
                <a:gd name="connsiteY2245" fmla="*/ 4188 h 10000"/>
                <a:gd name="connsiteX2246" fmla="*/ 857 w 10354"/>
                <a:gd name="connsiteY2246" fmla="*/ 4197 h 10000"/>
                <a:gd name="connsiteX2247" fmla="*/ 848 w 10354"/>
                <a:gd name="connsiteY2247" fmla="*/ 4188 h 10000"/>
                <a:gd name="connsiteX2248" fmla="*/ 848 w 10354"/>
                <a:gd name="connsiteY2248" fmla="*/ 4162 h 10000"/>
                <a:gd name="connsiteX2249" fmla="*/ 829 w 10354"/>
                <a:gd name="connsiteY2249" fmla="*/ 4120 h 10000"/>
                <a:gd name="connsiteX2250" fmla="*/ 820 w 10354"/>
                <a:gd name="connsiteY2250" fmla="*/ 4103 h 10000"/>
                <a:gd name="connsiteX2251" fmla="*/ 806 w 10354"/>
                <a:gd name="connsiteY2251" fmla="*/ 4077 h 10000"/>
                <a:gd name="connsiteX2252" fmla="*/ 816 w 10354"/>
                <a:gd name="connsiteY2252" fmla="*/ 4111 h 10000"/>
                <a:gd name="connsiteX2253" fmla="*/ 802 w 10354"/>
                <a:gd name="connsiteY2253" fmla="*/ 4111 h 10000"/>
                <a:gd name="connsiteX2254" fmla="*/ 770 w 10354"/>
                <a:gd name="connsiteY2254" fmla="*/ 4060 h 10000"/>
                <a:gd name="connsiteX2255" fmla="*/ 760 w 10354"/>
                <a:gd name="connsiteY2255" fmla="*/ 4077 h 10000"/>
                <a:gd name="connsiteX2256" fmla="*/ 760 w 10354"/>
                <a:gd name="connsiteY2256" fmla="*/ 4060 h 10000"/>
                <a:gd name="connsiteX2257" fmla="*/ 756 w 10354"/>
                <a:gd name="connsiteY2257" fmla="*/ 4034 h 10000"/>
                <a:gd name="connsiteX2258" fmla="*/ 742 w 10354"/>
                <a:gd name="connsiteY2258" fmla="*/ 4000 h 10000"/>
                <a:gd name="connsiteX2259" fmla="*/ 747 w 10354"/>
                <a:gd name="connsiteY2259" fmla="*/ 4034 h 10000"/>
                <a:gd name="connsiteX2260" fmla="*/ 724 w 10354"/>
                <a:gd name="connsiteY2260" fmla="*/ 4026 h 10000"/>
                <a:gd name="connsiteX2261" fmla="*/ 714 w 10354"/>
                <a:gd name="connsiteY2261" fmla="*/ 4000 h 10000"/>
                <a:gd name="connsiteX2262" fmla="*/ 714 w 10354"/>
                <a:gd name="connsiteY2262" fmla="*/ 3983 h 10000"/>
                <a:gd name="connsiteX2263" fmla="*/ 553 w 10354"/>
                <a:gd name="connsiteY2263" fmla="*/ 3726 h 10000"/>
                <a:gd name="connsiteX2264" fmla="*/ 507 w 10354"/>
                <a:gd name="connsiteY2264" fmla="*/ 3718 h 10000"/>
                <a:gd name="connsiteX2265" fmla="*/ 516 w 10354"/>
                <a:gd name="connsiteY2265" fmla="*/ 3726 h 10000"/>
                <a:gd name="connsiteX2266" fmla="*/ 507 w 10354"/>
                <a:gd name="connsiteY2266" fmla="*/ 3735 h 10000"/>
                <a:gd name="connsiteX2267" fmla="*/ 502 w 10354"/>
                <a:gd name="connsiteY2267" fmla="*/ 3735 h 10000"/>
                <a:gd name="connsiteX2268" fmla="*/ 419 w 10354"/>
                <a:gd name="connsiteY2268" fmla="*/ 3675 h 10000"/>
                <a:gd name="connsiteX2269" fmla="*/ 419 w 10354"/>
                <a:gd name="connsiteY2269" fmla="*/ 3692 h 10000"/>
                <a:gd name="connsiteX2270" fmla="*/ 401 w 10354"/>
                <a:gd name="connsiteY2270" fmla="*/ 3701 h 10000"/>
                <a:gd name="connsiteX2271" fmla="*/ 387 w 10354"/>
                <a:gd name="connsiteY2271" fmla="*/ 3718 h 10000"/>
                <a:gd name="connsiteX2272" fmla="*/ 387 w 10354"/>
                <a:gd name="connsiteY2272" fmla="*/ 3692 h 10000"/>
                <a:gd name="connsiteX2273" fmla="*/ 378 w 10354"/>
                <a:gd name="connsiteY2273" fmla="*/ 3675 h 10000"/>
                <a:gd name="connsiteX2274" fmla="*/ 378 w 10354"/>
                <a:gd name="connsiteY2274" fmla="*/ 3650 h 10000"/>
                <a:gd name="connsiteX2275" fmla="*/ 378 w 10354"/>
                <a:gd name="connsiteY2275" fmla="*/ 3650 h 10000"/>
                <a:gd name="connsiteX2276" fmla="*/ 355 w 10354"/>
                <a:gd name="connsiteY2276" fmla="*/ 3675 h 10000"/>
                <a:gd name="connsiteX2277" fmla="*/ 359 w 10354"/>
                <a:gd name="connsiteY2277" fmla="*/ 3641 h 10000"/>
                <a:gd name="connsiteX2278" fmla="*/ 346 w 10354"/>
                <a:gd name="connsiteY2278" fmla="*/ 3650 h 10000"/>
                <a:gd name="connsiteX2279" fmla="*/ 355 w 10354"/>
                <a:gd name="connsiteY2279" fmla="*/ 3624 h 10000"/>
                <a:gd name="connsiteX2280" fmla="*/ 346 w 10354"/>
                <a:gd name="connsiteY2280" fmla="*/ 3624 h 10000"/>
                <a:gd name="connsiteX2281" fmla="*/ 341 w 10354"/>
                <a:gd name="connsiteY2281" fmla="*/ 3624 h 10000"/>
                <a:gd name="connsiteX2282" fmla="*/ 318 w 10354"/>
                <a:gd name="connsiteY2282" fmla="*/ 3641 h 10000"/>
                <a:gd name="connsiteX2283" fmla="*/ 327 w 10354"/>
                <a:gd name="connsiteY2283" fmla="*/ 3624 h 10000"/>
                <a:gd name="connsiteX2284" fmla="*/ 318 w 10354"/>
                <a:gd name="connsiteY2284" fmla="*/ 3615 h 10000"/>
                <a:gd name="connsiteX2285" fmla="*/ 318 w 10354"/>
                <a:gd name="connsiteY2285" fmla="*/ 3598 h 10000"/>
                <a:gd name="connsiteX2286" fmla="*/ 300 w 10354"/>
                <a:gd name="connsiteY2286" fmla="*/ 3598 h 10000"/>
                <a:gd name="connsiteX2287" fmla="*/ 309 w 10354"/>
                <a:gd name="connsiteY2287" fmla="*/ 3538 h 10000"/>
                <a:gd name="connsiteX2288" fmla="*/ 313 w 10354"/>
                <a:gd name="connsiteY2288" fmla="*/ 3564 h 10000"/>
                <a:gd name="connsiteX2289" fmla="*/ 318 w 10354"/>
                <a:gd name="connsiteY2289" fmla="*/ 3581 h 10000"/>
                <a:gd name="connsiteX2290" fmla="*/ 327 w 10354"/>
                <a:gd name="connsiteY2290" fmla="*/ 3564 h 10000"/>
                <a:gd name="connsiteX2291" fmla="*/ 332 w 10354"/>
                <a:gd name="connsiteY2291" fmla="*/ 3590 h 10000"/>
                <a:gd name="connsiteX2292" fmla="*/ 346 w 10354"/>
                <a:gd name="connsiteY2292" fmla="*/ 3590 h 10000"/>
                <a:gd name="connsiteX2293" fmla="*/ 355 w 10354"/>
                <a:gd name="connsiteY2293" fmla="*/ 3590 h 10000"/>
                <a:gd name="connsiteX2294" fmla="*/ 369 w 10354"/>
                <a:gd name="connsiteY2294" fmla="*/ 3556 h 10000"/>
                <a:gd name="connsiteX2295" fmla="*/ 369 w 10354"/>
                <a:gd name="connsiteY2295" fmla="*/ 3538 h 10000"/>
                <a:gd name="connsiteX2296" fmla="*/ 346 w 10354"/>
                <a:gd name="connsiteY2296" fmla="*/ 3513 h 10000"/>
                <a:gd name="connsiteX2297" fmla="*/ 341 w 10354"/>
                <a:gd name="connsiteY2297" fmla="*/ 3530 h 10000"/>
                <a:gd name="connsiteX2298" fmla="*/ 327 w 10354"/>
                <a:gd name="connsiteY2298" fmla="*/ 3513 h 10000"/>
                <a:gd name="connsiteX2299" fmla="*/ 327 w 10354"/>
                <a:gd name="connsiteY2299" fmla="*/ 3504 h 10000"/>
                <a:gd name="connsiteX2300" fmla="*/ 295 w 10354"/>
                <a:gd name="connsiteY2300" fmla="*/ 3462 h 10000"/>
                <a:gd name="connsiteX2301" fmla="*/ 300 w 10354"/>
                <a:gd name="connsiteY2301" fmla="*/ 3479 h 10000"/>
                <a:gd name="connsiteX2302" fmla="*/ 295 w 10354"/>
                <a:gd name="connsiteY2302" fmla="*/ 3513 h 10000"/>
                <a:gd name="connsiteX2303" fmla="*/ 286 w 10354"/>
                <a:gd name="connsiteY2303" fmla="*/ 3513 h 10000"/>
                <a:gd name="connsiteX2304" fmla="*/ 281 w 10354"/>
                <a:gd name="connsiteY2304" fmla="*/ 3513 h 10000"/>
                <a:gd name="connsiteX2305" fmla="*/ 281 w 10354"/>
                <a:gd name="connsiteY2305" fmla="*/ 3530 h 10000"/>
                <a:gd name="connsiteX2306" fmla="*/ 281 w 10354"/>
                <a:gd name="connsiteY2306" fmla="*/ 3556 h 10000"/>
                <a:gd name="connsiteX2307" fmla="*/ 272 w 10354"/>
                <a:gd name="connsiteY2307" fmla="*/ 3564 h 10000"/>
                <a:gd name="connsiteX2308" fmla="*/ 267 w 10354"/>
                <a:gd name="connsiteY2308" fmla="*/ 3564 h 10000"/>
                <a:gd name="connsiteX2309" fmla="*/ 253 w 10354"/>
                <a:gd name="connsiteY2309" fmla="*/ 3538 h 10000"/>
                <a:gd name="connsiteX2310" fmla="*/ 226 w 10354"/>
                <a:gd name="connsiteY2310" fmla="*/ 3513 h 10000"/>
                <a:gd name="connsiteX2311" fmla="*/ 226 w 10354"/>
                <a:gd name="connsiteY2311" fmla="*/ 3530 h 10000"/>
                <a:gd name="connsiteX2312" fmla="*/ 226 w 10354"/>
                <a:gd name="connsiteY2312" fmla="*/ 3530 h 10000"/>
                <a:gd name="connsiteX2313" fmla="*/ 226 w 10354"/>
                <a:gd name="connsiteY2313" fmla="*/ 3530 h 10000"/>
                <a:gd name="connsiteX2314" fmla="*/ 226 w 10354"/>
                <a:gd name="connsiteY2314" fmla="*/ 3556 h 10000"/>
                <a:gd name="connsiteX2315" fmla="*/ 221 w 10354"/>
                <a:gd name="connsiteY2315" fmla="*/ 3598 h 10000"/>
                <a:gd name="connsiteX2316" fmla="*/ 207 w 10354"/>
                <a:gd name="connsiteY2316" fmla="*/ 3598 h 10000"/>
                <a:gd name="connsiteX2317" fmla="*/ 180 w 10354"/>
                <a:gd name="connsiteY2317" fmla="*/ 3581 h 10000"/>
                <a:gd name="connsiteX2318" fmla="*/ 171 w 10354"/>
                <a:gd name="connsiteY2318" fmla="*/ 3641 h 10000"/>
                <a:gd name="connsiteX2319" fmla="*/ 166 w 10354"/>
                <a:gd name="connsiteY2319" fmla="*/ 3650 h 10000"/>
                <a:gd name="connsiteX2320" fmla="*/ 124 w 10354"/>
                <a:gd name="connsiteY2320" fmla="*/ 3701 h 10000"/>
                <a:gd name="connsiteX2321" fmla="*/ 124 w 10354"/>
                <a:gd name="connsiteY2321" fmla="*/ 3718 h 10000"/>
                <a:gd name="connsiteX2322" fmla="*/ 120 w 10354"/>
                <a:gd name="connsiteY2322" fmla="*/ 3735 h 10000"/>
                <a:gd name="connsiteX2323" fmla="*/ 120 w 10354"/>
                <a:gd name="connsiteY2323" fmla="*/ 3735 h 10000"/>
                <a:gd name="connsiteX2324" fmla="*/ 111 w 10354"/>
                <a:gd name="connsiteY2324" fmla="*/ 3761 h 10000"/>
                <a:gd name="connsiteX2325" fmla="*/ 106 w 10354"/>
                <a:gd name="connsiteY2325" fmla="*/ 3761 h 10000"/>
                <a:gd name="connsiteX2326" fmla="*/ 106 w 10354"/>
                <a:gd name="connsiteY2326" fmla="*/ 3761 h 10000"/>
                <a:gd name="connsiteX2327" fmla="*/ 74 w 10354"/>
                <a:gd name="connsiteY2327" fmla="*/ 3829 h 10000"/>
                <a:gd name="connsiteX2328" fmla="*/ 78 w 10354"/>
                <a:gd name="connsiteY2328" fmla="*/ 3838 h 10000"/>
                <a:gd name="connsiteX2329" fmla="*/ 88 w 10354"/>
                <a:gd name="connsiteY2329" fmla="*/ 3846 h 10000"/>
                <a:gd name="connsiteX2330" fmla="*/ 65 w 10354"/>
                <a:gd name="connsiteY2330" fmla="*/ 3923 h 10000"/>
                <a:gd name="connsiteX2331" fmla="*/ 78 w 10354"/>
                <a:gd name="connsiteY2331" fmla="*/ 4026 h 10000"/>
                <a:gd name="connsiteX2332" fmla="*/ 88 w 10354"/>
                <a:gd name="connsiteY2332" fmla="*/ 4051 h 10000"/>
                <a:gd name="connsiteX2333" fmla="*/ 92 w 10354"/>
                <a:gd name="connsiteY2333" fmla="*/ 4060 h 10000"/>
                <a:gd name="connsiteX2334" fmla="*/ 111 w 10354"/>
                <a:gd name="connsiteY2334" fmla="*/ 4060 h 10000"/>
                <a:gd name="connsiteX2335" fmla="*/ 124 w 10354"/>
                <a:gd name="connsiteY2335" fmla="*/ 4085 h 10000"/>
                <a:gd name="connsiteX2336" fmla="*/ 166 w 10354"/>
                <a:gd name="connsiteY2336" fmla="*/ 4197 h 10000"/>
                <a:gd name="connsiteX2337" fmla="*/ 166 w 10354"/>
                <a:gd name="connsiteY2337" fmla="*/ 4248 h 10000"/>
                <a:gd name="connsiteX2338" fmla="*/ 120 w 10354"/>
                <a:gd name="connsiteY2338" fmla="*/ 4462 h 10000"/>
                <a:gd name="connsiteX2339" fmla="*/ 120 w 10354"/>
                <a:gd name="connsiteY2339" fmla="*/ 4513 h 10000"/>
                <a:gd name="connsiteX2340" fmla="*/ 180 w 10354"/>
                <a:gd name="connsiteY2340" fmla="*/ 4829 h 10000"/>
                <a:gd name="connsiteX2341" fmla="*/ 161 w 10354"/>
                <a:gd name="connsiteY2341" fmla="*/ 4855 h 10000"/>
                <a:gd name="connsiteX2342" fmla="*/ 152 w 10354"/>
                <a:gd name="connsiteY2342" fmla="*/ 4940 h 10000"/>
                <a:gd name="connsiteX2343" fmla="*/ 161 w 10354"/>
                <a:gd name="connsiteY2343" fmla="*/ 4966 h 10000"/>
                <a:gd name="connsiteX2344" fmla="*/ 161 w 10354"/>
                <a:gd name="connsiteY2344" fmla="*/ 5009 h 10000"/>
                <a:gd name="connsiteX2345" fmla="*/ 152 w 10354"/>
                <a:gd name="connsiteY2345" fmla="*/ 5034 h 10000"/>
                <a:gd name="connsiteX2346" fmla="*/ 152 w 10354"/>
                <a:gd name="connsiteY2346" fmla="*/ 5077 h 10000"/>
                <a:gd name="connsiteX2347" fmla="*/ 171 w 10354"/>
                <a:gd name="connsiteY2347" fmla="*/ 5094 h 10000"/>
                <a:gd name="connsiteX2348" fmla="*/ 180 w 10354"/>
                <a:gd name="connsiteY2348" fmla="*/ 5128 h 10000"/>
                <a:gd name="connsiteX2349" fmla="*/ 180 w 10354"/>
                <a:gd name="connsiteY2349" fmla="*/ 5171 h 10000"/>
                <a:gd name="connsiteX2350" fmla="*/ 184 w 10354"/>
                <a:gd name="connsiteY2350" fmla="*/ 5205 h 10000"/>
                <a:gd name="connsiteX2351" fmla="*/ 207 w 10354"/>
                <a:gd name="connsiteY2351" fmla="*/ 5239 h 10000"/>
                <a:gd name="connsiteX2352" fmla="*/ 207 w 10354"/>
                <a:gd name="connsiteY2352" fmla="*/ 5282 h 10000"/>
                <a:gd name="connsiteX2353" fmla="*/ 180 w 10354"/>
                <a:gd name="connsiteY2353" fmla="*/ 5393 h 10000"/>
                <a:gd name="connsiteX2354" fmla="*/ 194 w 10354"/>
                <a:gd name="connsiteY2354" fmla="*/ 5427 h 10000"/>
                <a:gd name="connsiteX2355" fmla="*/ 198 w 10354"/>
                <a:gd name="connsiteY2355" fmla="*/ 5462 h 10000"/>
                <a:gd name="connsiteX2356" fmla="*/ 235 w 10354"/>
                <a:gd name="connsiteY2356" fmla="*/ 5513 h 10000"/>
                <a:gd name="connsiteX2357" fmla="*/ 240 w 10354"/>
                <a:gd name="connsiteY2357" fmla="*/ 5556 h 10000"/>
                <a:gd name="connsiteX2358" fmla="*/ 253 w 10354"/>
                <a:gd name="connsiteY2358" fmla="*/ 5590 h 10000"/>
                <a:gd name="connsiteX2359" fmla="*/ 258 w 10354"/>
                <a:gd name="connsiteY2359" fmla="*/ 5573 h 10000"/>
                <a:gd name="connsiteX2360" fmla="*/ 258 w 10354"/>
                <a:gd name="connsiteY2360" fmla="*/ 5667 h 10000"/>
                <a:gd name="connsiteX2361" fmla="*/ 14 w 10354"/>
                <a:gd name="connsiteY2361" fmla="*/ 6214 h 10000"/>
                <a:gd name="connsiteX2362" fmla="*/ 14 w 10354"/>
                <a:gd name="connsiteY2362" fmla="*/ 6214 h 10000"/>
                <a:gd name="connsiteX2363" fmla="*/ 37 w 10354"/>
                <a:gd name="connsiteY2363" fmla="*/ 6214 h 10000"/>
                <a:gd name="connsiteX2364" fmla="*/ 51 w 10354"/>
                <a:gd name="connsiteY2364" fmla="*/ 6188 h 10000"/>
                <a:gd name="connsiteX2365" fmla="*/ 78 w 10354"/>
                <a:gd name="connsiteY2365" fmla="*/ 6162 h 10000"/>
                <a:gd name="connsiteX2366" fmla="*/ 78 w 10354"/>
                <a:gd name="connsiteY2366" fmla="*/ 6188 h 10000"/>
                <a:gd name="connsiteX2367" fmla="*/ 74 w 10354"/>
                <a:gd name="connsiteY2367" fmla="*/ 6197 h 10000"/>
                <a:gd name="connsiteX2368" fmla="*/ 74 w 10354"/>
                <a:gd name="connsiteY2368" fmla="*/ 6231 h 10000"/>
                <a:gd name="connsiteX2369" fmla="*/ 74 w 10354"/>
                <a:gd name="connsiteY2369" fmla="*/ 6214 h 10000"/>
                <a:gd name="connsiteX2370" fmla="*/ 65 w 10354"/>
                <a:gd name="connsiteY2370" fmla="*/ 6214 h 10000"/>
                <a:gd name="connsiteX2371" fmla="*/ 65 w 10354"/>
                <a:gd name="connsiteY2371" fmla="*/ 6248 h 10000"/>
                <a:gd name="connsiteX2372" fmla="*/ 74 w 10354"/>
                <a:gd name="connsiteY2372" fmla="*/ 6256 h 10000"/>
                <a:gd name="connsiteX2373" fmla="*/ 78 w 10354"/>
                <a:gd name="connsiteY2373" fmla="*/ 6256 h 10000"/>
                <a:gd name="connsiteX2374" fmla="*/ 106 w 10354"/>
                <a:gd name="connsiteY2374" fmla="*/ 6308 h 10000"/>
                <a:gd name="connsiteX2375" fmla="*/ 138 w 10354"/>
                <a:gd name="connsiteY2375" fmla="*/ 6299 h 10000"/>
                <a:gd name="connsiteX2376" fmla="*/ 152 w 10354"/>
                <a:gd name="connsiteY2376" fmla="*/ 6299 h 10000"/>
                <a:gd name="connsiteX2377" fmla="*/ 166 w 10354"/>
                <a:gd name="connsiteY2377" fmla="*/ 6325 h 10000"/>
                <a:gd name="connsiteX2378" fmla="*/ 166 w 10354"/>
                <a:gd name="connsiteY2378" fmla="*/ 6333 h 10000"/>
                <a:gd name="connsiteX2379" fmla="*/ 171 w 10354"/>
                <a:gd name="connsiteY2379" fmla="*/ 6350 h 10000"/>
                <a:gd name="connsiteX2380" fmla="*/ 180 w 10354"/>
                <a:gd name="connsiteY2380" fmla="*/ 6350 h 10000"/>
                <a:gd name="connsiteX2381" fmla="*/ 180 w 10354"/>
                <a:gd name="connsiteY2381" fmla="*/ 6359 h 10000"/>
                <a:gd name="connsiteX2382" fmla="*/ 171 w 10354"/>
                <a:gd name="connsiteY2382" fmla="*/ 6368 h 10000"/>
                <a:gd name="connsiteX2383" fmla="*/ 106 w 10354"/>
                <a:gd name="connsiteY2383" fmla="*/ 6350 h 10000"/>
                <a:gd name="connsiteX2384" fmla="*/ 101 w 10354"/>
                <a:gd name="connsiteY2384" fmla="*/ 6359 h 10000"/>
                <a:gd name="connsiteX2385" fmla="*/ 101 w 10354"/>
                <a:gd name="connsiteY2385" fmla="*/ 6385 h 10000"/>
                <a:gd name="connsiteX2386" fmla="*/ 78 w 10354"/>
                <a:gd name="connsiteY2386" fmla="*/ 6393 h 10000"/>
                <a:gd name="connsiteX2387" fmla="*/ 74 w 10354"/>
                <a:gd name="connsiteY2387" fmla="*/ 6385 h 10000"/>
                <a:gd name="connsiteX2388" fmla="*/ 65 w 10354"/>
                <a:gd name="connsiteY2388" fmla="*/ 6393 h 10000"/>
                <a:gd name="connsiteX2389" fmla="*/ 60 w 10354"/>
                <a:gd name="connsiteY2389" fmla="*/ 6419 h 10000"/>
                <a:gd name="connsiteX2390" fmla="*/ 51 w 10354"/>
                <a:gd name="connsiteY2390" fmla="*/ 6419 h 10000"/>
                <a:gd name="connsiteX2391" fmla="*/ 46 w 10354"/>
                <a:gd name="connsiteY2391" fmla="*/ 6410 h 10000"/>
                <a:gd name="connsiteX2392" fmla="*/ 37 w 10354"/>
                <a:gd name="connsiteY2392" fmla="*/ 6393 h 10000"/>
                <a:gd name="connsiteX2393" fmla="*/ 32 w 10354"/>
                <a:gd name="connsiteY2393" fmla="*/ 6419 h 10000"/>
                <a:gd name="connsiteX2394" fmla="*/ 37 w 10354"/>
                <a:gd name="connsiteY2394" fmla="*/ 6462 h 10000"/>
                <a:gd name="connsiteX2395" fmla="*/ 46 w 10354"/>
                <a:gd name="connsiteY2395" fmla="*/ 6462 h 10000"/>
                <a:gd name="connsiteX2396" fmla="*/ 51 w 10354"/>
                <a:gd name="connsiteY2396" fmla="*/ 6470 h 10000"/>
                <a:gd name="connsiteX2397" fmla="*/ 51 w 10354"/>
                <a:gd name="connsiteY2397" fmla="*/ 6496 h 10000"/>
                <a:gd name="connsiteX2398" fmla="*/ 51 w 10354"/>
                <a:gd name="connsiteY2398" fmla="*/ 6504 h 10000"/>
                <a:gd name="connsiteX2399" fmla="*/ 37 w 10354"/>
                <a:gd name="connsiteY2399" fmla="*/ 6530 h 10000"/>
                <a:gd name="connsiteX2400" fmla="*/ 18 w 10354"/>
                <a:gd name="connsiteY2400" fmla="*/ 6598 h 10000"/>
                <a:gd name="connsiteX2401" fmla="*/ 28 w 10354"/>
                <a:gd name="connsiteY2401" fmla="*/ 6632 h 10000"/>
                <a:gd name="connsiteX2402" fmla="*/ 18 w 10354"/>
                <a:gd name="connsiteY2402" fmla="*/ 6667 h 10000"/>
                <a:gd name="connsiteX2403" fmla="*/ 28 w 10354"/>
                <a:gd name="connsiteY2403" fmla="*/ 6692 h 10000"/>
                <a:gd name="connsiteX2404" fmla="*/ 28 w 10354"/>
                <a:gd name="connsiteY2404" fmla="*/ 6709 h 10000"/>
                <a:gd name="connsiteX2405" fmla="*/ 18 w 10354"/>
                <a:gd name="connsiteY2405" fmla="*/ 6718 h 10000"/>
                <a:gd name="connsiteX2406" fmla="*/ 5 w 10354"/>
                <a:gd name="connsiteY2406" fmla="*/ 6744 h 10000"/>
                <a:gd name="connsiteX2407" fmla="*/ 0 w 10354"/>
                <a:gd name="connsiteY2407" fmla="*/ 6769 h 10000"/>
                <a:gd name="connsiteX2408" fmla="*/ 5 w 10354"/>
                <a:gd name="connsiteY2408" fmla="*/ 6778 h 10000"/>
                <a:gd name="connsiteX2409" fmla="*/ 32 w 10354"/>
                <a:gd name="connsiteY2409" fmla="*/ 6778 h 10000"/>
                <a:gd name="connsiteX2410" fmla="*/ 46 w 10354"/>
                <a:gd name="connsiteY2410" fmla="*/ 6821 h 10000"/>
                <a:gd name="connsiteX2411" fmla="*/ 46 w 10354"/>
                <a:gd name="connsiteY2411" fmla="*/ 6855 h 10000"/>
                <a:gd name="connsiteX2412" fmla="*/ 32 w 10354"/>
                <a:gd name="connsiteY2412" fmla="*/ 6855 h 10000"/>
                <a:gd name="connsiteX2413" fmla="*/ 14 w 10354"/>
                <a:gd name="connsiteY2413" fmla="*/ 6821 h 10000"/>
                <a:gd name="connsiteX2414" fmla="*/ 14 w 10354"/>
                <a:gd name="connsiteY2414" fmla="*/ 6846 h 10000"/>
                <a:gd name="connsiteX2415" fmla="*/ 0 w 10354"/>
                <a:gd name="connsiteY2415" fmla="*/ 6897 h 10000"/>
                <a:gd name="connsiteX2416" fmla="*/ 0 w 10354"/>
                <a:gd name="connsiteY2416" fmla="*/ 6915 h 10000"/>
                <a:gd name="connsiteX2417" fmla="*/ 5 w 10354"/>
                <a:gd name="connsiteY2417" fmla="*/ 6932 h 10000"/>
                <a:gd name="connsiteX2418" fmla="*/ 14 w 10354"/>
                <a:gd name="connsiteY2418" fmla="*/ 6940 h 10000"/>
                <a:gd name="connsiteX2419" fmla="*/ 18 w 10354"/>
                <a:gd name="connsiteY2419" fmla="*/ 6957 h 10000"/>
                <a:gd name="connsiteX2420" fmla="*/ 28 w 10354"/>
                <a:gd name="connsiteY2420" fmla="*/ 6966 h 10000"/>
                <a:gd name="connsiteX2421" fmla="*/ 28 w 10354"/>
                <a:gd name="connsiteY2421" fmla="*/ 6983 h 10000"/>
                <a:gd name="connsiteX2422" fmla="*/ 18 w 10354"/>
                <a:gd name="connsiteY2422" fmla="*/ 7051 h 10000"/>
                <a:gd name="connsiteX2423" fmla="*/ 28 w 10354"/>
                <a:gd name="connsiteY2423" fmla="*/ 7068 h 10000"/>
                <a:gd name="connsiteX2424" fmla="*/ 32 w 10354"/>
                <a:gd name="connsiteY2424" fmla="*/ 7068 h 10000"/>
                <a:gd name="connsiteX2425" fmla="*/ 32 w 10354"/>
                <a:gd name="connsiteY2425" fmla="*/ 7094 h 10000"/>
                <a:gd name="connsiteX2426" fmla="*/ 60 w 10354"/>
                <a:gd name="connsiteY2426" fmla="*/ 7162 h 10000"/>
                <a:gd name="connsiteX2427" fmla="*/ 60 w 10354"/>
                <a:gd name="connsiteY2427" fmla="*/ 7231 h 10000"/>
                <a:gd name="connsiteX2428" fmla="*/ 60 w 10354"/>
                <a:gd name="connsiteY2428" fmla="*/ 7239 h 10000"/>
                <a:gd name="connsiteX2429" fmla="*/ 78 w 10354"/>
                <a:gd name="connsiteY2429" fmla="*/ 7239 h 10000"/>
                <a:gd name="connsiteX2430" fmla="*/ 88 w 10354"/>
                <a:gd name="connsiteY2430" fmla="*/ 7239 h 10000"/>
                <a:gd name="connsiteX2431" fmla="*/ 92 w 10354"/>
                <a:gd name="connsiteY2431" fmla="*/ 7256 h 10000"/>
                <a:gd name="connsiteX2432" fmla="*/ 111 w 10354"/>
                <a:gd name="connsiteY2432" fmla="*/ 7256 h 10000"/>
                <a:gd name="connsiteX2433" fmla="*/ 120 w 10354"/>
                <a:gd name="connsiteY2433" fmla="*/ 7256 h 10000"/>
                <a:gd name="connsiteX2434" fmla="*/ 134 w 10354"/>
                <a:gd name="connsiteY2434" fmla="*/ 7282 h 10000"/>
                <a:gd name="connsiteX2435" fmla="*/ 134 w 10354"/>
                <a:gd name="connsiteY2435" fmla="*/ 7316 h 10000"/>
                <a:gd name="connsiteX2436" fmla="*/ 152 w 10354"/>
                <a:gd name="connsiteY2436" fmla="*/ 7299 h 10000"/>
                <a:gd name="connsiteX2437" fmla="*/ 161 w 10354"/>
                <a:gd name="connsiteY2437" fmla="*/ 7299 h 10000"/>
                <a:gd name="connsiteX2438" fmla="*/ 166 w 10354"/>
                <a:gd name="connsiteY2438" fmla="*/ 7291 h 10000"/>
                <a:gd name="connsiteX2439" fmla="*/ 194 w 10354"/>
                <a:gd name="connsiteY2439" fmla="*/ 7291 h 10000"/>
                <a:gd name="connsiteX2440" fmla="*/ 207 w 10354"/>
                <a:gd name="connsiteY2440" fmla="*/ 7299 h 10000"/>
                <a:gd name="connsiteX2441" fmla="*/ 221 w 10354"/>
                <a:gd name="connsiteY2441" fmla="*/ 7342 h 10000"/>
                <a:gd name="connsiteX2442" fmla="*/ 235 w 10354"/>
                <a:gd name="connsiteY2442" fmla="*/ 7342 h 10000"/>
                <a:gd name="connsiteX2443" fmla="*/ 235 w 10354"/>
                <a:gd name="connsiteY2443" fmla="*/ 7368 h 10000"/>
                <a:gd name="connsiteX2444" fmla="*/ 226 w 10354"/>
                <a:gd name="connsiteY2444" fmla="*/ 7393 h 10000"/>
                <a:gd name="connsiteX2445" fmla="*/ 226 w 10354"/>
                <a:gd name="connsiteY2445" fmla="*/ 7402 h 10000"/>
                <a:gd name="connsiteX2446" fmla="*/ 235 w 10354"/>
                <a:gd name="connsiteY2446" fmla="*/ 7419 h 10000"/>
                <a:gd name="connsiteX2447" fmla="*/ 240 w 10354"/>
                <a:gd name="connsiteY2447" fmla="*/ 7436 h 10000"/>
                <a:gd name="connsiteX2448" fmla="*/ 235 w 10354"/>
                <a:gd name="connsiteY2448" fmla="*/ 7462 h 10000"/>
                <a:gd name="connsiteX2449" fmla="*/ 226 w 10354"/>
                <a:gd name="connsiteY2449" fmla="*/ 7479 h 10000"/>
                <a:gd name="connsiteX2450" fmla="*/ 226 w 10354"/>
                <a:gd name="connsiteY2450" fmla="*/ 7504 h 10000"/>
                <a:gd name="connsiteX2451" fmla="*/ 226 w 10354"/>
                <a:gd name="connsiteY2451" fmla="*/ 7513 h 10000"/>
                <a:gd name="connsiteX2452" fmla="*/ 240 w 10354"/>
                <a:gd name="connsiteY2452" fmla="*/ 7538 h 10000"/>
                <a:gd name="connsiteX2453" fmla="*/ 267 w 10354"/>
                <a:gd name="connsiteY2453" fmla="*/ 7641 h 10000"/>
                <a:gd name="connsiteX2454" fmla="*/ 281 w 10354"/>
                <a:gd name="connsiteY2454" fmla="*/ 7667 h 10000"/>
                <a:gd name="connsiteX2455" fmla="*/ 286 w 10354"/>
                <a:gd name="connsiteY2455" fmla="*/ 7675 h 10000"/>
                <a:gd name="connsiteX2456" fmla="*/ 286 w 10354"/>
                <a:gd name="connsiteY2456" fmla="*/ 7692 h 10000"/>
                <a:gd name="connsiteX2457" fmla="*/ 286 w 10354"/>
                <a:gd name="connsiteY2457" fmla="*/ 7709 h 10000"/>
                <a:gd name="connsiteX2458" fmla="*/ 295 w 10354"/>
                <a:gd name="connsiteY2458" fmla="*/ 7726 h 10000"/>
                <a:gd name="connsiteX2459" fmla="*/ 318 w 10354"/>
                <a:gd name="connsiteY2459" fmla="*/ 7709 h 10000"/>
                <a:gd name="connsiteX2460" fmla="*/ 327 w 10354"/>
                <a:gd name="connsiteY2460" fmla="*/ 7726 h 10000"/>
                <a:gd name="connsiteX2461" fmla="*/ 341 w 10354"/>
                <a:gd name="connsiteY2461" fmla="*/ 7735 h 10000"/>
                <a:gd name="connsiteX2462" fmla="*/ 332 w 10354"/>
                <a:gd name="connsiteY2462" fmla="*/ 7752 h 10000"/>
                <a:gd name="connsiteX2463" fmla="*/ 341 w 10354"/>
                <a:gd name="connsiteY2463" fmla="*/ 7761 h 10000"/>
                <a:gd name="connsiteX2464" fmla="*/ 355 w 10354"/>
                <a:gd name="connsiteY2464" fmla="*/ 7761 h 10000"/>
                <a:gd name="connsiteX2465" fmla="*/ 355 w 10354"/>
                <a:gd name="connsiteY2465" fmla="*/ 7803 h 10000"/>
                <a:gd name="connsiteX2466" fmla="*/ 313 w 10354"/>
                <a:gd name="connsiteY2466" fmla="*/ 7846 h 10000"/>
                <a:gd name="connsiteX2467" fmla="*/ 295 w 10354"/>
                <a:gd name="connsiteY2467" fmla="*/ 7846 h 10000"/>
                <a:gd name="connsiteX2468" fmla="*/ 281 w 10354"/>
                <a:gd name="connsiteY2468" fmla="*/ 7821 h 10000"/>
                <a:gd name="connsiteX2469" fmla="*/ 272 w 10354"/>
                <a:gd name="connsiteY2469" fmla="*/ 7821 h 10000"/>
                <a:gd name="connsiteX2470" fmla="*/ 267 w 10354"/>
                <a:gd name="connsiteY2470" fmla="*/ 7838 h 10000"/>
                <a:gd name="connsiteX2471" fmla="*/ 258 w 10354"/>
                <a:gd name="connsiteY2471" fmla="*/ 7846 h 10000"/>
                <a:gd name="connsiteX2472" fmla="*/ 253 w 10354"/>
                <a:gd name="connsiteY2472" fmla="*/ 7863 h 10000"/>
                <a:gd name="connsiteX2473" fmla="*/ 253 w 10354"/>
                <a:gd name="connsiteY2473" fmla="*/ 7872 h 10000"/>
                <a:gd name="connsiteX2474" fmla="*/ 267 w 10354"/>
                <a:gd name="connsiteY2474" fmla="*/ 7897 h 10000"/>
                <a:gd name="connsiteX2475" fmla="*/ 272 w 10354"/>
                <a:gd name="connsiteY2475" fmla="*/ 7915 h 10000"/>
                <a:gd name="connsiteX2476" fmla="*/ 267 w 10354"/>
                <a:gd name="connsiteY2476" fmla="*/ 7940 h 10000"/>
                <a:gd name="connsiteX2477" fmla="*/ 272 w 10354"/>
                <a:gd name="connsiteY2477" fmla="*/ 7949 h 10000"/>
                <a:gd name="connsiteX2478" fmla="*/ 272 w 10354"/>
                <a:gd name="connsiteY2478" fmla="*/ 7957 h 10000"/>
                <a:gd name="connsiteX2479" fmla="*/ 281 w 10354"/>
                <a:gd name="connsiteY2479" fmla="*/ 7974 h 10000"/>
                <a:gd name="connsiteX2480" fmla="*/ 286 w 10354"/>
                <a:gd name="connsiteY2480" fmla="*/ 7983 h 10000"/>
                <a:gd name="connsiteX2481" fmla="*/ 281 w 10354"/>
                <a:gd name="connsiteY2481" fmla="*/ 8009 h 10000"/>
                <a:gd name="connsiteX2482" fmla="*/ 286 w 10354"/>
                <a:gd name="connsiteY2482" fmla="*/ 8060 h 10000"/>
                <a:gd name="connsiteX2483" fmla="*/ 286 w 10354"/>
                <a:gd name="connsiteY2483" fmla="*/ 8060 h 10000"/>
                <a:gd name="connsiteX2484" fmla="*/ 295 w 10354"/>
                <a:gd name="connsiteY2484" fmla="*/ 8077 h 10000"/>
                <a:gd name="connsiteX2485" fmla="*/ 309 w 10354"/>
                <a:gd name="connsiteY2485" fmla="*/ 8077 h 10000"/>
                <a:gd name="connsiteX2486" fmla="*/ 313 w 10354"/>
                <a:gd name="connsiteY2486" fmla="*/ 8060 h 10000"/>
                <a:gd name="connsiteX2487" fmla="*/ 318 w 10354"/>
                <a:gd name="connsiteY2487" fmla="*/ 8051 h 10000"/>
                <a:gd name="connsiteX2488" fmla="*/ 318 w 10354"/>
                <a:gd name="connsiteY2488" fmla="*/ 8034 h 10000"/>
                <a:gd name="connsiteX2489" fmla="*/ 332 w 10354"/>
                <a:gd name="connsiteY2489" fmla="*/ 8026 h 10000"/>
                <a:gd name="connsiteX2490" fmla="*/ 359 w 10354"/>
                <a:gd name="connsiteY2490" fmla="*/ 8034 h 10000"/>
                <a:gd name="connsiteX2491" fmla="*/ 378 w 10354"/>
                <a:gd name="connsiteY2491" fmla="*/ 8026 h 10000"/>
                <a:gd name="connsiteX2492" fmla="*/ 401 w 10354"/>
                <a:gd name="connsiteY2492" fmla="*/ 8026 h 10000"/>
                <a:gd name="connsiteX2493" fmla="*/ 419 w 10354"/>
                <a:gd name="connsiteY2493" fmla="*/ 8009 h 10000"/>
                <a:gd name="connsiteX2494" fmla="*/ 433 w 10354"/>
                <a:gd name="connsiteY2494" fmla="*/ 8034 h 10000"/>
                <a:gd name="connsiteX2495" fmla="*/ 442 w 10354"/>
                <a:gd name="connsiteY2495" fmla="*/ 8060 h 10000"/>
                <a:gd name="connsiteX2496" fmla="*/ 442 w 10354"/>
                <a:gd name="connsiteY2496" fmla="*/ 8077 h 10000"/>
                <a:gd name="connsiteX2497" fmla="*/ 461 w 10354"/>
                <a:gd name="connsiteY2497" fmla="*/ 8111 h 10000"/>
                <a:gd name="connsiteX2498" fmla="*/ 461 w 10354"/>
                <a:gd name="connsiteY2498" fmla="*/ 8137 h 10000"/>
                <a:gd name="connsiteX2499" fmla="*/ 447 w 10354"/>
                <a:gd name="connsiteY2499" fmla="*/ 8145 h 10000"/>
                <a:gd name="connsiteX2500" fmla="*/ 442 w 10354"/>
                <a:gd name="connsiteY2500" fmla="*/ 8145 h 10000"/>
                <a:gd name="connsiteX2501" fmla="*/ 442 w 10354"/>
                <a:gd name="connsiteY2501" fmla="*/ 8162 h 10000"/>
                <a:gd name="connsiteX2502" fmla="*/ 442 w 10354"/>
                <a:gd name="connsiteY2502" fmla="*/ 8171 h 10000"/>
                <a:gd name="connsiteX2503" fmla="*/ 447 w 10354"/>
                <a:gd name="connsiteY2503" fmla="*/ 8214 h 10000"/>
                <a:gd name="connsiteX2504" fmla="*/ 465 w 10354"/>
                <a:gd name="connsiteY2504" fmla="*/ 8231 h 10000"/>
                <a:gd name="connsiteX2505" fmla="*/ 488 w 10354"/>
                <a:gd name="connsiteY2505" fmla="*/ 8231 h 10000"/>
                <a:gd name="connsiteX2506" fmla="*/ 493 w 10354"/>
                <a:gd name="connsiteY2506" fmla="*/ 8231 h 10000"/>
                <a:gd name="connsiteX2507" fmla="*/ 502 w 10354"/>
                <a:gd name="connsiteY2507" fmla="*/ 8231 h 10000"/>
                <a:gd name="connsiteX2508" fmla="*/ 507 w 10354"/>
                <a:gd name="connsiteY2508" fmla="*/ 8248 h 10000"/>
                <a:gd name="connsiteX2509" fmla="*/ 521 w 10354"/>
                <a:gd name="connsiteY2509" fmla="*/ 8274 h 10000"/>
                <a:gd name="connsiteX2510" fmla="*/ 525 w 10354"/>
                <a:gd name="connsiteY2510" fmla="*/ 8333 h 10000"/>
                <a:gd name="connsiteX2511" fmla="*/ 525 w 10354"/>
                <a:gd name="connsiteY2511" fmla="*/ 8359 h 10000"/>
                <a:gd name="connsiteX2512" fmla="*/ 525 w 10354"/>
                <a:gd name="connsiteY2512" fmla="*/ 8368 h 10000"/>
                <a:gd name="connsiteX2513" fmla="*/ 548 w 10354"/>
                <a:gd name="connsiteY2513" fmla="*/ 8393 h 10000"/>
                <a:gd name="connsiteX2514" fmla="*/ 553 w 10354"/>
                <a:gd name="connsiteY2514" fmla="*/ 8385 h 10000"/>
                <a:gd name="connsiteX2515" fmla="*/ 562 w 10354"/>
                <a:gd name="connsiteY2515" fmla="*/ 8385 h 10000"/>
                <a:gd name="connsiteX2516" fmla="*/ 576 w 10354"/>
                <a:gd name="connsiteY2516" fmla="*/ 8385 h 10000"/>
                <a:gd name="connsiteX2517" fmla="*/ 585 w 10354"/>
                <a:gd name="connsiteY2517" fmla="*/ 8410 h 10000"/>
                <a:gd name="connsiteX2518" fmla="*/ 594 w 10354"/>
                <a:gd name="connsiteY2518" fmla="*/ 8410 h 10000"/>
                <a:gd name="connsiteX2519" fmla="*/ 608 w 10354"/>
                <a:gd name="connsiteY2519" fmla="*/ 8410 h 10000"/>
                <a:gd name="connsiteX2520" fmla="*/ 654 w 10354"/>
                <a:gd name="connsiteY2520" fmla="*/ 8385 h 10000"/>
                <a:gd name="connsiteX2521" fmla="*/ 659 w 10354"/>
                <a:gd name="connsiteY2521" fmla="*/ 8385 h 10000"/>
                <a:gd name="connsiteX2522" fmla="*/ 696 w 10354"/>
                <a:gd name="connsiteY2522" fmla="*/ 8470 h 10000"/>
                <a:gd name="connsiteX2523" fmla="*/ 700 w 10354"/>
                <a:gd name="connsiteY2523" fmla="*/ 8470 h 10000"/>
                <a:gd name="connsiteX2524" fmla="*/ 710 w 10354"/>
                <a:gd name="connsiteY2524" fmla="*/ 8462 h 10000"/>
                <a:gd name="connsiteX2525" fmla="*/ 714 w 10354"/>
                <a:gd name="connsiteY2525" fmla="*/ 8462 h 10000"/>
                <a:gd name="connsiteX2526" fmla="*/ 724 w 10354"/>
                <a:gd name="connsiteY2526" fmla="*/ 8470 h 10000"/>
                <a:gd name="connsiteX2527" fmla="*/ 733 w 10354"/>
                <a:gd name="connsiteY2527" fmla="*/ 8470 h 10000"/>
                <a:gd name="connsiteX2528" fmla="*/ 742 w 10354"/>
                <a:gd name="connsiteY2528" fmla="*/ 8487 h 10000"/>
                <a:gd name="connsiteX2529" fmla="*/ 747 w 10354"/>
                <a:gd name="connsiteY2529" fmla="*/ 8496 h 10000"/>
                <a:gd name="connsiteX2530" fmla="*/ 770 w 10354"/>
                <a:gd name="connsiteY2530" fmla="*/ 8496 h 10000"/>
                <a:gd name="connsiteX2531" fmla="*/ 783 w 10354"/>
                <a:gd name="connsiteY2531" fmla="*/ 8521 h 10000"/>
                <a:gd name="connsiteX2532" fmla="*/ 797 w 10354"/>
                <a:gd name="connsiteY2532" fmla="*/ 8521 h 10000"/>
                <a:gd name="connsiteX2533" fmla="*/ 806 w 10354"/>
                <a:gd name="connsiteY2533" fmla="*/ 8530 h 10000"/>
                <a:gd name="connsiteX2534" fmla="*/ 829 w 10354"/>
                <a:gd name="connsiteY2534" fmla="*/ 8547 h 10000"/>
                <a:gd name="connsiteX2535" fmla="*/ 834 w 10354"/>
                <a:gd name="connsiteY2535" fmla="*/ 8556 h 10000"/>
                <a:gd name="connsiteX2536" fmla="*/ 829 w 10354"/>
                <a:gd name="connsiteY2536" fmla="*/ 8556 h 10000"/>
                <a:gd name="connsiteX2537" fmla="*/ 834 w 10354"/>
                <a:gd name="connsiteY2537" fmla="*/ 8607 h 10000"/>
                <a:gd name="connsiteX2538" fmla="*/ 829 w 10354"/>
                <a:gd name="connsiteY2538" fmla="*/ 8641 h 10000"/>
                <a:gd name="connsiteX2539" fmla="*/ 806 w 10354"/>
                <a:gd name="connsiteY2539" fmla="*/ 8658 h 10000"/>
                <a:gd name="connsiteX2540" fmla="*/ 816 w 10354"/>
                <a:gd name="connsiteY2540" fmla="*/ 8667 h 10000"/>
                <a:gd name="connsiteX2541" fmla="*/ 820 w 10354"/>
                <a:gd name="connsiteY2541" fmla="*/ 8667 h 10000"/>
                <a:gd name="connsiteX2542" fmla="*/ 829 w 10354"/>
                <a:gd name="connsiteY2542" fmla="*/ 8684 h 10000"/>
                <a:gd name="connsiteX2543" fmla="*/ 806 w 10354"/>
                <a:gd name="connsiteY2543" fmla="*/ 8692 h 10000"/>
                <a:gd name="connsiteX2544" fmla="*/ 802 w 10354"/>
                <a:gd name="connsiteY2544" fmla="*/ 8709 h 10000"/>
                <a:gd name="connsiteX2545" fmla="*/ 802 w 10354"/>
                <a:gd name="connsiteY2545" fmla="*/ 8735 h 10000"/>
                <a:gd name="connsiteX2546" fmla="*/ 806 w 10354"/>
                <a:gd name="connsiteY2546" fmla="*/ 8744 h 10000"/>
                <a:gd name="connsiteX2547" fmla="*/ 816 w 10354"/>
                <a:gd name="connsiteY2547" fmla="*/ 8752 h 10000"/>
                <a:gd name="connsiteX2548" fmla="*/ 806 w 10354"/>
                <a:gd name="connsiteY2548" fmla="*/ 8778 h 10000"/>
                <a:gd name="connsiteX2549" fmla="*/ 820 w 10354"/>
                <a:gd name="connsiteY2549" fmla="*/ 8778 h 10000"/>
                <a:gd name="connsiteX2550" fmla="*/ 806 w 10354"/>
                <a:gd name="connsiteY2550" fmla="*/ 8880 h 10000"/>
                <a:gd name="connsiteX2551" fmla="*/ 797 w 10354"/>
                <a:gd name="connsiteY2551" fmla="*/ 8880 h 10000"/>
                <a:gd name="connsiteX2552" fmla="*/ 783 w 10354"/>
                <a:gd name="connsiteY2552" fmla="*/ 8872 h 10000"/>
                <a:gd name="connsiteX2553" fmla="*/ 770 w 10354"/>
                <a:gd name="connsiteY2553" fmla="*/ 8880 h 10000"/>
                <a:gd name="connsiteX2554" fmla="*/ 756 w 10354"/>
                <a:gd name="connsiteY2554" fmla="*/ 8855 h 10000"/>
                <a:gd name="connsiteX2555" fmla="*/ 733 w 10354"/>
                <a:gd name="connsiteY2555" fmla="*/ 8906 h 10000"/>
                <a:gd name="connsiteX2556" fmla="*/ 714 w 10354"/>
                <a:gd name="connsiteY2556" fmla="*/ 8915 h 10000"/>
                <a:gd name="connsiteX2557" fmla="*/ 710 w 10354"/>
                <a:gd name="connsiteY2557" fmla="*/ 8940 h 10000"/>
                <a:gd name="connsiteX2558" fmla="*/ 710 w 10354"/>
                <a:gd name="connsiteY2558" fmla="*/ 9009 h 10000"/>
                <a:gd name="connsiteX2559" fmla="*/ 728 w 10354"/>
                <a:gd name="connsiteY2559" fmla="*/ 8991 h 10000"/>
                <a:gd name="connsiteX2560" fmla="*/ 733 w 10354"/>
                <a:gd name="connsiteY2560" fmla="*/ 8991 h 10000"/>
                <a:gd name="connsiteX2561" fmla="*/ 747 w 10354"/>
                <a:gd name="connsiteY2561" fmla="*/ 8983 h 10000"/>
                <a:gd name="connsiteX2562" fmla="*/ 760 w 10354"/>
                <a:gd name="connsiteY2562" fmla="*/ 8983 h 10000"/>
                <a:gd name="connsiteX2563" fmla="*/ 770 w 10354"/>
                <a:gd name="connsiteY2563" fmla="*/ 8983 h 10000"/>
                <a:gd name="connsiteX2564" fmla="*/ 770 w 10354"/>
                <a:gd name="connsiteY2564" fmla="*/ 8991 h 10000"/>
                <a:gd name="connsiteX2565" fmla="*/ 783 w 10354"/>
                <a:gd name="connsiteY2565" fmla="*/ 8991 h 10000"/>
                <a:gd name="connsiteX2566" fmla="*/ 783 w 10354"/>
                <a:gd name="connsiteY2566" fmla="*/ 9009 h 10000"/>
                <a:gd name="connsiteX2567" fmla="*/ 783 w 10354"/>
                <a:gd name="connsiteY2567" fmla="*/ 9017 h 10000"/>
                <a:gd name="connsiteX2568" fmla="*/ 770 w 10354"/>
                <a:gd name="connsiteY2568" fmla="*/ 9017 h 10000"/>
                <a:gd name="connsiteX2569" fmla="*/ 724 w 10354"/>
                <a:gd name="connsiteY2569" fmla="*/ 9051 h 10000"/>
                <a:gd name="connsiteX2570" fmla="*/ 724 w 10354"/>
                <a:gd name="connsiteY2570" fmla="*/ 9068 h 10000"/>
                <a:gd name="connsiteX2571" fmla="*/ 728 w 10354"/>
                <a:gd name="connsiteY2571" fmla="*/ 9077 h 10000"/>
                <a:gd name="connsiteX2572" fmla="*/ 724 w 10354"/>
                <a:gd name="connsiteY2572" fmla="*/ 9077 h 10000"/>
                <a:gd name="connsiteX2573" fmla="*/ 710 w 10354"/>
                <a:gd name="connsiteY2573" fmla="*/ 9077 h 10000"/>
                <a:gd name="connsiteX2574" fmla="*/ 682 w 10354"/>
                <a:gd name="connsiteY2574" fmla="*/ 9077 h 10000"/>
                <a:gd name="connsiteX2575" fmla="*/ 673 w 10354"/>
                <a:gd name="connsiteY2575" fmla="*/ 9103 h 10000"/>
                <a:gd name="connsiteX2576" fmla="*/ 687 w 10354"/>
                <a:gd name="connsiteY2576" fmla="*/ 9128 h 10000"/>
                <a:gd name="connsiteX2577" fmla="*/ 700 w 10354"/>
                <a:gd name="connsiteY2577" fmla="*/ 9128 h 10000"/>
                <a:gd name="connsiteX2578" fmla="*/ 728 w 10354"/>
                <a:gd name="connsiteY2578" fmla="*/ 9179 h 10000"/>
                <a:gd name="connsiteX2579" fmla="*/ 724 w 10354"/>
                <a:gd name="connsiteY2579" fmla="*/ 9188 h 10000"/>
                <a:gd name="connsiteX2580" fmla="*/ 710 w 10354"/>
                <a:gd name="connsiteY2580" fmla="*/ 9179 h 10000"/>
                <a:gd name="connsiteX2581" fmla="*/ 700 w 10354"/>
                <a:gd name="connsiteY2581" fmla="*/ 9205 h 10000"/>
                <a:gd name="connsiteX2582" fmla="*/ 696 w 10354"/>
                <a:gd name="connsiteY2582" fmla="*/ 9205 h 10000"/>
                <a:gd name="connsiteX2583" fmla="*/ 654 w 10354"/>
                <a:gd name="connsiteY2583" fmla="*/ 9299 h 10000"/>
                <a:gd name="connsiteX2584" fmla="*/ 622 w 10354"/>
                <a:gd name="connsiteY2584" fmla="*/ 9299 h 10000"/>
                <a:gd name="connsiteX2585" fmla="*/ 613 w 10354"/>
                <a:gd name="connsiteY2585" fmla="*/ 9316 h 10000"/>
                <a:gd name="connsiteX2586" fmla="*/ 613 w 10354"/>
                <a:gd name="connsiteY2586" fmla="*/ 9325 h 10000"/>
                <a:gd name="connsiteX2587" fmla="*/ 608 w 10354"/>
                <a:gd name="connsiteY2587" fmla="*/ 9342 h 10000"/>
                <a:gd name="connsiteX2588" fmla="*/ 636 w 10354"/>
                <a:gd name="connsiteY2588" fmla="*/ 9376 h 10000"/>
                <a:gd name="connsiteX2589" fmla="*/ 641 w 10354"/>
                <a:gd name="connsiteY2589" fmla="*/ 9402 h 10000"/>
                <a:gd name="connsiteX2590" fmla="*/ 654 w 10354"/>
                <a:gd name="connsiteY2590" fmla="*/ 9427 h 10000"/>
                <a:gd name="connsiteX2591" fmla="*/ 668 w 10354"/>
                <a:gd name="connsiteY2591" fmla="*/ 9427 h 10000"/>
                <a:gd name="connsiteX2592" fmla="*/ 668 w 10354"/>
                <a:gd name="connsiteY2592" fmla="*/ 9427 h 10000"/>
                <a:gd name="connsiteX2593" fmla="*/ 774 w 10354"/>
                <a:gd name="connsiteY2593" fmla="*/ 9547 h 10000"/>
                <a:gd name="connsiteX2594" fmla="*/ 797 w 10354"/>
                <a:gd name="connsiteY2594" fmla="*/ 9598 h 10000"/>
                <a:gd name="connsiteX2595" fmla="*/ 802 w 10354"/>
                <a:gd name="connsiteY2595" fmla="*/ 9598 h 10000"/>
                <a:gd name="connsiteX2596" fmla="*/ 816 w 10354"/>
                <a:gd name="connsiteY2596" fmla="*/ 9624 h 10000"/>
                <a:gd name="connsiteX2597" fmla="*/ 843 w 10354"/>
                <a:gd name="connsiteY2597" fmla="*/ 9615 h 10000"/>
                <a:gd name="connsiteX2598" fmla="*/ 857 w 10354"/>
                <a:gd name="connsiteY2598" fmla="*/ 9624 h 10000"/>
                <a:gd name="connsiteX2599" fmla="*/ 862 w 10354"/>
                <a:gd name="connsiteY2599" fmla="*/ 9615 h 10000"/>
                <a:gd name="connsiteX2600" fmla="*/ 880 w 10354"/>
                <a:gd name="connsiteY2600" fmla="*/ 9624 h 10000"/>
                <a:gd name="connsiteX2601" fmla="*/ 889 w 10354"/>
                <a:gd name="connsiteY2601" fmla="*/ 9641 h 10000"/>
                <a:gd name="connsiteX2602" fmla="*/ 935 w 10354"/>
                <a:gd name="connsiteY2602" fmla="*/ 9675 h 10000"/>
                <a:gd name="connsiteX2603" fmla="*/ 977 w 10354"/>
                <a:gd name="connsiteY2603" fmla="*/ 9667 h 10000"/>
                <a:gd name="connsiteX2604" fmla="*/ 995 w 10354"/>
                <a:gd name="connsiteY2604" fmla="*/ 9675 h 10000"/>
                <a:gd name="connsiteX2605" fmla="*/ 1014 w 10354"/>
                <a:gd name="connsiteY2605" fmla="*/ 9675 h 10000"/>
                <a:gd name="connsiteX2606" fmla="*/ 1069 w 10354"/>
                <a:gd name="connsiteY2606" fmla="*/ 9752 h 10000"/>
                <a:gd name="connsiteX2607" fmla="*/ 1074 w 10354"/>
                <a:gd name="connsiteY2607" fmla="*/ 9761 h 10000"/>
                <a:gd name="connsiteX2608" fmla="*/ 1083 w 10354"/>
                <a:gd name="connsiteY2608" fmla="*/ 9778 h 10000"/>
                <a:gd name="connsiteX2609" fmla="*/ 1115 w 10354"/>
                <a:gd name="connsiteY2609" fmla="*/ 9752 h 10000"/>
                <a:gd name="connsiteX2610" fmla="*/ 1129 w 10354"/>
                <a:gd name="connsiteY2610" fmla="*/ 9752 h 10000"/>
                <a:gd name="connsiteX2611" fmla="*/ 1138 w 10354"/>
                <a:gd name="connsiteY2611" fmla="*/ 9761 h 10000"/>
                <a:gd name="connsiteX2612" fmla="*/ 1143 w 10354"/>
                <a:gd name="connsiteY2612" fmla="*/ 9752 h 10000"/>
                <a:gd name="connsiteX2613" fmla="*/ 1161 w 10354"/>
                <a:gd name="connsiteY2613" fmla="*/ 9761 h 10000"/>
                <a:gd name="connsiteX2614" fmla="*/ 1171 w 10354"/>
                <a:gd name="connsiteY2614" fmla="*/ 9778 h 10000"/>
                <a:gd name="connsiteX2615" fmla="*/ 1175 w 10354"/>
                <a:gd name="connsiteY2615" fmla="*/ 9778 h 10000"/>
                <a:gd name="connsiteX2616" fmla="*/ 1189 w 10354"/>
                <a:gd name="connsiteY2616" fmla="*/ 9778 h 10000"/>
                <a:gd name="connsiteX2617" fmla="*/ 1198 w 10354"/>
                <a:gd name="connsiteY2617" fmla="*/ 9786 h 10000"/>
                <a:gd name="connsiteX2618" fmla="*/ 1203 w 10354"/>
                <a:gd name="connsiteY2618" fmla="*/ 9803 h 10000"/>
                <a:gd name="connsiteX2619" fmla="*/ 1198 w 10354"/>
                <a:gd name="connsiteY2619" fmla="*/ 9838 h 10000"/>
                <a:gd name="connsiteX2620" fmla="*/ 1212 w 10354"/>
                <a:gd name="connsiteY2620" fmla="*/ 9863 h 10000"/>
                <a:gd name="connsiteX2621" fmla="*/ 1230 w 10354"/>
                <a:gd name="connsiteY2621" fmla="*/ 9872 h 10000"/>
                <a:gd name="connsiteX2622" fmla="*/ 1249 w 10354"/>
                <a:gd name="connsiteY2622" fmla="*/ 9897 h 10000"/>
                <a:gd name="connsiteX2623" fmla="*/ 1263 w 10354"/>
                <a:gd name="connsiteY2623" fmla="*/ 9897 h 10000"/>
                <a:gd name="connsiteX2624" fmla="*/ 1276 w 10354"/>
                <a:gd name="connsiteY2624" fmla="*/ 9923 h 10000"/>
                <a:gd name="connsiteX2625" fmla="*/ 1281 w 10354"/>
                <a:gd name="connsiteY2625" fmla="*/ 9949 h 10000"/>
                <a:gd name="connsiteX2626" fmla="*/ 1290 w 10354"/>
                <a:gd name="connsiteY2626" fmla="*/ 9949 h 10000"/>
                <a:gd name="connsiteX2627" fmla="*/ 1295 w 10354"/>
                <a:gd name="connsiteY2627" fmla="*/ 10000 h 10000"/>
                <a:gd name="connsiteX2628" fmla="*/ 1332 w 10354"/>
                <a:gd name="connsiteY2628" fmla="*/ 10000 h 10000"/>
                <a:gd name="connsiteX2629" fmla="*/ 1336 w 10354"/>
                <a:gd name="connsiteY2629" fmla="*/ 10000 h 10000"/>
                <a:gd name="connsiteX2630" fmla="*/ 1346 w 10354"/>
                <a:gd name="connsiteY2630" fmla="*/ 9983 h 10000"/>
                <a:gd name="connsiteX2631" fmla="*/ 1350 w 10354"/>
                <a:gd name="connsiteY2631" fmla="*/ 9949 h 10000"/>
                <a:gd name="connsiteX2632" fmla="*/ 1369 w 10354"/>
                <a:gd name="connsiteY2632" fmla="*/ 9940 h 10000"/>
                <a:gd name="connsiteX2633" fmla="*/ 1378 w 10354"/>
                <a:gd name="connsiteY2633" fmla="*/ 9897 h 10000"/>
                <a:gd name="connsiteX2634" fmla="*/ 1369 w 10354"/>
                <a:gd name="connsiteY2634" fmla="*/ 9889 h 10000"/>
                <a:gd name="connsiteX2635" fmla="*/ 1318 w 10354"/>
                <a:gd name="connsiteY2635" fmla="*/ 9701 h 10000"/>
                <a:gd name="connsiteX2636" fmla="*/ 1318 w 10354"/>
                <a:gd name="connsiteY2636" fmla="*/ 9650 h 10000"/>
                <a:gd name="connsiteX2637" fmla="*/ 1323 w 10354"/>
                <a:gd name="connsiteY2637" fmla="*/ 9590 h 10000"/>
                <a:gd name="connsiteX2638" fmla="*/ 1323 w 10354"/>
                <a:gd name="connsiteY2638" fmla="*/ 9564 h 10000"/>
                <a:gd name="connsiteX2639" fmla="*/ 1309 w 10354"/>
                <a:gd name="connsiteY2639" fmla="*/ 9598 h 10000"/>
                <a:gd name="connsiteX2640" fmla="*/ 1309 w 10354"/>
                <a:gd name="connsiteY2640" fmla="*/ 9590 h 10000"/>
                <a:gd name="connsiteX2641" fmla="*/ 1304 w 10354"/>
                <a:gd name="connsiteY2641" fmla="*/ 9547 h 10000"/>
                <a:gd name="connsiteX2642" fmla="*/ 1276 w 10354"/>
                <a:gd name="connsiteY2642" fmla="*/ 9479 h 10000"/>
                <a:gd name="connsiteX2643" fmla="*/ 1263 w 10354"/>
                <a:gd name="connsiteY2643" fmla="*/ 9479 h 10000"/>
                <a:gd name="connsiteX2644" fmla="*/ 1263 w 10354"/>
                <a:gd name="connsiteY2644" fmla="*/ 9453 h 10000"/>
                <a:gd name="connsiteX2645" fmla="*/ 1272 w 10354"/>
                <a:gd name="connsiteY2645" fmla="*/ 9410 h 10000"/>
                <a:gd name="connsiteX2646" fmla="*/ 1272 w 10354"/>
                <a:gd name="connsiteY2646" fmla="*/ 9393 h 10000"/>
                <a:gd name="connsiteX2647" fmla="*/ 1281 w 10354"/>
                <a:gd name="connsiteY2647" fmla="*/ 9368 h 10000"/>
                <a:gd name="connsiteX2648" fmla="*/ 1281 w 10354"/>
                <a:gd name="connsiteY2648" fmla="*/ 9368 h 10000"/>
                <a:gd name="connsiteX2649" fmla="*/ 1290 w 10354"/>
                <a:gd name="connsiteY2649" fmla="*/ 9368 h 10000"/>
                <a:gd name="connsiteX2650" fmla="*/ 1290 w 10354"/>
                <a:gd name="connsiteY2650" fmla="*/ 9342 h 10000"/>
                <a:gd name="connsiteX2651" fmla="*/ 1304 w 10354"/>
                <a:gd name="connsiteY2651" fmla="*/ 9325 h 10000"/>
                <a:gd name="connsiteX2652" fmla="*/ 1309 w 10354"/>
                <a:gd name="connsiteY2652" fmla="*/ 9239 h 10000"/>
                <a:gd name="connsiteX2653" fmla="*/ 1318 w 10354"/>
                <a:gd name="connsiteY2653" fmla="*/ 9256 h 10000"/>
                <a:gd name="connsiteX2654" fmla="*/ 1323 w 10354"/>
                <a:gd name="connsiteY2654" fmla="*/ 9179 h 10000"/>
                <a:gd name="connsiteX2655" fmla="*/ 1309 w 10354"/>
                <a:gd name="connsiteY2655" fmla="*/ 9145 h 10000"/>
                <a:gd name="connsiteX2656" fmla="*/ 1336 w 10354"/>
                <a:gd name="connsiteY2656" fmla="*/ 9154 h 10000"/>
                <a:gd name="connsiteX2657" fmla="*/ 1336 w 10354"/>
                <a:gd name="connsiteY2657" fmla="*/ 9162 h 10000"/>
                <a:gd name="connsiteX2658" fmla="*/ 1350 w 10354"/>
                <a:gd name="connsiteY2658" fmla="*/ 9231 h 10000"/>
                <a:gd name="connsiteX2659" fmla="*/ 1355 w 10354"/>
                <a:gd name="connsiteY2659" fmla="*/ 9231 h 10000"/>
                <a:gd name="connsiteX2660" fmla="*/ 1364 w 10354"/>
                <a:gd name="connsiteY2660" fmla="*/ 9214 h 10000"/>
                <a:gd name="connsiteX2661" fmla="*/ 1369 w 10354"/>
                <a:gd name="connsiteY2661" fmla="*/ 9214 h 10000"/>
                <a:gd name="connsiteX2662" fmla="*/ 1382 w 10354"/>
                <a:gd name="connsiteY2662" fmla="*/ 9154 h 10000"/>
                <a:gd name="connsiteX2663" fmla="*/ 1396 w 10354"/>
                <a:gd name="connsiteY2663" fmla="*/ 9154 h 10000"/>
                <a:gd name="connsiteX2664" fmla="*/ 1382 w 10354"/>
                <a:gd name="connsiteY2664" fmla="*/ 9145 h 10000"/>
                <a:gd name="connsiteX2665" fmla="*/ 1382 w 10354"/>
                <a:gd name="connsiteY2665" fmla="*/ 9128 h 10000"/>
                <a:gd name="connsiteX2666" fmla="*/ 1369 w 10354"/>
                <a:gd name="connsiteY2666" fmla="*/ 9128 h 10000"/>
                <a:gd name="connsiteX2667" fmla="*/ 1364 w 10354"/>
                <a:gd name="connsiteY2667" fmla="*/ 9128 h 10000"/>
                <a:gd name="connsiteX2668" fmla="*/ 1355 w 10354"/>
                <a:gd name="connsiteY2668" fmla="*/ 9120 h 10000"/>
                <a:gd name="connsiteX2669" fmla="*/ 1350 w 10354"/>
                <a:gd name="connsiteY2669" fmla="*/ 9103 h 10000"/>
                <a:gd name="connsiteX2670" fmla="*/ 1355 w 10354"/>
                <a:gd name="connsiteY2670" fmla="*/ 9094 h 10000"/>
                <a:gd name="connsiteX2671" fmla="*/ 1355 w 10354"/>
                <a:gd name="connsiteY2671" fmla="*/ 9068 h 10000"/>
                <a:gd name="connsiteX2672" fmla="*/ 1369 w 10354"/>
                <a:gd name="connsiteY2672" fmla="*/ 9068 h 10000"/>
                <a:gd name="connsiteX2673" fmla="*/ 1378 w 10354"/>
                <a:gd name="connsiteY2673" fmla="*/ 9077 h 10000"/>
                <a:gd name="connsiteX2674" fmla="*/ 1396 w 10354"/>
                <a:gd name="connsiteY2674" fmla="*/ 9068 h 10000"/>
                <a:gd name="connsiteX2675" fmla="*/ 1382 w 10354"/>
                <a:gd name="connsiteY2675" fmla="*/ 8940 h 10000"/>
                <a:gd name="connsiteX2676" fmla="*/ 1378 w 10354"/>
                <a:gd name="connsiteY2676" fmla="*/ 8940 h 10000"/>
                <a:gd name="connsiteX2677" fmla="*/ 1364 w 10354"/>
                <a:gd name="connsiteY2677" fmla="*/ 8889 h 10000"/>
                <a:gd name="connsiteX2678" fmla="*/ 1355 w 10354"/>
                <a:gd name="connsiteY2678" fmla="*/ 8880 h 10000"/>
                <a:gd name="connsiteX2679" fmla="*/ 1323 w 10354"/>
                <a:gd name="connsiteY2679" fmla="*/ 8880 h 10000"/>
                <a:gd name="connsiteX2680" fmla="*/ 1309 w 10354"/>
                <a:gd name="connsiteY2680" fmla="*/ 8880 h 10000"/>
                <a:gd name="connsiteX2681" fmla="*/ 1309 w 10354"/>
                <a:gd name="connsiteY2681" fmla="*/ 8889 h 10000"/>
                <a:gd name="connsiteX2682" fmla="*/ 1295 w 10354"/>
                <a:gd name="connsiteY2682" fmla="*/ 8872 h 10000"/>
                <a:gd name="connsiteX2683" fmla="*/ 1290 w 10354"/>
                <a:gd name="connsiteY2683" fmla="*/ 8855 h 10000"/>
                <a:gd name="connsiteX2684" fmla="*/ 1290 w 10354"/>
                <a:gd name="connsiteY2684" fmla="*/ 8829 h 10000"/>
                <a:gd name="connsiteX2685" fmla="*/ 1290 w 10354"/>
                <a:gd name="connsiteY2685" fmla="*/ 8821 h 10000"/>
                <a:gd name="connsiteX2686" fmla="*/ 1290 w 10354"/>
                <a:gd name="connsiteY2686" fmla="*/ 8803 h 10000"/>
                <a:gd name="connsiteX2687" fmla="*/ 1281 w 10354"/>
                <a:gd name="connsiteY2687" fmla="*/ 8795 h 10000"/>
                <a:gd name="connsiteX2688" fmla="*/ 1249 w 10354"/>
                <a:gd name="connsiteY2688" fmla="*/ 8769 h 10000"/>
                <a:gd name="connsiteX2689" fmla="*/ 1263 w 10354"/>
                <a:gd name="connsiteY2689" fmla="*/ 8667 h 10000"/>
                <a:gd name="connsiteX2690" fmla="*/ 1281 w 10354"/>
                <a:gd name="connsiteY2690" fmla="*/ 8658 h 10000"/>
                <a:gd name="connsiteX2691" fmla="*/ 1290 w 10354"/>
                <a:gd name="connsiteY2691" fmla="*/ 8632 h 10000"/>
                <a:gd name="connsiteX2692" fmla="*/ 1281 w 10354"/>
                <a:gd name="connsiteY2692" fmla="*/ 8615 h 10000"/>
                <a:gd name="connsiteX2693" fmla="*/ 1272 w 10354"/>
                <a:gd name="connsiteY2693" fmla="*/ 8598 h 10000"/>
                <a:gd name="connsiteX2694" fmla="*/ 1281 w 10354"/>
                <a:gd name="connsiteY2694" fmla="*/ 8496 h 10000"/>
                <a:gd name="connsiteX2695" fmla="*/ 1295 w 10354"/>
                <a:gd name="connsiteY2695" fmla="*/ 8470 h 10000"/>
                <a:gd name="connsiteX2696" fmla="*/ 1304 w 10354"/>
                <a:gd name="connsiteY2696" fmla="*/ 8462 h 10000"/>
                <a:gd name="connsiteX2697" fmla="*/ 1304 w 10354"/>
                <a:gd name="connsiteY2697" fmla="*/ 8444 h 10000"/>
                <a:gd name="connsiteX2698" fmla="*/ 1304 w 10354"/>
                <a:gd name="connsiteY2698" fmla="*/ 8419 h 10000"/>
                <a:gd name="connsiteX2699" fmla="*/ 1304 w 10354"/>
                <a:gd name="connsiteY2699" fmla="*/ 8410 h 10000"/>
                <a:gd name="connsiteX2700" fmla="*/ 1309 w 10354"/>
                <a:gd name="connsiteY2700" fmla="*/ 8393 h 10000"/>
                <a:gd name="connsiteX2701" fmla="*/ 1318 w 10354"/>
                <a:gd name="connsiteY2701" fmla="*/ 8385 h 10000"/>
                <a:gd name="connsiteX2702" fmla="*/ 1323 w 10354"/>
                <a:gd name="connsiteY2702" fmla="*/ 8385 h 10000"/>
                <a:gd name="connsiteX2703" fmla="*/ 1332 w 10354"/>
                <a:gd name="connsiteY2703" fmla="*/ 8410 h 10000"/>
                <a:gd name="connsiteX2704" fmla="*/ 1346 w 10354"/>
                <a:gd name="connsiteY2704" fmla="*/ 8419 h 10000"/>
                <a:gd name="connsiteX2705" fmla="*/ 1364 w 10354"/>
                <a:gd name="connsiteY2705" fmla="*/ 8504 h 10000"/>
                <a:gd name="connsiteX2706" fmla="*/ 1369 w 10354"/>
                <a:gd name="connsiteY2706" fmla="*/ 8521 h 10000"/>
                <a:gd name="connsiteX2707" fmla="*/ 1406 w 10354"/>
                <a:gd name="connsiteY2707" fmla="*/ 8470 h 10000"/>
                <a:gd name="connsiteX2708" fmla="*/ 1382 w 10354"/>
                <a:gd name="connsiteY2708" fmla="*/ 8359 h 10000"/>
                <a:gd name="connsiteX2709" fmla="*/ 1392 w 10354"/>
                <a:gd name="connsiteY2709" fmla="*/ 8359 h 10000"/>
                <a:gd name="connsiteX2710" fmla="*/ 1438 w 10354"/>
                <a:gd name="connsiteY2710" fmla="*/ 8308 h 10000"/>
                <a:gd name="connsiteX2711" fmla="*/ 1442 w 10354"/>
                <a:gd name="connsiteY2711" fmla="*/ 8299 h 10000"/>
                <a:gd name="connsiteX2712" fmla="*/ 1442 w 10354"/>
                <a:gd name="connsiteY2712" fmla="*/ 8256 h 10000"/>
                <a:gd name="connsiteX2713" fmla="*/ 1452 w 10354"/>
                <a:gd name="connsiteY2713" fmla="*/ 8256 h 10000"/>
                <a:gd name="connsiteX2714" fmla="*/ 1456 w 10354"/>
                <a:gd name="connsiteY2714" fmla="*/ 8256 h 10000"/>
                <a:gd name="connsiteX2715" fmla="*/ 1470 w 10354"/>
                <a:gd name="connsiteY2715" fmla="*/ 8248 h 10000"/>
                <a:gd name="connsiteX2716" fmla="*/ 1479 w 10354"/>
                <a:gd name="connsiteY2716" fmla="*/ 8231 h 10000"/>
                <a:gd name="connsiteX2717" fmla="*/ 1493 w 10354"/>
                <a:gd name="connsiteY2717" fmla="*/ 8222 h 10000"/>
                <a:gd name="connsiteX2718" fmla="*/ 1498 w 10354"/>
                <a:gd name="connsiteY2718" fmla="*/ 8214 h 10000"/>
                <a:gd name="connsiteX2719" fmla="*/ 1502 w 10354"/>
                <a:gd name="connsiteY2719" fmla="*/ 8197 h 10000"/>
                <a:gd name="connsiteX2720" fmla="*/ 1512 w 10354"/>
                <a:gd name="connsiteY2720" fmla="*/ 8188 h 10000"/>
                <a:gd name="connsiteX2721" fmla="*/ 1516 w 10354"/>
                <a:gd name="connsiteY2721" fmla="*/ 8171 h 10000"/>
                <a:gd name="connsiteX2722" fmla="*/ 1525 w 10354"/>
                <a:gd name="connsiteY2722" fmla="*/ 8162 h 10000"/>
                <a:gd name="connsiteX2723" fmla="*/ 1539 w 10354"/>
                <a:gd name="connsiteY2723" fmla="*/ 8145 h 10000"/>
                <a:gd name="connsiteX2724" fmla="*/ 1558 w 10354"/>
                <a:gd name="connsiteY2724" fmla="*/ 8145 h 10000"/>
                <a:gd name="connsiteX2725" fmla="*/ 1562 w 10354"/>
                <a:gd name="connsiteY2725" fmla="*/ 8188 h 10000"/>
                <a:gd name="connsiteX2726" fmla="*/ 1585 w 10354"/>
                <a:gd name="connsiteY2726" fmla="*/ 8171 h 10000"/>
                <a:gd name="connsiteX2727" fmla="*/ 1590 w 10354"/>
                <a:gd name="connsiteY2727" fmla="*/ 8188 h 10000"/>
                <a:gd name="connsiteX2728" fmla="*/ 1599 w 10354"/>
                <a:gd name="connsiteY2728" fmla="*/ 8171 h 10000"/>
                <a:gd name="connsiteX2729" fmla="*/ 1599 w 10354"/>
                <a:gd name="connsiteY2729" fmla="*/ 8162 h 10000"/>
                <a:gd name="connsiteX2730" fmla="*/ 1604 w 10354"/>
                <a:gd name="connsiteY2730" fmla="*/ 8137 h 10000"/>
                <a:gd name="connsiteX2731" fmla="*/ 1618 w 10354"/>
                <a:gd name="connsiteY2731" fmla="*/ 8145 h 10000"/>
                <a:gd name="connsiteX2732" fmla="*/ 1627 w 10354"/>
                <a:gd name="connsiteY2732" fmla="*/ 8137 h 10000"/>
                <a:gd name="connsiteX2733" fmla="*/ 1631 w 10354"/>
                <a:gd name="connsiteY2733" fmla="*/ 8137 h 10000"/>
                <a:gd name="connsiteX2734" fmla="*/ 1636 w 10354"/>
                <a:gd name="connsiteY2734" fmla="*/ 8171 h 10000"/>
                <a:gd name="connsiteX2735" fmla="*/ 1645 w 10354"/>
                <a:gd name="connsiteY2735" fmla="*/ 8188 h 10000"/>
                <a:gd name="connsiteX2736" fmla="*/ 1664 w 10354"/>
                <a:gd name="connsiteY2736" fmla="*/ 8171 h 10000"/>
                <a:gd name="connsiteX2737" fmla="*/ 1673 w 10354"/>
                <a:gd name="connsiteY2737" fmla="*/ 8188 h 10000"/>
                <a:gd name="connsiteX2738" fmla="*/ 1691 w 10354"/>
                <a:gd name="connsiteY2738" fmla="*/ 8171 h 10000"/>
                <a:gd name="connsiteX2739" fmla="*/ 1705 w 10354"/>
                <a:gd name="connsiteY2739" fmla="*/ 8171 h 10000"/>
                <a:gd name="connsiteX2740" fmla="*/ 1719 w 10354"/>
                <a:gd name="connsiteY2740" fmla="*/ 8197 h 10000"/>
                <a:gd name="connsiteX2741" fmla="*/ 1724 w 10354"/>
                <a:gd name="connsiteY2741" fmla="*/ 8231 h 10000"/>
                <a:gd name="connsiteX2742" fmla="*/ 1751 w 10354"/>
                <a:gd name="connsiteY2742" fmla="*/ 8256 h 10000"/>
                <a:gd name="connsiteX2743" fmla="*/ 1751 w 10354"/>
                <a:gd name="connsiteY2743" fmla="*/ 8274 h 10000"/>
                <a:gd name="connsiteX2744" fmla="*/ 1760 w 10354"/>
                <a:gd name="connsiteY2744" fmla="*/ 8282 h 10000"/>
                <a:gd name="connsiteX2745" fmla="*/ 1770 w 10354"/>
                <a:gd name="connsiteY2745" fmla="*/ 8325 h 10000"/>
                <a:gd name="connsiteX2746" fmla="*/ 1770 w 10354"/>
                <a:gd name="connsiteY2746" fmla="*/ 8350 h 10000"/>
                <a:gd name="connsiteX2747" fmla="*/ 1779 w 10354"/>
                <a:gd name="connsiteY2747" fmla="*/ 8368 h 10000"/>
                <a:gd name="connsiteX2748" fmla="*/ 1783 w 10354"/>
                <a:gd name="connsiteY2748" fmla="*/ 8359 h 10000"/>
                <a:gd name="connsiteX2749" fmla="*/ 1783 w 10354"/>
                <a:gd name="connsiteY2749" fmla="*/ 8308 h 10000"/>
                <a:gd name="connsiteX2750" fmla="*/ 1779 w 10354"/>
                <a:gd name="connsiteY2750" fmla="*/ 8299 h 10000"/>
                <a:gd name="connsiteX2751" fmla="*/ 1783 w 10354"/>
                <a:gd name="connsiteY2751" fmla="*/ 8282 h 10000"/>
                <a:gd name="connsiteX2752" fmla="*/ 1797 w 10354"/>
                <a:gd name="connsiteY2752" fmla="*/ 8274 h 10000"/>
                <a:gd name="connsiteX2753" fmla="*/ 1797 w 10354"/>
                <a:gd name="connsiteY2753" fmla="*/ 8299 h 10000"/>
                <a:gd name="connsiteX2754" fmla="*/ 1806 w 10354"/>
                <a:gd name="connsiteY2754" fmla="*/ 8308 h 10000"/>
                <a:gd name="connsiteX2755" fmla="*/ 1811 w 10354"/>
                <a:gd name="connsiteY2755" fmla="*/ 8325 h 10000"/>
                <a:gd name="connsiteX2756" fmla="*/ 1820 w 10354"/>
                <a:gd name="connsiteY2756" fmla="*/ 8333 h 10000"/>
                <a:gd name="connsiteX2757" fmla="*/ 1853 w 10354"/>
                <a:gd name="connsiteY2757" fmla="*/ 8359 h 10000"/>
                <a:gd name="connsiteX2758" fmla="*/ 1866 w 10354"/>
                <a:gd name="connsiteY2758" fmla="*/ 8359 h 10000"/>
                <a:gd name="connsiteX2759" fmla="*/ 1885 w 10354"/>
                <a:gd name="connsiteY2759" fmla="*/ 8325 h 10000"/>
                <a:gd name="connsiteX2760" fmla="*/ 1885 w 10354"/>
                <a:gd name="connsiteY2760" fmla="*/ 8308 h 10000"/>
                <a:gd name="connsiteX2761" fmla="*/ 1894 w 10354"/>
                <a:gd name="connsiteY2761" fmla="*/ 8299 h 10000"/>
                <a:gd name="connsiteX2762" fmla="*/ 1899 w 10354"/>
                <a:gd name="connsiteY2762" fmla="*/ 8282 h 10000"/>
                <a:gd name="connsiteX2763" fmla="*/ 1912 w 10354"/>
                <a:gd name="connsiteY2763" fmla="*/ 8282 h 10000"/>
                <a:gd name="connsiteX2764" fmla="*/ 1917 w 10354"/>
                <a:gd name="connsiteY2764" fmla="*/ 8299 h 10000"/>
                <a:gd name="connsiteX2765" fmla="*/ 1917 w 10354"/>
                <a:gd name="connsiteY2765" fmla="*/ 8274 h 10000"/>
                <a:gd name="connsiteX2766" fmla="*/ 1940 w 10354"/>
                <a:gd name="connsiteY2766" fmla="*/ 8282 h 10000"/>
                <a:gd name="connsiteX2767" fmla="*/ 1945 w 10354"/>
                <a:gd name="connsiteY2767" fmla="*/ 8274 h 10000"/>
                <a:gd name="connsiteX2768" fmla="*/ 1972 w 10354"/>
                <a:gd name="connsiteY2768" fmla="*/ 8308 h 10000"/>
                <a:gd name="connsiteX2769" fmla="*/ 1986 w 10354"/>
                <a:gd name="connsiteY2769" fmla="*/ 8282 h 10000"/>
                <a:gd name="connsiteX2770" fmla="*/ 1991 w 10354"/>
                <a:gd name="connsiteY2770" fmla="*/ 8274 h 10000"/>
                <a:gd name="connsiteX2771" fmla="*/ 2014 w 10354"/>
                <a:gd name="connsiteY2771" fmla="*/ 8274 h 10000"/>
                <a:gd name="connsiteX2772" fmla="*/ 2018 w 10354"/>
                <a:gd name="connsiteY2772" fmla="*/ 8256 h 10000"/>
                <a:gd name="connsiteX2773" fmla="*/ 2041 w 10354"/>
                <a:gd name="connsiteY2773" fmla="*/ 8274 h 10000"/>
                <a:gd name="connsiteX2774" fmla="*/ 2046 w 10354"/>
                <a:gd name="connsiteY2774" fmla="*/ 8282 h 10000"/>
                <a:gd name="connsiteX2775" fmla="*/ 2046 w 10354"/>
                <a:gd name="connsiteY2775" fmla="*/ 8325 h 10000"/>
                <a:gd name="connsiteX2776" fmla="*/ 2060 w 10354"/>
                <a:gd name="connsiteY2776" fmla="*/ 8350 h 10000"/>
                <a:gd name="connsiteX2777" fmla="*/ 2078 w 10354"/>
                <a:gd name="connsiteY2777" fmla="*/ 8350 h 10000"/>
                <a:gd name="connsiteX2778" fmla="*/ 2092 w 10354"/>
                <a:gd name="connsiteY2778" fmla="*/ 8350 h 10000"/>
                <a:gd name="connsiteX2779" fmla="*/ 2092 w 10354"/>
                <a:gd name="connsiteY2779" fmla="*/ 8350 h 10000"/>
                <a:gd name="connsiteX2780" fmla="*/ 2101 w 10354"/>
                <a:gd name="connsiteY2780" fmla="*/ 8368 h 10000"/>
                <a:gd name="connsiteX2781" fmla="*/ 2120 w 10354"/>
                <a:gd name="connsiteY2781" fmla="*/ 8368 h 10000"/>
                <a:gd name="connsiteX2782" fmla="*/ 2124 w 10354"/>
                <a:gd name="connsiteY2782" fmla="*/ 8359 h 10000"/>
                <a:gd name="connsiteX2783" fmla="*/ 2138 w 10354"/>
                <a:gd name="connsiteY2783" fmla="*/ 8325 h 10000"/>
                <a:gd name="connsiteX2784" fmla="*/ 2147 w 10354"/>
                <a:gd name="connsiteY2784" fmla="*/ 8325 h 10000"/>
                <a:gd name="connsiteX2785" fmla="*/ 2161 w 10354"/>
                <a:gd name="connsiteY2785" fmla="*/ 8350 h 10000"/>
                <a:gd name="connsiteX2786" fmla="*/ 2198 w 10354"/>
                <a:gd name="connsiteY2786" fmla="*/ 8350 h 10000"/>
                <a:gd name="connsiteX2787" fmla="*/ 2207 w 10354"/>
                <a:gd name="connsiteY2787" fmla="*/ 8333 h 10000"/>
                <a:gd name="connsiteX2788" fmla="*/ 2226 w 10354"/>
                <a:gd name="connsiteY2788" fmla="*/ 8325 h 10000"/>
                <a:gd name="connsiteX2789" fmla="*/ 2249 w 10354"/>
                <a:gd name="connsiteY2789" fmla="*/ 8222 h 10000"/>
                <a:gd name="connsiteX2790" fmla="*/ 2235 w 10354"/>
                <a:gd name="connsiteY2790" fmla="*/ 8197 h 10000"/>
                <a:gd name="connsiteX2791" fmla="*/ 2198 w 10354"/>
                <a:gd name="connsiteY2791" fmla="*/ 8197 h 10000"/>
                <a:gd name="connsiteX2792" fmla="*/ 2189 w 10354"/>
                <a:gd name="connsiteY2792" fmla="*/ 8171 h 10000"/>
                <a:gd name="connsiteX2793" fmla="*/ 2161 w 10354"/>
                <a:gd name="connsiteY2793" fmla="*/ 8145 h 10000"/>
                <a:gd name="connsiteX2794" fmla="*/ 2161 w 10354"/>
                <a:gd name="connsiteY2794" fmla="*/ 8137 h 10000"/>
                <a:gd name="connsiteX2795" fmla="*/ 2152 w 10354"/>
                <a:gd name="connsiteY2795" fmla="*/ 8120 h 10000"/>
                <a:gd name="connsiteX2796" fmla="*/ 2138 w 10354"/>
                <a:gd name="connsiteY2796" fmla="*/ 8111 h 10000"/>
                <a:gd name="connsiteX2797" fmla="*/ 2138 w 10354"/>
                <a:gd name="connsiteY2797" fmla="*/ 8094 h 10000"/>
                <a:gd name="connsiteX2798" fmla="*/ 2147 w 10354"/>
                <a:gd name="connsiteY2798" fmla="*/ 8085 h 10000"/>
                <a:gd name="connsiteX2799" fmla="*/ 2161 w 10354"/>
                <a:gd name="connsiteY2799" fmla="*/ 8060 h 10000"/>
                <a:gd name="connsiteX2800" fmla="*/ 2198 w 10354"/>
                <a:gd name="connsiteY2800" fmla="*/ 8034 h 10000"/>
                <a:gd name="connsiteX2801" fmla="*/ 2198 w 10354"/>
                <a:gd name="connsiteY2801" fmla="*/ 8026 h 10000"/>
                <a:gd name="connsiteX2802" fmla="*/ 2198 w 10354"/>
                <a:gd name="connsiteY2802" fmla="*/ 8000 h 10000"/>
                <a:gd name="connsiteX2803" fmla="*/ 2180 w 10354"/>
                <a:gd name="connsiteY2803" fmla="*/ 7940 h 10000"/>
                <a:gd name="connsiteX2804" fmla="*/ 2189 w 10354"/>
                <a:gd name="connsiteY2804" fmla="*/ 7940 h 10000"/>
                <a:gd name="connsiteX2805" fmla="*/ 2198 w 10354"/>
                <a:gd name="connsiteY2805" fmla="*/ 7923 h 10000"/>
                <a:gd name="connsiteX2806" fmla="*/ 2198 w 10354"/>
                <a:gd name="connsiteY2806" fmla="*/ 7897 h 10000"/>
                <a:gd name="connsiteX2807" fmla="*/ 2207 w 10354"/>
                <a:gd name="connsiteY2807" fmla="*/ 7889 h 10000"/>
                <a:gd name="connsiteX2808" fmla="*/ 2221 w 10354"/>
                <a:gd name="connsiteY2808" fmla="*/ 7889 h 10000"/>
                <a:gd name="connsiteX2809" fmla="*/ 2226 w 10354"/>
                <a:gd name="connsiteY2809" fmla="*/ 7897 h 10000"/>
                <a:gd name="connsiteX2810" fmla="*/ 2235 w 10354"/>
                <a:gd name="connsiteY2810" fmla="*/ 7889 h 10000"/>
                <a:gd name="connsiteX2811" fmla="*/ 2249 w 10354"/>
                <a:gd name="connsiteY2811" fmla="*/ 7897 h 10000"/>
                <a:gd name="connsiteX2812" fmla="*/ 2267 w 10354"/>
                <a:gd name="connsiteY2812" fmla="*/ 7897 h 10000"/>
                <a:gd name="connsiteX2813" fmla="*/ 2272 w 10354"/>
                <a:gd name="connsiteY2813" fmla="*/ 7889 h 10000"/>
                <a:gd name="connsiteX2814" fmla="*/ 2281 w 10354"/>
                <a:gd name="connsiteY2814" fmla="*/ 7872 h 10000"/>
                <a:gd name="connsiteX2815" fmla="*/ 2272 w 10354"/>
                <a:gd name="connsiteY2815" fmla="*/ 7846 h 10000"/>
                <a:gd name="connsiteX2816" fmla="*/ 2253 w 10354"/>
                <a:gd name="connsiteY2816" fmla="*/ 7838 h 10000"/>
                <a:gd name="connsiteX2817" fmla="*/ 2221 w 10354"/>
                <a:gd name="connsiteY2817" fmla="*/ 7821 h 10000"/>
                <a:gd name="connsiteX2818" fmla="*/ 2212 w 10354"/>
                <a:gd name="connsiteY2818" fmla="*/ 7812 h 10000"/>
                <a:gd name="connsiteX2819" fmla="*/ 2212 w 10354"/>
                <a:gd name="connsiteY2819" fmla="*/ 7803 h 10000"/>
                <a:gd name="connsiteX2820" fmla="*/ 2221 w 10354"/>
                <a:gd name="connsiteY2820" fmla="*/ 7803 h 10000"/>
                <a:gd name="connsiteX2821" fmla="*/ 2235 w 10354"/>
                <a:gd name="connsiteY2821" fmla="*/ 7786 h 10000"/>
                <a:gd name="connsiteX2822" fmla="*/ 2240 w 10354"/>
                <a:gd name="connsiteY2822" fmla="*/ 7778 h 10000"/>
                <a:gd name="connsiteX2823" fmla="*/ 2226 w 10354"/>
                <a:gd name="connsiteY2823" fmla="*/ 7761 h 10000"/>
                <a:gd name="connsiteX2824" fmla="*/ 2221 w 10354"/>
                <a:gd name="connsiteY2824" fmla="*/ 7778 h 10000"/>
                <a:gd name="connsiteX2825" fmla="*/ 2198 w 10354"/>
                <a:gd name="connsiteY2825" fmla="*/ 7778 h 10000"/>
                <a:gd name="connsiteX2826" fmla="*/ 2198 w 10354"/>
                <a:gd name="connsiteY2826" fmla="*/ 7752 h 10000"/>
                <a:gd name="connsiteX2827" fmla="*/ 2207 w 10354"/>
                <a:gd name="connsiteY2827" fmla="*/ 7735 h 10000"/>
                <a:gd name="connsiteX2828" fmla="*/ 2212 w 10354"/>
                <a:gd name="connsiteY2828" fmla="*/ 7726 h 10000"/>
                <a:gd name="connsiteX2829" fmla="*/ 2198 w 10354"/>
                <a:gd name="connsiteY2829" fmla="*/ 7692 h 10000"/>
                <a:gd name="connsiteX2830" fmla="*/ 2221 w 10354"/>
                <a:gd name="connsiteY2830" fmla="*/ 7692 h 10000"/>
                <a:gd name="connsiteX2831" fmla="*/ 2221 w 10354"/>
                <a:gd name="connsiteY2831" fmla="*/ 7675 h 10000"/>
                <a:gd name="connsiteX2832" fmla="*/ 2235 w 10354"/>
                <a:gd name="connsiteY2832" fmla="*/ 7675 h 10000"/>
                <a:gd name="connsiteX2833" fmla="*/ 2240 w 10354"/>
                <a:gd name="connsiteY2833" fmla="*/ 7692 h 10000"/>
                <a:gd name="connsiteX2834" fmla="*/ 2249 w 10354"/>
                <a:gd name="connsiteY2834" fmla="*/ 7692 h 10000"/>
                <a:gd name="connsiteX2835" fmla="*/ 2258 w 10354"/>
                <a:gd name="connsiteY2835" fmla="*/ 7692 h 10000"/>
                <a:gd name="connsiteX2836" fmla="*/ 2267 w 10354"/>
                <a:gd name="connsiteY2836" fmla="*/ 7692 h 10000"/>
                <a:gd name="connsiteX2837" fmla="*/ 2295 w 10354"/>
                <a:gd name="connsiteY2837" fmla="*/ 7692 h 10000"/>
                <a:gd name="connsiteX2838" fmla="*/ 2300 w 10354"/>
                <a:gd name="connsiteY2838" fmla="*/ 7701 h 10000"/>
                <a:gd name="connsiteX2839" fmla="*/ 2313 w 10354"/>
                <a:gd name="connsiteY2839" fmla="*/ 7675 h 10000"/>
                <a:gd name="connsiteX2840" fmla="*/ 2323 w 10354"/>
                <a:gd name="connsiteY2840" fmla="*/ 7675 h 10000"/>
                <a:gd name="connsiteX2841" fmla="*/ 2341 w 10354"/>
                <a:gd name="connsiteY2841" fmla="*/ 7675 h 10000"/>
                <a:gd name="connsiteX2842" fmla="*/ 2346 w 10354"/>
                <a:gd name="connsiteY2842" fmla="*/ 7667 h 10000"/>
                <a:gd name="connsiteX2843" fmla="*/ 2359 w 10354"/>
                <a:gd name="connsiteY2843" fmla="*/ 7650 h 10000"/>
                <a:gd name="connsiteX2844" fmla="*/ 2373 w 10354"/>
                <a:gd name="connsiteY2844" fmla="*/ 7624 h 10000"/>
                <a:gd name="connsiteX2845" fmla="*/ 2382 w 10354"/>
                <a:gd name="connsiteY2845" fmla="*/ 7641 h 10000"/>
                <a:gd name="connsiteX2846" fmla="*/ 2396 w 10354"/>
                <a:gd name="connsiteY2846" fmla="*/ 7650 h 10000"/>
                <a:gd name="connsiteX2847" fmla="*/ 2401 w 10354"/>
                <a:gd name="connsiteY2847" fmla="*/ 7650 h 10000"/>
                <a:gd name="connsiteX2848" fmla="*/ 2401 w 10354"/>
                <a:gd name="connsiteY2848" fmla="*/ 7624 h 10000"/>
                <a:gd name="connsiteX2849" fmla="*/ 2419 w 10354"/>
                <a:gd name="connsiteY2849" fmla="*/ 7624 h 10000"/>
                <a:gd name="connsiteX2850" fmla="*/ 2433 w 10354"/>
                <a:gd name="connsiteY2850" fmla="*/ 7615 h 10000"/>
                <a:gd name="connsiteX2851" fmla="*/ 2442 w 10354"/>
                <a:gd name="connsiteY2851" fmla="*/ 7615 h 10000"/>
                <a:gd name="connsiteX2852" fmla="*/ 2447 w 10354"/>
                <a:gd name="connsiteY2852" fmla="*/ 7598 h 10000"/>
                <a:gd name="connsiteX2853" fmla="*/ 2461 w 10354"/>
                <a:gd name="connsiteY2853" fmla="*/ 7598 h 10000"/>
                <a:gd name="connsiteX2854" fmla="*/ 2465 w 10354"/>
                <a:gd name="connsiteY2854" fmla="*/ 7615 h 10000"/>
                <a:gd name="connsiteX2855" fmla="*/ 2479 w 10354"/>
                <a:gd name="connsiteY2855" fmla="*/ 7564 h 10000"/>
                <a:gd name="connsiteX2856" fmla="*/ 2488 w 10354"/>
                <a:gd name="connsiteY2856" fmla="*/ 7556 h 10000"/>
                <a:gd name="connsiteX2857" fmla="*/ 2493 w 10354"/>
                <a:gd name="connsiteY2857" fmla="*/ 7556 h 10000"/>
                <a:gd name="connsiteX2858" fmla="*/ 2507 w 10354"/>
                <a:gd name="connsiteY2858" fmla="*/ 7556 h 10000"/>
                <a:gd name="connsiteX2859" fmla="*/ 2530 w 10354"/>
                <a:gd name="connsiteY2859" fmla="*/ 7538 h 10000"/>
                <a:gd name="connsiteX2860" fmla="*/ 2530 w 10354"/>
                <a:gd name="connsiteY2860" fmla="*/ 7556 h 10000"/>
                <a:gd name="connsiteX2861" fmla="*/ 2641 w 10354"/>
                <a:gd name="connsiteY2861" fmla="*/ 7504 h 10000"/>
                <a:gd name="connsiteX2862" fmla="*/ 2654 w 10354"/>
                <a:gd name="connsiteY2862" fmla="*/ 7487 h 10000"/>
                <a:gd name="connsiteX2863" fmla="*/ 2664 w 10354"/>
                <a:gd name="connsiteY2863" fmla="*/ 7487 h 10000"/>
                <a:gd name="connsiteX2864" fmla="*/ 2668 w 10354"/>
                <a:gd name="connsiteY2864" fmla="*/ 7479 h 10000"/>
                <a:gd name="connsiteX2865" fmla="*/ 2673 w 10354"/>
                <a:gd name="connsiteY2865" fmla="*/ 7462 h 10000"/>
                <a:gd name="connsiteX2866" fmla="*/ 2673 w 10354"/>
                <a:gd name="connsiteY2866" fmla="*/ 7427 h 10000"/>
                <a:gd name="connsiteX2867" fmla="*/ 2687 w 10354"/>
                <a:gd name="connsiteY2867" fmla="*/ 7436 h 10000"/>
                <a:gd name="connsiteX2868" fmla="*/ 2696 w 10354"/>
                <a:gd name="connsiteY2868" fmla="*/ 7427 h 10000"/>
                <a:gd name="connsiteX2869" fmla="*/ 2700 w 10354"/>
                <a:gd name="connsiteY2869" fmla="*/ 7419 h 10000"/>
                <a:gd name="connsiteX2870" fmla="*/ 2710 w 10354"/>
                <a:gd name="connsiteY2870" fmla="*/ 7402 h 10000"/>
                <a:gd name="connsiteX2871" fmla="*/ 2724 w 10354"/>
                <a:gd name="connsiteY2871" fmla="*/ 7402 h 10000"/>
                <a:gd name="connsiteX2872" fmla="*/ 2724 w 10354"/>
                <a:gd name="connsiteY2872" fmla="*/ 7393 h 10000"/>
                <a:gd name="connsiteX2873" fmla="*/ 2737 w 10354"/>
                <a:gd name="connsiteY2873" fmla="*/ 7393 h 10000"/>
                <a:gd name="connsiteX2874" fmla="*/ 2742 w 10354"/>
                <a:gd name="connsiteY2874" fmla="*/ 7402 h 10000"/>
                <a:gd name="connsiteX2875" fmla="*/ 2747 w 10354"/>
                <a:gd name="connsiteY2875" fmla="*/ 7402 h 10000"/>
                <a:gd name="connsiteX2876" fmla="*/ 2760 w 10354"/>
                <a:gd name="connsiteY2876" fmla="*/ 7402 h 10000"/>
                <a:gd name="connsiteX2877" fmla="*/ 2770 w 10354"/>
                <a:gd name="connsiteY2877" fmla="*/ 7402 h 10000"/>
                <a:gd name="connsiteX2878" fmla="*/ 2774 w 10354"/>
                <a:gd name="connsiteY2878" fmla="*/ 7402 h 10000"/>
                <a:gd name="connsiteX2879" fmla="*/ 2783 w 10354"/>
                <a:gd name="connsiteY2879" fmla="*/ 7419 h 10000"/>
                <a:gd name="connsiteX2880" fmla="*/ 2802 w 10354"/>
                <a:gd name="connsiteY2880" fmla="*/ 7436 h 10000"/>
                <a:gd name="connsiteX2881" fmla="*/ 2816 w 10354"/>
                <a:gd name="connsiteY2881" fmla="*/ 7419 h 10000"/>
                <a:gd name="connsiteX2882" fmla="*/ 2834 w 10354"/>
                <a:gd name="connsiteY2882" fmla="*/ 7419 h 10000"/>
                <a:gd name="connsiteX2883" fmla="*/ 2843 w 10354"/>
                <a:gd name="connsiteY2883" fmla="*/ 7419 h 10000"/>
                <a:gd name="connsiteX2884" fmla="*/ 2848 w 10354"/>
                <a:gd name="connsiteY2884" fmla="*/ 7436 h 10000"/>
                <a:gd name="connsiteX2885" fmla="*/ 2857 w 10354"/>
                <a:gd name="connsiteY2885" fmla="*/ 7453 h 10000"/>
                <a:gd name="connsiteX2886" fmla="*/ 2857 w 10354"/>
                <a:gd name="connsiteY2886" fmla="*/ 7504 h 10000"/>
                <a:gd name="connsiteX2887" fmla="*/ 2862 w 10354"/>
                <a:gd name="connsiteY2887" fmla="*/ 7530 h 10000"/>
                <a:gd name="connsiteX2888" fmla="*/ 2876 w 10354"/>
                <a:gd name="connsiteY2888" fmla="*/ 7538 h 10000"/>
                <a:gd name="connsiteX2889" fmla="*/ 2871 w 10354"/>
                <a:gd name="connsiteY2889" fmla="*/ 7564 h 10000"/>
                <a:gd name="connsiteX2890" fmla="*/ 2871 w 10354"/>
                <a:gd name="connsiteY2890" fmla="*/ 7598 h 10000"/>
                <a:gd name="connsiteX2891" fmla="*/ 2857 w 10354"/>
                <a:gd name="connsiteY2891" fmla="*/ 7624 h 10000"/>
                <a:gd name="connsiteX2892" fmla="*/ 2862 w 10354"/>
                <a:gd name="connsiteY2892" fmla="*/ 7641 h 10000"/>
                <a:gd name="connsiteX2893" fmla="*/ 2871 w 10354"/>
                <a:gd name="connsiteY2893" fmla="*/ 7667 h 10000"/>
                <a:gd name="connsiteX2894" fmla="*/ 2880 w 10354"/>
                <a:gd name="connsiteY2894" fmla="*/ 7650 h 10000"/>
                <a:gd name="connsiteX2895" fmla="*/ 2894 w 10354"/>
                <a:gd name="connsiteY2895" fmla="*/ 7667 h 10000"/>
                <a:gd name="connsiteX2896" fmla="*/ 2903 w 10354"/>
                <a:gd name="connsiteY2896" fmla="*/ 7667 h 10000"/>
                <a:gd name="connsiteX2897" fmla="*/ 2908 w 10354"/>
                <a:gd name="connsiteY2897" fmla="*/ 7641 h 10000"/>
                <a:gd name="connsiteX2898" fmla="*/ 2917 w 10354"/>
                <a:gd name="connsiteY2898" fmla="*/ 7641 h 10000"/>
                <a:gd name="connsiteX2899" fmla="*/ 2922 w 10354"/>
                <a:gd name="connsiteY2899" fmla="*/ 7641 h 10000"/>
                <a:gd name="connsiteX2900" fmla="*/ 2931 w 10354"/>
                <a:gd name="connsiteY2900" fmla="*/ 7615 h 10000"/>
                <a:gd name="connsiteX2901" fmla="*/ 2935 w 10354"/>
                <a:gd name="connsiteY2901" fmla="*/ 7615 h 10000"/>
                <a:gd name="connsiteX2902" fmla="*/ 2945 w 10354"/>
                <a:gd name="connsiteY2902" fmla="*/ 7650 h 10000"/>
                <a:gd name="connsiteX2903" fmla="*/ 2949 w 10354"/>
                <a:gd name="connsiteY2903" fmla="*/ 7667 h 10000"/>
                <a:gd name="connsiteX2904" fmla="*/ 2949 w 10354"/>
                <a:gd name="connsiteY2904" fmla="*/ 7675 h 10000"/>
                <a:gd name="connsiteX2905" fmla="*/ 2945 w 10354"/>
                <a:gd name="connsiteY2905" fmla="*/ 7692 h 10000"/>
                <a:gd name="connsiteX2906" fmla="*/ 2963 w 10354"/>
                <a:gd name="connsiteY2906" fmla="*/ 7701 h 10000"/>
                <a:gd name="connsiteX2907" fmla="*/ 2963 w 10354"/>
                <a:gd name="connsiteY2907" fmla="*/ 7675 h 10000"/>
                <a:gd name="connsiteX2908" fmla="*/ 2954 w 10354"/>
                <a:gd name="connsiteY2908" fmla="*/ 7667 h 10000"/>
                <a:gd name="connsiteX2909" fmla="*/ 2963 w 10354"/>
                <a:gd name="connsiteY2909" fmla="*/ 7667 h 10000"/>
                <a:gd name="connsiteX2910" fmla="*/ 2982 w 10354"/>
                <a:gd name="connsiteY2910" fmla="*/ 7667 h 10000"/>
                <a:gd name="connsiteX2911" fmla="*/ 2991 w 10354"/>
                <a:gd name="connsiteY2911" fmla="*/ 7675 h 10000"/>
                <a:gd name="connsiteX2912" fmla="*/ 2995 w 10354"/>
                <a:gd name="connsiteY2912" fmla="*/ 7692 h 10000"/>
                <a:gd name="connsiteX2913" fmla="*/ 3009 w 10354"/>
                <a:gd name="connsiteY2913" fmla="*/ 7701 h 10000"/>
                <a:gd name="connsiteX2914" fmla="*/ 3018 w 10354"/>
                <a:gd name="connsiteY2914" fmla="*/ 7701 h 10000"/>
                <a:gd name="connsiteX2915" fmla="*/ 3023 w 10354"/>
                <a:gd name="connsiteY2915" fmla="*/ 7692 h 10000"/>
                <a:gd name="connsiteX2916" fmla="*/ 3028 w 10354"/>
                <a:gd name="connsiteY2916" fmla="*/ 7675 h 10000"/>
                <a:gd name="connsiteX2917" fmla="*/ 3037 w 10354"/>
                <a:gd name="connsiteY2917" fmla="*/ 7692 h 10000"/>
                <a:gd name="connsiteX2918" fmla="*/ 3028 w 10354"/>
                <a:gd name="connsiteY2918" fmla="*/ 7709 h 10000"/>
                <a:gd name="connsiteX2919" fmla="*/ 3023 w 10354"/>
                <a:gd name="connsiteY2919" fmla="*/ 7709 h 10000"/>
                <a:gd name="connsiteX2920" fmla="*/ 3018 w 10354"/>
                <a:gd name="connsiteY2920" fmla="*/ 7726 h 10000"/>
                <a:gd name="connsiteX2921" fmla="*/ 3009 w 10354"/>
                <a:gd name="connsiteY2921" fmla="*/ 7735 h 10000"/>
                <a:gd name="connsiteX2922" fmla="*/ 3009 w 10354"/>
                <a:gd name="connsiteY2922" fmla="*/ 7761 h 10000"/>
                <a:gd name="connsiteX2923" fmla="*/ 3009 w 10354"/>
                <a:gd name="connsiteY2923" fmla="*/ 7778 h 10000"/>
                <a:gd name="connsiteX2924" fmla="*/ 3018 w 10354"/>
                <a:gd name="connsiteY2924" fmla="*/ 7786 h 10000"/>
                <a:gd name="connsiteX2925" fmla="*/ 3023 w 10354"/>
                <a:gd name="connsiteY2925" fmla="*/ 7786 h 10000"/>
                <a:gd name="connsiteX2926" fmla="*/ 3028 w 10354"/>
                <a:gd name="connsiteY2926" fmla="*/ 7778 h 10000"/>
                <a:gd name="connsiteX2927" fmla="*/ 3051 w 10354"/>
                <a:gd name="connsiteY2927" fmla="*/ 7761 h 10000"/>
                <a:gd name="connsiteX2928" fmla="*/ 3055 w 10354"/>
                <a:gd name="connsiteY2928" fmla="*/ 7778 h 10000"/>
                <a:gd name="connsiteX2929" fmla="*/ 3065 w 10354"/>
                <a:gd name="connsiteY2929" fmla="*/ 7761 h 10000"/>
                <a:gd name="connsiteX2930" fmla="*/ 3069 w 10354"/>
                <a:gd name="connsiteY2930" fmla="*/ 7786 h 10000"/>
                <a:gd name="connsiteX2931" fmla="*/ 3083 w 10354"/>
                <a:gd name="connsiteY2931" fmla="*/ 7786 h 10000"/>
                <a:gd name="connsiteX2932" fmla="*/ 3078 w 10354"/>
                <a:gd name="connsiteY2932" fmla="*/ 7761 h 10000"/>
                <a:gd name="connsiteX2933" fmla="*/ 3083 w 10354"/>
                <a:gd name="connsiteY2933" fmla="*/ 7752 h 10000"/>
                <a:gd name="connsiteX2934" fmla="*/ 3097 w 10354"/>
                <a:gd name="connsiteY2934" fmla="*/ 7752 h 10000"/>
                <a:gd name="connsiteX2935" fmla="*/ 3111 w 10354"/>
                <a:gd name="connsiteY2935" fmla="*/ 7726 h 10000"/>
                <a:gd name="connsiteX2936" fmla="*/ 3124 w 10354"/>
                <a:gd name="connsiteY2936" fmla="*/ 7709 h 10000"/>
                <a:gd name="connsiteX2937" fmla="*/ 3143 w 10354"/>
                <a:gd name="connsiteY2937" fmla="*/ 7692 h 10000"/>
                <a:gd name="connsiteX2938" fmla="*/ 3152 w 10354"/>
                <a:gd name="connsiteY2938" fmla="*/ 7667 h 10000"/>
                <a:gd name="connsiteX2939" fmla="*/ 3157 w 10354"/>
                <a:gd name="connsiteY2939" fmla="*/ 7650 h 10000"/>
                <a:gd name="connsiteX2940" fmla="*/ 3161 w 10354"/>
                <a:gd name="connsiteY2940" fmla="*/ 7650 h 10000"/>
                <a:gd name="connsiteX2941" fmla="*/ 3189 w 10354"/>
                <a:gd name="connsiteY2941" fmla="*/ 7641 h 10000"/>
                <a:gd name="connsiteX2942" fmla="*/ 3198 w 10354"/>
                <a:gd name="connsiteY2942" fmla="*/ 7624 h 10000"/>
                <a:gd name="connsiteX2943" fmla="*/ 3217 w 10354"/>
                <a:gd name="connsiteY2943" fmla="*/ 7615 h 10000"/>
                <a:gd name="connsiteX2944" fmla="*/ 3235 w 10354"/>
                <a:gd name="connsiteY2944" fmla="*/ 7598 h 10000"/>
                <a:gd name="connsiteX2945" fmla="*/ 3235 w 10354"/>
                <a:gd name="connsiteY2945" fmla="*/ 7615 h 10000"/>
                <a:gd name="connsiteX2946" fmla="*/ 3235 w 10354"/>
                <a:gd name="connsiteY2946" fmla="*/ 7641 h 10000"/>
                <a:gd name="connsiteX2947" fmla="*/ 3235 w 10354"/>
                <a:gd name="connsiteY2947" fmla="*/ 7650 h 10000"/>
                <a:gd name="connsiteX2948" fmla="*/ 3226 w 10354"/>
                <a:gd name="connsiteY2948" fmla="*/ 7650 h 10000"/>
                <a:gd name="connsiteX2949" fmla="*/ 3217 w 10354"/>
                <a:gd name="connsiteY2949" fmla="*/ 7650 h 10000"/>
                <a:gd name="connsiteX2950" fmla="*/ 3212 w 10354"/>
                <a:gd name="connsiteY2950" fmla="*/ 7675 h 10000"/>
                <a:gd name="connsiteX2951" fmla="*/ 3212 w 10354"/>
                <a:gd name="connsiteY2951" fmla="*/ 7675 h 10000"/>
                <a:gd name="connsiteX0" fmla="*/ 3212 w 10354"/>
                <a:gd name="connsiteY0" fmla="*/ 7675 h 10000"/>
                <a:gd name="connsiteX1" fmla="*/ 3217 w 10354"/>
                <a:gd name="connsiteY1" fmla="*/ 7692 h 10000"/>
                <a:gd name="connsiteX2" fmla="*/ 3226 w 10354"/>
                <a:gd name="connsiteY2" fmla="*/ 7692 h 10000"/>
                <a:gd name="connsiteX3" fmla="*/ 3309 w 10354"/>
                <a:gd name="connsiteY3" fmla="*/ 7838 h 10000"/>
                <a:gd name="connsiteX4" fmla="*/ 3452 w 10354"/>
                <a:gd name="connsiteY4" fmla="*/ 8325 h 10000"/>
                <a:gd name="connsiteX5" fmla="*/ 3470 w 10354"/>
                <a:gd name="connsiteY5" fmla="*/ 8299 h 10000"/>
                <a:gd name="connsiteX6" fmla="*/ 3470 w 10354"/>
                <a:gd name="connsiteY6" fmla="*/ 8282 h 10000"/>
                <a:gd name="connsiteX7" fmla="*/ 3470 w 10354"/>
                <a:gd name="connsiteY7" fmla="*/ 8274 h 10000"/>
                <a:gd name="connsiteX8" fmla="*/ 3484 w 10354"/>
                <a:gd name="connsiteY8" fmla="*/ 8231 h 10000"/>
                <a:gd name="connsiteX9" fmla="*/ 3498 w 10354"/>
                <a:gd name="connsiteY9" fmla="*/ 8231 h 10000"/>
                <a:gd name="connsiteX10" fmla="*/ 3498 w 10354"/>
                <a:gd name="connsiteY10" fmla="*/ 8248 h 10000"/>
                <a:gd name="connsiteX11" fmla="*/ 3512 w 10354"/>
                <a:gd name="connsiteY11" fmla="*/ 8256 h 10000"/>
                <a:gd name="connsiteX12" fmla="*/ 3525 w 10354"/>
                <a:gd name="connsiteY12" fmla="*/ 8274 h 10000"/>
                <a:gd name="connsiteX13" fmla="*/ 3525 w 10354"/>
                <a:gd name="connsiteY13" fmla="*/ 8282 h 10000"/>
                <a:gd name="connsiteX14" fmla="*/ 3525 w 10354"/>
                <a:gd name="connsiteY14" fmla="*/ 8308 h 10000"/>
                <a:gd name="connsiteX15" fmla="*/ 3530 w 10354"/>
                <a:gd name="connsiteY15" fmla="*/ 8308 h 10000"/>
                <a:gd name="connsiteX16" fmla="*/ 3539 w 10354"/>
                <a:gd name="connsiteY16" fmla="*/ 8333 h 10000"/>
                <a:gd name="connsiteX17" fmla="*/ 3571 w 10354"/>
                <a:gd name="connsiteY17" fmla="*/ 8333 h 10000"/>
                <a:gd name="connsiteX18" fmla="*/ 3590 w 10354"/>
                <a:gd name="connsiteY18" fmla="*/ 8350 h 10000"/>
                <a:gd name="connsiteX19" fmla="*/ 3599 w 10354"/>
                <a:gd name="connsiteY19" fmla="*/ 8333 h 10000"/>
                <a:gd name="connsiteX20" fmla="*/ 3618 w 10354"/>
                <a:gd name="connsiteY20" fmla="*/ 8333 h 10000"/>
                <a:gd name="connsiteX21" fmla="*/ 3618 w 10354"/>
                <a:gd name="connsiteY21" fmla="*/ 8325 h 10000"/>
                <a:gd name="connsiteX22" fmla="*/ 3627 w 10354"/>
                <a:gd name="connsiteY22" fmla="*/ 8308 h 10000"/>
                <a:gd name="connsiteX23" fmla="*/ 3641 w 10354"/>
                <a:gd name="connsiteY23" fmla="*/ 8308 h 10000"/>
                <a:gd name="connsiteX24" fmla="*/ 3645 w 10354"/>
                <a:gd name="connsiteY24" fmla="*/ 8308 h 10000"/>
                <a:gd name="connsiteX25" fmla="*/ 3650 w 10354"/>
                <a:gd name="connsiteY25" fmla="*/ 8299 h 10000"/>
                <a:gd name="connsiteX26" fmla="*/ 3659 w 10354"/>
                <a:gd name="connsiteY26" fmla="*/ 8282 h 10000"/>
                <a:gd name="connsiteX27" fmla="*/ 3677 w 10354"/>
                <a:gd name="connsiteY27" fmla="*/ 8299 h 10000"/>
                <a:gd name="connsiteX28" fmla="*/ 3687 w 10354"/>
                <a:gd name="connsiteY28" fmla="*/ 8299 h 10000"/>
                <a:gd name="connsiteX29" fmla="*/ 3691 w 10354"/>
                <a:gd name="connsiteY29" fmla="*/ 8325 h 10000"/>
                <a:gd name="connsiteX30" fmla="*/ 3700 w 10354"/>
                <a:gd name="connsiteY30" fmla="*/ 8325 h 10000"/>
                <a:gd name="connsiteX31" fmla="*/ 3714 w 10354"/>
                <a:gd name="connsiteY31" fmla="*/ 8359 h 10000"/>
                <a:gd name="connsiteX32" fmla="*/ 3719 w 10354"/>
                <a:gd name="connsiteY32" fmla="*/ 8359 h 10000"/>
                <a:gd name="connsiteX33" fmla="*/ 3724 w 10354"/>
                <a:gd name="connsiteY33" fmla="*/ 8368 h 10000"/>
                <a:gd name="connsiteX34" fmla="*/ 3719 w 10354"/>
                <a:gd name="connsiteY34" fmla="*/ 8393 h 10000"/>
                <a:gd name="connsiteX35" fmla="*/ 3724 w 10354"/>
                <a:gd name="connsiteY35" fmla="*/ 8410 h 10000"/>
                <a:gd name="connsiteX36" fmla="*/ 3724 w 10354"/>
                <a:gd name="connsiteY36" fmla="*/ 8436 h 10000"/>
                <a:gd name="connsiteX37" fmla="*/ 3737 w 10354"/>
                <a:gd name="connsiteY37" fmla="*/ 8436 h 10000"/>
                <a:gd name="connsiteX38" fmla="*/ 3765 w 10354"/>
                <a:gd name="connsiteY38" fmla="*/ 8462 h 10000"/>
                <a:gd name="connsiteX39" fmla="*/ 3765 w 10354"/>
                <a:gd name="connsiteY39" fmla="*/ 8470 h 10000"/>
                <a:gd name="connsiteX40" fmla="*/ 3765 w 10354"/>
                <a:gd name="connsiteY40" fmla="*/ 8496 h 10000"/>
                <a:gd name="connsiteX41" fmla="*/ 3774 w 10354"/>
                <a:gd name="connsiteY41" fmla="*/ 8496 h 10000"/>
                <a:gd name="connsiteX42" fmla="*/ 3779 w 10354"/>
                <a:gd name="connsiteY42" fmla="*/ 8504 h 10000"/>
                <a:gd name="connsiteX43" fmla="*/ 3793 w 10354"/>
                <a:gd name="connsiteY43" fmla="*/ 8547 h 10000"/>
                <a:gd name="connsiteX44" fmla="*/ 3797 w 10354"/>
                <a:gd name="connsiteY44" fmla="*/ 8547 h 10000"/>
                <a:gd name="connsiteX45" fmla="*/ 3820 w 10354"/>
                <a:gd name="connsiteY45" fmla="*/ 8556 h 10000"/>
                <a:gd name="connsiteX46" fmla="*/ 3834 w 10354"/>
                <a:gd name="connsiteY46" fmla="*/ 8573 h 10000"/>
                <a:gd name="connsiteX47" fmla="*/ 3853 w 10354"/>
                <a:gd name="connsiteY47" fmla="*/ 8573 h 10000"/>
                <a:gd name="connsiteX48" fmla="*/ 3857 w 10354"/>
                <a:gd name="connsiteY48" fmla="*/ 8556 h 10000"/>
                <a:gd name="connsiteX49" fmla="*/ 3866 w 10354"/>
                <a:gd name="connsiteY49" fmla="*/ 8547 h 10000"/>
                <a:gd name="connsiteX50" fmla="*/ 3880 w 10354"/>
                <a:gd name="connsiteY50" fmla="*/ 8530 h 10000"/>
                <a:gd name="connsiteX51" fmla="*/ 3885 w 10354"/>
                <a:gd name="connsiteY51" fmla="*/ 8547 h 10000"/>
                <a:gd name="connsiteX52" fmla="*/ 3885 w 10354"/>
                <a:gd name="connsiteY52" fmla="*/ 8573 h 10000"/>
                <a:gd name="connsiteX53" fmla="*/ 3899 w 10354"/>
                <a:gd name="connsiteY53" fmla="*/ 8573 h 10000"/>
                <a:gd name="connsiteX54" fmla="*/ 3908 w 10354"/>
                <a:gd name="connsiteY54" fmla="*/ 8607 h 10000"/>
                <a:gd name="connsiteX55" fmla="*/ 3912 w 10354"/>
                <a:gd name="connsiteY55" fmla="*/ 8615 h 10000"/>
                <a:gd name="connsiteX56" fmla="*/ 3922 w 10354"/>
                <a:gd name="connsiteY56" fmla="*/ 8632 h 10000"/>
                <a:gd name="connsiteX57" fmla="*/ 3908 w 10354"/>
                <a:gd name="connsiteY57" fmla="*/ 8692 h 10000"/>
                <a:gd name="connsiteX58" fmla="*/ 3908 w 10354"/>
                <a:gd name="connsiteY58" fmla="*/ 8692 h 10000"/>
                <a:gd name="connsiteX59" fmla="*/ 3931 w 10354"/>
                <a:gd name="connsiteY59" fmla="*/ 8709 h 10000"/>
                <a:gd name="connsiteX60" fmla="*/ 3954 w 10354"/>
                <a:gd name="connsiteY60" fmla="*/ 8667 h 10000"/>
                <a:gd name="connsiteX61" fmla="*/ 3959 w 10354"/>
                <a:gd name="connsiteY61" fmla="*/ 8667 h 10000"/>
                <a:gd name="connsiteX62" fmla="*/ 3972 w 10354"/>
                <a:gd name="connsiteY62" fmla="*/ 8615 h 10000"/>
                <a:gd name="connsiteX63" fmla="*/ 3995 w 10354"/>
                <a:gd name="connsiteY63" fmla="*/ 8581 h 10000"/>
                <a:gd name="connsiteX64" fmla="*/ 4032 w 10354"/>
                <a:gd name="connsiteY64" fmla="*/ 8556 h 10000"/>
                <a:gd name="connsiteX65" fmla="*/ 4138 w 10354"/>
                <a:gd name="connsiteY65" fmla="*/ 8419 h 10000"/>
                <a:gd name="connsiteX66" fmla="*/ 4249 w 10354"/>
                <a:gd name="connsiteY66" fmla="*/ 8359 h 10000"/>
                <a:gd name="connsiteX67" fmla="*/ 4295 w 10354"/>
                <a:gd name="connsiteY67" fmla="*/ 8385 h 10000"/>
                <a:gd name="connsiteX68" fmla="*/ 4309 w 10354"/>
                <a:gd name="connsiteY68" fmla="*/ 8410 h 10000"/>
                <a:gd name="connsiteX69" fmla="*/ 4355 w 10354"/>
                <a:gd name="connsiteY69" fmla="*/ 8393 h 10000"/>
                <a:gd name="connsiteX70" fmla="*/ 4382 w 10354"/>
                <a:gd name="connsiteY70" fmla="*/ 8393 h 10000"/>
                <a:gd name="connsiteX71" fmla="*/ 4419 w 10354"/>
                <a:gd name="connsiteY71" fmla="*/ 8487 h 10000"/>
                <a:gd name="connsiteX72" fmla="*/ 4442 w 10354"/>
                <a:gd name="connsiteY72" fmla="*/ 8487 h 10000"/>
                <a:gd name="connsiteX73" fmla="*/ 4493 w 10354"/>
                <a:gd name="connsiteY73" fmla="*/ 8470 h 10000"/>
                <a:gd name="connsiteX74" fmla="*/ 4516 w 10354"/>
                <a:gd name="connsiteY74" fmla="*/ 8487 h 10000"/>
                <a:gd name="connsiteX75" fmla="*/ 4608 w 10354"/>
                <a:gd name="connsiteY75" fmla="*/ 8470 h 10000"/>
                <a:gd name="connsiteX76" fmla="*/ 4622 w 10354"/>
                <a:gd name="connsiteY76" fmla="*/ 8470 h 10000"/>
                <a:gd name="connsiteX77" fmla="*/ 4618 w 10354"/>
                <a:gd name="connsiteY77" fmla="*/ 8419 h 10000"/>
                <a:gd name="connsiteX78" fmla="*/ 4622 w 10354"/>
                <a:gd name="connsiteY78" fmla="*/ 8385 h 10000"/>
                <a:gd name="connsiteX79" fmla="*/ 4636 w 10354"/>
                <a:gd name="connsiteY79" fmla="*/ 8350 h 10000"/>
                <a:gd name="connsiteX80" fmla="*/ 4636 w 10354"/>
                <a:gd name="connsiteY80" fmla="*/ 8325 h 10000"/>
                <a:gd name="connsiteX81" fmla="*/ 4622 w 10354"/>
                <a:gd name="connsiteY81" fmla="*/ 8282 h 10000"/>
                <a:gd name="connsiteX82" fmla="*/ 4618 w 10354"/>
                <a:gd name="connsiteY82" fmla="*/ 8248 h 10000"/>
                <a:gd name="connsiteX83" fmla="*/ 4618 w 10354"/>
                <a:gd name="connsiteY83" fmla="*/ 8214 h 10000"/>
                <a:gd name="connsiteX84" fmla="*/ 4691 w 10354"/>
                <a:gd name="connsiteY84" fmla="*/ 8077 h 10000"/>
                <a:gd name="connsiteX85" fmla="*/ 4700 w 10354"/>
                <a:gd name="connsiteY85" fmla="*/ 8060 h 10000"/>
                <a:gd name="connsiteX86" fmla="*/ 4728 w 10354"/>
                <a:gd name="connsiteY86" fmla="*/ 8077 h 10000"/>
                <a:gd name="connsiteX87" fmla="*/ 4751 w 10354"/>
                <a:gd name="connsiteY87" fmla="*/ 8094 h 10000"/>
                <a:gd name="connsiteX88" fmla="*/ 4788 w 10354"/>
                <a:gd name="connsiteY88" fmla="*/ 8120 h 10000"/>
                <a:gd name="connsiteX89" fmla="*/ 4802 w 10354"/>
                <a:gd name="connsiteY89" fmla="*/ 8162 h 10000"/>
                <a:gd name="connsiteX90" fmla="*/ 4885 w 10354"/>
                <a:gd name="connsiteY90" fmla="*/ 8197 h 10000"/>
                <a:gd name="connsiteX91" fmla="*/ 4889 w 10354"/>
                <a:gd name="connsiteY91" fmla="*/ 8231 h 10000"/>
                <a:gd name="connsiteX92" fmla="*/ 4899 w 10354"/>
                <a:gd name="connsiteY92" fmla="*/ 8333 h 10000"/>
                <a:gd name="connsiteX93" fmla="*/ 4903 w 10354"/>
                <a:gd name="connsiteY93" fmla="*/ 8333 h 10000"/>
                <a:gd name="connsiteX94" fmla="*/ 4949 w 10354"/>
                <a:gd name="connsiteY94" fmla="*/ 8410 h 10000"/>
                <a:gd name="connsiteX95" fmla="*/ 4991 w 10354"/>
                <a:gd name="connsiteY95" fmla="*/ 8436 h 10000"/>
                <a:gd name="connsiteX96" fmla="*/ 5023 w 10354"/>
                <a:gd name="connsiteY96" fmla="*/ 8419 h 10000"/>
                <a:gd name="connsiteX97" fmla="*/ 5092 w 10354"/>
                <a:gd name="connsiteY97" fmla="*/ 8359 h 10000"/>
                <a:gd name="connsiteX98" fmla="*/ 5180 w 10354"/>
                <a:gd name="connsiteY98" fmla="*/ 8410 h 10000"/>
                <a:gd name="connsiteX99" fmla="*/ 5189 w 10354"/>
                <a:gd name="connsiteY99" fmla="*/ 8436 h 10000"/>
                <a:gd name="connsiteX100" fmla="*/ 5198 w 10354"/>
                <a:gd name="connsiteY100" fmla="*/ 8436 h 10000"/>
                <a:gd name="connsiteX101" fmla="*/ 5226 w 10354"/>
                <a:gd name="connsiteY101" fmla="*/ 8487 h 10000"/>
                <a:gd name="connsiteX102" fmla="*/ 5276 w 10354"/>
                <a:gd name="connsiteY102" fmla="*/ 8504 h 10000"/>
                <a:gd name="connsiteX103" fmla="*/ 5290 w 10354"/>
                <a:gd name="connsiteY103" fmla="*/ 8556 h 10000"/>
                <a:gd name="connsiteX104" fmla="*/ 5323 w 10354"/>
                <a:gd name="connsiteY104" fmla="*/ 8598 h 10000"/>
                <a:gd name="connsiteX105" fmla="*/ 5447 w 10354"/>
                <a:gd name="connsiteY105" fmla="*/ 8615 h 10000"/>
                <a:gd name="connsiteX106" fmla="*/ 5465 w 10354"/>
                <a:gd name="connsiteY106" fmla="*/ 8632 h 10000"/>
                <a:gd name="connsiteX107" fmla="*/ 5604 w 10354"/>
                <a:gd name="connsiteY107" fmla="*/ 8556 h 10000"/>
                <a:gd name="connsiteX108" fmla="*/ 5677 w 10354"/>
                <a:gd name="connsiteY108" fmla="*/ 8462 h 10000"/>
                <a:gd name="connsiteX109" fmla="*/ 5705 w 10354"/>
                <a:gd name="connsiteY109" fmla="*/ 8444 h 10000"/>
                <a:gd name="connsiteX110" fmla="*/ 5737 w 10354"/>
                <a:gd name="connsiteY110" fmla="*/ 8470 h 10000"/>
                <a:gd name="connsiteX111" fmla="*/ 5760 w 10354"/>
                <a:gd name="connsiteY111" fmla="*/ 8496 h 10000"/>
                <a:gd name="connsiteX112" fmla="*/ 5788 w 10354"/>
                <a:gd name="connsiteY112" fmla="*/ 8504 h 10000"/>
                <a:gd name="connsiteX113" fmla="*/ 5806 w 10354"/>
                <a:gd name="connsiteY113" fmla="*/ 8496 h 10000"/>
                <a:gd name="connsiteX114" fmla="*/ 5820 w 10354"/>
                <a:gd name="connsiteY114" fmla="*/ 8487 h 10000"/>
                <a:gd name="connsiteX115" fmla="*/ 5825 w 10354"/>
                <a:gd name="connsiteY115" fmla="*/ 8487 h 10000"/>
                <a:gd name="connsiteX116" fmla="*/ 5825 w 10354"/>
                <a:gd name="connsiteY116" fmla="*/ 8487 h 10000"/>
                <a:gd name="connsiteX117" fmla="*/ 5926 w 10354"/>
                <a:gd name="connsiteY117" fmla="*/ 8556 h 10000"/>
                <a:gd name="connsiteX118" fmla="*/ 5940 w 10354"/>
                <a:gd name="connsiteY118" fmla="*/ 8556 h 10000"/>
                <a:gd name="connsiteX119" fmla="*/ 6014 w 10354"/>
                <a:gd name="connsiteY119" fmla="*/ 8470 h 10000"/>
                <a:gd name="connsiteX120" fmla="*/ 6018 w 10354"/>
                <a:gd name="connsiteY120" fmla="*/ 8444 h 10000"/>
                <a:gd name="connsiteX121" fmla="*/ 6014 w 10354"/>
                <a:gd name="connsiteY121" fmla="*/ 8419 h 10000"/>
                <a:gd name="connsiteX122" fmla="*/ 6018 w 10354"/>
                <a:gd name="connsiteY122" fmla="*/ 8393 h 10000"/>
                <a:gd name="connsiteX123" fmla="*/ 6041 w 10354"/>
                <a:gd name="connsiteY123" fmla="*/ 8333 h 10000"/>
                <a:gd name="connsiteX124" fmla="*/ 6069 w 10354"/>
                <a:gd name="connsiteY124" fmla="*/ 8188 h 10000"/>
                <a:gd name="connsiteX125" fmla="*/ 6088 w 10354"/>
                <a:gd name="connsiteY125" fmla="*/ 8162 h 10000"/>
                <a:gd name="connsiteX126" fmla="*/ 6115 w 10354"/>
                <a:gd name="connsiteY126" fmla="*/ 8094 h 10000"/>
                <a:gd name="connsiteX127" fmla="*/ 6115 w 10354"/>
                <a:gd name="connsiteY127" fmla="*/ 8094 h 10000"/>
                <a:gd name="connsiteX128" fmla="*/ 6106 w 10354"/>
                <a:gd name="connsiteY128" fmla="*/ 8077 h 10000"/>
                <a:gd name="connsiteX129" fmla="*/ 6106 w 10354"/>
                <a:gd name="connsiteY129" fmla="*/ 8009 h 10000"/>
                <a:gd name="connsiteX130" fmla="*/ 6101 w 10354"/>
                <a:gd name="connsiteY130" fmla="*/ 8000 h 10000"/>
                <a:gd name="connsiteX131" fmla="*/ 6069 w 10354"/>
                <a:gd name="connsiteY131" fmla="*/ 8009 h 10000"/>
                <a:gd name="connsiteX132" fmla="*/ 6069 w 10354"/>
                <a:gd name="connsiteY132" fmla="*/ 8000 h 10000"/>
                <a:gd name="connsiteX133" fmla="*/ 6069 w 10354"/>
                <a:gd name="connsiteY133" fmla="*/ 7974 h 10000"/>
                <a:gd name="connsiteX134" fmla="*/ 6101 w 10354"/>
                <a:gd name="connsiteY134" fmla="*/ 7923 h 10000"/>
                <a:gd name="connsiteX135" fmla="*/ 6106 w 10354"/>
                <a:gd name="connsiteY135" fmla="*/ 7889 h 10000"/>
                <a:gd name="connsiteX136" fmla="*/ 6129 w 10354"/>
                <a:gd name="connsiteY136" fmla="*/ 7863 h 10000"/>
                <a:gd name="connsiteX137" fmla="*/ 6300 w 10354"/>
                <a:gd name="connsiteY137" fmla="*/ 7812 h 10000"/>
                <a:gd name="connsiteX138" fmla="*/ 6359 w 10354"/>
                <a:gd name="connsiteY138" fmla="*/ 7872 h 10000"/>
                <a:gd name="connsiteX139" fmla="*/ 6373 w 10354"/>
                <a:gd name="connsiteY139" fmla="*/ 7889 h 10000"/>
                <a:gd name="connsiteX140" fmla="*/ 6401 w 10354"/>
                <a:gd name="connsiteY140" fmla="*/ 7889 h 10000"/>
                <a:gd name="connsiteX141" fmla="*/ 6433 w 10354"/>
                <a:gd name="connsiteY141" fmla="*/ 7915 h 10000"/>
                <a:gd name="connsiteX142" fmla="*/ 6461 w 10354"/>
                <a:gd name="connsiteY142" fmla="*/ 7974 h 10000"/>
                <a:gd name="connsiteX143" fmla="*/ 6461 w 10354"/>
                <a:gd name="connsiteY143" fmla="*/ 8000 h 10000"/>
                <a:gd name="connsiteX144" fmla="*/ 6484 w 10354"/>
                <a:gd name="connsiteY144" fmla="*/ 8034 h 10000"/>
                <a:gd name="connsiteX145" fmla="*/ 6484 w 10354"/>
                <a:gd name="connsiteY145" fmla="*/ 8051 h 10000"/>
                <a:gd name="connsiteX146" fmla="*/ 6484 w 10354"/>
                <a:gd name="connsiteY146" fmla="*/ 8034 h 10000"/>
                <a:gd name="connsiteX147" fmla="*/ 6558 w 10354"/>
                <a:gd name="connsiteY147" fmla="*/ 8444 h 10000"/>
                <a:gd name="connsiteX148" fmla="*/ 6558 w 10354"/>
                <a:gd name="connsiteY148" fmla="*/ 8462 h 10000"/>
                <a:gd name="connsiteX149" fmla="*/ 6558 w 10354"/>
                <a:gd name="connsiteY149" fmla="*/ 8462 h 10000"/>
                <a:gd name="connsiteX150" fmla="*/ 6562 w 10354"/>
                <a:gd name="connsiteY150" fmla="*/ 8547 h 10000"/>
                <a:gd name="connsiteX151" fmla="*/ 6576 w 10354"/>
                <a:gd name="connsiteY151" fmla="*/ 8573 h 10000"/>
                <a:gd name="connsiteX152" fmla="*/ 6604 w 10354"/>
                <a:gd name="connsiteY152" fmla="*/ 8581 h 10000"/>
                <a:gd name="connsiteX153" fmla="*/ 6631 w 10354"/>
                <a:gd name="connsiteY153" fmla="*/ 8556 h 10000"/>
                <a:gd name="connsiteX154" fmla="*/ 6691 w 10354"/>
                <a:gd name="connsiteY154" fmla="*/ 8607 h 10000"/>
                <a:gd name="connsiteX155" fmla="*/ 6728 w 10354"/>
                <a:gd name="connsiteY155" fmla="*/ 8667 h 10000"/>
                <a:gd name="connsiteX156" fmla="*/ 6742 w 10354"/>
                <a:gd name="connsiteY156" fmla="*/ 8684 h 10000"/>
                <a:gd name="connsiteX157" fmla="*/ 6765 w 10354"/>
                <a:gd name="connsiteY157" fmla="*/ 8684 h 10000"/>
                <a:gd name="connsiteX158" fmla="*/ 6765 w 10354"/>
                <a:gd name="connsiteY158" fmla="*/ 8709 h 10000"/>
                <a:gd name="connsiteX159" fmla="*/ 6765 w 10354"/>
                <a:gd name="connsiteY159" fmla="*/ 8709 h 10000"/>
                <a:gd name="connsiteX160" fmla="*/ 6770 w 10354"/>
                <a:gd name="connsiteY160" fmla="*/ 8709 h 10000"/>
                <a:gd name="connsiteX161" fmla="*/ 6770 w 10354"/>
                <a:gd name="connsiteY161" fmla="*/ 8744 h 10000"/>
                <a:gd name="connsiteX162" fmla="*/ 6779 w 10354"/>
                <a:gd name="connsiteY162" fmla="*/ 8769 h 10000"/>
                <a:gd name="connsiteX163" fmla="*/ 6779 w 10354"/>
                <a:gd name="connsiteY163" fmla="*/ 8846 h 10000"/>
                <a:gd name="connsiteX164" fmla="*/ 6797 w 10354"/>
                <a:gd name="connsiteY164" fmla="*/ 8906 h 10000"/>
                <a:gd name="connsiteX165" fmla="*/ 6816 w 10354"/>
                <a:gd name="connsiteY165" fmla="*/ 8906 h 10000"/>
                <a:gd name="connsiteX166" fmla="*/ 6843 w 10354"/>
                <a:gd name="connsiteY166" fmla="*/ 8915 h 10000"/>
                <a:gd name="connsiteX167" fmla="*/ 6862 w 10354"/>
                <a:gd name="connsiteY167" fmla="*/ 8906 h 10000"/>
                <a:gd name="connsiteX168" fmla="*/ 6935 w 10354"/>
                <a:gd name="connsiteY168" fmla="*/ 8829 h 10000"/>
                <a:gd name="connsiteX169" fmla="*/ 6963 w 10354"/>
                <a:gd name="connsiteY169" fmla="*/ 8829 h 10000"/>
                <a:gd name="connsiteX170" fmla="*/ 7046 w 10354"/>
                <a:gd name="connsiteY170" fmla="*/ 8769 h 10000"/>
                <a:gd name="connsiteX171" fmla="*/ 7046 w 10354"/>
                <a:gd name="connsiteY171" fmla="*/ 8769 h 10000"/>
                <a:gd name="connsiteX172" fmla="*/ 7032 w 10354"/>
                <a:gd name="connsiteY172" fmla="*/ 8803 h 10000"/>
                <a:gd name="connsiteX173" fmla="*/ 7032 w 10354"/>
                <a:gd name="connsiteY173" fmla="*/ 8846 h 10000"/>
                <a:gd name="connsiteX174" fmla="*/ 7037 w 10354"/>
                <a:gd name="connsiteY174" fmla="*/ 8880 h 10000"/>
                <a:gd name="connsiteX175" fmla="*/ 7037 w 10354"/>
                <a:gd name="connsiteY175" fmla="*/ 8932 h 10000"/>
                <a:gd name="connsiteX176" fmla="*/ 7005 w 10354"/>
                <a:gd name="connsiteY176" fmla="*/ 8983 h 10000"/>
                <a:gd name="connsiteX177" fmla="*/ 6977 w 10354"/>
                <a:gd name="connsiteY177" fmla="*/ 9188 h 10000"/>
                <a:gd name="connsiteX178" fmla="*/ 6935 w 10354"/>
                <a:gd name="connsiteY178" fmla="*/ 9316 h 10000"/>
                <a:gd name="connsiteX179" fmla="*/ 6931 w 10354"/>
                <a:gd name="connsiteY179" fmla="*/ 9368 h 10000"/>
                <a:gd name="connsiteX180" fmla="*/ 6917 w 10354"/>
                <a:gd name="connsiteY180" fmla="*/ 9376 h 10000"/>
                <a:gd name="connsiteX181" fmla="*/ 6912 w 10354"/>
                <a:gd name="connsiteY181" fmla="*/ 9376 h 10000"/>
                <a:gd name="connsiteX182" fmla="*/ 6848 w 10354"/>
                <a:gd name="connsiteY182" fmla="*/ 9342 h 10000"/>
                <a:gd name="connsiteX183" fmla="*/ 6788 w 10354"/>
                <a:gd name="connsiteY183" fmla="*/ 9436 h 10000"/>
                <a:gd name="connsiteX184" fmla="*/ 6802 w 10354"/>
                <a:gd name="connsiteY184" fmla="*/ 9462 h 10000"/>
                <a:gd name="connsiteX185" fmla="*/ 6811 w 10354"/>
                <a:gd name="connsiteY185" fmla="*/ 9667 h 10000"/>
                <a:gd name="connsiteX186" fmla="*/ 6788 w 10354"/>
                <a:gd name="connsiteY186" fmla="*/ 9709 h 10000"/>
                <a:gd name="connsiteX187" fmla="*/ 6765 w 10354"/>
                <a:gd name="connsiteY187" fmla="*/ 9752 h 10000"/>
                <a:gd name="connsiteX188" fmla="*/ 6765 w 10354"/>
                <a:gd name="connsiteY188" fmla="*/ 9803 h 10000"/>
                <a:gd name="connsiteX189" fmla="*/ 6770 w 10354"/>
                <a:gd name="connsiteY189" fmla="*/ 9821 h 10000"/>
                <a:gd name="connsiteX190" fmla="*/ 6779 w 10354"/>
                <a:gd name="connsiteY190" fmla="*/ 9812 h 10000"/>
                <a:gd name="connsiteX191" fmla="*/ 6779 w 10354"/>
                <a:gd name="connsiteY191" fmla="*/ 9803 h 10000"/>
                <a:gd name="connsiteX192" fmla="*/ 6770 w 10354"/>
                <a:gd name="connsiteY192" fmla="*/ 9786 h 10000"/>
                <a:gd name="connsiteX193" fmla="*/ 6811 w 10354"/>
                <a:gd name="connsiteY193" fmla="*/ 9786 h 10000"/>
                <a:gd name="connsiteX194" fmla="*/ 6816 w 10354"/>
                <a:gd name="connsiteY194" fmla="*/ 9761 h 10000"/>
                <a:gd name="connsiteX195" fmla="*/ 6825 w 10354"/>
                <a:gd name="connsiteY195" fmla="*/ 9752 h 10000"/>
                <a:gd name="connsiteX196" fmla="*/ 6825 w 10354"/>
                <a:gd name="connsiteY196" fmla="*/ 9726 h 10000"/>
                <a:gd name="connsiteX197" fmla="*/ 6843 w 10354"/>
                <a:gd name="connsiteY197" fmla="*/ 9701 h 10000"/>
                <a:gd name="connsiteX198" fmla="*/ 6848 w 10354"/>
                <a:gd name="connsiteY198" fmla="*/ 9650 h 10000"/>
                <a:gd name="connsiteX199" fmla="*/ 6848 w 10354"/>
                <a:gd name="connsiteY199" fmla="*/ 9675 h 10000"/>
                <a:gd name="connsiteX200" fmla="*/ 6862 w 10354"/>
                <a:gd name="connsiteY200" fmla="*/ 9675 h 10000"/>
                <a:gd name="connsiteX201" fmla="*/ 6857 w 10354"/>
                <a:gd name="connsiteY201" fmla="*/ 9701 h 10000"/>
                <a:gd name="connsiteX202" fmla="*/ 6857 w 10354"/>
                <a:gd name="connsiteY202" fmla="*/ 9701 h 10000"/>
                <a:gd name="connsiteX203" fmla="*/ 6876 w 10354"/>
                <a:gd name="connsiteY203" fmla="*/ 9684 h 10000"/>
                <a:gd name="connsiteX204" fmla="*/ 6885 w 10354"/>
                <a:gd name="connsiteY204" fmla="*/ 9675 h 10000"/>
                <a:gd name="connsiteX205" fmla="*/ 6876 w 10354"/>
                <a:gd name="connsiteY205" fmla="*/ 9735 h 10000"/>
                <a:gd name="connsiteX206" fmla="*/ 6885 w 10354"/>
                <a:gd name="connsiteY206" fmla="*/ 9752 h 10000"/>
                <a:gd name="connsiteX207" fmla="*/ 6903 w 10354"/>
                <a:gd name="connsiteY207" fmla="*/ 9752 h 10000"/>
                <a:gd name="connsiteX208" fmla="*/ 6917 w 10354"/>
                <a:gd name="connsiteY208" fmla="*/ 9761 h 10000"/>
                <a:gd name="connsiteX209" fmla="*/ 6917 w 10354"/>
                <a:gd name="connsiteY209" fmla="*/ 9761 h 10000"/>
                <a:gd name="connsiteX210" fmla="*/ 6922 w 10354"/>
                <a:gd name="connsiteY210" fmla="*/ 9778 h 10000"/>
                <a:gd name="connsiteX211" fmla="*/ 6945 w 10354"/>
                <a:gd name="connsiteY211" fmla="*/ 9778 h 10000"/>
                <a:gd name="connsiteX212" fmla="*/ 6972 w 10354"/>
                <a:gd name="connsiteY212" fmla="*/ 9752 h 10000"/>
                <a:gd name="connsiteX213" fmla="*/ 6977 w 10354"/>
                <a:gd name="connsiteY213" fmla="*/ 9752 h 10000"/>
                <a:gd name="connsiteX214" fmla="*/ 7069 w 10354"/>
                <a:gd name="connsiteY214" fmla="*/ 9624 h 10000"/>
                <a:gd name="connsiteX215" fmla="*/ 7097 w 10354"/>
                <a:gd name="connsiteY215" fmla="*/ 9547 h 10000"/>
                <a:gd name="connsiteX216" fmla="*/ 7106 w 10354"/>
                <a:gd name="connsiteY216" fmla="*/ 9530 h 10000"/>
                <a:gd name="connsiteX217" fmla="*/ 7124 w 10354"/>
                <a:gd name="connsiteY217" fmla="*/ 9479 h 10000"/>
                <a:gd name="connsiteX218" fmla="*/ 7138 w 10354"/>
                <a:gd name="connsiteY218" fmla="*/ 9462 h 10000"/>
                <a:gd name="connsiteX219" fmla="*/ 7378 w 10354"/>
                <a:gd name="connsiteY219" fmla="*/ 8795 h 10000"/>
                <a:gd name="connsiteX220" fmla="*/ 7392 w 10354"/>
                <a:gd name="connsiteY220" fmla="*/ 8795 h 10000"/>
                <a:gd name="connsiteX221" fmla="*/ 7401 w 10354"/>
                <a:gd name="connsiteY221" fmla="*/ 8769 h 10000"/>
                <a:gd name="connsiteX222" fmla="*/ 7406 w 10354"/>
                <a:gd name="connsiteY222" fmla="*/ 8692 h 10000"/>
                <a:gd name="connsiteX223" fmla="*/ 7406 w 10354"/>
                <a:gd name="connsiteY223" fmla="*/ 8667 h 10000"/>
                <a:gd name="connsiteX224" fmla="*/ 7419 w 10354"/>
                <a:gd name="connsiteY224" fmla="*/ 8598 h 10000"/>
                <a:gd name="connsiteX225" fmla="*/ 7419 w 10354"/>
                <a:gd name="connsiteY225" fmla="*/ 8496 h 10000"/>
                <a:gd name="connsiteX226" fmla="*/ 7424 w 10354"/>
                <a:gd name="connsiteY226" fmla="*/ 8470 h 10000"/>
                <a:gd name="connsiteX227" fmla="*/ 7424 w 10354"/>
                <a:gd name="connsiteY227" fmla="*/ 8462 h 10000"/>
                <a:gd name="connsiteX228" fmla="*/ 7419 w 10354"/>
                <a:gd name="connsiteY228" fmla="*/ 8462 h 10000"/>
                <a:gd name="connsiteX229" fmla="*/ 7410 w 10354"/>
                <a:gd name="connsiteY229" fmla="*/ 8350 h 10000"/>
                <a:gd name="connsiteX230" fmla="*/ 7419 w 10354"/>
                <a:gd name="connsiteY230" fmla="*/ 8325 h 10000"/>
                <a:gd name="connsiteX231" fmla="*/ 7424 w 10354"/>
                <a:gd name="connsiteY231" fmla="*/ 8248 h 10000"/>
                <a:gd name="connsiteX232" fmla="*/ 7433 w 10354"/>
                <a:gd name="connsiteY232" fmla="*/ 8248 h 10000"/>
                <a:gd name="connsiteX233" fmla="*/ 7433 w 10354"/>
                <a:gd name="connsiteY233" fmla="*/ 8231 h 10000"/>
                <a:gd name="connsiteX234" fmla="*/ 7433 w 10354"/>
                <a:gd name="connsiteY234" fmla="*/ 8222 h 10000"/>
                <a:gd name="connsiteX235" fmla="*/ 7433 w 10354"/>
                <a:gd name="connsiteY235" fmla="*/ 8214 h 10000"/>
                <a:gd name="connsiteX236" fmla="*/ 7447 w 10354"/>
                <a:gd name="connsiteY236" fmla="*/ 8162 h 10000"/>
                <a:gd name="connsiteX237" fmla="*/ 7461 w 10354"/>
                <a:gd name="connsiteY237" fmla="*/ 8162 h 10000"/>
                <a:gd name="connsiteX238" fmla="*/ 7475 w 10354"/>
                <a:gd name="connsiteY238" fmla="*/ 8111 h 10000"/>
                <a:gd name="connsiteX239" fmla="*/ 7475 w 10354"/>
                <a:gd name="connsiteY239" fmla="*/ 8085 h 10000"/>
                <a:gd name="connsiteX240" fmla="*/ 7479 w 10354"/>
                <a:gd name="connsiteY240" fmla="*/ 8060 h 10000"/>
                <a:gd name="connsiteX241" fmla="*/ 7452 w 10354"/>
                <a:gd name="connsiteY241" fmla="*/ 8009 h 10000"/>
                <a:gd name="connsiteX242" fmla="*/ 7465 w 10354"/>
                <a:gd name="connsiteY242" fmla="*/ 7974 h 10000"/>
                <a:gd name="connsiteX243" fmla="*/ 7452 w 10354"/>
                <a:gd name="connsiteY243" fmla="*/ 7923 h 10000"/>
                <a:gd name="connsiteX244" fmla="*/ 7433 w 10354"/>
                <a:gd name="connsiteY244" fmla="*/ 7889 h 10000"/>
                <a:gd name="connsiteX245" fmla="*/ 7419 w 10354"/>
                <a:gd name="connsiteY245" fmla="*/ 7889 h 10000"/>
                <a:gd name="connsiteX246" fmla="*/ 7401 w 10354"/>
                <a:gd name="connsiteY246" fmla="*/ 7863 h 10000"/>
                <a:gd name="connsiteX247" fmla="*/ 7387 w 10354"/>
                <a:gd name="connsiteY247" fmla="*/ 7863 h 10000"/>
                <a:gd name="connsiteX248" fmla="*/ 7373 w 10354"/>
                <a:gd name="connsiteY248" fmla="*/ 7863 h 10000"/>
                <a:gd name="connsiteX249" fmla="*/ 7387 w 10354"/>
                <a:gd name="connsiteY249" fmla="*/ 7846 h 10000"/>
                <a:gd name="connsiteX250" fmla="*/ 7401 w 10354"/>
                <a:gd name="connsiteY250" fmla="*/ 7846 h 10000"/>
                <a:gd name="connsiteX251" fmla="*/ 7410 w 10354"/>
                <a:gd name="connsiteY251" fmla="*/ 7863 h 10000"/>
                <a:gd name="connsiteX252" fmla="*/ 7424 w 10354"/>
                <a:gd name="connsiteY252" fmla="*/ 7872 h 10000"/>
                <a:gd name="connsiteX253" fmla="*/ 7433 w 10354"/>
                <a:gd name="connsiteY253" fmla="*/ 7863 h 10000"/>
                <a:gd name="connsiteX254" fmla="*/ 7461 w 10354"/>
                <a:gd name="connsiteY254" fmla="*/ 7897 h 10000"/>
                <a:gd name="connsiteX255" fmla="*/ 7465 w 10354"/>
                <a:gd name="connsiteY255" fmla="*/ 7889 h 10000"/>
                <a:gd name="connsiteX256" fmla="*/ 7475 w 10354"/>
                <a:gd name="connsiteY256" fmla="*/ 7863 h 10000"/>
                <a:gd name="connsiteX257" fmla="*/ 7475 w 10354"/>
                <a:gd name="connsiteY257" fmla="*/ 7838 h 10000"/>
                <a:gd name="connsiteX258" fmla="*/ 7465 w 10354"/>
                <a:gd name="connsiteY258" fmla="*/ 7838 h 10000"/>
                <a:gd name="connsiteX259" fmla="*/ 7406 w 10354"/>
                <a:gd name="connsiteY259" fmla="*/ 7752 h 10000"/>
                <a:gd name="connsiteX260" fmla="*/ 7401 w 10354"/>
                <a:gd name="connsiteY260" fmla="*/ 7735 h 10000"/>
                <a:gd name="connsiteX261" fmla="*/ 7401 w 10354"/>
                <a:gd name="connsiteY261" fmla="*/ 7701 h 10000"/>
                <a:gd name="connsiteX262" fmla="*/ 7378 w 10354"/>
                <a:gd name="connsiteY262" fmla="*/ 7675 h 10000"/>
                <a:gd name="connsiteX263" fmla="*/ 7373 w 10354"/>
                <a:gd name="connsiteY263" fmla="*/ 7667 h 10000"/>
                <a:gd name="connsiteX264" fmla="*/ 7364 w 10354"/>
                <a:gd name="connsiteY264" fmla="*/ 7650 h 10000"/>
                <a:gd name="connsiteX265" fmla="*/ 7364 w 10354"/>
                <a:gd name="connsiteY265" fmla="*/ 7641 h 10000"/>
                <a:gd name="connsiteX266" fmla="*/ 7350 w 10354"/>
                <a:gd name="connsiteY266" fmla="*/ 7641 h 10000"/>
                <a:gd name="connsiteX267" fmla="*/ 7336 w 10354"/>
                <a:gd name="connsiteY267" fmla="*/ 7650 h 10000"/>
                <a:gd name="connsiteX268" fmla="*/ 7327 w 10354"/>
                <a:gd name="connsiteY268" fmla="*/ 7650 h 10000"/>
                <a:gd name="connsiteX269" fmla="*/ 7300 w 10354"/>
                <a:gd name="connsiteY269" fmla="*/ 7641 h 10000"/>
                <a:gd name="connsiteX270" fmla="*/ 7300 w 10354"/>
                <a:gd name="connsiteY270" fmla="*/ 7675 h 10000"/>
                <a:gd name="connsiteX271" fmla="*/ 7300 w 10354"/>
                <a:gd name="connsiteY271" fmla="*/ 7692 h 10000"/>
                <a:gd name="connsiteX272" fmla="*/ 7286 w 10354"/>
                <a:gd name="connsiteY272" fmla="*/ 7786 h 10000"/>
                <a:gd name="connsiteX273" fmla="*/ 7272 w 10354"/>
                <a:gd name="connsiteY273" fmla="*/ 7803 h 10000"/>
                <a:gd name="connsiteX274" fmla="*/ 7276 w 10354"/>
                <a:gd name="connsiteY274" fmla="*/ 7761 h 10000"/>
                <a:gd name="connsiteX275" fmla="*/ 7286 w 10354"/>
                <a:gd name="connsiteY275" fmla="*/ 7735 h 10000"/>
                <a:gd name="connsiteX276" fmla="*/ 7276 w 10354"/>
                <a:gd name="connsiteY276" fmla="*/ 7709 h 10000"/>
                <a:gd name="connsiteX277" fmla="*/ 7258 w 10354"/>
                <a:gd name="connsiteY277" fmla="*/ 7761 h 10000"/>
                <a:gd name="connsiteX278" fmla="*/ 7217 w 10354"/>
                <a:gd name="connsiteY278" fmla="*/ 7786 h 10000"/>
                <a:gd name="connsiteX279" fmla="*/ 7203 w 10354"/>
                <a:gd name="connsiteY279" fmla="*/ 7786 h 10000"/>
                <a:gd name="connsiteX280" fmla="*/ 7198 w 10354"/>
                <a:gd name="connsiteY280" fmla="*/ 7778 h 10000"/>
                <a:gd name="connsiteX281" fmla="*/ 7212 w 10354"/>
                <a:gd name="connsiteY281" fmla="*/ 7761 h 10000"/>
                <a:gd name="connsiteX282" fmla="*/ 7230 w 10354"/>
                <a:gd name="connsiteY282" fmla="*/ 7726 h 10000"/>
                <a:gd name="connsiteX283" fmla="*/ 7226 w 10354"/>
                <a:gd name="connsiteY283" fmla="*/ 7709 h 10000"/>
                <a:gd name="connsiteX284" fmla="*/ 7212 w 10354"/>
                <a:gd name="connsiteY284" fmla="*/ 7701 h 10000"/>
                <a:gd name="connsiteX285" fmla="*/ 7203 w 10354"/>
                <a:gd name="connsiteY285" fmla="*/ 7675 h 10000"/>
                <a:gd name="connsiteX286" fmla="*/ 7217 w 10354"/>
                <a:gd name="connsiteY286" fmla="*/ 7675 h 10000"/>
                <a:gd name="connsiteX287" fmla="*/ 7226 w 10354"/>
                <a:gd name="connsiteY287" fmla="*/ 7650 h 10000"/>
                <a:gd name="connsiteX288" fmla="*/ 7226 w 10354"/>
                <a:gd name="connsiteY288" fmla="*/ 7641 h 10000"/>
                <a:gd name="connsiteX289" fmla="*/ 7203 w 10354"/>
                <a:gd name="connsiteY289" fmla="*/ 7641 h 10000"/>
                <a:gd name="connsiteX290" fmla="*/ 7198 w 10354"/>
                <a:gd name="connsiteY290" fmla="*/ 7650 h 10000"/>
                <a:gd name="connsiteX291" fmla="*/ 7194 w 10354"/>
                <a:gd name="connsiteY291" fmla="*/ 7675 h 10000"/>
                <a:gd name="connsiteX292" fmla="*/ 7198 w 10354"/>
                <a:gd name="connsiteY292" fmla="*/ 7692 h 10000"/>
                <a:gd name="connsiteX293" fmla="*/ 7198 w 10354"/>
                <a:gd name="connsiteY293" fmla="*/ 7709 h 10000"/>
                <a:gd name="connsiteX294" fmla="*/ 7184 w 10354"/>
                <a:gd name="connsiteY294" fmla="*/ 7726 h 10000"/>
                <a:gd name="connsiteX295" fmla="*/ 7180 w 10354"/>
                <a:gd name="connsiteY295" fmla="*/ 7726 h 10000"/>
                <a:gd name="connsiteX296" fmla="*/ 7171 w 10354"/>
                <a:gd name="connsiteY296" fmla="*/ 7752 h 10000"/>
                <a:gd name="connsiteX297" fmla="*/ 7166 w 10354"/>
                <a:gd name="connsiteY297" fmla="*/ 7735 h 10000"/>
                <a:gd name="connsiteX298" fmla="*/ 7171 w 10354"/>
                <a:gd name="connsiteY298" fmla="*/ 7624 h 10000"/>
                <a:gd name="connsiteX299" fmla="*/ 7171 w 10354"/>
                <a:gd name="connsiteY299" fmla="*/ 7615 h 10000"/>
                <a:gd name="connsiteX300" fmla="*/ 7171 w 10354"/>
                <a:gd name="connsiteY300" fmla="*/ 7590 h 10000"/>
                <a:gd name="connsiteX301" fmla="*/ 7166 w 10354"/>
                <a:gd name="connsiteY301" fmla="*/ 7564 h 10000"/>
                <a:gd name="connsiteX302" fmla="*/ 7157 w 10354"/>
                <a:gd name="connsiteY302" fmla="*/ 7564 h 10000"/>
                <a:gd name="connsiteX303" fmla="*/ 7097 w 10354"/>
                <a:gd name="connsiteY303" fmla="*/ 7573 h 10000"/>
                <a:gd name="connsiteX304" fmla="*/ 7065 w 10354"/>
                <a:gd name="connsiteY304" fmla="*/ 7538 h 10000"/>
                <a:gd name="connsiteX305" fmla="*/ 7069 w 10354"/>
                <a:gd name="connsiteY305" fmla="*/ 7504 h 10000"/>
                <a:gd name="connsiteX306" fmla="*/ 7106 w 10354"/>
                <a:gd name="connsiteY306" fmla="*/ 7453 h 10000"/>
                <a:gd name="connsiteX307" fmla="*/ 7111 w 10354"/>
                <a:gd name="connsiteY307" fmla="*/ 7436 h 10000"/>
                <a:gd name="connsiteX308" fmla="*/ 7138 w 10354"/>
                <a:gd name="connsiteY308" fmla="*/ 7402 h 10000"/>
                <a:gd name="connsiteX309" fmla="*/ 7143 w 10354"/>
                <a:gd name="connsiteY309" fmla="*/ 7376 h 10000"/>
                <a:gd name="connsiteX310" fmla="*/ 7152 w 10354"/>
                <a:gd name="connsiteY310" fmla="*/ 7368 h 10000"/>
                <a:gd name="connsiteX311" fmla="*/ 7157 w 10354"/>
                <a:gd name="connsiteY311" fmla="*/ 7350 h 10000"/>
                <a:gd name="connsiteX312" fmla="*/ 7230 w 10354"/>
                <a:gd name="connsiteY312" fmla="*/ 7239 h 10000"/>
                <a:gd name="connsiteX313" fmla="*/ 7240 w 10354"/>
                <a:gd name="connsiteY313" fmla="*/ 7205 h 10000"/>
                <a:gd name="connsiteX314" fmla="*/ 7253 w 10354"/>
                <a:gd name="connsiteY314" fmla="*/ 7188 h 10000"/>
                <a:gd name="connsiteX315" fmla="*/ 7258 w 10354"/>
                <a:gd name="connsiteY315" fmla="*/ 7162 h 10000"/>
                <a:gd name="connsiteX316" fmla="*/ 7258 w 10354"/>
                <a:gd name="connsiteY316" fmla="*/ 7154 h 10000"/>
                <a:gd name="connsiteX317" fmla="*/ 7272 w 10354"/>
                <a:gd name="connsiteY317" fmla="*/ 7120 h 10000"/>
                <a:gd name="connsiteX318" fmla="*/ 7276 w 10354"/>
                <a:gd name="connsiteY318" fmla="*/ 7094 h 10000"/>
                <a:gd name="connsiteX319" fmla="*/ 7286 w 10354"/>
                <a:gd name="connsiteY319" fmla="*/ 7094 h 10000"/>
                <a:gd name="connsiteX320" fmla="*/ 7290 w 10354"/>
                <a:gd name="connsiteY320" fmla="*/ 7068 h 10000"/>
                <a:gd name="connsiteX321" fmla="*/ 7332 w 10354"/>
                <a:gd name="connsiteY321" fmla="*/ 6991 h 10000"/>
                <a:gd name="connsiteX322" fmla="*/ 7336 w 10354"/>
                <a:gd name="connsiteY322" fmla="*/ 6991 h 10000"/>
                <a:gd name="connsiteX323" fmla="*/ 7364 w 10354"/>
                <a:gd name="connsiteY323" fmla="*/ 6940 h 10000"/>
                <a:gd name="connsiteX324" fmla="*/ 7373 w 10354"/>
                <a:gd name="connsiteY324" fmla="*/ 6906 h 10000"/>
                <a:gd name="connsiteX325" fmla="*/ 7378 w 10354"/>
                <a:gd name="connsiteY325" fmla="*/ 6915 h 10000"/>
                <a:gd name="connsiteX326" fmla="*/ 7406 w 10354"/>
                <a:gd name="connsiteY326" fmla="*/ 6880 h 10000"/>
                <a:gd name="connsiteX327" fmla="*/ 7410 w 10354"/>
                <a:gd name="connsiteY327" fmla="*/ 6846 h 10000"/>
                <a:gd name="connsiteX328" fmla="*/ 7419 w 10354"/>
                <a:gd name="connsiteY328" fmla="*/ 6803 h 10000"/>
                <a:gd name="connsiteX329" fmla="*/ 7585 w 10354"/>
                <a:gd name="connsiteY329" fmla="*/ 6504 h 10000"/>
                <a:gd name="connsiteX330" fmla="*/ 7765 w 10354"/>
                <a:gd name="connsiteY330" fmla="*/ 6504 h 10000"/>
                <a:gd name="connsiteX331" fmla="*/ 7765 w 10354"/>
                <a:gd name="connsiteY331" fmla="*/ 6530 h 10000"/>
                <a:gd name="connsiteX332" fmla="*/ 7774 w 10354"/>
                <a:gd name="connsiteY332" fmla="*/ 6556 h 10000"/>
                <a:gd name="connsiteX333" fmla="*/ 7779 w 10354"/>
                <a:gd name="connsiteY333" fmla="*/ 6556 h 10000"/>
                <a:gd name="connsiteX334" fmla="*/ 7793 w 10354"/>
                <a:gd name="connsiteY334" fmla="*/ 6547 h 10000"/>
                <a:gd name="connsiteX335" fmla="*/ 7793 w 10354"/>
                <a:gd name="connsiteY335" fmla="*/ 6530 h 10000"/>
                <a:gd name="connsiteX336" fmla="*/ 7802 w 10354"/>
                <a:gd name="connsiteY336" fmla="*/ 6496 h 10000"/>
                <a:gd name="connsiteX337" fmla="*/ 7806 w 10354"/>
                <a:gd name="connsiteY337" fmla="*/ 6487 h 10000"/>
                <a:gd name="connsiteX338" fmla="*/ 7876 w 10354"/>
                <a:gd name="connsiteY338" fmla="*/ 6530 h 10000"/>
                <a:gd name="connsiteX339" fmla="*/ 7894 w 10354"/>
                <a:gd name="connsiteY339" fmla="*/ 6530 h 10000"/>
                <a:gd name="connsiteX340" fmla="*/ 7894 w 10354"/>
                <a:gd name="connsiteY340" fmla="*/ 6504 h 10000"/>
                <a:gd name="connsiteX341" fmla="*/ 7899 w 10354"/>
                <a:gd name="connsiteY341" fmla="*/ 6504 h 10000"/>
                <a:gd name="connsiteX342" fmla="*/ 7926 w 10354"/>
                <a:gd name="connsiteY342" fmla="*/ 6504 h 10000"/>
                <a:gd name="connsiteX343" fmla="*/ 7940 w 10354"/>
                <a:gd name="connsiteY343" fmla="*/ 6547 h 10000"/>
                <a:gd name="connsiteX344" fmla="*/ 7949 w 10354"/>
                <a:gd name="connsiteY344" fmla="*/ 6547 h 10000"/>
                <a:gd name="connsiteX345" fmla="*/ 7963 w 10354"/>
                <a:gd name="connsiteY345" fmla="*/ 6530 h 10000"/>
                <a:gd name="connsiteX346" fmla="*/ 7963 w 10354"/>
                <a:gd name="connsiteY346" fmla="*/ 6504 h 10000"/>
                <a:gd name="connsiteX347" fmla="*/ 7963 w 10354"/>
                <a:gd name="connsiteY347" fmla="*/ 6504 h 10000"/>
                <a:gd name="connsiteX348" fmla="*/ 7954 w 10354"/>
                <a:gd name="connsiteY348" fmla="*/ 6496 h 10000"/>
                <a:gd name="connsiteX349" fmla="*/ 7963 w 10354"/>
                <a:gd name="connsiteY349" fmla="*/ 6487 h 10000"/>
                <a:gd name="connsiteX350" fmla="*/ 7982 w 10354"/>
                <a:gd name="connsiteY350" fmla="*/ 6487 h 10000"/>
                <a:gd name="connsiteX351" fmla="*/ 7982 w 10354"/>
                <a:gd name="connsiteY351" fmla="*/ 6470 h 10000"/>
                <a:gd name="connsiteX352" fmla="*/ 7972 w 10354"/>
                <a:gd name="connsiteY352" fmla="*/ 6462 h 10000"/>
                <a:gd name="connsiteX353" fmla="*/ 7972 w 10354"/>
                <a:gd name="connsiteY353" fmla="*/ 6436 h 10000"/>
                <a:gd name="connsiteX354" fmla="*/ 7986 w 10354"/>
                <a:gd name="connsiteY354" fmla="*/ 6419 h 10000"/>
                <a:gd name="connsiteX355" fmla="*/ 8000 w 10354"/>
                <a:gd name="connsiteY355" fmla="*/ 6419 h 10000"/>
                <a:gd name="connsiteX356" fmla="*/ 8055 w 10354"/>
                <a:gd name="connsiteY356" fmla="*/ 6462 h 10000"/>
                <a:gd name="connsiteX357" fmla="*/ 8069 w 10354"/>
                <a:gd name="connsiteY357" fmla="*/ 6444 h 10000"/>
                <a:gd name="connsiteX358" fmla="*/ 8083 w 10354"/>
                <a:gd name="connsiteY358" fmla="*/ 6470 h 10000"/>
                <a:gd name="connsiteX359" fmla="*/ 8083 w 10354"/>
                <a:gd name="connsiteY359" fmla="*/ 6487 h 10000"/>
                <a:gd name="connsiteX360" fmla="*/ 8097 w 10354"/>
                <a:gd name="connsiteY360" fmla="*/ 6487 h 10000"/>
                <a:gd name="connsiteX361" fmla="*/ 8101 w 10354"/>
                <a:gd name="connsiteY361" fmla="*/ 6462 h 10000"/>
                <a:gd name="connsiteX362" fmla="*/ 8115 w 10354"/>
                <a:gd name="connsiteY362" fmla="*/ 6462 h 10000"/>
                <a:gd name="connsiteX363" fmla="*/ 8129 w 10354"/>
                <a:gd name="connsiteY363" fmla="*/ 6462 h 10000"/>
                <a:gd name="connsiteX364" fmla="*/ 8157 w 10354"/>
                <a:gd name="connsiteY364" fmla="*/ 6496 h 10000"/>
                <a:gd name="connsiteX365" fmla="*/ 8157 w 10354"/>
                <a:gd name="connsiteY365" fmla="*/ 6521 h 10000"/>
                <a:gd name="connsiteX366" fmla="*/ 8180 w 10354"/>
                <a:gd name="connsiteY366" fmla="*/ 6530 h 10000"/>
                <a:gd name="connsiteX367" fmla="*/ 8180 w 10354"/>
                <a:gd name="connsiteY367" fmla="*/ 6547 h 10000"/>
                <a:gd name="connsiteX368" fmla="*/ 8171 w 10354"/>
                <a:gd name="connsiteY368" fmla="*/ 6556 h 10000"/>
                <a:gd name="connsiteX369" fmla="*/ 8129 w 10354"/>
                <a:gd name="connsiteY369" fmla="*/ 6556 h 10000"/>
                <a:gd name="connsiteX370" fmla="*/ 8106 w 10354"/>
                <a:gd name="connsiteY370" fmla="*/ 6573 h 10000"/>
                <a:gd name="connsiteX371" fmla="*/ 8115 w 10354"/>
                <a:gd name="connsiteY371" fmla="*/ 6581 h 10000"/>
                <a:gd name="connsiteX372" fmla="*/ 8129 w 10354"/>
                <a:gd name="connsiteY372" fmla="*/ 6632 h 10000"/>
                <a:gd name="connsiteX373" fmla="*/ 8171 w 10354"/>
                <a:gd name="connsiteY373" fmla="*/ 6632 h 10000"/>
                <a:gd name="connsiteX374" fmla="*/ 8180 w 10354"/>
                <a:gd name="connsiteY374" fmla="*/ 6624 h 10000"/>
                <a:gd name="connsiteX375" fmla="*/ 8189 w 10354"/>
                <a:gd name="connsiteY375" fmla="*/ 6598 h 10000"/>
                <a:gd name="connsiteX376" fmla="*/ 8203 w 10354"/>
                <a:gd name="connsiteY376" fmla="*/ 6581 h 10000"/>
                <a:gd name="connsiteX377" fmla="*/ 8207 w 10354"/>
                <a:gd name="connsiteY377" fmla="*/ 6607 h 10000"/>
                <a:gd name="connsiteX378" fmla="*/ 8221 w 10354"/>
                <a:gd name="connsiteY378" fmla="*/ 6624 h 10000"/>
                <a:gd name="connsiteX379" fmla="*/ 8235 w 10354"/>
                <a:gd name="connsiteY379" fmla="*/ 6607 h 10000"/>
                <a:gd name="connsiteX380" fmla="*/ 8240 w 10354"/>
                <a:gd name="connsiteY380" fmla="*/ 6581 h 10000"/>
                <a:gd name="connsiteX381" fmla="*/ 8253 w 10354"/>
                <a:gd name="connsiteY381" fmla="*/ 6573 h 10000"/>
                <a:gd name="connsiteX382" fmla="*/ 8263 w 10354"/>
                <a:gd name="connsiteY382" fmla="*/ 6556 h 10000"/>
                <a:gd name="connsiteX383" fmla="*/ 8276 w 10354"/>
                <a:gd name="connsiteY383" fmla="*/ 6547 h 10000"/>
                <a:gd name="connsiteX384" fmla="*/ 8290 w 10354"/>
                <a:gd name="connsiteY384" fmla="*/ 6556 h 10000"/>
                <a:gd name="connsiteX385" fmla="*/ 8304 w 10354"/>
                <a:gd name="connsiteY385" fmla="*/ 6581 h 10000"/>
                <a:gd name="connsiteX386" fmla="*/ 8309 w 10354"/>
                <a:gd name="connsiteY386" fmla="*/ 6581 h 10000"/>
                <a:gd name="connsiteX387" fmla="*/ 8327 w 10354"/>
                <a:gd name="connsiteY387" fmla="*/ 6573 h 10000"/>
                <a:gd name="connsiteX388" fmla="*/ 8327 w 10354"/>
                <a:gd name="connsiteY388" fmla="*/ 6556 h 10000"/>
                <a:gd name="connsiteX389" fmla="*/ 8350 w 10354"/>
                <a:gd name="connsiteY389" fmla="*/ 6556 h 10000"/>
                <a:gd name="connsiteX390" fmla="*/ 8355 w 10354"/>
                <a:gd name="connsiteY390" fmla="*/ 6573 h 10000"/>
                <a:gd name="connsiteX391" fmla="*/ 8364 w 10354"/>
                <a:gd name="connsiteY391" fmla="*/ 6556 h 10000"/>
                <a:gd name="connsiteX392" fmla="*/ 8369 w 10354"/>
                <a:gd name="connsiteY392" fmla="*/ 6556 h 10000"/>
                <a:gd name="connsiteX393" fmla="*/ 8378 w 10354"/>
                <a:gd name="connsiteY393" fmla="*/ 6530 h 10000"/>
                <a:gd name="connsiteX394" fmla="*/ 8369 w 10354"/>
                <a:gd name="connsiteY394" fmla="*/ 6504 h 10000"/>
                <a:gd name="connsiteX395" fmla="*/ 8364 w 10354"/>
                <a:gd name="connsiteY395" fmla="*/ 6496 h 10000"/>
                <a:gd name="connsiteX396" fmla="*/ 8336 w 10354"/>
                <a:gd name="connsiteY396" fmla="*/ 6470 h 10000"/>
                <a:gd name="connsiteX397" fmla="*/ 8309 w 10354"/>
                <a:gd name="connsiteY397" fmla="*/ 6487 h 10000"/>
                <a:gd name="connsiteX398" fmla="*/ 8313 w 10354"/>
                <a:gd name="connsiteY398" fmla="*/ 6462 h 10000"/>
                <a:gd name="connsiteX399" fmla="*/ 8323 w 10354"/>
                <a:gd name="connsiteY399" fmla="*/ 6444 h 10000"/>
                <a:gd name="connsiteX400" fmla="*/ 8309 w 10354"/>
                <a:gd name="connsiteY400" fmla="*/ 6393 h 10000"/>
                <a:gd name="connsiteX401" fmla="*/ 8313 w 10354"/>
                <a:gd name="connsiteY401" fmla="*/ 6385 h 10000"/>
                <a:gd name="connsiteX402" fmla="*/ 8323 w 10354"/>
                <a:gd name="connsiteY402" fmla="*/ 6393 h 10000"/>
                <a:gd name="connsiteX403" fmla="*/ 8323 w 10354"/>
                <a:gd name="connsiteY403" fmla="*/ 6393 h 10000"/>
                <a:gd name="connsiteX404" fmla="*/ 8355 w 10354"/>
                <a:gd name="connsiteY404" fmla="*/ 6282 h 10000"/>
                <a:gd name="connsiteX405" fmla="*/ 8369 w 10354"/>
                <a:gd name="connsiteY405" fmla="*/ 6256 h 10000"/>
                <a:gd name="connsiteX406" fmla="*/ 8382 w 10354"/>
                <a:gd name="connsiteY406" fmla="*/ 6248 h 10000"/>
                <a:gd name="connsiteX407" fmla="*/ 8424 w 10354"/>
                <a:gd name="connsiteY407" fmla="*/ 6162 h 10000"/>
                <a:gd name="connsiteX408" fmla="*/ 8429 w 10354"/>
                <a:gd name="connsiteY408" fmla="*/ 6145 h 10000"/>
                <a:gd name="connsiteX409" fmla="*/ 8470 w 10354"/>
                <a:gd name="connsiteY409" fmla="*/ 6051 h 10000"/>
                <a:gd name="connsiteX410" fmla="*/ 8475 w 10354"/>
                <a:gd name="connsiteY410" fmla="*/ 5983 h 10000"/>
                <a:gd name="connsiteX411" fmla="*/ 8512 w 10354"/>
                <a:gd name="connsiteY411" fmla="*/ 5940 h 10000"/>
                <a:gd name="connsiteX412" fmla="*/ 8521 w 10354"/>
                <a:gd name="connsiteY412" fmla="*/ 5923 h 10000"/>
                <a:gd name="connsiteX413" fmla="*/ 8535 w 10354"/>
                <a:gd name="connsiteY413" fmla="*/ 5915 h 10000"/>
                <a:gd name="connsiteX414" fmla="*/ 8562 w 10354"/>
                <a:gd name="connsiteY414" fmla="*/ 5915 h 10000"/>
                <a:gd name="connsiteX415" fmla="*/ 8618 w 10354"/>
                <a:gd name="connsiteY415" fmla="*/ 5889 h 10000"/>
                <a:gd name="connsiteX416" fmla="*/ 8622 w 10354"/>
                <a:gd name="connsiteY416" fmla="*/ 5889 h 10000"/>
                <a:gd name="connsiteX417" fmla="*/ 8622 w 10354"/>
                <a:gd name="connsiteY417" fmla="*/ 5872 h 10000"/>
                <a:gd name="connsiteX418" fmla="*/ 8636 w 10354"/>
                <a:gd name="connsiteY418" fmla="*/ 5872 h 10000"/>
                <a:gd name="connsiteX419" fmla="*/ 8650 w 10354"/>
                <a:gd name="connsiteY419" fmla="*/ 5889 h 10000"/>
                <a:gd name="connsiteX420" fmla="*/ 8659 w 10354"/>
                <a:gd name="connsiteY420" fmla="*/ 5915 h 10000"/>
                <a:gd name="connsiteX421" fmla="*/ 8664 w 10354"/>
                <a:gd name="connsiteY421" fmla="*/ 5940 h 10000"/>
                <a:gd name="connsiteX422" fmla="*/ 8682 w 10354"/>
                <a:gd name="connsiteY422" fmla="*/ 5923 h 10000"/>
                <a:gd name="connsiteX423" fmla="*/ 8719 w 10354"/>
                <a:gd name="connsiteY423" fmla="*/ 5863 h 10000"/>
                <a:gd name="connsiteX424" fmla="*/ 8705 w 10354"/>
                <a:gd name="connsiteY424" fmla="*/ 5966 h 10000"/>
                <a:gd name="connsiteX425" fmla="*/ 8696 w 10354"/>
                <a:gd name="connsiteY425" fmla="*/ 5983 h 10000"/>
                <a:gd name="connsiteX426" fmla="*/ 8682 w 10354"/>
                <a:gd name="connsiteY426" fmla="*/ 6026 h 10000"/>
                <a:gd name="connsiteX427" fmla="*/ 8682 w 10354"/>
                <a:gd name="connsiteY427" fmla="*/ 6051 h 10000"/>
                <a:gd name="connsiteX428" fmla="*/ 8691 w 10354"/>
                <a:gd name="connsiteY428" fmla="*/ 6077 h 10000"/>
                <a:gd name="connsiteX429" fmla="*/ 8691 w 10354"/>
                <a:gd name="connsiteY429" fmla="*/ 6085 h 10000"/>
                <a:gd name="connsiteX430" fmla="*/ 8682 w 10354"/>
                <a:gd name="connsiteY430" fmla="*/ 6103 h 10000"/>
                <a:gd name="connsiteX431" fmla="*/ 8682 w 10354"/>
                <a:gd name="connsiteY431" fmla="*/ 6111 h 10000"/>
                <a:gd name="connsiteX432" fmla="*/ 8691 w 10354"/>
                <a:gd name="connsiteY432" fmla="*/ 6120 h 10000"/>
                <a:gd name="connsiteX433" fmla="*/ 8719 w 10354"/>
                <a:gd name="connsiteY433" fmla="*/ 6103 h 10000"/>
                <a:gd name="connsiteX434" fmla="*/ 8705 w 10354"/>
                <a:gd name="connsiteY434" fmla="*/ 6188 h 10000"/>
                <a:gd name="connsiteX435" fmla="*/ 8705 w 10354"/>
                <a:gd name="connsiteY435" fmla="*/ 6214 h 10000"/>
                <a:gd name="connsiteX436" fmla="*/ 8710 w 10354"/>
                <a:gd name="connsiteY436" fmla="*/ 6197 h 10000"/>
                <a:gd name="connsiteX437" fmla="*/ 8728 w 10354"/>
                <a:gd name="connsiteY437" fmla="*/ 6171 h 10000"/>
                <a:gd name="connsiteX438" fmla="*/ 8737 w 10354"/>
                <a:gd name="connsiteY438" fmla="*/ 6171 h 10000"/>
                <a:gd name="connsiteX439" fmla="*/ 8843 w 10354"/>
                <a:gd name="connsiteY439" fmla="*/ 5949 h 10000"/>
                <a:gd name="connsiteX440" fmla="*/ 8866 w 10354"/>
                <a:gd name="connsiteY440" fmla="*/ 5949 h 10000"/>
                <a:gd name="connsiteX441" fmla="*/ 8871 w 10354"/>
                <a:gd name="connsiteY441" fmla="*/ 5940 h 10000"/>
                <a:gd name="connsiteX442" fmla="*/ 8876 w 10354"/>
                <a:gd name="connsiteY442" fmla="*/ 5923 h 10000"/>
                <a:gd name="connsiteX443" fmla="*/ 8885 w 10354"/>
                <a:gd name="connsiteY443" fmla="*/ 5940 h 10000"/>
                <a:gd name="connsiteX444" fmla="*/ 8885 w 10354"/>
                <a:gd name="connsiteY444" fmla="*/ 5949 h 10000"/>
                <a:gd name="connsiteX445" fmla="*/ 8885 w 10354"/>
                <a:gd name="connsiteY445" fmla="*/ 5974 h 10000"/>
                <a:gd name="connsiteX446" fmla="*/ 8889 w 10354"/>
                <a:gd name="connsiteY446" fmla="*/ 5974 h 10000"/>
                <a:gd name="connsiteX447" fmla="*/ 8903 w 10354"/>
                <a:gd name="connsiteY447" fmla="*/ 5923 h 10000"/>
                <a:gd name="connsiteX448" fmla="*/ 8889 w 10354"/>
                <a:gd name="connsiteY448" fmla="*/ 5923 h 10000"/>
                <a:gd name="connsiteX449" fmla="*/ 8889 w 10354"/>
                <a:gd name="connsiteY449" fmla="*/ 5897 h 10000"/>
                <a:gd name="connsiteX450" fmla="*/ 8899 w 10354"/>
                <a:gd name="connsiteY450" fmla="*/ 5838 h 10000"/>
                <a:gd name="connsiteX451" fmla="*/ 8889 w 10354"/>
                <a:gd name="connsiteY451" fmla="*/ 5812 h 10000"/>
                <a:gd name="connsiteX452" fmla="*/ 8903 w 10354"/>
                <a:gd name="connsiteY452" fmla="*/ 5778 h 10000"/>
                <a:gd name="connsiteX453" fmla="*/ 8903 w 10354"/>
                <a:gd name="connsiteY453" fmla="*/ 5761 h 10000"/>
                <a:gd name="connsiteX454" fmla="*/ 8912 w 10354"/>
                <a:gd name="connsiteY454" fmla="*/ 5735 h 10000"/>
                <a:gd name="connsiteX455" fmla="*/ 8931 w 10354"/>
                <a:gd name="connsiteY455" fmla="*/ 5701 h 10000"/>
                <a:gd name="connsiteX456" fmla="*/ 8977 w 10354"/>
                <a:gd name="connsiteY456" fmla="*/ 5675 h 10000"/>
                <a:gd name="connsiteX457" fmla="*/ 9000 w 10354"/>
                <a:gd name="connsiteY457" fmla="*/ 5675 h 10000"/>
                <a:gd name="connsiteX458" fmla="*/ 9018 w 10354"/>
                <a:gd name="connsiteY458" fmla="*/ 5709 h 10000"/>
                <a:gd name="connsiteX459" fmla="*/ 9009 w 10354"/>
                <a:gd name="connsiteY459" fmla="*/ 5735 h 10000"/>
                <a:gd name="connsiteX460" fmla="*/ 9000 w 10354"/>
                <a:gd name="connsiteY460" fmla="*/ 5735 h 10000"/>
                <a:gd name="connsiteX461" fmla="*/ 8963 w 10354"/>
                <a:gd name="connsiteY461" fmla="*/ 5786 h 10000"/>
                <a:gd name="connsiteX462" fmla="*/ 8949 w 10354"/>
                <a:gd name="connsiteY462" fmla="*/ 5940 h 10000"/>
                <a:gd name="connsiteX463" fmla="*/ 8945 w 10354"/>
                <a:gd name="connsiteY463" fmla="*/ 5966 h 10000"/>
                <a:gd name="connsiteX464" fmla="*/ 8945 w 10354"/>
                <a:gd name="connsiteY464" fmla="*/ 6000 h 10000"/>
                <a:gd name="connsiteX465" fmla="*/ 8945 w 10354"/>
                <a:gd name="connsiteY465" fmla="*/ 6009 h 10000"/>
                <a:gd name="connsiteX466" fmla="*/ 8945 w 10354"/>
                <a:gd name="connsiteY466" fmla="*/ 6034 h 10000"/>
                <a:gd name="connsiteX467" fmla="*/ 8931 w 10354"/>
                <a:gd name="connsiteY467" fmla="*/ 6060 h 10000"/>
                <a:gd name="connsiteX468" fmla="*/ 8926 w 10354"/>
                <a:gd name="connsiteY468" fmla="*/ 6077 h 10000"/>
                <a:gd name="connsiteX469" fmla="*/ 8926 w 10354"/>
                <a:gd name="connsiteY469" fmla="*/ 6111 h 10000"/>
                <a:gd name="connsiteX470" fmla="*/ 8931 w 10354"/>
                <a:gd name="connsiteY470" fmla="*/ 6120 h 10000"/>
                <a:gd name="connsiteX471" fmla="*/ 8931 w 10354"/>
                <a:gd name="connsiteY471" fmla="*/ 6137 h 10000"/>
                <a:gd name="connsiteX472" fmla="*/ 8912 w 10354"/>
                <a:gd name="connsiteY472" fmla="*/ 6171 h 10000"/>
                <a:gd name="connsiteX473" fmla="*/ 8899 w 10354"/>
                <a:gd name="connsiteY473" fmla="*/ 6162 h 10000"/>
                <a:gd name="connsiteX474" fmla="*/ 8885 w 10354"/>
                <a:gd name="connsiteY474" fmla="*/ 6171 h 10000"/>
                <a:gd name="connsiteX475" fmla="*/ 8866 w 10354"/>
                <a:gd name="connsiteY475" fmla="*/ 6214 h 10000"/>
                <a:gd name="connsiteX476" fmla="*/ 8853 w 10354"/>
                <a:gd name="connsiteY476" fmla="*/ 6214 h 10000"/>
                <a:gd name="connsiteX477" fmla="*/ 8816 w 10354"/>
                <a:gd name="connsiteY477" fmla="*/ 6248 h 10000"/>
                <a:gd name="connsiteX478" fmla="*/ 8816 w 10354"/>
                <a:gd name="connsiteY478" fmla="*/ 6248 h 10000"/>
                <a:gd name="connsiteX479" fmla="*/ 8816 w 10354"/>
                <a:gd name="connsiteY479" fmla="*/ 6282 h 10000"/>
                <a:gd name="connsiteX480" fmla="*/ 8811 w 10354"/>
                <a:gd name="connsiteY480" fmla="*/ 6308 h 10000"/>
                <a:gd name="connsiteX481" fmla="*/ 8751 w 10354"/>
                <a:gd name="connsiteY481" fmla="*/ 6436 h 10000"/>
                <a:gd name="connsiteX482" fmla="*/ 8724 w 10354"/>
                <a:gd name="connsiteY482" fmla="*/ 6470 h 10000"/>
                <a:gd name="connsiteX483" fmla="*/ 8710 w 10354"/>
                <a:gd name="connsiteY483" fmla="*/ 6504 h 10000"/>
                <a:gd name="connsiteX484" fmla="*/ 8705 w 10354"/>
                <a:gd name="connsiteY484" fmla="*/ 6521 h 10000"/>
                <a:gd name="connsiteX485" fmla="*/ 8677 w 10354"/>
                <a:gd name="connsiteY485" fmla="*/ 6573 h 10000"/>
                <a:gd name="connsiteX486" fmla="*/ 8677 w 10354"/>
                <a:gd name="connsiteY486" fmla="*/ 6624 h 10000"/>
                <a:gd name="connsiteX487" fmla="*/ 8590 w 10354"/>
                <a:gd name="connsiteY487" fmla="*/ 6803 h 10000"/>
                <a:gd name="connsiteX488" fmla="*/ 8562 w 10354"/>
                <a:gd name="connsiteY488" fmla="*/ 6829 h 10000"/>
                <a:gd name="connsiteX489" fmla="*/ 8544 w 10354"/>
                <a:gd name="connsiteY489" fmla="*/ 6829 h 10000"/>
                <a:gd name="connsiteX490" fmla="*/ 8521 w 10354"/>
                <a:gd name="connsiteY490" fmla="*/ 6880 h 10000"/>
                <a:gd name="connsiteX491" fmla="*/ 8498 w 10354"/>
                <a:gd name="connsiteY491" fmla="*/ 6872 h 10000"/>
                <a:gd name="connsiteX492" fmla="*/ 8488 w 10354"/>
                <a:gd name="connsiteY492" fmla="*/ 6872 h 10000"/>
                <a:gd name="connsiteX493" fmla="*/ 8498 w 10354"/>
                <a:gd name="connsiteY493" fmla="*/ 6940 h 10000"/>
                <a:gd name="connsiteX494" fmla="*/ 8484 w 10354"/>
                <a:gd name="connsiteY494" fmla="*/ 7026 h 10000"/>
                <a:gd name="connsiteX495" fmla="*/ 8429 w 10354"/>
                <a:gd name="connsiteY495" fmla="*/ 7094 h 10000"/>
                <a:gd name="connsiteX496" fmla="*/ 8401 w 10354"/>
                <a:gd name="connsiteY496" fmla="*/ 7291 h 10000"/>
                <a:gd name="connsiteX497" fmla="*/ 8424 w 10354"/>
                <a:gd name="connsiteY497" fmla="*/ 7692 h 10000"/>
                <a:gd name="connsiteX498" fmla="*/ 8424 w 10354"/>
                <a:gd name="connsiteY498" fmla="*/ 7701 h 10000"/>
                <a:gd name="connsiteX499" fmla="*/ 8484 w 10354"/>
                <a:gd name="connsiteY499" fmla="*/ 8308 h 10000"/>
                <a:gd name="connsiteX500" fmla="*/ 8576 w 10354"/>
                <a:gd name="connsiteY500" fmla="*/ 8120 h 10000"/>
                <a:gd name="connsiteX501" fmla="*/ 8590 w 10354"/>
                <a:gd name="connsiteY501" fmla="*/ 8026 h 10000"/>
                <a:gd name="connsiteX502" fmla="*/ 8590 w 10354"/>
                <a:gd name="connsiteY502" fmla="*/ 7983 h 10000"/>
                <a:gd name="connsiteX503" fmla="*/ 8594 w 10354"/>
                <a:gd name="connsiteY503" fmla="*/ 7974 h 10000"/>
                <a:gd name="connsiteX504" fmla="*/ 8594 w 10354"/>
                <a:gd name="connsiteY504" fmla="*/ 7940 h 10000"/>
                <a:gd name="connsiteX505" fmla="*/ 8594 w 10354"/>
                <a:gd name="connsiteY505" fmla="*/ 7923 h 10000"/>
                <a:gd name="connsiteX506" fmla="*/ 8594 w 10354"/>
                <a:gd name="connsiteY506" fmla="*/ 7915 h 10000"/>
                <a:gd name="connsiteX507" fmla="*/ 8604 w 10354"/>
                <a:gd name="connsiteY507" fmla="*/ 7915 h 10000"/>
                <a:gd name="connsiteX508" fmla="*/ 8608 w 10354"/>
                <a:gd name="connsiteY508" fmla="*/ 7923 h 10000"/>
                <a:gd name="connsiteX509" fmla="*/ 8645 w 10354"/>
                <a:gd name="connsiteY509" fmla="*/ 7872 h 10000"/>
                <a:gd name="connsiteX510" fmla="*/ 8668 w 10354"/>
                <a:gd name="connsiteY510" fmla="*/ 7846 h 10000"/>
                <a:gd name="connsiteX511" fmla="*/ 8691 w 10354"/>
                <a:gd name="connsiteY511" fmla="*/ 7863 h 10000"/>
                <a:gd name="connsiteX512" fmla="*/ 8691 w 10354"/>
                <a:gd name="connsiteY512" fmla="*/ 7846 h 10000"/>
                <a:gd name="connsiteX513" fmla="*/ 8682 w 10354"/>
                <a:gd name="connsiteY513" fmla="*/ 7838 h 10000"/>
                <a:gd name="connsiteX514" fmla="*/ 8682 w 10354"/>
                <a:gd name="connsiteY514" fmla="*/ 7692 h 10000"/>
                <a:gd name="connsiteX515" fmla="*/ 8728 w 10354"/>
                <a:gd name="connsiteY515" fmla="*/ 7598 h 10000"/>
                <a:gd name="connsiteX516" fmla="*/ 8751 w 10354"/>
                <a:gd name="connsiteY516" fmla="*/ 7573 h 10000"/>
                <a:gd name="connsiteX517" fmla="*/ 8770 w 10354"/>
                <a:gd name="connsiteY517" fmla="*/ 7573 h 10000"/>
                <a:gd name="connsiteX518" fmla="*/ 8779 w 10354"/>
                <a:gd name="connsiteY518" fmla="*/ 7590 h 10000"/>
                <a:gd name="connsiteX519" fmla="*/ 8793 w 10354"/>
                <a:gd name="connsiteY519" fmla="*/ 7590 h 10000"/>
                <a:gd name="connsiteX520" fmla="*/ 8811 w 10354"/>
                <a:gd name="connsiteY520" fmla="*/ 7590 h 10000"/>
                <a:gd name="connsiteX521" fmla="*/ 8825 w 10354"/>
                <a:gd name="connsiteY521" fmla="*/ 7556 h 10000"/>
                <a:gd name="connsiteX522" fmla="*/ 8829 w 10354"/>
                <a:gd name="connsiteY522" fmla="*/ 7530 h 10000"/>
                <a:gd name="connsiteX523" fmla="*/ 8802 w 10354"/>
                <a:gd name="connsiteY523" fmla="*/ 7462 h 10000"/>
                <a:gd name="connsiteX524" fmla="*/ 8797 w 10354"/>
                <a:gd name="connsiteY524" fmla="*/ 7402 h 10000"/>
                <a:gd name="connsiteX525" fmla="*/ 8816 w 10354"/>
                <a:gd name="connsiteY525" fmla="*/ 7291 h 10000"/>
                <a:gd name="connsiteX526" fmla="*/ 8825 w 10354"/>
                <a:gd name="connsiteY526" fmla="*/ 7256 h 10000"/>
                <a:gd name="connsiteX527" fmla="*/ 8843 w 10354"/>
                <a:gd name="connsiteY527" fmla="*/ 7231 h 10000"/>
                <a:gd name="connsiteX528" fmla="*/ 8839 w 10354"/>
                <a:gd name="connsiteY528" fmla="*/ 7205 h 10000"/>
                <a:gd name="connsiteX529" fmla="*/ 8839 w 10354"/>
                <a:gd name="connsiteY529" fmla="*/ 7188 h 10000"/>
                <a:gd name="connsiteX530" fmla="*/ 8876 w 10354"/>
                <a:gd name="connsiteY530" fmla="*/ 7162 h 10000"/>
                <a:gd name="connsiteX531" fmla="*/ 8885 w 10354"/>
                <a:gd name="connsiteY531" fmla="*/ 7154 h 10000"/>
                <a:gd name="connsiteX532" fmla="*/ 8885 w 10354"/>
                <a:gd name="connsiteY532" fmla="*/ 7162 h 10000"/>
                <a:gd name="connsiteX533" fmla="*/ 8876 w 10354"/>
                <a:gd name="connsiteY533" fmla="*/ 7188 h 10000"/>
                <a:gd name="connsiteX534" fmla="*/ 8871 w 10354"/>
                <a:gd name="connsiteY534" fmla="*/ 7205 h 10000"/>
                <a:gd name="connsiteX535" fmla="*/ 8866 w 10354"/>
                <a:gd name="connsiteY535" fmla="*/ 7214 h 10000"/>
                <a:gd name="connsiteX536" fmla="*/ 8876 w 10354"/>
                <a:gd name="connsiteY536" fmla="*/ 7265 h 10000"/>
                <a:gd name="connsiteX537" fmla="*/ 8885 w 10354"/>
                <a:gd name="connsiteY537" fmla="*/ 7282 h 10000"/>
                <a:gd name="connsiteX538" fmla="*/ 8889 w 10354"/>
                <a:gd name="connsiteY538" fmla="*/ 7282 h 10000"/>
                <a:gd name="connsiteX539" fmla="*/ 8903 w 10354"/>
                <a:gd name="connsiteY539" fmla="*/ 7239 h 10000"/>
                <a:gd name="connsiteX540" fmla="*/ 8903 w 10354"/>
                <a:gd name="connsiteY540" fmla="*/ 7214 h 10000"/>
                <a:gd name="connsiteX541" fmla="*/ 8899 w 10354"/>
                <a:gd name="connsiteY541" fmla="*/ 7128 h 10000"/>
                <a:gd name="connsiteX542" fmla="*/ 8889 w 10354"/>
                <a:gd name="connsiteY542" fmla="*/ 7120 h 10000"/>
                <a:gd name="connsiteX543" fmla="*/ 8871 w 10354"/>
                <a:gd name="connsiteY543" fmla="*/ 7120 h 10000"/>
                <a:gd name="connsiteX544" fmla="*/ 8871 w 10354"/>
                <a:gd name="connsiteY544" fmla="*/ 7120 h 10000"/>
                <a:gd name="connsiteX545" fmla="*/ 8871 w 10354"/>
                <a:gd name="connsiteY545" fmla="*/ 6991 h 10000"/>
                <a:gd name="connsiteX546" fmla="*/ 8871 w 10354"/>
                <a:gd name="connsiteY546" fmla="*/ 6966 h 10000"/>
                <a:gd name="connsiteX547" fmla="*/ 8889 w 10354"/>
                <a:gd name="connsiteY547" fmla="*/ 6940 h 10000"/>
                <a:gd name="connsiteX548" fmla="*/ 8903 w 10354"/>
                <a:gd name="connsiteY548" fmla="*/ 6906 h 10000"/>
                <a:gd name="connsiteX549" fmla="*/ 8899 w 10354"/>
                <a:gd name="connsiteY549" fmla="*/ 6880 h 10000"/>
                <a:gd name="connsiteX550" fmla="*/ 8866 w 10354"/>
                <a:gd name="connsiteY550" fmla="*/ 6846 h 10000"/>
                <a:gd name="connsiteX551" fmla="*/ 8853 w 10354"/>
                <a:gd name="connsiteY551" fmla="*/ 6846 h 10000"/>
                <a:gd name="connsiteX552" fmla="*/ 8843 w 10354"/>
                <a:gd name="connsiteY552" fmla="*/ 6880 h 10000"/>
                <a:gd name="connsiteX553" fmla="*/ 8843 w 10354"/>
                <a:gd name="connsiteY553" fmla="*/ 6897 h 10000"/>
                <a:gd name="connsiteX554" fmla="*/ 8829 w 10354"/>
                <a:gd name="connsiteY554" fmla="*/ 6880 h 10000"/>
                <a:gd name="connsiteX555" fmla="*/ 8825 w 10354"/>
                <a:gd name="connsiteY555" fmla="*/ 6872 h 10000"/>
                <a:gd name="connsiteX556" fmla="*/ 8816 w 10354"/>
                <a:gd name="connsiteY556" fmla="*/ 6846 h 10000"/>
                <a:gd name="connsiteX557" fmla="*/ 8816 w 10354"/>
                <a:gd name="connsiteY557" fmla="*/ 6803 h 10000"/>
                <a:gd name="connsiteX558" fmla="*/ 8876 w 10354"/>
                <a:gd name="connsiteY558" fmla="*/ 6598 h 10000"/>
                <a:gd name="connsiteX559" fmla="*/ 8876 w 10354"/>
                <a:gd name="connsiteY559" fmla="*/ 6573 h 10000"/>
                <a:gd name="connsiteX560" fmla="*/ 8885 w 10354"/>
                <a:gd name="connsiteY560" fmla="*/ 6556 h 10000"/>
                <a:gd name="connsiteX561" fmla="*/ 8899 w 10354"/>
                <a:gd name="connsiteY561" fmla="*/ 6573 h 10000"/>
                <a:gd name="connsiteX562" fmla="*/ 8889 w 10354"/>
                <a:gd name="connsiteY562" fmla="*/ 6556 h 10000"/>
                <a:gd name="connsiteX563" fmla="*/ 8889 w 10354"/>
                <a:gd name="connsiteY563" fmla="*/ 6530 h 10000"/>
                <a:gd name="connsiteX564" fmla="*/ 8903 w 10354"/>
                <a:gd name="connsiteY564" fmla="*/ 6521 h 10000"/>
                <a:gd name="connsiteX565" fmla="*/ 8903 w 10354"/>
                <a:gd name="connsiteY565" fmla="*/ 6504 h 10000"/>
                <a:gd name="connsiteX566" fmla="*/ 8903 w 10354"/>
                <a:gd name="connsiteY566" fmla="*/ 6487 h 10000"/>
                <a:gd name="connsiteX567" fmla="*/ 8903 w 10354"/>
                <a:gd name="connsiteY567" fmla="*/ 6462 h 10000"/>
                <a:gd name="connsiteX568" fmla="*/ 8912 w 10354"/>
                <a:gd name="connsiteY568" fmla="*/ 6419 h 10000"/>
                <a:gd name="connsiteX569" fmla="*/ 8917 w 10354"/>
                <a:gd name="connsiteY569" fmla="*/ 6393 h 10000"/>
                <a:gd name="connsiteX570" fmla="*/ 8926 w 10354"/>
                <a:gd name="connsiteY570" fmla="*/ 6385 h 10000"/>
                <a:gd name="connsiteX571" fmla="*/ 8931 w 10354"/>
                <a:gd name="connsiteY571" fmla="*/ 6385 h 10000"/>
                <a:gd name="connsiteX572" fmla="*/ 8949 w 10354"/>
                <a:gd name="connsiteY572" fmla="*/ 6359 h 10000"/>
                <a:gd name="connsiteX573" fmla="*/ 8959 w 10354"/>
                <a:gd name="connsiteY573" fmla="*/ 6368 h 10000"/>
                <a:gd name="connsiteX574" fmla="*/ 8963 w 10354"/>
                <a:gd name="connsiteY574" fmla="*/ 6385 h 10000"/>
                <a:gd name="connsiteX575" fmla="*/ 8972 w 10354"/>
                <a:gd name="connsiteY575" fmla="*/ 6359 h 10000"/>
                <a:gd name="connsiteX576" fmla="*/ 8991 w 10354"/>
                <a:gd name="connsiteY576" fmla="*/ 6350 h 10000"/>
                <a:gd name="connsiteX577" fmla="*/ 9000 w 10354"/>
                <a:gd name="connsiteY577" fmla="*/ 6368 h 10000"/>
                <a:gd name="connsiteX578" fmla="*/ 9005 w 10354"/>
                <a:gd name="connsiteY578" fmla="*/ 6393 h 10000"/>
                <a:gd name="connsiteX579" fmla="*/ 9018 w 10354"/>
                <a:gd name="connsiteY579" fmla="*/ 6393 h 10000"/>
                <a:gd name="connsiteX580" fmla="*/ 9023 w 10354"/>
                <a:gd name="connsiteY580" fmla="*/ 6359 h 10000"/>
                <a:gd name="connsiteX581" fmla="*/ 9023 w 10354"/>
                <a:gd name="connsiteY581" fmla="*/ 6333 h 10000"/>
                <a:gd name="connsiteX582" fmla="*/ 9037 w 10354"/>
                <a:gd name="connsiteY582" fmla="*/ 6308 h 10000"/>
                <a:gd name="connsiteX583" fmla="*/ 9074 w 10354"/>
                <a:gd name="connsiteY583" fmla="*/ 6274 h 10000"/>
                <a:gd name="connsiteX584" fmla="*/ 9092 w 10354"/>
                <a:gd name="connsiteY584" fmla="*/ 6222 h 10000"/>
                <a:gd name="connsiteX585" fmla="*/ 9097 w 10354"/>
                <a:gd name="connsiteY585" fmla="*/ 6231 h 10000"/>
                <a:gd name="connsiteX586" fmla="*/ 9097 w 10354"/>
                <a:gd name="connsiteY586" fmla="*/ 6248 h 10000"/>
                <a:gd name="connsiteX587" fmla="*/ 9097 w 10354"/>
                <a:gd name="connsiteY587" fmla="*/ 6274 h 10000"/>
                <a:gd name="connsiteX588" fmla="*/ 9097 w 10354"/>
                <a:gd name="connsiteY588" fmla="*/ 6308 h 10000"/>
                <a:gd name="connsiteX589" fmla="*/ 9092 w 10354"/>
                <a:gd name="connsiteY589" fmla="*/ 6368 h 10000"/>
                <a:gd name="connsiteX590" fmla="*/ 9092 w 10354"/>
                <a:gd name="connsiteY590" fmla="*/ 6385 h 10000"/>
                <a:gd name="connsiteX591" fmla="*/ 9092 w 10354"/>
                <a:gd name="connsiteY591" fmla="*/ 6393 h 10000"/>
                <a:gd name="connsiteX592" fmla="*/ 9092 w 10354"/>
                <a:gd name="connsiteY592" fmla="*/ 6393 h 10000"/>
                <a:gd name="connsiteX593" fmla="*/ 9143 w 10354"/>
                <a:gd name="connsiteY593" fmla="*/ 6299 h 10000"/>
                <a:gd name="connsiteX594" fmla="*/ 9143 w 10354"/>
                <a:gd name="connsiteY594" fmla="*/ 6282 h 10000"/>
                <a:gd name="connsiteX595" fmla="*/ 9143 w 10354"/>
                <a:gd name="connsiteY595" fmla="*/ 6256 h 10000"/>
                <a:gd name="connsiteX596" fmla="*/ 9143 w 10354"/>
                <a:gd name="connsiteY596" fmla="*/ 6256 h 10000"/>
                <a:gd name="connsiteX597" fmla="*/ 9157 w 10354"/>
                <a:gd name="connsiteY597" fmla="*/ 6274 h 10000"/>
                <a:gd name="connsiteX598" fmla="*/ 9166 w 10354"/>
                <a:gd name="connsiteY598" fmla="*/ 6248 h 10000"/>
                <a:gd name="connsiteX599" fmla="*/ 9180 w 10354"/>
                <a:gd name="connsiteY599" fmla="*/ 6248 h 10000"/>
                <a:gd name="connsiteX600" fmla="*/ 9198 w 10354"/>
                <a:gd name="connsiteY600" fmla="*/ 6222 h 10000"/>
                <a:gd name="connsiteX601" fmla="*/ 9212 w 10354"/>
                <a:gd name="connsiteY601" fmla="*/ 6222 h 10000"/>
                <a:gd name="connsiteX602" fmla="*/ 9226 w 10354"/>
                <a:gd name="connsiteY602" fmla="*/ 6197 h 10000"/>
                <a:gd name="connsiteX603" fmla="*/ 9230 w 10354"/>
                <a:gd name="connsiteY603" fmla="*/ 6214 h 10000"/>
                <a:gd name="connsiteX604" fmla="*/ 9272 w 10354"/>
                <a:gd name="connsiteY604" fmla="*/ 6214 h 10000"/>
                <a:gd name="connsiteX605" fmla="*/ 9304 w 10354"/>
                <a:gd name="connsiteY605" fmla="*/ 6231 h 10000"/>
                <a:gd name="connsiteX606" fmla="*/ 9318 w 10354"/>
                <a:gd name="connsiteY606" fmla="*/ 6248 h 10000"/>
                <a:gd name="connsiteX607" fmla="*/ 9327 w 10354"/>
                <a:gd name="connsiteY607" fmla="*/ 6282 h 10000"/>
                <a:gd name="connsiteX608" fmla="*/ 9355 w 10354"/>
                <a:gd name="connsiteY608" fmla="*/ 6350 h 10000"/>
                <a:gd name="connsiteX609" fmla="*/ 9355 w 10354"/>
                <a:gd name="connsiteY609" fmla="*/ 6359 h 10000"/>
                <a:gd name="connsiteX610" fmla="*/ 9364 w 10354"/>
                <a:gd name="connsiteY610" fmla="*/ 6368 h 10000"/>
                <a:gd name="connsiteX611" fmla="*/ 9373 w 10354"/>
                <a:gd name="connsiteY611" fmla="*/ 6359 h 10000"/>
                <a:gd name="connsiteX612" fmla="*/ 9373 w 10354"/>
                <a:gd name="connsiteY612" fmla="*/ 6325 h 10000"/>
                <a:gd name="connsiteX613" fmla="*/ 9387 w 10354"/>
                <a:gd name="connsiteY613" fmla="*/ 6256 h 10000"/>
                <a:gd name="connsiteX614" fmla="*/ 9387 w 10354"/>
                <a:gd name="connsiteY614" fmla="*/ 6248 h 10000"/>
                <a:gd name="connsiteX615" fmla="*/ 9378 w 10354"/>
                <a:gd name="connsiteY615" fmla="*/ 6248 h 10000"/>
                <a:gd name="connsiteX616" fmla="*/ 9406 w 10354"/>
                <a:gd name="connsiteY616" fmla="*/ 6222 h 10000"/>
                <a:gd name="connsiteX617" fmla="*/ 9415 w 10354"/>
                <a:gd name="connsiteY617" fmla="*/ 6222 h 10000"/>
                <a:gd name="connsiteX618" fmla="*/ 9415 w 10354"/>
                <a:gd name="connsiteY618" fmla="*/ 6197 h 10000"/>
                <a:gd name="connsiteX619" fmla="*/ 9419 w 10354"/>
                <a:gd name="connsiteY619" fmla="*/ 6214 h 10000"/>
                <a:gd name="connsiteX620" fmla="*/ 9424 w 10354"/>
                <a:gd name="connsiteY620" fmla="*/ 6214 h 10000"/>
                <a:gd name="connsiteX621" fmla="*/ 9447 w 10354"/>
                <a:gd name="connsiteY621" fmla="*/ 6171 h 10000"/>
                <a:gd name="connsiteX622" fmla="*/ 9452 w 10354"/>
                <a:gd name="connsiteY622" fmla="*/ 6171 h 10000"/>
                <a:gd name="connsiteX623" fmla="*/ 9452 w 10354"/>
                <a:gd name="connsiteY623" fmla="*/ 6162 h 10000"/>
                <a:gd name="connsiteX624" fmla="*/ 9461 w 10354"/>
                <a:gd name="connsiteY624" fmla="*/ 6137 h 10000"/>
                <a:gd name="connsiteX625" fmla="*/ 9475 w 10354"/>
                <a:gd name="connsiteY625" fmla="*/ 6137 h 10000"/>
                <a:gd name="connsiteX626" fmla="*/ 9475 w 10354"/>
                <a:gd name="connsiteY626" fmla="*/ 6137 h 10000"/>
                <a:gd name="connsiteX627" fmla="*/ 9479 w 10354"/>
                <a:gd name="connsiteY627" fmla="*/ 6120 h 10000"/>
                <a:gd name="connsiteX628" fmla="*/ 9488 w 10354"/>
                <a:gd name="connsiteY628" fmla="*/ 6120 h 10000"/>
                <a:gd name="connsiteX629" fmla="*/ 9488 w 10354"/>
                <a:gd name="connsiteY629" fmla="*/ 6111 h 10000"/>
                <a:gd name="connsiteX630" fmla="*/ 9479 w 10354"/>
                <a:gd name="connsiteY630" fmla="*/ 6103 h 10000"/>
                <a:gd name="connsiteX631" fmla="*/ 9479 w 10354"/>
                <a:gd name="connsiteY631" fmla="*/ 6085 h 10000"/>
                <a:gd name="connsiteX632" fmla="*/ 9488 w 10354"/>
                <a:gd name="connsiteY632" fmla="*/ 6103 h 10000"/>
                <a:gd name="connsiteX633" fmla="*/ 9493 w 10354"/>
                <a:gd name="connsiteY633" fmla="*/ 6111 h 10000"/>
                <a:gd name="connsiteX634" fmla="*/ 9498 w 10354"/>
                <a:gd name="connsiteY634" fmla="*/ 6103 h 10000"/>
                <a:gd name="connsiteX635" fmla="*/ 9507 w 10354"/>
                <a:gd name="connsiteY635" fmla="*/ 6077 h 10000"/>
                <a:gd name="connsiteX636" fmla="*/ 9498 w 10354"/>
                <a:gd name="connsiteY636" fmla="*/ 6060 h 10000"/>
                <a:gd name="connsiteX637" fmla="*/ 9512 w 10354"/>
                <a:gd name="connsiteY637" fmla="*/ 6060 h 10000"/>
                <a:gd name="connsiteX638" fmla="*/ 9525 w 10354"/>
                <a:gd name="connsiteY638" fmla="*/ 6034 h 10000"/>
                <a:gd name="connsiteX639" fmla="*/ 9535 w 10354"/>
                <a:gd name="connsiteY639" fmla="*/ 6034 h 10000"/>
                <a:gd name="connsiteX640" fmla="*/ 9535 w 10354"/>
                <a:gd name="connsiteY640" fmla="*/ 6026 h 10000"/>
                <a:gd name="connsiteX641" fmla="*/ 9525 w 10354"/>
                <a:gd name="connsiteY641" fmla="*/ 6009 h 10000"/>
                <a:gd name="connsiteX642" fmla="*/ 9535 w 10354"/>
                <a:gd name="connsiteY642" fmla="*/ 6000 h 10000"/>
                <a:gd name="connsiteX643" fmla="*/ 9539 w 10354"/>
                <a:gd name="connsiteY643" fmla="*/ 6009 h 10000"/>
                <a:gd name="connsiteX644" fmla="*/ 9548 w 10354"/>
                <a:gd name="connsiteY644" fmla="*/ 6009 h 10000"/>
                <a:gd name="connsiteX645" fmla="*/ 9553 w 10354"/>
                <a:gd name="connsiteY645" fmla="*/ 6000 h 10000"/>
                <a:gd name="connsiteX646" fmla="*/ 9562 w 10354"/>
                <a:gd name="connsiteY646" fmla="*/ 5983 h 10000"/>
                <a:gd name="connsiteX647" fmla="*/ 9562 w 10354"/>
                <a:gd name="connsiteY647" fmla="*/ 5974 h 10000"/>
                <a:gd name="connsiteX648" fmla="*/ 9567 w 10354"/>
                <a:gd name="connsiteY648" fmla="*/ 5974 h 10000"/>
                <a:gd name="connsiteX649" fmla="*/ 9567 w 10354"/>
                <a:gd name="connsiteY649" fmla="*/ 5966 h 10000"/>
                <a:gd name="connsiteX650" fmla="*/ 9567 w 10354"/>
                <a:gd name="connsiteY650" fmla="*/ 5940 h 10000"/>
                <a:gd name="connsiteX651" fmla="*/ 9571 w 10354"/>
                <a:gd name="connsiteY651" fmla="*/ 5915 h 10000"/>
                <a:gd name="connsiteX652" fmla="*/ 9581 w 10354"/>
                <a:gd name="connsiteY652" fmla="*/ 5923 h 10000"/>
                <a:gd name="connsiteX653" fmla="*/ 9585 w 10354"/>
                <a:gd name="connsiteY653" fmla="*/ 5940 h 10000"/>
                <a:gd name="connsiteX654" fmla="*/ 9594 w 10354"/>
                <a:gd name="connsiteY654" fmla="*/ 5949 h 10000"/>
                <a:gd name="connsiteX655" fmla="*/ 9599 w 10354"/>
                <a:gd name="connsiteY655" fmla="*/ 5940 h 10000"/>
                <a:gd name="connsiteX656" fmla="*/ 9613 w 10354"/>
                <a:gd name="connsiteY656" fmla="*/ 5915 h 10000"/>
                <a:gd name="connsiteX657" fmla="*/ 9645 w 10354"/>
                <a:gd name="connsiteY657" fmla="*/ 5889 h 10000"/>
                <a:gd name="connsiteX658" fmla="*/ 9654 w 10354"/>
                <a:gd name="connsiteY658" fmla="*/ 5872 h 10000"/>
                <a:gd name="connsiteX659" fmla="*/ 9673 w 10354"/>
                <a:gd name="connsiteY659" fmla="*/ 5863 h 10000"/>
                <a:gd name="connsiteX660" fmla="*/ 9682 w 10354"/>
                <a:gd name="connsiteY660" fmla="*/ 5838 h 10000"/>
                <a:gd name="connsiteX661" fmla="*/ 9682 w 10354"/>
                <a:gd name="connsiteY661" fmla="*/ 5829 h 10000"/>
                <a:gd name="connsiteX662" fmla="*/ 9682 w 10354"/>
                <a:gd name="connsiteY662" fmla="*/ 5812 h 10000"/>
                <a:gd name="connsiteX663" fmla="*/ 9687 w 10354"/>
                <a:gd name="connsiteY663" fmla="*/ 5812 h 10000"/>
                <a:gd name="connsiteX664" fmla="*/ 9687 w 10354"/>
                <a:gd name="connsiteY664" fmla="*/ 5829 h 10000"/>
                <a:gd name="connsiteX665" fmla="*/ 9687 w 10354"/>
                <a:gd name="connsiteY665" fmla="*/ 5829 h 10000"/>
                <a:gd name="connsiteX666" fmla="*/ 9719 w 10354"/>
                <a:gd name="connsiteY666" fmla="*/ 5803 h 10000"/>
                <a:gd name="connsiteX667" fmla="*/ 9728 w 10354"/>
                <a:gd name="connsiteY667" fmla="*/ 5803 h 10000"/>
                <a:gd name="connsiteX668" fmla="*/ 9779 w 10354"/>
                <a:gd name="connsiteY668" fmla="*/ 5726 h 10000"/>
                <a:gd name="connsiteX669" fmla="*/ 9816 w 10354"/>
                <a:gd name="connsiteY669" fmla="*/ 5709 h 10000"/>
                <a:gd name="connsiteX670" fmla="*/ 9820 w 10354"/>
                <a:gd name="connsiteY670" fmla="*/ 5701 h 10000"/>
                <a:gd name="connsiteX671" fmla="*/ 9816 w 10354"/>
                <a:gd name="connsiteY671" fmla="*/ 5692 h 10000"/>
                <a:gd name="connsiteX672" fmla="*/ 9816 w 10354"/>
                <a:gd name="connsiteY672" fmla="*/ 5692 h 10000"/>
                <a:gd name="connsiteX673" fmla="*/ 9802 w 10354"/>
                <a:gd name="connsiteY673" fmla="*/ 5624 h 10000"/>
                <a:gd name="connsiteX674" fmla="*/ 9806 w 10354"/>
                <a:gd name="connsiteY674" fmla="*/ 5624 h 10000"/>
                <a:gd name="connsiteX675" fmla="*/ 9820 w 10354"/>
                <a:gd name="connsiteY675" fmla="*/ 5675 h 10000"/>
                <a:gd name="connsiteX676" fmla="*/ 9829 w 10354"/>
                <a:gd name="connsiteY676" fmla="*/ 5675 h 10000"/>
                <a:gd name="connsiteX677" fmla="*/ 9829 w 10354"/>
                <a:gd name="connsiteY677" fmla="*/ 5692 h 10000"/>
                <a:gd name="connsiteX678" fmla="*/ 9829 w 10354"/>
                <a:gd name="connsiteY678" fmla="*/ 5701 h 10000"/>
                <a:gd name="connsiteX679" fmla="*/ 9839 w 10354"/>
                <a:gd name="connsiteY679" fmla="*/ 5701 h 10000"/>
                <a:gd name="connsiteX680" fmla="*/ 9839 w 10354"/>
                <a:gd name="connsiteY680" fmla="*/ 5692 h 10000"/>
                <a:gd name="connsiteX681" fmla="*/ 9839 w 10354"/>
                <a:gd name="connsiteY681" fmla="*/ 5675 h 10000"/>
                <a:gd name="connsiteX682" fmla="*/ 9848 w 10354"/>
                <a:gd name="connsiteY682" fmla="*/ 5675 h 10000"/>
                <a:gd name="connsiteX683" fmla="*/ 9848 w 10354"/>
                <a:gd name="connsiteY683" fmla="*/ 5692 h 10000"/>
                <a:gd name="connsiteX684" fmla="*/ 9853 w 10354"/>
                <a:gd name="connsiteY684" fmla="*/ 5701 h 10000"/>
                <a:gd name="connsiteX685" fmla="*/ 9880 w 10354"/>
                <a:gd name="connsiteY685" fmla="*/ 5709 h 10000"/>
                <a:gd name="connsiteX686" fmla="*/ 9912 w 10354"/>
                <a:gd name="connsiteY686" fmla="*/ 5752 h 10000"/>
                <a:gd name="connsiteX687" fmla="*/ 9926 w 10354"/>
                <a:gd name="connsiteY687" fmla="*/ 5761 h 10000"/>
                <a:gd name="connsiteX688" fmla="*/ 9935 w 10354"/>
                <a:gd name="connsiteY688" fmla="*/ 5761 h 10000"/>
                <a:gd name="connsiteX689" fmla="*/ 9940 w 10354"/>
                <a:gd name="connsiteY689" fmla="*/ 5735 h 10000"/>
                <a:gd name="connsiteX690" fmla="*/ 9949 w 10354"/>
                <a:gd name="connsiteY690" fmla="*/ 5735 h 10000"/>
                <a:gd name="connsiteX691" fmla="*/ 9968 w 10354"/>
                <a:gd name="connsiteY691" fmla="*/ 5692 h 10000"/>
                <a:gd name="connsiteX692" fmla="*/ 9968 w 10354"/>
                <a:gd name="connsiteY692" fmla="*/ 5650 h 10000"/>
                <a:gd name="connsiteX693" fmla="*/ 9968 w 10354"/>
                <a:gd name="connsiteY693" fmla="*/ 5624 h 10000"/>
                <a:gd name="connsiteX694" fmla="*/ 9935 w 10354"/>
                <a:gd name="connsiteY694" fmla="*/ 5598 h 10000"/>
                <a:gd name="connsiteX695" fmla="*/ 9935 w 10354"/>
                <a:gd name="connsiteY695" fmla="*/ 5590 h 10000"/>
                <a:gd name="connsiteX696" fmla="*/ 9935 w 10354"/>
                <a:gd name="connsiteY696" fmla="*/ 5573 h 10000"/>
                <a:gd name="connsiteX697" fmla="*/ 9935 w 10354"/>
                <a:gd name="connsiteY697" fmla="*/ 5573 h 10000"/>
                <a:gd name="connsiteX698" fmla="*/ 9940 w 10354"/>
                <a:gd name="connsiteY698" fmla="*/ 5573 h 10000"/>
                <a:gd name="connsiteX699" fmla="*/ 9954 w 10354"/>
                <a:gd name="connsiteY699" fmla="*/ 5573 h 10000"/>
                <a:gd name="connsiteX700" fmla="*/ 9963 w 10354"/>
                <a:gd name="connsiteY700" fmla="*/ 5564 h 10000"/>
                <a:gd name="connsiteX701" fmla="*/ 9954 w 10354"/>
                <a:gd name="connsiteY701" fmla="*/ 5530 h 10000"/>
                <a:gd name="connsiteX702" fmla="*/ 9949 w 10354"/>
                <a:gd name="connsiteY702" fmla="*/ 5530 h 10000"/>
                <a:gd name="connsiteX703" fmla="*/ 9926 w 10354"/>
                <a:gd name="connsiteY703" fmla="*/ 5479 h 10000"/>
                <a:gd name="connsiteX704" fmla="*/ 9912 w 10354"/>
                <a:gd name="connsiteY704" fmla="*/ 5325 h 10000"/>
                <a:gd name="connsiteX705" fmla="*/ 9903 w 10354"/>
                <a:gd name="connsiteY705" fmla="*/ 5342 h 10000"/>
                <a:gd name="connsiteX706" fmla="*/ 9889 w 10354"/>
                <a:gd name="connsiteY706" fmla="*/ 5316 h 10000"/>
                <a:gd name="connsiteX707" fmla="*/ 9889 w 10354"/>
                <a:gd name="connsiteY707" fmla="*/ 5291 h 10000"/>
                <a:gd name="connsiteX708" fmla="*/ 9903 w 10354"/>
                <a:gd name="connsiteY708" fmla="*/ 5291 h 10000"/>
                <a:gd name="connsiteX709" fmla="*/ 9903 w 10354"/>
                <a:gd name="connsiteY709" fmla="*/ 5291 h 10000"/>
                <a:gd name="connsiteX710" fmla="*/ 9894 w 10354"/>
                <a:gd name="connsiteY710" fmla="*/ 5214 h 10000"/>
                <a:gd name="connsiteX711" fmla="*/ 9880 w 10354"/>
                <a:gd name="connsiteY711" fmla="*/ 5239 h 10000"/>
                <a:gd name="connsiteX712" fmla="*/ 9876 w 10354"/>
                <a:gd name="connsiteY712" fmla="*/ 5256 h 10000"/>
                <a:gd name="connsiteX713" fmla="*/ 9862 w 10354"/>
                <a:gd name="connsiteY713" fmla="*/ 5239 h 10000"/>
                <a:gd name="connsiteX714" fmla="*/ 9853 w 10354"/>
                <a:gd name="connsiteY714" fmla="*/ 5214 h 10000"/>
                <a:gd name="connsiteX715" fmla="*/ 9839 w 10354"/>
                <a:gd name="connsiteY715" fmla="*/ 5214 h 10000"/>
                <a:gd name="connsiteX716" fmla="*/ 9834 w 10354"/>
                <a:gd name="connsiteY716" fmla="*/ 5188 h 10000"/>
                <a:gd name="connsiteX717" fmla="*/ 9834 w 10354"/>
                <a:gd name="connsiteY717" fmla="*/ 5103 h 10000"/>
                <a:gd name="connsiteX718" fmla="*/ 9839 w 10354"/>
                <a:gd name="connsiteY718" fmla="*/ 5094 h 10000"/>
                <a:gd name="connsiteX719" fmla="*/ 9853 w 10354"/>
                <a:gd name="connsiteY719" fmla="*/ 5103 h 10000"/>
                <a:gd name="connsiteX720" fmla="*/ 9876 w 10354"/>
                <a:gd name="connsiteY720" fmla="*/ 5128 h 10000"/>
                <a:gd name="connsiteX721" fmla="*/ 9889 w 10354"/>
                <a:gd name="connsiteY721" fmla="*/ 5103 h 10000"/>
                <a:gd name="connsiteX722" fmla="*/ 9880 w 10354"/>
                <a:gd name="connsiteY722" fmla="*/ 5120 h 10000"/>
                <a:gd name="connsiteX723" fmla="*/ 9889 w 10354"/>
                <a:gd name="connsiteY723" fmla="*/ 5128 h 10000"/>
                <a:gd name="connsiteX724" fmla="*/ 9912 w 10354"/>
                <a:gd name="connsiteY724" fmla="*/ 5128 h 10000"/>
                <a:gd name="connsiteX725" fmla="*/ 9908 w 10354"/>
                <a:gd name="connsiteY725" fmla="*/ 5145 h 10000"/>
                <a:gd name="connsiteX726" fmla="*/ 9908 w 10354"/>
                <a:gd name="connsiteY726" fmla="*/ 5154 h 10000"/>
                <a:gd name="connsiteX727" fmla="*/ 9922 w 10354"/>
                <a:gd name="connsiteY727" fmla="*/ 5128 h 10000"/>
                <a:gd name="connsiteX728" fmla="*/ 9935 w 10354"/>
                <a:gd name="connsiteY728" fmla="*/ 5103 h 10000"/>
                <a:gd name="connsiteX729" fmla="*/ 9968 w 10354"/>
                <a:gd name="connsiteY729" fmla="*/ 5077 h 10000"/>
                <a:gd name="connsiteX730" fmla="*/ 10000 w 10354"/>
                <a:gd name="connsiteY730" fmla="*/ 5017 h 10000"/>
                <a:gd name="connsiteX731" fmla="*/ 10354 w 10354"/>
                <a:gd name="connsiteY731" fmla="*/ 3895 h 10000"/>
                <a:gd name="connsiteX732" fmla="*/ 9912 w 10354"/>
                <a:gd name="connsiteY732" fmla="*/ 3675 h 10000"/>
                <a:gd name="connsiteX733" fmla="*/ 9903 w 10354"/>
                <a:gd name="connsiteY733" fmla="*/ 3667 h 10000"/>
                <a:gd name="connsiteX734" fmla="*/ 9894 w 10354"/>
                <a:gd name="connsiteY734" fmla="*/ 3641 h 10000"/>
                <a:gd name="connsiteX735" fmla="*/ 9889 w 10354"/>
                <a:gd name="connsiteY735" fmla="*/ 3650 h 10000"/>
                <a:gd name="connsiteX736" fmla="*/ 9848 w 10354"/>
                <a:gd name="connsiteY736" fmla="*/ 3598 h 10000"/>
                <a:gd name="connsiteX737" fmla="*/ 9829 w 10354"/>
                <a:gd name="connsiteY737" fmla="*/ 3581 h 10000"/>
                <a:gd name="connsiteX738" fmla="*/ 9820 w 10354"/>
                <a:gd name="connsiteY738" fmla="*/ 3581 h 10000"/>
                <a:gd name="connsiteX739" fmla="*/ 9793 w 10354"/>
                <a:gd name="connsiteY739" fmla="*/ 3556 h 10000"/>
                <a:gd name="connsiteX740" fmla="*/ 9779 w 10354"/>
                <a:gd name="connsiteY740" fmla="*/ 3556 h 10000"/>
                <a:gd name="connsiteX741" fmla="*/ 9747 w 10354"/>
                <a:gd name="connsiteY741" fmla="*/ 3487 h 10000"/>
                <a:gd name="connsiteX742" fmla="*/ 9668 w 10354"/>
                <a:gd name="connsiteY742" fmla="*/ 3479 h 10000"/>
                <a:gd name="connsiteX743" fmla="*/ 9659 w 10354"/>
                <a:gd name="connsiteY743" fmla="*/ 3487 h 10000"/>
                <a:gd name="connsiteX744" fmla="*/ 9645 w 10354"/>
                <a:gd name="connsiteY744" fmla="*/ 3504 h 10000"/>
                <a:gd name="connsiteX745" fmla="*/ 9631 w 10354"/>
                <a:gd name="connsiteY745" fmla="*/ 3487 h 10000"/>
                <a:gd name="connsiteX746" fmla="*/ 9613 w 10354"/>
                <a:gd name="connsiteY746" fmla="*/ 3479 h 10000"/>
                <a:gd name="connsiteX747" fmla="*/ 9599 w 10354"/>
                <a:gd name="connsiteY747" fmla="*/ 3479 h 10000"/>
                <a:gd name="connsiteX748" fmla="*/ 9571 w 10354"/>
                <a:gd name="connsiteY748" fmla="*/ 3479 h 10000"/>
                <a:gd name="connsiteX749" fmla="*/ 9562 w 10354"/>
                <a:gd name="connsiteY749" fmla="*/ 3487 h 10000"/>
                <a:gd name="connsiteX750" fmla="*/ 9539 w 10354"/>
                <a:gd name="connsiteY750" fmla="*/ 3487 h 10000"/>
                <a:gd name="connsiteX751" fmla="*/ 9507 w 10354"/>
                <a:gd name="connsiteY751" fmla="*/ 3453 h 10000"/>
                <a:gd name="connsiteX752" fmla="*/ 9498 w 10354"/>
                <a:gd name="connsiteY752" fmla="*/ 3453 h 10000"/>
                <a:gd name="connsiteX753" fmla="*/ 9387 w 10354"/>
                <a:gd name="connsiteY753" fmla="*/ 3419 h 10000"/>
                <a:gd name="connsiteX754" fmla="*/ 9373 w 10354"/>
                <a:gd name="connsiteY754" fmla="*/ 3427 h 10000"/>
                <a:gd name="connsiteX755" fmla="*/ 9373 w 10354"/>
                <a:gd name="connsiteY755" fmla="*/ 3462 h 10000"/>
                <a:gd name="connsiteX756" fmla="*/ 9378 w 10354"/>
                <a:gd name="connsiteY756" fmla="*/ 3479 h 10000"/>
                <a:gd name="connsiteX757" fmla="*/ 9378 w 10354"/>
                <a:gd name="connsiteY757" fmla="*/ 3530 h 10000"/>
                <a:gd name="connsiteX758" fmla="*/ 9355 w 10354"/>
                <a:gd name="connsiteY758" fmla="*/ 3538 h 10000"/>
                <a:gd name="connsiteX759" fmla="*/ 9355 w 10354"/>
                <a:gd name="connsiteY759" fmla="*/ 3581 h 10000"/>
                <a:gd name="connsiteX760" fmla="*/ 9387 w 10354"/>
                <a:gd name="connsiteY760" fmla="*/ 3590 h 10000"/>
                <a:gd name="connsiteX761" fmla="*/ 9401 w 10354"/>
                <a:gd name="connsiteY761" fmla="*/ 3667 h 10000"/>
                <a:gd name="connsiteX762" fmla="*/ 9406 w 10354"/>
                <a:gd name="connsiteY762" fmla="*/ 3675 h 10000"/>
                <a:gd name="connsiteX763" fmla="*/ 9406 w 10354"/>
                <a:gd name="connsiteY763" fmla="*/ 3701 h 10000"/>
                <a:gd name="connsiteX764" fmla="*/ 9415 w 10354"/>
                <a:gd name="connsiteY764" fmla="*/ 3752 h 10000"/>
                <a:gd name="connsiteX765" fmla="*/ 9373 w 10354"/>
                <a:gd name="connsiteY765" fmla="*/ 3838 h 10000"/>
                <a:gd name="connsiteX766" fmla="*/ 9355 w 10354"/>
                <a:gd name="connsiteY766" fmla="*/ 3863 h 10000"/>
                <a:gd name="connsiteX767" fmla="*/ 9327 w 10354"/>
                <a:gd name="connsiteY767" fmla="*/ 3863 h 10000"/>
                <a:gd name="connsiteX768" fmla="*/ 9313 w 10354"/>
                <a:gd name="connsiteY768" fmla="*/ 3846 h 10000"/>
                <a:gd name="connsiteX769" fmla="*/ 9300 w 10354"/>
                <a:gd name="connsiteY769" fmla="*/ 3778 h 10000"/>
                <a:gd name="connsiteX770" fmla="*/ 9281 w 10354"/>
                <a:gd name="connsiteY770" fmla="*/ 3752 h 10000"/>
                <a:gd name="connsiteX771" fmla="*/ 9281 w 10354"/>
                <a:gd name="connsiteY771" fmla="*/ 3735 h 10000"/>
                <a:gd name="connsiteX772" fmla="*/ 9267 w 10354"/>
                <a:gd name="connsiteY772" fmla="*/ 3726 h 10000"/>
                <a:gd name="connsiteX773" fmla="*/ 9240 w 10354"/>
                <a:gd name="connsiteY773" fmla="*/ 3726 h 10000"/>
                <a:gd name="connsiteX774" fmla="*/ 9230 w 10354"/>
                <a:gd name="connsiteY774" fmla="*/ 3718 h 10000"/>
                <a:gd name="connsiteX775" fmla="*/ 9226 w 10354"/>
                <a:gd name="connsiteY775" fmla="*/ 3590 h 10000"/>
                <a:gd name="connsiteX776" fmla="*/ 9207 w 10354"/>
                <a:gd name="connsiteY776" fmla="*/ 3581 h 10000"/>
                <a:gd name="connsiteX777" fmla="*/ 9207 w 10354"/>
                <a:gd name="connsiteY777" fmla="*/ 3556 h 10000"/>
                <a:gd name="connsiteX778" fmla="*/ 9217 w 10354"/>
                <a:gd name="connsiteY778" fmla="*/ 3538 h 10000"/>
                <a:gd name="connsiteX779" fmla="*/ 9212 w 10354"/>
                <a:gd name="connsiteY779" fmla="*/ 3538 h 10000"/>
                <a:gd name="connsiteX780" fmla="*/ 9198 w 10354"/>
                <a:gd name="connsiteY780" fmla="*/ 3513 h 10000"/>
                <a:gd name="connsiteX781" fmla="*/ 9194 w 10354"/>
                <a:gd name="connsiteY781" fmla="*/ 3530 h 10000"/>
                <a:gd name="connsiteX782" fmla="*/ 9143 w 10354"/>
                <a:gd name="connsiteY782" fmla="*/ 3615 h 10000"/>
                <a:gd name="connsiteX783" fmla="*/ 9138 w 10354"/>
                <a:gd name="connsiteY783" fmla="*/ 3615 h 10000"/>
                <a:gd name="connsiteX784" fmla="*/ 9134 w 10354"/>
                <a:gd name="connsiteY784" fmla="*/ 3615 h 10000"/>
                <a:gd name="connsiteX785" fmla="*/ 9106 w 10354"/>
                <a:gd name="connsiteY785" fmla="*/ 3615 h 10000"/>
                <a:gd name="connsiteX786" fmla="*/ 9078 w 10354"/>
                <a:gd name="connsiteY786" fmla="*/ 3590 h 10000"/>
                <a:gd name="connsiteX787" fmla="*/ 9037 w 10354"/>
                <a:gd name="connsiteY787" fmla="*/ 3581 h 10000"/>
                <a:gd name="connsiteX788" fmla="*/ 9023 w 10354"/>
                <a:gd name="connsiteY788" fmla="*/ 3590 h 10000"/>
                <a:gd name="connsiteX789" fmla="*/ 9018 w 10354"/>
                <a:gd name="connsiteY789" fmla="*/ 3590 h 10000"/>
                <a:gd name="connsiteX790" fmla="*/ 9018 w 10354"/>
                <a:gd name="connsiteY790" fmla="*/ 3590 h 10000"/>
                <a:gd name="connsiteX791" fmla="*/ 8991 w 10354"/>
                <a:gd name="connsiteY791" fmla="*/ 3590 h 10000"/>
                <a:gd name="connsiteX792" fmla="*/ 8972 w 10354"/>
                <a:gd name="connsiteY792" fmla="*/ 3581 h 10000"/>
                <a:gd name="connsiteX793" fmla="*/ 8959 w 10354"/>
                <a:gd name="connsiteY793" fmla="*/ 3513 h 10000"/>
                <a:gd name="connsiteX794" fmla="*/ 8931 w 10354"/>
                <a:gd name="connsiteY794" fmla="*/ 3538 h 10000"/>
                <a:gd name="connsiteX795" fmla="*/ 8889 w 10354"/>
                <a:gd name="connsiteY795" fmla="*/ 3538 h 10000"/>
                <a:gd name="connsiteX796" fmla="*/ 8871 w 10354"/>
                <a:gd name="connsiteY796" fmla="*/ 3556 h 10000"/>
                <a:gd name="connsiteX797" fmla="*/ 8857 w 10354"/>
                <a:gd name="connsiteY797" fmla="*/ 3538 h 10000"/>
                <a:gd name="connsiteX798" fmla="*/ 8843 w 10354"/>
                <a:gd name="connsiteY798" fmla="*/ 3538 h 10000"/>
                <a:gd name="connsiteX799" fmla="*/ 8839 w 10354"/>
                <a:gd name="connsiteY799" fmla="*/ 3556 h 10000"/>
                <a:gd name="connsiteX800" fmla="*/ 8839 w 10354"/>
                <a:gd name="connsiteY800" fmla="*/ 3581 h 10000"/>
                <a:gd name="connsiteX801" fmla="*/ 8825 w 10354"/>
                <a:gd name="connsiteY801" fmla="*/ 3564 h 10000"/>
                <a:gd name="connsiteX802" fmla="*/ 8825 w 10354"/>
                <a:gd name="connsiteY802" fmla="*/ 3615 h 10000"/>
                <a:gd name="connsiteX803" fmla="*/ 8802 w 10354"/>
                <a:gd name="connsiteY803" fmla="*/ 3598 h 10000"/>
                <a:gd name="connsiteX804" fmla="*/ 8797 w 10354"/>
                <a:gd name="connsiteY804" fmla="*/ 3641 h 10000"/>
                <a:gd name="connsiteX805" fmla="*/ 8783 w 10354"/>
                <a:gd name="connsiteY805" fmla="*/ 3667 h 10000"/>
                <a:gd name="connsiteX806" fmla="*/ 8779 w 10354"/>
                <a:gd name="connsiteY806" fmla="*/ 3650 h 10000"/>
                <a:gd name="connsiteX807" fmla="*/ 8779 w 10354"/>
                <a:gd name="connsiteY807" fmla="*/ 3615 h 10000"/>
                <a:gd name="connsiteX808" fmla="*/ 8770 w 10354"/>
                <a:gd name="connsiteY808" fmla="*/ 3590 h 10000"/>
                <a:gd name="connsiteX809" fmla="*/ 8765 w 10354"/>
                <a:gd name="connsiteY809" fmla="*/ 3598 h 10000"/>
                <a:gd name="connsiteX810" fmla="*/ 8756 w 10354"/>
                <a:gd name="connsiteY810" fmla="*/ 3590 h 10000"/>
                <a:gd name="connsiteX811" fmla="*/ 8737 w 10354"/>
                <a:gd name="connsiteY811" fmla="*/ 3556 h 10000"/>
                <a:gd name="connsiteX812" fmla="*/ 8724 w 10354"/>
                <a:gd name="connsiteY812" fmla="*/ 3538 h 10000"/>
                <a:gd name="connsiteX813" fmla="*/ 8696 w 10354"/>
                <a:gd name="connsiteY813" fmla="*/ 3538 h 10000"/>
                <a:gd name="connsiteX814" fmla="*/ 8691 w 10354"/>
                <a:gd name="connsiteY814" fmla="*/ 3513 h 10000"/>
                <a:gd name="connsiteX815" fmla="*/ 8668 w 10354"/>
                <a:gd name="connsiteY815" fmla="*/ 3504 h 10000"/>
                <a:gd name="connsiteX816" fmla="*/ 8668 w 10354"/>
                <a:gd name="connsiteY816" fmla="*/ 3487 h 10000"/>
                <a:gd name="connsiteX817" fmla="*/ 8691 w 10354"/>
                <a:gd name="connsiteY817" fmla="*/ 3350 h 10000"/>
                <a:gd name="connsiteX818" fmla="*/ 8691 w 10354"/>
                <a:gd name="connsiteY818" fmla="*/ 3291 h 10000"/>
                <a:gd name="connsiteX819" fmla="*/ 8677 w 10354"/>
                <a:gd name="connsiteY819" fmla="*/ 3239 h 10000"/>
                <a:gd name="connsiteX820" fmla="*/ 8677 w 10354"/>
                <a:gd name="connsiteY820" fmla="*/ 3231 h 10000"/>
                <a:gd name="connsiteX821" fmla="*/ 8636 w 10354"/>
                <a:gd name="connsiteY821" fmla="*/ 3128 h 10000"/>
                <a:gd name="connsiteX822" fmla="*/ 8622 w 10354"/>
                <a:gd name="connsiteY822" fmla="*/ 3120 h 10000"/>
                <a:gd name="connsiteX823" fmla="*/ 8618 w 10354"/>
                <a:gd name="connsiteY823" fmla="*/ 3094 h 10000"/>
                <a:gd name="connsiteX824" fmla="*/ 8594 w 10354"/>
                <a:gd name="connsiteY824" fmla="*/ 3077 h 10000"/>
                <a:gd name="connsiteX825" fmla="*/ 8548 w 10354"/>
                <a:gd name="connsiteY825" fmla="*/ 3077 h 10000"/>
                <a:gd name="connsiteX826" fmla="*/ 8535 w 10354"/>
                <a:gd name="connsiteY826" fmla="*/ 3068 h 10000"/>
                <a:gd name="connsiteX827" fmla="*/ 8429 w 10354"/>
                <a:gd name="connsiteY827" fmla="*/ 3077 h 10000"/>
                <a:gd name="connsiteX828" fmla="*/ 8424 w 10354"/>
                <a:gd name="connsiteY828" fmla="*/ 3077 h 10000"/>
                <a:gd name="connsiteX829" fmla="*/ 8396 w 10354"/>
                <a:gd name="connsiteY829" fmla="*/ 3077 h 10000"/>
                <a:gd name="connsiteX830" fmla="*/ 8387 w 10354"/>
                <a:gd name="connsiteY830" fmla="*/ 3094 h 10000"/>
                <a:gd name="connsiteX831" fmla="*/ 8378 w 10354"/>
                <a:gd name="connsiteY831" fmla="*/ 3094 h 10000"/>
                <a:gd name="connsiteX832" fmla="*/ 8341 w 10354"/>
                <a:gd name="connsiteY832" fmla="*/ 3077 h 10000"/>
                <a:gd name="connsiteX833" fmla="*/ 8336 w 10354"/>
                <a:gd name="connsiteY833" fmla="*/ 3077 h 10000"/>
                <a:gd name="connsiteX834" fmla="*/ 8327 w 10354"/>
                <a:gd name="connsiteY834" fmla="*/ 3103 h 10000"/>
                <a:gd name="connsiteX835" fmla="*/ 8309 w 10354"/>
                <a:gd name="connsiteY835" fmla="*/ 3120 h 10000"/>
                <a:gd name="connsiteX836" fmla="*/ 8304 w 10354"/>
                <a:gd name="connsiteY836" fmla="*/ 3103 h 10000"/>
                <a:gd name="connsiteX837" fmla="*/ 8276 w 10354"/>
                <a:gd name="connsiteY837" fmla="*/ 3103 h 10000"/>
                <a:gd name="connsiteX838" fmla="*/ 8267 w 10354"/>
                <a:gd name="connsiteY838" fmla="*/ 3120 h 10000"/>
                <a:gd name="connsiteX839" fmla="*/ 8253 w 10354"/>
                <a:gd name="connsiteY839" fmla="*/ 3103 h 10000"/>
                <a:gd name="connsiteX840" fmla="*/ 8230 w 10354"/>
                <a:gd name="connsiteY840" fmla="*/ 3128 h 10000"/>
                <a:gd name="connsiteX841" fmla="*/ 8217 w 10354"/>
                <a:gd name="connsiteY841" fmla="*/ 3128 h 10000"/>
                <a:gd name="connsiteX842" fmla="*/ 8203 w 10354"/>
                <a:gd name="connsiteY842" fmla="*/ 3154 h 10000"/>
                <a:gd name="connsiteX843" fmla="*/ 8175 w 10354"/>
                <a:gd name="connsiteY843" fmla="*/ 3094 h 10000"/>
                <a:gd name="connsiteX844" fmla="*/ 8161 w 10354"/>
                <a:gd name="connsiteY844" fmla="*/ 3094 h 10000"/>
                <a:gd name="connsiteX845" fmla="*/ 8157 w 10354"/>
                <a:gd name="connsiteY845" fmla="*/ 3077 h 10000"/>
                <a:gd name="connsiteX846" fmla="*/ 8180 w 10354"/>
                <a:gd name="connsiteY846" fmla="*/ 3068 h 10000"/>
                <a:gd name="connsiteX847" fmla="*/ 8189 w 10354"/>
                <a:gd name="connsiteY847" fmla="*/ 3043 h 10000"/>
                <a:gd name="connsiteX848" fmla="*/ 8189 w 10354"/>
                <a:gd name="connsiteY848" fmla="*/ 3017 h 10000"/>
                <a:gd name="connsiteX849" fmla="*/ 8147 w 10354"/>
                <a:gd name="connsiteY849" fmla="*/ 2940 h 10000"/>
                <a:gd name="connsiteX850" fmla="*/ 8143 w 10354"/>
                <a:gd name="connsiteY850" fmla="*/ 2915 h 10000"/>
                <a:gd name="connsiteX851" fmla="*/ 8143 w 10354"/>
                <a:gd name="connsiteY851" fmla="*/ 2906 h 10000"/>
                <a:gd name="connsiteX852" fmla="*/ 8097 w 10354"/>
                <a:gd name="connsiteY852" fmla="*/ 2932 h 10000"/>
                <a:gd name="connsiteX853" fmla="*/ 8083 w 10354"/>
                <a:gd name="connsiteY853" fmla="*/ 2932 h 10000"/>
                <a:gd name="connsiteX854" fmla="*/ 8074 w 10354"/>
                <a:gd name="connsiteY854" fmla="*/ 2906 h 10000"/>
                <a:gd name="connsiteX855" fmla="*/ 8074 w 10354"/>
                <a:gd name="connsiteY855" fmla="*/ 2897 h 10000"/>
                <a:gd name="connsiteX856" fmla="*/ 8055 w 10354"/>
                <a:gd name="connsiteY856" fmla="*/ 2872 h 10000"/>
                <a:gd name="connsiteX857" fmla="*/ 8046 w 10354"/>
                <a:gd name="connsiteY857" fmla="*/ 2829 h 10000"/>
                <a:gd name="connsiteX858" fmla="*/ 8041 w 10354"/>
                <a:gd name="connsiteY858" fmla="*/ 2829 h 10000"/>
                <a:gd name="connsiteX859" fmla="*/ 8023 w 10354"/>
                <a:gd name="connsiteY859" fmla="*/ 2803 h 10000"/>
                <a:gd name="connsiteX860" fmla="*/ 8014 w 10354"/>
                <a:gd name="connsiteY860" fmla="*/ 2829 h 10000"/>
                <a:gd name="connsiteX861" fmla="*/ 8000 w 10354"/>
                <a:gd name="connsiteY861" fmla="*/ 2829 h 10000"/>
                <a:gd name="connsiteX862" fmla="*/ 7995 w 10354"/>
                <a:gd name="connsiteY862" fmla="*/ 2821 h 10000"/>
                <a:gd name="connsiteX863" fmla="*/ 7972 w 10354"/>
                <a:gd name="connsiteY863" fmla="*/ 2803 h 10000"/>
                <a:gd name="connsiteX864" fmla="*/ 7968 w 10354"/>
                <a:gd name="connsiteY864" fmla="*/ 2821 h 10000"/>
                <a:gd name="connsiteX865" fmla="*/ 7968 w 10354"/>
                <a:gd name="connsiteY865" fmla="*/ 2803 h 10000"/>
                <a:gd name="connsiteX866" fmla="*/ 7995 w 10354"/>
                <a:gd name="connsiteY866" fmla="*/ 2735 h 10000"/>
                <a:gd name="connsiteX867" fmla="*/ 8000 w 10354"/>
                <a:gd name="connsiteY867" fmla="*/ 2735 h 10000"/>
                <a:gd name="connsiteX868" fmla="*/ 8014 w 10354"/>
                <a:gd name="connsiteY868" fmla="*/ 2744 h 10000"/>
                <a:gd name="connsiteX869" fmla="*/ 8023 w 10354"/>
                <a:gd name="connsiteY869" fmla="*/ 2769 h 10000"/>
                <a:gd name="connsiteX870" fmla="*/ 8032 w 10354"/>
                <a:gd name="connsiteY870" fmla="*/ 2744 h 10000"/>
                <a:gd name="connsiteX871" fmla="*/ 8032 w 10354"/>
                <a:gd name="connsiteY871" fmla="*/ 2709 h 10000"/>
                <a:gd name="connsiteX872" fmla="*/ 8023 w 10354"/>
                <a:gd name="connsiteY872" fmla="*/ 2632 h 10000"/>
                <a:gd name="connsiteX873" fmla="*/ 7986 w 10354"/>
                <a:gd name="connsiteY873" fmla="*/ 2581 h 10000"/>
                <a:gd name="connsiteX874" fmla="*/ 7968 w 10354"/>
                <a:gd name="connsiteY874" fmla="*/ 2581 h 10000"/>
                <a:gd name="connsiteX875" fmla="*/ 7963 w 10354"/>
                <a:gd name="connsiteY875" fmla="*/ 2556 h 10000"/>
                <a:gd name="connsiteX876" fmla="*/ 7935 w 10354"/>
                <a:gd name="connsiteY876" fmla="*/ 2547 h 10000"/>
                <a:gd name="connsiteX877" fmla="*/ 7912 w 10354"/>
                <a:gd name="connsiteY877" fmla="*/ 2547 h 10000"/>
                <a:gd name="connsiteX878" fmla="*/ 7912 w 10354"/>
                <a:gd name="connsiteY878" fmla="*/ 2556 h 10000"/>
                <a:gd name="connsiteX879" fmla="*/ 7908 w 10354"/>
                <a:gd name="connsiteY879" fmla="*/ 2547 h 10000"/>
                <a:gd name="connsiteX880" fmla="*/ 7862 w 10354"/>
                <a:gd name="connsiteY880" fmla="*/ 2547 h 10000"/>
                <a:gd name="connsiteX881" fmla="*/ 7848 w 10354"/>
                <a:gd name="connsiteY881" fmla="*/ 2556 h 10000"/>
                <a:gd name="connsiteX882" fmla="*/ 7820 w 10354"/>
                <a:gd name="connsiteY882" fmla="*/ 2547 h 10000"/>
                <a:gd name="connsiteX883" fmla="*/ 7806 w 10354"/>
                <a:gd name="connsiteY883" fmla="*/ 2513 h 10000"/>
                <a:gd name="connsiteX884" fmla="*/ 7788 w 10354"/>
                <a:gd name="connsiteY884" fmla="*/ 2513 h 10000"/>
                <a:gd name="connsiteX885" fmla="*/ 7760 w 10354"/>
                <a:gd name="connsiteY885" fmla="*/ 2470 h 10000"/>
                <a:gd name="connsiteX886" fmla="*/ 7751 w 10354"/>
                <a:gd name="connsiteY886" fmla="*/ 2470 h 10000"/>
                <a:gd name="connsiteX887" fmla="*/ 7705 w 10354"/>
                <a:gd name="connsiteY887" fmla="*/ 2462 h 10000"/>
                <a:gd name="connsiteX888" fmla="*/ 7673 w 10354"/>
                <a:gd name="connsiteY888" fmla="*/ 2419 h 10000"/>
                <a:gd name="connsiteX889" fmla="*/ 7627 w 10354"/>
                <a:gd name="connsiteY889" fmla="*/ 2419 h 10000"/>
                <a:gd name="connsiteX890" fmla="*/ 7613 w 10354"/>
                <a:gd name="connsiteY890" fmla="*/ 2410 h 10000"/>
                <a:gd name="connsiteX891" fmla="*/ 7493 w 10354"/>
                <a:gd name="connsiteY891" fmla="*/ 2393 h 10000"/>
                <a:gd name="connsiteX892" fmla="*/ 7479 w 10354"/>
                <a:gd name="connsiteY892" fmla="*/ 2385 h 10000"/>
                <a:gd name="connsiteX893" fmla="*/ 7479 w 10354"/>
                <a:gd name="connsiteY893" fmla="*/ 2376 h 10000"/>
                <a:gd name="connsiteX894" fmla="*/ 7465 w 10354"/>
                <a:gd name="connsiteY894" fmla="*/ 2359 h 10000"/>
                <a:gd name="connsiteX895" fmla="*/ 7447 w 10354"/>
                <a:gd name="connsiteY895" fmla="*/ 2350 h 10000"/>
                <a:gd name="connsiteX896" fmla="*/ 7433 w 10354"/>
                <a:gd name="connsiteY896" fmla="*/ 2376 h 10000"/>
                <a:gd name="connsiteX897" fmla="*/ 7433 w 10354"/>
                <a:gd name="connsiteY897" fmla="*/ 2385 h 10000"/>
                <a:gd name="connsiteX898" fmla="*/ 7447 w 10354"/>
                <a:gd name="connsiteY898" fmla="*/ 2410 h 10000"/>
                <a:gd name="connsiteX899" fmla="*/ 7447 w 10354"/>
                <a:gd name="connsiteY899" fmla="*/ 2436 h 10000"/>
                <a:gd name="connsiteX900" fmla="*/ 7452 w 10354"/>
                <a:gd name="connsiteY900" fmla="*/ 2462 h 10000"/>
                <a:gd name="connsiteX901" fmla="*/ 7447 w 10354"/>
                <a:gd name="connsiteY901" fmla="*/ 2470 h 10000"/>
                <a:gd name="connsiteX902" fmla="*/ 7424 w 10354"/>
                <a:gd name="connsiteY902" fmla="*/ 2513 h 10000"/>
                <a:gd name="connsiteX903" fmla="*/ 7419 w 10354"/>
                <a:gd name="connsiteY903" fmla="*/ 2556 h 10000"/>
                <a:gd name="connsiteX904" fmla="*/ 7406 w 10354"/>
                <a:gd name="connsiteY904" fmla="*/ 2624 h 10000"/>
                <a:gd name="connsiteX905" fmla="*/ 7392 w 10354"/>
                <a:gd name="connsiteY905" fmla="*/ 2624 h 10000"/>
                <a:gd name="connsiteX906" fmla="*/ 7373 w 10354"/>
                <a:gd name="connsiteY906" fmla="*/ 2650 h 10000"/>
                <a:gd name="connsiteX907" fmla="*/ 7364 w 10354"/>
                <a:gd name="connsiteY907" fmla="*/ 2684 h 10000"/>
                <a:gd name="connsiteX908" fmla="*/ 7364 w 10354"/>
                <a:gd name="connsiteY908" fmla="*/ 2692 h 10000"/>
                <a:gd name="connsiteX909" fmla="*/ 7373 w 10354"/>
                <a:gd name="connsiteY909" fmla="*/ 2718 h 10000"/>
                <a:gd name="connsiteX910" fmla="*/ 7373 w 10354"/>
                <a:gd name="connsiteY910" fmla="*/ 2744 h 10000"/>
                <a:gd name="connsiteX911" fmla="*/ 7359 w 10354"/>
                <a:gd name="connsiteY911" fmla="*/ 2744 h 10000"/>
                <a:gd name="connsiteX912" fmla="*/ 7359 w 10354"/>
                <a:gd name="connsiteY912" fmla="*/ 2795 h 10000"/>
                <a:gd name="connsiteX913" fmla="*/ 7364 w 10354"/>
                <a:gd name="connsiteY913" fmla="*/ 2821 h 10000"/>
                <a:gd name="connsiteX914" fmla="*/ 7378 w 10354"/>
                <a:gd name="connsiteY914" fmla="*/ 2846 h 10000"/>
                <a:gd name="connsiteX915" fmla="*/ 7378 w 10354"/>
                <a:gd name="connsiteY915" fmla="*/ 2855 h 10000"/>
                <a:gd name="connsiteX916" fmla="*/ 7378 w 10354"/>
                <a:gd name="connsiteY916" fmla="*/ 2880 h 10000"/>
                <a:gd name="connsiteX917" fmla="*/ 7378 w 10354"/>
                <a:gd name="connsiteY917" fmla="*/ 2906 h 10000"/>
                <a:gd name="connsiteX918" fmla="*/ 7364 w 10354"/>
                <a:gd name="connsiteY918" fmla="*/ 2906 h 10000"/>
                <a:gd name="connsiteX919" fmla="*/ 7346 w 10354"/>
                <a:gd name="connsiteY919" fmla="*/ 2880 h 10000"/>
                <a:gd name="connsiteX920" fmla="*/ 7332 w 10354"/>
                <a:gd name="connsiteY920" fmla="*/ 2915 h 10000"/>
                <a:gd name="connsiteX921" fmla="*/ 7318 w 10354"/>
                <a:gd name="connsiteY921" fmla="*/ 2906 h 10000"/>
                <a:gd name="connsiteX922" fmla="*/ 7313 w 10354"/>
                <a:gd name="connsiteY922" fmla="*/ 2915 h 10000"/>
                <a:gd name="connsiteX923" fmla="*/ 7313 w 10354"/>
                <a:gd name="connsiteY923" fmla="*/ 2906 h 10000"/>
                <a:gd name="connsiteX924" fmla="*/ 7286 w 10354"/>
                <a:gd name="connsiteY924" fmla="*/ 2940 h 10000"/>
                <a:gd name="connsiteX925" fmla="*/ 7276 w 10354"/>
                <a:gd name="connsiteY925" fmla="*/ 2966 h 10000"/>
                <a:gd name="connsiteX926" fmla="*/ 7272 w 10354"/>
                <a:gd name="connsiteY926" fmla="*/ 2983 h 10000"/>
                <a:gd name="connsiteX927" fmla="*/ 7267 w 10354"/>
                <a:gd name="connsiteY927" fmla="*/ 3009 h 10000"/>
                <a:gd name="connsiteX928" fmla="*/ 7253 w 10354"/>
                <a:gd name="connsiteY928" fmla="*/ 3009 h 10000"/>
                <a:gd name="connsiteX929" fmla="*/ 7244 w 10354"/>
                <a:gd name="connsiteY929" fmla="*/ 3017 h 10000"/>
                <a:gd name="connsiteX930" fmla="*/ 7240 w 10354"/>
                <a:gd name="connsiteY930" fmla="*/ 3009 h 10000"/>
                <a:gd name="connsiteX931" fmla="*/ 7230 w 10354"/>
                <a:gd name="connsiteY931" fmla="*/ 2991 h 10000"/>
                <a:gd name="connsiteX932" fmla="*/ 7226 w 10354"/>
                <a:gd name="connsiteY932" fmla="*/ 2983 h 10000"/>
                <a:gd name="connsiteX933" fmla="*/ 7226 w 10354"/>
                <a:gd name="connsiteY933" fmla="*/ 2966 h 10000"/>
                <a:gd name="connsiteX934" fmla="*/ 7212 w 10354"/>
                <a:gd name="connsiteY934" fmla="*/ 2957 h 10000"/>
                <a:gd name="connsiteX935" fmla="*/ 7212 w 10354"/>
                <a:gd name="connsiteY935" fmla="*/ 2932 h 10000"/>
                <a:gd name="connsiteX936" fmla="*/ 7198 w 10354"/>
                <a:gd name="connsiteY936" fmla="*/ 2915 h 10000"/>
                <a:gd name="connsiteX937" fmla="*/ 7194 w 10354"/>
                <a:gd name="connsiteY937" fmla="*/ 2915 h 10000"/>
                <a:gd name="connsiteX938" fmla="*/ 7157 w 10354"/>
                <a:gd name="connsiteY938" fmla="*/ 2880 h 10000"/>
                <a:gd name="connsiteX939" fmla="*/ 7138 w 10354"/>
                <a:gd name="connsiteY939" fmla="*/ 2880 h 10000"/>
                <a:gd name="connsiteX940" fmla="*/ 7120 w 10354"/>
                <a:gd name="connsiteY940" fmla="*/ 2872 h 10000"/>
                <a:gd name="connsiteX941" fmla="*/ 7111 w 10354"/>
                <a:gd name="connsiteY941" fmla="*/ 2846 h 10000"/>
                <a:gd name="connsiteX942" fmla="*/ 7106 w 10354"/>
                <a:gd name="connsiteY942" fmla="*/ 2846 h 10000"/>
                <a:gd name="connsiteX943" fmla="*/ 7092 w 10354"/>
                <a:gd name="connsiteY943" fmla="*/ 2829 h 10000"/>
                <a:gd name="connsiteX944" fmla="*/ 7051 w 10354"/>
                <a:gd name="connsiteY944" fmla="*/ 2829 h 10000"/>
                <a:gd name="connsiteX945" fmla="*/ 7037 w 10354"/>
                <a:gd name="connsiteY945" fmla="*/ 2880 h 10000"/>
                <a:gd name="connsiteX946" fmla="*/ 7037 w 10354"/>
                <a:gd name="connsiteY946" fmla="*/ 2906 h 10000"/>
                <a:gd name="connsiteX947" fmla="*/ 7037 w 10354"/>
                <a:gd name="connsiteY947" fmla="*/ 2932 h 10000"/>
                <a:gd name="connsiteX948" fmla="*/ 7037 w 10354"/>
                <a:gd name="connsiteY948" fmla="*/ 2940 h 10000"/>
                <a:gd name="connsiteX949" fmla="*/ 7023 w 10354"/>
                <a:gd name="connsiteY949" fmla="*/ 2906 h 10000"/>
                <a:gd name="connsiteX950" fmla="*/ 7023 w 10354"/>
                <a:gd name="connsiteY950" fmla="*/ 2915 h 10000"/>
                <a:gd name="connsiteX951" fmla="*/ 6991 w 10354"/>
                <a:gd name="connsiteY951" fmla="*/ 2906 h 10000"/>
                <a:gd name="connsiteX952" fmla="*/ 6977 w 10354"/>
                <a:gd name="connsiteY952" fmla="*/ 2915 h 10000"/>
                <a:gd name="connsiteX953" fmla="*/ 6963 w 10354"/>
                <a:gd name="connsiteY953" fmla="*/ 2915 h 10000"/>
                <a:gd name="connsiteX954" fmla="*/ 6949 w 10354"/>
                <a:gd name="connsiteY954" fmla="*/ 2872 h 10000"/>
                <a:gd name="connsiteX955" fmla="*/ 6935 w 10354"/>
                <a:gd name="connsiteY955" fmla="*/ 2855 h 10000"/>
                <a:gd name="connsiteX956" fmla="*/ 6922 w 10354"/>
                <a:gd name="connsiteY956" fmla="*/ 2803 h 10000"/>
                <a:gd name="connsiteX957" fmla="*/ 6917 w 10354"/>
                <a:gd name="connsiteY957" fmla="*/ 2786 h 10000"/>
                <a:gd name="connsiteX958" fmla="*/ 6903 w 10354"/>
                <a:gd name="connsiteY958" fmla="*/ 2709 h 10000"/>
                <a:gd name="connsiteX959" fmla="*/ 6903 w 10354"/>
                <a:gd name="connsiteY959" fmla="*/ 2692 h 10000"/>
                <a:gd name="connsiteX960" fmla="*/ 6899 w 10354"/>
                <a:gd name="connsiteY960" fmla="*/ 2709 h 10000"/>
                <a:gd name="connsiteX961" fmla="*/ 6857 w 10354"/>
                <a:gd name="connsiteY961" fmla="*/ 2872 h 10000"/>
                <a:gd name="connsiteX962" fmla="*/ 6857 w 10354"/>
                <a:gd name="connsiteY962" fmla="*/ 3009 h 10000"/>
                <a:gd name="connsiteX963" fmla="*/ 6848 w 10354"/>
                <a:gd name="connsiteY963" fmla="*/ 3017 h 10000"/>
                <a:gd name="connsiteX964" fmla="*/ 6839 w 10354"/>
                <a:gd name="connsiteY964" fmla="*/ 3068 h 10000"/>
                <a:gd name="connsiteX965" fmla="*/ 6829 w 10354"/>
                <a:gd name="connsiteY965" fmla="*/ 3077 h 10000"/>
                <a:gd name="connsiteX966" fmla="*/ 6829 w 10354"/>
                <a:gd name="connsiteY966" fmla="*/ 3128 h 10000"/>
                <a:gd name="connsiteX967" fmla="*/ 6816 w 10354"/>
                <a:gd name="connsiteY967" fmla="*/ 3154 h 10000"/>
                <a:gd name="connsiteX968" fmla="*/ 6811 w 10354"/>
                <a:gd name="connsiteY968" fmla="*/ 3179 h 10000"/>
                <a:gd name="connsiteX969" fmla="*/ 6797 w 10354"/>
                <a:gd name="connsiteY969" fmla="*/ 3171 h 10000"/>
                <a:gd name="connsiteX970" fmla="*/ 6783 w 10354"/>
                <a:gd name="connsiteY970" fmla="*/ 3103 h 10000"/>
                <a:gd name="connsiteX971" fmla="*/ 6779 w 10354"/>
                <a:gd name="connsiteY971" fmla="*/ 3094 h 10000"/>
                <a:gd name="connsiteX972" fmla="*/ 6779 w 10354"/>
                <a:gd name="connsiteY972" fmla="*/ 3120 h 10000"/>
                <a:gd name="connsiteX973" fmla="*/ 6770 w 10354"/>
                <a:gd name="connsiteY973" fmla="*/ 3128 h 10000"/>
                <a:gd name="connsiteX974" fmla="*/ 6765 w 10354"/>
                <a:gd name="connsiteY974" fmla="*/ 3103 h 10000"/>
                <a:gd name="connsiteX975" fmla="*/ 6756 w 10354"/>
                <a:gd name="connsiteY975" fmla="*/ 3103 h 10000"/>
                <a:gd name="connsiteX976" fmla="*/ 6742 w 10354"/>
                <a:gd name="connsiteY976" fmla="*/ 3103 h 10000"/>
                <a:gd name="connsiteX977" fmla="*/ 6737 w 10354"/>
                <a:gd name="connsiteY977" fmla="*/ 3077 h 10000"/>
                <a:gd name="connsiteX978" fmla="*/ 6737 w 10354"/>
                <a:gd name="connsiteY978" fmla="*/ 3068 h 10000"/>
                <a:gd name="connsiteX979" fmla="*/ 6728 w 10354"/>
                <a:gd name="connsiteY979" fmla="*/ 3043 h 10000"/>
                <a:gd name="connsiteX980" fmla="*/ 6724 w 10354"/>
                <a:gd name="connsiteY980" fmla="*/ 3051 h 10000"/>
                <a:gd name="connsiteX981" fmla="*/ 6714 w 10354"/>
                <a:gd name="connsiteY981" fmla="*/ 3043 h 10000"/>
                <a:gd name="connsiteX982" fmla="*/ 6710 w 10354"/>
                <a:gd name="connsiteY982" fmla="*/ 3034 h 10000"/>
                <a:gd name="connsiteX983" fmla="*/ 6705 w 10354"/>
                <a:gd name="connsiteY983" fmla="*/ 2983 h 10000"/>
                <a:gd name="connsiteX984" fmla="*/ 6696 w 10354"/>
                <a:gd name="connsiteY984" fmla="*/ 2966 h 10000"/>
                <a:gd name="connsiteX985" fmla="*/ 6691 w 10354"/>
                <a:gd name="connsiteY985" fmla="*/ 2983 h 10000"/>
                <a:gd name="connsiteX986" fmla="*/ 6677 w 10354"/>
                <a:gd name="connsiteY986" fmla="*/ 2897 h 10000"/>
                <a:gd name="connsiteX987" fmla="*/ 6677 w 10354"/>
                <a:gd name="connsiteY987" fmla="*/ 2897 h 10000"/>
                <a:gd name="connsiteX988" fmla="*/ 6677 w 10354"/>
                <a:gd name="connsiteY988" fmla="*/ 2872 h 10000"/>
                <a:gd name="connsiteX989" fmla="*/ 6668 w 10354"/>
                <a:gd name="connsiteY989" fmla="*/ 2821 h 10000"/>
                <a:gd name="connsiteX990" fmla="*/ 6664 w 10354"/>
                <a:gd name="connsiteY990" fmla="*/ 2829 h 10000"/>
                <a:gd name="connsiteX991" fmla="*/ 6654 w 10354"/>
                <a:gd name="connsiteY991" fmla="*/ 2846 h 10000"/>
                <a:gd name="connsiteX992" fmla="*/ 6650 w 10354"/>
                <a:gd name="connsiteY992" fmla="*/ 2829 h 10000"/>
                <a:gd name="connsiteX993" fmla="*/ 6650 w 10354"/>
                <a:gd name="connsiteY993" fmla="*/ 2803 h 10000"/>
                <a:gd name="connsiteX994" fmla="*/ 6650 w 10354"/>
                <a:gd name="connsiteY994" fmla="*/ 2795 h 10000"/>
                <a:gd name="connsiteX995" fmla="*/ 6641 w 10354"/>
                <a:gd name="connsiteY995" fmla="*/ 2786 h 10000"/>
                <a:gd name="connsiteX996" fmla="*/ 6636 w 10354"/>
                <a:gd name="connsiteY996" fmla="*/ 2735 h 10000"/>
                <a:gd name="connsiteX997" fmla="*/ 6664 w 10354"/>
                <a:gd name="connsiteY997" fmla="*/ 2667 h 10000"/>
                <a:gd name="connsiteX998" fmla="*/ 6668 w 10354"/>
                <a:gd name="connsiteY998" fmla="*/ 2684 h 10000"/>
                <a:gd name="connsiteX999" fmla="*/ 6677 w 10354"/>
                <a:gd name="connsiteY999" fmla="*/ 2667 h 10000"/>
                <a:gd name="connsiteX1000" fmla="*/ 6668 w 10354"/>
                <a:gd name="connsiteY1000" fmla="*/ 2667 h 10000"/>
                <a:gd name="connsiteX1001" fmla="*/ 6668 w 10354"/>
                <a:gd name="connsiteY1001" fmla="*/ 2650 h 10000"/>
                <a:gd name="connsiteX1002" fmla="*/ 6682 w 10354"/>
                <a:gd name="connsiteY1002" fmla="*/ 2650 h 10000"/>
                <a:gd name="connsiteX1003" fmla="*/ 6691 w 10354"/>
                <a:gd name="connsiteY1003" fmla="*/ 2624 h 10000"/>
                <a:gd name="connsiteX1004" fmla="*/ 6682 w 10354"/>
                <a:gd name="connsiteY1004" fmla="*/ 2632 h 10000"/>
                <a:gd name="connsiteX1005" fmla="*/ 6682 w 10354"/>
                <a:gd name="connsiteY1005" fmla="*/ 2624 h 10000"/>
                <a:gd name="connsiteX1006" fmla="*/ 6691 w 10354"/>
                <a:gd name="connsiteY1006" fmla="*/ 2607 h 10000"/>
                <a:gd name="connsiteX1007" fmla="*/ 6691 w 10354"/>
                <a:gd name="connsiteY1007" fmla="*/ 2598 h 10000"/>
                <a:gd name="connsiteX1008" fmla="*/ 6691 w 10354"/>
                <a:gd name="connsiteY1008" fmla="*/ 2581 h 10000"/>
                <a:gd name="connsiteX1009" fmla="*/ 6696 w 10354"/>
                <a:gd name="connsiteY1009" fmla="*/ 2530 h 10000"/>
                <a:gd name="connsiteX1010" fmla="*/ 6677 w 10354"/>
                <a:gd name="connsiteY1010" fmla="*/ 2513 h 10000"/>
                <a:gd name="connsiteX1011" fmla="*/ 6677 w 10354"/>
                <a:gd name="connsiteY1011" fmla="*/ 2496 h 10000"/>
                <a:gd name="connsiteX1012" fmla="*/ 6682 w 10354"/>
                <a:gd name="connsiteY1012" fmla="*/ 2470 h 10000"/>
                <a:gd name="connsiteX1013" fmla="*/ 6668 w 10354"/>
                <a:gd name="connsiteY1013" fmla="*/ 2462 h 10000"/>
                <a:gd name="connsiteX1014" fmla="*/ 6677 w 10354"/>
                <a:gd name="connsiteY1014" fmla="*/ 2436 h 10000"/>
                <a:gd name="connsiteX1015" fmla="*/ 6682 w 10354"/>
                <a:gd name="connsiteY1015" fmla="*/ 2419 h 10000"/>
                <a:gd name="connsiteX1016" fmla="*/ 6682 w 10354"/>
                <a:gd name="connsiteY1016" fmla="*/ 2393 h 10000"/>
                <a:gd name="connsiteX1017" fmla="*/ 6682 w 10354"/>
                <a:gd name="connsiteY1017" fmla="*/ 2385 h 10000"/>
                <a:gd name="connsiteX1018" fmla="*/ 6682 w 10354"/>
                <a:gd name="connsiteY1018" fmla="*/ 2385 h 10000"/>
                <a:gd name="connsiteX1019" fmla="*/ 6677 w 10354"/>
                <a:gd name="connsiteY1019" fmla="*/ 2376 h 10000"/>
                <a:gd name="connsiteX1020" fmla="*/ 6682 w 10354"/>
                <a:gd name="connsiteY1020" fmla="*/ 2359 h 10000"/>
                <a:gd name="connsiteX1021" fmla="*/ 6677 w 10354"/>
                <a:gd name="connsiteY1021" fmla="*/ 2333 h 10000"/>
                <a:gd name="connsiteX1022" fmla="*/ 6691 w 10354"/>
                <a:gd name="connsiteY1022" fmla="*/ 2333 h 10000"/>
                <a:gd name="connsiteX1023" fmla="*/ 6691 w 10354"/>
                <a:gd name="connsiteY1023" fmla="*/ 2325 h 10000"/>
                <a:gd name="connsiteX1024" fmla="*/ 6691 w 10354"/>
                <a:gd name="connsiteY1024" fmla="*/ 2308 h 10000"/>
                <a:gd name="connsiteX1025" fmla="*/ 6691 w 10354"/>
                <a:gd name="connsiteY1025" fmla="*/ 2299 h 10000"/>
                <a:gd name="connsiteX1026" fmla="*/ 6691 w 10354"/>
                <a:gd name="connsiteY1026" fmla="*/ 2282 h 10000"/>
                <a:gd name="connsiteX1027" fmla="*/ 6691 w 10354"/>
                <a:gd name="connsiteY1027" fmla="*/ 2274 h 10000"/>
                <a:gd name="connsiteX1028" fmla="*/ 6668 w 10354"/>
                <a:gd name="connsiteY1028" fmla="*/ 2248 h 10000"/>
                <a:gd name="connsiteX1029" fmla="*/ 6664 w 10354"/>
                <a:gd name="connsiteY1029" fmla="*/ 2222 h 10000"/>
                <a:gd name="connsiteX1030" fmla="*/ 6654 w 10354"/>
                <a:gd name="connsiteY1030" fmla="*/ 2214 h 10000"/>
                <a:gd name="connsiteX1031" fmla="*/ 6654 w 10354"/>
                <a:gd name="connsiteY1031" fmla="*/ 2188 h 10000"/>
                <a:gd name="connsiteX1032" fmla="*/ 6622 w 10354"/>
                <a:gd name="connsiteY1032" fmla="*/ 2162 h 10000"/>
                <a:gd name="connsiteX1033" fmla="*/ 6631 w 10354"/>
                <a:gd name="connsiteY1033" fmla="*/ 2145 h 10000"/>
                <a:gd name="connsiteX1034" fmla="*/ 6622 w 10354"/>
                <a:gd name="connsiteY1034" fmla="*/ 2120 h 10000"/>
                <a:gd name="connsiteX1035" fmla="*/ 6608 w 10354"/>
                <a:gd name="connsiteY1035" fmla="*/ 2120 h 10000"/>
                <a:gd name="connsiteX1036" fmla="*/ 6604 w 10354"/>
                <a:gd name="connsiteY1036" fmla="*/ 2111 h 10000"/>
                <a:gd name="connsiteX1037" fmla="*/ 6608 w 10354"/>
                <a:gd name="connsiteY1037" fmla="*/ 2111 h 10000"/>
                <a:gd name="connsiteX1038" fmla="*/ 6604 w 10354"/>
                <a:gd name="connsiteY1038" fmla="*/ 2085 h 10000"/>
                <a:gd name="connsiteX1039" fmla="*/ 6581 w 10354"/>
                <a:gd name="connsiteY1039" fmla="*/ 2077 h 10000"/>
                <a:gd name="connsiteX1040" fmla="*/ 6571 w 10354"/>
                <a:gd name="connsiteY1040" fmla="*/ 2085 h 10000"/>
                <a:gd name="connsiteX1041" fmla="*/ 6548 w 10354"/>
                <a:gd name="connsiteY1041" fmla="*/ 2077 h 10000"/>
                <a:gd name="connsiteX1042" fmla="*/ 6530 w 10354"/>
                <a:gd name="connsiteY1042" fmla="*/ 2060 h 10000"/>
                <a:gd name="connsiteX1043" fmla="*/ 6521 w 10354"/>
                <a:gd name="connsiteY1043" fmla="*/ 2060 h 10000"/>
                <a:gd name="connsiteX1044" fmla="*/ 6521 w 10354"/>
                <a:gd name="connsiteY1044" fmla="*/ 2085 h 10000"/>
                <a:gd name="connsiteX1045" fmla="*/ 6516 w 10354"/>
                <a:gd name="connsiteY1045" fmla="*/ 2085 h 10000"/>
                <a:gd name="connsiteX1046" fmla="*/ 6502 w 10354"/>
                <a:gd name="connsiteY1046" fmla="*/ 2111 h 10000"/>
                <a:gd name="connsiteX1047" fmla="*/ 6498 w 10354"/>
                <a:gd name="connsiteY1047" fmla="*/ 2111 h 10000"/>
                <a:gd name="connsiteX1048" fmla="*/ 6498 w 10354"/>
                <a:gd name="connsiteY1048" fmla="*/ 2103 h 10000"/>
                <a:gd name="connsiteX1049" fmla="*/ 6475 w 10354"/>
                <a:gd name="connsiteY1049" fmla="*/ 2051 h 10000"/>
                <a:gd name="connsiteX1050" fmla="*/ 6470 w 10354"/>
                <a:gd name="connsiteY1050" fmla="*/ 2060 h 10000"/>
                <a:gd name="connsiteX1051" fmla="*/ 6456 w 10354"/>
                <a:gd name="connsiteY1051" fmla="*/ 2051 h 10000"/>
                <a:gd name="connsiteX1052" fmla="*/ 6447 w 10354"/>
                <a:gd name="connsiteY1052" fmla="*/ 2051 h 10000"/>
                <a:gd name="connsiteX1053" fmla="*/ 6433 w 10354"/>
                <a:gd name="connsiteY1053" fmla="*/ 2026 h 10000"/>
                <a:gd name="connsiteX1054" fmla="*/ 6433 w 10354"/>
                <a:gd name="connsiteY1054" fmla="*/ 2034 h 10000"/>
                <a:gd name="connsiteX1055" fmla="*/ 6429 w 10354"/>
                <a:gd name="connsiteY1055" fmla="*/ 2026 h 10000"/>
                <a:gd name="connsiteX1056" fmla="*/ 6424 w 10354"/>
                <a:gd name="connsiteY1056" fmla="*/ 2034 h 10000"/>
                <a:gd name="connsiteX1057" fmla="*/ 6410 w 10354"/>
                <a:gd name="connsiteY1057" fmla="*/ 2026 h 10000"/>
                <a:gd name="connsiteX1058" fmla="*/ 6410 w 10354"/>
                <a:gd name="connsiteY1058" fmla="*/ 1991 h 10000"/>
                <a:gd name="connsiteX1059" fmla="*/ 6401 w 10354"/>
                <a:gd name="connsiteY1059" fmla="*/ 1991 h 10000"/>
                <a:gd name="connsiteX1060" fmla="*/ 6396 w 10354"/>
                <a:gd name="connsiteY1060" fmla="*/ 2000 h 10000"/>
                <a:gd name="connsiteX1061" fmla="*/ 6382 w 10354"/>
                <a:gd name="connsiteY1061" fmla="*/ 1966 h 10000"/>
                <a:gd name="connsiteX1062" fmla="*/ 6373 w 10354"/>
                <a:gd name="connsiteY1062" fmla="*/ 1974 h 10000"/>
                <a:gd name="connsiteX1063" fmla="*/ 6369 w 10354"/>
                <a:gd name="connsiteY1063" fmla="*/ 1966 h 10000"/>
                <a:gd name="connsiteX1064" fmla="*/ 6341 w 10354"/>
                <a:gd name="connsiteY1064" fmla="*/ 1949 h 10000"/>
                <a:gd name="connsiteX1065" fmla="*/ 6327 w 10354"/>
                <a:gd name="connsiteY1065" fmla="*/ 1923 h 10000"/>
                <a:gd name="connsiteX1066" fmla="*/ 6323 w 10354"/>
                <a:gd name="connsiteY1066" fmla="*/ 1923 h 10000"/>
                <a:gd name="connsiteX1067" fmla="*/ 6323 w 10354"/>
                <a:gd name="connsiteY1067" fmla="*/ 1966 h 10000"/>
                <a:gd name="connsiteX1068" fmla="*/ 6323 w 10354"/>
                <a:gd name="connsiteY1068" fmla="*/ 1991 h 10000"/>
                <a:gd name="connsiteX1069" fmla="*/ 6313 w 10354"/>
                <a:gd name="connsiteY1069" fmla="*/ 1991 h 10000"/>
                <a:gd name="connsiteX1070" fmla="*/ 6300 w 10354"/>
                <a:gd name="connsiteY1070" fmla="*/ 1991 h 10000"/>
                <a:gd name="connsiteX1071" fmla="*/ 6290 w 10354"/>
                <a:gd name="connsiteY1071" fmla="*/ 1949 h 10000"/>
                <a:gd name="connsiteX1072" fmla="*/ 6276 w 10354"/>
                <a:gd name="connsiteY1072" fmla="*/ 2103 h 10000"/>
                <a:gd name="connsiteX1073" fmla="*/ 6281 w 10354"/>
                <a:gd name="connsiteY1073" fmla="*/ 2103 h 10000"/>
                <a:gd name="connsiteX1074" fmla="*/ 6276 w 10354"/>
                <a:gd name="connsiteY1074" fmla="*/ 2111 h 10000"/>
                <a:gd name="connsiteX1075" fmla="*/ 6276 w 10354"/>
                <a:gd name="connsiteY1075" fmla="*/ 2120 h 10000"/>
                <a:gd name="connsiteX1076" fmla="*/ 6295 w 10354"/>
                <a:gd name="connsiteY1076" fmla="*/ 2239 h 10000"/>
                <a:gd name="connsiteX1077" fmla="*/ 6290 w 10354"/>
                <a:gd name="connsiteY1077" fmla="*/ 2248 h 10000"/>
                <a:gd name="connsiteX1078" fmla="*/ 6281 w 10354"/>
                <a:gd name="connsiteY1078" fmla="*/ 2274 h 10000"/>
                <a:gd name="connsiteX1079" fmla="*/ 6249 w 10354"/>
                <a:gd name="connsiteY1079" fmla="*/ 2274 h 10000"/>
                <a:gd name="connsiteX1080" fmla="*/ 6226 w 10354"/>
                <a:gd name="connsiteY1080" fmla="*/ 2308 h 10000"/>
                <a:gd name="connsiteX1081" fmla="*/ 6221 w 10354"/>
                <a:gd name="connsiteY1081" fmla="*/ 2299 h 10000"/>
                <a:gd name="connsiteX1082" fmla="*/ 6221 w 10354"/>
                <a:gd name="connsiteY1082" fmla="*/ 2308 h 10000"/>
                <a:gd name="connsiteX1083" fmla="*/ 6217 w 10354"/>
                <a:gd name="connsiteY1083" fmla="*/ 2299 h 10000"/>
                <a:gd name="connsiteX1084" fmla="*/ 6194 w 10354"/>
                <a:gd name="connsiteY1084" fmla="*/ 2308 h 10000"/>
                <a:gd name="connsiteX1085" fmla="*/ 6180 w 10354"/>
                <a:gd name="connsiteY1085" fmla="*/ 2299 h 10000"/>
                <a:gd name="connsiteX1086" fmla="*/ 6143 w 10354"/>
                <a:gd name="connsiteY1086" fmla="*/ 2308 h 10000"/>
                <a:gd name="connsiteX1087" fmla="*/ 6134 w 10354"/>
                <a:gd name="connsiteY1087" fmla="*/ 2325 h 10000"/>
                <a:gd name="connsiteX1088" fmla="*/ 6115 w 10354"/>
                <a:gd name="connsiteY1088" fmla="*/ 2282 h 10000"/>
                <a:gd name="connsiteX1089" fmla="*/ 6069 w 10354"/>
                <a:gd name="connsiteY1089" fmla="*/ 2274 h 10000"/>
                <a:gd name="connsiteX1090" fmla="*/ 6069 w 10354"/>
                <a:gd name="connsiteY1090" fmla="*/ 2282 h 10000"/>
                <a:gd name="connsiteX1091" fmla="*/ 6060 w 10354"/>
                <a:gd name="connsiteY1091" fmla="*/ 2299 h 10000"/>
                <a:gd name="connsiteX1092" fmla="*/ 5972 w 10354"/>
                <a:gd name="connsiteY1092" fmla="*/ 2214 h 10000"/>
                <a:gd name="connsiteX1093" fmla="*/ 5968 w 10354"/>
                <a:gd name="connsiteY1093" fmla="*/ 2197 h 10000"/>
                <a:gd name="connsiteX1094" fmla="*/ 5968 w 10354"/>
                <a:gd name="connsiteY1094" fmla="*/ 2171 h 10000"/>
                <a:gd name="connsiteX1095" fmla="*/ 5968 w 10354"/>
                <a:gd name="connsiteY1095" fmla="*/ 2162 h 10000"/>
                <a:gd name="connsiteX1096" fmla="*/ 5968 w 10354"/>
                <a:gd name="connsiteY1096" fmla="*/ 2120 h 10000"/>
                <a:gd name="connsiteX1097" fmla="*/ 5968 w 10354"/>
                <a:gd name="connsiteY1097" fmla="*/ 2111 h 10000"/>
                <a:gd name="connsiteX1098" fmla="*/ 5972 w 10354"/>
                <a:gd name="connsiteY1098" fmla="*/ 2103 h 10000"/>
                <a:gd name="connsiteX1099" fmla="*/ 5986 w 10354"/>
                <a:gd name="connsiteY1099" fmla="*/ 2103 h 10000"/>
                <a:gd name="connsiteX1100" fmla="*/ 5986 w 10354"/>
                <a:gd name="connsiteY1100" fmla="*/ 2085 h 10000"/>
                <a:gd name="connsiteX1101" fmla="*/ 5995 w 10354"/>
                <a:gd name="connsiteY1101" fmla="*/ 2085 h 10000"/>
                <a:gd name="connsiteX1102" fmla="*/ 5995 w 10354"/>
                <a:gd name="connsiteY1102" fmla="*/ 2077 h 10000"/>
                <a:gd name="connsiteX1103" fmla="*/ 5986 w 10354"/>
                <a:gd name="connsiteY1103" fmla="*/ 2060 h 10000"/>
                <a:gd name="connsiteX1104" fmla="*/ 5954 w 10354"/>
                <a:gd name="connsiteY1104" fmla="*/ 2060 h 10000"/>
                <a:gd name="connsiteX1105" fmla="*/ 5940 w 10354"/>
                <a:gd name="connsiteY1105" fmla="*/ 2051 h 10000"/>
                <a:gd name="connsiteX1106" fmla="*/ 5922 w 10354"/>
                <a:gd name="connsiteY1106" fmla="*/ 2060 h 10000"/>
                <a:gd name="connsiteX1107" fmla="*/ 5885 w 10354"/>
                <a:gd name="connsiteY1107" fmla="*/ 2051 h 10000"/>
                <a:gd name="connsiteX1108" fmla="*/ 5876 w 10354"/>
                <a:gd name="connsiteY1108" fmla="*/ 2026 h 10000"/>
                <a:gd name="connsiteX1109" fmla="*/ 5862 w 10354"/>
                <a:gd name="connsiteY1109" fmla="*/ 2026 h 10000"/>
                <a:gd name="connsiteX1110" fmla="*/ 5848 w 10354"/>
                <a:gd name="connsiteY1110" fmla="*/ 2026 h 10000"/>
                <a:gd name="connsiteX1111" fmla="*/ 5825 w 10354"/>
                <a:gd name="connsiteY1111" fmla="*/ 2026 h 10000"/>
                <a:gd name="connsiteX1112" fmla="*/ 5788 w 10354"/>
                <a:gd name="connsiteY1112" fmla="*/ 1991 h 10000"/>
                <a:gd name="connsiteX1113" fmla="*/ 5760 w 10354"/>
                <a:gd name="connsiteY1113" fmla="*/ 2000 h 10000"/>
                <a:gd name="connsiteX1114" fmla="*/ 5760 w 10354"/>
                <a:gd name="connsiteY1114" fmla="*/ 2026 h 10000"/>
                <a:gd name="connsiteX1115" fmla="*/ 5714 w 10354"/>
                <a:gd name="connsiteY1115" fmla="*/ 2051 h 10000"/>
                <a:gd name="connsiteX1116" fmla="*/ 5687 w 10354"/>
                <a:gd name="connsiteY1116" fmla="*/ 2034 h 10000"/>
                <a:gd name="connsiteX1117" fmla="*/ 5645 w 10354"/>
                <a:gd name="connsiteY1117" fmla="*/ 2077 h 10000"/>
                <a:gd name="connsiteX1118" fmla="*/ 5664 w 10354"/>
                <a:gd name="connsiteY1118" fmla="*/ 2120 h 10000"/>
                <a:gd name="connsiteX1119" fmla="*/ 5664 w 10354"/>
                <a:gd name="connsiteY1119" fmla="*/ 2162 h 10000"/>
                <a:gd name="connsiteX1120" fmla="*/ 5631 w 10354"/>
                <a:gd name="connsiteY1120" fmla="*/ 2197 h 10000"/>
                <a:gd name="connsiteX1121" fmla="*/ 5618 w 10354"/>
                <a:gd name="connsiteY1121" fmla="*/ 2188 h 10000"/>
                <a:gd name="connsiteX1122" fmla="*/ 5618 w 10354"/>
                <a:gd name="connsiteY1122" fmla="*/ 2171 h 10000"/>
                <a:gd name="connsiteX1123" fmla="*/ 5641 w 10354"/>
                <a:gd name="connsiteY1123" fmla="*/ 2171 h 10000"/>
                <a:gd name="connsiteX1124" fmla="*/ 5641 w 10354"/>
                <a:gd name="connsiteY1124" fmla="*/ 2162 h 10000"/>
                <a:gd name="connsiteX1125" fmla="*/ 5627 w 10354"/>
                <a:gd name="connsiteY1125" fmla="*/ 2145 h 10000"/>
                <a:gd name="connsiteX1126" fmla="*/ 5627 w 10354"/>
                <a:gd name="connsiteY1126" fmla="*/ 2120 h 10000"/>
                <a:gd name="connsiteX1127" fmla="*/ 5618 w 10354"/>
                <a:gd name="connsiteY1127" fmla="*/ 2111 h 10000"/>
                <a:gd name="connsiteX1128" fmla="*/ 5631 w 10354"/>
                <a:gd name="connsiteY1128" fmla="*/ 2051 h 10000"/>
                <a:gd name="connsiteX1129" fmla="*/ 5631 w 10354"/>
                <a:gd name="connsiteY1129" fmla="*/ 2026 h 10000"/>
                <a:gd name="connsiteX1130" fmla="*/ 5627 w 10354"/>
                <a:gd name="connsiteY1130" fmla="*/ 1991 h 10000"/>
                <a:gd name="connsiteX1131" fmla="*/ 5618 w 10354"/>
                <a:gd name="connsiteY1131" fmla="*/ 1974 h 10000"/>
                <a:gd name="connsiteX1132" fmla="*/ 5618 w 10354"/>
                <a:gd name="connsiteY1132" fmla="*/ 1940 h 10000"/>
                <a:gd name="connsiteX1133" fmla="*/ 5594 w 10354"/>
                <a:gd name="connsiteY1133" fmla="*/ 1855 h 10000"/>
                <a:gd name="connsiteX1134" fmla="*/ 5599 w 10354"/>
                <a:gd name="connsiteY1134" fmla="*/ 1915 h 10000"/>
                <a:gd name="connsiteX1135" fmla="*/ 5599 w 10354"/>
                <a:gd name="connsiteY1135" fmla="*/ 1949 h 10000"/>
                <a:gd name="connsiteX1136" fmla="*/ 5594 w 10354"/>
                <a:gd name="connsiteY1136" fmla="*/ 1991 h 10000"/>
                <a:gd name="connsiteX1137" fmla="*/ 5571 w 10354"/>
                <a:gd name="connsiteY1137" fmla="*/ 2000 h 10000"/>
                <a:gd name="connsiteX1138" fmla="*/ 5530 w 10354"/>
                <a:gd name="connsiteY1138" fmla="*/ 1991 h 10000"/>
                <a:gd name="connsiteX1139" fmla="*/ 5525 w 10354"/>
                <a:gd name="connsiteY1139" fmla="*/ 2000 h 10000"/>
                <a:gd name="connsiteX1140" fmla="*/ 5521 w 10354"/>
                <a:gd name="connsiteY1140" fmla="*/ 1991 h 10000"/>
                <a:gd name="connsiteX1141" fmla="*/ 5498 w 10354"/>
                <a:gd name="connsiteY1141" fmla="*/ 1949 h 10000"/>
                <a:gd name="connsiteX1142" fmla="*/ 5493 w 10354"/>
                <a:gd name="connsiteY1142" fmla="*/ 1889 h 10000"/>
                <a:gd name="connsiteX1143" fmla="*/ 5493 w 10354"/>
                <a:gd name="connsiteY1143" fmla="*/ 1863 h 10000"/>
                <a:gd name="connsiteX1144" fmla="*/ 5498 w 10354"/>
                <a:gd name="connsiteY1144" fmla="*/ 1889 h 10000"/>
                <a:gd name="connsiteX1145" fmla="*/ 5512 w 10354"/>
                <a:gd name="connsiteY1145" fmla="*/ 1855 h 10000"/>
                <a:gd name="connsiteX1146" fmla="*/ 5512 w 10354"/>
                <a:gd name="connsiteY1146" fmla="*/ 1838 h 10000"/>
                <a:gd name="connsiteX1147" fmla="*/ 5479 w 10354"/>
                <a:gd name="connsiteY1147" fmla="*/ 1855 h 10000"/>
                <a:gd name="connsiteX1148" fmla="*/ 5470 w 10354"/>
                <a:gd name="connsiteY1148" fmla="*/ 1872 h 10000"/>
                <a:gd name="connsiteX1149" fmla="*/ 5470 w 10354"/>
                <a:gd name="connsiteY1149" fmla="*/ 1889 h 10000"/>
                <a:gd name="connsiteX1150" fmla="*/ 5465 w 10354"/>
                <a:gd name="connsiteY1150" fmla="*/ 1897 h 10000"/>
                <a:gd name="connsiteX1151" fmla="*/ 5456 w 10354"/>
                <a:gd name="connsiteY1151" fmla="*/ 1872 h 10000"/>
                <a:gd name="connsiteX1152" fmla="*/ 5447 w 10354"/>
                <a:gd name="connsiteY1152" fmla="*/ 1872 h 10000"/>
                <a:gd name="connsiteX1153" fmla="*/ 5433 w 10354"/>
                <a:gd name="connsiteY1153" fmla="*/ 1855 h 10000"/>
                <a:gd name="connsiteX1154" fmla="*/ 5396 w 10354"/>
                <a:gd name="connsiteY1154" fmla="*/ 1863 h 10000"/>
                <a:gd name="connsiteX1155" fmla="*/ 5396 w 10354"/>
                <a:gd name="connsiteY1155" fmla="*/ 1897 h 10000"/>
                <a:gd name="connsiteX1156" fmla="*/ 5378 w 10354"/>
                <a:gd name="connsiteY1156" fmla="*/ 1949 h 10000"/>
                <a:gd name="connsiteX1157" fmla="*/ 5378 w 10354"/>
                <a:gd name="connsiteY1157" fmla="*/ 1966 h 10000"/>
                <a:gd name="connsiteX1158" fmla="*/ 5392 w 10354"/>
                <a:gd name="connsiteY1158" fmla="*/ 2026 h 10000"/>
                <a:gd name="connsiteX1159" fmla="*/ 5396 w 10354"/>
                <a:gd name="connsiteY1159" fmla="*/ 2026 h 10000"/>
                <a:gd name="connsiteX1160" fmla="*/ 5392 w 10354"/>
                <a:gd name="connsiteY1160" fmla="*/ 2009 h 10000"/>
                <a:gd name="connsiteX1161" fmla="*/ 5392 w 10354"/>
                <a:gd name="connsiteY1161" fmla="*/ 2000 h 10000"/>
                <a:gd name="connsiteX1162" fmla="*/ 5396 w 10354"/>
                <a:gd name="connsiteY1162" fmla="*/ 2009 h 10000"/>
                <a:gd name="connsiteX1163" fmla="*/ 5424 w 10354"/>
                <a:gd name="connsiteY1163" fmla="*/ 2009 h 10000"/>
                <a:gd name="connsiteX1164" fmla="*/ 5433 w 10354"/>
                <a:gd name="connsiteY1164" fmla="*/ 1991 h 10000"/>
                <a:gd name="connsiteX1165" fmla="*/ 5447 w 10354"/>
                <a:gd name="connsiteY1165" fmla="*/ 1974 h 10000"/>
                <a:gd name="connsiteX1166" fmla="*/ 5452 w 10354"/>
                <a:gd name="connsiteY1166" fmla="*/ 1966 h 10000"/>
                <a:gd name="connsiteX1167" fmla="*/ 5456 w 10354"/>
                <a:gd name="connsiteY1167" fmla="*/ 1966 h 10000"/>
                <a:gd name="connsiteX1168" fmla="*/ 5465 w 10354"/>
                <a:gd name="connsiteY1168" fmla="*/ 2009 h 10000"/>
                <a:gd name="connsiteX1169" fmla="*/ 5433 w 10354"/>
                <a:gd name="connsiteY1169" fmla="*/ 2034 h 10000"/>
                <a:gd name="connsiteX1170" fmla="*/ 5424 w 10354"/>
                <a:gd name="connsiteY1170" fmla="*/ 2060 h 10000"/>
                <a:gd name="connsiteX1171" fmla="*/ 5419 w 10354"/>
                <a:gd name="connsiteY1171" fmla="*/ 2060 h 10000"/>
                <a:gd name="connsiteX1172" fmla="*/ 5392 w 10354"/>
                <a:gd name="connsiteY1172" fmla="*/ 2111 h 10000"/>
                <a:gd name="connsiteX1173" fmla="*/ 5378 w 10354"/>
                <a:gd name="connsiteY1173" fmla="*/ 2111 h 10000"/>
                <a:gd name="connsiteX1174" fmla="*/ 5350 w 10354"/>
                <a:gd name="connsiteY1174" fmla="*/ 2060 h 10000"/>
                <a:gd name="connsiteX1175" fmla="*/ 5373 w 10354"/>
                <a:gd name="connsiteY1175" fmla="*/ 2111 h 10000"/>
                <a:gd name="connsiteX1176" fmla="*/ 5364 w 10354"/>
                <a:gd name="connsiteY1176" fmla="*/ 2111 h 10000"/>
                <a:gd name="connsiteX1177" fmla="*/ 5359 w 10354"/>
                <a:gd name="connsiteY1177" fmla="*/ 2103 h 10000"/>
                <a:gd name="connsiteX1178" fmla="*/ 5359 w 10354"/>
                <a:gd name="connsiteY1178" fmla="*/ 2120 h 10000"/>
                <a:gd name="connsiteX1179" fmla="*/ 5359 w 10354"/>
                <a:gd name="connsiteY1179" fmla="*/ 2137 h 10000"/>
                <a:gd name="connsiteX1180" fmla="*/ 5313 w 10354"/>
                <a:gd name="connsiteY1180" fmla="*/ 2162 h 10000"/>
                <a:gd name="connsiteX1181" fmla="*/ 5300 w 10354"/>
                <a:gd name="connsiteY1181" fmla="*/ 2162 h 10000"/>
                <a:gd name="connsiteX1182" fmla="*/ 5300 w 10354"/>
                <a:gd name="connsiteY1182" fmla="*/ 2171 h 10000"/>
                <a:gd name="connsiteX1183" fmla="*/ 5300 w 10354"/>
                <a:gd name="connsiteY1183" fmla="*/ 2197 h 10000"/>
                <a:gd name="connsiteX1184" fmla="*/ 5276 w 10354"/>
                <a:gd name="connsiteY1184" fmla="*/ 2188 h 10000"/>
                <a:gd name="connsiteX1185" fmla="*/ 5249 w 10354"/>
                <a:gd name="connsiteY1185" fmla="*/ 2222 h 10000"/>
                <a:gd name="connsiteX1186" fmla="*/ 5249 w 10354"/>
                <a:gd name="connsiteY1186" fmla="*/ 2222 h 10000"/>
                <a:gd name="connsiteX1187" fmla="*/ 5217 w 10354"/>
                <a:gd name="connsiteY1187" fmla="*/ 2214 h 10000"/>
                <a:gd name="connsiteX1188" fmla="*/ 5203 w 10354"/>
                <a:gd name="connsiteY1188" fmla="*/ 2239 h 10000"/>
                <a:gd name="connsiteX1189" fmla="*/ 5171 w 10354"/>
                <a:gd name="connsiteY1189" fmla="*/ 2214 h 10000"/>
                <a:gd name="connsiteX1190" fmla="*/ 5157 w 10354"/>
                <a:gd name="connsiteY1190" fmla="*/ 2239 h 10000"/>
                <a:gd name="connsiteX1191" fmla="*/ 5166 w 10354"/>
                <a:gd name="connsiteY1191" fmla="*/ 2256 h 10000"/>
                <a:gd name="connsiteX1192" fmla="*/ 5171 w 10354"/>
                <a:gd name="connsiteY1192" fmla="*/ 2308 h 10000"/>
                <a:gd name="connsiteX1193" fmla="*/ 5212 w 10354"/>
                <a:gd name="connsiteY1193" fmla="*/ 2350 h 10000"/>
                <a:gd name="connsiteX1194" fmla="*/ 5203 w 10354"/>
                <a:gd name="connsiteY1194" fmla="*/ 2350 h 10000"/>
                <a:gd name="connsiteX1195" fmla="*/ 5166 w 10354"/>
                <a:gd name="connsiteY1195" fmla="*/ 2325 h 10000"/>
                <a:gd name="connsiteX1196" fmla="*/ 5152 w 10354"/>
                <a:gd name="connsiteY1196" fmla="*/ 2308 h 10000"/>
                <a:gd name="connsiteX1197" fmla="*/ 5143 w 10354"/>
                <a:gd name="connsiteY1197" fmla="*/ 2333 h 10000"/>
                <a:gd name="connsiteX1198" fmla="*/ 5138 w 10354"/>
                <a:gd name="connsiteY1198" fmla="*/ 2333 h 10000"/>
                <a:gd name="connsiteX1199" fmla="*/ 5124 w 10354"/>
                <a:gd name="connsiteY1199" fmla="*/ 2376 h 10000"/>
                <a:gd name="connsiteX1200" fmla="*/ 5115 w 10354"/>
                <a:gd name="connsiteY1200" fmla="*/ 2385 h 10000"/>
                <a:gd name="connsiteX1201" fmla="*/ 5106 w 10354"/>
                <a:gd name="connsiteY1201" fmla="*/ 2385 h 10000"/>
                <a:gd name="connsiteX1202" fmla="*/ 5055 w 10354"/>
                <a:gd name="connsiteY1202" fmla="*/ 2470 h 10000"/>
                <a:gd name="connsiteX1203" fmla="*/ 5065 w 10354"/>
                <a:gd name="connsiteY1203" fmla="*/ 2462 h 10000"/>
                <a:gd name="connsiteX1204" fmla="*/ 5055 w 10354"/>
                <a:gd name="connsiteY1204" fmla="*/ 2444 h 10000"/>
                <a:gd name="connsiteX1205" fmla="*/ 5041 w 10354"/>
                <a:gd name="connsiteY1205" fmla="*/ 2462 h 10000"/>
                <a:gd name="connsiteX1206" fmla="*/ 5037 w 10354"/>
                <a:gd name="connsiteY1206" fmla="*/ 2470 h 10000"/>
                <a:gd name="connsiteX1207" fmla="*/ 5032 w 10354"/>
                <a:gd name="connsiteY1207" fmla="*/ 2470 h 10000"/>
                <a:gd name="connsiteX1208" fmla="*/ 5032 w 10354"/>
                <a:gd name="connsiteY1208" fmla="*/ 2444 h 10000"/>
                <a:gd name="connsiteX1209" fmla="*/ 5055 w 10354"/>
                <a:gd name="connsiteY1209" fmla="*/ 2410 h 10000"/>
                <a:gd name="connsiteX1210" fmla="*/ 5065 w 10354"/>
                <a:gd name="connsiteY1210" fmla="*/ 2393 h 10000"/>
                <a:gd name="connsiteX1211" fmla="*/ 5069 w 10354"/>
                <a:gd name="connsiteY1211" fmla="*/ 2385 h 10000"/>
                <a:gd name="connsiteX1212" fmla="*/ 5083 w 10354"/>
                <a:gd name="connsiteY1212" fmla="*/ 2376 h 10000"/>
                <a:gd name="connsiteX1213" fmla="*/ 5097 w 10354"/>
                <a:gd name="connsiteY1213" fmla="*/ 2376 h 10000"/>
                <a:gd name="connsiteX1214" fmla="*/ 5124 w 10354"/>
                <a:gd name="connsiteY1214" fmla="*/ 2325 h 10000"/>
                <a:gd name="connsiteX1215" fmla="*/ 5143 w 10354"/>
                <a:gd name="connsiteY1215" fmla="*/ 2248 h 10000"/>
                <a:gd name="connsiteX1216" fmla="*/ 5152 w 10354"/>
                <a:gd name="connsiteY1216" fmla="*/ 2239 h 10000"/>
                <a:gd name="connsiteX1217" fmla="*/ 5166 w 10354"/>
                <a:gd name="connsiteY1217" fmla="*/ 2162 h 10000"/>
                <a:gd name="connsiteX1218" fmla="*/ 5171 w 10354"/>
                <a:gd name="connsiteY1218" fmla="*/ 2171 h 10000"/>
                <a:gd name="connsiteX1219" fmla="*/ 5198 w 10354"/>
                <a:gd name="connsiteY1219" fmla="*/ 2145 h 10000"/>
                <a:gd name="connsiteX1220" fmla="*/ 5203 w 10354"/>
                <a:gd name="connsiteY1220" fmla="*/ 2111 h 10000"/>
                <a:gd name="connsiteX1221" fmla="*/ 5217 w 10354"/>
                <a:gd name="connsiteY1221" fmla="*/ 2060 h 10000"/>
                <a:gd name="connsiteX1222" fmla="*/ 5226 w 10354"/>
                <a:gd name="connsiteY1222" fmla="*/ 2026 h 10000"/>
                <a:gd name="connsiteX1223" fmla="*/ 5286 w 10354"/>
                <a:gd name="connsiteY1223" fmla="*/ 2026 h 10000"/>
                <a:gd name="connsiteX1224" fmla="*/ 5290 w 10354"/>
                <a:gd name="connsiteY1224" fmla="*/ 2034 h 10000"/>
                <a:gd name="connsiteX1225" fmla="*/ 5323 w 10354"/>
                <a:gd name="connsiteY1225" fmla="*/ 1923 h 10000"/>
                <a:gd name="connsiteX1226" fmla="*/ 5323 w 10354"/>
                <a:gd name="connsiteY1226" fmla="*/ 1889 h 10000"/>
                <a:gd name="connsiteX1227" fmla="*/ 5359 w 10354"/>
                <a:gd name="connsiteY1227" fmla="*/ 1829 h 10000"/>
                <a:gd name="connsiteX1228" fmla="*/ 5378 w 10354"/>
                <a:gd name="connsiteY1228" fmla="*/ 1812 h 10000"/>
                <a:gd name="connsiteX1229" fmla="*/ 5406 w 10354"/>
                <a:gd name="connsiteY1229" fmla="*/ 1752 h 10000"/>
                <a:gd name="connsiteX1230" fmla="*/ 5410 w 10354"/>
                <a:gd name="connsiteY1230" fmla="*/ 1718 h 10000"/>
                <a:gd name="connsiteX1231" fmla="*/ 5438 w 10354"/>
                <a:gd name="connsiteY1231" fmla="*/ 1667 h 10000"/>
                <a:gd name="connsiteX1232" fmla="*/ 5438 w 10354"/>
                <a:gd name="connsiteY1232" fmla="*/ 1650 h 10000"/>
                <a:gd name="connsiteX1233" fmla="*/ 5438 w 10354"/>
                <a:gd name="connsiteY1233" fmla="*/ 1641 h 10000"/>
                <a:gd name="connsiteX1234" fmla="*/ 5452 w 10354"/>
                <a:gd name="connsiteY1234" fmla="*/ 1641 h 10000"/>
                <a:gd name="connsiteX1235" fmla="*/ 5456 w 10354"/>
                <a:gd name="connsiteY1235" fmla="*/ 1615 h 10000"/>
                <a:gd name="connsiteX1236" fmla="*/ 5456 w 10354"/>
                <a:gd name="connsiteY1236" fmla="*/ 1615 h 10000"/>
                <a:gd name="connsiteX1237" fmla="*/ 5465 w 10354"/>
                <a:gd name="connsiteY1237" fmla="*/ 1598 h 10000"/>
                <a:gd name="connsiteX1238" fmla="*/ 5465 w 10354"/>
                <a:gd name="connsiteY1238" fmla="*/ 1615 h 10000"/>
                <a:gd name="connsiteX1239" fmla="*/ 5479 w 10354"/>
                <a:gd name="connsiteY1239" fmla="*/ 1598 h 10000"/>
                <a:gd name="connsiteX1240" fmla="*/ 5484 w 10354"/>
                <a:gd name="connsiteY1240" fmla="*/ 1581 h 10000"/>
                <a:gd name="connsiteX1241" fmla="*/ 5493 w 10354"/>
                <a:gd name="connsiteY1241" fmla="*/ 1581 h 10000"/>
                <a:gd name="connsiteX1242" fmla="*/ 5512 w 10354"/>
                <a:gd name="connsiteY1242" fmla="*/ 1538 h 10000"/>
                <a:gd name="connsiteX1243" fmla="*/ 5530 w 10354"/>
                <a:gd name="connsiteY1243" fmla="*/ 1564 h 10000"/>
                <a:gd name="connsiteX1244" fmla="*/ 5530 w 10354"/>
                <a:gd name="connsiteY1244" fmla="*/ 1538 h 10000"/>
                <a:gd name="connsiteX1245" fmla="*/ 5539 w 10354"/>
                <a:gd name="connsiteY1245" fmla="*/ 1530 h 10000"/>
                <a:gd name="connsiteX1246" fmla="*/ 5530 w 10354"/>
                <a:gd name="connsiteY1246" fmla="*/ 1504 h 10000"/>
                <a:gd name="connsiteX1247" fmla="*/ 5567 w 10354"/>
                <a:gd name="connsiteY1247" fmla="*/ 1479 h 10000"/>
                <a:gd name="connsiteX1248" fmla="*/ 5553 w 10354"/>
                <a:gd name="connsiteY1248" fmla="*/ 1479 h 10000"/>
                <a:gd name="connsiteX1249" fmla="*/ 5553 w 10354"/>
                <a:gd name="connsiteY1249" fmla="*/ 1453 h 10000"/>
                <a:gd name="connsiteX1250" fmla="*/ 5581 w 10354"/>
                <a:gd name="connsiteY1250" fmla="*/ 1444 h 10000"/>
                <a:gd name="connsiteX1251" fmla="*/ 5581 w 10354"/>
                <a:gd name="connsiteY1251" fmla="*/ 1453 h 10000"/>
                <a:gd name="connsiteX1252" fmla="*/ 5585 w 10354"/>
                <a:gd name="connsiteY1252" fmla="*/ 1444 h 10000"/>
                <a:gd name="connsiteX1253" fmla="*/ 5594 w 10354"/>
                <a:gd name="connsiteY1253" fmla="*/ 1427 h 10000"/>
                <a:gd name="connsiteX1254" fmla="*/ 5599 w 10354"/>
                <a:gd name="connsiteY1254" fmla="*/ 1419 h 10000"/>
                <a:gd name="connsiteX1255" fmla="*/ 5594 w 10354"/>
                <a:gd name="connsiteY1255" fmla="*/ 1402 h 10000"/>
                <a:gd name="connsiteX1256" fmla="*/ 5604 w 10354"/>
                <a:gd name="connsiteY1256" fmla="*/ 1393 h 10000"/>
                <a:gd name="connsiteX1257" fmla="*/ 5618 w 10354"/>
                <a:gd name="connsiteY1257" fmla="*/ 1393 h 10000"/>
                <a:gd name="connsiteX1258" fmla="*/ 5627 w 10354"/>
                <a:gd name="connsiteY1258" fmla="*/ 1368 h 10000"/>
                <a:gd name="connsiteX1259" fmla="*/ 5627 w 10354"/>
                <a:gd name="connsiteY1259" fmla="*/ 1325 h 10000"/>
                <a:gd name="connsiteX1260" fmla="*/ 5645 w 10354"/>
                <a:gd name="connsiteY1260" fmla="*/ 1291 h 10000"/>
                <a:gd name="connsiteX1261" fmla="*/ 5645 w 10354"/>
                <a:gd name="connsiteY1261" fmla="*/ 1282 h 10000"/>
                <a:gd name="connsiteX1262" fmla="*/ 5654 w 10354"/>
                <a:gd name="connsiteY1262" fmla="*/ 1265 h 10000"/>
                <a:gd name="connsiteX1263" fmla="*/ 5654 w 10354"/>
                <a:gd name="connsiteY1263" fmla="*/ 1214 h 10000"/>
                <a:gd name="connsiteX1264" fmla="*/ 5654 w 10354"/>
                <a:gd name="connsiteY1264" fmla="*/ 1214 h 10000"/>
                <a:gd name="connsiteX1265" fmla="*/ 5645 w 10354"/>
                <a:gd name="connsiteY1265" fmla="*/ 1197 h 10000"/>
                <a:gd name="connsiteX1266" fmla="*/ 5659 w 10354"/>
                <a:gd name="connsiteY1266" fmla="*/ 1197 h 10000"/>
                <a:gd name="connsiteX1267" fmla="*/ 5654 w 10354"/>
                <a:gd name="connsiteY1267" fmla="*/ 1154 h 10000"/>
                <a:gd name="connsiteX1268" fmla="*/ 5641 w 10354"/>
                <a:gd name="connsiteY1268" fmla="*/ 1154 h 10000"/>
                <a:gd name="connsiteX1269" fmla="*/ 5627 w 10354"/>
                <a:gd name="connsiteY1269" fmla="*/ 1128 h 10000"/>
                <a:gd name="connsiteX1270" fmla="*/ 5618 w 10354"/>
                <a:gd name="connsiteY1270" fmla="*/ 1094 h 10000"/>
                <a:gd name="connsiteX1271" fmla="*/ 5613 w 10354"/>
                <a:gd name="connsiteY1271" fmla="*/ 1094 h 10000"/>
                <a:gd name="connsiteX1272" fmla="*/ 5604 w 10354"/>
                <a:gd name="connsiteY1272" fmla="*/ 1120 h 10000"/>
                <a:gd name="connsiteX1273" fmla="*/ 5604 w 10354"/>
                <a:gd name="connsiteY1273" fmla="*/ 1128 h 10000"/>
                <a:gd name="connsiteX1274" fmla="*/ 5599 w 10354"/>
                <a:gd name="connsiteY1274" fmla="*/ 1103 h 10000"/>
                <a:gd name="connsiteX1275" fmla="*/ 5599 w 10354"/>
                <a:gd name="connsiteY1275" fmla="*/ 1103 h 10000"/>
                <a:gd name="connsiteX1276" fmla="*/ 5594 w 10354"/>
                <a:gd name="connsiteY1276" fmla="*/ 1068 h 10000"/>
                <a:gd name="connsiteX1277" fmla="*/ 5594 w 10354"/>
                <a:gd name="connsiteY1277" fmla="*/ 1060 h 10000"/>
                <a:gd name="connsiteX1278" fmla="*/ 5581 w 10354"/>
                <a:gd name="connsiteY1278" fmla="*/ 1034 h 10000"/>
                <a:gd name="connsiteX1279" fmla="*/ 5571 w 10354"/>
                <a:gd name="connsiteY1279" fmla="*/ 1009 h 10000"/>
                <a:gd name="connsiteX1280" fmla="*/ 5571 w 10354"/>
                <a:gd name="connsiteY1280" fmla="*/ 991 h 10000"/>
                <a:gd name="connsiteX1281" fmla="*/ 5585 w 10354"/>
                <a:gd name="connsiteY1281" fmla="*/ 1009 h 10000"/>
                <a:gd name="connsiteX1282" fmla="*/ 5604 w 10354"/>
                <a:gd name="connsiteY1282" fmla="*/ 1043 h 10000"/>
                <a:gd name="connsiteX1283" fmla="*/ 5641 w 10354"/>
                <a:gd name="connsiteY1283" fmla="*/ 1094 h 10000"/>
                <a:gd name="connsiteX1284" fmla="*/ 5631 w 10354"/>
                <a:gd name="connsiteY1284" fmla="*/ 1128 h 10000"/>
                <a:gd name="connsiteX1285" fmla="*/ 5641 w 10354"/>
                <a:gd name="connsiteY1285" fmla="*/ 1128 h 10000"/>
                <a:gd name="connsiteX1286" fmla="*/ 5659 w 10354"/>
                <a:gd name="connsiteY1286" fmla="*/ 1017 h 10000"/>
                <a:gd name="connsiteX1287" fmla="*/ 5659 w 10354"/>
                <a:gd name="connsiteY1287" fmla="*/ 983 h 10000"/>
                <a:gd name="connsiteX1288" fmla="*/ 5659 w 10354"/>
                <a:gd name="connsiteY1288" fmla="*/ 957 h 10000"/>
                <a:gd name="connsiteX1289" fmla="*/ 5654 w 10354"/>
                <a:gd name="connsiteY1289" fmla="*/ 966 h 10000"/>
                <a:gd name="connsiteX1290" fmla="*/ 5641 w 10354"/>
                <a:gd name="connsiteY1290" fmla="*/ 957 h 10000"/>
                <a:gd name="connsiteX1291" fmla="*/ 5631 w 10354"/>
                <a:gd name="connsiteY1291" fmla="*/ 897 h 10000"/>
                <a:gd name="connsiteX1292" fmla="*/ 5641 w 10354"/>
                <a:gd name="connsiteY1292" fmla="*/ 872 h 10000"/>
                <a:gd name="connsiteX1293" fmla="*/ 5618 w 10354"/>
                <a:gd name="connsiteY1293" fmla="*/ 803 h 10000"/>
                <a:gd name="connsiteX1294" fmla="*/ 5604 w 10354"/>
                <a:gd name="connsiteY1294" fmla="*/ 821 h 10000"/>
                <a:gd name="connsiteX1295" fmla="*/ 5613 w 10354"/>
                <a:gd name="connsiteY1295" fmla="*/ 846 h 10000"/>
                <a:gd name="connsiteX1296" fmla="*/ 5604 w 10354"/>
                <a:gd name="connsiteY1296" fmla="*/ 855 h 10000"/>
                <a:gd name="connsiteX1297" fmla="*/ 5599 w 10354"/>
                <a:gd name="connsiteY1297" fmla="*/ 880 h 10000"/>
                <a:gd name="connsiteX1298" fmla="*/ 5594 w 10354"/>
                <a:gd name="connsiteY1298" fmla="*/ 880 h 10000"/>
                <a:gd name="connsiteX1299" fmla="*/ 5585 w 10354"/>
                <a:gd name="connsiteY1299" fmla="*/ 829 h 10000"/>
                <a:gd name="connsiteX1300" fmla="*/ 5571 w 10354"/>
                <a:gd name="connsiteY1300" fmla="*/ 803 h 10000"/>
                <a:gd name="connsiteX1301" fmla="*/ 5585 w 10354"/>
                <a:gd name="connsiteY1301" fmla="*/ 795 h 10000"/>
                <a:gd name="connsiteX1302" fmla="*/ 5585 w 10354"/>
                <a:gd name="connsiteY1302" fmla="*/ 761 h 10000"/>
                <a:gd name="connsiteX1303" fmla="*/ 5558 w 10354"/>
                <a:gd name="connsiteY1303" fmla="*/ 709 h 10000"/>
                <a:gd name="connsiteX1304" fmla="*/ 5544 w 10354"/>
                <a:gd name="connsiteY1304" fmla="*/ 709 h 10000"/>
                <a:gd name="connsiteX1305" fmla="*/ 5544 w 10354"/>
                <a:gd name="connsiteY1305" fmla="*/ 684 h 10000"/>
                <a:gd name="connsiteX1306" fmla="*/ 5525 w 10354"/>
                <a:gd name="connsiteY1306" fmla="*/ 632 h 10000"/>
                <a:gd name="connsiteX1307" fmla="*/ 5507 w 10354"/>
                <a:gd name="connsiteY1307" fmla="*/ 607 h 10000"/>
                <a:gd name="connsiteX1308" fmla="*/ 5512 w 10354"/>
                <a:gd name="connsiteY1308" fmla="*/ 598 h 10000"/>
                <a:gd name="connsiteX1309" fmla="*/ 5507 w 10354"/>
                <a:gd name="connsiteY1309" fmla="*/ 581 h 10000"/>
                <a:gd name="connsiteX1310" fmla="*/ 5493 w 10354"/>
                <a:gd name="connsiteY1310" fmla="*/ 573 h 10000"/>
                <a:gd name="connsiteX1311" fmla="*/ 5484 w 10354"/>
                <a:gd name="connsiteY1311" fmla="*/ 581 h 10000"/>
                <a:gd name="connsiteX1312" fmla="*/ 5484 w 10354"/>
                <a:gd name="connsiteY1312" fmla="*/ 573 h 10000"/>
                <a:gd name="connsiteX1313" fmla="*/ 5484 w 10354"/>
                <a:gd name="connsiteY1313" fmla="*/ 547 h 10000"/>
                <a:gd name="connsiteX1314" fmla="*/ 5465 w 10354"/>
                <a:gd name="connsiteY1314" fmla="*/ 556 h 10000"/>
                <a:gd name="connsiteX1315" fmla="*/ 5433 w 10354"/>
                <a:gd name="connsiteY1315" fmla="*/ 547 h 10000"/>
                <a:gd name="connsiteX1316" fmla="*/ 5410 w 10354"/>
                <a:gd name="connsiteY1316" fmla="*/ 573 h 10000"/>
                <a:gd name="connsiteX1317" fmla="*/ 5406 w 10354"/>
                <a:gd name="connsiteY1317" fmla="*/ 573 h 10000"/>
                <a:gd name="connsiteX1318" fmla="*/ 5392 w 10354"/>
                <a:gd name="connsiteY1318" fmla="*/ 573 h 10000"/>
                <a:gd name="connsiteX1319" fmla="*/ 5364 w 10354"/>
                <a:gd name="connsiteY1319" fmla="*/ 530 h 10000"/>
                <a:gd name="connsiteX1320" fmla="*/ 5350 w 10354"/>
                <a:gd name="connsiteY1320" fmla="*/ 556 h 10000"/>
                <a:gd name="connsiteX1321" fmla="*/ 5346 w 10354"/>
                <a:gd name="connsiteY1321" fmla="*/ 556 h 10000"/>
                <a:gd name="connsiteX1322" fmla="*/ 5313 w 10354"/>
                <a:gd name="connsiteY1322" fmla="*/ 573 h 10000"/>
                <a:gd name="connsiteX1323" fmla="*/ 5304 w 10354"/>
                <a:gd name="connsiteY1323" fmla="*/ 556 h 10000"/>
                <a:gd name="connsiteX1324" fmla="*/ 5290 w 10354"/>
                <a:gd name="connsiteY1324" fmla="*/ 573 h 10000"/>
                <a:gd name="connsiteX1325" fmla="*/ 5290 w 10354"/>
                <a:gd name="connsiteY1325" fmla="*/ 556 h 10000"/>
                <a:gd name="connsiteX1326" fmla="*/ 5300 w 10354"/>
                <a:gd name="connsiteY1326" fmla="*/ 547 h 10000"/>
                <a:gd name="connsiteX1327" fmla="*/ 5300 w 10354"/>
                <a:gd name="connsiteY1327" fmla="*/ 530 h 10000"/>
                <a:gd name="connsiteX1328" fmla="*/ 5290 w 10354"/>
                <a:gd name="connsiteY1328" fmla="*/ 530 h 10000"/>
                <a:gd name="connsiteX1329" fmla="*/ 5286 w 10354"/>
                <a:gd name="connsiteY1329" fmla="*/ 547 h 10000"/>
                <a:gd name="connsiteX1330" fmla="*/ 5272 w 10354"/>
                <a:gd name="connsiteY1330" fmla="*/ 556 h 10000"/>
                <a:gd name="connsiteX1331" fmla="*/ 5272 w 10354"/>
                <a:gd name="connsiteY1331" fmla="*/ 598 h 10000"/>
                <a:gd name="connsiteX1332" fmla="*/ 5276 w 10354"/>
                <a:gd name="connsiteY1332" fmla="*/ 581 h 10000"/>
                <a:gd name="connsiteX1333" fmla="*/ 5272 w 10354"/>
                <a:gd name="connsiteY1333" fmla="*/ 607 h 10000"/>
                <a:gd name="connsiteX1334" fmla="*/ 5263 w 10354"/>
                <a:gd name="connsiteY1334" fmla="*/ 607 h 10000"/>
                <a:gd name="connsiteX1335" fmla="*/ 5263 w 10354"/>
                <a:gd name="connsiteY1335" fmla="*/ 632 h 10000"/>
                <a:gd name="connsiteX1336" fmla="*/ 5258 w 10354"/>
                <a:gd name="connsiteY1336" fmla="*/ 658 h 10000"/>
                <a:gd name="connsiteX1337" fmla="*/ 5244 w 10354"/>
                <a:gd name="connsiteY1337" fmla="*/ 667 h 10000"/>
                <a:gd name="connsiteX1338" fmla="*/ 5240 w 10354"/>
                <a:gd name="connsiteY1338" fmla="*/ 658 h 10000"/>
                <a:gd name="connsiteX1339" fmla="*/ 5240 w 10354"/>
                <a:gd name="connsiteY1339" fmla="*/ 684 h 10000"/>
                <a:gd name="connsiteX1340" fmla="*/ 5212 w 10354"/>
                <a:gd name="connsiteY1340" fmla="*/ 684 h 10000"/>
                <a:gd name="connsiteX1341" fmla="*/ 5198 w 10354"/>
                <a:gd name="connsiteY1341" fmla="*/ 692 h 10000"/>
                <a:gd name="connsiteX1342" fmla="*/ 5184 w 10354"/>
                <a:gd name="connsiteY1342" fmla="*/ 684 h 10000"/>
                <a:gd name="connsiteX1343" fmla="*/ 5157 w 10354"/>
                <a:gd name="connsiteY1343" fmla="*/ 684 h 10000"/>
                <a:gd name="connsiteX1344" fmla="*/ 5157 w 10354"/>
                <a:gd name="connsiteY1344" fmla="*/ 667 h 10000"/>
                <a:gd name="connsiteX1345" fmla="*/ 5157 w 10354"/>
                <a:gd name="connsiteY1345" fmla="*/ 667 h 10000"/>
                <a:gd name="connsiteX1346" fmla="*/ 5180 w 10354"/>
                <a:gd name="connsiteY1346" fmla="*/ 650 h 10000"/>
                <a:gd name="connsiteX1347" fmla="*/ 5184 w 10354"/>
                <a:gd name="connsiteY1347" fmla="*/ 658 h 10000"/>
                <a:gd name="connsiteX1348" fmla="*/ 5203 w 10354"/>
                <a:gd name="connsiteY1348" fmla="*/ 547 h 10000"/>
                <a:gd name="connsiteX1349" fmla="*/ 5226 w 10354"/>
                <a:gd name="connsiteY1349" fmla="*/ 530 h 10000"/>
                <a:gd name="connsiteX1350" fmla="*/ 5230 w 10354"/>
                <a:gd name="connsiteY1350" fmla="*/ 487 h 10000"/>
                <a:gd name="connsiteX1351" fmla="*/ 5230 w 10354"/>
                <a:gd name="connsiteY1351" fmla="*/ 487 h 10000"/>
                <a:gd name="connsiteX1352" fmla="*/ 5226 w 10354"/>
                <a:gd name="connsiteY1352" fmla="*/ 462 h 10000"/>
                <a:gd name="connsiteX1353" fmla="*/ 5226 w 10354"/>
                <a:gd name="connsiteY1353" fmla="*/ 462 h 10000"/>
                <a:gd name="connsiteX1354" fmla="*/ 5240 w 10354"/>
                <a:gd name="connsiteY1354" fmla="*/ 462 h 10000"/>
                <a:gd name="connsiteX1355" fmla="*/ 5240 w 10354"/>
                <a:gd name="connsiteY1355" fmla="*/ 444 h 10000"/>
                <a:gd name="connsiteX1356" fmla="*/ 5230 w 10354"/>
                <a:gd name="connsiteY1356" fmla="*/ 436 h 10000"/>
                <a:gd name="connsiteX1357" fmla="*/ 5230 w 10354"/>
                <a:gd name="connsiteY1357" fmla="*/ 419 h 10000"/>
                <a:gd name="connsiteX1358" fmla="*/ 5230 w 10354"/>
                <a:gd name="connsiteY1358" fmla="*/ 410 h 10000"/>
                <a:gd name="connsiteX1359" fmla="*/ 5198 w 10354"/>
                <a:gd name="connsiteY1359" fmla="*/ 402 h 10000"/>
                <a:gd name="connsiteX1360" fmla="*/ 5189 w 10354"/>
                <a:gd name="connsiteY1360" fmla="*/ 402 h 10000"/>
                <a:gd name="connsiteX1361" fmla="*/ 5184 w 10354"/>
                <a:gd name="connsiteY1361" fmla="*/ 376 h 10000"/>
                <a:gd name="connsiteX1362" fmla="*/ 5180 w 10354"/>
                <a:gd name="connsiteY1362" fmla="*/ 376 h 10000"/>
                <a:gd name="connsiteX1363" fmla="*/ 5166 w 10354"/>
                <a:gd name="connsiteY1363" fmla="*/ 376 h 10000"/>
                <a:gd name="connsiteX1364" fmla="*/ 5157 w 10354"/>
                <a:gd name="connsiteY1364" fmla="*/ 385 h 10000"/>
                <a:gd name="connsiteX1365" fmla="*/ 5152 w 10354"/>
                <a:gd name="connsiteY1365" fmla="*/ 376 h 10000"/>
                <a:gd name="connsiteX1366" fmla="*/ 5129 w 10354"/>
                <a:gd name="connsiteY1366" fmla="*/ 385 h 10000"/>
                <a:gd name="connsiteX1367" fmla="*/ 5129 w 10354"/>
                <a:gd name="connsiteY1367" fmla="*/ 350 h 10000"/>
                <a:gd name="connsiteX1368" fmla="*/ 5129 w 10354"/>
                <a:gd name="connsiteY1368" fmla="*/ 325 h 10000"/>
                <a:gd name="connsiteX1369" fmla="*/ 5124 w 10354"/>
                <a:gd name="connsiteY1369" fmla="*/ 359 h 10000"/>
                <a:gd name="connsiteX1370" fmla="*/ 5106 w 10354"/>
                <a:gd name="connsiteY1370" fmla="*/ 359 h 10000"/>
                <a:gd name="connsiteX1371" fmla="*/ 5037 w 10354"/>
                <a:gd name="connsiteY1371" fmla="*/ 419 h 10000"/>
                <a:gd name="connsiteX1372" fmla="*/ 5051 w 10354"/>
                <a:gd name="connsiteY1372" fmla="*/ 385 h 10000"/>
                <a:gd name="connsiteX1373" fmla="*/ 5055 w 10354"/>
                <a:gd name="connsiteY1373" fmla="*/ 376 h 10000"/>
                <a:gd name="connsiteX1374" fmla="*/ 5092 w 10354"/>
                <a:gd name="connsiteY1374" fmla="*/ 282 h 10000"/>
                <a:gd name="connsiteX1375" fmla="*/ 5106 w 10354"/>
                <a:gd name="connsiteY1375" fmla="*/ 265 h 10000"/>
                <a:gd name="connsiteX1376" fmla="*/ 5115 w 10354"/>
                <a:gd name="connsiteY1376" fmla="*/ 265 h 10000"/>
                <a:gd name="connsiteX1377" fmla="*/ 5124 w 10354"/>
                <a:gd name="connsiteY1377" fmla="*/ 222 h 10000"/>
                <a:gd name="connsiteX1378" fmla="*/ 5124 w 10354"/>
                <a:gd name="connsiteY1378" fmla="*/ 214 h 10000"/>
                <a:gd name="connsiteX1379" fmla="*/ 5143 w 10354"/>
                <a:gd name="connsiteY1379" fmla="*/ 197 h 10000"/>
                <a:gd name="connsiteX1380" fmla="*/ 5152 w 10354"/>
                <a:gd name="connsiteY1380" fmla="*/ 214 h 10000"/>
                <a:gd name="connsiteX1381" fmla="*/ 5143 w 10354"/>
                <a:gd name="connsiteY1381" fmla="*/ 188 h 10000"/>
                <a:gd name="connsiteX1382" fmla="*/ 5129 w 10354"/>
                <a:gd name="connsiteY1382" fmla="*/ 103 h 10000"/>
                <a:gd name="connsiteX1383" fmla="*/ 5115 w 10354"/>
                <a:gd name="connsiteY1383" fmla="*/ 85 h 10000"/>
                <a:gd name="connsiteX1384" fmla="*/ 5111 w 10354"/>
                <a:gd name="connsiteY1384" fmla="*/ 111 h 10000"/>
                <a:gd name="connsiteX1385" fmla="*/ 5092 w 10354"/>
                <a:gd name="connsiteY1385" fmla="*/ 103 h 10000"/>
                <a:gd name="connsiteX1386" fmla="*/ 5069 w 10354"/>
                <a:gd name="connsiteY1386" fmla="*/ 77 h 10000"/>
                <a:gd name="connsiteX1387" fmla="*/ 5051 w 10354"/>
                <a:gd name="connsiteY1387" fmla="*/ 26 h 10000"/>
                <a:gd name="connsiteX1388" fmla="*/ 5041 w 10354"/>
                <a:gd name="connsiteY1388" fmla="*/ 34 h 10000"/>
                <a:gd name="connsiteX1389" fmla="*/ 5037 w 10354"/>
                <a:gd name="connsiteY1389" fmla="*/ 34 h 10000"/>
                <a:gd name="connsiteX1390" fmla="*/ 5037 w 10354"/>
                <a:gd name="connsiteY1390" fmla="*/ 26 h 10000"/>
                <a:gd name="connsiteX1391" fmla="*/ 5037 w 10354"/>
                <a:gd name="connsiteY1391" fmla="*/ 9 h 10000"/>
                <a:gd name="connsiteX1392" fmla="*/ 5023 w 10354"/>
                <a:gd name="connsiteY1392" fmla="*/ 0 h 10000"/>
                <a:gd name="connsiteX1393" fmla="*/ 5009 w 10354"/>
                <a:gd name="connsiteY1393" fmla="*/ 9 h 10000"/>
                <a:gd name="connsiteX1394" fmla="*/ 4995 w 10354"/>
                <a:gd name="connsiteY1394" fmla="*/ 34 h 10000"/>
                <a:gd name="connsiteX1395" fmla="*/ 4991 w 10354"/>
                <a:gd name="connsiteY1395" fmla="*/ 60 h 10000"/>
                <a:gd name="connsiteX1396" fmla="*/ 4982 w 10354"/>
                <a:gd name="connsiteY1396" fmla="*/ 60 h 10000"/>
                <a:gd name="connsiteX1397" fmla="*/ 4949 w 10354"/>
                <a:gd name="connsiteY1397" fmla="*/ 51 h 10000"/>
                <a:gd name="connsiteX1398" fmla="*/ 4949 w 10354"/>
                <a:gd name="connsiteY1398" fmla="*/ 85 h 10000"/>
                <a:gd name="connsiteX1399" fmla="*/ 4903 w 10354"/>
                <a:gd name="connsiteY1399" fmla="*/ 197 h 10000"/>
                <a:gd name="connsiteX1400" fmla="*/ 4899 w 10354"/>
                <a:gd name="connsiteY1400" fmla="*/ 239 h 10000"/>
                <a:gd name="connsiteX1401" fmla="*/ 4871 w 10354"/>
                <a:gd name="connsiteY1401" fmla="*/ 274 h 10000"/>
                <a:gd name="connsiteX1402" fmla="*/ 4871 w 10354"/>
                <a:gd name="connsiteY1402" fmla="*/ 282 h 10000"/>
                <a:gd name="connsiteX1403" fmla="*/ 4834 w 10354"/>
                <a:gd name="connsiteY1403" fmla="*/ 376 h 10000"/>
                <a:gd name="connsiteX1404" fmla="*/ 4829 w 10354"/>
                <a:gd name="connsiteY1404" fmla="*/ 402 h 10000"/>
                <a:gd name="connsiteX1405" fmla="*/ 4834 w 10354"/>
                <a:gd name="connsiteY1405" fmla="*/ 410 h 10000"/>
                <a:gd name="connsiteX1406" fmla="*/ 4829 w 10354"/>
                <a:gd name="connsiteY1406" fmla="*/ 436 h 10000"/>
                <a:gd name="connsiteX1407" fmla="*/ 4825 w 10354"/>
                <a:gd name="connsiteY1407" fmla="*/ 436 h 10000"/>
                <a:gd name="connsiteX1408" fmla="*/ 4825 w 10354"/>
                <a:gd name="connsiteY1408" fmla="*/ 444 h 10000"/>
                <a:gd name="connsiteX1409" fmla="*/ 4811 w 10354"/>
                <a:gd name="connsiteY1409" fmla="*/ 496 h 10000"/>
                <a:gd name="connsiteX1410" fmla="*/ 4811 w 10354"/>
                <a:gd name="connsiteY1410" fmla="*/ 496 h 10000"/>
                <a:gd name="connsiteX1411" fmla="*/ 4811 w 10354"/>
                <a:gd name="connsiteY1411" fmla="*/ 521 h 10000"/>
                <a:gd name="connsiteX1412" fmla="*/ 4816 w 10354"/>
                <a:gd name="connsiteY1412" fmla="*/ 530 h 10000"/>
                <a:gd name="connsiteX1413" fmla="*/ 4834 w 10354"/>
                <a:gd name="connsiteY1413" fmla="*/ 547 h 10000"/>
                <a:gd name="connsiteX1414" fmla="*/ 4834 w 10354"/>
                <a:gd name="connsiteY1414" fmla="*/ 581 h 10000"/>
                <a:gd name="connsiteX1415" fmla="*/ 4843 w 10354"/>
                <a:gd name="connsiteY1415" fmla="*/ 581 h 10000"/>
                <a:gd name="connsiteX1416" fmla="*/ 4843 w 10354"/>
                <a:gd name="connsiteY1416" fmla="*/ 598 h 10000"/>
                <a:gd name="connsiteX1417" fmla="*/ 4829 w 10354"/>
                <a:gd name="connsiteY1417" fmla="*/ 598 h 10000"/>
                <a:gd name="connsiteX1418" fmla="*/ 4829 w 10354"/>
                <a:gd name="connsiteY1418" fmla="*/ 573 h 10000"/>
                <a:gd name="connsiteX1419" fmla="*/ 4829 w 10354"/>
                <a:gd name="connsiteY1419" fmla="*/ 632 h 10000"/>
                <a:gd name="connsiteX1420" fmla="*/ 4829 w 10354"/>
                <a:gd name="connsiteY1420" fmla="*/ 632 h 10000"/>
                <a:gd name="connsiteX1421" fmla="*/ 4829 w 10354"/>
                <a:gd name="connsiteY1421" fmla="*/ 650 h 10000"/>
                <a:gd name="connsiteX1422" fmla="*/ 4774 w 10354"/>
                <a:gd name="connsiteY1422" fmla="*/ 684 h 10000"/>
                <a:gd name="connsiteX1423" fmla="*/ 4756 w 10354"/>
                <a:gd name="connsiteY1423" fmla="*/ 684 h 10000"/>
                <a:gd name="connsiteX1424" fmla="*/ 4737 w 10354"/>
                <a:gd name="connsiteY1424" fmla="*/ 692 h 10000"/>
                <a:gd name="connsiteX1425" fmla="*/ 4677 w 10354"/>
                <a:gd name="connsiteY1425" fmla="*/ 667 h 10000"/>
                <a:gd name="connsiteX1426" fmla="*/ 4682 w 10354"/>
                <a:gd name="connsiteY1426" fmla="*/ 692 h 10000"/>
                <a:gd name="connsiteX1427" fmla="*/ 4682 w 10354"/>
                <a:gd name="connsiteY1427" fmla="*/ 709 h 10000"/>
                <a:gd name="connsiteX1428" fmla="*/ 4691 w 10354"/>
                <a:gd name="connsiteY1428" fmla="*/ 718 h 10000"/>
                <a:gd name="connsiteX1429" fmla="*/ 4691 w 10354"/>
                <a:gd name="connsiteY1429" fmla="*/ 744 h 10000"/>
                <a:gd name="connsiteX1430" fmla="*/ 4700 w 10354"/>
                <a:gd name="connsiteY1430" fmla="*/ 744 h 10000"/>
                <a:gd name="connsiteX1431" fmla="*/ 4714 w 10354"/>
                <a:gd name="connsiteY1431" fmla="*/ 769 h 10000"/>
                <a:gd name="connsiteX1432" fmla="*/ 4710 w 10354"/>
                <a:gd name="connsiteY1432" fmla="*/ 786 h 10000"/>
                <a:gd name="connsiteX1433" fmla="*/ 4737 w 10354"/>
                <a:gd name="connsiteY1433" fmla="*/ 786 h 10000"/>
                <a:gd name="connsiteX1434" fmla="*/ 4742 w 10354"/>
                <a:gd name="connsiteY1434" fmla="*/ 795 h 10000"/>
                <a:gd name="connsiteX1435" fmla="*/ 4742 w 10354"/>
                <a:gd name="connsiteY1435" fmla="*/ 803 h 10000"/>
                <a:gd name="connsiteX1436" fmla="*/ 4737 w 10354"/>
                <a:gd name="connsiteY1436" fmla="*/ 846 h 10000"/>
                <a:gd name="connsiteX1437" fmla="*/ 4737 w 10354"/>
                <a:gd name="connsiteY1437" fmla="*/ 880 h 10000"/>
                <a:gd name="connsiteX1438" fmla="*/ 4737 w 10354"/>
                <a:gd name="connsiteY1438" fmla="*/ 906 h 10000"/>
                <a:gd name="connsiteX1439" fmla="*/ 4724 w 10354"/>
                <a:gd name="connsiteY1439" fmla="*/ 897 h 10000"/>
                <a:gd name="connsiteX1440" fmla="*/ 4724 w 10354"/>
                <a:gd name="connsiteY1440" fmla="*/ 872 h 10000"/>
                <a:gd name="connsiteX1441" fmla="*/ 4714 w 10354"/>
                <a:gd name="connsiteY1441" fmla="*/ 855 h 10000"/>
                <a:gd name="connsiteX1442" fmla="*/ 4691 w 10354"/>
                <a:gd name="connsiteY1442" fmla="*/ 846 h 10000"/>
                <a:gd name="connsiteX1443" fmla="*/ 4691 w 10354"/>
                <a:gd name="connsiteY1443" fmla="*/ 846 h 10000"/>
                <a:gd name="connsiteX1444" fmla="*/ 4696 w 10354"/>
                <a:gd name="connsiteY1444" fmla="*/ 821 h 10000"/>
                <a:gd name="connsiteX1445" fmla="*/ 4691 w 10354"/>
                <a:gd name="connsiteY1445" fmla="*/ 803 h 10000"/>
                <a:gd name="connsiteX1446" fmla="*/ 4668 w 10354"/>
                <a:gd name="connsiteY1446" fmla="*/ 821 h 10000"/>
                <a:gd name="connsiteX1447" fmla="*/ 4668 w 10354"/>
                <a:gd name="connsiteY1447" fmla="*/ 786 h 10000"/>
                <a:gd name="connsiteX1448" fmla="*/ 4664 w 10354"/>
                <a:gd name="connsiteY1448" fmla="*/ 786 h 10000"/>
                <a:gd name="connsiteX1449" fmla="*/ 4622 w 10354"/>
                <a:gd name="connsiteY1449" fmla="*/ 846 h 10000"/>
                <a:gd name="connsiteX1450" fmla="*/ 4627 w 10354"/>
                <a:gd name="connsiteY1450" fmla="*/ 872 h 10000"/>
                <a:gd name="connsiteX1451" fmla="*/ 4622 w 10354"/>
                <a:gd name="connsiteY1451" fmla="*/ 880 h 10000"/>
                <a:gd name="connsiteX1452" fmla="*/ 4622 w 10354"/>
                <a:gd name="connsiteY1452" fmla="*/ 880 h 10000"/>
                <a:gd name="connsiteX1453" fmla="*/ 4618 w 10354"/>
                <a:gd name="connsiteY1453" fmla="*/ 872 h 10000"/>
                <a:gd name="connsiteX1454" fmla="*/ 4604 w 10354"/>
                <a:gd name="connsiteY1454" fmla="*/ 880 h 10000"/>
                <a:gd name="connsiteX1455" fmla="*/ 4594 w 10354"/>
                <a:gd name="connsiteY1455" fmla="*/ 906 h 10000"/>
                <a:gd name="connsiteX1456" fmla="*/ 4604 w 10354"/>
                <a:gd name="connsiteY1456" fmla="*/ 906 h 10000"/>
                <a:gd name="connsiteX1457" fmla="*/ 4608 w 10354"/>
                <a:gd name="connsiteY1457" fmla="*/ 906 h 10000"/>
                <a:gd name="connsiteX1458" fmla="*/ 4608 w 10354"/>
                <a:gd name="connsiteY1458" fmla="*/ 932 h 10000"/>
                <a:gd name="connsiteX1459" fmla="*/ 4604 w 10354"/>
                <a:gd name="connsiteY1459" fmla="*/ 932 h 10000"/>
                <a:gd name="connsiteX1460" fmla="*/ 4590 w 10354"/>
                <a:gd name="connsiteY1460" fmla="*/ 932 h 10000"/>
                <a:gd name="connsiteX1461" fmla="*/ 4567 w 10354"/>
                <a:gd name="connsiteY1461" fmla="*/ 957 h 10000"/>
                <a:gd name="connsiteX1462" fmla="*/ 4567 w 10354"/>
                <a:gd name="connsiteY1462" fmla="*/ 932 h 10000"/>
                <a:gd name="connsiteX1463" fmla="*/ 4567 w 10354"/>
                <a:gd name="connsiteY1463" fmla="*/ 923 h 10000"/>
                <a:gd name="connsiteX1464" fmla="*/ 4562 w 10354"/>
                <a:gd name="connsiteY1464" fmla="*/ 932 h 10000"/>
                <a:gd name="connsiteX1465" fmla="*/ 4548 w 10354"/>
                <a:gd name="connsiteY1465" fmla="*/ 957 h 10000"/>
                <a:gd name="connsiteX1466" fmla="*/ 4544 w 10354"/>
                <a:gd name="connsiteY1466" fmla="*/ 957 h 10000"/>
                <a:gd name="connsiteX1467" fmla="*/ 4521 w 10354"/>
                <a:gd name="connsiteY1467" fmla="*/ 983 h 10000"/>
                <a:gd name="connsiteX1468" fmla="*/ 4521 w 10354"/>
                <a:gd name="connsiteY1468" fmla="*/ 983 h 10000"/>
                <a:gd name="connsiteX1469" fmla="*/ 4530 w 10354"/>
                <a:gd name="connsiteY1469" fmla="*/ 957 h 10000"/>
                <a:gd name="connsiteX1470" fmla="*/ 4535 w 10354"/>
                <a:gd name="connsiteY1470" fmla="*/ 932 h 10000"/>
                <a:gd name="connsiteX1471" fmla="*/ 4521 w 10354"/>
                <a:gd name="connsiteY1471" fmla="*/ 932 h 10000"/>
                <a:gd name="connsiteX1472" fmla="*/ 4516 w 10354"/>
                <a:gd name="connsiteY1472" fmla="*/ 923 h 10000"/>
                <a:gd name="connsiteX1473" fmla="*/ 4516 w 10354"/>
                <a:gd name="connsiteY1473" fmla="*/ 932 h 10000"/>
                <a:gd name="connsiteX1474" fmla="*/ 4488 w 10354"/>
                <a:gd name="connsiteY1474" fmla="*/ 940 h 10000"/>
                <a:gd name="connsiteX1475" fmla="*/ 4484 w 10354"/>
                <a:gd name="connsiteY1475" fmla="*/ 983 h 10000"/>
                <a:gd name="connsiteX1476" fmla="*/ 4470 w 10354"/>
                <a:gd name="connsiteY1476" fmla="*/ 983 h 10000"/>
                <a:gd name="connsiteX1477" fmla="*/ 4470 w 10354"/>
                <a:gd name="connsiteY1477" fmla="*/ 966 h 10000"/>
                <a:gd name="connsiteX1478" fmla="*/ 4488 w 10354"/>
                <a:gd name="connsiteY1478" fmla="*/ 923 h 10000"/>
                <a:gd name="connsiteX1479" fmla="*/ 4493 w 10354"/>
                <a:gd name="connsiteY1479" fmla="*/ 880 h 10000"/>
                <a:gd name="connsiteX1480" fmla="*/ 4475 w 10354"/>
                <a:gd name="connsiteY1480" fmla="*/ 846 h 10000"/>
                <a:gd name="connsiteX1481" fmla="*/ 4442 w 10354"/>
                <a:gd name="connsiteY1481" fmla="*/ 855 h 10000"/>
                <a:gd name="connsiteX1482" fmla="*/ 4433 w 10354"/>
                <a:gd name="connsiteY1482" fmla="*/ 855 h 10000"/>
                <a:gd name="connsiteX1483" fmla="*/ 4433 w 10354"/>
                <a:gd name="connsiteY1483" fmla="*/ 880 h 10000"/>
                <a:gd name="connsiteX1484" fmla="*/ 4401 w 10354"/>
                <a:gd name="connsiteY1484" fmla="*/ 855 h 10000"/>
                <a:gd name="connsiteX1485" fmla="*/ 4396 w 10354"/>
                <a:gd name="connsiteY1485" fmla="*/ 872 h 10000"/>
                <a:gd name="connsiteX1486" fmla="*/ 4382 w 10354"/>
                <a:gd name="connsiteY1486" fmla="*/ 897 h 10000"/>
                <a:gd name="connsiteX1487" fmla="*/ 4373 w 10354"/>
                <a:gd name="connsiteY1487" fmla="*/ 872 h 10000"/>
                <a:gd name="connsiteX1488" fmla="*/ 4341 w 10354"/>
                <a:gd name="connsiteY1488" fmla="*/ 872 h 10000"/>
                <a:gd name="connsiteX1489" fmla="*/ 4336 w 10354"/>
                <a:gd name="connsiteY1489" fmla="*/ 880 h 10000"/>
                <a:gd name="connsiteX1490" fmla="*/ 4346 w 10354"/>
                <a:gd name="connsiteY1490" fmla="*/ 897 h 10000"/>
                <a:gd name="connsiteX1491" fmla="*/ 4346 w 10354"/>
                <a:gd name="connsiteY1491" fmla="*/ 897 h 10000"/>
                <a:gd name="connsiteX1492" fmla="*/ 4313 w 10354"/>
                <a:gd name="connsiteY1492" fmla="*/ 906 h 10000"/>
                <a:gd name="connsiteX1493" fmla="*/ 4313 w 10354"/>
                <a:gd name="connsiteY1493" fmla="*/ 906 h 10000"/>
                <a:gd name="connsiteX1494" fmla="*/ 4313 w 10354"/>
                <a:gd name="connsiteY1494" fmla="*/ 880 h 10000"/>
                <a:gd name="connsiteX1495" fmla="*/ 4309 w 10354"/>
                <a:gd name="connsiteY1495" fmla="*/ 897 h 10000"/>
                <a:gd name="connsiteX1496" fmla="*/ 4295 w 10354"/>
                <a:gd name="connsiteY1496" fmla="*/ 923 h 10000"/>
                <a:gd name="connsiteX1497" fmla="*/ 4286 w 10354"/>
                <a:gd name="connsiteY1497" fmla="*/ 897 h 10000"/>
                <a:gd name="connsiteX1498" fmla="*/ 4281 w 10354"/>
                <a:gd name="connsiteY1498" fmla="*/ 906 h 10000"/>
                <a:gd name="connsiteX1499" fmla="*/ 4281 w 10354"/>
                <a:gd name="connsiteY1499" fmla="*/ 940 h 10000"/>
                <a:gd name="connsiteX1500" fmla="*/ 4286 w 10354"/>
                <a:gd name="connsiteY1500" fmla="*/ 957 h 10000"/>
                <a:gd name="connsiteX1501" fmla="*/ 4309 w 10354"/>
                <a:gd name="connsiteY1501" fmla="*/ 932 h 10000"/>
                <a:gd name="connsiteX1502" fmla="*/ 4313 w 10354"/>
                <a:gd name="connsiteY1502" fmla="*/ 957 h 10000"/>
                <a:gd name="connsiteX1503" fmla="*/ 4313 w 10354"/>
                <a:gd name="connsiteY1503" fmla="*/ 966 h 10000"/>
                <a:gd name="connsiteX1504" fmla="*/ 4323 w 10354"/>
                <a:gd name="connsiteY1504" fmla="*/ 966 h 10000"/>
                <a:gd name="connsiteX1505" fmla="*/ 4323 w 10354"/>
                <a:gd name="connsiteY1505" fmla="*/ 940 h 10000"/>
                <a:gd name="connsiteX1506" fmla="*/ 4327 w 10354"/>
                <a:gd name="connsiteY1506" fmla="*/ 940 h 10000"/>
                <a:gd name="connsiteX1507" fmla="*/ 4327 w 10354"/>
                <a:gd name="connsiteY1507" fmla="*/ 957 h 10000"/>
                <a:gd name="connsiteX1508" fmla="*/ 4327 w 10354"/>
                <a:gd name="connsiteY1508" fmla="*/ 966 h 10000"/>
                <a:gd name="connsiteX1509" fmla="*/ 4323 w 10354"/>
                <a:gd name="connsiteY1509" fmla="*/ 991 h 10000"/>
                <a:gd name="connsiteX1510" fmla="*/ 4207 w 10354"/>
                <a:gd name="connsiteY1510" fmla="*/ 1060 h 10000"/>
                <a:gd name="connsiteX1511" fmla="*/ 4207 w 10354"/>
                <a:gd name="connsiteY1511" fmla="*/ 1060 h 10000"/>
                <a:gd name="connsiteX1512" fmla="*/ 4203 w 10354"/>
                <a:gd name="connsiteY1512" fmla="*/ 1068 h 10000"/>
                <a:gd name="connsiteX1513" fmla="*/ 4203 w 10354"/>
                <a:gd name="connsiteY1513" fmla="*/ 1094 h 10000"/>
                <a:gd name="connsiteX1514" fmla="*/ 4203 w 10354"/>
                <a:gd name="connsiteY1514" fmla="*/ 1094 h 10000"/>
                <a:gd name="connsiteX1515" fmla="*/ 4189 w 10354"/>
                <a:gd name="connsiteY1515" fmla="*/ 1094 h 10000"/>
                <a:gd name="connsiteX1516" fmla="*/ 4166 w 10354"/>
                <a:gd name="connsiteY1516" fmla="*/ 1103 h 10000"/>
                <a:gd name="connsiteX1517" fmla="*/ 4152 w 10354"/>
                <a:gd name="connsiteY1517" fmla="*/ 1094 h 10000"/>
                <a:gd name="connsiteX1518" fmla="*/ 4134 w 10354"/>
                <a:gd name="connsiteY1518" fmla="*/ 1120 h 10000"/>
                <a:gd name="connsiteX1519" fmla="*/ 4106 w 10354"/>
                <a:gd name="connsiteY1519" fmla="*/ 1120 h 10000"/>
                <a:gd name="connsiteX1520" fmla="*/ 4092 w 10354"/>
                <a:gd name="connsiteY1520" fmla="*/ 1154 h 10000"/>
                <a:gd name="connsiteX1521" fmla="*/ 4106 w 10354"/>
                <a:gd name="connsiteY1521" fmla="*/ 1171 h 10000"/>
                <a:gd name="connsiteX1522" fmla="*/ 4078 w 10354"/>
                <a:gd name="connsiteY1522" fmla="*/ 1179 h 10000"/>
                <a:gd name="connsiteX1523" fmla="*/ 4065 w 10354"/>
                <a:gd name="connsiteY1523" fmla="*/ 1205 h 10000"/>
                <a:gd name="connsiteX1524" fmla="*/ 4046 w 10354"/>
                <a:gd name="connsiteY1524" fmla="*/ 1179 h 10000"/>
                <a:gd name="connsiteX1525" fmla="*/ 4041 w 10354"/>
                <a:gd name="connsiteY1525" fmla="*/ 1197 h 10000"/>
                <a:gd name="connsiteX1526" fmla="*/ 4028 w 10354"/>
                <a:gd name="connsiteY1526" fmla="*/ 1205 h 10000"/>
                <a:gd name="connsiteX1527" fmla="*/ 4028 w 10354"/>
                <a:gd name="connsiteY1527" fmla="*/ 1205 h 10000"/>
                <a:gd name="connsiteX1528" fmla="*/ 4032 w 10354"/>
                <a:gd name="connsiteY1528" fmla="*/ 1205 h 10000"/>
                <a:gd name="connsiteX1529" fmla="*/ 4032 w 10354"/>
                <a:gd name="connsiteY1529" fmla="*/ 1231 h 10000"/>
                <a:gd name="connsiteX1530" fmla="*/ 4014 w 10354"/>
                <a:gd name="connsiteY1530" fmla="*/ 1239 h 10000"/>
                <a:gd name="connsiteX1531" fmla="*/ 4014 w 10354"/>
                <a:gd name="connsiteY1531" fmla="*/ 1256 h 10000"/>
                <a:gd name="connsiteX1532" fmla="*/ 4000 w 10354"/>
                <a:gd name="connsiteY1532" fmla="*/ 1265 h 10000"/>
                <a:gd name="connsiteX1533" fmla="*/ 3986 w 10354"/>
                <a:gd name="connsiteY1533" fmla="*/ 1308 h 10000"/>
                <a:gd name="connsiteX1534" fmla="*/ 3972 w 10354"/>
                <a:gd name="connsiteY1534" fmla="*/ 1316 h 10000"/>
                <a:gd name="connsiteX1535" fmla="*/ 3972 w 10354"/>
                <a:gd name="connsiteY1535" fmla="*/ 1325 h 10000"/>
                <a:gd name="connsiteX1536" fmla="*/ 3972 w 10354"/>
                <a:gd name="connsiteY1536" fmla="*/ 1342 h 10000"/>
                <a:gd name="connsiteX1537" fmla="*/ 3968 w 10354"/>
                <a:gd name="connsiteY1537" fmla="*/ 1350 h 10000"/>
                <a:gd name="connsiteX1538" fmla="*/ 3954 w 10354"/>
                <a:gd name="connsiteY1538" fmla="*/ 1368 h 10000"/>
                <a:gd name="connsiteX1539" fmla="*/ 3945 w 10354"/>
                <a:gd name="connsiteY1539" fmla="*/ 1350 h 10000"/>
                <a:gd name="connsiteX1540" fmla="*/ 3908 w 10354"/>
                <a:gd name="connsiteY1540" fmla="*/ 1342 h 10000"/>
                <a:gd name="connsiteX1541" fmla="*/ 3894 w 10354"/>
                <a:gd name="connsiteY1541" fmla="*/ 1368 h 10000"/>
                <a:gd name="connsiteX1542" fmla="*/ 3922 w 10354"/>
                <a:gd name="connsiteY1542" fmla="*/ 1393 h 10000"/>
                <a:gd name="connsiteX1543" fmla="*/ 3945 w 10354"/>
                <a:gd name="connsiteY1543" fmla="*/ 1393 h 10000"/>
                <a:gd name="connsiteX1544" fmla="*/ 3940 w 10354"/>
                <a:gd name="connsiteY1544" fmla="*/ 1419 h 10000"/>
                <a:gd name="connsiteX1545" fmla="*/ 3931 w 10354"/>
                <a:gd name="connsiteY1545" fmla="*/ 1427 h 10000"/>
                <a:gd name="connsiteX1546" fmla="*/ 3926 w 10354"/>
                <a:gd name="connsiteY1546" fmla="*/ 1427 h 10000"/>
                <a:gd name="connsiteX1547" fmla="*/ 3922 w 10354"/>
                <a:gd name="connsiteY1547" fmla="*/ 1419 h 10000"/>
                <a:gd name="connsiteX1548" fmla="*/ 3912 w 10354"/>
                <a:gd name="connsiteY1548" fmla="*/ 1427 h 10000"/>
                <a:gd name="connsiteX1549" fmla="*/ 3912 w 10354"/>
                <a:gd name="connsiteY1549" fmla="*/ 1444 h 10000"/>
                <a:gd name="connsiteX1550" fmla="*/ 3894 w 10354"/>
                <a:gd name="connsiteY1550" fmla="*/ 1513 h 10000"/>
                <a:gd name="connsiteX1551" fmla="*/ 3885 w 10354"/>
                <a:gd name="connsiteY1551" fmla="*/ 1513 h 10000"/>
                <a:gd name="connsiteX1552" fmla="*/ 3880 w 10354"/>
                <a:gd name="connsiteY1552" fmla="*/ 1538 h 10000"/>
                <a:gd name="connsiteX1553" fmla="*/ 3885 w 10354"/>
                <a:gd name="connsiteY1553" fmla="*/ 1564 h 10000"/>
                <a:gd name="connsiteX1554" fmla="*/ 3880 w 10354"/>
                <a:gd name="connsiteY1554" fmla="*/ 1581 h 10000"/>
                <a:gd name="connsiteX1555" fmla="*/ 3871 w 10354"/>
                <a:gd name="connsiteY1555" fmla="*/ 1538 h 10000"/>
                <a:gd name="connsiteX1556" fmla="*/ 3853 w 10354"/>
                <a:gd name="connsiteY1556" fmla="*/ 1530 h 10000"/>
                <a:gd name="connsiteX1557" fmla="*/ 3853 w 10354"/>
                <a:gd name="connsiteY1557" fmla="*/ 1504 h 10000"/>
                <a:gd name="connsiteX1558" fmla="*/ 3834 w 10354"/>
                <a:gd name="connsiteY1558" fmla="*/ 1487 h 10000"/>
                <a:gd name="connsiteX1559" fmla="*/ 3834 w 10354"/>
                <a:gd name="connsiteY1559" fmla="*/ 1487 h 10000"/>
                <a:gd name="connsiteX1560" fmla="*/ 3839 w 10354"/>
                <a:gd name="connsiteY1560" fmla="*/ 1513 h 10000"/>
                <a:gd name="connsiteX1561" fmla="*/ 3820 w 10354"/>
                <a:gd name="connsiteY1561" fmla="*/ 1538 h 10000"/>
                <a:gd name="connsiteX1562" fmla="*/ 3820 w 10354"/>
                <a:gd name="connsiteY1562" fmla="*/ 1556 h 10000"/>
                <a:gd name="connsiteX1563" fmla="*/ 3820 w 10354"/>
                <a:gd name="connsiteY1563" fmla="*/ 1564 h 10000"/>
                <a:gd name="connsiteX1564" fmla="*/ 3820 w 10354"/>
                <a:gd name="connsiteY1564" fmla="*/ 1581 h 10000"/>
                <a:gd name="connsiteX1565" fmla="*/ 3853 w 10354"/>
                <a:gd name="connsiteY1565" fmla="*/ 1581 h 10000"/>
                <a:gd name="connsiteX1566" fmla="*/ 3857 w 10354"/>
                <a:gd name="connsiteY1566" fmla="*/ 1598 h 10000"/>
                <a:gd name="connsiteX1567" fmla="*/ 3880 w 10354"/>
                <a:gd name="connsiteY1567" fmla="*/ 1615 h 10000"/>
                <a:gd name="connsiteX1568" fmla="*/ 3871 w 10354"/>
                <a:gd name="connsiteY1568" fmla="*/ 1615 h 10000"/>
                <a:gd name="connsiteX1569" fmla="*/ 3871 w 10354"/>
                <a:gd name="connsiteY1569" fmla="*/ 1641 h 10000"/>
                <a:gd name="connsiteX1570" fmla="*/ 3880 w 10354"/>
                <a:gd name="connsiteY1570" fmla="*/ 1641 h 10000"/>
                <a:gd name="connsiteX1571" fmla="*/ 3871 w 10354"/>
                <a:gd name="connsiteY1571" fmla="*/ 1650 h 10000"/>
                <a:gd name="connsiteX1572" fmla="*/ 3857 w 10354"/>
                <a:gd name="connsiteY1572" fmla="*/ 1650 h 10000"/>
                <a:gd name="connsiteX1573" fmla="*/ 3853 w 10354"/>
                <a:gd name="connsiteY1573" fmla="*/ 1650 h 10000"/>
                <a:gd name="connsiteX1574" fmla="*/ 3839 w 10354"/>
                <a:gd name="connsiteY1574" fmla="*/ 1667 h 10000"/>
                <a:gd name="connsiteX1575" fmla="*/ 3848 w 10354"/>
                <a:gd name="connsiteY1575" fmla="*/ 1692 h 10000"/>
                <a:gd name="connsiteX1576" fmla="*/ 3834 w 10354"/>
                <a:gd name="connsiteY1576" fmla="*/ 1692 h 10000"/>
                <a:gd name="connsiteX1577" fmla="*/ 3825 w 10354"/>
                <a:gd name="connsiteY1577" fmla="*/ 1692 h 10000"/>
                <a:gd name="connsiteX1578" fmla="*/ 3825 w 10354"/>
                <a:gd name="connsiteY1578" fmla="*/ 1718 h 10000"/>
                <a:gd name="connsiteX1579" fmla="*/ 3839 w 10354"/>
                <a:gd name="connsiteY1579" fmla="*/ 1726 h 10000"/>
                <a:gd name="connsiteX1580" fmla="*/ 3880 w 10354"/>
                <a:gd name="connsiteY1580" fmla="*/ 1752 h 10000"/>
                <a:gd name="connsiteX1581" fmla="*/ 3894 w 10354"/>
                <a:gd name="connsiteY1581" fmla="*/ 1829 h 10000"/>
                <a:gd name="connsiteX1582" fmla="*/ 3899 w 10354"/>
                <a:gd name="connsiteY1582" fmla="*/ 1838 h 10000"/>
                <a:gd name="connsiteX1583" fmla="*/ 3894 w 10354"/>
                <a:gd name="connsiteY1583" fmla="*/ 1855 h 10000"/>
                <a:gd name="connsiteX1584" fmla="*/ 3880 w 10354"/>
                <a:gd name="connsiteY1584" fmla="*/ 1838 h 10000"/>
                <a:gd name="connsiteX1585" fmla="*/ 3880 w 10354"/>
                <a:gd name="connsiteY1585" fmla="*/ 1855 h 10000"/>
                <a:gd name="connsiteX1586" fmla="*/ 3880 w 10354"/>
                <a:gd name="connsiteY1586" fmla="*/ 1863 h 10000"/>
                <a:gd name="connsiteX1587" fmla="*/ 3871 w 10354"/>
                <a:gd name="connsiteY1587" fmla="*/ 1872 h 10000"/>
                <a:gd name="connsiteX1588" fmla="*/ 3880 w 10354"/>
                <a:gd name="connsiteY1588" fmla="*/ 1889 h 10000"/>
                <a:gd name="connsiteX1589" fmla="*/ 3885 w 10354"/>
                <a:gd name="connsiteY1589" fmla="*/ 1889 h 10000"/>
                <a:gd name="connsiteX1590" fmla="*/ 3880 w 10354"/>
                <a:gd name="connsiteY1590" fmla="*/ 1897 h 10000"/>
                <a:gd name="connsiteX1591" fmla="*/ 3871 w 10354"/>
                <a:gd name="connsiteY1591" fmla="*/ 1915 h 10000"/>
                <a:gd name="connsiteX1592" fmla="*/ 3848 w 10354"/>
                <a:gd name="connsiteY1592" fmla="*/ 1923 h 10000"/>
                <a:gd name="connsiteX1593" fmla="*/ 3825 w 10354"/>
                <a:gd name="connsiteY1593" fmla="*/ 1940 h 10000"/>
                <a:gd name="connsiteX1594" fmla="*/ 3811 w 10354"/>
                <a:gd name="connsiteY1594" fmla="*/ 1940 h 10000"/>
                <a:gd name="connsiteX1595" fmla="*/ 3806 w 10354"/>
                <a:gd name="connsiteY1595" fmla="*/ 1949 h 10000"/>
                <a:gd name="connsiteX1596" fmla="*/ 3797 w 10354"/>
                <a:gd name="connsiteY1596" fmla="*/ 1966 h 10000"/>
                <a:gd name="connsiteX1597" fmla="*/ 3788 w 10354"/>
                <a:gd name="connsiteY1597" fmla="*/ 1991 h 10000"/>
                <a:gd name="connsiteX1598" fmla="*/ 3765 w 10354"/>
                <a:gd name="connsiteY1598" fmla="*/ 1974 h 10000"/>
                <a:gd name="connsiteX1599" fmla="*/ 3760 w 10354"/>
                <a:gd name="connsiteY1599" fmla="*/ 1966 h 10000"/>
                <a:gd name="connsiteX1600" fmla="*/ 3760 w 10354"/>
                <a:gd name="connsiteY1600" fmla="*/ 1966 h 10000"/>
                <a:gd name="connsiteX1601" fmla="*/ 3631 w 10354"/>
                <a:gd name="connsiteY1601" fmla="*/ 2009 h 10000"/>
                <a:gd name="connsiteX1602" fmla="*/ 3618 w 10354"/>
                <a:gd name="connsiteY1602" fmla="*/ 2000 h 10000"/>
                <a:gd name="connsiteX1603" fmla="*/ 3599 w 10354"/>
                <a:gd name="connsiteY1603" fmla="*/ 2009 h 10000"/>
                <a:gd name="connsiteX1604" fmla="*/ 3571 w 10354"/>
                <a:gd name="connsiteY1604" fmla="*/ 2000 h 10000"/>
                <a:gd name="connsiteX1605" fmla="*/ 3530 w 10354"/>
                <a:gd name="connsiteY1605" fmla="*/ 2026 h 10000"/>
                <a:gd name="connsiteX1606" fmla="*/ 3530 w 10354"/>
                <a:gd name="connsiteY1606" fmla="*/ 2034 h 10000"/>
                <a:gd name="connsiteX1607" fmla="*/ 3525 w 10354"/>
                <a:gd name="connsiteY1607" fmla="*/ 2051 h 10000"/>
                <a:gd name="connsiteX1608" fmla="*/ 3512 w 10354"/>
                <a:gd name="connsiteY1608" fmla="*/ 2034 h 10000"/>
                <a:gd name="connsiteX1609" fmla="*/ 3507 w 10354"/>
                <a:gd name="connsiteY1609" fmla="*/ 2034 h 10000"/>
                <a:gd name="connsiteX1610" fmla="*/ 3498 w 10354"/>
                <a:gd name="connsiteY1610" fmla="*/ 2051 h 10000"/>
                <a:gd name="connsiteX1611" fmla="*/ 3484 w 10354"/>
                <a:gd name="connsiteY1611" fmla="*/ 2060 h 10000"/>
                <a:gd name="connsiteX1612" fmla="*/ 3484 w 10354"/>
                <a:gd name="connsiteY1612" fmla="*/ 2085 h 10000"/>
                <a:gd name="connsiteX1613" fmla="*/ 3484 w 10354"/>
                <a:gd name="connsiteY1613" fmla="*/ 2103 h 10000"/>
                <a:gd name="connsiteX1614" fmla="*/ 3493 w 10354"/>
                <a:gd name="connsiteY1614" fmla="*/ 2103 h 10000"/>
                <a:gd name="connsiteX1615" fmla="*/ 3493 w 10354"/>
                <a:gd name="connsiteY1615" fmla="*/ 2085 h 10000"/>
                <a:gd name="connsiteX1616" fmla="*/ 3498 w 10354"/>
                <a:gd name="connsiteY1616" fmla="*/ 2085 h 10000"/>
                <a:gd name="connsiteX1617" fmla="*/ 3498 w 10354"/>
                <a:gd name="connsiteY1617" fmla="*/ 2111 h 10000"/>
                <a:gd name="connsiteX1618" fmla="*/ 3484 w 10354"/>
                <a:gd name="connsiteY1618" fmla="*/ 2120 h 10000"/>
                <a:gd name="connsiteX1619" fmla="*/ 3484 w 10354"/>
                <a:gd name="connsiteY1619" fmla="*/ 2145 h 10000"/>
                <a:gd name="connsiteX1620" fmla="*/ 3470 w 10354"/>
                <a:gd name="connsiteY1620" fmla="*/ 2137 h 10000"/>
                <a:gd name="connsiteX1621" fmla="*/ 3465 w 10354"/>
                <a:gd name="connsiteY1621" fmla="*/ 2145 h 10000"/>
                <a:gd name="connsiteX1622" fmla="*/ 3470 w 10354"/>
                <a:gd name="connsiteY1622" fmla="*/ 2171 h 10000"/>
                <a:gd name="connsiteX1623" fmla="*/ 3484 w 10354"/>
                <a:gd name="connsiteY1623" fmla="*/ 2171 h 10000"/>
                <a:gd name="connsiteX1624" fmla="*/ 3484 w 10354"/>
                <a:gd name="connsiteY1624" fmla="*/ 2197 h 10000"/>
                <a:gd name="connsiteX1625" fmla="*/ 3465 w 10354"/>
                <a:gd name="connsiteY1625" fmla="*/ 2214 h 10000"/>
                <a:gd name="connsiteX1626" fmla="*/ 3493 w 10354"/>
                <a:gd name="connsiteY1626" fmla="*/ 2248 h 10000"/>
                <a:gd name="connsiteX1627" fmla="*/ 3484 w 10354"/>
                <a:gd name="connsiteY1627" fmla="*/ 2256 h 10000"/>
                <a:gd name="connsiteX1628" fmla="*/ 3498 w 10354"/>
                <a:gd name="connsiteY1628" fmla="*/ 2274 h 10000"/>
                <a:gd name="connsiteX1629" fmla="*/ 3498 w 10354"/>
                <a:gd name="connsiteY1629" fmla="*/ 2256 h 10000"/>
                <a:gd name="connsiteX1630" fmla="*/ 3507 w 10354"/>
                <a:gd name="connsiteY1630" fmla="*/ 2308 h 10000"/>
                <a:gd name="connsiteX1631" fmla="*/ 3512 w 10354"/>
                <a:gd name="connsiteY1631" fmla="*/ 2325 h 10000"/>
                <a:gd name="connsiteX1632" fmla="*/ 3507 w 10354"/>
                <a:gd name="connsiteY1632" fmla="*/ 2333 h 10000"/>
                <a:gd name="connsiteX1633" fmla="*/ 3507 w 10354"/>
                <a:gd name="connsiteY1633" fmla="*/ 2359 h 10000"/>
                <a:gd name="connsiteX1634" fmla="*/ 3507 w 10354"/>
                <a:gd name="connsiteY1634" fmla="*/ 2376 h 10000"/>
                <a:gd name="connsiteX1635" fmla="*/ 3498 w 10354"/>
                <a:gd name="connsiteY1635" fmla="*/ 2410 h 10000"/>
                <a:gd name="connsiteX1636" fmla="*/ 3498 w 10354"/>
                <a:gd name="connsiteY1636" fmla="*/ 2436 h 10000"/>
                <a:gd name="connsiteX1637" fmla="*/ 3507 w 10354"/>
                <a:gd name="connsiteY1637" fmla="*/ 2462 h 10000"/>
                <a:gd name="connsiteX1638" fmla="*/ 3507 w 10354"/>
                <a:gd name="connsiteY1638" fmla="*/ 2496 h 10000"/>
                <a:gd name="connsiteX1639" fmla="*/ 3512 w 10354"/>
                <a:gd name="connsiteY1639" fmla="*/ 2521 h 10000"/>
                <a:gd name="connsiteX1640" fmla="*/ 3525 w 10354"/>
                <a:gd name="connsiteY1640" fmla="*/ 2556 h 10000"/>
                <a:gd name="connsiteX1641" fmla="*/ 3571 w 10354"/>
                <a:gd name="connsiteY1641" fmla="*/ 2573 h 10000"/>
                <a:gd name="connsiteX1642" fmla="*/ 3590 w 10354"/>
                <a:gd name="connsiteY1642" fmla="*/ 2598 h 10000"/>
                <a:gd name="connsiteX1643" fmla="*/ 3599 w 10354"/>
                <a:gd name="connsiteY1643" fmla="*/ 2598 h 10000"/>
                <a:gd name="connsiteX1644" fmla="*/ 3604 w 10354"/>
                <a:gd name="connsiteY1644" fmla="*/ 2632 h 10000"/>
                <a:gd name="connsiteX1645" fmla="*/ 3599 w 10354"/>
                <a:gd name="connsiteY1645" fmla="*/ 2658 h 10000"/>
                <a:gd name="connsiteX1646" fmla="*/ 3590 w 10354"/>
                <a:gd name="connsiteY1646" fmla="*/ 2667 h 10000"/>
                <a:gd name="connsiteX1647" fmla="*/ 3604 w 10354"/>
                <a:gd name="connsiteY1647" fmla="*/ 2667 h 10000"/>
                <a:gd name="connsiteX1648" fmla="*/ 3613 w 10354"/>
                <a:gd name="connsiteY1648" fmla="*/ 2692 h 10000"/>
                <a:gd name="connsiteX1649" fmla="*/ 3627 w 10354"/>
                <a:gd name="connsiteY1649" fmla="*/ 2735 h 10000"/>
                <a:gd name="connsiteX1650" fmla="*/ 3631 w 10354"/>
                <a:gd name="connsiteY1650" fmla="*/ 2744 h 10000"/>
                <a:gd name="connsiteX1651" fmla="*/ 3659 w 10354"/>
                <a:gd name="connsiteY1651" fmla="*/ 2761 h 10000"/>
                <a:gd name="connsiteX1652" fmla="*/ 3673 w 10354"/>
                <a:gd name="connsiteY1652" fmla="*/ 2769 h 10000"/>
                <a:gd name="connsiteX1653" fmla="*/ 3673 w 10354"/>
                <a:gd name="connsiteY1653" fmla="*/ 2761 h 10000"/>
                <a:gd name="connsiteX1654" fmla="*/ 3687 w 10354"/>
                <a:gd name="connsiteY1654" fmla="*/ 2829 h 10000"/>
                <a:gd name="connsiteX1655" fmla="*/ 3677 w 10354"/>
                <a:gd name="connsiteY1655" fmla="*/ 2897 h 10000"/>
                <a:gd name="connsiteX1656" fmla="*/ 3673 w 10354"/>
                <a:gd name="connsiteY1656" fmla="*/ 2915 h 10000"/>
                <a:gd name="connsiteX1657" fmla="*/ 3664 w 10354"/>
                <a:gd name="connsiteY1657" fmla="*/ 2957 h 10000"/>
                <a:gd name="connsiteX1658" fmla="*/ 3659 w 10354"/>
                <a:gd name="connsiteY1658" fmla="*/ 2983 h 10000"/>
                <a:gd name="connsiteX1659" fmla="*/ 3664 w 10354"/>
                <a:gd name="connsiteY1659" fmla="*/ 3017 h 10000"/>
                <a:gd name="connsiteX1660" fmla="*/ 3659 w 10354"/>
                <a:gd name="connsiteY1660" fmla="*/ 3043 h 10000"/>
                <a:gd name="connsiteX1661" fmla="*/ 3677 w 10354"/>
                <a:gd name="connsiteY1661" fmla="*/ 3094 h 10000"/>
                <a:gd name="connsiteX1662" fmla="*/ 3691 w 10354"/>
                <a:gd name="connsiteY1662" fmla="*/ 3282 h 10000"/>
                <a:gd name="connsiteX1663" fmla="*/ 3691 w 10354"/>
                <a:gd name="connsiteY1663" fmla="*/ 3308 h 10000"/>
                <a:gd name="connsiteX1664" fmla="*/ 3677 w 10354"/>
                <a:gd name="connsiteY1664" fmla="*/ 3342 h 10000"/>
                <a:gd name="connsiteX1665" fmla="*/ 3664 w 10354"/>
                <a:gd name="connsiteY1665" fmla="*/ 3342 h 10000"/>
                <a:gd name="connsiteX1666" fmla="*/ 3650 w 10354"/>
                <a:gd name="connsiteY1666" fmla="*/ 3342 h 10000"/>
                <a:gd name="connsiteX1667" fmla="*/ 3650 w 10354"/>
                <a:gd name="connsiteY1667" fmla="*/ 3350 h 10000"/>
                <a:gd name="connsiteX1668" fmla="*/ 3659 w 10354"/>
                <a:gd name="connsiteY1668" fmla="*/ 3402 h 10000"/>
                <a:gd name="connsiteX1669" fmla="*/ 3659 w 10354"/>
                <a:gd name="connsiteY1669" fmla="*/ 3419 h 10000"/>
                <a:gd name="connsiteX1670" fmla="*/ 3631 w 10354"/>
                <a:gd name="connsiteY1670" fmla="*/ 3402 h 10000"/>
                <a:gd name="connsiteX1671" fmla="*/ 3604 w 10354"/>
                <a:gd name="connsiteY1671" fmla="*/ 3393 h 10000"/>
                <a:gd name="connsiteX1672" fmla="*/ 3599 w 10354"/>
                <a:gd name="connsiteY1672" fmla="*/ 3368 h 10000"/>
                <a:gd name="connsiteX1673" fmla="*/ 3590 w 10354"/>
                <a:gd name="connsiteY1673" fmla="*/ 3239 h 10000"/>
                <a:gd name="connsiteX1674" fmla="*/ 3599 w 10354"/>
                <a:gd name="connsiteY1674" fmla="*/ 3179 h 10000"/>
                <a:gd name="connsiteX1675" fmla="*/ 3599 w 10354"/>
                <a:gd name="connsiteY1675" fmla="*/ 3171 h 10000"/>
                <a:gd name="connsiteX1676" fmla="*/ 3599 w 10354"/>
                <a:gd name="connsiteY1676" fmla="*/ 3009 h 10000"/>
                <a:gd name="connsiteX1677" fmla="*/ 3604 w 10354"/>
                <a:gd name="connsiteY1677" fmla="*/ 2983 h 10000"/>
                <a:gd name="connsiteX1678" fmla="*/ 3645 w 10354"/>
                <a:gd name="connsiteY1678" fmla="*/ 2932 h 10000"/>
                <a:gd name="connsiteX1679" fmla="*/ 3650 w 10354"/>
                <a:gd name="connsiteY1679" fmla="*/ 2872 h 10000"/>
                <a:gd name="connsiteX1680" fmla="*/ 3659 w 10354"/>
                <a:gd name="connsiteY1680" fmla="*/ 2855 h 10000"/>
                <a:gd name="connsiteX1681" fmla="*/ 3659 w 10354"/>
                <a:gd name="connsiteY1681" fmla="*/ 2821 h 10000"/>
                <a:gd name="connsiteX1682" fmla="*/ 3631 w 10354"/>
                <a:gd name="connsiteY1682" fmla="*/ 2795 h 10000"/>
                <a:gd name="connsiteX1683" fmla="*/ 3567 w 10354"/>
                <a:gd name="connsiteY1683" fmla="*/ 2821 h 10000"/>
                <a:gd name="connsiteX1684" fmla="*/ 3544 w 10354"/>
                <a:gd name="connsiteY1684" fmla="*/ 2795 h 10000"/>
                <a:gd name="connsiteX1685" fmla="*/ 3530 w 10354"/>
                <a:gd name="connsiteY1685" fmla="*/ 2769 h 10000"/>
                <a:gd name="connsiteX1686" fmla="*/ 3530 w 10354"/>
                <a:gd name="connsiteY1686" fmla="*/ 2786 h 10000"/>
                <a:gd name="connsiteX1687" fmla="*/ 3498 w 10354"/>
                <a:gd name="connsiteY1687" fmla="*/ 2692 h 10000"/>
                <a:gd name="connsiteX1688" fmla="*/ 3498 w 10354"/>
                <a:gd name="connsiteY1688" fmla="*/ 2667 h 10000"/>
                <a:gd name="connsiteX1689" fmla="*/ 3442 w 10354"/>
                <a:gd name="connsiteY1689" fmla="*/ 2607 h 10000"/>
                <a:gd name="connsiteX1690" fmla="*/ 3433 w 10354"/>
                <a:gd name="connsiteY1690" fmla="*/ 2581 h 10000"/>
                <a:gd name="connsiteX1691" fmla="*/ 3396 w 10354"/>
                <a:gd name="connsiteY1691" fmla="*/ 2556 h 10000"/>
                <a:gd name="connsiteX1692" fmla="*/ 3318 w 10354"/>
                <a:gd name="connsiteY1692" fmla="*/ 2556 h 10000"/>
                <a:gd name="connsiteX1693" fmla="*/ 3304 w 10354"/>
                <a:gd name="connsiteY1693" fmla="*/ 2607 h 10000"/>
                <a:gd name="connsiteX1694" fmla="*/ 3276 w 10354"/>
                <a:gd name="connsiteY1694" fmla="*/ 2632 h 10000"/>
                <a:gd name="connsiteX1695" fmla="*/ 3272 w 10354"/>
                <a:gd name="connsiteY1695" fmla="*/ 2667 h 10000"/>
                <a:gd name="connsiteX1696" fmla="*/ 3304 w 10354"/>
                <a:gd name="connsiteY1696" fmla="*/ 2667 h 10000"/>
                <a:gd name="connsiteX1697" fmla="*/ 3323 w 10354"/>
                <a:gd name="connsiteY1697" fmla="*/ 2692 h 10000"/>
                <a:gd name="connsiteX1698" fmla="*/ 3318 w 10354"/>
                <a:gd name="connsiteY1698" fmla="*/ 2735 h 10000"/>
                <a:gd name="connsiteX1699" fmla="*/ 3304 w 10354"/>
                <a:gd name="connsiteY1699" fmla="*/ 2761 h 10000"/>
                <a:gd name="connsiteX1700" fmla="*/ 3276 w 10354"/>
                <a:gd name="connsiteY1700" fmla="*/ 2769 h 10000"/>
                <a:gd name="connsiteX1701" fmla="*/ 3263 w 10354"/>
                <a:gd name="connsiteY1701" fmla="*/ 2795 h 10000"/>
                <a:gd name="connsiteX1702" fmla="*/ 3235 w 10354"/>
                <a:gd name="connsiteY1702" fmla="*/ 2803 h 10000"/>
                <a:gd name="connsiteX1703" fmla="*/ 3235 w 10354"/>
                <a:gd name="connsiteY1703" fmla="*/ 2786 h 10000"/>
                <a:gd name="connsiteX1704" fmla="*/ 3212 w 10354"/>
                <a:gd name="connsiteY1704" fmla="*/ 2709 h 10000"/>
                <a:gd name="connsiteX1705" fmla="*/ 3198 w 10354"/>
                <a:gd name="connsiteY1705" fmla="*/ 2709 h 10000"/>
                <a:gd name="connsiteX1706" fmla="*/ 3184 w 10354"/>
                <a:gd name="connsiteY1706" fmla="*/ 2735 h 10000"/>
                <a:gd name="connsiteX1707" fmla="*/ 3189 w 10354"/>
                <a:gd name="connsiteY1707" fmla="*/ 2761 h 10000"/>
                <a:gd name="connsiteX1708" fmla="*/ 3203 w 10354"/>
                <a:gd name="connsiteY1708" fmla="*/ 2855 h 10000"/>
                <a:gd name="connsiteX1709" fmla="*/ 3212 w 10354"/>
                <a:gd name="connsiteY1709" fmla="*/ 2872 h 10000"/>
                <a:gd name="connsiteX1710" fmla="*/ 3235 w 10354"/>
                <a:gd name="connsiteY1710" fmla="*/ 2906 h 10000"/>
                <a:gd name="connsiteX1711" fmla="*/ 3258 w 10354"/>
                <a:gd name="connsiteY1711" fmla="*/ 2915 h 10000"/>
                <a:gd name="connsiteX1712" fmla="*/ 3272 w 10354"/>
                <a:gd name="connsiteY1712" fmla="*/ 2957 h 10000"/>
                <a:gd name="connsiteX1713" fmla="*/ 3276 w 10354"/>
                <a:gd name="connsiteY1713" fmla="*/ 2957 h 10000"/>
                <a:gd name="connsiteX1714" fmla="*/ 3286 w 10354"/>
                <a:gd name="connsiteY1714" fmla="*/ 2966 h 10000"/>
                <a:gd name="connsiteX1715" fmla="*/ 3300 w 10354"/>
                <a:gd name="connsiteY1715" fmla="*/ 2957 h 10000"/>
                <a:gd name="connsiteX1716" fmla="*/ 3309 w 10354"/>
                <a:gd name="connsiteY1716" fmla="*/ 2932 h 10000"/>
                <a:gd name="connsiteX1717" fmla="*/ 3304 w 10354"/>
                <a:gd name="connsiteY1717" fmla="*/ 2966 h 10000"/>
                <a:gd name="connsiteX1718" fmla="*/ 3309 w 10354"/>
                <a:gd name="connsiteY1718" fmla="*/ 2983 h 10000"/>
                <a:gd name="connsiteX1719" fmla="*/ 3323 w 10354"/>
                <a:gd name="connsiteY1719" fmla="*/ 2966 h 10000"/>
                <a:gd name="connsiteX1720" fmla="*/ 3323 w 10354"/>
                <a:gd name="connsiteY1720" fmla="*/ 3043 h 10000"/>
                <a:gd name="connsiteX1721" fmla="*/ 3346 w 10354"/>
                <a:gd name="connsiteY1721" fmla="*/ 3068 h 10000"/>
                <a:gd name="connsiteX1722" fmla="*/ 3346 w 10354"/>
                <a:gd name="connsiteY1722" fmla="*/ 3094 h 10000"/>
                <a:gd name="connsiteX1723" fmla="*/ 3323 w 10354"/>
                <a:gd name="connsiteY1723" fmla="*/ 3094 h 10000"/>
                <a:gd name="connsiteX1724" fmla="*/ 3309 w 10354"/>
                <a:gd name="connsiteY1724" fmla="*/ 3077 h 10000"/>
                <a:gd name="connsiteX1725" fmla="*/ 3304 w 10354"/>
                <a:gd name="connsiteY1725" fmla="*/ 3051 h 10000"/>
                <a:gd name="connsiteX1726" fmla="*/ 3300 w 10354"/>
                <a:gd name="connsiteY1726" fmla="*/ 3043 h 10000"/>
                <a:gd name="connsiteX1727" fmla="*/ 3286 w 10354"/>
                <a:gd name="connsiteY1727" fmla="*/ 3017 h 10000"/>
                <a:gd name="connsiteX1728" fmla="*/ 3152 w 10354"/>
                <a:gd name="connsiteY1728" fmla="*/ 2966 h 10000"/>
                <a:gd name="connsiteX1729" fmla="*/ 3129 w 10354"/>
                <a:gd name="connsiteY1729" fmla="*/ 2915 h 10000"/>
                <a:gd name="connsiteX1730" fmla="*/ 3129 w 10354"/>
                <a:gd name="connsiteY1730" fmla="*/ 2906 h 10000"/>
                <a:gd name="connsiteX1731" fmla="*/ 3152 w 10354"/>
                <a:gd name="connsiteY1731" fmla="*/ 2906 h 10000"/>
                <a:gd name="connsiteX1732" fmla="*/ 3152 w 10354"/>
                <a:gd name="connsiteY1732" fmla="*/ 2846 h 10000"/>
                <a:gd name="connsiteX1733" fmla="*/ 3138 w 10354"/>
                <a:gd name="connsiteY1733" fmla="*/ 2795 h 10000"/>
                <a:gd name="connsiteX1734" fmla="*/ 3138 w 10354"/>
                <a:gd name="connsiteY1734" fmla="*/ 2769 h 10000"/>
                <a:gd name="connsiteX1735" fmla="*/ 3143 w 10354"/>
                <a:gd name="connsiteY1735" fmla="*/ 2718 h 10000"/>
                <a:gd name="connsiteX1736" fmla="*/ 3129 w 10354"/>
                <a:gd name="connsiteY1736" fmla="*/ 2692 h 10000"/>
                <a:gd name="connsiteX1737" fmla="*/ 3143 w 10354"/>
                <a:gd name="connsiteY1737" fmla="*/ 2667 h 10000"/>
                <a:gd name="connsiteX1738" fmla="*/ 3157 w 10354"/>
                <a:gd name="connsiteY1738" fmla="*/ 2581 h 10000"/>
                <a:gd name="connsiteX1739" fmla="*/ 3143 w 10354"/>
                <a:gd name="connsiteY1739" fmla="*/ 2496 h 10000"/>
                <a:gd name="connsiteX1740" fmla="*/ 3157 w 10354"/>
                <a:gd name="connsiteY1740" fmla="*/ 2487 h 10000"/>
                <a:gd name="connsiteX1741" fmla="*/ 3143 w 10354"/>
                <a:gd name="connsiteY1741" fmla="*/ 2444 h 10000"/>
                <a:gd name="connsiteX1742" fmla="*/ 3143 w 10354"/>
                <a:gd name="connsiteY1742" fmla="*/ 2419 h 10000"/>
                <a:gd name="connsiteX1743" fmla="*/ 3143 w 10354"/>
                <a:gd name="connsiteY1743" fmla="*/ 2410 h 10000"/>
                <a:gd name="connsiteX1744" fmla="*/ 3124 w 10354"/>
                <a:gd name="connsiteY1744" fmla="*/ 2376 h 10000"/>
                <a:gd name="connsiteX1745" fmla="*/ 3115 w 10354"/>
                <a:gd name="connsiteY1745" fmla="*/ 2350 h 10000"/>
                <a:gd name="connsiteX1746" fmla="*/ 3101 w 10354"/>
                <a:gd name="connsiteY1746" fmla="*/ 2359 h 10000"/>
                <a:gd name="connsiteX1747" fmla="*/ 3115 w 10354"/>
                <a:gd name="connsiteY1747" fmla="*/ 2581 h 10000"/>
                <a:gd name="connsiteX1748" fmla="*/ 3111 w 10354"/>
                <a:gd name="connsiteY1748" fmla="*/ 2624 h 10000"/>
                <a:gd name="connsiteX1749" fmla="*/ 3009 w 10354"/>
                <a:gd name="connsiteY1749" fmla="*/ 2761 h 10000"/>
                <a:gd name="connsiteX1750" fmla="*/ 3009 w 10354"/>
                <a:gd name="connsiteY1750" fmla="*/ 2803 h 10000"/>
                <a:gd name="connsiteX1751" fmla="*/ 3005 w 10354"/>
                <a:gd name="connsiteY1751" fmla="*/ 2829 h 10000"/>
                <a:gd name="connsiteX1752" fmla="*/ 2982 w 10354"/>
                <a:gd name="connsiteY1752" fmla="*/ 2872 h 10000"/>
                <a:gd name="connsiteX1753" fmla="*/ 2982 w 10354"/>
                <a:gd name="connsiteY1753" fmla="*/ 2880 h 10000"/>
                <a:gd name="connsiteX1754" fmla="*/ 3037 w 10354"/>
                <a:gd name="connsiteY1754" fmla="*/ 3034 h 10000"/>
                <a:gd name="connsiteX1755" fmla="*/ 3041 w 10354"/>
                <a:gd name="connsiteY1755" fmla="*/ 3103 h 10000"/>
                <a:gd name="connsiteX1756" fmla="*/ 3069 w 10354"/>
                <a:gd name="connsiteY1756" fmla="*/ 3188 h 10000"/>
                <a:gd name="connsiteX1757" fmla="*/ 3055 w 10354"/>
                <a:gd name="connsiteY1757" fmla="*/ 3325 h 10000"/>
                <a:gd name="connsiteX1758" fmla="*/ 3037 w 10354"/>
                <a:gd name="connsiteY1758" fmla="*/ 3368 h 10000"/>
                <a:gd name="connsiteX1759" fmla="*/ 3037 w 10354"/>
                <a:gd name="connsiteY1759" fmla="*/ 3444 h 10000"/>
                <a:gd name="connsiteX1760" fmla="*/ 3028 w 10354"/>
                <a:gd name="connsiteY1760" fmla="*/ 3453 h 10000"/>
                <a:gd name="connsiteX1761" fmla="*/ 3023 w 10354"/>
                <a:gd name="connsiteY1761" fmla="*/ 3530 h 10000"/>
                <a:gd name="connsiteX1762" fmla="*/ 3051 w 10354"/>
                <a:gd name="connsiteY1762" fmla="*/ 3624 h 10000"/>
                <a:gd name="connsiteX1763" fmla="*/ 3037 w 10354"/>
                <a:gd name="connsiteY1763" fmla="*/ 3718 h 10000"/>
                <a:gd name="connsiteX1764" fmla="*/ 3041 w 10354"/>
                <a:gd name="connsiteY1764" fmla="*/ 3752 h 10000"/>
                <a:gd name="connsiteX1765" fmla="*/ 3055 w 10354"/>
                <a:gd name="connsiteY1765" fmla="*/ 3761 h 10000"/>
                <a:gd name="connsiteX1766" fmla="*/ 3078 w 10354"/>
                <a:gd name="connsiteY1766" fmla="*/ 3752 h 10000"/>
                <a:gd name="connsiteX1767" fmla="*/ 3092 w 10354"/>
                <a:gd name="connsiteY1767" fmla="*/ 3752 h 10000"/>
                <a:gd name="connsiteX1768" fmla="*/ 3129 w 10354"/>
                <a:gd name="connsiteY1768" fmla="*/ 3761 h 10000"/>
                <a:gd name="connsiteX1769" fmla="*/ 3129 w 10354"/>
                <a:gd name="connsiteY1769" fmla="*/ 3735 h 10000"/>
                <a:gd name="connsiteX1770" fmla="*/ 3157 w 10354"/>
                <a:gd name="connsiteY1770" fmla="*/ 3718 h 10000"/>
                <a:gd name="connsiteX1771" fmla="*/ 3184 w 10354"/>
                <a:gd name="connsiteY1771" fmla="*/ 3718 h 10000"/>
                <a:gd name="connsiteX1772" fmla="*/ 3290 w 10354"/>
                <a:gd name="connsiteY1772" fmla="*/ 3838 h 10000"/>
                <a:gd name="connsiteX1773" fmla="*/ 3300 w 10354"/>
                <a:gd name="connsiteY1773" fmla="*/ 3846 h 10000"/>
                <a:gd name="connsiteX1774" fmla="*/ 3300 w 10354"/>
                <a:gd name="connsiteY1774" fmla="*/ 3915 h 10000"/>
                <a:gd name="connsiteX1775" fmla="*/ 3318 w 10354"/>
                <a:gd name="connsiteY1775" fmla="*/ 4000 h 10000"/>
                <a:gd name="connsiteX1776" fmla="*/ 3323 w 10354"/>
                <a:gd name="connsiteY1776" fmla="*/ 4000 h 10000"/>
                <a:gd name="connsiteX1777" fmla="*/ 3323 w 10354"/>
                <a:gd name="connsiteY1777" fmla="*/ 4034 h 10000"/>
                <a:gd name="connsiteX1778" fmla="*/ 3318 w 10354"/>
                <a:gd name="connsiteY1778" fmla="*/ 4051 h 10000"/>
                <a:gd name="connsiteX1779" fmla="*/ 3300 w 10354"/>
                <a:gd name="connsiteY1779" fmla="*/ 4051 h 10000"/>
                <a:gd name="connsiteX1780" fmla="*/ 3290 w 10354"/>
                <a:gd name="connsiteY1780" fmla="*/ 4077 h 10000"/>
                <a:gd name="connsiteX1781" fmla="*/ 3286 w 10354"/>
                <a:gd name="connsiteY1781" fmla="*/ 4103 h 10000"/>
                <a:gd name="connsiteX1782" fmla="*/ 3286 w 10354"/>
                <a:gd name="connsiteY1782" fmla="*/ 4197 h 10000"/>
                <a:gd name="connsiteX1783" fmla="*/ 3290 w 10354"/>
                <a:gd name="connsiteY1783" fmla="*/ 4214 h 10000"/>
                <a:gd name="connsiteX1784" fmla="*/ 3304 w 10354"/>
                <a:gd name="connsiteY1784" fmla="*/ 4214 h 10000"/>
                <a:gd name="connsiteX1785" fmla="*/ 3323 w 10354"/>
                <a:gd name="connsiteY1785" fmla="*/ 4239 h 10000"/>
                <a:gd name="connsiteX1786" fmla="*/ 3350 w 10354"/>
                <a:gd name="connsiteY1786" fmla="*/ 4222 h 10000"/>
                <a:gd name="connsiteX1787" fmla="*/ 3369 w 10354"/>
                <a:gd name="connsiteY1787" fmla="*/ 4256 h 10000"/>
                <a:gd name="connsiteX1788" fmla="*/ 3369 w 10354"/>
                <a:gd name="connsiteY1788" fmla="*/ 4256 h 10000"/>
                <a:gd name="connsiteX1789" fmla="*/ 3336 w 10354"/>
                <a:gd name="connsiteY1789" fmla="*/ 4274 h 10000"/>
                <a:gd name="connsiteX1790" fmla="*/ 3323 w 10354"/>
                <a:gd name="connsiteY1790" fmla="*/ 4274 h 10000"/>
                <a:gd name="connsiteX1791" fmla="*/ 3290 w 10354"/>
                <a:gd name="connsiteY1791" fmla="*/ 4274 h 10000"/>
                <a:gd name="connsiteX1792" fmla="*/ 3286 w 10354"/>
                <a:gd name="connsiteY1792" fmla="*/ 4239 h 10000"/>
                <a:gd name="connsiteX1793" fmla="*/ 3263 w 10354"/>
                <a:gd name="connsiteY1793" fmla="*/ 4214 h 10000"/>
                <a:gd name="connsiteX1794" fmla="*/ 3258 w 10354"/>
                <a:gd name="connsiteY1794" fmla="*/ 4188 h 10000"/>
                <a:gd name="connsiteX1795" fmla="*/ 3263 w 10354"/>
                <a:gd name="connsiteY1795" fmla="*/ 4171 h 10000"/>
                <a:gd name="connsiteX1796" fmla="*/ 3263 w 10354"/>
                <a:gd name="connsiteY1796" fmla="*/ 4103 h 10000"/>
                <a:gd name="connsiteX1797" fmla="*/ 3276 w 10354"/>
                <a:gd name="connsiteY1797" fmla="*/ 4060 h 10000"/>
                <a:gd name="connsiteX1798" fmla="*/ 3272 w 10354"/>
                <a:gd name="connsiteY1798" fmla="*/ 4051 h 10000"/>
                <a:gd name="connsiteX1799" fmla="*/ 3263 w 10354"/>
                <a:gd name="connsiteY1799" fmla="*/ 4051 h 10000"/>
                <a:gd name="connsiteX1800" fmla="*/ 3263 w 10354"/>
                <a:gd name="connsiteY1800" fmla="*/ 4034 h 10000"/>
                <a:gd name="connsiteX1801" fmla="*/ 3263 w 10354"/>
                <a:gd name="connsiteY1801" fmla="*/ 4000 h 10000"/>
                <a:gd name="connsiteX1802" fmla="*/ 3272 w 10354"/>
                <a:gd name="connsiteY1802" fmla="*/ 4000 h 10000"/>
                <a:gd name="connsiteX1803" fmla="*/ 3272 w 10354"/>
                <a:gd name="connsiteY1803" fmla="*/ 3974 h 10000"/>
                <a:gd name="connsiteX1804" fmla="*/ 3272 w 10354"/>
                <a:gd name="connsiteY1804" fmla="*/ 3966 h 10000"/>
                <a:gd name="connsiteX1805" fmla="*/ 3272 w 10354"/>
                <a:gd name="connsiteY1805" fmla="*/ 3949 h 10000"/>
                <a:gd name="connsiteX1806" fmla="*/ 3258 w 10354"/>
                <a:gd name="connsiteY1806" fmla="*/ 3923 h 10000"/>
                <a:gd name="connsiteX1807" fmla="*/ 3249 w 10354"/>
                <a:gd name="connsiteY1807" fmla="*/ 3915 h 10000"/>
                <a:gd name="connsiteX1808" fmla="*/ 3244 w 10354"/>
                <a:gd name="connsiteY1808" fmla="*/ 3897 h 10000"/>
                <a:gd name="connsiteX1809" fmla="*/ 3230 w 10354"/>
                <a:gd name="connsiteY1809" fmla="*/ 3889 h 10000"/>
                <a:gd name="connsiteX1810" fmla="*/ 3230 w 10354"/>
                <a:gd name="connsiteY1810" fmla="*/ 3863 h 10000"/>
                <a:gd name="connsiteX1811" fmla="*/ 3230 w 10354"/>
                <a:gd name="connsiteY1811" fmla="*/ 3838 h 10000"/>
                <a:gd name="connsiteX1812" fmla="*/ 3226 w 10354"/>
                <a:gd name="connsiteY1812" fmla="*/ 3803 h 10000"/>
                <a:gd name="connsiteX1813" fmla="*/ 3138 w 10354"/>
                <a:gd name="connsiteY1813" fmla="*/ 3838 h 10000"/>
                <a:gd name="connsiteX1814" fmla="*/ 3078 w 10354"/>
                <a:gd name="connsiteY1814" fmla="*/ 3889 h 10000"/>
                <a:gd name="connsiteX1815" fmla="*/ 3078 w 10354"/>
                <a:gd name="connsiteY1815" fmla="*/ 3940 h 10000"/>
                <a:gd name="connsiteX1816" fmla="*/ 3069 w 10354"/>
                <a:gd name="connsiteY1816" fmla="*/ 3983 h 10000"/>
                <a:gd name="connsiteX1817" fmla="*/ 3069 w 10354"/>
                <a:gd name="connsiteY1817" fmla="*/ 4009 h 10000"/>
                <a:gd name="connsiteX1818" fmla="*/ 3078 w 10354"/>
                <a:gd name="connsiteY1818" fmla="*/ 4026 h 10000"/>
                <a:gd name="connsiteX1819" fmla="*/ 3083 w 10354"/>
                <a:gd name="connsiteY1819" fmla="*/ 4034 h 10000"/>
                <a:gd name="connsiteX1820" fmla="*/ 3092 w 10354"/>
                <a:gd name="connsiteY1820" fmla="*/ 4060 h 10000"/>
                <a:gd name="connsiteX1821" fmla="*/ 3092 w 10354"/>
                <a:gd name="connsiteY1821" fmla="*/ 4077 h 10000"/>
                <a:gd name="connsiteX1822" fmla="*/ 3097 w 10354"/>
                <a:gd name="connsiteY1822" fmla="*/ 4103 h 10000"/>
                <a:gd name="connsiteX1823" fmla="*/ 3101 w 10354"/>
                <a:gd name="connsiteY1823" fmla="*/ 4162 h 10000"/>
                <a:gd name="connsiteX1824" fmla="*/ 3097 w 10354"/>
                <a:gd name="connsiteY1824" fmla="*/ 4222 h 10000"/>
                <a:gd name="connsiteX1825" fmla="*/ 3041 w 10354"/>
                <a:gd name="connsiteY1825" fmla="*/ 4325 h 10000"/>
                <a:gd name="connsiteX1826" fmla="*/ 3037 w 10354"/>
                <a:gd name="connsiteY1826" fmla="*/ 4419 h 10000"/>
                <a:gd name="connsiteX1827" fmla="*/ 3018 w 10354"/>
                <a:gd name="connsiteY1827" fmla="*/ 4470 h 10000"/>
                <a:gd name="connsiteX1828" fmla="*/ 2991 w 10354"/>
                <a:gd name="connsiteY1828" fmla="*/ 4513 h 10000"/>
                <a:gd name="connsiteX1829" fmla="*/ 2977 w 10354"/>
                <a:gd name="connsiteY1829" fmla="*/ 4530 h 10000"/>
                <a:gd name="connsiteX1830" fmla="*/ 2945 w 10354"/>
                <a:gd name="connsiteY1830" fmla="*/ 4556 h 10000"/>
                <a:gd name="connsiteX1831" fmla="*/ 2935 w 10354"/>
                <a:gd name="connsiteY1831" fmla="*/ 4581 h 10000"/>
                <a:gd name="connsiteX1832" fmla="*/ 2949 w 10354"/>
                <a:gd name="connsiteY1832" fmla="*/ 4624 h 10000"/>
                <a:gd name="connsiteX1833" fmla="*/ 2945 w 10354"/>
                <a:gd name="connsiteY1833" fmla="*/ 4658 h 10000"/>
                <a:gd name="connsiteX1834" fmla="*/ 2922 w 10354"/>
                <a:gd name="connsiteY1834" fmla="*/ 4667 h 10000"/>
                <a:gd name="connsiteX1835" fmla="*/ 2876 w 10354"/>
                <a:gd name="connsiteY1835" fmla="*/ 4632 h 10000"/>
                <a:gd name="connsiteX1836" fmla="*/ 2857 w 10354"/>
                <a:gd name="connsiteY1836" fmla="*/ 4632 h 10000"/>
                <a:gd name="connsiteX1837" fmla="*/ 2820 w 10354"/>
                <a:gd name="connsiteY1837" fmla="*/ 4641 h 10000"/>
                <a:gd name="connsiteX1838" fmla="*/ 2797 w 10354"/>
                <a:gd name="connsiteY1838" fmla="*/ 4632 h 10000"/>
                <a:gd name="connsiteX1839" fmla="*/ 2788 w 10354"/>
                <a:gd name="connsiteY1839" fmla="*/ 4624 h 10000"/>
                <a:gd name="connsiteX1840" fmla="*/ 2788 w 10354"/>
                <a:gd name="connsiteY1840" fmla="*/ 4598 h 10000"/>
                <a:gd name="connsiteX1841" fmla="*/ 2797 w 10354"/>
                <a:gd name="connsiteY1841" fmla="*/ 4581 h 10000"/>
                <a:gd name="connsiteX1842" fmla="*/ 2788 w 10354"/>
                <a:gd name="connsiteY1842" fmla="*/ 4530 h 10000"/>
                <a:gd name="connsiteX1843" fmla="*/ 2774 w 10354"/>
                <a:gd name="connsiteY1843" fmla="*/ 4530 h 10000"/>
                <a:gd name="connsiteX1844" fmla="*/ 2770 w 10354"/>
                <a:gd name="connsiteY1844" fmla="*/ 4513 h 10000"/>
                <a:gd name="connsiteX1845" fmla="*/ 2774 w 10354"/>
                <a:gd name="connsiteY1845" fmla="*/ 4513 h 10000"/>
                <a:gd name="connsiteX1846" fmla="*/ 2788 w 10354"/>
                <a:gd name="connsiteY1846" fmla="*/ 4496 h 10000"/>
                <a:gd name="connsiteX1847" fmla="*/ 2802 w 10354"/>
                <a:gd name="connsiteY1847" fmla="*/ 4513 h 10000"/>
                <a:gd name="connsiteX1848" fmla="*/ 2811 w 10354"/>
                <a:gd name="connsiteY1848" fmla="*/ 4530 h 10000"/>
                <a:gd name="connsiteX1849" fmla="*/ 2820 w 10354"/>
                <a:gd name="connsiteY1849" fmla="*/ 4521 h 10000"/>
                <a:gd name="connsiteX1850" fmla="*/ 2829 w 10354"/>
                <a:gd name="connsiteY1850" fmla="*/ 4513 h 10000"/>
                <a:gd name="connsiteX1851" fmla="*/ 2843 w 10354"/>
                <a:gd name="connsiteY1851" fmla="*/ 4513 h 10000"/>
                <a:gd name="connsiteX1852" fmla="*/ 2848 w 10354"/>
                <a:gd name="connsiteY1852" fmla="*/ 4470 h 10000"/>
                <a:gd name="connsiteX1853" fmla="*/ 2862 w 10354"/>
                <a:gd name="connsiteY1853" fmla="*/ 4487 h 10000"/>
                <a:gd name="connsiteX1854" fmla="*/ 2876 w 10354"/>
                <a:gd name="connsiteY1854" fmla="*/ 4470 h 10000"/>
                <a:gd name="connsiteX1855" fmla="*/ 2880 w 10354"/>
                <a:gd name="connsiteY1855" fmla="*/ 4462 h 10000"/>
                <a:gd name="connsiteX1856" fmla="*/ 2889 w 10354"/>
                <a:gd name="connsiteY1856" fmla="*/ 4444 h 10000"/>
                <a:gd name="connsiteX1857" fmla="*/ 2894 w 10354"/>
                <a:gd name="connsiteY1857" fmla="*/ 4462 h 10000"/>
                <a:gd name="connsiteX1858" fmla="*/ 2917 w 10354"/>
                <a:gd name="connsiteY1858" fmla="*/ 4444 h 10000"/>
                <a:gd name="connsiteX1859" fmla="*/ 2922 w 10354"/>
                <a:gd name="connsiteY1859" fmla="*/ 4436 h 10000"/>
                <a:gd name="connsiteX1860" fmla="*/ 2917 w 10354"/>
                <a:gd name="connsiteY1860" fmla="*/ 4410 h 10000"/>
                <a:gd name="connsiteX1861" fmla="*/ 2894 w 10354"/>
                <a:gd name="connsiteY1861" fmla="*/ 4410 h 10000"/>
                <a:gd name="connsiteX1862" fmla="*/ 2889 w 10354"/>
                <a:gd name="connsiteY1862" fmla="*/ 4419 h 10000"/>
                <a:gd name="connsiteX1863" fmla="*/ 2876 w 10354"/>
                <a:gd name="connsiteY1863" fmla="*/ 4410 h 10000"/>
                <a:gd name="connsiteX1864" fmla="*/ 2880 w 10354"/>
                <a:gd name="connsiteY1864" fmla="*/ 4376 h 10000"/>
                <a:gd name="connsiteX1865" fmla="*/ 2903 w 10354"/>
                <a:gd name="connsiteY1865" fmla="*/ 4393 h 10000"/>
                <a:gd name="connsiteX1866" fmla="*/ 2931 w 10354"/>
                <a:gd name="connsiteY1866" fmla="*/ 4393 h 10000"/>
                <a:gd name="connsiteX1867" fmla="*/ 2931 w 10354"/>
                <a:gd name="connsiteY1867" fmla="*/ 4385 h 10000"/>
                <a:gd name="connsiteX1868" fmla="*/ 2931 w 10354"/>
                <a:gd name="connsiteY1868" fmla="*/ 4350 h 10000"/>
                <a:gd name="connsiteX1869" fmla="*/ 2945 w 10354"/>
                <a:gd name="connsiteY1869" fmla="*/ 4350 h 10000"/>
                <a:gd name="connsiteX1870" fmla="*/ 2949 w 10354"/>
                <a:gd name="connsiteY1870" fmla="*/ 4325 h 10000"/>
                <a:gd name="connsiteX1871" fmla="*/ 2963 w 10354"/>
                <a:gd name="connsiteY1871" fmla="*/ 4256 h 10000"/>
                <a:gd name="connsiteX1872" fmla="*/ 2982 w 10354"/>
                <a:gd name="connsiteY1872" fmla="*/ 4239 h 10000"/>
                <a:gd name="connsiteX1873" fmla="*/ 2991 w 10354"/>
                <a:gd name="connsiteY1873" fmla="*/ 4214 h 10000"/>
                <a:gd name="connsiteX1874" fmla="*/ 2991 w 10354"/>
                <a:gd name="connsiteY1874" fmla="*/ 4197 h 10000"/>
                <a:gd name="connsiteX1875" fmla="*/ 2995 w 10354"/>
                <a:gd name="connsiteY1875" fmla="*/ 4171 h 10000"/>
                <a:gd name="connsiteX1876" fmla="*/ 2991 w 10354"/>
                <a:gd name="connsiteY1876" fmla="*/ 4077 h 10000"/>
                <a:gd name="connsiteX1877" fmla="*/ 2995 w 10354"/>
                <a:gd name="connsiteY1877" fmla="*/ 4034 h 10000"/>
                <a:gd name="connsiteX1878" fmla="*/ 3018 w 10354"/>
                <a:gd name="connsiteY1878" fmla="*/ 3983 h 10000"/>
                <a:gd name="connsiteX1879" fmla="*/ 3018 w 10354"/>
                <a:gd name="connsiteY1879" fmla="*/ 3915 h 10000"/>
                <a:gd name="connsiteX1880" fmla="*/ 2949 w 10354"/>
                <a:gd name="connsiteY1880" fmla="*/ 3778 h 10000"/>
                <a:gd name="connsiteX1881" fmla="*/ 2954 w 10354"/>
                <a:gd name="connsiteY1881" fmla="*/ 3675 h 10000"/>
                <a:gd name="connsiteX1882" fmla="*/ 2954 w 10354"/>
                <a:gd name="connsiteY1882" fmla="*/ 3650 h 10000"/>
                <a:gd name="connsiteX1883" fmla="*/ 2963 w 10354"/>
                <a:gd name="connsiteY1883" fmla="*/ 3624 h 10000"/>
                <a:gd name="connsiteX1884" fmla="*/ 2954 w 10354"/>
                <a:gd name="connsiteY1884" fmla="*/ 3564 h 10000"/>
                <a:gd name="connsiteX1885" fmla="*/ 2963 w 10354"/>
                <a:gd name="connsiteY1885" fmla="*/ 3538 h 10000"/>
                <a:gd name="connsiteX1886" fmla="*/ 2963 w 10354"/>
                <a:gd name="connsiteY1886" fmla="*/ 3487 h 10000"/>
                <a:gd name="connsiteX1887" fmla="*/ 2963 w 10354"/>
                <a:gd name="connsiteY1887" fmla="*/ 3479 h 10000"/>
                <a:gd name="connsiteX1888" fmla="*/ 2963 w 10354"/>
                <a:gd name="connsiteY1888" fmla="*/ 3462 h 10000"/>
                <a:gd name="connsiteX1889" fmla="*/ 2954 w 10354"/>
                <a:gd name="connsiteY1889" fmla="*/ 3453 h 10000"/>
                <a:gd name="connsiteX1890" fmla="*/ 2954 w 10354"/>
                <a:gd name="connsiteY1890" fmla="*/ 3444 h 10000"/>
                <a:gd name="connsiteX1891" fmla="*/ 2954 w 10354"/>
                <a:gd name="connsiteY1891" fmla="*/ 3402 h 10000"/>
                <a:gd name="connsiteX1892" fmla="*/ 2954 w 10354"/>
                <a:gd name="connsiteY1892" fmla="*/ 3393 h 10000"/>
                <a:gd name="connsiteX1893" fmla="*/ 2949 w 10354"/>
                <a:gd name="connsiteY1893" fmla="*/ 3376 h 10000"/>
                <a:gd name="connsiteX1894" fmla="*/ 2949 w 10354"/>
                <a:gd name="connsiteY1894" fmla="*/ 3342 h 10000"/>
                <a:gd name="connsiteX1895" fmla="*/ 2949 w 10354"/>
                <a:gd name="connsiteY1895" fmla="*/ 3316 h 10000"/>
                <a:gd name="connsiteX1896" fmla="*/ 2968 w 10354"/>
                <a:gd name="connsiteY1896" fmla="*/ 3291 h 10000"/>
                <a:gd name="connsiteX1897" fmla="*/ 2963 w 10354"/>
                <a:gd name="connsiteY1897" fmla="*/ 3205 h 10000"/>
                <a:gd name="connsiteX1898" fmla="*/ 2968 w 10354"/>
                <a:gd name="connsiteY1898" fmla="*/ 3171 h 10000"/>
                <a:gd name="connsiteX1899" fmla="*/ 2968 w 10354"/>
                <a:gd name="connsiteY1899" fmla="*/ 3128 h 10000"/>
                <a:gd name="connsiteX1900" fmla="*/ 2954 w 10354"/>
                <a:gd name="connsiteY1900" fmla="*/ 3051 h 10000"/>
                <a:gd name="connsiteX1901" fmla="*/ 2954 w 10354"/>
                <a:gd name="connsiteY1901" fmla="*/ 3009 h 10000"/>
                <a:gd name="connsiteX1902" fmla="*/ 2922 w 10354"/>
                <a:gd name="connsiteY1902" fmla="*/ 2940 h 10000"/>
                <a:gd name="connsiteX1903" fmla="*/ 2903 w 10354"/>
                <a:gd name="connsiteY1903" fmla="*/ 2880 h 10000"/>
                <a:gd name="connsiteX1904" fmla="*/ 2903 w 10354"/>
                <a:gd name="connsiteY1904" fmla="*/ 2855 h 10000"/>
                <a:gd name="connsiteX1905" fmla="*/ 2908 w 10354"/>
                <a:gd name="connsiteY1905" fmla="*/ 2846 h 10000"/>
                <a:gd name="connsiteX1906" fmla="*/ 2931 w 10354"/>
                <a:gd name="connsiteY1906" fmla="*/ 2821 h 10000"/>
                <a:gd name="connsiteX1907" fmla="*/ 2931 w 10354"/>
                <a:gd name="connsiteY1907" fmla="*/ 2803 h 10000"/>
                <a:gd name="connsiteX1908" fmla="*/ 2935 w 10354"/>
                <a:gd name="connsiteY1908" fmla="*/ 2786 h 10000"/>
                <a:gd name="connsiteX1909" fmla="*/ 2935 w 10354"/>
                <a:gd name="connsiteY1909" fmla="*/ 2744 h 10000"/>
                <a:gd name="connsiteX1910" fmla="*/ 2963 w 10354"/>
                <a:gd name="connsiteY1910" fmla="*/ 2607 h 10000"/>
                <a:gd name="connsiteX1911" fmla="*/ 2963 w 10354"/>
                <a:gd name="connsiteY1911" fmla="*/ 2419 h 10000"/>
                <a:gd name="connsiteX1912" fmla="*/ 2954 w 10354"/>
                <a:gd name="connsiteY1912" fmla="*/ 2410 h 10000"/>
                <a:gd name="connsiteX1913" fmla="*/ 2963 w 10354"/>
                <a:gd name="connsiteY1913" fmla="*/ 2393 h 10000"/>
                <a:gd name="connsiteX1914" fmla="*/ 2908 w 10354"/>
                <a:gd name="connsiteY1914" fmla="*/ 2359 h 10000"/>
                <a:gd name="connsiteX1915" fmla="*/ 2889 w 10354"/>
                <a:gd name="connsiteY1915" fmla="*/ 2325 h 10000"/>
                <a:gd name="connsiteX1916" fmla="*/ 2788 w 10354"/>
                <a:gd name="connsiteY1916" fmla="*/ 2333 h 10000"/>
                <a:gd name="connsiteX1917" fmla="*/ 2774 w 10354"/>
                <a:gd name="connsiteY1917" fmla="*/ 2325 h 10000"/>
                <a:gd name="connsiteX1918" fmla="*/ 2783 w 10354"/>
                <a:gd name="connsiteY1918" fmla="*/ 2308 h 10000"/>
                <a:gd name="connsiteX1919" fmla="*/ 2747 w 10354"/>
                <a:gd name="connsiteY1919" fmla="*/ 2308 h 10000"/>
                <a:gd name="connsiteX1920" fmla="*/ 2742 w 10354"/>
                <a:gd name="connsiteY1920" fmla="*/ 2333 h 10000"/>
                <a:gd name="connsiteX1921" fmla="*/ 2682 w 10354"/>
                <a:gd name="connsiteY1921" fmla="*/ 2769 h 10000"/>
                <a:gd name="connsiteX1922" fmla="*/ 2613 w 10354"/>
                <a:gd name="connsiteY1922" fmla="*/ 2940 h 10000"/>
                <a:gd name="connsiteX1923" fmla="*/ 2581 w 10354"/>
                <a:gd name="connsiteY1923" fmla="*/ 2966 h 10000"/>
                <a:gd name="connsiteX1924" fmla="*/ 2576 w 10354"/>
                <a:gd name="connsiteY1924" fmla="*/ 3051 h 10000"/>
                <a:gd name="connsiteX1925" fmla="*/ 2581 w 10354"/>
                <a:gd name="connsiteY1925" fmla="*/ 3051 h 10000"/>
                <a:gd name="connsiteX1926" fmla="*/ 2594 w 10354"/>
                <a:gd name="connsiteY1926" fmla="*/ 3017 h 10000"/>
                <a:gd name="connsiteX1927" fmla="*/ 2594 w 10354"/>
                <a:gd name="connsiteY1927" fmla="*/ 3034 h 10000"/>
                <a:gd name="connsiteX1928" fmla="*/ 2594 w 10354"/>
                <a:gd name="connsiteY1928" fmla="*/ 3051 h 10000"/>
                <a:gd name="connsiteX1929" fmla="*/ 2590 w 10354"/>
                <a:gd name="connsiteY1929" fmla="*/ 3077 h 10000"/>
                <a:gd name="connsiteX1930" fmla="*/ 2567 w 10354"/>
                <a:gd name="connsiteY1930" fmla="*/ 3103 h 10000"/>
                <a:gd name="connsiteX1931" fmla="*/ 2562 w 10354"/>
                <a:gd name="connsiteY1931" fmla="*/ 3145 h 10000"/>
                <a:gd name="connsiteX1932" fmla="*/ 2567 w 10354"/>
                <a:gd name="connsiteY1932" fmla="*/ 3179 h 10000"/>
                <a:gd name="connsiteX1933" fmla="*/ 2590 w 10354"/>
                <a:gd name="connsiteY1933" fmla="*/ 3171 h 10000"/>
                <a:gd name="connsiteX1934" fmla="*/ 2594 w 10354"/>
                <a:gd name="connsiteY1934" fmla="*/ 3145 h 10000"/>
                <a:gd name="connsiteX1935" fmla="*/ 2613 w 10354"/>
                <a:gd name="connsiteY1935" fmla="*/ 3154 h 10000"/>
                <a:gd name="connsiteX1936" fmla="*/ 2622 w 10354"/>
                <a:gd name="connsiteY1936" fmla="*/ 3179 h 10000"/>
                <a:gd name="connsiteX1937" fmla="*/ 2613 w 10354"/>
                <a:gd name="connsiteY1937" fmla="*/ 3214 h 10000"/>
                <a:gd name="connsiteX1938" fmla="*/ 2613 w 10354"/>
                <a:gd name="connsiteY1938" fmla="*/ 3308 h 10000"/>
                <a:gd name="connsiteX1939" fmla="*/ 2608 w 10354"/>
                <a:gd name="connsiteY1939" fmla="*/ 3325 h 10000"/>
                <a:gd name="connsiteX1940" fmla="*/ 2608 w 10354"/>
                <a:gd name="connsiteY1940" fmla="*/ 3376 h 10000"/>
                <a:gd name="connsiteX1941" fmla="*/ 2613 w 10354"/>
                <a:gd name="connsiteY1941" fmla="*/ 3419 h 10000"/>
                <a:gd name="connsiteX1942" fmla="*/ 2608 w 10354"/>
                <a:gd name="connsiteY1942" fmla="*/ 3444 h 10000"/>
                <a:gd name="connsiteX1943" fmla="*/ 2594 w 10354"/>
                <a:gd name="connsiteY1943" fmla="*/ 3444 h 10000"/>
                <a:gd name="connsiteX1944" fmla="*/ 2590 w 10354"/>
                <a:gd name="connsiteY1944" fmla="*/ 3427 h 10000"/>
                <a:gd name="connsiteX1945" fmla="*/ 2581 w 10354"/>
                <a:gd name="connsiteY1945" fmla="*/ 3564 h 10000"/>
                <a:gd name="connsiteX1946" fmla="*/ 2594 w 10354"/>
                <a:gd name="connsiteY1946" fmla="*/ 3598 h 10000"/>
                <a:gd name="connsiteX1947" fmla="*/ 2594 w 10354"/>
                <a:gd name="connsiteY1947" fmla="*/ 3581 h 10000"/>
                <a:gd name="connsiteX1948" fmla="*/ 2608 w 10354"/>
                <a:gd name="connsiteY1948" fmla="*/ 3556 h 10000"/>
                <a:gd name="connsiteX1949" fmla="*/ 2650 w 10354"/>
                <a:gd name="connsiteY1949" fmla="*/ 3615 h 10000"/>
                <a:gd name="connsiteX1950" fmla="*/ 2664 w 10354"/>
                <a:gd name="connsiteY1950" fmla="*/ 3615 h 10000"/>
                <a:gd name="connsiteX1951" fmla="*/ 2668 w 10354"/>
                <a:gd name="connsiteY1951" fmla="*/ 3615 h 10000"/>
                <a:gd name="connsiteX1952" fmla="*/ 2664 w 10354"/>
                <a:gd name="connsiteY1952" fmla="*/ 3667 h 10000"/>
                <a:gd name="connsiteX1953" fmla="*/ 2687 w 10354"/>
                <a:gd name="connsiteY1953" fmla="*/ 3786 h 10000"/>
                <a:gd name="connsiteX1954" fmla="*/ 2710 w 10354"/>
                <a:gd name="connsiteY1954" fmla="*/ 3812 h 10000"/>
                <a:gd name="connsiteX1955" fmla="*/ 2724 w 10354"/>
                <a:gd name="connsiteY1955" fmla="*/ 3812 h 10000"/>
                <a:gd name="connsiteX1956" fmla="*/ 2724 w 10354"/>
                <a:gd name="connsiteY1956" fmla="*/ 3829 h 10000"/>
                <a:gd name="connsiteX1957" fmla="*/ 2737 w 10354"/>
                <a:gd name="connsiteY1957" fmla="*/ 3838 h 10000"/>
                <a:gd name="connsiteX1958" fmla="*/ 2714 w 10354"/>
                <a:gd name="connsiteY1958" fmla="*/ 3872 h 10000"/>
                <a:gd name="connsiteX1959" fmla="*/ 2696 w 10354"/>
                <a:gd name="connsiteY1959" fmla="*/ 4026 h 10000"/>
                <a:gd name="connsiteX1960" fmla="*/ 2673 w 10354"/>
                <a:gd name="connsiteY1960" fmla="*/ 4051 h 10000"/>
                <a:gd name="connsiteX1961" fmla="*/ 2668 w 10354"/>
                <a:gd name="connsiteY1961" fmla="*/ 4034 h 10000"/>
                <a:gd name="connsiteX1962" fmla="*/ 2673 w 10354"/>
                <a:gd name="connsiteY1962" fmla="*/ 4000 h 10000"/>
                <a:gd name="connsiteX1963" fmla="*/ 2664 w 10354"/>
                <a:gd name="connsiteY1963" fmla="*/ 3974 h 10000"/>
                <a:gd name="connsiteX1964" fmla="*/ 2636 w 10354"/>
                <a:gd name="connsiteY1964" fmla="*/ 3949 h 10000"/>
                <a:gd name="connsiteX1965" fmla="*/ 2581 w 10354"/>
                <a:gd name="connsiteY1965" fmla="*/ 3838 h 10000"/>
                <a:gd name="connsiteX1966" fmla="*/ 2562 w 10354"/>
                <a:gd name="connsiteY1966" fmla="*/ 3829 h 10000"/>
                <a:gd name="connsiteX1967" fmla="*/ 2535 w 10354"/>
                <a:gd name="connsiteY1967" fmla="*/ 3778 h 10000"/>
                <a:gd name="connsiteX1968" fmla="*/ 2502 w 10354"/>
                <a:gd name="connsiteY1968" fmla="*/ 3761 h 10000"/>
                <a:gd name="connsiteX1969" fmla="*/ 2502 w 10354"/>
                <a:gd name="connsiteY1969" fmla="*/ 3735 h 10000"/>
                <a:gd name="connsiteX1970" fmla="*/ 2516 w 10354"/>
                <a:gd name="connsiteY1970" fmla="*/ 3735 h 10000"/>
                <a:gd name="connsiteX1971" fmla="*/ 2507 w 10354"/>
                <a:gd name="connsiteY1971" fmla="*/ 3726 h 10000"/>
                <a:gd name="connsiteX1972" fmla="*/ 2488 w 10354"/>
                <a:gd name="connsiteY1972" fmla="*/ 3726 h 10000"/>
                <a:gd name="connsiteX1973" fmla="*/ 2461 w 10354"/>
                <a:gd name="connsiteY1973" fmla="*/ 3692 h 10000"/>
                <a:gd name="connsiteX1974" fmla="*/ 2442 w 10354"/>
                <a:gd name="connsiteY1974" fmla="*/ 3675 h 10000"/>
                <a:gd name="connsiteX1975" fmla="*/ 2406 w 10354"/>
                <a:gd name="connsiteY1975" fmla="*/ 3598 h 10000"/>
                <a:gd name="connsiteX1976" fmla="*/ 2346 w 10354"/>
                <a:gd name="connsiteY1976" fmla="*/ 3564 h 10000"/>
                <a:gd name="connsiteX1977" fmla="*/ 2341 w 10354"/>
                <a:gd name="connsiteY1977" fmla="*/ 3564 h 10000"/>
                <a:gd name="connsiteX1978" fmla="*/ 2313 w 10354"/>
                <a:gd name="connsiteY1978" fmla="*/ 3530 h 10000"/>
                <a:gd name="connsiteX1979" fmla="*/ 2235 w 10354"/>
                <a:gd name="connsiteY1979" fmla="*/ 3530 h 10000"/>
                <a:gd name="connsiteX1980" fmla="*/ 2226 w 10354"/>
                <a:gd name="connsiteY1980" fmla="*/ 3513 h 10000"/>
                <a:gd name="connsiteX1981" fmla="*/ 2207 w 10354"/>
                <a:gd name="connsiteY1981" fmla="*/ 3504 h 10000"/>
                <a:gd name="connsiteX1982" fmla="*/ 2194 w 10354"/>
                <a:gd name="connsiteY1982" fmla="*/ 3504 h 10000"/>
                <a:gd name="connsiteX1983" fmla="*/ 2189 w 10354"/>
                <a:gd name="connsiteY1983" fmla="*/ 3504 h 10000"/>
                <a:gd name="connsiteX1984" fmla="*/ 2189 w 10354"/>
                <a:gd name="connsiteY1984" fmla="*/ 3530 h 10000"/>
                <a:gd name="connsiteX1985" fmla="*/ 2180 w 10354"/>
                <a:gd name="connsiteY1985" fmla="*/ 3538 h 10000"/>
                <a:gd name="connsiteX1986" fmla="*/ 2152 w 10354"/>
                <a:gd name="connsiteY1986" fmla="*/ 3581 h 10000"/>
                <a:gd name="connsiteX1987" fmla="*/ 2161 w 10354"/>
                <a:gd name="connsiteY1987" fmla="*/ 3598 h 10000"/>
                <a:gd name="connsiteX1988" fmla="*/ 2194 w 10354"/>
                <a:gd name="connsiteY1988" fmla="*/ 3752 h 10000"/>
                <a:gd name="connsiteX1989" fmla="*/ 2194 w 10354"/>
                <a:gd name="connsiteY1989" fmla="*/ 3735 h 10000"/>
                <a:gd name="connsiteX1990" fmla="*/ 2198 w 10354"/>
                <a:gd name="connsiteY1990" fmla="*/ 3735 h 10000"/>
                <a:gd name="connsiteX1991" fmla="*/ 2189 w 10354"/>
                <a:gd name="connsiteY1991" fmla="*/ 3838 h 10000"/>
                <a:gd name="connsiteX1992" fmla="*/ 2166 w 10354"/>
                <a:gd name="connsiteY1992" fmla="*/ 3889 h 10000"/>
                <a:gd name="connsiteX1993" fmla="*/ 2124 w 10354"/>
                <a:gd name="connsiteY1993" fmla="*/ 3889 h 10000"/>
                <a:gd name="connsiteX1994" fmla="*/ 2124 w 10354"/>
                <a:gd name="connsiteY1994" fmla="*/ 3923 h 10000"/>
                <a:gd name="connsiteX1995" fmla="*/ 2134 w 10354"/>
                <a:gd name="connsiteY1995" fmla="*/ 3940 h 10000"/>
                <a:gd name="connsiteX1996" fmla="*/ 2134 w 10354"/>
                <a:gd name="connsiteY1996" fmla="*/ 3966 h 10000"/>
                <a:gd name="connsiteX1997" fmla="*/ 2120 w 10354"/>
                <a:gd name="connsiteY1997" fmla="*/ 4000 h 10000"/>
                <a:gd name="connsiteX1998" fmla="*/ 2106 w 10354"/>
                <a:gd name="connsiteY1998" fmla="*/ 4009 h 10000"/>
                <a:gd name="connsiteX1999" fmla="*/ 2088 w 10354"/>
                <a:gd name="connsiteY1999" fmla="*/ 4000 h 10000"/>
                <a:gd name="connsiteX2000" fmla="*/ 2074 w 10354"/>
                <a:gd name="connsiteY2000" fmla="*/ 3974 h 10000"/>
                <a:gd name="connsiteX2001" fmla="*/ 2074 w 10354"/>
                <a:gd name="connsiteY2001" fmla="*/ 3940 h 10000"/>
                <a:gd name="connsiteX2002" fmla="*/ 2078 w 10354"/>
                <a:gd name="connsiteY2002" fmla="*/ 3915 h 10000"/>
                <a:gd name="connsiteX2003" fmla="*/ 2088 w 10354"/>
                <a:gd name="connsiteY2003" fmla="*/ 3889 h 10000"/>
                <a:gd name="connsiteX2004" fmla="*/ 2101 w 10354"/>
                <a:gd name="connsiteY2004" fmla="*/ 3872 h 10000"/>
                <a:gd name="connsiteX2005" fmla="*/ 2074 w 10354"/>
                <a:gd name="connsiteY2005" fmla="*/ 3812 h 10000"/>
                <a:gd name="connsiteX2006" fmla="*/ 2074 w 10354"/>
                <a:gd name="connsiteY2006" fmla="*/ 3786 h 10000"/>
                <a:gd name="connsiteX2007" fmla="*/ 2060 w 10354"/>
                <a:gd name="connsiteY2007" fmla="*/ 3786 h 10000"/>
                <a:gd name="connsiteX2008" fmla="*/ 2014 w 10354"/>
                <a:gd name="connsiteY2008" fmla="*/ 3829 h 10000"/>
                <a:gd name="connsiteX2009" fmla="*/ 2000 w 10354"/>
                <a:gd name="connsiteY2009" fmla="*/ 3863 h 10000"/>
                <a:gd name="connsiteX2010" fmla="*/ 1986 w 10354"/>
                <a:gd name="connsiteY2010" fmla="*/ 3872 h 10000"/>
                <a:gd name="connsiteX2011" fmla="*/ 1959 w 10354"/>
                <a:gd name="connsiteY2011" fmla="*/ 3940 h 10000"/>
                <a:gd name="connsiteX2012" fmla="*/ 1945 w 10354"/>
                <a:gd name="connsiteY2012" fmla="*/ 3949 h 10000"/>
                <a:gd name="connsiteX2013" fmla="*/ 1940 w 10354"/>
                <a:gd name="connsiteY2013" fmla="*/ 3923 h 10000"/>
                <a:gd name="connsiteX2014" fmla="*/ 1917 w 10354"/>
                <a:gd name="connsiteY2014" fmla="*/ 3915 h 10000"/>
                <a:gd name="connsiteX2015" fmla="*/ 1899 w 10354"/>
                <a:gd name="connsiteY2015" fmla="*/ 3923 h 10000"/>
                <a:gd name="connsiteX2016" fmla="*/ 1880 w 10354"/>
                <a:gd name="connsiteY2016" fmla="*/ 3915 h 10000"/>
                <a:gd name="connsiteX2017" fmla="*/ 1853 w 10354"/>
                <a:gd name="connsiteY2017" fmla="*/ 3940 h 10000"/>
                <a:gd name="connsiteX2018" fmla="*/ 1839 w 10354"/>
                <a:gd name="connsiteY2018" fmla="*/ 3940 h 10000"/>
                <a:gd name="connsiteX2019" fmla="*/ 1806 w 10354"/>
                <a:gd name="connsiteY2019" fmla="*/ 3983 h 10000"/>
                <a:gd name="connsiteX2020" fmla="*/ 1806 w 10354"/>
                <a:gd name="connsiteY2020" fmla="*/ 4000 h 10000"/>
                <a:gd name="connsiteX2021" fmla="*/ 1797 w 10354"/>
                <a:gd name="connsiteY2021" fmla="*/ 4077 h 10000"/>
                <a:gd name="connsiteX2022" fmla="*/ 1783 w 10354"/>
                <a:gd name="connsiteY2022" fmla="*/ 4077 h 10000"/>
                <a:gd name="connsiteX2023" fmla="*/ 1779 w 10354"/>
                <a:gd name="connsiteY2023" fmla="*/ 4051 h 10000"/>
                <a:gd name="connsiteX2024" fmla="*/ 1765 w 10354"/>
                <a:gd name="connsiteY2024" fmla="*/ 4026 h 10000"/>
                <a:gd name="connsiteX2025" fmla="*/ 1751 w 10354"/>
                <a:gd name="connsiteY2025" fmla="*/ 4051 h 10000"/>
                <a:gd name="connsiteX2026" fmla="*/ 1737 w 10354"/>
                <a:gd name="connsiteY2026" fmla="*/ 4009 h 10000"/>
                <a:gd name="connsiteX2027" fmla="*/ 1737 w 10354"/>
                <a:gd name="connsiteY2027" fmla="*/ 3966 h 10000"/>
                <a:gd name="connsiteX2028" fmla="*/ 1733 w 10354"/>
                <a:gd name="connsiteY2028" fmla="*/ 3940 h 10000"/>
                <a:gd name="connsiteX2029" fmla="*/ 1733 w 10354"/>
                <a:gd name="connsiteY2029" fmla="*/ 3923 h 10000"/>
                <a:gd name="connsiteX2030" fmla="*/ 1747 w 10354"/>
                <a:gd name="connsiteY2030" fmla="*/ 3889 h 10000"/>
                <a:gd name="connsiteX2031" fmla="*/ 1747 w 10354"/>
                <a:gd name="connsiteY2031" fmla="*/ 3863 h 10000"/>
                <a:gd name="connsiteX2032" fmla="*/ 1737 w 10354"/>
                <a:gd name="connsiteY2032" fmla="*/ 3838 h 10000"/>
                <a:gd name="connsiteX2033" fmla="*/ 1733 w 10354"/>
                <a:gd name="connsiteY2033" fmla="*/ 3829 h 10000"/>
                <a:gd name="connsiteX2034" fmla="*/ 1733 w 10354"/>
                <a:gd name="connsiteY2034" fmla="*/ 3846 h 10000"/>
                <a:gd name="connsiteX2035" fmla="*/ 1724 w 10354"/>
                <a:gd name="connsiteY2035" fmla="*/ 3846 h 10000"/>
                <a:gd name="connsiteX2036" fmla="*/ 1724 w 10354"/>
                <a:gd name="connsiteY2036" fmla="*/ 3829 h 10000"/>
                <a:gd name="connsiteX2037" fmla="*/ 1737 w 10354"/>
                <a:gd name="connsiteY2037" fmla="*/ 3812 h 10000"/>
                <a:gd name="connsiteX2038" fmla="*/ 1765 w 10354"/>
                <a:gd name="connsiteY2038" fmla="*/ 3812 h 10000"/>
                <a:gd name="connsiteX2039" fmla="*/ 1779 w 10354"/>
                <a:gd name="connsiteY2039" fmla="*/ 3786 h 10000"/>
                <a:gd name="connsiteX2040" fmla="*/ 1779 w 10354"/>
                <a:gd name="connsiteY2040" fmla="*/ 3786 h 10000"/>
                <a:gd name="connsiteX2041" fmla="*/ 1751 w 10354"/>
                <a:gd name="connsiteY2041" fmla="*/ 3803 h 10000"/>
                <a:gd name="connsiteX2042" fmla="*/ 1747 w 10354"/>
                <a:gd name="connsiteY2042" fmla="*/ 3803 h 10000"/>
                <a:gd name="connsiteX2043" fmla="*/ 1724 w 10354"/>
                <a:gd name="connsiteY2043" fmla="*/ 3803 h 10000"/>
                <a:gd name="connsiteX2044" fmla="*/ 1700 w 10354"/>
                <a:gd name="connsiteY2044" fmla="*/ 3829 h 10000"/>
                <a:gd name="connsiteX2045" fmla="*/ 1705 w 10354"/>
                <a:gd name="connsiteY2045" fmla="*/ 3846 h 10000"/>
                <a:gd name="connsiteX2046" fmla="*/ 1691 w 10354"/>
                <a:gd name="connsiteY2046" fmla="*/ 3846 h 10000"/>
                <a:gd name="connsiteX2047" fmla="*/ 1691 w 10354"/>
                <a:gd name="connsiteY2047" fmla="*/ 3863 h 10000"/>
                <a:gd name="connsiteX2048" fmla="*/ 1691 w 10354"/>
                <a:gd name="connsiteY2048" fmla="*/ 3915 h 10000"/>
                <a:gd name="connsiteX2049" fmla="*/ 1677 w 10354"/>
                <a:gd name="connsiteY2049" fmla="*/ 3923 h 10000"/>
                <a:gd name="connsiteX2050" fmla="*/ 1673 w 10354"/>
                <a:gd name="connsiteY2050" fmla="*/ 3915 h 10000"/>
                <a:gd name="connsiteX2051" fmla="*/ 1664 w 10354"/>
                <a:gd name="connsiteY2051" fmla="*/ 3889 h 10000"/>
                <a:gd name="connsiteX2052" fmla="*/ 1673 w 10354"/>
                <a:gd name="connsiteY2052" fmla="*/ 3872 h 10000"/>
                <a:gd name="connsiteX2053" fmla="*/ 1664 w 10354"/>
                <a:gd name="connsiteY2053" fmla="*/ 3872 h 10000"/>
                <a:gd name="connsiteX2054" fmla="*/ 1636 w 10354"/>
                <a:gd name="connsiteY2054" fmla="*/ 3923 h 10000"/>
                <a:gd name="connsiteX2055" fmla="*/ 1645 w 10354"/>
                <a:gd name="connsiteY2055" fmla="*/ 3923 h 10000"/>
                <a:gd name="connsiteX2056" fmla="*/ 1650 w 10354"/>
                <a:gd name="connsiteY2056" fmla="*/ 3949 h 10000"/>
                <a:gd name="connsiteX2057" fmla="*/ 1650 w 10354"/>
                <a:gd name="connsiteY2057" fmla="*/ 3983 h 10000"/>
                <a:gd name="connsiteX2058" fmla="*/ 1636 w 10354"/>
                <a:gd name="connsiteY2058" fmla="*/ 4000 h 10000"/>
                <a:gd name="connsiteX2059" fmla="*/ 1631 w 10354"/>
                <a:gd name="connsiteY2059" fmla="*/ 4009 h 10000"/>
                <a:gd name="connsiteX2060" fmla="*/ 1618 w 10354"/>
                <a:gd name="connsiteY2060" fmla="*/ 3949 h 10000"/>
                <a:gd name="connsiteX2061" fmla="*/ 1585 w 10354"/>
                <a:gd name="connsiteY2061" fmla="*/ 3966 h 10000"/>
                <a:gd name="connsiteX2062" fmla="*/ 1590 w 10354"/>
                <a:gd name="connsiteY2062" fmla="*/ 3974 h 10000"/>
                <a:gd name="connsiteX2063" fmla="*/ 1544 w 10354"/>
                <a:gd name="connsiteY2063" fmla="*/ 4009 h 10000"/>
                <a:gd name="connsiteX2064" fmla="*/ 1539 w 10354"/>
                <a:gd name="connsiteY2064" fmla="*/ 4009 h 10000"/>
                <a:gd name="connsiteX2065" fmla="*/ 1410 w 10354"/>
                <a:gd name="connsiteY2065" fmla="*/ 4188 h 10000"/>
                <a:gd name="connsiteX2066" fmla="*/ 1406 w 10354"/>
                <a:gd name="connsiteY2066" fmla="*/ 4171 h 10000"/>
                <a:gd name="connsiteX2067" fmla="*/ 1396 w 10354"/>
                <a:gd name="connsiteY2067" fmla="*/ 4214 h 10000"/>
                <a:gd name="connsiteX2068" fmla="*/ 1406 w 10354"/>
                <a:gd name="connsiteY2068" fmla="*/ 4222 h 10000"/>
                <a:gd name="connsiteX2069" fmla="*/ 1392 w 10354"/>
                <a:gd name="connsiteY2069" fmla="*/ 4239 h 10000"/>
                <a:gd name="connsiteX2070" fmla="*/ 1369 w 10354"/>
                <a:gd name="connsiteY2070" fmla="*/ 4248 h 10000"/>
                <a:gd name="connsiteX2071" fmla="*/ 1355 w 10354"/>
                <a:gd name="connsiteY2071" fmla="*/ 4256 h 10000"/>
                <a:gd name="connsiteX2072" fmla="*/ 1350 w 10354"/>
                <a:gd name="connsiteY2072" fmla="*/ 4248 h 10000"/>
                <a:gd name="connsiteX2073" fmla="*/ 1332 w 10354"/>
                <a:gd name="connsiteY2073" fmla="*/ 4376 h 10000"/>
                <a:gd name="connsiteX2074" fmla="*/ 1332 w 10354"/>
                <a:gd name="connsiteY2074" fmla="*/ 4436 h 10000"/>
                <a:gd name="connsiteX2075" fmla="*/ 1323 w 10354"/>
                <a:gd name="connsiteY2075" fmla="*/ 4462 h 10000"/>
                <a:gd name="connsiteX2076" fmla="*/ 1304 w 10354"/>
                <a:gd name="connsiteY2076" fmla="*/ 4487 h 10000"/>
                <a:gd name="connsiteX2077" fmla="*/ 1290 w 10354"/>
                <a:gd name="connsiteY2077" fmla="*/ 4470 h 10000"/>
                <a:gd name="connsiteX2078" fmla="*/ 1263 w 10354"/>
                <a:gd name="connsiteY2078" fmla="*/ 4496 h 10000"/>
                <a:gd name="connsiteX2079" fmla="*/ 1258 w 10354"/>
                <a:gd name="connsiteY2079" fmla="*/ 4547 h 10000"/>
                <a:gd name="connsiteX2080" fmla="*/ 1249 w 10354"/>
                <a:gd name="connsiteY2080" fmla="*/ 4487 h 10000"/>
                <a:gd name="connsiteX2081" fmla="*/ 1235 w 10354"/>
                <a:gd name="connsiteY2081" fmla="*/ 4496 h 10000"/>
                <a:gd name="connsiteX2082" fmla="*/ 1221 w 10354"/>
                <a:gd name="connsiteY2082" fmla="*/ 4496 h 10000"/>
                <a:gd name="connsiteX2083" fmla="*/ 1217 w 10354"/>
                <a:gd name="connsiteY2083" fmla="*/ 4487 h 10000"/>
                <a:gd name="connsiteX2084" fmla="*/ 1198 w 10354"/>
                <a:gd name="connsiteY2084" fmla="*/ 4410 h 10000"/>
                <a:gd name="connsiteX2085" fmla="*/ 1157 w 10354"/>
                <a:gd name="connsiteY2085" fmla="*/ 4333 h 10000"/>
                <a:gd name="connsiteX2086" fmla="*/ 1147 w 10354"/>
                <a:gd name="connsiteY2086" fmla="*/ 4299 h 10000"/>
                <a:gd name="connsiteX2087" fmla="*/ 1147 w 10354"/>
                <a:gd name="connsiteY2087" fmla="*/ 4274 h 10000"/>
                <a:gd name="connsiteX2088" fmla="*/ 1161 w 10354"/>
                <a:gd name="connsiteY2088" fmla="*/ 4256 h 10000"/>
                <a:gd name="connsiteX2089" fmla="*/ 1171 w 10354"/>
                <a:gd name="connsiteY2089" fmla="*/ 4248 h 10000"/>
                <a:gd name="connsiteX2090" fmla="*/ 1175 w 10354"/>
                <a:gd name="connsiteY2090" fmla="*/ 4214 h 10000"/>
                <a:gd name="connsiteX2091" fmla="*/ 1263 w 10354"/>
                <a:gd name="connsiteY2091" fmla="*/ 4171 h 10000"/>
                <a:gd name="connsiteX2092" fmla="*/ 1249 w 10354"/>
                <a:gd name="connsiteY2092" fmla="*/ 4137 h 10000"/>
                <a:gd name="connsiteX2093" fmla="*/ 1244 w 10354"/>
                <a:gd name="connsiteY2093" fmla="*/ 4060 h 10000"/>
                <a:gd name="connsiteX2094" fmla="*/ 1230 w 10354"/>
                <a:gd name="connsiteY2094" fmla="*/ 4077 h 10000"/>
                <a:gd name="connsiteX2095" fmla="*/ 1221 w 10354"/>
                <a:gd name="connsiteY2095" fmla="*/ 4026 h 10000"/>
                <a:gd name="connsiteX2096" fmla="*/ 1217 w 10354"/>
                <a:gd name="connsiteY2096" fmla="*/ 4026 h 10000"/>
                <a:gd name="connsiteX2097" fmla="*/ 1212 w 10354"/>
                <a:gd name="connsiteY2097" fmla="*/ 3983 h 10000"/>
                <a:gd name="connsiteX2098" fmla="*/ 1203 w 10354"/>
                <a:gd name="connsiteY2098" fmla="*/ 3966 h 10000"/>
                <a:gd name="connsiteX2099" fmla="*/ 1171 w 10354"/>
                <a:gd name="connsiteY2099" fmla="*/ 3949 h 10000"/>
                <a:gd name="connsiteX2100" fmla="*/ 1111 w 10354"/>
                <a:gd name="connsiteY2100" fmla="*/ 3940 h 10000"/>
                <a:gd name="connsiteX2101" fmla="*/ 1097 w 10354"/>
                <a:gd name="connsiteY2101" fmla="*/ 3949 h 10000"/>
                <a:gd name="connsiteX2102" fmla="*/ 1037 w 10354"/>
                <a:gd name="connsiteY2102" fmla="*/ 3897 h 10000"/>
                <a:gd name="connsiteX2103" fmla="*/ 1041 w 10354"/>
                <a:gd name="connsiteY2103" fmla="*/ 3923 h 10000"/>
                <a:gd name="connsiteX2104" fmla="*/ 1097 w 10354"/>
                <a:gd name="connsiteY2104" fmla="*/ 4009 h 10000"/>
                <a:gd name="connsiteX2105" fmla="*/ 1097 w 10354"/>
                <a:gd name="connsiteY2105" fmla="*/ 4120 h 10000"/>
                <a:gd name="connsiteX2106" fmla="*/ 1097 w 10354"/>
                <a:gd name="connsiteY2106" fmla="*/ 4162 h 10000"/>
                <a:gd name="connsiteX2107" fmla="*/ 1097 w 10354"/>
                <a:gd name="connsiteY2107" fmla="*/ 4197 h 10000"/>
                <a:gd name="connsiteX2108" fmla="*/ 1074 w 10354"/>
                <a:gd name="connsiteY2108" fmla="*/ 4333 h 10000"/>
                <a:gd name="connsiteX2109" fmla="*/ 1074 w 10354"/>
                <a:gd name="connsiteY2109" fmla="*/ 4376 h 10000"/>
                <a:gd name="connsiteX2110" fmla="*/ 1083 w 10354"/>
                <a:gd name="connsiteY2110" fmla="*/ 4385 h 10000"/>
                <a:gd name="connsiteX2111" fmla="*/ 1097 w 10354"/>
                <a:gd name="connsiteY2111" fmla="*/ 4385 h 10000"/>
                <a:gd name="connsiteX2112" fmla="*/ 1111 w 10354"/>
                <a:gd name="connsiteY2112" fmla="*/ 4410 h 10000"/>
                <a:gd name="connsiteX2113" fmla="*/ 1124 w 10354"/>
                <a:gd name="connsiteY2113" fmla="*/ 4444 h 10000"/>
                <a:gd name="connsiteX2114" fmla="*/ 1124 w 10354"/>
                <a:gd name="connsiteY2114" fmla="*/ 4470 h 10000"/>
                <a:gd name="connsiteX2115" fmla="*/ 1115 w 10354"/>
                <a:gd name="connsiteY2115" fmla="*/ 4513 h 10000"/>
                <a:gd name="connsiteX2116" fmla="*/ 1115 w 10354"/>
                <a:gd name="connsiteY2116" fmla="*/ 4530 h 10000"/>
                <a:gd name="connsiteX2117" fmla="*/ 1115 w 10354"/>
                <a:gd name="connsiteY2117" fmla="*/ 4573 h 10000"/>
                <a:gd name="connsiteX2118" fmla="*/ 1101 w 10354"/>
                <a:gd name="connsiteY2118" fmla="*/ 4607 h 10000"/>
                <a:gd name="connsiteX2119" fmla="*/ 1097 w 10354"/>
                <a:gd name="connsiteY2119" fmla="*/ 4658 h 10000"/>
                <a:gd name="connsiteX2120" fmla="*/ 1101 w 10354"/>
                <a:gd name="connsiteY2120" fmla="*/ 4692 h 10000"/>
                <a:gd name="connsiteX2121" fmla="*/ 1097 w 10354"/>
                <a:gd name="connsiteY2121" fmla="*/ 4778 h 10000"/>
                <a:gd name="connsiteX2122" fmla="*/ 1083 w 10354"/>
                <a:gd name="connsiteY2122" fmla="*/ 4744 h 10000"/>
                <a:gd name="connsiteX2123" fmla="*/ 1083 w 10354"/>
                <a:gd name="connsiteY2123" fmla="*/ 4718 h 10000"/>
                <a:gd name="connsiteX2124" fmla="*/ 1074 w 10354"/>
                <a:gd name="connsiteY2124" fmla="*/ 4692 h 10000"/>
                <a:gd name="connsiteX2125" fmla="*/ 1065 w 10354"/>
                <a:gd name="connsiteY2125" fmla="*/ 4692 h 10000"/>
                <a:gd name="connsiteX2126" fmla="*/ 1051 w 10354"/>
                <a:gd name="connsiteY2126" fmla="*/ 4718 h 10000"/>
                <a:gd name="connsiteX2127" fmla="*/ 1055 w 10354"/>
                <a:gd name="connsiteY2127" fmla="*/ 4692 h 10000"/>
                <a:gd name="connsiteX2128" fmla="*/ 1055 w 10354"/>
                <a:gd name="connsiteY2128" fmla="*/ 4667 h 10000"/>
                <a:gd name="connsiteX2129" fmla="*/ 1028 w 10354"/>
                <a:gd name="connsiteY2129" fmla="*/ 4624 h 10000"/>
                <a:gd name="connsiteX2130" fmla="*/ 1005 w 10354"/>
                <a:gd name="connsiteY2130" fmla="*/ 4624 h 10000"/>
                <a:gd name="connsiteX2131" fmla="*/ 977 w 10354"/>
                <a:gd name="connsiteY2131" fmla="*/ 4581 h 10000"/>
                <a:gd name="connsiteX2132" fmla="*/ 963 w 10354"/>
                <a:gd name="connsiteY2132" fmla="*/ 4607 h 10000"/>
                <a:gd name="connsiteX2133" fmla="*/ 963 w 10354"/>
                <a:gd name="connsiteY2133" fmla="*/ 4632 h 10000"/>
                <a:gd name="connsiteX2134" fmla="*/ 917 w 10354"/>
                <a:gd name="connsiteY2134" fmla="*/ 4718 h 10000"/>
                <a:gd name="connsiteX2135" fmla="*/ 889 w 10354"/>
                <a:gd name="connsiteY2135" fmla="*/ 4744 h 10000"/>
                <a:gd name="connsiteX2136" fmla="*/ 880 w 10354"/>
                <a:gd name="connsiteY2136" fmla="*/ 4744 h 10000"/>
                <a:gd name="connsiteX2137" fmla="*/ 862 w 10354"/>
                <a:gd name="connsiteY2137" fmla="*/ 4769 h 10000"/>
                <a:gd name="connsiteX2138" fmla="*/ 857 w 10354"/>
                <a:gd name="connsiteY2138" fmla="*/ 4795 h 10000"/>
                <a:gd name="connsiteX2139" fmla="*/ 829 w 10354"/>
                <a:gd name="connsiteY2139" fmla="*/ 4846 h 10000"/>
                <a:gd name="connsiteX2140" fmla="*/ 816 w 10354"/>
                <a:gd name="connsiteY2140" fmla="*/ 4855 h 10000"/>
                <a:gd name="connsiteX2141" fmla="*/ 816 w 10354"/>
                <a:gd name="connsiteY2141" fmla="*/ 4940 h 10000"/>
                <a:gd name="connsiteX2142" fmla="*/ 880 w 10354"/>
                <a:gd name="connsiteY2142" fmla="*/ 5179 h 10000"/>
                <a:gd name="connsiteX2143" fmla="*/ 880 w 10354"/>
                <a:gd name="connsiteY2143" fmla="*/ 5188 h 10000"/>
                <a:gd name="connsiteX2144" fmla="*/ 862 w 10354"/>
                <a:gd name="connsiteY2144" fmla="*/ 5171 h 10000"/>
                <a:gd name="connsiteX2145" fmla="*/ 857 w 10354"/>
                <a:gd name="connsiteY2145" fmla="*/ 5171 h 10000"/>
                <a:gd name="connsiteX2146" fmla="*/ 820 w 10354"/>
                <a:gd name="connsiteY2146" fmla="*/ 5145 h 10000"/>
                <a:gd name="connsiteX2147" fmla="*/ 820 w 10354"/>
                <a:gd name="connsiteY2147" fmla="*/ 5154 h 10000"/>
                <a:gd name="connsiteX2148" fmla="*/ 816 w 10354"/>
                <a:gd name="connsiteY2148" fmla="*/ 5171 h 10000"/>
                <a:gd name="connsiteX2149" fmla="*/ 783 w 10354"/>
                <a:gd name="connsiteY2149" fmla="*/ 5145 h 10000"/>
                <a:gd name="connsiteX2150" fmla="*/ 756 w 10354"/>
                <a:gd name="connsiteY2150" fmla="*/ 5103 h 10000"/>
                <a:gd name="connsiteX2151" fmla="*/ 742 w 10354"/>
                <a:gd name="connsiteY2151" fmla="*/ 5103 h 10000"/>
                <a:gd name="connsiteX2152" fmla="*/ 728 w 10354"/>
                <a:gd name="connsiteY2152" fmla="*/ 5094 h 10000"/>
                <a:gd name="connsiteX2153" fmla="*/ 710 w 10354"/>
                <a:gd name="connsiteY2153" fmla="*/ 5120 h 10000"/>
                <a:gd name="connsiteX2154" fmla="*/ 700 w 10354"/>
                <a:gd name="connsiteY2154" fmla="*/ 5145 h 10000"/>
                <a:gd name="connsiteX2155" fmla="*/ 696 w 10354"/>
                <a:gd name="connsiteY2155" fmla="*/ 5103 h 10000"/>
                <a:gd name="connsiteX2156" fmla="*/ 714 w 10354"/>
                <a:gd name="connsiteY2156" fmla="*/ 5077 h 10000"/>
                <a:gd name="connsiteX2157" fmla="*/ 682 w 10354"/>
                <a:gd name="connsiteY2157" fmla="*/ 5068 h 10000"/>
                <a:gd name="connsiteX2158" fmla="*/ 673 w 10354"/>
                <a:gd name="connsiteY2158" fmla="*/ 5034 h 10000"/>
                <a:gd name="connsiteX2159" fmla="*/ 636 w 10354"/>
                <a:gd name="connsiteY2159" fmla="*/ 4991 h 10000"/>
                <a:gd name="connsiteX2160" fmla="*/ 622 w 10354"/>
                <a:gd name="connsiteY2160" fmla="*/ 4983 h 10000"/>
                <a:gd name="connsiteX2161" fmla="*/ 622 w 10354"/>
                <a:gd name="connsiteY2161" fmla="*/ 5034 h 10000"/>
                <a:gd name="connsiteX2162" fmla="*/ 608 w 10354"/>
                <a:gd name="connsiteY2162" fmla="*/ 5051 h 10000"/>
                <a:gd name="connsiteX2163" fmla="*/ 594 w 10354"/>
                <a:gd name="connsiteY2163" fmla="*/ 5068 h 10000"/>
                <a:gd name="connsiteX2164" fmla="*/ 608 w 10354"/>
                <a:gd name="connsiteY2164" fmla="*/ 5120 h 10000"/>
                <a:gd name="connsiteX2165" fmla="*/ 613 w 10354"/>
                <a:gd name="connsiteY2165" fmla="*/ 5128 h 10000"/>
                <a:gd name="connsiteX2166" fmla="*/ 627 w 10354"/>
                <a:gd name="connsiteY2166" fmla="*/ 5179 h 10000"/>
                <a:gd name="connsiteX2167" fmla="*/ 650 w 10354"/>
                <a:gd name="connsiteY2167" fmla="*/ 5214 h 10000"/>
                <a:gd name="connsiteX2168" fmla="*/ 687 w 10354"/>
                <a:gd name="connsiteY2168" fmla="*/ 5188 h 10000"/>
                <a:gd name="connsiteX2169" fmla="*/ 700 w 10354"/>
                <a:gd name="connsiteY2169" fmla="*/ 5325 h 10000"/>
                <a:gd name="connsiteX2170" fmla="*/ 710 w 10354"/>
                <a:gd name="connsiteY2170" fmla="*/ 5350 h 10000"/>
                <a:gd name="connsiteX2171" fmla="*/ 687 w 10354"/>
                <a:gd name="connsiteY2171" fmla="*/ 5325 h 10000"/>
                <a:gd name="connsiteX2172" fmla="*/ 668 w 10354"/>
                <a:gd name="connsiteY2172" fmla="*/ 5350 h 10000"/>
                <a:gd name="connsiteX2173" fmla="*/ 668 w 10354"/>
                <a:gd name="connsiteY2173" fmla="*/ 5368 h 10000"/>
                <a:gd name="connsiteX2174" fmla="*/ 668 w 10354"/>
                <a:gd name="connsiteY2174" fmla="*/ 5376 h 10000"/>
                <a:gd name="connsiteX2175" fmla="*/ 581 w 10354"/>
                <a:gd name="connsiteY2175" fmla="*/ 5316 h 10000"/>
                <a:gd name="connsiteX2176" fmla="*/ 567 w 10354"/>
                <a:gd name="connsiteY2176" fmla="*/ 5265 h 10000"/>
                <a:gd name="connsiteX2177" fmla="*/ 562 w 10354"/>
                <a:gd name="connsiteY2177" fmla="*/ 5256 h 10000"/>
                <a:gd name="connsiteX2178" fmla="*/ 548 w 10354"/>
                <a:gd name="connsiteY2178" fmla="*/ 5231 h 10000"/>
                <a:gd name="connsiteX2179" fmla="*/ 535 w 10354"/>
                <a:gd name="connsiteY2179" fmla="*/ 5214 h 10000"/>
                <a:gd name="connsiteX2180" fmla="*/ 525 w 10354"/>
                <a:gd name="connsiteY2180" fmla="*/ 5231 h 10000"/>
                <a:gd name="connsiteX2181" fmla="*/ 521 w 10354"/>
                <a:gd name="connsiteY2181" fmla="*/ 5231 h 10000"/>
                <a:gd name="connsiteX2182" fmla="*/ 493 w 10354"/>
                <a:gd name="connsiteY2182" fmla="*/ 5205 h 10000"/>
                <a:gd name="connsiteX2183" fmla="*/ 488 w 10354"/>
                <a:gd name="connsiteY2183" fmla="*/ 5179 h 10000"/>
                <a:gd name="connsiteX2184" fmla="*/ 475 w 10354"/>
                <a:gd name="connsiteY2184" fmla="*/ 5188 h 10000"/>
                <a:gd name="connsiteX2185" fmla="*/ 475 w 10354"/>
                <a:gd name="connsiteY2185" fmla="*/ 5171 h 10000"/>
                <a:gd name="connsiteX2186" fmla="*/ 488 w 10354"/>
                <a:gd name="connsiteY2186" fmla="*/ 5154 h 10000"/>
                <a:gd name="connsiteX2187" fmla="*/ 488 w 10354"/>
                <a:gd name="connsiteY2187" fmla="*/ 5068 h 10000"/>
                <a:gd name="connsiteX2188" fmla="*/ 475 w 10354"/>
                <a:gd name="connsiteY2188" fmla="*/ 5051 h 10000"/>
                <a:gd name="connsiteX2189" fmla="*/ 475 w 10354"/>
                <a:gd name="connsiteY2189" fmla="*/ 5017 h 10000"/>
                <a:gd name="connsiteX2190" fmla="*/ 452 w 10354"/>
                <a:gd name="connsiteY2190" fmla="*/ 4932 h 10000"/>
                <a:gd name="connsiteX2191" fmla="*/ 461 w 10354"/>
                <a:gd name="connsiteY2191" fmla="*/ 4915 h 10000"/>
                <a:gd name="connsiteX2192" fmla="*/ 475 w 10354"/>
                <a:gd name="connsiteY2192" fmla="*/ 4906 h 10000"/>
                <a:gd name="connsiteX2193" fmla="*/ 479 w 10354"/>
                <a:gd name="connsiteY2193" fmla="*/ 4803 h 10000"/>
                <a:gd name="connsiteX2194" fmla="*/ 479 w 10354"/>
                <a:gd name="connsiteY2194" fmla="*/ 4778 h 10000"/>
                <a:gd name="connsiteX2195" fmla="*/ 475 w 10354"/>
                <a:gd name="connsiteY2195" fmla="*/ 4761 h 10000"/>
                <a:gd name="connsiteX2196" fmla="*/ 465 w 10354"/>
                <a:gd name="connsiteY2196" fmla="*/ 4718 h 10000"/>
                <a:gd name="connsiteX2197" fmla="*/ 461 w 10354"/>
                <a:gd name="connsiteY2197" fmla="*/ 4709 h 10000"/>
                <a:gd name="connsiteX2198" fmla="*/ 442 w 10354"/>
                <a:gd name="connsiteY2198" fmla="*/ 4692 h 10000"/>
                <a:gd name="connsiteX2199" fmla="*/ 433 w 10354"/>
                <a:gd name="connsiteY2199" fmla="*/ 4667 h 10000"/>
                <a:gd name="connsiteX2200" fmla="*/ 419 w 10354"/>
                <a:gd name="connsiteY2200" fmla="*/ 4667 h 10000"/>
                <a:gd name="connsiteX2201" fmla="*/ 401 w 10354"/>
                <a:gd name="connsiteY2201" fmla="*/ 4658 h 10000"/>
                <a:gd name="connsiteX2202" fmla="*/ 401 w 10354"/>
                <a:gd name="connsiteY2202" fmla="*/ 4624 h 10000"/>
                <a:gd name="connsiteX2203" fmla="*/ 401 w 10354"/>
                <a:gd name="connsiteY2203" fmla="*/ 4607 h 10000"/>
                <a:gd name="connsiteX2204" fmla="*/ 378 w 10354"/>
                <a:gd name="connsiteY2204" fmla="*/ 4607 h 10000"/>
                <a:gd name="connsiteX2205" fmla="*/ 341 w 10354"/>
                <a:gd name="connsiteY2205" fmla="*/ 4530 h 10000"/>
                <a:gd name="connsiteX2206" fmla="*/ 346 w 10354"/>
                <a:gd name="connsiteY2206" fmla="*/ 4521 h 10000"/>
                <a:gd name="connsiteX2207" fmla="*/ 332 w 10354"/>
                <a:gd name="connsiteY2207" fmla="*/ 4487 h 10000"/>
                <a:gd name="connsiteX2208" fmla="*/ 327 w 10354"/>
                <a:gd name="connsiteY2208" fmla="*/ 4462 h 10000"/>
                <a:gd name="connsiteX2209" fmla="*/ 313 w 10354"/>
                <a:gd name="connsiteY2209" fmla="*/ 4436 h 10000"/>
                <a:gd name="connsiteX2210" fmla="*/ 300 w 10354"/>
                <a:gd name="connsiteY2210" fmla="*/ 4419 h 10000"/>
                <a:gd name="connsiteX2211" fmla="*/ 309 w 10354"/>
                <a:gd name="connsiteY2211" fmla="*/ 4393 h 10000"/>
                <a:gd name="connsiteX2212" fmla="*/ 332 w 10354"/>
                <a:gd name="connsiteY2212" fmla="*/ 4385 h 10000"/>
                <a:gd name="connsiteX2213" fmla="*/ 355 w 10354"/>
                <a:gd name="connsiteY2213" fmla="*/ 4419 h 10000"/>
                <a:gd name="connsiteX2214" fmla="*/ 355 w 10354"/>
                <a:gd name="connsiteY2214" fmla="*/ 4444 h 10000"/>
                <a:gd name="connsiteX2215" fmla="*/ 369 w 10354"/>
                <a:gd name="connsiteY2215" fmla="*/ 4470 h 10000"/>
                <a:gd name="connsiteX2216" fmla="*/ 401 w 10354"/>
                <a:gd name="connsiteY2216" fmla="*/ 4521 h 10000"/>
                <a:gd name="connsiteX2217" fmla="*/ 406 w 10354"/>
                <a:gd name="connsiteY2217" fmla="*/ 4513 h 10000"/>
                <a:gd name="connsiteX2218" fmla="*/ 406 w 10354"/>
                <a:gd name="connsiteY2218" fmla="*/ 4496 h 10000"/>
                <a:gd name="connsiteX2219" fmla="*/ 419 w 10354"/>
                <a:gd name="connsiteY2219" fmla="*/ 4521 h 10000"/>
                <a:gd name="connsiteX2220" fmla="*/ 429 w 10354"/>
                <a:gd name="connsiteY2220" fmla="*/ 4530 h 10000"/>
                <a:gd name="connsiteX2221" fmla="*/ 433 w 10354"/>
                <a:gd name="connsiteY2221" fmla="*/ 4521 h 10000"/>
                <a:gd name="connsiteX2222" fmla="*/ 442 w 10354"/>
                <a:gd name="connsiteY2222" fmla="*/ 4530 h 10000"/>
                <a:gd name="connsiteX2223" fmla="*/ 447 w 10354"/>
                <a:gd name="connsiteY2223" fmla="*/ 4521 h 10000"/>
                <a:gd name="connsiteX2224" fmla="*/ 452 w 10354"/>
                <a:gd name="connsiteY2224" fmla="*/ 4521 h 10000"/>
                <a:gd name="connsiteX2225" fmla="*/ 461 w 10354"/>
                <a:gd name="connsiteY2225" fmla="*/ 4573 h 10000"/>
                <a:gd name="connsiteX2226" fmla="*/ 479 w 10354"/>
                <a:gd name="connsiteY2226" fmla="*/ 4556 h 10000"/>
                <a:gd name="connsiteX2227" fmla="*/ 502 w 10354"/>
                <a:gd name="connsiteY2227" fmla="*/ 4573 h 10000"/>
                <a:gd name="connsiteX2228" fmla="*/ 507 w 10354"/>
                <a:gd name="connsiteY2228" fmla="*/ 4598 h 10000"/>
                <a:gd name="connsiteX2229" fmla="*/ 525 w 10354"/>
                <a:gd name="connsiteY2229" fmla="*/ 4598 h 10000"/>
                <a:gd name="connsiteX2230" fmla="*/ 535 w 10354"/>
                <a:gd name="connsiteY2230" fmla="*/ 4624 h 10000"/>
                <a:gd name="connsiteX2231" fmla="*/ 594 w 10354"/>
                <a:gd name="connsiteY2231" fmla="*/ 4658 h 10000"/>
                <a:gd name="connsiteX2232" fmla="*/ 627 w 10354"/>
                <a:gd name="connsiteY2232" fmla="*/ 4658 h 10000"/>
                <a:gd name="connsiteX2233" fmla="*/ 654 w 10354"/>
                <a:gd name="connsiteY2233" fmla="*/ 4684 h 10000"/>
                <a:gd name="connsiteX2234" fmla="*/ 668 w 10354"/>
                <a:gd name="connsiteY2234" fmla="*/ 4709 h 10000"/>
                <a:gd name="connsiteX2235" fmla="*/ 747 w 10354"/>
                <a:gd name="connsiteY2235" fmla="*/ 4718 h 10000"/>
                <a:gd name="connsiteX2236" fmla="*/ 760 w 10354"/>
                <a:gd name="connsiteY2236" fmla="*/ 4709 h 10000"/>
                <a:gd name="connsiteX2237" fmla="*/ 774 w 10354"/>
                <a:gd name="connsiteY2237" fmla="*/ 4692 h 10000"/>
                <a:gd name="connsiteX2238" fmla="*/ 829 w 10354"/>
                <a:gd name="connsiteY2238" fmla="*/ 4658 h 10000"/>
                <a:gd name="connsiteX2239" fmla="*/ 903 w 10354"/>
                <a:gd name="connsiteY2239" fmla="*/ 4496 h 10000"/>
                <a:gd name="connsiteX2240" fmla="*/ 917 w 10354"/>
                <a:gd name="connsiteY2240" fmla="*/ 4385 h 10000"/>
                <a:gd name="connsiteX2241" fmla="*/ 903 w 10354"/>
                <a:gd name="connsiteY2241" fmla="*/ 4376 h 10000"/>
                <a:gd name="connsiteX2242" fmla="*/ 903 w 10354"/>
                <a:gd name="connsiteY2242" fmla="*/ 4376 h 10000"/>
                <a:gd name="connsiteX2243" fmla="*/ 889 w 10354"/>
                <a:gd name="connsiteY2243" fmla="*/ 4239 h 10000"/>
                <a:gd name="connsiteX2244" fmla="*/ 880 w 10354"/>
                <a:gd name="connsiteY2244" fmla="*/ 4214 h 10000"/>
                <a:gd name="connsiteX2245" fmla="*/ 862 w 10354"/>
                <a:gd name="connsiteY2245" fmla="*/ 4188 h 10000"/>
                <a:gd name="connsiteX2246" fmla="*/ 857 w 10354"/>
                <a:gd name="connsiteY2246" fmla="*/ 4197 h 10000"/>
                <a:gd name="connsiteX2247" fmla="*/ 848 w 10354"/>
                <a:gd name="connsiteY2247" fmla="*/ 4188 h 10000"/>
                <a:gd name="connsiteX2248" fmla="*/ 848 w 10354"/>
                <a:gd name="connsiteY2248" fmla="*/ 4162 h 10000"/>
                <a:gd name="connsiteX2249" fmla="*/ 829 w 10354"/>
                <a:gd name="connsiteY2249" fmla="*/ 4120 h 10000"/>
                <a:gd name="connsiteX2250" fmla="*/ 820 w 10354"/>
                <a:gd name="connsiteY2250" fmla="*/ 4103 h 10000"/>
                <a:gd name="connsiteX2251" fmla="*/ 806 w 10354"/>
                <a:gd name="connsiteY2251" fmla="*/ 4077 h 10000"/>
                <a:gd name="connsiteX2252" fmla="*/ 816 w 10354"/>
                <a:gd name="connsiteY2252" fmla="*/ 4111 h 10000"/>
                <a:gd name="connsiteX2253" fmla="*/ 802 w 10354"/>
                <a:gd name="connsiteY2253" fmla="*/ 4111 h 10000"/>
                <a:gd name="connsiteX2254" fmla="*/ 770 w 10354"/>
                <a:gd name="connsiteY2254" fmla="*/ 4060 h 10000"/>
                <a:gd name="connsiteX2255" fmla="*/ 760 w 10354"/>
                <a:gd name="connsiteY2255" fmla="*/ 4077 h 10000"/>
                <a:gd name="connsiteX2256" fmla="*/ 760 w 10354"/>
                <a:gd name="connsiteY2256" fmla="*/ 4060 h 10000"/>
                <a:gd name="connsiteX2257" fmla="*/ 756 w 10354"/>
                <a:gd name="connsiteY2257" fmla="*/ 4034 h 10000"/>
                <a:gd name="connsiteX2258" fmla="*/ 742 w 10354"/>
                <a:gd name="connsiteY2258" fmla="*/ 4000 h 10000"/>
                <a:gd name="connsiteX2259" fmla="*/ 747 w 10354"/>
                <a:gd name="connsiteY2259" fmla="*/ 4034 h 10000"/>
                <a:gd name="connsiteX2260" fmla="*/ 724 w 10354"/>
                <a:gd name="connsiteY2260" fmla="*/ 4026 h 10000"/>
                <a:gd name="connsiteX2261" fmla="*/ 714 w 10354"/>
                <a:gd name="connsiteY2261" fmla="*/ 4000 h 10000"/>
                <a:gd name="connsiteX2262" fmla="*/ 714 w 10354"/>
                <a:gd name="connsiteY2262" fmla="*/ 3983 h 10000"/>
                <a:gd name="connsiteX2263" fmla="*/ 553 w 10354"/>
                <a:gd name="connsiteY2263" fmla="*/ 3726 h 10000"/>
                <a:gd name="connsiteX2264" fmla="*/ 507 w 10354"/>
                <a:gd name="connsiteY2264" fmla="*/ 3718 h 10000"/>
                <a:gd name="connsiteX2265" fmla="*/ 516 w 10354"/>
                <a:gd name="connsiteY2265" fmla="*/ 3726 h 10000"/>
                <a:gd name="connsiteX2266" fmla="*/ 507 w 10354"/>
                <a:gd name="connsiteY2266" fmla="*/ 3735 h 10000"/>
                <a:gd name="connsiteX2267" fmla="*/ 502 w 10354"/>
                <a:gd name="connsiteY2267" fmla="*/ 3735 h 10000"/>
                <a:gd name="connsiteX2268" fmla="*/ 419 w 10354"/>
                <a:gd name="connsiteY2268" fmla="*/ 3675 h 10000"/>
                <a:gd name="connsiteX2269" fmla="*/ 419 w 10354"/>
                <a:gd name="connsiteY2269" fmla="*/ 3692 h 10000"/>
                <a:gd name="connsiteX2270" fmla="*/ 401 w 10354"/>
                <a:gd name="connsiteY2270" fmla="*/ 3701 h 10000"/>
                <a:gd name="connsiteX2271" fmla="*/ 387 w 10354"/>
                <a:gd name="connsiteY2271" fmla="*/ 3718 h 10000"/>
                <a:gd name="connsiteX2272" fmla="*/ 387 w 10354"/>
                <a:gd name="connsiteY2272" fmla="*/ 3692 h 10000"/>
                <a:gd name="connsiteX2273" fmla="*/ 378 w 10354"/>
                <a:gd name="connsiteY2273" fmla="*/ 3675 h 10000"/>
                <a:gd name="connsiteX2274" fmla="*/ 378 w 10354"/>
                <a:gd name="connsiteY2274" fmla="*/ 3650 h 10000"/>
                <a:gd name="connsiteX2275" fmla="*/ 378 w 10354"/>
                <a:gd name="connsiteY2275" fmla="*/ 3650 h 10000"/>
                <a:gd name="connsiteX2276" fmla="*/ 355 w 10354"/>
                <a:gd name="connsiteY2276" fmla="*/ 3675 h 10000"/>
                <a:gd name="connsiteX2277" fmla="*/ 359 w 10354"/>
                <a:gd name="connsiteY2277" fmla="*/ 3641 h 10000"/>
                <a:gd name="connsiteX2278" fmla="*/ 346 w 10354"/>
                <a:gd name="connsiteY2278" fmla="*/ 3650 h 10000"/>
                <a:gd name="connsiteX2279" fmla="*/ 355 w 10354"/>
                <a:gd name="connsiteY2279" fmla="*/ 3624 h 10000"/>
                <a:gd name="connsiteX2280" fmla="*/ 346 w 10354"/>
                <a:gd name="connsiteY2280" fmla="*/ 3624 h 10000"/>
                <a:gd name="connsiteX2281" fmla="*/ 341 w 10354"/>
                <a:gd name="connsiteY2281" fmla="*/ 3624 h 10000"/>
                <a:gd name="connsiteX2282" fmla="*/ 318 w 10354"/>
                <a:gd name="connsiteY2282" fmla="*/ 3641 h 10000"/>
                <a:gd name="connsiteX2283" fmla="*/ 327 w 10354"/>
                <a:gd name="connsiteY2283" fmla="*/ 3624 h 10000"/>
                <a:gd name="connsiteX2284" fmla="*/ 318 w 10354"/>
                <a:gd name="connsiteY2284" fmla="*/ 3615 h 10000"/>
                <a:gd name="connsiteX2285" fmla="*/ 318 w 10354"/>
                <a:gd name="connsiteY2285" fmla="*/ 3598 h 10000"/>
                <a:gd name="connsiteX2286" fmla="*/ 300 w 10354"/>
                <a:gd name="connsiteY2286" fmla="*/ 3598 h 10000"/>
                <a:gd name="connsiteX2287" fmla="*/ 309 w 10354"/>
                <a:gd name="connsiteY2287" fmla="*/ 3538 h 10000"/>
                <a:gd name="connsiteX2288" fmla="*/ 313 w 10354"/>
                <a:gd name="connsiteY2288" fmla="*/ 3564 h 10000"/>
                <a:gd name="connsiteX2289" fmla="*/ 318 w 10354"/>
                <a:gd name="connsiteY2289" fmla="*/ 3581 h 10000"/>
                <a:gd name="connsiteX2290" fmla="*/ 327 w 10354"/>
                <a:gd name="connsiteY2290" fmla="*/ 3564 h 10000"/>
                <a:gd name="connsiteX2291" fmla="*/ 332 w 10354"/>
                <a:gd name="connsiteY2291" fmla="*/ 3590 h 10000"/>
                <a:gd name="connsiteX2292" fmla="*/ 346 w 10354"/>
                <a:gd name="connsiteY2292" fmla="*/ 3590 h 10000"/>
                <a:gd name="connsiteX2293" fmla="*/ 355 w 10354"/>
                <a:gd name="connsiteY2293" fmla="*/ 3590 h 10000"/>
                <a:gd name="connsiteX2294" fmla="*/ 369 w 10354"/>
                <a:gd name="connsiteY2294" fmla="*/ 3556 h 10000"/>
                <a:gd name="connsiteX2295" fmla="*/ 369 w 10354"/>
                <a:gd name="connsiteY2295" fmla="*/ 3538 h 10000"/>
                <a:gd name="connsiteX2296" fmla="*/ 346 w 10354"/>
                <a:gd name="connsiteY2296" fmla="*/ 3513 h 10000"/>
                <a:gd name="connsiteX2297" fmla="*/ 341 w 10354"/>
                <a:gd name="connsiteY2297" fmla="*/ 3530 h 10000"/>
                <a:gd name="connsiteX2298" fmla="*/ 327 w 10354"/>
                <a:gd name="connsiteY2298" fmla="*/ 3513 h 10000"/>
                <a:gd name="connsiteX2299" fmla="*/ 327 w 10354"/>
                <a:gd name="connsiteY2299" fmla="*/ 3504 h 10000"/>
                <a:gd name="connsiteX2300" fmla="*/ 295 w 10354"/>
                <a:gd name="connsiteY2300" fmla="*/ 3462 h 10000"/>
                <a:gd name="connsiteX2301" fmla="*/ 300 w 10354"/>
                <a:gd name="connsiteY2301" fmla="*/ 3479 h 10000"/>
                <a:gd name="connsiteX2302" fmla="*/ 295 w 10354"/>
                <a:gd name="connsiteY2302" fmla="*/ 3513 h 10000"/>
                <a:gd name="connsiteX2303" fmla="*/ 286 w 10354"/>
                <a:gd name="connsiteY2303" fmla="*/ 3513 h 10000"/>
                <a:gd name="connsiteX2304" fmla="*/ 281 w 10354"/>
                <a:gd name="connsiteY2304" fmla="*/ 3513 h 10000"/>
                <a:gd name="connsiteX2305" fmla="*/ 281 w 10354"/>
                <a:gd name="connsiteY2305" fmla="*/ 3530 h 10000"/>
                <a:gd name="connsiteX2306" fmla="*/ 281 w 10354"/>
                <a:gd name="connsiteY2306" fmla="*/ 3556 h 10000"/>
                <a:gd name="connsiteX2307" fmla="*/ 272 w 10354"/>
                <a:gd name="connsiteY2307" fmla="*/ 3564 h 10000"/>
                <a:gd name="connsiteX2308" fmla="*/ 267 w 10354"/>
                <a:gd name="connsiteY2308" fmla="*/ 3564 h 10000"/>
                <a:gd name="connsiteX2309" fmla="*/ 253 w 10354"/>
                <a:gd name="connsiteY2309" fmla="*/ 3538 h 10000"/>
                <a:gd name="connsiteX2310" fmla="*/ 226 w 10354"/>
                <a:gd name="connsiteY2310" fmla="*/ 3513 h 10000"/>
                <a:gd name="connsiteX2311" fmla="*/ 226 w 10354"/>
                <a:gd name="connsiteY2311" fmla="*/ 3530 h 10000"/>
                <a:gd name="connsiteX2312" fmla="*/ 226 w 10354"/>
                <a:gd name="connsiteY2312" fmla="*/ 3530 h 10000"/>
                <a:gd name="connsiteX2313" fmla="*/ 226 w 10354"/>
                <a:gd name="connsiteY2313" fmla="*/ 3530 h 10000"/>
                <a:gd name="connsiteX2314" fmla="*/ 226 w 10354"/>
                <a:gd name="connsiteY2314" fmla="*/ 3556 h 10000"/>
                <a:gd name="connsiteX2315" fmla="*/ 221 w 10354"/>
                <a:gd name="connsiteY2315" fmla="*/ 3598 h 10000"/>
                <a:gd name="connsiteX2316" fmla="*/ 207 w 10354"/>
                <a:gd name="connsiteY2316" fmla="*/ 3598 h 10000"/>
                <a:gd name="connsiteX2317" fmla="*/ 180 w 10354"/>
                <a:gd name="connsiteY2317" fmla="*/ 3581 h 10000"/>
                <a:gd name="connsiteX2318" fmla="*/ 171 w 10354"/>
                <a:gd name="connsiteY2318" fmla="*/ 3641 h 10000"/>
                <a:gd name="connsiteX2319" fmla="*/ 166 w 10354"/>
                <a:gd name="connsiteY2319" fmla="*/ 3650 h 10000"/>
                <a:gd name="connsiteX2320" fmla="*/ 124 w 10354"/>
                <a:gd name="connsiteY2320" fmla="*/ 3701 h 10000"/>
                <a:gd name="connsiteX2321" fmla="*/ 124 w 10354"/>
                <a:gd name="connsiteY2321" fmla="*/ 3718 h 10000"/>
                <a:gd name="connsiteX2322" fmla="*/ 120 w 10354"/>
                <a:gd name="connsiteY2322" fmla="*/ 3735 h 10000"/>
                <a:gd name="connsiteX2323" fmla="*/ 120 w 10354"/>
                <a:gd name="connsiteY2323" fmla="*/ 3735 h 10000"/>
                <a:gd name="connsiteX2324" fmla="*/ 111 w 10354"/>
                <a:gd name="connsiteY2324" fmla="*/ 3761 h 10000"/>
                <a:gd name="connsiteX2325" fmla="*/ 106 w 10354"/>
                <a:gd name="connsiteY2325" fmla="*/ 3761 h 10000"/>
                <a:gd name="connsiteX2326" fmla="*/ 106 w 10354"/>
                <a:gd name="connsiteY2326" fmla="*/ 3761 h 10000"/>
                <a:gd name="connsiteX2327" fmla="*/ 74 w 10354"/>
                <a:gd name="connsiteY2327" fmla="*/ 3829 h 10000"/>
                <a:gd name="connsiteX2328" fmla="*/ 78 w 10354"/>
                <a:gd name="connsiteY2328" fmla="*/ 3838 h 10000"/>
                <a:gd name="connsiteX2329" fmla="*/ 88 w 10354"/>
                <a:gd name="connsiteY2329" fmla="*/ 3846 h 10000"/>
                <a:gd name="connsiteX2330" fmla="*/ 65 w 10354"/>
                <a:gd name="connsiteY2330" fmla="*/ 3923 h 10000"/>
                <a:gd name="connsiteX2331" fmla="*/ 78 w 10354"/>
                <a:gd name="connsiteY2331" fmla="*/ 4026 h 10000"/>
                <a:gd name="connsiteX2332" fmla="*/ 88 w 10354"/>
                <a:gd name="connsiteY2332" fmla="*/ 4051 h 10000"/>
                <a:gd name="connsiteX2333" fmla="*/ 92 w 10354"/>
                <a:gd name="connsiteY2333" fmla="*/ 4060 h 10000"/>
                <a:gd name="connsiteX2334" fmla="*/ 111 w 10354"/>
                <a:gd name="connsiteY2334" fmla="*/ 4060 h 10000"/>
                <a:gd name="connsiteX2335" fmla="*/ 124 w 10354"/>
                <a:gd name="connsiteY2335" fmla="*/ 4085 h 10000"/>
                <a:gd name="connsiteX2336" fmla="*/ 166 w 10354"/>
                <a:gd name="connsiteY2336" fmla="*/ 4197 h 10000"/>
                <a:gd name="connsiteX2337" fmla="*/ 166 w 10354"/>
                <a:gd name="connsiteY2337" fmla="*/ 4248 h 10000"/>
                <a:gd name="connsiteX2338" fmla="*/ 120 w 10354"/>
                <a:gd name="connsiteY2338" fmla="*/ 4462 h 10000"/>
                <a:gd name="connsiteX2339" fmla="*/ 120 w 10354"/>
                <a:gd name="connsiteY2339" fmla="*/ 4513 h 10000"/>
                <a:gd name="connsiteX2340" fmla="*/ 180 w 10354"/>
                <a:gd name="connsiteY2340" fmla="*/ 4829 h 10000"/>
                <a:gd name="connsiteX2341" fmla="*/ 161 w 10354"/>
                <a:gd name="connsiteY2341" fmla="*/ 4855 h 10000"/>
                <a:gd name="connsiteX2342" fmla="*/ 152 w 10354"/>
                <a:gd name="connsiteY2342" fmla="*/ 4940 h 10000"/>
                <a:gd name="connsiteX2343" fmla="*/ 161 w 10354"/>
                <a:gd name="connsiteY2343" fmla="*/ 4966 h 10000"/>
                <a:gd name="connsiteX2344" fmla="*/ 161 w 10354"/>
                <a:gd name="connsiteY2344" fmla="*/ 5009 h 10000"/>
                <a:gd name="connsiteX2345" fmla="*/ 152 w 10354"/>
                <a:gd name="connsiteY2345" fmla="*/ 5034 h 10000"/>
                <a:gd name="connsiteX2346" fmla="*/ 152 w 10354"/>
                <a:gd name="connsiteY2346" fmla="*/ 5077 h 10000"/>
                <a:gd name="connsiteX2347" fmla="*/ 171 w 10354"/>
                <a:gd name="connsiteY2347" fmla="*/ 5094 h 10000"/>
                <a:gd name="connsiteX2348" fmla="*/ 180 w 10354"/>
                <a:gd name="connsiteY2348" fmla="*/ 5128 h 10000"/>
                <a:gd name="connsiteX2349" fmla="*/ 180 w 10354"/>
                <a:gd name="connsiteY2349" fmla="*/ 5171 h 10000"/>
                <a:gd name="connsiteX2350" fmla="*/ 184 w 10354"/>
                <a:gd name="connsiteY2350" fmla="*/ 5205 h 10000"/>
                <a:gd name="connsiteX2351" fmla="*/ 207 w 10354"/>
                <a:gd name="connsiteY2351" fmla="*/ 5239 h 10000"/>
                <a:gd name="connsiteX2352" fmla="*/ 207 w 10354"/>
                <a:gd name="connsiteY2352" fmla="*/ 5282 h 10000"/>
                <a:gd name="connsiteX2353" fmla="*/ 180 w 10354"/>
                <a:gd name="connsiteY2353" fmla="*/ 5393 h 10000"/>
                <a:gd name="connsiteX2354" fmla="*/ 194 w 10354"/>
                <a:gd name="connsiteY2354" fmla="*/ 5427 h 10000"/>
                <a:gd name="connsiteX2355" fmla="*/ 198 w 10354"/>
                <a:gd name="connsiteY2355" fmla="*/ 5462 h 10000"/>
                <a:gd name="connsiteX2356" fmla="*/ 235 w 10354"/>
                <a:gd name="connsiteY2356" fmla="*/ 5513 h 10000"/>
                <a:gd name="connsiteX2357" fmla="*/ 240 w 10354"/>
                <a:gd name="connsiteY2357" fmla="*/ 5556 h 10000"/>
                <a:gd name="connsiteX2358" fmla="*/ 253 w 10354"/>
                <a:gd name="connsiteY2358" fmla="*/ 5590 h 10000"/>
                <a:gd name="connsiteX2359" fmla="*/ 258 w 10354"/>
                <a:gd name="connsiteY2359" fmla="*/ 5573 h 10000"/>
                <a:gd name="connsiteX2360" fmla="*/ 258 w 10354"/>
                <a:gd name="connsiteY2360" fmla="*/ 5667 h 10000"/>
                <a:gd name="connsiteX2361" fmla="*/ 14 w 10354"/>
                <a:gd name="connsiteY2361" fmla="*/ 6214 h 10000"/>
                <a:gd name="connsiteX2362" fmla="*/ 14 w 10354"/>
                <a:gd name="connsiteY2362" fmla="*/ 6214 h 10000"/>
                <a:gd name="connsiteX2363" fmla="*/ 37 w 10354"/>
                <a:gd name="connsiteY2363" fmla="*/ 6214 h 10000"/>
                <a:gd name="connsiteX2364" fmla="*/ 51 w 10354"/>
                <a:gd name="connsiteY2364" fmla="*/ 6188 h 10000"/>
                <a:gd name="connsiteX2365" fmla="*/ 78 w 10354"/>
                <a:gd name="connsiteY2365" fmla="*/ 6162 h 10000"/>
                <a:gd name="connsiteX2366" fmla="*/ 78 w 10354"/>
                <a:gd name="connsiteY2366" fmla="*/ 6188 h 10000"/>
                <a:gd name="connsiteX2367" fmla="*/ 74 w 10354"/>
                <a:gd name="connsiteY2367" fmla="*/ 6197 h 10000"/>
                <a:gd name="connsiteX2368" fmla="*/ 74 w 10354"/>
                <a:gd name="connsiteY2368" fmla="*/ 6231 h 10000"/>
                <a:gd name="connsiteX2369" fmla="*/ 74 w 10354"/>
                <a:gd name="connsiteY2369" fmla="*/ 6214 h 10000"/>
                <a:gd name="connsiteX2370" fmla="*/ 65 w 10354"/>
                <a:gd name="connsiteY2370" fmla="*/ 6214 h 10000"/>
                <a:gd name="connsiteX2371" fmla="*/ 65 w 10354"/>
                <a:gd name="connsiteY2371" fmla="*/ 6248 h 10000"/>
                <a:gd name="connsiteX2372" fmla="*/ 74 w 10354"/>
                <a:gd name="connsiteY2372" fmla="*/ 6256 h 10000"/>
                <a:gd name="connsiteX2373" fmla="*/ 78 w 10354"/>
                <a:gd name="connsiteY2373" fmla="*/ 6256 h 10000"/>
                <a:gd name="connsiteX2374" fmla="*/ 106 w 10354"/>
                <a:gd name="connsiteY2374" fmla="*/ 6308 h 10000"/>
                <a:gd name="connsiteX2375" fmla="*/ 138 w 10354"/>
                <a:gd name="connsiteY2375" fmla="*/ 6299 h 10000"/>
                <a:gd name="connsiteX2376" fmla="*/ 152 w 10354"/>
                <a:gd name="connsiteY2376" fmla="*/ 6299 h 10000"/>
                <a:gd name="connsiteX2377" fmla="*/ 166 w 10354"/>
                <a:gd name="connsiteY2377" fmla="*/ 6325 h 10000"/>
                <a:gd name="connsiteX2378" fmla="*/ 166 w 10354"/>
                <a:gd name="connsiteY2378" fmla="*/ 6333 h 10000"/>
                <a:gd name="connsiteX2379" fmla="*/ 171 w 10354"/>
                <a:gd name="connsiteY2379" fmla="*/ 6350 h 10000"/>
                <a:gd name="connsiteX2380" fmla="*/ 180 w 10354"/>
                <a:gd name="connsiteY2380" fmla="*/ 6350 h 10000"/>
                <a:gd name="connsiteX2381" fmla="*/ 180 w 10354"/>
                <a:gd name="connsiteY2381" fmla="*/ 6359 h 10000"/>
                <a:gd name="connsiteX2382" fmla="*/ 171 w 10354"/>
                <a:gd name="connsiteY2382" fmla="*/ 6368 h 10000"/>
                <a:gd name="connsiteX2383" fmla="*/ 106 w 10354"/>
                <a:gd name="connsiteY2383" fmla="*/ 6350 h 10000"/>
                <a:gd name="connsiteX2384" fmla="*/ 101 w 10354"/>
                <a:gd name="connsiteY2384" fmla="*/ 6359 h 10000"/>
                <a:gd name="connsiteX2385" fmla="*/ 101 w 10354"/>
                <a:gd name="connsiteY2385" fmla="*/ 6385 h 10000"/>
                <a:gd name="connsiteX2386" fmla="*/ 78 w 10354"/>
                <a:gd name="connsiteY2386" fmla="*/ 6393 h 10000"/>
                <a:gd name="connsiteX2387" fmla="*/ 74 w 10354"/>
                <a:gd name="connsiteY2387" fmla="*/ 6385 h 10000"/>
                <a:gd name="connsiteX2388" fmla="*/ 65 w 10354"/>
                <a:gd name="connsiteY2388" fmla="*/ 6393 h 10000"/>
                <a:gd name="connsiteX2389" fmla="*/ 60 w 10354"/>
                <a:gd name="connsiteY2389" fmla="*/ 6419 h 10000"/>
                <a:gd name="connsiteX2390" fmla="*/ 51 w 10354"/>
                <a:gd name="connsiteY2390" fmla="*/ 6419 h 10000"/>
                <a:gd name="connsiteX2391" fmla="*/ 46 w 10354"/>
                <a:gd name="connsiteY2391" fmla="*/ 6410 h 10000"/>
                <a:gd name="connsiteX2392" fmla="*/ 37 w 10354"/>
                <a:gd name="connsiteY2392" fmla="*/ 6393 h 10000"/>
                <a:gd name="connsiteX2393" fmla="*/ 32 w 10354"/>
                <a:gd name="connsiteY2393" fmla="*/ 6419 h 10000"/>
                <a:gd name="connsiteX2394" fmla="*/ 37 w 10354"/>
                <a:gd name="connsiteY2394" fmla="*/ 6462 h 10000"/>
                <a:gd name="connsiteX2395" fmla="*/ 46 w 10354"/>
                <a:gd name="connsiteY2395" fmla="*/ 6462 h 10000"/>
                <a:gd name="connsiteX2396" fmla="*/ 51 w 10354"/>
                <a:gd name="connsiteY2396" fmla="*/ 6470 h 10000"/>
                <a:gd name="connsiteX2397" fmla="*/ 51 w 10354"/>
                <a:gd name="connsiteY2397" fmla="*/ 6496 h 10000"/>
                <a:gd name="connsiteX2398" fmla="*/ 51 w 10354"/>
                <a:gd name="connsiteY2398" fmla="*/ 6504 h 10000"/>
                <a:gd name="connsiteX2399" fmla="*/ 37 w 10354"/>
                <a:gd name="connsiteY2399" fmla="*/ 6530 h 10000"/>
                <a:gd name="connsiteX2400" fmla="*/ 18 w 10354"/>
                <a:gd name="connsiteY2400" fmla="*/ 6598 h 10000"/>
                <a:gd name="connsiteX2401" fmla="*/ 28 w 10354"/>
                <a:gd name="connsiteY2401" fmla="*/ 6632 h 10000"/>
                <a:gd name="connsiteX2402" fmla="*/ 18 w 10354"/>
                <a:gd name="connsiteY2402" fmla="*/ 6667 h 10000"/>
                <a:gd name="connsiteX2403" fmla="*/ 28 w 10354"/>
                <a:gd name="connsiteY2403" fmla="*/ 6692 h 10000"/>
                <a:gd name="connsiteX2404" fmla="*/ 28 w 10354"/>
                <a:gd name="connsiteY2404" fmla="*/ 6709 h 10000"/>
                <a:gd name="connsiteX2405" fmla="*/ 18 w 10354"/>
                <a:gd name="connsiteY2405" fmla="*/ 6718 h 10000"/>
                <a:gd name="connsiteX2406" fmla="*/ 5 w 10354"/>
                <a:gd name="connsiteY2406" fmla="*/ 6744 h 10000"/>
                <a:gd name="connsiteX2407" fmla="*/ 0 w 10354"/>
                <a:gd name="connsiteY2407" fmla="*/ 6769 h 10000"/>
                <a:gd name="connsiteX2408" fmla="*/ 5 w 10354"/>
                <a:gd name="connsiteY2408" fmla="*/ 6778 h 10000"/>
                <a:gd name="connsiteX2409" fmla="*/ 32 w 10354"/>
                <a:gd name="connsiteY2409" fmla="*/ 6778 h 10000"/>
                <a:gd name="connsiteX2410" fmla="*/ 46 w 10354"/>
                <a:gd name="connsiteY2410" fmla="*/ 6821 h 10000"/>
                <a:gd name="connsiteX2411" fmla="*/ 46 w 10354"/>
                <a:gd name="connsiteY2411" fmla="*/ 6855 h 10000"/>
                <a:gd name="connsiteX2412" fmla="*/ 32 w 10354"/>
                <a:gd name="connsiteY2412" fmla="*/ 6855 h 10000"/>
                <a:gd name="connsiteX2413" fmla="*/ 14 w 10354"/>
                <a:gd name="connsiteY2413" fmla="*/ 6821 h 10000"/>
                <a:gd name="connsiteX2414" fmla="*/ 14 w 10354"/>
                <a:gd name="connsiteY2414" fmla="*/ 6846 h 10000"/>
                <a:gd name="connsiteX2415" fmla="*/ 0 w 10354"/>
                <a:gd name="connsiteY2415" fmla="*/ 6897 h 10000"/>
                <a:gd name="connsiteX2416" fmla="*/ 0 w 10354"/>
                <a:gd name="connsiteY2416" fmla="*/ 6915 h 10000"/>
                <a:gd name="connsiteX2417" fmla="*/ 5 w 10354"/>
                <a:gd name="connsiteY2417" fmla="*/ 6932 h 10000"/>
                <a:gd name="connsiteX2418" fmla="*/ 14 w 10354"/>
                <a:gd name="connsiteY2418" fmla="*/ 6940 h 10000"/>
                <a:gd name="connsiteX2419" fmla="*/ 18 w 10354"/>
                <a:gd name="connsiteY2419" fmla="*/ 6957 h 10000"/>
                <a:gd name="connsiteX2420" fmla="*/ 28 w 10354"/>
                <a:gd name="connsiteY2420" fmla="*/ 6966 h 10000"/>
                <a:gd name="connsiteX2421" fmla="*/ 28 w 10354"/>
                <a:gd name="connsiteY2421" fmla="*/ 6983 h 10000"/>
                <a:gd name="connsiteX2422" fmla="*/ 18 w 10354"/>
                <a:gd name="connsiteY2422" fmla="*/ 7051 h 10000"/>
                <a:gd name="connsiteX2423" fmla="*/ 28 w 10354"/>
                <a:gd name="connsiteY2423" fmla="*/ 7068 h 10000"/>
                <a:gd name="connsiteX2424" fmla="*/ 32 w 10354"/>
                <a:gd name="connsiteY2424" fmla="*/ 7068 h 10000"/>
                <a:gd name="connsiteX2425" fmla="*/ 32 w 10354"/>
                <a:gd name="connsiteY2425" fmla="*/ 7094 h 10000"/>
                <a:gd name="connsiteX2426" fmla="*/ 60 w 10354"/>
                <a:gd name="connsiteY2426" fmla="*/ 7162 h 10000"/>
                <a:gd name="connsiteX2427" fmla="*/ 60 w 10354"/>
                <a:gd name="connsiteY2427" fmla="*/ 7231 h 10000"/>
                <a:gd name="connsiteX2428" fmla="*/ 60 w 10354"/>
                <a:gd name="connsiteY2428" fmla="*/ 7239 h 10000"/>
                <a:gd name="connsiteX2429" fmla="*/ 78 w 10354"/>
                <a:gd name="connsiteY2429" fmla="*/ 7239 h 10000"/>
                <a:gd name="connsiteX2430" fmla="*/ 88 w 10354"/>
                <a:gd name="connsiteY2430" fmla="*/ 7239 h 10000"/>
                <a:gd name="connsiteX2431" fmla="*/ 92 w 10354"/>
                <a:gd name="connsiteY2431" fmla="*/ 7256 h 10000"/>
                <a:gd name="connsiteX2432" fmla="*/ 111 w 10354"/>
                <a:gd name="connsiteY2432" fmla="*/ 7256 h 10000"/>
                <a:gd name="connsiteX2433" fmla="*/ 120 w 10354"/>
                <a:gd name="connsiteY2433" fmla="*/ 7256 h 10000"/>
                <a:gd name="connsiteX2434" fmla="*/ 134 w 10354"/>
                <a:gd name="connsiteY2434" fmla="*/ 7282 h 10000"/>
                <a:gd name="connsiteX2435" fmla="*/ 134 w 10354"/>
                <a:gd name="connsiteY2435" fmla="*/ 7316 h 10000"/>
                <a:gd name="connsiteX2436" fmla="*/ 152 w 10354"/>
                <a:gd name="connsiteY2436" fmla="*/ 7299 h 10000"/>
                <a:gd name="connsiteX2437" fmla="*/ 161 w 10354"/>
                <a:gd name="connsiteY2437" fmla="*/ 7299 h 10000"/>
                <a:gd name="connsiteX2438" fmla="*/ 166 w 10354"/>
                <a:gd name="connsiteY2438" fmla="*/ 7291 h 10000"/>
                <a:gd name="connsiteX2439" fmla="*/ 194 w 10354"/>
                <a:gd name="connsiteY2439" fmla="*/ 7291 h 10000"/>
                <a:gd name="connsiteX2440" fmla="*/ 207 w 10354"/>
                <a:gd name="connsiteY2440" fmla="*/ 7299 h 10000"/>
                <a:gd name="connsiteX2441" fmla="*/ 221 w 10354"/>
                <a:gd name="connsiteY2441" fmla="*/ 7342 h 10000"/>
                <a:gd name="connsiteX2442" fmla="*/ 235 w 10354"/>
                <a:gd name="connsiteY2442" fmla="*/ 7342 h 10000"/>
                <a:gd name="connsiteX2443" fmla="*/ 235 w 10354"/>
                <a:gd name="connsiteY2443" fmla="*/ 7368 h 10000"/>
                <a:gd name="connsiteX2444" fmla="*/ 226 w 10354"/>
                <a:gd name="connsiteY2444" fmla="*/ 7393 h 10000"/>
                <a:gd name="connsiteX2445" fmla="*/ 226 w 10354"/>
                <a:gd name="connsiteY2445" fmla="*/ 7402 h 10000"/>
                <a:gd name="connsiteX2446" fmla="*/ 235 w 10354"/>
                <a:gd name="connsiteY2446" fmla="*/ 7419 h 10000"/>
                <a:gd name="connsiteX2447" fmla="*/ 240 w 10354"/>
                <a:gd name="connsiteY2447" fmla="*/ 7436 h 10000"/>
                <a:gd name="connsiteX2448" fmla="*/ 235 w 10354"/>
                <a:gd name="connsiteY2448" fmla="*/ 7462 h 10000"/>
                <a:gd name="connsiteX2449" fmla="*/ 226 w 10354"/>
                <a:gd name="connsiteY2449" fmla="*/ 7479 h 10000"/>
                <a:gd name="connsiteX2450" fmla="*/ 226 w 10354"/>
                <a:gd name="connsiteY2450" fmla="*/ 7504 h 10000"/>
                <a:gd name="connsiteX2451" fmla="*/ 226 w 10354"/>
                <a:gd name="connsiteY2451" fmla="*/ 7513 h 10000"/>
                <a:gd name="connsiteX2452" fmla="*/ 240 w 10354"/>
                <a:gd name="connsiteY2452" fmla="*/ 7538 h 10000"/>
                <a:gd name="connsiteX2453" fmla="*/ 267 w 10354"/>
                <a:gd name="connsiteY2453" fmla="*/ 7641 h 10000"/>
                <a:gd name="connsiteX2454" fmla="*/ 281 w 10354"/>
                <a:gd name="connsiteY2454" fmla="*/ 7667 h 10000"/>
                <a:gd name="connsiteX2455" fmla="*/ 286 w 10354"/>
                <a:gd name="connsiteY2455" fmla="*/ 7675 h 10000"/>
                <a:gd name="connsiteX2456" fmla="*/ 286 w 10354"/>
                <a:gd name="connsiteY2456" fmla="*/ 7692 h 10000"/>
                <a:gd name="connsiteX2457" fmla="*/ 286 w 10354"/>
                <a:gd name="connsiteY2457" fmla="*/ 7709 h 10000"/>
                <a:gd name="connsiteX2458" fmla="*/ 295 w 10354"/>
                <a:gd name="connsiteY2458" fmla="*/ 7726 h 10000"/>
                <a:gd name="connsiteX2459" fmla="*/ 318 w 10354"/>
                <a:gd name="connsiteY2459" fmla="*/ 7709 h 10000"/>
                <a:gd name="connsiteX2460" fmla="*/ 327 w 10354"/>
                <a:gd name="connsiteY2460" fmla="*/ 7726 h 10000"/>
                <a:gd name="connsiteX2461" fmla="*/ 341 w 10354"/>
                <a:gd name="connsiteY2461" fmla="*/ 7735 h 10000"/>
                <a:gd name="connsiteX2462" fmla="*/ 332 w 10354"/>
                <a:gd name="connsiteY2462" fmla="*/ 7752 h 10000"/>
                <a:gd name="connsiteX2463" fmla="*/ 341 w 10354"/>
                <a:gd name="connsiteY2463" fmla="*/ 7761 h 10000"/>
                <a:gd name="connsiteX2464" fmla="*/ 355 w 10354"/>
                <a:gd name="connsiteY2464" fmla="*/ 7761 h 10000"/>
                <a:gd name="connsiteX2465" fmla="*/ 355 w 10354"/>
                <a:gd name="connsiteY2465" fmla="*/ 7803 h 10000"/>
                <a:gd name="connsiteX2466" fmla="*/ 313 w 10354"/>
                <a:gd name="connsiteY2466" fmla="*/ 7846 h 10000"/>
                <a:gd name="connsiteX2467" fmla="*/ 295 w 10354"/>
                <a:gd name="connsiteY2467" fmla="*/ 7846 h 10000"/>
                <a:gd name="connsiteX2468" fmla="*/ 281 w 10354"/>
                <a:gd name="connsiteY2468" fmla="*/ 7821 h 10000"/>
                <a:gd name="connsiteX2469" fmla="*/ 272 w 10354"/>
                <a:gd name="connsiteY2469" fmla="*/ 7821 h 10000"/>
                <a:gd name="connsiteX2470" fmla="*/ 267 w 10354"/>
                <a:gd name="connsiteY2470" fmla="*/ 7838 h 10000"/>
                <a:gd name="connsiteX2471" fmla="*/ 258 w 10354"/>
                <a:gd name="connsiteY2471" fmla="*/ 7846 h 10000"/>
                <a:gd name="connsiteX2472" fmla="*/ 253 w 10354"/>
                <a:gd name="connsiteY2472" fmla="*/ 7863 h 10000"/>
                <a:gd name="connsiteX2473" fmla="*/ 253 w 10354"/>
                <a:gd name="connsiteY2473" fmla="*/ 7872 h 10000"/>
                <a:gd name="connsiteX2474" fmla="*/ 267 w 10354"/>
                <a:gd name="connsiteY2474" fmla="*/ 7897 h 10000"/>
                <a:gd name="connsiteX2475" fmla="*/ 272 w 10354"/>
                <a:gd name="connsiteY2475" fmla="*/ 7915 h 10000"/>
                <a:gd name="connsiteX2476" fmla="*/ 267 w 10354"/>
                <a:gd name="connsiteY2476" fmla="*/ 7940 h 10000"/>
                <a:gd name="connsiteX2477" fmla="*/ 272 w 10354"/>
                <a:gd name="connsiteY2477" fmla="*/ 7949 h 10000"/>
                <a:gd name="connsiteX2478" fmla="*/ 272 w 10354"/>
                <a:gd name="connsiteY2478" fmla="*/ 7957 h 10000"/>
                <a:gd name="connsiteX2479" fmla="*/ 281 w 10354"/>
                <a:gd name="connsiteY2479" fmla="*/ 7974 h 10000"/>
                <a:gd name="connsiteX2480" fmla="*/ 286 w 10354"/>
                <a:gd name="connsiteY2480" fmla="*/ 7983 h 10000"/>
                <a:gd name="connsiteX2481" fmla="*/ 281 w 10354"/>
                <a:gd name="connsiteY2481" fmla="*/ 8009 h 10000"/>
                <a:gd name="connsiteX2482" fmla="*/ 286 w 10354"/>
                <a:gd name="connsiteY2482" fmla="*/ 8060 h 10000"/>
                <a:gd name="connsiteX2483" fmla="*/ 286 w 10354"/>
                <a:gd name="connsiteY2483" fmla="*/ 8060 h 10000"/>
                <a:gd name="connsiteX2484" fmla="*/ 295 w 10354"/>
                <a:gd name="connsiteY2484" fmla="*/ 8077 h 10000"/>
                <a:gd name="connsiteX2485" fmla="*/ 309 w 10354"/>
                <a:gd name="connsiteY2485" fmla="*/ 8077 h 10000"/>
                <a:gd name="connsiteX2486" fmla="*/ 313 w 10354"/>
                <a:gd name="connsiteY2486" fmla="*/ 8060 h 10000"/>
                <a:gd name="connsiteX2487" fmla="*/ 318 w 10354"/>
                <a:gd name="connsiteY2487" fmla="*/ 8051 h 10000"/>
                <a:gd name="connsiteX2488" fmla="*/ 318 w 10354"/>
                <a:gd name="connsiteY2488" fmla="*/ 8034 h 10000"/>
                <a:gd name="connsiteX2489" fmla="*/ 332 w 10354"/>
                <a:gd name="connsiteY2489" fmla="*/ 8026 h 10000"/>
                <a:gd name="connsiteX2490" fmla="*/ 359 w 10354"/>
                <a:gd name="connsiteY2490" fmla="*/ 8034 h 10000"/>
                <a:gd name="connsiteX2491" fmla="*/ 378 w 10354"/>
                <a:gd name="connsiteY2491" fmla="*/ 8026 h 10000"/>
                <a:gd name="connsiteX2492" fmla="*/ 401 w 10354"/>
                <a:gd name="connsiteY2492" fmla="*/ 8026 h 10000"/>
                <a:gd name="connsiteX2493" fmla="*/ 419 w 10354"/>
                <a:gd name="connsiteY2493" fmla="*/ 8009 h 10000"/>
                <a:gd name="connsiteX2494" fmla="*/ 433 w 10354"/>
                <a:gd name="connsiteY2494" fmla="*/ 8034 h 10000"/>
                <a:gd name="connsiteX2495" fmla="*/ 442 w 10354"/>
                <a:gd name="connsiteY2495" fmla="*/ 8060 h 10000"/>
                <a:gd name="connsiteX2496" fmla="*/ 442 w 10354"/>
                <a:gd name="connsiteY2496" fmla="*/ 8077 h 10000"/>
                <a:gd name="connsiteX2497" fmla="*/ 461 w 10354"/>
                <a:gd name="connsiteY2497" fmla="*/ 8111 h 10000"/>
                <a:gd name="connsiteX2498" fmla="*/ 461 w 10354"/>
                <a:gd name="connsiteY2498" fmla="*/ 8137 h 10000"/>
                <a:gd name="connsiteX2499" fmla="*/ 447 w 10354"/>
                <a:gd name="connsiteY2499" fmla="*/ 8145 h 10000"/>
                <a:gd name="connsiteX2500" fmla="*/ 442 w 10354"/>
                <a:gd name="connsiteY2500" fmla="*/ 8145 h 10000"/>
                <a:gd name="connsiteX2501" fmla="*/ 442 w 10354"/>
                <a:gd name="connsiteY2501" fmla="*/ 8162 h 10000"/>
                <a:gd name="connsiteX2502" fmla="*/ 442 w 10354"/>
                <a:gd name="connsiteY2502" fmla="*/ 8171 h 10000"/>
                <a:gd name="connsiteX2503" fmla="*/ 447 w 10354"/>
                <a:gd name="connsiteY2503" fmla="*/ 8214 h 10000"/>
                <a:gd name="connsiteX2504" fmla="*/ 465 w 10354"/>
                <a:gd name="connsiteY2504" fmla="*/ 8231 h 10000"/>
                <a:gd name="connsiteX2505" fmla="*/ 488 w 10354"/>
                <a:gd name="connsiteY2505" fmla="*/ 8231 h 10000"/>
                <a:gd name="connsiteX2506" fmla="*/ 493 w 10354"/>
                <a:gd name="connsiteY2506" fmla="*/ 8231 h 10000"/>
                <a:gd name="connsiteX2507" fmla="*/ 502 w 10354"/>
                <a:gd name="connsiteY2507" fmla="*/ 8231 h 10000"/>
                <a:gd name="connsiteX2508" fmla="*/ 507 w 10354"/>
                <a:gd name="connsiteY2508" fmla="*/ 8248 h 10000"/>
                <a:gd name="connsiteX2509" fmla="*/ 521 w 10354"/>
                <a:gd name="connsiteY2509" fmla="*/ 8274 h 10000"/>
                <a:gd name="connsiteX2510" fmla="*/ 525 w 10354"/>
                <a:gd name="connsiteY2510" fmla="*/ 8333 h 10000"/>
                <a:gd name="connsiteX2511" fmla="*/ 525 w 10354"/>
                <a:gd name="connsiteY2511" fmla="*/ 8359 h 10000"/>
                <a:gd name="connsiteX2512" fmla="*/ 525 w 10354"/>
                <a:gd name="connsiteY2512" fmla="*/ 8368 h 10000"/>
                <a:gd name="connsiteX2513" fmla="*/ 548 w 10354"/>
                <a:gd name="connsiteY2513" fmla="*/ 8393 h 10000"/>
                <a:gd name="connsiteX2514" fmla="*/ 553 w 10354"/>
                <a:gd name="connsiteY2514" fmla="*/ 8385 h 10000"/>
                <a:gd name="connsiteX2515" fmla="*/ 562 w 10354"/>
                <a:gd name="connsiteY2515" fmla="*/ 8385 h 10000"/>
                <a:gd name="connsiteX2516" fmla="*/ 576 w 10354"/>
                <a:gd name="connsiteY2516" fmla="*/ 8385 h 10000"/>
                <a:gd name="connsiteX2517" fmla="*/ 585 w 10354"/>
                <a:gd name="connsiteY2517" fmla="*/ 8410 h 10000"/>
                <a:gd name="connsiteX2518" fmla="*/ 594 w 10354"/>
                <a:gd name="connsiteY2518" fmla="*/ 8410 h 10000"/>
                <a:gd name="connsiteX2519" fmla="*/ 608 w 10354"/>
                <a:gd name="connsiteY2519" fmla="*/ 8410 h 10000"/>
                <a:gd name="connsiteX2520" fmla="*/ 654 w 10354"/>
                <a:gd name="connsiteY2520" fmla="*/ 8385 h 10000"/>
                <a:gd name="connsiteX2521" fmla="*/ 659 w 10354"/>
                <a:gd name="connsiteY2521" fmla="*/ 8385 h 10000"/>
                <a:gd name="connsiteX2522" fmla="*/ 696 w 10354"/>
                <a:gd name="connsiteY2522" fmla="*/ 8470 h 10000"/>
                <a:gd name="connsiteX2523" fmla="*/ 700 w 10354"/>
                <a:gd name="connsiteY2523" fmla="*/ 8470 h 10000"/>
                <a:gd name="connsiteX2524" fmla="*/ 710 w 10354"/>
                <a:gd name="connsiteY2524" fmla="*/ 8462 h 10000"/>
                <a:gd name="connsiteX2525" fmla="*/ 714 w 10354"/>
                <a:gd name="connsiteY2525" fmla="*/ 8462 h 10000"/>
                <a:gd name="connsiteX2526" fmla="*/ 724 w 10354"/>
                <a:gd name="connsiteY2526" fmla="*/ 8470 h 10000"/>
                <a:gd name="connsiteX2527" fmla="*/ 733 w 10354"/>
                <a:gd name="connsiteY2527" fmla="*/ 8470 h 10000"/>
                <a:gd name="connsiteX2528" fmla="*/ 742 w 10354"/>
                <a:gd name="connsiteY2528" fmla="*/ 8487 h 10000"/>
                <a:gd name="connsiteX2529" fmla="*/ 747 w 10354"/>
                <a:gd name="connsiteY2529" fmla="*/ 8496 h 10000"/>
                <a:gd name="connsiteX2530" fmla="*/ 770 w 10354"/>
                <a:gd name="connsiteY2530" fmla="*/ 8496 h 10000"/>
                <a:gd name="connsiteX2531" fmla="*/ 783 w 10354"/>
                <a:gd name="connsiteY2531" fmla="*/ 8521 h 10000"/>
                <a:gd name="connsiteX2532" fmla="*/ 797 w 10354"/>
                <a:gd name="connsiteY2532" fmla="*/ 8521 h 10000"/>
                <a:gd name="connsiteX2533" fmla="*/ 806 w 10354"/>
                <a:gd name="connsiteY2533" fmla="*/ 8530 h 10000"/>
                <a:gd name="connsiteX2534" fmla="*/ 829 w 10354"/>
                <a:gd name="connsiteY2534" fmla="*/ 8547 h 10000"/>
                <a:gd name="connsiteX2535" fmla="*/ 834 w 10354"/>
                <a:gd name="connsiteY2535" fmla="*/ 8556 h 10000"/>
                <a:gd name="connsiteX2536" fmla="*/ 829 w 10354"/>
                <a:gd name="connsiteY2536" fmla="*/ 8556 h 10000"/>
                <a:gd name="connsiteX2537" fmla="*/ 834 w 10354"/>
                <a:gd name="connsiteY2537" fmla="*/ 8607 h 10000"/>
                <a:gd name="connsiteX2538" fmla="*/ 829 w 10354"/>
                <a:gd name="connsiteY2538" fmla="*/ 8641 h 10000"/>
                <a:gd name="connsiteX2539" fmla="*/ 806 w 10354"/>
                <a:gd name="connsiteY2539" fmla="*/ 8658 h 10000"/>
                <a:gd name="connsiteX2540" fmla="*/ 816 w 10354"/>
                <a:gd name="connsiteY2540" fmla="*/ 8667 h 10000"/>
                <a:gd name="connsiteX2541" fmla="*/ 820 w 10354"/>
                <a:gd name="connsiteY2541" fmla="*/ 8667 h 10000"/>
                <a:gd name="connsiteX2542" fmla="*/ 829 w 10354"/>
                <a:gd name="connsiteY2542" fmla="*/ 8684 h 10000"/>
                <a:gd name="connsiteX2543" fmla="*/ 806 w 10354"/>
                <a:gd name="connsiteY2543" fmla="*/ 8692 h 10000"/>
                <a:gd name="connsiteX2544" fmla="*/ 802 w 10354"/>
                <a:gd name="connsiteY2544" fmla="*/ 8709 h 10000"/>
                <a:gd name="connsiteX2545" fmla="*/ 802 w 10354"/>
                <a:gd name="connsiteY2545" fmla="*/ 8735 h 10000"/>
                <a:gd name="connsiteX2546" fmla="*/ 806 w 10354"/>
                <a:gd name="connsiteY2546" fmla="*/ 8744 h 10000"/>
                <a:gd name="connsiteX2547" fmla="*/ 816 w 10354"/>
                <a:gd name="connsiteY2547" fmla="*/ 8752 h 10000"/>
                <a:gd name="connsiteX2548" fmla="*/ 806 w 10354"/>
                <a:gd name="connsiteY2548" fmla="*/ 8778 h 10000"/>
                <a:gd name="connsiteX2549" fmla="*/ 820 w 10354"/>
                <a:gd name="connsiteY2549" fmla="*/ 8778 h 10000"/>
                <a:gd name="connsiteX2550" fmla="*/ 806 w 10354"/>
                <a:gd name="connsiteY2550" fmla="*/ 8880 h 10000"/>
                <a:gd name="connsiteX2551" fmla="*/ 797 w 10354"/>
                <a:gd name="connsiteY2551" fmla="*/ 8880 h 10000"/>
                <a:gd name="connsiteX2552" fmla="*/ 783 w 10354"/>
                <a:gd name="connsiteY2552" fmla="*/ 8872 h 10000"/>
                <a:gd name="connsiteX2553" fmla="*/ 770 w 10354"/>
                <a:gd name="connsiteY2553" fmla="*/ 8880 h 10000"/>
                <a:gd name="connsiteX2554" fmla="*/ 756 w 10354"/>
                <a:gd name="connsiteY2554" fmla="*/ 8855 h 10000"/>
                <a:gd name="connsiteX2555" fmla="*/ 733 w 10354"/>
                <a:gd name="connsiteY2555" fmla="*/ 8906 h 10000"/>
                <a:gd name="connsiteX2556" fmla="*/ 714 w 10354"/>
                <a:gd name="connsiteY2556" fmla="*/ 8915 h 10000"/>
                <a:gd name="connsiteX2557" fmla="*/ 710 w 10354"/>
                <a:gd name="connsiteY2557" fmla="*/ 8940 h 10000"/>
                <a:gd name="connsiteX2558" fmla="*/ 710 w 10354"/>
                <a:gd name="connsiteY2558" fmla="*/ 9009 h 10000"/>
                <a:gd name="connsiteX2559" fmla="*/ 728 w 10354"/>
                <a:gd name="connsiteY2559" fmla="*/ 8991 h 10000"/>
                <a:gd name="connsiteX2560" fmla="*/ 733 w 10354"/>
                <a:gd name="connsiteY2560" fmla="*/ 8991 h 10000"/>
                <a:gd name="connsiteX2561" fmla="*/ 747 w 10354"/>
                <a:gd name="connsiteY2561" fmla="*/ 8983 h 10000"/>
                <a:gd name="connsiteX2562" fmla="*/ 760 w 10354"/>
                <a:gd name="connsiteY2562" fmla="*/ 8983 h 10000"/>
                <a:gd name="connsiteX2563" fmla="*/ 770 w 10354"/>
                <a:gd name="connsiteY2563" fmla="*/ 8983 h 10000"/>
                <a:gd name="connsiteX2564" fmla="*/ 770 w 10354"/>
                <a:gd name="connsiteY2564" fmla="*/ 8991 h 10000"/>
                <a:gd name="connsiteX2565" fmla="*/ 783 w 10354"/>
                <a:gd name="connsiteY2565" fmla="*/ 8991 h 10000"/>
                <a:gd name="connsiteX2566" fmla="*/ 783 w 10354"/>
                <a:gd name="connsiteY2566" fmla="*/ 9009 h 10000"/>
                <a:gd name="connsiteX2567" fmla="*/ 783 w 10354"/>
                <a:gd name="connsiteY2567" fmla="*/ 9017 h 10000"/>
                <a:gd name="connsiteX2568" fmla="*/ 770 w 10354"/>
                <a:gd name="connsiteY2568" fmla="*/ 9017 h 10000"/>
                <a:gd name="connsiteX2569" fmla="*/ 724 w 10354"/>
                <a:gd name="connsiteY2569" fmla="*/ 9051 h 10000"/>
                <a:gd name="connsiteX2570" fmla="*/ 724 w 10354"/>
                <a:gd name="connsiteY2570" fmla="*/ 9068 h 10000"/>
                <a:gd name="connsiteX2571" fmla="*/ 728 w 10354"/>
                <a:gd name="connsiteY2571" fmla="*/ 9077 h 10000"/>
                <a:gd name="connsiteX2572" fmla="*/ 724 w 10354"/>
                <a:gd name="connsiteY2572" fmla="*/ 9077 h 10000"/>
                <a:gd name="connsiteX2573" fmla="*/ 710 w 10354"/>
                <a:gd name="connsiteY2573" fmla="*/ 9077 h 10000"/>
                <a:gd name="connsiteX2574" fmla="*/ 682 w 10354"/>
                <a:gd name="connsiteY2574" fmla="*/ 9077 h 10000"/>
                <a:gd name="connsiteX2575" fmla="*/ 673 w 10354"/>
                <a:gd name="connsiteY2575" fmla="*/ 9103 h 10000"/>
                <a:gd name="connsiteX2576" fmla="*/ 687 w 10354"/>
                <a:gd name="connsiteY2576" fmla="*/ 9128 h 10000"/>
                <a:gd name="connsiteX2577" fmla="*/ 700 w 10354"/>
                <a:gd name="connsiteY2577" fmla="*/ 9128 h 10000"/>
                <a:gd name="connsiteX2578" fmla="*/ 728 w 10354"/>
                <a:gd name="connsiteY2578" fmla="*/ 9179 h 10000"/>
                <a:gd name="connsiteX2579" fmla="*/ 724 w 10354"/>
                <a:gd name="connsiteY2579" fmla="*/ 9188 h 10000"/>
                <a:gd name="connsiteX2580" fmla="*/ 710 w 10354"/>
                <a:gd name="connsiteY2580" fmla="*/ 9179 h 10000"/>
                <a:gd name="connsiteX2581" fmla="*/ 700 w 10354"/>
                <a:gd name="connsiteY2581" fmla="*/ 9205 h 10000"/>
                <a:gd name="connsiteX2582" fmla="*/ 696 w 10354"/>
                <a:gd name="connsiteY2582" fmla="*/ 9205 h 10000"/>
                <a:gd name="connsiteX2583" fmla="*/ 654 w 10354"/>
                <a:gd name="connsiteY2583" fmla="*/ 9299 h 10000"/>
                <a:gd name="connsiteX2584" fmla="*/ 622 w 10354"/>
                <a:gd name="connsiteY2584" fmla="*/ 9299 h 10000"/>
                <a:gd name="connsiteX2585" fmla="*/ 613 w 10354"/>
                <a:gd name="connsiteY2585" fmla="*/ 9316 h 10000"/>
                <a:gd name="connsiteX2586" fmla="*/ 613 w 10354"/>
                <a:gd name="connsiteY2586" fmla="*/ 9325 h 10000"/>
                <a:gd name="connsiteX2587" fmla="*/ 608 w 10354"/>
                <a:gd name="connsiteY2587" fmla="*/ 9342 h 10000"/>
                <a:gd name="connsiteX2588" fmla="*/ 636 w 10354"/>
                <a:gd name="connsiteY2588" fmla="*/ 9376 h 10000"/>
                <a:gd name="connsiteX2589" fmla="*/ 641 w 10354"/>
                <a:gd name="connsiteY2589" fmla="*/ 9402 h 10000"/>
                <a:gd name="connsiteX2590" fmla="*/ 654 w 10354"/>
                <a:gd name="connsiteY2590" fmla="*/ 9427 h 10000"/>
                <a:gd name="connsiteX2591" fmla="*/ 668 w 10354"/>
                <a:gd name="connsiteY2591" fmla="*/ 9427 h 10000"/>
                <a:gd name="connsiteX2592" fmla="*/ 668 w 10354"/>
                <a:gd name="connsiteY2592" fmla="*/ 9427 h 10000"/>
                <a:gd name="connsiteX2593" fmla="*/ 774 w 10354"/>
                <a:gd name="connsiteY2593" fmla="*/ 9547 h 10000"/>
                <a:gd name="connsiteX2594" fmla="*/ 797 w 10354"/>
                <a:gd name="connsiteY2594" fmla="*/ 9598 h 10000"/>
                <a:gd name="connsiteX2595" fmla="*/ 802 w 10354"/>
                <a:gd name="connsiteY2595" fmla="*/ 9598 h 10000"/>
                <a:gd name="connsiteX2596" fmla="*/ 816 w 10354"/>
                <a:gd name="connsiteY2596" fmla="*/ 9624 h 10000"/>
                <a:gd name="connsiteX2597" fmla="*/ 843 w 10354"/>
                <a:gd name="connsiteY2597" fmla="*/ 9615 h 10000"/>
                <a:gd name="connsiteX2598" fmla="*/ 857 w 10354"/>
                <a:gd name="connsiteY2598" fmla="*/ 9624 h 10000"/>
                <a:gd name="connsiteX2599" fmla="*/ 862 w 10354"/>
                <a:gd name="connsiteY2599" fmla="*/ 9615 h 10000"/>
                <a:gd name="connsiteX2600" fmla="*/ 880 w 10354"/>
                <a:gd name="connsiteY2600" fmla="*/ 9624 h 10000"/>
                <a:gd name="connsiteX2601" fmla="*/ 889 w 10354"/>
                <a:gd name="connsiteY2601" fmla="*/ 9641 h 10000"/>
                <a:gd name="connsiteX2602" fmla="*/ 935 w 10354"/>
                <a:gd name="connsiteY2602" fmla="*/ 9675 h 10000"/>
                <a:gd name="connsiteX2603" fmla="*/ 977 w 10354"/>
                <a:gd name="connsiteY2603" fmla="*/ 9667 h 10000"/>
                <a:gd name="connsiteX2604" fmla="*/ 995 w 10354"/>
                <a:gd name="connsiteY2604" fmla="*/ 9675 h 10000"/>
                <a:gd name="connsiteX2605" fmla="*/ 1014 w 10354"/>
                <a:gd name="connsiteY2605" fmla="*/ 9675 h 10000"/>
                <a:gd name="connsiteX2606" fmla="*/ 1069 w 10354"/>
                <a:gd name="connsiteY2606" fmla="*/ 9752 h 10000"/>
                <a:gd name="connsiteX2607" fmla="*/ 1074 w 10354"/>
                <a:gd name="connsiteY2607" fmla="*/ 9761 h 10000"/>
                <a:gd name="connsiteX2608" fmla="*/ 1083 w 10354"/>
                <a:gd name="connsiteY2608" fmla="*/ 9778 h 10000"/>
                <a:gd name="connsiteX2609" fmla="*/ 1115 w 10354"/>
                <a:gd name="connsiteY2609" fmla="*/ 9752 h 10000"/>
                <a:gd name="connsiteX2610" fmla="*/ 1129 w 10354"/>
                <a:gd name="connsiteY2610" fmla="*/ 9752 h 10000"/>
                <a:gd name="connsiteX2611" fmla="*/ 1138 w 10354"/>
                <a:gd name="connsiteY2611" fmla="*/ 9761 h 10000"/>
                <a:gd name="connsiteX2612" fmla="*/ 1143 w 10354"/>
                <a:gd name="connsiteY2612" fmla="*/ 9752 h 10000"/>
                <a:gd name="connsiteX2613" fmla="*/ 1161 w 10354"/>
                <a:gd name="connsiteY2613" fmla="*/ 9761 h 10000"/>
                <a:gd name="connsiteX2614" fmla="*/ 1171 w 10354"/>
                <a:gd name="connsiteY2614" fmla="*/ 9778 h 10000"/>
                <a:gd name="connsiteX2615" fmla="*/ 1175 w 10354"/>
                <a:gd name="connsiteY2615" fmla="*/ 9778 h 10000"/>
                <a:gd name="connsiteX2616" fmla="*/ 1189 w 10354"/>
                <a:gd name="connsiteY2616" fmla="*/ 9778 h 10000"/>
                <a:gd name="connsiteX2617" fmla="*/ 1198 w 10354"/>
                <a:gd name="connsiteY2617" fmla="*/ 9786 h 10000"/>
                <a:gd name="connsiteX2618" fmla="*/ 1203 w 10354"/>
                <a:gd name="connsiteY2618" fmla="*/ 9803 h 10000"/>
                <a:gd name="connsiteX2619" fmla="*/ 1198 w 10354"/>
                <a:gd name="connsiteY2619" fmla="*/ 9838 h 10000"/>
                <a:gd name="connsiteX2620" fmla="*/ 1212 w 10354"/>
                <a:gd name="connsiteY2620" fmla="*/ 9863 h 10000"/>
                <a:gd name="connsiteX2621" fmla="*/ 1230 w 10354"/>
                <a:gd name="connsiteY2621" fmla="*/ 9872 h 10000"/>
                <a:gd name="connsiteX2622" fmla="*/ 1249 w 10354"/>
                <a:gd name="connsiteY2622" fmla="*/ 9897 h 10000"/>
                <a:gd name="connsiteX2623" fmla="*/ 1263 w 10354"/>
                <a:gd name="connsiteY2623" fmla="*/ 9897 h 10000"/>
                <a:gd name="connsiteX2624" fmla="*/ 1276 w 10354"/>
                <a:gd name="connsiteY2624" fmla="*/ 9923 h 10000"/>
                <a:gd name="connsiteX2625" fmla="*/ 1281 w 10354"/>
                <a:gd name="connsiteY2625" fmla="*/ 9949 h 10000"/>
                <a:gd name="connsiteX2626" fmla="*/ 1290 w 10354"/>
                <a:gd name="connsiteY2626" fmla="*/ 9949 h 10000"/>
                <a:gd name="connsiteX2627" fmla="*/ 1295 w 10354"/>
                <a:gd name="connsiteY2627" fmla="*/ 10000 h 10000"/>
                <a:gd name="connsiteX2628" fmla="*/ 1332 w 10354"/>
                <a:gd name="connsiteY2628" fmla="*/ 10000 h 10000"/>
                <a:gd name="connsiteX2629" fmla="*/ 1336 w 10354"/>
                <a:gd name="connsiteY2629" fmla="*/ 10000 h 10000"/>
                <a:gd name="connsiteX2630" fmla="*/ 1346 w 10354"/>
                <a:gd name="connsiteY2630" fmla="*/ 9983 h 10000"/>
                <a:gd name="connsiteX2631" fmla="*/ 1350 w 10354"/>
                <a:gd name="connsiteY2631" fmla="*/ 9949 h 10000"/>
                <a:gd name="connsiteX2632" fmla="*/ 1369 w 10354"/>
                <a:gd name="connsiteY2632" fmla="*/ 9940 h 10000"/>
                <a:gd name="connsiteX2633" fmla="*/ 1378 w 10354"/>
                <a:gd name="connsiteY2633" fmla="*/ 9897 h 10000"/>
                <a:gd name="connsiteX2634" fmla="*/ 1369 w 10354"/>
                <a:gd name="connsiteY2634" fmla="*/ 9889 h 10000"/>
                <a:gd name="connsiteX2635" fmla="*/ 1318 w 10354"/>
                <a:gd name="connsiteY2635" fmla="*/ 9701 h 10000"/>
                <a:gd name="connsiteX2636" fmla="*/ 1318 w 10354"/>
                <a:gd name="connsiteY2636" fmla="*/ 9650 h 10000"/>
                <a:gd name="connsiteX2637" fmla="*/ 1323 w 10354"/>
                <a:gd name="connsiteY2637" fmla="*/ 9590 h 10000"/>
                <a:gd name="connsiteX2638" fmla="*/ 1323 w 10354"/>
                <a:gd name="connsiteY2638" fmla="*/ 9564 h 10000"/>
                <a:gd name="connsiteX2639" fmla="*/ 1309 w 10354"/>
                <a:gd name="connsiteY2639" fmla="*/ 9598 h 10000"/>
                <a:gd name="connsiteX2640" fmla="*/ 1309 w 10354"/>
                <a:gd name="connsiteY2640" fmla="*/ 9590 h 10000"/>
                <a:gd name="connsiteX2641" fmla="*/ 1304 w 10354"/>
                <a:gd name="connsiteY2641" fmla="*/ 9547 h 10000"/>
                <a:gd name="connsiteX2642" fmla="*/ 1276 w 10354"/>
                <a:gd name="connsiteY2642" fmla="*/ 9479 h 10000"/>
                <a:gd name="connsiteX2643" fmla="*/ 1263 w 10354"/>
                <a:gd name="connsiteY2643" fmla="*/ 9479 h 10000"/>
                <a:gd name="connsiteX2644" fmla="*/ 1263 w 10354"/>
                <a:gd name="connsiteY2644" fmla="*/ 9453 h 10000"/>
                <a:gd name="connsiteX2645" fmla="*/ 1272 w 10354"/>
                <a:gd name="connsiteY2645" fmla="*/ 9410 h 10000"/>
                <a:gd name="connsiteX2646" fmla="*/ 1272 w 10354"/>
                <a:gd name="connsiteY2646" fmla="*/ 9393 h 10000"/>
                <a:gd name="connsiteX2647" fmla="*/ 1281 w 10354"/>
                <a:gd name="connsiteY2647" fmla="*/ 9368 h 10000"/>
                <a:gd name="connsiteX2648" fmla="*/ 1281 w 10354"/>
                <a:gd name="connsiteY2648" fmla="*/ 9368 h 10000"/>
                <a:gd name="connsiteX2649" fmla="*/ 1290 w 10354"/>
                <a:gd name="connsiteY2649" fmla="*/ 9368 h 10000"/>
                <a:gd name="connsiteX2650" fmla="*/ 1290 w 10354"/>
                <a:gd name="connsiteY2650" fmla="*/ 9342 h 10000"/>
                <a:gd name="connsiteX2651" fmla="*/ 1304 w 10354"/>
                <a:gd name="connsiteY2651" fmla="*/ 9325 h 10000"/>
                <a:gd name="connsiteX2652" fmla="*/ 1309 w 10354"/>
                <a:gd name="connsiteY2652" fmla="*/ 9239 h 10000"/>
                <a:gd name="connsiteX2653" fmla="*/ 1318 w 10354"/>
                <a:gd name="connsiteY2653" fmla="*/ 9256 h 10000"/>
                <a:gd name="connsiteX2654" fmla="*/ 1323 w 10354"/>
                <a:gd name="connsiteY2654" fmla="*/ 9179 h 10000"/>
                <a:gd name="connsiteX2655" fmla="*/ 1309 w 10354"/>
                <a:gd name="connsiteY2655" fmla="*/ 9145 h 10000"/>
                <a:gd name="connsiteX2656" fmla="*/ 1336 w 10354"/>
                <a:gd name="connsiteY2656" fmla="*/ 9154 h 10000"/>
                <a:gd name="connsiteX2657" fmla="*/ 1336 w 10354"/>
                <a:gd name="connsiteY2657" fmla="*/ 9162 h 10000"/>
                <a:gd name="connsiteX2658" fmla="*/ 1350 w 10354"/>
                <a:gd name="connsiteY2658" fmla="*/ 9231 h 10000"/>
                <a:gd name="connsiteX2659" fmla="*/ 1355 w 10354"/>
                <a:gd name="connsiteY2659" fmla="*/ 9231 h 10000"/>
                <a:gd name="connsiteX2660" fmla="*/ 1364 w 10354"/>
                <a:gd name="connsiteY2660" fmla="*/ 9214 h 10000"/>
                <a:gd name="connsiteX2661" fmla="*/ 1369 w 10354"/>
                <a:gd name="connsiteY2661" fmla="*/ 9214 h 10000"/>
                <a:gd name="connsiteX2662" fmla="*/ 1382 w 10354"/>
                <a:gd name="connsiteY2662" fmla="*/ 9154 h 10000"/>
                <a:gd name="connsiteX2663" fmla="*/ 1396 w 10354"/>
                <a:gd name="connsiteY2663" fmla="*/ 9154 h 10000"/>
                <a:gd name="connsiteX2664" fmla="*/ 1382 w 10354"/>
                <a:gd name="connsiteY2664" fmla="*/ 9145 h 10000"/>
                <a:gd name="connsiteX2665" fmla="*/ 1382 w 10354"/>
                <a:gd name="connsiteY2665" fmla="*/ 9128 h 10000"/>
                <a:gd name="connsiteX2666" fmla="*/ 1369 w 10354"/>
                <a:gd name="connsiteY2666" fmla="*/ 9128 h 10000"/>
                <a:gd name="connsiteX2667" fmla="*/ 1364 w 10354"/>
                <a:gd name="connsiteY2667" fmla="*/ 9128 h 10000"/>
                <a:gd name="connsiteX2668" fmla="*/ 1355 w 10354"/>
                <a:gd name="connsiteY2668" fmla="*/ 9120 h 10000"/>
                <a:gd name="connsiteX2669" fmla="*/ 1350 w 10354"/>
                <a:gd name="connsiteY2669" fmla="*/ 9103 h 10000"/>
                <a:gd name="connsiteX2670" fmla="*/ 1355 w 10354"/>
                <a:gd name="connsiteY2670" fmla="*/ 9094 h 10000"/>
                <a:gd name="connsiteX2671" fmla="*/ 1355 w 10354"/>
                <a:gd name="connsiteY2671" fmla="*/ 9068 h 10000"/>
                <a:gd name="connsiteX2672" fmla="*/ 1369 w 10354"/>
                <a:gd name="connsiteY2672" fmla="*/ 9068 h 10000"/>
                <a:gd name="connsiteX2673" fmla="*/ 1378 w 10354"/>
                <a:gd name="connsiteY2673" fmla="*/ 9077 h 10000"/>
                <a:gd name="connsiteX2674" fmla="*/ 1396 w 10354"/>
                <a:gd name="connsiteY2674" fmla="*/ 9068 h 10000"/>
                <a:gd name="connsiteX2675" fmla="*/ 1382 w 10354"/>
                <a:gd name="connsiteY2675" fmla="*/ 8940 h 10000"/>
                <a:gd name="connsiteX2676" fmla="*/ 1378 w 10354"/>
                <a:gd name="connsiteY2676" fmla="*/ 8940 h 10000"/>
                <a:gd name="connsiteX2677" fmla="*/ 1364 w 10354"/>
                <a:gd name="connsiteY2677" fmla="*/ 8889 h 10000"/>
                <a:gd name="connsiteX2678" fmla="*/ 1355 w 10354"/>
                <a:gd name="connsiteY2678" fmla="*/ 8880 h 10000"/>
                <a:gd name="connsiteX2679" fmla="*/ 1323 w 10354"/>
                <a:gd name="connsiteY2679" fmla="*/ 8880 h 10000"/>
                <a:gd name="connsiteX2680" fmla="*/ 1309 w 10354"/>
                <a:gd name="connsiteY2680" fmla="*/ 8880 h 10000"/>
                <a:gd name="connsiteX2681" fmla="*/ 1309 w 10354"/>
                <a:gd name="connsiteY2681" fmla="*/ 8889 h 10000"/>
                <a:gd name="connsiteX2682" fmla="*/ 1295 w 10354"/>
                <a:gd name="connsiteY2682" fmla="*/ 8872 h 10000"/>
                <a:gd name="connsiteX2683" fmla="*/ 1290 w 10354"/>
                <a:gd name="connsiteY2683" fmla="*/ 8855 h 10000"/>
                <a:gd name="connsiteX2684" fmla="*/ 1290 w 10354"/>
                <a:gd name="connsiteY2684" fmla="*/ 8829 h 10000"/>
                <a:gd name="connsiteX2685" fmla="*/ 1290 w 10354"/>
                <a:gd name="connsiteY2685" fmla="*/ 8821 h 10000"/>
                <a:gd name="connsiteX2686" fmla="*/ 1290 w 10354"/>
                <a:gd name="connsiteY2686" fmla="*/ 8803 h 10000"/>
                <a:gd name="connsiteX2687" fmla="*/ 1281 w 10354"/>
                <a:gd name="connsiteY2687" fmla="*/ 8795 h 10000"/>
                <a:gd name="connsiteX2688" fmla="*/ 1249 w 10354"/>
                <a:gd name="connsiteY2688" fmla="*/ 8769 h 10000"/>
                <a:gd name="connsiteX2689" fmla="*/ 1263 w 10354"/>
                <a:gd name="connsiteY2689" fmla="*/ 8667 h 10000"/>
                <a:gd name="connsiteX2690" fmla="*/ 1281 w 10354"/>
                <a:gd name="connsiteY2690" fmla="*/ 8658 h 10000"/>
                <a:gd name="connsiteX2691" fmla="*/ 1290 w 10354"/>
                <a:gd name="connsiteY2691" fmla="*/ 8632 h 10000"/>
                <a:gd name="connsiteX2692" fmla="*/ 1281 w 10354"/>
                <a:gd name="connsiteY2692" fmla="*/ 8615 h 10000"/>
                <a:gd name="connsiteX2693" fmla="*/ 1272 w 10354"/>
                <a:gd name="connsiteY2693" fmla="*/ 8598 h 10000"/>
                <a:gd name="connsiteX2694" fmla="*/ 1281 w 10354"/>
                <a:gd name="connsiteY2694" fmla="*/ 8496 h 10000"/>
                <a:gd name="connsiteX2695" fmla="*/ 1295 w 10354"/>
                <a:gd name="connsiteY2695" fmla="*/ 8470 h 10000"/>
                <a:gd name="connsiteX2696" fmla="*/ 1304 w 10354"/>
                <a:gd name="connsiteY2696" fmla="*/ 8462 h 10000"/>
                <a:gd name="connsiteX2697" fmla="*/ 1304 w 10354"/>
                <a:gd name="connsiteY2697" fmla="*/ 8444 h 10000"/>
                <a:gd name="connsiteX2698" fmla="*/ 1304 w 10354"/>
                <a:gd name="connsiteY2698" fmla="*/ 8419 h 10000"/>
                <a:gd name="connsiteX2699" fmla="*/ 1304 w 10354"/>
                <a:gd name="connsiteY2699" fmla="*/ 8410 h 10000"/>
                <a:gd name="connsiteX2700" fmla="*/ 1309 w 10354"/>
                <a:gd name="connsiteY2700" fmla="*/ 8393 h 10000"/>
                <a:gd name="connsiteX2701" fmla="*/ 1318 w 10354"/>
                <a:gd name="connsiteY2701" fmla="*/ 8385 h 10000"/>
                <a:gd name="connsiteX2702" fmla="*/ 1323 w 10354"/>
                <a:gd name="connsiteY2702" fmla="*/ 8385 h 10000"/>
                <a:gd name="connsiteX2703" fmla="*/ 1332 w 10354"/>
                <a:gd name="connsiteY2703" fmla="*/ 8410 h 10000"/>
                <a:gd name="connsiteX2704" fmla="*/ 1346 w 10354"/>
                <a:gd name="connsiteY2704" fmla="*/ 8419 h 10000"/>
                <a:gd name="connsiteX2705" fmla="*/ 1364 w 10354"/>
                <a:gd name="connsiteY2705" fmla="*/ 8504 h 10000"/>
                <a:gd name="connsiteX2706" fmla="*/ 1369 w 10354"/>
                <a:gd name="connsiteY2706" fmla="*/ 8521 h 10000"/>
                <a:gd name="connsiteX2707" fmla="*/ 1406 w 10354"/>
                <a:gd name="connsiteY2707" fmla="*/ 8470 h 10000"/>
                <a:gd name="connsiteX2708" fmla="*/ 1382 w 10354"/>
                <a:gd name="connsiteY2708" fmla="*/ 8359 h 10000"/>
                <a:gd name="connsiteX2709" fmla="*/ 1392 w 10354"/>
                <a:gd name="connsiteY2709" fmla="*/ 8359 h 10000"/>
                <a:gd name="connsiteX2710" fmla="*/ 1438 w 10354"/>
                <a:gd name="connsiteY2710" fmla="*/ 8308 h 10000"/>
                <a:gd name="connsiteX2711" fmla="*/ 1442 w 10354"/>
                <a:gd name="connsiteY2711" fmla="*/ 8299 h 10000"/>
                <a:gd name="connsiteX2712" fmla="*/ 1442 w 10354"/>
                <a:gd name="connsiteY2712" fmla="*/ 8256 h 10000"/>
                <a:gd name="connsiteX2713" fmla="*/ 1452 w 10354"/>
                <a:gd name="connsiteY2713" fmla="*/ 8256 h 10000"/>
                <a:gd name="connsiteX2714" fmla="*/ 1456 w 10354"/>
                <a:gd name="connsiteY2714" fmla="*/ 8256 h 10000"/>
                <a:gd name="connsiteX2715" fmla="*/ 1470 w 10354"/>
                <a:gd name="connsiteY2715" fmla="*/ 8248 h 10000"/>
                <a:gd name="connsiteX2716" fmla="*/ 1479 w 10354"/>
                <a:gd name="connsiteY2716" fmla="*/ 8231 h 10000"/>
                <a:gd name="connsiteX2717" fmla="*/ 1493 w 10354"/>
                <a:gd name="connsiteY2717" fmla="*/ 8222 h 10000"/>
                <a:gd name="connsiteX2718" fmla="*/ 1498 w 10354"/>
                <a:gd name="connsiteY2718" fmla="*/ 8214 h 10000"/>
                <a:gd name="connsiteX2719" fmla="*/ 1502 w 10354"/>
                <a:gd name="connsiteY2719" fmla="*/ 8197 h 10000"/>
                <a:gd name="connsiteX2720" fmla="*/ 1512 w 10354"/>
                <a:gd name="connsiteY2720" fmla="*/ 8188 h 10000"/>
                <a:gd name="connsiteX2721" fmla="*/ 1516 w 10354"/>
                <a:gd name="connsiteY2721" fmla="*/ 8171 h 10000"/>
                <a:gd name="connsiteX2722" fmla="*/ 1525 w 10354"/>
                <a:gd name="connsiteY2722" fmla="*/ 8162 h 10000"/>
                <a:gd name="connsiteX2723" fmla="*/ 1539 w 10354"/>
                <a:gd name="connsiteY2723" fmla="*/ 8145 h 10000"/>
                <a:gd name="connsiteX2724" fmla="*/ 1558 w 10354"/>
                <a:gd name="connsiteY2724" fmla="*/ 8145 h 10000"/>
                <a:gd name="connsiteX2725" fmla="*/ 1562 w 10354"/>
                <a:gd name="connsiteY2725" fmla="*/ 8188 h 10000"/>
                <a:gd name="connsiteX2726" fmla="*/ 1585 w 10354"/>
                <a:gd name="connsiteY2726" fmla="*/ 8171 h 10000"/>
                <a:gd name="connsiteX2727" fmla="*/ 1590 w 10354"/>
                <a:gd name="connsiteY2727" fmla="*/ 8188 h 10000"/>
                <a:gd name="connsiteX2728" fmla="*/ 1599 w 10354"/>
                <a:gd name="connsiteY2728" fmla="*/ 8171 h 10000"/>
                <a:gd name="connsiteX2729" fmla="*/ 1599 w 10354"/>
                <a:gd name="connsiteY2729" fmla="*/ 8162 h 10000"/>
                <a:gd name="connsiteX2730" fmla="*/ 1604 w 10354"/>
                <a:gd name="connsiteY2730" fmla="*/ 8137 h 10000"/>
                <a:gd name="connsiteX2731" fmla="*/ 1618 w 10354"/>
                <a:gd name="connsiteY2731" fmla="*/ 8145 h 10000"/>
                <a:gd name="connsiteX2732" fmla="*/ 1627 w 10354"/>
                <a:gd name="connsiteY2732" fmla="*/ 8137 h 10000"/>
                <a:gd name="connsiteX2733" fmla="*/ 1631 w 10354"/>
                <a:gd name="connsiteY2733" fmla="*/ 8137 h 10000"/>
                <a:gd name="connsiteX2734" fmla="*/ 1636 w 10354"/>
                <a:gd name="connsiteY2734" fmla="*/ 8171 h 10000"/>
                <a:gd name="connsiteX2735" fmla="*/ 1645 w 10354"/>
                <a:gd name="connsiteY2735" fmla="*/ 8188 h 10000"/>
                <a:gd name="connsiteX2736" fmla="*/ 1664 w 10354"/>
                <a:gd name="connsiteY2736" fmla="*/ 8171 h 10000"/>
                <a:gd name="connsiteX2737" fmla="*/ 1673 w 10354"/>
                <a:gd name="connsiteY2737" fmla="*/ 8188 h 10000"/>
                <a:gd name="connsiteX2738" fmla="*/ 1691 w 10354"/>
                <a:gd name="connsiteY2738" fmla="*/ 8171 h 10000"/>
                <a:gd name="connsiteX2739" fmla="*/ 1705 w 10354"/>
                <a:gd name="connsiteY2739" fmla="*/ 8171 h 10000"/>
                <a:gd name="connsiteX2740" fmla="*/ 1719 w 10354"/>
                <a:gd name="connsiteY2740" fmla="*/ 8197 h 10000"/>
                <a:gd name="connsiteX2741" fmla="*/ 1724 w 10354"/>
                <a:gd name="connsiteY2741" fmla="*/ 8231 h 10000"/>
                <a:gd name="connsiteX2742" fmla="*/ 1751 w 10354"/>
                <a:gd name="connsiteY2742" fmla="*/ 8256 h 10000"/>
                <a:gd name="connsiteX2743" fmla="*/ 1751 w 10354"/>
                <a:gd name="connsiteY2743" fmla="*/ 8274 h 10000"/>
                <a:gd name="connsiteX2744" fmla="*/ 1760 w 10354"/>
                <a:gd name="connsiteY2744" fmla="*/ 8282 h 10000"/>
                <a:gd name="connsiteX2745" fmla="*/ 1770 w 10354"/>
                <a:gd name="connsiteY2745" fmla="*/ 8325 h 10000"/>
                <a:gd name="connsiteX2746" fmla="*/ 1770 w 10354"/>
                <a:gd name="connsiteY2746" fmla="*/ 8350 h 10000"/>
                <a:gd name="connsiteX2747" fmla="*/ 1779 w 10354"/>
                <a:gd name="connsiteY2747" fmla="*/ 8368 h 10000"/>
                <a:gd name="connsiteX2748" fmla="*/ 1783 w 10354"/>
                <a:gd name="connsiteY2748" fmla="*/ 8359 h 10000"/>
                <a:gd name="connsiteX2749" fmla="*/ 1783 w 10354"/>
                <a:gd name="connsiteY2749" fmla="*/ 8308 h 10000"/>
                <a:gd name="connsiteX2750" fmla="*/ 1779 w 10354"/>
                <a:gd name="connsiteY2750" fmla="*/ 8299 h 10000"/>
                <a:gd name="connsiteX2751" fmla="*/ 1783 w 10354"/>
                <a:gd name="connsiteY2751" fmla="*/ 8282 h 10000"/>
                <a:gd name="connsiteX2752" fmla="*/ 1797 w 10354"/>
                <a:gd name="connsiteY2752" fmla="*/ 8274 h 10000"/>
                <a:gd name="connsiteX2753" fmla="*/ 1797 w 10354"/>
                <a:gd name="connsiteY2753" fmla="*/ 8299 h 10000"/>
                <a:gd name="connsiteX2754" fmla="*/ 1806 w 10354"/>
                <a:gd name="connsiteY2754" fmla="*/ 8308 h 10000"/>
                <a:gd name="connsiteX2755" fmla="*/ 1811 w 10354"/>
                <a:gd name="connsiteY2755" fmla="*/ 8325 h 10000"/>
                <a:gd name="connsiteX2756" fmla="*/ 1820 w 10354"/>
                <a:gd name="connsiteY2756" fmla="*/ 8333 h 10000"/>
                <a:gd name="connsiteX2757" fmla="*/ 1853 w 10354"/>
                <a:gd name="connsiteY2757" fmla="*/ 8359 h 10000"/>
                <a:gd name="connsiteX2758" fmla="*/ 1866 w 10354"/>
                <a:gd name="connsiteY2758" fmla="*/ 8359 h 10000"/>
                <a:gd name="connsiteX2759" fmla="*/ 1885 w 10354"/>
                <a:gd name="connsiteY2759" fmla="*/ 8325 h 10000"/>
                <a:gd name="connsiteX2760" fmla="*/ 1885 w 10354"/>
                <a:gd name="connsiteY2760" fmla="*/ 8308 h 10000"/>
                <a:gd name="connsiteX2761" fmla="*/ 1894 w 10354"/>
                <a:gd name="connsiteY2761" fmla="*/ 8299 h 10000"/>
                <a:gd name="connsiteX2762" fmla="*/ 1899 w 10354"/>
                <a:gd name="connsiteY2762" fmla="*/ 8282 h 10000"/>
                <a:gd name="connsiteX2763" fmla="*/ 1912 w 10354"/>
                <a:gd name="connsiteY2763" fmla="*/ 8282 h 10000"/>
                <a:gd name="connsiteX2764" fmla="*/ 1917 w 10354"/>
                <a:gd name="connsiteY2764" fmla="*/ 8299 h 10000"/>
                <a:gd name="connsiteX2765" fmla="*/ 1917 w 10354"/>
                <a:gd name="connsiteY2765" fmla="*/ 8274 h 10000"/>
                <a:gd name="connsiteX2766" fmla="*/ 1940 w 10354"/>
                <a:gd name="connsiteY2766" fmla="*/ 8282 h 10000"/>
                <a:gd name="connsiteX2767" fmla="*/ 1945 w 10354"/>
                <a:gd name="connsiteY2767" fmla="*/ 8274 h 10000"/>
                <a:gd name="connsiteX2768" fmla="*/ 1972 w 10354"/>
                <a:gd name="connsiteY2768" fmla="*/ 8308 h 10000"/>
                <a:gd name="connsiteX2769" fmla="*/ 1986 w 10354"/>
                <a:gd name="connsiteY2769" fmla="*/ 8282 h 10000"/>
                <a:gd name="connsiteX2770" fmla="*/ 1991 w 10354"/>
                <a:gd name="connsiteY2770" fmla="*/ 8274 h 10000"/>
                <a:gd name="connsiteX2771" fmla="*/ 2014 w 10354"/>
                <a:gd name="connsiteY2771" fmla="*/ 8274 h 10000"/>
                <a:gd name="connsiteX2772" fmla="*/ 2018 w 10354"/>
                <a:gd name="connsiteY2772" fmla="*/ 8256 h 10000"/>
                <a:gd name="connsiteX2773" fmla="*/ 2041 w 10354"/>
                <a:gd name="connsiteY2773" fmla="*/ 8274 h 10000"/>
                <a:gd name="connsiteX2774" fmla="*/ 2046 w 10354"/>
                <a:gd name="connsiteY2774" fmla="*/ 8282 h 10000"/>
                <a:gd name="connsiteX2775" fmla="*/ 2046 w 10354"/>
                <a:gd name="connsiteY2775" fmla="*/ 8325 h 10000"/>
                <a:gd name="connsiteX2776" fmla="*/ 2060 w 10354"/>
                <a:gd name="connsiteY2776" fmla="*/ 8350 h 10000"/>
                <a:gd name="connsiteX2777" fmla="*/ 2078 w 10354"/>
                <a:gd name="connsiteY2777" fmla="*/ 8350 h 10000"/>
                <a:gd name="connsiteX2778" fmla="*/ 2092 w 10354"/>
                <a:gd name="connsiteY2778" fmla="*/ 8350 h 10000"/>
                <a:gd name="connsiteX2779" fmla="*/ 2092 w 10354"/>
                <a:gd name="connsiteY2779" fmla="*/ 8350 h 10000"/>
                <a:gd name="connsiteX2780" fmla="*/ 2101 w 10354"/>
                <a:gd name="connsiteY2780" fmla="*/ 8368 h 10000"/>
                <a:gd name="connsiteX2781" fmla="*/ 2120 w 10354"/>
                <a:gd name="connsiteY2781" fmla="*/ 8368 h 10000"/>
                <a:gd name="connsiteX2782" fmla="*/ 2124 w 10354"/>
                <a:gd name="connsiteY2782" fmla="*/ 8359 h 10000"/>
                <a:gd name="connsiteX2783" fmla="*/ 2138 w 10354"/>
                <a:gd name="connsiteY2783" fmla="*/ 8325 h 10000"/>
                <a:gd name="connsiteX2784" fmla="*/ 2147 w 10354"/>
                <a:gd name="connsiteY2784" fmla="*/ 8325 h 10000"/>
                <a:gd name="connsiteX2785" fmla="*/ 2161 w 10354"/>
                <a:gd name="connsiteY2785" fmla="*/ 8350 h 10000"/>
                <a:gd name="connsiteX2786" fmla="*/ 2198 w 10354"/>
                <a:gd name="connsiteY2786" fmla="*/ 8350 h 10000"/>
                <a:gd name="connsiteX2787" fmla="*/ 2207 w 10354"/>
                <a:gd name="connsiteY2787" fmla="*/ 8333 h 10000"/>
                <a:gd name="connsiteX2788" fmla="*/ 2226 w 10354"/>
                <a:gd name="connsiteY2788" fmla="*/ 8325 h 10000"/>
                <a:gd name="connsiteX2789" fmla="*/ 2249 w 10354"/>
                <a:gd name="connsiteY2789" fmla="*/ 8222 h 10000"/>
                <a:gd name="connsiteX2790" fmla="*/ 2235 w 10354"/>
                <a:gd name="connsiteY2790" fmla="*/ 8197 h 10000"/>
                <a:gd name="connsiteX2791" fmla="*/ 2198 w 10354"/>
                <a:gd name="connsiteY2791" fmla="*/ 8197 h 10000"/>
                <a:gd name="connsiteX2792" fmla="*/ 2189 w 10354"/>
                <a:gd name="connsiteY2792" fmla="*/ 8171 h 10000"/>
                <a:gd name="connsiteX2793" fmla="*/ 2161 w 10354"/>
                <a:gd name="connsiteY2793" fmla="*/ 8145 h 10000"/>
                <a:gd name="connsiteX2794" fmla="*/ 2161 w 10354"/>
                <a:gd name="connsiteY2794" fmla="*/ 8137 h 10000"/>
                <a:gd name="connsiteX2795" fmla="*/ 2152 w 10354"/>
                <a:gd name="connsiteY2795" fmla="*/ 8120 h 10000"/>
                <a:gd name="connsiteX2796" fmla="*/ 2138 w 10354"/>
                <a:gd name="connsiteY2796" fmla="*/ 8111 h 10000"/>
                <a:gd name="connsiteX2797" fmla="*/ 2138 w 10354"/>
                <a:gd name="connsiteY2797" fmla="*/ 8094 h 10000"/>
                <a:gd name="connsiteX2798" fmla="*/ 2147 w 10354"/>
                <a:gd name="connsiteY2798" fmla="*/ 8085 h 10000"/>
                <a:gd name="connsiteX2799" fmla="*/ 2161 w 10354"/>
                <a:gd name="connsiteY2799" fmla="*/ 8060 h 10000"/>
                <a:gd name="connsiteX2800" fmla="*/ 2198 w 10354"/>
                <a:gd name="connsiteY2800" fmla="*/ 8034 h 10000"/>
                <a:gd name="connsiteX2801" fmla="*/ 2198 w 10354"/>
                <a:gd name="connsiteY2801" fmla="*/ 8026 h 10000"/>
                <a:gd name="connsiteX2802" fmla="*/ 2198 w 10354"/>
                <a:gd name="connsiteY2802" fmla="*/ 8000 h 10000"/>
                <a:gd name="connsiteX2803" fmla="*/ 2180 w 10354"/>
                <a:gd name="connsiteY2803" fmla="*/ 7940 h 10000"/>
                <a:gd name="connsiteX2804" fmla="*/ 2189 w 10354"/>
                <a:gd name="connsiteY2804" fmla="*/ 7940 h 10000"/>
                <a:gd name="connsiteX2805" fmla="*/ 2198 w 10354"/>
                <a:gd name="connsiteY2805" fmla="*/ 7923 h 10000"/>
                <a:gd name="connsiteX2806" fmla="*/ 2198 w 10354"/>
                <a:gd name="connsiteY2806" fmla="*/ 7897 h 10000"/>
                <a:gd name="connsiteX2807" fmla="*/ 2207 w 10354"/>
                <a:gd name="connsiteY2807" fmla="*/ 7889 h 10000"/>
                <a:gd name="connsiteX2808" fmla="*/ 2221 w 10354"/>
                <a:gd name="connsiteY2808" fmla="*/ 7889 h 10000"/>
                <a:gd name="connsiteX2809" fmla="*/ 2226 w 10354"/>
                <a:gd name="connsiteY2809" fmla="*/ 7897 h 10000"/>
                <a:gd name="connsiteX2810" fmla="*/ 2235 w 10354"/>
                <a:gd name="connsiteY2810" fmla="*/ 7889 h 10000"/>
                <a:gd name="connsiteX2811" fmla="*/ 2249 w 10354"/>
                <a:gd name="connsiteY2811" fmla="*/ 7897 h 10000"/>
                <a:gd name="connsiteX2812" fmla="*/ 2267 w 10354"/>
                <a:gd name="connsiteY2812" fmla="*/ 7897 h 10000"/>
                <a:gd name="connsiteX2813" fmla="*/ 2272 w 10354"/>
                <a:gd name="connsiteY2813" fmla="*/ 7889 h 10000"/>
                <a:gd name="connsiteX2814" fmla="*/ 2281 w 10354"/>
                <a:gd name="connsiteY2814" fmla="*/ 7872 h 10000"/>
                <a:gd name="connsiteX2815" fmla="*/ 2272 w 10354"/>
                <a:gd name="connsiteY2815" fmla="*/ 7846 h 10000"/>
                <a:gd name="connsiteX2816" fmla="*/ 2253 w 10354"/>
                <a:gd name="connsiteY2816" fmla="*/ 7838 h 10000"/>
                <a:gd name="connsiteX2817" fmla="*/ 2221 w 10354"/>
                <a:gd name="connsiteY2817" fmla="*/ 7821 h 10000"/>
                <a:gd name="connsiteX2818" fmla="*/ 2212 w 10354"/>
                <a:gd name="connsiteY2818" fmla="*/ 7812 h 10000"/>
                <a:gd name="connsiteX2819" fmla="*/ 2212 w 10354"/>
                <a:gd name="connsiteY2819" fmla="*/ 7803 h 10000"/>
                <a:gd name="connsiteX2820" fmla="*/ 2221 w 10354"/>
                <a:gd name="connsiteY2820" fmla="*/ 7803 h 10000"/>
                <a:gd name="connsiteX2821" fmla="*/ 2235 w 10354"/>
                <a:gd name="connsiteY2821" fmla="*/ 7786 h 10000"/>
                <a:gd name="connsiteX2822" fmla="*/ 2240 w 10354"/>
                <a:gd name="connsiteY2822" fmla="*/ 7778 h 10000"/>
                <a:gd name="connsiteX2823" fmla="*/ 2226 w 10354"/>
                <a:gd name="connsiteY2823" fmla="*/ 7761 h 10000"/>
                <a:gd name="connsiteX2824" fmla="*/ 2221 w 10354"/>
                <a:gd name="connsiteY2824" fmla="*/ 7778 h 10000"/>
                <a:gd name="connsiteX2825" fmla="*/ 2198 w 10354"/>
                <a:gd name="connsiteY2825" fmla="*/ 7778 h 10000"/>
                <a:gd name="connsiteX2826" fmla="*/ 2198 w 10354"/>
                <a:gd name="connsiteY2826" fmla="*/ 7752 h 10000"/>
                <a:gd name="connsiteX2827" fmla="*/ 2207 w 10354"/>
                <a:gd name="connsiteY2827" fmla="*/ 7735 h 10000"/>
                <a:gd name="connsiteX2828" fmla="*/ 2212 w 10354"/>
                <a:gd name="connsiteY2828" fmla="*/ 7726 h 10000"/>
                <a:gd name="connsiteX2829" fmla="*/ 2198 w 10354"/>
                <a:gd name="connsiteY2829" fmla="*/ 7692 h 10000"/>
                <a:gd name="connsiteX2830" fmla="*/ 2221 w 10354"/>
                <a:gd name="connsiteY2830" fmla="*/ 7692 h 10000"/>
                <a:gd name="connsiteX2831" fmla="*/ 2221 w 10354"/>
                <a:gd name="connsiteY2831" fmla="*/ 7675 h 10000"/>
                <a:gd name="connsiteX2832" fmla="*/ 2235 w 10354"/>
                <a:gd name="connsiteY2832" fmla="*/ 7675 h 10000"/>
                <a:gd name="connsiteX2833" fmla="*/ 2240 w 10354"/>
                <a:gd name="connsiteY2833" fmla="*/ 7692 h 10000"/>
                <a:gd name="connsiteX2834" fmla="*/ 2249 w 10354"/>
                <a:gd name="connsiteY2834" fmla="*/ 7692 h 10000"/>
                <a:gd name="connsiteX2835" fmla="*/ 2258 w 10354"/>
                <a:gd name="connsiteY2835" fmla="*/ 7692 h 10000"/>
                <a:gd name="connsiteX2836" fmla="*/ 2267 w 10354"/>
                <a:gd name="connsiteY2836" fmla="*/ 7692 h 10000"/>
                <a:gd name="connsiteX2837" fmla="*/ 2295 w 10354"/>
                <a:gd name="connsiteY2837" fmla="*/ 7692 h 10000"/>
                <a:gd name="connsiteX2838" fmla="*/ 2300 w 10354"/>
                <a:gd name="connsiteY2838" fmla="*/ 7701 h 10000"/>
                <a:gd name="connsiteX2839" fmla="*/ 2313 w 10354"/>
                <a:gd name="connsiteY2839" fmla="*/ 7675 h 10000"/>
                <a:gd name="connsiteX2840" fmla="*/ 2323 w 10354"/>
                <a:gd name="connsiteY2840" fmla="*/ 7675 h 10000"/>
                <a:gd name="connsiteX2841" fmla="*/ 2341 w 10354"/>
                <a:gd name="connsiteY2841" fmla="*/ 7675 h 10000"/>
                <a:gd name="connsiteX2842" fmla="*/ 2346 w 10354"/>
                <a:gd name="connsiteY2842" fmla="*/ 7667 h 10000"/>
                <a:gd name="connsiteX2843" fmla="*/ 2359 w 10354"/>
                <a:gd name="connsiteY2843" fmla="*/ 7650 h 10000"/>
                <a:gd name="connsiteX2844" fmla="*/ 2373 w 10354"/>
                <a:gd name="connsiteY2844" fmla="*/ 7624 h 10000"/>
                <a:gd name="connsiteX2845" fmla="*/ 2382 w 10354"/>
                <a:gd name="connsiteY2845" fmla="*/ 7641 h 10000"/>
                <a:gd name="connsiteX2846" fmla="*/ 2396 w 10354"/>
                <a:gd name="connsiteY2846" fmla="*/ 7650 h 10000"/>
                <a:gd name="connsiteX2847" fmla="*/ 2401 w 10354"/>
                <a:gd name="connsiteY2847" fmla="*/ 7650 h 10000"/>
                <a:gd name="connsiteX2848" fmla="*/ 2401 w 10354"/>
                <a:gd name="connsiteY2848" fmla="*/ 7624 h 10000"/>
                <a:gd name="connsiteX2849" fmla="*/ 2419 w 10354"/>
                <a:gd name="connsiteY2849" fmla="*/ 7624 h 10000"/>
                <a:gd name="connsiteX2850" fmla="*/ 2433 w 10354"/>
                <a:gd name="connsiteY2850" fmla="*/ 7615 h 10000"/>
                <a:gd name="connsiteX2851" fmla="*/ 2442 w 10354"/>
                <a:gd name="connsiteY2851" fmla="*/ 7615 h 10000"/>
                <a:gd name="connsiteX2852" fmla="*/ 2447 w 10354"/>
                <a:gd name="connsiteY2852" fmla="*/ 7598 h 10000"/>
                <a:gd name="connsiteX2853" fmla="*/ 2461 w 10354"/>
                <a:gd name="connsiteY2853" fmla="*/ 7598 h 10000"/>
                <a:gd name="connsiteX2854" fmla="*/ 2465 w 10354"/>
                <a:gd name="connsiteY2854" fmla="*/ 7615 h 10000"/>
                <a:gd name="connsiteX2855" fmla="*/ 2479 w 10354"/>
                <a:gd name="connsiteY2855" fmla="*/ 7564 h 10000"/>
                <a:gd name="connsiteX2856" fmla="*/ 2488 w 10354"/>
                <a:gd name="connsiteY2856" fmla="*/ 7556 h 10000"/>
                <a:gd name="connsiteX2857" fmla="*/ 2493 w 10354"/>
                <a:gd name="connsiteY2857" fmla="*/ 7556 h 10000"/>
                <a:gd name="connsiteX2858" fmla="*/ 2507 w 10354"/>
                <a:gd name="connsiteY2858" fmla="*/ 7556 h 10000"/>
                <a:gd name="connsiteX2859" fmla="*/ 2530 w 10354"/>
                <a:gd name="connsiteY2859" fmla="*/ 7538 h 10000"/>
                <a:gd name="connsiteX2860" fmla="*/ 2530 w 10354"/>
                <a:gd name="connsiteY2860" fmla="*/ 7556 h 10000"/>
                <a:gd name="connsiteX2861" fmla="*/ 2641 w 10354"/>
                <a:gd name="connsiteY2861" fmla="*/ 7504 h 10000"/>
                <a:gd name="connsiteX2862" fmla="*/ 2654 w 10354"/>
                <a:gd name="connsiteY2862" fmla="*/ 7487 h 10000"/>
                <a:gd name="connsiteX2863" fmla="*/ 2664 w 10354"/>
                <a:gd name="connsiteY2863" fmla="*/ 7487 h 10000"/>
                <a:gd name="connsiteX2864" fmla="*/ 2668 w 10354"/>
                <a:gd name="connsiteY2864" fmla="*/ 7479 h 10000"/>
                <a:gd name="connsiteX2865" fmla="*/ 2673 w 10354"/>
                <a:gd name="connsiteY2865" fmla="*/ 7462 h 10000"/>
                <a:gd name="connsiteX2866" fmla="*/ 2673 w 10354"/>
                <a:gd name="connsiteY2866" fmla="*/ 7427 h 10000"/>
                <a:gd name="connsiteX2867" fmla="*/ 2687 w 10354"/>
                <a:gd name="connsiteY2867" fmla="*/ 7436 h 10000"/>
                <a:gd name="connsiteX2868" fmla="*/ 2696 w 10354"/>
                <a:gd name="connsiteY2868" fmla="*/ 7427 h 10000"/>
                <a:gd name="connsiteX2869" fmla="*/ 2700 w 10354"/>
                <a:gd name="connsiteY2869" fmla="*/ 7419 h 10000"/>
                <a:gd name="connsiteX2870" fmla="*/ 2710 w 10354"/>
                <a:gd name="connsiteY2870" fmla="*/ 7402 h 10000"/>
                <a:gd name="connsiteX2871" fmla="*/ 2724 w 10354"/>
                <a:gd name="connsiteY2871" fmla="*/ 7402 h 10000"/>
                <a:gd name="connsiteX2872" fmla="*/ 2724 w 10354"/>
                <a:gd name="connsiteY2872" fmla="*/ 7393 h 10000"/>
                <a:gd name="connsiteX2873" fmla="*/ 2737 w 10354"/>
                <a:gd name="connsiteY2873" fmla="*/ 7393 h 10000"/>
                <a:gd name="connsiteX2874" fmla="*/ 2742 w 10354"/>
                <a:gd name="connsiteY2874" fmla="*/ 7402 h 10000"/>
                <a:gd name="connsiteX2875" fmla="*/ 2747 w 10354"/>
                <a:gd name="connsiteY2875" fmla="*/ 7402 h 10000"/>
                <a:gd name="connsiteX2876" fmla="*/ 2760 w 10354"/>
                <a:gd name="connsiteY2876" fmla="*/ 7402 h 10000"/>
                <a:gd name="connsiteX2877" fmla="*/ 2770 w 10354"/>
                <a:gd name="connsiteY2877" fmla="*/ 7402 h 10000"/>
                <a:gd name="connsiteX2878" fmla="*/ 2774 w 10354"/>
                <a:gd name="connsiteY2878" fmla="*/ 7402 h 10000"/>
                <a:gd name="connsiteX2879" fmla="*/ 2783 w 10354"/>
                <a:gd name="connsiteY2879" fmla="*/ 7419 h 10000"/>
                <a:gd name="connsiteX2880" fmla="*/ 2802 w 10354"/>
                <a:gd name="connsiteY2880" fmla="*/ 7436 h 10000"/>
                <a:gd name="connsiteX2881" fmla="*/ 2816 w 10354"/>
                <a:gd name="connsiteY2881" fmla="*/ 7419 h 10000"/>
                <a:gd name="connsiteX2882" fmla="*/ 2834 w 10354"/>
                <a:gd name="connsiteY2882" fmla="*/ 7419 h 10000"/>
                <a:gd name="connsiteX2883" fmla="*/ 2843 w 10354"/>
                <a:gd name="connsiteY2883" fmla="*/ 7419 h 10000"/>
                <a:gd name="connsiteX2884" fmla="*/ 2848 w 10354"/>
                <a:gd name="connsiteY2884" fmla="*/ 7436 h 10000"/>
                <a:gd name="connsiteX2885" fmla="*/ 2857 w 10354"/>
                <a:gd name="connsiteY2885" fmla="*/ 7453 h 10000"/>
                <a:gd name="connsiteX2886" fmla="*/ 2857 w 10354"/>
                <a:gd name="connsiteY2886" fmla="*/ 7504 h 10000"/>
                <a:gd name="connsiteX2887" fmla="*/ 2862 w 10354"/>
                <a:gd name="connsiteY2887" fmla="*/ 7530 h 10000"/>
                <a:gd name="connsiteX2888" fmla="*/ 2876 w 10354"/>
                <a:gd name="connsiteY2888" fmla="*/ 7538 h 10000"/>
                <a:gd name="connsiteX2889" fmla="*/ 2871 w 10354"/>
                <a:gd name="connsiteY2889" fmla="*/ 7564 h 10000"/>
                <a:gd name="connsiteX2890" fmla="*/ 2871 w 10354"/>
                <a:gd name="connsiteY2890" fmla="*/ 7598 h 10000"/>
                <a:gd name="connsiteX2891" fmla="*/ 2857 w 10354"/>
                <a:gd name="connsiteY2891" fmla="*/ 7624 h 10000"/>
                <a:gd name="connsiteX2892" fmla="*/ 2862 w 10354"/>
                <a:gd name="connsiteY2892" fmla="*/ 7641 h 10000"/>
                <a:gd name="connsiteX2893" fmla="*/ 2871 w 10354"/>
                <a:gd name="connsiteY2893" fmla="*/ 7667 h 10000"/>
                <a:gd name="connsiteX2894" fmla="*/ 2880 w 10354"/>
                <a:gd name="connsiteY2894" fmla="*/ 7650 h 10000"/>
                <a:gd name="connsiteX2895" fmla="*/ 2894 w 10354"/>
                <a:gd name="connsiteY2895" fmla="*/ 7667 h 10000"/>
                <a:gd name="connsiteX2896" fmla="*/ 2903 w 10354"/>
                <a:gd name="connsiteY2896" fmla="*/ 7667 h 10000"/>
                <a:gd name="connsiteX2897" fmla="*/ 2908 w 10354"/>
                <a:gd name="connsiteY2897" fmla="*/ 7641 h 10000"/>
                <a:gd name="connsiteX2898" fmla="*/ 2917 w 10354"/>
                <a:gd name="connsiteY2898" fmla="*/ 7641 h 10000"/>
                <a:gd name="connsiteX2899" fmla="*/ 2922 w 10354"/>
                <a:gd name="connsiteY2899" fmla="*/ 7641 h 10000"/>
                <a:gd name="connsiteX2900" fmla="*/ 2931 w 10354"/>
                <a:gd name="connsiteY2900" fmla="*/ 7615 h 10000"/>
                <a:gd name="connsiteX2901" fmla="*/ 2935 w 10354"/>
                <a:gd name="connsiteY2901" fmla="*/ 7615 h 10000"/>
                <a:gd name="connsiteX2902" fmla="*/ 2945 w 10354"/>
                <a:gd name="connsiteY2902" fmla="*/ 7650 h 10000"/>
                <a:gd name="connsiteX2903" fmla="*/ 2949 w 10354"/>
                <a:gd name="connsiteY2903" fmla="*/ 7667 h 10000"/>
                <a:gd name="connsiteX2904" fmla="*/ 2949 w 10354"/>
                <a:gd name="connsiteY2904" fmla="*/ 7675 h 10000"/>
                <a:gd name="connsiteX2905" fmla="*/ 2945 w 10354"/>
                <a:gd name="connsiteY2905" fmla="*/ 7692 h 10000"/>
                <a:gd name="connsiteX2906" fmla="*/ 2963 w 10354"/>
                <a:gd name="connsiteY2906" fmla="*/ 7701 h 10000"/>
                <a:gd name="connsiteX2907" fmla="*/ 2963 w 10354"/>
                <a:gd name="connsiteY2907" fmla="*/ 7675 h 10000"/>
                <a:gd name="connsiteX2908" fmla="*/ 2954 w 10354"/>
                <a:gd name="connsiteY2908" fmla="*/ 7667 h 10000"/>
                <a:gd name="connsiteX2909" fmla="*/ 2963 w 10354"/>
                <a:gd name="connsiteY2909" fmla="*/ 7667 h 10000"/>
                <a:gd name="connsiteX2910" fmla="*/ 2982 w 10354"/>
                <a:gd name="connsiteY2910" fmla="*/ 7667 h 10000"/>
                <a:gd name="connsiteX2911" fmla="*/ 2991 w 10354"/>
                <a:gd name="connsiteY2911" fmla="*/ 7675 h 10000"/>
                <a:gd name="connsiteX2912" fmla="*/ 2995 w 10354"/>
                <a:gd name="connsiteY2912" fmla="*/ 7692 h 10000"/>
                <a:gd name="connsiteX2913" fmla="*/ 3009 w 10354"/>
                <a:gd name="connsiteY2913" fmla="*/ 7701 h 10000"/>
                <a:gd name="connsiteX2914" fmla="*/ 3018 w 10354"/>
                <a:gd name="connsiteY2914" fmla="*/ 7701 h 10000"/>
                <a:gd name="connsiteX2915" fmla="*/ 3023 w 10354"/>
                <a:gd name="connsiteY2915" fmla="*/ 7692 h 10000"/>
                <a:gd name="connsiteX2916" fmla="*/ 3028 w 10354"/>
                <a:gd name="connsiteY2916" fmla="*/ 7675 h 10000"/>
                <a:gd name="connsiteX2917" fmla="*/ 3037 w 10354"/>
                <a:gd name="connsiteY2917" fmla="*/ 7692 h 10000"/>
                <a:gd name="connsiteX2918" fmla="*/ 3028 w 10354"/>
                <a:gd name="connsiteY2918" fmla="*/ 7709 h 10000"/>
                <a:gd name="connsiteX2919" fmla="*/ 3023 w 10354"/>
                <a:gd name="connsiteY2919" fmla="*/ 7709 h 10000"/>
                <a:gd name="connsiteX2920" fmla="*/ 3018 w 10354"/>
                <a:gd name="connsiteY2920" fmla="*/ 7726 h 10000"/>
                <a:gd name="connsiteX2921" fmla="*/ 3009 w 10354"/>
                <a:gd name="connsiteY2921" fmla="*/ 7735 h 10000"/>
                <a:gd name="connsiteX2922" fmla="*/ 3009 w 10354"/>
                <a:gd name="connsiteY2922" fmla="*/ 7761 h 10000"/>
                <a:gd name="connsiteX2923" fmla="*/ 3009 w 10354"/>
                <a:gd name="connsiteY2923" fmla="*/ 7778 h 10000"/>
                <a:gd name="connsiteX2924" fmla="*/ 3018 w 10354"/>
                <a:gd name="connsiteY2924" fmla="*/ 7786 h 10000"/>
                <a:gd name="connsiteX2925" fmla="*/ 3023 w 10354"/>
                <a:gd name="connsiteY2925" fmla="*/ 7786 h 10000"/>
                <a:gd name="connsiteX2926" fmla="*/ 3028 w 10354"/>
                <a:gd name="connsiteY2926" fmla="*/ 7778 h 10000"/>
                <a:gd name="connsiteX2927" fmla="*/ 3051 w 10354"/>
                <a:gd name="connsiteY2927" fmla="*/ 7761 h 10000"/>
                <a:gd name="connsiteX2928" fmla="*/ 3055 w 10354"/>
                <a:gd name="connsiteY2928" fmla="*/ 7778 h 10000"/>
                <a:gd name="connsiteX2929" fmla="*/ 3065 w 10354"/>
                <a:gd name="connsiteY2929" fmla="*/ 7761 h 10000"/>
                <a:gd name="connsiteX2930" fmla="*/ 3069 w 10354"/>
                <a:gd name="connsiteY2930" fmla="*/ 7786 h 10000"/>
                <a:gd name="connsiteX2931" fmla="*/ 3083 w 10354"/>
                <a:gd name="connsiteY2931" fmla="*/ 7786 h 10000"/>
                <a:gd name="connsiteX2932" fmla="*/ 3078 w 10354"/>
                <a:gd name="connsiteY2932" fmla="*/ 7761 h 10000"/>
                <a:gd name="connsiteX2933" fmla="*/ 3083 w 10354"/>
                <a:gd name="connsiteY2933" fmla="*/ 7752 h 10000"/>
                <a:gd name="connsiteX2934" fmla="*/ 3097 w 10354"/>
                <a:gd name="connsiteY2934" fmla="*/ 7752 h 10000"/>
                <a:gd name="connsiteX2935" fmla="*/ 3111 w 10354"/>
                <a:gd name="connsiteY2935" fmla="*/ 7726 h 10000"/>
                <a:gd name="connsiteX2936" fmla="*/ 3124 w 10354"/>
                <a:gd name="connsiteY2936" fmla="*/ 7709 h 10000"/>
                <a:gd name="connsiteX2937" fmla="*/ 3143 w 10354"/>
                <a:gd name="connsiteY2937" fmla="*/ 7692 h 10000"/>
                <a:gd name="connsiteX2938" fmla="*/ 3152 w 10354"/>
                <a:gd name="connsiteY2938" fmla="*/ 7667 h 10000"/>
                <a:gd name="connsiteX2939" fmla="*/ 3157 w 10354"/>
                <a:gd name="connsiteY2939" fmla="*/ 7650 h 10000"/>
                <a:gd name="connsiteX2940" fmla="*/ 3161 w 10354"/>
                <a:gd name="connsiteY2940" fmla="*/ 7650 h 10000"/>
                <a:gd name="connsiteX2941" fmla="*/ 3189 w 10354"/>
                <a:gd name="connsiteY2941" fmla="*/ 7641 h 10000"/>
                <a:gd name="connsiteX2942" fmla="*/ 3198 w 10354"/>
                <a:gd name="connsiteY2942" fmla="*/ 7624 h 10000"/>
                <a:gd name="connsiteX2943" fmla="*/ 3217 w 10354"/>
                <a:gd name="connsiteY2943" fmla="*/ 7615 h 10000"/>
                <a:gd name="connsiteX2944" fmla="*/ 3235 w 10354"/>
                <a:gd name="connsiteY2944" fmla="*/ 7598 h 10000"/>
                <a:gd name="connsiteX2945" fmla="*/ 3235 w 10354"/>
                <a:gd name="connsiteY2945" fmla="*/ 7615 h 10000"/>
                <a:gd name="connsiteX2946" fmla="*/ 3235 w 10354"/>
                <a:gd name="connsiteY2946" fmla="*/ 7641 h 10000"/>
                <a:gd name="connsiteX2947" fmla="*/ 3235 w 10354"/>
                <a:gd name="connsiteY2947" fmla="*/ 7650 h 10000"/>
                <a:gd name="connsiteX2948" fmla="*/ 3226 w 10354"/>
                <a:gd name="connsiteY2948" fmla="*/ 7650 h 10000"/>
                <a:gd name="connsiteX2949" fmla="*/ 3217 w 10354"/>
                <a:gd name="connsiteY2949" fmla="*/ 7650 h 10000"/>
                <a:gd name="connsiteX2950" fmla="*/ 3212 w 10354"/>
                <a:gd name="connsiteY2950" fmla="*/ 7675 h 10000"/>
                <a:gd name="connsiteX2951" fmla="*/ 3212 w 10354"/>
                <a:gd name="connsiteY2951" fmla="*/ 7675 h 10000"/>
                <a:gd name="connsiteX0" fmla="*/ 3212 w 10354"/>
                <a:gd name="connsiteY0" fmla="*/ 7675 h 10000"/>
                <a:gd name="connsiteX1" fmla="*/ 3217 w 10354"/>
                <a:gd name="connsiteY1" fmla="*/ 7692 h 10000"/>
                <a:gd name="connsiteX2" fmla="*/ 3226 w 10354"/>
                <a:gd name="connsiteY2" fmla="*/ 7692 h 10000"/>
                <a:gd name="connsiteX3" fmla="*/ 3309 w 10354"/>
                <a:gd name="connsiteY3" fmla="*/ 7838 h 10000"/>
                <a:gd name="connsiteX4" fmla="*/ 3452 w 10354"/>
                <a:gd name="connsiteY4" fmla="*/ 8325 h 10000"/>
                <a:gd name="connsiteX5" fmla="*/ 3470 w 10354"/>
                <a:gd name="connsiteY5" fmla="*/ 8299 h 10000"/>
                <a:gd name="connsiteX6" fmla="*/ 3470 w 10354"/>
                <a:gd name="connsiteY6" fmla="*/ 8282 h 10000"/>
                <a:gd name="connsiteX7" fmla="*/ 3470 w 10354"/>
                <a:gd name="connsiteY7" fmla="*/ 8274 h 10000"/>
                <a:gd name="connsiteX8" fmla="*/ 3484 w 10354"/>
                <a:gd name="connsiteY8" fmla="*/ 8231 h 10000"/>
                <a:gd name="connsiteX9" fmla="*/ 3498 w 10354"/>
                <a:gd name="connsiteY9" fmla="*/ 8231 h 10000"/>
                <a:gd name="connsiteX10" fmla="*/ 3498 w 10354"/>
                <a:gd name="connsiteY10" fmla="*/ 8248 h 10000"/>
                <a:gd name="connsiteX11" fmla="*/ 3512 w 10354"/>
                <a:gd name="connsiteY11" fmla="*/ 8256 h 10000"/>
                <a:gd name="connsiteX12" fmla="*/ 3525 w 10354"/>
                <a:gd name="connsiteY12" fmla="*/ 8274 h 10000"/>
                <a:gd name="connsiteX13" fmla="*/ 3525 w 10354"/>
                <a:gd name="connsiteY13" fmla="*/ 8282 h 10000"/>
                <a:gd name="connsiteX14" fmla="*/ 3525 w 10354"/>
                <a:gd name="connsiteY14" fmla="*/ 8308 h 10000"/>
                <a:gd name="connsiteX15" fmla="*/ 3530 w 10354"/>
                <a:gd name="connsiteY15" fmla="*/ 8308 h 10000"/>
                <a:gd name="connsiteX16" fmla="*/ 3539 w 10354"/>
                <a:gd name="connsiteY16" fmla="*/ 8333 h 10000"/>
                <a:gd name="connsiteX17" fmla="*/ 3571 w 10354"/>
                <a:gd name="connsiteY17" fmla="*/ 8333 h 10000"/>
                <a:gd name="connsiteX18" fmla="*/ 3590 w 10354"/>
                <a:gd name="connsiteY18" fmla="*/ 8350 h 10000"/>
                <a:gd name="connsiteX19" fmla="*/ 3599 w 10354"/>
                <a:gd name="connsiteY19" fmla="*/ 8333 h 10000"/>
                <a:gd name="connsiteX20" fmla="*/ 3618 w 10354"/>
                <a:gd name="connsiteY20" fmla="*/ 8333 h 10000"/>
                <a:gd name="connsiteX21" fmla="*/ 3618 w 10354"/>
                <a:gd name="connsiteY21" fmla="*/ 8325 h 10000"/>
                <a:gd name="connsiteX22" fmla="*/ 3627 w 10354"/>
                <a:gd name="connsiteY22" fmla="*/ 8308 h 10000"/>
                <a:gd name="connsiteX23" fmla="*/ 3641 w 10354"/>
                <a:gd name="connsiteY23" fmla="*/ 8308 h 10000"/>
                <a:gd name="connsiteX24" fmla="*/ 3645 w 10354"/>
                <a:gd name="connsiteY24" fmla="*/ 8308 h 10000"/>
                <a:gd name="connsiteX25" fmla="*/ 3650 w 10354"/>
                <a:gd name="connsiteY25" fmla="*/ 8299 h 10000"/>
                <a:gd name="connsiteX26" fmla="*/ 3659 w 10354"/>
                <a:gd name="connsiteY26" fmla="*/ 8282 h 10000"/>
                <a:gd name="connsiteX27" fmla="*/ 3677 w 10354"/>
                <a:gd name="connsiteY27" fmla="*/ 8299 h 10000"/>
                <a:gd name="connsiteX28" fmla="*/ 3687 w 10354"/>
                <a:gd name="connsiteY28" fmla="*/ 8299 h 10000"/>
                <a:gd name="connsiteX29" fmla="*/ 3691 w 10354"/>
                <a:gd name="connsiteY29" fmla="*/ 8325 h 10000"/>
                <a:gd name="connsiteX30" fmla="*/ 3700 w 10354"/>
                <a:gd name="connsiteY30" fmla="*/ 8325 h 10000"/>
                <a:gd name="connsiteX31" fmla="*/ 3714 w 10354"/>
                <a:gd name="connsiteY31" fmla="*/ 8359 h 10000"/>
                <a:gd name="connsiteX32" fmla="*/ 3719 w 10354"/>
                <a:gd name="connsiteY32" fmla="*/ 8359 h 10000"/>
                <a:gd name="connsiteX33" fmla="*/ 3724 w 10354"/>
                <a:gd name="connsiteY33" fmla="*/ 8368 h 10000"/>
                <a:gd name="connsiteX34" fmla="*/ 3719 w 10354"/>
                <a:gd name="connsiteY34" fmla="*/ 8393 h 10000"/>
                <a:gd name="connsiteX35" fmla="*/ 3724 w 10354"/>
                <a:gd name="connsiteY35" fmla="*/ 8410 h 10000"/>
                <a:gd name="connsiteX36" fmla="*/ 3724 w 10354"/>
                <a:gd name="connsiteY36" fmla="*/ 8436 h 10000"/>
                <a:gd name="connsiteX37" fmla="*/ 3737 w 10354"/>
                <a:gd name="connsiteY37" fmla="*/ 8436 h 10000"/>
                <a:gd name="connsiteX38" fmla="*/ 3765 w 10354"/>
                <a:gd name="connsiteY38" fmla="*/ 8462 h 10000"/>
                <a:gd name="connsiteX39" fmla="*/ 3765 w 10354"/>
                <a:gd name="connsiteY39" fmla="*/ 8470 h 10000"/>
                <a:gd name="connsiteX40" fmla="*/ 3765 w 10354"/>
                <a:gd name="connsiteY40" fmla="*/ 8496 h 10000"/>
                <a:gd name="connsiteX41" fmla="*/ 3774 w 10354"/>
                <a:gd name="connsiteY41" fmla="*/ 8496 h 10000"/>
                <a:gd name="connsiteX42" fmla="*/ 3779 w 10354"/>
                <a:gd name="connsiteY42" fmla="*/ 8504 h 10000"/>
                <a:gd name="connsiteX43" fmla="*/ 3793 w 10354"/>
                <a:gd name="connsiteY43" fmla="*/ 8547 h 10000"/>
                <a:gd name="connsiteX44" fmla="*/ 3797 w 10354"/>
                <a:gd name="connsiteY44" fmla="*/ 8547 h 10000"/>
                <a:gd name="connsiteX45" fmla="*/ 3820 w 10354"/>
                <a:gd name="connsiteY45" fmla="*/ 8556 h 10000"/>
                <a:gd name="connsiteX46" fmla="*/ 3834 w 10354"/>
                <a:gd name="connsiteY46" fmla="*/ 8573 h 10000"/>
                <a:gd name="connsiteX47" fmla="*/ 3853 w 10354"/>
                <a:gd name="connsiteY47" fmla="*/ 8573 h 10000"/>
                <a:gd name="connsiteX48" fmla="*/ 3857 w 10354"/>
                <a:gd name="connsiteY48" fmla="*/ 8556 h 10000"/>
                <a:gd name="connsiteX49" fmla="*/ 3866 w 10354"/>
                <a:gd name="connsiteY49" fmla="*/ 8547 h 10000"/>
                <a:gd name="connsiteX50" fmla="*/ 3880 w 10354"/>
                <a:gd name="connsiteY50" fmla="*/ 8530 h 10000"/>
                <a:gd name="connsiteX51" fmla="*/ 3885 w 10354"/>
                <a:gd name="connsiteY51" fmla="*/ 8547 h 10000"/>
                <a:gd name="connsiteX52" fmla="*/ 3885 w 10354"/>
                <a:gd name="connsiteY52" fmla="*/ 8573 h 10000"/>
                <a:gd name="connsiteX53" fmla="*/ 3899 w 10354"/>
                <a:gd name="connsiteY53" fmla="*/ 8573 h 10000"/>
                <a:gd name="connsiteX54" fmla="*/ 3908 w 10354"/>
                <a:gd name="connsiteY54" fmla="*/ 8607 h 10000"/>
                <a:gd name="connsiteX55" fmla="*/ 3912 w 10354"/>
                <a:gd name="connsiteY55" fmla="*/ 8615 h 10000"/>
                <a:gd name="connsiteX56" fmla="*/ 3922 w 10354"/>
                <a:gd name="connsiteY56" fmla="*/ 8632 h 10000"/>
                <a:gd name="connsiteX57" fmla="*/ 3908 w 10354"/>
                <a:gd name="connsiteY57" fmla="*/ 8692 h 10000"/>
                <a:gd name="connsiteX58" fmla="*/ 3908 w 10354"/>
                <a:gd name="connsiteY58" fmla="*/ 8692 h 10000"/>
                <a:gd name="connsiteX59" fmla="*/ 3931 w 10354"/>
                <a:gd name="connsiteY59" fmla="*/ 8709 h 10000"/>
                <a:gd name="connsiteX60" fmla="*/ 3954 w 10354"/>
                <a:gd name="connsiteY60" fmla="*/ 8667 h 10000"/>
                <a:gd name="connsiteX61" fmla="*/ 3959 w 10354"/>
                <a:gd name="connsiteY61" fmla="*/ 8667 h 10000"/>
                <a:gd name="connsiteX62" fmla="*/ 3972 w 10354"/>
                <a:gd name="connsiteY62" fmla="*/ 8615 h 10000"/>
                <a:gd name="connsiteX63" fmla="*/ 3995 w 10354"/>
                <a:gd name="connsiteY63" fmla="*/ 8581 h 10000"/>
                <a:gd name="connsiteX64" fmla="*/ 4032 w 10354"/>
                <a:gd name="connsiteY64" fmla="*/ 8556 h 10000"/>
                <a:gd name="connsiteX65" fmla="*/ 4138 w 10354"/>
                <a:gd name="connsiteY65" fmla="*/ 8419 h 10000"/>
                <a:gd name="connsiteX66" fmla="*/ 4249 w 10354"/>
                <a:gd name="connsiteY66" fmla="*/ 8359 h 10000"/>
                <a:gd name="connsiteX67" fmla="*/ 4295 w 10354"/>
                <a:gd name="connsiteY67" fmla="*/ 8385 h 10000"/>
                <a:gd name="connsiteX68" fmla="*/ 4309 w 10354"/>
                <a:gd name="connsiteY68" fmla="*/ 8410 h 10000"/>
                <a:gd name="connsiteX69" fmla="*/ 4355 w 10354"/>
                <a:gd name="connsiteY69" fmla="*/ 8393 h 10000"/>
                <a:gd name="connsiteX70" fmla="*/ 4382 w 10354"/>
                <a:gd name="connsiteY70" fmla="*/ 8393 h 10000"/>
                <a:gd name="connsiteX71" fmla="*/ 4419 w 10354"/>
                <a:gd name="connsiteY71" fmla="*/ 8487 h 10000"/>
                <a:gd name="connsiteX72" fmla="*/ 4442 w 10354"/>
                <a:gd name="connsiteY72" fmla="*/ 8487 h 10000"/>
                <a:gd name="connsiteX73" fmla="*/ 4493 w 10354"/>
                <a:gd name="connsiteY73" fmla="*/ 8470 h 10000"/>
                <a:gd name="connsiteX74" fmla="*/ 4516 w 10354"/>
                <a:gd name="connsiteY74" fmla="*/ 8487 h 10000"/>
                <a:gd name="connsiteX75" fmla="*/ 4608 w 10354"/>
                <a:gd name="connsiteY75" fmla="*/ 8470 h 10000"/>
                <a:gd name="connsiteX76" fmla="*/ 4622 w 10354"/>
                <a:gd name="connsiteY76" fmla="*/ 8470 h 10000"/>
                <a:gd name="connsiteX77" fmla="*/ 4618 w 10354"/>
                <a:gd name="connsiteY77" fmla="*/ 8419 h 10000"/>
                <a:gd name="connsiteX78" fmla="*/ 4622 w 10354"/>
                <a:gd name="connsiteY78" fmla="*/ 8385 h 10000"/>
                <a:gd name="connsiteX79" fmla="*/ 4636 w 10354"/>
                <a:gd name="connsiteY79" fmla="*/ 8350 h 10000"/>
                <a:gd name="connsiteX80" fmla="*/ 4636 w 10354"/>
                <a:gd name="connsiteY80" fmla="*/ 8325 h 10000"/>
                <a:gd name="connsiteX81" fmla="*/ 4622 w 10354"/>
                <a:gd name="connsiteY81" fmla="*/ 8282 h 10000"/>
                <a:gd name="connsiteX82" fmla="*/ 4618 w 10354"/>
                <a:gd name="connsiteY82" fmla="*/ 8248 h 10000"/>
                <a:gd name="connsiteX83" fmla="*/ 4618 w 10354"/>
                <a:gd name="connsiteY83" fmla="*/ 8214 h 10000"/>
                <a:gd name="connsiteX84" fmla="*/ 4691 w 10354"/>
                <a:gd name="connsiteY84" fmla="*/ 8077 h 10000"/>
                <a:gd name="connsiteX85" fmla="*/ 4700 w 10354"/>
                <a:gd name="connsiteY85" fmla="*/ 8060 h 10000"/>
                <a:gd name="connsiteX86" fmla="*/ 4728 w 10354"/>
                <a:gd name="connsiteY86" fmla="*/ 8077 h 10000"/>
                <a:gd name="connsiteX87" fmla="*/ 4751 w 10354"/>
                <a:gd name="connsiteY87" fmla="*/ 8094 h 10000"/>
                <a:gd name="connsiteX88" fmla="*/ 4788 w 10354"/>
                <a:gd name="connsiteY88" fmla="*/ 8120 h 10000"/>
                <a:gd name="connsiteX89" fmla="*/ 4802 w 10354"/>
                <a:gd name="connsiteY89" fmla="*/ 8162 h 10000"/>
                <a:gd name="connsiteX90" fmla="*/ 4885 w 10354"/>
                <a:gd name="connsiteY90" fmla="*/ 8197 h 10000"/>
                <a:gd name="connsiteX91" fmla="*/ 4889 w 10354"/>
                <a:gd name="connsiteY91" fmla="*/ 8231 h 10000"/>
                <a:gd name="connsiteX92" fmla="*/ 4899 w 10354"/>
                <a:gd name="connsiteY92" fmla="*/ 8333 h 10000"/>
                <a:gd name="connsiteX93" fmla="*/ 4903 w 10354"/>
                <a:gd name="connsiteY93" fmla="*/ 8333 h 10000"/>
                <a:gd name="connsiteX94" fmla="*/ 4949 w 10354"/>
                <a:gd name="connsiteY94" fmla="*/ 8410 h 10000"/>
                <a:gd name="connsiteX95" fmla="*/ 4991 w 10354"/>
                <a:gd name="connsiteY95" fmla="*/ 8436 h 10000"/>
                <a:gd name="connsiteX96" fmla="*/ 5023 w 10354"/>
                <a:gd name="connsiteY96" fmla="*/ 8419 h 10000"/>
                <a:gd name="connsiteX97" fmla="*/ 5092 w 10354"/>
                <a:gd name="connsiteY97" fmla="*/ 8359 h 10000"/>
                <a:gd name="connsiteX98" fmla="*/ 5180 w 10354"/>
                <a:gd name="connsiteY98" fmla="*/ 8410 h 10000"/>
                <a:gd name="connsiteX99" fmla="*/ 5189 w 10354"/>
                <a:gd name="connsiteY99" fmla="*/ 8436 h 10000"/>
                <a:gd name="connsiteX100" fmla="*/ 5198 w 10354"/>
                <a:gd name="connsiteY100" fmla="*/ 8436 h 10000"/>
                <a:gd name="connsiteX101" fmla="*/ 5226 w 10354"/>
                <a:gd name="connsiteY101" fmla="*/ 8487 h 10000"/>
                <a:gd name="connsiteX102" fmla="*/ 5276 w 10354"/>
                <a:gd name="connsiteY102" fmla="*/ 8504 h 10000"/>
                <a:gd name="connsiteX103" fmla="*/ 5290 w 10354"/>
                <a:gd name="connsiteY103" fmla="*/ 8556 h 10000"/>
                <a:gd name="connsiteX104" fmla="*/ 5323 w 10354"/>
                <a:gd name="connsiteY104" fmla="*/ 8598 h 10000"/>
                <a:gd name="connsiteX105" fmla="*/ 5447 w 10354"/>
                <a:gd name="connsiteY105" fmla="*/ 8615 h 10000"/>
                <a:gd name="connsiteX106" fmla="*/ 5465 w 10354"/>
                <a:gd name="connsiteY106" fmla="*/ 8632 h 10000"/>
                <a:gd name="connsiteX107" fmla="*/ 5604 w 10354"/>
                <a:gd name="connsiteY107" fmla="*/ 8556 h 10000"/>
                <a:gd name="connsiteX108" fmla="*/ 5677 w 10354"/>
                <a:gd name="connsiteY108" fmla="*/ 8462 h 10000"/>
                <a:gd name="connsiteX109" fmla="*/ 5705 w 10354"/>
                <a:gd name="connsiteY109" fmla="*/ 8444 h 10000"/>
                <a:gd name="connsiteX110" fmla="*/ 5737 w 10354"/>
                <a:gd name="connsiteY110" fmla="*/ 8470 h 10000"/>
                <a:gd name="connsiteX111" fmla="*/ 5760 w 10354"/>
                <a:gd name="connsiteY111" fmla="*/ 8496 h 10000"/>
                <a:gd name="connsiteX112" fmla="*/ 5788 w 10354"/>
                <a:gd name="connsiteY112" fmla="*/ 8504 h 10000"/>
                <a:gd name="connsiteX113" fmla="*/ 5806 w 10354"/>
                <a:gd name="connsiteY113" fmla="*/ 8496 h 10000"/>
                <a:gd name="connsiteX114" fmla="*/ 5820 w 10354"/>
                <a:gd name="connsiteY114" fmla="*/ 8487 h 10000"/>
                <a:gd name="connsiteX115" fmla="*/ 5825 w 10354"/>
                <a:gd name="connsiteY115" fmla="*/ 8487 h 10000"/>
                <a:gd name="connsiteX116" fmla="*/ 5825 w 10354"/>
                <a:gd name="connsiteY116" fmla="*/ 8487 h 10000"/>
                <a:gd name="connsiteX117" fmla="*/ 5926 w 10354"/>
                <a:gd name="connsiteY117" fmla="*/ 8556 h 10000"/>
                <a:gd name="connsiteX118" fmla="*/ 5940 w 10354"/>
                <a:gd name="connsiteY118" fmla="*/ 8556 h 10000"/>
                <a:gd name="connsiteX119" fmla="*/ 6014 w 10354"/>
                <a:gd name="connsiteY119" fmla="*/ 8470 h 10000"/>
                <a:gd name="connsiteX120" fmla="*/ 6018 w 10354"/>
                <a:gd name="connsiteY120" fmla="*/ 8444 h 10000"/>
                <a:gd name="connsiteX121" fmla="*/ 6014 w 10354"/>
                <a:gd name="connsiteY121" fmla="*/ 8419 h 10000"/>
                <a:gd name="connsiteX122" fmla="*/ 6018 w 10354"/>
                <a:gd name="connsiteY122" fmla="*/ 8393 h 10000"/>
                <a:gd name="connsiteX123" fmla="*/ 6041 w 10354"/>
                <a:gd name="connsiteY123" fmla="*/ 8333 h 10000"/>
                <a:gd name="connsiteX124" fmla="*/ 6069 w 10354"/>
                <a:gd name="connsiteY124" fmla="*/ 8188 h 10000"/>
                <a:gd name="connsiteX125" fmla="*/ 6088 w 10354"/>
                <a:gd name="connsiteY125" fmla="*/ 8162 h 10000"/>
                <a:gd name="connsiteX126" fmla="*/ 6115 w 10354"/>
                <a:gd name="connsiteY126" fmla="*/ 8094 h 10000"/>
                <a:gd name="connsiteX127" fmla="*/ 6115 w 10354"/>
                <a:gd name="connsiteY127" fmla="*/ 8094 h 10000"/>
                <a:gd name="connsiteX128" fmla="*/ 6106 w 10354"/>
                <a:gd name="connsiteY128" fmla="*/ 8077 h 10000"/>
                <a:gd name="connsiteX129" fmla="*/ 6106 w 10354"/>
                <a:gd name="connsiteY129" fmla="*/ 8009 h 10000"/>
                <a:gd name="connsiteX130" fmla="*/ 6101 w 10354"/>
                <a:gd name="connsiteY130" fmla="*/ 8000 h 10000"/>
                <a:gd name="connsiteX131" fmla="*/ 6069 w 10354"/>
                <a:gd name="connsiteY131" fmla="*/ 8009 h 10000"/>
                <a:gd name="connsiteX132" fmla="*/ 6069 w 10354"/>
                <a:gd name="connsiteY132" fmla="*/ 8000 h 10000"/>
                <a:gd name="connsiteX133" fmla="*/ 6069 w 10354"/>
                <a:gd name="connsiteY133" fmla="*/ 7974 h 10000"/>
                <a:gd name="connsiteX134" fmla="*/ 6101 w 10354"/>
                <a:gd name="connsiteY134" fmla="*/ 7923 h 10000"/>
                <a:gd name="connsiteX135" fmla="*/ 6106 w 10354"/>
                <a:gd name="connsiteY135" fmla="*/ 7889 h 10000"/>
                <a:gd name="connsiteX136" fmla="*/ 6129 w 10354"/>
                <a:gd name="connsiteY136" fmla="*/ 7863 h 10000"/>
                <a:gd name="connsiteX137" fmla="*/ 6300 w 10354"/>
                <a:gd name="connsiteY137" fmla="*/ 7812 h 10000"/>
                <a:gd name="connsiteX138" fmla="*/ 6359 w 10354"/>
                <a:gd name="connsiteY138" fmla="*/ 7872 h 10000"/>
                <a:gd name="connsiteX139" fmla="*/ 6373 w 10354"/>
                <a:gd name="connsiteY139" fmla="*/ 7889 h 10000"/>
                <a:gd name="connsiteX140" fmla="*/ 6401 w 10354"/>
                <a:gd name="connsiteY140" fmla="*/ 7889 h 10000"/>
                <a:gd name="connsiteX141" fmla="*/ 6433 w 10354"/>
                <a:gd name="connsiteY141" fmla="*/ 7915 h 10000"/>
                <a:gd name="connsiteX142" fmla="*/ 6461 w 10354"/>
                <a:gd name="connsiteY142" fmla="*/ 7974 h 10000"/>
                <a:gd name="connsiteX143" fmla="*/ 6461 w 10354"/>
                <a:gd name="connsiteY143" fmla="*/ 8000 h 10000"/>
                <a:gd name="connsiteX144" fmla="*/ 6484 w 10354"/>
                <a:gd name="connsiteY144" fmla="*/ 8034 h 10000"/>
                <a:gd name="connsiteX145" fmla="*/ 6484 w 10354"/>
                <a:gd name="connsiteY145" fmla="*/ 8051 h 10000"/>
                <a:gd name="connsiteX146" fmla="*/ 6484 w 10354"/>
                <a:gd name="connsiteY146" fmla="*/ 8034 h 10000"/>
                <a:gd name="connsiteX147" fmla="*/ 6558 w 10354"/>
                <a:gd name="connsiteY147" fmla="*/ 8444 h 10000"/>
                <a:gd name="connsiteX148" fmla="*/ 6558 w 10354"/>
                <a:gd name="connsiteY148" fmla="*/ 8462 h 10000"/>
                <a:gd name="connsiteX149" fmla="*/ 6558 w 10354"/>
                <a:gd name="connsiteY149" fmla="*/ 8462 h 10000"/>
                <a:gd name="connsiteX150" fmla="*/ 6562 w 10354"/>
                <a:gd name="connsiteY150" fmla="*/ 8547 h 10000"/>
                <a:gd name="connsiteX151" fmla="*/ 6576 w 10354"/>
                <a:gd name="connsiteY151" fmla="*/ 8573 h 10000"/>
                <a:gd name="connsiteX152" fmla="*/ 6604 w 10354"/>
                <a:gd name="connsiteY152" fmla="*/ 8581 h 10000"/>
                <a:gd name="connsiteX153" fmla="*/ 6631 w 10354"/>
                <a:gd name="connsiteY153" fmla="*/ 8556 h 10000"/>
                <a:gd name="connsiteX154" fmla="*/ 6691 w 10354"/>
                <a:gd name="connsiteY154" fmla="*/ 8607 h 10000"/>
                <a:gd name="connsiteX155" fmla="*/ 6728 w 10354"/>
                <a:gd name="connsiteY155" fmla="*/ 8667 h 10000"/>
                <a:gd name="connsiteX156" fmla="*/ 6742 w 10354"/>
                <a:gd name="connsiteY156" fmla="*/ 8684 h 10000"/>
                <a:gd name="connsiteX157" fmla="*/ 6765 w 10354"/>
                <a:gd name="connsiteY157" fmla="*/ 8684 h 10000"/>
                <a:gd name="connsiteX158" fmla="*/ 6765 w 10354"/>
                <a:gd name="connsiteY158" fmla="*/ 8709 h 10000"/>
                <a:gd name="connsiteX159" fmla="*/ 6765 w 10354"/>
                <a:gd name="connsiteY159" fmla="*/ 8709 h 10000"/>
                <a:gd name="connsiteX160" fmla="*/ 6770 w 10354"/>
                <a:gd name="connsiteY160" fmla="*/ 8709 h 10000"/>
                <a:gd name="connsiteX161" fmla="*/ 6770 w 10354"/>
                <a:gd name="connsiteY161" fmla="*/ 8744 h 10000"/>
                <a:gd name="connsiteX162" fmla="*/ 6779 w 10354"/>
                <a:gd name="connsiteY162" fmla="*/ 8769 h 10000"/>
                <a:gd name="connsiteX163" fmla="*/ 6779 w 10354"/>
                <a:gd name="connsiteY163" fmla="*/ 8846 h 10000"/>
                <a:gd name="connsiteX164" fmla="*/ 6797 w 10354"/>
                <a:gd name="connsiteY164" fmla="*/ 8906 h 10000"/>
                <a:gd name="connsiteX165" fmla="*/ 6816 w 10354"/>
                <a:gd name="connsiteY165" fmla="*/ 8906 h 10000"/>
                <a:gd name="connsiteX166" fmla="*/ 6843 w 10354"/>
                <a:gd name="connsiteY166" fmla="*/ 8915 h 10000"/>
                <a:gd name="connsiteX167" fmla="*/ 6862 w 10354"/>
                <a:gd name="connsiteY167" fmla="*/ 8906 h 10000"/>
                <a:gd name="connsiteX168" fmla="*/ 6935 w 10354"/>
                <a:gd name="connsiteY168" fmla="*/ 8829 h 10000"/>
                <a:gd name="connsiteX169" fmla="*/ 6963 w 10354"/>
                <a:gd name="connsiteY169" fmla="*/ 8829 h 10000"/>
                <a:gd name="connsiteX170" fmla="*/ 7046 w 10354"/>
                <a:gd name="connsiteY170" fmla="*/ 8769 h 10000"/>
                <a:gd name="connsiteX171" fmla="*/ 7046 w 10354"/>
                <a:gd name="connsiteY171" fmla="*/ 8769 h 10000"/>
                <a:gd name="connsiteX172" fmla="*/ 7032 w 10354"/>
                <a:gd name="connsiteY172" fmla="*/ 8803 h 10000"/>
                <a:gd name="connsiteX173" fmla="*/ 7032 w 10354"/>
                <a:gd name="connsiteY173" fmla="*/ 8846 h 10000"/>
                <a:gd name="connsiteX174" fmla="*/ 7037 w 10354"/>
                <a:gd name="connsiteY174" fmla="*/ 8880 h 10000"/>
                <a:gd name="connsiteX175" fmla="*/ 7037 w 10354"/>
                <a:gd name="connsiteY175" fmla="*/ 8932 h 10000"/>
                <a:gd name="connsiteX176" fmla="*/ 7005 w 10354"/>
                <a:gd name="connsiteY176" fmla="*/ 8983 h 10000"/>
                <a:gd name="connsiteX177" fmla="*/ 6977 w 10354"/>
                <a:gd name="connsiteY177" fmla="*/ 9188 h 10000"/>
                <a:gd name="connsiteX178" fmla="*/ 6935 w 10354"/>
                <a:gd name="connsiteY178" fmla="*/ 9316 h 10000"/>
                <a:gd name="connsiteX179" fmla="*/ 6931 w 10354"/>
                <a:gd name="connsiteY179" fmla="*/ 9368 h 10000"/>
                <a:gd name="connsiteX180" fmla="*/ 6917 w 10354"/>
                <a:gd name="connsiteY180" fmla="*/ 9376 h 10000"/>
                <a:gd name="connsiteX181" fmla="*/ 6912 w 10354"/>
                <a:gd name="connsiteY181" fmla="*/ 9376 h 10000"/>
                <a:gd name="connsiteX182" fmla="*/ 6848 w 10354"/>
                <a:gd name="connsiteY182" fmla="*/ 9342 h 10000"/>
                <a:gd name="connsiteX183" fmla="*/ 6788 w 10354"/>
                <a:gd name="connsiteY183" fmla="*/ 9436 h 10000"/>
                <a:gd name="connsiteX184" fmla="*/ 6802 w 10354"/>
                <a:gd name="connsiteY184" fmla="*/ 9462 h 10000"/>
                <a:gd name="connsiteX185" fmla="*/ 6811 w 10354"/>
                <a:gd name="connsiteY185" fmla="*/ 9667 h 10000"/>
                <a:gd name="connsiteX186" fmla="*/ 6788 w 10354"/>
                <a:gd name="connsiteY186" fmla="*/ 9709 h 10000"/>
                <a:gd name="connsiteX187" fmla="*/ 6765 w 10354"/>
                <a:gd name="connsiteY187" fmla="*/ 9752 h 10000"/>
                <a:gd name="connsiteX188" fmla="*/ 6765 w 10354"/>
                <a:gd name="connsiteY188" fmla="*/ 9803 h 10000"/>
                <a:gd name="connsiteX189" fmla="*/ 6770 w 10354"/>
                <a:gd name="connsiteY189" fmla="*/ 9821 h 10000"/>
                <a:gd name="connsiteX190" fmla="*/ 6779 w 10354"/>
                <a:gd name="connsiteY190" fmla="*/ 9812 h 10000"/>
                <a:gd name="connsiteX191" fmla="*/ 6779 w 10354"/>
                <a:gd name="connsiteY191" fmla="*/ 9803 h 10000"/>
                <a:gd name="connsiteX192" fmla="*/ 6770 w 10354"/>
                <a:gd name="connsiteY192" fmla="*/ 9786 h 10000"/>
                <a:gd name="connsiteX193" fmla="*/ 6811 w 10354"/>
                <a:gd name="connsiteY193" fmla="*/ 9786 h 10000"/>
                <a:gd name="connsiteX194" fmla="*/ 6816 w 10354"/>
                <a:gd name="connsiteY194" fmla="*/ 9761 h 10000"/>
                <a:gd name="connsiteX195" fmla="*/ 6825 w 10354"/>
                <a:gd name="connsiteY195" fmla="*/ 9752 h 10000"/>
                <a:gd name="connsiteX196" fmla="*/ 6825 w 10354"/>
                <a:gd name="connsiteY196" fmla="*/ 9726 h 10000"/>
                <a:gd name="connsiteX197" fmla="*/ 6843 w 10354"/>
                <a:gd name="connsiteY197" fmla="*/ 9701 h 10000"/>
                <a:gd name="connsiteX198" fmla="*/ 6848 w 10354"/>
                <a:gd name="connsiteY198" fmla="*/ 9650 h 10000"/>
                <a:gd name="connsiteX199" fmla="*/ 6848 w 10354"/>
                <a:gd name="connsiteY199" fmla="*/ 9675 h 10000"/>
                <a:gd name="connsiteX200" fmla="*/ 6862 w 10354"/>
                <a:gd name="connsiteY200" fmla="*/ 9675 h 10000"/>
                <a:gd name="connsiteX201" fmla="*/ 6857 w 10354"/>
                <a:gd name="connsiteY201" fmla="*/ 9701 h 10000"/>
                <a:gd name="connsiteX202" fmla="*/ 6857 w 10354"/>
                <a:gd name="connsiteY202" fmla="*/ 9701 h 10000"/>
                <a:gd name="connsiteX203" fmla="*/ 6876 w 10354"/>
                <a:gd name="connsiteY203" fmla="*/ 9684 h 10000"/>
                <a:gd name="connsiteX204" fmla="*/ 6885 w 10354"/>
                <a:gd name="connsiteY204" fmla="*/ 9675 h 10000"/>
                <a:gd name="connsiteX205" fmla="*/ 6876 w 10354"/>
                <a:gd name="connsiteY205" fmla="*/ 9735 h 10000"/>
                <a:gd name="connsiteX206" fmla="*/ 6885 w 10354"/>
                <a:gd name="connsiteY206" fmla="*/ 9752 h 10000"/>
                <a:gd name="connsiteX207" fmla="*/ 6903 w 10354"/>
                <a:gd name="connsiteY207" fmla="*/ 9752 h 10000"/>
                <a:gd name="connsiteX208" fmla="*/ 6917 w 10354"/>
                <a:gd name="connsiteY208" fmla="*/ 9761 h 10000"/>
                <a:gd name="connsiteX209" fmla="*/ 6917 w 10354"/>
                <a:gd name="connsiteY209" fmla="*/ 9761 h 10000"/>
                <a:gd name="connsiteX210" fmla="*/ 6922 w 10354"/>
                <a:gd name="connsiteY210" fmla="*/ 9778 h 10000"/>
                <a:gd name="connsiteX211" fmla="*/ 6945 w 10354"/>
                <a:gd name="connsiteY211" fmla="*/ 9778 h 10000"/>
                <a:gd name="connsiteX212" fmla="*/ 6972 w 10354"/>
                <a:gd name="connsiteY212" fmla="*/ 9752 h 10000"/>
                <a:gd name="connsiteX213" fmla="*/ 6977 w 10354"/>
                <a:gd name="connsiteY213" fmla="*/ 9752 h 10000"/>
                <a:gd name="connsiteX214" fmla="*/ 7069 w 10354"/>
                <a:gd name="connsiteY214" fmla="*/ 9624 h 10000"/>
                <a:gd name="connsiteX215" fmla="*/ 7097 w 10354"/>
                <a:gd name="connsiteY215" fmla="*/ 9547 h 10000"/>
                <a:gd name="connsiteX216" fmla="*/ 7106 w 10354"/>
                <a:gd name="connsiteY216" fmla="*/ 9530 h 10000"/>
                <a:gd name="connsiteX217" fmla="*/ 7124 w 10354"/>
                <a:gd name="connsiteY217" fmla="*/ 9479 h 10000"/>
                <a:gd name="connsiteX218" fmla="*/ 7138 w 10354"/>
                <a:gd name="connsiteY218" fmla="*/ 9462 h 10000"/>
                <a:gd name="connsiteX219" fmla="*/ 7378 w 10354"/>
                <a:gd name="connsiteY219" fmla="*/ 8795 h 10000"/>
                <a:gd name="connsiteX220" fmla="*/ 7392 w 10354"/>
                <a:gd name="connsiteY220" fmla="*/ 8795 h 10000"/>
                <a:gd name="connsiteX221" fmla="*/ 7401 w 10354"/>
                <a:gd name="connsiteY221" fmla="*/ 8769 h 10000"/>
                <a:gd name="connsiteX222" fmla="*/ 7406 w 10354"/>
                <a:gd name="connsiteY222" fmla="*/ 8692 h 10000"/>
                <a:gd name="connsiteX223" fmla="*/ 7406 w 10354"/>
                <a:gd name="connsiteY223" fmla="*/ 8667 h 10000"/>
                <a:gd name="connsiteX224" fmla="*/ 7419 w 10354"/>
                <a:gd name="connsiteY224" fmla="*/ 8598 h 10000"/>
                <a:gd name="connsiteX225" fmla="*/ 7419 w 10354"/>
                <a:gd name="connsiteY225" fmla="*/ 8496 h 10000"/>
                <a:gd name="connsiteX226" fmla="*/ 7424 w 10354"/>
                <a:gd name="connsiteY226" fmla="*/ 8470 h 10000"/>
                <a:gd name="connsiteX227" fmla="*/ 7424 w 10354"/>
                <a:gd name="connsiteY227" fmla="*/ 8462 h 10000"/>
                <a:gd name="connsiteX228" fmla="*/ 7419 w 10354"/>
                <a:gd name="connsiteY228" fmla="*/ 8462 h 10000"/>
                <a:gd name="connsiteX229" fmla="*/ 7410 w 10354"/>
                <a:gd name="connsiteY229" fmla="*/ 8350 h 10000"/>
                <a:gd name="connsiteX230" fmla="*/ 7419 w 10354"/>
                <a:gd name="connsiteY230" fmla="*/ 8325 h 10000"/>
                <a:gd name="connsiteX231" fmla="*/ 7424 w 10354"/>
                <a:gd name="connsiteY231" fmla="*/ 8248 h 10000"/>
                <a:gd name="connsiteX232" fmla="*/ 7433 w 10354"/>
                <a:gd name="connsiteY232" fmla="*/ 8248 h 10000"/>
                <a:gd name="connsiteX233" fmla="*/ 7433 w 10354"/>
                <a:gd name="connsiteY233" fmla="*/ 8231 h 10000"/>
                <a:gd name="connsiteX234" fmla="*/ 7433 w 10354"/>
                <a:gd name="connsiteY234" fmla="*/ 8222 h 10000"/>
                <a:gd name="connsiteX235" fmla="*/ 7433 w 10354"/>
                <a:gd name="connsiteY235" fmla="*/ 8214 h 10000"/>
                <a:gd name="connsiteX236" fmla="*/ 7447 w 10354"/>
                <a:gd name="connsiteY236" fmla="*/ 8162 h 10000"/>
                <a:gd name="connsiteX237" fmla="*/ 7461 w 10354"/>
                <a:gd name="connsiteY237" fmla="*/ 8162 h 10000"/>
                <a:gd name="connsiteX238" fmla="*/ 7475 w 10354"/>
                <a:gd name="connsiteY238" fmla="*/ 8111 h 10000"/>
                <a:gd name="connsiteX239" fmla="*/ 7475 w 10354"/>
                <a:gd name="connsiteY239" fmla="*/ 8085 h 10000"/>
                <a:gd name="connsiteX240" fmla="*/ 7479 w 10354"/>
                <a:gd name="connsiteY240" fmla="*/ 8060 h 10000"/>
                <a:gd name="connsiteX241" fmla="*/ 7452 w 10354"/>
                <a:gd name="connsiteY241" fmla="*/ 8009 h 10000"/>
                <a:gd name="connsiteX242" fmla="*/ 7465 w 10354"/>
                <a:gd name="connsiteY242" fmla="*/ 7974 h 10000"/>
                <a:gd name="connsiteX243" fmla="*/ 7452 w 10354"/>
                <a:gd name="connsiteY243" fmla="*/ 7923 h 10000"/>
                <a:gd name="connsiteX244" fmla="*/ 7433 w 10354"/>
                <a:gd name="connsiteY244" fmla="*/ 7889 h 10000"/>
                <a:gd name="connsiteX245" fmla="*/ 7419 w 10354"/>
                <a:gd name="connsiteY245" fmla="*/ 7889 h 10000"/>
                <a:gd name="connsiteX246" fmla="*/ 7401 w 10354"/>
                <a:gd name="connsiteY246" fmla="*/ 7863 h 10000"/>
                <a:gd name="connsiteX247" fmla="*/ 7387 w 10354"/>
                <a:gd name="connsiteY247" fmla="*/ 7863 h 10000"/>
                <a:gd name="connsiteX248" fmla="*/ 7373 w 10354"/>
                <a:gd name="connsiteY248" fmla="*/ 7863 h 10000"/>
                <a:gd name="connsiteX249" fmla="*/ 7387 w 10354"/>
                <a:gd name="connsiteY249" fmla="*/ 7846 h 10000"/>
                <a:gd name="connsiteX250" fmla="*/ 7401 w 10354"/>
                <a:gd name="connsiteY250" fmla="*/ 7846 h 10000"/>
                <a:gd name="connsiteX251" fmla="*/ 7410 w 10354"/>
                <a:gd name="connsiteY251" fmla="*/ 7863 h 10000"/>
                <a:gd name="connsiteX252" fmla="*/ 7424 w 10354"/>
                <a:gd name="connsiteY252" fmla="*/ 7872 h 10000"/>
                <a:gd name="connsiteX253" fmla="*/ 7433 w 10354"/>
                <a:gd name="connsiteY253" fmla="*/ 7863 h 10000"/>
                <a:gd name="connsiteX254" fmla="*/ 7461 w 10354"/>
                <a:gd name="connsiteY254" fmla="*/ 7897 h 10000"/>
                <a:gd name="connsiteX255" fmla="*/ 7465 w 10354"/>
                <a:gd name="connsiteY255" fmla="*/ 7889 h 10000"/>
                <a:gd name="connsiteX256" fmla="*/ 7475 w 10354"/>
                <a:gd name="connsiteY256" fmla="*/ 7863 h 10000"/>
                <a:gd name="connsiteX257" fmla="*/ 7475 w 10354"/>
                <a:gd name="connsiteY257" fmla="*/ 7838 h 10000"/>
                <a:gd name="connsiteX258" fmla="*/ 7465 w 10354"/>
                <a:gd name="connsiteY258" fmla="*/ 7838 h 10000"/>
                <a:gd name="connsiteX259" fmla="*/ 7406 w 10354"/>
                <a:gd name="connsiteY259" fmla="*/ 7752 h 10000"/>
                <a:gd name="connsiteX260" fmla="*/ 7401 w 10354"/>
                <a:gd name="connsiteY260" fmla="*/ 7735 h 10000"/>
                <a:gd name="connsiteX261" fmla="*/ 7401 w 10354"/>
                <a:gd name="connsiteY261" fmla="*/ 7701 h 10000"/>
                <a:gd name="connsiteX262" fmla="*/ 7378 w 10354"/>
                <a:gd name="connsiteY262" fmla="*/ 7675 h 10000"/>
                <a:gd name="connsiteX263" fmla="*/ 7373 w 10354"/>
                <a:gd name="connsiteY263" fmla="*/ 7667 h 10000"/>
                <a:gd name="connsiteX264" fmla="*/ 7364 w 10354"/>
                <a:gd name="connsiteY264" fmla="*/ 7650 h 10000"/>
                <a:gd name="connsiteX265" fmla="*/ 7364 w 10354"/>
                <a:gd name="connsiteY265" fmla="*/ 7641 h 10000"/>
                <a:gd name="connsiteX266" fmla="*/ 7350 w 10354"/>
                <a:gd name="connsiteY266" fmla="*/ 7641 h 10000"/>
                <a:gd name="connsiteX267" fmla="*/ 7336 w 10354"/>
                <a:gd name="connsiteY267" fmla="*/ 7650 h 10000"/>
                <a:gd name="connsiteX268" fmla="*/ 7327 w 10354"/>
                <a:gd name="connsiteY268" fmla="*/ 7650 h 10000"/>
                <a:gd name="connsiteX269" fmla="*/ 7300 w 10354"/>
                <a:gd name="connsiteY269" fmla="*/ 7641 h 10000"/>
                <a:gd name="connsiteX270" fmla="*/ 7300 w 10354"/>
                <a:gd name="connsiteY270" fmla="*/ 7675 h 10000"/>
                <a:gd name="connsiteX271" fmla="*/ 7300 w 10354"/>
                <a:gd name="connsiteY271" fmla="*/ 7692 h 10000"/>
                <a:gd name="connsiteX272" fmla="*/ 7286 w 10354"/>
                <a:gd name="connsiteY272" fmla="*/ 7786 h 10000"/>
                <a:gd name="connsiteX273" fmla="*/ 7272 w 10354"/>
                <a:gd name="connsiteY273" fmla="*/ 7803 h 10000"/>
                <a:gd name="connsiteX274" fmla="*/ 7276 w 10354"/>
                <a:gd name="connsiteY274" fmla="*/ 7761 h 10000"/>
                <a:gd name="connsiteX275" fmla="*/ 7286 w 10354"/>
                <a:gd name="connsiteY275" fmla="*/ 7735 h 10000"/>
                <a:gd name="connsiteX276" fmla="*/ 7276 w 10354"/>
                <a:gd name="connsiteY276" fmla="*/ 7709 h 10000"/>
                <a:gd name="connsiteX277" fmla="*/ 7258 w 10354"/>
                <a:gd name="connsiteY277" fmla="*/ 7761 h 10000"/>
                <a:gd name="connsiteX278" fmla="*/ 7217 w 10354"/>
                <a:gd name="connsiteY278" fmla="*/ 7786 h 10000"/>
                <a:gd name="connsiteX279" fmla="*/ 7203 w 10354"/>
                <a:gd name="connsiteY279" fmla="*/ 7786 h 10000"/>
                <a:gd name="connsiteX280" fmla="*/ 7198 w 10354"/>
                <a:gd name="connsiteY280" fmla="*/ 7778 h 10000"/>
                <a:gd name="connsiteX281" fmla="*/ 7212 w 10354"/>
                <a:gd name="connsiteY281" fmla="*/ 7761 h 10000"/>
                <a:gd name="connsiteX282" fmla="*/ 7230 w 10354"/>
                <a:gd name="connsiteY282" fmla="*/ 7726 h 10000"/>
                <a:gd name="connsiteX283" fmla="*/ 7226 w 10354"/>
                <a:gd name="connsiteY283" fmla="*/ 7709 h 10000"/>
                <a:gd name="connsiteX284" fmla="*/ 7212 w 10354"/>
                <a:gd name="connsiteY284" fmla="*/ 7701 h 10000"/>
                <a:gd name="connsiteX285" fmla="*/ 7203 w 10354"/>
                <a:gd name="connsiteY285" fmla="*/ 7675 h 10000"/>
                <a:gd name="connsiteX286" fmla="*/ 7217 w 10354"/>
                <a:gd name="connsiteY286" fmla="*/ 7675 h 10000"/>
                <a:gd name="connsiteX287" fmla="*/ 7226 w 10354"/>
                <a:gd name="connsiteY287" fmla="*/ 7650 h 10000"/>
                <a:gd name="connsiteX288" fmla="*/ 7226 w 10354"/>
                <a:gd name="connsiteY288" fmla="*/ 7641 h 10000"/>
                <a:gd name="connsiteX289" fmla="*/ 7203 w 10354"/>
                <a:gd name="connsiteY289" fmla="*/ 7641 h 10000"/>
                <a:gd name="connsiteX290" fmla="*/ 7198 w 10354"/>
                <a:gd name="connsiteY290" fmla="*/ 7650 h 10000"/>
                <a:gd name="connsiteX291" fmla="*/ 7194 w 10354"/>
                <a:gd name="connsiteY291" fmla="*/ 7675 h 10000"/>
                <a:gd name="connsiteX292" fmla="*/ 7198 w 10354"/>
                <a:gd name="connsiteY292" fmla="*/ 7692 h 10000"/>
                <a:gd name="connsiteX293" fmla="*/ 7198 w 10354"/>
                <a:gd name="connsiteY293" fmla="*/ 7709 h 10000"/>
                <a:gd name="connsiteX294" fmla="*/ 7184 w 10354"/>
                <a:gd name="connsiteY294" fmla="*/ 7726 h 10000"/>
                <a:gd name="connsiteX295" fmla="*/ 7180 w 10354"/>
                <a:gd name="connsiteY295" fmla="*/ 7726 h 10000"/>
                <a:gd name="connsiteX296" fmla="*/ 7171 w 10354"/>
                <a:gd name="connsiteY296" fmla="*/ 7752 h 10000"/>
                <a:gd name="connsiteX297" fmla="*/ 7166 w 10354"/>
                <a:gd name="connsiteY297" fmla="*/ 7735 h 10000"/>
                <a:gd name="connsiteX298" fmla="*/ 7171 w 10354"/>
                <a:gd name="connsiteY298" fmla="*/ 7624 h 10000"/>
                <a:gd name="connsiteX299" fmla="*/ 7171 w 10354"/>
                <a:gd name="connsiteY299" fmla="*/ 7615 h 10000"/>
                <a:gd name="connsiteX300" fmla="*/ 7171 w 10354"/>
                <a:gd name="connsiteY300" fmla="*/ 7590 h 10000"/>
                <a:gd name="connsiteX301" fmla="*/ 7166 w 10354"/>
                <a:gd name="connsiteY301" fmla="*/ 7564 h 10000"/>
                <a:gd name="connsiteX302" fmla="*/ 7157 w 10354"/>
                <a:gd name="connsiteY302" fmla="*/ 7564 h 10000"/>
                <a:gd name="connsiteX303" fmla="*/ 7097 w 10354"/>
                <a:gd name="connsiteY303" fmla="*/ 7573 h 10000"/>
                <a:gd name="connsiteX304" fmla="*/ 7065 w 10354"/>
                <a:gd name="connsiteY304" fmla="*/ 7538 h 10000"/>
                <a:gd name="connsiteX305" fmla="*/ 7069 w 10354"/>
                <a:gd name="connsiteY305" fmla="*/ 7504 h 10000"/>
                <a:gd name="connsiteX306" fmla="*/ 7106 w 10354"/>
                <a:gd name="connsiteY306" fmla="*/ 7453 h 10000"/>
                <a:gd name="connsiteX307" fmla="*/ 7111 w 10354"/>
                <a:gd name="connsiteY307" fmla="*/ 7436 h 10000"/>
                <a:gd name="connsiteX308" fmla="*/ 7138 w 10354"/>
                <a:gd name="connsiteY308" fmla="*/ 7402 h 10000"/>
                <a:gd name="connsiteX309" fmla="*/ 7143 w 10354"/>
                <a:gd name="connsiteY309" fmla="*/ 7376 h 10000"/>
                <a:gd name="connsiteX310" fmla="*/ 7152 w 10354"/>
                <a:gd name="connsiteY310" fmla="*/ 7368 h 10000"/>
                <a:gd name="connsiteX311" fmla="*/ 7157 w 10354"/>
                <a:gd name="connsiteY311" fmla="*/ 7350 h 10000"/>
                <a:gd name="connsiteX312" fmla="*/ 7230 w 10354"/>
                <a:gd name="connsiteY312" fmla="*/ 7239 h 10000"/>
                <a:gd name="connsiteX313" fmla="*/ 7240 w 10354"/>
                <a:gd name="connsiteY313" fmla="*/ 7205 h 10000"/>
                <a:gd name="connsiteX314" fmla="*/ 7253 w 10354"/>
                <a:gd name="connsiteY314" fmla="*/ 7188 h 10000"/>
                <a:gd name="connsiteX315" fmla="*/ 7258 w 10354"/>
                <a:gd name="connsiteY315" fmla="*/ 7162 h 10000"/>
                <a:gd name="connsiteX316" fmla="*/ 7258 w 10354"/>
                <a:gd name="connsiteY316" fmla="*/ 7154 h 10000"/>
                <a:gd name="connsiteX317" fmla="*/ 7272 w 10354"/>
                <a:gd name="connsiteY317" fmla="*/ 7120 h 10000"/>
                <a:gd name="connsiteX318" fmla="*/ 7276 w 10354"/>
                <a:gd name="connsiteY318" fmla="*/ 7094 h 10000"/>
                <a:gd name="connsiteX319" fmla="*/ 7286 w 10354"/>
                <a:gd name="connsiteY319" fmla="*/ 7094 h 10000"/>
                <a:gd name="connsiteX320" fmla="*/ 7290 w 10354"/>
                <a:gd name="connsiteY320" fmla="*/ 7068 h 10000"/>
                <a:gd name="connsiteX321" fmla="*/ 7332 w 10354"/>
                <a:gd name="connsiteY321" fmla="*/ 6991 h 10000"/>
                <a:gd name="connsiteX322" fmla="*/ 7336 w 10354"/>
                <a:gd name="connsiteY322" fmla="*/ 6991 h 10000"/>
                <a:gd name="connsiteX323" fmla="*/ 7364 w 10354"/>
                <a:gd name="connsiteY323" fmla="*/ 6940 h 10000"/>
                <a:gd name="connsiteX324" fmla="*/ 7373 w 10354"/>
                <a:gd name="connsiteY324" fmla="*/ 6906 h 10000"/>
                <a:gd name="connsiteX325" fmla="*/ 7378 w 10354"/>
                <a:gd name="connsiteY325" fmla="*/ 6915 h 10000"/>
                <a:gd name="connsiteX326" fmla="*/ 7406 w 10354"/>
                <a:gd name="connsiteY326" fmla="*/ 6880 h 10000"/>
                <a:gd name="connsiteX327" fmla="*/ 7410 w 10354"/>
                <a:gd name="connsiteY327" fmla="*/ 6846 h 10000"/>
                <a:gd name="connsiteX328" fmla="*/ 7419 w 10354"/>
                <a:gd name="connsiteY328" fmla="*/ 6803 h 10000"/>
                <a:gd name="connsiteX329" fmla="*/ 7585 w 10354"/>
                <a:gd name="connsiteY329" fmla="*/ 6504 h 10000"/>
                <a:gd name="connsiteX330" fmla="*/ 7765 w 10354"/>
                <a:gd name="connsiteY330" fmla="*/ 6504 h 10000"/>
                <a:gd name="connsiteX331" fmla="*/ 7765 w 10354"/>
                <a:gd name="connsiteY331" fmla="*/ 6530 h 10000"/>
                <a:gd name="connsiteX332" fmla="*/ 7774 w 10354"/>
                <a:gd name="connsiteY332" fmla="*/ 6556 h 10000"/>
                <a:gd name="connsiteX333" fmla="*/ 7779 w 10354"/>
                <a:gd name="connsiteY333" fmla="*/ 6556 h 10000"/>
                <a:gd name="connsiteX334" fmla="*/ 7793 w 10354"/>
                <a:gd name="connsiteY334" fmla="*/ 6547 h 10000"/>
                <a:gd name="connsiteX335" fmla="*/ 7793 w 10354"/>
                <a:gd name="connsiteY335" fmla="*/ 6530 h 10000"/>
                <a:gd name="connsiteX336" fmla="*/ 7802 w 10354"/>
                <a:gd name="connsiteY336" fmla="*/ 6496 h 10000"/>
                <a:gd name="connsiteX337" fmla="*/ 7806 w 10354"/>
                <a:gd name="connsiteY337" fmla="*/ 6487 h 10000"/>
                <a:gd name="connsiteX338" fmla="*/ 7876 w 10354"/>
                <a:gd name="connsiteY338" fmla="*/ 6530 h 10000"/>
                <a:gd name="connsiteX339" fmla="*/ 7894 w 10354"/>
                <a:gd name="connsiteY339" fmla="*/ 6530 h 10000"/>
                <a:gd name="connsiteX340" fmla="*/ 7894 w 10354"/>
                <a:gd name="connsiteY340" fmla="*/ 6504 h 10000"/>
                <a:gd name="connsiteX341" fmla="*/ 7899 w 10354"/>
                <a:gd name="connsiteY341" fmla="*/ 6504 h 10000"/>
                <a:gd name="connsiteX342" fmla="*/ 7926 w 10354"/>
                <a:gd name="connsiteY342" fmla="*/ 6504 h 10000"/>
                <a:gd name="connsiteX343" fmla="*/ 7940 w 10354"/>
                <a:gd name="connsiteY343" fmla="*/ 6547 h 10000"/>
                <a:gd name="connsiteX344" fmla="*/ 7949 w 10354"/>
                <a:gd name="connsiteY344" fmla="*/ 6547 h 10000"/>
                <a:gd name="connsiteX345" fmla="*/ 7963 w 10354"/>
                <a:gd name="connsiteY345" fmla="*/ 6530 h 10000"/>
                <a:gd name="connsiteX346" fmla="*/ 7963 w 10354"/>
                <a:gd name="connsiteY346" fmla="*/ 6504 h 10000"/>
                <a:gd name="connsiteX347" fmla="*/ 7963 w 10354"/>
                <a:gd name="connsiteY347" fmla="*/ 6504 h 10000"/>
                <a:gd name="connsiteX348" fmla="*/ 7954 w 10354"/>
                <a:gd name="connsiteY348" fmla="*/ 6496 h 10000"/>
                <a:gd name="connsiteX349" fmla="*/ 7963 w 10354"/>
                <a:gd name="connsiteY349" fmla="*/ 6487 h 10000"/>
                <a:gd name="connsiteX350" fmla="*/ 7982 w 10354"/>
                <a:gd name="connsiteY350" fmla="*/ 6487 h 10000"/>
                <a:gd name="connsiteX351" fmla="*/ 7982 w 10354"/>
                <a:gd name="connsiteY351" fmla="*/ 6470 h 10000"/>
                <a:gd name="connsiteX352" fmla="*/ 7972 w 10354"/>
                <a:gd name="connsiteY352" fmla="*/ 6462 h 10000"/>
                <a:gd name="connsiteX353" fmla="*/ 7972 w 10354"/>
                <a:gd name="connsiteY353" fmla="*/ 6436 h 10000"/>
                <a:gd name="connsiteX354" fmla="*/ 7986 w 10354"/>
                <a:gd name="connsiteY354" fmla="*/ 6419 h 10000"/>
                <a:gd name="connsiteX355" fmla="*/ 8000 w 10354"/>
                <a:gd name="connsiteY355" fmla="*/ 6419 h 10000"/>
                <a:gd name="connsiteX356" fmla="*/ 8055 w 10354"/>
                <a:gd name="connsiteY356" fmla="*/ 6462 h 10000"/>
                <a:gd name="connsiteX357" fmla="*/ 8069 w 10354"/>
                <a:gd name="connsiteY357" fmla="*/ 6444 h 10000"/>
                <a:gd name="connsiteX358" fmla="*/ 8083 w 10354"/>
                <a:gd name="connsiteY358" fmla="*/ 6470 h 10000"/>
                <a:gd name="connsiteX359" fmla="*/ 8083 w 10354"/>
                <a:gd name="connsiteY359" fmla="*/ 6487 h 10000"/>
                <a:gd name="connsiteX360" fmla="*/ 8097 w 10354"/>
                <a:gd name="connsiteY360" fmla="*/ 6487 h 10000"/>
                <a:gd name="connsiteX361" fmla="*/ 8101 w 10354"/>
                <a:gd name="connsiteY361" fmla="*/ 6462 h 10000"/>
                <a:gd name="connsiteX362" fmla="*/ 8115 w 10354"/>
                <a:gd name="connsiteY362" fmla="*/ 6462 h 10000"/>
                <a:gd name="connsiteX363" fmla="*/ 8129 w 10354"/>
                <a:gd name="connsiteY363" fmla="*/ 6462 h 10000"/>
                <a:gd name="connsiteX364" fmla="*/ 8157 w 10354"/>
                <a:gd name="connsiteY364" fmla="*/ 6496 h 10000"/>
                <a:gd name="connsiteX365" fmla="*/ 8157 w 10354"/>
                <a:gd name="connsiteY365" fmla="*/ 6521 h 10000"/>
                <a:gd name="connsiteX366" fmla="*/ 8180 w 10354"/>
                <a:gd name="connsiteY366" fmla="*/ 6530 h 10000"/>
                <a:gd name="connsiteX367" fmla="*/ 8180 w 10354"/>
                <a:gd name="connsiteY367" fmla="*/ 6547 h 10000"/>
                <a:gd name="connsiteX368" fmla="*/ 8171 w 10354"/>
                <a:gd name="connsiteY368" fmla="*/ 6556 h 10000"/>
                <a:gd name="connsiteX369" fmla="*/ 8129 w 10354"/>
                <a:gd name="connsiteY369" fmla="*/ 6556 h 10000"/>
                <a:gd name="connsiteX370" fmla="*/ 8106 w 10354"/>
                <a:gd name="connsiteY370" fmla="*/ 6573 h 10000"/>
                <a:gd name="connsiteX371" fmla="*/ 8115 w 10354"/>
                <a:gd name="connsiteY371" fmla="*/ 6581 h 10000"/>
                <a:gd name="connsiteX372" fmla="*/ 8129 w 10354"/>
                <a:gd name="connsiteY372" fmla="*/ 6632 h 10000"/>
                <a:gd name="connsiteX373" fmla="*/ 8171 w 10354"/>
                <a:gd name="connsiteY373" fmla="*/ 6632 h 10000"/>
                <a:gd name="connsiteX374" fmla="*/ 8180 w 10354"/>
                <a:gd name="connsiteY374" fmla="*/ 6624 h 10000"/>
                <a:gd name="connsiteX375" fmla="*/ 8189 w 10354"/>
                <a:gd name="connsiteY375" fmla="*/ 6598 h 10000"/>
                <a:gd name="connsiteX376" fmla="*/ 8203 w 10354"/>
                <a:gd name="connsiteY376" fmla="*/ 6581 h 10000"/>
                <a:gd name="connsiteX377" fmla="*/ 8207 w 10354"/>
                <a:gd name="connsiteY377" fmla="*/ 6607 h 10000"/>
                <a:gd name="connsiteX378" fmla="*/ 8221 w 10354"/>
                <a:gd name="connsiteY378" fmla="*/ 6624 h 10000"/>
                <a:gd name="connsiteX379" fmla="*/ 8235 w 10354"/>
                <a:gd name="connsiteY379" fmla="*/ 6607 h 10000"/>
                <a:gd name="connsiteX380" fmla="*/ 8240 w 10354"/>
                <a:gd name="connsiteY380" fmla="*/ 6581 h 10000"/>
                <a:gd name="connsiteX381" fmla="*/ 8253 w 10354"/>
                <a:gd name="connsiteY381" fmla="*/ 6573 h 10000"/>
                <a:gd name="connsiteX382" fmla="*/ 8263 w 10354"/>
                <a:gd name="connsiteY382" fmla="*/ 6556 h 10000"/>
                <a:gd name="connsiteX383" fmla="*/ 8276 w 10354"/>
                <a:gd name="connsiteY383" fmla="*/ 6547 h 10000"/>
                <a:gd name="connsiteX384" fmla="*/ 8290 w 10354"/>
                <a:gd name="connsiteY384" fmla="*/ 6556 h 10000"/>
                <a:gd name="connsiteX385" fmla="*/ 8304 w 10354"/>
                <a:gd name="connsiteY385" fmla="*/ 6581 h 10000"/>
                <a:gd name="connsiteX386" fmla="*/ 8309 w 10354"/>
                <a:gd name="connsiteY386" fmla="*/ 6581 h 10000"/>
                <a:gd name="connsiteX387" fmla="*/ 8327 w 10354"/>
                <a:gd name="connsiteY387" fmla="*/ 6573 h 10000"/>
                <a:gd name="connsiteX388" fmla="*/ 8327 w 10354"/>
                <a:gd name="connsiteY388" fmla="*/ 6556 h 10000"/>
                <a:gd name="connsiteX389" fmla="*/ 8350 w 10354"/>
                <a:gd name="connsiteY389" fmla="*/ 6556 h 10000"/>
                <a:gd name="connsiteX390" fmla="*/ 8355 w 10354"/>
                <a:gd name="connsiteY390" fmla="*/ 6573 h 10000"/>
                <a:gd name="connsiteX391" fmla="*/ 8364 w 10354"/>
                <a:gd name="connsiteY391" fmla="*/ 6556 h 10000"/>
                <a:gd name="connsiteX392" fmla="*/ 8369 w 10354"/>
                <a:gd name="connsiteY392" fmla="*/ 6556 h 10000"/>
                <a:gd name="connsiteX393" fmla="*/ 8378 w 10354"/>
                <a:gd name="connsiteY393" fmla="*/ 6530 h 10000"/>
                <a:gd name="connsiteX394" fmla="*/ 8369 w 10354"/>
                <a:gd name="connsiteY394" fmla="*/ 6504 h 10000"/>
                <a:gd name="connsiteX395" fmla="*/ 8364 w 10354"/>
                <a:gd name="connsiteY395" fmla="*/ 6496 h 10000"/>
                <a:gd name="connsiteX396" fmla="*/ 8336 w 10354"/>
                <a:gd name="connsiteY396" fmla="*/ 6470 h 10000"/>
                <a:gd name="connsiteX397" fmla="*/ 8309 w 10354"/>
                <a:gd name="connsiteY397" fmla="*/ 6487 h 10000"/>
                <a:gd name="connsiteX398" fmla="*/ 8313 w 10354"/>
                <a:gd name="connsiteY398" fmla="*/ 6462 h 10000"/>
                <a:gd name="connsiteX399" fmla="*/ 8323 w 10354"/>
                <a:gd name="connsiteY399" fmla="*/ 6444 h 10000"/>
                <a:gd name="connsiteX400" fmla="*/ 8309 w 10354"/>
                <a:gd name="connsiteY400" fmla="*/ 6393 h 10000"/>
                <a:gd name="connsiteX401" fmla="*/ 8313 w 10354"/>
                <a:gd name="connsiteY401" fmla="*/ 6385 h 10000"/>
                <a:gd name="connsiteX402" fmla="*/ 8323 w 10354"/>
                <a:gd name="connsiteY402" fmla="*/ 6393 h 10000"/>
                <a:gd name="connsiteX403" fmla="*/ 8323 w 10354"/>
                <a:gd name="connsiteY403" fmla="*/ 6393 h 10000"/>
                <a:gd name="connsiteX404" fmla="*/ 8355 w 10354"/>
                <a:gd name="connsiteY404" fmla="*/ 6282 h 10000"/>
                <a:gd name="connsiteX405" fmla="*/ 8369 w 10354"/>
                <a:gd name="connsiteY405" fmla="*/ 6256 h 10000"/>
                <a:gd name="connsiteX406" fmla="*/ 8382 w 10354"/>
                <a:gd name="connsiteY406" fmla="*/ 6248 h 10000"/>
                <a:gd name="connsiteX407" fmla="*/ 8424 w 10354"/>
                <a:gd name="connsiteY407" fmla="*/ 6162 h 10000"/>
                <a:gd name="connsiteX408" fmla="*/ 8429 w 10354"/>
                <a:gd name="connsiteY408" fmla="*/ 6145 h 10000"/>
                <a:gd name="connsiteX409" fmla="*/ 8470 w 10354"/>
                <a:gd name="connsiteY409" fmla="*/ 6051 h 10000"/>
                <a:gd name="connsiteX410" fmla="*/ 8475 w 10354"/>
                <a:gd name="connsiteY410" fmla="*/ 5983 h 10000"/>
                <a:gd name="connsiteX411" fmla="*/ 8512 w 10354"/>
                <a:gd name="connsiteY411" fmla="*/ 5940 h 10000"/>
                <a:gd name="connsiteX412" fmla="*/ 8521 w 10354"/>
                <a:gd name="connsiteY412" fmla="*/ 5923 h 10000"/>
                <a:gd name="connsiteX413" fmla="*/ 8535 w 10354"/>
                <a:gd name="connsiteY413" fmla="*/ 5915 h 10000"/>
                <a:gd name="connsiteX414" fmla="*/ 8562 w 10354"/>
                <a:gd name="connsiteY414" fmla="*/ 5915 h 10000"/>
                <a:gd name="connsiteX415" fmla="*/ 8618 w 10354"/>
                <a:gd name="connsiteY415" fmla="*/ 5889 h 10000"/>
                <a:gd name="connsiteX416" fmla="*/ 8622 w 10354"/>
                <a:gd name="connsiteY416" fmla="*/ 5889 h 10000"/>
                <a:gd name="connsiteX417" fmla="*/ 8622 w 10354"/>
                <a:gd name="connsiteY417" fmla="*/ 5872 h 10000"/>
                <a:gd name="connsiteX418" fmla="*/ 8636 w 10354"/>
                <a:gd name="connsiteY418" fmla="*/ 5872 h 10000"/>
                <a:gd name="connsiteX419" fmla="*/ 8650 w 10354"/>
                <a:gd name="connsiteY419" fmla="*/ 5889 h 10000"/>
                <a:gd name="connsiteX420" fmla="*/ 8659 w 10354"/>
                <a:gd name="connsiteY420" fmla="*/ 5915 h 10000"/>
                <a:gd name="connsiteX421" fmla="*/ 8664 w 10354"/>
                <a:gd name="connsiteY421" fmla="*/ 5940 h 10000"/>
                <a:gd name="connsiteX422" fmla="*/ 8682 w 10354"/>
                <a:gd name="connsiteY422" fmla="*/ 5923 h 10000"/>
                <a:gd name="connsiteX423" fmla="*/ 8719 w 10354"/>
                <a:gd name="connsiteY423" fmla="*/ 5863 h 10000"/>
                <a:gd name="connsiteX424" fmla="*/ 8705 w 10354"/>
                <a:gd name="connsiteY424" fmla="*/ 5966 h 10000"/>
                <a:gd name="connsiteX425" fmla="*/ 8696 w 10354"/>
                <a:gd name="connsiteY425" fmla="*/ 5983 h 10000"/>
                <a:gd name="connsiteX426" fmla="*/ 8682 w 10354"/>
                <a:gd name="connsiteY426" fmla="*/ 6026 h 10000"/>
                <a:gd name="connsiteX427" fmla="*/ 8682 w 10354"/>
                <a:gd name="connsiteY427" fmla="*/ 6051 h 10000"/>
                <a:gd name="connsiteX428" fmla="*/ 8691 w 10354"/>
                <a:gd name="connsiteY428" fmla="*/ 6077 h 10000"/>
                <a:gd name="connsiteX429" fmla="*/ 8691 w 10354"/>
                <a:gd name="connsiteY429" fmla="*/ 6085 h 10000"/>
                <a:gd name="connsiteX430" fmla="*/ 8682 w 10354"/>
                <a:gd name="connsiteY430" fmla="*/ 6103 h 10000"/>
                <a:gd name="connsiteX431" fmla="*/ 8682 w 10354"/>
                <a:gd name="connsiteY431" fmla="*/ 6111 h 10000"/>
                <a:gd name="connsiteX432" fmla="*/ 8691 w 10354"/>
                <a:gd name="connsiteY432" fmla="*/ 6120 h 10000"/>
                <a:gd name="connsiteX433" fmla="*/ 8719 w 10354"/>
                <a:gd name="connsiteY433" fmla="*/ 6103 h 10000"/>
                <a:gd name="connsiteX434" fmla="*/ 8705 w 10354"/>
                <a:gd name="connsiteY434" fmla="*/ 6188 h 10000"/>
                <a:gd name="connsiteX435" fmla="*/ 8705 w 10354"/>
                <a:gd name="connsiteY435" fmla="*/ 6214 h 10000"/>
                <a:gd name="connsiteX436" fmla="*/ 8710 w 10354"/>
                <a:gd name="connsiteY436" fmla="*/ 6197 h 10000"/>
                <a:gd name="connsiteX437" fmla="*/ 8728 w 10354"/>
                <a:gd name="connsiteY437" fmla="*/ 6171 h 10000"/>
                <a:gd name="connsiteX438" fmla="*/ 8737 w 10354"/>
                <a:gd name="connsiteY438" fmla="*/ 6171 h 10000"/>
                <a:gd name="connsiteX439" fmla="*/ 8843 w 10354"/>
                <a:gd name="connsiteY439" fmla="*/ 5949 h 10000"/>
                <a:gd name="connsiteX440" fmla="*/ 8866 w 10354"/>
                <a:gd name="connsiteY440" fmla="*/ 5949 h 10000"/>
                <a:gd name="connsiteX441" fmla="*/ 8871 w 10354"/>
                <a:gd name="connsiteY441" fmla="*/ 5940 h 10000"/>
                <a:gd name="connsiteX442" fmla="*/ 8876 w 10354"/>
                <a:gd name="connsiteY442" fmla="*/ 5923 h 10000"/>
                <a:gd name="connsiteX443" fmla="*/ 8885 w 10354"/>
                <a:gd name="connsiteY443" fmla="*/ 5940 h 10000"/>
                <a:gd name="connsiteX444" fmla="*/ 8885 w 10354"/>
                <a:gd name="connsiteY444" fmla="*/ 5949 h 10000"/>
                <a:gd name="connsiteX445" fmla="*/ 8885 w 10354"/>
                <a:gd name="connsiteY445" fmla="*/ 5974 h 10000"/>
                <a:gd name="connsiteX446" fmla="*/ 8889 w 10354"/>
                <a:gd name="connsiteY446" fmla="*/ 5974 h 10000"/>
                <a:gd name="connsiteX447" fmla="*/ 8903 w 10354"/>
                <a:gd name="connsiteY447" fmla="*/ 5923 h 10000"/>
                <a:gd name="connsiteX448" fmla="*/ 8889 w 10354"/>
                <a:gd name="connsiteY448" fmla="*/ 5923 h 10000"/>
                <a:gd name="connsiteX449" fmla="*/ 8889 w 10354"/>
                <a:gd name="connsiteY449" fmla="*/ 5897 h 10000"/>
                <a:gd name="connsiteX450" fmla="*/ 8899 w 10354"/>
                <a:gd name="connsiteY450" fmla="*/ 5838 h 10000"/>
                <a:gd name="connsiteX451" fmla="*/ 8889 w 10354"/>
                <a:gd name="connsiteY451" fmla="*/ 5812 h 10000"/>
                <a:gd name="connsiteX452" fmla="*/ 8903 w 10354"/>
                <a:gd name="connsiteY452" fmla="*/ 5778 h 10000"/>
                <a:gd name="connsiteX453" fmla="*/ 8903 w 10354"/>
                <a:gd name="connsiteY453" fmla="*/ 5761 h 10000"/>
                <a:gd name="connsiteX454" fmla="*/ 8912 w 10354"/>
                <a:gd name="connsiteY454" fmla="*/ 5735 h 10000"/>
                <a:gd name="connsiteX455" fmla="*/ 8931 w 10354"/>
                <a:gd name="connsiteY455" fmla="*/ 5701 h 10000"/>
                <a:gd name="connsiteX456" fmla="*/ 8977 w 10354"/>
                <a:gd name="connsiteY456" fmla="*/ 5675 h 10000"/>
                <a:gd name="connsiteX457" fmla="*/ 9000 w 10354"/>
                <a:gd name="connsiteY457" fmla="*/ 5675 h 10000"/>
                <a:gd name="connsiteX458" fmla="*/ 9018 w 10354"/>
                <a:gd name="connsiteY458" fmla="*/ 5709 h 10000"/>
                <a:gd name="connsiteX459" fmla="*/ 9009 w 10354"/>
                <a:gd name="connsiteY459" fmla="*/ 5735 h 10000"/>
                <a:gd name="connsiteX460" fmla="*/ 9000 w 10354"/>
                <a:gd name="connsiteY460" fmla="*/ 5735 h 10000"/>
                <a:gd name="connsiteX461" fmla="*/ 8963 w 10354"/>
                <a:gd name="connsiteY461" fmla="*/ 5786 h 10000"/>
                <a:gd name="connsiteX462" fmla="*/ 8949 w 10354"/>
                <a:gd name="connsiteY462" fmla="*/ 5940 h 10000"/>
                <a:gd name="connsiteX463" fmla="*/ 8945 w 10354"/>
                <a:gd name="connsiteY463" fmla="*/ 5966 h 10000"/>
                <a:gd name="connsiteX464" fmla="*/ 8945 w 10354"/>
                <a:gd name="connsiteY464" fmla="*/ 6000 h 10000"/>
                <a:gd name="connsiteX465" fmla="*/ 8945 w 10354"/>
                <a:gd name="connsiteY465" fmla="*/ 6009 h 10000"/>
                <a:gd name="connsiteX466" fmla="*/ 8945 w 10354"/>
                <a:gd name="connsiteY466" fmla="*/ 6034 h 10000"/>
                <a:gd name="connsiteX467" fmla="*/ 8931 w 10354"/>
                <a:gd name="connsiteY467" fmla="*/ 6060 h 10000"/>
                <a:gd name="connsiteX468" fmla="*/ 8926 w 10354"/>
                <a:gd name="connsiteY468" fmla="*/ 6077 h 10000"/>
                <a:gd name="connsiteX469" fmla="*/ 8926 w 10354"/>
                <a:gd name="connsiteY469" fmla="*/ 6111 h 10000"/>
                <a:gd name="connsiteX470" fmla="*/ 8931 w 10354"/>
                <a:gd name="connsiteY470" fmla="*/ 6120 h 10000"/>
                <a:gd name="connsiteX471" fmla="*/ 8931 w 10354"/>
                <a:gd name="connsiteY471" fmla="*/ 6137 h 10000"/>
                <a:gd name="connsiteX472" fmla="*/ 8912 w 10354"/>
                <a:gd name="connsiteY472" fmla="*/ 6171 h 10000"/>
                <a:gd name="connsiteX473" fmla="*/ 8899 w 10354"/>
                <a:gd name="connsiteY473" fmla="*/ 6162 h 10000"/>
                <a:gd name="connsiteX474" fmla="*/ 8885 w 10354"/>
                <a:gd name="connsiteY474" fmla="*/ 6171 h 10000"/>
                <a:gd name="connsiteX475" fmla="*/ 8866 w 10354"/>
                <a:gd name="connsiteY475" fmla="*/ 6214 h 10000"/>
                <a:gd name="connsiteX476" fmla="*/ 8853 w 10354"/>
                <a:gd name="connsiteY476" fmla="*/ 6214 h 10000"/>
                <a:gd name="connsiteX477" fmla="*/ 8816 w 10354"/>
                <a:gd name="connsiteY477" fmla="*/ 6248 h 10000"/>
                <a:gd name="connsiteX478" fmla="*/ 8816 w 10354"/>
                <a:gd name="connsiteY478" fmla="*/ 6248 h 10000"/>
                <a:gd name="connsiteX479" fmla="*/ 8816 w 10354"/>
                <a:gd name="connsiteY479" fmla="*/ 6282 h 10000"/>
                <a:gd name="connsiteX480" fmla="*/ 8811 w 10354"/>
                <a:gd name="connsiteY480" fmla="*/ 6308 h 10000"/>
                <a:gd name="connsiteX481" fmla="*/ 8751 w 10354"/>
                <a:gd name="connsiteY481" fmla="*/ 6436 h 10000"/>
                <a:gd name="connsiteX482" fmla="*/ 8724 w 10354"/>
                <a:gd name="connsiteY482" fmla="*/ 6470 h 10000"/>
                <a:gd name="connsiteX483" fmla="*/ 8710 w 10354"/>
                <a:gd name="connsiteY483" fmla="*/ 6504 h 10000"/>
                <a:gd name="connsiteX484" fmla="*/ 8705 w 10354"/>
                <a:gd name="connsiteY484" fmla="*/ 6521 h 10000"/>
                <a:gd name="connsiteX485" fmla="*/ 8677 w 10354"/>
                <a:gd name="connsiteY485" fmla="*/ 6573 h 10000"/>
                <a:gd name="connsiteX486" fmla="*/ 8677 w 10354"/>
                <a:gd name="connsiteY486" fmla="*/ 6624 h 10000"/>
                <a:gd name="connsiteX487" fmla="*/ 8590 w 10354"/>
                <a:gd name="connsiteY487" fmla="*/ 6803 h 10000"/>
                <a:gd name="connsiteX488" fmla="*/ 8562 w 10354"/>
                <a:gd name="connsiteY488" fmla="*/ 6829 h 10000"/>
                <a:gd name="connsiteX489" fmla="*/ 8544 w 10354"/>
                <a:gd name="connsiteY489" fmla="*/ 6829 h 10000"/>
                <a:gd name="connsiteX490" fmla="*/ 8521 w 10354"/>
                <a:gd name="connsiteY490" fmla="*/ 6880 h 10000"/>
                <a:gd name="connsiteX491" fmla="*/ 8498 w 10354"/>
                <a:gd name="connsiteY491" fmla="*/ 6872 h 10000"/>
                <a:gd name="connsiteX492" fmla="*/ 8488 w 10354"/>
                <a:gd name="connsiteY492" fmla="*/ 6872 h 10000"/>
                <a:gd name="connsiteX493" fmla="*/ 8498 w 10354"/>
                <a:gd name="connsiteY493" fmla="*/ 6940 h 10000"/>
                <a:gd name="connsiteX494" fmla="*/ 8484 w 10354"/>
                <a:gd name="connsiteY494" fmla="*/ 7026 h 10000"/>
                <a:gd name="connsiteX495" fmla="*/ 8429 w 10354"/>
                <a:gd name="connsiteY495" fmla="*/ 7094 h 10000"/>
                <a:gd name="connsiteX496" fmla="*/ 8401 w 10354"/>
                <a:gd name="connsiteY496" fmla="*/ 7291 h 10000"/>
                <a:gd name="connsiteX497" fmla="*/ 8424 w 10354"/>
                <a:gd name="connsiteY497" fmla="*/ 7692 h 10000"/>
                <a:gd name="connsiteX498" fmla="*/ 8424 w 10354"/>
                <a:gd name="connsiteY498" fmla="*/ 7701 h 10000"/>
                <a:gd name="connsiteX499" fmla="*/ 8484 w 10354"/>
                <a:gd name="connsiteY499" fmla="*/ 8308 h 10000"/>
                <a:gd name="connsiteX500" fmla="*/ 8576 w 10354"/>
                <a:gd name="connsiteY500" fmla="*/ 8120 h 10000"/>
                <a:gd name="connsiteX501" fmla="*/ 8590 w 10354"/>
                <a:gd name="connsiteY501" fmla="*/ 8026 h 10000"/>
                <a:gd name="connsiteX502" fmla="*/ 8590 w 10354"/>
                <a:gd name="connsiteY502" fmla="*/ 7983 h 10000"/>
                <a:gd name="connsiteX503" fmla="*/ 8594 w 10354"/>
                <a:gd name="connsiteY503" fmla="*/ 7974 h 10000"/>
                <a:gd name="connsiteX504" fmla="*/ 8594 w 10354"/>
                <a:gd name="connsiteY504" fmla="*/ 7940 h 10000"/>
                <a:gd name="connsiteX505" fmla="*/ 8594 w 10354"/>
                <a:gd name="connsiteY505" fmla="*/ 7923 h 10000"/>
                <a:gd name="connsiteX506" fmla="*/ 8594 w 10354"/>
                <a:gd name="connsiteY506" fmla="*/ 7915 h 10000"/>
                <a:gd name="connsiteX507" fmla="*/ 8604 w 10354"/>
                <a:gd name="connsiteY507" fmla="*/ 7915 h 10000"/>
                <a:gd name="connsiteX508" fmla="*/ 8608 w 10354"/>
                <a:gd name="connsiteY508" fmla="*/ 7923 h 10000"/>
                <a:gd name="connsiteX509" fmla="*/ 8645 w 10354"/>
                <a:gd name="connsiteY509" fmla="*/ 7872 h 10000"/>
                <a:gd name="connsiteX510" fmla="*/ 8668 w 10354"/>
                <a:gd name="connsiteY510" fmla="*/ 7846 h 10000"/>
                <a:gd name="connsiteX511" fmla="*/ 8691 w 10354"/>
                <a:gd name="connsiteY511" fmla="*/ 7863 h 10000"/>
                <a:gd name="connsiteX512" fmla="*/ 8691 w 10354"/>
                <a:gd name="connsiteY512" fmla="*/ 7846 h 10000"/>
                <a:gd name="connsiteX513" fmla="*/ 8682 w 10354"/>
                <a:gd name="connsiteY513" fmla="*/ 7838 h 10000"/>
                <a:gd name="connsiteX514" fmla="*/ 8682 w 10354"/>
                <a:gd name="connsiteY514" fmla="*/ 7692 h 10000"/>
                <a:gd name="connsiteX515" fmla="*/ 8728 w 10354"/>
                <a:gd name="connsiteY515" fmla="*/ 7598 h 10000"/>
                <a:gd name="connsiteX516" fmla="*/ 8751 w 10354"/>
                <a:gd name="connsiteY516" fmla="*/ 7573 h 10000"/>
                <a:gd name="connsiteX517" fmla="*/ 8770 w 10354"/>
                <a:gd name="connsiteY517" fmla="*/ 7573 h 10000"/>
                <a:gd name="connsiteX518" fmla="*/ 8779 w 10354"/>
                <a:gd name="connsiteY518" fmla="*/ 7590 h 10000"/>
                <a:gd name="connsiteX519" fmla="*/ 8793 w 10354"/>
                <a:gd name="connsiteY519" fmla="*/ 7590 h 10000"/>
                <a:gd name="connsiteX520" fmla="*/ 8811 w 10354"/>
                <a:gd name="connsiteY520" fmla="*/ 7590 h 10000"/>
                <a:gd name="connsiteX521" fmla="*/ 8825 w 10354"/>
                <a:gd name="connsiteY521" fmla="*/ 7556 h 10000"/>
                <a:gd name="connsiteX522" fmla="*/ 8829 w 10354"/>
                <a:gd name="connsiteY522" fmla="*/ 7530 h 10000"/>
                <a:gd name="connsiteX523" fmla="*/ 8802 w 10354"/>
                <a:gd name="connsiteY523" fmla="*/ 7462 h 10000"/>
                <a:gd name="connsiteX524" fmla="*/ 8797 w 10354"/>
                <a:gd name="connsiteY524" fmla="*/ 7402 h 10000"/>
                <a:gd name="connsiteX525" fmla="*/ 8816 w 10354"/>
                <a:gd name="connsiteY525" fmla="*/ 7291 h 10000"/>
                <a:gd name="connsiteX526" fmla="*/ 8825 w 10354"/>
                <a:gd name="connsiteY526" fmla="*/ 7256 h 10000"/>
                <a:gd name="connsiteX527" fmla="*/ 8843 w 10354"/>
                <a:gd name="connsiteY527" fmla="*/ 7231 h 10000"/>
                <a:gd name="connsiteX528" fmla="*/ 8839 w 10354"/>
                <a:gd name="connsiteY528" fmla="*/ 7205 h 10000"/>
                <a:gd name="connsiteX529" fmla="*/ 8839 w 10354"/>
                <a:gd name="connsiteY529" fmla="*/ 7188 h 10000"/>
                <a:gd name="connsiteX530" fmla="*/ 8876 w 10354"/>
                <a:gd name="connsiteY530" fmla="*/ 7162 h 10000"/>
                <a:gd name="connsiteX531" fmla="*/ 8885 w 10354"/>
                <a:gd name="connsiteY531" fmla="*/ 7154 h 10000"/>
                <a:gd name="connsiteX532" fmla="*/ 8885 w 10354"/>
                <a:gd name="connsiteY532" fmla="*/ 7162 h 10000"/>
                <a:gd name="connsiteX533" fmla="*/ 8876 w 10354"/>
                <a:gd name="connsiteY533" fmla="*/ 7188 h 10000"/>
                <a:gd name="connsiteX534" fmla="*/ 8871 w 10354"/>
                <a:gd name="connsiteY534" fmla="*/ 7205 h 10000"/>
                <a:gd name="connsiteX535" fmla="*/ 8866 w 10354"/>
                <a:gd name="connsiteY535" fmla="*/ 7214 h 10000"/>
                <a:gd name="connsiteX536" fmla="*/ 8876 w 10354"/>
                <a:gd name="connsiteY536" fmla="*/ 7265 h 10000"/>
                <a:gd name="connsiteX537" fmla="*/ 8885 w 10354"/>
                <a:gd name="connsiteY537" fmla="*/ 7282 h 10000"/>
                <a:gd name="connsiteX538" fmla="*/ 8889 w 10354"/>
                <a:gd name="connsiteY538" fmla="*/ 7282 h 10000"/>
                <a:gd name="connsiteX539" fmla="*/ 8903 w 10354"/>
                <a:gd name="connsiteY539" fmla="*/ 7239 h 10000"/>
                <a:gd name="connsiteX540" fmla="*/ 8903 w 10354"/>
                <a:gd name="connsiteY540" fmla="*/ 7214 h 10000"/>
                <a:gd name="connsiteX541" fmla="*/ 8899 w 10354"/>
                <a:gd name="connsiteY541" fmla="*/ 7128 h 10000"/>
                <a:gd name="connsiteX542" fmla="*/ 8889 w 10354"/>
                <a:gd name="connsiteY542" fmla="*/ 7120 h 10000"/>
                <a:gd name="connsiteX543" fmla="*/ 8871 w 10354"/>
                <a:gd name="connsiteY543" fmla="*/ 7120 h 10000"/>
                <a:gd name="connsiteX544" fmla="*/ 8871 w 10354"/>
                <a:gd name="connsiteY544" fmla="*/ 7120 h 10000"/>
                <a:gd name="connsiteX545" fmla="*/ 8871 w 10354"/>
                <a:gd name="connsiteY545" fmla="*/ 6991 h 10000"/>
                <a:gd name="connsiteX546" fmla="*/ 8871 w 10354"/>
                <a:gd name="connsiteY546" fmla="*/ 6966 h 10000"/>
                <a:gd name="connsiteX547" fmla="*/ 8889 w 10354"/>
                <a:gd name="connsiteY547" fmla="*/ 6940 h 10000"/>
                <a:gd name="connsiteX548" fmla="*/ 8903 w 10354"/>
                <a:gd name="connsiteY548" fmla="*/ 6906 h 10000"/>
                <a:gd name="connsiteX549" fmla="*/ 8899 w 10354"/>
                <a:gd name="connsiteY549" fmla="*/ 6880 h 10000"/>
                <a:gd name="connsiteX550" fmla="*/ 8866 w 10354"/>
                <a:gd name="connsiteY550" fmla="*/ 6846 h 10000"/>
                <a:gd name="connsiteX551" fmla="*/ 8853 w 10354"/>
                <a:gd name="connsiteY551" fmla="*/ 6846 h 10000"/>
                <a:gd name="connsiteX552" fmla="*/ 8843 w 10354"/>
                <a:gd name="connsiteY552" fmla="*/ 6880 h 10000"/>
                <a:gd name="connsiteX553" fmla="*/ 8843 w 10354"/>
                <a:gd name="connsiteY553" fmla="*/ 6897 h 10000"/>
                <a:gd name="connsiteX554" fmla="*/ 8829 w 10354"/>
                <a:gd name="connsiteY554" fmla="*/ 6880 h 10000"/>
                <a:gd name="connsiteX555" fmla="*/ 8825 w 10354"/>
                <a:gd name="connsiteY555" fmla="*/ 6872 h 10000"/>
                <a:gd name="connsiteX556" fmla="*/ 8816 w 10354"/>
                <a:gd name="connsiteY556" fmla="*/ 6846 h 10000"/>
                <a:gd name="connsiteX557" fmla="*/ 8816 w 10354"/>
                <a:gd name="connsiteY557" fmla="*/ 6803 h 10000"/>
                <a:gd name="connsiteX558" fmla="*/ 8876 w 10354"/>
                <a:gd name="connsiteY558" fmla="*/ 6598 h 10000"/>
                <a:gd name="connsiteX559" fmla="*/ 8876 w 10354"/>
                <a:gd name="connsiteY559" fmla="*/ 6573 h 10000"/>
                <a:gd name="connsiteX560" fmla="*/ 8885 w 10354"/>
                <a:gd name="connsiteY560" fmla="*/ 6556 h 10000"/>
                <a:gd name="connsiteX561" fmla="*/ 8899 w 10354"/>
                <a:gd name="connsiteY561" fmla="*/ 6573 h 10000"/>
                <a:gd name="connsiteX562" fmla="*/ 8889 w 10354"/>
                <a:gd name="connsiteY562" fmla="*/ 6556 h 10000"/>
                <a:gd name="connsiteX563" fmla="*/ 8889 w 10354"/>
                <a:gd name="connsiteY563" fmla="*/ 6530 h 10000"/>
                <a:gd name="connsiteX564" fmla="*/ 8903 w 10354"/>
                <a:gd name="connsiteY564" fmla="*/ 6521 h 10000"/>
                <a:gd name="connsiteX565" fmla="*/ 8903 w 10354"/>
                <a:gd name="connsiteY565" fmla="*/ 6504 h 10000"/>
                <a:gd name="connsiteX566" fmla="*/ 8903 w 10354"/>
                <a:gd name="connsiteY566" fmla="*/ 6487 h 10000"/>
                <a:gd name="connsiteX567" fmla="*/ 8903 w 10354"/>
                <a:gd name="connsiteY567" fmla="*/ 6462 h 10000"/>
                <a:gd name="connsiteX568" fmla="*/ 8912 w 10354"/>
                <a:gd name="connsiteY568" fmla="*/ 6419 h 10000"/>
                <a:gd name="connsiteX569" fmla="*/ 8917 w 10354"/>
                <a:gd name="connsiteY569" fmla="*/ 6393 h 10000"/>
                <a:gd name="connsiteX570" fmla="*/ 8926 w 10354"/>
                <a:gd name="connsiteY570" fmla="*/ 6385 h 10000"/>
                <a:gd name="connsiteX571" fmla="*/ 8931 w 10354"/>
                <a:gd name="connsiteY571" fmla="*/ 6385 h 10000"/>
                <a:gd name="connsiteX572" fmla="*/ 8949 w 10354"/>
                <a:gd name="connsiteY572" fmla="*/ 6359 h 10000"/>
                <a:gd name="connsiteX573" fmla="*/ 8959 w 10354"/>
                <a:gd name="connsiteY573" fmla="*/ 6368 h 10000"/>
                <a:gd name="connsiteX574" fmla="*/ 8963 w 10354"/>
                <a:gd name="connsiteY574" fmla="*/ 6385 h 10000"/>
                <a:gd name="connsiteX575" fmla="*/ 8972 w 10354"/>
                <a:gd name="connsiteY575" fmla="*/ 6359 h 10000"/>
                <a:gd name="connsiteX576" fmla="*/ 8991 w 10354"/>
                <a:gd name="connsiteY576" fmla="*/ 6350 h 10000"/>
                <a:gd name="connsiteX577" fmla="*/ 9000 w 10354"/>
                <a:gd name="connsiteY577" fmla="*/ 6368 h 10000"/>
                <a:gd name="connsiteX578" fmla="*/ 9005 w 10354"/>
                <a:gd name="connsiteY578" fmla="*/ 6393 h 10000"/>
                <a:gd name="connsiteX579" fmla="*/ 9018 w 10354"/>
                <a:gd name="connsiteY579" fmla="*/ 6393 h 10000"/>
                <a:gd name="connsiteX580" fmla="*/ 9023 w 10354"/>
                <a:gd name="connsiteY580" fmla="*/ 6359 h 10000"/>
                <a:gd name="connsiteX581" fmla="*/ 9023 w 10354"/>
                <a:gd name="connsiteY581" fmla="*/ 6333 h 10000"/>
                <a:gd name="connsiteX582" fmla="*/ 9037 w 10354"/>
                <a:gd name="connsiteY582" fmla="*/ 6308 h 10000"/>
                <a:gd name="connsiteX583" fmla="*/ 9074 w 10354"/>
                <a:gd name="connsiteY583" fmla="*/ 6274 h 10000"/>
                <a:gd name="connsiteX584" fmla="*/ 9092 w 10354"/>
                <a:gd name="connsiteY584" fmla="*/ 6222 h 10000"/>
                <a:gd name="connsiteX585" fmla="*/ 9097 w 10354"/>
                <a:gd name="connsiteY585" fmla="*/ 6231 h 10000"/>
                <a:gd name="connsiteX586" fmla="*/ 9097 w 10354"/>
                <a:gd name="connsiteY586" fmla="*/ 6248 h 10000"/>
                <a:gd name="connsiteX587" fmla="*/ 9097 w 10354"/>
                <a:gd name="connsiteY587" fmla="*/ 6274 h 10000"/>
                <a:gd name="connsiteX588" fmla="*/ 9097 w 10354"/>
                <a:gd name="connsiteY588" fmla="*/ 6308 h 10000"/>
                <a:gd name="connsiteX589" fmla="*/ 9092 w 10354"/>
                <a:gd name="connsiteY589" fmla="*/ 6368 h 10000"/>
                <a:gd name="connsiteX590" fmla="*/ 9092 w 10354"/>
                <a:gd name="connsiteY590" fmla="*/ 6385 h 10000"/>
                <a:gd name="connsiteX591" fmla="*/ 9092 w 10354"/>
                <a:gd name="connsiteY591" fmla="*/ 6393 h 10000"/>
                <a:gd name="connsiteX592" fmla="*/ 9092 w 10354"/>
                <a:gd name="connsiteY592" fmla="*/ 6393 h 10000"/>
                <a:gd name="connsiteX593" fmla="*/ 9143 w 10354"/>
                <a:gd name="connsiteY593" fmla="*/ 6299 h 10000"/>
                <a:gd name="connsiteX594" fmla="*/ 9143 w 10354"/>
                <a:gd name="connsiteY594" fmla="*/ 6282 h 10000"/>
                <a:gd name="connsiteX595" fmla="*/ 9143 w 10354"/>
                <a:gd name="connsiteY595" fmla="*/ 6256 h 10000"/>
                <a:gd name="connsiteX596" fmla="*/ 9143 w 10354"/>
                <a:gd name="connsiteY596" fmla="*/ 6256 h 10000"/>
                <a:gd name="connsiteX597" fmla="*/ 9157 w 10354"/>
                <a:gd name="connsiteY597" fmla="*/ 6274 h 10000"/>
                <a:gd name="connsiteX598" fmla="*/ 9166 w 10354"/>
                <a:gd name="connsiteY598" fmla="*/ 6248 h 10000"/>
                <a:gd name="connsiteX599" fmla="*/ 9180 w 10354"/>
                <a:gd name="connsiteY599" fmla="*/ 6248 h 10000"/>
                <a:gd name="connsiteX600" fmla="*/ 9198 w 10354"/>
                <a:gd name="connsiteY600" fmla="*/ 6222 h 10000"/>
                <a:gd name="connsiteX601" fmla="*/ 9212 w 10354"/>
                <a:gd name="connsiteY601" fmla="*/ 6222 h 10000"/>
                <a:gd name="connsiteX602" fmla="*/ 9226 w 10354"/>
                <a:gd name="connsiteY602" fmla="*/ 6197 h 10000"/>
                <a:gd name="connsiteX603" fmla="*/ 9230 w 10354"/>
                <a:gd name="connsiteY603" fmla="*/ 6214 h 10000"/>
                <a:gd name="connsiteX604" fmla="*/ 9272 w 10354"/>
                <a:gd name="connsiteY604" fmla="*/ 6214 h 10000"/>
                <a:gd name="connsiteX605" fmla="*/ 9304 w 10354"/>
                <a:gd name="connsiteY605" fmla="*/ 6231 h 10000"/>
                <a:gd name="connsiteX606" fmla="*/ 9318 w 10354"/>
                <a:gd name="connsiteY606" fmla="*/ 6248 h 10000"/>
                <a:gd name="connsiteX607" fmla="*/ 9327 w 10354"/>
                <a:gd name="connsiteY607" fmla="*/ 6282 h 10000"/>
                <a:gd name="connsiteX608" fmla="*/ 9355 w 10354"/>
                <a:gd name="connsiteY608" fmla="*/ 6350 h 10000"/>
                <a:gd name="connsiteX609" fmla="*/ 9355 w 10354"/>
                <a:gd name="connsiteY609" fmla="*/ 6359 h 10000"/>
                <a:gd name="connsiteX610" fmla="*/ 9364 w 10354"/>
                <a:gd name="connsiteY610" fmla="*/ 6368 h 10000"/>
                <a:gd name="connsiteX611" fmla="*/ 9373 w 10354"/>
                <a:gd name="connsiteY611" fmla="*/ 6359 h 10000"/>
                <a:gd name="connsiteX612" fmla="*/ 9373 w 10354"/>
                <a:gd name="connsiteY612" fmla="*/ 6325 h 10000"/>
                <a:gd name="connsiteX613" fmla="*/ 9387 w 10354"/>
                <a:gd name="connsiteY613" fmla="*/ 6256 h 10000"/>
                <a:gd name="connsiteX614" fmla="*/ 9387 w 10354"/>
                <a:gd name="connsiteY614" fmla="*/ 6248 h 10000"/>
                <a:gd name="connsiteX615" fmla="*/ 9378 w 10354"/>
                <a:gd name="connsiteY615" fmla="*/ 6248 h 10000"/>
                <a:gd name="connsiteX616" fmla="*/ 9406 w 10354"/>
                <a:gd name="connsiteY616" fmla="*/ 6222 h 10000"/>
                <a:gd name="connsiteX617" fmla="*/ 9415 w 10354"/>
                <a:gd name="connsiteY617" fmla="*/ 6222 h 10000"/>
                <a:gd name="connsiteX618" fmla="*/ 9415 w 10354"/>
                <a:gd name="connsiteY618" fmla="*/ 6197 h 10000"/>
                <a:gd name="connsiteX619" fmla="*/ 9419 w 10354"/>
                <a:gd name="connsiteY619" fmla="*/ 6214 h 10000"/>
                <a:gd name="connsiteX620" fmla="*/ 9424 w 10354"/>
                <a:gd name="connsiteY620" fmla="*/ 6214 h 10000"/>
                <a:gd name="connsiteX621" fmla="*/ 9447 w 10354"/>
                <a:gd name="connsiteY621" fmla="*/ 6171 h 10000"/>
                <a:gd name="connsiteX622" fmla="*/ 9452 w 10354"/>
                <a:gd name="connsiteY622" fmla="*/ 6171 h 10000"/>
                <a:gd name="connsiteX623" fmla="*/ 9452 w 10354"/>
                <a:gd name="connsiteY623" fmla="*/ 6162 h 10000"/>
                <a:gd name="connsiteX624" fmla="*/ 9461 w 10354"/>
                <a:gd name="connsiteY624" fmla="*/ 6137 h 10000"/>
                <a:gd name="connsiteX625" fmla="*/ 9475 w 10354"/>
                <a:gd name="connsiteY625" fmla="*/ 6137 h 10000"/>
                <a:gd name="connsiteX626" fmla="*/ 9475 w 10354"/>
                <a:gd name="connsiteY626" fmla="*/ 6137 h 10000"/>
                <a:gd name="connsiteX627" fmla="*/ 9479 w 10354"/>
                <a:gd name="connsiteY627" fmla="*/ 6120 h 10000"/>
                <a:gd name="connsiteX628" fmla="*/ 9488 w 10354"/>
                <a:gd name="connsiteY628" fmla="*/ 6120 h 10000"/>
                <a:gd name="connsiteX629" fmla="*/ 9488 w 10354"/>
                <a:gd name="connsiteY629" fmla="*/ 6111 h 10000"/>
                <a:gd name="connsiteX630" fmla="*/ 9479 w 10354"/>
                <a:gd name="connsiteY630" fmla="*/ 6103 h 10000"/>
                <a:gd name="connsiteX631" fmla="*/ 9479 w 10354"/>
                <a:gd name="connsiteY631" fmla="*/ 6085 h 10000"/>
                <a:gd name="connsiteX632" fmla="*/ 9488 w 10354"/>
                <a:gd name="connsiteY632" fmla="*/ 6103 h 10000"/>
                <a:gd name="connsiteX633" fmla="*/ 9493 w 10354"/>
                <a:gd name="connsiteY633" fmla="*/ 6111 h 10000"/>
                <a:gd name="connsiteX634" fmla="*/ 9498 w 10354"/>
                <a:gd name="connsiteY634" fmla="*/ 6103 h 10000"/>
                <a:gd name="connsiteX635" fmla="*/ 9507 w 10354"/>
                <a:gd name="connsiteY635" fmla="*/ 6077 h 10000"/>
                <a:gd name="connsiteX636" fmla="*/ 9498 w 10354"/>
                <a:gd name="connsiteY636" fmla="*/ 6060 h 10000"/>
                <a:gd name="connsiteX637" fmla="*/ 9512 w 10354"/>
                <a:gd name="connsiteY637" fmla="*/ 6060 h 10000"/>
                <a:gd name="connsiteX638" fmla="*/ 9525 w 10354"/>
                <a:gd name="connsiteY638" fmla="*/ 6034 h 10000"/>
                <a:gd name="connsiteX639" fmla="*/ 9535 w 10354"/>
                <a:gd name="connsiteY639" fmla="*/ 6034 h 10000"/>
                <a:gd name="connsiteX640" fmla="*/ 9535 w 10354"/>
                <a:gd name="connsiteY640" fmla="*/ 6026 h 10000"/>
                <a:gd name="connsiteX641" fmla="*/ 9525 w 10354"/>
                <a:gd name="connsiteY641" fmla="*/ 6009 h 10000"/>
                <a:gd name="connsiteX642" fmla="*/ 9535 w 10354"/>
                <a:gd name="connsiteY642" fmla="*/ 6000 h 10000"/>
                <a:gd name="connsiteX643" fmla="*/ 9539 w 10354"/>
                <a:gd name="connsiteY643" fmla="*/ 6009 h 10000"/>
                <a:gd name="connsiteX644" fmla="*/ 9548 w 10354"/>
                <a:gd name="connsiteY644" fmla="*/ 6009 h 10000"/>
                <a:gd name="connsiteX645" fmla="*/ 9553 w 10354"/>
                <a:gd name="connsiteY645" fmla="*/ 6000 h 10000"/>
                <a:gd name="connsiteX646" fmla="*/ 9562 w 10354"/>
                <a:gd name="connsiteY646" fmla="*/ 5983 h 10000"/>
                <a:gd name="connsiteX647" fmla="*/ 9562 w 10354"/>
                <a:gd name="connsiteY647" fmla="*/ 5974 h 10000"/>
                <a:gd name="connsiteX648" fmla="*/ 9567 w 10354"/>
                <a:gd name="connsiteY648" fmla="*/ 5974 h 10000"/>
                <a:gd name="connsiteX649" fmla="*/ 9567 w 10354"/>
                <a:gd name="connsiteY649" fmla="*/ 5966 h 10000"/>
                <a:gd name="connsiteX650" fmla="*/ 9567 w 10354"/>
                <a:gd name="connsiteY650" fmla="*/ 5940 h 10000"/>
                <a:gd name="connsiteX651" fmla="*/ 9571 w 10354"/>
                <a:gd name="connsiteY651" fmla="*/ 5915 h 10000"/>
                <a:gd name="connsiteX652" fmla="*/ 9581 w 10354"/>
                <a:gd name="connsiteY652" fmla="*/ 5923 h 10000"/>
                <a:gd name="connsiteX653" fmla="*/ 9585 w 10354"/>
                <a:gd name="connsiteY653" fmla="*/ 5940 h 10000"/>
                <a:gd name="connsiteX654" fmla="*/ 9594 w 10354"/>
                <a:gd name="connsiteY654" fmla="*/ 5949 h 10000"/>
                <a:gd name="connsiteX655" fmla="*/ 9599 w 10354"/>
                <a:gd name="connsiteY655" fmla="*/ 5940 h 10000"/>
                <a:gd name="connsiteX656" fmla="*/ 9613 w 10354"/>
                <a:gd name="connsiteY656" fmla="*/ 5915 h 10000"/>
                <a:gd name="connsiteX657" fmla="*/ 9645 w 10354"/>
                <a:gd name="connsiteY657" fmla="*/ 5889 h 10000"/>
                <a:gd name="connsiteX658" fmla="*/ 9654 w 10354"/>
                <a:gd name="connsiteY658" fmla="*/ 5872 h 10000"/>
                <a:gd name="connsiteX659" fmla="*/ 9673 w 10354"/>
                <a:gd name="connsiteY659" fmla="*/ 5863 h 10000"/>
                <a:gd name="connsiteX660" fmla="*/ 9682 w 10354"/>
                <a:gd name="connsiteY660" fmla="*/ 5838 h 10000"/>
                <a:gd name="connsiteX661" fmla="*/ 9682 w 10354"/>
                <a:gd name="connsiteY661" fmla="*/ 5829 h 10000"/>
                <a:gd name="connsiteX662" fmla="*/ 9682 w 10354"/>
                <a:gd name="connsiteY662" fmla="*/ 5812 h 10000"/>
                <a:gd name="connsiteX663" fmla="*/ 9687 w 10354"/>
                <a:gd name="connsiteY663" fmla="*/ 5812 h 10000"/>
                <a:gd name="connsiteX664" fmla="*/ 9687 w 10354"/>
                <a:gd name="connsiteY664" fmla="*/ 5829 h 10000"/>
                <a:gd name="connsiteX665" fmla="*/ 9687 w 10354"/>
                <a:gd name="connsiteY665" fmla="*/ 5829 h 10000"/>
                <a:gd name="connsiteX666" fmla="*/ 9719 w 10354"/>
                <a:gd name="connsiteY666" fmla="*/ 5803 h 10000"/>
                <a:gd name="connsiteX667" fmla="*/ 9728 w 10354"/>
                <a:gd name="connsiteY667" fmla="*/ 5803 h 10000"/>
                <a:gd name="connsiteX668" fmla="*/ 9779 w 10354"/>
                <a:gd name="connsiteY668" fmla="*/ 5726 h 10000"/>
                <a:gd name="connsiteX669" fmla="*/ 9816 w 10354"/>
                <a:gd name="connsiteY669" fmla="*/ 5709 h 10000"/>
                <a:gd name="connsiteX670" fmla="*/ 9820 w 10354"/>
                <a:gd name="connsiteY670" fmla="*/ 5701 h 10000"/>
                <a:gd name="connsiteX671" fmla="*/ 9816 w 10354"/>
                <a:gd name="connsiteY671" fmla="*/ 5692 h 10000"/>
                <a:gd name="connsiteX672" fmla="*/ 9816 w 10354"/>
                <a:gd name="connsiteY672" fmla="*/ 5692 h 10000"/>
                <a:gd name="connsiteX673" fmla="*/ 9802 w 10354"/>
                <a:gd name="connsiteY673" fmla="*/ 5624 h 10000"/>
                <a:gd name="connsiteX674" fmla="*/ 9806 w 10354"/>
                <a:gd name="connsiteY674" fmla="*/ 5624 h 10000"/>
                <a:gd name="connsiteX675" fmla="*/ 9820 w 10354"/>
                <a:gd name="connsiteY675" fmla="*/ 5675 h 10000"/>
                <a:gd name="connsiteX676" fmla="*/ 9829 w 10354"/>
                <a:gd name="connsiteY676" fmla="*/ 5675 h 10000"/>
                <a:gd name="connsiteX677" fmla="*/ 9829 w 10354"/>
                <a:gd name="connsiteY677" fmla="*/ 5692 h 10000"/>
                <a:gd name="connsiteX678" fmla="*/ 9829 w 10354"/>
                <a:gd name="connsiteY678" fmla="*/ 5701 h 10000"/>
                <a:gd name="connsiteX679" fmla="*/ 9839 w 10354"/>
                <a:gd name="connsiteY679" fmla="*/ 5701 h 10000"/>
                <a:gd name="connsiteX680" fmla="*/ 9839 w 10354"/>
                <a:gd name="connsiteY680" fmla="*/ 5692 h 10000"/>
                <a:gd name="connsiteX681" fmla="*/ 9839 w 10354"/>
                <a:gd name="connsiteY681" fmla="*/ 5675 h 10000"/>
                <a:gd name="connsiteX682" fmla="*/ 9848 w 10354"/>
                <a:gd name="connsiteY682" fmla="*/ 5675 h 10000"/>
                <a:gd name="connsiteX683" fmla="*/ 9848 w 10354"/>
                <a:gd name="connsiteY683" fmla="*/ 5692 h 10000"/>
                <a:gd name="connsiteX684" fmla="*/ 9853 w 10354"/>
                <a:gd name="connsiteY684" fmla="*/ 5701 h 10000"/>
                <a:gd name="connsiteX685" fmla="*/ 9880 w 10354"/>
                <a:gd name="connsiteY685" fmla="*/ 5709 h 10000"/>
                <a:gd name="connsiteX686" fmla="*/ 9912 w 10354"/>
                <a:gd name="connsiteY686" fmla="*/ 5752 h 10000"/>
                <a:gd name="connsiteX687" fmla="*/ 9926 w 10354"/>
                <a:gd name="connsiteY687" fmla="*/ 5761 h 10000"/>
                <a:gd name="connsiteX688" fmla="*/ 9935 w 10354"/>
                <a:gd name="connsiteY688" fmla="*/ 5761 h 10000"/>
                <a:gd name="connsiteX689" fmla="*/ 9940 w 10354"/>
                <a:gd name="connsiteY689" fmla="*/ 5735 h 10000"/>
                <a:gd name="connsiteX690" fmla="*/ 9949 w 10354"/>
                <a:gd name="connsiteY690" fmla="*/ 5735 h 10000"/>
                <a:gd name="connsiteX691" fmla="*/ 9968 w 10354"/>
                <a:gd name="connsiteY691" fmla="*/ 5692 h 10000"/>
                <a:gd name="connsiteX692" fmla="*/ 9968 w 10354"/>
                <a:gd name="connsiteY692" fmla="*/ 5650 h 10000"/>
                <a:gd name="connsiteX693" fmla="*/ 9968 w 10354"/>
                <a:gd name="connsiteY693" fmla="*/ 5624 h 10000"/>
                <a:gd name="connsiteX694" fmla="*/ 9935 w 10354"/>
                <a:gd name="connsiteY694" fmla="*/ 5598 h 10000"/>
                <a:gd name="connsiteX695" fmla="*/ 9935 w 10354"/>
                <a:gd name="connsiteY695" fmla="*/ 5590 h 10000"/>
                <a:gd name="connsiteX696" fmla="*/ 9935 w 10354"/>
                <a:gd name="connsiteY696" fmla="*/ 5573 h 10000"/>
                <a:gd name="connsiteX697" fmla="*/ 9935 w 10354"/>
                <a:gd name="connsiteY697" fmla="*/ 5573 h 10000"/>
                <a:gd name="connsiteX698" fmla="*/ 9940 w 10354"/>
                <a:gd name="connsiteY698" fmla="*/ 5573 h 10000"/>
                <a:gd name="connsiteX699" fmla="*/ 9954 w 10354"/>
                <a:gd name="connsiteY699" fmla="*/ 5573 h 10000"/>
                <a:gd name="connsiteX700" fmla="*/ 9963 w 10354"/>
                <a:gd name="connsiteY700" fmla="*/ 5564 h 10000"/>
                <a:gd name="connsiteX701" fmla="*/ 9954 w 10354"/>
                <a:gd name="connsiteY701" fmla="*/ 5530 h 10000"/>
                <a:gd name="connsiteX702" fmla="*/ 9949 w 10354"/>
                <a:gd name="connsiteY702" fmla="*/ 5530 h 10000"/>
                <a:gd name="connsiteX703" fmla="*/ 9926 w 10354"/>
                <a:gd name="connsiteY703" fmla="*/ 5479 h 10000"/>
                <a:gd name="connsiteX704" fmla="*/ 9912 w 10354"/>
                <a:gd name="connsiteY704" fmla="*/ 5325 h 10000"/>
                <a:gd name="connsiteX705" fmla="*/ 9903 w 10354"/>
                <a:gd name="connsiteY705" fmla="*/ 5342 h 10000"/>
                <a:gd name="connsiteX706" fmla="*/ 9889 w 10354"/>
                <a:gd name="connsiteY706" fmla="*/ 5316 h 10000"/>
                <a:gd name="connsiteX707" fmla="*/ 9889 w 10354"/>
                <a:gd name="connsiteY707" fmla="*/ 5291 h 10000"/>
                <a:gd name="connsiteX708" fmla="*/ 9903 w 10354"/>
                <a:gd name="connsiteY708" fmla="*/ 5291 h 10000"/>
                <a:gd name="connsiteX709" fmla="*/ 9903 w 10354"/>
                <a:gd name="connsiteY709" fmla="*/ 5291 h 10000"/>
                <a:gd name="connsiteX710" fmla="*/ 9894 w 10354"/>
                <a:gd name="connsiteY710" fmla="*/ 5214 h 10000"/>
                <a:gd name="connsiteX711" fmla="*/ 9880 w 10354"/>
                <a:gd name="connsiteY711" fmla="*/ 5239 h 10000"/>
                <a:gd name="connsiteX712" fmla="*/ 9876 w 10354"/>
                <a:gd name="connsiteY712" fmla="*/ 5256 h 10000"/>
                <a:gd name="connsiteX713" fmla="*/ 9862 w 10354"/>
                <a:gd name="connsiteY713" fmla="*/ 5239 h 10000"/>
                <a:gd name="connsiteX714" fmla="*/ 9853 w 10354"/>
                <a:gd name="connsiteY714" fmla="*/ 5214 h 10000"/>
                <a:gd name="connsiteX715" fmla="*/ 9839 w 10354"/>
                <a:gd name="connsiteY715" fmla="*/ 5214 h 10000"/>
                <a:gd name="connsiteX716" fmla="*/ 9834 w 10354"/>
                <a:gd name="connsiteY716" fmla="*/ 5188 h 10000"/>
                <a:gd name="connsiteX717" fmla="*/ 9834 w 10354"/>
                <a:gd name="connsiteY717" fmla="*/ 5103 h 10000"/>
                <a:gd name="connsiteX718" fmla="*/ 9839 w 10354"/>
                <a:gd name="connsiteY718" fmla="*/ 5094 h 10000"/>
                <a:gd name="connsiteX719" fmla="*/ 9853 w 10354"/>
                <a:gd name="connsiteY719" fmla="*/ 5103 h 10000"/>
                <a:gd name="connsiteX720" fmla="*/ 9876 w 10354"/>
                <a:gd name="connsiteY720" fmla="*/ 5128 h 10000"/>
                <a:gd name="connsiteX721" fmla="*/ 9889 w 10354"/>
                <a:gd name="connsiteY721" fmla="*/ 5103 h 10000"/>
                <a:gd name="connsiteX722" fmla="*/ 9880 w 10354"/>
                <a:gd name="connsiteY722" fmla="*/ 5120 h 10000"/>
                <a:gd name="connsiteX723" fmla="*/ 9889 w 10354"/>
                <a:gd name="connsiteY723" fmla="*/ 5128 h 10000"/>
                <a:gd name="connsiteX724" fmla="*/ 9912 w 10354"/>
                <a:gd name="connsiteY724" fmla="*/ 5128 h 10000"/>
                <a:gd name="connsiteX725" fmla="*/ 9908 w 10354"/>
                <a:gd name="connsiteY725" fmla="*/ 5145 h 10000"/>
                <a:gd name="connsiteX726" fmla="*/ 9908 w 10354"/>
                <a:gd name="connsiteY726" fmla="*/ 5154 h 10000"/>
                <a:gd name="connsiteX727" fmla="*/ 9922 w 10354"/>
                <a:gd name="connsiteY727" fmla="*/ 5128 h 10000"/>
                <a:gd name="connsiteX728" fmla="*/ 9935 w 10354"/>
                <a:gd name="connsiteY728" fmla="*/ 5103 h 10000"/>
                <a:gd name="connsiteX729" fmla="*/ 9968 w 10354"/>
                <a:gd name="connsiteY729" fmla="*/ 5077 h 10000"/>
                <a:gd name="connsiteX730" fmla="*/ 10000 w 10354"/>
                <a:gd name="connsiteY730" fmla="*/ 5017 h 10000"/>
                <a:gd name="connsiteX731" fmla="*/ 10354 w 10354"/>
                <a:gd name="connsiteY731" fmla="*/ 4302 h 10000"/>
                <a:gd name="connsiteX732" fmla="*/ 9912 w 10354"/>
                <a:gd name="connsiteY732" fmla="*/ 3675 h 10000"/>
                <a:gd name="connsiteX733" fmla="*/ 9903 w 10354"/>
                <a:gd name="connsiteY733" fmla="*/ 3667 h 10000"/>
                <a:gd name="connsiteX734" fmla="*/ 9894 w 10354"/>
                <a:gd name="connsiteY734" fmla="*/ 3641 h 10000"/>
                <a:gd name="connsiteX735" fmla="*/ 9889 w 10354"/>
                <a:gd name="connsiteY735" fmla="*/ 3650 h 10000"/>
                <a:gd name="connsiteX736" fmla="*/ 9848 w 10354"/>
                <a:gd name="connsiteY736" fmla="*/ 3598 h 10000"/>
                <a:gd name="connsiteX737" fmla="*/ 9829 w 10354"/>
                <a:gd name="connsiteY737" fmla="*/ 3581 h 10000"/>
                <a:gd name="connsiteX738" fmla="*/ 9820 w 10354"/>
                <a:gd name="connsiteY738" fmla="*/ 3581 h 10000"/>
                <a:gd name="connsiteX739" fmla="*/ 9793 w 10354"/>
                <a:gd name="connsiteY739" fmla="*/ 3556 h 10000"/>
                <a:gd name="connsiteX740" fmla="*/ 9779 w 10354"/>
                <a:gd name="connsiteY740" fmla="*/ 3556 h 10000"/>
                <a:gd name="connsiteX741" fmla="*/ 9747 w 10354"/>
                <a:gd name="connsiteY741" fmla="*/ 3487 h 10000"/>
                <a:gd name="connsiteX742" fmla="*/ 9668 w 10354"/>
                <a:gd name="connsiteY742" fmla="*/ 3479 h 10000"/>
                <a:gd name="connsiteX743" fmla="*/ 9659 w 10354"/>
                <a:gd name="connsiteY743" fmla="*/ 3487 h 10000"/>
                <a:gd name="connsiteX744" fmla="*/ 9645 w 10354"/>
                <a:gd name="connsiteY744" fmla="*/ 3504 h 10000"/>
                <a:gd name="connsiteX745" fmla="*/ 9631 w 10354"/>
                <a:gd name="connsiteY745" fmla="*/ 3487 h 10000"/>
                <a:gd name="connsiteX746" fmla="*/ 9613 w 10354"/>
                <a:gd name="connsiteY746" fmla="*/ 3479 h 10000"/>
                <a:gd name="connsiteX747" fmla="*/ 9599 w 10354"/>
                <a:gd name="connsiteY747" fmla="*/ 3479 h 10000"/>
                <a:gd name="connsiteX748" fmla="*/ 9571 w 10354"/>
                <a:gd name="connsiteY748" fmla="*/ 3479 h 10000"/>
                <a:gd name="connsiteX749" fmla="*/ 9562 w 10354"/>
                <a:gd name="connsiteY749" fmla="*/ 3487 h 10000"/>
                <a:gd name="connsiteX750" fmla="*/ 9539 w 10354"/>
                <a:gd name="connsiteY750" fmla="*/ 3487 h 10000"/>
                <a:gd name="connsiteX751" fmla="*/ 9507 w 10354"/>
                <a:gd name="connsiteY751" fmla="*/ 3453 h 10000"/>
                <a:gd name="connsiteX752" fmla="*/ 9498 w 10354"/>
                <a:gd name="connsiteY752" fmla="*/ 3453 h 10000"/>
                <a:gd name="connsiteX753" fmla="*/ 9387 w 10354"/>
                <a:gd name="connsiteY753" fmla="*/ 3419 h 10000"/>
                <a:gd name="connsiteX754" fmla="*/ 9373 w 10354"/>
                <a:gd name="connsiteY754" fmla="*/ 3427 h 10000"/>
                <a:gd name="connsiteX755" fmla="*/ 9373 w 10354"/>
                <a:gd name="connsiteY755" fmla="*/ 3462 h 10000"/>
                <a:gd name="connsiteX756" fmla="*/ 9378 w 10354"/>
                <a:gd name="connsiteY756" fmla="*/ 3479 h 10000"/>
                <a:gd name="connsiteX757" fmla="*/ 9378 w 10354"/>
                <a:gd name="connsiteY757" fmla="*/ 3530 h 10000"/>
                <a:gd name="connsiteX758" fmla="*/ 9355 w 10354"/>
                <a:gd name="connsiteY758" fmla="*/ 3538 h 10000"/>
                <a:gd name="connsiteX759" fmla="*/ 9355 w 10354"/>
                <a:gd name="connsiteY759" fmla="*/ 3581 h 10000"/>
                <a:gd name="connsiteX760" fmla="*/ 9387 w 10354"/>
                <a:gd name="connsiteY760" fmla="*/ 3590 h 10000"/>
                <a:gd name="connsiteX761" fmla="*/ 9401 w 10354"/>
                <a:gd name="connsiteY761" fmla="*/ 3667 h 10000"/>
                <a:gd name="connsiteX762" fmla="*/ 9406 w 10354"/>
                <a:gd name="connsiteY762" fmla="*/ 3675 h 10000"/>
                <a:gd name="connsiteX763" fmla="*/ 9406 w 10354"/>
                <a:gd name="connsiteY763" fmla="*/ 3701 h 10000"/>
                <a:gd name="connsiteX764" fmla="*/ 9415 w 10354"/>
                <a:gd name="connsiteY764" fmla="*/ 3752 h 10000"/>
                <a:gd name="connsiteX765" fmla="*/ 9373 w 10354"/>
                <a:gd name="connsiteY765" fmla="*/ 3838 h 10000"/>
                <a:gd name="connsiteX766" fmla="*/ 9355 w 10354"/>
                <a:gd name="connsiteY766" fmla="*/ 3863 h 10000"/>
                <a:gd name="connsiteX767" fmla="*/ 9327 w 10354"/>
                <a:gd name="connsiteY767" fmla="*/ 3863 h 10000"/>
                <a:gd name="connsiteX768" fmla="*/ 9313 w 10354"/>
                <a:gd name="connsiteY768" fmla="*/ 3846 h 10000"/>
                <a:gd name="connsiteX769" fmla="*/ 9300 w 10354"/>
                <a:gd name="connsiteY769" fmla="*/ 3778 h 10000"/>
                <a:gd name="connsiteX770" fmla="*/ 9281 w 10354"/>
                <a:gd name="connsiteY770" fmla="*/ 3752 h 10000"/>
                <a:gd name="connsiteX771" fmla="*/ 9281 w 10354"/>
                <a:gd name="connsiteY771" fmla="*/ 3735 h 10000"/>
                <a:gd name="connsiteX772" fmla="*/ 9267 w 10354"/>
                <a:gd name="connsiteY772" fmla="*/ 3726 h 10000"/>
                <a:gd name="connsiteX773" fmla="*/ 9240 w 10354"/>
                <a:gd name="connsiteY773" fmla="*/ 3726 h 10000"/>
                <a:gd name="connsiteX774" fmla="*/ 9230 w 10354"/>
                <a:gd name="connsiteY774" fmla="*/ 3718 h 10000"/>
                <a:gd name="connsiteX775" fmla="*/ 9226 w 10354"/>
                <a:gd name="connsiteY775" fmla="*/ 3590 h 10000"/>
                <a:gd name="connsiteX776" fmla="*/ 9207 w 10354"/>
                <a:gd name="connsiteY776" fmla="*/ 3581 h 10000"/>
                <a:gd name="connsiteX777" fmla="*/ 9207 w 10354"/>
                <a:gd name="connsiteY777" fmla="*/ 3556 h 10000"/>
                <a:gd name="connsiteX778" fmla="*/ 9217 w 10354"/>
                <a:gd name="connsiteY778" fmla="*/ 3538 h 10000"/>
                <a:gd name="connsiteX779" fmla="*/ 9212 w 10354"/>
                <a:gd name="connsiteY779" fmla="*/ 3538 h 10000"/>
                <a:gd name="connsiteX780" fmla="*/ 9198 w 10354"/>
                <a:gd name="connsiteY780" fmla="*/ 3513 h 10000"/>
                <a:gd name="connsiteX781" fmla="*/ 9194 w 10354"/>
                <a:gd name="connsiteY781" fmla="*/ 3530 h 10000"/>
                <a:gd name="connsiteX782" fmla="*/ 9143 w 10354"/>
                <a:gd name="connsiteY782" fmla="*/ 3615 h 10000"/>
                <a:gd name="connsiteX783" fmla="*/ 9138 w 10354"/>
                <a:gd name="connsiteY783" fmla="*/ 3615 h 10000"/>
                <a:gd name="connsiteX784" fmla="*/ 9134 w 10354"/>
                <a:gd name="connsiteY784" fmla="*/ 3615 h 10000"/>
                <a:gd name="connsiteX785" fmla="*/ 9106 w 10354"/>
                <a:gd name="connsiteY785" fmla="*/ 3615 h 10000"/>
                <a:gd name="connsiteX786" fmla="*/ 9078 w 10354"/>
                <a:gd name="connsiteY786" fmla="*/ 3590 h 10000"/>
                <a:gd name="connsiteX787" fmla="*/ 9037 w 10354"/>
                <a:gd name="connsiteY787" fmla="*/ 3581 h 10000"/>
                <a:gd name="connsiteX788" fmla="*/ 9023 w 10354"/>
                <a:gd name="connsiteY788" fmla="*/ 3590 h 10000"/>
                <a:gd name="connsiteX789" fmla="*/ 9018 w 10354"/>
                <a:gd name="connsiteY789" fmla="*/ 3590 h 10000"/>
                <a:gd name="connsiteX790" fmla="*/ 9018 w 10354"/>
                <a:gd name="connsiteY790" fmla="*/ 3590 h 10000"/>
                <a:gd name="connsiteX791" fmla="*/ 8991 w 10354"/>
                <a:gd name="connsiteY791" fmla="*/ 3590 h 10000"/>
                <a:gd name="connsiteX792" fmla="*/ 8972 w 10354"/>
                <a:gd name="connsiteY792" fmla="*/ 3581 h 10000"/>
                <a:gd name="connsiteX793" fmla="*/ 8959 w 10354"/>
                <a:gd name="connsiteY793" fmla="*/ 3513 h 10000"/>
                <a:gd name="connsiteX794" fmla="*/ 8931 w 10354"/>
                <a:gd name="connsiteY794" fmla="*/ 3538 h 10000"/>
                <a:gd name="connsiteX795" fmla="*/ 8889 w 10354"/>
                <a:gd name="connsiteY795" fmla="*/ 3538 h 10000"/>
                <a:gd name="connsiteX796" fmla="*/ 8871 w 10354"/>
                <a:gd name="connsiteY796" fmla="*/ 3556 h 10000"/>
                <a:gd name="connsiteX797" fmla="*/ 8857 w 10354"/>
                <a:gd name="connsiteY797" fmla="*/ 3538 h 10000"/>
                <a:gd name="connsiteX798" fmla="*/ 8843 w 10354"/>
                <a:gd name="connsiteY798" fmla="*/ 3538 h 10000"/>
                <a:gd name="connsiteX799" fmla="*/ 8839 w 10354"/>
                <a:gd name="connsiteY799" fmla="*/ 3556 h 10000"/>
                <a:gd name="connsiteX800" fmla="*/ 8839 w 10354"/>
                <a:gd name="connsiteY800" fmla="*/ 3581 h 10000"/>
                <a:gd name="connsiteX801" fmla="*/ 8825 w 10354"/>
                <a:gd name="connsiteY801" fmla="*/ 3564 h 10000"/>
                <a:gd name="connsiteX802" fmla="*/ 8825 w 10354"/>
                <a:gd name="connsiteY802" fmla="*/ 3615 h 10000"/>
                <a:gd name="connsiteX803" fmla="*/ 8802 w 10354"/>
                <a:gd name="connsiteY803" fmla="*/ 3598 h 10000"/>
                <a:gd name="connsiteX804" fmla="*/ 8797 w 10354"/>
                <a:gd name="connsiteY804" fmla="*/ 3641 h 10000"/>
                <a:gd name="connsiteX805" fmla="*/ 8783 w 10354"/>
                <a:gd name="connsiteY805" fmla="*/ 3667 h 10000"/>
                <a:gd name="connsiteX806" fmla="*/ 8779 w 10354"/>
                <a:gd name="connsiteY806" fmla="*/ 3650 h 10000"/>
                <a:gd name="connsiteX807" fmla="*/ 8779 w 10354"/>
                <a:gd name="connsiteY807" fmla="*/ 3615 h 10000"/>
                <a:gd name="connsiteX808" fmla="*/ 8770 w 10354"/>
                <a:gd name="connsiteY808" fmla="*/ 3590 h 10000"/>
                <a:gd name="connsiteX809" fmla="*/ 8765 w 10354"/>
                <a:gd name="connsiteY809" fmla="*/ 3598 h 10000"/>
                <a:gd name="connsiteX810" fmla="*/ 8756 w 10354"/>
                <a:gd name="connsiteY810" fmla="*/ 3590 h 10000"/>
                <a:gd name="connsiteX811" fmla="*/ 8737 w 10354"/>
                <a:gd name="connsiteY811" fmla="*/ 3556 h 10000"/>
                <a:gd name="connsiteX812" fmla="*/ 8724 w 10354"/>
                <a:gd name="connsiteY812" fmla="*/ 3538 h 10000"/>
                <a:gd name="connsiteX813" fmla="*/ 8696 w 10354"/>
                <a:gd name="connsiteY813" fmla="*/ 3538 h 10000"/>
                <a:gd name="connsiteX814" fmla="*/ 8691 w 10354"/>
                <a:gd name="connsiteY814" fmla="*/ 3513 h 10000"/>
                <a:gd name="connsiteX815" fmla="*/ 8668 w 10354"/>
                <a:gd name="connsiteY815" fmla="*/ 3504 h 10000"/>
                <a:gd name="connsiteX816" fmla="*/ 8668 w 10354"/>
                <a:gd name="connsiteY816" fmla="*/ 3487 h 10000"/>
                <a:gd name="connsiteX817" fmla="*/ 8691 w 10354"/>
                <a:gd name="connsiteY817" fmla="*/ 3350 h 10000"/>
                <a:gd name="connsiteX818" fmla="*/ 8691 w 10354"/>
                <a:gd name="connsiteY818" fmla="*/ 3291 h 10000"/>
                <a:gd name="connsiteX819" fmla="*/ 8677 w 10354"/>
                <a:gd name="connsiteY819" fmla="*/ 3239 h 10000"/>
                <a:gd name="connsiteX820" fmla="*/ 8677 w 10354"/>
                <a:gd name="connsiteY820" fmla="*/ 3231 h 10000"/>
                <a:gd name="connsiteX821" fmla="*/ 8636 w 10354"/>
                <a:gd name="connsiteY821" fmla="*/ 3128 h 10000"/>
                <a:gd name="connsiteX822" fmla="*/ 8622 w 10354"/>
                <a:gd name="connsiteY822" fmla="*/ 3120 h 10000"/>
                <a:gd name="connsiteX823" fmla="*/ 8618 w 10354"/>
                <a:gd name="connsiteY823" fmla="*/ 3094 h 10000"/>
                <a:gd name="connsiteX824" fmla="*/ 8594 w 10354"/>
                <a:gd name="connsiteY824" fmla="*/ 3077 h 10000"/>
                <a:gd name="connsiteX825" fmla="*/ 8548 w 10354"/>
                <a:gd name="connsiteY825" fmla="*/ 3077 h 10000"/>
                <a:gd name="connsiteX826" fmla="*/ 8535 w 10354"/>
                <a:gd name="connsiteY826" fmla="*/ 3068 h 10000"/>
                <a:gd name="connsiteX827" fmla="*/ 8429 w 10354"/>
                <a:gd name="connsiteY827" fmla="*/ 3077 h 10000"/>
                <a:gd name="connsiteX828" fmla="*/ 8424 w 10354"/>
                <a:gd name="connsiteY828" fmla="*/ 3077 h 10000"/>
                <a:gd name="connsiteX829" fmla="*/ 8396 w 10354"/>
                <a:gd name="connsiteY829" fmla="*/ 3077 h 10000"/>
                <a:gd name="connsiteX830" fmla="*/ 8387 w 10354"/>
                <a:gd name="connsiteY830" fmla="*/ 3094 h 10000"/>
                <a:gd name="connsiteX831" fmla="*/ 8378 w 10354"/>
                <a:gd name="connsiteY831" fmla="*/ 3094 h 10000"/>
                <a:gd name="connsiteX832" fmla="*/ 8341 w 10354"/>
                <a:gd name="connsiteY832" fmla="*/ 3077 h 10000"/>
                <a:gd name="connsiteX833" fmla="*/ 8336 w 10354"/>
                <a:gd name="connsiteY833" fmla="*/ 3077 h 10000"/>
                <a:gd name="connsiteX834" fmla="*/ 8327 w 10354"/>
                <a:gd name="connsiteY834" fmla="*/ 3103 h 10000"/>
                <a:gd name="connsiteX835" fmla="*/ 8309 w 10354"/>
                <a:gd name="connsiteY835" fmla="*/ 3120 h 10000"/>
                <a:gd name="connsiteX836" fmla="*/ 8304 w 10354"/>
                <a:gd name="connsiteY836" fmla="*/ 3103 h 10000"/>
                <a:gd name="connsiteX837" fmla="*/ 8276 w 10354"/>
                <a:gd name="connsiteY837" fmla="*/ 3103 h 10000"/>
                <a:gd name="connsiteX838" fmla="*/ 8267 w 10354"/>
                <a:gd name="connsiteY838" fmla="*/ 3120 h 10000"/>
                <a:gd name="connsiteX839" fmla="*/ 8253 w 10354"/>
                <a:gd name="connsiteY839" fmla="*/ 3103 h 10000"/>
                <a:gd name="connsiteX840" fmla="*/ 8230 w 10354"/>
                <a:gd name="connsiteY840" fmla="*/ 3128 h 10000"/>
                <a:gd name="connsiteX841" fmla="*/ 8217 w 10354"/>
                <a:gd name="connsiteY841" fmla="*/ 3128 h 10000"/>
                <a:gd name="connsiteX842" fmla="*/ 8203 w 10354"/>
                <a:gd name="connsiteY842" fmla="*/ 3154 h 10000"/>
                <a:gd name="connsiteX843" fmla="*/ 8175 w 10354"/>
                <a:gd name="connsiteY843" fmla="*/ 3094 h 10000"/>
                <a:gd name="connsiteX844" fmla="*/ 8161 w 10354"/>
                <a:gd name="connsiteY844" fmla="*/ 3094 h 10000"/>
                <a:gd name="connsiteX845" fmla="*/ 8157 w 10354"/>
                <a:gd name="connsiteY845" fmla="*/ 3077 h 10000"/>
                <a:gd name="connsiteX846" fmla="*/ 8180 w 10354"/>
                <a:gd name="connsiteY846" fmla="*/ 3068 h 10000"/>
                <a:gd name="connsiteX847" fmla="*/ 8189 w 10354"/>
                <a:gd name="connsiteY847" fmla="*/ 3043 h 10000"/>
                <a:gd name="connsiteX848" fmla="*/ 8189 w 10354"/>
                <a:gd name="connsiteY848" fmla="*/ 3017 h 10000"/>
                <a:gd name="connsiteX849" fmla="*/ 8147 w 10354"/>
                <a:gd name="connsiteY849" fmla="*/ 2940 h 10000"/>
                <a:gd name="connsiteX850" fmla="*/ 8143 w 10354"/>
                <a:gd name="connsiteY850" fmla="*/ 2915 h 10000"/>
                <a:gd name="connsiteX851" fmla="*/ 8143 w 10354"/>
                <a:gd name="connsiteY851" fmla="*/ 2906 h 10000"/>
                <a:gd name="connsiteX852" fmla="*/ 8097 w 10354"/>
                <a:gd name="connsiteY852" fmla="*/ 2932 h 10000"/>
                <a:gd name="connsiteX853" fmla="*/ 8083 w 10354"/>
                <a:gd name="connsiteY853" fmla="*/ 2932 h 10000"/>
                <a:gd name="connsiteX854" fmla="*/ 8074 w 10354"/>
                <a:gd name="connsiteY854" fmla="*/ 2906 h 10000"/>
                <a:gd name="connsiteX855" fmla="*/ 8074 w 10354"/>
                <a:gd name="connsiteY855" fmla="*/ 2897 h 10000"/>
                <a:gd name="connsiteX856" fmla="*/ 8055 w 10354"/>
                <a:gd name="connsiteY856" fmla="*/ 2872 h 10000"/>
                <a:gd name="connsiteX857" fmla="*/ 8046 w 10354"/>
                <a:gd name="connsiteY857" fmla="*/ 2829 h 10000"/>
                <a:gd name="connsiteX858" fmla="*/ 8041 w 10354"/>
                <a:gd name="connsiteY858" fmla="*/ 2829 h 10000"/>
                <a:gd name="connsiteX859" fmla="*/ 8023 w 10354"/>
                <a:gd name="connsiteY859" fmla="*/ 2803 h 10000"/>
                <a:gd name="connsiteX860" fmla="*/ 8014 w 10354"/>
                <a:gd name="connsiteY860" fmla="*/ 2829 h 10000"/>
                <a:gd name="connsiteX861" fmla="*/ 8000 w 10354"/>
                <a:gd name="connsiteY861" fmla="*/ 2829 h 10000"/>
                <a:gd name="connsiteX862" fmla="*/ 7995 w 10354"/>
                <a:gd name="connsiteY862" fmla="*/ 2821 h 10000"/>
                <a:gd name="connsiteX863" fmla="*/ 7972 w 10354"/>
                <a:gd name="connsiteY863" fmla="*/ 2803 h 10000"/>
                <a:gd name="connsiteX864" fmla="*/ 7968 w 10354"/>
                <a:gd name="connsiteY864" fmla="*/ 2821 h 10000"/>
                <a:gd name="connsiteX865" fmla="*/ 7968 w 10354"/>
                <a:gd name="connsiteY865" fmla="*/ 2803 h 10000"/>
                <a:gd name="connsiteX866" fmla="*/ 7995 w 10354"/>
                <a:gd name="connsiteY866" fmla="*/ 2735 h 10000"/>
                <a:gd name="connsiteX867" fmla="*/ 8000 w 10354"/>
                <a:gd name="connsiteY867" fmla="*/ 2735 h 10000"/>
                <a:gd name="connsiteX868" fmla="*/ 8014 w 10354"/>
                <a:gd name="connsiteY868" fmla="*/ 2744 h 10000"/>
                <a:gd name="connsiteX869" fmla="*/ 8023 w 10354"/>
                <a:gd name="connsiteY869" fmla="*/ 2769 h 10000"/>
                <a:gd name="connsiteX870" fmla="*/ 8032 w 10354"/>
                <a:gd name="connsiteY870" fmla="*/ 2744 h 10000"/>
                <a:gd name="connsiteX871" fmla="*/ 8032 w 10354"/>
                <a:gd name="connsiteY871" fmla="*/ 2709 h 10000"/>
                <a:gd name="connsiteX872" fmla="*/ 8023 w 10354"/>
                <a:gd name="connsiteY872" fmla="*/ 2632 h 10000"/>
                <a:gd name="connsiteX873" fmla="*/ 7986 w 10354"/>
                <a:gd name="connsiteY873" fmla="*/ 2581 h 10000"/>
                <a:gd name="connsiteX874" fmla="*/ 7968 w 10354"/>
                <a:gd name="connsiteY874" fmla="*/ 2581 h 10000"/>
                <a:gd name="connsiteX875" fmla="*/ 7963 w 10354"/>
                <a:gd name="connsiteY875" fmla="*/ 2556 h 10000"/>
                <a:gd name="connsiteX876" fmla="*/ 7935 w 10354"/>
                <a:gd name="connsiteY876" fmla="*/ 2547 h 10000"/>
                <a:gd name="connsiteX877" fmla="*/ 7912 w 10354"/>
                <a:gd name="connsiteY877" fmla="*/ 2547 h 10000"/>
                <a:gd name="connsiteX878" fmla="*/ 7912 w 10354"/>
                <a:gd name="connsiteY878" fmla="*/ 2556 h 10000"/>
                <a:gd name="connsiteX879" fmla="*/ 7908 w 10354"/>
                <a:gd name="connsiteY879" fmla="*/ 2547 h 10000"/>
                <a:gd name="connsiteX880" fmla="*/ 7862 w 10354"/>
                <a:gd name="connsiteY880" fmla="*/ 2547 h 10000"/>
                <a:gd name="connsiteX881" fmla="*/ 7848 w 10354"/>
                <a:gd name="connsiteY881" fmla="*/ 2556 h 10000"/>
                <a:gd name="connsiteX882" fmla="*/ 7820 w 10354"/>
                <a:gd name="connsiteY882" fmla="*/ 2547 h 10000"/>
                <a:gd name="connsiteX883" fmla="*/ 7806 w 10354"/>
                <a:gd name="connsiteY883" fmla="*/ 2513 h 10000"/>
                <a:gd name="connsiteX884" fmla="*/ 7788 w 10354"/>
                <a:gd name="connsiteY884" fmla="*/ 2513 h 10000"/>
                <a:gd name="connsiteX885" fmla="*/ 7760 w 10354"/>
                <a:gd name="connsiteY885" fmla="*/ 2470 h 10000"/>
                <a:gd name="connsiteX886" fmla="*/ 7751 w 10354"/>
                <a:gd name="connsiteY886" fmla="*/ 2470 h 10000"/>
                <a:gd name="connsiteX887" fmla="*/ 7705 w 10354"/>
                <a:gd name="connsiteY887" fmla="*/ 2462 h 10000"/>
                <a:gd name="connsiteX888" fmla="*/ 7673 w 10354"/>
                <a:gd name="connsiteY888" fmla="*/ 2419 h 10000"/>
                <a:gd name="connsiteX889" fmla="*/ 7627 w 10354"/>
                <a:gd name="connsiteY889" fmla="*/ 2419 h 10000"/>
                <a:gd name="connsiteX890" fmla="*/ 7613 w 10354"/>
                <a:gd name="connsiteY890" fmla="*/ 2410 h 10000"/>
                <a:gd name="connsiteX891" fmla="*/ 7493 w 10354"/>
                <a:gd name="connsiteY891" fmla="*/ 2393 h 10000"/>
                <a:gd name="connsiteX892" fmla="*/ 7479 w 10354"/>
                <a:gd name="connsiteY892" fmla="*/ 2385 h 10000"/>
                <a:gd name="connsiteX893" fmla="*/ 7479 w 10354"/>
                <a:gd name="connsiteY893" fmla="*/ 2376 h 10000"/>
                <a:gd name="connsiteX894" fmla="*/ 7465 w 10354"/>
                <a:gd name="connsiteY894" fmla="*/ 2359 h 10000"/>
                <a:gd name="connsiteX895" fmla="*/ 7447 w 10354"/>
                <a:gd name="connsiteY895" fmla="*/ 2350 h 10000"/>
                <a:gd name="connsiteX896" fmla="*/ 7433 w 10354"/>
                <a:gd name="connsiteY896" fmla="*/ 2376 h 10000"/>
                <a:gd name="connsiteX897" fmla="*/ 7433 w 10354"/>
                <a:gd name="connsiteY897" fmla="*/ 2385 h 10000"/>
                <a:gd name="connsiteX898" fmla="*/ 7447 w 10354"/>
                <a:gd name="connsiteY898" fmla="*/ 2410 h 10000"/>
                <a:gd name="connsiteX899" fmla="*/ 7447 w 10354"/>
                <a:gd name="connsiteY899" fmla="*/ 2436 h 10000"/>
                <a:gd name="connsiteX900" fmla="*/ 7452 w 10354"/>
                <a:gd name="connsiteY900" fmla="*/ 2462 h 10000"/>
                <a:gd name="connsiteX901" fmla="*/ 7447 w 10354"/>
                <a:gd name="connsiteY901" fmla="*/ 2470 h 10000"/>
                <a:gd name="connsiteX902" fmla="*/ 7424 w 10354"/>
                <a:gd name="connsiteY902" fmla="*/ 2513 h 10000"/>
                <a:gd name="connsiteX903" fmla="*/ 7419 w 10354"/>
                <a:gd name="connsiteY903" fmla="*/ 2556 h 10000"/>
                <a:gd name="connsiteX904" fmla="*/ 7406 w 10354"/>
                <a:gd name="connsiteY904" fmla="*/ 2624 h 10000"/>
                <a:gd name="connsiteX905" fmla="*/ 7392 w 10354"/>
                <a:gd name="connsiteY905" fmla="*/ 2624 h 10000"/>
                <a:gd name="connsiteX906" fmla="*/ 7373 w 10354"/>
                <a:gd name="connsiteY906" fmla="*/ 2650 h 10000"/>
                <a:gd name="connsiteX907" fmla="*/ 7364 w 10354"/>
                <a:gd name="connsiteY907" fmla="*/ 2684 h 10000"/>
                <a:gd name="connsiteX908" fmla="*/ 7364 w 10354"/>
                <a:gd name="connsiteY908" fmla="*/ 2692 h 10000"/>
                <a:gd name="connsiteX909" fmla="*/ 7373 w 10354"/>
                <a:gd name="connsiteY909" fmla="*/ 2718 h 10000"/>
                <a:gd name="connsiteX910" fmla="*/ 7373 w 10354"/>
                <a:gd name="connsiteY910" fmla="*/ 2744 h 10000"/>
                <a:gd name="connsiteX911" fmla="*/ 7359 w 10354"/>
                <a:gd name="connsiteY911" fmla="*/ 2744 h 10000"/>
                <a:gd name="connsiteX912" fmla="*/ 7359 w 10354"/>
                <a:gd name="connsiteY912" fmla="*/ 2795 h 10000"/>
                <a:gd name="connsiteX913" fmla="*/ 7364 w 10354"/>
                <a:gd name="connsiteY913" fmla="*/ 2821 h 10000"/>
                <a:gd name="connsiteX914" fmla="*/ 7378 w 10354"/>
                <a:gd name="connsiteY914" fmla="*/ 2846 h 10000"/>
                <a:gd name="connsiteX915" fmla="*/ 7378 w 10354"/>
                <a:gd name="connsiteY915" fmla="*/ 2855 h 10000"/>
                <a:gd name="connsiteX916" fmla="*/ 7378 w 10354"/>
                <a:gd name="connsiteY916" fmla="*/ 2880 h 10000"/>
                <a:gd name="connsiteX917" fmla="*/ 7378 w 10354"/>
                <a:gd name="connsiteY917" fmla="*/ 2906 h 10000"/>
                <a:gd name="connsiteX918" fmla="*/ 7364 w 10354"/>
                <a:gd name="connsiteY918" fmla="*/ 2906 h 10000"/>
                <a:gd name="connsiteX919" fmla="*/ 7346 w 10354"/>
                <a:gd name="connsiteY919" fmla="*/ 2880 h 10000"/>
                <a:gd name="connsiteX920" fmla="*/ 7332 w 10354"/>
                <a:gd name="connsiteY920" fmla="*/ 2915 h 10000"/>
                <a:gd name="connsiteX921" fmla="*/ 7318 w 10354"/>
                <a:gd name="connsiteY921" fmla="*/ 2906 h 10000"/>
                <a:gd name="connsiteX922" fmla="*/ 7313 w 10354"/>
                <a:gd name="connsiteY922" fmla="*/ 2915 h 10000"/>
                <a:gd name="connsiteX923" fmla="*/ 7313 w 10354"/>
                <a:gd name="connsiteY923" fmla="*/ 2906 h 10000"/>
                <a:gd name="connsiteX924" fmla="*/ 7286 w 10354"/>
                <a:gd name="connsiteY924" fmla="*/ 2940 h 10000"/>
                <a:gd name="connsiteX925" fmla="*/ 7276 w 10354"/>
                <a:gd name="connsiteY925" fmla="*/ 2966 h 10000"/>
                <a:gd name="connsiteX926" fmla="*/ 7272 w 10354"/>
                <a:gd name="connsiteY926" fmla="*/ 2983 h 10000"/>
                <a:gd name="connsiteX927" fmla="*/ 7267 w 10354"/>
                <a:gd name="connsiteY927" fmla="*/ 3009 h 10000"/>
                <a:gd name="connsiteX928" fmla="*/ 7253 w 10354"/>
                <a:gd name="connsiteY928" fmla="*/ 3009 h 10000"/>
                <a:gd name="connsiteX929" fmla="*/ 7244 w 10354"/>
                <a:gd name="connsiteY929" fmla="*/ 3017 h 10000"/>
                <a:gd name="connsiteX930" fmla="*/ 7240 w 10354"/>
                <a:gd name="connsiteY930" fmla="*/ 3009 h 10000"/>
                <a:gd name="connsiteX931" fmla="*/ 7230 w 10354"/>
                <a:gd name="connsiteY931" fmla="*/ 2991 h 10000"/>
                <a:gd name="connsiteX932" fmla="*/ 7226 w 10354"/>
                <a:gd name="connsiteY932" fmla="*/ 2983 h 10000"/>
                <a:gd name="connsiteX933" fmla="*/ 7226 w 10354"/>
                <a:gd name="connsiteY933" fmla="*/ 2966 h 10000"/>
                <a:gd name="connsiteX934" fmla="*/ 7212 w 10354"/>
                <a:gd name="connsiteY934" fmla="*/ 2957 h 10000"/>
                <a:gd name="connsiteX935" fmla="*/ 7212 w 10354"/>
                <a:gd name="connsiteY935" fmla="*/ 2932 h 10000"/>
                <a:gd name="connsiteX936" fmla="*/ 7198 w 10354"/>
                <a:gd name="connsiteY936" fmla="*/ 2915 h 10000"/>
                <a:gd name="connsiteX937" fmla="*/ 7194 w 10354"/>
                <a:gd name="connsiteY937" fmla="*/ 2915 h 10000"/>
                <a:gd name="connsiteX938" fmla="*/ 7157 w 10354"/>
                <a:gd name="connsiteY938" fmla="*/ 2880 h 10000"/>
                <a:gd name="connsiteX939" fmla="*/ 7138 w 10354"/>
                <a:gd name="connsiteY939" fmla="*/ 2880 h 10000"/>
                <a:gd name="connsiteX940" fmla="*/ 7120 w 10354"/>
                <a:gd name="connsiteY940" fmla="*/ 2872 h 10000"/>
                <a:gd name="connsiteX941" fmla="*/ 7111 w 10354"/>
                <a:gd name="connsiteY941" fmla="*/ 2846 h 10000"/>
                <a:gd name="connsiteX942" fmla="*/ 7106 w 10354"/>
                <a:gd name="connsiteY942" fmla="*/ 2846 h 10000"/>
                <a:gd name="connsiteX943" fmla="*/ 7092 w 10354"/>
                <a:gd name="connsiteY943" fmla="*/ 2829 h 10000"/>
                <a:gd name="connsiteX944" fmla="*/ 7051 w 10354"/>
                <a:gd name="connsiteY944" fmla="*/ 2829 h 10000"/>
                <a:gd name="connsiteX945" fmla="*/ 7037 w 10354"/>
                <a:gd name="connsiteY945" fmla="*/ 2880 h 10000"/>
                <a:gd name="connsiteX946" fmla="*/ 7037 w 10354"/>
                <a:gd name="connsiteY946" fmla="*/ 2906 h 10000"/>
                <a:gd name="connsiteX947" fmla="*/ 7037 w 10354"/>
                <a:gd name="connsiteY947" fmla="*/ 2932 h 10000"/>
                <a:gd name="connsiteX948" fmla="*/ 7037 w 10354"/>
                <a:gd name="connsiteY948" fmla="*/ 2940 h 10000"/>
                <a:gd name="connsiteX949" fmla="*/ 7023 w 10354"/>
                <a:gd name="connsiteY949" fmla="*/ 2906 h 10000"/>
                <a:gd name="connsiteX950" fmla="*/ 7023 w 10354"/>
                <a:gd name="connsiteY950" fmla="*/ 2915 h 10000"/>
                <a:gd name="connsiteX951" fmla="*/ 6991 w 10354"/>
                <a:gd name="connsiteY951" fmla="*/ 2906 h 10000"/>
                <a:gd name="connsiteX952" fmla="*/ 6977 w 10354"/>
                <a:gd name="connsiteY952" fmla="*/ 2915 h 10000"/>
                <a:gd name="connsiteX953" fmla="*/ 6963 w 10354"/>
                <a:gd name="connsiteY953" fmla="*/ 2915 h 10000"/>
                <a:gd name="connsiteX954" fmla="*/ 6949 w 10354"/>
                <a:gd name="connsiteY954" fmla="*/ 2872 h 10000"/>
                <a:gd name="connsiteX955" fmla="*/ 6935 w 10354"/>
                <a:gd name="connsiteY955" fmla="*/ 2855 h 10000"/>
                <a:gd name="connsiteX956" fmla="*/ 6922 w 10354"/>
                <a:gd name="connsiteY956" fmla="*/ 2803 h 10000"/>
                <a:gd name="connsiteX957" fmla="*/ 6917 w 10354"/>
                <a:gd name="connsiteY957" fmla="*/ 2786 h 10000"/>
                <a:gd name="connsiteX958" fmla="*/ 6903 w 10354"/>
                <a:gd name="connsiteY958" fmla="*/ 2709 h 10000"/>
                <a:gd name="connsiteX959" fmla="*/ 6903 w 10354"/>
                <a:gd name="connsiteY959" fmla="*/ 2692 h 10000"/>
                <a:gd name="connsiteX960" fmla="*/ 6899 w 10354"/>
                <a:gd name="connsiteY960" fmla="*/ 2709 h 10000"/>
                <a:gd name="connsiteX961" fmla="*/ 6857 w 10354"/>
                <a:gd name="connsiteY961" fmla="*/ 2872 h 10000"/>
                <a:gd name="connsiteX962" fmla="*/ 6857 w 10354"/>
                <a:gd name="connsiteY962" fmla="*/ 3009 h 10000"/>
                <a:gd name="connsiteX963" fmla="*/ 6848 w 10354"/>
                <a:gd name="connsiteY963" fmla="*/ 3017 h 10000"/>
                <a:gd name="connsiteX964" fmla="*/ 6839 w 10354"/>
                <a:gd name="connsiteY964" fmla="*/ 3068 h 10000"/>
                <a:gd name="connsiteX965" fmla="*/ 6829 w 10354"/>
                <a:gd name="connsiteY965" fmla="*/ 3077 h 10000"/>
                <a:gd name="connsiteX966" fmla="*/ 6829 w 10354"/>
                <a:gd name="connsiteY966" fmla="*/ 3128 h 10000"/>
                <a:gd name="connsiteX967" fmla="*/ 6816 w 10354"/>
                <a:gd name="connsiteY967" fmla="*/ 3154 h 10000"/>
                <a:gd name="connsiteX968" fmla="*/ 6811 w 10354"/>
                <a:gd name="connsiteY968" fmla="*/ 3179 h 10000"/>
                <a:gd name="connsiteX969" fmla="*/ 6797 w 10354"/>
                <a:gd name="connsiteY969" fmla="*/ 3171 h 10000"/>
                <a:gd name="connsiteX970" fmla="*/ 6783 w 10354"/>
                <a:gd name="connsiteY970" fmla="*/ 3103 h 10000"/>
                <a:gd name="connsiteX971" fmla="*/ 6779 w 10354"/>
                <a:gd name="connsiteY971" fmla="*/ 3094 h 10000"/>
                <a:gd name="connsiteX972" fmla="*/ 6779 w 10354"/>
                <a:gd name="connsiteY972" fmla="*/ 3120 h 10000"/>
                <a:gd name="connsiteX973" fmla="*/ 6770 w 10354"/>
                <a:gd name="connsiteY973" fmla="*/ 3128 h 10000"/>
                <a:gd name="connsiteX974" fmla="*/ 6765 w 10354"/>
                <a:gd name="connsiteY974" fmla="*/ 3103 h 10000"/>
                <a:gd name="connsiteX975" fmla="*/ 6756 w 10354"/>
                <a:gd name="connsiteY975" fmla="*/ 3103 h 10000"/>
                <a:gd name="connsiteX976" fmla="*/ 6742 w 10354"/>
                <a:gd name="connsiteY976" fmla="*/ 3103 h 10000"/>
                <a:gd name="connsiteX977" fmla="*/ 6737 w 10354"/>
                <a:gd name="connsiteY977" fmla="*/ 3077 h 10000"/>
                <a:gd name="connsiteX978" fmla="*/ 6737 w 10354"/>
                <a:gd name="connsiteY978" fmla="*/ 3068 h 10000"/>
                <a:gd name="connsiteX979" fmla="*/ 6728 w 10354"/>
                <a:gd name="connsiteY979" fmla="*/ 3043 h 10000"/>
                <a:gd name="connsiteX980" fmla="*/ 6724 w 10354"/>
                <a:gd name="connsiteY980" fmla="*/ 3051 h 10000"/>
                <a:gd name="connsiteX981" fmla="*/ 6714 w 10354"/>
                <a:gd name="connsiteY981" fmla="*/ 3043 h 10000"/>
                <a:gd name="connsiteX982" fmla="*/ 6710 w 10354"/>
                <a:gd name="connsiteY982" fmla="*/ 3034 h 10000"/>
                <a:gd name="connsiteX983" fmla="*/ 6705 w 10354"/>
                <a:gd name="connsiteY983" fmla="*/ 2983 h 10000"/>
                <a:gd name="connsiteX984" fmla="*/ 6696 w 10354"/>
                <a:gd name="connsiteY984" fmla="*/ 2966 h 10000"/>
                <a:gd name="connsiteX985" fmla="*/ 6691 w 10354"/>
                <a:gd name="connsiteY985" fmla="*/ 2983 h 10000"/>
                <a:gd name="connsiteX986" fmla="*/ 6677 w 10354"/>
                <a:gd name="connsiteY986" fmla="*/ 2897 h 10000"/>
                <a:gd name="connsiteX987" fmla="*/ 6677 w 10354"/>
                <a:gd name="connsiteY987" fmla="*/ 2897 h 10000"/>
                <a:gd name="connsiteX988" fmla="*/ 6677 w 10354"/>
                <a:gd name="connsiteY988" fmla="*/ 2872 h 10000"/>
                <a:gd name="connsiteX989" fmla="*/ 6668 w 10354"/>
                <a:gd name="connsiteY989" fmla="*/ 2821 h 10000"/>
                <a:gd name="connsiteX990" fmla="*/ 6664 w 10354"/>
                <a:gd name="connsiteY990" fmla="*/ 2829 h 10000"/>
                <a:gd name="connsiteX991" fmla="*/ 6654 w 10354"/>
                <a:gd name="connsiteY991" fmla="*/ 2846 h 10000"/>
                <a:gd name="connsiteX992" fmla="*/ 6650 w 10354"/>
                <a:gd name="connsiteY992" fmla="*/ 2829 h 10000"/>
                <a:gd name="connsiteX993" fmla="*/ 6650 w 10354"/>
                <a:gd name="connsiteY993" fmla="*/ 2803 h 10000"/>
                <a:gd name="connsiteX994" fmla="*/ 6650 w 10354"/>
                <a:gd name="connsiteY994" fmla="*/ 2795 h 10000"/>
                <a:gd name="connsiteX995" fmla="*/ 6641 w 10354"/>
                <a:gd name="connsiteY995" fmla="*/ 2786 h 10000"/>
                <a:gd name="connsiteX996" fmla="*/ 6636 w 10354"/>
                <a:gd name="connsiteY996" fmla="*/ 2735 h 10000"/>
                <a:gd name="connsiteX997" fmla="*/ 6664 w 10354"/>
                <a:gd name="connsiteY997" fmla="*/ 2667 h 10000"/>
                <a:gd name="connsiteX998" fmla="*/ 6668 w 10354"/>
                <a:gd name="connsiteY998" fmla="*/ 2684 h 10000"/>
                <a:gd name="connsiteX999" fmla="*/ 6677 w 10354"/>
                <a:gd name="connsiteY999" fmla="*/ 2667 h 10000"/>
                <a:gd name="connsiteX1000" fmla="*/ 6668 w 10354"/>
                <a:gd name="connsiteY1000" fmla="*/ 2667 h 10000"/>
                <a:gd name="connsiteX1001" fmla="*/ 6668 w 10354"/>
                <a:gd name="connsiteY1001" fmla="*/ 2650 h 10000"/>
                <a:gd name="connsiteX1002" fmla="*/ 6682 w 10354"/>
                <a:gd name="connsiteY1002" fmla="*/ 2650 h 10000"/>
                <a:gd name="connsiteX1003" fmla="*/ 6691 w 10354"/>
                <a:gd name="connsiteY1003" fmla="*/ 2624 h 10000"/>
                <a:gd name="connsiteX1004" fmla="*/ 6682 w 10354"/>
                <a:gd name="connsiteY1004" fmla="*/ 2632 h 10000"/>
                <a:gd name="connsiteX1005" fmla="*/ 6682 w 10354"/>
                <a:gd name="connsiteY1005" fmla="*/ 2624 h 10000"/>
                <a:gd name="connsiteX1006" fmla="*/ 6691 w 10354"/>
                <a:gd name="connsiteY1006" fmla="*/ 2607 h 10000"/>
                <a:gd name="connsiteX1007" fmla="*/ 6691 w 10354"/>
                <a:gd name="connsiteY1007" fmla="*/ 2598 h 10000"/>
                <a:gd name="connsiteX1008" fmla="*/ 6691 w 10354"/>
                <a:gd name="connsiteY1008" fmla="*/ 2581 h 10000"/>
                <a:gd name="connsiteX1009" fmla="*/ 6696 w 10354"/>
                <a:gd name="connsiteY1009" fmla="*/ 2530 h 10000"/>
                <a:gd name="connsiteX1010" fmla="*/ 6677 w 10354"/>
                <a:gd name="connsiteY1010" fmla="*/ 2513 h 10000"/>
                <a:gd name="connsiteX1011" fmla="*/ 6677 w 10354"/>
                <a:gd name="connsiteY1011" fmla="*/ 2496 h 10000"/>
                <a:gd name="connsiteX1012" fmla="*/ 6682 w 10354"/>
                <a:gd name="connsiteY1012" fmla="*/ 2470 h 10000"/>
                <a:gd name="connsiteX1013" fmla="*/ 6668 w 10354"/>
                <a:gd name="connsiteY1013" fmla="*/ 2462 h 10000"/>
                <a:gd name="connsiteX1014" fmla="*/ 6677 w 10354"/>
                <a:gd name="connsiteY1014" fmla="*/ 2436 h 10000"/>
                <a:gd name="connsiteX1015" fmla="*/ 6682 w 10354"/>
                <a:gd name="connsiteY1015" fmla="*/ 2419 h 10000"/>
                <a:gd name="connsiteX1016" fmla="*/ 6682 w 10354"/>
                <a:gd name="connsiteY1016" fmla="*/ 2393 h 10000"/>
                <a:gd name="connsiteX1017" fmla="*/ 6682 w 10354"/>
                <a:gd name="connsiteY1017" fmla="*/ 2385 h 10000"/>
                <a:gd name="connsiteX1018" fmla="*/ 6682 w 10354"/>
                <a:gd name="connsiteY1018" fmla="*/ 2385 h 10000"/>
                <a:gd name="connsiteX1019" fmla="*/ 6677 w 10354"/>
                <a:gd name="connsiteY1019" fmla="*/ 2376 h 10000"/>
                <a:gd name="connsiteX1020" fmla="*/ 6682 w 10354"/>
                <a:gd name="connsiteY1020" fmla="*/ 2359 h 10000"/>
                <a:gd name="connsiteX1021" fmla="*/ 6677 w 10354"/>
                <a:gd name="connsiteY1021" fmla="*/ 2333 h 10000"/>
                <a:gd name="connsiteX1022" fmla="*/ 6691 w 10354"/>
                <a:gd name="connsiteY1022" fmla="*/ 2333 h 10000"/>
                <a:gd name="connsiteX1023" fmla="*/ 6691 w 10354"/>
                <a:gd name="connsiteY1023" fmla="*/ 2325 h 10000"/>
                <a:gd name="connsiteX1024" fmla="*/ 6691 w 10354"/>
                <a:gd name="connsiteY1024" fmla="*/ 2308 h 10000"/>
                <a:gd name="connsiteX1025" fmla="*/ 6691 w 10354"/>
                <a:gd name="connsiteY1025" fmla="*/ 2299 h 10000"/>
                <a:gd name="connsiteX1026" fmla="*/ 6691 w 10354"/>
                <a:gd name="connsiteY1026" fmla="*/ 2282 h 10000"/>
                <a:gd name="connsiteX1027" fmla="*/ 6691 w 10354"/>
                <a:gd name="connsiteY1027" fmla="*/ 2274 h 10000"/>
                <a:gd name="connsiteX1028" fmla="*/ 6668 w 10354"/>
                <a:gd name="connsiteY1028" fmla="*/ 2248 h 10000"/>
                <a:gd name="connsiteX1029" fmla="*/ 6664 w 10354"/>
                <a:gd name="connsiteY1029" fmla="*/ 2222 h 10000"/>
                <a:gd name="connsiteX1030" fmla="*/ 6654 w 10354"/>
                <a:gd name="connsiteY1030" fmla="*/ 2214 h 10000"/>
                <a:gd name="connsiteX1031" fmla="*/ 6654 w 10354"/>
                <a:gd name="connsiteY1031" fmla="*/ 2188 h 10000"/>
                <a:gd name="connsiteX1032" fmla="*/ 6622 w 10354"/>
                <a:gd name="connsiteY1032" fmla="*/ 2162 h 10000"/>
                <a:gd name="connsiteX1033" fmla="*/ 6631 w 10354"/>
                <a:gd name="connsiteY1033" fmla="*/ 2145 h 10000"/>
                <a:gd name="connsiteX1034" fmla="*/ 6622 w 10354"/>
                <a:gd name="connsiteY1034" fmla="*/ 2120 h 10000"/>
                <a:gd name="connsiteX1035" fmla="*/ 6608 w 10354"/>
                <a:gd name="connsiteY1035" fmla="*/ 2120 h 10000"/>
                <a:gd name="connsiteX1036" fmla="*/ 6604 w 10354"/>
                <a:gd name="connsiteY1036" fmla="*/ 2111 h 10000"/>
                <a:gd name="connsiteX1037" fmla="*/ 6608 w 10354"/>
                <a:gd name="connsiteY1037" fmla="*/ 2111 h 10000"/>
                <a:gd name="connsiteX1038" fmla="*/ 6604 w 10354"/>
                <a:gd name="connsiteY1038" fmla="*/ 2085 h 10000"/>
                <a:gd name="connsiteX1039" fmla="*/ 6581 w 10354"/>
                <a:gd name="connsiteY1039" fmla="*/ 2077 h 10000"/>
                <a:gd name="connsiteX1040" fmla="*/ 6571 w 10354"/>
                <a:gd name="connsiteY1040" fmla="*/ 2085 h 10000"/>
                <a:gd name="connsiteX1041" fmla="*/ 6548 w 10354"/>
                <a:gd name="connsiteY1041" fmla="*/ 2077 h 10000"/>
                <a:gd name="connsiteX1042" fmla="*/ 6530 w 10354"/>
                <a:gd name="connsiteY1042" fmla="*/ 2060 h 10000"/>
                <a:gd name="connsiteX1043" fmla="*/ 6521 w 10354"/>
                <a:gd name="connsiteY1043" fmla="*/ 2060 h 10000"/>
                <a:gd name="connsiteX1044" fmla="*/ 6521 w 10354"/>
                <a:gd name="connsiteY1044" fmla="*/ 2085 h 10000"/>
                <a:gd name="connsiteX1045" fmla="*/ 6516 w 10354"/>
                <a:gd name="connsiteY1045" fmla="*/ 2085 h 10000"/>
                <a:gd name="connsiteX1046" fmla="*/ 6502 w 10354"/>
                <a:gd name="connsiteY1046" fmla="*/ 2111 h 10000"/>
                <a:gd name="connsiteX1047" fmla="*/ 6498 w 10354"/>
                <a:gd name="connsiteY1047" fmla="*/ 2111 h 10000"/>
                <a:gd name="connsiteX1048" fmla="*/ 6498 w 10354"/>
                <a:gd name="connsiteY1048" fmla="*/ 2103 h 10000"/>
                <a:gd name="connsiteX1049" fmla="*/ 6475 w 10354"/>
                <a:gd name="connsiteY1049" fmla="*/ 2051 h 10000"/>
                <a:gd name="connsiteX1050" fmla="*/ 6470 w 10354"/>
                <a:gd name="connsiteY1050" fmla="*/ 2060 h 10000"/>
                <a:gd name="connsiteX1051" fmla="*/ 6456 w 10354"/>
                <a:gd name="connsiteY1051" fmla="*/ 2051 h 10000"/>
                <a:gd name="connsiteX1052" fmla="*/ 6447 w 10354"/>
                <a:gd name="connsiteY1052" fmla="*/ 2051 h 10000"/>
                <a:gd name="connsiteX1053" fmla="*/ 6433 w 10354"/>
                <a:gd name="connsiteY1053" fmla="*/ 2026 h 10000"/>
                <a:gd name="connsiteX1054" fmla="*/ 6433 w 10354"/>
                <a:gd name="connsiteY1054" fmla="*/ 2034 h 10000"/>
                <a:gd name="connsiteX1055" fmla="*/ 6429 w 10354"/>
                <a:gd name="connsiteY1055" fmla="*/ 2026 h 10000"/>
                <a:gd name="connsiteX1056" fmla="*/ 6424 w 10354"/>
                <a:gd name="connsiteY1056" fmla="*/ 2034 h 10000"/>
                <a:gd name="connsiteX1057" fmla="*/ 6410 w 10354"/>
                <a:gd name="connsiteY1057" fmla="*/ 2026 h 10000"/>
                <a:gd name="connsiteX1058" fmla="*/ 6410 w 10354"/>
                <a:gd name="connsiteY1058" fmla="*/ 1991 h 10000"/>
                <a:gd name="connsiteX1059" fmla="*/ 6401 w 10354"/>
                <a:gd name="connsiteY1059" fmla="*/ 1991 h 10000"/>
                <a:gd name="connsiteX1060" fmla="*/ 6396 w 10354"/>
                <a:gd name="connsiteY1060" fmla="*/ 2000 h 10000"/>
                <a:gd name="connsiteX1061" fmla="*/ 6382 w 10354"/>
                <a:gd name="connsiteY1061" fmla="*/ 1966 h 10000"/>
                <a:gd name="connsiteX1062" fmla="*/ 6373 w 10354"/>
                <a:gd name="connsiteY1062" fmla="*/ 1974 h 10000"/>
                <a:gd name="connsiteX1063" fmla="*/ 6369 w 10354"/>
                <a:gd name="connsiteY1063" fmla="*/ 1966 h 10000"/>
                <a:gd name="connsiteX1064" fmla="*/ 6341 w 10354"/>
                <a:gd name="connsiteY1064" fmla="*/ 1949 h 10000"/>
                <a:gd name="connsiteX1065" fmla="*/ 6327 w 10354"/>
                <a:gd name="connsiteY1065" fmla="*/ 1923 h 10000"/>
                <a:gd name="connsiteX1066" fmla="*/ 6323 w 10354"/>
                <a:gd name="connsiteY1066" fmla="*/ 1923 h 10000"/>
                <a:gd name="connsiteX1067" fmla="*/ 6323 w 10354"/>
                <a:gd name="connsiteY1067" fmla="*/ 1966 h 10000"/>
                <a:gd name="connsiteX1068" fmla="*/ 6323 w 10354"/>
                <a:gd name="connsiteY1068" fmla="*/ 1991 h 10000"/>
                <a:gd name="connsiteX1069" fmla="*/ 6313 w 10354"/>
                <a:gd name="connsiteY1069" fmla="*/ 1991 h 10000"/>
                <a:gd name="connsiteX1070" fmla="*/ 6300 w 10354"/>
                <a:gd name="connsiteY1070" fmla="*/ 1991 h 10000"/>
                <a:gd name="connsiteX1071" fmla="*/ 6290 w 10354"/>
                <a:gd name="connsiteY1071" fmla="*/ 1949 h 10000"/>
                <a:gd name="connsiteX1072" fmla="*/ 6276 w 10354"/>
                <a:gd name="connsiteY1072" fmla="*/ 2103 h 10000"/>
                <a:gd name="connsiteX1073" fmla="*/ 6281 w 10354"/>
                <a:gd name="connsiteY1073" fmla="*/ 2103 h 10000"/>
                <a:gd name="connsiteX1074" fmla="*/ 6276 w 10354"/>
                <a:gd name="connsiteY1074" fmla="*/ 2111 h 10000"/>
                <a:gd name="connsiteX1075" fmla="*/ 6276 w 10354"/>
                <a:gd name="connsiteY1075" fmla="*/ 2120 h 10000"/>
                <a:gd name="connsiteX1076" fmla="*/ 6295 w 10354"/>
                <a:gd name="connsiteY1076" fmla="*/ 2239 h 10000"/>
                <a:gd name="connsiteX1077" fmla="*/ 6290 w 10354"/>
                <a:gd name="connsiteY1077" fmla="*/ 2248 h 10000"/>
                <a:gd name="connsiteX1078" fmla="*/ 6281 w 10354"/>
                <a:gd name="connsiteY1078" fmla="*/ 2274 h 10000"/>
                <a:gd name="connsiteX1079" fmla="*/ 6249 w 10354"/>
                <a:gd name="connsiteY1079" fmla="*/ 2274 h 10000"/>
                <a:gd name="connsiteX1080" fmla="*/ 6226 w 10354"/>
                <a:gd name="connsiteY1080" fmla="*/ 2308 h 10000"/>
                <a:gd name="connsiteX1081" fmla="*/ 6221 w 10354"/>
                <a:gd name="connsiteY1081" fmla="*/ 2299 h 10000"/>
                <a:gd name="connsiteX1082" fmla="*/ 6221 w 10354"/>
                <a:gd name="connsiteY1082" fmla="*/ 2308 h 10000"/>
                <a:gd name="connsiteX1083" fmla="*/ 6217 w 10354"/>
                <a:gd name="connsiteY1083" fmla="*/ 2299 h 10000"/>
                <a:gd name="connsiteX1084" fmla="*/ 6194 w 10354"/>
                <a:gd name="connsiteY1084" fmla="*/ 2308 h 10000"/>
                <a:gd name="connsiteX1085" fmla="*/ 6180 w 10354"/>
                <a:gd name="connsiteY1085" fmla="*/ 2299 h 10000"/>
                <a:gd name="connsiteX1086" fmla="*/ 6143 w 10354"/>
                <a:gd name="connsiteY1086" fmla="*/ 2308 h 10000"/>
                <a:gd name="connsiteX1087" fmla="*/ 6134 w 10354"/>
                <a:gd name="connsiteY1087" fmla="*/ 2325 h 10000"/>
                <a:gd name="connsiteX1088" fmla="*/ 6115 w 10354"/>
                <a:gd name="connsiteY1088" fmla="*/ 2282 h 10000"/>
                <a:gd name="connsiteX1089" fmla="*/ 6069 w 10354"/>
                <a:gd name="connsiteY1089" fmla="*/ 2274 h 10000"/>
                <a:gd name="connsiteX1090" fmla="*/ 6069 w 10354"/>
                <a:gd name="connsiteY1090" fmla="*/ 2282 h 10000"/>
                <a:gd name="connsiteX1091" fmla="*/ 6060 w 10354"/>
                <a:gd name="connsiteY1091" fmla="*/ 2299 h 10000"/>
                <a:gd name="connsiteX1092" fmla="*/ 5972 w 10354"/>
                <a:gd name="connsiteY1092" fmla="*/ 2214 h 10000"/>
                <a:gd name="connsiteX1093" fmla="*/ 5968 w 10354"/>
                <a:gd name="connsiteY1093" fmla="*/ 2197 h 10000"/>
                <a:gd name="connsiteX1094" fmla="*/ 5968 w 10354"/>
                <a:gd name="connsiteY1094" fmla="*/ 2171 h 10000"/>
                <a:gd name="connsiteX1095" fmla="*/ 5968 w 10354"/>
                <a:gd name="connsiteY1095" fmla="*/ 2162 h 10000"/>
                <a:gd name="connsiteX1096" fmla="*/ 5968 w 10354"/>
                <a:gd name="connsiteY1096" fmla="*/ 2120 h 10000"/>
                <a:gd name="connsiteX1097" fmla="*/ 5968 w 10354"/>
                <a:gd name="connsiteY1097" fmla="*/ 2111 h 10000"/>
                <a:gd name="connsiteX1098" fmla="*/ 5972 w 10354"/>
                <a:gd name="connsiteY1098" fmla="*/ 2103 h 10000"/>
                <a:gd name="connsiteX1099" fmla="*/ 5986 w 10354"/>
                <a:gd name="connsiteY1099" fmla="*/ 2103 h 10000"/>
                <a:gd name="connsiteX1100" fmla="*/ 5986 w 10354"/>
                <a:gd name="connsiteY1100" fmla="*/ 2085 h 10000"/>
                <a:gd name="connsiteX1101" fmla="*/ 5995 w 10354"/>
                <a:gd name="connsiteY1101" fmla="*/ 2085 h 10000"/>
                <a:gd name="connsiteX1102" fmla="*/ 5995 w 10354"/>
                <a:gd name="connsiteY1102" fmla="*/ 2077 h 10000"/>
                <a:gd name="connsiteX1103" fmla="*/ 5986 w 10354"/>
                <a:gd name="connsiteY1103" fmla="*/ 2060 h 10000"/>
                <a:gd name="connsiteX1104" fmla="*/ 5954 w 10354"/>
                <a:gd name="connsiteY1104" fmla="*/ 2060 h 10000"/>
                <a:gd name="connsiteX1105" fmla="*/ 5940 w 10354"/>
                <a:gd name="connsiteY1105" fmla="*/ 2051 h 10000"/>
                <a:gd name="connsiteX1106" fmla="*/ 5922 w 10354"/>
                <a:gd name="connsiteY1106" fmla="*/ 2060 h 10000"/>
                <a:gd name="connsiteX1107" fmla="*/ 5885 w 10354"/>
                <a:gd name="connsiteY1107" fmla="*/ 2051 h 10000"/>
                <a:gd name="connsiteX1108" fmla="*/ 5876 w 10354"/>
                <a:gd name="connsiteY1108" fmla="*/ 2026 h 10000"/>
                <a:gd name="connsiteX1109" fmla="*/ 5862 w 10354"/>
                <a:gd name="connsiteY1109" fmla="*/ 2026 h 10000"/>
                <a:gd name="connsiteX1110" fmla="*/ 5848 w 10354"/>
                <a:gd name="connsiteY1110" fmla="*/ 2026 h 10000"/>
                <a:gd name="connsiteX1111" fmla="*/ 5825 w 10354"/>
                <a:gd name="connsiteY1111" fmla="*/ 2026 h 10000"/>
                <a:gd name="connsiteX1112" fmla="*/ 5788 w 10354"/>
                <a:gd name="connsiteY1112" fmla="*/ 1991 h 10000"/>
                <a:gd name="connsiteX1113" fmla="*/ 5760 w 10354"/>
                <a:gd name="connsiteY1113" fmla="*/ 2000 h 10000"/>
                <a:gd name="connsiteX1114" fmla="*/ 5760 w 10354"/>
                <a:gd name="connsiteY1114" fmla="*/ 2026 h 10000"/>
                <a:gd name="connsiteX1115" fmla="*/ 5714 w 10354"/>
                <a:gd name="connsiteY1115" fmla="*/ 2051 h 10000"/>
                <a:gd name="connsiteX1116" fmla="*/ 5687 w 10354"/>
                <a:gd name="connsiteY1116" fmla="*/ 2034 h 10000"/>
                <a:gd name="connsiteX1117" fmla="*/ 5645 w 10354"/>
                <a:gd name="connsiteY1117" fmla="*/ 2077 h 10000"/>
                <a:gd name="connsiteX1118" fmla="*/ 5664 w 10354"/>
                <a:gd name="connsiteY1118" fmla="*/ 2120 h 10000"/>
                <a:gd name="connsiteX1119" fmla="*/ 5664 w 10354"/>
                <a:gd name="connsiteY1119" fmla="*/ 2162 h 10000"/>
                <a:gd name="connsiteX1120" fmla="*/ 5631 w 10354"/>
                <a:gd name="connsiteY1120" fmla="*/ 2197 h 10000"/>
                <a:gd name="connsiteX1121" fmla="*/ 5618 w 10354"/>
                <a:gd name="connsiteY1121" fmla="*/ 2188 h 10000"/>
                <a:gd name="connsiteX1122" fmla="*/ 5618 w 10354"/>
                <a:gd name="connsiteY1122" fmla="*/ 2171 h 10000"/>
                <a:gd name="connsiteX1123" fmla="*/ 5641 w 10354"/>
                <a:gd name="connsiteY1123" fmla="*/ 2171 h 10000"/>
                <a:gd name="connsiteX1124" fmla="*/ 5641 w 10354"/>
                <a:gd name="connsiteY1124" fmla="*/ 2162 h 10000"/>
                <a:gd name="connsiteX1125" fmla="*/ 5627 w 10354"/>
                <a:gd name="connsiteY1125" fmla="*/ 2145 h 10000"/>
                <a:gd name="connsiteX1126" fmla="*/ 5627 w 10354"/>
                <a:gd name="connsiteY1126" fmla="*/ 2120 h 10000"/>
                <a:gd name="connsiteX1127" fmla="*/ 5618 w 10354"/>
                <a:gd name="connsiteY1127" fmla="*/ 2111 h 10000"/>
                <a:gd name="connsiteX1128" fmla="*/ 5631 w 10354"/>
                <a:gd name="connsiteY1128" fmla="*/ 2051 h 10000"/>
                <a:gd name="connsiteX1129" fmla="*/ 5631 w 10354"/>
                <a:gd name="connsiteY1129" fmla="*/ 2026 h 10000"/>
                <a:gd name="connsiteX1130" fmla="*/ 5627 w 10354"/>
                <a:gd name="connsiteY1130" fmla="*/ 1991 h 10000"/>
                <a:gd name="connsiteX1131" fmla="*/ 5618 w 10354"/>
                <a:gd name="connsiteY1131" fmla="*/ 1974 h 10000"/>
                <a:gd name="connsiteX1132" fmla="*/ 5618 w 10354"/>
                <a:gd name="connsiteY1132" fmla="*/ 1940 h 10000"/>
                <a:gd name="connsiteX1133" fmla="*/ 5594 w 10354"/>
                <a:gd name="connsiteY1133" fmla="*/ 1855 h 10000"/>
                <a:gd name="connsiteX1134" fmla="*/ 5599 w 10354"/>
                <a:gd name="connsiteY1134" fmla="*/ 1915 h 10000"/>
                <a:gd name="connsiteX1135" fmla="*/ 5599 w 10354"/>
                <a:gd name="connsiteY1135" fmla="*/ 1949 h 10000"/>
                <a:gd name="connsiteX1136" fmla="*/ 5594 w 10354"/>
                <a:gd name="connsiteY1136" fmla="*/ 1991 h 10000"/>
                <a:gd name="connsiteX1137" fmla="*/ 5571 w 10354"/>
                <a:gd name="connsiteY1137" fmla="*/ 2000 h 10000"/>
                <a:gd name="connsiteX1138" fmla="*/ 5530 w 10354"/>
                <a:gd name="connsiteY1138" fmla="*/ 1991 h 10000"/>
                <a:gd name="connsiteX1139" fmla="*/ 5525 w 10354"/>
                <a:gd name="connsiteY1139" fmla="*/ 2000 h 10000"/>
                <a:gd name="connsiteX1140" fmla="*/ 5521 w 10354"/>
                <a:gd name="connsiteY1140" fmla="*/ 1991 h 10000"/>
                <a:gd name="connsiteX1141" fmla="*/ 5498 w 10354"/>
                <a:gd name="connsiteY1141" fmla="*/ 1949 h 10000"/>
                <a:gd name="connsiteX1142" fmla="*/ 5493 w 10354"/>
                <a:gd name="connsiteY1142" fmla="*/ 1889 h 10000"/>
                <a:gd name="connsiteX1143" fmla="*/ 5493 w 10354"/>
                <a:gd name="connsiteY1143" fmla="*/ 1863 h 10000"/>
                <a:gd name="connsiteX1144" fmla="*/ 5498 w 10354"/>
                <a:gd name="connsiteY1144" fmla="*/ 1889 h 10000"/>
                <a:gd name="connsiteX1145" fmla="*/ 5512 w 10354"/>
                <a:gd name="connsiteY1145" fmla="*/ 1855 h 10000"/>
                <a:gd name="connsiteX1146" fmla="*/ 5512 w 10354"/>
                <a:gd name="connsiteY1146" fmla="*/ 1838 h 10000"/>
                <a:gd name="connsiteX1147" fmla="*/ 5479 w 10354"/>
                <a:gd name="connsiteY1147" fmla="*/ 1855 h 10000"/>
                <a:gd name="connsiteX1148" fmla="*/ 5470 w 10354"/>
                <a:gd name="connsiteY1148" fmla="*/ 1872 h 10000"/>
                <a:gd name="connsiteX1149" fmla="*/ 5470 w 10354"/>
                <a:gd name="connsiteY1149" fmla="*/ 1889 h 10000"/>
                <a:gd name="connsiteX1150" fmla="*/ 5465 w 10354"/>
                <a:gd name="connsiteY1150" fmla="*/ 1897 h 10000"/>
                <a:gd name="connsiteX1151" fmla="*/ 5456 w 10354"/>
                <a:gd name="connsiteY1151" fmla="*/ 1872 h 10000"/>
                <a:gd name="connsiteX1152" fmla="*/ 5447 w 10354"/>
                <a:gd name="connsiteY1152" fmla="*/ 1872 h 10000"/>
                <a:gd name="connsiteX1153" fmla="*/ 5433 w 10354"/>
                <a:gd name="connsiteY1153" fmla="*/ 1855 h 10000"/>
                <a:gd name="connsiteX1154" fmla="*/ 5396 w 10354"/>
                <a:gd name="connsiteY1154" fmla="*/ 1863 h 10000"/>
                <a:gd name="connsiteX1155" fmla="*/ 5396 w 10354"/>
                <a:gd name="connsiteY1155" fmla="*/ 1897 h 10000"/>
                <a:gd name="connsiteX1156" fmla="*/ 5378 w 10354"/>
                <a:gd name="connsiteY1156" fmla="*/ 1949 h 10000"/>
                <a:gd name="connsiteX1157" fmla="*/ 5378 w 10354"/>
                <a:gd name="connsiteY1157" fmla="*/ 1966 h 10000"/>
                <a:gd name="connsiteX1158" fmla="*/ 5392 w 10354"/>
                <a:gd name="connsiteY1158" fmla="*/ 2026 h 10000"/>
                <a:gd name="connsiteX1159" fmla="*/ 5396 w 10354"/>
                <a:gd name="connsiteY1159" fmla="*/ 2026 h 10000"/>
                <a:gd name="connsiteX1160" fmla="*/ 5392 w 10354"/>
                <a:gd name="connsiteY1160" fmla="*/ 2009 h 10000"/>
                <a:gd name="connsiteX1161" fmla="*/ 5392 w 10354"/>
                <a:gd name="connsiteY1161" fmla="*/ 2000 h 10000"/>
                <a:gd name="connsiteX1162" fmla="*/ 5396 w 10354"/>
                <a:gd name="connsiteY1162" fmla="*/ 2009 h 10000"/>
                <a:gd name="connsiteX1163" fmla="*/ 5424 w 10354"/>
                <a:gd name="connsiteY1163" fmla="*/ 2009 h 10000"/>
                <a:gd name="connsiteX1164" fmla="*/ 5433 w 10354"/>
                <a:gd name="connsiteY1164" fmla="*/ 1991 h 10000"/>
                <a:gd name="connsiteX1165" fmla="*/ 5447 w 10354"/>
                <a:gd name="connsiteY1165" fmla="*/ 1974 h 10000"/>
                <a:gd name="connsiteX1166" fmla="*/ 5452 w 10354"/>
                <a:gd name="connsiteY1166" fmla="*/ 1966 h 10000"/>
                <a:gd name="connsiteX1167" fmla="*/ 5456 w 10354"/>
                <a:gd name="connsiteY1167" fmla="*/ 1966 h 10000"/>
                <a:gd name="connsiteX1168" fmla="*/ 5465 w 10354"/>
                <a:gd name="connsiteY1168" fmla="*/ 2009 h 10000"/>
                <a:gd name="connsiteX1169" fmla="*/ 5433 w 10354"/>
                <a:gd name="connsiteY1169" fmla="*/ 2034 h 10000"/>
                <a:gd name="connsiteX1170" fmla="*/ 5424 w 10354"/>
                <a:gd name="connsiteY1170" fmla="*/ 2060 h 10000"/>
                <a:gd name="connsiteX1171" fmla="*/ 5419 w 10354"/>
                <a:gd name="connsiteY1171" fmla="*/ 2060 h 10000"/>
                <a:gd name="connsiteX1172" fmla="*/ 5392 w 10354"/>
                <a:gd name="connsiteY1172" fmla="*/ 2111 h 10000"/>
                <a:gd name="connsiteX1173" fmla="*/ 5378 w 10354"/>
                <a:gd name="connsiteY1173" fmla="*/ 2111 h 10000"/>
                <a:gd name="connsiteX1174" fmla="*/ 5350 w 10354"/>
                <a:gd name="connsiteY1174" fmla="*/ 2060 h 10000"/>
                <a:gd name="connsiteX1175" fmla="*/ 5373 w 10354"/>
                <a:gd name="connsiteY1175" fmla="*/ 2111 h 10000"/>
                <a:gd name="connsiteX1176" fmla="*/ 5364 w 10354"/>
                <a:gd name="connsiteY1176" fmla="*/ 2111 h 10000"/>
                <a:gd name="connsiteX1177" fmla="*/ 5359 w 10354"/>
                <a:gd name="connsiteY1177" fmla="*/ 2103 h 10000"/>
                <a:gd name="connsiteX1178" fmla="*/ 5359 w 10354"/>
                <a:gd name="connsiteY1178" fmla="*/ 2120 h 10000"/>
                <a:gd name="connsiteX1179" fmla="*/ 5359 w 10354"/>
                <a:gd name="connsiteY1179" fmla="*/ 2137 h 10000"/>
                <a:gd name="connsiteX1180" fmla="*/ 5313 w 10354"/>
                <a:gd name="connsiteY1180" fmla="*/ 2162 h 10000"/>
                <a:gd name="connsiteX1181" fmla="*/ 5300 w 10354"/>
                <a:gd name="connsiteY1181" fmla="*/ 2162 h 10000"/>
                <a:gd name="connsiteX1182" fmla="*/ 5300 w 10354"/>
                <a:gd name="connsiteY1182" fmla="*/ 2171 h 10000"/>
                <a:gd name="connsiteX1183" fmla="*/ 5300 w 10354"/>
                <a:gd name="connsiteY1183" fmla="*/ 2197 h 10000"/>
                <a:gd name="connsiteX1184" fmla="*/ 5276 w 10354"/>
                <a:gd name="connsiteY1184" fmla="*/ 2188 h 10000"/>
                <a:gd name="connsiteX1185" fmla="*/ 5249 w 10354"/>
                <a:gd name="connsiteY1185" fmla="*/ 2222 h 10000"/>
                <a:gd name="connsiteX1186" fmla="*/ 5249 w 10354"/>
                <a:gd name="connsiteY1186" fmla="*/ 2222 h 10000"/>
                <a:gd name="connsiteX1187" fmla="*/ 5217 w 10354"/>
                <a:gd name="connsiteY1187" fmla="*/ 2214 h 10000"/>
                <a:gd name="connsiteX1188" fmla="*/ 5203 w 10354"/>
                <a:gd name="connsiteY1188" fmla="*/ 2239 h 10000"/>
                <a:gd name="connsiteX1189" fmla="*/ 5171 w 10354"/>
                <a:gd name="connsiteY1189" fmla="*/ 2214 h 10000"/>
                <a:gd name="connsiteX1190" fmla="*/ 5157 w 10354"/>
                <a:gd name="connsiteY1190" fmla="*/ 2239 h 10000"/>
                <a:gd name="connsiteX1191" fmla="*/ 5166 w 10354"/>
                <a:gd name="connsiteY1191" fmla="*/ 2256 h 10000"/>
                <a:gd name="connsiteX1192" fmla="*/ 5171 w 10354"/>
                <a:gd name="connsiteY1192" fmla="*/ 2308 h 10000"/>
                <a:gd name="connsiteX1193" fmla="*/ 5212 w 10354"/>
                <a:gd name="connsiteY1193" fmla="*/ 2350 h 10000"/>
                <a:gd name="connsiteX1194" fmla="*/ 5203 w 10354"/>
                <a:gd name="connsiteY1194" fmla="*/ 2350 h 10000"/>
                <a:gd name="connsiteX1195" fmla="*/ 5166 w 10354"/>
                <a:gd name="connsiteY1195" fmla="*/ 2325 h 10000"/>
                <a:gd name="connsiteX1196" fmla="*/ 5152 w 10354"/>
                <a:gd name="connsiteY1196" fmla="*/ 2308 h 10000"/>
                <a:gd name="connsiteX1197" fmla="*/ 5143 w 10354"/>
                <a:gd name="connsiteY1197" fmla="*/ 2333 h 10000"/>
                <a:gd name="connsiteX1198" fmla="*/ 5138 w 10354"/>
                <a:gd name="connsiteY1198" fmla="*/ 2333 h 10000"/>
                <a:gd name="connsiteX1199" fmla="*/ 5124 w 10354"/>
                <a:gd name="connsiteY1199" fmla="*/ 2376 h 10000"/>
                <a:gd name="connsiteX1200" fmla="*/ 5115 w 10354"/>
                <a:gd name="connsiteY1200" fmla="*/ 2385 h 10000"/>
                <a:gd name="connsiteX1201" fmla="*/ 5106 w 10354"/>
                <a:gd name="connsiteY1201" fmla="*/ 2385 h 10000"/>
                <a:gd name="connsiteX1202" fmla="*/ 5055 w 10354"/>
                <a:gd name="connsiteY1202" fmla="*/ 2470 h 10000"/>
                <a:gd name="connsiteX1203" fmla="*/ 5065 w 10354"/>
                <a:gd name="connsiteY1203" fmla="*/ 2462 h 10000"/>
                <a:gd name="connsiteX1204" fmla="*/ 5055 w 10354"/>
                <a:gd name="connsiteY1204" fmla="*/ 2444 h 10000"/>
                <a:gd name="connsiteX1205" fmla="*/ 5041 w 10354"/>
                <a:gd name="connsiteY1205" fmla="*/ 2462 h 10000"/>
                <a:gd name="connsiteX1206" fmla="*/ 5037 w 10354"/>
                <a:gd name="connsiteY1206" fmla="*/ 2470 h 10000"/>
                <a:gd name="connsiteX1207" fmla="*/ 5032 w 10354"/>
                <a:gd name="connsiteY1207" fmla="*/ 2470 h 10000"/>
                <a:gd name="connsiteX1208" fmla="*/ 5032 w 10354"/>
                <a:gd name="connsiteY1208" fmla="*/ 2444 h 10000"/>
                <a:gd name="connsiteX1209" fmla="*/ 5055 w 10354"/>
                <a:gd name="connsiteY1209" fmla="*/ 2410 h 10000"/>
                <a:gd name="connsiteX1210" fmla="*/ 5065 w 10354"/>
                <a:gd name="connsiteY1210" fmla="*/ 2393 h 10000"/>
                <a:gd name="connsiteX1211" fmla="*/ 5069 w 10354"/>
                <a:gd name="connsiteY1211" fmla="*/ 2385 h 10000"/>
                <a:gd name="connsiteX1212" fmla="*/ 5083 w 10354"/>
                <a:gd name="connsiteY1212" fmla="*/ 2376 h 10000"/>
                <a:gd name="connsiteX1213" fmla="*/ 5097 w 10354"/>
                <a:gd name="connsiteY1213" fmla="*/ 2376 h 10000"/>
                <a:gd name="connsiteX1214" fmla="*/ 5124 w 10354"/>
                <a:gd name="connsiteY1214" fmla="*/ 2325 h 10000"/>
                <a:gd name="connsiteX1215" fmla="*/ 5143 w 10354"/>
                <a:gd name="connsiteY1215" fmla="*/ 2248 h 10000"/>
                <a:gd name="connsiteX1216" fmla="*/ 5152 w 10354"/>
                <a:gd name="connsiteY1216" fmla="*/ 2239 h 10000"/>
                <a:gd name="connsiteX1217" fmla="*/ 5166 w 10354"/>
                <a:gd name="connsiteY1217" fmla="*/ 2162 h 10000"/>
                <a:gd name="connsiteX1218" fmla="*/ 5171 w 10354"/>
                <a:gd name="connsiteY1218" fmla="*/ 2171 h 10000"/>
                <a:gd name="connsiteX1219" fmla="*/ 5198 w 10354"/>
                <a:gd name="connsiteY1219" fmla="*/ 2145 h 10000"/>
                <a:gd name="connsiteX1220" fmla="*/ 5203 w 10354"/>
                <a:gd name="connsiteY1220" fmla="*/ 2111 h 10000"/>
                <a:gd name="connsiteX1221" fmla="*/ 5217 w 10354"/>
                <a:gd name="connsiteY1221" fmla="*/ 2060 h 10000"/>
                <a:gd name="connsiteX1222" fmla="*/ 5226 w 10354"/>
                <a:gd name="connsiteY1222" fmla="*/ 2026 h 10000"/>
                <a:gd name="connsiteX1223" fmla="*/ 5286 w 10354"/>
                <a:gd name="connsiteY1223" fmla="*/ 2026 h 10000"/>
                <a:gd name="connsiteX1224" fmla="*/ 5290 w 10354"/>
                <a:gd name="connsiteY1224" fmla="*/ 2034 h 10000"/>
                <a:gd name="connsiteX1225" fmla="*/ 5323 w 10354"/>
                <a:gd name="connsiteY1225" fmla="*/ 1923 h 10000"/>
                <a:gd name="connsiteX1226" fmla="*/ 5323 w 10354"/>
                <a:gd name="connsiteY1226" fmla="*/ 1889 h 10000"/>
                <a:gd name="connsiteX1227" fmla="*/ 5359 w 10354"/>
                <a:gd name="connsiteY1227" fmla="*/ 1829 h 10000"/>
                <a:gd name="connsiteX1228" fmla="*/ 5378 w 10354"/>
                <a:gd name="connsiteY1228" fmla="*/ 1812 h 10000"/>
                <a:gd name="connsiteX1229" fmla="*/ 5406 w 10354"/>
                <a:gd name="connsiteY1229" fmla="*/ 1752 h 10000"/>
                <a:gd name="connsiteX1230" fmla="*/ 5410 w 10354"/>
                <a:gd name="connsiteY1230" fmla="*/ 1718 h 10000"/>
                <a:gd name="connsiteX1231" fmla="*/ 5438 w 10354"/>
                <a:gd name="connsiteY1231" fmla="*/ 1667 h 10000"/>
                <a:gd name="connsiteX1232" fmla="*/ 5438 w 10354"/>
                <a:gd name="connsiteY1232" fmla="*/ 1650 h 10000"/>
                <a:gd name="connsiteX1233" fmla="*/ 5438 w 10354"/>
                <a:gd name="connsiteY1233" fmla="*/ 1641 h 10000"/>
                <a:gd name="connsiteX1234" fmla="*/ 5452 w 10354"/>
                <a:gd name="connsiteY1234" fmla="*/ 1641 h 10000"/>
                <a:gd name="connsiteX1235" fmla="*/ 5456 w 10354"/>
                <a:gd name="connsiteY1235" fmla="*/ 1615 h 10000"/>
                <a:gd name="connsiteX1236" fmla="*/ 5456 w 10354"/>
                <a:gd name="connsiteY1236" fmla="*/ 1615 h 10000"/>
                <a:gd name="connsiteX1237" fmla="*/ 5465 w 10354"/>
                <a:gd name="connsiteY1237" fmla="*/ 1598 h 10000"/>
                <a:gd name="connsiteX1238" fmla="*/ 5465 w 10354"/>
                <a:gd name="connsiteY1238" fmla="*/ 1615 h 10000"/>
                <a:gd name="connsiteX1239" fmla="*/ 5479 w 10354"/>
                <a:gd name="connsiteY1239" fmla="*/ 1598 h 10000"/>
                <a:gd name="connsiteX1240" fmla="*/ 5484 w 10354"/>
                <a:gd name="connsiteY1240" fmla="*/ 1581 h 10000"/>
                <a:gd name="connsiteX1241" fmla="*/ 5493 w 10354"/>
                <a:gd name="connsiteY1241" fmla="*/ 1581 h 10000"/>
                <a:gd name="connsiteX1242" fmla="*/ 5512 w 10354"/>
                <a:gd name="connsiteY1242" fmla="*/ 1538 h 10000"/>
                <a:gd name="connsiteX1243" fmla="*/ 5530 w 10354"/>
                <a:gd name="connsiteY1243" fmla="*/ 1564 h 10000"/>
                <a:gd name="connsiteX1244" fmla="*/ 5530 w 10354"/>
                <a:gd name="connsiteY1244" fmla="*/ 1538 h 10000"/>
                <a:gd name="connsiteX1245" fmla="*/ 5539 w 10354"/>
                <a:gd name="connsiteY1245" fmla="*/ 1530 h 10000"/>
                <a:gd name="connsiteX1246" fmla="*/ 5530 w 10354"/>
                <a:gd name="connsiteY1246" fmla="*/ 1504 h 10000"/>
                <a:gd name="connsiteX1247" fmla="*/ 5567 w 10354"/>
                <a:gd name="connsiteY1247" fmla="*/ 1479 h 10000"/>
                <a:gd name="connsiteX1248" fmla="*/ 5553 w 10354"/>
                <a:gd name="connsiteY1248" fmla="*/ 1479 h 10000"/>
                <a:gd name="connsiteX1249" fmla="*/ 5553 w 10354"/>
                <a:gd name="connsiteY1249" fmla="*/ 1453 h 10000"/>
                <a:gd name="connsiteX1250" fmla="*/ 5581 w 10354"/>
                <a:gd name="connsiteY1250" fmla="*/ 1444 h 10000"/>
                <a:gd name="connsiteX1251" fmla="*/ 5581 w 10354"/>
                <a:gd name="connsiteY1251" fmla="*/ 1453 h 10000"/>
                <a:gd name="connsiteX1252" fmla="*/ 5585 w 10354"/>
                <a:gd name="connsiteY1252" fmla="*/ 1444 h 10000"/>
                <a:gd name="connsiteX1253" fmla="*/ 5594 w 10354"/>
                <a:gd name="connsiteY1253" fmla="*/ 1427 h 10000"/>
                <a:gd name="connsiteX1254" fmla="*/ 5599 w 10354"/>
                <a:gd name="connsiteY1254" fmla="*/ 1419 h 10000"/>
                <a:gd name="connsiteX1255" fmla="*/ 5594 w 10354"/>
                <a:gd name="connsiteY1255" fmla="*/ 1402 h 10000"/>
                <a:gd name="connsiteX1256" fmla="*/ 5604 w 10354"/>
                <a:gd name="connsiteY1256" fmla="*/ 1393 h 10000"/>
                <a:gd name="connsiteX1257" fmla="*/ 5618 w 10354"/>
                <a:gd name="connsiteY1257" fmla="*/ 1393 h 10000"/>
                <a:gd name="connsiteX1258" fmla="*/ 5627 w 10354"/>
                <a:gd name="connsiteY1258" fmla="*/ 1368 h 10000"/>
                <a:gd name="connsiteX1259" fmla="*/ 5627 w 10354"/>
                <a:gd name="connsiteY1259" fmla="*/ 1325 h 10000"/>
                <a:gd name="connsiteX1260" fmla="*/ 5645 w 10354"/>
                <a:gd name="connsiteY1260" fmla="*/ 1291 h 10000"/>
                <a:gd name="connsiteX1261" fmla="*/ 5645 w 10354"/>
                <a:gd name="connsiteY1261" fmla="*/ 1282 h 10000"/>
                <a:gd name="connsiteX1262" fmla="*/ 5654 w 10354"/>
                <a:gd name="connsiteY1262" fmla="*/ 1265 h 10000"/>
                <a:gd name="connsiteX1263" fmla="*/ 5654 w 10354"/>
                <a:gd name="connsiteY1263" fmla="*/ 1214 h 10000"/>
                <a:gd name="connsiteX1264" fmla="*/ 5654 w 10354"/>
                <a:gd name="connsiteY1264" fmla="*/ 1214 h 10000"/>
                <a:gd name="connsiteX1265" fmla="*/ 5645 w 10354"/>
                <a:gd name="connsiteY1265" fmla="*/ 1197 h 10000"/>
                <a:gd name="connsiteX1266" fmla="*/ 5659 w 10354"/>
                <a:gd name="connsiteY1266" fmla="*/ 1197 h 10000"/>
                <a:gd name="connsiteX1267" fmla="*/ 5654 w 10354"/>
                <a:gd name="connsiteY1267" fmla="*/ 1154 h 10000"/>
                <a:gd name="connsiteX1268" fmla="*/ 5641 w 10354"/>
                <a:gd name="connsiteY1268" fmla="*/ 1154 h 10000"/>
                <a:gd name="connsiteX1269" fmla="*/ 5627 w 10354"/>
                <a:gd name="connsiteY1269" fmla="*/ 1128 h 10000"/>
                <a:gd name="connsiteX1270" fmla="*/ 5618 w 10354"/>
                <a:gd name="connsiteY1270" fmla="*/ 1094 h 10000"/>
                <a:gd name="connsiteX1271" fmla="*/ 5613 w 10354"/>
                <a:gd name="connsiteY1271" fmla="*/ 1094 h 10000"/>
                <a:gd name="connsiteX1272" fmla="*/ 5604 w 10354"/>
                <a:gd name="connsiteY1272" fmla="*/ 1120 h 10000"/>
                <a:gd name="connsiteX1273" fmla="*/ 5604 w 10354"/>
                <a:gd name="connsiteY1273" fmla="*/ 1128 h 10000"/>
                <a:gd name="connsiteX1274" fmla="*/ 5599 w 10354"/>
                <a:gd name="connsiteY1274" fmla="*/ 1103 h 10000"/>
                <a:gd name="connsiteX1275" fmla="*/ 5599 w 10354"/>
                <a:gd name="connsiteY1275" fmla="*/ 1103 h 10000"/>
                <a:gd name="connsiteX1276" fmla="*/ 5594 w 10354"/>
                <a:gd name="connsiteY1276" fmla="*/ 1068 h 10000"/>
                <a:gd name="connsiteX1277" fmla="*/ 5594 w 10354"/>
                <a:gd name="connsiteY1277" fmla="*/ 1060 h 10000"/>
                <a:gd name="connsiteX1278" fmla="*/ 5581 w 10354"/>
                <a:gd name="connsiteY1278" fmla="*/ 1034 h 10000"/>
                <a:gd name="connsiteX1279" fmla="*/ 5571 w 10354"/>
                <a:gd name="connsiteY1279" fmla="*/ 1009 h 10000"/>
                <a:gd name="connsiteX1280" fmla="*/ 5571 w 10354"/>
                <a:gd name="connsiteY1280" fmla="*/ 991 h 10000"/>
                <a:gd name="connsiteX1281" fmla="*/ 5585 w 10354"/>
                <a:gd name="connsiteY1281" fmla="*/ 1009 h 10000"/>
                <a:gd name="connsiteX1282" fmla="*/ 5604 w 10354"/>
                <a:gd name="connsiteY1282" fmla="*/ 1043 h 10000"/>
                <a:gd name="connsiteX1283" fmla="*/ 5641 w 10354"/>
                <a:gd name="connsiteY1283" fmla="*/ 1094 h 10000"/>
                <a:gd name="connsiteX1284" fmla="*/ 5631 w 10354"/>
                <a:gd name="connsiteY1284" fmla="*/ 1128 h 10000"/>
                <a:gd name="connsiteX1285" fmla="*/ 5641 w 10354"/>
                <a:gd name="connsiteY1285" fmla="*/ 1128 h 10000"/>
                <a:gd name="connsiteX1286" fmla="*/ 5659 w 10354"/>
                <a:gd name="connsiteY1286" fmla="*/ 1017 h 10000"/>
                <a:gd name="connsiteX1287" fmla="*/ 5659 w 10354"/>
                <a:gd name="connsiteY1287" fmla="*/ 983 h 10000"/>
                <a:gd name="connsiteX1288" fmla="*/ 5659 w 10354"/>
                <a:gd name="connsiteY1288" fmla="*/ 957 h 10000"/>
                <a:gd name="connsiteX1289" fmla="*/ 5654 w 10354"/>
                <a:gd name="connsiteY1289" fmla="*/ 966 h 10000"/>
                <a:gd name="connsiteX1290" fmla="*/ 5641 w 10354"/>
                <a:gd name="connsiteY1290" fmla="*/ 957 h 10000"/>
                <a:gd name="connsiteX1291" fmla="*/ 5631 w 10354"/>
                <a:gd name="connsiteY1291" fmla="*/ 897 h 10000"/>
                <a:gd name="connsiteX1292" fmla="*/ 5641 w 10354"/>
                <a:gd name="connsiteY1292" fmla="*/ 872 h 10000"/>
                <a:gd name="connsiteX1293" fmla="*/ 5618 w 10354"/>
                <a:gd name="connsiteY1293" fmla="*/ 803 h 10000"/>
                <a:gd name="connsiteX1294" fmla="*/ 5604 w 10354"/>
                <a:gd name="connsiteY1294" fmla="*/ 821 h 10000"/>
                <a:gd name="connsiteX1295" fmla="*/ 5613 w 10354"/>
                <a:gd name="connsiteY1295" fmla="*/ 846 h 10000"/>
                <a:gd name="connsiteX1296" fmla="*/ 5604 w 10354"/>
                <a:gd name="connsiteY1296" fmla="*/ 855 h 10000"/>
                <a:gd name="connsiteX1297" fmla="*/ 5599 w 10354"/>
                <a:gd name="connsiteY1297" fmla="*/ 880 h 10000"/>
                <a:gd name="connsiteX1298" fmla="*/ 5594 w 10354"/>
                <a:gd name="connsiteY1298" fmla="*/ 880 h 10000"/>
                <a:gd name="connsiteX1299" fmla="*/ 5585 w 10354"/>
                <a:gd name="connsiteY1299" fmla="*/ 829 h 10000"/>
                <a:gd name="connsiteX1300" fmla="*/ 5571 w 10354"/>
                <a:gd name="connsiteY1300" fmla="*/ 803 h 10000"/>
                <a:gd name="connsiteX1301" fmla="*/ 5585 w 10354"/>
                <a:gd name="connsiteY1301" fmla="*/ 795 h 10000"/>
                <a:gd name="connsiteX1302" fmla="*/ 5585 w 10354"/>
                <a:gd name="connsiteY1302" fmla="*/ 761 h 10000"/>
                <a:gd name="connsiteX1303" fmla="*/ 5558 w 10354"/>
                <a:gd name="connsiteY1303" fmla="*/ 709 h 10000"/>
                <a:gd name="connsiteX1304" fmla="*/ 5544 w 10354"/>
                <a:gd name="connsiteY1304" fmla="*/ 709 h 10000"/>
                <a:gd name="connsiteX1305" fmla="*/ 5544 w 10354"/>
                <a:gd name="connsiteY1305" fmla="*/ 684 h 10000"/>
                <a:gd name="connsiteX1306" fmla="*/ 5525 w 10354"/>
                <a:gd name="connsiteY1306" fmla="*/ 632 h 10000"/>
                <a:gd name="connsiteX1307" fmla="*/ 5507 w 10354"/>
                <a:gd name="connsiteY1307" fmla="*/ 607 h 10000"/>
                <a:gd name="connsiteX1308" fmla="*/ 5512 w 10354"/>
                <a:gd name="connsiteY1308" fmla="*/ 598 h 10000"/>
                <a:gd name="connsiteX1309" fmla="*/ 5507 w 10354"/>
                <a:gd name="connsiteY1309" fmla="*/ 581 h 10000"/>
                <a:gd name="connsiteX1310" fmla="*/ 5493 w 10354"/>
                <a:gd name="connsiteY1310" fmla="*/ 573 h 10000"/>
                <a:gd name="connsiteX1311" fmla="*/ 5484 w 10354"/>
                <a:gd name="connsiteY1311" fmla="*/ 581 h 10000"/>
                <a:gd name="connsiteX1312" fmla="*/ 5484 w 10354"/>
                <a:gd name="connsiteY1312" fmla="*/ 573 h 10000"/>
                <a:gd name="connsiteX1313" fmla="*/ 5484 w 10354"/>
                <a:gd name="connsiteY1313" fmla="*/ 547 h 10000"/>
                <a:gd name="connsiteX1314" fmla="*/ 5465 w 10354"/>
                <a:gd name="connsiteY1314" fmla="*/ 556 h 10000"/>
                <a:gd name="connsiteX1315" fmla="*/ 5433 w 10354"/>
                <a:gd name="connsiteY1315" fmla="*/ 547 h 10000"/>
                <a:gd name="connsiteX1316" fmla="*/ 5410 w 10354"/>
                <a:gd name="connsiteY1316" fmla="*/ 573 h 10000"/>
                <a:gd name="connsiteX1317" fmla="*/ 5406 w 10354"/>
                <a:gd name="connsiteY1317" fmla="*/ 573 h 10000"/>
                <a:gd name="connsiteX1318" fmla="*/ 5392 w 10354"/>
                <a:gd name="connsiteY1318" fmla="*/ 573 h 10000"/>
                <a:gd name="connsiteX1319" fmla="*/ 5364 w 10354"/>
                <a:gd name="connsiteY1319" fmla="*/ 530 h 10000"/>
                <a:gd name="connsiteX1320" fmla="*/ 5350 w 10354"/>
                <a:gd name="connsiteY1320" fmla="*/ 556 h 10000"/>
                <a:gd name="connsiteX1321" fmla="*/ 5346 w 10354"/>
                <a:gd name="connsiteY1321" fmla="*/ 556 h 10000"/>
                <a:gd name="connsiteX1322" fmla="*/ 5313 w 10354"/>
                <a:gd name="connsiteY1322" fmla="*/ 573 h 10000"/>
                <a:gd name="connsiteX1323" fmla="*/ 5304 w 10354"/>
                <a:gd name="connsiteY1323" fmla="*/ 556 h 10000"/>
                <a:gd name="connsiteX1324" fmla="*/ 5290 w 10354"/>
                <a:gd name="connsiteY1324" fmla="*/ 573 h 10000"/>
                <a:gd name="connsiteX1325" fmla="*/ 5290 w 10354"/>
                <a:gd name="connsiteY1325" fmla="*/ 556 h 10000"/>
                <a:gd name="connsiteX1326" fmla="*/ 5300 w 10354"/>
                <a:gd name="connsiteY1326" fmla="*/ 547 h 10000"/>
                <a:gd name="connsiteX1327" fmla="*/ 5300 w 10354"/>
                <a:gd name="connsiteY1327" fmla="*/ 530 h 10000"/>
                <a:gd name="connsiteX1328" fmla="*/ 5290 w 10354"/>
                <a:gd name="connsiteY1328" fmla="*/ 530 h 10000"/>
                <a:gd name="connsiteX1329" fmla="*/ 5286 w 10354"/>
                <a:gd name="connsiteY1329" fmla="*/ 547 h 10000"/>
                <a:gd name="connsiteX1330" fmla="*/ 5272 w 10354"/>
                <a:gd name="connsiteY1330" fmla="*/ 556 h 10000"/>
                <a:gd name="connsiteX1331" fmla="*/ 5272 w 10354"/>
                <a:gd name="connsiteY1331" fmla="*/ 598 h 10000"/>
                <a:gd name="connsiteX1332" fmla="*/ 5276 w 10354"/>
                <a:gd name="connsiteY1332" fmla="*/ 581 h 10000"/>
                <a:gd name="connsiteX1333" fmla="*/ 5272 w 10354"/>
                <a:gd name="connsiteY1333" fmla="*/ 607 h 10000"/>
                <a:gd name="connsiteX1334" fmla="*/ 5263 w 10354"/>
                <a:gd name="connsiteY1334" fmla="*/ 607 h 10000"/>
                <a:gd name="connsiteX1335" fmla="*/ 5263 w 10354"/>
                <a:gd name="connsiteY1335" fmla="*/ 632 h 10000"/>
                <a:gd name="connsiteX1336" fmla="*/ 5258 w 10354"/>
                <a:gd name="connsiteY1336" fmla="*/ 658 h 10000"/>
                <a:gd name="connsiteX1337" fmla="*/ 5244 w 10354"/>
                <a:gd name="connsiteY1337" fmla="*/ 667 h 10000"/>
                <a:gd name="connsiteX1338" fmla="*/ 5240 w 10354"/>
                <a:gd name="connsiteY1338" fmla="*/ 658 h 10000"/>
                <a:gd name="connsiteX1339" fmla="*/ 5240 w 10354"/>
                <a:gd name="connsiteY1339" fmla="*/ 684 h 10000"/>
                <a:gd name="connsiteX1340" fmla="*/ 5212 w 10354"/>
                <a:gd name="connsiteY1340" fmla="*/ 684 h 10000"/>
                <a:gd name="connsiteX1341" fmla="*/ 5198 w 10354"/>
                <a:gd name="connsiteY1341" fmla="*/ 692 h 10000"/>
                <a:gd name="connsiteX1342" fmla="*/ 5184 w 10354"/>
                <a:gd name="connsiteY1342" fmla="*/ 684 h 10000"/>
                <a:gd name="connsiteX1343" fmla="*/ 5157 w 10354"/>
                <a:gd name="connsiteY1343" fmla="*/ 684 h 10000"/>
                <a:gd name="connsiteX1344" fmla="*/ 5157 w 10354"/>
                <a:gd name="connsiteY1344" fmla="*/ 667 h 10000"/>
                <a:gd name="connsiteX1345" fmla="*/ 5157 w 10354"/>
                <a:gd name="connsiteY1345" fmla="*/ 667 h 10000"/>
                <a:gd name="connsiteX1346" fmla="*/ 5180 w 10354"/>
                <a:gd name="connsiteY1346" fmla="*/ 650 h 10000"/>
                <a:gd name="connsiteX1347" fmla="*/ 5184 w 10354"/>
                <a:gd name="connsiteY1347" fmla="*/ 658 h 10000"/>
                <a:gd name="connsiteX1348" fmla="*/ 5203 w 10354"/>
                <a:gd name="connsiteY1348" fmla="*/ 547 h 10000"/>
                <a:gd name="connsiteX1349" fmla="*/ 5226 w 10354"/>
                <a:gd name="connsiteY1349" fmla="*/ 530 h 10000"/>
                <a:gd name="connsiteX1350" fmla="*/ 5230 w 10354"/>
                <a:gd name="connsiteY1350" fmla="*/ 487 h 10000"/>
                <a:gd name="connsiteX1351" fmla="*/ 5230 w 10354"/>
                <a:gd name="connsiteY1351" fmla="*/ 487 h 10000"/>
                <a:gd name="connsiteX1352" fmla="*/ 5226 w 10354"/>
                <a:gd name="connsiteY1352" fmla="*/ 462 h 10000"/>
                <a:gd name="connsiteX1353" fmla="*/ 5226 w 10354"/>
                <a:gd name="connsiteY1353" fmla="*/ 462 h 10000"/>
                <a:gd name="connsiteX1354" fmla="*/ 5240 w 10354"/>
                <a:gd name="connsiteY1354" fmla="*/ 462 h 10000"/>
                <a:gd name="connsiteX1355" fmla="*/ 5240 w 10354"/>
                <a:gd name="connsiteY1355" fmla="*/ 444 h 10000"/>
                <a:gd name="connsiteX1356" fmla="*/ 5230 w 10354"/>
                <a:gd name="connsiteY1356" fmla="*/ 436 h 10000"/>
                <a:gd name="connsiteX1357" fmla="*/ 5230 w 10354"/>
                <a:gd name="connsiteY1357" fmla="*/ 419 h 10000"/>
                <a:gd name="connsiteX1358" fmla="*/ 5230 w 10354"/>
                <a:gd name="connsiteY1358" fmla="*/ 410 h 10000"/>
                <a:gd name="connsiteX1359" fmla="*/ 5198 w 10354"/>
                <a:gd name="connsiteY1359" fmla="*/ 402 h 10000"/>
                <a:gd name="connsiteX1360" fmla="*/ 5189 w 10354"/>
                <a:gd name="connsiteY1360" fmla="*/ 402 h 10000"/>
                <a:gd name="connsiteX1361" fmla="*/ 5184 w 10354"/>
                <a:gd name="connsiteY1361" fmla="*/ 376 h 10000"/>
                <a:gd name="connsiteX1362" fmla="*/ 5180 w 10354"/>
                <a:gd name="connsiteY1362" fmla="*/ 376 h 10000"/>
                <a:gd name="connsiteX1363" fmla="*/ 5166 w 10354"/>
                <a:gd name="connsiteY1363" fmla="*/ 376 h 10000"/>
                <a:gd name="connsiteX1364" fmla="*/ 5157 w 10354"/>
                <a:gd name="connsiteY1364" fmla="*/ 385 h 10000"/>
                <a:gd name="connsiteX1365" fmla="*/ 5152 w 10354"/>
                <a:gd name="connsiteY1365" fmla="*/ 376 h 10000"/>
                <a:gd name="connsiteX1366" fmla="*/ 5129 w 10354"/>
                <a:gd name="connsiteY1366" fmla="*/ 385 h 10000"/>
                <a:gd name="connsiteX1367" fmla="*/ 5129 w 10354"/>
                <a:gd name="connsiteY1367" fmla="*/ 350 h 10000"/>
                <a:gd name="connsiteX1368" fmla="*/ 5129 w 10354"/>
                <a:gd name="connsiteY1368" fmla="*/ 325 h 10000"/>
                <a:gd name="connsiteX1369" fmla="*/ 5124 w 10354"/>
                <a:gd name="connsiteY1369" fmla="*/ 359 h 10000"/>
                <a:gd name="connsiteX1370" fmla="*/ 5106 w 10354"/>
                <a:gd name="connsiteY1370" fmla="*/ 359 h 10000"/>
                <a:gd name="connsiteX1371" fmla="*/ 5037 w 10354"/>
                <a:gd name="connsiteY1371" fmla="*/ 419 h 10000"/>
                <a:gd name="connsiteX1372" fmla="*/ 5051 w 10354"/>
                <a:gd name="connsiteY1372" fmla="*/ 385 h 10000"/>
                <a:gd name="connsiteX1373" fmla="*/ 5055 w 10354"/>
                <a:gd name="connsiteY1373" fmla="*/ 376 h 10000"/>
                <a:gd name="connsiteX1374" fmla="*/ 5092 w 10354"/>
                <a:gd name="connsiteY1374" fmla="*/ 282 h 10000"/>
                <a:gd name="connsiteX1375" fmla="*/ 5106 w 10354"/>
                <a:gd name="connsiteY1375" fmla="*/ 265 h 10000"/>
                <a:gd name="connsiteX1376" fmla="*/ 5115 w 10354"/>
                <a:gd name="connsiteY1376" fmla="*/ 265 h 10000"/>
                <a:gd name="connsiteX1377" fmla="*/ 5124 w 10354"/>
                <a:gd name="connsiteY1377" fmla="*/ 222 h 10000"/>
                <a:gd name="connsiteX1378" fmla="*/ 5124 w 10354"/>
                <a:gd name="connsiteY1378" fmla="*/ 214 h 10000"/>
                <a:gd name="connsiteX1379" fmla="*/ 5143 w 10354"/>
                <a:gd name="connsiteY1379" fmla="*/ 197 h 10000"/>
                <a:gd name="connsiteX1380" fmla="*/ 5152 w 10354"/>
                <a:gd name="connsiteY1380" fmla="*/ 214 h 10000"/>
                <a:gd name="connsiteX1381" fmla="*/ 5143 w 10354"/>
                <a:gd name="connsiteY1381" fmla="*/ 188 h 10000"/>
                <a:gd name="connsiteX1382" fmla="*/ 5129 w 10354"/>
                <a:gd name="connsiteY1382" fmla="*/ 103 h 10000"/>
                <a:gd name="connsiteX1383" fmla="*/ 5115 w 10354"/>
                <a:gd name="connsiteY1383" fmla="*/ 85 h 10000"/>
                <a:gd name="connsiteX1384" fmla="*/ 5111 w 10354"/>
                <a:gd name="connsiteY1384" fmla="*/ 111 h 10000"/>
                <a:gd name="connsiteX1385" fmla="*/ 5092 w 10354"/>
                <a:gd name="connsiteY1385" fmla="*/ 103 h 10000"/>
                <a:gd name="connsiteX1386" fmla="*/ 5069 w 10354"/>
                <a:gd name="connsiteY1386" fmla="*/ 77 h 10000"/>
                <a:gd name="connsiteX1387" fmla="*/ 5051 w 10354"/>
                <a:gd name="connsiteY1387" fmla="*/ 26 h 10000"/>
                <a:gd name="connsiteX1388" fmla="*/ 5041 w 10354"/>
                <a:gd name="connsiteY1388" fmla="*/ 34 h 10000"/>
                <a:gd name="connsiteX1389" fmla="*/ 5037 w 10354"/>
                <a:gd name="connsiteY1389" fmla="*/ 34 h 10000"/>
                <a:gd name="connsiteX1390" fmla="*/ 5037 w 10354"/>
                <a:gd name="connsiteY1390" fmla="*/ 26 h 10000"/>
                <a:gd name="connsiteX1391" fmla="*/ 5037 w 10354"/>
                <a:gd name="connsiteY1391" fmla="*/ 9 h 10000"/>
                <a:gd name="connsiteX1392" fmla="*/ 5023 w 10354"/>
                <a:gd name="connsiteY1392" fmla="*/ 0 h 10000"/>
                <a:gd name="connsiteX1393" fmla="*/ 5009 w 10354"/>
                <a:gd name="connsiteY1393" fmla="*/ 9 h 10000"/>
                <a:gd name="connsiteX1394" fmla="*/ 4995 w 10354"/>
                <a:gd name="connsiteY1394" fmla="*/ 34 h 10000"/>
                <a:gd name="connsiteX1395" fmla="*/ 4991 w 10354"/>
                <a:gd name="connsiteY1395" fmla="*/ 60 h 10000"/>
                <a:gd name="connsiteX1396" fmla="*/ 4982 w 10354"/>
                <a:gd name="connsiteY1396" fmla="*/ 60 h 10000"/>
                <a:gd name="connsiteX1397" fmla="*/ 4949 w 10354"/>
                <a:gd name="connsiteY1397" fmla="*/ 51 h 10000"/>
                <a:gd name="connsiteX1398" fmla="*/ 4949 w 10354"/>
                <a:gd name="connsiteY1398" fmla="*/ 85 h 10000"/>
                <a:gd name="connsiteX1399" fmla="*/ 4903 w 10354"/>
                <a:gd name="connsiteY1399" fmla="*/ 197 h 10000"/>
                <a:gd name="connsiteX1400" fmla="*/ 4899 w 10354"/>
                <a:gd name="connsiteY1400" fmla="*/ 239 h 10000"/>
                <a:gd name="connsiteX1401" fmla="*/ 4871 w 10354"/>
                <a:gd name="connsiteY1401" fmla="*/ 274 h 10000"/>
                <a:gd name="connsiteX1402" fmla="*/ 4871 w 10354"/>
                <a:gd name="connsiteY1402" fmla="*/ 282 h 10000"/>
                <a:gd name="connsiteX1403" fmla="*/ 4834 w 10354"/>
                <a:gd name="connsiteY1403" fmla="*/ 376 h 10000"/>
                <a:gd name="connsiteX1404" fmla="*/ 4829 w 10354"/>
                <a:gd name="connsiteY1404" fmla="*/ 402 h 10000"/>
                <a:gd name="connsiteX1405" fmla="*/ 4834 w 10354"/>
                <a:gd name="connsiteY1405" fmla="*/ 410 h 10000"/>
                <a:gd name="connsiteX1406" fmla="*/ 4829 w 10354"/>
                <a:gd name="connsiteY1406" fmla="*/ 436 h 10000"/>
                <a:gd name="connsiteX1407" fmla="*/ 4825 w 10354"/>
                <a:gd name="connsiteY1407" fmla="*/ 436 h 10000"/>
                <a:gd name="connsiteX1408" fmla="*/ 4825 w 10354"/>
                <a:gd name="connsiteY1408" fmla="*/ 444 h 10000"/>
                <a:gd name="connsiteX1409" fmla="*/ 4811 w 10354"/>
                <a:gd name="connsiteY1409" fmla="*/ 496 h 10000"/>
                <a:gd name="connsiteX1410" fmla="*/ 4811 w 10354"/>
                <a:gd name="connsiteY1410" fmla="*/ 496 h 10000"/>
                <a:gd name="connsiteX1411" fmla="*/ 4811 w 10354"/>
                <a:gd name="connsiteY1411" fmla="*/ 521 h 10000"/>
                <a:gd name="connsiteX1412" fmla="*/ 4816 w 10354"/>
                <a:gd name="connsiteY1412" fmla="*/ 530 h 10000"/>
                <a:gd name="connsiteX1413" fmla="*/ 4834 w 10354"/>
                <a:gd name="connsiteY1413" fmla="*/ 547 h 10000"/>
                <a:gd name="connsiteX1414" fmla="*/ 4834 w 10354"/>
                <a:gd name="connsiteY1414" fmla="*/ 581 h 10000"/>
                <a:gd name="connsiteX1415" fmla="*/ 4843 w 10354"/>
                <a:gd name="connsiteY1415" fmla="*/ 581 h 10000"/>
                <a:gd name="connsiteX1416" fmla="*/ 4843 w 10354"/>
                <a:gd name="connsiteY1416" fmla="*/ 598 h 10000"/>
                <a:gd name="connsiteX1417" fmla="*/ 4829 w 10354"/>
                <a:gd name="connsiteY1417" fmla="*/ 598 h 10000"/>
                <a:gd name="connsiteX1418" fmla="*/ 4829 w 10354"/>
                <a:gd name="connsiteY1418" fmla="*/ 573 h 10000"/>
                <a:gd name="connsiteX1419" fmla="*/ 4829 w 10354"/>
                <a:gd name="connsiteY1419" fmla="*/ 632 h 10000"/>
                <a:gd name="connsiteX1420" fmla="*/ 4829 w 10354"/>
                <a:gd name="connsiteY1420" fmla="*/ 632 h 10000"/>
                <a:gd name="connsiteX1421" fmla="*/ 4829 w 10354"/>
                <a:gd name="connsiteY1421" fmla="*/ 650 h 10000"/>
                <a:gd name="connsiteX1422" fmla="*/ 4774 w 10354"/>
                <a:gd name="connsiteY1422" fmla="*/ 684 h 10000"/>
                <a:gd name="connsiteX1423" fmla="*/ 4756 w 10354"/>
                <a:gd name="connsiteY1423" fmla="*/ 684 h 10000"/>
                <a:gd name="connsiteX1424" fmla="*/ 4737 w 10354"/>
                <a:gd name="connsiteY1424" fmla="*/ 692 h 10000"/>
                <a:gd name="connsiteX1425" fmla="*/ 4677 w 10354"/>
                <a:gd name="connsiteY1425" fmla="*/ 667 h 10000"/>
                <a:gd name="connsiteX1426" fmla="*/ 4682 w 10354"/>
                <a:gd name="connsiteY1426" fmla="*/ 692 h 10000"/>
                <a:gd name="connsiteX1427" fmla="*/ 4682 w 10354"/>
                <a:gd name="connsiteY1427" fmla="*/ 709 h 10000"/>
                <a:gd name="connsiteX1428" fmla="*/ 4691 w 10354"/>
                <a:gd name="connsiteY1428" fmla="*/ 718 h 10000"/>
                <a:gd name="connsiteX1429" fmla="*/ 4691 w 10354"/>
                <a:gd name="connsiteY1429" fmla="*/ 744 h 10000"/>
                <a:gd name="connsiteX1430" fmla="*/ 4700 w 10354"/>
                <a:gd name="connsiteY1430" fmla="*/ 744 h 10000"/>
                <a:gd name="connsiteX1431" fmla="*/ 4714 w 10354"/>
                <a:gd name="connsiteY1431" fmla="*/ 769 h 10000"/>
                <a:gd name="connsiteX1432" fmla="*/ 4710 w 10354"/>
                <a:gd name="connsiteY1432" fmla="*/ 786 h 10000"/>
                <a:gd name="connsiteX1433" fmla="*/ 4737 w 10354"/>
                <a:gd name="connsiteY1433" fmla="*/ 786 h 10000"/>
                <a:gd name="connsiteX1434" fmla="*/ 4742 w 10354"/>
                <a:gd name="connsiteY1434" fmla="*/ 795 h 10000"/>
                <a:gd name="connsiteX1435" fmla="*/ 4742 w 10354"/>
                <a:gd name="connsiteY1435" fmla="*/ 803 h 10000"/>
                <a:gd name="connsiteX1436" fmla="*/ 4737 w 10354"/>
                <a:gd name="connsiteY1436" fmla="*/ 846 h 10000"/>
                <a:gd name="connsiteX1437" fmla="*/ 4737 w 10354"/>
                <a:gd name="connsiteY1437" fmla="*/ 880 h 10000"/>
                <a:gd name="connsiteX1438" fmla="*/ 4737 w 10354"/>
                <a:gd name="connsiteY1438" fmla="*/ 906 h 10000"/>
                <a:gd name="connsiteX1439" fmla="*/ 4724 w 10354"/>
                <a:gd name="connsiteY1439" fmla="*/ 897 h 10000"/>
                <a:gd name="connsiteX1440" fmla="*/ 4724 w 10354"/>
                <a:gd name="connsiteY1440" fmla="*/ 872 h 10000"/>
                <a:gd name="connsiteX1441" fmla="*/ 4714 w 10354"/>
                <a:gd name="connsiteY1441" fmla="*/ 855 h 10000"/>
                <a:gd name="connsiteX1442" fmla="*/ 4691 w 10354"/>
                <a:gd name="connsiteY1442" fmla="*/ 846 h 10000"/>
                <a:gd name="connsiteX1443" fmla="*/ 4691 w 10354"/>
                <a:gd name="connsiteY1443" fmla="*/ 846 h 10000"/>
                <a:gd name="connsiteX1444" fmla="*/ 4696 w 10354"/>
                <a:gd name="connsiteY1444" fmla="*/ 821 h 10000"/>
                <a:gd name="connsiteX1445" fmla="*/ 4691 w 10354"/>
                <a:gd name="connsiteY1445" fmla="*/ 803 h 10000"/>
                <a:gd name="connsiteX1446" fmla="*/ 4668 w 10354"/>
                <a:gd name="connsiteY1446" fmla="*/ 821 h 10000"/>
                <a:gd name="connsiteX1447" fmla="*/ 4668 w 10354"/>
                <a:gd name="connsiteY1447" fmla="*/ 786 h 10000"/>
                <a:gd name="connsiteX1448" fmla="*/ 4664 w 10354"/>
                <a:gd name="connsiteY1448" fmla="*/ 786 h 10000"/>
                <a:gd name="connsiteX1449" fmla="*/ 4622 w 10354"/>
                <a:gd name="connsiteY1449" fmla="*/ 846 h 10000"/>
                <a:gd name="connsiteX1450" fmla="*/ 4627 w 10354"/>
                <a:gd name="connsiteY1450" fmla="*/ 872 h 10000"/>
                <a:gd name="connsiteX1451" fmla="*/ 4622 w 10354"/>
                <a:gd name="connsiteY1451" fmla="*/ 880 h 10000"/>
                <a:gd name="connsiteX1452" fmla="*/ 4622 w 10354"/>
                <a:gd name="connsiteY1452" fmla="*/ 880 h 10000"/>
                <a:gd name="connsiteX1453" fmla="*/ 4618 w 10354"/>
                <a:gd name="connsiteY1453" fmla="*/ 872 h 10000"/>
                <a:gd name="connsiteX1454" fmla="*/ 4604 w 10354"/>
                <a:gd name="connsiteY1454" fmla="*/ 880 h 10000"/>
                <a:gd name="connsiteX1455" fmla="*/ 4594 w 10354"/>
                <a:gd name="connsiteY1455" fmla="*/ 906 h 10000"/>
                <a:gd name="connsiteX1456" fmla="*/ 4604 w 10354"/>
                <a:gd name="connsiteY1456" fmla="*/ 906 h 10000"/>
                <a:gd name="connsiteX1457" fmla="*/ 4608 w 10354"/>
                <a:gd name="connsiteY1457" fmla="*/ 906 h 10000"/>
                <a:gd name="connsiteX1458" fmla="*/ 4608 w 10354"/>
                <a:gd name="connsiteY1458" fmla="*/ 932 h 10000"/>
                <a:gd name="connsiteX1459" fmla="*/ 4604 w 10354"/>
                <a:gd name="connsiteY1459" fmla="*/ 932 h 10000"/>
                <a:gd name="connsiteX1460" fmla="*/ 4590 w 10354"/>
                <a:gd name="connsiteY1460" fmla="*/ 932 h 10000"/>
                <a:gd name="connsiteX1461" fmla="*/ 4567 w 10354"/>
                <a:gd name="connsiteY1461" fmla="*/ 957 h 10000"/>
                <a:gd name="connsiteX1462" fmla="*/ 4567 w 10354"/>
                <a:gd name="connsiteY1462" fmla="*/ 932 h 10000"/>
                <a:gd name="connsiteX1463" fmla="*/ 4567 w 10354"/>
                <a:gd name="connsiteY1463" fmla="*/ 923 h 10000"/>
                <a:gd name="connsiteX1464" fmla="*/ 4562 w 10354"/>
                <a:gd name="connsiteY1464" fmla="*/ 932 h 10000"/>
                <a:gd name="connsiteX1465" fmla="*/ 4548 w 10354"/>
                <a:gd name="connsiteY1465" fmla="*/ 957 h 10000"/>
                <a:gd name="connsiteX1466" fmla="*/ 4544 w 10354"/>
                <a:gd name="connsiteY1466" fmla="*/ 957 h 10000"/>
                <a:gd name="connsiteX1467" fmla="*/ 4521 w 10354"/>
                <a:gd name="connsiteY1467" fmla="*/ 983 h 10000"/>
                <a:gd name="connsiteX1468" fmla="*/ 4521 w 10354"/>
                <a:gd name="connsiteY1468" fmla="*/ 983 h 10000"/>
                <a:gd name="connsiteX1469" fmla="*/ 4530 w 10354"/>
                <a:gd name="connsiteY1469" fmla="*/ 957 h 10000"/>
                <a:gd name="connsiteX1470" fmla="*/ 4535 w 10354"/>
                <a:gd name="connsiteY1470" fmla="*/ 932 h 10000"/>
                <a:gd name="connsiteX1471" fmla="*/ 4521 w 10354"/>
                <a:gd name="connsiteY1471" fmla="*/ 932 h 10000"/>
                <a:gd name="connsiteX1472" fmla="*/ 4516 w 10354"/>
                <a:gd name="connsiteY1472" fmla="*/ 923 h 10000"/>
                <a:gd name="connsiteX1473" fmla="*/ 4516 w 10354"/>
                <a:gd name="connsiteY1473" fmla="*/ 932 h 10000"/>
                <a:gd name="connsiteX1474" fmla="*/ 4488 w 10354"/>
                <a:gd name="connsiteY1474" fmla="*/ 940 h 10000"/>
                <a:gd name="connsiteX1475" fmla="*/ 4484 w 10354"/>
                <a:gd name="connsiteY1475" fmla="*/ 983 h 10000"/>
                <a:gd name="connsiteX1476" fmla="*/ 4470 w 10354"/>
                <a:gd name="connsiteY1476" fmla="*/ 983 h 10000"/>
                <a:gd name="connsiteX1477" fmla="*/ 4470 w 10354"/>
                <a:gd name="connsiteY1477" fmla="*/ 966 h 10000"/>
                <a:gd name="connsiteX1478" fmla="*/ 4488 w 10354"/>
                <a:gd name="connsiteY1478" fmla="*/ 923 h 10000"/>
                <a:gd name="connsiteX1479" fmla="*/ 4493 w 10354"/>
                <a:gd name="connsiteY1479" fmla="*/ 880 h 10000"/>
                <a:gd name="connsiteX1480" fmla="*/ 4475 w 10354"/>
                <a:gd name="connsiteY1480" fmla="*/ 846 h 10000"/>
                <a:gd name="connsiteX1481" fmla="*/ 4442 w 10354"/>
                <a:gd name="connsiteY1481" fmla="*/ 855 h 10000"/>
                <a:gd name="connsiteX1482" fmla="*/ 4433 w 10354"/>
                <a:gd name="connsiteY1482" fmla="*/ 855 h 10000"/>
                <a:gd name="connsiteX1483" fmla="*/ 4433 w 10354"/>
                <a:gd name="connsiteY1483" fmla="*/ 880 h 10000"/>
                <a:gd name="connsiteX1484" fmla="*/ 4401 w 10354"/>
                <a:gd name="connsiteY1484" fmla="*/ 855 h 10000"/>
                <a:gd name="connsiteX1485" fmla="*/ 4396 w 10354"/>
                <a:gd name="connsiteY1485" fmla="*/ 872 h 10000"/>
                <a:gd name="connsiteX1486" fmla="*/ 4382 w 10354"/>
                <a:gd name="connsiteY1486" fmla="*/ 897 h 10000"/>
                <a:gd name="connsiteX1487" fmla="*/ 4373 w 10354"/>
                <a:gd name="connsiteY1487" fmla="*/ 872 h 10000"/>
                <a:gd name="connsiteX1488" fmla="*/ 4341 w 10354"/>
                <a:gd name="connsiteY1488" fmla="*/ 872 h 10000"/>
                <a:gd name="connsiteX1489" fmla="*/ 4336 w 10354"/>
                <a:gd name="connsiteY1489" fmla="*/ 880 h 10000"/>
                <a:gd name="connsiteX1490" fmla="*/ 4346 w 10354"/>
                <a:gd name="connsiteY1490" fmla="*/ 897 h 10000"/>
                <a:gd name="connsiteX1491" fmla="*/ 4346 w 10354"/>
                <a:gd name="connsiteY1491" fmla="*/ 897 h 10000"/>
                <a:gd name="connsiteX1492" fmla="*/ 4313 w 10354"/>
                <a:gd name="connsiteY1492" fmla="*/ 906 h 10000"/>
                <a:gd name="connsiteX1493" fmla="*/ 4313 w 10354"/>
                <a:gd name="connsiteY1493" fmla="*/ 906 h 10000"/>
                <a:gd name="connsiteX1494" fmla="*/ 4313 w 10354"/>
                <a:gd name="connsiteY1494" fmla="*/ 880 h 10000"/>
                <a:gd name="connsiteX1495" fmla="*/ 4309 w 10354"/>
                <a:gd name="connsiteY1495" fmla="*/ 897 h 10000"/>
                <a:gd name="connsiteX1496" fmla="*/ 4295 w 10354"/>
                <a:gd name="connsiteY1496" fmla="*/ 923 h 10000"/>
                <a:gd name="connsiteX1497" fmla="*/ 4286 w 10354"/>
                <a:gd name="connsiteY1497" fmla="*/ 897 h 10000"/>
                <a:gd name="connsiteX1498" fmla="*/ 4281 w 10354"/>
                <a:gd name="connsiteY1498" fmla="*/ 906 h 10000"/>
                <a:gd name="connsiteX1499" fmla="*/ 4281 w 10354"/>
                <a:gd name="connsiteY1499" fmla="*/ 940 h 10000"/>
                <a:gd name="connsiteX1500" fmla="*/ 4286 w 10354"/>
                <a:gd name="connsiteY1500" fmla="*/ 957 h 10000"/>
                <a:gd name="connsiteX1501" fmla="*/ 4309 w 10354"/>
                <a:gd name="connsiteY1501" fmla="*/ 932 h 10000"/>
                <a:gd name="connsiteX1502" fmla="*/ 4313 w 10354"/>
                <a:gd name="connsiteY1502" fmla="*/ 957 h 10000"/>
                <a:gd name="connsiteX1503" fmla="*/ 4313 w 10354"/>
                <a:gd name="connsiteY1503" fmla="*/ 966 h 10000"/>
                <a:gd name="connsiteX1504" fmla="*/ 4323 w 10354"/>
                <a:gd name="connsiteY1504" fmla="*/ 966 h 10000"/>
                <a:gd name="connsiteX1505" fmla="*/ 4323 w 10354"/>
                <a:gd name="connsiteY1505" fmla="*/ 940 h 10000"/>
                <a:gd name="connsiteX1506" fmla="*/ 4327 w 10354"/>
                <a:gd name="connsiteY1506" fmla="*/ 940 h 10000"/>
                <a:gd name="connsiteX1507" fmla="*/ 4327 w 10354"/>
                <a:gd name="connsiteY1507" fmla="*/ 957 h 10000"/>
                <a:gd name="connsiteX1508" fmla="*/ 4327 w 10354"/>
                <a:gd name="connsiteY1508" fmla="*/ 966 h 10000"/>
                <a:gd name="connsiteX1509" fmla="*/ 4323 w 10354"/>
                <a:gd name="connsiteY1509" fmla="*/ 991 h 10000"/>
                <a:gd name="connsiteX1510" fmla="*/ 4207 w 10354"/>
                <a:gd name="connsiteY1510" fmla="*/ 1060 h 10000"/>
                <a:gd name="connsiteX1511" fmla="*/ 4207 w 10354"/>
                <a:gd name="connsiteY1511" fmla="*/ 1060 h 10000"/>
                <a:gd name="connsiteX1512" fmla="*/ 4203 w 10354"/>
                <a:gd name="connsiteY1512" fmla="*/ 1068 h 10000"/>
                <a:gd name="connsiteX1513" fmla="*/ 4203 w 10354"/>
                <a:gd name="connsiteY1513" fmla="*/ 1094 h 10000"/>
                <a:gd name="connsiteX1514" fmla="*/ 4203 w 10354"/>
                <a:gd name="connsiteY1514" fmla="*/ 1094 h 10000"/>
                <a:gd name="connsiteX1515" fmla="*/ 4189 w 10354"/>
                <a:gd name="connsiteY1515" fmla="*/ 1094 h 10000"/>
                <a:gd name="connsiteX1516" fmla="*/ 4166 w 10354"/>
                <a:gd name="connsiteY1516" fmla="*/ 1103 h 10000"/>
                <a:gd name="connsiteX1517" fmla="*/ 4152 w 10354"/>
                <a:gd name="connsiteY1517" fmla="*/ 1094 h 10000"/>
                <a:gd name="connsiteX1518" fmla="*/ 4134 w 10354"/>
                <a:gd name="connsiteY1518" fmla="*/ 1120 h 10000"/>
                <a:gd name="connsiteX1519" fmla="*/ 4106 w 10354"/>
                <a:gd name="connsiteY1519" fmla="*/ 1120 h 10000"/>
                <a:gd name="connsiteX1520" fmla="*/ 4092 w 10354"/>
                <a:gd name="connsiteY1520" fmla="*/ 1154 h 10000"/>
                <a:gd name="connsiteX1521" fmla="*/ 4106 w 10354"/>
                <a:gd name="connsiteY1521" fmla="*/ 1171 h 10000"/>
                <a:gd name="connsiteX1522" fmla="*/ 4078 w 10354"/>
                <a:gd name="connsiteY1522" fmla="*/ 1179 h 10000"/>
                <a:gd name="connsiteX1523" fmla="*/ 4065 w 10354"/>
                <a:gd name="connsiteY1523" fmla="*/ 1205 h 10000"/>
                <a:gd name="connsiteX1524" fmla="*/ 4046 w 10354"/>
                <a:gd name="connsiteY1524" fmla="*/ 1179 h 10000"/>
                <a:gd name="connsiteX1525" fmla="*/ 4041 w 10354"/>
                <a:gd name="connsiteY1525" fmla="*/ 1197 h 10000"/>
                <a:gd name="connsiteX1526" fmla="*/ 4028 w 10354"/>
                <a:gd name="connsiteY1526" fmla="*/ 1205 h 10000"/>
                <a:gd name="connsiteX1527" fmla="*/ 4028 w 10354"/>
                <a:gd name="connsiteY1527" fmla="*/ 1205 h 10000"/>
                <a:gd name="connsiteX1528" fmla="*/ 4032 w 10354"/>
                <a:gd name="connsiteY1528" fmla="*/ 1205 h 10000"/>
                <a:gd name="connsiteX1529" fmla="*/ 4032 w 10354"/>
                <a:gd name="connsiteY1529" fmla="*/ 1231 h 10000"/>
                <a:gd name="connsiteX1530" fmla="*/ 4014 w 10354"/>
                <a:gd name="connsiteY1530" fmla="*/ 1239 h 10000"/>
                <a:gd name="connsiteX1531" fmla="*/ 4014 w 10354"/>
                <a:gd name="connsiteY1531" fmla="*/ 1256 h 10000"/>
                <a:gd name="connsiteX1532" fmla="*/ 4000 w 10354"/>
                <a:gd name="connsiteY1532" fmla="*/ 1265 h 10000"/>
                <a:gd name="connsiteX1533" fmla="*/ 3986 w 10354"/>
                <a:gd name="connsiteY1533" fmla="*/ 1308 h 10000"/>
                <a:gd name="connsiteX1534" fmla="*/ 3972 w 10354"/>
                <a:gd name="connsiteY1534" fmla="*/ 1316 h 10000"/>
                <a:gd name="connsiteX1535" fmla="*/ 3972 w 10354"/>
                <a:gd name="connsiteY1535" fmla="*/ 1325 h 10000"/>
                <a:gd name="connsiteX1536" fmla="*/ 3972 w 10354"/>
                <a:gd name="connsiteY1536" fmla="*/ 1342 h 10000"/>
                <a:gd name="connsiteX1537" fmla="*/ 3968 w 10354"/>
                <a:gd name="connsiteY1537" fmla="*/ 1350 h 10000"/>
                <a:gd name="connsiteX1538" fmla="*/ 3954 w 10354"/>
                <a:gd name="connsiteY1538" fmla="*/ 1368 h 10000"/>
                <a:gd name="connsiteX1539" fmla="*/ 3945 w 10354"/>
                <a:gd name="connsiteY1539" fmla="*/ 1350 h 10000"/>
                <a:gd name="connsiteX1540" fmla="*/ 3908 w 10354"/>
                <a:gd name="connsiteY1540" fmla="*/ 1342 h 10000"/>
                <a:gd name="connsiteX1541" fmla="*/ 3894 w 10354"/>
                <a:gd name="connsiteY1541" fmla="*/ 1368 h 10000"/>
                <a:gd name="connsiteX1542" fmla="*/ 3922 w 10354"/>
                <a:gd name="connsiteY1542" fmla="*/ 1393 h 10000"/>
                <a:gd name="connsiteX1543" fmla="*/ 3945 w 10354"/>
                <a:gd name="connsiteY1543" fmla="*/ 1393 h 10000"/>
                <a:gd name="connsiteX1544" fmla="*/ 3940 w 10354"/>
                <a:gd name="connsiteY1544" fmla="*/ 1419 h 10000"/>
                <a:gd name="connsiteX1545" fmla="*/ 3931 w 10354"/>
                <a:gd name="connsiteY1545" fmla="*/ 1427 h 10000"/>
                <a:gd name="connsiteX1546" fmla="*/ 3926 w 10354"/>
                <a:gd name="connsiteY1546" fmla="*/ 1427 h 10000"/>
                <a:gd name="connsiteX1547" fmla="*/ 3922 w 10354"/>
                <a:gd name="connsiteY1547" fmla="*/ 1419 h 10000"/>
                <a:gd name="connsiteX1548" fmla="*/ 3912 w 10354"/>
                <a:gd name="connsiteY1548" fmla="*/ 1427 h 10000"/>
                <a:gd name="connsiteX1549" fmla="*/ 3912 w 10354"/>
                <a:gd name="connsiteY1549" fmla="*/ 1444 h 10000"/>
                <a:gd name="connsiteX1550" fmla="*/ 3894 w 10354"/>
                <a:gd name="connsiteY1550" fmla="*/ 1513 h 10000"/>
                <a:gd name="connsiteX1551" fmla="*/ 3885 w 10354"/>
                <a:gd name="connsiteY1551" fmla="*/ 1513 h 10000"/>
                <a:gd name="connsiteX1552" fmla="*/ 3880 w 10354"/>
                <a:gd name="connsiteY1552" fmla="*/ 1538 h 10000"/>
                <a:gd name="connsiteX1553" fmla="*/ 3885 w 10354"/>
                <a:gd name="connsiteY1553" fmla="*/ 1564 h 10000"/>
                <a:gd name="connsiteX1554" fmla="*/ 3880 w 10354"/>
                <a:gd name="connsiteY1554" fmla="*/ 1581 h 10000"/>
                <a:gd name="connsiteX1555" fmla="*/ 3871 w 10354"/>
                <a:gd name="connsiteY1555" fmla="*/ 1538 h 10000"/>
                <a:gd name="connsiteX1556" fmla="*/ 3853 w 10354"/>
                <a:gd name="connsiteY1556" fmla="*/ 1530 h 10000"/>
                <a:gd name="connsiteX1557" fmla="*/ 3853 w 10354"/>
                <a:gd name="connsiteY1557" fmla="*/ 1504 h 10000"/>
                <a:gd name="connsiteX1558" fmla="*/ 3834 w 10354"/>
                <a:gd name="connsiteY1558" fmla="*/ 1487 h 10000"/>
                <a:gd name="connsiteX1559" fmla="*/ 3834 w 10354"/>
                <a:gd name="connsiteY1559" fmla="*/ 1487 h 10000"/>
                <a:gd name="connsiteX1560" fmla="*/ 3839 w 10354"/>
                <a:gd name="connsiteY1560" fmla="*/ 1513 h 10000"/>
                <a:gd name="connsiteX1561" fmla="*/ 3820 w 10354"/>
                <a:gd name="connsiteY1561" fmla="*/ 1538 h 10000"/>
                <a:gd name="connsiteX1562" fmla="*/ 3820 w 10354"/>
                <a:gd name="connsiteY1562" fmla="*/ 1556 h 10000"/>
                <a:gd name="connsiteX1563" fmla="*/ 3820 w 10354"/>
                <a:gd name="connsiteY1563" fmla="*/ 1564 h 10000"/>
                <a:gd name="connsiteX1564" fmla="*/ 3820 w 10354"/>
                <a:gd name="connsiteY1564" fmla="*/ 1581 h 10000"/>
                <a:gd name="connsiteX1565" fmla="*/ 3853 w 10354"/>
                <a:gd name="connsiteY1565" fmla="*/ 1581 h 10000"/>
                <a:gd name="connsiteX1566" fmla="*/ 3857 w 10354"/>
                <a:gd name="connsiteY1566" fmla="*/ 1598 h 10000"/>
                <a:gd name="connsiteX1567" fmla="*/ 3880 w 10354"/>
                <a:gd name="connsiteY1567" fmla="*/ 1615 h 10000"/>
                <a:gd name="connsiteX1568" fmla="*/ 3871 w 10354"/>
                <a:gd name="connsiteY1568" fmla="*/ 1615 h 10000"/>
                <a:gd name="connsiteX1569" fmla="*/ 3871 w 10354"/>
                <a:gd name="connsiteY1569" fmla="*/ 1641 h 10000"/>
                <a:gd name="connsiteX1570" fmla="*/ 3880 w 10354"/>
                <a:gd name="connsiteY1570" fmla="*/ 1641 h 10000"/>
                <a:gd name="connsiteX1571" fmla="*/ 3871 w 10354"/>
                <a:gd name="connsiteY1571" fmla="*/ 1650 h 10000"/>
                <a:gd name="connsiteX1572" fmla="*/ 3857 w 10354"/>
                <a:gd name="connsiteY1572" fmla="*/ 1650 h 10000"/>
                <a:gd name="connsiteX1573" fmla="*/ 3853 w 10354"/>
                <a:gd name="connsiteY1573" fmla="*/ 1650 h 10000"/>
                <a:gd name="connsiteX1574" fmla="*/ 3839 w 10354"/>
                <a:gd name="connsiteY1574" fmla="*/ 1667 h 10000"/>
                <a:gd name="connsiteX1575" fmla="*/ 3848 w 10354"/>
                <a:gd name="connsiteY1575" fmla="*/ 1692 h 10000"/>
                <a:gd name="connsiteX1576" fmla="*/ 3834 w 10354"/>
                <a:gd name="connsiteY1576" fmla="*/ 1692 h 10000"/>
                <a:gd name="connsiteX1577" fmla="*/ 3825 w 10354"/>
                <a:gd name="connsiteY1577" fmla="*/ 1692 h 10000"/>
                <a:gd name="connsiteX1578" fmla="*/ 3825 w 10354"/>
                <a:gd name="connsiteY1578" fmla="*/ 1718 h 10000"/>
                <a:gd name="connsiteX1579" fmla="*/ 3839 w 10354"/>
                <a:gd name="connsiteY1579" fmla="*/ 1726 h 10000"/>
                <a:gd name="connsiteX1580" fmla="*/ 3880 w 10354"/>
                <a:gd name="connsiteY1580" fmla="*/ 1752 h 10000"/>
                <a:gd name="connsiteX1581" fmla="*/ 3894 w 10354"/>
                <a:gd name="connsiteY1581" fmla="*/ 1829 h 10000"/>
                <a:gd name="connsiteX1582" fmla="*/ 3899 w 10354"/>
                <a:gd name="connsiteY1582" fmla="*/ 1838 h 10000"/>
                <a:gd name="connsiteX1583" fmla="*/ 3894 w 10354"/>
                <a:gd name="connsiteY1583" fmla="*/ 1855 h 10000"/>
                <a:gd name="connsiteX1584" fmla="*/ 3880 w 10354"/>
                <a:gd name="connsiteY1584" fmla="*/ 1838 h 10000"/>
                <a:gd name="connsiteX1585" fmla="*/ 3880 w 10354"/>
                <a:gd name="connsiteY1585" fmla="*/ 1855 h 10000"/>
                <a:gd name="connsiteX1586" fmla="*/ 3880 w 10354"/>
                <a:gd name="connsiteY1586" fmla="*/ 1863 h 10000"/>
                <a:gd name="connsiteX1587" fmla="*/ 3871 w 10354"/>
                <a:gd name="connsiteY1587" fmla="*/ 1872 h 10000"/>
                <a:gd name="connsiteX1588" fmla="*/ 3880 w 10354"/>
                <a:gd name="connsiteY1588" fmla="*/ 1889 h 10000"/>
                <a:gd name="connsiteX1589" fmla="*/ 3885 w 10354"/>
                <a:gd name="connsiteY1589" fmla="*/ 1889 h 10000"/>
                <a:gd name="connsiteX1590" fmla="*/ 3880 w 10354"/>
                <a:gd name="connsiteY1590" fmla="*/ 1897 h 10000"/>
                <a:gd name="connsiteX1591" fmla="*/ 3871 w 10354"/>
                <a:gd name="connsiteY1591" fmla="*/ 1915 h 10000"/>
                <a:gd name="connsiteX1592" fmla="*/ 3848 w 10354"/>
                <a:gd name="connsiteY1592" fmla="*/ 1923 h 10000"/>
                <a:gd name="connsiteX1593" fmla="*/ 3825 w 10354"/>
                <a:gd name="connsiteY1593" fmla="*/ 1940 h 10000"/>
                <a:gd name="connsiteX1594" fmla="*/ 3811 w 10354"/>
                <a:gd name="connsiteY1594" fmla="*/ 1940 h 10000"/>
                <a:gd name="connsiteX1595" fmla="*/ 3806 w 10354"/>
                <a:gd name="connsiteY1595" fmla="*/ 1949 h 10000"/>
                <a:gd name="connsiteX1596" fmla="*/ 3797 w 10354"/>
                <a:gd name="connsiteY1596" fmla="*/ 1966 h 10000"/>
                <a:gd name="connsiteX1597" fmla="*/ 3788 w 10354"/>
                <a:gd name="connsiteY1597" fmla="*/ 1991 h 10000"/>
                <a:gd name="connsiteX1598" fmla="*/ 3765 w 10354"/>
                <a:gd name="connsiteY1598" fmla="*/ 1974 h 10000"/>
                <a:gd name="connsiteX1599" fmla="*/ 3760 w 10354"/>
                <a:gd name="connsiteY1599" fmla="*/ 1966 h 10000"/>
                <a:gd name="connsiteX1600" fmla="*/ 3760 w 10354"/>
                <a:gd name="connsiteY1600" fmla="*/ 1966 h 10000"/>
                <a:gd name="connsiteX1601" fmla="*/ 3631 w 10354"/>
                <a:gd name="connsiteY1601" fmla="*/ 2009 h 10000"/>
                <a:gd name="connsiteX1602" fmla="*/ 3618 w 10354"/>
                <a:gd name="connsiteY1602" fmla="*/ 2000 h 10000"/>
                <a:gd name="connsiteX1603" fmla="*/ 3599 w 10354"/>
                <a:gd name="connsiteY1603" fmla="*/ 2009 h 10000"/>
                <a:gd name="connsiteX1604" fmla="*/ 3571 w 10354"/>
                <a:gd name="connsiteY1604" fmla="*/ 2000 h 10000"/>
                <a:gd name="connsiteX1605" fmla="*/ 3530 w 10354"/>
                <a:gd name="connsiteY1605" fmla="*/ 2026 h 10000"/>
                <a:gd name="connsiteX1606" fmla="*/ 3530 w 10354"/>
                <a:gd name="connsiteY1606" fmla="*/ 2034 h 10000"/>
                <a:gd name="connsiteX1607" fmla="*/ 3525 w 10354"/>
                <a:gd name="connsiteY1607" fmla="*/ 2051 h 10000"/>
                <a:gd name="connsiteX1608" fmla="*/ 3512 w 10354"/>
                <a:gd name="connsiteY1608" fmla="*/ 2034 h 10000"/>
                <a:gd name="connsiteX1609" fmla="*/ 3507 w 10354"/>
                <a:gd name="connsiteY1609" fmla="*/ 2034 h 10000"/>
                <a:gd name="connsiteX1610" fmla="*/ 3498 w 10354"/>
                <a:gd name="connsiteY1610" fmla="*/ 2051 h 10000"/>
                <a:gd name="connsiteX1611" fmla="*/ 3484 w 10354"/>
                <a:gd name="connsiteY1611" fmla="*/ 2060 h 10000"/>
                <a:gd name="connsiteX1612" fmla="*/ 3484 w 10354"/>
                <a:gd name="connsiteY1612" fmla="*/ 2085 h 10000"/>
                <a:gd name="connsiteX1613" fmla="*/ 3484 w 10354"/>
                <a:gd name="connsiteY1613" fmla="*/ 2103 h 10000"/>
                <a:gd name="connsiteX1614" fmla="*/ 3493 w 10354"/>
                <a:gd name="connsiteY1614" fmla="*/ 2103 h 10000"/>
                <a:gd name="connsiteX1615" fmla="*/ 3493 w 10354"/>
                <a:gd name="connsiteY1615" fmla="*/ 2085 h 10000"/>
                <a:gd name="connsiteX1616" fmla="*/ 3498 w 10354"/>
                <a:gd name="connsiteY1616" fmla="*/ 2085 h 10000"/>
                <a:gd name="connsiteX1617" fmla="*/ 3498 w 10354"/>
                <a:gd name="connsiteY1617" fmla="*/ 2111 h 10000"/>
                <a:gd name="connsiteX1618" fmla="*/ 3484 w 10354"/>
                <a:gd name="connsiteY1618" fmla="*/ 2120 h 10000"/>
                <a:gd name="connsiteX1619" fmla="*/ 3484 w 10354"/>
                <a:gd name="connsiteY1619" fmla="*/ 2145 h 10000"/>
                <a:gd name="connsiteX1620" fmla="*/ 3470 w 10354"/>
                <a:gd name="connsiteY1620" fmla="*/ 2137 h 10000"/>
                <a:gd name="connsiteX1621" fmla="*/ 3465 w 10354"/>
                <a:gd name="connsiteY1621" fmla="*/ 2145 h 10000"/>
                <a:gd name="connsiteX1622" fmla="*/ 3470 w 10354"/>
                <a:gd name="connsiteY1622" fmla="*/ 2171 h 10000"/>
                <a:gd name="connsiteX1623" fmla="*/ 3484 w 10354"/>
                <a:gd name="connsiteY1623" fmla="*/ 2171 h 10000"/>
                <a:gd name="connsiteX1624" fmla="*/ 3484 w 10354"/>
                <a:gd name="connsiteY1624" fmla="*/ 2197 h 10000"/>
                <a:gd name="connsiteX1625" fmla="*/ 3465 w 10354"/>
                <a:gd name="connsiteY1625" fmla="*/ 2214 h 10000"/>
                <a:gd name="connsiteX1626" fmla="*/ 3493 w 10354"/>
                <a:gd name="connsiteY1626" fmla="*/ 2248 h 10000"/>
                <a:gd name="connsiteX1627" fmla="*/ 3484 w 10354"/>
                <a:gd name="connsiteY1627" fmla="*/ 2256 h 10000"/>
                <a:gd name="connsiteX1628" fmla="*/ 3498 w 10354"/>
                <a:gd name="connsiteY1628" fmla="*/ 2274 h 10000"/>
                <a:gd name="connsiteX1629" fmla="*/ 3498 w 10354"/>
                <a:gd name="connsiteY1629" fmla="*/ 2256 h 10000"/>
                <a:gd name="connsiteX1630" fmla="*/ 3507 w 10354"/>
                <a:gd name="connsiteY1630" fmla="*/ 2308 h 10000"/>
                <a:gd name="connsiteX1631" fmla="*/ 3512 w 10354"/>
                <a:gd name="connsiteY1631" fmla="*/ 2325 h 10000"/>
                <a:gd name="connsiteX1632" fmla="*/ 3507 w 10354"/>
                <a:gd name="connsiteY1632" fmla="*/ 2333 h 10000"/>
                <a:gd name="connsiteX1633" fmla="*/ 3507 w 10354"/>
                <a:gd name="connsiteY1633" fmla="*/ 2359 h 10000"/>
                <a:gd name="connsiteX1634" fmla="*/ 3507 w 10354"/>
                <a:gd name="connsiteY1634" fmla="*/ 2376 h 10000"/>
                <a:gd name="connsiteX1635" fmla="*/ 3498 w 10354"/>
                <a:gd name="connsiteY1635" fmla="*/ 2410 h 10000"/>
                <a:gd name="connsiteX1636" fmla="*/ 3498 w 10354"/>
                <a:gd name="connsiteY1636" fmla="*/ 2436 h 10000"/>
                <a:gd name="connsiteX1637" fmla="*/ 3507 w 10354"/>
                <a:gd name="connsiteY1637" fmla="*/ 2462 h 10000"/>
                <a:gd name="connsiteX1638" fmla="*/ 3507 w 10354"/>
                <a:gd name="connsiteY1638" fmla="*/ 2496 h 10000"/>
                <a:gd name="connsiteX1639" fmla="*/ 3512 w 10354"/>
                <a:gd name="connsiteY1639" fmla="*/ 2521 h 10000"/>
                <a:gd name="connsiteX1640" fmla="*/ 3525 w 10354"/>
                <a:gd name="connsiteY1640" fmla="*/ 2556 h 10000"/>
                <a:gd name="connsiteX1641" fmla="*/ 3571 w 10354"/>
                <a:gd name="connsiteY1641" fmla="*/ 2573 h 10000"/>
                <a:gd name="connsiteX1642" fmla="*/ 3590 w 10354"/>
                <a:gd name="connsiteY1642" fmla="*/ 2598 h 10000"/>
                <a:gd name="connsiteX1643" fmla="*/ 3599 w 10354"/>
                <a:gd name="connsiteY1643" fmla="*/ 2598 h 10000"/>
                <a:gd name="connsiteX1644" fmla="*/ 3604 w 10354"/>
                <a:gd name="connsiteY1644" fmla="*/ 2632 h 10000"/>
                <a:gd name="connsiteX1645" fmla="*/ 3599 w 10354"/>
                <a:gd name="connsiteY1645" fmla="*/ 2658 h 10000"/>
                <a:gd name="connsiteX1646" fmla="*/ 3590 w 10354"/>
                <a:gd name="connsiteY1646" fmla="*/ 2667 h 10000"/>
                <a:gd name="connsiteX1647" fmla="*/ 3604 w 10354"/>
                <a:gd name="connsiteY1647" fmla="*/ 2667 h 10000"/>
                <a:gd name="connsiteX1648" fmla="*/ 3613 w 10354"/>
                <a:gd name="connsiteY1648" fmla="*/ 2692 h 10000"/>
                <a:gd name="connsiteX1649" fmla="*/ 3627 w 10354"/>
                <a:gd name="connsiteY1649" fmla="*/ 2735 h 10000"/>
                <a:gd name="connsiteX1650" fmla="*/ 3631 w 10354"/>
                <a:gd name="connsiteY1650" fmla="*/ 2744 h 10000"/>
                <a:gd name="connsiteX1651" fmla="*/ 3659 w 10354"/>
                <a:gd name="connsiteY1651" fmla="*/ 2761 h 10000"/>
                <a:gd name="connsiteX1652" fmla="*/ 3673 w 10354"/>
                <a:gd name="connsiteY1652" fmla="*/ 2769 h 10000"/>
                <a:gd name="connsiteX1653" fmla="*/ 3673 w 10354"/>
                <a:gd name="connsiteY1653" fmla="*/ 2761 h 10000"/>
                <a:gd name="connsiteX1654" fmla="*/ 3687 w 10354"/>
                <a:gd name="connsiteY1654" fmla="*/ 2829 h 10000"/>
                <a:gd name="connsiteX1655" fmla="*/ 3677 w 10354"/>
                <a:gd name="connsiteY1655" fmla="*/ 2897 h 10000"/>
                <a:gd name="connsiteX1656" fmla="*/ 3673 w 10354"/>
                <a:gd name="connsiteY1656" fmla="*/ 2915 h 10000"/>
                <a:gd name="connsiteX1657" fmla="*/ 3664 w 10354"/>
                <a:gd name="connsiteY1657" fmla="*/ 2957 h 10000"/>
                <a:gd name="connsiteX1658" fmla="*/ 3659 w 10354"/>
                <a:gd name="connsiteY1658" fmla="*/ 2983 h 10000"/>
                <a:gd name="connsiteX1659" fmla="*/ 3664 w 10354"/>
                <a:gd name="connsiteY1659" fmla="*/ 3017 h 10000"/>
                <a:gd name="connsiteX1660" fmla="*/ 3659 w 10354"/>
                <a:gd name="connsiteY1660" fmla="*/ 3043 h 10000"/>
                <a:gd name="connsiteX1661" fmla="*/ 3677 w 10354"/>
                <a:gd name="connsiteY1661" fmla="*/ 3094 h 10000"/>
                <a:gd name="connsiteX1662" fmla="*/ 3691 w 10354"/>
                <a:gd name="connsiteY1662" fmla="*/ 3282 h 10000"/>
                <a:gd name="connsiteX1663" fmla="*/ 3691 w 10354"/>
                <a:gd name="connsiteY1663" fmla="*/ 3308 h 10000"/>
                <a:gd name="connsiteX1664" fmla="*/ 3677 w 10354"/>
                <a:gd name="connsiteY1664" fmla="*/ 3342 h 10000"/>
                <a:gd name="connsiteX1665" fmla="*/ 3664 w 10354"/>
                <a:gd name="connsiteY1665" fmla="*/ 3342 h 10000"/>
                <a:gd name="connsiteX1666" fmla="*/ 3650 w 10354"/>
                <a:gd name="connsiteY1666" fmla="*/ 3342 h 10000"/>
                <a:gd name="connsiteX1667" fmla="*/ 3650 w 10354"/>
                <a:gd name="connsiteY1667" fmla="*/ 3350 h 10000"/>
                <a:gd name="connsiteX1668" fmla="*/ 3659 w 10354"/>
                <a:gd name="connsiteY1668" fmla="*/ 3402 h 10000"/>
                <a:gd name="connsiteX1669" fmla="*/ 3659 w 10354"/>
                <a:gd name="connsiteY1669" fmla="*/ 3419 h 10000"/>
                <a:gd name="connsiteX1670" fmla="*/ 3631 w 10354"/>
                <a:gd name="connsiteY1670" fmla="*/ 3402 h 10000"/>
                <a:gd name="connsiteX1671" fmla="*/ 3604 w 10354"/>
                <a:gd name="connsiteY1671" fmla="*/ 3393 h 10000"/>
                <a:gd name="connsiteX1672" fmla="*/ 3599 w 10354"/>
                <a:gd name="connsiteY1672" fmla="*/ 3368 h 10000"/>
                <a:gd name="connsiteX1673" fmla="*/ 3590 w 10354"/>
                <a:gd name="connsiteY1673" fmla="*/ 3239 h 10000"/>
                <a:gd name="connsiteX1674" fmla="*/ 3599 w 10354"/>
                <a:gd name="connsiteY1674" fmla="*/ 3179 h 10000"/>
                <a:gd name="connsiteX1675" fmla="*/ 3599 w 10354"/>
                <a:gd name="connsiteY1675" fmla="*/ 3171 h 10000"/>
                <a:gd name="connsiteX1676" fmla="*/ 3599 w 10354"/>
                <a:gd name="connsiteY1676" fmla="*/ 3009 h 10000"/>
                <a:gd name="connsiteX1677" fmla="*/ 3604 w 10354"/>
                <a:gd name="connsiteY1677" fmla="*/ 2983 h 10000"/>
                <a:gd name="connsiteX1678" fmla="*/ 3645 w 10354"/>
                <a:gd name="connsiteY1678" fmla="*/ 2932 h 10000"/>
                <a:gd name="connsiteX1679" fmla="*/ 3650 w 10354"/>
                <a:gd name="connsiteY1679" fmla="*/ 2872 h 10000"/>
                <a:gd name="connsiteX1680" fmla="*/ 3659 w 10354"/>
                <a:gd name="connsiteY1680" fmla="*/ 2855 h 10000"/>
                <a:gd name="connsiteX1681" fmla="*/ 3659 w 10354"/>
                <a:gd name="connsiteY1681" fmla="*/ 2821 h 10000"/>
                <a:gd name="connsiteX1682" fmla="*/ 3631 w 10354"/>
                <a:gd name="connsiteY1682" fmla="*/ 2795 h 10000"/>
                <a:gd name="connsiteX1683" fmla="*/ 3567 w 10354"/>
                <a:gd name="connsiteY1683" fmla="*/ 2821 h 10000"/>
                <a:gd name="connsiteX1684" fmla="*/ 3544 w 10354"/>
                <a:gd name="connsiteY1684" fmla="*/ 2795 h 10000"/>
                <a:gd name="connsiteX1685" fmla="*/ 3530 w 10354"/>
                <a:gd name="connsiteY1685" fmla="*/ 2769 h 10000"/>
                <a:gd name="connsiteX1686" fmla="*/ 3530 w 10354"/>
                <a:gd name="connsiteY1686" fmla="*/ 2786 h 10000"/>
                <a:gd name="connsiteX1687" fmla="*/ 3498 w 10354"/>
                <a:gd name="connsiteY1687" fmla="*/ 2692 h 10000"/>
                <a:gd name="connsiteX1688" fmla="*/ 3498 w 10354"/>
                <a:gd name="connsiteY1688" fmla="*/ 2667 h 10000"/>
                <a:gd name="connsiteX1689" fmla="*/ 3442 w 10354"/>
                <a:gd name="connsiteY1689" fmla="*/ 2607 h 10000"/>
                <a:gd name="connsiteX1690" fmla="*/ 3433 w 10354"/>
                <a:gd name="connsiteY1690" fmla="*/ 2581 h 10000"/>
                <a:gd name="connsiteX1691" fmla="*/ 3396 w 10354"/>
                <a:gd name="connsiteY1691" fmla="*/ 2556 h 10000"/>
                <a:gd name="connsiteX1692" fmla="*/ 3318 w 10354"/>
                <a:gd name="connsiteY1692" fmla="*/ 2556 h 10000"/>
                <a:gd name="connsiteX1693" fmla="*/ 3304 w 10354"/>
                <a:gd name="connsiteY1693" fmla="*/ 2607 h 10000"/>
                <a:gd name="connsiteX1694" fmla="*/ 3276 w 10354"/>
                <a:gd name="connsiteY1694" fmla="*/ 2632 h 10000"/>
                <a:gd name="connsiteX1695" fmla="*/ 3272 w 10354"/>
                <a:gd name="connsiteY1695" fmla="*/ 2667 h 10000"/>
                <a:gd name="connsiteX1696" fmla="*/ 3304 w 10354"/>
                <a:gd name="connsiteY1696" fmla="*/ 2667 h 10000"/>
                <a:gd name="connsiteX1697" fmla="*/ 3323 w 10354"/>
                <a:gd name="connsiteY1697" fmla="*/ 2692 h 10000"/>
                <a:gd name="connsiteX1698" fmla="*/ 3318 w 10354"/>
                <a:gd name="connsiteY1698" fmla="*/ 2735 h 10000"/>
                <a:gd name="connsiteX1699" fmla="*/ 3304 w 10354"/>
                <a:gd name="connsiteY1699" fmla="*/ 2761 h 10000"/>
                <a:gd name="connsiteX1700" fmla="*/ 3276 w 10354"/>
                <a:gd name="connsiteY1700" fmla="*/ 2769 h 10000"/>
                <a:gd name="connsiteX1701" fmla="*/ 3263 w 10354"/>
                <a:gd name="connsiteY1701" fmla="*/ 2795 h 10000"/>
                <a:gd name="connsiteX1702" fmla="*/ 3235 w 10354"/>
                <a:gd name="connsiteY1702" fmla="*/ 2803 h 10000"/>
                <a:gd name="connsiteX1703" fmla="*/ 3235 w 10354"/>
                <a:gd name="connsiteY1703" fmla="*/ 2786 h 10000"/>
                <a:gd name="connsiteX1704" fmla="*/ 3212 w 10354"/>
                <a:gd name="connsiteY1704" fmla="*/ 2709 h 10000"/>
                <a:gd name="connsiteX1705" fmla="*/ 3198 w 10354"/>
                <a:gd name="connsiteY1705" fmla="*/ 2709 h 10000"/>
                <a:gd name="connsiteX1706" fmla="*/ 3184 w 10354"/>
                <a:gd name="connsiteY1706" fmla="*/ 2735 h 10000"/>
                <a:gd name="connsiteX1707" fmla="*/ 3189 w 10354"/>
                <a:gd name="connsiteY1707" fmla="*/ 2761 h 10000"/>
                <a:gd name="connsiteX1708" fmla="*/ 3203 w 10354"/>
                <a:gd name="connsiteY1708" fmla="*/ 2855 h 10000"/>
                <a:gd name="connsiteX1709" fmla="*/ 3212 w 10354"/>
                <a:gd name="connsiteY1709" fmla="*/ 2872 h 10000"/>
                <a:gd name="connsiteX1710" fmla="*/ 3235 w 10354"/>
                <a:gd name="connsiteY1710" fmla="*/ 2906 h 10000"/>
                <a:gd name="connsiteX1711" fmla="*/ 3258 w 10354"/>
                <a:gd name="connsiteY1711" fmla="*/ 2915 h 10000"/>
                <a:gd name="connsiteX1712" fmla="*/ 3272 w 10354"/>
                <a:gd name="connsiteY1712" fmla="*/ 2957 h 10000"/>
                <a:gd name="connsiteX1713" fmla="*/ 3276 w 10354"/>
                <a:gd name="connsiteY1713" fmla="*/ 2957 h 10000"/>
                <a:gd name="connsiteX1714" fmla="*/ 3286 w 10354"/>
                <a:gd name="connsiteY1714" fmla="*/ 2966 h 10000"/>
                <a:gd name="connsiteX1715" fmla="*/ 3300 w 10354"/>
                <a:gd name="connsiteY1715" fmla="*/ 2957 h 10000"/>
                <a:gd name="connsiteX1716" fmla="*/ 3309 w 10354"/>
                <a:gd name="connsiteY1716" fmla="*/ 2932 h 10000"/>
                <a:gd name="connsiteX1717" fmla="*/ 3304 w 10354"/>
                <a:gd name="connsiteY1717" fmla="*/ 2966 h 10000"/>
                <a:gd name="connsiteX1718" fmla="*/ 3309 w 10354"/>
                <a:gd name="connsiteY1718" fmla="*/ 2983 h 10000"/>
                <a:gd name="connsiteX1719" fmla="*/ 3323 w 10354"/>
                <a:gd name="connsiteY1719" fmla="*/ 2966 h 10000"/>
                <a:gd name="connsiteX1720" fmla="*/ 3323 w 10354"/>
                <a:gd name="connsiteY1720" fmla="*/ 3043 h 10000"/>
                <a:gd name="connsiteX1721" fmla="*/ 3346 w 10354"/>
                <a:gd name="connsiteY1721" fmla="*/ 3068 h 10000"/>
                <a:gd name="connsiteX1722" fmla="*/ 3346 w 10354"/>
                <a:gd name="connsiteY1722" fmla="*/ 3094 h 10000"/>
                <a:gd name="connsiteX1723" fmla="*/ 3323 w 10354"/>
                <a:gd name="connsiteY1723" fmla="*/ 3094 h 10000"/>
                <a:gd name="connsiteX1724" fmla="*/ 3309 w 10354"/>
                <a:gd name="connsiteY1724" fmla="*/ 3077 h 10000"/>
                <a:gd name="connsiteX1725" fmla="*/ 3304 w 10354"/>
                <a:gd name="connsiteY1725" fmla="*/ 3051 h 10000"/>
                <a:gd name="connsiteX1726" fmla="*/ 3300 w 10354"/>
                <a:gd name="connsiteY1726" fmla="*/ 3043 h 10000"/>
                <a:gd name="connsiteX1727" fmla="*/ 3286 w 10354"/>
                <a:gd name="connsiteY1727" fmla="*/ 3017 h 10000"/>
                <a:gd name="connsiteX1728" fmla="*/ 3152 w 10354"/>
                <a:gd name="connsiteY1728" fmla="*/ 2966 h 10000"/>
                <a:gd name="connsiteX1729" fmla="*/ 3129 w 10354"/>
                <a:gd name="connsiteY1729" fmla="*/ 2915 h 10000"/>
                <a:gd name="connsiteX1730" fmla="*/ 3129 w 10354"/>
                <a:gd name="connsiteY1730" fmla="*/ 2906 h 10000"/>
                <a:gd name="connsiteX1731" fmla="*/ 3152 w 10354"/>
                <a:gd name="connsiteY1731" fmla="*/ 2906 h 10000"/>
                <a:gd name="connsiteX1732" fmla="*/ 3152 w 10354"/>
                <a:gd name="connsiteY1732" fmla="*/ 2846 h 10000"/>
                <a:gd name="connsiteX1733" fmla="*/ 3138 w 10354"/>
                <a:gd name="connsiteY1733" fmla="*/ 2795 h 10000"/>
                <a:gd name="connsiteX1734" fmla="*/ 3138 w 10354"/>
                <a:gd name="connsiteY1734" fmla="*/ 2769 h 10000"/>
                <a:gd name="connsiteX1735" fmla="*/ 3143 w 10354"/>
                <a:gd name="connsiteY1735" fmla="*/ 2718 h 10000"/>
                <a:gd name="connsiteX1736" fmla="*/ 3129 w 10354"/>
                <a:gd name="connsiteY1736" fmla="*/ 2692 h 10000"/>
                <a:gd name="connsiteX1737" fmla="*/ 3143 w 10354"/>
                <a:gd name="connsiteY1737" fmla="*/ 2667 h 10000"/>
                <a:gd name="connsiteX1738" fmla="*/ 3157 w 10354"/>
                <a:gd name="connsiteY1738" fmla="*/ 2581 h 10000"/>
                <a:gd name="connsiteX1739" fmla="*/ 3143 w 10354"/>
                <a:gd name="connsiteY1739" fmla="*/ 2496 h 10000"/>
                <a:gd name="connsiteX1740" fmla="*/ 3157 w 10354"/>
                <a:gd name="connsiteY1740" fmla="*/ 2487 h 10000"/>
                <a:gd name="connsiteX1741" fmla="*/ 3143 w 10354"/>
                <a:gd name="connsiteY1741" fmla="*/ 2444 h 10000"/>
                <a:gd name="connsiteX1742" fmla="*/ 3143 w 10354"/>
                <a:gd name="connsiteY1742" fmla="*/ 2419 h 10000"/>
                <a:gd name="connsiteX1743" fmla="*/ 3143 w 10354"/>
                <a:gd name="connsiteY1743" fmla="*/ 2410 h 10000"/>
                <a:gd name="connsiteX1744" fmla="*/ 3124 w 10354"/>
                <a:gd name="connsiteY1744" fmla="*/ 2376 h 10000"/>
                <a:gd name="connsiteX1745" fmla="*/ 3115 w 10354"/>
                <a:gd name="connsiteY1745" fmla="*/ 2350 h 10000"/>
                <a:gd name="connsiteX1746" fmla="*/ 3101 w 10354"/>
                <a:gd name="connsiteY1746" fmla="*/ 2359 h 10000"/>
                <a:gd name="connsiteX1747" fmla="*/ 3115 w 10354"/>
                <a:gd name="connsiteY1747" fmla="*/ 2581 h 10000"/>
                <a:gd name="connsiteX1748" fmla="*/ 3111 w 10354"/>
                <a:gd name="connsiteY1748" fmla="*/ 2624 h 10000"/>
                <a:gd name="connsiteX1749" fmla="*/ 3009 w 10354"/>
                <a:gd name="connsiteY1749" fmla="*/ 2761 h 10000"/>
                <a:gd name="connsiteX1750" fmla="*/ 3009 w 10354"/>
                <a:gd name="connsiteY1750" fmla="*/ 2803 h 10000"/>
                <a:gd name="connsiteX1751" fmla="*/ 3005 w 10354"/>
                <a:gd name="connsiteY1751" fmla="*/ 2829 h 10000"/>
                <a:gd name="connsiteX1752" fmla="*/ 2982 w 10354"/>
                <a:gd name="connsiteY1752" fmla="*/ 2872 h 10000"/>
                <a:gd name="connsiteX1753" fmla="*/ 2982 w 10354"/>
                <a:gd name="connsiteY1753" fmla="*/ 2880 h 10000"/>
                <a:gd name="connsiteX1754" fmla="*/ 3037 w 10354"/>
                <a:gd name="connsiteY1754" fmla="*/ 3034 h 10000"/>
                <a:gd name="connsiteX1755" fmla="*/ 3041 w 10354"/>
                <a:gd name="connsiteY1755" fmla="*/ 3103 h 10000"/>
                <a:gd name="connsiteX1756" fmla="*/ 3069 w 10354"/>
                <a:gd name="connsiteY1756" fmla="*/ 3188 h 10000"/>
                <a:gd name="connsiteX1757" fmla="*/ 3055 w 10354"/>
                <a:gd name="connsiteY1757" fmla="*/ 3325 h 10000"/>
                <a:gd name="connsiteX1758" fmla="*/ 3037 w 10354"/>
                <a:gd name="connsiteY1758" fmla="*/ 3368 h 10000"/>
                <a:gd name="connsiteX1759" fmla="*/ 3037 w 10354"/>
                <a:gd name="connsiteY1759" fmla="*/ 3444 h 10000"/>
                <a:gd name="connsiteX1760" fmla="*/ 3028 w 10354"/>
                <a:gd name="connsiteY1760" fmla="*/ 3453 h 10000"/>
                <a:gd name="connsiteX1761" fmla="*/ 3023 w 10354"/>
                <a:gd name="connsiteY1761" fmla="*/ 3530 h 10000"/>
                <a:gd name="connsiteX1762" fmla="*/ 3051 w 10354"/>
                <a:gd name="connsiteY1762" fmla="*/ 3624 h 10000"/>
                <a:gd name="connsiteX1763" fmla="*/ 3037 w 10354"/>
                <a:gd name="connsiteY1763" fmla="*/ 3718 h 10000"/>
                <a:gd name="connsiteX1764" fmla="*/ 3041 w 10354"/>
                <a:gd name="connsiteY1764" fmla="*/ 3752 h 10000"/>
                <a:gd name="connsiteX1765" fmla="*/ 3055 w 10354"/>
                <a:gd name="connsiteY1765" fmla="*/ 3761 h 10000"/>
                <a:gd name="connsiteX1766" fmla="*/ 3078 w 10354"/>
                <a:gd name="connsiteY1766" fmla="*/ 3752 h 10000"/>
                <a:gd name="connsiteX1767" fmla="*/ 3092 w 10354"/>
                <a:gd name="connsiteY1767" fmla="*/ 3752 h 10000"/>
                <a:gd name="connsiteX1768" fmla="*/ 3129 w 10354"/>
                <a:gd name="connsiteY1768" fmla="*/ 3761 h 10000"/>
                <a:gd name="connsiteX1769" fmla="*/ 3129 w 10354"/>
                <a:gd name="connsiteY1769" fmla="*/ 3735 h 10000"/>
                <a:gd name="connsiteX1770" fmla="*/ 3157 w 10354"/>
                <a:gd name="connsiteY1770" fmla="*/ 3718 h 10000"/>
                <a:gd name="connsiteX1771" fmla="*/ 3184 w 10354"/>
                <a:gd name="connsiteY1771" fmla="*/ 3718 h 10000"/>
                <a:gd name="connsiteX1772" fmla="*/ 3290 w 10354"/>
                <a:gd name="connsiteY1772" fmla="*/ 3838 h 10000"/>
                <a:gd name="connsiteX1773" fmla="*/ 3300 w 10354"/>
                <a:gd name="connsiteY1773" fmla="*/ 3846 h 10000"/>
                <a:gd name="connsiteX1774" fmla="*/ 3300 w 10354"/>
                <a:gd name="connsiteY1774" fmla="*/ 3915 h 10000"/>
                <a:gd name="connsiteX1775" fmla="*/ 3318 w 10354"/>
                <a:gd name="connsiteY1775" fmla="*/ 4000 h 10000"/>
                <a:gd name="connsiteX1776" fmla="*/ 3323 w 10354"/>
                <a:gd name="connsiteY1776" fmla="*/ 4000 h 10000"/>
                <a:gd name="connsiteX1777" fmla="*/ 3323 w 10354"/>
                <a:gd name="connsiteY1777" fmla="*/ 4034 h 10000"/>
                <a:gd name="connsiteX1778" fmla="*/ 3318 w 10354"/>
                <a:gd name="connsiteY1778" fmla="*/ 4051 h 10000"/>
                <a:gd name="connsiteX1779" fmla="*/ 3300 w 10354"/>
                <a:gd name="connsiteY1779" fmla="*/ 4051 h 10000"/>
                <a:gd name="connsiteX1780" fmla="*/ 3290 w 10354"/>
                <a:gd name="connsiteY1780" fmla="*/ 4077 h 10000"/>
                <a:gd name="connsiteX1781" fmla="*/ 3286 w 10354"/>
                <a:gd name="connsiteY1781" fmla="*/ 4103 h 10000"/>
                <a:gd name="connsiteX1782" fmla="*/ 3286 w 10354"/>
                <a:gd name="connsiteY1782" fmla="*/ 4197 h 10000"/>
                <a:gd name="connsiteX1783" fmla="*/ 3290 w 10354"/>
                <a:gd name="connsiteY1783" fmla="*/ 4214 h 10000"/>
                <a:gd name="connsiteX1784" fmla="*/ 3304 w 10354"/>
                <a:gd name="connsiteY1784" fmla="*/ 4214 h 10000"/>
                <a:gd name="connsiteX1785" fmla="*/ 3323 w 10354"/>
                <a:gd name="connsiteY1785" fmla="*/ 4239 h 10000"/>
                <a:gd name="connsiteX1786" fmla="*/ 3350 w 10354"/>
                <a:gd name="connsiteY1786" fmla="*/ 4222 h 10000"/>
                <a:gd name="connsiteX1787" fmla="*/ 3369 w 10354"/>
                <a:gd name="connsiteY1787" fmla="*/ 4256 h 10000"/>
                <a:gd name="connsiteX1788" fmla="*/ 3369 w 10354"/>
                <a:gd name="connsiteY1788" fmla="*/ 4256 h 10000"/>
                <a:gd name="connsiteX1789" fmla="*/ 3336 w 10354"/>
                <a:gd name="connsiteY1789" fmla="*/ 4274 h 10000"/>
                <a:gd name="connsiteX1790" fmla="*/ 3323 w 10354"/>
                <a:gd name="connsiteY1790" fmla="*/ 4274 h 10000"/>
                <a:gd name="connsiteX1791" fmla="*/ 3290 w 10354"/>
                <a:gd name="connsiteY1791" fmla="*/ 4274 h 10000"/>
                <a:gd name="connsiteX1792" fmla="*/ 3286 w 10354"/>
                <a:gd name="connsiteY1792" fmla="*/ 4239 h 10000"/>
                <a:gd name="connsiteX1793" fmla="*/ 3263 w 10354"/>
                <a:gd name="connsiteY1793" fmla="*/ 4214 h 10000"/>
                <a:gd name="connsiteX1794" fmla="*/ 3258 w 10354"/>
                <a:gd name="connsiteY1794" fmla="*/ 4188 h 10000"/>
                <a:gd name="connsiteX1795" fmla="*/ 3263 w 10354"/>
                <a:gd name="connsiteY1795" fmla="*/ 4171 h 10000"/>
                <a:gd name="connsiteX1796" fmla="*/ 3263 w 10354"/>
                <a:gd name="connsiteY1796" fmla="*/ 4103 h 10000"/>
                <a:gd name="connsiteX1797" fmla="*/ 3276 w 10354"/>
                <a:gd name="connsiteY1797" fmla="*/ 4060 h 10000"/>
                <a:gd name="connsiteX1798" fmla="*/ 3272 w 10354"/>
                <a:gd name="connsiteY1798" fmla="*/ 4051 h 10000"/>
                <a:gd name="connsiteX1799" fmla="*/ 3263 w 10354"/>
                <a:gd name="connsiteY1799" fmla="*/ 4051 h 10000"/>
                <a:gd name="connsiteX1800" fmla="*/ 3263 w 10354"/>
                <a:gd name="connsiteY1800" fmla="*/ 4034 h 10000"/>
                <a:gd name="connsiteX1801" fmla="*/ 3263 w 10354"/>
                <a:gd name="connsiteY1801" fmla="*/ 4000 h 10000"/>
                <a:gd name="connsiteX1802" fmla="*/ 3272 w 10354"/>
                <a:gd name="connsiteY1802" fmla="*/ 4000 h 10000"/>
                <a:gd name="connsiteX1803" fmla="*/ 3272 w 10354"/>
                <a:gd name="connsiteY1803" fmla="*/ 3974 h 10000"/>
                <a:gd name="connsiteX1804" fmla="*/ 3272 w 10354"/>
                <a:gd name="connsiteY1804" fmla="*/ 3966 h 10000"/>
                <a:gd name="connsiteX1805" fmla="*/ 3272 w 10354"/>
                <a:gd name="connsiteY1805" fmla="*/ 3949 h 10000"/>
                <a:gd name="connsiteX1806" fmla="*/ 3258 w 10354"/>
                <a:gd name="connsiteY1806" fmla="*/ 3923 h 10000"/>
                <a:gd name="connsiteX1807" fmla="*/ 3249 w 10354"/>
                <a:gd name="connsiteY1807" fmla="*/ 3915 h 10000"/>
                <a:gd name="connsiteX1808" fmla="*/ 3244 w 10354"/>
                <a:gd name="connsiteY1808" fmla="*/ 3897 h 10000"/>
                <a:gd name="connsiteX1809" fmla="*/ 3230 w 10354"/>
                <a:gd name="connsiteY1809" fmla="*/ 3889 h 10000"/>
                <a:gd name="connsiteX1810" fmla="*/ 3230 w 10354"/>
                <a:gd name="connsiteY1810" fmla="*/ 3863 h 10000"/>
                <a:gd name="connsiteX1811" fmla="*/ 3230 w 10354"/>
                <a:gd name="connsiteY1811" fmla="*/ 3838 h 10000"/>
                <a:gd name="connsiteX1812" fmla="*/ 3226 w 10354"/>
                <a:gd name="connsiteY1812" fmla="*/ 3803 h 10000"/>
                <a:gd name="connsiteX1813" fmla="*/ 3138 w 10354"/>
                <a:gd name="connsiteY1813" fmla="*/ 3838 h 10000"/>
                <a:gd name="connsiteX1814" fmla="*/ 3078 w 10354"/>
                <a:gd name="connsiteY1814" fmla="*/ 3889 h 10000"/>
                <a:gd name="connsiteX1815" fmla="*/ 3078 w 10354"/>
                <a:gd name="connsiteY1815" fmla="*/ 3940 h 10000"/>
                <a:gd name="connsiteX1816" fmla="*/ 3069 w 10354"/>
                <a:gd name="connsiteY1816" fmla="*/ 3983 h 10000"/>
                <a:gd name="connsiteX1817" fmla="*/ 3069 w 10354"/>
                <a:gd name="connsiteY1817" fmla="*/ 4009 h 10000"/>
                <a:gd name="connsiteX1818" fmla="*/ 3078 w 10354"/>
                <a:gd name="connsiteY1818" fmla="*/ 4026 h 10000"/>
                <a:gd name="connsiteX1819" fmla="*/ 3083 w 10354"/>
                <a:gd name="connsiteY1819" fmla="*/ 4034 h 10000"/>
                <a:gd name="connsiteX1820" fmla="*/ 3092 w 10354"/>
                <a:gd name="connsiteY1820" fmla="*/ 4060 h 10000"/>
                <a:gd name="connsiteX1821" fmla="*/ 3092 w 10354"/>
                <a:gd name="connsiteY1821" fmla="*/ 4077 h 10000"/>
                <a:gd name="connsiteX1822" fmla="*/ 3097 w 10354"/>
                <a:gd name="connsiteY1822" fmla="*/ 4103 h 10000"/>
                <a:gd name="connsiteX1823" fmla="*/ 3101 w 10354"/>
                <a:gd name="connsiteY1823" fmla="*/ 4162 h 10000"/>
                <a:gd name="connsiteX1824" fmla="*/ 3097 w 10354"/>
                <a:gd name="connsiteY1824" fmla="*/ 4222 h 10000"/>
                <a:gd name="connsiteX1825" fmla="*/ 3041 w 10354"/>
                <a:gd name="connsiteY1825" fmla="*/ 4325 h 10000"/>
                <a:gd name="connsiteX1826" fmla="*/ 3037 w 10354"/>
                <a:gd name="connsiteY1826" fmla="*/ 4419 h 10000"/>
                <a:gd name="connsiteX1827" fmla="*/ 3018 w 10354"/>
                <a:gd name="connsiteY1827" fmla="*/ 4470 h 10000"/>
                <a:gd name="connsiteX1828" fmla="*/ 2991 w 10354"/>
                <a:gd name="connsiteY1828" fmla="*/ 4513 h 10000"/>
                <a:gd name="connsiteX1829" fmla="*/ 2977 w 10354"/>
                <a:gd name="connsiteY1829" fmla="*/ 4530 h 10000"/>
                <a:gd name="connsiteX1830" fmla="*/ 2945 w 10354"/>
                <a:gd name="connsiteY1830" fmla="*/ 4556 h 10000"/>
                <a:gd name="connsiteX1831" fmla="*/ 2935 w 10354"/>
                <a:gd name="connsiteY1831" fmla="*/ 4581 h 10000"/>
                <a:gd name="connsiteX1832" fmla="*/ 2949 w 10354"/>
                <a:gd name="connsiteY1832" fmla="*/ 4624 h 10000"/>
                <a:gd name="connsiteX1833" fmla="*/ 2945 w 10354"/>
                <a:gd name="connsiteY1833" fmla="*/ 4658 h 10000"/>
                <a:gd name="connsiteX1834" fmla="*/ 2922 w 10354"/>
                <a:gd name="connsiteY1834" fmla="*/ 4667 h 10000"/>
                <a:gd name="connsiteX1835" fmla="*/ 2876 w 10354"/>
                <a:gd name="connsiteY1835" fmla="*/ 4632 h 10000"/>
                <a:gd name="connsiteX1836" fmla="*/ 2857 w 10354"/>
                <a:gd name="connsiteY1836" fmla="*/ 4632 h 10000"/>
                <a:gd name="connsiteX1837" fmla="*/ 2820 w 10354"/>
                <a:gd name="connsiteY1837" fmla="*/ 4641 h 10000"/>
                <a:gd name="connsiteX1838" fmla="*/ 2797 w 10354"/>
                <a:gd name="connsiteY1838" fmla="*/ 4632 h 10000"/>
                <a:gd name="connsiteX1839" fmla="*/ 2788 w 10354"/>
                <a:gd name="connsiteY1839" fmla="*/ 4624 h 10000"/>
                <a:gd name="connsiteX1840" fmla="*/ 2788 w 10354"/>
                <a:gd name="connsiteY1840" fmla="*/ 4598 h 10000"/>
                <a:gd name="connsiteX1841" fmla="*/ 2797 w 10354"/>
                <a:gd name="connsiteY1841" fmla="*/ 4581 h 10000"/>
                <a:gd name="connsiteX1842" fmla="*/ 2788 w 10354"/>
                <a:gd name="connsiteY1842" fmla="*/ 4530 h 10000"/>
                <a:gd name="connsiteX1843" fmla="*/ 2774 w 10354"/>
                <a:gd name="connsiteY1843" fmla="*/ 4530 h 10000"/>
                <a:gd name="connsiteX1844" fmla="*/ 2770 w 10354"/>
                <a:gd name="connsiteY1844" fmla="*/ 4513 h 10000"/>
                <a:gd name="connsiteX1845" fmla="*/ 2774 w 10354"/>
                <a:gd name="connsiteY1845" fmla="*/ 4513 h 10000"/>
                <a:gd name="connsiteX1846" fmla="*/ 2788 w 10354"/>
                <a:gd name="connsiteY1846" fmla="*/ 4496 h 10000"/>
                <a:gd name="connsiteX1847" fmla="*/ 2802 w 10354"/>
                <a:gd name="connsiteY1847" fmla="*/ 4513 h 10000"/>
                <a:gd name="connsiteX1848" fmla="*/ 2811 w 10354"/>
                <a:gd name="connsiteY1848" fmla="*/ 4530 h 10000"/>
                <a:gd name="connsiteX1849" fmla="*/ 2820 w 10354"/>
                <a:gd name="connsiteY1849" fmla="*/ 4521 h 10000"/>
                <a:gd name="connsiteX1850" fmla="*/ 2829 w 10354"/>
                <a:gd name="connsiteY1850" fmla="*/ 4513 h 10000"/>
                <a:gd name="connsiteX1851" fmla="*/ 2843 w 10354"/>
                <a:gd name="connsiteY1851" fmla="*/ 4513 h 10000"/>
                <a:gd name="connsiteX1852" fmla="*/ 2848 w 10354"/>
                <a:gd name="connsiteY1852" fmla="*/ 4470 h 10000"/>
                <a:gd name="connsiteX1853" fmla="*/ 2862 w 10354"/>
                <a:gd name="connsiteY1853" fmla="*/ 4487 h 10000"/>
                <a:gd name="connsiteX1854" fmla="*/ 2876 w 10354"/>
                <a:gd name="connsiteY1854" fmla="*/ 4470 h 10000"/>
                <a:gd name="connsiteX1855" fmla="*/ 2880 w 10354"/>
                <a:gd name="connsiteY1855" fmla="*/ 4462 h 10000"/>
                <a:gd name="connsiteX1856" fmla="*/ 2889 w 10354"/>
                <a:gd name="connsiteY1856" fmla="*/ 4444 h 10000"/>
                <a:gd name="connsiteX1857" fmla="*/ 2894 w 10354"/>
                <a:gd name="connsiteY1857" fmla="*/ 4462 h 10000"/>
                <a:gd name="connsiteX1858" fmla="*/ 2917 w 10354"/>
                <a:gd name="connsiteY1858" fmla="*/ 4444 h 10000"/>
                <a:gd name="connsiteX1859" fmla="*/ 2922 w 10354"/>
                <a:gd name="connsiteY1859" fmla="*/ 4436 h 10000"/>
                <a:gd name="connsiteX1860" fmla="*/ 2917 w 10354"/>
                <a:gd name="connsiteY1860" fmla="*/ 4410 h 10000"/>
                <a:gd name="connsiteX1861" fmla="*/ 2894 w 10354"/>
                <a:gd name="connsiteY1861" fmla="*/ 4410 h 10000"/>
                <a:gd name="connsiteX1862" fmla="*/ 2889 w 10354"/>
                <a:gd name="connsiteY1862" fmla="*/ 4419 h 10000"/>
                <a:gd name="connsiteX1863" fmla="*/ 2876 w 10354"/>
                <a:gd name="connsiteY1863" fmla="*/ 4410 h 10000"/>
                <a:gd name="connsiteX1864" fmla="*/ 2880 w 10354"/>
                <a:gd name="connsiteY1864" fmla="*/ 4376 h 10000"/>
                <a:gd name="connsiteX1865" fmla="*/ 2903 w 10354"/>
                <a:gd name="connsiteY1865" fmla="*/ 4393 h 10000"/>
                <a:gd name="connsiteX1866" fmla="*/ 2931 w 10354"/>
                <a:gd name="connsiteY1866" fmla="*/ 4393 h 10000"/>
                <a:gd name="connsiteX1867" fmla="*/ 2931 w 10354"/>
                <a:gd name="connsiteY1867" fmla="*/ 4385 h 10000"/>
                <a:gd name="connsiteX1868" fmla="*/ 2931 w 10354"/>
                <a:gd name="connsiteY1868" fmla="*/ 4350 h 10000"/>
                <a:gd name="connsiteX1869" fmla="*/ 2945 w 10354"/>
                <a:gd name="connsiteY1869" fmla="*/ 4350 h 10000"/>
                <a:gd name="connsiteX1870" fmla="*/ 2949 w 10354"/>
                <a:gd name="connsiteY1870" fmla="*/ 4325 h 10000"/>
                <a:gd name="connsiteX1871" fmla="*/ 2963 w 10354"/>
                <a:gd name="connsiteY1871" fmla="*/ 4256 h 10000"/>
                <a:gd name="connsiteX1872" fmla="*/ 2982 w 10354"/>
                <a:gd name="connsiteY1872" fmla="*/ 4239 h 10000"/>
                <a:gd name="connsiteX1873" fmla="*/ 2991 w 10354"/>
                <a:gd name="connsiteY1873" fmla="*/ 4214 h 10000"/>
                <a:gd name="connsiteX1874" fmla="*/ 2991 w 10354"/>
                <a:gd name="connsiteY1874" fmla="*/ 4197 h 10000"/>
                <a:gd name="connsiteX1875" fmla="*/ 2995 w 10354"/>
                <a:gd name="connsiteY1875" fmla="*/ 4171 h 10000"/>
                <a:gd name="connsiteX1876" fmla="*/ 2991 w 10354"/>
                <a:gd name="connsiteY1876" fmla="*/ 4077 h 10000"/>
                <a:gd name="connsiteX1877" fmla="*/ 2995 w 10354"/>
                <a:gd name="connsiteY1877" fmla="*/ 4034 h 10000"/>
                <a:gd name="connsiteX1878" fmla="*/ 3018 w 10354"/>
                <a:gd name="connsiteY1878" fmla="*/ 3983 h 10000"/>
                <a:gd name="connsiteX1879" fmla="*/ 3018 w 10354"/>
                <a:gd name="connsiteY1879" fmla="*/ 3915 h 10000"/>
                <a:gd name="connsiteX1880" fmla="*/ 2949 w 10354"/>
                <a:gd name="connsiteY1880" fmla="*/ 3778 h 10000"/>
                <a:gd name="connsiteX1881" fmla="*/ 2954 w 10354"/>
                <a:gd name="connsiteY1881" fmla="*/ 3675 h 10000"/>
                <a:gd name="connsiteX1882" fmla="*/ 2954 w 10354"/>
                <a:gd name="connsiteY1882" fmla="*/ 3650 h 10000"/>
                <a:gd name="connsiteX1883" fmla="*/ 2963 w 10354"/>
                <a:gd name="connsiteY1883" fmla="*/ 3624 h 10000"/>
                <a:gd name="connsiteX1884" fmla="*/ 2954 w 10354"/>
                <a:gd name="connsiteY1884" fmla="*/ 3564 h 10000"/>
                <a:gd name="connsiteX1885" fmla="*/ 2963 w 10354"/>
                <a:gd name="connsiteY1885" fmla="*/ 3538 h 10000"/>
                <a:gd name="connsiteX1886" fmla="*/ 2963 w 10354"/>
                <a:gd name="connsiteY1886" fmla="*/ 3487 h 10000"/>
                <a:gd name="connsiteX1887" fmla="*/ 2963 w 10354"/>
                <a:gd name="connsiteY1887" fmla="*/ 3479 h 10000"/>
                <a:gd name="connsiteX1888" fmla="*/ 2963 w 10354"/>
                <a:gd name="connsiteY1888" fmla="*/ 3462 h 10000"/>
                <a:gd name="connsiteX1889" fmla="*/ 2954 w 10354"/>
                <a:gd name="connsiteY1889" fmla="*/ 3453 h 10000"/>
                <a:gd name="connsiteX1890" fmla="*/ 2954 w 10354"/>
                <a:gd name="connsiteY1890" fmla="*/ 3444 h 10000"/>
                <a:gd name="connsiteX1891" fmla="*/ 2954 w 10354"/>
                <a:gd name="connsiteY1891" fmla="*/ 3402 h 10000"/>
                <a:gd name="connsiteX1892" fmla="*/ 2954 w 10354"/>
                <a:gd name="connsiteY1892" fmla="*/ 3393 h 10000"/>
                <a:gd name="connsiteX1893" fmla="*/ 2949 w 10354"/>
                <a:gd name="connsiteY1893" fmla="*/ 3376 h 10000"/>
                <a:gd name="connsiteX1894" fmla="*/ 2949 w 10354"/>
                <a:gd name="connsiteY1894" fmla="*/ 3342 h 10000"/>
                <a:gd name="connsiteX1895" fmla="*/ 2949 w 10354"/>
                <a:gd name="connsiteY1895" fmla="*/ 3316 h 10000"/>
                <a:gd name="connsiteX1896" fmla="*/ 2968 w 10354"/>
                <a:gd name="connsiteY1896" fmla="*/ 3291 h 10000"/>
                <a:gd name="connsiteX1897" fmla="*/ 2963 w 10354"/>
                <a:gd name="connsiteY1897" fmla="*/ 3205 h 10000"/>
                <a:gd name="connsiteX1898" fmla="*/ 2968 w 10354"/>
                <a:gd name="connsiteY1898" fmla="*/ 3171 h 10000"/>
                <a:gd name="connsiteX1899" fmla="*/ 2968 w 10354"/>
                <a:gd name="connsiteY1899" fmla="*/ 3128 h 10000"/>
                <a:gd name="connsiteX1900" fmla="*/ 2954 w 10354"/>
                <a:gd name="connsiteY1900" fmla="*/ 3051 h 10000"/>
                <a:gd name="connsiteX1901" fmla="*/ 2954 w 10354"/>
                <a:gd name="connsiteY1901" fmla="*/ 3009 h 10000"/>
                <a:gd name="connsiteX1902" fmla="*/ 2922 w 10354"/>
                <a:gd name="connsiteY1902" fmla="*/ 2940 h 10000"/>
                <a:gd name="connsiteX1903" fmla="*/ 2903 w 10354"/>
                <a:gd name="connsiteY1903" fmla="*/ 2880 h 10000"/>
                <a:gd name="connsiteX1904" fmla="*/ 2903 w 10354"/>
                <a:gd name="connsiteY1904" fmla="*/ 2855 h 10000"/>
                <a:gd name="connsiteX1905" fmla="*/ 2908 w 10354"/>
                <a:gd name="connsiteY1905" fmla="*/ 2846 h 10000"/>
                <a:gd name="connsiteX1906" fmla="*/ 2931 w 10354"/>
                <a:gd name="connsiteY1906" fmla="*/ 2821 h 10000"/>
                <a:gd name="connsiteX1907" fmla="*/ 2931 w 10354"/>
                <a:gd name="connsiteY1907" fmla="*/ 2803 h 10000"/>
                <a:gd name="connsiteX1908" fmla="*/ 2935 w 10354"/>
                <a:gd name="connsiteY1908" fmla="*/ 2786 h 10000"/>
                <a:gd name="connsiteX1909" fmla="*/ 2935 w 10354"/>
                <a:gd name="connsiteY1909" fmla="*/ 2744 h 10000"/>
                <a:gd name="connsiteX1910" fmla="*/ 2963 w 10354"/>
                <a:gd name="connsiteY1910" fmla="*/ 2607 h 10000"/>
                <a:gd name="connsiteX1911" fmla="*/ 2963 w 10354"/>
                <a:gd name="connsiteY1911" fmla="*/ 2419 h 10000"/>
                <a:gd name="connsiteX1912" fmla="*/ 2954 w 10354"/>
                <a:gd name="connsiteY1912" fmla="*/ 2410 h 10000"/>
                <a:gd name="connsiteX1913" fmla="*/ 2963 w 10354"/>
                <a:gd name="connsiteY1913" fmla="*/ 2393 h 10000"/>
                <a:gd name="connsiteX1914" fmla="*/ 2908 w 10354"/>
                <a:gd name="connsiteY1914" fmla="*/ 2359 h 10000"/>
                <a:gd name="connsiteX1915" fmla="*/ 2889 w 10354"/>
                <a:gd name="connsiteY1915" fmla="*/ 2325 h 10000"/>
                <a:gd name="connsiteX1916" fmla="*/ 2788 w 10354"/>
                <a:gd name="connsiteY1916" fmla="*/ 2333 h 10000"/>
                <a:gd name="connsiteX1917" fmla="*/ 2774 w 10354"/>
                <a:gd name="connsiteY1917" fmla="*/ 2325 h 10000"/>
                <a:gd name="connsiteX1918" fmla="*/ 2783 w 10354"/>
                <a:gd name="connsiteY1918" fmla="*/ 2308 h 10000"/>
                <a:gd name="connsiteX1919" fmla="*/ 2747 w 10354"/>
                <a:gd name="connsiteY1919" fmla="*/ 2308 h 10000"/>
                <a:gd name="connsiteX1920" fmla="*/ 2742 w 10354"/>
                <a:gd name="connsiteY1920" fmla="*/ 2333 h 10000"/>
                <a:gd name="connsiteX1921" fmla="*/ 2682 w 10354"/>
                <a:gd name="connsiteY1921" fmla="*/ 2769 h 10000"/>
                <a:gd name="connsiteX1922" fmla="*/ 2613 w 10354"/>
                <a:gd name="connsiteY1922" fmla="*/ 2940 h 10000"/>
                <a:gd name="connsiteX1923" fmla="*/ 2581 w 10354"/>
                <a:gd name="connsiteY1923" fmla="*/ 2966 h 10000"/>
                <a:gd name="connsiteX1924" fmla="*/ 2576 w 10354"/>
                <a:gd name="connsiteY1924" fmla="*/ 3051 h 10000"/>
                <a:gd name="connsiteX1925" fmla="*/ 2581 w 10354"/>
                <a:gd name="connsiteY1925" fmla="*/ 3051 h 10000"/>
                <a:gd name="connsiteX1926" fmla="*/ 2594 w 10354"/>
                <a:gd name="connsiteY1926" fmla="*/ 3017 h 10000"/>
                <a:gd name="connsiteX1927" fmla="*/ 2594 w 10354"/>
                <a:gd name="connsiteY1927" fmla="*/ 3034 h 10000"/>
                <a:gd name="connsiteX1928" fmla="*/ 2594 w 10354"/>
                <a:gd name="connsiteY1928" fmla="*/ 3051 h 10000"/>
                <a:gd name="connsiteX1929" fmla="*/ 2590 w 10354"/>
                <a:gd name="connsiteY1929" fmla="*/ 3077 h 10000"/>
                <a:gd name="connsiteX1930" fmla="*/ 2567 w 10354"/>
                <a:gd name="connsiteY1930" fmla="*/ 3103 h 10000"/>
                <a:gd name="connsiteX1931" fmla="*/ 2562 w 10354"/>
                <a:gd name="connsiteY1931" fmla="*/ 3145 h 10000"/>
                <a:gd name="connsiteX1932" fmla="*/ 2567 w 10354"/>
                <a:gd name="connsiteY1932" fmla="*/ 3179 h 10000"/>
                <a:gd name="connsiteX1933" fmla="*/ 2590 w 10354"/>
                <a:gd name="connsiteY1933" fmla="*/ 3171 h 10000"/>
                <a:gd name="connsiteX1934" fmla="*/ 2594 w 10354"/>
                <a:gd name="connsiteY1934" fmla="*/ 3145 h 10000"/>
                <a:gd name="connsiteX1935" fmla="*/ 2613 w 10354"/>
                <a:gd name="connsiteY1935" fmla="*/ 3154 h 10000"/>
                <a:gd name="connsiteX1936" fmla="*/ 2622 w 10354"/>
                <a:gd name="connsiteY1936" fmla="*/ 3179 h 10000"/>
                <a:gd name="connsiteX1937" fmla="*/ 2613 w 10354"/>
                <a:gd name="connsiteY1937" fmla="*/ 3214 h 10000"/>
                <a:gd name="connsiteX1938" fmla="*/ 2613 w 10354"/>
                <a:gd name="connsiteY1938" fmla="*/ 3308 h 10000"/>
                <a:gd name="connsiteX1939" fmla="*/ 2608 w 10354"/>
                <a:gd name="connsiteY1939" fmla="*/ 3325 h 10000"/>
                <a:gd name="connsiteX1940" fmla="*/ 2608 w 10354"/>
                <a:gd name="connsiteY1940" fmla="*/ 3376 h 10000"/>
                <a:gd name="connsiteX1941" fmla="*/ 2613 w 10354"/>
                <a:gd name="connsiteY1941" fmla="*/ 3419 h 10000"/>
                <a:gd name="connsiteX1942" fmla="*/ 2608 w 10354"/>
                <a:gd name="connsiteY1942" fmla="*/ 3444 h 10000"/>
                <a:gd name="connsiteX1943" fmla="*/ 2594 w 10354"/>
                <a:gd name="connsiteY1943" fmla="*/ 3444 h 10000"/>
                <a:gd name="connsiteX1944" fmla="*/ 2590 w 10354"/>
                <a:gd name="connsiteY1944" fmla="*/ 3427 h 10000"/>
                <a:gd name="connsiteX1945" fmla="*/ 2581 w 10354"/>
                <a:gd name="connsiteY1945" fmla="*/ 3564 h 10000"/>
                <a:gd name="connsiteX1946" fmla="*/ 2594 w 10354"/>
                <a:gd name="connsiteY1946" fmla="*/ 3598 h 10000"/>
                <a:gd name="connsiteX1947" fmla="*/ 2594 w 10354"/>
                <a:gd name="connsiteY1947" fmla="*/ 3581 h 10000"/>
                <a:gd name="connsiteX1948" fmla="*/ 2608 w 10354"/>
                <a:gd name="connsiteY1948" fmla="*/ 3556 h 10000"/>
                <a:gd name="connsiteX1949" fmla="*/ 2650 w 10354"/>
                <a:gd name="connsiteY1949" fmla="*/ 3615 h 10000"/>
                <a:gd name="connsiteX1950" fmla="*/ 2664 w 10354"/>
                <a:gd name="connsiteY1950" fmla="*/ 3615 h 10000"/>
                <a:gd name="connsiteX1951" fmla="*/ 2668 w 10354"/>
                <a:gd name="connsiteY1951" fmla="*/ 3615 h 10000"/>
                <a:gd name="connsiteX1952" fmla="*/ 2664 w 10354"/>
                <a:gd name="connsiteY1952" fmla="*/ 3667 h 10000"/>
                <a:gd name="connsiteX1953" fmla="*/ 2687 w 10354"/>
                <a:gd name="connsiteY1953" fmla="*/ 3786 h 10000"/>
                <a:gd name="connsiteX1954" fmla="*/ 2710 w 10354"/>
                <a:gd name="connsiteY1954" fmla="*/ 3812 h 10000"/>
                <a:gd name="connsiteX1955" fmla="*/ 2724 w 10354"/>
                <a:gd name="connsiteY1955" fmla="*/ 3812 h 10000"/>
                <a:gd name="connsiteX1956" fmla="*/ 2724 w 10354"/>
                <a:gd name="connsiteY1956" fmla="*/ 3829 h 10000"/>
                <a:gd name="connsiteX1957" fmla="*/ 2737 w 10354"/>
                <a:gd name="connsiteY1957" fmla="*/ 3838 h 10000"/>
                <a:gd name="connsiteX1958" fmla="*/ 2714 w 10354"/>
                <a:gd name="connsiteY1958" fmla="*/ 3872 h 10000"/>
                <a:gd name="connsiteX1959" fmla="*/ 2696 w 10354"/>
                <a:gd name="connsiteY1959" fmla="*/ 4026 h 10000"/>
                <a:gd name="connsiteX1960" fmla="*/ 2673 w 10354"/>
                <a:gd name="connsiteY1960" fmla="*/ 4051 h 10000"/>
                <a:gd name="connsiteX1961" fmla="*/ 2668 w 10354"/>
                <a:gd name="connsiteY1961" fmla="*/ 4034 h 10000"/>
                <a:gd name="connsiteX1962" fmla="*/ 2673 w 10354"/>
                <a:gd name="connsiteY1962" fmla="*/ 4000 h 10000"/>
                <a:gd name="connsiteX1963" fmla="*/ 2664 w 10354"/>
                <a:gd name="connsiteY1963" fmla="*/ 3974 h 10000"/>
                <a:gd name="connsiteX1964" fmla="*/ 2636 w 10354"/>
                <a:gd name="connsiteY1964" fmla="*/ 3949 h 10000"/>
                <a:gd name="connsiteX1965" fmla="*/ 2581 w 10354"/>
                <a:gd name="connsiteY1965" fmla="*/ 3838 h 10000"/>
                <a:gd name="connsiteX1966" fmla="*/ 2562 w 10354"/>
                <a:gd name="connsiteY1966" fmla="*/ 3829 h 10000"/>
                <a:gd name="connsiteX1967" fmla="*/ 2535 w 10354"/>
                <a:gd name="connsiteY1967" fmla="*/ 3778 h 10000"/>
                <a:gd name="connsiteX1968" fmla="*/ 2502 w 10354"/>
                <a:gd name="connsiteY1968" fmla="*/ 3761 h 10000"/>
                <a:gd name="connsiteX1969" fmla="*/ 2502 w 10354"/>
                <a:gd name="connsiteY1969" fmla="*/ 3735 h 10000"/>
                <a:gd name="connsiteX1970" fmla="*/ 2516 w 10354"/>
                <a:gd name="connsiteY1970" fmla="*/ 3735 h 10000"/>
                <a:gd name="connsiteX1971" fmla="*/ 2507 w 10354"/>
                <a:gd name="connsiteY1971" fmla="*/ 3726 h 10000"/>
                <a:gd name="connsiteX1972" fmla="*/ 2488 w 10354"/>
                <a:gd name="connsiteY1972" fmla="*/ 3726 h 10000"/>
                <a:gd name="connsiteX1973" fmla="*/ 2461 w 10354"/>
                <a:gd name="connsiteY1973" fmla="*/ 3692 h 10000"/>
                <a:gd name="connsiteX1974" fmla="*/ 2442 w 10354"/>
                <a:gd name="connsiteY1974" fmla="*/ 3675 h 10000"/>
                <a:gd name="connsiteX1975" fmla="*/ 2406 w 10354"/>
                <a:gd name="connsiteY1975" fmla="*/ 3598 h 10000"/>
                <a:gd name="connsiteX1976" fmla="*/ 2346 w 10354"/>
                <a:gd name="connsiteY1976" fmla="*/ 3564 h 10000"/>
                <a:gd name="connsiteX1977" fmla="*/ 2341 w 10354"/>
                <a:gd name="connsiteY1977" fmla="*/ 3564 h 10000"/>
                <a:gd name="connsiteX1978" fmla="*/ 2313 w 10354"/>
                <a:gd name="connsiteY1978" fmla="*/ 3530 h 10000"/>
                <a:gd name="connsiteX1979" fmla="*/ 2235 w 10354"/>
                <a:gd name="connsiteY1979" fmla="*/ 3530 h 10000"/>
                <a:gd name="connsiteX1980" fmla="*/ 2226 w 10354"/>
                <a:gd name="connsiteY1980" fmla="*/ 3513 h 10000"/>
                <a:gd name="connsiteX1981" fmla="*/ 2207 w 10354"/>
                <a:gd name="connsiteY1981" fmla="*/ 3504 h 10000"/>
                <a:gd name="connsiteX1982" fmla="*/ 2194 w 10354"/>
                <a:gd name="connsiteY1982" fmla="*/ 3504 h 10000"/>
                <a:gd name="connsiteX1983" fmla="*/ 2189 w 10354"/>
                <a:gd name="connsiteY1983" fmla="*/ 3504 h 10000"/>
                <a:gd name="connsiteX1984" fmla="*/ 2189 w 10354"/>
                <a:gd name="connsiteY1984" fmla="*/ 3530 h 10000"/>
                <a:gd name="connsiteX1985" fmla="*/ 2180 w 10354"/>
                <a:gd name="connsiteY1985" fmla="*/ 3538 h 10000"/>
                <a:gd name="connsiteX1986" fmla="*/ 2152 w 10354"/>
                <a:gd name="connsiteY1986" fmla="*/ 3581 h 10000"/>
                <a:gd name="connsiteX1987" fmla="*/ 2161 w 10354"/>
                <a:gd name="connsiteY1987" fmla="*/ 3598 h 10000"/>
                <a:gd name="connsiteX1988" fmla="*/ 2194 w 10354"/>
                <a:gd name="connsiteY1988" fmla="*/ 3752 h 10000"/>
                <a:gd name="connsiteX1989" fmla="*/ 2194 w 10354"/>
                <a:gd name="connsiteY1989" fmla="*/ 3735 h 10000"/>
                <a:gd name="connsiteX1990" fmla="*/ 2198 w 10354"/>
                <a:gd name="connsiteY1990" fmla="*/ 3735 h 10000"/>
                <a:gd name="connsiteX1991" fmla="*/ 2189 w 10354"/>
                <a:gd name="connsiteY1991" fmla="*/ 3838 h 10000"/>
                <a:gd name="connsiteX1992" fmla="*/ 2166 w 10354"/>
                <a:gd name="connsiteY1992" fmla="*/ 3889 h 10000"/>
                <a:gd name="connsiteX1993" fmla="*/ 2124 w 10354"/>
                <a:gd name="connsiteY1993" fmla="*/ 3889 h 10000"/>
                <a:gd name="connsiteX1994" fmla="*/ 2124 w 10354"/>
                <a:gd name="connsiteY1994" fmla="*/ 3923 h 10000"/>
                <a:gd name="connsiteX1995" fmla="*/ 2134 w 10354"/>
                <a:gd name="connsiteY1995" fmla="*/ 3940 h 10000"/>
                <a:gd name="connsiteX1996" fmla="*/ 2134 w 10354"/>
                <a:gd name="connsiteY1996" fmla="*/ 3966 h 10000"/>
                <a:gd name="connsiteX1997" fmla="*/ 2120 w 10354"/>
                <a:gd name="connsiteY1997" fmla="*/ 4000 h 10000"/>
                <a:gd name="connsiteX1998" fmla="*/ 2106 w 10354"/>
                <a:gd name="connsiteY1998" fmla="*/ 4009 h 10000"/>
                <a:gd name="connsiteX1999" fmla="*/ 2088 w 10354"/>
                <a:gd name="connsiteY1999" fmla="*/ 4000 h 10000"/>
                <a:gd name="connsiteX2000" fmla="*/ 2074 w 10354"/>
                <a:gd name="connsiteY2000" fmla="*/ 3974 h 10000"/>
                <a:gd name="connsiteX2001" fmla="*/ 2074 w 10354"/>
                <a:gd name="connsiteY2001" fmla="*/ 3940 h 10000"/>
                <a:gd name="connsiteX2002" fmla="*/ 2078 w 10354"/>
                <a:gd name="connsiteY2002" fmla="*/ 3915 h 10000"/>
                <a:gd name="connsiteX2003" fmla="*/ 2088 w 10354"/>
                <a:gd name="connsiteY2003" fmla="*/ 3889 h 10000"/>
                <a:gd name="connsiteX2004" fmla="*/ 2101 w 10354"/>
                <a:gd name="connsiteY2004" fmla="*/ 3872 h 10000"/>
                <a:gd name="connsiteX2005" fmla="*/ 2074 w 10354"/>
                <a:gd name="connsiteY2005" fmla="*/ 3812 h 10000"/>
                <a:gd name="connsiteX2006" fmla="*/ 2074 w 10354"/>
                <a:gd name="connsiteY2006" fmla="*/ 3786 h 10000"/>
                <a:gd name="connsiteX2007" fmla="*/ 2060 w 10354"/>
                <a:gd name="connsiteY2007" fmla="*/ 3786 h 10000"/>
                <a:gd name="connsiteX2008" fmla="*/ 2014 w 10354"/>
                <a:gd name="connsiteY2008" fmla="*/ 3829 h 10000"/>
                <a:gd name="connsiteX2009" fmla="*/ 2000 w 10354"/>
                <a:gd name="connsiteY2009" fmla="*/ 3863 h 10000"/>
                <a:gd name="connsiteX2010" fmla="*/ 1986 w 10354"/>
                <a:gd name="connsiteY2010" fmla="*/ 3872 h 10000"/>
                <a:gd name="connsiteX2011" fmla="*/ 1959 w 10354"/>
                <a:gd name="connsiteY2011" fmla="*/ 3940 h 10000"/>
                <a:gd name="connsiteX2012" fmla="*/ 1945 w 10354"/>
                <a:gd name="connsiteY2012" fmla="*/ 3949 h 10000"/>
                <a:gd name="connsiteX2013" fmla="*/ 1940 w 10354"/>
                <a:gd name="connsiteY2013" fmla="*/ 3923 h 10000"/>
                <a:gd name="connsiteX2014" fmla="*/ 1917 w 10354"/>
                <a:gd name="connsiteY2014" fmla="*/ 3915 h 10000"/>
                <a:gd name="connsiteX2015" fmla="*/ 1899 w 10354"/>
                <a:gd name="connsiteY2015" fmla="*/ 3923 h 10000"/>
                <a:gd name="connsiteX2016" fmla="*/ 1880 w 10354"/>
                <a:gd name="connsiteY2016" fmla="*/ 3915 h 10000"/>
                <a:gd name="connsiteX2017" fmla="*/ 1853 w 10354"/>
                <a:gd name="connsiteY2017" fmla="*/ 3940 h 10000"/>
                <a:gd name="connsiteX2018" fmla="*/ 1839 w 10354"/>
                <a:gd name="connsiteY2018" fmla="*/ 3940 h 10000"/>
                <a:gd name="connsiteX2019" fmla="*/ 1806 w 10354"/>
                <a:gd name="connsiteY2019" fmla="*/ 3983 h 10000"/>
                <a:gd name="connsiteX2020" fmla="*/ 1806 w 10354"/>
                <a:gd name="connsiteY2020" fmla="*/ 4000 h 10000"/>
                <a:gd name="connsiteX2021" fmla="*/ 1797 w 10354"/>
                <a:gd name="connsiteY2021" fmla="*/ 4077 h 10000"/>
                <a:gd name="connsiteX2022" fmla="*/ 1783 w 10354"/>
                <a:gd name="connsiteY2022" fmla="*/ 4077 h 10000"/>
                <a:gd name="connsiteX2023" fmla="*/ 1779 w 10354"/>
                <a:gd name="connsiteY2023" fmla="*/ 4051 h 10000"/>
                <a:gd name="connsiteX2024" fmla="*/ 1765 w 10354"/>
                <a:gd name="connsiteY2024" fmla="*/ 4026 h 10000"/>
                <a:gd name="connsiteX2025" fmla="*/ 1751 w 10354"/>
                <a:gd name="connsiteY2025" fmla="*/ 4051 h 10000"/>
                <a:gd name="connsiteX2026" fmla="*/ 1737 w 10354"/>
                <a:gd name="connsiteY2026" fmla="*/ 4009 h 10000"/>
                <a:gd name="connsiteX2027" fmla="*/ 1737 w 10354"/>
                <a:gd name="connsiteY2027" fmla="*/ 3966 h 10000"/>
                <a:gd name="connsiteX2028" fmla="*/ 1733 w 10354"/>
                <a:gd name="connsiteY2028" fmla="*/ 3940 h 10000"/>
                <a:gd name="connsiteX2029" fmla="*/ 1733 w 10354"/>
                <a:gd name="connsiteY2029" fmla="*/ 3923 h 10000"/>
                <a:gd name="connsiteX2030" fmla="*/ 1747 w 10354"/>
                <a:gd name="connsiteY2030" fmla="*/ 3889 h 10000"/>
                <a:gd name="connsiteX2031" fmla="*/ 1747 w 10354"/>
                <a:gd name="connsiteY2031" fmla="*/ 3863 h 10000"/>
                <a:gd name="connsiteX2032" fmla="*/ 1737 w 10354"/>
                <a:gd name="connsiteY2032" fmla="*/ 3838 h 10000"/>
                <a:gd name="connsiteX2033" fmla="*/ 1733 w 10354"/>
                <a:gd name="connsiteY2033" fmla="*/ 3829 h 10000"/>
                <a:gd name="connsiteX2034" fmla="*/ 1733 w 10354"/>
                <a:gd name="connsiteY2034" fmla="*/ 3846 h 10000"/>
                <a:gd name="connsiteX2035" fmla="*/ 1724 w 10354"/>
                <a:gd name="connsiteY2035" fmla="*/ 3846 h 10000"/>
                <a:gd name="connsiteX2036" fmla="*/ 1724 w 10354"/>
                <a:gd name="connsiteY2036" fmla="*/ 3829 h 10000"/>
                <a:gd name="connsiteX2037" fmla="*/ 1737 w 10354"/>
                <a:gd name="connsiteY2037" fmla="*/ 3812 h 10000"/>
                <a:gd name="connsiteX2038" fmla="*/ 1765 w 10354"/>
                <a:gd name="connsiteY2038" fmla="*/ 3812 h 10000"/>
                <a:gd name="connsiteX2039" fmla="*/ 1779 w 10354"/>
                <a:gd name="connsiteY2039" fmla="*/ 3786 h 10000"/>
                <a:gd name="connsiteX2040" fmla="*/ 1779 w 10354"/>
                <a:gd name="connsiteY2040" fmla="*/ 3786 h 10000"/>
                <a:gd name="connsiteX2041" fmla="*/ 1751 w 10354"/>
                <a:gd name="connsiteY2041" fmla="*/ 3803 h 10000"/>
                <a:gd name="connsiteX2042" fmla="*/ 1747 w 10354"/>
                <a:gd name="connsiteY2042" fmla="*/ 3803 h 10000"/>
                <a:gd name="connsiteX2043" fmla="*/ 1724 w 10354"/>
                <a:gd name="connsiteY2043" fmla="*/ 3803 h 10000"/>
                <a:gd name="connsiteX2044" fmla="*/ 1700 w 10354"/>
                <a:gd name="connsiteY2044" fmla="*/ 3829 h 10000"/>
                <a:gd name="connsiteX2045" fmla="*/ 1705 w 10354"/>
                <a:gd name="connsiteY2045" fmla="*/ 3846 h 10000"/>
                <a:gd name="connsiteX2046" fmla="*/ 1691 w 10354"/>
                <a:gd name="connsiteY2046" fmla="*/ 3846 h 10000"/>
                <a:gd name="connsiteX2047" fmla="*/ 1691 w 10354"/>
                <a:gd name="connsiteY2047" fmla="*/ 3863 h 10000"/>
                <a:gd name="connsiteX2048" fmla="*/ 1691 w 10354"/>
                <a:gd name="connsiteY2048" fmla="*/ 3915 h 10000"/>
                <a:gd name="connsiteX2049" fmla="*/ 1677 w 10354"/>
                <a:gd name="connsiteY2049" fmla="*/ 3923 h 10000"/>
                <a:gd name="connsiteX2050" fmla="*/ 1673 w 10354"/>
                <a:gd name="connsiteY2050" fmla="*/ 3915 h 10000"/>
                <a:gd name="connsiteX2051" fmla="*/ 1664 w 10354"/>
                <a:gd name="connsiteY2051" fmla="*/ 3889 h 10000"/>
                <a:gd name="connsiteX2052" fmla="*/ 1673 w 10354"/>
                <a:gd name="connsiteY2052" fmla="*/ 3872 h 10000"/>
                <a:gd name="connsiteX2053" fmla="*/ 1664 w 10354"/>
                <a:gd name="connsiteY2053" fmla="*/ 3872 h 10000"/>
                <a:gd name="connsiteX2054" fmla="*/ 1636 w 10354"/>
                <a:gd name="connsiteY2054" fmla="*/ 3923 h 10000"/>
                <a:gd name="connsiteX2055" fmla="*/ 1645 w 10354"/>
                <a:gd name="connsiteY2055" fmla="*/ 3923 h 10000"/>
                <a:gd name="connsiteX2056" fmla="*/ 1650 w 10354"/>
                <a:gd name="connsiteY2056" fmla="*/ 3949 h 10000"/>
                <a:gd name="connsiteX2057" fmla="*/ 1650 w 10354"/>
                <a:gd name="connsiteY2057" fmla="*/ 3983 h 10000"/>
                <a:gd name="connsiteX2058" fmla="*/ 1636 w 10354"/>
                <a:gd name="connsiteY2058" fmla="*/ 4000 h 10000"/>
                <a:gd name="connsiteX2059" fmla="*/ 1631 w 10354"/>
                <a:gd name="connsiteY2059" fmla="*/ 4009 h 10000"/>
                <a:gd name="connsiteX2060" fmla="*/ 1618 w 10354"/>
                <a:gd name="connsiteY2060" fmla="*/ 3949 h 10000"/>
                <a:gd name="connsiteX2061" fmla="*/ 1585 w 10354"/>
                <a:gd name="connsiteY2061" fmla="*/ 3966 h 10000"/>
                <a:gd name="connsiteX2062" fmla="*/ 1590 w 10354"/>
                <a:gd name="connsiteY2062" fmla="*/ 3974 h 10000"/>
                <a:gd name="connsiteX2063" fmla="*/ 1544 w 10354"/>
                <a:gd name="connsiteY2063" fmla="*/ 4009 h 10000"/>
                <a:gd name="connsiteX2064" fmla="*/ 1539 w 10354"/>
                <a:gd name="connsiteY2064" fmla="*/ 4009 h 10000"/>
                <a:gd name="connsiteX2065" fmla="*/ 1410 w 10354"/>
                <a:gd name="connsiteY2065" fmla="*/ 4188 h 10000"/>
                <a:gd name="connsiteX2066" fmla="*/ 1406 w 10354"/>
                <a:gd name="connsiteY2066" fmla="*/ 4171 h 10000"/>
                <a:gd name="connsiteX2067" fmla="*/ 1396 w 10354"/>
                <a:gd name="connsiteY2067" fmla="*/ 4214 h 10000"/>
                <a:gd name="connsiteX2068" fmla="*/ 1406 w 10354"/>
                <a:gd name="connsiteY2068" fmla="*/ 4222 h 10000"/>
                <a:gd name="connsiteX2069" fmla="*/ 1392 w 10354"/>
                <a:gd name="connsiteY2069" fmla="*/ 4239 h 10000"/>
                <a:gd name="connsiteX2070" fmla="*/ 1369 w 10354"/>
                <a:gd name="connsiteY2070" fmla="*/ 4248 h 10000"/>
                <a:gd name="connsiteX2071" fmla="*/ 1355 w 10354"/>
                <a:gd name="connsiteY2071" fmla="*/ 4256 h 10000"/>
                <a:gd name="connsiteX2072" fmla="*/ 1350 w 10354"/>
                <a:gd name="connsiteY2072" fmla="*/ 4248 h 10000"/>
                <a:gd name="connsiteX2073" fmla="*/ 1332 w 10354"/>
                <a:gd name="connsiteY2073" fmla="*/ 4376 h 10000"/>
                <a:gd name="connsiteX2074" fmla="*/ 1332 w 10354"/>
                <a:gd name="connsiteY2074" fmla="*/ 4436 h 10000"/>
                <a:gd name="connsiteX2075" fmla="*/ 1323 w 10354"/>
                <a:gd name="connsiteY2075" fmla="*/ 4462 h 10000"/>
                <a:gd name="connsiteX2076" fmla="*/ 1304 w 10354"/>
                <a:gd name="connsiteY2076" fmla="*/ 4487 h 10000"/>
                <a:gd name="connsiteX2077" fmla="*/ 1290 w 10354"/>
                <a:gd name="connsiteY2077" fmla="*/ 4470 h 10000"/>
                <a:gd name="connsiteX2078" fmla="*/ 1263 w 10354"/>
                <a:gd name="connsiteY2078" fmla="*/ 4496 h 10000"/>
                <a:gd name="connsiteX2079" fmla="*/ 1258 w 10354"/>
                <a:gd name="connsiteY2079" fmla="*/ 4547 h 10000"/>
                <a:gd name="connsiteX2080" fmla="*/ 1249 w 10354"/>
                <a:gd name="connsiteY2080" fmla="*/ 4487 h 10000"/>
                <a:gd name="connsiteX2081" fmla="*/ 1235 w 10354"/>
                <a:gd name="connsiteY2081" fmla="*/ 4496 h 10000"/>
                <a:gd name="connsiteX2082" fmla="*/ 1221 w 10354"/>
                <a:gd name="connsiteY2082" fmla="*/ 4496 h 10000"/>
                <a:gd name="connsiteX2083" fmla="*/ 1217 w 10354"/>
                <a:gd name="connsiteY2083" fmla="*/ 4487 h 10000"/>
                <a:gd name="connsiteX2084" fmla="*/ 1198 w 10354"/>
                <a:gd name="connsiteY2084" fmla="*/ 4410 h 10000"/>
                <a:gd name="connsiteX2085" fmla="*/ 1157 w 10354"/>
                <a:gd name="connsiteY2085" fmla="*/ 4333 h 10000"/>
                <a:gd name="connsiteX2086" fmla="*/ 1147 w 10354"/>
                <a:gd name="connsiteY2086" fmla="*/ 4299 h 10000"/>
                <a:gd name="connsiteX2087" fmla="*/ 1147 w 10354"/>
                <a:gd name="connsiteY2087" fmla="*/ 4274 h 10000"/>
                <a:gd name="connsiteX2088" fmla="*/ 1161 w 10354"/>
                <a:gd name="connsiteY2088" fmla="*/ 4256 h 10000"/>
                <a:gd name="connsiteX2089" fmla="*/ 1171 w 10354"/>
                <a:gd name="connsiteY2089" fmla="*/ 4248 h 10000"/>
                <a:gd name="connsiteX2090" fmla="*/ 1175 w 10354"/>
                <a:gd name="connsiteY2090" fmla="*/ 4214 h 10000"/>
                <a:gd name="connsiteX2091" fmla="*/ 1263 w 10354"/>
                <a:gd name="connsiteY2091" fmla="*/ 4171 h 10000"/>
                <a:gd name="connsiteX2092" fmla="*/ 1249 w 10354"/>
                <a:gd name="connsiteY2092" fmla="*/ 4137 h 10000"/>
                <a:gd name="connsiteX2093" fmla="*/ 1244 w 10354"/>
                <a:gd name="connsiteY2093" fmla="*/ 4060 h 10000"/>
                <a:gd name="connsiteX2094" fmla="*/ 1230 w 10354"/>
                <a:gd name="connsiteY2094" fmla="*/ 4077 h 10000"/>
                <a:gd name="connsiteX2095" fmla="*/ 1221 w 10354"/>
                <a:gd name="connsiteY2095" fmla="*/ 4026 h 10000"/>
                <a:gd name="connsiteX2096" fmla="*/ 1217 w 10354"/>
                <a:gd name="connsiteY2096" fmla="*/ 4026 h 10000"/>
                <a:gd name="connsiteX2097" fmla="*/ 1212 w 10354"/>
                <a:gd name="connsiteY2097" fmla="*/ 3983 h 10000"/>
                <a:gd name="connsiteX2098" fmla="*/ 1203 w 10354"/>
                <a:gd name="connsiteY2098" fmla="*/ 3966 h 10000"/>
                <a:gd name="connsiteX2099" fmla="*/ 1171 w 10354"/>
                <a:gd name="connsiteY2099" fmla="*/ 3949 h 10000"/>
                <a:gd name="connsiteX2100" fmla="*/ 1111 w 10354"/>
                <a:gd name="connsiteY2100" fmla="*/ 3940 h 10000"/>
                <a:gd name="connsiteX2101" fmla="*/ 1097 w 10354"/>
                <a:gd name="connsiteY2101" fmla="*/ 3949 h 10000"/>
                <a:gd name="connsiteX2102" fmla="*/ 1037 w 10354"/>
                <a:gd name="connsiteY2102" fmla="*/ 3897 h 10000"/>
                <a:gd name="connsiteX2103" fmla="*/ 1041 w 10354"/>
                <a:gd name="connsiteY2103" fmla="*/ 3923 h 10000"/>
                <a:gd name="connsiteX2104" fmla="*/ 1097 w 10354"/>
                <a:gd name="connsiteY2104" fmla="*/ 4009 h 10000"/>
                <a:gd name="connsiteX2105" fmla="*/ 1097 w 10354"/>
                <a:gd name="connsiteY2105" fmla="*/ 4120 h 10000"/>
                <a:gd name="connsiteX2106" fmla="*/ 1097 w 10354"/>
                <a:gd name="connsiteY2106" fmla="*/ 4162 h 10000"/>
                <a:gd name="connsiteX2107" fmla="*/ 1097 w 10354"/>
                <a:gd name="connsiteY2107" fmla="*/ 4197 h 10000"/>
                <a:gd name="connsiteX2108" fmla="*/ 1074 w 10354"/>
                <a:gd name="connsiteY2108" fmla="*/ 4333 h 10000"/>
                <a:gd name="connsiteX2109" fmla="*/ 1074 w 10354"/>
                <a:gd name="connsiteY2109" fmla="*/ 4376 h 10000"/>
                <a:gd name="connsiteX2110" fmla="*/ 1083 w 10354"/>
                <a:gd name="connsiteY2110" fmla="*/ 4385 h 10000"/>
                <a:gd name="connsiteX2111" fmla="*/ 1097 w 10354"/>
                <a:gd name="connsiteY2111" fmla="*/ 4385 h 10000"/>
                <a:gd name="connsiteX2112" fmla="*/ 1111 w 10354"/>
                <a:gd name="connsiteY2112" fmla="*/ 4410 h 10000"/>
                <a:gd name="connsiteX2113" fmla="*/ 1124 w 10354"/>
                <a:gd name="connsiteY2113" fmla="*/ 4444 h 10000"/>
                <a:gd name="connsiteX2114" fmla="*/ 1124 w 10354"/>
                <a:gd name="connsiteY2114" fmla="*/ 4470 h 10000"/>
                <a:gd name="connsiteX2115" fmla="*/ 1115 w 10354"/>
                <a:gd name="connsiteY2115" fmla="*/ 4513 h 10000"/>
                <a:gd name="connsiteX2116" fmla="*/ 1115 w 10354"/>
                <a:gd name="connsiteY2116" fmla="*/ 4530 h 10000"/>
                <a:gd name="connsiteX2117" fmla="*/ 1115 w 10354"/>
                <a:gd name="connsiteY2117" fmla="*/ 4573 h 10000"/>
                <a:gd name="connsiteX2118" fmla="*/ 1101 w 10354"/>
                <a:gd name="connsiteY2118" fmla="*/ 4607 h 10000"/>
                <a:gd name="connsiteX2119" fmla="*/ 1097 w 10354"/>
                <a:gd name="connsiteY2119" fmla="*/ 4658 h 10000"/>
                <a:gd name="connsiteX2120" fmla="*/ 1101 w 10354"/>
                <a:gd name="connsiteY2120" fmla="*/ 4692 h 10000"/>
                <a:gd name="connsiteX2121" fmla="*/ 1097 w 10354"/>
                <a:gd name="connsiteY2121" fmla="*/ 4778 h 10000"/>
                <a:gd name="connsiteX2122" fmla="*/ 1083 w 10354"/>
                <a:gd name="connsiteY2122" fmla="*/ 4744 h 10000"/>
                <a:gd name="connsiteX2123" fmla="*/ 1083 w 10354"/>
                <a:gd name="connsiteY2123" fmla="*/ 4718 h 10000"/>
                <a:gd name="connsiteX2124" fmla="*/ 1074 w 10354"/>
                <a:gd name="connsiteY2124" fmla="*/ 4692 h 10000"/>
                <a:gd name="connsiteX2125" fmla="*/ 1065 w 10354"/>
                <a:gd name="connsiteY2125" fmla="*/ 4692 h 10000"/>
                <a:gd name="connsiteX2126" fmla="*/ 1051 w 10354"/>
                <a:gd name="connsiteY2126" fmla="*/ 4718 h 10000"/>
                <a:gd name="connsiteX2127" fmla="*/ 1055 w 10354"/>
                <a:gd name="connsiteY2127" fmla="*/ 4692 h 10000"/>
                <a:gd name="connsiteX2128" fmla="*/ 1055 w 10354"/>
                <a:gd name="connsiteY2128" fmla="*/ 4667 h 10000"/>
                <a:gd name="connsiteX2129" fmla="*/ 1028 w 10354"/>
                <a:gd name="connsiteY2129" fmla="*/ 4624 h 10000"/>
                <a:gd name="connsiteX2130" fmla="*/ 1005 w 10354"/>
                <a:gd name="connsiteY2130" fmla="*/ 4624 h 10000"/>
                <a:gd name="connsiteX2131" fmla="*/ 977 w 10354"/>
                <a:gd name="connsiteY2131" fmla="*/ 4581 h 10000"/>
                <a:gd name="connsiteX2132" fmla="*/ 963 w 10354"/>
                <a:gd name="connsiteY2132" fmla="*/ 4607 h 10000"/>
                <a:gd name="connsiteX2133" fmla="*/ 963 w 10354"/>
                <a:gd name="connsiteY2133" fmla="*/ 4632 h 10000"/>
                <a:gd name="connsiteX2134" fmla="*/ 917 w 10354"/>
                <a:gd name="connsiteY2134" fmla="*/ 4718 h 10000"/>
                <a:gd name="connsiteX2135" fmla="*/ 889 w 10354"/>
                <a:gd name="connsiteY2135" fmla="*/ 4744 h 10000"/>
                <a:gd name="connsiteX2136" fmla="*/ 880 w 10354"/>
                <a:gd name="connsiteY2136" fmla="*/ 4744 h 10000"/>
                <a:gd name="connsiteX2137" fmla="*/ 862 w 10354"/>
                <a:gd name="connsiteY2137" fmla="*/ 4769 h 10000"/>
                <a:gd name="connsiteX2138" fmla="*/ 857 w 10354"/>
                <a:gd name="connsiteY2138" fmla="*/ 4795 h 10000"/>
                <a:gd name="connsiteX2139" fmla="*/ 829 w 10354"/>
                <a:gd name="connsiteY2139" fmla="*/ 4846 h 10000"/>
                <a:gd name="connsiteX2140" fmla="*/ 816 w 10354"/>
                <a:gd name="connsiteY2140" fmla="*/ 4855 h 10000"/>
                <a:gd name="connsiteX2141" fmla="*/ 816 w 10354"/>
                <a:gd name="connsiteY2141" fmla="*/ 4940 h 10000"/>
                <a:gd name="connsiteX2142" fmla="*/ 880 w 10354"/>
                <a:gd name="connsiteY2142" fmla="*/ 5179 h 10000"/>
                <a:gd name="connsiteX2143" fmla="*/ 880 w 10354"/>
                <a:gd name="connsiteY2143" fmla="*/ 5188 h 10000"/>
                <a:gd name="connsiteX2144" fmla="*/ 862 w 10354"/>
                <a:gd name="connsiteY2144" fmla="*/ 5171 h 10000"/>
                <a:gd name="connsiteX2145" fmla="*/ 857 w 10354"/>
                <a:gd name="connsiteY2145" fmla="*/ 5171 h 10000"/>
                <a:gd name="connsiteX2146" fmla="*/ 820 w 10354"/>
                <a:gd name="connsiteY2146" fmla="*/ 5145 h 10000"/>
                <a:gd name="connsiteX2147" fmla="*/ 820 w 10354"/>
                <a:gd name="connsiteY2147" fmla="*/ 5154 h 10000"/>
                <a:gd name="connsiteX2148" fmla="*/ 816 w 10354"/>
                <a:gd name="connsiteY2148" fmla="*/ 5171 h 10000"/>
                <a:gd name="connsiteX2149" fmla="*/ 783 w 10354"/>
                <a:gd name="connsiteY2149" fmla="*/ 5145 h 10000"/>
                <a:gd name="connsiteX2150" fmla="*/ 756 w 10354"/>
                <a:gd name="connsiteY2150" fmla="*/ 5103 h 10000"/>
                <a:gd name="connsiteX2151" fmla="*/ 742 w 10354"/>
                <a:gd name="connsiteY2151" fmla="*/ 5103 h 10000"/>
                <a:gd name="connsiteX2152" fmla="*/ 728 w 10354"/>
                <a:gd name="connsiteY2152" fmla="*/ 5094 h 10000"/>
                <a:gd name="connsiteX2153" fmla="*/ 710 w 10354"/>
                <a:gd name="connsiteY2153" fmla="*/ 5120 h 10000"/>
                <a:gd name="connsiteX2154" fmla="*/ 700 w 10354"/>
                <a:gd name="connsiteY2154" fmla="*/ 5145 h 10000"/>
                <a:gd name="connsiteX2155" fmla="*/ 696 w 10354"/>
                <a:gd name="connsiteY2155" fmla="*/ 5103 h 10000"/>
                <a:gd name="connsiteX2156" fmla="*/ 714 w 10354"/>
                <a:gd name="connsiteY2156" fmla="*/ 5077 h 10000"/>
                <a:gd name="connsiteX2157" fmla="*/ 682 w 10354"/>
                <a:gd name="connsiteY2157" fmla="*/ 5068 h 10000"/>
                <a:gd name="connsiteX2158" fmla="*/ 673 w 10354"/>
                <a:gd name="connsiteY2158" fmla="*/ 5034 h 10000"/>
                <a:gd name="connsiteX2159" fmla="*/ 636 w 10354"/>
                <a:gd name="connsiteY2159" fmla="*/ 4991 h 10000"/>
                <a:gd name="connsiteX2160" fmla="*/ 622 w 10354"/>
                <a:gd name="connsiteY2160" fmla="*/ 4983 h 10000"/>
                <a:gd name="connsiteX2161" fmla="*/ 622 w 10354"/>
                <a:gd name="connsiteY2161" fmla="*/ 5034 h 10000"/>
                <a:gd name="connsiteX2162" fmla="*/ 608 w 10354"/>
                <a:gd name="connsiteY2162" fmla="*/ 5051 h 10000"/>
                <a:gd name="connsiteX2163" fmla="*/ 594 w 10354"/>
                <a:gd name="connsiteY2163" fmla="*/ 5068 h 10000"/>
                <a:gd name="connsiteX2164" fmla="*/ 608 w 10354"/>
                <a:gd name="connsiteY2164" fmla="*/ 5120 h 10000"/>
                <a:gd name="connsiteX2165" fmla="*/ 613 w 10354"/>
                <a:gd name="connsiteY2165" fmla="*/ 5128 h 10000"/>
                <a:gd name="connsiteX2166" fmla="*/ 627 w 10354"/>
                <a:gd name="connsiteY2166" fmla="*/ 5179 h 10000"/>
                <a:gd name="connsiteX2167" fmla="*/ 650 w 10354"/>
                <a:gd name="connsiteY2167" fmla="*/ 5214 h 10000"/>
                <a:gd name="connsiteX2168" fmla="*/ 687 w 10354"/>
                <a:gd name="connsiteY2168" fmla="*/ 5188 h 10000"/>
                <a:gd name="connsiteX2169" fmla="*/ 700 w 10354"/>
                <a:gd name="connsiteY2169" fmla="*/ 5325 h 10000"/>
                <a:gd name="connsiteX2170" fmla="*/ 710 w 10354"/>
                <a:gd name="connsiteY2170" fmla="*/ 5350 h 10000"/>
                <a:gd name="connsiteX2171" fmla="*/ 687 w 10354"/>
                <a:gd name="connsiteY2171" fmla="*/ 5325 h 10000"/>
                <a:gd name="connsiteX2172" fmla="*/ 668 w 10354"/>
                <a:gd name="connsiteY2172" fmla="*/ 5350 h 10000"/>
                <a:gd name="connsiteX2173" fmla="*/ 668 w 10354"/>
                <a:gd name="connsiteY2173" fmla="*/ 5368 h 10000"/>
                <a:gd name="connsiteX2174" fmla="*/ 668 w 10354"/>
                <a:gd name="connsiteY2174" fmla="*/ 5376 h 10000"/>
                <a:gd name="connsiteX2175" fmla="*/ 581 w 10354"/>
                <a:gd name="connsiteY2175" fmla="*/ 5316 h 10000"/>
                <a:gd name="connsiteX2176" fmla="*/ 567 w 10354"/>
                <a:gd name="connsiteY2176" fmla="*/ 5265 h 10000"/>
                <a:gd name="connsiteX2177" fmla="*/ 562 w 10354"/>
                <a:gd name="connsiteY2177" fmla="*/ 5256 h 10000"/>
                <a:gd name="connsiteX2178" fmla="*/ 548 w 10354"/>
                <a:gd name="connsiteY2178" fmla="*/ 5231 h 10000"/>
                <a:gd name="connsiteX2179" fmla="*/ 535 w 10354"/>
                <a:gd name="connsiteY2179" fmla="*/ 5214 h 10000"/>
                <a:gd name="connsiteX2180" fmla="*/ 525 w 10354"/>
                <a:gd name="connsiteY2180" fmla="*/ 5231 h 10000"/>
                <a:gd name="connsiteX2181" fmla="*/ 521 w 10354"/>
                <a:gd name="connsiteY2181" fmla="*/ 5231 h 10000"/>
                <a:gd name="connsiteX2182" fmla="*/ 493 w 10354"/>
                <a:gd name="connsiteY2182" fmla="*/ 5205 h 10000"/>
                <a:gd name="connsiteX2183" fmla="*/ 488 w 10354"/>
                <a:gd name="connsiteY2183" fmla="*/ 5179 h 10000"/>
                <a:gd name="connsiteX2184" fmla="*/ 475 w 10354"/>
                <a:gd name="connsiteY2184" fmla="*/ 5188 h 10000"/>
                <a:gd name="connsiteX2185" fmla="*/ 475 w 10354"/>
                <a:gd name="connsiteY2185" fmla="*/ 5171 h 10000"/>
                <a:gd name="connsiteX2186" fmla="*/ 488 w 10354"/>
                <a:gd name="connsiteY2186" fmla="*/ 5154 h 10000"/>
                <a:gd name="connsiteX2187" fmla="*/ 488 w 10354"/>
                <a:gd name="connsiteY2187" fmla="*/ 5068 h 10000"/>
                <a:gd name="connsiteX2188" fmla="*/ 475 w 10354"/>
                <a:gd name="connsiteY2188" fmla="*/ 5051 h 10000"/>
                <a:gd name="connsiteX2189" fmla="*/ 475 w 10354"/>
                <a:gd name="connsiteY2189" fmla="*/ 5017 h 10000"/>
                <a:gd name="connsiteX2190" fmla="*/ 452 w 10354"/>
                <a:gd name="connsiteY2190" fmla="*/ 4932 h 10000"/>
                <a:gd name="connsiteX2191" fmla="*/ 461 w 10354"/>
                <a:gd name="connsiteY2191" fmla="*/ 4915 h 10000"/>
                <a:gd name="connsiteX2192" fmla="*/ 475 w 10354"/>
                <a:gd name="connsiteY2192" fmla="*/ 4906 h 10000"/>
                <a:gd name="connsiteX2193" fmla="*/ 479 w 10354"/>
                <a:gd name="connsiteY2193" fmla="*/ 4803 h 10000"/>
                <a:gd name="connsiteX2194" fmla="*/ 479 w 10354"/>
                <a:gd name="connsiteY2194" fmla="*/ 4778 h 10000"/>
                <a:gd name="connsiteX2195" fmla="*/ 475 w 10354"/>
                <a:gd name="connsiteY2195" fmla="*/ 4761 h 10000"/>
                <a:gd name="connsiteX2196" fmla="*/ 465 w 10354"/>
                <a:gd name="connsiteY2196" fmla="*/ 4718 h 10000"/>
                <a:gd name="connsiteX2197" fmla="*/ 461 w 10354"/>
                <a:gd name="connsiteY2197" fmla="*/ 4709 h 10000"/>
                <a:gd name="connsiteX2198" fmla="*/ 442 w 10354"/>
                <a:gd name="connsiteY2198" fmla="*/ 4692 h 10000"/>
                <a:gd name="connsiteX2199" fmla="*/ 433 w 10354"/>
                <a:gd name="connsiteY2199" fmla="*/ 4667 h 10000"/>
                <a:gd name="connsiteX2200" fmla="*/ 419 w 10354"/>
                <a:gd name="connsiteY2200" fmla="*/ 4667 h 10000"/>
                <a:gd name="connsiteX2201" fmla="*/ 401 w 10354"/>
                <a:gd name="connsiteY2201" fmla="*/ 4658 h 10000"/>
                <a:gd name="connsiteX2202" fmla="*/ 401 w 10354"/>
                <a:gd name="connsiteY2202" fmla="*/ 4624 h 10000"/>
                <a:gd name="connsiteX2203" fmla="*/ 401 w 10354"/>
                <a:gd name="connsiteY2203" fmla="*/ 4607 h 10000"/>
                <a:gd name="connsiteX2204" fmla="*/ 378 w 10354"/>
                <a:gd name="connsiteY2204" fmla="*/ 4607 h 10000"/>
                <a:gd name="connsiteX2205" fmla="*/ 341 w 10354"/>
                <a:gd name="connsiteY2205" fmla="*/ 4530 h 10000"/>
                <a:gd name="connsiteX2206" fmla="*/ 346 w 10354"/>
                <a:gd name="connsiteY2206" fmla="*/ 4521 h 10000"/>
                <a:gd name="connsiteX2207" fmla="*/ 332 w 10354"/>
                <a:gd name="connsiteY2207" fmla="*/ 4487 h 10000"/>
                <a:gd name="connsiteX2208" fmla="*/ 327 w 10354"/>
                <a:gd name="connsiteY2208" fmla="*/ 4462 h 10000"/>
                <a:gd name="connsiteX2209" fmla="*/ 313 w 10354"/>
                <a:gd name="connsiteY2209" fmla="*/ 4436 h 10000"/>
                <a:gd name="connsiteX2210" fmla="*/ 300 w 10354"/>
                <a:gd name="connsiteY2210" fmla="*/ 4419 h 10000"/>
                <a:gd name="connsiteX2211" fmla="*/ 309 w 10354"/>
                <a:gd name="connsiteY2211" fmla="*/ 4393 h 10000"/>
                <a:gd name="connsiteX2212" fmla="*/ 332 w 10354"/>
                <a:gd name="connsiteY2212" fmla="*/ 4385 h 10000"/>
                <a:gd name="connsiteX2213" fmla="*/ 355 w 10354"/>
                <a:gd name="connsiteY2213" fmla="*/ 4419 h 10000"/>
                <a:gd name="connsiteX2214" fmla="*/ 355 w 10354"/>
                <a:gd name="connsiteY2214" fmla="*/ 4444 h 10000"/>
                <a:gd name="connsiteX2215" fmla="*/ 369 w 10354"/>
                <a:gd name="connsiteY2215" fmla="*/ 4470 h 10000"/>
                <a:gd name="connsiteX2216" fmla="*/ 401 w 10354"/>
                <a:gd name="connsiteY2216" fmla="*/ 4521 h 10000"/>
                <a:gd name="connsiteX2217" fmla="*/ 406 w 10354"/>
                <a:gd name="connsiteY2217" fmla="*/ 4513 h 10000"/>
                <a:gd name="connsiteX2218" fmla="*/ 406 w 10354"/>
                <a:gd name="connsiteY2218" fmla="*/ 4496 h 10000"/>
                <a:gd name="connsiteX2219" fmla="*/ 419 w 10354"/>
                <a:gd name="connsiteY2219" fmla="*/ 4521 h 10000"/>
                <a:gd name="connsiteX2220" fmla="*/ 429 w 10354"/>
                <a:gd name="connsiteY2220" fmla="*/ 4530 h 10000"/>
                <a:gd name="connsiteX2221" fmla="*/ 433 w 10354"/>
                <a:gd name="connsiteY2221" fmla="*/ 4521 h 10000"/>
                <a:gd name="connsiteX2222" fmla="*/ 442 w 10354"/>
                <a:gd name="connsiteY2222" fmla="*/ 4530 h 10000"/>
                <a:gd name="connsiteX2223" fmla="*/ 447 w 10354"/>
                <a:gd name="connsiteY2223" fmla="*/ 4521 h 10000"/>
                <a:gd name="connsiteX2224" fmla="*/ 452 w 10354"/>
                <a:gd name="connsiteY2224" fmla="*/ 4521 h 10000"/>
                <a:gd name="connsiteX2225" fmla="*/ 461 w 10354"/>
                <a:gd name="connsiteY2225" fmla="*/ 4573 h 10000"/>
                <a:gd name="connsiteX2226" fmla="*/ 479 w 10354"/>
                <a:gd name="connsiteY2226" fmla="*/ 4556 h 10000"/>
                <a:gd name="connsiteX2227" fmla="*/ 502 w 10354"/>
                <a:gd name="connsiteY2227" fmla="*/ 4573 h 10000"/>
                <a:gd name="connsiteX2228" fmla="*/ 507 w 10354"/>
                <a:gd name="connsiteY2228" fmla="*/ 4598 h 10000"/>
                <a:gd name="connsiteX2229" fmla="*/ 525 w 10354"/>
                <a:gd name="connsiteY2229" fmla="*/ 4598 h 10000"/>
                <a:gd name="connsiteX2230" fmla="*/ 535 w 10354"/>
                <a:gd name="connsiteY2230" fmla="*/ 4624 h 10000"/>
                <a:gd name="connsiteX2231" fmla="*/ 594 w 10354"/>
                <a:gd name="connsiteY2231" fmla="*/ 4658 h 10000"/>
                <a:gd name="connsiteX2232" fmla="*/ 627 w 10354"/>
                <a:gd name="connsiteY2232" fmla="*/ 4658 h 10000"/>
                <a:gd name="connsiteX2233" fmla="*/ 654 w 10354"/>
                <a:gd name="connsiteY2233" fmla="*/ 4684 h 10000"/>
                <a:gd name="connsiteX2234" fmla="*/ 668 w 10354"/>
                <a:gd name="connsiteY2234" fmla="*/ 4709 h 10000"/>
                <a:gd name="connsiteX2235" fmla="*/ 747 w 10354"/>
                <a:gd name="connsiteY2235" fmla="*/ 4718 h 10000"/>
                <a:gd name="connsiteX2236" fmla="*/ 760 w 10354"/>
                <a:gd name="connsiteY2236" fmla="*/ 4709 h 10000"/>
                <a:gd name="connsiteX2237" fmla="*/ 774 w 10354"/>
                <a:gd name="connsiteY2237" fmla="*/ 4692 h 10000"/>
                <a:gd name="connsiteX2238" fmla="*/ 829 w 10354"/>
                <a:gd name="connsiteY2238" fmla="*/ 4658 h 10000"/>
                <a:gd name="connsiteX2239" fmla="*/ 903 w 10354"/>
                <a:gd name="connsiteY2239" fmla="*/ 4496 h 10000"/>
                <a:gd name="connsiteX2240" fmla="*/ 917 w 10354"/>
                <a:gd name="connsiteY2240" fmla="*/ 4385 h 10000"/>
                <a:gd name="connsiteX2241" fmla="*/ 903 w 10354"/>
                <a:gd name="connsiteY2241" fmla="*/ 4376 h 10000"/>
                <a:gd name="connsiteX2242" fmla="*/ 903 w 10354"/>
                <a:gd name="connsiteY2242" fmla="*/ 4376 h 10000"/>
                <a:gd name="connsiteX2243" fmla="*/ 889 w 10354"/>
                <a:gd name="connsiteY2243" fmla="*/ 4239 h 10000"/>
                <a:gd name="connsiteX2244" fmla="*/ 880 w 10354"/>
                <a:gd name="connsiteY2244" fmla="*/ 4214 h 10000"/>
                <a:gd name="connsiteX2245" fmla="*/ 862 w 10354"/>
                <a:gd name="connsiteY2245" fmla="*/ 4188 h 10000"/>
                <a:gd name="connsiteX2246" fmla="*/ 857 w 10354"/>
                <a:gd name="connsiteY2246" fmla="*/ 4197 h 10000"/>
                <a:gd name="connsiteX2247" fmla="*/ 848 w 10354"/>
                <a:gd name="connsiteY2247" fmla="*/ 4188 h 10000"/>
                <a:gd name="connsiteX2248" fmla="*/ 848 w 10354"/>
                <a:gd name="connsiteY2248" fmla="*/ 4162 h 10000"/>
                <a:gd name="connsiteX2249" fmla="*/ 829 w 10354"/>
                <a:gd name="connsiteY2249" fmla="*/ 4120 h 10000"/>
                <a:gd name="connsiteX2250" fmla="*/ 820 w 10354"/>
                <a:gd name="connsiteY2250" fmla="*/ 4103 h 10000"/>
                <a:gd name="connsiteX2251" fmla="*/ 806 w 10354"/>
                <a:gd name="connsiteY2251" fmla="*/ 4077 h 10000"/>
                <a:gd name="connsiteX2252" fmla="*/ 816 w 10354"/>
                <a:gd name="connsiteY2252" fmla="*/ 4111 h 10000"/>
                <a:gd name="connsiteX2253" fmla="*/ 802 w 10354"/>
                <a:gd name="connsiteY2253" fmla="*/ 4111 h 10000"/>
                <a:gd name="connsiteX2254" fmla="*/ 770 w 10354"/>
                <a:gd name="connsiteY2254" fmla="*/ 4060 h 10000"/>
                <a:gd name="connsiteX2255" fmla="*/ 760 w 10354"/>
                <a:gd name="connsiteY2255" fmla="*/ 4077 h 10000"/>
                <a:gd name="connsiteX2256" fmla="*/ 760 w 10354"/>
                <a:gd name="connsiteY2256" fmla="*/ 4060 h 10000"/>
                <a:gd name="connsiteX2257" fmla="*/ 756 w 10354"/>
                <a:gd name="connsiteY2257" fmla="*/ 4034 h 10000"/>
                <a:gd name="connsiteX2258" fmla="*/ 742 w 10354"/>
                <a:gd name="connsiteY2258" fmla="*/ 4000 h 10000"/>
                <a:gd name="connsiteX2259" fmla="*/ 747 w 10354"/>
                <a:gd name="connsiteY2259" fmla="*/ 4034 h 10000"/>
                <a:gd name="connsiteX2260" fmla="*/ 724 w 10354"/>
                <a:gd name="connsiteY2260" fmla="*/ 4026 h 10000"/>
                <a:gd name="connsiteX2261" fmla="*/ 714 w 10354"/>
                <a:gd name="connsiteY2261" fmla="*/ 4000 h 10000"/>
                <a:gd name="connsiteX2262" fmla="*/ 714 w 10354"/>
                <a:gd name="connsiteY2262" fmla="*/ 3983 h 10000"/>
                <a:gd name="connsiteX2263" fmla="*/ 553 w 10354"/>
                <a:gd name="connsiteY2263" fmla="*/ 3726 h 10000"/>
                <a:gd name="connsiteX2264" fmla="*/ 507 w 10354"/>
                <a:gd name="connsiteY2264" fmla="*/ 3718 h 10000"/>
                <a:gd name="connsiteX2265" fmla="*/ 516 w 10354"/>
                <a:gd name="connsiteY2265" fmla="*/ 3726 h 10000"/>
                <a:gd name="connsiteX2266" fmla="*/ 507 w 10354"/>
                <a:gd name="connsiteY2266" fmla="*/ 3735 h 10000"/>
                <a:gd name="connsiteX2267" fmla="*/ 502 w 10354"/>
                <a:gd name="connsiteY2267" fmla="*/ 3735 h 10000"/>
                <a:gd name="connsiteX2268" fmla="*/ 419 w 10354"/>
                <a:gd name="connsiteY2268" fmla="*/ 3675 h 10000"/>
                <a:gd name="connsiteX2269" fmla="*/ 419 w 10354"/>
                <a:gd name="connsiteY2269" fmla="*/ 3692 h 10000"/>
                <a:gd name="connsiteX2270" fmla="*/ 401 w 10354"/>
                <a:gd name="connsiteY2270" fmla="*/ 3701 h 10000"/>
                <a:gd name="connsiteX2271" fmla="*/ 387 w 10354"/>
                <a:gd name="connsiteY2271" fmla="*/ 3718 h 10000"/>
                <a:gd name="connsiteX2272" fmla="*/ 387 w 10354"/>
                <a:gd name="connsiteY2272" fmla="*/ 3692 h 10000"/>
                <a:gd name="connsiteX2273" fmla="*/ 378 w 10354"/>
                <a:gd name="connsiteY2273" fmla="*/ 3675 h 10000"/>
                <a:gd name="connsiteX2274" fmla="*/ 378 w 10354"/>
                <a:gd name="connsiteY2274" fmla="*/ 3650 h 10000"/>
                <a:gd name="connsiteX2275" fmla="*/ 378 w 10354"/>
                <a:gd name="connsiteY2275" fmla="*/ 3650 h 10000"/>
                <a:gd name="connsiteX2276" fmla="*/ 355 w 10354"/>
                <a:gd name="connsiteY2276" fmla="*/ 3675 h 10000"/>
                <a:gd name="connsiteX2277" fmla="*/ 359 w 10354"/>
                <a:gd name="connsiteY2277" fmla="*/ 3641 h 10000"/>
                <a:gd name="connsiteX2278" fmla="*/ 346 w 10354"/>
                <a:gd name="connsiteY2278" fmla="*/ 3650 h 10000"/>
                <a:gd name="connsiteX2279" fmla="*/ 355 w 10354"/>
                <a:gd name="connsiteY2279" fmla="*/ 3624 h 10000"/>
                <a:gd name="connsiteX2280" fmla="*/ 346 w 10354"/>
                <a:gd name="connsiteY2280" fmla="*/ 3624 h 10000"/>
                <a:gd name="connsiteX2281" fmla="*/ 341 w 10354"/>
                <a:gd name="connsiteY2281" fmla="*/ 3624 h 10000"/>
                <a:gd name="connsiteX2282" fmla="*/ 318 w 10354"/>
                <a:gd name="connsiteY2282" fmla="*/ 3641 h 10000"/>
                <a:gd name="connsiteX2283" fmla="*/ 327 w 10354"/>
                <a:gd name="connsiteY2283" fmla="*/ 3624 h 10000"/>
                <a:gd name="connsiteX2284" fmla="*/ 318 w 10354"/>
                <a:gd name="connsiteY2284" fmla="*/ 3615 h 10000"/>
                <a:gd name="connsiteX2285" fmla="*/ 318 w 10354"/>
                <a:gd name="connsiteY2285" fmla="*/ 3598 h 10000"/>
                <a:gd name="connsiteX2286" fmla="*/ 300 w 10354"/>
                <a:gd name="connsiteY2286" fmla="*/ 3598 h 10000"/>
                <a:gd name="connsiteX2287" fmla="*/ 309 w 10354"/>
                <a:gd name="connsiteY2287" fmla="*/ 3538 h 10000"/>
                <a:gd name="connsiteX2288" fmla="*/ 313 w 10354"/>
                <a:gd name="connsiteY2288" fmla="*/ 3564 h 10000"/>
                <a:gd name="connsiteX2289" fmla="*/ 318 w 10354"/>
                <a:gd name="connsiteY2289" fmla="*/ 3581 h 10000"/>
                <a:gd name="connsiteX2290" fmla="*/ 327 w 10354"/>
                <a:gd name="connsiteY2290" fmla="*/ 3564 h 10000"/>
                <a:gd name="connsiteX2291" fmla="*/ 332 w 10354"/>
                <a:gd name="connsiteY2291" fmla="*/ 3590 h 10000"/>
                <a:gd name="connsiteX2292" fmla="*/ 346 w 10354"/>
                <a:gd name="connsiteY2292" fmla="*/ 3590 h 10000"/>
                <a:gd name="connsiteX2293" fmla="*/ 355 w 10354"/>
                <a:gd name="connsiteY2293" fmla="*/ 3590 h 10000"/>
                <a:gd name="connsiteX2294" fmla="*/ 369 w 10354"/>
                <a:gd name="connsiteY2294" fmla="*/ 3556 h 10000"/>
                <a:gd name="connsiteX2295" fmla="*/ 369 w 10354"/>
                <a:gd name="connsiteY2295" fmla="*/ 3538 h 10000"/>
                <a:gd name="connsiteX2296" fmla="*/ 346 w 10354"/>
                <a:gd name="connsiteY2296" fmla="*/ 3513 h 10000"/>
                <a:gd name="connsiteX2297" fmla="*/ 341 w 10354"/>
                <a:gd name="connsiteY2297" fmla="*/ 3530 h 10000"/>
                <a:gd name="connsiteX2298" fmla="*/ 327 w 10354"/>
                <a:gd name="connsiteY2298" fmla="*/ 3513 h 10000"/>
                <a:gd name="connsiteX2299" fmla="*/ 327 w 10354"/>
                <a:gd name="connsiteY2299" fmla="*/ 3504 h 10000"/>
                <a:gd name="connsiteX2300" fmla="*/ 295 w 10354"/>
                <a:gd name="connsiteY2300" fmla="*/ 3462 h 10000"/>
                <a:gd name="connsiteX2301" fmla="*/ 300 w 10354"/>
                <a:gd name="connsiteY2301" fmla="*/ 3479 h 10000"/>
                <a:gd name="connsiteX2302" fmla="*/ 295 w 10354"/>
                <a:gd name="connsiteY2302" fmla="*/ 3513 h 10000"/>
                <a:gd name="connsiteX2303" fmla="*/ 286 w 10354"/>
                <a:gd name="connsiteY2303" fmla="*/ 3513 h 10000"/>
                <a:gd name="connsiteX2304" fmla="*/ 281 w 10354"/>
                <a:gd name="connsiteY2304" fmla="*/ 3513 h 10000"/>
                <a:gd name="connsiteX2305" fmla="*/ 281 w 10354"/>
                <a:gd name="connsiteY2305" fmla="*/ 3530 h 10000"/>
                <a:gd name="connsiteX2306" fmla="*/ 281 w 10354"/>
                <a:gd name="connsiteY2306" fmla="*/ 3556 h 10000"/>
                <a:gd name="connsiteX2307" fmla="*/ 272 w 10354"/>
                <a:gd name="connsiteY2307" fmla="*/ 3564 h 10000"/>
                <a:gd name="connsiteX2308" fmla="*/ 267 w 10354"/>
                <a:gd name="connsiteY2308" fmla="*/ 3564 h 10000"/>
                <a:gd name="connsiteX2309" fmla="*/ 253 w 10354"/>
                <a:gd name="connsiteY2309" fmla="*/ 3538 h 10000"/>
                <a:gd name="connsiteX2310" fmla="*/ 226 w 10354"/>
                <a:gd name="connsiteY2310" fmla="*/ 3513 h 10000"/>
                <a:gd name="connsiteX2311" fmla="*/ 226 w 10354"/>
                <a:gd name="connsiteY2311" fmla="*/ 3530 h 10000"/>
                <a:gd name="connsiteX2312" fmla="*/ 226 w 10354"/>
                <a:gd name="connsiteY2312" fmla="*/ 3530 h 10000"/>
                <a:gd name="connsiteX2313" fmla="*/ 226 w 10354"/>
                <a:gd name="connsiteY2313" fmla="*/ 3530 h 10000"/>
                <a:gd name="connsiteX2314" fmla="*/ 226 w 10354"/>
                <a:gd name="connsiteY2314" fmla="*/ 3556 h 10000"/>
                <a:gd name="connsiteX2315" fmla="*/ 221 w 10354"/>
                <a:gd name="connsiteY2315" fmla="*/ 3598 h 10000"/>
                <a:gd name="connsiteX2316" fmla="*/ 207 w 10354"/>
                <a:gd name="connsiteY2316" fmla="*/ 3598 h 10000"/>
                <a:gd name="connsiteX2317" fmla="*/ 180 w 10354"/>
                <a:gd name="connsiteY2317" fmla="*/ 3581 h 10000"/>
                <a:gd name="connsiteX2318" fmla="*/ 171 w 10354"/>
                <a:gd name="connsiteY2318" fmla="*/ 3641 h 10000"/>
                <a:gd name="connsiteX2319" fmla="*/ 166 w 10354"/>
                <a:gd name="connsiteY2319" fmla="*/ 3650 h 10000"/>
                <a:gd name="connsiteX2320" fmla="*/ 124 w 10354"/>
                <a:gd name="connsiteY2320" fmla="*/ 3701 h 10000"/>
                <a:gd name="connsiteX2321" fmla="*/ 124 w 10354"/>
                <a:gd name="connsiteY2321" fmla="*/ 3718 h 10000"/>
                <a:gd name="connsiteX2322" fmla="*/ 120 w 10354"/>
                <a:gd name="connsiteY2322" fmla="*/ 3735 h 10000"/>
                <a:gd name="connsiteX2323" fmla="*/ 120 w 10354"/>
                <a:gd name="connsiteY2323" fmla="*/ 3735 h 10000"/>
                <a:gd name="connsiteX2324" fmla="*/ 111 w 10354"/>
                <a:gd name="connsiteY2324" fmla="*/ 3761 h 10000"/>
                <a:gd name="connsiteX2325" fmla="*/ 106 w 10354"/>
                <a:gd name="connsiteY2325" fmla="*/ 3761 h 10000"/>
                <a:gd name="connsiteX2326" fmla="*/ 106 w 10354"/>
                <a:gd name="connsiteY2326" fmla="*/ 3761 h 10000"/>
                <a:gd name="connsiteX2327" fmla="*/ 74 w 10354"/>
                <a:gd name="connsiteY2327" fmla="*/ 3829 h 10000"/>
                <a:gd name="connsiteX2328" fmla="*/ 78 w 10354"/>
                <a:gd name="connsiteY2328" fmla="*/ 3838 h 10000"/>
                <a:gd name="connsiteX2329" fmla="*/ 88 w 10354"/>
                <a:gd name="connsiteY2329" fmla="*/ 3846 h 10000"/>
                <a:gd name="connsiteX2330" fmla="*/ 65 w 10354"/>
                <a:gd name="connsiteY2330" fmla="*/ 3923 h 10000"/>
                <a:gd name="connsiteX2331" fmla="*/ 78 w 10354"/>
                <a:gd name="connsiteY2331" fmla="*/ 4026 h 10000"/>
                <a:gd name="connsiteX2332" fmla="*/ 88 w 10354"/>
                <a:gd name="connsiteY2332" fmla="*/ 4051 h 10000"/>
                <a:gd name="connsiteX2333" fmla="*/ 92 w 10354"/>
                <a:gd name="connsiteY2333" fmla="*/ 4060 h 10000"/>
                <a:gd name="connsiteX2334" fmla="*/ 111 w 10354"/>
                <a:gd name="connsiteY2334" fmla="*/ 4060 h 10000"/>
                <a:gd name="connsiteX2335" fmla="*/ 124 w 10354"/>
                <a:gd name="connsiteY2335" fmla="*/ 4085 h 10000"/>
                <a:gd name="connsiteX2336" fmla="*/ 166 w 10354"/>
                <a:gd name="connsiteY2336" fmla="*/ 4197 h 10000"/>
                <a:gd name="connsiteX2337" fmla="*/ 166 w 10354"/>
                <a:gd name="connsiteY2337" fmla="*/ 4248 h 10000"/>
                <a:gd name="connsiteX2338" fmla="*/ 120 w 10354"/>
                <a:gd name="connsiteY2338" fmla="*/ 4462 h 10000"/>
                <a:gd name="connsiteX2339" fmla="*/ 120 w 10354"/>
                <a:gd name="connsiteY2339" fmla="*/ 4513 h 10000"/>
                <a:gd name="connsiteX2340" fmla="*/ 180 w 10354"/>
                <a:gd name="connsiteY2340" fmla="*/ 4829 h 10000"/>
                <a:gd name="connsiteX2341" fmla="*/ 161 w 10354"/>
                <a:gd name="connsiteY2341" fmla="*/ 4855 h 10000"/>
                <a:gd name="connsiteX2342" fmla="*/ 152 w 10354"/>
                <a:gd name="connsiteY2342" fmla="*/ 4940 h 10000"/>
                <a:gd name="connsiteX2343" fmla="*/ 161 w 10354"/>
                <a:gd name="connsiteY2343" fmla="*/ 4966 h 10000"/>
                <a:gd name="connsiteX2344" fmla="*/ 161 w 10354"/>
                <a:gd name="connsiteY2344" fmla="*/ 5009 h 10000"/>
                <a:gd name="connsiteX2345" fmla="*/ 152 w 10354"/>
                <a:gd name="connsiteY2345" fmla="*/ 5034 h 10000"/>
                <a:gd name="connsiteX2346" fmla="*/ 152 w 10354"/>
                <a:gd name="connsiteY2346" fmla="*/ 5077 h 10000"/>
                <a:gd name="connsiteX2347" fmla="*/ 171 w 10354"/>
                <a:gd name="connsiteY2347" fmla="*/ 5094 h 10000"/>
                <a:gd name="connsiteX2348" fmla="*/ 180 w 10354"/>
                <a:gd name="connsiteY2348" fmla="*/ 5128 h 10000"/>
                <a:gd name="connsiteX2349" fmla="*/ 180 w 10354"/>
                <a:gd name="connsiteY2349" fmla="*/ 5171 h 10000"/>
                <a:gd name="connsiteX2350" fmla="*/ 184 w 10354"/>
                <a:gd name="connsiteY2350" fmla="*/ 5205 h 10000"/>
                <a:gd name="connsiteX2351" fmla="*/ 207 w 10354"/>
                <a:gd name="connsiteY2351" fmla="*/ 5239 h 10000"/>
                <a:gd name="connsiteX2352" fmla="*/ 207 w 10354"/>
                <a:gd name="connsiteY2352" fmla="*/ 5282 h 10000"/>
                <a:gd name="connsiteX2353" fmla="*/ 180 w 10354"/>
                <a:gd name="connsiteY2353" fmla="*/ 5393 h 10000"/>
                <a:gd name="connsiteX2354" fmla="*/ 194 w 10354"/>
                <a:gd name="connsiteY2354" fmla="*/ 5427 h 10000"/>
                <a:gd name="connsiteX2355" fmla="*/ 198 w 10354"/>
                <a:gd name="connsiteY2355" fmla="*/ 5462 h 10000"/>
                <a:gd name="connsiteX2356" fmla="*/ 235 w 10354"/>
                <a:gd name="connsiteY2356" fmla="*/ 5513 h 10000"/>
                <a:gd name="connsiteX2357" fmla="*/ 240 w 10354"/>
                <a:gd name="connsiteY2357" fmla="*/ 5556 h 10000"/>
                <a:gd name="connsiteX2358" fmla="*/ 253 w 10354"/>
                <a:gd name="connsiteY2358" fmla="*/ 5590 h 10000"/>
                <a:gd name="connsiteX2359" fmla="*/ 258 w 10354"/>
                <a:gd name="connsiteY2359" fmla="*/ 5573 h 10000"/>
                <a:gd name="connsiteX2360" fmla="*/ 258 w 10354"/>
                <a:gd name="connsiteY2360" fmla="*/ 5667 h 10000"/>
                <a:gd name="connsiteX2361" fmla="*/ 14 w 10354"/>
                <a:gd name="connsiteY2361" fmla="*/ 6214 h 10000"/>
                <a:gd name="connsiteX2362" fmla="*/ 14 w 10354"/>
                <a:gd name="connsiteY2362" fmla="*/ 6214 h 10000"/>
                <a:gd name="connsiteX2363" fmla="*/ 37 w 10354"/>
                <a:gd name="connsiteY2363" fmla="*/ 6214 h 10000"/>
                <a:gd name="connsiteX2364" fmla="*/ 51 w 10354"/>
                <a:gd name="connsiteY2364" fmla="*/ 6188 h 10000"/>
                <a:gd name="connsiteX2365" fmla="*/ 78 w 10354"/>
                <a:gd name="connsiteY2365" fmla="*/ 6162 h 10000"/>
                <a:gd name="connsiteX2366" fmla="*/ 78 w 10354"/>
                <a:gd name="connsiteY2366" fmla="*/ 6188 h 10000"/>
                <a:gd name="connsiteX2367" fmla="*/ 74 w 10354"/>
                <a:gd name="connsiteY2367" fmla="*/ 6197 h 10000"/>
                <a:gd name="connsiteX2368" fmla="*/ 74 w 10354"/>
                <a:gd name="connsiteY2368" fmla="*/ 6231 h 10000"/>
                <a:gd name="connsiteX2369" fmla="*/ 74 w 10354"/>
                <a:gd name="connsiteY2369" fmla="*/ 6214 h 10000"/>
                <a:gd name="connsiteX2370" fmla="*/ 65 w 10354"/>
                <a:gd name="connsiteY2370" fmla="*/ 6214 h 10000"/>
                <a:gd name="connsiteX2371" fmla="*/ 65 w 10354"/>
                <a:gd name="connsiteY2371" fmla="*/ 6248 h 10000"/>
                <a:gd name="connsiteX2372" fmla="*/ 74 w 10354"/>
                <a:gd name="connsiteY2372" fmla="*/ 6256 h 10000"/>
                <a:gd name="connsiteX2373" fmla="*/ 78 w 10354"/>
                <a:gd name="connsiteY2373" fmla="*/ 6256 h 10000"/>
                <a:gd name="connsiteX2374" fmla="*/ 106 w 10354"/>
                <a:gd name="connsiteY2374" fmla="*/ 6308 h 10000"/>
                <a:gd name="connsiteX2375" fmla="*/ 138 w 10354"/>
                <a:gd name="connsiteY2375" fmla="*/ 6299 h 10000"/>
                <a:gd name="connsiteX2376" fmla="*/ 152 w 10354"/>
                <a:gd name="connsiteY2376" fmla="*/ 6299 h 10000"/>
                <a:gd name="connsiteX2377" fmla="*/ 166 w 10354"/>
                <a:gd name="connsiteY2377" fmla="*/ 6325 h 10000"/>
                <a:gd name="connsiteX2378" fmla="*/ 166 w 10354"/>
                <a:gd name="connsiteY2378" fmla="*/ 6333 h 10000"/>
                <a:gd name="connsiteX2379" fmla="*/ 171 w 10354"/>
                <a:gd name="connsiteY2379" fmla="*/ 6350 h 10000"/>
                <a:gd name="connsiteX2380" fmla="*/ 180 w 10354"/>
                <a:gd name="connsiteY2380" fmla="*/ 6350 h 10000"/>
                <a:gd name="connsiteX2381" fmla="*/ 180 w 10354"/>
                <a:gd name="connsiteY2381" fmla="*/ 6359 h 10000"/>
                <a:gd name="connsiteX2382" fmla="*/ 171 w 10354"/>
                <a:gd name="connsiteY2382" fmla="*/ 6368 h 10000"/>
                <a:gd name="connsiteX2383" fmla="*/ 106 w 10354"/>
                <a:gd name="connsiteY2383" fmla="*/ 6350 h 10000"/>
                <a:gd name="connsiteX2384" fmla="*/ 101 w 10354"/>
                <a:gd name="connsiteY2384" fmla="*/ 6359 h 10000"/>
                <a:gd name="connsiteX2385" fmla="*/ 101 w 10354"/>
                <a:gd name="connsiteY2385" fmla="*/ 6385 h 10000"/>
                <a:gd name="connsiteX2386" fmla="*/ 78 w 10354"/>
                <a:gd name="connsiteY2386" fmla="*/ 6393 h 10000"/>
                <a:gd name="connsiteX2387" fmla="*/ 74 w 10354"/>
                <a:gd name="connsiteY2387" fmla="*/ 6385 h 10000"/>
                <a:gd name="connsiteX2388" fmla="*/ 65 w 10354"/>
                <a:gd name="connsiteY2388" fmla="*/ 6393 h 10000"/>
                <a:gd name="connsiteX2389" fmla="*/ 60 w 10354"/>
                <a:gd name="connsiteY2389" fmla="*/ 6419 h 10000"/>
                <a:gd name="connsiteX2390" fmla="*/ 51 w 10354"/>
                <a:gd name="connsiteY2390" fmla="*/ 6419 h 10000"/>
                <a:gd name="connsiteX2391" fmla="*/ 46 w 10354"/>
                <a:gd name="connsiteY2391" fmla="*/ 6410 h 10000"/>
                <a:gd name="connsiteX2392" fmla="*/ 37 w 10354"/>
                <a:gd name="connsiteY2392" fmla="*/ 6393 h 10000"/>
                <a:gd name="connsiteX2393" fmla="*/ 32 w 10354"/>
                <a:gd name="connsiteY2393" fmla="*/ 6419 h 10000"/>
                <a:gd name="connsiteX2394" fmla="*/ 37 w 10354"/>
                <a:gd name="connsiteY2394" fmla="*/ 6462 h 10000"/>
                <a:gd name="connsiteX2395" fmla="*/ 46 w 10354"/>
                <a:gd name="connsiteY2395" fmla="*/ 6462 h 10000"/>
                <a:gd name="connsiteX2396" fmla="*/ 51 w 10354"/>
                <a:gd name="connsiteY2396" fmla="*/ 6470 h 10000"/>
                <a:gd name="connsiteX2397" fmla="*/ 51 w 10354"/>
                <a:gd name="connsiteY2397" fmla="*/ 6496 h 10000"/>
                <a:gd name="connsiteX2398" fmla="*/ 51 w 10354"/>
                <a:gd name="connsiteY2398" fmla="*/ 6504 h 10000"/>
                <a:gd name="connsiteX2399" fmla="*/ 37 w 10354"/>
                <a:gd name="connsiteY2399" fmla="*/ 6530 h 10000"/>
                <a:gd name="connsiteX2400" fmla="*/ 18 w 10354"/>
                <a:gd name="connsiteY2400" fmla="*/ 6598 h 10000"/>
                <a:gd name="connsiteX2401" fmla="*/ 28 w 10354"/>
                <a:gd name="connsiteY2401" fmla="*/ 6632 h 10000"/>
                <a:gd name="connsiteX2402" fmla="*/ 18 w 10354"/>
                <a:gd name="connsiteY2402" fmla="*/ 6667 h 10000"/>
                <a:gd name="connsiteX2403" fmla="*/ 28 w 10354"/>
                <a:gd name="connsiteY2403" fmla="*/ 6692 h 10000"/>
                <a:gd name="connsiteX2404" fmla="*/ 28 w 10354"/>
                <a:gd name="connsiteY2404" fmla="*/ 6709 h 10000"/>
                <a:gd name="connsiteX2405" fmla="*/ 18 w 10354"/>
                <a:gd name="connsiteY2405" fmla="*/ 6718 h 10000"/>
                <a:gd name="connsiteX2406" fmla="*/ 5 w 10354"/>
                <a:gd name="connsiteY2406" fmla="*/ 6744 h 10000"/>
                <a:gd name="connsiteX2407" fmla="*/ 0 w 10354"/>
                <a:gd name="connsiteY2407" fmla="*/ 6769 h 10000"/>
                <a:gd name="connsiteX2408" fmla="*/ 5 w 10354"/>
                <a:gd name="connsiteY2408" fmla="*/ 6778 h 10000"/>
                <a:gd name="connsiteX2409" fmla="*/ 32 w 10354"/>
                <a:gd name="connsiteY2409" fmla="*/ 6778 h 10000"/>
                <a:gd name="connsiteX2410" fmla="*/ 46 w 10354"/>
                <a:gd name="connsiteY2410" fmla="*/ 6821 h 10000"/>
                <a:gd name="connsiteX2411" fmla="*/ 46 w 10354"/>
                <a:gd name="connsiteY2411" fmla="*/ 6855 h 10000"/>
                <a:gd name="connsiteX2412" fmla="*/ 32 w 10354"/>
                <a:gd name="connsiteY2412" fmla="*/ 6855 h 10000"/>
                <a:gd name="connsiteX2413" fmla="*/ 14 w 10354"/>
                <a:gd name="connsiteY2413" fmla="*/ 6821 h 10000"/>
                <a:gd name="connsiteX2414" fmla="*/ 14 w 10354"/>
                <a:gd name="connsiteY2414" fmla="*/ 6846 h 10000"/>
                <a:gd name="connsiteX2415" fmla="*/ 0 w 10354"/>
                <a:gd name="connsiteY2415" fmla="*/ 6897 h 10000"/>
                <a:gd name="connsiteX2416" fmla="*/ 0 w 10354"/>
                <a:gd name="connsiteY2416" fmla="*/ 6915 h 10000"/>
                <a:gd name="connsiteX2417" fmla="*/ 5 w 10354"/>
                <a:gd name="connsiteY2417" fmla="*/ 6932 h 10000"/>
                <a:gd name="connsiteX2418" fmla="*/ 14 w 10354"/>
                <a:gd name="connsiteY2418" fmla="*/ 6940 h 10000"/>
                <a:gd name="connsiteX2419" fmla="*/ 18 w 10354"/>
                <a:gd name="connsiteY2419" fmla="*/ 6957 h 10000"/>
                <a:gd name="connsiteX2420" fmla="*/ 28 w 10354"/>
                <a:gd name="connsiteY2420" fmla="*/ 6966 h 10000"/>
                <a:gd name="connsiteX2421" fmla="*/ 28 w 10354"/>
                <a:gd name="connsiteY2421" fmla="*/ 6983 h 10000"/>
                <a:gd name="connsiteX2422" fmla="*/ 18 w 10354"/>
                <a:gd name="connsiteY2422" fmla="*/ 7051 h 10000"/>
                <a:gd name="connsiteX2423" fmla="*/ 28 w 10354"/>
                <a:gd name="connsiteY2423" fmla="*/ 7068 h 10000"/>
                <a:gd name="connsiteX2424" fmla="*/ 32 w 10354"/>
                <a:gd name="connsiteY2424" fmla="*/ 7068 h 10000"/>
                <a:gd name="connsiteX2425" fmla="*/ 32 w 10354"/>
                <a:gd name="connsiteY2425" fmla="*/ 7094 h 10000"/>
                <a:gd name="connsiteX2426" fmla="*/ 60 w 10354"/>
                <a:gd name="connsiteY2426" fmla="*/ 7162 h 10000"/>
                <a:gd name="connsiteX2427" fmla="*/ 60 w 10354"/>
                <a:gd name="connsiteY2427" fmla="*/ 7231 h 10000"/>
                <a:gd name="connsiteX2428" fmla="*/ 60 w 10354"/>
                <a:gd name="connsiteY2428" fmla="*/ 7239 h 10000"/>
                <a:gd name="connsiteX2429" fmla="*/ 78 w 10354"/>
                <a:gd name="connsiteY2429" fmla="*/ 7239 h 10000"/>
                <a:gd name="connsiteX2430" fmla="*/ 88 w 10354"/>
                <a:gd name="connsiteY2430" fmla="*/ 7239 h 10000"/>
                <a:gd name="connsiteX2431" fmla="*/ 92 w 10354"/>
                <a:gd name="connsiteY2431" fmla="*/ 7256 h 10000"/>
                <a:gd name="connsiteX2432" fmla="*/ 111 w 10354"/>
                <a:gd name="connsiteY2432" fmla="*/ 7256 h 10000"/>
                <a:gd name="connsiteX2433" fmla="*/ 120 w 10354"/>
                <a:gd name="connsiteY2433" fmla="*/ 7256 h 10000"/>
                <a:gd name="connsiteX2434" fmla="*/ 134 w 10354"/>
                <a:gd name="connsiteY2434" fmla="*/ 7282 h 10000"/>
                <a:gd name="connsiteX2435" fmla="*/ 134 w 10354"/>
                <a:gd name="connsiteY2435" fmla="*/ 7316 h 10000"/>
                <a:gd name="connsiteX2436" fmla="*/ 152 w 10354"/>
                <a:gd name="connsiteY2436" fmla="*/ 7299 h 10000"/>
                <a:gd name="connsiteX2437" fmla="*/ 161 w 10354"/>
                <a:gd name="connsiteY2437" fmla="*/ 7299 h 10000"/>
                <a:gd name="connsiteX2438" fmla="*/ 166 w 10354"/>
                <a:gd name="connsiteY2438" fmla="*/ 7291 h 10000"/>
                <a:gd name="connsiteX2439" fmla="*/ 194 w 10354"/>
                <a:gd name="connsiteY2439" fmla="*/ 7291 h 10000"/>
                <a:gd name="connsiteX2440" fmla="*/ 207 w 10354"/>
                <a:gd name="connsiteY2440" fmla="*/ 7299 h 10000"/>
                <a:gd name="connsiteX2441" fmla="*/ 221 w 10354"/>
                <a:gd name="connsiteY2441" fmla="*/ 7342 h 10000"/>
                <a:gd name="connsiteX2442" fmla="*/ 235 w 10354"/>
                <a:gd name="connsiteY2442" fmla="*/ 7342 h 10000"/>
                <a:gd name="connsiteX2443" fmla="*/ 235 w 10354"/>
                <a:gd name="connsiteY2443" fmla="*/ 7368 h 10000"/>
                <a:gd name="connsiteX2444" fmla="*/ 226 w 10354"/>
                <a:gd name="connsiteY2444" fmla="*/ 7393 h 10000"/>
                <a:gd name="connsiteX2445" fmla="*/ 226 w 10354"/>
                <a:gd name="connsiteY2445" fmla="*/ 7402 h 10000"/>
                <a:gd name="connsiteX2446" fmla="*/ 235 w 10354"/>
                <a:gd name="connsiteY2446" fmla="*/ 7419 h 10000"/>
                <a:gd name="connsiteX2447" fmla="*/ 240 w 10354"/>
                <a:gd name="connsiteY2447" fmla="*/ 7436 h 10000"/>
                <a:gd name="connsiteX2448" fmla="*/ 235 w 10354"/>
                <a:gd name="connsiteY2448" fmla="*/ 7462 h 10000"/>
                <a:gd name="connsiteX2449" fmla="*/ 226 w 10354"/>
                <a:gd name="connsiteY2449" fmla="*/ 7479 h 10000"/>
                <a:gd name="connsiteX2450" fmla="*/ 226 w 10354"/>
                <a:gd name="connsiteY2450" fmla="*/ 7504 h 10000"/>
                <a:gd name="connsiteX2451" fmla="*/ 226 w 10354"/>
                <a:gd name="connsiteY2451" fmla="*/ 7513 h 10000"/>
                <a:gd name="connsiteX2452" fmla="*/ 240 w 10354"/>
                <a:gd name="connsiteY2452" fmla="*/ 7538 h 10000"/>
                <a:gd name="connsiteX2453" fmla="*/ 267 w 10354"/>
                <a:gd name="connsiteY2453" fmla="*/ 7641 h 10000"/>
                <a:gd name="connsiteX2454" fmla="*/ 281 w 10354"/>
                <a:gd name="connsiteY2454" fmla="*/ 7667 h 10000"/>
                <a:gd name="connsiteX2455" fmla="*/ 286 w 10354"/>
                <a:gd name="connsiteY2455" fmla="*/ 7675 h 10000"/>
                <a:gd name="connsiteX2456" fmla="*/ 286 w 10354"/>
                <a:gd name="connsiteY2456" fmla="*/ 7692 h 10000"/>
                <a:gd name="connsiteX2457" fmla="*/ 286 w 10354"/>
                <a:gd name="connsiteY2457" fmla="*/ 7709 h 10000"/>
                <a:gd name="connsiteX2458" fmla="*/ 295 w 10354"/>
                <a:gd name="connsiteY2458" fmla="*/ 7726 h 10000"/>
                <a:gd name="connsiteX2459" fmla="*/ 318 w 10354"/>
                <a:gd name="connsiteY2459" fmla="*/ 7709 h 10000"/>
                <a:gd name="connsiteX2460" fmla="*/ 327 w 10354"/>
                <a:gd name="connsiteY2460" fmla="*/ 7726 h 10000"/>
                <a:gd name="connsiteX2461" fmla="*/ 341 w 10354"/>
                <a:gd name="connsiteY2461" fmla="*/ 7735 h 10000"/>
                <a:gd name="connsiteX2462" fmla="*/ 332 w 10354"/>
                <a:gd name="connsiteY2462" fmla="*/ 7752 h 10000"/>
                <a:gd name="connsiteX2463" fmla="*/ 341 w 10354"/>
                <a:gd name="connsiteY2463" fmla="*/ 7761 h 10000"/>
                <a:gd name="connsiteX2464" fmla="*/ 355 w 10354"/>
                <a:gd name="connsiteY2464" fmla="*/ 7761 h 10000"/>
                <a:gd name="connsiteX2465" fmla="*/ 355 w 10354"/>
                <a:gd name="connsiteY2465" fmla="*/ 7803 h 10000"/>
                <a:gd name="connsiteX2466" fmla="*/ 313 w 10354"/>
                <a:gd name="connsiteY2466" fmla="*/ 7846 h 10000"/>
                <a:gd name="connsiteX2467" fmla="*/ 295 w 10354"/>
                <a:gd name="connsiteY2467" fmla="*/ 7846 h 10000"/>
                <a:gd name="connsiteX2468" fmla="*/ 281 w 10354"/>
                <a:gd name="connsiteY2468" fmla="*/ 7821 h 10000"/>
                <a:gd name="connsiteX2469" fmla="*/ 272 w 10354"/>
                <a:gd name="connsiteY2469" fmla="*/ 7821 h 10000"/>
                <a:gd name="connsiteX2470" fmla="*/ 267 w 10354"/>
                <a:gd name="connsiteY2470" fmla="*/ 7838 h 10000"/>
                <a:gd name="connsiteX2471" fmla="*/ 258 w 10354"/>
                <a:gd name="connsiteY2471" fmla="*/ 7846 h 10000"/>
                <a:gd name="connsiteX2472" fmla="*/ 253 w 10354"/>
                <a:gd name="connsiteY2472" fmla="*/ 7863 h 10000"/>
                <a:gd name="connsiteX2473" fmla="*/ 253 w 10354"/>
                <a:gd name="connsiteY2473" fmla="*/ 7872 h 10000"/>
                <a:gd name="connsiteX2474" fmla="*/ 267 w 10354"/>
                <a:gd name="connsiteY2474" fmla="*/ 7897 h 10000"/>
                <a:gd name="connsiteX2475" fmla="*/ 272 w 10354"/>
                <a:gd name="connsiteY2475" fmla="*/ 7915 h 10000"/>
                <a:gd name="connsiteX2476" fmla="*/ 267 w 10354"/>
                <a:gd name="connsiteY2476" fmla="*/ 7940 h 10000"/>
                <a:gd name="connsiteX2477" fmla="*/ 272 w 10354"/>
                <a:gd name="connsiteY2477" fmla="*/ 7949 h 10000"/>
                <a:gd name="connsiteX2478" fmla="*/ 272 w 10354"/>
                <a:gd name="connsiteY2478" fmla="*/ 7957 h 10000"/>
                <a:gd name="connsiteX2479" fmla="*/ 281 w 10354"/>
                <a:gd name="connsiteY2479" fmla="*/ 7974 h 10000"/>
                <a:gd name="connsiteX2480" fmla="*/ 286 w 10354"/>
                <a:gd name="connsiteY2480" fmla="*/ 7983 h 10000"/>
                <a:gd name="connsiteX2481" fmla="*/ 281 w 10354"/>
                <a:gd name="connsiteY2481" fmla="*/ 8009 h 10000"/>
                <a:gd name="connsiteX2482" fmla="*/ 286 w 10354"/>
                <a:gd name="connsiteY2482" fmla="*/ 8060 h 10000"/>
                <a:gd name="connsiteX2483" fmla="*/ 286 w 10354"/>
                <a:gd name="connsiteY2483" fmla="*/ 8060 h 10000"/>
                <a:gd name="connsiteX2484" fmla="*/ 295 w 10354"/>
                <a:gd name="connsiteY2484" fmla="*/ 8077 h 10000"/>
                <a:gd name="connsiteX2485" fmla="*/ 309 w 10354"/>
                <a:gd name="connsiteY2485" fmla="*/ 8077 h 10000"/>
                <a:gd name="connsiteX2486" fmla="*/ 313 w 10354"/>
                <a:gd name="connsiteY2486" fmla="*/ 8060 h 10000"/>
                <a:gd name="connsiteX2487" fmla="*/ 318 w 10354"/>
                <a:gd name="connsiteY2487" fmla="*/ 8051 h 10000"/>
                <a:gd name="connsiteX2488" fmla="*/ 318 w 10354"/>
                <a:gd name="connsiteY2488" fmla="*/ 8034 h 10000"/>
                <a:gd name="connsiteX2489" fmla="*/ 332 w 10354"/>
                <a:gd name="connsiteY2489" fmla="*/ 8026 h 10000"/>
                <a:gd name="connsiteX2490" fmla="*/ 359 w 10354"/>
                <a:gd name="connsiteY2490" fmla="*/ 8034 h 10000"/>
                <a:gd name="connsiteX2491" fmla="*/ 378 w 10354"/>
                <a:gd name="connsiteY2491" fmla="*/ 8026 h 10000"/>
                <a:gd name="connsiteX2492" fmla="*/ 401 w 10354"/>
                <a:gd name="connsiteY2492" fmla="*/ 8026 h 10000"/>
                <a:gd name="connsiteX2493" fmla="*/ 419 w 10354"/>
                <a:gd name="connsiteY2493" fmla="*/ 8009 h 10000"/>
                <a:gd name="connsiteX2494" fmla="*/ 433 w 10354"/>
                <a:gd name="connsiteY2494" fmla="*/ 8034 h 10000"/>
                <a:gd name="connsiteX2495" fmla="*/ 442 w 10354"/>
                <a:gd name="connsiteY2495" fmla="*/ 8060 h 10000"/>
                <a:gd name="connsiteX2496" fmla="*/ 442 w 10354"/>
                <a:gd name="connsiteY2496" fmla="*/ 8077 h 10000"/>
                <a:gd name="connsiteX2497" fmla="*/ 461 w 10354"/>
                <a:gd name="connsiteY2497" fmla="*/ 8111 h 10000"/>
                <a:gd name="connsiteX2498" fmla="*/ 461 w 10354"/>
                <a:gd name="connsiteY2498" fmla="*/ 8137 h 10000"/>
                <a:gd name="connsiteX2499" fmla="*/ 447 w 10354"/>
                <a:gd name="connsiteY2499" fmla="*/ 8145 h 10000"/>
                <a:gd name="connsiteX2500" fmla="*/ 442 w 10354"/>
                <a:gd name="connsiteY2500" fmla="*/ 8145 h 10000"/>
                <a:gd name="connsiteX2501" fmla="*/ 442 w 10354"/>
                <a:gd name="connsiteY2501" fmla="*/ 8162 h 10000"/>
                <a:gd name="connsiteX2502" fmla="*/ 442 w 10354"/>
                <a:gd name="connsiteY2502" fmla="*/ 8171 h 10000"/>
                <a:gd name="connsiteX2503" fmla="*/ 447 w 10354"/>
                <a:gd name="connsiteY2503" fmla="*/ 8214 h 10000"/>
                <a:gd name="connsiteX2504" fmla="*/ 465 w 10354"/>
                <a:gd name="connsiteY2504" fmla="*/ 8231 h 10000"/>
                <a:gd name="connsiteX2505" fmla="*/ 488 w 10354"/>
                <a:gd name="connsiteY2505" fmla="*/ 8231 h 10000"/>
                <a:gd name="connsiteX2506" fmla="*/ 493 w 10354"/>
                <a:gd name="connsiteY2506" fmla="*/ 8231 h 10000"/>
                <a:gd name="connsiteX2507" fmla="*/ 502 w 10354"/>
                <a:gd name="connsiteY2507" fmla="*/ 8231 h 10000"/>
                <a:gd name="connsiteX2508" fmla="*/ 507 w 10354"/>
                <a:gd name="connsiteY2508" fmla="*/ 8248 h 10000"/>
                <a:gd name="connsiteX2509" fmla="*/ 521 w 10354"/>
                <a:gd name="connsiteY2509" fmla="*/ 8274 h 10000"/>
                <a:gd name="connsiteX2510" fmla="*/ 525 w 10354"/>
                <a:gd name="connsiteY2510" fmla="*/ 8333 h 10000"/>
                <a:gd name="connsiteX2511" fmla="*/ 525 w 10354"/>
                <a:gd name="connsiteY2511" fmla="*/ 8359 h 10000"/>
                <a:gd name="connsiteX2512" fmla="*/ 525 w 10354"/>
                <a:gd name="connsiteY2512" fmla="*/ 8368 h 10000"/>
                <a:gd name="connsiteX2513" fmla="*/ 548 w 10354"/>
                <a:gd name="connsiteY2513" fmla="*/ 8393 h 10000"/>
                <a:gd name="connsiteX2514" fmla="*/ 553 w 10354"/>
                <a:gd name="connsiteY2514" fmla="*/ 8385 h 10000"/>
                <a:gd name="connsiteX2515" fmla="*/ 562 w 10354"/>
                <a:gd name="connsiteY2515" fmla="*/ 8385 h 10000"/>
                <a:gd name="connsiteX2516" fmla="*/ 576 w 10354"/>
                <a:gd name="connsiteY2516" fmla="*/ 8385 h 10000"/>
                <a:gd name="connsiteX2517" fmla="*/ 585 w 10354"/>
                <a:gd name="connsiteY2517" fmla="*/ 8410 h 10000"/>
                <a:gd name="connsiteX2518" fmla="*/ 594 w 10354"/>
                <a:gd name="connsiteY2518" fmla="*/ 8410 h 10000"/>
                <a:gd name="connsiteX2519" fmla="*/ 608 w 10354"/>
                <a:gd name="connsiteY2519" fmla="*/ 8410 h 10000"/>
                <a:gd name="connsiteX2520" fmla="*/ 654 w 10354"/>
                <a:gd name="connsiteY2520" fmla="*/ 8385 h 10000"/>
                <a:gd name="connsiteX2521" fmla="*/ 659 w 10354"/>
                <a:gd name="connsiteY2521" fmla="*/ 8385 h 10000"/>
                <a:gd name="connsiteX2522" fmla="*/ 696 w 10354"/>
                <a:gd name="connsiteY2522" fmla="*/ 8470 h 10000"/>
                <a:gd name="connsiteX2523" fmla="*/ 700 w 10354"/>
                <a:gd name="connsiteY2523" fmla="*/ 8470 h 10000"/>
                <a:gd name="connsiteX2524" fmla="*/ 710 w 10354"/>
                <a:gd name="connsiteY2524" fmla="*/ 8462 h 10000"/>
                <a:gd name="connsiteX2525" fmla="*/ 714 w 10354"/>
                <a:gd name="connsiteY2525" fmla="*/ 8462 h 10000"/>
                <a:gd name="connsiteX2526" fmla="*/ 724 w 10354"/>
                <a:gd name="connsiteY2526" fmla="*/ 8470 h 10000"/>
                <a:gd name="connsiteX2527" fmla="*/ 733 w 10354"/>
                <a:gd name="connsiteY2527" fmla="*/ 8470 h 10000"/>
                <a:gd name="connsiteX2528" fmla="*/ 742 w 10354"/>
                <a:gd name="connsiteY2528" fmla="*/ 8487 h 10000"/>
                <a:gd name="connsiteX2529" fmla="*/ 747 w 10354"/>
                <a:gd name="connsiteY2529" fmla="*/ 8496 h 10000"/>
                <a:gd name="connsiteX2530" fmla="*/ 770 w 10354"/>
                <a:gd name="connsiteY2530" fmla="*/ 8496 h 10000"/>
                <a:gd name="connsiteX2531" fmla="*/ 783 w 10354"/>
                <a:gd name="connsiteY2531" fmla="*/ 8521 h 10000"/>
                <a:gd name="connsiteX2532" fmla="*/ 797 w 10354"/>
                <a:gd name="connsiteY2532" fmla="*/ 8521 h 10000"/>
                <a:gd name="connsiteX2533" fmla="*/ 806 w 10354"/>
                <a:gd name="connsiteY2533" fmla="*/ 8530 h 10000"/>
                <a:gd name="connsiteX2534" fmla="*/ 829 w 10354"/>
                <a:gd name="connsiteY2534" fmla="*/ 8547 h 10000"/>
                <a:gd name="connsiteX2535" fmla="*/ 834 w 10354"/>
                <a:gd name="connsiteY2535" fmla="*/ 8556 h 10000"/>
                <a:gd name="connsiteX2536" fmla="*/ 829 w 10354"/>
                <a:gd name="connsiteY2536" fmla="*/ 8556 h 10000"/>
                <a:gd name="connsiteX2537" fmla="*/ 834 w 10354"/>
                <a:gd name="connsiteY2537" fmla="*/ 8607 h 10000"/>
                <a:gd name="connsiteX2538" fmla="*/ 829 w 10354"/>
                <a:gd name="connsiteY2538" fmla="*/ 8641 h 10000"/>
                <a:gd name="connsiteX2539" fmla="*/ 806 w 10354"/>
                <a:gd name="connsiteY2539" fmla="*/ 8658 h 10000"/>
                <a:gd name="connsiteX2540" fmla="*/ 816 w 10354"/>
                <a:gd name="connsiteY2540" fmla="*/ 8667 h 10000"/>
                <a:gd name="connsiteX2541" fmla="*/ 820 w 10354"/>
                <a:gd name="connsiteY2541" fmla="*/ 8667 h 10000"/>
                <a:gd name="connsiteX2542" fmla="*/ 829 w 10354"/>
                <a:gd name="connsiteY2542" fmla="*/ 8684 h 10000"/>
                <a:gd name="connsiteX2543" fmla="*/ 806 w 10354"/>
                <a:gd name="connsiteY2543" fmla="*/ 8692 h 10000"/>
                <a:gd name="connsiteX2544" fmla="*/ 802 w 10354"/>
                <a:gd name="connsiteY2544" fmla="*/ 8709 h 10000"/>
                <a:gd name="connsiteX2545" fmla="*/ 802 w 10354"/>
                <a:gd name="connsiteY2545" fmla="*/ 8735 h 10000"/>
                <a:gd name="connsiteX2546" fmla="*/ 806 w 10354"/>
                <a:gd name="connsiteY2546" fmla="*/ 8744 h 10000"/>
                <a:gd name="connsiteX2547" fmla="*/ 816 w 10354"/>
                <a:gd name="connsiteY2547" fmla="*/ 8752 h 10000"/>
                <a:gd name="connsiteX2548" fmla="*/ 806 w 10354"/>
                <a:gd name="connsiteY2548" fmla="*/ 8778 h 10000"/>
                <a:gd name="connsiteX2549" fmla="*/ 820 w 10354"/>
                <a:gd name="connsiteY2549" fmla="*/ 8778 h 10000"/>
                <a:gd name="connsiteX2550" fmla="*/ 806 w 10354"/>
                <a:gd name="connsiteY2550" fmla="*/ 8880 h 10000"/>
                <a:gd name="connsiteX2551" fmla="*/ 797 w 10354"/>
                <a:gd name="connsiteY2551" fmla="*/ 8880 h 10000"/>
                <a:gd name="connsiteX2552" fmla="*/ 783 w 10354"/>
                <a:gd name="connsiteY2552" fmla="*/ 8872 h 10000"/>
                <a:gd name="connsiteX2553" fmla="*/ 770 w 10354"/>
                <a:gd name="connsiteY2553" fmla="*/ 8880 h 10000"/>
                <a:gd name="connsiteX2554" fmla="*/ 756 w 10354"/>
                <a:gd name="connsiteY2554" fmla="*/ 8855 h 10000"/>
                <a:gd name="connsiteX2555" fmla="*/ 733 w 10354"/>
                <a:gd name="connsiteY2555" fmla="*/ 8906 h 10000"/>
                <a:gd name="connsiteX2556" fmla="*/ 714 w 10354"/>
                <a:gd name="connsiteY2556" fmla="*/ 8915 h 10000"/>
                <a:gd name="connsiteX2557" fmla="*/ 710 w 10354"/>
                <a:gd name="connsiteY2557" fmla="*/ 8940 h 10000"/>
                <a:gd name="connsiteX2558" fmla="*/ 710 w 10354"/>
                <a:gd name="connsiteY2558" fmla="*/ 9009 h 10000"/>
                <a:gd name="connsiteX2559" fmla="*/ 728 w 10354"/>
                <a:gd name="connsiteY2559" fmla="*/ 8991 h 10000"/>
                <a:gd name="connsiteX2560" fmla="*/ 733 w 10354"/>
                <a:gd name="connsiteY2560" fmla="*/ 8991 h 10000"/>
                <a:gd name="connsiteX2561" fmla="*/ 747 w 10354"/>
                <a:gd name="connsiteY2561" fmla="*/ 8983 h 10000"/>
                <a:gd name="connsiteX2562" fmla="*/ 760 w 10354"/>
                <a:gd name="connsiteY2562" fmla="*/ 8983 h 10000"/>
                <a:gd name="connsiteX2563" fmla="*/ 770 w 10354"/>
                <a:gd name="connsiteY2563" fmla="*/ 8983 h 10000"/>
                <a:gd name="connsiteX2564" fmla="*/ 770 w 10354"/>
                <a:gd name="connsiteY2564" fmla="*/ 8991 h 10000"/>
                <a:gd name="connsiteX2565" fmla="*/ 783 w 10354"/>
                <a:gd name="connsiteY2565" fmla="*/ 8991 h 10000"/>
                <a:gd name="connsiteX2566" fmla="*/ 783 w 10354"/>
                <a:gd name="connsiteY2566" fmla="*/ 9009 h 10000"/>
                <a:gd name="connsiteX2567" fmla="*/ 783 w 10354"/>
                <a:gd name="connsiteY2567" fmla="*/ 9017 h 10000"/>
                <a:gd name="connsiteX2568" fmla="*/ 770 w 10354"/>
                <a:gd name="connsiteY2568" fmla="*/ 9017 h 10000"/>
                <a:gd name="connsiteX2569" fmla="*/ 724 w 10354"/>
                <a:gd name="connsiteY2569" fmla="*/ 9051 h 10000"/>
                <a:gd name="connsiteX2570" fmla="*/ 724 w 10354"/>
                <a:gd name="connsiteY2570" fmla="*/ 9068 h 10000"/>
                <a:gd name="connsiteX2571" fmla="*/ 728 w 10354"/>
                <a:gd name="connsiteY2571" fmla="*/ 9077 h 10000"/>
                <a:gd name="connsiteX2572" fmla="*/ 724 w 10354"/>
                <a:gd name="connsiteY2572" fmla="*/ 9077 h 10000"/>
                <a:gd name="connsiteX2573" fmla="*/ 710 w 10354"/>
                <a:gd name="connsiteY2573" fmla="*/ 9077 h 10000"/>
                <a:gd name="connsiteX2574" fmla="*/ 682 w 10354"/>
                <a:gd name="connsiteY2574" fmla="*/ 9077 h 10000"/>
                <a:gd name="connsiteX2575" fmla="*/ 673 w 10354"/>
                <a:gd name="connsiteY2575" fmla="*/ 9103 h 10000"/>
                <a:gd name="connsiteX2576" fmla="*/ 687 w 10354"/>
                <a:gd name="connsiteY2576" fmla="*/ 9128 h 10000"/>
                <a:gd name="connsiteX2577" fmla="*/ 700 w 10354"/>
                <a:gd name="connsiteY2577" fmla="*/ 9128 h 10000"/>
                <a:gd name="connsiteX2578" fmla="*/ 728 w 10354"/>
                <a:gd name="connsiteY2578" fmla="*/ 9179 h 10000"/>
                <a:gd name="connsiteX2579" fmla="*/ 724 w 10354"/>
                <a:gd name="connsiteY2579" fmla="*/ 9188 h 10000"/>
                <a:gd name="connsiteX2580" fmla="*/ 710 w 10354"/>
                <a:gd name="connsiteY2580" fmla="*/ 9179 h 10000"/>
                <a:gd name="connsiteX2581" fmla="*/ 700 w 10354"/>
                <a:gd name="connsiteY2581" fmla="*/ 9205 h 10000"/>
                <a:gd name="connsiteX2582" fmla="*/ 696 w 10354"/>
                <a:gd name="connsiteY2582" fmla="*/ 9205 h 10000"/>
                <a:gd name="connsiteX2583" fmla="*/ 654 w 10354"/>
                <a:gd name="connsiteY2583" fmla="*/ 9299 h 10000"/>
                <a:gd name="connsiteX2584" fmla="*/ 622 w 10354"/>
                <a:gd name="connsiteY2584" fmla="*/ 9299 h 10000"/>
                <a:gd name="connsiteX2585" fmla="*/ 613 w 10354"/>
                <a:gd name="connsiteY2585" fmla="*/ 9316 h 10000"/>
                <a:gd name="connsiteX2586" fmla="*/ 613 w 10354"/>
                <a:gd name="connsiteY2586" fmla="*/ 9325 h 10000"/>
                <a:gd name="connsiteX2587" fmla="*/ 608 w 10354"/>
                <a:gd name="connsiteY2587" fmla="*/ 9342 h 10000"/>
                <a:gd name="connsiteX2588" fmla="*/ 636 w 10354"/>
                <a:gd name="connsiteY2588" fmla="*/ 9376 h 10000"/>
                <a:gd name="connsiteX2589" fmla="*/ 641 w 10354"/>
                <a:gd name="connsiteY2589" fmla="*/ 9402 h 10000"/>
                <a:gd name="connsiteX2590" fmla="*/ 654 w 10354"/>
                <a:gd name="connsiteY2590" fmla="*/ 9427 h 10000"/>
                <a:gd name="connsiteX2591" fmla="*/ 668 w 10354"/>
                <a:gd name="connsiteY2591" fmla="*/ 9427 h 10000"/>
                <a:gd name="connsiteX2592" fmla="*/ 668 w 10354"/>
                <a:gd name="connsiteY2592" fmla="*/ 9427 h 10000"/>
                <a:gd name="connsiteX2593" fmla="*/ 774 w 10354"/>
                <a:gd name="connsiteY2593" fmla="*/ 9547 h 10000"/>
                <a:gd name="connsiteX2594" fmla="*/ 797 w 10354"/>
                <a:gd name="connsiteY2594" fmla="*/ 9598 h 10000"/>
                <a:gd name="connsiteX2595" fmla="*/ 802 w 10354"/>
                <a:gd name="connsiteY2595" fmla="*/ 9598 h 10000"/>
                <a:gd name="connsiteX2596" fmla="*/ 816 w 10354"/>
                <a:gd name="connsiteY2596" fmla="*/ 9624 h 10000"/>
                <a:gd name="connsiteX2597" fmla="*/ 843 w 10354"/>
                <a:gd name="connsiteY2597" fmla="*/ 9615 h 10000"/>
                <a:gd name="connsiteX2598" fmla="*/ 857 w 10354"/>
                <a:gd name="connsiteY2598" fmla="*/ 9624 h 10000"/>
                <a:gd name="connsiteX2599" fmla="*/ 862 w 10354"/>
                <a:gd name="connsiteY2599" fmla="*/ 9615 h 10000"/>
                <a:gd name="connsiteX2600" fmla="*/ 880 w 10354"/>
                <a:gd name="connsiteY2600" fmla="*/ 9624 h 10000"/>
                <a:gd name="connsiteX2601" fmla="*/ 889 w 10354"/>
                <a:gd name="connsiteY2601" fmla="*/ 9641 h 10000"/>
                <a:gd name="connsiteX2602" fmla="*/ 935 w 10354"/>
                <a:gd name="connsiteY2602" fmla="*/ 9675 h 10000"/>
                <a:gd name="connsiteX2603" fmla="*/ 977 w 10354"/>
                <a:gd name="connsiteY2603" fmla="*/ 9667 h 10000"/>
                <a:gd name="connsiteX2604" fmla="*/ 995 w 10354"/>
                <a:gd name="connsiteY2604" fmla="*/ 9675 h 10000"/>
                <a:gd name="connsiteX2605" fmla="*/ 1014 w 10354"/>
                <a:gd name="connsiteY2605" fmla="*/ 9675 h 10000"/>
                <a:gd name="connsiteX2606" fmla="*/ 1069 w 10354"/>
                <a:gd name="connsiteY2606" fmla="*/ 9752 h 10000"/>
                <a:gd name="connsiteX2607" fmla="*/ 1074 w 10354"/>
                <a:gd name="connsiteY2607" fmla="*/ 9761 h 10000"/>
                <a:gd name="connsiteX2608" fmla="*/ 1083 w 10354"/>
                <a:gd name="connsiteY2608" fmla="*/ 9778 h 10000"/>
                <a:gd name="connsiteX2609" fmla="*/ 1115 w 10354"/>
                <a:gd name="connsiteY2609" fmla="*/ 9752 h 10000"/>
                <a:gd name="connsiteX2610" fmla="*/ 1129 w 10354"/>
                <a:gd name="connsiteY2610" fmla="*/ 9752 h 10000"/>
                <a:gd name="connsiteX2611" fmla="*/ 1138 w 10354"/>
                <a:gd name="connsiteY2611" fmla="*/ 9761 h 10000"/>
                <a:gd name="connsiteX2612" fmla="*/ 1143 w 10354"/>
                <a:gd name="connsiteY2612" fmla="*/ 9752 h 10000"/>
                <a:gd name="connsiteX2613" fmla="*/ 1161 w 10354"/>
                <a:gd name="connsiteY2613" fmla="*/ 9761 h 10000"/>
                <a:gd name="connsiteX2614" fmla="*/ 1171 w 10354"/>
                <a:gd name="connsiteY2614" fmla="*/ 9778 h 10000"/>
                <a:gd name="connsiteX2615" fmla="*/ 1175 w 10354"/>
                <a:gd name="connsiteY2615" fmla="*/ 9778 h 10000"/>
                <a:gd name="connsiteX2616" fmla="*/ 1189 w 10354"/>
                <a:gd name="connsiteY2616" fmla="*/ 9778 h 10000"/>
                <a:gd name="connsiteX2617" fmla="*/ 1198 w 10354"/>
                <a:gd name="connsiteY2617" fmla="*/ 9786 h 10000"/>
                <a:gd name="connsiteX2618" fmla="*/ 1203 w 10354"/>
                <a:gd name="connsiteY2618" fmla="*/ 9803 h 10000"/>
                <a:gd name="connsiteX2619" fmla="*/ 1198 w 10354"/>
                <a:gd name="connsiteY2619" fmla="*/ 9838 h 10000"/>
                <a:gd name="connsiteX2620" fmla="*/ 1212 w 10354"/>
                <a:gd name="connsiteY2620" fmla="*/ 9863 h 10000"/>
                <a:gd name="connsiteX2621" fmla="*/ 1230 w 10354"/>
                <a:gd name="connsiteY2621" fmla="*/ 9872 h 10000"/>
                <a:gd name="connsiteX2622" fmla="*/ 1249 w 10354"/>
                <a:gd name="connsiteY2622" fmla="*/ 9897 h 10000"/>
                <a:gd name="connsiteX2623" fmla="*/ 1263 w 10354"/>
                <a:gd name="connsiteY2623" fmla="*/ 9897 h 10000"/>
                <a:gd name="connsiteX2624" fmla="*/ 1276 w 10354"/>
                <a:gd name="connsiteY2624" fmla="*/ 9923 h 10000"/>
                <a:gd name="connsiteX2625" fmla="*/ 1281 w 10354"/>
                <a:gd name="connsiteY2625" fmla="*/ 9949 h 10000"/>
                <a:gd name="connsiteX2626" fmla="*/ 1290 w 10354"/>
                <a:gd name="connsiteY2626" fmla="*/ 9949 h 10000"/>
                <a:gd name="connsiteX2627" fmla="*/ 1295 w 10354"/>
                <a:gd name="connsiteY2627" fmla="*/ 10000 h 10000"/>
                <a:gd name="connsiteX2628" fmla="*/ 1332 w 10354"/>
                <a:gd name="connsiteY2628" fmla="*/ 10000 h 10000"/>
                <a:gd name="connsiteX2629" fmla="*/ 1336 w 10354"/>
                <a:gd name="connsiteY2629" fmla="*/ 10000 h 10000"/>
                <a:gd name="connsiteX2630" fmla="*/ 1346 w 10354"/>
                <a:gd name="connsiteY2630" fmla="*/ 9983 h 10000"/>
                <a:gd name="connsiteX2631" fmla="*/ 1350 w 10354"/>
                <a:gd name="connsiteY2631" fmla="*/ 9949 h 10000"/>
                <a:gd name="connsiteX2632" fmla="*/ 1369 w 10354"/>
                <a:gd name="connsiteY2632" fmla="*/ 9940 h 10000"/>
                <a:gd name="connsiteX2633" fmla="*/ 1378 w 10354"/>
                <a:gd name="connsiteY2633" fmla="*/ 9897 h 10000"/>
                <a:gd name="connsiteX2634" fmla="*/ 1369 w 10354"/>
                <a:gd name="connsiteY2634" fmla="*/ 9889 h 10000"/>
                <a:gd name="connsiteX2635" fmla="*/ 1318 w 10354"/>
                <a:gd name="connsiteY2635" fmla="*/ 9701 h 10000"/>
                <a:gd name="connsiteX2636" fmla="*/ 1318 w 10354"/>
                <a:gd name="connsiteY2636" fmla="*/ 9650 h 10000"/>
                <a:gd name="connsiteX2637" fmla="*/ 1323 w 10354"/>
                <a:gd name="connsiteY2637" fmla="*/ 9590 h 10000"/>
                <a:gd name="connsiteX2638" fmla="*/ 1323 w 10354"/>
                <a:gd name="connsiteY2638" fmla="*/ 9564 h 10000"/>
                <a:gd name="connsiteX2639" fmla="*/ 1309 w 10354"/>
                <a:gd name="connsiteY2639" fmla="*/ 9598 h 10000"/>
                <a:gd name="connsiteX2640" fmla="*/ 1309 w 10354"/>
                <a:gd name="connsiteY2640" fmla="*/ 9590 h 10000"/>
                <a:gd name="connsiteX2641" fmla="*/ 1304 w 10354"/>
                <a:gd name="connsiteY2641" fmla="*/ 9547 h 10000"/>
                <a:gd name="connsiteX2642" fmla="*/ 1276 w 10354"/>
                <a:gd name="connsiteY2642" fmla="*/ 9479 h 10000"/>
                <a:gd name="connsiteX2643" fmla="*/ 1263 w 10354"/>
                <a:gd name="connsiteY2643" fmla="*/ 9479 h 10000"/>
                <a:gd name="connsiteX2644" fmla="*/ 1263 w 10354"/>
                <a:gd name="connsiteY2644" fmla="*/ 9453 h 10000"/>
                <a:gd name="connsiteX2645" fmla="*/ 1272 w 10354"/>
                <a:gd name="connsiteY2645" fmla="*/ 9410 h 10000"/>
                <a:gd name="connsiteX2646" fmla="*/ 1272 w 10354"/>
                <a:gd name="connsiteY2646" fmla="*/ 9393 h 10000"/>
                <a:gd name="connsiteX2647" fmla="*/ 1281 w 10354"/>
                <a:gd name="connsiteY2647" fmla="*/ 9368 h 10000"/>
                <a:gd name="connsiteX2648" fmla="*/ 1281 w 10354"/>
                <a:gd name="connsiteY2648" fmla="*/ 9368 h 10000"/>
                <a:gd name="connsiteX2649" fmla="*/ 1290 w 10354"/>
                <a:gd name="connsiteY2649" fmla="*/ 9368 h 10000"/>
                <a:gd name="connsiteX2650" fmla="*/ 1290 w 10354"/>
                <a:gd name="connsiteY2650" fmla="*/ 9342 h 10000"/>
                <a:gd name="connsiteX2651" fmla="*/ 1304 w 10354"/>
                <a:gd name="connsiteY2651" fmla="*/ 9325 h 10000"/>
                <a:gd name="connsiteX2652" fmla="*/ 1309 w 10354"/>
                <a:gd name="connsiteY2652" fmla="*/ 9239 h 10000"/>
                <a:gd name="connsiteX2653" fmla="*/ 1318 w 10354"/>
                <a:gd name="connsiteY2653" fmla="*/ 9256 h 10000"/>
                <a:gd name="connsiteX2654" fmla="*/ 1323 w 10354"/>
                <a:gd name="connsiteY2654" fmla="*/ 9179 h 10000"/>
                <a:gd name="connsiteX2655" fmla="*/ 1309 w 10354"/>
                <a:gd name="connsiteY2655" fmla="*/ 9145 h 10000"/>
                <a:gd name="connsiteX2656" fmla="*/ 1336 w 10354"/>
                <a:gd name="connsiteY2656" fmla="*/ 9154 h 10000"/>
                <a:gd name="connsiteX2657" fmla="*/ 1336 w 10354"/>
                <a:gd name="connsiteY2657" fmla="*/ 9162 h 10000"/>
                <a:gd name="connsiteX2658" fmla="*/ 1350 w 10354"/>
                <a:gd name="connsiteY2658" fmla="*/ 9231 h 10000"/>
                <a:gd name="connsiteX2659" fmla="*/ 1355 w 10354"/>
                <a:gd name="connsiteY2659" fmla="*/ 9231 h 10000"/>
                <a:gd name="connsiteX2660" fmla="*/ 1364 w 10354"/>
                <a:gd name="connsiteY2660" fmla="*/ 9214 h 10000"/>
                <a:gd name="connsiteX2661" fmla="*/ 1369 w 10354"/>
                <a:gd name="connsiteY2661" fmla="*/ 9214 h 10000"/>
                <a:gd name="connsiteX2662" fmla="*/ 1382 w 10354"/>
                <a:gd name="connsiteY2662" fmla="*/ 9154 h 10000"/>
                <a:gd name="connsiteX2663" fmla="*/ 1396 w 10354"/>
                <a:gd name="connsiteY2663" fmla="*/ 9154 h 10000"/>
                <a:gd name="connsiteX2664" fmla="*/ 1382 w 10354"/>
                <a:gd name="connsiteY2664" fmla="*/ 9145 h 10000"/>
                <a:gd name="connsiteX2665" fmla="*/ 1382 w 10354"/>
                <a:gd name="connsiteY2665" fmla="*/ 9128 h 10000"/>
                <a:gd name="connsiteX2666" fmla="*/ 1369 w 10354"/>
                <a:gd name="connsiteY2666" fmla="*/ 9128 h 10000"/>
                <a:gd name="connsiteX2667" fmla="*/ 1364 w 10354"/>
                <a:gd name="connsiteY2667" fmla="*/ 9128 h 10000"/>
                <a:gd name="connsiteX2668" fmla="*/ 1355 w 10354"/>
                <a:gd name="connsiteY2668" fmla="*/ 9120 h 10000"/>
                <a:gd name="connsiteX2669" fmla="*/ 1350 w 10354"/>
                <a:gd name="connsiteY2669" fmla="*/ 9103 h 10000"/>
                <a:gd name="connsiteX2670" fmla="*/ 1355 w 10354"/>
                <a:gd name="connsiteY2670" fmla="*/ 9094 h 10000"/>
                <a:gd name="connsiteX2671" fmla="*/ 1355 w 10354"/>
                <a:gd name="connsiteY2671" fmla="*/ 9068 h 10000"/>
                <a:gd name="connsiteX2672" fmla="*/ 1369 w 10354"/>
                <a:gd name="connsiteY2672" fmla="*/ 9068 h 10000"/>
                <a:gd name="connsiteX2673" fmla="*/ 1378 w 10354"/>
                <a:gd name="connsiteY2673" fmla="*/ 9077 h 10000"/>
                <a:gd name="connsiteX2674" fmla="*/ 1396 w 10354"/>
                <a:gd name="connsiteY2674" fmla="*/ 9068 h 10000"/>
                <a:gd name="connsiteX2675" fmla="*/ 1382 w 10354"/>
                <a:gd name="connsiteY2675" fmla="*/ 8940 h 10000"/>
                <a:gd name="connsiteX2676" fmla="*/ 1378 w 10354"/>
                <a:gd name="connsiteY2676" fmla="*/ 8940 h 10000"/>
                <a:gd name="connsiteX2677" fmla="*/ 1364 w 10354"/>
                <a:gd name="connsiteY2677" fmla="*/ 8889 h 10000"/>
                <a:gd name="connsiteX2678" fmla="*/ 1355 w 10354"/>
                <a:gd name="connsiteY2678" fmla="*/ 8880 h 10000"/>
                <a:gd name="connsiteX2679" fmla="*/ 1323 w 10354"/>
                <a:gd name="connsiteY2679" fmla="*/ 8880 h 10000"/>
                <a:gd name="connsiteX2680" fmla="*/ 1309 w 10354"/>
                <a:gd name="connsiteY2680" fmla="*/ 8880 h 10000"/>
                <a:gd name="connsiteX2681" fmla="*/ 1309 w 10354"/>
                <a:gd name="connsiteY2681" fmla="*/ 8889 h 10000"/>
                <a:gd name="connsiteX2682" fmla="*/ 1295 w 10354"/>
                <a:gd name="connsiteY2682" fmla="*/ 8872 h 10000"/>
                <a:gd name="connsiteX2683" fmla="*/ 1290 w 10354"/>
                <a:gd name="connsiteY2683" fmla="*/ 8855 h 10000"/>
                <a:gd name="connsiteX2684" fmla="*/ 1290 w 10354"/>
                <a:gd name="connsiteY2684" fmla="*/ 8829 h 10000"/>
                <a:gd name="connsiteX2685" fmla="*/ 1290 w 10354"/>
                <a:gd name="connsiteY2685" fmla="*/ 8821 h 10000"/>
                <a:gd name="connsiteX2686" fmla="*/ 1290 w 10354"/>
                <a:gd name="connsiteY2686" fmla="*/ 8803 h 10000"/>
                <a:gd name="connsiteX2687" fmla="*/ 1281 w 10354"/>
                <a:gd name="connsiteY2687" fmla="*/ 8795 h 10000"/>
                <a:gd name="connsiteX2688" fmla="*/ 1249 w 10354"/>
                <a:gd name="connsiteY2688" fmla="*/ 8769 h 10000"/>
                <a:gd name="connsiteX2689" fmla="*/ 1263 w 10354"/>
                <a:gd name="connsiteY2689" fmla="*/ 8667 h 10000"/>
                <a:gd name="connsiteX2690" fmla="*/ 1281 w 10354"/>
                <a:gd name="connsiteY2690" fmla="*/ 8658 h 10000"/>
                <a:gd name="connsiteX2691" fmla="*/ 1290 w 10354"/>
                <a:gd name="connsiteY2691" fmla="*/ 8632 h 10000"/>
                <a:gd name="connsiteX2692" fmla="*/ 1281 w 10354"/>
                <a:gd name="connsiteY2692" fmla="*/ 8615 h 10000"/>
                <a:gd name="connsiteX2693" fmla="*/ 1272 w 10354"/>
                <a:gd name="connsiteY2693" fmla="*/ 8598 h 10000"/>
                <a:gd name="connsiteX2694" fmla="*/ 1281 w 10354"/>
                <a:gd name="connsiteY2694" fmla="*/ 8496 h 10000"/>
                <a:gd name="connsiteX2695" fmla="*/ 1295 w 10354"/>
                <a:gd name="connsiteY2695" fmla="*/ 8470 h 10000"/>
                <a:gd name="connsiteX2696" fmla="*/ 1304 w 10354"/>
                <a:gd name="connsiteY2696" fmla="*/ 8462 h 10000"/>
                <a:gd name="connsiteX2697" fmla="*/ 1304 w 10354"/>
                <a:gd name="connsiteY2697" fmla="*/ 8444 h 10000"/>
                <a:gd name="connsiteX2698" fmla="*/ 1304 w 10354"/>
                <a:gd name="connsiteY2698" fmla="*/ 8419 h 10000"/>
                <a:gd name="connsiteX2699" fmla="*/ 1304 w 10354"/>
                <a:gd name="connsiteY2699" fmla="*/ 8410 h 10000"/>
                <a:gd name="connsiteX2700" fmla="*/ 1309 w 10354"/>
                <a:gd name="connsiteY2700" fmla="*/ 8393 h 10000"/>
                <a:gd name="connsiteX2701" fmla="*/ 1318 w 10354"/>
                <a:gd name="connsiteY2701" fmla="*/ 8385 h 10000"/>
                <a:gd name="connsiteX2702" fmla="*/ 1323 w 10354"/>
                <a:gd name="connsiteY2702" fmla="*/ 8385 h 10000"/>
                <a:gd name="connsiteX2703" fmla="*/ 1332 w 10354"/>
                <a:gd name="connsiteY2703" fmla="*/ 8410 h 10000"/>
                <a:gd name="connsiteX2704" fmla="*/ 1346 w 10354"/>
                <a:gd name="connsiteY2704" fmla="*/ 8419 h 10000"/>
                <a:gd name="connsiteX2705" fmla="*/ 1364 w 10354"/>
                <a:gd name="connsiteY2705" fmla="*/ 8504 h 10000"/>
                <a:gd name="connsiteX2706" fmla="*/ 1369 w 10354"/>
                <a:gd name="connsiteY2706" fmla="*/ 8521 h 10000"/>
                <a:gd name="connsiteX2707" fmla="*/ 1406 w 10354"/>
                <a:gd name="connsiteY2707" fmla="*/ 8470 h 10000"/>
                <a:gd name="connsiteX2708" fmla="*/ 1382 w 10354"/>
                <a:gd name="connsiteY2708" fmla="*/ 8359 h 10000"/>
                <a:gd name="connsiteX2709" fmla="*/ 1392 w 10354"/>
                <a:gd name="connsiteY2709" fmla="*/ 8359 h 10000"/>
                <a:gd name="connsiteX2710" fmla="*/ 1438 w 10354"/>
                <a:gd name="connsiteY2710" fmla="*/ 8308 h 10000"/>
                <a:gd name="connsiteX2711" fmla="*/ 1442 w 10354"/>
                <a:gd name="connsiteY2711" fmla="*/ 8299 h 10000"/>
                <a:gd name="connsiteX2712" fmla="*/ 1442 w 10354"/>
                <a:gd name="connsiteY2712" fmla="*/ 8256 h 10000"/>
                <a:gd name="connsiteX2713" fmla="*/ 1452 w 10354"/>
                <a:gd name="connsiteY2713" fmla="*/ 8256 h 10000"/>
                <a:gd name="connsiteX2714" fmla="*/ 1456 w 10354"/>
                <a:gd name="connsiteY2714" fmla="*/ 8256 h 10000"/>
                <a:gd name="connsiteX2715" fmla="*/ 1470 w 10354"/>
                <a:gd name="connsiteY2715" fmla="*/ 8248 h 10000"/>
                <a:gd name="connsiteX2716" fmla="*/ 1479 w 10354"/>
                <a:gd name="connsiteY2716" fmla="*/ 8231 h 10000"/>
                <a:gd name="connsiteX2717" fmla="*/ 1493 w 10354"/>
                <a:gd name="connsiteY2717" fmla="*/ 8222 h 10000"/>
                <a:gd name="connsiteX2718" fmla="*/ 1498 w 10354"/>
                <a:gd name="connsiteY2718" fmla="*/ 8214 h 10000"/>
                <a:gd name="connsiteX2719" fmla="*/ 1502 w 10354"/>
                <a:gd name="connsiteY2719" fmla="*/ 8197 h 10000"/>
                <a:gd name="connsiteX2720" fmla="*/ 1512 w 10354"/>
                <a:gd name="connsiteY2720" fmla="*/ 8188 h 10000"/>
                <a:gd name="connsiteX2721" fmla="*/ 1516 w 10354"/>
                <a:gd name="connsiteY2721" fmla="*/ 8171 h 10000"/>
                <a:gd name="connsiteX2722" fmla="*/ 1525 w 10354"/>
                <a:gd name="connsiteY2722" fmla="*/ 8162 h 10000"/>
                <a:gd name="connsiteX2723" fmla="*/ 1539 w 10354"/>
                <a:gd name="connsiteY2723" fmla="*/ 8145 h 10000"/>
                <a:gd name="connsiteX2724" fmla="*/ 1558 w 10354"/>
                <a:gd name="connsiteY2724" fmla="*/ 8145 h 10000"/>
                <a:gd name="connsiteX2725" fmla="*/ 1562 w 10354"/>
                <a:gd name="connsiteY2725" fmla="*/ 8188 h 10000"/>
                <a:gd name="connsiteX2726" fmla="*/ 1585 w 10354"/>
                <a:gd name="connsiteY2726" fmla="*/ 8171 h 10000"/>
                <a:gd name="connsiteX2727" fmla="*/ 1590 w 10354"/>
                <a:gd name="connsiteY2727" fmla="*/ 8188 h 10000"/>
                <a:gd name="connsiteX2728" fmla="*/ 1599 w 10354"/>
                <a:gd name="connsiteY2728" fmla="*/ 8171 h 10000"/>
                <a:gd name="connsiteX2729" fmla="*/ 1599 w 10354"/>
                <a:gd name="connsiteY2729" fmla="*/ 8162 h 10000"/>
                <a:gd name="connsiteX2730" fmla="*/ 1604 w 10354"/>
                <a:gd name="connsiteY2730" fmla="*/ 8137 h 10000"/>
                <a:gd name="connsiteX2731" fmla="*/ 1618 w 10354"/>
                <a:gd name="connsiteY2731" fmla="*/ 8145 h 10000"/>
                <a:gd name="connsiteX2732" fmla="*/ 1627 w 10354"/>
                <a:gd name="connsiteY2732" fmla="*/ 8137 h 10000"/>
                <a:gd name="connsiteX2733" fmla="*/ 1631 w 10354"/>
                <a:gd name="connsiteY2733" fmla="*/ 8137 h 10000"/>
                <a:gd name="connsiteX2734" fmla="*/ 1636 w 10354"/>
                <a:gd name="connsiteY2734" fmla="*/ 8171 h 10000"/>
                <a:gd name="connsiteX2735" fmla="*/ 1645 w 10354"/>
                <a:gd name="connsiteY2735" fmla="*/ 8188 h 10000"/>
                <a:gd name="connsiteX2736" fmla="*/ 1664 w 10354"/>
                <a:gd name="connsiteY2736" fmla="*/ 8171 h 10000"/>
                <a:gd name="connsiteX2737" fmla="*/ 1673 w 10354"/>
                <a:gd name="connsiteY2737" fmla="*/ 8188 h 10000"/>
                <a:gd name="connsiteX2738" fmla="*/ 1691 w 10354"/>
                <a:gd name="connsiteY2738" fmla="*/ 8171 h 10000"/>
                <a:gd name="connsiteX2739" fmla="*/ 1705 w 10354"/>
                <a:gd name="connsiteY2739" fmla="*/ 8171 h 10000"/>
                <a:gd name="connsiteX2740" fmla="*/ 1719 w 10354"/>
                <a:gd name="connsiteY2740" fmla="*/ 8197 h 10000"/>
                <a:gd name="connsiteX2741" fmla="*/ 1724 w 10354"/>
                <a:gd name="connsiteY2741" fmla="*/ 8231 h 10000"/>
                <a:gd name="connsiteX2742" fmla="*/ 1751 w 10354"/>
                <a:gd name="connsiteY2742" fmla="*/ 8256 h 10000"/>
                <a:gd name="connsiteX2743" fmla="*/ 1751 w 10354"/>
                <a:gd name="connsiteY2743" fmla="*/ 8274 h 10000"/>
                <a:gd name="connsiteX2744" fmla="*/ 1760 w 10354"/>
                <a:gd name="connsiteY2744" fmla="*/ 8282 h 10000"/>
                <a:gd name="connsiteX2745" fmla="*/ 1770 w 10354"/>
                <a:gd name="connsiteY2745" fmla="*/ 8325 h 10000"/>
                <a:gd name="connsiteX2746" fmla="*/ 1770 w 10354"/>
                <a:gd name="connsiteY2746" fmla="*/ 8350 h 10000"/>
                <a:gd name="connsiteX2747" fmla="*/ 1779 w 10354"/>
                <a:gd name="connsiteY2747" fmla="*/ 8368 h 10000"/>
                <a:gd name="connsiteX2748" fmla="*/ 1783 w 10354"/>
                <a:gd name="connsiteY2748" fmla="*/ 8359 h 10000"/>
                <a:gd name="connsiteX2749" fmla="*/ 1783 w 10354"/>
                <a:gd name="connsiteY2749" fmla="*/ 8308 h 10000"/>
                <a:gd name="connsiteX2750" fmla="*/ 1779 w 10354"/>
                <a:gd name="connsiteY2750" fmla="*/ 8299 h 10000"/>
                <a:gd name="connsiteX2751" fmla="*/ 1783 w 10354"/>
                <a:gd name="connsiteY2751" fmla="*/ 8282 h 10000"/>
                <a:gd name="connsiteX2752" fmla="*/ 1797 w 10354"/>
                <a:gd name="connsiteY2752" fmla="*/ 8274 h 10000"/>
                <a:gd name="connsiteX2753" fmla="*/ 1797 w 10354"/>
                <a:gd name="connsiteY2753" fmla="*/ 8299 h 10000"/>
                <a:gd name="connsiteX2754" fmla="*/ 1806 w 10354"/>
                <a:gd name="connsiteY2754" fmla="*/ 8308 h 10000"/>
                <a:gd name="connsiteX2755" fmla="*/ 1811 w 10354"/>
                <a:gd name="connsiteY2755" fmla="*/ 8325 h 10000"/>
                <a:gd name="connsiteX2756" fmla="*/ 1820 w 10354"/>
                <a:gd name="connsiteY2756" fmla="*/ 8333 h 10000"/>
                <a:gd name="connsiteX2757" fmla="*/ 1853 w 10354"/>
                <a:gd name="connsiteY2757" fmla="*/ 8359 h 10000"/>
                <a:gd name="connsiteX2758" fmla="*/ 1866 w 10354"/>
                <a:gd name="connsiteY2758" fmla="*/ 8359 h 10000"/>
                <a:gd name="connsiteX2759" fmla="*/ 1885 w 10354"/>
                <a:gd name="connsiteY2759" fmla="*/ 8325 h 10000"/>
                <a:gd name="connsiteX2760" fmla="*/ 1885 w 10354"/>
                <a:gd name="connsiteY2760" fmla="*/ 8308 h 10000"/>
                <a:gd name="connsiteX2761" fmla="*/ 1894 w 10354"/>
                <a:gd name="connsiteY2761" fmla="*/ 8299 h 10000"/>
                <a:gd name="connsiteX2762" fmla="*/ 1899 w 10354"/>
                <a:gd name="connsiteY2762" fmla="*/ 8282 h 10000"/>
                <a:gd name="connsiteX2763" fmla="*/ 1912 w 10354"/>
                <a:gd name="connsiteY2763" fmla="*/ 8282 h 10000"/>
                <a:gd name="connsiteX2764" fmla="*/ 1917 w 10354"/>
                <a:gd name="connsiteY2764" fmla="*/ 8299 h 10000"/>
                <a:gd name="connsiteX2765" fmla="*/ 1917 w 10354"/>
                <a:gd name="connsiteY2765" fmla="*/ 8274 h 10000"/>
                <a:gd name="connsiteX2766" fmla="*/ 1940 w 10354"/>
                <a:gd name="connsiteY2766" fmla="*/ 8282 h 10000"/>
                <a:gd name="connsiteX2767" fmla="*/ 1945 w 10354"/>
                <a:gd name="connsiteY2767" fmla="*/ 8274 h 10000"/>
                <a:gd name="connsiteX2768" fmla="*/ 1972 w 10354"/>
                <a:gd name="connsiteY2768" fmla="*/ 8308 h 10000"/>
                <a:gd name="connsiteX2769" fmla="*/ 1986 w 10354"/>
                <a:gd name="connsiteY2769" fmla="*/ 8282 h 10000"/>
                <a:gd name="connsiteX2770" fmla="*/ 1991 w 10354"/>
                <a:gd name="connsiteY2770" fmla="*/ 8274 h 10000"/>
                <a:gd name="connsiteX2771" fmla="*/ 2014 w 10354"/>
                <a:gd name="connsiteY2771" fmla="*/ 8274 h 10000"/>
                <a:gd name="connsiteX2772" fmla="*/ 2018 w 10354"/>
                <a:gd name="connsiteY2772" fmla="*/ 8256 h 10000"/>
                <a:gd name="connsiteX2773" fmla="*/ 2041 w 10354"/>
                <a:gd name="connsiteY2773" fmla="*/ 8274 h 10000"/>
                <a:gd name="connsiteX2774" fmla="*/ 2046 w 10354"/>
                <a:gd name="connsiteY2774" fmla="*/ 8282 h 10000"/>
                <a:gd name="connsiteX2775" fmla="*/ 2046 w 10354"/>
                <a:gd name="connsiteY2775" fmla="*/ 8325 h 10000"/>
                <a:gd name="connsiteX2776" fmla="*/ 2060 w 10354"/>
                <a:gd name="connsiteY2776" fmla="*/ 8350 h 10000"/>
                <a:gd name="connsiteX2777" fmla="*/ 2078 w 10354"/>
                <a:gd name="connsiteY2777" fmla="*/ 8350 h 10000"/>
                <a:gd name="connsiteX2778" fmla="*/ 2092 w 10354"/>
                <a:gd name="connsiteY2778" fmla="*/ 8350 h 10000"/>
                <a:gd name="connsiteX2779" fmla="*/ 2092 w 10354"/>
                <a:gd name="connsiteY2779" fmla="*/ 8350 h 10000"/>
                <a:gd name="connsiteX2780" fmla="*/ 2101 w 10354"/>
                <a:gd name="connsiteY2780" fmla="*/ 8368 h 10000"/>
                <a:gd name="connsiteX2781" fmla="*/ 2120 w 10354"/>
                <a:gd name="connsiteY2781" fmla="*/ 8368 h 10000"/>
                <a:gd name="connsiteX2782" fmla="*/ 2124 w 10354"/>
                <a:gd name="connsiteY2782" fmla="*/ 8359 h 10000"/>
                <a:gd name="connsiteX2783" fmla="*/ 2138 w 10354"/>
                <a:gd name="connsiteY2783" fmla="*/ 8325 h 10000"/>
                <a:gd name="connsiteX2784" fmla="*/ 2147 w 10354"/>
                <a:gd name="connsiteY2784" fmla="*/ 8325 h 10000"/>
                <a:gd name="connsiteX2785" fmla="*/ 2161 w 10354"/>
                <a:gd name="connsiteY2785" fmla="*/ 8350 h 10000"/>
                <a:gd name="connsiteX2786" fmla="*/ 2198 w 10354"/>
                <a:gd name="connsiteY2786" fmla="*/ 8350 h 10000"/>
                <a:gd name="connsiteX2787" fmla="*/ 2207 w 10354"/>
                <a:gd name="connsiteY2787" fmla="*/ 8333 h 10000"/>
                <a:gd name="connsiteX2788" fmla="*/ 2226 w 10354"/>
                <a:gd name="connsiteY2788" fmla="*/ 8325 h 10000"/>
                <a:gd name="connsiteX2789" fmla="*/ 2249 w 10354"/>
                <a:gd name="connsiteY2789" fmla="*/ 8222 h 10000"/>
                <a:gd name="connsiteX2790" fmla="*/ 2235 w 10354"/>
                <a:gd name="connsiteY2790" fmla="*/ 8197 h 10000"/>
                <a:gd name="connsiteX2791" fmla="*/ 2198 w 10354"/>
                <a:gd name="connsiteY2791" fmla="*/ 8197 h 10000"/>
                <a:gd name="connsiteX2792" fmla="*/ 2189 w 10354"/>
                <a:gd name="connsiteY2792" fmla="*/ 8171 h 10000"/>
                <a:gd name="connsiteX2793" fmla="*/ 2161 w 10354"/>
                <a:gd name="connsiteY2793" fmla="*/ 8145 h 10000"/>
                <a:gd name="connsiteX2794" fmla="*/ 2161 w 10354"/>
                <a:gd name="connsiteY2794" fmla="*/ 8137 h 10000"/>
                <a:gd name="connsiteX2795" fmla="*/ 2152 w 10354"/>
                <a:gd name="connsiteY2795" fmla="*/ 8120 h 10000"/>
                <a:gd name="connsiteX2796" fmla="*/ 2138 w 10354"/>
                <a:gd name="connsiteY2796" fmla="*/ 8111 h 10000"/>
                <a:gd name="connsiteX2797" fmla="*/ 2138 w 10354"/>
                <a:gd name="connsiteY2797" fmla="*/ 8094 h 10000"/>
                <a:gd name="connsiteX2798" fmla="*/ 2147 w 10354"/>
                <a:gd name="connsiteY2798" fmla="*/ 8085 h 10000"/>
                <a:gd name="connsiteX2799" fmla="*/ 2161 w 10354"/>
                <a:gd name="connsiteY2799" fmla="*/ 8060 h 10000"/>
                <a:gd name="connsiteX2800" fmla="*/ 2198 w 10354"/>
                <a:gd name="connsiteY2800" fmla="*/ 8034 h 10000"/>
                <a:gd name="connsiteX2801" fmla="*/ 2198 w 10354"/>
                <a:gd name="connsiteY2801" fmla="*/ 8026 h 10000"/>
                <a:gd name="connsiteX2802" fmla="*/ 2198 w 10354"/>
                <a:gd name="connsiteY2802" fmla="*/ 8000 h 10000"/>
                <a:gd name="connsiteX2803" fmla="*/ 2180 w 10354"/>
                <a:gd name="connsiteY2803" fmla="*/ 7940 h 10000"/>
                <a:gd name="connsiteX2804" fmla="*/ 2189 w 10354"/>
                <a:gd name="connsiteY2804" fmla="*/ 7940 h 10000"/>
                <a:gd name="connsiteX2805" fmla="*/ 2198 w 10354"/>
                <a:gd name="connsiteY2805" fmla="*/ 7923 h 10000"/>
                <a:gd name="connsiteX2806" fmla="*/ 2198 w 10354"/>
                <a:gd name="connsiteY2806" fmla="*/ 7897 h 10000"/>
                <a:gd name="connsiteX2807" fmla="*/ 2207 w 10354"/>
                <a:gd name="connsiteY2807" fmla="*/ 7889 h 10000"/>
                <a:gd name="connsiteX2808" fmla="*/ 2221 w 10354"/>
                <a:gd name="connsiteY2808" fmla="*/ 7889 h 10000"/>
                <a:gd name="connsiteX2809" fmla="*/ 2226 w 10354"/>
                <a:gd name="connsiteY2809" fmla="*/ 7897 h 10000"/>
                <a:gd name="connsiteX2810" fmla="*/ 2235 w 10354"/>
                <a:gd name="connsiteY2810" fmla="*/ 7889 h 10000"/>
                <a:gd name="connsiteX2811" fmla="*/ 2249 w 10354"/>
                <a:gd name="connsiteY2811" fmla="*/ 7897 h 10000"/>
                <a:gd name="connsiteX2812" fmla="*/ 2267 w 10354"/>
                <a:gd name="connsiteY2812" fmla="*/ 7897 h 10000"/>
                <a:gd name="connsiteX2813" fmla="*/ 2272 w 10354"/>
                <a:gd name="connsiteY2813" fmla="*/ 7889 h 10000"/>
                <a:gd name="connsiteX2814" fmla="*/ 2281 w 10354"/>
                <a:gd name="connsiteY2814" fmla="*/ 7872 h 10000"/>
                <a:gd name="connsiteX2815" fmla="*/ 2272 w 10354"/>
                <a:gd name="connsiteY2815" fmla="*/ 7846 h 10000"/>
                <a:gd name="connsiteX2816" fmla="*/ 2253 w 10354"/>
                <a:gd name="connsiteY2816" fmla="*/ 7838 h 10000"/>
                <a:gd name="connsiteX2817" fmla="*/ 2221 w 10354"/>
                <a:gd name="connsiteY2817" fmla="*/ 7821 h 10000"/>
                <a:gd name="connsiteX2818" fmla="*/ 2212 w 10354"/>
                <a:gd name="connsiteY2818" fmla="*/ 7812 h 10000"/>
                <a:gd name="connsiteX2819" fmla="*/ 2212 w 10354"/>
                <a:gd name="connsiteY2819" fmla="*/ 7803 h 10000"/>
                <a:gd name="connsiteX2820" fmla="*/ 2221 w 10354"/>
                <a:gd name="connsiteY2820" fmla="*/ 7803 h 10000"/>
                <a:gd name="connsiteX2821" fmla="*/ 2235 w 10354"/>
                <a:gd name="connsiteY2821" fmla="*/ 7786 h 10000"/>
                <a:gd name="connsiteX2822" fmla="*/ 2240 w 10354"/>
                <a:gd name="connsiteY2822" fmla="*/ 7778 h 10000"/>
                <a:gd name="connsiteX2823" fmla="*/ 2226 w 10354"/>
                <a:gd name="connsiteY2823" fmla="*/ 7761 h 10000"/>
                <a:gd name="connsiteX2824" fmla="*/ 2221 w 10354"/>
                <a:gd name="connsiteY2824" fmla="*/ 7778 h 10000"/>
                <a:gd name="connsiteX2825" fmla="*/ 2198 w 10354"/>
                <a:gd name="connsiteY2825" fmla="*/ 7778 h 10000"/>
                <a:gd name="connsiteX2826" fmla="*/ 2198 w 10354"/>
                <a:gd name="connsiteY2826" fmla="*/ 7752 h 10000"/>
                <a:gd name="connsiteX2827" fmla="*/ 2207 w 10354"/>
                <a:gd name="connsiteY2827" fmla="*/ 7735 h 10000"/>
                <a:gd name="connsiteX2828" fmla="*/ 2212 w 10354"/>
                <a:gd name="connsiteY2828" fmla="*/ 7726 h 10000"/>
                <a:gd name="connsiteX2829" fmla="*/ 2198 w 10354"/>
                <a:gd name="connsiteY2829" fmla="*/ 7692 h 10000"/>
                <a:gd name="connsiteX2830" fmla="*/ 2221 w 10354"/>
                <a:gd name="connsiteY2830" fmla="*/ 7692 h 10000"/>
                <a:gd name="connsiteX2831" fmla="*/ 2221 w 10354"/>
                <a:gd name="connsiteY2831" fmla="*/ 7675 h 10000"/>
                <a:gd name="connsiteX2832" fmla="*/ 2235 w 10354"/>
                <a:gd name="connsiteY2832" fmla="*/ 7675 h 10000"/>
                <a:gd name="connsiteX2833" fmla="*/ 2240 w 10354"/>
                <a:gd name="connsiteY2833" fmla="*/ 7692 h 10000"/>
                <a:gd name="connsiteX2834" fmla="*/ 2249 w 10354"/>
                <a:gd name="connsiteY2834" fmla="*/ 7692 h 10000"/>
                <a:gd name="connsiteX2835" fmla="*/ 2258 w 10354"/>
                <a:gd name="connsiteY2835" fmla="*/ 7692 h 10000"/>
                <a:gd name="connsiteX2836" fmla="*/ 2267 w 10354"/>
                <a:gd name="connsiteY2836" fmla="*/ 7692 h 10000"/>
                <a:gd name="connsiteX2837" fmla="*/ 2295 w 10354"/>
                <a:gd name="connsiteY2837" fmla="*/ 7692 h 10000"/>
                <a:gd name="connsiteX2838" fmla="*/ 2300 w 10354"/>
                <a:gd name="connsiteY2838" fmla="*/ 7701 h 10000"/>
                <a:gd name="connsiteX2839" fmla="*/ 2313 w 10354"/>
                <a:gd name="connsiteY2839" fmla="*/ 7675 h 10000"/>
                <a:gd name="connsiteX2840" fmla="*/ 2323 w 10354"/>
                <a:gd name="connsiteY2840" fmla="*/ 7675 h 10000"/>
                <a:gd name="connsiteX2841" fmla="*/ 2341 w 10354"/>
                <a:gd name="connsiteY2841" fmla="*/ 7675 h 10000"/>
                <a:gd name="connsiteX2842" fmla="*/ 2346 w 10354"/>
                <a:gd name="connsiteY2842" fmla="*/ 7667 h 10000"/>
                <a:gd name="connsiteX2843" fmla="*/ 2359 w 10354"/>
                <a:gd name="connsiteY2843" fmla="*/ 7650 h 10000"/>
                <a:gd name="connsiteX2844" fmla="*/ 2373 w 10354"/>
                <a:gd name="connsiteY2844" fmla="*/ 7624 h 10000"/>
                <a:gd name="connsiteX2845" fmla="*/ 2382 w 10354"/>
                <a:gd name="connsiteY2845" fmla="*/ 7641 h 10000"/>
                <a:gd name="connsiteX2846" fmla="*/ 2396 w 10354"/>
                <a:gd name="connsiteY2846" fmla="*/ 7650 h 10000"/>
                <a:gd name="connsiteX2847" fmla="*/ 2401 w 10354"/>
                <a:gd name="connsiteY2847" fmla="*/ 7650 h 10000"/>
                <a:gd name="connsiteX2848" fmla="*/ 2401 w 10354"/>
                <a:gd name="connsiteY2848" fmla="*/ 7624 h 10000"/>
                <a:gd name="connsiteX2849" fmla="*/ 2419 w 10354"/>
                <a:gd name="connsiteY2849" fmla="*/ 7624 h 10000"/>
                <a:gd name="connsiteX2850" fmla="*/ 2433 w 10354"/>
                <a:gd name="connsiteY2850" fmla="*/ 7615 h 10000"/>
                <a:gd name="connsiteX2851" fmla="*/ 2442 w 10354"/>
                <a:gd name="connsiteY2851" fmla="*/ 7615 h 10000"/>
                <a:gd name="connsiteX2852" fmla="*/ 2447 w 10354"/>
                <a:gd name="connsiteY2852" fmla="*/ 7598 h 10000"/>
                <a:gd name="connsiteX2853" fmla="*/ 2461 w 10354"/>
                <a:gd name="connsiteY2853" fmla="*/ 7598 h 10000"/>
                <a:gd name="connsiteX2854" fmla="*/ 2465 w 10354"/>
                <a:gd name="connsiteY2854" fmla="*/ 7615 h 10000"/>
                <a:gd name="connsiteX2855" fmla="*/ 2479 w 10354"/>
                <a:gd name="connsiteY2855" fmla="*/ 7564 h 10000"/>
                <a:gd name="connsiteX2856" fmla="*/ 2488 w 10354"/>
                <a:gd name="connsiteY2856" fmla="*/ 7556 h 10000"/>
                <a:gd name="connsiteX2857" fmla="*/ 2493 w 10354"/>
                <a:gd name="connsiteY2857" fmla="*/ 7556 h 10000"/>
                <a:gd name="connsiteX2858" fmla="*/ 2507 w 10354"/>
                <a:gd name="connsiteY2858" fmla="*/ 7556 h 10000"/>
                <a:gd name="connsiteX2859" fmla="*/ 2530 w 10354"/>
                <a:gd name="connsiteY2859" fmla="*/ 7538 h 10000"/>
                <a:gd name="connsiteX2860" fmla="*/ 2530 w 10354"/>
                <a:gd name="connsiteY2860" fmla="*/ 7556 h 10000"/>
                <a:gd name="connsiteX2861" fmla="*/ 2641 w 10354"/>
                <a:gd name="connsiteY2861" fmla="*/ 7504 h 10000"/>
                <a:gd name="connsiteX2862" fmla="*/ 2654 w 10354"/>
                <a:gd name="connsiteY2862" fmla="*/ 7487 h 10000"/>
                <a:gd name="connsiteX2863" fmla="*/ 2664 w 10354"/>
                <a:gd name="connsiteY2863" fmla="*/ 7487 h 10000"/>
                <a:gd name="connsiteX2864" fmla="*/ 2668 w 10354"/>
                <a:gd name="connsiteY2864" fmla="*/ 7479 h 10000"/>
                <a:gd name="connsiteX2865" fmla="*/ 2673 w 10354"/>
                <a:gd name="connsiteY2865" fmla="*/ 7462 h 10000"/>
                <a:gd name="connsiteX2866" fmla="*/ 2673 w 10354"/>
                <a:gd name="connsiteY2866" fmla="*/ 7427 h 10000"/>
                <a:gd name="connsiteX2867" fmla="*/ 2687 w 10354"/>
                <a:gd name="connsiteY2867" fmla="*/ 7436 h 10000"/>
                <a:gd name="connsiteX2868" fmla="*/ 2696 w 10354"/>
                <a:gd name="connsiteY2868" fmla="*/ 7427 h 10000"/>
                <a:gd name="connsiteX2869" fmla="*/ 2700 w 10354"/>
                <a:gd name="connsiteY2869" fmla="*/ 7419 h 10000"/>
                <a:gd name="connsiteX2870" fmla="*/ 2710 w 10354"/>
                <a:gd name="connsiteY2870" fmla="*/ 7402 h 10000"/>
                <a:gd name="connsiteX2871" fmla="*/ 2724 w 10354"/>
                <a:gd name="connsiteY2871" fmla="*/ 7402 h 10000"/>
                <a:gd name="connsiteX2872" fmla="*/ 2724 w 10354"/>
                <a:gd name="connsiteY2872" fmla="*/ 7393 h 10000"/>
                <a:gd name="connsiteX2873" fmla="*/ 2737 w 10354"/>
                <a:gd name="connsiteY2873" fmla="*/ 7393 h 10000"/>
                <a:gd name="connsiteX2874" fmla="*/ 2742 w 10354"/>
                <a:gd name="connsiteY2874" fmla="*/ 7402 h 10000"/>
                <a:gd name="connsiteX2875" fmla="*/ 2747 w 10354"/>
                <a:gd name="connsiteY2875" fmla="*/ 7402 h 10000"/>
                <a:gd name="connsiteX2876" fmla="*/ 2760 w 10354"/>
                <a:gd name="connsiteY2876" fmla="*/ 7402 h 10000"/>
                <a:gd name="connsiteX2877" fmla="*/ 2770 w 10354"/>
                <a:gd name="connsiteY2877" fmla="*/ 7402 h 10000"/>
                <a:gd name="connsiteX2878" fmla="*/ 2774 w 10354"/>
                <a:gd name="connsiteY2878" fmla="*/ 7402 h 10000"/>
                <a:gd name="connsiteX2879" fmla="*/ 2783 w 10354"/>
                <a:gd name="connsiteY2879" fmla="*/ 7419 h 10000"/>
                <a:gd name="connsiteX2880" fmla="*/ 2802 w 10354"/>
                <a:gd name="connsiteY2880" fmla="*/ 7436 h 10000"/>
                <a:gd name="connsiteX2881" fmla="*/ 2816 w 10354"/>
                <a:gd name="connsiteY2881" fmla="*/ 7419 h 10000"/>
                <a:gd name="connsiteX2882" fmla="*/ 2834 w 10354"/>
                <a:gd name="connsiteY2882" fmla="*/ 7419 h 10000"/>
                <a:gd name="connsiteX2883" fmla="*/ 2843 w 10354"/>
                <a:gd name="connsiteY2883" fmla="*/ 7419 h 10000"/>
                <a:gd name="connsiteX2884" fmla="*/ 2848 w 10354"/>
                <a:gd name="connsiteY2884" fmla="*/ 7436 h 10000"/>
                <a:gd name="connsiteX2885" fmla="*/ 2857 w 10354"/>
                <a:gd name="connsiteY2885" fmla="*/ 7453 h 10000"/>
                <a:gd name="connsiteX2886" fmla="*/ 2857 w 10354"/>
                <a:gd name="connsiteY2886" fmla="*/ 7504 h 10000"/>
                <a:gd name="connsiteX2887" fmla="*/ 2862 w 10354"/>
                <a:gd name="connsiteY2887" fmla="*/ 7530 h 10000"/>
                <a:gd name="connsiteX2888" fmla="*/ 2876 w 10354"/>
                <a:gd name="connsiteY2888" fmla="*/ 7538 h 10000"/>
                <a:gd name="connsiteX2889" fmla="*/ 2871 w 10354"/>
                <a:gd name="connsiteY2889" fmla="*/ 7564 h 10000"/>
                <a:gd name="connsiteX2890" fmla="*/ 2871 w 10354"/>
                <a:gd name="connsiteY2890" fmla="*/ 7598 h 10000"/>
                <a:gd name="connsiteX2891" fmla="*/ 2857 w 10354"/>
                <a:gd name="connsiteY2891" fmla="*/ 7624 h 10000"/>
                <a:gd name="connsiteX2892" fmla="*/ 2862 w 10354"/>
                <a:gd name="connsiteY2892" fmla="*/ 7641 h 10000"/>
                <a:gd name="connsiteX2893" fmla="*/ 2871 w 10354"/>
                <a:gd name="connsiteY2893" fmla="*/ 7667 h 10000"/>
                <a:gd name="connsiteX2894" fmla="*/ 2880 w 10354"/>
                <a:gd name="connsiteY2894" fmla="*/ 7650 h 10000"/>
                <a:gd name="connsiteX2895" fmla="*/ 2894 w 10354"/>
                <a:gd name="connsiteY2895" fmla="*/ 7667 h 10000"/>
                <a:gd name="connsiteX2896" fmla="*/ 2903 w 10354"/>
                <a:gd name="connsiteY2896" fmla="*/ 7667 h 10000"/>
                <a:gd name="connsiteX2897" fmla="*/ 2908 w 10354"/>
                <a:gd name="connsiteY2897" fmla="*/ 7641 h 10000"/>
                <a:gd name="connsiteX2898" fmla="*/ 2917 w 10354"/>
                <a:gd name="connsiteY2898" fmla="*/ 7641 h 10000"/>
                <a:gd name="connsiteX2899" fmla="*/ 2922 w 10354"/>
                <a:gd name="connsiteY2899" fmla="*/ 7641 h 10000"/>
                <a:gd name="connsiteX2900" fmla="*/ 2931 w 10354"/>
                <a:gd name="connsiteY2900" fmla="*/ 7615 h 10000"/>
                <a:gd name="connsiteX2901" fmla="*/ 2935 w 10354"/>
                <a:gd name="connsiteY2901" fmla="*/ 7615 h 10000"/>
                <a:gd name="connsiteX2902" fmla="*/ 2945 w 10354"/>
                <a:gd name="connsiteY2902" fmla="*/ 7650 h 10000"/>
                <a:gd name="connsiteX2903" fmla="*/ 2949 w 10354"/>
                <a:gd name="connsiteY2903" fmla="*/ 7667 h 10000"/>
                <a:gd name="connsiteX2904" fmla="*/ 2949 w 10354"/>
                <a:gd name="connsiteY2904" fmla="*/ 7675 h 10000"/>
                <a:gd name="connsiteX2905" fmla="*/ 2945 w 10354"/>
                <a:gd name="connsiteY2905" fmla="*/ 7692 h 10000"/>
                <a:gd name="connsiteX2906" fmla="*/ 2963 w 10354"/>
                <a:gd name="connsiteY2906" fmla="*/ 7701 h 10000"/>
                <a:gd name="connsiteX2907" fmla="*/ 2963 w 10354"/>
                <a:gd name="connsiteY2907" fmla="*/ 7675 h 10000"/>
                <a:gd name="connsiteX2908" fmla="*/ 2954 w 10354"/>
                <a:gd name="connsiteY2908" fmla="*/ 7667 h 10000"/>
                <a:gd name="connsiteX2909" fmla="*/ 2963 w 10354"/>
                <a:gd name="connsiteY2909" fmla="*/ 7667 h 10000"/>
                <a:gd name="connsiteX2910" fmla="*/ 2982 w 10354"/>
                <a:gd name="connsiteY2910" fmla="*/ 7667 h 10000"/>
                <a:gd name="connsiteX2911" fmla="*/ 2991 w 10354"/>
                <a:gd name="connsiteY2911" fmla="*/ 7675 h 10000"/>
                <a:gd name="connsiteX2912" fmla="*/ 2995 w 10354"/>
                <a:gd name="connsiteY2912" fmla="*/ 7692 h 10000"/>
                <a:gd name="connsiteX2913" fmla="*/ 3009 w 10354"/>
                <a:gd name="connsiteY2913" fmla="*/ 7701 h 10000"/>
                <a:gd name="connsiteX2914" fmla="*/ 3018 w 10354"/>
                <a:gd name="connsiteY2914" fmla="*/ 7701 h 10000"/>
                <a:gd name="connsiteX2915" fmla="*/ 3023 w 10354"/>
                <a:gd name="connsiteY2915" fmla="*/ 7692 h 10000"/>
                <a:gd name="connsiteX2916" fmla="*/ 3028 w 10354"/>
                <a:gd name="connsiteY2916" fmla="*/ 7675 h 10000"/>
                <a:gd name="connsiteX2917" fmla="*/ 3037 w 10354"/>
                <a:gd name="connsiteY2917" fmla="*/ 7692 h 10000"/>
                <a:gd name="connsiteX2918" fmla="*/ 3028 w 10354"/>
                <a:gd name="connsiteY2918" fmla="*/ 7709 h 10000"/>
                <a:gd name="connsiteX2919" fmla="*/ 3023 w 10354"/>
                <a:gd name="connsiteY2919" fmla="*/ 7709 h 10000"/>
                <a:gd name="connsiteX2920" fmla="*/ 3018 w 10354"/>
                <a:gd name="connsiteY2920" fmla="*/ 7726 h 10000"/>
                <a:gd name="connsiteX2921" fmla="*/ 3009 w 10354"/>
                <a:gd name="connsiteY2921" fmla="*/ 7735 h 10000"/>
                <a:gd name="connsiteX2922" fmla="*/ 3009 w 10354"/>
                <a:gd name="connsiteY2922" fmla="*/ 7761 h 10000"/>
                <a:gd name="connsiteX2923" fmla="*/ 3009 w 10354"/>
                <a:gd name="connsiteY2923" fmla="*/ 7778 h 10000"/>
                <a:gd name="connsiteX2924" fmla="*/ 3018 w 10354"/>
                <a:gd name="connsiteY2924" fmla="*/ 7786 h 10000"/>
                <a:gd name="connsiteX2925" fmla="*/ 3023 w 10354"/>
                <a:gd name="connsiteY2925" fmla="*/ 7786 h 10000"/>
                <a:gd name="connsiteX2926" fmla="*/ 3028 w 10354"/>
                <a:gd name="connsiteY2926" fmla="*/ 7778 h 10000"/>
                <a:gd name="connsiteX2927" fmla="*/ 3051 w 10354"/>
                <a:gd name="connsiteY2927" fmla="*/ 7761 h 10000"/>
                <a:gd name="connsiteX2928" fmla="*/ 3055 w 10354"/>
                <a:gd name="connsiteY2928" fmla="*/ 7778 h 10000"/>
                <a:gd name="connsiteX2929" fmla="*/ 3065 w 10354"/>
                <a:gd name="connsiteY2929" fmla="*/ 7761 h 10000"/>
                <a:gd name="connsiteX2930" fmla="*/ 3069 w 10354"/>
                <a:gd name="connsiteY2930" fmla="*/ 7786 h 10000"/>
                <a:gd name="connsiteX2931" fmla="*/ 3083 w 10354"/>
                <a:gd name="connsiteY2931" fmla="*/ 7786 h 10000"/>
                <a:gd name="connsiteX2932" fmla="*/ 3078 w 10354"/>
                <a:gd name="connsiteY2932" fmla="*/ 7761 h 10000"/>
                <a:gd name="connsiteX2933" fmla="*/ 3083 w 10354"/>
                <a:gd name="connsiteY2933" fmla="*/ 7752 h 10000"/>
                <a:gd name="connsiteX2934" fmla="*/ 3097 w 10354"/>
                <a:gd name="connsiteY2934" fmla="*/ 7752 h 10000"/>
                <a:gd name="connsiteX2935" fmla="*/ 3111 w 10354"/>
                <a:gd name="connsiteY2935" fmla="*/ 7726 h 10000"/>
                <a:gd name="connsiteX2936" fmla="*/ 3124 w 10354"/>
                <a:gd name="connsiteY2936" fmla="*/ 7709 h 10000"/>
                <a:gd name="connsiteX2937" fmla="*/ 3143 w 10354"/>
                <a:gd name="connsiteY2937" fmla="*/ 7692 h 10000"/>
                <a:gd name="connsiteX2938" fmla="*/ 3152 w 10354"/>
                <a:gd name="connsiteY2938" fmla="*/ 7667 h 10000"/>
                <a:gd name="connsiteX2939" fmla="*/ 3157 w 10354"/>
                <a:gd name="connsiteY2939" fmla="*/ 7650 h 10000"/>
                <a:gd name="connsiteX2940" fmla="*/ 3161 w 10354"/>
                <a:gd name="connsiteY2940" fmla="*/ 7650 h 10000"/>
                <a:gd name="connsiteX2941" fmla="*/ 3189 w 10354"/>
                <a:gd name="connsiteY2941" fmla="*/ 7641 h 10000"/>
                <a:gd name="connsiteX2942" fmla="*/ 3198 w 10354"/>
                <a:gd name="connsiteY2942" fmla="*/ 7624 h 10000"/>
                <a:gd name="connsiteX2943" fmla="*/ 3217 w 10354"/>
                <a:gd name="connsiteY2943" fmla="*/ 7615 h 10000"/>
                <a:gd name="connsiteX2944" fmla="*/ 3235 w 10354"/>
                <a:gd name="connsiteY2944" fmla="*/ 7598 h 10000"/>
                <a:gd name="connsiteX2945" fmla="*/ 3235 w 10354"/>
                <a:gd name="connsiteY2945" fmla="*/ 7615 h 10000"/>
                <a:gd name="connsiteX2946" fmla="*/ 3235 w 10354"/>
                <a:gd name="connsiteY2946" fmla="*/ 7641 h 10000"/>
                <a:gd name="connsiteX2947" fmla="*/ 3235 w 10354"/>
                <a:gd name="connsiteY2947" fmla="*/ 7650 h 10000"/>
                <a:gd name="connsiteX2948" fmla="*/ 3226 w 10354"/>
                <a:gd name="connsiteY2948" fmla="*/ 7650 h 10000"/>
                <a:gd name="connsiteX2949" fmla="*/ 3217 w 10354"/>
                <a:gd name="connsiteY2949" fmla="*/ 7650 h 10000"/>
                <a:gd name="connsiteX2950" fmla="*/ 3212 w 10354"/>
                <a:gd name="connsiteY2950" fmla="*/ 7675 h 10000"/>
                <a:gd name="connsiteX2951" fmla="*/ 3212 w 10354"/>
                <a:gd name="connsiteY2951" fmla="*/ 7675 h 10000"/>
                <a:gd name="connsiteX0" fmla="*/ 3212 w 10354"/>
                <a:gd name="connsiteY0" fmla="*/ 7675 h 10000"/>
                <a:gd name="connsiteX1" fmla="*/ 3217 w 10354"/>
                <a:gd name="connsiteY1" fmla="*/ 7692 h 10000"/>
                <a:gd name="connsiteX2" fmla="*/ 3226 w 10354"/>
                <a:gd name="connsiteY2" fmla="*/ 7692 h 10000"/>
                <a:gd name="connsiteX3" fmla="*/ 3309 w 10354"/>
                <a:gd name="connsiteY3" fmla="*/ 7838 h 10000"/>
                <a:gd name="connsiteX4" fmla="*/ 3452 w 10354"/>
                <a:gd name="connsiteY4" fmla="*/ 8325 h 10000"/>
                <a:gd name="connsiteX5" fmla="*/ 3470 w 10354"/>
                <a:gd name="connsiteY5" fmla="*/ 8299 h 10000"/>
                <a:gd name="connsiteX6" fmla="*/ 3470 w 10354"/>
                <a:gd name="connsiteY6" fmla="*/ 8282 h 10000"/>
                <a:gd name="connsiteX7" fmla="*/ 3470 w 10354"/>
                <a:gd name="connsiteY7" fmla="*/ 8274 h 10000"/>
                <a:gd name="connsiteX8" fmla="*/ 3484 w 10354"/>
                <a:gd name="connsiteY8" fmla="*/ 8231 h 10000"/>
                <a:gd name="connsiteX9" fmla="*/ 3498 w 10354"/>
                <a:gd name="connsiteY9" fmla="*/ 8231 h 10000"/>
                <a:gd name="connsiteX10" fmla="*/ 3498 w 10354"/>
                <a:gd name="connsiteY10" fmla="*/ 8248 h 10000"/>
                <a:gd name="connsiteX11" fmla="*/ 3512 w 10354"/>
                <a:gd name="connsiteY11" fmla="*/ 8256 h 10000"/>
                <a:gd name="connsiteX12" fmla="*/ 3525 w 10354"/>
                <a:gd name="connsiteY12" fmla="*/ 8274 h 10000"/>
                <a:gd name="connsiteX13" fmla="*/ 3525 w 10354"/>
                <a:gd name="connsiteY13" fmla="*/ 8282 h 10000"/>
                <a:gd name="connsiteX14" fmla="*/ 3525 w 10354"/>
                <a:gd name="connsiteY14" fmla="*/ 8308 h 10000"/>
                <a:gd name="connsiteX15" fmla="*/ 3530 w 10354"/>
                <a:gd name="connsiteY15" fmla="*/ 8308 h 10000"/>
                <a:gd name="connsiteX16" fmla="*/ 3539 w 10354"/>
                <a:gd name="connsiteY16" fmla="*/ 8333 h 10000"/>
                <a:gd name="connsiteX17" fmla="*/ 3571 w 10354"/>
                <a:gd name="connsiteY17" fmla="*/ 8333 h 10000"/>
                <a:gd name="connsiteX18" fmla="*/ 3590 w 10354"/>
                <a:gd name="connsiteY18" fmla="*/ 8350 h 10000"/>
                <a:gd name="connsiteX19" fmla="*/ 3599 w 10354"/>
                <a:gd name="connsiteY19" fmla="*/ 8333 h 10000"/>
                <a:gd name="connsiteX20" fmla="*/ 3618 w 10354"/>
                <a:gd name="connsiteY20" fmla="*/ 8333 h 10000"/>
                <a:gd name="connsiteX21" fmla="*/ 3618 w 10354"/>
                <a:gd name="connsiteY21" fmla="*/ 8325 h 10000"/>
                <a:gd name="connsiteX22" fmla="*/ 3627 w 10354"/>
                <a:gd name="connsiteY22" fmla="*/ 8308 h 10000"/>
                <a:gd name="connsiteX23" fmla="*/ 3641 w 10354"/>
                <a:gd name="connsiteY23" fmla="*/ 8308 h 10000"/>
                <a:gd name="connsiteX24" fmla="*/ 3645 w 10354"/>
                <a:gd name="connsiteY24" fmla="*/ 8308 h 10000"/>
                <a:gd name="connsiteX25" fmla="*/ 3650 w 10354"/>
                <a:gd name="connsiteY25" fmla="*/ 8299 h 10000"/>
                <a:gd name="connsiteX26" fmla="*/ 3659 w 10354"/>
                <a:gd name="connsiteY26" fmla="*/ 8282 h 10000"/>
                <a:gd name="connsiteX27" fmla="*/ 3677 w 10354"/>
                <a:gd name="connsiteY27" fmla="*/ 8299 h 10000"/>
                <a:gd name="connsiteX28" fmla="*/ 3687 w 10354"/>
                <a:gd name="connsiteY28" fmla="*/ 8299 h 10000"/>
                <a:gd name="connsiteX29" fmla="*/ 3691 w 10354"/>
                <a:gd name="connsiteY29" fmla="*/ 8325 h 10000"/>
                <a:gd name="connsiteX30" fmla="*/ 3700 w 10354"/>
                <a:gd name="connsiteY30" fmla="*/ 8325 h 10000"/>
                <a:gd name="connsiteX31" fmla="*/ 3714 w 10354"/>
                <a:gd name="connsiteY31" fmla="*/ 8359 h 10000"/>
                <a:gd name="connsiteX32" fmla="*/ 3719 w 10354"/>
                <a:gd name="connsiteY32" fmla="*/ 8359 h 10000"/>
                <a:gd name="connsiteX33" fmla="*/ 3724 w 10354"/>
                <a:gd name="connsiteY33" fmla="*/ 8368 h 10000"/>
                <a:gd name="connsiteX34" fmla="*/ 3719 w 10354"/>
                <a:gd name="connsiteY34" fmla="*/ 8393 h 10000"/>
                <a:gd name="connsiteX35" fmla="*/ 3724 w 10354"/>
                <a:gd name="connsiteY35" fmla="*/ 8410 h 10000"/>
                <a:gd name="connsiteX36" fmla="*/ 3724 w 10354"/>
                <a:gd name="connsiteY36" fmla="*/ 8436 h 10000"/>
                <a:gd name="connsiteX37" fmla="*/ 3737 w 10354"/>
                <a:gd name="connsiteY37" fmla="*/ 8436 h 10000"/>
                <a:gd name="connsiteX38" fmla="*/ 3765 w 10354"/>
                <a:gd name="connsiteY38" fmla="*/ 8462 h 10000"/>
                <a:gd name="connsiteX39" fmla="*/ 3765 w 10354"/>
                <a:gd name="connsiteY39" fmla="*/ 8470 h 10000"/>
                <a:gd name="connsiteX40" fmla="*/ 3765 w 10354"/>
                <a:gd name="connsiteY40" fmla="*/ 8496 h 10000"/>
                <a:gd name="connsiteX41" fmla="*/ 3774 w 10354"/>
                <a:gd name="connsiteY41" fmla="*/ 8496 h 10000"/>
                <a:gd name="connsiteX42" fmla="*/ 3779 w 10354"/>
                <a:gd name="connsiteY42" fmla="*/ 8504 h 10000"/>
                <a:gd name="connsiteX43" fmla="*/ 3793 w 10354"/>
                <a:gd name="connsiteY43" fmla="*/ 8547 h 10000"/>
                <a:gd name="connsiteX44" fmla="*/ 3797 w 10354"/>
                <a:gd name="connsiteY44" fmla="*/ 8547 h 10000"/>
                <a:gd name="connsiteX45" fmla="*/ 3820 w 10354"/>
                <a:gd name="connsiteY45" fmla="*/ 8556 h 10000"/>
                <a:gd name="connsiteX46" fmla="*/ 3834 w 10354"/>
                <a:gd name="connsiteY46" fmla="*/ 8573 h 10000"/>
                <a:gd name="connsiteX47" fmla="*/ 3853 w 10354"/>
                <a:gd name="connsiteY47" fmla="*/ 8573 h 10000"/>
                <a:gd name="connsiteX48" fmla="*/ 3857 w 10354"/>
                <a:gd name="connsiteY48" fmla="*/ 8556 h 10000"/>
                <a:gd name="connsiteX49" fmla="*/ 3866 w 10354"/>
                <a:gd name="connsiteY49" fmla="*/ 8547 h 10000"/>
                <a:gd name="connsiteX50" fmla="*/ 3880 w 10354"/>
                <a:gd name="connsiteY50" fmla="*/ 8530 h 10000"/>
                <a:gd name="connsiteX51" fmla="*/ 3885 w 10354"/>
                <a:gd name="connsiteY51" fmla="*/ 8547 h 10000"/>
                <a:gd name="connsiteX52" fmla="*/ 3885 w 10354"/>
                <a:gd name="connsiteY52" fmla="*/ 8573 h 10000"/>
                <a:gd name="connsiteX53" fmla="*/ 3899 w 10354"/>
                <a:gd name="connsiteY53" fmla="*/ 8573 h 10000"/>
                <a:gd name="connsiteX54" fmla="*/ 3908 w 10354"/>
                <a:gd name="connsiteY54" fmla="*/ 8607 h 10000"/>
                <a:gd name="connsiteX55" fmla="*/ 3912 w 10354"/>
                <a:gd name="connsiteY55" fmla="*/ 8615 h 10000"/>
                <a:gd name="connsiteX56" fmla="*/ 3922 w 10354"/>
                <a:gd name="connsiteY56" fmla="*/ 8632 h 10000"/>
                <a:gd name="connsiteX57" fmla="*/ 3908 w 10354"/>
                <a:gd name="connsiteY57" fmla="*/ 8692 h 10000"/>
                <a:gd name="connsiteX58" fmla="*/ 3908 w 10354"/>
                <a:gd name="connsiteY58" fmla="*/ 8692 h 10000"/>
                <a:gd name="connsiteX59" fmla="*/ 3931 w 10354"/>
                <a:gd name="connsiteY59" fmla="*/ 8709 h 10000"/>
                <a:gd name="connsiteX60" fmla="*/ 3954 w 10354"/>
                <a:gd name="connsiteY60" fmla="*/ 8667 h 10000"/>
                <a:gd name="connsiteX61" fmla="*/ 3959 w 10354"/>
                <a:gd name="connsiteY61" fmla="*/ 8667 h 10000"/>
                <a:gd name="connsiteX62" fmla="*/ 3972 w 10354"/>
                <a:gd name="connsiteY62" fmla="*/ 8615 h 10000"/>
                <a:gd name="connsiteX63" fmla="*/ 3995 w 10354"/>
                <a:gd name="connsiteY63" fmla="*/ 8581 h 10000"/>
                <a:gd name="connsiteX64" fmla="*/ 4032 w 10354"/>
                <a:gd name="connsiteY64" fmla="*/ 8556 h 10000"/>
                <a:gd name="connsiteX65" fmla="*/ 4138 w 10354"/>
                <a:gd name="connsiteY65" fmla="*/ 8419 h 10000"/>
                <a:gd name="connsiteX66" fmla="*/ 4249 w 10354"/>
                <a:gd name="connsiteY66" fmla="*/ 8359 h 10000"/>
                <a:gd name="connsiteX67" fmla="*/ 4295 w 10354"/>
                <a:gd name="connsiteY67" fmla="*/ 8385 h 10000"/>
                <a:gd name="connsiteX68" fmla="*/ 4309 w 10354"/>
                <a:gd name="connsiteY68" fmla="*/ 8410 h 10000"/>
                <a:gd name="connsiteX69" fmla="*/ 4355 w 10354"/>
                <a:gd name="connsiteY69" fmla="*/ 8393 h 10000"/>
                <a:gd name="connsiteX70" fmla="*/ 4382 w 10354"/>
                <a:gd name="connsiteY70" fmla="*/ 8393 h 10000"/>
                <a:gd name="connsiteX71" fmla="*/ 4419 w 10354"/>
                <a:gd name="connsiteY71" fmla="*/ 8487 h 10000"/>
                <a:gd name="connsiteX72" fmla="*/ 4442 w 10354"/>
                <a:gd name="connsiteY72" fmla="*/ 8487 h 10000"/>
                <a:gd name="connsiteX73" fmla="*/ 4493 w 10354"/>
                <a:gd name="connsiteY73" fmla="*/ 8470 h 10000"/>
                <a:gd name="connsiteX74" fmla="*/ 4516 w 10354"/>
                <a:gd name="connsiteY74" fmla="*/ 8487 h 10000"/>
                <a:gd name="connsiteX75" fmla="*/ 4608 w 10354"/>
                <a:gd name="connsiteY75" fmla="*/ 8470 h 10000"/>
                <a:gd name="connsiteX76" fmla="*/ 4622 w 10354"/>
                <a:gd name="connsiteY76" fmla="*/ 8470 h 10000"/>
                <a:gd name="connsiteX77" fmla="*/ 4618 w 10354"/>
                <a:gd name="connsiteY77" fmla="*/ 8419 h 10000"/>
                <a:gd name="connsiteX78" fmla="*/ 4622 w 10354"/>
                <a:gd name="connsiteY78" fmla="*/ 8385 h 10000"/>
                <a:gd name="connsiteX79" fmla="*/ 4636 w 10354"/>
                <a:gd name="connsiteY79" fmla="*/ 8350 h 10000"/>
                <a:gd name="connsiteX80" fmla="*/ 4636 w 10354"/>
                <a:gd name="connsiteY80" fmla="*/ 8325 h 10000"/>
                <a:gd name="connsiteX81" fmla="*/ 4622 w 10354"/>
                <a:gd name="connsiteY81" fmla="*/ 8282 h 10000"/>
                <a:gd name="connsiteX82" fmla="*/ 4618 w 10354"/>
                <a:gd name="connsiteY82" fmla="*/ 8248 h 10000"/>
                <a:gd name="connsiteX83" fmla="*/ 4618 w 10354"/>
                <a:gd name="connsiteY83" fmla="*/ 8214 h 10000"/>
                <a:gd name="connsiteX84" fmla="*/ 4691 w 10354"/>
                <a:gd name="connsiteY84" fmla="*/ 8077 h 10000"/>
                <a:gd name="connsiteX85" fmla="*/ 4700 w 10354"/>
                <a:gd name="connsiteY85" fmla="*/ 8060 h 10000"/>
                <a:gd name="connsiteX86" fmla="*/ 4728 w 10354"/>
                <a:gd name="connsiteY86" fmla="*/ 8077 h 10000"/>
                <a:gd name="connsiteX87" fmla="*/ 4751 w 10354"/>
                <a:gd name="connsiteY87" fmla="*/ 8094 h 10000"/>
                <a:gd name="connsiteX88" fmla="*/ 4788 w 10354"/>
                <a:gd name="connsiteY88" fmla="*/ 8120 h 10000"/>
                <a:gd name="connsiteX89" fmla="*/ 4802 w 10354"/>
                <a:gd name="connsiteY89" fmla="*/ 8162 h 10000"/>
                <a:gd name="connsiteX90" fmla="*/ 4885 w 10354"/>
                <a:gd name="connsiteY90" fmla="*/ 8197 h 10000"/>
                <a:gd name="connsiteX91" fmla="*/ 4889 w 10354"/>
                <a:gd name="connsiteY91" fmla="*/ 8231 h 10000"/>
                <a:gd name="connsiteX92" fmla="*/ 4899 w 10354"/>
                <a:gd name="connsiteY92" fmla="*/ 8333 h 10000"/>
                <a:gd name="connsiteX93" fmla="*/ 4903 w 10354"/>
                <a:gd name="connsiteY93" fmla="*/ 8333 h 10000"/>
                <a:gd name="connsiteX94" fmla="*/ 4949 w 10354"/>
                <a:gd name="connsiteY94" fmla="*/ 8410 h 10000"/>
                <a:gd name="connsiteX95" fmla="*/ 4991 w 10354"/>
                <a:gd name="connsiteY95" fmla="*/ 8436 h 10000"/>
                <a:gd name="connsiteX96" fmla="*/ 5023 w 10354"/>
                <a:gd name="connsiteY96" fmla="*/ 8419 h 10000"/>
                <a:gd name="connsiteX97" fmla="*/ 5092 w 10354"/>
                <a:gd name="connsiteY97" fmla="*/ 8359 h 10000"/>
                <a:gd name="connsiteX98" fmla="*/ 5180 w 10354"/>
                <a:gd name="connsiteY98" fmla="*/ 8410 h 10000"/>
                <a:gd name="connsiteX99" fmla="*/ 5189 w 10354"/>
                <a:gd name="connsiteY99" fmla="*/ 8436 h 10000"/>
                <a:gd name="connsiteX100" fmla="*/ 5198 w 10354"/>
                <a:gd name="connsiteY100" fmla="*/ 8436 h 10000"/>
                <a:gd name="connsiteX101" fmla="*/ 5226 w 10354"/>
                <a:gd name="connsiteY101" fmla="*/ 8487 h 10000"/>
                <a:gd name="connsiteX102" fmla="*/ 5276 w 10354"/>
                <a:gd name="connsiteY102" fmla="*/ 8504 h 10000"/>
                <a:gd name="connsiteX103" fmla="*/ 5290 w 10354"/>
                <a:gd name="connsiteY103" fmla="*/ 8556 h 10000"/>
                <a:gd name="connsiteX104" fmla="*/ 5323 w 10354"/>
                <a:gd name="connsiteY104" fmla="*/ 8598 h 10000"/>
                <a:gd name="connsiteX105" fmla="*/ 5447 w 10354"/>
                <a:gd name="connsiteY105" fmla="*/ 8615 h 10000"/>
                <a:gd name="connsiteX106" fmla="*/ 5465 w 10354"/>
                <a:gd name="connsiteY106" fmla="*/ 8632 h 10000"/>
                <a:gd name="connsiteX107" fmla="*/ 5604 w 10354"/>
                <a:gd name="connsiteY107" fmla="*/ 8556 h 10000"/>
                <a:gd name="connsiteX108" fmla="*/ 5677 w 10354"/>
                <a:gd name="connsiteY108" fmla="*/ 8462 h 10000"/>
                <a:gd name="connsiteX109" fmla="*/ 5705 w 10354"/>
                <a:gd name="connsiteY109" fmla="*/ 8444 h 10000"/>
                <a:gd name="connsiteX110" fmla="*/ 5737 w 10354"/>
                <a:gd name="connsiteY110" fmla="*/ 8470 h 10000"/>
                <a:gd name="connsiteX111" fmla="*/ 5760 w 10354"/>
                <a:gd name="connsiteY111" fmla="*/ 8496 h 10000"/>
                <a:gd name="connsiteX112" fmla="*/ 5788 w 10354"/>
                <a:gd name="connsiteY112" fmla="*/ 8504 h 10000"/>
                <a:gd name="connsiteX113" fmla="*/ 5806 w 10354"/>
                <a:gd name="connsiteY113" fmla="*/ 8496 h 10000"/>
                <a:gd name="connsiteX114" fmla="*/ 5820 w 10354"/>
                <a:gd name="connsiteY114" fmla="*/ 8487 h 10000"/>
                <a:gd name="connsiteX115" fmla="*/ 5825 w 10354"/>
                <a:gd name="connsiteY115" fmla="*/ 8487 h 10000"/>
                <a:gd name="connsiteX116" fmla="*/ 5825 w 10354"/>
                <a:gd name="connsiteY116" fmla="*/ 8487 h 10000"/>
                <a:gd name="connsiteX117" fmla="*/ 5926 w 10354"/>
                <a:gd name="connsiteY117" fmla="*/ 8556 h 10000"/>
                <a:gd name="connsiteX118" fmla="*/ 5940 w 10354"/>
                <a:gd name="connsiteY118" fmla="*/ 8556 h 10000"/>
                <a:gd name="connsiteX119" fmla="*/ 6014 w 10354"/>
                <a:gd name="connsiteY119" fmla="*/ 8470 h 10000"/>
                <a:gd name="connsiteX120" fmla="*/ 6018 w 10354"/>
                <a:gd name="connsiteY120" fmla="*/ 8444 h 10000"/>
                <a:gd name="connsiteX121" fmla="*/ 6014 w 10354"/>
                <a:gd name="connsiteY121" fmla="*/ 8419 h 10000"/>
                <a:gd name="connsiteX122" fmla="*/ 6018 w 10354"/>
                <a:gd name="connsiteY122" fmla="*/ 8393 h 10000"/>
                <a:gd name="connsiteX123" fmla="*/ 6041 w 10354"/>
                <a:gd name="connsiteY123" fmla="*/ 8333 h 10000"/>
                <a:gd name="connsiteX124" fmla="*/ 6069 w 10354"/>
                <a:gd name="connsiteY124" fmla="*/ 8188 h 10000"/>
                <a:gd name="connsiteX125" fmla="*/ 6088 w 10354"/>
                <a:gd name="connsiteY125" fmla="*/ 8162 h 10000"/>
                <a:gd name="connsiteX126" fmla="*/ 6115 w 10354"/>
                <a:gd name="connsiteY126" fmla="*/ 8094 h 10000"/>
                <a:gd name="connsiteX127" fmla="*/ 6115 w 10354"/>
                <a:gd name="connsiteY127" fmla="*/ 8094 h 10000"/>
                <a:gd name="connsiteX128" fmla="*/ 6106 w 10354"/>
                <a:gd name="connsiteY128" fmla="*/ 8077 h 10000"/>
                <a:gd name="connsiteX129" fmla="*/ 6106 w 10354"/>
                <a:gd name="connsiteY129" fmla="*/ 8009 h 10000"/>
                <a:gd name="connsiteX130" fmla="*/ 6101 w 10354"/>
                <a:gd name="connsiteY130" fmla="*/ 8000 h 10000"/>
                <a:gd name="connsiteX131" fmla="*/ 6069 w 10354"/>
                <a:gd name="connsiteY131" fmla="*/ 8009 h 10000"/>
                <a:gd name="connsiteX132" fmla="*/ 6069 w 10354"/>
                <a:gd name="connsiteY132" fmla="*/ 8000 h 10000"/>
                <a:gd name="connsiteX133" fmla="*/ 6069 w 10354"/>
                <a:gd name="connsiteY133" fmla="*/ 7974 h 10000"/>
                <a:gd name="connsiteX134" fmla="*/ 6101 w 10354"/>
                <a:gd name="connsiteY134" fmla="*/ 7923 h 10000"/>
                <a:gd name="connsiteX135" fmla="*/ 6106 w 10354"/>
                <a:gd name="connsiteY135" fmla="*/ 7889 h 10000"/>
                <a:gd name="connsiteX136" fmla="*/ 6129 w 10354"/>
                <a:gd name="connsiteY136" fmla="*/ 7863 h 10000"/>
                <a:gd name="connsiteX137" fmla="*/ 6300 w 10354"/>
                <a:gd name="connsiteY137" fmla="*/ 7812 h 10000"/>
                <a:gd name="connsiteX138" fmla="*/ 6359 w 10354"/>
                <a:gd name="connsiteY138" fmla="*/ 7872 h 10000"/>
                <a:gd name="connsiteX139" fmla="*/ 6373 w 10354"/>
                <a:gd name="connsiteY139" fmla="*/ 7889 h 10000"/>
                <a:gd name="connsiteX140" fmla="*/ 6401 w 10354"/>
                <a:gd name="connsiteY140" fmla="*/ 7889 h 10000"/>
                <a:gd name="connsiteX141" fmla="*/ 6433 w 10354"/>
                <a:gd name="connsiteY141" fmla="*/ 7915 h 10000"/>
                <a:gd name="connsiteX142" fmla="*/ 6461 w 10354"/>
                <a:gd name="connsiteY142" fmla="*/ 7974 h 10000"/>
                <a:gd name="connsiteX143" fmla="*/ 6461 w 10354"/>
                <a:gd name="connsiteY143" fmla="*/ 8000 h 10000"/>
                <a:gd name="connsiteX144" fmla="*/ 6484 w 10354"/>
                <a:gd name="connsiteY144" fmla="*/ 8034 h 10000"/>
                <a:gd name="connsiteX145" fmla="*/ 6484 w 10354"/>
                <a:gd name="connsiteY145" fmla="*/ 8051 h 10000"/>
                <a:gd name="connsiteX146" fmla="*/ 6484 w 10354"/>
                <a:gd name="connsiteY146" fmla="*/ 8034 h 10000"/>
                <a:gd name="connsiteX147" fmla="*/ 6558 w 10354"/>
                <a:gd name="connsiteY147" fmla="*/ 8444 h 10000"/>
                <a:gd name="connsiteX148" fmla="*/ 6558 w 10354"/>
                <a:gd name="connsiteY148" fmla="*/ 8462 h 10000"/>
                <a:gd name="connsiteX149" fmla="*/ 6558 w 10354"/>
                <a:gd name="connsiteY149" fmla="*/ 8462 h 10000"/>
                <a:gd name="connsiteX150" fmla="*/ 6562 w 10354"/>
                <a:gd name="connsiteY150" fmla="*/ 8547 h 10000"/>
                <a:gd name="connsiteX151" fmla="*/ 6576 w 10354"/>
                <a:gd name="connsiteY151" fmla="*/ 8573 h 10000"/>
                <a:gd name="connsiteX152" fmla="*/ 6604 w 10354"/>
                <a:gd name="connsiteY152" fmla="*/ 8581 h 10000"/>
                <a:gd name="connsiteX153" fmla="*/ 6631 w 10354"/>
                <a:gd name="connsiteY153" fmla="*/ 8556 h 10000"/>
                <a:gd name="connsiteX154" fmla="*/ 6691 w 10354"/>
                <a:gd name="connsiteY154" fmla="*/ 8607 h 10000"/>
                <a:gd name="connsiteX155" fmla="*/ 6728 w 10354"/>
                <a:gd name="connsiteY155" fmla="*/ 8667 h 10000"/>
                <a:gd name="connsiteX156" fmla="*/ 6742 w 10354"/>
                <a:gd name="connsiteY156" fmla="*/ 8684 h 10000"/>
                <a:gd name="connsiteX157" fmla="*/ 6765 w 10354"/>
                <a:gd name="connsiteY157" fmla="*/ 8684 h 10000"/>
                <a:gd name="connsiteX158" fmla="*/ 6765 w 10354"/>
                <a:gd name="connsiteY158" fmla="*/ 8709 h 10000"/>
                <a:gd name="connsiteX159" fmla="*/ 6765 w 10354"/>
                <a:gd name="connsiteY159" fmla="*/ 8709 h 10000"/>
                <a:gd name="connsiteX160" fmla="*/ 6770 w 10354"/>
                <a:gd name="connsiteY160" fmla="*/ 8709 h 10000"/>
                <a:gd name="connsiteX161" fmla="*/ 6770 w 10354"/>
                <a:gd name="connsiteY161" fmla="*/ 8744 h 10000"/>
                <a:gd name="connsiteX162" fmla="*/ 6779 w 10354"/>
                <a:gd name="connsiteY162" fmla="*/ 8769 h 10000"/>
                <a:gd name="connsiteX163" fmla="*/ 6779 w 10354"/>
                <a:gd name="connsiteY163" fmla="*/ 8846 h 10000"/>
                <a:gd name="connsiteX164" fmla="*/ 6797 w 10354"/>
                <a:gd name="connsiteY164" fmla="*/ 8906 h 10000"/>
                <a:gd name="connsiteX165" fmla="*/ 6816 w 10354"/>
                <a:gd name="connsiteY165" fmla="*/ 8906 h 10000"/>
                <a:gd name="connsiteX166" fmla="*/ 6843 w 10354"/>
                <a:gd name="connsiteY166" fmla="*/ 8915 h 10000"/>
                <a:gd name="connsiteX167" fmla="*/ 6862 w 10354"/>
                <a:gd name="connsiteY167" fmla="*/ 8906 h 10000"/>
                <a:gd name="connsiteX168" fmla="*/ 6935 w 10354"/>
                <a:gd name="connsiteY168" fmla="*/ 8829 h 10000"/>
                <a:gd name="connsiteX169" fmla="*/ 6963 w 10354"/>
                <a:gd name="connsiteY169" fmla="*/ 8829 h 10000"/>
                <a:gd name="connsiteX170" fmla="*/ 7046 w 10354"/>
                <a:gd name="connsiteY170" fmla="*/ 8769 h 10000"/>
                <a:gd name="connsiteX171" fmla="*/ 7046 w 10354"/>
                <a:gd name="connsiteY171" fmla="*/ 8769 h 10000"/>
                <a:gd name="connsiteX172" fmla="*/ 7032 w 10354"/>
                <a:gd name="connsiteY172" fmla="*/ 8803 h 10000"/>
                <a:gd name="connsiteX173" fmla="*/ 7032 w 10354"/>
                <a:gd name="connsiteY173" fmla="*/ 8846 h 10000"/>
                <a:gd name="connsiteX174" fmla="*/ 7037 w 10354"/>
                <a:gd name="connsiteY174" fmla="*/ 8880 h 10000"/>
                <a:gd name="connsiteX175" fmla="*/ 7037 w 10354"/>
                <a:gd name="connsiteY175" fmla="*/ 8932 h 10000"/>
                <a:gd name="connsiteX176" fmla="*/ 7005 w 10354"/>
                <a:gd name="connsiteY176" fmla="*/ 8983 h 10000"/>
                <a:gd name="connsiteX177" fmla="*/ 6977 w 10354"/>
                <a:gd name="connsiteY177" fmla="*/ 9188 h 10000"/>
                <a:gd name="connsiteX178" fmla="*/ 6935 w 10354"/>
                <a:gd name="connsiteY178" fmla="*/ 9316 h 10000"/>
                <a:gd name="connsiteX179" fmla="*/ 6931 w 10354"/>
                <a:gd name="connsiteY179" fmla="*/ 9368 h 10000"/>
                <a:gd name="connsiteX180" fmla="*/ 6917 w 10354"/>
                <a:gd name="connsiteY180" fmla="*/ 9376 h 10000"/>
                <a:gd name="connsiteX181" fmla="*/ 6912 w 10354"/>
                <a:gd name="connsiteY181" fmla="*/ 9376 h 10000"/>
                <a:gd name="connsiteX182" fmla="*/ 6848 w 10354"/>
                <a:gd name="connsiteY182" fmla="*/ 9342 h 10000"/>
                <a:gd name="connsiteX183" fmla="*/ 6788 w 10354"/>
                <a:gd name="connsiteY183" fmla="*/ 9436 h 10000"/>
                <a:gd name="connsiteX184" fmla="*/ 6802 w 10354"/>
                <a:gd name="connsiteY184" fmla="*/ 9462 h 10000"/>
                <a:gd name="connsiteX185" fmla="*/ 6811 w 10354"/>
                <a:gd name="connsiteY185" fmla="*/ 9667 h 10000"/>
                <a:gd name="connsiteX186" fmla="*/ 6788 w 10354"/>
                <a:gd name="connsiteY186" fmla="*/ 9709 h 10000"/>
                <a:gd name="connsiteX187" fmla="*/ 6765 w 10354"/>
                <a:gd name="connsiteY187" fmla="*/ 9752 h 10000"/>
                <a:gd name="connsiteX188" fmla="*/ 6765 w 10354"/>
                <a:gd name="connsiteY188" fmla="*/ 9803 h 10000"/>
                <a:gd name="connsiteX189" fmla="*/ 6770 w 10354"/>
                <a:gd name="connsiteY189" fmla="*/ 9821 h 10000"/>
                <a:gd name="connsiteX190" fmla="*/ 6779 w 10354"/>
                <a:gd name="connsiteY190" fmla="*/ 9812 h 10000"/>
                <a:gd name="connsiteX191" fmla="*/ 6779 w 10354"/>
                <a:gd name="connsiteY191" fmla="*/ 9803 h 10000"/>
                <a:gd name="connsiteX192" fmla="*/ 6770 w 10354"/>
                <a:gd name="connsiteY192" fmla="*/ 9786 h 10000"/>
                <a:gd name="connsiteX193" fmla="*/ 6811 w 10354"/>
                <a:gd name="connsiteY193" fmla="*/ 9786 h 10000"/>
                <a:gd name="connsiteX194" fmla="*/ 6816 w 10354"/>
                <a:gd name="connsiteY194" fmla="*/ 9761 h 10000"/>
                <a:gd name="connsiteX195" fmla="*/ 6825 w 10354"/>
                <a:gd name="connsiteY195" fmla="*/ 9752 h 10000"/>
                <a:gd name="connsiteX196" fmla="*/ 6825 w 10354"/>
                <a:gd name="connsiteY196" fmla="*/ 9726 h 10000"/>
                <a:gd name="connsiteX197" fmla="*/ 6843 w 10354"/>
                <a:gd name="connsiteY197" fmla="*/ 9701 h 10000"/>
                <a:gd name="connsiteX198" fmla="*/ 6848 w 10354"/>
                <a:gd name="connsiteY198" fmla="*/ 9650 h 10000"/>
                <a:gd name="connsiteX199" fmla="*/ 6848 w 10354"/>
                <a:gd name="connsiteY199" fmla="*/ 9675 h 10000"/>
                <a:gd name="connsiteX200" fmla="*/ 6862 w 10354"/>
                <a:gd name="connsiteY200" fmla="*/ 9675 h 10000"/>
                <a:gd name="connsiteX201" fmla="*/ 6857 w 10354"/>
                <a:gd name="connsiteY201" fmla="*/ 9701 h 10000"/>
                <a:gd name="connsiteX202" fmla="*/ 6857 w 10354"/>
                <a:gd name="connsiteY202" fmla="*/ 9701 h 10000"/>
                <a:gd name="connsiteX203" fmla="*/ 6876 w 10354"/>
                <a:gd name="connsiteY203" fmla="*/ 9684 h 10000"/>
                <a:gd name="connsiteX204" fmla="*/ 6885 w 10354"/>
                <a:gd name="connsiteY204" fmla="*/ 9675 h 10000"/>
                <a:gd name="connsiteX205" fmla="*/ 6876 w 10354"/>
                <a:gd name="connsiteY205" fmla="*/ 9735 h 10000"/>
                <a:gd name="connsiteX206" fmla="*/ 6885 w 10354"/>
                <a:gd name="connsiteY206" fmla="*/ 9752 h 10000"/>
                <a:gd name="connsiteX207" fmla="*/ 6903 w 10354"/>
                <a:gd name="connsiteY207" fmla="*/ 9752 h 10000"/>
                <a:gd name="connsiteX208" fmla="*/ 6917 w 10354"/>
                <a:gd name="connsiteY208" fmla="*/ 9761 h 10000"/>
                <a:gd name="connsiteX209" fmla="*/ 6917 w 10354"/>
                <a:gd name="connsiteY209" fmla="*/ 9761 h 10000"/>
                <a:gd name="connsiteX210" fmla="*/ 6922 w 10354"/>
                <a:gd name="connsiteY210" fmla="*/ 9778 h 10000"/>
                <a:gd name="connsiteX211" fmla="*/ 6945 w 10354"/>
                <a:gd name="connsiteY211" fmla="*/ 9778 h 10000"/>
                <a:gd name="connsiteX212" fmla="*/ 6972 w 10354"/>
                <a:gd name="connsiteY212" fmla="*/ 9752 h 10000"/>
                <a:gd name="connsiteX213" fmla="*/ 6977 w 10354"/>
                <a:gd name="connsiteY213" fmla="*/ 9752 h 10000"/>
                <a:gd name="connsiteX214" fmla="*/ 7069 w 10354"/>
                <a:gd name="connsiteY214" fmla="*/ 9624 h 10000"/>
                <a:gd name="connsiteX215" fmla="*/ 7097 w 10354"/>
                <a:gd name="connsiteY215" fmla="*/ 9547 h 10000"/>
                <a:gd name="connsiteX216" fmla="*/ 7106 w 10354"/>
                <a:gd name="connsiteY216" fmla="*/ 9530 h 10000"/>
                <a:gd name="connsiteX217" fmla="*/ 7124 w 10354"/>
                <a:gd name="connsiteY217" fmla="*/ 9479 h 10000"/>
                <a:gd name="connsiteX218" fmla="*/ 7138 w 10354"/>
                <a:gd name="connsiteY218" fmla="*/ 9462 h 10000"/>
                <a:gd name="connsiteX219" fmla="*/ 7378 w 10354"/>
                <a:gd name="connsiteY219" fmla="*/ 8795 h 10000"/>
                <a:gd name="connsiteX220" fmla="*/ 7392 w 10354"/>
                <a:gd name="connsiteY220" fmla="*/ 8795 h 10000"/>
                <a:gd name="connsiteX221" fmla="*/ 7401 w 10354"/>
                <a:gd name="connsiteY221" fmla="*/ 8769 h 10000"/>
                <a:gd name="connsiteX222" fmla="*/ 7406 w 10354"/>
                <a:gd name="connsiteY222" fmla="*/ 8692 h 10000"/>
                <a:gd name="connsiteX223" fmla="*/ 7406 w 10354"/>
                <a:gd name="connsiteY223" fmla="*/ 8667 h 10000"/>
                <a:gd name="connsiteX224" fmla="*/ 7419 w 10354"/>
                <a:gd name="connsiteY224" fmla="*/ 8598 h 10000"/>
                <a:gd name="connsiteX225" fmla="*/ 7419 w 10354"/>
                <a:gd name="connsiteY225" fmla="*/ 8496 h 10000"/>
                <a:gd name="connsiteX226" fmla="*/ 7424 w 10354"/>
                <a:gd name="connsiteY226" fmla="*/ 8470 h 10000"/>
                <a:gd name="connsiteX227" fmla="*/ 7424 w 10354"/>
                <a:gd name="connsiteY227" fmla="*/ 8462 h 10000"/>
                <a:gd name="connsiteX228" fmla="*/ 7419 w 10354"/>
                <a:gd name="connsiteY228" fmla="*/ 8462 h 10000"/>
                <a:gd name="connsiteX229" fmla="*/ 7410 w 10354"/>
                <a:gd name="connsiteY229" fmla="*/ 8350 h 10000"/>
                <a:gd name="connsiteX230" fmla="*/ 7419 w 10354"/>
                <a:gd name="connsiteY230" fmla="*/ 8325 h 10000"/>
                <a:gd name="connsiteX231" fmla="*/ 7424 w 10354"/>
                <a:gd name="connsiteY231" fmla="*/ 8248 h 10000"/>
                <a:gd name="connsiteX232" fmla="*/ 7433 w 10354"/>
                <a:gd name="connsiteY232" fmla="*/ 8248 h 10000"/>
                <a:gd name="connsiteX233" fmla="*/ 7433 w 10354"/>
                <a:gd name="connsiteY233" fmla="*/ 8231 h 10000"/>
                <a:gd name="connsiteX234" fmla="*/ 7433 w 10354"/>
                <a:gd name="connsiteY234" fmla="*/ 8222 h 10000"/>
                <a:gd name="connsiteX235" fmla="*/ 7433 w 10354"/>
                <a:gd name="connsiteY235" fmla="*/ 8214 h 10000"/>
                <a:gd name="connsiteX236" fmla="*/ 7447 w 10354"/>
                <a:gd name="connsiteY236" fmla="*/ 8162 h 10000"/>
                <a:gd name="connsiteX237" fmla="*/ 7461 w 10354"/>
                <a:gd name="connsiteY237" fmla="*/ 8162 h 10000"/>
                <a:gd name="connsiteX238" fmla="*/ 7475 w 10354"/>
                <a:gd name="connsiteY238" fmla="*/ 8111 h 10000"/>
                <a:gd name="connsiteX239" fmla="*/ 7475 w 10354"/>
                <a:gd name="connsiteY239" fmla="*/ 8085 h 10000"/>
                <a:gd name="connsiteX240" fmla="*/ 7479 w 10354"/>
                <a:gd name="connsiteY240" fmla="*/ 8060 h 10000"/>
                <a:gd name="connsiteX241" fmla="*/ 7452 w 10354"/>
                <a:gd name="connsiteY241" fmla="*/ 8009 h 10000"/>
                <a:gd name="connsiteX242" fmla="*/ 7465 w 10354"/>
                <a:gd name="connsiteY242" fmla="*/ 7974 h 10000"/>
                <a:gd name="connsiteX243" fmla="*/ 7452 w 10354"/>
                <a:gd name="connsiteY243" fmla="*/ 7923 h 10000"/>
                <a:gd name="connsiteX244" fmla="*/ 7433 w 10354"/>
                <a:gd name="connsiteY244" fmla="*/ 7889 h 10000"/>
                <a:gd name="connsiteX245" fmla="*/ 7419 w 10354"/>
                <a:gd name="connsiteY245" fmla="*/ 7889 h 10000"/>
                <a:gd name="connsiteX246" fmla="*/ 7401 w 10354"/>
                <a:gd name="connsiteY246" fmla="*/ 7863 h 10000"/>
                <a:gd name="connsiteX247" fmla="*/ 7387 w 10354"/>
                <a:gd name="connsiteY247" fmla="*/ 7863 h 10000"/>
                <a:gd name="connsiteX248" fmla="*/ 7373 w 10354"/>
                <a:gd name="connsiteY248" fmla="*/ 7863 h 10000"/>
                <a:gd name="connsiteX249" fmla="*/ 7387 w 10354"/>
                <a:gd name="connsiteY249" fmla="*/ 7846 h 10000"/>
                <a:gd name="connsiteX250" fmla="*/ 7401 w 10354"/>
                <a:gd name="connsiteY250" fmla="*/ 7846 h 10000"/>
                <a:gd name="connsiteX251" fmla="*/ 7410 w 10354"/>
                <a:gd name="connsiteY251" fmla="*/ 7863 h 10000"/>
                <a:gd name="connsiteX252" fmla="*/ 7424 w 10354"/>
                <a:gd name="connsiteY252" fmla="*/ 7872 h 10000"/>
                <a:gd name="connsiteX253" fmla="*/ 7433 w 10354"/>
                <a:gd name="connsiteY253" fmla="*/ 7863 h 10000"/>
                <a:gd name="connsiteX254" fmla="*/ 7461 w 10354"/>
                <a:gd name="connsiteY254" fmla="*/ 7897 h 10000"/>
                <a:gd name="connsiteX255" fmla="*/ 7465 w 10354"/>
                <a:gd name="connsiteY255" fmla="*/ 7889 h 10000"/>
                <a:gd name="connsiteX256" fmla="*/ 7475 w 10354"/>
                <a:gd name="connsiteY256" fmla="*/ 7863 h 10000"/>
                <a:gd name="connsiteX257" fmla="*/ 7475 w 10354"/>
                <a:gd name="connsiteY257" fmla="*/ 7838 h 10000"/>
                <a:gd name="connsiteX258" fmla="*/ 7465 w 10354"/>
                <a:gd name="connsiteY258" fmla="*/ 7838 h 10000"/>
                <a:gd name="connsiteX259" fmla="*/ 7406 w 10354"/>
                <a:gd name="connsiteY259" fmla="*/ 7752 h 10000"/>
                <a:gd name="connsiteX260" fmla="*/ 7401 w 10354"/>
                <a:gd name="connsiteY260" fmla="*/ 7735 h 10000"/>
                <a:gd name="connsiteX261" fmla="*/ 7401 w 10354"/>
                <a:gd name="connsiteY261" fmla="*/ 7701 h 10000"/>
                <a:gd name="connsiteX262" fmla="*/ 7378 w 10354"/>
                <a:gd name="connsiteY262" fmla="*/ 7675 h 10000"/>
                <a:gd name="connsiteX263" fmla="*/ 7373 w 10354"/>
                <a:gd name="connsiteY263" fmla="*/ 7667 h 10000"/>
                <a:gd name="connsiteX264" fmla="*/ 7364 w 10354"/>
                <a:gd name="connsiteY264" fmla="*/ 7650 h 10000"/>
                <a:gd name="connsiteX265" fmla="*/ 7364 w 10354"/>
                <a:gd name="connsiteY265" fmla="*/ 7641 h 10000"/>
                <a:gd name="connsiteX266" fmla="*/ 7350 w 10354"/>
                <a:gd name="connsiteY266" fmla="*/ 7641 h 10000"/>
                <a:gd name="connsiteX267" fmla="*/ 7336 w 10354"/>
                <a:gd name="connsiteY267" fmla="*/ 7650 h 10000"/>
                <a:gd name="connsiteX268" fmla="*/ 7327 w 10354"/>
                <a:gd name="connsiteY268" fmla="*/ 7650 h 10000"/>
                <a:gd name="connsiteX269" fmla="*/ 7300 w 10354"/>
                <a:gd name="connsiteY269" fmla="*/ 7641 h 10000"/>
                <a:gd name="connsiteX270" fmla="*/ 7300 w 10354"/>
                <a:gd name="connsiteY270" fmla="*/ 7675 h 10000"/>
                <a:gd name="connsiteX271" fmla="*/ 7300 w 10354"/>
                <a:gd name="connsiteY271" fmla="*/ 7692 h 10000"/>
                <a:gd name="connsiteX272" fmla="*/ 7286 w 10354"/>
                <a:gd name="connsiteY272" fmla="*/ 7786 h 10000"/>
                <a:gd name="connsiteX273" fmla="*/ 7272 w 10354"/>
                <a:gd name="connsiteY273" fmla="*/ 7803 h 10000"/>
                <a:gd name="connsiteX274" fmla="*/ 7276 w 10354"/>
                <a:gd name="connsiteY274" fmla="*/ 7761 h 10000"/>
                <a:gd name="connsiteX275" fmla="*/ 7286 w 10354"/>
                <a:gd name="connsiteY275" fmla="*/ 7735 h 10000"/>
                <a:gd name="connsiteX276" fmla="*/ 7276 w 10354"/>
                <a:gd name="connsiteY276" fmla="*/ 7709 h 10000"/>
                <a:gd name="connsiteX277" fmla="*/ 7258 w 10354"/>
                <a:gd name="connsiteY277" fmla="*/ 7761 h 10000"/>
                <a:gd name="connsiteX278" fmla="*/ 7217 w 10354"/>
                <a:gd name="connsiteY278" fmla="*/ 7786 h 10000"/>
                <a:gd name="connsiteX279" fmla="*/ 7203 w 10354"/>
                <a:gd name="connsiteY279" fmla="*/ 7786 h 10000"/>
                <a:gd name="connsiteX280" fmla="*/ 7198 w 10354"/>
                <a:gd name="connsiteY280" fmla="*/ 7778 h 10000"/>
                <a:gd name="connsiteX281" fmla="*/ 7212 w 10354"/>
                <a:gd name="connsiteY281" fmla="*/ 7761 h 10000"/>
                <a:gd name="connsiteX282" fmla="*/ 7230 w 10354"/>
                <a:gd name="connsiteY282" fmla="*/ 7726 h 10000"/>
                <a:gd name="connsiteX283" fmla="*/ 7226 w 10354"/>
                <a:gd name="connsiteY283" fmla="*/ 7709 h 10000"/>
                <a:gd name="connsiteX284" fmla="*/ 7212 w 10354"/>
                <a:gd name="connsiteY284" fmla="*/ 7701 h 10000"/>
                <a:gd name="connsiteX285" fmla="*/ 7203 w 10354"/>
                <a:gd name="connsiteY285" fmla="*/ 7675 h 10000"/>
                <a:gd name="connsiteX286" fmla="*/ 7217 w 10354"/>
                <a:gd name="connsiteY286" fmla="*/ 7675 h 10000"/>
                <a:gd name="connsiteX287" fmla="*/ 7226 w 10354"/>
                <a:gd name="connsiteY287" fmla="*/ 7650 h 10000"/>
                <a:gd name="connsiteX288" fmla="*/ 7226 w 10354"/>
                <a:gd name="connsiteY288" fmla="*/ 7641 h 10000"/>
                <a:gd name="connsiteX289" fmla="*/ 7203 w 10354"/>
                <a:gd name="connsiteY289" fmla="*/ 7641 h 10000"/>
                <a:gd name="connsiteX290" fmla="*/ 7198 w 10354"/>
                <a:gd name="connsiteY290" fmla="*/ 7650 h 10000"/>
                <a:gd name="connsiteX291" fmla="*/ 7194 w 10354"/>
                <a:gd name="connsiteY291" fmla="*/ 7675 h 10000"/>
                <a:gd name="connsiteX292" fmla="*/ 7198 w 10354"/>
                <a:gd name="connsiteY292" fmla="*/ 7692 h 10000"/>
                <a:gd name="connsiteX293" fmla="*/ 7198 w 10354"/>
                <a:gd name="connsiteY293" fmla="*/ 7709 h 10000"/>
                <a:gd name="connsiteX294" fmla="*/ 7184 w 10354"/>
                <a:gd name="connsiteY294" fmla="*/ 7726 h 10000"/>
                <a:gd name="connsiteX295" fmla="*/ 7180 w 10354"/>
                <a:gd name="connsiteY295" fmla="*/ 7726 h 10000"/>
                <a:gd name="connsiteX296" fmla="*/ 7171 w 10354"/>
                <a:gd name="connsiteY296" fmla="*/ 7752 h 10000"/>
                <a:gd name="connsiteX297" fmla="*/ 7166 w 10354"/>
                <a:gd name="connsiteY297" fmla="*/ 7735 h 10000"/>
                <a:gd name="connsiteX298" fmla="*/ 7171 w 10354"/>
                <a:gd name="connsiteY298" fmla="*/ 7624 h 10000"/>
                <a:gd name="connsiteX299" fmla="*/ 7171 w 10354"/>
                <a:gd name="connsiteY299" fmla="*/ 7615 h 10000"/>
                <a:gd name="connsiteX300" fmla="*/ 7171 w 10354"/>
                <a:gd name="connsiteY300" fmla="*/ 7590 h 10000"/>
                <a:gd name="connsiteX301" fmla="*/ 7166 w 10354"/>
                <a:gd name="connsiteY301" fmla="*/ 7564 h 10000"/>
                <a:gd name="connsiteX302" fmla="*/ 7157 w 10354"/>
                <a:gd name="connsiteY302" fmla="*/ 7564 h 10000"/>
                <a:gd name="connsiteX303" fmla="*/ 7097 w 10354"/>
                <a:gd name="connsiteY303" fmla="*/ 7573 h 10000"/>
                <a:gd name="connsiteX304" fmla="*/ 7065 w 10354"/>
                <a:gd name="connsiteY304" fmla="*/ 7538 h 10000"/>
                <a:gd name="connsiteX305" fmla="*/ 7069 w 10354"/>
                <a:gd name="connsiteY305" fmla="*/ 7504 h 10000"/>
                <a:gd name="connsiteX306" fmla="*/ 7106 w 10354"/>
                <a:gd name="connsiteY306" fmla="*/ 7453 h 10000"/>
                <a:gd name="connsiteX307" fmla="*/ 7111 w 10354"/>
                <a:gd name="connsiteY307" fmla="*/ 7436 h 10000"/>
                <a:gd name="connsiteX308" fmla="*/ 7138 w 10354"/>
                <a:gd name="connsiteY308" fmla="*/ 7402 h 10000"/>
                <a:gd name="connsiteX309" fmla="*/ 7143 w 10354"/>
                <a:gd name="connsiteY309" fmla="*/ 7376 h 10000"/>
                <a:gd name="connsiteX310" fmla="*/ 7152 w 10354"/>
                <a:gd name="connsiteY310" fmla="*/ 7368 h 10000"/>
                <a:gd name="connsiteX311" fmla="*/ 7157 w 10354"/>
                <a:gd name="connsiteY311" fmla="*/ 7350 h 10000"/>
                <a:gd name="connsiteX312" fmla="*/ 7230 w 10354"/>
                <a:gd name="connsiteY312" fmla="*/ 7239 h 10000"/>
                <a:gd name="connsiteX313" fmla="*/ 7240 w 10354"/>
                <a:gd name="connsiteY313" fmla="*/ 7205 h 10000"/>
                <a:gd name="connsiteX314" fmla="*/ 7253 w 10354"/>
                <a:gd name="connsiteY314" fmla="*/ 7188 h 10000"/>
                <a:gd name="connsiteX315" fmla="*/ 7258 w 10354"/>
                <a:gd name="connsiteY315" fmla="*/ 7162 h 10000"/>
                <a:gd name="connsiteX316" fmla="*/ 7258 w 10354"/>
                <a:gd name="connsiteY316" fmla="*/ 7154 h 10000"/>
                <a:gd name="connsiteX317" fmla="*/ 7272 w 10354"/>
                <a:gd name="connsiteY317" fmla="*/ 7120 h 10000"/>
                <a:gd name="connsiteX318" fmla="*/ 7276 w 10354"/>
                <a:gd name="connsiteY318" fmla="*/ 7094 h 10000"/>
                <a:gd name="connsiteX319" fmla="*/ 7286 w 10354"/>
                <a:gd name="connsiteY319" fmla="*/ 7094 h 10000"/>
                <a:gd name="connsiteX320" fmla="*/ 7290 w 10354"/>
                <a:gd name="connsiteY320" fmla="*/ 7068 h 10000"/>
                <a:gd name="connsiteX321" fmla="*/ 7332 w 10354"/>
                <a:gd name="connsiteY321" fmla="*/ 6991 h 10000"/>
                <a:gd name="connsiteX322" fmla="*/ 7336 w 10354"/>
                <a:gd name="connsiteY322" fmla="*/ 6991 h 10000"/>
                <a:gd name="connsiteX323" fmla="*/ 7364 w 10354"/>
                <a:gd name="connsiteY323" fmla="*/ 6940 h 10000"/>
                <a:gd name="connsiteX324" fmla="*/ 7373 w 10354"/>
                <a:gd name="connsiteY324" fmla="*/ 6906 h 10000"/>
                <a:gd name="connsiteX325" fmla="*/ 7378 w 10354"/>
                <a:gd name="connsiteY325" fmla="*/ 6915 h 10000"/>
                <a:gd name="connsiteX326" fmla="*/ 7406 w 10354"/>
                <a:gd name="connsiteY326" fmla="*/ 6880 h 10000"/>
                <a:gd name="connsiteX327" fmla="*/ 7410 w 10354"/>
                <a:gd name="connsiteY327" fmla="*/ 6846 h 10000"/>
                <a:gd name="connsiteX328" fmla="*/ 7419 w 10354"/>
                <a:gd name="connsiteY328" fmla="*/ 6803 h 10000"/>
                <a:gd name="connsiteX329" fmla="*/ 7585 w 10354"/>
                <a:gd name="connsiteY329" fmla="*/ 6504 h 10000"/>
                <a:gd name="connsiteX330" fmla="*/ 7765 w 10354"/>
                <a:gd name="connsiteY330" fmla="*/ 6504 h 10000"/>
                <a:gd name="connsiteX331" fmla="*/ 7765 w 10354"/>
                <a:gd name="connsiteY331" fmla="*/ 6530 h 10000"/>
                <a:gd name="connsiteX332" fmla="*/ 7774 w 10354"/>
                <a:gd name="connsiteY332" fmla="*/ 6556 h 10000"/>
                <a:gd name="connsiteX333" fmla="*/ 7779 w 10354"/>
                <a:gd name="connsiteY333" fmla="*/ 6556 h 10000"/>
                <a:gd name="connsiteX334" fmla="*/ 7793 w 10354"/>
                <a:gd name="connsiteY334" fmla="*/ 6547 h 10000"/>
                <a:gd name="connsiteX335" fmla="*/ 7793 w 10354"/>
                <a:gd name="connsiteY335" fmla="*/ 6530 h 10000"/>
                <a:gd name="connsiteX336" fmla="*/ 7802 w 10354"/>
                <a:gd name="connsiteY336" fmla="*/ 6496 h 10000"/>
                <a:gd name="connsiteX337" fmla="*/ 7806 w 10354"/>
                <a:gd name="connsiteY337" fmla="*/ 6487 h 10000"/>
                <a:gd name="connsiteX338" fmla="*/ 7876 w 10354"/>
                <a:gd name="connsiteY338" fmla="*/ 6530 h 10000"/>
                <a:gd name="connsiteX339" fmla="*/ 7894 w 10354"/>
                <a:gd name="connsiteY339" fmla="*/ 6530 h 10000"/>
                <a:gd name="connsiteX340" fmla="*/ 7894 w 10354"/>
                <a:gd name="connsiteY340" fmla="*/ 6504 h 10000"/>
                <a:gd name="connsiteX341" fmla="*/ 7899 w 10354"/>
                <a:gd name="connsiteY341" fmla="*/ 6504 h 10000"/>
                <a:gd name="connsiteX342" fmla="*/ 7926 w 10354"/>
                <a:gd name="connsiteY342" fmla="*/ 6504 h 10000"/>
                <a:gd name="connsiteX343" fmla="*/ 7940 w 10354"/>
                <a:gd name="connsiteY343" fmla="*/ 6547 h 10000"/>
                <a:gd name="connsiteX344" fmla="*/ 7949 w 10354"/>
                <a:gd name="connsiteY344" fmla="*/ 6547 h 10000"/>
                <a:gd name="connsiteX345" fmla="*/ 7963 w 10354"/>
                <a:gd name="connsiteY345" fmla="*/ 6530 h 10000"/>
                <a:gd name="connsiteX346" fmla="*/ 7963 w 10354"/>
                <a:gd name="connsiteY346" fmla="*/ 6504 h 10000"/>
                <a:gd name="connsiteX347" fmla="*/ 7963 w 10354"/>
                <a:gd name="connsiteY347" fmla="*/ 6504 h 10000"/>
                <a:gd name="connsiteX348" fmla="*/ 7954 w 10354"/>
                <a:gd name="connsiteY348" fmla="*/ 6496 h 10000"/>
                <a:gd name="connsiteX349" fmla="*/ 7963 w 10354"/>
                <a:gd name="connsiteY349" fmla="*/ 6487 h 10000"/>
                <a:gd name="connsiteX350" fmla="*/ 7982 w 10354"/>
                <a:gd name="connsiteY350" fmla="*/ 6487 h 10000"/>
                <a:gd name="connsiteX351" fmla="*/ 7982 w 10354"/>
                <a:gd name="connsiteY351" fmla="*/ 6470 h 10000"/>
                <a:gd name="connsiteX352" fmla="*/ 7972 w 10354"/>
                <a:gd name="connsiteY352" fmla="*/ 6462 h 10000"/>
                <a:gd name="connsiteX353" fmla="*/ 7972 w 10354"/>
                <a:gd name="connsiteY353" fmla="*/ 6436 h 10000"/>
                <a:gd name="connsiteX354" fmla="*/ 7986 w 10354"/>
                <a:gd name="connsiteY354" fmla="*/ 6419 h 10000"/>
                <a:gd name="connsiteX355" fmla="*/ 8000 w 10354"/>
                <a:gd name="connsiteY355" fmla="*/ 6419 h 10000"/>
                <a:gd name="connsiteX356" fmla="*/ 8055 w 10354"/>
                <a:gd name="connsiteY356" fmla="*/ 6462 h 10000"/>
                <a:gd name="connsiteX357" fmla="*/ 8069 w 10354"/>
                <a:gd name="connsiteY357" fmla="*/ 6444 h 10000"/>
                <a:gd name="connsiteX358" fmla="*/ 8083 w 10354"/>
                <a:gd name="connsiteY358" fmla="*/ 6470 h 10000"/>
                <a:gd name="connsiteX359" fmla="*/ 8083 w 10354"/>
                <a:gd name="connsiteY359" fmla="*/ 6487 h 10000"/>
                <a:gd name="connsiteX360" fmla="*/ 8097 w 10354"/>
                <a:gd name="connsiteY360" fmla="*/ 6487 h 10000"/>
                <a:gd name="connsiteX361" fmla="*/ 8101 w 10354"/>
                <a:gd name="connsiteY361" fmla="*/ 6462 h 10000"/>
                <a:gd name="connsiteX362" fmla="*/ 8115 w 10354"/>
                <a:gd name="connsiteY362" fmla="*/ 6462 h 10000"/>
                <a:gd name="connsiteX363" fmla="*/ 8129 w 10354"/>
                <a:gd name="connsiteY363" fmla="*/ 6462 h 10000"/>
                <a:gd name="connsiteX364" fmla="*/ 8157 w 10354"/>
                <a:gd name="connsiteY364" fmla="*/ 6496 h 10000"/>
                <a:gd name="connsiteX365" fmla="*/ 8157 w 10354"/>
                <a:gd name="connsiteY365" fmla="*/ 6521 h 10000"/>
                <a:gd name="connsiteX366" fmla="*/ 8180 w 10354"/>
                <a:gd name="connsiteY366" fmla="*/ 6530 h 10000"/>
                <a:gd name="connsiteX367" fmla="*/ 8180 w 10354"/>
                <a:gd name="connsiteY367" fmla="*/ 6547 h 10000"/>
                <a:gd name="connsiteX368" fmla="*/ 8171 w 10354"/>
                <a:gd name="connsiteY368" fmla="*/ 6556 h 10000"/>
                <a:gd name="connsiteX369" fmla="*/ 8129 w 10354"/>
                <a:gd name="connsiteY369" fmla="*/ 6556 h 10000"/>
                <a:gd name="connsiteX370" fmla="*/ 8106 w 10354"/>
                <a:gd name="connsiteY370" fmla="*/ 6573 h 10000"/>
                <a:gd name="connsiteX371" fmla="*/ 8115 w 10354"/>
                <a:gd name="connsiteY371" fmla="*/ 6581 h 10000"/>
                <a:gd name="connsiteX372" fmla="*/ 8129 w 10354"/>
                <a:gd name="connsiteY372" fmla="*/ 6632 h 10000"/>
                <a:gd name="connsiteX373" fmla="*/ 8171 w 10354"/>
                <a:gd name="connsiteY373" fmla="*/ 6632 h 10000"/>
                <a:gd name="connsiteX374" fmla="*/ 8180 w 10354"/>
                <a:gd name="connsiteY374" fmla="*/ 6624 h 10000"/>
                <a:gd name="connsiteX375" fmla="*/ 8189 w 10354"/>
                <a:gd name="connsiteY375" fmla="*/ 6598 h 10000"/>
                <a:gd name="connsiteX376" fmla="*/ 8203 w 10354"/>
                <a:gd name="connsiteY376" fmla="*/ 6581 h 10000"/>
                <a:gd name="connsiteX377" fmla="*/ 8207 w 10354"/>
                <a:gd name="connsiteY377" fmla="*/ 6607 h 10000"/>
                <a:gd name="connsiteX378" fmla="*/ 8221 w 10354"/>
                <a:gd name="connsiteY378" fmla="*/ 6624 h 10000"/>
                <a:gd name="connsiteX379" fmla="*/ 8235 w 10354"/>
                <a:gd name="connsiteY379" fmla="*/ 6607 h 10000"/>
                <a:gd name="connsiteX380" fmla="*/ 8240 w 10354"/>
                <a:gd name="connsiteY380" fmla="*/ 6581 h 10000"/>
                <a:gd name="connsiteX381" fmla="*/ 8253 w 10354"/>
                <a:gd name="connsiteY381" fmla="*/ 6573 h 10000"/>
                <a:gd name="connsiteX382" fmla="*/ 8263 w 10354"/>
                <a:gd name="connsiteY382" fmla="*/ 6556 h 10000"/>
                <a:gd name="connsiteX383" fmla="*/ 8276 w 10354"/>
                <a:gd name="connsiteY383" fmla="*/ 6547 h 10000"/>
                <a:gd name="connsiteX384" fmla="*/ 8290 w 10354"/>
                <a:gd name="connsiteY384" fmla="*/ 6556 h 10000"/>
                <a:gd name="connsiteX385" fmla="*/ 8304 w 10354"/>
                <a:gd name="connsiteY385" fmla="*/ 6581 h 10000"/>
                <a:gd name="connsiteX386" fmla="*/ 8309 w 10354"/>
                <a:gd name="connsiteY386" fmla="*/ 6581 h 10000"/>
                <a:gd name="connsiteX387" fmla="*/ 8327 w 10354"/>
                <a:gd name="connsiteY387" fmla="*/ 6573 h 10000"/>
                <a:gd name="connsiteX388" fmla="*/ 8327 w 10354"/>
                <a:gd name="connsiteY388" fmla="*/ 6556 h 10000"/>
                <a:gd name="connsiteX389" fmla="*/ 8350 w 10354"/>
                <a:gd name="connsiteY389" fmla="*/ 6556 h 10000"/>
                <a:gd name="connsiteX390" fmla="*/ 8355 w 10354"/>
                <a:gd name="connsiteY390" fmla="*/ 6573 h 10000"/>
                <a:gd name="connsiteX391" fmla="*/ 8364 w 10354"/>
                <a:gd name="connsiteY391" fmla="*/ 6556 h 10000"/>
                <a:gd name="connsiteX392" fmla="*/ 8369 w 10354"/>
                <a:gd name="connsiteY392" fmla="*/ 6556 h 10000"/>
                <a:gd name="connsiteX393" fmla="*/ 8378 w 10354"/>
                <a:gd name="connsiteY393" fmla="*/ 6530 h 10000"/>
                <a:gd name="connsiteX394" fmla="*/ 8369 w 10354"/>
                <a:gd name="connsiteY394" fmla="*/ 6504 h 10000"/>
                <a:gd name="connsiteX395" fmla="*/ 8364 w 10354"/>
                <a:gd name="connsiteY395" fmla="*/ 6496 h 10000"/>
                <a:gd name="connsiteX396" fmla="*/ 8336 w 10354"/>
                <a:gd name="connsiteY396" fmla="*/ 6470 h 10000"/>
                <a:gd name="connsiteX397" fmla="*/ 8309 w 10354"/>
                <a:gd name="connsiteY397" fmla="*/ 6487 h 10000"/>
                <a:gd name="connsiteX398" fmla="*/ 8313 w 10354"/>
                <a:gd name="connsiteY398" fmla="*/ 6462 h 10000"/>
                <a:gd name="connsiteX399" fmla="*/ 8323 w 10354"/>
                <a:gd name="connsiteY399" fmla="*/ 6444 h 10000"/>
                <a:gd name="connsiteX400" fmla="*/ 8309 w 10354"/>
                <a:gd name="connsiteY400" fmla="*/ 6393 h 10000"/>
                <a:gd name="connsiteX401" fmla="*/ 8313 w 10354"/>
                <a:gd name="connsiteY401" fmla="*/ 6385 h 10000"/>
                <a:gd name="connsiteX402" fmla="*/ 8323 w 10354"/>
                <a:gd name="connsiteY402" fmla="*/ 6393 h 10000"/>
                <a:gd name="connsiteX403" fmla="*/ 8323 w 10354"/>
                <a:gd name="connsiteY403" fmla="*/ 6393 h 10000"/>
                <a:gd name="connsiteX404" fmla="*/ 8355 w 10354"/>
                <a:gd name="connsiteY404" fmla="*/ 6282 h 10000"/>
                <a:gd name="connsiteX405" fmla="*/ 8369 w 10354"/>
                <a:gd name="connsiteY405" fmla="*/ 6256 h 10000"/>
                <a:gd name="connsiteX406" fmla="*/ 8382 w 10354"/>
                <a:gd name="connsiteY406" fmla="*/ 6248 h 10000"/>
                <a:gd name="connsiteX407" fmla="*/ 8424 w 10354"/>
                <a:gd name="connsiteY407" fmla="*/ 6162 h 10000"/>
                <a:gd name="connsiteX408" fmla="*/ 8429 w 10354"/>
                <a:gd name="connsiteY408" fmla="*/ 6145 h 10000"/>
                <a:gd name="connsiteX409" fmla="*/ 8470 w 10354"/>
                <a:gd name="connsiteY409" fmla="*/ 6051 h 10000"/>
                <a:gd name="connsiteX410" fmla="*/ 8475 w 10354"/>
                <a:gd name="connsiteY410" fmla="*/ 5983 h 10000"/>
                <a:gd name="connsiteX411" fmla="*/ 8512 w 10354"/>
                <a:gd name="connsiteY411" fmla="*/ 5940 h 10000"/>
                <a:gd name="connsiteX412" fmla="*/ 8521 w 10354"/>
                <a:gd name="connsiteY412" fmla="*/ 5923 h 10000"/>
                <a:gd name="connsiteX413" fmla="*/ 8535 w 10354"/>
                <a:gd name="connsiteY413" fmla="*/ 5915 h 10000"/>
                <a:gd name="connsiteX414" fmla="*/ 8562 w 10354"/>
                <a:gd name="connsiteY414" fmla="*/ 5915 h 10000"/>
                <a:gd name="connsiteX415" fmla="*/ 8618 w 10354"/>
                <a:gd name="connsiteY415" fmla="*/ 5889 h 10000"/>
                <a:gd name="connsiteX416" fmla="*/ 8622 w 10354"/>
                <a:gd name="connsiteY416" fmla="*/ 5889 h 10000"/>
                <a:gd name="connsiteX417" fmla="*/ 8622 w 10354"/>
                <a:gd name="connsiteY417" fmla="*/ 5872 h 10000"/>
                <a:gd name="connsiteX418" fmla="*/ 8636 w 10354"/>
                <a:gd name="connsiteY418" fmla="*/ 5872 h 10000"/>
                <a:gd name="connsiteX419" fmla="*/ 8650 w 10354"/>
                <a:gd name="connsiteY419" fmla="*/ 5889 h 10000"/>
                <a:gd name="connsiteX420" fmla="*/ 8659 w 10354"/>
                <a:gd name="connsiteY420" fmla="*/ 5915 h 10000"/>
                <a:gd name="connsiteX421" fmla="*/ 8664 w 10354"/>
                <a:gd name="connsiteY421" fmla="*/ 5940 h 10000"/>
                <a:gd name="connsiteX422" fmla="*/ 8682 w 10354"/>
                <a:gd name="connsiteY422" fmla="*/ 5923 h 10000"/>
                <a:gd name="connsiteX423" fmla="*/ 8719 w 10354"/>
                <a:gd name="connsiteY423" fmla="*/ 5863 h 10000"/>
                <a:gd name="connsiteX424" fmla="*/ 8705 w 10354"/>
                <a:gd name="connsiteY424" fmla="*/ 5966 h 10000"/>
                <a:gd name="connsiteX425" fmla="*/ 8696 w 10354"/>
                <a:gd name="connsiteY425" fmla="*/ 5983 h 10000"/>
                <a:gd name="connsiteX426" fmla="*/ 8682 w 10354"/>
                <a:gd name="connsiteY426" fmla="*/ 6026 h 10000"/>
                <a:gd name="connsiteX427" fmla="*/ 8682 w 10354"/>
                <a:gd name="connsiteY427" fmla="*/ 6051 h 10000"/>
                <a:gd name="connsiteX428" fmla="*/ 8691 w 10354"/>
                <a:gd name="connsiteY428" fmla="*/ 6077 h 10000"/>
                <a:gd name="connsiteX429" fmla="*/ 8691 w 10354"/>
                <a:gd name="connsiteY429" fmla="*/ 6085 h 10000"/>
                <a:gd name="connsiteX430" fmla="*/ 8682 w 10354"/>
                <a:gd name="connsiteY430" fmla="*/ 6103 h 10000"/>
                <a:gd name="connsiteX431" fmla="*/ 8682 w 10354"/>
                <a:gd name="connsiteY431" fmla="*/ 6111 h 10000"/>
                <a:gd name="connsiteX432" fmla="*/ 8691 w 10354"/>
                <a:gd name="connsiteY432" fmla="*/ 6120 h 10000"/>
                <a:gd name="connsiteX433" fmla="*/ 8719 w 10354"/>
                <a:gd name="connsiteY433" fmla="*/ 6103 h 10000"/>
                <a:gd name="connsiteX434" fmla="*/ 8705 w 10354"/>
                <a:gd name="connsiteY434" fmla="*/ 6188 h 10000"/>
                <a:gd name="connsiteX435" fmla="*/ 8705 w 10354"/>
                <a:gd name="connsiteY435" fmla="*/ 6214 h 10000"/>
                <a:gd name="connsiteX436" fmla="*/ 8710 w 10354"/>
                <a:gd name="connsiteY436" fmla="*/ 6197 h 10000"/>
                <a:gd name="connsiteX437" fmla="*/ 8728 w 10354"/>
                <a:gd name="connsiteY437" fmla="*/ 6171 h 10000"/>
                <a:gd name="connsiteX438" fmla="*/ 8737 w 10354"/>
                <a:gd name="connsiteY438" fmla="*/ 6171 h 10000"/>
                <a:gd name="connsiteX439" fmla="*/ 8843 w 10354"/>
                <a:gd name="connsiteY439" fmla="*/ 5949 h 10000"/>
                <a:gd name="connsiteX440" fmla="*/ 8866 w 10354"/>
                <a:gd name="connsiteY440" fmla="*/ 5949 h 10000"/>
                <a:gd name="connsiteX441" fmla="*/ 8871 w 10354"/>
                <a:gd name="connsiteY441" fmla="*/ 5940 h 10000"/>
                <a:gd name="connsiteX442" fmla="*/ 8876 w 10354"/>
                <a:gd name="connsiteY442" fmla="*/ 5923 h 10000"/>
                <a:gd name="connsiteX443" fmla="*/ 8885 w 10354"/>
                <a:gd name="connsiteY443" fmla="*/ 5940 h 10000"/>
                <a:gd name="connsiteX444" fmla="*/ 8885 w 10354"/>
                <a:gd name="connsiteY444" fmla="*/ 5949 h 10000"/>
                <a:gd name="connsiteX445" fmla="*/ 8885 w 10354"/>
                <a:gd name="connsiteY445" fmla="*/ 5974 h 10000"/>
                <a:gd name="connsiteX446" fmla="*/ 8889 w 10354"/>
                <a:gd name="connsiteY446" fmla="*/ 5974 h 10000"/>
                <a:gd name="connsiteX447" fmla="*/ 8903 w 10354"/>
                <a:gd name="connsiteY447" fmla="*/ 5923 h 10000"/>
                <a:gd name="connsiteX448" fmla="*/ 8889 w 10354"/>
                <a:gd name="connsiteY448" fmla="*/ 5923 h 10000"/>
                <a:gd name="connsiteX449" fmla="*/ 8889 w 10354"/>
                <a:gd name="connsiteY449" fmla="*/ 5897 h 10000"/>
                <a:gd name="connsiteX450" fmla="*/ 8899 w 10354"/>
                <a:gd name="connsiteY450" fmla="*/ 5838 h 10000"/>
                <a:gd name="connsiteX451" fmla="*/ 8889 w 10354"/>
                <a:gd name="connsiteY451" fmla="*/ 5812 h 10000"/>
                <a:gd name="connsiteX452" fmla="*/ 8903 w 10354"/>
                <a:gd name="connsiteY452" fmla="*/ 5778 h 10000"/>
                <a:gd name="connsiteX453" fmla="*/ 8903 w 10354"/>
                <a:gd name="connsiteY453" fmla="*/ 5761 h 10000"/>
                <a:gd name="connsiteX454" fmla="*/ 8912 w 10354"/>
                <a:gd name="connsiteY454" fmla="*/ 5735 h 10000"/>
                <a:gd name="connsiteX455" fmla="*/ 8931 w 10354"/>
                <a:gd name="connsiteY455" fmla="*/ 5701 h 10000"/>
                <a:gd name="connsiteX456" fmla="*/ 8977 w 10354"/>
                <a:gd name="connsiteY456" fmla="*/ 5675 h 10000"/>
                <a:gd name="connsiteX457" fmla="*/ 9000 w 10354"/>
                <a:gd name="connsiteY457" fmla="*/ 5675 h 10000"/>
                <a:gd name="connsiteX458" fmla="*/ 9018 w 10354"/>
                <a:gd name="connsiteY458" fmla="*/ 5709 h 10000"/>
                <a:gd name="connsiteX459" fmla="*/ 9009 w 10354"/>
                <a:gd name="connsiteY459" fmla="*/ 5735 h 10000"/>
                <a:gd name="connsiteX460" fmla="*/ 9000 w 10354"/>
                <a:gd name="connsiteY460" fmla="*/ 5735 h 10000"/>
                <a:gd name="connsiteX461" fmla="*/ 8963 w 10354"/>
                <a:gd name="connsiteY461" fmla="*/ 5786 h 10000"/>
                <a:gd name="connsiteX462" fmla="*/ 8949 w 10354"/>
                <a:gd name="connsiteY462" fmla="*/ 5940 h 10000"/>
                <a:gd name="connsiteX463" fmla="*/ 8945 w 10354"/>
                <a:gd name="connsiteY463" fmla="*/ 5966 h 10000"/>
                <a:gd name="connsiteX464" fmla="*/ 8945 w 10354"/>
                <a:gd name="connsiteY464" fmla="*/ 6000 h 10000"/>
                <a:gd name="connsiteX465" fmla="*/ 8945 w 10354"/>
                <a:gd name="connsiteY465" fmla="*/ 6009 h 10000"/>
                <a:gd name="connsiteX466" fmla="*/ 8945 w 10354"/>
                <a:gd name="connsiteY466" fmla="*/ 6034 h 10000"/>
                <a:gd name="connsiteX467" fmla="*/ 8931 w 10354"/>
                <a:gd name="connsiteY467" fmla="*/ 6060 h 10000"/>
                <a:gd name="connsiteX468" fmla="*/ 8926 w 10354"/>
                <a:gd name="connsiteY468" fmla="*/ 6077 h 10000"/>
                <a:gd name="connsiteX469" fmla="*/ 8926 w 10354"/>
                <a:gd name="connsiteY469" fmla="*/ 6111 h 10000"/>
                <a:gd name="connsiteX470" fmla="*/ 8931 w 10354"/>
                <a:gd name="connsiteY470" fmla="*/ 6120 h 10000"/>
                <a:gd name="connsiteX471" fmla="*/ 8931 w 10354"/>
                <a:gd name="connsiteY471" fmla="*/ 6137 h 10000"/>
                <a:gd name="connsiteX472" fmla="*/ 8912 w 10354"/>
                <a:gd name="connsiteY472" fmla="*/ 6171 h 10000"/>
                <a:gd name="connsiteX473" fmla="*/ 8899 w 10354"/>
                <a:gd name="connsiteY473" fmla="*/ 6162 h 10000"/>
                <a:gd name="connsiteX474" fmla="*/ 8885 w 10354"/>
                <a:gd name="connsiteY474" fmla="*/ 6171 h 10000"/>
                <a:gd name="connsiteX475" fmla="*/ 8866 w 10354"/>
                <a:gd name="connsiteY475" fmla="*/ 6214 h 10000"/>
                <a:gd name="connsiteX476" fmla="*/ 8853 w 10354"/>
                <a:gd name="connsiteY476" fmla="*/ 6214 h 10000"/>
                <a:gd name="connsiteX477" fmla="*/ 8816 w 10354"/>
                <a:gd name="connsiteY477" fmla="*/ 6248 h 10000"/>
                <a:gd name="connsiteX478" fmla="*/ 8816 w 10354"/>
                <a:gd name="connsiteY478" fmla="*/ 6248 h 10000"/>
                <a:gd name="connsiteX479" fmla="*/ 8816 w 10354"/>
                <a:gd name="connsiteY479" fmla="*/ 6282 h 10000"/>
                <a:gd name="connsiteX480" fmla="*/ 8811 w 10354"/>
                <a:gd name="connsiteY480" fmla="*/ 6308 h 10000"/>
                <a:gd name="connsiteX481" fmla="*/ 8751 w 10354"/>
                <a:gd name="connsiteY481" fmla="*/ 6436 h 10000"/>
                <a:gd name="connsiteX482" fmla="*/ 8724 w 10354"/>
                <a:gd name="connsiteY482" fmla="*/ 6470 h 10000"/>
                <a:gd name="connsiteX483" fmla="*/ 8710 w 10354"/>
                <a:gd name="connsiteY483" fmla="*/ 6504 h 10000"/>
                <a:gd name="connsiteX484" fmla="*/ 8705 w 10354"/>
                <a:gd name="connsiteY484" fmla="*/ 6521 h 10000"/>
                <a:gd name="connsiteX485" fmla="*/ 8677 w 10354"/>
                <a:gd name="connsiteY485" fmla="*/ 6573 h 10000"/>
                <a:gd name="connsiteX486" fmla="*/ 8677 w 10354"/>
                <a:gd name="connsiteY486" fmla="*/ 6624 h 10000"/>
                <a:gd name="connsiteX487" fmla="*/ 8590 w 10354"/>
                <a:gd name="connsiteY487" fmla="*/ 6803 h 10000"/>
                <a:gd name="connsiteX488" fmla="*/ 8562 w 10354"/>
                <a:gd name="connsiteY488" fmla="*/ 6829 h 10000"/>
                <a:gd name="connsiteX489" fmla="*/ 8544 w 10354"/>
                <a:gd name="connsiteY489" fmla="*/ 6829 h 10000"/>
                <a:gd name="connsiteX490" fmla="*/ 8521 w 10354"/>
                <a:gd name="connsiteY490" fmla="*/ 6880 h 10000"/>
                <a:gd name="connsiteX491" fmla="*/ 8498 w 10354"/>
                <a:gd name="connsiteY491" fmla="*/ 6872 h 10000"/>
                <a:gd name="connsiteX492" fmla="*/ 8488 w 10354"/>
                <a:gd name="connsiteY492" fmla="*/ 6872 h 10000"/>
                <a:gd name="connsiteX493" fmla="*/ 8498 w 10354"/>
                <a:gd name="connsiteY493" fmla="*/ 6940 h 10000"/>
                <a:gd name="connsiteX494" fmla="*/ 8484 w 10354"/>
                <a:gd name="connsiteY494" fmla="*/ 7026 h 10000"/>
                <a:gd name="connsiteX495" fmla="*/ 8429 w 10354"/>
                <a:gd name="connsiteY495" fmla="*/ 7094 h 10000"/>
                <a:gd name="connsiteX496" fmla="*/ 8401 w 10354"/>
                <a:gd name="connsiteY496" fmla="*/ 7291 h 10000"/>
                <a:gd name="connsiteX497" fmla="*/ 8424 w 10354"/>
                <a:gd name="connsiteY497" fmla="*/ 7692 h 10000"/>
                <a:gd name="connsiteX498" fmla="*/ 8424 w 10354"/>
                <a:gd name="connsiteY498" fmla="*/ 7701 h 10000"/>
                <a:gd name="connsiteX499" fmla="*/ 8484 w 10354"/>
                <a:gd name="connsiteY499" fmla="*/ 8308 h 10000"/>
                <a:gd name="connsiteX500" fmla="*/ 8576 w 10354"/>
                <a:gd name="connsiteY500" fmla="*/ 8120 h 10000"/>
                <a:gd name="connsiteX501" fmla="*/ 8590 w 10354"/>
                <a:gd name="connsiteY501" fmla="*/ 8026 h 10000"/>
                <a:gd name="connsiteX502" fmla="*/ 8590 w 10354"/>
                <a:gd name="connsiteY502" fmla="*/ 7983 h 10000"/>
                <a:gd name="connsiteX503" fmla="*/ 8594 w 10354"/>
                <a:gd name="connsiteY503" fmla="*/ 7974 h 10000"/>
                <a:gd name="connsiteX504" fmla="*/ 8594 w 10354"/>
                <a:gd name="connsiteY504" fmla="*/ 7940 h 10000"/>
                <a:gd name="connsiteX505" fmla="*/ 8594 w 10354"/>
                <a:gd name="connsiteY505" fmla="*/ 7923 h 10000"/>
                <a:gd name="connsiteX506" fmla="*/ 8594 w 10354"/>
                <a:gd name="connsiteY506" fmla="*/ 7915 h 10000"/>
                <a:gd name="connsiteX507" fmla="*/ 8604 w 10354"/>
                <a:gd name="connsiteY507" fmla="*/ 7915 h 10000"/>
                <a:gd name="connsiteX508" fmla="*/ 8608 w 10354"/>
                <a:gd name="connsiteY508" fmla="*/ 7923 h 10000"/>
                <a:gd name="connsiteX509" fmla="*/ 8645 w 10354"/>
                <a:gd name="connsiteY509" fmla="*/ 7872 h 10000"/>
                <a:gd name="connsiteX510" fmla="*/ 8668 w 10354"/>
                <a:gd name="connsiteY510" fmla="*/ 7846 h 10000"/>
                <a:gd name="connsiteX511" fmla="*/ 8691 w 10354"/>
                <a:gd name="connsiteY511" fmla="*/ 7863 h 10000"/>
                <a:gd name="connsiteX512" fmla="*/ 8691 w 10354"/>
                <a:gd name="connsiteY512" fmla="*/ 7846 h 10000"/>
                <a:gd name="connsiteX513" fmla="*/ 8682 w 10354"/>
                <a:gd name="connsiteY513" fmla="*/ 7838 h 10000"/>
                <a:gd name="connsiteX514" fmla="*/ 8682 w 10354"/>
                <a:gd name="connsiteY514" fmla="*/ 7692 h 10000"/>
                <a:gd name="connsiteX515" fmla="*/ 8728 w 10354"/>
                <a:gd name="connsiteY515" fmla="*/ 7598 h 10000"/>
                <a:gd name="connsiteX516" fmla="*/ 8751 w 10354"/>
                <a:gd name="connsiteY516" fmla="*/ 7573 h 10000"/>
                <a:gd name="connsiteX517" fmla="*/ 8770 w 10354"/>
                <a:gd name="connsiteY517" fmla="*/ 7573 h 10000"/>
                <a:gd name="connsiteX518" fmla="*/ 8779 w 10354"/>
                <a:gd name="connsiteY518" fmla="*/ 7590 h 10000"/>
                <a:gd name="connsiteX519" fmla="*/ 8793 w 10354"/>
                <a:gd name="connsiteY519" fmla="*/ 7590 h 10000"/>
                <a:gd name="connsiteX520" fmla="*/ 8811 w 10354"/>
                <a:gd name="connsiteY520" fmla="*/ 7590 h 10000"/>
                <a:gd name="connsiteX521" fmla="*/ 8825 w 10354"/>
                <a:gd name="connsiteY521" fmla="*/ 7556 h 10000"/>
                <a:gd name="connsiteX522" fmla="*/ 8829 w 10354"/>
                <a:gd name="connsiteY522" fmla="*/ 7530 h 10000"/>
                <a:gd name="connsiteX523" fmla="*/ 8802 w 10354"/>
                <a:gd name="connsiteY523" fmla="*/ 7462 h 10000"/>
                <a:gd name="connsiteX524" fmla="*/ 8797 w 10354"/>
                <a:gd name="connsiteY524" fmla="*/ 7402 h 10000"/>
                <a:gd name="connsiteX525" fmla="*/ 8816 w 10354"/>
                <a:gd name="connsiteY525" fmla="*/ 7291 h 10000"/>
                <a:gd name="connsiteX526" fmla="*/ 8825 w 10354"/>
                <a:gd name="connsiteY526" fmla="*/ 7256 h 10000"/>
                <a:gd name="connsiteX527" fmla="*/ 8843 w 10354"/>
                <a:gd name="connsiteY527" fmla="*/ 7231 h 10000"/>
                <a:gd name="connsiteX528" fmla="*/ 8839 w 10354"/>
                <a:gd name="connsiteY528" fmla="*/ 7205 h 10000"/>
                <a:gd name="connsiteX529" fmla="*/ 8839 w 10354"/>
                <a:gd name="connsiteY529" fmla="*/ 7188 h 10000"/>
                <a:gd name="connsiteX530" fmla="*/ 8876 w 10354"/>
                <a:gd name="connsiteY530" fmla="*/ 7162 h 10000"/>
                <a:gd name="connsiteX531" fmla="*/ 8885 w 10354"/>
                <a:gd name="connsiteY531" fmla="*/ 7154 h 10000"/>
                <a:gd name="connsiteX532" fmla="*/ 8885 w 10354"/>
                <a:gd name="connsiteY532" fmla="*/ 7162 h 10000"/>
                <a:gd name="connsiteX533" fmla="*/ 8876 w 10354"/>
                <a:gd name="connsiteY533" fmla="*/ 7188 h 10000"/>
                <a:gd name="connsiteX534" fmla="*/ 8871 w 10354"/>
                <a:gd name="connsiteY534" fmla="*/ 7205 h 10000"/>
                <a:gd name="connsiteX535" fmla="*/ 8866 w 10354"/>
                <a:gd name="connsiteY535" fmla="*/ 7214 h 10000"/>
                <a:gd name="connsiteX536" fmla="*/ 8876 w 10354"/>
                <a:gd name="connsiteY536" fmla="*/ 7265 h 10000"/>
                <a:gd name="connsiteX537" fmla="*/ 8885 w 10354"/>
                <a:gd name="connsiteY537" fmla="*/ 7282 h 10000"/>
                <a:gd name="connsiteX538" fmla="*/ 8889 w 10354"/>
                <a:gd name="connsiteY538" fmla="*/ 7282 h 10000"/>
                <a:gd name="connsiteX539" fmla="*/ 8903 w 10354"/>
                <a:gd name="connsiteY539" fmla="*/ 7239 h 10000"/>
                <a:gd name="connsiteX540" fmla="*/ 8903 w 10354"/>
                <a:gd name="connsiteY540" fmla="*/ 7214 h 10000"/>
                <a:gd name="connsiteX541" fmla="*/ 8899 w 10354"/>
                <a:gd name="connsiteY541" fmla="*/ 7128 h 10000"/>
                <a:gd name="connsiteX542" fmla="*/ 8889 w 10354"/>
                <a:gd name="connsiteY542" fmla="*/ 7120 h 10000"/>
                <a:gd name="connsiteX543" fmla="*/ 8871 w 10354"/>
                <a:gd name="connsiteY543" fmla="*/ 7120 h 10000"/>
                <a:gd name="connsiteX544" fmla="*/ 8871 w 10354"/>
                <a:gd name="connsiteY544" fmla="*/ 7120 h 10000"/>
                <a:gd name="connsiteX545" fmla="*/ 8871 w 10354"/>
                <a:gd name="connsiteY545" fmla="*/ 6991 h 10000"/>
                <a:gd name="connsiteX546" fmla="*/ 8871 w 10354"/>
                <a:gd name="connsiteY546" fmla="*/ 6966 h 10000"/>
                <a:gd name="connsiteX547" fmla="*/ 8889 w 10354"/>
                <a:gd name="connsiteY547" fmla="*/ 6940 h 10000"/>
                <a:gd name="connsiteX548" fmla="*/ 8903 w 10354"/>
                <a:gd name="connsiteY548" fmla="*/ 6906 h 10000"/>
                <a:gd name="connsiteX549" fmla="*/ 8899 w 10354"/>
                <a:gd name="connsiteY549" fmla="*/ 6880 h 10000"/>
                <a:gd name="connsiteX550" fmla="*/ 8866 w 10354"/>
                <a:gd name="connsiteY550" fmla="*/ 6846 h 10000"/>
                <a:gd name="connsiteX551" fmla="*/ 8853 w 10354"/>
                <a:gd name="connsiteY551" fmla="*/ 6846 h 10000"/>
                <a:gd name="connsiteX552" fmla="*/ 8843 w 10354"/>
                <a:gd name="connsiteY552" fmla="*/ 6880 h 10000"/>
                <a:gd name="connsiteX553" fmla="*/ 8843 w 10354"/>
                <a:gd name="connsiteY553" fmla="*/ 6897 h 10000"/>
                <a:gd name="connsiteX554" fmla="*/ 8829 w 10354"/>
                <a:gd name="connsiteY554" fmla="*/ 6880 h 10000"/>
                <a:gd name="connsiteX555" fmla="*/ 8825 w 10354"/>
                <a:gd name="connsiteY555" fmla="*/ 6872 h 10000"/>
                <a:gd name="connsiteX556" fmla="*/ 8816 w 10354"/>
                <a:gd name="connsiteY556" fmla="*/ 6846 h 10000"/>
                <a:gd name="connsiteX557" fmla="*/ 8816 w 10354"/>
                <a:gd name="connsiteY557" fmla="*/ 6803 h 10000"/>
                <a:gd name="connsiteX558" fmla="*/ 8876 w 10354"/>
                <a:gd name="connsiteY558" fmla="*/ 6598 h 10000"/>
                <a:gd name="connsiteX559" fmla="*/ 8876 w 10354"/>
                <a:gd name="connsiteY559" fmla="*/ 6573 h 10000"/>
                <a:gd name="connsiteX560" fmla="*/ 8885 w 10354"/>
                <a:gd name="connsiteY560" fmla="*/ 6556 h 10000"/>
                <a:gd name="connsiteX561" fmla="*/ 8899 w 10354"/>
                <a:gd name="connsiteY561" fmla="*/ 6573 h 10000"/>
                <a:gd name="connsiteX562" fmla="*/ 8889 w 10354"/>
                <a:gd name="connsiteY562" fmla="*/ 6556 h 10000"/>
                <a:gd name="connsiteX563" fmla="*/ 8889 w 10354"/>
                <a:gd name="connsiteY563" fmla="*/ 6530 h 10000"/>
                <a:gd name="connsiteX564" fmla="*/ 8903 w 10354"/>
                <a:gd name="connsiteY564" fmla="*/ 6521 h 10000"/>
                <a:gd name="connsiteX565" fmla="*/ 8903 w 10354"/>
                <a:gd name="connsiteY565" fmla="*/ 6504 h 10000"/>
                <a:gd name="connsiteX566" fmla="*/ 8903 w 10354"/>
                <a:gd name="connsiteY566" fmla="*/ 6487 h 10000"/>
                <a:gd name="connsiteX567" fmla="*/ 8903 w 10354"/>
                <a:gd name="connsiteY567" fmla="*/ 6462 h 10000"/>
                <a:gd name="connsiteX568" fmla="*/ 8912 w 10354"/>
                <a:gd name="connsiteY568" fmla="*/ 6419 h 10000"/>
                <a:gd name="connsiteX569" fmla="*/ 8917 w 10354"/>
                <a:gd name="connsiteY569" fmla="*/ 6393 h 10000"/>
                <a:gd name="connsiteX570" fmla="*/ 8926 w 10354"/>
                <a:gd name="connsiteY570" fmla="*/ 6385 h 10000"/>
                <a:gd name="connsiteX571" fmla="*/ 8931 w 10354"/>
                <a:gd name="connsiteY571" fmla="*/ 6385 h 10000"/>
                <a:gd name="connsiteX572" fmla="*/ 8949 w 10354"/>
                <a:gd name="connsiteY572" fmla="*/ 6359 h 10000"/>
                <a:gd name="connsiteX573" fmla="*/ 8959 w 10354"/>
                <a:gd name="connsiteY573" fmla="*/ 6368 h 10000"/>
                <a:gd name="connsiteX574" fmla="*/ 8963 w 10354"/>
                <a:gd name="connsiteY574" fmla="*/ 6385 h 10000"/>
                <a:gd name="connsiteX575" fmla="*/ 8972 w 10354"/>
                <a:gd name="connsiteY575" fmla="*/ 6359 h 10000"/>
                <a:gd name="connsiteX576" fmla="*/ 8991 w 10354"/>
                <a:gd name="connsiteY576" fmla="*/ 6350 h 10000"/>
                <a:gd name="connsiteX577" fmla="*/ 9000 w 10354"/>
                <a:gd name="connsiteY577" fmla="*/ 6368 h 10000"/>
                <a:gd name="connsiteX578" fmla="*/ 9005 w 10354"/>
                <a:gd name="connsiteY578" fmla="*/ 6393 h 10000"/>
                <a:gd name="connsiteX579" fmla="*/ 9018 w 10354"/>
                <a:gd name="connsiteY579" fmla="*/ 6393 h 10000"/>
                <a:gd name="connsiteX580" fmla="*/ 9023 w 10354"/>
                <a:gd name="connsiteY580" fmla="*/ 6359 h 10000"/>
                <a:gd name="connsiteX581" fmla="*/ 9023 w 10354"/>
                <a:gd name="connsiteY581" fmla="*/ 6333 h 10000"/>
                <a:gd name="connsiteX582" fmla="*/ 9037 w 10354"/>
                <a:gd name="connsiteY582" fmla="*/ 6308 h 10000"/>
                <a:gd name="connsiteX583" fmla="*/ 9074 w 10354"/>
                <a:gd name="connsiteY583" fmla="*/ 6274 h 10000"/>
                <a:gd name="connsiteX584" fmla="*/ 9092 w 10354"/>
                <a:gd name="connsiteY584" fmla="*/ 6222 h 10000"/>
                <a:gd name="connsiteX585" fmla="*/ 9097 w 10354"/>
                <a:gd name="connsiteY585" fmla="*/ 6231 h 10000"/>
                <a:gd name="connsiteX586" fmla="*/ 9097 w 10354"/>
                <a:gd name="connsiteY586" fmla="*/ 6248 h 10000"/>
                <a:gd name="connsiteX587" fmla="*/ 9097 w 10354"/>
                <a:gd name="connsiteY587" fmla="*/ 6274 h 10000"/>
                <a:gd name="connsiteX588" fmla="*/ 9097 w 10354"/>
                <a:gd name="connsiteY588" fmla="*/ 6308 h 10000"/>
                <a:gd name="connsiteX589" fmla="*/ 9092 w 10354"/>
                <a:gd name="connsiteY589" fmla="*/ 6368 h 10000"/>
                <a:gd name="connsiteX590" fmla="*/ 9092 w 10354"/>
                <a:gd name="connsiteY590" fmla="*/ 6385 h 10000"/>
                <a:gd name="connsiteX591" fmla="*/ 9092 w 10354"/>
                <a:gd name="connsiteY591" fmla="*/ 6393 h 10000"/>
                <a:gd name="connsiteX592" fmla="*/ 9092 w 10354"/>
                <a:gd name="connsiteY592" fmla="*/ 6393 h 10000"/>
                <a:gd name="connsiteX593" fmla="*/ 9143 w 10354"/>
                <a:gd name="connsiteY593" fmla="*/ 6299 h 10000"/>
                <a:gd name="connsiteX594" fmla="*/ 9143 w 10354"/>
                <a:gd name="connsiteY594" fmla="*/ 6282 h 10000"/>
                <a:gd name="connsiteX595" fmla="*/ 9143 w 10354"/>
                <a:gd name="connsiteY595" fmla="*/ 6256 h 10000"/>
                <a:gd name="connsiteX596" fmla="*/ 9143 w 10354"/>
                <a:gd name="connsiteY596" fmla="*/ 6256 h 10000"/>
                <a:gd name="connsiteX597" fmla="*/ 9157 w 10354"/>
                <a:gd name="connsiteY597" fmla="*/ 6274 h 10000"/>
                <a:gd name="connsiteX598" fmla="*/ 9166 w 10354"/>
                <a:gd name="connsiteY598" fmla="*/ 6248 h 10000"/>
                <a:gd name="connsiteX599" fmla="*/ 9180 w 10354"/>
                <a:gd name="connsiteY599" fmla="*/ 6248 h 10000"/>
                <a:gd name="connsiteX600" fmla="*/ 9198 w 10354"/>
                <a:gd name="connsiteY600" fmla="*/ 6222 h 10000"/>
                <a:gd name="connsiteX601" fmla="*/ 9212 w 10354"/>
                <a:gd name="connsiteY601" fmla="*/ 6222 h 10000"/>
                <a:gd name="connsiteX602" fmla="*/ 9226 w 10354"/>
                <a:gd name="connsiteY602" fmla="*/ 6197 h 10000"/>
                <a:gd name="connsiteX603" fmla="*/ 9230 w 10354"/>
                <a:gd name="connsiteY603" fmla="*/ 6214 h 10000"/>
                <a:gd name="connsiteX604" fmla="*/ 9272 w 10354"/>
                <a:gd name="connsiteY604" fmla="*/ 6214 h 10000"/>
                <a:gd name="connsiteX605" fmla="*/ 9304 w 10354"/>
                <a:gd name="connsiteY605" fmla="*/ 6231 h 10000"/>
                <a:gd name="connsiteX606" fmla="*/ 9318 w 10354"/>
                <a:gd name="connsiteY606" fmla="*/ 6248 h 10000"/>
                <a:gd name="connsiteX607" fmla="*/ 9327 w 10354"/>
                <a:gd name="connsiteY607" fmla="*/ 6282 h 10000"/>
                <a:gd name="connsiteX608" fmla="*/ 9355 w 10354"/>
                <a:gd name="connsiteY608" fmla="*/ 6350 h 10000"/>
                <a:gd name="connsiteX609" fmla="*/ 9355 w 10354"/>
                <a:gd name="connsiteY609" fmla="*/ 6359 h 10000"/>
                <a:gd name="connsiteX610" fmla="*/ 9364 w 10354"/>
                <a:gd name="connsiteY610" fmla="*/ 6368 h 10000"/>
                <a:gd name="connsiteX611" fmla="*/ 9373 w 10354"/>
                <a:gd name="connsiteY611" fmla="*/ 6359 h 10000"/>
                <a:gd name="connsiteX612" fmla="*/ 9373 w 10354"/>
                <a:gd name="connsiteY612" fmla="*/ 6325 h 10000"/>
                <a:gd name="connsiteX613" fmla="*/ 9387 w 10354"/>
                <a:gd name="connsiteY613" fmla="*/ 6256 h 10000"/>
                <a:gd name="connsiteX614" fmla="*/ 9387 w 10354"/>
                <a:gd name="connsiteY614" fmla="*/ 6248 h 10000"/>
                <a:gd name="connsiteX615" fmla="*/ 9378 w 10354"/>
                <a:gd name="connsiteY615" fmla="*/ 6248 h 10000"/>
                <a:gd name="connsiteX616" fmla="*/ 9406 w 10354"/>
                <a:gd name="connsiteY616" fmla="*/ 6222 h 10000"/>
                <a:gd name="connsiteX617" fmla="*/ 9415 w 10354"/>
                <a:gd name="connsiteY617" fmla="*/ 6222 h 10000"/>
                <a:gd name="connsiteX618" fmla="*/ 9415 w 10354"/>
                <a:gd name="connsiteY618" fmla="*/ 6197 h 10000"/>
                <a:gd name="connsiteX619" fmla="*/ 9419 w 10354"/>
                <a:gd name="connsiteY619" fmla="*/ 6214 h 10000"/>
                <a:gd name="connsiteX620" fmla="*/ 9424 w 10354"/>
                <a:gd name="connsiteY620" fmla="*/ 6214 h 10000"/>
                <a:gd name="connsiteX621" fmla="*/ 9447 w 10354"/>
                <a:gd name="connsiteY621" fmla="*/ 6171 h 10000"/>
                <a:gd name="connsiteX622" fmla="*/ 9452 w 10354"/>
                <a:gd name="connsiteY622" fmla="*/ 6171 h 10000"/>
                <a:gd name="connsiteX623" fmla="*/ 9452 w 10354"/>
                <a:gd name="connsiteY623" fmla="*/ 6162 h 10000"/>
                <a:gd name="connsiteX624" fmla="*/ 9461 w 10354"/>
                <a:gd name="connsiteY624" fmla="*/ 6137 h 10000"/>
                <a:gd name="connsiteX625" fmla="*/ 9475 w 10354"/>
                <a:gd name="connsiteY625" fmla="*/ 6137 h 10000"/>
                <a:gd name="connsiteX626" fmla="*/ 9475 w 10354"/>
                <a:gd name="connsiteY626" fmla="*/ 6137 h 10000"/>
                <a:gd name="connsiteX627" fmla="*/ 9479 w 10354"/>
                <a:gd name="connsiteY627" fmla="*/ 6120 h 10000"/>
                <a:gd name="connsiteX628" fmla="*/ 9488 w 10354"/>
                <a:gd name="connsiteY628" fmla="*/ 6120 h 10000"/>
                <a:gd name="connsiteX629" fmla="*/ 9488 w 10354"/>
                <a:gd name="connsiteY629" fmla="*/ 6111 h 10000"/>
                <a:gd name="connsiteX630" fmla="*/ 9479 w 10354"/>
                <a:gd name="connsiteY630" fmla="*/ 6103 h 10000"/>
                <a:gd name="connsiteX631" fmla="*/ 9479 w 10354"/>
                <a:gd name="connsiteY631" fmla="*/ 6085 h 10000"/>
                <a:gd name="connsiteX632" fmla="*/ 9488 w 10354"/>
                <a:gd name="connsiteY632" fmla="*/ 6103 h 10000"/>
                <a:gd name="connsiteX633" fmla="*/ 9493 w 10354"/>
                <a:gd name="connsiteY633" fmla="*/ 6111 h 10000"/>
                <a:gd name="connsiteX634" fmla="*/ 9498 w 10354"/>
                <a:gd name="connsiteY634" fmla="*/ 6103 h 10000"/>
                <a:gd name="connsiteX635" fmla="*/ 9507 w 10354"/>
                <a:gd name="connsiteY635" fmla="*/ 6077 h 10000"/>
                <a:gd name="connsiteX636" fmla="*/ 9498 w 10354"/>
                <a:gd name="connsiteY636" fmla="*/ 6060 h 10000"/>
                <a:gd name="connsiteX637" fmla="*/ 9512 w 10354"/>
                <a:gd name="connsiteY637" fmla="*/ 6060 h 10000"/>
                <a:gd name="connsiteX638" fmla="*/ 9525 w 10354"/>
                <a:gd name="connsiteY638" fmla="*/ 6034 h 10000"/>
                <a:gd name="connsiteX639" fmla="*/ 9535 w 10354"/>
                <a:gd name="connsiteY639" fmla="*/ 6034 h 10000"/>
                <a:gd name="connsiteX640" fmla="*/ 9535 w 10354"/>
                <a:gd name="connsiteY640" fmla="*/ 6026 h 10000"/>
                <a:gd name="connsiteX641" fmla="*/ 9525 w 10354"/>
                <a:gd name="connsiteY641" fmla="*/ 6009 h 10000"/>
                <a:gd name="connsiteX642" fmla="*/ 9535 w 10354"/>
                <a:gd name="connsiteY642" fmla="*/ 6000 h 10000"/>
                <a:gd name="connsiteX643" fmla="*/ 9539 w 10354"/>
                <a:gd name="connsiteY643" fmla="*/ 6009 h 10000"/>
                <a:gd name="connsiteX644" fmla="*/ 9548 w 10354"/>
                <a:gd name="connsiteY644" fmla="*/ 6009 h 10000"/>
                <a:gd name="connsiteX645" fmla="*/ 9553 w 10354"/>
                <a:gd name="connsiteY645" fmla="*/ 6000 h 10000"/>
                <a:gd name="connsiteX646" fmla="*/ 9562 w 10354"/>
                <a:gd name="connsiteY646" fmla="*/ 5983 h 10000"/>
                <a:gd name="connsiteX647" fmla="*/ 9562 w 10354"/>
                <a:gd name="connsiteY647" fmla="*/ 5974 h 10000"/>
                <a:gd name="connsiteX648" fmla="*/ 9567 w 10354"/>
                <a:gd name="connsiteY648" fmla="*/ 5974 h 10000"/>
                <a:gd name="connsiteX649" fmla="*/ 9567 w 10354"/>
                <a:gd name="connsiteY649" fmla="*/ 5966 h 10000"/>
                <a:gd name="connsiteX650" fmla="*/ 9567 w 10354"/>
                <a:gd name="connsiteY650" fmla="*/ 5940 h 10000"/>
                <a:gd name="connsiteX651" fmla="*/ 9571 w 10354"/>
                <a:gd name="connsiteY651" fmla="*/ 5915 h 10000"/>
                <a:gd name="connsiteX652" fmla="*/ 9581 w 10354"/>
                <a:gd name="connsiteY652" fmla="*/ 5923 h 10000"/>
                <a:gd name="connsiteX653" fmla="*/ 9585 w 10354"/>
                <a:gd name="connsiteY653" fmla="*/ 5940 h 10000"/>
                <a:gd name="connsiteX654" fmla="*/ 9594 w 10354"/>
                <a:gd name="connsiteY654" fmla="*/ 5949 h 10000"/>
                <a:gd name="connsiteX655" fmla="*/ 9599 w 10354"/>
                <a:gd name="connsiteY655" fmla="*/ 5940 h 10000"/>
                <a:gd name="connsiteX656" fmla="*/ 9613 w 10354"/>
                <a:gd name="connsiteY656" fmla="*/ 5915 h 10000"/>
                <a:gd name="connsiteX657" fmla="*/ 9645 w 10354"/>
                <a:gd name="connsiteY657" fmla="*/ 5889 h 10000"/>
                <a:gd name="connsiteX658" fmla="*/ 9654 w 10354"/>
                <a:gd name="connsiteY658" fmla="*/ 5872 h 10000"/>
                <a:gd name="connsiteX659" fmla="*/ 9673 w 10354"/>
                <a:gd name="connsiteY659" fmla="*/ 5863 h 10000"/>
                <a:gd name="connsiteX660" fmla="*/ 9682 w 10354"/>
                <a:gd name="connsiteY660" fmla="*/ 5838 h 10000"/>
                <a:gd name="connsiteX661" fmla="*/ 9682 w 10354"/>
                <a:gd name="connsiteY661" fmla="*/ 5829 h 10000"/>
                <a:gd name="connsiteX662" fmla="*/ 9682 w 10354"/>
                <a:gd name="connsiteY662" fmla="*/ 5812 h 10000"/>
                <a:gd name="connsiteX663" fmla="*/ 9687 w 10354"/>
                <a:gd name="connsiteY663" fmla="*/ 5812 h 10000"/>
                <a:gd name="connsiteX664" fmla="*/ 9687 w 10354"/>
                <a:gd name="connsiteY664" fmla="*/ 5829 h 10000"/>
                <a:gd name="connsiteX665" fmla="*/ 9687 w 10354"/>
                <a:gd name="connsiteY665" fmla="*/ 5829 h 10000"/>
                <a:gd name="connsiteX666" fmla="*/ 9719 w 10354"/>
                <a:gd name="connsiteY666" fmla="*/ 5803 h 10000"/>
                <a:gd name="connsiteX667" fmla="*/ 9728 w 10354"/>
                <a:gd name="connsiteY667" fmla="*/ 5803 h 10000"/>
                <a:gd name="connsiteX668" fmla="*/ 9779 w 10354"/>
                <a:gd name="connsiteY668" fmla="*/ 5726 h 10000"/>
                <a:gd name="connsiteX669" fmla="*/ 9816 w 10354"/>
                <a:gd name="connsiteY669" fmla="*/ 5709 h 10000"/>
                <a:gd name="connsiteX670" fmla="*/ 9820 w 10354"/>
                <a:gd name="connsiteY670" fmla="*/ 5701 h 10000"/>
                <a:gd name="connsiteX671" fmla="*/ 9816 w 10354"/>
                <a:gd name="connsiteY671" fmla="*/ 5692 h 10000"/>
                <a:gd name="connsiteX672" fmla="*/ 9816 w 10354"/>
                <a:gd name="connsiteY672" fmla="*/ 5692 h 10000"/>
                <a:gd name="connsiteX673" fmla="*/ 9802 w 10354"/>
                <a:gd name="connsiteY673" fmla="*/ 5624 h 10000"/>
                <a:gd name="connsiteX674" fmla="*/ 9806 w 10354"/>
                <a:gd name="connsiteY674" fmla="*/ 5624 h 10000"/>
                <a:gd name="connsiteX675" fmla="*/ 9820 w 10354"/>
                <a:gd name="connsiteY675" fmla="*/ 5675 h 10000"/>
                <a:gd name="connsiteX676" fmla="*/ 9829 w 10354"/>
                <a:gd name="connsiteY676" fmla="*/ 5675 h 10000"/>
                <a:gd name="connsiteX677" fmla="*/ 9829 w 10354"/>
                <a:gd name="connsiteY677" fmla="*/ 5692 h 10000"/>
                <a:gd name="connsiteX678" fmla="*/ 9829 w 10354"/>
                <a:gd name="connsiteY678" fmla="*/ 5701 h 10000"/>
                <a:gd name="connsiteX679" fmla="*/ 9839 w 10354"/>
                <a:gd name="connsiteY679" fmla="*/ 5701 h 10000"/>
                <a:gd name="connsiteX680" fmla="*/ 9839 w 10354"/>
                <a:gd name="connsiteY680" fmla="*/ 5692 h 10000"/>
                <a:gd name="connsiteX681" fmla="*/ 9839 w 10354"/>
                <a:gd name="connsiteY681" fmla="*/ 5675 h 10000"/>
                <a:gd name="connsiteX682" fmla="*/ 9848 w 10354"/>
                <a:gd name="connsiteY682" fmla="*/ 5675 h 10000"/>
                <a:gd name="connsiteX683" fmla="*/ 9848 w 10354"/>
                <a:gd name="connsiteY683" fmla="*/ 5692 h 10000"/>
                <a:gd name="connsiteX684" fmla="*/ 9853 w 10354"/>
                <a:gd name="connsiteY684" fmla="*/ 5701 h 10000"/>
                <a:gd name="connsiteX685" fmla="*/ 9880 w 10354"/>
                <a:gd name="connsiteY685" fmla="*/ 5709 h 10000"/>
                <a:gd name="connsiteX686" fmla="*/ 9912 w 10354"/>
                <a:gd name="connsiteY686" fmla="*/ 5752 h 10000"/>
                <a:gd name="connsiteX687" fmla="*/ 9926 w 10354"/>
                <a:gd name="connsiteY687" fmla="*/ 5761 h 10000"/>
                <a:gd name="connsiteX688" fmla="*/ 9935 w 10354"/>
                <a:gd name="connsiteY688" fmla="*/ 5761 h 10000"/>
                <a:gd name="connsiteX689" fmla="*/ 9940 w 10354"/>
                <a:gd name="connsiteY689" fmla="*/ 5735 h 10000"/>
                <a:gd name="connsiteX690" fmla="*/ 9949 w 10354"/>
                <a:gd name="connsiteY690" fmla="*/ 5735 h 10000"/>
                <a:gd name="connsiteX691" fmla="*/ 9968 w 10354"/>
                <a:gd name="connsiteY691" fmla="*/ 5692 h 10000"/>
                <a:gd name="connsiteX692" fmla="*/ 9968 w 10354"/>
                <a:gd name="connsiteY692" fmla="*/ 5650 h 10000"/>
                <a:gd name="connsiteX693" fmla="*/ 9968 w 10354"/>
                <a:gd name="connsiteY693" fmla="*/ 5624 h 10000"/>
                <a:gd name="connsiteX694" fmla="*/ 9935 w 10354"/>
                <a:gd name="connsiteY694" fmla="*/ 5598 h 10000"/>
                <a:gd name="connsiteX695" fmla="*/ 9935 w 10354"/>
                <a:gd name="connsiteY695" fmla="*/ 5590 h 10000"/>
                <a:gd name="connsiteX696" fmla="*/ 9935 w 10354"/>
                <a:gd name="connsiteY696" fmla="*/ 5573 h 10000"/>
                <a:gd name="connsiteX697" fmla="*/ 9935 w 10354"/>
                <a:gd name="connsiteY697" fmla="*/ 5573 h 10000"/>
                <a:gd name="connsiteX698" fmla="*/ 9940 w 10354"/>
                <a:gd name="connsiteY698" fmla="*/ 5573 h 10000"/>
                <a:gd name="connsiteX699" fmla="*/ 9954 w 10354"/>
                <a:gd name="connsiteY699" fmla="*/ 5573 h 10000"/>
                <a:gd name="connsiteX700" fmla="*/ 9963 w 10354"/>
                <a:gd name="connsiteY700" fmla="*/ 5564 h 10000"/>
                <a:gd name="connsiteX701" fmla="*/ 9954 w 10354"/>
                <a:gd name="connsiteY701" fmla="*/ 5530 h 10000"/>
                <a:gd name="connsiteX702" fmla="*/ 9949 w 10354"/>
                <a:gd name="connsiteY702" fmla="*/ 5530 h 10000"/>
                <a:gd name="connsiteX703" fmla="*/ 9926 w 10354"/>
                <a:gd name="connsiteY703" fmla="*/ 5479 h 10000"/>
                <a:gd name="connsiteX704" fmla="*/ 9912 w 10354"/>
                <a:gd name="connsiteY704" fmla="*/ 5325 h 10000"/>
                <a:gd name="connsiteX705" fmla="*/ 9903 w 10354"/>
                <a:gd name="connsiteY705" fmla="*/ 5342 h 10000"/>
                <a:gd name="connsiteX706" fmla="*/ 9889 w 10354"/>
                <a:gd name="connsiteY706" fmla="*/ 5316 h 10000"/>
                <a:gd name="connsiteX707" fmla="*/ 9889 w 10354"/>
                <a:gd name="connsiteY707" fmla="*/ 5291 h 10000"/>
                <a:gd name="connsiteX708" fmla="*/ 9903 w 10354"/>
                <a:gd name="connsiteY708" fmla="*/ 5291 h 10000"/>
                <a:gd name="connsiteX709" fmla="*/ 9903 w 10354"/>
                <a:gd name="connsiteY709" fmla="*/ 5291 h 10000"/>
                <a:gd name="connsiteX710" fmla="*/ 9894 w 10354"/>
                <a:gd name="connsiteY710" fmla="*/ 5214 h 10000"/>
                <a:gd name="connsiteX711" fmla="*/ 9880 w 10354"/>
                <a:gd name="connsiteY711" fmla="*/ 5239 h 10000"/>
                <a:gd name="connsiteX712" fmla="*/ 9876 w 10354"/>
                <a:gd name="connsiteY712" fmla="*/ 5256 h 10000"/>
                <a:gd name="connsiteX713" fmla="*/ 9862 w 10354"/>
                <a:gd name="connsiteY713" fmla="*/ 5239 h 10000"/>
                <a:gd name="connsiteX714" fmla="*/ 9853 w 10354"/>
                <a:gd name="connsiteY714" fmla="*/ 5214 h 10000"/>
                <a:gd name="connsiteX715" fmla="*/ 9839 w 10354"/>
                <a:gd name="connsiteY715" fmla="*/ 5214 h 10000"/>
                <a:gd name="connsiteX716" fmla="*/ 9834 w 10354"/>
                <a:gd name="connsiteY716" fmla="*/ 5188 h 10000"/>
                <a:gd name="connsiteX717" fmla="*/ 9834 w 10354"/>
                <a:gd name="connsiteY717" fmla="*/ 5103 h 10000"/>
                <a:gd name="connsiteX718" fmla="*/ 9839 w 10354"/>
                <a:gd name="connsiteY718" fmla="*/ 5094 h 10000"/>
                <a:gd name="connsiteX719" fmla="*/ 9853 w 10354"/>
                <a:gd name="connsiteY719" fmla="*/ 5103 h 10000"/>
                <a:gd name="connsiteX720" fmla="*/ 9876 w 10354"/>
                <a:gd name="connsiteY720" fmla="*/ 5128 h 10000"/>
                <a:gd name="connsiteX721" fmla="*/ 9889 w 10354"/>
                <a:gd name="connsiteY721" fmla="*/ 5103 h 10000"/>
                <a:gd name="connsiteX722" fmla="*/ 9880 w 10354"/>
                <a:gd name="connsiteY722" fmla="*/ 5120 h 10000"/>
                <a:gd name="connsiteX723" fmla="*/ 9889 w 10354"/>
                <a:gd name="connsiteY723" fmla="*/ 5128 h 10000"/>
                <a:gd name="connsiteX724" fmla="*/ 9912 w 10354"/>
                <a:gd name="connsiteY724" fmla="*/ 5128 h 10000"/>
                <a:gd name="connsiteX725" fmla="*/ 9908 w 10354"/>
                <a:gd name="connsiteY725" fmla="*/ 5145 h 10000"/>
                <a:gd name="connsiteX726" fmla="*/ 9908 w 10354"/>
                <a:gd name="connsiteY726" fmla="*/ 5154 h 10000"/>
                <a:gd name="connsiteX727" fmla="*/ 9922 w 10354"/>
                <a:gd name="connsiteY727" fmla="*/ 5128 h 10000"/>
                <a:gd name="connsiteX728" fmla="*/ 9935 w 10354"/>
                <a:gd name="connsiteY728" fmla="*/ 5103 h 10000"/>
                <a:gd name="connsiteX729" fmla="*/ 9968 w 10354"/>
                <a:gd name="connsiteY729" fmla="*/ 5077 h 10000"/>
                <a:gd name="connsiteX730" fmla="*/ 10000 w 10354"/>
                <a:gd name="connsiteY730" fmla="*/ 5017 h 10000"/>
                <a:gd name="connsiteX731" fmla="*/ 10354 w 10354"/>
                <a:gd name="connsiteY731" fmla="*/ 4302 h 10000"/>
                <a:gd name="connsiteX732" fmla="*/ 9912 w 10354"/>
                <a:gd name="connsiteY732" fmla="*/ 3675 h 10000"/>
                <a:gd name="connsiteX733" fmla="*/ 9903 w 10354"/>
                <a:gd name="connsiteY733" fmla="*/ 3667 h 10000"/>
                <a:gd name="connsiteX734" fmla="*/ 9894 w 10354"/>
                <a:gd name="connsiteY734" fmla="*/ 3641 h 10000"/>
                <a:gd name="connsiteX735" fmla="*/ 9889 w 10354"/>
                <a:gd name="connsiteY735" fmla="*/ 3650 h 10000"/>
                <a:gd name="connsiteX736" fmla="*/ 9848 w 10354"/>
                <a:gd name="connsiteY736" fmla="*/ 3598 h 10000"/>
                <a:gd name="connsiteX737" fmla="*/ 9829 w 10354"/>
                <a:gd name="connsiteY737" fmla="*/ 3581 h 10000"/>
                <a:gd name="connsiteX738" fmla="*/ 9820 w 10354"/>
                <a:gd name="connsiteY738" fmla="*/ 3581 h 10000"/>
                <a:gd name="connsiteX739" fmla="*/ 9793 w 10354"/>
                <a:gd name="connsiteY739" fmla="*/ 3556 h 10000"/>
                <a:gd name="connsiteX740" fmla="*/ 9779 w 10354"/>
                <a:gd name="connsiteY740" fmla="*/ 3556 h 10000"/>
                <a:gd name="connsiteX741" fmla="*/ 9747 w 10354"/>
                <a:gd name="connsiteY741" fmla="*/ 3487 h 10000"/>
                <a:gd name="connsiteX742" fmla="*/ 9668 w 10354"/>
                <a:gd name="connsiteY742" fmla="*/ 3479 h 10000"/>
                <a:gd name="connsiteX743" fmla="*/ 9659 w 10354"/>
                <a:gd name="connsiteY743" fmla="*/ 3487 h 10000"/>
                <a:gd name="connsiteX744" fmla="*/ 9645 w 10354"/>
                <a:gd name="connsiteY744" fmla="*/ 3504 h 10000"/>
                <a:gd name="connsiteX745" fmla="*/ 9631 w 10354"/>
                <a:gd name="connsiteY745" fmla="*/ 3487 h 10000"/>
                <a:gd name="connsiteX746" fmla="*/ 9613 w 10354"/>
                <a:gd name="connsiteY746" fmla="*/ 3479 h 10000"/>
                <a:gd name="connsiteX747" fmla="*/ 9599 w 10354"/>
                <a:gd name="connsiteY747" fmla="*/ 3479 h 10000"/>
                <a:gd name="connsiteX748" fmla="*/ 9571 w 10354"/>
                <a:gd name="connsiteY748" fmla="*/ 3479 h 10000"/>
                <a:gd name="connsiteX749" fmla="*/ 9562 w 10354"/>
                <a:gd name="connsiteY749" fmla="*/ 3487 h 10000"/>
                <a:gd name="connsiteX750" fmla="*/ 9539 w 10354"/>
                <a:gd name="connsiteY750" fmla="*/ 3487 h 10000"/>
                <a:gd name="connsiteX751" fmla="*/ 9507 w 10354"/>
                <a:gd name="connsiteY751" fmla="*/ 3453 h 10000"/>
                <a:gd name="connsiteX752" fmla="*/ 9498 w 10354"/>
                <a:gd name="connsiteY752" fmla="*/ 3453 h 10000"/>
                <a:gd name="connsiteX753" fmla="*/ 9387 w 10354"/>
                <a:gd name="connsiteY753" fmla="*/ 3419 h 10000"/>
                <a:gd name="connsiteX754" fmla="*/ 9373 w 10354"/>
                <a:gd name="connsiteY754" fmla="*/ 3427 h 10000"/>
                <a:gd name="connsiteX755" fmla="*/ 9373 w 10354"/>
                <a:gd name="connsiteY755" fmla="*/ 3462 h 10000"/>
                <a:gd name="connsiteX756" fmla="*/ 9378 w 10354"/>
                <a:gd name="connsiteY756" fmla="*/ 3479 h 10000"/>
                <a:gd name="connsiteX757" fmla="*/ 9378 w 10354"/>
                <a:gd name="connsiteY757" fmla="*/ 3530 h 10000"/>
                <a:gd name="connsiteX758" fmla="*/ 9355 w 10354"/>
                <a:gd name="connsiteY758" fmla="*/ 3538 h 10000"/>
                <a:gd name="connsiteX759" fmla="*/ 9355 w 10354"/>
                <a:gd name="connsiteY759" fmla="*/ 3581 h 10000"/>
                <a:gd name="connsiteX760" fmla="*/ 9387 w 10354"/>
                <a:gd name="connsiteY760" fmla="*/ 3590 h 10000"/>
                <a:gd name="connsiteX761" fmla="*/ 9401 w 10354"/>
                <a:gd name="connsiteY761" fmla="*/ 3667 h 10000"/>
                <a:gd name="connsiteX762" fmla="*/ 9406 w 10354"/>
                <a:gd name="connsiteY762" fmla="*/ 3675 h 10000"/>
                <a:gd name="connsiteX763" fmla="*/ 9406 w 10354"/>
                <a:gd name="connsiteY763" fmla="*/ 3701 h 10000"/>
                <a:gd name="connsiteX764" fmla="*/ 9415 w 10354"/>
                <a:gd name="connsiteY764" fmla="*/ 3752 h 10000"/>
                <a:gd name="connsiteX765" fmla="*/ 9373 w 10354"/>
                <a:gd name="connsiteY765" fmla="*/ 3838 h 10000"/>
                <a:gd name="connsiteX766" fmla="*/ 9355 w 10354"/>
                <a:gd name="connsiteY766" fmla="*/ 3863 h 10000"/>
                <a:gd name="connsiteX767" fmla="*/ 9327 w 10354"/>
                <a:gd name="connsiteY767" fmla="*/ 3863 h 10000"/>
                <a:gd name="connsiteX768" fmla="*/ 9313 w 10354"/>
                <a:gd name="connsiteY768" fmla="*/ 3846 h 10000"/>
                <a:gd name="connsiteX769" fmla="*/ 9300 w 10354"/>
                <a:gd name="connsiteY769" fmla="*/ 3778 h 10000"/>
                <a:gd name="connsiteX770" fmla="*/ 9281 w 10354"/>
                <a:gd name="connsiteY770" fmla="*/ 3752 h 10000"/>
                <a:gd name="connsiteX771" fmla="*/ 9281 w 10354"/>
                <a:gd name="connsiteY771" fmla="*/ 3735 h 10000"/>
                <a:gd name="connsiteX772" fmla="*/ 9267 w 10354"/>
                <a:gd name="connsiteY772" fmla="*/ 3726 h 10000"/>
                <a:gd name="connsiteX773" fmla="*/ 9240 w 10354"/>
                <a:gd name="connsiteY773" fmla="*/ 3726 h 10000"/>
                <a:gd name="connsiteX774" fmla="*/ 9230 w 10354"/>
                <a:gd name="connsiteY774" fmla="*/ 3718 h 10000"/>
                <a:gd name="connsiteX775" fmla="*/ 9226 w 10354"/>
                <a:gd name="connsiteY775" fmla="*/ 3590 h 10000"/>
                <a:gd name="connsiteX776" fmla="*/ 9207 w 10354"/>
                <a:gd name="connsiteY776" fmla="*/ 3581 h 10000"/>
                <a:gd name="connsiteX777" fmla="*/ 9207 w 10354"/>
                <a:gd name="connsiteY777" fmla="*/ 3556 h 10000"/>
                <a:gd name="connsiteX778" fmla="*/ 9217 w 10354"/>
                <a:gd name="connsiteY778" fmla="*/ 3538 h 10000"/>
                <a:gd name="connsiteX779" fmla="*/ 9212 w 10354"/>
                <a:gd name="connsiteY779" fmla="*/ 3538 h 10000"/>
                <a:gd name="connsiteX780" fmla="*/ 9198 w 10354"/>
                <a:gd name="connsiteY780" fmla="*/ 3513 h 10000"/>
                <a:gd name="connsiteX781" fmla="*/ 9194 w 10354"/>
                <a:gd name="connsiteY781" fmla="*/ 3530 h 10000"/>
                <a:gd name="connsiteX782" fmla="*/ 9143 w 10354"/>
                <a:gd name="connsiteY782" fmla="*/ 3615 h 10000"/>
                <a:gd name="connsiteX783" fmla="*/ 9138 w 10354"/>
                <a:gd name="connsiteY783" fmla="*/ 3615 h 10000"/>
                <a:gd name="connsiteX784" fmla="*/ 9134 w 10354"/>
                <a:gd name="connsiteY784" fmla="*/ 3615 h 10000"/>
                <a:gd name="connsiteX785" fmla="*/ 9106 w 10354"/>
                <a:gd name="connsiteY785" fmla="*/ 3615 h 10000"/>
                <a:gd name="connsiteX786" fmla="*/ 9078 w 10354"/>
                <a:gd name="connsiteY786" fmla="*/ 3590 h 10000"/>
                <a:gd name="connsiteX787" fmla="*/ 9037 w 10354"/>
                <a:gd name="connsiteY787" fmla="*/ 3581 h 10000"/>
                <a:gd name="connsiteX788" fmla="*/ 9023 w 10354"/>
                <a:gd name="connsiteY788" fmla="*/ 3590 h 10000"/>
                <a:gd name="connsiteX789" fmla="*/ 9018 w 10354"/>
                <a:gd name="connsiteY789" fmla="*/ 3590 h 10000"/>
                <a:gd name="connsiteX790" fmla="*/ 9018 w 10354"/>
                <a:gd name="connsiteY790" fmla="*/ 3590 h 10000"/>
                <a:gd name="connsiteX791" fmla="*/ 8991 w 10354"/>
                <a:gd name="connsiteY791" fmla="*/ 3590 h 10000"/>
                <a:gd name="connsiteX792" fmla="*/ 8972 w 10354"/>
                <a:gd name="connsiteY792" fmla="*/ 3581 h 10000"/>
                <a:gd name="connsiteX793" fmla="*/ 8959 w 10354"/>
                <a:gd name="connsiteY793" fmla="*/ 3513 h 10000"/>
                <a:gd name="connsiteX794" fmla="*/ 8931 w 10354"/>
                <a:gd name="connsiteY794" fmla="*/ 3538 h 10000"/>
                <a:gd name="connsiteX795" fmla="*/ 8889 w 10354"/>
                <a:gd name="connsiteY795" fmla="*/ 3538 h 10000"/>
                <a:gd name="connsiteX796" fmla="*/ 8871 w 10354"/>
                <a:gd name="connsiteY796" fmla="*/ 3556 h 10000"/>
                <a:gd name="connsiteX797" fmla="*/ 8857 w 10354"/>
                <a:gd name="connsiteY797" fmla="*/ 3538 h 10000"/>
                <a:gd name="connsiteX798" fmla="*/ 8843 w 10354"/>
                <a:gd name="connsiteY798" fmla="*/ 3538 h 10000"/>
                <a:gd name="connsiteX799" fmla="*/ 8839 w 10354"/>
                <a:gd name="connsiteY799" fmla="*/ 3556 h 10000"/>
                <a:gd name="connsiteX800" fmla="*/ 8839 w 10354"/>
                <a:gd name="connsiteY800" fmla="*/ 3581 h 10000"/>
                <a:gd name="connsiteX801" fmla="*/ 8825 w 10354"/>
                <a:gd name="connsiteY801" fmla="*/ 3564 h 10000"/>
                <a:gd name="connsiteX802" fmla="*/ 8825 w 10354"/>
                <a:gd name="connsiteY802" fmla="*/ 3615 h 10000"/>
                <a:gd name="connsiteX803" fmla="*/ 8802 w 10354"/>
                <a:gd name="connsiteY803" fmla="*/ 3598 h 10000"/>
                <a:gd name="connsiteX804" fmla="*/ 8797 w 10354"/>
                <a:gd name="connsiteY804" fmla="*/ 3641 h 10000"/>
                <a:gd name="connsiteX805" fmla="*/ 8783 w 10354"/>
                <a:gd name="connsiteY805" fmla="*/ 3667 h 10000"/>
                <a:gd name="connsiteX806" fmla="*/ 8779 w 10354"/>
                <a:gd name="connsiteY806" fmla="*/ 3650 h 10000"/>
                <a:gd name="connsiteX807" fmla="*/ 8779 w 10354"/>
                <a:gd name="connsiteY807" fmla="*/ 3615 h 10000"/>
                <a:gd name="connsiteX808" fmla="*/ 8770 w 10354"/>
                <a:gd name="connsiteY808" fmla="*/ 3590 h 10000"/>
                <a:gd name="connsiteX809" fmla="*/ 8765 w 10354"/>
                <a:gd name="connsiteY809" fmla="*/ 3598 h 10000"/>
                <a:gd name="connsiteX810" fmla="*/ 8756 w 10354"/>
                <a:gd name="connsiteY810" fmla="*/ 3590 h 10000"/>
                <a:gd name="connsiteX811" fmla="*/ 8737 w 10354"/>
                <a:gd name="connsiteY811" fmla="*/ 3556 h 10000"/>
                <a:gd name="connsiteX812" fmla="*/ 8724 w 10354"/>
                <a:gd name="connsiteY812" fmla="*/ 3538 h 10000"/>
                <a:gd name="connsiteX813" fmla="*/ 8696 w 10354"/>
                <a:gd name="connsiteY813" fmla="*/ 3538 h 10000"/>
                <a:gd name="connsiteX814" fmla="*/ 8691 w 10354"/>
                <a:gd name="connsiteY814" fmla="*/ 3513 h 10000"/>
                <a:gd name="connsiteX815" fmla="*/ 8668 w 10354"/>
                <a:gd name="connsiteY815" fmla="*/ 3504 h 10000"/>
                <a:gd name="connsiteX816" fmla="*/ 8668 w 10354"/>
                <a:gd name="connsiteY816" fmla="*/ 3487 h 10000"/>
                <a:gd name="connsiteX817" fmla="*/ 8691 w 10354"/>
                <a:gd name="connsiteY817" fmla="*/ 3350 h 10000"/>
                <a:gd name="connsiteX818" fmla="*/ 8691 w 10354"/>
                <a:gd name="connsiteY818" fmla="*/ 3291 h 10000"/>
                <a:gd name="connsiteX819" fmla="*/ 8677 w 10354"/>
                <a:gd name="connsiteY819" fmla="*/ 3239 h 10000"/>
                <a:gd name="connsiteX820" fmla="*/ 8677 w 10354"/>
                <a:gd name="connsiteY820" fmla="*/ 3231 h 10000"/>
                <a:gd name="connsiteX821" fmla="*/ 8636 w 10354"/>
                <a:gd name="connsiteY821" fmla="*/ 3128 h 10000"/>
                <a:gd name="connsiteX822" fmla="*/ 8622 w 10354"/>
                <a:gd name="connsiteY822" fmla="*/ 3120 h 10000"/>
                <a:gd name="connsiteX823" fmla="*/ 8618 w 10354"/>
                <a:gd name="connsiteY823" fmla="*/ 3094 h 10000"/>
                <a:gd name="connsiteX824" fmla="*/ 8594 w 10354"/>
                <a:gd name="connsiteY824" fmla="*/ 3077 h 10000"/>
                <a:gd name="connsiteX825" fmla="*/ 8548 w 10354"/>
                <a:gd name="connsiteY825" fmla="*/ 3077 h 10000"/>
                <a:gd name="connsiteX826" fmla="*/ 8535 w 10354"/>
                <a:gd name="connsiteY826" fmla="*/ 3068 h 10000"/>
                <a:gd name="connsiteX827" fmla="*/ 8429 w 10354"/>
                <a:gd name="connsiteY827" fmla="*/ 3077 h 10000"/>
                <a:gd name="connsiteX828" fmla="*/ 8424 w 10354"/>
                <a:gd name="connsiteY828" fmla="*/ 3077 h 10000"/>
                <a:gd name="connsiteX829" fmla="*/ 8396 w 10354"/>
                <a:gd name="connsiteY829" fmla="*/ 3077 h 10000"/>
                <a:gd name="connsiteX830" fmla="*/ 8387 w 10354"/>
                <a:gd name="connsiteY830" fmla="*/ 3094 h 10000"/>
                <a:gd name="connsiteX831" fmla="*/ 8378 w 10354"/>
                <a:gd name="connsiteY831" fmla="*/ 3094 h 10000"/>
                <a:gd name="connsiteX832" fmla="*/ 8341 w 10354"/>
                <a:gd name="connsiteY832" fmla="*/ 3077 h 10000"/>
                <a:gd name="connsiteX833" fmla="*/ 8336 w 10354"/>
                <a:gd name="connsiteY833" fmla="*/ 3077 h 10000"/>
                <a:gd name="connsiteX834" fmla="*/ 8327 w 10354"/>
                <a:gd name="connsiteY834" fmla="*/ 3103 h 10000"/>
                <a:gd name="connsiteX835" fmla="*/ 8309 w 10354"/>
                <a:gd name="connsiteY835" fmla="*/ 3120 h 10000"/>
                <a:gd name="connsiteX836" fmla="*/ 8304 w 10354"/>
                <a:gd name="connsiteY836" fmla="*/ 3103 h 10000"/>
                <a:gd name="connsiteX837" fmla="*/ 8276 w 10354"/>
                <a:gd name="connsiteY837" fmla="*/ 3103 h 10000"/>
                <a:gd name="connsiteX838" fmla="*/ 8267 w 10354"/>
                <a:gd name="connsiteY838" fmla="*/ 3120 h 10000"/>
                <a:gd name="connsiteX839" fmla="*/ 8253 w 10354"/>
                <a:gd name="connsiteY839" fmla="*/ 3103 h 10000"/>
                <a:gd name="connsiteX840" fmla="*/ 8230 w 10354"/>
                <a:gd name="connsiteY840" fmla="*/ 3128 h 10000"/>
                <a:gd name="connsiteX841" fmla="*/ 8217 w 10354"/>
                <a:gd name="connsiteY841" fmla="*/ 3128 h 10000"/>
                <a:gd name="connsiteX842" fmla="*/ 8203 w 10354"/>
                <a:gd name="connsiteY842" fmla="*/ 3154 h 10000"/>
                <a:gd name="connsiteX843" fmla="*/ 8175 w 10354"/>
                <a:gd name="connsiteY843" fmla="*/ 3094 h 10000"/>
                <a:gd name="connsiteX844" fmla="*/ 8161 w 10354"/>
                <a:gd name="connsiteY844" fmla="*/ 3094 h 10000"/>
                <a:gd name="connsiteX845" fmla="*/ 8157 w 10354"/>
                <a:gd name="connsiteY845" fmla="*/ 3077 h 10000"/>
                <a:gd name="connsiteX846" fmla="*/ 8180 w 10354"/>
                <a:gd name="connsiteY846" fmla="*/ 3068 h 10000"/>
                <a:gd name="connsiteX847" fmla="*/ 8189 w 10354"/>
                <a:gd name="connsiteY847" fmla="*/ 3043 h 10000"/>
                <a:gd name="connsiteX848" fmla="*/ 8189 w 10354"/>
                <a:gd name="connsiteY848" fmla="*/ 3017 h 10000"/>
                <a:gd name="connsiteX849" fmla="*/ 8147 w 10354"/>
                <a:gd name="connsiteY849" fmla="*/ 2940 h 10000"/>
                <a:gd name="connsiteX850" fmla="*/ 8143 w 10354"/>
                <a:gd name="connsiteY850" fmla="*/ 2915 h 10000"/>
                <a:gd name="connsiteX851" fmla="*/ 8143 w 10354"/>
                <a:gd name="connsiteY851" fmla="*/ 2906 h 10000"/>
                <a:gd name="connsiteX852" fmla="*/ 8097 w 10354"/>
                <a:gd name="connsiteY852" fmla="*/ 2932 h 10000"/>
                <a:gd name="connsiteX853" fmla="*/ 8083 w 10354"/>
                <a:gd name="connsiteY853" fmla="*/ 2932 h 10000"/>
                <a:gd name="connsiteX854" fmla="*/ 8074 w 10354"/>
                <a:gd name="connsiteY854" fmla="*/ 2906 h 10000"/>
                <a:gd name="connsiteX855" fmla="*/ 8074 w 10354"/>
                <a:gd name="connsiteY855" fmla="*/ 2897 h 10000"/>
                <a:gd name="connsiteX856" fmla="*/ 8055 w 10354"/>
                <a:gd name="connsiteY856" fmla="*/ 2872 h 10000"/>
                <a:gd name="connsiteX857" fmla="*/ 8046 w 10354"/>
                <a:gd name="connsiteY857" fmla="*/ 2829 h 10000"/>
                <a:gd name="connsiteX858" fmla="*/ 8041 w 10354"/>
                <a:gd name="connsiteY858" fmla="*/ 2829 h 10000"/>
                <a:gd name="connsiteX859" fmla="*/ 8023 w 10354"/>
                <a:gd name="connsiteY859" fmla="*/ 2803 h 10000"/>
                <a:gd name="connsiteX860" fmla="*/ 8014 w 10354"/>
                <a:gd name="connsiteY860" fmla="*/ 2829 h 10000"/>
                <a:gd name="connsiteX861" fmla="*/ 8000 w 10354"/>
                <a:gd name="connsiteY861" fmla="*/ 2829 h 10000"/>
                <a:gd name="connsiteX862" fmla="*/ 7995 w 10354"/>
                <a:gd name="connsiteY862" fmla="*/ 2821 h 10000"/>
                <a:gd name="connsiteX863" fmla="*/ 7972 w 10354"/>
                <a:gd name="connsiteY863" fmla="*/ 2803 h 10000"/>
                <a:gd name="connsiteX864" fmla="*/ 7968 w 10354"/>
                <a:gd name="connsiteY864" fmla="*/ 2821 h 10000"/>
                <a:gd name="connsiteX865" fmla="*/ 7968 w 10354"/>
                <a:gd name="connsiteY865" fmla="*/ 2803 h 10000"/>
                <a:gd name="connsiteX866" fmla="*/ 7995 w 10354"/>
                <a:gd name="connsiteY866" fmla="*/ 2735 h 10000"/>
                <a:gd name="connsiteX867" fmla="*/ 8000 w 10354"/>
                <a:gd name="connsiteY867" fmla="*/ 2735 h 10000"/>
                <a:gd name="connsiteX868" fmla="*/ 8014 w 10354"/>
                <a:gd name="connsiteY868" fmla="*/ 2744 h 10000"/>
                <a:gd name="connsiteX869" fmla="*/ 8023 w 10354"/>
                <a:gd name="connsiteY869" fmla="*/ 2769 h 10000"/>
                <a:gd name="connsiteX870" fmla="*/ 8032 w 10354"/>
                <a:gd name="connsiteY870" fmla="*/ 2744 h 10000"/>
                <a:gd name="connsiteX871" fmla="*/ 8032 w 10354"/>
                <a:gd name="connsiteY871" fmla="*/ 2709 h 10000"/>
                <a:gd name="connsiteX872" fmla="*/ 8023 w 10354"/>
                <a:gd name="connsiteY872" fmla="*/ 2632 h 10000"/>
                <a:gd name="connsiteX873" fmla="*/ 7986 w 10354"/>
                <a:gd name="connsiteY873" fmla="*/ 2581 h 10000"/>
                <a:gd name="connsiteX874" fmla="*/ 7968 w 10354"/>
                <a:gd name="connsiteY874" fmla="*/ 2581 h 10000"/>
                <a:gd name="connsiteX875" fmla="*/ 7963 w 10354"/>
                <a:gd name="connsiteY875" fmla="*/ 2556 h 10000"/>
                <a:gd name="connsiteX876" fmla="*/ 7935 w 10354"/>
                <a:gd name="connsiteY876" fmla="*/ 2547 h 10000"/>
                <a:gd name="connsiteX877" fmla="*/ 7912 w 10354"/>
                <a:gd name="connsiteY877" fmla="*/ 2547 h 10000"/>
                <a:gd name="connsiteX878" fmla="*/ 7912 w 10354"/>
                <a:gd name="connsiteY878" fmla="*/ 2556 h 10000"/>
                <a:gd name="connsiteX879" fmla="*/ 7908 w 10354"/>
                <a:gd name="connsiteY879" fmla="*/ 2547 h 10000"/>
                <a:gd name="connsiteX880" fmla="*/ 7862 w 10354"/>
                <a:gd name="connsiteY880" fmla="*/ 2547 h 10000"/>
                <a:gd name="connsiteX881" fmla="*/ 7848 w 10354"/>
                <a:gd name="connsiteY881" fmla="*/ 2556 h 10000"/>
                <a:gd name="connsiteX882" fmla="*/ 7820 w 10354"/>
                <a:gd name="connsiteY882" fmla="*/ 2547 h 10000"/>
                <a:gd name="connsiteX883" fmla="*/ 7806 w 10354"/>
                <a:gd name="connsiteY883" fmla="*/ 2513 h 10000"/>
                <a:gd name="connsiteX884" fmla="*/ 7788 w 10354"/>
                <a:gd name="connsiteY884" fmla="*/ 2513 h 10000"/>
                <a:gd name="connsiteX885" fmla="*/ 7760 w 10354"/>
                <a:gd name="connsiteY885" fmla="*/ 2470 h 10000"/>
                <a:gd name="connsiteX886" fmla="*/ 7751 w 10354"/>
                <a:gd name="connsiteY886" fmla="*/ 2470 h 10000"/>
                <a:gd name="connsiteX887" fmla="*/ 7705 w 10354"/>
                <a:gd name="connsiteY887" fmla="*/ 2462 h 10000"/>
                <a:gd name="connsiteX888" fmla="*/ 7673 w 10354"/>
                <a:gd name="connsiteY888" fmla="*/ 2419 h 10000"/>
                <a:gd name="connsiteX889" fmla="*/ 7627 w 10354"/>
                <a:gd name="connsiteY889" fmla="*/ 2419 h 10000"/>
                <a:gd name="connsiteX890" fmla="*/ 7613 w 10354"/>
                <a:gd name="connsiteY890" fmla="*/ 2410 h 10000"/>
                <a:gd name="connsiteX891" fmla="*/ 7493 w 10354"/>
                <a:gd name="connsiteY891" fmla="*/ 2393 h 10000"/>
                <a:gd name="connsiteX892" fmla="*/ 7479 w 10354"/>
                <a:gd name="connsiteY892" fmla="*/ 2385 h 10000"/>
                <a:gd name="connsiteX893" fmla="*/ 7479 w 10354"/>
                <a:gd name="connsiteY893" fmla="*/ 2376 h 10000"/>
                <a:gd name="connsiteX894" fmla="*/ 7465 w 10354"/>
                <a:gd name="connsiteY894" fmla="*/ 2359 h 10000"/>
                <a:gd name="connsiteX895" fmla="*/ 7447 w 10354"/>
                <a:gd name="connsiteY895" fmla="*/ 2350 h 10000"/>
                <a:gd name="connsiteX896" fmla="*/ 7433 w 10354"/>
                <a:gd name="connsiteY896" fmla="*/ 2376 h 10000"/>
                <a:gd name="connsiteX897" fmla="*/ 7433 w 10354"/>
                <a:gd name="connsiteY897" fmla="*/ 2385 h 10000"/>
                <a:gd name="connsiteX898" fmla="*/ 7447 w 10354"/>
                <a:gd name="connsiteY898" fmla="*/ 2410 h 10000"/>
                <a:gd name="connsiteX899" fmla="*/ 7447 w 10354"/>
                <a:gd name="connsiteY899" fmla="*/ 2436 h 10000"/>
                <a:gd name="connsiteX900" fmla="*/ 7452 w 10354"/>
                <a:gd name="connsiteY900" fmla="*/ 2462 h 10000"/>
                <a:gd name="connsiteX901" fmla="*/ 7447 w 10354"/>
                <a:gd name="connsiteY901" fmla="*/ 2470 h 10000"/>
                <a:gd name="connsiteX902" fmla="*/ 7424 w 10354"/>
                <a:gd name="connsiteY902" fmla="*/ 2513 h 10000"/>
                <a:gd name="connsiteX903" fmla="*/ 7419 w 10354"/>
                <a:gd name="connsiteY903" fmla="*/ 2556 h 10000"/>
                <a:gd name="connsiteX904" fmla="*/ 7406 w 10354"/>
                <a:gd name="connsiteY904" fmla="*/ 2624 h 10000"/>
                <a:gd name="connsiteX905" fmla="*/ 7392 w 10354"/>
                <a:gd name="connsiteY905" fmla="*/ 2624 h 10000"/>
                <a:gd name="connsiteX906" fmla="*/ 7373 w 10354"/>
                <a:gd name="connsiteY906" fmla="*/ 2650 h 10000"/>
                <a:gd name="connsiteX907" fmla="*/ 7364 w 10354"/>
                <a:gd name="connsiteY907" fmla="*/ 2684 h 10000"/>
                <a:gd name="connsiteX908" fmla="*/ 7364 w 10354"/>
                <a:gd name="connsiteY908" fmla="*/ 2692 h 10000"/>
                <a:gd name="connsiteX909" fmla="*/ 7373 w 10354"/>
                <a:gd name="connsiteY909" fmla="*/ 2718 h 10000"/>
                <a:gd name="connsiteX910" fmla="*/ 7373 w 10354"/>
                <a:gd name="connsiteY910" fmla="*/ 2744 h 10000"/>
                <a:gd name="connsiteX911" fmla="*/ 7359 w 10354"/>
                <a:gd name="connsiteY911" fmla="*/ 2744 h 10000"/>
                <a:gd name="connsiteX912" fmla="*/ 7359 w 10354"/>
                <a:gd name="connsiteY912" fmla="*/ 2795 h 10000"/>
                <a:gd name="connsiteX913" fmla="*/ 7364 w 10354"/>
                <a:gd name="connsiteY913" fmla="*/ 2821 h 10000"/>
                <a:gd name="connsiteX914" fmla="*/ 7378 w 10354"/>
                <a:gd name="connsiteY914" fmla="*/ 2846 h 10000"/>
                <a:gd name="connsiteX915" fmla="*/ 7378 w 10354"/>
                <a:gd name="connsiteY915" fmla="*/ 2855 h 10000"/>
                <a:gd name="connsiteX916" fmla="*/ 7378 w 10354"/>
                <a:gd name="connsiteY916" fmla="*/ 2880 h 10000"/>
                <a:gd name="connsiteX917" fmla="*/ 7378 w 10354"/>
                <a:gd name="connsiteY917" fmla="*/ 2906 h 10000"/>
                <a:gd name="connsiteX918" fmla="*/ 7364 w 10354"/>
                <a:gd name="connsiteY918" fmla="*/ 2906 h 10000"/>
                <a:gd name="connsiteX919" fmla="*/ 7346 w 10354"/>
                <a:gd name="connsiteY919" fmla="*/ 2880 h 10000"/>
                <a:gd name="connsiteX920" fmla="*/ 7332 w 10354"/>
                <a:gd name="connsiteY920" fmla="*/ 2915 h 10000"/>
                <a:gd name="connsiteX921" fmla="*/ 7318 w 10354"/>
                <a:gd name="connsiteY921" fmla="*/ 2906 h 10000"/>
                <a:gd name="connsiteX922" fmla="*/ 7313 w 10354"/>
                <a:gd name="connsiteY922" fmla="*/ 2915 h 10000"/>
                <a:gd name="connsiteX923" fmla="*/ 7313 w 10354"/>
                <a:gd name="connsiteY923" fmla="*/ 2906 h 10000"/>
                <a:gd name="connsiteX924" fmla="*/ 7286 w 10354"/>
                <a:gd name="connsiteY924" fmla="*/ 2940 h 10000"/>
                <a:gd name="connsiteX925" fmla="*/ 7276 w 10354"/>
                <a:gd name="connsiteY925" fmla="*/ 2966 h 10000"/>
                <a:gd name="connsiteX926" fmla="*/ 7272 w 10354"/>
                <a:gd name="connsiteY926" fmla="*/ 2983 h 10000"/>
                <a:gd name="connsiteX927" fmla="*/ 7267 w 10354"/>
                <a:gd name="connsiteY927" fmla="*/ 3009 h 10000"/>
                <a:gd name="connsiteX928" fmla="*/ 7253 w 10354"/>
                <a:gd name="connsiteY928" fmla="*/ 3009 h 10000"/>
                <a:gd name="connsiteX929" fmla="*/ 7244 w 10354"/>
                <a:gd name="connsiteY929" fmla="*/ 3017 h 10000"/>
                <a:gd name="connsiteX930" fmla="*/ 7240 w 10354"/>
                <a:gd name="connsiteY930" fmla="*/ 3009 h 10000"/>
                <a:gd name="connsiteX931" fmla="*/ 7230 w 10354"/>
                <a:gd name="connsiteY931" fmla="*/ 2991 h 10000"/>
                <a:gd name="connsiteX932" fmla="*/ 7226 w 10354"/>
                <a:gd name="connsiteY932" fmla="*/ 2983 h 10000"/>
                <a:gd name="connsiteX933" fmla="*/ 7226 w 10354"/>
                <a:gd name="connsiteY933" fmla="*/ 2966 h 10000"/>
                <a:gd name="connsiteX934" fmla="*/ 7212 w 10354"/>
                <a:gd name="connsiteY934" fmla="*/ 2957 h 10000"/>
                <a:gd name="connsiteX935" fmla="*/ 7212 w 10354"/>
                <a:gd name="connsiteY935" fmla="*/ 2932 h 10000"/>
                <a:gd name="connsiteX936" fmla="*/ 7198 w 10354"/>
                <a:gd name="connsiteY936" fmla="*/ 2915 h 10000"/>
                <a:gd name="connsiteX937" fmla="*/ 7194 w 10354"/>
                <a:gd name="connsiteY937" fmla="*/ 2915 h 10000"/>
                <a:gd name="connsiteX938" fmla="*/ 7157 w 10354"/>
                <a:gd name="connsiteY938" fmla="*/ 2880 h 10000"/>
                <a:gd name="connsiteX939" fmla="*/ 7138 w 10354"/>
                <a:gd name="connsiteY939" fmla="*/ 2880 h 10000"/>
                <a:gd name="connsiteX940" fmla="*/ 7120 w 10354"/>
                <a:gd name="connsiteY940" fmla="*/ 2872 h 10000"/>
                <a:gd name="connsiteX941" fmla="*/ 7111 w 10354"/>
                <a:gd name="connsiteY941" fmla="*/ 2846 h 10000"/>
                <a:gd name="connsiteX942" fmla="*/ 7106 w 10354"/>
                <a:gd name="connsiteY942" fmla="*/ 2846 h 10000"/>
                <a:gd name="connsiteX943" fmla="*/ 7092 w 10354"/>
                <a:gd name="connsiteY943" fmla="*/ 2829 h 10000"/>
                <a:gd name="connsiteX944" fmla="*/ 7051 w 10354"/>
                <a:gd name="connsiteY944" fmla="*/ 2829 h 10000"/>
                <a:gd name="connsiteX945" fmla="*/ 7037 w 10354"/>
                <a:gd name="connsiteY945" fmla="*/ 2880 h 10000"/>
                <a:gd name="connsiteX946" fmla="*/ 7037 w 10354"/>
                <a:gd name="connsiteY946" fmla="*/ 2906 h 10000"/>
                <a:gd name="connsiteX947" fmla="*/ 7037 w 10354"/>
                <a:gd name="connsiteY947" fmla="*/ 2932 h 10000"/>
                <a:gd name="connsiteX948" fmla="*/ 7037 w 10354"/>
                <a:gd name="connsiteY948" fmla="*/ 2940 h 10000"/>
                <a:gd name="connsiteX949" fmla="*/ 7023 w 10354"/>
                <a:gd name="connsiteY949" fmla="*/ 2906 h 10000"/>
                <a:gd name="connsiteX950" fmla="*/ 7023 w 10354"/>
                <a:gd name="connsiteY950" fmla="*/ 2915 h 10000"/>
                <a:gd name="connsiteX951" fmla="*/ 6991 w 10354"/>
                <a:gd name="connsiteY951" fmla="*/ 2906 h 10000"/>
                <a:gd name="connsiteX952" fmla="*/ 6977 w 10354"/>
                <a:gd name="connsiteY952" fmla="*/ 2915 h 10000"/>
                <a:gd name="connsiteX953" fmla="*/ 6963 w 10354"/>
                <a:gd name="connsiteY953" fmla="*/ 2915 h 10000"/>
                <a:gd name="connsiteX954" fmla="*/ 6949 w 10354"/>
                <a:gd name="connsiteY954" fmla="*/ 2872 h 10000"/>
                <a:gd name="connsiteX955" fmla="*/ 6935 w 10354"/>
                <a:gd name="connsiteY955" fmla="*/ 2855 h 10000"/>
                <a:gd name="connsiteX956" fmla="*/ 6922 w 10354"/>
                <a:gd name="connsiteY956" fmla="*/ 2803 h 10000"/>
                <a:gd name="connsiteX957" fmla="*/ 6917 w 10354"/>
                <a:gd name="connsiteY957" fmla="*/ 2786 h 10000"/>
                <a:gd name="connsiteX958" fmla="*/ 6903 w 10354"/>
                <a:gd name="connsiteY958" fmla="*/ 2709 h 10000"/>
                <a:gd name="connsiteX959" fmla="*/ 6903 w 10354"/>
                <a:gd name="connsiteY959" fmla="*/ 2692 h 10000"/>
                <a:gd name="connsiteX960" fmla="*/ 6899 w 10354"/>
                <a:gd name="connsiteY960" fmla="*/ 2709 h 10000"/>
                <a:gd name="connsiteX961" fmla="*/ 6857 w 10354"/>
                <a:gd name="connsiteY961" fmla="*/ 2872 h 10000"/>
                <a:gd name="connsiteX962" fmla="*/ 6857 w 10354"/>
                <a:gd name="connsiteY962" fmla="*/ 3009 h 10000"/>
                <a:gd name="connsiteX963" fmla="*/ 6848 w 10354"/>
                <a:gd name="connsiteY963" fmla="*/ 3017 h 10000"/>
                <a:gd name="connsiteX964" fmla="*/ 6839 w 10354"/>
                <a:gd name="connsiteY964" fmla="*/ 3068 h 10000"/>
                <a:gd name="connsiteX965" fmla="*/ 6829 w 10354"/>
                <a:gd name="connsiteY965" fmla="*/ 3077 h 10000"/>
                <a:gd name="connsiteX966" fmla="*/ 6829 w 10354"/>
                <a:gd name="connsiteY966" fmla="*/ 3128 h 10000"/>
                <a:gd name="connsiteX967" fmla="*/ 6816 w 10354"/>
                <a:gd name="connsiteY967" fmla="*/ 3154 h 10000"/>
                <a:gd name="connsiteX968" fmla="*/ 6811 w 10354"/>
                <a:gd name="connsiteY968" fmla="*/ 3179 h 10000"/>
                <a:gd name="connsiteX969" fmla="*/ 6797 w 10354"/>
                <a:gd name="connsiteY969" fmla="*/ 3171 h 10000"/>
                <a:gd name="connsiteX970" fmla="*/ 6783 w 10354"/>
                <a:gd name="connsiteY970" fmla="*/ 3103 h 10000"/>
                <a:gd name="connsiteX971" fmla="*/ 6779 w 10354"/>
                <a:gd name="connsiteY971" fmla="*/ 3094 h 10000"/>
                <a:gd name="connsiteX972" fmla="*/ 6779 w 10354"/>
                <a:gd name="connsiteY972" fmla="*/ 3120 h 10000"/>
                <a:gd name="connsiteX973" fmla="*/ 6770 w 10354"/>
                <a:gd name="connsiteY973" fmla="*/ 3128 h 10000"/>
                <a:gd name="connsiteX974" fmla="*/ 6765 w 10354"/>
                <a:gd name="connsiteY974" fmla="*/ 3103 h 10000"/>
                <a:gd name="connsiteX975" fmla="*/ 6756 w 10354"/>
                <a:gd name="connsiteY975" fmla="*/ 3103 h 10000"/>
                <a:gd name="connsiteX976" fmla="*/ 6742 w 10354"/>
                <a:gd name="connsiteY976" fmla="*/ 3103 h 10000"/>
                <a:gd name="connsiteX977" fmla="*/ 6737 w 10354"/>
                <a:gd name="connsiteY977" fmla="*/ 3077 h 10000"/>
                <a:gd name="connsiteX978" fmla="*/ 6737 w 10354"/>
                <a:gd name="connsiteY978" fmla="*/ 3068 h 10000"/>
                <a:gd name="connsiteX979" fmla="*/ 6728 w 10354"/>
                <a:gd name="connsiteY979" fmla="*/ 3043 h 10000"/>
                <a:gd name="connsiteX980" fmla="*/ 6724 w 10354"/>
                <a:gd name="connsiteY980" fmla="*/ 3051 h 10000"/>
                <a:gd name="connsiteX981" fmla="*/ 6714 w 10354"/>
                <a:gd name="connsiteY981" fmla="*/ 3043 h 10000"/>
                <a:gd name="connsiteX982" fmla="*/ 6710 w 10354"/>
                <a:gd name="connsiteY982" fmla="*/ 3034 h 10000"/>
                <a:gd name="connsiteX983" fmla="*/ 6705 w 10354"/>
                <a:gd name="connsiteY983" fmla="*/ 2983 h 10000"/>
                <a:gd name="connsiteX984" fmla="*/ 6696 w 10354"/>
                <a:gd name="connsiteY984" fmla="*/ 2966 h 10000"/>
                <a:gd name="connsiteX985" fmla="*/ 6691 w 10354"/>
                <a:gd name="connsiteY985" fmla="*/ 2983 h 10000"/>
                <a:gd name="connsiteX986" fmla="*/ 6677 w 10354"/>
                <a:gd name="connsiteY986" fmla="*/ 2897 h 10000"/>
                <a:gd name="connsiteX987" fmla="*/ 6677 w 10354"/>
                <a:gd name="connsiteY987" fmla="*/ 2897 h 10000"/>
                <a:gd name="connsiteX988" fmla="*/ 6677 w 10354"/>
                <a:gd name="connsiteY988" fmla="*/ 2872 h 10000"/>
                <a:gd name="connsiteX989" fmla="*/ 6668 w 10354"/>
                <a:gd name="connsiteY989" fmla="*/ 2821 h 10000"/>
                <a:gd name="connsiteX990" fmla="*/ 6664 w 10354"/>
                <a:gd name="connsiteY990" fmla="*/ 2829 h 10000"/>
                <a:gd name="connsiteX991" fmla="*/ 6654 w 10354"/>
                <a:gd name="connsiteY991" fmla="*/ 2846 h 10000"/>
                <a:gd name="connsiteX992" fmla="*/ 6650 w 10354"/>
                <a:gd name="connsiteY992" fmla="*/ 2829 h 10000"/>
                <a:gd name="connsiteX993" fmla="*/ 6650 w 10354"/>
                <a:gd name="connsiteY993" fmla="*/ 2803 h 10000"/>
                <a:gd name="connsiteX994" fmla="*/ 6650 w 10354"/>
                <a:gd name="connsiteY994" fmla="*/ 2795 h 10000"/>
                <a:gd name="connsiteX995" fmla="*/ 6641 w 10354"/>
                <a:gd name="connsiteY995" fmla="*/ 2786 h 10000"/>
                <a:gd name="connsiteX996" fmla="*/ 6636 w 10354"/>
                <a:gd name="connsiteY996" fmla="*/ 2735 h 10000"/>
                <a:gd name="connsiteX997" fmla="*/ 6664 w 10354"/>
                <a:gd name="connsiteY997" fmla="*/ 2667 h 10000"/>
                <a:gd name="connsiteX998" fmla="*/ 6668 w 10354"/>
                <a:gd name="connsiteY998" fmla="*/ 2684 h 10000"/>
                <a:gd name="connsiteX999" fmla="*/ 6677 w 10354"/>
                <a:gd name="connsiteY999" fmla="*/ 2667 h 10000"/>
                <a:gd name="connsiteX1000" fmla="*/ 6668 w 10354"/>
                <a:gd name="connsiteY1000" fmla="*/ 2667 h 10000"/>
                <a:gd name="connsiteX1001" fmla="*/ 6668 w 10354"/>
                <a:gd name="connsiteY1001" fmla="*/ 2650 h 10000"/>
                <a:gd name="connsiteX1002" fmla="*/ 6682 w 10354"/>
                <a:gd name="connsiteY1002" fmla="*/ 2650 h 10000"/>
                <a:gd name="connsiteX1003" fmla="*/ 6691 w 10354"/>
                <a:gd name="connsiteY1003" fmla="*/ 2624 h 10000"/>
                <a:gd name="connsiteX1004" fmla="*/ 6682 w 10354"/>
                <a:gd name="connsiteY1004" fmla="*/ 2632 h 10000"/>
                <a:gd name="connsiteX1005" fmla="*/ 6682 w 10354"/>
                <a:gd name="connsiteY1005" fmla="*/ 2624 h 10000"/>
                <a:gd name="connsiteX1006" fmla="*/ 6691 w 10354"/>
                <a:gd name="connsiteY1006" fmla="*/ 2607 h 10000"/>
                <a:gd name="connsiteX1007" fmla="*/ 6691 w 10354"/>
                <a:gd name="connsiteY1007" fmla="*/ 2598 h 10000"/>
                <a:gd name="connsiteX1008" fmla="*/ 6691 w 10354"/>
                <a:gd name="connsiteY1008" fmla="*/ 2581 h 10000"/>
                <a:gd name="connsiteX1009" fmla="*/ 6696 w 10354"/>
                <a:gd name="connsiteY1009" fmla="*/ 2530 h 10000"/>
                <a:gd name="connsiteX1010" fmla="*/ 6677 w 10354"/>
                <a:gd name="connsiteY1010" fmla="*/ 2513 h 10000"/>
                <a:gd name="connsiteX1011" fmla="*/ 6677 w 10354"/>
                <a:gd name="connsiteY1011" fmla="*/ 2496 h 10000"/>
                <a:gd name="connsiteX1012" fmla="*/ 6682 w 10354"/>
                <a:gd name="connsiteY1012" fmla="*/ 2470 h 10000"/>
                <a:gd name="connsiteX1013" fmla="*/ 6668 w 10354"/>
                <a:gd name="connsiteY1013" fmla="*/ 2462 h 10000"/>
                <a:gd name="connsiteX1014" fmla="*/ 6677 w 10354"/>
                <a:gd name="connsiteY1014" fmla="*/ 2436 h 10000"/>
                <a:gd name="connsiteX1015" fmla="*/ 6682 w 10354"/>
                <a:gd name="connsiteY1015" fmla="*/ 2419 h 10000"/>
                <a:gd name="connsiteX1016" fmla="*/ 6682 w 10354"/>
                <a:gd name="connsiteY1016" fmla="*/ 2393 h 10000"/>
                <a:gd name="connsiteX1017" fmla="*/ 6682 w 10354"/>
                <a:gd name="connsiteY1017" fmla="*/ 2385 h 10000"/>
                <a:gd name="connsiteX1018" fmla="*/ 6682 w 10354"/>
                <a:gd name="connsiteY1018" fmla="*/ 2385 h 10000"/>
                <a:gd name="connsiteX1019" fmla="*/ 6677 w 10354"/>
                <a:gd name="connsiteY1019" fmla="*/ 2376 h 10000"/>
                <a:gd name="connsiteX1020" fmla="*/ 6682 w 10354"/>
                <a:gd name="connsiteY1020" fmla="*/ 2359 h 10000"/>
                <a:gd name="connsiteX1021" fmla="*/ 6677 w 10354"/>
                <a:gd name="connsiteY1021" fmla="*/ 2333 h 10000"/>
                <a:gd name="connsiteX1022" fmla="*/ 6691 w 10354"/>
                <a:gd name="connsiteY1022" fmla="*/ 2333 h 10000"/>
                <a:gd name="connsiteX1023" fmla="*/ 6691 w 10354"/>
                <a:gd name="connsiteY1023" fmla="*/ 2325 h 10000"/>
                <a:gd name="connsiteX1024" fmla="*/ 6691 w 10354"/>
                <a:gd name="connsiteY1024" fmla="*/ 2308 h 10000"/>
                <a:gd name="connsiteX1025" fmla="*/ 6691 w 10354"/>
                <a:gd name="connsiteY1025" fmla="*/ 2299 h 10000"/>
                <a:gd name="connsiteX1026" fmla="*/ 6691 w 10354"/>
                <a:gd name="connsiteY1026" fmla="*/ 2282 h 10000"/>
                <a:gd name="connsiteX1027" fmla="*/ 6691 w 10354"/>
                <a:gd name="connsiteY1027" fmla="*/ 2274 h 10000"/>
                <a:gd name="connsiteX1028" fmla="*/ 6668 w 10354"/>
                <a:gd name="connsiteY1028" fmla="*/ 2248 h 10000"/>
                <a:gd name="connsiteX1029" fmla="*/ 6664 w 10354"/>
                <a:gd name="connsiteY1029" fmla="*/ 2222 h 10000"/>
                <a:gd name="connsiteX1030" fmla="*/ 6654 w 10354"/>
                <a:gd name="connsiteY1030" fmla="*/ 2214 h 10000"/>
                <a:gd name="connsiteX1031" fmla="*/ 6654 w 10354"/>
                <a:gd name="connsiteY1031" fmla="*/ 2188 h 10000"/>
                <a:gd name="connsiteX1032" fmla="*/ 6622 w 10354"/>
                <a:gd name="connsiteY1032" fmla="*/ 2162 h 10000"/>
                <a:gd name="connsiteX1033" fmla="*/ 6631 w 10354"/>
                <a:gd name="connsiteY1033" fmla="*/ 2145 h 10000"/>
                <a:gd name="connsiteX1034" fmla="*/ 6622 w 10354"/>
                <a:gd name="connsiteY1034" fmla="*/ 2120 h 10000"/>
                <a:gd name="connsiteX1035" fmla="*/ 6608 w 10354"/>
                <a:gd name="connsiteY1035" fmla="*/ 2120 h 10000"/>
                <a:gd name="connsiteX1036" fmla="*/ 6604 w 10354"/>
                <a:gd name="connsiteY1036" fmla="*/ 2111 h 10000"/>
                <a:gd name="connsiteX1037" fmla="*/ 6608 w 10354"/>
                <a:gd name="connsiteY1037" fmla="*/ 2111 h 10000"/>
                <a:gd name="connsiteX1038" fmla="*/ 6604 w 10354"/>
                <a:gd name="connsiteY1038" fmla="*/ 2085 h 10000"/>
                <a:gd name="connsiteX1039" fmla="*/ 6581 w 10354"/>
                <a:gd name="connsiteY1039" fmla="*/ 2077 h 10000"/>
                <a:gd name="connsiteX1040" fmla="*/ 6571 w 10354"/>
                <a:gd name="connsiteY1040" fmla="*/ 2085 h 10000"/>
                <a:gd name="connsiteX1041" fmla="*/ 6548 w 10354"/>
                <a:gd name="connsiteY1041" fmla="*/ 2077 h 10000"/>
                <a:gd name="connsiteX1042" fmla="*/ 6530 w 10354"/>
                <a:gd name="connsiteY1042" fmla="*/ 2060 h 10000"/>
                <a:gd name="connsiteX1043" fmla="*/ 6521 w 10354"/>
                <a:gd name="connsiteY1043" fmla="*/ 2060 h 10000"/>
                <a:gd name="connsiteX1044" fmla="*/ 6521 w 10354"/>
                <a:gd name="connsiteY1044" fmla="*/ 2085 h 10000"/>
                <a:gd name="connsiteX1045" fmla="*/ 6516 w 10354"/>
                <a:gd name="connsiteY1045" fmla="*/ 2085 h 10000"/>
                <a:gd name="connsiteX1046" fmla="*/ 6502 w 10354"/>
                <a:gd name="connsiteY1046" fmla="*/ 2111 h 10000"/>
                <a:gd name="connsiteX1047" fmla="*/ 6498 w 10354"/>
                <a:gd name="connsiteY1047" fmla="*/ 2111 h 10000"/>
                <a:gd name="connsiteX1048" fmla="*/ 6498 w 10354"/>
                <a:gd name="connsiteY1048" fmla="*/ 2103 h 10000"/>
                <a:gd name="connsiteX1049" fmla="*/ 6475 w 10354"/>
                <a:gd name="connsiteY1049" fmla="*/ 2051 h 10000"/>
                <a:gd name="connsiteX1050" fmla="*/ 6470 w 10354"/>
                <a:gd name="connsiteY1050" fmla="*/ 2060 h 10000"/>
                <a:gd name="connsiteX1051" fmla="*/ 6456 w 10354"/>
                <a:gd name="connsiteY1051" fmla="*/ 2051 h 10000"/>
                <a:gd name="connsiteX1052" fmla="*/ 6447 w 10354"/>
                <a:gd name="connsiteY1052" fmla="*/ 2051 h 10000"/>
                <a:gd name="connsiteX1053" fmla="*/ 6433 w 10354"/>
                <a:gd name="connsiteY1053" fmla="*/ 2026 h 10000"/>
                <a:gd name="connsiteX1054" fmla="*/ 6433 w 10354"/>
                <a:gd name="connsiteY1054" fmla="*/ 2034 h 10000"/>
                <a:gd name="connsiteX1055" fmla="*/ 6429 w 10354"/>
                <a:gd name="connsiteY1055" fmla="*/ 2026 h 10000"/>
                <a:gd name="connsiteX1056" fmla="*/ 6424 w 10354"/>
                <a:gd name="connsiteY1056" fmla="*/ 2034 h 10000"/>
                <a:gd name="connsiteX1057" fmla="*/ 6410 w 10354"/>
                <a:gd name="connsiteY1057" fmla="*/ 2026 h 10000"/>
                <a:gd name="connsiteX1058" fmla="*/ 6410 w 10354"/>
                <a:gd name="connsiteY1058" fmla="*/ 1991 h 10000"/>
                <a:gd name="connsiteX1059" fmla="*/ 6401 w 10354"/>
                <a:gd name="connsiteY1059" fmla="*/ 1991 h 10000"/>
                <a:gd name="connsiteX1060" fmla="*/ 6396 w 10354"/>
                <a:gd name="connsiteY1060" fmla="*/ 2000 h 10000"/>
                <a:gd name="connsiteX1061" fmla="*/ 6382 w 10354"/>
                <a:gd name="connsiteY1061" fmla="*/ 1966 h 10000"/>
                <a:gd name="connsiteX1062" fmla="*/ 6373 w 10354"/>
                <a:gd name="connsiteY1062" fmla="*/ 1974 h 10000"/>
                <a:gd name="connsiteX1063" fmla="*/ 6369 w 10354"/>
                <a:gd name="connsiteY1063" fmla="*/ 1966 h 10000"/>
                <a:gd name="connsiteX1064" fmla="*/ 6341 w 10354"/>
                <a:gd name="connsiteY1064" fmla="*/ 1949 h 10000"/>
                <a:gd name="connsiteX1065" fmla="*/ 6327 w 10354"/>
                <a:gd name="connsiteY1065" fmla="*/ 1923 h 10000"/>
                <a:gd name="connsiteX1066" fmla="*/ 6323 w 10354"/>
                <a:gd name="connsiteY1066" fmla="*/ 1923 h 10000"/>
                <a:gd name="connsiteX1067" fmla="*/ 6323 w 10354"/>
                <a:gd name="connsiteY1067" fmla="*/ 1966 h 10000"/>
                <a:gd name="connsiteX1068" fmla="*/ 6323 w 10354"/>
                <a:gd name="connsiteY1068" fmla="*/ 1991 h 10000"/>
                <a:gd name="connsiteX1069" fmla="*/ 6313 w 10354"/>
                <a:gd name="connsiteY1069" fmla="*/ 1991 h 10000"/>
                <a:gd name="connsiteX1070" fmla="*/ 6300 w 10354"/>
                <a:gd name="connsiteY1070" fmla="*/ 1991 h 10000"/>
                <a:gd name="connsiteX1071" fmla="*/ 6290 w 10354"/>
                <a:gd name="connsiteY1071" fmla="*/ 1949 h 10000"/>
                <a:gd name="connsiteX1072" fmla="*/ 6276 w 10354"/>
                <a:gd name="connsiteY1072" fmla="*/ 2103 h 10000"/>
                <a:gd name="connsiteX1073" fmla="*/ 6281 w 10354"/>
                <a:gd name="connsiteY1073" fmla="*/ 2103 h 10000"/>
                <a:gd name="connsiteX1074" fmla="*/ 6276 w 10354"/>
                <a:gd name="connsiteY1074" fmla="*/ 2111 h 10000"/>
                <a:gd name="connsiteX1075" fmla="*/ 6276 w 10354"/>
                <a:gd name="connsiteY1075" fmla="*/ 2120 h 10000"/>
                <a:gd name="connsiteX1076" fmla="*/ 6295 w 10354"/>
                <a:gd name="connsiteY1076" fmla="*/ 2239 h 10000"/>
                <a:gd name="connsiteX1077" fmla="*/ 6290 w 10354"/>
                <a:gd name="connsiteY1077" fmla="*/ 2248 h 10000"/>
                <a:gd name="connsiteX1078" fmla="*/ 6281 w 10354"/>
                <a:gd name="connsiteY1078" fmla="*/ 2274 h 10000"/>
                <a:gd name="connsiteX1079" fmla="*/ 6249 w 10354"/>
                <a:gd name="connsiteY1079" fmla="*/ 2274 h 10000"/>
                <a:gd name="connsiteX1080" fmla="*/ 6226 w 10354"/>
                <a:gd name="connsiteY1080" fmla="*/ 2308 h 10000"/>
                <a:gd name="connsiteX1081" fmla="*/ 6221 w 10354"/>
                <a:gd name="connsiteY1081" fmla="*/ 2299 h 10000"/>
                <a:gd name="connsiteX1082" fmla="*/ 6221 w 10354"/>
                <a:gd name="connsiteY1082" fmla="*/ 2308 h 10000"/>
                <a:gd name="connsiteX1083" fmla="*/ 6217 w 10354"/>
                <a:gd name="connsiteY1083" fmla="*/ 2299 h 10000"/>
                <a:gd name="connsiteX1084" fmla="*/ 6194 w 10354"/>
                <a:gd name="connsiteY1084" fmla="*/ 2308 h 10000"/>
                <a:gd name="connsiteX1085" fmla="*/ 6180 w 10354"/>
                <a:gd name="connsiteY1085" fmla="*/ 2299 h 10000"/>
                <a:gd name="connsiteX1086" fmla="*/ 6143 w 10354"/>
                <a:gd name="connsiteY1086" fmla="*/ 2308 h 10000"/>
                <a:gd name="connsiteX1087" fmla="*/ 6134 w 10354"/>
                <a:gd name="connsiteY1087" fmla="*/ 2325 h 10000"/>
                <a:gd name="connsiteX1088" fmla="*/ 6115 w 10354"/>
                <a:gd name="connsiteY1088" fmla="*/ 2282 h 10000"/>
                <a:gd name="connsiteX1089" fmla="*/ 6069 w 10354"/>
                <a:gd name="connsiteY1089" fmla="*/ 2274 h 10000"/>
                <a:gd name="connsiteX1090" fmla="*/ 6069 w 10354"/>
                <a:gd name="connsiteY1090" fmla="*/ 2282 h 10000"/>
                <a:gd name="connsiteX1091" fmla="*/ 6060 w 10354"/>
                <a:gd name="connsiteY1091" fmla="*/ 2299 h 10000"/>
                <a:gd name="connsiteX1092" fmla="*/ 5972 w 10354"/>
                <a:gd name="connsiteY1092" fmla="*/ 2214 h 10000"/>
                <a:gd name="connsiteX1093" fmla="*/ 5968 w 10354"/>
                <a:gd name="connsiteY1093" fmla="*/ 2197 h 10000"/>
                <a:gd name="connsiteX1094" fmla="*/ 5968 w 10354"/>
                <a:gd name="connsiteY1094" fmla="*/ 2171 h 10000"/>
                <a:gd name="connsiteX1095" fmla="*/ 5968 w 10354"/>
                <a:gd name="connsiteY1095" fmla="*/ 2162 h 10000"/>
                <a:gd name="connsiteX1096" fmla="*/ 5968 w 10354"/>
                <a:gd name="connsiteY1096" fmla="*/ 2120 h 10000"/>
                <a:gd name="connsiteX1097" fmla="*/ 5968 w 10354"/>
                <a:gd name="connsiteY1097" fmla="*/ 2111 h 10000"/>
                <a:gd name="connsiteX1098" fmla="*/ 5972 w 10354"/>
                <a:gd name="connsiteY1098" fmla="*/ 2103 h 10000"/>
                <a:gd name="connsiteX1099" fmla="*/ 5986 w 10354"/>
                <a:gd name="connsiteY1099" fmla="*/ 2103 h 10000"/>
                <a:gd name="connsiteX1100" fmla="*/ 5986 w 10354"/>
                <a:gd name="connsiteY1100" fmla="*/ 2085 h 10000"/>
                <a:gd name="connsiteX1101" fmla="*/ 5995 w 10354"/>
                <a:gd name="connsiteY1101" fmla="*/ 2085 h 10000"/>
                <a:gd name="connsiteX1102" fmla="*/ 5995 w 10354"/>
                <a:gd name="connsiteY1102" fmla="*/ 2077 h 10000"/>
                <a:gd name="connsiteX1103" fmla="*/ 5986 w 10354"/>
                <a:gd name="connsiteY1103" fmla="*/ 2060 h 10000"/>
                <a:gd name="connsiteX1104" fmla="*/ 5954 w 10354"/>
                <a:gd name="connsiteY1104" fmla="*/ 2060 h 10000"/>
                <a:gd name="connsiteX1105" fmla="*/ 5940 w 10354"/>
                <a:gd name="connsiteY1105" fmla="*/ 2051 h 10000"/>
                <a:gd name="connsiteX1106" fmla="*/ 5922 w 10354"/>
                <a:gd name="connsiteY1106" fmla="*/ 2060 h 10000"/>
                <a:gd name="connsiteX1107" fmla="*/ 5885 w 10354"/>
                <a:gd name="connsiteY1107" fmla="*/ 2051 h 10000"/>
                <a:gd name="connsiteX1108" fmla="*/ 5876 w 10354"/>
                <a:gd name="connsiteY1108" fmla="*/ 2026 h 10000"/>
                <a:gd name="connsiteX1109" fmla="*/ 5862 w 10354"/>
                <a:gd name="connsiteY1109" fmla="*/ 2026 h 10000"/>
                <a:gd name="connsiteX1110" fmla="*/ 5848 w 10354"/>
                <a:gd name="connsiteY1110" fmla="*/ 2026 h 10000"/>
                <a:gd name="connsiteX1111" fmla="*/ 5825 w 10354"/>
                <a:gd name="connsiteY1111" fmla="*/ 2026 h 10000"/>
                <a:gd name="connsiteX1112" fmla="*/ 5788 w 10354"/>
                <a:gd name="connsiteY1112" fmla="*/ 1991 h 10000"/>
                <a:gd name="connsiteX1113" fmla="*/ 5760 w 10354"/>
                <a:gd name="connsiteY1113" fmla="*/ 2000 h 10000"/>
                <a:gd name="connsiteX1114" fmla="*/ 5760 w 10354"/>
                <a:gd name="connsiteY1114" fmla="*/ 2026 h 10000"/>
                <a:gd name="connsiteX1115" fmla="*/ 5714 w 10354"/>
                <a:gd name="connsiteY1115" fmla="*/ 2051 h 10000"/>
                <a:gd name="connsiteX1116" fmla="*/ 5687 w 10354"/>
                <a:gd name="connsiteY1116" fmla="*/ 2034 h 10000"/>
                <a:gd name="connsiteX1117" fmla="*/ 5645 w 10354"/>
                <a:gd name="connsiteY1117" fmla="*/ 2077 h 10000"/>
                <a:gd name="connsiteX1118" fmla="*/ 5664 w 10354"/>
                <a:gd name="connsiteY1118" fmla="*/ 2120 h 10000"/>
                <a:gd name="connsiteX1119" fmla="*/ 5664 w 10354"/>
                <a:gd name="connsiteY1119" fmla="*/ 2162 h 10000"/>
                <a:gd name="connsiteX1120" fmla="*/ 5631 w 10354"/>
                <a:gd name="connsiteY1120" fmla="*/ 2197 h 10000"/>
                <a:gd name="connsiteX1121" fmla="*/ 5618 w 10354"/>
                <a:gd name="connsiteY1121" fmla="*/ 2188 h 10000"/>
                <a:gd name="connsiteX1122" fmla="*/ 5618 w 10354"/>
                <a:gd name="connsiteY1122" fmla="*/ 2171 h 10000"/>
                <a:gd name="connsiteX1123" fmla="*/ 5641 w 10354"/>
                <a:gd name="connsiteY1123" fmla="*/ 2171 h 10000"/>
                <a:gd name="connsiteX1124" fmla="*/ 5641 w 10354"/>
                <a:gd name="connsiteY1124" fmla="*/ 2162 h 10000"/>
                <a:gd name="connsiteX1125" fmla="*/ 5627 w 10354"/>
                <a:gd name="connsiteY1125" fmla="*/ 2145 h 10000"/>
                <a:gd name="connsiteX1126" fmla="*/ 5627 w 10354"/>
                <a:gd name="connsiteY1126" fmla="*/ 2120 h 10000"/>
                <a:gd name="connsiteX1127" fmla="*/ 5618 w 10354"/>
                <a:gd name="connsiteY1127" fmla="*/ 2111 h 10000"/>
                <a:gd name="connsiteX1128" fmla="*/ 5631 w 10354"/>
                <a:gd name="connsiteY1128" fmla="*/ 2051 h 10000"/>
                <a:gd name="connsiteX1129" fmla="*/ 5631 w 10354"/>
                <a:gd name="connsiteY1129" fmla="*/ 2026 h 10000"/>
                <a:gd name="connsiteX1130" fmla="*/ 5627 w 10354"/>
                <a:gd name="connsiteY1130" fmla="*/ 1991 h 10000"/>
                <a:gd name="connsiteX1131" fmla="*/ 5618 w 10354"/>
                <a:gd name="connsiteY1131" fmla="*/ 1974 h 10000"/>
                <a:gd name="connsiteX1132" fmla="*/ 5618 w 10354"/>
                <a:gd name="connsiteY1132" fmla="*/ 1940 h 10000"/>
                <a:gd name="connsiteX1133" fmla="*/ 5594 w 10354"/>
                <a:gd name="connsiteY1133" fmla="*/ 1855 h 10000"/>
                <a:gd name="connsiteX1134" fmla="*/ 5599 w 10354"/>
                <a:gd name="connsiteY1134" fmla="*/ 1915 h 10000"/>
                <a:gd name="connsiteX1135" fmla="*/ 5599 w 10354"/>
                <a:gd name="connsiteY1135" fmla="*/ 1949 h 10000"/>
                <a:gd name="connsiteX1136" fmla="*/ 5594 w 10354"/>
                <a:gd name="connsiteY1136" fmla="*/ 1991 h 10000"/>
                <a:gd name="connsiteX1137" fmla="*/ 5571 w 10354"/>
                <a:gd name="connsiteY1137" fmla="*/ 2000 h 10000"/>
                <a:gd name="connsiteX1138" fmla="*/ 5530 w 10354"/>
                <a:gd name="connsiteY1138" fmla="*/ 1991 h 10000"/>
                <a:gd name="connsiteX1139" fmla="*/ 5525 w 10354"/>
                <a:gd name="connsiteY1139" fmla="*/ 2000 h 10000"/>
                <a:gd name="connsiteX1140" fmla="*/ 5521 w 10354"/>
                <a:gd name="connsiteY1140" fmla="*/ 1991 h 10000"/>
                <a:gd name="connsiteX1141" fmla="*/ 5498 w 10354"/>
                <a:gd name="connsiteY1141" fmla="*/ 1949 h 10000"/>
                <a:gd name="connsiteX1142" fmla="*/ 5493 w 10354"/>
                <a:gd name="connsiteY1142" fmla="*/ 1889 h 10000"/>
                <a:gd name="connsiteX1143" fmla="*/ 5493 w 10354"/>
                <a:gd name="connsiteY1143" fmla="*/ 1863 h 10000"/>
                <a:gd name="connsiteX1144" fmla="*/ 5498 w 10354"/>
                <a:gd name="connsiteY1144" fmla="*/ 1889 h 10000"/>
                <a:gd name="connsiteX1145" fmla="*/ 5512 w 10354"/>
                <a:gd name="connsiteY1145" fmla="*/ 1855 h 10000"/>
                <a:gd name="connsiteX1146" fmla="*/ 5512 w 10354"/>
                <a:gd name="connsiteY1146" fmla="*/ 1838 h 10000"/>
                <a:gd name="connsiteX1147" fmla="*/ 5479 w 10354"/>
                <a:gd name="connsiteY1147" fmla="*/ 1855 h 10000"/>
                <a:gd name="connsiteX1148" fmla="*/ 5470 w 10354"/>
                <a:gd name="connsiteY1148" fmla="*/ 1872 h 10000"/>
                <a:gd name="connsiteX1149" fmla="*/ 5470 w 10354"/>
                <a:gd name="connsiteY1149" fmla="*/ 1889 h 10000"/>
                <a:gd name="connsiteX1150" fmla="*/ 5465 w 10354"/>
                <a:gd name="connsiteY1150" fmla="*/ 1897 h 10000"/>
                <a:gd name="connsiteX1151" fmla="*/ 5456 w 10354"/>
                <a:gd name="connsiteY1151" fmla="*/ 1872 h 10000"/>
                <a:gd name="connsiteX1152" fmla="*/ 5447 w 10354"/>
                <a:gd name="connsiteY1152" fmla="*/ 1872 h 10000"/>
                <a:gd name="connsiteX1153" fmla="*/ 5433 w 10354"/>
                <a:gd name="connsiteY1153" fmla="*/ 1855 h 10000"/>
                <a:gd name="connsiteX1154" fmla="*/ 5396 w 10354"/>
                <a:gd name="connsiteY1154" fmla="*/ 1863 h 10000"/>
                <a:gd name="connsiteX1155" fmla="*/ 5396 w 10354"/>
                <a:gd name="connsiteY1155" fmla="*/ 1897 h 10000"/>
                <a:gd name="connsiteX1156" fmla="*/ 5378 w 10354"/>
                <a:gd name="connsiteY1156" fmla="*/ 1949 h 10000"/>
                <a:gd name="connsiteX1157" fmla="*/ 5378 w 10354"/>
                <a:gd name="connsiteY1157" fmla="*/ 1966 h 10000"/>
                <a:gd name="connsiteX1158" fmla="*/ 5392 w 10354"/>
                <a:gd name="connsiteY1158" fmla="*/ 2026 h 10000"/>
                <a:gd name="connsiteX1159" fmla="*/ 5396 w 10354"/>
                <a:gd name="connsiteY1159" fmla="*/ 2026 h 10000"/>
                <a:gd name="connsiteX1160" fmla="*/ 5392 w 10354"/>
                <a:gd name="connsiteY1160" fmla="*/ 2009 h 10000"/>
                <a:gd name="connsiteX1161" fmla="*/ 5392 w 10354"/>
                <a:gd name="connsiteY1161" fmla="*/ 2000 h 10000"/>
                <a:gd name="connsiteX1162" fmla="*/ 5396 w 10354"/>
                <a:gd name="connsiteY1162" fmla="*/ 2009 h 10000"/>
                <a:gd name="connsiteX1163" fmla="*/ 5424 w 10354"/>
                <a:gd name="connsiteY1163" fmla="*/ 2009 h 10000"/>
                <a:gd name="connsiteX1164" fmla="*/ 5433 w 10354"/>
                <a:gd name="connsiteY1164" fmla="*/ 1991 h 10000"/>
                <a:gd name="connsiteX1165" fmla="*/ 5447 w 10354"/>
                <a:gd name="connsiteY1165" fmla="*/ 1974 h 10000"/>
                <a:gd name="connsiteX1166" fmla="*/ 5452 w 10354"/>
                <a:gd name="connsiteY1166" fmla="*/ 1966 h 10000"/>
                <a:gd name="connsiteX1167" fmla="*/ 5456 w 10354"/>
                <a:gd name="connsiteY1167" fmla="*/ 1966 h 10000"/>
                <a:gd name="connsiteX1168" fmla="*/ 5465 w 10354"/>
                <a:gd name="connsiteY1168" fmla="*/ 2009 h 10000"/>
                <a:gd name="connsiteX1169" fmla="*/ 5433 w 10354"/>
                <a:gd name="connsiteY1169" fmla="*/ 2034 h 10000"/>
                <a:gd name="connsiteX1170" fmla="*/ 5424 w 10354"/>
                <a:gd name="connsiteY1170" fmla="*/ 2060 h 10000"/>
                <a:gd name="connsiteX1171" fmla="*/ 5419 w 10354"/>
                <a:gd name="connsiteY1171" fmla="*/ 2060 h 10000"/>
                <a:gd name="connsiteX1172" fmla="*/ 5392 w 10354"/>
                <a:gd name="connsiteY1172" fmla="*/ 2111 h 10000"/>
                <a:gd name="connsiteX1173" fmla="*/ 5378 w 10354"/>
                <a:gd name="connsiteY1173" fmla="*/ 2111 h 10000"/>
                <a:gd name="connsiteX1174" fmla="*/ 5350 w 10354"/>
                <a:gd name="connsiteY1174" fmla="*/ 2060 h 10000"/>
                <a:gd name="connsiteX1175" fmla="*/ 5373 w 10354"/>
                <a:gd name="connsiteY1175" fmla="*/ 2111 h 10000"/>
                <a:gd name="connsiteX1176" fmla="*/ 5364 w 10354"/>
                <a:gd name="connsiteY1176" fmla="*/ 2111 h 10000"/>
                <a:gd name="connsiteX1177" fmla="*/ 5359 w 10354"/>
                <a:gd name="connsiteY1177" fmla="*/ 2103 h 10000"/>
                <a:gd name="connsiteX1178" fmla="*/ 5359 w 10354"/>
                <a:gd name="connsiteY1178" fmla="*/ 2120 h 10000"/>
                <a:gd name="connsiteX1179" fmla="*/ 5359 w 10354"/>
                <a:gd name="connsiteY1179" fmla="*/ 2137 h 10000"/>
                <a:gd name="connsiteX1180" fmla="*/ 5313 w 10354"/>
                <a:gd name="connsiteY1180" fmla="*/ 2162 h 10000"/>
                <a:gd name="connsiteX1181" fmla="*/ 5300 w 10354"/>
                <a:gd name="connsiteY1181" fmla="*/ 2162 h 10000"/>
                <a:gd name="connsiteX1182" fmla="*/ 5300 w 10354"/>
                <a:gd name="connsiteY1182" fmla="*/ 2171 h 10000"/>
                <a:gd name="connsiteX1183" fmla="*/ 5300 w 10354"/>
                <a:gd name="connsiteY1183" fmla="*/ 2197 h 10000"/>
                <a:gd name="connsiteX1184" fmla="*/ 5276 w 10354"/>
                <a:gd name="connsiteY1184" fmla="*/ 2188 h 10000"/>
                <a:gd name="connsiteX1185" fmla="*/ 5249 w 10354"/>
                <a:gd name="connsiteY1185" fmla="*/ 2222 h 10000"/>
                <a:gd name="connsiteX1186" fmla="*/ 5249 w 10354"/>
                <a:gd name="connsiteY1186" fmla="*/ 2222 h 10000"/>
                <a:gd name="connsiteX1187" fmla="*/ 5217 w 10354"/>
                <a:gd name="connsiteY1187" fmla="*/ 2214 h 10000"/>
                <a:gd name="connsiteX1188" fmla="*/ 5203 w 10354"/>
                <a:gd name="connsiteY1188" fmla="*/ 2239 h 10000"/>
                <a:gd name="connsiteX1189" fmla="*/ 5171 w 10354"/>
                <a:gd name="connsiteY1189" fmla="*/ 2214 h 10000"/>
                <a:gd name="connsiteX1190" fmla="*/ 5157 w 10354"/>
                <a:gd name="connsiteY1190" fmla="*/ 2239 h 10000"/>
                <a:gd name="connsiteX1191" fmla="*/ 5166 w 10354"/>
                <a:gd name="connsiteY1191" fmla="*/ 2256 h 10000"/>
                <a:gd name="connsiteX1192" fmla="*/ 5171 w 10354"/>
                <a:gd name="connsiteY1192" fmla="*/ 2308 h 10000"/>
                <a:gd name="connsiteX1193" fmla="*/ 5212 w 10354"/>
                <a:gd name="connsiteY1193" fmla="*/ 2350 h 10000"/>
                <a:gd name="connsiteX1194" fmla="*/ 5203 w 10354"/>
                <a:gd name="connsiteY1194" fmla="*/ 2350 h 10000"/>
                <a:gd name="connsiteX1195" fmla="*/ 5166 w 10354"/>
                <a:gd name="connsiteY1195" fmla="*/ 2325 h 10000"/>
                <a:gd name="connsiteX1196" fmla="*/ 5152 w 10354"/>
                <a:gd name="connsiteY1196" fmla="*/ 2308 h 10000"/>
                <a:gd name="connsiteX1197" fmla="*/ 5143 w 10354"/>
                <a:gd name="connsiteY1197" fmla="*/ 2333 h 10000"/>
                <a:gd name="connsiteX1198" fmla="*/ 5138 w 10354"/>
                <a:gd name="connsiteY1198" fmla="*/ 2333 h 10000"/>
                <a:gd name="connsiteX1199" fmla="*/ 5124 w 10354"/>
                <a:gd name="connsiteY1199" fmla="*/ 2376 h 10000"/>
                <a:gd name="connsiteX1200" fmla="*/ 5115 w 10354"/>
                <a:gd name="connsiteY1200" fmla="*/ 2385 h 10000"/>
                <a:gd name="connsiteX1201" fmla="*/ 5106 w 10354"/>
                <a:gd name="connsiteY1201" fmla="*/ 2385 h 10000"/>
                <a:gd name="connsiteX1202" fmla="*/ 5055 w 10354"/>
                <a:gd name="connsiteY1202" fmla="*/ 2470 h 10000"/>
                <a:gd name="connsiteX1203" fmla="*/ 5065 w 10354"/>
                <a:gd name="connsiteY1203" fmla="*/ 2462 h 10000"/>
                <a:gd name="connsiteX1204" fmla="*/ 5055 w 10354"/>
                <a:gd name="connsiteY1204" fmla="*/ 2444 h 10000"/>
                <a:gd name="connsiteX1205" fmla="*/ 5041 w 10354"/>
                <a:gd name="connsiteY1205" fmla="*/ 2462 h 10000"/>
                <a:gd name="connsiteX1206" fmla="*/ 5037 w 10354"/>
                <a:gd name="connsiteY1206" fmla="*/ 2470 h 10000"/>
                <a:gd name="connsiteX1207" fmla="*/ 5032 w 10354"/>
                <a:gd name="connsiteY1207" fmla="*/ 2470 h 10000"/>
                <a:gd name="connsiteX1208" fmla="*/ 5032 w 10354"/>
                <a:gd name="connsiteY1208" fmla="*/ 2444 h 10000"/>
                <a:gd name="connsiteX1209" fmla="*/ 5055 w 10354"/>
                <a:gd name="connsiteY1209" fmla="*/ 2410 h 10000"/>
                <a:gd name="connsiteX1210" fmla="*/ 5065 w 10354"/>
                <a:gd name="connsiteY1210" fmla="*/ 2393 h 10000"/>
                <a:gd name="connsiteX1211" fmla="*/ 5069 w 10354"/>
                <a:gd name="connsiteY1211" fmla="*/ 2385 h 10000"/>
                <a:gd name="connsiteX1212" fmla="*/ 5083 w 10354"/>
                <a:gd name="connsiteY1212" fmla="*/ 2376 h 10000"/>
                <a:gd name="connsiteX1213" fmla="*/ 5097 w 10354"/>
                <a:gd name="connsiteY1213" fmla="*/ 2376 h 10000"/>
                <a:gd name="connsiteX1214" fmla="*/ 5124 w 10354"/>
                <a:gd name="connsiteY1214" fmla="*/ 2325 h 10000"/>
                <a:gd name="connsiteX1215" fmla="*/ 5143 w 10354"/>
                <a:gd name="connsiteY1215" fmla="*/ 2248 h 10000"/>
                <a:gd name="connsiteX1216" fmla="*/ 5152 w 10354"/>
                <a:gd name="connsiteY1216" fmla="*/ 2239 h 10000"/>
                <a:gd name="connsiteX1217" fmla="*/ 5166 w 10354"/>
                <a:gd name="connsiteY1217" fmla="*/ 2162 h 10000"/>
                <a:gd name="connsiteX1218" fmla="*/ 5171 w 10354"/>
                <a:gd name="connsiteY1218" fmla="*/ 2171 h 10000"/>
                <a:gd name="connsiteX1219" fmla="*/ 5198 w 10354"/>
                <a:gd name="connsiteY1219" fmla="*/ 2145 h 10000"/>
                <a:gd name="connsiteX1220" fmla="*/ 5203 w 10354"/>
                <a:gd name="connsiteY1220" fmla="*/ 2111 h 10000"/>
                <a:gd name="connsiteX1221" fmla="*/ 5217 w 10354"/>
                <a:gd name="connsiteY1221" fmla="*/ 2060 h 10000"/>
                <a:gd name="connsiteX1222" fmla="*/ 5226 w 10354"/>
                <a:gd name="connsiteY1222" fmla="*/ 2026 h 10000"/>
                <a:gd name="connsiteX1223" fmla="*/ 5286 w 10354"/>
                <a:gd name="connsiteY1223" fmla="*/ 2026 h 10000"/>
                <a:gd name="connsiteX1224" fmla="*/ 5290 w 10354"/>
                <a:gd name="connsiteY1224" fmla="*/ 2034 h 10000"/>
                <a:gd name="connsiteX1225" fmla="*/ 5323 w 10354"/>
                <a:gd name="connsiteY1225" fmla="*/ 1923 h 10000"/>
                <a:gd name="connsiteX1226" fmla="*/ 5323 w 10354"/>
                <a:gd name="connsiteY1226" fmla="*/ 1889 h 10000"/>
                <a:gd name="connsiteX1227" fmla="*/ 5359 w 10354"/>
                <a:gd name="connsiteY1227" fmla="*/ 1829 h 10000"/>
                <a:gd name="connsiteX1228" fmla="*/ 5378 w 10354"/>
                <a:gd name="connsiteY1228" fmla="*/ 1812 h 10000"/>
                <a:gd name="connsiteX1229" fmla="*/ 5406 w 10354"/>
                <a:gd name="connsiteY1229" fmla="*/ 1752 h 10000"/>
                <a:gd name="connsiteX1230" fmla="*/ 5410 w 10354"/>
                <a:gd name="connsiteY1230" fmla="*/ 1718 h 10000"/>
                <a:gd name="connsiteX1231" fmla="*/ 5438 w 10354"/>
                <a:gd name="connsiteY1231" fmla="*/ 1667 h 10000"/>
                <a:gd name="connsiteX1232" fmla="*/ 5438 w 10354"/>
                <a:gd name="connsiteY1232" fmla="*/ 1650 h 10000"/>
                <a:gd name="connsiteX1233" fmla="*/ 5438 w 10354"/>
                <a:gd name="connsiteY1233" fmla="*/ 1641 h 10000"/>
                <a:gd name="connsiteX1234" fmla="*/ 5452 w 10354"/>
                <a:gd name="connsiteY1234" fmla="*/ 1641 h 10000"/>
                <a:gd name="connsiteX1235" fmla="*/ 5456 w 10354"/>
                <a:gd name="connsiteY1235" fmla="*/ 1615 h 10000"/>
                <a:gd name="connsiteX1236" fmla="*/ 5456 w 10354"/>
                <a:gd name="connsiteY1236" fmla="*/ 1615 h 10000"/>
                <a:gd name="connsiteX1237" fmla="*/ 5465 w 10354"/>
                <a:gd name="connsiteY1237" fmla="*/ 1598 h 10000"/>
                <a:gd name="connsiteX1238" fmla="*/ 5465 w 10354"/>
                <a:gd name="connsiteY1238" fmla="*/ 1615 h 10000"/>
                <a:gd name="connsiteX1239" fmla="*/ 5479 w 10354"/>
                <a:gd name="connsiteY1239" fmla="*/ 1598 h 10000"/>
                <a:gd name="connsiteX1240" fmla="*/ 5484 w 10354"/>
                <a:gd name="connsiteY1240" fmla="*/ 1581 h 10000"/>
                <a:gd name="connsiteX1241" fmla="*/ 5493 w 10354"/>
                <a:gd name="connsiteY1241" fmla="*/ 1581 h 10000"/>
                <a:gd name="connsiteX1242" fmla="*/ 5512 w 10354"/>
                <a:gd name="connsiteY1242" fmla="*/ 1538 h 10000"/>
                <a:gd name="connsiteX1243" fmla="*/ 5530 w 10354"/>
                <a:gd name="connsiteY1243" fmla="*/ 1564 h 10000"/>
                <a:gd name="connsiteX1244" fmla="*/ 5530 w 10354"/>
                <a:gd name="connsiteY1244" fmla="*/ 1538 h 10000"/>
                <a:gd name="connsiteX1245" fmla="*/ 5539 w 10354"/>
                <a:gd name="connsiteY1245" fmla="*/ 1530 h 10000"/>
                <a:gd name="connsiteX1246" fmla="*/ 5530 w 10354"/>
                <a:gd name="connsiteY1246" fmla="*/ 1504 h 10000"/>
                <a:gd name="connsiteX1247" fmla="*/ 5567 w 10354"/>
                <a:gd name="connsiteY1247" fmla="*/ 1479 h 10000"/>
                <a:gd name="connsiteX1248" fmla="*/ 5553 w 10354"/>
                <a:gd name="connsiteY1248" fmla="*/ 1479 h 10000"/>
                <a:gd name="connsiteX1249" fmla="*/ 5553 w 10354"/>
                <a:gd name="connsiteY1249" fmla="*/ 1453 h 10000"/>
                <a:gd name="connsiteX1250" fmla="*/ 5581 w 10354"/>
                <a:gd name="connsiteY1250" fmla="*/ 1444 h 10000"/>
                <a:gd name="connsiteX1251" fmla="*/ 5581 w 10354"/>
                <a:gd name="connsiteY1251" fmla="*/ 1453 h 10000"/>
                <a:gd name="connsiteX1252" fmla="*/ 5585 w 10354"/>
                <a:gd name="connsiteY1252" fmla="*/ 1444 h 10000"/>
                <a:gd name="connsiteX1253" fmla="*/ 5594 w 10354"/>
                <a:gd name="connsiteY1253" fmla="*/ 1427 h 10000"/>
                <a:gd name="connsiteX1254" fmla="*/ 5599 w 10354"/>
                <a:gd name="connsiteY1254" fmla="*/ 1419 h 10000"/>
                <a:gd name="connsiteX1255" fmla="*/ 5594 w 10354"/>
                <a:gd name="connsiteY1255" fmla="*/ 1402 h 10000"/>
                <a:gd name="connsiteX1256" fmla="*/ 5604 w 10354"/>
                <a:gd name="connsiteY1256" fmla="*/ 1393 h 10000"/>
                <a:gd name="connsiteX1257" fmla="*/ 5618 w 10354"/>
                <a:gd name="connsiteY1257" fmla="*/ 1393 h 10000"/>
                <a:gd name="connsiteX1258" fmla="*/ 5627 w 10354"/>
                <a:gd name="connsiteY1258" fmla="*/ 1368 h 10000"/>
                <a:gd name="connsiteX1259" fmla="*/ 5627 w 10354"/>
                <a:gd name="connsiteY1259" fmla="*/ 1325 h 10000"/>
                <a:gd name="connsiteX1260" fmla="*/ 5645 w 10354"/>
                <a:gd name="connsiteY1260" fmla="*/ 1291 h 10000"/>
                <a:gd name="connsiteX1261" fmla="*/ 5645 w 10354"/>
                <a:gd name="connsiteY1261" fmla="*/ 1282 h 10000"/>
                <a:gd name="connsiteX1262" fmla="*/ 5654 w 10354"/>
                <a:gd name="connsiteY1262" fmla="*/ 1265 h 10000"/>
                <a:gd name="connsiteX1263" fmla="*/ 5654 w 10354"/>
                <a:gd name="connsiteY1263" fmla="*/ 1214 h 10000"/>
                <a:gd name="connsiteX1264" fmla="*/ 5654 w 10354"/>
                <a:gd name="connsiteY1264" fmla="*/ 1214 h 10000"/>
                <a:gd name="connsiteX1265" fmla="*/ 5645 w 10354"/>
                <a:gd name="connsiteY1265" fmla="*/ 1197 h 10000"/>
                <a:gd name="connsiteX1266" fmla="*/ 5659 w 10354"/>
                <a:gd name="connsiteY1266" fmla="*/ 1197 h 10000"/>
                <a:gd name="connsiteX1267" fmla="*/ 5654 w 10354"/>
                <a:gd name="connsiteY1267" fmla="*/ 1154 h 10000"/>
                <a:gd name="connsiteX1268" fmla="*/ 5641 w 10354"/>
                <a:gd name="connsiteY1268" fmla="*/ 1154 h 10000"/>
                <a:gd name="connsiteX1269" fmla="*/ 5627 w 10354"/>
                <a:gd name="connsiteY1269" fmla="*/ 1128 h 10000"/>
                <a:gd name="connsiteX1270" fmla="*/ 5618 w 10354"/>
                <a:gd name="connsiteY1270" fmla="*/ 1094 h 10000"/>
                <a:gd name="connsiteX1271" fmla="*/ 5613 w 10354"/>
                <a:gd name="connsiteY1271" fmla="*/ 1094 h 10000"/>
                <a:gd name="connsiteX1272" fmla="*/ 5604 w 10354"/>
                <a:gd name="connsiteY1272" fmla="*/ 1120 h 10000"/>
                <a:gd name="connsiteX1273" fmla="*/ 5604 w 10354"/>
                <a:gd name="connsiteY1273" fmla="*/ 1128 h 10000"/>
                <a:gd name="connsiteX1274" fmla="*/ 5599 w 10354"/>
                <a:gd name="connsiteY1274" fmla="*/ 1103 h 10000"/>
                <a:gd name="connsiteX1275" fmla="*/ 5599 w 10354"/>
                <a:gd name="connsiteY1275" fmla="*/ 1103 h 10000"/>
                <a:gd name="connsiteX1276" fmla="*/ 5594 w 10354"/>
                <a:gd name="connsiteY1276" fmla="*/ 1068 h 10000"/>
                <a:gd name="connsiteX1277" fmla="*/ 5594 w 10354"/>
                <a:gd name="connsiteY1277" fmla="*/ 1060 h 10000"/>
                <a:gd name="connsiteX1278" fmla="*/ 5581 w 10354"/>
                <a:gd name="connsiteY1278" fmla="*/ 1034 h 10000"/>
                <a:gd name="connsiteX1279" fmla="*/ 5571 w 10354"/>
                <a:gd name="connsiteY1279" fmla="*/ 1009 h 10000"/>
                <a:gd name="connsiteX1280" fmla="*/ 5571 w 10354"/>
                <a:gd name="connsiteY1280" fmla="*/ 991 h 10000"/>
                <a:gd name="connsiteX1281" fmla="*/ 5585 w 10354"/>
                <a:gd name="connsiteY1281" fmla="*/ 1009 h 10000"/>
                <a:gd name="connsiteX1282" fmla="*/ 5604 w 10354"/>
                <a:gd name="connsiteY1282" fmla="*/ 1043 h 10000"/>
                <a:gd name="connsiteX1283" fmla="*/ 5641 w 10354"/>
                <a:gd name="connsiteY1283" fmla="*/ 1094 h 10000"/>
                <a:gd name="connsiteX1284" fmla="*/ 5631 w 10354"/>
                <a:gd name="connsiteY1284" fmla="*/ 1128 h 10000"/>
                <a:gd name="connsiteX1285" fmla="*/ 5641 w 10354"/>
                <a:gd name="connsiteY1285" fmla="*/ 1128 h 10000"/>
                <a:gd name="connsiteX1286" fmla="*/ 5659 w 10354"/>
                <a:gd name="connsiteY1286" fmla="*/ 1017 h 10000"/>
                <a:gd name="connsiteX1287" fmla="*/ 5659 w 10354"/>
                <a:gd name="connsiteY1287" fmla="*/ 983 h 10000"/>
                <a:gd name="connsiteX1288" fmla="*/ 5659 w 10354"/>
                <a:gd name="connsiteY1288" fmla="*/ 957 h 10000"/>
                <a:gd name="connsiteX1289" fmla="*/ 5654 w 10354"/>
                <a:gd name="connsiteY1289" fmla="*/ 966 h 10000"/>
                <a:gd name="connsiteX1290" fmla="*/ 5641 w 10354"/>
                <a:gd name="connsiteY1290" fmla="*/ 957 h 10000"/>
                <a:gd name="connsiteX1291" fmla="*/ 5631 w 10354"/>
                <a:gd name="connsiteY1291" fmla="*/ 897 h 10000"/>
                <a:gd name="connsiteX1292" fmla="*/ 5641 w 10354"/>
                <a:gd name="connsiteY1292" fmla="*/ 872 h 10000"/>
                <a:gd name="connsiteX1293" fmla="*/ 5618 w 10354"/>
                <a:gd name="connsiteY1293" fmla="*/ 803 h 10000"/>
                <a:gd name="connsiteX1294" fmla="*/ 5604 w 10354"/>
                <a:gd name="connsiteY1294" fmla="*/ 821 h 10000"/>
                <a:gd name="connsiteX1295" fmla="*/ 5613 w 10354"/>
                <a:gd name="connsiteY1295" fmla="*/ 846 h 10000"/>
                <a:gd name="connsiteX1296" fmla="*/ 5604 w 10354"/>
                <a:gd name="connsiteY1296" fmla="*/ 855 h 10000"/>
                <a:gd name="connsiteX1297" fmla="*/ 5599 w 10354"/>
                <a:gd name="connsiteY1297" fmla="*/ 880 h 10000"/>
                <a:gd name="connsiteX1298" fmla="*/ 5594 w 10354"/>
                <a:gd name="connsiteY1298" fmla="*/ 880 h 10000"/>
                <a:gd name="connsiteX1299" fmla="*/ 5585 w 10354"/>
                <a:gd name="connsiteY1299" fmla="*/ 829 h 10000"/>
                <a:gd name="connsiteX1300" fmla="*/ 5571 w 10354"/>
                <a:gd name="connsiteY1300" fmla="*/ 803 h 10000"/>
                <a:gd name="connsiteX1301" fmla="*/ 5585 w 10354"/>
                <a:gd name="connsiteY1301" fmla="*/ 795 h 10000"/>
                <a:gd name="connsiteX1302" fmla="*/ 5585 w 10354"/>
                <a:gd name="connsiteY1302" fmla="*/ 761 h 10000"/>
                <a:gd name="connsiteX1303" fmla="*/ 5558 w 10354"/>
                <a:gd name="connsiteY1303" fmla="*/ 709 h 10000"/>
                <a:gd name="connsiteX1304" fmla="*/ 5544 w 10354"/>
                <a:gd name="connsiteY1304" fmla="*/ 709 h 10000"/>
                <a:gd name="connsiteX1305" fmla="*/ 5544 w 10354"/>
                <a:gd name="connsiteY1305" fmla="*/ 684 h 10000"/>
                <a:gd name="connsiteX1306" fmla="*/ 5525 w 10354"/>
                <a:gd name="connsiteY1306" fmla="*/ 632 h 10000"/>
                <a:gd name="connsiteX1307" fmla="*/ 5507 w 10354"/>
                <a:gd name="connsiteY1307" fmla="*/ 607 h 10000"/>
                <a:gd name="connsiteX1308" fmla="*/ 5512 w 10354"/>
                <a:gd name="connsiteY1308" fmla="*/ 598 h 10000"/>
                <a:gd name="connsiteX1309" fmla="*/ 5507 w 10354"/>
                <a:gd name="connsiteY1309" fmla="*/ 581 h 10000"/>
                <a:gd name="connsiteX1310" fmla="*/ 5493 w 10354"/>
                <a:gd name="connsiteY1310" fmla="*/ 573 h 10000"/>
                <a:gd name="connsiteX1311" fmla="*/ 5484 w 10354"/>
                <a:gd name="connsiteY1311" fmla="*/ 581 h 10000"/>
                <a:gd name="connsiteX1312" fmla="*/ 5484 w 10354"/>
                <a:gd name="connsiteY1312" fmla="*/ 573 h 10000"/>
                <a:gd name="connsiteX1313" fmla="*/ 5484 w 10354"/>
                <a:gd name="connsiteY1313" fmla="*/ 547 h 10000"/>
                <a:gd name="connsiteX1314" fmla="*/ 5465 w 10354"/>
                <a:gd name="connsiteY1314" fmla="*/ 556 h 10000"/>
                <a:gd name="connsiteX1315" fmla="*/ 5433 w 10354"/>
                <a:gd name="connsiteY1315" fmla="*/ 547 h 10000"/>
                <a:gd name="connsiteX1316" fmla="*/ 5410 w 10354"/>
                <a:gd name="connsiteY1316" fmla="*/ 573 h 10000"/>
                <a:gd name="connsiteX1317" fmla="*/ 5406 w 10354"/>
                <a:gd name="connsiteY1317" fmla="*/ 573 h 10000"/>
                <a:gd name="connsiteX1318" fmla="*/ 5392 w 10354"/>
                <a:gd name="connsiteY1318" fmla="*/ 573 h 10000"/>
                <a:gd name="connsiteX1319" fmla="*/ 5364 w 10354"/>
                <a:gd name="connsiteY1319" fmla="*/ 530 h 10000"/>
                <a:gd name="connsiteX1320" fmla="*/ 5350 w 10354"/>
                <a:gd name="connsiteY1320" fmla="*/ 556 h 10000"/>
                <a:gd name="connsiteX1321" fmla="*/ 5346 w 10354"/>
                <a:gd name="connsiteY1321" fmla="*/ 556 h 10000"/>
                <a:gd name="connsiteX1322" fmla="*/ 5313 w 10354"/>
                <a:gd name="connsiteY1322" fmla="*/ 573 h 10000"/>
                <a:gd name="connsiteX1323" fmla="*/ 5304 w 10354"/>
                <a:gd name="connsiteY1323" fmla="*/ 556 h 10000"/>
                <a:gd name="connsiteX1324" fmla="*/ 5290 w 10354"/>
                <a:gd name="connsiteY1324" fmla="*/ 573 h 10000"/>
                <a:gd name="connsiteX1325" fmla="*/ 5290 w 10354"/>
                <a:gd name="connsiteY1325" fmla="*/ 556 h 10000"/>
                <a:gd name="connsiteX1326" fmla="*/ 5300 w 10354"/>
                <a:gd name="connsiteY1326" fmla="*/ 547 h 10000"/>
                <a:gd name="connsiteX1327" fmla="*/ 5300 w 10354"/>
                <a:gd name="connsiteY1327" fmla="*/ 530 h 10000"/>
                <a:gd name="connsiteX1328" fmla="*/ 5290 w 10354"/>
                <a:gd name="connsiteY1328" fmla="*/ 530 h 10000"/>
                <a:gd name="connsiteX1329" fmla="*/ 5286 w 10354"/>
                <a:gd name="connsiteY1329" fmla="*/ 547 h 10000"/>
                <a:gd name="connsiteX1330" fmla="*/ 5272 w 10354"/>
                <a:gd name="connsiteY1330" fmla="*/ 556 h 10000"/>
                <a:gd name="connsiteX1331" fmla="*/ 5272 w 10354"/>
                <a:gd name="connsiteY1331" fmla="*/ 598 h 10000"/>
                <a:gd name="connsiteX1332" fmla="*/ 5276 w 10354"/>
                <a:gd name="connsiteY1332" fmla="*/ 581 h 10000"/>
                <a:gd name="connsiteX1333" fmla="*/ 5272 w 10354"/>
                <a:gd name="connsiteY1333" fmla="*/ 607 h 10000"/>
                <a:gd name="connsiteX1334" fmla="*/ 5263 w 10354"/>
                <a:gd name="connsiteY1334" fmla="*/ 607 h 10000"/>
                <a:gd name="connsiteX1335" fmla="*/ 5263 w 10354"/>
                <a:gd name="connsiteY1335" fmla="*/ 632 h 10000"/>
                <a:gd name="connsiteX1336" fmla="*/ 5258 w 10354"/>
                <a:gd name="connsiteY1336" fmla="*/ 658 h 10000"/>
                <a:gd name="connsiteX1337" fmla="*/ 5244 w 10354"/>
                <a:gd name="connsiteY1337" fmla="*/ 667 h 10000"/>
                <a:gd name="connsiteX1338" fmla="*/ 5240 w 10354"/>
                <a:gd name="connsiteY1338" fmla="*/ 658 h 10000"/>
                <a:gd name="connsiteX1339" fmla="*/ 5240 w 10354"/>
                <a:gd name="connsiteY1339" fmla="*/ 684 h 10000"/>
                <a:gd name="connsiteX1340" fmla="*/ 5212 w 10354"/>
                <a:gd name="connsiteY1340" fmla="*/ 684 h 10000"/>
                <a:gd name="connsiteX1341" fmla="*/ 5198 w 10354"/>
                <a:gd name="connsiteY1341" fmla="*/ 692 h 10000"/>
                <a:gd name="connsiteX1342" fmla="*/ 5184 w 10354"/>
                <a:gd name="connsiteY1342" fmla="*/ 684 h 10000"/>
                <a:gd name="connsiteX1343" fmla="*/ 5157 w 10354"/>
                <a:gd name="connsiteY1343" fmla="*/ 684 h 10000"/>
                <a:gd name="connsiteX1344" fmla="*/ 5157 w 10354"/>
                <a:gd name="connsiteY1344" fmla="*/ 667 h 10000"/>
                <a:gd name="connsiteX1345" fmla="*/ 5157 w 10354"/>
                <a:gd name="connsiteY1345" fmla="*/ 667 h 10000"/>
                <a:gd name="connsiteX1346" fmla="*/ 5180 w 10354"/>
                <a:gd name="connsiteY1346" fmla="*/ 650 h 10000"/>
                <a:gd name="connsiteX1347" fmla="*/ 5184 w 10354"/>
                <a:gd name="connsiteY1347" fmla="*/ 658 h 10000"/>
                <a:gd name="connsiteX1348" fmla="*/ 5203 w 10354"/>
                <a:gd name="connsiteY1348" fmla="*/ 547 h 10000"/>
                <a:gd name="connsiteX1349" fmla="*/ 5226 w 10354"/>
                <a:gd name="connsiteY1349" fmla="*/ 530 h 10000"/>
                <a:gd name="connsiteX1350" fmla="*/ 5230 w 10354"/>
                <a:gd name="connsiteY1350" fmla="*/ 487 h 10000"/>
                <a:gd name="connsiteX1351" fmla="*/ 5230 w 10354"/>
                <a:gd name="connsiteY1351" fmla="*/ 487 h 10000"/>
                <a:gd name="connsiteX1352" fmla="*/ 5226 w 10354"/>
                <a:gd name="connsiteY1352" fmla="*/ 462 h 10000"/>
                <a:gd name="connsiteX1353" fmla="*/ 5226 w 10354"/>
                <a:gd name="connsiteY1353" fmla="*/ 462 h 10000"/>
                <a:gd name="connsiteX1354" fmla="*/ 5240 w 10354"/>
                <a:gd name="connsiteY1354" fmla="*/ 462 h 10000"/>
                <a:gd name="connsiteX1355" fmla="*/ 5240 w 10354"/>
                <a:gd name="connsiteY1355" fmla="*/ 444 h 10000"/>
                <a:gd name="connsiteX1356" fmla="*/ 5230 w 10354"/>
                <a:gd name="connsiteY1356" fmla="*/ 436 h 10000"/>
                <a:gd name="connsiteX1357" fmla="*/ 5230 w 10354"/>
                <a:gd name="connsiteY1357" fmla="*/ 419 h 10000"/>
                <a:gd name="connsiteX1358" fmla="*/ 5230 w 10354"/>
                <a:gd name="connsiteY1358" fmla="*/ 410 h 10000"/>
                <a:gd name="connsiteX1359" fmla="*/ 5198 w 10354"/>
                <a:gd name="connsiteY1359" fmla="*/ 402 h 10000"/>
                <a:gd name="connsiteX1360" fmla="*/ 5189 w 10354"/>
                <a:gd name="connsiteY1360" fmla="*/ 402 h 10000"/>
                <a:gd name="connsiteX1361" fmla="*/ 5184 w 10354"/>
                <a:gd name="connsiteY1361" fmla="*/ 376 h 10000"/>
                <a:gd name="connsiteX1362" fmla="*/ 5180 w 10354"/>
                <a:gd name="connsiteY1362" fmla="*/ 376 h 10000"/>
                <a:gd name="connsiteX1363" fmla="*/ 5166 w 10354"/>
                <a:gd name="connsiteY1363" fmla="*/ 376 h 10000"/>
                <a:gd name="connsiteX1364" fmla="*/ 5157 w 10354"/>
                <a:gd name="connsiteY1364" fmla="*/ 385 h 10000"/>
                <a:gd name="connsiteX1365" fmla="*/ 5152 w 10354"/>
                <a:gd name="connsiteY1365" fmla="*/ 376 h 10000"/>
                <a:gd name="connsiteX1366" fmla="*/ 5129 w 10354"/>
                <a:gd name="connsiteY1366" fmla="*/ 385 h 10000"/>
                <a:gd name="connsiteX1367" fmla="*/ 5129 w 10354"/>
                <a:gd name="connsiteY1367" fmla="*/ 350 h 10000"/>
                <a:gd name="connsiteX1368" fmla="*/ 5129 w 10354"/>
                <a:gd name="connsiteY1368" fmla="*/ 325 h 10000"/>
                <a:gd name="connsiteX1369" fmla="*/ 5124 w 10354"/>
                <a:gd name="connsiteY1369" fmla="*/ 359 h 10000"/>
                <a:gd name="connsiteX1370" fmla="*/ 5106 w 10354"/>
                <a:gd name="connsiteY1370" fmla="*/ 359 h 10000"/>
                <a:gd name="connsiteX1371" fmla="*/ 5037 w 10354"/>
                <a:gd name="connsiteY1371" fmla="*/ 419 h 10000"/>
                <a:gd name="connsiteX1372" fmla="*/ 5051 w 10354"/>
                <a:gd name="connsiteY1372" fmla="*/ 385 h 10000"/>
                <a:gd name="connsiteX1373" fmla="*/ 5055 w 10354"/>
                <a:gd name="connsiteY1373" fmla="*/ 376 h 10000"/>
                <a:gd name="connsiteX1374" fmla="*/ 5092 w 10354"/>
                <a:gd name="connsiteY1374" fmla="*/ 282 h 10000"/>
                <a:gd name="connsiteX1375" fmla="*/ 5106 w 10354"/>
                <a:gd name="connsiteY1375" fmla="*/ 265 h 10000"/>
                <a:gd name="connsiteX1376" fmla="*/ 5115 w 10354"/>
                <a:gd name="connsiteY1376" fmla="*/ 265 h 10000"/>
                <a:gd name="connsiteX1377" fmla="*/ 5124 w 10354"/>
                <a:gd name="connsiteY1377" fmla="*/ 222 h 10000"/>
                <a:gd name="connsiteX1378" fmla="*/ 5124 w 10354"/>
                <a:gd name="connsiteY1378" fmla="*/ 214 h 10000"/>
                <a:gd name="connsiteX1379" fmla="*/ 5143 w 10354"/>
                <a:gd name="connsiteY1379" fmla="*/ 197 h 10000"/>
                <a:gd name="connsiteX1380" fmla="*/ 5152 w 10354"/>
                <a:gd name="connsiteY1380" fmla="*/ 214 h 10000"/>
                <a:gd name="connsiteX1381" fmla="*/ 5143 w 10354"/>
                <a:gd name="connsiteY1381" fmla="*/ 188 h 10000"/>
                <a:gd name="connsiteX1382" fmla="*/ 5129 w 10354"/>
                <a:gd name="connsiteY1382" fmla="*/ 103 h 10000"/>
                <a:gd name="connsiteX1383" fmla="*/ 5115 w 10354"/>
                <a:gd name="connsiteY1383" fmla="*/ 85 h 10000"/>
                <a:gd name="connsiteX1384" fmla="*/ 5111 w 10354"/>
                <a:gd name="connsiteY1384" fmla="*/ 111 h 10000"/>
                <a:gd name="connsiteX1385" fmla="*/ 5092 w 10354"/>
                <a:gd name="connsiteY1385" fmla="*/ 103 h 10000"/>
                <a:gd name="connsiteX1386" fmla="*/ 5069 w 10354"/>
                <a:gd name="connsiteY1386" fmla="*/ 77 h 10000"/>
                <a:gd name="connsiteX1387" fmla="*/ 5051 w 10354"/>
                <a:gd name="connsiteY1387" fmla="*/ 26 h 10000"/>
                <a:gd name="connsiteX1388" fmla="*/ 5041 w 10354"/>
                <a:gd name="connsiteY1388" fmla="*/ 34 h 10000"/>
                <a:gd name="connsiteX1389" fmla="*/ 5037 w 10354"/>
                <a:gd name="connsiteY1389" fmla="*/ 34 h 10000"/>
                <a:gd name="connsiteX1390" fmla="*/ 5037 w 10354"/>
                <a:gd name="connsiteY1390" fmla="*/ 26 h 10000"/>
                <a:gd name="connsiteX1391" fmla="*/ 5037 w 10354"/>
                <a:gd name="connsiteY1391" fmla="*/ 9 h 10000"/>
                <a:gd name="connsiteX1392" fmla="*/ 5023 w 10354"/>
                <a:gd name="connsiteY1392" fmla="*/ 0 h 10000"/>
                <a:gd name="connsiteX1393" fmla="*/ 5009 w 10354"/>
                <a:gd name="connsiteY1393" fmla="*/ 9 h 10000"/>
                <a:gd name="connsiteX1394" fmla="*/ 4995 w 10354"/>
                <a:gd name="connsiteY1394" fmla="*/ 34 h 10000"/>
                <a:gd name="connsiteX1395" fmla="*/ 4991 w 10354"/>
                <a:gd name="connsiteY1395" fmla="*/ 60 h 10000"/>
                <a:gd name="connsiteX1396" fmla="*/ 4982 w 10354"/>
                <a:gd name="connsiteY1396" fmla="*/ 60 h 10000"/>
                <a:gd name="connsiteX1397" fmla="*/ 4949 w 10354"/>
                <a:gd name="connsiteY1397" fmla="*/ 51 h 10000"/>
                <a:gd name="connsiteX1398" fmla="*/ 4949 w 10354"/>
                <a:gd name="connsiteY1398" fmla="*/ 85 h 10000"/>
                <a:gd name="connsiteX1399" fmla="*/ 4903 w 10354"/>
                <a:gd name="connsiteY1399" fmla="*/ 197 h 10000"/>
                <a:gd name="connsiteX1400" fmla="*/ 4899 w 10354"/>
                <a:gd name="connsiteY1400" fmla="*/ 239 h 10000"/>
                <a:gd name="connsiteX1401" fmla="*/ 4871 w 10354"/>
                <a:gd name="connsiteY1401" fmla="*/ 274 h 10000"/>
                <a:gd name="connsiteX1402" fmla="*/ 4871 w 10354"/>
                <a:gd name="connsiteY1402" fmla="*/ 282 h 10000"/>
                <a:gd name="connsiteX1403" fmla="*/ 4834 w 10354"/>
                <a:gd name="connsiteY1403" fmla="*/ 376 h 10000"/>
                <a:gd name="connsiteX1404" fmla="*/ 4829 w 10354"/>
                <a:gd name="connsiteY1404" fmla="*/ 402 h 10000"/>
                <a:gd name="connsiteX1405" fmla="*/ 4834 w 10354"/>
                <a:gd name="connsiteY1405" fmla="*/ 410 h 10000"/>
                <a:gd name="connsiteX1406" fmla="*/ 4829 w 10354"/>
                <a:gd name="connsiteY1406" fmla="*/ 436 h 10000"/>
                <a:gd name="connsiteX1407" fmla="*/ 4825 w 10354"/>
                <a:gd name="connsiteY1407" fmla="*/ 436 h 10000"/>
                <a:gd name="connsiteX1408" fmla="*/ 4825 w 10354"/>
                <a:gd name="connsiteY1408" fmla="*/ 444 h 10000"/>
                <a:gd name="connsiteX1409" fmla="*/ 4811 w 10354"/>
                <a:gd name="connsiteY1409" fmla="*/ 496 h 10000"/>
                <a:gd name="connsiteX1410" fmla="*/ 4811 w 10354"/>
                <a:gd name="connsiteY1410" fmla="*/ 496 h 10000"/>
                <a:gd name="connsiteX1411" fmla="*/ 4811 w 10354"/>
                <a:gd name="connsiteY1411" fmla="*/ 521 h 10000"/>
                <a:gd name="connsiteX1412" fmla="*/ 4816 w 10354"/>
                <a:gd name="connsiteY1412" fmla="*/ 530 h 10000"/>
                <a:gd name="connsiteX1413" fmla="*/ 4834 w 10354"/>
                <a:gd name="connsiteY1413" fmla="*/ 547 h 10000"/>
                <a:gd name="connsiteX1414" fmla="*/ 4834 w 10354"/>
                <a:gd name="connsiteY1414" fmla="*/ 581 h 10000"/>
                <a:gd name="connsiteX1415" fmla="*/ 4843 w 10354"/>
                <a:gd name="connsiteY1415" fmla="*/ 581 h 10000"/>
                <a:gd name="connsiteX1416" fmla="*/ 4843 w 10354"/>
                <a:gd name="connsiteY1416" fmla="*/ 598 h 10000"/>
                <a:gd name="connsiteX1417" fmla="*/ 4829 w 10354"/>
                <a:gd name="connsiteY1417" fmla="*/ 598 h 10000"/>
                <a:gd name="connsiteX1418" fmla="*/ 4829 w 10354"/>
                <a:gd name="connsiteY1418" fmla="*/ 573 h 10000"/>
                <a:gd name="connsiteX1419" fmla="*/ 4829 w 10354"/>
                <a:gd name="connsiteY1419" fmla="*/ 632 h 10000"/>
                <a:gd name="connsiteX1420" fmla="*/ 4829 w 10354"/>
                <a:gd name="connsiteY1420" fmla="*/ 632 h 10000"/>
                <a:gd name="connsiteX1421" fmla="*/ 4829 w 10354"/>
                <a:gd name="connsiteY1421" fmla="*/ 650 h 10000"/>
                <a:gd name="connsiteX1422" fmla="*/ 4774 w 10354"/>
                <a:gd name="connsiteY1422" fmla="*/ 684 h 10000"/>
                <a:gd name="connsiteX1423" fmla="*/ 4756 w 10354"/>
                <a:gd name="connsiteY1423" fmla="*/ 684 h 10000"/>
                <a:gd name="connsiteX1424" fmla="*/ 4737 w 10354"/>
                <a:gd name="connsiteY1424" fmla="*/ 692 h 10000"/>
                <a:gd name="connsiteX1425" fmla="*/ 4677 w 10354"/>
                <a:gd name="connsiteY1425" fmla="*/ 667 h 10000"/>
                <a:gd name="connsiteX1426" fmla="*/ 4682 w 10354"/>
                <a:gd name="connsiteY1426" fmla="*/ 692 h 10000"/>
                <a:gd name="connsiteX1427" fmla="*/ 4682 w 10354"/>
                <a:gd name="connsiteY1427" fmla="*/ 709 h 10000"/>
                <a:gd name="connsiteX1428" fmla="*/ 4691 w 10354"/>
                <a:gd name="connsiteY1428" fmla="*/ 718 h 10000"/>
                <a:gd name="connsiteX1429" fmla="*/ 4691 w 10354"/>
                <a:gd name="connsiteY1429" fmla="*/ 744 h 10000"/>
                <a:gd name="connsiteX1430" fmla="*/ 4700 w 10354"/>
                <a:gd name="connsiteY1430" fmla="*/ 744 h 10000"/>
                <a:gd name="connsiteX1431" fmla="*/ 4714 w 10354"/>
                <a:gd name="connsiteY1431" fmla="*/ 769 h 10000"/>
                <a:gd name="connsiteX1432" fmla="*/ 4710 w 10354"/>
                <a:gd name="connsiteY1432" fmla="*/ 786 h 10000"/>
                <a:gd name="connsiteX1433" fmla="*/ 4737 w 10354"/>
                <a:gd name="connsiteY1433" fmla="*/ 786 h 10000"/>
                <a:gd name="connsiteX1434" fmla="*/ 4742 w 10354"/>
                <a:gd name="connsiteY1434" fmla="*/ 795 h 10000"/>
                <a:gd name="connsiteX1435" fmla="*/ 4742 w 10354"/>
                <a:gd name="connsiteY1435" fmla="*/ 803 h 10000"/>
                <a:gd name="connsiteX1436" fmla="*/ 4737 w 10354"/>
                <a:gd name="connsiteY1436" fmla="*/ 846 h 10000"/>
                <a:gd name="connsiteX1437" fmla="*/ 4737 w 10354"/>
                <a:gd name="connsiteY1437" fmla="*/ 880 h 10000"/>
                <a:gd name="connsiteX1438" fmla="*/ 4737 w 10354"/>
                <a:gd name="connsiteY1438" fmla="*/ 906 h 10000"/>
                <a:gd name="connsiteX1439" fmla="*/ 4724 w 10354"/>
                <a:gd name="connsiteY1439" fmla="*/ 897 h 10000"/>
                <a:gd name="connsiteX1440" fmla="*/ 4724 w 10354"/>
                <a:gd name="connsiteY1440" fmla="*/ 872 h 10000"/>
                <a:gd name="connsiteX1441" fmla="*/ 4714 w 10354"/>
                <a:gd name="connsiteY1441" fmla="*/ 855 h 10000"/>
                <a:gd name="connsiteX1442" fmla="*/ 4691 w 10354"/>
                <a:gd name="connsiteY1442" fmla="*/ 846 h 10000"/>
                <a:gd name="connsiteX1443" fmla="*/ 4691 w 10354"/>
                <a:gd name="connsiteY1443" fmla="*/ 846 h 10000"/>
                <a:gd name="connsiteX1444" fmla="*/ 4696 w 10354"/>
                <a:gd name="connsiteY1444" fmla="*/ 821 h 10000"/>
                <a:gd name="connsiteX1445" fmla="*/ 4691 w 10354"/>
                <a:gd name="connsiteY1445" fmla="*/ 803 h 10000"/>
                <a:gd name="connsiteX1446" fmla="*/ 4668 w 10354"/>
                <a:gd name="connsiteY1446" fmla="*/ 821 h 10000"/>
                <a:gd name="connsiteX1447" fmla="*/ 4668 w 10354"/>
                <a:gd name="connsiteY1447" fmla="*/ 786 h 10000"/>
                <a:gd name="connsiteX1448" fmla="*/ 4664 w 10354"/>
                <a:gd name="connsiteY1448" fmla="*/ 786 h 10000"/>
                <a:gd name="connsiteX1449" fmla="*/ 4622 w 10354"/>
                <a:gd name="connsiteY1449" fmla="*/ 846 h 10000"/>
                <a:gd name="connsiteX1450" fmla="*/ 4627 w 10354"/>
                <a:gd name="connsiteY1450" fmla="*/ 872 h 10000"/>
                <a:gd name="connsiteX1451" fmla="*/ 4622 w 10354"/>
                <a:gd name="connsiteY1451" fmla="*/ 880 h 10000"/>
                <a:gd name="connsiteX1452" fmla="*/ 4622 w 10354"/>
                <a:gd name="connsiteY1452" fmla="*/ 880 h 10000"/>
                <a:gd name="connsiteX1453" fmla="*/ 4618 w 10354"/>
                <a:gd name="connsiteY1453" fmla="*/ 872 h 10000"/>
                <a:gd name="connsiteX1454" fmla="*/ 4604 w 10354"/>
                <a:gd name="connsiteY1454" fmla="*/ 880 h 10000"/>
                <a:gd name="connsiteX1455" fmla="*/ 4594 w 10354"/>
                <a:gd name="connsiteY1455" fmla="*/ 906 h 10000"/>
                <a:gd name="connsiteX1456" fmla="*/ 4604 w 10354"/>
                <a:gd name="connsiteY1456" fmla="*/ 906 h 10000"/>
                <a:gd name="connsiteX1457" fmla="*/ 4608 w 10354"/>
                <a:gd name="connsiteY1457" fmla="*/ 906 h 10000"/>
                <a:gd name="connsiteX1458" fmla="*/ 4608 w 10354"/>
                <a:gd name="connsiteY1458" fmla="*/ 932 h 10000"/>
                <a:gd name="connsiteX1459" fmla="*/ 4604 w 10354"/>
                <a:gd name="connsiteY1459" fmla="*/ 932 h 10000"/>
                <a:gd name="connsiteX1460" fmla="*/ 4590 w 10354"/>
                <a:gd name="connsiteY1460" fmla="*/ 932 h 10000"/>
                <a:gd name="connsiteX1461" fmla="*/ 4567 w 10354"/>
                <a:gd name="connsiteY1461" fmla="*/ 957 h 10000"/>
                <a:gd name="connsiteX1462" fmla="*/ 4567 w 10354"/>
                <a:gd name="connsiteY1462" fmla="*/ 932 h 10000"/>
                <a:gd name="connsiteX1463" fmla="*/ 4567 w 10354"/>
                <a:gd name="connsiteY1463" fmla="*/ 923 h 10000"/>
                <a:gd name="connsiteX1464" fmla="*/ 4562 w 10354"/>
                <a:gd name="connsiteY1464" fmla="*/ 932 h 10000"/>
                <a:gd name="connsiteX1465" fmla="*/ 4548 w 10354"/>
                <a:gd name="connsiteY1465" fmla="*/ 957 h 10000"/>
                <a:gd name="connsiteX1466" fmla="*/ 4544 w 10354"/>
                <a:gd name="connsiteY1466" fmla="*/ 957 h 10000"/>
                <a:gd name="connsiteX1467" fmla="*/ 4521 w 10354"/>
                <a:gd name="connsiteY1467" fmla="*/ 983 h 10000"/>
                <a:gd name="connsiteX1468" fmla="*/ 4521 w 10354"/>
                <a:gd name="connsiteY1468" fmla="*/ 983 h 10000"/>
                <a:gd name="connsiteX1469" fmla="*/ 4530 w 10354"/>
                <a:gd name="connsiteY1469" fmla="*/ 957 h 10000"/>
                <a:gd name="connsiteX1470" fmla="*/ 4535 w 10354"/>
                <a:gd name="connsiteY1470" fmla="*/ 932 h 10000"/>
                <a:gd name="connsiteX1471" fmla="*/ 4521 w 10354"/>
                <a:gd name="connsiteY1471" fmla="*/ 932 h 10000"/>
                <a:gd name="connsiteX1472" fmla="*/ 4516 w 10354"/>
                <a:gd name="connsiteY1472" fmla="*/ 923 h 10000"/>
                <a:gd name="connsiteX1473" fmla="*/ 4516 w 10354"/>
                <a:gd name="connsiteY1473" fmla="*/ 932 h 10000"/>
                <a:gd name="connsiteX1474" fmla="*/ 4488 w 10354"/>
                <a:gd name="connsiteY1474" fmla="*/ 940 h 10000"/>
                <a:gd name="connsiteX1475" fmla="*/ 4484 w 10354"/>
                <a:gd name="connsiteY1475" fmla="*/ 983 h 10000"/>
                <a:gd name="connsiteX1476" fmla="*/ 4470 w 10354"/>
                <a:gd name="connsiteY1476" fmla="*/ 983 h 10000"/>
                <a:gd name="connsiteX1477" fmla="*/ 4470 w 10354"/>
                <a:gd name="connsiteY1477" fmla="*/ 966 h 10000"/>
                <a:gd name="connsiteX1478" fmla="*/ 4488 w 10354"/>
                <a:gd name="connsiteY1478" fmla="*/ 923 h 10000"/>
                <a:gd name="connsiteX1479" fmla="*/ 4493 w 10354"/>
                <a:gd name="connsiteY1479" fmla="*/ 880 h 10000"/>
                <a:gd name="connsiteX1480" fmla="*/ 4475 w 10354"/>
                <a:gd name="connsiteY1480" fmla="*/ 846 h 10000"/>
                <a:gd name="connsiteX1481" fmla="*/ 4442 w 10354"/>
                <a:gd name="connsiteY1481" fmla="*/ 855 h 10000"/>
                <a:gd name="connsiteX1482" fmla="*/ 4433 w 10354"/>
                <a:gd name="connsiteY1482" fmla="*/ 855 h 10000"/>
                <a:gd name="connsiteX1483" fmla="*/ 4433 w 10354"/>
                <a:gd name="connsiteY1483" fmla="*/ 880 h 10000"/>
                <a:gd name="connsiteX1484" fmla="*/ 4401 w 10354"/>
                <a:gd name="connsiteY1484" fmla="*/ 855 h 10000"/>
                <a:gd name="connsiteX1485" fmla="*/ 4396 w 10354"/>
                <a:gd name="connsiteY1485" fmla="*/ 872 h 10000"/>
                <a:gd name="connsiteX1486" fmla="*/ 4382 w 10354"/>
                <a:gd name="connsiteY1486" fmla="*/ 897 h 10000"/>
                <a:gd name="connsiteX1487" fmla="*/ 4373 w 10354"/>
                <a:gd name="connsiteY1487" fmla="*/ 872 h 10000"/>
                <a:gd name="connsiteX1488" fmla="*/ 4341 w 10354"/>
                <a:gd name="connsiteY1488" fmla="*/ 872 h 10000"/>
                <a:gd name="connsiteX1489" fmla="*/ 4336 w 10354"/>
                <a:gd name="connsiteY1489" fmla="*/ 880 h 10000"/>
                <a:gd name="connsiteX1490" fmla="*/ 4346 w 10354"/>
                <a:gd name="connsiteY1490" fmla="*/ 897 h 10000"/>
                <a:gd name="connsiteX1491" fmla="*/ 4346 w 10354"/>
                <a:gd name="connsiteY1491" fmla="*/ 897 h 10000"/>
                <a:gd name="connsiteX1492" fmla="*/ 4313 w 10354"/>
                <a:gd name="connsiteY1492" fmla="*/ 906 h 10000"/>
                <a:gd name="connsiteX1493" fmla="*/ 4313 w 10354"/>
                <a:gd name="connsiteY1493" fmla="*/ 906 h 10000"/>
                <a:gd name="connsiteX1494" fmla="*/ 4313 w 10354"/>
                <a:gd name="connsiteY1494" fmla="*/ 880 h 10000"/>
                <a:gd name="connsiteX1495" fmla="*/ 4309 w 10354"/>
                <a:gd name="connsiteY1495" fmla="*/ 897 h 10000"/>
                <a:gd name="connsiteX1496" fmla="*/ 4295 w 10354"/>
                <a:gd name="connsiteY1496" fmla="*/ 923 h 10000"/>
                <a:gd name="connsiteX1497" fmla="*/ 4286 w 10354"/>
                <a:gd name="connsiteY1497" fmla="*/ 897 h 10000"/>
                <a:gd name="connsiteX1498" fmla="*/ 4281 w 10354"/>
                <a:gd name="connsiteY1498" fmla="*/ 906 h 10000"/>
                <a:gd name="connsiteX1499" fmla="*/ 4281 w 10354"/>
                <a:gd name="connsiteY1499" fmla="*/ 940 h 10000"/>
                <a:gd name="connsiteX1500" fmla="*/ 4286 w 10354"/>
                <a:gd name="connsiteY1500" fmla="*/ 957 h 10000"/>
                <a:gd name="connsiteX1501" fmla="*/ 4309 w 10354"/>
                <a:gd name="connsiteY1501" fmla="*/ 932 h 10000"/>
                <a:gd name="connsiteX1502" fmla="*/ 4313 w 10354"/>
                <a:gd name="connsiteY1502" fmla="*/ 957 h 10000"/>
                <a:gd name="connsiteX1503" fmla="*/ 4313 w 10354"/>
                <a:gd name="connsiteY1503" fmla="*/ 966 h 10000"/>
                <a:gd name="connsiteX1504" fmla="*/ 4323 w 10354"/>
                <a:gd name="connsiteY1504" fmla="*/ 966 h 10000"/>
                <a:gd name="connsiteX1505" fmla="*/ 4323 w 10354"/>
                <a:gd name="connsiteY1505" fmla="*/ 940 h 10000"/>
                <a:gd name="connsiteX1506" fmla="*/ 4327 w 10354"/>
                <a:gd name="connsiteY1506" fmla="*/ 940 h 10000"/>
                <a:gd name="connsiteX1507" fmla="*/ 4327 w 10354"/>
                <a:gd name="connsiteY1507" fmla="*/ 957 h 10000"/>
                <a:gd name="connsiteX1508" fmla="*/ 4327 w 10354"/>
                <a:gd name="connsiteY1508" fmla="*/ 966 h 10000"/>
                <a:gd name="connsiteX1509" fmla="*/ 4323 w 10354"/>
                <a:gd name="connsiteY1509" fmla="*/ 991 h 10000"/>
                <a:gd name="connsiteX1510" fmla="*/ 4207 w 10354"/>
                <a:gd name="connsiteY1510" fmla="*/ 1060 h 10000"/>
                <a:gd name="connsiteX1511" fmla="*/ 4207 w 10354"/>
                <a:gd name="connsiteY1511" fmla="*/ 1060 h 10000"/>
                <a:gd name="connsiteX1512" fmla="*/ 4203 w 10354"/>
                <a:gd name="connsiteY1512" fmla="*/ 1068 h 10000"/>
                <a:gd name="connsiteX1513" fmla="*/ 4203 w 10354"/>
                <a:gd name="connsiteY1513" fmla="*/ 1094 h 10000"/>
                <a:gd name="connsiteX1514" fmla="*/ 4203 w 10354"/>
                <a:gd name="connsiteY1514" fmla="*/ 1094 h 10000"/>
                <a:gd name="connsiteX1515" fmla="*/ 4189 w 10354"/>
                <a:gd name="connsiteY1515" fmla="*/ 1094 h 10000"/>
                <a:gd name="connsiteX1516" fmla="*/ 4166 w 10354"/>
                <a:gd name="connsiteY1516" fmla="*/ 1103 h 10000"/>
                <a:gd name="connsiteX1517" fmla="*/ 4152 w 10354"/>
                <a:gd name="connsiteY1517" fmla="*/ 1094 h 10000"/>
                <a:gd name="connsiteX1518" fmla="*/ 4134 w 10354"/>
                <a:gd name="connsiteY1518" fmla="*/ 1120 h 10000"/>
                <a:gd name="connsiteX1519" fmla="*/ 4106 w 10354"/>
                <a:gd name="connsiteY1519" fmla="*/ 1120 h 10000"/>
                <a:gd name="connsiteX1520" fmla="*/ 4092 w 10354"/>
                <a:gd name="connsiteY1520" fmla="*/ 1154 h 10000"/>
                <a:gd name="connsiteX1521" fmla="*/ 4106 w 10354"/>
                <a:gd name="connsiteY1521" fmla="*/ 1171 h 10000"/>
                <a:gd name="connsiteX1522" fmla="*/ 4078 w 10354"/>
                <a:gd name="connsiteY1522" fmla="*/ 1179 h 10000"/>
                <a:gd name="connsiteX1523" fmla="*/ 4065 w 10354"/>
                <a:gd name="connsiteY1523" fmla="*/ 1205 h 10000"/>
                <a:gd name="connsiteX1524" fmla="*/ 4046 w 10354"/>
                <a:gd name="connsiteY1524" fmla="*/ 1179 h 10000"/>
                <a:gd name="connsiteX1525" fmla="*/ 4041 w 10354"/>
                <a:gd name="connsiteY1525" fmla="*/ 1197 h 10000"/>
                <a:gd name="connsiteX1526" fmla="*/ 4028 w 10354"/>
                <a:gd name="connsiteY1526" fmla="*/ 1205 h 10000"/>
                <a:gd name="connsiteX1527" fmla="*/ 4028 w 10354"/>
                <a:gd name="connsiteY1527" fmla="*/ 1205 h 10000"/>
                <a:gd name="connsiteX1528" fmla="*/ 4032 w 10354"/>
                <a:gd name="connsiteY1528" fmla="*/ 1205 h 10000"/>
                <a:gd name="connsiteX1529" fmla="*/ 4032 w 10354"/>
                <a:gd name="connsiteY1529" fmla="*/ 1231 h 10000"/>
                <a:gd name="connsiteX1530" fmla="*/ 4014 w 10354"/>
                <a:gd name="connsiteY1530" fmla="*/ 1239 h 10000"/>
                <a:gd name="connsiteX1531" fmla="*/ 4014 w 10354"/>
                <a:gd name="connsiteY1531" fmla="*/ 1256 h 10000"/>
                <a:gd name="connsiteX1532" fmla="*/ 4000 w 10354"/>
                <a:gd name="connsiteY1532" fmla="*/ 1265 h 10000"/>
                <a:gd name="connsiteX1533" fmla="*/ 3986 w 10354"/>
                <a:gd name="connsiteY1533" fmla="*/ 1308 h 10000"/>
                <a:gd name="connsiteX1534" fmla="*/ 3972 w 10354"/>
                <a:gd name="connsiteY1534" fmla="*/ 1316 h 10000"/>
                <a:gd name="connsiteX1535" fmla="*/ 3972 w 10354"/>
                <a:gd name="connsiteY1535" fmla="*/ 1325 h 10000"/>
                <a:gd name="connsiteX1536" fmla="*/ 3972 w 10354"/>
                <a:gd name="connsiteY1536" fmla="*/ 1342 h 10000"/>
                <a:gd name="connsiteX1537" fmla="*/ 3968 w 10354"/>
                <a:gd name="connsiteY1537" fmla="*/ 1350 h 10000"/>
                <a:gd name="connsiteX1538" fmla="*/ 3954 w 10354"/>
                <a:gd name="connsiteY1538" fmla="*/ 1368 h 10000"/>
                <a:gd name="connsiteX1539" fmla="*/ 3945 w 10354"/>
                <a:gd name="connsiteY1539" fmla="*/ 1350 h 10000"/>
                <a:gd name="connsiteX1540" fmla="*/ 3908 w 10354"/>
                <a:gd name="connsiteY1540" fmla="*/ 1342 h 10000"/>
                <a:gd name="connsiteX1541" fmla="*/ 3894 w 10354"/>
                <a:gd name="connsiteY1541" fmla="*/ 1368 h 10000"/>
                <a:gd name="connsiteX1542" fmla="*/ 3922 w 10354"/>
                <a:gd name="connsiteY1542" fmla="*/ 1393 h 10000"/>
                <a:gd name="connsiteX1543" fmla="*/ 3945 w 10354"/>
                <a:gd name="connsiteY1543" fmla="*/ 1393 h 10000"/>
                <a:gd name="connsiteX1544" fmla="*/ 3940 w 10354"/>
                <a:gd name="connsiteY1544" fmla="*/ 1419 h 10000"/>
                <a:gd name="connsiteX1545" fmla="*/ 3931 w 10354"/>
                <a:gd name="connsiteY1545" fmla="*/ 1427 h 10000"/>
                <a:gd name="connsiteX1546" fmla="*/ 3926 w 10354"/>
                <a:gd name="connsiteY1546" fmla="*/ 1427 h 10000"/>
                <a:gd name="connsiteX1547" fmla="*/ 3922 w 10354"/>
                <a:gd name="connsiteY1547" fmla="*/ 1419 h 10000"/>
                <a:gd name="connsiteX1548" fmla="*/ 3912 w 10354"/>
                <a:gd name="connsiteY1548" fmla="*/ 1427 h 10000"/>
                <a:gd name="connsiteX1549" fmla="*/ 3912 w 10354"/>
                <a:gd name="connsiteY1549" fmla="*/ 1444 h 10000"/>
                <a:gd name="connsiteX1550" fmla="*/ 3894 w 10354"/>
                <a:gd name="connsiteY1550" fmla="*/ 1513 h 10000"/>
                <a:gd name="connsiteX1551" fmla="*/ 3885 w 10354"/>
                <a:gd name="connsiteY1551" fmla="*/ 1513 h 10000"/>
                <a:gd name="connsiteX1552" fmla="*/ 3880 w 10354"/>
                <a:gd name="connsiteY1552" fmla="*/ 1538 h 10000"/>
                <a:gd name="connsiteX1553" fmla="*/ 3885 w 10354"/>
                <a:gd name="connsiteY1553" fmla="*/ 1564 h 10000"/>
                <a:gd name="connsiteX1554" fmla="*/ 3880 w 10354"/>
                <a:gd name="connsiteY1554" fmla="*/ 1581 h 10000"/>
                <a:gd name="connsiteX1555" fmla="*/ 3871 w 10354"/>
                <a:gd name="connsiteY1555" fmla="*/ 1538 h 10000"/>
                <a:gd name="connsiteX1556" fmla="*/ 3853 w 10354"/>
                <a:gd name="connsiteY1556" fmla="*/ 1530 h 10000"/>
                <a:gd name="connsiteX1557" fmla="*/ 3853 w 10354"/>
                <a:gd name="connsiteY1557" fmla="*/ 1504 h 10000"/>
                <a:gd name="connsiteX1558" fmla="*/ 3834 w 10354"/>
                <a:gd name="connsiteY1558" fmla="*/ 1487 h 10000"/>
                <a:gd name="connsiteX1559" fmla="*/ 3834 w 10354"/>
                <a:gd name="connsiteY1559" fmla="*/ 1487 h 10000"/>
                <a:gd name="connsiteX1560" fmla="*/ 3839 w 10354"/>
                <a:gd name="connsiteY1560" fmla="*/ 1513 h 10000"/>
                <a:gd name="connsiteX1561" fmla="*/ 3820 w 10354"/>
                <a:gd name="connsiteY1561" fmla="*/ 1538 h 10000"/>
                <a:gd name="connsiteX1562" fmla="*/ 3820 w 10354"/>
                <a:gd name="connsiteY1562" fmla="*/ 1556 h 10000"/>
                <a:gd name="connsiteX1563" fmla="*/ 3820 w 10354"/>
                <a:gd name="connsiteY1563" fmla="*/ 1564 h 10000"/>
                <a:gd name="connsiteX1564" fmla="*/ 3820 w 10354"/>
                <a:gd name="connsiteY1564" fmla="*/ 1581 h 10000"/>
                <a:gd name="connsiteX1565" fmla="*/ 3853 w 10354"/>
                <a:gd name="connsiteY1565" fmla="*/ 1581 h 10000"/>
                <a:gd name="connsiteX1566" fmla="*/ 3857 w 10354"/>
                <a:gd name="connsiteY1566" fmla="*/ 1598 h 10000"/>
                <a:gd name="connsiteX1567" fmla="*/ 3880 w 10354"/>
                <a:gd name="connsiteY1567" fmla="*/ 1615 h 10000"/>
                <a:gd name="connsiteX1568" fmla="*/ 3871 w 10354"/>
                <a:gd name="connsiteY1568" fmla="*/ 1615 h 10000"/>
                <a:gd name="connsiteX1569" fmla="*/ 3871 w 10354"/>
                <a:gd name="connsiteY1569" fmla="*/ 1641 h 10000"/>
                <a:gd name="connsiteX1570" fmla="*/ 3880 w 10354"/>
                <a:gd name="connsiteY1570" fmla="*/ 1641 h 10000"/>
                <a:gd name="connsiteX1571" fmla="*/ 3871 w 10354"/>
                <a:gd name="connsiteY1571" fmla="*/ 1650 h 10000"/>
                <a:gd name="connsiteX1572" fmla="*/ 3857 w 10354"/>
                <a:gd name="connsiteY1572" fmla="*/ 1650 h 10000"/>
                <a:gd name="connsiteX1573" fmla="*/ 3853 w 10354"/>
                <a:gd name="connsiteY1573" fmla="*/ 1650 h 10000"/>
                <a:gd name="connsiteX1574" fmla="*/ 3839 w 10354"/>
                <a:gd name="connsiteY1574" fmla="*/ 1667 h 10000"/>
                <a:gd name="connsiteX1575" fmla="*/ 3848 w 10354"/>
                <a:gd name="connsiteY1575" fmla="*/ 1692 h 10000"/>
                <a:gd name="connsiteX1576" fmla="*/ 3834 w 10354"/>
                <a:gd name="connsiteY1576" fmla="*/ 1692 h 10000"/>
                <a:gd name="connsiteX1577" fmla="*/ 3825 w 10354"/>
                <a:gd name="connsiteY1577" fmla="*/ 1692 h 10000"/>
                <a:gd name="connsiteX1578" fmla="*/ 3825 w 10354"/>
                <a:gd name="connsiteY1578" fmla="*/ 1718 h 10000"/>
                <a:gd name="connsiteX1579" fmla="*/ 3839 w 10354"/>
                <a:gd name="connsiteY1579" fmla="*/ 1726 h 10000"/>
                <a:gd name="connsiteX1580" fmla="*/ 3880 w 10354"/>
                <a:gd name="connsiteY1580" fmla="*/ 1752 h 10000"/>
                <a:gd name="connsiteX1581" fmla="*/ 3894 w 10354"/>
                <a:gd name="connsiteY1581" fmla="*/ 1829 h 10000"/>
                <a:gd name="connsiteX1582" fmla="*/ 3899 w 10354"/>
                <a:gd name="connsiteY1582" fmla="*/ 1838 h 10000"/>
                <a:gd name="connsiteX1583" fmla="*/ 3894 w 10354"/>
                <a:gd name="connsiteY1583" fmla="*/ 1855 h 10000"/>
                <a:gd name="connsiteX1584" fmla="*/ 3880 w 10354"/>
                <a:gd name="connsiteY1584" fmla="*/ 1838 h 10000"/>
                <a:gd name="connsiteX1585" fmla="*/ 3880 w 10354"/>
                <a:gd name="connsiteY1585" fmla="*/ 1855 h 10000"/>
                <a:gd name="connsiteX1586" fmla="*/ 3880 w 10354"/>
                <a:gd name="connsiteY1586" fmla="*/ 1863 h 10000"/>
                <a:gd name="connsiteX1587" fmla="*/ 3871 w 10354"/>
                <a:gd name="connsiteY1587" fmla="*/ 1872 h 10000"/>
                <a:gd name="connsiteX1588" fmla="*/ 3880 w 10354"/>
                <a:gd name="connsiteY1588" fmla="*/ 1889 h 10000"/>
                <a:gd name="connsiteX1589" fmla="*/ 3885 w 10354"/>
                <a:gd name="connsiteY1589" fmla="*/ 1889 h 10000"/>
                <a:gd name="connsiteX1590" fmla="*/ 3880 w 10354"/>
                <a:gd name="connsiteY1590" fmla="*/ 1897 h 10000"/>
                <a:gd name="connsiteX1591" fmla="*/ 3871 w 10354"/>
                <a:gd name="connsiteY1591" fmla="*/ 1915 h 10000"/>
                <a:gd name="connsiteX1592" fmla="*/ 3848 w 10354"/>
                <a:gd name="connsiteY1592" fmla="*/ 1923 h 10000"/>
                <a:gd name="connsiteX1593" fmla="*/ 3825 w 10354"/>
                <a:gd name="connsiteY1593" fmla="*/ 1940 h 10000"/>
                <a:gd name="connsiteX1594" fmla="*/ 3811 w 10354"/>
                <a:gd name="connsiteY1594" fmla="*/ 1940 h 10000"/>
                <a:gd name="connsiteX1595" fmla="*/ 3806 w 10354"/>
                <a:gd name="connsiteY1595" fmla="*/ 1949 h 10000"/>
                <a:gd name="connsiteX1596" fmla="*/ 3797 w 10354"/>
                <a:gd name="connsiteY1596" fmla="*/ 1966 h 10000"/>
                <a:gd name="connsiteX1597" fmla="*/ 3788 w 10354"/>
                <a:gd name="connsiteY1597" fmla="*/ 1991 h 10000"/>
                <a:gd name="connsiteX1598" fmla="*/ 3765 w 10354"/>
                <a:gd name="connsiteY1598" fmla="*/ 1974 h 10000"/>
                <a:gd name="connsiteX1599" fmla="*/ 3760 w 10354"/>
                <a:gd name="connsiteY1599" fmla="*/ 1966 h 10000"/>
                <a:gd name="connsiteX1600" fmla="*/ 3760 w 10354"/>
                <a:gd name="connsiteY1600" fmla="*/ 1966 h 10000"/>
                <a:gd name="connsiteX1601" fmla="*/ 3631 w 10354"/>
                <a:gd name="connsiteY1601" fmla="*/ 2009 h 10000"/>
                <a:gd name="connsiteX1602" fmla="*/ 3618 w 10354"/>
                <a:gd name="connsiteY1602" fmla="*/ 2000 h 10000"/>
                <a:gd name="connsiteX1603" fmla="*/ 3599 w 10354"/>
                <a:gd name="connsiteY1603" fmla="*/ 2009 h 10000"/>
                <a:gd name="connsiteX1604" fmla="*/ 3571 w 10354"/>
                <a:gd name="connsiteY1604" fmla="*/ 2000 h 10000"/>
                <a:gd name="connsiteX1605" fmla="*/ 3530 w 10354"/>
                <a:gd name="connsiteY1605" fmla="*/ 2026 h 10000"/>
                <a:gd name="connsiteX1606" fmla="*/ 3530 w 10354"/>
                <a:gd name="connsiteY1606" fmla="*/ 2034 h 10000"/>
                <a:gd name="connsiteX1607" fmla="*/ 3525 w 10354"/>
                <a:gd name="connsiteY1607" fmla="*/ 2051 h 10000"/>
                <a:gd name="connsiteX1608" fmla="*/ 3512 w 10354"/>
                <a:gd name="connsiteY1608" fmla="*/ 2034 h 10000"/>
                <a:gd name="connsiteX1609" fmla="*/ 3507 w 10354"/>
                <a:gd name="connsiteY1609" fmla="*/ 2034 h 10000"/>
                <a:gd name="connsiteX1610" fmla="*/ 3498 w 10354"/>
                <a:gd name="connsiteY1610" fmla="*/ 2051 h 10000"/>
                <a:gd name="connsiteX1611" fmla="*/ 3484 w 10354"/>
                <a:gd name="connsiteY1611" fmla="*/ 2060 h 10000"/>
                <a:gd name="connsiteX1612" fmla="*/ 3484 w 10354"/>
                <a:gd name="connsiteY1612" fmla="*/ 2085 h 10000"/>
                <a:gd name="connsiteX1613" fmla="*/ 3484 w 10354"/>
                <a:gd name="connsiteY1613" fmla="*/ 2103 h 10000"/>
                <a:gd name="connsiteX1614" fmla="*/ 3493 w 10354"/>
                <a:gd name="connsiteY1614" fmla="*/ 2103 h 10000"/>
                <a:gd name="connsiteX1615" fmla="*/ 3493 w 10354"/>
                <a:gd name="connsiteY1615" fmla="*/ 2085 h 10000"/>
                <a:gd name="connsiteX1616" fmla="*/ 3498 w 10354"/>
                <a:gd name="connsiteY1616" fmla="*/ 2085 h 10000"/>
                <a:gd name="connsiteX1617" fmla="*/ 3498 w 10354"/>
                <a:gd name="connsiteY1617" fmla="*/ 2111 h 10000"/>
                <a:gd name="connsiteX1618" fmla="*/ 3484 w 10354"/>
                <a:gd name="connsiteY1618" fmla="*/ 2120 h 10000"/>
                <a:gd name="connsiteX1619" fmla="*/ 3484 w 10354"/>
                <a:gd name="connsiteY1619" fmla="*/ 2145 h 10000"/>
                <a:gd name="connsiteX1620" fmla="*/ 3470 w 10354"/>
                <a:gd name="connsiteY1620" fmla="*/ 2137 h 10000"/>
                <a:gd name="connsiteX1621" fmla="*/ 3465 w 10354"/>
                <a:gd name="connsiteY1621" fmla="*/ 2145 h 10000"/>
                <a:gd name="connsiteX1622" fmla="*/ 3470 w 10354"/>
                <a:gd name="connsiteY1622" fmla="*/ 2171 h 10000"/>
                <a:gd name="connsiteX1623" fmla="*/ 3484 w 10354"/>
                <a:gd name="connsiteY1623" fmla="*/ 2171 h 10000"/>
                <a:gd name="connsiteX1624" fmla="*/ 3484 w 10354"/>
                <a:gd name="connsiteY1624" fmla="*/ 2197 h 10000"/>
                <a:gd name="connsiteX1625" fmla="*/ 3465 w 10354"/>
                <a:gd name="connsiteY1625" fmla="*/ 2214 h 10000"/>
                <a:gd name="connsiteX1626" fmla="*/ 3493 w 10354"/>
                <a:gd name="connsiteY1626" fmla="*/ 2248 h 10000"/>
                <a:gd name="connsiteX1627" fmla="*/ 3484 w 10354"/>
                <a:gd name="connsiteY1627" fmla="*/ 2256 h 10000"/>
                <a:gd name="connsiteX1628" fmla="*/ 3498 w 10354"/>
                <a:gd name="connsiteY1628" fmla="*/ 2274 h 10000"/>
                <a:gd name="connsiteX1629" fmla="*/ 3498 w 10354"/>
                <a:gd name="connsiteY1629" fmla="*/ 2256 h 10000"/>
                <a:gd name="connsiteX1630" fmla="*/ 3507 w 10354"/>
                <a:gd name="connsiteY1630" fmla="*/ 2308 h 10000"/>
                <a:gd name="connsiteX1631" fmla="*/ 3512 w 10354"/>
                <a:gd name="connsiteY1631" fmla="*/ 2325 h 10000"/>
                <a:gd name="connsiteX1632" fmla="*/ 3507 w 10354"/>
                <a:gd name="connsiteY1632" fmla="*/ 2333 h 10000"/>
                <a:gd name="connsiteX1633" fmla="*/ 3507 w 10354"/>
                <a:gd name="connsiteY1633" fmla="*/ 2359 h 10000"/>
                <a:gd name="connsiteX1634" fmla="*/ 3507 w 10354"/>
                <a:gd name="connsiteY1634" fmla="*/ 2376 h 10000"/>
                <a:gd name="connsiteX1635" fmla="*/ 3498 w 10354"/>
                <a:gd name="connsiteY1635" fmla="*/ 2410 h 10000"/>
                <a:gd name="connsiteX1636" fmla="*/ 3498 w 10354"/>
                <a:gd name="connsiteY1636" fmla="*/ 2436 h 10000"/>
                <a:gd name="connsiteX1637" fmla="*/ 3507 w 10354"/>
                <a:gd name="connsiteY1637" fmla="*/ 2462 h 10000"/>
                <a:gd name="connsiteX1638" fmla="*/ 3507 w 10354"/>
                <a:gd name="connsiteY1638" fmla="*/ 2496 h 10000"/>
                <a:gd name="connsiteX1639" fmla="*/ 3512 w 10354"/>
                <a:gd name="connsiteY1639" fmla="*/ 2521 h 10000"/>
                <a:gd name="connsiteX1640" fmla="*/ 3525 w 10354"/>
                <a:gd name="connsiteY1640" fmla="*/ 2556 h 10000"/>
                <a:gd name="connsiteX1641" fmla="*/ 3571 w 10354"/>
                <a:gd name="connsiteY1641" fmla="*/ 2573 h 10000"/>
                <a:gd name="connsiteX1642" fmla="*/ 3590 w 10354"/>
                <a:gd name="connsiteY1642" fmla="*/ 2598 h 10000"/>
                <a:gd name="connsiteX1643" fmla="*/ 3599 w 10354"/>
                <a:gd name="connsiteY1643" fmla="*/ 2598 h 10000"/>
                <a:gd name="connsiteX1644" fmla="*/ 3604 w 10354"/>
                <a:gd name="connsiteY1644" fmla="*/ 2632 h 10000"/>
                <a:gd name="connsiteX1645" fmla="*/ 3599 w 10354"/>
                <a:gd name="connsiteY1645" fmla="*/ 2658 h 10000"/>
                <a:gd name="connsiteX1646" fmla="*/ 3590 w 10354"/>
                <a:gd name="connsiteY1646" fmla="*/ 2667 h 10000"/>
                <a:gd name="connsiteX1647" fmla="*/ 3604 w 10354"/>
                <a:gd name="connsiteY1647" fmla="*/ 2667 h 10000"/>
                <a:gd name="connsiteX1648" fmla="*/ 3613 w 10354"/>
                <a:gd name="connsiteY1648" fmla="*/ 2692 h 10000"/>
                <a:gd name="connsiteX1649" fmla="*/ 3627 w 10354"/>
                <a:gd name="connsiteY1649" fmla="*/ 2735 h 10000"/>
                <a:gd name="connsiteX1650" fmla="*/ 3631 w 10354"/>
                <a:gd name="connsiteY1650" fmla="*/ 2744 h 10000"/>
                <a:gd name="connsiteX1651" fmla="*/ 3659 w 10354"/>
                <a:gd name="connsiteY1651" fmla="*/ 2761 h 10000"/>
                <a:gd name="connsiteX1652" fmla="*/ 3673 w 10354"/>
                <a:gd name="connsiteY1652" fmla="*/ 2769 h 10000"/>
                <a:gd name="connsiteX1653" fmla="*/ 3673 w 10354"/>
                <a:gd name="connsiteY1653" fmla="*/ 2761 h 10000"/>
                <a:gd name="connsiteX1654" fmla="*/ 3687 w 10354"/>
                <a:gd name="connsiteY1654" fmla="*/ 2829 h 10000"/>
                <a:gd name="connsiteX1655" fmla="*/ 3677 w 10354"/>
                <a:gd name="connsiteY1655" fmla="*/ 2897 h 10000"/>
                <a:gd name="connsiteX1656" fmla="*/ 3673 w 10354"/>
                <a:gd name="connsiteY1656" fmla="*/ 2915 h 10000"/>
                <a:gd name="connsiteX1657" fmla="*/ 3664 w 10354"/>
                <a:gd name="connsiteY1657" fmla="*/ 2957 h 10000"/>
                <a:gd name="connsiteX1658" fmla="*/ 3659 w 10354"/>
                <a:gd name="connsiteY1658" fmla="*/ 2983 h 10000"/>
                <a:gd name="connsiteX1659" fmla="*/ 3664 w 10354"/>
                <a:gd name="connsiteY1659" fmla="*/ 3017 h 10000"/>
                <a:gd name="connsiteX1660" fmla="*/ 3659 w 10354"/>
                <a:gd name="connsiteY1660" fmla="*/ 3043 h 10000"/>
                <a:gd name="connsiteX1661" fmla="*/ 3677 w 10354"/>
                <a:gd name="connsiteY1661" fmla="*/ 3094 h 10000"/>
                <a:gd name="connsiteX1662" fmla="*/ 3691 w 10354"/>
                <a:gd name="connsiteY1662" fmla="*/ 3282 h 10000"/>
                <a:gd name="connsiteX1663" fmla="*/ 3691 w 10354"/>
                <a:gd name="connsiteY1663" fmla="*/ 3308 h 10000"/>
                <a:gd name="connsiteX1664" fmla="*/ 3677 w 10354"/>
                <a:gd name="connsiteY1664" fmla="*/ 3342 h 10000"/>
                <a:gd name="connsiteX1665" fmla="*/ 3664 w 10354"/>
                <a:gd name="connsiteY1665" fmla="*/ 3342 h 10000"/>
                <a:gd name="connsiteX1666" fmla="*/ 3650 w 10354"/>
                <a:gd name="connsiteY1666" fmla="*/ 3342 h 10000"/>
                <a:gd name="connsiteX1667" fmla="*/ 3650 w 10354"/>
                <a:gd name="connsiteY1667" fmla="*/ 3350 h 10000"/>
                <a:gd name="connsiteX1668" fmla="*/ 3659 w 10354"/>
                <a:gd name="connsiteY1668" fmla="*/ 3402 h 10000"/>
                <a:gd name="connsiteX1669" fmla="*/ 3659 w 10354"/>
                <a:gd name="connsiteY1669" fmla="*/ 3419 h 10000"/>
                <a:gd name="connsiteX1670" fmla="*/ 3631 w 10354"/>
                <a:gd name="connsiteY1670" fmla="*/ 3402 h 10000"/>
                <a:gd name="connsiteX1671" fmla="*/ 3604 w 10354"/>
                <a:gd name="connsiteY1671" fmla="*/ 3393 h 10000"/>
                <a:gd name="connsiteX1672" fmla="*/ 3599 w 10354"/>
                <a:gd name="connsiteY1672" fmla="*/ 3368 h 10000"/>
                <a:gd name="connsiteX1673" fmla="*/ 3590 w 10354"/>
                <a:gd name="connsiteY1673" fmla="*/ 3239 h 10000"/>
                <a:gd name="connsiteX1674" fmla="*/ 3599 w 10354"/>
                <a:gd name="connsiteY1674" fmla="*/ 3179 h 10000"/>
                <a:gd name="connsiteX1675" fmla="*/ 3599 w 10354"/>
                <a:gd name="connsiteY1675" fmla="*/ 3171 h 10000"/>
                <a:gd name="connsiteX1676" fmla="*/ 3599 w 10354"/>
                <a:gd name="connsiteY1676" fmla="*/ 3009 h 10000"/>
                <a:gd name="connsiteX1677" fmla="*/ 3604 w 10354"/>
                <a:gd name="connsiteY1677" fmla="*/ 2983 h 10000"/>
                <a:gd name="connsiteX1678" fmla="*/ 3645 w 10354"/>
                <a:gd name="connsiteY1678" fmla="*/ 2932 h 10000"/>
                <a:gd name="connsiteX1679" fmla="*/ 3650 w 10354"/>
                <a:gd name="connsiteY1679" fmla="*/ 2872 h 10000"/>
                <a:gd name="connsiteX1680" fmla="*/ 3659 w 10354"/>
                <a:gd name="connsiteY1680" fmla="*/ 2855 h 10000"/>
                <a:gd name="connsiteX1681" fmla="*/ 3659 w 10354"/>
                <a:gd name="connsiteY1681" fmla="*/ 2821 h 10000"/>
                <a:gd name="connsiteX1682" fmla="*/ 3631 w 10354"/>
                <a:gd name="connsiteY1682" fmla="*/ 2795 h 10000"/>
                <a:gd name="connsiteX1683" fmla="*/ 3567 w 10354"/>
                <a:gd name="connsiteY1683" fmla="*/ 2821 h 10000"/>
                <a:gd name="connsiteX1684" fmla="*/ 3544 w 10354"/>
                <a:gd name="connsiteY1684" fmla="*/ 2795 h 10000"/>
                <a:gd name="connsiteX1685" fmla="*/ 3530 w 10354"/>
                <a:gd name="connsiteY1685" fmla="*/ 2769 h 10000"/>
                <a:gd name="connsiteX1686" fmla="*/ 3530 w 10354"/>
                <a:gd name="connsiteY1686" fmla="*/ 2786 h 10000"/>
                <a:gd name="connsiteX1687" fmla="*/ 3498 w 10354"/>
                <a:gd name="connsiteY1687" fmla="*/ 2692 h 10000"/>
                <a:gd name="connsiteX1688" fmla="*/ 3498 w 10354"/>
                <a:gd name="connsiteY1688" fmla="*/ 2667 h 10000"/>
                <a:gd name="connsiteX1689" fmla="*/ 3442 w 10354"/>
                <a:gd name="connsiteY1689" fmla="*/ 2607 h 10000"/>
                <a:gd name="connsiteX1690" fmla="*/ 3433 w 10354"/>
                <a:gd name="connsiteY1690" fmla="*/ 2581 h 10000"/>
                <a:gd name="connsiteX1691" fmla="*/ 3396 w 10354"/>
                <a:gd name="connsiteY1691" fmla="*/ 2556 h 10000"/>
                <a:gd name="connsiteX1692" fmla="*/ 3318 w 10354"/>
                <a:gd name="connsiteY1692" fmla="*/ 2556 h 10000"/>
                <a:gd name="connsiteX1693" fmla="*/ 3304 w 10354"/>
                <a:gd name="connsiteY1693" fmla="*/ 2607 h 10000"/>
                <a:gd name="connsiteX1694" fmla="*/ 3276 w 10354"/>
                <a:gd name="connsiteY1694" fmla="*/ 2632 h 10000"/>
                <a:gd name="connsiteX1695" fmla="*/ 3272 w 10354"/>
                <a:gd name="connsiteY1695" fmla="*/ 2667 h 10000"/>
                <a:gd name="connsiteX1696" fmla="*/ 3304 w 10354"/>
                <a:gd name="connsiteY1696" fmla="*/ 2667 h 10000"/>
                <a:gd name="connsiteX1697" fmla="*/ 3323 w 10354"/>
                <a:gd name="connsiteY1697" fmla="*/ 2692 h 10000"/>
                <a:gd name="connsiteX1698" fmla="*/ 3318 w 10354"/>
                <a:gd name="connsiteY1698" fmla="*/ 2735 h 10000"/>
                <a:gd name="connsiteX1699" fmla="*/ 3304 w 10354"/>
                <a:gd name="connsiteY1699" fmla="*/ 2761 h 10000"/>
                <a:gd name="connsiteX1700" fmla="*/ 3276 w 10354"/>
                <a:gd name="connsiteY1700" fmla="*/ 2769 h 10000"/>
                <a:gd name="connsiteX1701" fmla="*/ 3263 w 10354"/>
                <a:gd name="connsiteY1701" fmla="*/ 2795 h 10000"/>
                <a:gd name="connsiteX1702" fmla="*/ 3235 w 10354"/>
                <a:gd name="connsiteY1702" fmla="*/ 2803 h 10000"/>
                <a:gd name="connsiteX1703" fmla="*/ 3235 w 10354"/>
                <a:gd name="connsiteY1703" fmla="*/ 2786 h 10000"/>
                <a:gd name="connsiteX1704" fmla="*/ 3212 w 10354"/>
                <a:gd name="connsiteY1704" fmla="*/ 2709 h 10000"/>
                <a:gd name="connsiteX1705" fmla="*/ 3198 w 10354"/>
                <a:gd name="connsiteY1705" fmla="*/ 2709 h 10000"/>
                <a:gd name="connsiteX1706" fmla="*/ 3184 w 10354"/>
                <a:gd name="connsiteY1706" fmla="*/ 2735 h 10000"/>
                <a:gd name="connsiteX1707" fmla="*/ 3189 w 10354"/>
                <a:gd name="connsiteY1707" fmla="*/ 2761 h 10000"/>
                <a:gd name="connsiteX1708" fmla="*/ 3203 w 10354"/>
                <a:gd name="connsiteY1708" fmla="*/ 2855 h 10000"/>
                <a:gd name="connsiteX1709" fmla="*/ 3212 w 10354"/>
                <a:gd name="connsiteY1709" fmla="*/ 2872 h 10000"/>
                <a:gd name="connsiteX1710" fmla="*/ 3235 w 10354"/>
                <a:gd name="connsiteY1710" fmla="*/ 2906 h 10000"/>
                <a:gd name="connsiteX1711" fmla="*/ 3258 w 10354"/>
                <a:gd name="connsiteY1711" fmla="*/ 2915 h 10000"/>
                <a:gd name="connsiteX1712" fmla="*/ 3272 w 10354"/>
                <a:gd name="connsiteY1712" fmla="*/ 2957 h 10000"/>
                <a:gd name="connsiteX1713" fmla="*/ 3276 w 10354"/>
                <a:gd name="connsiteY1713" fmla="*/ 2957 h 10000"/>
                <a:gd name="connsiteX1714" fmla="*/ 3286 w 10354"/>
                <a:gd name="connsiteY1714" fmla="*/ 2966 h 10000"/>
                <a:gd name="connsiteX1715" fmla="*/ 3300 w 10354"/>
                <a:gd name="connsiteY1715" fmla="*/ 2957 h 10000"/>
                <a:gd name="connsiteX1716" fmla="*/ 3309 w 10354"/>
                <a:gd name="connsiteY1716" fmla="*/ 2932 h 10000"/>
                <a:gd name="connsiteX1717" fmla="*/ 3304 w 10354"/>
                <a:gd name="connsiteY1717" fmla="*/ 2966 h 10000"/>
                <a:gd name="connsiteX1718" fmla="*/ 3309 w 10354"/>
                <a:gd name="connsiteY1718" fmla="*/ 2983 h 10000"/>
                <a:gd name="connsiteX1719" fmla="*/ 3323 w 10354"/>
                <a:gd name="connsiteY1719" fmla="*/ 2966 h 10000"/>
                <a:gd name="connsiteX1720" fmla="*/ 3323 w 10354"/>
                <a:gd name="connsiteY1720" fmla="*/ 3043 h 10000"/>
                <a:gd name="connsiteX1721" fmla="*/ 3346 w 10354"/>
                <a:gd name="connsiteY1721" fmla="*/ 3068 h 10000"/>
                <a:gd name="connsiteX1722" fmla="*/ 3346 w 10354"/>
                <a:gd name="connsiteY1722" fmla="*/ 3094 h 10000"/>
                <a:gd name="connsiteX1723" fmla="*/ 3323 w 10354"/>
                <a:gd name="connsiteY1723" fmla="*/ 3094 h 10000"/>
                <a:gd name="connsiteX1724" fmla="*/ 3309 w 10354"/>
                <a:gd name="connsiteY1724" fmla="*/ 3077 h 10000"/>
                <a:gd name="connsiteX1725" fmla="*/ 3304 w 10354"/>
                <a:gd name="connsiteY1725" fmla="*/ 3051 h 10000"/>
                <a:gd name="connsiteX1726" fmla="*/ 3300 w 10354"/>
                <a:gd name="connsiteY1726" fmla="*/ 3043 h 10000"/>
                <a:gd name="connsiteX1727" fmla="*/ 3286 w 10354"/>
                <a:gd name="connsiteY1727" fmla="*/ 3017 h 10000"/>
                <a:gd name="connsiteX1728" fmla="*/ 3152 w 10354"/>
                <a:gd name="connsiteY1728" fmla="*/ 2966 h 10000"/>
                <a:gd name="connsiteX1729" fmla="*/ 3129 w 10354"/>
                <a:gd name="connsiteY1729" fmla="*/ 2915 h 10000"/>
                <a:gd name="connsiteX1730" fmla="*/ 3129 w 10354"/>
                <a:gd name="connsiteY1730" fmla="*/ 2906 h 10000"/>
                <a:gd name="connsiteX1731" fmla="*/ 3152 w 10354"/>
                <a:gd name="connsiteY1731" fmla="*/ 2906 h 10000"/>
                <a:gd name="connsiteX1732" fmla="*/ 3152 w 10354"/>
                <a:gd name="connsiteY1732" fmla="*/ 2846 h 10000"/>
                <a:gd name="connsiteX1733" fmla="*/ 3138 w 10354"/>
                <a:gd name="connsiteY1733" fmla="*/ 2795 h 10000"/>
                <a:gd name="connsiteX1734" fmla="*/ 3138 w 10354"/>
                <a:gd name="connsiteY1734" fmla="*/ 2769 h 10000"/>
                <a:gd name="connsiteX1735" fmla="*/ 3143 w 10354"/>
                <a:gd name="connsiteY1735" fmla="*/ 2718 h 10000"/>
                <a:gd name="connsiteX1736" fmla="*/ 3129 w 10354"/>
                <a:gd name="connsiteY1736" fmla="*/ 2692 h 10000"/>
                <a:gd name="connsiteX1737" fmla="*/ 3143 w 10354"/>
                <a:gd name="connsiteY1737" fmla="*/ 2667 h 10000"/>
                <a:gd name="connsiteX1738" fmla="*/ 3157 w 10354"/>
                <a:gd name="connsiteY1738" fmla="*/ 2581 h 10000"/>
                <a:gd name="connsiteX1739" fmla="*/ 3143 w 10354"/>
                <a:gd name="connsiteY1739" fmla="*/ 2496 h 10000"/>
                <a:gd name="connsiteX1740" fmla="*/ 3157 w 10354"/>
                <a:gd name="connsiteY1740" fmla="*/ 2487 h 10000"/>
                <a:gd name="connsiteX1741" fmla="*/ 3143 w 10354"/>
                <a:gd name="connsiteY1741" fmla="*/ 2444 h 10000"/>
                <a:gd name="connsiteX1742" fmla="*/ 3143 w 10354"/>
                <a:gd name="connsiteY1742" fmla="*/ 2419 h 10000"/>
                <a:gd name="connsiteX1743" fmla="*/ 3143 w 10354"/>
                <a:gd name="connsiteY1743" fmla="*/ 2410 h 10000"/>
                <a:gd name="connsiteX1744" fmla="*/ 3124 w 10354"/>
                <a:gd name="connsiteY1744" fmla="*/ 2376 h 10000"/>
                <a:gd name="connsiteX1745" fmla="*/ 3115 w 10354"/>
                <a:gd name="connsiteY1745" fmla="*/ 2350 h 10000"/>
                <a:gd name="connsiteX1746" fmla="*/ 3101 w 10354"/>
                <a:gd name="connsiteY1746" fmla="*/ 2359 h 10000"/>
                <a:gd name="connsiteX1747" fmla="*/ 3115 w 10354"/>
                <a:gd name="connsiteY1747" fmla="*/ 2581 h 10000"/>
                <a:gd name="connsiteX1748" fmla="*/ 3111 w 10354"/>
                <a:gd name="connsiteY1748" fmla="*/ 2624 h 10000"/>
                <a:gd name="connsiteX1749" fmla="*/ 3009 w 10354"/>
                <a:gd name="connsiteY1749" fmla="*/ 2761 h 10000"/>
                <a:gd name="connsiteX1750" fmla="*/ 3009 w 10354"/>
                <a:gd name="connsiteY1750" fmla="*/ 2803 h 10000"/>
                <a:gd name="connsiteX1751" fmla="*/ 3005 w 10354"/>
                <a:gd name="connsiteY1751" fmla="*/ 2829 h 10000"/>
                <a:gd name="connsiteX1752" fmla="*/ 2982 w 10354"/>
                <a:gd name="connsiteY1752" fmla="*/ 2872 h 10000"/>
                <a:gd name="connsiteX1753" fmla="*/ 2982 w 10354"/>
                <a:gd name="connsiteY1753" fmla="*/ 2880 h 10000"/>
                <a:gd name="connsiteX1754" fmla="*/ 3037 w 10354"/>
                <a:gd name="connsiteY1754" fmla="*/ 3034 h 10000"/>
                <a:gd name="connsiteX1755" fmla="*/ 3041 w 10354"/>
                <a:gd name="connsiteY1755" fmla="*/ 3103 h 10000"/>
                <a:gd name="connsiteX1756" fmla="*/ 3069 w 10354"/>
                <a:gd name="connsiteY1756" fmla="*/ 3188 h 10000"/>
                <a:gd name="connsiteX1757" fmla="*/ 3055 w 10354"/>
                <a:gd name="connsiteY1757" fmla="*/ 3325 h 10000"/>
                <a:gd name="connsiteX1758" fmla="*/ 3037 w 10354"/>
                <a:gd name="connsiteY1758" fmla="*/ 3368 h 10000"/>
                <a:gd name="connsiteX1759" fmla="*/ 3037 w 10354"/>
                <a:gd name="connsiteY1759" fmla="*/ 3444 h 10000"/>
                <a:gd name="connsiteX1760" fmla="*/ 3028 w 10354"/>
                <a:gd name="connsiteY1760" fmla="*/ 3453 h 10000"/>
                <a:gd name="connsiteX1761" fmla="*/ 3023 w 10354"/>
                <a:gd name="connsiteY1761" fmla="*/ 3530 h 10000"/>
                <a:gd name="connsiteX1762" fmla="*/ 3051 w 10354"/>
                <a:gd name="connsiteY1762" fmla="*/ 3624 h 10000"/>
                <a:gd name="connsiteX1763" fmla="*/ 3037 w 10354"/>
                <a:gd name="connsiteY1763" fmla="*/ 3718 h 10000"/>
                <a:gd name="connsiteX1764" fmla="*/ 3041 w 10354"/>
                <a:gd name="connsiteY1764" fmla="*/ 3752 h 10000"/>
                <a:gd name="connsiteX1765" fmla="*/ 3055 w 10354"/>
                <a:gd name="connsiteY1765" fmla="*/ 3761 h 10000"/>
                <a:gd name="connsiteX1766" fmla="*/ 3078 w 10354"/>
                <a:gd name="connsiteY1766" fmla="*/ 3752 h 10000"/>
                <a:gd name="connsiteX1767" fmla="*/ 3092 w 10354"/>
                <a:gd name="connsiteY1767" fmla="*/ 3752 h 10000"/>
                <a:gd name="connsiteX1768" fmla="*/ 3129 w 10354"/>
                <a:gd name="connsiteY1768" fmla="*/ 3761 h 10000"/>
                <a:gd name="connsiteX1769" fmla="*/ 3129 w 10354"/>
                <a:gd name="connsiteY1769" fmla="*/ 3735 h 10000"/>
                <a:gd name="connsiteX1770" fmla="*/ 3157 w 10354"/>
                <a:gd name="connsiteY1770" fmla="*/ 3718 h 10000"/>
                <a:gd name="connsiteX1771" fmla="*/ 3184 w 10354"/>
                <a:gd name="connsiteY1771" fmla="*/ 3718 h 10000"/>
                <a:gd name="connsiteX1772" fmla="*/ 3290 w 10354"/>
                <a:gd name="connsiteY1772" fmla="*/ 3838 h 10000"/>
                <a:gd name="connsiteX1773" fmla="*/ 3300 w 10354"/>
                <a:gd name="connsiteY1773" fmla="*/ 3846 h 10000"/>
                <a:gd name="connsiteX1774" fmla="*/ 3300 w 10354"/>
                <a:gd name="connsiteY1774" fmla="*/ 3915 h 10000"/>
                <a:gd name="connsiteX1775" fmla="*/ 3318 w 10354"/>
                <a:gd name="connsiteY1775" fmla="*/ 4000 h 10000"/>
                <a:gd name="connsiteX1776" fmla="*/ 3323 w 10354"/>
                <a:gd name="connsiteY1776" fmla="*/ 4000 h 10000"/>
                <a:gd name="connsiteX1777" fmla="*/ 3323 w 10354"/>
                <a:gd name="connsiteY1777" fmla="*/ 4034 h 10000"/>
                <a:gd name="connsiteX1778" fmla="*/ 3318 w 10354"/>
                <a:gd name="connsiteY1778" fmla="*/ 4051 h 10000"/>
                <a:gd name="connsiteX1779" fmla="*/ 3300 w 10354"/>
                <a:gd name="connsiteY1779" fmla="*/ 4051 h 10000"/>
                <a:gd name="connsiteX1780" fmla="*/ 3290 w 10354"/>
                <a:gd name="connsiteY1780" fmla="*/ 4077 h 10000"/>
                <a:gd name="connsiteX1781" fmla="*/ 3286 w 10354"/>
                <a:gd name="connsiteY1781" fmla="*/ 4103 h 10000"/>
                <a:gd name="connsiteX1782" fmla="*/ 3286 w 10354"/>
                <a:gd name="connsiteY1782" fmla="*/ 4197 h 10000"/>
                <a:gd name="connsiteX1783" fmla="*/ 3290 w 10354"/>
                <a:gd name="connsiteY1783" fmla="*/ 4214 h 10000"/>
                <a:gd name="connsiteX1784" fmla="*/ 3304 w 10354"/>
                <a:gd name="connsiteY1784" fmla="*/ 4214 h 10000"/>
                <a:gd name="connsiteX1785" fmla="*/ 3323 w 10354"/>
                <a:gd name="connsiteY1785" fmla="*/ 4239 h 10000"/>
                <a:gd name="connsiteX1786" fmla="*/ 3350 w 10354"/>
                <a:gd name="connsiteY1786" fmla="*/ 4222 h 10000"/>
                <a:gd name="connsiteX1787" fmla="*/ 3369 w 10354"/>
                <a:gd name="connsiteY1787" fmla="*/ 4256 h 10000"/>
                <a:gd name="connsiteX1788" fmla="*/ 3369 w 10354"/>
                <a:gd name="connsiteY1788" fmla="*/ 4256 h 10000"/>
                <a:gd name="connsiteX1789" fmla="*/ 3336 w 10354"/>
                <a:gd name="connsiteY1789" fmla="*/ 4274 h 10000"/>
                <a:gd name="connsiteX1790" fmla="*/ 3323 w 10354"/>
                <a:gd name="connsiteY1790" fmla="*/ 4274 h 10000"/>
                <a:gd name="connsiteX1791" fmla="*/ 3290 w 10354"/>
                <a:gd name="connsiteY1791" fmla="*/ 4274 h 10000"/>
                <a:gd name="connsiteX1792" fmla="*/ 3286 w 10354"/>
                <a:gd name="connsiteY1792" fmla="*/ 4239 h 10000"/>
                <a:gd name="connsiteX1793" fmla="*/ 3263 w 10354"/>
                <a:gd name="connsiteY1793" fmla="*/ 4214 h 10000"/>
                <a:gd name="connsiteX1794" fmla="*/ 3258 w 10354"/>
                <a:gd name="connsiteY1794" fmla="*/ 4188 h 10000"/>
                <a:gd name="connsiteX1795" fmla="*/ 3263 w 10354"/>
                <a:gd name="connsiteY1795" fmla="*/ 4171 h 10000"/>
                <a:gd name="connsiteX1796" fmla="*/ 3263 w 10354"/>
                <a:gd name="connsiteY1796" fmla="*/ 4103 h 10000"/>
                <a:gd name="connsiteX1797" fmla="*/ 3276 w 10354"/>
                <a:gd name="connsiteY1797" fmla="*/ 4060 h 10000"/>
                <a:gd name="connsiteX1798" fmla="*/ 3272 w 10354"/>
                <a:gd name="connsiteY1798" fmla="*/ 4051 h 10000"/>
                <a:gd name="connsiteX1799" fmla="*/ 3263 w 10354"/>
                <a:gd name="connsiteY1799" fmla="*/ 4051 h 10000"/>
                <a:gd name="connsiteX1800" fmla="*/ 3263 w 10354"/>
                <a:gd name="connsiteY1800" fmla="*/ 4034 h 10000"/>
                <a:gd name="connsiteX1801" fmla="*/ 3263 w 10354"/>
                <a:gd name="connsiteY1801" fmla="*/ 4000 h 10000"/>
                <a:gd name="connsiteX1802" fmla="*/ 3272 w 10354"/>
                <a:gd name="connsiteY1802" fmla="*/ 4000 h 10000"/>
                <a:gd name="connsiteX1803" fmla="*/ 3272 w 10354"/>
                <a:gd name="connsiteY1803" fmla="*/ 3974 h 10000"/>
                <a:gd name="connsiteX1804" fmla="*/ 3272 w 10354"/>
                <a:gd name="connsiteY1804" fmla="*/ 3966 h 10000"/>
                <a:gd name="connsiteX1805" fmla="*/ 3272 w 10354"/>
                <a:gd name="connsiteY1805" fmla="*/ 3949 h 10000"/>
                <a:gd name="connsiteX1806" fmla="*/ 3258 w 10354"/>
                <a:gd name="connsiteY1806" fmla="*/ 3923 h 10000"/>
                <a:gd name="connsiteX1807" fmla="*/ 3249 w 10354"/>
                <a:gd name="connsiteY1807" fmla="*/ 3915 h 10000"/>
                <a:gd name="connsiteX1808" fmla="*/ 3244 w 10354"/>
                <a:gd name="connsiteY1808" fmla="*/ 3897 h 10000"/>
                <a:gd name="connsiteX1809" fmla="*/ 3230 w 10354"/>
                <a:gd name="connsiteY1809" fmla="*/ 3889 h 10000"/>
                <a:gd name="connsiteX1810" fmla="*/ 3230 w 10354"/>
                <a:gd name="connsiteY1810" fmla="*/ 3863 h 10000"/>
                <a:gd name="connsiteX1811" fmla="*/ 3230 w 10354"/>
                <a:gd name="connsiteY1811" fmla="*/ 3838 h 10000"/>
                <a:gd name="connsiteX1812" fmla="*/ 3226 w 10354"/>
                <a:gd name="connsiteY1812" fmla="*/ 3803 h 10000"/>
                <a:gd name="connsiteX1813" fmla="*/ 3138 w 10354"/>
                <a:gd name="connsiteY1813" fmla="*/ 3838 h 10000"/>
                <a:gd name="connsiteX1814" fmla="*/ 3078 w 10354"/>
                <a:gd name="connsiteY1814" fmla="*/ 3889 h 10000"/>
                <a:gd name="connsiteX1815" fmla="*/ 3078 w 10354"/>
                <a:gd name="connsiteY1815" fmla="*/ 3940 h 10000"/>
                <a:gd name="connsiteX1816" fmla="*/ 3069 w 10354"/>
                <a:gd name="connsiteY1816" fmla="*/ 3983 h 10000"/>
                <a:gd name="connsiteX1817" fmla="*/ 3069 w 10354"/>
                <a:gd name="connsiteY1817" fmla="*/ 4009 h 10000"/>
                <a:gd name="connsiteX1818" fmla="*/ 3078 w 10354"/>
                <a:gd name="connsiteY1818" fmla="*/ 4026 h 10000"/>
                <a:gd name="connsiteX1819" fmla="*/ 3083 w 10354"/>
                <a:gd name="connsiteY1819" fmla="*/ 4034 h 10000"/>
                <a:gd name="connsiteX1820" fmla="*/ 3092 w 10354"/>
                <a:gd name="connsiteY1820" fmla="*/ 4060 h 10000"/>
                <a:gd name="connsiteX1821" fmla="*/ 3092 w 10354"/>
                <a:gd name="connsiteY1821" fmla="*/ 4077 h 10000"/>
                <a:gd name="connsiteX1822" fmla="*/ 3097 w 10354"/>
                <a:gd name="connsiteY1822" fmla="*/ 4103 h 10000"/>
                <a:gd name="connsiteX1823" fmla="*/ 3101 w 10354"/>
                <a:gd name="connsiteY1823" fmla="*/ 4162 h 10000"/>
                <a:gd name="connsiteX1824" fmla="*/ 3097 w 10354"/>
                <a:gd name="connsiteY1824" fmla="*/ 4222 h 10000"/>
                <a:gd name="connsiteX1825" fmla="*/ 3041 w 10354"/>
                <a:gd name="connsiteY1825" fmla="*/ 4325 h 10000"/>
                <a:gd name="connsiteX1826" fmla="*/ 3037 w 10354"/>
                <a:gd name="connsiteY1826" fmla="*/ 4419 h 10000"/>
                <a:gd name="connsiteX1827" fmla="*/ 3018 w 10354"/>
                <a:gd name="connsiteY1827" fmla="*/ 4470 h 10000"/>
                <a:gd name="connsiteX1828" fmla="*/ 2991 w 10354"/>
                <a:gd name="connsiteY1828" fmla="*/ 4513 h 10000"/>
                <a:gd name="connsiteX1829" fmla="*/ 2977 w 10354"/>
                <a:gd name="connsiteY1829" fmla="*/ 4530 h 10000"/>
                <a:gd name="connsiteX1830" fmla="*/ 2945 w 10354"/>
                <a:gd name="connsiteY1830" fmla="*/ 4556 h 10000"/>
                <a:gd name="connsiteX1831" fmla="*/ 2935 w 10354"/>
                <a:gd name="connsiteY1831" fmla="*/ 4581 h 10000"/>
                <a:gd name="connsiteX1832" fmla="*/ 2949 w 10354"/>
                <a:gd name="connsiteY1832" fmla="*/ 4624 h 10000"/>
                <a:gd name="connsiteX1833" fmla="*/ 2945 w 10354"/>
                <a:gd name="connsiteY1833" fmla="*/ 4658 h 10000"/>
                <a:gd name="connsiteX1834" fmla="*/ 2922 w 10354"/>
                <a:gd name="connsiteY1834" fmla="*/ 4667 h 10000"/>
                <a:gd name="connsiteX1835" fmla="*/ 2876 w 10354"/>
                <a:gd name="connsiteY1835" fmla="*/ 4632 h 10000"/>
                <a:gd name="connsiteX1836" fmla="*/ 2857 w 10354"/>
                <a:gd name="connsiteY1836" fmla="*/ 4632 h 10000"/>
                <a:gd name="connsiteX1837" fmla="*/ 2820 w 10354"/>
                <a:gd name="connsiteY1837" fmla="*/ 4641 h 10000"/>
                <a:gd name="connsiteX1838" fmla="*/ 2797 w 10354"/>
                <a:gd name="connsiteY1838" fmla="*/ 4632 h 10000"/>
                <a:gd name="connsiteX1839" fmla="*/ 2788 w 10354"/>
                <a:gd name="connsiteY1839" fmla="*/ 4624 h 10000"/>
                <a:gd name="connsiteX1840" fmla="*/ 2788 w 10354"/>
                <a:gd name="connsiteY1840" fmla="*/ 4598 h 10000"/>
                <a:gd name="connsiteX1841" fmla="*/ 2797 w 10354"/>
                <a:gd name="connsiteY1841" fmla="*/ 4581 h 10000"/>
                <a:gd name="connsiteX1842" fmla="*/ 2788 w 10354"/>
                <a:gd name="connsiteY1842" fmla="*/ 4530 h 10000"/>
                <a:gd name="connsiteX1843" fmla="*/ 2774 w 10354"/>
                <a:gd name="connsiteY1843" fmla="*/ 4530 h 10000"/>
                <a:gd name="connsiteX1844" fmla="*/ 2770 w 10354"/>
                <a:gd name="connsiteY1844" fmla="*/ 4513 h 10000"/>
                <a:gd name="connsiteX1845" fmla="*/ 2774 w 10354"/>
                <a:gd name="connsiteY1845" fmla="*/ 4513 h 10000"/>
                <a:gd name="connsiteX1846" fmla="*/ 2788 w 10354"/>
                <a:gd name="connsiteY1846" fmla="*/ 4496 h 10000"/>
                <a:gd name="connsiteX1847" fmla="*/ 2802 w 10354"/>
                <a:gd name="connsiteY1847" fmla="*/ 4513 h 10000"/>
                <a:gd name="connsiteX1848" fmla="*/ 2811 w 10354"/>
                <a:gd name="connsiteY1848" fmla="*/ 4530 h 10000"/>
                <a:gd name="connsiteX1849" fmla="*/ 2820 w 10354"/>
                <a:gd name="connsiteY1849" fmla="*/ 4521 h 10000"/>
                <a:gd name="connsiteX1850" fmla="*/ 2829 w 10354"/>
                <a:gd name="connsiteY1850" fmla="*/ 4513 h 10000"/>
                <a:gd name="connsiteX1851" fmla="*/ 2843 w 10354"/>
                <a:gd name="connsiteY1851" fmla="*/ 4513 h 10000"/>
                <a:gd name="connsiteX1852" fmla="*/ 2848 w 10354"/>
                <a:gd name="connsiteY1852" fmla="*/ 4470 h 10000"/>
                <a:gd name="connsiteX1853" fmla="*/ 2862 w 10354"/>
                <a:gd name="connsiteY1853" fmla="*/ 4487 h 10000"/>
                <a:gd name="connsiteX1854" fmla="*/ 2876 w 10354"/>
                <a:gd name="connsiteY1854" fmla="*/ 4470 h 10000"/>
                <a:gd name="connsiteX1855" fmla="*/ 2880 w 10354"/>
                <a:gd name="connsiteY1855" fmla="*/ 4462 h 10000"/>
                <a:gd name="connsiteX1856" fmla="*/ 2889 w 10354"/>
                <a:gd name="connsiteY1856" fmla="*/ 4444 h 10000"/>
                <a:gd name="connsiteX1857" fmla="*/ 2894 w 10354"/>
                <a:gd name="connsiteY1857" fmla="*/ 4462 h 10000"/>
                <a:gd name="connsiteX1858" fmla="*/ 2917 w 10354"/>
                <a:gd name="connsiteY1858" fmla="*/ 4444 h 10000"/>
                <a:gd name="connsiteX1859" fmla="*/ 2922 w 10354"/>
                <a:gd name="connsiteY1859" fmla="*/ 4436 h 10000"/>
                <a:gd name="connsiteX1860" fmla="*/ 2917 w 10354"/>
                <a:gd name="connsiteY1860" fmla="*/ 4410 h 10000"/>
                <a:gd name="connsiteX1861" fmla="*/ 2894 w 10354"/>
                <a:gd name="connsiteY1861" fmla="*/ 4410 h 10000"/>
                <a:gd name="connsiteX1862" fmla="*/ 2889 w 10354"/>
                <a:gd name="connsiteY1862" fmla="*/ 4419 h 10000"/>
                <a:gd name="connsiteX1863" fmla="*/ 2876 w 10354"/>
                <a:gd name="connsiteY1863" fmla="*/ 4410 h 10000"/>
                <a:gd name="connsiteX1864" fmla="*/ 2880 w 10354"/>
                <a:gd name="connsiteY1864" fmla="*/ 4376 h 10000"/>
                <a:gd name="connsiteX1865" fmla="*/ 2903 w 10354"/>
                <a:gd name="connsiteY1865" fmla="*/ 4393 h 10000"/>
                <a:gd name="connsiteX1866" fmla="*/ 2931 w 10354"/>
                <a:gd name="connsiteY1866" fmla="*/ 4393 h 10000"/>
                <a:gd name="connsiteX1867" fmla="*/ 2931 w 10354"/>
                <a:gd name="connsiteY1867" fmla="*/ 4385 h 10000"/>
                <a:gd name="connsiteX1868" fmla="*/ 2931 w 10354"/>
                <a:gd name="connsiteY1868" fmla="*/ 4350 h 10000"/>
                <a:gd name="connsiteX1869" fmla="*/ 2945 w 10354"/>
                <a:gd name="connsiteY1869" fmla="*/ 4350 h 10000"/>
                <a:gd name="connsiteX1870" fmla="*/ 2949 w 10354"/>
                <a:gd name="connsiteY1870" fmla="*/ 4325 h 10000"/>
                <a:gd name="connsiteX1871" fmla="*/ 2963 w 10354"/>
                <a:gd name="connsiteY1871" fmla="*/ 4256 h 10000"/>
                <a:gd name="connsiteX1872" fmla="*/ 2982 w 10354"/>
                <a:gd name="connsiteY1872" fmla="*/ 4239 h 10000"/>
                <a:gd name="connsiteX1873" fmla="*/ 2991 w 10354"/>
                <a:gd name="connsiteY1873" fmla="*/ 4214 h 10000"/>
                <a:gd name="connsiteX1874" fmla="*/ 2991 w 10354"/>
                <a:gd name="connsiteY1874" fmla="*/ 4197 h 10000"/>
                <a:gd name="connsiteX1875" fmla="*/ 2995 w 10354"/>
                <a:gd name="connsiteY1875" fmla="*/ 4171 h 10000"/>
                <a:gd name="connsiteX1876" fmla="*/ 2991 w 10354"/>
                <a:gd name="connsiteY1876" fmla="*/ 4077 h 10000"/>
                <a:gd name="connsiteX1877" fmla="*/ 2995 w 10354"/>
                <a:gd name="connsiteY1877" fmla="*/ 4034 h 10000"/>
                <a:gd name="connsiteX1878" fmla="*/ 3018 w 10354"/>
                <a:gd name="connsiteY1878" fmla="*/ 3983 h 10000"/>
                <a:gd name="connsiteX1879" fmla="*/ 3018 w 10354"/>
                <a:gd name="connsiteY1879" fmla="*/ 3915 h 10000"/>
                <a:gd name="connsiteX1880" fmla="*/ 2949 w 10354"/>
                <a:gd name="connsiteY1880" fmla="*/ 3778 h 10000"/>
                <a:gd name="connsiteX1881" fmla="*/ 2954 w 10354"/>
                <a:gd name="connsiteY1881" fmla="*/ 3675 h 10000"/>
                <a:gd name="connsiteX1882" fmla="*/ 2954 w 10354"/>
                <a:gd name="connsiteY1882" fmla="*/ 3650 h 10000"/>
                <a:gd name="connsiteX1883" fmla="*/ 2963 w 10354"/>
                <a:gd name="connsiteY1883" fmla="*/ 3624 h 10000"/>
                <a:gd name="connsiteX1884" fmla="*/ 2954 w 10354"/>
                <a:gd name="connsiteY1884" fmla="*/ 3564 h 10000"/>
                <a:gd name="connsiteX1885" fmla="*/ 2963 w 10354"/>
                <a:gd name="connsiteY1885" fmla="*/ 3538 h 10000"/>
                <a:gd name="connsiteX1886" fmla="*/ 2963 w 10354"/>
                <a:gd name="connsiteY1886" fmla="*/ 3487 h 10000"/>
                <a:gd name="connsiteX1887" fmla="*/ 2963 w 10354"/>
                <a:gd name="connsiteY1887" fmla="*/ 3479 h 10000"/>
                <a:gd name="connsiteX1888" fmla="*/ 2963 w 10354"/>
                <a:gd name="connsiteY1888" fmla="*/ 3462 h 10000"/>
                <a:gd name="connsiteX1889" fmla="*/ 2954 w 10354"/>
                <a:gd name="connsiteY1889" fmla="*/ 3453 h 10000"/>
                <a:gd name="connsiteX1890" fmla="*/ 2954 w 10354"/>
                <a:gd name="connsiteY1890" fmla="*/ 3444 h 10000"/>
                <a:gd name="connsiteX1891" fmla="*/ 2954 w 10354"/>
                <a:gd name="connsiteY1891" fmla="*/ 3402 h 10000"/>
                <a:gd name="connsiteX1892" fmla="*/ 2954 w 10354"/>
                <a:gd name="connsiteY1892" fmla="*/ 3393 h 10000"/>
                <a:gd name="connsiteX1893" fmla="*/ 2949 w 10354"/>
                <a:gd name="connsiteY1893" fmla="*/ 3376 h 10000"/>
                <a:gd name="connsiteX1894" fmla="*/ 2949 w 10354"/>
                <a:gd name="connsiteY1894" fmla="*/ 3342 h 10000"/>
                <a:gd name="connsiteX1895" fmla="*/ 2949 w 10354"/>
                <a:gd name="connsiteY1895" fmla="*/ 3316 h 10000"/>
                <a:gd name="connsiteX1896" fmla="*/ 2968 w 10354"/>
                <a:gd name="connsiteY1896" fmla="*/ 3291 h 10000"/>
                <a:gd name="connsiteX1897" fmla="*/ 2963 w 10354"/>
                <a:gd name="connsiteY1897" fmla="*/ 3205 h 10000"/>
                <a:gd name="connsiteX1898" fmla="*/ 2968 w 10354"/>
                <a:gd name="connsiteY1898" fmla="*/ 3171 h 10000"/>
                <a:gd name="connsiteX1899" fmla="*/ 2968 w 10354"/>
                <a:gd name="connsiteY1899" fmla="*/ 3128 h 10000"/>
                <a:gd name="connsiteX1900" fmla="*/ 2954 w 10354"/>
                <a:gd name="connsiteY1900" fmla="*/ 3051 h 10000"/>
                <a:gd name="connsiteX1901" fmla="*/ 2954 w 10354"/>
                <a:gd name="connsiteY1901" fmla="*/ 3009 h 10000"/>
                <a:gd name="connsiteX1902" fmla="*/ 2922 w 10354"/>
                <a:gd name="connsiteY1902" fmla="*/ 2940 h 10000"/>
                <a:gd name="connsiteX1903" fmla="*/ 2903 w 10354"/>
                <a:gd name="connsiteY1903" fmla="*/ 2880 h 10000"/>
                <a:gd name="connsiteX1904" fmla="*/ 2903 w 10354"/>
                <a:gd name="connsiteY1904" fmla="*/ 2855 h 10000"/>
                <a:gd name="connsiteX1905" fmla="*/ 2908 w 10354"/>
                <a:gd name="connsiteY1905" fmla="*/ 2846 h 10000"/>
                <a:gd name="connsiteX1906" fmla="*/ 2931 w 10354"/>
                <a:gd name="connsiteY1906" fmla="*/ 2821 h 10000"/>
                <a:gd name="connsiteX1907" fmla="*/ 2931 w 10354"/>
                <a:gd name="connsiteY1907" fmla="*/ 2803 h 10000"/>
                <a:gd name="connsiteX1908" fmla="*/ 2935 w 10354"/>
                <a:gd name="connsiteY1908" fmla="*/ 2786 h 10000"/>
                <a:gd name="connsiteX1909" fmla="*/ 2935 w 10354"/>
                <a:gd name="connsiteY1909" fmla="*/ 2744 h 10000"/>
                <a:gd name="connsiteX1910" fmla="*/ 2963 w 10354"/>
                <a:gd name="connsiteY1910" fmla="*/ 2607 h 10000"/>
                <a:gd name="connsiteX1911" fmla="*/ 2963 w 10354"/>
                <a:gd name="connsiteY1911" fmla="*/ 2419 h 10000"/>
                <a:gd name="connsiteX1912" fmla="*/ 2954 w 10354"/>
                <a:gd name="connsiteY1912" fmla="*/ 2410 h 10000"/>
                <a:gd name="connsiteX1913" fmla="*/ 2963 w 10354"/>
                <a:gd name="connsiteY1913" fmla="*/ 2393 h 10000"/>
                <a:gd name="connsiteX1914" fmla="*/ 2908 w 10354"/>
                <a:gd name="connsiteY1914" fmla="*/ 2359 h 10000"/>
                <a:gd name="connsiteX1915" fmla="*/ 2889 w 10354"/>
                <a:gd name="connsiteY1915" fmla="*/ 2325 h 10000"/>
                <a:gd name="connsiteX1916" fmla="*/ 2788 w 10354"/>
                <a:gd name="connsiteY1916" fmla="*/ 2333 h 10000"/>
                <a:gd name="connsiteX1917" fmla="*/ 2774 w 10354"/>
                <a:gd name="connsiteY1917" fmla="*/ 2325 h 10000"/>
                <a:gd name="connsiteX1918" fmla="*/ 2783 w 10354"/>
                <a:gd name="connsiteY1918" fmla="*/ 2308 h 10000"/>
                <a:gd name="connsiteX1919" fmla="*/ 2747 w 10354"/>
                <a:gd name="connsiteY1919" fmla="*/ 2308 h 10000"/>
                <a:gd name="connsiteX1920" fmla="*/ 2742 w 10354"/>
                <a:gd name="connsiteY1920" fmla="*/ 2333 h 10000"/>
                <a:gd name="connsiteX1921" fmla="*/ 2682 w 10354"/>
                <a:gd name="connsiteY1921" fmla="*/ 2769 h 10000"/>
                <a:gd name="connsiteX1922" fmla="*/ 2613 w 10354"/>
                <a:gd name="connsiteY1922" fmla="*/ 2940 h 10000"/>
                <a:gd name="connsiteX1923" fmla="*/ 2581 w 10354"/>
                <a:gd name="connsiteY1923" fmla="*/ 2966 h 10000"/>
                <a:gd name="connsiteX1924" fmla="*/ 2576 w 10354"/>
                <a:gd name="connsiteY1924" fmla="*/ 3051 h 10000"/>
                <a:gd name="connsiteX1925" fmla="*/ 2581 w 10354"/>
                <a:gd name="connsiteY1925" fmla="*/ 3051 h 10000"/>
                <a:gd name="connsiteX1926" fmla="*/ 2594 w 10354"/>
                <a:gd name="connsiteY1926" fmla="*/ 3017 h 10000"/>
                <a:gd name="connsiteX1927" fmla="*/ 2594 w 10354"/>
                <a:gd name="connsiteY1927" fmla="*/ 3034 h 10000"/>
                <a:gd name="connsiteX1928" fmla="*/ 2594 w 10354"/>
                <a:gd name="connsiteY1928" fmla="*/ 3051 h 10000"/>
                <a:gd name="connsiteX1929" fmla="*/ 2590 w 10354"/>
                <a:gd name="connsiteY1929" fmla="*/ 3077 h 10000"/>
                <a:gd name="connsiteX1930" fmla="*/ 2567 w 10354"/>
                <a:gd name="connsiteY1930" fmla="*/ 3103 h 10000"/>
                <a:gd name="connsiteX1931" fmla="*/ 2562 w 10354"/>
                <a:gd name="connsiteY1931" fmla="*/ 3145 h 10000"/>
                <a:gd name="connsiteX1932" fmla="*/ 2567 w 10354"/>
                <a:gd name="connsiteY1932" fmla="*/ 3179 h 10000"/>
                <a:gd name="connsiteX1933" fmla="*/ 2590 w 10354"/>
                <a:gd name="connsiteY1933" fmla="*/ 3171 h 10000"/>
                <a:gd name="connsiteX1934" fmla="*/ 2594 w 10354"/>
                <a:gd name="connsiteY1934" fmla="*/ 3145 h 10000"/>
                <a:gd name="connsiteX1935" fmla="*/ 2613 w 10354"/>
                <a:gd name="connsiteY1935" fmla="*/ 3154 h 10000"/>
                <a:gd name="connsiteX1936" fmla="*/ 2622 w 10354"/>
                <a:gd name="connsiteY1936" fmla="*/ 3179 h 10000"/>
                <a:gd name="connsiteX1937" fmla="*/ 2613 w 10354"/>
                <a:gd name="connsiteY1937" fmla="*/ 3214 h 10000"/>
                <a:gd name="connsiteX1938" fmla="*/ 2613 w 10354"/>
                <a:gd name="connsiteY1938" fmla="*/ 3308 h 10000"/>
                <a:gd name="connsiteX1939" fmla="*/ 2608 w 10354"/>
                <a:gd name="connsiteY1939" fmla="*/ 3325 h 10000"/>
                <a:gd name="connsiteX1940" fmla="*/ 2608 w 10354"/>
                <a:gd name="connsiteY1940" fmla="*/ 3376 h 10000"/>
                <a:gd name="connsiteX1941" fmla="*/ 2613 w 10354"/>
                <a:gd name="connsiteY1941" fmla="*/ 3419 h 10000"/>
                <a:gd name="connsiteX1942" fmla="*/ 2608 w 10354"/>
                <a:gd name="connsiteY1942" fmla="*/ 3444 h 10000"/>
                <a:gd name="connsiteX1943" fmla="*/ 2594 w 10354"/>
                <a:gd name="connsiteY1943" fmla="*/ 3444 h 10000"/>
                <a:gd name="connsiteX1944" fmla="*/ 2590 w 10354"/>
                <a:gd name="connsiteY1944" fmla="*/ 3427 h 10000"/>
                <a:gd name="connsiteX1945" fmla="*/ 2581 w 10354"/>
                <a:gd name="connsiteY1945" fmla="*/ 3564 h 10000"/>
                <a:gd name="connsiteX1946" fmla="*/ 2594 w 10354"/>
                <a:gd name="connsiteY1946" fmla="*/ 3598 h 10000"/>
                <a:gd name="connsiteX1947" fmla="*/ 2594 w 10354"/>
                <a:gd name="connsiteY1947" fmla="*/ 3581 h 10000"/>
                <a:gd name="connsiteX1948" fmla="*/ 2608 w 10354"/>
                <a:gd name="connsiteY1948" fmla="*/ 3556 h 10000"/>
                <a:gd name="connsiteX1949" fmla="*/ 2650 w 10354"/>
                <a:gd name="connsiteY1949" fmla="*/ 3615 h 10000"/>
                <a:gd name="connsiteX1950" fmla="*/ 2664 w 10354"/>
                <a:gd name="connsiteY1950" fmla="*/ 3615 h 10000"/>
                <a:gd name="connsiteX1951" fmla="*/ 2668 w 10354"/>
                <a:gd name="connsiteY1951" fmla="*/ 3615 h 10000"/>
                <a:gd name="connsiteX1952" fmla="*/ 2664 w 10354"/>
                <a:gd name="connsiteY1952" fmla="*/ 3667 h 10000"/>
                <a:gd name="connsiteX1953" fmla="*/ 2687 w 10354"/>
                <a:gd name="connsiteY1953" fmla="*/ 3786 h 10000"/>
                <a:gd name="connsiteX1954" fmla="*/ 2710 w 10354"/>
                <a:gd name="connsiteY1954" fmla="*/ 3812 h 10000"/>
                <a:gd name="connsiteX1955" fmla="*/ 2724 w 10354"/>
                <a:gd name="connsiteY1955" fmla="*/ 3812 h 10000"/>
                <a:gd name="connsiteX1956" fmla="*/ 2724 w 10354"/>
                <a:gd name="connsiteY1956" fmla="*/ 3829 h 10000"/>
                <a:gd name="connsiteX1957" fmla="*/ 2737 w 10354"/>
                <a:gd name="connsiteY1957" fmla="*/ 3838 h 10000"/>
                <a:gd name="connsiteX1958" fmla="*/ 2714 w 10354"/>
                <a:gd name="connsiteY1958" fmla="*/ 3872 h 10000"/>
                <a:gd name="connsiteX1959" fmla="*/ 2696 w 10354"/>
                <a:gd name="connsiteY1959" fmla="*/ 4026 h 10000"/>
                <a:gd name="connsiteX1960" fmla="*/ 2673 w 10354"/>
                <a:gd name="connsiteY1960" fmla="*/ 4051 h 10000"/>
                <a:gd name="connsiteX1961" fmla="*/ 2668 w 10354"/>
                <a:gd name="connsiteY1961" fmla="*/ 4034 h 10000"/>
                <a:gd name="connsiteX1962" fmla="*/ 2673 w 10354"/>
                <a:gd name="connsiteY1962" fmla="*/ 4000 h 10000"/>
                <a:gd name="connsiteX1963" fmla="*/ 2664 w 10354"/>
                <a:gd name="connsiteY1963" fmla="*/ 3974 h 10000"/>
                <a:gd name="connsiteX1964" fmla="*/ 2636 w 10354"/>
                <a:gd name="connsiteY1964" fmla="*/ 3949 h 10000"/>
                <a:gd name="connsiteX1965" fmla="*/ 2581 w 10354"/>
                <a:gd name="connsiteY1965" fmla="*/ 3838 h 10000"/>
                <a:gd name="connsiteX1966" fmla="*/ 2562 w 10354"/>
                <a:gd name="connsiteY1966" fmla="*/ 3829 h 10000"/>
                <a:gd name="connsiteX1967" fmla="*/ 2535 w 10354"/>
                <a:gd name="connsiteY1967" fmla="*/ 3778 h 10000"/>
                <a:gd name="connsiteX1968" fmla="*/ 2502 w 10354"/>
                <a:gd name="connsiteY1968" fmla="*/ 3761 h 10000"/>
                <a:gd name="connsiteX1969" fmla="*/ 2502 w 10354"/>
                <a:gd name="connsiteY1969" fmla="*/ 3735 h 10000"/>
                <a:gd name="connsiteX1970" fmla="*/ 2516 w 10354"/>
                <a:gd name="connsiteY1970" fmla="*/ 3735 h 10000"/>
                <a:gd name="connsiteX1971" fmla="*/ 2507 w 10354"/>
                <a:gd name="connsiteY1971" fmla="*/ 3726 h 10000"/>
                <a:gd name="connsiteX1972" fmla="*/ 2488 w 10354"/>
                <a:gd name="connsiteY1972" fmla="*/ 3726 h 10000"/>
                <a:gd name="connsiteX1973" fmla="*/ 2461 w 10354"/>
                <a:gd name="connsiteY1973" fmla="*/ 3692 h 10000"/>
                <a:gd name="connsiteX1974" fmla="*/ 2442 w 10354"/>
                <a:gd name="connsiteY1974" fmla="*/ 3675 h 10000"/>
                <a:gd name="connsiteX1975" fmla="*/ 2406 w 10354"/>
                <a:gd name="connsiteY1975" fmla="*/ 3598 h 10000"/>
                <a:gd name="connsiteX1976" fmla="*/ 2346 w 10354"/>
                <a:gd name="connsiteY1976" fmla="*/ 3564 h 10000"/>
                <a:gd name="connsiteX1977" fmla="*/ 2341 w 10354"/>
                <a:gd name="connsiteY1977" fmla="*/ 3564 h 10000"/>
                <a:gd name="connsiteX1978" fmla="*/ 2313 w 10354"/>
                <a:gd name="connsiteY1978" fmla="*/ 3530 h 10000"/>
                <a:gd name="connsiteX1979" fmla="*/ 2235 w 10354"/>
                <a:gd name="connsiteY1979" fmla="*/ 3530 h 10000"/>
                <a:gd name="connsiteX1980" fmla="*/ 2226 w 10354"/>
                <a:gd name="connsiteY1980" fmla="*/ 3513 h 10000"/>
                <a:gd name="connsiteX1981" fmla="*/ 2207 w 10354"/>
                <a:gd name="connsiteY1981" fmla="*/ 3504 h 10000"/>
                <a:gd name="connsiteX1982" fmla="*/ 2194 w 10354"/>
                <a:gd name="connsiteY1982" fmla="*/ 3504 h 10000"/>
                <a:gd name="connsiteX1983" fmla="*/ 2189 w 10354"/>
                <a:gd name="connsiteY1983" fmla="*/ 3504 h 10000"/>
                <a:gd name="connsiteX1984" fmla="*/ 2189 w 10354"/>
                <a:gd name="connsiteY1984" fmla="*/ 3530 h 10000"/>
                <a:gd name="connsiteX1985" fmla="*/ 2180 w 10354"/>
                <a:gd name="connsiteY1985" fmla="*/ 3538 h 10000"/>
                <a:gd name="connsiteX1986" fmla="*/ 2152 w 10354"/>
                <a:gd name="connsiteY1986" fmla="*/ 3581 h 10000"/>
                <a:gd name="connsiteX1987" fmla="*/ 2161 w 10354"/>
                <a:gd name="connsiteY1987" fmla="*/ 3598 h 10000"/>
                <a:gd name="connsiteX1988" fmla="*/ 2194 w 10354"/>
                <a:gd name="connsiteY1988" fmla="*/ 3752 h 10000"/>
                <a:gd name="connsiteX1989" fmla="*/ 2194 w 10354"/>
                <a:gd name="connsiteY1989" fmla="*/ 3735 h 10000"/>
                <a:gd name="connsiteX1990" fmla="*/ 2198 w 10354"/>
                <a:gd name="connsiteY1990" fmla="*/ 3735 h 10000"/>
                <a:gd name="connsiteX1991" fmla="*/ 2189 w 10354"/>
                <a:gd name="connsiteY1991" fmla="*/ 3838 h 10000"/>
                <a:gd name="connsiteX1992" fmla="*/ 2166 w 10354"/>
                <a:gd name="connsiteY1992" fmla="*/ 3889 h 10000"/>
                <a:gd name="connsiteX1993" fmla="*/ 2124 w 10354"/>
                <a:gd name="connsiteY1993" fmla="*/ 3889 h 10000"/>
                <a:gd name="connsiteX1994" fmla="*/ 2124 w 10354"/>
                <a:gd name="connsiteY1994" fmla="*/ 3923 h 10000"/>
                <a:gd name="connsiteX1995" fmla="*/ 2134 w 10354"/>
                <a:gd name="connsiteY1995" fmla="*/ 3940 h 10000"/>
                <a:gd name="connsiteX1996" fmla="*/ 2134 w 10354"/>
                <a:gd name="connsiteY1996" fmla="*/ 3966 h 10000"/>
                <a:gd name="connsiteX1997" fmla="*/ 2120 w 10354"/>
                <a:gd name="connsiteY1997" fmla="*/ 4000 h 10000"/>
                <a:gd name="connsiteX1998" fmla="*/ 2106 w 10354"/>
                <a:gd name="connsiteY1998" fmla="*/ 4009 h 10000"/>
                <a:gd name="connsiteX1999" fmla="*/ 2088 w 10354"/>
                <a:gd name="connsiteY1999" fmla="*/ 4000 h 10000"/>
                <a:gd name="connsiteX2000" fmla="*/ 2074 w 10354"/>
                <a:gd name="connsiteY2000" fmla="*/ 3974 h 10000"/>
                <a:gd name="connsiteX2001" fmla="*/ 2074 w 10354"/>
                <a:gd name="connsiteY2001" fmla="*/ 3940 h 10000"/>
                <a:gd name="connsiteX2002" fmla="*/ 2078 w 10354"/>
                <a:gd name="connsiteY2002" fmla="*/ 3915 h 10000"/>
                <a:gd name="connsiteX2003" fmla="*/ 2088 w 10354"/>
                <a:gd name="connsiteY2003" fmla="*/ 3889 h 10000"/>
                <a:gd name="connsiteX2004" fmla="*/ 2101 w 10354"/>
                <a:gd name="connsiteY2004" fmla="*/ 3872 h 10000"/>
                <a:gd name="connsiteX2005" fmla="*/ 2074 w 10354"/>
                <a:gd name="connsiteY2005" fmla="*/ 3812 h 10000"/>
                <a:gd name="connsiteX2006" fmla="*/ 2074 w 10354"/>
                <a:gd name="connsiteY2006" fmla="*/ 3786 h 10000"/>
                <a:gd name="connsiteX2007" fmla="*/ 2060 w 10354"/>
                <a:gd name="connsiteY2007" fmla="*/ 3786 h 10000"/>
                <a:gd name="connsiteX2008" fmla="*/ 2014 w 10354"/>
                <a:gd name="connsiteY2008" fmla="*/ 3829 h 10000"/>
                <a:gd name="connsiteX2009" fmla="*/ 2000 w 10354"/>
                <a:gd name="connsiteY2009" fmla="*/ 3863 h 10000"/>
                <a:gd name="connsiteX2010" fmla="*/ 1986 w 10354"/>
                <a:gd name="connsiteY2010" fmla="*/ 3872 h 10000"/>
                <a:gd name="connsiteX2011" fmla="*/ 1959 w 10354"/>
                <a:gd name="connsiteY2011" fmla="*/ 3940 h 10000"/>
                <a:gd name="connsiteX2012" fmla="*/ 1945 w 10354"/>
                <a:gd name="connsiteY2012" fmla="*/ 3949 h 10000"/>
                <a:gd name="connsiteX2013" fmla="*/ 1940 w 10354"/>
                <a:gd name="connsiteY2013" fmla="*/ 3923 h 10000"/>
                <a:gd name="connsiteX2014" fmla="*/ 1917 w 10354"/>
                <a:gd name="connsiteY2014" fmla="*/ 3915 h 10000"/>
                <a:gd name="connsiteX2015" fmla="*/ 1899 w 10354"/>
                <a:gd name="connsiteY2015" fmla="*/ 3923 h 10000"/>
                <a:gd name="connsiteX2016" fmla="*/ 1880 w 10354"/>
                <a:gd name="connsiteY2016" fmla="*/ 3915 h 10000"/>
                <a:gd name="connsiteX2017" fmla="*/ 1853 w 10354"/>
                <a:gd name="connsiteY2017" fmla="*/ 3940 h 10000"/>
                <a:gd name="connsiteX2018" fmla="*/ 1839 w 10354"/>
                <a:gd name="connsiteY2018" fmla="*/ 3940 h 10000"/>
                <a:gd name="connsiteX2019" fmla="*/ 1806 w 10354"/>
                <a:gd name="connsiteY2019" fmla="*/ 3983 h 10000"/>
                <a:gd name="connsiteX2020" fmla="*/ 1806 w 10354"/>
                <a:gd name="connsiteY2020" fmla="*/ 4000 h 10000"/>
                <a:gd name="connsiteX2021" fmla="*/ 1797 w 10354"/>
                <a:gd name="connsiteY2021" fmla="*/ 4077 h 10000"/>
                <a:gd name="connsiteX2022" fmla="*/ 1783 w 10354"/>
                <a:gd name="connsiteY2022" fmla="*/ 4077 h 10000"/>
                <a:gd name="connsiteX2023" fmla="*/ 1779 w 10354"/>
                <a:gd name="connsiteY2023" fmla="*/ 4051 h 10000"/>
                <a:gd name="connsiteX2024" fmla="*/ 1765 w 10354"/>
                <a:gd name="connsiteY2024" fmla="*/ 4026 h 10000"/>
                <a:gd name="connsiteX2025" fmla="*/ 1751 w 10354"/>
                <a:gd name="connsiteY2025" fmla="*/ 4051 h 10000"/>
                <a:gd name="connsiteX2026" fmla="*/ 1737 w 10354"/>
                <a:gd name="connsiteY2026" fmla="*/ 4009 h 10000"/>
                <a:gd name="connsiteX2027" fmla="*/ 1737 w 10354"/>
                <a:gd name="connsiteY2027" fmla="*/ 3966 h 10000"/>
                <a:gd name="connsiteX2028" fmla="*/ 1733 w 10354"/>
                <a:gd name="connsiteY2028" fmla="*/ 3940 h 10000"/>
                <a:gd name="connsiteX2029" fmla="*/ 1733 w 10354"/>
                <a:gd name="connsiteY2029" fmla="*/ 3923 h 10000"/>
                <a:gd name="connsiteX2030" fmla="*/ 1747 w 10354"/>
                <a:gd name="connsiteY2030" fmla="*/ 3889 h 10000"/>
                <a:gd name="connsiteX2031" fmla="*/ 1747 w 10354"/>
                <a:gd name="connsiteY2031" fmla="*/ 3863 h 10000"/>
                <a:gd name="connsiteX2032" fmla="*/ 1737 w 10354"/>
                <a:gd name="connsiteY2032" fmla="*/ 3838 h 10000"/>
                <a:gd name="connsiteX2033" fmla="*/ 1733 w 10354"/>
                <a:gd name="connsiteY2033" fmla="*/ 3829 h 10000"/>
                <a:gd name="connsiteX2034" fmla="*/ 1733 w 10354"/>
                <a:gd name="connsiteY2034" fmla="*/ 3846 h 10000"/>
                <a:gd name="connsiteX2035" fmla="*/ 1724 w 10354"/>
                <a:gd name="connsiteY2035" fmla="*/ 3846 h 10000"/>
                <a:gd name="connsiteX2036" fmla="*/ 1724 w 10354"/>
                <a:gd name="connsiteY2036" fmla="*/ 3829 h 10000"/>
                <a:gd name="connsiteX2037" fmla="*/ 1737 w 10354"/>
                <a:gd name="connsiteY2037" fmla="*/ 3812 h 10000"/>
                <a:gd name="connsiteX2038" fmla="*/ 1765 w 10354"/>
                <a:gd name="connsiteY2038" fmla="*/ 3812 h 10000"/>
                <a:gd name="connsiteX2039" fmla="*/ 1779 w 10354"/>
                <a:gd name="connsiteY2039" fmla="*/ 3786 h 10000"/>
                <a:gd name="connsiteX2040" fmla="*/ 1779 w 10354"/>
                <a:gd name="connsiteY2040" fmla="*/ 3786 h 10000"/>
                <a:gd name="connsiteX2041" fmla="*/ 1751 w 10354"/>
                <a:gd name="connsiteY2041" fmla="*/ 3803 h 10000"/>
                <a:gd name="connsiteX2042" fmla="*/ 1747 w 10354"/>
                <a:gd name="connsiteY2042" fmla="*/ 3803 h 10000"/>
                <a:gd name="connsiteX2043" fmla="*/ 1724 w 10354"/>
                <a:gd name="connsiteY2043" fmla="*/ 3803 h 10000"/>
                <a:gd name="connsiteX2044" fmla="*/ 1700 w 10354"/>
                <a:gd name="connsiteY2044" fmla="*/ 3829 h 10000"/>
                <a:gd name="connsiteX2045" fmla="*/ 1705 w 10354"/>
                <a:gd name="connsiteY2045" fmla="*/ 3846 h 10000"/>
                <a:gd name="connsiteX2046" fmla="*/ 1691 w 10354"/>
                <a:gd name="connsiteY2046" fmla="*/ 3846 h 10000"/>
                <a:gd name="connsiteX2047" fmla="*/ 1691 w 10354"/>
                <a:gd name="connsiteY2047" fmla="*/ 3863 h 10000"/>
                <a:gd name="connsiteX2048" fmla="*/ 1691 w 10354"/>
                <a:gd name="connsiteY2048" fmla="*/ 3915 h 10000"/>
                <a:gd name="connsiteX2049" fmla="*/ 1677 w 10354"/>
                <a:gd name="connsiteY2049" fmla="*/ 3923 h 10000"/>
                <a:gd name="connsiteX2050" fmla="*/ 1673 w 10354"/>
                <a:gd name="connsiteY2050" fmla="*/ 3915 h 10000"/>
                <a:gd name="connsiteX2051" fmla="*/ 1664 w 10354"/>
                <a:gd name="connsiteY2051" fmla="*/ 3889 h 10000"/>
                <a:gd name="connsiteX2052" fmla="*/ 1673 w 10354"/>
                <a:gd name="connsiteY2052" fmla="*/ 3872 h 10000"/>
                <a:gd name="connsiteX2053" fmla="*/ 1664 w 10354"/>
                <a:gd name="connsiteY2053" fmla="*/ 3872 h 10000"/>
                <a:gd name="connsiteX2054" fmla="*/ 1636 w 10354"/>
                <a:gd name="connsiteY2054" fmla="*/ 3923 h 10000"/>
                <a:gd name="connsiteX2055" fmla="*/ 1645 w 10354"/>
                <a:gd name="connsiteY2055" fmla="*/ 3923 h 10000"/>
                <a:gd name="connsiteX2056" fmla="*/ 1650 w 10354"/>
                <a:gd name="connsiteY2056" fmla="*/ 3949 h 10000"/>
                <a:gd name="connsiteX2057" fmla="*/ 1650 w 10354"/>
                <a:gd name="connsiteY2057" fmla="*/ 3983 h 10000"/>
                <a:gd name="connsiteX2058" fmla="*/ 1636 w 10354"/>
                <a:gd name="connsiteY2058" fmla="*/ 4000 h 10000"/>
                <a:gd name="connsiteX2059" fmla="*/ 1631 w 10354"/>
                <a:gd name="connsiteY2059" fmla="*/ 4009 h 10000"/>
                <a:gd name="connsiteX2060" fmla="*/ 1618 w 10354"/>
                <a:gd name="connsiteY2060" fmla="*/ 3949 h 10000"/>
                <a:gd name="connsiteX2061" fmla="*/ 1585 w 10354"/>
                <a:gd name="connsiteY2061" fmla="*/ 3966 h 10000"/>
                <a:gd name="connsiteX2062" fmla="*/ 1590 w 10354"/>
                <a:gd name="connsiteY2062" fmla="*/ 3974 h 10000"/>
                <a:gd name="connsiteX2063" fmla="*/ 1544 w 10354"/>
                <a:gd name="connsiteY2063" fmla="*/ 4009 h 10000"/>
                <a:gd name="connsiteX2064" fmla="*/ 1539 w 10354"/>
                <a:gd name="connsiteY2064" fmla="*/ 4009 h 10000"/>
                <a:gd name="connsiteX2065" fmla="*/ 1410 w 10354"/>
                <a:gd name="connsiteY2065" fmla="*/ 4188 h 10000"/>
                <a:gd name="connsiteX2066" fmla="*/ 1406 w 10354"/>
                <a:gd name="connsiteY2066" fmla="*/ 4171 h 10000"/>
                <a:gd name="connsiteX2067" fmla="*/ 1396 w 10354"/>
                <a:gd name="connsiteY2067" fmla="*/ 4214 h 10000"/>
                <a:gd name="connsiteX2068" fmla="*/ 1406 w 10354"/>
                <a:gd name="connsiteY2068" fmla="*/ 4222 h 10000"/>
                <a:gd name="connsiteX2069" fmla="*/ 1392 w 10354"/>
                <a:gd name="connsiteY2069" fmla="*/ 4239 h 10000"/>
                <a:gd name="connsiteX2070" fmla="*/ 1369 w 10354"/>
                <a:gd name="connsiteY2070" fmla="*/ 4248 h 10000"/>
                <a:gd name="connsiteX2071" fmla="*/ 1355 w 10354"/>
                <a:gd name="connsiteY2071" fmla="*/ 4256 h 10000"/>
                <a:gd name="connsiteX2072" fmla="*/ 1350 w 10354"/>
                <a:gd name="connsiteY2072" fmla="*/ 4248 h 10000"/>
                <a:gd name="connsiteX2073" fmla="*/ 1332 w 10354"/>
                <a:gd name="connsiteY2073" fmla="*/ 4376 h 10000"/>
                <a:gd name="connsiteX2074" fmla="*/ 1332 w 10354"/>
                <a:gd name="connsiteY2074" fmla="*/ 4436 h 10000"/>
                <a:gd name="connsiteX2075" fmla="*/ 1323 w 10354"/>
                <a:gd name="connsiteY2075" fmla="*/ 4462 h 10000"/>
                <a:gd name="connsiteX2076" fmla="*/ 1304 w 10354"/>
                <a:gd name="connsiteY2076" fmla="*/ 4487 h 10000"/>
                <a:gd name="connsiteX2077" fmla="*/ 1290 w 10354"/>
                <a:gd name="connsiteY2077" fmla="*/ 4470 h 10000"/>
                <a:gd name="connsiteX2078" fmla="*/ 1263 w 10354"/>
                <a:gd name="connsiteY2078" fmla="*/ 4496 h 10000"/>
                <a:gd name="connsiteX2079" fmla="*/ 1258 w 10354"/>
                <a:gd name="connsiteY2079" fmla="*/ 4547 h 10000"/>
                <a:gd name="connsiteX2080" fmla="*/ 1249 w 10354"/>
                <a:gd name="connsiteY2080" fmla="*/ 4487 h 10000"/>
                <a:gd name="connsiteX2081" fmla="*/ 1235 w 10354"/>
                <a:gd name="connsiteY2081" fmla="*/ 4496 h 10000"/>
                <a:gd name="connsiteX2082" fmla="*/ 1221 w 10354"/>
                <a:gd name="connsiteY2082" fmla="*/ 4496 h 10000"/>
                <a:gd name="connsiteX2083" fmla="*/ 1217 w 10354"/>
                <a:gd name="connsiteY2083" fmla="*/ 4487 h 10000"/>
                <a:gd name="connsiteX2084" fmla="*/ 1198 w 10354"/>
                <a:gd name="connsiteY2084" fmla="*/ 4410 h 10000"/>
                <a:gd name="connsiteX2085" fmla="*/ 1157 w 10354"/>
                <a:gd name="connsiteY2085" fmla="*/ 4333 h 10000"/>
                <a:gd name="connsiteX2086" fmla="*/ 1147 w 10354"/>
                <a:gd name="connsiteY2086" fmla="*/ 4299 h 10000"/>
                <a:gd name="connsiteX2087" fmla="*/ 1147 w 10354"/>
                <a:gd name="connsiteY2087" fmla="*/ 4274 h 10000"/>
                <a:gd name="connsiteX2088" fmla="*/ 1161 w 10354"/>
                <a:gd name="connsiteY2088" fmla="*/ 4256 h 10000"/>
                <a:gd name="connsiteX2089" fmla="*/ 1171 w 10354"/>
                <a:gd name="connsiteY2089" fmla="*/ 4248 h 10000"/>
                <a:gd name="connsiteX2090" fmla="*/ 1175 w 10354"/>
                <a:gd name="connsiteY2090" fmla="*/ 4214 h 10000"/>
                <a:gd name="connsiteX2091" fmla="*/ 1263 w 10354"/>
                <a:gd name="connsiteY2091" fmla="*/ 4171 h 10000"/>
                <a:gd name="connsiteX2092" fmla="*/ 1249 w 10354"/>
                <a:gd name="connsiteY2092" fmla="*/ 4137 h 10000"/>
                <a:gd name="connsiteX2093" fmla="*/ 1244 w 10354"/>
                <a:gd name="connsiteY2093" fmla="*/ 4060 h 10000"/>
                <a:gd name="connsiteX2094" fmla="*/ 1230 w 10354"/>
                <a:gd name="connsiteY2094" fmla="*/ 4077 h 10000"/>
                <a:gd name="connsiteX2095" fmla="*/ 1221 w 10354"/>
                <a:gd name="connsiteY2095" fmla="*/ 4026 h 10000"/>
                <a:gd name="connsiteX2096" fmla="*/ 1217 w 10354"/>
                <a:gd name="connsiteY2096" fmla="*/ 4026 h 10000"/>
                <a:gd name="connsiteX2097" fmla="*/ 1212 w 10354"/>
                <a:gd name="connsiteY2097" fmla="*/ 3983 h 10000"/>
                <a:gd name="connsiteX2098" fmla="*/ 1203 w 10354"/>
                <a:gd name="connsiteY2098" fmla="*/ 3966 h 10000"/>
                <a:gd name="connsiteX2099" fmla="*/ 1171 w 10354"/>
                <a:gd name="connsiteY2099" fmla="*/ 3949 h 10000"/>
                <a:gd name="connsiteX2100" fmla="*/ 1111 w 10354"/>
                <a:gd name="connsiteY2100" fmla="*/ 3940 h 10000"/>
                <a:gd name="connsiteX2101" fmla="*/ 1097 w 10354"/>
                <a:gd name="connsiteY2101" fmla="*/ 3949 h 10000"/>
                <a:gd name="connsiteX2102" fmla="*/ 1037 w 10354"/>
                <a:gd name="connsiteY2102" fmla="*/ 3897 h 10000"/>
                <a:gd name="connsiteX2103" fmla="*/ 1041 w 10354"/>
                <a:gd name="connsiteY2103" fmla="*/ 3923 h 10000"/>
                <a:gd name="connsiteX2104" fmla="*/ 1097 w 10354"/>
                <a:gd name="connsiteY2104" fmla="*/ 4009 h 10000"/>
                <a:gd name="connsiteX2105" fmla="*/ 1097 w 10354"/>
                <a:gd name="connsiteY2105" fmla="*/ 4120 h 10000"/>
                <a:gd name="connsiteX2106" fmla="*/ 1097 w 10354"/>
                <a:gd name="connsiteY2106" fmla="*/ 4162 h 10000"/>
                <a:gd name="connsiteX2107" fmla="*/ 1097 w 10354"/>
                <a:gd name="connsiteY2107" fmla="*/ 4197 h 10000"/>
                <a:gd name="connsiteX2108" fmla="*/ 1074 w 10354"/>
                <a:gd name="connsiteY2108" fmla="*/ 4333 h 10000"/>
                <a:gd name="connsiteX2109" fmla="*/ 1074 w 10354"/>
                <a:gd name="connsiteY2109" fmla="*/ 4376 h 10000"/>
                <a:gd name="connsiteX2110" fmla="*/ 1083 w 10354"/>
                <a:gd name="connsiteY2110" fmla="*/ 4385 h 10000"/>
                <a:gd name="connsiteX2111" fmla="*/ 1097 w 10354"/>
                <a:gd name="connsiteY2111" fmla="*/ 4385 h 10000"/>
                <a:gd name="connsiteX2112" fmla="*/ 1111 w 10354"/>
                <a:gd name="connsiteY2112" fmla="*/ 4410 h 10000"/>
                <a:gd name="connsiteX2113" fmla="*/ 1124 w 10354"/>
                <a:gd name="connsiteY2113" fmla="*/ 4444 h 10000"/>
                <a:gd name="connsiteX2114" fmla="*/ 1124 w 10354"/>
                <a:gd name="connsiteY2114" fmla="*/ 4470 h 10000"/>
                <a:gd name="connsiteX2115" fmla="*/ 1115 w 10354"/>
                <a:gd name="connsiteY2115" fmla="*/ 4513 h 10000"/>
                <a:gd name="connsiteX2116" fmla="*/ 1115 w 10354"/>
                <a:gd name="connsiteY2116" fmla="*/ 4530 h 10000"/>
                <a:gd name="connsiteX2117" fmla="*/ 1115 w 10354"/>
                <a:gd name="connsiteY2117" fmla="*/ 4573 h 10000"/>
                <a:gd name="connsiteX2118" fmla="*/ 1101 w 10354"/>
                <a:gd name="connsiteY2118" fmla="*/ 4607 h 10000"/>
                <a:gd name="connsiteX2119" fmla="*/ 1097 w 10354"/>
                <a:gd name="connsiteY2119" fmla="*/ 4658 h 10000"/>
                <a:gd name="connsiteX2120" fmla="*/ 1101 w 10354"/>
                <a:gd name="connsiteY2120" fmla="*/ 4692 h 10000"/>
                <a:gd name="connsiteX2121" fmla="*/ 1097 w 10354"/>
                <a:gd name="connsiteY2121" fmla="*/ 4778 h 10000"/>
                <a:gd name="connsiteX2122" fmla="*/ 1083 w 10354"/>
                <a:gd name="connsiteY2122" fmla="*/ 4744 h 10000"/>
                <a:gd name="connsiteX2123" fmla="*/ 1083 w 10354"/>
                <a:gd name="connsiteY2123" fmla="*/ 4718 h 10000"/>
                <a:gd name="connsiteX2124" fmla="*/ 1074 w 10354"/>
                <a:gd name="connsiteY2124" fmla="*/ 4692 h 10000"/>
                <a:gd name="connsiteX2125" fmla="*/ 1065 w 10354"/>
                <a:gd name="connsiteY2125" fmla="*/ 4692 h 10000"/>
                <a:gd name="connsiteX2126" fmla="*/ 1051 w 10354"/>
                <a:gd name="connsiteY2126" fmla="*/ 4718 h 10000"/>
                <a:gd name="connsiteX2127" fmla="*/ 1055 w 10354"/>
                <a:gd name="connsiteY2127" fmla="*/ 4692 h 10000"/>
                <a:gd name="connsiteX2128" fmla="*/ 1055 w 10354"/>
                <a:gd name="connsiteY2128" fmla="*/ 4667 h 10000"/>
                <a:gd name="connsiteX2129" fmla="*/ 1028 w 10354"/>
                <a:gd name="connsiteY2129" fmla="*/ 4624 h 10000"/>
                <a:gd name="connsiteX2130" fmla="*/ 1005 w 10354"/>
                <a:gd name="connsiteY2130" fmla="*/ 4624 h 10000"/>
                <a:gd name="connsiteX2131" fmla="*/ 977 w 10354"/>
                <a:gd name="connsiteY2131" fmla="*/ 4581 h 10000"/>
                <a:gd name="connsiteX2132" fmla="*/ 963 w 10354"/>
                <a:gd name="connsiteY2132" fmla="*/ 4607 h 10000"/>
                <a:gd name="connsiteX2133" fmla="*/ 963 w 10354"/>
                <a:gd name="connsiteY2133" fmla="*/ 4632 h 10000"/>
                <a:gd name="connsiteX2134" fmla="*/ 917 w 10354"/>
                <a:gd name="connsiteY2134" fmla="*/ 4718 h 10000"/>
                <a:gd name="connsiteX2135" fmla="*/ 889 w 10354"/>
                <a:gd name="connsiteY2135" fmla="*/ 4744 h 10000"/>
                <a:gd name="connsiteX2136" fmla="*/ 880 w 10354"/>
                <a:gd name="connsiteY2136" fmla="*/ 4744 h 10000"/>
                <a:gd name="connsiteX2137" fmla="*/ 862 w 10354"/>
                <a:gd name="connsiteY2137" fmla="*/ 4769 h 10000"/>
                <a:gd name="connsiteX2138" fmla="*/ 857 w 10354"/>
                <a:gd name="connsiteY2138" fmla="*/ 4795 h 10000"/>
                <a:gd name="connsiteX2139" fmla="*/ 829 w 10354"/>
                <a:gd name="connsiteY2139" fmla="*/ 4846 h 10000"/>
                <a:gd name="connsiteX2140" fmla="*/ 816 w 10354"/>
                <a:gd name="connsiteY2140" fmla="*/ 4855 h 10000"/>
                <a:gd name="connsiteX2141" fmla="*/ 816 w 10354"/>
                <a:gd name="connsiteY2141" fmla="*/ 4940 h 10000"/>
                <a:gd name="connsiteX2142" fmla="*/ 880 w 10354"/>
                <a:gd name="connsiteY2142" fmla="*/ 5179 h 10000"/>
                <a:gd name="connsiteX2143" fmla="*/ 880 w 10354"/>
                <a:gd name="connsiteY2143" fmla="*/ 5188 h 10000"/>
                <a:gd name="connsiteX2144" fmla="*/ 862 w 10354"/>
                <a:gd name="connsiteY2144" fmla="*/ 5171 h 10000"/>
                <a:gd name="connsiteX2145" fmla="*/ 857 w 10354"/>
                <a:gd name="connsiteY2145" fmla="*/ 5171 h 10000"/>
                <a:gd name="connsiteX2146" fmla="*/ 820 w 10354"/>
                <a:gd name="connsiteY2146" fmla="*/ 5145 h 10000"/>
                <a:gd name="connsiteX2147" fmla="*/ 820 w 10354"/>
                <a:gd name="connsiteY2147" fmla="*/ 5154 h 10000"/>
                <a:gd name="connsiteX2148" fmla="*/ 816 w 10354"/>
                <a:gd name="connsiteY2148" fmla="*/ 5171 h 10000"/>
                <a:gd name="connsiteX2149" fmla="*/ 783 w 10354"/>
                <a:gd name="connsiteY2149" fmla="*/ 5145 h 10000"/>
                <a:gd name="connsiteX2150" fmla="*/ 756 w 10354"/>
                <a:gd name="connsiteY2150" fmla="*/ 5103 h 10000"/>
                <a:gd name="connsiteX2151" fmla="*/ 742 w 10354"/>
                <a:gd name="connsiteY2151" fmla="*/ 5103 h 10000"/>
                <a:gd name="connsiteX2152" fmla="*/ 728 w 10354"/>
                <a:gd name="connsiteY2152" fmla="*/ 5094 h 10000"/>
                <a:gd name="connsiteX2153" fmla="*/ 710 w 10354"/>
                <a:gd name="connsiteY2153" fmla="*/ 5120 h 10000"/>
                <a:gd name="connsiteX2154" fmla="*/ 700 w 10354"/>
                <a:gd name="connsiteY2154" fmla="*/ 5145 h 10000"/>
                <a:gd name="connsiteX2155" fmla="*/ 696 w 10354"/>
                <a:gd name="connsiteY2155" fmla="*/ 5103 h 10000"/>
                <a:gd name="connsiteX2156" fmla="*/ 714 w 10354"/>
                <a:gd name="connsiteY2156" fmla="*/ 5077 h 10000"/>
                <a:gd name="connsiteX2157" fmla="*/ 682 w 10354"/>
                <a:gd name="connsiteY2157" fmla="*/ 5068 h 10000"/>
                <a:gd name="connsiteX2158" fmla="*/ 673 w 10354"/>
                <a:gd name="connsiteY2158" fmla="*/ 5034 h 10000"/>
                <a:gd name="connsiteX2159" fmla="*/ 636 w 10354"/>
                <a:gd name="connsiteY2159" fmla="*/ 4991 h 10000"/>
                <a:gd name="connsiteX2160" fmla="*/ 622 w 10354"/>
                <a:gd name="connsiteY2160" fmla="*/ 4983 h 10000"/>
                <a:gd name="connsiteX2161" fmla="*/ 622 w 10354"/>
                <a:gd name="connsiteY2161" fmla="*/ 5034 h 10000"/>
                <a:gd name="connsiteX2162" fmla="*/ 608 w 10354"/>
                <a:gd name="connsiteY2162" fmla="*/ 5051 h 10000"/>
                <a:gd name="connsiteX2163" fmla="*/ 594 w 10354"/>
                <a:gd name="connsiteY2163" fmla="*/ 5068 h 10000"/>
                <a:gd name="connsiteX2164" fmla="*/ 608 w 10354"/>
                <a:gd name="connsiteY2164" fmla="*/ 5120 h 10000"/>
                <a:gd name="connsiteX2165" fmla="*/ 613 w 10354"/>
                <a:gd name="connsiteY2165" fmla="*/ 5128 h 10000"/>
                <a:gd name="connsiteX2166" fmla="*/ 627 w 10354"/>
                <a:gd name="connsiteY2166" fmla="*/ 5179 h 10000"/>
                <a:gd name="connsiteX2167" fmla="*/ 650 w 10354"/>
                <a:gd name="connsiteY2167" fmla="*/ 5214 h 10000"/>
                <a:gd name="connsiteX2168" fmla="*/ 687 w 10354"/>
                <a:gd name="connsiteY2168" fmla="*/ 5188 h 10000"/>
                <a:gd name="connsiteX2169" fmla="*/ 700 w 10354"/>
                <a:gd name="connsiteY2169" fmla="*/ 5325 h 10000"/>
                <a:gd name="connsiteX2170" fmla="*/ 710 w 10354"/>
                <a:gd name="connsiteY2170" fmla="*/ 5350 h 10000"/>
                <a:gd name="connsiteX2171" fmla="*/ 687 w 10354"/>
                <a:gd name="connsiteY2171" fmla="*/ 5325 h 10000"/>
                <a:gd name="connsiteX2172" fmla="*/ 668 w 10354"/>
                <a:gd name="connsiteY2172" fmla="*/ 5350 h 10000"/>
                <a:gd name="connsiteX2173" fmla="*/ 668 w 10354"/>
                <a:gd name="connsiteY2173" fmla="*/ 5368 h 10000"/>
                <a:gd name="connsiteX2174" fmla="*/ 668 w 10354"/>
                <a:gd name="connsiteY2174" fmla="*/ 5376 h 10000"/>
                <a:gd name="connsiteX2175" fmla="*/ 581 w 10354"/>
                <a:gd name="connsiteY2175" fmla="*/ 5316 h 10000"/>
                <a:gd name="connsiteX2176" fmla="*/ 567 w 10354"/>
                <a:gd name="connsiteY2176" fmla="*/ 5265 h 10000"/>
                <a:gd name="connsiteX2177" fmla="*/ 562 w 10354"/>
                <a:gd name="connsiteY2177" fmla="*/ 5256 h 10000"/>
                <a:gd name="connsiteX2178" fmla="*/ 548 w 10354"/>
                <a:gd name="connsiteY2178" fmla="*/ 5231 h 10000"/>
                <a:gd name="connsiteX2179" fmla="*/ 535 w 10354"/>
                <a:gd name="connsiteY2179" fmla="*/ 5214 h 10000"/>
                <a:gd name="connsiteX2180" fmla="*/ 525 w 10354"/>
                <a:gd name="connsiteY2180" fmla="*/ 5231 h 10000"/>
                <a:gd name="connsiteX2181" fmla="*/ 521 w 10354"/>
                <a:gd name="connsiteY2181" fmla="*/ 5231 h 10000"/>
                <a:gd name="connsiteX2182" fmla="*/ 493 w 10354"/>
                <a:gd name="connsiteY2182" fmla="*/ 5205 h 10000"/>
                <a:gd name="connsiteX2183" fmla="*/ 488 w 10354"/>
                <a:gd name="connsiteY2183" fmla="*/ 5179 h 10000"/>
                <a:gd name="connsiteX2184" fmla="*/ 475 w 10354"/>
                <a:gd name="connsiteY2184" fmla="*/ 5188 h 10000"/>
                <a:gd name="connsiteX2185" fmla="*/ 475 w 10354"/>
                <a:gd name="connsiteY2185" fmla="*/ 5171 h 10000"/>
                <a:gd name="connsiteX2186" fmla="*/ 488 w 10354"/>
                <a:gd name="connsiteY2186" fmla="*/ 5154 h 10000"/>
                <a:gd name="connsiteX2187" fmla="*/ 488 w 10354"/>
                <a:gd name="connsiteY2187" fmla="*/ 5068 h 10000"/>
                <a:gd name="connsiteX2188" fmla="*/ 475 w 10354"/>
                <a:gd name="connsiteY2188" fmla="*/ 5051 h 10000"/>
                <a:gd name="connsiteX2189" fmla="*/ 475 w 10354"/>
                <a:gd name="connsiteY2189" fmla="*/ 5017 h 10000"/>
                <a:gd name="connsiteX2190" fmla="*/ 452 w 10354"/>
                <a:gd name="connsiteY2190" fmla="*/ 4932 h 10000"/>
                <a:gd name="connsiteX2191" fmla="*/ 461 w 10354"/>
                <a:gd name="connsiteY2191" fmla="*/ 4915 h 10000"/>
                <a:gd name="connsiteX2192" fmla="*/ 475 w 10354"/>
                <a:gd name="connsiteY2192" fmla="*/ 4906 h 10000"/>
                <a:gd name="connsiteX2193" fmla="*/ 479 w 10354"/>
                <a:gd name="connsiteY2193" fmla="*/ 4803 h 10000"/>
                <a:gd name="connsiteX2194" fmla="*/ 479 w 10354"/>
                <a:gd name="connsiteY2194" fmla="*/ 4778 h 10000"/>
                <a:gd name="connsiteX2195" fmla="*/ 475 w 10354"/>
                <a:gd name="connsiteY2195" fmla="*/ 4761 h 10000"/>
                <a:gd name="connsiteX2196" fmla="*/ 465 w 10354"/>
                <a:gd name="connsiteY2196" fmla="*/ 4718 h 10000"/>
                <a:gd name="connsiteX2197" fmla="*/ 461 w 10354"/>
                <a:gd name="connsiteY2197" fmla="*/ 4709 h 10000"/>
                <a:gd name="connsiteX2198" fmla="*/ 442 w 10354"/>
                <a:gd name="connsiteY2198" fmla="*/ 4692 h 10000"/>
                <a:gd name="connsiteX2199" fmla="*/ 433 w 10354"/>
                <a:gd name="connsiteY2199" fmla="*/ 4667 h 10000"/>
                <a:gd name="connsiteX2200" fmla="*/ 419 w 10354"/>
                <a:gd name="connsiteY2200" fmla="*/ 4667 h 10000"/>
                <a:gd name="connsiteX2201" fmla="*/ 401 w 10354"/>
                <a:gd name="connsiteY2201" fmla="*/ 4658 h 10000"/>
                <a:gd name="connsiteX2202" fmla="*/ 401 w 10354"/>
                <a:gd name="connsiteY2202" fmla="*/ 4624 h 10000"/>
                <a:gd name="connsiteX2203" fmla="*/ 401 w 10354"/>
                <a:gd name="connsiteY2203" fmla="*/ 4607 h 10000"/>
                <a:gd name="connsiteX2204" fmla="*/ 378 w 10354"/>
                <a:gd name="connsiteY2204" fmla="*/ 4607 h 10000"/>
                <a:gd name="connsiteX2205" fmla="*/ 341 w 10354"/>
                <a:gd name="connsiteY2205" fmla="*/ 4530 h 10000"/>
                <a:gd name="connsiteX2206" fmla="*/ 346 w 10354"/>
                <a:gd name="connsiteY2206" fmla="*/ 4521 h 10000"/>
                <a:gd name="connsiteX2207" fmla="*/ 332 w 10354"/>
                <a:gd name="connsiteY2207" fmla="*/ 4487 h 10000"/>
                <a:gd name="connsiteX2208" fmla="*/ 327 w 10354"/>
                <a:gd name="connsiteY2208" fmla="*/ 4462 h 10000"/>
                <a:gd name="connsiteX2209" fmla="*/ 313 w 10354"/>
                <a:gd name="connsiteY2209" fmla="*/ 4436 h 10000"/>
                <a:gd name="connsiteX2210" fmla="*/ 300 w 10354"/>
                <a:gd name="connsiteY2210" fmla="*/ 4419 h 10000"/>
                <a:gd name="connsiteX2211" fmla="*/ 309 w 10354"/>
                <a:gd name="connsiteY2211" fmla="*/ 4393 h 10000"/>
                <a:gd name="connsiteX2212" fmla="*/ 332 w 10354"/>
                <a:gd name="connsiteY2212" fmla="*/ 4385 h 10000"/>
                <a:gd name="connsiteX2213" fmla="*/ 355 w 10354"/>
                <a:gd name="connsiteY2213" fmla="*/ 4419 h 10000"/>
                <a:gd name="connsiteX2214" fmla="*/ 355 w 10354"/>
                <a:gd name="connsiteY2214" fmla="*/ 4444 h 10000"/>
                <a:gd name="connsiteX2215" fmla="*/ 369 w 10354"/>
                <a:gd name="connsiteY2215" fmla="*/ 4470 h 10000"/>
                <a:gd name="connsiteX2216" fmla="*/ 401 w 10354"/>
                <a:gd name="connsiteY2216" fmla="*/ 4521 h 10000"/>
                <a:gd name="connsiteX2217" fmla="*/ 406 w 10354"/>
                <a:gd name="connsiteY2217" fmla="*/ 4513 h 10000"/>
                <a:gd name="connsiteX2218" fmla="*/ 406 w 10354"/>
                <a:gd name="connsiteY2218" fmla="*/ 4496 h 10000"/>
                <a:gd name="connsiteX2219" fmla="*/ 419 w 10354"/>
                <a:gd name="connsiteY2219" fmla="*/ 4521 h 10000"/>
                <a:gd name="connsiteX2220" fmla="*/ 429 w 10354"/>
                <a:gd name="connsiteY2220" fmla="*/ 4530 h 10000"/>
                <a:gd name="connsiteX2221" fmla="*/ 433 w 10354"/>
                <a:gd name="connsiteY2221" fmla="*/ 4521 h 10000"/>
                <a:gd name="connsiteX2222" fmla="*/ 442 w 10354"/>
                <a:gd name="connsiteY2222" fmla="*/ 4530 h 10000"/>
                <a:gd name="connsiteX2223" fmla="*/ 447 w 10354"/>
                <a:gd name="connsiteY2223" fmla="*/ 4521 h 10000"/>
                <a:gd name="connsiteX2224" fmla="*/ 452 w 10354"/>
                <a:gd name="connsiteY2224" fmla="*/ 4521 h 10000"/>
                <a:gd name="connsiteX2225" fmla="*/ 461 w 10354"/>
                <a:gd name="connsiteY2225" fmla="*/ 4573 h 10000"/>
                <a:gd name="connsiteX2226" fmla="*/ 479 w 10354"/>
                <a:gd name="connsiteY2226" fmla="*/ 4556 h 10000"/>
                <a:gd name="connsiteX2227" fmla="*/ 502 w 10354"/>
                <a:gd name="connsiteY2227" fmla="*/ 4573 h 10000"/>
                <a:gd name="connsiteX2228" fmla="*/ 507 w 10354"/>
                <a:gd name="connsiteY2228" fmla="*/ 4598 h 10000"/>
                <a:gd name="connsiteX2229" fmla="*/ 525 w 10354"/>
                <a:gd name="connsiteY2229" fmla="*/ 4598 h 10000"/>
                <a:gd name="connsiteX2230" fmla="*/ 535 w 10354"/>
                <a:gd name="connsiteY2230" fmla="*/ 4624 h 10000"/>
                <a:gd name="connsiteX2231" fmla="*/ 594 w 10354"/>
                <a:gd name="connsiteY2231" fmla="*/ 4658 h 10000"/>
                <a:gd name="connsiteX2232" fmla="*/ 627 w 10354"/>
                <a:gd name="connsiteY2232" fmla="*/ 4658 h 10000"/>
                <a:gd name="connsiteX2233" fmla="*/ 654 w 10354"/>
                <a:gd name="connsiteY2233" fmla="*/ 4684 h 10000"/>
                <a:gd name="connsiteX2234" fmla="*/ 668 w 10354"/>
                <a:gd name="connsiteY2234" fmla="*/ 4709 h 10000"/>
                <a:gd name="connsiteX2235" fmla="*/ 747 w 10354"/>
                <a:gd name="connsiteY2235" fmla="*/ 4718 h 10000"/>
                <a:gd name="connsiteX2236" fmla="*/ 760 w 10354"/>
                <a:gd name="connsiteY2236" fmla="*/ 4709 h 10000"/>
                <a:gd name="connsiteX2237" fmla="*/ 774 w 10354"/>
                <a:gd name="connsiteY2237" fmla="*/ 4692 h 10000"/>
                <a:gd name="connsiteX2238" fmla="*/ 829 w 10354"/>
                <a:gd name="connsiteY2238" fmla="*/ 4658 h 10000"/>
                <a:gd name="connsiteX2239" fmla="*/ 903 w 10354"/>
                <a:gd name="connsiteY2239" fmla="*/ 4496 h 10000"/>
                <a:gd name="connsiteX2240" fmla="*/ 917 w 10354"/>
                <a:gd name="connsiteY2240" fmla="*/ 4385 h 10000"/>
                <a:gd name="connsiteX2241" fmla="*/ 903 w 10354"/>
                <a:gd name="connsiteY2241" fmla="*/ 4376 h 10000"/>
                <a:gd name="connsiteX2242" fmla="*/ 903 w 10354"/>
                <a:gd name="connsiteY2242" fmla="*/ 4376 h 10000"/>
                <a:gd name="connsiteX2243" fmla="*/ 889 w 10354"/>
                <a:gd name="connsiteY2243" fmla="*/ 4239 h 10000"/>
                <a:gd name="connsiteX2244" fmla="*/ 880 w 10354"/>
                <a:gd name="connsiteY2244" fmla="*/ 4214 h 10000"/>
                <a:gd name="connsiteX2245" fmla="*/ 862 w 10354"/>
                <a:gd name="connsiteY2245" fmla="*/ 4188 h 10000"/>
                <a:gd name="connsiteX2246" fmla="*/ 857 w 10354"/>
                <a:gd name="connsiteY2246" fmla="*/ 4197 h 10000"/>
                <a:gd name="connsiteX2247" fmla="*/ 848 w 10354"/>
                <a:gd name="connsiteY2247" fmla="*/ 4188 h 10000"/>
                <a:gd name="connsiteX2248" fmla="*/ 848 w 10354"/>
                <a:gd name="connsiteY2248" fmla="*/ 4162 h 10000"/>
                <a:gd name="connsiteX2249" fmla="*/ 829 w 10354"/>
                <a:gd name="connsiteY2249" fmla="*/ 4120 h 10000"/>
                <a:gd name="connsiteX2250" fmla="*/ 820 w 10354"/>
                <a:gd name="connsiteY2250" fmla="*/ 4103 h 10000"/>
                <a:gd name="connsiteX2251" fmla="*/ 806 w 10354"/>
                <a:gd name="connsiteY2251" fmla="*/ 4077 h 10000"/>
                <a:gd name="connsiteX2252" fmla="*/ 816 w 10354"/>
                <a:gd name="connsiteY2252" fmla="*/ 4111 h 10000"/>
                <a:gd name="connsiteX2253" fmla="*/ 802 w 10354"/>
                <a:gd name="connsiteY2253" fmla="*/ 4111 h 10000"/>
                <a:gd name="connsiteX2254" fmla="*/ 770 w 10354"/>
                <a:gd name="connsiteY2254" fmla="*/ 4060 h 10000"/>
                <a:gd name="connsiteX2255" fmla="*/ 760 w 10354"/>
                <a:gd name="connsiteY2255" fmla="*/ 4077 h 10000"/>
                <a:gd name="connsiteX2256" fmla="*/ 760 w 10354"/>
                <a:gd name="connsiteY2256" fmla="*/ 4060 h 10000"/>
                <a:gd name="connsiteX2257" fmla="*/ 756 w 10354"/>
                <a:gd name="connsiteY2257" fmla="*/ 4034 h 10000"/>
                <a:gd name="connsiteX2258" fmla="*/ 742 w 10354"/>
                <a:gd name="connsiteY2258" fmla="*/ 4000 h 10000"/>
                <a:gd name="connsiteX2259" fmla="*/ 747 w 10354"/>
                <a:gd name="connsiteY2259" fmla="*/ 4034 h 10000"/>
                <a:gd name="connsiteX2260" fmla="*/ 724 w 10354"/>
                <a:gd name="connsiteY2260" fmla="*/ 4026 h 10000"/>
                <a:gd name="connsiteX2261" fmla="*/ 714 w 10354"/>
                <a:gd name="connsiteY2261" fmla="*/ 4000 h 10000"/>
                <a:gd name="connsiteX2262" fmla="*/ 714 w 10354"/>
                <a:gd name="connsiteY2262" fmla="*/ 3983 h 10000"/>
                <a:gd name="connsiteX2263" fmla="*/ 553 w 10354"/>
                <a:gd name="connsiteY2263" fmla="*/ 3726 h 10000"/>
                <a:gd name="connsiteX2264" fmla="*/ 507 w 10354"/>
                <a:gd name="connsiteY2264" fmla="*/ 3718 h 10000"/>
                <a:gd name="connsiteX2265" fmla="*/ 516 w 10354"/>
                <a:gd name="connsiteY2265" fmla="*/ 3726 h 10000"/>
                <a:gd name="connsiteX2266" fmla="*/ 507 w 10354"/>
                <a:gd name="connsiteY2266" fmla="*/ 3735 h 10000"/>
                <a:gd name="connsiteX2267" fmla="*/ 502 w 10354"/>
                <a:gd name="connsiteY2267" fmla="*/ 3735 h 10000"/>
                <a:gd name="connsiteX2268" fmla="*/ 419 w 10354"/>
                <a:gd name="connsiteY2268" fmla="*/ 3675 h 10000"/>
                <a:gd name="connsiteX2269" fmla="*/ 419 w 10354"/>
                <a:gd name="connsiteY2269" fmla="*/ 3692 h 10000"/>
                <a:gd name="connsiteX2270" fmla="*/ 401 w 10354"/>
                <a:gd name="connsiteY2270" fmla="*/ 3701 h 10000"/>
                <a:gd name="connsiteX2271" fmla="*/ 387 w 10354"/>
                <a:gd name="connsiteY2271" fmla="*/ 3718 h 10000"/>
                <a:gd name="connsiteX2272" fmla="*/ 387 w 10354"/>
                <a:gd name="connsiteY2272" fmla="*/ 3692 h 10000"/>
                <a:gd name="connsiteX2273" fmla="*/ 378 w 10354"/>
                <a:gd name="connsiteY2273" fmla="*/ 3675 h 10000"/>
                <a:gd name="connsiteX2274" fmla="*/ 378 w 10354"/>
                <a:gd name="connsiteY2274" fmla="*/ 3650 h 10000"/>
                <a:gd name="connsiteX2275" fmla="*/ 378 w 10354"/>
                <a:gd name="connsiteY2275" fmla="*/ 3650 h 10000"/>
                <a:gd name="connsiteX2276" fmla="*/ 355 w 10354"/>
                <a:gd name="connsiteY2276" fmla="*/ 3675 h 10000"/>
                <a:gd name="connsiteX2277" fmla="*/ 359 w 10354"/>
                <a:gd name="connsiteY2277" fmla="*/ 3641 h 10000"/>
                <a:gd name="connsiteX2278" fmla="*/ 346 w 10354"/>
                <a:gd name="connsiteY2278" fmla="*/ 3650 h 10000"/>
                <a:gd name="connsiteX2279" fmla="*/ 355 w 10354"/>
                <a:gd name="connsiteY2279" fmla="*/ 3624 h 10000"/>
                <a:gd name="connsiteX2280" fmla="*/ 346 w 10354"/>
                <a:gd name="connsiteY2280" fmla="*/ 3624 h 10000"/>
                <a:gd name="connsiteX2281" fmla="*/ 341 w 10354"/>
                <a:gd name="connsiteY2281" fmla="*/ 3624 h 10000"/>
                <a:gd name="connsiteX2282" fmla="*/ 318 w 10354"/>
                <a:gd name="connsiteY2282" fmla="*/ 3641 h 10000"/>
                <a:gd name="connsiteX2283" fmla="*/ 327 w 10354"/>
                <a:gd name="connsiteY2283" fmla="*/ 3624 h 10000"/>
                <a:gd name="connsiteX2284" fmla="*/ 318 w 10354"/>
                <a:gd name="connsiteY2284" fmla="*/ 3615 h 10000"/>
                <a:gd name="connsiteX2285" fmla="*/ 318 w 10354"/>
                <a:gd name="connsiteY2285" fmla="*/ 3598 h 10000"/>
                <a:gd name="connsiteX2286" fmla="*/ 300 w 10354"/>
                <a:gd name="connsiteY2286" fmla="*/ 3598 h 10000"/>
                <a:gd name="connsiteX2287" fmla="*/ 309 w 10354"/>
                <a:gd name="connsiteY2287" fmla="*/ 3538 h 10000"/>
                <a:gd name="connsiteX2288" fmla="*/ 313 w 10354"/>
                <a:gd name="connsiteY2288" fmla="*/ 3564 h 10000"/>
                <a:gd name="connsiteX2289" fmla="*/ 318 w 10354"/>
                <a:gd name="connsiteY2289" fmla="*/ 3581 h 10000"/>
                <a:gd name="connsiteX2290" fmla="*/ 327 w 10354"/>
                <a:gd name="connsiteY2290" fmla="*/ 3564 h 10000"/>
                <a:gd name="connsiteX2291" fmla="*/ 332 w 10354"/>
                <a:gd name="connsiteY2291" fmla="*/ 3590 h 10000"/>
                <a:gd name="connsiteX2292" fmla="*/ 346 w 10354"/>
                <a:gd name="connsiteY2292" fmla="*/ 3590 h 10000"/>
                <a:gd name="connsiteX2293" fmla="*/ 355 w 10354"/>
                <a:gd name="connsiteY2293" fmla="*/ 3590 h 10000"/>
                <a:gd name="connsiteX2294" fmla="*/ 369 w 10354"/>
                <a:gd name="connsiteY2294" fmla="*/ 3556 h 10000"/>
                <a:gd name="connsiteX2295" fmla="*/ 369 w 10354"/>
                <a:gd name="connsiteY2295" fmla="*/ 3538 h 10000"/>
                <a:gd name="connsiteX2296" fmla="*/ 346 w 10354"/>
                <a:gd name="connsiteY2296" fmla="*/ 3513 h 10000"/>
                <a:gd name="connsiteX2297" fmla="*/ 341 w 10354"/>
                <a:gd name="connsiteY2297" fmla="*/ 3530 h 10000"/>
                <a:gd name="connsiteX2298" fmla="*/ 327 w 10354"/>
                <a:gd name="connsiteY2298" fmla="*/ 3513 h 10000"/>
                <a:gd name="connsiteX2299" fmla="*/ 327 w 10354"/>
                <a:gd name="connsiteY2299" fmla="*/ 3504 h 10000"/>
                <a:gd name="connsiteX2300" fmla="*/ 295 w 10354"/>
                <a:gd name="connsiteY2300" fmla="*/ 3462 h 10000"/>
                <a:gd name="connsiteX2301" fmla="*/ 300 w 10354"/>
                <a:gd name="connsiteY2301" fmla="*/ 3479 h 10000"/>
                <a:gd name="connsiteX2302" fmla="*/ 295 w 10354"/>
                <a:gd name="connsiteY2302" fmla="*/ 3513 h 10000"/>
                <a:gd name="connsiteX2303" fmla="*/ 286 w 10354"/>
                <a:gd name="connsiteY2303" fmla="*/ 3513 h 10000"/>
                <a:gd name="connsiteX2304" fmla="*/ 281 w 10354"/>
                <a:gd name="connsiteY2304" fmla="*/ 3513 h 10000"/>
                <a:gd name="connsiteX2305" fmla="*/ 281 w 10354"/>
                <a:gd name="connsiteY2305" fmla="*/ 3530 h 10000"/>
                <a:gd name="connsiteX2306" fmla="*/ 281 w 10354"/>
                <a:gd name="connsiteY2306" fmla="*/ 3556 h 10000"/>
                <a:gd name="connsiteX2307" fmla="*/ 272 w 10354"/>
                <a:gd name="connsiteY2307" fmla="*/ 3564 h 10000"/>
                <a:gd name="connsiteX2308" fmla="*/ 267 w 10354"/>
                <a:gd name="connsiteY2308" fmla="*/ 3564 h 10000"/>
                <a:gd name="connsiteX2309" fmla="*/ 253 w 10354"/>
                <a:gd name="connsiteY2309" fmla="*/ 3538 h 10000"/>
                <a:gd name="connsiteX2310" fmla="*/ 226 w 10354"/>
                <a:gd name="connsiteY2310" fmla="*/ 3513 h 10000"/>
                <a:gd name="connsiteX2311" fmla="*/ 226 w 10354"/>
                <a:gd name="connsiteY2311" fmla="*/ 3530 h 10000"/>
                <a:gd name="connsiteX2312" fmla="*/ 226 w 10354"/>
                <a:gd name="connsiteY2312" fmla="*/ 3530 h 10000"/>
                <a:gd name="connsiteX2313" fmla="*/ 226 w 10354"/>
                <a:gd name="connsiteY2313" fmla="*/ 3530 h 10000"/>
                <a:gd name="connsiteX2314" fmla="*/ 226 w 10354"/>
                <a:gd name="connsiteY2314" fmla="*/ 3556 h 10000"/>
                <a:gd name="connsiteX2315" fmla="*/ 221 w 10354"/>
                <a:gd name="connsiteY2315" fmla="*/ 3598 h 10000"/>
                <a:gd name="connsiteX2316" fmla="*/ 207 w 10354"/>
                <a:gd name="connsiteY2316" fmla="*/ 3598 h 10000"/>
                <a:gd name="connsiteX2317" fmla="*/ 180 w 10354"/>
                <a:gd name="connsiteY2317" fmla="*/ 3581 h 10000"/>
                <a:gd name="connsiteX2318" fmla="*/ 171 w 10354"/>
                <a:gd name="connsiteY2318" fmla="*/ 3641 h 10000"/>
                <a:gd name="connsiteX2319" fmla="*/ 166 w 10354"/>
                <a:gd name="connsiteY2319" fmla="*/ 3650 h 10000"/>
                <a:gd name="connsiteX2320" fmla="*/ 124 w 10354"/>
                <a:gd name="connsiteY2320" fmla="*/ 3701 h 10000"/>
                <a:gd name="connsiteX2321" fmla="*/ 124 w 10354"/>
                <a:gd name="connsiteY2321" fmla="*/ 3718 h 10000"/>
                <a:gd name="connsiteX2322" fmla="*/ 120 w 10354"/>
                <a:gd name="connsiteY2322" fmla="*/ 3735 h 10000"/>
                <a:gd name="connsiteX2323" fmla="*/ 120 w 10354"/>
                <a:gd name="connsiteY2323" fmla="*/ 3735 h 10000"/>
                <a:gd name="connsiteX2324" fmla="*/ 111 w 10354"/>
                <a:gd name="connsiteY2324" fmla="*/ 3761 h 10000"/>
                <a:gd name="connsiteX2325" fmla="*/ 106 w 10354"/>
                <a:gd name="connsiteY2325" fmla="*/ 3761 h 10000"/>
                <a:gd name="connsiteX2326" fmla="*/ 106 w 10354"/>
                <a:gd name="connsiteY2326" fmla="*/ 3761 h 10000"/>
                <a:gd name="connsiteX2327" fmla="*/ 74 w 10354"/>
                <a:gd name="connsiteY2327" fmla="*/ 3829 h 10000"/>
                <a:gd name="connsiteX2328" fmla="*/ 78 w 10354"/>
                <a:gd name="connsiteY2328" fmla="*/ 3838 h 10000"/>
                <a:gd name="connsiteX2329" fmla="*/ 88 w 10354"/>
                <a:gd name="connsiteY2329" fmla="*/ 3846 h 10000"/>
                <a:gd name="connsiteX2330" fmla="*/ 65 w 10354"/>
                <a:gd name="connsiteY2330" fmla="*/ 3923 h 10000"/>
                <a:gd name="connsiteX2331" fmla="*/ 78 w 10354"/>
                <a:gd name="connsiteY2331" fmla="*/ 4026 h 10000"/>
                <a:gd name="connsiteX2332" fmla="*/ 88 w 10354"/>
                <a:gd name="connsiteY2332" fmla="*/ 4051 h 10000"/>
                <a:gd name="connsiteX2333" fmla="*/ 92 w 10354"/>
                <a:gd name="connsiteY2333" fmla="*/ 4060 h 10000"/>
                <a:gd name="connsiteX2334" fmla="*/ 111 w 10354"/>
                <a:gd name="connsiteY2334" fmla="*/ 4060 h 10000"/>
                <a:gd name="connsiteX2335" fmla="*/ 124 w 10354"/>
                <a:gd name="connsiteY2335" fmla="*/ 4085 h 10000"/>
                <a:gd name="connsiteX2336" fmla="*/ 166 w 10354"/>
                <a:gd name="connsiteY2336" fmla="*/ 4197 h 10000"/>
                <a:gd name="connsiteX2337" fmla="*/ 166 w 10354"/>
                <a:gd name="connsiteY2337" fmla="*/ 4248 h 10000"/>
                <a:gd name="connsiteX2338" fmla="*/ 120 w 10354"/>
                <a:gd name="connsiteY2338" fmla="*/ 4462 h 10000"/>
                <a:gd name="connsiteX2339" fmla="*/ 120 w 10354"/>
                <a:gd name="connsiteY2339" fmla="*/ 4513 h 10000"/>
                <a:gd name="connsiteX2340" fmla="*/ 180 w 10354"/>
                <a:gd name="connsiteY2340" fmla="*/ 4829 h 10000"/>
                <a:gd name="connsiteX2341" fmla="*/ 161 w 10354"/>
                <a:gd name="connsiteY2341" fmla="*/ 4855 h 10000"/>
                <a:gd name="connsiteX2342" fmla="*/ 152 w 10354"/>
                <a:gd name="connsiteY2342" fmla="*/ 4940 h 10000"/>
                <a:gd name="connsiteX2343" fmla="*/ 161 w 10354"/>
                <a:gd name="connsiteY2343" fmla="*/ 4966 h 10000"/>
                <a:gd name="connsiteX2344" fmla="*/ 161 w 10354"/>
                <a:gd name="connsiteY2344" fmla="*/ 5009 h 10000"/>
                <a:gd name="connsiteX2345" fmla="*/ 152 w 10354"/>
                <a:gd name="connsiteY2345" fmla="*/ 5034 h 10000"/>
                <a:gd name="connsiteX2346" fmla="*/ 152 w 10354"/>
                <a:gd name="connsiteY2346" fmla="*/ 5077 h 10000"/>
                <a:gd name="connsiteX2347" fmla="*/ 171 w 10354"/>
                <a:gd name="connsiteY2347" fmla="*/ 5094 h 10000"/>
                <a:gd name="connsiteX2348" fmla="*/ 180 w 10354"/>
                <a:gd name="connsiteY2348" fmla="*/ 5128 h 10000"/>
                <a:gd name="connsiteX2349" fmla="*/ 180 w 10354"/>
                <a:gd name="connsiteY2349" fmla="*/ 5171 h 10000"/>
                <a:gd name="connsiteX2350" fmla="*/ 184 w 10354"/>
                <a:gd name="connsiteY2350" fmla="*/ 5205 h 10000"/>
                <a:gd name="connsiteX2351" fmla="*/ 207 w 10354"/>
                <a:gd name="connsiteY2351" fmla="*/ 5239 h 10000"/>
                <a:gd name="connsiteX2352" fmla="*/ 207 w 10354"/>
                <a:gd name="connsiteY2352" fmla="*/ 5282 h 10000"/>
                <a:gd name="connsiteX2353" fmla="*/ 180 w 10354"/>
                <a:gd name="connsiteY2353" fmla="*/ 5393 h 10000"/>
                <a:gd name="connsiteX2354" fmla="*/ 194 w 10354"/>
                <a:gd name="connsiteY2354" fmla="*/ 5427 h 10000"/>
                <a:gd name="connsiteX2355" fmla="*/ 198 w 10354"/>
                <a:gd name="connsiteY2355" fmla="*/ 5462 h 10000"/>
                <a:gd name="connsiteX2356" fmla="*/ 235 w 10354"/>
                <a:gd name="connsiteY2356" fmla="*/ 5513 h 10000"/>
                <a:gd name="connsiteX2357" fmla="*/ 240 w 10354"/>
                <a:gd name="connsiteY2357" fmla="*/ 5556 h 10000"/>
                <a:gd name="connsiteX2358" fmla="*/ 253 w 10354"/>
                <a:gd name="connsiteY2358" fmla="*/ 5590 h 10000"/>
                <a:gd name="connsiteX2359" fmla="*/ 258 w 10354"/>
                <a:gd name="connsiteY2359" fmla="*/ 5573 h 10000"/>
                <a:gd name="connsiteX2360" fmla="*/ 258 w 10354"/>
                <a:gd name="connsiteY2360" fmla="*/ 5667 h 10000"/>
                <a:gd name="connsiteX2361" fmla="*/ 14 w 10354"/>
                <a:gd name="connsiteY2361" fmla="*/ 6214 h 10000"/>
                <a:gd name="connsiteX2362" fmla="*/ 14 w 10354"/>
                <a:gd name="connsiteY2362" fmla="*/ 6214 h 10000"/>
                <a:gd name="connsiteX2363" fmla="*/ 37 w 10354"/>
                <a:gd name="connsiteY2363" fmla="*/ 6214 h 10000"/>
                <a:gd name="connsiteX2364" fmla="*/ 51 w 10354"/>
                <a:gd name="connsiteY2364" fmla="*/ 6188 h 10000"/>
                <a:gd name="connsiteX2365" fmla="*/ 78 w 10354"/>
                <a:gd name="connsiteY2365" fmla="*/ 6162 h 10000"/>
                <a:gd name="connsiteX2366" fmla="*/ 78 w 10354"/>
                <a:gd name="connsiteY2366" fmla="*/ 6188 h 10000"/>
                <a:gd name="connsiteX2367" fmla="*/ 74 w 10354"/>
                <a:gd name="connsiteY2367" fmla="*/ 6197 h 10000"/>
                <a:gd name="connsiteX2368" fmla="*/ 74 w 10354"/>
                <a:gd name="connsiteY2368" fmla="*/ 6231 h 10000"/>
                <a:gd name="connsiteX2369" fmla="*/ 74 w 10354"/>
                <a:gd name="connsiteY2369" fmla="*/ 6214 h 10000"/>
                <a:gd name="connsiteX2370" fmla="*/ 65 w 10354"/>
                <a:gd name="connsiteY2370" fmla="*/ 6214 h 10000"/>
                <a:gd name="connsiteX2371" fmla="*/ 65 w 10354"/>
                <a:gd name="connsiteY2371" fmla="*/ 6248 h 10000"/>
                <a:gd name="connsiteX2372" fmla="*/ 74 w 10354"/>
                <a:gd name="connsiteY2372" fmla="*/ 6256 h 10000"/>
                <a:gd name="connsiteX2373" fmla="*/ 78 w 10354"/>
                <a:gd name="connsiteY2373" fmla="*/ 6256 h 10000"/>
                <a:gd name="connsiteX2374" fmla="*/ 106 w 10354"/>
                <a:gd name="connsiteY2374" fmla="*/ 6308 h 10000"/>
                <a:gd name="connsiteX2375" fmla="*/ 138 w 10354"/>
                <a:gd name="connsiteY2375" fmla="*/ 6299 h 10000"/>
                <a:gd name="connsiteX2376" fmla="*/ 152 w 10354"/>
                <a:gd name="connsiteY2376" fmla="*/ 6299 h 10000"/>
                <a:gd name="connsiteX2377" fmla="*/ 166 w 10354"/>
                <a:gd name="connsiteY2377" fmla="*/ 6325 h 10000"/>
                <a:gd name="connsiteX2378" fmla="*/ 166 w 10354"/>
                <a:gd name="connsiteY2378" fmla="*/ 6333 h 10000"/>
                <a:gd name="connsiteX2379" fmla="*/ 171 w 10354"/>
                <a:gd name="connsiteY2379" fmla="*/ 6350 h 10000"/>
                <a:gd name="connsiteX2380" fmla="*/ 180 w 10354"/>
                <a:gd name="connsiteY2380" fmla="*/ 6350 h 10000"/>
                <a:gd name="connsiteX2381" fmla="*/ 180 w 10354"/>
                <a:gd name="connsiteY2381" fmla="*/ 6359 h 10000"/>
                <a:gd name="connsiteX2382" fmla="*/ 171 w 10354"/>
                <a:gd name="connsiteY2382" fmla="*/ 6368 h 10000"/>
                <a:gd name="connsiteX2383" fmla="*/ 106 w 10354"/>
                <a:gd name="connsiteY2383" fmla="*/ 6350 h 10000"/>
                <a:gd name="connsiteX2384" fmla="*/ 101 w 10354"/>
                <a:gd name="connsiteY2384" fmla="*/ 6359 h 10000"/>
                <a:gd name="connsiteX2385" fmla="*/ 101 w 10354"/>
                <a:gd name="connsiteY2385" fmla="*/ 6385 h 10000"/>
                <a:gd name="connsiteX2386" fmla="*/ 78 w 10354"/>
                <a:gd name="connsiteY2386" fmla="*/ 6393 h 10000"/>
                <a:gd name="connsiteX2387" fmla="*/ 74 w 10354"/>
                <a:gd name="connsiteY2387" fmla="*/ 6385 h 10000"/>
                <a:gd name="connsiteX2388" fmla="*/ 65 w 10354"/>
                <a:gd name="connsiteY2388" fmla="*/ 6393 h 10000"/>
                <a:gd name="connsiteX2389" fmla="*/ 60 w 10354"/>
                <a:gd name="connsiteY2389" fmla="*/ 6419 h 10000"/>
                <a:gd name="connsiteX2390" fmla="*/ 51 w 10354"/>
                <a:gd name="connsiteY2390" fmla="*/ 6419 h 10000"/>
                <a:gd name="connsiteX2391" fmla="*/ 46 w 10354"/>
                <a:gd name="connsiteY2391" fmla="*/ 6410 h 10000"/>
                <a:gd name="connsiteX2392" fmla="*/ 37 w 10354"/>
                <a:gd name="connsiteY2392" fmla="*/ 6393 h 10000"/>
                <a:gd name="connsiteX2393" fmla="*/ 32 w 10354"/>
                <a:gd name="connsiteY2393" fmla="*/ 6419 h 10000"/>
                <a:gd name="connsiteX2394" fmla="*/ 37 w 10354"/>
                <a:gd name="connsiteY2394" fmla="*/ 6462 h 10000"/>
                <a:gd name="connsiteX2395" fmla="*/ 46 w 10354"/>
                <a:gd name="connsiteY2395" fmla="*/ 6462 h 10000"/>
                <a:gd name="connsiteX2396" fmla="*/ 51 w 10354"/>
                <a:gd name="connsiteY2396" fmla="*/ 6470 h 10000"/>
                <a:gd name="connsiteX2397" fmla="*/ 51 w 10354"/>
                <a:gd name="connsiteY2397" fmla="*/ 6496 h 10000"/>
                <a:gd name="connsiteX2398" fmla="*/ 51 w 10354"/>
                <a:gd name="connsiteY2398" fmla="*/ 6504 h 10000"/>
                <a:gd name="connsiteX2399" fmla="*/ 37 w 10354"/>
                <a:gd name="connsiteY2399" fmla="*/ 6530 h 10000"/>
                <a:gd name="connsiteX2400" fmla="*/ 18 w 10354"/>
                <a:gd name="connsiteY2400" fmla="*/ 6598 h 10000"/>
                <a:gd name="connsiteX2401" fmla="*/ 28 w 10354"/>
                <a:gd name="connsiteY2401" fmla="*/ 6632 h 10000"/>
                <a:gd name="connsiteX2402" fmla="*/ 18 w 10354"/>
                <a:gd name="connsiteY2402" fmla="*/ 6667 h 10000"/>
                <a:gd name="connsiteX2403" fmla="*/ 28 w 10354"/>
                <a:gd name="connsiteY2403" fmla="*/ 6692 h 10000"/>
                <a:gd name="connsiteX2404" fmla="*/ 28 w 10354"/>
                <a:gd name="connsiteY2404" fmla="*/ 6709 h 10000"/>
                <a:gd name="connsiteX2405" fmla="*/ 18 w 10354"/>
                <a:gd name="connsiteY2405" fmla="*/ 6718 h 10000"/>
                <a:gd name="connsiteX2406" fmla="*/ 5 w 10354"/>
                <a:gd name="connsiteY2406" fmla="*/ 6744 h 10000"/>
                <a:gd name="connsiteX2407" fmla="*/ 0 w 10354"/>
                <a:gd name="connsiteY2407" fmla="*/ 6769 h 10000"/>
                <a:gd name="connsiteX2408" fmla="*/ 5 w 10354"/>
                <a:gd name="connsiteY2408" fmla="*/ 6778 h 10000"/>
                <a:gd name="connsiteX2409" fmla="*/ 32 w 10354"/>
                <a:gd name="connsiteY2409" fmla="*/ 6778 h 10000"/>
                <a:gd name="connsiteX2410" fmla="*/ 46 w 10354"/>
                <a:gd name="connsiteY2410" fmla="*/ 6821 h 10000"/>
                <a:gd name="connsiteX2411" fmla="*/ 46 w 10354"/>
                <a:gd name="connsiteY2411" fmla="*/ 6855 h 10000"/>
                <a:gd name="connsiteX2412" fmla="*/ 32 w 10354"/>
                <a:gd name="connsiteY2412" fmla="*/ 6855 h 10000"/>
                <a:gd name="connsiteX2413" fmla="*/ 14 w 10354"/>
                <a:gd name="connsiteY2413" fmla="*/ 6821 h 10000"/>
                <a:gd name="connsiteX2414" fmla="*/ 14 w 10354"/>
                <a:gd name="connsiteY2414" fmla="*/ 6846 h 10000"/>
                <a:gd name="connsiteX2415" fmla="*/ 0 w 10354"/>
                <a:gd name="connsiteY2415" fmla="*/ 6897 h 10000"/>
                <a:gd name="connsiteX2416" fmla="*/ 0 w 10354"/>
                <a:gd name="connsiteY2416" fmla="*/ 6915 h 10000"/>
                <a:gd name="connsiteX2417" fmla="*/ 5 w 10354"/>
                <a:gd name="connsiteY2417" fmla="*/ 6932 h 10000"/>
                <a:gd name="connsiteX2418" fmla="*/ 14 w 10354"/>
                <a:gd name="connsiteY2418" fmla="*/ 6940 h 10000"/>
                <a:gd name="connsiteX2419" fmla="*/ 18 w 10354"/>
                <a:gd name="connsiteY2419" fmla="*/ 6957 h 10000"/>
                <a:gd name="connsiteX2420" fmla="*/ 28 w 10354"/>
                <a:gd name="connsiteY2420" fmla="*/ 6966 h 10000"/>
                <a:gd name="connsiteX2421" fmla="*/ 28 w 10354"/>
                <a:gd name="connsiteY2421" fmla="*/ 6983 h 10000"/>
                <a:gd name="connsiteX2422" fmla="*/ 18 w 10354"/>
                <a:gd name="connsiteY2422" fmla="*/ 7051 h 10000"/>
                <a:gd name="connsiteX2423" fmla="*/ 28 w 10354"/>
                <a:gd name="connsiteY2423" fmla="*/ 7068 h 10000"/>
                <a:gd name="connsiteX2424" fmla="*/ 32 w 10354"/>
                <a:gd name="connsiteY2424" fmla="*/ 7068 h 10000"/>
                <a:gd name="connsiteX2425" fmla="*/ 32 w 10354"/>
                <a:gd name="connsiteY2425" fmla="*/ 7094 h 10000"/>
                <a:gd name="connsiteX2426" fmla="*/ 60 w 10354"/>
                <a:gd name="connsiteY2426" fmla="*/ 7162 h 10000"/>
                <a:gd name="connsiteX2427" fmla="*/ 60 w 10354"/>
                <a:gd name="connsiteY2427" fmla="*/ 7231 h 10000"/>
                <a:gd name="connsiteX2428" fmla="*/ 60 w 10354"/>
                <a:gd name="connsiteY2428" fmla="*/ 7239 h 10000"/>
                <a:gd name="connsiteX2429" fmla="*/ 78 w 10354"/>
                <a:gd name="connsiteY2429" fmla="*/ 7239 h 10000"/>
                <a:gd name="connsiteX2430" fmla="*/ 88 w 10354"/>
                <a:gd name="connsiteY2430" fmla="*/ 7239 h 10000"/>
                <a:gd name="connsiteX2431" fmla="*/ 92 w 10354"/>
                <a:gd name="connsiteY2431" fmla="*/ 7256 h 10000"/>
                <a:gd name="connsiteX2432" fmla="*/ 111 w 10354"/>
                <a:gd name="connsiteY2432" fmla="*/ 7256 h 10000"/>
                <a:gd name="connsiteX2433" fmla="*/ 120 w 10354"/>
                <a:gd name="connsiteY2433" fmla="*/ 7256 h 10000"/>
                <a:gd name="connsiteX2434" fmla="*/ 134 w 10354"/>
                <a:gd name="connsiteY2434" fmla="*/ 7282 h 10000"/>
                <a:gd name="connsiteX2435" fmla="*/ 134 w 10354"/>
                <a:gd name="connsiteY2435" fmla="*/ 7316 h 10000"/>
                <a:gd name="connsiteX2436" fmla="*/ 152 w 10354"/>
                <a:gd name="connsiteY2436" fmla="*/ 7299 h 10000"/>
                <a:gd name="connsiteX2437" fmla="*/ 161 w 10354"/>
                <a:gd name="connsiteY2437" fmla="*/ 7299 h 10000"/>
                <a:gd name="connsiteX2438" fmla="*/ 166 w 10354"/>
                <a:gd name="connsiteY2438" fmla="*/ 7291 h 10000"/>
                <a:gd name="connsiteX2439" fmla="*/ 194 w 10354"/>
                <a:gd name="connsiteY2439" fmla="*/ 7291 h 10000"/>
                <a:gd name="connsiteX2440" fmla="*/ 207 w 10354"/>
                <a:gd name="connsiteY2440" fmla="*/ 7299 h 10000"/>
                <a:gd name="connsiteX2441" fmla="*/ 221 w 10354"/>
                <a:gd name="connsiteY2441" fmla="*/ 7342 h 10000"/>
                <a:gd name="connsiteX2442" fmla="*/ 235 w 10354"/>
                <a:gd name="connsiteY2442" fmla="*/ 7342 h 10000"/>
                <a:gd name="connsiteX2443" fmla="*/ 235 w 10354"/>
                <a:gd name="connsiteY2443" fmla="*/ 7368 h 10000"/>
                <a:gd name="connsiteX2444" fmla="*/ 226 w 10354"/>
                <a:gd name="connsiteY2444" fmla="*/ 7393 h 10000"/>
                <a:gd name="connsiteX2445" fmla="*/ 226 w 10354"/>
                <a:gd name="connsiteY2445" fmla="*/ 7402 h 10000"/>
                <a:gd name="connsiteX2446" fmla="*/ 235 w 10354"/>
                <a:gd name="connsiteY2446" fmla="*/ 7419 h 10000"/>
                <a:gd name="connsiteX2447" fmla="*/ 240 w 10354"/>
                <a:gd name="connsiteY2447" fmla="*/ 7436 h 10000"/>
                <a:gd name="connsiteX2448" fmla="*/ 235 w 10354"/>
                <a:gd name="connsiteY2448" fmla="*/ 7462 h 10000"/>
                <a:gd name="connsiteX2449" fmla="*/ 226 w 10354"/>
                <a:gd name="connsiteY2449" fmla="*/ 7479 h 10000"/>
                <a:gd name="connsiteX2450" fmla="*/ 226 w 10354"/>
                <a:gd name="connsiteY2450" fmla="*/ 7504 h 10000"/>
                <a:gd name="connsiteX2451" fmla="*/ 226 w 10354"/>
                <a:gd name="connsiteY2451" fmla="*/ 7513 h 10000"/>
                <a:gd name="connsiteX2452" fmla="*/ 240 w 10354"/>
                <a:gd name="connsiteY2452" fmla="*/ 7538 h 10000"/>
                <a:gd name="connsiteX2453" fmla="*/ 267 w 10354"/>
                <a:gd name="connsiteY2453" fmla="*/ 7641 h 10000"/>
                <a:gd name="connsiteX2454" fmla="*/ 281 w 10354"/>
                <a:gd name="connsiteY2454" fmla="*/ 7667 h 10000"/>
                <a:gd name="connsiteX2455" fmla="*/ 286 w 10354"/>
                <a:gd name="connsiteY2455" fmla="*/ 7675 h 10000"/>
                <a:gd name="connsiteX2456" fmla="*/ 286 w 10354"/>
                <a:gd name="connsiteY2456" fmla="*/ 7692 h 10000"/>
                <a:gd name="connsiteX2457" fmla="*/ 286 w 10354"/>
                <a:gd name="connsiteY2457" fmla="*/ 7709 h 10000"/>
                <a:gd name="connsiteX2458" fmla="*/ 295 w 10354"/>
                <a:gd name="connsiteY2458" fmla="*/ 7726 h 10000"/>
                <a:gd name="connsiteX2459" fmla="*/ 318 w 10354"/>
                <a:gd name="connsiteY2459" fmla="*/ 7709 h 10000"/>
                <a:gd name="connsiteX2460" fmla="*/ 327 w 10354"/>
                <a:gd name="connsiteY2460" fmla="*/ 7726 h 10000"/>
                <a:gd name="connsiteX2461" fmla="*/ 341 w 10354"/>
                <a:gd name="connsiteY2461" fmla="*/ 7735 h 10000"/>
                <a:gd name="connsiteX2462" fmla="*/ 332 w 10354"/>
                <a:gd name="connsiteY2462" fmla="*/ 7752 h 10000"/>
                <a:gd name="connsiteX2463" fmla="*/ 341 w 10354"/>
                <a:gd name="connsiteY2463" fmla="*/ 7761 h 10000"/>
                <a:gd name="connsiteX2464" fmla="*/ 355 w 10354"/>
                <a:gd name="connsiteY2464" fmla="*/ 7761 h 10000"/>
                <a:gd name="connsiteX2465" fmla="*/ 355 w 10354"/>
                <a:gd name="connsiteY2465" fmla="*/ 7803 h 10000"/>
                <a:gd name="connsiteX2466" fmla="*/ 313 w 10354"/>
                <a:gd name="connsiteY2466" fmla="*/ 7846 h 10000"/>
                <a:gd name="connsiteX2467" fmla="*/ 295 w 10354"/>
                <a:gd name="connsiteY2467" fmla="*/ 7846 h 10000"/>
                <a:gd name="connsiteX2468" fmla="*/ 281 w 10354"/>
                <a:gd name="connsiteY2468" fmla="*/ 7821 h 10000"/>
                <a:gd name="connsiteX2469" fmla="*/ 272 w 10354"/>
                <a:gd name="connsiteY2469" fmla="*/ 7821 h 10000"/>
                <a:gd name="connsiteX2470" fmla="*/ 267 w 10354"/>
                <a:gd name="connsiteY2470" fmla="*/ 7838 h 10000"/>
                <a:gd name="connsiteX2471" fmla="*/ 258 w 10354"/>
                <a:gd name="connsiteY2471" fmla="*/ 7846 h 10000"/>
                <a:gd name="connsiteX2472" fmla="*/ 253 w 10354"/>
                <a:gd name="connsiteY2472" fmla="*/ 7863 h 10000"/>
                <a:gd name="connsiteX2473" fmla="*/ 253 w 10354"/>
                <a:gd name="connsiteY2473" fmla="*/ 7872 h 10000"/>
                <a:gd name="connsiteX2474" fmla="*/ 267 w 10354"/>
                <a:gd name="connsiteY2474" fmla="*/ 7897 h 10000"/>
                <a:gd name="connsiteX2475" fmla="*/ 272 w 10354"/>
                <a:gd name="connsiteY2475" fmla="*/ 7915 h 10000"/>
                <a:gd name="connsiteX2476" fmla="*/ 267 w 10354"/>
                <a:gd name="connsiteY2476" fmla="*/ 7940 h 10000"/>
                <a:gd name="connsiteX2477" fmla="*/ 272 w 10354"/>
                <a:gd name="connsiteY2477" fmla="*/ 7949 h 10000"/>
                <a:gd name="connsiteX2478" fmla="*/ 272 w 10354"/>
                <a:gd name="connsiteY2478" fmla="*/ 7957 h 10000"/>
                <a:gd name="connsiteX2479" fmla="*/ 281 w 10354"/>
                <a:gd name="connsiteY2479" fmla="*/ 7974 h 10000"/>
                <a:gd name="connsiteX2480" fmla="*/ 286 w 10354"/>
                <a:gd name="connsiteY2480" fmla="*/ 7983 h 10000"/>
                <a:gd name="connsiteX2481" fmla="*/ 281 w 10354"/>
                <a:gd name="connsiteY2481" fmla="*/ 8009 h 10000"/>
                <a:gd name="connsiteX2482" fmla="*/ 286 w 10354"/>
                <a:gd name="connsiteY2482" fmla="*/ 8060 h 10000"/>
                <a:gd name="connsiteX2483" fmla="*/ 286 w 10354"/>
                <a:gd name="connsiteY2483" fmla="*/ 8060 h 10000"/>
                <a:gd name="connsiteX2484" fmla="*/ 295 w 10354"/>
                <a:gd name="connsiteY2484" fmla="*/ 8077 h 10000"/>
                <a:gd name="connsiteX2485" fmla="*/ 309 w 10354"/>
                <a:gd name="connsiteY2485" fmla="*/ 8077 h 10000"/>
                <a:gd name="connsiteX2486" fmla="*/ 313 w 10354"/>
                <a:gd name="connsiteY2486" fmla="*/ 8060 h 10000"/>
                <a:gd name="connsiteX2487" fmla="*/ 318 w 10354"/>
                <a:gd name="connsiteY2487" fmla="*/ 8051 h 10000"/>
                <a:gd name="connsiteX2488" fmla="*/ 318 w 10354"/>
                <a:gd name="connsiteY2488" fmla="*/ 8034 h 10000"/>
                <a:gd name="connsiteX2489" fmla="*/ 332 w 10354"/>
                <a:gd name="connsiteY2489" fmla="*/ 8026 h 10000"/>
                <a:gd name="connsiteX2490" fmla="*/ 359 w 10354"/>
                <a:gd name="connsiteY2490" fmla="*/ 8034 h 10000"/>
                <a:gd name="connsiteX2491" fmla="*/ 378 w 10354"/>
                <a:gd name="connsiteY2491" fmla="*/ 8026 h 10000"/>
                <a:gd name="connsiteX2492" fmla="*/ 401 w 10354"/>
                <a:gd name="connsiteY2492" fmla="*/ 8026 h 10000"/>
                <a:gd name="connsiteX2493" fmla="*/ 419 w 10354"/>
                <a:gd name="connsiteY2493" fmla="*/ 8009 h 10000"/>
                <a:gd name="connsiteX2494" fmla="*/ 433 w 10354"/>
                <a:gd name="connsiteY2494" fmla="*/ 8034 h 10000"/>
                <a:gd name="connsiteX2495" fmla="*/ 442 w 10354"/>
                <a:gd name="connsiteY2495" fmla="*/ 8060 h 10000"/>
                <a:gd name="connsiteX2496" fmla="*/ 442 w 10354"/>
                <a:gd name="connsiteY2496" fmla="*/ 8077 h 10000"/>
                <a:gd name="connsiteX2497" fmla="*/ 461 w 10354"/>
                <a:gd name="connsiteY2497" fmla="*/ 8111 h 10000"/>
                <a:gd name="connsiteX2498" fmla="*/ 461 w 10354"/>
                <a:gd name="connsiteY2498" fmla="*/ 8137 h 10000"/>
                <a:gd name="connsiteX2499" fmla="*/ 447 w 10354"/>
                <a:gd name="connsiteY2499" fmla="*/ 8145 h 10000"/>
                <a:gd name="connsiteX2500" fmla="*/ 442 w 10354"/>
                <a:gd name="connsiteY2500" fmla="*/ 8145 h 10000"/>
                <a:gd name="connsiteX2501" fmla="*/ 442 w 10354"/>
                <a:gd name="connsiteY2501" fmla="*/ 8162 h 10000"/>
                <a:gd name="connsiteX2502" fmla="*/ 442 w 10354"/>
                <a:gd name="connsiteY2502" fmla="*/ 8171 h 10000"/>
                <a:gd name="connsiteX2503" fmla="*/ 447 w 10354"/>
                <a:gd name="connsiteY2503" fmla="*/ 8214 h 10000"/>
                <a:gd name="connsiteX2504" fmla="*/ 465 w 10354"/>
                <a:gd name="connsiteY2504" fmla="*/ 8231 h 10000"/>
                <a:gd name="connsiteX2505" fmla="*/ 488 w 10354"/>
                <a:gd name="connsiteY2505" fmla="*/ 8231 h 10000"/>
                <a:gd name="connsiteX2506" fmla="*/ 493 w 10354"/>
                <a:gd name="connsiteY2506" fmla="*/ 8231 h 10000"/>
                <a:gd name="connsiteX2507" fmla="*/ 502 w 10354"/>
                <a:gd name="connsiteY2507" fmla="*/ 8231 h 10000"/>
                <a:gd name="connsiteX2508" fmla="*/ 507 w 10354"/>
                <a:gd name="connsiteY2508" fmla="*/ 8248 h 10000"/>
                <a:gd name="connsiteX2509" fmla="*/ 521 w 10354"/>
                <a:gd name="connsiteY2509" fmla="*/ 8274 h 10000"/>
                <a:gd name="connsiteX2510" fmla="*/ 525 w 10354"/>
                <a:gd name="connsiteY2510" fmla="*/ 8333 h 10000"/>
                <a:gd name="connsiteX2511" fmla="*/ 525 w 10354"/>
                <a:gd name="connsiteY2511" fmla="*/ 8359 h 10000"/>
                <a:gd name="connsiteX2512" fmla="*/ 525 w 10354"/>
                <a:gd name="connsiteY2512" fmla="*/ 8368 h 10000"/>
                <a:gd name="connsiteX2513" fmla="*/ 548 w 10354"/>
                <a:gd name="connsiteY2513" fmla="*/ 8393 h 10000"/>
                <a:gd name="connsiteX2514" fmla="*/ 553 w 10354"/>
                <a:gd name="connsiteY2514" fmla="*/ 8385 h 10000"/>
                <a:gd name="connsiteX2515" fmla="*/ 562 w 10354"/>
                <a:gd name="connsiteY2515" fmla="*/ 8385 h 10000"/>
                <a:gd name="connsiteX2516" fmla="*/ 576 w 10354"/>
                <a:gd name="connsiteY2516" fmla="*/ 8385 h 10000"/>
                <a:gd name="connsiteX2517" fmla="*/ 585 w 10354"/>
                <a:gd name="connsiteY2517" fmla="*/ 8410 h 10000"/>
                <a:gd name="connsiteX2518" fmla="*/ 594 w 10354"/>
                <a:gd name="connsiteY2518" fmla="*/ 8410 h 10000"/>
                <a:gd name="connsiteX2519" fmla="*/ 608 w 10354"/>
                <a:gd name="connsiteY2519" fmla="*/ 8410 h 10000"/>
                <a:gd name="connsiteX2520" fmla="*/ 654 w 10354"/>
                <a:gd name="connsiteY2520" fmla="*/ 8385 h 10000"/>
                <a:gd name="connsiteX2521" fmla="*/ 659 w 10354"/>
                <a:gd name="connsiteY2521" fmla="*/ 8385 h 10000"/>
                <a:gd name="connsiteX2522" fmla="*/ 696 w 10354"/>
                <a:gd name="connsiteY2522" fmla="*/ 8470 h 10000"/>
                <a:gd name="connsiteX2523" fmla="*/ 700 w 10354"/>
                <a:gd name="connsiteY2523" fmla="*/ 8470 h 10000"/>
                <a:gd name="connsiteX2524" fmla="*/ 710 w 10354"/>
                <a:gd name="connsiteY2524" fmla="*/ 8462 h 10000"/>
                <a:gd name="connsiteX2525" fmla="*/ 714 w 10354"/>
                <a:gd name="connsiteY2525" fmla="*/ 8462 h 10000"/>
                <a:gd name="connsiteX2526" fmla="*/ 724 w 10354"/>
                <a:gd name="connsiteY2526" fmla="*/ 8470 h 10000"/>
                <a:gd name="connsiteX2527" fmla="*/ 733 w 10354"/>
                <a:gd name="connsiteY2527" fmla="*/ 8470 h 10000"/>
                <a:gd name="connsiteX2528" fmla="*/ 742 w 10354"/>
                <a:gd name="connsiteY2528" fmla="*/ 8487 h 10000"/>
                <a:gd name="connsiteX2529" fmla="*/ 747 w 10354"/>
                <a:gd name="connsiteY2529" fmla="*/ 8496 h 10000"/>
                <a:gd name="connsiteX2530" fmla="*/ 770 w 10354"/>
                <a:gd name="connsiteY2530" fmla="*/ 8496 h 10000"/>
                <a:gd name="connsiteX2531" fmla="*/ 783 w 10354"/>
                <a:gd name="connsiteY2531" fmla="*/ 8521 h 10000"/>
                <a:gd name="connsiteX2532" fmla="*/ 797 w 10354"/>
                <a:gd name="connsiteY2532" fmla="*/ 8521 h 10000"/>
                <a:gd name="connsiteX2533" fmla="*/ 806 w 10354"/>
                <a:gd name="connsiteY2533" fmla="*/ 8530 h 10000"/>
                <a:gd name="connsiteX2534" fmla="*/ 829 w 10354"/>
                <a:gd name="connsiteY2534" fmla="*/ 8547 h 10000"/>
                <a:gd name="connsiteX2535" fmla="*/ 834 w 10354"/>
                <a:gd name="connsiteY2535" fmla="*/ 8556 h 10000"/>
                <a:gd name="connsiteX2536" fmla="*/ 829 w 10354"/>
                <a:gd name="connsiteY2536" fmla="*/ 8556 h 10000"/>
                <a:gd name="connsiteX2537" fmla="*/ 834 w 10354"/>
                <a:gd name="connsiteY2537" fmla="*/ 8607 h 10000"/>
                <a:gd name="connsiteX2538" fmla="*/ 829 w 10354"/>
                <a:gd name="connsiteY2538" fmla="*/ 8641 h 10000"/>
                <a:gd name="connsiteX2539" fmla="*/ 806 w 10354"/>
                <a:gd name="connsiteY2539" fmla="*/ 8658 h 10000"/>
                <a:gd name="connsiteX2540" fmla="*/ 816 w 10354"/>
                <a:gd name="connsiteY2540" fmla="*/ 8667 h 10000"/>
                <a:gd name="connsiteX2541" fmla="*/ 820 w 10354"/>
                <a:gd name="connsiteY2541" fmla="*/ 8667 h 10000"/>
                <a:gd name="connsiteX2542" fmla="*/ 829 w 10354"/>
                <a:gd name="connsiteY2542" fmla="*/ 8684 h 10000"/>
                <a:gd name="connsiteX2543" fmla="*/ 806 w 10354"/>
                <a:gd name="connsiteY2543" fmla="*/ 8692 h 10000"/>
                <a:gd name="connsiteX2544" fmla="*/ 802 w 10354"/>
                <a:gd name="connsiteY2544" fmla="*/ 8709 h 10000"/>
                <a:gd name="connsiteX2545" fmla="*/ 802 w 10354"/>
                <a:gd name="connsiteY2545" fmla="*/ 8735 h 10000"/>
                <a:gd name="connsiteX2546" fmla="*/ 806 w 10354"/>
                <a:gd name="connsiteY2546" fmla="*/ 8744 h 10000"/>
                <a:gd name="connsiteX2547" fmla="*/ 816 w 10354"/>
                <a:gd name="connsiteY2547" fmla="*/ 8752 h 10000"/>
                <a:gd name="connsiteX2548" fmla="*/ 806 w 10354"/>
                <a:gd name="connsiteY2548" fmla="*/ 8778 h 10000"/>
                <a:gd name="connsiteX2549" fmla="*/ 820 w 10354"/>
                <a:gd name="connsiteY2549" fmla="*/ 8778 h 10000"/>
                <a:gd name="connsiteX2550" fmla="*/ 806 w 10354"/>
                <a:gd name="connsiteY2550" fmla="*/ 8880 h 10000"/>
                <a:gd name="connsiteX2551" fmla="*/ 797 w 10354"/>
                <a:gd name="connsiteY2551" fmla="*/ 8880 h 10000"/>
                <a:gd name="connsiteX2552" fmla="*/ 783 w 10354"/>
                <a:gd name="connsiteY2552" fmla="*/ 8872 h 10000"/>
                <a:gd name="connsiteX2553" fmla="*/ 770 w 10354"/>
                <a:gd name="connsiteY2553" fmla="*/ 8880 h 10000"/>
                <a:gd name="connsiteX2554" fmla="*/ 756 w 10354"/>
                <a:gd name="connsiteY2554" fmla="*/ 8855 h 10000"/>
                <a:gd name="connsiteX2555" fmla="*/ 733 w 10354"/>
                <a:gd name="connsiteY2555" fmla="*/ 8906 h 10000"/>
                <a:gd name="connsiteX2556" fmla="*/ 714 w 10354"/>
                <a:gd name="connsiteY2556" fmla="*/ 8915 h 10000"/>
                <a:gd name="connsiteX2557" fmla="*/ 710 w 10354"/>
                <a:gd name="connsiteY2557" fmla="*/ 8940 h 10000"/>
                <a:gd name="connsiteX2558" fmla="*/ 710 w 10354"/>
                <a:gd name="connsiteY2558" fmla="*/ 9009 h 10000"/>
                <a:gd name="connsiteX2559" fmla="*/ 728 w 10354"/>
                <a:gd name="connsiteY2559" fmla="*/ 8991 h 10000"/>
                <a:gd name="connsiteX2560" fmla="*/ 733 w 10354"/>
                <a:gd name="connsiteY2560" fmla="*/ 8991 h 10000"/>
                <a:gd name="connsiteX2561" fmla="*/ 747 w 10354"/>
                <a:gd name="connsiteY2561" fmla="*/ 8983 h 10000"/>
                <a:gd name="connsiteX2562" fmla="*/ 760 w 10354"/>
                <a:gd name="connsiteY2562" fmla="*/ 8983 h 10000"/>
                <a:gd name="connsiteX2563" fmla="*/ 770 w 10354"/>
                <a:gd name="connsiteY2563" fmla="*/ 8983 h 10000"/>
                <a:gd name="connsiteX2564" fmla="*/ 770 w 10354"/>
                <a:gd name="connsiteY2564" fmla="*/ 8991 h 10000"/>
                <a:gd name="connsiteX2565" fmla="*/ 783 w 10354"/>
                <a:gd name="connsiteY2565" fmla="*/ 8991 h 10000"/>
                <a:gd name="connsiteX2566" fmla="*/ 783 w 10354"/>
                <a:gd name="connsiteY2566" fmla="*/ 9009 h 10000"/>
                <a:gd name="connsiteX2567" fmla="*/ 783 w 10354"/>
                <a:gd name="connsiteY2567" fmla="*/ 9017 h 10000"/>
                <a:gd name="connsiteX2568" fmla="*/ 770 w 10354"/>
                <a:gd name="connsiteY2568" fmla="*/ 9017 h 10000"/>
                <a:gd name="connsiteX2569" fmla="*/ 724 w 10354"/>
                <a:gd name="connsiteY2569" fmla="*/ 9051 h 10000"/>
                <a:gd name="connsiteX2570" fmla="*/ 724 w 10354"/>
                <a:gd name="connsiteY2570" fmla="*/ 9068 h 10000"/>
                <a:gd name="connsiteX2571" fmla="*/ 728 w 10354"/>
                <a:gd name="connsiteY2571" fmla="*/ 9077 h 10000"/>
                <a:gd name="connsiteX2572" fmla="*/ 724 w 10354"/>
                <a:gd name="connsiteY2572" fmla="*/ 9077 h 10000"/>
                <a:gd name="connsiteX2573" fmla="*/ 710 w 10354"/>
                <a:gd name="connsiteY2573" fmla="*/ 9077 h 10000"/>
                <a:gd name="connsiteX2574" fmla="*/ 682 w 10354"/>
                <a:gd name="connsiteY2574" fmla="*/ 9077 h 10000"/>
                <a:gd name="connsiteX2575" fmla="*/ 673 w 10354"/>
                <a:gd name="connsiteY2575" fmla="*/ 9103 h 10000"/>
                <a:gd name="connsiteX2576" fmla="*/ 687 w 10354"/>
                <a:gd name="connsiteY2576" fmla="*/ 9128 h 10000"/>
                <a:gd name="connsiteX2577" fmla="*/ 700 w 10354"/>
                <a:gd name="connsiteY2577" fmla="*/ 9128 h 10000"/>
                <a:gd name="connsiteX2578" fmla="*/ 728 w 10354"/>
                <a:gd name="connsiteY2578" fmla="*/ 9179 h 10000"/>
                <a:gd name="connsiteX2579" fmla="*/ 724 w 10354"/>
                <a:gd name="connsiteY2579" fmla="*/ 9188 h 10000"/>
                <a:gd name="connsiteX2580" fmla="*/ 710 w 10354"/>
                <a:gd name="connsiteY2580" fmla="*/ 9179 h 10000"/>
                <a:gd name="connsiteX2581" fmla="*/ 700 w 10354"/>
                <a:gd name="connsiteY2581" fmla="*/ 9205 h 10000"/>
                <a:gd name="connsiteX2582" fmla="*/ 696 w 10354"/>
                <a:gd name="connsiteY2582" fmla="*/ 9205 h 10000"/>
                <a:gd name="connsiteX2583" fmla="*/ 654 w 10354"/>
                <a:gd name="connsiteY2583" fmla="*/ 9299 h 10000"/>
                <a:gd name="connsiteX2584" fmla="*/ 622 w 10354"/>
                <a:gd name="connsiteY2584" fmla="*/ 9299 h 10000"/>
                <a:gd name="connsiteX2585" fmla="*/ 613 w 10354"/>
                <a:gd name="connsiteY2585" fmla="*/ 9316 h 10000"/>
                <a:gd name="connsiteX2586" fmla="*/ 613 w 10354"/>
                <a:gd name="connsiteY2586" fmla="*/ 9325 h 10000"/>
                <a:gd name="connsiteX2587" fmla="*/ 608 w 10354"/>
                <a:gd name="connsiteY2587" fmla="*/ 9342 h 10000"/>
                <a:gd name="connsiteX2588" fmla="*/ 636 w 10354"/>
                <a:gd name="connsiteY2588" fmla="*/ 9376 h 10000"/>
                <a:gd name="connsiteX2589" fmla="*/ 641 w 10354"/>
                <a:gd name="connsiteY2589" fmla="*/ 9402 h 10000"/>
                <a:gd name="connsiteX2590" fmla="*/ 654 w 10354"/>
                <a:gd name="connsiteY2590" fmla="*/ 9427 h 10000"/>
                <a:gd name="connsiteX2591" fmla="*/ 668 w 10354"/>
                <a:gd name="connsiteY2591" fmla="*/ 9427 h 10000"/>
                <a:gd name="connsiteX2592" fmla="*/ 668 w 10354"/>
                <a:gd name="connsiteY2592" fmla="*/ 9427 h 10000"/>
                <a:gd name="connsiteX2593" fmla="*/ 774 w 10354"/>
                <a:gd name="connsiteY2593" fmla="*/ 9547 h 10000"/>
                <a:gd name="connsiteX2594" fmla="*/ 797 w 10354"/>
                <a:gd name="connsiteY2594" fmla="*/ 9598 h 10000"/>
                <a:gd name="connsiteX2595" fmla="*/ 802 w 10354"/>
                <a:gd name="connsiteY2595" fmla="*/ 9598 h 10000"/>
                <a:gd name="connsiteX2596" fmla="*/ 816 w 10354"/>
                <a:gd name="connsiteY2596" fmla="*/ 9624 h 10000"/>
                <a:gd name="connsiteX2597" fmla="*/ 843 w 10354"/>
                <a:gd name="connsiteY2597" fmla="*/ 9615 h 10000"/>
                <a:gd name="connsiteX2598" fmla="*/ 857 w 10354"/>
                <a:gd name="connsiteY2598" fmla="*/ 9624 h 10000"/>
                <a:gd name="connsiteX2599" fmla="*/ 862 w 10354"/>
                <a:gd name="connsiteY2599" fmla="*/ 9615 h 10000"/>
                <a:gd name="connsiteX2600" fmla="*/ 880 w 10354"/>
                <a:gd name="connsiteY2600" fmla="*/ 9624 h 10000"/>
                <a:gd name="connsiteX2601" fmla="*/ 889 w 10354"/>
                <a:gd name="connsiteY2601" fmla="*/ 9641 h 10000"/>
                <a:gd name="connsiteX2602" fmla="*/ 935 w 10354"/>
                <a:gd name="connsiteY2602" fmla="*/ 9675 h 10000"/>
                <a:gd name="connsiteX2603" fmla="*/ 977 w 10354"/>
                <a:gd name="connsiteY2603" fmla="*/ 9667 h 10000"/>
                <a:gd name="connsiteX2604" fmla="*/ 995 w 10354"/>
                <a:gd name="connsiteY2604" fmla="*/ 9675 h 10000"/>
                <a:gd name="connsiteX2605" fmla="*/ 1014 w 10354"/>
                <a:gd name="connsiteY2605" fmla="*/ 9675 h 10000"/>
                <a:gd name="connsiteX2606" fmla="*/ 1069 w 10354"/>
                <a:gd name="connsiteY2606" fmla="*/ 9752 h 10000"/>
                <a:gd name="connsiteX2607" fmla="*/ 1074 w 10354"/>
                <a:gd name="connsiteY2607" fmla="*/ 9761 h 10000"/>
                <a:gd name="connsiteX2608" fmla="*/ 1083 w 10354"/>
                <a:gd name="connsiteY2608" fmla="*/ 9778 h 10000"/>
                <a:gd name="connsiteX2609" fmla="*/ 1115 w 10354"/>
                <a:gd name="connsiteY2609" fmla="*/ 9752 h 10000"/>
                <a:gd name="connsiteX2610" fmla="*/ 1129 w 10354"/>
                <a:gd name="connsiteY2610" fmla="*/ 9752 h 10000"/>
                <a:gd name="connsiteX2611" fmla="*/ 1138 w 10354"/>
                <a:gd name="connsiteY2611" fmla="*/ 9761 h 10000"/>
                <a:gd name="connsiteX2612" fmla="*/ 1143 w 10354"/>
                <a:gd name="connsiteY2612" fmla="*/ 9752 h 10000"/>
                <a:gd name="connsiteX2613" fmla="*/ 1161 w 10354"/>
                <a:gd name="connsiteY2613" fmla="*/ 9761 h 10000"/>
                <a:gd name="connsiteX2614" fmla="*/ 1171 w 10354"/>
                <a:gd name="connsiteY2614" fmla="*/ 9778 h 10000"/>
                <a:gd name="connsiteX2615" fmla="*/ 1175 w 10354"/>
                <a:gd name="connsiteY2615" fmla="*/ 9778 h 10000"/>
                <a:gd name="connsiteX2616" fmla="*/ 1189 w 10354"/>
                <a:gd name="connsiteY2616" fmla="*/ 9778 h 10000"/>
                <a:gd name="connsiteX2617" fmla="*/ 1198 w 10354"/>
                <a:gd name="connsiteY2617" fmla="*/ 9786 h 10000"/>
                <a:gd name="connsiteX2618" fmla="*/ 1203 w 10354"/>
                <a:gd name="connsiteY2618" fmla="*/ 9803 h 10000"/>
                <a:gd name="connsiteX2619" fmla="*/ 1198 w 10354"/>
                <a:gd name="connsiteY2619" fmla="*/ 9838 h 10000"/>
                <a:gd name="connsiteX2620" fmla="*/ 1212 w 10354"/>
                <a:gd name="connsiteY2620" fmla="*/ 9863 h 10000"/>
                <a:gd name="connsiteX2621" fmla="*/ 1230 w 10354"/>
                <a:gd name="connsiteY2621" fmla="*/ 9872 h 10000"/>
                <a:gd name="connsiteX2622" fmla="*/ 1249 w 10354"/>
                <a:gd name="connsiteY2622" fmla="*/ 9897 h 10000"/>
                <a:gd name="connsiteX2623" fmla="*/ 1263 w 10354"/>
                <a:gd name="connsiteY2623" fmla="*/ 9897 h 10000"/>
                <a:gd name="connsiteX2624" fmla="*/ 1276 w 10354"/>
                <a:gd name="connsiteY2624" fmla="*/ 9923 h 10000"/>
                <a:gd name="connsiteX2625" fmla="*/ 1281 w 10354"/>
                <a:gd name="connsiteY2625" fmla="*/ 9949 h 10000"/>
                <a:gd name="connsiteX2626" fmla="*/ 1290 w 10354"/>
                <a:gd name="connsiteY2626" fmla="*/ 9949 h 10000"/>
                <a:gd name="connsiteX2627" fmla="*/ 1295 w 10354"/>
                <a:gd name="connsiteY2627" fmla="*/ 10000 h 10000"/>
                <a:gd name="connsiteX2628" fmla="*/ 1332 w 10354"/>
                <a:gd name="connsiteY2628" fmla="*/ 10000 h 10000"/>
                <a:gd name="connsiteX2629" fmla="*/ 1336 w 10354"/>
                <a:gd name="connsiteY2629" fmla="*/ 10000 h 10000"/>
                <a:gd name="connsiteX2630" fmla="*/ 1346 w 10354"/>
                <a:gd name="connsiteY2630" fmla="*/ 9983 h 10000"/>
                <a:gd name="connsiteX2631" fmla="*/ 1350 w 10354"/>
                <a:gd name="connsiteY2631" fmla="*/ 9949 h 10000"/>
                <a:gd name="connsiteX2632" fmla="*/ 1369 w 10354"/>
                <a:gd name="connsiteY2632" fmla="*/ 9940 h 10000"/>
                <a:gd name="connsiteX2633" fmla="*/ 1378 w 10354"/>
                <a:gd name="connsiteY2633" fmla="*/ 9897 h 10000"/>
                <a:gd name="connsiteX2634" fmla="*/ 1369 w 10354"/>
                <a:gd name="connsiteY2634" fmla="*/ 9889 h 10000"/>
                <a:gd name="connsiteX2635" fmla="*/ 1318 w 10354"/>
                <a:gd name="connsiteY2635" fmla="*/ 9701 h 10000"/>
                <a:gd name="connsiteX2636" fmla="*/ 1318 w 10354"/>
                <a:gd name="connsiteY2636" fmla="*/ 9650 h 10000"/>
                <a:gd name="connsiteX2637" fmla="*/ 1323 w 10354"/>
                <a:gd name="connsiteY2637" fmla="*/ 9590 h 10000"/>
                <a:gd name="connsiteX2638" fmla="*/ 1323 w 10354"/>
                <a:gd name="connsiteY2638" fmla="*/ 9564 h 10000"/>
                <a:gd name="connsiteX2639" fmla="*/ 1309 w 10354"/>
                <a:gd name="connsiteY2639" fmla="*/ 9598 h 10000"/>
                <a:gd name="connsiteX2640" fmla="*/ 1309 w 10354"/>
                <a:gd name="connsiteY2640" fmla="*/ 9590 h 10000"/>
                <a:gd name="connsiteX2641" fmla="*/ 1304 w 10354"/>
                <a:gd name="connsiteY2641" fmla="*/ 9547 h 10000"/>
                <a:gd name="connsiteX2642" fmla="*/ 1276 w 10354"/>
                <a:gd name="connsiteY2642" fmla="*/ 9479 h 10000"/>
                <a:gd name="connsiteX2643" fmla="*/ 1263 w 10354"/>
                <a:gd name="connsiteY2643" fmla="*/ 9479 h 10000"/>
                <a:gd name="connsiteX2644" fmla="*/ 1263 w 10354"/>
                <a:gd name="connsiteY2644" fmla="*/ 9453 h 10000"/>
                <a:gd name="connsiteX2645" fmla="*/ 1272 w 10354"/>
                <a:gd name="connsiteY2645" fmla="*/ 9410 h 10000"/>
                <a:gd name="connsiteX2646" fmla="*/ 1272 w 10354"/>
                <a:gd name="connsiteY2646" fmla="*/ 9393 h 10000"/>
                <a:gd name="connsiteX2647" fmla="*/ 1281 w 10354"/>
                <a:gd name="connsiteY2647" fmla="*/ 9368 h 10000"/>
                <a:gd name="connsiteX2648" fmla="*/ 1281 w 10354"/>
                <a:gd name="connsiteY2648" fmla="*/ 9368 h 10000"/>
                <a:gd name="connsiteX2649" fmla="*/ 1290 w 10354"/>
                <a:gd name="connsiteY2649" fmla="*/ 9368 h 10000"/>
                <a:gd name="connsiteX2650" fmla="*/ 1290 w 10354"/>
                <a:gd name="connsiteY2650" fmla="*/ 9342 h 10000"/>
                <a:gd name="connsiteX2651" fmla="*/ 1304 w 10354"/>
                <a:gd name="connsiteY2651" fmla="*/ 9325 h 10000"/>
                <a:gd name="connsiteX2652" fmla="*/ 1309 w 10354"/>
                <a:gd name="connsiteY2652" fmla="*/ 9239 h 10000"/>
                <a:gd name="connsiteX2653" fmla="*/ 1318 w 10354"/>
                <a:gd name="connsiteY2653" fmla="*/ 9256 h 10000"/>
                <a:gd name="connsiteX2654" fmla="*/ 1323 w 10354"/>
                <a:gd name="connsiteY2654" fmla="*/ 9179 h 10000"/>
                <a:gd name="connsiteX2655" fmla="*/ 1309 w 10354"/>
                <a:gd name="connsiteY2655" fmla="*/ 9145 h 10000"/>
                <a:gd name="connsiteX2656" fmla="*/ 1336 w 10354"/>
                <a:gd name="connsiteY2656" fmla="*/ 9154 h 10000"/>
                <a:gd name="connsiteX2657" fmla="*/ 1336 w 10354"/>
                <a:gd name="connsiteY2657" fmla="*/ 9162 h 10000"/>
                <a:gd name="connsiteX2658" fmla="*/ 1350 w 10354"/>
                <a:gd name="connsiteY2658" fmla="*/ 9231 h 10000"/>
                <a:gd name="connsiteX2659" fmla="*/ 1355 w 10354"/>
                <a:gd name="connsiteY2659" fmla="*/ 9231 h 10000"/>
                <a:gd name="connsiteX2660" fmla="*/ 1364 w 10354"/>
                <a:gd name="connsiteY2660" fmla="*/ 9214 h 10000"/>
                <a:gd name="connsiteX2661" fmla="*/ 1369 w 10354"/>
                <a:gd name="connsiteY2661" fmla="*/ 9214 h 10000"/>
                <a:gd name="connsiteX2662" fmla="*/ 1382 w 10354"/>
                <a:gd name="connsiteY2662" fmla="*/ 9154 h 10000"/>
                <a:gd name="connsiteX2663" fmla="*/ 1396 w 10354"/>
                <a:gd name="connsiteY2663" fmla="*/ 9154 h 10000"/>
                <a:gd name="connsiteX2664" fmla="*/ 1382 w 10354"/>
                <a:gd name="connsiteY2664" fmla="*/ 9145 h 10000"/>
                <a:gd name="connsiteX2665" fmla="*/ 1382 w 10354"/>
                <a:gd name="connsiteY2665" fmla="*/ 9128 h 10000"/>
                <a:gd name="connsiteX2666" fmla="*/ 1369 w 10354"/>
                <a:gd name="connsiteY2666" fmla="*/ 9128 h 10000"/>
                <a:gd name="connsiteX2667" fmla="*/ 1364 w 10354"/>
                <a:gd name="connsiteY2667" fmla="*/ 9128 h 10000"/>
                <a:gd name="connsiteX2668" fmla="*/ 1355 w 10354"/>
                <a:gd name="connsiteY2668" fmla="*/ 9120 h 10000"/>
                <a:gd name="connsiteX2669" fmla="*/ 1350 w 10354"/>
                <a:gd name="connsiteY2669" fmla="*/ 9103 h 10000"/>
                <a:gd name="connsiteX2670" fmla="*/ 1355 w 10354"/>
                <a:gd name="connsiteY2670" fmla="*/ 9094 h 10000"/>
                <a:gd name="connsiteX2671" fmla="*/ 1355 w 10354"/>
                <a:gd name="connsiteY2671" fmla="*/ 9068 h 10000"/>
                <a:gd name="connsiteX2672" fmla="*/ 1369 w 10354"/>
                <a:gd name="connsiteY2672" fmla="*/ 9068 h 10000"/>
                <a:gd name="connsiteX2673" fmla="*/ 1378 w 10354"/>
                <a:gd name="connsiteY2673" fmla="*/ 9077 h 10000"/>
                <a:gd name="connsiteX2674" fmla="*/ 1396 w 10354"/>
                <a:gd name="connsiteY2674" fmla="*/ 9068 h 10000"/>
                <a:gd name="connsiteX2675" fmla="*/ 1382 w 10354"/>
                <a:gd name="connsiteY2675" fmla="*/ 8940 h 10000"/>
                <a:gd name="connsiteX2676" fmla="*/ 1378 w 10354"/>
                <a:gd name="connsiteY2676" fmla="*/ 8940 h 10000"/>
                <a:gd name="connsiteX2677" fmla="*/ 1364 w 10354"/>
                <a:gd name="connsiteY2677" fmla="*/ 8889 h 10000"/>
                <a:gd name="connsiteX2678" fmla="*/ 1355 w 10354"/>
                <a:gd name="connsiteY2678" fmla="*/ 8880 h 10000"/>
                <a:gd name="connsiteX2679" fmla="*/ 1323 w 10354"/>
                <a:gd name="connsiteY2679" fmla="*/ 8880 h 10000"/>
                <a:gd name="connsiteX2680" fmla="*/ 1309 w 10354"/>
                <a:gd name="connsiteY2680" fmla="*/ 8880 h 10000"/>
                <a:gd name="connsiteX2681" fmla="*/ 1309 w 10354"/>
                <a:gd name="connsiteY2681" fmla="*/ 8889 h 10000"/>
                <a:gd name="connsiteX2682" fmla="*/ 1295 w 10354"/>
                <a:gd name="connsiteY2682" fmla="*/ 8872 h 10000"/>
                <a:gd name="connsiteX2683" fmla="*/ 1290 w 10354"/>
                <a:gd name="connsiteY2683" fmla="*/ 8855 h 10000"/>
                <a:gd name="connsiteX2684" fmla="*/ 1290 w 10354"/>
                <a:gd name="connsiteY2684" fmla="*/ 8829 h 10000"/>
                <a:gd name="connsiteX2685" fmla="*/ 1290 w 10354"/>
                <a:gd name="connsiteY2685" fmla="*/ 8821 h 10000"/>
                <a:gd name="connsiteX2686" fmla="*/ 1290 w 10354"/>
                <a:gd name="connsiteY2686" fmla="*/ 8803 h 10000"/>
                <a:gd name="connsiteX2687" fmla="*/ 1281 w 10354"/>
                <a:gd name="connsiteY2687" fmla="*/ 8795 h 10000"/>
                <a:gd name="connsiteX2688" fmla="*/ 1249 w 10354"/>
                <a:gd name="connsiteY2688" fmla="*/ 8769 h 10000"/>
                <a:gd name="connsiteX2689" fmla="*/ 1263 w 10354"/>
                <a:gd name="connsiteY2689" fmla="*/ 8667 h 10000"/>
                <a:gd name="connsiteX2690" fmla="*/ 1281 w 10354"/>
                <a:gd name="connsiteY2690" fmla="*/ 8658 h 10000"/>
                <a:gd name="connsiteX2691" fmla="*/ 1290 w 10354"/>
                <a:gd name="connsiteY2691" fmla="*/ 8632 h 10000"/>
                <a:gd name="connsiteX2692" fmla="*/ 1281 w 10354"/>
                <a:gd name="connsiteY2692" fmla="*/ 8615 h 10000"/>
                <a:gd name="connsiteX2693" fmla="*/ 1272 w 10354"/>
                <a:gd name="connsiteY2693" fmla="*/ 8598 h 10000"/>
                <a:gd name="connsiteX2694" fmla="*/ 1281 w 10354"/>
                <a:gd name="connsiteY2694" fmla="*/ 8496 h 10000"/>
                <a:gd name="connsiteX2695" fmla="*/ 1295 w 10354"/>
                <a:gd name="connsiteY2695" fmla="*/ 8470 h 10000"/>
                <a:gd name="connsiteX2696" fmla="*/ 1304 w 10354"/>
                <a:gd name="connsiteY2696" fmla="*/ 8462 h 10000"/>
                <a:gd name="connsiteX2697" fmla="*/ 1304 w 10354"/>
                <a:gd name="connsiteY2697" fmla="*/ 8444 h 10000"/>
                <a:gd name="connsiteX2698" fmla="*/ 1304 w 10354"/>
                <a:gd name="connsiteY2698" fmla="*/ 8419 h 10000"/>
                <a:gd name="connsiteX2699" fmla="*/ 1304 w 10354"/>
                <a:gd name="connsiteY2699" fmla="*/ 8410 h 10000"/>
                <a:gd name="connsiteX2700" fmla="*/ 1309 w 10354"/>
                <a:gd name="connsiteY2700" fmla="*/ 8393 h 10000"/>
                <a:gd name="connsiteX2701" fmla="*/ 1318 w 10354"/>
                <a:gd name="connsiteY2701" fmla="*/ 8385 h 10000"/>
                <a:gd name="connsiteX2702" fmla="*/ 1323 w 10354"/>
                <a:gd name="connsiteY2702" fmla="*/ 8385 h 10000"/>
                <a:gd name="connsiteX2703" fmla="*/ 1332 w 10354"/>
                <a:gd name="connsiteY2703" fmla="*/ 8410 h 10000"/>
                <a:gd name="connsiteX2704" fmla="*/ 1346 w 10354"/>
                <a:gd name="connsiteY2704" fmla="*/ 8419 h 10000"/>
                <a:gd name="connsiteX2705" fmla="*/ 1364 w 10354"/>
                <a:gd name="connsiteY2705" fmla="*/ 8504 h 10000"/>
                <a:gd name="connsiteX2706" fmla="*/ 1369 w 10354"/>
                <a:gd name="connsiteY2706" fmla="*/ 8521 h 10000"/>
                <a:gd name="connsiteX2707" fmla="*/ 1406 w 10354"/>
                <a:gd name="connsiteY2707" fmla="*/ 8470 h 10000"/>
                <a:gd name="connsiteX2708" fmla="*/ 1382 w 10354"/>
                <a:gd name="connsiteY2708" fmla="*/ 8359 h 10000"/>
                <a:gd name="connsiteX2709" fmla="*/ 1392 w 10354"/>
                <a:gd name="connsiteY2709" fmla="*/ 8359 h 10000"/>
                <a:gd name="connsiteX2710" fmla="*/ 1438 w 10354"/>
                <a:gd name="connsiteY2710" fmla="*/ 8308 h 10000"/>
                <a:gd name="connsiteX2711" fmla="*/ 1442 w 10354"/>
                <a:gd name="connsiteY2711" fmla="*/ 8299 h 10000"/>
                <a:gd name="connsiteX2712" fmla="*/ 1442 w 10354"/>
                <a:gd name="connsiteY2712" fmla="*/ 8256 h 10000"/>
                <a:gd name="connsiteX2713" fmla="*/ 1452 w 10354"/>
                <a:gd name="connsiteY2713" fmla="*/ 8256 h 10000"/>
                <a:gd name="connsiteX2714" fmla="*/ 1456 w 10354"/>
                <a:gd name="connsiteY2714" fmla="*/ 8256 h 10000"/>
                <a:gd name="connsiteX2715" fmla="*/ 1470 w 10354"/>
                <a:gd name="connsiteY2715" fmla="*/ 8248 h 10000"/>
                <a:gd name="connsiteX2716" fmla="*/ 1479 w 10354"/>
                <a:gd name="connsiteY2716" fmla="*/ 8231 h 10000"/>
                <a:gd name="connsiteX2717" fmla="*/ 1493 w 10354"/>
                <a:gd name="connsiteY2717" fmla="*/ 8222 h 10000"/>
                <a:gd name="connsiteX2718" fmla="*/ 1498 w 10354"/>
                <a:gd name="connsiteY2718" fmla="*/ 8214 h 10000"/>
                <a:gd name="connsiteX2719" fmla="*/ 1502 w 10354"/>
                <a:gd name="connsiteY2719" fmla="*/ 8197 h 10000"/>
                <a:gd name="connsiteX2720" fmla="*/ 1512 w 10354"/>
                <a:gd name="connsiteY2720" fmla="*/ 8188 h 10000"/>
                <a:gd name="connsiteX2721" fmla="*/ 1516 w 10354"/>
                <a:gd name="connsiteY2721" fmla="*/ 8171 h 10000"/>
                <a:gd name="connsiteX2722" fmla="*/ 1525 w 10354"/>
                <a:gd name="connsiteY2722" fmla="*/ 8162 h 10000"/>
                <a:gd name="connsiteX2723" fmla="*/ 1539 w 10354"/>
                <a:gd name="connsiteY2723" fmla="*/ 8145 h 10000"/>
                <a:gd name="connsiteX2724" fmla="*/ 1558 w 10354"/>
                <a:gd name="connsiteY2724" fmla="*/ 8145 h 10000"/>
                <a:gd name="connsiteX2725" fmla="*/ 1562 w 10354"/>
                <a:gd name="connsiteY2725" fmla="*/ 8188 h 10000"/>
                <a:gd name="connsiteX2726" fmla="*/ 1585 w 10354"/>
                <a:gd name="connsiteY2726" fmla="*/ 8171 h 10000"/>
                <a:gd name="connsiteX2727" fmla="*/ 1590 w 10354"/>
                <a:gd name="connsiteY2727" fmla="*/ 8188 h 10000"/>
                <a:gd name="connsiteX2728" fmla="*/ 1599 w 10354"/>
                <a:gd name="connsiteY2728" fmla="*/ 8171 h 10000"/>
                <a:gd name="connsiteX2729" fmla="*/ 1599 w 10354"/>
                <a:gd name="connsiteY2729" fmla="*/ 8162 h 10000"/>
                <a:gd name="connsiteX2730" fmla="*/ 1604 w 10354"/>
                <a:gd name="connsiteY2730" fmla="*/ 8137 h 10000"/>
                <a:gd name="connsiteX2731" fmla="*/ 1618 w 10354"/>
                <a:gd name="connsiteY2731" fmla="*/ 8145 h 10000"/>
                <a:gd name="connsiteX2732" fmla="*/ 1627 w 10354"/>
                <a:gd name="connsiteY2732" fmla="*/ 8137 h 10000"/>
                <a:gd name="connsiteX2733" fmla="*/ 1631 w 10354"/>
                <a:gd name="connsiteY2733" fmla="*/ 8137 h 10000"/>
                <a:gd name="connsiteX2734" fmla="*/ 1636 w 10354"/>
                <a:gd name="connsiteY2734" fmla="*/ 8171 h 10000"/>
                <a:gd name="connsiteX2735" fmla="*/ 1645 w 10354"/>
                <a:gd name="connsiteY2735" fmla="*/ 8188 h 10000"/>
                <a:gd name="connsiteX2736" fmla="*/ 1664 w 10354"/>
                <a:gd name="connsiteY2736" fmla="*/ 8171 h 10000"/>
                <a:gd name="connsiteX2737" fmla="*/ 1673 w 10354"/>
                <a:gd name="connsiteY2737" fmla="*/ 8188 h 10000"/>
                <a:gd name="connsiteX2738" fmla="*/ 1691 w 10354"/>
                <a:gd name="connsiteY2738" fmla="*/ 8171 h 10000"/>
                <a:gd name="connsiteX2739" fmla="*/ 1705 w 10354"/>
                <a:gd name="connsiteY2739" fmla="*/ 8171 h 10000"/>
                <a:gd name="connsiteX2740" fmla="*/ 1719 w 10354"/>
                <a:gd name="connsiteY2740" fmla="*/ 8197 h 10000"/>
                <a:gd name="connsiteX2741" fmla="*/ 1724 w 10354"/>
                <a:gd name="connsiteY2741" fmla="*/ 8231 h 10000"/>
                <a:gd name="connsiteX2742" fmla="*/ 1751 w 10354"/>
                <a:gd name="connsiteY2742" fmla="*/ 8256 h 10000"/>
                <a:gd name="connsiteX2743" fmla="*/ 1751 w 10354"/>
                <a:gd name="connsiteY2743" fmla="*/ 8274 h 10000"/>
                <a:gd name="connsiteX2744" fmla="*/ 1760 w 10354"/>
                <a:gd name="connsiteY2744" fmla="*/ 8282 h 10000"/>
                <a:gd name="connsiteX2745" fmla="*/ 1770 w 10354"/>
                <a:gd name="connsiteY2745" fmla="*/ 8325 h 10000"/>
                <a:gd name="connsiteX2746" fmla="*/ 1770 w 10354"/>
                <a:gd name="connsiteY2746" fmla="*/ 8350 h 10000"/>
                <a:gd name="connsiteX2747" fmla="*/ 1779 w 10354"/>
                <a:gd name="connsiteY2747" fmla="*/ 8368 h 10000"/>
                <a:gd name="connsiteX2748" fmla="*/ 1783 w 10354"/>
                <a:gd name="connsiteY2748" fmla="*/ 8359 h 10000"/>
                <a:gd name="connsiteX2749" fmla="*/ 1783 w 10354"/>
                <a:gd name="connsiteY2749" fmla="*/ 8308 h 10000"/>
                <a:gd name="connsiteX2750" fmla="*/ 1779 w 10354"/>
                <a:gd name="connsiteY2750" fmla="*/ 8299 h 10000"/>
                <a:gd name="connsiteX2751" fmla="*/ 1783 w 10354"/>
                <a:gd name="connsiteY2751" fmla="*/ 8282 h 10000"/>
                <a:gd name="connsiteX2752" fmla="*/ 1797 w 10354"/>
                <a:gd name="connsiteY2752" fmla="*/ 8274 h 10000"/>
                <a:gd name="connsiteX2753" fmla="*/ 1797 w 10354"/>
                <a:gd name="connsiteY2753" fmla="*/ 8299 h 10000"/>
                <a:gd name="connsiteX2754" fmla="*/ 1806 w 10354"/>
                <a:gd name="connsiteY2754" fmla="*/ 8308 h 10000"/>
                <a:gd name="connsiteX2755" fmla="*/ 1811 w 10354"/>
                <a:gd name="connsiteY2755" fmla="*/ 8325 h 10000"/>
                <a:gd name="connsiteX2756" fmla="*/ 1820 w 10354"/>
                <a:gd name="connsiteY2756" fmla="*/ 8333 h 10000"/>
                <a:gd name="connsiteX2757" fmla="*/ 1853 w 10354"/>
                <a:gd name="connsiteY2757" fmla="*/ 8359 h 10000"/>
                <a:gd name="connsiteX2758" fmla="*/ 1866 w 10354"/>
                <a:gd name="connsiteY2758" fmla="*/ 8359 h 10000"/>
                <a:gd name="connsiteX2759" fmla="*/ 1885 w 10354"/>
                <a:gd name="connsiteY2759" fmla="*/ 8325 h 10000"/>
                <a:gd name="connsiteX2760" fmla="*/ 1885 w 10354"/>
                <a:gd name="connsiteY2760" fmla="*/ 8308 h 10000"/>
                <a:gd name="connsiteX2761" fmla="*/ 1894 w 10354"/>
                <a:gd name="connsiteY2761" fmla="*/ 8299 h 10000"/>
                <a:gd name="connsiteX2762" fmla="*/ 1899 w 10354"/>
                <a:gd name="connsiteY2762" fmla="*/ 8282 h 10000"/>
                <a:gd name="connsiteX2763" fmla="*/ 1912 w 10354"/>
                <a:gd name="connsiteY2763" fmla="*/ 8282 h 10000"/>
                <a:gd name="connsiteX2764" fmla="*/ 1917 w 10354"/>
                <a:gd name="connsiteY2764" fmla="*/ 8299 h 10000"/>
                <a:gd name="connsiteX2765" fmla="*/ 1917 w 10354"/>
                <a:gd name="connsiteY2765" fmla="*/ 8274 h 10000"/>
                <a:gd name="connsiteX2766" fmla="*/ 1940 w 10354"/>
                <a:gd name="connsiteY2766" fmla="*/ 8282 h 10000"/>
                <a:gd name="connsiteX2767" fmla="*/ 1945 w 10354"/>
                <a:gd name="connsiteY2767" fmla="*/ 8274 h 10000"/>
                <a:gd name="connsiteX2768" fmla="*/ 1972 w 10354"/>
                <a:gd name="connsiteY2768" fmla="*/ 8308 h 10000"/>
                <a:gd name="connsiteX2769" fmla="*/ 1986 w 10354"/>
                <a:gd name="connsiteY2769" fmla="*/ 8282 h 10000"/>
                <a:gd name="connsiteX2770" fmla="*/ 1991 w 10354"/>
                <a:gd name="connsiteY2770" fmla="*/ 8274 h 10000"/>
                <a:gd name="connsiteX2771" fmla="*/ 2014 w 10354"/>
                <a:gd name="connsiteY2771" fmla="*/ 8274 h 10000"/>
                <a:gd name="connsiteX2772" fmla="*/ 2018 w 10354"/>
                <a:gd name="connsiteY2772" fmla="*/ 8256 h 10000"/>
                <a:gd name="connsiteX2773" fmla="*/ 2041 w 10354"/>
                <a:gd name="connsiteY2773" fmla="*/ 8274 h 10000"/>
                <a:gd name="connsiteX2774" fmla="*/ 2046 w 10354"/>
                <a:gd name="connsiteY2774" fmla="*/ 8282 h 10000"/>
                <a:gd name="connsiteX2775" fmla="*/ 2046 w 10354"/>
                <a:gd name="connsiteY2775" fmla="*/ 8325 h 10000"/>
                <a:gd name="connsiteX2776" fmla="*/ 2060 w 10354"/>
                <a:gd name="connsiteY2776" fmla="*/ 8350 h 10000"/>
                <a:gd name="connsiteX2777" fmla="*/ 2078 w 10354"/>
                <a:gd name="connsiteY2777" fmla="*/ 8350 h 10000"/>
                <a:gd name="connsiteX2778" fmla="*/ 2092 w 10354"/>
                <a:gd name="connsiteY2778" fmla="*/ 8350 h 10000"/>
                <a:gd name="connsiteX2779" fmla="*/ 2092 w 10354"/>
                <a:gd name="connsiteY2779" fmla="*/ 8350 h 10000"/>
                <a:gd name="connsiteX2780" fmla="*/ 2101 w 10354"/>
                <a:gd name="connsiteY2780" fmla="*/ 8368 h 10000"/>
                <a:gd name="connsiteX2781" fmla="*/ 2120 w 10354"/>
                <a:gd name="connsiteY2781" fmla="*/ 8368 h 10000"/>
                <a:gd name="connsiteX2782" fmla="*/ 2124 w 10354"/>
                <a:gd name="connsiteY2782" fmla="*/ 8359 h 10000"/>
                <a:gd name="connsiteX2783" fmla="*/ 2138 w 10354"/>
                <a:gd name="connsiteY2783" fmla="*/ 8325 h 10000"/>
                <a:gd name="connsiteX2784" fmla="*/ 2147 w 10354"/>
                <a:gd name="connsiteY2784" fmla="*/ 8325 h 10000"/>
                <a:gd name="connsiteX2785" fmla="*/ 2161 w 10354"/>
                <a:gd name="connsiteY2785" fmla="*/ 8350 h 10000"/>
                <a:gd name="connsiteX2786" fmla="*/ 2198 w 10354"/>
                <a:gd name="connsiteY2786" fmla="*/ 8350 h 10000"/>
                <a:gd name="connsiteX2787" fmla="*/ 2207 w 10354"/>
                <a:gd name="connsiteY2787" fmla="*/ 8333 h 10000"/>
                <a:gd name="connsiteX2788" fmla="*/ 2226 w 10354"/>
                <a:gd name="connsiteY2788" fmla="*/ 8325 h 10000"/>
                <a:gd name="connsiteX2789" fmla="*/ 2249 w 10354"/>
                <a:gd name="connsiteY2789" fmla="*/ 8222 h 10000"/>
                <a:gd name="connsiteX2790" fmla="*/ 2235 w 10354"/>
                <a:gd name="connsiteY2790" fmla="*/ 8197 h 10000"/>
                <a:gd name="connsiteX2791" fmla="*/ 2198 w 10354"/>
                <a:gd name="connsiteY2791" fmla="*/ 8197 h 10000"/>
                <a:gd name="connsiteX2792" fmla="*/ 2189 w 10354"/>
                <a:gd name="connsiteY2792" fmla="*/ 8171 h 10000"/>
                <a:gd name="connsiteX2793" fmla="*/ 2161 w 10354"/>
                <a:gd name="connsiteY2793" fmla="*/ 8145 h 10000"/>
                <a:gd name="connsiteX2794" fmla="*/ 2161 w 10354"/>
                <a:gd name="connsiteY2794" fmla="*/ 8137 h 10000"/>
                <a:gd name="connsiteX2795" fmla="*/ 2152 w 10354"/>
                <a:gd name="connsiteY2795" fmla="*/ 8120 h 10000"/>
                <a:gd name="connsiteX2796" fmla="*/ 2138 w 10354"/>
                <a:gd name="connsiteY2796" fmla="*/ 8111 h 10000"/>
                <a:gd name="connsiteX2797" fmla="*/ 2138 w 10354"/>
                <a:gd name="connsiteY2797" fmla="*/ 8094 h 10000"/>
                <a:gd name="connsiteX2798" fmla="*/ 2147 w 10354"/>
                <a:gd name="connsiteY2798" fmla="*/ 8085 h 10000"/>
                <a:gd name="connsiteX2799" fmla="*/ 2161 w 10354"/>
                <a:gd name="connsiteY2799" fmla="*/ 8060 h 10000"/>
                <a:gd name="connsiteX2800" fmla="*/ 2198 w 10354"/>
                <a:gd name="connsiteY2800" fmla="*/ 8034 h 10000"/>
                <a:gd name="connsiteX2801" fmla="*/ 2198 w 10354"/>
                <a:gd name="connsiteY2801" fmla="*/ 8026 h 10000"/>
                <a:gd name="connsiteX2802" fmla="*/ 2198 w 10354"/>
                <a:gd name="connsiteY2802" fmla="*/ 8000 h 10000"/>
                <a:gd name="connsiteX2803" fmla="*/ 2180 w 10354"/>
                <a:gd name="connsiteY2803" fmla="*/ 7940 h 10000"/>
                <a:gd name="connsiteX2804" fmla="*/ 2189 w 10354"/>
                <a:gd name="connsiteY2804" fmla="*/ 7940 h 10000"/>
                <a:gd name="connsiteX2805" fmla="*/ 2198 w 10354"/>
                <a:gd name="connsiteY2805" fmla="*/ 7923 h 10000"/>
                <a:gd name="connsiteX2806" fmla="*/ 2198 w 10354"/>
                <a:gd name="connsiteY2806" fmla="*/ 7897 h 10000"/>
                <a:gd name="connsiteX2807" fmla="*/ 2207 w 10354"/>
                <a:gd name="connsiteY2807" fmla="*/ 7889 h 10000"/>
                <a:gd name="connsiteX2808" fmla="*/ 2221 w 10354"/>
                <a:gd name="connsiteY2808" fmla="*/ 7889 h 10000"/>
                <a:gd name="connsiteX2809" fmla="*/ 2226 w 10354"/>
                <a:gd name="connsiteY2809" fmla="*/ 7897 h 10000"/>
                <a:gd name="connsiteX2810" fmla="*/ 2235 w 10354"/>
                <a:gd name="connsiteY2810" fmla="*/ 7889 h 10000"/>
                <a:gd name="connsiteX2811" fmla="*/ 2249 w 10354"/>
                <a:gd name="connsiteY2811" fmla="*/ 7897 h 10000"/>
                <a:gd name="connsiteX2812" fmla="*/ 2267 w 10354"/>
                <a:gd name="connsiteY2812" fmla="*/ 7897 h 10000"/>
                <a:gd name="connsiteX2813" fmla="*/ 2272 w 10354"/>
                <a:gd name="connsiteY2813" fmla="*/ 7889 h 10000"/>
                <a:gd name="connsiteX2814" fmla="*/ 2281 w 10354"/>
                <a:gd name="connsiteY2814" fmla="*/ 7872 h 10000"/>
                <a:gd name="connsiteX2815" fmla="*/ 2272 w 10354"/>
                <a:gd name="connsiteY2815" fmla="*/ 7846 h 10000"/>
                <a:gd name="connsiteX2816" fmla="*/ 2253 w 10354"/>
                <a:gd name="connsiteY2816" fmla="*/ 7838 h 10000"/>
                <a:gd name="connsiteX2817" fmla="*/ 2221 w 10354"/>
                <a:gd name="connsiteY2817" fmla="*/ 7821 h 10000"/>
                <a:gd name="connsiteX2818" fmla="*/ 2212 w 10354"/>
                <a:gd name="connsiteY2818" fmla="*/ 7812 h 10000"/>
                <a:gd name="connsiteX2819" fmla="*/ 2212 w 10354"/>
                <a:gd name="connsiteY2819" fmla="*/ 7803 h 10000"/>
                <a:gd name="connsiteX2820" fmla="*/ 2221 w 10354"/>
                <a:gd name="connsiteY2820" fmla="*/ 7803 h 10000"/>
                <a:gd name="connsiteX2821" fmla="*/ 2235 w 10354"/>
                <a:gd name="connsiteY2821" fmla="*/ 7786 h 10000"/>
                <a:gd name="connsiteX2822" fmla="*/ 2240 w 10354"/>
                <a:gd name="connsiteY2822" fmla="*/ 7778 h 10000"/>
                <a:gd name="connsiteX2823" fmla="*/ 2226 w 10354"/>
                <a:gd name="connsiteY2823" fmla="*/ 7761 h 10000"/>
                <a:gd name="connsiteX2824" fmla="*/ 2221 w 10354"/>
                <a:gd name="connsiteY2824" fmla="*/ 7778 h 10000"/>
                <a:gd name="connsiteX2825" fmla="*/ 2198 w 10354"/>
                <a:gd name="connsiteY2825" fmla="*/ 7778 h 10000"/>
                <a:gd name="connsiteX2826" fmla="*/ 2198 w 10354"/>
                <a:gd name="connsiteY2826" fmla="*/ 7752 h 10000"/>
                <a:gd name="connsiteX2827" fmla="*/ 2207 w 10354"/>
                <a:gd name="connsiteY2827" fmla="*/ 7735 h 10000"/>
                <a:gd name="connsiteX2828" fmla="*/ 2212 w 10354"/>
                <a:gd name="connsiteY2828" fmla="*/ 7726 h 10000"/>
                <a:gd name="connsiteX2829" fmla="*/ 2198 w 10354"/>
                <a:gd name="connsiteY2829" fmla="*/ 7692 h 10000"/>
                <a:gd name="connsiteX2830" fmla="*/ 2221 w 10354"/>
                <a:gd name="connsiteY2830" fmla="*/ 7692 h 10000"/>
                <a:gd name="connsiteX2831" fmla="*/ 2221 w 10354"/>
                <a:gd name="connsiteY2831" fmla="*/ 7675 h 10000"/>
                <a:gd name="connsiteX2832" fmla="*/ 2235 w 10354"/>
                <a:gd name="connsiteY2832" fmla="*/ 7675 h 10000"/>
                <a:gd name="connsiteX2833" fmla="*/ 2240 w 10354"/>
                <a:gd name="connsiteY2833" fmla="*/ 7692 h 10000"/>
                <a:gd name="connsiteX2834" fmla="*/ 2249 w 10354"/>
                <a:gd name="connsiteY2834" fmla="*/ 7692 h 10000"/>
                <a:gd name="connsiteX2835" fmla="*/ 2258 w 10354"/>
                <a:gd name="connsiteY2835" fmla="*/ 7692 h 10000"/>
                <a:gd name="connsiteX2836" fmla="*/ 2267 w 10354"/>
                <a:gd name="connsiteY2836" fmla="*/ 7692 h 10000"/>
                <a:gd name="connsiteX2837" fmla="*/ 2295 w 10354"/>
                <a:gd name="connsiteY2837" fmla="*/ 7692 h 10000"/>
                <a:gd name="connsiteX2838" fmla="*/ 2300 w 10354"/>
                <a:gd name="connsiteY2838" fmla="*/ 7701 h 10000"/>
                <a:gd name="connsiteX2839" fmla="*/ 2313 w 10354"/>
                <a:gd name="connsiteY2839" fmla="*/ 7675 h 10000"/>
                <a:gd name="connsiteX2840" fmla="*/ 2323 w 10354"/>
                <a:gd name="connsiteY2840" fmla="*/ 7675 h 10000"/>
                <a:gd name="connsiteX2841" fmla="*/ 2341 w 10354"/>
                <a:gd name="connsiteY2841" fmla="*/ 7675 h 10000"/>
                <a:gd name="connsiteX2842" fmla="*/ 2346 w 10354"/>
                <a:gd name="connsiteY2842" fmla="*/ 7667 h 10000"/>
                <a:gd name="connsiteX2843" fmla="*/ 2359 w 10354"/>
                <a:gd name="connsiteY2843" fmla="*/ 7650 h 10000"/>
                <a:gd name="connsiteX2844" fmla="*/ 2373 w 10354"/>
                <a:gd name="connsiteY2844" fmla="*/ 7624 h 10000"/>
                <a:gd name="connsiteX2845" fmla="*/ 2382 w 10354"/>
                <a:gd name="connsiteY2845" fmla="*/ 7641 h 10000"/>
                <a:gd name="connsiteX2846" fmla="*/ 2396 w 10354"/>
                <a:gd name="connsiteY2846" fmla="*/ 7650 h 10000"/>
                <a:gd name="connsiteX2847" fmla="*/ 2401 w 10354"/>
                <a:gd name="connsiteY2847" fmla="*/ 7650 h 10000"/>
                <a:gd name="connsiteX2848" fmla="*/ 2401 w 10354"/>
                <a:gd name="connsiteY2848" fmla="*/ 7624 h 10000"/>
                <a:gd name="connsiteX2849" fmla="*/ 2419 w 10354"/>
                <a:gd name="connsiteY2849" fmla="*/ 7624 h 10000"/>
                <a:gd name="connsiteX2850" fmla="*/ 2433 w 10354"/>
                <a:gd name="connsiteY2850" fmla="*/ 7615 h 10000"/>
                <a:gd name="connsiteX2851" fmla="*/ 2442 w 10354"/>
                <a:gd name="connsiteY2851" fmla="*/ 7615 h 10000"/>
                <a:gd name="connsiteX2852" fmla="*/ 2447 w 10354"/>
                <a:gd name="connsiteY2852" fmla="*/ 7598 h 10000"/>
                <a:gd name="connsiteX2853" fmla="*/ 2461 w 10354"/>
                <a:gd name="connsiteY2853" fmla="*/ 7598 h 10000"/>
                <a:gd name="connsiteX2854" fmla="*/ 2465 w 10354"/>
                <a:gd name="connsiteY2854" fmla="*/ 7615 h 10000"/>
                <a:gd name="connsiteX2855" fmla="*/ 2479 w 10354"/>
                <a:gd name="connsiteY2855" fmla="*/ 7564 h 10000"/>
                <a:gd name="connsiteX2856" fmla="*/ 2488 w 10354"/>
                <a:gd name="connsiteY2856" fmla="*/ 7556 h 10000"/>
                <a:gd name="connsiteX2857" fmla="*/ 2493 w 10354"/>
                <a:gd name="connsiteY2857" fmla="*/ 7556 h 10000"/>
                <a:gd name="connsiteX2858" fmla="*/ 2507 w 10354"/>
                <a:gd name="connsiteY2858" fmla="*/ 7556 h 10000"/>
                <a:gd name="connsiteX2859" fmla="*/ 2530 w 10354"/>
                <a:gd name="connsiteY2859" fmla="*/ 7538 h 10000"/>
                <a:gd name="connsiteX2860" fmla="*/ 2530 w 10354"/>
                <a:gd name="connsiteY2860" fmla="*/ 7556 h 10000"/>
                <a:gd name="connsiteX2861" fmla="*/ 2641 w 10354"/>
                <a:gd name="connsiteY2861" fmla="*/ 7504 h 10000"/>
                <a:gd name="connsiteX2862" fmla="*/ 2654 w 10354"/>
                <a:gd name="connsiteY2862" fmla="*/ 7487 h 10000"/>
                <a:gd name="connsiteX2863" fmla="*/ 2664 w 10354"/>
                <a:gd name="connsiteY2863" fmla="*/ 7487 h 10000"/>
                <a:gd name="connsiteX2864" fmla="*/ 2668 w 10354"/>
                <a:gd name="connsiteY2864" fmla="*/ 7479 h 10000"/>
                <a:gd name="connsiteX2865" fmla="*/ 2673 w 10354"/>
                <a:gd name="connsiteY2865" fmla="*/ 7462 h 10000"/>
                <a:gd name="connsiteX2866" fmla="*/ 2673 w 10354"/>
                <a:gd name="connsiteY2866" fmla="*/ 7427 h 10000"/>
                <a:gd name="connsiteX2867" fmla="*/ 2687 w 10354"/>
                <a:gd name="connsiteY2867" fmla="*/ 7436 h 10000"/>
                <a:gd name="connsiteX2868" fmla="*/ 2696 w 10354"/>
                <a:gd name="connsiteY2868" fmla="*/ 7427 h 10000"/>
                <a:gd name="connsiteX2869" fmla="*/ 2700 w 10354"/>
                <a:gd name="connsiteY2869" fmla="*/ 7419 h 10000"/>
                <a:gd name="connsiteX2870" fmla="*/ 2710 w 10354"/>
                <a:gd name="connsiteY2870" fmla="*/ 7402 h 10000"/>
                <a:gd name="connsiteX2871" fmla="*/ 2724 w 10354"/>
                <a:gd name="connsiteY2871" fmla="*/ 7402 h 10000"/>
                <a:gd name="connsiteX2872" fmla="*/ 2724 w 10354"/>
                <a:gd name="connsiteY2872" fmla="*/ 7393 h 10000"/>
                <a:gd name="connsiteX2873" fmla="*/ 2737 w 10354"/>
                <a:gd name="connsiteY2873" fmla="*/ 7393 h 10000"/>
                <a:gd name="connsiteX2874" fmla="*/ 2742 w 10354"/>
                <a:gd name="connsiteY2874" fmla="*/ 7402 h 10000"/>
                <a:gd name="connsiteX2875" fmla="*/ 2747 w 10354"/>
                <a:gd name="connsiteY2875" fmla="*/ 7402 h 10000"/>
                <a:gd name="connsiteX2876" fmla="*/ 2760 w 10354"/>
                <a:gd name="connsiteY2876" fmla="*/ 7402 h 10000"/>
                <a:gd name="connsiteX2877" fmla="*/ 2770 w 10354"/>
                <a:gd name="connsiteY2877" fmla="*/ 7402 h 10000"/>
                <a:gd name="connsiteX2878" fmla="*/ 2774 w 10354"/>
                <a:gd name="connsiteY2878" fmla="*/ 7402 h 10000"/>
                <a:gd name="connsiteX2879" fmla="*/ 2783 w 10354"/>
                <a:gd name="connsiteY2879" fmla="*/ 7419 h 10000"/>
                <a:gd name="connsiteX2880" fmla="*/ 2802 w 10354"/>
                <a:gd name="connsiteY2880" fmla="*/ 7436 h 10000"/>
                <a:gd name="connsiteX2881" fmla="*/ 2816 w 10354"/>
                <a:gd name="connsiteY2881" fmla="*/ 7419 h 10000"/>
                <a:gd name="connsiteX2882" fmla="*/ 2834 w 10354"/>
                <a:gd name="connsiteY2882" fmla="*/ 7419 h 10000"/>
                <a:gd name="connsiteX2883" fmla="*/ 2843 w 10354"/>
                <a:gd name="connsiteY2883" fmla="*/ 7419 h 10000"/>
                <a:gd name="connsiteX2884" fmla="*/ 2848 w 10354"/>
                <a:gd name="connsiteY2884" fmla="*/ 7436 h 10000"/>
                <a:gd name="connsiteX2885" fmla="*/ 2857 w 10354"/>
                <a:gd name="connsiteY2885" fmla="*/ 7453 h 10000"/>
                <a:gd name="connsiteX2886" fmla="*/ 2857 w 10354"/>
                <a:gd name="connsiteY2886" fmla="*/ 7504 h 10000"/>
                <a:gd name="connsiteX2887" fmla="*/ 2862 w 10354"/>
                <a:gd name="connsiteY2887" fmla="*/ 7530 h 10000"/>
                <a:gd name="connsiteX2888" fmla="*/ 2876 w 10354"/>
                <a:gd name="connsiteY2888" fmla="*/ 7538 h 10000"/>
                <a:gd name="connsiteX2889" fmla="*/ 2871 w 10354"/>
                <a:gd name="connsiteY2889" fmla="*/ 7564 h 10000"/>
                <a:gd name="connsiteX2890" fmla="*/ 2871 w 10354"/>
                <a:gd name="connsiteY2890" fmla="*/ 7598 h 10000"/>
                <a:gd name="connsiteX2891" fmla="*/ 2857 w 10354"/>
                <a:gd name="connsiteY2891" fmla="*/ 7624 h 10000"/>
                <a:gd name="connsiteX2892" fmla="*/ 2862 w 10354"/>
                <a:gd name="connsiteY2892" fmla="*/ 7641 h 10000"/>
                <a:gd name="connsiteX2893" fmla="*/ 2871 w 10354"/>
                <a:gd name="connsiteY2893" fmla="*/ 7667 h 10000"/>
                <a:gd name="connsiteX2894" fmla="*/ 2880 w 10354"/>
                <a:gd name="connsiteY2894" fmla="*/ 7650 h 10000"/>
                <a:gd name="connsiteX2895" fmla="*/ 2894 w 10354"/>
                <a:gd name="connsiteY2895" fmla="*/ 7667 h 10000"/>
                <a:gd name="connsiteX2896" fmla="*/ 2903 w 10354"/>
                <a:gd name="connsiteY2896" fmla="*/ 7667 h 10000"/>
                <a:gd name="connsiteX2897" fmla="*/ 2908 w 10354"/>
                <a:gd name="connsiteY2897" fmla="*/ 7641 h 10000"/>
                <a:gd name="connsiteX2898" fmla="*/ 2917 w 10354"/>
                <a:gd name="connsiteY2898" fmla="*/ 7641 h 10000"/>
                <a:gd name="connsiteX2899" fmla="*/ 2922 w 10354"/>
                <a:gd name="connsiteY2899" fmla="*/ 7641 h 10000"/>
                <a:gd name="connsiteX2900" fmla="*/ 2931 w 10354"/>
                <a:gd name="connsiteY2900" fmla="*/ 7615 h 10000"/>
                <a:gd name="connsiteX2901" fmla="*/ 2935 w 10354"/>
                <a:gd name="connsiteY2901" fmla="*/ 7615 h 10000"/>
                <a:gd name="connsiteX2902" fmla="*/ 2945 w 10354"/>
                <a:gd name="connsiteY2902" fmla="*/ 7650 h 10000"/>
                <a:gd name="connsiteX2903" fmla="*/ 2949 w 10354"/>
                <a:gd name="connsiteY2903" fmla="*/ 7667 h 10000"/>
                <a:gd name="connsiteX2904" fmla="*/ 2949 w 10354"/>
                <a:gd name="connsiteY2904" fmla="*/ 7675 h 10000"/>
                <a:gd name="connsiteX2905" fmla="*/ 2945 w 10354"/>
                <a:gd name="connsiteY2905" fmla="*/ 7692 h 10000"/>
                <a:gd name="connsiteX2906" fmla="*/ 2963 w 10354"/>
                <a:gd name="connsiteY2906" fmla="*/ 7701 h 10000"/>
                <a:gd name="connsiteX2907" fmla="*/ 2963 w 10354"/>
                <a:gd name="connsiteY2907" fmla="*/ 7675 h 10000"/>
                <a:gd name="connsiteX2908" fmla="*/ 2954 w 10354"/>
                <a:gd name="connsiteY2908" fmla="*/ 7667 h 10000"/>
                <a:gd name="connsiteX2909" fmla="*/ 2963 w 10354"/>
                <a:gd name="connsiteY2909" fmla="*/ 7667 h 10000"/>
                <a:gd name="connsiteX2910" fmla="*/ 2982 w 10354"/>
                <a:gd name="connsiteY2910" fmla="*/ 7667 h 10000"/>
                <a:gd name="connsiteX2911" fmla="*/ 2991 w 10354"/>
                <a:gd name="connsiteY2911" fmla="*/ 7675 h 10000"/>
                <a:gd name="connsiteX2912" fmla="*/ 2995 w 10354"/>
                <a:gd name="connsiteY2912" fmla="*/ 7692 h 10000"/>
                <a:gd name="connsiteX2913" fmla="*/ 3009 w 10354"/>
                <a:gd name="connsiteY2913" fmla="*/ 7701 h 10000"/>
                <a:gd name="connsiteX2914" fmla="*/ 3018 w 10354"/>
                <a:gd name="connsiteY2914" fmla="*/ 7701 h 10000"/>
                <a:gd name="connsiteX2915" fmla="*/ 3023 w 10354"/>
                <a:gd name="connsiteY2915" fmla="*/ 7692 h 10000"/>
                <a:gd name="connsiteX2916" fmla="*/ 3028 w 10354"/>
                <a:gd name="connsiteY2916" fmla="*/ 7675 h 10000"/>
                <a:gd name="connsiteX2917" fmla="*/ 3037 w 10354"/>
                <a:gd name="connsiteY2917" fmla="*/ 7692 h 10000"/>
                <a:gd name="connsiteX2918" fmla="*/ 3028 w 10354"/>
                <a:gd name="connsiteY2918" fmla="*/ 7709 h 10000"/>
                <a:gd name="connsiteX2919" fmla="*/ 3023 w 10354"/>
                <a:gd name="connsiteY2919" fmla="*/ 7709 h 10000"/>
                <a:gd name="connsiteX2920" fmla="*/ 3018 w 10354"/>
                <a:gd name="connsiteY2920" fmla="*/ 7726 h 10000"/>
                <a:gd name="connsiteX2921" fmla="*/ 3009 w 10354"/>
                <a:gd name="connsiteY2921" fmla="*/ 7735 h 10000"/>
                <a:gd name="connsiteX2922" fmla="*/ 3009 w 10354"/>
                <a:gd name="connsiteY2922" fmla="*/ 7761 h 10000"/>
                <a:gd name="connsiteX2923" fmla="*/ 3009 w 10354"/>
                <a:gd name="connsiteY2923" fmla="*/ 7778 h 10000"/>
                <a:gd name="connsiteX2924" fmla="*/ 3018 w 10354"/>
                <a:gd name="connsiteY2924" fmla="*/ 7786 h 10000"/>
                <a:gd name="connsiteX2925" fmla="*/ 3023 w 10354"/>
                <a:gd name="connsiteY2925" fmla="*/ 7786 h 10000"/>
                <a:gd name="connsiteX2926" fmla="*/ 3028 w 10354"/>
                <a:gd name="connsiteY2926" fmla="*/ 7778 h 10000"/>
                <a:gd name="connsiteX2927" fmla="*/ 3051 w 10354"/>
                <a:gd name="connsiteY2927" fmla="*/ 7761 h 10000"/>
                <a:gd name="connsiteX2928" fmla="*/ 3055 w 10354"/>
                <a:gd name="connsiteY2928" fmla="*/ 7778 h 10000"/>
                <a:gd name="connsiteX2929" fmla="*/ 3065 w 10354"/>
                <a:gd name="connsiteY2929" fmla="*/ 7761 h 10000"/>
                <a:gd name="connsiteX2930" fmla="*/ 3069 w 10354"/>
                <a:gd name="connsiteY2930" fmla="*/ 7786 h 10000"/>
                <a:gd name="connsiteX2931" fmla="*/ 3083 w 10354"/>
                <a:gd name="connsiteY2931" fmla="*/ 7786 h 10000"/>
                <a:gd name="connsiteX2932" fmla="*/ 3078 w 10354"/>
                <a:gd name="connsiteY2932" fmla="*/ 7761 h 10000"/>
                <a:gd name="connsiteX2933" fmla="*/ 3083 w 10354"/>
                <a:gd name="connsiteY2933" fmla="*/ 7752 h 10000"/>
                <a:gd name="connsiteX2934" fmla="*/ 3097 w 10354"/>
                <a:gd name="connsiteY2934" fmla="*/ 7752 h 10000"/>
                <a:gd name="connsiteX2935" fmla="*/ 3111 w 10354"/>
                <a:gd name="connsiteY2935" fmla="*/ 7726 h 10000"/>
                <a:gd name="connsiteX2936" fmla="*/ 3124 w 10354"/>
                <a:gd name="connsiteY2936" fmla="*/ 7709 h 10000"/>
                <a:gd name="connsiteX2937" fmla="*/ 3143 w 10354"/>
                <a:gd name="connsiteY2937" fmla="*/ 7692 h 10000"/>
                <a:gd name="connsiteX2938" fmla="*/ 3152 w 10354"/>
                <a:gd name="connsiteY2938" fmla="*/ 7667 h 10000"/>
                <a:gd name="connsiteX2939" fmla="*/ 3157 w 10354"/>
                <a:gd name="connsiteY2939" fmla="*/ 7650 h 10000"/>
                <a:gd name="connsiteX2940" fmla="*/ 3161 w 10354"/>
                <a:gd name="connsiteY2940" fmla="*/ 7650 h 10000"/>
                <a:gd name="connsiteX2941" fmla="*/ 3189 w 10354"/>
                <a:gd name="connsiteY2941" fmla="*/ 7641 h 10000"/>
                <a:gd name="connsiteX2942" fmla="*/ 3198 w 10354"/>
                <a:gd name="connsiteY2942" fmla="*/ 7624 h 10000"/>
                <a:gd name="connsiteX2943" fmla="*/ 3217 w 10354"/>
                <a:gd name="connsiteY2943" fmla="*/ 7615 h 10000"/>
                <a:gd name="connsiteX2944" fmla="*/ 3235 w 10354"/>
                <a:gd name="connsiteY2944" fmla="*/ 7598 h 10000"/>
                <a:gd name="connsiteX2945" fmla="*/ 3235 w 10354"/>
                <a:gd name="connsiteY2945" fmla="*/ 7615 h 10000"/>
                <a:gd name="connsiteX2946" fmla="*/ 3235 w 10354"/>
                <a:gd name="connsiteY2946" fmla="*/ 7641 h 10000"/>
                <a:gd name="connsiteX2947" fmla="*/ 3235 w 10354"/>
                <a:gd name="connsiteY2947" fmla="*/ 7650 h 10000"/>
                <a:gd name="connsiteX2948" fmla="*/ 3226 w 10354"/>
                <a:gd name="connsiteY2948" fmla="*/ 7650 h 10000"/>
                <a:gd name="connsiteX2949" fmla="*/ 3217 w 10354"/>
                <a:gd name="connsiteY2949" fmla="*/ 7650 h 10000"/>
                <a:gd name="connsiteX2950" fmla="*/ 3212 w 10354"/>
                <a:gd name="connsiteY2950" fmla="*/ 7675 h 10000"/>
                <a:gd name="connsiteX2951" fmla="*/ 3212 w 10354"/>
                <a:gd name="connsiteY2951" fmla="*/ 7675 h 10000"/>
                <a:gd name="connsiteX0" fmla="*/ 3212 w 10354"/>
                <a:gd name="connsiteY0" fmla="*/ 7675 h 10000"/>
                <a:gd name="connsiteX1" fmla="*/ 3217 w 10354"/>
                <a:gd name="connsiteY1" fmla="*/ 7692 h 10000"/>
                <a:gd name="connsiteX2" fmla="*/ 3226 w 10354"/>
                <a:gd name="connsiteY2" fmla="*/ 7692 h 10000"/>
                <a:gd name="connsiteX3" fmla="*/ 3309 w 10354"/>
                <a:gd name="connsiteY3" fmla="*/ 7838 h 10000"/>
                <a:gd name="connsiteX4" fmla="*/ 3452 w 10354"/>
                <a:gd name="connsiteY4" fmla="*/ 8325 h 10000"/>
                <a:gd name="connsiteX5" fmla="*/ 3470 w 10354"/>
                <a:gd name="connsiteY5" fmla="*/ 8299 h 10000"/>
                <a:gd name="connsiteX6" fmla="*/ 3470 w 10354"/>
                <a:gd name="connsiteY6" fmla="*/ 8282 h 10000"/>
                <a:gd name="connsiteX7" fmla="*/ 3470 w 10354"/>
                <a:gd name="connsiteY7" fmla="*/ 8274 h 10000"/>
                <a:gd name="connsiteX8" fmla="*/ 3484 w 10354"/>
                <a:gd name="connsiteY8" fmla="*/ 8231 h 10000"/>
                <a:gd name="connsiteX9" fmla="*/ 3498 w 10354"/>
                <a:gd name="connsiteY9" fmla="*/ 8231 h 10000"/>
                <a:gd name="connsiteX10" fmla="*/ 3498 w 10354"/>
                <a:gd name="connsiteY10" fmla="*/ 8248 h 10000"/>
                <a:gd name="connsiteX11" fmla="*/ 3512 w 10354"/>
                <a:gd name="connsiteY11" fmla="*/ 8256 h 10000"/>
                <a:gd name="connsiteX12" fmla="*/ 3525 w 10354"/>
                <a:gd name="connsiteY12" fmla="*/ 8274 h 10000"/>
                <a:gd name="connsiteX13" fmla="*/ 3525 w 10354"/>
                <a:gd name="connsiteY13" fmla="*/ 8282 h 10000"/>
                <a:gd name="connsiteX14" fmla="*/ 3525 w 10354"/>
                <a:gd name="connsiteY14" fmla="*/ 8308 h 10000"/>
                <a:gd name="connsiteX15" fmla="*/ 3530 w 10354"/>
                <a:gd name="connsiteY15" fmla="*/ 8308 h 10000"/>
                <a:gd name="connsiteX16" fmla="*/ 3539 w 10354"/>
                <a:gd name="connsiteY16" fmla="*/ 8333 h 10000"/>
                <a:gd name="connsiteX17" fmla="*/ 3571 w 10354"/>
                <a:gd name="connsiteY17" fmla="*/ 8333 h 10000"/>
                <a:gd name="connsiteX18" fmla="*/ 3590 w 10354"/>
                <a:gd name="connsiteY18" fmla="*/ 8350 h 10000"/>
                <a:gd name="connsiteX19" fmla="*/ 3599 w 10354"/>
                <a:gd name="connsiteY19" fmla="*/ 8333 h 10000"/>
                <a:gd name="connsiteX20" fmla="*/ 3618 w 10354"/>
                <a:gd name="connsiteY20" fmla="*/ 8333 h 10000"/>
                <a:gd name="connsiteX21" fmla="*/ 3618 w 10354"/>
                <a:gd name="connsiteY21" fmla="*/ 8325 h 10000"/>
                <a:gd name="connsiteX22" fmla="*/ 3627 w 10354"/>
                <a:gd name="connsiteY22" fmla="*/ 8308 h 10000"/>
                <a:gd name="connsiteX23" fmla="*/ 3641 w 10354"/>
                <a:gd name="connsiteY23" fmla="*/ 8308 h 10000"/>
                <a:gd name="connsiteX24" fmla="*/ 3645 w 10354"/>
                <a:gd name="connsiteY24" fmla="*/ 8308 h 10000"/>
                <a:gd name="connsiteX25" fmla="*/ 3650 w 10354"/>
                <a:gd name="connsiteY25" fmla="*/ 8299 h 10000"/>
                <a:gd name="connsiteX26" fmla="*/ 3659 w 10354"/>
                <a:gd name="connsiteY26" fmla="*/ 8282 h 10000"/>
                <a:gd name="connsiteX27" fmla="*/ 3677 w 10354"/>
                <a:gd name="connsiteY27" fmla="*/ 8299 h 10000"/>
                <a:gd name="connsiteX28" fmla="*/ 3687 w 10354"/>
                <a:gd name="connsiteY28" fmla="*/ 8299 h 10000"/>
                <a:gd name="connsiteX29" fmla="*/ 3691 w 10354"/>
                <a:gd name="connsiteY29" fmla="*/ 8325 h 10000"/>
                <a:gd name="connsiteX30" fmla="*/ 3700 w 10354"/>
                <a:gd name="connsiteY30" fmla="*/ 8325 h 10000"/>
                <a:gd name="connsiteX31" fmla="*/ 3714 w 10354"/>
                <a:gd name="connsiteY31" fmla="*/ 8359 h 10000"/>
                <a:gd name="connsiteX32" fmla="*/ 3719 w 10354"/>
                <a:gd name="connsiteY32" fmla="*/ 8359 h 10000"/>
                <a:gd name="connsiteX33" fmla="*/ 3724 w 10354"/>
                <a:gd name="connsiteY33" fmla="*/ 8368 h 10000"/>
                <a:gd name="connsiteX34" fmla="*/ 3719 w 10354"/>
                <a:gd name="connsiteY34" fmla="*/ 8393 h 10000"/>
                <a:gd name="connsiteX35" fmla="*/ 3724 w 10354"/>
                <a:gd name="connsiteY35" fmla="*/ 8410 h 10000"/>
                <a:gd name="connsiteX36" fmla="*/ 3724 w 10354"/>
                <a:gd name="connsiteY36" fmla="*/ 8436 h 10000"/>
                <a:gd name="connsiteX37" fmla="*/ 3737 w 10354"/>
                <a:gd name="connsiteY37" fmla="*/ 8436 h 10000"/>
                <a:gd name="connsiteX38" fmla="*/ 3765 w 10354"/>
                <a:gd name="connsiteY38" fmla="*/ 8462 h 10000"/>
                <a:gd name="connsiteX39" fmla="*/ 3765 w 10354"/>
                <a:gd name="connsiteY39" fmla="*/ 8470 h 10000"/>
                <a:gd name="connsiteX40" fmla="*/ 3765 w 10354"/>
                <a:gd name="connsiteY40" fmla="*/ 8496 h 10000"/>
                <a:gd name="connsiteX41" fmla="*/ 3774 w 10354"/>
                <a:gd name="connsiteY41" fmla="*/ 8496 h 10000"/>
                <a:gd name="connsiteX42" fmla="*/ 3779 w 10354"/>
                <a:gd name="connsiteY42" fmla="*/ 8504 h 10000"/>
                <a:gd name="connsiteX43" fmla="*/ 3793 w 10354"/>
                <a:gd name="connsiteY43" fmla="*/ 8547 h 10000"/>
                <a:gd name="connsiteX44" fmla="*/ 3797 w 10354"/>
                <a:gd name="connsiteY44" fmla="*/ 8547 h 10000"/>
                <a:gd name="connsiteX45" fmla="*/ 3820 w 10354"/>
                <a:gd name="connsiteY45" fmla="*/ 8556 h 10000"/>
                <a:gd name="connsiteX46" fmla="*/ 3834 w 10354"/>
                <a:gd name="connsiteY46" fmla="*/ 8573 h 10000"/>
                <a:gd name="connsiteX47" fmla="*/ 3853 w 10354"/>
                <a:gd name="connsiteY47" fmla="*/ 8573 h 10000"/>
                <a:gd name="connsiteX48" fmla="*/ 3857 w 10354"/>
                <a:gd name="connsiteY48" fmla="*/ 8556 h 10000"/>
                <a:gd name="connsiteX49" fmla="*/ 3866 w 10354"/>
                <a:gd name="connsiteY49" fmla="*/ 8547 h 10000"/>
                <a:gd name="connsiteX50" fmla="*/ 3880 w 10354"/>
                <a:gd name="connsiteY50" fmla="*/ 8530 h 10000"/>
                <a:gd name="connsiteX51" fmla="*/ 3885 w 10354"/>
                <a:gd name="connsiteY51" fmla="*/ 8547 h 10000"/>
                <a:gd name="connsiteX52" fmla="*/ 3885 w 10354"/>
                <a:gd name="connsiteY52" fmla="*/ 8573 h 10000"/>
                <a:gd name="connsiteX53" fmla="*/ 3899 w 10354"/>
                <a:gd name="connsiteY53" fmla="*/ 8573 h 10000"/>
                <a:gd name="connsiteX54" fmla="*/ 3908 w 10354"/>
                <a:gd name="connsiteY54" fmla="*/ 8607 h 10000"/>
                <a:gd name="connsiteX55" fmla="*/ 3912 w 10354"/>
                <a:gd name="connsiteY55" fmla="*/ 8615 h 10000"/>
                <a:gd name="connsiteX56" fmla="*/ 3922 w 10354"/>
                <a:gd name="connsiteY56" fmla="*/ 8632 h 10000"/>
                <a:gd name="connsiteX57" fmla="*/ 3908 w 10354"/>
                <a:gd name="connsiteY57" fmla="*/ 8692 h 10000"/>
                <a:gd name="connsiteX58" fmla="*/ 3908 w 10354"/>
                <a:gd name="connsiteY58" fmla="*/ 8692 h 10000"/>
                <a:gd name="connsiteX59" fmla="*/ 3931 w 10354"/>
                <a:gd name="connsiteY59" fmla="*/ 8709 h 10000"/>
                <a:gd name="connsiteX60" fmla="*/ 3954 w 10354"/>
                <a:gd name="connsiteY60" fmla="*/ 8667 h 10000"/>
                <a:gd name="connsiteX61" fmla="*/ 3959 w 10354"/>
                <a:gd name="connsiteY61" fmla="*/ 8667 h 10000"/>
                <a:gd name="connsiteX62" fmla="*/ 3972 w 10354"/>
                <a:gd name="connsiteY62" fmla="*/ 8615 h 10000"/>
                <a:gd name="connsiteX63" fmla="*/ 3995 w 10354"/>
                <a:gd name="connsiteY63" fmla="*/ 8581 h 10000"/>
                <a:gd name="connsiteX64" fmla="*/ 4032 w 10354"/>
                <a:gd name="connsiteY64" fmla="*/ 8556 h 10000"/>
                <a:gd name="connsiteX65" fmla="*/ 4138 w 10354"/>
                <a:gd name="connsiteY65" fmla="*/ 8419 h 10000"/>
                <a:gd name="connsiteX66" fmla="*/ 4249 w 10354"/>
                <a:gd name="connsiteY66" fmla="*/ 8359 h 10000"/>
                <a:gd name="connsiteX67" fmla="*/ 4295 w 10354"/>
                <a:gd name="connsiteY67" fmla="*/ 8385 h 10000"/>
                <a:gd name="connsiteX68" fmla="*/ 4309 w 10354"/>
                <a:gd name="connsiteY68" fmla="*/ 8410 h 10000"/>
                <a:gd name="connsiteX69" fmla="*/ 4355 w 10354"/>
                <a:gd name="connsiteY69" fmla="*/ 8393 h 10000"/>
                <a:gd name="connsiteX70" fmla="*/ 4382 w 10354"/>
                <a:gd name="connsiteY70" fmla="*/ 8393 h 10000"/>
                <a:gd name="connsiteX71" fmla="*/ 4419 w 10354"/>
                <a:gd name="connsiteY71" fmla="*/ 8487 h 10000"/>
                <a:gd name="connsiteX72" fmla="*/ 4442 w 10354"/>
                <a:gd name="connsiteY72" fmla="*/ 8487 h 10000"/>
                <a:gd name="connsiteX73" fmla="*/ 4493 w 10354"/>
                <a:gd name="connsiteY73" fmla="*/ 8470 h 10000"/>
                <a:gd name="connsiteX74" fmla="*/ 4516 w 10354"/>
                <a:gd name="connsiteY74" fmla="*/ 8487 h 10000"/>
                <a:gd name="connsiteX75" fmla="*/ 4608 w 10354"/>
                <a:gd name="connsiteY75" fmla="*/ 8470 h 10000"/>
                <a:gd name="connsiteX76" fmla="*/ 4622 w 10354"/>
                <a:gd name="connsiteY76" fmla="*/ 8470 h 10000"/>
                <a:gd name="connsiteX77" fmla="*/ 4618 w 10354"/>
                <a:gd name="connsiteY77" fmla="*/ 8419 h 10000"/>
                <a:gd name="connsiteX78" fmla="*/ 4622 w 10354"/>
                <a:gd name="connsiteY78" fmla="*/ 8385 h 10000"/>
                <a:gd name="connsiteX79" fmla="*/ 4636 w 10354"/>
                <a:gd name="connsiteY79" fmla="*/ 8350 h 10000"/>
                <a:gd name="connsiteX80" fmla="*/ 4636 w 10354"/>
                <a:gd name="connsiteY80" fmla="*/ 8325 h 10000"/>
                <a:gd name="connsiteX81" fmla="*/ 4622 w 10354"/>
                <a:gd name="connsiteY81" fmla="*/ 8282 h 10000"/>
                <a:gd name="connsiteX82" fmla="*/ 4618 w 10354"/>
                <a:gd name="connsiteY82" fmla="*/ 8248 h 10000"/>
                <a:gd name="connsiteX83" fmla="*/ 4618 w 10354"/>
                <a:gd name="connsiteY83" fmla="*/ 8214 h 10000"/>
                <a:gd name="connsiteX84" fmla="*/ 4691 w 10354"/>
                <a:gd name="connsiteY84" fmla="*/ 8077 h 10000"/>
                <a:gd name="connsiteX85" fmla="*/ 4700 w 10354"/>
                <a:gd name="connsiteY85" fmla="*/ 8060 h 10000"/>
                <a:gd name="connsiteX86" fmla="*/ 4728 w 10354"/>
                <a:gd name="connsiteY86" fmla="*/ 8077 h 10000"/>
                <a:gd name="connsiteX87" fmla="*/ 4751 w 10354"/>
                <a:gd name="connsiteY87" fmla="*/ 8094 h 10000"/>
                <a:gd name="connsiteX88" fmla="*/ 4788 w 10354"/>
                <a:gd name="connsiteY88" fmla="*/ 8120 h 10000"/>
                <a:gd name="connsiteX89" fmla="*/ 4802 w 10354"/>
                <a:gd name="connsiteY89" fmla="*/ 8162 h 10000"/>
                <a:gd name="connsiteX90" fmla="*/ 4885 w 10354"/>
                <a:gd name="connsiteY90" fmla="*/ 8197 h 10000"/>
                <a:gd name="connsiteX91" fmla="*/ 4889 w 10354"/>
                <a:gd name="connsiteY91" fmla="*/ 8231 h 10000"/>
                <a:gd name="connsiteX92" fmla="*/ 4899 w 10354"/>
                <a:gd name="connsiteY92" fmla="*/ 8333 h 10000"/>
                <a:gd name="connsiteX93" fmla="*/ 4903 w 10354"/>
                <a:gd name="connsiteY93" fmla="*/ 8333 h 10000"/>
                <a:gd name="connsiteX94" fmla="*/ 4949 w 10354"/>
                <a:gd name="connsiteY94" fmla="*/ 8410 h 10000"/>
                <a:gd name="connsiteX95" fmla="*/ 4991 w 10354"/>
                <a:gd name="connsiteY95" fmla="*/ 8436 h 10000"/>
                <a:gd name="connsiteX96" fmla="*/ 5023 w 10354"/>
                <a:gd name="connsiteY96" fmla="*/ 8419 h 10000"/>
                <a:gd name="connsiteX97" fmla="*/ 5092 w 10354"/>
                <a:gd name="connsiteY97" fmla="*/ 8359 h 10000"/>
                <a:gd name="connsiteX98" fmla="*/ 5180 w 10354"/>
                <a:gd name="connsiteY98" fmla="*/ 8410 h 10000"/>
                <a:gd name="connsiteX99" fmla="*/ 5189 w 10354"/>
                <a:gd name="connsiteY99" fmla="*/ 8436 h 10000"/>
                <a:gd name="connsiteX100" fmla="*/ 5198 w 10354"/>
                <a:gd name="connsiteY100" fmla="*/ 8436 h 10000"/>
                <a:gd name="connsiteX101" fmla="*/ 5226 w 10354"/>
                <a:gd name="connsiteY101" fmla="*/ 8487 h 10000"/>
                <a:gd name="connsiteX102" fmla="*/ 5276 w 10354"/>
                <a:gd name="connsiteY102" fmla="*/ 8504 h 10000"/>
                <a:gd name="connsiteX103" fmla="*/ 5290 w 10354"/>
                <a:gd name="connsiteY103" fmla="*/ 8556 h 10000"/>
                <a:gd name="connsiteX104" fmla="*/ 5323 w 10354"/>
                <a:gd name="connsiteY104" fmla="*/ 8598 h 10000"/>
                <a:gd name="connsiteX105" fmla="*/ 5447 w 10354"/>
                <a:gd name="connsiteY105" fmla="*/ 8615 h 10000"/>
                <a:gd name="connsiteX106" fmla="*/ 5465 w 10354"/>
                <a:gd name="connsiteY106" fmla="*/ 8632 h 10000"/>
                <a:gd name="connsiteX107" fmla="*/ 5604 w 10354"/>
                <a:gd name="connsiteY107" fmla="*/ 8556 h 10000"/>
                <a:gd name="connsiteX108" fmla="*/ 5677 w 10354"/>
                <a:gd name="connsiteY108" fmla="*/ 8462 h 10000"/>
                <a:gd name="connsiteX109" fmla="*/ 5705 w 10354"/>
                <a:gd name="connsiteY109" fmla="*/ 8444 h 10000"/>
                <a:gd name="connsiteX110" fmla="*/ 5737 w 10354"/>
                <a:gd name="connsiteY110" fmla="*/ 8470 h 10000"/>
                <a:gd name="connsiteX111" fmla="*/ 5760 w 10354"/>
                <a:gd name="connsiteY111" fmla="*/ 8496 h 10000"/>
                <a:gd name="connsiteX112" fmla="*/ 5788 w 10354"/>
                <a:gd name="connsiteY112" fmla="*/ 8504 h 10000"/>
                <a:gd name="connsiteX113" fmla="*/ 5806 w 10354"/>
                <a:gd name="connsiteY113" fmla="*/ 8496 h 10000"/>
                <a:gd name="connsiteX114" fmla="*/ 5820 w 10354"/>
                <a:gd name="connsiteY114" fmla="*/ 8487 h 10000"/>
                <a:gd name="connsiteX115" fmla="*/ 5825 w 10354"/>
                <a:gd name="connsiteY115" fmla="*/ 8487 h 10000"/>
                <a:gd name="connsiteX116" fmla="*/ 5825 w 10354"/>
                <a:gd name="connsiteY116" fmla="*/ 8487 h 10000"/>
                <a:gd name="connsiteX117" fmla="*/ 5926 w 10354"/>
                <a:gd name="connsiteY117" fmla="*/ 8556 h 10000"/>
                <a:gd name="connsiteX118" fmla="*/ 5940 w 10354"/>
                <a:gd name="connsiteY118" fmla="*/ 8556 h 10000"/>
                <a:gd name="connsiteX119" fmla="*/ 6014 w 10354"/>
                <a:gd name="connsiteY119" fmla="*/ 8470 h 10000"/>
                <a:gd name="connsiteX120" fmla="*/ 6018 w 10354"/>
                <a:gd name="connsiteY120" fmla="*/ 8444 h 10000"/>
                <a:gd name="connsiteX121" fmla="*/ 6014 w 10354"/>
                <a:gd name="connsiteY121" fmla="*/ 8419 h 10000"/>
                <a:gd name="connsiteX122" fmla="*/ 6018 w 10354"/>
                <a:gd name="connsiteY122" fmla="*/ 8393 h 10000"/>
                <a:gd name="connsiteX123" fmla="*/ 6041 w 10354"/>
                <a:gd name="connsiteY123" fmla="*/ 8333 h 10000"/>
                <a:gd name="connsiteX124" fmla="*/ 6069 w 10354"/>
                <a:gd name="connsiteY124" fmla="*/ 8188 h 10000"/>
                <a:gd name="connsiteX125" fmla="*/ 6088 w 10354"/>
                <a:gd name="connsiteY125" fmla="*/ 8162 h 10000"/>
                <a:gd name="connsiteX126" fmla="*/ 6115 w 10354"/>
                <a:gd name="connsiteY126" fmla="*/ 8094 h 10000"/>
                <a:gd name="connsiteX127" fmla="*/ 6115 w 10354"/>
                <a:gd name="connsiteY127" fmla="*/ 8094 h 10000"/>
                <a:gd name="connsiteX128" fmla="*/ 6106 w 10354"/>
                <a:gd name="connsiteY128" fmla="*/ 8077 h 10000"/>
                <a:gd name="connsiteX129" fmla="*/ 6106 w 10354"/>
                <a:gd name="connsiteY129" fmla="*/ 8009 h 10000"/>
                <a:gd name="connsiteX130" fmla="*/ 6101 w 10354"/>
                <a:gd name="connsiteY130" fmla="*/ 8000 h 10000"/>
                <a:gd name="connsiteX131" fmla="*/ 6069 w 10354"/>
                <a:gd name="connsiteY131" fmla="*/ 8009 h 10000"/>
                <a:gd name="connsiteX132" fmla="*/ 6069 w 10354"/>
                <a:gd name="connsiteY132" fmla="*/ 8000 h 10000"/>
                <a:gd name="connsiteX133" fmla="*/ 6069 w 10354"/>
                <a:gd name="connsiteY133" fmla="*/ 7974 h 10000"/>
                <a:gd name="connsiteX134" fmla="*/ 6101 w 10354"/>
                <a:gd name="connsiteY134" fmla="*/ 7923 h 10000"/>
                <a:gd name="connsiteX135" fmla="*/ 6106 w 10354"/>
                <a:gd name="connsiteY135" fmla="*/ 7889 h 10000"/>
                <a:gd name="connsiteX136" fmla="*/ 6129 w 10354"/>
                <a:gd name="connsiteY136" fmla="*/ 7863 h 10000"/>
                <a:gd name="connsiteX137" fmla="*/ 6300 w 10354"/>
                <a:gd name="connsiteY137" fmla="*/ 7812 h 10000"/>
                <a:gd name="connsiteX138" fmla="*/ 6359 w 10354"/>
                <a:gd name="connsiteY138" fmla="*/ 7872 h 10000"/>
                <a:gd name="connsiteX139" fmla="*/ 6373 w 10354"/>
                <a:gd name="connsiteY139" fmla="*/ 7889 h 10000"/>
                <a:gd name="connsiteX140" fmla="*/ 6401 w 10354"/>
                <a:gd name="connsiteY140" fmla="*/ 7889 h 10000"/>
                <a:gd name="connsiteX141" fmla="*/ 6433 w 10354"/>
                <a:gd name="connsiteY141" fmla="*/ 7915 h 10000"/>
                <a:gd name="connsiteX142" fmla="*/ 6461 w 10354"/>
                <a:gd name="connsiteY142" fmla="*/ 7974 h 10000"/>
                <a:gd name="connsiteX143" fmla="*/ 6461 w 10354"/>
                <a:gd name="connsiteY143" fmla="*/ 8000 h 10000"/>
                <a:gd name="connsiteX144" fmla="*/ 6484 w 10354"/>
                <a:gd name="connsiteY144" fmla="*/ 8034 h 10000"/>
                <a:gd name="connsiteX145" fmla="*/ 6484 w 10354"/>
                <a:gd name="connsiteY145" fmla="*/ 8051 h 10000"/>
                <a:gd name="connsiteX146" fmla="*/ 6484 w 10354"/>
                <a:gd name="connsiteY146" fmla="*/ 8034 h 10000"/>
                <a:gd name="connsiteX147" fmla="*/ 6558 w 10354"/>
                <a:gd name="connsiteY147" fmla="*/ 8444 h 10000"/>
                <a:gd name="connsiteX148" fmla="*/ 6558 w 10354"/>
                <a:gd name="connsiteY148" fmla="*/ 8462 h 10000"/>
                <a:gd name="connsiteX149" fmla="*/ 6558 w 10354"/>
                <a:gd name="connsiteY149" fmla="*/ 8462 h 10000"/>
                <a:gd name="connsiteX150" fmla="*/ 6562 w 10354"/>
                <a:gd name="connsiteY150" fmla="*/ 8547 h 10000"/>
                <a:gd name="connsiteX151" fmla="*/ 6576 w 10354"/>
                <a:gd name="connsiteY151" fmla="*/ 8573 h 10000"/>
                <a:gd name="connsiteX152" fmla="*/ 6604 w 10354"/>
                <a:gd name="connsiteY152" fmla="*/ 8581 h 10000"/>
                <a:gd name="connsiteX153" fmla="*/ 6631 w 10354"/>
                <a:gd name="connsiteY153" fmla="*/ 8556 h 10000"/>
                <a:gd name="connsiteX154" fmla="*/ 6691 w 10354"/>
                <a:gd name="connsiteY154" fmla="*/ 8607 h 10000"/>
                <a:gd name="connsiteX155" fmla="*/ 6728 w 10354"/>
                <a:gd name="connsiteY155" fmla="*/ 8667 h 10000"/>
                <a:gd name="connsiteX156" fmla="*/ 6742 w 10354"/>
                <a:gd name="connsiteY156" fmla="*/ 8684 h 10000"/>
                <a:gd name="connsiteX157" fmla="*/ 6765 w 10354"/>
                <a:gd name="connsiteY157" fmla="*/ 8684 h 10000"/>
                <a:gd name="connsiteX158" fmla="*/ 6765 w 10354"/>
                <a:gd name="connsiteY158" fmla="*/ 8709 h 10000"/>
                <a:gd name="connsiteX159" fmla="*/ 6765 w 10354"/>
                <a:gd name="connsiteY159" fmla="*/ 8709 h 10000"/>
                <a:gd name="connsiteX160" fmla="*/ 6770 w 10354"/>
                <a:gd name="connsiteY160" fmla="*/ 8709 h 10000"/>
                <a:gd name="connsiteX161" fmla="*/ 6770 w 10354"/>
                <a:gd name="connsiteY161" fmla="*/ 8744 h 10000"/>
                <a:gd name="connsiteX162" fmla="*/ 6779 w 10354"/>
                <a:gd name="connsiteY162" fmla="*/ 8769 h 10000"/>
                <a:gd name="connsiteX163" fmla="*/ 6779 w 10354"/>
                <a:gd name="connsiteY163" fmla="*/ 8846 h 10000"/>
                <a:gd name="connsiteX164" fmla="*/ 6797 w 10354"/>
                <a:gd name="connsiteY164" fmla="*/ 8906 h 10000"/>
                <a:gd name="connsiteX165" fmla="*/ 6816 w 10354"/>
                <a:gd name="connsiteY165" fmla="*/ 8906 h 10000"/>
                <a:gd name="connsiteX166" fmla="*/ 6843 w 10354"/>
                <a:gd name="connsiteY166" fmla="*/ 8915 h 10000"/>
                <a:gd name="connsiteX167" fmla="*/ 6862 w 10354"/>
                <a:gd name="connsiteY167" fmla="*/ 8906 h 10000"/>
                <a:gd name="connsiteX168" fmla="*/ 6935 w 10354"/>
                <a:gd name="connsiteY168" fmla="*/ 8829 h 10000"/>
                <a:gd name="connsiteX169" fmla="*/ 6963 w 10354"/>
                <a:gd name="connsiteY169" fmla="*/ 8829 h 10000"/>
                <a:gd name="connsiteX170" fmla="*/ 7046 w 10354"/>
                <a:gd name="connsiteY170" fmla="*/ 8769 h 10000"/>
                <a:gd name="connsiteX171" fmla="*/ 7046 w 10354"/>
                <a:gd name="connsiteY171" fmla="*/ 8769 h 10000"/>
                <a:gd name="connsiteX172" fmla="*/ 7032 w 10354"/>
                <a:gd name="connsiteY172" fmla="*/ 8803 h 10000"/>
                <a:gd name="connsiteX173" fmla="*/ 7032 w 10354"/>
                <a:gd name="connsiteY173" fmla="*/ 8846 h 10000"/>
                <a:gd name="connsiteX174" fmla="*/ 7037 w 10354"/>
                <a:gd name="connsiteY174" fmla="*/ 8880 h 10000"/>
                <a:gd name="connsiteX175" fmla="*/ 7037 w 10354"/>
                <a:gd name="connsiteY175" fmla="*/ 8932 h 10000"/>
                <a:gd name="connsiteX176" fmla="*/ 7005 w 10354"/>
                <a:gd name="connsiteY176" fmla="*/ 8983 h 10000"/>
                <a:gd name="connsiteX177" fmla="*/ 6977 w 10354"/>
                <a:gd name="connsiteY177" fmla="*/ 9188 h 10000"/>
                <a:gd name="connsiteX178" fmla="*/ 6935 w 10354"/>
                <a:gd name="connsiteY178" fmla="*/ 9316 h 10000"/>
                <a:gd name="connsiteX179" fmla="*/ 6931 w 10354"/>
                <a:gd name="connsiteY179" fmla="*/ 9368 h 10000"/>
                <a:gd name="connsiteX180" fmla="*/ 6917 w 10354"/>
                <a:gd name="connsiteY180" fmla="*/ 9376 h 10000"/>
                <a:gd name="connsiteX181" fmla="*/ 6912 w 10354"/>
                <a:gd name="connsiteY181" fmla="*/ 9376 h 10000"/>
                <a:gd name="connsiteX182" fmla="*/ 6848 w 10354"/>
                <a:gd name="connsiteY182" fmla="*/ 9342 h 10000"/>
                <a:gd name="connsiteX183" fmla="*/ 6788 w 10354"/>
                <a:gd name="connsiteY183" fmla="*/ 9436 h 10000"/>
                <a:gd name="connsiteX184" fmla="*/ 6802 w 10354"/>
                <a:gd name="connsiteY184" fmla="*/ 9462 h 10000"/>
                <a:gd name="connsiteX185" fmla="*/ 6811 w 10354"/>
                <a:gd name="connsiteY185" fmla="*/ 9667 h 10000"/>
                <a:gd name="connsiteX186" fmla="*/ 6788 w 10354"/>
                <a:gd name="connsiteY186" fmla="*/ 9709 h 10000"/>
                <a:gd name="connsiteX187" fmla="*/ 6765 w 10354"/>
                <a:gd name="connsiteY187" fmla="*/ 9752 h 10000"/>
                <a:gd name="connsiteX188" fmla="*/ 6765 w 10354"/>
                <a:gd name="connsiteY188" fmla="*/ 9803 h 10000"/>
                <a:gd name="connsiteX189" fmla="*/ 6770 w 10354"/>
                <a:gd name="connsiteY189" fmla="*/ 9821 h 10000"/>
                <a:gd name="connsiteX190" fmla="*/ 6779 w 10354"/>
                <a:gd name="connsiteY190" fmla="*/ 9812 h 10000"/>
                <a:gd name="connsiteX191" fmla="*/ 6779 w 10354"/>
                <a:gd name="connsiteY191" fmla="*/ 9803 h 10000"/>
                <a:gd name="connsiteX192" fmla="*/ 6770 w 10354"/>
                <a:gd name="connsiteY192" fmla="*/ 9786 h 10000"/>
                <a:gd name="connsiteX193" fmla="*/ 6811 w 10354"/>
                <a:gd name="connsiteY193" fmla="*/ 9786 h 10000"/>
                <a:gd name="connsiteX194" fmla="*/ 6816 w 10354"/>
                <a:gd name="connsiteY194" fmla="*/ 9761 h 10000"/>
                <a:gd name="connsiteX195" fmla="*/ 6825 w 10354"/>
                <a:gd name="connsiteY195" fmla="*/ 9752 h 10000"/>
                <a:gd name="connsiteX196" fmla="*/ 6825 w 10354"/>
                <a:gd name="connsiteY196" fmla="*/ 9726 h 10000"/>
                <a:gd name="connsiteX197" fmla="*/ 6843 w 10354"/>
                <a:gd name="connsiteY197" fmla="*/ 9701 h 10000"/>
                <a:gd name="connsiteX198" fmla="*/ 6848 w 10354"/>
                <a:gd name="connsiteY198" fmla="*/ 9650 h 10000"/>
                <a:gd name="connsiteX199" fmla="*/ 6848 w 10354"/>
                <a:gd name="connsiteY199" fmla="*/ 9675 h 10000"/>
                <a:gd name="connsiteX200" fmla="*/ 6862 w 10354"/>
                <a:gd name="connsiteY200" fmla="*/ 9675 h 10000"/>
                <a:gd name="connsiteX201" fmla="*/ 6857 w 10354"/>
                <a:gd name="connsiteY201" fmla="*/ 9701 h 10000"/>
                <a:gd name="connsiteX202" fmla="*/ 6857 w 10354"/>
                <a:gd name="connsiteY202" fmla="*/ 9701 h 10000"/>
                <a:gd name="connsiteX203" fmla="*/ 6876 w 10354"/>
                <a:gd name="connsiteY203" fmla="*/ 9684 h 10000"/>
                <a:gd name="connsiteX204" fmla="*/ 6885 w 10354"/>
                <a:gd name="connsiteY204" fmla="*/ 9675 h 10000"/>
                <a:gd name="connsiteX205" fmla="*/ 6876 w 10354"/>
                <a:gd name="connsiteY205" fmla="*/ 9735 h 10000"/>
                <a:gd name="connsiteX206" fmla="*/ 6885 w 10354"/>
                <a:gd name="connsiteY206" fmla="*/ 9752 h 10000"/>
                <a:gd name="connsiteX207" fmla="*/ 6903 w 10354"/>
                <a:gd name="connsiteY207" fmla="*/ 9752 h 10000"/>
                <a:gd name="connsiteX208" fmla="*/ 6917 w 10354"/>
                <a:gd name="connsiteY208" fmla="*/ 9761 h 10000"/>
                <a:gd name="connsiteX209" fmla="*/ 6917 w 10354"/>
                <a:gd name="connsiteY209" fmla="*/ 9761 h 10000"/>
                <a:gd name="connsiteX210" fmla="*/ 6922 w 10354"/>
                <a:gd name="connsiteY210" fmla="*/ 9778 h 10000"/>
                <a:gd name="connsiteX211" fmla="*/ 6945 w 10354"/>
                <a:gd name="connsiteY211" fmla="*/ 9778 h 10000"/>
                <a:gd name="connsiteX212" fmla="*/ 6972 w 10354"/>
                <a:gd name="connsiteY212" fmla="*/ 9752 h 10000"/>
                <a:gd name="connsiteX213" fmla="*/ 6977 w 10354"/>
                <a:gd name="connsiteY213" fmla="*/ 9752 h 10000"/>
                <a:gd name="connsiteX214" fmla="*/ 7069 w 10354"/>
                <a:gd name="connsiteY214" fmla="*/ 9624 h 10000"/>
                <a:gd name="connsiteX215" fmla="*/ 7097 w 10354"/>
                <a:gd name="connsiteY215" fmla="*/ 9547 h 10000"/>
                <a:gd name="connsiteX216" fmla="*/ 7106 w 10354"/>
                <a:gd name="connsiteY216" fmla="*/ 9530 h 10000"/>
                <a:gd name="connsiteX217" fmla="*/ 7124 w 10354"/>
                <a:gd name="connsiteY217" fmla="*/ 9479 h 10000"/>
                <a:gd name="connsiteX218" fmla="*/ 7138 w 10354"/>
                <a:gd name="connsiteY218" fmla="*/ 9462 h 10000"/>
                <a:gd name="connsiteX219" fmla="*/ 7378 w 10354"/>
                <a:gd name="connsiteY219" fmla="*/ 8795 h 10000"/>
                <a:gd name="connsiteX220" fmla="*/ 7392 w 10354"/>
                <a:gd name="connsiteY220" fmla="*/ 8795 h 10000"/>
                <a:gd name="connsiteX221" fmla="*/ 7401 w 10354"/>
                <a:gd name="connsiteY221" fmla="*/ 8769 h 10000"/>
                <a:gd name="connsiteX222" fmla="*/ 7406 w 10354"/>
                <a:gd name="connsiteY222" fmla="*/ 8692 h 10000"/>
                <a:gd name="connsiteX223" fmla="*/ 7406 w 10354"/>
                <a:gd name="connsiteY223" fmla="*/ 8667 h 10000"/>
                <a:gd name="connsiteX224" fmla="*/ 7419 w 10354"/>
                <a:gd name="connsiteY224" fmla="*/ 8598 h 10000"/>
                <a:gd name="connsiteX225" fmla="*/ 7419 w 10354"/>
                <a:gd name="connsiteY225" fmla="*/ 8496 h 10000"/>
                <a:gd name="connsiteX226" fmla="*/ 7424 w 10354"/>
                <a:gd name="connsiteY226" fmla="*/ 8470 h 10000"/>
                <a:gd name="connsiteX227" fmla="*/ 7424 w 10354"/>
                <a:gd name="connsiteY227" fmla="*/ 8462 h 10000"/>
                <a:gd name="connsiteX228" fmla="*/ 7419 w 10354"/>
                <a:gd name="connsiteY228" fmla="*/ 8462 h 10000"/>
                <a:gd name="connsiteX229" fmla="*/ 7410 w 10354"/>
                <a:gd name="connsiteY229" fmla="*/ 8350 h 10000"/>
                <a:gd name="connsiteX230" fmla="*/ 7419 w 10354"/>
                <a:gd name="connsiteY230" fmla="*/ 8325 h 10000"/>
                <a:gd name="connsiteX231" fmla="*/ 7424 w 10354"/>
                <a:gd name="connsiteY231" fmla="*/ 8248 h 10000"/>
                <a:gd name="connsiteX232" fmla="*/ 7433 w 10354"/>
                <a:gd name="connsiteY232" fmla="*/ 8248 h 10000"/>
                <a:gd name="connsiteX233" fmla="*/ 7433 w 10354"/>
                <a:gd name="connsiteY233" fmla="*/ 8231 h 10000"/>
                <a:gd name="connsiteX234" fmla="*/ 7433 w 10354"/>
                <a:gd name="connsiteY234" fmla="*/ 8222 h 10000"/>
                <a:gd name="connsiteX235" fmla="*/ 7433 w 10354"/>
                <a:gd name="connsiteY235" fmla="*/ 8214 h 10000"/>
                <a:gd name="connsiteX236" fmla="*/ 7447 w 10354"/>
                <a:gd name="connsiteY236" fmla="*/ 8162 h 10000"/>
                <a:gd name="connsiteX237" fmla="*/ 7461 w 10354"/>
                <a:gd name="connsiteY237" fmla="*/ 8162 h 10000"/>
                <a:gd name="connsiteX238" fmla="*/ 7475 w 10354"/>
                <a:gd name="connsiteY238" fmla="*/ 8111 h 10000"/>
                <a:gd name="connsiteX239" fmla="*/ 7475 w 10354"/>
                <a:gd name="connsiteY239" fmla="*/ 8085 h 10000"/>
                <a:gd name="connsiteX240" fmla="*/ 7479 w 10354"/>
                <a:gd name="connsiteY240" fmla="*/ 8060 h 10000"/>
                <a:gd name="connsiteX241" fmla="*/ 7452 w 10354"/>
                <a:gd name="connsiteY241" fmla="*/ 8009 h 10000"/>
                <a:gd name="connsiteX242" fmla="*/ 7465 w 10354"/>
                <a:gd name="connsiteY242" fmla="*/ 7974 h 10000"/>
                <a:gd name="connsiteX243" fmla="*/ 7452 w 10354"/>
                <a:gd name="connsiteY243" fmla="*/ 7923 h 10000"/>
                <a:gd name="connsiteX244" fmla="*/ 7433 w 10354"/>
                <a:gd name="connsiteY244" fmla="*/ 7889 h 10000"/>
                <a:gd name="connsiteX245" fmla="*/ 7419 w 10354"/>
                <a:gd name="connsiteY245" fmla="*/ 7889 h 10000"/>
                <a:gd name="connsiteX246" fmla="*/ 7401 w 10354"/>
                <a:gd name="connsiteY246" fmla="*/ 7863 h 10000"/>
                <a:gd name="connsiteX247" fmla="*/ 7387 w 10354"/>
                <a:gd name="connsiteY247" fmla="*/ 7863 h 10000"/>
                <a:gd name="connsiteX248" fmla="*/ 7373 w 10354"/>
                <a:gd name="connsiteY248" fmla="*/ 7863 h 10000"/>
                <a:gd name="connsiteX249" fmla="*/ 7387 w 10354"/>
                <a:gd name="connsiteY249" fmla="*/ 7846 h 10000"/>
                <a:gd name="connsiteX250" fmla="*/ 7401 w 10354"/>
                <a:gd name="connsiteY250" fmla="*/ 7846 h 10000"/>
                <a:gd name="connsiteX251" fmla="*/ 7410 w 10354"/>
                <a:gd name="connsiteY251" fmla="*/ 7863 h 10000"/>
                <a:gd name="connsiteX252" fmla="*/ 7424 w 10354"/>
                <a:gd name="connsiteY252" fmla="*/ 7872 h 10000"/>
                <a:gd name="connsiteX253" fmla="*/ 7433 w 10354"/>
                <a:gd name="connsiteY253" fmla="*/ 7863 h 10000"/>
                <a:gd name="connsiteX254" fmla="*/ 7461 w 10354"/>
                <a:gd name="connsiteY254" fmla="*/ 7897 h 10000"/>
                <a:gd name="connsiteX255" fmla="*/ 7465 w 10354"/>
                <a:gd name="connsiteY255" fmla="*/ 7889 h 10000"/>
                <a:gd name="connsiteX256" fmla="*/ 7475 w 10354"/>
                <a:gd name="connsiteY256" fmla="*/ 7863 h 10000"/>
                <a:gd name="connsiteX257" fmla="*/ 7475 w 10354"/>
                <a:gd name="connsiteY257" fmla="*/ 7838 h 10000"/>
                <a:gd name="connsiteX258" fmla="*/ 7465 w 10354"/>
                <a:gd name="connsiteY258" fmla="*/ 7838 h 10000"/>
                <a:gd name="connsiteX259" fmla="*/ 7406 w 10354"/>
                <a:gd name="connsiteY259" fmla="*/ 7752 h 10000"/>
                <a:gd name="connsiteX260" fmla="*/ 7401 w 10354"/>
                <a:gd name="connsiteY260" fmla="*/ 7735 h 10000"/>
                <a:gd name="connsiteX261" fmla="*/ 7401 w 10354"/>
                <a:gd name="connsiteY261" fmla="*/ 7701 h 10000"/>
                <a:gd name="connsiteX262" fmla="*/ 7378 w 10354"/>
                <a:gd name="connsiteY262" fmla="*/ 7675 h 10000"/>
                <a:gd name="connsiteX263" fmla="*/ 7373 w 10354"/>
                <a:gd name="connsiteY263" fmla="*/ 7667 h 10000"/>
                <a:gd name="connsiteX264" fmla="*/ 7364 w 10354"/>
                <a:gd name="connsiteY264" fmla="*/ 7650 h 10000"/>
                <a:gd name="connsiteX265" fmla="*/ 7364 w 10354"/>
                <a:gd name="connsiteY265" fmla="*/ 7641 h 10000"/>
                <a:gd name="connsiteX266" fmla="*/ 7350 w 10354"/>
                <a:gd name="connsiteY266" fmla="*/ 7641 h 10000"/>
                <a:gd name="connsiteX267" fmla="*/ 7336 w 10354"/>
                <a:gd name="connsiteY267" fmla="*/ 7650 h 10000"/>
                <a:gd name="connsiteX268" fmla="*/ 7327 w 10354"/>
                <a:gd name="connsiteY268" fmla="*/ 7650 h 10000"/>
                <a:gd name="connsiteX269" fmla="*/ 7300 w 10354"/>
                <a:gd name="connsiteY269" fmla="*/ 7641 h 10000"/>
                <a:gd name="connsiteX270" fmla="*/ 7300 w 10354"/>
                <a:gd name="connsiteY270" fmla="*/ 7675 h 10000"/>
                <a:gd name="connsiteX271" fmla="*/ 7300 w 10354"/>
                <a:gd name="connsiteY271" fmla="*/ 7692 h 10000"/>
                <a:gd name="connsiteX272" fmla="*/ 7286 w 10354"/>
                <a:gd name="connsiteY272" fmla="*/ 7786 h 10000"/>
                <a:gd name="connsiteX273" fmla="*/ 7272 w 10354"/>
                <a:gd name="connsiteY273" fmla="*/ 7803 h 10000"/>
                <a:gd name="connsiteX274" fmla="*/ 7276 w 10354"/>
                <a:gd name="connsiteY274" fmla="*/ 7761 h 10000"/>
                <a:gd name="connsiteX275" fmla="*/ 7286 w 10354"/>
                <a:gd name="connsiteY275" fmla="*/ 7735 h 10000"/>
                <a:gd name="connsiteX276" fmla="*/ 7276 w 10354"/>
                <a:gd name="connsiteY276" fmla="*/ 7709 h 10000"/>
                <a:gd name="connsiteX277" fmla="*/ 7258 w 10354"/>
                <a:gd name="connsiteY277" fmla="*/ 7761 h 10000"/>
                <a:gd name="connsiteX278" fmla="*/ 7217 w 10354"/>
                <a:gd name="connsiteY278" fmla="*/ 7786 h 10000"/>
                <a:gd name="connsiteX279" fmla="*/ 7203 w 10354"/>
                <a:gd name="connsiteY279" fmla="*/ 7786 h 10000"/>
                <a:gd name="connsiteX280" fmla="*/ 7198 w 10354"/>
                <a:gd name="connsiteY280" fmla="*/ 7778 h 10000"/>
                <a:gd name="connsiteX281" fmla="*/ 7212 w 10354"/>
                <a:gd name="connsiteY281" fmla="*/ 7761 h 10000"/>
                <a:gd name="connsiteX282" fmla="*/ 7230 w 10354"/>
                <a:gd name="connsiteY282" fmla="*/ 7726 h 10000"/>
                <a:gd name="connsiteX283" fmla="*/ 7226 w 10354"/>
                <a:gd name="connsiteY283" fmla="*/ 7709 h 10000"/>
                <a:gd name="connsiteX284" fmla="*/ 7212 w 10354"/>
                <a:gd name="connsiteY284" fmla="*/ 7701 h 10000"/>
                <a:gd name="connsiteX285" fmla="*/ 7203 w 10354"/>
                <a:gd name="connsiteY285" fmla="*/ 7675 h 10000"/>
                <a:gd name="connsiteX286" fmla="*/ 7217 w 10354"/>
                <a:gd name="connsiteY286" fmla="*/ 7675 h 10000"/>
                <a:gd name="connsiteX287" fmla="*/ 7226 w 10354"/>
                <a:gd name="connsiteY287" fmla="*/ 7650 h 10000"/>
                <a:gd name="connsiteX288" fmla="*/ 7226 w 10354"/>
                <a:gd name="connsiteY288" fmla="*/ 7641 h 10000"/>
                <a:gd name="connsiteX289" fmla="*/ 7203 w 10354"/>
                <a:gd name="connsiteY289" fmla="*/ 7641 h 10000"/>
                <a:gd name="connsiteX290" fmla="*/ 7198 w 10354"/>
                <a:gd name="connsiteY290" fmla="*/ 7650 h 10000"/>
                <a:gd name="connsiteX291" fmla="*/ 7194 w 10354"/>
                <a:gd name="connsiteY291" fmla="*/ 7675 h 10000"/>
                <a:gd name="connsiteX292" fmla="*/ 7198 w 10354"/>
                <a:gd name="connsiteY292" fmla="*/ 7692 h 10000"/>
                <a:gd name="connsiteX293" fmla="*/ 7198 w 10354"/>
                <a:gd name="connsiteY293" fmla="*/ 7709 h 10000"/>
                <a:gd name="connsiteX294" fmla="*/ 7184 w 10354"/>
                <a:gd name="connsiteY294" fmla="*/ 7726 h 10000"/>
                <a:gd name="connsiteX295" fmla="*/ 7180 w 10354"/>
                <a:gd name="connsiteY295" fmla="*/ 7726 h 10000"/>
                <a:gd name="connsiteX296" fmla="*/ 7171 w 10354"/>
                <a:gd name="connsiteY296" fmla="*/ 7752 h 10000"/>
                <a:gd name="connsiteX297" fmla="*/ 7166 w 10354"/>
                <a:gd name="connsiteY297" fmla="*/ 7735 h 10000"/>
                <a:gd name="connsiteX298" fmla="*/ 7171 w 10354"/>
                <a:gd name="connsiteY298" fmla="*/ 7624 h 10000"/>
                <a:gd name="connsiteX299" fmla="*/ 7171 w 10354"/>
                <a:gd name="connsiteY299" fmla="*/ 7615 h 10000"/>
                <a:gd name="connsiteX300" fmla="*/ 7171 w 10354"/>
                <a:gd name="connsiteY300" fmla="*/ 7590 h 10000"/>
                <a:gd name="connsiteX301" fmla="*/ 7166 w 10354"/>
                <a:gd name="connsiteY301" fmla="*/ 7564 h 10000"/>
                <a:gd name="connsiteX302" fmla="*/ 7157 w 10354"/>
                <a:gd name="connsiteY302" fmla="*/ 7564 h 10000"/>
                <a:gd name="connsiteX303" fmla="*/ 7097 w 10354"/>
                <a:gd name="connsiteY303" fmla="*/ 7573 h 10000"/>
                <a:gd name="connsiteX304" fmla="*/ 7065 w 10354"/>
                <a:gd name="connsiteY304" fmla="*/ 7538 h 10000"/>
                <a:gd name="connsiteX305" fmla="*/ 7069 w 10354"/>
                <a:gd name="connsiteY305" fmla="*/ 7504 h 10000"/>
                <a:gd name="connsiteX306" fmla="*/ 7106 w 10354"/>
                <a:gd name="connsiteY306" fmla="*/ 7453 h 10000"/>
                <a:gd name="connsiteX307" fmla="*/ 7111 w 10354"/>
                <a:gd name="connsiteY307" fmla="*/ 7436 h 10000"/>
                <a:gd name="connsiteX308" fmla="*/ 7138 w 10354"/>
                <a:gd name="connsiteY308" fmla="*/ 7402 h 10000"/>
                <a:gd name="connsiteX309" fmla="*/ 7143 w 10354"/>
                <a:gd name="connsiteY309" fmla="*/ 7376 h 10000"/>
                <a:gd name="connsiteX310" fmla="*/ 7152 w 10354"/>
                <a:gd name="connsiteY310" fmla="*/ 7368 h 10000"/>
                <a:gd name="connsiteX311" fmla="*/ 7157 w 10354"/>
                <a:gd name="connsiteY311" fmla="*/ 7350 h 10000"/>
                <a:gd name="connsiteX312" fmla="*/ 7230 w 10354"/>
                <a:gd name="connsiteY312" fmla="*/ 7239 h 10000"/>
                <a:gd name="connsiteX313" fmla="*/ 7240 w 10354"/>
                <a:gd name="connsiteY313" fmla="*/ 7205 h 10000"/>
                <a:gd name="connsiteX314" fmla="*/ 7253 w 10354"/>
                <a:gd name="connsiteY314" fmla="*/ 7188 h 10000"/>
                <a:gd name="connsiteX315" fmla="*/ 7258 w 10354"/>
                <a:gd name="connsiteY315" fmla="*/ 7162 h 10000"/>
                <a:gd name="connsiteX316" fmla="*/ 7258 w 10354"/>
                <a:gd name="connsiteY316" fmla="*/ 7154 h 10000"/>
                <a:gd name="connsiteX317" fmla="*/ 7272 w 10354"/>
                <a:gd name="connsiteY317" fmla="*/ 7120 h 10000"/>
                <a:gd name="connsiteX318" fmla="*/ 7276 w 10354"/>
                <a:gd name="connsiteY318" fmla="*/ 7094 h 10000"/>
                <a:gd name="connsiteX319" fmla="*/ 7286 w 10354"/>
                <a:gd name="connsiteY319" fmla="*/ 7094 h 10000"/>
                <a:gd name="connsiteX320" fmla="*/ 7290 w 10354"/>
                <a:gd name="connsiteY320" fmla="*/ 7068 h 10000"/>
                <a:gd name="connsiteX321" fmla="*/ 7332 w 10354"/>
                <a:gd name="connsiteY321" fmla="*/ 6991 h 10000"/>
                <a:gd name="connsiteX322" fmla="*/ 7336 w 10354"/>
                <a:gd name="connsiteY322" fmla="*/ 6991 h 10000"/>
                <a:gd name="connsiteX323" fmla="*/ 7364 w 10354"/>
                <a:gd name="connsiteY323" fmla="*/ 6940 h 10000"/>
                <a:gd name="connsiteX324" fmla="*/ 7373 w 10354"/>
                <a:gd name="connsiteY324" fmla="*/ 6906 h 10000"/>
                <a:gd name="connsiteX325" fmla="*/ 7378 w 10354"/>
                <a:gd name="connsiteY325" fmla="*/ 6915 h 10000"/>
                <a:gd name="connsiteX326" fmla="*/ 7406 w 10354"/>
                <a:gd name="connsiteY326" fmla="*/ 6880 h 10000"/>
                <a:gd name="connsiteX327" fmla="*/ 7410 w 10354"/>
                <a:gd name="connsiteY327" fmla="*/ 6846 h 10000"/>
                <a:gd name="connsiteX328" fmla="*/ 7419 w 10354"/>
                <a:gd name="connsiteY328" fmla="*/ 6803 h 10000"/>
                <a:gd name="connsiteX329" fmla="*/ 7585 w 10354"/>
                <a:gd name="connsiteY329" fmla="*/ 6504 h 10000"/>
                <a:gd name="connsiteX330" fmla="*/ 7765 w 10354"/>
                <a:gd name="connsiteY330" fmla="*/ 6504 h 10000"/>
                <a:gd name="connsiteX331" fmla="*/ 7765 w 10354"/>
                <a:gd name="connsiteY331" fmla="*/ 6530 h 10000"/>
                <a:gd name="connsiteX332" fmla="*/ 7774 w 10354"/>
                <a:gd name="connsiteY332" fmla="*/ 6556 h 10000"/>
                <a:gd name="connsiteX333" fmla="*/ 7779 w 10354"/>
                <a:gd name="connsiteY333" fmla="*/ 6556 h 10000"/>
                <a:gd name="connsiteX334" fmla="*/ 7793 w 10354"/>
                <a:gd name="connsiteY334" fmla="*/ 6547 h 10000"/>
                <a:gd name="connsiteX335" fmla="*/ 7793 w 10354"/>
                <a:gd name="connsiteY335" fmla="*/ 6530 h 10000"/>
                <a:gd name="connsiteX336" fmla="*/ 7802 w 10354"/>
                <a:gd name="connsiteY336" fmla="*/ 6496 h 10000"/>
                <a:gd name="connsiteX337" fmla="*/ 7806 w 10354"/>
                <a:gd name="connsiteY337" fmla="*/ 6487 h 10000"/>
                <a:gd name="connsiteX338" fmla="*/ 7876 w 10354"/>
                <a:gd name="connsiteY338" fmla="*/ 6530 h 10000"/>
                <a:gd name="connsiteX339" fmla="*/ 7894 w 10354"/>
                <a:gd name="connsiteY339" fmla="*/ 6530 h 10000"/>
                <a:gd name="connsiteX340" fmla="*/ 7894 w 10354"/>
                <a:gd name="connsiteY340" fmla="*/ 6504 h 10000"/>
                <a:gd name="connsiteX341" fmla="*/ 7899 w 10354"/>
                <a:gd name="connsiteY341" fmla="*/ 6504 h 10000"/>
                <a:gd name="connsiteX342" fmla="*/ 7926 w 10354"/>
                <a:gd name="connsiteY342" fmla="*/ 6504 h 10000"/>
                <a:gd name="connsiteX343" fmla="*/ 7940 w 10354"/>
                <a:gd name="connsiteY343" fmla="*/ 6547 h 10000"/>
                <a:gd name="connsiteX344" fmla="*/ 7949 w 10354"/>
                <a:gd name="connsiteY344" fmla="*/ 6547 h 10000"/>
                <a:gd name="connsiteX345" fmla="*/ 7963 w 10354"/>
                <a:gd name="connsiteY345" fmla="*/ 6530 h 10000"/>
                <a:gd name="connsiteX346" fmla="*/ 7963 w 10354"/>
                <a:gd name="connsiteY346" fmla="*/ 6504 h 10000"/>
                <a:gd name="connsiteX347" fmla="*/ 7963 w 10354"/>
                <a:gd name="connsiteY347" fmla="*/ 6504 h 10000"/>
                <a:gd name="connsiteX348" fmla="*/ 7954 w 10354"/>
                <a:gd name="connsiteY348" fmla="*/ 6496 h 10000"/>
                <a:gd name="connsiteX349" fmla="*/ 7963 w 10354"/>
                <a:gd name="connsiteY349" fmla="*/ 6487 h 10000"/>
                <a:gd name="connsiteX350" fmla="*/ 7982 w 10354"/>
                <a:gd name="connsiteY350" fmla="*/ 6487 h 10000"/>
                <a:gd name="connsiteX351" fmla="*/ 7982 w 10354"/>
                <a:gd name="connsiteY351" fmla="*/ 6470 h 10000"/>
                <a:gd name="connsiteX352" fmla="*/ 7972 w 10354"/>
                <a:gd name="connsiteY352" fmla="*/ 6462 h 10000"/>
                <a:gd name="connsiteX353" fmla="*/ 7972 w 10354"/>
                <a:gd name="connsiteY353" fmla="*/ 6436 h 10000"/>
                <a:gd name="connsiteX354" fmla="*/ 7986 w 10354"/>
                <a:gd name="connsiteY354" fmla="*/ 6419 h 10000"/>
                <a:gd name="connsiteX355" fmla="*/ 8000 w 10354"/>
                <a:gd name="connsiteY355" fmla="*/ 6419 h 10000"/>
                <a:gd name="connsiteX356" fmla="*/ 8055 w 10354"/>
                <a:gd name="connsiteY356" fmla="*/ 6462 h 10000"/>
                <a:gd name="connsiteX357" fmla="*/ 8069 w 10354"/>
                <a:gd name="connsiteY357" fmla="*/ 6444 h 10000"/>
                <a:gd name="connsiteX358" fmla="*/ 8083 w 10354"/>
                <a:gd name="connsiteY358" fmla="*/ 6470 h 10000"/>
                <a:gd name="connsiteX359" fmla="*/ 8083 w 10354"/>
                <a:gd name="connsiteY359" fmla="*/ 6487 h 10000"/>
                <a:gd name="connsiteX360" fmla="*/ 8097 w 10354"/>
                <a:gd name="connsiteY360" fmla="*/ 6487 h 10000"/>
                <a:gd name="connsiteX361" fmla="*/ 8101 w 10354"/>
                <a:gd name="connsiteY361" fmla="*/ 6462 h 10000"/>
                <a:gd name="connsiteX362" fmla="*/ 8115 w 10354"/>
                <a:gd name="connsiteY362" fmla="*/ 6462 h 10000"/>
                <a:gd name="connsiteX363" fmla="*/ 8129 w 10354"/>
                <a:gd name="connsiteY363" fmla="*/ 6462 h 10000"/>
                <a:gd name="connsiteX364" fmla="*/ 8157 w 10354"/>
                <a:gd name="connsiteY364" fmla="*/ 6496 h 10000"/>
                <a:gd name="connsiteX365" fmla="*/ 8157 w 10354"/>
                <a:gd name="connsiteY365" fmla="*/ 6521 h 10000"/>
                <a:gd name="connsiteX366" fmla="*/ 8180 w 10354"/>
                <a:gd name="connsiteY366" fmla="*/ 6530 h 10000"/>
                <a:gd name="connsiteX367" fmla="*/ 8180 w 10354"/>
                <a:gd name="connsiteY367" fmla="*/ 6547 h 10000"/>
                <a:gd name="connsiteX368" fmla="*/ 8171 w 10354"/>
                <a:gd name="connsiteY368" fmla="*/ 6556 h 10000"/>
                <a:gd name="connsiteX369" fmla="*/ 8129 w 10354"/>
                <a:gd name="connsiteY369" fmla="*/ 6556 h 10000"/>
                <a:gd name="connsiteX370" fmla="*/ 8106 w 10354"/>
                <a:gd name="connsiteY370" fmla="*/ 6573 h 10000"/>
                <a:gd name="connsiteX371" fmla="*/ 8115 w 10354"/>
                <a:gd name="connsiteY371" fmla="*/ 6581 h 10000"/>
                <a:gd name="connsiteX372" fmla="*/ 8129 w 10354"/>
                <a:gd name="connsiteY372" fmla="*/ 6632 h 10000"/>
                <a:gd name="connsiteX373" fmla="*/ 8171 w 10354"/>
                <a:gd name="connsiteY373" fmla="*/ 6632 h 10000"/>
                <a:gd name="connsiteX374" fmla="*/ 8180 w 10354"/>
                <a:gd name="connsiteY374" fmla="*/ 6624 h 10000"/>
                <a:gd name="connsiteX375" fmla="*/ 8189 w 10354"/>
                <a:gd name="connsiteY375" fmla="*/ 6598 h 10000"/>
                <a:gd name="connsiteX376" fmla="*/ 8203 w 10354"/>
                <a:gd name="connsiteY376" fmla="*/ 6581 h 10000"/>
                <a:gd name="connsiteX377" fmla="*/ 8207 w 10354"/>
                <a:gd name="connsiteY377" fmla="*/ 6607 h 10000"/>
                <a:gd name="connsiteX378" fmla="*/ 8221 w 10354"/>
                <a:gd name="connsiteY378" fmla="*/ 6624 h 10000"/>
                <a:gd name="connsiteX379" fmla="*/ 8235 w 10354"/>
                <a:gd name="connsiteY379" fmla="*/ 6607 h 10000"/>
                <a:gd name="connsiteX380" fmla="*/ 8240 w 10354"/>
                <a:gd name="connsiteY380" fmla="*/ 6581 h 10000"/>
                <a:gd name="connsiteX381" fmla="*/ 8253 w 10354"/>
                <a:gd name="connsiteY381" fmla="*/ 6573 h 10000"/>
                <a:gd name="connsiteX382" fmla="*/ 8263 w 10354"/>
                <a:gd name="connsiteY382" fmla="*/ 6556 h 10000"/>
                <a:gd name="connsiteX383" fmla="*/ 8276 w 10354"/>
                <a:gd name="connsiteY383" fmla="*/ 6547 h 10000"/>
                <a:gd name="connsiteX384" fmla="*/ 8290 w 10354"/>
                <a:gd name="connsiteY384" fmla="*/ 6556 h 10000"/>
                <a:gd name="connsiteX385" fmla="*/ 8304 w 10354"/>
                <a:gd name="connsiteY385" fmla="*/ 6581 h 10000"/>
                <a:gd name="connsiteX386" fmla="*/ 8309 w 10354"/>
                <a:gd name="connsiteY386" fmla="*/ 6581 h 10000"/>
                <a:gd name="connsiteX387" fmla="*/ 8327 w 10354"/>
                <a:gd name="connsiteY387" fmla="*/ 6573 h 10000"/>
                <a:gd name="connsiteX388" fmla="*/ 8327 w 10354"/>
                <a:gd name="connsiteY388" fmla="*/ 6556 h 10000"/>
                <a:gd name="connsiteX389" fmla="*/ 8350 w 10354"/>
                <a:gd name="connsiteY389" fmla="*/ 6556 h 10000"/>
                <a:gd name="connsiteX390" fmla="*/ 8355 w 10354"/>
                <a:gd name="connsiteY390" fmla="*/ 6573 h 10000"/>
                <a:gd name="connsiteX391" fmla="*/ 8364 w 10354"/>
                <a:gd name="connsiteY391" fmla="*/ 6556 h 10000"/>
                <a:gd name="connsiteX392" fmla="*/ 8369 w 10354"/>
                <a:gd name="connsiteY392" fmla="*/ 6556 h 10000"/>
                <a:gd name="connsiteX393" fmla="*/ 8378 w 10354"/>
                <a:gd name="connsiteY393" fmla="*/ 6530 h 10000"/>
                <a:gd name="connsiteX394" fmla="*/ 8369 w 10354"/>
                <a:gd name="connsiteY394" fmla="*/ 6504 h 10000"/>
                <a:gd name="connsiteX395" fmla="*/ 8364 w 10354"/>
                <a:gd name="connsiteY395" fmla="*/ 6496 h 10000"/>
                <a:gd name="connsiteX396" fmla="*/ 8336 w 10354"/>
                <a:gd name="connsiteY396" fmla="*/ 6470 h 10000"/>
                <a:gd name="connsiteX397" fmla="*/ 8309 w 10354"/>
                <a:gd name="connsiteY397" fmla="*/ 6487 h 10000"/>
                <a:gd name="connsiteX398" fmla="*/ 8313 w 10354"/>
                <a:gd name="connsiteY398" fmla="*/ 6462 h 10000"/>
                <a:gd name="connsiteX399" fmla="*/ 8323 w 10354"/>
                <a:gd name="connsiteY399" fmla="*/ 6444 h 10000"/>
                <a:gd name="connsiteX400" fmla="*/ 8309 w 10354"/>
                <a:gd name="connsiteY400" fmla="*/ 6393 h 10000"/>
                <a:gd name="connsiteX401" fmla="*/ 8313 w 10354"/>
                <a:gd name="connsiteY401" fmla="*/ 6385 h 10000"/>
                <a:gd name="connsiteX402" fmla="*/ 8323 w 10354"/>
                <a:gd name="connsiteY402" fmla="*/ 6393 h 10000"/>
                <a:gd name="connsiteX403" fmla="*/ 8323 w 10354"/>
                <a:gd name="connsiteY403" fmla="*/ 6393 h 10000"/>
                <a:gd name="connsiteX404" fmla="*/ 8355 w 10354"/>
                <a:gd name="connsiteY404" fmla="*/ 6282 h 10000"/>
                <a:gd name="connsiteX405" fmla="*/ 8369 w 10354"/>
                <a:gd name="connsiteY405" fmla="*/ 6256 h 10000"/>
                <a:gd name="connsiteX406" fmla="*/ 8382 w 10354"/>
                <a:gd name="connsiteY406" fmla="*/ 6248 h 10000"/>
                <a:gd name="connsiteX407" fmla="*/ 8424 w 10354"/>
                <a:gd name="connsiteY407" fmla="*/ 6162 h 10000"/>
                <a:gd name="connsiteX408" fmla="*/ 8429 w 10354"/>
                <a:gd name="connsiteY408" fmla="*/ 6145 h 10000"/>
                <a:gd name="connsiteX409" fmla="*/ 8470 w 10354"/>
                <a:gd name="connsiteY409" fmla="*/ 6051 h 10000"/>
                <a:gd name="connsiteX410" fmla="*/ 8475 w 10354"/>
                <a:gd name="connsiteY410" fmla="*/ 5983 h 10000"/>
                <a:gd name="connsiteX411" fmla="*/ 8512 w 10354"/>
                <a:gd name="connsiteY411" fmla="*/ 5940 h 10000"/>
                <a:gd name="connsiteX412" fmla="*/ 8521 w 10354"/>
                <a:gd name="connsiteY412" fmla="*/ 5923 h 10000"/>
                <a:gd name="connsiteX413" fmla="*/ 8535 w 10354"/>
                <a:gd name="connsiteY413" fmla="*/ 5915 h 10000"/>
                <a:gd name="connsiteX414" fmla="*/ 8562 w 10354"/>
                <a:gd name="connsiteY414" fmla="*/ 5915 h 10000"/>
                <a:gd name="connsiteX415" fmla="*/ 8618 w 10354"/>
                <a:gd name="connsiteY415" fmla="*/ 5889 h 10000"/>
                <a:gd name="connsiteX416" fmla="*/ 8622 w 10354"/>
                <a:gd name="connsiteY416" fmla="*/ 5889 h 10000"/>
                <a:gd name="connsiteX417" fmla="*/ 8622 w 10354"/>
                <a:gd name="connsiteY417" fmla="*/ 5872 h 10000"/>
                <a:gd name="connsiteX418" fmla="*/ 8636 w 10354"/>
                <a:gd name="connsiteY418" fmla="*/ 5872 h 10000"/>
                <a:gd name="connsiteX419" fmla="*/ 8650 w 10354"/>
                <a:gd name="connsiteY419" fmla="*/ 5889 h 10000"/>
                <a:gd name="connsiteX420" fmla="*/ 8659 w 10354"/>
                <a:gd name="connsiteY420" fmla="*/ 5915 h 10000"/>
                <a:gd name="connsiteX421" fmla="*/ 8664 w 10354"/>
                <a:gd name="connsiteY421" fmla="*/ 5940 h 10000"/>
                <a:gd name="connsiteX422" fmla="*/ 8682 w 10354"/>
                <a:gd name="connsiteY422" fmla="*/ 5923 h 10000"/>
                <a:gd name="connsiteX423" fmla="*/ 8719 w 10354"/>
                <a:gd name="connsiteY423" fmla="*/ 5863 h 10000"/>
                <a:gd name="connsiteX424" fmla="*/ 8705 w 10354"/>
                <a:gd name="connsiteY424" fmla="*/ 5966 h 10000"/>
                <a:gd name="connsiteX425" fmla="*/ 8696 w 10354"/>
                <a:gd name="connsiteY425" fmla="*/ 5983 h 10000"/>
                <a:gd name="connsiteX426" fmla="*/ 8682 w 10354"/>
                <a:gd name="connsiteY426" fmla="*/ 6026 h 10000"/>
                <a:gd name="connsiteX427" fmla="*/ 8682 w 10354"/>
                <a:gd name="connsiteY427" fmla="*/ 6051 h 10000"/>
                <a:gd name="connsiteX428" fmla="*/ 8691 w 10354"/>
                <a:gd name="connsiteY428" fmla="*/ 6077 h 10000"/>
                <a:gd name="connsiteX429" fmla="*/ 8691 w 10354"/>
                <a:gd name="connsiteY429" fmla="*/ 6085 h 10000"/>
                <a:gd name="connsiteX430" fmla="*/ 8682 w 10354"/>
                <a:gd name="connsiteY430" fmla="*/ 6103 h 10000"/>
                <a:gd name="connsiteX431" fmla="*/ 8682 w 10354"/>
                <a:gd name="connsiteY431" fmla="*/ 6111 h 10000"/>
                <a:gd name="connsiteX432" fmla="*/ 8691 w 10354"/>
                <a:gd name="connsiteY432" fmla="*/ 6120 h 10000"/>
                <a:gd name="connsiteX433" fmla="*/ 8719 w 10354"/>
                <a:gd name="connsiteY433" fmla="*/ 6103 h 10000"/>
                <a:gd name="connsiteX434" fmla="*/ 8705 w 10354"/>
                <a:gd name="connsiteY434" fmla="*/ 6188 h 10000"/>
                <a:gd name="connsiteX435" fmla="*/ 8705 w 10354"/>
                <a:gd name="connsiteY435" fmla="*/ 6214 h 10000"/>
                <a:gd name="connsiteX436" fmla="*/ 8710 w 10354"/>
                <a:gd name="connsiteY436" fmla="*/ 6197 h 10000"/>
                <a:gd name="connsiteX437" fmla="*/ 8728 w 10354"/>
                <a:gd name="connsiteY437" fmla="*/ 6171 h 10000"/>
                <a:gd name="connsiteX438" fmla="*/ 8737 w 10354"/>
                <a:gd name="connsiteY438" fmla="*/ 6171 h 10000"/>
                <a:gd name="connsiteX439" fmla="*/ 8843 w 10354"/>
                <a:gd name="connsiteY439" fmla="*/ 5949 h 10000"/>
                <a:gd name="connsiteX440" fmla="*/ 8866 w 10354"/>
                <a:gd name="connsiteY440" fmla="*/ 5949 h 10000"/>
                <a:gd name="connsiteX441" fmla="*/ 8871 w 10354"/>
                <a:gd name="connsiteY441" fmla="*/ 5940 h 10000"/>
                <a:gd name="connsiteX442" fmla="*/ 8876 w 10354"/>
                <a:gd name="connsiteY442" fmla="*/ 5923 h 10000"/>
                <a:gd name="connsiteX443" fmla="*/ 8885 w 10354"/>
                <a:gd name="connsiteY443" fmla="*/ 5940 h 10000"/>
                <a:gd name="connsiteX444" fmla="*/ 8885 w 10354"/>
                <a:gd name="connsiteY444" fmla="*/ 5949 h 10000"/>
                <a:gd name="connsiteX445" fmla="*/ 8885 w 10354"/>
                <a:gd name="connsiteY445" fmla="*/ 5974 h 10000"/>
                <a:gd name="connsiteX446" fmla="*/ 8889 w 10354"/>
                <a:gd name="connsiteY446" fmla="*/ 5974 h 10000"/>
                <a:gd name="connsiteX447" fmla="*/ 8903 w 10354"/>
                <a:gd name="connsiteY447" fmla="*/ 5923 h 10000"/>
                <a:gd name="connsiteX448" fmla="*/ 8889 w 10354"/>
                <a:gd name="connsiteY448" fmla="*/ 5923 h 10000"/>
                <a:gd name="connsiteX449" fmla="*/ 8889 w 10354"/>
                <a:gd name="connsiteY449" fmla="*/ 5897 h 10000"/>
                <a:gd name="connsiteX450" fmla="*/ 8899 w 10354"/>
                <a:gd name="connsiteY450" fmla="*/ 5838 h 10000"/>
                <a:gd name="connsiteX451" fmla="*/ 8889 w 10354"/>
                <a:gd name="connsiteY451" fmla="*/ 5812 h 10000"/>
                <a:gd name="connsiteX452" fmla="*/ 8903 w 10354"/>
                <a:gd name="connsiteY452" fmla="*/ 5778 h 10000"/>
                <a:gd name="connsiteX453" fmla="*/ 8903 w 10354"/>
                <a:gd name="connsiteY453" fmla="*/ 5761 h 10000"/>
                <a:gd name="connsiteX454" fmla="*/ 8912 w 10354"/>
                <a:gd name="connsiteY454" fmla="*/ 5735 h 10000"/>
                <a:gd name="connsiteX455" fmla="*/ 8931 w 10354"/>
                <a:gd name="connsiteY455" fmla="*/ 5701 h 10000"/>
                <a:gd name="connsiteX456" fmla="*/ 8977 w 10354"/>
                <a:gd name="connsiteY456" fmla="*/ 5675 h 10000"/>
                <a:gd name="connsiteX457" fmla="*/ 9000 w 10354"/>
                <a:gd name="connsiteY457" fmla="*/ 5675 h 10000"/>
                <a:gd name="connsiteX458" fmla="*/ 9018 w 10354"/>
                <a:gd name="connsiteY458" fmla="*/ 5709 h 10000"/>
                <a:gd name="connsiteX459" fmla="*/ 9009 w 10354"/>
                <a:gd name="connsiteY459" fmla="*/ 5735 h 10000"/>
                <a:gd name="connsiteX460" fmla="*/ 9000 w 10354"/>
                <a:gd name="connsiteY460" fmla="*/ 5735 h 10000"/>
                <a:gd name="connsiteX461" fmla="*/ 8963 w 10354"/>
                <a:gd name="connsiteY461" fmla="*/ 5786 h 10000"/>
                <a:gd name="connsiteX462" fmla="*/ 8949 w 10354"/>
                <a:gd name="connsiteY462" fmla="*/ 5940 h 10000"/>
                <a:gd name="connsiteX463" fmla="*/ 8945 w 10354"/>
                <a:gd name="connsiteY463" fmla="*/ 5966 h 10000"/>
                <a:gd name="connsiteX464" fmla="*/ 8945 w 10354"/>
                <a:gd name="connsiteY464" fmla="*/ 6000 h 10000"/>
                <a:gd name="connsiteX465" fmla="*/ 8945 w 10354"/>
                <a:gd name="connsiteY465" fmla="*/ 6009 h 10000"/>
                <a:gd name="connsiteX466" fmla="*/ 8945 w 10354"/>
                <a:gd name="connsiteY466" fmla="*/ 6034 h 10000"/>
                <a:gd name="connsiteX467" fmla="*/ 8931 w 10354"/>
                <a:gd name="connsiteY467" fmla="*/ 6060 h 10000"/>
                <a:gd name="connsiteX468" fmla="*/ 8926 w 10354"/>
                <a:gd name="connsiteY468" fmla="*/ 6077 h 10000"/>
                <a:gd name="connsiteX469" fmla="*/ 8926 w 10354"/>
                <a:gd name="connsiteY469" fmla="*/ 6111 h 10000"/>
                <a:gd name="connsiteX470" fmla="*/ 8931 w 10354"/>
                <a:gd name="connsiteY470" fmla="*/ 6120 h 10000"/>
                <a:gd name="connsiteX471" fmla="*/ 8931 w 10354"/>
                <a:gd name="connsiteY471" fmla="*/ 6137 h 10000"/>
                <a:gd name="connsiteX472" fmla="*/ 8912 w 10354"/>
                <a:gd name="connsiteY472" fmla="*/ 6171 h 10000"/>
                <a:gd name="connsiteX473" fmla="*/ 8899 w 10354"/>
                <a:gd name="connsiteY473" fmla="*/ 6162 h 10000"/>
                <a:gd name="connsiteX474" fmla="*/ 8885 w 10354"/>
                <a:gd name="connsiteY474" fmla="*/ 6171 h 10000"/>
                <a:gd name="connsiteX475" fmla="*/ 8866 w 10354"/>
                <a:gd name="connsiteY475" fmla="*/ 6214 h 10000"/>
                <a:gd name="connsiteX476" fmla="*/ 8853 w 10354"/>
                <a:gd name="connsiteY476" fmla="*/ 6214 h 10000"/>
                <a:gd name="connsiteX477" fmla="*/ 8816 w 10354"/>
                <a:gd name="connsiteY477" fmla="*/ 6248 h 10000"/>
                <a:gd name="connsiteX478" fmla="*/ 8816 w 10354"/>
                <a:gd name="connsiteY478" fmla="*/ 6248 h 10000"/>
                <a:gd name="connsiteX479" fmla="*/ 8816 w 10354"/>
                <a:gd name="connsiteY479" fmla="*/ 6282 h 10000"/>
                <a:gd name="connsiteX480" fmla="*/ 8811 w 10354"/>
                <a:gd name="connsiteY480" fmla="*/ 6308 h 10000"/>
                <a:gd name="connsiteX481" fmla="*/ 8751 w 10354"/>
                <a:gd name="connsiteY481" fmla="*/ 6436 h 10000"/>
                <a:gd name="connsiteX482" fmla="*/ 8724 w 10354"/>
                <a:gd name="connsiteY482" fmla="*/ 6470 h 10000"/>
                <a:gd name="connsiteX483" fmla="*/ 8710 w 10354"/>
                <a:gd name="connsiteY483" fmla="*/ 6504 h 10000"/>
                <a:gd name="connsiteX484" fmla="*/ 8705 w 10354"/>
                <a:gd name="connsiteY484" fmla="*/ 6521 h 10000"/>
                <a:gd name="connsiteX485" fmla="*/ 8677 w 10354"/>
                <a:gd name="connsiteY485" fmla="*/ 6573 h 10000"/>
                <a:gd name="connsiteX486" fmla="*/ 8677 w 10354"/>
                <a:gd name="connsiteY486" fmla="*/ 6624 h 10000"/>
                <a:gd name="connsiteX487" fmla="*/ 8590 w 10354"/>
                <a:gd name="connsiteY487" fmla="*/ 6803 h 10000"/>
                <a:gd name="connsiteX488" fmla="*/ 8562 w 10354"/>
                <a:gd name="connsiteY488" fmla="*/ 6829 h 10000"/>
                <a:gd name="connsiteX489" fmla="*/ 8544 w 10354"/>
                <a:gd name="connsiteY489" fmla="*/ 6829 h 10000"/>
                <a:gd name="connsiteX490" fmla="*/ 8521 w 10354"/>
                <a:gd name="connsiteY490" fmla="*/ 6880 h 10000"/>
                <a:gd name="connsiteX491" fmla="*/ 8498 w 10354"/>
                <a:gd name="connsiteY491" fmla="*/ 6872 h 10000"/>
                <a:gd name="connsiteX492" fmla="*/ 8488 w 10354"/>
                <a:gd name="connsiteY492" fmla="*/ 6872 h 10000"/>
                <a:gd name="connsiteX493" fmla="*/ 8498 w 10354"/>
                <a:gd name="connsiteY493" fmla="*/ 6940 h 10000"/>
                <a:gd name="connsiteX494" fmla="*/ 8484 w 10354"/>
                <a:gd name="connsiteY494" fmla="*/ 7026 h 10000"/>
                <a:gd name="connsiteX495" fmla="*/ 8429 w 10354"/>
                <a:gd name="connsiteY495" fmla="*/ 7094 h 10000"/>
                <a:gd name="connsiteX496" fmla="*/ 8401 w 10354"/>
                <a:gd name="connsiteY496" fmla="*/ 7291 h 10000"/>
                <a:gd name="connsiteX497" fmla="*/ 8424 w 10354"/>
                <a:gd name="connsiteY497" fmla="*/ 7692 h 10000"/>
                <a:gd name="connsiteX498" fmla="*/ 8424 w 10354"/>
                <a:gd name="connsiteY498" fmla="*/ 7701 h 10000"/>
                <a:gd name="connsiteX499" fmla="*/ 8484 w 10354"/>
                <a:gd name="connsiteY499" fmla="*/ 8308 h 10000"/>
                <a:gd name="connsiteX500" fmla="*/ 8576 w 10354"/>
                <a:gd name="connsiteY500" fmla="*/ 8120 h 10000"/>
                <a:gd name="connsiteX501" fmla="*/ 8590 w 10354"/>
                <a:gd name="connsiteY501" fmla="*/ 8026 h 10000"/>
                <a:gd name="connsiteX502" fmla="*/ 8590 w 10354"/>
                <a:gd name="connsiteY502" fmla="*/ 7983 h 10000"/>
                <a:gd name="connsiteX503" fmla="*/ 8594 w 10354"/>
                <a:gd name="connsiteY503" fmla="*/ 7974 h 10000"/>
                <a:gd name="connsiteX504" fmla="*/ 8594 w 10354"/>
                <a:gd name="connsiteY504" fmla="*/ 7940 h 10000"/>
                <a:gd name="connsiteX505" fmla="*/ 8594 w 10354"/>
                <a:gd name="connsiteY505" fmla="*/ 7923 h 10000"/>
                <a:gd name="connsiteX506" fmla="*/ 8594 w 10354"/>
                <a:gd name="connsiteY506" fmla="*/ 7915 h 10000"/>
                <a:gd name="connsiteX507" fmla="*/ 8604 w 10354"/>
                <a:gd name="connsiteY507" fmla="*/ 7915 h 10000"/>
                <a:gd name="connsiteX508" fmla="*/ 8608 w 10354"/>
                <a:gd name="connsiteY508" fmla="*/ 7923 h 10000"/>
                <a:gd name="connsiteX509" fmla="*/ 8645 w 10354"/>
                <a:gd name="connsiteY509" fmla="*/ 7872 h 10000"/>
                <a:gd name="connsiteX510" fmla="*/ 8668 w 10354"/>
                <a:gd name="connsiteY510" fmla="*/ 7846 h 10000"/>
                <a:gd name="connsiteX511" fmla="*/ 8691 w 10354"/>
                <a:gd name="connsiteY511" fmla="*/ 7863 h 10000"/>
                <a:gd name="connsiteX512" fmla="*/ 8691 w 10354"/>
                <a:gd name="connsiteY512" fmla="*/ 7846 h 10000"/>
                <a:gd name="connsiteX513" fmla="*/ 8682 w 10354"/>
                <a:gd name="connsiteY513" fmla="*/ 7838 h 10000"/>
                <a:gd name="connsiteX514" fmla="*/ 8682 w 10354"/>
                <a:gd name="connsiteY514" fmla="*/ 7692 h 10000"/>
                <a:gd name="connsiteX515" fmla="*/ 8728 w 10354"/>
                <a:gd name="connsiteY515" fmla="*/ 7598 h 10000"/>
                <a:gd name="connsiteX516" fmla="*/ 8751 w 10354"/>
                <a:gd name="connsiteY516" fmla="*/ 7573 h 10000"/>
                <a:gd name="connsiteX517" fmla="*/ 8770 w 10354"/>
                <a:gd name="connsiteY517" fmla="*/ 7573 h 10000"/>
                <a:gd name="connsiteX518" fmla="*/ 8779 w 10354"/>
                <a:gd name="connsiteY518" fmla="*/ 7590 h 10000"/>
                <a:gd name="connsiteX519" fmla="*/ 8793 w 10354"/>
                <a:gd name="connsiteY519" fmla="*/ 7590 h 10000"/>
                <a:gd name="connsiteX520" fmla="*/ 8811 w 10354"/>
                <a:gd name="connsiteY520" fmla="*/ 7590 h 10000"/>
                <a:gd name="connsiteX521" fmla="*/ 8825 w 10354"/>
                <a:gd name="connsiteY521" fmla="*/ 7556 h 10000"/>
                <a:gd name="connsiteX522" fmla="*/ 8829 w 10354"/>
                <a:gd name="connsiteY522" fmla="*/ 7530 h 10000"/>
                <a:gd name="connsiteX523" fmla="*/ 8802 w 10354"/>
                <a:gd name="connsiteY523" fmla="*/ 7462 h 10000"/>
                <a:gd name="connsiteX524" fmla="*/ 8797 w 10354"/>
                <a:gd name="connsiteY524" fmla="*/ 7402 h 10000"/>
                <a:gd name="connsiteX525" fmla="*/ 8816 w 10354"/>
                <a:gd name="connsiteY525" fmla="*/ 7291 h 10000"/>
                <a:gd name="connsiteX526" fmla="*/ 8825 w 10354"/>
                <a:gd name="connsiteY526" fmla="*/ 7256 h 10000"/>
                <a:gd name="connsiteX527" fmla="*/ 8843 w 10354"/>
                <a:gd name="connsiteY527" fmla="*/ 7231 h 10000"/>
                <a:gd name="connsiteX528" fmla="*/ 8839 w 10354"/>
                <a:gd name="connsiteY528" fmla="*/ 7205 h 10000"/>
                <a:gd name="connsiteX529" fmla="*/ 8839 w 10354"/>
                <a:gd name="connsiteY529" fmla="*/ 7188 h 10000"/>
                <a:gd name="connsiteX530" fmla="*/ 8876 w 10354"/>
                <a:gd name="connsiteY530" fmla="*/ 7162 h 10000"/>
                <a:gd name="connsiteX531" fmla="*/ 8885 w 10354"/>
                <a:gd name="connsiteY531" fmla="*/ 7154 h 10000"/>
                <a:gd name="connsiteX532" fmla="*/ 8885 w 10354"/>
                <a:gd name="connsiteY532" fmla="*/ 7162 h 10000"/>
                <a:gd name="connsiteX533" fmla="*/ 8876 w 10354"/>
                <a:gd name="connsiteY533" fmla="*/ 7188 h 10000"/>
                <a:gd name="connsiteX534" fmla="*/ 8871 w 10354"/>
                <a:gd name="connsiteY534" fmla="*/ 7205 h 10000"/>
                <a:gd name="connsiteX535" fmla="*/ 8866 w 10354"/>
                <a:gd name="connsiteY535" fmla="*/ 7214 h 10000"/>
                <a:gd name="connsiteX536" fmla="*/ 8876 w 10354"/>
                <a:gd name="connsiteY536" fmla="*/ 7265 h 10000"/>
                <a:gd name="connsiteX537" fmla="*/ 8885 w 10354"/>
                <a:gd name="connsiteY537" fmla="*/ 7282 h 10000"/>
                <a:gd name="connsiteX538" fmla="*/ 8889 w 10354"/>
                <a:gd name="connsiteY538" fmla="*/ 7282 h 10000"/>
                <a:gd name="connsiteX539" fmla="*/ 8903 w 10354"/>
                <a:gd name="connsiteY539" fmla="*/ 7239 h 10000"/>
                <a:gd name="connsiteX540" fmla="*/ 8903 w 10354"/>
                <a:gd name="connsiteY540" fmla="*/ 7214 h 10000"/>
                <a:gd name="connsiteX541" fmla="*/ 8899 w 10354"/>
                <a:gd name="connsiteY541" fmla="*/ 7128 h 10000"/>
                <a:gd name="connsiteX542" fmla="*/ 8889 w 10354"/>
                <a:gd name="connsiteY542" fmla="*/ 7120 h 10000"/>
                <a:gd name="connsiteX543" fmla="*/ 8871 w 10354"/>
                <a:gd name="connsiteY543" fmla="*/ 7120 h 10000"/>
                <a:gd name="connsiteX544" fmla="*/ 8871 w 10354"/>
                <a:gd name="connsiteY544" fmla="*/ 7120 h 10000"/>
                <a:gd name="connsiteX545" fmla="*/ 8871 w 10354"/>
                <a:gd name="connsiteY545" fmla="*/ 6991 h 10000"/>
                <a:gd name="connsiteX546" fmla="*/ 8871 w 10354"/>
                <a:gd name="connsiteY546" fmla="*/ 6966 h 10000"/>
                <a:gd name="connsiteX547" fmla="*/ 8889 w 10354"/>
                <a:gd name="connsiteY547" fmla="*/ 6940 h 10000"/>
                <a:gd name="connsiteX548" fmla="*/ 8903 w 10354"/>
                <a:gd name="connsiteY548" fmla="*/ 6906 h 10000"/>
                <a:gd name="connsiteX549" fmla="*/ 8899 w 10354"/>
                <a:gd name="connsiteY549" fmla="*/ 6880 h 10000"/>
                <a:gd name="connsiteX550" fmla="*/ 8866 w 10354"/>
                <a:gd name="connsiteY550" fmla="*/ 6846 h 10000"/>
                <a:gd name="connsiteX551" fmla="*/ 8853 w 10354"/>
                <a:gd name="connsiteY551" fmla="*/ 6846 h 10000"/>
                <a:gd name="connsiteX552" fmla="*/ 8843 w 10354"/>
                <a:gd name="connsiteY552" fmla="*/ 6880 h 10000"/>
                <a:gd name="connsiteX553" fmla="*/ 8843 w 10354"/>
                <a:gd name="connsiteY553" fmla="*/ 6897 h 10000"/>
                <a:gd name="connsiteX554" fmla="*/ 8829 w 10354"/>
                <a:gd name="connsiteY554" fmla="*/ 6880 h 10000"/>
                <a:gd name="connsiteX555" fmla="*/ 8825 w 10354"/>
                <a:gd name="connsiteY555" fmla="*/ 6872 h 10000"/>
                <a:gd name="connsiteX556" fmla="*/ 8816 w 10354"/>
                <a:gd name="connsiteY556" fmla="*/ 6846 h 10000"/>
                <a:gd name="connsiteX557" fmla="*/ 8816 w 10354"/>
                <a:gd name="connsiteY557" fmla="*/ 6803 h 10000"/>
                <a:gd name="connsiteX558" fmla="*/ 8876 w 10354"/>
                <a:gd name="connsiteY558" fmla="*/ 6598 h 10000"/>
                <a:gd name="connsiteX559" fmla="*/ 8876 w 10354"/>
                <a:gd name="connsiteY559" fmla="*/ 6573 h 10000"/>
                <a:gd name="connsiteX560" fmla="*/ 8885 w 10354"/>
                <a:gd name="connsiteY560" fmla="*/ 6556 h 10000"/>
                <a:gd name="connsiteX561" fmla="*/ 8899 w 10354"/>
                <a:gd name="connsiteY561" fmla="*/ 6573 h 10000"/>
                <a:gd name="connsiteX562" fmla="*/ 8889 w 10354"/>
                <a:gd name="connsiteY562" fmla="*/ 6556 h 10000"/>
                <a:gd name="connsiteX563" fmla="*/ 8889 w 10354"/>
                <a:gd name="connsiteY563" fmla="*/ 6530 h 10000"/>
                <a:gd name="connsiteX564" fmla="*/ 8903 w 10354"/>
                <a:gd name="connsiteY564" fmla="*/ 6521 h 10000"/>
                <a:gd name="connsiteX565" fmla="*/ 8903 w 10354"/>
                <a:gd name="connsiteY565" fmla="*/ 6504 h 10000"/>
                <a:gd name="connsiteX566" fmla="*/ 8903 w 10354"/>
                <a:gd name="connsiteY566" fmla="*/ 6487 h 10000"/>
                <a:gd name="connsiteX567" fmla="*/ 8903 w 10354"/>
                <a:gd name="connsiteY567" fmla="*/ 6462 h 10000"/>
                <a:gd name="connsiteX568" fmla="*/ 8912 w 10354"/>
                <a:gd name="connsiteY568" fmla="*/ 6419 h 10000"/>
                <a:gd name="connsiteX569" fmla="*/ 8917 w 10354"/>
                <a:gd name="connsiteY569" fmla="*/ 6393 h 10000"/>
                <a:gd name="connsiteX570" fmla="*/ 8926 w 10354"/>
                <a:gd name="connsiteY570" fmla="*/ 6385 h 10000"/>
                <a:gd name="connsiteX571" fmla="*/ 8931 w 10354"/>
                <a:gd name="connsiteY571" fmla="*/ 6385 h 10000"/>
                <a:gd name="connsiteX572" fmla="*/ 8949 w 10354"/>
                <a:gd name="connsiteY572" fmla="*/ 6359 h 10000"/>
                <a:gd name="connsiteX573" fmla="*/ 8959 w 10354"/>
                <a:gd name="connsiteY573" fmla="*/ 6368 h 10000"/>
                <a:gd name="connsiteX574" fmla="*/ 8963 w 10354"/>
                <a:gd name="connsiteY574" fmla="*/ 6385 h 10000"/>
                <a:gd name="connsiteX575" fmla="*/ 8972 w 10354"/>
                <a:gd name="connsiteY575" fmla="*/ 6359 h 10000"/>
                <a:gd name="connsiteX576" fmla="*/ 8991 w 10354"/>
                <a:gd name="connsiteY576" fmla="*/ 6350 h 10000"/>
                <a:gd name="connsiteX577" fmla="*/ 9000 w 10354"/>
                <a:gd name="connsiteY577" fmla="*/ 6368 h 10000"/>
                <a:gd name="connsiteX578" fmla="*/ 9005 w 10354"/>
                <a:gd name="connsiteY578" fmla="*/ 6393 h 10000"/>
                <a:gd name="connsiteX579" fmla="*/ 9018 w 10354"/>
                <a:gd name="connsiteY579" fmla="*/ 6393 h 10000"/>
                <a:gd name="connsiteX580" fmla="*/ 9023 w 10354"/>
                <a:gd name="connsiteY580" fmla="*/ 6359 h 10000"/>
                <a:gd name="connsiteX581" fmla="*/ 9023 w 10354"/>
                <a:gd name="connsiteY581" fmla="*/ 6333 h 10000"/>
                <a:gd name="connsiteX582" fmla="*/ 9037 w 10354"/>
                <a:gd name="connsiteY582" fmla="*/ 6308 h 10000"/>
                <a:gd name="connsiteX583" fmla="*/ 9074 w 10354"/>
                <a:gd name="connsiteY583" fmla="*/ 6274 h 10000"/>
                <a:gd name="connsiteX584" fmla="*/ 9092 w 10354"/>
                <a:gd name="connsiteY584" fmla="*/ 6222 h 10000"/>
                <a:gd name="connsiteX585" fmla="*/ 9097 w 10354"/>
                <a:gd name="connsiteY585" fmla="*/ 6231 h 10000"/>
                <a:gd name="connsiteX586" fmla="*/ 9097 w 10354"/>
                <a:gd name="connsiteY586" fmla="*/ 6248 h 10000"/>
                <a:gd name="connsiteX587" fmla="*/ 9097 w 10354"/>
                <a:gd name="connsiteY587" fmla="*/ 6274 h 10000"/>
                <a:gd name="connsiteX588" fmla="*/ 9097 w 10354"/>
                <a:gd name="connsiteY588" fmla="*/ 6308 h 10000"/>
                <a:gd name="connsiteX589" fmla="*/ 9092 w 10354"/>
                <a:gd name="connsiteY589" fmla="*/ 6368 h 10000"/>
                <a:gd name="connsiteX590" fmla="*/ 9092 w 10354"/>
                <a:gd name="connsiteY590" fmla="*/ 6385 h 10000"/>
                <a:gd name="connsiteX591" fmla="*/ 9092 w 10354"/>
                <a:gd name="connsiteY591" fmla="*/ 6393 h 10000"/>
                <a:gd name="connsiteX592" fmla="*/ 9092 w 10354"/>
                <a:gd name="connsiteY592" fmla="*/ 6393 h 10000"/>
                <a:gd name="connsiteX593" fmla="*/ 9143 w 10354"/>
                <a:gd name="connsiteY593" fmla="*/ 6299 h 10000"/>
                <a:gd name="connsiteX594" fmla="*/ 9143 w 10354"/>
                <a:gd name="connsiteY594" fmla="*/ 6282 h 10000"/>
                <a:gd name="connsiteX595" fmla="*/ 9143 w 10354"/>
                <a:gd name="connsiteY595" fmla="*/ 6256 h 10000"/>
                <a:gd name="connsiteX596" fmla="*/ 9143 w 10354"/>
                <a:gd name="connsiteY596" fmla="*/ 6256 h 10000"/>
                <a:gd name="connsiteX597" fmla="*/ 9157 w 10354"/>
                <a:gd name="connsiteY597" fmla="*/ 6274 h 10000"/>
                <a:gd name="connsiteX598" fmla="*/ 9166 w 10354"/>
                <a:gd name="connsiteY598" fmla="*/ 6248 h 10000"/>
                <a:gd name="connsiteX599" fmla="*/ 9180 w 10354"/>
                <a:gd name="connsiteY599" fmla="*/ 6248 h 10000"/>
                <a:gd name="connsiteX600" fmla="*/ 9198 w 10354"/>
                <a:gd name="connsiteY600" fmla="*/ 6222 h 10000"/>
                <a:gd name="connsiteX601" fmla="*/ 9212 w 10354"/>
                <a:gd name="connsiteY601" fmla="*/ 6222 h 10000"/>
                <a:gd name="connsiteX602" fmla="*/ 9226 w 10354"/>
                <a:gd name="connsiteY602" fmla="*/ 6197 h 10000"/>
                <a:gd name="connsiteX603" fmla="*/ 9230 w 10354"/>
                <a:gd name="connsiteY603" fmla="*/ 6214 h 10000"/>
                <a:gd name="connsiteX604" fmla="*/ 9272 w 10354"/>
                <a:gd name="connsiteY604" fmla="*/ 6214 h 10000"/>
                <a:gd name="connsiteX605" fmla="*/ 9304 w 10354"/>
                <a:gd name="connsiteY605" fmla="*/ 6231 h 10000"/>
                <a:gd name="connsiteX606" fmla="*/ 9318 w 10354"/>
                <a:gd name="connsiteY606" fmla="*/ 6248 h 10000"/>
                <a:gd name="connsiteX607" fmla="*/ 9327 w 10354"/>
                <a:gd name="connsiteY607" fmla="*/ 6282 h 10000"/>
                <a:gd name="connsiteX608" fmla="*/ 9355 w 10354"/>
                <a:gd name="connsiteY608" fmla="*/ 6350 h 10000"/>
                <a:gd name="connsiteX609" fmla="*/ 9355 w 10354"/>
                <a:gd name="connsiteY609" fmla="*/ 6359 h 10000"/>
                <a:gd name="connsiteX610" fmla="*/ 9364 w 10354"/>
                <a:gd name="connsiteY610" fmla="*/ 6368 h 10000"/>
                <a:gd name="connsiteX611" fmla="*/ 9373 w 10354"/>
                <a:gd name="connsiteY611" fmla="*/ 6359 h 10000"/>
                <a:gd name="connsiteX612" fmla="*/ 9373 w 10354"/>
                <a:gd name="connsiteY612" fmla="*/ 6325 h 10000"/>
                <a:gd name="connsiteX613" fmla="*/ 9387 w 10354"/>
                <a:gd name="connsiteY613" fmla="*/ 6256 h 10000"/>
                <a:gd name="connsiteX614" fmla="*/ 9387 w 10354"/>
                <a:gd name="connsiteY614" fmla="*/ 6248 h 10000"/>
                <a:gd name="connsiteX615" fmla="*/ 9378 w 10354"/>
                <a:gd name="connsiteY615" fmla="*/ 6248 h 10000"/>
                <a:gd name="connsiteX616" fmla="*/ 9406 w 10354"/>
                <a:gd name="connsiteY616" fmla="*/ 6222 h 10000"/>
                <a:gd name="connsiteX617" fmla="*/ 9415 w 10354"/>
                <a:gd name="connsiteY617" fmla="*/ 6222 h 10000"/>
                <a:gd name="connsiteX618" fmla="*/ 9415 w 10354"/>
                <a:gd name="connsiteY618" fmla="*/ 6197 h 10000"/>
                <a:gd name="connsiteX619" fmla="*/ 9419 w 10354"/>
                <a:gd name="connsiteY619" fmla="*/ 6214 h 10000"/>
                <a:gd name="connsiteX620" fmla="*/ 9424 w 10354"/>
                <a:gd name="connsiteY620" fmla="*/ 6214 h 10000"/>
                <a:gd name="connsiteX621" fmla="*/ 9447 w 10354"/>
                <a:gd name="connsiteY621" fmla="*/ 6171 h 10000"/>
                <a:gd name="connsiteX622" fmla="*/ 9452 w 10354"/>
                <a:gd name="connsiteY622" fmla="*/ 6171 h 10000"/>
                <a:gd name="connsiteX623" fmla="*/ 9452 w 10354"/>
                <a:gd name="connsiteY623" fmla="*/ 6162 h 10000"/>
                <a:gd name="connsiteX624" fmla="*/ 9461 w 10354"/>
                <a:gd name="connsiteY624" fmla="*/ 6137 h 10000"/>
                <a:gd name="connsiteX625" fmla="*/ 9475 w 10354"/>
                <a:gd name="connsiteY625" fmla="*/ 6137 h 10000"/>
                <a:gd name="connsiteX626" fmla="*/ 9475 w 10354"/>
                <a:gd name="connsiteY626" fmla="*/ 6137 h 10000"/>
                <a:gd name="connsiteX627" fmla="*/ 9479 w 10354"/>
                <a:gd name="connsiteY627" fmla="*/ 6120 h 10000"/>
                <a:gd name="connsiteX628" fmla="*/ 9488 w 10354"/>
                <a:gd name="connsiteY628" fmla="*/ 6120 h 10000"/>
                <a:gd name="connsiteX629" fmla="*/ 9488 w 10354"/>
                <a:gd name="connsiteY629" fmla="*/ 6111 h 10000"/>
                <a:gd name="connsiteX630" fmla="*/ 9479 w 10354"/>
                <a:gd name="connsiteY630" fmla="*/ 6103 h 10000"/>
                <a:gd name="connsiteX631" fmla="*/ 9479 w 10354"/>
                <a:gd name="connsiteY631" fmla="*/ 6085 h 10000"/>
                <a:gd name="connsiteX632" fmla="*/ 9488 w 10354"/>
                <a:gd name="connsiteY632" fmla="*/ 6103 h 10000"/>
                <a:gd name="connsiteX633" fmla="*/ 9493 w 10354"/>
                <a:gd name="connsiteY633" fmla="*/ 6111 h 10000"/>
                <a:gd name="connsiteX634" fmla="*/ 9498 w 10354"/>
                <a:gd name="connsiteY634" fmla="*/ 6103 h 10000"/>
                <a:gd name="connsiteX635" fmla="*/ 9507 w 10354"/>
                <a:gd name="connsiteY635" fmla="*/ 6077 h 10000"/>
                <a:gd name="connsiteX636" fmla="*/ 9498 w 10354"/>
                <a:gd name="connsiteY636" fmla="*/ 6060 h 10000"/>
                <a:gd name="connsiteX637" fmla="*/ 9512 w 10354"/>
                <a:gd name="connsiteY637" fmla="*/ 6060 h 10000"/>
                <a:gd name="connsiteX638" fmla="*/ 9525 w 10354"/>
                <a:gd name="connsiteY638" fmla="*/ 6034 h 10000"/>
                <a:gd name="connsiteX639" fmla="*/ 9535 w 10354"/>
                <a:gd name="connsiteY639" fmla="*/ 6034 h 10000"/>
                <a:gd name="connsiteX640" fmla="*/ 9535 w 10354"/>
                <a:gd name="connsiteY640" fmla="*/ 6026 h 10000"/>
                <a:gd name="connsiteX641" fmla="*/ 9525 w 10354"/>
                <a:gd name="connsiteY641" fmla="*/ 6009 h 10000"/>
                <a:gd name="connsiteX642" fmla="*/ 9535 w 10354"/>
                <a:gd name="connsiteY642" fmla="*/ 6000 h 10000"/>
                <a:gd name="connsiteX643" fmla="*/ 9539 w 10354"/>
                <a:gd name="connsiteY643" fmla="*/ 6009 h 10000"/>
                <a:gd name="connsiteX644" fmla="*/ 9548 w 10354"/>
                <a:gd name="connsiteY644" fmla="*/ 6009 h 10000"/>
                <a:gd name="connsiteX645" fmla="*/ 9553 w 10354"/>
                <a:gd name="connsiteY645" fmla="*/ 6000 h 10000"/>
                <a:gd name="connsiteX646" fmla="*/ 9562 w 10354"/>
                <a:gd name="connsiteY646" fmla="*/ 5983 h 10000"/>
                <a:gd name="connsiteX647" fmla="*/ 9562 w 10354"/>
                <a:gd name="connsiteY647" fmla="*/ 5974 h 10000"/>
                <a:gd name="connsiteX648" fmla="*/ 9567 w 10354"/>
                <a:gd name="connsiteY648" fmla="*/ 5974 h 10000"/>
                <a:gd name="connsiteX649" fmla="*/ 9567 w 10354"/>
                <a:gd name="connsiteY649" fmla="*/ 5966 h 10000"/>
                <a:gd name="connsiteX650" fmla="*/ 9567 w 10354"/>
                <a:gd name="connsiteY650" fmla="*/ 5940 h 10000"/>
                <a:gd name="connsiteX651" fmla="*/ 9571 w 10354"/>
                <a:gd name="connsiteY651" fmla="*/ 5915 h 10000"/>
                <a:gd name="connsiteX652" fmla="*/ 9581 w 10354"/>
                <a:gd name="connsiteY652" fmla="*/ 5923 h 10000"/>
                <a:gd name="connsiteX653" fmla="*/ 9585 w 10354"/>
                <a:gd name="connsiteY653" fmla="*/ 5940 h 10000"/>
                <a:gd name="connsiteX654" fmla="*/ 9594 w 10354"/>
                <a:gd name="connsiteY654" fmla="*/ 5949 h 10000"/>
                <a:gd name="connsiteX655" fmla="*/ 9599 w 10354"/>
                <a:gd name="connsiteY655" fmla="*/ 5940 h 10000"/>
                <a:gd name="connsiteX656" fmla="*/ 9613 w 10354"/>
                <a:gd name="connsiteY656" fmla="*/ 5915 h 10000"/>
                <a:gd name="connsiteX657" fmla="*/ 9645 w 10354"/>
                <a:gd name="connsiteY657" fmla="*/ 5889 h 10000"/>
                <a:gd name="connsiteX658" fmla="*/ 9654 w 10354"/>
                <a:gd name="connsiteY658" fmla="*/ 5872 h 10000"/>
                <a:gd name="connsiteX659" fmla="*/ 9673 w 10354"/>
                <a:gd name="connsiteY659" fmla="*/ 5863 h 10000"/>
                <a:gd name="connsiteX660" fmla="*/ 9682 w 10354"/>
                <a:gd name="connsiteY660" fmla="*/ 5838 h 10000"/>
                <a:gd name="connsiteX661" fmla="*/ 9682 w 10354"/>
                <a:gd name="connsiteY661" fmla="*/ 5829 h 10000"/>
                <a:gd name="connsiteX662" fmla="*/ 9682 w 10354"/>
                <a:gd name="connsiteY662" fmla="*/ 5812 h 10000"/>
                <a:gd name="connsiteX663" fmla="*/ 9687 w 10354"/>
                <a:gd name="connsiteY663" fmla="*/ 5812 h 10000"/>
                <a:gd name="connsiteX664" fmla="*/ 9687 w 10354"/>
                <a:gd name="connsiteY664" fmla="*/ 5829 h 10000"/>
                <a:gd name="connsiteX665" fmla="*/ 9687 w 10354"/>
                <a:gd name="connsiteY665" fmla="*/ 5829 h 10000"/>
                <a:gd name="connsiteX666" fmla="*/ 9719 w 10354"/>
                <a:gd name="connsiteY666" fmla="*/ 5803 h 10000"/>
                <a:gd name="connsiteX667" fmla="*/ 9728 w 10354"/>
                <a:gd name="connsiteY667" fmla="*/ 5803 h 10000"/>
                <a:gd name="connsiteX668" fmla="*/ 9779 w 10354"/>
                <a:gd name="connsiteY668" fmla="*/ 5726 h 10000"/>
                <a:gd name="connsiteX669" fmla="*/ 9816 w 10354"/>
                <a:gd name="connsiteY669" fmla="*/ 5709 h 10000"/>
                <a:gd name="connsiteX670" fmla="*/ 9820 w 10354"/>
                <a:gd name="connsiteY670" fmla="*/ 5701 h 10000"/>
                <a:gd name="connsiteX671" fmla="*/ 9816 w 10354"/>
                <a:gd name="connsiteY671" fmla="*/ 5692 h 10000"/>
                <a:gd name="connsiteX672" fmla="*/ 9816 w 10354"/>
                <a:gd name="connsiteY672" fmla="*/ 5692 h 10000"/>
                <a:gd name="connsiteX673" fmla="*/ 9802 w 10354"/>
                <a:gd name="connsiteY673" fmla="*/ 5624 h 10000"/>
                <a:gd name="connsiteX674" fmla="*/ 9806 w 10354"/>
                <a:gd name="connsiteY674" fmla="*/ 5624 h 10000"/>
                <a:gd name="connsiteX675" fmla="*/ 9820 w 10354"/>
                <a:gd name="connsiteY675" fmla="*/ 5675 h 10000"/>
                <a:gd name="connsiteX676" fmla="*/ 9829 w 10354"/>
                <a:gd name="connsiteY676" fmla="*/ 5675 h 10000"/>
                <a:gd name="connsiteX677" fmla="*/ 9829 w 10354"/>
                <a:gd name="connsiteY677" fmla="*/ 5692 h 10000"/>
                <a:gd name="connsiteX678" fmla="*/ 9829 w 10354"/>
                <a:gd name="connsiteY678" fmla="*/ 5701 h 10000"/>
                <a:gd name="connsiteX679" fmla="*/ 9839 w 10354"/>
                <a:gd name="connsiteY679" fmla="*/ 5701 h 10000"/>
                <a:gd name="connsiteX680" fmla="*/ 9839 w 10354"/>
                <a:gd name="connsiteY680" fmla="*/ 5692 h 10000"/>
                <a:gd name="connsiteX681" fmla="*/ 9839 w 10354"/>
                <a:gd name="connsiteY681" fmla="*/ 5675 h 10000"/>
                <a:gd name="connsiteX682" fmla="*/ 9848 w 10354"/>
                <a:gd name="connsiteY682" fmla="*/ 5675 h 10000"/>
                <a:gd name="connsiteX683" fmla="*/ 9848 w 10354"/>
                <a:gd name="connsiteY683" fmla="*/ 5692 h 10000"/>
                <a:gd name="connsiteX684" fmla="*/ 9853 w 10354"/>
                <a:gd name="connsiteY684" fmla="*/ 5701 h 10000"/>
                <a:gd name="connsiteX685" fmla="*/ 9880 w 10354"/>
                <a:gd name="connsiteY685" fmla="*/ 5709 h 10000"/>
                <a:gd name="connsiteX686" fmla="*/ 9912 w 10354"/>
                <a:gd name="connsiteY686" fmla="*/ 5752 h 10000"/>
                <a:gd name="connsiteX687" fmla="*/ 9926 w 10354"/>
                <a:gd name="connsiteY687" fmla="*/ 5761 h 10000"/>
                <a:gd name="connsiteX688" fmla="*/ 9935 w 10354"/>
                <a:gd name="connsiteY688" fmla="*/ 5761 h 10000"/>
                <a:gd name="connsiteX689" fmla="*/ 9940 w 10354"/>
                <a:gd name="connsiteY689" fmla="*/ 5735 h 10000"/>
                <a:gd name="connsiteX690" fmla="*/ 9949 w 10354"/>
                <a:gd name="connsiteY690" fmla="*/ 5735 h 10000"/>
                <a:gd name="connsiteX691" fmla="*/ 9968 w 10354"/>
                <a:gd name="connsiteY691" fmla="*/ 5692 h 10000"/>
                <a:gd name="connsiteX692" fmla="*/ 9968 w 10354"/>
                <a:gd name="connsiteY692" fmla="*/ 5650 h 10000"/>
                <a:gd name="connsiteX693" fmla="*/ 9968 w 10354"/>
                <a:gd name="connsiteY693" fmla="*/ 5624 h 10000"/>
                <a:gd name="connsiteX694" fmla="*/ 9935 w 10354"/>
                <a:gd name="connsiteY694" fmla="*/ 5598 h 10000"/>
                <a:gd name="connsiteX695" fmla="*/ 9935 w 10354"/>
                <a:gd name="connsiteY695" fmla="*/ 5590 h 10000"/>
                <a:gd name="connsiteX696" fmla="*/ 9935 w 10354"/>
                <a:gd name="connsiteY696" fmla="*/ 5573 h 10000"/>
                <a:gd name="connsiteX697" fmla="*/ 9935 w 10354"/>
                <a:gd name="connsiteY697" fmla="*/ 5573 h 10000"/>
                <a:gd name="connsiteX698" fmla="*/ 9940 w 10354"/>
                <a:gd name="connsiteY698" fmla="*/ 5573 h 10000"/>
                <a:gd name="connsiteX699" fmla="*/ 9954 w 10354"/>
                <a:gd name="connsiteY699" fmla="*/ 5573 h 10000"/>
                <a:gd name="connsiteX700" fmla="*/ 9963 w 10354"/>
                <a:gd name="connsiteY700" fmla="*/ 5564 h 10000"/>
                <a:gd name="connsiteX701" fmla="*/ 9954 w 10354"/>
                <a:gd name="connsiteY701" fmla="*/ 5530 h 10000"/>
                <a:gd name="connsiteX702" fmla="*/ 9949 w 10354"/>
                <a:gd name="connsiteY702" fmla="*/ 5530 h 10000"/>
                <a:gd name="connsiteX703" fmla="*/ 9926 w 10354"/>
                <a:gd name="connsiteY703" fmla="*/ 5479 h 10000"/>
                <a:gd name="connsiteX704" fmla="*/ 9912 w 10354"/>
                <a:gd name="connsiteY704" fmla="*/ 5325 h 10000"/>
                <a:gd name="connsiteX705" fmla="*/ 9903 w 10354"/>
                <a:gd name="connsiteY705" fmla="*/ 5342 h 10000"/>
                <a:gd name="connsiteX706" fmla="*/ 9889 w 10354"/>
                <a:gd name="connsiteY706" fmla="*/ 5316 h 10000"/>
                <a:gd name="connsiteX707" fmla="*/ 9889 w 10354"/>
                <a:gd name="connsiteY707" fmla="*/ 5291 h 10000"/>
                <a:gd name="connsiteX708" fmla="*/ 9903 w 10354"/>
                <a:gd name="connsiteY708" fmla="*/ 5291 h 10000"/>
                <a:gd name="connsiteX709" fmla="*/ 9903 w 10354"/>
                <a:gd name="connsiteY709" fmla="*/ 5291 h 10000"/>
                <a:gd name="connsiteX710" fmla="*/ 9894 w 10354"/>
                <a:gd name="connsiteY710" fmla="*/ 5214 h 10000"/>
                <a:gd name="connsiteX711" fmla="*/ 9880 w 10354"/>
                <a:gd name="connsiteY711" fmla="*/ 5239 h 10000"/>
                <a:gd name="connsiteX712" fmla="*/ 9876 w 10354"/>
                <a:gd name="connsiteY712" fmla="*/ 5256 h 10000"/>
                <a:gd name="connsiteX713" fmla="*/ 9862 w 10354"/>
                <a:gd name="connsiteY713" fmla="*/ 5239 h 10000"/>
                <a:gd name="connsiteX714" fmla="*/ 9853 w 10354"/>
                <a:gd name="connsiteY714" fmla="*/ 5214 h 10000"/>
                <a:gd name="connsiteX715" fmla="*/ 9839 w 10354"/>
                <a:gd name="connsiteY715" fmla="*/ 5214 h 10000"/>
                <a:gd name="connsiteX716" fmla="*/ 9834 w 10354"/>
                <a:gd name="connsiteY716" fmla="*/ 5188 h 10000"/>
                <a:gd name="connsiteX717" fmla="*/ 9834 w 10354"/>
                <a:gd name="connsiteY717" fmla="*/ 5103 h 10000"/>
                <a:gd name="connsiteX718" fmla="*/ 9839 w 10354"/>
                <a:gd name="connsiteY718" fmla="*/ 5094 h 10000"/>
                <a:gd name="connsiteX719" fmla="*/ 9853 w 10354"/>
                <a:gd name="connsiteY719" fmla="*/ 5103 h 10000"/>
                <a:gd name="connsiteX720" fmla="*/ 9876 w 10354"/>
                <a:gd name="connsiteY720" fmla="*/ 5128 h 10000"/>
                <a:gd name="connsiteX721" fmla="*/ 9889 w 10354"/>
                <a:gd name="connsiteY721" fmla="*/ 5103 h 10000"/>
                <a:gd name="connsiteX722" fmla="*/ 9880 w 10354"/>
                <a:gd name="connsiteY722" fmla="*/ 5120 h 10000"/>
                <a:gd name="connsiteX723" fmla="*/ 9889 w 10354"/>
                <a:gd name="connsiteY723" fmla="*/ 5128 h 10000"/>
                <a:gd name="connsiteX724" fmla="*/ 9912 w 10354"/>
                <a:gd name="connsiteY724" fmla="*/ 5128 h 10000"/>
                <a:gd name="connsiteX725" fmla="*/ 9908 w 10354"/>
                <a:gd name="connsiteY725" fmla="*/ 5145 h 10000"/>
                <a:gd name="connsiteX726" fmla="*/ 9908 w 10354"/>
                <a:gd name="connsiteY726" fmla="*/ 5154 h 10000"/>
                <a:gd name="connsiteX727" fmla="*/ 9922 w 10354"/>
                <a:gd name="connsiteY727" fmla="*/ 5128 h 10000"/>
                <a:gd name="connsiteX728" fmla="*/ 9935 w 10354"/>
                <a:gd name="connsiteY728" fmla="*/ 5103 h 10000"/>
                <a:gd name="connsiteX729" fmla="*/ 9968 w 10354"/>
                <a:gd name="connsiteY729" fmla="*/ 5077 h 10000"/>
                <a:gd name="connsiteX730" fmla="*/ 10000 w 10354"/>
                <a:gd name="connsiteY730" fmla="*/ 5017 h 10000"/>
                <a:gd name="connsiteX731" fmla="*/ 10307 w 10354"/>
                <a:gd name="connsiteY731" fmla="*/ 4416 h 10000"/>
                <a:gd name="connsiteX732" fmla="*/ 10354 w 10354"/>
                <a:gd name="connsiteY732" fmla="*/ 4302 h 10000"/>
                <a:gd name="connsiteX733" fmla="*/ 9912 w 10354"/>
                <a:gd name="connsiteY733" fmla="*/ 3675 h 10000"/>
                <a:gd name="connsiteX734" fmla="*/ 9903 w 10354"/>
                <a:gd name="connsiteY734" fmla="*/ 3667 h 10000"/>
                <a:gd name="connsiteX735" fmla="*/ 9894 w 10354"/>
                <a:gd name="connsiteY735" fmla="*/ 3641 h 10000"/>
                <a:gd name="connsiteX736" fmla="*/ 9889 w 10354"/>
                <a:gd name="connsiteY736" fmla="*/ 3650 h 10000"/>
                <a:gd name="connsiteX737" fmla="*/ 9848 w 10354"/>
                <a:gd name="connsiteY737" fmla="*/ 3598 h 10000"/>
                <a:gd name="connsiteX738" fmla="*/ 9829 w 10354"/>
                <a:gd name="connsiteY738" fmla="*/ 3581 h 10000"/>
                <a:gd name="connsiteX739" fmla="*/ 9820 w 10354"/>
                <a:gd name="connsiteY739" fmla="*/ 3581 h 10000"/>
                <a:gd name="connsiteX740" fmla="*/ 9793 w 10354"/>
                <a:gd name="connsiteY740" fmla="*/ 3556 h 10000"/>
                <a:gd name="connsiteX741" fmla="*/ 9779 w 10354"/>
                <a:gd name="connsiteY741" fmla="*/ 3556 h 10000"/>
                <a:gd name="connsiteX742" fmla="*/ 9747 w 10354"/>
                <a:gd name="connsiteY742" fmla="*/ 3487 h 10000"/>
                <a:gd name="connsiteX743" fmla="*/ 9668 w 10354"/>
                <a:gd name="connsiteY743" fmla="*/ 3479 h 10000"/>
                <a:gd name="connsiteX744" fmla="*/ 9659 w 10354"/>
                <a:gd name="connsiteY744" fmla="*/ 3487 h 10000"/>
                <a:gd name="connsiteX745" fmla="*/ 9645 w 10354"/>
                <a:gd name="connsiteY745" fmla="*/ 3504 h 10000"/>
                <a:gd name="connsiteX746" fmla="*/ 9631 w 10354"/>
                <a:gd name="connsiteY746" fmla="*/ 3487 h 10000"/>
                <a:gd name="connsiteX747" fmla="*/ 9613 w 10354"/>
                <a:gd name="connsiteY747" fmla="*/ 3479 h 10000"/>
                <a:gd name="connsiteX748" fmla="*/ 9599 w 10354"/>
                <a:gd name="connsiteY748" fmla="*/ 3479 h 10000"/>
                <a:gd name="connsiteX749" fmla="*/ 9571 w 10354"/>
                <a:gd name="connsiteY749" fmla="*/ 3479 h 10000"/>
                <a:gd name="connsiteX750" fmla="*/ 9562 w 10354"/>
                <a:gd name="connsiteY750" fmla="*/ 3487 h 10000"/>
                <a:gd name="connsiteX751" fmla="*/ 9539 w 10354"/>
                <a:gd name="connsiteY751" fmla="*/ 3487 h 10000"/>
                <a:gd name="connsiteX752" fmla="*/ 9507 w 10354"/>
                <a:gd name="connsiteY752" fmla="*/ 3453 h 10000"/>
                <a:gd name="connsiteX753" fmla="*/ 9498 w 10354"/>
                <a:gd name="connsiteY753" fmla="*/ 3453 h 10000"/>
                <a:gd name="connsiteX754" fmla="*/ 9387 w 10354"/>
                <a:gd name="connsiteY754" fmla="*/ 3419 h 10000"/>
                <a:gd name="connsiteX755" fmla="*/ 9373 w 10354"/>
                <a:gd name="connsiteY755" fmla="*/ 3427 h 10000"/>
                <a:gd name="connsiteX756" fmla="*/ 9373 w 10354"/>
                <a:gd name="connsiteY756" fmla="*/ 3462 h 10000"/>
                <a:gd name="connsiteX757" fmla="*/ 9378 w 10354"/>
                <a:gd name="connsiteY757" fmla="*/ 3479 h 10000"/>
                <a:gd name="connsiteX758" fmla="*/ 9378 w 10354"/>
                <a:gd name="connsiteY758" fmla="*/ 3530 h 10000"/>
                <a:gd name="connsiteX759" fmla="*/ 9355 w 10354"/>
                <a:gd name="connsiteY759" fmla="*/ 3538 h 10000"/>
                <a:gd name="connsiteX760" fmla="*/ 9355 w 10354"/>
                <a:gd name="connsiteY760" fmla="*/ 3581 h 10000"/>
                <a:gd name="connsiteX761" fmla="*/ 9387 w 10354"/>
                <a:gd name="connsiteY761" fmla="*/ 3590 h 10000"/>
                <a:gd name="connsiteX762" fmla="*/ 9401 w 10354"/>
                <a:gd name="connsiteY762" fmla="*/ 3667 h 10000"/>
                <a:gd name="connsiteX763" fmla="*/ 9406 w 10354"/>
                <a:gd name="connsiteY763" fmla="*/ 3675 h 10000"/>
                <a:gd name="connsiteX764" fmla="*/ 9406 w 10354"/>
                <a:gd name="connsiteY764" fmla="*/ 3701 h 10000"/>
                <a:gd name="connsiteX765" fmla="*/ 9415 w 10354"/>
                <a:gd name="connsiteY765" fmla="*/ 3752 h 10000"/>
                <a:gd name="connsiteX766" fmla="*/ 9373 w 10354"/>
                <a:gd name="connsiteY766" fmla="*/ 3838 h 10000"/>
                <a:gd name="connsiteX767" fmla="*/ 9355 w 10354"/>
                <a:gd name="connsiteY767" fmla="*/ 3863 h 10000"/>
                <a:gd name="connsiteX768" fmla="*/ 9327 w 10354"/>
                <a:gd name="connsiteY768" fmla="*/ 3863 h 10000"/>
                <a:gd name="connsiteX769" fmla="*/ 9313 w 10354"/>
                <a:gd name="connsiteY769" fmla="*/ 3846 h 10000"/>
                <a:gd name="connsiteX770" fmla="*/ 9300 w 10354"/>
                <a:gd name="connsiteY770" fmla="*/ 3778 h 10000"/>
                <a:gd name="connsiteX771" fmla="*/ 9281 w 10354"/>
                <a:gd name="connsiteY771" fmla="*/ 3752 h 10000"/>
                <a:gd name="connsiteX772" fmla="*/ 9281 w 10354"/>
                <a:gd name="connsiteY772" fmla="*/ 3735 h 10000"/>
                <a:gd name="connsiteX773" fmla="*/ 9267 w 10354"/>
                <a:gd name="connsiteY773" fmla="*/ 3726 h 10000"/>
                <a:gd name="connsiteX774" fmla="*/ 9240 w 10354"/>
                <a:gd name="connsiteY774" fmla="*/ 3726 h 10000"/>
                <a:gd name="connsiteX775" fmla="*/ 9230 w 10354"/>
                <a:gd name="connsiteY775" fmla="*/ 3718 h 10000"/>
                <a:gd name="connsiteX776" fmla="*/ 9226 w 10354"/>
                <a:gd name="connsiteY776" fmla="*/ 3590 h 10000"/>
                <a:gd name="connsiteX777" fmla="*/ 9207 w 10354"/>
                <a:gd name="connsiteY777" fmla="*/ 3581 h 10000"/>
                <a:gd name="connsiteX778" fmla="*/ 9207 w 10354"/>
                <a:gd name="connsiteY778" fmla="*/ 3556 h 10000"/>
                <a:gd name="connsiteX779" fmla="*/ 9217 w 10354"/>
                <a:gd name="connsiteY779" fmla="*/ 3538 h 10000"/>
                <a:gd name="connsiteX780" fmla="*/ 9212 w 10354"/>
                <a:gd name="connsiteY780" fmla="*/ 3538 h 10000"/>
                <a:gd name="connsiteX781" fmla="*/ 9198 w 10354"/>
                <a:gd name="connsiteY781" fmla="*/ 3513 h 10000"/>
                <a:gd name="connsiteX782" fmla="*/ 9194 w 10354"/>
                <a:gd name="connsiteY782" fmla="*/ 3530 h 10000"/>
                <a:gd name="connsiteX783" fmla="*/ 9143 w 10354"/>
                <a:gd name="connsiteY783" fmla="*/ 3615 h 10000"/>
                <a:gd name="connsiteX784" fmla="*/ 9138 w 10354"/>
                <a:gd name="connsiteY784" fmla="*/ 3615 h 10000"/>
                <a:gd name="connsiteX785" fmla="*/ 9134 w 10354"/>
                <a:gd name="connsiteY785" fmla="*/ 3615 h 10000"/>
                <a:gd name="connsiteX786" fmla="*/ 9106 w 10354"/>
                <a:gd name="connsiteY786" fmla="*/ 3615 h 10000"/>
                <a:gd name="connsiteX787" fmla="*/ 9078 w 10354"/>
                <a:gd name="connsiteY787" fmla="*/ 3590 h 10000"/>
                <a:gd name="connsiteX788" fmla="*/ 9037 w 10354"/>
                <a:gd name="connsiteY788" fmla="*/ 3581 h 10000"/>
                <a:gd name="connsiteX789" fmla="*/ 9023 w 10354"/>
                <a:gd name="connsiteY789" fmla="*/ 3590 h 10000"/>
                <a:gd name="connsiteX790" fmla="*/ 9018 w 10354"/>
                <a:gd name="connsiteY790" fmla="*/ 3590 h 10000"/>
                <a:gd name="connsiteX791" fmla="*/ 9018 w 10354"/>
                <a:gd name="connsiteY791" fmla="*/ 3590 h 10000"/>
                <a:gd name="connsiteX792" fmla="*/ 8991 w 10354"/>
                <a:gd name="connsiteY792" fmla="*/ 3590 h 10000"/>
                <a:gd name="connsiteX793" fmla="*/ 8972 w 10354"/>
                <a:gd name="connsiteY793" fmla="*/ 3581 h 10000"/>
                <a:gd name="connsiteX794" fmla="*/ 8959 w 10354"/>
                <a:gd name="connsiteY794" fmla="*/ 3513 h 10000"/>
                <a:gd name="connsiteX795" fmla="*/ 8931 w 10354"/>
                <a:gd name="connsiteY795" fmla="*/ 3538 h 10000"/>
                <a:gd name="connsiteX796" fmla="*/ 8889 w 10354"/>
                <a:gd name="connsiteY796" fmla="*/ 3538 h 10000"/>
                <a:gd name="connsiteX797" fmla="*/ 8871 w 10354"/>
                <a:gd name="connsiteY797" fmla="*/ 3556 h 10000"/>
                <a:gd name="connsiteX798" fmla="*/ 8857 w 10354"/>
                <a:gd name="connsiteY798" fmla="*/ 3538 h 10000"/>
                <a:gd name="connsiteX799" fmla="*/ 8843 w 10354"/>
                <a:gd name="connsiteY799" fmla="*/ 3538 h 10000"/>
                <a:gd name="connsiteX800" fmla="*/ 8839 w 10354"/>
                <a:gd name="connsiteY800" fmla="*/ 3556 h 10000"/>
                <a:gd name="connsiteX801" fmla="*/ 8839 w 10354"/>
                <a:gd name="connsiteY801" fmla="*/ 3581 h 10000"/>
                <a:gd name="connsiteX802" fmla="*/ 8825 w 10354"/>
                <a:gd name="connsiteY802" fmla="*/ 3564 h 10000"/>
                <a:gd name="connsiteX803" fmla="*/ 8825 w 10354"/>
                <a:gd name="connsiteY803" fmla="*/ 3615 h 10000"/>
                <a:gd name="connsiteX804" fmla="*/ 8802 w 10354"/>
                <a:gd name="connsiteY804" fmla="*/ 3598 h 10000"/>
                <a:gd name="connsiteX805" fmla="*/ 8797 w 10354"/>
                <a:gd name="connsiteY805" fmla="*/ 3641 h 10000"/>
                <a:gd name="connsiteX806" fmla="*/ 8783 w 10354"/>
                <a:gd name="connsiteY806" fmla="*/ 3667 h 10000"/>
                <a:gd name="connsiteX807" fmla="*/ 8779 w 10354"/>
                <a:gd name="connsiteY807" fmla="*/ 3650 h 10000"/>
                <a:gd name="connsiteX808" fmla="*/ 8779 w 10354"/>
                <a:gd name="connsiteY808" fmla="*/ 3615 h 10000"/>
                <a:gd name="connsiteX809" fmla="*/ 8770 w 10354"/>
                <a:gd name="connsiteY809" fmla="*/ 3590 h 10000"/>
                <a:gd name="connsiteX810" fmla="*/ 8765 w 10354"/>
                <a:gd name="connsiteY810" fmla="*/ 3598 h 10000"/>
                <a:gd name="connsiteX811" fmla="*/ 8756 w 10354"/>
                <a:gd name="connsiteY811" fmla="*/ 3590 h 10000"/>
                <a:gd name="connsiteX812" fmla="*/ 8737 w 10354"/>
                <a:gd name="connsiteY812" fmla="*/ 3556 h 10000"/>
                <a:gd name="connsiteX813" fmla="*/ 8724 w 10354"/>
                <a:gd name="connsiteY813" fmla="*/ 3538 h 10000"/>
                <a:gd name="connsiteX814" fmla="*/ 8696 w 10354"/>
                <a:gd name="connsiteY814" fmla="*/ 3538 h 10000"/>
                <a:gd name="connsiteX815" fmla="*/ 8691 w 10354"/>
                <a:gd name="connsiteY815" fmla="*/ 3513 h 10000"/>
                <a:gd name="connsiteX816" fmla="*/ 8668 w 10354"/>
                <a:gd name="connsiteY816" fmla="*/ 3504 h 10000"/>
                <a:gd name="connsiteX817" fmla="*/ 8668 w 10354"/>
                <a:gd name="connsiteY817" fmla="*/ 3487 h 10000"/>
                <a:gd name="connsiteX818" fmla="*/ 8691 w 10354"/>
                <a:gd name="connsiteY818" fmla="*/ 3350 h 10000"/>
                <a:gd name="connsiteX819" fmla="*/ 8691 w 10354"/>
                <a:gd name="connsiteY819" fmla="*/ 3291 h 10000"/>
                <a:gd name="connsiteX820" fmla="*/ 8677 w 10354"/>
                <a:gd name="connsiteY820" fmla="*/ 3239 h 10000"/>
                <a:gd name="connsiteX821" fmla="*/ 8677 w 10354"/>
                <a:gd name="connsiteY821" fmla="*/ 3231 h 10000"/>
                <a:gd name="connsiteX822" fmla="*/ 8636 w 10354"/>
                <a:gd name="connsiteY822" fmla="*/ 3128 h 10000"/>
                <a:gd name="connsiteX823" fmla="*/ 8622 w 10354"/>
                <a:gd name="connsiteY823" fmla="*/ 3120 h 10000"/>
                <a:gd name="connsiteX824" fmla="*/ 8618 w 10354"/>
                <a:gd name="connsiteY824" fmla="*/ 3094 h 10000"/>
                <a:gd name="connsiteX825" fmla="*/ 8594 w 10354"/>
                <a:gd name="connsiteY825" fmla="*/ 3077 h 10000"/>
                <a:gd name="connsiteX826" fmla="*/ 8548 w 10354"/>
                <a:gd name="connsiteY826" fmla="*/ 3077 h 10000"/>
                <a:gd name="connsiteX827" fmla="*/ 8535 w 10354"/>
                <a:gd name="connsiteY827" fmla="*/ 3068 h 10000"/>
                <a:gd name="connsiteX828" fmla="*/ 8429 w 10354"/>
                <a:gd name="connsiteY828" fmla="*/ 3077 h 10000"/>
                <a:gd name="connsiteX829" fmla="*/ 8424 w 10354"/>
                <a:gd name="connsiteY829" fmla="*/ 3077 h 10000"/>
                <a:gd name="connsiteX830" fmla="*/ 8396 w 10354"/>
                <a:gd name="connsiteY830" fmla="*/ 3077 h 10000"/>
                <a:gd name="connsiteX831" fmla="*/ 8387 w 10354"/>
                <a:gd name="connsiteY831" fmla="*/ 3094 h 10000"/>
                <a:gd name="connsiteX832" fmla="*/ 8378 w 10354"/>
                <a:gd name="connsiteY832" fmla="*/ 3094 h 10000"/>
                <a:gd name="connsiteX833" fmla="*/ 8341 w 10354"/>
                <a:gd name="connsiteY833" fmla="*/ 3077 h 10000"/>
                <a:gd name="connsiteX834" fmla="*/ 8336 w 10354"/>
                <a:gd name="connsiteY834" fmla="*/ 3077 h 10000"/>
                <a:gd name="connsiteX835" fmla="*/ 8327 w 10354"/>
                <a:gd name="connsiteY835" fmla="*/ 3103 h 10000"/>
                <a:gd name="connsiteX836" fmla="*/ 8309 w 10354"/>
                <a:gd name="connsiteY836" fmla="*/ 3120 h 10000"/>
                <a:gd name="connsiteX837" fmla="*/ 8304 w 10354"/>
                <a:gd name="connsiteY837" fmla="*/ 3103 h 10000"/>
                <a:gd name="connsiteX838" fmla="*/ 8276 w 10354"/>
                <a:gd name="connsiteY838" fmla="*/ 3103 h 10000"/>
                <a:gd name="connsiteX839" fmla="*/ 8267 w 10354"/>
                <a:gd name="connsiteY839" fmla="*/ 3120 h 10000"/>
                <a:gd name="connsiteX840" fmla="*/ 8253 w 10354"/>
                <a:gd name="connsiteY840" fmla="*/ 3103 h 10000"/>
                <a:gd name="connsiteX841" fmla="*/ 8230 w 10354"/>
                <a:gd name="connsiteY841" fmla="*/ 3128 h 10000"/>
                <a:gd name="connsiteX842" fmla="*/ 8217 w 10354"/>
                <a:gd name="connsiteY842" fmla="*/ 3128 h 10000"/>
                <a:gd name="connsiteX843" fmla="*/ 8203 w 10354"/>
                <a:gd name="connsiteY843" fmla="*/ 3154 h 10000"/>
                <a:gd name="connsiteX844" fmla="*/ 8175 w 10354"/>
                <a:gd name="connsiteY844" fmla="*/ 3094 h 10000"/>
                <a:gd name="connsiteX845" fmla="*/ 8161 w 10354"/>
                <a:gd name="connsiteY845" fmla="*/ 3094 h 10000"/>
                <a:gd name="connsiteX846" fmla="*/ 8157 w 10354"/>
                <a:gd name="connsiteY846" fmla="*/ 3077 h 10000"/>
                <a:gd name="connsiteX847" fmla="*/ 8180 w 10354"/>
                <a:gd name="connsiteY847" fmla="*/ 3068 h 10000"/>
                <a:gd name="connsiteX848" fmla="*/ 8189 w 10354"/>
                <a:gd name="connsiteY848" fmla="*/ 3043 h 10000"/>
                <a:gd name="connsiteX849" fmla="*/ 8189 w 10354"/>
                <a:gd name="connsiteY849" fmla="*/ 3017 h 10000"/>
                <a:gd name="connsiteX850" fmla="*/ 8147 w 10354"/>
                <a:gd name="connsiteY850" fmla="*/ 2940 h 10000"/>
                <a:gd name="connsiteX851" fmla="*/ 8143 w 10354"/>
                <a:gd name="connsiteY851" fmla="*/ 2915 h 10000"/>
                <a:gd name="connsiteX852" fmla="*/ 8143 w 10354"/>
                <a:gd name="connsiteY852" fmla="*/ 2906 h 10000"/>
                <a:gd name="connsiteX853" fmla="*/ 8097 w 10354"/>
                <a:gd name="connsiteY853" fmla="*/ 2932 h 10000"/>
                <a:gd name="connsiteX854" fmla="*/ 8083 w 10354"/>
                <a:gd name="connsiteY854" fmla="*/ 2932 h 10000"/>
                <a:gd name="connsiteX855" fmla="*/ 8074 w 10354"/>
                <a:gd name="connsiteY855" fmla="*/ 2906 h 10000"/>
                <a:gd name="connsiteX856" fmla="*/ 8074 w 10354"/>
                <a:gd name="connsiteY856" fmla="*/ 2897 h 10000"/>
                <a:gd name="connsiteX857" fmla="*/ 8055 w 10354"/>
                <a:gd name="connsiteY857" fmla="*/ 2872 h 10000"/>
                <a:gd name="connsiteX858" fmla="*/ 8046 w 10354"/>
                <a:gd name="connsiteY858" fmla="*/ 2829 h 10000"/>
                <a:gd name="connsiteX859" fmla="*/ 8041 w 10354"/>
                <a:gd name="connsiteY859" fmla="*/ 2829 h 10000"/>
                <a:gd name="connsiteX860" fmla="*/ 8023 w 10354"/>
                <a:gd name="connsiteY860" fmla="*/ 2803 h 10000"/>
                <a:gd name="connsiteX861" fmla="*/ 8014 w 10354"/>
                <a:gd name="connsiteY861" fmla="*/ 2829 h 10000"/>
                <a:gd name="connsiteX862" fmla="*/ 8000 w 10354"/>
                <a:gd name="connsiteY862" fmla="*/ 2829 h 10000"/>
                <a:gd name="connsiteX863" fmla="*/ 7995 w 10354"/>
                <a:gd name="connsiteY863" fmla="*/ 2821 h 10000"/>
                <a:gd name="connsiteX864" fmla="*/ 7972 w 10354"/>
                <a:gd name="connsiteY864" fmla="*/ 2803 h 10000"/>
                <a:gd name="connsiteX865" fmla="*/ 7968 w 10354"/>
                <a:gd name="connsiteY865" fmla="*/ 2821 h 10000"/>
                <a:gd name="connsiteX866" fmla="*/ 7968 w 10354"/>
                <a:gd name="connsiteY866" fmla="*/ 2803 h 10000"/>
                <a:gd name="connsiteX867" fmla="*/ 7995 w 10354"/>
                <a:gd name="connsiteY867" fmla="*/ 2735 h 10000"/>
                <a:gd name="connsiteX868" fmla="*/ 8000 w 10354"/>
                <a:gd name="connsiteY868" fmla="*/ 2735 h 10000"/>
                <a:gd name="connsiteX869" fmla="*/ 8014 w 10354"/>
                <a:gd name="connsiteY869" fmla="*/ 2744 h 10000"/>
                <a:gd name="connsiteX870" fmla="*/ 8023 w 10354"/>
                <a:gd name="connsiteY870" fmla="*/ 2769 h 10000"/>
                <a:gd name="connsiteX871" fmla="*/ 8032 w 10354"/>
                <a:gd name="connsiteY871" fmla="*/ 2744 h 10000"/>
                <a:gd name="connsiteX872" fmla="*/ 8032 w 10354"/>
                <a:gd name="connsiteY872" fmla="*/ 2709 h 10000"/>
                <a:gd name="connsiteX873" fmla="*/ 8023 w 10354"/>
                <a:gd name="connsiteY873" fmla="*/ 2632 h 10000"/>
                <a:gd name="connsiteX874" fmla="*/ 7986 w 10354"/>
                <a:gd name="connsiteY874" fmla="*/ 2581 h 10000"/>
                <a:gd name="connsiteX875" fmla="*/ 7968 w 10354"/>
                <a:gd name="connsiteY875" fmla="*/ 2581 h 10000"/>
                <a:gd name="connsiteX876" fmla="*/ 7963 w 10354"/>
                <a:gd name="connsiteY876" fmla="*/ 2556 h 10000"/>
                <a:gd name="connsiteX877" fmla="*/ 7935 w 10354"/>
                <a:gd name="connsiteY877" fmla="*/ 2547 h 10000"/>
                <a:gd name="connsiteX878" fmla="*/ 7912 w 10354"/>
                <a:gd name="connsiteY878" fmla="*/ 2547 h 10000"/>
                <a:gd name="connsiteX879" fmla="*/ 7912 w 10354"/>
                <a:gd name="connsiteY879" fmla="*/ 2556 h 10000"/>
                <a:gd name="connsiteX880" fmla="*/ 7908 w 10354"/>
                <a:gd name="connsiteY880" fmla="*/ 2547 h 10000"/>
                <a:gd name="connsiteX881" fmla="*/ 7862 w 10354"/>
                <a:gd name="connsiteY881" fmla="*/ 2547 h 10000"/>
                <a:gd name="connsiteX882" fmla="*/ 7848 w 10354"/>
                <a:gd name="connsiteY882" fmla="*/ 2556 h 10000"/>
                <a:gd name="connsiteX883" fmla="*/ 7820 w 10354"/>
                <a:gd name="connsiteY883" fmla="*/ 2547 h 10000"/>
                <a:gd name="connsiteX884" fmla="*/ 7806 w 10354"/>
                <a:gd name="connsiteY884" fmla="*/ 2513 h 10000"/>
                <a:gd name="connsiteX885" fmla="*/ 7788 w 10354"/>
                <a:gd name="connsiteY885" fmla="*/ 2513 h 10000"/>
                <a:gd name="connsiteX886" fmla="*/ 7760 w 10354"/>
                <a:gd name="connsiteY886" fmla="*/ 2470 h 10000"/>
                <a:gd name="connsiteX887" fmla="*/ 7751 w 10354"/>
                <a:gd name="connsiteY887" fmla="*/ 2470 h 10000"/>
                <a:gd name="connsiteX888" fmla="*/ 7705 w 10354"/>
                <a:gd name="connsiteY888" fmla="*/ 2462 h 10000"/>
                <a:gd name="connsiteX889" fmla="*/ 7673 w 10354"/>
                <a:gd name="connsiteY889" fmla="*/ 2419 h 10000"/>
                <a:gd name="connsiteX890" fmla="*/ 7627 w 10354"/>
                <a:gd name="connsiteY890" fmla="*/ 2419 h 10000"/>
                <a:gd name="connsiteX891" fmla="*/ 7613 w 10354"/>
                <a:gd name="connsiteY891" fmla="*/ 2410 h 10000"/>
                <a:gd name="connsiteX892" fmla="*/ 7493 w 10354"/>
                <a:gd name="connsiteY892" fmla="*/ 2393 h 10000"/>
                <a:gd name="connsiteX893" fmla="*/ 7479 w 10354"/>
                <a:gd name="connsiteY893" fmla="*/ 2385 h 10000"/>
                <a:gd name="connsiteX894" fmla="*/ 7479 w 10354"/>
                <a:gd name="connsiteY894" fmla="*/ 2376 h 10000"/>
                <a:gd name="connsiteX895" fmla="*/ 7465 w 10354"/>
                <a:gd name="connsiteY895" fmla="*/ 2359 h 10000"/>
                <a:gd name="connsiteX896" fmla="*/ 7447 w 10354"/>
                <a:gd name="connsiteY896" fmla="*/ 2350 h 10000"/>
                <a:gd name="connsiteX897" fmla="*/ 7433 w 10354"/>
                <a:gd name="connsiteY897" fmla="*/ 2376 h 10000"/>
                <a:gd name="connsiteX898" fmla="*/ 7433 w 10354"/>
                <a:gd name="connsiteY898" fmla="*/ 2385 h 10000"/>
                <a:gd name="connsiteX899" fmla="*/ 7447 w 10354"/>
                <a:gd name="connsiteY899" fmla="*/ 2410 h 10000"/>
                <a:gd name="connsiteX900" fmla="*/ 7447 w 10354"/>
                <a:gd name="connsiteY900" fmla="*/ 2436 h 10000"/>
                <a:gd name="connsiteX901" fmla="*/ 7452 w 10354"/>
                <a:gd name="connsiteY901" fmla="*/ 2462 h 10000"/>
                <a:gd name="connsiteX902" fmla="*/ 7447 w 10354"/>
                <a:gd name="connsiteY902" fmla="*/ 2470 h 10000"/>
                <a:gd name="connsiteX903" fmla="*/ 7424 w 10354"/>
                <a:gd name="connsiteY903" fmla="*/ 2513 h 10000"/>
                <a:gd name="connsiteX904" fmla="*/ 7419 w 10354"/>
                <a:gd name="connsiteY904" fmla="*/ 2556 h 10000"/>
                <a:gd name="connsiteX905" fmla="*/ 7406 w 10354"/>
                <a:gd name="connsiteY905" fmla="*/ 2624 h 10000"/>
                <a:gd name="connsiteX906" fmla="*/ 7392 w 10354"/>
                <a:gd name="connsiteY906" fmla="*/ 2624 h 10000"/>
                <a:gd name="connsiteX907" fmla="*/ 7373 w 10354"/>
                <a:gd name="connsiteY907" fmla="*/ 2650 h 10000"/>
                <a:gd name="connsiteX908" fmla="*/ 7364 w 10354"/>
                <a:gd name="connsiteY908" fmla="*/ 2684 h 10000"/>
                <a:gd name="connsiteX909" fmla="*/ 7364 w 10354"/>
                <a:gd name="connsiteY909" fmla="*/ 2692 h 10000"/>
                <a:gd name="connsiteX910" fmla="*/ 7373 w 10354"/>
                <a:gd name="connsiteY910" fmla="*/ 2718 h 10000"/>
                <a:gd name="connsiteX911" fmla="*/ 7373 w 10354"/>
                <a:gd name="connsiteY911" fmla="*/ 2744 h 10000"/>
                <a:gd name="connsiteX912" fmla="*/ 7359 w 10354"/>
                <a:gd name="connsiteY912" fmla="*/ 2744 h 10000"/>
                <a:gd name="connsiteX913" fmla="*/ 7359 w 10354"/>
                <a:gd name="connsiteY913" fmla="*/ 2795 h 10000"/>
                <a:gd name="connsiteX914" fmla="*/ 7364 w 10354"/>
                <a:gd name="connsiteY914" fmla="*/ 2821 h 10000"/>
                <a:gd name="connsiteX915" fmla="*/ 7378 w 10354"/>
                <a:gd name="connsiteY915" fmla="*/ 2846 h 10000"/>
                <a:gd name="connsiteX916" fmla="*/ 7378 w 10354"/>
                <a:gd name="connsiteY916" fmla="*/ 2855 h 10000"/>
                <a:gd name="connsiteX917" fmla="*/ 7378 w 10354"/>
                <a:gd name="connsiteY917" fmla="*/ 2880 h 10000"/>
                <a:gd name="connsiteX918" fmla="*/ 7378 w 10354"/>
                <a:gd name="connsiteY918" fmla="*/ 2906 h 10000"/>
                <a:gd name="connsiteX919" fmla="*/ 7364 w 10354"/>
                <a:gd name="connsiteY919" fmla="*/ 2906 h 10000"/>
                <a:gd name="connsiteX920" fmla="*/ 7346 w 10354"/>
                <a:gd name="connsiteY920" fmla="*/ 2880 h 10000"/>
                <a:gd name="connsiteX921" fmla="*/ 7332 w 10354"/>
                <a:gd name="connsiteY921" fmla="*/ 2915 h 10000"/>
                <a:gd name="connsiteX922" fmla="*/ 7318 w 10354"/>
                <a:gd name="connsiteY922" fmla="*/ 2906 h 10000"/>
                <a:gd name="connsiteX923" fmla="*/ 7313 w 10354"/>
                <a:gd name="connsiteY923" fmla="*/ 2915 h 10000"/>
                <a:gd name="connsiteX924" fmla="*/ 7313 w 10354"/>
                <a:gd name="connsiteY924" fmla="*/ 2906 h 10000"/>
                <a:gd name="connsiteX925" fmla="*/ 7286 w 10354"/>
                <a:gd name="connsiteY925" fmla="*/ 2940 h 10000"/>
                <a:gd name="connsiteX926" fmla="*/ 7276 w 10354"/>
                <a:gd name="connsiteY926" fmla="*/ 2966 h 10000"/>
                <a:gd name="connsiteX927" fmla="*/ 7272 w 10354"/>
                <a:gd name="connsiteY927" fmla="*/ 2983 h 10000"/>
                <a:gd name="connsiteX928" fmla="*/ 7267 w 10354"/>
                <a:gd name="connsiteY928" fmla="*/ 3009 h 10000"/>
                <a:gd name="connsiteX929" fmla="*/ 7253 w 10354"/>
                <a:gd name="connsiteY929" fmla="*/ 3009 h 10000"/>
                <a:gd name="connsiteX930" fmla="*/ 7244 w 10354"/>
                <a:gd name="connsiteY930" fmla="*/ 3017 h 10000"/>
                <a:gd name="connsiteX931" fmla="*/ 7240 w 10354"/>
                <a:gd name="connsiteY931" fmla="*/ 3009 h 10000"/>
                <a:gd name="connsiteX932" fmla="*/ 7230 w 10354"/>
                <a:gd name="connsiteY932" fmla="*/ 2991 h 10000"/>
                <a:gd name="connsiteX933" fmla="*/ 7226 w 10354"/>
                <a:gd name="connsiteY933" fmla="*/ 2983 h 10000"/>
                <a:gd name="connsiteX934" fmla="*/ 7226 w 10354"/>
                <a:gd name="connsiteY934" fmla="*/ 2966 h 10000"/>
                <a:gd name="connsiteX935" fmla="*/ 7212 w 10354"/>
                <a:gd name="connsiteY935" fmla="*/ 2957 h 10000"/>
                <a:gd name="connsiteX936" fmla="*/ 7212 w 10354"/>
                <a:gd name="connsiteY936" fmla="*/ 2932 h 10000"/>
                <a:gd name="connsiteX937" fmla="*/ 7198 w 10354"/>
                <a:gd name="connsiteY937" fmla="*/ 2915 h 10000"/>
                <a:gd name="connsiteX938" fmla="*/ 7194 w 10354"/>
                <a:gd name="connsiteY938" fmla="*/ 2915 h 10000"/>
                <a:gd name="connsiteX939" fmla="*/ 7157 w 10354"/>
                <a:gd name="connsiteY939" fmla="*/ 2880 h 10000"/>
                <a:gd name="connsiteX940" fmla="*/ 7138 w 10354"/>
                <a:gd name="connsiteY940" fmla="*/ 2880 h 10000"/>
                <a:gd name="connsiteX941" fmla="*/ 7120 w 10354"/>
                <a:gd name="connsiteY941" fmla="*/ 2872 h 10000"/>
                <a:gd name="connsiteX942" fmla="*/ 7111 w 10354"/>
                <a:gd name="connsiteY942" fmla="*/ 2846 h 10000"/>
                <a:gd name="connsiteX943" fmla="*/ 7106 w 10354"/>
                <a:gd name="connsiteY943" fmla="*/ 2846 h 10000"/>
                <a:gd name="connsiteX944" fmla="*/ 7092 w 10354"/>
                <a:gd name="connsiteY944" fmla="*/ 2829 h 10000"/>
                <a:gd name="connsiteX945" fmla="*/ 7051 w 10354"/>
                <a:gd name="connsiteY945" fmla="*/ 2829 h 10000"/>
                <a:gd name="connsiteX946" fmla="*/ 7037 w 10354"/>
                <a:gd name="connsiteY946" fmla="*/ 2880 h 10000"/>
                <a:gd name="connsiteX947" fmla="*/ 7037 w 10354"/>
                <a:gd name="connsiteY947" fmla="*/ 2906 h 10000"/>
                <a:gd name="connsiteX948" fmla="*/ 7037 w 10354"/>
                <a:gd name="connsiteY948" fmla="*/ 2932 h 10000"/>
                <a:gd name="connsiteX949" fmla="*/ 7037 w 10354"/>
                <a:gd name="connsiteY949" fmla="*/ 2940 h 10000"/>
                <a:gd name="connsiteX950" fmla="*/ 7023 w 10354"/>
                <a:gd name="connsiteY950" fmla="*/ 2906 h 10000"/>
                <a:gd name="connsiteX951" fmla="*/ 7023 w 10354"/>
                <a:gd name="connsiteY951" fmla="*/ 2915 h 10000"/>
                <a:gd name="connsiteX952" fmla="*/ 6991 w 10354"/>
                <a:gd name="connsiteY952" fmla="*/ 2906 h 10000"/>
                <a:gd name="connsiteX953" fmla="*/ 6977 w 10354"/>
                <a:gd name="connsiteY953" fmla="*/ 2915 h 10000"/>
                <a:gd name="connsiteX954" fmla="*/ 6963 w 10354"/>
                <a:gd name="connsiteY954" fmla="*/ 2915 h 10000"/>
                <a:gd name="connsiteX955" fmla="*/ 6949 w 10354"/>
                <a:gd name="connsiteY955" fmla="*/ 2872 h 10000"/>
                <a:gd name="connsiteX956" fmla="*/ 6935 w 10354"/>
                <a:gd name="connsiteY956" fmla="*/ 2855 h 10000"/>
                <a:gd name="connsiteX957" fmla="*/ 6922 w 10354"/>
                <a:gd name="connsiteY957" fmla="*/ 2803 h 10000"/>
                <a:gd name="connsiteX958" fmla="*/ 6917 w 10354"/>
                <a:gd name="connsiteY958" fmla="*/ 2786 h 10000"/>
                <a:gd name="connsiteX959" fmla="*/ 6903 w 10354"/>
                <a:gd name="connsiteY959" fmla="*/ 2709 h 10000"/>
                <a:gd name="connsiteX960" fmla="*/ 6903 w 10354"/>
                <a:gd name="connsiteY960" fmla="*/ 2692 h 10000"/>
                <a:gd name="connsiteX961" fmla="*/ 6899 w 10354"/>
                <a:gd name="connsiteY961" fmla="*/ 2709 h 10000"/>
                <a:gd name="connsiteX962" fmla="*/ 6857 w 10354"/>
                <a:gd name="connsiteY962" fmla="*/ 2872 h 10000"/>
                <a:gd name="connsiteX963" fmla="*/ 6857 w 10354"/>
                <a:gd name="connsiteY963" fmla="*/ 3009 h 10000"/>
                <a:gd name="connsiteX964" fmla="*/ 6848 w 10354"/>
                <a:gd name="connsiteY964" fmla="*/ 3017 h 10000"/>
                <a:gd name="connsiteX965" fmla="*/ 6839 w 10354"/>
                <a:gd name="connsiteY965" fmla="*/ 3068 h 10000"/>
                <a:gd name="connsiteX966" fmla="*/ 6829 w 10354"/>
                <a:gd name="connsiteY966" fmla="*/ 3077 h 10000"/>
                <a:gd name="connsiteX967" fmla="*/ 6829 w 10354"/>
                <a:gd name="connsiteY967" fmla="*/ 3128 h 10000"/>
                <a:gd name="connsiteX968" fmla="*/ 6816 w 10354"/>
                <a:gd name="connsiteY968" fmla="*/ 3154 h 10000"/>
                <a:gd name="connsiteX969" fmla="*/ 6811 w 10354"/>
                <a:gd name="connsiteY969" fmla="*/ 3179 h 10000"/>
                <a:gd name="connsiteX970" fmla="*/ 6797 w 10354"/>
                <a:gd name="connsiteY970" fmla="*/ 3171 h 10000"/>
                <a:gd name="connsiteX971" fmla="*/ 6783 w 10354"/>
                <a:gd name="connsiteY971" fmla="*/ 3103 h 10000"/>
                <a:gd name="connsiteX972" fmla="*/ 6779 w 10354"/>
                <a:gd name="connsiteY972" fmla="*/ 3094 h 10000"/>
                <a:gd name="connsiteX973" fmla="*/ 6779 w 10354"/>
                <a:gd name="connsiteY973" fmla="*/ 3120 h 10000"/>
                <a:gd name="connsiteX974" fmla="*/ 6770 w 10354"/>
                <a:gd name="connsiteY974" fmla="*/ 3128 h 10000"/>
                <a:gd name="connsiteX975" fmla="*/ 6765 w 10354"/>
                <a:gd name="connsiteY975" fmla="*/ 3103 h 10000"/>
                <a:gd name="connsiteX976" fmla="*/ 6756 w 10354"/>
                <a:gd name="connsiteY976" fmla="*/ 3103 h 10000"/>
                <a:gd name="connsiteX977" fmla="*/ 6742 w 10354"/>
                <a:gd name="connsiteY977" fmla="*/ 3103 h 10000"/>
                <a:gd name="connsiteX978" fmla="*/ 6737 w 10354"/>
                <a:gd name="connsiteY978" fmla="*/ 3077 h 10000"/>
                <a:gd name="connsiteX979" fmla="*/ 6737 w 10354"/>
                <a:gd name="connsiteY979" fmla="*/ 3068 h 10000"/>
                <a:gd name="connsiteX980" fmla="*/ 6728 w 10354"/>
                <a:gd name="connsiteY980" fmla="*/ 3043 h 10000"/>
                <a:gd name="connsiteX981" fmla="*/ 6724 w 10354"/>
                <a:gd name="connsiteY981" fmla="*/ 3051 h 10000"/>
                <a:gd name="connsiteX982" fmla="*/ 6714 w 10354"/>
                <a:gd name="connsiteY982" fmla="*/ 3043 h 10000"/>
                <a:gd name="connsiteX983" fmla="*/ 6710 w 10354"/>
                <a:gd name="connsiteY983" fmla="*/ 3034 h 10000"/>
                <a:gd name="connsiteX984" fmla="*/ 6705 w 10354"/>
                <a:gd name="connsiteY984" fmla="*/ 2983 h 10000"/>
                <a:gd name="connsiteX985" fmla="*/ 6696 w 10354"/>
                <a:gd name="connsiteY985" fmla="*/ 2966 h 10000"/>
                <a:gd name="connsiteX986" fmla="*/ 6691 w 10354"/>
                <a:gd name="connsiteY986" fmla="*/ 2983 h 10000"/>
                <a:gd name="connsiteX987" fmla="*/ 6677 w 10354"/>
                <a:gd name="connsiteY987" fmla="*/ 2897 h 10000"/>
                <a:gd name="connsiteX988" fmla="*/ 6677 w 10354"/>
                <a:gd name="connsiteY988" fmla="*/ 2897 h 10000"/>
                <a:gd name="connsiteX989" fmla="*/ 6677 w 10354"/>
                <a:gd name="connsiteY989" fmla="*/ 2872 h 10000"/>
                <a:gd name="connsiteX990" fmla="*/ 6668 w 10354"/>
                <a:gd name="connsiteY990" fmla="*/ 2821 h 10000"/>
                <a:gd name="connsiteX991" fmla="*/ 6664 w 10354"/>
                <a:gd name="connsiteY991" fmla="*/ 2829 h 10000"/>
                <a:gd name="connsiteX992" fmla="*/ 6654 w 10354"/>
                <a:gd name="connsiteY992" fmla="*/ 2846 h 10000"/>
                <a:gd name="connsiteX993" fmla="*/ 6650 w 10354"/>
                <a:gd name="connsiteY993" fmla="*/ 2829 h 10000"/>
                <a:gd name="connsiteX994" fmla="*/ 6650 w 10354"/>
                <a:gd name="connsiteY994" fmla="*/ 2803 h 10000"/>
                <a:gd name="connsiteX995" fmla="*/ 6650 w 10354"/>
                <a:gd name="connsiteY995" fmla="*/ 2795 h 10000"/>
                <a:gd name="connsiteX996" fmla="*/ 6641 w 10354"/>
                <a:gd name="connsiteY996" fmla="*/ 2786 h 10000"/>
                <a:gd name="connsiteX997" fmla="*/ 6636 w 10354"/>
                <a:gd name="connsiteY997" fmla="*/ 2735 h 10000"/>
                <a:gd name="connsiteX998" fmla="*/ 6664 w 10354"/>
                <a:gd name="connsiteY998" fmla="*/ 2667 h 10000"/>
                <a:gd name="connsiteX999" fmla="*/ 6668 w 10354"/>
                <a:gd name="connsiteY999" fmla="*/ 2684 h 10000"/>
                <a:gd name="connsiteX1000" fmla="*/ 6677 w 10354"/>
                <a:gd name="connsiteY1000" fmla="*/ 2667 h 10000"/>
                <a:gd name="connsiteX1001" fmla="*/ 6668 w 10354"/>
                <a:gd name="connsiteY1001" fmla="*/ 2667 h 10000"/>
                <a:gd name="connsiteX1002" fmla="*/ 6668 w 10354"/>
                <a:gd name="connsiteY1002" fmla="*/ 2650 h 10000"/>
                <a:gd name="connsiteX1003" fmla="*/ 6682 w 10354"/>
                <a:gd name="connsiteY1003" fmla="*/ 2650 h 10000"/>
                <a:gd name="connsiteX1004" fmla="*/ 6691 w 10354"/>
                <a:gd name="connsiteY1004" fmla="*/ 2624 h 10000"/>
                <a:gd name="connsiteX1005" fmla="*/ 6682 w 10354"/>
                <a:gd name="connsiteY1005" fmla="*/ 2632 h 10000"/>
                <a:gd name="connsiteX1006" fmla="*/ 6682 w 10354"/>
                <a:gd name="connsiteY1006" fmla="*/ 2624 h 10000"/>
                <a:gd name="connsiteX1007" fmla="*/ 6691 w 10354"/>
                <a:gd name="connsiteY1007" fmla="*/ 2607 h 10000"/>
                <a:gd name="connsiteX1008" fmla="*/ 6691 w 10354"/>
                <a:gd name="connsiteY1008" fmla="*/ 2598 h 10000"/>
                <a:gd name="connsiteX1009" fmla="*/ 6691 w 10354"/>
                <a:gd name="connsiteY1009" fmla="*/ 2581 h 10000"/>
                <a:gd name="connsiteX1010" fmla="*/ 6696 w 10354"/>
                <a:gd name="connsiteY1010" fmla="*/ 2530 h 10000"/>
                <a:gd name="connsiteX1011" fmla="*/ 6677 w 10354"/>
                <a:gd name="connsiteY1011" fmla="*/ 2513 h 10000"/>
                <a:gd name="connsiteX1012" fmla="*/ 6677 w 10354"/>
                <a:gd name="connsiteY1012" fmla="*/ 2496 h 10000"/>
                <a:gd name="connsiteX1013" fmla="*/ 6682 w 10354"/>
                <a:gd name="connsiteY1013" fmla="*/ 2470 h 10000"/>
                <a:gd name="connsiteX1014" fmla="*/ 6668 w 10354"/>
                <a:gd name="connsiteY1014" fmla="*/ 2462 h 10000"/>
                <a:gd name="connsiteX1015" fmla="*/ 6677 w 10354"/>
                <a:gd name="connsiteY1015" fmla="*/ 2436 h 10000"/>
                <a:gd name="connsiteX1016" fmla="*/ 6682 w 10354"/>
                <a:gd name="connsiteY1016" fmla="*/ 2419 h 10000"/>
                <a:gd name="connsiteX1017" fmla="*/ 6682 w 10354"/>
                <a:gd name="connsiteY1017" fmla="*/ 2393 h 10000"/>
                <a:gd name="connsiteX1018" fmla="*/ 6682 w 10354"/>
                <a:gd name="connsiteY1018" fmla="*/ 2385 h 10000"/>
                <a:gd name="connsiteX1019" fmla="*/ 6682 w 10354"/>
                <a:gd name="connsiteY1019" fmla="*/ 2385 h 10000"/>
                <a:gd name="connsiteX1020" fmla="*/ 6677 w 10354"/>
                <a:gd name="connsiteY1020" fmla="*/ 2376 h 10000"/>
                <a:gd name="connsiteX1021" fmla="*/ 6682 w 10354"/>
                <a:gd name="connsiteY1021" fmla="*/ 2359 h 10000"/>
                <a:gd name="connsiteX1022" fmla="*/ 6677 w 10354"/>
                <a:gd name="connsiteY1022" fmla="*/ 2333 h 10000"/>
                <a:gd name="connsiteX1023" fmla="*/ 6691 w 10354"/>
                <a:gd name="connsiteY1023" fmla="*/ 2333 h 10000"/>
                <a:gd name="connsiteX1024" fmla="*/ 6691 w 10354"/>
                <a:gd name="connsiteY1024" fmla="*/ 2325 h 10000"/>
                <a:gd name="connsiteX1025" fmla="*/ 6691 w 10354"/>
                <a:gd name="connsiteY1025" fmla="*/ 2308 h 10000"/>
                <a:gd name="connsiteX1026" fmla="*/ 6691 w 10354"/>
                <a:gd name="connsiteY1026" fmla="*/ 2299 h 10000"/>
                <a:gd name="connsiteX1027" fmla="*/ 6691 w 10354"/>
                <a:gd name="connsiteY1027" fmla="*/ 2282 h 10000"/>
                <a:gd name="connsiteX1028" fmla="*/ 6691 w 10354"/>
                <a:gd name="connsiteY1028" fmla="*/ 2274 h 10000"/>
                <a:gd name="connsiteX1029" fmla="*/ 6668 w 10354"/>
                <a:gd name="connsiteY1029" fmla="*/ 2248 h 10000"/>
                <a:gd name="connsiteX1030" fmla="*/ 6664 w 10354"/>
                <a:gd name="connsiteY1030" fmla="*/ 2222 h 10000"/>
                <a:gd name="connsiteX1031" fmla="*/ 6654 w 10354"/>
                <a:gd name="connsiteY1031" fmla="*/ 2214 h 10000"/>
                <a:gd name="connsiteX1032" fmla="*/ 6654 w 10354"/>
                <a:gd name="connsiteY1032" fmla="*/ 2188 h 10000"/>
                <a:gd name="connsiteX1033" fmla="*/ 6622 w 10354"/>
                <a:gd name="connsiteY1033" fmla="*/ 2162 h 10000"/>
                <a:gd name="connsiteX1034" fmla="*/ 6631 w 10354"/>
                <a:gd name="connsiteY1034" fmla="*/ 2145 h 10000"/>
                <a:gd name="connsiteX1035" fmla="*/ 6622 w 10354"/>
                <a:gd name="connsiteY1035" fmla="*/ 2120 h 10000"/>
                <a:gd name="connsiteX1036" fmla="*/ 6608 w 10354"/>
                <a:gd name="connsiteY1036" fmla="*/ 2120 h 10000"/>
                <a:gd name="connsiteX1037" fmla="*/ 6604 w 10354"/>
                <a:gd name="connsiteY1037" fmla="*/ 2111 h 10000"/>
                <a:gd name="connsiteX1038" fmla="*/ 6608 w 10354"/>
                <a:gd name="connsiteY1038" fmla="*/ 2111 h 10000"/>
                <a:gd name="connsiteX1039" fmla="*/ 6604 w 10354"/>
                <a:gd name="connsiteY1039" fmla="*/ 2085 h 10000"/>
                <a:gd name="connsiteX1040" fmla="*/ 6581 w 10354"/>
                <a:gd name="connsiteY1040" fmla="*/ 2077 h 10000"/>
                <a:gd name="connsiteX1041" fmla="*/ 6571 w 10354"/>
                <a:gd name="connsiteY1041" fmla="*/ 2085 h 10000"/>
                <a:gd name="connsiteX1042" fmla="*/ 6548 w 10354"/>
                <a:gd name="connsiteY1042" fmla="*/ 2077 h 10000"/>
                <a:gd name="connsiteX1043" fmla="*/ 6530 w 10354"/>
                <a:gd name="connsiteY1043" fmla="*/ 2060 h 10000"/>
                <a:gd name="connsiteX1044" fmla="*/ 6521 w 10354"/>
                <a:gd name="connsiteY1044" fmla="*/ 2060 h 10000"/>
                <a:gd name="connsiteX1045" fmla="*/ 6521 w 10354"/>
                <a:gd name="connsiteY1045" fmla="*/ 2085 h 10000"/>
                <a:gd name="connsiteX1046" fmla="*/ 6516 w 10354"/>
                <a:gd name="connsiteY1046" fmla="*/ 2085 h 10000"/>
                <a:gd name="connsiteX1047" fmla="*/ 6502 w 10354"/>
                <a:gd name="connsiteY1047" fmla="*/ 2111 h 10000"/>
                <a:gd name="connsiteX1048" fmla="*/ 6498 w 10354"/>
                <a:gd name="connsiteY1048" fmla="*/ 2111 h 10000"/>
                <a:gd name="connsiteX1049" fmla="*/ 6498 w 10354"/>
                <a:gd name="connsiteY1049" fmla="*/ 2103 h 10000"/>
                <a:gd name="connsiteX1050" fmla="*/ 6475 w 10354"/>
                <a:gd name="connsiteY1050" fmla="*/ 2051 h 10000"/>
                <a:gd name="connsiteX1051" fmla="*/ 6470 w 10354"/>
                <a:gd name="connsiteY1051" fmla="*/ 2060 h 10000"/>
                <a:gd name="connsiteX1052" fmla="*/ 6456 w 10354"/>
                <a:gd name="connsiteY1052" fmla="*/ 2051 h 10000"/>
                <a:gd name="connsiteX1053" fmla="*/ 6447 w 10354"/>
                <a:gd name="connsiteY1053" fmla="*/ 2051 h 10000"/>
                <a:gd name="connsiteX1054" fmla="*/ 6433 w 10354"/>
                <a:gd name="connsiteY1054" fmla="*/ 2026 h 10000"/>
                <a:gd name="connsiteX1055" fmla="*/ 6433 w 10354"/>
                <a:gd name="connsiteY1055" fmla="*/ 2034 h 10000"/>
                <a:gd name="connsiteX1056" fmla="*/ 6429 w 10354"/>
                <a:gd name="connsiteY1056" fmla="*/ 2026 h 10000"/>
                <a:gd name="connsiteX1057" fmla="*/ 6424 w 10354"/>
                <a:gd name="connsiteY1057" fmla="*/ 2034 h 10000"/>
                <a:gd name="connsiteX1058" fmla="*/ 6410 w 10354"/>
                <a:gd name="connsiteY1058" fmla="*/ 2026 h 10000"/>
                <a:gd name="connsiteX1059" fmla="*/ 6410 w 10354"/>
                <a:gd name="connsiteY1059" fmla="*/ 1991 h 10000"/>
                <a:gd name="connsiteX1060" fmla="*/ 6401 w 10354"/>
                <a:gd name="connsiteY1060" fmla="*/ 1991 h 10000"/>
                <a:gd name="connsiteX1061" fmla="*/ 6396 w 10354"/>
                <a:gd name="connsiteY1061" fmla="*/ 2000 h 10000"/>
                <a:gd name="connsiteX1062" fmla="*/ 6382 w 10354"/>
                <a:gd name="connsiteY1062" fmla="*/ 1966 h 10000"/>
                <a:gd name="connsiteX1063" fmla="*/ 6373 w 10354"/>
                <a:gd name="connsiteY1063" fmla="*/ 1974 h 10000"/>
                <a:gd name="connsiteX1064" fmla="*/ 6369 w 10354"/>
                <a:gd name="connsiteY1064" fmla="*/ 1966 h 10000"/>
                <a:gd name="connsiteX1065" fmla="*/ 6341 w 10354"/>
                <a:gd name="connsiteY1065" fmla="*/ 1949 h 10000"/>
                <a:gd name="connsiteX1066" fmla="*/ 6327 w 10354"/>
                <a:gd name="connsiteY1066" fmla="*/ 1923 h 10000"/>
                <a:gd name="connsiteX1067" fmla="*/ 6323 w 10354"/>
                <a:gd name="connsiteY1067" fmla="*/ 1923 h 10000"/>
                <a:gd name="connsiteX1068" fmla="*/ 6323 w 10354"/>
                <a:gd name="connsiteY1068" fmla="*/ 1966 h 10000"/>
                <a:gd name="connsiteX1069" fmla="*/ 6323 w 10354"/>
                <a:gd name="connsiteY1069" fmla="*/ 1991 h 10000"/>
                <a:gd name="connsiteX1070" fmla="*/ 6313 w 10354"/>
                <a:gd name="connsiteY1070" fmla="*/ 1991 h 10000"/>
                <a:gd name="connsiteX1071" fmla="*/ 6300 w 10354"/>
                <a:gd name="connsiteY1071" fmla="*/ 1991 h 10000"/>
                <a:gd name="connsiteX1072" fmla="*/ 6290 w 10354"/>
                <a:gd name="connsiteY1072" fmla="*/ 1949 h 10000"/>
                <a:gd name="connsiteX1073" fmla="*/ 6276 w 10354"/>
                <a:gd name="connsiteY1073" fmla="*/ 2103 h 10000"/>
                <a:gd name="connsiteX1074" fmla="*/ 6281 w 10354"/>
                <a:gd name="connsiteY1074" fmla="*/ 2103 h 10000"/>
                <a:gd name="connsiteX1075" fmla="*/ 6276 w 10354"/>
                <a:gd name="connsiteY1075" fmla="*/ 2111 h 10000"/>
                <a:gd name="connsiteX1076" fmla="*/ 6276 w 10354"/>
                <a:gd name="connsiteY1076" fmla="*/ 2120 h 10000"/>
                <a:gd name="connsiteX1077" fmla="*/ 6295 w 10354"/>
                <a:gd name="connsiteY1077" fmla="*/ 2239 h 10000"/>
                <a:gd name="connsiteX1078" fmla="*/ 6290 w 10354"/>
                <a:gd name="connsiteY1078" fmla="*/ 2248 h 10000"/>
                <a:gd name="connsiteX1079" fmla="*/ 6281 w 10354"/>
                <a:gd name="connsiteY1079" fmla="*/ 2274 h 10000"/>
                <a:gd name="connsiteX1080" fmla="*/ 6249 w 10354"/>
                <a:gd name="connsiteY1080" fmla="*/ 2274 h 10000"/>
                <a:gd name="connsiteX1081" fmla="*/ 6226 w 10354"/>
                <a:gd name="connsiteY1081" fmla="*/ 2308 h 10000"/>
                <a:gd name="connsiteX1082" fmla="*/ 6221 w 10354"/>
                <a:gd name="connsiteY1082" fmla="*/ 2299 h 10000"/>
                <a:gd name="connsiteX1083" fmla="*/ 6221 w 10354"/>
                <a:gd name="connsiteY1083" fmla="*/ 2308 h 10000"/>
                <a:gd name="connsiteX1084" fmla="*/ 6217 w 10354"/>
                <a:gd name="connsiteY1084" fmla="*/ 2299 h 10000"/>
                <a:gd name="connsiteX1085" fmla="*/ 6194 w 10354"/>
                <a:gd name="connsiteY1085" fmla="*/ 2308 h 10000"/>
                <a:gd name="connsiteX1086" fmla="*/ 6180 w 10354"/>
                <a:gd name="connsiteY1086" fmla="*/ 2299 h 10000"/>
                <a:gd name="connsiteX1087" fmla="*/ 6143 w 10354"/>
                <a:gd name="connsiteY1087" fmla="*/ 2308 h 10000"/>
                <a:gd name="connsiteX1088" fmla="*/ 6134 w 10354"/>
                <a:gd name="connsiteY1088" fmla="*/ 2325 h 10000"/>
                <a:gd name="connsiteX1089" fmla="*/ 6115 w 10354"/>
                <a:gd name="connsiteY1089" fmla="*/ 2282 h 10000"/>
                <a:gd name="connsiteX1090" fmla="*/ 6069 w 10354"/>
                <a:gd name="connsiteY1090" fmla="*/ 2274 h 10000"/>
                <a:gd name="connsiteX1091" fmla="*/ 6069 w 10354"/>
                <a:gd name="connsiteY1091" fmla="*/ 2282 h 10000"/>
                <a:gd name="connsiteX1092" fmla="*/ 6060 w 10354"/>
                <a:gd name="connsiteY1092" fmla="*/ 2299 h 10000"/>
                <a:gd name="connsiteX1093" fmla="*/ 5972 w 10354"/>
                <a:gd name="connsiteY1093" fmla="*/ 2214 h 10000"/>
                <a:gd name="connsiteX1094" fmla="*/ 5968 w 10354"/>
                <a:gd name="connsiteY1094" fmla="*/ 2197 h 10000"/>
                <a:gd name="connsiteX1095" fmla="*/ 5968 w 10354"/>
                <a:gd name="connsiteY1095" fmla="*/ 2171 h 10000"/>
                <a:gd name="connsiteX1096" fmla="*/ 5968 w 10354"/>
                <a:gd name="connsiteY1096" fmla="*/ 2162 h 10000"/>
                <a:gd name="connsiteX1097" fmla="*/ 5968 w 10354"/>
                <a:gd name="connsiteY1097" fmla="*/ 2120 h 10000"/>
                <a:gd name="connsiteX1098" fmla="*/ 5968 w 10354"/>
                <a:gd name="connsiteY1098" fmla="*/ 2111 h 10000"/>
                <a:gd name="connsiteX1099" fmla="*/ 5972 w 10354"/>
                <a:gd name="connsiteY1099" fmla="*/ 2103 h 10000"/>
                <a:gd name="connsiteX1100" fmla="*/ 5986 w 10354"/>
                <a:gd name="connsiteY1100" fmla="*/ 2103 h 10000"/>
                <a:gd name="connsiteX1101" fmla="*/ 5986 w 10354"/>
                <a:gd name="connsiteY1101" fmla="*/ 2085 h 10000"/>
                <a:gd name="connsiteX1102" fmla="*/ 5995 w 10354"/>
                <a:gd name="connsiteY1102" fmla="*/ 2085 h 10000"/>
                <a:gd name="connsiteX1103" fmla="*/ 5995 w 10354"/>
                <a:gd name="connsiteY1103" fmla="*/ 2077 h 10000"/>
                <a:gd name="connsiteX1104" fmla="*/ 5986 w 10354"/>
                <a:gd name="connsiteY1104" fmla="*/ 2060 h 10000"/>
                <a:gd name="connsiteX1105" fmla="*/ 5954 w 10354"/>
                <a:gd name="connsiteY1105" fmla="*/ 2060 h 10000"/>
                <a:gd name="connsiteX1106" fmla="*/ 5940 w 10354"/>
                <a:gd name="connsiteY1106" fmla="*/ 2051 h 10000"/>
                <a:gd name="connsiteX1107" fmla="*/ 5922 w 10354"/>
                <a:gd name="connsiteY1107" fmla="*/ 2060 h 10000"/>
                <a:gd name="connsiteX1108" fmla="*/ 5885 w 10354"/>
                <a:gd name="connsiteY1108" fmla="*/ 2051 h 10000"/>
                <a:gd name="connsiteX1109" fmla="*/ 5876 w 10354"/>
                <a:gd name="connsiteY1109" fmla="*/ 2026 h 10000"/>
                <a:gd name="connsiteX1110" fmla="*/ 5862 w 10354"/>
                <a:gd name="connsiteY1110" fmla="*/ 2026 h 10000"/>
                <a:gd name="connsiteX1111" fmla="*/ 5848 w 10354"/>
                <a:gd name="connsiteY1111" fmla="*/ 2026 h 10000"/>
                <a:gd name="connsiteX1112" fmla="*/ 5825 w 10354"/>
                <a:gd name="connsiteY1112" fmla="*/ 2026 h 10000"/>
                <a:gd name="connsiteX1113" fmla="*/ 5788 w 10354"/>
                <a:gd name="connsiteY1113" fmla="*/ 1991 h 10000"/>
                <a:gd name="connsiteX1114" fmla="*/ 5760 w 10354"/>
                <a:gd name="connsiteY1114" fmla="*/ 2000 h 10000"/>
                <a:gd name="connsiteX1115" fmla="*/ 5760 w 10354"/>
                <a:gd name="connsiteY1115" fmla="*/ 2026 h 10000"/>
                <a:gd name="connsiteX1116" fmla="*/ 5714 w 10354"/>
                <a:gd name="connsiteY1116" fmla="*/ 2051 h 10000"/>
                <a:gd name="connsiteX1117" fmla="*/ 5687 w 10354"/>
                <a:gd name="connsiteY1117" fmla="*/ 2034 h 10000"/>
                <a:gd name="connsiteX1118" fmla="*/ 5645 w 10354"/>
                <a:gd name="connsiteY1118" fmla="*/ 2077 h 10000"/>
                <a:gd name="connsiteX1119" fmla="*/ 5664 w 10354"/>
                <a:gd name="connsiteY1119" fmla="*/ 2120 h 10000"/>
                <a:gd name="connsiteX1120" fmla="*/ 5664 w 10354"/>
                <a:gd name="connsiteY1120" fmla="*/ 2162 h 10000"/>
                <a:gd name="connsiteX1121" fmla="*/ 5631 w 10354"/>
                <a:gd name="connsiteY1121" fmla="*/ 2197 h 10000"/>
                <a:gd name="connsiteX1122" fmla="*/ 5618 w 10354"/>
                <a:gd name="connsiteY1122" fmla="*/ 2188 h 10000"/>
                <a:gd name="connsiteX1123" fmla="*/ 5618 w 10354"/>
                <a:gd name="connsiteY1123" fmla="*/ 2171 h 10000"/>
                <a:gd name="connsiteX1124" fmla="*/ 5641 w 10354"/>
                <a:gd name="connsiteY1124" fmla="*/ 2171 h 10000"/>
                <a:gd name="connsiteX1125" fmla="*/ 5641 w 10354"/>
                <a:gd name="connsiteY1125" fmla="*/ 2162 h 10000"/>
                <a:gd name="connsiteX1126" fmla="*/ 5627 w 10354"/>
                <a:gd name="connsiteY1126" fmla="*/ 2145 h 10000"/>
                <a:gd name="connsiteX1127" fmla="*/ 5627 w 10354"/>
                <a:gd name="connsiteY1127" fmla="*/ 2120 h 10000"/>
                <a:gd name="connsiteX1128" fmla="*/ 5618 w 10354"/>
                <a:gd name="connsiteY1128" fmla="*/ 2111 h 10000"/>
                <a:gd name="connsiteX1129" fmla="*/ 5631 w 10354"/>
                <a:gd name="connsiteY1129" fmla="*/ 2051 h 10000"/>
                <a:gd name="connsiteX1130" fmla="*/ 5631 w 10354"/>
                <a:gd name="connsiteY1130" fmla="*/ 2026 h 10000"/>
                <a:gd name="connsiteX1131" fmla="*/ 5627 w 10354"/>
                <a:gd name="connsiteY1131" fmla="*/ 1991 h 10000"/>
                <a:gd name="connsiteX1132" fmla="*/ 5618 w 10354"/>
                <a:gd name="connsiteY1132" fmla="*/ 1974 h 10000"/>
                <a:gd name="connsiteX1133" fmla="*/ 5618 w 10354"/>
                <a:gd name="connsiteY1133" fmla="*/ 1940 h 10000"/>
                <a:gd name="connsiteX1134" fmla="*/ 5594 w 10354"/>
                <a:gd name="connsiteY1134" fmla="*/ 1855 h 10000"/>
                <a:gd name="connsiteX1135" fmla="*/ 5599 w 10354"/>
                <a:gd name="connsiteY1135" fmla="*/ 1915 h 10000"/>
                <a:gd name="connsiteX1136" fmla="*/ 5599 w 10354"/>
                <a:gd name="connsiteY1136" fmla="*/ 1949 h 10000"/>
                <a:gd name="connsiteX1137" fmla="*/ 5594 w 10354"/>
                <a:gd name="connsiteY1137" fmla="*/ 1991 h 10000"/>
                <a:gd name="connsiteX1138" fmla="*/ 5571 w 10354"/>
                <a:gd name="connsiteY1138" fmla="*/ 2000 h 10000"/>
                <a:gd name="connsiteX1139" fmla="*/ 5530 w 10354"/>
                <a:gd name="connsiteY1139" fmla="*/ 1991 h 10000"/>
                <a:gd name="connsiteX1140" fmla="*/ 5525 w 10354"/>
                <a:gd name="connsiteY1140" fmla="*/ 2000 h 10000"/>
                <a:gd name="connsiteX1141" fmla="*/ 5521 w 10354"/>
                <a:gd name="connsiteY1141" fmla="*/ 1991 h 10000"/>
                <a:gd name="connsiteX1142" fmla="*/ 5498 w 10354"/>
                <a:gd name="connsiteY1142" fmla="*/ 1949 h 10000"/>
                <a:gd name="connsiteX1143" fmla="*/ 5493 w 10354"/>
                <a:gd name="connsiteY1143" fmla="*/ 1889 h 10000"/>
                <a:gd name="connsiteX1144" fmla="*/ 5493 w 10354"/>
                <a:gd name="connsiteY1144" fmla="*/ 1863 h 10000"/>
                <a:gd name="connsiteX1145" fmla="*/ 5498 w 10354"/>
                <a:gd name="connsiteY1145" fmla="*/ 1889 h 10000"/>
                <a:gd name="connsiteX1146" fmla="*/ 5512 w 10354"/>
                <a:gd name="connsiteY1146" fmla="*/ 1855 h 10000"/>
                <a:gd name="connsiteX1147" fmla="*/ 5512 w 10354"/>
                <a:gd name="connsiteY1147" fmla="*/ 1838 h 10000"/>
                <a:gd name="connsiteX1148" fmla="*/ 5479 w 10354"/>
                <a:gd name="connsiteY1148" fmla="*/ 1855 h 10000"/>
                <a:gd name="connsiteX1149" fmla="*/ 5470 w 10354"/>
                <a:gd name="connsiteY1149" fmla="*/ 1872 h 10000"/>
                <a:gd name="connsiteX1150" fmla="*/ 5470 w 10354"/>
                <a:gd name="connsiteY1150" fmla="*/ 1889 h 10000"/>
                <a:gd name="connsiteX1151" fmla="*/ 5465 w 10354"/>
                <a:gd name="connsiteY1151" fmla="*/ 1897 h 10000"/>
                <a:gd name="connsiteX1152" fmla="*/ 5456 w 10354"/>
                <a:gd name="connsiteY1152" fmla="*/ 1872 h 10000"/>
                <a:gd name="connsiteX1153" fmla="*/ 5447 w 10354"/>
                <a:gd name="connsiteY1153" fmla="*/ 1872 h 10000"/>
                <a:gd name="connsiteX1154" fmla="*/ 5433 w 10354"/>
                <a:gd name="connsiteY1154" fmla="*/ 1855 h 10000"/>
                <a:gd name="connsiteX1155" fmla="*/ 5396 w 10354"/>
                <a:gd name="connsiteY1155" fmla="*/ 1863 h 10000"/>
                <a:gd name="connsiteX1156" fmla="*/ 5396 w 10354"/>
                <a:gd name="connsiteY1156" fmla="*/ 1897 h 10000"/>
                <a:gd name="connsiteX1157" fmla="*/ 5378 w 10354"/>
                <a:gd name="connsiteY1157" fmla="*/ 1949 h 10000"/>
                <a:gd name="connsiteX1158" fmla="*/ 5378 w 10354"/>
                <a:gd name="connsiteY1158" fmla="*/ 1966 h 10000"/>
                <a:gd name="connsiteX1159" fmla="*/ 5392 w 10354"/>
                <a:gd name="connsiteY1159" fmla="*/ 2026 h 10000"/>
                <a:gd name="connsiteX1160" fmla="*/ 5396 w 10354"/>
                <a:gd name="connsiteY1160" fmla="*/ 2026 h 10000"/>
                <a:gd name="connsiteX1161" fmla="*/ 5392 w 10354"/>
                <a:gd name="connsiteY1161" fmla="*/ 2009 h 10000"/>
                <a:gd name="connsiteX1162" fmla="*/ 5392 w 10354"/>
                <a:gd name="connsiteY1162" fmla="*/ 2000 h 10000"/>
                <a:gd name="connsiteX1163" fmla="*/ 5396 w 10354"/>
                <a:gd name="connsiteY1163" fmla="*/ 2009 h 10000"/>
                <a:gd name="connsiteX1164" fmla="*/ 5424 w 10354"/>
                <a:gd name="connsiteY1164" fmla="*/ 2009 h 10000"/>
                <a:gd name="connsiteX1165" fmla="*/ 5433 w 10354"/>
                <a:gd name="connsiteY1165" fmla="*/ 1991 h 10000"/>
                <a:gd name="connsiteX1166" fmla="*/ 5447 w 10354"/>
                <a:gd name="connsiteY1166" fmla="*/ 1974 h 10000"/>
                <a:gd name="connsiteX1167" fmla="*/ 5452 w 10354"/>
                <a:gd name="connsiteY1167" fmla="*/ 1966 h 10000"/>
                <a:gd name="connsiteX1168" fmla="*/ 5456 w 10354"/>
                <a:gd name="connsiteY1168" fmla="*/ 1966 h 10000"/>
                <a:gd name="connsiteX1169" fmla="*/ 5465 w 10354"/>
                <a:gd name="connsiteY1169" fmla="*/ 2009 h 10000"/>
                <a:gd name="connsiteX1170" fmla="*/ 5433 w 10354"/>
                <a:gd name="connsiteY1170" fmla="*/ 2034 h 10000"/>
                <a:gd name="connsiteX1171" fmla="*/ 5424 w 10354"/>
                <a:gd name="connsiteY1171" fmla="*/ 2060 h 10000"/>
                <a:gd name="connsiteX1172" fmla="*/ 5419 w 10354"/>
                <a:gd name="connsiteY1172" fmla="*/ 2060 h 10000"/>
                <a:gd name="connsiteX1173" fmla="*/ 5392 w 10354"/>
                <a:gd name="connsiteY1173" fmla="*/ 2111 h 10000"/>
                <a:gd name="connsiteX1174" fmla="*/ 5378 w 10354"/>
                <a:gd name="connsiteY1174" fmla="*/ 2111 h 10000"/>
                <a:gd name="connsiteX1175" fmla="*/ 5350 w 10354"/>
                <a:gd name="connsiteY1175" fmla="*/ 2060 h 10000"/>
                <a:gd name="connsiteX1176" fmla="*/ 5373 w 10354"/>
                <a:gd name="connsiteY1176" fmla="*/ 2111 h 10000"/>
                <a:gd name="connsiteX1177" fmla="*/ 5364 w 10354"/>
                <a:gd name="connsiteY1177" fmla="*/ 2111 h 10000"/>
                <a:gd name="connsiteX1178" fmla="*/ 5359 w 10354"/>
                <a:gd name="connsiteY1178" fmla="*/ 2103 h 10000"/>
                <a:gd name="connsiteX1179" fmla="*/ 5359 w 10354"/>
                <a:gd name="connsiteY1179" fmla="*/ 2120 h 10000"/>
                <a:gd name="connsiteX1180" fmla="*/ 5359 w 10354"/>
                <a:gd name="connsiteY1180" fmla="*/ 2137 h 10000"/>
                <a:gd name="connsiteX1181" fmla="*/ 5313 w 10354"/>
                <a:gd name="connsiteY1181" fmla="*/ 2162 h 10000"/>
                <a:gd name="connsiteX1182" fmla="*/ 5300 w 10354"/>
                <a:gd name="connsiteY1182" fmla="*/ 2162 h 10000"/>
                <a:gd name="connsiteX1183" fmla="*/ 5300 w 10354"/>
                <a:gd name="connsiteY1183" fmla="*/ 2171 h 10000"/>
                <a:gd name="connsiteX1184" fmla="*/ 5300 w 10354"/>
                <a:gd name="connsiteY1184" fmla="*/ 2197 h 10000"/>
                <a:gd name="connsiteX1185" fmla="*/ 5276 w 10354"/>
                <a:gd name="connsiteY1185" fmla="*/ 2188 h 10000"/>
                <a:gd name="connsiteX1186" fmla="*/ 5249 w 10354"/>
                <a:gd name="connsiteY1186" fmla="*/ 2222 h 10000"/>
                <a:gd name="connsiteX1187" fmla="*/ 5249 w 10354"/>
                <a:gd name="connsiteY1187" fmla="*/ 2222 h 10000"/>
                <a:gd name="connsiteX1188" fmla="*/ 5217 w 10354"/>
                <a:gd name="connsiteY1188" fmla="*/ 2214 h 10000"/>
                <a:gd name="connsiteX1189" fmla="*/ 5203 w 10354"/>
                <a:gd name="connsiteY1189" fmla="*/ 2239 h 10000"/>
                <a:gd name="connsiteX1190" fmla="*/ 5171 w 10354"/>
                <a:gd name="connsiteY1190" fmla="*/ 2214 h 10000"/>
                <a:gd name="connsiteX1191" fmla="*/ 5157 w 10354"/>
                <a:gd name="connsiteY1191" fmla="*/ 2239 h 10000"/>
                <a:gd name="connsiteX1192" fmla="*/ 5166 w 10354"/>
                <a:gd name="connsiteY1192" fmla="*/ 2256 h 10000"/>
                <a:gd name="connsiteX1193" fmla="*/ 5171 w 10354"/>
                <a:gd name="connsiteY1193" fmla="*/ 2308 h 10000"/>
                <a:gd name="connsiteX1194" fmla="*/ 5212 w 10354"/>
                <a:gd name="connsiteY1194" fmla="*/ 2350 h 10000"/>
                <a:gd name="connsiteX1195" fmla="*/ 5203 w 10354"/>
                <a:gd name="connsiteY1195" fmla="*/ 2350 h 10000"/>
                <a:gd name="connsiteX1196" fmla="*/ 5166 w 10354"/>
                <a:gd name="connsiteY1196" fmla="*/ 2325 h 10000"/>
                <a:gd name="connsiteX1197" fmla="*/ 5152 w 10354"/>
                <a:gd name="connsiteY1197" fmla="*/ 2308 h 10000"/>
                <a:gd name="connsiteX1198" fmla="*/ 5143 w 10354"/>
                <a:gd name="connsiteY1198" fmla="*/ 2333 h 10000"/>
                <a:gd name="connsiteX1199" fmla="*/ 5138 w 10354"/>
                <a:gd name="connsiteY1199" fmla="*/ 2333 h 10000"/>
                <a:gd name="connsiteX1200" fmla="*/ 5124 w 10354"/>
                <a:gd name="connsiteY1200" fmla="*/ 2376 h 10000"/>
                <a:gd name="connsiteX1201" fmla="*/ 5115 w 10354"/>
                <a:gd name="connsiteY1201" fmla="*/ 2385 h 10000"/>
                <a:gd name="connsiteX1202" fmla="*/ 5106 w 10354"/>
                <a:gd name="connsiteY1202" fmla="*/ 2385 h 10000"/>
                <a:gd name="connsiteX1203" fmla="*/ 5055 w 10354"/>
                <a:gd name="connsiteY1203" fmla="*/ 2470 h 10000"/>
                <a:gd name="connsiteX1204" fmla="*/ 5065 w 10354"/>
                <a:gd name="connsiteY1204" fmla="*/ 2462 h 10000"/>
                <a:gd name="connsiteX1205" fmla="*/ 5055 w 10354"/>
                <a:gd name="connsiteY1205" fmla="*/ 2444 h 10000"/>
                <a:gd name="connsiteX1206" fmla="*/ 5041 w 10354"/>
                <a:gd name="connsiteY1206" fmla="*/ 2462 h 10000"/>
                <a:gd name="connsiteX1207" fmla="*/ 5037 w 10354"/>
                <a:gd name="connsiteY1207" fmla="*/ 2470 h 10000"/>
                <a:gd name="connsiteX1208" fmla="*/ 5032 w 10354"/>
                <a:gd name="connsiteY1208" fmla="*/ 2470 h 10000"/>
                <a:gd name="connsiteX1209" fmla="*/ 5032 w 10354"/>
                <a:gd name="connsiteY1209" fmla="*/ 2444 h 10000"/>
                <a:gd name="connsiteX1210" fmla="*/ 5055 w 10354"/>
                <a:gd name="connsiteY1210" fmla="*/ 2410 h 10000"/>
                <a:gd name="connsiteX1211" fmla="*/ 5065 w 10354"/>
                <a:gd name="connsiteY1211" fmla="*/ 2393 h 10000"/>
                <a:gd name="connsiteX1212" fmla="*/ 5069 w 10354"/>
                <a:gd name="connsiteY1212" fmla="*/ 2385 h 10000"/>
                <a:gd name="connsiteX1213" fmla="*/ 5083 w 10354"/>
                <a:gd name="connsiteY1213" fmla="*/ 2376 h 10000"/>
                <a:gd name="connsiteX1214" fmla="*/ 5097 w 10354"/>
                <a:gd name="connsiteY1214" fmla="*/ 2376 h 10000"/>
                <a:gd name="connsiteX1215" fmla="*/ 5124 w 10354"/>
                <a:gd name="connsiteY1215" fmla="*/ 2325 h 10000"/>
                <a:gd name="connsiteX1216" fmla="*/ 5143 w 10354"/>
                <a:gd name="connsiteY1216" fmla="*/ 2248 h 10000"/>
                <a:gd name="connsiteX1217" fmla="*/ 5152 w 10354"/>
                <a:gd name="connsiteY1217" fmla="*/ 2239 h 10000"/>
                <a:gd name="connsiteX1218" fmla="*/ 5166 w 10354"/>
                <a:gd name="connsiteY1218" fmla="*/ 2162 h 10000"/>
                <a:gd name="connsiteX1219" fmla="*/ 5171 w 10354"/>
                <a:gd name="connsiteY1219" fmla="*/ 2171 h 10000"/>
                <a:gd name="connsiteX1220" fmla="*/ 5198 w 10354"/>
                <a:gd name="connsiteY1220" fmla="*/ 2145 h 10000"/>
                <a:gd name="connsiteX1221" fmla="*/ 5203 w 10354"/>
                <a:gd name="connsiteY1221" fmla="*/ 2111 h 10000"/>
                <a:gd name="connsiteX1222" fmla="*/ 5217 w 10354"/>
                <a:gd name="connsiteY1222" fmla="*/ 2060 h 10000"/>
                <a:gd name="connsiteX1223" fmla="*/ 5226 w 10354"/>
                <a:gd name="connsiteY1223" fmla="*/ 2026 h 10000"/>
                <a:gd name="connsiteX1224" fmla="*/ 5286 w 10354"/>
                <a:gd name="connsiteY1224" fmla="*/ 2026 h 10000"/>
                <a:gd name="connsiteX1225" fmla="*/ 5290 w 10354"/>
                <a:gd name="connsiteY1225" fmla="*/ 2034 h 10000"/>
                <a:gd name="connsiteX1226" fmla="*/ 5323 w 10354"/>
                <a:gd name="connsiteY1226" fmla="*/ 1923 h 10000"/>
                <a:gd name="connsiteX1227" fmla="*/ 5323 w 10354"/>
                <a:gd name="connsiteY1227" fmla="*/ 1889 h 10000"/>
                <a:gd name="connsiteX1228" fmla="*/ 5359 w 10354"/>
                <a:gd name="connsiteY1228" fmla="*/ 1829 h 10000"/>
                <a:gd name="connsiteX1229" fmla="*/ 5378 w 10354"/>
                <a:gd name="connsiteY1229" fmla="*/ 1812 h 10000"/>
                <a:gd name="connsiteX1230" fmla="*/ 5406 w 10354"/>
                <a:gd name="connsiteY1230" fmla="*/ 1752 h 10000"/>
                <a:gd name="connsiteX1231" fmla="*/ 5410 w 10354"/>
                <a:gd name="connsiteY1231" fmla="*/ 1718 h 10000"/>
                <a:gd name="connsiteX1232" fmla="*/ 5438 w 10354"/>
                <a:gd name="connsiteY1232" fmla="*/ 1667 h 10000"/>
                <a:gd name="connsiteX1233" fmla="*/ 5438 w 10354"/>
                <a:gd name="connsiteY1233" fmla="*/ 1650 h 10000"/>
                <a:gd name="connsiteX1234" fmla="*/ 5438 w 10354"/>
                <a:gd name="connsiteY1234" fmla="*/ 1641 h 10000"/>
                <a:gd name="connsiteX1235" fmla="*/ 5452 w 10354"/>
                <a:gd name="connsiteY1235" fmla="*/ 1641 h 10000"/>
                <a:gd name="connsiteX1236" fmla="*/ 5456 w 10354"/>
                <a:gd name="connsiteY1236" fmla="*/ 1615 h 10000"/>
                <a:gd name="connsiteX1237" fmla="*/ 5456 w 10354"/>
                <a:gd name="connsiteY1237" fmla="*/ 1615 h 10000"/>
                <a:gd name="connsiteX1238" fmla="*/ 5465 w 10354"/>
                <a:gd name="connsiteY1238" fmla="*/ 1598 h 10000"/>
                <a:gd name="connsiteX1239" fmla="*/ 5465 w 10354"/>
                <a:gd name="connsiteY1239" fmla="*/ 1615 h 10000"/>
                <a:gd name="connsiteX1240" fmla="*/ 5479 w 10354"/>
                <a:gd name="connsiteY1240" fmla="*/ 1598 h 10000"/>
                <a:gd name="connsiteX1241" fmla="*/ 5484 w 10354"/>
                <a:gd name="connsiteY1241" fmla="*/ 1581 h 10000"/>
                <a:gd name="connsiteX1242" fmla="*/ 5493 w 10354"/>
                <a:gd name="connsiteY1242" fmla="*/ 1581 h 10000"/>
                <a:gd name="connsiteX1243" fmla="*/ 5512 w 10354"/>
                <a:gd name="connsiteY1243" fmla="*/ 1538 h 10000"/>
                <a:gd name="connsiteX1244" fmla="*/ 5530 w 10354"/>
                <a:gd name="connsiteY1244" fmla="*/ 1564 h 10000"/>
                <a:gd name="connsiteX1245" fmla="*/ 5530 w 10354"/>
                <a:gd name="connsiteY1245" fmla="*/ 1538 h 10000"/>
                <a:gd name="connsiteX1246" fmla="*/ 5539 w 10354"/>
                <a:gd name="connsiteY1246" fmla="*/ 1530 h 10000"/>
                <a:gd name="connsiteX1247" fmla="*/ 5530 w 10354"/>
                <a:gd name="connsiteY1247" fmla="*/ 1504 h 10000"/>
                <a:gd name="connsiteX1248" fmla="*/ 5567 w 10354"/>
                <a:gd name="connsiteY1248" fmla="*/ 1479 h 10000"/>
                <a:gd name="connsiteX1249" fmla="*/ 5553 w 10354"/>
                <a:gd name="connsiteY1249" fmla="*/ 1479 h 10000"/>
                <a:gd name="connsiteX1250" fmla="*/ 5553 w 10354"/>
                <a:gd name="connsiteY1250" fmla="*/ 1453 h 10000"/>
                <a:gd name="connsiteX1251" fmla="*/ 5581 w 10354"/>
                <a:gd name="connsiteY1251" fmla="*/ 1444 h 10000"/>
                <a:gd name="connsiteX1252" fmla="*/ 5581 w 10354"/>
                <a:gd name="connsiteY1252" fmla="*/ 1453 h 10000"/>
                <a:gd name="connsiteX1253" fmla="*/ 5585 w 10354"/>
                <a:gd name="connsiteY1253" fmla="*/ 1444 h 10000"/>
                <a:gd name="connsiteX1254" fmla="*/ 5594 w 10354"/>
                <a:gd name="connsiteY1254" fmla="*/ 1427 h 10000"/>
                <a:gd name="connsiteX1255" fmla="*/ 5599 w 10354"/>
                <a:gd name="connsiteY1255" fmla="*/ 1419 h 10000"/>
                <a:gd name="connsiteX1256" fmla="*/ 5594 w 10354"/>
                <a:gd name="connsiteY1256" fmla="*/ 1402 h 10000"/>
                <a:gd name="connsiteX1257" fmla="*/ 5604 w 10354"/>
                <a:gd name="connsiteY1257" fmla="*/ 1393 h 10000"/>
                <a:gd name="connsiteX1258" fmla="*/ 5618 w 10354"/>
                <a:gd name="connsiteY1258" fmla="*/ 1393 h 10000"/>
                <a:gd name="connsiteX1259" fmla="*/ 5627 w 10354"/>
                <a:gd name="connsiteY1259" fmla="*/ 1368 h 10000"/>
                <a:gd name="connsiteX1260" fmla="*/ 5627 w 10354"/>
                <a:gd name="connsiteY1260" fmla="*/ 1325 h 10000"/>
                <a:gd name="connsiteX1261" fmla="*/ 5645 w 10354"/>
                <a:gd name="connsiteY1261" fmla="*/ 1291 h 10000"/>
                <a:gd name="connsiteX1262" fmla="*/ 5645 w 10354"/>
                <a:gd name="connsiteY1262" fmla="*/ 1282 h 10000"/>
                <a:gd name="connsiteX1263" fmla="*/ 5654 w 10354"/>
                <a:gd name="connsiteY1263" fmla="*/ 1265 h 10000"/>
                <a:gd name="connsiteX1264" fmla="*/ 5654 w 10354"/>
                <a:gd name="connsiteY1264" fmla="*/ 1214 h 10000"/>
                <a:gd name="connsiteX1265" fmla="*/ 5654 w 10354"/>
                <a:gd name="connsiteY1265" fmla="*/ 1214 h 10000"/>
                <a:gd name="connsiteX1266" fmla="*/ 5645 w 10354"/>
                <a:gd name="connsiteY1266" fmla="*/ 1197 h 10000"/>
                <a:gd name="connsiteX1267" fmla="*/ 5659 w 10354"/>
                <a:gd name="connsiteY1267" fmla="*/ 1197 h 10000"/>
                <a:gd name="connsiteX1268" fmla="*/ 5654 w 10354"/>
                <a:gd name="connsiteY1268" fmla="*/ 1154 h 10000"/>
                <a:gd name="connsiteX1269" fmla="*/ 5641 w 10354"/>
                <a:gd name="connsiteY1269" fmla="*/ 1154 h 10000"/>
                <a:gd name="connsiteX1270" fmla="*/ 5627 w 10354"/>
                <a:gd name="connsiteY1270" fmla="*/ 1128 h 10000"/>
                <a:gd name="connsiteX1271" fmla="*/ 5618 w 10354"/>
                <a:gd name="connsiteY1271" fmla="*/ 1094 h 10000"/>
                <a:gd name="connsiteX1272" fmla="*/ 5613 w 10354"/>
                <a:gd name="connsiteY1272" fmla="*/ 1094 h 10000"/>
                <a:gd name="connsiteX1273" fmla="*/ 5604 w 10354"/>
                <a:gd name="connsiteY1273" fmla="*/ 1120 h 10000"/>
                <a:gd name="connsiteX1274" fmla="*/ 5604 w 10354"/>
                <a:gd name="connsiteY1274" fmla="*/ 1128 h 10000"/>
                <a:gd name="connsiteX1275" fmla="*/ 5599 w 10354"/>
                <a:gd name="connsiteY1275" fmla="*/ 1103 h 10000"/>
                <a:gd name="connsiteX1276" fmla="*/ 5599 w 10354"/>
                <a:gd name="connsiteY1276" fmla="*/ 1103 h 10000"/>
                <a:gd name="connsiteX1277" fmla="*/ 5594 w 10354"/>
                <a:gd name="connsiteY1277" fmla="*/ 1068 h 10000"/>
                <a:gd name="connsiteX1278" fmla="*/ 5594 w 10354"/>
                <a:gd name="connsiteY1278" fmla="*/ 1060 h 10000"/>
                <a:gd name="connsiteX1279" fmla="*/ 5581 w 10354"/>
                <a:gd name="connsiteY1279" fmla="*/ 1034 h 10000"/>
                <a:gd name="connsiteX1280" fmla="*/ 5571 w 10354"/>
                <a:gd name="connsiteY1280" fmla="*/ 1009 h 10000"/>
                <a:gd name="connsiteX1281" fmla="*/ 5571 w 10354"/>
                <a:gd name="connsiteY1281" fmla="*/ 991 h 10000"/>
                <a:gd name="connsiteX1282" fmla="*/ 5585 w 10354"/>
                <a:gd name="connsiteY1282" fmla="*/ 1009 h 10000"/>
                <a:gd name="connsiteX1283" fmla="*/ 5604 w 10354"/>
                <a:gd name="connsiteY1283" fmla="*/ 1043 h 10000"/>
                <a:gd name="connsiteX1284" fmla="*/ 5641 w 10354"/>
                <a:gd name="connsiteY1284" fmla="*/ 1094 h 10000"/>
                <a:gd name="connsiteX1285" fmla="*/ 5631 w 10354"/>
                <a:gd name="connsiteY1285" fmla="*/ 1128 h 10000"/>
                <a:gd name="connsiteX1286" fmla="*/ 5641 w 10354"/>
                <a:gd name="connsiteY1286" fmla="*/ 1128 h 10000"/>
                <a:gd name="connsiteX1287" fmla="*/ 5659 w 10354"/>
                <a:gd name="connsiteY1287" fmla="*/ 1017 h 10000"/>
                <a:gd name="connsiteX1288" fmla="*/ 5659 w 10354"/>
                <a:gd name="connsiteY1288" fmla="*/ 983 h 10000"/>
                <a:gd name="connsiteX1289" fmla="*/ 5659 w 10354"/>
                <a:gd name="connsiteY1289" fmla="*/ 957 h 10000"/>
                <a:gd name="connsiteX1290" fmla="*/ 5654 w 10354"/>
                <a:gd name="connsiteY1290" fmla="*/ 966 h 10000"/>
                <a:gd name="connsiteX1291" fmla="*/ 5641 w 10354"/>
                <a:gd name="connsiteY1291" fmla="*/ 957 h 10000"/>
                <a:gd name="connsiteX1292" fmla="*/ 5631 w 10354"/>
                <a:gd name="connsiteY1292" fmla="*/ 897 h 10000"/>
                <a:gd name="connsiteX1293" fmla="*/ 5641 w 10354"/>
                <a:gd name="connsiteY1293" fmla="*/ 872 h 10000"/>
                <a:gd name="connsiteX1294" fmla="*/ 5618 w 10354"/>
                <a:gd name="connsiteY1294" fmla="*/ 803 h 10000"/>
                <a:gd name="connsiteX1295" fmla="*/ 5604 w 10354"/>
                <a:gd name="connsiteY1295" fmla="*/ 821 h 10000"/>
                <a:gd name="connsiteX1296" fmla="*/ 5613 w 10354"/>
                <a:gd name="connsiteY1296" fmla="*/ 846 h 10000"/>
                <a:gd name="connsiteX1297" fmla="*/ 5604 w 10354"/>
                <a:gd name="connsiteY1297" fmla="*/ 855 h 10000"/>
                <a:gd name="connsiteX1298" fmla="*/ 5599 w 10354"/>
                <a:gd name="connsiteY1298" fmla="*/ 880 h 10000"/>
                <a:gd name="connsiteX1299" fmla="*/ 5594 w 10354"/>
                <a:gd name="connsiteY1299" fmla="*/ 880 h 10000"/>
                <a:gd name="connsiteX1300" fmla="*/ 5585 w 10354"/>
                <a:gd name="connsiteY1300" fmla="*/ 829 h 10000"/>
                <a:gd name="connsiteX1301" fmla="*/ 5571 w 10354"/>
                <a:gd name="connsiteY1301" fmla="*/ 803 h 10000"/>
                <a:gd name="connsiteX1302" fmla="*/ 5585 w 10354"/>
                <a:gd name="connsiteY1302" fmla="*/ 795 h 10000"/>
                <a:gd name="connsiteX1303" fmla="*/ 5585 w 10354"/>
                <a:gd name="connsiteY1303" fmla="*/ 761 h 10000"/>
                <a:gd name="connsiteX1304" fmla="*/ 5558 w 10354"/>
                <a:gd name="connsiteY1304" fmla="*/ 709 h 10000"/>
                <a:gd name="connsiteX1305" fmla="*/ 5544 w 10354"/>
                <a:gd name="connsiteY1305" fmla="*/ 709 h 10000"/>
                <a:gd name="connsiteX1306" fmla="*/ 5544 w 10354"/>
                <a:gd name="connsiteY1306" fmla="*/ 684 h 10000"/>
                <a:gd name="connsiteX1307" fmla="*/ 5525 w 10354"/>
                <a:gd name="connsiteY1307" fmla="*/ 632 h 10000"/>
                <a:gd name="connsiteX1308" fmla="*/ 5507 w 10354"/>
                <a:gd name="connsiteY1308" fmla="*/ 607 h 10000"/>
                <a:gd name="connsiteX1309" fmla="*/ 5512 w 10354"/>
                <a:gd name="connsiteY1309" fmla="*/ 598 h 10000"/>
                <a:gd name="connsiteX1310" fmla="*/ 5507 w 10354"/>
                <a:gd name="connsiteY1310" fmla="*/ 581 h 10000"/>
                <a:gd name="connsiteX1311" fmla="*/ 5493 w 10354"/>
                <a:gd name="connsiteY1311" fmla="*/ 573 h 10000"/>
                <a:gd name="connsiteX1312" fmla="*/ 5484 w 10354"/>
                <a:gd name="connsiteY1312" fmla="*/ 581 h 10000"/>
                <a:gd name="connsiteX1313" fmla="*/ 5484 w 10354"/>
                <a:gd name="connsiteY1313" fmla="*/ 573 h 10000"/>
                <a:gd name="connsiteX1314" fmla="*/ 5484 w 10354"/>
                <a:gd name="connsiteY1314" fmla="*/ 547 h 10000"/>
                <a:gd name="connsiteX1315" fmla="*/ 5465 w 10354"/>
                <a:gd name="connsiteY1315" fmla="*/ 556 h 10000"/>
                <a:gd name="connsiteX1316" fmla="*/ 5433 w 10354"/>
                <a:gd name="connsiteY1316" fmla="*/ 547 h 10000"/>
                <a:gd name="connsiteX1317" fmla="*/ 5410 w 10354"/>
                <a:gd name="connsiteY1317" fmla="*/ 573 h 10000"/>
                <a:gd name="connsiteX1318" fmla="*/ 5406 w 10354"/>
                <a:gd name="connsiteY1318" fmla="*/ 573 h 10000"/>
                <a:gd name="connsiteX1319" fmla="*/ 5392 w 10354"/>
                <a:gd name="connsiteY1319" fmla="*/ 573 h 10000"/>
                <a:gd name="connsiteX1320" fmla="*/ 5364 w 10354"/>
                <a:gd name="connsiteY1320" fmla="*/ 530 h 10000"/>
                <a:gd name="connsiteX1321" fmla="*/ 5350 w 10354"/>
                <a:gd name="connsiteY1321" fmla="*/ 556 h 10000"/>
                <a:gd name="connsiteX1322" fmla="*/ 5346 w 10354"/>
                <a:gd name="connsiteY1322" fmla="*/ 556 h 10000"/>
                <a:gd name="connsiteX1323" fmla="*/ 5313 w 10354"/>
                <a:gd name="connsiteY1323" fmla="*/ 573 h 10000"/>
                <a:gd name="connsiteX1324" fmla="*/ 5304 w 10354"/>
                <a:gd name="connsiteY1324" fmla="*/ 556 h 10000"/>
                <a:gd name="connsiteX1325" fmla="*/ 5290 w 10354"/>
                <a:gd name="connsiteY1325" fmla="*/ 573 h 10000"/>
                <a:gd name="connsiteX1326" fmla="*/ 5290 w 10354"/>
                <a:gd name="connsiteY1326" fmla="*/ 556 h 10000"/>
                <a:gd name="connsiteX1327" fmla="*/ 5300 w 10354"/>
                <a:gd name="connsiteY1327" fmla="*/ 547 h 10000"/>
                <a:gd name="connsiteX1328" fmla="*/ 5300 w 10354"/>
                <a:gd name="connsiteY1328" fmla="*/ 530 h 10000"/>
                <a:gd name="connsiteX1329" fmla="*/ 5290 w 10354"/>
                <a:gd name="connsiteY1329" fmla="*/ 530 h 10000"/>
                <a:gd name="connsiteX1330" fmla="*/ 5286 w 10354"/>
                <a:gd name="connsiteY1330" fmla="*/ 547 h 10000"/>
                <a:gd name="connsiteX1331" fmla="*/ 5272 w 10354"/>
                <a:gd name="connsiteY1331" fmla="*/ 556 h 10000"/>
                <a:gd name="connsiteX1332" fmla="*/ 5272 w 10354"/>
                <a:gd name="connsiteY1332" fmla="*/ 598 h 10000"/>
                <a:gd name="connsiteX1333" fmla="*/ 5276 w 10354"/>
                <a:gd name="connsiteY1333" fmla="*/ 581 h 10000"/>
                <a:gd name="connsiteX1334" fmla="*/ 5272 w 10354"/>
                <a:gd name="connsiteY1334" fmla="*/ 607 h 10000"/>
                <a:gd name="connsiteX1335" fmla="*/ 5263 w 10354"/>
                <a:gd name="connsiteY1335" fmla="*/ 607 h 10000"/>
                <a:gd name="connsiteX1336" fmla="*/ 5263 w 10354"/>
                <a:gd name="connsiteY1336" fmla="*/ 632 h 10000"/>
                <a:gd name="connsiteX1337" fmla="*/ 5258 w 10354"/>
                <a:gd name="connsiteY1337" fmla="*/ 658 h 10000"/>
                <a:gd name="connsiteX1338" fmla="*/ 5244 w 10354"/>
                <a:gd name="connsiteY1338" fmla="*/ 667 h 10000"/>
                <a:gd name="connsiteX1339" fmla="*/ 5240 w 10354"/>
                <a:gd name="connsiteY1339" fmla="*/ 658 h 10000"/>
                <a:gd name="connsiteX1340" fmla="*/ 5240 w 10354"/>
                <a:gd name="connsiteY1340" fmla="*/ 684 h 10000"/>
                <a:gd name="connsiteX1341" fmla="*/ 5212 w 10354"/>
                <a:gd name="connsiteY1341" fmla="*/ 684 h 10000"/>
                <a:gd name="connsiteX1342" fmla="*/ 5198 w 10354"/>
                <a:gd name="connsiteY1342" fmla="*/ 692 h 10000"/>
                <a:gd name="connsiteX1343" fmla="*/ 5184 w 10354"/>
                <a:gd name="connsiteY1343" fmla="*/ 684 h 10000"/>
                <a:gd name="connsiteX1344" fmla="*/ 5157 w 10354"/>
                <a:gd name="connsiteY1344" fmla="*/ 684 h 10000"/>
                <a:gd name="connsiteX1345" fmla="*/ 5157 w 10354"/>
                <a:gd name="connsiteY1345" fmla="*/ 667 h 10000"/>
                <a:gd name="connsiteX1346" fmla="*/ 5157 w 10354"/>
                <a:gd name="connsiteY1346" fmla="*/ 667 h 10000"/>
                <a:gd name="connsiteX1347" fmla="*/ 5180 w 10354"/>
                <a:gd name="connsiteY1347" fmla="*/ 650 h 10000"/>
                <a:gd name="connsiteX1348" fmla="*/ 5184 w 10354"/>
                <a:gd name="connsiteY1348" fmla="*/ 658 h 10000"/>
                <a:gd name="connsiteX1349" fmla="*/ 5203 w 10354"/>
                <a:gd name="connsiteY1349" fmla="*/ 547 h 10000"/>
                <a:gd name="connsiteX1350" fmla="*/ 5226 w 10354"/>
                <a:gd name="connsiteY1350" fmla="*/ 530 h 10000"/>
                <a:gd name="connsiteX1351" fmla="*/ 5230 w 10354"/>
                <a:gd name="connsiteY1351" fmla="*/ 487 h 10000"/>
                <a:gd name="connsiteX1352" fmla="*/ 5230 w 10354"/>
                <a:gd name="connsiteY1352" fmla="*/ 487 h 10000"/>
                <a:gd name="connsiteX1353" fmla="*/ 5226 w 10354"/>
                <a:gd name="connsiteY1353" fmla="*/ 462 h 10000"/>
                <a:gd name="connsiteX1354" fmla="*/ 5226 w 10354"/>
                <a:gd name="connsiteY1354" fmla="*/ 462 h 10000"/>
                <a:gd name="connsiteX1355" fmla="*/ 5240 w 10354"/>
                <a:gd name="connsiteY1355" fmla="*/ 462 h 10000"/>
                <a:gd name="connsiteX1356" fmla="*/ 5240 w 10354"/>
                <a:gd name="connsiteY1356" fmla="*/ 444 h 10000"/>
                <a:gd name="connsiteX1357" fmla="*/ 5230 w 10354"/>
                <a:gd name="connsiteY1357" fmla="*/ 436 h 10000"/>
                <a:gd name="connsiteX1358" fmla="*/ 5230 w 10354"/>
                <a:gd name="connsiteY1358" fmla="*/ 419 h 10000"/>
                <a:gd name="connsiteX1359" fmla="*/ 5230 w 10354"/>
                <a:gd name="connsiteY1359" fmla="*/ 410 h 10000"/>
                <a:gd name="connsiteX1360" fmla="*/ 5198 w 10354"/>
                <a:gd name="connsiteY1360" fmla="*/ 402 h 10000"/>
                <a:gd name="connsiteX1361" fmla="*/ 5189 w 10354"/>
                <a:gd name="connsiteY1361" fmla="*/ 402 h 10000"/>
                <a:gd name="connsiteX1362" fmla="*/ 5184 w 10354"/>
                <a:gd name="connsiteY1362" fmla="*/ 376 h 10000"/>
                <a:gd name="connsiteX1363" fmla="*/ 5180 w 10354"/>
                <a:gd name="connsiteY1363" fmla="*/ 376 h 10000"/>
                <a:gd name="connsiteX1364" fmla="*/ 5166 w 10354"/>
                <a:gd name="connsiteY1364" fmla="*/ 376 h 10000"/>
                <a:gd name="connsiteX1365" fmla="*/ 5157 w 10354"/>
                <a:gd name="connsiteY1365" fmla="*/ 385 h 10000"/>
                <a:gd name="connsiteX1366" fmla="*/ 5152 w 10354"/>
                <a:gd name="connsiteY1366" fmla="*/ 376 h 10000"/>
                <a:gd name="connsiteX1367" fmla="*/ 5129 w 10354"/>
                <a:gd name="connsiteY1367" fmla="*/ 385 h 10000"/>
                <a:gd name="connsiteX1368" fmla="*/ 5129 w 10354"/>
                <a:gd name="connsiteY1368" fmla="*/ 350 h 10000"/>
                <a:gd name="connsiteX1369" fmla="*/ 5129 w 10354"/>
                <a:gd name="connsiteY1369" fmla="*/ 325 h 10000"/>
                <a:gd name="connsiteX1370" fmla="*/ 5124 w 10354"/>
                <a:gd name="connsiteY1370" fmla="*/ 359 h 10000"/>
                <a:gd name="connsiteX1371" fmla="*/ 5106 w 10354"/>
                <a:gd name="connsiteY1371" fmla="*/ 359 h 10000"/>
                <a:gd name="connsiteX1372" fmla="*/ 5037 w 10354"/>
                <a:gd name="connsiteY1372" fmla="*/ 419 h 10000"/>
                <a:gd name="connsiteX1373" fmla="*/ 5051 w 10354"/>
                <a:gd name="connsiteY1373" fmla="*/ 385 h 10000"/>
                <a:gd name="connsiteX1374" fmla="*/ 5055 w 10354"/>
                <a:gd name="connsiteY1374" fmla="*/ 376 h 10000"/>
                <a:gd name="connsiteX1375" fmla="*/ 5092 w 10354"/>
                <a:gd name="connsiteY1375" fmla="*/ 282 h 10000"/>
                <a:gd name="connsiteX1376" fmla="*/ 5106 w 10354"/>
                <a:gd name="connsiteY1376" fmla="*/ 265 h 10000"/>
                <a:gd name="connsiteX1377" fmla="*/ 5115 w 10354"/>
                <a:gd name="connsiteY1377" fmla="*/ 265 h 10000"/>
                <a:gd name="connsiteX1378" fmla="*/ 5124 w 10354"/>
                <a:gd name="connsiteY1378" fmla="*/ 222 h 10000"/>
                <a:gd name="connsiteX1379" fmla="*/ 5124 w 10354"/>
                <a:gd name="connsiteY1379" fmla="*/ 214 h 10000"/>
                <a:gd name="connsiteX1380" fmla="*/ 5143 w 10354"/>
                <a:gd name="connsiteY1380" fmla="*/ 197 h 10000"/>
                <a:gd name="connsiteX1381" fmla="*/ 5152 w 10354"/>
                <a:gd name="connsiteY1381" fmla="*/ 214 h 10000"/>
                <a:gd name="connsiteX1382" fmla="*/ 5143 w 10354"/>
                <a:gd name="connsiteY1382" fmla="*/ 188 h 10000"/>
                <a:gd name="connsiteX1383" fmla="*/ 5129 w 10354"/>
                <a:gd name="connsiteY1383" fmla="*/ 103 h 10000"/>
                <a:gd name="connsiteX1384" fmla="*/ 5115 w 10354"/>
                <a:gd name="connsiteY1384" fmla="*/ 85 h 10000"/>
                <a:gd name="connsiteX1385" fmla="*/ 5111 w 10354"/>
                <a:gd name="connsiteY1385" fmla="*/ 111 h 10000"/>
                <a:gd name="connsiteX1386" fmla="*/ 5092 w 10354"/>
                <a:gd name="connsiteY1386" fmla="*/ 103 h 10000"/>
                <a:gd name="connsiteX1387" fmla="*/ 5069 w 10354"/>
                <a:gd name="connsiteY1387" fmla="*/ 77 h 10000"/>
                <a:gd name="connsiteX1388" fmla="*/ 5051 w 10354"/>
                <a:gd name="connsiteY1388" fmla="*/ 26 h 10000"/>
                <a:gd name="connsiteX1389" fmla="*/ 5041 w 10354"/>
                <a:gd name="connsiteY1389" fmla="*/ 34 h 10000"/>
                <a:gd name="connsiteX1390" fmla="*/ 5037 w 10354"/>
                <a:gd name="connsiteY1390" fmla="*/ 34 h 10000"/>
                <a:gd name="connsiteX1391" fmla="*/ 5037 w 10354"/>
                <a:gd name="connsiteY1391" fmla="*/ 26 h 10000"/>
                <a:gd name="connsiteX1392" fmla="*/ 5037 w 10354"/>
                <a:gd name="connsiteY1392" fmla="*/ 9 h 10000"/>
                <a:gd name="connsiteX1393" fmla="*/ 5023 w 10354"/>
                <a:gd name="connsiteY1393" fmla="*/ 0 h 10000"/>
                <a:gd name="connsiteX1394" fmla="*/ 5009 w 10354"/>
                <a:gd name="connsiteY1394" fmla="*/ 9 h 10000"/>
                <a:gd name="connsiteX1395" fmla="*/ 4995 w 10354"/>
                <a:gd name="connsiteY1395" fmla="*/ 34 h 10000"/>
                <a:gd name="connsiteX1396" fmla="*/ 4991 w 10354"/>
                <a:gd name="connsiteY1396" fmla="*/ 60 h 10000"/>
                <a:gd name="connsiteX1397" fmla="*/ 4982 w 10354"/>
                <a:gd name="connsiteY1397" fmla="*/ 60 h 10000"/>
                <a:gd name="connsiteX1398" fmla="*/ 4949 w 10354"/>
                <a:gd name="connsiteY1398" fmla="*/ 51 h 10000"/>
                <a:gd name="connsiteX1399" fmla="*/ 4949 w 10354"/>
                <a:gd name="connsiteY1399" fmla="*/ 85 h 10000"/>
                <a:gd name="connsiteX1400" fmla="*/ 4903 w 10354"/>
                <a:gd name="connsiteY1400" fmla="*/ 197 h 10000"/>
                <a:gd name="connsiteX1401" fmla="*/ 4899 w 10354"/>
                <a:gd name="connsiteY1401" fmla="*/ 239 h 10000"/>
                <a:gd name="connsiteX1402" fmla="*/ 4871 w 10354"/>
                <a:gd name="connsiteY1402" fmla="*/ 274 h 10000"/>
                <a:gd name="connsiteX1403" fmla="*/ 4871 w 10354"/>
                <a:gd name="connsiteY1403" fmla="*/ 282 h 10000"/>
                <a:gd name="connsiteX1404" fmla="*/ 4834 w 10354"/>
                <a:gd name="connsiteY1404" fmla="*/ 376 h 10000"/>
                <a:gd name="connsiteX1405" fmla="*/ 4829 w 10354"/>
                <a:gd name="connsiteY1405" fmla="*/ 402 h 10000"/>
                <a:gd name="connsiteX1406" fmla="*/ 4834 w 10354"/>
                <a:gd name="connsiteY1406" fmla="*/ 410 h 10000"/>
                <a:gd name="connsiteX1407" fmla="*/ 4829 w 10354"/>
                <a:gd name="connsiteY1407" fmla="*/ 436 h 10000"/>
                <a:gd name="connsiteX1408" fmla="*/ 4825 w 10354"/>
                <a:gd name="connsiteY1408" fmla="*/ 436 h 10000"/>
                <a:gd name="connsiteX1409" fmla="*/ 4825 w 10354"/>
                <a:gd name="connsiteY1409" fmla="*/ 444 h 10000"/>
                <a:gd name="connsiteX1410" fmla="*/ 4811 w 10354"/>
                <a:gd name="connsiteY1410" fmla="*/ 496 h 10000"/>
                <a:gd name="connsiteX1411" fmla="*/ 4811 w 10354"/>
                <a:gd name="connsiteY1411" fmla="*/ 496 h 10000"/>
                <a:gd name="connsiteX1412" fmla="*/ 4811 w 10354"/>
                <a:gd name="connsiteY1412" fmla="*/ 521 h 10000"/>
                <a:gd name="connsiteX1413" fmla="*/ 4816 w 10354"/>
                <a:gd name="connsiteY1413" fmla="*/ 530 h 10000"/>
                <a:gd name="connsiteX1414" fmla="*/ 4834 w 10354"/>
                <a:gd name="connsiteY1414" fmla="*/ 547 h 10000"/>
                <a:gd name="connsiteX1415" fmla="*/ 4834 w 10354"/>
                <a:gd name="connsiteY1415" fmla="*/ 581 h 10000"/>
                <a:gd name="connsiteX1416" fmla="*/ 4843 w 10354"/>
                <a:gd name="connsiteY1416" fmla="*/ 581 h 10000"/>
                <a:gd name="connsiteX1417" fmla="*/ 4843 w 10354"/>
                <a:gd name="connsiteY1417" fmla="*/ 598 h 10000"/>
                <a:gd name="connsiteX1418" fmla="*/ 4829 w 10354"/>
                <a:gd name="connsiteY1418" fmla="*/ 598 h 10000"/>
                <a:gd name="connsiteX1419" fmla="*/ 4829 w 10354"/>
                <a:gd name="connsiteY1419" fmla="*/ 573 h 10000"/>
                <a:gd name="connsiteX1420" fmla="*/ 4829 w 10354"/>
                <a:gd name="connsiteY1420" fmla="*/ 632 h 10000"/>
                <a:gd name="connsiteX1421" fmla="*/ 4829 w 10354"/>
                <a:gd name="connsiteY1421" fmla="*/ 632 h 10000"/>
                <a:gd name="connsiteX1422" fmla="*/ 4829 w 10354"/>
                <a:gd name="connsiteY1422" fmla="*/ 650 h 10000"/>
                <a:gd name="connsiteX1423" fmla="*/ 4774 w 10354"/>
                <a:gd name="connsiteY1423" fmla="*/ 684 h 10000"/>
                <a:gd name="connsiteX1424" fmla="*/ 4756 w 10354"/>
                <a:gd name="connsiteY1424" fmla="*/ 684 h 10000"/>
                <a:gd name="connsiteX1425" fmla="*/ 4737 w 10354"/>
                <a:gd name="connsiteY1425" fmla="*/ 692 h 10000"/>
                <a:gd name="connsiteX1426" fmla="*/ 4677 w 10354"/>
                <a:gd name="connsiteY1426" fmla="*/ 667 h 10000"/>
                <a:gd name="connsiteX1427" fmla="*/ 4682 w 10354"/>
                <a:gd name="connsiteY1427" fmla="*/ 692 h 10000"/>
                <a:gd name="connsiteX1428" fmla="*/ 4682 w 10354"/>
                <a:gd name="connsiteY1428" fmla="*/ 709 h 10000"/>
                <a:gd name="connsiteX1429" fmla="*/ 4691 w 10354"/>
                <a:gd name="connsiteY1429" fmla="*/ 718 h 10000"/>
                <a:gd name="connsiteX1430" fmla="*/ 4691 w 10354"/>
                <a:gd name="connsiteY1430" fmla="*/ 744 h 10000"/>
                <a:gd name="connsiteX1431" fmla="*/ 4700 w 10354"/>
                <a:gd name="connsiteY1431" fmla="*/ 744 h 10000"/>
                <a:gd name="connsiteX1432" fmla="*/ 4714 w 10354"/>
                <a:gd name="connsiteY1432" fmla="*/ 769 h 10000"/>
                <a:gd name="connsiteX1433" fmla="*/ 4710 w 10354"/>
                <a:gd name="connsiteY1433" fmla="*/ 786 h 10000"/>
                <a:gd name="connsiteX1434" fmla="*/ 4737 w 10354"/>
                <a:gd name="connsiteY1434" fmla="*/ 786 h 10000"/>
                <a:gd name="connsiteX1435" fmla="*/ 4742 w 10354"/>
                <a:gd name="connsiteY1435" fmla="*/ 795 h 10000"/>
                <a:gd name="connsiteX1436" fmla="*/ 4742 w 10354"/>
                <a:gd name="connsiteY1436" fmla="*/ 803 h 10000"/>
                <a:gd name="connsiteX1437" fmla="*/ 4737 w 10354"/>
                <a:gd name="connsiteY1437" fmla="*/ 846 h 10000"/>
                <a:gd name="connsiteX1438" fmla="*/ 4737 w 10354"/>
                <a:gd name="connsiteY1438" fmla="*/ 880 h 10000"/>
                <a:gd name="connsiteX1439" fmla="*/ 4737 w 10354"/>
                <a:gd name="connsiteY1439" fmla="*/ 906 h 10000"/>
                <a:gd name="connsiteX1440" fmla="*/ 4724 w 10354"/>
                <a:gd name="connsiteY1440" fmla="*/ 897 h 10000"/>
                <a:gd name="connsiteX1441" fmla="*/ 4724 w 10354"/>
                <a:gd name="connsiteY1441" fmla="*/ 872 h 10000"/>
                <a:gd name="connsiteX1442" fmla="*/ 4714 w 10354"/>
                <a:gd name="connsiteY1442" fmla="*/ 855 h 10000"/>
                <a:gd name="connsiteX1443" fmla="*/ 4691 w 10354"/>
                <a:gd name="connsiteY1443" fmla="*/ 846 h 10000"/>
                <a:gd name="connsiteX1444" fmla="*/ 4691 w 10354"/>
                <a:gd name="connsiteY1444" fmla="*/ 846 h 10000"/>
                <a:gd name="connsiteX1445" fmla="*/ 4696 w 10354"/>
                <a:gd name="connsiteY1445" fmla="*/ 821 h 10000"/>
                <a:gd name="connsiteX1446" fmla="*/ 4691 w 10354"/>
                <a:gd name="connsiteY1446" fmla="*/ 803 h 10000"/>
                <a:gd name="connsiteX1447" fmla="*/ 4668 w 10354"/>
                <a:gd name="connsiteY1447" fmla="*/ 821 h 10000"/>
                <a:gd name="connsiteX1448" fmla="*/ 4668 w 10354"/>
                <a:gd name="connsiteY1448" fmla="*/ 786 h 10000"/>
                <a:gd name="connsiteX1449" fmla="*/ 4664 w 10354"/>
                <a:gd name="connsiteY1449" fmla="*/ 786 h 10000"/>
                <a:gd name="connsiteX1450" fmla="*/ 4622 w 10354"/>
                <a:gd name="connsiteY1450" fmla="*/ 846 h 10000"/>
                <a:gd name="connsiteX1451" fmla="*/ 4627 w 10354"/>
                <a:gd name="connsiteY1451" fmla="*/ 872 h 10000"/>
                <a:gd name="connsiteX1452" fmla="*/ 4622 w 10354"/>
                <a:gd name="connsiteY1452" fmla="*/ 880 h 10000"/>
                <a:gd name="connsiteX1453" fmla="*/ 4622 w 10354"/>
                <a:gd name="connsiteY1453" fmla="*/ 880 h 10000"/>
                <a:gd name="connsiteX1454" fmla="*/ 4618 w 10354"/>
                <a:gd name="connsiteY1454" fmla="*/ 872 h 10000"/>
                <a:gd name="connsiteX1455" fmla="*/ 4604 w 10354"/>
                <a:gd name="connsiteY1455" fmla="*/ 880 h 10000"/>
                <a:gd name="connsiteX1456" fmla="*/ 4594 w 10354"/>
                <a:gd name="connsiteY1456" fmla="*/ 906 h 10000"/>
                <a:gd name="connsiteX1457" fmla="*/ 4604 w 10354"/>
                <a:gd name="connsiteY1457" fmla="*/ 906 h 10000"/>
                <a:gd name="connsiteX1458" fmla="*/ 4608 w 10354"/>
                <a:gd name="connsiteY1458" fmla="*/ 906 h 10000"/>
                <a:gd name="connsiteX1459" fmla="*/ 4608 w 10354"/>
                <a:gd name="connsiteY1459" fmla="*/ 932 h 10000"/>
                <a:gd name="connsiteX1460" fmla="*/ 4604 w 10354"/>
                <a:gd name="connsiteY1460" fmla="*/ 932 h 10000"/>
                <a:gd name="connsiteX1461" fmla="*/ 4590 w 10354"/>
                <a:gd name="connsiteY1461" fmla="*/ 932 h 10000"/>
                <a:gd name="connsiteX1462" fmla="*/ 4567 w 10354"/>
                <a:gd name="connsiteY1462" fmla="*/ 957 h 10000"/>
                <a:gd name="connsiteX1463" fmla="*/ 4567 w 10354"/>
                <a:gd name="connsiteY1463" fmla="*/ 932 h 10000"/>
                <a:gd name="connsiteX1464" fmla="*/ 4567 w 10354"/>
                <a:gd name="connsiteY1464" fmla="*/ 923 h 10000"/>
                <a:gd name="connsiteX1465" fmla="*/ 4562 w 10354"/>
                <a:gd name="connsiteY1465" fmla="*/ 932 h 10000"/>
                <a:gd name="connsiteX1466" fmla="*/ 4548 w 10354"/>
                <a:gd name="connsiteY1466" fmla="*/ 957 h 10000"/>
                <a:gd name="connsiteX1467" fmla="*/ 4544 w 10354"/>
                <a:gd name="connsiteY1467" fmla="*/ 957 h 10000"/>
                <a:gd name="connsiteX1468" fmla="*/ 4521 w 10354"/>
                <a:gd name="connsiteY1468" fmla="*/ 983 h 10000"/>
                <a:gd name="connsiteX1469" fmla="*/ 4521 w 10354"/>
                <a:gd name="connsiteY1469" fmla="*/ 983 h 10000"/>
                <a:gd name="connsiteX1470" fmla="*/ 4530 w 10354"/>
                <a:gd name="connsiteY1470" fmla="*/ 957 h 10000"/>
                <a:gd name="connsiteX1471" fmla="*/ 4535 w 10354"/>
                <a:gd name="connsiteY1471" fmla="*/ 932 h 10000"/>
                <a:gd name="connsiteX1472" fmla="*/ 4521 w 10354"/>
                <a:gd name="connsiteY1472" fmla="*/ 932 h 10000"/>
                <a:gd name="connsiteX1473" fmla="*/ 4516 w 10354"/>
                <a:gd name="connsiteY1473" fmla="*/ 923 h 10000"/>
                <a:gd name="connsiteX1474" fmla="*/ 4516 w 10354"/>
                <a:gd name="connsiteY1474" fmla="*/ 932 h 10000"/>
                <a:gd name="connsiteX1475" fmla="*/ 4488 w 10354"/>
                <a:gd name="connsiteY1475" fmla="*/ 940 h 10000"/>
                <a:gd name="connsiteX1476" fmla="*/ 4484 w 10354"/>
                <a:gd name="connsiteY1476" fmla="*/ 983 h 10000"/>
                <a:gd name="connsiteX1477" fmla="*/ 4470 w 10354"/>
                <a:gd name="connsiteY1477" fmla="*/ 983 h 10000"/>
                <a:gd name="connsiteX1478" fmla="*/ 4470 w 10354"/>
                <a:gd name="connsiteY1478" fmla="*/ 966 h 10000"/>
                <a:gd name="connsiteX1479" fmla="*/ 4488 w 10354"/>
                <a:gd name="connsiteY1479" fmla="*/ 923 h 10000"/>
                <a:gd name="connsiteX1480" fmla="*/ 4493 w 10354"/>
                <a:gd name="connsiteY1480" fmla="*/ 880 h 10000"/>
                <a:gd name="connsiteX1481" fmla="*/ 4475 w 10354"/>
                <a:gd name="connsiteY1481" fmla="*/ 846 h 10000"/>
                <a:gd name="connsiteX1482" fmla="*/ 4442 w 10354"/>
                <a:gd name="connsiteY1482" fmla="*/ 855 h 10000"/>
                <a:gd name="connsiteX1483" fmla="*/ 4433 w 10354"/>
                <a:gd name="connsiteY1483" fmla="*/ 855 h 10000"/>
                <a:gd name="connsiteX1484" fmla="*/ 4433 w 10354"/>
                <a:gd name="connsiteY1484" fmla="*/ 880 h 10000"/>
                <a:gd name="connsiteX1485" fmla="*/ 4401 w 10354"/>
                <a:gd name="connsiteY1485" fmla="*/ 855 h 10000"/>
                <a:gd name="connsiteX1486" fmla="*/ 4396 w 10354"/>
                <a:gd name="connsiteY1486" fmla="*/ 872 h 10000"/>
                <a:gd name="connsiteX1487" fmla="*/ 4382 w 10354"/>
                <a:gd name="connsiteY1487" fmla="*/ 897 h 10000"/>
                <a:gd name="connsiteX1488" fmla="*/ 4373 w 10354"/>
                <a:gd name="connsiteY1488" fmla="*/ 872 h 10000"/>
                <a:gd name="connsiteX1489" fmla="*/ 4341 w 10354"/>
                <a:gd name="connsiteY1489" fmla="*/ 872 h 10000"/>
                <a:gd name="connsiteX1490" fmla="*/ 4336 w 10354"/>
                <a:gd name="connsiteY1490" fmla="*/ 880 h 10000"/>
                <a:gd name="connsiteX1491" fmla="*/ 4346 w 10354"/>
                <a:gd name="connsiteY1491" fmla="*/ 897 h 10000"/>
                <a:gd name="connsiteX1492" fmla="*/ 4346 w 10354"/>
                <a:gd name="connsiteY1492" fmla="*/ 897 h 10000"/>
                <a:gd name="connsiteX1493" fmla="*/ 4313 w 10354"/>
                <a:gd name="connsiteY1493" fmla="*/ 906 h 10000"/>
                <a:gd name="connsiteX1494" fmla="*/ 4313 w 10354"/>
                <a:gd name="connsiteY1494" fmla="*/ 906 h 10000"/>
                <a:gd name="connsiteX1495" fmla="*/ 4313 w 10354"/>
                <a:gd name="connsiteY1495" fmla="*/ 880 h 10000"/>
                <a:gd name="connsiteX1496" fmla="*/ 4309 w 10354"/>
                <a:gd name="connsiteY1496" fmla="*/ 897 h 10000"/>
                <a:gd name="connsiteX1497" fmla="*/ 4295 w 10354"/>
                <a:gd name="connsiteY1497" fmla="*/ 923 h 10000"/>
                <a:gd name="connsiteX1498" fmla="*/ 4286 w 10354"/>
                <a:gd name="connsiteY1498" fmla="*/ 897 h 10000"/>
                <a:gd name="connsiteX1499" fmla="*/ 4281 w 10354"/>
                <a:gd name="connsiteY1499" fmla="*/ 906 h 10000"/>
                <a:gd name="connsiteX1500" fmla="*/ 4281 w 10354"/>
                <a:gd name="connsiteY1500" fmla="*/ 940 h 10000"/>
                <a:gd name="connsiteX1501" fmla="*/ 4286 w 10354"/>
                <a:gd name="connsiteY1501" fmla="*/ 957 h 10000"/>
                <a:gd name="connsiteX1502" fmla="*/ 4309 w 10354"/>
                <a:gd name="connsiteY1502" fmla="*/ 932 h 10000"/>
                <a:gd name="connsiteX1503" fmla="*/ 4313 w 10354"/>
                <a:gd name="connsiteY1503" fmla="*/ 957 h 10000"/>
                <a:gd name="connsiteX1504" fmla="*/ 4313 w 10354"/>
                <a:gd name="connsiteY1504" fmla="*/ 966 h 10000"/>
                <a:gd name="connsiteX1505" fmla="*/ 4323 w 10354"/>
                <a:gd name="connsiteY1505" fmla="*/ 966 h 10000"/>
                <a:gd name="connsiteX1506" fmla="*/ 4323 w 10354"/>
                <a:gd name="connsiteY1506" fmla="*/ 940 h 10000"/>
                <a:gd name="connsiteX1507" fmla="*/ 4327 w 10354"/>
                <a:gd name="connsiteY1507" fmla="*/ 940 h 10000"/>
                <a:gd name="connsiteX1508" fmla="*/ 4327 w 10354"/>
                <a:gd name="connsiteY1508" fmla="*/ 957 h 10000"/>
                <a:gd name="connsiteX1509" fmla="*/ 4327 w 10354"/>
                <a:gd name="connsiteY1509" fmla="*/ 966 h 10000"/>
                <a:gd name="connsiteX1510" fmla="*/ 4323 w 10354"/>
                <a:gd name="connsiteY1510" fmla="*/ 991 h 10000"/>
                <a:gd name="connsiteX1511" fmla="*/ 4207 w 10354"/>
                <a:gd name="connsiteY1511" fmla="*/ 1060 h 10000"/>
                <a:gd name="connsiteX1512" fmla="*/ 4207 w 10354"/>
                <a:gd name="connsiteY1512" fmla="*/ 1060 h 10000"/>
                <a:gd name="connsiteX1513" fmla="*/ 4203 w 10354"/>
                <a:gd name="connsiteY1513" fmla="*/ 1068 h 10000"/>
                <a:gd name="connsiteX1514" fmla="*/ 4203 w 10354"/>
                <a:gd name="connsiteY1514" fmla="*/ 1094 h 10000"/>
                <a:gd name="connsiteX1515" fmla="*/ 4203 w 10354"/>
                <a:gd name="connsiteY1515" fmla="*/ 1094 h 10000"/>
                <a:gd name="connsiteX1516" fmla="*/ 4189 w 10354"/>
                <a:gd name="connsiteY1516" fmla="*/ 1094 h 10000"/>
                <a:gd name="connsiteX1517" fmla="*/ 4166 w 10354"/>
                <a:gd name="connsiteY1517" fmla="*/ 1103 h 10000"/>
                <a:gd name="connsiteX1518" fmla="*/ 4152 w 10354"/>
                <a:gd name="connsiteY1518" fmla="*/ 1094 h 10000"/>
                <a:gd name="connsiteX1519" fmla="*/ 4134 w 10354"/>
                <a:gd name="connsiteY1519" fmla="*/ 1120 h 10000"/>
                <a:gd name="connsiteX1520" fmla="*/ 4106 w 10354"/>
                <a:gd name="connsiteY1520" fmla="*/ 1120 h 10000"/>
                <a:gd name="connsiteX1521" fmla="*/ 4092 w 10354"/>
                <a:gd name="connsiteY1521" fmla="*/ 1154 h 10000"/>
                <a:gd name="connsiteX1522" fmla="*/ 4106 w 10354"/>
                <a:gd name="connsiteY1522" fmla="*/ 1171 h 10000"/>
                <a:gd name="connsiteX1523" fmla="*/ 4078 w 10354"/>
                <a:gd name="connsiteY1523" fmla="*/ 1179 h 10000"/>
                <a:gd name="connsiteX1524" fmla="*/ 4065 w 10354"/>
                <a:gd name="connsiteY1524" fmla="*/ 1205 h 10000"/>
                <a:gd name="connsiteX1525" fmla="*/ 4046 w 10354"/>
                <a:gd name="connsiteY1525" fmla="*/ 1179 h 10000"/>
                <a:gd name="connsiteX1526" fmla="*/ 4041 w 10354"/>
                <a:gd name="connsiteY1526" fmla="*/ 1197 h 10000"/>
                <a:gd name="connsiteX1527" fmla="*/ 4028 w 10354"/>
                <a:gd name="connsiteY1527" fmla="*/ 1205 h 10000"/>
                <a:gd name="connsiteX1528" fmla="*/ 4028 w 10354"/>
                <a:gd name="connsiteY1528" fmla="*/ 1205 h 10000"/>
                <a:gd name="connsiteX1529" fmla="*/ 4032 w 10354"/>
                <a:gd name="connsiteY1529" fmla="*/ 1205 h 10000"/>
                <a:gd name="connsiteX1530" fmla="*/ 4032 w 10354"/>
                <a:gd name="connsiteY1530" fmla="*/ 1231 h 10000"/>
                <a:gd name="connsiteX1531" fmla="*/ 4014 w 10354"/>
                <a:gd name="connsiteY1531" fmla="*/ 1239 h 10000"/>
                <a:gd name="connsiteX1532" fmla="*/ 4014 w 10354"/>
                <a:gd name="connsiteY1532" fmla="*/ 1256 h 10000"/>
                <a:gd name="connsiteX1533" fmla="*/ 4000 w 10354"/>
                <a:gd name="connsiteY1533" fmla="*/ 1265 h 10000"/>
                <a:gd name="connsiteX1534" fmla="*/ 3986 w 10354"/>
                <a:gd name="connsiteY1534" fmla="*/ 1308 h 10000"/>
                <a:gd name="connsiteX1535" fmla="*/ 3972 w 10354"/>
                <a:gd name="connsiteY1535" fmla="*/ 1316 h 10000"/>
                <a:gd name="connsiteX1536" fmla="*/ 3972 w 10354"/>
                <a:gd name="connsiteY1536" fmla="*/ 1325 h 10000"/>
                <a:gd name="connsiteX1537" fmla="*/ 3972 w 10354"/>
                <a:gd name="connsiteY1537" fmla="*/ 1342 h 10000"/>
                <a:gd name="connsiteX1538" fmla="*/ 3968 w 10354"/>
                <a:gd name="connsiteY1538" fmla="*/ 1350 h 10000"/>
                <a:gd name="connsiteX1539" fmla="*/ 3954 w 10354"/>
                <a:gd name="connsiteY1539" fmla="*/ 1368 h 10000"/>
                <a:gd name="connsiteX1540" fmla="*/ 3945 w 10354"/>
                <a:gd name="connsiteY1540" fmla="*/ 1350 h 10000"/>
                <a:gd name="connsiteX1541" fmla="*/ 3908 w 10354"/>
                <a:gd name="connsiteY1541" fmla="*/ 1342 h 10000"/>
                <a:gd name="connsiteX1542" fmla="*/ 3894 w 10354"/>
                <a:gd name="connsiteY1542" fmla="*/ 1368 h 10000"/>
                <a:gd name="connsiteX1543" fmla="*/ 3922 w 10354"/>
                <a:gd name="connsiteY1543" fmla="*/ 1393 h 10000"/>
                <a:gd name="connsiteX1544" fmla="*/ 3945 w 10354"/>
                <a:gd name="connsiteY1544" fmla="*/ 1393 h 10000"/>
                <a:gd name="connsiteX1545" fmla="*/ 3940 w 10354"/>
                <a:gd name="connsiteY1545" fmla="*/ 1419 h 10000"/>
                <a:gd name="connsiteX1546" fmla="*/ 3931 w 10354"/>
                <a:gd name="connsiteY1546" fmla="*/ 1427 h 10000"/>
                <a:gd name="connsiteX1547" fmla="*/ 3926 w 10354"/>
                <a:gd name="connsiteY1547" fmla="*/ 1427 h 10000"/>
                <a:gd name="connsiteX1548" fmla="*/ 3922 w 10354"/>
                <a:gd name="connsiteY1548" fmla="*/ 1419 h 10000"/>
                <a:gd name="connsiteX1549" fmla="*/ 3912 w 10354"/>
                <a:gd name="connsiteY1549" fmla="*/ 1427 h 10000"/>
                <a:gd name="connsiteX1550" fmla="*/ 3912 w 10354"/>
                <a:gd name="connsiteY1550" fmla="*/ 1444 h 10000"/>
                <a:gd name="connsiteX1551" fmla="*/ 3894 w 10354"/>
                <a:gd name="connsiteY1551" fmla="*/ 1513 h 10000"/>
                <a:gd name="connsiteX1552" fmla="*/ 3885 w 10354"/>
                <a:gd name="connsiteY1552" fmla="*/ 1513 h 10000"/>
                <a:gd name="connsiteX1553" fmla="*/ 3880 w 10354"/>
                <a:gd name="connsiteY1553" fmla="*/ 1538 h 10000"/>
                <a:gd name="connsiteX1554" fmla="*/ 3885 w 10354"/>
                <a:gd name="connsiteY1554" fmla="*/ 1564 h 10000"/>
                <a:gd name="connsiteX1555" fmla="*/ 3880 w 10354"/>
                <a:gd name="connsiteY1555" fmla="*/ 1581 h 10000"/>
                <a:gd name="connsiteX1556" fmla="*/ 3871 w 10354"/>
                <a:gd name="connsiteY1556" fmla="*/ 1538 h 10000"/>
                <a:gd name="connsiteX1557" fmla="*/ 3853 w 10354"/>
                <a:gd name="connsiteY1557" fmla="*/ 1530 h 10000"/>
                <a:gd name="connsiteX1558" fmla="*/ 3853 w 10354"/>
                <a:gd name="connsiteY1558" fmla="*/ 1504 h 10000"/>
                <a:gd name="connsiteX1559" fmla="*/ 3834 w 10354"/>
                <a:gd name="connsiteY1559" fmla="*/ 1487 h 10000"/>
                <a:gd name="connsiteX1560" fmla="*/ 3834 w 10354"/>
                <a:gd name="connsiteY1560" fmla="*/ 1487 h 10000"/>
                <a:gd name="connsiteX1561" fmla="*/ 3839 w 10354"/>
                <a:gd name="connsiteY1561" fmla="*/ 1513 h 10000"/>
                <a:gd name="connsiteX1562" fmla="*/ 3820 w 10354"/>
                <a:gd name="connsiteY1562" fmla="*/ 1538 h 10000"/>
                <a:gd name="connsiteX1563" fmla="*/ 3820 w 10354"/>
                <a:gd name="connsiteY1563" fmla="*/ 1556 h 10000"/>
                <a:gd name="connsiteX1564" fmla="*/ 3820 w 10354"/>
                <a:gd name="connsiteY1564" fmla="*/ 1564 h 10000"/>
                <a:gd name="connsiteX1565" fmla="*/ 3820 w 10354"/>
                <a:gd name="connsiteY1565" fmla="*/ 1581 h 10000"/>
                <a:gd name="connsiteX1566" fmla="*/ 3853 w 10354"/>
                <a:gd name="connsiteY1566" fmla="*/ 1581 h 10000"/>
                <a:gd name="connsiteX1567" fmla="*/ 3857 w 10354"/>
                <a:gd name="connsiteY1567" fmla="*/ 1598 h 10000"/>
                <a:gd name="connsiteX1568" fmla="*/ 3880 w 10354"/>
                <a:gd name="connsiteY1568" fmla="*/ 1615 h 10000"/>
                <a:gd name="connsiteX1569" fmla="*/ 3871 w 10354"/>
                <a:gd name="connsiteY1569" fmla="*/ 1615 h 10000"/>
                <a:gd name="connsiteX1570" fmla="*/ 3871 w 10354"/>
                <a:gd name="connsiteY1570" fmla="*/ 1641 h 10000"/>
                <a:gd name="connsiteX1571" fmla="*/ 3880 w 10354"/>
                <a:gd name="connsiteY1571" fmla="*/ 1641 h 10000"/>
                <a:gd name="connsiteX1572" fmla="*/ 3871 w 10354"/>
                <a:gd name="connsiteY1572" fmla="*/ 1650 h 10000"/>
                <a:gd name="connsiteX1573" fmla="*/ 3857 w 10354"/>
                <a:gd name="connsiteY1573" fmla="*/ 1650 h 10000"/>
                <a:gd name="connsiteX1574" fmla="*/ 3853 w 10354"/>
                <a:gd name="connsiteY1574" fmla="*/ 1650 h 10000"/>
                <a:gd name="connsiteX1575" fmla="*/ 3839 w 10354"/>
                <a:gd name="connsiteY1575" fmla="*/ 1667 h 10000"/>
                <a:gd name="connsiteX1576" fmla="*/ 3848 w 10354"/>
                <a:gd name="connsiteY1576" fmla="*/ 1692 h 10000"/>
                <a:gd name="connsiteX1577" fmla="*/ 3834 w 10354"/>
                <a:gd name="connsiteY1577" fmla="*/ 1692 h 10000"/>
                <a:gd name="connsiteX1578" fmla="*/ 3825 w 10354"/>
                <a:gd name="connsiteY1578" fmla="*/ 1692 h 10000"/>
                <a:gd name="connsiteX1579" fmla="*/ 3825 w 10354"/>
                <a:gd name="connsiteY1579" fmla="*/ 1718 h 10000"/>
                <a:gd name="connsiteX1580" fmla="*/ 3839 w 10354"/>
                <a:gd name="connsiteY1580" fmla="*/ 1726 h 10000"/>
                <a:gd name="connsiteX1581" fmla="*/ 3880 w 10354"/>
                <a:gd name="connsiteY1581" fmla="*/ 1752 h 10000"/>
                <a:gd name="connsiteX1582" fmla="*/ 3894 w 10354"/>
                <a:gd name="connsiteY1582" fmla="*/ 1829 h 10000"/>
                <a:gd name="connsiteX1583" fmla="*/ 3899 w 10354"/>
                <a:gd name="connsiteY1583" fmla="*/ 1838 h 10000"/>
                <a:gd name="connsiteX1584" fmla="*/ 3894 w 10354"/>
                <a:gd name="connsiteY1584" fmla="*/ 1855 h 10000"/>
                <a:gd name="connsiteX1585" fmla="*/ 3880 w 10354"/>
                <a:gd name="connsiteY1585" fmla="*/ 1838 h 10000"/>
                <a:gd name="connsiteX1586" fmla="*/ 3880 w 10354"/>
                <a:gd name="connsiteY1586" fmla="*/ 1855 h 10000"/>
                <a:gd name="connsiteX1587" fmla="*/ 3880 w 10354"/>
                <a:gd name="connsiteY1587" fmla="*/ 1863 h 10000"/>
                <a:gd name="connsiteX1588" fmla="*/ 3871 w 10354"/>
                <a:gd name="connsiteY1588" fmla="*/ 1872 h 10000"/>
                <a:gd name="connsiteX1589" fmla="*/ 3880 w 10354"/>
                <a:gd name="connsiteY1589" fmla="*/ 1889 h 10000"/>
                <a:gd name="connsiteX1590" fmla="*/ 3885 w 10354"/>
                <a:gd name="connsiteY1590" fmla="*/ 1889 h 10000"/>
                <a:gd name="connsiteX1591" fmla="*/ 3880 w 10354"/>
                <a:gd name="connsiteY1591" fmla="*/ 1897 h 10000"/>
                <a:gd name="connsiteX1592" fmla="*/ 3871 w 10354"/>
                <a:gd name="connsiteY1592" fmla="*/ 1915 h 10000"/>
                <a:gd name="connsiteX1593" fmla="*/ 3848 w 10354"/>
                <a:gd name="connsiteY1593" fmla="*/ 1923 h 10000"/>
                <a:gd name="connsiteX1594" fmla="*/ 3825 w 10354"/>
                <a:gd name="connsiteY1594" fmla="*/ 1940 h 10000"/>
                <a:gd name="connsiteX1595" fmla="*/ 3811 w 10354"/>
                <a:gd name="connsiteY1595" fmla="*/ 1940 h 10000"/>
                <a:gd name="connsiteX1596" fmla="*/ 3806 w 10354"/>
                <a:gd name="connsiteY1596" fmla="*/ 1949 h 10000"/>
                <a:gd name="connsiteX1597" fmla="*/ 3797 w 10354"/>
                <a:gd name="connsiteY1597" fmla="*/ 1966 h 10000"/>
                <a:gd name="connsiteX1598" fmla="*/ 3788 w 10354"/>
                <a:gd name="connsiteY1598" fmla="*/ 1991 h 10000"/>
                <a:gd name="connsiteX1599" fmla="*/ 3765 w 10354"/>
                <a:gd name="connsiteY1599" fmla="*/ 1974 h 10000"/>
                <a:gd name="connsiteX1600" fmla="*/ 3760 w 10354"/>
                <a:gd name="connsiteY1600" fmla="*/ 1966 h 10000"/>
                <a:gd name="connsiteX1601" fmla="*/ 3760 w 10354"/>
                <a:gd name="connsiteY1601" fmla="*/ 1966 h 10000"/>
                <a:gd name="connsiteX1602" fmla="*/ 3631 w 10354"/>
                <a:gd name="connsiteY1602" fmla="*/ 2009 h 10000"/>
                <a:gd name="connsiteX1603" fmla="*/ 3618 w 10354"/>
                <a:gd name="connsiteY1603" fmla="*/ 2000 h 10000"/>
                <a:gd name="connsiteX1604" fmla="*/ 3599 w 10354"/>
                <a:gd name="connsiteY1604" fmla="*/ 2009 h 10000"/>
                <a:gd name="connsiteX1605" fmla="*/ 3571 w 10354"/>
                <a:gd name="connsiteY1605" fmla="*/ 2000 h 10000"/>
                <a:gd name="connsiteX1606" fmla="*/ 3530 w 10354"/>
                <a:gd name="connsiteY1606" fmla="*/ 2026 h 10000"/>
                <a:gd name="connsiteX1607" fmla="*/ 3530 w 10354"/>
                <a:gd name="connsiteY1607" fmla="*/ 2034 h 10000"/>
                <a:gd name="connsiteX1608" fmla="*/ 3525 w 10354"/>
                <a:gd name="connsiteY1608" fmla="*/ 2051 h 10000"/>
                <a:gd name="connsiteX1609" fmla="*/ 3512 w 10354"/>
                <a:gd name="connsiteY1609" fmla="*/ 2034 h 10000"/>
                <a:gd name="connsiteX1610" fmla="*/ 3507 w 10354"/>
                <a:gd name="connsiteY1610" fmla="*/ 2034 h 10000"/>
                <a:gd name="connsiteX1611" fmla="*/ 3498 w 10354"/>
                <a:gd name="connsiteY1611" fmla="*/ 2051 h 10000"/>
                <a:gd name="connsiteX1612" fmla="*/ 3484 w 10354"/>
                <a:gd name="connsiteY1612" fmla="*/ 2060 h 10000"/>
                <a:gd name="connsiteX1613" fmla="*/ 3484 w 10354"/>
                <a:gd name="connsiteY1613" fmla="*/ 2085 h 10000"/>
                <a:gd name="connsiteX1614" fmla="*/ 3484 w 10354"/>
                <a:gd name="connsiteY1614" fmla="*/ 2103 h 10000"/>
                <a:gd name="connsiteX1615" fmla="*/ 3493 w 10354"/>
                <a:gd name="connsiteY1615" fmla="*/ 2103 h 10000"/>
                <a:gd name="connsiteX1616" fmla="*/ 3493 w 10354"/>
                <a:gd name="connsiteY1616" fmla="*/ 2085 h 10000"/>
                <a:gd name="connsiteX1617" fmla="*/ 3498 w 10354"/>
                <a:gd name="connsiteY1617" fmla="*/ 2085 h 10000"/>
                <a:gd name="connsiteX1618" fmla="*/ 3498 w 10354"/>
                <a:gd name="connsiteY1618" fmla="*/ 2111 h 10000"/>
                <a:gd name="connsiteX1619" fmla="*/ 3484 w 10354"/>
                <a:gd name="connsiteY1619" fmla="*/ 2120 h 10000"/>
                <a:gd name="connsiteX1620" fmla="*/ 3484 w 10354"/>
                <a:gd name="connsiteY1620" fmla="*/ 2145 h 10000"/>
                <a:gd name="connsiteX1621" fmla="*/ 3470 w 10354"/>
                <a:gd name="connsiteY1621" fmla="*/ 2137 h 10000"/>
                <a:gd name="connsiteX1622" fmla="*/ 3465 w 10354"/>
                <a:gd name="connsiteY1622" fmla="*/ 2145 h 10000"/>
                <a:gd name="connsiteX1623" fmla="*/ 3470 w 10354"/>
                <a:gd name="connsiteY1623" fmla="*/ 2171 h 10000"/>
                <a:gd name="connsiteX1624" fmla="*/ 3484 w 10354"/>
                <a:gd name="connsiteY1624" fmla="*/ 2171 h 10000"/>
                <a:gd name="connsiteX1625" fmla="*/ 3484 w 10354"/>
                <a:gd name="connsiteY1625" fmla="*/ 2197 h 10000"/>
                <a:gd name="connsiteX1626" fmla="*/ 3465 w 10354"/>
                <a:gd name="connsiteY1626" fmla="*/ 2214 h 10000"/>
                <a:gd name="connsiteX1627" fmla="*/ 3493 w 10354"/>
                <a:gd name="connsiteY1627" fmla="*/ 2248 h 10000"/>
                <a:gd name="connsiteX1628" fmla="*/ 3484 w 10354"/>
                <a:gd name="connsiteY1628" fmla="*/ 2256 h 10000"/>
                <a:gd name="connsiteX1629" fmla="*/ 3498 w 10354"/>
                <a:gd name="connsiteY1629" fmla="*/ 2274 h 10000"/>
                <a:gd name="connsiteX1630" fmla="*/ 3498 w 10354"/>
                <a:gd name="connsiteY1630" fmla="*/ 2256 h 10000"/>
                <a:gd name="connsiteX1631" fmla="*/ 3507 w 10354"/>
                <a:gd name="connsiteY1631" fmla="*/ 2308 h 10000"/>
                <a:gd name="connsiteX1632" fmla="*/ 3512 w 10354"/>
                <a:gd name="connsiteY1632" fmla="*/ 2325 h 10000"/>
                <a:gd name="connsiteX1633" fmla="*/ 3507 w 10354"/>
                <a:gd name="connsiteY1633" fmla="*/ 2333 h 10000"/>
                <a:gd name="connsiteX1634" fmla="*/ 3507 w 10354"/>
                <a:gd name="connsiteY1634" fmla="*/ 2359 h 10000"/>
                <a:gd name="connsiteX1635" fmla="*/ 3507 w 10354"/>
                <a:gd name="connsiteY1635" fmla="*/ 2376 h 10000"/>
                <a:gd name="connsiteX1636" fmla="*/ 3498 w 10354"/>
                <a:gd name="connsiteY1636" fmla="*/ 2410 h 10000"/>
                <a:gd name="connsiteX1637" fmla="*/ 3498 w 10354"/>
                <a:gd name="connsiteY1637" fmla="*/ 2436 h 10000"/>
                <a:gd name="connsiteX1638" fmla="*/ 3507 w 10354"/>
                <a:gd name="connsiteY1638" fmla="*/ 2462 h 10000"/>
                <a:gd name="connsiteX1639" fmla="*/ 3507 w 10354"/>
                <a:gd name="connsiteY1639" fmla="*/ 2496 h 10000"/>
                <a:gd name="connsiteX1640" fmla="*/ 3512 w 10354"/>
                <a:gd name="connsiteY1640" fmla="*/ 2521 h 10000"/>
                <a:gd name="connsiteX1641" fmla="*/ 3525 w 10354"/>
                <a:gd name="connsiteY1641" fmla="*/ 2556 h 10000"/>
                <a:gd name="connsiteX1642" fmla="*/ 3571 w 10354"/>
                <a:gd name="connsiteY1642" fmla="*/ 2573 h 10000"/>
                <a:gd name="connsiteX1643" fmla="*/ 3590 w 10354"/>
                <a:gd name="connsiteY1643" fmla="*/ 2598 h 10000"/>
                <a:gd name="connsiteX1644" fmla="*/ 3599 w 10354"/>
                <a:gd name="connsiteY1644" fmla="*/ 2598 h 10000"/>
                <a:gd name="connsiteX1645" fmla="*/ 3604 w 10354"/>
                <a:gd name="connsiteY1645" fmla="*/ 2632 h 10000"/>
                <a:gd name="connsiteX1646" fmla="*/ 3599 w 10354"/>
                <a:gd name="connsiteY1646" fmla="*/ 2658 h 10000"/>
                <a:gd name="connsiteX1647" fmla="*/ 3590 w 10354"/>
                <a:gd name="connsiteY1647" fmla="*/ 2667 h 10000"/>
                <a:gd name="connsiteX1648" fmla="*/ 3604 w 10354"/>
                <a:gd name="connsiteY1648" fmla="*/ 2667 h 10000"/>
                <a:gd name="connsiteX1649" fmla="*/ 3613 w 10354"/>
                <a:gd name="connsiteY1649" fmla="*/ 2692 h 10000"/>
                <a:gd name="connsiteX1650" fmla="*/ 3627 w 10354"/>
                <a:gd name="connsiteY1650" fmla="*/ 2735 h 10000"/>
                <a:gd name="connsiteX1651" fmla="*/ 3631 w 10354"/>
                <a:gd name="connsiteY1651" fmla="*/ 2744 h 10000"/>
                <a:gd name="connsiteX1652" fmla="*/ 3659 w 10354"/>
                <a:gd name="connsiteY1652" fmla="*/ 2761 h 10000"/>
                <a:gd name="connsiteX1653" fmla="*/ 3673 w 10354"/>
                <a:gd name="connsiteY1653" fmla="*/ 2769 h 10000"/>
                <a:gd name="connsiteX1654" fmla="*/ 3673 w 10354"/>
                <a:gd name="connsiteY1654" fmla="*/ 2761 h 10000"/>
                <a:gd name="connsiteX1655" fmla="*/ 3687 w 10354"/>
                <a:gd name="connsiteY1655" fmla="*/ 2829 h 10000"/>
                <a:gd name="connsiteX1656" fmla="*/ 3677 w 10354"/>
                <a:gd name="connsiteY1656" fmla="*/ 2897 h 10000"/>
                <a:gd name="connsiteX1657" fmla="*/ 3673 w 10354"/>
                <a:gd name="connsiteY1657" fmla="*/ 2915 h 10000"/>
                <a:gd name="connsiteX1658" fmla="*/ 3664 w 10354"/>
                <a:gd name="connsiteY1658" fmla="*/ 2957 h 10000"/>
                <a:gd name="connsiteX1659" fmla="*/ 3659 w 10354"/>
                <a:gd name="connsiteY1659" fmla="*/ 2983 h 10000"/>
                <a:gd name="connsiteX1660" fmla="*/ 3664 w 10354"/>
                <a:gd name="connsiteY1660" fmla="*/ 3017 h 10000"/>
                <a:gd name="connsiteX1661" fmla="*/ 3659 w 10354"/>
                <a:gd name="connsiteY1661" fmla="*/ 3043 h 10000"/>
                <a:gd name="connsiteX1662" fmla="*/ 3677 w 10354"/>
                <a:gd name="connsiteY1662" fmla="*/ 3094 h 10000"/>
                <a:gd name="connsiteX1663" fmla="*/ 3691 w 10354"/>
                <a:gd name="connsiteY1663" fmla="*/ 3282 h 10000"/>
                <a:gd name="connsiteX1664" fmla="*/ 3691 w 10354"/>
                <a:gd name="connsiteY1664" fmla="*/ 3308 h 10000"/>
                <a:gd name="connsiteX1665" fmla="*/ 3677 w 10354"/>
                <a:gd name="connsiteY1665" fmla="*/ 3342 h 10000"/>
                <a:gd name="connsiteX1666" fmla="*/ 3664 w 10354"/>
                <a:gd name="connsiteY1666" fmla="*/ 3342 h 10000"/>
                <a:gd name="connsiteX1667" fmla="*/ 3650 w 10354"/>
                <a:gd name="connsiteY1667" fmla="*/ 3342 h 10000"/>
                <a:gd name="connsiteX1668" fmla="*/ 3650 w 10354"/>
                <a:gd name="connsiteY1668" fmla="*/ 3350 h 10000"/>
                <a:gd name="connsiteX1669" fmla="*/ 3659 w 10354"/>
                <a:gd name="connsiteY1669" fmla="*/ 3402 h 10000"/>
                <a:gd name="connsiteX1670" fmla="*/ 3659 w 10354"/>
                <a:gd name="connsiteY1670" fmla="*/ 3419 h 10000"/>
                <a:gd name="connsiteX1671" fmla="*/ 3631 w 10354"/>
                <a:gd name="connsiteY1671" fmla="*/ 3402 h 10000"/>
                <a:gd name="connsiteX1672" fmla="*/ 3604 w 10354"/>
                <a:gd name="connsiteY1672" fmla="*/ 3393 h 10000"/>
                <a:gd name="connsiteX1673" fmla="*/ 3599 w 10354"/>
                <a:gd name="connsiteY1673" fmla="*/ 3368 h 10000"/>
                <a:gd name="connsiteX1674" fmla="*/ 3590 w 10354"/>
                <a:gd name="connsiteY1674" fmla="*/ 3239 h 10000"/>
                <a:gd name="connsiteX1675" fmla="*/ 3599 w 10354"/>
                <a:gd name="connsiteY1675" fmla="*/ 3179 h 10000"/>
                <a:gd name="connsiteX1676" fmla="*/ 3599 w 10354"/>
                <a:gd name="connsiteY1676" fmla="*/ 3171 h 10000"/>
                <a:gd name="connsiteX1677" fmla="*/ 3599 w 10354"/>
                <a:gd name="connsiteY1677" fmla="*/ 3009 h 10000"/>
                <a:gd name="connsiteX1678" fmla="*/ 3604 w 10354"/>
                <a:gd name="connsiteY1678" fmla="*/ 2983 h 10000"/>
                <a:gd name="connsiteX1679" fmla="*/ 3645 w 10354"/>
                <a:gd name="connsiteY1679" fmla="*/ 2932 h 10000"/>
                <a:gd name="connsiteX1680" fmla="*/ 3650 w 10354"/>
                <a:gd name="connsiteY1680" fmla="*/ 2872 h 10000"/>
                <a:gd name="connsiteX1681" fmla="*/ 3659 w 10354"/>
                <a:gd name="connsiteY1681" fmla="*/ 2855 h 10000"/>
                <a:gd name="connsiteX1682" fmla="*/ 3659 w 10354"/>
                <a:gd name="connsiteY1682" fmla="*/ 2821 h 10000"/>
                <a:gd name="connsiteX1683" fmla="*/ 3631 w 10354"/>
                <a:gd name="connsiteY1683" fmla="*/ 2795 h 10000"/>
                <a:gd name="connsiteX1684" fmla="*/ 3567 w 10354"/>
                <a:gd name="connsiteY1684" fmla="*/ 2821 h 10000"/>
                <a:gd name="connsiteX1685" fmla="*/ 3544 w 10354"/>
                <a:gd name="connsiteY1685" fmla="*/ 2795 h 10000"/>
                <a:gd name="connsiteX1686" fmla="*/ 3530 w 10354"/>
                <a:gd name="connsiteY1686" fmla="*/ 2769 h 10000"/>
                <a:gd name="connsiteX1687" fmla="*/ 3530 w 10354"/>
                <a:gd name="connsiteY1687" fmla="*/ 2786 h 10000"/>
                <a:gd name="connsiteX1688" fmla="*/ 3498 w 10354"/>
                <a:gd name="connsiteY1688" fmla="*/ 2692 h 10000"/>
                <a:gd name="connsiteX1689" fmla="*/ 3498 w 10354"/>
                <a:gd name="connsiteY1689" fmla="*/ 2667 h 10000"/>
                <a:gd name="connsiteX1690" fmla="*/ 3442 w 10354"/>
                <a:gd name="connsiteY1690" fmla="*/ 2607 h 10000"/>
                <a:gd name="connsiteX1691" fmla="*/ 3433 w 10354"/>
                <a:gd name="connsiteY1691" fmla="*/ 2581 h 10000"/>
                <a:gd name="connsiteX1692" fmla="*/ 3396 w 10354"/>
                <a:gd name="connsiteY1692" fmla="*/ 2556 h 10000"/>
                <a:gd name="connsiteX1693" fmla="*/ 3318 w 10354"/>
                <a:gd name="connsiteY1693" fmla="*/ 2556 h 10000"/>
                <a:gd name="connsiteX1694" fmla="*/ 3304 w 10354"/>
                <a:gd name="connsiteY1694" fmla="*/ 2607 h 10000"/>
                <a:gd name="connsiteX1695" fmla="*/ 3276 w 10354"/>
                <a:gd name="connsiteY1695" fmla="*/ 2632 h 10000"/>
                <a:gd name="connsiteX1696" fmla="*/ 3272 w 10354"/>
                <a:gd name="connsiteY1696" fmla="*/ 2667 h 10000"/>
                <a:gd name="connsiteX1697" fmla="*/ 3304 w 10354"/>
                <a:gd name="connsiteY1697" fmla="*/ 2667 h 10000"/>
                <a:gd name="connsiteX1698" fmla="*/ 3323 w 10354"/>
                <a:gd name="connsiteY1698" fmla="*/ 2692 h 10000"/>
                <a:gd name="connsiteX1699" fmla="*/ 3318 w 10354"/>
                <a:gd name="connsiteY1699" fmla="*/ 2735 h 10000"/>
                <a:gd name="connsiteX1700" fmla="*/ 3304 w 10354"/>
                <a:gd name="connsiteY1700" fmla="*/ 2761 h 10000"/>
                <a:gd name="connsiteX1701" fmla="*/ 3276 w 10354"/>
                <a:gd name="connsiteY1701" fmla="*/ 2769 h 10000"/>
                <a:gd name="connsiteX1702" fmla="*/ 3263 w 10354"/>
                <a:gd name="connsiteY1702" fmla="*/ 2795 h 10000"/>
                <a:gd name="connsiteX1703" fmla="*/ 3235 w 10354"/>
                <a:gd name="connsiteY1703" fmla="*/ 2803 h 10000"/>
                <a:gd name="connsiteX1704" fmla="*/ 3235 w 10354"/>
                <a:gd name="connsiteY1704" fmla="*/ 2786 h 10000"/>
                <a:gd name="connsiteX1705" fmla="*/ 3212 w 10354"/>
                <a:gd name="connsiteY1705" fmla="*/ 2709 h 10000"/>
                <a:gd name="connsiteX1706" fmla="*/ 3198 w 10354"/>
                <a:gd name="connsiteY1706" fmla="*/ 2709 h 10000"/>
                <a:gd name="connsiteX1707" fmla="*/ 3184 w 10354"/>
                <a:gd name="connsiteY1707" fmla="*/ 2735 h 10000"/>
                <a:gd name="connsiteX1708" fmla="*/ 3189 w 10354"/>
                <a:gd name="connsiteY1708" fmla="*/ 2761 h 10000"/>
                <a:gd name="connsiteX1709" fmla="*/ 3203 w 10354"/>
                <a:gd name="connsiteY1709" fmla="*/ 2855 h 10000"/>
                <a:gd name="connsiteX1710" fmla="*/ 3212 w 10354"/>
                <a:gd name="connsiteY1710" fmla="*/ 2872 h 10000"/>
                <a:gd name="connsiteX1711" fmla="*/ 3235 w 10354"/>
                <a:gd name="connsiteY1711" fmla="*/ 2906 h 10000"/>
                <a:gd name="connsiteX1712" fmla="*/ 3258 w 10354"/>
                <a:gd name="connsiteY1712" fmla="*/ 2915 h 10000"/>
                <a:gd name="connsiteX1713" fmla="*/ 3272 w 10354"/>
                <a:gd name="connsiteY1713" fmla="*/ 2957 h 10000"/>
                <a:gd name="connsiteX1714" fmla="*/ 3276 w 10354"/>
                <a:gd name="connsiteY1714" fmla="*/ 2957 h 10000"/>
                <a:gd name="connsiteX1715" fmla="*/ 3286 w 10354"/>
                <a:gd name="connsiteY1715" fmla="*/ 2966 h 10000"/>
                <a:gd name="connsiteX1716" fmla="*/ 3300 w 10354"/>
                <a:gd name="connsiteY1716" fmla="*/ 2957 h 10000"/>
                <a:gd name="connsiteX1717" fmla="*/ 3309 w 10354"/>
                <a:gd name="connsiteY1717" fmla="*/ 2932 h 10000"/>
                <a:gd name="connsiteX1718" fmla="*/ 3304 w 10354"/>
                <a:gd name="connsiteY1718" fmla="*/ 2966 h 10000"/>
                <a:gd name="connsiteX1719" fmla="*/ 3309 w 10354"/>
                <a:gd name="connsiteY1719" fmla="*/ 2983 h 10000"/>
                <a:gd name="connsiteX1720" fmla="*/ 3323 w 10354"/>
                <a:gd name="connsiteY1720" fmla="*/ 2966 h 10000"/>
                <a:gd name="connsiteX1721" fmla="*/ 3323 w 10354"/>
                <a:gd name="connsiteY1721" fmla="*/ 3043 h 10000"/>
                <a:gd name="connsiteX1722" fmla="*/ 3346 w 10354"/>
                <a:gd name="connsiteY1722" fmla="*/ 3068 h 10000"/>
                <a:gd name="connsiteX1723" fmla="*/ 3346 w 10354"/>
                <a:gd name="connsiteY1723" fmla="*/ 3094 h 10000"/>
                <a:gd name="connsiteX1724" fmla="*/ 3323 w 10354"/>
                <a:gd name="connsiteY1724" fmla="*/ 3094 h 10000"/>
                <a:gd name="connsiteX1725" fmla="*/ 3309 w 10354"/>
                <a:gd name="connsiteY1725" fmla="*/ 3077 h 10000"/>
                <a:gd name="connsiteX1726" fmla="*/ 3304 w 10354"/>
                <a:gd name="connsiteY1726" fmla="*/ 3051 h 10000"/>
                <a:gd name="connsiteX1727" fmla="*/ 3300 w 10354"/>
                <a:gd name="connsiteY1727" fmla="*/ 3043 h 10000"/>
                <a:gd name="connsiteX1728" fmla="*/ 3286 w 10354"/>
                <a:gd name="connsiteY1728" fmla="*/ 3017 h 10000"/>
                <a:gd name="connsiteX1729" fmla="*/ 3152 w 10354"/>
                <a:gd name="connsiteY1729" fmla="*/ 2966 h 10000"/>
                <a:gd name="connsiteX1730" fmla="*/ 3129 w 10354"/>
                <a:gd name="connsiteY1730" fmla="*/ 2915 h 10000"/>
                <a:gd name="connsiteX1731" fmla="*/ 3129 w 10354"/>
                <a:gd name="connsiteY1731" fmla="*/ 2906 h 10000"/>
                <a:gd name="connsiteX1732" fmla="*/ 3152 w 10354"/>
                <a:gd name="connsiteY1732" fmla="*/ 2906 h 10000"/>
                <a:gd name="connsiteX1733" fmla="*/ 3152 w 10354"/>
                <a:gd name="connsiteY1733" fmla="*/ 2846 h 10000"/>
                <a:gd name="connsiteX1734" fmla="*/ 3138 w 10354"/>
                <a:gd name="connsiteY1734" fmla="*/ 2795 h 10000"/>
                <a:gd name="connsiteX1735" fmla="*/ 3138 w 10354"/>
                <a:gd name="connsiteY1735" fmla="*/ 2769 h 10000"/>
                <a:gd name="connsiteX1736" fmla="*/ 3143 w 10354"/>
                <a:gd name="connsiteY1736" fmla="*/ 2718 h 10000"/>
                <a:gd name="connsiteX1737" fmla="*/ 3129 w 10354"/>
                <a:gd name="connsiteY1737" fmla="*/ 2692 h 10000"/>
                <a:gd name="connsiteX1738" fmla="*/ 3143 w 10354"/>
                <a:gd name="connsiteY1738" fmla="*/ 2667 h 10000"/>
                <a:gd name="connsiteX1739" fmla="*/ 3157 w 10354"/>
                <a:gd name="connsiteY1739" fmla="*/ 2581 h 10000"/>
                <a:gd name="connsiteX1740" fmla="*/ 3143 w 10354"/>
                <a:gd name="connsiteY1740" fmla="*/ 2496 h 10000"/>
                <a:gd name="connsiteX1741" fmla="*/ 3157 w 10354"/>
                <a:gd name="connsiteY1741" fmla="*/ 2487 h 10000"/>
                <a:gd name="connsiteX1742" fmla="*/ 3143 w 10354"/>
                <a:gd name="connsiteY1742" fmla="*/ 2444 h 10000"/>
                <a:gd name="connsiteX1743" fmla="*/ 3143 w 10354"/>
                <a:gd name="connsiteY1743" fmla="*/ 2419 h 10000"/>
                <a:gd name="connsiteX1744" fmla="*/ 3143 w 10354"/>
                <a:gd name="connsiteY1744" fmla="*/ 2410 h 10000"/>
                <a:gd name="connsiteX1745" fmla="*/ 3124 w 10354"/>
                <a:gd name="connsiteY1745" fmla="*/ 2376 h 10000"/>
                <a:gd name="connsiteX1746" fmla="*/ 3115 w 10354"/>
                <a:gd name="connsiteY1746" fmla="*/ 2350 h 10000"/>
                <a:gd name="connsiteX1747" fmla="*/ 3101 w 10354"/>
                <a:gd name="connsiteY1747" fmla="*/ 2359 h 10000"/>
                <a:gd name="connsiteX1748" fmla="*/ 3115 w 10354"/>
                <a:gd name="connsiteY1748" fmla="*/ 2581 h 10000"/>
                <a:gd name="connsiteX1749" fmla="*/ 3111 w 10354"/>
                <a:gd name="connsiteY1749" fmla="*/ 2624 h 10000"/>
                <a:gd name="connsiteX1750" fmla="*/ 3009 w 10354"/>
                <a:gd name="connsiteY1750" fmla="*/ 2761 h 10000"/>
                <a:gd name="connsiteX1751" fmla="*/ 3009 w 10354"/>
                <a:gd name="connsiteY1751" fmla="*/ 2803 h 10000"/>
                <a:gd name="connsiteX1752" fmla="*/ 3005 w 10354"/>
                <a:gd name="connsiteY1752" fmla="*/ 2829 h 10000"/>
                <a:gd name="connsiteX1753" fmla="*/ 2982 w 10354"/>
                <a:gd name="connsiteY1753" fmla="*/ 2872 h 10000"/>
                <a:gd name="connsiteX1754" fmla="*/ 2982 w 10354"/>
                <a:gd name="connsiteY1754" fmla="*/ 2880 h 10000"/>
                <a:gd name="connsiteX1755" fmla="*/ 3037 w 10354"/>
                <a:gd name="connsiteY1755" fmla="*/ 3034 h 10000"/>
                <a:gd name="connsiteX1756" fmla="*/ 3041 w 10354"/>
                <a:gd name="connsiteY1756" fmla="*/ 3103 h 10000"/>
                <a:gd name="connsiteX1757" fmla="*/ 3069 w 10354"/>
                <a:gd name="connsiteY1757" fmla="*/ 3188 h 10000"/>
                <a:gd name="connsiteX1758" fmla="*/ 3055 w 10354"/>
                <a:gd name="connsiteY1758" fmla="*/ 3325 h 10000"/>
                <a:gd name="connsiteX1759" fmla="*/ 3037 w 10354"/>
                <a:gd name="connsiteY1759" fmla="*/ 3368 h 10000"/>
                <a:gd name="connsiteX1760" fmla="*/ 3037 w 10354"/>
                <a:gd name="connsiteY1760" fmla="*/ 3444 h 10000"/>
                <a:gd name="connsiteX1761" fmla="*/ 3028 w 10354"/>
                <a:gd name="connsiteY1761" fmla="*/ 3453 h 10000"/>
                <a:gd name="connsiteX1762" fmla="*/ 3023 w 10354"/>
                <a:gd name="connsiteY1762" fmla="*/ 3530 h 10000"/>
                <a:gd name="connsiteX1763" fmla="*/ 3051 w 10354"/>
                <a:gd name="connsiteY1763" fmla="*/ 3624 h 10000"/>
                <a:gd name="connsiteX1764" fmla="*/ 3037 w 10354"/>
                <a:gd name="connsiteY1764" fmla="*/ 3718 h 10000"/>
                <a:gd name="connsiteX1765" fmla="*/ 3041 w 10354"/>
                <a:gd name="connsiteY1765" fmla="*/ 3752 h 10000"/>
                <a:gd name="connsiteX1766" fmla="*/ 3055 w 10354"/>
                <a:gd name="connsiteY1766" fmla="*/ 3761 h 10000"/>
                <a:gd name="connsiteX1767" fmla="*/ 3078 w 10354"/>
                <a:gd name="connsiteY1767" fmla="*/ 3752 h 10000"/>
                <a:gd name="connsiteX1768" fmla="*/ 3092 w 10354"/>
                <a:gd name="connsiteY1768" fmla="*/ 3752 h 10000"/>
                <a:gd name="connsiteX1769" fmla="*/ 3129 w 10354"/>
                <a:gd name="connsiteY1769" fmla="*/ 3761 h 10000"/>
                <a:gd name="connsiteX1770" fmla="*/ 3129 w 10354"/>
                <a:gd name="connsiteY1770" fmla="*/ 3735 h 10000"/>
                <a:gd name="connsiteX1771" fmla="*/ 3157 w 10354"/>
                <a:gd name="connsiteY1771" fmla="*/ 3718 h 10000"/>
                <a:gd name="connsiteX1772" fmla="*/ 3184 w 10354"/>
                <a:gd name="connsiteY1772" fmla="*/ 3718 h 10000"/>
                <a:gd name="connsiteX1773" fmla="*/ 3290 w 10354"/>
                <a:gd name="connsiteY1773" fmla="*/ 3838 h 10000"/>
                <a:gd name="connsiteX1774" fmla="*/ 3300 w 10354"/>
                <a:gd name="connsiteY1774" fmla="*/ 3846 h 10000"/>
                <a:gd name="connsiteX1775" fmla="*/ 3300 w 10354"/>
                <a:gd name="connsiteY1775" fmla="*/ 3915 h 10000"/>
                <a:gd name="connsiteX1776" fmla="*/ 3318 w 10354"/>
                <a:gd name="connsiteY1776" fmla="*/ 4000 h 10000"/>
                <a:gd name="connsiteX1777" fmla="*/ 3323 w 10354"/>
                <a:gd name="connsiteY1777" fmla="*/ 4000 h 10000"/>
                <a:gd name="connsiteX1778" fmla="*/ 3323 w 10354"/>
                <a:gd name="connsiteY1778" fmla="*/ 4034 h 10000"/>
                <a:gd name="connsiteX1779" fmla="*/ 3318 w 10354"/>
                <a:gd name="connsiteY1779" fmla="*/ 4051 h 10000"/>
                <a:gd name="connsiteX1780" fmla="*/ 3300 w 10354"/>
                <a:gd name="connsiteY1780" fmla="*/ 4051 h 10000"/>
                <a:gd name="connsiteX1781" fmla="*/ 3290 w 10354"/>
                <a:gd name="connsiteY1781" fmla="*/ 4077 h 10000"/>
                <a:gd name="connsiteX1782" fmla="*/ 3286 w 10354"/>
                <a:gd name="connsiteY1782" fmla="*/ 4103 h 10000"/>
                <a:gd name="connsiteX1783" fmla="*/ 3286 w 10354"/>
                <a:gd name="connsiteY1783" fmla="*/ 4197 h 10000"/>
                <a:gd name="connsiteX1784" fmla="*/ 3290 w 10354"/>
                <a:gd name="connsiteY1784" fmla="*/ 4214 h 10000"/>
                <a:gd name="connsiteX1785" fmla="*/ 3304 w 10354"/>
                <a:gd name="connsiteY1785" fmla="*/ 4214 h 10000"/>
                <a:gd name="connsiteX1786" fmla="*/ 3323 w 10354"/>
                <a:gd name="connsiteY1786" fmla="*/ 4239 h 10000"/>
                <a:gd name="connsiteX1787" fmla="*/ 3350 w 10354"/>
                <a:gd name="connsiteY1787" fmla="*/ 4222 h 10000"/>
                <a:gd name="connsiteX1788" fmla="*/ 3369 w 10354"/>
                <a:gd name="connsiteY1788" fmla="*/ 4256 h 10000"/>
                <a:gd name="connsiteX1789" fmla="*/ 3369 w 10354"/>
                <a:gd name="connsiteY1789" fmla="*/ 4256 h 10000"/>
                <a:gd name="connsiteX1790" fmla="*/ 3336 w 10354"/>
                <a:gd name="connsiteY1790" fmla="*/ 4274 h 10000"/>
                <a:gd name="connsiteX1791" fmla="*/ 3323 w 10354"/>
                <a:gd name="connsiteY1791" fmla="*/ 4274 h 10000"/>
                <a:gd name="connsiteX1792" fmla="*/ 3290 w 10354"/>
                <a:gd name="connsiteY1792" fmla="*/ 4274 h 10000"/>
                <a:gd name="connsiteX1793" fmla="*/ 3286 w 10354"/>
                <a:gd name="connsiteY1793" fmla="*/ 4239 h 10000"/>
                <a:gd name="connsiteX1794" fmla="*/ 3263 w 10354"/>
                <a:gd name="connsiteY1794" fmla="*/ 4214 h 10000"/>
                <a:gd name="connsiteX1795" fmla="*/ 3258 w 10354"/>
                <a:gd name="connsiteY1795" fmla="*/ 4188 h 10000"/>
                <a:gd name="connsiteX1796" fmla="*/ 3263 w 10354"/>
                <a:gd name="connsiteY1796" fmla="*/ 4171 h 10000"/>
                <a:gd name="connsiteX1797" fmla="*/ 3263 w 10354"/>
                <a:gd name="connsiteY1797" fmla="*/ 4103 h 10000"/>
                <a:gd name="connsiteX1798" fmla="*/ 3276 w 10354"/>
                <a:gd name="connsiteY1798" fmla="*/ 4060 h 10000"/>
                <a:gd name="connsiteX1799" fmla="*/ 3272 w 10354"/>
                <a:gd name="connsiteY1799" fmla="*/ 4051 h 10000"/>
                <a:gd name="connsiteX1800" fmla="*/ 3263 w 10354"/>
                <a:gd name="connsiteY1800" fmla="*/ 4051 h 10000"/>
                <a:gd name="connsiteX1801" fmla="*/ 3263 w 10354"/>
                <a:gd name="connsiteY1801" fmla="*/ 4034 h 10000"/>
                <a:gd name="connsiteX1802" fmla="*/ 3263 w 10354"/>
                <a:gd name="connsiteY1802" fmla="*/ 4000 h 10000"/>
                <a:gd name="connsiteX1803" fmla="*/ 3272 w 10354"/>
                <a:gd name="connsiteY1803" fmla="*/ 4000 h 10000"/>
                <a:gd name="connsiteX1804" fmla="*/ 3272 w 10354"/>
                <a:gd name="connsiteY1804" fmla="*/ 3974 h 10000"/>
                <a:gd name="connsiteX1805" fmla="*/ 3272 w 10354"/>
                <a:gd name="connsiteY1805" fmla="*/ 3966 h 10000"/>
                <a:gd name="connsiteX1806" fmla="*/ 3272 w 10354"/>
                <a:gd name="connsiteY1806" fmla="*/ 3949 h 10000"/>
                <a:gd name="connsiteX1807" fmla="*/ 3258 w 10354"/>
                <a:gd name="connsiteY1807" fmla="*/ 3923 h 10000"/>
                <a:gd name="connsiteX1808" fmla="*/ 3249 w 10354"/>
                <a:gd name="connsiteY1808" fmla="*/ 3915 h 10000"/>
                <a:gd name="connsiteX1809" fmla="*/ 3244 w 10354"/>
                <a:gd name="connsiteY1809" fmla="*/ 3897 h 10000"/>
                <a:gd name="connsiteX1810" fmla="*/ 3230 w 10354"/>
                <a:gd name="connsiteY1810" fmla="*/ 3889 h 10000"/>
                <a:gd name="connsiteX1811" fmla="*/ 3230 w 10354"/>
                <a:gd name="connsiteY1811" fmla="*/ 3863 h 10000"/>
                <a:gd name="connsiteX1812" fmla="*/ 3230 w 10354"/>
                <a:gd name="connsiteY1812" fmla="*/ 3838 h 10000"/>
                <a:gd name="connsiteX1813" fmla="*/ 3226 w 10354"/>
                <a:gd name="connsiteY1813" fmla="*/ 3803 h 10000"/>
                <a:gd name="connsiteX1814" fmla="*/ 3138 w 10354"/>
                <a:gd name="connsiteY1814" fmla="*/ 3838 h 10000"/>
                <a:gd name="connsiteX1815" fmla="*/ 3078 w 10354"/>
                <a:gd name="connsiteY1815" fmla="*/ 3889 h 10000"/>
                <a:gd name="connsiteX1816" fmla="*/ 3078 w 10354"/>
                <a:gd name="connsiteY1816" fmla="*/ 3940 h 10000"/>
                <a:gd name="connsiteX1817" fmla="*/ 3069 w 10354"/>
                <a:gd name="connsiteY1817" fmla="*/ 3983 h 10000"/>
                <a:gd name="connsiteX1818" fmla="*/ 3069 w 10354"/>
                <a:gd name="connsiteY1818" fmla="*/ 4009 h 10000"/>
                <a:gd name="connsiteX1819" fmla="*/ 3078 w 10354"/>
                <a:gd name="connsiteY1819" fmla="*/ 4026 h 10000"/>
                <a:gd name="connsiteX1820" fmla="*/ 3083 w 10354"/>
                <a:gd name="connsiteY1820" fmla="*/ 4034 h 10000"/>
                <a:gd name="connsiteX1821" fmla="*/ 3092 w 10354"/>
                <a:gd name="connsiteY1821" fmla="*/ 4060 h 10000"/>
                <a:gd name="connsiteX1822" fmla="*/ 3092 w 10354"/>
                <a:gd name="connsiteY1822" fmla="*/ 4077 h 10000"/>
                <a:gd name="connsiteX1823" fmla="*/ 3097 w 10354"/>
                <a:gd name="connsiteY1823" fmla="*/ 4103 h 10000"/>
                <a:gd name="connsiteX1824" fmla="*/ 3101 w 10354"/>
                <a:gd name="connsiteY1824" fmla="*/ 4162 h 10000"/>
                <a:gd name="connsiteX1825" fmla="*/ 3097 w 10354"/>
                <a:gd name="connsiteY1825" fmla="*/ 4222 h 10000"/>
                <a:gd name="connsiteX1826" fmla="*/ 3041 w 10354"/>
                <a:gd name="connsiteY1826" fmla="*/ 4325 h 10000"/>
                <a:gd name="connsiteX1827" fmla="*/ 3037 w 10354"/>
                <a:gd name="connsiteY1827" fmla="*/ 4419 h 10000"/>
                <a:gd name="connsiteX1828" fmla="*/ 3018 w 10354"/>
                <a:gd name="connsiteY1828" fmla="*/ 4470 h 10000"/>
                <a:gd name="connsiteX1829" fmla="*/ 2991 w 10354"/>
                <a:gd name="connsiteY1829" fmla="*/ 4513 h 10000"/>
                <a:gd name="connsiteX1830" fmla="*/ 2977 w 10354"/>
                <a:gd name="connsiteY1830" fmla="*/ 4530 h 10000"/>
                <a:gd name="connsiteX1831" fmla="*/ 2945 w 10354"/>
                <a:gd name="connsiteY1831" fmla="*/ 4556 h 10000"/>
                <a:gd name="connsiteX1832" fmla="*/ 2935 w 10354"/>
                <a:gd name="connsiteY1832" fmla="*/ 4581 h 10000"/>
                <a:gd name="connsiteX1833" fmla="*/ 2949 w 10354"/>
                <a:gd name="connsiteY1833" fmla="*/ 4624 h 10000"/>
                <a:gd name="connsiteX1834" fmla="*/ 2945 w 10354"/>
                <a:gd name="connsiteY1834" fmla="*/ 4658 h 10000"/>
                <a:gd name="connsiteX1835" fmla="*/ 2922 w 10354"/>
                <a:gd name="connsiteY1835" fmla="*/ 4667 h 10000"/>
                <a:gd name="connsiteX1836" fmla="*/ 2876 w 10354"/>
                <a:gd name="connsiteY1836" fmla="*/ 4632 h 10000"/>
                <a:gd name="connsiteX1837" fmla="*/ 2857 w 10354"/>
                <a:gd name="connsiteY1837" fmla="*/ 4632 h 10000"/>
                <a:gd name="connsiteX1838" fmla="*/ 2820 w 10354"/>
                <a:gd name="connsiteY1838" fmla="*/ 4641 h 10000"/>
                <a:gd name="connsiteX1839" fmla="*/ 2797 w 10354"/>
                <a:gd name="connsiteY1839" fmla="*/ 4632 h 10000"/>
                <a:gd name="connsiteX1840" fmla="*/ 2788 w 10354"/>
                <a:gd name="connsiteY1840" fmla="*/ 4624 h 10000"/>
                <a:gd name="connsiteX1841" fmla="*/ 2788 w 10354"/>
                <a:gd name="connsiteY1841" fmla="*/ 4598 h 10000"/>
                <a:gd name="connsiteX1842" fmla="*/ 2797 w 10354"/>
                <a:gd name="connsiteY1842" fmla="*/ 4581 h 10000"/>
                <a:gd name="connsiteX1843" fmla="*/ 2788 w 10354"/>
                <a:gd name="connsiteY1843" fmla="*/ 4530 h 10000"/>
                <a:gd name="connsiteX1844" fmla="*/ 2774 w 10354"/>
                <a:gd name="connsiteY1844" fmla="*/ 4530 h 10000"/>
                <a:gd name="connsiteX1845" fmla="*/ 2770 w 10354"/>
                <a:gd name="connsiteY1845" fmla="*/ 4513 h 10000"/>
                <a:gd name="connsiteX1846" fmla="*/ 2774 w 10354"/>
                <a:gd name="connsiteY1846" fmla="*/ 4513 h 10000"/>
                <a:gd name="connsiteX1847" fmla="*/ 2788 w 10354"/>
                <a:gd name="connsiteY1847" fmla="*/ 4496 h 10000"/>
                <a:gd name="connsiteX1848" fmla="*/ 2802 w 10354"/>
                <a:gd name="connsiteY1848" fmla="*/ 4513 h 10000"/>
                <a:gd name="connsiteX1849" fmla="*/ 2811 w 10354"/>
                <a:gd name="connsiteY1849" fmla="*/ 4530 h 10000"/>
                <a:gd name="connsiteX1850" fmla="*/ 2820 w 10354"/>
                <a:gd name="connsiteY1850" fmla="*/ 4521 h 10000"/>
                <a:gd name="connsiteX1851" fmla="*/ 2829 w 10354"/>
                <a:gd name="connsiteY1851" fmla="*/ 4513 h 10000"/>
                <a:gd name="connsiteX1852" fmla="*/ 2843 w 10354"/>
                <a:gd name="connsiteY1852" fmla="*/ 4513 h 10000"/>
                <a:gd name="connsiteX1853" fmla="*/ 2848 w 10354"/>
                <a:gd name="connsiteY1853" fmla="*/ 4470 h 10000"/>
                <a:gd name="connsiteX1854" fmla="*/ 2862 w 10354"/>
                <a:gd name="connsiteY1854" fmla="*/ 4487 h 10000"/>
                <a:gd name="connsiteX1855" fmla="*/ 2876 w 10354"/>
                <a:gd name="connsiteY1855" fmla="*/ 4470 h 10000"/>
                <a:gd name="connsiteX1856" fmla="*/ 2880 w 10354"/>
                <a:gd name="connsiteY1856" fmla="*/ 4462 h 10000"/>
                <a:gd name="connsiteX1857" fmla="*/ 2889 w 10354"/>
                <a:gd name="connsiteY1857" fmla="*/ 4444 h 10000"/>
                <a:gd name="connsiteX1858" fmla="*/ 2894 w 10354"/>
                <a:gd name="connsiteY1858" fmla="*/ 4462 h 10000"/>
                <a:gd name="connsiteX1859" fmla="*/ 2917 w 10354"/>
                <a:gd name="connsiteY1859" fmla="*/ 4444 h 10000"/>
                <a:gd name="connsiteX1860" fmla="*/ 2922 w 10354"/>
                <a:gd name="connsiteY1860" fmla="*/ 4436 h 10000"/>
                <a:gd name="connsiteX1861" fmla="*/ 2917 w 10354"/>
                <a:gd name="connsiteY1861" fmla="*/ 4410 h 10000"/>
                <a:gd name="connsiteX1862" fmla="*/ 2894 w 10354"/>
                <a:gd name="connsiteY1862" fmla="*/ 4410 h 10000"/>
                <a:gd name="connsiteX1863" fmla="*/ 2889 w 10354"/>
                <a:gd name="connsiteY1863" fmla="*/ 4419 h 10000"/>
                <a:gd name="connsiteX1864" fmla="*/ 2876 w 10354"/>
                <a:gd name="connsiteY1864" fmla="*/ 4410 h 10000"/>
                <a:gd name="connsiteX1865" fmla="*/ 2880 w 10354"/>
                <a:gd name="connsiteY1865" fmla="*/ 4376 h 10000"/>
                <a:gd name="connsiteX1866" fmla="*/ 2903 w 10354"/>
                <a:gd name="connsiteY1866" fmla="*/ 4393 h 10000"/>
                <a:gd name="connsiteX1867" fmla="*/ 2931 w 10354"/>
                <a:gd name="connsiteY1867" fmla="*/ 4393 h 10000"/>
                <a:gd name="connsiteX1868" fmla="*/ 2931 w 10354"/>
                <a:gd name="connsiteY1868" fmla="*/ 4385 h 10000"/>
                <a:gd name="connsiteX1869" fmla="*/ 2931 w 10354"/>
                <a:gd name="connsiteY1869" fmla="*/ 4350 h 10000"/>
                <a:gd name="connsiteX1870" fmla="*/ 2945 w 10354"/>
                <a:gd name="connsiteY1870" fmla="*/ 4350 h 10000"/>
                <a:gd name="connsiteX1871" fmla="*/ 2949 w 10354"/>
                <a:gd name="connsiteY1871" fmla="*/ 4325 h 10000"/>
                <a:gd name="connsiteX1872" fmla="*/ 2963 w 10354"/>
                <a:gd name="connsiteY1872" fmla="*/ 4256 h 10000"/>
                <a:gd name="connsiteX1873" fmla="*/ 2982 w 10354"/>
                <a:gd name="connsiteY1873" fmla="*/ 4239 h 10000"/>
                <a:gd name="connsiteX1874" fmla="*/ 2991 w 10354"/>
                <a:gd name="connsiteY1874" fmla="*/ 4214 h 10000"/>
                <a:gd name="connsiteX1875" fmla="*/ 2991 w 10354"/>
                <a:gd name="connsiteY1875" fmla="*/ 4197 h 10000"/>
                <a:gd name="connsiteX1876" fmla="*/ 2995 w 10354"/>
                <a:gd name="connsiteY1876" fmla="*/ 4171 h 10000"/>
                <a:gd name="connsiteX1877" fmla="*/ 2991 w 10354"/>
                <a:gd name="connsiteY1877" fmla="*/ 4077 h 10000"/>
                <a:gd name="connsiteX1878" fmla="*/ 2995 w 10354"/>
                <a:gd name="connsiteY1878" fmla="*/ 4034 h 10000"/>
                <a:gd name="connsiteX1879" fmla="*/ 3018 w 10354"/>
                <a:gd name="connsiteY1879" fmla="*/ 3983 h 10000"/>
                <a:gd name="connsiteX1880" fmla="*/ 3018 w 10354"/>
                <a:gd name="connsiteY1880" fmla="*/ 3915 h 10000"/>
                <a:gd name="connsiteX1881" fmla="*/ 2949 w 10354"/>
                <a:gd name="connsiteY1881" fmla="*/ 3778 h 10000"/>
                <a:gd name="connsiteX1882" fmla="*/ 2954 w 10354"/>
                <a:gd name="connsiteY1882" fmla="*/ 3675 h 10000"/>
                <a:gd name="connsiteX1883" fmla="*/ 2954 w 10354"/>
                <a:gd name="connsiteY1883" fmla="*/ 3650 h 10000"/>
                <a:gd name="connsiteX1884" fmla="*/ 2963 w 10354"/>
                <a:gd name="connsiteY1884" fmla="*/ 3624 h 10000"/>
                <a:gd name="connsiteX1885" fmla="*/ 2954 w 10354"/>
                <a:gd name="connsiteY1885" fmla="*/ 3564 h 10000"/>
                <a:gd name="connsiteX1886" fmla="*/ 2963 w 10354"/>
                <a:gd name="connsiteY1886" fmla="*/ 3538 h 10000"/>
                <a:gd name="connsiteX1887" fmla="*/ 2963 w 10354"/>
                <a:gd name="connsiteY1887" fmla="*/ 3487 h 10000"/>
                <a:gd name="connsiteX1888" fmla="*/ 2963 w 10354"/>
                <a:gd name="connsiteY1888" fmla="*/ 3479 h 10000"/>
                <a:gd name="connsiteX1889" fmla="*/ 2963 w 10354"/>
                <a:gd name="connsiteY1889" fmla="*/ 3462 h 10000"/>
                <a:gd name="connsiteX1890" fmla="*/ 2954 w 10354"/>
                <a:gd name="connsiteY1890" fmla="*/ 3453 h 10000"/>
                <a:gd name="connsiteX1891" fmla="*/ 2954 w 10354"/>
                <a:gd name="connsiteY1891" fmla="*/ 3444 h 10000"/>
                <a:gd name="connsiteX1892" fmla="*/ 2954 w 10354"/>
                <a:gd name="connsiteY1892" fmla="*/ 3402 h 10000"/>
                <a:gd name="connsiteX1893" fmla="*/ 2954 w 10354"/>
                <a:gd name="connsiteY1893" fmla="*/ 3393 h 10000"/>
                <a:gd name="connsiteX1894" fmla="*/ 2949 w 10354"/>
                <a:gd name="connsiteY1894" fmla="*/ 3376 h 10000"/>
                <a:gd name="connsiteX1895" fmla="*/ 2949 w 10354"/>
                <a:gd name="connsiteY1895" fmla="*/ 3342 h 10000"/>
                <a:gd name="connsiteX1896" fmla="*/ 2949 w 10354"/>
                <a:gd name="connsiteY1896" fmla="*/ 3316 h 10000"/>
                <a:gd name="connsiteX1897" fmla="*/ 2968 w 10354"/>
                <a:gd name="connsiteY1897" fmla="*/ 3291 h 10000"/>
                <a:gd name="connsiteX1898" fmla="*/ 2963 w 10354"/>
                <a:gd name="connsiteY1898" fmla="*/ 3205 h 10000"/>
                <a:gd name="connsiteX1899" fmla="*/ 2968 w 10354"/>
                <a:gd name="connsiteY1899" fmla="*/ 3171 h 10000"/>
                <a:gd name="connsiteX1900" fmla="*/ 2968 w 10354"/>
                <a:gd name="connsiteY1900" fmla="*/ 3128 h 10000"/>
                <a:gd name="connsiteX1901" fmla="*/ 2954 w 10354"/>
                <a:gd name="connsiteY1901" fmla="*/ 3051 h 10000"/>
                <a:gd name="connsiteX1902" fmla="*/ 2954 w 10354"/>
                <a:gd name="connsiteY1902" fmla="*/ 3009 h 10000"/>
                <a:gd name="connsiteX1903" fmla="*/ 2922 w 10354"/>
                <a:gd name="connsiteY1903" fmla="*/ 2940 h 10000"/>
                <a:gd name="connsiteX1904" fmla="*/ 2903 w 10354"/>
                <a:gd name="connsiteY1904" fmla="*/ 2880 h 10000"/>
                <a:gd name="connsiteX1905" fmla="*/ 2903 w 10354"/>
                <a:gd name="connsiteY1905" fmla="*/ 2855 h 10000"/>
                <a:gd name="connsiteX1906" fmla="*/ 2908 w 10354"/>
                <a:gd name="connsiteY1906" fmla="*/ 2846 h 10000"/>
                <a:gd name="connsiteX1907" fmla="*/ 2931 w 10354"/>
                <a:gd name="connsiteY1907" fmla="*/ 2821 h 10000"/>
                <a:gd name="connsiteX1908" fmla="*/ 2931 w 10354"/>
                <a:gd name="connsiteY1908" fmla="*/ 2803 h 10000"/>
                <a:gd name="connsiteX1909" fmla="*/ 2935 w 10354"/>
                <a:gd name="connsiteY1909" fmla="*/ 2786 h 10000"/>
                <a:gd name="connsiteX1910" fmla="*/ 2935 w 10354"/>
                <a:gd name="connsiteY1910" fmla="*/ 2744 h 10000"/>
                <a:gd name="connsiteX1911" fmla="*/ 2963 w 10354"/>
                <a:gd name="connsiteY1911" fmla="*/ 2607 h 10000"/>
                <a:gd name="connsiteX1912" fmla="*/ 2963 w 10354"/>
                <a:gd name="connsiteY1912" fmla="*/ 2419 h 10000"/>
                <a:gd name="connsiteX1913" fmla="*/ 2954 w 10354"/>
                <a:gd name="connsiteY1913" fmla="*/ 2410 h 10000"/>
                <a:gd name="connsiteX1914" fmla="*/ 2963 w 10354"/>
                <a:gd name="connsiteY1914" fmla="*/ 2393 h 10000"/>
                <a:gd name="connsiteX1915" fmla="*/ 2908 w 10354"/>
                <a:gd name="connsiteY1915" fmla="*/ 2359 h 10000"/>
                <a:gd name="connsiteX1916" fmla="*/ 2889 w 10354"/>
                <a:gd name="connsiteY1916" fmla="*/ 2325 h 10000"/>
                <a:gd name="connsiteX1917" fmla="*/ 2788 w 10354"/>
                <a:gd name="connsiteY1917" fmla="*/ 2333 h 10000"/>
                <a:gd name="connsiteX1918" fmla="*/ 2774 w 10354"/>
                <a:gd name="connsiteY1918" fmla="*/ 2325 h 10000"/>
                <a:gd name="connsiteX1919" fmla="*/ 2783 w 10354"/>
                <a:gd name="connsiteY1919" fmla="*/ 2308 h 10000"/>
                <a:gd name="connsiteX1920" fmla="*/ 2747 w 10354"/>
                <a:gd name="connsiteY1920" fmla="*/ 2308 h 10000"/>
                <a:gd name="connsiteX1921" fmla="*/ 2742 w 10354"/>
                <a:gd name="connsiteY1921" fmla="*/ 2333 h 10000"/>
                <a:gd name="connsiteX1922" fmla="*/ 2682 w 10354"/>
                <a:gd name="connsiteY1922" fmla="*/ 2769 h 10000"/>
                <a:gd name="connsiteX1923" fmla="*/ 2613 w 10354"/>
                <a:gd name="connsiteY1923" fmla="*/ 2940 h 10000"/>
                <a:gd name="connsiteX1924" fmla="*/ 2581 w 10354"/>
                <a:gd name="connsiteY1924" fmla="*/ 2966 h 10000"/>
                <a:gd name="connsiteX1925" fmla="*/ 2576 w 10354"/>
                <a:gd name="connsiteY1925" fmla="*/ 3051 h 10000"/>
                <a:gd name="connsiteX1926" fmla="*/ 2581 w 10354"/>
                <a:gd name="connsiteY1926" fmla="*/ 3051 h 10000"/>
                <a:gd name="connsiteX1927" fmla="*/ 2594 w 10354"/>
                <a:gd name="connsiteY1927" fmla="*/ 3017 h 10000"/>
                <a:gd name="connsiteX1928" fmla="*/ 2594 w 10354"/>
                <a:gd name="connsiteY1928" fmla="*/ 3034 h 10000"/>
                <a:gd name="connsiteX1929" fmla="*/ 2594 w 10354"/>
                <a:gd name="connsiteY1929" fmla="*/ 3051 h 10000"/>
                <a:gd name="connsiteX1930" fmla="*/ 2590 w 10354"/>
                <a:gd name="connsiteY1930" fmla="*/ 3077 h 10000"/>
                <a:gd name="connsiteX1931" fmla="*/ 2567 w 10354"/>
                <a:gd name="connsiteY1931" fmla="*/ 3103 h 10000"/>
                <a:gd name="connsiteX1932" fmla="*/ 2562 w 10354"/>
                <a:gd name="connsiteY1932" fmla="*/ 3145 h 10000"/>
                <a:gd name="connsiteX1933" fmla="*/ 2567 w 10354"/>
                <a:gd name="connsiteY1933" fmla="*/ 3179 h 10000"/>
                <a:gd name="connsiteX1934" fmla="*/ 2590 w 10354"/>
                <a:gd name="connsiteY1934" fmla="*/ 3171 h 10000"/>
                <a:gd name="connsiteX1935" fmla="*/ 2594 w 10354"/>
                <a:gd name="connsiteY1935" fmla="*/ 3145 h 10000"/>
                <a:gd name="connsiteX1936" fmla="*/ 2613 w 10354"/>
                <a:gd name="connsiteY1936" fmla="*/ 3154 h 10000"/>
                <a:gd name="connsiteX1937" fmla="*/ 2622 w 10354"/>
                <a:gd name="connsiteY1937" fmla="*/ 3179 h 10000"/>
                <a:gd name="connsiteX1938" fmla="*/ 2613 w 10354"/>
                <a:gd name="connsiteY1938" fmla="*/ 3214 h 10000"/>
                <a:gd name="connsiteX1939" fmla="*/ 2613 w 10354"/>
                <a:gd name="connsiteY1939" fmla="*/ 3308 h 10000"/>
                <a:gd name="connsiteX1940" fmla="*/ 2608 w 10354"/>
                <a:gd name="connsiteY1940" fmla="*/ 3325 h 10000"/>
                <a:gd name="connsiteX1941" fmla="*/ 2608 w 10354"/>
                <a:gd name="connsiteY1941" fmla="*/ 3376 h 10000"/>
                <a:gd name="connsiteX1942" fmla="*/ 2613 w 10354"/>
                <a:gd name="connsiteY1942" fmla="*/ 3419 h 10000"/>
                <a:gd name="connsiteX1943" fmla="*/ 2608 w 10354"/>
                <a:gd name="connsiteY1943" fmla="*/ 3444 h 10000"/>
                <a:gd name="connsiteX1944" fmla="*/ 2594 w 10354"/>
                <a:gd name="connsiteY1944" fmla="*/ 3444 h 10000"/>
                <a:gd name="connsiteX1945" fmla="*/ 2590 w 10354"/>
                <a:gd name="connsiteY1945" fmla="*/ 3427 h 10000"/>
                <a:gd name="connsiteX1946" fmla="*/ 2581 w 10354"/>
                <a:gd name="connsiteY1946" fmla="*/ 3564 h 10000"/>
                <a:gd name="connsiteX1947" fmla="*/ 2594 w 10354"/>
                <a:gd name="connsiteY1947" fmla="*/ 3598 h 10000"/>
                <a:gd name="connsiteX1948" fmla="*/ 2594 w 10354"/>
                <a:gd name="connsiteY1948" fmla="*/ 3581 h 10000"/>
                <a:gd name="connsiteX1949" fmla="*/ 2608 w 10354"/>
                <a:gd name="connsiteY1949" fmla="*/ 3556 h 10000"/>
                <a:gd name="connsiteX1950" fmla="*/ 2650 w 10354"/>
                <a:gd name="connsiteY1950" fmla="*/ 3615 h 10000"/>
                <a:gd name="connsiteX1951" fmla="*/ 2664 w 10354"/>
                <a:gd name="connsiteY1951" fmla="*/ 3615 h 10000"/>
                <a:gd name="connsiteX1952" fmla="*/ 2668 w 10354"/>
                <a:gd name="connsiteY1952" fmla="*/ 3615 h 10000"/>
                <a:gd name="connsiteX1953" fmla="*/ 2664 w 10354"/>
                <a:gd name="connsiteY1953" fmla="*/ 3667 h 10000"/>
                <a:gd name="connsiteX1954" fmla="*/ 2687 w 10354"/>
                <a:gd name="connsiteY1954" fmla="*/ 3786 h 10000"/>
                <a:gd name="connsiteX1955" fmla="*/ 2710 w 10354"/>
                <a:gd name="connsiteY1955" fmla="*/ 3812 h 10000"/>
                <a:gd name="connsiteX1956" fmla="*/ 2724 w 10354"/>
                <a:gd name="connsiteY1956" fmla="*/ 3812 h 10000"/>
                <a:gd name="connsiteX1957" fmla="*/ 2724 w 10354"/>
                <a:gd name="connsiteY1957" fmla="*/ 3829 h 10000"/>
                <a:gd name="connsiteX1958" fmla="*/ 2737 w 10354"/>
                <a:gd name="connsiteY1958" fmla="*/ 3838 h 10000"/>
                <a:gd name="connsiteX1959" fmla="*/ 2714 w 10354"/>
                <a:gd name="connsiteY1959" fmla="*/ 3872 h 10000"/>
                <a:gd name="connsiteX1960" fmla="*/ 2696 w 10354"/>
                <a:gd name="connsiteY1960" fmla="*/ 4026 h 10000"/>
                <a:gd name="connsiteX1961" fmla="*/ 2673 w 10354"/>
                <a:gd name="connsiteY1961" fmla="*/ 4051 h 10000"/>
                <a:gd name="connsiteX1962" fmla="*/ 2668 w 10354"/>
                <a:gd name="connsiteY1962" fmla="*/ 4034 h 10000"/>
                <a:gd name="connsiteX1963" fmla="*/ 2673 w 10354"/>
                <a:gd name="connsiteY1963" fmla="*/ 4000 h 10000"/>
                <a:gd name="connsiteX1964" fmla="*/ 2664 w 10354"/>
                <a:gd name="connsiteY1964" fmla="*/ 3974 h 10000"/>
                <a:gd name="connsiteX1965" fmla="*/ 2636 w 10354"/>
                <a:gd name="connsiteY1965" fmla="*/ 3949 h 10000"/>
                <a:gd name="connsiteX1966" fmla="*/ 2581 w 10354"/>
                <a:gd name="connsiteY1966" fmla="*/ 3838 h 10000"/>
                <a:gd name="connsiteX1967" fmla="*/ 2562 w 10354"/>
                <a:gd name="connsiteY1967" fmla="*/ 3829 h 10000"/>
                <a:gd name="connsiteX1968" fmla="*/ 2535 w 10354"/>
                <a:gd name="connsiteY1968" fmla="*/ 3778 h 10000"/>
                <a:gd name="connsiteX1969" fmla="*/ 2502 w 10354"/>
                <a:gd name="connsiteY1969" fmla="*/ 3761 h 10000"/>
                <a:gd name="connsiteX1970" fmla="*/ 2502 w 10354"/>
                <a:gd name="connsiteY1970" fmla="*/ 3735 h 10000"/>
                <a:gd name="connsiteX1971" fmla="*/ 2516 w 10354"/>
                <a:gd name="connsiteY1971" fmla="*/ 3735 h 10000"/>
                <a:gd name="connsiteX1972" fmla="*/ 2507 w 10354"/>
                <a:gd name="connsiteY1972" fmla="*/ 3726 h 10000"/>
                <a:gd name="connsiteX1973" fmla="*/ 2488 w 10354"/>
                <a:gd name="connsiteY1973" fmla="*/ 3726 h 10000"/>
                <a:gd name="connsiteX1974" fmla="*/ 2461 w 10354"/>
                <a:gd name="connsiteY1974" fmla="*/ 3692 h 10000"/>
                <a:gd name="connsiteX1975" fmla="*/ 2442 w 10354"/>
                <a:gd name="connsiteY1975" fmla="*/ 3675 h 10000"/>
                <a:gd name="connsiteX1976" fmla="*/ 2406 w 10354"/>
                <a:gd name="connsiteY1976" fmla="*/ 3598 h 10000"/>
                <a:gd name="connsiteX1977" fmla="*/ 2346 w 10354"/>
                <a:gd name="connsiteY1977" fmla="*/ 3564 h 10000"/>
                <a:gd name="connsiteX1978" fmla="*/ 2341 w 10354"/>
                <a:gd name="connsiteY1978" fmla="*/ 3564 h 10000"/>
                <a:gd name="connsiteX1979" fmla="*/ 2313 w 10354"/>
                <a:gd name="connsiteY1979" fmla="*/ 3530 h 10000"/>
                <a:gd name="connsiteX1980" fmla="*/ 2235 w 10354"/>
                <a:gd name="connsiteY1980" fmla="*/ 3530 h 10000"/>
                <a:gd name="connsiteX1981" fmla="*/ 2226 w 10354"/>
                <a:gd name="connsiteY1981" fmla="*/ 3513 h 10000"/>
                <a:gd name="connsiteX1982" fmla="*/ 2207 w 10354"/>
                <a:gd name="connsiteY1982" fmla="*/ 3504 h 10000"/>
                <a:gd name="connsiteX1983" fmla="*/ 2194 w 10354"/>
                <a:gd name="connsiteY1983" fmla="*/ 3504 h 10000"/>
                <a:gd name="connsiteX1984" fmla="*/ 2189 w 10354"/>
                <a:gd name="connsiteY1984" fmla="*/ 3504 h 10000"/>
                <a:gd name="connsiteX1985" fmla="*/ 2189 w 10354"/>
                <a:gd name="connsiteY1985" fmla="*/ 3530 h 10000"/>
                <a:gd name="connsiteX1986" fmla="*/ 2180 w 10354"/>
                <a:gd name="connsiteY1986" fmla="*/ 3538 h 10000"/>
                <a:gd name="connsiteX1987" fmla="*/ 2152 w 10354"/>
                <a:gd name="connsiteY1987" fmla="*/ 3581 h 10000"/>
                <a:gd name="connsiteX1988" fmla="*/ 2161 w 10354"/>
                <a:gd name="connsiteY1988" fmla="*/ 3598 h 10000"/>
                <a:gd name="connsiteX1989" fmla="*/ 2194 w 10354"/>
                <a:gd name="connsiteY1989" fmla="*/ 3752 h 10000"/>
                <a:gd name="connsiteX1990" fmla="*/ 2194 w 10354"/>
                <a:gd name="connsiteY1990" fmla="*/ 3735 h 10000"/>
                <a:gd name="connsiteX1991" fmla="*/ 2198 w 10354"/>
                <a:gd name="connsiteY1991" fmla="*/ 3735 h 10000"/>
                <a:gd name="connsiteX1992" fmla="*/ 2189 w 10354"/>
                <a:gd name="connsiteY1992" fmla="*/ 3838 h 10000"/>
                <a:gd name="connsiteX1993" fmla="*/ 2166 w 10354"/>
                <a:gd name="connsiteY1993" fmla="*/ 3889 h 10000"/>
                <a:gd name="connsiteX1994" fmla="*/ 2124 w 10354"/>
                <a:gd name="connsiteY1994" fmla="*/ 3889 h 10000"/>
                <a:gd name="connsiteX1995" fmla="*/ 2124 w 10354"/>
                <a:gd name="connsiteY1995" fmla="*/ 3923 h 10000"/>
                <a:gd name="connsiteX1996" fmla="*/ 2134 w 10354"/>
                <a:gd name="connsiteY1996" fmla="*/ 3940 h 10000"/>
                <a:gd name="connsiteX1997" fmla="*/ 2134 w 10354"/>
                <a:gd name="connsiteY1997" fmla="*/ 3966 h 10000"/>
                <a:gd name="connsiteX1998" fmla="*/ 2120 w 10354"/>
                <a:gd name="connsiteY1998" fmla="*/ 4000 h 10000"/>
                <a:gd name="connsiteX1999" fmla="*/ 2106 w 10354"/>
                <a:gd name="connsiteY1999" fmla="*/ 4009 h 10000"/>
                <a:gd name="connsiteX2000" fmla="*/ 2088 w 10354"/>
                <a:gd name="connsiteY2000" fmla="*/ 4000 h 10000"/>
                <a:gd name="connsiteX2001" fmla="*/ 2074 w 10354"/>
                <a:gd name="connsiteY2001" fmla="*/ 3974 h 10000"/>
                <a:gd name="connsiteX2002" fmla="*/ 2074 w 10354"/>
                <a:gd name="connsiteY2002" fmla="*/ 3940 h 10000"/>
                <a:gd name="connsiteX2003" fmla="*/ 2078 w 10354"/>
                <a:gd name="connsiteY2003" fmla="*/ 3915 h 10000"/>
                <a:gd name="connsiteX2004" fmla="*/ 2088 w 10354"/>
                <a:gd name="connsiteY2004" fmla="*/ 3889 h 10000"/>
                <a:gd name="connsiteX2005" fmla="*/ 2101 w 10354"/>
                <a:gd name="connsiteY2005" fmla="*/ 3872 h 10000"/>
                <a:gd name="connsiteX2006" fmla="*/ 2074 w 10354"/>
                <a:gd name="connsiteY2006" fmla="*/ 3812 h 10000"/>
                <a:gd name="connsiteX2007" fmla="*/ 2074 w 10354"/>
                <a:gd name="connsiteY2007" fmla="*/ 3786 h 10000"/>
                <a:gd name="connsiteX2008" fmla="*/ 2060 w 10354"/>
                <a:gd name="connsiteY2008" fmla="*/ 3786 h 10000"/>
                <a:gd name="connsiteX2009" fmla="*/ 2014 w 10354"/>
                <a:gd name="connsiteY2009" fmla="*/ 3829 h 10000"/>
                <a:gd name="connsiteX2010" fmla="*/ 2000 w 10354"/>
                <a:gd name="connsiteY2010" fmla="*/ 3863 h 10000"/>
                <a:gd name="connsiteX2011" fmla="*/ 1986 w 10354"/>
                <a:gd name="connsiteY2011" fmla="*/ 3872 h 10000"/>
                <a:gd name="connsiteX2012" fmla="*/ 1959 w 10354"/>
                <a:gd name="connsiteY2012" fmla="*/ 3940 h 10000"/>
                <a:gd name="connsiteX2013" fmla="*/ 1945 w 10354"/>
                <a:gd name="connsiteY2013" fmla="*/ 3949 h 10000"/>
                <a:gd name="connsiteX2014" fmla="*/ 1940 w 10354"/>
                <a:gd name="connsiteY2014" fmla="*/ 3923 h 10000"/>
                <a:gd name="connsiteX2015" fmla="*/ 1917 w 10354"/>
                <a:gd name="connsiteY2015" fmla="*/ 3915 h 10000"/>
                <a:gd name="connsiteX2016" fmla="*/ 1899 w 10354"/>
                <a:gd name="connsiteY2016" fmla="*/ 3923 h 10000"/>
                <a:gd name="connsiteX2017" fmla="*/ 1880 w 10354"/>
                <a:gd name="connsiteY2017" fmla="*/ 3915 h 10000"/>
                <a:gd name="connsiteX2018" fmla="*/ 1853 w 10354"/>
                <a:gd name="connsiteY2018" fmla="*/ 3940 h 10000"/>
                <a:gd name="connsiteX2019" fmla="*/ 1839 w 10354"/>
                <a:gd name="connsiteY2019" fmla="*/ 3940 h 10000"/>
                <a:gd name="connsiteX2020" fmla="*/ 1806 w 10354"/>
                <a:gd name="connsiteY2020" fmla="*/ 3983 h 10000"/>
                <a:gd name="connsiteX2021" fmla="*/ 1806 w 10354"/>
                <a:gd name="connsiteY2021" fmla="*/ 4000 h 10000"/>
                <a:gd name="connsiteX2022" fmla="*/ 1797 w 10354"/>
                <a:gd name="connsiteY2022" fmla="*/ 4077 h 10000"/>
                <a:gd name="connsiteX2023" fmla="*/ 1783 w 10354"/>
                <a:gd name="connsiteY2023" fmla="*/ 4077 h 10000"/>
                <a:gd name="connsiteX2024" fmla="*/ 1779 w 10354"/>
                <a:gd name="connsiteY2024" fmla="*/ 4051 h 10000"/>
                <a:gd name="connsiteX2025" fmla="*/ 1765 w 10354"/>
                <a:gd name="connsiteY2025" fmla="*/ 4026 h 10000"/>
                <a:gd name="connsiteX2026" fmla="*/ 1751 w 10354"/>
                <a:gd name="connsiteY2026" fmla="*/ 4051 h 10000"/>
                <a:gd name="connsiteX2027" fmla="*/ 1737 w 10354"/>
                <a:gd name="connsiteY2027" fmla="*/ 4009 h 10000"/>
                <a:gd name="connsiteX2028" fmla="*/ 1737 w 10354"/>
                <a:gd name="connsiteY2028" fmla="*/ 3966 h 10000"/>
                <a:gd name="connsiteX2029" fmla="*/ 1733 w 10354"/>
                <a:gd name="connsiteY2029" fmla="*/ 3940 h 10000"/>
                <a:gd name="connsiteX2030" fmla="*/ 1733 w 10354"/>
                <a:gd name="connsiteY2030" fmla="*/ 3923 h 10000"/>
                <a:gd name="connsiteX2031" fmla="*/ 1747 w 10354"/>
                <a:gd name="connsiteY2031" fmla="*/ 3889 h 10000"/>
                <a:gd name="connsiteX2032" fmla="*/ 1747 w 10354"/>
                <a:gd name="connsiteY2032" fmla="*/ 3863 h 10000"/>
                <a:gd name="connsiteX2033" fmla="*/ 1737 w 10354"/>
                <a:gd name="connsiteY2033" fmla="*/ 3838 h 10000"/>
                <a:gd name="connsiteX2034" fmla="*/ 1733 w 10354"/>
                <a:gd name="connsiteY2034" fmla="*/ 3829 h 10000"/>
                <a:gd name="connsiteX2035" fmla="*/ 1733 w 10354"/>
                <a:gd name="connsiteY2035" fmla="*/ 3846 h 10000"/>
                <a:gd name="connsiteX2036" fmla="*/ 1724 w 10354"/>
                <a:gd name="connsiteY2036" fmla="*/ 3846 h 10000"/>
                <a:gd name="connsiteX2037" fmla="*/ 1724 w 10354"/>
                <a:gd name="connsiteY2037" fmla="*/ 3829 h 10000"/>
                <a:gd name="connsiteX2038" fmla="*/ 1737 w 10354"/>
                <a:gd name="connsiteY2038" fmla="*/ 3812 h 10000"/>
                <a:gd name="connsiteX2039" fmla="*/ 1765 w 10354"/>
                <a:gd name="connsiteY2039" fmla="*/ 3812 h 10000"/>
                <a:gd name="connsiteX2040" fmla="*/ 1779 w 10354"/>
                <a:gd name="connsiteY2040" fmla="*/ 3786 h 10000"/>
                <a:gd name="connsiteX2041" fmla="*/ 1779 w 10354"/>
                <a:gd name="connsiteY2041" fmla="*/ 3786 h 10000"/>
                <a:gd name="connsiteX2042" fmla="*/ 1751 w 10354"/>
                <a:gd name="connsiteY2042" fmla="*/ 3803 h 10000"/>
                <a:gd name="connsiteX2043" fmla="*/ 1747 w 10354"/>
                <a:gd name="connsiteY2043" fmla="*/ 3803 h 10000"/>
                <a:gd name="connsiteX2044" fmla="*/ 1724 w 10354"/>
                <a:gd name="connsiteY2044" fmla="*/ 3803 h 10000"/>
                <a:gd name="connsiteX2045" fmla="*/ 1700 w 10354"/>
                <a:gd name="connsiteY2045" fmla="*/ 3829 h 10000"/>
                <a:gd name="connsiteX2046" fmla="*/ 1705 w 10354"/>
                <a:gd name="connsiteY2046" fmla="*/ 3846 h 10000"/>
                <a:gd name="connsiteX2047" fmla="*/ 1691 w 10354"/>
                <a:gd name="connsiteY2047" fmla="*/ 3846 h 10000"/>
                <a:gd name="connsiteX2048" fmla="*/ 1691 w 10354"/>
                <a:gd name="connsiteY2048" fmla="*/ 3863 h 10000"/>
                <a:gd name="connsiteX2049" fmla="*/ 1691 w 10354"/>
                <a:gd name="connsiteY2049" fmla="*/ 3915 h 10000"/>
                <a:gd name="connsiteX2050" fmla="*/ 1677 w 10354"/>
                <a:gd name="connsiteY2050" fmla="*/ 3923 h 10000"/>
                <a:gd name="connsiteX2051" fmla="*/ 1673 w 10354"/>
                <a:gd name="connsiteY2051" fmla="*/ 3915 h 10000"/>
                <a:gd name="connsiteX2052" fmla="*/ 1664 w 10354"/>
                <a:gd name="connsiteY2052" fmla="*/ 3889 h 10000"/>
                <a:gd name="connsiteX2053" fmla="*/ 1673 w 10354"/>
                <a:gd name="connsiteY2053" fmla="*/ 3872 h 10000"/>
                <a:gd name="connsiteX2054" fmla="*/ 1664 w 10354"/>
                <a:gd name="connsiteY2054" fmla="*/ 3872 h 10000"/>
                <a:gd name="connsiteX2055" fmla="*/ 1636 w 10354"/>
                <a:gd name="connsiteY2055" fmla="*/ 3923 h 10000"/>
                <a:gd name="connsiteX2056" fmla="*/ 1645 w 10354"/>
                <a:gd name="connsiteY2056" fmla="*/ 3923 h 10000"/>
                <a:gd name="connsiteX2057" fmla="*/ 1650 w 10354"/>
                <a:gd name="connsiteY2057" fmla="*/ 3949 h 10000"/>
                <a:gd name="connsiteX2058" fmla="*/ 1650 w 10354"/>
                <a:gd name="connsiteY2058" fmla="*/ 3983 h 10000"/>
                <a:gd name="connsiteX2059" fmla="*/ 1636 w 10354"/>
                <a:gd name="connsiteY2059" fmla="*/ 4000 h 10000"/>
                <a:gd name="connsiteX2060" fmla="*/ 1631 w 10354"/>
                <a:gd name="connsiteY2060" fmla="*/ 4009 h 10000"/>
                <a:gd name="connsiteX2061" fmla="*/ 1618 w 10354"/>
                <a:gd name="connsiteY2061" fmla="*/ 3949 h 10000"/>
                <a:gd name="connsiteX2062" fmla="*/ 1585 w 10354"/>
                <a:gd name="connsiteY2062" fmla="*/ 3966 h 10000"/>
                <a:gd name="connsiteX2063" fmla="*/ 1590 w 10354"/>
                <a:gd name="connsiteY2063" fmla="*/ 3974 h 10000"/>
                <a:gd name="connsiteX2064" fmla="*/ 1544 w 10354"/>
                <a:gd name="connsiteY2064" fmla="*/ 4009 h 10000"/>
                <a:gd name="connsiteX2065" fmla="*/ 1539 w 10354"/>
                <a:gd name="connsiteY2065" fmla="*/ 4009 h 10000"/>
                <a:gd name="connsiteX2066" fmla="*/ 1410 w 10354"/>
                <a:gd name="connsiteY2066" fmla="*/ 4188 h 10000"/>
                <a:gd name="connsiteX2067" fmla="*/ 1406 w 10354"/>
                <a:gd name="connsiteY2067" fmla="*/ 4171 h 10000"/>
                <a:gd name="connsiteX2068" fmla="*/ 1396 w 10354"/>
                <a:gd name="connsiteY2068" fmla="*/ 4214 h 10000"/>
                <a:gd name="connsiteX2069" fmla="*/ 1406 w 10354"/>
                <a:gd name="connsiteY2069" fmla="*/ 4222 h 10000"/>
                <a:gd name="connsiteX2070" fmla="*/ 1392 w 10354"/>
                <a:gd name="connsiteY2070" fmla="*/ 4239 h 10000"/>
                <a:gd name="connsiteX2071" fmla="*/ 1369 w 10354"/>
                <a:gd name="connsiteY2071" fmla="*/ 4248 h 10000"/>
                <a:gd name="connsiteX2072" fmla="*/ 1355 w 10354"/>
                <a:gd name="connsiteY2072" fmla="*/ 4256 h 10000"/>
                <a:gd name="connsiteX2073" fmla="*/ 1350 w 10354"/>
                <a:gd name="connsiteY2073" fmla="*/ 4248 h 10000"/>
                <a:gd name="connsiteX2074" fmla="*/ 1332 w 10354"/>
                <a:gd name="connsiteY2074" fmla="*/ 4376 h 10000"/>
                <a:gd name="connsiteX2075" fmla="*/ 1332 w 10354"/>
                <a:gd name="connsiteY2075" fmla="*/ 4436 h 10000"/>
                <a:gd name="connsiteX2076" fmla="*/ 1323 w 10354"/>
                <a:gd name="connsiteY2076" fmla="*/ 4462 h 10000"/>
                <a:gd name="connsiteX2077" fmla="*/ 1304 w 10354"/>
                <a:gd name="connsiteY2077" fmla="*/ 4487 h 10000"/>
                <a:gd name="connsiteX2078" fmla="*/ 1290 w 10354"/>
                <a:gd name="connsiteY2078" fmla="*/ 4470 h 10000"/>
                <a:gd name="connsiteX2079" fmla="*/ 1263 w 10354"/>
                <a:gd name="connsiteY2079" fmla="*/ 4496 h 10000"/>
                <a:gd name="connsiteX2080" fmla="*/ 1258 w 10354"/>
                <a:gd name="connsiteY2080" fmla="*/ 4547 h 10000"/>
                <a:gd name="connsiteX2081" fmla="*/ 1249 w 10354"/>
                <a:gd name="connsiteY2081" fmla="*/ 4487 h 10000"/>
                <a:gd name="connsiteX2082" fmla="*/ 1235 w 10354"/>
                <a:gd name="connsiteY2082" fmla="*/ 4496 h 10000"/>
                <a:gd name="connsiteX2083" fmla="*/ 1221 w 10354"/>
                <a:gd name="connsiteY2083" fmla="*/ 4496 h 10000"/>
                <a:gd name="connsiteX2084" fmla="*/ 1217 w 10354"/>
                <a:gd name="connsiteY2084" fmla="*/ 4487 h 10000"/>
                <a:gd name="connsiteX2085" fmla="*/ 1198 w 10354"/>
                <a:gd name="connsiteY2085" fmla="*/ 4410 h 10000"/>
                <a:gd name="connsiteX2086" fmla="*/ 1157 w 10354"/>
                <a:gd name="connsiteY2086" fmla="*/ 4333 h 10000"/>
                <a:gd name="connsiteX2087" fmla="*/ 1147 w 10354"/>
                <a:gd name="connsiteY2087" fmla="*/ 4299 h 10000"/>
                <a:gd name="connsiteX2088" fmla="*/ 1147 w 10354"/>
                <a:gd name="connsiteY2088" fmla="*/ 4274 h 10000"/>
                <a:gd name="connsiteX2089" fmla="*/ 1161 w 10354"/>
                <a:gd name="connsiteY2089" fmla="*/ 4256 h 10000"/>
                <a:gd name="connsiteX2090" fmla="*/ 1171 w 10354"/>
                <a:gd name="connsiteY2090" fmla="*/ 4248 h 10000"/>
                <a:gd name="connsiteX2091" fmla="*/ 1175 w 10354"/>
                <a:gd name="connsiteY2091" fmla="*/ 4214 h 10000"/>
                <a:gd name="connsiteX2092" fmla="*/ 1263 w 10354"/>
                <a:gd name="connsiteY2092" fmla="*/ 4171 h 10000"/>
                <a:gd name="connsiteX2093" fmla="*/ 1249 w 10354"/>
                <a:gd name="connsiteY2093" fmla="*/ 4137 h 10000"/>
                <a:gd name="connsiteX2094" fmla="*/ 1244 w 10354"/>
                <a:gd name="connsiteY2094" fmla="*/ 4060 h 10000"/>
                <a:gd name="connsiteX2095" fmla="*/ 1230 w 10354"/>
                <a:gd name="connsiteY2095" fmla="*/ 4077 h 10000"/>
                <a:gd name="connsiteX2096" fmla="*/ 1221 w 10354"/>
                <a:gd name="connsiteY2096" fmla="*/ 4026 h 10000"/>
                <a:gd name="connsiteX2097" fmla="*/ 1217 w 10354"/>
                <a:gd name="connsiteY2097" fmla="*/ 4026 h 10000"/>
                <a:gd name="connsiteX2098" fmla="*/ 1212 w 10354"/>
                <a:gd name="connsiteY2098" fmla="*/ 3983 h 10000"/>
                <a:gd name="connsiteX2099" fmla="*/ 1203 w 10354"/>
                <a:gd name="connsiteY2099" fmla="*/ 3966 h 10000"/>
                <a:gd name="connsiteX2100" fmla="*/ 1171 w 10354"/>
                <a:gd name="connsiteY2100" fmla="*/ 3949 h 10000"/>
                <a:gd name="connsiteX2101" fmla="*/ 1111 w 10354"/>
                <a:gd name="connsiteY2101" fmla="*/ 3940 h 10000"/>
                <a:gd name="connsiteX2102" fmla="*/ 1097 w 10354"/>
                <a:gd name="connsiteY2102" fmla="*/ 3949 h 10000"/>
                <a:gd name="connsiteX2103" fmla="*/ 1037 w 10354"/>
                <a:gd name="connsiteY2103" fmla="*/ 3897 h 10000"/>
                <a:gd name="connsiteX2104" fmla="*/ 1041 w 10354"/>
                <a:gd name="connsiteY2104" fmla="*/ 3923 h 10000"/>
                <a:gd name="connsiteX2105" fmla="*/ 1097 w 10354"/>
                <a:gd name="connsiteY2105" fmla="*/ 4009 h 10000"/>
                <a:gd name="connsiteX2106" fmla="*/ 1097 w 10354"/>
                <a:gd name="connsiteY2106" fmla="*/ 4120 h 10000"/>
                <a:gd name="connsiteX2107" fmla="*/ 1097 w 10354"/>
                <a:gd name="connsiteY2107" fmla="*/ 4162 h 10000"/>
                <a:gd name="connsiteX2108" fmla="*/ 1097 w 10354"/>
                <a:gd name="connsiteY2108" fmla="*/ 4197 h 10000"/>
                <a:gd name="connsiteX2109" fmla="*/ 1074 w 10354"/>
                <a:gd name="connsiteY2109" fmla="*/ 4333 h 10000"/>
                <a:gd name="connsiteX2110" fmla="*/ 1074 w 10354"/>
                <a:gd name="connsiteY2110" fmla="*/ 4376 h 10000"/>
                <a:gd name="connsiteX2111" fmla="*/ 1083 w 10354"/>
                <a:gd name="connsiteY2111" fmla="*/ 4385 h 10000"/>
                <a:gd name="connsiteX2112" fmla="*/ 1097 w 10354"/>
                <a:gd name="connsiteY2112" fmla="*/ 4385 h 10000"/>
                <a:gd name="connsiteX2113" fmla="*/ 1111 w 10354"/>
                <a:gd name="connsiteY2113" fmla="*/ 4410 h 10000"/>
                <a:gd name="connsiteX2114" fmla="*/ 1124 w 10354"/>
                <a:gd name="connsiteY2114" fmla="*/ 4444 h 10000"/>
                <a:gd name="connsiteX2115" fmla="*/ 1124 w 10354"/>
                <a:gd name="connsiteY2115" fmla="*/ 4470 h 10000"/>
                <a:gd name="connsiteX2116" fmla="*/ 1115 w 10354"/>
                <a:gd name="connsiteY2116" fmla="*/ 4513 h 10000"/>
                <a:gd name="connsiteX2117" fmla="*/ 1115 w 10354"/>
                <a:gd name="connsiteY2117" fmla="*/ 4530 h 10000"/>
                <a:gd name="connsiteX2118" fmla="*/ 1115 w 10354"/>
                <a:gd name="connsiteY2118" fmla="*/ 4573 h 10000"/>
                <a:gd name="connsiteX2119" fmla="*/ 1101 w 10354"/>
                <a:gd name="connsiteY2119" fmla="*/ 4607 h 10000"/>
                <a:gd name="connsiteX2120" fmla="*/ 1097 w 10354"/>
                <a:gd name="connsiteY2120" fmla="*/ 4658 h 10000"/>
                <a:gd name="connsiteX2121" fmla="*/ 1101 w 10354"/>
                <a:gd name="connsiteY2121" fmla="*/ 4692 h 10000"/>
                <a:gd name="connsiteX2122" fmla="*/ 1097 w 10354"/>
                <a:gd name="connsiteY2122" fmla="*/ 4778 h 10000"/>
                <a:gd name="connsiteX2123" fmla="*/ 1083 w 10354"/>
                <a:gd name="connsiteY2123" fmla="*/ 4744 h 10000"/>
                <a:gd name="connsiteX2124" fmla="*/ 1083 w 10354"/>
                <a:gd name="connsiteY2124" fmla="*/ 4718 h 10000"/>
                <a:gd name="connsiteX2125" fmla="*/ 1074 w 10354"/>
                <a:gd name="connsiteY2125" fmla="*/ 4692 h 10000"/>
                <a:gd name="connsiteX2126" fmla="*/ 1065 w 10354"/>
                <a:gd name="connsiteY2126" fmla="*/ 4692 h 10000"/>
                <a:gd name="connsiteX2127" fmla="*/ 1051 w 10354"/>
                <a:gd name="connsiteY2127" fmla="*/ 4718 h 10000"/>
                <a:gd name="connsiteX2128" fmla="*/ 1055 w 10354"/>
                <a:gd name="connsiteY2128" fmla="*/ 4692 h 10000"/>
                <a:gd name="connsiteX2129" fmla="*/ 1055 w 10354"/>
                <a:gd name="connsiteY2129" fmla="*/ 4667 h 10000"/>
                <a:gd name="connsiteX2130" fmla="*/ 1028 w 10354"/>
                <a:gd name="connsiteY2130" fmla="*/ 4624 h 10000"/>
                <a:gd name="connsiteX2131" fmla="*/ 1005 w 10354"/>
                <a:gd name="connsiteY2131" fmla="*/ 4624 h 10000"/>
                <a:gd name="connsiteX2132" fmla="*/ 977 w 10354"/>
                <a:gd name="connsiteY2132" fmla="*/ 4581 h 10000"/>
                <a:gd name="connsiteX2133" fmla="*/ 963 w 10354"/>
                <a:gd name="connsiteY2133" fmla="*/ 4607 h 10000"/>
                <a:gd name="connsiteX2134" fmla="*/ 963 w 10354"/>
                <a:gd name="connsiteY2134" fmla="*/ 4632 h 10000"/>
                <a:gd name="connsiteX2135" fmla="*/ 917 w 10354"/>
                <a:gd name="connsiteY2135" fmla="*/ 4718 h 10000"/>
                <a:gd name="connsiteX2136" fmla="*/ 889 w 10354"/>
                <a:gd name="connsiteY2136" fmla="*/ 4744 h 10000"/>
                <a:gd name="connsiteX2137" fmla="*/ 880 w 10354"/>
                <a:gd name="connsiteY2137" fmla="*/ 4744 h 10000"/>
                <a:gd name="connsiteX2138" fmla="*/ 862 w 10354"/>
                <a:gd name="connsiteY2138" fmla="*/ 4769 h 10000"/>
                <a:gd name="connsiteX2139" fmla="*/ 857 w 10354"/>
                <a:gd name="connsiteY2139" fmla="*/ 4795 h 10000"/>
                <a:gd name="connsiteX2140" fmla="*/ 829 w 10354"/>
                <a:gd name="connsiteY2140" fmla="*/ 4846 h 10000"/>
                <a:gd name="connsiteX2141" fmla="*/ 816 w 10354"/>
                <a:gd name="connsiteY2141" fmla="*/ 4855 h 10000"/>
                <a:gd name="connsiteX2142" fmla="*/ 816 w 10354"/>
                <a:gd name="connsiteY2142" fmla="*/ 4940 h 10000"/>
                <a:gd name="connsiteX2143" fmla="*/ 880 w 10354"/>
                <a:gd name="connsiteY2143" fmla="*/ 5179 h 10000"/>
                <a:gd name="connsiteX2144" fmla="*/ 880 w 10354"/>
                <a:gd name="connsiteY2144" fmla="*/ 5188 h 10000"/>
                <a:gd name="connsiteX2145" fmla="*/ 862 w 10354"/>
                <a:gd name="connsiteY2145" fmla="*/ 5171 h 10000"/>
                <a:gd name="connsiteX2146" fmla="*/ 857 w 10354"/>
                <a:gd name="connsiteY2146" fmla="*/ 5171 h 10000"/>
                <a:gd name="connsiteX2147" fmla="*/ 820 w 10354"/>
                <a:gd name="connsiteY2147" fmla="*/ 5145 h 10000"/>
                <a:gd name="connsiteX2148" fmla="*/ 820 w 10354"/>
                <a:gd name="connsiteY2148" fmla="*/ 5154 h 10000"/>
                <a:gd name="connsiteX2149" fmla="*/ 816 w 10354"/>
                <a:gd name="connsiteY2149" fmla="*/ 5171 h 10000"/>
                <a:gd name="connsiteX2150" fmla="*/ 783 w 10354"/>
                <a:gd name="connsiteY2150" fmla="*/ 5145 h 10000"/>
                <a:gd name="connsiteX2151" fmla="*/ 756 w 10354"/>
                <a:gd name="connsiteY2151" fmla="*/ 5103 h 10000"/>
                <a:gd name="connsiteX2152" fmla="*/ 742 w 10354"/>
                <a:gd name="connsiteY2152" fmla="*/ 5103 h 10000"/>
                <a:gd name="connsiteX2153" fmla="*/ 728 w 10354"/>
                <a:gd name="connsiteY2153" fmla="*/ 5094 h 10000"/>
                <a:gd name="connsiteX2154" fmla="*/ 710 w 10354"/>
                <a:gd name="connsiteY2154" fmla="*/ 5120 h 10000"/>
                <a:gd name="connsiteX2155" fmla="*/ 700 w 10354"/>
                <a:gd name="connsiteY2155" fmla="*/ 5145 h 10000"/>
                <a:gd name="connsiteX2156" fmla="*/ 696 w 10354"/>
                <a:gd name="connsiteY2156" fmla="*/ 5103 h 10000"/>
                <a:gd name="connsiteX2157" fmla="*/ 714 w 10354"/>
                <a:gd name="connsiteY2157" fmla="*/ 5077 h 10000"/>
                <a:gd name="connsiteX2158" fmla="*/ 682 w 10354"/>
                <a:gd name="connsiteY2158" fmla="*/ 5068 h 10000"/>
                <a:gd name="connsiteX2159" fmla="*/ 673 w 10354"/>
                <a:gd name="connsiteY2159" fmla="*/ 5034 h 10000"/>
                <a:gd name="connsiteX2160" fmla="*/ 636 w 10354"/>
                <a:gd name="connsiteY2160" fmla="*/ 4991 h 10000"/>
                <a:gd name="connsiteX2161" fmla="*/ 622 w 10354"/>
                <a:gd name="connsiteY2161" fmla="*/ 4983 h 10000"/>
                <a:gd name="connsiteX2162" fmla="*/ 622 w 10354"/>
                <a:gd name="connsiteY2162" fmla="*/ 5034 h 10000"/>
                <a:gd name="connsiteX2163" fmla="*/ 608 w 10354"/>
                <a:gd name="connsiteY2163" fmla="*/ 5051 h 10000"/>
                <a:gd name="connsiteX2164" fmla="*/ 594 w 10354"/>
                <a:gd name="connsiteY2164" fmla="*/ 5068 h 10000"/>
                <a:gd name="connsiteX2165" fmla="*/ 608 w 10354"/>
                <a:gd name="connsiteY2165" fmla="*/ 5120 h 10000"/>
                <a:gd name="connsiteX2166" fmla="*/ 613 w 10354"/>
                <a:gd name="connsiteY2166" fmla="*/ 5128 h 10000"/>
                <a:gd name="connsiteX2167" fmla="*/ 627 w 10354"/>
                <a:gd name="connsiteY2167" fmla="*/ 5179 h 10000"/>
                <a:gd name="connsiteX2168" fmla="*/ 650 w 10354"/>
                <a:gd name="connsiteY2168" fmla="*/ 5214 h 10000"/>
                <a:gd name="connsiteX2169" fmla="*/ 687 w 10354"/>
                <a:gd name="connsiteY2169" fmla="*/ 5188 h 10000"/>
                <a:gd name="connsiteX2170" fmla="*/ 700 w 10354"/>
                <a:gd name="connsiteY2170" fmla="*/ 5325 h 10000"/>
                <a:gd name="connsiteX2171" fmla="*/ 710 w 10354"/>
                <a:gd name="connsiteY2171" fmla="*/ 5350 h 10000"/>
                <a:gd name="connsiteX2172" fmla="*/ 687 w 10354"/>
                <a:gd name="connsiteY2172" fmla="*/ 5325 h 10000"/>
                <a:gd name="connsiteX2173" fmla="*/ 668 w 10354"/>
                <a:gd name="connsiteY2173" fmla="*/ 5350 h 10000"/>
                <a:gd name="connsiteX2174" fmla="*/ 668 w 10354"/>
                <a:gd name="connsiteY2174" fmla="*/ 5368 h 10000"/>
                <a:gd name="connsiteX2175" fmla="*/ 668 w 10354"/>
                <a:gd name="connsiteY2175" fmla="*/ 5376 h 10000"/>
                <a:gd name="connsiteX2176" fmla="*/ 581 w 10354"/>
                <a:gd name="connsiteY2176" fmla="*/ 5316 h 10000"/>
                <a:gd name="connsiteX2177" fmla="*/ 567 w 10354"/>
                <a:gd name="connsiteY2177" fmla="*/ 5265 h 10000"/>
                <a:gd name="connsiteX2178" fmla="*/ 562 w 10354"/>
                <a:gd name="connsiteY2178" fmla="*/ 5256 h 10000"/>
                <a:gd name="connsiteX2179" fmla="*/ 548 w 10354"/>
                <a:gd name="connsiteY2179" fmla="*/ 5231 h 10000"/>
                <a:gd name="connsiteX2180" fmla="*/ 535 w 10354"/>
                <a:gd name="connsiteY2180" fmla="*/ 5214 h 10000"/>
                <a:gd name="connsiteX2181" fmla="*/ 525 w 10354"/>
                <a:gd name="connsiteY2181" fmla="*/ 5231 h 10000"/>
                <a:gd name="connsiteX2182" fmla="*/ 521 w 10354"/>
                <a:gd name="connsiteY2182" fmla="*/ 5231 h 10000"/>
                <a:gd name="connsiteX2183" fmla="*/ 493 w 10354"/>
                <a:gd name="connsiteY2183" fmla="*/ 5205 h 10000"/>
                <a:gd name="connsiteX2184" fmla="*/ 488 w 10354"/>
                <a:gd name="connsiteY2184" fmla="*/ 5179 h 10000"/>
                <a:gd name="connsiteX2185" fmla="*/ 475 w 10354"/>
                <a:gd name="connsiteY2185" fmla="*/ 5188 h 10000"/>
                <a:gd name="connsiteX2186" fmla="*/ 475 w 10354"/>
                <a:gd name="connsiteY2186" fmla="*/ 5171 h 10000"/>
                <a:gd name="connsiteX2187" fmla="*/ 488 w 10354"/>
                <a:gd name="connsiteY2187" fmla="*/ 5154 h 10000"/>
                <a:gd name="connsiteX2188" fmla="*/ 488 w 10354"/>
                <a:gd name="connsiteY2188" fmla="*/ 5068 h 10000"/>
                <a:gd name="connsiteX2189" fmla="*/ 475 w 10354"/>
                <a:gd name="connsiteY2189" fmla="*/ 5051 h 10000"/>
                <a:gd name="connsiteX2190" fmla="*/ 475 w 10354"/>
                <a:gd name="connsiteY2190" fmla="*/ 5017 h 10000"/>
                <a:gd name="connsiteX2191" fmla="*/ 452 w 10354"/>
                <a:gd name="connsiteY2191" fmla="*/ 4932 h 10000"/>
                <a:gd name="connsiteX2192" fmla="*/ 461 w 10354"/>
                <a:gd name="connsiteY2192" fmla="*/ 4915 h 10000"/>
                <a:gd name="connsiteX2193" fmla="*/ 475 w 10354"/>
                <a:gd name="connsiteY2193" fmla="*/ 4906 h 10000"/>
                <a:gd name="connsiteX2194" fmla="*/ 479 w 10354"/>
                <a:gd name="connsiteY2194" fmla="*/ 4803 h 10000"/>
                <a:gd name="connsiteX2195" fmla="*/ 479 w 10354"/>
                <a:gd name="connsiteY2195" fmla="*/ 4778 h 10000"/>
                <a:gd name="connsiteX2196" fmla="*/ 475 w 10354"/>
                <a:gd name="connsiteY2196" fmla="*/ 4761 h 10000"/>
                <a:gd name="connsiteX2197" fmla="*/ 465 w 10354"/>
                <a:gd name="connsiteY2197" fmla="*/ 4718 h 10000"/>
                <a:gd name="connsiteX2198" fmla="*/ 461 w 10354"/>
                <a:gd name="connsiteY2198" fmla="*/ 4709 h 10000"/>
                <a:gd name="connsiteX2199" fmla="*/ 442 w 10354"/>
                <a:gd name="connsiteY2199" fmla="*/ 4692 h 10000"/>
                <a:gd name="connsiteX2200" fmla="*/ 433 w 10354"/>
                <a:gd name="connsiteY2200" fmla="*/ 4667 h 10000"/>
                <a:gd name="connsiteX2201" fmla="*/ 419 w 10354"/>
                <a:gd name="connsiteY2201" fmla="*/ 4667 h 10000"/>
                <a:gd name="connsiteX2202" fmla="*/ 401 w 10354"/>
                <a:gd name="connsiteY2202" fmla="*/ 4658 h 10000"/>
                <a:gd name="connsiteX2203" fmla="*/ 401 w 10354"/>
                <a:gd name="connsiteY2203" fmla="*/ 4624 h 10000"/>
                <a:gd name="connsiteX2204" fmla="*/ 401 w 10354"/>
                <a:gd name="connsiteY2204" fmla="*/ 4607 h 10000"/>
                <a:gd name="connsiteX2205" fmla="*/ 378 w 10354"/>
                <a:gd name="connsiteY2205" fmla="*/ 4607 h 10000"/>
                <a:gd name="connsiteX2206" fmla="*/ 341 w 10354"/>
                <a:gd name="connsiteY2206" fmla="*/ 4530 h 10000"/>
                <a:gd name="connsiteX2207" fmla="*/ 346 w 10354"/>
                <a:gd name="connsiteY2207" fmla="*/ 4521 h 10000"/>
                <a:gd name="connsiteX2208" fmla="*/ 332 w 10354"/>
                <a:gd name="connsiteY2208" fmla="*/ 4487 h 10000"/>
                <a:gd name="connsiteX2209" fmla="*/ 327 w 10354"/>
                <a:gd name="connsiteY2209" fmla="*/ 4462 h 10000"/>
                <a:gd name="connsiteX2210" fmla="*/ 313 w 10354"/>
                <a:gd name="connsiteY2210" fmla="*/ 4436 h 10000"/>
                <a:gd name="connsiteX2211" fmla="*/ 300 w 10354"/>
                <a:gd name="connsiteY2211" fmla="*/ 4419 h 10000"/>
                <a:gd name="connsiteX2212" fmla="*/ 309 w 10354"/>
                <a:gd name="connsiteY2212" fmla="*/ 4393 h 10000"/>
                <a:gd name="connsiteX2213" fmla="*/ 332 w 10354"/>
                <a:gd name="connsiteY2213" fmla="*/ 4385 h 10000"/>
                <a:gd name="connsiteX2214" fmla="*/ 355 w 10354"/>
                <a:gd name="connsiteY2214" fmla="*/ 4419 h 10000"/>
                <a:gd name="connsiteX2215" fmla="*/ 355 w 10354"/>
                <a:gd name="connsiteY2215" fmla="*/ 4444 h 10000"/>
                <a:gd name="connsiteX2216" fmla="*/ 369 w 10354"/>
                <a:gd name="connsiteY2216" fmla="*/ 4470 h 10000"/>
                <a:gd name="connsiteX2217" fmla="*/ 401 w 10354"/>
                <a:gd name="connsiteY2217" fmla="*/ 4521 h 10000"/>
                <a:gd name="connsiteX2218" fmla="*/ 406 w 10354"/>
                <a:gd name="connsiteY2218" fmla="*/ 4513 h 10000"/>
                <a:gd name="connsiteX2219" fmla="*/ 406 w 10354"/>
                <a:gd name="connsiteY2219" fmla="*/ 4496 h 10000"/>
                <a:gd name="connsiteX2220" fmla="*/ 419 w 10354"/>
                <a:gd name="connsiteY2220" fmla="*/ 4521 h 10000"/>
                <a:gd name="connsiteX2221" fmla="*/ 429 w 10354"/>
                <a:gd name="connsiteY2221" fmla="*/ 4530 h 10000"/>
                <a:gd name="connsiteX2222" fmla="*/ 433 w 10354"/>
                <a:gd name="connsiteY2222" fmla="*/ 4521 h 10000"/>
                <a:gd name="connsiteX2223" fmla="*/ 442 w 10354"/>
                <a:gd name="connsiteY2223" fmla="*/ 4530 h 10000"/>
                <a:gd name="connsiteX2224" fmla="*/ 447 w 10354"/>
                <a:gd name="connsiteY2224" fmla="*/ 4521 h 10000"/>
                <a:gd name="connsiteX2225" fmla="*/ 452 w 10354"/>
                <a:gd name="connsiteY2225" fmla="*/ 4521 h 10000"/>
                <a:gd name="connsiteX2226" fmla="*/ 461 w 10354"/>
                <a:gd name="connsiteY2226" fmla="*/ 4573 h 10000"/>
                <a:gd name="connsiteX2227" fmla="*/ 479 w 10354"/>
                <a:gd name="connsiteY2227" fmla="*/ 4556 h 10000"/>
                <a:gd name="connsiteX2228" fmla="*/ 502 w 10354"/>
                <a:gd name="connsiteY2228" fmla="*/ 4573 h 10000"/>
                <a:gd name="connsiteX2229" fmla="*/ 507 w 10354"/>
                <a:gd name="connsiteY2229" fmla="*/ 4598 h 10000"/>
                <a:gd name="connsiteX2230" fmla="*/ 525 w 10354"/>
                <a:gd name="connsiteY2230" fmla="*/ 4598 h 10000"/>
                <a:gd name="connsiteX2231" fmla="*/ 535 w 10354"/>
                <a:gd name="connsiteY2231" fmla="*/ 4624 h 10000"/>
                <a:gd name="connsiteX2232" fmla="*/ 594 w 10354"/>
                <a:gd name="connsiteY2232" fmla="*/ 4658 h 10000"/>
                <a:gd name="connsiteX2233" fmla="*/ 627 w 10354"/>
                <a:gd name="connsiteY2233" fmla="*/ 4658 h 10000"/>
                <a:gd name="connsiteX2234" fmla="*/ 654 w 10354"/>
                <a:gd name="connsiteY2234" fmla="*/ 4684 h 10000"/>
                <a:gd name="connsiteX2235" fmla="*/ 668 w 10354"/>
                <a:gd name="connsiteY2235" fmla="*/ 4709 h 10000"/>
                <a:gd name="connsiteX2236" fmla="*/ 747 w 10354"/>
                <a:gd name="connsiteY2236" fmla="*/ 4718 h 10000"/>
                <a:gd name="connsiteX2237" fmla="*/ 760 w 10354"/>
                <a:gd name="connsiteY2237" fmla="*/ 4709 h 10000"/>
                <a:gd name="connsiteX2238" fmla="*/ 774 w 10354"/>
                <a:gd name="connsiteY2238" fmla="*/ 4692 h 10000"/>
                <a:gd name="connsiteX2239" fmla="*/ 829 w 10354"/>
                <a:gd name="connsiteY2239" fmla="*/ 4658 h 10000"/>
                <a:gd name="connsiteX2240" fmla="*/ 903 w 10354"/>
                <a:gd name="connsiteY2240" fmla="*/ 4496 h 10000"/>
                <a:gd name="connsiteX2241" fmla="*/ 917 w 10354"/>
                <a:gd name="connsiteY2241" fmla="*/ 4385 h 10000"/>
                <a:gd name="connsiteX2242" fmla="*/ 903 w 10354"/>
                <a:gd name="connsiteY2242" fmla="*/ 4376 h 10000"/>
                <a:gd name="connsiteX2243" fmla="*/ 903 w 10354"/>
                <a:gd name="connsiteY2243" fmla="*/ 4376 h 10000"/>
                <a:gd name="connsiteX2244" fmla="*/ 889 w 10354"/>
                <a:gd name="connsiteY2244" fmla="*/ 4239 h 10000"/>
                <a:gd name="connsiteX2245" fmla="*/ 880 w 10354"/>
                <a:gd name="connsiteY2245" fmla="*/ 4214 h 10000"/>
                <a:gd name="connsiteX2246" fmla="*/ 862 w 10354"/>
                <a:gd name="connsiteY2246" fmla="*/ 4188 h 10000"/>
                <a:gd name="connsiteX2247" fmla="*/ 857 w 10354"/>
                <a:gd name="connsiteY2247" fmla="*/ 4197 h 10000"/>
                <a:gd name="connsiteX2248" fmla="*/ 848 w 10354"/>
                <a:gd name="connsiteY2248" fmla="*/ 4188 h 10000"/>
                <a:gd name="connsiteX2249" fmla="*/ 848 w 10354"/>
                <a:gd name="connsiteY2249" fmla="*/ 4162 h 10000"/>
                <a:gd name="connsiteX2250" fmla="*/ 829 w 10354"/>
                <a:gd name="connsiteY2250" fmla="*/ 4120 h 10000"/>
                <a:gd name="connsiteX2251" fmla="*/ 820 w 10354"/>
                <a:gd name="connsiteY2251" fmla="*/ 4103 h 10000"/>
                <a:gd name="connsiteX2252" fmla="*/ 806 w 10354"/>
                <a:gd name="connsiteY2252" fmla="*/ 4077 h 10000"/>
                <a:gd name="connsiteX2253" fmla="*/ 816 w 10354"/>
                <a:gd name="connsiteY2253" fmla="*/ 4111 h 10000"/>
                <a:gd name="connsiteX2254" fmla="*/ 802 w 10354"/>
                <a:gd name="connsiteY2254" fmla="*/ 4111 h 10000"/>
                <a:gd name="connsiteX2255" fmla="*/ 770 w 10354"/>
                <a:gd name="connsiteY2255" fmla="*/ 4060 h 10000"/>
                <a:gd name="connsiteX2256" fmla="*/ 760 w 10354"/>
                <a:gd name="connsiteY2256" fmla="*/ 4077 h 10000"/>
                <a:gd name="connsiteX2257" fmla="*/ 760 w 10354"/>
                <a:gd name="connsiteY2257" fmla="*/ 4060 h 10000"/>
                <a:gd name="connsiteX2258" fmla="*/ 756 w 10354"/>
                <a:gd name="connsiteY2258" fmla="*/ 4034 h 10000"/>
                <a:gd name="connsiteX2259" fmla="*/ 742 w 10354"/>
                <a:gd name="connsiteY2259" fmla="*/ 4000 h 10000"/>
                <a:gd name="connsiteX2260" fmla="*/ 747 w 10354"/>
                <a:gd name="connsiteY2260" fmla="*/ 4034 h 10000"/>
                <a:gd name="connsiteX2261" fmla="*/ 724 w 10354"/>
                <a:gd name="connsiteY2261" fmla="*/ 4026 h 10000"/>
                <a:gd name="connsiteX2262" fmla="*/ 714 w 10354"/>
                <a:gd name="connsiteY2262" fmla="*/ 4000 h 10000"/>
                <a:gd name="connsiteX2263" fmla="*/ 714 w 10354"/>
                <a:gd name="connsiteY2263" fmla="*/ 3983 h 10000"/>
                <a:gd name="connsiteX2264" fmla="*/ 553 w 10354"/>
                <a:gd name="connsiteY2264" fmla="*/ 3726 h 10000"/>
                <a:gd name="connsiteX2265" fmla="*/ 507 w 10354"/>
                <a:gd name="connsiteY2265" fmla="*/ 3718 h 10000"/>
                <a:gd name="connsiteX2266" fmla="*/ 516 w 10354"/>
                <a:gd name="connsiteY2266" fmla="*/ 3726 h 10000"/>
                <a:gd name="connsiteX2267" fmla="*/ 507 w 10354"/>
                <a:gd name="connsiteY2267" fmla="*/ 3735 h 10000"/>
                <a:gd name="connsiteX2268" fmla="*/ 502 w 10354"/>
                <a:gd name="connsiteY2268" fmla="*/ 3735 h 10000"/>
                <a:gd name="connsiteX2269" fmla="*/ 419 w 10354"/>
                <a:gd name="connsiteY2269" fmla="*/ 3675 h 10000"/>
                <a:gd name="connsiteX2270" fmla="*/ 419 w 10354"/>
                <a:gd name="connsiteY2270" fmla="*/ 3692 h 10000"/>
                <a:gd name="connsiteX2271" fmla="*/ 401 w 10354"/>
                <a:gd name="connsiteY2271" fmla="*/ 3701 h 10000"/>
                <a:gd name="connsiteX2272" fmla="*/ 387 w 10354"/>
                <a:gd name="connsiteY2272" fmla="*/ 3718 h 10000"/>
                <a:gd name="connsiteX2273" fmla="*/ 387 w 10354"/>
                <a:gd name="connsiteY2273" fmla="*/ 3692 h 10000"/>
                <a:gd name="connsiteX2274" fmla="*/ 378 w 10354"/>
                <a:gd name="connsiteY2274" fmla="*/ 3675 h 10000"/>
                <a:gd name="connsiteX2275" fmla="*/ 378 w 10354"/>
                <a:gd name="connsiteY2275" fmla="*/ 3650 h 10000"/>
                <a:gd name="connsiteX2276" fmla="*/ 378 w 10354"/>
                <a:gd name="connsiteY2276" fmla="*/ 3650 h 10000"/>
                <a:gd name="connsiteX2277" fmla="*/ 355 w 10354"/>
                <a:gd name="connsiteY2277" fmla="*/ 3675 h 10000"/>
                <a:gd name="connsiteX2278" fmla="*/ 359 w 10354"/>
                <a:gd name="connsiteY2278" fmla="*/ 3641 h 10000"/>
                <a:gd name="connsiteX2279" fmla="*/ 346 w 10354"/>
                <a:gd name="connsiteY2279" fmla="*/ 3650 h 10000"/>
                <a:gd name="connsiteX2280" fmla="*/ 355 w 10354"/>
                <a:gd name="connsiteY2280" fmla="*/ 3624 h 10000"/>
                <a:gd name="connsiteX2281" fmla="*/ 346 w 10354"/>
                <a:gd name="connsiteY2281" fmla="*/ 3624 h 10000"/>
                <a:gd name="connsiteX2282" fmla="*/ 341 w 10354"/>
                <a:gd name="connsiteY2282" fmla="*/ 3624 h 10000"/>
                <a:gd name="connsiteX2283" fmla="*/ 318 w 10354"/>
                <a:gd name="connsiteY2283" fmla="*/ 3641 h 10000"/>
                <a:gd name="connsiteX2284" fmla="*/ 327 w 10354"/>
                <a:gd name="connsiteY2284" fmla="*/ 3624 h 10000"/>
                <a:gd name="connsiteX2285" fmla="*/ 318 w 10354"/>
                <a:gd name="connsiteY2285" fmla="*/ 3615 h 10000"/>
                <a:gd name="connsiteX2286" fmla="*/ 318 w 10354"/>
                <a:gd name="connsiteY2286" fmla="*/ 3598 h 10000"/>
                <a:gd name="connsiteX2287" fmla="*/ 300 w 10354"/>
                <a:gd name="connsiteY2287" fmla="*/ 3598 h 10000"/>
                <a:gd name="connsiteX2288" fmla="*/ 309 w 10354"/>
                <a:gd name="connsiteY2288" fmla="*/ 3538 h 10000"/>
                <a:gd name="connsiteX2289" fmla="*/ 313 w 10354"/>
                <a:gd name="connsiteY2289" fmla="*/ 3564 h 10000"/>
                <a:gd name="connsiteX2290" fmla="*/ 318 w 10354"/>
                <a:gd name="connsiteY2290" fmla="*/ 3581 h 10000"/>
                <a:gd name="connsiteX2291" fmla="*/ 327 w 10354"/>
                <a:gd name="connsiteY2291" fmla="*/ 3564 h 10000"/>
                <a:gd name="connsiteX2292" fmla="*/ 332 w 10354"/>
                <a:gd name="connsiteY2292" fmla="*/ 3590 h 10000"/>
                <a:gd name="connsiteX2293" fmla="*/ 346 w 10354"/>
                <a:gd name="connsiteY2293" fmla="*/ 3590 h 10000"/>
                <a:gd name="connsiteX2294" fmla="*/ 355 w 10354"/>
                <a:gd name="connsiteY2294" fmla="*/ 3590 h 10000"/>
                <a:gd name="connsiteX2295" fmla="*/ 369 w 10354"/>
                <a:gd name="connsiteY2295" fmla="*/ 3556 h 10000"/>
                <a:gd name="connsiteX2296" fmla="*/ 369 w 10354"/>
                <a:gd name="connsiteY2296" fmla="*/ 3538 h 10000"/>
                <a:gd name="connsiteX2297" fmla="*/ 346 w 10354"/>
                <a:gd name="connsiteY2297" fmla="*/ 3513 h 10000"/>
                <a:gd name="connsiteX2298" fmla="*/ 341 w 10354"/>
                <a:gd name="connsiteY2298" fmla="*/ 3530 h 10000"/>
                <a:gd name="connsiteX2299" fmla="*/ 327 w 10354"/>
                <a:gd name="connsiteY2299" fmla="*/ 3513 h 10000"/>
                <a:gd name="connsiteX2300" fmla="*/ 327 w 10354"/>
                <a:gd name="connsiteY2300" fmla="*/ 3504 h 10000"/>
                <a:gd name="connsiteX2301" fmla="*/ 295 w 10354"/>
                <a:gd name="connsiteY2301" fmla="*/ 3462 h 10000"/>
                <a:gd name="connsiteX2302" fmla="*/ 300 w 10354"/>
                <a:gd name="connsiteY2302" fmla="*/ 3479 h 10000"/>
                <a:gd name="connsiteX2303" fmla="*/ 295 w 10354"/>
                <a:gd name="connsiteY2303" fmla="*/ 3513 h 10000"/>
                <a:gd name="connsiteX2304" fmla="*/ 286 w 10354"/>
                <a:gd name="connsiteY2304" fmla="*/ 3513 h 10000"/>
                <a:gd name="connsiteX2305" fmla="*/ 281 w 10354"/>
                <a:gd name="connsiteY2305" fmla="*/ 3513 h 10000"/>
                <a:gd name="connsiteX2306" fmla="*/ 281 w 10354"/>
                <a:gd name="connsiteY2306" fmla="*/ 3530 h 10000"/>
                <a:gd name="connsiteX2307" fmla="*/ 281 w 10354"/>
                <a:gd name="connsiteY2307" fmla="*/ 3556 h 10000"/>
                <a:gd name="connsiteX2308" fmla="*/ 272 w 10354"/>
                <a:gd name="connsiteY2308" fmla="*/ 3564 h 10000"/>
                <a:gd name="connsiteX2309" fmla="*/ 267 w 10354"/>
                <a:gd name="connsiteY2309" fmla="*/ 3564 h 10000"/>
                <a:gd name="connsiteX2310" fmla="*/ 253 w 10354"/>
                <a:gd name="connsiteY2310" fmla="*/ 3538 h 10000"/>
                <a:gd name="connsiteX2311" fmla="*/ 226 w 10354"/>
                <a:gd name="connsiteY2311" fmla="*/ 3513 h 10000"/>
                <a:gd name="connsiteX2312" fmla="*/ 226 w 10354"/>
                <a:gd name="connsiteY2312" fmla="*/ 3530 h 10000"/>
                <a:gd name="connsiteX2313" fmla="*/ 226 w 10354"/>
                <a:gd name="connsiteY2313" fmla="*/ 3530 h 10000"/>
                <a:gd name="connsiteX2314" fmla="*/ 226 w 10354"/>
                <a:gd name="connsiteY2314" fmla="*/ 3530 h 10000"/>
                <a:gd name="connsiteX2315" fmla="*/ 226 w 10354"/>
                <a:gd name="connsiteY2315" fmla="*/ 3556 h 10000"/>
                <a:gd name="connsiteX2316" fmla="*/ 221 w 10354"/>
                <a:gd name="connsiteY2316" fmla="*/ 3598 h 10000"/>
                <a:gd name="connsiteX2317" fmla="*/ 207 w 10354"/>
                <a:gd name="connsiteY2317" fmla="*/ 3598 h 10000"/>
                <a:gd name="connsiteX2318" fmla="*/ 180 w 10354"/>
                <a:gd name="connsiteY2318" fmla="*/ 3581 h 10000"/>
                <a:gd name="connsiteX2319" fmla="*/ 171 w 10354"/>
                <a:gd name="connsiteY2319" fmla="*/ 3641 h 10000"/>
                <a:gd name="connsiteX2320" fmla="*/ 166 w 10354"/>
                <a:gd name="connsiteY2320" fmla="*/ 3650 h 10000"/>
                <a:gd name="connsiteX2321" fmla="*/ 124 w 10354"/>
                <a:gd name="connsiteY2321" fmla="*/ 3701 h 10000"/>
                <a:gd name="connsiteX2322" fmla="*/ 124 w 10354"/>
                <a:gd name="connsiteY2322" fmla="*/ 3718 h 10000"/>
                <a:gd name="connsiteX2323" fmla="*/ 120 w 10354"/>
                <a:gd name="connsiteY2323" fmla="*/ 3735 h 10000"/>
                <a:gd name="connsiteX2324" fmla="*/ 120 w 10354"/>
                <a:gd name="connsiteY2324" fmla="*/ 3735 h 10000"/>
                <a:gd name="connsiteX2325" fmla="*/ 111 w 10354"/>
                <a:gd name="connsiteY2325" fmla="*/ 3761 h 10000"/>
                <a:gd name="connsiteX2326" fmla="*/ 106 w 10354"/>
                <a:gd name="connsiteY2326" fmla="*/ 3761 h 10000"/>
                <a:gd name="connsiteX2327" fmla="*/ 106 w 10354"/>
                <a:gd name="connsiteY2327" fmla="*/ 3761 h 10000"/>
                <a:gd name="connsiteX2328" fmla="*/ 74 w 10354"/>
                <a:gd name="connsiteY2328" fmla="*/ 3829 h 10000"/>
                <a:gd name="connsiteX2329" fmla="*/ 78 w 10354"/>
                <a:gd name="connsiteY2329" fmla="*/ 3838 h 10000"/>
                <a:gd name="connsiteX2330" fmla="*/ 88 w 10354"/>
                <a:gd name="connsiteY2330" fmla="*/ 3846 h 10000"/>
                <a:gd name="connsiteX2331" fmla="*/ 65 w 10354"/>
                <a:gd name="connsiteY2331" fmla="*/ 3923 h 10000"/>
                <a:gd name="connsiteX2332" fmla="*/ 78 w 10354"/>
                <a:gd name="connsiteY2332" fmla="*/ 4026 h 10000"/>
                <a:gd name="connsiteX2333" fmla="*/ 88 w 10354"/>
                <a:gd name="connsiteY2333" fmla="*/ 4051 h 10000"/>
                <a:gd name="connsiteX2334" fmla="*/ 92 w 10354"/>
                <a:gd name="connsiteY2334" fmla="*/ 4060 h 10000"/>
                <a:gd name="connsiteX2335" fmla="*/ 111 w 10354"/>
                <a:gd name="connsiteY2335" fmla="*/ 4060 h 10000"/>
                <a:gd name="connsiteX2336" fmla="*/ 124 w 10354"/>
                <a:gd name="connsiteY2336" fmla="*/ 4085 h 10000"/>
                <a:gd name="connsiteX2337" fmla="*/ 166 w 10354"/>
                <a:gd name="connsiteY2337" fmla="*/ 4197 h 10000"/>
                <a:gd name="connsiteX2338" fmla="*/ 166 w 10354"/>
                <a:gd name="connsiteY2338" fmla="*/ 4248 h 10000"/>
                <a:gd name="connsiteX2339" fmla="*/ 120 w 10354"/>
                <a:gd name="connsiteY2339" fmla="*/ 4462 h 10000"/>
                <a:gd name="connsiteX2340" fmla="*/ 120 w 10354"/>
                <a:gd name="connsiteY2340" fmla="*/ 4513 h 10000"/>
                <a:gd name="connsiteX2341" fmla="*/ 180 w 10354"/>
                <a:gd name="connsiteY2341" fmla="*/ 4829 h 10000"/>
                <a:gd name="connsiteX2342" fmla="*/ 161 w 10354"/>
                <a:gd name="connsiteY2342" fmla="*/ 4855 h 10000"/>
                <a:gd name="connsiteX2343" fmla="*/ 152 w 10354"/>
                <a:gd name="connsiteY2343" fmla="*/ 4940 h 10000"/>
                <a:gd name="connsiteX2344" fmla="*/ 161 w 10354"/>
                <a:gd name="connsiteY2344" fmla="*/ 4966 h 10000"/>
                <a:gd name="connsiteX2345" fmla="*/ 161 w 10354"/>
                <a:gd name="connsiteY2345" fmla="*/ 5009 h 10000"/>
                <a:gd name="connsiteX2346" fmla="*/ 152 w 10354"/>
                <a:gd name="connsiteY2346" fmla="*/ 5034 h 10000"/>
                <a:gd name="connsiteX2347" fmla="*/ 152 w 10354"/>
                <a:gd name="connsiteY2347" fmla="*/ 5077 h 10000"/>
                <a:gd name="connsiteX2348" fmla="*/ 171 w 10354"/>
                <a:gd name="connsiteY2348" fmla="*/ 5094 h 10000"/>
                <a:gd name="connsiteX2349" fmla="*/ 180 w 10354"/>
                <a:gd name="connsiteY2349" fmla="*/ 5128 h 10000"/>
                <a:gd name="connsiteX2350" fmla="*/ 180 w 10354"/>
                <a:gd name="connsiteY2350" fmla="*/ 5171 h 10000"/>
                <a:gd name="connsiteX2351" fmla="*/ 184 w 10354"/>
                <a:gd name="connsiteY2351" fmla="*/ 5205 h 10000"/>
                <a:gd name="connsiteX2352" fmla="*/ 207 w 10354"/>
                <a:gd name="connsiteY2352" fmla="*/ 5239 h 10000"/>
                <a:gd name="connsiteX2353" fmla="*/ 207 w 10354"/>
                <a:gd name="connsiteY2353" fmla="*/ 5282 h 10000"/>
                <a:gd name="connsiteX2354" fmla="*/ 180 w 10354"/>
                <a:gd name="connsiteY2354" fmla="*/ 5393 h 10000"/>
                <a:gd name="connsiteX2355" fmla="*/ 194 w 10354"/>
                <a:gd name="connsiteY2355" fmla="*/ 5427 h 10000"/>
                <a:gd name="connsiteX2356" fmla="*/ 198 w 10354"/>
                <a:gd name="connsiteY2356" fmla="*/ 5462 h 10000"/>
                <a:gd name="connsiteX2357" fmla="*/ 235 w 10354"/>
                <a:gd name="connsiteY2357" fmla="*/ 5513 h 10000"/>
                <a:gd name="connsiteX2358" fmla="*/ 240 w 10354"/>
                <a:gd name="connsiteY2358" fmla="*/ 5556 h 10000"/>
                <a:gd name="connsiteX2359" fmla="*/ 253 w 10354"/>
                <a:gd name="connsiteY2359" fmla="*/ 5590 h 10000"/>
                <a:gd name="connsiteX2360" fmla="*/ 258 w 10354"/>
                <a:gd name="connsiteY2360" fmla="*/ 5573 h 10000"/>
                <a:gd name="connsiteX2361" fmla="*/ 258 w 10354"/>
                <a:gd name="connsiteY2361" fmla="*/ 5667 h 10000"/>
                <a:gd name="connsiteX2362" fmla="*/ 14 w 10354"/>
                <a:gd name="connsiteY2362" fmla="*/ 6214 h 10000"/>
                <a:gd name="connsiteX2363" fmla="*/ 14 w 10354"/>
                <a:gd name="connsiteY2363" fmla="*/ 6214 h 10000"/>
                <a:gd name="connsiteX2364" fmla="*/ 37 w 10354"/>
                <a:gd name="connsiteY2364" fmla="*/ 6214 h 10000"/>
                <a:gd name="connsiteX2365" fmla="*/ 51 w 10354"/>
                <a:gd name="connsiteY2365" fmla="*/ 6188 h 10000"/>
                <a:gd name="connsiteX2366" fmla="*/ 78 w 10354"/>
                <a:gd name="connsiteY2366" fmla="*/ 6162 h 10000"/>
                <a:gd name="connsiteX2367" fmla="*/ 78 w 10354"/>
                <a:gd name="connsiteY2367" fmla="*/ 6188 h 10000"/>
                <a:gd name="connsiteX2368" fmla="*/ 74 w 10354"/>
                <a:gd name="connsiteY2368" fmla="*/ 6197 h 10000"/>
                <a:gd name="connsiteX2369" fmla="*/ 74 w 10354"/>
                <a:gd name="connsiteY2369" fmla="*/ 6231 h 10000"/>
                <a:gd name="connsiteX2370" fmla="*/ 74 w 10354"/>
                <a:gd name="connsiteY2370" fmla="*/ 6214 h 10000"/>
                <a:gd name="connsiteX2371" fmla="*/ 65 w 10354"/>
                <a:gd name="connsiteY2371" fmla="*/ 6214 h 10000"/>
                <a:gd name="connsiteX2372" fmla="*/ 65 w 10354"/>
                <a:gd name="connsiteY2372" fmla="*/ 6248 h 10000"/>
                <a:gd name="connsiteX2373" fmla="*/ 74 w 10354"/>
                <a:gd name="connsiteY2373" fmla="*/ 6256 h 10000"/>
                <a:gd name="connsiteX2374" fmla="*/ 78 w 10354"/>
                <a:gd name="connsiteY2374" fmla="*/ 6256 h 10000"/>
                <a:gd name="connsiteX2375" fmla="*/ 106 w 10354"/>
                <a:gd name="connsiteY2375" fmla="*/ 6308 h 10000"/>
                <a:gd name="connsiteX2376" fmla="*/ 138 w 10354"/>
                <a:gd name="connsiteY2376" fmla="*/ 6299 h 10000"/>
                <a:gd name="connsiteX2377" fmla="*/ 152 w 10354"/>
                <a:gd name="connsiteY2377" fmla="*/ 6299 h 10000"/>
                <a:gd name="connsiteX2378" fmla="*/ 166 w 10354"/>
                <a:gd name="connsiteY2378" fmla="*/ 6325 h 10000"/>
                <a:gd name="connsiteX2379" fmla="*/ 166 w 10354"/>
                <a:gd name="connsiteY2379" fmla="*/ 6333 h 10000"/>
                <a:gd name="connsiteX2380" fmla="*/ 171 w 10354"/>
                <a:gd name="connsiteY2380" fmla="*/ 6350 h 10000"/>
                <a:gd name="connsiteX2381" fmla="*/ 180 w 10354"/>
                <a:gd name="connsiteY2381" fmla="*/ 6350 h 10000"/>
                <a:gd name="connsiteX2382" fmla="*/ 180 w 10354"/>
                <a:gd name="connsiteY2382" fmla="*/ 6359 h 10000"/>
                <a:gd name="connsiteX2383" fmla="*/ 171 w 10354"/>
                <a:gd name="connsiteY2383" fmla="*/ 6368 h 10000"/>
                <a:gd name="connsiteX2384" fmla="*/ 106 w 10354"/>
                <a:gd name="connsiteY2384" fmla="*/ 6350 h 10000"/>
                <a:gd name="connsiteX2385" fmla="*/ 101 w 10354"/>
                <a:gd name="connsiteY2385" fmla="*/ 6359 h 10000"/>
                <a:gd name="connsiteX2386" fmla="*/ 101 w 10354"/>
                <a:gd name="connsiteY2386" fmla="*/ 6385 h 10000"/>
                <a:gd name="connsiteX2387" fmla="*/ 78 w 10354"/>
                <a:gd name="connsiteY2387" fmla="*/ 6393 h 10000"/>
                <a:gd name="connsiteX2388" fmla="*/ 74 w 10354"/>
                <a:gd name="connsiteY2388" fmla="*/ 6385 h 10000"/>
                <a:gd name="connsiteX2389" fmla="*/ 65 w 10354"/>
                <a:gd name="connsiteY2389" fmla="*/ 6393 h 10000"/>
                <a:gd name="connsiteX2390" fmla="*/ 60 w 10354"/>
                <a:gd name="connsiteY2390" fmla="*/ 6419 h 10000"/>
                <a:gd name="connsiteX2391" fmla="*/ 51 w 10354"/>
                <a:gd name="connsiteY2391" fmla="*/ 6419 h 10000"/>
                <a:gd name="connsiteX2392" fmla="*/ 46 w 10354"/>
                <a:gd name="connsiteY2392" fmla="*/ 6410 h 10000"/>
                <a:gd name="connsiteX2393" fmla="*/ 37 w 10354"/>
                <a:gd name="connsiteY2393" fmla="*/ 6393 h 10000"/>
                <a:gd name="connsiteX2394" fmla="*/ 32 w 10354"/>
                <a:gd name="connsiteY2394" fmla="*/ 6419 h 10000"/>
                <a:gd name="connsiteX2395" fmla="*/ 37 w 10354"/>
                <a:gd name="connsiteY2395" fmla="*/ 6462 h 10000"/>
                <a:gd name="connsiteX2396" fmla="*/ 46 w 10354"/>
                <a:gd name="connsiteY2396" fmla="*/ 6462 h 10000"/>
                <a:gd name="connsiteX2397" fmla="*/ 51 w 10354"/>
                <a:gd name="connsiteY2397" fmla="*/ 6470 h 10000"/>
                <a:gd name="connsiteX2398" fmla="*/ 51 w 10354"/>
                <a:gd name="connsiteY2398" fmla="*/ 6496 h 10000"/>
                <a:gd name="connsiteX2399" fmla="*/ 51 w 10354"/>
                <a:gd name="connsiteY2399" fmla="*/ 6504 h 10000"/>
                <a:gd name="connsiteX2400" fmla="*/ 37 w 10354"/>
                <a:gd name="connsiteY2400" fmla="*/ 6530 h 10000"/>
                <a:gd name="connsiteX2401" fmla="*/ 18 w 10354"/>
                <a:gd name="connsiteY2401" fmla="*/ 6598 h 10000"/>
                <a:gd name="connsiteX2402" fmla="*/ 28 w 10354"/>
                <a:gd name="connsiteY2402" fmla="*/ 6632 h 10000"/>
                <a:gd name="connsiteX2403" fmla="*/ 18 w 10354"/>
                <a:gd name="connsiteY2403" fmla="*/ 6667 h 10000"/>
                <a:gd name="connsiteX2404" fmla="*/ 28 w 10354"/>
                <a:gd name="connsiteY2404" fmla="*/ 6692 h 10000"/>
                <a:gd name="connsiteX2405" fmla="*/ 28 w 10354"/>
                <a:gd name="connsiteY2405" fmla="*/ 6709 h 10000"/>
                <a:gd name="connsiteX2406" fmla="*/ 18 w 10354"/>
                <a:gd name="connsiteY2406" fmla="*/ 6718 h 10000"/>
                <a:gd name="connsiteX2407" fmla="*/ 5 w 10354"/>
                <a:gd name="connsiteY2407" fmla="*/ 6744 h 10000"/>
                <a:gd name="connsiteX2408" fmla="*/ 0 w 10354"/>
                <a:gd name="connsiteY2408" fmla="*/ 6769 h 10000"/>
                <a:gd name="connsiteX2409" fmla="*/ 5 w 10354"/>
                <a:gd name="connsiteY2409" fmla="*/ 6778 h 10000"/>
                <a:gd name="connsiteX2410" fmla="*/ 32 w 10354"/>
                <a:gd name="connsiteY2410" fmla="*/ 6778 h 10000"/>
                <a:gd name="connsiteX2411" fmla="*/ 46 w 10354"/>
                <a:gd name="connsiteY2411" fmla="*/ 6821 h 10000"/>
                <a:gd name="connsiteX2412" fmla="*/ 46 w 10354"/>
                <a:gd name="connsiteY2412" fmla="*/ 6855 h 10000"/>
                <a:gd name="connsiteX2413" fmla="*/ 32 w 10354"/>
                <a:gd name="connsiteY2413" fmla="*/ 6855 h 10000"/>
                <a:gd name="connsiteX2414" fmla="*/ 14 w 10354"/>
                <a:gd name="connsiteY2414" fmla="*/ 6821 h 10000"/>
                <a:gd name="connsiteX2415" fmla="*/ 14 w 10354"/>
                <a:gd name="connsiteY2415" fmla="*/ 6846 h 10000"/>
                <a:gd name="connsiteX2416" fmla="*/ 0 w 10354"/>
                <a:gd name="connsiteY2416" fmla="*/ 6897 h 10000"/>
                <a:gd name="connsiteX2417" fmla="*/ 0 w 10354"/>
                <a:gd name="connsiteY2417" fmla="*/ 6915 h 10000"/>
                <a:gd name="connsiteX2418" fmla="*/ 5 w 10354"/>
                <a:gd name="connsiteY2418" fmla="*/ 6932 h 10000"/>
                <a:gd name="connsiteX2419" fmla="*/ 14 w 10354"/>
                <a:gd name="connsiteY2419" fmla="*/ 6940 h 10000"/>
                <a:gd name="connsiteX2420" fmla="*/ 18 w 10354"/>
                <a:gd name="connsiteY2420" fmla="*/ 6957 h 10000"/>
                <a:gd name="connsiteX2421" fmla="*/ 28 w 10354"/>
                <a:gd name="connsiteY2421" fmla="*/ 6966 h 10000"/>
                <a:gd name="connsiteX2422" fmla="*/ 28 w 10354"/>
                <a:gd name="connsiteY2422" fmla="*/ 6983 h 10000"/>
                <a:gd name="connsiteX2423" fmla="*/ 18 w 10354"/>
                <a:gd name="connsiteY2423" fmla="*/ 7051 h 10000"/>
                <a:gd name="connsiteX2424" fmla="*/ 28 w 10354"/>
                <a:gd name="connsiteY2424" fmla="*/ 7068 h 10000"/>
                <a:gd name="connsiteX2425" fmla="*/ 32 w 10354"/>
                <a:gd name="connsiteY2425" fmla="*/ 7068 h 10000"/>
                <a:gd name="connsiteX2426" fmla="*/ 32 w 10354"/>
                <a:gd name="connsiteY2426" fmla="*/ 7094 h 10000"/>
                <a:gd name="connsiteX2427" fmla="*/ 60 w 10354"/>
                <a:gd name="connsiteY2427" fmla="*/ 7162 h 10000"/>
                <a:gd name="connsiteX2428" fmla="*/ 60 w 10354"/>
                <a:gd name="connsiteY2428" fmla="*/ 7231 h 10000"/>
                <a:gd name="connsiteX2429" fmla="*/ 60 w 10354"/>
                <a:gd name="connsiteY2429" fmla="*/ 7239 h 10000"/>
                <a:gd name="connsiteX2430" fmla="*/ 78 w 10354"/>
                <a:gd name="connsiteY2430" fmla="*/ 7239 h 10000"/>
                <a:gd name="connsiteX2431" fmla="*/ 88 w 10354"/>
                <a:gd name="connsiteY2431" fmla="*/ 7239 h 10000"/>
                <a:gd name="connsiteX2432" fmla="*/ 92 w 10354"/>
                <a:gd name="connsiteY2432" fmla="*/ 7256 h 10000"/>
                <a:gd name="connsiteX2433" fmla="*/ 111 w 10354"/>
                <a:gd name="connsiteY2433" fmla="*/ 7256 h 10000"/>
                <a:gd name="connsiteX2434" fmla="*/ 120 w 10354"/>
                <a:gd name="connsiteY2434" fmla="*/ 7256 h 10000"/>
                <a:gd name="connsiteX2435" fmla="*/ 134 w 10354"/>
                <a:gd name="connsiteY2435" fmla="*/ 7282 h 10000"/>
                <a:gd name="connsiteX2436" fmla="*/ 134 w 10354"/>
                <a:gd name="connsiteY2436" fmla="*/ 7316 h 10000"/>
                <a:gd name="connsiteX2437" fmla="*/ 152 w 10354"/>
                <a:gd name="connsiteY2437" fmla="*/ 7299 h 10000"/>
                <a:gd name="connsiteX2438" fmla="*/ 161 w 10354"/>
                <a:gd name="connsiteY2438" fmla="*/ 7299 h 10000"/>
                <a:gd name="connsiteX2439" fmla="*/ 166 w 10354"/>
                <a:gd name="connsiteY2439" fmla="*/ 7291 h 10000"/>
                <a:gd name="connsiteX2440" fmla="*/ 194 w 10354"/>
                <a:gd name="connsiteY2440" fmla="*/ 7291 h 10000"/>
                <a:gd name="connsiteX2441" fmla="*/ 207 w 10354"/>
                <a:gd name="connsiteY2441" fmla="*/ 7299 h 10000"/>
                <a:gd name="connsiteX2442" fmla="*/ 221 w 10354"/>
                <a:gd name="connsiteY2442" fmla="*/ 7342 h 10000"/>
                <a:gd name="connsiteX2443" fmla="*/ 235 w 10354"/>
                <a:gd name="connsiteY2443" fmla="*/ 7342 h 10000"/>
                <a:gd name="connsiteX2444" fmla="*/ 235 w 10354"/>
                <a:gd name="connsiteY2444" fmla="*/ 7368 h 10000"/>
                <a:gd name="connsiteX2445" fmla="*/ 226 w 10354"/>
                <a:gd name="connsiteY2445" fmla="*/ 7393 h 10000"/>
                <a:gd name="connsiteX2446" fmla="*/ 226 w 10354"/>
                <a:gd name="connsiteY2446" fmla="*/ 7402 h 10000"/>
                <a:gd name="connsiteX2447" fmla="*/ 235 w 10354"/>
                <a:gd name="connsiteY2447" fmla="*/ 7419 h 10000"/>
                <a:gd name="connsiteX2448" fmla="*/ 240 w 10354"/>
                <a:gd name="connsiteY2448" fmla="*/ 7436 h 10000"/>
                <a:gd name="connsiteX2449" fmla="*/ 235 w 10354"/>
                <a:gd name="connsiteY2449" fmla="*/ 7462 h 10000"/>
                <a:gd name="connsiteX2450" fmla="*/ 226 w 10354"/>
                <a:gd name="connsiteY2450" fmla="*/ 7479 h 10000"/>
                <a:gd name="connsiteX2451" fmla="*/ 226 w 10354"/>
                <a:gd name="connsiteY2451" fmla="*/ 7504 h 10000"/>
                <a:gd name="connsiteX2452" fmla="*/ 226 w 10354"/>
                <a:gd name="connsiteY2452" fmla="*/ 7513 h 10000"/>
                <a:gd name="connsiteX2453" fmla="*/ 240 w 10354"/>
                <a:gd name="connsiteY2453" fmla="*/ 7538 h 10000"/>
                <a:gd name="connsiteX2454" fmla="*/ 267 w 10354"/>
                <a:gd name="connsiteY2454" fmla="*/ 7641 h 10000"/>
                <a:gd name="connsiteX2455" fmla="*/ 281 w 10354"/>
                <a:gd name="connsiteY2455" fmla="*/ 7667 h 10000"/>
                <a:gd name="connsiteX2456" fmla="*/ 286 w 10354"/>
                <a:gd name="connsiteY2456" fmla="*/ 7675 h 10000"/>
                <a:gd name="connsiteX2457" fmla="*/ 286 w 10354"/>
                <a:gd name="connsiteY2457" fmla="*/ 7692 h 10000"/>
                <a:gd name="connsiteX2458" fmla="*/ 286 w 10354"/>
                <a:gd name="connsiteY2458" fmla="*/ 7709 h 10000"/>
                <a:gd name="connsiteX2459" fmla="*/ 295 w 10354"/>
                <a:gd name="connsiteY2459" fmla="*/ 7726 h 10000"/>
                <a:gd name="connsiteX2460" fmla="*/ 318 w 10354"/>
                <a:gd name="connsiteY2460" fmla="*/ 7709 h 10000"/>
                <a:gd name="connsiteX2461" fmla="*/ 327 w 10354"/>
                <a:gd name="connsiteY2461" fmla="*/ 7726 h 10000"/>
                <a:gd name="connsiteX2462" fmla="*/ 341 w 10354"/>
                <a:gd name="connsiteY2462" fmla="*/ 7735 h 10000"/>
                <a:gd name="connsiteX2463" fmla="*/ 332 w 10354"/>
                <a:gd name="connsiteY2463" fmla="*/ 7752 h 10000"/>
                <a:gd name="connsiteX2464" fmla="*/ 341 w 10354"/>
                <a:gd name="connsiteY2464" fmla="*/ 7761 h 10000"/>
                <a:gd name="connsiteX2465" fmla="*/ 355 w 10354"/>
                <a:gd name="connsiteY2465" fmla="*/ 7761 h 10000"/>
                <a:gd name="connsiteX2466" fmla="*/ 355 w 10354"/>
                <a:gd name="connsiteY2466" fmla="*/ 7803 h 10000"/>
                <a:gd name="connsiteX2467" fmla="*/ 313 w 10354"/>
                <a:gd name="connsiteY2467" fmla="*/ 7846 h 10000"/>
                <a:gd name="connsiteX2468" fmla="*/ 295 w 10354"/>
                <a:gd name="connsiteY2468" fmla="*/ 7846 h 10000"/>
                <a:gd name="connsiteX2469" fmla="*/ 281 w 10354"/>
                <a:gd name="connsiteY2469" fmla="*/ 7821 h 10000"/>
                <a:gd name="connsiteX2470" fmla="*/ 272 w 10354"/>
                <a:gd name="connsiteY2470" fmla="*/ 7821 h 10000"/>
                <a:gd name="connsiteX2471" fmla="*/ 267 w 10354"/>
                <a:gd name="connsiteY2471" fmla="*/ 7838 h 10000"/>
                <a:gd name="connsiteX2472" fmla="*/ 258 w 10354"/>
                <a:gd name="connsiteY2472" fmla="*/ 7846 h 10000"/>
                <a:gd name="connsiteX2473" fmla="*/ 253 w 10354"/>
                <a:gd name="connsiteY2473" fmla="*/ 7863 h 10000"/>
                <a:gd name="connsiteX2474" fmla="*/ 253 w 10354"/>
                <a:gd name="connsiteY2474" fmla="*/ 7872 h 10000"/>
                <a:gd name="connsiteX2475" fmla="*/ 267 w 10354"/>
                <a:gd name="connsiteY2475" fmla="*/ 7897 h 10000"/>
                <a:gd name="connsiteX2476" fmla="*/ 272 w 10354"/>
                <a:gd name="connsiteY2476" fmla="*/ 7915 h 10000"/>
                <a:gd name="connsiteX2477" fmla="*/ 267 w 10354"/>
                <a:gd name="connsiteY2477" fmla="*/ 7940 h 10000"/>
                <a:gd name="connsiteX2478" fmla="*/ 272 w 10354"/>
                <a:gd name="connsiteY2478" fmla="*/ 7949 h 10000"/>
                <a:gd name="connsiteX2479" fmla="*/ 272 w 10354"/>
                <a:gd name="connsiteY2479" fmla="*/ 7957 h 10000"/>
                <a:gd name="connsiteX2480" fmla="*/ 281 w 10354"/>
                <a:gd name="connsiteY2480" fmla="*/ 7974 h 10000"/>
                <a:gd name="connsiteX2481" fmla="*/ 286 w 10354"/>
                <a:gd name="connsiteY2481" fmla="*/ 7983 h 10000"/>
                <a:gd name="connsiteX2482" fmla="*/ 281 w 10354"/>
                <a:gd name="connsiteY2482" fmla="*/ 8009 h 10000"/>
                <a:gd name="connsiteX2483" fmla="*/ 286 w 10354"/>
                <a:gd name="connsiteY2483" fmla="*/ 8060 h 10000"/>
                <a:gd name="connsiteX2484" fmla="*/ 286 w 10354"/>
                <a:gd name="connsiteY2484" fmla="*/ 8060 h 10000"/>
                <a:gd name="connsiteX2485" fmla="*/ 295 w 10354"/>
                <a:gd name="connsiteY2485" fmla="*/ 8077 h 10000"/>
                <a:gd name="connsiteX2486" fmla="*/ 309 w 10354"/>
                <a:gd name="connsiteY2486" fmla="*/ 8077 h 10000"/>
                <a:gd name="connsiteX2487" fmla="*/ 313 w 10354"/>
                <a:gd name="connsiteY2487" fmla="*/ 8060 h 10000"/>
                <a:gd name="connsiteX2488" fmla="*/ 318 w 10354"/>
                <a:gd name="connsiteY2488" fmla="*/ 8051 h 10000"/>
                <a:gd name="connsiteX2489" fmla="*/ 318 w 10354"/>
                <a:gd name="connsiteY2489" fmla="*/ 8034 h 10000"/>
                <a:gd name="connsiteX2490" fmla="*/ 332 w 10354"/>
                <a:gd name="connsiteY2490" fmla="*/ 8026 h 10000"/>
                <a:gd name="connsiteX2491" fmla="*/ 359 w 10354"/>
                <a:gd name="connsiteY2491" fmla="*/ 8034 h 10000"/>
                <a:gd name="connsiteX2492" fmla="*/ 378 w 10354"/>
                <a:gd name="connsiteY2492" fmla="*/ 8026 h 10000"/>
                <a:gd name="connsiteX2493" fmla="*/ 401 w 10354"/>
                <a:gd name="connsiteY2493" fmla="*/ 8026 h 10000"/>
                <a:gd name="connsiteX2494" fmla="*/ 419 w 10354"/>
                <a:gd name="connsiteY2494" fmla="*/ 8009 h 10000"/>
                <a:gd name="connsiteX2495" fmla="*/ 433 w 10354"/>
                <a:gd name="connsiteY2495" fmla="*/ 8034 h 10000"/>
                <a:gd name="connsiteX2496" fmla="*/ 442 w 10354"/>
                <a:gd name="connsiteY2496" fmla="*/ 8060 h 10000"/>
                <a:gd name="connsiteX2497" fmla="*/ 442 w 10354"/>
                <a:gd name="connsiteY2497" fmla="*/ 8077 h 10000"/>
                <a:gd name="connsiteX2498" fmla="*/ 461 w 10354"/>
                <a:gd name="connsiteY2498" fmla="*/ 8111 h 10000"/>
                <a:gd name="connsiteX2499" fmla="*/ 461 w 10354"/>
                <a:gd name="connsiteY2499" fmla="*/ 8137 h 10000"/>
                <a:gd name="connsiteX2500" fmla="*/ 447 w 10354"/>
                <a:gd name="connsiteY2500" fmla="*/ 8145 h 10000"/>
                <a:gd name="connsiteX2501" fmla="*/ 442 w 10354"/>
                <a:gd name="connsiteY2501" fmla="*/ 8145 h 10000"/>
                <a:gd name="connsiteX2502" fmla="*/ 442 w 10354"/>
                <a:gd name="connsiteY2502" fmla="*/ 8162 h 10000"/>
                <a:gd name="connsiteX2503" fmla="*/ 442 w 10354"/>
                <a:gd name="connsiteY2503" fmla="*/ 8171 h 10000"/>
                <a:gd name="connsiteX2504" fmla="*/ 447 w 10354"/>
                <a:gd name="connsiteY2504" fmla="*/ 8214 h 10000"/>
                <a:gd name="connsiteX2505" fmla="*/ 465 w 10354"/>
                <a:gd name="connsiteY2505" fmla="*/ 8231 h 10000"/>
                <a:gd name="connsiteX2506" fmla="*/ 488 w 10354"/>
                <a:gd name="connsiteY2506" fmla="*/ 8231 h 10000"/>
                <a:gd name="connsiteX2507" fmla="*/ 493 w 10354"/>
                <a:gd name="connsiteY2507" fmla="*/ 8231 h 10000"/>
                <a:gd name="connsiteX2508" fmla="*/ 502 w 10354"/>
                <a:gd name="connsiteY2508" fmla="*/ 8231 h 10000"/>
                <a:gd name="connsiteX2509" fmla="*/ 507 w 10354"/>
                <a:gd name="connsiteY2509" fmla="*/ 8248 h 10000"/>
                <a:gd name="connsiteX2510" fmla="*/ 521 w 10354"/>
                <a:gd name="connsiteY2510" fmla="*/ 8274 h 10000"/>
                <a:gd name="connsiteX2511" fmla="*/ 525 w 10354"/>
                <a:gd name="connsiteY2511" fmla="*/ 8333 h 10000"/>
                <a:gd name="connsiteX2512" fmla="*/ 525 w 10354"/>
                <a:gd name="connsiteY2512" fmla="*/ 8359 h 10000"/>
                <a:gd name="connsiteX2513" fmla="*/ 525 w 10354"/>
                <a:gd name="connsiteY2513" fmla="*/ 8368 h 10000"/>
                <a:gd name="connsiteX2514" fmla="*/ 548 w 10354"/>
                <a:gd name="connsiteY2514" fmla="*/ 8393 h 10000"/>
                <a:gd name="connsiteX2515" fmla="*/ 553 w 10354"/>
                <a:gd name="connsiteY2515" fmla="*/ 8385 h 10000"/>
                <a:gd name="connsiteX2516" fmla="*/ 562 w 10354"/>
                <a:gd name="connsiteY2516" fmla="*/ 8385 h 10000"/>
                <a:gd name="connsiteX2517" fmla="*/ 576 w 10354"/>
                <a:gd name="connsiteY2517" fmla="*/ 8385 h 10000"/>
                <a:gd name="connsiteX2518" fmla="*/ 585 w 10354"/>
                <a:gd name="connsiteY2518" fmla="*/ 8410 h 10000"/>
                <a:gd name="connsiteX2519" fmla="*/ 594 w 10354"/>
                <a:gd name="connsiteY2519" fmla="*/ 8410 h 10000"/>
                <a:gd name="connsiteX2520" fmla="*/ 608 w 10354"/>
                <a:gd name="connsiteY2520" fmla="*/ 8410 h 10000"/>
                <a:gd name="connsiteX2521" fmla="*/ 654 w 10354"/>
                <a:gd name="connsiteY2521" fmla="*/ 8385 h 10000"/>
                <a:gd name="connsiteX2522" fmla="*/ 659 w 10354"/>
                <a:gd name="connsiteY2522" fmla="*/ 8385 h 10000"/>
                <a:gd name="connsiteX2523" fmla="*/ 696 w 10354"/>
                <a:gd name="connsiteY2523" fmla="*/ 8470 h 10000"/>
                <a:gd name="connsiteX2524" fmla="*/ 700 w 10354"/>
                <a:gd name="connsiteY2524" fmla="*/ 8470 h 10000"/>
                <a:gd name="connsiteX2525" fmla="*/ 710 w 10354"/>
                <a:gd name="connsiteY2525" fmla="*/ 8462 h 10000"/>
                <a:gd name="connsiteX2526" fmla="*/ 714 w 10354"/>
                <a:gd name="connsiteY2526" fmla="*/ 8462 h 10000"/>
                <a:gd name="connsiteX2527" fmla="*/ 724 w 10354"/>
                <a:gd name="connsiteY2527" fmla="*/ 8470 h 10000"/>
                <a:gd name="connsiteX2528" fmla="*/ 733 w 10354"/>
                <a:gd name="connsiteY2528" fmla="*/ 8470 h 10000"/>
                <a:gd name="connsiteX2529" fmla="*/ 742 w 10354"/>
                <a:gd name="connsiteY2529" fmla="*/ 8487 h 10000"/>
                <a:gd name="connsiteX2530" fmla="*/ 747 w 10354"/>
                <a:gd name="connsiteY2530" fmla="*/ 8496 h 10000"/>
                <a:gd name="connsiteX2531" fmla="*/ 770 w 10354"/>
                <a:gd name="connsiteY2531" fmla="*/ 8496 h 10000"/>
                <a:gd name="connsiteX2532" fmla="*/ 783 w 10354"/>
                <a:gd name="connsiteY2532" fmla="*/ 8521 h 10000"/>
                <a:gd name="connsiteX2533" fmla="*/ 797 w 10354"/>
                <a:gd name="connsiteY2533" fmla="*/ 8521 h 10000"/>
                <a:gd name="connsiteX2534" fmla="*/ 806 w 10354"/>
                <a:gd name="connsiteY2534" fmla="*/ 8530 h 10000"/>
                <a:gd name="connsiteX2535" fmla="*/ 829 w 10354"/>
                <a:gd name="connsiteY2535" fmla="*/ 8547 h 10000"/>
                <a:gd name="connsiteX2536" fmla="*/ 834 w 10354"/>
                <a:gd name="connsiteY2536" fmla="*/ 8556 h 10000"/>
                <a:gd name="connsiteX2537" fmla="*/ 829 w 10354"/>
                <a:gd name="connsiteY2537" fmla="*/ 8556 h 10000"/>
                <a:gd name="connsiteX2538" fmla="*/ 834 w 10354"/>
                <a:gd name="connsiteY2538" fmla="*/ 8607 h 10000"/>
                <a:gd name="connsiteX2539" fmla="*/ 829 w 10354"/>
                <a:gd name="connsiteY2539" fmla="*/ 8641 h 10000"/>
                <a:gd name="connsiteX2540" fmla="*/ 806 w 10354"/>
                <a:gd name="connsiteY2540" fmla="*/ 8658 h 10000"/>
                <a:gd name="connsiteX2541" fmla="*/ 816 w 10354"/>
                <a:gd name="connsiteY2541" fmla="*/ 8667 h 10000"/>
                <a:gd name="connsiteX2542" fmla="*/ 820 w 10354"/>
                <a:gd name="connsiteY2542" fmla="*/ 8667 h 10000"/>
                <a:gd name="connsiteX2543" fmla="*/ 829 w 10354"/>
                <a:gd name="connsiteY2543" fmla="*/ 8684 h 10000"/>
                <a:gd name="connsiteX2544" fmla="*/ 806 w 10354"/>
                <a:gd name="connsiteY2544" fmla="*/ 8692 h 10000"/>
                <a:gd name="connsiteX2545" fmla="*/ 802 w 10354"/>
                <a:gd name="connsiteY2545" fmla="*/ 8709 h 10000"/>
                <a:gd name="connsiteX2546" fmla="*/ 802 w 10354"/>
                <a:gd name="connsiteY2546" fmla="*/ 8735 h 10000"/>
                <a:gd name="connsiteX2547" fmla="*/ 806 w 10354"/>
                <a:gd name="connsiteY2547" fmla="*/ 8744 h 10000"/>
                <a:gd name="connsiteX2548" fmla="*/ 816 w 10354"/>
                <a:gd name="connsiteY2548" fmla="*/ 8752 h 10000"/>
                <a:gd name="connsiteX2549" fmla="*/ 806 w 10354"/>
                <a:gd name="connsiteY2549" fmla="*/ 8778 h 10000"/>
                <a:gd name="connsiteX2550" fmla="*/ 820 w 10354"/>
                <a:gd name="connsiteY2550" fmla="*/ 8778 h 10000"/>
                <a:gd name="connsiteX2551" fmla="*/ 806 w 10354"/>
                <a:gd name="connsiteY2551" fmla="*/ 8880 h 10000"/>
                <a:gd name="connsiteX2552" fmla="*/ 797 w 10354"/>
                <a:gd name="connsiteY2552" fmla="*/ 8880 h 10000"/>
                <a:gd name="connsiteX2553" fmla="*/ 783 w 10354"/>
                <a:gd name="connsiteY2553" fmla="*/ 8872 h 10000"/>
                <a:gd name="connsiteX2554" fmla="*/ 770 w 10354"/>
                <a:gd name="connsiteY2554" fmla="*/ 8880 h 10000"/>
                <a:gd name="connsiteX2555" fmla="*/ 756 w 10354"/>
                <a:gd name="connsiteY2555" fmla="*/ 8855 h 10000"/>
                <a:gd name="connsiteX2556" fmla="*/ 733 w 10354"/>
                <a:gd name="connsiteY2556" fmla="*/ 8906 h 10000"/>
                <a:gd name="connsiteX2557" fmla="*/ 714 w 10354"/>
                <a:gd name="connsiteY2557" fmla="*/ 8915 h 10000"/>
                <a:gd name="connsiteX2558" fmla="*/ 710 w 10354"/>
                <a:gd name="connsiteY2558" fmla="*/ 8940 h 10000"/>
                <a:gd name="connsiteX2559" fmla="*/ 710 w 10354"/>
                <a:gd name="connsiteY2559" fmla="*/ 9009 h 10000"/>
                <a:gd name="connsiteX2560" fmla="*/ 728 w 10354"/>
                <a:gd name="connsiteY2560" fmla="*/ 8991 h 10000"/>
                <a:gd name="connsiteX2561" fmla="*/ 733 w 10354"/>
                <a:gd name="connsiteY2561" fmla="*/ 8991 h 10000"/>
                <a:gd name="connsiteX2562" fmla="*/ 747 w 10354"/>
                <a:gd name="connsiteY2562" fmla="*/ 8983 h 10000"/>
                <a:gd name="connsiteX2563" fmla="*/ 760 w 10354"/>
                <a:gd name="connsiteY2563" fmla="*/ 8983 h 10000"/>
                <a:gd name="connsiteX2564" fmla="*/ 770 w 10354"/>
                <a:gd name="connsiteY2564" fmla="*/ 8983 h 10000"/>
                <a:gd name="connsiteX2565" fmla="*/ 770 w 10354"/>
                <a:gd name="connsiteY2565" fmla="*/ 8991 h 10000"/>
                <a:gd name="connsiteX2566" fmla="*/ 783 w 10354"/>
                <a:gd name="connsiteY2566" fmla="*/ 8991 h 10000"/>
                <a:gd name="connsiteX2567" fmla="*/ 783 w 10354"/>
                <a:gd name="connsiteY2567" fmla="*/ 9009 h 10000"/>
                <a:gd name="connsiteX2568" fmla="*/ 783 w 10354"/>
                <a:gd name="connsiteY2568" fmla="*/ 9017 h 10000"/>
                <a:gd name="connsiteX2569" fmla="*/ 770 w 10354"/>
                <a:gd name="connsiteY2569" fmla="*/ 9017 h 10000"/>
                <a:gd name="connsiteX2570" fmla="*/ 724 w 10354"/>
                <a:gd name="connsiteY2570" fmla="*/ 9051 h 10000"/>
                <a:gd name="connsiteX2571" fmla="*/ 724 w 10354"/>
                <a:gd name="connsiteY2571" fmla="*/ 9068 h 10000"/>
                <a:gd name="connsiteX2572" fmla="*/ 728 w 10354"/>
                <a:gd name="connsiteY2572" fmla="*/ 9077 h 10000"/>
                <a:gd name="connsiteX2573" fmla="*/ 724 w 10354"/>
                <a:gd name="connsiteY2573" fmla="*/ 9077 h 10000"/>
                <a:gd name="connsiteX2574" fmla="*/ 710 w 10354"/>
                <a:gd name="connsiteY2574" fmla="*/ 9077 h 10000"/>
                <a:gd name="connsiteX2575" fmla="*/ 682 w 10354"/>
                <a:gd name="connsiteY2575" fmla="*/ 9077 h 10000"/>
                <a:gd name="connsiteX2576" fmla="*/ 673 w 10354"/>
                <a:gd name="connsiteY2576" fmla="*/ 9103 h 10000"/>
                <a:gd name="connsiteX2577" fmla="*/ 687 w 10354"/>
                <a:gd name="connsiteY2577" fmla="*/ 9128 h 10000"/>
                <a:gd name="connsiteX2578" fmla="*/ 700 w 10354"/>
                <a:gd name="connsiteY2578" fmla="*/ 9128 h 10000"/>
                <a:gd name="connsiteX2579" fmla="*/ 728 w 10354"/>
                <a:gd name="connsiteY2579" fmla="*/ 9179 h 10000"/>
                <a:gd name="connsiteX2580" fmla="*/ 724 w 10354"/>
                <a:gd name="connsiteY2580" fmla="*/ 9188 h 10000"/>
                <a:gd name="connsiteX2581" fmla="*/ 710 w 10354"/>
                <a:gd name="connsiteY2581" fmla="*/ 9179 h 10000"/>
                <a:gd name="connsiteX2582" fmla="*/ 700 w 10354"/>
                <a:gd name="connsiteY2582" fmla="*/ 9205 h 10000"/>
                <a:gd name="connsiteX2583" fmla="*/ 696 w 10354"/>
                <a:gd name="connsiteY2583" fmla="*/ 9205 h 10000"/>
                <a:gd name="connsiteX2584" fmla="*/ 654 w 10354"/>
                <a:gd name="connsiteY2584" fmla="*/ 9299 h 10000"/>
                <a:gd name="connsiteX2585" fmla="*/ 622 w 10354"/>
                <a:gd name="connsiteY2585" fmla="*/ 9299 h 10000"/>
                <a:gd name="connsiteX2586" fmla="*/ 613 w 10354"/>
                <a:gd name="connsiteY2586" fmla="*/ 9316 h 10000"/>
                <a:gd name="connsiteX2587" fmla="*/ 613 w 10354"/>
                <a:gd name="connsiteY2587" fmla="*/ 9325 h 10000"/>
                <a:gd name="connsiteX2588" fmla="*/ 608 w 10354"/>
                <a:gd name="connsiteY2588" fmla="*/ 9342 h 10000"/>
                <a:gd name="connsiteX2589" fmla="*/ 636 w 10354"/>
                <a:gd name="connsiteY2589" fmla="*/ 9376 h 10000"/>
                <a:gd name="connsiteX2590" fmla="*/ 641 w 10354"/>
                <a:gd name="connsiteY2590" fmla="*/ 9402 h 10000"/>
                <a:gd name="connsiteX2591" fmla="*/ 654 w 10354"/>
                <a:gd name="connsiteY2591" fmla="*/ 9427 h 10000"/>
                <a:gd name="connsiteX2592" fmla="*/ 668 w 10354"/>
                <a:gd name="connsiteY2592" fmla="*/ 9427 h 10000"/>
                <a:gd name="connsiteX2593" fmla="*/ 668 w 10354"/>
                <a:gd name="connsiteY2593" fmla="*/ 9427 h 10000"/>
                <a:gd name="connsiteX2594" fmla="*/ 774 w 10354"/>
                <a:gd name="connsiteY2594" fmla="*/ 9547 h 10000"/>
                <a:gd name="connsiteX2595" fmla="*/ 797 w 10354"/>
                <a:gd name="connsiteY2595" fmla="*/ 9598 h 10000"/>
                <a:gd name="connsiteX2596" fmla="*/ 802 w 10354"/>
                <a:gd name="connsiteY2596" fmla="*/ 9598 h 10000"/>
                <a:gd name="connsiteX2597" fmla="*/ 816 w 10354"/>
                <a:gd name="connsiteY2597" fmla="*/ 9624 h 10000"/>
                <a:gd name="connsiteX2598" fmla="*/ 843 w 10354"/>
                <a:gd name="connsiteY2598" fmla="*/ 9615 h 10000"/>
                <a:gd name="connsiteX2599" fmla="*/ 857 w 10354"/>
                <a:gd name="connsiteY2599" fmla="*/ 9624 h 10000"/>
                <a:gd name="connsiteX2600" fmla="*/ 862 w 10354"/>
                <a:gd name="connsiteY2600" fmla="*/ 9615 h 10000"/>
                <a:gd name="connsiteX2601" fmla="*/ 880 w 10354"/>
                <a:gd name="connsiteY2601" fmla="*/ 9624 h 10000"/>
                <a:gd name="connsiteX2602" fmla="*/ 889 w 10354"/>
                <a:gd name="connsiteY2602" fmla="*/ 9641 h 10000"/>
                <a:gd name="connsiteX2603" fmla="*/ 935 w 10354"/>
                <a:gd name="connsiteY2603" fmla="*/ 9675 h 10000"/>
                <a:gd name="connsiteX2604" fmla="*/ 977 w 10354"/>
                <a:gd name="connsiteY2604" fmla="*/ 9667 h 10000"/>
                <a:gd name="connsiteX2605" fmla="*/ 995 w 10354"/>
                <a:gd name="connsiteY2605" fmla="*/ 9675 h 10000"/>
                <a:gd name="connsiteX2606" fmla="*/ 1014 w 10354"/>
                <a:gd name="connsiteY2606" fmla="*/ 9675 h 10000"/>
                <a:gd name="connsiteX2607" fmla="*/ 1069 w 10354"/>
                <a:gd name="connsiteY2607" fmla="*/ 9752 h 10000"/>
                <a:gd name="connsiteX2608" fmla="*/ 1074 w 10354"/>
                <a:gd name="connsiteY2608" fmla="*/ 9761 h 10000"/>
                <a:gd name="connsiteX2609" fmla="*/ 1083 w 10354"/>
                <a:gd name="connsiteY2609" fmla="*/ 9778 h 10000"/>
                <a:gd name="connsiteX2610" fmla="*/ 1115 w 10354"/>
                <a:gd name="connsiteY2610" fmla="*/ 9752 h 10000"/>
                <a:gd name="connsiteX2611" fmla="*/ 1129 w 10354"/>
                <a:gd name="connsiteY2611" fmla="*/ 9752 h 10000"/>
                <a:gd name="connsiteX2612" fmla="*/ 1138 w 10354"/>
                <a:gd name="connsiteY2612" fmla="*/ 9761 h 10000"/>
                <a:gd name="connsiteX2613" fmla="*/ 1143 w 10354"/>
                <a:gd name="connsiteY2613" fmla="*/ 9752 h 10000"/>
                <a:gd name="connsiteX2614" fmla="*/ 1161 w 10354"/>
                <a:gd name="connsiteY2614" fmla="*/ 9761 h 10000"/>
                <a:gd name="connsiteX2615" fmla="*/ 1171 w 10354"/>
                <a:gd name="connsiteY2615" fmla="*/ 9778 h 10000"/>
                <a:gd name="connsiteX2616" fmla="*/ 1175 w 10354"/>
                <a:gd name="connsiteY2616" fmla="*/ 9778 h 10000"/>
                <a:gd name="connsiteX2617" fmla="*/ 1189 w 10354"/>
                <a:gd name="connsiteY2617" fmla="*/ 9778 h 10000"/>
                <a:gd name="connsiteX2618" fmla="*/ 1198 w 10354"/>
                <a:gd name="connsiteY2618" fmla="*/ 9786 h 10000"/>
                <a:gd name="connsiteX2619" fmla="*/ 1203 w 10354"/>
                <a:gd name="connsiteY2619" fmla="*/ 9803 h 10000"/>
                <a:gd name="connsiteX2620" fmla="*/ 1198 w 10354"/>
                <a:gd name="connsiteY2620" fmla="*/ 9838 h 10000"/>
                <a:gd name="connsiteX2621" fmla="*/ 1212 w 10354"/>
                <a:gd name="connsiteY2621" fmla="*/ 9863 h 10000"/>
                <a:gd name="connsiteX2622" fmla="*/ 1230 w 10354"/>
                <a:gd name="connsiteY2622" fmla="*/ 9872 h 10000"/>
                <a:gd name="connsiteX2623" fmla="*/ 1249 w 10354"/>
                <a:gd name="connsiteY2623" fmla="*/ 9897 h 10000"/>
                <a:gd name="connsiteX2624" fmla="*/ 1263 w 10354"/>
                <a:gd name="connsiteY2624" fmla="*/ 9897 h 10000"/>
                <a:gd name="connsiteX2625" fmla="*/ 1276 w 10354"/>
                <a:gd name="connsiteY2625" fmla="*/ 9923 h 10000"/>
                <a:gd name="connsiteX2626" fmla="*/ 1281 w 10354"/>
                <a:gd name="connsiteY2626" fmla="*/ 9949 h 10000"/>
                <a:gd name="connsiteX2627" fmla="*/ 1290 w 10354"/>
                <a:gd name="connsiteY2627" fmla="*/ 9949 h 10000"/>
                <a:gd name="connsiteX2628" fmla="*/ 1295 w 10354"/>
                <a:gd name="connsiteY2628" fmla="*/ 10000 h 10000"/>
                <a:gd name="connsiteX2629" fmla="*/ 1332 w 10354"/>
                <a:gd name="connsiteY2629" fmla="*/ 10000 h 10000"/>
                <a:gd name="connsiteX2630" fmla="*/ 1336 w 10354"/>
                <a:gd name="connsiteY2630" fmla="*/ 10000 h 10000"/>
                <a:gd name="connsiteX2631" fmla="*/ 1346 w 10354"/>
                <a:gd name="connsiteY2631" fmla="*/ 9983 h 10000"/>
                <a:gd name="connsiteX2632" fmla="*/ 1350 w 10354"/>
                <a:gd name="connsiteY2632" fmla="*/ 9949 h 10000"/>
                <a:gd name="connsiteX2633" fmla="*/ 1369 w 10354"/>
                <a:gd name="connsiteY2633" fmla="*/ 9940 h 10000"/>
                <a:gd name="connsiteX2634" fmla="*/ 1378 w 10354"/>
                <a:gd name="connsiteY2634" fmla="*/ 9897 h 10000"/>
                <a:gd name="connsiteX2635" fmla="*/ 1369 w 10354"/>
                <a:gd name="connsiteY2635" fmla="*/ 9889 h 10000"/>
                <a:gd name="connsiteX2636" fmla="*/ 1318 w 10354"/>
                <a:gd name="connsiteY2636" fmla="*/ 9701 h 10000"/>
                <a:gd name="connsiteX2637" fmla="*/ 1318 w 10354"/>
                <a:gd name="connsiteY2637" fmla="*/ 9650 h 10000"/>
                <a:gd name="connsiteX2638" fmla="*/ 1323 w 10354"/>
                <a:gd name="connsiteY2638" fmla="*/ 9590 h 10000"/>
                <a:gd name="connsiteX2639" fmla="*/ 1323 w 10354"/>
                <a:gd name="connsiteY2639" fmla="*/ 9564 h 10000"/>
                <a:gd name="connsiteX2640" fmla="*/ 1309 w 10354"/>
                <a:gd name="connsiteY2640" fmla="*/ 9598 h 10000"/>
                <a:gd name="connsiteX2641" fmla="*/ 1309 w 10354"/>
                <a:gd name="connsiteY2641" fmla="*/ 9590 h 10000"/>
                <a:gd name="connsiteX2642" fmla="*/ 1304 w 10354"/>
                <a:gd name="connsiteY2642" fmla="*/ 9547 h 10000"/>
                <a:gd name="connsiteX2643" fmla="*/ 1276 w 10354"/>
                <a:gd name="connsiteY2643" fmla="*/ 9479 h 10000"/>
                <a:gd name="connsiteX2644" fmla="*/ 1263 w 10354"/>
                <a:gd name="connsiteY2644" fmla="*/ 9479 h 10000"/>
                <a:gd name="connsiteX2645" fmla="*/ 1263 w 10354"/>
                <a:gd name="connsiteY2645" fmla="*/ 9453 h 10000"/>
                <a:gd name="connsiteX2646" fmla="*/ 1272 w 10354"/>
                <a:gd name="connsiteY2646" fmla="*/ 9410 h 10000"/>
                <a:gd name="connsiteX2647" fmla="*/ 1272 w 10354"/>
                <a:gd name="connsiteY2647" fmla="*/ 9393 h 10000"/>
                <a:gd name="connsiteX2648" fmla="*/ 1281 w 10354"/>
                <a:gd name="connsiteY2648" fmla="*/ 9368 h 10000"/>
                <a:gd name="connsiteX2649" fmla="*/ 1281 w 10354"/>
                <a:gd name="connsiteY2649" fmla="*/ 9368 h 10000"/>
                <a:gd name="connsiteX2650" fmla="*/ 1290 w 10354"/>
                <a:gd name="connsiteY2650" fmla="*/ 9368 h 10000"/>
                <a:gd name="connsiteX2651" fmla="*/ 1290 w 10354"/>
                <a:gd name="connsiteY2651" fmla="*/ 9342 h 10000"/>
                <a:gd name="connsiteX2652" fmla="*/ 1304 w 10354"/>
                <a:gd name="connsiteY2652" fmla="*/ 9325 h 10000"/>
                <a:gd name="connsiteX2653" fmla="*/ 1309 w 10354"/>
                <a:gd name="connsiteY2653" fmla="*/ 9239 h 10000"/>
                <a:gd name="connsiteX2654" fmla="*/ 1318 w 10354"/>
                <a:gd name="connsiteY2654" fmla="*/ 9256 h 10000"/>
                <a:gd name="connsiteX2655" fmla="*/ 1323 w 10354"/>
                <a:gd name="connsiteY2655" fmla="*/ 9179 h 10000"/>
                <a:gd name="connsiteX2656" fmla="*/ 1309 w 10354"/>
                <a:gd name="connsiteY2656" fmla="*/ 9145 h 10000"/>
                <a:gd name="connsiteX2657" fmla="*/ 1336 w 10354"/>
                <a:gd name="connsiteY2657" fmla="*/ 9154 h 10000"/>
                <a:gd name="connsiteX2658" fmla="*/ 1336 w 10354"/>
                <a:gd name="connsiteY2658" fmla="*/ 9162 h 10000"/>
                <a:gd name="connsiteX2659" fmla="*/ 1350 w 10354"/>
                <a:gd name="connsiteY2659" fmla="*/ 9231 h 10000"/>
                <a:gd name="connsiteX2660" fmla="*/ 1355 w 10354"/>
                <a:gd name="connsiteY2660" fmla="*/ 9231 h 10000"/>
                <a:gd name="connsiteX2661" fmla="*/ 1364 w 10354"/>
                <a:gd name="connsiteY2661" fmla="*/ 9214 h 10000"/>
                <a:gd name="connsiteX2662" fmla="*/ 1369 w 10354"/>
                <a:gd name="connsiteY2662" fmla="*/ 9214 h 10000"/>
                <a:gd name="connsiteX2663" fmla="*/ 1382 w 10354"/>
                <a:gd name="connsiteY2663" fmla="*/ 9154 h 10000"/>
                <a:gd name="connsiteX2664" fmla="*/ 1396 w 10354"/>
                <a:gd name="connsiteY2664" fmla="*/ 9154 h 10000"/>
                <a:gd name="connsiteX2665" fmla="*/ 1382 w 10354"/>
                <a:gd name="connsiteY2665" fmla="*/ 9145 h 10000"/>
                <a:gd name="connsiteX2666" fmla="*/ 1382 w 10354"/>
                <a:gd name="connsiteY2666" fmla="*/ 9128 h 10000"/>
                <a:gd name="connsiteX2667" fmla="*/ 1369 w 10354"/>
                <a:gd name="connsiteY2667" fmla="*/ 9128 h 10000"/>
                <a:gd name="connsiteX2668" fmla="*/ 1364 w 10354"/>
                <a:gd name="connsiteY2668" fmla="*/ 9128 h 10000"/>
                <a:gd name="connsiteX2669" fmla="*/ 1355 w 10354"/>
                <a:gd name="connsiteY2669" fmla="*/ 9120 h 10000"/>
                <a:gd name="connsiteX2670" fmla="*/ 1350 w 10354"/>
                <a:gd name="connsiteY2670" fmla="*/ 9103 h 10000"/>
                <a:gd name="connsiteX2671" fmla="*/ 1355 w 10354"/>
                <a:gd name="connsiteY2671" fmla="*/ 9094 h 10000"/>
                <a:gd name="connsiteX2672" fmla="*/ 1355 w 10354"/>
                <a:gd name="connsiteY2672" fmla="*/ 9068 h 10000"/>
                <a:gd name="connsiteX2673" fmla="*/ 1369 w 10354"/>
                <a:gd name="connsiteY2673" fmla="*/ 9068 h 10000"/>
                <a:gd name="connsiteX2674" fmla="*/ 1378 w 10354"/>
                <a:gd name="connsiteY2674" fmla="*/ 9077 h 10000"/>
                <a:gd name="connsiteX2675" fmla="*/ 1396 w 10354"/>
                <a:gd name="connsiteY2675" fmla="*/ 9068 h 10000"/>
                <a:gd name="connsiteX2676" fmla="*/ 1382 w 10354"/>
                <a:gd name="connsiteY2676" fmla="*/ 8940 h 10000"/>
                <a:gd name="connsiteX2677" fmla="*/ 1378 w 10354"/>
                <a:gd name="connsiteY2677" fmla="*/ 8940 h 10000"/>
                <a:gd name="connsiteX2678" fmla="*/ 1364 w 10354"/>
                <a:gd name="connsiteY2678" fmla="*/ 8889 h 10000"/>
                <a:gd name="connsiteX2679" fmla="*/ 1355 w 10354"/>
                <a:gd name="connsiteY2679" fmla="*/ 8880 h 10000"/>
                <a:gd name="connsiteX2680" fmla="*/ 1323 w 10354"/>
                <a:gd name="connsiteY2680" fmla="*/ 8880 h 10000"/>
                <a:gd name="connsiteX2681" fmla="*/ 1309 w 10354"/>
                <a:gd name="connsiteY2681" fmla="*/ 8880 h 10000"/>
                <a:gd name="connsiteX2682" fmla="*/ 1309 w 10354"/>
                <a:gd name="connsiteY2682" fmla="*/ 8889 h 10000"/>
                <a:gd name="connsiteX2683" fmla="*/ 1295 w 10354"/>
                <a:gd name="connsiteY2683" fmla="*/ 8872 h 10000"/>
                <a:gd name="connsiteX2684" fmla="*/ 1290 w 10354"/>
                <a:gd name="connsiteY2684" fmla="*/ 8855 h 10000"/>
                <a:gd name="connsiteX2685" fmla="*/ 1290 w 10354"/>
                <a:gd name="connsiteY2685" fmla="*/ 8829 h 10000"/>
                <a:gd name="connsiteX2686" fmla="*/ 1290 w 10354"/>
                <a:gd name="connsiteY2686" fmla="*/ 8821 h 10000"/>
                <a:gd name="connsiteX2687" fmla="*/ 1290 w 10354"/>
                <a:gd name="connsiteY2687" fmla="*/ 8803 h 10000"/>
                <a:gd name="connsiteX2688" fmla="*/ 1281 w 10354"/>
                <a:gd name="connsiteY2688" fmla="*/ 8795 h 10000"/>
                <a:gd name="connsiteX2689" fmla="*/ 1249 w 10354"/>
                <a:gd name="connsiteY2689" fmla="*/ 8769 h 10000"/>
                <a:gd name="connsiteX2690" fmla="*/ 1263 w 10354"/>
                <a:gd name="connsiteY2690" fmla="*/ 8667 h 10000"/>
                <a:gd name="connsiteX2691" fmla="*/ 1281 w 10354"/>
                <a:gd name="connsiteY2691" fmla="*/ 8658 h 10000"/>
                <a:gd name="connsiteX2692" fmla="*/ 1290 w 10354"/>
                <a:gd name="connsiteY2692" fmla="*/ 8632 h 10000"/>
                <a:gd name="connsiteX2693" fmla="*/ 1281 w 10354"/>
                <a:gd name="connsiteY2693" fmla="*/ 8615 h 10000"/>
                <a:gd name="connsiteX2694" fmla="*/ 1272 w 10354"/>
                <a:gd name="connsiteY2694" fmla="*/ 8598 h 10000"/>
                <a:gd name="connsiteX2695" fmla="*/ 1281 w 10354"/>
                <a:gd name="connsiteY2695" fmla="*/ 8496 h 10000"/>
                <a:gd name="connsiteX2696" fmla="*/ 1295 w 10354"/>
                <a:gd name="connsiteY2696" fmla="*/ 8470 h 10000"/>
                <a:gd name="connsiteX2697" fmla="*/ 1304 w 10354"/>
                <a:gd name="connsiteY2697" fmla="*/ 8462 h 10000"/>
                <a:gd name="connsiteX2698" fmla="*/ 1304 w 10354"/>
                <a:gd name="connsiteY2698" fmla="*/ 8444 h 10000"/>
                <a:gd name="connsiteX2699" fmla="*/ 1304 w 10354"/>
                <a:gd name="connsiteY2699" fmla="*/ 8419 h 10000"/>
                <a:gd name="connsiteX2700" fmla="*/ 1304 w 10354"/>
                <a:gd name="connsiteY2700" fmla="*/ 8410 h 10000"/>
                <a:gd name="connsiteX2701" fmla="*/ 1309 w 10354"/>
                <a:gd name="connsiteY2701" fmla="*/ 8393 h 10000"/>
                <a:gd name="connsiteX2702" fmla="*/ 1318 w 10354"/>
                <a:gd name="connsiteY2702" fmla="*/ 8385 h 10000"/>
                <a:gd name="connsiteX2703" fmla="*/ 1323 w 10354"/>
                <a:gd name="connsiteY2703" fmla="*/ 8385 h 10000"/>
                <a:gd name="connsiteX2704" fmla="*/ 1332 w 10354"/>
                <a:gd name="connsiteY2704" fmla="*/ 8410 h 10000"/>
                <a:gd name="connsiteX2705" fmla="*/ 1346 w 10354"/>
                <a:gd name="connsiteY2705" fmla="*/ 8419 h 10000"/>
                <a:gd name="connsiteX2706" fmla="*/ 1364 w 10354"/>
                <a:gd name="connsiteY2706" fmla="*/ 8504 h 10000"/>
                <a:gd name="connsiteX2707" fmla="*/ 1369 w 10354"/>
                <a:gd name="connsiteY2707" fmla="*/ 8521 h 10000"/>
                <a:gd name="connsiteX2708" fmla="*/ 1406 w 10354"/>
                <a:gd name="connsiteY2708" fmla="*/ 8470 h 10000"/>
                <a:gd name="connsiteX2709" fmla="*/ 1382 w 10354"/>
                <a:gd name="connsiteY2709" fmla="*/ 8359 h 10000"/>
                <a:gd name="connsiteX2710" fmla="*/ 1392 w 10354"/>
                <a:gd name="connsiteY2710" fmla="*/ 8359 h 10000"/>
                <a:gd name="connsiteX2711" fmla="*/ 1438 w 10354"/>
                <a:gd name="connsiteY2711" fmla="*/ 8308 h 10000"/>
                <a:gd name="connsiteX2712" fmla="*/ 1442 w 10354"/>
                <a:gd name="connsiteY2712" fmla="*/ 8299 h 10000"/>
                <a:gd name="connsiteX2713" fmla="*/ 1442 w 10354"/>
                <a:gd name="connsiteY2713" fmla="*/ 8256 h 10000"/>
                <a:gd name="connsiteX2714" fmla="*/ 1452 w 10354"/>
                <a:gd name="connsiteY2714" fmla="*/ 8256 h 10000"/>
                <a:gd name="connsiteX2715" fmla="*/ 1456 w 10354"/>
                <a:gd name="connsiteY2715" fmla="*/ 8256 h 10000"/>
                <a:gd name="connsiteX2716" fmla="*/ 1470 w 10354"/>
                <a:gd name="connsiteY2716" fmla="*/ 8248 h 10000"/>
                <a:gd name="connsiteX2717" fmla="*/ 1479 w 10354"/>
                <a:gd name="connsiteY2717" fmla="*/ 8231 h 10000"/>
                <a:gd name="connsiteX2718" fmla="*/ 1493 w 10354"/>
                <a:gd name="connsiteY2718" fmla="*/ 8222 h 10000"/>
                <a:gd name="connsiteX2719" fmla="*/ 1498 w 10354"/>
                <a:gd name="connsiteY2719" fmla="*/ 8214 h 10000"/>
                <a:gd name="connsiteX2720" fmla="*/ 1502 w 10354"/>
                <a:gd name="connsiteY2720" fmla="*/ 8197 h 10000"/>
                <a:gd name="connsiteX2721" fmla="*/ 1512 w 10354"/>
                <a:gd name="connsiteY2721" fmla="*/ 8188 h 10000"/>
                <a:gd name="connsiteX2722" fmla="*/ 1516 w 10354"/>
                <a:gd name="connsiteY2722" fmla="*/ 8171 h 10000"/>
                <a:gd name="connsiteX2723" fmla="*/ 1525 w 10354"/>
                <a:gd name="connsiteY2723" fmla="*/ 8162 h 10000"/>
                <a:gd name="connsiteX2724" fmla="*/ 1539 w 10354"/>
                <a:gd name="connsiteY2724" fmla="*/ 8145 h 10000"/>
                <a:gd name="connsiteX2725" fmla="*/ 1558 w 10354"/>
                <a:gd name="connsiteY2725" fmla="*/ 8145 h 10000"/>
                <a:gd name="connsiteX2726" fmla="*/ 1562 w 10354"/>
                <a:gd name="connsiteY2726" fmla="*/ 8188 h 10000"/>
                <a:gd name="connsiteX2727" fmla="*/ 1585 w 10354"/>
                <a:gd name="connsiteY2727" fmla="*/ 8171 h 10000"/>
                <a:gd name="connsiteX2728" fmla="*/ 1590 w 10354"/>
                <a:gd name="connsiteY2728" fmla="*/ 8188 h 10000"/>
                <a:gd name="connsiteX2729" fmla="*/ 1599 w 10354"/>
                <a:gd name="connsiteY2729" fmla="*/ 8171 h 10000"/>
                <a:gd name="connsiteX2730" fmla="*/ 1599 w 10354"/>
                <a:gd name="connsiteY2730" fmla="*/ 8162 h 10000"/>
                <a:gd name="connsiteX2731" fmla="*/ 1604 w 10354"/>
                <a:gd name="connsiteY2731" fmla="*/ 8137 h 10000"/>
                <a:gd name="connsiteX2732" fmla="*/ 1618 w 10354"/>
                <a:gd name="connsiteY2732" fmla="*/ 8145 h 10000"/>
                <a:gd name="connsiteX2733" fmla="*/ 1627 w 10354"/>
                <a:gd name="connsiteY2733" fmla="*/ 8137 h 10000"/>
                <a:gd name="connsiteX2734" fmla="*/ 1631 w 10354"/>
                <a:gd name="connsiteY2734" fmla="*/ 8137 h 10000"/>
                <a:gd name="connsiteX2735" fmla="*/ 1636 w 10354"/>
                <a:gd name="connsiteY2735" fmla="*/ 8171 h 10000"/>
                <a:gd name="connsiteX2736" fmla="*/ 1645 w 10354"/>
                <a:gd name="connsiteY2736" fmla="*/ 8188 h 10000"/>
                <a:gd name="connsiteX2737" fmla="*/ 1664 w 10354"/>
                <a:gd name="connsiteY2737" fmla="*/ 8171 h 10000"/>
                <a:gd name="connsiteX2738" fmla="*/ 1673 w 10354"/>
                <a:gd name="connsiteY2738" fmla="*/ 8188 h 10000"/>
                <a:gd name="connsiteX2739" fmla="*/ 1691 w 10354"/>
                <a:gd name="connsiteY2739" fmla="*/ 8171 h 10000"/>
                <a:gd name="connsiteX2740" fmla="*/ 1705 w 10354"/>
                <a:gd name="connsiteY2740" fmla="*/ 8171 h 10000"/>
                <a:gd name="connsiteX2741" fmla="*/ 1719 w 10354"/>
                <a:gd name="connsiteY2741" fmla="*/ 8197 h 10000"/>
                <a:gd name="connsiteX2742" fmla="*/ 1724 w 10354"/>
                <a:gd name="connsiteY2742" fmla="*/ 8231 h 10000"/>
                <a:gd name="connsiteX2743" fmla="*/ 1751 w 10354"/>
                <a:gd name="connsiteY2743" fmla="*/ 8256 h 10000"/>
                <a:gd name="connsiteX2744" fmla="*/ 1751 w 10354"/>
                <a:gd name="connsiteY2744" fmla="*/ 8274 h 10000"/>
                <a:gd name="connsiteX2745" fmla="*/ 1760 w 10354"/>
                <a:gd name="connsiteY2745" fmla="*/ 8282 h 10000"/>
                <a:gd name="connsiteX2746" fmla="*/ 1770 w 10354"/>
                <a:gd name="connsiteY2746" fmla="*/ 8325 h 10000"/>
                <a:gd name="connsiteX2747" fmla="*/ 1770 w 10354"/>
                <a:gd name="connsiteY2747" fmla="*/ 8350 h 10000"/>
                <a:gd name="connsiteX2748" fmla="*/ 1779 w 10354"/>
                <a:gd name="connsiteY2748" fmla="*/ 8368 h 10000"/>
                <a:gd name="connsiteX2749" fmla="*/ 1783 w 10354"/>
                <a:gd name="connsiteY2749" fmla="*/ 8359 h 10000"/>
                <a:gd name="connsiteX2750" fmla="*/ 1783 w 10354"/>
                <a:gd name="connsiteY2750" fmla="*/ 8308 h 10000"/>
                <a:gd name="connsiteX2751" fmla="*/ 1779 w 10354"/>
                <a:gd name="connsiteY2751" fmla="*/ 8299 h 10000"/>
                <a:gd name="connsiteX2752" fmla="*/ 1783 w 10354"/>
                <a:gd name="connsiteY2752" fmla="*/ 8282 h 10000"/>
                <a:gd name="connsiteX2753" fmla="*/ 1797 w 10354"/>
                <a:gd name="connsiteY2753" fmla="*/ 8274 h 10000"/>
                <a:gd name="connsiteX2754" fmla="*/ 1797 w 10354"/>
                <a:gd name="connsiteY2754" fmla="*/ 8299 h 10000"/>
                <a:gd name="connsiteX2755" fmla="*/ 1806 w 10354"/>
                <a:gd name="connsiteY2755" fmla="*/ 8308 h 10000"/>
                <a:gd name="connsiteX2756" fmla="*/ 1811 w 10354"/>
                <a:gd name="connsiteY2756" fmla="*/ 8325 h 10000"/>
                <a:gd name="connsiteX2757" fmla="*/ 1820 w 10354"/>
                <a:gd name="connsiteY2757" fmla="*/ 8333 h 10000"/>
                <a:gd name="connsiteX2758" fmla="*/ 1853 w 10354"/>
                <a:gd name="connsiteY2758" fmla="*/ 8359 h 10000"/>
                <a:gd name="connsiteX2759" fmla="*/ 1866 w 10354"/>
                <a:gd name="connsiteY2759" fmla="*/ 8359 h 10000"/>
                <a:gd name="connsiteX2760" fmla="*/ 1885 w 10354"/>
                <a:gd name="connsiteY2760" fmla="*/ 8325 h 10000"/>
                <a:gd name="connsiteX2761" fmla="*/ 1885 w 10354"/>
                <a:gd name="connsiteY2761" fmla="*/ 8308 h 10000"/>
                <a:gd name="connsiteX2762" fmla="*/ 1894 w 10354"/>
                <a:gd name="connsiteY2762" fmla="*/ 8299 h 10000"/>
                <a:gd name="connsiteX2763" fmla="*/ 1899 w 10354"/>
                <a:gd name="connsiteY2763" fmla="*/ 8282 h 10000"/>
                <a:gd name="connsiteX2764" fmla="*/ 1912 w 10354"/>
                <a:gd name="connsiteY2764" fmla="*/ 8282 h 10000"/>
                <a:gd name="connsiteX2765" fmla="*/ 1917 w 10354"/>
                <a:gd name="connsiteY2765" fmla="*/ 8299 h 10000"/>
                <a:gd name="connsiteX2766" fmla="*/ 1917 w 10354"/>
                <a:gd name="connsiteY2766" fmla="*/ 8274 h 10000"/>
                <a:gd name="connsiteX2767" fmla="*/ 1940 w 10354"/>
                <a:gd name="connsiteY2767" fmla="*/ 8282 h 10000"/>
                <a:gd name="connsiteX2768" fmla="*/ 1945 w 10354"/>
                <a:gd name="connsiteY2768" fmla="*/ 8274 h 10000"/>
                <a:gd name="connsiteX2769" fmla="*/ 1972 w 10354"/>
                <a:gd name="connsiteY2769" fmla="*/ 8308 h 10000"/>
                <a:gd name="connsiteX2770" fmla="*/ 1986 w 10354"/>
                <a:gd name="connsiteY2770" fmla="*/ 8282 h 10000"/>
                <a:gd name="connsiteX2771" fmla="*/ 1991 w 10354"/>
                <a:gd name="connsiteY2771" fmla="*/ 8274 h 10000"/>
                <a:gd name="connsiteX2772" fmla="*/ 2014 w 10354"/>
                <a:gd name="connsiteY2772" fmla="*/ 8274 h 10000"/>
                <a:gd name="connsiteX2773" fmla="*/ 2018 w 10354"/>
                <a:gd name="connsiteY2773" fmla="*/ 8256 h 10000"/>
                <a:gd name="connsiteX2774" fmla="*/ 2041 w 10354"/>
                <a:gd name="connsiteY2774" fmla="*/ 8274 h 10000"/>
                <a:gd name="connsiteX2775" fmla="*/ 2046 w 10354"/>
                <a:gd name="connsiteY2775" fmla="*/ 8282 h 10000"/>
                <a:gd name="connsiteX2776" fmla="*/ 2046 w 10354"/>
                <a:gd name="connsiteY2776" fmla="*/ 8325 h 10000"/>
                <a:gd name="connsiteX2777" fmla="*/ 2060 w 10354"/>
                <a:gd name="connsiteY2777" fmla="*/ 8350 h 10000"/>
                <a:gd name="connsiteX2778" fmla="*/ 2078 w 10354"/>
                <a:gd name="connsiteY2778" fmla="*/ 8350 h 10000"/>
                <a:gd name="connsiteX2779" fmla="*/ 2092 w 10354"/>
                <a:gd name="connsiteY2779" fmla="*/ 8350 h 10000"/>
                <a:gd name="connsiteX2780" fmla="*/ 2092 w 10354"/>
                <a:gd name="connsiteY2780" fmla="*/ 8350 h 10000"/>
                <a:gd name="connsiteX2781" fmla="*/ 2101 w 10354"/>
                <a:gd name="connsiteY2781" fmla="*/ 8368 h 10000"/>
                <a:gd name="connsiteX2782" fmla="*/ 2120 w 10354"/>
                <a:gd name="connsiteY2782" fmla="*/ 8368 h 10000"/>
                <a:gd name="connsiteX2783" fmla="*/ 2124 w 10354"/>
                <a:gd name="connsiteY2783" fmla="*/ 8359 h 10000"/>
                <a:gd name="connsiteX2784" fmla="*/ 2138 w 10354"/>
                <a:gd name="connsiteY2784" fmla="*/ 8325 h 10000"/>
                <a:gd name="connsiteX2785" fmla="*/ 2147 w 10354"/>
                <a:gd name="connsiteY2785" fmla="*/ 8325 h 10000"/>
                <a:gd name="connsiteX2786" fmla="*/ 2161 w 10354"/>
                <a:gd name="connsiteY2786" fmla="*/ 8350 h 10000"/>
                <a:gd name="connsiteX2787" fmla="*/ 2198 w 10354"/>
                <a:gd name="connsiteY2787" fmla="*/ 8350 h 10000"/>
                <a:gd name="connsiteX2788" fmla="*/ 2207 w 10354"/>
                <a:gd name="connsiteY2788" fmla="*/ 8333 h 10000"/>
                <a:gd name="connsiteX2789" fmla="*/ 2226 w 10354"/>
                <a:gd name="connsiteY2789" fmla="*/ 8325 h 10000"/>
                <a:gd name="connsiteX2790" fmla="*/ 2249 w 10354"/>
                <a:gd name="connsiteY2790" fmla="*/ 8222 h 10000"/>
                <a:gd name="connsiteX2791" fmla="*/ 2235 w 10354"/>
                <a:gd name="connsiteY2791" fmla="*/ 8197 h 10000"/>
                <a:gd name="connsiteX2792" fmla="*/ 2198 w 10354"/>
                <a:gd name="connsiteY2792" fmla="*/ 8197 h 10000"/>
                <a:gd name="connsiteX2793" fmla="*/ 2189 w 10354"/>
                <a:gd name="connsiteY2793" fmla="*/ 8171 h 10000"/>
                <a:gd name="connsiteX2794" fmla="*/ 2161 w 10354"/>
                <a:gd name="connsiteY2794" fmla="*/ 8145 h 10000"/>
                <a:gd name="connsiteX2795" fmla="*/ 2161 w 10354"/>
                <a:gd name="connsiteY2795" fmla="*/ 8137 h 10000"/>
                <a:gd name="connsiteX2796" fmla="*/ 2152 w 10354"/>
                <a:gd name="connsiteY2796" fmla="*/ 8120 h 10000"/>
                <a:gd name="connsiteX2797" fmla="*/ 2138 w 10354"/>
                <a:gd name="connsiteY2797" fmla="*/ 8111 h 10000"/>
                <a:gd name="connsiteX2798" fmla="*/ 2138 w 10354"/>
                <a:gd name="connsiteY2798" fmla="*/ 8094 h 10000"/>
                <a:gd name="connsiteX2799" fmla="*/ 2147 w 10354"/>
                <a:gd name="connsiteY2799" fmla="*/ 8085 h 10000"/>
                <a:gd name="connsiteX2800" fmla="*/ 2161 w 10354"/>
                <a:gd name="connsiteY2800" fmla="*/ 8060 h 10000"/>
                <a:gd name="connsiteX2801" fmla="*/ 2198 w 10354"/>
                <a:gd name="connsiteY2801" fmla="*/ 8034 h 10000"/>
                <a:gd name="connsiteX2802" fmla="*/ 2198 w 10354"/>
                <a:gd name="connsiteY2802" fmla="*/ 8026 h 10000"/>
                <a:gd name="connsiteX2803" fmla="*/ 2198 w 10354"/>
                <a:gd name="connsiteY2803" fmla="*/ 8000 h 10000"/>
                <a:gd name="connsiteX2804" fmla="*/ 2180 w 10354"/>
                <a:gd name="connsiteY2804" fmla="*/ 7940 h 10000"/>
                <a:gd name="connsiteX2805" fmla="*/ 2189 w 10354"/>
                <a:gd name="connsiteY2805" fmla="*/ 7940 h 10000"/>
                <a:gd name="connsiteX2806" fmla="*/ 2198 w 10354"/>
                <a:gd name="connsiteY2806" fmla="*/ 7923 h 10000"/>
                <a:gd name="connsiteX2807" fmla="*/ 2198 w 10354"/>
                <a:gd name="connsiteY2807" fmla="*/ 7897 h 10000"/>
                <a:gd name="connsiteX2808" fmla="*/ 2207 w 10354"/>
                <a:gd name="connsiteY2808" fmla="*/ 7889 h 10000"/>
                <a:gd name="connsiteX2809" fmla="*/ 2221 w 10354"/>
                <a:gd name="connsiteY2809" fmla="*/ 7889 h 10000"/>
                <a:gd name="connsiteX2810" fmla="*/ 2226 w 10354"/>
                <a:gd name="connsiteY2810" fmla="*/ 7897 h 10000"/>
                <a:gd name="connsiteX2811" fmla="*/ 2235 w 10354"/>
                <a:gd name="connsiteY2811" fmla="*/ 7889 h 10000"/>
                <a:gd name="connsiteX2812" fmla="*/ 2249 w 10354"/>
                <a:gd name="connsiteY2812" fmla="*/ 7897 h 10000"/>
                <a:gd name="connsiteX2813" fmla="*/ 2267 w 10354"/>
                <a:gd name="connsiteY2813" fmla="*/ 7897 h 10000"/>
                <a:gd name="connsiteX2814" fmla="*/ 2272 w 10354"/>
                <a:gd name="connsiteY2814" fmla="*/ 7889 h 10000"/>
                <a:gd name="connsiteX2815" fmla="*/ 2281 w 10354"/>
                <a:gd name="connsiteY2815" fmla="*/ 7872 h 10000"/>
                <a:gd name="connsiteX2816" fmla="*/ 2272 w 10354"/>
                <a:gd name="connsiteY2816" fmla="*/ 7846 h 10000"/>
                <a:gd name="connsiteX2817" fmla="*/ 2253 w 10354"/>
                <a:gd name="connsiteY2817" fmla="*/ 7838 h 10000"/>
                <a:gd name="connsiteX2818" fmla="*/ 2221 w 10354"/>
                <a:gd name="connsiteY2818" fmla="*/ 7821 h 10000"/>
                <a:gd name="connsiteX2819" fmla="*/ 2212 w 10354"/>
                <a:gd name="connsiteY2819" fmla="*/ 7812 h 10000"/>
                <a:gd name="connsiteX2820" fmla="*/ 2212 w 10354"/>
                <a:gd name="connsiteY2820" fmla="*/ 7803 h 10000"/>
                <a:gd name="connsiteX2821" fmla="*/ 2221 w 10354"/>
                <a:gd name="connsiteY2821" fmla="*/ 7803 h 10000"/>
                <a:gd name="connsiteX2822" fmla="*/ 2235 w 10354"/>
                <a:gd name="connsiteY2822" fmla="*/ 7786 h 10000"/>
                <a:gd name="connsiteX2823" fmla="*/ 2240 w 10354"/>
                <a:gd name="connsiteY2823" fmla="*/ 7778 h 10000"/>
                <a:gd name="connsiteX2824" fmla="*/ 2226 w 10354"/>
                <a:gd name="connsiteY2824" fmla="*/ 7761 h 10000"/>
                <a:gd name="connsiteX2825" fmla="*/ 2221 w 10354"/>
                <a:gd name="connsiteY2825" fmla="*/ 7778 h 10000"/>
                <a:gd name="connsiteX2826" fmla="*/ 2198 w 10354"/>
                <a:gd name="connsiteY2826" fmla="*/ 7778 h 10000"/>
                <a:gd name="connsiteX2827" fmla="*/ 2198 w 10354"/>
                <a:gd name="connsiteY2827" fmla="*/ 7752 h 10000"/>
                <a:gd name="connsiteX2828" fmla="*/ 2207 w 10354"/>
                <a:gd name="connsiteY2828" fmla="*/ 7735 h 10000"/>
                <a:gd name="connsiteX2829" fmla="*/ 2212 w 10354"/>
                <a:gd name="connsiteY2829" fmla="*/ 7726 h 10000"/>
                <a:gd name="connsiteX2830" fmla="*/ 2198 w 10354"/>
                <a:gd name="connsiteY2830" fmla="*/ 7692 h 10000"/>
                <a:gd name="connsiteX2831" fmla="*/ 2221 w 10354"/>
                <a:gd name="connsiteY2831" fmla="*/ 7692 h 10000"/>
                <a:gd name="connsiteX2832" fmla="*/ 2221 w 10354"/>
                <a:gd name="connsiteY2832" fmla="*/ 7675 h 10000"/>
                <a:gd name="connsiteX2833" fmla="*/ 2235 w 10354"/>
                <a:gd name="connsiteY2833" fmla="*/ 7675 h 10000"/>
                <a:gd name="connsiteX2834" fmla="*/ 2240 w 10354"/>
                <a:gd name="connsiteY2834" fmla="*/ 7692 h 10000"/>
                <a:gd name="connsiteX2835" fmla="*/ 2249 w 10354"/>
                <a:gd name="connsiteY2835" fmla="*/ 7692 h 10000"/>
                <a:gd name="connsiteX2836" fmla="*/ 2258 w 10354"/>
                <a:gd name="connsiteY2836" fmla="*/ 7692 h 10000"/>
                <a:gd name="connsiteX2837" fmla="*/ 2267 w 10354"/>
                <a:gd name="connsiteY2837" fmla="*/ 7692 h 10000"/>
                <a:gd name="connsiteX2838" fmla="*/ 2295 w 10354"/>
                <a:gd name="connsiteY2838" fmla="*/ 7692 h 10000"/>
                <a:gd name="connsiteX2839" fmla="*/ 2300 w 10354"/>
                <a:gd name="connsiteY2839" fmla="*/ 7701 h 10000"/>
                <a:gd name="connsiteX2840" fmla="*/ 2313 w 10354"/>
                <a:gd name="connsiteY2840" fmla="*/ 7675 h 10000"/>
                <a:gd name="connsiteX2841" fmla="*/ 2323 w 10354"/>
                <a:gd name="connsiteY2841" fmla="*/ 7675 h 10000"/>
                <a:gd name="connsiteX2842" fmla="*/ 2341 w 10354"/>
                <a:gd name="connsiteY2842" fmla="*/ 7675 h 10000"/>
                <a:gd name="connsiteX2843" fmla="*/ 2346 w 10354"/>
                <a:gd name="connsiteY2843" fmla="*/ 7667 h 10000"/>
                <a:gd name="connsiteX2844" fmla="*/ 2359 w 10354"/>
                <a:gd name="connsiteY2844" fmla="*/ 7650 h 10000"/>
                <a:gd name="connsiteX2845" fmla="*/ 2373 w 10354"/>
                <a:gd name="connsiteY2845" fmla="*/ 7624 h 10000"/>
                <a:gd name="connsiteX2846" fmla="*/ 2382 w 10354"/>
                <a:gd name="connsiteY2846" fmla="*/ 7641 h 10000"/>
                <a:gd name="connsiteX2847" fmla="*/ 2396 w 10354"/>
                <a:gd name="connsiteY2847" fmla="*/ 7650 h 10000"/>
                <a:gd name="connsiteX2848" fmla="*/ 2401 w 10354"/>
                <a:gd name="connsiteY2848" fmla="*/ 7650 h 10000"/>
                <a:gd name="connsiteX2849" fmla="*/ 2401 w 10354"/>
                <a:gd name="connsiteY2849" fmla="*/ 7624 h 10000"/>
                <a:gd name="connsiteX2850" fmla="*/ 2419 w 10354"/>
                <a:gd name="connsiteY2850" fmla="*/ 7624 h 10000"/>
                <a:gd name="connsiteX2851" fmla="*/ 2433 w 10354"/>
                <a:gd name="connsiteY2851" fmla="*/ 7615 h 10000"/>
                <a:gd name="connsiteX2852" fmla="*/ 2442 w 10354"/>
                <a:gd name="connsiteY2852" fmla="*/ 7615 h 10000"/>
                <a:gd name="connsiteX2853" fmla="*/ 2447 w 10354"/>
                <a:gd name="connsiteY2853" fmla="*/ 7598 h 10000"/>
                <a:gd name="connsiteX2854" fmla="*/ 2461 w 10354"/>
                <a:gd name="connsiteY2854" fmla="*/ 7598 h 10000"/>
                <a:gd name="connsiteX2855" fmla="*/ 2465 w 10354"/>
                <a:gd name="connsiteY2855" fmla="*/ 7615 h 10000"/>
                <a:gd name="connsiteX2856" fmla="*/ 2479 w 10354"/>
                <a:gd name="connsiteY2856" fmla="*/ 7564 h 10000"/>
                <a:gd name="connsiteX2857" fmla="*/ 2488 w 10354"/>
                <a:gd name="connsiteY2857" fmla="*/ 7556 h 10000"/>
                <a:gd name="connsiteX2858" fmla="*/ 2493 w 10354"/>
                <a:gd name="connsiteY2858" fmla="*/ 7556 h 10000"/>
                <a:gd name="connsiteX2859" fmla="*/ 2507 w 10354"/>
                <a:gd name="connsiteY2859" fmla="*/ 7556 h 10000"/>
                <a:gd name="connsiteX2860" fmla="*/ 2530 w 10354"/>
                <a:gd name="connsiteY2860" fmla="*/ 7538 h 10000"/>
                <a:gd name="connsiteX2861" fmla="*/ 2530 w 10354"/>
                <a:gd name="connsiteY2861" fmla="*/ 7556 h 10000"/>
                <a:gd name="connsiteX2862" fmla="*/ 2641 w 10354"/>
                <a:gd name="connsiteY2862" fmla="*/ 7504 h 10000"/>
                <a:gd name="connsiteX2863" fmla="*/ 2654 w 10354"/>
                <a:gd name="connsiteY2863" fmla="*/ 7487 h 10000"/>
                <a:gd name="connsiteX2864" fmla="*/ 2664 w 10354"/>
                <a:gd name="connsiteY2864" fmla="*/ 7487 h 10000"/>
                <a:gd name="connsiteX2865" fmla="*/ 2668 w 10354"/>
                <a:gd name="connsiteY2865" fmla="*/ 7479 h 10000"/>
                <a:gd name="connsiteX2866" fmla="*/ 2673 w 10354"/>
                <a:gd name="connsiteY2866" fmla="*/ 7462 h 10000"/>
                <a:gd name="connsiteX2867" fmla="*/ 2673 w 10354"/>
                <a:gd name="connsiteY2867" fmla="*/ 7427 h 10000"/>
                <a:gd name="connsiteX2868" fmla="*/ 2687 w 10354"/>
                <a:gd name="connsiteY2868" fmla="*/ 7436 h 10000"/>
                <a:gd name="connsiteX2869" fmla="*/ 2696 w 10354"/>
                <a:gd name="connsiteY2869" fmla="*/ 7427 h 10000"/>
                <a:gd name="connsiteX2870" fmla="*/ 2700 w 10354"/>
                <a:gd name="connsiteY2870" fmla="*/ 7419 h 10000"/>
                <a:gd name="connsiteX2871" fmla="*/ 2710 w 10354"/>
                <a:gd name="connsiteY2871" fmla="*/ 7402 h 10000"/>
                <a:gd name="connsiteX2872" fmla="*/ 2724 w 10354"/>
                <a:gd name="connsiteY2872" fmla="*/ 7402 h 10000"/>
                <a:gd name="connsiteX2873" fmla="*/ 2724 w 10354"/>
                <a:gd name="connsiteY2873" fmla="*/ 7393 h 10000"/>
                <a:gd name="connsiteX2874" fmla="*/ 2737 w 10354"/>
                <a:gd name="connsiteY2874" fmla="*/ 7393 h 10000"/>
                <a:gd name="connsiteX2875" fmla="*/ 2742 w 10354"/>
                <a:gd name="connsiteY2875" fmla="*/ 7402 h 10000"/>
                <a:gd name="connsiteX2876" fmla="*/ 2747 w 10354"/>
                <a:gd name="connsiteY2876" fmla="*/ 7402 h 10000"/>
                <a:gd name="connsiteX2877" fmla="*/ 2760 w 10354"/>
                <a:gd name="connsiteY2877" fmla="*/ 7402 h 10000"/>
                <a:gd name="connsiteX2878" fmla="*/ 2770 w 10354"/>
                <a:gd name="connsiteY2878" fmla="*/ 7402 h 10000"/>
                <a:gd name="connsiteX2879" fmla="*/ 2774 w 10354"/>
                <a:gd name="connsiteY2879" fmla="*/ 7402 h 10000"/>
                <a:gd name="connsiteX2880" fmla="*/ 2783 w 10354"/>
                <a:gd name="connsiteY2880" fmla="*/ 7419 h 10000"/>
                <a:gd name="connsiteX2881" fmla="*/ 2802 w 10354"/>
                <a:gd name="connsiteY2881" fmla="*/ 7436 h 10000"/>
                <a:gd name="connsiteX2882" fmla="*/ 2816 w 10354"/>
                <a:gd name="connsiteY2882" fmla="*/ 7419 h 10000"/>
                <a:gd name="connsiteX2883" fmla="*/ 2834 w 10354"/>
                <a:gd name="connsiteY2883" fmla="*/ 7419 h 10000"/>
                <a:gd name="connsiteX2884" fmla="*/ 2843 w 10354"/>
                <a:gd name="connsiteY2884" fmla="*/ 7419 h 10000"/>
                <a:gd name="connsiteX2885" fmla="*/ 2848 w 10354"/>
                <a:gd name="connsiteY2885" fmla="*/ 7436 h 10000"/>
                <a:gd name="connsiteX2886" fmla="*/ 2857 w 10354"/>
                <a:gd name="connsiteY2886" fmla="*/ 7453 h 10000"/>
                <a:gd name="connsiteX2887" fmla="*/ 2857 w 10354"/>
                <a:gd name="connsiteY2887" fmla="*/ 7504 h 10000"/>
                <a:gd name="connsiteX2888" fmla="*/ 2862 w 10354"/>
                <a:gd name="connsiteY2888" fmla="*/ 7530 h 10000"/>
                <a:gd name="connsiteX2889" fmla="*/ 2876 w 10354"/>
                <a:gd name="connsiteY2889" fmla="*/ 7538 h 10000"/>
                <a:gd name="connsiteX2890" fmla="*/ 2871 w 10354"/>
                <a:gd name="connsiteY2890" fmla="*/ 7564 h 10000"/>
                <a:gd name="connsiteX2891" fmla="*/ 2871 w 10354"/>
                <a:gd name="connsiteY2891" fmla="*/ 7598 h 10000"/>
                <a:gd name="connsiteX2892" fmla="*/ 2857 w 10354"/>
                <a:gd name="connsiteY2892" fmla="*/ 7624 h 10000"/>
                <a:gd name="connsiteX2893" fmla="*/ 2862 w 10354"/>
                <a:gd name="connsiteY2893" fmla="*/ 7641 h 10000"/>
                <a:gd name="connsiteX2894" fmla="*/ 2871 w 10354"/>
                <a:gd name="connsiteY2894" fmla="*/ 7667 h 10000"/>
                <a:gd name="connsiteX2895" fmla="*/ 2880 w 10354"/>
                <a:gd name="connsiteY2895" fmla="*/ 7650 h 10000"/>
                <a:gd name="connsiteX2896" fmla="*/ 2894 w 10354"/>
                <a:gd name="connsiteY2896" fmla="*/ 7667 h 10000"/>
                <a:gd name="connsiteX2897" fmla="*/ 2903 w 10354"/>
                <a:gd name="connsiteY2897" fmla="*/ 7667 h 10000"/>
                <a:gd name="connsiteX2898" fmla="*/ 2908 w 10354"/>
                <a:gd name="connsiteY2898" fmla="*/ 7641 h 10000"/>
                <a:gd name="connsiteX2899" fmla="*/ 2917 w 10354"/>
                <a:gd name="connsiteY2899" fmla="*/ 7641 h 10000"/>
                <a:gd name="connsiteX2900" fmla="*/ 2922 w 10354"/>
                <a:gd name="connsiteY2900" fmla="*/ 7641 h 10000"/>
                <a:gd name="connsiteX2901" fmla="*/ 2931 w 10354"/>
                <a:gd name="connsiteY2901" fmla="*/ 7615 h 10000"/>
                <a:gd name="connsiteX2902" fmla="*/ 2935 w 10354"/>
                <a:gd name="connsiteY2902" fmla="*/ 7615 h 10000"/>
                <a:gd name="connsiteX2903" fmla="*/ 2945 w 10354"/>
                <a:gd name="connsiteY2903" fmla="*/ 7650 h 10000"/>
                <a:gd name="connsiteX2904" fmla="*/ 2949 w 10354"/>
                <a:gd name="connsiteY2904" fmla="*/ 7667 h 10000"/>
                <a:gd name="connsiteX2905" fmla="*/ 2949 w 10354"/>
                <a:gd name="connsiteY2905" fmla="*/ 7675 h 10000"/>
                <a:gd name="connsiteX2906" fmla="*/ 2945 w 10354"/>
                <a:gd name="connsiteY2906" fmla="*/ 7692 h 10000"/>
                <a:gd name="connsiteX2907" fmla="*/ 2963 w 10354"/>
                <a:gd name="connsiteY2907" fmla="*/ 7701 h 10000"/>
                <a:gd name="connsiteX2908" fmla="*/ 2963 w 10354"/>
                <a:gd name="connsiteY2908" fmla="*/ 7675 h 10000"/>
                <a:gd name="connsiteX2909" fmla="*/ 2954 w 10354"/>
                <a:gd name="connsiteY2909" fmla="*/ 7667 h 10000"/>
                <a:gd name="connsiteX2910" fmla="*/ 2963 w 10354"/>
                <a:gd name="connsiteY2910" fmla="*/ 7667 h 10000"/>
                <a:gd name="connsiteX2911" fmla="*/ 2982 w 10354"/>
                <a:gd name="connsiteY2911" fmla="*/ 7667 h 10000"/>
                <a:gd name="connsiteX2912" fmla="*/ 2991 w 10354"/>
                <a:gd name="connsiteY2912" fmla="*/ 7675 h 10000"/>
                <a:gd name="connsiteX2913" fmla="*/ 2995 w 10354"/>
                <a:gd name="connsiteY2913" fmla="*/ 7692 h 10000"/>
                <a:gd name="connsiteX2914" fmla="*/ 3009 w 10354"/>
                <a:gd name="connsiteY2914" fmla="*/ 7701 h 10000"/>
                <a:gd name="connsiteX2915" fmla="*/ 3018 w 10354"/>
                <a:gd name="connsiteY2915" fmla="*/ 7701 h 10000"/>
                <a:gd name="connsiteX2916" fmla="*/ 3023 w 10354"/>
                <a:gd name="connsiteY2916" fmla="*/ 7692 h 10000"/>
                <a:gd name="connsiteX2917" fmla="*/ 3028 w 10354"/>
                <a:gd name="connsiteY2917" fmla="*/ 7675 h 10000"/>
                <a:gd name="connsiteX2918" fmla="*/ 3037 w 10354"/>
                <a:gd name="connsiteY2918" fmla="*/ 7692 h 10000"/>
                <a:gd name="connsiteX2919" fmla="*/ 3028 w 10354"/>
                <a:gd name="connsiteY2919" fmla="*/ 7709 h 10000"/>
                <a:gd name="connsiteX2920" fmla="*/ 3023 w 10354"/>
                <a:gd name="connsiteY2920" fmla="*/ 7709 h 10000"/>
                <a:gd name="connsiteX2921" fmla="*/ 3018 w 10354"/>
                <a:gd name="connsiteY2921" fmla="*/ 7726 h 10000"/>
                <a:gd name="connsiteX2922" fmla="*/ 3009 w 10354"/>
                <a:gd name="connsiteY2922" fmla="*/ 7735 h 10000"/>
                <a:gd name="connsiteX2923" fmla="*/ 3009 w 10354"/>
                <a:gd name="connsiteY2923" fmla="*/ 7761 h 10000"/>
                <a:gd name="connsiteX2924" fmla="*/ 3009 w 10354"/>
                <a:gd name="connsiteY2924" fmla="*/ 7778 h 10000"/>
                <a:gd name="connsiteX2925" fmla="*/ 3018 w 10354"/>
                <a:gd name="connsiteY2925" fmla="*/ 7786 h 10000"/>
                <a:gd name="connsiteX2926" fmla="*/ 3023 w 10354"/>
                <a:gd name="connsiteY2926" fmla="*/ 7786 h 10000"/>
                <a:gd name="connsiteX2927" fmla="*/ 3028 w 10354"/>
                <a:gd name="connsiteY2927" fmla="*/ 7778 h 10000"/>
                <a:gd name="connsiteX2928" fmla="*/ 3051 w 10354"/>
                <a:gd name="connsiteY2928" fmla="*/ 7761 h 10000"/>
                <a:gd name="connsiteX2929" fmla="*/ 3055 w 10354"/>
                <a:gd name="connsiteY2929" fmla="*/ 7778 h 10000"/>
                <a:gd name="connsiteX2930" fmla="*/ 3065 w 10354"/>
                <a:gd name="connsiteY2930" fmla="*/ 7761 h 10000"/>
                <a:gd name="connsiteX2931" fmla="*/ 3069 w 10354"/>
                <a:gd name="connsiteY2931" fmla="*/ 7786 h 10000"/>
                <a:gd name="connsiteX2932" fmla="*/ 3083 w 10354"/>
                <a:gd name="connsiteY2932" fmla="*/ 7786 h 10000"/>
                <a:gd name="connsiteX2933" fmla="*/ 3078 w 10354"/>
                <a:gd name="connsiteY2933" fmla="*/ 7761 h 10000"/>
                <a:gd name="connsiteX2934" fmla="*/ 3083 w 10354"/>
                <a:gd name="connsiteY2934" fmla="*/ 7752 h 10000"/>
                <a:gd name="connsiteX2935" fmla="*/ 3097 w 10354"/>
                <a:gd name="connsiteY2935" fmla="*/ 7752 h 10000"/>
                <a:gd name="connsiteX2936" fmla="*/ 3111 w 10354"/>
                <a:gd name="connsiteY2936" fmla="*/ 7726 h 10000"/>
                <a:gd name="connsiteX2937" fmla="*/ 3124 w 10354"/>
                <a:gd name="connsiteY2937" fmla="*/ 7709 h 10000"/>
                <a:gd name="connsiteX2938" fmla="*/ 3143 w 10354"/>
                <a:gd name="connsiteY2938" fmla="*/ 7692 h 10000"/>
                <a:gd name="connsiteX2939" fmla="*/ 3152 w 10354"/>
                <a:gd name="connsiteY2939" fmla="*/ 7667 h 10000"/>
                <a:gd name="connsiteX2940" fmla="*/ 3157 w 10354"/>
                <a:gd name="connsiteY2940" fmla="*/ 7650 h 10000"/>
                <a:gd name="connsiteX2941" fmla="*/ 3161 w 10354"/>
                <a:gd name="connsiteY2941" fmla="*/ 7650 h 10000"/>
                <a:gd name="connsiteX2942" fmla="*/ 3189 w 10354"/>
                <a:gd name="connsiteY2942" fmla="*/ 7641 h 10000"/>
                <a:gd name="connsiteX2943" fmla="*/ 3198 w 10354"/>
                <a:gd name="connsiteY2943" fmla="*/ 7624 h 10000"/>
                <a:gd name="connsiteX2944" fmla="*/ 3217 w 10354"/>
                <a:gd name="connsiteY2944" fmla="*/ 7615 h 10000"/>
                <a:gd name="connsiteX2945" fmla="*/ 3235 w 10354"/>
                <a:gd name="connsiteY2945" fmla="*/ 7598 h 10000"/>
                <a:gd name="connsiteX2946" fmla="*/ 3235 w 10354"/>
                <a:gd name="connsiteY2946" fmla="*/ 7615 h 10000"/>
                <a:gd name="connsiteX2947" fmla="*/ 3235 w 10354"/>
                <a:gd name="connsiteY2947" fmla="*/ 7641 h 10000"/>
                <a:gd name="connsiteX2948" fmla="*/ 3235 w 10354"/>
                <a:gd name="connsiteY2948" fmla="*/ 7650 h 10000"/>
                <a:gd name="connsiteX2949" fmla="*/ 3226 w 10354"/>
                <a:gd name="connsiteY2949" fmla="*/ 7650 h 10000"/>
                <a:gd name="connsiteX2950" fmla="*/ 3217 w 10354"/>
                <a:gd name="connsiteY2950" fmla="*/ 7650 h 10000"/>
                <a:gd name="connsiteX2951" fmla="*/ 3212 w 10354"/>
                <a:gd name="connsiteY2951" fmla="*/ 7675 h 10000"/>
                <a:gd name="connsiteX2952" fmla="*/ 3212 w 10354"/>
                <a:gd name="connsiteY2952" fmla="*/ 7675 h 10000"/>
                <a:gd name="connsiteX0" fmla="*/ 3212 w 10586"/>
                <a:gd name="connsiteY0" fmla="*/ 7675 h 10000"/>
                <a:gd name="connsiteX1" fmla="*/ 3217 w 10586"/>
                <a:gd name="connsiteY1" fmla="*/ 7692 h 10000"/>
                <a:gd name="connsiteX2" fmla="*/ 3226 w 10586"/>
                <a:gd name="connsiteY2" fmla="*/ 7692 h 10000"/>
                <a:gd name="connsiteX3" fmla="*/ 3309 w 10586"/>
                <a:gd name="connsiteY3" fmla="*/ 7838 h 10000"/>
                <a:gd name="connsiteX4" fmla="*/ 3452 w 10586"/>
                <a:gd name="connsiteY4" fmla="*/ 8325 h 10000"/>
                <a:gd name="connsiteX5" fmla="*/ 3470 w 10586"/>
                <a:gd name="connsiteY5" fmla="*/ 8299 h 10000"/>
                <a:gd name="connsiteX6" fmla="*/ 3470 w 10586"/>
                <a:gd name="connsiteY6" fmla="*/ 8282 h 10000"/>
                <a:gd name="connsiteX7" fmla="*/ 3470 w 10586"/>
                <a:gd name="connsiteY7" fmla="*/ 8274 h 10000"/>
                <a:gd name="connsiteX8" fmla="*/ 3484 w 10586"/>
                <a:gd name="connsiteY8" fmla="*/ 8231 h 10000"/>
                <a:gd name="connsiteX9" fmla="*/ 3498 w 10586"/>
                <a:gd name="connsiteY9" fmla="*/ 8231 h 10000"/>
                <a:gd name="connsiteX10" fmla="*/ 3498 w 10586"/>
                <a:gd name="connsiteY10" fmla="*/ 8248 h 10000"/>
                <a:gd name="connsiteX11" fmla="*/ 3512 w 10586"/>
                <a:gd name="connsiteY11" fmla="*/ 8256 h 10000"/>
                <a:gd name="connsiteX12" fmla="*/ 3525 w 10586"/>
                <a:gd name="connsiteY12" fmla="*/ 8274 h 10000"/>
                <a:gd name="connsiteX13" fmla="*/ 3525 w 10586"/>
                <a:gd name="connsiteY13" fmla="*/ 8282 h 10000"/>
                <a:gd name="connsiteX14" fmla="*/ 3525 w 10586"/>
                <a:gd name="connsiteY14" fmla="*/ 8308 h 10000"/>
                <a:gd name="connsiteX15" fmla="*/ 3530 w 10586"/>
                <a:gd name="connsiteY15" fmla="*/ 8308 h 10000"/>
                <a:gd name="connsiteX16" fmla="*/ 3539 w 10586"/>
                <a:gd name="connsiteY16" fmla="*/ 8333 h 10000"/>
                <a:gd name="connsiteX17" fmla="*/ 3571 w 10586"/>
                <a:gd name="connsiteY17" fmla="*/ 8333 h 10000"/>
                <a:gd name="connsiteX18" fmla="*/ 3590 w 10586"/>
                <a:gd name="connsiteY18" fmla="*/ 8350 h 10000"/>
                <a:gd name="connsiteX19" fmla="*/ 3599 w 10586"/>
                <a:gd name="connsiteY19" fmla="*/ 8333 h 10000"/>
                <a:gd name="connsiteX20" fmla="*/ 3618 w 10586"/>
                <a:gd name="connsiteY20" fmla="*/ 8333 h 10000"/>
                <a:gd name="connsiteX21" fmla="*/ 3618 w 10586"/>
                <a:gd name="connsiteY21" fmla="*/ 8325 h 10000"/>
                <a:gd name="connsiteX22" fmla="*/ 3627 w 10586"/>
                <a:gd name="connsiteY22" fmla="*/ 8308 h 10000"/>
                <a:gd name="connsiteX23" fmla="*/ 3641 w 10586"/>
                <a:gd name="connsiteY23" fmla="*/ 8308 h 10000"/>
                <a:gd name="connsiteX24" fmla="*/ 3645 w 10586"/>
                <a:gd name="connsiteY24" fmla="*/ 8308 h 10000"/>
                <a:gd name="connsiteX25" fmla="*/ 3650 w 10586"/>
                <a:gd name="connsiteY25" fmla="*/ 8299 h 10000"/>
                <a:gd name="connsiteX26" fmla="*/ 3659 w 10586"/>
                <a:gd name="connsiteY26" fmla="*/ 8282 h 10000"/>
                <a:gd name="connsiteX27" fmla="*/ 3677 w 10586"/>
                <a:gd name="connsiteY27" fmla="*/ 8299 h 10000"/>
                <a:gd name="connsiteX28" fmla="*/ 3687 w 10586"/>
                <a:gd name="connsiteY28" fmla="*/ 8299 h 10000"/>
                <a:gd name="connsiteX29" fmla="*/ 3691 w 10586"/>
                <a:gd name="connsiteY29" fmla="*/ 8325 h 10000"/>
                <a:gd name="connsiteX30" fmla="*/ 3700 w 10586"/>
                <a:gd name="connsiteY30" fmla="*/ 8325 h 10000"/>
                <a:gd name="connsiteX31" fmla="*/ 3714 w 10586"/>
                <a:gd name="connsiteY31" fmla="*/ 8359 h 10000"/>
                <a:gd name="connsiteX32" fmla="*/ 3719 w 10586"/>
                <a:gd name="connsiteY32" fmla="*/ 8359 h 10000"/>
                <a:gd name="connsiteX33" fmla="*/ 3724 w 10586"/>
                <a:gd name="connsiteY33" fmla="*/ 8368 h 10000"/>
                <a:gd name="connsiteX34" fmla="*/ 3719 w 10586"/>
                <a:gd name="connsiteY34" fmla="*/ 8393 h 10000"/>
                <a:gd name="connsiteX35" fmla="*/ 3724 w 10586"/>
                <a:gd name="connsiteY35" fmla="*/ 8410 h 10000"/>
                <a:gd name="connsiteX36" fmla="*/ 3724 w 10586"/>
                <a:gd name="connsiteY36" fmla="*/ 8436 h 10000"/>
                <a:gd name="connsiteX37" fmla="*/ 3737 w 10586"/>
                <a:gd name="connsiteY37" fmla="*/ 8436 h 10000"/>
                <a:gd name="connsiteX38" fmla="*/ 3765 w 10586"/>
                <a:gd name="connsiteY38" fmla="*/ 8462 h 10000"/>
                <a:gd name="connsiteX39" fmla="*/ 3765 w 10586"/>
                <a:gd name="connsiteY39" fmla="*/ 8470 h 10000"/>
                <a:gd name="connsiteX40" fmla="*/ 3765 w 10586"/>
                <a:gd name="connsiteY40" fmla="*/ 8496 h 10000"/>
                <a:gd name="connsiteX41" fmla="*/ 3774 w 10586"/>
                <a:gd name="connsiteY41" fmla="*/ 8496 h 10000"/>
                <a:gd name="connsiteX42" fmla="*/ 3779 w 10586"/>
                <a:gd name="connsiteY42" fmla="*/ 8504 h 10000"/>
                <a:gd name="connsiteX43" fmla="*/ 3793 w 10586"/>
                <a:gd name="connsiteY43" fmla="*/ 8547 h 10000"/>
                <a:gd name="connsiteX44" fmla="*/ 3797 w 10586"/>
                <a:gd name="connsiteY44" fmla="*/ 8547 h 10000"/>
                <a:gd name="connsiteX45" fmla="*/ 3820 w 10586"/>
                <a:gd name="connsiteY45" fmla="*/ 8556 h 10000"/>
                <a:gd name="connsiteX46" fmla="*/ 3834 w 10586"/>
                <a:gd name="connsiteY46" fmla="*/ 8573 h 10000"/>
                <a:gd name="connsiteX47" fmla="*/ 3853 w 10586"/>
                <a:gd name="connsiteY47" fmla="*/ 8573 h 10000"/>
                <a:gd name="connsiteX48" fmla="*/ 3857 w 10586"/>
                <a:gd name="connsiteY48" fmla="*/ 8556 h 10000"/>
                <a:gd name="connsiteX49" fmla="*/ 3866 w 10586"/>
                <a:gd name="connsiteY49" fmla="*/ 8547 h 10000"/>
                <a:gd name="connsiteX50" fmla="*/ 3880 w 10586"/>
                <a:gd name="connsiteY50" fmla="*/ 8530 h 10000"/>
                <a:gd name="connsiteX51" fmla="*/ 3885 w 10586"/>
                <a:gd name="connsiteY51" fmla="*/ 8547 h 10000"/>
                <a:gd name="connsiteX52" fmla="*/ 3885 w 10586"/>
                <a:gd name="connsiteY52" fmla="*/ 8573 h 10000"/>
                <a:gd name="connsiteX53" fmla="*/ 3899 w 10586"/>
                <a:gd name="connsiteY53" fmla="*/ 8573 h 10000"/>
                <a:gd name="connsiteX54" fmla="*/ 3908 w 10586"/>
                <a:gd name="connsiteY54" fmla="*/ 8607 h 10000"/>
                <a:gd name="connsiteX55" fmla="*/ 3912 w 10586"/>
                <a:gd name="connsiteY55" fmla="*/ 8615 h 10000"/>
                <a:gd name="connsiteX56" fmla="*/ 3922 w 10586"/>
                <a:gd name="connsiteY56" fmla="*/ 8632 h 10000"/>
                <a:gd name="connsiteX57" fmla="*/ 3908 w 10586"/>
                <a:gd name="connsiteY57" fmla="*/ 8692 h 10000"/>
                <a:gd name="connsiteX58" fmla="*/ 3908 w 10586"/>
                <a:gd name="connsiteY58" fmla="*/ 8692 h 10000"/>
                <a:gd name="connsiteX59" fmla="*/ 3931 w 10586"/>
                <a:gd name="connsiteY59" fmla="*/ 8709 h 10000"/>
                <a:gd name="connsiteX60" fmla="*/ 3954 w 10586"/>
                <a:gd name="connsiteY60" fmla="*/ 8667 h 10000"/>
                <a:gd name="connsiteX61" fmla="*/ 3959 w 10586"/>
                <a:gd name="connsiteY61" fmla="*/ 8667 h 10000"/>
                <a:gd name="connsiteX62" fmla="*/ 3972 w 10586"/>
                <a:gd name="connsiteY62" fmla="*/ 8615 h 10000"/>
                <a:gd name="connsiteX63" fmla="*/ 3995 w 10586"/>
                <a:gd name="connsiteY63" fmla="*/ 8581 h 10000"/>
                <a:gd name="connsiteX64" fmla="*/ 4032 w 10586"/>
                <a:gd name="connsiteY64" fmla="*/ 8556 h 10000"/>
                <a:gd name="connsiteX65" fmla="*/ 4138 w 10586"/>
                <a:gd name="connsiteY65" fmla="*/ 8419 h 10000"/>
                <a:gd name="connsiteX66" fmla="*/ 4249 w 10586"/>
                <a:gd name="connsiteY66" fmla="*/ 8359 h 10000"/>
                <a:gd name="connsiteX67" fmla="*/ 4295 w 10586"/>
                <a:gd name="connsiteY67" fmla="*/ 8385 h 10000"/>
                <a:gd name="connsiteX68" fmla="*/ 4309 w 10586"/>
                <a:gd name="connsiteY68" fmla="*/ 8410 h 10000"/>
                <a:gd name="connsiteX69" fmla="*/ 4355 w 10586"/>
                <a:gd name="connsiteY69" fmla="*/ 8393 h 10000"/>
                <a:gd name="connsiteX70" fmla="*/ 4382 w 10586"/>
                <a:gd name="connsiteY70" fmla="*/ 8393 h 10000"/>
                <a:gd name="connsiteX71" fmla="*/ 4419 w 10586"/>
                <a:gd name="connsiteY71" fmla="*/ 8487 h 10000"/>
                <a:gd name="connsiteX72" fmla="*/ 4442 w 10586"/>
                <a:gd name="connsiteY72" fmla="*/ 8487 h 10000"/>
                <a:gd name="connsiteX73" fmla="*/ 4493 w 10586"/>
                <a:gd name="connsiteY73" fmla="*/ 8470 h 10000"/>
                <a:gd name="connsiteX74" fmla="*/ 4516 w 10586"/>
                <a:gd name="connsiteY74" fmla="*/ 8487 h 10000"/>
                <a:gd name="connsiteX75" fmla="*/ 4608 w 10586"/>
                <a:gd name="connsiteY75" fmla="*/ 8470 h 10000"/>
                <a:gd name="connsiteX76" fmla="*/ 4622 w 10586"/>
                <a:gd name="connsiteY76" fmla="*/ 8470 h 10000"/>
                <a:gd name="connsiteX77" fmla="*/ 4618 w 10586"/>
                <a:gd name="connsiteY77" fmla="*/ 8419 h 10000"/>
                <a:gd name="connsiteX78" fmla="*/ 4622 w 10586"/>
                <a:gd name="connsiteY78" fmla="*/ 8385 h 10000"/>
                <a:gd name="connsiteX79" fmla="*/ 4636 w 10586"/>
                <a:gd name="connsiteY79" fmla="*/ 8350 h 10000"/>
                <a:gd name="connsiteX80" fmla="*/ 4636 w 10586"/>
                <a:gd name="connsiteY80" fmla="*/ 8325 h 10000"/>
                <a:gd name="connsiteX81" fmla="*/ 4622 w 10586"/>
                <a:gd name="connsiteY81" fmla="*/ 8282 h 10000"/>
                <a:gd name="connsiteX82" fmla="*/ 4618 w 10586"/>
                <a:gd name="connsiteY82" fmla="*/ 8248 h 10000"/>
                <a:gd name="connsiteX83" fmla="*/ 4618 w 10586"/>
                <a:gd name="connsiteY83" fmla="*/ 8214 h 10000"/>
                <a:gd name="connsiteX84" fmla="*/ 4691 w 10586"/>
                <a:gd name="connsiteY84" fmla="*/ 8077 h 10000"/>
                <a:gd name="connsiteX85" fmla="*/ 4700 w 10586"/>
                <a:gd name="connsiteY85" fmla="*/ 8060 h 10000"/>
                <a:gd name="connsiteX86" fmla="*/ 4728 w 10586"/>
                <a:gd name="connsiteY86" fmla="*/ 8077 h 10000"/>
                <a:gd name="connsiteX87" fmla="*/ 4751 w 10586"/>
                <a:gd name="connsiteY87" fmla="*/ 8094 h 10000"/>
                <a:gd name="connsiteX88" fmla="*/ 4788 w 10586"/>
                <a:gd name="connsiteY88" fmla="*/ 8120 h 10000"/>
                <a:gd name="connsiteX89" fmla="*/ 4802 w 10586"/>
                <a:gd name="connsiteY89" fmla="*/ 8162 h 10000"/>
                <a:gd name="connsiteX90" fmla="*/ 4885 w 10586"/>
                <a:gd name="connsiteY90" fmla="*/ 8197 h 10000"/>
                <a:gd name="connsiteX91" fmla="*/ 4889 w 10586"/>
                <a:gd name="connsiteY91" fmla="*/ 8231 h 10000"/>
                <a:gd name="connsiteX92" fmla="*/ 4899 w 10586"/>
                <a:gd name="connsiteY92" fmla="*/ 8333 h 10000"/>
                <a:gd name="connsiteX93" fmla="*/ 4903 w 10586"/>
                <a:gd name="connsiteY93" fmla="*/ 8333 h 10000"/>
                <a:gd name="connsiteX94" fmla="*/ 4949 w 10586"/>
                <a:gd name="connsiteY94" fmla="*/ 8410 h 10000"/>
                <a:gd name="connsiteX95" fmla="*/ 4991 w 10586"/>
                <a:gd name="connsiteY95" fmla="*/ 8436 h 10000"/>
                <a:gd name="connsiteX96" fmla="*/ 5023 w 10586"/>
                <a:gd name="connsiteY96" fmla="*/ 8419 h 10000"/>
                <a:gd name="connsiteX97" fmla="*/ 5092 w 10586"/>
                <a:gd name="connsiteY97" fmla="*/ 8359 h 10000"/>
                <a:gd name="connsiteX98" fmla="*/ 5180 w 10586"/>
                <a:gd name="connsiteY98" fmla="*/ 8410 h 10000"/>
                <a:gd name="connsiteX99" fmla="*/ 5189 w 10586"/>
                <a:gd name="connsiteY99" fmla="*/ 8436 h 10000"/>
                <a:gd name="connsiteX100" fmla="*/ 5198 w 10586"/>
                <a:gd name="connsiteY100" fmla="*/ 8436 h 10000"/>
                <a:gd name="connsiteX101" fmla="*/ 5226 w 10586"/>
                <a:gd name="connsiteY101" fmla="*/ 8487 h 10000"/>
                <a:gd name="connsiteX102" fmla="*/ 5276 w 10586"/>
                <a:gd name="connsiteY102" fmla="*/ 8504 h 10000"/>
                <a:gd name="connsiteX103" fmla="*/ 5290 w 10586"/>
                <a:gd name="connsiteY103" fmla="*/ 8556 h 10000"/>
                <a:gd name="connsiteX104" fmla="*/ 5323 w 10586"/>
                <a:gd name="connsiteY104" fmla="*/ 8598 h 10000"/>
                <a:gd name="connsiteX105" fmla="*/ 5447 w 10586"/>
                <a:gd name="connsiteY105" fmla="*/ 8615 h 10000"/>
                <a:gd name="connsiteX106" fmla="*/ 5465 w 10586"/>
                <a:gd name="connsiteY106" fmla="*/ 8632 h 10000"/>
                <a:gd name="connsiteX107" fmla="*/ 5604 w 10586"/>
                <a:gd name="connsiteY107" fmla="*/ 8556 h 10000"/>
                <a:gd name="connsiteX108" fmla="*/ 5677 w 10586"/>
                <a:gd name="connsiteY108" fmla="*/ 8462 h 10000"/>
                <a:gd name="connsiteX109" fmla="*/ 5705 w 10586"/>
                <a:gd name="connsiteY109" fmla="*/ 8444 h 10000"/>
                <a:gd name="connsiteX110" fmla="*/ 5737 w 10586"/>
                <a:gd name="connsiteY110" fmla="*/ 8470 h 10000"/>
                <a:gd name="connsiteX111" fmla="*/ 5760 w 10586"/>
                <a:gd name="connsiteY111" fmla="*/ 8496 h 10000"/>
                <a:gd name="connsiteX112" fmla="*/ 5788 w 10586"/>
                <a:gd name="connsiteY112" fmla="*/ 8504 h 10000"/>
                <a:gd name="connsiteX113" fmla="*/ 5806 w 10586"/>
                <a:gd name="connsiteY113" fmla="*/ 8496 h 10000"/>
                <a:gd name="connsiteX114" fmla="*/ 5820 w 10586"/>
                <a:gd name="connsiteY114" fmla="*/ 8487 h 10000"/>
                <a:gd name="connsiteX115" fmla="*/ 5825 w 10586"/>
                <a:gd name="connsiteY115" fmla="*/ 8487 h 10000"/>
                <a:gd name="connsiteX116" fmla="*/ 5825 w 10586"/>
                <a:gd name="connsiteY116" fmla="*/ 8487 h 10000"/>
                <a:gd name="connsiteX117" fmla="*/ 5926 w 10586"/>
                <a:gd name="connsiteY117" fmla="*/ 8556 h 10000"/>
                <a:gd name="connsiteX118" fmla="*/ 5940 w 10586"/>
                <a:gd name="connsiteY118" fmla="*/ 8556 h 10000"/>
                <a:gd name="connsiteX119" fmla="*/ 6014 w 10586"/>
                <a:gd name="connsiteY119" fmla="*/ 8470 h 10000"/>
                <a:gd name="connsiteX120" fmla="*/ 6018 w 10586"/>
                <a:gd name="connsiteY120" fmla="*/ 8444 h 10000"/>
                <a:gd name="connsiteX121" fmla="*/ 6014 w 10586"/>
                <a:gd name="connsiteY121" fmla="*/ 8419 h 10000"/>
                <a:gd name="connsiteX122" fmla="*/ 6018 w 10586"/>
                <a:gd name="connsiteY122" fmla="*/ 8393 h 10000"/>
                <a:gd name="connsiteX123" fmla="*/ 6041 w 10586"/>
                <a:gd name="connsiteY123" fmla="*/ 8333 h 10000"/>
                <a:gd name="connsiteX124" fmla="*/ 6069 w 10586"/>
                <a:gd name="connsiteY124" fmla="*/ 8188 h 10000"/>
                <a:gd name="connsiteX125" fmla="*/ 6088 w 10586"/>
                <a:gd name="connsiteY125" fmla="*/ 8162 h 10000"/>
                <a:gd name="connsiteX126" fmla="*/ 6115 w 10586"/>
                <a:gd name="connsiteY126" fmla="*/ 8094 h 10000"/>
                <a:gd name="connsiteX127" fmla="*/ 6115 w 10586"/>
                <a:gd name="connsiteY127" fmla="*/ 8094 h 10000"/>
                <a:gd name="connsiteX128" fmla="*/ 6106 w 10586"/>
                <a:gd name="connsiteY128" fmla="*/ 8077 h 10000"/>
                <a:gd name="connsiteX129" fmla="*/ 6106 w 10586"/>
                <a:gd name="connsiteY129" fmla="*/ 8009 h 10000"/>
                <a:gd name="connsiteX130" fmla="*/ 6101 w 10586"/>
                <a:gd name="connsiteY130" fmla="*/ 8000 h 10000"/>
                <a:gd name="connsiteX131" fmla="*/ 6069 w 10586"/>
                <a:gd name="connsiteY131" fmla="*/ 8009 h 10000"/>
                <a:gd name="connsiteX132" fmla="*/ 6069 w 10586"/>
                <a:gd name="connsiteY132" fmla="*/ 8000 h 10000"/>
                <a:gd name="connsiteX133" fmla="*/ 6069 w 10586"/>
                <a:gd name="connsiteY133" fmla="*/ 7974 h 10000"/>
                <a:gd name="connsiteX134" fmla="*/ 6101 w 10586"/>
                <a:gd name="connsiteY134" fmla="*/ 7923 h 10000"/>
                <a:gd name="connsiteX135" fmla="*/ 6106 w 10586"/>
                <a:gd name="connsiteY135" fmla="*/ 7889 h 10000"/>
                <a:gd name="connsiteX136" fmla="*/ 6129 w 10586"/>
                <a:gd name="connsiteY136" fmla="*/ 7863 h 10000"/>
                <a:gd name="connsiteX137" fmla="*/ 6300 w 10586"/>
                <a:gd name="connsiteY137" fmla="*/ 7812 h 10000"/>
                <a:gd name="connsiteX138" fmla="*/ 6359 w 10586"/>
                <a:gd name="connsiteY138" fmla="*/ 7872 h 10000"/>
                <a:gd name="connsiteX139" fmla="*/ 6373 w 10586"/>
                <a:gd name="connsiteY139" fmla="*/ 7889 h 10000"/>
                <a:gd name="connsiteX140" fmla="*/ 6401 w 10586"/>
                <a:gd name="connsiteY140" fmla="*/ 7889 h 10000"/>
                <a:gd name="connsiteX141" fmla="*/ 6433 w 10586"/>
                <a:gd name="connsiteY141" fmla="*/ 7915 h 10000"/>
                <a:gd name="connsiteX142" fmla="*/ 6461 w 10586"/>
                <a:gd name="connsiteY142" fmla="*/ 7974 h 10000"/>
                <a:gd name="connsiteX143" fmla="*/ 6461 w 10586"/>
                <a:gd name="connsiteY143" fmla="*/ 8000 h 10000"/>
                <a:gd name="connsiteX144" fmla="*/ 6484 w 10586"/>
                <a:gd name="connsiteY144" fmla="*/ 8034 h 10000"/>
                <a:gd name="connsiteX145" fmla="*/ 6484 w 10586"/>
                <a:gd name="connsiteY145" fmla="*/ 8051 h 10000"/>
                <a:gd name="connsiteX146" fmla="*/ 6484 w 10586"/>
                <a:gd name="connsiteY146" fmla="*/ 8034 h 10000"/>
                <a:gd name="connsiteX147" fmla="*/ 6558 w 10586"/>
                <a:gd name="connsiteY147" fmla="*/ 8444 h 10000"/>
                <a:gd name="connsiteX148" fmla="*/ 6558 w 10586"/>
                <a:gd name="connsiteY148" fmla="*/ 8462 h 10000"/>
                <a:gd name="connsiteX149" fmla="*/ 6558 w 10586"/>
                <a:gd name="connsiteY149" fmla="*/ 8462 h 10000"/>
                <a:gd name="connsiteX150" fmla="*/ 6562 w 10586"/>
                <a:gd name="connsiteY150" fmla="*/ 8547 h 10000"/>
                <a:gd name="connsiteX151" fmla="*/ 6576 w 10586"/>
                <a:gd name="connsiteY151" fmla="*/ 8573 h 10000"/>
                <a:gd name="connsiteX152" fmla="*/ 6604 w 10586"/>
                <a:gd name="connsiteY152" fmla="*/ 8581 h 10000"/>
                <a:gd name="connsiteX153" fmla="*/ 6631 w 10586"/>
                <a:gd name="connsiteY153" fmla="*/ 8556 h 10000"/>
                <a:gd name="connsiteX154" fmla="*/ 6691 w 10586"/>
                <a:gd name="connsiteY154" fmla="*/ 8607 h 10000"/>
                <a:gd name="connsiteX155" fmla="*/ 6728 w 10586"/>
                <a:gd name="connsiteY155" fmla="*/ 8667 h 10000"/>
                <a:gd name="connsiteX156" fmla="*/ 6742 w 10586"/>
                <a:gd name="connsiteY156" fmla="*/ 8684 h 10000"/>
                <a:gd name="connsiteX157" fmla="*/ 6765 w 10586"/>
                <a:gd name="connsiteY157" fmla="*/ 8684 h 10000"/>
                <a:gd name="connsiteX158" fmla="*/ 6765 w 10586"/>
                <a:gd name="connsiteY158" fmla="*/ 8709 h 10000"/>
                <a:gd name="connsiteX159" fmla="*/ 6765 w 10586"/>
                <a:gd name="connsiteY159" fmla="*/ 8709 h 10000"/>
                <a:gd name="connsiteX160" fmla="*/ 6770 w 10586"/>
                <a:gd name="connsiteY160" fmla="*/ 8709 h 10000"/>
                <a:gd name="connsiteX161" fmla="*/ 6770 w 10586"/>
                <a:gd name="connsiteY161" fmla="*/ 8744 h 10000"/>
                <a:gd name="connsiteX162" fmla="*/ 6779 w 10586"/>
                <a:gd name="connsiteY162" fmla="*/ 8769 h 10000"/>
                <a:gd name="connsiteX163" fmla="*/ 6779 w 10586"/>
                <a:gd name="connsiteY163" fmla="*/ 8846 h 10000"/>
                <a:gd name="connsiteX164" fmla="*/ 6797 w 10586"/>
                <a:gd name="connsiteY164" fmla="*/ 8906 h 10000"/>
                <a:gd name="connsiteX165" fmla="*/ 6816 w 10586"/>
                <a:gd name="connsiteY165" fmla="*/ 8906 h 10000"/>
                <a:gd name="connsiteX166" fmla="*/ 6843 w 10586"/>
                <a:gd name="connsiteY166" fmla="*/ 8915 h 10000"/>
                <a:gd name="connsiteX167" fmla="*/ 6862 w 10586"/>
                <a:gd name="connsiteY167" fmla="*/ 8906 h 10000"/>
                <a:gd name="connsiteX168" fmla="*/ 6935 w 10586"/>
                <a:gd name="connsiteY168" fmla="*/ 8829 h 10000"/>
                <a:gd name="connsiteX169" fmla="*/ 6963 w 10586"/>
                <a:gd name="connsiteY169" fmla="*/ 8829 h 10000"/>
                <a:gd name="connsiteX170" fmla="*/ 7046 w 10586"/>
                <a:gd name="connsiteY170" fmla="*/ 8769 h 10000"/>
                <a:gd name="connsiteX171" fmla="*/ 7046 w 10586"/>
                <a:gd name="connsiteY171" fmla="*/ 8769 h 10000"/>
                <a:gd name="connsiteX172" fmla="*/ 7032 w 10586"/>
                <a:gd name="connsiteY172" fmla="*/ 8803 h 10000"/>
                <a:gd name="connsiteX173" fmla="*/ 7032 w 10586"/>
                <a:gd name="connsiteY173" fmla="*/ 8846 h 10000"/>
                <a:gd name="connsiteX174" fmla="*/ 7037 w 10586"/>
                <a:gd name="connsiteY174" fmla="*/ 8880 h 10000"/>
                <a:gd name="connsiteX175" fmla="*/ 7037 w 10586"/>
                <a:gd name="connsiteY175" fmla="*/ 8932 h 10000"/>
                <a:gd name="connsiteX176" fmla="*/ 7005 w 10586"/>
                <a:gd name="connsiteY176" fmla="*/ 8983 h 10000"/>
                <a:gd name="connsiteX177" fmla="*/ 6977 w 10586"/>
                <a:gd name="connsiteY177" fmla="*/ 9188 h 10000"/>
                <a:gd name="connsiteX178" fmla="*/ 6935 w 10586"/>
                <a:gd name="connsiteY178" fmla="*/ 9316 h 10000"/>
                <a:gd name="connsiteX179" fmla="*/ 6931 w 10586"/>
                <a:gd name="connsiteY179" fmla="*/ 9368 h 10000"/>
                <a:gd name="connsiteX180" fmla="*/ 6917 w 10586"/>
                <a:gd name="connsiteY180" fmla="*/ 9376 h 10000"/>
                <a:gd name="connsiteX181" fmla="*/ 6912 w 10586"/>
                <a:gd name="connsiteY181" fmla="*/ 9376 h 10000"/>
                <a:gd name="connsiteX182" fmla="*/ 6848 w 10586"/>
                <a:gd name="connsiteY182" fmla="*/ 9342 h 10000"/>
                <a:gd name="connsiteX183" fmla="*/ 6788 w 10586"/>
                <a:gd name="connsiteY183" fmla="*/ 9436 h 10000"/>
                <a:gd name="connsiteX184" fmla="*/ 6802 w 10586"/>
                <a:gd name="connsiteY184" fmla="*/ 9462 h 10000"/>
                <a:gd name="connsiteX185" fmla="*/ 6811 w 10586"/>
                <a:gd name="connsiteY185" fmla="*/ 9667 h 10000"/>
                <a:gd name="connsiteX186" fmla="*/ 6788 w 10586"/>
                <a:gd name="connsiteY186" fmla="*/ 9709 h 10000"/>
                <a:gd name="connsiteX187" fmla="*/ 6765 w 10586"/>
                <a:gd name="connsiteY187" fmla="*/ 9752 h 10000"/>
                <a:gd name="connsiteX188" fmla="*/ 6765 w 10586"/>
                <a:gd name="connsiteY188" fmla="*/ 9803 h 10000"/>
                <a:gd name="connsiteX189" fmla="*/ 6770 w 10586"/>
                <a:gd name="connsiteY189" fmla="*/ 9821 h 10000"/>
                <a:gd name="connsiteX190" fmla="*/ 6779 w 10586"/>
                <a:gd name="connsiteY190" fmla="*/ 9812 h 10000"/>
                <a:gd name="connsiteX191" fmla="*/ 6779 w 10586"/>
                <a:gd name="connsiteY191" fmla="*/ 9803 h 10000"/>
                <a:gd name="connsiteX192" fmla="*/ 6770 w 10586"/>
                <a:gd name="connsiteY192" fmla="*/ 9786 h 10000"/>
                <a:gd name="connsiteX193" fmla="*/ 6811 w 10586"/>
                <a:gd name="connsiteY193" fmla="*/ 9786 h 10000"/>
                <a:gd name="connsiteX194" fmla="*/ 6816 w 10586"/>
                <a:gd name="connsiteY194" fmla="*/ 9761 h 10000"/>
                <a:gd name="connsiteX195" fmla="*/ 6825 w 10586"/>
                <a:gd name="connsiteY195" fmla="*/ 9752 h 10000"/>
                <a:gd name="connsiteX196" fmla="*/ 6825 w 10586"/>
                <a:gd name="connsiteY196" fmla="*/ 9726 h 10000"/>
                <a:gd name="connsiteX197" fmla="*/ 6843 w 10586"/>
                <a:gd name="connsiteY197" fmla="*/ 9701 h 10000"/>
                <a:gd name="connsiteX198" fmla="*/ 6848 w 10586"/>
                <a:gd name="connsiteY198" fmla="*/ 9650 h 10000"/>
                <a:gd name="connsiteX199" fmla="*/ 6848 w 10586"/>
                <a:gd name="connsiteY199" fmla="*/ 9675 h 10000"/>
                <a:gd name="connsiteX200" fmla="*/ 6862 w 10586"/>
                <a:gd name="connsiteY200" fmla="*/ 9675 h 10000"/>
                <a:gd name="connsiteX201" fmla="*/ 6857 w 10586"/>
                <a:gd name="connsiteY201" fmla="*/ 9701 h 10000"/>
                <a:gd name="connsiteX202" fmla="*/ 6857 w 10586"/>
                <a:gd name="connsiteY202" fmla="*/ 9701 h 10000"/>
                <a:gd name="connsiteX203" fmla="*/ 6876 w 10586"/>
                <a:gd name="connsiteY203" fmla="*/ 9684 h 10000"/>
                <a:gd name="connsiteX204" fmla="*/ 6885 w 10586"/>
                <a:gd name="connsiteY204" fmla="*/ 9675 h 10000"/>
                <a:gd name="connsiteX205" fmla="*/ 6876 w 10586"/>
                <a:gd name="connsiteY205" fmla="*/ 9735 h 10000"/>
                <a:gd name="connsiteX206" fmla="*/ 6885 w 10586"/>
                <a:gd name="connsiteY206" fmla="*/ 9752 h 10000"/>
                <a:gd name="connsiteX207" fmla="*/ 6903 w 10586"/>
                <a:gd name="connsiteY207" fmla="*/ 9752 h 10000"/>
                <a:gd name="connsiteX208" fmla="*/ 6917 w 10586"/>
                <a:gd name="connsiteY208" fmla="*/ 9761 h 10000"/>
                <a:gd name="connsiteX209" fmla="*/ 6917 w 10586"/>
                <a:gd name="connsiteY209" fmla="*/ 9761 h 10000"/>
                <a:gd name="connsiteX210" fmla="*/ 6922 w 10586"/>
                <a:gd name="connsiteY210" fmla="*/ 9778 h 10000"/>
                <a:gd name="connsiteX211" fmla="*/ 6945 w 10586"/>
                <a:gd name="connsiteY211" fmla="*/ 9778 h 10000"/>
                <a:gd name="connsiteX212" fmla="*/ 6972 w 10586"/>
                <a:gd name="connsiteY212" fmla="*/ 9752 h 10000"/>
                <a:gd name="connsiteX213" fmla="*/ 6977 w 10586"/>
                <a:gd name="connsiteY213" fmla="*/ 9752 h 10000"/>
                <a:gd name="connsiteX214" fmla="*/ 7069 w 10586"/>
                <a:gd name="connsiteY214" fmla="*/ 9624 h 10000"/>
                <a:gd name="connsiteX215" fmla="*/ 7097 w 10586"/>
                <a:gd name="connsiteY215" fmla="*/ 9547 h 10000"/>
                <a:gd name="connsiteX216" fmla="*/ 7106 w 10586"/>
                <a:gd name="connsiteY216" fmla="*/ 9530 h 10000"/>
                <a:gd name="connsiteX217" fmla="*/ 7124 w 10586"/>
                <a:gd name="connsiteY217" fmla="*/ 9479 h 10000"/>
                <a:gd name="connsiteX218" fmla="*/ 7138 w 10586"/>
                <a:gd name="connsiteY218" fmla="*/ 9462 h 10000"/>
                <a:gd name="connsiteX219" fmla="*/ 7378 w 10586"/>
                <a:gd name="connsiteY219" fmla="*/ 8795 h 10000"/>
                <a:gd name="connsiteX220" fmla="*/ 7392 w 10586"/>
                <a:gd name="connsiteY220" fmla="*/ 8795 h 10000"/>
                <a:gd name="connsiteX221" fmla="*/ 7401 w 10586"/>
                <a:gd name="connsiteY221" fmla="*/ 8769 h 10000"/>
                <a:gd name="connsiteX222" fmla="*/ 7406 w 10586"/>
                <a:gd name="connsiteY222" fmla="*/ 8692 h 10000"/>
                <a:gd name="connsiteX223" fmla="*/ 7406 w 10586"/>
                <a:gd name="connsiteY223" fmla="*/ 8667 h 10000"/>
                <a:gd name="connsiteX224" fmla="*/ 7419 w 10586"/>
                <a:gd name="connsiteY224" fmla="*/ 8598 h 10000"/>
                <a:gd name="connsiteX225" fmla="*/ 7419 w 10586"/>
                <a:gd name="connsiteY225" fmla="*/ 8496 h 10000"/>
                <a:gd name="connsiteX226" fmla="*/ 7424 w 10586"/>
                <a:gd name="connsiteY226" fmla="*/ 8470 h 10000"/>
                <a:gd name="connsiteX227" fmla="*/ 7424 w 10586"/>
                <a:gd name="connsiteY227" fmla="*/ 8462 h 10000"/>
                <a:gd name="connsiteX228" fmla="*/ 7419 w 10586"/>
                <a:gd name="connsiteY228" fmla="*/ 8462 h 10000"/>
                <a:gd name="connsiteX229" fmla="*/ 7410 w 10586"/>
                <a:gd name="connsiteY229" fmla="*/ 8350 h 10000"/>
                <a:gd name="connsiteX230" fmla="*/ 7419 w 10586"/>
                <a:gd name="connsiteY230" fmla="*/ 8325 h 10000"/>
                <a:gd name="connsiteX231" fmla="*/ 7424 w 10586"/>
                <a:gd name="connsiteY231" fmla="*/ 8248 h 10000"/>
                <a:gd name="connsiteX232" fmla="*/ 7433 w 10586"/>
                <a:gd name="connsiteY232" fmla="*/ 8248 h 10000"/>
                <a:gd name="connsiteX233" fmla="*/ 7433 w 10586"/>
                <a:gd name="connsiteY233" fmla="*/ 8231 h 10000"/>
                <a:gd name="connsiteX234" fmla="*/ 7433 w 10586"/>
                <a:gd name="connsiteY234" fmla="*/ 8222 h 10000"/>
                <a:gd name="connsiteX235" fmla="*/ 7433 w 10586"/>
                <a:gd name="connsiteY235" fmla="*/ 8214 h 10000"/>
                <a:gd name="connsiteX236" fmla="*/ 7447 w 10586"/>
                <a:gd name="connsiteY236" fmla="*/ 8162 h 10000"/>
                <a:gd name="connsiteX237" fmla="*/ 7461 w 10586"/>
                <a:gd name="connsiteY237" fmla="*/ 8162 h 10000"/>
                <a:gd name="connsiteX238" fmla="*/ 7475 w 10586"/>
                <a:gd name="connsiteY238" fmla="*/ 8111 h 10000"/>
                <a:gd name="connsiteX239" fmla="*/ 7475 w 10586"/>
                <a:gd name="connsiteY239" fmla="*/ 8085 h 10000"/>
                <a:gd name="connsiteX240" fmla="*/ 7479 w 10586"/>
                <a:gd name="connsiteY240" fmla="*/ 8060 h 10000"/>
                <a:gd name="connsiteX241" fmla="*/ 7452 w 10586"/>
                <a:gd name="connsiteY241" fmla="*/ 8009 h 10000"/>
                <a:gd name="connsiteX242" fmla="*/ 7465 w 10586"/>
                <a:gd name="connsiteY242" fmla="*/ 7974 h 10000"/>
                <a:gd name="connsiteX243" fmla="*/ 7452 w 10586"/>
                <a:gd name="connsiteY243" fmla="*/ 7923 h 10000"/>
                <a:gd name="connsiteX244" fmla="*/ 7433 w 10586"/>
                <a:gd name="connsiteY244" fmla="*/ 7889 h 10000"/>
                <a:gd name="connsiteX245" fmla="*/ 7419 w 10586"/>
                <a:gd name="connsiteY245" fmla="*/ 7889 h 10000"/>
                <a:gd name="connsiteX246" fmla="*/ 7401 w 10586"/>
                <a:gd name="connsiteY246" fmla="*/ 7863 h 10000"/>
                <a:gd name="connsiteX247" fmla="*/ 7387 w 10586"/>
                <a:gd name="connsiteY247" fmla="*/ 7863 h 10000"/>
                <a:gd name="connsiteX248" fmla="*/ 7373 w 10586"/>
                <a:gd name="connsiteY248" fmla="*/ 7863 h 10000"/>
                <a:gd name="connsiteX249" fmla="*/ 7387 w 10586"/>
                <a:gd name="connsiteY249" fmla="*/ 7846 h 10000"/>
                <a:gd name="connsiteX250" fmla="*/ 7401 w 10586"/>
                <a:gd name="connsiteY250" fmla="*/ 7846 h 10000"/>
                <a:gd name="connsiteX251" fmla="*/ 7410 w 10586"/>
                <a:gd name="connsiteY251" fmla="*/ 7863 h 10000"/>
                <a:gd name="connsiteX252" fmla="*/ 7424 w 10586"/>
                <a:gd name="connsiteY252" fmla="*/ 7872 h 10000"/>
                <a:gd name="connsiteX253" fmla="*/ 7433 w 10586"/>
                <a:gd name="connsiteY253" fmla="*/ 7863 h 10000"/>
                <a:gd name="connsiteX254" fmla="*/ 7461 w 10586"/>
                <a:gd name="connsiteY254" fmla="*/ 7897 h 10000"/>
                <a:gd name="connsiteX255" fmla="*/ 7465 w 10586"/>
                <a:gd name="connsiteY255" fmla="*/ 7889 h 10000"/>
                <a:gd name="connsiteX256" fmla="*/ 7475 w 10586"/>
                <a:gd name="connsiteY256" fmla="*/ 7863 h 10000"/>
                <a:gd name="connsiteX257" fmla="*/ 7475 w 10586"/>
                <a:gd name="connsiteY257" fmla="*/ 7838 h 10000"/>
                <a:gd name="connsiteX258" fmla="*/ 7465 w 10586"/>
                <a:gd name="connsiteY258" fmla="*/ 7838 h 10000"/>
                <a:gd name="connsiteX259" fmla="*/ 7406 w 10586"/>
                <a:gd name="connsiteY259" fmla="*/ 7752 h 10000"/>
                <a:gd name="connsiteX260" fmla="*/ 7401 w 10586"/>
                <a:gd name="connsiteY260" fmla="*/ 7735 h 10000"/>
                <a:gd name="connsiteX261" fmla="*/ 7401 w 10586"/>
                <a:gd name="connsiteY261" fmla="*/ 7701 h 10000"/>
                <a:gd name="connsiteX262" fmla="*/ 7378 w 10586"/>
                <a:gd name="connsiteY262" fmla="*/ 7675 h 10000"/>
                <a:gd name="connsiteX263" fmla="*/ 7373 w 10586"/>
                <a:gd name="connsiteY263" fmla="*/ 7667 h 10000"/>
                <a:gd name="connsiteX264" fmla="*/ 7364 w 10586"/>
                <a:gd name="connsiteY264" fmla="*/ 7650 h 10000"/>
                <a:gd name="connsiteX265" fmla="*/ 7364 w 10586"/>
                <a:gd name="connsiteY265" fmla="*/ 7641 h 10000"/>
                <a:gd name="connsiteX266" fmla="*/ 7350 w 10586"/>
                <a:gd name="connsiteY266" fmla="*/ 7641 h 10000"/>
                <a:gd name="connsiteX267" fmla="*/ 7336 w 10586"/>
                <a:gd name="connsiteY267" fmla="*/ 7650 h 10000"/>
                <a:gd name="connsiteX268" fmla="*/ 7327 w 10586"/>
                <a:gd name="connsiteY268" fmla="*/ 7650 h 10000"/>
                <a:gd name="connsiteX269" fmla="*/ 7300 w 10586"/>
                <a:gd name="connsiteY269" fmla="*/ 7641 h 10000"/>
                <a:gd name="connsiteX270" fmla="*/ 7300 w 10586"/>
                <a:gd name="connsiteY270" fmla="*/ 7675 h 10000"/>
                <a:gd name="connsiteX271" fmla="*/ 7300 w 10586"/>
                <a:gd name="connsiteY271" fmla="*/ 7692 h 10000"/>
                <a:gd name="connsiteX272" fmla="*/ 7286 w 10586"/>
                <a:gd name="connsiteY272" fmla="*/ 7786 h 10000"/>
                <a:gd name="connsiteX273" fmla="*/ 7272 w 10586"/>
                <a:gd name="connsiteY273" fmla="*/ 7803 h 10000"/>
                <a:gd name="connsiteX274" fmla="*/ 7276 w 10586"/>
                <a:gd name="connsiteY274" fmla="*/ 7761 h 10000"/>
                <a:gd name="connsiteX275" fmla="*/ 7286 w 10586"/>
                <a:gd name="connsiteY275" fmla="*/ 7735 h 10000"/>
                <a:gd name="connsiteX276" fmla="*/ 7276 w 10586"/>
                <a:gd name="connsiteY276" fmla="*/ 7709 h 10000"/>
                <a:gd name="connsiteX277" fmla="*/ 7258 w 10586"/>
                <a:gd name="connsiteY277" fmla="*/ 7761 h 10000"/>
                <a:gd name="connsiteX278" fmla="*/ 7217 w 10586"/>
                <a:gd name="connsiteY278" fmla="*/ 7786 h 10000"/>
                <a:gd name="connsiteX279" fmla="*/ 7203 w 10586"/>
                <a:gd name="connsiteY279" fmla="*/ 7786 h 10000"/>
                <a:gd name="connsiteX280" fmla="*/ 7198 w 10586"/>
                <a:gd name="connsiteY280" fmla="*/ 7778 h 10000"/>
                <a:gd name="connsiteX281" fmla="*/ 7212 w 10586"/>
                <a:gd name="connsiteY281" fmla="*/ 7761 h 10000"/>
                <a:gd name="connsiteX282" fmla="*/ 7230 w 10586"/>
                <a:gd name="connsiteY282" fmla="*/ 7726 h 10000"/>
                <a:gd name="connsiteX283" fmla="*/ 7226 w 10586"/>
                <a:gd name="connsiteY283" fmla="*/ 7709 h 10000"/>
                <a:gd name="connsiteX284" fmla="*/ 7212 w 10586"/>
                <a:gd name="connsiteY284" fmla="*/ 7701 h 10000"/>
                <a:gd name="connsiteX285" fmla="*/ 7203 w 10586"/>
                <a:gd name="connsiteY285" fmla="*/ 7675 h 10000"/>
                <a:gd name="connsiteX286" fmla="*/ 7217 w 10586"/>
                <a:gd name="connsiteY286" fmla="*/ 7675 h 10000"/>
                <a:gd name="connsiteX287" fmla="*/ 7226 w 10586"/>
                <a:gd name="connsiteY287" fmla="*/ 7650 h 10000"/>
                <a:gd name="connsiteX288" fmla="*/ 7226 w 10586"/>
                <a:gd name="connsiteY288" fmla="*/ 7641 h 10000"/>
                <a:gd name="connsiteX289" fmla="*/ 7203 w 10586"/>
                <a:gd name="connsiteY289" fmla="*/ 7641 h 10000"/>
                <a:gd name="connsiteX290" fmla="*/ 7198 w 10586"/>
                <a:gd name="connsiteY290" fmla="*/ 7650 h 10000"/>
                <a:gd name="connsiteX291" fmla="*/ 7194 w 10586"/>
                <a:gd name="connsiteY291" fmla="*/ 7675 h 10000"/>
                <a:gd name="connsiteX292" fmla="*/ 7198 w 10586"/>
                <a:gd name="connsiteY292" fmla="*/ 7692 h 10000"/>
                <a:gd name="connsiteX293" fmla="*/ 7198 w 10586"/>
                <a:gd name="connsiteY293" fmla="*/ 7709 h 10000"/>
                <a:gd name="connsiteX294" fmla="*/ 7184 w 10586"/>
                <a:gd name="connsiteY294" fmla="*/ 7726 h 10000"/>
                <a:gd name="connsiteX295" fmla="*/ 7180 w 10586"/>
                <a:gd name="connsiteY295" fmla="*/ 7726 h 10000"/>
                <a:gd name="connsiteX296" fmla="*/ 7171 w 10586"/>
                <a:gd name="connsiteY296" fmla="*/ 7752 h 10000"/>
                <a:gd name="connsiteX297" fmla="*/ 7166 w 10586"/>
                <a:gd name="connsiteY297" fmla="*/ 7735 h 10000"/>
                <a:gd name="connsiteX298" fmla="*/ 7171 w 10586"/>
                <a:gd name="connsiteY298" fmla="*/ 7624 h 10000"/>
                <a:gd name="connsiteX299" fmla="*/ 7171 w 10586"/>
                <a:gd name="connsiteY299" fmla="*/ 7615 h 10000"/>
                <a:gd name="connsiteX300" fmla="*/ 7171 w 10586"/>
                <a:gd name="connsiteY300" fmla="*/ 7590 h 10000"/>
                <a:gd name="connsiteX301" fmla="*/ 7166 w 10586"/>
                <a:gd name="connsiteY301" fmla="*/ 7564 h 10000"/>
                <a:gd name="connsiteX302" fmla="*/ 7157 w 10586"/>
                <a:gd name="connsiteY302" fmla="*/ 7564 h 10000"/>
                <a:gd name="connsiteX303" fmla="*/ 7097 w 10586"/>
                <a:gd name="connsiteY303" fmla="*/ 7573 h 10000"/>
                <a:gd name="connsiteX304" fmla="*/ 7065 w 10586"/>
                <a:gd name="connsiteY304" fmla="*/ 7538 h 10000"/>
                <a:gd name="connsiteX305" fmla="*/ 7069 w 10586"/>
                <a:gd name="connsiteY305" fmla="*/ 7504 h 10000"/>
                <a:gd name="connsiteX306" fmla="*/ 7106 w 10586"/>
                <a:gd name="connsiteY306" fmla="*/ 7453 h 10000"/>
                <a:gd name="connsiteX307" fmla="*/ 7111 w 10586"/>
                <a:gd name="connsiteY307" fmla="*/ 7436 h 10000"/>
                <a:gd name="connsiteX308" fmla="*/ 7138 w 10586"/>
                <a:gd name="connsiteY308" fmla="*/ 7402 h 10000"/>
                <a:gd name="connsiteX309" fmla="*/ 7143 w 10586"/>
                <a:gd name="connsiteY309" fmla="*/ 7376 h 10000"/>
                <a:gd name="connsiteX310" fmla="*/ 7152 w 10586"/>
                <a:gd name="connsiteY310" fmla="*/ 7368 h 10000"/>
                <a:gd name="connsiteX311" fmla="*/ 7157 w 10586"/>
                <a:gd name="connsiteY311" fmla="*/ 7350 h 10000"/>
                <a:gd name="connsiteX312" fmla="*/ 7230 w 10586"/>
                <a:gd name="connsiteY312" fmla="*/ 7239 h 10000"/>
                <a:gd name="connsiteX313" fmla="*/ 7240 w 10586"/>
                <a:gd name="connsiteY313" fmla="*/ 7205 h 10000"/>
                <a:gd name="connsiteX314" fmla="*/ 7253 w 10586"/>
                <a:gd name="connsiteY314" fmla="*/ 7188 h 10000"/>
                <a:gd name="connsiteX315" fmla="*/ 7258 w 10586"/>
                <a:gd name="connsiteY315" fmla="*/ 7162 h 10000"/>
                <a:gd name="connsiteX316" fmla="*/ 7258 w 10586"/>
                <a:gd name="connsiteY316" fmla="*/ 7154 h 10000"/>
                <a:gd name="connsiteX317" fmla="*/ 7272 w 10586"/>
                <a:gd name="connsiteY317" fmla="*/ 7120 h 10000"/>
                <a:gd name="connsiteX318" fmla="*/ 7276 w 10586"/>
                <a:gd name="connsiteY318" fmla="*/ 7094 h 10000"/>
                <a:gd name="connsiteX319" fmla="*/ 7286 w 10586"/>
                <a:gd name="connsiteY319" fmla="*/ 7094 h 10000"/>
                <a:gd name="connsiteX320" fmla="*/ 7290 w 10586"/>
                <a:gd name="connsiteY320" fmla="*/ 7068 h 10000"/>
                <a:gd name="connsiteX321" fmla="*/ 7332 w 10586"/>
                <a:gd name="connsiteY321" fmla="*/ 6991 h 10000"/>
                <a:gd name="connsiteX322" fmla="*/ 7336 w 10586"/>
                <a:gd name="connsiteY322" fmla="*/ 6991 h 10000"/>
                <a:gd name="connsiteX323" fmla="*/ 7364 w 10586"/>
                <a:gd name="connsiteY323" fmla="*/ 6940 h 10000"/>
                <a:gd name="connsiteX324" fmla="*/ 7373 w 10586"/>
                <a:gd name="connsiteY324" fmla="*/ 6906 h 10000"/>
                <a:gd name="connsiteX325" fmla="*/ 7378 w 10586"/>
                <a:gd name="connsiteY325" fmla="*/ 6915 h 10000"/>
                <a:gd name="connsiteX326" fmla="*/ 7406 w 10586"/>
                <a:gd name="connsiteY326" fmla="*/ 6880 h 10000"/>
                <a:gd name="connsiteX327" fmla="*/ 7410 w 10586"/>
                <a:gd name="connsiteY327" fmla="*/ 6846 h 10000"/>
                <a:gd name="connsiteX328" fmla="*/ 7419 w 10586"/>
                <a:gd name="connsiteY328" fmla="*/ 6803 h 10000"/>
                <a:gd name="connsiteX329" fmla="*/ 7585 w 10586"/>
                <a:gd name="connsiteY329" fmla="*/ 6504 h 10000"/>
                <a:gd name="connsiteX330" fmla="*/ 7765 w 10586"/>
                <a:gd name="connsiteY330" fmla="*/ 6504 h 10000"/>
                <a:gd name="connsiteX331" fmla="*/ 7765 w 10586"/>
                <a:gd name="connsiteY331" fmla="*/ 6530 h 10000"/>
                <a:gd name="connsiteX332" fmla="*/ 7774 w 10586"/>
                <a:gd name="connsiteY332" fmla="*/ 6556 h 10000"/>
                <a:gd name="connsiteX333" fmla="*/ 7779 w 10586"/>
                <a:gd name="connsiteY333" fmla="*/ 6556 h 10000"/>
                <a:gd name="connsiteX334" fmla="*/ 7793 w 10586"/>
                <a:gd name="connsiteY334" fmla="*/ 6547 h 10000"/>
                <a:gd name="connsiteX335" fmla="*/ 7793 w 10586"/>
                <a:gd name="connsiteY335" fmla="*/ 6530 h 10000"/>
                <a:gd name="connsiteX336" fmla="*/ 7802 w 10586"/>
                <a:gd name="connsiteY336" fmla="*/ 6496 h 10000"/>
                <a:gd name="connsiteX337" fmla="*/ 7806 w 10586"/>
                <a:gd name="connsiteY337" fmla="*/ 6487 h 10000"/>
                <a:gd name="connsiteX338" fmla="*/ 7876 w 10586"/>
                <a:gd name="connsiteY338" fmla="*/ 6530 h 10000"/>
                <a:gd name="connsiteX339" fmla="*/ 7894 w 10586"/>
                <a:gd name="connsiteY339" fmla="*/ 6530 h 10000"/>
                <a:gd name="connsiteX340" fmla="*/ 7894 w 10586"/>
                <a:gd name="connsiteY340" fmla="*/ 6504 h 10000"/>
                <a:gd name="connsiteX341" fmla="*/ 7899 w 10586"/>
                <a:gd name="connsiteY341" fmla="*/ 6504 h 10000"/>
                <a:gd name="connsiteX342" fmla="*/ 7926 w 10586"/>
                <a:gd name="connsiteY342" fmla="*/ 6504 h 10000"/>
                <a:gd name="connsiteX343" fmla="*/ 7940 w 10586"/>
                <a:gd name="connsiteY343" fmla="*/ 6547 h 10000"/>
                <a:gd name="connsiteX344" fmla="*/ 7949 w 10586"/>
                <a:gd name="connsiteY344" fmla="*/ 6547 h 10000"/>
                <a:gd name="connsiteX345" fmla="*/ 7963 w 10586"/>
                <a:gd name="connsiteY345" fmla="*/ 6530 h 10000"/>
                <a:gd name="connsiteX346" fmla="*/ 7963 w 10586"/>
                <a:gd name="connsiteY346" fmla="*/ 6504 h 10000"/>
                <a:gd name="connsiteX347" fmla="*/ 7963 w 10586"/>
                <a:gd name="connsiteY347" fmla="*/ 6504 h 10000"/>
                <a:gd name="connsiteX348" fmla="*/ 7954 w 10586"/>
                <a:gd name="connsiteY348" fmla="*/ 6496 h 10000"/>
                <a:gd name="connsiteX349" fmla="*/ 7963 w 10586"/>
                <a:gd name="connsiteY349" fmla="*/ 6487 h 10000"/>
                <a:gd name="connsiteX350" fmla="*/ 7982 w 10586"/>
                <a:gd name="connsiteY350" fmla="*/ 6487 h 10000"/>
                <a:gd name="connsiteX351" fmla="*/ 7982 w 10586"/>
                <a:gd name="connsiteY351" fmla="*/ 6470 h 10000"/>
                <a:gd name="connsiteX352" fmla="*/ 7972 w 10586"/>
                <a:gd name="connsiteY352" fmla="*/ 6462 h 10000"/>
                <a:gd name="connsiteX353" fmla="*/ 7972 w 10586"/>
                <a:gd name="connsiteY353" fmla="*/ 6436 h 10000"/>
                <a:gd name="connsiteX354" fmla="*/ 7986 w 10586"/>
                <a:gd name="connsiteY354" fmla="*/ 6419 h 10000"/>
                <a:gd name="connsiteX355" fmla="*/ 8000 w 10586"/>
                <a:gd name="connsiteY355" fmla="*/ 6419 h 10000"/>
                <a:gd name="connsiteX356" fmla="*/ 8055 w 10586"/>
                <a:gd name="connsiteY356" fmla="*/ 6462 h 10000"/>
                <a:gd name="connsiteX357" fmla="*/ 8069 w 10586"/>
                <a:gd name="connsiteY357" fmla="*/ 6444 h 10000"/>
                <a:gd name="connsiteX358" fmla="*/ 8083 w 10586"/>
                <a:gd name="connsiteY358" fmla="*/ 6470 h 10000"/>
                <a:gd name="connsiteX359" fmla="*/ 8083 w 10586"/>
                <a:gd name="connsiteY359" fmla="*/ 6487 h 10000"/>
                <a:gd name="connsiteX360" fmla="*/ 8097 w 10586"/>
                <a:gd name="connsiteY360" fmla="*/ 6487 h 10000"/>
                <a:gd name="connsiteX361" fmla="*/ 8101 w 10586"/>
                <a:gd name="connsiteY361" fmla="*/ 6462 h 10000"/>
                <a:gd name="connsiteX362" fmla="*/ 8115 w 10586"/>
                <a:gd name="connsiteY362" fmla="*/ 6462 h 10000"/>
                <a:gd name="connsiteX363" fmla="*/ 8129 w 10586"/>
                <a:gd name="connsiteY363" fmla="*/ 6462 h 10000"/>
                <a:gd name="connsiteX364" fmla="*/ 8157 w 10586"/>
                <a:gd name="connsiteY364" fmla="*/ 6496 h 10000"/>
                <a:gd name="connsiteX365" fmla="*/ 8157 w 10586"/>
                <a:gd name="connsiteY365" fmla="*/ 6521 h 10000"/>
                <a:gd name="connsiteX366" fmla="*/ 8180 w 10586"/>
                <a:gd name="connsiteY366" fmla="*/ 6530 h 10000"/>
                <a:gd name="connsiteX367" fmla="*/ 8180 w 10586"/>
                <a:gd name="connsiteY367" fmla="*/ 6547 h 10000"/>
                <a:gd name="connsiteX368" fmla="*/ 8171 w 10586"/>
                <a:gd name="connsiteY368" fmla="*/ 6556 h 10000"/>
                <a:gd name="connsiteX369" fmla="*/ 8129 w 10586"/>
                <a:gd name="connsiteY369" fmla="*/ 6556 h 10000"/>
                <a:gd name="connsiteX370" fmla="*/ 8106 w 10586"/>
                <a:gd name="connsiteY370" fmla="*/ 6573 h 10000"/>
                <a:gd name="connsiteX371" fmla="*/ 8115 w 10586"/>
                <a:gd name="connsiteY371" fmla="*/ 6581 h 10000"/>
                <a:gd name="connsiteX372" fmla="*/ 8129 w 10586"/>
                <a:gd name="connsiteY372" fmla="*/ 6632 h 10000"/>
                <a:gd name="connsiteX373" fmla="*/ 8171 w 10586"/>
                <a:gd name="connsiteY373" fmla="*/ 6632 h 10000"/>
                <a:gd name="connsiteX374" fmla="*/ 8180 w 10586"/>
                <a:gd name="connsiteY374" fmla="*/ 6624 h 10000"/>
                <a:gd name="connsiteX375" fmla="*/ 8189 w 10586"/>
                <a:gd name="connsiteY375" fmla="*/ 6598 h 10000"/>
                <a:gd name="connsiteX376" fmla="*/ 8203 w 10586"/>
                <a:gd name="connsiteY376" fmla="*/ 6581 h 10000"/>
                <a:gd name="connsiteX377" fmla="*/ 8207 w 10586"/>
                <a:gd name="connsiteY377" fmla="*/ 6607 h 10000"/>
                <a:gd name="connsiteX378" fmla="*/ 8221 w 10586"/>
                <a:gd name="connsiteY378" fmla="*/ 6624 h 10000"/>
                <a:gd name="connsiteX379" fmla="*/ 8235 w 10586"/>
                <a:gd name="connsiteY379" fmla="*/ 6607 h 10000"/>
                <a:gd name="connsiteX380" fmla="*/ 8240 w 10586"/>
                <a:gd name="connsiteY380" fmla="*/ 6581 h 10000"/>
                <a:gd name="connsiteX381" fmla="*/ 8253 w 10586"/>
                <a:gd name="connsiteY381" fmla="*/ 6573 h 10000"/>
                <a:gd name="connsiteX382" fmla="*/ 8263 w 10586"/>
                <a:gd name="connsiteY382" fmla="*/ 6556 h 10000"/>
                <a:gd name="connsiteX383" fmla="*/ 8276 w 10586"/>
                <a:gd name="connsiteY383" fmla="*/ 6547 h 10000"/>
                <a:gd name="connsiteX384" fmla="*/ 8290 w 10586"/>
                <a:gd name="connsiteY384" fmla="*/ 6556 h 10000"/>
                <a:gd name="connsiteX385" fmla="*/ 8304 w 10586"/>
                <a:gd name="connsiteY385" fmla="*/ 6581 h 10000"/>
                <a:gd name="connsiteX386" fmla="*/ 8309 w 10586"/>
                <a:gd name="connsiteY386" fmla="*/ 6581 h 10000"/>
                <a:gd name="connsiteX387" fmla="*/ 8327 w 10586"/>
                <a:gd name="connsiteY387" fmla="*/ 6573 h 10000"/>
                <a:gd name="connsiteX388" fmla="*/ 8327 w 10586"/>
                <a:gd name="connsiteY388" fmla="*/ 6556 h 10000"/>
                <a:gd name="connsiteX389" fmla="*/ 8350 w 10586"/>
                <a:gd name="connsiteY389" fmla="*/ 6556 h 10000"/>
                <a:gd name="connsiteX390" fmla="*/ 8355 w 10586"/>
                <a:gd name="connsiteY390" fmla="*/ 6573 h 10000"/>
                <a:gd name="connsiteX391" fmla="*/ 8364 w 10586"/>
                <a:gd name="connsiteY391" fmla="*/ 6556 h 10000"/>
                <a:gd name="connsiteX392" fmla="*/ 8369 w 10586"/>
                <a:gd name="connsiteY392" fmla="*/ 6556 h 10000"/>
                <a:gd name="connsiteX393" fmla="*/ 8378 w 10586"/>
                <a:gd name="connsiteY393" fmla="*/ 6530 h 10000"/>
                <a:gd name="connsiteX394" fmla="*/ 8369 w 10586"/>
                <a:gd name="connsiteY394" fmla="*/ 6504 h 10000"/>
                <a:gd name="connsiteX395" fmla="*/ 8364 w 10586"/>
                <a:gd name="connsiteY395" fmla="*/ 6496 h 10000"/>
                <a:gd name="connsiteX396" fmla="*/ 8336 w 10586"/>
                <a:gd name="connsiteY396" fmla="*/ 6470 h 10000"/>
                <a:gd name="connsiteX397" fmla="*/ 8309 w 10586"/>
                <a:gd name="connsiteY397" fmla="*/ 6487 h 10000"/>
                <a:gd name="connsiteX398" fmla="*/ 8313 w 10586"/>
                <a:gd name="connsiteY398" fmla="*/ 6462 h 10000"/>
                <a:gd name="connsiteX399" fmla="*/ 8323 w 10586"/>
                <a:gd name="connsiteY399" fmla="*/ 6444 h 10000"/>
                <a:gd name="connsiteX400" fmla="*/ 8309 w 10586"/>
                <a:gd name="connsiteY400" fmla="*/ 6393 h 10000"/>
                <a:gd name="connsiteX401" fmla="*/ 8313 w 10586"/>
                <a:gd name="connsiteY401" fmla="*/ 6385 h 10000"/>
                <a:gd name="connsiteX402" fmla="*/ 8323 w 10586"/>
                <a:gd name="connsiteY402" fmla="*/ 6393 h 10000"/>
                <a:gd name="connsiteX403" fmla="*/ 8323 w 10586"/>
                <a:gd name="connsiteY403" fmla="*/ 6393 h 10000"/>
                <a:gd name="connsiteX404" fmla="*/ 8355 w 10586"/>
                <a:gd name="connsiteY404" fmla="*/ 6282 h 10000"/>
                <a:gd name="connsiteX405" fmla="*/ 8369 w 10586"/>
                <a:gd name="connsiteY405" fmla="*/ 6256 h 10000"/>
                <a:gd name="connsiteX406" fmla="*/ 8382 w 10586"/>
                <a:gd name="connsiteY406" fmla="*/ 6248 h 10000"/>
                <a:gd name="connsiteX407" fmla="*/ 8424 w 10586"/>
                <a:gd name="connsiteY407" fmla="*/ 6162 h 10000"/>
                <a:gd name="connsiteX408" fmla="*/ 8429 w 10586"/>
                <a:gd name="connsiteY408" fmla="*/ 6145 h 10000"/>
                <a:gd name="connsiteX409" fmla="*/ 8470 w 10586"/>
                <a:gd name="connsiteY409" fmla="*/ 6051 h 10000"/>
                <a:gd name="connsiteX410" fmla="*/ 8475 w 10586"/>
                <a:gd name="connsiteY410" fmla="*/ 5983 h 10000"/>
                <a:gd name="connsiteX411" fmla="*/ 8512 w 10586"/>
                <a:gd name="connsiteY411" fmla="*/ 5940 h 10000"/>
                <a:gd name="connsiteX412" fmla="*/ 8521 w 10586"/>
                <a:gd name="connsiteY412" fmla="*/ 5923 h 10000"/>
                <a:gd name="connsiteX413" fmla="*/ 8535 w 10586"/>
                <a:gd name="connsiteY413" fmla="*/ 5915 h 10000"/>
                <a:gd name="connsiteX414" fmla="*/ 8562 w 10586"/>
                <a:gd name="connsiteY414" fmla="*/ 5915 h 10000"/>
                <a:gd name="connsiteX415" fmla="*/ 8618 w 10586"/>
                <a:gd name="connsiteY415" fmla="*/ 5889 h 10000"/>
                <a:gd name="connsiteX416" fmla="*/ 8622 w 10586"/>
                <a:gd name="connsiteY416" fmla="*/ 5889 h 10000"/>
                <a:gd name="connsiteX417" fmla="*/ 8622 w 10586"/>
                <a:gd name="connsiteY417" fmla="*/ 5872 h 10000"/>
                <a:gd name="connsiteX418" fmla="*/ 8636 w 10586"/>
                <a:gd name="connsiteY418" fmla="*/ 5872 h 10000"/>
                <a:gd name="connsiteX419" fmla="*/ 8650 w 10586"/>
                <a:gd name="connsiteY419" fmla="*/ 5889 h 10000"/>
                <a:gd name="connsiteX420" fmla="*/ 8659 w 10586"/>
                <a:gd name="connsiteY420" fmla="*/ 5915 h 10000"/>
                <a:gd name="connsiteX421" fmla="*/ 8664 w 10586"/>
                <a:gd name="connsiteY421" fmla="*/ 5940 h 10000"/>
                <a:gd name="connsiteX422" fmla="*/ 8682 w 10586"/>
                <a:gd name="connsiteY422" fmla="*/ 5923 h 10000"/>
                <a:gd name="connsiteX423" fmla="*/ 8719 w 10586"/>
                <a:gd name="connsiteY423" fmla="*/ 5863 h 10000"/>
                <a:gd name="connsiteX424" fmla="*/ 8705 w 10586"/>
                <a:gd name="connsiteY424" fmla="*/ 5966 h 10000"/>
                <a:gd name="connsiteX425" fmla="*/ 8696 w 10586"/>
                <a:gd name="connsiteY425" fmla="*/ 5983 h 10000"/>
                <a:gd name="connsiteX426" fmla="*/ 8682 w 10586"/>
                <a:gd name="connsiteY426" fmla="*/ 6026 h 10000"/>
                <a:gd name="connsiteX427" fmla="*/ 8682 w 10586"/>
                <a:gd name="connsiteY427" fmla="*/ 6051 h 10000"/>
                <a:gd name="connsiteX428" fmla="*/ 8691 w 10586"/>
                <a:gd name="connsiteY428" fmla="*/ 6077 h 10000"/>
                <a:gd name="connsiteX429" fmla="*/ 8691 w 10586"/>
                <a:gd name="connsiteY429" fmla="*/ 6085 h 10000"/>
                <a:gd name="connsiteX430" fmla="*/ 8682 w 10586"/>
                <a:gd name="connsiteY430" fmla="*/ 6103 h 10000"/>
                <a:gd name="connsiteX431" fmla="*/ 8682 w 10586"/>
                <a:gd name="connsiteY431" fmla="*/ 6111 h 10000"/>
                <a:gd name="connsiteX432" fmla="*/ 8691 w 10586"/>
                <a:gd name="connsiteY432" fmla="*/ 6120 h 10000"/>
                <a:gd name="connsiteX433" fmla="*/ 8719 w 10586"/>
                <a:gd name="connsiteY433" fmla="*/ 6103 h 10000"/>
                <a:gd name="connsiteX434" fmla="*/ 8705 w 10586"/>
                <a:gd name="connsiteY434" fmla="*/ 6188 h 10000"/>
                <a:gd name="connsiteX435" fmla="*/ 8705 w 10586"/>
                <a:gd name="connsiteY435" fmla="*/ 6214 h 10000"/>
                <a:gd name="connsiteX436" fmla="*/ 8710 w 10586"/>
                <a:gd name="connsiteY436" fmla="*/ 6197 h 10000"/>
                <a:gd name="connsiteX437" fmla="*/ 8728 w 10586"/>
                <a:gd name="connsiteY437" fmla="*/ 6171 h 10000"/>
                <a:gd name="connsiteX438" fmla="*/ 8737 w 10586"/>
                <a:gd name="connsiteY438" fmla="*/ 6171 h 10000"/>
                <a:gd name="connsiteX439" fmla="*/ 8843 w 10586"/>
                <a:gd name="connsiteY439" fmla="*/ 5949 h 10000"/>
                <a:gd name="connsiteX440" fmla="*/ 8866 w 10586"/>
                <a:gd name="connsiteY440" fmla="*/ 5949 h 10000"/>
                <a:gd name="connsiteX441" fmla="*/ 8871 w 10586"/>
                <a:gd name="connsiteY441" fmla="*/ 5940 h 10000"/>
                <a:gd name="connsiteX442" fmla="*/ 8876 w 10586"/>
                <a:gd name="connsiteY442" fmla="*/ 5923 h 10000"/>
                <a:gd name="connsiteX443" fmla="*/ 8885 w 10586"/>
                <a:gd name="connsiteY443" fmla="*/ 5940 h 10000"/>
                <a:gd name="connsiteX444" fmla="*/ 8885 w 10586"/>
                <a:gd name="connsiteY444" fmla="*/ 5949 h 10000"/>
                <a:gd name="connsiteX445" fmla="*/ 8885 w 10586"/>
                <a:gd name="connsiteY445" fmla="*/ 5974 h 10000"/>
                <a:gd name="connsiteX446" fmla="*/ 8889 w 10586"/>
                <a:gd name="connsiteY446" fmla="*/ 5974 h 10000"/>
                <a:gd name="connsiteX447" fmla="*/ 8903 w 10586"/>
                <a:gd name="connsiteY447" fmla="*/ 5923 h 10000"/>
                <a:gd name="connsiteX448" fmla="*/ 8889 w 10586"/>
                <a:gd name="connsiteY448" fmla="*/ 5923 h 10000"/>
                <a:gd name="connsiteX449" fmla="*/ 8889 w 10586"/>
                <a:gd name="connsiteY449" fmla="*/ 5897 h 10000"/>
                <a:gd name="connsiteX450" fmla="*/ 8899 w 10586"/>
                <a:gd name="connsiteY450" fmla="*/ 5838 h 10000"/>
                <a:gd name="connsiteX451" fmla="*/ 8889 w 10586"/>
                <a:gd name="connsiteY451" fmla="*/ 5812 h 10000"/>
                <a:gd name="connsiteX452" fmla="*/ 8903 w 10586"/>
                <a:gd name="connsiteY452" fmla="*/ 5778 h 10000"/>
                <a:gd name="connsiteX453" fmla="*/ 8903 w 10586"/>
                <a:gd name="connsiteY453" fmla="*/ 5761 h 10000"/>
                <a:gd name="connsiteX454" fmla="*/ 8912 w 10586"/>
                <a:gd name="connsiteY454" fmla="*/ 5735 h 10000"/>
                <a:gd name="connsiteX455" fmla="*/ 8931 w 10586"/>
                <a:gd name="connsiteY455" fmla="*/ 5701 h 10000"/>
                <a:gd name="connsiteX456" fmla="*/ 8977 w 10586"/>
                <a:gd name="connsiteY456" fmla="*/ 5675 h 10000"/>
                <a:gd name="connsiteX457" fmla="*/ 9000 w 10586"/>
                <a:gd name="connsiteY457" fmla="*/ 5675 h 10000"/>
                <a:gd name="connsiteX458" fmla="*/ 9018 w 10586"/>
                <a:gd name="connsiteY458" fmla="*/ 5709 h 10000"/>
                <a:gd name="connsiteX459" fmla="*/ 9009 w 10586"/>
                <a:gd name="connsiteY459" fmla="*/ 5735 h 10000"/>
                <a:gd name="connsiteX460" fmla="*/ 9000 w 10586"/>
                <a:gd name="connsiteY460" fmla="*/ 5735 h 10000"/>
                <a:gd name="connsiteX461" fmla="*/ 8963 w 10586"/>
                <a:gd name="connsiteY461" fmla="*/ 5786 h 10000"/>
                <a:gd name="connsiteX462" fmla="*/ 8949 w 10586"/>
                <a:gd name="connsiteY462" fmla="*/ 5940 h 10000"/>
                <a:gd name="connsiteX463" fmla="*/ 8945 w 10586"/>
                <a:gd name="connsiteY463" fmla="*/ 5966 h 10000"/>
                <a:gd name="connsiteX464" fmla="*/ 8945 w 10586"/>
                <a:gd name="connsiteY464" fmla="*/ 6000 h 10000"/>
                <a:gd name="connsiteX465" fmla="*/ 8945 w 10586"/>
                <a:gd name="connsiteY465" fmla="*/ 6009 h 10000"/>
                <a:gd name="connsiteX466" fmla="*/ 8945 w 10586"/>
                <a:gd name="connsiteY466" fmla="*/ 6034 h 10000"/>
                <a:gd name="connsiteX467" fmla="*/ 8931 w 10586"/>
                <a:gd name="connsiteY467" fmla="*/ 6060 h 10000"/>
                <a:gd name="connsiteX468" fmla="*/ 8926 w 10586"/>
                <a:gd name="connsiteY468" fmla="*/ 6077 h 10000"/>
                <a:gd name="connsiteX469" fmla="*/ 8926 w 10586"/>
                <a:gd name="connsiteY469" fmla="*/ 6111 h 10000"/>
                <a:gd name="connsiteX470" fmla="*/ 8931 w 10586"/>
                <a:gd name="connsiteY470" fmla="*/ 6120 h 10000"/>
                <a:gd name="connsiteX471" fmla="*/ 8931 w 10586"/>
                <a:gd name="connsiteY471" fmla="*/ 6137 h 10000"/>
                <a:gd name="connsiteX472" fmla="*/ 8912 w 10586"/>
                <a:gd name="connsiteY472" fmla="*/ 6171 h 10000"/>
                <a:gd name="connsiteX473" fmla="*/ 8899 w 10586"/>
                <a:gd name="connsiteY473" fmla="*/ 6162 h 10000"/>
                <a:gd name="connsiteX474" fmla="*/ 8885 w 10586"/>
                <a:gd name="connsiteY474" fmla="*/ 6171 h 10000"/>
                <a:gd name="connsiteX475" fmla="*/ 8866 w 10586"/>
                <a:gd name="connsiteY475" fmla="*/ 6214 h 10000"/>
                <a:gd name="connsiteX476" fmla="*/ 8853 w 10586"/>
                <a:gd name="connsiteY476" fmla="*/ 6214 h 10000"/>
                <a:gd name="connsiteX477" fmla="*/ 8816 w 10586"/>
                <a:gd name="connsiteY477" fmla="*/ 6248 h 10000"/>
                <a:gd name="connsiteX478" fmla="*/ 8816 w 10586"/>
                <a:gd name="connsiteY478" fmla="*/ 6248 h 10000"/>
                <a:gd name="connsiteX479" fmla="*/ 8816 w 10586"/>
                <a:gd name="connsiteY479" fmla="*/ 6282 h 10000"/>
                <a:gd name="connsiteX480" fmla="*/ 8811 w 10586"/>
                <a:gd name="connsiteY480" fmla="*/ 6308 h 10000"/>
                <a:gd name="connsiteX481" fmla="*/ 8751 w 10586"/>
                <a:gd name="connsiteY481" fmla="*/ 6436 h 10000"/>
                <a:gd name="connsiteX482" fmla="*/ 8724 w 10586"/>
                <a:gd name="connsiteY482" fmla="*/ 6470 h 10000"/>
                <a:gd name="connsiteX483" fmla="*/ 8710 w 10586"/>
                <a:gd name="connsiteY483" fmla="*/ 6504 h 10000"/>
                <a:gd name="connsiteX484" fmla="*/ 8705 w 10586"/>
                <a:gd name="connsiteY484" fmla="*/ 6521 h 10000"/>
                <a:gd name="connsiteX485" fmla="*/ 8677 w 10586"/>
                <a:gd name="connsiteY485" fmla="*/ 6573 h 10000"/>
                <a:gd name="connsiteX486" fmla="*/ 8677 w 10586"/>
                <a:gd name="connsiteY486" fmla="*/ 6624 h 10000"/>
                <a:gd name="connsiteX487" fmla="*/ 8590 w 10586"/>
                <a:gd name="connsiteY487" fmla="*/ 6803 h 10000"/>
                <a:gd name="connsiteX488" fmla="*/ 8562 w 10586"/>
                <a:gd name="connsiteY488" fmla="*/ 6829 h 10000"/>
                <a:gd name="connsiteX489" fmla="*/ 8544 w 10586"/>
                <a:gd name="connsiteY489" fmla="*/ 6829 h 10000"/>
                <a:gd name="connsiteX490" fmla="*/ 8521 w 10586"/>
                <a:gd name="connsiteY490" fmla="*/ 6880 h 10000"/>
                <a:gd name="connsiteX491" fmla="*/ 8498 w 10586"/>
                <a:gd name="connsiteY491" fmla="*/ 6872 h 10000"/>
                <a:gd name="connsiteX492" fmla="*/ 8488 w 10586"/>
                <a:gd name="connsiteY492" fmla="*/ 6872 h 10000"/>
                <a:gd name="connsiteX493" fmla="*/ 8498 w 10586"/>
                <a:gd name="connsiteY493" fmla="*/ 6940 h 10000"/>
                <a:gd name="connsiteX494" fmla="*/ 8484 w 10586"/>
                <a:gd name="connsiteY494" fmla="*/ 7026 h 10000"/>
                <a:gd name="connsiteX495" fmla="*/ 8429 w 10586"/>
                <a:gd name="connsiteY495" fmla="*/ 7094 h 10000"/>
                <a:gd name="connsiteX496" fmla="*/ 8401 w 10586"/>
                <a:gd name="connsiteY496" fmla="*/ 7291 h 10000"/>
                <a:gd name="connsiteX497" fmla="*/ 8424 w 10586"/>
                <a:gd name="connsiteY497" fmla="*/ 7692 h 10000"/>
                <a:gd name="connsiteX498" fmla="*/ 8424 w 10586"/>
                <a:gd name="connsiteY498" fmla="*/ 7701 h 10000"/>
                <a:gd name="connsiteX499" fmla="*/ 8484 w 10586"/>
                <a:gd name="connsiteY499" fmla="*/ 8308 h 10000"/>
                <a:gd name="connsiteX500" fmla="*/ 8576 w 10586"/>
                <a:gd name="connsiteY500" fmla="*/ 8120 h 10000"/>
                <a:gd name="connsiteX501" fmla="*/ 8590 w 10586"/>
                <a:gd name="connsiteY501" fmla="*/ 8026 h 10000"/>
                <a:gd name="connsiteX502" fmla="*/ 8590 w 10586"/>
                <a:gd name="connsiteY502" fmla="*/ 7983 h 10000"/>
                <a:gd name="connsiteX503" fmla="*/ 8594 w 10586"/>
                <a:gd name="connsiteY503" fmla="*/ 7974 h 10000"/>
                <a:gd name="connsiteX504" fmla="*/ 8594 w 10586"/>
                <a:gd name="connsiteY504" fmla="*/ 7940 h 10000"/>
                <a:gd name="connsiteX505" fmla="*/ 8594 w 10586"/>
                <a:gd name="connsiteY505" fmla="*/ 7923 h 10000"/>
                <a:gd name="connsiteX506" fmla="*/ 8594 w 10586"/>
                <a:gd name="connsiteY506" fmla="*/ 7915 h 10000"/>
                <a:gd name="connsiteX507" fmla="*/ 8604 w 10586"/>
                <a:gd name="connsiteY507" fmla="*/ 7915 h 10000"/>
                <a:gd name="connsiteX508" fmla="*/ 8608 w 10586"/>
                <a:gd name="connsiteY508" fmla="*/ 7923 h 10000"/>
                <a:gd name="connsiteX509" fmla="*/ 8645 w 10586"/>
                <a:gd name="connsiteY509" fmla="*/ 7872 h 10000"/>
                <a:gd name="connsiteX510" fmla="*/ 8668 w 10586"/>
                <a:gd name="connsiteY510" fmla="*/ 7846 h 10000"/>
                <a:gd name="connsiteX511" fmla="*/ 8691 w 10586"/>
                <a:gd name="connsiteY511" fmla="*/ 7863 h 10000"/>
                <a:gd name="connsiteX512" fmla="*/ 8691 w 10586"/>
                <a:gd name="connsiteY512" fmla="*/ 7846 h 10000"/>
                <a:gd name="connsiteX513" fmla="*/ 8682 w 10586"/>
                <a:gd name="connsiteY513" fmla="*/ 7838 h 10000"/>
                <a:gd name="connsiteX514" fmla="*/ 8682 w 10586"/>
                <a:gd name="connsiteY514" fmla="*/ 7692 h 10000"/>
                <a:gd name="connsiteX515" fmla="*/ 8728 w 10586"/>
                <a:gd name="connsiteY515" fmla="*/ 7598 h 10000"/>
                <a:gd name="connsiteX516" fmla="*/ 8751 w 10586"/>
                <a:gd name="connsiteY516" fmla="*/ 7573 h 10000"/>
                <a:gd name="connsiteX517" fmla="*/ 8770 w 10586"/>
                <a:gd name="connsiteY517" fmla="*/ 7573 h 10000"/>
                <a:gd name="connsiteX518" fmla="*/ 8779 w 10586"/>
                <a:gd name="connsiteY518" fmla="*/ 7590 h 10000"/>
                <a:gd name="connsiteX519" fmla="*/ 8793 w 10586"/>
                <a:gd name="connsiteY519" fmla="*/ 7590 h 10000"/>
                <a:gd name="connsiteX520" fmla="*/ 8811 w 10586"/>
                <a:gd name="connsiteY520" fmla="*/ 7590 h 10000"/>
                <a:gd name="connsiteX521" fmla="*/ 8825 w 10586"/>
                <a:gd name="connsiteY521" fmla="*/ 7556 h 10000"/>
                <a:gd name="connsiteX522" fmla="*/ 8829 w 10586"/>
                <a:gd name="connsiteY522" fmla="*/ 7530 h 10000"/>
                <a:gd name="connsiteX523" fmla="*/ 8802 w 10586"/>
                <a:gd name="connsiteY523" fmla="*/ 7462 h 10000"/>
                <a:gd name="connsiteX524" fmla="*/ 8797 w 10586"/>
                <a:gd name="connsiteY524" fmla="*/ 7402 h 10000"/>
                <a:gd name="connsiteX525" fmla="*/ 8816 w 10586"/>
                <a:gd name="connsiteY525" fmla="*/ 7291 h 10000"/>
                <a:gd name="connsiteX526" fmla="*/ 8825 w 10586"/>
                <a:gd name="connsiteY526" fmla="*/ 7256 h 10000"/>
                <a:gd name="connsiteX527" fmla="*/ 8843 w 10586"/>
                <a:gd name="connsiteY527" fmla="*/ 7231 h 10000"/>
                <a:gd name="connsiteX528" fmla="*/ 8839 w 10586"/>
                <a:gd name="connsiteY528" fmla="*/ 7205 h 10000"/>
                <a:gd name="connsiteX529" fmla="*/ 8839 w 10586"/>
                <a:gd name="connsiteY529" fmla="*/ 7188 h 10000"/>
                <a:gd name="connsiteX530" fmla="*/ 8876 w 10586"/>
                <a:gd name="connsiteY530" fmla="*/ 7162 h 10000"/>
                <a:gd name="connsiteX531" fmla="*/ 8885 w 10586"/>
                <a:gd name="connsiteY531" fmla="*/ 7154 h 10000"/>
                <a:gd name="connsiteX532" fmla="*/ 8885 w 10586"/>
                <a:gd name="connsiteY532" fmla="*/ 7162 h 10000"/>
                <a:gd name="connsiteX533" fmla="*/ 8876 w 10586"/>
                <a:gd name="connsiteY533" fmla="*/ 7188 h 10000"/>
                <a:gd name="connsiteX534" fmla="*/ 8871 w 10586"/>
                <a:gd name="connsiteY534" fmla="*/ 7205 h 10000"/>
                <a:gd name="connsiteX535" fmla="*/ 8866 w 10586"/>
                <a:gd name="connsiteY535" fmla="*/ 7214 h 10000"/>
                <a:gd name="connsiteX536" fmla="*/ 8876 w 10586"/>
                <a:gd name="connsiteY536" fmla="*/ 7265 h 10000"/>
                <a:gd name="connsiteX537" fmla="*/ 8885 w 10586"/>
                <a:gd name="connsiteY537" fmla="*/ 7282 h 10000"/>
                <a:gd name="connsiteX538" fmla="*/ 8889 w 10586"/>
                <a:gd name="connsiteY538" fmla="*/ 7282 h 10000"/>
                <a:gd name="connsiteX539" fmla="*/ 8903 w 10586"/>
                <a:gd name="connsiteY539" fmla="*/ 7239 h 10000"/>
                <a:gd name="connsiteX540" fmla="*/ 8903 w 10586"/>
                <a:gd name="connsiteY540" fmla="*/ 7214 h 10000"/>
                <a:gd name="connsiteX541" fmla="*/ 8899 w 10586"/>
                <a:gd name="connsiteY541" fmla="*/ 7128 h 10000"/>
                <a:gd name="connsiteX542" fmla="*/ 8889 w 10586"/>
                <a:gd name="connsiteY542" fmla="*/ 7120 h 10000"/>
                <a:gd name="connsiteX543" fmla="*/ 8871 w 10586"/>
                <a:gd name="connsiteY543" fmla="*/ 7120 h 10000"/>
                <a:gd name="connsiteX544" fmla="*/ 8871 w 10586"/>
                <a:gd name="connsiteY544" fmla="*/ 7120 h 10000"/>
                <a:gd name="connsiteX545" fmla="*/ 8871 w 10586"/>
                <a:gd name="connsiteY545" fmla="*/ 6991 h 10000"/>
                <a:gd name="connsiteX546" fmla="*/ 8871 w 10586"/>
                <a:gd name="connsiteY546" fmla="*/ 6966 h 10000"/>
                <a:gd name="connsiteX547" fmla="*/ 8889 w 10586"/>
                <a:gd name="connsiteY547" fmla="*/ 6940 h 10000"/>
                <a:gd name="connsiteX548" fmla="*/ 8903 w 10586"/>
                <a:gd name="connsiteY548" fmla="*/ 6906 h 10000"/>
                <a:gd name="connsiteX549" fmla="*/ 8899 w 10586"/>
                <a:gd name="connsiteY549" fmla="*/ 6880 h 10000"/>
                <a:gd name="connsiteX550" fmla="*/ 8866 w 10586"/>
                <a:gd name="connsiteY550" fmla="*/ 6846 h 10000"/>
                <a:gd name="connsiteX551" fmla="*/ 8853 w 10586"/>
                <a:gd name="connsiteY551" fmla="*/ 6846 h 10000"/>
                <a:gd name="connsiteX552" fmla="*/ 8843 w 10586"/>
                <a:gd name="connsiteY552" fmla="*/ 6880 h 10000"/>
                <a:gd name="connsiteX553" fmla="*/ 8843 w 10586"/>
                <a:gd name="connsiteY553" fmla="*/ 6897 h 10000"/>
                <a:gd name="connsiteX554" fmla="*/ 8829 w 10586"/>
                <a:gd name="connsiteY554" fmla="*/ 6880 h 10000"/>
                <a:gd name="connsiteX555" fmla="*/ 8825 w 10586"/>
                <a:gd name="connsiteY555" fmla="*/ 6872 h 10000"/>
                <a:gd name="connsiteX556" fmla="*/ 8816 w 10586"/>
                <a:gd name="connsiteY556" fmla="*/ 6846 h 10000"/>
                <a:gd name="connsiteX557" fmla="*/ 8816 w 10586"/>
                <a:gd name="connsiteY557" fmla="*/ 6803 h 10000"/>
                <a:gd name="connsiteX558" fmla="*/ 8876 w 10586"/>
                <a:gd name="connsiteY558" fmla="*/ 6598 h 10000"/>
                <a:gd name="connsiteX559" fmla="*/ 8876 w 10586"/>
                <a:gd name="connsiteY559" fmla="*/ 6573 h 10000"/>
                <a:gd name="connsiteX560" fmla="*/ 8885 w 10586"/>
                <a:gd name="connsiteY560" fmla="*/ 6556 h 10000"/>
                <a:gd name="connsiteX561" fmla="*/ 8899 w 10586"/>
                <a:gd name="connsiteY561" fmla="*/ 6573 h 10000"/>
                <a:gd name="connsiteX562" fmla="*/ 8889 w 10586"/>
                <a:gd name="connsiteY562" fmla="*/ 6556 h 10000"/>
                <a:gd name="connsiteX563" fmla="*/ 8889 w 10586"/>
                <a:gd name="connsiteY563" fmla="*/ 6530 h 10000"/>
                <a:gd name="connsiteX564" fmla="*/ 8903 w 10586"/>
                <a:gd name="connsiteY564" fmla="*/ 6521 h 10000"/>
                <a:gd name="connsiteX565" fmla="*/ 8903 w 10586"/>
                <a:gd name="connsiteY565" fmla="*/ 6504 h 10000"/>
                <a:gd name="connsiteX566" fmla="*/ 8903 w 10586"/>
                <a:gd name="connsiteY566" fmla="*/ 6487 h 10000"/>
                <a:gd name="connsiteX567" fmla="*/ 8903 w 10586"/>
                <a:gd name="connsiteY567" fmla="*/ 6462 h 10000"/>
                <a:gd name="connsiteX568" fmla="*/ 8912 w 10586"/>
                <a:gd name="connsiteY568" fmla="*/ 6419 h 10000"/>
                <a:gd name="connsiteX569" fmla="*/ 8917 w 10586"/>
                <a:gd name="connsiteY569" fmla="*/ 6393 h 10000"/>
                <a:gd name="connsiteX570" fmla="*/ 8926 w 10586"/>
                <a:gd name="connsiteY570" fmla="*/ 6385 h 10000"/>
                <a:gd name="connsiteX571" fmla="*/ 8931 w 10586"/>
                <a:gd name="connsiteY571" fmla="*/ 6385 h 10000"/>
                <a:gd name="connsiteX572" fmla="*/ 8949 w 10586"/>
                <a:gd name="connsiteY572" fmla="*/ 6359 h 10000"/>
                <a:gd name="connsiteX573" fmla="*/ 8959 w 10586"/>
                <a:gd name="connsiteY573" fmla="*/ 6368 h 10000"/>
                <a:gd name="connsiteX574" fmla="*/ 8963 w 10586"/>
                <a:gd name="connsiteY574" fmla="*/ 6385 h 10000"/>
                <a:gd name="connsiteX575" fmla="*/ 8972 w 10586"/>
                <a:gd name="connsiteY575" fmla="*/ 6359 h 10000"/>
                <a:gd name="connsiteX576" fmla="*/ 8991 w 10586"/>
                <a:gd name="connsiteY576" fmla="*/ 6350 h 10000"/>
                <a:gd name="connsiteX577" fmla="*/ 9000 w 10586"/>
                <a:gd name="connsiteY577" fmla="*/ 6368 h 10000"/>
                <a:gd name="connsiteX578" fmla="*/ 9005 w 10586"/>
                <a:gd name="connsiteY578" fmla="*/ 6393 h 10000"/>
                <a:gd name="connsiteX579" fmla="*/ 9018 w 10586"/>
                <a:gd name="connsiteY579" fmla="*/ 6393 h 10000"/>
                <a:gd name="connsiteX580" fmla="*/ 9023 w 10586"/>
                <a:gd name="connsiteY580" fmla="*/ 6359 h 10000"/>
                <a:gd name="connsiteX581" fmla="*/ 9023 w 10586"/>
                <a:gd name="connsiteY581" fmla="*/ 6333 h 10000"/>
                <a:gd name="connsiteX582" fmla="*/ 9037 w 10586"/>
                <a:gd name="connsiteY582" fmla="*/ 6308 h 10000"/>
                <a:gd name="connsiteX583" fmla="*/ 9074 w 10586"/>
                <a:gd name="connsiteY583" fmla="*/ 6274 h 10000"/>
                <a:gd name="connsiteX584" fmla="*/ 9092 w 10586"/>
                <a:gd name="connsiteY584" fmla="*/ 6222 h 10000"/>
                <a:gd name="connsiteX585" fmla="*/ 9097 w 10586"/>
                <a:gd name="connsiteY585" fmla="*/ 6231 h 10000"/>
                <a:gd name="connsiteX586" fmla="*/ 9097 w 10586"/>
                <a:gd name="connsiteY586" fmla="*/ 6248 h 10000"/>
                <a:gd name="connsiteX587" fmla="*/ 9097 w 10586"/>
                <a:gd name="connsiteY587" fmla="*/ 6274 h 10000"/>
                <a:gd name="connsiteX588" fmla="*/ 9097 w 10586"/>
                <a:gd name="connsiteY588" fmla="*/ 6308 h 10000"/>
                <a:gd name="connsiteX589" fmla="*/ 9092 w 10586"/>
                <a:gd name="connsiteY589" fmla="*/ 6368 h 10000"/>
                <a:gd name="connsiteX590" fmla="*/ 9092 w 10586"/>
                <a:gd name="connsiteY590" fmla="*/ 6385 h 10000"/>
                <a:gd name="connsiteX591" fmla="*/ 9092 w 10586"/>
                <a:gd name="connsiteY591" fmla="*/ 6393 h 10000"/>
                <a:gd name="connsiteX592" fmla="*/ 9092 w 10586"/>
                <a:gd name="connsiteY592" fmla="*/ 6393 h 10000"/>
                <a:gd name="connsiteX593" fmla="*/ 9143 w 10586"/>
                <a:gd name="connsiteY593" fmla="*/ 6299 h 10000"/>
                <a:gd name="connsiteX594" fmla="*/ 9143 w 10586"/>
                <a:gd name="connsiteY594" fmla="*/ 6282 h 10000"/>
                <a:gd name="connsiteX595" fmla="*/ 9143 w 10586"/>
                <a:gd name="connsiteY595" fmla="*/ 6256 h 10000"/>
                <a:gd name="connsiteX596" fmla="*/ 9143 w 10586"/>
                <a:gd name="connsiteY596" fmla="*/ 6256 h 10000"/>
                <a:gd name="connsiteX597" fmla="*/ 9157 w 10586"/>
                <a:gd name="connsiteY597" fmla="*/ 6274 h 10000"/>
                <a:gd name="connsiteX598" fmla="*/ 9166 w 10586"/>
                <a:gd name="connsiteY598" fmla="*/ 6248 h 10000"/>
                <a:gd name="connsiteX599" fmla="*/ 9180 w 10586"/>
                <a:gd name="connsiteY599" fmla="*/ 6248 h 10000"/>
                <a:gd name="connsiteX600" fmla="*/ 9198 w 10586"/>
                <a:gd name="connsiteY600" fmla="*/ 6222 h 10000"/>
                <a:gd name="connsiteX601" fmla="*/ 9212 w 10586"/>
                <a:gd name="connsiteY601" fmla="*/ 6222 h 10000"/>
                <a:gd name="connsiteX602" fmla="*/ 9226 w 10586"/>
                <a:gd name="connsiteY602" fmla="*/ 6197 h 10000"/>
                <a:gd name="connsiteX603" fmla="*/ 9230 w 10586"/>
                <a:gd name="connsiteY603" fmla="*/ 6214 h 10000"/>
                <a:gd name="connsiteX604" fmla="*/ 9272 w 10586"/>
                <a:gd name="connsiteY604" fmla="*/ 6214 h 10000"/>
                <a:gd name="connsiteX605" fmla="*/ 9304 w 10586"/>
                <a:gd name="connsiteY605" fmla="*/ 6231 h 10000"/>
                <a:gd name="connsiteX606" fmla="*/ 9318 w 10586"/>
                <a:gd name="connsiteY606" fmla="*/ 6248 h 10000"/>
                <a:gd name="connsiteX607" fmla="*/ 9327 w 10586"/>
                <a:gd name="connsiteY607" fmla="*/ 6282 h 10000"/>
                <a:gd name="connsiteX608" fmla="*/ 9355 w 10586"/>
                <a:gd name="connsiteY608" fmla="*/ 6350 h 10000"/>
                <a:gd name="connsiteX609" fmla="*/ 9355 w 10586"/>
                <a:gd name="connsiteY609" fmla="*/ 6359 h 10000"/>
                <a:gd name="connsiteX610" fmla="*/ 9364 w 10586"/>
                <a:gd name="connsiteY610" fmla="*/ 6368 h 10000"/>
                <a:gd name="connsiteX611" fmla="*/ 9373 w 10586"/>
                <a:gd name="connsiteY611" fmla="*/ 6359 h 10000"/>
                <a:gd name="connsiteX612" fmla="*/ 9373 w 10586"/>
                <a:gd name="connsiteY612" fmla="*/ 6325 h 10000"/>
                <a:gd name="connsiteX613" fmla="*/ 9387 w 10586"/>
                <a:gd name="connsiteY613" fmla="*/ 6256 h 10000"/>
                <a:gd name="connsiteX614" fmla="*/ 9387 w 10586"/>
                <a:gd name="connsiteY614" fmla="*/ 6248 h 10000"/>
                <a:gd name="connsiteX615" fmla="*/ 9378 w 10586"/>
                <a:gd name="connsiteY615" fmla="*/ 6248 h 10000"/>
                <a:gd name="connsiteX616" fmla="*/ 9406 w 10586"/>
                <a:gd name="connsiteY616" fmla="*/ 6222 h 10000"/>
                <a:gd name="connsiteX617" fmla="*/ 9415 w 10586"/>
                <a:gd name="connsiteY617" fmla="*/ 6222 h 10000"/>
                <a:gd name="connsiteX618" fmla="*/ 9415 w 10586"/>
                <a:gd name="connsiteY618" fmla="*/ 6197 h 10000"/>
                <a:gd name="connsiteX619" fmla="*/ 9419 w 10586"/>
                <a:gd name="connsiteY619" fmla="*/ 6214 h 10000"/>
                <a:gd name="connsiteX620" fmla="*/ 9424 w 10586"/>
                <a:gd name="connsiteY620" fmla="*/ 6214 h 10000"/>
                <a:gd name="connsiteX621" fmla="*/ 9447 w 10586"/>
                <a:gd name="connsiteY621" fmla="*/ 6171 h 10000"/>
                <a:gd name="connsiteX622" fmla="*/ 9452 w 10586"/>
                <a:gd name="connsiteY622" fmla="*/ 6171 h 10000"/>
                <a:gd name="connsiteX623" fmla="*/ 9452 w 10586"/>
                <a:gd name="connsiteY623" fmla="*/ 6162 h 10000"/>
                <a:gd name="connsiteX624" fmla="*/ 9461 w 10586"/>
                <a:gd name="connsiteY624" fmla="*/ 6137 h 10000"/>
                <a:gd name="connsiteX625" fmla="*/ 9475 w 10586"/>
                <a:gd name="connsiteY625" fmla="*/ 6137 h 10000"/>
                <a:gd name="connsiteX626" fmla="*/ 9475 w 10586"/>
                <a:gd name="connsiteY626" fmla="*/ 6137 h 10000"/>
                <a:gd name="connsiteX627" fmla="*/ 9479 w 10586"/>
                <a:gd name="connsiteY627" fmla="*/ 6120 h 10000"/>
                <a:gd name="connsiteX628" fmla="*/ 9488 w 10586"/>
                <a:gd name="connsiteY628" fmla="*/ 6120 h 10000"/>
                <a:gd name="connsiteX629" fmla="*/ 9488 w 10586"/>
                <a:gd name="connsiteY629" fmla="*/ 6111 h 10000"/>
                <a:gd name="connsiteX630" fmla="*/ 9479 w 10586"/>
                <a:gd name="connsiteY630" fmla="*/ 6103 h 10000"/>
                <a:gd name="connsiteX631" fmla="*/ 9479 w 10586"/>
                <a:gd name="connsiteY631" fmla="*/ 6085 h 10000"/>
                <a:gd name="connsiteX632" fmla="*/ 9488 w 10586"/>
                <a:gd name="connsiteY632" fmla="*/ 6103 h 10000"/>
                <a:gd name="connsiteX633" fmla="*/ 9493 w 10586"/>
                <a:gd name="connsiteY633" fmla="*/ 6111 h 10000"/>
                <a:gd name="connsiteX634" fmla="*/ 9498 w 10586"/>
                <a:gd name="connsiteY634" fmla="*/ 6103 h 10000"/>
                <a:gd name="connsiteX635" fmla="*/ 9507 w 10586"/>
                <a:gd name="connsiteY635" fmla="*/ 6077 h 10000"/>
                <a:gd name="connsiteX636" fmla="*/ 9498 w 10586"/>
                <a:gd name="connsiteY636" fmla="*/ 6060 h 10000"/>
                <a:gd name="connsiteX637" fmla="*/ 9512 w 10586"/>
                <a:gd name="connsiteY637" fmla="*/ 6060 h 10000"/>
                <a:gd name="connsiteX638" fmla="*/ 9525 w 10586"/>
                <a:gd name="connsiteY638" fmla="*/ 6034 h 10000"/>
                <a:gd name="connsiteX639" fmla="*/ 9535 w 10586"/>
                <a:gd name="connsiteY639" fmla="*/ 6034 h 10000"/>
                <a:gd name="connsiteX640" fmla="*/ 9535 w 10586"/>
                <a:gd name="connsiteY640" fmla="*/ 6026 h 10000"/>
                <a:gd name="connsiteX641" fmla="*/ 9525 w 10586"/>
                <a:gd name="connsiteY641" fmla="*/ 6009 h 10000"/>
                <a:gd name="connsiteX642" fmla="*/ 9535 w 10586"/>
                <a:gd name="connsiteY642" fmla="*/ 6000 h 10000"/>
                <a:gd name="connsiteX643" fmla="*/ 9539 w 10586"/>
                <a:gd name="connsiteY643" fmla="*/ 6009 h 10000"/>
                <a:gd name="connsiteX644" fmla="*/ 9548 w 10586"/>
                <a:gd name="connsiteY644" fmla="*/ 6009 h 10000"/>
                <a:gd name="connsiteX645" fmla="*/ 9553 w 10586"/>
                <a:gd name="connsiteY645" fmla="*/ 6000 h 10000"/>
                <a:gd name="connsiteX646" fmla="*/ 9562 w 10586"/>
                <a:gd name="connsiteY646" fmla="*/ 5983 h 10000"/>
                <a:gd name="connsiteX647" fmla="*/ 9562 w 10586"/>
                <a:gd name="connsiteY647" fmla="*/ 5974 h 10000"/>
                <a:gd name="connsiteX648" fmla="*/ 9567 w 10586"/>
                <a:gd name="connsiteY648" fmla="*/ 5974 h 10000"/>
                <a:gd name="connsiteX649" fmla="*/ 9567 w 10586"/>
                <a:gd name="connsiteY649" fmla="*/ 5966 h 10000"/>
                <a:gd name="connsiteX650" fmla="*/ 9567 w 10586"/>
                <a:gd name="connsiteY650" fmla="*/ 5940 h 10000"/>
                <a:gd name="connsiteX651" fmla="*/ 9571 w 10586"/>
                <a:gd name="connsiteY651" fmla="*/ 5915 h 10000"/>
                <a:gd name="connsiteX652" fmla="*/ 9581 w 10586"/>
                <a:gd name="connsiteY652" fmla="*/ 5923 h 10000"/>
                <a:gd name="connsiteX653" fmla="*/ 9585 w 10586"/>
                <a:gd name="connsiteY653" fmla="*/ 5940 h 10000"/>
                <a:gd name="connsiteX654" fmla="*/ 9594 w 10586"/>
                <a:gd name="connsiteY654" fmla="*/ 5949 h 10000"/>
                <a:gd name="connsiteX655" fmla="*/ 9599 w 10586"/>
                <a:gd name="connsiteY655" fmla="*/ 5940 h 10000"/>
                <a:gd name="connsiteX656" fmla="*/ 9613 w 10586"/>
                <a:gd name="connsiteY656" fmla="*/ 5915 h 10000"/>
                <a:gd name="connsiteX657" fmla="*/ 9645 w 10586"/>
                <a:gd name="connsiteY657" fmla="*/ 5889 h 10000"/>
                <a:gd name="connsiteX658" fmla="*/ 9654 w 10586"/>
                <a:gd name="connsiteY658" fmla="*/ 5872 h 10000"/>
                <a:gd name="connsiteX659" fmla="*/ 9673 w 10586"/>
                <a:gd name="connsiteY659" fmla="*/ 5863 h 10000"/>
                <a:gd name="connsiteX660" fmla="*/ 9682 w 10586"/>
                <a:gd name="connsiteY660" fmla="*/ 5838 h 10000"/>
                <a:gd name="connsiteX661" fmla="*/ 9682 w 10586"/>
                <a:gd name="connsiteY661" fmla="*/ 5829 h 10000"/>
                <a:gd name="connsiteX662" fmla="*/ 9682 w 10586"/>
                <a:gd name="connsiteY662" fmla="*/ 5812 h 10000"/>
                <a:gd name="connsiteX663" fmla="*/ 9687 w 10586"/>
                <a:gd name="connsiteY663" fmla="*/ 5812 h 10000"/>
                <a:gd name="connsiteX664" fmla="*/ 9687 w 10586"/>
                <a:gd name="connsiteY664" fmla="*/ 5829 h 10000"/>
                <a:gd name="connsiteX665" fmla="*/ 9687 w 10586"/>
                <a:gd name="connsiteY665" fmla="*/ 5829 h 10000"/>
                <a:gd name="connsiteX666" fmla="*/ 9719 w 10586"/>
                <a:gd name="connsiteY666" fmla="*/ 5803 h 10000"/>
                <a:gd name="connsiteX667" fmla="*/ 9728 w 10586"/>
                <a:gd name="connsiteY667" fmla="*/ 5803 h 10000"/>
                <a:gd name="connsiteX668" fmla="*/ 9779 w 10586"/>
                <a:gd name="connsiteY668" fmla="*/ 5726 h 10000"/>
                <a:gd name="connsiteX669" fmla="*/ 9816 w 10586"/>
                <a:gd name="connsiteY669" fmla="*/ 5709 h 10000"/>
                <a:gd name="connsiteX670" fmla="*/ 9820 w 10586"/>
                <a:gd name="connsiteY670" fmla="*/ 5701 h 10000"/>
                <a:gd name="connsiteX671" fmla="*/ 9816 w 10586"/>
                <a:gd name="connsiteY671" fmla="*/ 5692 h 10000"/>
                <a:gd name="connsiteX672" fmla="*/ 9816 w 10586"/>
                <a:gd name="connsiteY672" fmla="*/ 5692 h 10000"/>
                <a:gd name="connsiteX673" fmla="*/ 9802 w 10586"/>
                <a:gd name="connsiteY673" fmla="*/ 5624 h 10000"/>
                <a:gd name="connsiteX674" fmla="*/ 9806 w 10586"/>
                <a:gd name="connsiteY674" fmla="*/ 5624 h 10000"/>
                <a:gd name="connsiteX675" fmla="*/ 9820 w 10586"/>
                <a:gd name="connsiteY675" fmla="*/ 5675 h 10000"/>
                <a:gd name="connsiteX676" fmla="*/ 9829 w 10586"/>
                <a:gd name="connsiteY676" fmla="*/ 5675 h 10000"/>
                <a:gd name="connsiteX677" fmla="*/ 9829 w 10586"/>
                <a:gd name="connsiteY677" fmla="*/ 5692 h 10000"/>
                <a:gd name="connsiteX678" fmla="*/ 9829 w 10586"/>
                <a:gd name="connsiteY678" fmla="*/ 5701 h 10000"/>
                <a:gd name="connsiteX679" fmla="*/ 9839 w 10586"/>
                <a:gd name="connsiteY679" fmla="*/ 5701 h 10000"/>
                <a:gd name="connsiteX680" fmla="*/ 9839 w 10586"/>
                <a:gd name="connsiteY680" fmla="*/ 5692 h 10000"/>
                <a:gd name="connsiteX681" fmla="*/ 9839 w 10586"/>
                <a:gd name="connsiteY681" fmla="*/ 5675 h 10000"/>
                <a:gd name="connsiteX682" fmla="*/ 9848 w 10586"/>
                <a:gd name="connsiteY682" fmla="*/ 5675 h 10000"/>
                <a:gd name="connsiteX683" fmla="*/ 9848 w 10586"/>
                <a:gd name="connsiteY683" fmla="*/ 5692 h 10000"/>
                <a:gd name="connsiteX684" fmla="*/ 9853 w 10586"/>
                <a:gd name="connsiteY684" fmla="*/ 5701 h 10000"/>
                <a:gd name="connsiteX685" fmla="*/ 9880 w 10586"/>
                <a:gd name="connsiteY685" fmla="*/ 5709 h 10000"/>
                <a:gd name="connsiteX686" fmla="*/ 9912 w 10586"/>
                <a:gd name="connsiteY686" fmla="*/ 5752 h 10000"/>
                <a:gd name="connsiteX687" fmla="*/ 9926 w 10586"/>
                <a:gd name="connsiteY687" fmla="*/ 5761 h 10000"/>
                <a:gd name="connsiteX688" fmla="*/ 9935 w 10586"/>
                <a:gd name="connsiteY688" fmla="*/ 5761 h 10000"/>
                <a:gd name="connsiteX689" fmla="*/ 9940 w 10586"/>
                <a:gd name="connsiteY689" fmla="*/ 5735 h 10000"/>
                <a:gd name="connsiteX690" fmla="*/ 9949 w 10586"/>
                <a:gd name="connsiteY690" fmla="*/ 5735 h 10000"/>
                <a:gd name="connsiteX691" fmla="*/ 9968 w 10586"/>
                <a:gd name="connsiteY691" fmla="*/ 5692 h 10000"/>
                <a:gd name="connsiteX692" fmla="*/ 9968 w 10586"/>
                <a:gd name="connsiteY692" fmla="*/ 5650 h 10000"/>
                <a:gd name="connsiteX693" fmla="*/ 9968 w 10586"/>
                <a:gd name="connsiteY693" fmla="*/ 5624 h 10000"/>
                <a:gd name="connsiteX694" fmla="*/ 9935 w 10586"/>
                <a:gd name="connsiteY694" fmla="*/ 5598 h 10000"/>
                <a:gd name="connsiteX695" fmla="*/ 9935 w 10586"/>
                <a:gd name="connsiteY695" fmla="*/ 5590 h 10000"/>
                <a:gd name="connsiteX696" fmla="*/ 9935 w 10586"/>
                <a:gd name="connsiteY696" fmla="*/ 5573 h 10000"/>
                <a:gd name="connsiteX697" fmla="*/ 9935 w 10586"/>
                <a:gd name="connsiteY697" fmla="*/ 5573 h 10000"/>
                <a:gd name="connsiteX698" fmla="*/ 9940 w 10586"/>
                <a:gd name="connsiteY698" fmla="*/ 5573 h 10000"/>
                <a:gd name="connsiteX699" fmla="*/ 9954 w 10586"/>
                <a:gd name="connsiteY699" fmla="*/ 5573 h 10000"/>
                <a:gd name="connsiteX700" fmla="*/ 9963 w 10586"/>
                <a:gd name="connsiteY700" fmla="*/ 5564 h 10000"/>
                <a:gd name="connsiteX701" fmla="*/ 9954 w 10586"/>
                <a:gd name="connsiteY701" fmla="*/ 5530 h 10000"/>
                <a:gd name="connsiteX702" fmla="*/ 9949 w 10586"/>
                <a:gd name="connsiteY702" fmla="*/ 5530 h 10000"/>
                <a:gd name="connsiteX703" fmla="*/ 9926 w 10586"/>
                <a:gd name="connsiteY703" fmla="*/ 5479 h 10000"/>
                <a:gd name="connsiteX704" fmla="*/ 9912 w 10586"/>
                <a:gd name="connsiteY704" fmla="*/ 5325 h 10000"/>
                <a:gd name="connsiteX705" fmla="*/ 9903 w 10586"/>
                <a:gd name="connsiteY705" fmla="*/ 5342 h 10000"/>
                <a:gd name="connsiteX706" fmla="*/ 9889 w 10586"/>
                <a:gd name="connsiteY706" fmla="*/ 5316 h 10000"/>
                <a:gd name="connsiteX707" fmla="*/ 9889 w 10586"/>
                <a:gd name="connsiteY707" fmla="*/ 5291 h 10000"/>
                <a:gd name="connsiteX708" fmla="*/ 9903 w 10586"/>
                <a:gd name="connsiteY708" fmla="*/ 5291 h 10000"/>
                <a:gd name="connsiteX709" fmla="*/ 9903 w 10586"/>
                <a:gd name="connsiteY709" fmla="*/ 5291 h 10000"/>
                <a:gd name="connsiteX710" fmla="*/ 9894 w 10586"/>
                <a:gd name="connsiteY710" fmla="*/ 5214 h 10000"/>
                <a:gd name="connsiteX711" fmla="*/ 9880 w 10586"/>
                <a:gd name="connsiteY711" fmla="*/ 5239 h 10000"/>
                <a:gd name="connsiteX712" fmla="*/ 9876 w 10586"/>
                <a:gd name="connsiteY712" fmla="*/ 5256 h 10000"/>
                <a:gd name="connsiteX713" fmla="*/ 9862 w 10586"/>
                <a:gd name="connsiteY713" fmla="*/ 5239 h 10000"/>
                <a:gd name="connsiteX714" fmla="*/ 9853 w 10586"/>
                <a:gd name="connsiteY714" fmla="*/ 5214 h 10000"/>
                <a:gd name="connsiteX715" fmla="*/ 9839 w 10586"/>
                <a:gd name="connsiteY715" fmla="*/ 5214 h 10000"/>
                <a:gd name="connsiteX716" fmla="*/ 9834 w 10586"/>
                <a:gd name="connsiteY716" fmla="*/ 5188 h 10000"/>
                <a:gd name="connsiteX717" fmla="*/ 9834 w 10586"/>
                <a:gd name="connsiteY717" fmla="*/ 5103 h 10000"/>
                <a:gd name="connsiteX718" fmla="*/ 9839 w 10586"/>
                <a:gd name="connsiteY718" fmla="*/ 5094 h 10000"/>
                <a:gd name="connsiteX719" fmla="*/ 9853 w 10586"/>
                <a:gd name="connsiteY719" fmla="*/ 5103 h 10000"/>
                <a:gd name="connsiteX720" fmla="*/ 9876 w 10586"/>
                <a:gd name="connsiteY720" fmla="*/ 5128 h 10000"/>
                <a:gd name="connsiteX721" fmla="*/ 9889 w 10586"/>
                <a:gd name="connsiteY721" fmla="*/ 5103 h 10000"/>
                <a:gd name="connsiteX722" fmla="*/ 9880 w 10586"/>
                <a:gd name="connsiteY722" fmla="*/ 5120 h 10000"/>
                <a:gd name="connsiteX723" fmla="*/ 9889 w 10586"/>
                <a:gd name="connsiteY723" fmla="*/ 5128 h 10000"/>
                <a:gd name="connsiteX724" fmla="*/ 9912 w 10586"/>
                <a:gd name="connsiteY724" fmla="*/ 5128 h 10000"/>
                <a:gd name="connsiteX725" fmla="*/ 9908 w 10586"/>
                <a:gd name="connsiteY725" fmla="*/ 5145 h 10000"/>
                <a:gd name="connsiteX726" fmla="*/ 9908 w 10586"/>
                <a:gd name="connsiteY726" fmla="*/ 5154 h 10000"/>
                <a:gd name="connsiteX727" fmla="*/ 9922 w 10586"/>
                <a:gd name="connsiteY727" fmla="*/ 5128 h 10000"/>
                <a:gd name="connsiteX728" fmla="*/ 9935 w 10586"/>
                <a:gd name="connsiteY728" fmla="*/ 5103 h 10000"/>
                <a:gd name="connsiteX729" fmla="*/ 9968 w 10586"/>
                <a:gd name="connsiteY729" fmla="*/ 5077 h 10000"/>
                <a:gd name="connsiteX730" fmla="*/ 10000 w 10586"/>
                <a:gd name="connsiteY730" fmla="*/ 5017 h 10000"/>
                <a:gd name="connsiteX731" fmla="*/ 10570 w 10586"/>
                <a:gd name="connsiteY731" fmla="*/ 4302 h 10000"/>
                <a:gd name="connsiteX732" fmla="*/ 10354 w 10586"/>
                <a:gd name="connsiteY732" fmla="*/ 4302 h 10000"/>
                <a:gd name="connsiteX733" fmla="*/ 9912 w 10586"/>
                <a:gd name="connsiteY733" fmla="*/ 3675 h 10000"/>
                <a:gd name="connsiteX734" fmla="*/ 9903 w 10586"/>
                <a:gd name="connsiteY734" fmla="*/ 3667 h 10000"/>
                <a:gd name="connsiteX735" fmla="*/ 9894 w 10586"/>
                <a:gd name="connsiteY735" fmla="*/ 3641 h 10000"/>
                <a:gd name="connsiteX736" fmla="*/ 9889 w 10586"/>
                <a:gd name="connsiteY736" fmla="*/ 3650 h 10000"/>
                <a:gd name="connsiteX737" fmla="*/ 9848 w 10586"/>
                <a:gd name="connsiteY737" fmla="*/ 3598 h 10000"/>
                <a:gd name="connsiteX738" fmla="*/ 9829 w 10586"/>
                <a:gd name="connsiteY738" fmla="*/ 3581 h 10000"/>
                <a:gd name="connsiteX739" fmla="*/ 9820 w 10586"/>
                <a:gd name="connsiteY739" fmla="*/ 3581 h 10000"/>
                <a:gd name="connsiteX740" fmla="*/ 9793 w 10586"/>
                <a:gd name="connsiteY740" fmla="*/ 3556 h 10000"/>
                <a:gd name="connsiteX741" fmla="*/ 9779 w 10586"/>
                <a:gd name="connsiteY741" fmla="*/ 3556 h 10000"/>
                <a:gd name="connsiteX742" fmla="*/ 9747 w 10586"/>
                <a:gd name="connsiteY742" fmla="*/ 3487 h 10000"/>
                <a:gd name="connsiteX743" fmla="*/ 9668 w 10586"/>
                <a:gd name="connsiteY743" fmla="*/ 3479 h 10000"/>
                <a:gd name="connsiteX744" fmla="*/ 9659 w 10586"/>
                <a:gd name="connsiteY744" fmla="*/ 3487 h 10000"/>
                <a:gd name="connsiteX745" fmla="*/ 9645 w 10586"/>
                <a:gd name="connsiteY745" fmla="*/ 3504 h 10000"/>
                <a:gd name="connsiteX746" fmla="*/ 9631 w 10586"/>
                <a:gd name="connsiteY746" fmla="*/ 3487 h 10000"/>
                <a:gd name="connsiteX747" fmla="*/ 9613 w 10586"/>
                <a:gd name="connsiteY747" fmla="*/ 3479 h 10000"/>
                <a:gd name="connsiteX748" fmla="*/ 9599 w 10586"/>
                <a:gd name="connsiteY748" fmla="*/ 3479 h 10000"/>
                <a:gd name="connsiteX749" fmla="*/ 9571 w 10586"/>
                <a:gd name="connsiteY749" fmla="*/ 3479 h 10000"/>
                <a:gd name="connsiteX750" fmla="*/ 9562 w 10586"/>
                <a:gd name="connsiteY750" fmla="*/ 3487 h 10000"/>
                <a:gd name="connsiteX751" fmla="*/ 9539 w 10586"/>
                <a:gd name="connsiteY751" fmla="*/ 3487 h 10000"/>
                <a:gd name="connsiteX752" fmla="*/ 9507 w 10586"/>
                <a:gd name="connsiteY752" fmla="*/ 3453 h 10000"/>
                <a:gd name="connsiteX753" fmla="*/ 9498 w 10586"/>
                <a:gd name="connsiteY753" fmla="*/ 3453 h 10000"/>
                <a:gd name="connsiteX754" fmla="*/ 9387 w 10586"/>
                <a:gd name="connsiteY754" fmla="*/ 3419 h 10000"/>
                <a:gd name="connsiteX755" fmla="*/ 9373 w 10586"/>
                <a:gd name="connsiteY755" fmla="*/ 3427 h 10000"/>
                <a:gd name="connsiteX756" fmla="*/ 9373 w 10586"/>
                <a:gd name="connsiteY756" fmla="*/ 3462 h 10000"/>
                <a:gd name="connsiteX757" fmla="*/ 9378 w 10586"/>
                <a:gd name="connsiteY757" fmla="*/ 3479 h 10000"/>
                <a:gd name="connsiteX758" fmla="*/ 9378 w 10586"/>
                <a:gd name="connsiteY758" fmla="*/ 3530 h 10000"/>
                <a:gd name="connsiteX759" fmla="*/ 9355 w 10586"/>
                <a:gd name="connsiteY759" fmla="*/ 3538 h 10000"/>
                <a:gd name="connsiteX760" fmla="*/ 9355 w 10586"/>
                <a:gd name="connsiteY760" fmla="*/ 3581 h 10000"/>
                <a:gd name="connsiteX761" fmla="*/ 9387 w 10586"/>
                <a:gd name="connsiteY761" fmla="*/ 3590 h 10000"/>
                <a:gd name="connsiteX762" fmla="*/ 9401 w 10586"/>
                <a:gd name="connsiteY762" fmla="*/ 3667 h 10000"/>
                <a:gd name="connsiteX763" fmla="*/ 9406 w 10586"/>
                <a:gd name="connsiteY763" fmla="*/ 3675 h 10000"/>
                <a:gd name="connsiteX764" fmla="*/ 9406 w 10586"/>
                <a:gd name="connsiteY764" fmla="*/ 3701 h 10000"/>
                <a:gd name="connsiteX765" fmla="*/ 9415 w 10586"/>
                <a:gd name="connsiteY765" fmla="*/ 3752 h 10000"/>
                <a:gd name="connsiteX766" fmla="*/ 9373 w 10586"/>
                <a:gd name="connsiteY766" fmla="*/ 3838 h 10000"/>
                <a:gd name="connsiteX767" fmla="*/ 9355 w 10586"/>
                <a:gd name="connsiteY767" fmla="*/ 3863 h 10000"/>
                <a:gd name="connsiteX768" fmla="*/ 9327 w 10586"/>
                <a:gd name="connsiteY768" fmla="*/ 3863 h 10000"/>
                <a:gd name="connsiteX769" fmla="*/ 9313 w 10586"/>
                <a:gd name="connsiteY769" fmla="*/ 3846 h 10000"/>
                <a:gd name="connsiteX770" fmla="*/ 9300 w 10586"/>
                <a:gd name="connsiteY770" fmla="*/ 3778 h 10000"/>
                <a:gd name="connsiteX771" fmla="*/ 9281 w 10586"/>
                <a:gd name="connsiteY771" fmla="*/ 3752 h 10000"/>
                <a:gd name="connsiteX772" fmla="*/ 9281 w 10586"/>
                <a:gd name="connsiteY772" fmla="*/ 3735 h 10000"/>
                <a:gd name="connsiteX773" fmla="*/ 9267 w 10586"/>
                <a:gd name="connsiteY773" fmla="*/ 3726 h 10000"/>
                <a:gd name="connsiteX774" fmla="*/ 9240 w 10586"/>
                <a:gd name="connsiteY774" fmla="*/ 3726 h 10000"/>
                <a:gd name="connsiteX775" fmla="*/ 9230 w 10586"/>
                <a:gd name="connsiteY775" fmla="*/ 3718 h 10000"/>
                <a:gd name="connsiteX776" fmla="*/ 9226 w 10586"/>
                <a:gd name="connsiteY776" fmla="*/ 3590 h 10000"/>
                <a:gd name="connsiteX777" fmla="*/ 9207 w 10586"/>
                <a:gd name="connsiteY777" fmla="*/ 3581 h 10000"/>
                <a:gd name="connsiteX778" fmla="*/ 9207 w 10586"/>
                <a:gd name="connsiteY778" fmla="*/ 3556 h 10000"/>
                <a:gd name="connsiteX779" fmla="*/ 9217 w 10586"/>
                <a:gd name="connsiteY779" fmla="*/ 3538 h 10000"/>
                <a:gd name="connsiteX780" fmla="*/ 9212 w 10586"/>
                <a:gd name="connsiteY780" fmla="*/ 3538 h 10000"/>
                <a:gd name="connsiteX781" fmla="*/ 9198 w 10586"/>
                <a:gd name="connsiteY781" fmla="*/ 3513 h 10000"/>
                <a:gd name="connsiteX782" fmla="*/ 9194 w 10586"/>
                <a:gd name="connsiteY782" fmla="*/ 3530 h 10000"/>
                <a:gd name="connsiteX783" fmla="*/ 9143 w 10586"/>
                <a:gd name="connsiteY783" fmla="*/ 3615 h 10000"/>
                <a:gd name="connsiteX784" fmla="*/ 9138 w 10586"/>
                <a:gd name="connsiteY784" fmla="*/ 3615 h 10000"/>
                <a:gd name="connsiteX785" fmla="*/ 9134 w 10586"/>
                <a:gd name="connsiteY785" fmla="*/ 3615 h 10000"/>
                <a:gd name="connsiteX786" fmla="*/ 9106 w 10586"/>
                <a:gd name="connsiteY786" fmla="*/ 3615 h 10000"/>
                <a:gd name="connsiteX787" fmla="*/ 9078 w 10586"/>
                <a:gd name="connsiteY787" fmla="*/ 3590 h 10000"/>
                <a:gd name="connsiteX788" fmla="*/ 9037 w 10586"/>
                <a:gd name="connsiteY788" fmla="*/ 3581 h 10000"/>
                <a:gd name="connsiteX789" fmla="*/ 9023 w 10586"/>
                <a:gd name="connsiteY789" fmla="*/ 3590 h 10000"/>
                <a:gd name="connsiteX790" fmla="*/ 9018 w 10586"/>
                <a:gd name="connsiteY790" fmla="*/ 3590 h 10000"/>
                <a:gd name="connsiteX791" fmla="*/ 9018 w 10586"/>
                <a:gd name="connsiteY791" fmla="*/ 3590 h 10000"/>
                <a:gd name="connsiteX792" fmla="*/ 8991 w 10586"/>
                <a:gd name="connsiteY792" fmla="*/ 3590 h 10000"/>
                <a:gd name="connsiteX793" fmla="*/ 8972 w 10586"/>
                <a:gd name="connsiteY793" fmla="*/ 3581 h 10000"/>
                <a:gd name="connsiteX794" fmla="*/ 8959 w 10586"/>
                <a:gd name="connsiteY794" fmla="*/ 3513 h 10000"/>
                <a:gd name="connsiteX795" fmla="*/ 8931 w 10586"/>
                <a:gd name="connsiteY795" fmla="*/ 3538 h 10000"/>
                <a:gd name="connsiteX796" fmla="*/ 8889 w 10586"/>
                <a:gd name="connsiteY796" fmla="*/ 3538 h 10000"/>
                <a:gd name="connsiteX797" fmla="*/ 8871 w 10586"/>
                <a:gd name="connsiteY797" fmla="*/ 3556 h 10000"/>
                <a:gd name="connsiteX798" fmla="*/ 8857 w 10586"/>
                <a:gd name="connsiteY798" fmla="*/ 3538 h 10000"/>
                <a:gd name="connsiteX799" fmla="*/ 8843 w 10586"/>
                <a:gd name="connsiteY799" fmla="*/ 3538 h 10000"/>
                <a:gd name="connsiteX800" fmla="*/ 8839 w 10586"/>
                <a:gd name="connsiteY800" fmla="*/ 3556 h 10000"/>
                <a:gd name="connsiteX801" fmla="*/ 8839 w 10586"/>
                <a:gd name="connsiteY801" fmla="*/ 3581 h 10000"/>
                <a:gd name="connsiteX802" fmla="*/ 8825 w 10586"/>
                <a:gd name="connsiteY802" fmla="*/ 3564 h 10000"/>
                <a:gd name="connsiteX803" fmla="*/ 8825 w 10586"/>
                <a:gd name="connsiteY803" fmla="*/ 3615 h 10000"/>
                <a:gd name="connsiteX804" fmla="*/ 8802 w 10586"/>
                <a:gd name="connsiteY804" fmla="*/ 3598 h 10000"/>
                <a:gd name="connsiteX805" fmla="*/ 8797 w 10586"/>
                <a:gd name="connsiteY805" fmla="*/ 3641 h 10000"/>
                <a:gd name="connsiteX806" fmla="*/ 8783 w 10586"/>
                <a:gd name="connsiteY806" fmla="*/ 3667 h 10000"/>
                <a:gd name="connsiteX807" fmla="*/ 8779 w 10586"/>
                <a:gd name="connsiteY807" fmla="*/ 3650 h 10000"/>
                <a:gd name="connsiteX808" fmla="*/ 8779 w 10586"/>
                <a:gd name="connsiteY808" fmla="*/ 3615 h 10000"/>
                <a:gd name="connsiteX809" fmla="*/ 8770 w 10586"/>
                <a:gd name="connsiteY809" fmla="*/ 3590 h 10000"/>
                <a:gd name="connsiteX810" fmla="*/ 8765 w 10586"/>
                <a:gd name="connsiteY810" fmla="*/ 3598 h 10000"/>
                <a:gd name="connsiteX811" fmla="*/ 8756 w 10586"/>
                <a:gd name="connsiteY811" fmla="*/ 3590 h 10000"/>
                <a:gd name="connsiteX812" fmla="*/ 8737 w 10586"/>
                <a:gd name="connsiteY812" fmla="*/ 3556 h 10000"/>
                <a:gd name="connsiteX813" fmla="*/ 8724 w 10586"/>
                <a:gd name="connsiteY813" fmla="*/ 3538 h 10000"/>
                <a:gd name="connsiteX814" fmla="*/ 8696 w 10586"/>
                <a:gd name="connsiteY814" fmla="*/ 3538 h 10000"/>
                <a:gd name="connsiteX815" fmla="*/ 8691 w 10586"/>
                <a:gd name="connsiteY815" fmla="*/ 3513 h 10000"/>
                <a:gd name="connsiteX816" fmla="*/ 8668 w 10586"/>
                <a:gd name="connsiteY816" fmla="*/ 3504 h 10000"/>
                <a:gd name="connsiteX817" fmla="*/ 8668 w 10586"/>
                <a:gd name="connsiteY817" fmla="*/ 3487 h 10000"/>
                <a:gd name="connsiteX818" fmla="*/ 8691 w 10586"/>
                <a:gd name="connsiteY818" fmla="*/ 3350 h 10000"/>
                <a:gd name="connsiteX819" fmla="*/ 8691 w 10586"/>
                <a:gd name="connsiteY819" fmla="*/ 3291 h 10000"/>
                <a:gd name="connsiteX820" fmla="*/ 8677 w 10586"/>
                <a:gd name="connsiteY820" fmla="*/ 3239 h 10000"/>
                <a:gd name="connsiteX821" fmla="*/ 8677 w 10586"/>
                <a:gd name="connsiteY821" fmla="*/ 3231 h 10000"/>
                <a:gd name="connsiteX822" fmla="*/ 8636 w 10586"/>
                <a:gd name="connsiteY822" fmla="*/ 3128 h 10000"/>
                <a:gd name="connsiteX823" fmla="*/ 8622 w 10586"/>
                <a:gd name="connsiteY823" fmla="*/ 3120 h 10000"/>
                <a:gd name="connsiteX824" fmla="*/ 8618 w 10586"/>
                <a:gd name="connsiteY824" fmla="*/ 3094 h 10000"/>
                <a:gd name="connsiteX825" fmla="*/ 8594 w 10586"/>
                <a:gd name="connsiteY825" fmla="*/ 3077 h 10000"/>
                <a:gd name="connsiteX826" fmla="*/ 8548 w 10586"/>
                <a:gd name="connsiteY826" fmla="*/ 3077 h 10000"/>
                <a:gd name="connsiteX827" fmla="*/ 8535 w 10586"/>
                <a:gd name="connsiteY827" fmla="*/ 3068 h 10000"/>
                <a:gd name="connsiteX828" fmla="*/ 8429 w 10586"/>
                <a:gd name="connsiteY828" fmla="*/ 3077 h 10000"/>
                <a:gd name="connsiteX829" fmla="*/ 8424 w 10586"/>
                <a:gd name="connsiteY829" fmla="*/ 3077 h 10000"/>
                <a:gd name="connsiteX830" fmla="*/ 8396 w 10586"/>
                <a:gd name="connsiteY830" fmla="*/ 3077 h 10000"/>
                <a:gd name="connsiteX831" fmla="*/ 8387 w 10586"/>
                <a:gd name="connsiteY831" fmla="*/ 3094 h 10000"/>
                <a:gd name="connsiteX832" fmla="*/ 8378 w 10586"/>
                <a:gd name="connsiteY832" fmla="*/ 3094 h 10000"/>
                <a:gd name="connsiteX833" fmla="*/ 8341 w 10586"/>
                <a:gd name="connsiteY833" fmla="*/ 3077 h 10000"/>
                <a:gd name="connsiteX834" fmla="*/ 8336 w 10586"/>
                <a:gd name="connsiteY834" fmla="*/ 3077 h 10000"/>
                <a:gd name="connsiteX835" fmla="*/ 8327 w 10586"/>
                <a:gd name="connsiteY835" fmla="*/ 3103 h 10000"/>
                <a:gd name="connsiteX836" fmla="*/ 8309 w 10586"/>
                <a:gd name="connsiteY836" fmla="*/ 3120 h 10000"/>
                <a:gd name="connsiteX837" fmla="*/ 8304 w 10586"/>
                <a:gd name="connsiteY837" fmla="*/ 3103 h 10000"/>
                <a:gd name="connsiteX838" fmla="*/ 8276 w 10586"/>
                <a:gd name="connsiteY838" fmla="*/ 3103 h 10000"/>
                <a:gd name="connsiteX839" fmla="*/ 8267 w 10586"/>
                <a:gd name="connsiteY839" fmla="*/ 3120 h 10000"/>
                <a:gd name="connsiteX840" fmla="*/ 8253 w 10586"/>
                <a:gd name="connsiteY840" fmla="*/ 3103 h 10000"/>
                <a:gd name="connsiteX841" fmla="*/ 8230 w 10586"/>
                <a:gd name="connsiteY841" fmla="*/ 3128 h 10000"/>
                <a:gd name="connsiteX842" fmla="*/ 8217 w 10586"/>
                <a:gd name="connsiteY842" fmla="*/ 3128 h 10000"/>
                <a:gd name="connsiteX843" fmla="*/ 8203 w 10586"/>
                <a:gd name="connsiteY843" fmla="*/ 3154 h 10000"/>
                <a:gd name="connsiteX844" fmla="*/ 8175 w 10586"/>
                <a:gd name="connsiteY844" fmla="*/ 3094 h 10000"/>
                <a:gd name="connsiteX845" fmla="*/ 8161 w 10586"/>
                <a:gd name="connsiteY845" fmla="*/ 3094 h 10000"/>
                <a:gd name="connsiteX846" fmla="*/ 8157 w 10586"/>
                <a:gd name="connsiteY846" fmla="*/ 3077 h 10000"/>
                <a:gd name="connsiteX847" fmla="*/ 8180 w 10586"/>
                <a:gd name="connsiteY847" fmla="*/ 3068 h 10000"/>
                <a:gd name="connsiteX848" fmla="*/ 8189 w 10586"/>
                <a:gd name="connsiteY848" fmla="*/ 3043 h 10000"/>
                <a:gd name="connsiteX849" fmla="*/ 8189 w 10586"/>
                <a:gd name="connsiteY849" fmla="*/ 3017 h 10000"/>
                <a:gd name="connsiteX850" fmla="*/ 8147 w 10586"/>
                <a:gd name="connsiteY850" fmla="*/ 2940 h 10000"/>
                <a:gd name="connsiteX851" fmla="*/ 8143 w 10586"/>
                <a:gd name="connsiteY851" fmla="*/ 2915 h 10000"/>
                <a:gd name="connsiteX852" fmla="*/ 8143 w 10586"/>
                <a:gd name="connsiteY852" fmla="*/ 2906 h 10000"/>
                <a:gd name="connsiteX853" fmla="*/ 8097 w 10586"/>
                <a:gd name="connsiteY853" fmla="*/ 2932 h 10000"/>
                <a:gd name="connsiteX854" fmla="*/ 8083 w 10586"/>
                <a:gd name="connsiteY854" fmla="*/ 2932 h 10000"/>
                <a:gd name="connsiteX855" fmla="*/ 8074 w 10586"/>
                <a:gd name="connsiteY855" fmla="*/ 2906 h 10000"/>
                <a:gd name="connsiteX856" fmla="*/ 8074 w 10586"/>
                <a:gd name="connsiteY856" fmla="*/ 2897 h 10000"/>
                <a:gd name="connsiteX857" fmla="*/ 8055 w 10586"/>
                <a:gd name="connsiteY857" fmla="*/ 2872 h 10000"/>
                <a:gd name="connsiteX858" fmla="*/ 8046 w 10586"/>
                <a:gd name="connsiteY858" fmla="*/ 2829 h 10000"/>
                <a:gd name="connsiteX859" fmla="*/ 8041 w 10586"/>
                <a:gd name="connsiteY859" fmla="*/ 2829 h 10000"/>
                <a:gd name="connsiteX860" fmla="*/ 8023 w 10586"/>
                <a:gd name="connsiteY860" fmla="*/ 2803 h 10000"/>
                <a:gd name="connsiteX861" fmla="*/ 8014 w 10586"/>
                <a:gd name="connsiteY861" fmla="*/ 2829 h 10000"/>
                <a:gd name="connsiteX862" fmla="*/ 8000 w 10586"/>
                <a:gd name="connsiteY862" fmla="*/ 2829 h 10000"/>
                <a:gd name="connsiteX863" fmla="*/ 7995 w 10586"/>
                <a:gd name="connsiteY863" fmla="*/ 2821 h 10000"/>
                <a:gd name="connsiteX864" fmla="*/ 7972 w 10586"/>
                <a:gd name="connsiteY864" fmla="*/ 2803 h 10000"/>
                <a:gd name="connsiteX865" fmla="*/ 7968 w 10586"/>
                <a:gd name="connsiteY865" fmla="*/ 2821 h 10000"/>
                <a:gd name="connsiteX866" fmla="*/ 7968 w 10586"/>
                <a:gd name="connsiteY866" fmla="*/ 2803 h 10000"/>
                <a:gd name="connsiteX867" fmla="*/ 7995 w 10586"/>
                <a:gd name="connsiteY867" fmla="*/ 2735 h 10000"/>
                <a:gd name="connsiteX868" fmla="*/ 8000 w 10586"/>
                <a:gd name="connsiteY868" fmla="*/ 2735 h 10000"/>
                <a:gd name="connsiteX869" fmla="*/ 8014 w 10586"/>
                <a:gd name="connsiteY869" fmla="*/ 2744 h 10000"/>
                <a:gd name="connsiteX870" fmla="*/ 8023 w 10586"/>
                <a:gd name="connsiteY870" fmla="*/ 2769 h 10000"/>
                <a:gd name="connsiteX871" fmla="*/ 8032 w 10586"/>
                <a:gd name="connsiteY871" fmla="*/ 2744 h 10000"/>
                <a:gd name="connsiteX872" fmla="*/ 8032 w 10586"/>
                <a:gd name="connsiteY872" fmla="*/ 2709 h 10000"/>
                <a:gd name="connsiteX873" fmla="*/ 8023 w 10586"/>
                <a:gd name="connsiteY873" fmla="*/ 2632 h 10000"/>
                <a:gd name="connsiteX874" fmla="*/ 7986 w 10586"/>
                <a:gd name="connsiteY874" fmla="*/ 2581 h 10000"/>
                <a:gd name="connsiteX875" fmla="*/ 7968 w 10586"/>
                <a:gd name="connsiteY875" fmla="*/ 2581 h 10000"/>
                <a:gd name="connsiteX876" fmla="*/ 7963 w 10586"/>
                <a:gd name="connsiteY876" fmla="*/ 2556 h 10000"/>
                <a:gd name="connsiteX877" fmla="*/ 7935 w 10586"/>
                <a:gd name="connsiteY877" fmla="*/ 2547 h 10000"/>
                <a:gd name="connsiteX878" fmla="*/ 7912 w 10586"/>
                <a:gd name="connsiteY878" fmla="*/ 2547 h 10000"/>
                <a:gd name="connsiteX879" fmla="*/ 7912 w 10586"/>
                <a:gd name="connsiteY879" fmla="*/ 2556 h 10000"/>
                <a:gd name="connsiteX880" fmla="*/ 7908 w 10586"/>
                <a:gd name="connsiteY880" fmla="*/ 2547 h 10000"/>
                <a:gd name="connsiteX881" fmla="*/ 7862 w 10586"/>
                <a:gd name="connsiteY881" fmla="*/ 2547 h 10000"/>
                <a:gd name="connsiteX882" fmla="*/ 7848 w 10586"/>
                <a:gd name="connsiteY882" fmla="*/ 2556 h 10000"/>
                <a:gd name="connsiteX883" fmla="*/ 7820 w 10586"/>
                <a:gd name="connsiteY883" fmla="*/ 2547 h 10000"/>
                <a:gd name="connsiteX884" fmla="*/ 7806 w 10586"/>
                <a:gd name="connsiteY884" fmla="*/ 2513 h 10000"/>
                <a:gd name="connsiteX885" fmla="*/ 7788 w 10586"/>
                <a:gd name="connsiteY885" fmla="*/ 2513 h 10000"/>
                <a:gd name="connsiteX886" fmla="*/ 7760 w 10586"/>
                <a:gd name="connsiteY886" fmla="*/ 2470 h 10000"/>
                <a:gd name="connsiteX887" fmla="*/ 7751 w 10586"/>
                <a:gd name="connsiteY887" fmla="*/ 2470 h 10000"/>
                <a:gd name="connsiteX888" fmla="*/ 7705 w 10586"/>
                <a:gd name="connsiteY888" fmla="*/ 2462 h 10000"/>
                <a:gd name="connsiteX889" fmla="*/ 7673 w 10586"/>
                <a:gd name="connsiteY889" fmla="*/ 2419 h 10000"/>
                <a:gd name="connsiteX890" fmla="*/ 7627 w 10586"/>
                <a:gd name="connsiteY890" fmla="*/ 2419 h 10000"/>
                <a:gd name="connsiteX891" fmla="*/ 7613 w 10586"/>
                <a:gd name="connsiteY891" fmla="*/ 2410 h 10000"/>
                <a:gd name="connsiteX892" fmla="*/ 7493 w 10586"/>
                <a:gd name="connsiteY892" fmla="*/ 2393 h 10000"/>
                <a:gd name="connsiteX893" fmla="*/ 7479 w 10586"/>
                <a:gd name="connsiteY893" fmla="*/ 2385 h 10000"/>
                <a:gd name="connsiteX894" fmla="*/ 7479 w 10586"/>
                <a:gd name="connsiteY894" fmla="*/ 2376 h 10000"/>
                <a:gd name="connsiteX895" fmla="*/ 7465 w 10586"/>
                <a:gd name="connsiteY895" fmla="*/ 2359 h 10000"/>
                <a:gd name="connsiteX896" fmla="*/ 7447 w 10586"/>
                <a:gd name="connsiteY896" fmla="*/ 2350 h 10000"/>
                <a:gd name="connsiteX897" fmla="*/ 7433 w 10586"/>
                <a:gd name="connsiteY897" fmla="*/ 2376 h 10000"/>
                <a:gd name="connsiteX898" fmla="*/ 7433 w 10586"/>
                <a:gd name="connsiteY898" fmla="*/ 2385 h 10000"/>
                <a:gd name="connsiteX899" fmla="*/ 7447 w 10586"/>
                <a:gd name="connsiteY899" fmla="*/ 2410 h 10000"/>
                <a:gd name="connsiteX900" fmla="*/ 7447 w 10586"/>
                <a:gd name="connsiteY900" fmla="*/ 2436 h 10000"/>
                <a:gd name="connsiteX901" fmla="*/ 7452 w 10586"/>
                <a:gd name="connsiteY901" fmla="*/ 2462 h 10000"/>
                <a:gd name="connsiteX902" fmla="*/ 7447 w 10586"/>
                <a:gd name="connsiteY902" fmla="*/ 2470 h 10000"/>
                <a:gd name="connsiteX903" fmla="*/ 7424 w 10586"/>
                <a:gd name="connsiteY903" fmla="*/ 2513 h 10000"/>
                <a:gd name="connsiteX904" fmla="*/ 7419 w 10586"/>
                <a:gd name="connsiteY904" fmla="*/ 2556 h 10000"/>
                <a:gd name="connsiteX905" fmla="*/ 7406 w 10586"/>
                <a:gd name="connsiteY905" fmla="*/ 2624 h 10000"/>
                <a:gd name="connsiteX906" fmla="*/ 7392 w 10586"/>
                <a:gd name="connsiteY906" fmla="*/ 2624 h 10000"/>
                <a:gd name="connsiteX907" fmla="*/ 7373 w 10586"/>
                <a:gd name="connsiteY907" fmla="*/ 2650 h 10000"/>
                <a:gd name="connsiteX908" fmla="*/ 7364 w 10586"/>
                <a:gd name="connsiteY908" fmla="*/ 2684 h 10000"/>
                <a:gd name="connsiteX909" fmla="*/ 7364 w 10586"/>
                <a:gd name="connsiteY909" fmla="*/ 2692 h 10000"/>
                <a:gd name="connsiteX910" fmla="*/ 7373 w 10586"/>
                <a:gd name="connsiteY910" fmla="*/ 2718 h 10000"/>
                <a:gd name="connsiteX911" fmla="*/ 7373 w 10586"/>
                <a:gd name="connsiteY911" fmla="*/ 2744 h 10000"/>
                <a:gd name="connsiteX912" fmla="*/ 7359 w 10586"/>
                <a:gd name="connsiteY912" fmla="*/ 2744 h 10000"/>
                <a:gd name="connsiteX913" fmla="*/ 7359 w 10586"/>
                <a:gd name="connsiteY913" fmla="*/ 2795 h 10000"/>
                <a:gd name="connsiteX914" fmla="*/ 7364 w 10586"/>
                <a:gd name="connsiteY914" fmla="*/ 2821 h 10000"/>
                <a:gd name="connsiteX915" fmla="*/ 7378 w 10586"/>
                <a:gd name="connsiteY915" fmla="*/ 2846 h 10000"/>
                <a:gd name="connsiteX916" fmla="*/ 7378 w 10586"/>
                <a:gd name="connsiteY916" fmla="*/ 2855 h 10000"/>
                <a:gd name="connsiteX917" fmla="*/ 7378 w 10586"/>
                <a:gd name="connsiteY917" fmla="*/ 2880 h 10000"/>
                <a:gd name="connsiteX918" fmla="*/ 7378 w 10586"/>
                <a:gd name="connsiteY918" fmla="*/ 2906 h 10000"/>
                <a:gd name="connsiteX919" fmla="*/ 7364 w 10586"/>
                <a:gd name="connsiteY919" fmla="*/ 2906 h 10000"/>
                <a:gd name="connsiteX920" fmla="*/ 7346 w 10586"/>
                <a:gd name="connsiteY920" fmla="*/ 2880 h 10000"/>
                <a:gd name="connsiteX921" fmla="*/ 7332 w 10586"/>
                <a:gd name="connsiteY921" fmla="*/ 2915 h 10000"/>
                <a:gd name="connsiteX922" fmla="*/ 7318 w 10586"/>
                <a:gd name="connsiteY922" fmla="*/ 2906 h 10000"/>
                <a:gd name="connsiteX923" fmla="*/ 7313 w 10586"/>
                <a:gd name="connsiteY923" fmla="*/ 2915 h 10000"/>
                <a:gd name="connsiteX924" fmla="*/ 7313 w 10586"/>
                <a:gd name="connsiteY924" fmla="*/ 2906 h 10000"/>
                <a:gd name="connsiteX925" fmla="*/ 7286 w 10586"/>
                <a:gd name="connsiteY925" fmla="*/ 2940 h 10000"/>
                <a:gd name="connsiteX926" fmla="*/ 7276 w 10586"/>
                <a:gd name="connsiteY926" fmla="*/ 2966 h 10000"/>
                <a:gd name="connsiteX927" fmla="*/ 7272 w 10586"/>
                <a:gd name="connsiteY927" fmla="*/ 2983 h 10000"/>
                <a:gd name="connsiteX928" fmla="*/ 7267 w 10586"/>
                <a:gd name="connsiteY928" fmla="*/ 3009 h 10000"/>
                <a:gd name="connsiteX929" fmla="*/ 7253 w 10586"/>
                <a:gd name="connsiteY929" fmla="*/ 3009 h 10000"/>
                <a:gd name="connsiteX930" fmla="*/ 7244 w 10586"/>
                <a:gd name="connsiteY930" fmla="*/ 3017 h 10000"/>
                <a:gd name="connsiteX931" fmla="*/ 7240 w 10586"/>
                <a:gd name="connsiteY931" fmla="*/ 3009 h 10000"/>
                <a:gd name="connsiteX932" fmla="*/ 7230 w 10586"/>
                <a:gd name="connsiteY932" fmla="*/ 2991 h 10000"/>
                <a:gd name="connsiteX933" fmla="*/ 7226 w 10586"/>
                <a:gd name="connsiteY933" fmla="*/ 2983 h 10000"/>
                <a:gd name="connsiteX934" fmla="*/ 7226 w 10586"/>
                <a:gd name="connsiteY934" fmla="*/ 2966 h 10000"/>
                <a:gd name="connsiteX935" fmla="*/ 7212 w 10586"/>
                <a:gd name="connsiteY935" fmla="*/ 2957 h 10000"/>
                <a:gd name="connsiteX936" fmla="*/ 7212 w 10586"/>
                <a:gd name="connsiteY936" fmla="*/ 2932 h 10000"/>
                <a:gd name="connsiteX937" fmla="*/ 7198 w 10586"/>
                <a:gd name="connsiteY937" fmla="*/ 2915 h 10000"/>
                <a:gd name="connsiteX938" fmla="*/ 7194 w 10586"/>
                <a:gd name="connsiteY938" fmla="*/ 2915 h 10000"/>
                <a:gd name="connsiteX939" fmla="*/ 7157 w 10586"/>
                <a:gd name="connsiteY939" fmla="*/ 2880 h 10000"/>
                <a:gd name="connsiteX940" fmla="*/ 7138 w 10586"/>
                <a:gd name="connsiteY940" fmla="*/ 2880 h 10000"/>
                <a:gd name="connsiteX941" fmla="*/ 7120 w 10586"/>
                <a:gd name="connsiteY941" fmla="*/ 2872 h 10000"/>
                <a:gd name="connsiteX942" fmla="*/ 7111 w 10586"/>
                <a:gd name="connsiteY942" fmla="*/ 2846 h 10000"/>
                <a:gd name="connsiteX943" fmla="*/ 7106 w 10586"/>
                <a:gd name="connsiteY943" fmla="*/ 2846 h 10000"/>
                <a:gd name="connsiteX944" fmla="*/ 7092 w 10586"/>
                <a:gd name="connsiteY944" fmla="*/ 2829 h 10000"/>
                <a:gd name="connsiteX945" fmla="*/ 7051 w 10586"/>
                <a:gd name="connsiteY945" fmla="*/ 2829 h 10000"/>
                <a:gd name="connsiteX946" fmla="*/ 7037 w 10586"/>
                <a:gd name="connsiteY946" fmla="*/ 2880 h 10000"/>
                <a:gd name="connsiteX947" fmla="*/ 7037 w 10586"/>
                <a:gd name="connsiteY947" fmla="*/ 2906 h 10000"/>
                <a:gd name="connsiteX948" fmla="*/ 7037 w 10586"/>
                <a:gd name="connsiteY948" fmla="*/ 2932 h 10000"/>
                <a:gd name="connsiteX949" fmla="*/ 7037 w 10586"/>
                <a:gd name="connsiteY949" fmla="*/ 2940 h 10000"/>
                <a:gd name="connsiteX950" fmla="*/ 7023 w 10586"/>
                <a:gd name="connsiteY950" fmla="*/ 2906 h 10000"/>
                <a:gd name="connsiteX951" fmla="*/ 7023 w 10586"/>
                <a:gd name="connsiteY951" fmla="*/ 2915 h 10000"/>
                <a:gd name="connsiteX952" fmla="*/ 6991 w 10586"/>
                <a:gd name="connsiteY952" fmla="*/ 2906 h 10000"/>
                <a:gd name="connsiteX953" fmla="*/ 6977 w 10586"/>
                <a:gd name="connsiteY953" fmla="*/ 2915 h 10000"/>
                <a:gd name="connsiteX954" fmla="*/ 6963 w 10586"/>
                <a:gd name="connsiteY954" fmla="*/ 2915 h 10000"/>
                <a:gd name="connsiteX955" fmla="*/ 6949 w 10586"/>
                <a:gd name="connsiteY955" fmla="*/ 2872 h 10000"/>
                <a:gd name="connsiteX956" fmla="*/ 6935 w 10586"/>
                <a:gd name="connsiteY956" fmla="*/ 2855 h 10000"/>
                <a:gd name="connsiteX957" fmla="*/ 6922 w 10586"/>
                <a:gd name="connsiteY957" fmla="*/ 2803 h 10000"/>
                <a:gd name="connsiteX958" fmla="*/ 6917 w 10586"/>
                <a:gd name="connsiteY958" fmla="*/ 2786 h 10000"/>
                <a:gd name="connsiteX959" fmla="*/ 6903 w 10586"/>
                <a:gd name="connsiteY959" fmla="*/ 2709 h 10000"/>
                <a:gd name="connsiteX960" fmla="*/ 6903 w 10586"/>
                <a:gd name="connsiteY960" fmla="*/ 2692 h 10000"/>
                <a:gd name="connsiteX961" fmla="*/ 6899 w 10586"/>
                <a:gd name="connsiteY961" fmla="*/ 2709 h 10000"/>
                <a:gd name="connsiteX962" fmla="*/ 6857 w 10586"/>
                <a:gd name="connsiteY962" fmla="*/ 2872 h 10000"/>
                <a:gd name="connsiteX963" fmla="*/ 6857 w 10586"/>
                <a:gd name="connsiteY963" fmla="*/ 3009 h 10000"/>
                <a:gd name="connsiteX964" fmla="*/ 6848 w 10586"/>
                <a:gd name="connsiteY964" fmla="*/ 3017 h 10000"/>
                <a:gd name="connsiteX965" fmla="*/ 6839 w 10586"/>
                <a:gd name="connsiteY965" fmla="*/ 3068 h 10000"/>
                <a:gd name="connsiteX966" fmla="*/ 6829 w 10586"/>
                <a:gd name="connsiteY966" fmla="*/ 3077 h 10000"/>
                <a:gd name="connsiteX967" fmla="*/ 6829 w 10586"/>
                <a:gd name="connsiteY967" fmla="*/ 3128 h 10000"/>
                <a:gd name="connsiteX968" fmla="*/ 6816 w 10586"/>
                <a:gd name="connsiteY968" fmla="*/ 3154 h 10000"/>
                <a:gd name="connsiteX969" fmla="*/ 6811 w 10586"/>
                <a:gd name="connsiteY969" fmla="*/ 3179 h 10000"/>
                <a:gd name="connsiteX970" fmla="*/ 6797 w 10586"/>
                <a:gd name="connsiteY970" fmla="*/ 3171 h 10000"/>
                <a:gd name="connsiteX971" fmla="*/ 6783 w 10586"/>
                <a:gd name="connsiteY971" fmla="*/ 3103 h 10000"/>
                <a:gd name="connsiteX972" fmla="*/ 6779 w 10586"/>
                <a:gd name="connsiteY972" fmla="*/ 3094 h 10000"/>
                <a:gd name="connsiteX973" fmla="*/ 6779 w 10586"/>
                <a:gd name="connsiteY973" fmla="*/ 3120 h 10000"/>
                <a:gd name="connsiteX974" fmla="*/ 6770 w 10586"/>
                <a:gd name="connsiteY974" fmla="*/ 3128 h 10000"/>
                <a:gd name="connsiteX975" fmla="*/ 6765 w 10586"/>
                <a:gd name="connsiteY975" fmla="*/ 3103 h 10000"/>
                <a:gd name="connsiteX976" fmla="*/ 6756 w 10586"/>
                <a:gd name="connsiteY976" fmla="*/ 3103 h 10000"/>
                <a:gd name="connsiteX977" fmla="*/ 6742 w 10586"/>
                <a:gd name="connsiteY977" fmla="*/ 3103 h 10000"/>
                <a:gd name="connsiteX978" fmla="*/ 6737 w 10586"/>
                <a:gd name="connsiteY978" fmla="*/ 3077 h 10000"/>
                <a:gd name="connsiteX979" fmla="*/ 6737 w 10586"/>
                <a:gd name="connsiteY979" fmla="*/ 3068 h 10000"/>
                <a:gd name="connsiteX980" fmla="*/ 6728 w 10586"/>
                <a:gd name="connsiteY980" fmla="*/ 3043 h 10000"/>
                <a:gd name="connsiteX981" fmla="*/ 6724 w 10586"/>
                <a:gd name="connsiteY981" fmla="*/ 3051 h 10000"/>
                <a:gd name="connsiteX982" fmla="*/ 6714 w 10586"/>
                <a:gd name="connsiteY982" fmla="*/ 3043 h 10000"/>
                <a:gd name="connsiteX983" fmla="*/ 6710 w 10586"/>
                <a:gd name="connsiteY983" fmla="*/ 3034 h 10000"/>
                <a:gd name="connsiteX984" fmla="*/ 6705 w 10586"/>
                <a:gd name="connsiteY984" fmla="*/ 2983 h 10000"/>
                <a:gd name="connsiteX985" fmla="*/ 6696 w 10586"/>
                <a:gd name="connsiteY985" fmla="*/ 2966 h 10000"/>
                <a:gd name="connsiteX986" fmla="*/ 6691 w 10586"/>
                <a:gd name="connsiteY986" fmla="*/ 2983 h 10000"/>
                <a:gd name="connsiteX987" fmla="*/ 6677 w 10586"/>
                <a:gd name="connsiteY987" fmla="*/ 2897 h 10000"/>
                <a:gd name="connsiteX988" fmla="*/ 6677 w 10586"/>
                <a:gd name="connsiteY988" fmla="*/ 2897 h 10000"/>
                <a:gd name="connsiteX989" fmla="*/ 6677 w 10586"/>
                <a:gd name="connsiteY989" fmla="*/ 2872 h 10000"/>
                <a:gd name="connsiteX990" fmla="*/ 6668 w 10586"/>
                <a:gd name="connsiteY990" fmla="*/ 2821 h 10000"/>
                <a:gd name="connsiteX991" fmla="*/ 6664 w 10586"/>
                <a:gd name="connsiteY991" fmla="*/ 2829 h 10000"/>
                <a:gd name="connsiteX992" fmla="*/ 6654 w 10586"/>
                <a:gd name="connsiteY992" fmla="*/ 2846 h 10000"/>
                <a:gd name="connsiteX993" fmla="*/ 6650 w 10586"/>
                <a:gd name="connsiteY993" fmla="*/ 2829 h 10000"/>
                <a:gd name="connsiteX994" fmla="*/ 6650 w 10586"/>
                <a:gd name="connsiteY994" fmla="*/ 2803 h 10000"/>
                <a:gd name="connsiteX995" fmla="*/ 6650 w 10586"/>
                <a:gd name="connsiteY995" fmla="*/ 2795 h 10000"/>
                <a:gd name="connsiteX996" fmla="*/ 6641 w 10586"/>
                <a:gd name="connsiteY996" fmla="*/ 2786 h 10000"/>
                <a:gd name="connsiteX997" fmla="*/ 6636 w 10586"/>
                <a:gd name="connsiteY997" fmla="*/ 2735 h 10000"/>
                <a:gd name="connsiteX998" fmla="*/ 6664 w 10586"/>
                <a:gd name="connsiteY998" fmla="*/ 2667 h 10000"/>
                <a:gd name="connsiteX999" fmla="*/ 6668 w 10586"/>
                <a:gd name="connsiteY999" fmla="*/ 2684 h 10000"/>
                <a:gd name="connsiteX1000" fmla="*/ 6677 w 10586"/>
                <a:gd name="connsiteY1000" fmla="*/ 2667 h 10000"/>
                <a:gd name="connsiteX1001" fmla="*/ 6668 w 10586"/>
                <a:gd name="connsiteY1001" fmla="*/ 2667 h 10000"/>
                <a:gd name="connsiteX1002" fmla="*/ 6668 w 10586"/>
                <a:gd name="connsiteY1002" fmla="*/ 2650 h 10000"/>
                <a:gd name="connsiteX1003" fmla="*/ 6682 w 10586"/>
                <a:gd name="connsiteY1003" fmla="*/ 2650 h 10000"/>
                <a:gd name="connsiteX1004" fmla="*/ 6691 w 10586"/>
                <a:gd name="connsiteY1004" fmla="*/ 2624 h 10000"/>
                <a:gd name="connsiteX1005" fmla="*/ 6682 w 10586"/>
                <a:gd name="connsiteY1005" fmla="*/ 2632 h 10000"/>
                <a:gd name="connsiteX1006" fmla="*/ 6682 w 10586"/>
                <a:gd name="connsiteY1006" fmla="*/ 2624 h 10000"/>
                <a:gd name="connsiteX1007" fmla="*/ 6691 w 10586"/>
                <a:gd name="connsiteY1007" fmla="*/ 2607 h 10000"/>
                <a:gd name="connsiteX1008" fmla="*/ 6691 w 10586"/>
                <a:gd name="connsiteY1008" fmla="*/ 2598 h 10000"/>
                <a:gd name="connsiteX1009" fmla="*/ 6691 w 10586"/>
                <a:gd name="connsiteY1009" fmla="*/ 2581 h 10000"/>
                <a:gd name="connsiteX1010" fmla="*/ 6696 w 10586"/>
                <a:gd name="connsiteY1010" fmla="*/ 2530 h 10000"/>
                <a:gd name="connsiteX1011" fmla="*/ 6677 w 10586"/>
                <a:gd name="connsiteY1011" fmla="*/ 2513 h 10000"/>
                <a:gd name="connsiteX1012" fmla="*/ 6677 w 10586"/>
                <a:gd name="connsiteY1012" fmla="*/ 2496 h 10000"/>
                <a:gd name="connsiteX1013" fmla="*/ 6682 w 10586"/>
                <a:gd name="connsiteY1013" fmla="*/ 2470 h 10000"/>
                <a:gd name="connsiteX1014" fmla="*/ 6668 w 10586"/>
                <a:gd name="connsiteY1014" fmla="*/ 2462 h 10000"/>
                <a:gd name="connsiteX1015" fmla="*/ 6677 w 10586"/>
                <a:gd name="connsiteY1015" fmla="*/ 2436 h 10000"/>
                <a:gd name="connsiteX1016" fmla="*/ 6682 w 10586"/>
                <a:gd name="connsiteY1016" fmla="*/ 2419 h 10000"/>
                <a:gd name="connsiteX1017" fmla="*/ 6682 w 10586"/>
                <a:gd name="connsiteY1017" fmla="*/ 2393 h 10000"/>
                <a:gd name="connsiteX1018" fmla="*/ 6682 w 10586"/>
                <a:gd name="connsiteY1018" fmla="*/ 2385 h 10000"/>
                <a:gd name="connsiteX1019" fmla="*/ 6682 w 10586"/>
                <a:gd name="connsiteY1019" fmla="*/ 2385 h 10000"/>
                <a:gd name="connsiteX1020" fmla="*/ 6677 w 10586"/>
                <a:gd name="connsiteY1020" fmla="*/ 2376 h 10000"/>
                <a:gd name="connsiteX1021" fmla="*/ 6682 w 10586"/>
                <a:gd name="connsiteY1021" fmla="*/ 2359 h 10000"/>
                <a:gd name="connsiteX1022" fmla="*/ 6677 w 10586"/>
                <a:gd name="connsiteY1022" fmla="*/ 2333 h 10000"/>
                <a:gd name="connsiteX1023" fmla="*/ 6691 w 10586"/>
                <a:gd name="connsiteY1023" fmla="*/ 2333 h 10000"/>
                <a:gd name="connsiteX1024" fmla="*/ 6691 w 10586"/>
                <a:gd name="connsiteY1024" fmla="*/ 2325 h 10000"/>
                <a:gd name="connsiteX1025" fmla="*/ 6691 w 10586"/>
                <a:gd name="connsiteY1025" fmla="*/ 2308 h 10000"/>
                <a:gd name="connsiteX1026" fmla="*/ 6691 w 10586"/>
                <a:gd name="connsiteY1026" fmla="*/ 2299 h 10000"/>
                <a:gd name="connsiteX1027" fmla="*/ 6691 w 10586"/>
                <a:gd name="connsiteY1027" fmla="*/ 2282 h 10000"/>
                <a:gd name="connsiteX1028" fmla="*/ 6691 w 10586"/>
                <a:gd name="connsiteY1028" fmla="*/ 2274 h 10000"/>
                <a:gd name="connsiteX1029" fmla="*/ 6668 w 10586"/>
                <a:gd name="connsiteY1029" fmla="*/ 2248 h 10000"/>
                <a:gd name="connsiteX1030" fmla="*/ 6664 w 10586"/>
                <a:gd name="connsiteY1030" fmla="*/ 2222 h 10000"/>
                <a:gd name="connsiteX1031" fmla="*/ 6654 w 10586"/>
                <a:gd name="connsiteY1031" fmla="*/ 2214 h 10000"/>
                <a:gd name="connsiteX1032" fmla="*/ 6654 w 10586"/>
                <a:gd name="connsiteY1032" fmla="*/ 2188 h 10000"/>
                <a:gd name="connsiteX1033" fmla="*/ 6622 w 10586"/>
                <a:gd name="connsiteY1033" fmla="*/ 2162 h 10000"/>
                <a:gd name="connsiteX1034" fmla="*/ 6631 w 10586"/>
                <a:gd name="connsiteY1034" fmla="*/ 2145 h 10000"/>
                <a:gd name="connsiteX1035" fmla="*/ 6622 w 10586"/>
                <a:gd name="connsiteY1035" fmla="*/ 2120 h 10000"/>
                <a:gd name="connsiteX1036" fmla="*/ 6608 w 10586"/>
                <a:gd name="connsiteY1036" fmla="*/ 2120 h 10000"/>
                <a:gd name="connsiteX1037" fmla="*/ 6604 w 10586"/>
                <a:gd name="connsiteY1037" fmla="*/ 2111 h 10000"/>
                <a:gd name="connsiteX1038" fmla="*/ 6608 w 10586"/>
                <a:gd name="connsiteY1038" fmla="*/ 2111 h 10000"/>
                <a:gd name="connsiteX1039" fmla="*/ 6604 w 10586"/>
                <a:gd name="connsiteY1039" fmla="*/ 2085 h 10000"/>
                <a:gd name="connsiteX1040" fmla="*/ 6581 w 10586"/>
                <a:gd name="connsiteY1040" fmla="*/ 2077 h 10000"/>
                <a:gd name="connsiteX1041" fmla="*/ 6571 w 10586"/>
                <a:gd name="connsiteY1041" fmla="*/ 2085 h 10000"/>
                <a:gd name="connsiteX1042" fmla="*/ 6548 w 10586"/>
                <a:gd name="connsiteY1042" fmla="*/ 2077 h 10000"/>
                <a:gd name="connsiteX1043" fmla="*/ 6530 w 10586"/>
                <a:gd name="connsiteY1043" fmla="*/ 2060 h 10000"/>
                <a:gd name="connsiteX1044" fmla="*/ 6521 w 10586"/>
                <a:gd name="connsiteY1044" fmla="*/ 2060 h 10000"/>
                <a:gd name="connsiteX1045" fmla="*/ 6521 w 10586"/>
                <a:gd name="connsiteY1045" fmla="*/ 2085 h 10000"/>
                <a:gd name="connsiteX1046" fmla="*/ 6516 w 10586"/>
                <a:gd name="connsiteY1046" fmla="*/ 2085 h 10000"/>
                <a:gd name="connsiteX1047" fmla="*/ 6502 w 10586"/>
                <a:gd name="connsiteY1047" fmla="*/ 2111 h 10000"/>
                <a:gd name="connsiteX1048" fmla="*/ 6498 w 10586"/>
                <a:gd name="connsiteY1048" fmla="*/ 2111 h 10000"/>
                <a:gd name="connsiteX1049" fmla="*/ 6498 w 10586"/>
                <a:gd name="connsiteY1049" fmla="*/ 2103 h 10000"/>
                <a:gd name="connsiteX1050" fmla="*/ 6475 w 10586"/>
                <a:gd name="connsiteY1050" fmla="*/ 2051 h 10000"/>
                <a:gd name="connsiteX1051" fmla="*/ 6470 w 10586"/>
                <a:gd name="connsiteY1051" fmla="*/ 2060 h 10000"/>
                <a:gd name="connsiteX1052" fmla="*/ 6456 w 10586"/>
                <a:gd name="connsiteY1052" fmla="*/ 2051 h 10000"/>
                <a:gd name="connsiteX1053" fmla="*/ 6447 w 10586"/>
                <a:gd name="connsiteY1053" fmla="*/ 2051 h 10000"/>
                <a:gd name="connsiteX1054" fmla="*/ 6433 w 10586"/>
                <a:gd name="connsiteY1054" fmla="*/ 2026 h 10000"/>
                <a:gd name="connsiteX1055" fmla="*/ 6433 w 10586"/>
                <a:gd name="connsiteY1055" fmla="*/ 2034 h 10000"/>
                <a:gd name="connsiteX1056" fmla="*/ 6429 w 10586"/>
                <a:gd name="connsiteY1056" fmla="*/ 2026 h 10000"/>
                <a:gd name="connsiteX1057" fmla="*/ 6424 w 10586"/>
                <a:gd name="connsiteY1057" fmla="*/ 2034 h 10000"/>
                <a:gd name="connsiteX1058" fmla="*/ 6410 w 10586"/>
                <a:gd name="connsiteY1058" fmla="*/ 2026 h 10000"/>
                <a:gd name="connsiteX1059" fmla="*/ 6410 w 10586"/>
                <a:gd name="connsiteY1059" fmla="*/ 1991 h 10000"/>
                <a:gd name="connsiteX1060" fmla="*/ 6401 w 10586"/>
                <a:gd name="connsiteY1060" fmla="*/ 1991 h 10000"/>
                <a:gd name="connsiteX1061" fmla="*/ 6396 w 10586"/>
                <a:gd name="connsiteY1061" fmla="*/ 2000 h 10000"/>
                <a:gd name="connsiteX1062" fmla="*/ 6382 w 10586"/>
                <a:gd name="connsiteY1062" fmla="*/ 1966 h 10000"/>
                <a:gd name="connsiteX1063" fmla="*/ 6373 w 10586"/>
                <a:gd name="connsiteY1063" fmla="*/ 1974 h 10000"/>
                <a:gd name="connsiteX1064" fmla="*/ 6369 w 10586"/>
                <a:gd name="connsiteY1064" fmla="*/ 1966 h 10000"/>
                <a:gd name="connsiteX1065" fmla="*/ 6341 w 10586"/>
                <a:gd name="connsiteY1065" fmla="*/ 1949 h 10000"/>
                <a:gd name="connsiteX1066" fmla="*/ 6327 w 10586"/>
                <a:gd name="connsiteY1066" fmla="*/ 1923 h 10000"/>
                <a:gd name="connsiteX1067" fmla="*/ 6323 w 10586"/>
                <a:gd name="connsiteY1067" fmla="*/ 1923 h 10000"/>
                <a:gd name="connsiteX1068" fmla="*/ 6323 w 10586"/>
                <a:gd name="connsiteY1068" fmla="*/ 1966 h 10000"/>
                <a:gd name="connsiteX1069" fmla="*/ 6323 w 10586"/>
                <a:gd name="connsiteY1069" fmla="*/ 1991 h 10000"/>
                <a:gd name="connsiteX1070" fmla="*/ 6313 w 10586"/>
                <a:gd name="connsiteY1070" fmla="*/ 1991 h 10000"/>
                <a:gd name="connsiteX1071" fmla="*/ 6300 w 10586"/>
                <a:gd name="connsiteY1071" fmla="*/ 1991 h 10000"/>
                <a:gd name="connsiteX1072" fmla="*/ 6290 w 10586"/>
                <a:gd name="connsiteY1072" fmla="*/ 1949 h 10000"/>
                <a:gd name="connsiteX1073" fmla="*/ 6276 w 10586"/>
                <a:gd name="connsiteY1073" fmla="*/ 2103 h 10000"/>
                <a:gd name="connsiteX1074" fmla="*/ 6281 w 10586"/>
                <a:gd name="connsiteY1074" fmla="*/ 2103 h 10000"/>
                <a:gd name="connsiteX1075" fmla="*/ 6276 w 10586"/>
                <a:gd name="connsiteY1075" fmla="*/ 2111 h 10000"/>
                <a:gd name="connsiteX1076" fmla="*/ 6276 w 10586"/>
                <a:gd name="connsiteY1076" fmla="*/ 2120 h 10000"/>
                <a:gd name="connsiteX1077" fmla="*/ 6295 w 10586"/>
                <a:gd name="connsiteY1077" fmla="*/ 2239 h 10000"/>
                <a:gd name="connsiteX1078" fmla="*/ 6290 w 10586"/>
                <a:gd name="connsiteY1078" fmla="*/ 2248 h 10000"/>
                <a:gd name="connsiteX1079" fmla="*/ 6281 w 10586"/>
                <a:gd name="connsiteY1079" fmla="*/ 2274 h 10000"/>
                <a:gd name="connsiteX1080" fmla="*/ 6249 w 10586"/>
                <a:gd name="connsiteY1080" fmla="*/ 2274 h 10000"/>
                <a:gd name="connsiteX1081" fmla="*/ 6226 w 10586"/>
                <a:gd name="connsiteY1081" fmla="*/ 2308 h 10000"/>
                <a:gd name="connsiteX1082" fmla="*/ 6221 w 10586"/>
                <a:gd name="connsiteY1082" fmla="*/ 2299 h 10000"/>
                <a:gd name="connsiteX1083" fmla="*/ 6221 w 10586"/>
                <a:gd name="connsiteY1083" fmla="*/ 2308 h 10000"/>
                <a:gd name="connsiteX1084" fmla="*/ 6217 w 10586"/>
                <a:gd name="connsiteY1084" fmla="*/ 2299 h 10000"/>
                <a:gd name="connsiteX1085" fmla="*/ 6194 w 10586"/>
                <a:gd name="connsiteY1085" fmla="*/ 2308 h 10000"/>
                <a:gd name="connsiteX1086" fmla="*/ 6180 w 10586"/>
                <a:gd name="connsiteY1086" fmla="*/ 2299 h 10000"/>
                <a:gd name="connsiteX1087" fmla="*/ 6143 w 10586"/>
                <a:gd name="connsiteY1087" fmla="*/ 2308 h 10000"/>
                <a:gd name="connsiteX1088" fmla="*/ 6134 w 10586"/>
                <a:gd name="connsiteY1088" fmla="*/ 2325 h 10000"/>
                <a:gd name="connsiteX1089" fmla="*/ 6115 w 10586"/>
                <a:gd name="connsiteY1089" fmla="*/ 2282 h 10000"/>
                <a:gd name="connsiteX1090" fmla="*/ 6069 w 10586"/>
                <a:gd name="connsiteY1090" fmla="*/ 2274 h 10000"/>
                <a:gd name="connsiteX1091" fmla="*/ 6069 w 10586"/>
                <a:gd name="connsiteY1091" fmla="*/ 2282 h 10000"/>
                <a:gd name="connsiteX1092" fmla="*/ 6060 w 10586"/>
                <a:gd name="connsiteY1092" fmla="*/ 2299 h 10000"/>
                <a:gd name="connsiteX1093" fmla="*/ 5972 w 10586"/>
                <a:gd name="connsiteY1093" fmla="*/ 2214 h 10000"/>
                <a:gd name="connsiteX1094" fmla="*/ 5968 w 10586"/>
                <a:gd name="connsiteY1094" fmla="*/ 2197 h 10000"/>
                <a:gd name="connsiteX1095" fmla="*/ 5968 w 10586"/>
                <a:gd name="connsiteY1095" fmla="*/ 2171 h 10000"/>
                <a:gd name="connsiteX1096" fmla="*/ 5968 w 10586"/>
                <a:gd name="connsiteY1096" fmla="*/ 2162 h 10000"/>
                <a:gd name="connsiteX1097" fmla="*/ 5968 w 10586"/>
                <a:gd name="connsiteY1097" fmla="*/ 2120 h 10000"/>
                <a:gd name="connsiteX1098" fmla="*/ 5968 w 10586"/>
                <a:gd name="connsiteY1098" fmla="*/ 2111 h 10000"/>
                <a:gd name="connsiteX1099" fmla="*/ 5972 w 10586"/>
                <a:gd name="connsiteY1099" fmla="*/ 2103 h 10000"/>
                <a:gd name="connsiteX1100" fmla="*/ 5986 w 10586"/>
                <a:gd name="connsiteY1100" fmla="*/ 2103 h 10000"/>
                <a:gd name="connsiteX1101" fmla="*/ 5986 w 10586"/>
                <a:gd name="connsiteY1101" fmla="*/ 2085 h 10000"/>
                <a:gd name="connsiteX1102" fmla="*/ 5995 w 10586"/>
                <a:gd name="connsiteY1102" fmla="*/ 2085 h 10000"/>
                <a:gd name="connsiteX1103" fmla="*/ 5995 w 10586"/>
                <a:gd name="connsiteY1103" fmla="*/ 2077 h 10000"/>
                <a:gd name="connsiteX1104" fmla="*/ 5986 w 10586"/>
                <a:gd name="connsiteY1104" fmla="*/ 2060 h 10000"/>
                <a:gd name="connsiteX1105" fmla="*/ 5954 w 10586"/>
                <a:gd name="connsiteY1105" fmla="*/ 2060 h 10000"/>
                <a:gd name="connsiteX1106" fmla="*/ 5940 w 10586"/>
                <a:gd name="connsiteY1106" fmla="*/ 2051 h 10000"/>
                <a:gd name="connsiteX1107" fmla="*/ 5922 w 10586"/>
                <a:gd name="connsiteY1107" fmla="*/ 2060 h 10000"/>
                <a:gd name="connsiteX1108" fmla="*/ 5885 w 10586"/>
                <a:gd name="connsiteY1108" fmla="*/ 2051 h 10000"/>
                <a:gd name="connsiteX1109" fmla="*/ 5876 w 10586"/>
                <a:gd name="connsiteY1109" fmla="*/ 2026 h 10000"/>
                <a:gd name="connsiteX1110" fmla="*/ 5862 w 10586"/>
                <a:gd name="connsiteY1110" fmla="*/ 2026 h 10000"/>
                <a:gd name="connsiteX1111" fmla="*/ 5848 w 10586"/>
                <a:gd name="connsiteY1111" fmla="*/ 2026 h 10000"/>
                <a:gd name="connsiteX1112" fmla="*/ 5825 w 10586"/>
                <a:gd name="connsiteY1112" fmla="*/ 2026 h 10000"/>
                <a:gd name="connsiteX1113" fmla="*/ 5788 w 10586"/>
                <a:gd name="connsiteY1113" fmla="*/ 1991 h 10000"/>
                <a:gd name="connsiteX1114" fmla="*/ 5760 w 10586"/>
                <a:gd name="connsiteY1114" fmla="*/ 2000 h 10000"/>
                <a:gd name="connsiteX1115" fmla="*/ 5760 w 10586"/>
                <a:gd name="connsiteY1115" fmla="*/ 2026 h 10000"/>
                <a:gd name="connsiteX1116" fmla="*/ 5714 w 10586"/>
                <a:gd name="connsiteY1116" fmla="*/ 2051 h 10000"/>
                <a:gd name="connsiteX1117" fmla="*/ 5687 w 10586"/>
                <a:gd name="connsiteY1117" fmla="*/ 2034 h 10000"/>
                <a:gd name="connsiteX1118" fmla="*/ 5645 w 10586"/>
                <a:gd name="connsiteY1118" fmla="*/ 2077 h 10000"/>
                <a:gd name="connsiteX1119" fmla="*/ 5664 w 10586"/>
                <a:gd name="connsiteY1119" fmla="*/ 2120 h 10000"/>
                <a:gd name="connsiteX1120" fmla="*/ 5664 w 10586"/>
                <a:gd name="connsiteY1120" fmla="*/ 2162 h 10000"/>
                <a:gd name="connsiteX1121" fmla="*/ 5631 w 10586"/>
                <a:gd name="connsiteY1121" fmla="*/ 2197 h 10000"/>
                <a:gd name="connsiteX1122" fmla="*/ 5618 w 10586"/>
                <a:gd name="connsiteY1122" fmla="*/ 2188 h 10000"/>
                <a:gd name="connsiteX1123" fmla="*/ 5618 w 10586"/>
                <a:gd name="connsiteY1123" fmla="*/ 2171 h 10000"/>
                <a:gd name="connsiteX1124" fmla="*/ 5641 w 10586"/>
                <a:gd name="connsiteY1124" fmla="*/ 2171 h 10000"/>
                <a:gd name="connsiteX1125" fmla="*/ 5641 w 10586"/>
                <a:gd name="connsiteY1125" fmla="*/ 2162 h 10000"/>
                <a:gd name="connsiteX1126" fmla="*/ 5627 w 10586"/>
                <a:gd name="connsiteY1126" fmla="*/ 2145 h 10000"/>
                <a:gd name="connsiteX1127" fmla="*/ 5627 w 10586"/>
                <a:gd name="connsiteY1127" fmla="*/ 2120 h 10000"/>
                <a:gd name="connsiteX1128" fmla="*/ 5618 w 10586"/>
                <a:gd name="connsiteY1128" fmla="*/ 2111 h 10000"/>
                <a:gd name="connsiteX1129" fmla="*/ 5631 w 10586"/>
                <a:gd name="connsiteY1129" fmla="*/ 2051 h 10000"/>
                <a:gd name="connsiteX1130" fmla="*/ 5631 w 10586"/>
                <a:gd name="connsiteY1130" fmla="*/ 2026 h 10000"/>
                <a:gd name="connsiteX1131" fmla="*/ 5627 w 10586"/>
                <a:gd name="connsiteY1131" fmla="*/ 1991 h 10000"/>
                <a:gd name="connsiteX1132" fmla="*/ 5618 w 10586"/>
                <a:gd name="connsiteY1132" fmla="*/ 1974 h 10000"/>
                <a:gd name="connsiteX1133" fmla="*/ 5618 w 10586"/>
                <a:gd name="connsiteY1133" fmla="*/ 1940 h 10000"/>
                <a:gd name="connsiteX1134" fmla="*/ 5594 w 10586"/>
                <a:gd name="connsiteY1134" fmla="*/ 1855 h 10000"/>
                <a:gd name="connsiteX1135" fmla="*/ 5599 w 10586"/>
                <a:gd name="connsiteY1135" fmla="*/ 1915 h 10000"/>
                <a:gd name="connsiteX1136" fmla="*/ 5599 w 10586"/>
                <a:gd name="connsiteY1136" fmla="*/ 1949 h 10000"/>
                <a:gd name="connsiteX1137" fmla="*/ 5594 w 10586"/>
                <a:gd name="connsiteY1137" fmla="*/ 1991 h 10000"/>
                <a:gd name="connsiteX1138" fmla="*/ 5571 w 10586"/>
                <a:gd name="connsiteY1138" fmla="*/ 2000 h 10000"/>
                <a:gd name="connsiteX1139" fmla="*/ 5530 w 10586"/>
                <a:gd name="connsiteY1139" fmla="*/ 1991 h 10000"/>
                <a:gd name="connsiteX1140" fmla="*/ 5525 w 10586"/>
                <a:gd name="connsiteY1140" fmla="*/ 2000 h 10000"/>
                <a:gd name="connsiteX1141" fmla="*/ 5521 w 10586"/>
                <a:gd name="connsiteY1141" fmla="*/ 1991 h 10000"/>
                <a:gd name="connsiteX1142" fmla="*/ 5498 w 10586"/>
                <a:gd name="connsiteY1142" fmla="*/ 1949 h 10000"/>
                <a:gd name="connsiteX1143" fmla="*/ 5493 w 10586"/>
                <a:gd name="connsiteY1143" fmla="*/ 1889 h 10000"/>
                <a:gd name="connsiteX1144" fmla="*/ 5493 w 10586"/>
                <a:gd name="connsiteY1144" fmla="*/ 1863 h 10000"/>
                <a:gd name="connsiteX1145" fmla="*/ 5498 w 10586"/>
                <a:gd name="connsiteY1145" fmla="*/ 1889 h 10000"/>
                <a:gd name="connsiteX1146" fmla="*/ 5512 w 10586"/>
                <a:gd name="connsiteY1146" fmla="*/ 1855 h 10000"/>
                <a:gd name="connsiteX1147" fmla="*/ 5512 w 10586"/>
                <a:gd name="connsiteY1147" fmla="*/ 1838 h 10000"/>
                <a:gd name="connsiteX1148" fmla="*/ 5479 w 10586"/>
                <a:gd name="connsiteY1148" fmla="*/ 1855 h 10000"/>
                <a:gd name="connsiteX1149" fmla="*/ 5470 w 10586"/>
                <a:gd name="connsiteY1149" fmla="*/ 1872 h 10000"/>
                <a:gd name="connsiteX1150" fmla="*/ 5470 w 10586"/>
                <a:gd name="connsiteY1150" fmla="*/ 1889 h 10000"/>
                <a:gd name="connsiteX1151" fmla="*/ 5465 w 10586"/>
                <a:gd name="connsiteY1151" fmla="*/ 1897 h 10000"/>
                <a:gd name="connsiteX1152" fmla="*/ 5456 w 10586"/>
                <a:gd name="connsiteY1152" fmla="*/ 1872 h 10000"/>
                <a:gd name="connsiteX1153" fmla="*/ 5447 w 10586"/>
                <a:gd name="connsiteY1153" fmla="*/ 1872 h 10000"/>
                <a:gd name="connsiteX1154" fmla="*/ 5433 w 10586"/>
                <a:gd name="connsiteY1154" fmla="*/ 1855 h 10000"/>
                <a:gd name="connsiteX1155" fmla="*/ 5396 w 10586"/>
                <a:gd name="connsiteY1155" fmla="*/ 1863 h 10000"/>
                <a:gd name="connsiteX1156" fmla="*/ 5396 w 10586"/>
                <a:gd name="connsiteY1156" fmla="*/ 1897 h 10000"/>
                <a:gd name="connsiteX1157" fmla="*/ 5378 w 10586"/>
                <a:gd name="connsiteY1157" fmla="*/ 1949 h 10000"/>
                <a:gd name="connsiteX1158" fmla="*/ 5378 w 10586"/>
                <a:gd name="connsiteY1158" fmla="*/ 1966 h 10000"/>
                <a:gd name="connsiteX1159" fmla="*/ 5392 w 10586"/>
                <a:gd name="connsiteY1159" fmla="*/ 2026 h 10000"/>
                <a:gd name="connsiteX1160" fmla="*/ 5396 w 10586"/>
                <a:gd name="connsiteY1160" fmla="*/ 2026 h 10000"/>
                <a:gd name="connsiteX1161" fmla="*/ 5392 w 10586"/>
                <a:gd name="connsiteY1161" fmla="*/ 2009 h 10000"/>
                <a:gd name="connsiteX1162" fmla="*/ 5392 w 10586"/>
                <a:gd name="connsiteY1162" fmla="*/ 2000 h 10000"/>
                <a:gd name="connsiteX1163" fmla="*/ 5396 w 10586"/>
                <a:gd name="connsiteY1163" fmla="*/ 2009 h 10000"/>
                <a:gd name="connsiteX1164" fmla="*/ 5424 w 10586"/>
                <a:gd name="connsiteY1164" fmla="*/ 2009 h 10000"/>
                <a:gd name="connsiteX1165" fmla="*/ 5433 w 10586"/>
                <a:gd name="connsiteY1165" fmla="*/ 1991 h 10000"/>
                <a:gd name="connsiteX1166" fmla="*/ 5447 w 10586"/>
                <a:gd name="connsiteY1166" fmla="*/ 1974 h 10000"/>
                <a:gd name="connsiteX1167" fmla="*/ 5452 w 10586"/>
                <a:gd name="connsiteY1167" fmla="*/ 1966 h 10000"/>
                <a:gd name="connsiteX1168" fmla="*/ 5456 w 10586"/>
                <a:gd name="connsiteY1168" fmla="*/ 1966 h 10000"/>
                <a:gd name="connsiteX1169" fmla="*/ 5465 w 10586"/>
                <a:gd name="connsiteY1169" fmla="*/ 2009 h 10000"/>
                <a:gd name="connsiteX1170" fmla="*/ 5433 w 10586"/>
                <a:gd name="connsiteY1170" fmla="*/ 2034 h 10000"/>
                <a:gd name="connsiteX1171" fmla="*/ 5424 w 10586"/>
                <a:gd name="connsiteY1171" fmla="*/ 2060 h 10000"/>
                <a:gd name="connsiteX1172" fmla="*/ 5419 w 10586"/>
                <a:gd name="connsiteY1172" fmla="*/ 2060 h 10000"/>
                <a:gd name="connsiteX1173" fmla="*/ 5392 w 10586"/>
                <a:gd name="connsiteY1173" fmla="*/ 2111 h 10000"/>
                <a:gd name="connsiteX1174" fmla="*/ 5378 w 10586"/>
                <a:gd name="connsiteY1174" fmla="*/ 2111 h 10000"/>
                <a:gd name="connsiteX1175" fmla="*/ 5350 w 10586"/>
                <a:gd name="connsiteY1175" fmla="*/ 2060 h 10000"/>
                <a:gd name="connsiteX1176" fmla="*/ 5373 w 10586"/>
                <a:gd name="connsiteY1176" fmla="*/ 2111 h 10000"/>
                <a:gd name="connsiteX1177" fmla="*/ 5364 w 10586"/>
                <a:gd name="connsiteY1177" fmla="*/ 2111 h 10000"/>
                <a:gd name="connsiteX1178" fmla="*/ 5359 w 10586"/>
                <a:gd name="connsiteY1178" fmla="*/ 2103 h 10000"/>
                <a:gd name="connsiteX1179" fmla="*/ 5359 w 10586"/>
                <a:gd name="connsiteY1179" fmla="*/ 2120 h 10000"/>
                <a:gd name="connsiteX1180" fmla="*/ 5359 w 10586"/>
                <a:gd name="connsiteY1180" fmla="*/ 2137 h 10000"/>
                <a:gd name="connsiteX1181" fmla="*/ 5313 w 10586"/>
                <a:gd name="connsiteY1181" fmla="*/ 2162 h 10000"/>
                <a:gd name="connsiteX1182" fmla="*/ 5300 w 10586"/>
                <a:gd name="connsiteY1182" fmla="*/ 2162 h 10000"/>
                <a:gd name="connsiteX1183" fmla="*/ 5300 w 10586"/>
                <a:gd name="connsiteY1183" fmla="*/ 2171 h 10000"/>
                <a:gd name="connsiteX1184" fmla="*/ 5300 w 10586"/>
                <a:gd name="connsiteY1184" fmla="*/ 2197 h 10000"/>
                <a:gd name="connsiteX1185" fmla="*/ 5276 w 10586"/>
                <a:gd name="connsiteY1185" fmla="*/ 2188 h 10000"/>
                <a:gd name="connsiteX1186" fmla="*/ 5249 w 10586"/>
                <a:gd name="connsiteY1186" fmla="*/ 2222 h 10000"/>
                <a:gd name="connsiteX1187" fmla="*/ 5249 w 10586"/>
                <a:gd name="connsiteY1187" fmla="*/ 2222 h 10000"/>
                <a:gd name="connsiteX1188" fmla="*/ 5217 w 10586"/>
                <a:gd name="connsiteY1188" fmla="*/ 2214 h 10000"/>
                <a:gd name="connsiteX1189" fmla="*/ 5203 w 10586"/>
                <a:gd name="connsiteY1189" fmla="*/ 2239 h 10000"/>
                <a:gd name="connsiteX1190" fmla="*/ 5171 w 10586"/>
                <a:gd name="connsiteY1190" fmla="*/ 2214 h 10000"/>
                <a:gd name="connsiteX1191" fmla="*/ 5157 w 10586"/>
                <a:gd name="connsiteY1191" fmla="*/ 2239 h 10000"/>
                <a:gd name="connsiteX1192" fmla="*/ 5166 w 10586"/>
                <a:gd name="connsiteY1192" fmla="*/ 2256 h 10000"/>
                <a:gd name="connsiteX1193" fmla="*/ 5171 w 10586"/>
                <a:gd name="connsiteY1193" fmla="*/ 2308 h 10000"/>
                <a:gd name="connsiteX1194" fmla="*/ 5212 w 10586"/>
                <a:gd name="connsiteY1194" fmla="*/ 2350 h 10000"/>
                <a:gd name="connsiteX1195" fmla="*/ 5203 w 10586"/>
                <a:gd name="connsiteY1195" fmla="*/ 2350 h 10000"/>
                <a:gd name="connsiteX1196" fmla="*/ 5166 w 10586"/>
                <a:gd name="connsiteY1196" fmla="*/ 2325 h 10000"/>
                <a:gd name="connsiteX1197" fmla="*/ 5152 w 10586"/>
                <a:gd name="connsiteY1197" fmla="*/ 2308 h 10000"/>
                <a:gd name="connsiteX1198" fmla="*/ 5143 w 10586"/>
                <a:gd name="connsiteY1198" fmla="*/ 2333 h 10000"/>
                <a:gd name="connsiteX1199" fmla="*/ 5138 w 10586"/>
                <a:gd name="connsiteY1199" fmla="*/ 2333 h 10000"/>
                <a:gd name="connsiteX1200" fmla="*/ 5124 w 10586"/>
                <a:gd name="connsiteY1200" fmla="*/ 2376 h 10000"/>
                <a:gd name="connsiteX1201" fmla="*/ 5115 w 10586"/>
                <a:gd name="connsiteY1201" fmla="*/ 2385 h 10000"/>
                <a:gd name="connsiteX1202" fmla="*/ 5106 w 10586"/>
                <a:gd name="connsiteY1202" fmla="*/ 2385 h 10000"/>
                <a:gd name="connsiteX1203" fmla="*/ 5055 w 10586"/>
                <a:gd name="connsiteY1203" fmla="*/ 2470 h 10000"/>
                <a:gd name="connsiteX1204" fmla="*/ 5065 w 10586"/>
                <a:gd name="connsiteY1204" fmla="*/ 2462 h 10000"/>
                <a:gd name="connsiteX1205" fmla="*/ 5055 w 10586"/>
                <a:gd name="connsiteY1205" fmla="*/ 2444 h 10000"/>
                <a:gd name="connsiteX1206" fmla="*/ 5041 w 10586"/>
                <a:gd name="connsiteY1206" fmla="*/ 2462 h 10000"/>
                <a:gd name="connsiteX1207" fmla="*/ 5037 w 10586"/>
                <a:gd name="connsiteY1207" fmla="*/ 2470 h 10000"/>
                <a:gd name="connsiteX1208" fmla="*/ 5032 w 10586"/>
                <a:gd name="connsiteY1208" fmla="*/ 2470 h 10000"/>
                <a:gd name="connsiteX1209" fmla="*/ 5032 w 10586"/>
                <a:gd name="connsiteY1209" fmla="*/ 2444 h 10000"/>
                <a:gd name="connsiteX1210" fmla="*/ 5055 w 10586"/>
                <a:gd name="connsiteY1210" fmla="*/ 2410 h 10000"/>
                <a:gd name="connsiteX1211" fmla="*/ 5065 w 10586"/>
                <a:gd name="connsiteY1211" fmla="*/ 2393 h 10000"/>
                <a:gd name="connsiteX1212" fmla="*/ 5069 w 10586"/>
                <a:gd name="connsiteY1212" fmla="*/ 2385 h 10000"/>
                <a:gd name="connsiteX1213" fmla="*/ 5083 w 10586"/>
                <a:gd name="connsiteY1213" fmla="*/ 2376 h 10000"/>
                <a:gd name="connsiteX1214" fmla="*/ 5097 w 10586"/>
                <a:gd name="connsiteY1214" fmla="*/ 2376 h 10000"/>
                <a:gd name="connsiteX1215" fmla="*/ 5124 w 10586"/>
                <a:gd name="connsiteY1215" fmla="*/ 2325 h 10000"/>
                <a:gd name="connsiteX1216" fmla="*/ 5143 w 10586"/>
                <a:gd name="connsiteY1216" fmla="*/ 2248 h 10000"/>
                <a:gd name="connsiteX1217" fmla="*/ 5152 w 10586"/>
                <a:gd name="connsiteY1217" fmla="*/ 2239 h 10000"/>
                <a:gd name="connsiteX1218" fmla="*/ 5166 w 10586"/>
                <a:gd name="connsiteY1218" fmla="*/ 2162 h 10000"/>
                <a:gd name="connsiteX1219" fmla="*/ 5171 w 10586"/>
                <a:gd name="connsiteY1219" fmla="*/ 2171 h 10000"/>
                <a:gd name="connsiteX1220" fmla="*/ 5198 w 10586"/>
                <a:gd name="connsiteY1220" fmla="*/ 2145 h 10000"/>
                <a:gd name="connsiteX1221" fmla="*/ 5203 w 10586"/>
                <a:gd name="connsiteY1221" fmla="*/ 2111 h 10000"/>
                <a:gd name="connsiteX1222" fmla="*/ 5217 w 10586"/>
                <a:gd name="connsiteY1222" fmla="*/ 2060 h 10000"/>
                <a:gd name="connsiteX1223" fmla="*/ 5226 w 10586"/>
                <a:gd name="connsiteY1223" fmla="*/ 2026 h 10000"/>
                <a:gd name="connsiteX1224" fmla="*/ 5286 w 10586"/>
                <a:gd name="connsiteY1224" fmla="*/ 2026 h 10000"/>
                <a:gd name="connsiteX1225" fmla="*/ 5290 w 10586"/>
                <a:gd name="connsiteY1225" fmla="*/ 2034 h 10000"/>
                <a:gd name="connsiteX1226" fmla="*/ 5323 w 10586"/>
                <a:gd name="connsiteY1226" fmla="*/ 1923 h 10000"/>
                <a:gd name="connsiteX1227" fmla="*/ 5323 w 10586"/>
                <a:gd name="connsiteY1227" fmla="*/ 1889 h 10000"/>
                <a:gd name="connsiteX1228" fmla="*/ 5359 w 10586"/>
                <a:gd name="connsiteY1228" fmla="*/ 1829 h 10000"/>
                <a:gd name="connsiteX1229" fmla="*/ 5378 w 10586"/>
                <a:gd name="connsiteY1229" fmla="*/ 1812 h 10000"/>
                <a:gd name="connsiteX1230" fmla="*/ 5406 w 10586"/>
                <a:gd name="connsiteY1230" fmla="*/ 1752 h 10000"/>
                <a:gd name="connsiteX1231" fmla="*/ 5410 w 10586"/>
                <a:gd name="connsiteY1231" fmla="*/ 1718 h 10000"/>
                <a:gd name="connsiteX1232" fmla="*/ 5438 w 10586"/>
                <a:gd name="connsiteY1232" fmla="*/ 1667 h 10000"/>
                <a:gd name="connsiteX1233" fmla="*/ 5438 w 10586"/>
                <a:gd name="connsiteY1233" fmla="*/ 1650 h 10000"/>
                <a:gd name="connsiteX1234" fmla="*/ 5438 w 10586"/>
                <a:gd name="connsiteY1234" fmla="*/ 1641 h 10000"/>
                <a:gd name="connsiteX1235" fmla="*/ 5452 w 10586"/>
                <a:gd name="connsiteY1235" fmla="*/ 1641 h 10000"/>
                <a:gd name="connsiteX1236" fmla="*/ 5456 w 10586"/>
                <a:gd name="connsiteY1236" fmla="*/ 1615 h 10000"/>
                <a:gd name="connsiteX1237" fmla="*/ 5456 w 10586"/>
                <a:gd name="connsiteY1237" fmla="*/ 1615 h 10000"/>
                <a:gd name="connsiteX1238" fmla="*/ 5465 w 10586"/>
                <a:gd name="connsiteY1238" fmla="*/ 1598 h 10000"/>
                <a:gd name="connsiteX1239" fmla="*/ 5465 w 10586"/>
                <a:gd name="connsiteY1239" fmla="*/ 1615 h 10000"/>
                <a:gd name="connsiteX1240" fmla="*/ 5479 w 10586"/>
                <a:gd name="connsiteY1240" fmla="*/ 1598 h 10000"/>
                <a:gd name="connsiteX1241" fmla="*/ 5484 w 10586"/>
                <a:gd name="connsiteY1241" fmla="*/ 1581 h 10000"/>
                <a:gd name="connsiteX1242" fmla="*/ 5493 w 10586"/>
                <a:gd name="connsiteY1242" fmla="*/ 1581 h 10000"/>
                <a:gd name="connsiteX1243" fmla="*/ 5512 w 10586"/>
                <a:gd name="connsiteY1243" fmla="*/ 1538 h 10000"/>
                <a:gd name="connsiteX1244" fmla="*/ 5530 w 10586"/>
                <a:gd name="connsiteY1244" fmla="*/ 1564 h 10000"/>
                <a:gd name="connsiteX1245" fmla="*/ 5530 w 10586"/>
                <a:gd name="connsiteY1245" fmla="*/ 1538 h 10000"/>
                <a:gd name="connsiteX1246" fmla="*/ 5539 w 10586"/>
                <a:gd name="connsiteY1246" fmla="*/ 1530 h 10000"/>
                <a:gd name="connsiteX1247" fmla="*/ 5530 w 10586"/>
                <a:gd name="connsiteY1247" fmla="*/ 1504 h 10000"/>
                <a:gd name="connsiteX1248" fmla="*/ 5567 w 10586"/>
                <a:gd name="connsiteY1248" fmla="*/ 1479 h 10000"/>
                <a:gd name="connsiteX1249" fmla="*/ 5553 w 10586"/>
                <a:gd name="connsiteY1249" fmla="*/ 1479 h 10000"/>
                <a:gd name="connsiteX1250" fmla="*/ 5553 w 10586"/>
                <a:gd name="connsiteY1250" fmla="*/ 1453 h 10000"/>
                <a:gd name="connsiteX1251" fmla="*/ 5581 w 10586"/>
                <a:gd name="connsiteY1251" fmla="*/ 1444 h 10000"/>
                <a:gd name="connsiteX1252" fmla="*/ 5581 w 10586"/>
                <a:gd name="connsiteY1252" fmla="*/ 1453 h 10000"/>
                <a:gd name="connsiteX1253" fmla="*/ 5585 w 10586"/>
                <a:gd name="connsiteY1253" fmla="*/ 1444 h 10000"/>
                <a:gd name="connsiteX1254" fmla="*/ 5594 w 10586"/>
                <a:gd name="connsiteY1254" fmla="*/ 1427 h 10000"/>
                <a:gd name="connsiteX1255" fmla="*/ 5599 w 10586"/>
                <a:gd name="connsiteY1255" fmla="*/ 1419 h 10000"/>
                <a:gd name="connsiteX1256" fmla="*/ 5594 w 10586"/>
                <a:gd name="connsiteY1256" fmla="*/ 1402 h 10000"/>
                <a:gd name="connsiteX1257" fmla="*/ 5604 w 10586"/>
                <a:gd name="connsiteY1257" fmla="*/ 1393 h 10000"/>
                <a:gd name="connsiteX1258" fmla="*/ 5618 w 10586"/>
                <a:gd name="connsiteY1258" fmla="*/ 1393 h 10000"/>
                <a:gd name="connsiteX1259" fmla="*/ 5627 w 10586"/>
                <a:gd name="connsiteY1259" fmla="*/ 1368 h 10000"/>
                <a:gd name="connsiteX1260" fmla="*/ 5627 w 10586"/>
                <a:gd name="connsiteY1260" fmla="*/ 1325 h 10000"/>
                <a:gd name="connsiteX1261" fmla="*/ 5645 w 10586"/>
                <a:gd name="connsiteY1261" fmla="*/ 1291 h 10000"/>
                <a:gd name="connsiteX1262" fmla="*/ 5645 w 10586"/>
                <a:gd name="connsiteY1262" fmla="*/ 1282 h 10000"/>
                <a:gd name="connsiteX1263" fmla="*/ 5654 w 10586"/>
                <a:gd name="connsiteY1263" fmla="*/ 1265 h 10000"/>
                <a:gd name="connsiteX1264" fmla="*/ 5654 w 10586"/>
                <a:gd name="connsiteY1264" fmla="*/ 1214 h 10000"/>
                <a:gd name="connsiteX1265" fmla="*/ 5654 w 10586"/>
                <a:gd name="connsiteY1265" fmla="*/ 1214 h 10000"/>
                <a:gd name="connsiteX1266" fmla="*/ 5645 w 10586"/>
                <a:gd name="connsiteY1266" fmla="*/ 1197 h 10000"/>
                <a:gd name="connsiteX1267" fmla="*/ 5659 w 10586"/>
                <a:gd name="connsiteY1267" fmla="*/ 1197 h 10000"/>
                <a:gd name="connsiteX1268" fmla="*/ 5654 w 10586"/>
                <a:gd name="connsiteY1268" fmla="*/ 1154 h 10000"/>
                <a:gd name="connsiteX1269" fmla="*/ 5641 w 10586"/>
                <a:gd name="connsiteY1269" fmla="*/ 1154 h 10000"/>
                <a:gd name="connsiteX1270" fmla="*/ 5627 w 10586"/>
                <a:gd name="connsiteY1270" fmla="*/ 1128 h 10000"/>
                <a:gd name="connsiteX1271" fmla="*/ 5618 w 10586"/>
                <a:gd name="connsiteY1271" fmla="*/ 1094 h 10000"/>
                <a:gd name="connsiteX1272" fmla="*/ 5613 w 10586"/>
                <a:gd name="connsiteY1272" fmla="*/ 1094 h 10000"/>
                <a:gd name="connsiteX1273" fmla="*/ 5604 w 10586"/>
                <a:gd name="connsiteY1273" fmla="*/ 1120 h 10000"/>
                <a:gd name="connsiteX1274" fmla="*/ 5604 w 10586"/>
                <a:gd name="connsiteY1274" fmla="*/ 1128 h 10000"/>
                <a:gd name="connsiteX1275" fmla="*/ 5599 w 10586"/>
                <a:gd name="connsiteY1275" fmla="*/ 1103 h 10000"/>
                <a:gd name="connsiteX1276" fmla="*/ 5599 w 10586"/>
                <a:gd name="connsiteY1276" fmla="*/ 1103 h 10000"/>
                <a:gd name="connsiteX1277" fmla="*/ 5594 w 10586"/>
                <a:gd name="connsiteY1277" fmla="*/ 1068 h 10000"/>
                <a:gd name="connsiteX1278" fmla="*/ 5594 w 10586"/>
                <a:gd name="connsiteY1278" fmla="*/ 1060 h 10000"/>
                <a:gd name="connsiteX1279" fmla="*/ 5581 w 10586"/>
                <a:gd name="connsiteY1279" fmla="*/ 1034 h 10000"/>
                <a:gd name="connsiteX1280" fmla="*/ 5571 w 10586"/>
                <a:gd name="connsiteY1280" fmla="*/ 1009 h 10000"/>
                <a:gd name="connsiteX1281" fmla="*/ 5571 w 10586"/>
                <a:gd name="connsiteY1281" fmla="*/ 991 h 10000"/>
                <a:gd name="connsiteX1282" fmla="*/ 5585 w 10586"/>
                <a:gd name="connsiteY1282" fmla="*/ 1009 h 10000"/>
                <a:gd name="connsiteX1283" fmla="*/ 5604 w 10586"/>
                <a:gd name="connsiteY1283" fmla="*/ 1043 h 10000"/>
                <a:gd name="connsiteX1284" fmla="*/ 5641 w 10586"/>
                <a:gd name="connsiteY1284" fmla="*/ 1094 h 10000"/>
                <a:gd name="connsiteX1285" fmla="*/ 5631 w 10586"/>
                <a:gd name="connsiteY1285" fmla="*/ 1128 h 10000"/>
                <a:gd name="connsiteX1286" fmla="*/ 5641 w 10586"/>
                <a:gd name="connsiteY1286" fmla="*/ 1128 h 10000"/>
                <a:gd name="connsiteX1287" fmla="*/ 5659 w 10586"/>
                <a:gd name="connsiteY1287" fmla="*/ 1017 h 10000"/>
                <a:gd name="connsiteX1288" fmla="*/ 5659 w 10586"/>
                <a:gd name="connsiteY1288" fmla="*/ 983 h 10000"/>
                <a:gd name="connsiteX1289" fmla="*/ 5659 w 10586"/>
                <a:gd name="connsiteY1289" fmla="*/ 957 h 10000"/>
                <a:gd name="connsiteX1290" fmla="*/ 5654 w 10586"/>
                <a:gd name="connsiteY1290" fmla="*/ 966 h 10000"/>
                <a:gd name="connsiteX1291" fmla="*/ 5641 w 10586"/>
                <a:gd name="connsiteY1291" fmla="*/ 957 h 10000"/>
                <a:gd name="connsiteX1292" fmla="*/ 5631 w 10586"/>
                <a:gd name="connsiteY1292" fmla="*/ 897 h 10000"/>
                <a:gd name="connsiteX1293" fmla="*/ 5641 w 10586"/>
                <a:gd name="connsiteY1293" fmla="*/ 872 h 10000"/>
                <a:gd name="connsiteX1294" fmla="*/ 5618 w 10586"/>
                <a:gd name="connsiteY1294" fmla="*/ 803 h 10000"/>
                <a:gd name="connsiteX1295" fmla="*/ 5604 w 10586"/>
                <a:gd name="connsiteY1295" fmla="*/ 821 h 10000"/>
                <a:gd name="connsiteX1296" fmla="*/ 5613 w 10586"/>
                <a:gd name="connsiteY1296" fmla="*/ 846 h 10000"/>
                <a:gd name="connsiteX1297" fmla="*/ 5604 w 10586"/>
                <a:gd name="connsiteY1297" fmla="*/ 855 h 10000"/>
                <a:gd name="connsiteX1298" fmla="*/ 5599 w 10586"/>
                <a:gd name="connsiteY1298" fmla="*/ 880 h 10000"/>
                <a:gd name="connsiteX1299" fmla="*/ 5594 w 10586"/>
                <a:gd name="connsiteY1299" fmla="*/ 880 h 10000"/>
                <a:gd name="connsiteX1300" fmla="*/ 5585 w 10586"/>
                <a:gd name="connsiteY1300" fmla="*/ 829 h 10000"/>
                <a:gd name="connsiteX1301" fmla="*/ 5571 w 10586"/>
                <a:gd name="connsiteY1301" fmla="*/ 803 h 10000"/>
                <a:gd name="connsiteX1302" fmla="*/ 5585 w 10586"/>
                <a:gd name="connsiteY1302" fmla="*/ 795 h 10000"/>
                <a:gd name="connsiteX1303" fmla="*/ 5585 w 10586"/>
                <a:gd name="connsiteY1303" fmla="*/ 761 h 10000"/>
                <a:gd name="connsiteX1304" fmla="*/ 5558 w 10586"/>
                <a:gd name="connsiteY1304" fmla="*/ 709 h 10000"/>
                <a:gd name="connsiteX1305" fmla="*/ 5544 w 10586"/>
                <a:gd name="connsiteY1305" fmla="*/ 709 h 10000"/>
                <a:gd name="connsiteX1306" fmla="*/ 5544 w 10586"/>
                <a:gd name="connsiteY1306" fmla="*/ 684 h 10000"/>
                <a:gd name="connsiteX1307" fmla="*/ 5525 w 10586"/>
                <a:gd name="connsiteY1307" fmla="*/ 632 h 10000"/>
                <a:gd name="connsiteX1308" fmla="*/ 5507 w 10586"/>
                <a:gd name="connsiteY1308" fmla="*/ 607 h 10000"/>
                <a:gd name="connsiteX1309" fmla="*/ 5512 w 10586"/>
                <a:gd name="connsiteY1309" fmla="*/ 598 h 10000"/>
                <a:gd name="connsiteX1310" fmla="*/ 5507 w 10586"/>
                <a:gd name="connsiteY1310" fmla="*/ 581 h 10000"/>
                <a:gd name="connsiteX1311" fmla="*/ 5493 w 10586"/>
                <a:gd name="connsiteY1311" fmla="*/ 573 h 10000"/>
                <a:gd name="connsiteX1312" fmla="*/ 5484 w 10586"/>
                <a:gd name="connsiteY1312" fmla="*/ 581 h 10000"/>
                <a:gd name="connsiteX1313" fmla="*/ 5484 w 10586"/>
                <a:gd name="connsiteY1313" fmla="*/ 573 h 10000"/>
                <a:gd name="connsiteX1314" fmla="*/ 5484 w 10586"/>
                <a:gd name="connsiteY1314" fmla="*/ 547 h 10000"/>
                <a:gd name="connsiteX1315" fmla="*/ 5465 w 10586"/>
                <a:gd name="connsiteY1315" fmla="*/ 556 h 10000"/>
                <a:gd name="connsiteX1316" fmla="*/ 5433 w 10586"/>
                <a:gd name="connsiteY1316" fmla="*/ 547 h 10000"/>
                <a:gd name="connsiteX1317" fmla="*/ 5410 w 10586"/>
                <a:gd name="connsiteY1317" fmla="*/ 573 h 10000"/>
                <a:gd name="connsiteX1318" fmla="*/ 5406 w 10586"/>
                <a:gd name="connsiteY1318" fmla="*/ 573 h 10000"/>
                <a:gd name="connsiteX1319" fmla="*/ 5392 w 10586"/>
                <a:gd name="connsiteY1319" fmla="*/ 573 h 10000"/>
                <a:gd name="connsiteX1320" fmla="*/ 5364 w 10586"/>
                <a:gd name="connsiteY1320" fmla="*/ 530 h 10000"/>
                <a:gd name="connsiteX1321" fmla="*/ 5350 w 10586"/>
                <a:gd name="connsiteY1321" fmla="*/ 556 h 10000"/>
                <a:gd name="connsiteX1322" fmla="*/ 5346 w 10586"/>
                <a:gd name="connsiteY1322" fmla="*/ 556 h 10000"/>
                <a:gd name="connsiteX1323" fmla="*/ 5313 w 10586"/>
                <a:gd name="connsiteY1323" fmla="*/ 573 h 10000"/>
                <a:gd name="connsiteX1324" fmla="*/ 5304 w 10586"/>
                <a:gd name="connsiteY1324" fmla="*/ 556 h 10000"/>
                <a:gd name="connsiteX1325" fmla="*/ 5290 w 10586"/>
                <a:gd name="connsiteY1325" fmla="*/ 573 h 10000"/>
                <a:gd name="connsiteX1326" fmla="*/ 5290 w 10586"/>
                <a:gd name="connsiteY1326" fmla="*/ 556 h 10000"/>
                <a:gd name="connsiteX1327" fmla="*/ 5300 w 10586"/>
                <a:gd name="connsiteY1327" fmla="*/ 547 h 10000"/>
                <a:gd name="connsiteX1328" fmla="*/ 5300 w 10586"/>
                <a:gd name="connsiteY1328" fmla="*/ 530 h 10000"/>
                <a:gd name="connsiteX1329" fmla="*/ 5290 w 10586"/>
                <a:gd name="connsiteY1329" fmla="*/ 530 h 10000"/>
                <a:gd name="connsiteX1330" fmla="*/ 5286 w 10586"/>
                <a:gd name="connsiteY1330" fmla="*/ 547 h 10000"/>
                <a:gd name="connsiteX1331" fmla="*/ 5272 w 10586"/>
                <a:gd name="connsiteY1331" fmla="*/ 556 h 10000"/>
                <a:gd name="connsiteX1332" fmla="*/ 5272 w 10586"/>
                <a:gd name="connsiteY1332" fmla="*/ 598 h 10000"/>
                <a:gd name="connsiteX1333" fmla="*/ 5276 w 10586"/>
                <a:gd name="connsiteY1333" fmla="*/ 581 h 10000"/>
                <a:gd name="connsiteX1334" fmla="*/ 5272 w 10586"/>
                <a:gd name="connsiteY1334" fmla="*/ 607 h 10000"/>
                <a:gd name="connsiteX1335" fmla="*/ 5263 w 10586"/>
                <a:gd name="connsiteY1335" fmla="*/ 607 h 10000"/>
                <a:gd name="connsiteX1336" fmla="*/ 5263 w 10586"/>
                <a:gd name="connsiteY1336" fmla="*/ 632 h 10000"/>
                <a:gd name="connsiteX1337" fmla="*/ 5258 w 10586"/>
                <a:gd name="connsiteY1337" fmla="*/ 658 h 10000"/>
                <a:gd name="connsiteX1338" fmla="*/ 5244 w 10586"/>
                <a:gd name="connsiteY1338" fmla="*/ 667 h 10000"/>
                <a:gd name="connsiteX1339" fmla="*/ 5240 w 10586"/>
                <a:gd name="connsiteY1339" fmla="*/ 658 h 10000"/>
                <a:gd name="connsiteX1340" fmla="*/ 5240 w 10586"/>
                <a:gd name="connsiteY1340" fmla="*/ 684 h 10000"/>
                <a:gd name="connsiteX1341" fmla="*/ 5212 w 10586"/>
                <a:gd name="connsiteY1341" fmla="*/ 684 h 10000"/>
                <a:gd name="connsiteX1342" fmla="*/ 5198 w 10586"/>
                <a:gd name="connsiteY1342" fmla="*/ 692 h 10000"/>
                <a:gd name="connsiteX1343" fmla="*/ 5184 w 10586"/>
                <a:gd name="connsiteY1343" fmla="*/ 684 h 10000"/>
                <a:gd name="connsiteX1344" fmla="*/ 5157 w 10586"/>
                <a:gd name="connsiteY1344" fmla="*/ 684 h 10000"/>
                <a:gd name="connsiteX1345" fmla="*/ 5157 w 10586"/>
                <a:gd name="connsiteY1345" fmla="*/ 667 h 10000"/>
                <a:gd name="connsiteX1346" fmla="*/ 5157 w 10586"/>
                <a:gd name="connsiteY1346" fmla="*/ 667 h 10000"/>
                <a:gd name="connsiteX1347" fmla="*/ 5180 w 10586"/>
                <a:gd name="connsiteY1347" fmla="*/ 650 h 10000"/>
                <a:gd name="connsiteX1348" fmla="*/ 5184 w 10586"/>
                <a:gd name="connsiteY1348" fmla="*/ 658 h 10000"/>
                <a:gd name="connsiteX1349" fmla="*/ 5203 w 10586"/>
                <a:gd name="connsiteY1349" fmla="*/ 547 h 10000"/>
                <a:gd name="connsiteX1350" fmla="*/ 5226 w 10586"/>
                <a:gd name="connsiteY1350" fmla="*/ 530 h 10000"/>
                <a:gd name="connsiteX1351" fmla="*/ 5230 w 10586"/>
                <a:gd name="connsiteY1351" fmla="*/ 487 h 10000"/>
                <a:gd name="connsiteX1352" fmla="*/ 5230 w 10586"/>
                <a:gd name="connsiteY1352" fmla="*/ 487 h 10000"/>
                <a:gd name="connsiteX1353" fmla="*/ 5226 w 10586"/>
                <a:gd name="connsiteY1353" fmla="*/ 462 h 10000"/>
                <a:gd name="connsiteX1354" fmla="*/ 5226 w 10586"/>
                <a:gd name="connsiteY1354" fmla="*/ 462 h 10000"/>
                <a:gd name="connsiteX1355" fmla="*/ 5240 w 10586"/>
                <a:gd name="connsiteY1355" fmla="*/ 462 h 10000"/>
                <a:gd name="connsiteX1356" fmla="*/ 5240 w 10586"/>
                <a:gd name="connsiteY1356" fmla="*/ 444 h 10000"/>
                <a:gd name="connsiteX1357" fmla="*/ 5230 w 10586"/>
                <a:gd name="connsiteY1357" fmla="*/ 436 h 10000"/>
                <a:gd name="connsiteX1358" fmla="*/ 5230 w 10586"/>
                <a:gd name="connsiteY1358" fmla="*/ 419 h 10000"/>
                <a:gd name="connsiteX1359" fmla="*/ 5230 w 10586"/>
                <a:gd name="connsiteY1359" fmla="*/ 410 h 10000"/>
                <a:gd name="connsiteX1360" fmla="*/ 5198 w 10586"/>
                <a:gd name="connsiteY1360" fmla="*/ 402 h 10000"/>
                <a:gd name="connsiteX1361" fmla="*/ 5189 w 10586"/>
                <a:gd name="connsiteY1361" fmla="*/ 402 h 10000"/>
                <a:gd name="connsiteX1362" fmla="*/ 5184 w 10586"/>
                <a:gd name="connsiteY1362" fmla="*/ 376 h 10000"/>
                <a:gd name="connsiteX1363" fmla="*/ 5180 w 10586"/>
                <a:gd name="connsiteY1363" fmla="*/ 376 h 10000"/>
                <a:gd name="connsiteX1364" fmla="*/ 5166 w 10586"/>
                <a:gd name="connsiteY1364" fmla="*/ 376 h 10000"/>
                <a:gd name="connsiteX1365" fmla="*/ 5157 w 10586"/>
                <a:gd name="connsiteY1365" fmla="*/ 385 h 10000"/>
                <a:gd name="connsiteX1366" fmla="*/ 5152 w 10586"/>
                <a:gd name="connsiteY1366" fmla="*/ 376 h 10000"/>
                <a:gd name="connsiteX1367" fmla="*/ 5129 w 10586"/>
                <a:gd name="connsiteY1367" fmla="*/ 385 h 10000"/>
                <a:gd name="connsiteX1368" fmla="*/ 5129 w 10586"/>
                <a:gd name="connsiteY1368" fmla="*/ 350 h 10000"/>
                <a:gd name="connsiteX1369" fmla="*/ 5129 w 10586"/>
                <a:gd name="connsiteY1369" fmla="*/ 325 h 10000"/>
                <a:gd name="connsiteX1370" fmla="*/ 5124 w 10586"/>
                <a:gd name="connsiteY1370" fmla="*/ 359 h 10000"/>
                <a:gd name="connsiteX1371" fmla="*/ 5106 w 10586"/>
                <a:gd name="connsiteY1371" fmla="*/ 359 h 10000"/>
                <a:gd name="connsiteX1372" fmla="*/ 5037 w 10586"/>
                <a:gd name="connsiteY1372" fmla="*/ 419 h 10000"/>
                <a:gd name="connsiteX1373" fmla="*/ 5051 w 10586"/>
                <a:gd name="connsiteY1373" fmla="*/ 385 h 10000"/>
                <a:gd name="connsiteX1374" fmla="*/ 5055 w 10586"/>
                <a:gd name="connsiteY1374" fmla="*/ 376 h 10000"/>
                <a:gd name="connsiteX1375" fmla="*/ 5092 w 10586"/>
                <a:gd name="connsiteY1375" fmla="*/ 282 h 10000"/>
                <a:gd name="connsiteX1376" fmla="*/ 5106 w 10586"/>
                <a:gd name="connsiteY1376" fmla="*/ 265 h 10000"/>
                <a:gd name="connsiteX1377" fmla="*/ 5115 w 10586"/>
                <a:gd name="connsiteY1377" fmla="*/ 265 h 10000"/>
                <a:gd name="connsiteX1378" fmla="*/ 5124 w 10586"/>
                <a:gd name="connsiteY1378" fmla="*/ 222 h 10000"/>
                <a:gd name="connsiteX1379" fmla="*/ 5124 w 10586"/>
                <a:gd name="connsiteY1379" fmla="*/ 214 h 10000"/>
                <a:gd name="connsiteX1380" fmla="*/ 5143 w 10586"/>
                <a:gd name="connsiteY1380" fmla="*/ 197 h 10000"/>
                <a:gd name="connsiteX1381" fmla="*/ 5152 w 10586"/>
                <a:gd name="connsiteY1381" fmla="*/ 214 h 10000"/>
                <a:gd name="connsiteX1382" fmla="*/ 5143 w 10586"/>
                <a:gd name="connsiteY1382" fmla="*/ 188 h 10000"/>
                <a:gd name="connsiteX1383" fmla="*/ 5129 w 10586"/>
                <a:gd name="connsiteY1383" fmla="*/ 103 h 10000"/>
                <a:gd name="connsiteX1384" fmla="*/ 5115 w 10586"/>
                <a:gd name="connsiteY1384" fmla="*/ 85 h 10000"/>
                <a:gd name="connsiteX1385" fmla="*/ 5111 w 10586"/>
                <a:gd name="connsiteY1385" fmla="*/ 111 h 10000"/>
                <a:gd name="connsiteX1386" fmla="*/ 5092 w 10586"/>
                <a:gd name="connsiteY1386" fmla="*/ 103 h 10000"/>
                <a:gd name="connsiteX1387" fmla="*/ 5069 w 10586"/>
                <a:gd name="connsiteY1387" fmla="*/ 77 h 10000"/>
                <a:gd name="connsiteX1388" fmla="*/ 5051 w 10586"/>
                <a:gd name="connsiteY1388" fmla="*/ 26 h 10000"/>
                <a:gd name="connsiteX1389" fmla="*/ 5041 w 10586"/>
                <a:gd name="connsiteY1389" fmla="*/ 34 h 10000"/>
                <a:gd name="connsiteX1390" fmla="*/ 5037 w 10586"/>
                <a:gd name="connsiteY1390" fmla="*/ 34 h 10000"/>
                <a:gd name="connsiteX1391" fmla="*/ 5037 w 10586"/>
                <a:gd name="connsiteY1391" fmla="*/ 26 h 10000"/>
                <a:gd name="connsiteX1392" fmla="*/ 5037 w 10586"/>
                <a:gd name="connsiteY1392" fmla="*/ 9 h 10000"/>
                <a:gd name="connsiteX1393" fmla="*/ 5023 w 10586"/>
                <a:gd name="connsiteY1393" fmla="*/ 0 h 10000"/>
                <a:gd name="connsiteX1394" fmla="*/ 5009 w 10586"/>
                <a:gd name="connsiteY1394" fmla="*/ 9 h 10000"/>
                <a:gd name="connsiteX1395" fmla="*/ 4995 w 10586"/>
                <a:gd name="connsiteY1395" fmla="*/ 34 h 10000"/>
                <a:gd name="connsiteX1396" fmla="*/ 4991 w 10586"/>
                <a:gd name="connsiteY1396" fmla="*/ 60 h 10000"/>
                <a:gd name="connsiteX1397" fmla="*/ 4982 w 10586"/>
                <a:gd name="connsiteY1397" fmla="*/ 60 h 10000"/>
                <a:gd name="connsiteX1398" fmla="*/ 4949 w 10586"/>
                <a:gd name="connsiteY1398" fmla="*/ 51 h 10000"/>
                <a:gd name="connsiteX1399" fmla="*/ 4949 w 10586"/>
                <a:gd name="connsiteY1399" fmla="*/ 85 h 10000"/>
                <a:gd name="connsiteX1400" fmla="*/ 4903 w 10586"/>
                <a:gd name="connsiteY1400" fmla="*/ 197 h 10000"/>
                <a:gd name="connsiteX1401" fmla="*/ 4899 w 10586"/>
                <a:gd name="connsiteY1401" fmla="*/ 239 h 10000"/>
                <a:gd name="connsiteX1402" fmla="*/ 4871 w 10586"/>
                <a:gd name="connsiteY1402" fmla="*/ 274 h 10000"/>
                <a:gd name="connsiteX1403" fmla="*/ 4871 w 10586"/>
                <a:gd name="connsiteY1403" fmla="*/ 282 h 10000"/>
                <a:gd name="connsiteX1404" fmla="*/ 4834 w 10586"/>
                <a:gd name="connsiteY1404" fmla="*/ 376 h 10000"/>
                <a:gd name="connsiteX1405" fmla="*/ 4829 w 10586"/>
                <a:gd name="connsiteY1405" fmla="*/ 402 h 10000"/>
                <a:gd name="connsiteX1406" fmla="*/ 4834 w 10586"/>
                <a:gd name="connsiteY1406" fmla="*/ 410 h 10000"/>
                <a:gd name="connsiteX1407" fmla="*/ 4829 w 10586"/>
                <a:gd name="connsiteY1407" fmla="*/ 436 h 10000"/>
                <a:gd name="connsiteX1408" fmla="*/ 4825 w 10586"/>
                <a:gd name="connsiteY1408" fmla="*/ 436 h 10000"/>
                <a:gd name="connsiteX1409" fmla="*/ 4825 w 10586"/>
                <a:gd name="connsiteY1409" fmla="*/ 444 h 10000"/>
                <a:gd name="connsiteX1410" fmla="*/ 4811 w 10586"/>
                <a:gd name="connsiteY1410" fmla="*/ 496 h 10000"/>
                <a:gd name="connsiteX1411" fmla="*/ 4811 w 10586"/>
                <a:gd name="connsiteY1411" fmla="*/ 496 h 10000"/>
                <a:gd name="connsiteX1412" fmla="*/ 4811 w 10586"/>
                <a:gd name="connsiteY1412" fmla="*/ 521 h 10000"/>
                <a:gd name="connsiteX1413" fmla="*/ 4816 w 10586"/>
                <a:gd name="connsiteY1413" fmla="*/ 530 h 10000"/>
                <a:gd name="connsiteX1414" fmla="*/ 4834 w 10586"/>
                <a:gd name="connsiteY1414" fmla="*/ 547 h 10000"/>
                <a:gd name="connsiteX1415" fmla="*/ 4834 w 10586"/>
                <a:gd name="connsiteY1415" fmla="*/ 581 h 10000"/>
                <a:gd name="connsiteX1416" fmla="*/ 4843 w 10586"/>
                <a:gd name="connsiteY1416" fmla="*/ 581 h 10000"/>
                <a:gd name="connsiteX1417" fmla="*/ 4843 w 10586"/>
                <a:gd name="connsiteY1417" fmla="*/ 598 h 10000"/>
                <a:gd name="connsiteX1418" fmla="*/ 4829 w 10586"/>
                <a:gd name="connsiteY1418" fmla="*/ 598 h 10000"/>
                <a:gd name="connsiteX1419" fmla="*/ 4829 w 10586"/>
                <a:gd name="connsiteY1419" fmla="*/ 573 h 10000"/>
                <a:gd name="connsiteX1420" fmla="*/ 4829 w 10586"/>
                <a:gd name="connsiteY1420" fmla="*/ 632 h 10000"/>
                <a:gd name="connsiteX1421" fmla="*/ 4829 w 10586"/>
                <a:gd name="connsiteY1421" fmla="*/ 632 h 10000"/>
                <a:gd name="connsiteX1422" fmla="*/ 4829 w 10586"/>
                <a:gd name="connsiteY1422" fmla="*/ 650 h 10000"/>
                <a:gd name="connsiteX1423" fmla="*/ 4774 w 10586"/>
                <a:gd name="connsiteY1423" fmla="*/ 684 h 10000"/>
                <a:gd name="connsiteX1424" fmla="*/ 4756 w 10586"/>
                <a:gd name="connsiteY1424" fmla="*/ 684 h 10000"/>
                <a:gd name="connsiteX1425" fmla="*/ 4737 w 10586"/>
                <a:gd name="connsiteY1425" fmla="*/ 692 h 10000"/>
                <a:gd name="connsiteX1426" fmla="*/ 4677 w 10586"/>
                <a:gd name="connsiteY1426" fmla="*/ 667 h 10000"/>
                <a:gd name="connsiteX1427" fmla="*/ 4682 w 10586"/>
                <a:gd name="connsiteY1427" fmla="*/ 692 h 10000"/>
                <a:gd name="connsiteX1428" fmla="*/ 4682 w 10586"/>
                <a:gd name="connsiteY1428" fmla="*/ 709 h 10000"/>
                <a:gd name="connsiteX1429" fmla="*/ 4691 w 10586"/>
                <a:gd name="connsiteY1429" fmla="*/ 718 h 10000"/>
                <a:gd name="connsiteX1430" fmla="*/ 4691 w 10586"/>
                <a:gd name="connsiteY1430" fmla="*/ 744 h 10000"/>
                <a:gd name="connsiteX1431" fmla="*/ 4700 w 10586"/>
                <a:gd name="connsiteY1431" fmla="*/ 744 h 10000"/>
                <a:gd name="connsiteX1432" fmla="*/ 4714 w 10586"/>
                <a:gd name="connsiteY1432" fmla="*/ 769 h 10000"/>
                <a:gd name="connsiteX1433" fmla="*/ 4710 w 10586"/>
                <a:gd name="connsiteY1433" fmla="*/ 786 h 10000"/>
                <a:gd name="connsiteX1434" fmla="*/ 4737 w 10586"/>
                <a:gd name="connsiteY1434" fmla="*/ 786 h 10000"/>
                <a:gd name="connsiteX1435" fmla="*/ 4742 w 10586"/>
                <a:gd name="connsiteY1435" fmla="*/ 795 h 10000"/>
                <a:gd name="connsiteX1436" fmla="*/ 4742 w 10586"/>
                <a:gd name="connsiteY1436" fmla="*/ 803 h 10000"/>
                <a:gd name="connsiteX1437" fmla="*/ 4737 w 10586"/>
                <a:gd name="connsiteY1437" fmla="*/ 846 h 10000"/>
                <a:gd name="connsiteX1438" fmla="*/ 4737 w 10586"/>
                <a:gd name="connsiteY1438" fmla="*/ 880 h 10000"/>
                <a:gd name="connsiteX1439" fmla="*/ 4737 w 10586"/>
                <a:gd name="connsiteY1439" fmla="*/ 906 h 10000"/>
                <a:gd name="connsiteX1440" fmla="*/ 4724 w 10586"/>
                <a:gd name="connsiteY1440" fmla="*/ 897 h 10000"/>
                <a:gd name="connsiteX1441" fmla="*/ 4724 w 10586"/>
                <a:gd name="connsiteY1441" fmla="*/ 872 h 10000"/>
                <a:gd name="connsiteX1442" fmla="*/ 4714 w 10586"/>
                <a:gd name="connsiteY1442" fmla="*/ 855 h 10000"/>
                <a:gd name="connsiteX1443" fmla="*/ 4691 w 10586"/>
                <a:gd name="connsiteY1443" fmla="*/ 846 h 10000"/>
                <a:gd name="connsiteX1444" fmla="*/ 4691 w 10586"/>
                <a:gd name="connsiteY1444" fmla="*/ 846 h 10000"/>
                <a:gd name="connsiteX1445" fmla="*/ 4696 w 10586"/>
                <a:gd name="connsiteY1445" fmla="*/ 821 h 10000"/>
                <a:gd name="connsiteX1446" fmla="*/ 4691 w 10586"/>
                <a:gd name="connsiteY1446" fmla="*/ 803 h 10000"/>
                <a:gd name="connsiteX1447" fmla="*/ 4668 w 10586"/>
                <a:gd name="connsiteY1447" fmla="*/ 821 h 10000"/>
                <a:gd name="connsiteX1448" fmla="*/ 4668 w 10586"/>
                <a:gd name="connsiteY1448" fmla="*/ 786 h 10000"/>
                <a:gd name="connsiteX1449" fmla="*/ 4664 w 10586"/>
                <a:gd name="connsiteY1449" fmla="*/ 786 h 10000"/>
                <a:gd name="connsiteX1450" fmla="*/ 4622 w 10586"/>
                <a:gd name="connsiteY1450" fmla="*/ 846 h 10000"/>
                <a:gd name="connsiteX1451" fmla="*/ 4627 w 10586"/>
                <a:gd name="connsiteY1451" fmla="*/ 872 h 10000"/>
                <a:gd name="connsiteX1452" fmla="*/ 4622 w 10586"/>
                <a:gd name="connsiteY1452" fmla="*/ 880 h 10000"/>
                <a:gd name="connsiteX1453" fmla="*/ 4622 w 10586"/>
                <a:gd name="connsiteY1453" fmla="*/ 880 h 10000"/>
                <a:gd name="connsiteX1454" fmla="*/ 4618 w 10586"/>
                <a:gd name="connsiteY1454" fmla="*/ 872 h 10000"/>
                <a:gd name="connsiteX1455" fmla="*/ 4604 w 10586"/>
                <a:gd name="connsiteY1455" fmla="*/ 880 h 10000"/>
                <a:gd name="connsiteX1456" fmla="*/ 4594 w 10586"/>
                <a:gd name="connsiteY1456" fmla="*/ 906 h 10000"/>
                <a:gd name="connsiteX1457" fmla="*/ 4604 w 10586"/>
                <a:gd name="connsiteY1457" fmla="*/ 906 h 10000"/>
                <a:gd name="connsiteX1458" fmla="*/ 4608 w 10586"/>
                <a:gd name="connsiteY1458" fmla="*/ 906 h 10000"/>
                <a:gd name="connsiteX1459" fmla="*/ 4608 w 10586"/>
                <a:gd name="connsiteY1459" fmla="*/ 932 h 10000"/>
                <a:gd name="connsiteX1460" fmla="*/ 4604 w 10586"/>
                <a:gd name="connsiteY1460" fmla="*/ 932 h 10000"/>
                <a:gd name="connsiteX1461" fmla="*/ 4590 w 10586"/>
                <a:gd name="connsiteY1461" fmla="*/ 932 h 10000"/>
                <a:gd name="connsiteX1462" fmla="*/ 4567 w 10586"/>
                <a:gd name="connsiteY1462" fmla="*/ 957 h 10000"/>
                <a:gd name="connsiteX1463" fmla="*/ 4567 w 10586"/>
                <a:gd name="connsiteY1463" fmla="*/ 932 h 10000"/>
                <a:gd name="connsiteX1464" fmla="*/ 4567 w 10586"/>
                <a:gd name="connsiteY1464" fmla="*/ 923 h 10000"/>
                <a:gd name="connsiteX1465" fmla="*/ 4562 w 10586"/>
                <a:gd name="connsiteY1465" fmla="*/ 932 h 10000"/>
                <a:gd name="connsiteX1466" fmla="*/ 4548 w 10586"/>
                <a:gd name="connsiteY1466" fmla="*/ 957 h 10000"/>
                <a:gd name="connsiteX1467" fmla="*/ 4544 w 10586"/>
                <a:gd name="connsiteY1467" fmla="*/ 957 h 10000"/>
                <a:gd name="connsiteX1468" fmla="*/ 4521 w 10586"/>
                <a:gd name="connsiteY1468" fmla="*/ 983 h 10000"/>
                <a:gd name="connsiteX1469" fmla="*/ 4521 w 10586"/>
                <a:gd name="connsiteY1469" fmla="*/ 983 h 10000"/>
                <a:gd name="connsiteX1470" fmla="*/ 4530 w 10586"/>
                <a:gd name="connsiteY1470" fmla="*/ 957 h 10000"/>
                <a:gd name="connsiteX1471" fmla="*/ 4535 w 10586"/>
                <a:gd name="connsiteY1471" fmla="*/ 932 h 10000"/>
                <a:gd name="connsiteX1472" fmla="*/ 4521 w 10586"/>
                <a:gd name="connsiteY1472" fmla="*/ 932 h 10000"/>
                <a:gd name="connsiteX1473" fmla="*/ 4516 w 10586"/>
                <a:gd name="connsiteY1473" fmla="*/ 923 h 10000"/>
                <a:gd name="connsiteX1474" fmla="*/ 4516 w 10586"/>
                <a:gd name="connsiteY1474" fmla="*/ 932 h 10000"/>
                <a:gd name="connsiteX1475" fmla="*/ 4488 w 10586"/>
                <a:gd name="connsiteY1475" fmla="*/ 940 h 10000"/>
                <a:gd name="connsiteX1476" fmla="*/ 4484 w 10586"/>
                <a:gd name="connsiteY1476" fmla="*/ 983 h 10000"/>
                <a:gd name="connsiteX1477" fmla="*/ 4470 w 10586"/>
                <a:gd name="connsiteY1477" fmla="*/ 983 h 10000"/>
                <a:gd name="connsiteX1478" fmla="*/ 4470 w 10586"/>
                <a:gd name="connsiteY1478" fmla="*/ 966 h 10000"/>
                <a:gd name="connsiteX1479" fmla="*/ 4488 w 10586"/>
                <a:gd name="connsiteY1479" fmla="*/ 923 h 10000"/>
                <a:gd name="connsiteX1480" fmla="*/ 4493 w 10586"/>
                <a:gd name="connsiteY1480" fmla="*/ 880 h 10000"/>
                <a:gd name="connsiteX1481" fmla="*/ 4475 w 10586"/>
                <a:gd name="connsiteY1481" fmla="*/ 846 h 10000"/>
                <a:gd name="connsiteX1482" fmla="*/ 4442 w 10586"/>
                <a:gd name="connsiteY1482" fmla="*/ 855 h 10000"/>
                <a:gd name="connsiteX1483" fmla="*/ 4433 w 10586"/>
                <a:gd name="connsiteY1483" fmla="*/ 855 h 10000"/>
                <a:gd name="connsiteX1484" fmla="*/ 4433 w 10586"/>
                <a:gd name="connsiteY1484" fmla="*/ 880 h 10000"/>
                <a:gd name="connsiteX1485" fmla="*/ 4401 w 10586"/>
                <a:gd name="connsiteY1485" fmla="*/ 855 h 10000"/>
                <a:gd name="connsiteX1486" fmla="*/ 4396 w 10586"/>
                <a:gd name="connsiteY1486" fmla="*/ 872 h 10000"/>
                <a:gd name="connsiteX1487" fmla="*/ 4382 w 10586"/>
                <a:gd name="connsiteY1487" fmla="*/ 897 h 10000"/>
                <a:gd name="connsiteX1488" fmla="*/ 4373 w 10586"/>
                <a:gd name="connsiteY1488" fmla="*/ 872 h 10000"/>
                <a:gd name="connsiteX1489" fmla="*/ 4341 w 10586"/>
                <a:gd name="connsiteY1489" fmla="*/ 872 h 10000"/>
                <a:gd name="connsiteX1490" fmla="*/ 4336 w 10586"/>
                <a:gd name="connsiteY1490" fmla="*/ 880 h 10000"/>
                <a:gd name="connsiteX1491" fmla="*/ 4346 w 10586"/>
                <a:gd name="connsiteY1491" fmla="*/ 897 h 10000"/>
                <a:gd name="connsiteX1492" fmla="*/ 4346 w 10586"/>
                <a:gd name="connsiteY1492" fmla="*/ 897 h 10000"/>
                <a:gd name="connsiteX1493" fmla="*/ 4313 w 10586"/>
                <a:gd name="connsiteY1493" fmla="*/ 906 h 10000"/>
                <a:gd name="connsiteX1494" fmla="*/ 4313 w 10586"/>
                <a:gd name="connsiteY1494" fmla="*/ 906 h 10000"/>
                <a:gd name="connsiteX1495" fmla="*/ 4313 w 10586"/>
                <a:gd name="connsiteY1495" fmla="*/ 880 h 10000"/>
                <a:gd name="connsiteX1496" fmla="*/ 4309 w 10586"/>
                <a:gd name="connsiteY1496" fmla="*/ 897 h 10000"/>
                <a:gd name="connsiteX1497" fmla="*/ 4295 w 10586"/>
                <a:gd name="connsiteY1497" fmla="*/ 923 h 10000"/>
                <a:gd name="connsiteX1498" fmla="*/ 4286 w 10586"/>
                <a:gd name="connsiteY1498" fmla="*/ 897 h 10000"/>
                <a:gd name="connsiteX1499" fmla="*/ 4281 w 10586"/>
                <a:gd name="connsiteY1499" fmla="*/ 906 h 10000"/>
                <a:gd name="connsiteX1500" fmla="*/ 4281 w 10586"/>
                <a:gd name="connsiteY1500" fmla="*/ 940 h 10000"/>
                <a:gd name="connsiteX1501" fmla="*/ 4286 w 10586"/>
                <a:gd name="connsiteY1501" fmla="*/ 957 h 10000"/>
                <a:gd name="connsiteX1502" fmla="*/ 4309 w 10586"/>
                <a:gd name="connsiteY1502" fmla="*/ 932 h 10000"/>
                <a:gd name="connsiteX1503" fmla="*/ 4313 w 10586"/>
                <a:gd name="connsiteY1503" fmla="*/ 957 h 10000"/>
                <a:gd name="connsiteX1504" fmla="*/ 4313 w 10586"/>
                <a:gd name="connsiteY1504" fmla="*/ 966 h 10000"/>
                <a:gd name="connsiteX1505" fmla="*/ 4323 w 10586"/>
                <a:gd name="connsiteY1505" fmla="*/ 966 h 10000"/>
                <a:gd name="connsiteX1506" fmla="*/ 4323 w 10586"/>
                <a:gd name="connsiteY1506" fmla="*/ 940 h 10000"/>
                <a:gd name="connsiteX1507" fmla="*/ 4327 w 10586"/>
                <a:gd name="connsiteY1507" fmla="*/ 940 h 10000"/>
                <a:gd name="connsiteX1508" fmla="*/ 4327 w 10586"/>
                <a:gd name="connsiteY1508" fmla="*/ 957 h 10000"/>
                <a:gd name="connsiteX1509" fmla="*/ 4327 w 10586"/>
                <a:gd name="connsiteY1509" fmla="*/ 966 h 10000"/>
                <a:gd name="connsiteX1510" fmla="*/ 4323 w 10586"/>
                <a:gd name="connsiteY1510" fmla="*/ 991 h 10000"/>
                <a:gd name="connsiteX1511" fmla="*/ 4207 w 10586"/>
                <a:gd name="connsiteY1511" fmla="*/ 1060 h 10000"/>
                <a:gd name="connsiteX1512" fmla="*/ 4207 w 10586"/>
                <a:gd name="connsiteY1512" fmla="*/ 1060 h 10000"/>
                <a:gd name="connsiteX1513" fmla="*/ 4203 w 10586"/>
                <a:gd name="connsiteY1513" fmla="*/ 1068 h 10000"/>
                <a:gd name="connsiteX1514" fmla="*/ 4203 w 10586"/>
                <a:gd name="connsiteY1514" fmla="*/ 1094 h 10000"/>
                <a:gd name="connsiteX1515" fmla="*/ 4203 w 10586"/>
                <a:gd name="connsiteY1515" fmla="*/ 1094 h 10000"/>
                <a:gd name="connsiteX1516" fmla="*/ 4189 w 10586"/>
                <a:gd name="connsiteY1516" fmla="*/ 1094 h 10000"/>
                <a:gd name="connsiteX1517" fmla="*/ 4166 w 10586"/>
                <a:gd name="connsiteY1517" fmla="*/ 1103 h 10000"/>
                <a:gd name="connsiteX1518" fmla="*/ 4152 w 10586"/>
                <a:gd name="connsiteY1518" fmla="*/ 1094 h 10000"/>
                <a:gd name="connsiteX1519" fmla="*/ 4134 w 10586"/>
                <a:gd name="connsiteY1519" fmla="*/ 1120 h 10000"/>
                <a:gd name="connsiteX1520" fmla="*/ 4106 w 10586"/>
                <a:gd name="connsiteY1520" fmla="*/ 1120 h 10000"/>
                <a:gd name="connsiteX1521" fmla="*/ 4092 w 10586"/>
                <a:gd name="connsiteY1521" fmla="*/ 1154 h 10000"/>
                <a:gd name="connsiteX1522" fmla="*/ 4106 w 10586"/>
                <a:gd name="connsiteY1522" fmla="*/ 1171 h 10000"/>
                <a:gd name="connsiteX1523" fmla="*/ 4078 w 10586"/>
                <a:gd name="connsiteY1523" fmla="*/ 1179 h 10000"/>
                <a:gd name="connsiteX1524" fmla="*/ 4065 w 10586"/>
                <a:gd name="connsiteY1524" fmla="*/ 1205 h 10000"/>
                <a:gd name="connsiteX1525" fmla="*/ 4046 w 10586"/>
                <a:gd name="connsiteY1525" fmla="*/ 1179 h 10000"/>
                <a:gd name="connsiteX1526" fmla="*/ 4041 w 10586"/>
                <a:gd name="connsiteY1526" fmla="*/ 1197 h 10000"/>
                <a:gd name="connsiteX1527" fmla="*/ 4028 w 10586"/>
                <a:gd name="connsiteY1527" fmla="*/ 1205 h 10000"/>
                <a:gd name="connsiteX1528" fmla="*/ 4028 w 10586"/>
                <a:gd name="connsiteY1528" fmla="*/ 1205 h 10000"/>
                <a:gd name="connsiteX1529" fmla="*/ 4032 w 10586"/>
                <a:gd name="connsiteY1529" fmla="*/ 1205 h 10000"/>
                <a:gd name="connsiteX1530" fmla="*/ 4032 w 10586"/>
                <a:gd name="connsiteY1530" fmla="*/ 1231 h 10000"/>
                <a:gd name="connsiteX1531" fmla="*/ 4014 w 10586"/>
                <a:gd name="connsiteY1531" fmla="*/ 1239 h 10000"/>
                <a:gd name="connsiteX1532" fmla="*/ 4014 w 10586"/>
                <a:gd name="connsiteY1532" fmla="*/ 1256 h 10000"/>
                <a:gd name="connsiteX1533" fmla="*/ 4000 w 10586"/>
                <a:gd name="connsiteY1533" fmla="*/ 1265 h 10000"/>
                <a:gd name="connsiteX1534" fmla="*/ 3986 w 10586"/>
                <a:gd name="connsiteY1534" fmla="*/ 1308 h 10000"/>
                <a:gd name="connsiteX1535" fmla="*/ 3972 w 10586"/>
                <a:gd name="connsiteY1535" fmla="*/ 1316 h 10000"/>
                <a:gd name="connsiteX1536" fmla="*/ 3972 w 10586"/>
                <a:gd name="connsiteY1536" fmla="*/ 1325 h 10000"/>
                <a:gd name="connsiteX1537" fmla="*/ 3972 w 10586"/>
                <a:gd name="connsiteY1537" fmla="*/ 1342 h 10000"/>
                <a:gd name="connsiteX1538" fmla="*/ 3968 w 10586"/>
                <a:gd name="connsiteY1538" fmla="*/ 1350 h 10000"/>
                <a:gd name="connsiteX1539" fmla="*/ 3954 w 10586"/>
                <a:gd name="connsiteY1539" fmla="*/ 1368 h 10000"/>
                <a:gd name="connsiteX1540" fmla="*/ 3945 w 10586"/>
                <a:gd name="connsiteY1540" fmla="*/ 1350 h 10000"/>
                <a:gd name="connsiteX1541" fmla="*/ 3908 w 10586"/>
                <a:gd name="connsiteY1541" fmla="*/ 1342 h 10000"/>
                <a:gd name="connsiteX1542" fmla="*/ 3894 w 10586"/>
                <a:gd name="connsiteY1542" fmla="*/ 1368 h 10000"/>
                <a:gd name="connsiteX1543" fmla="*/ 3922 w 10586"/>
                <a:gd name="connsiteY1543" fmla="*/ 1393 h 10000"/>
                <a:gd name="connsiteX1544" fmla="*/ 3945 w 10586"/>
                <a:gd name="connsiteY1544" fmla="*/ 1393 h 10000"/>
                <a:gd name="connsiteX1545" fmla="*/ 3940 w 10586"/>
                <a:gd name="connsiteY1545" fmla="*/ 1419 h 10000"/>
                <a:gd name="connsiteX1546" fmla="*/ 3931 w 10586"/>
                <a:gd name="connsiteY1546" fmla="*/ 1427 h 10000"/>
                <a:gd name="connsiteX1547" fmla="*/ 3926 w 10586"/>
                <a:gd name="connsiteY1547" fmla="*/ 1427 h 10000"/>
                <a:gd name="connsiteX1548" fmla="*/ 3922 w 10586"/>
                <a:gd name="connsiteY1548" fmla="*/ 1419 h 10000"/>
                <a:gd name="connsiteX1549" fmla="*/ 3912 w 10586"/>
                <a:gd name="connsiteY1549" fmla="*/ 1427 h 10000"/>
                <a:gd name="connsiteX1550" fmla="*/ 3912 w 10586"/>
                <a:gd name="connsiteY1550" fmla="*/ 1444 h 10000"/>
                <a:gd name="connsiteX1551" fmla="*/ 3894 w 10586"/>
                <a:gd name="connsiteY1551" fmla="*/ 1513 h 10000"/>
                <a:gd name="connsiteX1552" fmla="*/ 3885 w 10586"/>
                <a:gd name="connsiteY1552" fmla="*/ 1513 h 10000"/>
                <a:gd name="connsiteX1553" fmla="*/ 3880 w 10586"/>
                <a:gd name="connsiteY1553" fmla="*/ 1538 h 10000"/>
                <a:gd name="connsiteX1554" fmla="*/ 3885 w 10586"/>
                <a:gd name="connsiteY1554" fmla="*/ 1564 h 10000"/>
                <a:gd name="connsiteX1555" fmla="*/ 3880 w 10586"/>
                <a:gd name="connsiteY1555" fmla="*/ 1581 h 10000"/>
                <a:gd name="connsiteX1556" fmla="*/ 3871 w 10586"/>
                <a:gd name="connsiteY1556" fmla="*/ 1538 h 10000"/>
                <a:gd name="connsiteX1557" fmla="*/ 3853 w 10586"/>
                <a:gd name="connsiteY1557" fmla="*/ 1530 h 10000"/>
                <a:gd name="connsiteX1558" fmla="*/ 3853 w 10586"/>
                <a:gd name="connsiteY1558" fmla="*/ 1504 h 10000"/>
                <a:gd name="connsiteX1559" fmla="*/ 3834 w 10586"/>
                <a:gd name="connsiteY1559" fmla="*/ 1487 h 10000"/>
                <a:gd name="connsiteX1560" fmla="*/ 3834 w 10586"/>
                <a:gd name="connsiteY1560" fmla="*/ 1487 h 10000"/>
                <a:gd name="connsiteX1561" fmla="*/ 3839 w 10586"/>
                <a:gd name="connsiteY1561" fmla="*/ 1513 h 10000"/>
                <a:gd name="connsiteX1562" fmla="*/ 3820 w 10586"/>
                <a:gd name="connsiteY1562" fmla="*/ 1538 h 10000"/>
                <a:gd name="connsiteX1563" fmla="*/ 3820 w 10586"/>
                <a:gd name="connsiteY1563" fmla="*/ 1556 h 10000"/>
                <a:gd name="connsiteX1564" fmla="*/ 3820 w 10586"/>
                <a:gd name="connsiteY1564" fmla="*/ 1564 h 10000"/>
                <a:gd name="connsiteX1565" fmla="*/ 3820 w 10586"/>
                <a:gd name="connsiteY1565" fmla="*/ 1581 h 10000"/>
                <a:gd name="connsiteX1566" fmla="*/ 3853 w 10586"/>
                <a:gd name="connsiteY1566" fmla="*/ 1581 h 10000"/>
                <a:gd name="connsiteX1567" fmla="*/ 3857 w 10586"/>
                <a:gd name="connsiteY1567" fmla="*/ 1598 h 10000"/>
                <a:gd name="connsiteX1568" fmla="*/ 3880 w 10586"/>
                <a:gd name="connsiteY1568" fmla="*/ 1615 h 10000"/>
                <a:gd name="connsiteX1569" fmla="*/ 3871 w 10586"/>
                <a:gd name="connsiteY1569" fmla="*/ 1615 h 10000"/>
                <a:gd name="connsiteX1570" fmla="*/ 3871 w 10586"/>
                <a:gd name="connsiteY1570" fmla="*/ 1641 h 10000"/>
                <a:gd name="connsiteX1571" fmla="*/ 3880 w 10586"/>
                <a:gd name="connsiteY1571" fmla="*/ 1641 h 10000"/>
                <a:gd name="connsiteX1572" fmla="*/ 3871 w 10586"/>
                <a:gd name="connsiteY1572" fmla="*/ 1650 h 10000"/>
                <a:gd name="connsiteX1573" fmla="*/ 3857 w 10586"/>
                <a:gd name="connsiteY1573" fmla="*/ 1650 h 10000"/>
                <a:gd name="connsiteX1574" fmla="*/ 3853 w 10586"/>
                <a:gd name="connsiteY1574" fmla="*/ 1650 h 10000"/>
                <a:gd name="connsiteX1575" fmla="*/ 3839 w 10586"/>
                <a:gd name="connsiteY1575" fmla="*/ 1667 h 10000"/>
                <a:gd name="connsiteX1576" fmla="*/ 3848 w 10586"/>
                <a:gd name="connsiteY1576" fmla="*/ 1692 h 10000"/>
                <a:gd name="connsiteX1577" fmla="*/ 3834 w 10586"/>
                <a:gd name="connsiteY1577" fmla="*/ 1692 h 10000"/>
                <a:gd name="connsiteX1578" fmla="*/ 3825 w 10586"/>
                <a:gd name="connsiteY1578" fmla="*/ 1692 h 10000"/>
                <a:gd name="connsiteX1579" fmla="*/ 3825 w 10586"/>
                <a:gd name="connsiteY1579" fmla="*/ 1718 h 10000"/>
                <a:gd name="connsiteX1580" fmla="*/ 3839 w 10586"/>
                <a:gd name="connsiteY1580" fmla="*/ 1726 h 10000"/>
                <a:gd name="connsiteX1581" fmla="*/ 3880 w 10586"/>
                <a:gd name="connsiteY1581" fmla="*/ 1752 h 10000"/>
                <a:gd name="connsiteX1582" fmla="*/ 3894 w 10586"/>
                <a:gd name="connsiteY1582" fmla="*/ 1829 h 10000"/>
                <a:gd name="connsiteX1583" fmla="*/ 3899 w 10586"/>
                <a:gd name="connsiteY1583" fmla="*/ 1838 h 10000"/>
                <a:gd name="connsiteX1584" fmla="*/ 3894 w 10586"/>
                <a:gd name="connsiteY1584" fmla="*/ 1855 h 10000"/>
                <a:gd name="connsiteX1585" fmla="*/ 3880 w 10586"/>
                <a:gd name="connsiteY1585" fmla="*/ 1838 h 10000"/>
                <a:gd name="connsiteX1586" fmla="*/ 3880 w 10586"/>
                <a:gd name="connsiteY1586" fmla="*/ 1855 h 10000"/>
                <a:gd name="connsiteX1587" fmla="*/ 3880 w 10586"/>
                <a:gd name="connsiteY1587" fmla="*/ 1863 h 10000"/>
                <a:gd name="connsiteX1588" fmla="*/ 3871 w 10586"/>
                <a:gd name="connsiteY1588" fmla="*/ 1872 h 10000"/>
                <a:gd name="connsiteX1589" fmla="*/ 3880 w 10586"/>
                <a:gd name="connsiteY1589" fmla="*/ 1889 h 10000"/>
                <a:gd name="connsiteX1590" fmla="*/ 3885 w 10586"/>
                <a:gd name="connsiteY1590" fmla="*/ 1889 h 10000"/>
                <a:gd name="connsiteX1591" fmla="*/ 3880 w 10586"/>
                <a:gd name="connsiteY1591" fmla="*/ 1897 h 10000"/>
                <a:gd name="connsiteX1592" fmla="*/ 3871 w 10586"/>
                <a:gd name="connsiteY1592" fmla="*/ 1915 h 10000"/>
                <a:gd name="connsiteX1593" fmla="*/ 3848 w 10586"/>
                <a:gd name="connsiteY1593" fmla="*/ 1923 h 10000"/>
                <a:gd name="connsiteX1594" fmla="*/ 3825 w 10586"/>
                <a:gd name="connsiteY1594" fmla="*/ 1940 h 10000"/>
                <a:gd name="connsiteX1595" fmla="*/ 3811 w 10586"/>
                <a:gd name="connsiteY1595" fmla="*/ 1940 h 10000"/>
                <a:gd name="connsiteX1596" fmla="*/ 3806 w 10586"/>
                <a:gd name="connsiteY1596" fmla="*/ 1949 h 10000"/>
                <a:gd name="connsiteX1597" fmla="*/ 3797 w 10586"/>
                <a:gd name="connsiteY1597" fmla="*/ 1966 h 10000"/>
                <a:gd name="connsiteX1598" fmla="*/ 3788 w 10586"/>
                <a:gd name="connsiteY1598" fmla="*/ 1991 h 10000"/>
                <a:gd name="connsiteX1599" fmla="*/ 3765 w 10586"/>
                <a:gd name="connsiteY1599" fmla="*/ 1974 h 10000"/>
                <a:gd name="connsiteX1600" fmla="*/ 3760 w 10586"/>
                <a:gd name="connsiteY1600" fmla="*/ 1966 h 10000"/>
                <a:gd name="connsiteX1601" fmla="*/ 3760 w 10586"/>
                <a:gd name="connsiteY1601" fmla="*/ 1966 h 10000"/>
                <a:gd name="connsiteX1602" fmla="*/ 3631 w 10586"/>
                <a:gd name="connsiteY1602" fmla="*/ 2009 h 10000"/>
                <a:gd name="connsiteX1603" fmla="*/ 3618 w 10586"/>
                <a:gd name="connsiteY1603" fmla="*/ 2000 h 10000"/>
                <a:gd name="connsiteX1604" fmla="*/ 3599 w 10586"/>
                <a:gd name="connsiteY1604" fmla="*/ 2009 h 10000"/>
                <a:gd name="connsiteX1605" fmla="*/ 3571 w 10586"/>
                <a:gd name="connsiteY1605" fmla="*/ 2000 h 10000"/>
                <a:gd name="connsiteX1606" fmla="*/ 3530 w 10586"/>
                <a:gd name="connsiteY1606" fmla="*/ 2026 h 10000"/>
                <a:gd name="connsiteX1607" fmla="*/ 3530 w 10586"/>
                <a:gd name="connsiteY1607" fmla="*/ 2034 h 10000"/>
                <a:gd name="connsiteX1608" fmla="*/ 3525 w 10586"/>
                <a:gd name="connsiteY1608" fmla="*/ 2051 h 10000"/>
                <a:gd name="connsiteX1609" fmla="*/ 3512 w 10586"/>
                <a:gd name="connsiteY1609" fmla="*/ 2034 h 10000"/>
                <a:gd name="connsiteX1610" fmla="*/ 3507 w 10586"/>
                <a:gd name="connsiteY1610" fmla="*/ 2034 h 10000"/>
                <a:gd name="connsiteX1611" fmla="*/ 3498 w 10586"/>
                <a:gd name="connsiteY1611" fmla="*/ 2051 h 10000"/>
                <a:gd name="connsiteX1612" fmla="*/ 3484 w 10586"/>
                <a:gd name="connsiteY1612" fmla="*/ 2060 h 10000"/>
                <a:gd name="connsiteX1613" fmla="*/ 3484 w 10586"/>
                <a:gd name="connsiteY1613" fmla="*/ 2085 h 10000"/>
                <a:gd name="connsiteX1614" fmla="*/ 3484 w 10586"/>
                <a:gd name="connsiteY1614" fmla="*/ 2103 h 10000"/>
                <a:gd name="connsiteX1615" fmla="*/ 3493 w 10586"/>
                <a:gd name="connsiteY1615" fmla="*/ 2103 h 10000"/>
                <a:gd name="connsiteX1616" fmla="*/ 3493 w 10586"/>
                <a:gd name="connsiteY1616" fmla="*/ 2085 h 10000"/>
                <a:gd name="connsiteX1617" fmla="*/ 3498 w 10586"/>
                <a:gd name="connsiteY1617" fmla="*/ 2085 h 10000"/>
                <a:gd name="connsiteX1618" fmla="*/ 3498 w 10586"/>
                <a:gd name="connsiteY1618" fmla="*/ 2111 h 10000"/>
                <a:gd name="connsiteX1619" fmla="*/ 3484 w 10586"/>
                <a:gd name="connsiteY1619" fmla="*/ 2120 h 10000"/>
                <a:gd name="connsiteX1620" fmla="*/ 3484 w 10586"/>
                <a:gd name="connsiteY1620" fmla="*/ 2145 h 10000"/>
                <a:gd name="connsiteX1621" fmla="*/ 3470 w 10586"/>
                <a:gd name="connsiteY1621" fmla="*/ 2137 h 10000"/>
                <a:gd name="connsiteX1622" fmla="*/ 3465 w 10586"/>
                <a:gd name="connsiteY1622" fmla="*/ 2145 h 10000"/>
                <a:gd name="connsiteX1623" fmla="*/ 3470 w 10586"/>
                <a:gd name="connsiteY1623" fmla="*/ 2171 h 10000"/>
                <a:gd name="connsiteX1624" fmla="*/ 3484 w 10586"/>
                <a:gd name="connsiteY1624" fmla="*/ 2171 h 10000"/>
                <a:gd name="connsiteX1625" fmla="*/ 3484 w 10586"/>
                <a:gd name="connsiteY1625" fmla="*/ 2197 h 10000"/>
                <a:gd name="connsiteX1626" fmla="*/ 3465 w 10586"/>
                <a:gd name="connsiteY1626" fmla="*/ 2214 h 10000"/>
                <a:gd name="connsiteX1627" fmla="*/ 3493 w 10586"/>
                <a:gd name="connsiteY1627" fmla="*/ 2248 h 10000"/>
                <a:gd name="connsiteX1628" fmla="*/ 3484 w 10586"/>
                <a:gd name="connsiteY1628" fmla="*/ 2256 h 10000"/>
                <a:gd name="connsiteX1629" fmla="*/ 3498 w 10586"/>
                <a:gd name="connsiteY1629" fmla="*/ 2274 h 10000"/>
                <a:gd name="connsiteX1630" fmla="*/ 3498 w 10586"/>
                <a:gd name="connsiteY1630" fmla="*/ 2256 h 10000"/>
                <a:gd name="connsiteX1631" fmla="*/ 3507 w 10586"/>
                <a:gd name="connsiteY1631" fmla="*/ 2308 h 10000"/>
                <a:gd name="connsiteX1632" fmla="*/ 3512 w 10586"/>
                <a:gd name="connsiteY1632" fmla="*/ 2325 h 10000"/>
                <a:gd name="connsiteX1633" fmla="*/ 3507 w 10586"/>
                <a:gd name="connsiteY1633" fmla="*/ 2333 h 10000"/>
                <a:gd name="connsiteX1634" fmla="*/ 3507 w 10586"/>
                <a:gd name="connsiteY1634" fmla="*/ 2359 h 10000"/>
                <a:gd name="connsiteX1635" fmla="*/ 3507 w 10586"/>
                <a:gd name="connsiteY1635" fmla="*/ 2376 h 10000"/>
                <a:gd name="connsiteX1636" fmla="*/ 3498 w 10586"/>
                <a:gd name="connsiteY1636" fmla="*/ 2410 h 10000"/>
                <a:gd name="connsiteX1637" fmla="*/ 3498 w 10586"/>
                <a:gd name="connsiteY1637" fmla="*/ 2436 h 10000"/>
                <a:gd name="connsiteX1638" fmla="*/ 3507 w 10586"/>
                <a:gd name="connsiteY1638" fmla="*/ 2462 h 10000"/>
                <a:gd name="connsiteX1639" fmla="*/ 3507 w 10586"/>
                <a:gd name="connsiteY1639" fmla="*/ 2496 h 10000"/>
                <a:gd name="connsiteX1640" fmla="*/ 3512 w 10586"/>
                <a:gd name="connsiteY1640" fmla="*/ 2521 h 10000"/>
                <a:gd name="connsiteX1641" fmla="*/ 3525 w 10586"/>
                <a:gd name="connsiteY1641" fmla="*/ 2556 h 10000"/>
                <a:gd name="connsiteX1642" fmla="*/ 3571 w 10586"/>
                <a:gd name="connsiteY1642" fmla="*/ 2573 h 10000"/>
                <a:gd name="connsiteX1643" fmla="*/ 3590 w 10586"/>
                <a:gd name="connsiteY1643" fmla="*/ 2598 h 10000"/>
                <a:gd name="connsiteX1644" fmla="*/ 3599 w 10586"/>
                <a:gd name="connsiteY1644" fmla="*/ 2598 h 10000"/>
                <a:gd name="connsiteX1645" fmla="*/ 3604 w 10586"/>
                <a:gd name="connsiteY1645" fmla="*/ 2632 h 10000"/>
                <a:gd name="connsiteX1646" fmla="*/ 3599 w 10586"/>
                <a:gd name="connsiteY1646" fmla="*/ 2658 h 10000"/>
                <a:gd name="connsiteX1647" fmla="*/ 3590 w 10586"/>
                <a:gd name="connsiteY1647" fmla="*/ 2667 h 10000"/>
                <a:gd name="connsiteX1648" fmla="*/ 3604 w 10586"/>
                <a:gd name="connsiteY1648" fmla="*/ 2667 h 10000"/>
                <a:gd name="connsiteX1649" fmla="*/ 3613 w 10586"/>
                <a:gd name="connsiteY1649" fmla="*/ 2692 h 10000"/>
                <a:gd name="connsiteX1650" fmla="*/ 3627 w 10586"/>
                <a:gd name="connsiteY1650" fmla="*/ 2735 h 10000"/>
                <a:gd name="connsiteX1651" fmla="*/ 3631 w 10586"/>
                <a:gd name="connsiteY1651" fmla="*/ 2744 h 10000"/>
                <a:gd name="connsiteX1652" fmla="*/ 3659 w 10586"/>
                <a:gd name="connsiteY1652" fmla="*/ 2761 h 10000"/>
                <a:gd name="connsiteX1653" fmla="*/ 3673 w 10586"/>
                <a:gd name="connsiteY1653" fmla="*/ 2769 h 10000"/>
                <a:gd name="connsiteX1654" fmla="*/ 3673 w 10586"/>
                <a:gd name="connsiteY1654" fmla="*/ 2761 h 10000"/>
                <a:gd name="connsiteX1655" fmla="*/ 3687 w 10586"/>
                <a:gd name="connsiteY1655" fmla="*/ 2829 h 10000"/>
                <a:gd name="connsiteX1656" fmla="*/ 3677 w 10586"/>
                <a:gd name="connsiteY1656" fmla="*/ 2897 h 10000"/>
                <a:gd name="connsiteX1657" fmla="*/ 3673 w 10586"/>
                <a:gd name="connsiteY1657" fmla="*/ 2915 h 10000"/>
                <a:gd name="connsiteX1658" fmla="*/ 3664 w 10586"/>
                <a:gd name="connsiteY1658" fmla="*/ 2957 h 10000"/>
                <a:gd name="connsiteX1659" fmla="*/ 3659 w 10586"/>
                <a:gd name="connsiteY1659" fmla="*/ 2983 h 10000"/>
                <a:gd name="connsiteX1660" fmla="*/ 3664 w 10586"/>
                <a:gd name="connsiteY1660" fmla="*/ 3017 h 10000"/>
                <a:gd name="connsiteX1661" fmla="*/ 3659 w 10586"/>
                <a:gd name="connsiteY1661" fmla="*/ 3043 h 10000"/>
                <a:gd name="connsiteX1662" fmla="*/ 3677 w 10586"/>
                <a:gd name="connsiteY1662" fmla="*/ 3094 h 10000"/>
                <a:gd name="connsiteX1663" fmla="*/ 3691 w 10586"/>
                <a:gd name="connsiteY1663" fmla="*/ 3282 h 10000"/>
                <a:gd name="connsiteX1664" fmla="*/ 3691 w 10586"/>
                <a:gd name="connsiteY1664" fmla="*/ 3308 h 10000"/>
                <a:gd name="connsiteX1665" fmla="*/ 3677 w 10586"/>
                <a:gd name="connsiteY1665" fmla="*/ 3342 h 10000"/>
                <a:gd name="connsiteX1666" fmla="*/ 3664 w 10586"/>
                <a:gd name="connsiteY1666" fmla="*/ 3342 h 10000"/>
                <a:gd name="connsiteX1667" fmla="*/ 3650 w 10586"/>
                <a:gd name="connsiteY1667" fmla="*/ 3342 h 10000"/>
                <a:gd name="connsiteX1668" fmla="*/ 3650 w 10586"/>
                <a:gd name="connsiteY1668" fmla="*/ 3350 h 10000"/>
                <a:gd name="connsiteX1669" fmla="*/ 3659 w 10586"/>
                <a:gd name="connsiteY1669" fmla="*/ 3402 h 10000"/>
                <a:gd name="connsiteX1670" fmla="*/ 3659 w 10586"/>
                <a:gd name="connsiteY1670" fmla="*/ 3419 h 10000"/>
                <a:gd name="connsiteX1671" fmla="*/ 3631 w 10586"/>
                <a:gd name="connsiteY1671" fmla="*/ 3402 h 10000"/>
                <a:gd name="connsiteX1672" fmla="*/ 3604 w 10586"/>
                <a:gd name="connsiteY1672" fmla="*/ 3393 h 10000"/>
                <a:gd name="connsiteX1673" fmla="*/ 3599 w 10586"/>
                <a:gd name="connsiteY1673" fmla="*/ 3368 h 10000"/>
                <a:gd name="connsiteX1674" fmla="*/ 3590 w 10586"/>
                <a:gd name="connsiteY1674" fmla="*/ 3239 h 10000"/>
                <a:gd name="connsiteX1675" fmla="*/ 3599 w 10586"/>
                <a:gd name="connsiteY1675" fmla="*/ 3179 h 10000"/>
                <a:gd name="connsiteX1676" fmla="*/ 3599 w 10586"/>
                <a:gd name="connsiteY1676" fmla="*/ 3171 h 10000"/>
                <a:gd name="connsiteX1677" fmla="*/ 3599 w 10586"/>
                <a:gd name="connsiteY1677" fmla="*/ 3009 h 10000"/>
                <a:gd name="connsiteX1678" fmla="*/ 3604 w 10586"/>
                <a:gd name="connsiteY1678" fmla="*/ 2983 h 10000"/>
                <a:gd name="connsiteX1679" fmla="*/ 3645 w 10586"/>
                <a:gd name="connsiteY1679" fmla="*/ 2932 h 10000"/>
                <a:gd name="connsiteX1680" fmla="*/ 3650 w 10586"/>
                <a:gd name="connsiteY1680" fmla="*/ 2872 h 10000"/>
                <a:gd name="connsiteX1681" fmla="*/ 3659 w 10586"/>
                <a:gd name="connsiteY1681" fmla="*/ 2855 h 10000"/>
                <a:gd name="connsiteX1682" fmla="*/ 3659 w 10586"/>
                <a:gd name="connsiteY1682" fmla="*/ 2821 h 10000"/>
                <a:gd name="connsiteX1683" fmla="*/ 3631 w 10586"/>
                <a:gd name="connsiteY1683" fmla="*/ 2795 h 10000"/>
                <a:gd name="connsiteX1684" fmla="*/ 3567 w 10586"/>
                <a:gd name="connsiteY1684" fmla="*/ 2821 h 10000"/>
                <a:gd name="connsiteX1685" fmla="*/ 3544 w 10586"/>
                <a:gd name="connsiteY1685" fmla="*/ 2795 h 10000"/>
                <a:gd name="connsiteX1686" fmla="*/ 3530 w 10586"/>
                <a:gd name="connsiteY1686" fmla="*/ 2769 h 10000"/>
                <a:gd name="connsiteX1687" fmla="*/ 3530 w 10586"/>
                <a:gd name="connsiteY1687" fmla="*/ 2786 h 10000"/>
                <a:gd name="connsiteX1688" fmla="*/ 3498 w 10586"/>
                <a:gd name="connsiteY1688" fmla="*/ 2692 h 10000"/>
                <a:gd name="connsiteX1689" fmla="*/ 3498 w 10586"/>
                <a:gd name="connsiteY1689" fmla="*/ 2667 h 10000"/>
                <a:gd name="connsiteX1690" fmla="*/ 3442 w 10586"/>
                <a:gd name="connsiteY1690" fmla="*/ 2607 h 10000"/>
                <a:gd name="connsiteX1691" fmla="*/ 3433 w 10586"/>
                <a:gd name="connsiteY1691" fmla="*/ 2581 h 10000"/>
                <a:gd name="connsiteX1692" fmla="*/ 3396 w 10586"/>
                <a:gd name="connsiteY1692" fmla="*/ 2556 h 10000"/>
                <a:gd name="connsiteX1693" fmla="*/ 3318 w 10586"/>
                <a:gd name="connsiteY1693" fmla="*/ 2556 h 10000"/>
                <a:gd name="connsiteX1694" fmla="*/ 3304 w 10586"/>
                <a:gd name="connsiteY1694" fmla="*/ 2607 h 10000"/>
                <a:gd name="connsiteX1695" fmla="*/ 3276 w 10586"/>
                <a:gd name="connsiteY1695" fmla="*/ 2632 h 10000"/>
                <a:gd name="connsiteX1696" fmla="*/ 3272 w 10586"/>
                <a:gd name="connsiteY1696" fmla="*/ 2667 h 10000"/>
                <a:gd name="connsiteX1697" fmla="*/ 3304 w 10586"/>
                <a:gd name="connsiteY1697" fmla="*/ 2667 h 10000"/>
                <a:gd name="connsiteX1698" fmla="*/ 3323 w 10586"/>
                <a:gd name="connsiteY1698" fmla="*/ 2692 h 10000"/>
                <a:gd name="connsiteX1699" fmla="*/ 3318 w 10586"/>
                <a:gd name="connsiteY1699" fmla="*/ 2735 h 10000"/>
                <a:gd name="connsiteX1700" fmla="*/ 3304 w 10586"/>
                <a:gd name="connsiteY1700" fmla="*/ 2761 h 10000"/>
                <a:gd name="connsiteX1701" fmla="*/ 3276 w 10586"/>
                <a:gd name="connsiteY1701" fmla="*/ 2769 h 10000"/>
                <a:gd name="connsiteX1702" fmla="*/ 3263 w 10586"/>
                <a:gd name="connsiteY1702" fmla="*/ 2795 h 10000"/>
                <a:gd name="connsiteX1703" fmla="*/ 3235 w 10586"/>
                <a:gd name="connsiteY1703" fmla="*/ 2803 h 10000"/>
                <a:gd name="connsiteX1704" fmla="*/ 3235 w 10586"/>
                <a:gd name="connsiteY1704" fmla="*/ 2786 h 10000"/>
                <a:gd name="connsiteX1705" fmla="*/ 3212 w 10586"/>
                <a:gd name="connsiteY1705" fmla="*/ 2709 h 10000"/>
                <a:gd name="connsiteX1706" fmla="*/ 3198 w 10586"/>
                <a:gd name="connsiteY1706" fmla="*/ 2709 h 10000"/>
                <a:gd name="connsiteX1707" fmla="*/ 3184 w 10586"/>
                <a:gd name="connsiteY1707" fmla="*/ 2735 h 10000"/>
                <a:gd name="connsiteX1708" fmla="*/ 3189 w 10586"/>
                <a:gd name="connsiteY1708" fmla="*/ 2761 h 10000"/>
                <a:gd name="connsiteX1709" fmla="*/ 3203 w 10586"/>
                <a:gd name="connsiteY1709" fmla="*/ 2855 h 10000"/>
                <a:gd name="connsiteX1710" fmla="*/ 3212 w 10586"/>
                <a:gd name="connsiteY1710" fmla="*/ 2872 h 10000"/>
                <a:gd name="connsiteX1711" fmla="*/ 3235 w 10586"/>
                <a:gd name="connsiteY1711" fmla="*/ 2906 h 10000"/>
                <a:gd name="connsiteX1712" fmla="*/ 3258 w 10586"/>
                <a:gd name="connsiteY1712" fmla="*/ 2915 h 10000"/>
                <a:gd name="connsiteX1713" fmla="*/ 3272 w 10586"/>
                <a:gd name="connsiteY1713" fmla="*/ 2957 h 10000"/>
                <a:gd name="connsiteX1714" fmla="*/ 3276 w 10586"/>
                <a:gd name="connsiteY1714" fmla="*/ 2957 h 10000"/>
                <a:gd name="connsiteX1715" fmla="*/ 3286 w 10586"/>
                <a:gd name="connsiteY1715" fmla="*/ 2966 h 10000"/>
                <a:gd name="connsiteX1716" fmla="*/ 3300 w 10586"/>
                <a:gd name="connsiteY1716" fmla="*/ 2957 h 10000"/>
                <a:gd name="connsiteX1717" fmla="*/ 3309 w 10586"/>
                <a:gd name="connsiteY1717" fmla="*/ 2932 h 10000"/>
                <a:gd name="connsiteX1718" fmla="*/ 3304 w 10586"/>
                <a:gd name="connsiteY1718" fmla="*/ 2966 h 10000"/>
                <a:gd name="connsiteX1719" fmla="*/ 3309 w 10586"/>
                <a:gd name="connsiteY1719" fmla="*/ 2983 h 10000"/>
                <a:gd name="connsiteX1720" fmla="*/ 3323 w 10586"/>
                <a:gd name="connsiteY1720" fmla="*/ 2966 h 10000"/>
                <a:gd name="connsiteX1721" fmla="*/ 3323 w 10586"/>
                <a:gd name="connsiteY1721" fmla="*/ 3043 h 10000"/>
                <a:gd name="connsiteX1722" fmla="*/ 3346 w 10586"/>
                <a:gd name="connsiteY1722" fmla="*/ 3068 h 10000"/>
                <a:gd name="connsiteX1723" fmla="*/ 3346 w 10586"/>
                <a:gd name="connsiteY1723" fmla="*/ 3094 h 10000"/>
                <a:gd name="connsiteX1724" fmla="*/ 3323 w 10586"/>
                <a:gd name="connsiteY1724" fmla="*/ 3094 h 10000"/>
                <a:gd name="connsiteX1725" fmla="*/ 3309 w 10586"/>
                <a:gd name="connsiteY1725" fmla="*/ 3077 h 10000"/>
                <a:gd name="connsiteX1726" fmla="*/ 3304 w 10586"/>
                <a:gd name="connsiteY1726" fmla="*/ 3051 h 10000"/>
                <a:gd name="connsiteX1727" fmla="*/ 3300 w 10586"/>
                <a:gd name="connsiteY1727" fmla="*/ 3043 h 10000"/>
                <a:gd name="connsiteX1728" fmla="*/ 3286 w 10586"/>
                <a:gd name="connsiteY1728" fmla="*/ 3017 h 10000"/>
                <a:gd name="connsiteX1729" fmla="*/ 3152 w 10586"/>
                <a:gd name="connsiteY1729" fmla="*/ 2966 h 10000"/>
                <a:gd name="connsiteX1730" fmla="*/ 3129 w 10586"/>
                <a:gd name="connsiteY1730" fmla="*/ 2915 h 10000"/>
                <a:gd name="connsiteX1731" fmla="*/ 3129 w 10586"/>
                <a:gd name="connsiteY1731" fmla="*/ 2906 h 10000"/>
                <a:gd name="connsiteX1732" fmla="*/ 3152 w 10586"/>
                <a:gd name="connsiteY1732" fmla="*/ 2906 h 10000"/>
                <a:gd name="connsiteX1733" fmla="*/ 3152 w 10586"/>
                <a:gd name="connsiteY1733" fmla="*/ 2846 h 10000"/>
                <a:gd name="connsiteX1734" fmla="*/ 3138 w 10586"/>
                <a:gd name="connsiteY1734" fmla="*/ 2795 h 10000"/>
                <a:gd name="connsiteX1735" fmla="*/ 3138 w 10586"/>
                <a:gd name="connsiteY1735" fmla="*/ 2769 h 10000"/>
                <a:gd name="connsiteX1736" fmla="*/ 3143 w 10586"/>
                <a:gd name="connsiteY1736" fmla="*/ 2718 h 10000"/>
                <a:gd name="connsiteX1737" fmla="*/ 3129 w 10586"/>
                <a:gd name="connsiteY1737" fmla="*/ 2692 h 10000"/>
                <a:gd name="connsiteX1738" fmla="*/ 3143 w 10586"/>
                <a:gd name="connsiteY1738" fmla="*/ 2667 h 10000"/>
                <a:gd name="connsiteX1739" fmla="*/ 3157 w 10586"/>
                <a:gd name="connsiteY1739" fmla="*/ 2581 h 10000"/>
                <a:gd name="connsiteX1740" fmla="*/ 3143 w 10586"/>
                <a:gd name="connsiteY1740" fmla="*/ 2496 h 10000"/>
                <a:gd name="connsiteX1741" fmla="*/ 3157 w 10586"/>
                <a:gd name="connsiteY1741" fmla="*/ 2487 h 10000"/>
                <a:gd name="connsiteX1742" fmla="*/ 3143 w 10586"/>
                <a:gd name="connsiteY1742" fmla="*/ 2444 h 10000"/>
                <a:gd name="connsiteX1743" fmla="*/ 3143 w 10586"/>
                <a:gd name="connsiteY1743" fmla="*/ 2419 h 10000"/>
                <a:gd name="connsiteX1744" fmla="*/ 3143 w 10586"/>
                <a:gd name="connsiteY1744" fmla="*/ 2410 h 10000"/>
                <a:gd name="connsiteX1745" fmla="*/ 3124 w 10586"/>
                <a:gd name="connsiteY1745" fmla="*/ 2376 h 10000"/>
                <a:gd name="connsiteX1746" fmla="*/ 3115 w 10586"/>
                <a:gd name="connsiteY1746" fmla="*/ 2350 h 10000"/>
                <a:gd name="connsiteX1747" fmla="*/ 3101 w 10586"/>
                <a:gd name="connsiteY1747" fmla="*/ 2359 h 10000"/>
                <a:gd name="connsiteX1748" fmla="*/ 3115 w 10586"/>
                <a:gd name="connsiteY1748" fmla="*/ 2581 h 10000"/>
                <a:gd name="connsiteX1749" fmla="*/ 3111 w 10586"/>
                <a:gd name="connsiteY1749" fmla="*/ 2624 h 10000"/>
                <a:gd name="connsiteX1750" fmla="*/ 3009 w 10586"/>
                <a:gd name="connsiteY1750" fmla="*/ 2761 h 10000"/>
                <a:gd name="connsiteX1751" fmla="*/ 3009 w 10586"/>
                <a:gd name="connsiteY1751" fmla="*/ 2803 h 10000"/>
                <a:gd name="connsiteX1752" fmla="*/ 3005 w 10586"/>
                <a:gd name="connsiteY1752" fmla="*/ 2829 h 10000"/>
                <a:gd name="connsiteX1753" fmla="*/ 2982 w 10586"/>
                <a:gd name="connsiteY1753" fmla="*/ 2872 h 10000"/>
                <a:gd name="connsiteX1754" fmla="*/ 2982 w 10586"/>
                <a:gd name="connsiteY1754" fmla="*/ 2880 h 10000"/>
                <a:gd name="connsiteX1755" fmla="*/ 3037 w 10586"/>
                <a:gd name="connsiteY1755" fmla="*/ 3034 h 10000"/>
                <a:gd name="connsiteX1756" fmla="*/ 3041 w 10586"/>
                <a:gd name="connsiteY1756" fmla="*/ 3103 h 10000"/>
                <a:gd name="connsiteX1757" fmla="*/ 3069 w 10586"/>
                <a:gd name="connsiteY1757" fmla="*/ 3188 h 10000"/>
                <a:gd name="connsiteX1758" fmla="*/ 3055 w 10586"/>
                <a:gd name="connsiteY1758" fmla="*/ 3325 h 10000"/>
                <a:gd name="connsiteX1759" fmla="*/ 3037 w 10586"/>
                <a:gd name="connsiteY1759" fmla="*/ 3368 h 10000"/>
                <a:gd name="connsiteX1760" fmla="*/ 3037 w 10586"/>
                <a:gd name="connsiteY1760" fmla="*/ 3444 h 10000"/>
                <a:gd name="connsiteX1761" fmla="*/ 3028 w 10586"/>
                <a:gd name="connsiteY1761" fmla="*/ 3453 h 10000"/>
                <a:gd name="connsiteX1762" fmla="*/ 3023 w 10586"/>
                <a:gd name="connsiteY1762" fmla="*/ 3530 h 10000"/>
                <a:gd name="connsiteX1763" fmla="*/ 3051 w 10586"/>
                <a:gd name="connsiteY1763" fmla="*/ 3624 h 10000"/>
                <a:gd name="connsiteX1764" fmla="*/ 3037 w 10586"/>
                <a:gd name="connsiteY1764" fmla="*/ 3718 h 10000"/>
                <a:gd name="connsiteX1765" fmla="*/ 3041 w 10586"/>
                <a:gd name="connsiteY1765" fmla="*/ 3752 h 10000"/>
                <a:gd name="connsiteX1766" fmla="*/ 3055 w 10586"/>
                <a:gd name="connsiteY1766" fmla="*/ 3761 h 10000"/>
                <a:gd name="connsiteX1767" fmla="*/ 3078 w 10586"/>
                <a:gd name="connsiteY1767" fmla="*/ 3752 h 10000"/>
                <a:gd name="connsiteX1768" fmla="*/ 3092 w 10586"/>
                <a:gd name="connsiteY1768" fmla="*/ 3752 h 10000"/>
                <a:gd name="connsiteX1769" fmla="*/ 3129 w 10586"/>
                <a:gd name="connsiteY1769" fmla="*/ 3761 h 10000"/>
                <a:gd name="connsiteX1770" fmla="*/ 3129 w 10586"/>
                <a:gd name="connsiteY1770" fmla="*/ 3735 h 10000"/>
                <a:gd name="connsiteX1771" fmla="*/ 3157 w 10586"/>
                <a:gd name="connsiteY1771" fmla="*/ 3718 h 10000"/>
                <a:gd name="connsiteX1772" fmla="*/ 3184 w 10586"/>
                <a:gd name="connsiteY1772" fmla="*/ 3718 h 10000"/>
                <a:gd name="connsiteX1773" fmla="*/ 3290 w 10586"/>
                <a:gd name="connsiteY1773" fmla="*/ 3838 h 10000"/>
                <a:gd name="connsiteX1774" fmla="*/ 3300 w 10586"/>
                <a:gd name="connsiteY1774" fmla="*/ 3846 h 10000"/>
                <a:gd name="connsiteX1775" fmla="*/ 3300 w 10586"/>
                <a:gd name="connsiteY1775" fmla="*/ 3915 h 10000"/>
                <a:gd name="connsiteX1776" fmla="*/ 3318 w 10586"/>
                <a:gd name="connsiteY1776" fmla="*/ 4000 h 10000"/>
                <a:gd name="connsiteX1777" fmla="*/ 3323 w 10586"/>
                <a:gd name="connsiteY1777" fmla="*/ 4000 h 10000"/>
                <a:gd name="connsiteX1778" fmla="*/ 3323 w 10586"/>
                <a:gd name="connsiteY1778" fmla="*/ 4034 h 10000"/>
                <a:gd name="connsiteX1779" fmla="*/ 3318 w 10586"/>
                <a:gd name="connsiteY1779" fmla="*/ 4051 h 10000"/>
                <a:gd name="connsiteX1780" fmla="*/ 3300 w 10586"/>
                <a:gd name="connsiteY1780" fmla="*/ 4051 h 10000"/>
                <a:gd name="connsiteX1781" fmla="*/ 3290 w 10586"/>
                <a:gd name="connsiteY1781" fmla="*/ 4077 h 10000"/>
                <a:gd name="connsiteX1782" fmla="*/ 3286 w 10586"/>
                <a:gd name="connsiteY1782" fmla="*/ 4103 h 10000"/>
                <a:gd name="connsiteX1783" fmla="*/ 3286 w 10586"/>
                <a:gd name="connsiteY1783" fmla="*/ 4197 h 10000"/>
                <a:gd name="connsiteX1784" fmla="*/ 3290 w 10586"/>
                <a:gd name="connsiteY1784" fmla="*/ 4214 h 10000"/>
                <a:gd name="connsiteX1785" fmla="*/ 3304 w 10586"/>
                <a:gd name="connsiteY1785" fmla="*/ 4214 h 10000"/>
                <a:gd name="connsiteX1786" fmla="*/ 3323 w 10586"/>
                <a:gd name="connsiteY1786" fmla="*/ 4239 h 10000"/>
                <a:gd name="connsiteX1787" fmla="*/ 3350 w 10586"/>
                <a:gd name="connsiteY1787" fmla="*/ 4222 h 10000"/>
                <a:gd name="connsiteX1788" fmla="*/ 3369 w 10586"/>
                <a:gd name="connsiteY1788" fmla="*/ 4256 h 10000"/>
                <a:gd name="connsiteX1789" fmla="*/ 3369 w 10586"/>
                <a:gd name="connsiteY1789" fmla="*/ 4256 h 10000"/>
                <a:gd name="connsiteX1790" fmla="*/ 3336 w 10586"/>
                <a:gd name="connsiteY1790" fmla="*/ 4274 h 10000"/>
                <a:gd name="connsiteX1791" fmla="*/ 3323 w 10586"/>
                <a:gd name="connsiteY1791" fmla="*/ 4274 h 10000"/>
                <a:gd name="connsiteX1792" fmla="*/ 3290 w 10586"/>
                <a:gd name="connsiteY1792" fmla="*/ 4274 h 10000"/>
                <a:gd name="connsiteX1793" fmla="*/ 3286 w 10586"/>
                <a:gd name="connsiteY1793" fmla="*/ 4239 h 10000"/>
                <a:gd name="connsiteX1794" fmla="*/ 3263 w 10586"/>
                <a:gd name="connsiteY1794" fmla="*/ 4214 h 10000"/>
                <a:gd name="connsiteX1795" fmla="*/ 3258 w 10586"/>
                <a:gd name="connsiteY1795" fmla="*/ 4188 h 10000"/>
                <a:gd name="connsiteX1796" fmla="*/ 3263 w 10586"/>
                <a:gd name="connsiteY1796" fmla="*/ 4171 h 10000"/>
                <a:gd name="connsiteX1797" fmla="*/ 3263 w 10586"/>
                <a:gd name="connsiteY1797" fmla="*/ 4103 h 10000"/>
                <a:gd name="connsiteX1798" fmla="*/ 3276 w 10586"/>
                <a:gd name="connsiteY1798" fmla="*/ 4060 h 10000"/>
                <a:gd name="connsiteX1799" fmla="*/ 3272 w 10586"/>
                <a:gd name="connsiteY1799" fmla="*/ 4051 h 10000"/>
                <a:gd name="connsiteX1800" fmla="*/ 3263 w 10586"/>
                <a:gd name="connsiteY1800" fmla="*/ 4051 h 10000"/>
                <a:gd name="connsiteX1801" fmla="*/ 3263 w 10586"/>
                <a:gd name="connsiteY1801" fmla="*/ 4034 h 10000"/>
                <a:gd name="connsiteX1802" fmla="*/ 3263 w 10586"/>
                <a:gd name="connsiteY1802" fmla="*/ 4000 h 10000"/>
                <a:gd name="connsiteX1803" fmla="*/ 3272 w 10586"/>
                <a:gd name="connsiteY1803" fmla="*/ 4000 h 10000"/>
                <a:gd name="connsiteX1804" fmla="*/ 3272 w 10586"/>
                <a:gd name="connsiteY1804" fmla="*/ 3974 h 10000"/>
                <a:gd name="connsiteX1805" fmla="*/ 3272 w 10586"/>
                <a:gd name="connsiteY1805" fmla="*/ 3966 h 10000"/>
                <a:gd name="connsiteX1806" fmla="*/ 3272 w 10586"/>
                <a:gd name="connsiteY1806" fmla="*/ 3949 h 10000"/>
                <a:gd name="connsiteX1807" fmla="*/ 3258 w 10586"/>
                <a:gd name="connsiteY1807" fmla="*/ 3923 h 10000"/>
                <a:gd name="connsiteX1808" fmla="*/ 3249 w 10586"/>
                <a:gd name="connsiteY1808" fmla="*/ 3915 h 10000"/>
                <a:gd name="connsiteX1809" fmla="*/ 3244 w 10586"/>
                <a:gd name="connsiteY1809" fmla="*/ 3897 h 10000"/>
                <a:gd name="connsiteX1810" fmla="*/ 3230 w 10586"/>
                <a:gd name="connsiteY1810" fmla="*/ 3889 h 10000"/>
                <a:gd name="connsiteX1811" fmla="*/ 3230 w 10586"/>
                <a:gd name="connsiteY1811" fmla="*/ 3863 h 10000"/>
                <a:gd name="connsiteX1812" fmla="*/ 3230 w 10586"/>
                <a:gd name="connsiteY1812" fmla="*/ 3838 h 10000"/>
                <a:gd name="connsiteX1813" fmla="*/ 3226 w 10586"/>
                <a:gd name="connsiteY1813" fmla="*/ 3803 h 10000"/>
                <a:gd name="connsiteX1814" fmla="*/ 3138 w 10586"/>
                <a:gd name="connsiteY1814" fmla="*/ 3838 h 10000"/>
                <a:gd name="connsiteX1815" fmla="*/ 3078 w 10586"/>
                <a:gd name="connsiteY1815" fmla="*/ 3889 h 10000"/>
                <a:gd name="connsiteX1816" fmla="*/ 3078 w 10586"/>
                <a:gd name="connsiteY1816" fmla="*/ 3940 h 10000"/>
                <a:gd name="connsiteX1817" fmla="*/ 3069 w 10586"/>
                <a:gd name="connsiteY1817" fmla="*/ 3983 h 10000"/>
                <a:gd name="connsiteX1818" fmla="*/ 3069 w 10586"/>
                <a:gd name="connsiteY1818" fmla="*/ 4009 h 10000"/>
                <a:gd name="connsiteX1819" fmla="*/ 3078 w 10586"/>
                <a:gd name="connsiteY1819" fmla="*/ 4026 h 10000"/>
                <a:gd name="connsiteX1820" fmla="*/ 3083 w 10586"/>
                <a:gd name="connsiteY1820" fmla="*/ 4034 h 10000"/>
                <a:gd name="connsiteX1821" fmla="*/ 3092 w 10586"/>
                <a:gd name="connsiteY1821" fmla="*/ 4060 h 10000"/>
                <a:gd name="connsiteX1822" fmla="*/ 3092 w 10586"/>
                <a:gd name="connsiteY1822" fmla="*/ 4077 h 10000"/>
                <a:gd name="connsiteX1823" fmla="*/ 3097 w 10586"/>
                <a:gd name="connsiteY1823" fmla="*/ 4103 h 10000"/>
                <a:gd name="connsiteX1824" fmla="*/ 3101 w 10586"/>
                <a:gd name="connsiteY1824" fmla="*/ 4162 h 10000"/>
                <a:gd name="connsiteX1825" fmla="*/ 3097 w 10586"/>
                <a:gd name="connsiteY1825" fmla="*/ 4222 h 10000"/>
                <a:gd name="connsiteX1826" fmla="*/ 3041 w 10586"/>
                <a:gd name="connsiteY1826" fmla="*/ 4325 h 10000"/>
                <a:gd name="connsiteX1827" fmla="*/ 3037 w 10586"/>
                <a:gd name="connsiteY1827" fmla="*/ 4419 h 10000"/>
                <a:gd name="connsiteX1828" fmla="*/ 3018 w 10586"/>
                <a:gd name="connsiteY1828" fmla="*/ 4470 h 10000"/>
                <a:gd name="connsiteX1829" fmla="*/ 2991 w 10586"/>
                <a:gd name="connsiteY1829" fmla="*/ 4513 h 10000"/>
                <a:gd name="connsiteX1830" fmla="*/ 2977 w 10586"/>
                <a:gd name="connsiteY1830" fmla="*/ 4530 h 10000"/>
                <a:gd name="connsiteX1831" fmla="*/ 2945 w 10586"/>
                <a:gd name="connsiteY1831" fmla="*/ 4556 h 10000"/>
                <a:gd name="connsiteX1832" fmla="*/ 2935 w 10586"/>
                <a:gd name="connsiteY1832" fmla="*/ 4581 h 10000"/>
                <a:gd name="connsiteX1833" fmla="*/ 2949 w 10586"/>
                <a:gd name="connsiteY1833" fmla="*/ 4624 h 10000"/>
                <a:gd name="connsiteX1834" fmla="*/ 2945 w 10586"/>
                <a:gd name="connsiteY1834" fmla="*/ 4658 h 10000"/>
                <a:gd name="connsiteX1835" fmla="*/ 2922 w 10586"/>
                <a:gd name="connsiteY1835" fmla="*/ 4667 h 10000"/>
                <a:gd name="connsiteX1836" fmla="*/ 2876 w 10586"/>
                <a:gd name="connsiteY1836" fmla="*/ 4632 h 10000"/>
                <a:gd name="connsiteX1837" fmla="*/ 2857 w 10586"/>
                <a:gd name="connsiteY1837" fmla="*/ 4632 h 10000"/>
                <a:gd name="connsiteX1838" fmla="*/ 2820 w 10586"/>
                <a:gd name="connsiteY1838" fmla="*/ 4641 h 10000"/>
                <a:gd name="connsiteX1839" fmla="*/ 2797 w 10586"/>
                <a:gd name="connsiteY1839" fmla="*/ 4632 h 10000"/>
                <a:gd name="connsiteX1840" fmla="*/ 2788 w 10586"/>
                <a:gd name="connsiteY1840" fmla="*/ 4624 h 10000"/>
                <a:gd name="connsiteX1841" fmla="*/ 2788 w 10586"/>
                <a:gd name="connsiteY1841" fmla="*/ 4598 h 10000"/>
                <a:gd name="connsiteX1842" fmla="*/ 2797 w 10586"/>
                <a:gd name="connsiteY1842" fmla="*/ 4581 h 10000"/>
                <a:gd name="connsiteX1843" fmla="*/ 2788 w 10586"/>
                <a:gd name="connsiteY1843" fmla="*/ 4530 h 10000"/>
                <a:gd name="connsiteX1844" fmla="*/ 2774 w 10586"/>
                <a:gd name="connsiteY1844" fmla="*/ 4530 h 10000"/>
                <a:gd name="connsiteX1845" fmla="*/ 2770 w 10586"/>
                <a:gd name="connsiteY1845" fmla="*/ 4513 h 10000"/>
                <a:gd name="connsiteX1846" fmla="*/ 2774 w 10586"/>
                <a:gd name="connsiteY1846" fmla="*/ 4513 h 10000"/>
                <a:gd name="connsiteX1847" fmla="*/ 2788 w 10586"/>
                <a:gd name="connsiteY1847" fmla="*/ 4496 h 10000"/>
                <a:gd name="connsiteX1848" fmla="*/ 2802 w 10586"/>
                <a:gd name="connsiteY1848" fmla="*/ 4513 h 10000"/>
                <a:gd name="connsiteX1849" fmla="*/ 2811 w 10586"/>
                <a:gd name="connsiteY1849" fmla="*/ 4530 h 10000"/>
                <a:gd name="connsiteX1850" fmla="*/ 2820 w 10586"/>
                <a:gd name="connsiteY1850" fmla="*/ 4521 h 10000"/>
                <a:gd name="connsiteX1851" fmla="*/ 2829 w 10586"/>
                <a:gd name="connsiteY1851" fmla="*/ 4513 h 10000"/>
                <a:gd name="connsiteX1852" fmla="*/ 2843 w 10586"/>
                <a:gd name="connsiteY1852" fmla="*/ 4513 h 10000"/>
                <a:gd name="connsiteX1853" fmla="*/ 2848 w 10586"/>
                <a:gd name="connsiteY1853" fmla="*/ 4470 h 10000"/>
                <a:gd name="connsiteX1854" fmla="*/ 2862 w 10586"/>
                <a:gd name="connsiteY1854" fmla="*/ 4487 h 10000"/>
                <a:gd name="connsiteX1855" fmla="*/ 2876 w 10586"/>
                <a:gd name="connsiteY1855" fmla="*/ 4470 h 10000"/>
                <a:gd name="connsiteX1856" fmla="*/ 2880 w 10586"/>
                <a:gd name="connsiteY1856" fmla="*/ 4462 h 10000"/>
                <a:gd name="connsiteX1857" fmla="*/ 2889 w 10586"/>
                <a:gd name="connsiteY1857" fmla="*/ 4444 h 10000"/>
                <a:gd name="connsiteX1858" fmla="*/ 2894 w 10586"/>
                <a:gd name="connsiteY1858" fmla="*/ 4462 h 10000"/>
                <a:gd name="connsiteX1859" fmla="*/ 2917 w 10586"/>
                <a:gd name="connsiteY1859" fmla="*/ 4444 h 10000"/>
                <a:gd name="connsiteX1860" fmla="*/ 2922 w 10586"/>
                <a:gd name="connsiteY1860" fmla="*/ 4436 h 10000"/>
                <a:gd name="connsiteX1861" fmla="*/ 2917 w 10586"/>
                <a:gd name="connsiteY1861" fmla="*/ 4410 h 10000"/>
                <a:gd name="connsiteX1862" fmla="*/ 2894 w 10586"/>
                <a:gd name="connsiteY1862" fmla="*/ 4410 h 10000"/>
                <a:gd name="connsiteX1863" fmla="*/ 2889 w 10586"/>
                <a:gd name="connsiteY1863" fmla="*/ 4419 h 10000"/>
                <a:gd name="connsiteX1864" fmla="*/ 2876 w 10586"/>
                <a:gd name="connsiteY1864" fmla="*/ 4410 h 10000"/>
                <a:gd name="connsiteX1865" fmla="*/ 2880 w 10586"/>
                <a:gd name="connsiteY1865" fmla="*/ 4376 h 10000"/>
                <a:gd name="connsiteX1866" fmla="*/ 2903 w 10586"/>
                <a:gd name="connsiteY1866" fmla="*/ 4393 h 10000"/>
                <a:gd name="connsiteX1867" fmla="*/ 2931 w 10586"/>
                <a:gd name="connsiteY1867" fmla="*/ 4393 h 10000"/>
                <a:gd name="connsiteX1868" fmla="*/ 2931 w 10586"/>
                <a:gd name="connsiteY1868" fmla="*/ 4385 h 10000"/>
                <a:gd name="connsiteX1869" fmla="*/ 2931 w 10586"/>
                <a:gd name="connsiteY1869" fmla="*/ 4350 h 10000"/>
                <a:gd name="connsiteX1870" fmla="*/ 2945 w 10586"/>
                <a:gd name="connsiteY1870" fmla="*/ 4350 h 10000"/>
                <a:gd name="connsiteX1871" fmla="*/ 2949 w 10586"/>
                <a:gd name="connsiteY1871" fmla="*/ 4325 h 10000"/>
                <a:gd name="connsiteX1872" fmla="*/ 2963 w 10586"/>
                <a:gd name="connsiteY1872" fmla="*/ 4256 h 10000"/>
                <a:gd name="connsiteX1873" fmla="*/ 2982 w 10586"/>
                <a:gd name="connsiteY1873" fmla="*/ 4239 h 10000"/>
                <a:gd name="connsiteX1874" fmla="*/ 2991 w 10586"/>
                <a:gd name="connsiteY1874" fmla="*/ 4214 h 10000"/>
                <a:gd name="connsiteX1875" fmla="*/ 2991 w 10586"/>
                <a:gd name="connsiteY1875" fmla="*/ 4197 h 10000"/>
                <a:gd name="connsiteX1876" fmla="*/ 2995 w 10586"/>
                <a:gd name="connsiteY1876" fmla="*/ 4171 h 10000"/>
                <a:gd name="connsiteX1877" fmla="*/ 2991 w 10586"/>
                <a:gd name="connsiteY1877" fmla="*/ 4077 h 10000"/>
                <a:gd name="connsiteX1878" fmla="*/ 2995 w 10586"/>
                <a:gd name="connsiteY1878" fmla="*/ 4034 h 10000"/>
                <a:gd name="connsiteX1879" fmla="*/ 3018 w 10586"/>
                <a:gd name="connsiteY1879" fmla="*/ 3983 h 10000"/>
                <a:gd name="connsiteX1880" fmla="*/ 3018 w 10586"/>
                <a:gd name="connsiteY1880" fmla="*/ 3915 h 10000"/>
                <a:gd name="connsiteX1881" fmla="*/ 2949 w 10586"/>
                <a:gd name="connsiteY1881" fmla="*/ 3778 h 10000"/>
                <a:gd name="connsiteX1882" fmla="*/ 2954 w 10586"/>
                <a:gd name="connsiteY1882" fmla="*/ 3675 h 10000"/>
                <a:gd name="connsiteX1883" fmla="*/ 2954 w 10586"/>
                <a:gd name="connsiteY1883" fmla="*/ 3650 h 10000"/>
                <a:gd name="connsiteX1884" fmla="*/ 2963 w 10586"/>
                <a:gd name="connsiteY1884" fmla="*/ 3624 h 10000"/>
                <a:gd name="connsiteX1885" fmla="*/ 2954 w 10586"/>
                <a:gd name="connsiteY1885" fmla="*/ 3564 h 10000"/>
                <a:gd name="connsiteX1886" fmla="*/ 2963 w 10586"/>
                <a:gd name="connsiteY1886" fmla="*/ 3538 h 10000"/>
                <a:gd name="connsiteX1887" fmla="*/ 2963 w 10586"/>
                <a:gd name="connsiteY1887" fmla="*/ 3487 h 10000"/>
                <a:gd name="connsiteX1888" fmla="*/ 2963 w 10586"/>
                <a:gd name="connsiteY1888" fmla="*/ 3479 h 10000"/>
                <a:gd name="connsiteX1889" fmla="*/ 2963 w 10586"/>
                <a:gd name="connsiteY1889" fmla="*/ 3462 h 10000"/>
                <a:gd name="connsiteX1890" fmla="*/ 2954 w 10586"/>
                <a:gd name="connsiteY1890" fmla="*/ 3453 h 10000"/>
                <a:gd name="connsiteX1891" fmla="*/ 2954 w 10586"/>
                <a:gd name="connsiteY1891" fmla="*/ 3444 h 10000"/>
                <a:gd name="connsiteX1892" fmla="*/ 2954 w 10586"/>
                <a:gd name="connsiteY1892" fmla="*/ 3402 h 10000"/>
                <a:gd name="connsiteX1893" fmla="*/ 2954 w 10586"/>
                <a:gd name="connsiteY1893" fmla="*/ 3393 h 10000"/>
                <a:gd name="connsiteX1894" fmla="*/ 2949 w 10586"/>
                <a:gd name="connsiteY1894" fmla="*/ 3376 h 10000"/>
                <a:gd name="connsiteX1895" fmla="*/ 2949 w 10586"/>
                <a:gd name="connsiteY1895" fmla="*/ 3342 h 10000"/>
                <a:gd name="connsiteX1896" fmla="*/ 2949 w 10586"/>
                <a:gd name="connsiteY1896" fmla="*/ 3316 h 10000"/>
                <a:gd name="connsiteX1897" fmla="*/ 2968 w 10586"/>
                <a:gd name="connsiteY1897" fmla="*/ 3291 h 10000"/>
                <a:gd name="connsiteX1898" fmla="*/ 2963 w 10586"/>
                <a:gd name="connsiteY1898" fmla="*/ 3205 h 10000"/>
                <a:gd name="connsiteX1899" fmla="*/ 2968 w 10586"/>
                <a:gd name="connsiteY1899" fmla="*/ 3171 h 10000"/>
                <a:gd name="connsiteX1900" fmla="*/ 2968 w 10586"/>
                <a:gd name="connsiteY1900" fmla="*/ 3128 h 10000"/>
                <a:gd name="connsiteX1901" fmla="*/ 2954 w 10586"/>
                <a:gd name="connsiteY1901" fmla="*/ 3051 h 10000"/>
                <a:gd name="connsiteX1902" fmla="*/ 2954 w 10586"/>
                <a:gd name="connsiteY1902" fmla="*/ 3009 h 10000"/>
                <a:gd name="connsiteX1903" fmla="*/ 2922 w 10586"/>
                <a:gd name="connsiteY1903" fmla="*/ 2940 h 10000"/>
                <a:gd name="connsiteX1904" fmla="*/ 2903 w 10586"/>
                <a:gd name="connsiteY1904" fmla="*/ 2880 h 10000"/>
                <a:gd name="connsiteX1905" fmla="*/ 2903 w 10586"/>
                <a:gd name="connsiteY1905" fmla="*/ 2855 h 10000"/>
                <a:gd name="connsiteX1906" fmla="*/ 2908 w 10586"/>
                <a:gd name="connsiteY1906" fmla="*/ 2846 h 10000"/>
                <a:gd name="connsiteX1907" fmla="*/ 2931 w 10586"/>
                <a:gd name="connsiteY1907" fmla="*/ 2821 h 10000"/>
                <a:gd name="connsiteX1908" fmla="*/ 2931 w 10586"/>
                <a:gd name="connsiteY1908" fmla="*/ 2803 h 10000"/>
                <a:gd name="connsiteX1909" fmla="*/ 2935 w 10586"/>
                <a:gd name="connsiteY1909" fmla="*/ 2786 h 10000"/>
                <a:gd name="connsiteX1910" fmla="*/ 2935 w 10586"/>
                <a:gd name="connsiteY1910" fmla="*/ 2744 h 10000"/>
                <a:gd name="connsiteX1911" fmla="*/ 2963 w 10586"/>
                <a:gd name="connsiteY1911" fmla="*/ 2607 h 10000"/>
                <a:gd name="connsiteX1912" fmla="*/ 2963 w 10586"/>
                <a:gd name="connsiteY1912" fmla="*/ 2419 h 10000"/>
                <a:gd name="connsiteX1913" fmla="*/ 2954 w 10586"/>
                <a:gd name="connsiteY1913" fmla="*/ 2410 h 10000"/>
                <a:gd name="connsiteX1914" fmla="*/ 2963 w 10586"/>
                <a:gd name="connsiteY1914" fmla="*/ 2393 h 10000"/>
                <a:gd name="connsiteX1915" fmla="*/ 2908 w 10586"/>
                <a:gd name="connsiteY1915" fmla="*/ 2359 h 10000"/>
                <a:gd name="connsiteX1916" fmla="*/ 2889 w 10586"/>
                <a:gd name="connsiteY1916" fmla="*/ 2325 h 10000"/>
                <a:gd name="connsiteX1917" fmla="*/ 2788 w 10586"/>
                <a:gd name="connsiteY1917" fmla="*/ 2333 h 10000"/>
                <a:gd name="connsiteX1918" fmla="*/ 2774 w 10586"/>
                <a:gd name="connsiteY1918" fmla="*/ 2325 h 10000"/>
                <a:gd name="connsiteX1919" fmla="*/ 2783 w 10586"/>
                <a:gd name="connsiteY1919" fmla="*/ 2308 h 10000"/>
                <a:gd name="connsiteX1920" fmla="*/ 2747 w 10586"/>
                <a:gd name="connsiteY1920" fmla="*/ 2308 h 10000"/>
                <a:gd name="connsiteX1921" fmla="*/ 2742 w 10586"/>
                <a:gd name="connsiteY1921" fmla="*/ 2333 h 10000"/>
                <a:gd name="connsiteX1922" fmla="*/ 2682 w 10586"/>
                <a:gd name="connsiteY1922" fmla="*/ 2769 h 10000"/>
                <a:gd name="connsiteX1923" fmla="*/ 2613 w 10586"/>
                <a:gd name="connsiteY1923" fmla="*/ 2940 h 10000"/>
                <a:gd name="connsiteX1924" fmla="*/ 2581 w 10586"/>
                <a:gd name="connsiteY1924" fmla="*/ 2966 h 10000"/>
                <a:gd name="connsiteX1925" fmla="*/ 2576 w 10586"/>
                <a:gd name="connsiteY1925" fmla="*/ 3051 h 10000"/>
                <a:gd name="connsiteX1926" fmla="*/ 2581 w 10586"/>
                <a:gd name="connsiteY1926" fmla="*/ 3051 h 10000"/>
                <a:gd name="connsiteX1927" fmla="*/ 2594 w 10586"/>
                <a:gd name="connsiteY1927" fmla="*/ 3017 h 10000"/>
                <a:gd name="connsiteX1928" fmla="*/ 2594 w 10586"/>
                <a:gd name="connsiteY1928" fmla="*/ 3034 h 10000"/>
                <a:gd name="connsiteX1929" fmla="*/ 2594 w 10586"/>
                <a:gd name="connsiteY1929" fmla="*/ 3051 h 10000"/>
                <a:gd name="connsiteX1930" fmla="*/ 2590 w 10586"/>
                <a:gd name="connsiteY1930" fmla="*/ 3077 h 10000"/>
                <a:gd name="connsiteX1931" fmla="*/ 2567 w 10586"/>
                <a:gd name="connsiteY1931" fmla="*/ 3103 h 10000"/>
                <a:gd name="connsiteX1932" fmla="*/ 2562 w 10586"/>
                <a:gd name="connsiteY1932" fmla="*/ 3145 h 10000"/>
                <a:gd name="connsiteX1933" fmla="*/ 2567 w 10586"/>
                <a:gd name="connsiteY1933" fmla="*/ 3179 h 10000"/>
                <a:gd name="connsiteX1934" fmla="*/ 2590 w 10586"/>
                <a:gd name="connsiteY1934" fmla="*/ 3171 h 10000"/>
                <a:gd name="connsiteX1935" fmla="*/ 2594 w 10586"/>
                <a:gd name="connsiteY1935" fmla="*/ 3145 h 10000"/>
                <a:gd name="connsiteX1936" fmla="*/ 2613 w 10586"/>
                <a:gd name="connsiteY1936" fmla="*/ 3154 h 10000"/>
                <a:gd name="connsiteX1937" fmla="*/ 2622 w 10586"/>
                <a:gd name="connsiteY1937" fmla="*/ 3179 h 10000"/>
                <a:gd name="connsiteX1938" fmla="*/ 2613 w 10586"/>
                <a:gd name="connsiteY1938" fmla="*/ 3214 h 10000"/>
                <a:gd name="connsiteX1939" fmla="*/ 2613 w 10586"/>
                <a:gd name="connsiteY1939" fmla="*/ 3308 h 10000"/>
                <a:gd name="connsiteX1940" fmla="*/ 2608 w 10586"/>
                <a:gd name="connsiteY1940" fmla="*/ 3325 h 10000"/>
                <a:gd name="connsiteX1941" fmla="*/ 2608 w 10586"/>
                <a:gd name="connsiteY1941" fmla="*/ 3376 h 10000"/>
                <a:gd name="connsiteX1942" fmla="*/ 2613 w 10586"/>
                <a:gd name="connsiteY1942" fmla="*/ 3419 h 10000"/>
                <a:gd name="connsiteX1943" fmla="*/ 2608 w 10586"/>
                <a:gd name="connsiteY1943" fmla="*/ 3444 h 10000"/>
                <a:gd name="connsiteX1944" fmla="*/ 2594 w 10586"/>
                <a:gd name="connsiteY1944" fmla="*/ 3444 h 10000"/>
                <a:gd name="connsiteX1945" fmla="*/ 2590 w 10586"/>
                <a:gd name="connsiteY1945" fmla="*/ 3427 h 10000"/>
                <a:gd name="connsiteX1946" fmla="*/ 2581 w 10586"/>
                <a:gd name="connsiteY1946" fmla="*/ 3564 h 10000"/>
                <a:gd name="connsiteX1947" fmla="*/ 2594 w 10586"/>
                <a:gd name="connsiteY1947" fmla="*/ 3598 h 10000"/>
                <a:gd name="connsiteX1948" fmla="*/ 2594 w 10586"/>
                <a:gd name="connsiteY1948" fmla="*/ 3581 h 10000"/>
                <a:gd name="connsiteX1949" fmla="*/ 2608 w 10586"/>
                <a:gd name="connsiteY1949" fmla="*/ 3556 h 10000"/>
                <a:gd name="connsiteX1950" fmla="*/ 2650 w 10586"/>
                <a:gd name="connsiteY1950" fmla="*/ 3615 h 10000"/>
                <a:gd name="connsiteX1951" fmla="*/ 2664 w 10586"/>
                <a:gd name="connsiteY1951" fmla="*/ 3615 h 10000"/>
                <a:gd name="connsiteX1952" fmla="*/ 2668 w 10586"/>
                <a:gd name="connsiteY1952" fmla="*/ 3615 h 10000"/>
                <a:gd name="connsiteX1953" fmla="*/ 2664 w 10586"/>
                <a:gd name="connsiteY1953" fmla="*/ 3667 h 10000"/>
                <a:gd name="connsiteX1954" fmla="*/ 2687 w 10586"/>
                <a:gd name="connsiteY1954" fmla="*/ 3786 h 10000"/>
                <a:gd name="connsiteX1955" fmla="*/ 2710 w 10586"/>
                <a:gd name="connsiteY1955" fmla="*/ 3812 h 10000"/>
                <a:gd name="connsiteX1956" fmla="*/ 2724 w 10586"/>
                <a:gd name="connsiteY1956" fmla="*/ 3812 h 10000"/>
                <a:gd name="connsiteX1957" fmla="*/ 2724 w 10586"/>
                <a:gd name="connsiteY1957" fmla="*/ 3829 h 10000"/>
                <a:gd name="connsiteX1958" fmla="*/ 2737 w 10586"/>
                <a:gd name="connsiteY1958" fmla="*/ 3838 h 10000"/>
                <a:gd name="connsiteX1959" fmla="*/ 2714 w 10586"/>
                <a:gd name="connsiteY1959" fmla="*/ 3872 h 10000"/>
                <a:gd name="connsiteX1960" fmla="*/ 2696 w 10586"/>
                <a:gd name="connsiteY1960" fmla="*/ 4026 h 10000"/>
                <a:gd name="connsiteX1961" fmla="*/ 2673 w 10586"/>
                <a:gd name="connsiteY1961" fmla="*/ 4051 h 10000"/>
                <a:gd name="connsiteX1962" fmla="*/ 2668 w 10586"/>
                <a:gd name="connsiteY1962" fmla="*/ 4034 h 10000"/>
                <a:gd name="connsiteX1963" fmla="*/ 2673 w 10586"/>
                <a:gd name="connsiteY1963" fmla="*/ 4000 h 10000"/>
                <a:gd name="connsiteX1964" fmla="*/ 2664 w 10586"/>
                <a:gd name="connsiteY1964" fmla="*/ 3974 h 10000"/>
                <a:gd name="connsiteX1965" fmla="*/ 2636 w 10586"/>
                <a:gd name="connsiteY1965" fmla="*/ 3949 h 10000"/>
                <a:gd name="connsiteX1966" fmla="*/ 2581 w 10586"/>
                <a:gd name="connsiteY1966" fmla="*/ 3838 h 10000"/>
                <a:gd name="connsiteX1967" fmla="*/ 2562 w 10586"/>
                <a:gd name="connsiteY1967" fmla="*/ 3829 h 10000"/>
                <a:gd name="connsiteX1968" fmla="*/ 2535 w 10586"/>
                <a:gd name="connsiteY1968" fmla="*/ 3778 h 10000"/>
                <a:gd name="connsiteX1969" fmla="*/ 2502 w 10586"/>
                <a:gd name="connsiteY1969" fmla="*/ 3761 h 10000"/>
                <a:gd name="connsiteX1970" fmla="*/ 2502 w 10586"/>
                <a:gd name="connsiteY1970" fmla="*/ 3735 h 10000"/>
                <a:gd name="connsiteX1971" fmla="*/ 2516 w 10586"/>
                <a:gd name="connsiteY1971" fmla="*/ 3735 h 10000"/>
                <a:gd name="connsiteX1972" fmla="*/ 2507 w 10586"/>
                <a:gd name="connsiteY1972" fmla="*/ 3726 h 10000"/>
                <a:gd name="connsiteX1973" fmla="*/ 2488 w 10586"/>
                <a:gd name="connsiteY1973" fmla="*/ 3726 h 10000"/>
                <a:gd name="connsiteX1974" fmla="*/ 2461 w 10586"/>
                <a:gd name="connsiteY1974" fmla="*/ 3692 h 10000"/>
                <a:gd name="connsiteX1975" fmla="*/ 2442 w 10586"/>
                <a:gd name="connsiteY1975" fmla="*/ 3675 h 10000"/>
                <a:gd name="connsiteX1976" fmla="*/ 2406 w 10586"/>
                <a:gd name="connsiteY1976" fmla="*/ 3598 h 10000"/>
                <a:gd name="connsiteX1977" fmla="*/ 2346 w 10586"/>
                <a:gd name="connsiteY1977" fmla="*/ 3564 h 10000"/>
                <a:gd name="connsiteX1978" fmla="*/ 2341 w 10586"/>
                <a:gd name="connsiteY1978" fmla="*/ 3564 h 10000"/>
                <a:gd name="connsiteX1979" fmla="*/ 2313 w 10586"/>
                <a:gd name="connsiteY1979" fmla="*/ 3530 h 10000"/>
                <a:gd name="connsiteX1980" fmla="*/ 2235 w 10586"/>
                <a:gd name="connsiteY1980" fmla="*/ 3530 h 10000"/>
                <a:gd name="connsiteX1981" fmla="*/ 2226 w 10586"/>
                <a:gd name="connsiteY1981" fmla="*/ 3513 h 10000"/>
                <a:gd name="connsiteX1982" fmla="*/ 2207 w 10586"/>
                <a:gd name="connsiteY1982" fmla="*/ 3504 h 10000"/>
                <a:gd name="connsiteX1983" fmla="*/ 2194 w 10586"/>
                <a:gd name="connsiteY1983" fmla="*/ 3504 h 10000"/>
                <a:gd name="connsiteX1984" fmla="*/ 2189 w 10586"/>
                <a:gd name="connsiteY1984" fmla="*/ 3504 h 10000"/>
                <a:gd name="connsiteX1985" fmla="*/ 2189 w 10586"/>
                <a:gd name="connsiteY1985" fmla="*/ 3530 h 10000"/>
                <a:gd name="connsiteX1986" fmla="*/ 2180 w 10586"/>
                <a:gd name="connsiteY1986" fmla="*/ 3538 h 10000"/>
                <a:gd name="connsiteX1987" fmla="*/ 2152 w 10586"/>
                <a:gd name="connsiteY1987" fmla="*/ 3581 h 10000"/>
                <a:gd name="connsiteX1988" fmla="*/ 2161 w 10586"/>
                <a:gd name="connsiteY1988" fmla="*/ 3598 h 10000"/>
                <a:gd name="connsiteX1989" fmla="*/ 2194 w 10586"/>
                <a:gd name="connsiteY1989" fmla="*/ 3752 h 10000"/>
                <a:gd name="connsiteX1990" fmla="*/ 2194 w 10586"/>
                <a:gd name="connsiteY1990" fmla="*/ 3735 h 10000"/>
                <a:gd name="connsiteX1991" fmla="*/ 2198 w 10586"/>
                <a:gd name="connsiteY1991" fmla="*/ 3735 h 10000"/>
                <a:gd name="connsiteX1992" fmla="*/ 2189 w 10586"/>
                <a:gd name="connsiteY1992" fmla="*/ 3838 h 10000"/>
                <a:gd name="connsiteX1993" fmla="*/ 2166 w 10586"/>
                <a:gd name="connsiteY1993" fmla="*/ 3889 h 10000"/>
                <a:gd name="connsiteX1994" fmla="*/ 2124 w 10586"/>
                <a:gd name="connsiteY1994" fmla="*/ 3889 h 10000"/>
                <a:gd name="connsiteX1995" fmla="*/ 2124 w 10586"/>
                <a:gd name="connsiteY1995" fmla="*/ 3923 h 10000"/>
                <a:gd name="connsiteX1996" fmla="*/ 2134 w 10586"/>
                <a:gd name="connsiteY1996" fmla="*/ 3940 h 10000"/>
                <a:gd name="connsiteX1997" fmla="*/ 2134 w 10586"/>
                <a:gd name="connsiteY1997" fmla="*/ 3966 h 10000"/>
                <a:gd name="connsiteX1998" fmla="*/ 2120 w 10586"/>
                <a:gd name="connsiteY1998" fmla="*/ 4000 h 10000"/>
                <a:gd name="connsiteX1999" fmla="*/ 2106 w 10586"/>
                <a:gd name="connsiteY1999" fmla="*/ 4009 h 10000"/>
                <a:gd name="connsiteX2000" fmla="*/ 2088 w 10586"/>
                <a:gd name="connsiteY2000" fmla="*/ 4000 h 10000"/>
                <a:gd name="connsiteX2001" fmla="*/ 2074 w 10586"/>
                <a:gd name="connsiteY2001" fmla="*/ 3974 h 10000"/>
                <a:gd name="connsiteX2002" fmla="*/ 2074 w 10586"/>
                <a:gd name="connsiteY2002" fmla="*/ 3940 h 10000"/>
                <a:gd name="connsiteX2003" fmla="*/ 2078 w 10586"/>
                <a:gd name="connsiteY2003" fmla="*/ 3915 h 10000"/>
                <a:gd name="connsiteX2004" fmla="*/ 2088 w 10586"/>
                <a:gd name="connsiteY2004" fmla="*/ 3889 h 10000"/>
                <a:gd name="connsiteX2005" fmla="*/ 2101 w 10586"/>
                <a:gd name="connsiteY2005" fmla="*/ 3872 h 10000"/>
                <a:gd name="connsiteX2006" fmla="*/ 2074 w 10586"/>
                <a:gd name="connsiteY2006" fmla="*/ 3812 h 10000"/>
                <a:gd name="connsiteX2007" fmla="*/ 2074 w 10586"/>
                <a:gd name="connsiteY2007" fmla="*/ 3786 h 10000"/>
                <a:gd name="connsiteX2008" fmla="*/ 2060 w 10586"/>
                <a:gd name="connsiteY2008" fmla="*/ 3786 h 10000"/>
                <a:gd name="connsiteX2009" fmla="*/ 2014 w 10586"/>
                <a:gd name="connsiteY2009" fmla="*/ 3829 h 10000"/>
                <a:gd name="connsiteX2010" fmla="*/ 2000 w 10586"/>
                <a:gd name="connsiteY2010" fmla="*/ 3863 h 10000"/>
                <a:gd name="connsiteX2011" fmla="*/ 1986 w 10586"/>
                <a:gd name="connsiteY2011" fmla="*/ 3872 h 10000"/>
                <a:gd name="connsiteX2012" fmla="*/ 1959 w 10586"/>
                <a:gd name="connsiteY2012" fmla="*/ 3940 h 10000"/>
                <a:gd name="connsiteX2013" fmla="*/ 1945 w 10586"/>
                <a:gd name="connsiteY2013" fmla="*/ 3949 h 10000"/>
                <a:gd name="connsiteX2014" fmla="*/ 1940 w 10586"/>
                <a:gd name="connsiteY2014" fmla="*/ 3923 h 10000"/>
                <a:gd name="connsiteX2015" fmla="*/ 1917 w 10586"/>
                <a:gd name="connsiteY2015" fmla="*/ 3915 h 10000"/>
                <a:gd name="connsiteX2016" fmla="*/ 1899 w 10586"/>
                <a:gd name="connsiteY2016" fmla="*/ 3923 h 10000"/>
                <a:gd name="connsiteX2017" fmla="*/ 1880 w 10586"/>
                <a:gd name="connsiteY2017" fmla="*/ 3915 h 10000"/>
                <a:gd name="connsiteX2018" fmla="*/ 1853 w 10586"/>
                <a:gd name="connsiteY2018" fmla="*/ 3940 h 10000"/>
                <a:gd name="connsiteX2019" fmla="*/ 1839 w 10586"/>
                <a:gd name="connsiteY2019" fmla="*/ 3940 h 10000"/>
                <a:gd name="connsiteX2020" fmla="*/ 1806 w 10586"/>
                <a:gd name="connsiteY2020" fmla="*/ 3983 h 10000"/>
                <a:gd name="connsiteX2021" fmla="*/ 1806 w 10586"/>
                <a:gd name="connsiteY2021" fmla="*/ 4000 h 10000"/>
                <a:gd name="connsiteX2022" fmla="*/ 1797 w 10586"/>
                <a:gd name="connsiteY2022" fmla="*/ 4077 h 10000"/>
                <a:gd name="connsiteX2023" fmla="*/ 1783 w 10586"/>
                <a:gd name="connsiteY2023" fmla="*/ 4077 h 10000"/>
                <a:gd name="connsiteX2024" fmla="*/ 1779 w 10586"/>
                <a:gd name="connsiteY2024" fmla="*/ 4051 h 10000"/>
                <a:gd name="connsiteX2025" fmla="*/ 1765 w 10586"/>
                <a:gd name="connsiteY2025" fmla="*/ 4026 h 10000"/>
                <a:gd name="connsiteX2026" fmla="*/ 1751 w 10586"/>
                <a:gd name="connsiteY2026" fmla="*/ 4051 h 10000"/>
                <a:gd name="connsiteX2027" fmla="*/ 1737 w 10586"/>
                <a:gd name="connsiteY2027" fmla="*/ 4009 h 10000"/>
                <a:gd name="connsiteX2028" fmla="*/ 1737 w 10586"/>
                <a:gd name="connsiteY2028" fmla="*/ 3966 h 10000"/>
                <a:gd name="connsiteX2029" fmla="*/ 1733 w 10586"/>
                <a:gd name="connsiteY2029" fmla="*/ 3940 h 10000"/>
                <a:gd name="connsiteX2030" fmla="*/ 1733 w 10586"/>
                <a:gd name="connsiteY2030" fmla="*/ 3923 h 10000"/>
                <a:gd name="connsiteX2031" fmla="*/ 1747 w 10586"/>
                <a:gd name="connsiteY2031" fmla="*/ 3889 h 10000"/>
                <a:gd name="connsiteX2032" fmla="*/ 1747 w 10586"/>
                <a:gd name="connsiteY2032" fmla="*/ 3863 h 10000"/>
                <a:gd name="connsiteX2033" fmla="*/ 1737 w 10586"/>
                <a:gd name="connsiteY2033" fmla="*/ 3838 h 10000"/>
                <a:gd name="connsiteX2034" fmla="*/ 1733 w 10586"/>
                <a:gd name="connsiteY2034" fmla="*/ 3829 h 10000"/>
                <a:gd name="connsiteX2035" fmla="*/ 1733 w 10586"/>
                <a:gd name="connsiteY2035" fmla="*/ 3846 h 10000"/>
                <a:gd name="connsiteX2036" fmla="*/ 1724 w 10586"/>
                <a:gd name="connsiteY2036" fmla="*/ 3846 h 10000"/>
                <a:gd name="connsiteX2037" fmla="*/ 1724 w 10586"/>
                <a:gd name="connsiteY2037" fmla="*/ 3829 h 10000"/>
                <a:gd name="connsiteX2038" fmla="*/ 1737 w 10586"/>
                <a:gd name="connsiteY2038" fmla="*/ 3812 h 10000"/>
                <a:gd name="connsiteX2039" fmla="*/ 1765 w 10586"/>
                <a:gd name="connsiteY2039" fmla="*/ 3812 h 10000"/>
                <a:gd name="connsiteX2040" fmla="*/ 1779 w 10586"/>
                <a:gd name="connsiteY2040" fmla="*/ 3786 h 10000"/>
                <a:gd name="connsiteX2041" fmla="*/ 1779 w 10586"/>
                <a:gd name="connsiteY2041" fmla="*/ 3786 h 10000"/>
                <a:gd name="connsiteX2042" fmla="*/ 1751 w 10586"/>
                <a:gd name="connsiteY2042" fmla="*/ 3803 h 10000"/>
                <a:gd name="connsiteX2043" fmla="*/ 1747 w 10586"/>
                <a:gd name="connsiteY2043" fmla="*/ 3803 h 10000"/>
                <a:gd name="connsiteX2044" fmla="*/ 1724 w 10586"/>
                <a:gd name="connsiteY2044" fmla="*/ 3803 h 10000"/>
                <a:gd name="connsiteX2045" fmla="*/ 1700 w 10586"/>
                <a:gd name="connsiteY2045" fmla="*/ 3829 h 10000"/>
                <a:gd name="connsiteX2046" fmla="*/ 1705 w 10586"/>
                <a:gd name="connsiteY2046" fmla="*/ 3846 h 10000"/>
                <a:gd name="connsiteX2047" fmla="*/ 1691 w 10586"/>
                <a:gd name="connsiteY2047" fmla="*/ 3846 h 10000"/>
                <a:gd name="connsiteX2048" fmla="*/ 1691 w 10586"/>
                <a:gd name="connsiteY2048" fmla="*/ 3863 h 10000"/>
                <a:gd name="connsiteX2049" fmla="*/ 1691 w 10586"/>
                <a:gd name="connsiteY2049" fmla="*/ 3915 h 10000"/>
                <a:gd name="connsiteX2050" fmla="*/ 1677 w 10586"/>
                <a:gd name="connsiteY2050" fmla="*/ 3923 h 10000"/>
                <a:gd name="connsiteX2051" fmla="*/ 1673 w 10586"/>
                <a:gd name="connsiteY2051" fmla="*/ 3915 h 10000"/>
                <a:gd name="connsiteX2052" fmla="*/ 1664 w 10586"/>
                <a:gd name="connsiteY2052" fmla="*/ 3889 h 10000"/>
                <a:gd name="connsiteX2053" fmla="*/ 1673 w 10586"/>
                <a:gd name="connsiteY2053" fmla="*/ 3872 h 10000"/>
                <a:gd name="connsiteX2054" fmla="*/ 1664 w 10586"/>
                <a:gd name="connsiteY2054" fmla="*/ 3872 h 10000"/>
                <a:gd name="connsiteX2055" fmla="*/ 1636 w 10586"/>
                <a:gd name="connsiteY2055" fmla="*/ 3923 h 10000"/>
                <a:gd name="connsiteX2056" fmla="*/ 1645 w 10586"/>
                <a:gd name="connsiteY2056" fmla="*/ 3923 h 10000"/>
                <a:gd name="connsiteX2057" fmla="*/ 1650 w 10586"/>
                <a:gd name="connsiteY2057" fmla="*/ 3949 h 10000"/>
                <a:gd name="connsiteX2058" fmla="*/ 1650 w 10586"/>
                <a:gd name="connsiteY2058" fmla="*/ 3983 h 10000"/>
                <a:gd name="connsiteX2059" fmla="*/ 1636 w 10586"/>
                <a:gd name="connsiteY2059" fmla="*/ 4000 h 10000"/>
                <a:gd name="connsiteX2060" fmla="*/ 1631 w 10586"/>
                <a:gd name="connsiteY2060" fmla="*/ 4009 h 10000"/>
                <a:gd name="connsiteX2061" fmla="*/ 1618 w 10586"/>
                <a:gd name="connsiteY2061" fmla="*/ 3949 h 10000"/>
                <a:gd name="connsiteX2062" fmla="*/ 1585 w 10586"/>
                <a:gd name="connsiteY2062" fmla="*/ 3966 h 10000"/>
                <a:gd name="connsiteX2063" fmla="*/ 1590 w 10586"/>
                <a:gd name="connsiteY2063" fmla="*/ 3974 h 10000"/>
                <a:gd name="connsiteX2064" fmla="*/ 1544 w 10586"/>
                <a:gd name="connsiteY2064" fmla="*/ 4009 h 10000"/>
                <a:gd name="connsiteX2065" fmla="*/ 1539 w 10586"/>
                <a:gd name="connsiteY2065" fmla="*/ 4009 h 10000"/>
                <a:gd name="connsiteX2066" fmla="*/ 1410 w 10586"/>
                <a:gd name="connsiteY2066" fmla="*/ 4188 h 10000"/>
                <a:gd name="connsiteX2067" fmla="*/ 1406 w 10586"/>
                <a:gd name="connsiteY2067" fmla="*/ 4171 h 10000"/>
                <a:gd name="connsiteX2068" fmla="*/ 1396 w 10586"/>
                <a:gd name="connsiteY2068" fmla="*/ 4214 h 10000"/>
                <a:gd name="connsiteX2069" fmla="*/ 1406 w 10586"/>
                <a:gd name="connsiteY2069" fmla="*/ 4222 h 10000"/>
                <a:gd name="connsiteX2070" fmla="*/ 1392 w 10586"/>
                <a:gd name="connsiteY2070" fmla="*/ 4239 h 10000"/>
                <a:gd name="connsiteX2071" fmla="*/ 1369 w 10586"/>
                <a:gd name="connsiteY2071" fmla="*/ 4248 h 10000"/>
                <a:gd name="connsiteX2072" fmla="*/ 1355 w 10586"/>
                <a:gd name="connsiteY2072" fmla="*/ 4256 h 10000"/>
                <a:gd name="connsiteX2073" fmla="*/ 1350 w 10586"/>
                <a:gd name="connsiteY2073" fmla="*/ 4248 h 10000"/>
                <a:gd name="connsiteX2074" fmla="*/ 1332 w 10586"/>
                <a:gd name="connsiteY2074" fmla="*/ 4376 h 10000"/>
                <a:gd name="connsiteX2075" fmla="*/ 1332 w 10586"/>
                <a:gd name="connsiteY2075" fmla="*/ 4436 h 10000"/>
                <a:gd name="connsiteX2076" fmla="*/ 1323 w 10586"/>
                <a:gd name="connsiteY2076" fmla="*/ 4462 h 10000"/>
                <a:gd name="connsiteX2077" fmla="*/ 1304 w 10586"/>
                <a:gd name="connsiteY2077" fmla="*/ 4487 h 10000"/>
                <a:gd name="connsiteX2078" fmla="*/ 1290 w 10586"/>
                <a:gd name="connsiteY2078" fmla="*/ 4470 h 10000"/>
                <a:gd name="connsiteX2079" fmla="*/ 1263 w 10586"/>
                <a:gd name="connsiteY2079" fmla="*/ 4496 h 10000"/>
                <a:gd name="connsiteX2080" fmla="*/ 1258 w 10586"/>
                <a:gd name="connsiteY2080" fmla="*/ 4547 h 10000"/>
                <a:gd name="connsiteX2081" fmla="*/ 1249 w 10586"/>
                <a:gd name="connsiteY2081" fmla="*/ 4487 h 10000"/>
                <a:gd name="connsiteX2082" fmla="*/ 1235 w 10586"/>
                <a:gd name="connsiteY2082" fmla="*/ 4496 h 10000"/>
                <a:gd name="connsiteX2083" fmla="*/ 1221 w 10586"/>
                <a:gd name="connsiteY2083" fmla="*/ 4496 h 10000"/>
                <a:gd name="connsiteX2084" fmla="*/ 1217 w 10586"/>
                <a:gd name="connsiteY2084" fmla="*/ 4487 h 10000"/>
                <a:gd name="connsiteX2085" fmla="*/ 1198 w 10586"/>
                <a:gd name="connsiteY2085" fmla="*/ 4410 h 10000"/>
                <a:gd name="connsiteX2086" fmla="*/ 1157 w 10586"/>
                <a:gd name="connsiteY2086" fmla="*/ 4333 h 10000"/>
                <a:gd name="connsiteX2087" fmla="*/ 1147 w 10586"/>
                <a:gd name="connsiteY2087" fmla="*/ 4299 h 10000"/>
                <a:gd name="connsiteX2088" fmla="*/ 1147 w 10586"/>
                <a:gd name="connsiteY2088" fmla="*/ 4274 h 10000"/>
                <a:gd name="connsiteX2089" fmla="*/ 1161 w 10586"/>
                <a:gd name="connsiteY2089" fmla="*/ 4256 h 10000"/>
                <a:gd name="connsiteX2090" fmla="*/ 1171 w 10586"/>
                <a:gd name="connsiteY2090" fmla="*/ 4248 h 10000"/>
                <a:gd name="connsiteX2091" fmla="*/ 1175 w 10586"/>
                <a:gd name="connsiteY2091" fmla="*/ 4214 h 10000"/>
                <a:gd name="connsiteX2092" fmla="*/ 1263 w 10586"/>
                <a:gd name="connsiteY2092" fmla="*/ 4171 h 10000"/>
                <a:gd name="connsiteX2093" fmla="*/ 1249 w 10586"/>
                <a:gd name="connsiteY2093" fmla="*/ 4137 h 10000"/>
                <a:gd name="connsiteX2094" fmla="*/ 1244 w 10586"/>
                <a:gd name="connsiteY2094" fmla="*/ 4060 h 10000"/>
                <a:gd name="connsiteX2095" fmla="*/ 1230 w 10586"/>
                <a:gd name="connsiteY2095" fmla="*/ 4077 h 10000"/>
                <a:gd name="connsiteX2096" fmla="*/ 1221 w 10586"/>
                <a:gd name="connsiteY2096" fmla="*/ 4026 h 10000"/>
                <a:gd name="connsiteX2097" fmla="*/ 1217 w 10586"/>
                <a:gd name="connsiteY2097" fmla="*/ 4026 h 10000"/>
                <a:gd name="connsiteX2098" fmla="*/ 1212 w 10586"/>
                <a:gd name="connsiteY2098" fmla="*/ 3983 h 10000"/>
                <a:gd name="connsiteX2099" fmla="*/ 1203 w 10586"/>
                <a:gd name="connsiteY2099" fmla="*/ 3966 h 10000"/>
                <a:gd name="connsiteX2100" fmla="*/ 1171 w 10586"/>
                <a:gd name="connsiteY2100" fmla="*/ 3949 h 10000"/>
                <a:gd name="connsiteX2101" fmla="*/ 1111 w 10586"/>
                <a:gd name="connsiteY2101" fmla="*/ 3940 h 10000"/>
                <a:gd name="connsiteX2102" fmla="*/ 1097 w 10586"/>
                <a:gd name="connsiteY2102" fmla="*/ 3949 h 10000"/>
                <a:gd name="connsiteX2103" fmla="*/ 1037 w 10586"/>
                <a:gd name="connsiteY2103" fmla="*/ 3897 h 10000"/>
                <a:gd name="connsiteX2104" fmla="*/ 1041 w 10586"/>
                <a:gd name="connsiteY2104" fmla="*/ 3923 h 10000"/>
                <a:gd name="connsiteX2105" fmla="*/ 1097 w 10586"/>
                <a:gd name="connsiteY2105" fmla="*/ 4009 h 10000"/>
                <a:gd name="connsiteX2106" fmla="*/ 1097 w 10586"/>
                <a:gd name="connsiteY2106" fmla="*/ 4120 h 10000"/>
                <a:gd name="connsiteX2107" fmla="*/ 1097 w 10586"/>
                <a:gd name="connsiteY2107" fmla="*/ 4162 h 10000"/>
                <a:gd name="connsiteX2108" fmla="*/ 1097 w 10586"/>
                <a:gd name="connsiteY2108" fmla="*/ 4197 h 10000"/>
                <a:gd name="connsiteX2109" fmla="*/ 1074 w 10586"/>
                <a:gd name="connsiteY2109" fmla="*/ 4333 h 10000"/>
                <a:gd name="connsiteX2110" fmla="*/ 1074 w 10586"/>
                <a:gd name="connsiteY2110" fmla="*/ 4376 h 10000"/>
                <a:gd name="connsiteX2111" fmla="*/ 1083 w 10586"/>
                <a:gd name="connsiteY2111" fmla="*/ 4385 h 10000"/>
                <a:gd name="connsiteX2112" fmla="*/ 1097 w 10586"/>
                <a:gd name="connsiteY2112" fmla="*/ 4385 h 10000"/>
                <a:gd name="connsiteX2113" fmla="*/ 1111 w 10586"/>
                <a:gd name="connsiteY2113" fmla="*/ 4410 h 10000"/>
                <a:gd name="connsiteX2114" fmla="*/ 1124 w 10586"/>
                <a:gd name="connsiteY2114" fmla="*/ 4444 h 10000"/>
                <a:gd name="connsiteX2115" fmla="*/ 1124 w 10586"/>
                <a:gd name="connsiteY2115" fmla="*/ 4470 h 10000"/>
                <a:gd name="connsiteX2116" fmla="*/ 1115 w 10586"/>
                <a:gd name="connsiteY2116" fmla="*/ 4513 h 10000"/>
                <a:gd name="connsiteX2117" fmla="*/ 1115 w 10586"/>
                <a:gd name="connsiteY2117" fmla="*/ 4530 h 10000"/>
                <a:gd name="connsiteX2118" fmla="*/ 1115 w 10586"/>
                <a:gd name="connsiteY2118" fmla="*/ 4573 h 10000"/>
                <a:gd name="connsiteX2119" fmla="*/ 1101 w 10586"/>
                <a:gd name="connsiteY2119" fmla="*/ 4607 h 10000"/>
                <a:gd name="connsiteX2120" fmla="*/ 1097 w 10586"/>
                <a:gd name="connsiteY2120" fmla="*/ 4658 h 10000"/>
                <a:gd name="connsiteX2121" fmla="*/ 1101 w 10586"/>
                <a:gd name="connsiteY2121" fmla="*/ 4692 h 10000"/>
                <a:gd name="connsiteX2122" fmla="*/ 1097 w 10586"/>
                <a:gd name="connsiteY2122" fmla="*/ 4778 h 10000"/>
                <a:gd name="connsiteX2123" fmla="*/ 1083 w 10586"/>
                <a:gd name="connsiteY2123" fmla="*/ 4744 h 10000"/>
                <a:gd name="connsiteX2124" fmla="*/ 1083 w 10586"/>
                <a:gd name="connsiteY2124" fmla="*/ 4718 h 10000"/>
                <a:gd name="connsiteX2125" fmla="*/ 1074 w 10586"/>
                <a:gd name="connsiteY2125" fmla="*/ 4692 h 10000"/>
                <a:gd name="connsiteX2126" fmla="*/ 1065 w 10586"/>
                <a:gd name="connsiteY2126" fmla="*/ 4692 h 10000"/>
                <a:gd name="connsiteX2127" fmla="*/ 1051 w 10586"/>
                <a:gd name="connsiteY2127" fmla="*/ 4718 h 10000"/>
                <a:gd name="connsiteX2128" fmla="*/ 1055 w 10586"/>
                <a:gd name="connsiteY2128" fmla="*/ 4692 h 10000"/>
                <a:gd name="connsiteX2129" fmla="*/ 1055 w 10586"/>
                <a:gd name="connsiteY2129" fmla="*/ 4667 h 10000"/>
                <a:gd name="connsiteX2130" fmla="*/ 1028 w 10586"/>
                <a:gd name="connsiteY2130" fmla="*/ 4624 h 10000"/>
                <a:gd name="connsiteX2131" fmla="*/ 1005 w 10586"/>
                <a:gd name="connsiteY2131" fmla="*/ 4624 h 10000"/>
                <a:gd name="connsiteX2132" fmla="*/ 977 w 10586"/>
                <a:gd name="connsiteY2132" fmla="*/ 4581 h 10000"/>
                <a:gd name="connsiteX2133" fmla="*/ 963 w 10586"/>
                <a:gd name="connsiteY2133" fmla="*/ 4607 h 10000"/>
                <a:gd name="connsiteX2134" fmla="*/ 963 w 10586"/>
                <a:gd name="connsiteY2134" fmla="*/ 4632 h 10000"/>
                <a:gd name="connsiteX2135" fmla="*/ 917 w 10586"/>
                <a:gd name="connsiteY2135" fmla="*/ 4718 h 10000"/>
                <a:gd name="connsiteX2136" fmla="*/ 889 w 10586"/>
                <a:gd name="connsiteY2136" fmla="*/ 4744 h 10000"/>
                <a:gd name="connsiteX2137" fmla="*/ 880 w 10586"/>
                <a:gd name="connsiteY2137" fmla="*/ 4744 h 10000"/>
                <a:gd name="connsiteX2138" fmla="*/ 862 w 10586"/>
                <a:gd name="connsiteY2138" fmla="*/ 4769 h 10000"/>
                <a:gd name="connsiteX2139" fmla="*/ 857 w 10586"/>
                <a:gd name="connsiteY2139" fmla="*/ 4795 h 10000"/>
                <a:gd name="connsiteX2140" fmla="*/ 829 w 10586"/>
                <a:gd name="connsiteY2140" fmla="*/ 4846 h 10000"/>
                <a:gd name="connsiteX2141" fmla="*/ 816 w 10586"/>
                <a:gd name="connsiteY2141" fmla="*/ 4855 h 10000"/>
                <a:gd name="connsiteX2142" fmla="*/ 816 w 10586"/>
                <a:gd name="connsiteY2142" fmla="*/ 4940 h 10000"/>
                <a:gd name="connsiteX2143" fmla="*/ 880 w 10586"/>
                <a:gd name="connsiteY2143" fmla="*/ 5179 h 10000"/>
                <a:gd name="connsiteX2144" fmla="*/ 880 w 10586"/>
                <a:gd name="connsiteY2144" fmla="*/ 5188 h 10000"/>
                <a:gd name="connsiteX2145" fmla="*/ 862 w 10586"/>
                <a:gd name="connsiteY2145" fmla="*/ 5171 h 10000"/>
                <a:gd name="connsiteX2146" fmla="*/ 857 w 10586"/>
                <a:gd name="connsiteY2146" fmla="*/ 5171 h 10000"/>
                <a:gd name="connsiteX2147" fmla="*/ 820 w 10586"/>
                <a:gd name="connsiteY2147" fmla="*/ 5145 h 10000"/>
                <a:gd name="connsiteX2148" fmla="*/ 820 w 10586"/>
                <a:gd name="connsiteY2148" fmla="*/ 5154 h 10000"/>
                <a:gd name="connsiteX2149" fmla="*/ 816 w 10586"/>
                <a:gd name="connsiteY2149" fmla="*/ 5171 h 10000"/>
                <a:gd name="connsiteX2150" fmla="*/ 783 w 10586"/>
                <a:gd name="connsiteY2150" fmla="*/ 5145 h 10000"/>
                <a:gd name="connsiteX2151" fmla="*/ 756 w 10586"/>
                <a:gd name="connsiteY2151" fmla="*/ 5103 h 10000"/>
                <a:gd name="connsiteX2152" fmla="*/ 742 w 10586"/>
                <a:gd name="connsiteY2152" fmla="*/ 5103 h 10000"/>
                <a:gd name="connsiteX2153" fmla="*/ 728 w 10586"/>
                <a:gd name="connsiteY2153" fmla="*/ 5094 h 10000"/>
                <a:gd name="connsiteX2154" fmla="*/ 710 w 10586"/>
                <a:gd name="connsiteY2154" fmla="*/ 5120 h 10000"/>
                <a:gd name="connsiteX2155" fmla="*/ 700 w 10586"/>
                <a:gd name="connsiteY2155" fmla="*/ 5145 h 10000"/>
                <a:gd name="connsiteX2156" fmla="*/ 696 w 10586"/>
                <a:gd name="connsiteY2156" fmla="*/ 5103 h 10000"/>
                <a:gd name="connsiteX2157" fmla="*/ 714 w 10586"/>
                <a:gd name="connsiteY2157" fmla="*/ 5077 h 10000"/>
                <a:gd name="connsiteX2158" fmla="*/ 682 w 10586"/>
                <a:gd name="connsiteY2158" fmla="*/ 5068 h 10000"/>
                <a:gd name="connsiteX2159" fmla="*/ 673 w 10586"/>
                <a:gd name="connsiteY2159" fmla="*/ 5034 h 10000"/>
                <a:gd name="connsiteX2160" fmla="*/ 636 w 10586"/>
                <a:gd name="connsiteY2160" fmla="*/ 4991 h 10000"/>
                <a:gd name="connsiteX2161" fmla="*/ 622 w 10586"/>
                <a:gd name="connsiteY2161" fmla="*/ 4983 h 10000"/>
                <a:gd name="connsiteX2162" fmla="*/ 622 w 10586"/>
                <a:gd name="connsiteY2162" fmla="*/ 5034 h 10000"/>
                <a:gd name="connsiteX2163" fmla="*/ 608 w 10586"/>
                <a:gd name="connsiteY2163" fmla="*/ 5051 h 10000"/>
                <a:gd name="connsiteX2164" fmla="*/ 594 w 10586"/>
                <a:gd name="connsiteY2164" fmla="*/ 5068 h 10000"/>
                <a:gd name="connsiteX2165" fmla="*/ 608 w 10586"/>
                <a:gd name="connsiteY2165" fmla="*/ 5120 h 10000"/>
                <a:gd name="connsiteX2166" fmla="*/ 613 w 10586"/>
                <a:gd name="connsiteY2166" fmla="*/ 5128 h 10000"/>
                <a:gd name="connsiteX2167" fmla="*/ 627 w 10586"/>
                <a:gd name="connsiteY2167" fmla="*/ 5179 h 10000"/>
                <a:gd name="connsiteX2168" fmla="*/ 650 w 10586"/>
                <a:gd name="connsiteY2168" fmla="*/ 5214 h 10000"/>
                <a:gd name="connsiteX2169" fmla="*/ 687 w 10586"/>
                <a:gd name="connsiteY2169" fmla="*/ 5188 h 10000"/>
                <a:gd name="connsiteX2170" fmla="*/ 700 w 10586"/>
                <a:gd name="connsiteY2170" fmla="*/ 5325 h 10000"/>
                <a:gd name="connsiteX2171" fmla="*/ 710 w 10586"/>
                <a:gd name="connsiteY2171" fmla="*/ 5350 h 10000"/>
                <a:gd name="connsiteX2172" fmla="*/ 687 w 10586"/>
                <a:gd name="connsiteY2172" fmla="*/ 5325 h 10000"/>
                <a:gd name="connsiteX2173" fmla="*/ 668 w 10586"/>
                <a:gd name="connsiteY2173" fmla="*/ 5350 h 10000"/>
                <a:gd name="connsiteX2174" fmla="*/ 668 w 10586"/>
                <a:gd name="connsiteY2174" fmla="*/ 5368 h 10000"/>
                <a:gd name="connsiteX2175" fmla="*/ 668 w 10586"/>
                <a:gd name="connsiteY2175" fmla="*/ 5376 h 10000"/>
                <a:gd name="connsiteX2176" fmla="*/ 581 w 10586"/>
                <a:gd name="connsiteY2176" fmla="*/ 5316 h 10000"/>
                <a:gd name="connsiteX2177" fmla="*/ 567 w 10586"/>
                <a:gd name="connsiteY2177" fmla="*/ 5265 h 10000"/>
                <a:gd name="connsiteX2178" fmla="*/ 562 w 10586"/>
                <a:gd name="connsiteY2178" fmla="*/ 5256 h 10000"/>
                <a:gd name="connsiteX2179" fmla="*/ 548 w 10586"/>
                <a:gd name="connsiteY2179" fmla="*/ 5231 h 10000"/>
                <a:gd name="connsiteX2180" fmla="*/ 535 w 10586"/>
                <a:gd name="connsiteY2180" fmla="*/ 5214 h 10000"/>
                <a:gd name="connsiteX2181" fmla="*/ 525 w 10586"/>
                <a:gd name="connsiteY2181" fmla="*/ 5231 h 10000"/>
                <a:gd name="connsiteX2182" fmla="*/ 521 w 10586"/>
                <a:gd name="connsiteY2182" fmla="*/ 5231 h 10000"/>
                <a:gd name="connsiteX2183" fmla="*/ 493 w 10586"/>
                <a:gd name="connsiteY2183" fmla="*/ 5205 h 10000"/>
                <a:gd name="connsiteX2184" fmla="*/ 488 w 10586"/>
                <a:gd name="connsiteY2184" fmla="*/ 5179 h 10000"/>
                <a:gd name="connsiteX2185" fmla="*/ 475 w 10586"/>
                <a:gd name="connsiteY2185" fmla="*/ 5188 h 10000"/>
                <a:gd name="connsiteX2186" fmla="*/ 475 w 10586"/>
                <a:gd name="connsiteY2186" fmla="*/ 5171 h 10000"/>
                <a:gd name="connsiteX2187" fmla="*/ 488 w 10586"/>
                <a:gd name="connsiteY2187" fmla="*/ 5154 h 10000"/>
                <a:gd name="connsiteX2188" fmla="*/ 488 w 10586"/>
                <a:gd name="connsiteY2188" fmla="*/ 5068 h 10000"/>
                <a:gd name="connsiteX2189" fmla="*/ 475 w 10586"/>
                <a:gd name="connsiteY2189" fmla="*/ 5051 h 10000"/>
                <a:gd name="connsiteX2190" fmla="*/ 475 w 10586"/>
                <a:gd name="connsiteY2190" fmla="*/ 5017 h 10000"/>
                <a:gd name="connsiteX2191" fmla="*/ 452 w 10586"/>
                <a:gd name="connsiteY2191" fmla="*/ 4932 h 10000"/>
                <a:gd name="connsiteX2192" fmla="*/ 461 w 10586"/>
                <a:gd name="connsiteY2192" fmla="*/ 4915 h 10000"/>
                <a:gd name="connsiteX2193" fmla="*/ 475 w 10586"/>
                <a:gd name="connsiteY2193" fmla="*/ 4906 h 10000"/>
                <a:gd name="connsiteX2194" fmla="*/ 479 w 10586"/>
                <a:gd name="connsiteY2194" fmla="*/ 4803 h 10000"/>
                <a:gd name="connsiteX2195" fmla="*/ 479 w 10586"/>
                <a:gd name="connsiteY2195" fmla="*/ 4778 h 10000"/>
                <a:gd name="connsiteX2196" fmla="*/ 475 w 10586"/>
                <a:gd name="connsiteY2196" fmla="*/ 4761 h 10000"/>
                <a:gd name="connsiteX2197" fmla="*/ 465 w 10586"/>
                <a:gd name="connsiteY2197" fmla="*/ 4718 h 10000"/>
                <a:gd name="connsiteX2198" fmla="*/ 461 w 10586"/>
                <a:gd name="connsiteY2198" fmla="*/ 4709 h 10000"/>
                <a:gd name="connsiteX2199" fmla="*/ 442 w 10586"/>
                <a:gd name="connsiteY2199" fmla="*/ 4692 h 10000"/>
                <a:gd name="connsiteX2200" fmla="*/ 433 w 10586"/>
                <a:gd name="connsiteY2200" fmla="*/ 4667 h 10000"/>
                <a:gd name="connsiteX2201" fmla="*/ 419 w 10586"/>
                <a:gd name="connsiteY2201" fmla="*/ 4667 h 10000"/>
                <a:gd name="connsiteX2202" fmla="*/ 401 w 10586"/>
                <a:gd name="connsiteY2202" fmla="*/ 4658 h 10000"/>
                <a:gd name="connsiteX2203" fmla="*/ 401 w 10586"/>
                <a:gd name="connsiteY2203" fmla="*/ 4624 h 10000"/>
                <a:gd name="connsiteX2204" fmla="*/ 401 w 10586"/>
                <a:gd name="connsiteY2204" fmla="*/ 4607 h 10000"/>
                <a:gd name="connsiteX2205" fmla="*/ 378 w 10586"/>
                <a:gd name="connsiteY2205" fmla="*/ 4607 h 10000"/>
                <a:gd name="connsiteX2206" fmla="*/ 341 w 10586"/>
                <a:gd name="connsiteY2206" fmla="*/ 4530 h 10000"/>
                <a:gd name="connsiteX2207" fmla="*/ 346 w 10586"/>
                <a:gd name="connsiteY2207" fmla="*/ 4521 h 10000"/>
                <a:gd name="connsiteX2208" fmla="*/ 332 w 10586"/>
                <a:gd name="connsiteY2208" fmla="*/ 4487 h 10000"/>
                <a:gd name="connsiteX2209" fmla="*/ 327 w 10586"/>
                <a:gd name="connsiteY2209" fmla="*/ 4462 h 10000"/>
                <a:gd name="connsiteX2210" fmla="*/ 313 w 10586"/>
                <a:gd name="connsiteY2210" fmla="*/ 4436 h 10000"/>
                <a:gd name="connsiteX2211" fmla="*/ 300 w 10586"/>
                <a:gd name="connsiteY2211" fmla="*/ 4419 h 10000"/>
                <a:gd name="connsiteX2212" fmla="*/ 309 w 10586"/>
                <a:gd name="connsiteY2212" fmla="*/ 4393 h 10000"/>
                <a:gd name="connsiteX2213" fmla="*/ 332 w 10586"/>
                <a:gd name="connsiteY2213" fmla="*/ 4385 h 10000"/>
                <a:gd name="connsiteX2214" fmla="*/ 355 w 10586"/>
                <a:gd name="connsiteY2214" fmla="*/ 4419 h 10000"/>
                <a:gd name="connsiteX2215" fmla="*/ 355 w 10586"/>
                <a:gd name="connsiteY2215" fmla="*/ 4444 h 10000"/>
                <a:gd name="connsiteX2216" fmla="*/ 369 w 10586"/>
                <a:gd name="connsiteY2216" fmla="*/ 4470 h 10000"/>
                <a:gd name="connsiteX2217" fmla="*/ 401 w 10586"/>
                <a:gd name="connsiteY2217" fmla="*/ 4521 h 10000"/>
                <a:gd name="connsiteX2218" fmla="*/ 406 w 10586"/>
                <a:gd name="connsiteY2218" fmla="*/ 4513 h 10000"/>
                <a:gd name="connsiteX2219" fmla="*/ 406 w 10586"/>
                <a:gd name="connsiteY2219" fmla="*/ 4496 h 10000"/>
                <a:gd name="connsiteX2220" fmla="*/ 419 w 10586"/>
                <a:gd name="connsiteY2220" fmla="*/ 4521 h 10000"/>
                <a:gd name="connsiteX2221" fmla="*/ 429 w 10586"/>
                <a:gd name="connsiteY2221" fmla="*/ 4530 h 10000"/>
                <a:gd name="connsiteX2222" fmla="*/ 433 w 10586"/>
                <a:gd name="connsiteY2222" fmla="*/ 4521 h 10000"/>
                <a:gd name="connsiteX2223" fmla="*/ 442 w 10586"/>
                <a:gd name="connsiteY2223" fmla="*/ 4530 h 10000"/>
                <a:gd name="connsiteX2224" fmla="*/ 447 w 10586"/>
                <a:gd name="connsiteY2224" fmla="*/ 4521 h 10000"/>
                <a:gd name="connsiteX2225" fmla="*/ 452 w 10586"/>
                <a:gd name="connsiteY2225" fmla="*/ 4521 h 10000"/>
                <a:gd name="connsiteX2226" fmla="*/ 461 w 10586"/>
                <a:gd name="connsiteY2226" fmla="*/ 4573 h 10000"/>
                <a:gd name="connsiteX2227" fmla="*/ 479 w 10586"/>
                <a:gd name="connsiteY2227" fmla="*/ 4556 h 10000"/>
                <a:gd name="connsiteX2228" fmla="*/ 502 w 10586"/>
                <a:gd name="connsiteY2228" fmla="*/ 4573 h 10000"/>
                <a:gd name="connsiteX2229" fmla="*/ 507 w 10586"/>
                <a:gd name="connsiteY2229" fmla="*/ 4598 h 10000"/>
                <a:gd name="connsiteX2230" fmla="*/ 525 w 10586"/>
                <a:gd name="connsiteY2230" fmla="*/ 4598 h 10000"/>
                <a:gd name="connsiteX2231" fmla="*/ 535 w 10586"/>
                <a:gd name="connsiteY2231" fmla="*/ 4624 h 10000"/>
                <a:gd name="connsiteX2232" fmla="*/ 594 w 10586"/>
                <a:gd name="connsiteY2232" fmla="*/ 4658 h 10000"/>
                <a:gd name="connsiteX2233" fmla="*/ 627 w 10586"/>
                <a:gd name="connsiteY2233" fmla="*/ 4658 h 10000"/>
                <a:gd name="connsiteX2234" fmla="*/ 654 w 10586"/>
                <a:gd name="connsiteY2234" fmla="*/ 4684 h 10000"/>
                <a:gd name="connsiteX2235" fmla="*/ 668 w 10586"/>
                <a:gd name="connsiteY2235" fmla="*/ 4709 h 10000"/>
                <a:gd name="connsiteX2236" fmla="*/ 747 w 10586"/>
                <a:gd name="connsiteY2236" fmla="*/ 4718 h 10000"/>
                <a:gd name="connsiteX2237" fmla="*/ 760 w 10586"/>
                <a:gd name="connsiteY2237" fmla="*/ 4709 h 10000"/>
                <a:gd name="connsiteX2238" fmla="*/ 774 w 10586"/>
                <a:gd name="connsiteY2238" fmla="*/ 4692 h 10000"/>
                <a:gd name="connsiteX2239" fmla="*/ 829 w 10586"/>
                <a:gd name="connsiteY2239" fmla="*/ 4658 h 10000"/>
                <a:gd name="connsiteX2240" fmla="*/ 903 w 10586"/>
                <a:gd name="connsiteY2240" fmla="*/ 4496 h 10000"/>
                <a:gd name="connsiteX2241" fmla="*/ 917 w 10586"/>
                <a:gd name="connsiteY2241" fmla="*/ 4385 h 10000"/>
                <a:gd name="connsiteX2242" fmla="*/ 903 w 10586"/>
                <a:gd name="connsiteY2242" fmla="*/ 4376 h 10000"/>
                <a:gd name="connsiteX2243" fmla="*/ 903 w 10586"/>
                <a:gd name="connsiteY2243" fmla="*/ 4376 h 10000"/>
                <a:gd name="connsiteX2244" fmla="*/ 889 w 10586"/>
                <a:gd name="connsiteY2244" fmla="*/ 4239 h 10000"/>
                <a:gd name="connsiteX2245" fmla="*/ 880 w 10586"/>
                <a:gd name="connsiteY2245" fmla="*/ 4214 h 10000"/>
                <a:gd name="connsiteX2246" fmla="*/ 862 w 10586"/>
                <a:gd name="connsiteY2246" fmla="*/ 4188 h 10000"/>
                <a:gd name="connsiteX2247" fmla="*/ 857 w 10586"/>
                <a:gd name="connsiteY2247" fmla="*/ 4197 h 10000"/>
                <a:gd name="connsiteX2248" fmla="*/ 848 w 10586"/>
                <a:gd name="connsiteY2248" fmla="*/ 4188 h 10000"/>
                <a:gd name="connsiteX2249" fmla="*/ 848 w 10586"/>
                <a:gd name="connsiteY2249" fmla="*/ 4162 h 10000"/>
                <a:gd name="connsiteX2250" fmla="*/ 829 w 10586"/>
                <a:gd name="connsiteY2250" fmla="*/ 4120 h 10000"/>
                <a:gd name="connsiteX2251" fmla="*/ 820 w 10586"/>
                <a:gd name="connsiteY2251" fmla="*/ 4103 h 10000"/>
                <a:gd name="connsiteX2252" fmla="*/ 806 w 10586"/>
                <a:gd name="connsiteY2252" fmla="*/ 4077 h 10000"/>
                <a:gd name="connsiteX2253" fmla="*/ 816 w 10586"/>
                <a:gd name="connsiteY2253" fmla="*/ 4111 h 10000"/>
                <a:gd name="connsiteX2254" fmla="*/ 802 w 10586"/>
                <a:gd name="connsiteY2254" fmla="*/ 4111 h 10000"/>
                <a:gd name="connsiteX2255" fmla="*/ 770 w 10586"/>
                <a:gd name="connsiteY2255" fmla="*/ 4060 h 10000"/>
                <a:gd name="connsiteX2256" fmla="*/ 760 w 10586"/>
                <a:gd name="connsiteY2256" fmla="*/ 4077 h 10000"/>
                <a:gd name="connsiteX2257" fmla="*/ 760 w 10586"/>
                <a:gd name="connsiteY2257" fmla="*/ 4060 h 10000"/>
                <a:gd name="connsiteX2258" fmla="*/ 756 w 10586"/>
                <a:gd name="connsiteY2258" fmla="*/ 4034 h 10000"/>
                <a:gd name="connsiteX2259" fmla="*/ 742 w 10586"/>
                <a:gd name="connsiteY2259" fmla="*/ 4000 h 10000"/>
                <a:gd name="connsiteX2260" fmla="*/ 747 w 10586"/>
                <a:gd name="connsiteY2260" fmla="*/ 4034 h 10000"/>
                <a:gd name="connsiteX2261" fmla="*/ 724 w 10586"/>
                <a:gd name="connsiteY2261" fmla="*/ 4026 h 10000"/>
                <a:gd name="connsiteX2262" fmla="*/ 714 w 10586"/>
                <a:gd name="connsiteY2262" fmla="*/ 4000 h 10000"/>
                <a:gd name="connsiteX2263" fmla="*/ 714 w 10586"/>
                <a:gd name="connsiteY2263" fmla="*/ 3983 h 10000"/>
                <a:gd name="connsiteX2264" fmla="*/ 553 w 10586"/>
                <a:gd name="connsiteY2264" fmla="*/ 3726 h 10000"/>
                <a:gd name="connsiteX2265" fmla="*/ 507 w 10586"/>
                <a:gd name="connsiteY2265" fmla="*/ 3718 h 10000"/>
                <a:gd name="connsiteX2266" fmla="*/ 516 w 10586"/>
                <a:gd name="connsiteY2266" fmla="*/ 3726 h 10000"/>
                <a:gd name="connsiteX2267" fmla="*/ 507 w 10586"/>
                <a:gd name="connsiteY2267" fmla="*/ 3735 h 10000"/>
                <a:gd name="connsiteX2268" fmla="*/ 502 w 10586"/>
                <a:gd name="connsiteY2268" fmla="*/ 3735 h 10000"/>
                <a:gd name="connsiteX2269" fmla="*/ 419 w 10586"/>
                <a:gd name="connsiteY2269" fmla="*/ 3675 h 10000"/>
                <a:gd name="connsiteX2270" fmla="*/ 419 w 10586"/>
                <a:gd name="connsiteY2270" fmla="*/ 3692 h 10000"/>
                <a:gd name="connsiteX2271" fmla="*/ 401 w 10586"/>
                <a:gd name="connsiteY2271" fmla="*/ 3701 h 10000"/>
                <a:gd name="connsiteX2272" fmla="*/ 387 w 10586"/>
                <a:gd name="connsiteY2272" fmla="*/ 3718 h 10000"/>
                <a:gd name="connsiteX2273" fmla="*/ 387 w 10586"/>
                <a:gd name="connsiteY2273" fmla="*/ 3692 h 10000"/>
                <a:gd name="connsiteX2274" fmla="*/ 378 w 10586"/>
                <a:gd name="connsiteY2274" fmla="*/ 3675 h 10000"/>
                <a:gd name="connsiteX2275" fmla="*/ 378 w 10586"/>
                <a:gd name="connsiteY2275" fmla="*/ 3650 h 10000"/>
                <a:gd name="connsiteX2276" fmla="*/ 378 w 10586"/>
                <a:gd name="connsiteY2276" fmla="*/ 3650 h 10000"/>
                <a:gd name="connsiteX2277" fmla="*/ 355 w 10586"/>
                <a:gd name="connsiteY2277" fmla="*/ 3675 h 10000"/>
                <a:gd name="connsiteX2278" fmla="*/ 359 w 10586"/>
                <a:gd name="connsiteY2278" fmla="*/ 3641 h 10000"/>
                <a:gd name="connsiteX2279" fmla="*/ 346 w 10586"/>
                <a:gd name="connsiteY2279" fmla="*/ 3650 h 10000"/>
                <a:gd name="connsiteX2280" fmla="*/ 355 w 10586"/>
                <a:gd name="connsiteY2280" fmla="*/ 3624 h 10000"/>
                <a:gd name="connsiteX2281" fmla="*/ 346 w 10586"/>
                <a:gd name="connsiteY2281" fmla="*/ 3624 h 10000"/>
                <a:gd name="connsiteX2282" fmla="*/ 341 w 10586"/>
                <a:gd name="connsiteY2282" fmla="*/ 3624 h 10000"/>
                <a:gd name="connsiteX2283" fmla="*/ 318 w 10586"/>
                <a:gd name="connsiteY2283" fmla="*/ 3641 h 10000"/>
                <a:gd name="connsiteX2284" fmla="*/ 327 w 10586"/>
                <a:gd name="connsiteY2284" fmla="*/ 3624 h 10000"/>
                <a:gd name="connsiteX2285" fmla="*/ 318 w 10586"/>
                <a:gd name="connsiteY2285" fmla="*/ 3615 h 10000"/>
                <a:gd name="connsiteX2286" fmla="*/ 318 w 10586"/>
                <a:gd name="connsiteY2286" fmla="*/ 3598 h 10000"/>
                <a:gd name="connsiteX2287" fmla="*/ 300 w 10586"/>
                <a:gd name="connsiteY2287" fmla="*/ 3598 h 10000"/>
                <a:gd name="connsiteX2288" fmla="*/ 309 w 10586"/>
                <a:gd name="connsiteY2288" fmla="*/ 3538 h 10000"/>
                <a:gd name="connsiteX2289" fmla="*/ 313 w 10586"/>
                <a:gd name="connsiteY2289" fmla="*/ 3564 h 10000"/>
                <a:gd name="connsiteX2290" fmla="*/ 318 w 10586"/>
                <a:gd name="connsiteY2290" fmla="*/ 3581 h 10000"/>
                <a:gd name="connsiteX2291" fmla="*/ 327 w 10586"/>
                <a:gd name="connsiteY2291" fmla="*/ 3564 h 10000"/>
                <a:gd name="connsiteX2292" fmla="*/ 332 w 10586"/>
                <a:gd name="connsiteY2292" fmla="*/ 3590 h 10000"/>
                <a:gd name="connsiteX2293" fmla="*/ 346 w 10586"/>
                <a:gd name="connsiteY2293" fmla="*/ 3590 h 10000"/>
                <a:gd name="connsiteX2294" fmla="*/ 355 w 10586"/>
                <a:gd name="connsiteY2294" fmla="*/ 3590 h 10000"/>
                <a:gd name="connsiteX2295" fmla="*/ 369 w 10586"/>
                <a:gd name="connsiteY2295" fmla="*/ 3556 h 10000"/>
                <a:gd name="connsiteX2296" fmla="*/ 369 w 10586"/>
                <a:gd name="connsiteY2296" fmla="*/ 3538 h 10000"/>
                <a:gd name="connsiteX2297" fmla="*/ 346 w 10586"/>
                <a:gd name="connsiteY2297" fmla="*/ 3513 h 10000"/>
                <a:gd name="connsiteX2298" fmla="*/ 341 w 10586"/>
                <a:gd name="connsiteY2298" fmla="*/ 3530 h 10000"/>
                <a:gd name="connsiteX2299" fmla="*/ 327 w 10586"/>
                <a:gd name="connsiteY2299" fmla="*/ 3513 h 10000"/>
                <a:gd name="connsiteX2300" fmla="*/ 327 w 10586"/>
                <a:gd name="connsiteY2300" fmla="*/ 3504 h 10000"/>
                <a:gd name="connsiteX2301" fmla="*/ 295 w 10586"/>
                <a:gd name="connsiteY2301" fmla="*/ 3462 h 10000"/>
                <a:gd name="connsiteX2302" fmla="*/ 300 w 10586"/>
                <a:gd name="connsiteY2302" fmla="*/ 3479 h 10000"/>
                <a:gd name="connsiteX2303" fmla="*/ 295 w 10586"/>
                <a:gd name="connsiteY2303" fmla="*/ 3513 h 10000"/>
                <a:gd name="connsiteX2304" fmla="*/ 286 w 10586"/>
                <a:gd name="connsiteY2304" fmla="*/ 3513 h 10000"/>
                <a:gd name="connsiteX2305" fmla="*/ 281 w 10586"/>
                <a:gd name="connsiteY2305" fmla="*/ 3513 h 10000"/>
                <a:gd name="connsiteX2306" fmla="*/ 281 w 10586"/>
                <a:gd name="connsiteY2306" fmla="*/ 3530 h 10000"/>
                <a:gd name="connsiteX2307" fmla="*/ 281 w 10586"/>
                <a:gd name="connsiteY2307" fmla="*/ 3556 h 10000"/>
                <a:gd name="connsiteX2308" fmla="*/ 272 w 10586"/>
                <a:gd name="connsiteY2308" fmla="*/ 3564 h 10000"/>
                <a:gd name="connsiteX2309" fmla="*/ 267 w 10586"/>
                <a:gd name="connsiteY2309" fmla="*/ 3564 h 10000"/>
                <a:gd name="connsiteX2310" fmla="*/ 253 w 10586"/>
                <a:gd name="connsiteY2310" fmla="*/ 3538 h 10000"/>
                <a:gd name="connsiteX2311" fmla="*/ 226 w 10586"/>
                <a:gd name="connsiteY2311" fmla="*/ 3513 h 10000"/>
                <a:gd name="connsiteX2312" fmla="*/ 226 w 10586"/>
                <a:gd name="connsiteY2312" fmla="*/ 3530 h 10000"/>
                <a:gd name="connsiteX2313" fmla="*/ 226 w 10586"/>
                <a:gd name="connsiteY2313" fmla="*/ 3530 h 10000"/>
                <a:gd name="connsiteX2314" fmla="*/ 226 w 10586"/>
                <a:gd name="connsiteY2314" fmla="*/ 3530 h 10000"/>
                <a:gd name="connsiteX2315" fmla="*/ 226 w 10586"/>
                <a:gd name="connsiteY2315" fmla="*/ 3556 h 10000"/>
                <a:gd name="connsiteX2316" fmla="*/ 221 w 10586"/>
                <a:gd name="connsiteY2316" fmla="*/ 3598 h 10000"/>
                <a:gd name="connsiteX2317" fmla="*/ 207 w 10586"/>
                <a:gd name="connsiteY2317" fmla="*/ 3598 h 10000"/>
                <a:gd name="connsiteX2318" fmla="*/ 180 w 10586"/>
                <a:gd name="connsiteY2318" fmla="*/ 3581 h 10000"/>
                <a:gd name="connsiteX2319" fmla="*/ 171 w 10586"/>
                <a:gd name="connsiteY2319" fmla="*/ 3641 h 10000"/>
                <a:gd name="connsiteX2320" fmla="*/ 166 w 10586"/>
                <a:gd name="connsiteY2320" fmla="*/ 3650 h 10000"/>
                <a:gd name="connsiteX2321" fmla="*/ 124 w 10586"/>
                <a:gd name="connsiteY2321" fmla="*/ 3701 h 10000"/>
                <a:gd name="connsiteX2322" fmla="*/ 124 w 10586"/>
                <a:gd name="connsiteY2322" fmla="*/ 3718 h 10000"/>
                <a:gd name="connsiteX2323" fmla="*/ 120 w 10586"/>
                <a:gd name="connsiteY2323" fmla="*/ 3735 h 10000"/>
                <a:gd name="connsiteX2324" fmla="*/ 120 w 10586"/>
                <a:gd name="connsiteY2324" fmla="*/ 3735 h 10000"/>
                <a:gd name="connsiteX2325" fmla="*/ 111 w 10586"/>
                <a:gd name="connsiteY2325" fmla="*/ 3761 h 10000"/>
                <a:gd name="connsiteX2326" fmla="*/ 106 w 10586"/>
                <a:gd name="connsiteY2326" fmla="*/ 3761 h 10000"/>
                <a:gd name="connsiteX2327" fmla="*/ 106 w 10586"/>
                <a:gd name="connsiteY2327" fmla="*/ 3761 h 10000"/>
                <a:gd name="connsiteX2328" fmla="*/ 74 w 10586"/>
                <a:gd name="connsiteY2328" fmla="*/ 3829 h 10000"/>
                <a:gd name="connsiteX2329" fmla="*/ 78 w 10586"/>
                <a:gd name="connsiteY2329" fmla="*/ 3838 h 10000"/>
                <a:gd name="connsiteX2330" fmla="*/ 88 w 10586"/>
                <a:gd name="connsiteY2330" fmla="*/ 3846 h 10000"/>
                <a:gd name="connsiteX2331" fmla="*/ 65 w 10586"/>
                <a:gd name="connsiteY2331" fmla="*/ 3923 h 10000"/>
                <a:gd name="connsiteX2332" fmla="*/ 78 w 10586"/>
                <a:gd name="connsiteY2332" fmla="*/ 4026 h 10000"/>
                <a:gd name="connsiteX2333" fmla="*/ 88 w 10586"/>
                <a:gd name="connsiteY2333" fmla="*/ 4051 h 10000"/>
                <a:gd name="connsiteX2334" fmla="*/ 92 w 10586"/>
                <a:gd name="connsiteY2334" fmla="*/ 4060 h 10000"/>
                <a:gd name="connsiteX2335" fmla="*/ 111 w 10586"/>
                <a:gd name="connsiteY2335" fmla="*/ 4060 h 10000"/>
                <a:gd name="connsiteX2336" fmla="*/ 124 w 10586"/>
                <a:gd name="connsiteY2336" fmla="*/ 4085 h 10000"/>
                <a:gd name="connsiteX2337" fmla="*/ 166 w 10586"/>
                <a:gd name="connsiteY2337" fmla="*/ 4197 h 10000"/>
                <a:gd name="connsiteX2338" fmla="*/ 166 w 10586"/>
                <a:gd name="connsiteY2338" fmla="*/ 4248 h 10000"/>
                <a:gd name="connsiteX2339" fmla="*/ 120 w 10586"/>
                <a:gd name="connsiteY2339" fmla="*/ 4462 h 10000"/>
                <a:gd name="connsiteX2340" fmla="*/ 120 w 10586"/>
                <a:gd name="connsiteY2340" fmla="*/ 4513 h 10000"/>
                <a:gd name="connsiteX2341" fmla="*/ 180 w 10586"/>
                <a:gd name="connsiteY2341" fmla="*/ 4829 h 10000"/>
                <a:gd name="connsiteX2342" fmla="*/ 161 w 10586"/>
                <a:gd name="connsiteY2342" fmla="*/ 4855 h 10000"/>
                <a:gd name="connsiteX2343" fmla="*/ 152 w 10586"/>
                <a:gd name="connsiteY2343" fmla="*/ 4940 h 10000"/>
                <a:gd name="connsiteX2344" fmla="*/ 161 w 10586"/>
                <a:gd name="connsiteY2344" fmla="*/ 4966 h 10000"/>
                <a:gd name="connsiteX2345" fmla="*/ 161 w 10586"/>
                <a:gd name="connsiteY2345" fmla="*/ 5009 h 10000"/>
                <a:gd name="connsiteX2346" fmla="*/ 152 w 10586"/>
                <a:gd name="connsiteY2346" fmla="*/ 5034 h 10000"/>
                <a:gd name="connsiteX2347" fmla="*/ 152 w 10586"/>
                <a:gd name="connsiteY2347" fmla="*/ 5077 h 10000"/>
                <a:gd name="connsiteX2348" fmla="*/ 171 w 10586"/>
                <a:gd name="connsiteY2348" fmla="*/ 5094 h 10000"/>
                <a:gd name="connsiteX2349" fmla="*/ 180 w 10586"/>
                <a:gd name="connsiteY2349" fmla="*/ 5128 h 10000"/>
                <a:gd name="connsiteX2350" fmla="*/ 180 w 10586"/>
                <a:gd name="connsiteY2350" fmla="*/ 5171 h 10000"/>
                <a:gd name="connsiteX2351" fmla="*/ 184 w 10586"/>
                <a:gd name="connsiteY2351" fmla="*/ 5205 h 10000"/>
                <a:gd name="connsiteX2352" fmla="*/ 207 w 10586"/>
                <a:gd name="connsiteY2352" fmla="*/ 5239 h 10000"/>
                <a:gd name="connsiteX2353" fmla="*/ 207 w 10586"/>
                <a:gd name="connsiteY2353" fmla="*/ 5282 h 10000"/>
                <a:gd name="connsiteX2354" fmla="*/ 180 w 10586"/>
                <a:gd name="connsiteY2354" fmla="*/ 5393 h 10000"/>
                <a:gd name="connsiteX2355" fmla="*/ 194 w 10586"/>
                <a:gd name="connsiteY2355" fmla="*/ 5427 h 10000"/>
                <a:gd name="connsiteX2356" fmla="*/ 198 w 10586"/>
                <a:gd name="connsiteY2356" fmla="*/ 5462 h 10000"/>
                <a:gd name="connsiteX2357" fmla="*/ 235 w 10586"/>
                <a:gd name="connsiteY2357" fmla="*/ 5513 h 10000"/>
                <a:gd name="connsiteX2358" fmla="*/ 240 w 10586"/>
                <a:gd name="connsiteY2358" fmla="*/ 5556 h 10000"/>
                <a:gd name="connsiteX2359" fmla="*/ 253 w 10586"/>
                <a:gd name="connsiteY2359" fmla="*/ 5590 h 10000"/>
                <a:gd name="connsiteX2360" fmla="*/ 258 w 10586"/>
                <a:gd name="connsiteY2360" fmla="*/ 5573 h 10000"/>
                <a:gd name="connsiteX2361" fmla="*/ 258 w 10586"/>
                <a:gd name="connsiteY2361" fmla="*/ 5667 h 10000"/>
                <a:gd name="connsiteX2362" fmla="*/ 14 w 10586"/>
                <a:gd name="connsiteY2362" fmla="*/ 6214 h 10000"/>
                <a:gd name="connsiteX2363" fmla="*/ 14 w 10586"/>
                <a:gd name="connsiteY2363" fmla="*/ 6214 h 10000"/>
                <a:gd name="connsiteX2364" fmla="*/ 37 w 10586"/>
                <a:gd name="connsiteY2364" fmla="*/ 6214 h 10000"/>
                <a:gd name="connsiteX2365" fmla="*/ 51 w 10586"/>
                <a:gd name="connsiteY2365" fmla="*/ 6188 h 10000"/>
                <a:gd name="connsiteX2366" fmla="*/ 78 w 10586"/>
                <a:gd name="connsiteY2366" fmla="*/ 6162 h 10000"/>
                <a:gd name="connsiteX2367" fmla="*/ 78 w 10586"/>
                <a:gd name="connsiteY2367" fmla="*/ 6188 h 10000"/>
                <a:gd name="connsiteX2368" fmla="*/ 74 w 10586"/>
                <a:gd name="connsiteY2368" fmla="*/ 6197 h 10000"/>
                <a:gd name="connsiteX2369" fmla="*/ 74 w 10586"/>
                <a:gd name="connsiteY2369" fmla="*/ 6231 h 10000"/>
                <a:gd name="connsiteX2370" fmla="*/ 74 w 10586"/>
                <a:gd name="connsiteY2370" fmla="*/ 6214 h 10000"/>
                <a:gd name="connsiteX2371" fmla="*/ 65 w 10586"/>
                <a:gd name="connsiteY2371" fmla="*/ 6214 h 10000"/>
                <a:gd name="connsiteX2372" fmla="*/ 65 w 10586"/>
                <a:gd name="connsiteY2372" fmla="*/ 6248 h 10000"/>
                <a:gd name="connsiteX2373" fmla="*/ 74 w 10586"/>
                <a:gd name="connsiteY2373" fmla="*/ 6256 h 10000"/>
                <a:gd name="connsiteX2374" fmla="*/ 78 w 10586"/>
                <a:gd name="connsiteY2374" fmla="*/ 6256 h 10000"/>
                <a:gd name="connsiteX2375" fmla="*/ 106 w 10586"/>
                <a:gd name="connsiteY2375" fmla="*/ 6308 h 10000"/>
                <a:gd name="connsiteX2376" fmla="*/ 138 w 10586"/>
                <a:gd name="connsiteY2376" fmla="*/ 6299 h 10000"/>
                <a:gd name="connsiteX2377" fmla="*/ 152 w 10586"/>
                <a:gd name="connsiteY2377" fmla="*/ 6299 h 10000"/>
                <a:gd name="connsiteX2378" fmla="*/ 166 w 10586"/>
                <a:gd name="connsiteY2378" fmla="*/ 6325 h 10000"/>
                <a:gd name="connsiteX2379" fmla="*/ 166 w 10586"/>
                <a:gd name="connsiteY2379" fmla="*/ 6333 h 10000"/>
                <a:gd name="connsiteX2380" fmla="*/ 171 w 10586"/>
                <a:gd name="connsiteY2380" fmla="*/ 6350 h 10000"/>
                <a:gd name="connsiteX2381" fmla="*/ 180 w 10586"/>
                <a:gd name="connsiteY2381" fmla="*/ 6350 h 10000"/>
                <a:gd name="connsiteX2382" fmla="*/ 180 w 10586"/>
                <a:gd name="connsiteY2382" fmla="*/ 6359 h 10000"/>
                <a:gd name="connsiteX2383" fmla="*/ 171 w 10586"/>
                <a:gd name="connsiteY2383" fmla="*/ 6368 h 10000"/>
                <a:gd name="connsiteX2384" fmla="*/ 106 w 10586"/>
                <a:gd name="connsiteY2384" fmla="*/ 6350 h 10000"/>
                <a:gd name="connsiteX2385" fmla="*/ 101 w 10586"/>
                <a:gd name="connsiteY2385" fmla="*/ 6359 h 10000"/>
                <a:gd name="connsiteX2386" fmla="*/ 101 w 10586"/>
                <a:gd name="connsiteY2386" fmla="*/ 6385 h 10000"/>
                <a:gd name="connsiteX2387" fmla="*/ 78 w 10586"/>
                <a:gd name="connsiteY2387" fmla="*/ 6393 h 10000"/>
                <a:gd name="connsiteX2388" fmla="*/ 74 w 10586"/>
                <a:gd name="connsiteY2388" fmla="*/ 6385 h 10000"/>
                <a:gd name="connsiteX2389" fmla="*/ 65 w 10586"/>
                <a:gd name="connsiteY2389" fmla="*/ 6393 h 10000"/>
                <a:gd name="connsiteX2390" fmla="*/ 60 w 10586"/>
                <a:gd name="connsiteY2390" fmla="*/ 6419 h 10000"/>
                <a:gd name="connsiteX2391" fmla="*/ 51 w 10586"/>
                <a:gd name="connsiteY2391" fmla="*/ 6419 h 10000"/>
                <a:gd name="connsiteX2392" fmla="*/ 46 w 10586"/>
                <a:gd name="connsiteY2392" fmla="*/ 6410 h 10000"/>
                <a:gd name="connsiteX2393" fmla="*/ 37 w 10586"/>
                <a:gd name="connsiteY2393" fmla="*/ 6393 h 10000"/>
                <a:gd name="connsiteX2394" fmla="*/ 32 w 10586"/>
                <a:gd name="connsiteY2394" fmla="*/ 6419 h 10000"/>
                <a:gd name="connsiteX2395" fmla="*/ 37 w 10586"/>
                <a:gd name="connsiteY2395" fmla="*/ 6462 h 10000"/>
                <a:gd name="connsiteX2396" fmla="*/ 46 w 10586"/>
                <a:gd name="connsiteY2396" fmla="*/ 6462 h 10000"/>
                <a:gd name="connsiteX2397" fmla="*/ 51 w 10586"/>
                <a:gd name="connsiteY2397" fmla="*/ 6470 h 10000"/>
                <a:gd name="connsiteX2398" fmla="*/ 51 w 10586"/>
                <a:gd name="connsiteY2398" fmla="*/ 6496 h 10000"/>
                <a:gd name="connsiteX2399" fmla="*/ 51 w 10586"/>
                <a:gd name="connsiteY2399" fmla="*/ 6504 h 10000"/>
                <a:gd name="connsiteX2400" fmla="*/ 37 w 10586"/>
                <a:gd name="connsiteY2400" fmla="*/ 6530 h 10000"/>
                <a:gd name="connsiteX2401" fmla="*/ 18 w 10586"/>
                <a:gd name="connsiteY2401" fmla="*/ 6598 h 10000"/>
                <a:gd name="connsiteX2402" fmla="*/ 28 w 10586"/>
                <a:gd name="connsiteY2402" fmla="*/ 6632 h 10000"/>
                <a:gd name="connsiteX2403" fmla="*/ 18 w 10586"/>
                <a:gd name="connsiteY2403" fmla="*/ 6667 h 10000"/>
                <a:gd name="connsiteX2404" fmla="*/ 28 w 10586"/>
                <a:gd name="connsiteY2404" fmla="*/ 6692 h 10000"/>
                <a:gd name="connsiteX2405" fmla="*/ 28 w 10586"/>
                <a:gd name="connsiteY2405" fmla="*/ 6709 h 10000"/>
                <a:gd name="connsiteX2406" fmla="*/ 18 w 10586"/>
                <a:gd name="connsiteY2406" fmla="*/ 6718 h 10000"/>
                <a:gd name="connsiteX2407" fmla="*/ 5 w 10586"/>
                <a:gd name="connsiteY2407" fmla="*/ 6744 h 10000"/>
                <a:gd name="connsiteX2408" fmla="*/ 0 w 10586"/>
                <a:gd name="connsiteY2408" fmla="*/ 6769 h 10000"/>
                <a:gd name="connsiteX2409" fmla="*/ 5 w 10586"/>
                <a:gd name="connsiteY2409" fmla="*/ 6778 h 10000"/>
                <a:gd name="connsiteX2410" fmla="*/ 32 w 10586"/>
                <a:gd name="connsiteY2410" fmla="*/ 6778 h 10000"/>
                <a:gd name="connsiteX2411" fmla="*/ 46 w 10586"/>
                <a:gd name="connsiteY2411" fmla="*/ 6821 h 10000"/>
                <a:gd name="connsiteX2412" fmla="*/ 46 w 10586"/>
                <a:gd name="connsiteY2412" fmla="*/ 6855 h 10000"/>
                <a:gd name="connsiteX2413" fmla="*/ 32 w 10586"/>
                <a:gd name="connsiteY2413" fmla="*/ 6855 h 10000"/>
                <a:gd name="connsiteX2414" fmla="*/ 14 w 10586"/>
                <a:gd name="connsiteY2414" fmla="*/ 6821 h 10000"/>
                <a:gd name="connsiteX2415" fmla="*/ 14 w 10586"/>
                <a:gd name="connsiteY2415" fmla="*/ 6846 h 10000"/>
                <a:gd name="connsiteX2416" fmla="*/ 0 w 10586"/>
                <a:gd name="connsiteY2416" fmla="*/ 6897 h 10000"/>
                <a:gd name="connsiteX2417" fmla="*/ 0 w 10586"/>
                <a:gd name="connsiteY2417" fmla="*/ 6915 h 10000"/>
                <a:gd name="connsiteX2418" fmla="*/ 5 w 10586"/>
                <a:gd name="connsiteY2418" fmla="*/ 6932 h 10000"/>
                <a:gd name="connsiteX2419" fmla="*/ 14 w 10586"/>
                <a:gd name="connsiteY2419" fmla="*/ 6940 h 10000"/>
                <a:gd name="connsiteX2420" fmla="*/ 18 w 10586"/>
                <a:gd name="connsiteY2420" fmla="*/ 6957 h 10000"/>
                <a:gd name="connsiteX2421" fmla="*/ 28 w 10586"/>
                <a:gd name="connsiteY2421" fmla="*/ 6966 h 10000"/>
                <a:gd name="connsiteX2422" fmla="*/ 28 w 10586"/>
                <a:gd name="connsiteY2422" fmla="*/ 6983 h 10000"/>
                <a:gd name="connsiteX2423" fmla="*/ 18 w 10586"/>
                <a:gd name="connsiteY2423" fmla="*/ 7051 h 10000"/>
                <a:gd name="connsiteX2424" fmla="*/ 28 w 10586"/>
                <a:gd name="connsiteY2424" fmla="*/ 7068 h 10000"/>
                <a:gd name="connsiteX2425" fmla="*/ 32 w 10586"/>
                <a:gd name="connsiteY2425" fmla="*/ 7068 h 10000"/>
                <a:gd name="connsiteX2426" fmla="*/ 32 w 10586"/>
                <a:gd name="connsiteY2426" fmla="*/ 7094 h 10000"/>
                <a:gd name="connsiteX2427" fmla="*/ 60 w 10586"/>
                <a:gd name="connsiteY2427" fmla="*/ 7162 h 10000"/>
                <a:gd name="connsiteX2428" fmla="*/ 60 w 10586"/>
                <a:gd name="connsiteY2428" fmla="*/ 7231 h 10000"/>
                <a:gd name="connsiteX2429" fmla="*/ 60 w 10586"/>
                <a:gd name="connsiteY2429" fmla="*/ 7239 h 10000"/>
                <a:gd name="connsiteX2430" fmla="*/ 78 w 10586"/>
                <a:gd name="connsiteY2430" fmla="*/ 7239 h 10000"/>
                <a:gd name="connsiteX2431" fmla="*/ 88 w 10586"/>
                <a:gd name="connsiteY2431" fmla="*/ 7239 h 10000"/>
                <a:gd name="connsiteX2432" fmla="*/ 92 w 10586"/>
                <a:gd name="connsiteY2432" fmla="*/ 7256 h 10000"/>
                <a:gd name="connsiteX2433" fmla="*/ 111 w 10586"/>
                <a:gd name="connsiteY2433" fmla="*/ 7256 h 10000"/>
                <a:gd name="connsiteX2434" fmla="*/ 120 w 10586"/>
                <a:gd name="connsiteY2434" fmla="*/ 7256 h 10000"/>
                <a:gd name="connsiteX2435" fmla="*/ 134 w 10586"/>
                <a:gd name="connsiteY2435" fmla="*/ 7282 h 10000"/>
                <a:gd name="connsiteX2436" fmla="*/ 134 w 10586"/>
                <a:gd name="connsiteY2436" fmla="*/ 7316 h 10000"/>
                <a:gd name="connsiteX2437" fmla="*/ 152 w 10586"/>
                <a:gd name="connsiteY2437" fmla="*/ 7299 h 10000"/>
                <a:gd name="connsiteX2438" fmla="*/ 161 w 10586"/>
                <a:gd name="connsiteY2438" fmla="*/ 7299 h 10000"/>
                <a:gd name="connsiteX2439" fmla="*/ 166 w 10586"/>
                <a:gd name="connsiteY2439" fmla="*/ 7291 h 10000"/>
                <a:gd name="connsiteX2440" fmla="*/ 194 w 10586"/>
                <a:gd name="connsiteY2440" fmla="*/ 7291 h 10000"/>
                <a:gd name="connsiteX2441" fmla="*/ 207 w 10586"/>
                <a:gd name="connsiteY2441" fmla="*/ 7299 h 10000"/>
                <a:gd name="connsiteX2442" fmla="*/ 221 w 10586"/>
                <a:gd name="connsiteY2442" fmla="*/ 7342 h 10000"/>
                <a:gd name="connsiteX2443" fmla="*/ 235 w 10586"/>
                <a:gd name="connsiteY2443" fmla="*/ 7342 h 10000"/>
                <a:gd name="connsiteX2444" fmla="*/ 235 w 10586"/>
                <a:gd name="connsiteY2444" fmla="*/ 7368 h 10000"/>
                <a:gd name="connsiteX2445" fmla="*/ 226 w 10586"/>
                <a:gd name="connsiteY2445" fmla="*/ 7393 h 10000"/>
                <a:gd name="connsiteX2446" fmla="*/ 226 w 10586"/>
                <a:gd name="connsiteY2446" fmla="*/ 7402 h 10000"/>
                <a:gd name="connsiteX2447" fmla="*/ 235 w 10586"/>
                <a:gd name="connsiteY2447" fmla="*/ 7419 h 10000"/>
                <a:gd name="connsiteX2448" fmla="*/ 240 w 10586"/>
                <a:gd name="connsiteY2448" fmla="*/ 7436 h 10000"/>
                <a:gd name="connsiteX2449" fmla="*/ 235 w 10586"/>
                <a:gd name="connsiteY2449" fmla="*/ 7462 h 10000"/>
                <a:gd name="connsiteX2450" fmla="*/ 226 w 10586"/>
                <a:gd name="connsiteY2450" fmla="*/ 7479 h 10000"/>
                <a:gd name="connsiteX2451" fmla="*/ 226 w 10586"/>
                <a:gd name="connsiteY2451" fmla="*/ 7504 h 10000"/>
                <a:gd name="connsiteX2452" fmla="*/ 226 w 10586"/>
                <a:gd name="connsiteY2452" fmla="*/ 7513 h 10000"/>
                <a:gd name="connsiteX2453" fmla="*/ 240 w 10586"/>
                <a:gd name="connsiteY2453" fmla="*/ 7538 h 10000"/>
                <a:gd name="connsiteX2454" fmla="*/ 267 w 10586"/>
                <a:gd name="connsiteY2454" fmla="*/ 7641 h 10000"/>
                <a:gd name="connsiteX2455" fmla="*/ 281 w 10586"/>
                <a:gd name="connsiteY2455" fmla="*/ 7667 h 10000"/>
                <a:gd name="connsiteX2456" fmla="*/ 286 w 10586"/>
                <a:gd name="connsiteY2456" fmla="*/ 7675 h 10000"/>
                <a:gd name="connsiteX2457" fmla="*/ 286 w 10586"/>
                <a:gd name="connsiteY2457" fmla="*/ 7692 h 10000"/>
                <a:gd name="connsiteX2458" fmla="*/ 286 w 10586"/>
                <a:gd name="connsiteY2458" fmla="*/ 7709 h 10000"/>
                <a:gd name="connsiteX2459" fmla="*/ 295 w 10586"/>
                <a:gd name="connsiteY2459" fmla="*/ 7726 h 10000"/>
                <a:gd name="connsiteX2460" fmla="*/ 318 w 10586"/>
                <a:gd name="connsiteY2460" fmla="*/ 7709 h 10000"/>
                <a:gd name="connsiteX2461" fmla="*/ 327 w 10586"/>
                <a:gd name="connsiteY2461" fmla="*/ 7726 h 10000"/>
                <a:gd name="connsiteX2462" fmla="*/ 341 w 10586"/>
                <a:gd name="connsiteY2462" fmla="*/ 7735 h 10000"/>
                <a:gd name="connsiteX2463" fmla="*/ 332 w 10586"/>
                <a:gd name="connsiteY2463" fmla="*/ 7752 h 10000"/>
                <a:gd name="connsiteX2464" fmla="*/ 341 w 10586"/>
                <a:gd name="connsiteY2464" fmla="*/ 7761 h 10000"/>
                <a:gd name="connsiteX2465" fmla="*/ 355 w 10586"/>
                <a:gd name="connsiteY2465" fmla="*/ 7761 h 10000"/>
                <a:gd name="connsiteX2466" fmla="*/ 355 w 10586"/>
                <a:gd name="connsiteY2466" fmla="*/ 7803 h 10000"/>
                <a:gd name="connsiteX2467" fmla="*/ 313 w 10586"/>
                <a:gd name="connsiteY2467" fmla="*/ 7846 h 10000"/>
                <a:gd name="connsiteX2468" fmla="*/ 295 w 10586"/>
                <a:gd name="connsiteY2468" fmla="*/ 7846 h 10000"/>
                <a:gd name="connsiteX2469" fmla="*/ 281 w 10586"/>
                <a:gd name="connsiteY2469" fmla="*/ 7821 h 10000"/>
                <a:gd name="connsiteX2470" fmla="*/ 272 w 10586"/>
                <a:gd name="connsiteY2470" fmla="*/ 7821 h 10000"/>
                <a:gd name="connsiteX2471" fmla="*/ 267 w 10586"/>
                <a:gd name="connsiteY2471" fmla="*/ 7838 h 10000"/>
                <a:gd name="connsiteX2472" fmla="*/ 258 w 10586"/>
                <a:gd name="connsiteY2472" fmla="*/ 7846 h 10000"/>
                <a:gd name="connsiteX2473" fmla="*/ 253 w 10586"/>
                <a:gd name="connsiteY2473" fmla="*/ 7863 h 10000"/>
                <a:gd name="connsiteX2474" fmla="*/ 253 w 10586"/>
                <a:gd name="connsiteY2474" fmla="*/ 7872 h 10000"/>
                <a:gd name="connsiteX2475" fmla="*/ 267 w 10586"/>
                <a:gd name="connsiteY2475" fmla="*/ 7897 h 10000"/>
                <a:gd name="connsiteX2476" fmla="*/ 272 w 10586"/>
                <a:gd name="connsiteY2476" fmla="*/ 7915 h 10000"/>
                <a:gd name="connsiteX2477" fmla="*/ 267 w 10586"/>
                <a:gd name="connsiteY2477" fmla="*/ 7940 h 10000"/>
                <a:gd name="connsiteX2478" fmla="*/ 272 w 10586"/>
                <a:gd name="connsiteY2478" fmla="*/ 7949 h 10000"/>
                <a:gd name="connsiteX2479" fmla="*/ 272 w 10586"/>
                <a:gd name="connsiteY2479" fmla="*/ 7957 h 10000"/>
                <a:gd name="connsiteX2480" fmla="*/ 281 w 10586"/>
                <a:gd name="connsiteY2480" fmla="*/ 7974 h 10000"/>
                <a:gd name="connsiteX2481" fmla="*/ 286 w 10586"/>
                <a:gd name="connsiteY2481" fmla="*/ 7983 h 10000"/>
                <a:gd name="connsiteX2482" fmla="*/ 281 w 10586"/>
                <a:gd name="connsiteY2482" fmla="*/ 8009 h 10000"/>
                <a:gd name="connsiteX2483" fmla="*/ 286 w 10586"/>
                <a:gd name="connsiteY2483" fmla="*/ 8060 h 10000"/>
                <a:gd name="connsiteX2484" fmla="*/ 286 w 10586"/>
                <a:gd name="connsiteY2484" fmla="*/ 8060 h 10000"/>
                <a:gd name="connsiteX2485" fmla="*/ 295 w 10586"/>
                <a:gd name="connsiteY2485" fmla="*/ 8077 h 10000"/>
                <a:gd name="connsiteX2486" fmla="*/ 309 w 10586"/>
                <a:gd name="connsiteY2486" fmla="*/ 8077 h 10000"/>
                <a:gd name="connsiteX2487" fmla="*/ 313 w 10586"/>
                <a:gd name="connsiteY2487" fmla="*/ 8060 h 10000"/>
                <a:gd name="connsiteX2488" fmla="*/ 318 w 10586"/>
                <a:gd name="connsiteY2488" fmla="*/ 8051 h 10000"/>
                <a:gd name="connsiteX2489" fmla="*/ 318 w 10586"/>
                <a:gd name="connsiteY2489" fmla="*/ 8034 h 10000"/>
                <a:gd name="connsiteX2490" fmla="*/ 332 w 10586"/>
                <a:gd name="connsiteY2490" fmla="*/ 8026 h 10000"/>
                <a:gd name="connsiteX2491" fmla="*/ 359 w 10586"/>
                <a:gd name="connsiteY2491" fmla="*/ 8034 h 10000"/>
                <a:gd name="connsiteX2492" fmla="*/ 378 w 10586"/>
                <a:gd name="connsiteY2492" fmla="*/ 8026 h 10000"/>
                <a:gd name="connsiteX2493" fmla="*/ 401 w 10586"/>
                <a:gd name="connsiteY2493" fmla="*/ 8026 h 10000"/>
                <a:gd name="connsiteX2494" fmla="*/ 419 w 10586"/>
                <a:gd name="connsiteY2494" fmla="*/ 8009 h 10000"/>
                <a:gd name="connsiteX2495" fmla="*/ 433 w 10586"/>
                <a:gd name="connsiteY2495" fmla="*/ 8034 h 10000"/>
                <a:gd name="connsiteX2496" fmla="*/ 442 w 10586"/>
                <a:gd name="connsiteY2496" fmla="*/ 8060 h 10000"/>
                <a:gd name="connsiteX2497" fmla="*/ 442 w 10586"/>
                <a:gd name="connsiteY2497" fmla="*/ 8077 h 10000"/>
                <a:gd name="connsiteX2498" fmla="*/ 461 w 10586"/>
                <a:gd name="connsiteY2498" fmla="*/ 8111 h 10000"/>
                <a:gd name="connsiteX2499" fmla="*/ 461 w 10586"/>
                <a:gd name="connsiteY2499" fmla="*/ 8137 h 10000"/>
                <a:gd name="connsiteX2500" fmla="*/ 447 w 10586"/>
                <a:gd name="connsiteY2500" fmla="*/ 8145 h 10000"/>
                <a:gd name="connsiteX2501" fmla="*/ 442 w 10586"/>
                <a:gd name="connsiteY2501" fmla="*/ 8145 h 10000"/>
                <a:gd name="connsiteX2502" fmla="*/ 442 w 10586"/>
                <a:gd name="connsiteY2502" fmla="*/ 8162 h 10000"/>
                <a:gd name="connsiteX2503" fmla="*/ 442 w 10586"/>
                <a:gd name="connsiteY2503" fmla="*/ 8171 h 10000"/>
                <a:gd name="connsiteX2504" fmla="*/ 447 w 10586"/>
                <a:gd name="connsiteY2504" fmla="*/ 8214 h 10000"/>
                <a:gd name="connsiteX2505" fmla="*/ 465 w 10586"/>
                <a:gd name="connsiteY2505" fmla="*/ 8231 h 10000"/>
                <a:gd name="connsiteX2506" fmla="*/ 488 w 10586"/>
                <a:gd name="connsiteY2506" fmla="*/ 8231 h 10000"/>
                <a:gd name="connsiteX2507" fmla="*/ 493 w 10586"/>
                <a:gd name="connsiteY2507" fmla="*/ 8231 h 10000"/>
                <a:gd name="connsiteX2508" fmla="*/ 502 w 10586"/>
                <a:gd name="connsiteY2508" fmla="*/ 8231 h 10000"/>
                <a:gd name="connsiteX2509" fmla="*/ 507 w 10586"/>
                <a:gd name="connsiteY2509" fmla="*/ 8248 h 10000"/>
                <a:gd name="connsiteX2510" fmla="*/ 521 w 10586"/>
                <a:gd name="connsiteY2510" fmla="*/ 8274 h 10000"/>
                <a:gd name="connsiteX2511" fmla="*/ 525 w 10586"/>
                <a:gd name="connsiteY2511" fmla="*/ 8333 h 10000"/>
                <a:gd name="connsiteX2512" fmla="*/ 525 w 10586"/>
                <a:gd name="connsiteY2512" fmla="*/ 8359 h 10000"/>
                <a:gd name="connsiteX2513" fmla="*/ 525 w 10586"/>
                <a:gd name="connsiteY2513" fmla="*/ 8368 h 10000"/>
                <a:gd name="connsiteX2514" fmla="*/ 548 w 10586"/>
                <a:gd name="connsiteY2514" fmla="*/ 8393 h 10000"/>
                <a:gd name="connsiteX2515" fmla="*/ 553 w 10586"/>
                <a:gd name="connsiteY2515" fmla="*/ 8385 h 10000"/>
                <a:gd name="connsiteX2516" fmla="*/ 562 w 10586"/>
                <a:gd name="connsiteY2516" fmla="*/ 8385 h 10000"/>
                <a:gd name="connsiteX2517" fmla="*/ 576 w 10586"/>
                <a:gd name="connsiteY2517" fmla="*/ 8385 h 10000"/>
                <a:gd name="connsiteX2518" fmla="*/ 585 w 10586"/>
                <a:gd name="connsiteY2518" fmla="*/ 8410 h 10000"/>
                <a:gd name="connsiteX2519" fmla="*/ 594 w 10586"/>
                <a:gd name="connsiteY2519" fmla="*/ 8410 h 10000"/>
                <a:gd name="connsiteX2520" fmla="*/ 608 w 10586"/>
                <a:gd name="connsiteY2520" fmla="*/ 8410 h 10000"/>
                <a:gd name="connsiteX2521" fmla="*/ 654 w 10586"/>
                <a:gd name="connsiteY2521" fmla="*/ 8385 h 10000"/>
                <a:gd name="connsiteX2522" fmla="*/ 659 w 10586"/>
                <a:gd name="connsiteY2522" fmla="*/ 8385 h 10000"/>
                <a:gd name="connsiteX2523" fmla="*/ 696 w 10586"/>
                <a:gd name="connsiteY2523" fmla="*/ 8470 h 10000"/>
                <a:gd name="connsiteX2524" fmla="*/ 700 w 10586"/>
                <a:gd name="connsiteY2524" fmla="*/ 8470 h 10000"/>
                <a:gd name="connsiteX2525" fmla="*/ 710 w 10586"/>
                <a:gd name="connsiteY2525" fmla="*/ 8462 h 10000"/>
                <a:gd name="connsiteX2526" fmla="*/ 714 w 10586"/>
                <a:gd name="connsiteY2526" fmla="*/ 8462 h 10000"/>
                <a:gd name="connsiteX2527" fmla="*/ 724 w 10586"/>
                <a:gd name="connsiteY2527" fmla="*/ 8470 h 10000"/>
                <a:gd name="connsiteX2528" fmla="*/ 733 w 10586"/>
                <a:gd name="connsiteY2528" fmla="*/ 8470 h 10000"/>
                <a:gd name="connsiteX2529" fmla="*/ 742 w 10586"/>
                <a:gd name="connsiteY2529" fmla="*/ 8487 h 10000"/>
                <a:gd name="connsiteX2530" fmla="*/ 747 w 10586"/>
                <a:gd name="connsiteY2530" fmla="*/ 8496 h 10000"/>
                <a:gd name="connsiteX2531" fmla="*/ 770 w 10586"/>
                <a:gd name="connsiteY2531" fmla="*/ 8496 h 10000"/>
                <a:gd name="connsiteX2532" fmla="*/ 783 w 10586"/>
                <a:gd name="connsiteY2532" fmla="*/ 8521 h 10000"/>
                <a:gd name="connsiteX2533" fmla="*/ 797 w 10586"/>
                <a:gd name="connsiteY2533" fmla="*/ 8521 h 10000"/>
                <a:gd name="connsiteX2534" fmla="*/ 806 w 10586"/>
                <a:gd name="connsiteY2534" fmla="*/ 8530 h 10000"/>
                <a:gd name="connsiteX2535" fmla="*/ 829 w 10586"/>
                <a:gd name="connsiteY2535" fmla="*/ 8547 h 10000"/>
                <a:gd name="connsiteX2536" fmla="*/ 834 w 10586"/>
                <a:gd name="connsiteY2536" fmla="*/ 8556 h 10000"/>
                <a:gd name="connsiteX2537" fmla="*/ 829 w 10586"/>
                <a:gd name="connsiteY2537" fmla="*/ 8556 h 10000"/>
                <a:gd name="connsiteX2538" fmla="*/ 834 w 10586"/>
                <a:gd name="connsiteY2538" fmla="*/ 8607 h 10000"/>
                <a:gd name="connsiteX2539" fmla="*/ 829 w 10586"/>
                <a:gd name="connsiteY2539" fmla="*/ 8641 h 10000"/>
                <a:gd name="connsiteX2540" fmla="*/ 806 w 10586"/>
                <a:gd name="connsiteY2540" fmla="*/ 8658 h 10000"/>
                <a:gd name="connsiteX2541" fmla="*/ 816 w 10586"/>
                <a:gd name="connsiteY2541" fmla="*/ 8667 h 10000"/>
                <a:gd name="connsiteX2542" fmla="*/ 820 w 10586"/>
                <a:gd name="connsiteY2542" fmla="*/ 8667 h 10000"/>
                <a:gd name="connsiteX2543" fmla="*/ 829 w 10586"/>
                <a:gd name="connsiteY2543" fmla="*/ 8684 h 10000"/>
                <a:gd name="connsiteX2544" fmla="*/ 806 w 10586"/>
                <a:gd name="connsiteY2544" fmla="*/ 8692 h 10000"/>
                <a:gd name="connsiteX2545" fmla="*/ 802 w 10586"/>
                <a:gd name="connsiteY2545" fmla="*/ 8709 h 10000"/>
                <a:gd name="connsiteX2546" fmla="*/ 802 w 10586"/>
                <a:gd name="connsiteY2546" fmla="*/ 8735 h 10000"/>
                <a:gd name="connsiteX2547" fmla="*/ 806 w 10586"/>
                <a:gd name="connsiteY2547" fmla="*/ 8744 h 10000"/>
                <a:gd name="connsiteX2548" fmla="*/ 816 w 10586"/>
                <a:gd name="connsiteY2548" fmla="*/ 8752 h 10000"/>
                <a:gd name="connsiteX2549" fmla="*/ 806 w 10586"/>
                <a:gd name="connsiteY2549" fmla="*/ 8778 h 10000"/>
                <a:gd name="connsiteX2550" fmla="*/ 820 w 10586"/>
                <a:gd name="connsiteY2550" fmla="*/ 8778 h 10000"/>
                <a:gd name="connsiteX2551" fmla="*/ 806 w 10586"/>
                <a:gd name="connsiteY2551" fmla="*/ 8880 h 10000"/>
                <a:gd name="connsiteX2552" fmla="*/ 797 w 10586"/>
                <a:gd name="connsiteY2552" fmla="*/ 8880 h 10000"/>
                <a:gd name="connsiteX2553" fmla="*/ 783 w 10586"/>
                <a:gd name="connsiteY2553" fmla="*/ 8872 h 10000"/>
                <a:gd name="connsiteX2554" fmla="*/ 770 w 10586"/>
                <a:gd name="connsiteY2554" fmla="*/ 8880 h 10000"/>
                <a:gd name="connsiteX2555" fmla="*/ 756 w 10586"/>
                <a:gd name="connsiteY2555" fmla="*/ 8855 h 10000"/>
                <a:gd name="connsiteX2556" fmla="*/ 733 w 10586"/>
                <a:gd name="connsiteY2556" fmla="*/ 8906 h 10000"/>
                <a:gd name="connsiteX2557" fmla="*/ 714 w 10586"/>
                <a:gd name="connsiteY2557" fmla="*/ 8915 h 10000"/>
                <a:gd name="connsiteX2558" fmla="*/ 710 w 10586"/>
                <a:gd name="connsiteY2558" fmla="*/ 8940 h 10000"/>
                <a:gd name="connsiteX2559" fmla="*/ 710 w 10586"/>
                <a:gd name="connsiteY2559" fmla="*/ 9009 h 10000"/>
                <a:gd name="connsiteX2560" fmla="*/ 728 w 10586"/>
                <a:gd name="connsiteY2560" fmla="*/ 8991 h 10000"/>
                <a:gd name="connsiteX2561" fmla="*/ 733 w 10586"/>
                <a:gd name="connsiteY2561" fmla="*/ 8991 h 10000"/>
                <a:gd name="connsiteX2562" fmla="*/ 747 w 10586"/>
                <a:gd name="connsiteY2562" fmla="*/ 8983 h 10000"/>
                <a:gd name="connsiteX2563" fmla="*/ 760 w 10586"/>
                <a:gd name="connsiteY2563" fmla="*/ 8983 h 10000"/>
                <a:gd name="connsiteX2564" fmla="*/ 770 w 10586"/>
                <a:gd name="connsiteY2564" fmla="*/ 8983 h 10000"/>
                <a:gd name="connsiteX2565" fmla="*/ 770 w 10586"/>
                <a:gd name="connsiteY2565" fmla="*/ 8991 h 10000"/>
                <a:gd name="connsiteX2566" fmla="*/ 783 w 10586"/>
                <a:gd name="connsiteY2566" fmla="*/ 8991 h 10000"/>
                <a:gd name="connsiteX2567" fmla="*/ 783 w 10586"/>
                <a:gd name="connsiteY2567" fmla="*/ 9009 h 10000"/>
                <a:gd name="connsiteX2568" fmla="*/ 783 w 10586"/>
                <a:gd name="connsiteY2568" fmla="*/ 9017 h 10000"/>
                <a:gd name="connsiteX2569" fmla="*/ 770 w 10586"/>
                <a:gd name="connsiteY2569" fmla="*/ 9017 h 10000"/>
                <a:gd name="connsiteX2570" fmla="*/ 724 w 10586"/>
                <a:gd name="connsiteY2570" fmla="*/ 9051 h 10000"/>
                <a:gd name="connsiteX2571" fmla="*/ 724 w 10586"/>
                <a:gd name="connsiteY2571" fmla="*/ 9068 h 10000"/>
                <a:gd name="connsiteX2572" fmla="*/ 728 w 10586"/>
                <a:gd name="connsiteY2572" fmla="*/ 9077 h 10000"/>
                <a:gd name="connsiteX2573" fmla="*/ 724 w 10586"/>
                <a:gd name="connsiteY2573" fmla="*/ 9077 h 10000"/>
                <a:gd name="connsiteX2574" fmla="*/ 710 w 10586"/>
                <a:gd name="connsiteY2574" fmla="*/ 9077 h 10000"/>
                <a:gd name="connsiteX2575" fmla="*/ 682 w 10586"/>
                <a:gd name="connsiteY2575" fmla="*/ 9077 h 10000"/>
                <a:gd name="connsiteX2576" fmla="*/ 673 w 10586"/>
                <a:gd name="connsiteY2576" fmla="*/ 9103 h 10000"/>
                <a:gd name="connsiteX2577" fmla="*/ 687 w 10586"/>
                <a:gd name="connsiteY2577" fmla="*/ 9128 h 10000"/>
                <a:gd name="connsiteX2578" fmla="*/ 700 w 10586"/>
                <a:gd name="connsiteY2578" fmla="*/ 9128 h 10000"/>
                <a:gd name="connsiteX2579" fmla="*/ 728 w 10586"/>
                <a:gd name="connsiteY2579" fmla="*/ 9179 h 10000"/>
                <a:gd name="connsiteX2580" fmla="*/ 724 w 10586"/>
                <a:gd name="connsiteY2580" fmla="*/ 9188 h 10000"/>
                <a:gd name="connsiteX2581" fmla="*/ 710 w 10586"/>
                <a:gd name="connsiteY2581" fmla="*/ 9179 h 10000"/>
                <a:gd name="connsiteX2582" fmla="*/ 700 w 10586"/>
                <a:gd name="connsiteY2582" fmla="*/ 9205 h 10000"/>
                <a:gd name="connsiteX2583" fmla="*/ 696 w 10586"/>
                <a:gd name="connsiteY2583" fmla="*/ 9205 h 10000"/>
                <a:gd name="connsiteX2584" fmla="*/ 654 w 10586"/>
                <a:gd name="connsiteY2584" fmla="*/ 9299 h 10000"/>
                <a:gd name="connsiteX2585" fmla="*/ 622 w 10586"/>
                <a:gd name="connsiteY2585" fmla="*/ 9299 h 10000"/>
                <a:gd name="connsiteX2586" fmla="*/ 613 w 10586"/>
                <a:gd name="connsiteY2586" fmla="*/ 9316 h 10000"/>
                <a:gd name="connsiteX2587" fmla="*/ 613 w 10586"/>
                <a:gd name="connsiteY2587" fmla="*/ 9325 h 10000"/>
                <a:gd name="connsiteX2588" fmla="*/ 608 w 10586"/>
                <a:gd name="connsiteY2588" fmla="*/ 9342 h 10000"/>
                <a:gd name="connsiteX2589" fmla="*/ 636 w 10586"/>
                <a:gd name="connsiteY2589" fmla="*/ 9376 h 10000"/>
                <a:gd name="connsiteX2590" fmla="*/ 641 w 10586"/>
                <a:gd name="connsiteY2590" fmla="*/ 9402 h 10000"/>
                <a:gd name="connsiteX2591" fmla="*/ 654 w 10586"/>
                <a:gd name="connsiteY2591" fmla="*/ 9427 h 10000"/>
                <a:gd name="connsiteX2592" fmla="*/ 668 w 10586"/>
                <a:gd name="connsiteY2592" fmla="*/ 9427 h 10000"/>
                <a:gd name="connsiteX2593" fmla="*/ 668 w 10586"/>
                <a:gd name="connsiteY2593" fmla="*/ 9427 h 10000"/>
                <a:gd name="connsiteX2594" fmla="*/ 774 w 10586"/>
                <a:gd name="connsiteY2594" fmla="*/ 9547 h 10000"/>
                <a:gd name="connsiteX2595" fmla="*/ 797 w 10586"/>
                <a:gd name="connsiteY2595" fmla="*/ 9598 h 10000"/>
                <a:gd name="connsiteX2596" fmla="*/ 802 w 10586"/>
                <a:gd name="connsiteY2596" fmla="*/ 9598 h 10000"/>
                <a:gd name="connsiteX2597" fmla="*/ 816 w 10586"/>
                <a:gd name="connsiteY2597" fmla="*/ 9624 h 10000"/>
                <a:gd name="connsiteX2598" fmla="*/ 843 w 10586"/>
                <a:gd name="connsiteY2598" fmla="*/ 9615 h 10000"/>
                <a:gd name="connsiteX2599" fmla="*/ 857 w 10586"/>
                <a:gd name="connsiteY2599" fmla="*/ 9624 h 10000"/>
                <a:gd name="connsiteX2600" fmla="*/ 862 w 10586"/>
                <a:gd name="connsiteY2600" fmla="*/ 9615 h 10000"/>
                <a:gd name="connsiteX2601" fmla="*/ 880 w 10586"/>
                <a:gd name="connsiteY2601" fmla="*/ 9624 h 10000"/>
                <a:gd name="connsiteX2602" fmla="*/ 889 w 10586"/>
                <a:gd name="connsiteY2602" fmla="*/ 9641 h 10000"/>
                <a:gd name="connsiteX2603" fmla="*/ 935 w 10586"/>
                <a:gd name="connsiteY2603" fmla="*/ 9675 h 10000"/>
                <a:gd name="connsiteX2604" fmla="*/ 977 w 10586"/>
                <a:gd name="connsiteY2604" fmla="*/ 9667 h 10000"/>
                <a:gd name="connsiteX2605" fmla="*/ 995 w 10586"/>
                <a:gd name="connsiteY2605" fmla="*/ 9675 h 10000"/>
                <a:gd name="connsiteX2606" fmla="*/ 1014 w 10586"/>
                <a:gd name="connsiteY2606" fmla="*/ 9675 h 10000"/>
                <a:gd name="connsiteX2607" fmla="*/ 1069 w 10586"/>
                <a:gd name="connsiteY2607" fmla="*/ 9752 h 10000"/>
                <a:gd name="connsiteX2608" fmla="*/ 1074 w 10586"/>
                <a:gd name="connsiteY2608" fmla="*/ 9761 h 10000"/>
                <a:gd name="connsiteX2609" fmla="*/ 1083 w 10586"/>
                <a:gd name="connsiteY2609" fmla="*/ 9778 h 10000"/>
                <a:gd name="connsiteX2610" fmla="*/ 1115 w 10586"/>
                <a:gd name="connsiteY2610" fmla="*/ 9752 h 10000"/>
                <a:gd name="connsiteX2611" fmla="*/ 1129 w 10586"/>
                <a:gd name="connsiteY2611" fmla="*/ 9752 h 10000"/>
                <a:gd name="connsiteX2612" fmla="*/ 1138 w 10586"/>
                <a:gd name="connsiteY2612" fmla="*/ 9761 h 10000"/>
                <a:gd name="connsiteX2613" fmla="*/ 1143 w 10586"/>
                <a:gd name="connsiteY2613" fmla="*/ 9752 h 10000"/>
                <a:gd name="connsiteX2614" fmla="*/ 1161 w 10586"/>
                <a:gd name="connsiteY2614" fmla="*/ 9761 h 10000"/>
                <a:gd name="connsiteX2615" fmla="*/ 1171 w 10586"/>
                <a:gd name="connsiteY2615" fmla="*/ 9778 h 10000"/>
                <a:gd name="connsiteX2616" fmla="*/ 1175 w 10586"/>
                <a:gd name="connsiteY2616" fmla="*/ 9778 h 10000"/>
                <a:gd name="connsiteX2617" fmla="*/ 1189 w 10586"/>
                <a:gd name="connsiteY2617" fmla="*/ 9778 h 10000"/>
                <a:gd name="connsiteX2618" fmla="*/ 1198 w 10586"/>
                <a:gd name="connsiteY2618" fmla="*/ 9786 h 10000"/>
                <a:gd name="connsiteX2619" fmla="*/ 1203 w 10586"/>
                <a:gd name="connsiteY2619" fmla="*/ 9803 h 10000"/>
                <a:gd name="connsiteX2620" fmla="*/ 1198 w 10586"/>
                <a:gd name="connsiteY2620" fmla="*/ 9838 h 10000"/>
                <a:gd name="connsiteX2621" fmla="*/ 1212 w 10586"/>
                <a:gd name="connsiteY2621" fmla="*/ 9863 h 10000"/>
                <a:gd name="connsiteX2622" fmla="*/ 1230 w 10586"/>
                <a:gd name="connsiteY2622" fmla="*/ 9872 h 10000"/>
                <a:gd name="connsiteX2623" fmla="*/ 1249 w 10586"/>
                <a:gd name="connsiteY2623" fmla="*/ 9897 h 10000"/>
                <a:gd name="connsiteX2624" fmla="*/ 1263 w 10586"/>
                <a:gd name="connsiteY2624" fmla="*/ 9897 h 10000"/>
                <a:gd name="connsiteX2625" fmla="*/ 1276 w 10586"/>
                <a:gd name="connsiteY2625" fmla="*/ 9923 h 10000"/>
                <a:gd name="connsiteX2626" fmla="*/ 1281 w 10586"/>
                <a:gd name="connsiteY2626" fmla="*/ 9949 h 10000"/>
                <a:gd name="connsiteX2627" fmla="*/ 1290 w 10586"/>
                <a:gd name="connsiteY2627" fmla="*/ 9949 h 10000"/>
                <a:gd name="connsiteX2628" fmla="*/ 1295 w 10586"/>
                <a:gd name="connsiteY2628" fmla="*/ 10000 h 10000"/>
                <a:gd name="connsiteX2629" fmla="*/ 1332 w 10586"/>
                <a:gd name="connsiteY2629" fmla="*/ 10000 h 10000"/>
                <a:gd name="connsiteX2630" fmla="*/ 1336 w 10586"/>
                <a:gd name="connsiteY2630" fmla="*/ 10000 h 10000"/>
                <a:gd name="connsiteX2631" fmla="*/ 1346 w 10586"/>
                <a:gd name="connsiteY2631" fmla="*/ 9983 h 10000"/>
                <a:gd name="connsiteX2632" fmla="*/ 1350 w 10586"/>
                <a:gd name="connsiteY2632" fmla="*/ 9949 h 10000"/>
                <a:gd name="connsiteX2633" fmla="*/ 1369 w 10586"/>
                <a:gd name="connsiteY2633" fmla="*/ 9940 h 10000"/>
                <a:gd name="connsiteX2634" fmla="*/ 1378 w 10586"/>
                <a:gd name="connsiteY2634" fmla="*/ 9897 h 10000"/>
                <a:gd name="connsiteX2635" fmla="*/ 1369 w 10586"/>
                <a:gd name="connsiteY2635" fmla="*/ 9889 h 10000"/>
                <a:gd name="connsiteX2636" fmla="*/ 1318 w 10586"/>
                <a:gd name="connsiteY2636" fmla="*/ 9701 h 10000"/>
                <a:gd name="connsiteX2637" fmla="*/ 1318 w 10586"/>
                <a:gd name="connsiteY2637" fmla="*/ 9650 h 10000"/>
                <a:gd name="connsiteX2638" fmla="*/ 1323 w 10586"/>
                <a:gd name="connsiteY2638" fmla="*/ 9590 h 10000"/>
                <a:gd name="connsiteX2639" fmla="*/ 1323 w 10586"/>
                <a:gd name="connsiteY2639" fmla="*/ 9564 h 10000"/>
                <a:gd name="connsiteX2640" fmla="*/ 1309 w 10586"/>
                <a:gd name="connsiteY2640" fmla="*/ 9598 h 10000"/>
                <a:gd name="connsiteX2641" fmla="*/ 1309 w 10586"/>
                <a:gd name="connsiteY2641" fmla="*/ 9590 h 10000"/>
                <a:gd name="connsiteX2642" fmla="*/ 1304 w 10586"/>
                <a:gd name="connsiteY2642" fmla="*/ 9547 h 10000"/>
                <a:gd name="connsiteX2643" fmla="*/ 1276 w 10586"/>
                <a:gd name="connsiteY2643" fmla="*/ 9479 h 10000"/>
                <a:gd name="connsiteX2644" fmla="*/ 1263 w 10586"/>
                <a:gd name="connsiteY2644" fmla="*/ 9479 h 10000"/>
                <a:gd name="connsiteX2645" fmla="*/ 1263 w 10586"/>
                <a:gd name="connsiteY2645" fmla="*/ 9453 h 10000"/>
                <a:gd name="connsiteX2646" fmla="*/ 1272 w 10586"/>
                <a:gd name="connsiteY2646" fmla="*/ 9410 h 10000"/>
                <a:gd name="connsiteX2647" fmla="*/ 1272 w 10586"/>
                <a:gd name="connsiteY2647" fmla="*/ 9393 h 10000"/>
                <a:gd name="connsiteX2648" fmla="*/ 1281 w 10586"/>
                <a:gd name="connsiteY2648" fmla="*/ 9368 h 10000"/>
                <a:gd name="connsiteX2649" fmla="*/ 1281 w 10586"/>
                <a:gd name="connsiteY2649" fmla="*/ 9368 h 10000"/>
                <a:gd name="connsiteX2650" fmla="*/ 1290 w 10586"/>
                <a:gd name="connsiteY2650" fmla="*/ 9368 h 10000"/>
                <a:gd name="connsiteX2651" fmla="*/ 1290 w 10586"/>
                <a:gd name="connsiteY2651" fmla="*/ 9342 h 10000"/>
                <a:gd name="connsiteX2652" fmla="*/ 1304 w 10586"/>
                <a:gd name="connsiteY2652" fmla="*/ 9325 h 10000"/>
                <a:gd name="connsiteX2653" fmla="*/ 1309 w 10586"/>
                <a:gd name="connsiteY2653" fmla="*/ 9239 h 10000"/>
                <a:gd name="connsiteX2654" fmla="*/ 1318 w 10586"/>
                <a:gd name="connsiteY2654" fmla="*/ 9256 h 10000"/>
                <a:gd name="connsiteX2655" fmla="*/ 1323 w 10586"/>
                <a:gd name="connsiteY2655" fmla="*/ 9179 h 10000"/>
                <a:gd name="connsiteX2656" fmla="*/ 1309 w 10586"/>
                <a:gd name="connsiteY2656" fmla="*/ 9145 h 10000"/>
                <a:gd name="connsiteX2657" fmla="*/ 1336 w 10586"/>
                <a:gd name="connsiteY2657" fmla="*/ 9154 h 10000"/>
                <a:gd name="connsiteX2658" fmla="*/ 1336 w 10586"/>
                <a:gd name="connsiteY2658" fmla="*/ 9162 h 10000"/>
                <a:gd name="connsiteX2659" fmla="*/ 1350 w 10586"/>
                <a:gd name="connsiteY2659" fmla="*/ 9231 h 10000"/>
                <a:gd name="connsiteX2660" fmla="*/ 1355 w 10586"/>
                <a:gd name="connsiteY2660" fmla="*/ 9231 h 10000"/>
                <a:gd name="connsiteX2661" fmla="*/ 1364 w 10586"/>
                <a:gd name="connsiteY2661" fmla="*/ 9214 h 10000"/>
                <a:gd name="connsiteX2662" fmla="*/ 1369 w 10586"/>
                <a:gd name="connsiteY2662" fmla="*/ 9214 h 10000"/>
                <a:gd name="connsiteX2663" fmla="*/ 1382 w 10586"/>
                <a:gd name="connsiteY2663" fmla="*/ 9154 h 10000"/>
                <a:gd name="connsiteX2664" fmla="*/ 1396 w 10586"/>
                <a:gd name="connsiteY2664" fmla="*/ 9154 h 10000"/>
                <a:gd name="connsiteX2665" fmla="*/ 1382 w 10586"/>
                <a:gd name="connsiteY2665" fmla="*/ 9145 h 10000"/>
                <a:gd name="connsiteX2666" fmla="*/ 1382 w 10586"/>
                <a:gd name="connsiteY2666" fmla="*/ 9128 h 10000"/>
                <a:gd name="connsiteX2667" fmla="*/ 1369 w 10586"/>
                <a:gd name="connsiteY2667" fmla="*/ 9128 h 10000"/>
                <a:gd name="connsiteX2668" fmla="*/ 1364 w 10586"/>
                <a:gd name="connsiteY2668" fmla="*/ 9128 h 10000"/>
                <a:gd name="connsiteX2669" fmla="*/ 1355 w 10586"/>
                <a:gd name="connsiteY2669" fmla="*/ 9120 h 10000"/>
                <a:gd name="connsiteX2670" fmla="*/ 1350 w 10586"/>
                <a:gd name="connsiteY2670" fmla="*/ 9103 h 10000"/>
                <a:gd name="connsiteX2671" fmla="*/ 1355 w 10586"/>
                <a:gd name="connsiteY2671" fmla="*/ 9094 h 10000"/>
                <a:gd name="connsiteX2672" fmla="*/ 1355 w 10586"/>
                <a:gd name="connsiteY2672" fmla="*/ 9068 h 10000"/>
                <a:gd name="connsiteX2673" fmla="*/ 1369 w 10586"/>
                <a:gd name="connsiteY2673" fmla="*/ 9068 h 10000"/>
                <a:gd name="connsiteX2674" fmla="*/ 1378 w 10586"/>
                <a:gd name="connsiteY2674" fmla="*/ 9077 h 10000"/>
                <a:gd name="connsiteX2675" fmla="*/ 1396 w 10586"/>
                <a:gd name="connsiteY2675" fmla="*/ 9068 h 10000"/>
                <a:gd name="connsiteX2676" fmla="*/ 1382 w 10586"/>
                <a:gd name="connsiteY2676" fmla="*/ 8940 h 10000"/>
                <a:gd name="connsiteX2677" fmla="*/ 1378 w 10586"/>
                <a:gd name="connsiteY2677" fmla="*/ 8940 h 10000"/>
                <a:gd name="connsiteX2678" fmla="*/ 1364 w 10586"/>
                <a:gd name="connsiteY2678" fmla="*/ 8889 h 10000"/>
                <a:gd name="connsiteX2679" fmla="*/ 1355 w 10586"/>
                <a:gd name="connsiteY2679" fmla="*/ 8880 h 10000"/>
                <a:gd name="connsiteX2680" fmla="*/ 1323 w 10586"/>
                <a:gd name="connsiteY2680" fmla="*/ 8880 h 10000"/>
                <a:gd name="connsiteX2681" fmla="*/ 1309 w 10586"/>
                <a:gd name="connsiteY2681" fmla="*/ 8880 h 10000"/>
                <a:gd name="connsiteX2682" fmla="*/ 1309 w 10586"/>
                <a:gd name="connsiteY2682" fmla="*/ 8889 h 10000"/>
                <a:gd name="connsiteX2683" fmla="*/ 1295 w 10586"/>
                <a:gd name="connsiteY2683" fmla="*/ 8872 h 10000"/>
                <a:gd name="connsiteX2684" fmla="*/ 1290 w 10586"/>
                <a:gd name="connsiteY2684" fmla="*/ 8855 h 10000"/>
                <a:gd name="connsiteX2685" fmla="*/ 1290 w 10586"/>
                <a:gd name="connsiteY2685" fmla="*/ 8829 h 10000"/>
                <a:gd name="connsiteX2686" fmla="*/ 1290 w 10586"/>
                <a:gd name="connsiteY2686" fmla="*/ 8821 h 10000"/>
                <a:gd name="connsiteX2687" fmla="*/ 1290 w 10586"/>
                <a:gd name="connsiteY2687" fmla="*/ 8803 h 10000"/>
                <a:gd name="connsiteX2688" fmla="*/ 1281 w 10586"/>
                <a:gd name="connsiteY2688" fmla="*/ 8795 h 10000"/>
                <a:gd name="connsiteX2689" fmla="*/ 1249 w 10586"/>
                <a:gd name="connsiteY2689" fmla="*/ 8769 h 10000"/>
                <a:gd name="connsiteX2690" fmla="*/ 1263 w 10586"/>
                <a:gd name="connsiteY2690" fmla="*/ 8667 h 10000"/>
                <a:gd name="connsiteX2691" fmla="*/ 1281 w 10586"/>
                <a:gd name="connsiteY2691" fmla="*/ 8658 h 10000"/>
                <a:gd name="connsiteX2692" fmla="*/ 1290 w 10586"/>
                <a:gd name="connsiteY2692" fmla="*/ 8632 h 10000"/>
                <a:gd name="connsiteX2693" fmla="*/ 1281 w 10586"/>
                <a:gd name="connsiteY2693" fmla="*/ 8615 h 10000"/>
                <a:gd name="connsiteX2694" fmla="*/ 1272 w 10586"/>
                <a:gd name="connsiteY2694" fmla="*/ 8598 h 10000"/>
                <a:gd name="connsiteX2695" fmla="*/ 1281 w 10586"/>
                <a:gd name="connsiteY2695" fmla="*/ 8496 h 10000"/>
                <a:gd name="connsiteX2696" fmla="*/ 1295 w 10586"/>
                <a:gd name="connsiteY2696" fmla="*/ 8470 h 10000"/>
                <a:gd name="connsiteX2697" fmla="*/ 1304 w 10586"/>
                <a:gd name="connsiteY2697" fmla="*/ 8462 h 10000"/>
                <a:gd name="connsiteX2698" fmla="*/ 1304 w 10586"/>
                <a:gd name="connsiteY2698" fmla="*/ 8444 h 10000"/>
                <a:gd name="connsiteX2699" fmla="*/ 1304 w 10586"/>
                <a:gd name="connsiteY2699" fmla="*/ 8419 h 10000"/>
                <a:gd name="connsiteX2700" fmla="*/ 1304 w 10586"/>
                <a:gd name="connsiteY2700" fmla="*/ 8410 h 10000"/>
                <a:gd name="connsiteX2701" fmla="*/ 1309 w 10586"/>
                <a:gd name="connsiteY2701" fmla="*/ 8393 h 10000"/>
                <a:gd name="connsiteX2702" fmla="*/ 1318 w 10586"/>
                <a:gd name="connsiteY2702" fmla="*/ 8385 h 10000"/>
                <a:gd name="connsiteX2703" fmla="*/ 1323 w 10586"/>
                <a:gd name="connsiteY2703" fmla="*/ 8385 h 10000"/>
                <a:gd name="connsiteX2704" fmla="*/ 1332 w 10586"/>
                <a:gd name="connsiteY2704" fmla="*/ 8410 h 10000"/>
                <a:gd name="connsiteX2705" fmla="*/ 1346 w 10586"/>
                <a:gd name="connsiteY2705" fmla="*/ 8419 h 10000"/>
                <a:gd name="connsiteX2706" fmla="*/ 1364 w 10586"/>
                <a:gd name="connsiteY2706" fmla="*/ 8504 h 10000"/>
                <a:gd name="connsiteX2707" fmla="*/ 1369 w 10586"/>
                <a:gd name="connsiteY2707" fmla="*/ 8521 h 10000"/>
                <a:gd name="connsiteX2708" fmla="*/ 1406 w 10586"/>
                <a:gd name="connsiteY2708" fmla="*/ 8470 h 10000"/>
                <a:gd name="connsiteX2709" fmla="*/ 1382 w 10586"/>
                <a:gd name="connsiteY2709" fmla="*/ 8359 h 10000"/>
                <a:gd name="connsiteX2710" fmla="*/ 1392 w 10586"/>
                <a:gd name="connsiteY2710" fmla="*/ 8359 h 10000"/>
                <a:gd name="connsiteX2711" fmla="*/ 1438 w 10586"/>
                <a:gd name="connsiteY2711" fmla="*/ 8308 h 10000"/>
                <a:gd name="connsiteX2712" fmla="*/ 1442 w 10586"/>
                <a:gd name="connsiteY2712" fmla="*/ 8299 h 10000"/>
                <a:gd name="connsiteX2713" fmla="*/ 1442 w 10586"/>
                <a:gd name="connsiteY2713" fmla="*/ 8256 h 10000"/>
                <a:gd name="connsiteX2714" fmla="*/ 1452 w 10586"/>
                <a:gd name="connsiteY2714" fmla="*/ 8256 h 10000"/>
                <a:gd name="connsiteX2715" fmla="*/ 1456 w 10586"/>
                <a:gd name="connsiteY2715" fmla="*/ 8256 h 10000"/>
                <a:gd name="connsiteX2716" fmla="*/ 1470 w 10586"/>
                <a:gd name="connsiteY2716" fmla="*/ 8248 h 10000"/>
                <a:gd name="connsiteX2717" fmla="*/ 1479 w 10586"/>
                <a:gd name="connsiteY2717" fmla="*/ 8231 h 10000"/>
                <a:gd name="connsiteX2718" fmla="*/ 1493 w 10586"/>
                <a:gd name="connsiteY2718" fmla="*/ 8222 h 10000"/>
                <a:gd name="connsiteX2719" fmla="*/ 1498 w 10586"/>
                <a:gd name="connsiteY2719" fmla="*/ 8214 h 10000"/>
                <a:gd name="connsiteX2720" fmla="*/ 1502 w 10586"/>
                <a:gd name="connsiteY2720" fmla="*/ 8197 h 10000"/>
                <a:gd name="connsiteX2721" fmla="*/ 1512 w 10586"/>
                <a:gd name="connsiteY2721" fmla="*/ 8188 h 10000"/>
                <a:gd name="connsiteX2722" fmla="*/ 1516 w 10586"/>
                <a:gd name="connsiteY2722" fmla="*/ 8171 h 10000"/>
                <a:gd name="connsiteX2723" fmla="*/ 1525 w 10586"/>
                <a:gd name="connsiteY2723" fmla="*/ 8162 h 10000"/>
                <a:gd name="connsiteX2724" fmla="*/ 1539 w 10586"/>
                <a:gd name="connsiteY2724" fmla="*/ 8145 h 10000"/>
                <a:gd name="connsiteX2725" fmla="*/ 1558 w 10586"/>
                <a:gd name="connsiteY2725" fmla="*/ 8145 h 10000"/>
                <a:gd name="connsiteX2726" fmla="*/ 1562 w 10586"/>
                <a:gd name="connsiteY2726" fmla="*/ 8188 h 10000"/>
                <a:gd name="connsiteX2727" fmla="*/ 1585 w 10586"/>
                <a:gd name="connsiteY2727" fmla="*/ 8171 h 10000"/>
                <a:gd name="connsiteX2728" fmla="*/ 1590 w 10586"/>
                <a:gd name="connsiteY2728" fmla="*/ 8188 h 10000"/>
                <a:gd name="connsiteX2729" fmla="*/ 1599 w 10586"/>
                <a:gd name="connsiteY2729" fmla="*/ 8171 h 10000"/>
                <a:gd name="connsiteX2730" fmla="*/ 1599 w 10586"/>
                <a:gd name="connsiteY2730" fmla="*/ 8162 h 10000"/>
                <a:gd name="connsiteX2731" fmla="*/ 1604 w 10586"/>
                <a:gd name="connsiteY2731" fmla="*/ 8137 h 10000"/>
                <a:gd name="connsiteX2732" fmla="*/ 1618 w 10586"/>
                <a:gd name="connsiteY2732" fmla="*/ 8145 h 10000"/>
                <a:gd name="connsiteX2733" fmla="*/ 1627 w 10586"/>
                <a:gd name="connsiteY2733" fmla="*/ 8137 h 10000"/>
                <a:gd name="connsiteX2734" fmla="*/ 1631 w 10586"/>
                <a:gd name="connsiteY2734" fmla="*/ 8137 h 10000"/>
                <a:gd name="connsiteX2735" fmla="*/ 1636 w 10586"/>
                <a:gd name="connsiteY2735" fmla="*/ 8171 h 10000"/>
                <a:gd name="connsiteX2736" fmla="*/ 1645 w 10586"/>
                <a:gd name="connsiteY2736" fmla="*/ 8188 h 10000"/>
                <a:gd name="connsiteX2737" fmla="*/ 1664 w 10586"/>
                <a:gd name="connsiteY2737" fmla="*/ 8171 h 10000"/>
                <a:gd name="connsiteX2738" fmla="*/ 1673 w 10586"/>
                <a:gd name="connsiteY2738" fmla="*/ 8188 h 10000"/>
                <a:gd name="connsiteX2739" fmla="*/ 1691 w 10586"/>
                <a:gd name="connsiteY2739" fmla="*/ 8171 h 10000"/>
                <a:gd name="connsiteX2740" fmla="*/ 1705 w 10586"/>
                <a:gd name="connsiteY2740" fmla="*/ 8171 h 10000"/>
                <a:gd name="connsiteX2741" fmla="*/ 1719 w 10586"/>
                <a:gd name="connsiteY2741" fmla="*/ 8197 h 10000"/>
                <a:gd name="connsiteX2742" fmla="*/ 1724 w 10586"/>
                <a:gd name="connsiteY2742" fmla="*/ 8231 h 10000"/>
                <a:gd name="connsiteX2743" fmla="*/ 1751 w 10586"/>
                <a:gd name="connsiteY2743" fmla="*/ 8256 h 10000"/>
                <a:gd name="connsiteX2744" fmla="*/ 1751 w 10586"/>
                <a:gd name="connsiteY2744" fmla="*/ 8274 h 10000"/>
                <a:gd name="connsiteX2745" fmla="*/ 1760 w 10586"/>
                <a:gd name="connsiteY2745" fmla="*/ 8282 h 10000"/>
                <a:gd name="connsiteX2746" fmla="*/ 1770 w 10586"/>
                <a:gd name="connsiteY2746" fmla="*/ 8325 h 10000"/>
                <a:gd name="connsiteX2747" fmla="*/ 1770 w 10586"/>
                <a:gd name="connsiteY2747" fmla="*/ 8350 h 10000"/>
                <a:gd name="connsiteX2748" fmla="*/ 1779 w 10586"/>
                <a:gd name="connsiteY2748" fmla="*/ 8368 h 10000"/>
                <a:gd name="connsiteX2749" fmla="*/ 1783 w 10586"/>
                <a:gd name="connsiteY2749" fmla="*/ 8359 h 10000"/>
                <a:gd name="connsiteX2750" fmla="*/ 1783 w 10586"/>
                <a:gd name="connsiteY2750" fmla="*/ 8308 h 10000"/>
                <a:gd name="connsiteX2751" fmla="*/ 1779 w 10586"/>
                <a:gd name="connsiteY2751" fmla="*/ 8299 h 10000"/>
                <a:gd name="connsiteX2752" fmla="*/ 1783 w 10586"/>
                <a:gd name="connsiteY2752" fmla="*/ 8282 h 10000"/>
                <a:gd name="connsiteX2753" fmla="*/ 1797 w 10586"/>
                <a:gd name="connsiteY2753" fmla="*/ 8274 h 10000"/>
                <a:gd name="connsiteX2754" fmla="*/ 1797 w 10586"/>
                <a:gd name="connsiteY2754" fmla="*/ 8299 h 10000"/>
                <a:gd name="connsiteX2755" fmla="*/ 1806 w 10586"/>
                <a:gd name="connsiteY2755" fmla="*/ 8308 h 10000"/>
                <a:gd name="connsiteX2756" fmla="*/ 1811 w 10586"/>
                <a:gd name="connsiteY2756" fmla="*/ 8325 h 10000"/>
                <a:gd name="connsiteX2757" fmla="*/ 1820 w 10586"/>
                <a:gd name="connsiteY2757" fmla="*/ 8333 h 10000"/>
                <a:gd name="connsiteX2758" fmla="*/ 1853 w 10586"/>
                <a:gd name="connsiteY2758" fmla="*/ 8359 h 10000"/>
                <a:gd name="connsiteX2759" fmla="*/ 1866 w 10586"/>
                <a:gd name="connsiteY2759" fmla="*/ 8359 h 10000"/>
                <a:gd name="connsiteX2760" fmla="*/ 1885 w 10586"/>
                <a:gd name="connsiteY2760" fmla="*/ 8325 h 10000"/>
                <a:gd name="connsiteX2761" fmla="*/ 1885 w 10586"/>
                <a:gd name="connsiteY2761" fmla="*/ 8308 h 10000"/>
                <a:gd name="connsiteX2762" fmla="*/ 1894 w 10586"/>
                <a:gd name="connsiteY2762" fmla="*/ 8299 h 10000"/>
                <a:gd name="connsiteX2763" fmla="*/ 1899 w 10586"/>
                <a:gd name="connsiteY2763" fmla="*/ 8282 h 10000"/>
                <a:gd name="connsiteX2764" fmla="*/ 1912 w 10586"/>
                <a:gd name="connsiteY2764" fmla="*/ 8282 h 10000"/>
                <a:gd name="connsiteX2765" fmla="*/ 1917 w 10586"/>
                <a:gd name="connsiteY2765" fmla="*/ 8299 h 10000"/>
                <a:gd name="connsiteX2766" fmla="*/ 1917 w 10586"/>
                <a:gd name="connsiteY2766" fmla="*/ 8274 h 10000"/>
                <a:gd name="connsiteX2767" fmla="*/ 1940 w 10586"/>
                <a:gd name="connsiteY2767" fmla="*/ 8282 h 10000"/>
                <a:gd name="connsiteX2768" fmla="*/ 1945 w 10586"/>
                <a:gd name="connsiteY2768" fmla="*/ 8274 h 10000"/>
                <a:gd name="connsiteX2769" fmla="*/ 1972 w 10586"/>
                <a:gd name="connsiteY2769" fmla="*/ 8308 h 10000"/>
                <a:gd name="connsiteX2770" fmla="*/ 1986 w 10586"/>
                <a:gd name="connsiteY2770" fmla="*/ 8282 h 10000"/>
                <a:gd name="connsiteX2771" fmla="*/ 1991 w 10586"/>
                <a:gd name="connsiteY2771" fmla="*/ 8274 h 10000"/>
                <a:gd name="connsiteX2772" fmla="*/ 2014 w 10586"/>
                <a:gd name="connsiteY2772" fmla="*/ 8274 h 10000"/>
                <a:gd name="connsiteX2773" fmla="*/ 2018 w 10586"/>
                <a:gd name="connsiteY2773" fmla="*/ 8256 h 10000"/>
                <a:gd name="connsiteX2774" fmla="*/ 2041 w 10586"/>
                <a:gd name="connsiteY2774" fmla="*/ 8274 h 10000"/>
                <a:gd name="connsiteX2775" fmla="*/ 2046 w 10586"/>
                <a:gd name="connsiteY2775" fmla="*/ 8282 h 10000"/>
                <a:gd name="connsiteX2776" fmla="*/ 2046 w 10586"/>
                <a:gd name="connsiteY2776" fmla="*/ 8325 h 10000"/>
                <a:gd name="connsiteX2777" fmla="*/ 2060 w 10586"/>
                <a:gd name="connsiteY2777" fmla="*/ 8350 h 10000"/>
                <a:gd name="connsiteX2778" fmla="*/ 2078 w 10586"/>
                <a:gd name="connsiteY2778" fmla="*/ 8350 h 10000"/>
                <a:gd name="connsiteX2779" fmla="*/ 2092 w 10586"/>
                <a:gd name="connsiteY2779" fmla="*/ 8350 h 10000"/>
                <a:gd name="connsiteX2780" fmla="*/ 2092 w 10586"/>
                <a:gd name="connsiteY2780" fmla="*/ 8350 h 10000"/>
                <a:gd name="connsiteX2781" fmla="*/ 2101 w 10586"/>
                <a:gd name="connsiteY2781" fmla="*/ 8368 h 10000"/>
                <a:gd name="connsiteX2782" fmla="*/ 2120 w 10586"/>
                <a:gd name="connsiteY2782" fmla="*/ 8368 h 10000"/>
                <a:gd name="connsiteX2783" fmla="*/ 2124 w 10586"/>
                <a:gd name="connsiteY2783" fmla="*/ 8359 h 10000"/>
                <a:gd name="connsiteX2784" fmla="*/ 2138 w 10586"/>
                <a:gd name="connsiteY2784" fmla="*/ 8325 h 10000"/>
                <a:gd name="connsiteX2785" fmla="*/ 2147 w 10586"/>
                <a:gd name="connsiteY2785" fmla="*/ 8325 h 10000"/>
                <a:gd name="connsiteX2786" fmla="*/ 2161 w 10586"/>
                <a:gd name="connsiteY2786" fmla="*/ 8350 h 10000"/>
                <a:gd name="connsiteX2787" fmla="*/ 2198 w 10586"/>
                <a:gd name="connsiteY2787" fmla="*/ 8350 h 10000"/>
                <a:gd name="connsiteX2788" fmla="*/ 2207 w 10586"/>
                <a:gd name="connsiteY2788" fmla="*/ 8333 h 10000"/>
                <a:gd name="connsiteX2789" fmla="*/ 2226 w 10586"/>
                <a:gd name="connsiteY2789" fmla="*/ 8325 h 10000"/>
                <a:gd name="connsiteX2790" fmla="*/ 2249 w 10586"/>
                <a:gd name="connsiteY2790" fmla="*/ 8222 h 10000"/>
                <a:gd name="connsiteX2791" fmla="*/ 2235 w 10586"/>
                <a:gd name="connsiteY2791" fmla="*/ 8197 h 10000"/>
                <a:gd name="connsiteX2792" fmla="*/ 2198 w 10586"/>
                <a:gd name="connsiteY2792" fmla="*/ 8197 h 10000"/>
                <a:gd name="connsiteX2793" fmla="*/ 2189 w 10586"/>
                <a:gd name="connsiteY2793" fmla="*/ 8171 h 10000"/>
                <a:gd name="connsiteX2794" fmla="*/ 2161 w 10586"/>
                <a:gd name="connsiteY2794" fmla="*/ 8145 h 10000"/>
                <a:gd name="connsiteX2795" fmla="*/ 2161 w 10586"/>
                <a:gd name="connsiteY2795" fmla="*/ 8137 h 10000"/>
                <a:gd name="connsiteX2796" fmla="*/ 2152 w 10586"/>
                <a:gd name="connsiteY2796" fmla="*/ 8120 h 10000"/>
                <a:gd name="connsiteX2797" fmla="*/ 2138 w 10586"/>
                <a:gd name="connsiteY2797" fmla="*/ 8111 h 10000"/>
                <a:gd name="connsiteX2798" fmla="*/ 2138 w 10586"/>
                <a:gd name="connsiteY2798" fmla="*/ 8094 h 10000"/>
                <a:gd name="connsiteX2799" fmla="*/ 2147 w 10586"/>
                <a:gd name="connsiteY2799" fmla="*/ 8085 h 10000"/>
                <a:gd name="connsiteX2800" fmla="*/ 2161 w 10586"/>
                <a:gd name="connsiteY2800" fmla="*/ 8060 h 10000"/>
                <a:gd name="connsiteX2801" fmla="*/ 2198 w 10586"/>
                <a:gd name="connsiteY2801" fmla="*/ 8034 h 10000"/>
                <a:gd name="connsiteX2802" fmla="*/ 2198 w 10586"/>
                <a:gd name="connsiteY2802" fmla="*/ 8026 h 10000"/>
                <a:gd name="connsiteX2803" fmla="*/ 2198 w 10586"/>
                <a:gd name="connsiteY2803" fmla="*/ 8000 h 10000"/>
                <a:gd name="connsiteX2804" fmla="*/ 2180 w 10586"/>
                <a:gd name="connsiteY2804" fmla="*/ 7940 h 10000"/>
                <a:gd name="connsiteX2805" fmla="*/ 2189 w 10586"/>
                <a:gd name="connsiteY2805" fmla="*/ 7940 h 10000"/>
                <a:gd name="connsiteX2806" fmla="*/ 2198 w 10586"/>
                <a:gd name="connsiteY2806" fmla="*/ 7923 h 10000"/>
                <a:gd name="connsiteX2807" fmla="*/ 2198 w 10586"/>
                <a:gd name="connsiteY2807" fmla="*/ 7897 h 10000"/>
                <a:gd name="connsiteX2808" fmla="*/ 2207 w 10586"/>
                <a:gd name="connsiteY2808" fmla="*/ 7889 h 10000"/>
                <a:gd name="connsiteX2809" fmla="*/ 2221 w 10586"/>
                <a:gd name="connsiteY2809" fmla="*/ 7889 h 10000"/>
                <a:gd name="connsiteX2810" fmla="*/ 2226 w 10586"/>
                <a:gd name="connsiteY2810" fmla="*/ 7897 h 10000"/>
                <a:gd name="connsiteX2811" fmla="*/ 2235 w 10586"/>
                <a:gd name="connsiteY2811" fmla="*/ 7889 h 10000"/>
                <a:gd name="connsiteX2812" fmla="*/ 2249 w 10586"/>
                <a:gd name="connsiteY2812" fmla="*/ 7897 h 10000"/>
                <a:gd name="connsiteX2813" fmla="*/ 2267 w 10586"/>
                <a:gd name="connsiteY2813" fmla="*/ 7897 h 10000"/>
                <a:gd name="connsiteX2814" fmla="*/ 2272 w 10586"/>
                <a:gd name="connsiteY2814" fmla="*/ 7889 h 10000"/>
                <a:gd name="connsiteX2815" fmla="*/ 2281 w 10586"/>
                <a:gd name="connsiteY2815" fmla="*/ 7872 h 10000"/>
                <a:gd name="connsiteX2816" fmla="*/ 2272 w 10586"/>
                <a:gd name="connsiteY2816" fmla="*/ 7846 h 10000"/>
                <a:gd name="connsiteX2817" fmla="*/ 2253 w 10586"/>
                <a:gd name="connsiteY2817" fmla="*/ 7838 h 10000"/>
                <a:gd name="connsiteX2818" fmla="*/ 2221 w 10586"/>
                <a:gd name="connsiteY2818" fmla="*/ 7821 h 10000"/>
                <a:gd name="connsiteX2819" fmla="*/ 2212 w 10586"/>
                <a:gd name="connsiteY2819" fmla="*/ 7812 h 10000"/>
                <a:gd name="connsiteX2820" fmla="*/ 2212 w 10586"/>
                <a:gd name="connsiteY2820" fmla="*/ 7803 h 10000"/>
                <a:gd name="connsiteX2821" fmla="*/ 2221 w 10586"/>
                <a:gd name="connsiteY2821" fmla="*/ 7803 h 10000"/>
                <a:gd name="connsiteX2822" fmla="*/ 2235 w 10586"/>
                <a:gd name="connsiteY2822" fmla="*/ 7786 h 10000"/>
                <a:gd name="connsiteX2823" fmla="*/ 2240 w 10586"/>
                <a:gd name="connsiteY2823" fmla="*/ 7778 h 10000"/>
                <a:gd name="connsiteX2824" fmla="*/ 2226 w 10586"/>
                <a:gd name="connsiteY2824" fmla="*/ 7761 h 10000"/>
                <a:gd name="connsiteX2825" fmla="*/ 2221 w 10586"/>
                <a:gd name="connsiteY2825" fmla="*/ 7778 h 10000"/>
                <a:gd name="connsiteX2826" fmla="*/ 2198 w 10586"/>
                <a:gd name="connsiteY2826" fmla="*/ 7778 h 10000"/>
                <a:gd name="connsiteX2827" fmla="*/ 2198 w 10586"/>
                <a:gd name="connsiteY2827" fmla="*/ 7752 h 10000"/>
                <a:gd name="connsiteX2828" fmla="*/ 2207 w 10586"/>
                <a:gd name="connsiteY2828" fmla="*/ 7735 h 10000"/>
                <a:gd name="connsiteX2829" fmla="*/ 2212 w 10586"/>
                <a:gd name="connsiteY2829" fmla="*/ 7726 h 10000"/>
                <a:gd name="connsiteX2830" fmla="*/ 2198 w 10586"/>
                <a:gd name="connsiteY2830" fmla="*/ 7692 h 10000"/>
                <a:gd name="connsiteX2831" fmla="*/ 2221 w 10586"/>
                <a:gd name="connsiteY2831" fmla="*/ 7692 h 10000"/>
                <a:gd name="connsiteX2832" fmla="*/ 2221 w 10586"/>
                <a:gd name="connsiteY2832" fmla="*/ 7675 h 10000"/>
                <a:gd name="connsiteX2833" fmla="*/ 2235 w 10586"/>
                <a:gd name="connsiteY2833" fmla="*/ 7675 h 10000"/>
                <a:gd name="connsiteX2834" fmla="*/ 2240 w 10586"/>
                <a:gd name="connsiteY2834" fmla="*/ 7692 h 10000"/>
                <a:gd name="connsiteX2835" fmla="*/ 2249 w 10586"/>
                <a:gd name="connsiteY2835" fmla="*/ 7692 h 10000"/>
                <a:gd name="connsiteX2836" fmla="*/ 2258 w 10586"/>
                <a:gd name="connsiteY2836" fmla="*/ 7692 h 10000"/>
                <a:gd name="connsiteX2837" fmla="*/ 2267 w 10586"/>
                <a:gd name="connsiteY2837" fmla="*/ 7692 h 10000"/>
                <a:gd name="connsiteX2838" fmla="*/ 2295 w 10586"/>
                <a:gd name="connsiteY2838" fmla="*/ 7692 h 10000"/>
                <a:gd name="connsiteX2839" fmla="*/ 2300 w 10586"/>
                <a:gd name="connsiteY2839" fmla="*/ 7701 h 10000"/>
                <a:gd name="connsiteX2840" fmla="*/ 2313 w 10586"/>
                <a:gd name="connsiteY2840" fmla="*/ 7675 h 10000"/>
                <a:gd name="connsiteX2841" fmla="*/ 2323 w 10586"/>
                <a:gd name="connsiteY2841" fmla="*/ 7675 h 10000"/>
                <a:gd name="connsiteX2842" fmla="*/ 2341 w 10586"/>
                <a:gd name="connsiteY2842" fmla="*/ 7675 h 10000"/>
                <a:gd name="connsiteX2843" fmla="*/ 2346 w 10586"/>
                <a:gd name="connsiteY2843" fmla="*/ 7667 h 10000"/>
                <a:gd name="connsiteX2844" fmla="*/ 2359 w 10586"/>
                <a:gd name="connsiteY2844" fmla="*/ 7650 h 10000"/>
                <a:gd name="connsiteX2845" fmla="*/ 2373 w 10586"/>
                <a:gd name="connsiteY2845" fmla="*/ 7624 h 10000"/>
                <a:gd name="connsiteX2846" fmla="*/ 2382 w 10586"/>
                <a:gd name="connsiteY2846" fmla="*/ 7641 h 10000"/>
                <a:gd name="connsiteX2847" fmla="*/ 2396 w 10586"/>
                <a:gd name="connsiteY2847" fmla="*/ 7650 h 10000"/>
                <a:gd name="connsiteX2848" fmla="*/ 2401 w 10586"/>
                <a:gd name="connsiteY2848" fmla="*/ 7650 h 10000"/>
                <a:gd name="connsiteX2849" fmla="*/ 2401 w 10586"/>
                <a:gd name="connsiteY2849" fmla="*/ 7624 h 10000"/>
                <a:gd name="connsiteX2850" fmla="*/ 2419 w 10586"/>
                <a:gd name="connsiteY2850" fmla="*/ 7624 h 10000"/>
                <a:gd name="connsiteX2851" fmla="*/ 2433 w 10586"/>
                <a:gd name="connsiteY2851" fmla="*/ 7615 h 10000"/>
                <a:gd name="connsiteX2852" fmla="*/ 2442 w 10586"/>
                <a:gd name="connsiteY2852" fmla="*/ 7615 h 10000"/>
                <a:gd name="connsiteX2853" fmla="*/ 2447 w 10586"/>
                <a:gd name="connsiteY2853" fmla="*/ 7598 h 10000"/>
                <a:gd name="connsiteX2854" fmla="*/ 2461 w 10586"/>
                <a:gd name="connsiteY2854" fmla="*/ 7598 h 10000"/>
                <a:gd name="connsiteX2855" fmla="*/ 2465 w 10586"/>
                <a:gd name="connsiteY2855" fmla="*/ 7615 h 10000"/>
                <a:gd name="connsiteX2856" fmla="*/ 2479 w 10586"/>
                <a:gd name="connsiteY2856" fmla="*/ 7564 h 10000"/>
                <a:gd name="connsiteX2857" fmla="*/ 2488 w 10586"/>
                <a:gd name="connsiteY2857" fmla="*/ 7556 h 10000"/>
                <a:gd name="connsiteX2858" fmla="*/ 2493 w 10586"/>
                <a:gd name="connsiteY2858" fmla="*/ 7556 h 10000"/>
                <a:gd name="connsiteX2859" fmla="*/ 2507 w 10586"/>
                <a:gd name="connsiteY2859" fmla="*/ 7556 h 10000"/>
                <a:gd name="connsiteX2860" fmla="*/ 2530 w 10586"/>
                <a:gd name="connsiteY2860" fmla="*/ 7538 h 10000"/>
                <a:gd name="connsiteX2861" fmla="*/ 2530 w 10586"/>
                <a:gd name="connsiteY2861" fmla="*/ 7556 h 10000"/>
                <a:gd name="connsiteX2862" fmla="*/ 2641 w 10586"/>
                <a:gd name="connsiteY2862" fmla="*/ 7504 h 10000"/>
                <a:gd name="connsiteX2863" fmla="*/ 2654 w 10586"/>
                <a:gd name="connsiteY2863" fmla="*/ 7487 h 10000"/>
                <a:gd name="connsiteX2864" fmla="*/ 2664 w 10586"/>
                <a:gd name="connsiteY2864" fmla="*/ 7487 h 10000"/>
                <a:gd name="connsiteX2865" fmla="*/ 2668 w 10586"/>
                <a:gd name="connsiteY2865" fmla="*/ 7479 h 10000"/>
                <a:gd name="connsiteX2866" fmla="*/ 2673 w 10586"/>
                <a:gd name="connsiteY2866" fmla="*/ 7462 h 10000"/>
                <a:gd name="connsiteX2867" fmla="*/ 2673 w 10586"/>
                <a:gd name="connsiteY2867" fmla="*/ 7427 h 10000"/>
                <a:gd name="connsiteX2868" fmla="*/ 2687 w 10586"/>
                <a:gd name="connsiteY2868" fmla="*/ 7436 h 10000"/>
                <a:gd name="connsiteX2869" fmla="*/ 2696 w 10586"/>
                <a:gd name="connsiteY2869" fmla="*/ 7427 h 10000"/>
                <a:gd name="connsiteX2870" fmla="*/ 2700 w 10586"/>
                <a:gd name="connsiteY2870" fmla="*/ 7419 h 10000"/>
                <a:gd name="connsiteX2871" fmla="*/ 2710 w 10586"/>
                <a:gd name="connsiteY2871" fmla="*/ 7402 h 10000"/>
                <a:gd name="connsiteX2872" fmla="*/ 2724 w 10586"/>
                <a:gd name="connsiteY2872" fmla="*/ 7402 h 10000"/>
                <a:gd name="connsiteX2873" fmla="*/ 2724 w 10586"/>
                <a:gd name="connsiteY2873" fmla="*/ 7393 h 10000"/>
                <a:gd name="connsiteX2874" fmla="*/ 2737 w 10586"/>
                <a:gd name="connsiteY2874" fmla="*/ 7393 h 10000"/>
                <a:gd name="connsiteX2875" fmla="*/ 2742 w 10586"/>
                <a:gd name="connsiteY2875" fmla="*/ 7402 h 10000"/>
                <a:gd name="connsiteX2876" fmla="*/ 2747 w 10586"/>
                <a:gd name="connsiteY2876" fmla="*/ 7402 h 10000"/>
                <a:gd name="connsiteX2877" fmla="*/ 2760 w 10586"/>
                <a:gd name="connsiteY2877" fmla="*/ 7402 h 10000"/>
                <a:gd name="connsiteX2878" fmla="*/ 2770 w 10586"/>
                <a:gd name="connsiteY2878" fmla="*/ 7402 h 10000"/>
                <a:gd name="connsiteX2879" fmla="*/ 2774 w 10586"/>
                <a:gd name="connsiteY2879" fmla="*/ 7402 h 10000"/>
                <a:gd name="connsiteX2880" fmla="*/ 2783 w 10586"/>
                <a:gd name="connsiteY2880" fmla="*/ 7419 h 10000"/>
                <a:gd name="connsiteX2881" fmla="*/ 2802 w 10586"/>
                <a:gd name="connsiteY2881" fmla="*/ 7436 h 10000"/>
                <a:gd name="connsiteX2882" fmla="*/ 2816 w 10586"/>
                <a:gd name="connsiteY2882" fmla="*/ 7419 h 10000"/>
                <a:gd name="connsiteX2883" fmla="*/ 2834 w 10586"/>
                <a:gd name="connsiteY2883" fmla="*/ 7419 h 10000"/>
                <a:gd name="connsiteX2884" fmla="*/ 2843 w 10586"/>
                <a:gd name="connsiteY2884" fmla="*/ 7419 h 10000"/>
                <a:gd name="connsiteX2885" fmla="*/ 2848 w 10586"/>
                <a:gd name="connsiteY2885" fmla="*/ 7436 h 10000"/>
                <a:gd name="connsiteX2886" fmla="*/ 2857 w 10586"/>
                <a:gd name="connsiteY2886" fmla="*/ 7453 h 10000"/>
                <a:gd name="connsiteX2887" fmla="*/ 2857 w 10586"/>
                <a:gd name="connsiteY2887" fmla="*/ 7504 h 10000"/>
                <a:gd name="connsiteX2888" fmla="*/ 2862 w 10586"/>
                <a:gd name="connsiteY2888" fmla="*/ 7530 h 10000"/>
                <a:gd name="connsiteX2889" fmla="*/ 2876 w 10586"/>
                <a:gd name="connsiteY2889" fmla="*/ 7538 h 10000"/>
                <a:gd name="connsiteX2890" fmla="*/ 2871 w 10586"/>
                <a:gd name="connsiteY2890" fmla="*/ 7564 h 10000"/>
                <a:gd name="connsiteX2891" fmla="*/ 2871 w 10586"/>
                <a:gd name="connsiteY2891" fmla="*/ 7598 h 10000"/>
                <a:gd name="connsiteX2892" fmla="*/ 2857 w 10586"/>
                <a:gd name="connsiteY2892" fmla="*/ 7624 h 10000"/>
                <a:gd name="connsiteX2893" fmla="*/ 2862 w 10586"/>
                <a:gd name="connsiteY2893" fmla="*/ 7641 h 10000"/>
                <a:gd name="connsiteX2894" fmla="*/ 2871 w 10586"/>
                <a:gd name="connsiteY2894" fmla="*/ 7667 h 10000"/>
                <a:gd name="connsiteX2895" fmla="*/ 2880 w 10586"/>
                <a:gd name="connsiteY2895" fmla="*/ 7650 h 10000"/>
                <a:gd name="connsiteX2896" fmla="*/ 2894 w 10586"/>
                <a:gd name="connsiteY2896" fmla="*/ 7667 h 10000"/>
                <a:gd name="connsiteX2897" fmla="*/ 2903 w 10586"/>
                <a:gd name="connsiteY2897" fmla="*/ 7667 h 10000"/>
                <a:gd name="connsiteX2898" fmla="*/ 2908 w 10586"/>
                <a:gd name="connsiteY2898" fmla="*/ 7641 h 10000"/>
                <a:gd name="connsiteX2899" fmla="*/ 2917 w 10586"/>
                <a:gd name="connsiteY2899" fmla="*/ 7641 h 10000"/>
                <a:gd name="connsiteX2900" fmla="*/ 2922 w 10586"/>
                <a:gd name="connsiteY2900" fmla="*/ 7641 h 10000"/>
                <a:gd name="connsiteX2901" fmla="*/ 2931 w 10586"/>
                <a:gd name="connsiteY2901" fmla="*/ 7615 h 10000"/>
                <a:gd name="connsiteX2902" fmla="*/ 2935 w 10586"/>
                <a:gd name="connsiteY2902" fmla="*/ 7615 h 10000"/>
                <a:gd name="connsiteX2903" fmla="*/ 2945 w 10586"/>
                <a:gd name="connsiteY2903" fmla="*/ 7650 h 10000"/>
                <a:gd name="connsiteX2904" fmla="*/ 2949 w 10586"/>
                <a:gd name="connsiteY2904" fmla="*/ 7667 h 10000"/>
                <a:gd name="connsiteX2905" fmla="*/ 2949 w 10586"/>
                <a:gd name="connsiteY2905" fmla="*/ 7675 h 10000"/>
                <a:gd name="connsiteX2906" fmla="*/ 2945 w 10586"/>
                <a:gd name="connsiteY2906" fmla="*/ 7692 h 10000"/>
                <a:gd name="connsiteX2907" fmla="*/ 2963 w 10586"/>
                <a:gd name="connsiteY2907" fmla="*/ 7701 h 10000"/>
                <a:gd name="connsiteX2908" fmla="*/ 2963 w 10586"/>
                <a:gd name="connsiteY2908" fmla="*/ 7675 h 10000"/>
                <a:gd name="connsiteX2909" fmla="*/ 2954 w 10586"/>
                <a:gd name="connsiteY2909" fmla="*/ 7667 h 10000"/>
                <a:gd name="connsiteX2910" fmla="*/ 2963 w 10586"/>
                <a:gd name="connsiteY2910" fmla="*/ 7667 h 10000"/>
                <a:gd name="connsiteX2911" fmla="*/ 2982 w 10586"/>
                <a:gd name="connsiteY2911" fmla="*/ 7667 h 10000"/>
                <a:gd name="connsiteX2912" fmla="*/ 2991 w 10586"/>
                <a:gd name="connsiteY2912" fmla="*/ 7675 h 10000"/>
                <a:gd name="connsiteX2913" fmla="*/ 2995 w 10586"/>
                <a:gd name="connsiteY2913" fmla="*/ 7692 h 10000"/>
                <a:gd name="connsiteX2914" fmla="*/ 3009 w 10586"/>
                <a:gd name="connsiteY2914" fmla="*/ 7701 h 10000"/>
                <a:gd name="connsiteX2915" fmla="*/ 3018 w 10586"/>
                <a:gd name="connsiteY2915" fmla="*/ 7701 h 10000"/>
                <a:gd name="connsiteX2916" fmla="*/ 3023 w 10586"/>
                <a:gd name="connsiteY2916" fmla="*/ 7692 h 10000"/>
                <a:gd name="connsiteX2917" fmla="*/ 3028 w 10586"/>
                <a:gd name="connsiteY2917" fmla="*/ 7675 h 10000"/>
                <a:gd name="connsiteX2918" fmla="*/ 3037 w 10586"/>
                <a:gd name="connsiteY2918" fmla="*/ 7692 h 10000"/>
                <a:gd name="connsiteX2919" fmla="*/ 3028 w 10586"/>
                <a:gd name="connsiteY2919" fmla="*/ 7709 h 10000"/>
                <a:gd name="connsiteX2920" fmla="*/ 3023 w 10586"/>
                <a:gd name="connsiteY2920" fmla="*/ 7709 h 10000"/>
                <a:gd name="connsiteX2921" fmla="*/ 3018 w 10586"/>
                <a:gd name="connsiteY2921" fmla="*/ 7726 h 10000"/>
                <a:gd name="connsiteX2922" fmla="*/ 3009 w 10586"/>
                <a:gd name="connsiteY2922" fmla="*/ 7735 h 10000"/>
                <a:gd name="connsiteX2923" fmla="*/ 3009 w 10586"/>
                <a:gd name="connsiteY2923" fmla="*/ 7761 h 10000"/>
                <a:gd name="connsiteX2924" fmla="*/ 3009 w 10586"/>
                <a:gd name="connsiteY2924" fmla="*/ 7778 h 10000"/>
                <a:gd name="connsiteX2925" fmla="*/ 3018 w 10586"/>
                <a:gd name="connsiteY2925" fmla="*/ 7786 h 10000"/>
                <a:gd name="connsiteX2926" fmla="*/ 3023 w 10586"/>
                <a:gd name="connsiteY2926" fmla="*/ 7786 h 10000"/>
                <a:gd name="connsiteX2927" fmla="*/ 3028 w 10586"/>
                <a:gd name="connsiteY2927" fmla="*/ 7778 h 10000"/>
                <a:gd name="connsiteX2928" fmla="*/ 3051 w 10586"/>
                <a:gd name="connsiteY2928" fmla="*/ 7761 h 10000"/>
                <a:gd name="connsiteX2929" fmla="*/ 3055 w 10586"/>
                <a:gd name="connsiteY2929" fmla="*/ 7778 h 10000"/>
                <a:gd name="connsiteX2930" fmla="*/ 3065 w 10586"/>
                <a:gd name="connsiteY2930" fmla="*/ 7761 h 10000"/>
                <a:gd name="connsiteX2931" fmla="*/ 3069 w 10586"/>
                <a:gd name="connsiteY2931" fmla="*/ 7786 h 10000"/>
                <a:gd name="connsiteX2932" fmla="*/ 3083 w 10586"/>
                <a:gd name="connsiteY2932" fmla="*/ 7786 h 10000"/>
                <a:gd name="connsiteX2933" fmla="*/ 3078 w 10586"/>
                <a:gd name="connsiteY2933" fmla="*/ 7761 h 10000"/>
                <a:gd name="connsiteX2934" fmla="*/ 3083 w 10586"/>
                <a:gd name="connsiteY2934" fmla="*/ 7752 h 10000"/>
                <a:gd name="connsiteX2935" fmla="*/ 3097 w 10586"/>
                <a:gd name="connsiteY2935" fmla="*/ 7752 h 10000"/>
                <a:gd name="connsiteX2936" fmla="*/ 3111 w 10586"/>
                <a:gd name="connsiteY2936" fmla="*/ 7726 h 10000"/>
                <a:gd name="connsiteX2937" fmla="*/ 3124 w 10586"/>
                <a:gd name="connsiteY2937" fmla="*/ 7709 h 10000"/>
                <a:gd name="connsiteX2938" fmla="*/ 3143 w 10586"/>
                <a:gd name="connsiteY2938" fmla="*/ 7692 h 10000"/>
                <a:gd name="connsiteX2939" fmla="*/ 3152 w 10586"/>
                <a:gd name="connsiteY2939" fmla="*/ 7667 h 10000"/>
                <a:gd name="connsiteX2940" fmla="*/ 3157 w 10586"/>
                <a:gd name="connsiteY2940" fmla="*/ 7650 h 10000"/>
                <a:gd name="connsiteX2941" fmla="*/ 3161 w 10586"/>
                <a:gd name="connsiteY2941" fmla="*/ 7650 h 10000"/>
                <a:gd name="connsiteX2942" fmla="*/ 3189 w 10586"/>
                <a:gd name="connsiteY2942" fmla="*/ 7641 h 10000"/>
                <a:gd name="connsiteX2943" fmla="*/ 3198 w 10586"/>
                <a:gd name="connsiteY2943" fmla="*/ 7624 h 10000"/>
                <a:gd name="connsiteX2944" fmla="*/ 3217 w 10586"/>
                <a:gd name="connsiteY2944" fmla="*/ 7615 h 10000"/>
                <a:gd name="connsiteX2945" fmla="*/ 3235 w 10586"/>
                <a:gd name="connsiteY2945" fmla="*/ 7598 h 10000"/>
                <a:gd name="connsiteX2946" fmla="*/ 3235 w 10586"/>
                <a:gd name="connsiteY2946" fmla="*/ 7615 h 10000"/>
                <a:gd name="connsiteX2947" fmla="*/ 3235 w 10586"/>
                <a:gd name="connsiteY2947" fmla="*/ 7641 h 10000"/>
                <a:gd name="connsiteX2948" fmla="*/ 3235 w 10586"/>
                <a:gd name="connsiteY2948" fmla="*/ 7650 h 10000"/>
                <a:gd name="connsiteX2949" fmla="*/ 3226 w 10586"/>
                <a:gd name="connsiteY2949" fmla="*/ 7650 h 10000"/>
                <a:gd name="connsiteX2950" fmla="*/ 3217 w 10586"/>
                <a:gd name="connsiteY2950" fmla="*/ 7650 h 10000"/>
                <a:gd name="connsiteX2951" fmla="*/ 3212 w 10586"/>
                <a:gd name="connsiteY2951" fmla="*/ 7675 h 10000"/>
                <a:gd name="connsiteX2952" fmla="*/ 3212 w 10586"/>
                <a:gd name="connsiteY2952" fmla="*/ 7675 h 10000"/>
                <a:gd name="connsiteX0" fmla="*/ 3212 w 10577"/>
                <a:gd name="connsiteY0" fmla="*/ 7675 h 10000"/>
                <a:gd name="connsiteX1" fmla="*/ 3217 w 10577"/>
                <a:gd name="connsiteY1" fmla="*/ 7692 h 10000"/>
                <a:gd name="connsiteX2" fmla="*/ 3226 w 10577"/>
                <a:gd name="connsiteY2" fmla="*/ 7692 h 10000"/>
                <a:gd name="connsiteX3" fmla="*/ 3309 w 10577"/>
                <a:gd name="connsiteY3" fmla="*/ 7838 h 10000"/>
                <a:gd name="connsiteX4" fmla="*/ 3452 w 10577"/>
                <a:gd name="connsiteY4" fmla="*/ 8325 h 10000"/>
                <a:gd name="connsiteX5" fmla="*/ 3470 w 10577"/>
                <a:gd name="connsiteY5" fmla="*/ 8299 h 10000"/>
                <a:gd name="connsiteX6" fmla="*/ 3470 w 10577"/>
                <a:gd name="connsiteY6" fmla="*/ 8282 h 10000"/>
                <a:gd name="connsiteX7" fmla="*/ 3470 w 10577"/>
                <a:gd name="connsiteY7" fmla="*/ 8274 h 10000"/>
                <a:gd name="connsiteX8" fmla="*/ 3484 w 10577"/>
                <a:gd name="connsiteY8" fmla="*/ 8231 h 10000"/>
                <a:gd name="connsiteX9" fmla="*/ 3498 w 10577"/>
                <a:gd name="connsiteY9" fmla="*/ 8231 h 10000"/>
                <a:gd name="connsiteX10" fmla="*/ 3498 w 10577"/>
                <a:gd name="connsiteY10" fmla="*/ 8248 h 10000"/>
                <a:gd name="connsiteX11" fmla="*/ 3512 w 10577"/>
                <a:gd name="connsiteY11" fmla="*/ 8256 h 10000"/>
                <a:gd name="connsiteX12" fmla="*/ 3525 w 10577"/>
                <a:gd name="connsiteY12" fmla="*/ 8274 h 10000"/>
                <a:gd name="connsiteX13" fmla="*/ 3525 w 10577"/>
                <a:gd name="connsiteY13" fmla="*/ 8282 h 10000"/>
                <a:gd name="connsiteX14" fmla="*/ 3525 w 10577"/>
                <a:gd name="connsiteY14" fmla="*/ 8308 h 10000"/>
                <a:gd name="connsiteX15" fmla="*/ 3530 w 10577"/>
                <a:gd name="connsiteY15" fmla="*/ 8308 h 10000"/>
                <a:gd name="connsiteX16" fmla="*/ 3539 w 10577"/>
                <a:gd name="connsiteY16" fmla="*/ 8333 h 10000"/>
                <a:gd name="connsiteX17" fmla="*/ 3571 w 10577"/>
                <a:gd name="connsiteY17" fmla="*/ 8333 h 10000"/>
                <a:gd name="connsiteX18" fmla="*/ 3590 w 10577"/>
                <a:gd name="connsiteY18" fmla="*/ 8350 h 10000"/>
                <a:gd name="connsiteX19" fmla="*/ 3599 w 10577"/>
                <a:gd name="connsiteY19" fmla="*/ 8333 h 10000"/>
                <a:gd name="connsiteX20" fmla="*/ 3618 w 10577"/>
                <a:gd name="connsiteY20" fmla="*/ 8333 h 10000"/>
                <a:gd name="connsiteX21" fmla="*/ 3618 w 10577"/>
                <a:gd name="connsiteY21" fmla="*/ 8325 h 10000"/>
                <a:gd name="connsiteX22" fmla="*/ 3627 w 10577"/>
                <a:gd name="connsiteY22" fmla="*/ 8308 h 10000"/>
                <a:gd name="connsiteX23" fmla="*/ 3641 w 10577"/>
                <a:gd name="connsiteY23" fmla="*/ 8308 h 10000"/>
                <a:gd name="connsiteX24" fmla="*/ 3645 w 10577"/>
                <a:gd name="connsiteY24" fmla="*/ 8308 h 10000"/>
                <a:gd name="connsiteX25" fmla="*/ 3650 w 10577"/>
                <a:gd name="connsiteY25" fmla="*/ 8299 h 10000"/>
                <a:gd name="connsiteX26" fmla="*/ 3659 w 10577"/>
                <a:gd name="connsiteY26" fmla="*/ 8282 h 10000"/>
                <a:gd name="connsiteX27" fmla="*/ 3677 w 10577"/>
                <a:gd name="connsiteY27" fmla="*/ 8299 h 10000"/>
                <a:gd name="connsiteX28" fmla="*/ 3687 w 10577"/>
                <a:gd name="connsiteY28" fmla="*/ 8299 h 10000"/>
                <a:gd name="connsiteX29" fmla="*/ 3691 w 10577"/>
                <a:gd name="connsiteY29" fmla="*/ 8325 h 10000"/>
                <a:gd name="connsiteX30" fmla="*/ 3700 w 10577"/>
                <a:gd name="connsiteY30" fmla="*/ 8325 h 10000"/>
                <a:gd name="connsiteX31" fmla="*/ 3714 w 10577"/>
                <a:gd name="connsiteY31" fmla="*/ 8359 h 10000"/>
                <a:gd name="connsiteX32" fmla="*/ 3719 w 10577"/>
                <a:gd name="connsiteY32" fmla="*/ 8359 h 10000"/>
                <a:gd name="connsiteX33" fmla="*/ 3724 w 10577"/>
                <a:gd name="connsiteY33" fmla="*/ 8368 h 10000"/>
                <a:gd name="connsiteX34" fmla="*/ 3719 w 10577"/>
                <a:gd name="connsiteY34" fmla="*/ 8393 h 10000"/>
                <a:gd name="connsiteX35" fmla="*/ 3724 w 10577"/>
                <a:gd name="connsiteY35" fmla="*/ 8410 h 10000"/>
                <a:gd name="connsiteX36" fmla="*/ 3724 w 10577"/>
                <a:gd name="connsiteY36" fmla="*/ 8436 h 10000"/>
                <a:gd name="connsiteX37" fmla="*/ 3737 w 10577"/>
                <a:gd name="connsiteY37" fmla="*/ 8436 h 10000"/>
                <a:gd name="connsiteX38" fmla="*/ 3765 w 10577"/>
                <a:gd name="connsiteY38" fmla="*/ 8462 h 10000"/>
                <a:gd name="connsiteX39" fmla="*/ 3765 w 10577"/>
                <a:gd name="connsiteY39" fmla="*/ 8470 h 10000"/>
                <a:gd name="connsiteX40" fmla="*/ 3765 w 10577"/>
                <a:gd name="connsiteY40" fmla="*/ 8496 h 10000"/>
                <a:gd name="connsiteX41" fmla="*/ 3774 w 10577"/>
                <a:gd name="connsiteY41" fmla="*/ 8496 h 10000"/>
                <a:gd name="connsiteX42" fmla="*/ 3779 w 10577"/>
                <a:gd name="connsiteY42" fmla="*/ 8504 h 10000"/>
                <a:gd name="connsiteX43" fmla="*/ 3793 w 10577"/>
                <a:gd name="connsiteY43" fmla="*/ 8547 h 10000"/>
                <a:gd name="connsiteX44" fmla="*/ 3797 w 10577"/>
                <a:gd name="connsiteY44" fmla="*/ 8547 h 10000"/>
                <a:gd name="connsiteX45" fmla="*/ 3820 w 10577"/>
                <a:gd name="connsiteY45" fmla="*/ 8556 h 10000"/>
                <a:gd name="connsiteX46" fmla="*/ 3834 w 10577"/>
                <a:gd name="connsiteY46" fmla="*/ 8573 h 10000"/>
                <a:gd name="connsiteX47" fmla="*/ 3853 w 10577"/>
                <a:gd name="connsiteY47" fmla="*/ 8573 h 10000"/>
                <a:gd name="connsiteX48" fmla="*/ 3857 w 10577"/>
                <a:gd name="connsiteY48" fmla="*/ 8556 h 10000"/>
                <a:gd name="connsiteX49" fmla="*/ 3866 w 10577"/>
                <a:gd name="connsiteY49" fmla="*/ 8547 h 10000"/>
                <a:gd name="connsiteX50" fmla="*/ 3880 w 10577"/>
                <a:gd name="connsiteY50" fmla="*/ 8530 h 10000"/>
                <a:gd name="connsiteX51" fmla="*/ 3885 w 10577"/>
                <a:gd name="connsiteY51" fmla="*/ 8547 h 10000"/>
                <a:gd name="connsiteX52" fmla="*/ 3885 w 10577"/>
                <a:gd name="connsiteY52" fmla="*/ 8573 h 10000"/>
                <a:gd name="connsiteX53" fmla="*/ 3899 w 10577"/>
                <a:gd name="connsiteY53" fmla="*/ 8573 h 10000"/>
                <a:gd name="connsiteX54" fmla="*/ 3908 w 10577"/>
                <a:gd name="connsiteY54" fmla="*/ 8607 h 10000"/>
                <a:gd name="connsiteX55" fmla="*/ 3912 w 10577"/>
                <a:gd name="connsiteY55" fmla="*/ 8615 h 10000"/>
                <a:gd name="connsiteX56" fmla="*/ 3922 w 10577"/>
                <a:gd name="connsiteY56" fmla="*/ 8632 h 10000"/>
                <a:gd name="connsiteX57" fmla="*/ 3908 w 10577"/>
                <a:gd name="connsiteY57" fmla="*/ 8692 h 10000"/>
                <a:gd name="connsiteX58" fmla="*/ 3908 w 10577"/>
                <a:gd name="connsiteY58" fmla="*/ 8692 h 10000"/>
                <a:gd name="connsiteX59" fmla="*/ 3931 w 10577"/>
                <a:gd name="connsiteY59" fmla="*/ 8709 h 10000"/>
                <a:gd name="connsiteX60" fmla="*/ 3954 w 10577"/>
                <a:gd name="connsiteY60" fmla="*/ 8667 h 10000"/>
                <a:gd name="connsiteX61" fmla="*/ 3959 w 10577"/>
                <a:gd name="connsiteY61" fmla="*/ 8667 h 10000"/>
                <a:gd name="connsiteX62" fmla="*/ 3972 w 10577"/>
                <a:gd name="connsiteY62" fmla="*/ 8615 h 10000"/>
                <a:gd name="connsiteX63" fmla="*/ 3995 w 10577"/>
                <a:gd name="connsiteY63" fmla="*/ 8581 h 10000"/>
                <a:gd name="connsiteX64" fmla="*/ 4032 w 10577"/>
                <a:gd name="connsiteY64" fmla="*/ 8556 h 10000"/>
                <a:gd name="connsiteX65" fmla="*/ 4138 w 10577"/>
                <a:gd name="connsiteY65" fmla="*/ 8419 h 10000"/>
                <a:gd name="connsiteX66" fmla="*/ 4249 w 10577"/>
                <a:gd name="connsiteY66" fmla="*/ 8359 h 10000"/>
                <a:gd name="connsiteX67" fmla="*/ 4295 w 10577"/>
                <a:gd name="connsiteY67" fmla="*/ 8385 h 10000"/>
                <a:gd name="connsiteX68" fmla="*/ 4309 w 10577"/>
                <a:gd name="connsiteY68" fmla="*/ 8410 h 10000"/>
                <a:gd name="connsiteX69" fmla="*/ 4355 w 10577"/>
                <a:gd name="connsiteY69" fmla="*/ 8393 h 10000"/>
                <a:gd name="connsiteX70" fmla="*/ 4382 w 10577"/>
                <a:gd name="connsiteY70" fmla="*/ 8393 h 10000"/>
                <a:gd name="connsiteX71" fmla="*/ 4419 w 10577"/>
                <a:gd name="connsiteY71" fmla="*/ 8487 h 10000"/>
                <a:gd name="connsiteX72" fmla="*/ 4442 w 10577"/>
                <a:gd name="connsiteY72" fmla="*/ 8487 h 10000"/>
                <a:gd name="connsiteX73" fmla="*/ 4493 w 10577"/>
                <a:gd name="connsiteY73" fmla="*/ 8470 h 10000"/>
                <a:gd name="connsiteX74" fmla="*/ 4516 w 10577"/>
                <a:gd name="connsiteY74" fmla="*/ 8487 h 10000"/>
                <a:gd name="connsiteX75" fmla="*/ 4608 w 10577"/>
                <a:gd name="connsiteY75" fmla="*/ 8470 h 10000"/>
                <a:gd name="connsiteX76" fmla="*/ 4622 w 10577"/>
                <a:gd name="connsiteY76" fmla="*/ 8470 h 10000"/>
                <a:gd name="connsiteX77" fmla="*/ 4618 w 10577"/>
                <a:gd name="connsiteY77" fmla="*/ 8419 h 10000"/>
                <a:gd name="connsiteX78" fmla="*/ 4622 w 10577"/>
                <a:gd name="connsiteY78" fmla="*/ 8385 h 10000"/>
                <a:gd name="connsiteX79" fmla="*/ 4636 w 10577"/>
                <a:gd name="connsiteY79" fmla="*/ 8350 h 10000"/>
                <a:gd name="connsiteX80" fmla="*/ 4636 w 10577"/>
                <a:gd name="connsiteY80" fmla="*/ 8325 h 10000"/>
                <a:gd name="connsiteX81" fmla="*/ 4622 w 10577"/>
                <a:gd name="connsiteY81" fmla="*/ 8282 h 10000"/>
                <a:gd name="connsiteX82" fmla="*/ 4618 w 10577"/>
                <a:gd name="connsiteY82" fmla="*/ 8248 h 10000"/>
                <a:gd name="connsiteX83" fmla="*/ 4618 w 10577"/>
                <a:gd name="connsiteY83" fmla="*/ 8214 h 10000"/>
                <a:gd name="connsiteX84" fmla="*/ 4691 w 10577"/>
                <a:gd name="connsiteY84" fmla="*/ 8077 h 10000"/>
                <a:gd name="connsiteX85" fmla="*/ 4700 w 10577"/>
                <a:gd name="connsiteY85" fmla="*/ 8060 h 10000"/>
                <a:gd name="connsiteX86" fmla="*/ 4728 w 10577"/>
                <a:gd name="connsiteY86" fmla="*/ 8077 h 10000"/>
                <a:gd name="connsiteX87" fmla="*/ 4751 w 10577"/>
                <a:gd name="connsiteY87" fmla="*/ 8094 h 10000"/>
                <a:gd name="connsiteX88" fmla="*/ 4788 w 10577"/>
                <a:gd name="connsiteY88" fmla="*/ 8120 h 10000"/>
                <a:gd name="connsiteX89" fmla="*/ 4802 w 10577"/>
                <a:gd name="connsiteY89" fmla="*/ 8162 h 10000"/>
                <a:gd name="connsiteX90" fmla="*/ 4885 w 10577"/>
                <a:gd name="connsiteY90" fmla="*/ 8197 h 10000"/>
                <a:gd name="connsiteX91" fmla="*/ 4889 w 10577"/>
                <a:gd name="connsiteY91" fmla="*/ 8231 h 10000"/>
                <a:gd name="connsiteX92" fmla="*/ 4899 w 10577"/>
                <a:gd name="connsiteY92" fmla="*/ 8333 h 10000"/>
                <a:gd name="connsiteX93" fmla="*/ 4903 w 10577"/>
                <a:gd name="connsiteY93" fmla="*/ 8333 h 10000"/>
                <a:gd name="connsiteX94" fmla="*/ 4949 w 10577"/>
                <a:gd name="connsiteY94" fmla="*/ 8410 h 10000"/>
                <a:gd name="connsiteX95" fmla="*/ 4991 w 10577"/>
                <a:gd name="connsiteY95" fmla="*/ 8436 h 10000"/>
                <a:gd name="connsiteX96" fmla="*/ 5023 w 10577"/>
                <a:gd name="connsiteY96" fmla="*/ 8419 h 10000"/>
                <a:gd name="connsiteX97" fmla="*/ 5092 w 10577"/>
                <a:gd name="connsiteY97" fmla="*/ 8359 h 10000"/>
                <a:gd name="connsiteX98" fmla="*/ 5180 w 10577"/>
                <a:gd name="connsiteY98" fmla="*/ 8410 h 10000"/>
                <a:gd name="connsiteX99" fmla="*/ 5189 w 10577"/>
                <a:gd name="connsiteY99" fmla="*/ 8436 h 10000"/>
                <a:gd name="connsiteX100" fmla="*/ 5198 w 10577"/>
                <a:gd name="connsiteY100" fmla="*/ 8436 h 10000"/>
                <a:gd name="connsiteX101" fmla="*/ 5226 w 10577"/>
                <a:gd name="connsiteY101" fmla="*/ 8487 h 10000"/>
                <a:gd name="connsiteX102" fmla="*/ 5276 w 10577"/>
                <a:gd name="connsiteY102" fmla="*/ 8504 h 10000"/>
                <a:gd name="connsiteX103" fmla="*/ 5290 w 10577"/>
                <a:gd name="connsiteY103" fmla="*/ 8556 h 10000"/>
                <a:gd name="connsiteX104" fmla="*/ 5323 w 10577"/>
                <a:gd name="connsiteY104" fmla="*/ 8598 h 10000"/>
                <a:gd name="connsiteX105" fmla="*/ 5447 w 10577"/>
                <a:gd name="connsiteY105" fmla="*/ 8615 h 10000"/>
                <a:gd name="connsiteX106" fmla="*/ 5465 w 10577"/>
                <a:gd name="connsiteY106" fmla="*/ 8632 h 10000"/>
                <a:gd name="connsiteX107" fmla="*/ 5604 w 10577"/>
                <a:gd name="connsiteY107" fmla="*/ 8556 h 10000"/>
                <a:gd name="connsiteX108" fmla="*/ 5677 w 10577"/>
                <a:gd name="connsiteY108" fmla="*/ 8462 h 10000"/>
                <a:gd name="connsiteX109" fmla="*/ 5705 w 10577"/>
                <a:gd name="connsiteY109" fmla="*/ 8444 h 10000"/>
                <a:gd name="connsiteX110" fmla="*/ 5737 w 10577"/>
                <a:gd name="connsiteY110" fmla="*/ 8470 h 10000"/>
                <a:gd name="connsiteX111" fmla="*/ 5760 w 10577"/>
                <a:gd name="connsiteY111" fmla="*/ 8496 h 10000"/>
                <a:gd name="connsiteX112" fmla="*/ 5788 w 10577"/>
                <a:gd name="connsiteY112" fmla="*/ 8504 h 10000"/>
                <a:gd name="connsiteX113" fmla="*/ 5806 w 10577"/>
                <a:gd name="connsiteY113" fmla="*/ 8496 h 10000"/>
                <a:gd name="connsiteX114" fmla="*/ 5820 w 10577"/>
                <a:gd name="connsiteY114" fmla="*/ 8487 h 10000"/>
                <a:gd name="connsiteX115" fmla="*/ 5825 w 10577"/>
                <a:gd name="connsiteY115" fmla="*/ 8487 h 10000"/>
                <a:gd name="connsiteX116" fmla="*/ 5825 w 10577"/>
                <a:gd name="connsiteY116" fmla="*/ 8487 h 10000"/>
                <a:gd name="connsiteX117" fmla="*/ 5926 w 10577"/>
                <a:gd name="connsiteY117" fmla="*/ 8556 h 10000"/>
                <a:gd name="connsiteX118" fmla="*/ 5940 w 10577"/>
                <a:gd name="connsiteY118" fmla="*/ 8556 h 10000"/>
                <a:gd name="connsiteX119" fmla="*/ 6014 w 10577"/>
                <a:gd name="connsiteY119" fmla="*/ 8470 h 10000"/>
                <a:gd name="connsiteX120" fmla="*/ 6018 w 10577"/>
                <a:gd name="connsiteY120" fmla="*/ 8444 h 10000"/>
                <a:gd name="connsiteX121" fmla="*/ 6014 w 10577"/>
                <a:gd name="connsiteY121" fmla="*/ 8419 h 10000"/>
                <a:gd name="connsiteX122" fmla="*/ 6018 w 10577"/>
                <a:gd name="connsiteY122" fmla="*/ 8393 h 10000"/>
                <a:gd name="connsiteX123" fmla="*/ 6041 w 10577"/>
                <a:gd name="connsiteY123" fmla="*/ 8333 h 10000"/>
                <a:gd name="connsiteX124" fmla="*/ 6069 w 10577"/>
                <a:gd name="connsiteY124" fmla="*/ 8188 h 10000"/>
                <a:gd name="connsiteX125" fmla="*/ 6088 w 10577"/>
                <a:gd name="connsiteY125" fmla="*/ 8162 h 10000"/>
                <a:gd name="connsiteX126" fmla="*/ 6115 w 10577"/>
                <a:gd name="connsiteY126" fmla="*/ 8094 h 10000"/>
                <a:gd name="connsiteX127" fmla="*/ 6115 w 10577"/>
                <a:gd name="connsiteY127" fmla="*/ 8094 h 10000"/>
                <a:gd name="connsiteX128" fmla="*/ 6106 w 10577"/>
                <a:gd name="connsiteY128" fmla="*/ 8077 h 10000"/>
                <a:gd name="connsiteX129" fmla="*/ 6106 w 10577"/>
                <a:gd name="connsiteY129" fmla="*/ 8009 h 10000"/>
                <a:gd name="connsiteX130" fmla="*/ 6101 w 10577"/>
                <a:gd name="connsiteY130" fmla="*/ 8000 h 10000"/>
                <a:gd name="connsiteX131" fmla="*/ 6069 w 10577"/>
                <a:gd name="connsiteY131" fmla="*/ 8009 h 10000"/>
                <a:gd name="connsiteX132" fmla="*/ 6069 w 10577"/>
                <a:gd name="connsiteY132" fmla="*/ 8000 h 10000"/>
                <a:gd name="connsiteX133" fmla="*/ 6069 w 10577"/>
                <a:gd name="connsiteY133" fmla="*/ 7974 h 10000"/>
                <a:gd name="connsiteX134" fmla="*/ 6101 w 10577"/>
                <a:gd name="connsiteY134" fmla="*/ 7923 h 10000"/>
                <a:gd name="connsiteX135" fmla="*/ 6106 w 10577"/>
                <a:gd name="connsiteY135" fmla="*/ 7889 h 10000"/>
                <a:gd name="connsiteX136" fmla="*/ 6129 w 10577"/>
                <a:gd name="connsiteY136" fmla="*/ 7863 h 10000"/>
                <a:gd name="connsiteX137" fmla="*/ 6300 w 10577"/>
                <a:gd name="connsiteY137" fmla="*/ 7812 h 10000"/>
                <a:gd name="connsiteX138" fmla="*/ 6359 w 10577"/>
                <a:gd name="connsiteY138" fmla="*/ 7872 h 10000"/>
                <a:gd name="connsiteX139" fmla="*/ 6373 w 10577"/>
                <a:gd name="connsiteY139" fmla="*/ 7889 h 10000"/>
                <a:gd name="connsiteX140" fmla="*/ 6401 w 10577"/>
                <a:gd name="connsiteY140" fmla="*/ 7889 h 10000"/>
                <a:gd name="connsiteX141" fmla="*/ 6433 w 10577"/>
                <a:gd name="connsiteY141" fmla="*/ 7915 h 10000"/>
                <a:gd name="connsiteX142" fmla="*/ 6461 w 10577"/>
                <a:gd name="connsiteY142" fmla="*/ 7974 h 10000"/>
                <a:gd name="connsiteX143" fmla="*/ 6461 w 10577"/>
                <a:gd name="connsiteY143" fmla="*/ 8000 h 10000"/>
                <a:gd name="connsiteX144" fmla="*/ 6484 w 10577"/>
                <a:gd name="connsiteY144" fmla="*/ 8034 h 10000"/>
                <a:gd name="connsiteX145" fmla="*/ 6484 w 10577"/>
                <a:gd name="connsiteY145" fmla="*/ 8051 h 10000"/>
                <a:gd name="connsiteX146" fmla="*/ 6484 w 10577"/>
                <a:gd name="connsiteY146" fmla="*/ 8034 h 10000"/>
                <a:gd name="connsiteX147" fmla="*/ 6558 w 10577"/>
                <a:gd name="connsiteY147" fmla="*/ 8444 h 10000"/>
                <a:gd name="connsiteX148" fmla="*/ 6558 w 10577"/>
                <a:gd name="connsiteY148" fmla="*/ 8462 h 10000"/>
                <a:gd name="connsiteX149" fmla="*/ 6558 w 10577"/>
                <a:gd name="connsiteY149" fmla="*/ 8462 h 10000"/>
                <a:gd name="connsiteX150" fmla="*/ 6562 w 10577"/>
                <a:gd name="connsiteY150" fmla="*/ 8547 h 10000"/>
                <a:gd name="connsiteX151" fmla="*/ 6576 w 10577"/>
                <a:gd name="connsiteY151" fmla="*/ 8573 h 10000"/>
                <a:gd name="connsiteX152" fmla="*/ 6604 w 10577"/>
                <a:gd name="connsiteY152" fmla="*/ 8581 h 10000"/>
                <a:gd name="connsiteX153" fmla="*/ 6631 w 10577"/>
                <a:gd name="connsiteY153" fmla="*/ 8556 h 10000"/>
                <a:gd name="connsiteX154" fmla="*/ 6691 w 10577"/>
                <a:gd name="connsiteY154" fmla="*/ 8607 h 10000"/>
                <a:gd name="connsiteX155" fmla="*/ 6728 w 10577"/>
                <a:gd name="connsiteY155" fmla="*/ 8667 h 10000"/>
                <a:gd name="connsiteX156" fmla="*/ 6742 w 10577"/>
                <a:gd name="connsiteY156" fmla="*/ 8684 h 10000"/>
                <a:gd name="connsiteX157" fmla="*/ 6765 w 10577"/>
                <a:gd name="connsiteY157" fmla="*/ 8684 h 10000"/>
                <a:gd name="connsiteX158" fmla="*/ 6765 w 10577"/>
                <a:gd name="connsiteY158" fmla="*/ 8709 h 10000"/>
                <a:gd name="connsiteX159" fmla="*/ 6765 w 10577"/>
                <a:gd name="connsiteY159" fmla="*/ 8709 h 10000"/>
                <a:gd name="connsiteX160" fmla="*/ 6770 w 10577"/>
                <a:gd name="connsiteY160" fmla="*/ 8709 h 10000"/>
                <a:gd name="connsiteX161" fmla="*/ 6770 w 10577"/>
                <a:gd name="connsiteY161" fmla="*/ 8744 h 10000"/>
                <a:gd name="connsiteX162" fmla="*/ 6779 w 10577"/>
                <a:gd name="connsiteY162" fmla="*/ 8769 h 10000"/>
                <a:gd name="connsiteX163" fmla="*/ 6779 w 10577"/>
                <a:gd name="connsiteY163" fmla="*/ 8846 h 10000"/>
                <a:gd name="connsiteX164" fmla="*/ 6797 w 10577"/>
                <a:gd name="connsiteY164" fmla="*/ 8906 h 10000"/>
                <a:gd name="connsiteX165" fmla="*/ 6816 w 10577"/>
                <a:gd name="connsiteY165" fmla="*/ 8906 h 10000"/>
                <a:gd name="connsiteX166" fmla="*/ 6843 w 10577"/>
                <a:gd name="connsiteY166" fmla="*/ 8915 h 10000"/>
                <a:gd name="connsiteX167" fmla="*/ 6862 w 10577"/>
                <a:gd name="connsiteY167" fmla="*/ 8906 h 10000"/>
                <a:gd name="connsiteX168" fmla="*/ 6935 w 10577"/>
                <a:gd name="connsiteY168" fmla="*/ 8829 h 10000"/>
                <a:gd name="connsiteX169" fmla="*/ 6963 w 10577"/>
                <a:gd name="connsiteY169" fmla="*/ 8829 h 10000"/>
                <a:gd name="connsiteX170" fmla="*/ 7046 w 10577"/>
                <a:gd name="connsiteY170" fmla="*/ 8769 h 10000"/>
                <a:gd name="connsiteX171" fmla="*/ 7046 w 10577"/>
                <a:gd name="connsiteY171" fmla="*/ 8769 h 10000"/>
                <a:gd name="connsiteX172" fmla="*/ 7032 w 10577"/>
                <a:gd name="connsiteY172" fmla="*/ 8803 h 10000"/>
                <a:gd name="connsiteX173" fmla="*/ 7032 w 10577"/>
                <a:gd name="connsiteY173" fmla="*/ 8846 h 10000"/>
                <a:gd name="connsiteX174" fmla="*/ 7037 w 10577"/>
                <a:gd name="connsiteY174" fmla="*/ 8880 h 10000"/>
                <a:gd name="connsiteX175" fmla="*/ 7037 w 10577"/>
                <a:gd name="connsiteY175" fmla="*/ 8932 h 10000"/>
                <a:gd name="connsiteX176" fmla="*/ 7005 w 10577"/>
                <a:gd name="connsiteY176" fmla="*/ 8983 h 10000"/>
                <a:gd name="connsiteX177" fmla="*/ 6977 w 10577"/>
                <a:gd name="connsiteY177" fmla="*/ 9188 h 10000"/>
                <a:gd name="connsiteX178" fmla="*/ 6935 w 10577"/>
                <a:gd name="connsiteY178" fmla="*/ 9316 h 10000"/>
                <a:gd name="connsiteX179" fmla="*/ 6931 w 10577"/>
                <a:gd name="connsiteY179" fmla="*/ 9368 h 10000"/>
                <a:gd name="connsiteX180" fmla="*/ 6917 w 10577"/>
                <a:gd name="connsiteY180" fmla="*/ 9376 h 10000"/>
                <a:gd name="connsiteX181" fmla="*/ 6912 w 10577"/>
                <a:gd name="connsiteY181" fmla="*/ 9376 h 10000"/>
                <a:gd name="connsiteX182" fmla="*/ 6848 w 10577"/>
                <a:gd name="connsiteY182" fmla="*/ 9342 h 10000"/>
                <a:gd name="connsiteX183" fmla="*/ 6788 w 10577"/>
                <a:gd name="connsiteY183" fmla="*/ 9436 h 10000"/>
                <a:gd name="connsiteX184" fmla="*/ 6802 w 10577"/>
                <a:gd name="connsiteY184" fmla="*/ 9462 h 10000"/>
                <a:gd name="connsiteX185" fmla="*/ 6811 w 10577"/>
                <a:gd name="connsiteY185" fmla="*/ 9667 h 10000"/>
                <a:gd name="connsiteX186" fmla="*/ 6788 w 10577"/>
                <a:gd name="connsiteY186" fmla="*/ 9709 h 10000"/>
                <a:gd name="connsiteX187" fmla="*/ 6765 w 10577"/>
                <a:gd name="connsiteY187" fmla="*/ 9752 h 10000"/>
                <a:gd name="connsiteX188" fmla="*/ 6765 w 10577"/>
                <a:gd name="connsiteY188" fmla="*/ 9803 h 10000"/>
                <a:gd name="connsiteX189" fmla="*/ 6770 w 10577"/>
                <a:gd name="connsiteY189" fmla="*/ 9821 h 10000"/>
                <a:gd name="connsiteX190" fmla="*/ 6779 w 10577"/>
                <a:gd name="connsiteY190" fmla="*/ 9812 h 10000"/>
                <a:gd name="connsiteX191" fmla="*/ 6779 w 10577"/>
                <a:gd name="connsiteY191" fmla="*/ 9803 h 10000"/>
                <a:gd name="connsiteX192" fmla="*/ 6770 w 10577"/>
                <a:gd name="connsiteY192" fmla="*/ 9786 h 10000"/>
                <a:gd name="connsiteX193" fmla="*/ 6811 w 10577"/>
                <a:gd name="connsiteY193" fmla="*/ 9786 h 10000"/>
                <a:gd name="connsiteX194" fmla="*/ 6816 w 10577"/>
                <a:gd name="connsiteY194" fmla="*/ 9761 h 10000"/>
                <a:gd name="connsiteX195" fmla="*/ 6825 w 10577"/>
                <a:gd name="connsiteY195" fmla="*/ 9752 h 10000"/>
                <a:gd name="connsiteX196" fmla="*/ 6825 w 10577"/>
                <a:gd name="connsiteY196" fmla="*/ 9726 h 10000"/>
                <a:gd name="connsiteX197" fmla="*/ 6843 w 10577"/>
                <a:gd name="connsiteY197" fmla="*/ 9701 h 10000"/>
                <a:gd name="connsiteX198" fmla="*/ 6848 w 10577"/>
                <a:gd name="connsiteY198" fmla="*/ 9650 h 10000"/>
                <a:gd name="connsiteX199" fmla="*/ 6848 w 10577"/>
                <a:gd name="connsiteY199" fmla="*/ 9675 h 10000"/>
                <a:gd name="connsiteX200" fmla="*/ 6862 w 10577"/>
                <a:gd name="connsiteY200" fmla="*/ 9675 h 10000"/>
                <a:gd name="connsiteX201" fmla="*/ 6857 w 10577"/>
                <a:gd name="connsiteY201" fmla="*/ 9701 h 10000"/>
                <a:gd name="connsiteX202" fmla="*/ 6857 w 10577"/>
                <a:gd name="connsiteY202" fmla="*/ 9701 h 10000"/>
                <a:gd name="connsiteX203" fmla="*/ 6876 w 10577"/>
                <a:gd name="connsiteY203" fmla="*/ 9684 h 10000"/>
                <a:gd name="connsiteX204" fmla="*/ 6885 w 10577"/>
                <a:gd name="connsiteY204" fmla="*/ 9675 h 10000"/>
                <a:gd name="connsiteX205" fmla="*/ 6876 w 10577"/>
                <a:gd name="connsiteY205" fmla="*/ 9735 h 10000"/>
                <a:gd name="connsiteX206" fmla="*/ 6885 w 10577"/>
                <a:gd name="connsiteY206" fmla="*/ 9752 h 10000"/>
                <a:gd name="connsiteX207" fmla="*/ 6903 w 10577"/>
                <a:gd name="connsiteY207" fmla="*/ 9752 h 10000"/>
                <a:gd name="connsiteX208" fmla="*/ 6917 w 10577"/>
                <a:gd name="connsiteY208" fmla="*/ 9761 h 10000"/>
                <a:gd name="connsiteX209" fmla="*/ 6917 w 10577"/>
                <a:gd name="connsiteY209" fmla="*/ 9761 h 10000"/>
                <a:gd name="connsiteX210" fmla="*/ 6922 w 10577"/>
                <a:gd name="connsiteY210" fmla="*/ 9778 h 10000"/>
                <a:gd name="connsiteX211" fmla="*/ 6945 w 10577"/>
                <a:gd name="connsiteY211" fmla="*/ 9778 h 10000"/>
                <a:gd name="connsiteX212" fmla="*/ 6972 w 10577"/>
                <a:gd name="connsiteY212" fmla="*/ 9752 h 10000"/>
                <a:gd name="connsiteX213" fmla="*/ 6977 w 10577"/>
                <a:gd name="connsiteY213" fmla="*/ 9752 h 10000"/>
                <a:gd name="connsiteX214" fmla="*/ 7069 w 10577"/>
                <a:gd name="connsiteY214" fmla="*/ 9624 h 10000"/>
                <a:gd name="connsiteX215" fmla="*/ 7097 w 10577"/>
                <a:gd name="connsiteY215" fmla="*/ 9547 h 10000"/>
                <a:gd name="connsiteX216" fmla="*/ 7106 w 10577"/>
                <a:gd name="connsiteY216" fmla="*/ 9530 h 10000"/>
                <a:gd name="connsiteX217" fmla="*/ 7124 w 10577"/>
                <a:gd name="connsiteY217" fmla="*/ 9479 h 10000"/>
                <a:gd name="connsiteX218" fmla="*/ 7138 w 10577"/>
                <a:gd name="connsiteY218" fmla="*/ 9462 h 10000"/>
                <a:gd name="connsiteX219" fmla="*/ 7378 w 10577"/>
                <a:gd name="connsiteY219" fmla="*/ 8795 h 10000"/>
                <a:gd name="connsiteX220" fmla="*/ 7392 w 10577"/>
                <a:gd name="connsiteY220" fmla="*/ 8795 h 10000"/>
                <a:gd name="connsiteX221" fmla="*/ 7401 w 10577"/>
                <a:gd name="connsiteY221" fmla="*/ 8769 h 10000"/>
                <a:gd name="connsiteX222" fmla="*/ 7406 w 10577"/>
                <a:gd name="connsiteY222" fmla="*/ 8692 h 10000"/>
                <a:gd name="connsiteX223" fmla="*/ 7406 w 10577"/>
                <a:gd name="connsiteY223" fmla="*/ 8667 h 10000"/>
                <a:gd name="connsiteX224" fmla="*/ 7419 w 10577"/>
                <a:gd name="connsiteY224" fmla="*/ 8598 h 10000"/>
                <a:gd name="connsiteX225" fmla="*/ 7419 w 10577"/>
                <a:gd name="connsiteY225" fmla="*/ 8496 h 10000"/>
                <a:gd name="connsiteX226" fmla="*/ 7424 w 10577"/>
                <a:gd name="connsiteY226" fmla="*/ 8470 h 10000"/>
                <a:gd name="connsiteX227" fmla="*/ 7424 w 10577"/>
                <a:gd name="connsiteY227" fmla="*/ 8462 h 10000"/>
                <a:gd name="connsiteX228" fmla="*/ 7419 w 10577"/>
                <a:gd name="connsiteY228" fmla="*/ 8462 h 10000"/>
                <a:gd name="connsiteX229" fmla="*/ 7410 w 10577"/>
                <a:gd name="connsiteY229" fmla="*/ 8350 h 10000"/>
                <a:gd name="connsiteX230" fmla="*/ 7419 w 10577"/>
                <a:gd name="connsiteY230" fmla="*/ 8325 h 10000"/>
                <a:gd name="connsiteX231" fmla="*/ 7424 w 10577"/>
                <a:gd name="connsiteY231" fmla="*/ 8248 h 10000"/>
                <a:gd name="connsiteX232" fmla="*/ 7433 w 10577"/>
                <a:gd name="connsiteY232" fmla="*/ 8248 h 10000"/>
                <a:gd name="connsiteX233" fmla="*/ 7433 w 10577"/>
                <a:gd name="connsiteY233" fmla="*/ 8231 h 10000"/>
                <a:gd name="connsiteX234" fmla="*/ 7433 w 10577"/>
                <a:gd name="connsiteY234" fmla="*/ 8222 h 10000"/>
                <a:gd name="connsiteX235" fmla="*/ 7433 w 10577"/>
                <a:gd name="connsiteY235" fmla="*/ 8214 h 10000"/>
                <a:gd name="connsiteX236" fmla="*/ 7447 w 10577"/>
                <a:gd name="connsiteY236" fmla="*/ 8162 h 10000"/>
                <a:gd name="connsiteX237" fmla="*/ 7461 w 10577"/>
                <a:gd name="connsiteY237" fmla="*/ 8162 h 10000"/>
                <a:gd name="connsiteX238" fmla="*/ 7475 w 10577"/>
                <a:gd name="connsiteY238" fmla="*/ 8111 h 10000"/>
                <a:gd name="connsiteX239" fmla="*/ 7475 w 10577"/>
                <a:gd name="connsiteY239" fmla="*/ 8085 h 10000"/>
                <a:gd name="connsiteX240" fmla="*/ 7479 w 10577"/>
                <a:gd name="connsiteY240" fmla="*/ 8060 h 10000"/>
                <a:gd name="connsiteX241" fmla="*/ 7452 w 10577"/>
                <a:gd name="connsiteY241" fmla="*/ 8009 h 10000"/>
                <a:gd name="connsiteX242" fmla="*/ 7465 w 10577"/>
                <a:gd name="connsiteY242" fmla="*/ 7974 h 10000"/>
                <a:gd name="connsiteX243" fmla="*/ 7452 w 10577"/>
                <a:gd name="connsiteY243" fmla="*/ 7923 h 10000"/>
                <a:gd name="connsiteX244" fmla="*/ 7433 w 10577"/>
                <a:gd name="connsiteY244" fmla="*/ 7889 h 10000"/>
                <a:gd name="connsiteX245" fmla="*/ 7419 w 10577"/>
                <a:gd name="connsiteY245" fmla="*/ 7889 h 10000"/>
                <a:gd name="connsiteX246" fmla="*/ 7401 w 10577"/>
                <a:gd name="connsiteY246" fmla="*/ 7863 h 10000"/>
                <a:gd name="connsiteX247" fmla="*/ 7387 w 10577"/>
                <a:gd name="connsiteY247" fmla="*/ 7863 h 10000"/>
                <a:gd name="connsiteX248" fmla="*/ 7373 w 10577"/>
                <a:gd name="connsiteY248" fmla="*/ 7863 h 10000"/>
                <a:gd name="connsiteX249" fmla="*/ 7387 w 10577"/>
                <a:gd name="connsiteY249" fmla="*/ 7846 h 10000"/>
                <a:gd name="connsiteX250" fmla="*/ 7401 w 10577"/>
                <a:gd name="connsiteY250" fmla="*/ 7846 h 10000"/>
                <a:gd name="connsiteX251" fmla="*/ 7410 w 10577"/>
                <a:gd name="connsiteY251" fmla="*/ 7863 h 10000"/>
                <a:gd name="connsiteX252" fmla="*/ 7424 w 10577"/>
                <a:gd name="connsiteY252" fmla="*/ 7872 h 10000"/>
                <a:gd name="connsiteX253" fmla="*/ 7433 w 10577"/>
                <a:gd name="connsiteY253" fmla="*/ 7863 h 10000"/>
                <a:gd name="connsiteX254" fmla="*/ 7461 w 10577"/>
                <a:gd name="connsiteY254" fmla="*/ 7897 h 10000"/>
                <a:gd name="connsiteX255" fmla="*/ 7465 w 10577"/>
                <a:gd name="connsiteY255" fmla="*/ 7889 h 10000"/>
                <a:gd name="connsiteX256" fmla="*/ 7475 w 10577"/>
                <a:gd name="connsiteY256" fmla="*/ 7863 h 10000"/>
                <a:gd name="connsiteX257" fmla="*/ 7475 w 10577"/>
                <a:gd name="connsiteY257" fmla="*/ 7838 h 10000"/>
                <a:gd name="connsiteX258" fmla="*/ 7465 w 10577"/>
                <a:gd name="connsiteY258" fmla="*/ 7838 h 10000"/>
                <a:gd name="connsiteX259" fmla="*/ 7406 w 10577"/>
                <a:gd name="connsiteY259" fmla="*/ 7752 h 10000"/>
                <a:gd name="connsiteX260" fmla="*/ 7401 w 10577"/>
                <a:gd name="connsiteY260" fmla="*/ 7735 h 10000"/>
                <a:gd name="connsiteX261" fmla="*/ 7401 w 10577"/>
                <a:gd name="connsiteY261" fmla="*/ 7701 h 10000"/>
                <a:gd name="connsiteX262" fmla="*/ 7378 w 10577"/>
                <a:gd name="connsiteY262" fmla="*/ 7675 h 10000"/>
                <a:gd name="connsiteX263" fmla="*/ 7373 w 10577"/>
                <a:gd name="connsiteY263" fmla="*/ 7667 h 10000"/>
                <a:gd name="connsiteX264" fmla="*/ 7364 w 10577"/>
                <a:gd name="connsiteY264" fmla="*/ 7650 h 10000"/>
                <a:gd name="connsiteX265" fmla="*/ 7364 w 10577"/>
                <a:gd name="connsiteY265" fmla="*/ 7641 h 10000"/>
                <a:gd name="connsiteX266" fmla="*/ 7350 w 10577"/>
                <a:gd name="connsiteY266" fmla="*/ 7641 h 10000"/>
                <a:gd name="connsiteX267" fmla="*/ 7336 w 10577"/>
                <a:gd name="connsiteY267" fmla="*/ 7650 h 10000"/>
                <a:gd name="connsiteX268" fmla="*/ 7327 w 10577"/>
                <a:gd name="connsiteY268" fmla="*/ 7650 h 10000"/>
                <a:gd name="connsiteX269" fmla="*/ 7300 w 10577"/>
                <a:gd name="connsiteY269" fmla="*/ 7641 h 10000"/>
                <a:gd name="connsiteX270" fmla="*/ 7300 w 10577"/>
                <a:gd name="connsiteY270" fmla="*/ 7675 h 10000"/>
                <a:gd name="connsiteX271" fmla="*/ 7300 w 10577"/>
                <a:gd name="connsiteY271" fmla="*/ 7692 h 10000"/>
                <a:gd name="connsiteX272" fmla="*/ 7286 w 10577"/>
                <a:gd name="connsiteY272" fmla="*/ 7786 h 10000"/>
                <a:gd name="connsiteX273" fmla="*/ 7272 w 10577"/>
                <a:gd name="connsiteY273" fmla="*/ 7803 h 10000"/>
                <a:gd name="connsiteX274" fmla="*/ 7276 w 10577"/>
                <a:gd name="connsiteY274" fmla="*/ 7761 h 10000"/>
                <a:gd name="connsiteX275" fmla="*/ 7286 w 10577"/>
                <a:gd name="connsiteY275" fmla="*/ 7735 h 10000"/>
                <a:gd name="connsiteX276" fmla="*/ 7276 w 10577"/>
                <a:gd name="connsiteY276" fmla="*/ 7709 h 10000"/>
                <a:gd name="connsiteX277" fmla="*/ 7258 w 10577"/>
                <a:gd name="connsiteY277" fmla="*/ 7761 h 10000"/>
                <a:gd name="connsiteX278" fmla="*/ 7217 w 10577"/>
                <a:gd name="connsiteY278" fmla="*/ 7786 h 10000"/>
                <a:gd name="connsiteX279" fmla="*/ 7203 w 10577"/>
                <a:gd name="connsiteY279" fmla="*/ 7786 h 10000"/>
                <a:gd name="connsiteX280" fmla="*/ 7198 w 10577"/>
                <a:gd name="connsiteY280" fmla="*/ 7778 h 10000"/>
                <a:gd name="connsiteX281" fmla="*/ 7212 w 10577"/>
                <a:gd name="connsiteY281" fmla="*/ 7761 h 10000"/>
                <a:gd name="connsiteX282" fmla="*/ 7230 w 10577"/>
                <a:gd name="connsiteY282" fmla="*/ 7726 h 10000"/>
                <a:gd name="connsiteX283" fmla="*/ 7226 w 10577"/>
                <a:gd name="connsiteY283" fmla="*/ 7709 h 10000"/>
                <a:gd name="connsiteX284" fmla="*/ 7212 w 10577"/>
                <a:gd name="connsiteY284" fmla="*/ 7701 h 10000"/>
                <a:gd name="connsiteX285" fmla="*/ 7203 w 10577"/>
                <a:gd name="connsiteY285" fmla="*/ 7675 h 10000"/>
                <a:gd name="connsiteX286" fmla="*/ 7217 w 10577"/>
                <a:gd name="connsiteY286" fmla="*/ 7675 h 10000"/>
                <a:gd name="connsiteX287" fmla="*/ 7226 w 10577"/>
                <a:gd name="connsiteY287" fmla="*/ 7650 h 10000"/>
                <a:gd name="connsiteX288" fmla="*/ 7226 w 10577"/>
                <a:gd name="connsiteY288" fmla="*/ 7641 h 10000"/>
                <a:gd name="connsiteX289" fmla="*/ 7203 w 10577"/>
                <a:gd name="connsiteY289" fmla="*/ 7641 h 10000"/>
                <a:gd name="connsiteX290" fmla="*/ 7198 w 10577"/>
                <a:gd name="connsiteY290" fmla="*/ 7650 h 10000"/>
                <a:gd name="connsiteX291" fmla="*/ 7194 w 10577"/>
                <a:gd name="connsiteY291" fmla="*/ 7675 h 10000"/>
                <a:gd name="connsiteX292" fmla="*/ 7198 w 10577"/>
                <a:gd name="connsiteY292" fmla="*/ 7692 h 10000"/>
                <a:gd name="connsiteX293" fmla="*/ 7198 w 10577"/>
                <a:gd name="connsiteY293" fmla="*/ 7709 h 10000"/>
                <a:gd name="connsiteX294" fmla="*/ 7184 w 10577"/>
                <a:gd name="connsiteY294" fmla="*/ 7726 h 10000"/>
                <a:gd name="connsiteX295" fmla="*/ 7180 w 10577"/>
                <a:gd name="connsiteY295" fmla="*/ 7726 h 10000"/>
                <a:gd name="connsiteX296" fmla="*/ 7171 w 10577"/>
                <a:gd name="connsiteY296" fmla="*/ 7752 h 10000"/>
                <a:gd name="connsiteX297" fmla="*/ 7166 w 10577"/>
                <a:gd name="connsiteY297" fmla="*/ 7735 h 10000"/>
                <a:gd name="connsiteX298" fmla="*/ 7171 w 10577"/>
                <a:gd name="connsiteY298" fmla="*/ 7624 h 10000"/>
                <a:gd name="connsiteX299" fmla="*/ 7171 w 10577"/>
                <a:gd name="connsiteY299" fmla="*/ 7615 h 10000"/>
                <a:gd name="connsiteX300" fmla="*/ 7171 w 10577"/>
                <a:gd name="connsiteY300" fmla="*/ 7590 h 10000"/>
                <a:gd name="connsiteX301" fmla="*/ 7166 w 10577"/>
                <a:gd name="connsiteY301" fmla="*/ 7564 h 10000"/>
                <a:gd name="connsiteX302" fmla="*/ 7157 w 10577"/>
                <a:gd name="connsiteY302" fmla="*/ 7564 h 10000"/>
                <a:gd name="connsiteX303" fmla="*/ 7097 w 10577"/>
                <a:gd name="connsiteY303" fmla="*/ 7573 h 10000"/>
                <a:gd name="connsiteX304" fmla="*/ 7065 w 10577"/>
                <a:gd name="connsiteY304" fmla="*/ 7538 h 10000"/>
                <a:gd name="connsiteX305" fmla="*/ 7069 w 10577"/>
                <a:gd name="connsiteY305" fmla="*/ 7504 h 10000"/>
                <a:gd name="connsiteX306" fmla="*/ 7106 w 10577"/>
                <a:gd name="connsiteY306" fmla="*/ 7453 h 10000"/>
                <a:gd name="connsiteX307" fmla="*/ 7111 w 10577"/>
                <a:gd name="connsiteY307" fmla="*/ 7436 h 10000"/>
                <a:gd name="connsiteX308" fmla="*/ 7138 w 10577"/>
                <a:gd name="connsiteY308" fmla="*/ 7402 h 10000"/>
                <a:gd name="connsiteX309" fmla="*/ 7143 w 10577"/>
                <a:gd name="connsiteY309" fmla="*/ 7376 h 10000"/>
                <a:gd name="connsiteX310" fmla="*/ 7152 w 10577"/>
                <a:gd name="connsiteY310" fmla="*/ 7368 h 10000"/>
                <a:gd name="connsiteX311" fmla="*/ 7157 w 10577"/>
                <a:gd name="connsiteY311" fmla="*/ 7350 h 10000"/>
                <a:gd name="connsiteX312" fmla="*/ 7230 w 10577"/>
                <a:gd name="connsiteY312" fmla="*/ 7239 h 10000"/>
                <a:gd name="connsiteX313" fmla="*/ 7240 w 10577"/>
                <a:gd name="connsiteY313" fmla="*/ 7205 h 10000"/>
                <a:gd name="connsiteX314" fmla="*/ 7253 w 10577"/>
                <a:gd name="connsiteY314" fmla="*/ 7188 h 10000"/>
                <a:gd name="connsiteX315" fmla="*/ 7258 w 10577"/>
                <a:gd name="connsiteY315" fmla="*/ 7162 h 10000"/>
                <a:gd name="connsiteX316" fmla="*/ 7258 w 10577"/>
                <a:gd name="connsiteY316" fmla="*/ 7154 h 10000"/>
                <a:gd name="connsiteX317" fmla="*/ 7272 w 10577"/>
                <a:gd name="connsiteY317" fmla="*/ 7120 h 10000"/>
                <a:gd name="connsiteX318" fmla="*/ 7276 w 10577"/>
                <a:gd name="connsiteY318" fmla="*/ 7094 h 10000"/>
                <a:gd name="connsiteX319" fmla="*/ 7286 w 10577"/>
                <a:gd name="connsiteY319" fmla="*/ 7094 h 10000"/>
                <a:gd name="connsiteX320" fmla="*/ 7290 w 10577"/>
                <a:gd name="connsiteY320" fmla="*/ 7068 h 10000"/>
                <a:gd name="connsiteX321" fmla="*/ 7332 w 10577"/>
                <a:gd name="connsiteY321" fmla="*/ 6991 h 10000"/>
                <a:gd name="connsiteX322" fmla="*/ 7336 w 10577"/>
                <a:gd name="connsiteY322" fmla="*/ 6991 h 10000"/>
                <a:gd name="connsiteX323" fmla="*/ 7364 w 10577"/>
                <a:gd name="connsiteY323" fmla="*/ 6940 h 10000"/>
                <a:gd name="connsiteX324" fmla="*/ 7373 w 10577"/>
                <a:gd name="connsiteY324" fmla="*/ 6906 h 10000"/>
                <a:gd name="connsiteX325" fmla="*/ 7378 w 10577"/>
                <a:gd name="connsiteY325" fmla="*/ 6915 h 10000"/>
                <a:gd name="connsiteX326" fmla="*/ 7406 w 10577"/>
                <a:gd name="connsiteY326" fmla="*/ 6880 h 10000"/>
                <a:gd name="connsiteX327" fmla="*/ 7410 w 10577"/>
                <a:gd name="connsiteY327" fmla="*/ 6846 h 10000"/>
                <a:gd name="connsiteX328" fmla="*/ 7419 w 10577"/>
                <a:gd name="connsiteY328" fmla="*/ 6803 h 10000"/>
                <a:gd name="connsiteX329" fmla="*/ 7585 w 10577"/>
                <a:gd name="connsiteY329" fmla="*/ 6504 h 10000"/>
                <a:gd name="connsiteX330" fmla="*/ 7765 w 10577"/>
                <a:gd name="connsiteY330" fmla="*/ 6504 h 10000"/>
                <a:gd name="connsiteX331" fmla="*/ 7765 w 10577"/>
                <a:gd name="connsiteY331" fmla="*/ 6530 h 10000"/>
                <a:gd name="connsiteX332" fmla="*/ 7774 w 10577"/>
                <a:gd name="connsiteY332" fmla="*/ 6556 h 10000"/>
                <a:gd name="connsiteX333" fmla="*/ 7779 w 10577"/>
                <a:gd name="connsiteY333" fmla="*/ 6556 h 10000"/>
                <a:gd name="connsiteX334" fmla="*/ 7793 w 10577"/>
                <a:gd name="connsiteY334" fmla="*/ 6547 h 10000"/>
                <a:gd name="connsiteX335" fmla="*/ 7793 w 10577"/>
                <a:gd name="connsiteY335" fmla="*/ 6530 h 10000"/>
                <a:gd name="connsiteX336" fmla="*/ 7802 w 10577"/>
                <a:gd name="connsiteY336" fmla="*/ 6496 h 10000"/>
                <a:gd name="connsiteX337" fmla="*/ 7806 w 10577"/>
                <a:gd name="connsiteY337" fmla="*/ 6487 h 10000"/>
                <a:gd name="connsiteX338" fmla="*/ 7876 w 10577"/>
                <a:gd name="connsiteY338" fmla="*/ 6530 h 10000"/>
                <a:gd name="connsiteX339" fmla="*/ 7894 w 10577"/>
                <a:gd name="connsiteY339" fmla="*/ 6530 h 10000"/>
                <a:gd name="connsiteX340" fmla="*/ 7894 w 10577"/>
                <a:gd name="connsiteY340" fmla="*/ 6504 h 10000"/>
                <a:gd name="connsiteX341" fmla="*/ 7899 w 10577"/>
                <a:gd name="connsiteY341" fmla="*/ 6504 h 10000"/>
                <a:gd name="connsiteX342" fmla="*/ 7926 w 10577"/>
                <a:gd name="connsiteY342" fmla="*/ 6504 h 10000"/>
                <a:gd name="connsiteX343" fmla="*/ 7940 w 10577"/>
                <a:gd name="connsiteY343" fmla="*/ 6547 h 10000"/>
                <a:gd name="connsiteX344" fmla="*/ 7949 w 10577"/>
                <a:gd name="connsiteY344" fmla="*/ 6547 h 10000"/>
                <a:gd name="connsiteX345" fmla="*/ 7963 w 10577"/>
                <a:gd name="connsiteY345" fmla="*/ 6530 h 10000"/>
                <a:gd name="connsiteX346" fmla="*/ 7963 w 10577"/>
                <a:gd name="connsiteY346" fmla="*/ 6504 h 10000"/>
                <a:gd name="connsiteX347" fmla="*/ 7963 w 10577"/>
                <a:gd name="connsiteY347" fmla="*/ 6504 h 10000"/>
                <a:gd name="connsiteX348" fmla="*/ 7954 w 10577"/>
                <a:gd name="connsiteY348" fmla="*/ 6496 h 10000"/>
                <a:gd name="connsiteX349" fmla="*/ 7963 w 10577"/>
                <a:gd name="connsiteY349" fmla="*/ 6487 h 10000"/>
                <a:gd name="connsiteX350" fmla="*/ 7982 w 10577"/>
                <a:gd name="connsiteY350" fmla="*/ 6487 h 10000"/>
                <a:gd name="connsiteX351" fmla="*/ 7982 w 10577"/>
                <a:gd name="connsiteY351" fmla="*/ 6470 h 10000"/>
                <a:gd name="connsiteX352" fmla="*/ 7972 w 10577"/>
                <a:gd name="connsiteY352" fmla="*/ 6462 h 10000"/>
                <a:gd name="connsiteX353" fmla="*/ 7972 w 10577"/>
                <a:gd name="connsiteY353" fmla="*/ 6436 h 10000"/>
                <a:gd name="connsiteX354" fmla="*/ 7986 w 10577"/>
                <a:gd name="connsiteY354" fmla="*/ 6419 h 10000"/>
                <a:gd name="connsiteX355" fmla="*/ 8000 w 10577"/>
                <a:gd name="connsiteY355" fmla="*/ 6419 h 10000"/>
                <a:gd name="connsiteX356" fmla="*/ 8055 w 10577"/>
                <a:gd name="connsiteY356" fmla="*/ 6462 h 10000"/>
                <a:gd name="connsiteX357" fmla="*/ 8069 w 10577"/>
                <a:gd name="connsiteY357" fmla="*/ 6444 h 10000"/>
                <a:gd name="connsiteX358" fmla="*/ 8083 w 10577"/>
                <a:gd name="connsiteY358" fmla="*/ 6470 h 10000"/>
                <a:gd name="connsiteX359" fmla="*/ 8083 w 10577"/>
                <a:gd name="connsiteY359" fmla="*/ 6487 h 10000"/>
                <a:gd name="connsiteX360" fmla="*/ 8097 w 10577"/>
                <a:gd name="connsiteY360" fmla="*/ 6487 h 10000"/>
                <a:gd name="connsiteX361" fmla="*/ 8101 w 10577"/>
                <a:gd name="connsiteY361" fmla="*/ 6462 h 10000"/>
                <a:gd name="connsiteX362" fmla="*/ 8115 w 10577"/>
                <a:gd name="connsiteY362" fmla="*/ 6462 h 10000"/>
                <a:gd name="connsiteX363" fmla="*/ 8129 w 10577"/>
                <a:gd name="connsiteY363" fmla="*/ 6462 h 10000"/>
                <a:gd name="connsiteX364" fmla="*/ 8157 w 10577"/>
                <a:gd name="connsiteY364" fmla="*/ 6496 h 10000"/>
                <a:gd name="connsiteX365" fmla="*/ 8157 w 10577"/>
                <a:gd name="connsiteY365" fmla="*/ 6521 h 10000"/>
                <a:gd name="connsiteX366" fmla="*/ 8180 w 10577"/>
                <a:gd name="connsiteY366" fmla="*/ 6530 h 10000"/>
                <a:gd name="connsiteX367" fmla="*/ 8180 w 10577"/>
                <a:gd name="connsiteY367" fmla="*/ 6547 h 10000"/>
                <a:gd name="connsiteX368" fmla="*/ 8171 w 10577"/>
                <a:gd name="connsiteY368" fmla="*/ 6556 h 10000"/>
                <a:gd name="connsiteX369" fmla="*/ 8129 w 10577"/>
                <a:gd name="connsiteY369" fmla="*/ 6556 h 10000"/>
                <a:gd name="connsiteX370" fmla="*/ 8106 w 10577"/>
                <a:gd name="connsiteY370" fmla="*/ 6573 h 10000"/>
                <a:gd name="connsiteX371" fmla="*/ 8115 w 10577"/>
                <a:gd name="connsiteY371" fmla="*/ 6581 h 10000"/>
                <a:gd name="connsiteX372" fmla="*/ 8129 w 10577"/>
                <a:gd name="connsiteY372" fmla="*/ 6632 h 10000"/>
                <a:gd name="connsiteX373" fmla="*/ 8171 w 10577"/>
                <a:gd name="connsiteY373" fmla="*/ 6632 h 10000"/>
                <a:gd name="connsiteX374" fmla="*/ 8180 w 10577"/>
                <a:gd name="connsiteY374" fmla="*/ 6624 h 10000"/>
                <a:gd name="connsiteX375" fmla="*/ 8189 w 10577"/>
                <a:gd name="connsiteY375" fmla="*/ 6598 h 10000"/>
                <a:gd name="connsiteX376" fmla="*/ 8203 w 10577"/>
                <a:gd name="connsiteY376" fmla="*/ 6581 h 10000"/>
                <a:gd name="connsiteX377" fmla="*/ 8207 w 10577"/>
                <a:gd name="connsiteY377" fmla="*/ 6607 h 10000"/>
                <a:gd name="connsiteX378" fmla="*/ 8221 w 10577"/>
                <a:gd name="connsiteY378" fmla="*/ 6624 h 10000"/>
                <a:gd name="connsiteX379" fmla="*/ 8235 w 10577"/>
                <a:gd name="connsiteY379" fmla="*/ 6607 h 10000"/>
                <a:gd name="connsiteX380" fmla="*/ 8240 w 10577"/>
                <a:gd name="connsiteY380" fmla="*/ 6581 h 10000"/>
                <a:gd name="connsiteX381" fmla="*/ 8253 w 10577"/>
                <a:gd name="connsiteY381" fmla="*/ 6573 h 10000"/>
                <a:gd name="connsiteX382" fmla="*/ 8263 w 10577"/>
                <a:gd name="connsiteY382" fmla="*/ 6556 h 10000"/>
                <a:gd name="connsiteX383" fmla="*/ 8276 w 10577"/>
                <a:gd name="connsiteY383" fmla="*/ 6547 h 10000"/>
                <a:gd name="connsiteX384" fmla="*/ 8290 w 10577"/>
                <a:gd name="connsiteY384" fmla="*/ 6556 h 10000"/>
                <a:gd name="connsiteX385" fmla="*/ 8304 w 10577"/>
                <a:gd name="connsiteY385" fmla="*/ 6581 h 10000"/>
                <a:gd name="connsiteX386" fmla="*/ 8309 w 10577"/>
                <a:gd name="connsiteY386" fmla="*/ 6581 h 10000"/>
                <a:gd name="connsiteX387" fmla="*/ 8327 w 10577"/>
                <a:gd name="connsiteY387" fmla="*/ 6573 h 10000"/>
                <a:gd name="connsiteX388" fmla="*/ 8327 w 10577"/>
                <a:gd name="connsiteY388" fmla="*/ 6556 h 10000"/>
                <a:gd name="connsiteX389" fmla="*/ 8350 w 10577"/>
                <a:gd name="connsiteY389" fmla="*/ 6556 h 10000"/>
                <a:gd name="connsiteX390" fmla="*/ 8355 w 10577"/>
                <a:gd name="connsiteY390" fmla="*/ 6573 h 10000"/>
                <a:gd name="connsiteX391" fmla="*/ 8364 w 10577"/>
                <a:gd name="connsiteY391" fmla="*/ 6556 h 10000"/>
                <a:gd name="connsiteX392" fmla="*/ 8369 w 10577"/>
                <a:gd name="connsiteY392" fmla="*/ 6556 h 10000"/>
                <a:gd name="connsiteX393" fmla="*/ 8378 w 10577"/>
                <a:gd name="connsiteY393" fmla="*/ 6530 h 10000"/>
                <a:gd name="connsiteX394" fmla="*/ 8369 w 10577"/>
                <a:gd name="connsiteY394" fmla="*/ 6504 h 10000"/>
                <a:gd name="connsiteX395" fmla="*/ 8364 w 10577"/>
                <a:gd name="connsiteY395" fmla="*/ 6496 h 10000"/>
                <a:gd name="connsiteX396" fmla="*/ 8336 w 10577"/>
                <a:gd name="connsiteY396" fmla="*/ 6470 h 10000"/>
                <a:gd name="connsiteX397" fmla="*/ 8309 w 10577"/>
                <a:gd name="connsiteY397" fmla="*/ 6487 h 10000"/>
                <a:gd name="connsiteX398" fmla="*/ 8313 w 10577"/>
                <a:gd name="connsiteY398" fmla="*/ 6462 h 10000"/>
                <a:gd name="connsiteX399" fmla="*/ 8323 w 10577"/>
                <a:gd name="connsiteY399" fmla="*/ 6444 h 10000"/>
                <a:gd name="connsiteX400" fmla="*/ 8309 w 10577"/>
                <a:gd name="connsiteY400" fmla="*/ 6393 h 10000"/>
                <a:gd name="connsiteX401" fmla="*/ 8313 w 10577"/>
                <a:gd name="connsiteY401" fmla="*/ 6385 h 10000"/>
                <a:gd name="connsiteX402" fmla="*/ 8323 w 10577"/>
                <a:gd name="connsiteY402" fmla="*/ 6393 h 10000"/>
                <a:gd name="connsiteX403" fmla="*/ 8323 w 10577"/>
                <a:gd name="connsiteY403" fmla="*/ 6393 h 10000"/>
                <a:gd name="connsiteX404" fmla="*/ 8355 w 10577"/>
                <a:gd name="connsiteY404" fmla="*/ 6282 h 10000"/>
                <a:gd name="connsiteX405" fmla="*/ 8369 w 10577"/>
                <a:gd name="connsiteY405" fmla="*/ 6256 h 10000"/>
                <a:gd name="connsiteX406" fmla="*/ 8382 w 10577"/>
                <a:gd name="connsiteY406" fmla="*/ 6248 h 10000"/>
                <a:gd name="connsiteX407" fmla="*/ 8424 w 10577"/>
                <a:gd name="connsiteY407" fmla="*/ 6162 h 10000"/>
                <a:gd name="connsiteX408" fmla="*/ 8429 w 10577"/>
                <a:gd name="connsiteY408" fmla="*/ 6145 h 10000"/>
                <a:gd name="connsiteX409" fmla="*/ 8470 w 10577"/>
                <a:gd name="connsiteY409" fmla="*/ 6051 h 10000"/>
                <a:gd name="connsiteX410" fmla="*/ 8475 w 10577"/>
                <a:gd name="connsiteY410" fmla="*/ 5983 h 10000"/>
                <a:gd name="connsiteX411" fmla="*/ 8512 w 10577"/>
                <a:gd name="connsiteY411" fmla="*/ 5940 h 10000"/>
                <a:gd name="connsiteX412" fmla="*/ 8521 w 10577"/>
                <a:gd name="connsiteY412" fmla="*/ 5923 h 10000"/>
                <a:gd name="connsiteX413" fmla="*/ 8535 w 10577"/>
                <a:gd name="connsiteY413" fmla="*/ 5915 h 10000"/>
                <a:gd name="connsiteX414" fmla="*/ 8562 w 10577"/>
                <a:gd name="connsiteY414" fmla="*/ 5915 h 10000"/>
                <a:gd name="connsiteX415" fmla="*/ 8618 w 10577"/>
                <a:gd name="connsiteY415" fmla="*/ 5889 h 10000"/>
                <a:gd name="connsiteX416" fmla="*/ 8622 w 10577"/>
                <a:gd name="connsiteY416" fmla="*/ 5889 h 10000"/>
                <a:gd name="connsiteX417" fmla="*/ 8622 w 10577"/>
                <a:gd name="connsiteY417" fmla="*/ 5872 h 10000"/>
                <a:gd name="connsiteX418" fmla="*/ 8636 w 10577"/>
                <a:gd name="connsiteY418" fmla="*/ 5872 h 10000"/>
                <a:gd name="connsiteX419" fmla="*/ 8650 w 10577"/>
                <a:gd name="connsiteY419" fmla="*/ 5889 h 10000"/>
                <a:gd name="connsiteX420" fmla="*/ 8659 w 10577"/>
                <a:gd name="connsiteY420" fmla="*/ 5915 h 10000"/>
                <a:gd name="connsiteX421" fmla="*/ 8664 w 10577"/>
                <a:gd name="connsiteY421" fmla="*/ 5940 h 10000"/>
                <a:gd name="connsiteX422" fmla="*/ 8682 w 10577"/>
                <a:gd name="connsiteY422" fmla="*/ 5923 h 10000"/>
                <a:gd name="connsiteX423" fmla="*/ 8719 w 10577"/>
                <a:gd name="connsiteY423" fmla="*/ 5863 h 10000"/>
                <a:gd name="connsiteX424" fmla="*/ 8705 w 10577"/>
                <a:gd name="connsiteY424" fmla="*/ 5966 h 10000"/>
                <a:gd name="connsiteX425" fmla="*/ 8696 w 10577"/>
                <a:gd name="connsiteY425" fmla="*/ 5983 h 10000"/>
                <a:gd name="connsiteX426" fmla="*/ 8682 w 10577"/>
                <a:gd name="connsiteY426" fmla="*/ 6026 h 10000"/>
                <a:gd name="connsiteX427" fmla="*/ 8682 w 10577"/>
                <a:gd name="connsiteY427" fmla="*/ 6051 h 10000"/>
                <a:gd name="connsiteX428" fmla="*/ 8691 w 10577"/>
                <a:gd name="connsiteY428" fmla="*/ 6077 h 10000"/>
                <a:gd name="connsiteX429" fmla="*/ 8691 w 10577"/>
                <a:gd name="connsiteY429" fmla="*/ 6085 h 10000"/>
                <a:gd name="connsiteX430" fmla="*/ 8682 w 10577"/>
                <a:gd name="connsiteY430" fmla="*/ 6103 h 10000"/>
                <a:gd name="connsiteX431" fmla="*/ 8682 w 10577"/>
                <a:gd name="connsiteY431" fmla="*/ 6111 h 10000"/>
                <a:gd name="connsiteX432" fmla="*/ 8691 w 10577"/>
                <a:gd name="connsiteY432" fmla="*/ 6120 h 10000"/>
                <a:gd name="connsiteX433" fmla="*/ 8719 w 10577"/>
                <a:gd name="connsiteY433" fmla="*/ 6103 h 10000"/>
                <a:gd name="connsiteX434" fmla="*/ 8705 w 10577"/>
                <a:gd name="connsiteY434" fmla="*/ 6188 h 10000"/>
                <a:gd name="connsiteX435" fmla="*/ 8705 w 10577"/>
                <a:gd name="connsiteY435" fmla="*/ 6214 h 10000"/>
                <a:gd name="connsiteX436" fmla="*/ 8710 w 10577"/>
                <a:gd name="connsiteY436" fmla="*/ 6197 h 10000"/>
                <a:gd name="connsiteX437" fmla="*/ 8728 w 10577"/>
                <a:gd name="connsiteY437" fmla="*/ 6171 h 10000"/>
                <a:gd name="connsiteX438" fmla="*/ 8737 w 10577"/>
                <a:gd name="connsiteY438" fmla="*/ 6171 h 10000"/>
                <a:gd name="connsiteX439" fmla="*/ 8843 w 10577"/>
                <a:gd name="connsiteY439" fmla="*/ 5949 h 10000"/>
                <a:gd name="connsiteX440" fmla="*/ 8866 w 10577"/>
                <a:gd name="connsiteY440" fmla="*/ 5949 h 10000"/>
                <a:gd name="connsiteX441" fmla="*/ 8871 w 10577"/>
                <a:gd name="connsiteY441" fmla="*/ 5940 h 10000"/>
                <a:gd name="connsiteX442" fmla="*/ 8876 w 10577"/>
                <a:gd name="connsiteY442" fmla="*/ 5923 h 10000"/>
                <a:gd name="connsiteX443" fmla="*/ 8885 w 10577"/>
                <a:gd name="connsiteY443" fmla="*/ 5940 h 10000"/>
                <a:gd name="connsiteX444" fmla="*/ 8885 w 10577"/>
                <a:gd name="connsiteY444" fmla="*/ 5949 h 10000"/>
                <a:gd name="connsiteX445" fmla="*/ 8885 w 10577"/>
                <a:gd name="connsiteY445" fmla="*/ 5974 h 10000"/>
                <a:gd name="connsiteX446" fmla="*/ 8889 w 10577"/>
                <a:gd name="connsiteY446" fmla="*/ 5974 h 10000"/>
                <a:gd name="connsiteX447" fmla="*/ 8903 w 10577"/>
                <a:gd name="connsiteY447" fmla="*/ 5923 h 10000"/>
                <a:gd name="connsiteX448" fmla="*/ 8889 w 10577"/>
                <a:gd name="connsiteY448" fmla="*/ 5923 h 10000"/>
                <a:gd name="connsiteX449" fmla="*/ 8889 w 10577"/>
                <a:gd name="connsiteY449" fmla="*/ 5897 h 10000"/>
                <a:gd name="connsiteX450" fmla="*/ 8899 w 10577"/>
                <a:gd name="connsiteY450" fmla="*/ 5838 h 10000"/>
                <a:gd name="connsiteX451" fmla="*/ 8889 w 10577"/>
                <a:gd name="connsiteY451" fmla="*/ 5812 h 10000"/>
                <a:gd name="connsiteX452" fmla="*/ 8903 w 10577"/>
                <a:gd name="connsiteY452" fmla="*/ 5778 h 10000"/>
                <a:gd name="connsiteX453" fmla="*/ 8903 w 10577"/>
                <a:gd name="connsiteY453" fmla="*/ 5761 h 10000"/>
                <a:gd name="connsiteX454" fmla="*/ 8912 w 10577"/>
                <a:gd name="connsiteY454" fmla="*/ 5735 h 10000"/>
                <a:gd name="connsiteX455" fmla="*/ 8931 w 10577"/>
                <a:gd name="connsiteY455" fmla="*/ 5701 h 10000"/>
                <a:gd name="connsiteX456" fmla="*/ 8977 w 10577"/>
                <a:gd name="connsiteY456" fmla="*/ 5675 h 10000"/>
                <a:gd name="connsiteX457" fmla="*/ 9000 w 10577"/>
                <a:gd name="connsiteY457" fmla="*/ 5675 h 10000"/>
                <a:gd name="connsiteX458" fmla="*/ 9018 w 10577"/>
                <a:gd name="connsiteY458" fmla="*/ 5709 h 10000"/>
                <a:gd name="connsiteX459" fmla="*/ 9009 w 10577"/>
                <a:gd name="connsiteY459" fmla="*/ 5735 h 10000"/>
                <a:gd name="connsiteX460" fmla="*/ 9000 w 10577"/>
                <a:gd name="connsiteY460" fmla="*/ 5735 h 10000"/>
                <a:gd name="connsiteX461" fmla="*/ 8963 w 10577"/>
                <a:gd name="connsiteY461" fmla="*/ 5786 h 10000"/>
                <a:gd name="connsiteX462" fmla="*/ 8949 w 10577"/>
                <a:gd name="connsiteY462" fmla="*/ 5940 h 10000"/>
                <a:gd name="connsiteX463" fmla="*/ 8945 w 10577"/>
                <a:gd name="connsiteY463" fmla="*/ 5966 h 10000"/>
                <a:gd name="connsiteX464" fmla="*/ 8945 w 10577"/>
                <a:gd name="connsiteY464" fmla="*/ 6000 h 10000"/>
                <a:gd name="connsiteX465" fmla="*/ 8945 w 10577"/>
                <a:gd name="connsiteY465" fmla="*/ 6009 h 10000"/>
                <a:gd name="connsiteX466" fmla="*/ 8945 w 10577"/>
                <a:gd name="connsiteY466" fmla="*/ 6034 h 10000"/>
                <a:gd name="connsiteX467" fmla="*/ 8931 w 10577"/>
                <a:gd name="connsiteY467" fmla="*/ 6060 h 10000"/>
                <a:gd name="connsiteX468" fmla="*/ 8926 w 10577"/>
                <a:gd name="connsiteY468" fmla="*/ 6077 h 10000"/>
                <a:gd name="connsiteX469" fmla="*/ 8926 w 10577"/>
                <a:gd name="connsiteY469" fmla="*/ 6111 h 10000"/>
                <a:gd name="connsiteX470" fmla="*/ 8931 w 10577"/>
                <a:gd name="connsiteY470" fmla="*/ 6120 h 10000"/>
                <a:gd name="connsiteX471" fmla="*/ 8931 w 10577"/>
                <a:gd name="connsiteY471" fmla="*/ 6137 h 10000"/>
                <a:gd name="connsiteX472" fmla="*/ 8912 w 10577"/>
                <a:gd name="connsiteY472" fmla="*/ 6171 h 10000"/>
                <a:gd name="connsiteX473" fmla="*/ 8899 w 10577"/>
                <a:gd name="connsiteY473" fmla="*/ 6162 h 10000"/>
                <a:gd name="connsiteX474" fmla="*/ 8885 w 10577"/>
                <a:gd name="connsiteY474" fmla="*/ 6171 h 10000"/>
                <a:gd name="connsiteX475" fmla="*/ 8866 w 10577"/>
                <a:gd name="connsiteY475" fmla="*/ 6214 h 10000"/>
                <a:gd name="connsiteX476" fmla="*/ 8853 w 10577"/>
                <a:gd name="connsiteY476" fmla="*/ 6214 h 10000"/>
                <a:gd name="connsiteX477" fmla="*/ 8816 w 10577"/>
                <a:gd name="connsiteY477" fmla="*/ 6248 h 10000"/>
                <a:gd name="connsiteX478" fmla="*/ 8816 w 10577"/>
                <a:gd name="connsiteY478" fmla="*/ 6248 h 10000"/>
                <a:gd name="connsiteX479" fmla="*/ 8816 w 10577"/>
                <a:gd name="connsiteY479" fmla="*/ 6282 h 10000"/>
                <a:gd name="connsiteX480" fmla="*/ 8811 w 10577"/>
                <a:gd name="connsiteY480" fmla="*/ 6308 h 10000"/>
                <a:gd name="connsiteX481" fmla="*/ 8751 w 10577"/>
                <a:gd name="connsiteY481" fmla="*/ 6436 h 10000"/>
                <a:gd name="connsiteX482" fmla="*/ 8724 w 10577"/>
                <a:gd name="connsiteY482" fmla="*/ 6470 h 10000"/>
                <a:gd name="connsiteX483" fmla="*/ 8710 w 10577"/>
                <a:gd name="connsiteY483" fmla="*/ 6504 h 10000"/>
                <a:gd name="connsiteX484" fmla="*/ 8705 w 10577"/>
                <a:gd name="connsiteY484" fmla="*/ 6521 h 10000"/>
                <a:gd name="connsiteX485" fmla="*/ 8677 w 10577"/>
                <a:gd name="connsiteY485" fmla="*/ 6573 h 10000"/>
                <a:gd name="connsiteX486" fmla="*/ 8677 w 10577"/>
                <a:gd name="connsiteY486" fmla="*/ 6624 h 10000"/>
                <a:gd name="connsiteX487" fmla="*/ 8590 w 10577"/>
                <a:gd name="connsiteY487" fmla="*/ 6803 h 10000"/>
                <a:gd name="connsiteX488" fmla="*/ 8562 w 10577"/>
                <a:gd name="connsiteY488" fmla="*/ 6829 h 10000"/>
                <a:gd name="connsiteX489" fmla="*/ 8544 w 10577"/>
                <a:gd name="connsiteY489" fmla="*/ 6829 h 10000"/>
                <a:gd name="connsiteX490" fmla="*/ 8521 w 10577"/>
                <a:gd name="connsiteY490" fmla="*/ 6880 h 10000"/>
                <a:gd name="connsiteX491" fmla="*/ 8498 w 10577"/>
                <a:gd name="connsiteY491" fmla="*/ 6872 h 10000"/>
                <a:gd name="connsiteX492" fmla="*/ 8488 w 10577"/>
                <a:gd name="connsiteY492" fmla="*/ 6872 h 10000"/>
                <a:gd name="connsiteX493" fmla="*/ 8498 w 10577"/>
                <a:gd name="connsiteY493" fmla="*/ 6940 h 10000"/>
                <a:gd name="connsiteX494" fmla="*/ 8484 w 10577"/>
                <a:gd name="connsiteY494" fmla="*/ 7026 h 10000"/>
                <a:gd name="connsiteX495" fmla="*/ 8429 w 10577"/>
                <a:gd name="connsiteY495" fmla="*/ 7094 h 10000"/>
                <a:gd name="connsiteX496" fmla="*/ 8401 w 10577"/>
                <a:gd name="connsiteY496" fmla="*/ 7291 h 10000"/>
                <a:gd name="connsiteX497" fmla="*/ 8424 w 10577"/>
                <a:gd name="connsiteY497" fmla="*/ 7692 h 10000"/>
                <a:gd name="connsiteX498" fmla="*/ 8424 w 10577"/>
                <a:gd name="connsiteY498" fmla="*/ 7701 h 10000"/>
                <a:gd name="connsiteX499" fmla="*/ 8484 w 10577"/>
                <a:gd name="connsiteY499" fmla="*/ 8308 h 10000"/>
                <a:gd name="connsiteX500" fmla="*/ 8576 w 10577"/>
                <a:gd name="connsiteY500" fmla="*/ 8120 h 10000"/>
                <a:gd name="connsiteX501" fmla="*/ 8590 w 10577"/>
                <a:gd name="connsiteY501" fmla="*/ 8026 h 10000"/>
                <a:gd name="connsiteX502" fmla="*/ 8590 w 10577"/>
                <a:gd name="connsiteY502" fmla="*/ 7983 h 10000"/>
                <a:gd name="connsiteX503" fmla="*/ 8594 w 10577"/>
                <a:gd name="connsiteY503" fmla="*/ 7974 h 10000"/>
                <a:gd name="connsiteX504" fmla="*/ 8594 w 10577"/>
                <a:gd name="connsiteY504" fmla="*/ 7940 h 10000"/>
                <a:gd name="connsiteX505" fmla="*/ 8594 w 10577"/>
                <a:gd name="connsiteY505" fmla="*/ 7923 h 10000"/>
                <a:gd name="connsiteX506" fmla="*/ 8594 w 10577"/>
                <a:gd name="connsiteY506" fmla="*/ 7915 h 10000"/>
                <a:gd name="connsiteX507" fmla="*/ 8604 w 10577"/>
                <a:gd name="connsiteY507" fmla="*/ 7915 h 10000"/>
                <a:gd name="connsiteX508" fmla="*/ 8608 w 10577"/>
                <a:gd name="connsiteY508" fmla="*/ 7923 h 10000"/>
                <a:gd name="connsiteX509" fmla="*/ 8645 w 10577"/>
                <a:gd name="connsiteY509" fmla="*/ 7872 h 10000"/>
                <a:gd name="connsiteX510" fmla="*/ 8668 w 10577"/>
                <a:gd name="connsiteY510" fmla="*/ 7846 h 10000"/>
                <a:gd name="connsiteX511" fmla="*/ 8691 w 10577"/>
                <a:gd name="connsiteY511" fmla="*/ 7863 h 10000"/>
                <a:gd name="connsiteX512" fmla="*/ 8691 w 10577"/>
                <a:gd name="connsiteY512" fmla="*/ 7846 h 10000"/>
                <a:gd name="connsiteX513" fmla="*/ 8682 w 10577"/>
                <a:gd name="connsiteY513" fmla="*/ 7838 h 10000"/>
                <a:gd name="connsiteX514" fmla="*/ 8682 w 10577"/>
                <a:gd name="connsiteY514" fmla="*/ 7692 h 10000"/>
                <a:gd name="connsiteX515" fmla="*/ 8728 w 10577"/>
                <a:gd name="connsiteY515" fmla="*/ 7598 h 10000"/>
                <a:gd name="connsiteX516" fmla="*/ 8751 w 10577"/>
                <a:gd name="connsiteY516" fmla="*/ 7573 h 10000"/>
                <a:gd name="connsiteX517" fmla="*/ 8770 w 10577"/>
                <a:gd name="connsiteY517" fmla="*/ 7573 h 10000"/>
                <a:gd name="connsiteX518" fmla="*/ 8779 w 10577"/>
                <a:gd name="connsiteY518" fmla="*/ 7590 h 10000"/>
                <a:gd name="connsiteX519" fmla="*/ 8793 w 10577"/>
                <a:gd name="connsiteY519" fmla="*/ 7590 h 10000"/>
                <a:gd name="connsiteX520" fmla="*/ 8811 w 10577"/>
                <a:gd name="connsiteY520" fmla="*/ 7590 h 10000"/>
                <a:gd name="connsiteX521" fmla="*/ 8825 w 10577"/>
                <a:gd name="connsiteY521" fmla="*/ 7556 h 10000"/>
                <a:gd name="connsiteX522" fmla="*/ 8829 w 10577"/>
                <a:gd name="connsiteY522" fmla="*/ 7530 h 10000"/>
                <a:gd name="connsiteX523" fmla="*/ 8802 w 10577"/>
                <a:gd name="connsiteY523" fmla="*/ 7462 h 10000"/>
                <a:gd name="connsiteX524" fmla="*/ 8797 w 10577"/>
                <a:gd name="connsiteY524" fmla="*/ 7402 h 10000"/>
                <a:gd name="connsiteX525" fmla="*/ 8816 w 10577"/>
                <a:gd name="connsiteY525" fmla="*/ 7291 h 10000"/>
                <a:gd name="connsiteX526" fmla="*/ 8825 w 10577"/>
                <a:gd name="connsiteY526" fmla="*/ 7256 h 10000"/>
                <a:gd name="connsiteX527" fmla="*/ 8843 w 10577"/>
                <a:gd name="connsiteY527" fmla="*/ 7231 h 10000"/>
                <a:gd name="connsiteX528" fmla="*/ 8839 w 10577"/>
                <a:gd name="connsiteY528" fmla="*/ 7205 h 10000"/>
                <a:gd name="connsiteX529" fmla="*/ 8839 w 10577"/>
                <a:gd name="connsiteY529" fmla="*/ 7188 h 10000"/>
                <a:gd name="connsiteX530" fmla="*/ 8876 w 10577"/>
                <a:gd name="connsiteY530" fmla="*/ 7162 h 10000"/>
                <a:gd name="connsiteX531" fmla="*/ 8885 w 10577"/>
                <a:gd name="connsiteY531" fmla="*/ 7154 h 10000"/>
                <a:gd name="connsiteX532" fmla="*/ 8885 w 10577"/>
                <a:gd name="connsiteY532" fmla="*/ 7162 h 10000"/>
                <a:gd name="connsiteX533" fmla="*/ 8876 w 10577"/>
                <a:gd name="connsiteY533" fmla="*/ 7188 h 10000"/>
                <a:gd name="connsiteX534" fmla="*/ 8871 w 10577"/>
                <a:gd name="connsiteY534" fmla="*/ 7205 h 10000"/>
                <a:gd name="connsiteX535" fmla="*/ 8866 w 10577"/>
                <a:gd name="connsiteY535" fmla="*/ 7214 h 10000"/>
                <a:gd name="connsiteX536" fmla="*/ 8876 w 10577"/>
                <a:gd name="connsiteY536" fmla="*/ 7265 h 10000"/>
                <a:gd name="connsiteX537" fmla="*/ 8885 w 10577"/>
                <a:gd name="connsiteY537" fmla="*/ 7282 h 10000"/>
                <a:gd name="connsiteX538" fmla="*/ 8889 w 10577"/>
                <a:gd name="connsiteY538" fmla="*/ 7282 h 10000"/>
                <a:gd name="connsiteX539" fmla="*/ 8903 w 10577"/>
                <a:gd name="connsiteY539" fmla="*/ 7239 h 10000"/>
                <a:gd name="connsiteX540" fmla="*/ 8903 w 10577"/>
                <a:gd name="connsiteY540" fmla="*/ 7214 h 10000"/>
                <a:gd name="connsiteX541" fmla="*/ 8899 w 10577"/>
                <a:gd name="connsiteY541" fmla="*/ 7128 h 10000"/>
                <a:gd name="connsiteX542" fmla="*/ 8889 w 10577"/>
                <a:gd name="connsiteY542" fmla="*/ 7120 h 10000"/>
                <a:gd name="connsiteX543" fmla="*/ 8871 w 10577"/>
                <a:gd name="connsiteY543" fmla="*/ 7120 h 10000"/>
                <a:gd name="connsiteX544" fmla="*/ 8871 w 10577"/>
                <a:gd name="connsiteY544" fmla="*/ 7120 h 10000"/>
                <a:gd name="connsiteX545" fmla="*/ 8871 w 10577"/>
                <a:gd name="connsiteY545" fmla="*/ 6991 h 10000"/>
                <a:gd name="connsiteX546" fmla="*/ 8871 w 10577"/>
                <a:gd name="connsiteY546" fmla="*/ 6966 h 10000"/>
                <a:gd name="connsiteX547" fmla="*/ 8889 w 10577"/>
                <a:gd name="connsiteY547" fmla="*/ 6940 h 10000"/>
                <a:gd name="connsiteX548" fmla="*/ 8903 w 10577"/>
                <a:gd name="connsiteY548" fmla="*/ 6906 h 10000"/>
                <a:gd name="connsiteX549" fmla="*/ 8899 w 10577"/>
                <a:gd name="connsiteY549" fmla="*/ 6880 h 10000"/>
                <a:gd name="connsiteX550" fmla="*/ 8866 w 10577"/>
                <a:gd name="connsiteY550" fmla="*/ 6846 h 10000"/>
                <a:gd name="connsiteX551" fmla="*/ 8853 w 10577"/>
                <a:gd name="connsiteY551" fmla="*/ 6846 h 10000"/>
                <a:gd name="connsiteX552" fmla="*/ 8843 w 10577"/>
                <a:gd name="connsiteY552" fmla="*/ 6880 h 10000"/>
                <a:gd name="connsiteX553" fmla="*/ 8843 w 10577"/>
                <a:gd name="connsiteY553" fmla="*/ 6897 h 10000"/>
                <a:gd name="connsiteX554" fmla="*/ 8829 w 10577"/>
                <a:gd name="connsiteY554" fmla="*/ 6880 h 10000"/>
                <a:gd name="connsiteX555" fmla="*/ 8825 w 10577"/>
                <a:gd name="connsiteY555" fmla="*/ 6872 h 10000"/>
                <a:gd name="connsiteX556" fmla="*/ 8816 w 10577"/>
                <a:gd name="connsiteY556" fmla="*/ 6846 h 10000"/>
                <a:gd name="connsiteX557" fmla="*/ 8816 w 10577"/>
                <a:gd name="connsiteY557" fmla="*/ 6803 h 10000"/>
                <a:gd name="connsiteX558" fmla="*/ 8876 w 10577"/>
                <a:gd name="connsiteY558" fmla="*/ 6598 h 10000"/>
                <a:gd name="connsiteX559" fmla="*/ 8876 w 10577"/>
                <a:gd name="connsiteY559" fmla="*/ 6573 h 10000"/>
                <a:gd name="connsiteX560" fmla="*/ 8885 w 10577"/>
                <a:gd name="connsiteY560" fmla="*/ 6556 h 10000"/>
                <a:gd name="connsiteX561" fmla="*/ 8899 w 10577"/>
                <a:gd name="connsiteY561" fmla="*/ 6573 h 10000"/>
                <a:gd name="connsiteX562" fmla="*/ 8889 w 10577"/>
                <a:gd name="connsiteY562" fmla="*/ 6556 h 10000"/>
                <a:gd name="connsiteX563" fmla="*/ 8889 w 10577"/>
                <a:gd name="connsiteY563" fmla="*/ 6530 h 10000"/>
                <a:gd name="connsiteX564" fmla="*/ 8903 w 10577"/>
                <a:gd name="connsiteY564" fmla="*/ 6521 h 10000"/>
                <a:gd name="connsiteX565" fmla="*/ 8903 w 10577"/>
                <a:gd name="connsiteY565" fmla="*/ 6504 h 10000"/>
                <a:gd name="connsiteX566" fmla="*/ 8903 w 10577"/>
                <a:gd name="connsiteY566" fmla="*/ 6487 h 10000"/>
                <a:gd name="connsiteX567" fmla="*/ 8903 w 10577"/>
                <a:gd name="connsiteY567" fmla="*/ 6462 h 10000"/>
                <a:gd name="connsiteX568" fmla="*/ 8912 w 10577"/>
                <a:gd name="connsiteY568" fmla="*/ 6419 h 10000"/>
                <a:gd name="connsiteX569" fmla="*/ 8917 w 10577"/>
                <a:gd name="connsiteY569" fmla="*/ 6393 h 10000"/>
                <a:gd name="connsiteX570" fmla="*/ 8926 w 10577"/>
                <a:gd name="connsiteY570" fmla="*/ 6385 h 10000"/>
                <a:gd name="connsiteX571" fmla="*/ 8931 w 10577"/>
                <a:gd name="connsiteY571" fmla="*/ 6385 h 10000"/>
                <a:gd name="connsiteX572" fmla="*/ 8949 w 10577"/>
                <a:gd name="connsiteY572" fmla="*/ 6359 h 10000"/>
                <a:gd name="connsiteX573" fmla="*/ 8959 w 10577"/>
                <a:gd name="connsiteY573" fmla="*/ 6368 h 10000"/>
                <a:gd name="connsiteX574" fmla="*/ 8963 w 10577"/>
                <a:gd name="connsiteY574" fmla="*/ 6385 h 10000"/>
                <a:gd name="connsiteX575" fmla="*/ 8972 w 10577"/>
                <a:gd name="connsiteY575" fmla="*/ 6359 h 10000"/>
                <a:gd name="connsiteX576" fmla="*/ 8991 w 10577"/>
                <a:gd name="connsiteY576" fmla="*/ 6350 h 10000"/>
                <a:gd name="connsiteX577" fmla="*/ 9000 w 10577"/>
                <a:gd name="connsiteY577" fmla="*/ 6368 h 10000"/>
                <a:gd name="connsiteX578" fmla="*/ 9005 w 10577"/>
                <a:gd name="connsiteY578" fmla="*/ 6393 h 10000"/>
                <a:gd name="connsiteX579" fmla="*/ 9018 w 10577"/>
                <a:gd name="connsiteY579" fmla="*/ 6393 h 10000"/>
                <a:gd name="connsiteX580" fmla="*/ 9023 w 10577"/>
                <a:gd name="connsiteY580" fmla="*/ 6359 h 10000"/>
                <a:gd name="connsiteX581" fmla="*/ 9023 w 10577"/>
                <a:gd name="connsiteY581" fmla="*/ 6333 h 10000"/>
                <a:gd name="connsiteX582" fmla="*/ 9037 w 10577"/>
                <a:gd name="connsiteY582" fmla="*/ 6308 h 10000"/>
                <a:gd name="connsiteX583" fmla="*/ 9074 w 10577"/>
                <a:gd name="connsiteY583" fmla="*/ 6274 h 10000"/>
                <a:gd name="connsiteX584" fmla="*/ 9092 w 10577"/>
                <a:gd name="connsiteY584" fmla="*/ 6222 h 10000"/>
                <a:gd name="connsiteX585" fmla="*/ 9097 w 10577"/>
                <a:gd name="connsiteY585" fmla="*/ 6231 h 10000"/>
                <a:gd name="connsiteX586" fmla="*/ 9097 w 10577"/>
                <a:gd name="connsiteY586" fmla="*/ 6248 h 10000"/>
                <a:gd name="connsiteX587" fmla="*/ 9097 w 10577"/>
                <a:gd name="connsiteY587" fmla="*/ 6274 h 10000"/>
                <a:gd name="connsiteX588" fmla="*/ 9097 w 10577"/>
                <a:gd name="connsiteY588" fmla="*/ 6308 h 10000"/>
                <a:gd name="connsiteX589" fmla="*/ 9092 w 10577"/>
                <a:gd name="connsiteY589" fmla="*/ 6368 h 10000"/>
                <a:gd name="connsiteX590" fmla="*/ 9092 w 10577"/>
                <a:gd name="connsiteY590" fmla="*/ 6385 h 10000"/>
                <a:gd name="connsiteX591" fmla="*/ 9092 w 10577"/>
                <a:gd name="connsiteY591" fmla="*/ 6393 h 10000"/>
                <a:gd name="connsiteX592" fmla="*/ 9092 w 10577"/>
                <a:gd name="connsiteY592" fmla="*/ 6393 h 10000"/>
                <a:gd name="connsiteX593" fmla="*/ 9143 w 10577"/>
                <a:gd name="connsiteY593" fmla="*/ 6299 h 10000"/>
                <a:gd name="connsiteX594" fmla="*/ 9143 w 10577"/>
                <a:gd name="connsiteY594" fmla="*/ 6282 h 10000"/>
                <a:gd name="connsiteX595" fmla="*/ 9143 w 10577"/>
                <a:gd name="connsiteY595" fmla="*/ 6256 h 10000"/>
                <a:gd name="connsiteX596" fmla="*/ 9143 w 10577"/>
                <a:gd name="connsiteY596" fmla="*/ 6256 h 10000"/>
                <a:gd name="connsiteX597" fmla="*/ 9157 w 10577"/>
                <a:gd name="connsiteY597" fmla="*/ 6274 h 10000"/>
                <a:gd name="connsiteX598" fmla="*/ 9166 w 10577"/>
                <a:gd name="connsiteY598" fmla="*/ 6248 h 10000"/>
                <a:gd name="connsiteX599" fmla="*/ 9180 w 10577"/>
                <a:gd name="connsiteY599" fmla="*/ 6248 h 10000"/>
                <a:gd name="connsiteX600" fmla="*/ 9198 w 10577"/>
                <a:gd name="connsiteY600" fmla="*/ 6222 h 10000"/>
                <a:gd name="connsiteX601" fmla="*/ 9212 w 10577"/>
                <a:gd name="connsiteY601" fmla="*/ 6222 h 10000"/>
                <a:gd name="connsiteX602" fmla="*/ 9226 w 10577"/>
                <a:gd name="connsiteY602" fmla="*/ 6197 h 10000"/>
                <a:gd name="connsiteX603" fmla="*/ 9230 w 10577"/>
                <a:gd name="connsiteY603" fmla="*/ 6214 h 10000"/>
                <a:gd name="connsiteX604" fmla="*/ 9272 w 10577"/>
                <a:gd name="connsiteY604" fmla="*/ 6214 h 10000"/>
                <a:gd name="connsiteX605" fmla="*/ 9304 w 10577"/>
                <a:gd name="connsiteY605" fmla="*/ 6231 h 10000"/>
                <a:gd name="connsiteX606" fmla="*/ 9318 w 10577"/>
                <a:gd name="connsiteY606" fmla="*/ 6248 h 10000"/>
                <a:gd name="connsiteX607" fmla="*/ 9327 w 10577"/>
                <a:gd name="connsiteY607" fmla="*/ 6282 h 10000"/>
                <a:gd name="connsiteX608" fmla="*/ 9355 w 10577"/>
                <a:gd name="connsiteY608" fmla="*/ 6350 h 10000"/>
                <a:gd name="connsiteX609" fmla="*/ 9355 w 10577"/>
                <a:gd name="connsiteY609" fmla="*/ 6359 h 10000"/>
                <a:gd name="connsiteX610" fmla="*/ 9364 w 10577"/>
                <a:gd name="connsiteY610" fmla="*/ 6368 h 10000"/>
                <a:gd name="connsiteX611" fmla="*/ 9373 w 10577"/>
                <a:gd name="connsiteY611" fmla="*/ 6359 h 10000"/>
                <a:gd name="connsiteX612" fmla="*/ 9373 w 10577"/>
                <a:gd name="connsiteY612" fmla="*/ 6325 h 10000"/>
                <a:gd name="connsiteX613" fmla="*/ 9387 w 10577"/>
                <a:gd name="connsiteY613" fmla="*/ 6256 h 10000"/>
                <a:gd name="connsiteX614" fmla="*/ 9387 w 10577"/>
                <a:gd name="connsiteY614" fmla="*/ 6248 h 10000"/>
                <a:gd name="connsiteX615" fmla="*/ 9378 w 10577"/>
                <a:gd name="connsiteY615" fmla="*/ 6248 h 10000"/>
                <a:gd name="connsiteX616" fmla="*/ 9406 w 10577"/>
                <a:gd name="connsiteY616" fmla="*/ 6222 h 10000"/>
                <a:gd name="connsiteX617" fmla="*/ 9415 w 10577"/>
                <a:gd name="connsiteY617" fmla="*/ 6222 h 10000"/>
                <a:gd name="connsiteX618" fmla="*/ 9415 w 10577"/>
                <a:gd name="connsiteY618" fmla="*/ 6197 h 10000"/>
                <a:gd name="connsiteX619" fmla="*/ 9419 w 10577"/>
                <a:gd name="connsiteY619" fmla="*/ 6214 h 10000"/>
                <a:gd name="connsiteX620" fmla="*/ 9424 w 10577"/>
                <a:gd name="connsiteY620" fmla="*/ 6214 h 10000"/>
                <a:gd name="connsiteX621" fmla="*/ 9447 w 10577"/>
                <a:gd name="connsiteY621" fmla="*/ 6171 h 10000"/>
                <a:gd name="connsiteX622" fmla="*/ 9452 w 10577"/>
                <a:gd name="connsiteY622" fmla="*/ 6171 h 10000"/>
                <a:gd name="connsiteX623" fmla="*/ 9452 w 10577"/>
                <a:gd name="connsiteY623" fmla="*/ 6162 h 10000"/>
                <a:gd name="connsiteX624" fmla="*/ 9461 w 10577"/>
                <a:gd name="connsiteY624" fmla="*/ 6137 h 10000"/>
                <a:gd name="connsiteX625" fmla="*/ 9475 w 10577"/>
                <a:gd name="connsiteY625" fmla="*/ 6137 h 10000"/>
                <a:gd name="connsiteX626" fmla="*/ 9475 w 10577"/>
                <a:gd name="connsiteY626" fmla="*/ 6137 h 10000"/>
                <a:gd name="connsiteX627" fmla="*/ 9479 w 10577"/>
                <a:gd name="connsiteY627" fmla="*/ 6120 h 10000"/>
                <a:gd name="connsiteX628" fmla="*/ 9488 w 10577"/>
                <a:gd name="connsiteY628" fmla="*/ 6120 h 10000"/>
                <a:gd name="connsiteX629" fmla="*/ 9488 w 10577"/>
                <a:gd name="connsiteY629" fmla="*/ 6111 h 10000"/>
                <a:gd name="connsiteX630" fmla="*/ 9479 w 10577"/>
                <a:gd name="connsiteY630" fmla="*/ 6103 h 10000"/>
                <a:gd name="connsiteX631" fmla="*/ 9479 w 10577"/>
                <a:gd name="connsiteY631" fmla="*/ 6085 h 10000"/>
                <a:gd name="connsiteX632" fmla="*/ 9488 w 10577"/>
                <a:gd name="connsiteY632" fmla="*/ 6103 h 10000"/>
                <a:gd name="connsiteX633" fmla="*/ 9493 w 10577"/>
                <a:gd name="connsiteY633" fmla="*/ 6111 h 10000"/>
                <a:gd name="connsiteX634" fmla="*/ 9498 w 10577"/>
                <a:gd name="connsiteY634" fmla="*/ 6103 h 10000"/>
                <a:gd name="connsiteX635" fmla="*/ 9507 w 10577"/>
                <a:gd name="connsiteY635" fmla="*/ 6077 h 10000"/>
                <a:gd name="connsiteX636" fmla="*/ 9498 w 10577"/>
                <a:gd name="connsiteY636" fmla="*/ 6060 h 10000"/>
                <a:gd name="connsiteX637" fmla="*/ 9512 w 10577"/>
                <a:gd name="connsiteY637" fmla="*/ 6060 h 10000"/>
                <a:gd name="connsiteX638" fmla="*/ 9525 w 10577"/>
                <a:gd name="connsiteY638" fmla="*/ 6034 h 10000"/>
                <a:gd name="connsiteX639" fmla="*/ 9535 w 10577"/>
                <a:gd name="connsiteY639" fmla="*/ 6034 h 10000"/>
                <a:gd name="connsiteX640" fmla="*/ 9535 w 10577"/>
                <a:gd name="connsiteY640" fmla="*/ 6026 h 10000"/>
                <a:gd name="connsiteX641" fmla="*/ 9525 w 10577"/>
                <a:gd name="connsiteY641" fmla="*/ 6009 h 10000"/>
                <a:gd name="connsiteX642" fmla="*/ 9535 w 10577"/>
                <a:gd name="connsiteY642" fmla="*/ 6000 h 10000"/>
                <a:gd name="connsiteX643" fmla="*/ 9539 w 10577"/>
                <a:gd name="connsiteY643" fmla="*/ 6009 h 10000"/>
                <a:gd name="connsiteX644" fmla="*/ 9548 w 10577"/>
                <a:gd name="connsiteY644" fmla="*/ 6009 h 10000"/>
                <a:gd name="connsiteX645" fmla="*/ 9553 w 10577"/>
                <a:gd name="connsiteY645" fmla="*/ 6000 h 10000"/>
                <a:gd name="connsiteX646" fmla="*/ 9562 w 10577"/>
                <a:gd name="connsiteY646" fmla="*/ 5983 h 10000"/>
                <a:gd name="connsiteX647" fmla="*/ 9562 w 10577"/>
                <a:gd name="connsiteY647" fmla="*/ 5974 h 10000"/>
                <a:gd name="connsiteX648" fmla="*/ 9567 w 10577"/>
                <a:gd name="connsiteY648" fmla="*/ 5974 h 10000"/>
                <a:gd name="connsiteX649" fmla="*/ 9567 w 10577"/>
                <a:gd name="connsiteY649" fmla="*/ 5966 h 10000"/>
                <a:gd name="connsiteX650" fmla="*/ 9567 w 10577"/>
                <a:gd name="connsiteY650" fmla="*/ 5940 h 10000"/>
                <a:gd name="connsiteX651" fmla="*/ 9571 w 10577"/>
                <a:gd name="connsiteY651" fmla="*/ 5915 h 10000"/>
                <a:gd name="connsiteX652" fmla="*/ 9581 w 10577"/>
                <a:gd name="connsiteY652" fmla="*/ 5923 h 10000"/>
                <a:gd name="connsiteX653" fmla="*/ 9585 w 10577"/>
                <a:gd name="connsiteY653" fmla="*/ 5940 h 10000"/>
                <a:gd name="connsiteX654" fmla="*/ 9594 w 10577"/>
                <a:gd name="connsiteY654" fmla="*/ 5949 h 10000"/>
                <a:gd name="connsiteX655" fmla="*/ 9599 w 10577"/>
                <a:gd name="connsiteY655" fmla="*/ 5940 h 10000"/>
                <a:gd name="connsiteX656" fmla="*/ 9613 w 10577"/>
                <a:gd name="connsiteY656" fmla="*/ 5915 h 10000"/>
                <a:gd name="connsiteX657" fmla="*/ 9645 w 10577"/>
                <a:gd name="connsiteY657" fmla="*/ 5889 h 10000"/>
                <a:gd name="connsiteX658" fmla="*/ 9654 w 10577"/>
                <a:gd name="connsiteY658" fmla="*/ 5872 h 10000"/>
                <a:gd name="connsiteX659" fmla="*/ 9673 w 10577"/>
                <a:gd name="connsiteY659" fmla="*/ 5863 h 10000"/>
                <a:gd name="connsiteX660" fmla="*/ 9682 w 10577"/>
                <a:gd name="connsiteY660" fmla="*/ 5838 h 10000"/>
                <a:gd name="connsiteX661" fmla="*/ 9682 w 10577"/>
                <a:gd name="connsiteY661" fmla="*/ 5829 h 10000"/>
                <a:gd name="connsiteX662" fmla="*/ 9682 w 10577"/>
                <a:gd name="connsiteY662" fmla="*/ 5812 h 10000"/>
                <a:gd name="connsiteX663" fmla="*/ 9687 w 10577"/>
                <a:gd name="connsiteY663" fmla="*/ 5812 h 10000"/>
                <a:gd name="connsiteX664" fmla="*/ 9687 w 10577"/>
                <a:gd name="connsiteY664" fmla="*/ 5829 h 10000"/>
                <a:gd name="connsiteX665" fmla="*/ 9687 w 10577"/>
                <a:gd name="connsiteY665" fmla="*/ 5829 h 10000"/>
                <a:gd name="connsiteX666" fmla="*/ 9719 w 10577"/>
                <a:gd name="connsiteY666" fmla="*/ 5803 h 10000"/>
                <a:gd name="connsiteX667" fmla="*/ 9728 w 10577"/>
                <a:gd name="connsiteY667" fmla="*/ 5803 h 10000"/>
                <a:gd name="connsiteX668" fmla="*/ 9779 w 10577"/>
                <a:gd name="connsiteY668" fmla="*/ 5726 h 10000"/>
                <a:gd name="connsiteX669" fmla="*/ 9816 w 10577"/>
                <a:gd name="connsiteY669" fmla="*/ 5709 h 10000"/>
                <a:gd name="connsiteX670" fmla="*/ 9820 w 10577"/>
                <a:gd name="connsiteY670" fmla="*/ 5701 h 10000"/>
                <a:gd name="connsiteX671" fmla="*/ 9816 w 10577"/>
                <a:gd name="connsiteY671" fmla="*/ 5692 h 10000"/>
                <a:gd name="connsiteX672" fmla="*/ 9816 w 10577"/>
                <a:gd name="connsiteY672" fmla="*/ 5692 h 10000"/>
                <a:gd name="connsiteX673" fmla="*/ 9802 w 10577"/>
                <a:gd name="connsiteY673" fmla="*/ 5624 h 10000"/>
                <a:gd name="connsiteX674" fmla="*/ 9806 w 10577"/>
                <a:gd name="connsiteY674" fmla="*/ 5624 h 10000"/>
                <a:gd name="connsiteX675" fmla="*/ 9820 w 10577"/>
                <a:gd name="connsiteY675" fmla="*/ 5675 h 10000"/>
                <a:gd name="connsiteX676" fmla="*/ 9829 w 10577"/>
                <a:gd name="connsiteY676" fmla="*/ 5675 h 10000"/>
                <a:gd name="connsiteX677" fmla="*/ 9829 w 10577"/>
                <a:gd name="connsiteY677" fmla="*/ 5692 h 10000"/>
                <a:gd name="connsiteX678" fmla="*/ 9829 w 10577"/>
                <a:gd name="connsiteY678" fmla="*/ 5701 h 10000"/>
                <a:gd name="connsiteX679" fmla="*/ 9839 w 10577"/>
                <a:gd name="connsiteY679" fmla="*/ 5701 h 10000"/>
                <a:gd name="connsiteX680" fmla="*/ 9839 w 10577"/>
                <a:gd name="connsiteY680" fmla="*/ 5692 h 10000"/>
                <a:gd name="connsiteX681" fmla="*/ 9839 w 10577"/>
                <a:gd name="connsiteY681" fmla="*/ 5675 h 10000"/>
                <a:gd name="connsiteX682" fmla="*/ 9848 w 10577"/>
                <a:gd name="connsiteY682" fmla="*/ 5675 h 10000"/>
                <a:gd name="connsiteX683" fmla="*/ 9848 w 10577"/>
                <a:gd name="connsiteY683" fmla="*/ 5692 h 10000"/>
                <a:gd name="connsiteX684" fmla="*/ 9853 w 10577"/>
                <a:gd name="connsiteY684" fmla="*/ 5701 h 10000"/>
                <a:gd name="connsiteX685" fmla="*/ 9880 w 10577"/>
                <a:gd name="connsiteY685" fmla="*/ 5709 h 10000"/>
                <a:gd name="connsiteX686" fmla="*/ 9912 w 10577"/>
                <a:gd name="connsiteY686" fmla="*/ 5752 h 10000"/>
                <a:gd name="connsiteX687" fmla="*/ 9926 w 10577"/>
                <a:gd name="connsiteY687" fmla="*/ 5761 h 10000"/>
                <a:gd name="connsiteX688" fmla="*/ 9935 w 10577"/>
                <a:gd name="connsiteY688" fmla="*/ 5761 h 10000"/>
                <a:gd name="connsiteX689" fmla="*/ 9940 w 10577"/>
                <a:gd name="connsiteY689" fmla="*/ 5735 h 10000"/>
                <a:gd name="connsiteX690" fmla="*/ 9949 w 10577"/>
                <a:gd name="connsiteY690" fmla="*/ 5735 h 10000"/>
                <a:gd name="connsiteX691" fmla="*/ 9968 w 10577"/>
                <a:gd name="connsiteY691" fmla="*/ 5692 h 10000"/>
                <a:gd name="connsiteX692" fmla="*/ 9968 w 10577"/>
                <a:gd name="connsiteY692" fmla="*/ 5650 h 10000"/>
                <a:gd name="connsiteX693" fmla="*/ 9968 w 10577"/>
                <a:gd name="connsiteY693" fmla="*/ 5624 h 10000"/>
                <a:gd name="connsiteX694" fmla="*/ 9935 w 10577"/>
                <a:gd name="connsiteY694" fmla="*/ 5598 h 10000"/>
                <a:gd name="connsiteX695" fmla="*/ 9935 w 10577"/>
                <a:gd name="connsiteY695" fmla="*/ 5590 h 10000"/>
                <a:gd name="connsiteX696" fmla="*/ 9935 w 10577"/>
                <a:gd name="connsiteY696" fmla="*/ 5573 h 10000"/>
                <a:gd name="connsiteX697" fmla="*/ 9935 w 10577"/>
                <a:gd name="connsiteY697" fmla="*/ 5573 h 10000"/>
                <a:gd name="connsiteX698" fmla="*/ 9940 w 10577"/>
                <a:gd name="connsiteY698" fmla="*/ 5573 h 10000"/>
                <a:gd name="connsiteX699" fmla="*/ 9954 w 10577"/>
                <a:gd name="connsiteY699" fmla="*/ 5573 h 10000"/>
                <a:gd name="connsiteX700" fmla="*/ 9963 w 10577"/>
                <a:gd name="connsiteY700" fmla="*/ 5564 h 10000"/>
                <a:gd name="connsiteX701" fmla="*/ 9954 w 10577"/>
                <a:gd name="connsiteY701" fmla="*/ 5530 h 10000"/>
                <a:gd name="connsiteX702" fmla="*/ 9949 w 10577"/>
                <a:gd name="connsiteY702" fmla="*/ 5530 h 10000"/>
                <a:gd name="connsiteX703" fmla="*/ 9926 w 10577"/>
                <a:gd name="connsiteY703" fmla="*/ 5479 h 10000"/>
                <a:gd name="connsiteX704" fmla="*/ 9912 w 10577"/>
                <a:gd name="connsiteY704" fmla="*/ 5325 h 10000"/>
                <a:gd name="connsiteX705" fmla="*/ 9903 w 10577"/>
                <a:gd name="connsiteY705" fmla="*/ 5342 h 10000"/>
                <a:gd name="connsiteX706" fmla="*/ 9889 w 10577"/>
                <a:gd name="connsiteY706" fmla="*/ 5316 h 10000"/>
                <a:gd name="connsiteX707" fmla="*/ 9889 w 10577"/>
                <a:gd name="connsiteY707" fmla="*/ 5291 h 10000"/>
                <a:gd name="connsiteX708" fmla="*/ 9903 w 10577"/>
                <a:gd name="connsiteY708" fmla="*/ 5291 h 10000"/>
                <a:gd name="connsiteX709" fmla="*/ 9903 w 10577"/>
                <a:gd name="connsiteY709" fmla="*/ 5291 h 10000"/>
                <a:gd name="connsiteX710" fmla="*/ 9894 w 10577"/>
                <a:gd name="connsiteY710" fmla="*/ 5214 h 10000"/>
                <a:gd name="connsiteX711" fmla="*/ 9880 w 10577"/>
                <a:gd name="connsiteY711" fmla="*/ 5239 h 10000"/>
                <a:gd name="connsiteX712" fmla="*/ 9876 w 10577"/>
                <a:gd name="connsiteY712" fmla="*/ 5256 h 10000"/>
                <a:gd name="connsiteX713" fmla="*/ 9862 w 10577"/>
                <a:gd name="connsiteY713" fmla="*/ 5239 h 10000"/>
                <a:gd name="connsiteX714" fmla="*/ 9853 w 10577"/>
                <a:gd name="connsiteY714" fmla="*/ 5214 h 10000"/>
                <a:gd name="connsiteX715" fmla="*/ 9839 w 10577"/>
                <a:gd name="connsiteY715" fmla="*/ 5214 h 10000"/>
                <a:gd name="connsiteX716" fmla="*/ 9834 w 10577"/>
                <a:gd name="connsiteY716" fmla="*/ 5188 h 10000"/>
                <a:gd name="connsiteX717" fmla="*/ 9834 w 10577"/>
                <a:gd name="connsiteY717" fmla="*/ 5103 h 10000"/>
                <a:gd name="connsiteX718" fmla="*/ 9839 w 10577"/>
                <a:gd name="connsiteY718" fmla="*/ 5094 h 10000"/>
                <a:gd name="connsiteX719" fmla="*/ 9853 w 10577"/>
                <a:gd name="connsiteY719" fmla="*/ 5103 h 10000"/>
                <a:gd name="connsiteX720" fmla="*/ 9876 w 10577"/>
                <a:gd name="connsiteY720" fmla="*/ 5128 h 10000"/>
                <a:gd name="connsiteX721" fmla="*/ 9889 w 10577"/>
                <a:gd name="connsiteY721" fmla="*/ 5103 h 10000"/>
                <a:gd name="connsiteX722" fmla="*/ 9880 w 10577"/>
                <a:gd name="connsiteY722" fmla="*/ 5120 h 10000"/>
                <a:gd name="connsiteX723" fmla="*/ 9889 w 10577"/>
                <a:gd name="connsiteY723" fmla="*/ 5128 h 10000"/>
                <a:gd name="connsiteX724" fmla="*/ 9912 w 10577"/>
                <a:gd name="connsiteY724" fmla="*/ 5128 h 10000"/>
                <a:gd name="connsiteX725" fmla="*/ 9908 w 10577"/>
                <a:gd name="connsiteY725" fmla="*/ 5145 h 10000"/>
                <a:gd name="connsiteX726" fmla="*/ 9908 w 10577"/>
                <a:gd name="connsiteY726" fmla="*/ 5154 h 10000"/>
                <a:gd name="connsiteX727" fmla="*/ 9922 w 10577"/>
                <a:gd name="connsiteY727" fmla="*/ 5128 h 10000"/>
                <a:gd name="connsiteX728" fmla="*/ 9935 w 10577"/>
                <a:gd name="connsiteY728" fmla="*/ 5103 h 10000"/>
                <a:gd name="connsiteX729" fmla="*/ 9968 w 10577"/>
                <a:gd name="connsiteY729" fmla="*/ 5077 h 10000"/>
                <a:gd name="connsiteX730" fmla="*/ 10000 w 10577"/>
                <a:gd name="connsiteY730" fmla="*/ 5017 h 10000"/>
                <a:gd name="connsiteX731" fmla="*/ 10561 w 10577"/>
                <a:gd name="connsiteY731" fmla="*/ 4442 h 10000"/>
                <a:gd name="connsiteX732" fmla="*/ 10354 w 10577"/>
                <a:gd name="connsiteY732" fmla="*/ 4302 h 10000"/>
                <a:gd name="connsiteX733" fmla="*/ 9912 w 10577"/>
                <a:gd name="connsiteY733" fmla="*/ 3675 h 10000"/>
                <a:gd name="connsiteX734" fmla="*/ 9903 w 10577"/>
                <a:gd name="connsiteY734" fmla="*/ 3667 h 10000"/>
                <a:gd name="connsiteX735" fmla="*/ 9894 w 10577"/>
                <a:gd name="connsiteY735" fmla="*/ 3641 h 10000"/>
                <a:gd name="connsiteX736" fmla="*/ 9889 w 10577"/>
                <a:gd name="connsiteY736" fmla="*/ 3650 h 10000"/>
                <a:gd name="connsiteX737" fmla="*/ 9848 w 10577"/>
                <a:gd name="connsiteY737" fmla="*/ 3598 h 10000"/>
                <a:gd name="connsiteX738" fmla="*/ 9829 w 10577"/>
                <a:gd name="connsiteY738" fmla="*/ 3581 h 10000"/>
                <a:gd name="connsiteX739" fmla="*/ 9820 w 10577"/>
                <a:gd name="connsiteY739" fmla="*/ 3581 h 10000"/>
                <a:gd name="connsiteX740" fmla="*/ 9793 w 10577"/>
                <a:gd name="connsiteY740" fmla="*/ 3556 h 10000"/>
                <a:gd name="connsiteX741" fmla="*/ 9779 w 10577"/>
                <a:gd name="connsiteY741" fmla="*/ 3556 h 10000"/>
                <a:gd name="connsiteX742" fmla="*/ 9747 w 10577"/>
                <a:gd name="connsiteY742" fmla="*/ 3487 h 10000"/>
                <a:gd name="connsiteX743" fmla="*/ 9668 w 10577"/>
                <a:gd name="connsiteY743" fmla="*/ 3479 h 10000"/>
                <a:gd name="connsiteX744" fmla="*/ 9659 w 10577"/>
                <a:gd name="connsiteY744" fmla="*/ 3487 h 10000"/>
                <a:gd name="connsiteX745" fmla="*/ 9645 w 10577"/>
                <a:gd name="connsiteY745" fmla="*/ 3504 h 10000"/>
                <a:gd name="connsiteX746" fmla="*/ 9631 w 10577"/>
                <a:gd name="connsiteY746" fmla="*/ 3487 h 10000"/>
                <a:gd name="connsiteX747" fmla="*/ 9613 w 10577"/>
                <a:gd name="connsiteY747" fmla="*/ 3479 h 10000"/>
                <a:gd name="connsiteX748" fmla="*/ 9599 w 10577"/>
                <a:gd name="connsiteY748" fmla="*/ 3479 h 10000"/>
                <a:gd name="connsiteX749" fmla="*/ 9571 w 10577"/>
                <a:gd name="connsiteY749" fmla="*/ 3479 h 10000"/>
                <a:gd name="connsiteX750" fmla="*/ 9562 w 10577"/>
                <a:gd name="connsiteY750" fmla="*/ 3487 h 10000"/>
                <a:gd name="connsiteX751" fmla="*/ 9539 w 10577"/>
                <a:gd name="connsiteY751" fmla="*/ 3487 h 10000"/>
                <a:gd name="connsiteX752" fmla="*/ 9507 w 10577"/>
                <a:gd name="connsiteY752" fmla="*/ 3453 h 10000"/>
                <a:gd name="connsiteX753" fmla="*/ 9498 w 10577"/>
                <a:gd name="connsiteY753" fmla="*/ 3453 h 10000"/>
                <a:gd name="connsiteX754" fmla="*/ 9387 w 10577"/>
                <a:gd name="connsiteY754" fmla="*/ 3419 h 10000"/>
                <a:gd name="connsiteX755" fmla="*/ 9373 w 10577"/>
                <a:gd name="connsiteY755" fmla="*/ 3427 h 10000"/>
                <a:gd name="connsiteX756" fmla="*/ 9373 w 10577"/>
                <a:gd name="connsiteY756" fmla="*/ 3462 h 10000"/>
                <a:gd name="connsiteX757" fmla="*/ 9378 w 10577"/>
                <a:gd name="connsiteY757" fmla="*/ 3479 h 10000"/>
                <a:gd name="connsiteX758" fmla="*/ 9378 w 10577"/>
                <a:gd name="connsiteY758" fmla="*/ 3530 h 10000"/>
                <a:gd name="connsiteX759" fmla="*/ 9355 w 10577"/>
                <a:gd name="connsiteY759" fmla="*/ 3538 h 10000"/>
                <a:gd name="connsiteX760" fmla="*/ 9355 w 10577"/>
                <a:gd name="connsiteY760" fmla="*/ 3581 h 10000"/>
                <a:gd name="connsiteX761" fmla="*/ 9387 w 10577"/>
                <a:gd name="connsiteY761" fmla="*/ 3590 h 10000"/>
                <a:gd name="connsiteX762" fmla="*/ 9401 w 10577"/>
                <a:gd name="connsiteY762" fmla="*/ 3667 h 10000"/>
                <a:gd name="connsiteX763" fmla="*/ 9406 w 10577"/>
                <a:gd name="connsiteY763" fmla="*/ 3675 h 10000"/>
                <a:gd name="connsiteX764" fmla="*/ 9406 w 10577"/>
                <a:gd name="connsiteY764" fmla="*/ 3701 h 10000"/>
                <a:gd name="connsiteX765" fmla="*/ 9415 w 10577"/>
                <a:gd name="connsiteY765" fmla="*/ 3752 h 10000"/>
                <a:gd name="connsiteX766" fmla="*/ 9373 w 10577"/>
                <a:gd name="connsiteY766" fmla="*/ 3838 h 10000"/>
                <a:gd name="connsiteX767" fmla="*/ 9355 w 10577"/>
                <a:gd name="connsiteY767" fmla="*/ 3863 h 10000"/>
                <a:gd name="connsiteX768" fmla="*/ 9327 w 10577"/>
                <a:gd name="connsiteY768" fmla="*/ 3863 h 10000"/>
                <a:gd name="connsiteX769" fmla="*/ 9313 w 10577"/>
                <a:gd name="connsiteY769" fmla="*/ 3846 h 10000"/>
                <a:gd name="connsiteX770" fmla="*/ 9300 w 10577"/>
                <a:gd name="connsiteY770" fmla="*/ 3778 h 10000"/>
                <a:gd name="connsiteX771" fmla="*/ 9281 w 10577"/>
                <a:gd name="connsiteY771" fmla="*/ 3752 h 10000"/>
                <a:gd name="connsiteX772" fmla="*/ 9281 w 10577"/>
                <a:gd name="connsiteY772" fmla="*/ 3735 h 10000"/>
                <a:gd name="connsiteX773" fmla="*/ 9267 w 10577"/>
                <a:gd name="connsiteY773" fmla="*/ 3726 h 10000"/>
                <a:gd name="connsiteX774" fmla="*/ 9240 w 10577"/>
                <a:gd name="connsiteY774" fmla="*/ 3726 h 10000"/>
                <a:gd name="connsiteX775" fmla="*/ 9230 w 10577"/>
                <a:gd name="connsiteY775" fmla="*/ 3718 h 10000"/>
                <a:gd name="connsiteX776" fmla="*/ 9226 w 10577"/>
                <a:gd name="connsiteY776" fmla="*/ 3590 h 10000"/>
                <a:gd name="connsiteX777" fmla="*/ 9207 w 10577"/>
                <a:gd name="connsiteY777" fmla="*/ 3581 h 10000"/>
                <a:gd name="connsiteX778" fmla="*/ 9207 w 10577"/>
                <a:gd name="connsiteY778" fmla="*/ 3556 h 10000"/>
                <a:gd name="connsiteX779" fmla="*/ 9217 w 10577"/>
                <a:gd name="connsiteY779" fmla="*/ 3538 h 10000"/>
                <a:gd name="connsiteX780" fmla="*/ 9212 w 10577"/>
                <a:gd name="connsiteY780" fmla="*/ 3538 h 10000"/>
                <a:gd name="connsiteX781" fmla="*/ 9198 w 10577"/>
                <a:gd name="connsiteY781" fmla="*/ 3513 h 10000"/>
                <a:gd name="connsiteX782" fmla="*/ 9194 w 10577"/>
                <a:gd name="connsiteY782" fmla="*/ 3530 h 10000"/>
                <a:gd name="connsiteX783" fmla="*/ 9143 w 10577"/>
                <a:gd name="connsiteY783" fmla="*/ 3615 h 10000"/>
                <a:gd name="connsiteX784" fmla="*/ 9138 w 10577"/>
                <a:gd name="connsiteY784" fmla="*/ 3615 h 10000"/>
                <a:gd name="connsiteX785" fmla="*/ 9134 w 10577"/>
                <a:gd name="connsiteY785" fmla="*/ 3615 h 10000"/>
                <a:gd name="connsiteX786" fmla="*/ 9106 w 10577"/>
                <a:gd name="connsiteY786" fmla="*/ 3615 h 10000"/>
                <a:gd name="connsiteX787" fmla="*/ 9078 w 10577"/>
                <a:gd name="connsiteY787" fmla="*/ 3590 h 10000"/>
                <a:gd name="connsiteX788" fmla="*/ 9037 w 10577"/>
                <a:gd name="connsiteY788" fmla="*/ 3581 h 10000"/>
                <a:gd name="connsiteX789" fmla="*/ 9023 w 10577"/>
                <a:gd name="connsiteY789" fmla="*/ 3590 h 10000"/>
                <a:gd name="connsiteX790" fmla="*/ 9018 w 10577"/>
                <a:gd name="connsiteY790" fmla="*/ 3590 h 10000"/>
                <a:gd name="connsiteX791" fmla="*/ 9018 w 10577"/>
                <a:gd name="connsiteY791" fmla="*/ 3590 h 10000"/>
                <a:gd name="connsiteX792" fmla="*/ 8991 w 10577"/>
                <a:gd name="connsiteY792" fmla="*/ 3590 h 10000"/>
                <a:gd name="connsiteX793" fmla="*/ 8972 w 10577"/>
                <a:gd name="connsiteY793" fmla="*/ 3581 h 10000"/>
                <a:gd name="connsiteX794" fmla="*/ 8959 w 10577"/>
                <a:gd name="connsiteY794" fmla="*/ 3513 h 10000"/>
                <a:gd name="connsiteX795" fmla="*/ 8931 w 10577"/>
                <a:gd name="connsiteY795" fmla="*/ 3538 h 10000"/>
                <a:gd name="connsiteX796" fmla="*/ 8889 w 10577"/>
                <a:gd name="connsiteY796" fmla="*/ 3538 h 10000"/>
                <a:gd name="connsiteX797" fmla="*/ 8871 w 10577"/>
                <a:gd name="connsiteY797" fmla="*/ 3556 h 10000"/>
                <a:gd name="connsiteX798" fmla="*/ 8857 w 10577"/>
                <a:gd name="connsiteY798" fmla="*/ 3538 h 10000"/>
                <a:gd name="connsiteX799" fmla="*/ 8843 w 10577"/>
                <a:gd name="connsiteY799" fmla="*/ 3538 h 10000"/>
                <a:gd name="connsiteX800" fmla="*/ 8839 w 10577"/>
                <a:gd name="connsiteY800" fmla="*/ 3556 h 10000"/>
                <a:gd name="connsiteX801" fmla="*/ 8839 w 10577"/>
                <a:gd name="connsiteY801" fmla="*/ 3581 h 10000"/>
                <a:gd name="connsiteX802" fmla="*/ 8825 w 10577"/>
                <a:gd name="connsiteY802" fmla="*/ 3564 h 10000"/>
                <a:gd name="connsiteX803" fmla="*/ 8825 w 10577"/>
                <a:gd name="connsiteY803" fmla="*/ 3615 h 10000"/>
                <a:gd name="connsiteX804" fmla="*/ 8802 w 10577"/>
                <a:gd name="connsiteY804" fmla="*/ 3598 h 10000"/>
                <a:gd name="connsiteX805" fmla="*/ 8797 w 10577"/>
                <a:gd name="connsiteY805" fmla="*/ 3641 h 10000"/>
                <a:gd name="connsiteX806" fmla="*/ 8783 w 10577"/>
                <a:gd name="connsiteY806" fmla="*/ 3667 h 10000"/>
                <a:gd name="connsiteX807" fmla="*/ 8779 w 10577"/>
                <a:gd name="connsiteY807" fmla="*/ 3650 h 10000"/>
                <a:gd name="connsiteX808" fmla="*/ 8779 w 10577"/>
                <a:gd name="connsiteY808" fmla="*/ 3615 h 10000"/>
                <a:gd name="connsiteX809" fmla="*/ 8770 w 10577"/>
                <a:gd name="connsiteY809" fmla="*/ 3590 h 10000"/>
                <a:gd name="connsiteX810" fmla="*/ 8765 w 10577"/>
                <a:gd name="connsiteY810" fmla="*/ 3598 h 10000"/>
                <a:gd name="connsiteX811" fmla="*/ 8756 w 10577"/>
                <a:gd name="connsiteY811" fmla="*/ 3590 h 10000"/>
                <a:gd name="connsiteX812" fmla="*/ 8737 w 10577"/>
                <a:gd name="connsiteY812" fmla="*/ 3556 h 10000"/>
                <a:gd name="connsiteX813" fmla="*/ 8724 w 10577"/>
                <a:gd name="connsiteY813" fmla="*/ 3538 h 10000"/>
                <a:gd name="connsiteX814" fmla="*/ 8696 w 10577"/>
                <a:gd name="connsiteY814" fmla="*/ 3538 h 10000"/>
                <a:gd name="connsiteX815" fmla="*/ 8691 w 10577"/>
                <a:gd name="connsiteY815" fmla="*/ 3513 h 10000"/>
                <a:gd name="connsiteX816" fmla="*/ 8668 w 10577"/>
                <a:gd name="connsiteY816" fmla="*/ 3504 h 10000"/>
                <a:gd name="connsiteX817" fmla="*/ 8668 w 10577"/>
                <a:gd name="connsiteY817" fmla="*/ 3487 h 10000"/>
                <a:gd name="connsiteX818" fmla="*/ 8691 w 10577"/>
                <a:gd name="connsiteY818" fmla="*/ 3350 h 10000"/>
                <a:gd name="connsiteX819" fmla="*/ 8691 w 10577"/>
                <a:gd name="connsiteY819" fmla="*/ 3291 h 10000"/>
                <a:gd name="connsiteX820" fmla="*/ 8677 w 10577"/>
                <a:gd name="connsiteY820" fmla="*/ 3239 h 10000"/>
                <a:gd name="connsiteX821" fmla="*/ 8677 w 10577"/>
                <a:gd name="connsiteY821" fmla="*/ 3231 h 10000"/>
                <a:gd name="connsiteX822" fmla="*/ 8636 w 10577"/>
                <a:gd name="connsiteY822" fmla="*/ 3128 h 10000"/>
                <a:gd name="connsiteX823" fmla="*/ 8622 w 10577"/>
                <a:gd name="connsiteY823" fmla="*/ 3120 h 10000"/>
                <a:gd name="connsiteX824" fmla="*/ 8618 w 10577"/>
                <a:gd name="connsiteY824" fmla="*/ 3094 h 10000"/>
                <a:gd name="connsiteX825" fmla="*/ 8594 w 10577"/>
                <a:gd name="connsiteY825" fmla="*/ 3077 h 10000"/>
                <a:gd name="connsiteX826" fmla="*/ 8548 w 10577"/>
                <a:gd name="connsiteY826" fmla="*/ 3077 h 10000"/>
                <a:gd name="connsiteX827" fmla="*/ 8535 w 10577"/>
                <a:gd name="connsiteY827" fmla="*/ 3068 h 10000"/>
                <a:gd name="connsiteX828" fmla="*/ 8429 w 10577"/>
                <a:gd name="connsiteY828" fmla="*/ 3077 h 10000"/>
                <a:gd name="connsiteX829" fmla="*/ 8424 w 10577"/>
                <a:gd name="connsiteY829" fmla="*/ 3077 h 10000"/>
                <a:gd name="connsiteX830" fmla="*/ 8396 w 10577"/>
                <a:gd name="connsiteY830" fmla="*/ 3077 h 10000"/>
                <a:gd name="connsiteX831" fmla="*/ 8387 w 10577"/>
                <a:gd name="connsiteY831" fmla="*/ 3094 h 10000"/>
                <a:gd name="connsiteX832" fmla="*/ 8378 w 10577"/>
                <a:gd name="connsiteY832" fmla="*/ 3094 h 10000"/>
                <a:gd name="connsiteX833" fmla="*/ 8341 w 10577"/>
                <a:gd name="connsiteY833" fmla="*/ 3077 h 10000"/>
                <a:gd name="connsiteX834" fmla="*/ 8336 w 10577"/>
                <a:gd name="connsiteY834" fmla="*/ 3077 h 10000"/>
                <a:gd name="connsiteX835" fmla="*/ 8327 w 10577"/>
                <a:gd name="connsiteY835" fmla="*/ 3103 h 10000"/>
                <a:gd name="connsiteX836" fmla="*/ 8309 w 10577"/>
                <a:gd name="connsiteY836" fmla="*/ 3120 h 10000"/>
                <a:gd name="connsiteX837" fmla="*/ 8304 w 10577"/>
                <a:gd name="connsiteY837" fmla="*/ 3103 h 10000"/>
                <a:gd name="connsiteX838" fmla="*/ 8276 w 10577"/>
                <a:gd name="connsiteY838" fmla="*/ 3103 h 10000"/>
                <a:gd name="connsiteX839" fmla="*/ 8267 w 10577"/>
                <a:gd name="connsiteY839" fmla="*/ 3120 h 10000"/>
                <a:gd name="connsiteX840" fmla="*/ 8253 w 10577"/>
                <a:gd name="connsiteY840" fmla="*/ 3103 h 10000"/>
                <a:gd name="connsiteX841" fmla="*/ 8230 w 10577"/>
                <a:gd name="connsiteY841" fmla="*/ 3128 h 10000"/>
                <a:gd name="connsiteX842" fmla="*/ 8217 w 10577"/>
                <a:gd name="connsiteY842" fmla="*/ 3128 h 10000"/>
                <a:gd name="connsiteX843" fmla="*/ 8203 w 10577"/>
                <a:gd name="connsiteY843" fmla="*/ 3154 h 10000"/>
                <a:gd name="connsiteX844" fmla="*/ 8175 w 10577"/>
                <a:gd name="connsiteY844" fmla="*/ 3094 h 10000"/>
                <a:gd name="connsiteX845" fmla="*/ 8161 w 10577"/>
                <a:gd name="connsiteY845" fmla="*/ 3094 h 10000"/>
                <a:gd name="connsiteX846" fmla="*/ 8157 w 10577"/>
                <a:gd name="connsiteY846" fmla="*/ 3077 h 10000"/>
                <a:gd name="connsiteX847" fmla="*/ 8180 w 10577"/>
                <a:gd name="connsiteY847" fmla="*/ 3068 h 10000"/>
                <a:gd name="connsiteX848" fmla="*/ 8189 w 10577"/>
                <a:gd name="connsiteY848" fmla="*/ 3043 h 10000"/>
                <a:gd name="connsiteX849" fmla="*/ 8189 w 10577"/>
                <a:gd name="connsiteY849" fmla="*/ 3017 h 10000"/>
                <a:gd name="connsiteX850" fmla="*/ 8147 w 10577"/>
                <a:gd name="connsiteY850" fmla="*/ 2940 h 10000"/>
                <a:gd name="connsiteX851" fmla="*/ 8143 w 10577"/>
                <a:gd name="connsiteY851" fmla="*/ 2915 h 10000"/>
                <a:gd name="connsiteX852" fmla="*/ 8143 w 10577"/>
                <a:gd name="connsiteY852" fmla="*/ 2906 h 10000"/>
                <a:gd name="connsiteX853" fmla="*/ 8097 w 10577"/>
                <a:gd name="connsiteY853" fmla="*/ 2932 h 10000"/>
                <a:gd name="connsiteX854" fmla="*/ 8083 w 10577"/>
                <a:gd name="connsiteY854" fmla="*/ 2932 h 10000"/>
                <a:gd name="connsiteX855" fmla="*/ 8074 w 10577"/>
                <a:gd name="connsiteY855" fmla="*/ 2906 h 10000"/>
                <a:gd name="connsiteX856" fmla="*/ 8074 w 10577"/>
                <a:gd name="connsiteY856" fmla="*/ 2897 h 10000"/>
                <a:gd name="connsiteX857" fmla="*/ 8055 w 10577"/>
                <a:gd name="connsiteY857" fmla="*/ 2872 h 10000"/>
                <a:gd name="connsiteX858" fmla="*/ 8046 w 10577"/>
                <a:gd name="connsiteY858" fmla="*/ 2829 h 10000"/>
                <a:gd name="connsiteX859" fmla="*/ 8041 w 10577"/>
                <a:gd name="connsiteY859" fmla="*/ 2829 h 10000"/>
                <a:gd name="connsiteX860" fmla="*/ 8023 w 10577"/>
                <a:gd name="connsiteY860" fmla="*/ 2803 h 10000"/>
                <a:gd name="connsiteX861" fmla="*/ 8014 w 10577"/>
                <a:gd name="connsiteY861" fmla="*/ 2829 h 10000"/>
                <a:gd name="connsiteX862" fmla="*/ 8000 w 10577"/>
                <a:gd name="connsiteY862" fmla="*/ 2829 h 10000"/>
                <a:gd name="connsiteX863" fmla="*/ 7995 w 10577"/>
                <a:gd name="connsiteY863" fmla="*/ 2821 h 10000"/>
                <a:gd name="connsiteX864" fmla="*/ 7972 w 10577"/>
                <a:gd name="connsiteY864" fmla="*/ 2803 h 10000"/>
                <a:gd name="connsiteX865" fmla="*/ 7968 w 10577"/>
                <a:gd name="connsiteY865" fmla="*/ 2821 h 10000"/>
                <a:gd name="connsiteX866" fmla="*/ 7968 w 10577"/>
                <a:gd name="connsiteY866" fmla="*/ 2803 h 10000"/>
                <a:gd name="connsiteX867" fmla="*/ 7995 w 10577"/>
                <a:gd name="connsiteY867" fmla="*/ 2735 h 10000"/>
                <a:gd name="connsiteX868" fmla="*/ 8000 w 10577"/>
                <a:gd name="connsiteY868" fmla="*/ 2735 h 10000"/>
                <a:gd name="connsiteX869" fmla="*/ 8014 w 10577"/>
                <a:gd name="connsiteY869" fmla="*/ 2744 h 10000"/>
                <a:gd name="connsiteX870" fmla="*/ 8023 w 10577"/>
                <a:gd name="connsiteY870" fmla="*/ 2769 h 10000"/>
                <a:gd name="connsiteX871" fmla="*/ 8032 w 10577"/>
                <a:gd name="connsiteY871" fmla="*/ 2744 h 10000"/>
                <a:gd name="connsiteX872" fmla="*/ 8032 w 10577"/>
                <a:gd name="connsiteY872" fmla="*/ 2709 h 10000"/>
                <a:gd name="connsiteX873" fmla="*/ 8023 w 10577"/>
                <a:gd name="connsiteY873" fmla="*/ 2632 h 10000"/>
                <a:gd name="connsiteX874" fmla="*/ 7986 w 10577"/>
                <a:gd name="connsiteY874" fmla="*/ 2581 h 10000"/>
                <a:gd name="connsiteX875" fmla="*/ 7968 w 10577"/>
                <a:gd name="connsiteY875" fmla="*/ 2581 h 10000"/>
                <a:gd name="connsiteX876" fmla="*/ 7963 w 10577"/>
                <a:gd name="connsiteY876" fmla="*/ 2556 h 10000"/>
                <a:gd name="connsiteX877" fmla="*/ 7935 w 10577"/>
                <a:gd name="connsiteY877" fmla="*/ 2547 h 10000"/>
                <a:gd name="connsiteX878" fmla="*/ 7912 w 10577"/>
                <a:gd name="connsiteY878" fmla="*/ 2547 h 10000"/>
                <a:gd name="connsiteX879" fmla="*/ 7912 w 10577"/>
                <a:gd name="connsiteY879" fmla="*/ 2556 h 10000"/>
                <a:gd name="connsiteX880" fmla="*/ 7908 w 10577"/>
                <a:gd name="connsiteY880" fmla="*/ 2547 h 10000"/>
                <a:gd name="connsiteX881" fmla="*/ 7862 w 10577"/>
                <a:gd name="connsiteY881" fmla="*/ 2547 h 10000"/>
                <a:gd name="connsiteX882" fmla="*/ 7848 w 10577"/>
                <a:gd name="connsiteY882" fmla="*/ 2556 h 10000"/>
                <a:gd name="connsiteX883" fmla="*/ 7820 w 10577"/>
                <a:gd name="connsiteY883" fmla="*/ 2547 h 10000"/>
                <a:gd name="connsiteX884" fmla="*/ 7806 w 10577"/>
                <a:gd name="connsiteY884" fmla="*/ 2513 h 10000"/>
                <a:gd name="connsiteX885" fmla="*/ 7788 w 10577"/>
                <a:gd name="connsiteY885" fmla="*/ 2513 h 10000"/>
                <a:gd name="connsiteX886" fmla="*/ 7760 w 10577"/>
                <a:gd name="connsiteY886" fmla="*/ 2470 h 10000"/>
                <a:gd name="connsiteX887" fmla="*/ 7751 w 10577"/>
                <a:gd name="connsiteY887" fmla="*/ 2470 h 10000"/>
                <a:gd name="connsiteX888" fmla="*/ 7705 w 10577"/>
                <a:gd name="connsiteY888" fmla="*/ 2462 h 10000"/>
                <a:gd name="connsiteX889" fmla="*/ 7673 w 10577"/>
                <a:gd name="connsiteY889" fmla="*/ 2419 h 10000"/>
                <a:gd name="connsiteX890" fmla="*/ 7627 w 10577"/>
                <a:gd name="connsiteY890" fmla="*/ 2419 h 10000"/>
                <a:gd name="connsiteX891" fmla="*/ 7613 w 10577"/>
                <a:gd name="connsiteY891" fmla="*/ 2410 h 10000"/>
                <a:gd name="connsiteX892" fmla="*/ 7493 w 10577"/>
                <a:gd name="connsiteY892" fmla="*/ 2393 h 10000"/>
                <a:gd name="connsiteX893" fmla="*/ 7479 w 10577"/>
                <a:gd name="connsiteY893" fmla="*/ 2385 h 10000"/>
                <a:gd name="connsiteX894" fmla="*/ 7479 w 10577"/>
                <a:gd name="connsiteY894" fmla="*/ 2376 h 10000"/>
                <a:gd name="connsiteX895" fmla="*/ 7465 w 10577"/>
                <a:gd name="connsiteY895" fmla="*/ 2359 h 10000"/>
                <a:gd name="connsiteX896" fmla="*/ 7447 w 10577"/>
                <a:gd name="connsiteY896" fmla="*/ 2350 h 10000"/>
                <a:gd name="connsiteX897" fmla="*/ 7433 w 10577"/>
                <a:gd name="connsiteY897" fmla="*/ 2376 h 10000"/>
                <a:gd name="connsiteX898" fmla="*/ 7433 w 10577"/>
                <a:gd name="connsiteY898" fmla="*/ 2385 h 10000"/>
                <a:gd name="connsiteX899" fmla="*/ 7447 w 10577"/>
                <a:gd name="connsiteY899" fmla="*/ 2410 h 10000"/>
                <a:gd name="connsiteX900" fmla="*/ 7447 w 10577"/>
                <a:gd name="connsiteY900" fmla="*/ 2436 h 10000"/>
                <a:gd name="connsiteX901" fmla="*/ 7452 w 10577"/>
                <a:gd name="connsiteY901" fmla="*/ 2462 h 10000"/>
                <a:gd name="connsiteX902" fmla="*/ 7447 w 10577"/>
                <a:gd name="connsiteY902" fmla="*/ 2470 h 10000"/>
                <a:gd name="connsiteX903" fmla="*/ 7424 w 10577"/>
                <a:gd name="connsiteY903" fmla="*/ 2513 h 10000"/>
                <a:gd name="connsiteX904" fmla="*/ 7419 w 10577"/>
                <a:gd name="connsiteY904" fmla="*/ 2556 h 10000"/>
                <a:gd name="connsiteX905" fmla="*/ 7406 w 10577"/>
                <a:gd name="connsiteY905" fmla="*/ 2624 h 10000"/>
                <a:gd name="connsiteX906" fmla="*/ 7392 w 10577"/>
                <a:gd name="connsiteY906" fmla="*/ 2624 h 10000"/>
                <a:gd name="connsiteX907" fmla="*/ 7373 w 10577"/>
                <a:gd name="connsiteY907" fmla="*/ 2650 h 10000"/>
                <a:gd name="connsiteX908" fmla="*/ 7364 w 10577"/>
                <a:gd name="connsiteY908" fmla="*/ 2684 h 10000"/>
                <a:gd name="connsiteX909" fmla="*/ 7364 w 10577"/>
                <a:gd name="connsiteY909" fmla="*/ 2692 h 10000"/>
                <a:gd name="connsiteX910" fmla="*/ 7373 w 10577"/>
                <a:gd name="connsiteY910" fmla="*/ 2718 h 10000"/>
                <a:gd name="connsiteX911" fmla="*/ 7373 w 10577"/>
                <a:gd name="connsiteY911" fmla="*/ 2744 h 10000"/>
                <a:gd name="connsiteX912" fmla="*/ 7359 w 10577"/>
                <a:gd name="connsiteY912" fmla="*/ 2744 h 10000"/>
                <a:gd name="connsiteX913" fmla="*/ 7359 w 10577"/>
                <a:gd name="connsiteY913" fmla="*/ 2795 h 10000"/>
                <a:gd name="connsiteX914" fmla="*/ 7364 w 10577"/>
                <a:gd name="connsiteY914" fmla="*/ 2821 h 10000"/>
                <a:gd name="connsiteX915" fmla="*/ 7378 w 10577"/>
                <a:gd name="connsiteY915" fmla="*/ 2846 h 10000"/>
                <a:gd name="connsiteX916" fmla="*/ 7378 w 10577"/>
                <a:gd name="connsiteY916" fmla="*/ 2855 h 10000"/>
                <a:gd name="connsiteX917" fmla="*/ 7378 w 10577"/>
                <a:gd name="connsiteY917" fmla="*/ 2880 h 10000"/>
                <a:gd name="connsiteX918" fmla="*/ 7378 w 10577"/>
                <a:gd name="connsiteY918" fmla="*/ 2906 h 10000"/>
                <a:gd name="connsiteX919" fmla="*/ 7364 w 10577"/>
                <a:gd name="connsiteY919" fmla="*/ 2906 h 10000"/>
                <a:gd name="connsiteX920" fmla="*/ 7346 w 10577"/>
                <a:gd name="connsiteY920" fmla="*/ 2880 h 10000"/>
                <a:gd name="connsiteX921" fmla="*/ 7332 w 10577"/>
                <a:gd name="connsiteY921" fmla="*/ 2915 h 10000"/>
                <a:gd name="connsiteX922" fmla="*/ 7318 w 10577"/>
                <a:gd name="connsiteY922" fmla="*/ 2906 h 10000"/>
                <a:gd name="connsiteX923" fmla="*/ 7313 w 10577"/>
                <a:gd name="connsiteY923" fmla="*/ 2915 h 10000"/>
                <a:gd name="connsiteX924" fmla="*/ 7313 w 10577"/>
                <a:gd name="connsiteY924" fmla="*/ 2906 h 10000"/>
                <a:gd name="connsiteX925" fmla="*/ 7286 w 10577"/>
                <a:gd name="connsiteY925" fmla="*/ 2940 h 10000"/>
                <a:gd name="connsiteX926" fmla="*/ 7276 w 10577"/>
                <a:gd name="connsiteY926" fmla="*/ 2966 h 10000"/>
                <a:gd name="connsiteX927" fmla="*/ 7272 w 10577"/>
                <a:gd name="connsiteY927" fmla="*/ 2983 h 10000"/>
                <a:gd name="connsiteX928" fmla="*/ 7267 w 10577"/>
                <a:gd name="connsiteY928" fmla="*/ 3009 h 10000"/>
                <a:gd name="connsiteX929" fmla="*/ 7253 w 10577"/>
                <a:gd name="connsiteY929" fmla="*/ 3009 h 10000"/>
                <a:gd name="connsiteX930" fmla="*/ 7244 w 10577"/>
                <a:gd name="connsiteY930" fmla="*/ 3017 h 10000"/>
                <a:gd name="connsiteX931" fmla="*/ 7240 w 10577"/>
                <a:gd name="connsiteY931" fmla="*/ 3009 h 10000"/>
                <a:gd name="connsiteX932" fmla="*/ 7230 w 10577"/>
                <a:gd name="connsiteY932" fmla="*/ 2991 h 10000"/>
                <a:gd name="connsiteX933" fmla="*/ 7226 w 10577"/>
                <a:gd name="connsiteY933" fmla="*/ 2983 h 10000"/>
                <a:gd name="connsiteX934" fmla="*/ 7226 w 10577"/>
                <a:gd name="connsiteY934" fmla="*/ 2966 h 10000"/>
                <a:gd name="connsiteX935" fmla="*/ 7212 w 10577"/>
                <a:gd name="connsiteY935" fmla="*/ 2957 h 10000"/>
                <a:gd name="connsiteX936" fmla="*/ 7212 w 10577"/>
                <a:gd name="connsiteY936" fmla="*/ 2932 h 10000"/>
                <a:gd name="connsiteX937" fmla="*/ 7198 w 10577"/>
                <a:gd name="connsiteY937" fmla="*/ 2915 h 10000"/>
                <a:gd name="connsiteX938" fmla="*/ 7194 w 10577"/>
                <a:gd name="connsiteY938" fmla="*/ 2915 h 10000"/>
                <a:gd name="connsiteX939" fmla="*/ 7157 w 10577"/>
                <a:gd name="connsiteY939" fmla="*/ 2880 h 10000"/>
                <a:gd name="connsiteX940" fmla="*/ 7138 w 10577"/>
                <a:gd name="connsiteY940" fmla="*/ 2880 h 10000"/>
                <a:gd name="connsiteX941" fmla="*/ 7120 w 10577"/>
                <a:gd name="connsiteY941" fmla="*/ 2872 h 10000"/>
                <a:gd name="connsiteX942" fmla="*/ 7111 w 10577"/>
                <a:gd name="connsiteY942" fmla="*/ 2846 h 10000"/>
                <a:gd name="connsiteX943" fmla="*/ 7106 w 10577"/>
                <a:gd name="connsiteY943" fmla="*/ 2846 h 10000"/>
                <a:gd name="connsiteX944" fmla="*/ 7092 w 10577"/>
                <a:gd name="connsiteY944" fmla="*/ 2829 h 10000"/>
                <a:gd name="connsiteX945" fmla="*/ 7051 w 10577"/>
                <a:gd name="connsiteY945" fmla="*/ 2829 h 10000"/>
                <a:gd name="connsiteX946" fmla="*/ 7037 w 10577"/>
                <a:gd name="connsiteY946" fmla="*/ 2880 h 10000"/>
                <a:gd name="connsiteX947" fmla="*/ 7037 w 10577"/>
                <a:gd name="connsiteY947" fmla="*/ 2906 h 10000"/>
                <a:gd name="connsiteX948" fmla="*/ 7037 w 10577"/>
                <a:gd name="connsiteY948" fmla="*/ 2932 h 10000"/>
                <a:gd name="connsiteX949" fmla="*/ 7037 w 10577"/>
                <a:gd name="connsiteY949" fmla="*/ 2940 h 10000"/>
                <a:gd name="connsiteX950" fmla="*/ 7023 w 10577"/>
                <a:gd name="connsiteY950" fmla="*/ 2906 h 10000"/>
                <a:gd name="connsiteX951" fmla="*/ 7023 w 10577"/>
                <a:gd name="connsiteY951" fmla="*/ 2915 h 10000"/>
                <a:gd name="connsiteX952" fmla="*/ 6991 w 10577"/>
                <a:gd name="connsiteY952" fmla="*/ 2906 h 10000"/>
                <a:gd name="connsiteX953" fmla="*/ 6977 w 10577"/>
                <a:gd name="connsiteY953" fmla="*/ 2915 h 10000"/>
                <a:gd name="connsiteX954" fmla="*/ 6963 w 10577"/>
                <a:gd name="connsiteY954" fmla="*/ 2915 h 10000"/>
                <a:gd name="connsiteX955" fmla="*/ 6949 w 10577"/>
                <a:gd name="connsiteY955" fmla="*/ 2872 h 10000"/>
                <a:gd name="connsiteX956" fmla="*/ 6935 w 10577"/>
                <a:gd name="connsiteY956" fmla="*/ 2855 h 10000"/>
                <a:gd name="connsiteX957" fmla="*/ 6922 w 10577"/>
                <a:gd name="connsiteY957" fmla="*/ 2803 h 10000"/>
                <a:gd name="connsiteX958" fmla="*/ 6917 w 10577"/>
                <a:gd name="connsiteY958" fmla="*/ 2786 h 10000"/>
                <a:gd name="connsiteX959" fmla="*/ 6903 w 10577"/>
                <a:gd name="connsiteY959" fmla="*/ 2709 h 10000"/>
                <a:gd name="connsiteX960" fmla="*/ 6903 w 10577"/>
                <a:gd name="connsiteY960" fmla="*/ 2692 h 10000"/>
                <a:gd name="connsiteX961" fmla="*/ 6899 w 10577"/>
                <a:gd name="connsiteY961" fmla="*/ 2709 h 10000"/>
                <a:gd name="connsiteX962" fmla="*/ 6857 w 10577"/>
                <a:gd name="connsiteY962" fmla="*/ 2872 h 10000"/>
                <a:gd name="connsiteX963" fmla="*/ 6857 w 10577"/>
                <a:gd name="connsiteY963" fmla="*/ 3009 h 10000"/>
                <a:gd name="connsiteX964" fmla="*/ 6848 w 10577"/>
                <a:gd name="connsiteY964" fmla="*/ 3017 h 10000"/>
                <a:gd name="connsiteX965" fmla="*/ 6839 w 10577"/>
                <a:gd name="connsiteY965" fmla="*/ 3068 h 10000"/>
                <a:gd name="connsiteX966" fmla="*/ 6829 w 10577"/>
                <a:gd name="connsiteY966" fmla="*/ 3077 h 10000"/>
                <a:gd name="connsiteX967" fmla="*/ 6829 w 10577"/>
                <a:gd name="connsiteY967" fmla="*/ 3128 h 10000"/>
                <a:gd name="connsiteX968" fmla="*/ 6816 w 10577"/>
                <a:gd name="connsiteY968" fmla="*/ 3154 h 10000"/>
                <a:gd name="connsiteX969" fmla="*/ 6811 w 10577"/>
                <a:gd name="connsiteY969" fmla="*/ 3179 h 10000"/>
                <a:gd name="connsiteX970" fmla="*/ 6797 w 10577"/>
                <a:gd name="connsiteY970" fmla="*/ 3171 h 10000"/>
                <a:gd name="connsiteX971" fmla="*/ 6783 w 10577"/>
                <a:gd name="connsiteY971" fmla="*/ 3103 h 10000"/>
                <a:gd name="connsiteX972" fmla="*/ 6779 w 10577"/>
                <a:gd name="connsiteY972" fmla="*/ 3094 h 10000"/>
                <a:gd name="connsiteX973" fmla="*/ 6779 w 10577"/>
                <a:gd name="connsiteY973" fmla="*/ 3120 h 10000"/>
                <a:gd name="connsiteX974" fmla="*/ 6770 w 10577"/>
                <a:gd name="connsiteY974" fmla="*/ 3128 h 10000"/>
                <a:gd name="connsiteX975" fmla="*/ 6765 w 10577"/>
                <a:gd name="connsiteY975" fmla="*/ 3103 h 10000"/>
                <a:gd name="connsiteX976" fmla="*/ 6756 w 10577"/>
                <a:gd name="connsiteY976" fmla="*/ 3103 h 10000"/>
                <a:gd name="connsiteX977" fmla="*/ 6742 w 10577"/>
                <a:gd name="connsiteY977" fmla="*/ 3103 h 10000"/>
                <a:gd name="connsiteX978" fmla="*/ 6737 w 10577"/>
                <a:gd name="connsiteY978" fmla="*/ 3077 h 10000"/>
                <a:gd name="connsiteX979" fmla="*/ 6737 w 10577"/>
                <a:gd name="connsiteY979" fmla="*/ 3068 h 10000"/>
                <a:gd name="connsiteX980" fmla="*/ 6728 w 10577"/>
                <a:gd name="connsiteY980" fmla="*/ 3043 h 10000"/>
                <a:gd name="connsiteX981" fmla="*/ 6724 w 10577"/>
                <a:gd name="connsiteY981" fmla="*/ 3051 h 10000"/>
                <a:gd name="connsiteX982" fmla="*/ 6714 w 10577"/>
                <a:gd name="connsiteY982" fmla="*/ 3043 h 10000"/>
                <a:gd name="connsiteX983" fmla="*/ 6710 w 10577"/>
                <a:gd name="connsiteY983" fmla="*/ 3034 h 10000"/>
                <a:gd name="connsiteX984" fmla="*/ 6705 w 10577"/>
                <a:gd name="connsiteY984" fmla="*/ 2983 h 10000"/>
                <a:gd name="connsiteX985" fmla="*/ 6696 w 10577"/>
                <a:gd name="connsiteY985" fmla="*/ 2966 h 10000"/>
                <a:gd name="connsiteX986" fmla="*/ 6691 w 10577"/>
                <a:gd name="connsiteY986" fmla="*/ 2983 h 10000"/>
                <a:gd name="connsiteX987" fmla="*/ 6677 w 10577"/>
                <a:gd name="connsiteY987" fmla="*/ 2897 h 10000"/>
                <a:gd name="connsiteX988" fmla="*/ 6677 w 10577"/>
                <a:gd name="connsiteY988" fmla="*/ 2897 h 10000"/>
                <a:gd name="connsiteX989" fmla="*/ 6677 w 10577"/>
                <a:gd name="connsiteY989" fmla="*/ 2872 h 10000"/>
                <a:gd name="connsiteX990" fmla="*/ 6668 w 10577"/>
                <a:gd name="connsiteY990" fmla="*/ 2821 h 10000"/>
                <a:gd name="connsiteX991" fmla="*/ 6664 w 10577"/>
                <a:gd name="connsiteY991" fmla="*/ 2829 h 10000"/>
                <a:gd name="connsiteX992" fmla="*/ 6654 w 10577"/>
                <a:gd name="connsiteY992" fmla="*/ 2846 h 10000"/>
                <a:gd name="connsiteX993" fmla="*/ 6650 w 10577"/>
                <a:gd name="connsiteY993" fmla="*/ 2829 h 10000"/>
                <a:gd name="connsiteX994" fmla="*/ 6650 w 10577"/>
                <a:gd name="connsiteY994" fmla="*/ 2803 h 10000"/>
                <a:gd name="connsiteX995" fmla="*/ 6650 w 10577"/>
                <a:gd name="connsiteY995" fmla="*/ 2795 h 10000"/>
                <a:gd name="connsiteX996" fmla="*/ 6641 w 10577"/>
                <a:gd name="connsiteY996" fmla="*/ 2786 h 10000"/>
                <a:gd name="connsiteX997" fmla="*/ 6636 w 10577"/>
                <a:gd name="connsiteY997" fmla="*/ 2735 h 10000"/>
                <a:gd name="connsiteX998" fmla="*/ 6664 w 10577"/>
                <a:gd name="connsiteY998" fmla="*/ 2667 h 10000"/>
                <a:gd name="connsiteX999" fmla="*/ 6668 w 10577"/>
                <a:gd name="connsiteY999" fmla="*/ 2684 h 10000"/>
                <a:gd name="connsiteX1000" fmla="*/ 6677 w 10577"/>
                <a:gd name="connsiteY1000" fmla="*/ 2667 h 10000"/>
                <a:gd name="connsiteX1001" fmla="*/ 6668 w 10577"/>
                <a:gd name="connsiteY1001" fmla="*/ 2667 h 10000"/>
                <a:gd name="connsiteX1002" fmla="*/ 6668 w 10577"/>
                <a:gd name="connsiteY1002" fmla="*/ 2650 h 10000"/>
                <a:gd name="connsiteX1003" fmla="*/ 6682 w 10577"/>
                <a:gd name="connsiteY1003" fmla="*/ 2650 h 10000"/>
                <a:gd name="connsiteX1004" fmla="*/ 6691 w 10577"/>
                <a:gd name="connsiteY1004" fmla="*/ 2624 h 10000"/>
                <a:gd name="connsiteX1005" fmla="*/ 6682 w 10577"/>
                <a:gd name="connsiteY1005" fmla="*/ 2632 h 10000"/>
                <a:gd name="connsiteX1006" fmla="*/ 6682 w 10577"/>
                <a:gd name="connsiteY1006" fmla="*/ 2624 h 10000"/>
                <a:gd name="connsiteX1007" fmla="*/ 6691 w 10577"/>
                <a:gd name="connsiteY1007" fmla="*/ 2607 h 10000"/>
                <a:gd name="connsiteX1008" fmla="*/ 6691 w 10577"/>
                <a:gd name="connsiteY1008" fmla="*/ 2598 h 10000"/>
                <a:gd name="connsiteX1009" fmla="*/ 6691 w 10577"/>
                <a:gd name="connsiteY1009" fmla="*/ 2581 h 10000"/>
                <a:gd name="connsiteX1010" fmla="*/ 6696 w 10577"/>
                <a:gd name="connsiteY1010" fmla="*/ 2530 h 10000"/>
                <a:gd name="connsiteX1011" fmla="*/ 6677 w 10577"/>
                <a:gd name="connsiteY1011" fmla="*/ 2513 h 10000"/>
                <a:gd name="connsiteX1012" fmla="*/ 6677 w 10577"/>
                <a:gd name="connsiteY1012" fmla="*/ 2496 h 10000"/>
                <a:gd name="connsiteX1013" fmla="*/ 6682 w 10577"/>
                <a:gd name="connsiteY1013" fmla="*/ 2470 h 10000"/>
                <a:gd name="connsiteX1014" fmla="*/ 6668 w 10577"/>
                <a:gd name="connsiteY1014" fmla="*/ 2462 h 10000"/>
                <a:gd name="connsiteX1015" fmla="*/ 6677 w 10577"/>
                <a:gd name="connsiteY1015" fmla="*/ 2436 h 10000"/>
                <a:gd name="connsiteX1016" fmla="*/ 6682 w 10577"/>
                <a:gd name="connsiteY1016" fmla="*/ 2419 h 10000"/>
                <a:gd name="connsiteX1017" fmla="*/ 6682 w 10577"/>
                <a:gd name="connsiteY1017" fmla="*/ 2393 h 10000"/>
                <a:gd name="connsiteX1018" fmla="*/ 6682 w 10577"/>
                <a:gd name="connsiteY1018" fmla="*/ 2385 h 10000"/>
                <a:gd name="connsiteX1019" fmla="*/ 6682 w 10577"/>
                <a:gd name="connsiteY1019" fmla="*/ 2385 h 10000"/>
                <a:gd name="connsiteX1020" fmla="*/ 6677 w 10577"/>
                <a:gd name="connsiteY1020" fmla="*/ 2376 h 10000"/>
                <a:gd name="connsiteX1021" fmla="*/ 6682 w 10577"/>
                <a:gd name="connsiteY1021" fmla="*/ 2359 h 10000"/>
                <a:gd name="connsiteX1022" fmla="*/ 6677 w 10577"/>
                <a:gd name="connsiteY1022" fmla="*/ 2333 h 10000"/>
                <a:gd name="connsiteX1023" fmla="*/ 6691 w 10577"/>
                <a:gd name="connsiteY1023" fmla="*/ 2333 h 10000"/>
                <a:gd name="connsiteX1024" fmla="*/ 6691 w 10577"/>
                <a:gd name="connsiteY1024" fmla="*/ 2325 h 10000"/>
                <a:gd name="connsiteX1025" fmla="*/ 6691 w 10577"/>
                <a:gd name="connsiteY1025" fmla="*/ 2308 h 10000"/>
                <a:gd name="connsiteX1026" fmla="*/ 6691 w 10577"/>
                <a:gd name="connsiteY1026" fmla="*/ 2299 h 10000"/>
                <a:gd name="connsiteX1027" fmla="*/ 6691 w 10577"/>
                <a:gd name="connsiteY1027" fmla="*/ 2282 h 10000"/>
                <a:gd name="connsiteX1028" fmla="*/ 6691 w 10577"/>
                <a:gd name="connsiteY1028" fmla="*/ 2274 h 10000"/>
                <a:gd name="connsiteX1029" fmla="*/ 6668 w 10577"/>
                <a:gd name="connsiteY1029" fmla="*/ 2248 h 10000"/>
                <a:gd name="connsiteX1030" fmla="*/ 6664 w 10577"/>
                <a:gd name="connsiteY1030" fmla="*/ 2222 h 10000"/>
                <a:gd name="connsiteX1031" fmla="*/ 6654 w 10577"/>
                <a:gd name="connsiteY1031" fmla="*/ 2214 h 10000"/>
                <a:gd name="connsiteX1032" fmla="*/ 6654 w 10577"/>
                <a:gd name="connsiteY1032" fmla="*/ 2188 h 10000"/>
                <a:gd name="connsiteX1033" fmla="*/ 6622 w 10577"/>
                <a:gd name="connsiteY1033" fmla="*/ 2162 h 10000"/>
                <a:gd name="connsiteX1034" fmla="*/ 6631 w 10577"/>
                <a:gd name="connsiteY1034" fmla="*/ 2145 h 10000"/>
                <a:gd name="connsiteX1035" fmla="*/ 6622 w 10577"/>
                <a:gd name="connsiteY1035" fmla="*/ 2120 h 10000"/>
                <a:gd name="connsiteX1036" fmla="*/ 6608 w 10577"/>
                <a:gd name="connsiteY1036" fmla="*/ 2120 h 10000"/>
                <a:gd name="connsiteX1037" fmla="*/ 6604 w 10577"/>
                <a:gd name="connsiteY1037" fmla="*/ 2111 h 10000"/>
                <a:gd name="connsiteX1038" fmla="*/ 6608 w 10577"/>
                <a:gd name="connsiteY1038" fmla="*/ 2111 h 10000"/>
                <a:gd name="connsiteX1039" fmla="*/ 6604 w 10577"/>
                <a:gd name="connsiteY1039" fmla="*/ 2085 h 10000"/>
                <a:gd name="connsiteX1040" fmla="*/ 6581 w 10577"/>
                <a:gd name="connsiteY1040" fmla="*/ 2077 h 10000"/>
                <a:gd name="connsiteX1041" fmla="*/ 6571 w 10577"/>
                <a:gd name="connsiteY1041" fmla="*/ 2085 h 10000"/>
                <a:gd name="connsiteX1042" fmla="*/ 6548 w 10577"/>
                <a:gd name="connsiteY1042" fmla="*/ 2077 h 10000"/>
                <a:gd name="connsiteX1043" fmla="*/ 6530 w 10577"/>
                <a:gd name="connsiteY1043" fmla="*/ 2060 h 10000"/>
                <a:gd name="connsiteX1044" fmla="*/ 6521 w 10577"/>
                <a:gd name="connsiteY1044" fmla="*/ 2060 h 10000"/>
                <a:gd name="connsiteX1045" fmla="*/ 6521 w 10577"/>
                <a:gd name="connsiteY1045" fmla="*/ 2085 h 10000"/>
                <a:gd name="connsiteX1046" fmla="*/ 6516 w 10577"/>
                <a:gd name="connsiteY1046" fmla="*/ 2085 h 10000"/>
                <a:gd name="connsiteX1047" fmla="*/ 6502 w 10577"/>
                <a:gd name="connsiteY1047" fmla="*/ 2111 h 10000"/>
                <a:gd name="connsiteX1048" fmla="*/ 6498 w 10577"/>
                <a:gd name="connsiteY1048" fmla="*/ 2111 h 10000"/>
                <a:gd name="connsiteX1049" fmla="*/ 6498 w 10577"/>
                <a:gd name="connsiteY1049" fmla="*/ 2103 h 10000"/>
                <a:gd name="connsiteX1050" fmla="*/ 6475 w 10577"/>
                <a:gd name="connsiteY1050" fmla="*/ 2051 h 10000"/>
                <a:gd name="connsiteX1051" fmla="*/ 6470 w 10577"/>
                <a:gd name="connsiteY1051" fmla="*/ 2060 h 10000"/>
                <a:gd name="connsiteX1052" fmla="*/ 6456 w 10577"/>
                <a:gd name="connsiteY1052" fmla="*/ 2051 h 10000"/>
                <a:gd name="connsiteX1053" fmla="*/ 6447 w 10577"/>
                <a:gd name="connsiteY1053" fmla="*/ 2051 h 10000"/>
                <a:gd name="connsiteX1054" fmla="*/ 6433 w 10577"/>
                <a:gd name="connsiteY1054" fmla="*/ 2026 h 10000"/>
                <a:gd name="connsiteX1055" fmla="*/ 6433 w 10577"/>
                <a:gd name="connsiteY1055" fmla="*/ 2034 h 10000"/>
                <a:gd name="connsiteX1056" fmla="*/ 6429 w 10577"/>
                <a:gd name="connsiteY1056" fmla="*/ 2026 h 10000"/>
                <a:gd name="connsiteX1057" fmla="*/ 6424 w 10577"/>
                <a:gd name="connsiteY1057" fmla="*/ 2034 h 10000"/>
                <a:gd name="connsiteX1058" fmla="*/ 6410 w 10577"/>
                <a:gd name="connsiteY1058" fmla="*/ 2026 h 10000"/>
                <a:gd name="connsiteX1059" fmla="*/ 6410 w 10577"/>
                <a:gd name="connsiteY1059" fmla="*/ 1991 h 10000"/>
                <a:gd name="connsiteX1060" fmla="*/ 6401 w 10577"/>
                <a:gd name="connsiteY1060" fmla="*/ 1991 h 10000"/>
                <a:gd name="connsiteX1061" fmla="*/ 6396 w 10577"/>
                <a:gd name="connsiteY1061" fmla="*/ 2000 h 10000"/>
                <a:gd name="connsiteX1062" fmla="*/ 6382 w 10577"/>
                <a:gd name="connsiteY1062" fmla="*/ 1966 h 10000"/>
                <a:gd name="connsiteX1063" fmla="*/ 6373 w 10577"/>
                <a:gd name="connsiteY1063" fmla="*/ 1974 h 10000"/>
                <a:gd name="connsiteX1064" fmla="*/ 6369 w 10577"/>
                <a:gd name="connsiteY1064" fmla="*/ 1966 h 10000"/>
                <a:gd name="connsiteX1065" fmla="*/ 6341 w 10577"/>
                <a:gd name="connsiteY1065" fmla="*/ 1949 h 10000"/>
                <a:gd name="connsiteX1066" fmla="*/ 6327 w 10577"/>
                <a:gd name="connsiteY1066" fmla="*/ 1923 h 10000"/>
                <a:gd name="connsiteX1067" fmla="*/ 6323 w 10577"/>
                <a:gd name="connsiteY1067" fmla="*/ 1923 h 10000"/>
                <a:gd name="connsiteX1068" fmla="*/ 6323 w 10577"/>
                <a:gd name="connsiteY1068" fmla="*/ 1966 h 10000"/>
                <a:gd name="connsiteX1069" fmla="*/ 6323 w 10577"/>
                <a:gd name="connsiteY1069" fmla="*/ 1991 h 10000"/>
                <a:gd name="connsiteX1070" fmla="*/ 6313 w 10577"/>
                <a:gd name="connsiteY1070" fmla="*/ 1991 h 10000"/>
                <a:gd name="connsiteX1071" fmla="*/ 6300 w 10577"/>
                <a:gd name="connsiteY1071" fmla="*/ 1991 h 10000"/>
                <a:gd name="connsiteX1072" fmla="*/ 6290 w 10577"/>
                <a:gd name="connsiteY1072" fmla="*/ 1949 h 10000"/>
                <a:gd name="connsiteX1073" fmla="*/ 6276 w 10577"/>
                <a:gd name="connsiteY1073" fmla="*/ 2103 h 10000"/>
                <a:gd name="connsiteX1074" fmla="*/ 6281 w 10577"/>
                <a:gd name="connsiteY1074" fmla="*/ 2103 h 10000"/>
                <a:gd name="connsiteX1075" fmla="*/ 6276 w 10577"/>
                <a:gd name="connsiteY1075" fmla="*/ 2111 h 10000"/>
                <a:gd name="connsiteX1076" fmla="*/ 6276 w 10577"/>
                <a:gd name="connsiteY1076" fmla="*/ 2120 h 10000"/>
                <a:gd name="connsiteX1077" fmla="*/ 6295 w 10577"/>
                <a:gd name="connsiteY1077" fmla="*/ 2239 h 10000"/>
                <a:gd name="connsiteX1078" fmla="*/ 6290 w 10577"/>
                <a:gd name="connsiteY1078" fmla="*/ 2248 h 10000"/>
                <a:gd name="connsiteX1079" fmla="*/ 6281 w 10577"/>
                <a:gd name="connsiteY1079" fmla="*/ 2274 h 10000"/>
                <a:gd name="connsiteX1080" fmla="*/ 6249 w 10577"/>
                <a:gd name="connsiteY1080" fmla="*/ 2274 h 10000"/>
                <a:gd name="connsiteX1081" fmla="*/ 6226 w 10577"/>
                <a:gd name="connsiteY1081" fmla="*/ 2308 h 10000"/>
                <a:gd name="connsiteX1082" fmla="*/ 6221 w 10577"/>
                <a:gd name="connsiteY1082" fmla="*/ 2299 h 10000"/>
                <a:gd name="connsiteX1083" fmla="*/ 6221 w 10577"/>
                <a:gd name="connsiteY1083" fmla="*/ 2308 h 10000"/>
                <a:gd name="connsiteX1084" fmla="*/ 6217 w 10577"/>
                <a:gd name="connsiteY1084" fmla="*/ 2299 h 10000"/>
                <a:gd name="connsiteX1085" fmla="*/ 6194 w 10577"/>
                <a:gd name="connsiteY1085" fmla="*/ 2308 h 10000"/>
                <a:gd name="connsiteX1086" fmla="*/ 6180 w 10577"/>
                <a:gd name="connsiteY1086" fmla="*/ 2299 h 10000"/>
                <a:gd name="connsiteX1087" fmla="*/ 6143 w 10577"/>
                <a:gd name="connsiteY1087" fmla="*/ 2308 h 10000"/>
                <a:gd name="connsiteX1088" fmla="*/ 6134 w 10577"/>
                <a:gd name="connsiteY1088" fmla="*/ 2325 h 10000"/>
                <a:gd name="connsiteX1089" fmla="*/ 6115 w 10577"/>
                <a:gd name="connsiteY1089" fmla="*/ 2282 h 10000"/>
                <a:gd name="connsiteX1090" fmla="*/ 6069 w 10577"/>
                <a:gd name="connsiteY1090" fmla="*/ 2274 h 10000"/>
                <a:gd name="connsiteX1091" fmla="*/ 6069 w 10577"/>
                <a:gd name="connsiteY1091" fmla="*/ 2282 h 10000"/>
                <a:gd name="connsiteX1092" fmla="*/ 6060 w 10577"/>
                <a:gd name="connsiteY1092" fmla="*/ 2299 h 10000"/>
                <a:gd name="connsiteX1093" fmla="*/ 5972 w 10577"/>
                <a:gd name="connsiteY1093" fmla="*/ 2214 h 10000"/>
                <a:gd name="connsiteX1094" fmla="*/ 5968 w 10577"/>
                <a:gd name="connsiteY1094" fmla="*/ 2197 h 10000"/>
                <a:gd name="connsiteX1095" fmla="*/ 5968 w 10577"/>
                <a:gd name="connsiteY1095" fmla="*/ 2171 h 10000"/>
                <a:gd name="connsiteX1096" fmla="*/ 5968 w 10577"/>
                <a:gd name="connsiteY1096" fmla="*/ 2162 h 10000"/>
                <a:gd name="connsiteX1097" fmla="*/ 5968 w 10577"/>
                <a:gd name="connsiteY1097" fmla="*/ 2120 h 10000"/>
                <a:gd name="connsiteX1098" fmla="*/ 5968 w 10577"/>
                <a:gd name="connsiteY1098" fmla="*/ 2111 h 10000"/>
                <a:gd name="connsiteX1099" fmla="*/ 5972 w 10577"/>
                <a:gd name="connsiteY1099" fmla="*/ 2103 h 10000"/>
                <a:gd name="connsiteX1100" fmla="*/ 5986 w 10577"/>
                <a:gd name="connsiteY1100" fmla="*/ 2103 h 10000"/>
                <a:gd name="connsiteX1101" fmla="*/ 5986 w 10577"/>
                <a:gd name="connsiteY1101" fmla="*/ 2085 h 10000"/>
                <a:gd name="connsiteX1102" fmla="*/ 5995 w 10577"/>
                <a:gd name="connsiteY1102" fmla="*/ 2085 h 10000"/>
                <a:gd name="connsiteX1103" fmla="*/ 5995 w 10577"/>
                <a:gd name="connsiteY1103" fmla="*/ 2077 h 10000"/>
                <a:gd name="connsiteX1104" fmla="*/ 5986 w 10577"/>
                <a:gd name="connsiteY1104" fmla="*/ 2060 h 10000"/>
                <a:gd name="connsiteX1105" fmla="*/ 5954 w 10577"/>
                <a:gd name="connsiteY1105" fmla="*/ 2060 h 10000"/>
                <a:gd name="connsiteX1106" fmla="*/ 5940 w 10577"/>
                <a:gd name="connsiteY1106" fmla="*/ 2051 h 10000"/>
                <a:gd name="connsiteX1107" fmla="*/ 5922 w 10577"/>
                <a:gd name="connsiteY1107" fmla="*/ 2060 h 10000"/>
                <a:gd name="connsiteX1108" fmla="*/ 5885 w 10577"/>
                <a:gd name="connsiteY1108" fmla="*/ 2051 h 10000"/>
                <a:gd name="connsiteX1109" fmla="*/ 5876 w 10577"/>
                <a:gd name="connsiteY1109" fmla="*/ 2026 h 10000"/>
                <a:gd name="connsiteX1110" fmla="*/ 5862 w 10577"/>
                <a:gd name="connsiteY1110" fmla="*/ 2026 h 10000"/>
                <a:gd name="connsiteX1111" fmla="*/ 5848 w 10577"/>
                <a:gd name="connsiteY1111" fmla="*/ 2026 h 10000"/>
                <a:gd name="connsiteX1112" fmla="*/ 5825 w 10577"/>
                <a:gd name="connsiteY1112" fmla="*/ 2026 h 10000"/>
                <a:gd name="connsiteX1113" fmla="*/ 5788 w 10577"/>
                <a:gd name="connsiteY1113" fmla="*/ 1991 h 10000"/>
                <a:gd name="connsiteX1114" fmla="*/ 5760 w 10577"/>
                <a:gd name="connsiteY1114" fmla="*/ 2000 h 10000"/>
                <a:gd name="connsiteX1115" fmla="*/ 5760 w 10577"/>
                <a:gd name="connsiteY1115" fmla="*/ 2026 h 10000"/>
                <a:gd name="connsiteX1116" fmla="*/ 5714 w 10577"/>
                <a:gd name="connsiteY1116" fmla="*/ 2051 h 10000"/>
                <a:gd name="connsiteX1117" fmla="*/ 5687 w 10577"/>
                <a:gd name="connsiteY1117" fmla="*/ 2034 h 10000"/>
                <a:gd name="connsiteX1118" fmla="*/ 5645 w 10577"/>
                <a:gd name="connsiteY1118" fmla="*/ 2077 h 10000"/>
                <a:gd name="connsiteX1119" fmla="*/ 5664 w 10577"/>
                <a:gd name="connsiteY1119" fmla="*/ 2120 h 10000"/>
                <a:gd name="connsiteX1120" fmla="*/ 5664 w 10577"/>
                <a:gd name="connsiteY1120" fmla="*/ 2162 h 10000"/>
                <a:gd name="connsiteX1121" fmla="*/ 5631 w 10577"/>
                <a:gd name="connsiteY1121" fmla="*/ 2197 h 10000"/>
                <a:gd name="connsiteX1122" fmla="*/ 5618 w 10577"/>
                <a:gd name="connsiteY1122" fmla="*/ 2188 h 10000"/>
                <a:gd name="connsiteX1123" fmla="*/ 5618 w 10577"/>
                <a:gd name="connsiteY1123" fmla="*/ 2171 h 10000"/>
                <a:gd name="connsiteX1124" fmla="*/ 5641 w 10577"/>
                <a:gd name="connsiteY1124" fmla="*/ 2171 h 10000"/>
                <a:gd name="connsiteX1125" fmla="*/ 5641 w 10577"/>
                <a:gd name="connsiteY1125" fmla="*/ 2162 h 10000"/>
                <a:gd name="connsiteX1126" fmla="*/ 5627 w 10577"/>
                <a:gd name="connsiteY1126" fmla="*/ 2145 h 10000"/>
                <a:gd name="connsiteX1127" fmla="*/ 5627 w 10577"/>
                <a:gd name="connsiteY1127" fmla="*/ 2120 h 10000"/>
                <a:gd name="connsiteX1128" fmla="*/ 5618 w 10577"/>
                <a:gd name="connsiteY1128" fmla="*/ 2111 h 10000"/>
                <a:gd name="connsiteX1129" fmla="*/ 5631 w 10577"/>
                <a:gd name="connsiteY1129" fmla="*/ 2051 h 10000"/>
                <a:gd name="connsiteX1130" fmla="*/ 5631 w 10577"/>
                <a:gd name="connsiteY1130" fmla="*/ 2026 h 10000"/>
                <a:gd name="connsiteX1131" fmla="*/ 5627 w 10577"/>
                <a:gd name="connsiteY1131" fmla="*/ 1991 h 10000"/>
                <a:gd name="connsiteX1132" fmla="*/ 5618 w 10577"/>
                <a:gd name="connsiteY1132" fmla="*/ 1974 h 10000"/>
                <a:gd name="connsiteX1133" fmla="*/ 5618 w 10577"/>
                <a:gd name="connsiteY1133" fmla="*/ 1940 h 10000"/>
                <a:gd name="connsiteX1134" fmla="*/ 5594 w 10577"/>
                <a:gd name="connsiteY1134" fmla="*/ 1855 h 10000"/>
                <a:gd name="connsiteX1135" fmla="*/ 5599 w 10577"/>
                <a:gd name="connsiteY1135" fmla="*/ 1915 h 10000"/>
                <a:gd name="connsiteX1136" fmla="*/ 5599 w 10577"/>
                <a:gd name="connsiteY1136" fmla="*/ 1949 h 10000"/>
                <a:gd name="connsiteX1137" fmla="*/ 5594 w 10577"/>
                <a:gd name="connsiteY1137" fmla="*/ 1991 h 10000"/>
                <a:gd name="connsiteX1138" fmla="*/ 5571 w 10577"/>
                <a:gd name="connsiteY1138" fmla="*/ 2000 h 10000"/>
                <a:gd name="connsiteX1139" fmla="*/ 5530 w 10577"/>
                <a:gd name="connsiteY1139" fmla="*/ 1991 h 10000"/>
                <a:gd name="connsiteX1140" fmla="*/ 5525 w 10577"/>
                <a:gd name="connsiteY1140" fmla="*/ 2000 h 10000"/>
                <a:gd name="connsiteX1141" fmla="*/ 5521 w 10577"/>
                <a:gd name="connsiteY1141" fmla="*/ 1991 h 10000"/>
                <a:gd name="connsiteX1142" fmla="*/ 5498 w 10577"/>
                <a:gd name="connsiteY1142" fmla="*/ 1949 h 10000"/>
                <a:gd name="connsiteX1143" fmla="*/ 5493 w 10577"/>
                <a:gd name="connsiteY1143" fmla="*/ 1889 h 10000"/>
                <a:gd name="connsiteX1144" fmla="*/ 5493 w 10577"/>
                <a:gd name="connsiteY1144" fmla="*/ 1863 h 10000"/>
                <a:gd name="connsiteX1145" fmla="*/ 5498 w 10577"/>
                <a:gd name="connsiteY1145" fmla="*/ 1889 h 10000"/>
                <a:gd name="connsiteX1146" fmla="*/ 5512 w 10577"/>
                <a:gd name="connsiteY1146" fmla="*/ 1855 h 10000"/>
                <a:gd name="connsiteX1147" fmla="*/ 5512 w 10577"/>
                <a:gd name="connsiteY1147" fmla="*/ 1838 h 10000"/>
                <a:gd name="connsiteX1148" fmla="*/ 5479 w 10577"/>
                <a:gd name="connsiteY1148" fmla="*/ 1855 h 10000"/>
                <a:gd name="connsiteX1149" fmla="*/ 5470 w 10577"/>
                <a:gd name="connsiteY1149" fmla="*/ 1872 h 10000"/>
                <a:gd name="connsiteX1150" fmla="*/ 5470 w 10577"/>
                <a:gd name="connsiteY1150" fmla="*/ 1889 h 10000"/>
                <a:gd name="connsiteX1151" fmla="*/ 5465 w 10577"/>
                <a:gd name="connsiteY1151" fmla="*/ 1897 h 10000"/>
                <a:gd name="connsiteX1152" fmla="*/ 5456 w 10577"/>
                <a:gd name="connsiteY1152" fmla="*/ 1872 h 10000"/>
                <a:gd name="connsiteX1153" fmla="*/ 5447 w 10577"/>
                <a:gd name="connsiteY1153" fmla="*/ 1872 h 10000"/>
                <a:gd name="connsiteX1154" fmla="*/ 5433 w 10577"/>
                <a:gd name="connsiteY1154" fmla="*/ 1855 h 10000"/>
                <a:gd name="connsiteX1155" fmla="*/ 5396 w 10577"/>
                <a:gd name="connsiteY1155" fmla="*/ 1863 h 10000"/>
                <a:gd name="connsiteX1156" fmla="*/ 5396 w 10577"/>
                <a:gd name="connsiteY1156" fmla="*/ 1897 h 10000"/>
                <a:gd name="connsiteX1157" fmla="*/ 5378 w 10577"/>
                <a:gd name="connsiteY1157" fmla="*/ 1949 h 10000"/>
                <a:gd name="connsiteX1158" fmla="*/ 5378 w 10577"/>
                <a:gd name="connsiteY1158" fmla="*/ 1966 h 10000"/>
                <a:gd name="connsiteX1159" fmla="*/ 5392 w 10577"/>
                <a:gd name="connsiteY1159" fmla="*/ 2026 h 10000"/>
                <a:gd name="connsiteX1160" fmla="*/ 5396 w 10577"/>
                <a:gd name="connsiteY1160" fmla="*/ 2026 h 10000"/>
                <a:gd name="connsiteX1161" fmla="*/ 5392 w 10577"/>
                <a:gd name="connsiteY1161" fmla="*/ 2009 h 10000"/>
                <a:gd name="connsiteX1162" fmla="*/ 5392 w 10577"/>
                <a:gd name="connsiteY1162" fmla="*/ 2000 h 10000"/>
                <a:gd name="connsiteX1163" fmla="*/ 5396 w 10577"/>
                <a:gd name="connsiteY1163" fmla="*/ 2009 h 10000"/>
                <a:gd name="connsiteX1164" fmla="*/ 5424 w 10577"/>
                <a:gd name="connsiteY1164" fmla="*/ 2009 h 10000"/>
                <a:gd name="connsiteX1165" fmla="*/ 5433 w 10577"/>
                <a:gd name="connsiteY1165" fmla="*/ 1991 h 10000"/>
                <a:gd name="connsiteX1166" fmla="*/ 5447 w 10577"/>
                <a:gd name="connsiteY1166" fmla="*/ 1974 h 10000"/>
                <a:gd name="connsiteX1167" fmla="*/ 5452 w 10577"/>
                <a:gd name="connsiteY1167" fmla="*/ 1966 h 10000"/>
                <a:gd name="connsiteX1168" fmla="*/ 5456 w 10577"/>
                <a:gd name="connsiteY1168" fmla="*/ 1966 h 10000"/>
                <a:gd name="connsiteX1169" fmla="*/ 5465 w 10577"/>
                <a:gd name="connsiteY1169" fmla="*/ 2009 h 10000"/>
                <a:gd name="connsiteX1170" fmla="*/ 5433 w 10577"/>
                <a:gd name="connsiteY1170" fmla="*/ 2034 h 10000"/>
                <a:gd name="connsiteX1171" fmla="*/ 5424 w 10577"/>
                <a:gd name="connsiteY1171" fmla="*/ 2060 h 10000"/>
                <a:gd name="connsiteX1172" fmla="*/ 5419 w 10577"/>
                <a:gd name="connsiteY1172" fmla="*/ 2060 h 10000"/>
                <a:gd name="connsiteX1173" fmla="*/ 5392 w 10577"/>
                <a:gd name="connsiteY1173" fmla="*/ 2111 h 10000"/>
                <a:gd name="connsiteX1174" fmla="*/ 5378 w 10577"/>
                <a:gd name="connsiteY1174" fmla="*/ 2111 h 10000"/>
                <a:gd name="connsiteX1175" fmla="*/ 5350 w 10577"/>
                <a:gd name="connsiteY1175" fmla="*/ 2060 h 10000"/>
                <a:gd name="connsiteX1176" fmla="*/ 5373 w 10577"/>
                <a:gd name="connsiteY1176" fmla="*/ 2111 h 10000"/>
                <a:gd name="connsiteX1177" fmla="*/ 5364 w 10577"/>
                <a:gd name="connsiteY1177" fmla="*/ 2111 h 10000"/>
                <a:gd name="connsiteX1178" fmla="*/ 5359 w 10577"/>
                <a:gd name="connsiteY1178" fmla="*/ 2103 h 10000"/>
                <a:gd name="connsiteX1179" fmla="*/ 5359 w 10577"/>
                <a:gd name="connsiteY1179" fmla="*/ 2120 h 10000"/>
                <a:gd name="connsiteX1180" fmla="*/ 5359 w 10577"/>
                <a:gd name="connsiteY1180" fmla="*/ 2137 h 10000"/>
                <a:gd name="connsiteX1181" fmla="*/ 5313 w 10577"/>
                <a:gd name="connsiteY1181" fmla="*/ 2162 h 10000"/>
                <a:gd name="connsiteX1182" fmla="*/ 5300 w 10577"/>
                <a:gd name="connsiteY1182" fmla="*/ 2162 h 10000"/>
                <a:gd name="connsiteX1183" fmla="*/ 5300 w 10577"/>
                <a:gd name="connsiteY1183" fmla="*/ 2171 h 10000"/>
                <a:gd name="connsiteX1184" fmla="*/ 5300 w 10577"/>
                <a:gd name="connsiteY1184" fmla="*/ 2197 h 10000"/>
                <a:gd name="connsiteX1185" fmla="*/ 5276 w 10577"/>
                <a:gd name="connsiteY1185" fmla="*/ 2188 h 10000"/>
                <a:gd name="connsiteX1186" fmla="*/ 5249 w 10577"/>
                <a:gd name="connsiteY1186" fmla="*/ 2222 h 10000"/>
                <a:gd name="connsiteX1187" fmla="*/ 5249 w 10577"/>
                <a:gd name="connsiteY1187" fmla="*/ 2222 h 10000"/>
                <a:gd name="connsiteX1188" fmla="*/ 5217 w 10577"/>
                <a:gd name="connsiteY1188" fmla="*/ 2214 h 10000"/>
                <a:gd name="connsiteX1189" fmla="*/ 5203 w 10577"/>
                <a:gd name="connsiteY1189" fmla="*/ 2239 h 10000"/>
                <a:gd name="connsiteX1190" fmla="*/ 5171 w 10577"/>
                <a:gd name="connsiteY1190" fmla="*/ 2214 h 10000"/>
                <a:gd name="connsiteX1191" fmla="*/ 5157 w 10577"/>
                <a:gd name="connsiteY1191" fmla="*/ 2239 h 10000"/>
                <a:gd name="connsiteX1192" fmla="*/ 5166 w 10577"/>
                <a:gd name="connsiteY1192" fmla="*/ 2256 h 10000"/>
                <a:gd name="connsiteX1193" fmla="*/ 5171 w 10577"/>
                <a:gd name="connsiteY1193" fmla="*/ 2308 h 10000"/>
                <a:gd name="connsiteX1194" fmla="*/ 5212 w 10577"/>
                <a:gd name="connsiteY1194" fmla="*/ 2350 h 10000"/>
                <a:gd name="connsiteX1195" fmla="*/ 5203 w 10577"/>
                <a:gd name="connsiteY1195" fmla="*/ 2350 h 10000"/>
                <a:gd name="connsiteX1196" fmla="*/ 5166 w 10577"/>
                <a:gd name="connsiteY1196" fmla="*/ 2325 h 10000"/>
                <a:gd name="connsiteX1197" fmla="*/ 5152 w 10577"/>
                <a:gd name="connsiteY1197" fmla="*/ 2308 h 10000"/>
                <a:gd name="connsiteX1198" fmla="*/ 5143 w 10577"/>
                <a:gd name="connsiteY1198" fmla="*/ 2333 h 10000"/>
                <a:gd name="connsiteX1199" fmla="*/ 5138 w 10577"/>
                <a:gd name="connsiteY1199" fmla="*/ 2333 h 10000"/>
                <a:gd name="connsiteX1200" fmla="*/ 5124 w 10577"/>
                <a:gd name="connsiteY1200" fmla="*/ 2376 h 10000"/>
                <a:gd name="connsiteX1201" fmla="*/ 5115 w 10577"/>
                <a:gd name="connsiteY1201" fmla="*/ 2385 h 10000"/>
                <a:gd name="connsiteX1202" fmla="*/ 5106 w 10577"/>
                <a:gd name="connsiteY1202" fmla="*/ 2385 h 10000"/>
                <a:gd name="connsiteX1203" fmla="*/ 5055 w 10577"/>
                <a:gd name="connsiteY1203" fmla="*/ 2470 h 10000"/>
                <a:gd name="connsiteX1204" fmla="*/ 5065 w 10577"/>
                <a:gd name="connsiteY1204" fmla="*/ 2462 h 10000"/>
                <a:gd name="connsiteX1205" fmla="*/ 5055 w 10577"/>
                <a:gd name="connsiteY1205" fmla="*/ 2444 h 10000"/>
                <a:gd name="connsiteX1206" fmla="*/ 5041 w 10577"/>
                <a:gd name="connsiteY1206" fmla="*/ 2462 h 10000"/>
                <a:gd name="connsiteX1207" fmla="*/ 5037 w 10577"/>
                <a:gd name="connsiteY1207" fmla="*/ 2470 h 10000"/>
                <a:gd name="connsiteX1208" fmla="*/ 5032 w 10577"/>
                <a:gd name="connsiteY1208" fmla="*/ 2470 h 10000"/>
                <a:gd name="connsiteX1209" fmla="*/ 5032 w 10577"/>
                <a:gd name="connsiteY1209" fmla="*/ 2444 h 10000"/>
                <a:gd name="connsiteX1210" fmla="*/ 5055 w 10577"/>
                <a:gd name="connsiteY1210" fmla="*/ 2410 h 10000"/>
                <a:gd name="connsiteX1211" fmla="*/ 5065 w 10577"/>
                <a:gd name="connsiteY1211" fmla="*/ 2393 h 10000"/>
                <a:gd name="connsiteX1212" fmla="*/ 5069 w 10577"/>
                <a:gd name="connsiteY1212" fmla="*/ 2385 h 10000"/>
                <a:gd name="connsiteX1213" fmla="*/ 5083 w 10577"/>
                <a:gd name="connsiteY1213" fmla="*/ 2376 h 10000"/>
                <a:gd name="connsiteX1214" fmla="*/ 5097 w 10577"/>
                <a:gd name="connsiteY1214" fmla="*/ 2376 h 10000"/>
                <a:gd name="connsiteX1215" fmla="*/ 5124 w 10577"/>
                <a:gd name="connsiteY1215" fmla="*/ 2325 h 10000"/>
                <a:gd name="connsiteX1216" fmla="*/ 5143 w 10577"/>
                <a:gd name="connsiteY1216" fmla="*/ 2248 h 10000"/>
                <a:gd name="connsiteX1217" fmla="*/ 5152 w 10577"/>
                <a:gd name="connsiteY1217" fmla="*/ 2239 h 10000"/>
                <a:gd name="connsiteX1218" fmla="*/ 5166 w 10577"/>
                <a:gd name="connsiteY1218" fmla="*/ 2162 h 10000"/>
                <a:gd name="connsiteX1219" fmla="*/ 5171 w 10577"/>
                <a:gd name="connsiteY1219" fmla="*/ 2171 h 10000"/>
                <a:gd name="connsiteX1220" fmla="*/ 5198 w 10577"/>
                <a:gd name="connsiteY1220" fmla="*/ 2145 h 10000"/>
                <a:gd name="connsiteX1221" fmla="*/ 5203 w 10577"/>
                <a:gd name="connsiteY1221" fmla="*/ 2111 h 10000"/>
                <a:gd name="connsiteX1222" fmla="*/ 5217 w 10577"/>
                <a:gd name="connsiteY1222" fmla="*/ 2060 h 10000"/>
                <a:gd name="connsiteX1223" fmla="*/ 5226 w 10577"/>
                <a:gd name="connsiteY1223" fmla="*/ 2026 h 10000"/>
                <a:gd name="connsiteX1224" fmla="*/ 5286 w 10577"/>
                <a:gd name="connsiteY1224" fmla="*/ 2026 h 10000"/>
                <a:gd name="connsiteX1225" fmla="*/ 5290 w 10577"/>
                <a:gd name="connsiteY1225" fmla="*/ 2034 h 10000"/>
                <a:gd name="connsiteX1226" fmla="*/ 5323 w 10577"/>
                <a:gd name="connsiteY1226" fmla="*/ 1923 h 10000"/>
                <a:gd name="connsiteX1227" fmla="*/ 5323 w 10577"/>
                <a:gd name="connsiteY1227" fmla="*/ 1889 h 10000"/>
                <a:gd name="connsiteX1228" fmla="*/ 5359 w 10577"/>
                <a:gd name="connsiteY1228" fmla="*/ 1829 h 10000"/>
                <a:gd name="connsiteX1229" fmla="*/ 5378 w 10577"/>
                <a:gd name="connsiteY1229" fmla="*/ 1812 h 10000"/>
                <a:gd name="connsiteX1230" fmla="*/ 5406 w 10577"/>
                <a:gd name="connsiteY1230" fmla="*/ 1752 h 10000"/>
                <a:gd name="connsiteX1231" fmla="*/ 5410 w 10577"/>
                <a:gd name="connsiteY1231" fmla="*/ 1718 h 10000"/>
                <a:gd name="connsiteX1232" fmla="*/ 5438 w 10577"/>
                <a:gd name="connsiteY1232" fmla="*/ 1667 h 10000"/>
                <a:gd name="connsiteX1233" fmla="*/ 5438 w 10577"/>
                <a:gd name="connsiteY1233" fmla="*/ 1650 h 10000"/>
                <a:gd name="connsiteX1234" fmla="*/ 5438 w 10577"/>
                <a:gd name="connsiteY1234" fmla="*/ 1641 h 10000"/>
                <a:gd name="connsiteX1235" fmla="*/ 5452 w 10577"/>
                <a:gd name="connsiteY1235" fmla="*/ 1641 h 10000"/>
                <a:gd name="connsiteX1236" fmla="*/ 5456 w 10577"/>
                <a:gd name="connsiteY1236" fmla="*/ 1615 h 10000"/>
                <a:gd name="connsiteX1237" fmla="*/ 5456 w 10577"/>
                <a:gd name="connsiteY1237" fmla="*/ 1615 h 10000"/>
                <a:gd name="connsiteX1238" fmla="*/ 5465 w 10577"/>
                <a:gd name="connsiteY1238" fmla="*/ 1598 h 10000"/>
                <a:gd name="connsiteX1239" fmla="*/ 5465 w 10577"/>
                <a:gd name="connsiteY1239" fmla="*/ 1615 h 10000"/>
                <a:gd name="connsiteX1240" fmla="*/ 5479 w 10577"/>
                <a:gd name="connsiteY1240" fmla="*/ 1598 h 10000"/>
                <a:gd name="connsiteX1241" fmla="*/ 5484 w 10577"/>
                <a:gd name="connsiteY1241" fmla="*/ 1581 h 10000"/>
                <a:gd name="connsiteX1242" fmla="*/ 5493 w 10577"/>
                <a:gd name="connsiteY1242" fmla="*/ 1581 h 10000"/>
                <a:gd name="connsiteX1243" fmla="*/ 5512 w 10577"/>
                <a:gd name="connsiteY1243" fmla="*/ 1538 h 10000"/>
                <a:gd name="connsiteX1244" fmla="*/ 5530 w 10577"/>
                <a:gd name="connsiteY1244" fmla="*/ 1564 h 10000"/>
                <a:gd name="connsiteX1245" fmla="*/ 5530 w 10577"/>
                <a:gd name="connsiteY1245" fmla="*/ 1538 h 10000"/>
                <a:gd name="connsiteX1246" fmla="*/ 5539 w 10577"/>
                <a:gd name="connsiteY1246" fmla="*/ 1530 h 10000"/>
                <a:gd name="connsiteX1247" fmla="*/ 5530 w 10577"/>
                <a:gd name="connsiteY1247" fmla="*/ 1504 h 10000"/>
                <a:gd name="connsiteX1248" fmla="*/ 5567 w 10577"/>
                <a:gd name="connsiteY1248" fmla="*/ 1479 h 10000"/>
                <a:gd name="connsiteX1249" fmla="*/ 5553 w 10577"/>
                <a:gd name="connsiteY1249" fmla="*/ 1479 h 10000"/>
                <a:gd name="connsiteX1250" fmla="*/ 5553 w 10577"/>
                <a:gd name="connsiteY1250" fmla="*/ 1453 h 10000"/>
                <a:gd name="connsiteX1251" fmla="*/ 5581 w 10577"/>
                <a:gd name="connsiteY1251" fmla="*/ 1444 h 10000"/>
                <a:gd name="connsiteX1252" fmla="*/ 5581 w 10577"/>
                <a:gd name="connsiteY1252" fmla="*/ 1453 h 10000"/>
                <a:gd name="connsiteX1253" fmla="*/ 5585 w 10577"/>
                <a:gd name="connsiteY1253" fmla="*/ 1444 h 10000"/>
                <a:gd name="connsiteX1254" fmla="*/ 5594 w 10577"/>
                <a:gd name="connsiteY1254" fmla="*/ 1427 h 10000"/>
                <a:gd name="connsiteX1255" fmla="*/ 5599 w 10577"/>
                <a:gd name="connsiteY1255" fmla="*/ 1419 h 10000"/>
                <a:gd name="connsiteX1256" fmla="*/ 5594 w 10577"/>
                <a:gd name="connsiteY1256" fmla="*/ 1402 h 10000"/>
                <a:gd name="connsiteX1257" fmla="*/ 5604 w 10577"/>
                <a:gd name="connsiteY1257" fmla="*/ 1393 h 10000"/>
                <a:gd name="connsiteX1258" fmla="*/ 5618 w 10577"/>
                <a:gd name="connsiteY1258" fmla="*/ 1393 h 10000"/>
                <a:gd name="connsiteX1259" fmla="*/ 5627 w 10577"/>
                <a:gd name="connsiteY1259" fmla="*/ 1368 h 10000"/>
                <a:gd name="connsiteX1260" fmla="*/ 5627 w 10577"/>
                <a:gd name="connsiteY1260" fmla="*/ 1325 h 10000"/>
                <a:gd name="connsiteX1261" fmla="*/ 5645 w 10577"/>
                <a:gd name="connsiteY1261" fmla="*/ 1291 h 10000"/>
                <a:gd name="connsiteX1262" fmla="*/ 5645 w 10577"/>
                <a:gd name="connsiteY1262" fmla="*/ 1282 h 10000"/>
                <a:gd name="connsiteX1263" fmla="*/ 5654 w 10577"/>
                <a:gd name="connsiteY1263" fmla="*/ 1265 h 10000"/>
                <a:gd name="connsiteX1264" fmla="*/ 5654 w 10577"/>
                <a:gd name="connsiteY1264" fmla="*/ 1214 h 10000"/>
                <a:gd name="connsiteX1265" fmla="*/ 5654 w 10577"/>
                <a:gd name="connsiteY1265" fmla="*/ 1214 h 10000"/>
                <a:gd name="connsiteX1266" fmla="*/ 5645 w 10577"/>
                <a:gd name="connsiteY1266" fmla="*/ 1197 h 10000"/>
                <a:gd name="connsiteX1267" fmla="*/ 5659 w 10577"/>
                <a:gd name="connsiteY1267" fmla="*/ 1197 h 10000"/>
                <a:gd name="connsiteX1268" fmla="*/ 5654 w 10577"/>
                <a:gd name="connsiteY1268" fmla="*/ 1154 h 10000"/>
                <a:gd name="connsiteX1269" fmla="*/ 5641 w 10577"/>
                <a:gd name="connsiteY1269" fmla="*/ 1154 h 10000"/>
                <a:gd name="connsiteX1270" fmla="*/ 5627 w 10577"/>
                <a:gd name="connsiteY1270" fmla="*/ 1128 h 10000"/>
                <a:gd name="connsiteX1271" fmla="*/ 5618 w 10577"/>
                <a:gd name="connsiteY1271" fmla="*/ 1094 h 10000"/>
                <a:gd name="connsiteX1272" fmla="*/ 5613 w 10577"/>
                <a:gd name="connsiteY1272" fmla="*/ 1094 h 10000"/>
                <a:gd name="connsiteX1273" fmla="*/ 5604 w 10577"/>
                <a:gd name="connsiteY1273" fmla="*/ 1120 h 10000"/>
                <a:gd name="connsiteX1274" fmla="*/ 5604 w 10577"/>
                <a:gd name="connsiteY1274" fmla="*/ 1128 h 10000"/>
                <a:gd name="connsiteX1275" fmla="*/ 5599 w 10577"/>
                <a:gd name="connsiteY1275" fmla="*/ 1103 h 10000"/>
                <a:gd name="connsiteX1276" fmla="*/ 5599 w 10577"/>
                <a:gd name="connsiteY1276" fmla="*/ 1103 h 10000"/>
                <a:gd name="connsiteX1277" fmla="*/ 5594 w 10577"/>
                <a:gd name="connsiteY1277" fmla="*/ 1068 h 10000"/>
                <a:gd name="connsiteX1278" fmla="*/ 5594 w 10577"/>
                <a:gd name="connsiteY1278" fmla="*/ 1060 h 10000"/>
                <a:gd name="connsiteX1279" fmla="*/ 5581 w 10577"/>
                <a:gd name="connsiteY1279" fmla="*/ 1034 h 10000"/>
                <a:gd name="connsiteX1280" fmla="*/ 5571 w 10577"/>
                <a:gd name="connsiteY1280" fmla="*/ 1009 h 10000"/>
                <a:gd name="connsiteX1281" fmla="*/ 5571 w 10577"/>
                <a:gd name="connsiteY1281" fmla="*/ 991 h 10000"/>
                <a:gd name="connsiteX1282" fmla="*/ 5585 w 10577"/>
                <a:gd name="connsiteY1282" fmla="*/ 1009 h 10000"/>
                <a:gd name="connsiteX1283" fmla="*/ 5604 w 10577"/>
                <a:gd name="connsiteY1283" fmla="*/ 1043 h 10000"/>
                <a:gd name="connsiteX1284" fmla="*/ 5641 w 10577"/>
                <a:gd name="connsiteY1284" fmla="*/ 1094 h 10000"/>
                <a:gd name="connsiteX1285" fmla="*/ 5631 w 10577"/>
                <a:gd name="connsiteY1285" fmla="*/ 1128 h 10000"/>
                <a:gd name="connsiteX1286" fmla="*/ 5641 w 10577"/>
                <a:gd name="connsiteY1286" fmla="*/ 1128 h 10000"/>
                <a:gd name="connsiteX1287" fmla="*/ 5659 w 10577"/>
                <a:gd name="connsiteY1287" fmla="*/ 1017 h 10000"/>
                <a:gd name="connsiteX1288" fmla="*/ 5659 w 10577"/>
                <a:gd name="connsiteY1288" fmla="*/ 983 h 10000"/>
                <a:gd name="connsiteX1289" fmla="*/ 5659 w 10577"/>
                <a:gd name="connsiteY1289" fmla="*/ 957 h 10000"/>
                <a:gd name="connsiteX1290" fmla="*/ 5654 w 10577"/>
                <a:gd name="connsiteY1290" fmla="*/ 966 h 10000"/>
                <a:gd name="connsiteX1291" fmla="*/ 5641 w 10577"/>
                <a:gd name="connsiteY1291" fmla="*/ 957 h 10000"/>
                <a:gd name="connsiteX1292" fmla="*/ 5631 w 10577"/>
                <a:gd name="connsiteY1292" fmla="*/ 897 h 10000"/>
                <a:gd name="connsiteX1293" fmla="*/ 5641 w 10577"/>
                <a:gd name="connsiteY1293" fmla="*/ 872 h 10000"/>
                <a:gd name="connsiteX1294" fmla="*/ 5618 w 10577"/>
                <a:gd name="connsiteY1294" fmla="*/ 803 h 10000"/>
                <a:gd name="connsiteX1295" fmla="*/ 5604 w 10577"/>
                <a:gd name="connsiteY1295" fmla="*/ 821 h 10000"/>
                <a:gd name="connsiteX1296" fmla="*/ 5613 w 10577"/>
                <a:gd name="connsiteY1296" fmla="*/ 846 h 10000"/>
                <a:gd name="connsiteX1297" fmla="*/ 5604 w 10577"/>
                <a:gd name="connsiteY1297" fmla="*/ 855 h 10000"/>
                <a:gd name="connsiteX1298" fmla="*/ 5599 w 10577"/>
                <a:gd name="connsiteY1298" fmla="*/ 880 h 10000"/>
                <a:gd name="connsiteX1299" fmla="*/ 5594 w 10577"/>
                <a:gd name="connsiteY1299" fmla="*/ 880 h 10000"/>
                <a:gd name="connsiteX1300" fmla="*/ 5585 w 10577"/>
                <a:gd name="connsiteY1300" fmla="*/ 829 h 10000"/>
                <a:gd name="connsiteX1301" fmla="*/ 5571 w 10577"/>
                <a:gd name="connsiteY1301" fmla="*/ 803 h 10000"/>
                <a:gd name="connsiteX1302" fmla="*/ 5585 w 10577"/>
                <a:gd name="connsiteY1302" fmla="*/ 795 h 10000"/>
                <a:gd name="connsiteX1303" fmla="*/ 5585 w 10577"/>
                <a:gd name="connsiteY1303" fmla="*/ 761 h 10000"/>
                <a:gd name="connsiteX1304" fmla="*/ 5558 w 10577"/>
                <a:gd name="connsiteY1304" fmla="*/ 709 h 10000"/>
                <a:gd name="connsiteX1305" fmla="*/ 5544 w 10577"/>
                <a:gd name="connsiteY1305" fmla="*/ 709 h 10000"/>
                <a:gd name="connsiteX1306" fmla="*/ 5544 w 10577"/>
                <a:gd name="connsiteY1306" fmla="*/ 684 h 10000"/>
                <a:gd name="connsiteX1307" fmla="*/ 5525 w 10577"/>
                <a:gd name="connsiteY1307" fmla="*/ 632 h 10000"/>
                <a:gd name="connsiteX1308" fmla="*/ 5507 w 10577"/>
                <a:gd name="connsiteY1308" fmla="*/ 607 h 10000"/>
                <a:gd name="connsiteX1309" fmla="*/ 5512 w 10577"/>
                <a:gd name="connsiteY1309" fmla="*/ 598 h 10000"/>
                <a:gd name="connsiteX1310" fmla="*/ 5507 w 10577"/>
                <a:gd name="connsiteY1310" fmla="*/ 581 h 10000"/>
                <a:gd name="connsiteX1311" fmla="*/ 5493 w 10577"/>
                <a:gd name="connsiteY1311" fmla="*/ 573 h 10000"/>
                <a:gd name="connsiteX1312" fmla="*/ 5484 w 10577"/>
                <a:gd name="connsiteY1312" fmla="*/ 581 h 10000"/>
                <a:gd name="connsiteX1313" fmla="*/ 5484 w 10577"/>
                <a:gd name="connsiteY1313" fmla="*/ 573 h 10000"/>
                <a:gd name="connsiteX1314" fmla="*/ 5484 w 10577"/>
                <a:gd name="connsiteY1314" fmla="*/ 547 h 10000"/>
                <a:gd name="connsiteX1315" fmla="*/ 5465 w 10577"/>
                <a:gd name="connsiteY1315" fmla="*/ 556 h 10000"/>
                <a:gd name="connsiteX1316" fmla="*/ 5433 w 10577"/>
                <a:gd name="connsiteY1316" fmla="*/ 547 h 10000"/>
                <a:gd name="connsiteX1317" fmla="*/ 5410 w 10577"/>
                <a:gd name="connsiteY1317" fmla="*/ 573 h 10000"/>
                <a:gd name="connsiteX1318" fmla="*/ 5406 w 10577"/>
                <a:gd name="connsiteY1318" fmla="*/ 573 h 10000"/>
                <a:gd name="connsiteX1319" fmla="*/ 5392 w 10577"/>
                <a:gd name="connsiteY1319" fmla="*/ 573 h 10000"/>
                <a:gd name="connsiteX1320" fmla="*/ 5364 w 10577"/>
                <a:gd name="connsiteY1320" fmla="*/ 530 h 10000"/>
                <a:gd name="connsiteX1321" fmla="*/ 5350 w 10577"/>
                <a:gd name="connsiteY1321" fmla="*/ 556 h 10000"/>
                <a:gd name="connsiteX1322" fmla="*/ 5346 w 10577"/>
                <a:gd name="connsiteY1322" fmla="*/ 556 h 10000"/>
                <a:gd name="connsiteX1323" fmla="*/ 5313 w 10577"/>
                <a:gd name="connsiteY1323" fmla="*/ 573 h 10000"/>
                <a:gd name="connsiteX1324" fmla="*/ 5304 w 10577"/>
                <a:gd name="connsiteY1324" fmla="*/ 556 h 10000"/>
                <a:gd name="connsiteX1325" fmla="*/ 5290 w 10577"/>
                <a:gd name="connsiteY1325" fmla="*/ 573 h 10000"/>
                <a:gd name="connsiteX1326" fmla="*/ 5290 w 10577"/>
                <a:gd name="connsiteY1326" fmla="*/ 556 h 10000"/>
                <a:gd name="connsiteX1327" fmla="*/ 5300 w 10577"/>
                <a:gd name="connsiteY1327" fmla="*/ 547 h 10000"/>
                <a:gd name="connsiteX1328" fmla="*/ 5300 w 10577"/>
                <a:gd name="connsiteY1328" fmla="*/ 530 h 10000"/>
                <a:gd name="connsiteX1329" fmla="*/ 5290 w 10577"/>
                <a:gd name="connsiteY1329" fmla="*/ 530 h 10000"/>
                <a:gd name="connsiteX1330" fmla="*/ 5286 w 10577"/>
                <a:gd name="connsiteY1330" fmla="*/ 547 h 10000"/>
                <a:gd name="connsiteX1331" fmla="*/ 5272 w 10577"/>
                <a:gd name="connsiteY1331" fmla="*/ 556 h 10000"/>
                <a:gd name="connsiteX1332" fmla="*/ 5272 w 10577"/>
                <a:gd name="connsiteY1332" fmla="*/ 598 h 10000"/>
                <a:gd name="connsiteX1333" fmla="*/ 5276 w 10577"/>
                <a:gd name="connsiteY1333" fmla="*/ 581 h 10000"/>
                <a:gd name="connsiteX1334" fmla="*/ 5272 w 10577"/>
                <a:gd name="connsiteY1334" fmla="*/ 607 h 10000"/>
                <a:gd name="connsiteX1335" fmla="*/ 5263 w 10577"/>
                <a:gd name="connsiteY1335" fmla="*/ 607 h 10000"/>
                <a:gd name="connsiteX1336" fmla="*/ 5263 w 10577"/>
                <a:gd name="connsiteY1336" fmla="*/ 632 h 10000"/>
                <a:gd name="connsiteX1337" fmla="*/ 5258 w 10577"/>
                <a:gd name="connsiteY1337" fmla="*/ 658 h 10000"/>
                <a:gd name="connsiteX1338" fmla="*/ 5244 w 10577"/>
                <a:gd name="connsiteY1338" fmla="*/ 667 h 10000"/>
                <a:gd name="connsiteX1339" fmla="*/ 5240 w 10577"/>
                <a:gd name="connsiteY1339" fmla="*/ 658 h 10000"/>
                <a:gd name="connsiteX1340" fmla="*/ 5240 w 10577"/>
                <a:gd name="connsiteY1340" fmla="*/ 684 h 10000"/>
                <a:gd name="connsiteX1341" fmla="*/ 5212 w 10577"/>
                <a:gd name="connsiteY1341" fmla="*/ 684 h 10000"/>
                <a:gd name="connsiteX1342" fmla="*/ 5198 w 10577"/>
                <a:gd name="connsiteY1342" fmla="*/ 692 h 10000"/>
                <a:gd name="connsiteX1343" fmla="*/ 5184 w 10577"/>
                <a:gd name="connsiteY1343" fmla="*/ 684 h 10000"/>
                <a:gd name="connsiteX1344" fmla="*/ 5157 w 10577"/>
                <a:gd name="connsiteY1344" fmla="*/ 684 h 10000"/>
                <a:gd name="connsiteX1345" fmla="*/ 5157 w 10577"/>
                <a:gd name="connsiteY1345" fmla="*/ 667 h 10000"/>
                <a:gd name="connsiteX1346" fmla="*/ 5157 w 10577"/>
                <a:gd name="connsiteY1346" fmla="*/ 667 h 10000"/>
                <a:gd name="connsiteX1347" fmla="*/ 5180 w 10577"/>
                <a:gd name="connsiteY1347" fmla="*/ 650 h 10000"/>
                <a:gd name="connsiteX1348" fmla="*/ 5184 w 10577"/>
                <a:gd name="connsiteY1348" fmla="*/ 658 h 10000"/>
                <a:gd name="connsiteX1349" fmla="*/ 5203 w 10577"/>
                <a:gd name="connsiteY1349" fmla="*/ 547 h 10000"/>
                <a:gd name="connsiteX1350" fmla="*/ 5226 w 10577"/>
                <a:gd name="connsiteY1350" fmla="*/ 530 h 10000"/>
                <a:gd name="connsiteX1351" fmla="*/ 5230 w 10577"/>
                <a:gd name="connsiteY1351" fmla="*/ 487 h 10000"/>
                <a:gd name="connsiteX1352" fmla="*/ 5230 w 10577"/>
                <a:gd name="connsiteY1352" fmla="*/ 487 h 10000"/>
                <a:gd name="connsiteX1353" fmla="*/ 5226 w 10577"/>
                <a:gd name="connsiteY1353" fmla="*/ 462 h 10000"/>
                <a:gd name="connsiteX1354" fmla="*/ 5226 w 10577"/>
                <a:gd name="connsiteY1354" fmla="*/ 462 h 10000"/>
                <a:gd name="connsiteX1355" fmla="*/ 5240 w 10577"/>
                <a:gd name="connsiteY1355" fmla="*/ 462 h 10000"/>
                <a:gd name="connsiteX1356" fmla="*/ 5240 w 10577"/>
                <a:gd name="connsiteY1356" fmla="*/ 444 h 10000"/>
                <a:gd name="connsiteX1357" fmla="*/ 5230 w 10577"/>
                <a:gd name="connsiteY1357" fmla="*/ 436 h 10000"/>
                <a:gd name="connsiteX1358" fmla="*/ 5230 w 10577"/>
                <a:gd name="connsiteY1358" fmla="*/ 419 h 10000"/>
                <a:gd name="connsiteX1359" fmla="*/ 5230 w 10577"/>
                <a:gd name="connsiteY1359" fmla="*/ 410 h 10000"/>
                <a:gd name="connsiteX1360" fmla="*/ 5198 w 10577"/>
                <a:gd name="connsiteY1360" fmla="*/ 402 h 10000"/>
                <a:gd name="connsiteX1361" fmla="*/ 5189 w 10577"/>
                <a:gd name="connsiteY1361" fmla="*/ 402 h 10000"/>
                <a:gd name="connsiteX1362" fmla="*/ 5184 w 10577"/>
                <a:gd name="connsiteY1362" fmla="*/ 376 h 10000"/>
                <a:gd name="connsiteX1363" fmla="*/ 5180 w 10577"/>
                <a:gd name="connsiteY1363" fmla="*/ 376 h 10000"/>
                <a:gd name="connsiteX1364" fmla="*/ 5166 w 10577"/>
                <a:gd name="connsiteY1364" fmla="*/ 376 h 10000"/>
                <a:gd name="connsiteX1365" fmla="*/ 5157 w 10577"/>
                <a:gd name="connsiteY1365" fmla="*/ 385 h 10000"/>
                <a:gd name="connsiteX1366" fmla="*/ 5152 w 10577"/>
                <a:gd name="connsiteY1366" fmla="*/ 376 h 10000"/>
                <a:gd name="connsiteX1367" fmla="*/ 5129 w 10577"/>
                <a:gd name="connsiteY1367" fmla="*/ 385 h 10000"/>
                <a:gd name="connsiteX1368" fmla="*/ 5129 w 10577"/>
                <a:gd name="connsiteY1368" fmla="*/ 350 h 10000"/>
                <a:gd name="connsiteX1369" fmla="*/ 5129 w 10577"/>
                <a:gd name="connsiteY1369" fmla="*/ 325 h 10000"/>
                <a:gd name="connsiteX1370" fmla="*/ 5124 w 10577"/>
                <a:gd name="connsiteY1370" fmla="*/ 359 h 10000"/>
                <a:gd name="connsiteX1371" fmla="*/ 5106 w 10577"/>
                <a:gd name="connsiteY1371" fmla="*/ 359 h 10000"/>
                <a:gd name="connsiteX1372" fmla="*/ 5037 w 10577"/>
                <a:gd name="connsiteY1372" fmla="*/ 419 h 10000"/>
                <a:gd name="connsiteX1373" fmla="*/ 5051 w 10577"/>
                <a:gd name="connsiteY1373" fmla="*/ 385 h 10000"/>
                <a:gd name="connsiteX1374" fmla="*/ 5055 w 10577"/>
                <a:gd name="connsiteY1374" fmla="*/ 376 h 10000"/>
                <a:gd name="connsiteX1375" fmla="*/ 5092 w 10577"/>
                <a:gd name="connsiteY1375" fmla="*/ 282 h 10000"/>
                <a:gd name="connsiteX1376" fmla="*/ 5106 w 10577"/>
                <a:gd name="connsiteY1376" fmla="*/ 265 h 10000"/>
                <a:gd name="connsiteX1377" fmla="*/ 5115 w 10577"/>
                <a:gd name="connsiteY1377" fmla="*/ 265 h 10000"/>
                <a:gd name="connsiteX1378" fmla="*/ 5124 w 10577"/>
                <a:gd name="connsiteY1378" fmla="*/ 222 h 10000"/>
                <a:gd name="connsiteX1379" fmla="*/ 5124 w 10577"/>
                <a:gd name="connsiteY1379" fmla="*/ 214 h 10000"/>
                <a:gd name="connsiteX1380" fmla="*/ 5143 w 10577"/>
                <a:gd name="connsiteY1380" fmla="*/ 197 h 10000"/>
                <a:gd name="connsiteX1381" fmla="*/ 5152 w 10577"/>
                <a:gd name="connsiteY1381" fmla="*/ 214 h 10000"/>
                <a:gd name="connsiteX1382" fmla="*/ 5143 w 10577"/>
                <a:gd name="connsiteY1382" fmla="*/ 188 h 10000"/>
                <a:gd name="connsiteX1383" fmla="*/ 5129 w 10577"/>
                <a:gd name="connsiteY1383" fmla="*/ 103 h 10000"/>
                <a:gd name="connsiteX1384" fmla="*/ 5115 w 10577"/>
                <a:gd name="connsiteY1384" fmla="*/ 85 h 10000"/>
                <a:gd name="connsiteX1385" fmla="*/ 5111 w 10577"/>
                <a:gd name="connsiteY1385" fmla="*/ 111 h 10000"/>
                <a:gd name="connsiteX1386" fmla="*/ 5092 w 10577"/>
                <a:gd name="connsiteY1386" fmla="*/ 103 h 10000"/>
                <a:gd name="connsiteX1387" fmla="*/ 5069 w 10577"/>
                <a:gd name="connsiteY1387" fmla="*/ 77 h 10000"/>
                <a:gd name="connsiteX1388" fmla="*/ 5051 w 10577"/>
                <a:gd name="connsiteY1388" fmla="*/ 26 h 10000"/>
                <a:gd name="connsiteX1389" fmla="*/ 5041 w 10577"/>
                <a:gd name="connsiteY1389" fmla="*/ 34 h 10000"/>
                <a:gd name="connsiteX1390" fmla="*/ 5037 w 10577"/>
                <a:gd name="connsiteY1390" fmla="*/ 34 h 10000"/>
                <a:gd name="connsiteX1391" fmla="*/ 5037 w 10577"/>
                <a:gd name="connsiteY1391" fmla="*/ 26 h 10000"/>
                <a:gd name="connsiteX1392" fmla="*/ 5037 w 10577"/>
                <a:gd name="connsiteY1392" fmla="*/ 9 h 10000"/>
                <a:gd name="connsiteX1393" fmla="*/ 5023 w 10577"/>
                <a:gd name="connsiteY1393" fmla="*/ 0 h 10000"/>
                <a:gd name="connsiteX1394" fmla="*/ 5009 w 10577"/>
                <a:gd name="connsiteY1394" fmla="*/ 9 h 10000"/>
                <a:gd name="connsiteX1395" fmla="*/ 4995 w 10577"/>
                <a:gd name="connsiteY1395" fmla="*/ 34 h 10000"/>
                <a:gd name="connsiteX1396" fmla="*/ 4991 w 10577"/>
                <a:gd name="connsiteY1396" fmla="*/ 60 h 10000"/>
                <a:gd name="connsiteX1397" fmla="*/ 4982 w 10577"/>
                <a:gd name="connsiteY1397" fmla="*/ 60 h 10000"/>
                <a:gd name="connsiteX1398" fmla="*/ 4949 w 10577"/>
                <a:gd name="connsiteY1398" fmla="*/ 51 h 10000"/>
                <a:gd name="connsiteX1399" fmla="*/ 4949 w 10577"/>
                <a:gd name="connsiteY1399" fmla="*/ 85 h 10000"/>
                <a:gd name="connsiteX1400" fmla="*/ 4903 w 10577"/>
                <a:gd name="connsiteY1400" fmla="*/ 197 h 10000"/>
                <a:gd name="connsiteX1401" fmla="*/ 4899 w 10577"/>
                <a:gd name="connsiteY1401" fmla="*/ 239 h 10000"/>
                <a:gd name="connsiteX1402" fmla="*/ 4871 w 10577"/>
                <a:gd name="connsiteY1402" fmla="*/ 274 h 10000"/>
                <a:gd name="connsiteX1403" fmla="*/ 4871 w 10577"/>
                <a:gd name="connsiteY1403" fmla="*/ 282 h 10000"/>
                <a:gd name="connsiteX1404" fmla="*/ 4834 w 10577"/>
                <a:gd name="connsiteY1404" fmla="*/ 376 h 10000"/>
                <a:gd name="connsiteX1405" fmla="*/ 4829 w 10577"/>
                <a:gd name="connsiteY1405" fmla="*/ 402 h 10000"/>
                <a:gd name="connsiteX1406" fmla="*/ 4834 w 10577"/>
                <a:gd name="connsiteY1406" fmla="*/ 410 h 10000"/>
                <a:gd name="connsiteX1407" fmla="*/ 4829 w 10577"/>
                <a:gd name="connsiteY1407" fmla="*/ 436 h 10000"/>
                <a:gd name="connsiteX1408" fmla="*/ 4825 w 10577"/>
                <a:gd name="connsiteY1408" fmla="*/ 436 h 10000"/>
                <a:gd name="connsiteX1409" fmla="*/ 4825 w 10577"/>
                <a:gd name="connsiteY1409" fmla="*/ 444 h 10000"/>
                <a:gd name="connsiteX1410" fmla="*/ 4811 w 10577"/>
                <a:gd name="connsiteY1410" fmla="*/ 496 h 10000"/>
                <a:gd name="connsiteX1411" fmla="*/ 4811 w 10577"/>
                <a:gd name="connsiteY1411" fmla="*/ 496 h 10000"/>
                <a:gd name="connsiteX1412" fmla="*/ 4811 w 10577"/>
                <a:gd name="connsiteY1412" fmla="*/ 521 h 10000"/>
                <a:gd name="connsiteX1413" fmla="*/ 4816 w 10577"/>
                <a:gd name="connsiteY1413" fmla="*/ 530 h 10000"/>
                <a:gd name="connsiteX1414" fmla="*/ 4834 w 10577"/>
                <a:gd name="connsiteY1414" fmla="*/ 547 h 10000"/>
                <a:gd name="connsiteX1415" fmla="*/ 4834 w 10577"/>
                <a:gd name="connsiteY1415" fmla="*/ 581 h 10000"/>
                <a:gd name="connsiteX1416" fmla="*/ 4843 w 10577"/>
                <a:gd name="connsiteY1416" fmla="*/ 581 h 10000"/>
                <a:gd name="connsiteX1417" fmla="*/ 4843 w 10577"/>
                <a:gd name="connsiteY1417" fmla="*/ 598 h 10000"/>
                <a:gd name="connsiteX1418" fmla="*/ 4829 w 10577"/>
                <a:gd name="connsiteY1418" fmla="*/ 598 h 10000"/>
                <a:gd name="connsiteX1419" fmla="*/ 4829 w 10577"/>
                <a:gd name="connsiteY1419" fmla="*/ 573 h 10000"/>
                <a:gd name="connsiteX1420" fmla="*/ 4829 w 10577"/>
                <a:gd name="connsiteY1420" fmla="*/ 632 h 10000"/>
                <a:gd name="connsiteX1421" fmla="*/ 4829 w 10577"/>
                <a:gd name="connsiteY1421" fmla="*/ 632 h 10000"/>
                <a:gd name="connsiteX1422" fmla="*/ 4829 w 10577"/>
                <a:gd name="connsiteY1422" fmla="*/ 650 h 10000"/>
                <a:gd name="connsiteX1423" fmla="*/ 4774 w 10577"/>
                <a:gd name="connsiteY1423" fmla="*/ 684 h 10000"/>
                <a:gd name="connsiteX1424" fmla="*/ 4756 w 10577"/>
                <a:gd name="connsiteY1424" fmla="*/ 684 h 10000"/>
                <a:gd name="connsiteX1425" fmla="*/ 4737 w 10577"/>
                <a:gd name="connsiteY1425" fmla="*/ 692 h 10000"/>
                <a:gd name="connsiteX1426" fmla="*/ 4677 w 10577"/>
                <a:gd name="connsiteY1426" fmla="*/ 667 h 10000"/>
                <a:gd name="connsiteX1427" fmla="*/ 4682 w 10577"/>
                <a:gd name="connsiteY1427" fmla="*/ 692 h 10000"/>
                <a:gd name="connsiteX1428" fmla="*/ 4682 w 10577"/>
                <a:gd name="connsiteY1428" fmla="*/ 709 h 10000"/>
                <a:gd name="connsiteX1429" fmla="*/ 4691 w 10577"/>
                <a:gd name="connsiteY1429" fmla="*/ 718 h 10000"/>
                <a:gd name="connsiteX1430" fmla="*/ 4691 w 10577"/>
                <a:gd name="connsiteY1430" fmla="*/ 744 h 10000"/>
                <a:gd name="connsiteX1431" fmla="*/ 4700 w 10577"/>
                <a:gd name="connsiteY1431" fmla="*/ 744 h 10000"/>
                <a:gd name="connsiteX1432" fmla="*/ 4714 w 10577"/>
                <a:gd name="connsiteY1432" fmla="*/ 769 h 10000"/>
                <a:gd name="connsiteX1433" fmla="*/ 4710 w 10577"/>
                <a:gd name="connsiteY1433" fmla="*/ 786 h 10000"/>
                <a:gd name="connsiteX1434" fmla="*/ 4737 w 10577"/>
                <a:gd name="connsiteY1434" fmla="*/ 786 h 10000"/>
                <a:gd name="connsiteX1435" fmla="*/ 4742 w 10577"/>
                <a:gd name="connsiteY1435" fmla="*/ 795 h 10000"/>
                <a:gd name="connsiteX1436" fmla="*/ 4742 w 10577"/>
                <a:gd name="connsiteY1436" fmla="*/ 803 h 10000"/>
                <a:gd name="connsiteX1437" fmla="*/ 4737 w 10577"/>
                <a:gd name="connsiteY1437" fmla="*/ 846 h 10000"/>
                <a:gd name="connsiteX1438" fmla="*/ 4737 w 10577"/>
                <a:gd name="connsiteY1438" fmla="*/ 880 h 10000"/>
                <a:gd name="connsiteX1439" fmla="*/ 4737 w 10577"/>
                <a:gd name="connsiteY1439" fmla="*/ 906 h 10000"/>
                <a:gd name="connsiteX1440" fmla="*/ 4724 w 10577"/>
                <a:gd name="connsiteY1440" fmla="*/ 897 h 10000"/>
                <a:gd name="connsiteX1441" fmla="*/ 4724 w 10577"/>
                <a:gd name="connsiteY1441" fmla="*/ 872 h 10000"/>
                <a:gd name="connsiteX1442" fmla="*/ 4714 w 10577"/>
                <a:gd name="connsiteY1442" fmla="*/ 855 h 10000"/>
                <a:gd name="connsiteX1443" fmla="*/ 4691 w 10577"/>
                <a:gd name="connsiteY1443" fmla="*/ 846 h 10000"/>
                <a:gd name="connsiteX1444" fmla="*/ 4691 w 10577"/>
                <a:gd name="connsiteY1444" fmla="*/ 846 h 10000"/>
                <a:gd name="connsiteX1445" fmla="*/ 4696 w 10577"/>
                <a:gd name="connsiteY1445" fmla="*/ 821 h 10000"/>
                <a:gd name="connsiteX1446" fmla="*/ 4691 w 10577"/>
                <a:gd name="connsiteY1446" fmla="*/ 803 h 10000"/>
                <a:gd name="connsiteX1447" fmla="*/ 4668 w 10577"/>
                <a:gd name="connsiteY1447" fmla="*/ 821 h 10000"/>
                <a:gd name="connsiteX1448" fmla="*/ 4668 w 10577"/>
                <a:gd name="connsiteY1448" fmla="*/ 786 h 10000"/>
                <a:gd name="connsiteX1449" fmla="*/ 4664 w 10577"/>
                <a:gd name="connsiteY1449" fmla="*/ 786 h 10000"/>
                <a:gd name="connsiteX1450" fmla="*/ 4622 w 10577"/>
                <a:gd name="connsiteY1450" fmla="*/ 846 h 10000"/>
                <a:gd name="connsiteX1451" fmla="*/ 4627 w 10577"/>
                <a:gd name="connsiteY1451" fmla="*/ 872 h 10000"/>
                <a:gd name="connsiteX1452" fmla="*/ 4622 w 10577"/>
                <a:gd name="connsiteY1452" fmla="*/ 880 h 10000"/>
                <a:gd name="connsiteX1453" fmla="*/ 4622 w 10577"/>
                <a:gd name="connsiteY1453" fmla="*/ 880 h 10000"/>
                <a:gd name="connsiteX1454" fmla="*/ 4618 w 10577"/>
                <a:gd name="connsiteY1454" fmla="*/ 872 h 10000"/>
                <a:gd name="connsiteX1455" fmla="*/ 4604 w 10577"/>
                <a:gd name="connsiteY1455" fmla="*/ 880 h 10000"/>
                <a:gd name="connsiteX1456" fmla="*/ 4594 w 10577"/>
                <a:gd name="connsiteY1456" fmla="*/ 906 h 10000"/>
                <a:gd name="connsiteX1457" fmla="*/ 4604 w 10577"/>
                <a:gd name="connsiteY1457" fmla="*/ 906 h 10000"/>
                <a:gd name="connsiteX1458" fmla="*/ 4608 w 10577"/>
                <a:gd name="connsiteY1458" fmla="*/ 906 h 10000"/>
                <a:gd name="connsiteX1459" fmla="*/ 4608 w 10577"/>
                <a:gd name="connsiteY1459" fmla="*/ 932 h 10000"/>
                <a:gd name="connsiteX1460" fmla="*/ 4604 w 10577"/>
                <a:gd name="connsiteY1460" fmla="*/ 932 h 10000"/>
                <a:gd name="connsiteX1461" fmla="*/ 4590 w 10577"/>
                <a:gd name="connsiteY1461" fmla="*/ 932 h 10000"/>
                <a:gd name="connsiteX1462" fmla="*/ 4567 w 10577"/>
                <a:gd name="connsiteY1462" fmla="*/ 957 h 10000"/>
                <a:gd name="connsiteX1463" fmla="*/ 4567 w 10577"/>
                <a:gd name="connsiteY1463" fmla="*/ 932 h 10000"/>
                <a:gd name="connsiteX1464" fmla="*/ 4567 w 10577"/>
                <a:gd name="connsiteY1464" fmla="*/ 923 h 10000"/>
                <a:gd name="connsiteX1465" fmla="*/ 4562 w 10577"/>
                <a:gd name="connsiteY1465" fmla="*/ 932 h 10000"/>
                <a:gd name="connsiteX1466" fmla="*/ 4548 w 10577"/>
                <a:gd name="connsiteY1466" fmla="*/ 957 h 10000"/>
                <a:gd name="connsiteX1467" fmla="*/ 4544 w 10577"/>
                <a:gd name="connsiteY1467" fmla="*/ 957 h 10000"/>
                <a:gd name="connsiteX1468" fmla="*/ 4521 w 10577"/>
                <a:gd name="connsiteY1468" fmla="*/ 983 h 10000"/>
                <a:gd name="connsiteX1469" fmla="*/ 4521 w 10577"/>
                <a:gd name="connsiteY1469" fmla="*/ 983 h 10000"/>
                <a:gd name="connsiteX1470" fmla="*/ 4530 w 10577"/>
                <a:gd name="connsiteY1470" fmla="*/ 957 h 10000"/>
                <a:gd name="connsiteX1471" fmla="*/ 4535 w 10577"/>
                <a:gd name="connsiteY1471" fmla="*/ 932 h 10000"/>
                <a:gd name="connsiteX1472" fmla="*/ 4521 w 10577"/>
                <a:gd name="connsiteY1472" fmla="*/ 932 h 10000"/>
                <a:gd name="connsiteX1473" fmla="*/ 4516 w 10577"/>
                <a:gd name="connsiteY1473" fmla="*/ 923 h 10000"/>
                <a:gd name="connsiteX1474" fmla="*/ 4516 w 10577"/>
                <a:gd name="connsiteY1474" fmla="*/ 932 h 10000"/>
                <a:gd name="connsiteX1475" fmla="*/ 4488 w 10577"/>
                <a:gd name="connsiteY1475" fmla="*/ 940 h 10000"/>
                <a:gd name="connsiteX1476" fmla="*/ 4484 w 10577"/>
                <a:gd name="connsiteY1476" fmla="*/ 983 h 10000"/>
                <a:gd name="connsiteX1477" fmla="*/ 4470 w 10577"/>
                <a:gd name="connsiteY1477" fmla="*/ 983 h 10000"/>
                <a:gd name="connsiteX1478" fmla="*/ 4470 w 10577"/>
                <a:gd name="connsiteY1478" fmla="*/ 966 h 10000"/>
                <a:gd name="connsiteX1479" fmla="*/ 4488 w 10577"/>
                <a:gd name="connsiteY1479" fmla="*/ 923 h 10000"/>
                <a:gd name="connsiteX1480" fmla="*/ 4493 w 10577"/>
                <a:gd name="connsiteY1480" fmla="*/ 880 h 10000"/>
                <a:gd name="connsiteX1481" fmla="*/ 4475 w 10577"/>
                <a:gd name="connsiteY1481" fmla="*/ 846 h 10000"/>
                <a:gd name="connsiteX1482" fmla="*/ 4442 w 10577"/>
                <a:gd name="connsiteY1482" fmla="*/ 855 h 10000"/>
                <a:gd name="connsiteX1483" fmla="*/ 4433 w 10577"/>
                <a:gd name="connsiteY1483" fmla="*/ 855 h 10000"/>
                <a:gd name="connsiteX1484" fmla="*/ 4433 w 10577"/>
                <a:gd name="connsiteY1484" fmla="*/ 880 h 10000"/>
                <a:gd name="connsiteX1485" fmla="*/ 4401 w 10577"/>
                <a:gd name="connsiteY1485" fmla="*/ 855 h 10000"/>
                <a:gd name="connsiteX1486" fmla="*/ 4396 w 10577"/>
                <a:gd name="connsiteY1486" fmla="*/ 872 h 10000"/>
                <a:gd name="connsiteX1487" fmla="*/ 4382 w 10577"/>
                <a:gd name="connsiteY1487" fmla="*/ 897 h 10000"/>
                <a:gd name="connsiteX1488" fmla="*/ 4373 w 10577"/>
                <a:gd name="connsiteY1488" fmla="*/ 872 h 10000"/>
                <a:gd name="connsiteX1489" fmla="*/ 4341 w 10577"/>
                <a:gd name="connsiteY1489" fmla="*/ 872 h 10000"/>
                <a:gd name="connsiteX1490" fmla="*/ 4336 w 10577"/>
                <a:gd name="connsiteY1490" fmla="*/ 880 h 10000"/>
                <a:gd name="connsiteX1491" fmla="*/ 4346 w 10577"/>
                <a:gd name="connsiteY1491" fmla="*/ 897 h 10000"/>
                <a:gd name="connsiteX1492" fmla="*/ 4346 w 10577"/>
                <a:gd name="connsiteY1492" fmla="*/ 897 h 10000"/>
                <a:gd name="connsiteX1493" fmla="*/ 4313 w 10577"/>
                <a:gd name="connsiteY1493" fmla="*/ 906 h 10000"/>
                <a:gd name="connsiteX1494" fmla="*/ 4313 w 10577"/>
                <a:gd name="connsiteY1494" fmla="*/ 906 h 10000"/>
                <a:gd name="connsiteX1495" fmla="*/ 4313 w 10577"/>
                <a:gd name="connsiteY1495" fmla="*/ 880 h 10000"/>
                <a:gd name="connsiteX1496" fmla="*/ 4309 w 10577"/>
                <a:gd name="connsiteY1496" fmla="*/ 897 h 10000"/>
                <a:gd name="connsiteX1497" fmla="*/ 4295 w 10577"/>
                <a:gd name="connsiteY1497" fmla="*/ 923 h 10000"/>
                <a:gd name="connsiteX1498" fmla="*/ 4286 w 10577"/>
                <a:gd name="connsiteY1498" fmla="*/ 897 h 10000"/>
                <a:gd name="connsiteX1499" fmla="*/ 4281 w 10577"/>
                <a:gd name="connsiteY1499" fmla="*/ 906 h 10000"/>
                <a:gd name="connsiteX1500" fmla="*/ 4281 w 10577"/>
                <a:gd name="connsiteY1500" fmla="*/ 940 h 10000"/>
                <a:gd name="connsiteX1501" fmla="*/ 4286 w 10577"/>
                <a:gd name="connsiteY1501" fmla="*/ 957 h 10000"/>
                <a:gd name="connsiteX1502" fmla="*/ 4309 w 10577"/>
                <a:gd name="connsiteY1502" fmla="*/ 932 h 10000"/>
                <a:gd name="connsiteX1503" fmla="*/ 4313 w 10577"/>
                <a:gd name="connsiteY1503" fmla="*/ 957 h 10000"/>
                <a:gd name="connsiteX1504" fmla="*/ 4313 w 10577"/>
                <a:gd name="connsiteY1504" fmla="*/ 966 h 10000"/>
                <a:gd name="connsiteX1505" fmla="*/ 4323 w 10577"/>
                <a:gd name="connsiteY1505" fmla="*/ 966 h 10000"/>
                <a:gd name="connsiteX1506" fmla="*/ 4323 w 10577"/>
                <a:gd name="connsiteY1506" fmla="*/ 940 h 10000"/>
                <a:gd name="connsiteX1507" fmla="*/ 4327 w 10577"/>
                <a:gd name="connsiteY1507" fmla="*/ 940 h 10000"/>
                <a:gd name="connsiteX1508" fmla="*/ 4327 w 10577"/>
                <a:gd name="connsiteY1508" fmla="*/ 957 h 10000"/>
                <a:gd name="connsiteX1509" fmla="*/ 4327 w 10577"/>
                <a:gd name="connsiteY1509" fmla="*/ 966 h 10000"/>
                <a:gd name="connsiteX1510" fmla="*/ 4323 w 10577"/>
                <a:gd name="connsiteY1510" fmla="*/ 991 h 10000"/>
                <a:gd name="connsiteX1511" fmla="*/ 4207 w 10577"/>
                <a:gd name="connsiteY1511" fmla="*/ 1060 h 10000"/>
                <a:gd name="connsiteX1512" fmla="*/ 4207 w 10577"/>
                <a:gd name="connsiteY1512" fmla="*/ 1060 h 10000"/>
                <a:gd name="connsiteX1513" fmla="*/ 4203 w 10577"/>
                <a:gd name="connsiteY1513" fmla="*/ 1068 h 10000"/>
                <a:gd name="connsiteX1514" fmla="*/ 4203 w 10577"/>
                <a:gd name="connsiteY1514" fmla="*/ 1094 h 10000"/>
                <a:gd name="connsiteX1515" fmla="*/ 4203 w 10577"/>
                <a:gd name="connsiteY1515" fmla="*/ 1094 h 10000"/>
                <a:gd name="connsiteX1516" fmla="*/ 4189 w 10577"/>
                <a:gd name="connsiteY1516" fmla="*/ 1094 h 10000"/>
                <a:gd name="connsiteX1517" fmla="*/ 4166 w 10577"/>
                <a:gd name="connsiteY1517" fmla="*/ 1103 h 10000"/>
                <a:gd name="connsiteX1518" fmla="*/ 4152 w 10577"/>
                <a:gd name="connsiteY1518" fmla="*/ 1094 h 10000"/>
                <a:gd name="connsiteX1519" fmla="*/ 4134 w 10577"/>
                <a:gd name="connsiteY1519" fmla="*/ 1120 h 10000"/>
                <a:gd name="connsiteX1520" fmla="*/ 4106 w 10577"/>
                <a:gd name="connsiteY1520" fmla="*/ 1120 h 10000"/>
                <a:gd name="connsiteX1521" fmla="*/ 4092 w 10577"/>
                <a:gd name="connsiteY1521" fmla="*/ 1154 h 10000"/>
                <a:gd name="connsiteX1522" fmla="*/ 4106 w 10577"/>
                <a:gd name="connsiteY1522" fmla="*/ 1171 h 10000"/>
                <a:gd name="connsiteX1523" fmla="*/ 4078 w 10577"/>
                <a:gd name="connsiteY1523" fmla="*/ 1179 h 10000"/>
                <a:gd name="connsiteX1524" fmla="*/ 4065 w 10577"/>
                <a:gd name="connsiteY1524" fmla="*/ 1205 h 10000"/>
                <a:gd name="connsiteX1525" fmla="*/ 4046 w 10577"/>
                <a:gd name="connsiteY1525" fmla="*/ 1179 h 10000"/>
                <a:gd name="connsiteX1526" fmla="*/ 4041 w 10577"/>
                <a:gd name="connsiteY1526" fmla="*/ 1197 h 10000"/>
                <a:gd name="connsiteX1527" fmla="*/ 4028 w 10577"/>
                <a:gd name="connsiteY1527" fmla="*/ 1205 h 10000"/>
                <a:gd name="connsiteX1528" fmla="*/ 4028 w 10577"/>
                <a:gd name="connsiteY1528" fmla="*/ 1205 h 10000"/>
                <a:gd name="connsiteX1529" fmla="*/ 4032 w 10577"/>
                <a:gd name="connsiteY1529" fmla="*/ 1205 h 10000"/>
                <a:gd name="connsiteX1530" fmla="*/ 4032 w 10577"/>
                <a:gd name="connsiteY1530" fmla="*/ 1231 h 10000"/>
                <a:gd name="connsiteX1531" fmla="*/ 4014 w 10577"/>
                <a:gd name="connsiteY1531" fmla="*/ 1239 h 10000"/>
                <a:gd name="connsiteX1532" fmla="*/ 4014 w 10577"/>
                <a:gd name="connsiteY1532" fmla="*/ 1256 h 10000"/>
                <a:gd name="connsiteX1533" fmla="*/ 4000 w 10577"/>
                <a:gd name="connsiteY1533" fmla="*/ 1265 h 10000"/>
                <a:gd name="connsiteX1534" fmla="*/ 3986 w 10577"/>
                <a:gd name="connsiteY1534" fmla="*/ 1308 h 10000"/>
                <a:gd name="connsiteX1535" fmla="*/ 3972 w 10577"/>
                <a:gd name="connsiteY1535" fmla="*/ 1316 h 10000"/>
                <a:gd name="connsiteX1536" fmla="*/ 3972 w 10577"/>
                <a:gd name="connsiteY1536" fmla="*/ 1325 h 10000"/>
                <a:gd name="connsiteX1537" fmla="*/ 3972 w 10577"/>
                <a:gd name="connsiteY1537" fmla="*/ 1342 h 10000"/>
                <a:gd name="connsiteX1538" fmla="*/ 3968 w 10577"/>
                <a:gd name="connsiteY1538" fmla="*/ 1350 h 10000"/>
                <a:gd name="connsiteX1539" fmla="*/ 3954 w 10577"/>
                <a:gd name="connsiteY1539" fmla="*/ 1368 h 10000"/>
                <a:gd name="connsiteX1540" fmla="*/ 3945 w 10577"/>
                <a:gd name="connsiteY1540" fmla="*/ 1350 h 10000"/>
                <a:gd name="connsiteX1541" fmla="*/ 3908 w 10577"/>
                <a:gd name="connsiteY1541" fmla="*/ 1342 h 10000"/>
                <a:gd name="connsiteX1542" fmla="*/ 3894 w 10577"/>
                <a:gd name="connsiteY1542" fmla="*/ 1368 h 10000"/>
                <a:gd name="connsiteX1543" fmla="*/ 3922 w 10577"/>
                <a:gd name="connsiteY1543" fmla="*/ 1393 h 10000"/>
                <a:gd name="connsiteX1544" fmla="*/ 3945 w 10577"/>
                <a:gd name="connsiteY1544" fmla="*/ 1393 h 10000"/>
                <a:gd name="connsiteX1545" fmla="*/ 3940 w 10577"/>
                <a:gd name="connsiteY1545" fmla="*/ 1419 h 10000"/>
                <a:gd name="connsiteX1546" fmla="*/ 3931 w 10577"/>
                <a:gd name="connsiteY1546" fmla="*/ 1427 h 10000"/>
                <a:gd name="connsiteX1547" fmla="*/ 3926 w 10577"/>
                <a:gd name="connsiteY1547" fmla="*/ 1427 h 10000"/>
                <a:gd name="connsiteX1548" fmla="*/ 3922 w 10577"/>
                <a:gd name="connsiteY1548" fmla="*/ 1419 h 10000"/>
                <a:gd name="connsiteX1549" fmla="*/ 3912 w 10577"/>
                <a:gd name="connsiteY1549" fmla="*/ 1427 h 10000"/>
                <a:gd name="connsiteX1550" fmla="*/ 3912 w 10577"/>
                <a:gd name="connsiteY1550" fmla="*/ 1444 h 10000"/>
                <a:gd name="connsiteX1551" fmla="*/ 3894 w 10577"/>
                <a:gd name="connsiteY1551" fmla="*/ 1513 h 10000"/>
                <a:gd name="connsiteX1552" fmla="*/ 3885 w 10577"/>
                <a:gd name="connsiteY1552" fmla="*/ 1513 h 10000"/>
                <a:gd name="connsiteX1553" fmla="*/ 3880 w 10577"/>
                <a:gd name="connsiteY1553" fmla="*/ 1538 h 10000"/>
                <a:gd name="connsiteX1554" fmla="*/ 3885 w 10577"/>
                <a:gd name="connsiteY1554" fmla="*/ 1564 h 10000"/>
                <a:gd name="connsiteX1555" fmla="*/ 3880 w 10577"/>
                <a:gd name="connsiteY1555" fmla="*/ 1581 h 10000"/>
                <a:gd name="connsiteX1556" fmla="*/ 3871 w 10577"/>
                <a:gd name="connsiteY1556" fmla="*/ 1538 h 10000"/>
                <a:gd name="connsiteX1557" fmla="*/ 3853 w 10577"/>
                <a:gd name="connsiteY1557" fmla="*/ 1530 h 10000"/>
                <a:gd name="connsiteX1558" fmla="*/ 3853 w 10577"/>
                <a:gd name="connsiteY1558" fmla="*/ 1504 h 10000"/>
                <a:gd name="connsiteX1559" fmla="*/ 3834 w 10577"/>
                <a:gd name="connsiteY1559" fmla="*/ 1487 h 10000"/>
                <a:gd name="connsiteX1560" fmla="*/ 3834 w 10577"/>
                <a:gd name="connsiteY1560" fmla="*/ 1487 h 10000"/>
                <a:gd name="connsiteX1561" fmla="*/ 3839 w 10577"/>
                <a:gd name="connsiteY1561" fmla="*/ 1513 h 10000"/>
                <a:gd name="connsiteX1562" fmla="*/ 3820 w 10577"/>
                <a:gd name="connsiteY1562" fmla="*/ 1538 h 10000"/>
                <a:gd name="connsiteX1563" fmla="*/ 3820 w 10577"/>
                <a:gd name="connsiteY1563" fmla="*/ 1556 h 10000"/>
                <a:gd name="connsiteX1564" fmla="*/ 3820 w 10577"/>
                <a:gd name="connsiteY1564" fmla="*/ 1564 h 10000"/>
                <a:gd name="connsiteX1565" fmla="*/ 3820 w 10577"/>
                <a:gd name="connsiteY1565" fmla="*/ 1581 h 10000"/>
                <a:gd name="connsiteX1566" fmla="*/ 3853 w 10577"/>
                <a:gd name="connsiteY1566" fmla="*/ 1581 h 10000"/>
                <a:gd name="connsiteX1567" fmla="*/ 3857 w 10577"/>
                <a:gd name="connsiteY1567" fmla="*/ 1598 h 10000"/>
                <a:gd name="connsiteX1568" fmla="*/ 3880 w 10577"/>
                <a:gd name="connsiteY1568" fmla="*/ 1615 h 10000"/>
                <a:gd name="connsiteX1569" fmla="*/ 3871 w 10577"/>
                <a:gd name="connsiteY1569" fmla="*/ 1615 h 10000"/>
                <a:gd name="connsiteX1570" fmla="*/ 3871 w 10577"/>
                <a:gd name="connsiteY1570" fmla="*/ 1641 h 10000"/>
                <a:gd name="connsiteX1571" fmla="*/ 3880 w 10577"/>
                <a:gd name="connsiteY1571" fmla="*/ 1641 h 10000"/>
                <a:gd name="connsiteX1572" fmla="*/ 3871 w 10577"/>
                <a:gd name="connsiteY1572" fmla="*/ 1650 h 10000"/>
                <a:gd name="connsiteX1573" fmla="*/ 3857 w 10577"/>
                <a:gd name="connsiteY1573" fmla="*/ 1650 h 10000"/>
                <a:gd name="connsiteX1574" fmla="*/ 3853 w 10577"/>
                <a:gd name="connsiteY1574" fmla="*/ 1650 h 10000"/>
                <a:gd name="connsiteX1575" fmla="*/ 3839 w 10577"/>
                <a:gd name="connsiteY1575" fmla="*/ 1667 h 10000"/>
                <a:gd name="connsiteX1576" fmla="*/ 3848 w 10577"/>
                <a:gd name="connsiteY1576" fmla="*/ 1692 h 10000"/>
                <a:gd name="connsiteX1577" fmla="*/ 3834 w 10577"/>
                <a:gd name="connsiteY1577" fmla="*/ 1692 h 10000"/>
                <a:gd name="connsiteX1578" fmla="*/ 3825 w 10577"/>
                <a:gd name="connsiteY1578" fmla="*/ 1692 h 10000"/>
                <a:gd name="connsiteX1579" fmla="*/ 3825 w 10577"/>
                <a:gd name="connsiteY1579" fmla="*/ 1718 h 10000"/>
                <a:gd name="connsiteX1580" fmla="*/ 3839 w 10577"/>
                <a:gd name="connsiteY1580" fmla="*/ 1726 h 10000"/>
                <a:gd name="connsiteX1581" fmla="*/ 3880 w 10577"/>
                <a:gd name="connsiteY1581" fmla="*/ 1752 h 10000"/>
                <a:gd name="connsiteX1582" fmla="*/ 3894 w 10577"/>
                <a:gd name="connsiteY1582" fmla="*/ 1829 h 10000"/>
                <a:gd name="connsiteX1583" fmla="*/ 3899 w 10577"/>
                <a:gd name="connsiteY1583" fmla="*/ 1838 h 10000"/>
                <a:gd name="connsiteX1584" fmla="*/ 3894 w 10577"/>
                <a:gd name="connsiteY1584" fmla="*/ 1855 h 10000"/>
                <a:gd name="connsiteX1585" fmla="*/ 3880 w 10577"/>
                <a:gd name="connsiteY1585" fmla="*/ 1838 h 10000"/>
                <a:gd name="connsiteX1586" fmla="*/ 3880 w 10577"/>
                <a:gd name="connsiteY1586" fmla="*/ 1855 h 10000"/>
                <a:gd name="connsiteX1587" fmla="*/ 3880 w 10577"/>
                <a:gd name="connsiteY1587" fmla="*/ 1863 h 10000"/>
                <a:gd name="connsiteX1588" fmla="*/ 3871 w 10577"/>
                <a:gd name="connsiteY1588" fmla="*/ 1872 h 10000"/>
                <a:gd name="connsiteX1589" fmla="*/ 3880 w 10577"/>
                <a:gd name="connsiteY1589" fmla="*/ 1889 h 10000"/>
                <a:gd name="connsiteX1590" fmla="*/ 3885 w 10577"/>
                <a:gd name="connsiteY1590" fmla="*/ 1889 h 10000"/>
                <a:gd name="connsiteX1591" fmla="*/ 3880 w 10577"/>
                <a:gd name="connsiteY1591" fmla="*/ 1897 h 10000"/>
                <a:gd name="connsiteX1592" fmla="*/ 3871 w 10577"/>
                <a:gd name="connsiteY1592" fmla="*/ 1915 h 10000"/>
                <a:gd name="connsiteX1593" fmla="*/ 3848 w 10577"/>
                <a:gd name="connsiteY1593" fmla="*/ 1923 h 10000"/>
                <a:gd name="connsiteX1594" fmla="*/ 3825 w 10577"/>
                <a:gd name="connsiteY1594" fmla="*/ 1940 h 10000"/>
                <a:gd name="connsiteX1595" fmla="*/ 3811 w 10577"/>
                <a:gd name="connsiteY1595" fmla="*/ 1940 h 10000"/>
                <a:gd name="connsiteX1596" fmla="*/ 3806 w 10577"/>
                <a:gd name="connsiteY1596" fmla="*/ 1949 h 10000"/>
                <a:gd name="connsiteX1597" fmla="*/ 3797 w 10577"/>
                <a:gd name="connsiteY1597" fmla="*/ 1966 h 10000"/>
                <a:gd name="connsiteX1598" fmla="*/ 3788 w 10577"/>
                <a:gd name="connsiteY1598" fmla="*/ 1991 h 10000"/>
                <a:gd name="connsiteX1599" fmla="*/ 3765 w 10577"/>
                <a:gd name="connsiteY1599" fmla="*/ 1974 h 10000"/>
                <a:gd name="connsiteX1600" fmla="*/ 3760 w 10577"/>
                <a:gd name="connsiteY1600" fmla="*/ 1966 h 10000"/>
                <a:gd name="connsiteX1601" fmla="*/ 3760 w 10577"/>
                <a:gd name="connsiteY1601" fmla="*/ 1966 h 10000"/>
                <a:gd name="connsiteX1602" fmla="*/ 3631 w 10577"/>
                <a:gd name="connsiteY1602" fmla="*/ 2009 h 10000"/>
                <a:gd name="connsiteX1603" fmla="*/ 3618 w 10577"/>
                <a:gd name="connsiteY1603" fmla="*/ 2000 h 10000"/>
                <a:gd name="connsiteX1604" fmla="*/ 3599 w 10577"/>
                <a:gd name="connsiteY1604" fmla="*/ 2009 h 10000"/>
                <a:gd name="connsiteX1605" fmla="*/ 3571 w 10577"/>
                <a:gd name="connsiteY1605" fmla="*/ 2000 h 10000"/>
                <a:gd name="connsiteX1606" fmla="*/ 3530 w 10577"/>
                <a:gd name="connsiteY1606" fmla="*/ 2026 h 10000"/>
                <a:gd name="connsiteX1607" fmla="*/ 3530 w 10577"/>
                <a:gd name="connsiteY1607" fmla="*/ 2034 h 10000"/>
                <a:gd name="connsiteX1608" fmla="*/ 3525 w 10577"/>
                <a:gd name="connsiteY1608" fmla="*/ 2051 h 10000"/>
                <a:gd name="connsiteX1609" fmla="*/ 3512 w 10577"/>
                <a:gd name="connsiteY1609" fmla="*/ 2034 h 10000"/>
                <a:gd name="connsiteX1610" fmla="*/ 3507 w 10577"/>
                <a:gd name="connsiteY1610" fmla="*/ 2034 h 10000"/>
                <a:gd name="connsiteX1611" fmla="*/ 3498 w 10577"/>
                <a:gd name="connsiteY1611" fmla="*/ 2051 h 10000"/>
                <a:gd name="connsiteX1612" fmla="*/ 3484 w 10577"/>
                <a:gd name="connsiteY1612" fmla="*/ 2060 h 10000"/>
                <a:gd name="connsiteX1613" fmla="*/ 3484 w 10577"/>
                <a:gd name="connsiteY1613" fmla="*/ 2085 h 10000"/>
                <a:gd name="connsiteX1614" fmla="*/ 3484 w 10577"/>
                <a:gd name="connsiteY1614" fmla="*/ 2103 h 10000"/>
                <a:gd name="connsiteX1615" fmla="*/ 3493 w 10577"/>
                <a:gd name="connsiteY1615" fmla="*/ 2103 h 10000"/>
                <a:gd name="connsiteX1616" fmla="*/ 3493 w 10577"/>
                <a:gd name="connsiteY1616" fmla="*/ 2085 h 10000"/>
                <a:gd name="connsiteX1617" fmla="*/ 3498 w 10577"/>
                <a:gd name="connsiteY1617" fmla="*/ 2085 h 10000"/>
                <a:gd name="connsiteX1618" fmla="*/ 3498 w 10577"/>
                <a:gd name="connsiteY1618" fmla="*/ 2111 h 10000"/>
                <a:gd name="connsiteX1619" fmla="*/ 3484 w 10577"/>
                <a:gd name="connsiteY1619" fmla="*/ 2120 h 10000"/>
                <a:gd name="connsiteX1620" fmla="*/ 3484 w 10577"/>
                <a:gd name="connsiteY1620" fmla="*/ 2145 h 10000"/>
                <a:gd name="connsiteX1621" fmla="*/ 3470 w 10577"/>
                <a:gd name="connsiteY1621" fmla="*/ 2137 h 10000"/>
                <a:gd name="connsiteX1622" fmla="*/ 3465 w 10577"/>
                <a:gd name="connsiteY1622" fmla="*/ 2145 h 10000"/>
                <a:gd name="connsiteX1623" fmla="*/ 3470 w 10577"/>
                <a:gd name="connsiteY1623" fmla="*/ 2171 h 10000"/>
                <a:gd name="connsiteX1624" fmla="*/ 3484 w 10577"/>
                <a:gd name="connsiteY1624" fmla="*/ 2171 h 10000"/>
                <a:gd name="connsiteX1625" fmla="*/ 3484 w 10577"/>
                <a:gd name="connsiteY1625" fmla="*/ 2197 h 10000"/>
                <a:gd name="connsiteX1626" fmla="*/ 3465 w 10577"/>
                <a:gd name="connsiteY1626" fmla="*/ 2214 h 10000"/>
                <a:gd name="connsiteX1627" fmla="*/ 3493 w 10577"/>
                <a:gd name="connsiteY1627" fmla="*/ 2248 h 10000"/>
                <a:gd name="connsiteX1628" fmla="*/ 3484 w 10577"/>
                <a:gd name="connsiteY1628" fmla="*/ 2256 h 10000"/>
                <a:gd name="connsiteX1629" fmla="*/ 3498 w 10577"/>
                <a:gd name="connsiteY1629" fmla="*/ 2274 h 10000"/>
                <a:gd name="connsiteX1630" fmla="*/ 3498 w 10577"/>
                <a:gd name="connsiteY1630" fmla="*/ 2256 h 10000"/>
                <a:gd name="connsiteX1631" fmla="*/ 3507 w 10577"/>
                <a:gd name="connsiteY1631" fmla="*/ 2308 h 10000"/>
                <a:gd name="connsiteX1632" fmla="*/ 3512 w 10577"/>
                <a:gd name="connsiteY1632" fmla="*/ 2325 h 10000"/>
                <a:gd name="connsiteX1633" fmla="*/ 3507 w 10577"/>
                <a:gd name="connsiteY1633" fmla="*/ 2333 h 10000"/>
                <a:gd name="connsiteX1634" fmla="*/ 3507 w 10577"/>
                <a:gd name="connsiteY1634" fmla="*/ 2359 h 10000"/>
                <a:gd name="connsiteX1635" fmla="*/ 3507 w 10577"/>
                <a:gd name="connsiteY1635" fmla="*/ 2376 h 10000"/>
                <a:gd name="connsiteX1636" fmla="*/ 3498 w 10577"/>
                <a:gd name="connsiteY1636" fmla="*/ 2410 h 10000"/>
                <a:gd name="connsiteX1637" fmla="*/ 3498 w 10577"/>
                <a:gd name="connsiteY1637" fmla="*/ 2436 h 10000"/>
                <a:gd name="connsiteX1638" fmla="*/ 3507 w 10577"/>
                <a:gd name="connsiteY1638" fmla="*/ 2462 h 10000"/>
                <a:gd name="connsiteX1639" fmla="*/ 3507 w 10577"/>
                <a:gd name="connsiteY1639" fmla="*/ 2496 h 10000"/>
                <a:gd name="connsiteX1640" fmla="*/ 3512 w 10577"/>
                <a:gd name="connsiteY1640" fmla="*/ 2521 h 10000"/>
                <a:gd name="connsiteX1641" fmla="*/ 3525 w 10577"/>
                <a:gd name="connsiteY1641" fmla="*/ 2556 h 10000"/>
                <a:gd name="connsiteX1642" fmla="*/ 3571 w 10577"/>
                <a:gd name="connsiteY1642" fmla="*/ 2573 h 10000"/>
                <a:gd name="connsiteX1643" fmla="*/ 3590 w 10577"/>
                <a:gd name="connsiteY1643" fmla="*/ 2598 h 10000"/>
                <a:gd name="connsiteX1644" fmla="*/ 3599 w 10577"/>
                <a:gd name="connsiteY1644" fmla="*/ 2598 h 10000"/>
                <a:gd name="connsiteX1645" fmla="*/ 3604 w 10577"/>
                <a:gd name="connsiteY1645" fmla="*/ 2632 h 10000"/>
                <a:gd name="connsiteX1646" fmla="*/ 3599 w 10577"/>
                <a:gd name="connsiteY1646" fmla="*/ 2658 h 10000"/>
                <a:gd name="connsiteX1647" fmla="*/ 3590 w 10577"/>
                <a:gd name="connsiteY1647" fmla="*/ 2667 h 10000"/>
                <a:gd name="connsiteX1648" fmla="*/ 3604 w 10577"/>
                <a:gd name="connsiteY1648" fmla="*/ 2667 h 10000"/>
                <a:gd name="connsiteX1649" fmla="*/ 3613 w 10577"/>
                <a:gd name="connsiteY1649" fmla="*/ 2692 h 10000"/>
                <a:gd name="connsiteX1650" fmla="*/ 3627 w 10577"/>
                <a:gd name="connsiteY1650" fmla="*/ 2735 h 10000"/>
                <a:gd name="connsiteX1651" fmla="*/ 3631 w 10577"/>
                <a:gd name="connsiteY1651" fmla="*/ 2744 h 10000"/>
                <a:gd name="connsiteX1652" fmla="*/ 3659 w 10577"/>
                <a:gd name="connsiteY1652" fmla="*/ 2761 h 10000"/>
                <a:gd name="connsiteX1653" fmla="*/ 3673 w 10577"/>
                <a:gd name="connsiteY1653" fmla="*/ 2769 h 10000"/>
                <a:gd name="connsiteX1654" fmla="*/ 3673 w 10577"/>
                <a:gd name="connsiteY1654" fmla="*/ 2761 h 10000"/>
                <a:gd name="connsiteX1655" fmla="*/ 3687 w 10577"/>
                <a:gd name="connsiteY1655" fmla="*/ 2829 h 10000"/>
                <a:gd name="connsiteX1656" fmla="*/ 3677 w 10577"/>
                <a:gd name="connsiteY1656" fmla="*/ 2897 h 10000"/>
                <a:gd name="connsiteX1657" fmla="*/ 3673 w 10577"/>
                <a:gd name="connsiteY1657" fmla="*/ 2915 h 10000"/>
                <a:gd name="connsiteX1658" fmla="*/ 3664 w 10577"/>
                <a:gd name="connsiteY1658" fmla="*/ 2957 h 10000"/>
                <a:gd name="connsiteX1659" fmla="*/ 3659 w 10577"/>
                <a:gd name="connsiteY1659" fmla="*/ 2983 h 10000"/>
                <a:gd name="connsiteX1660" fmla="*/ 3664 w 10577"/>
                <a:gd name="connsiteY1660" fmla="*/ 3017 h 10000"/>
                <a:gd name="connsiteX1661" fmla="*/ 3659 w 10577"/>
                <a:gd name="connsiteY1661" fmla="*/ 3043 h 10000"/>
                <a:gd name="connsiteX1662" fmla="*/ 3677 w 10577"/>
                <a:gd name="connsiteY1662" fmla="*/ 3094 h 10000"/>
                <a:gd name="connsiteX1663" fmla="*/ 3691 w 10577"/>
                <a:gd name="connsiteY1663" fmla="*/ 3282 h 10000"/>
                <a:gd name="connsiteX1664" fmla="*/ 3691 w 10577"/>
                <a:gd name="connsiteY1664" fmla="*/ 3308 h 10000"/>
                <a:gd name="connsiteX1665" fmla="*/ 3677 w 10577"/>
                <a:gd name="connsiteY1665" fmla="*/ 3342 h 10000"/>
                <a:gd name="connsiteX1666" fmla="*/ 3664 w 10577"/>
                <a:gd name="connsiteY1666" fmla="*/ 3342 h 10000"/>
                <a:gd name="connsiteX1667" fmla="*/ 3650 w 10577"/>
                <a:gd name="connsiteY1667" fmla="*/ 3342 h 10000"/>
                <a:gd name="connsiteX1668" fmla="*/ 3650 w 10577"/>
                <a:gd name="connsiteY1668" fmla="*/ 3350 h 10000"/>
                <a:gd name="connsiteX1669" fmla="*/ 3659 w 10577"/>
                <a:gd name="connsiteY1669" fmla="*/ 3402 h 10000"/>
                <a:gd name="connsiteX1670" fmla="*/ 3659 w 10577"/>
                <a:gd name="connsiteY1670" fmla="*/ 3419 h 10000"/>
                <a:gd name="connsiteX1671" fmla="*/ 3631 w 10577"/>
                <a:gd name="connsiteY1671" fmla="*/ 3402 h 10000"/>
                <a:gd name="connsiteX1672" fmla="*/ 3604 w 10577"/>
                <a:gd name="connsiteY1672" fmla="*/ 3393 h 10000"/>
                <a:gd name="connsiteX1673" fmla="*/ 3599 w 10577"/>
                <a:gd name="connsiteY1673" fmla="*/ 3368 h 10000"/>
                <a:gd name="connsiteX1674" fmla="*/ 3590 w 10577"/>
                <a:gd name="connsiteY1674" fmla="*/ 3239 h 10000"/>
                <a:gd name="connsiteX1675" fmla="*/ 3599 w 10577"/>
                <a:gd name="connsiteY1675" fmla="*/ 3179 h 10000"/>
                <a:gd name="connsiteX1676" fmla="*/ 3599 w 10577"/>
                <a:gd name="connsiteY1676" fmla="*/ 3171 h 10000"/>
                <a:gd name="connsiteX1677" fmla="*/ 3599 w 10577"/>
                <a:gd name="connsiteY1677" fmla="*/ 3009 h 10000"/>
                <a:gd name="connsiteX1678" fmla="*/ 3604 w 10577"/>
                <a:gd name="connsiteY1678" fmla="*/ 2983 h 10000"/>
                <a:gd name="connsiteX1679" fmla="*/ 3645 w 10577"/>
                <a:gd name="connsiteY1679" fmla="*/ 2932 h 10000"/>
                <a:gd name="connsiteX1680" fmla="*/ 3650 w 10577"/>
                <a:gd name="connsiteY1680" fmla="*/ 2872 h 10000"/>
                <a:gd name="connsiteX1681" fmla="*/ 3659 w 10577"/>
                <a:gd name="connsiteY1681" fmla="*/ 2855 h 10000"/>
                <a:gd name="connsiteX1682" fmla="*/ 3659 w 10577"/>
                <a:gd name="connsiteY1682" fmla="*/ 2821 h 10000"/>
                <a:gd name="connsiteX1683" fmla="*/ 3631 w 10577"/>
                <a:gd name="connsiteY1683" fmla="*/ 2795 h 10000"/>
                <a:gd name="connsiteX1684" fmla="*/ 3567 w 10577"/>
                <a:gd name="connsiteY1684" fmla="*/ 2821 h 10000"/>
                <a:gd name="connsiteX1685" fmla="*/ 3544 w 10577"/>
                <a:gd name="connsiteY1685" fmla="*/ 2795 h 10000"/>
                <a:gd name="connsiteX1686" fmla="*/ 3530 w 10577"/>
                <a:gd name="connsiteY1686" fmla="*/ 2769 h 10000"/>
                <a:gd name="connsiteX1687" fmla="*/ 3530 w 10577"/>
                <a:gd name="connsiteY1687" fmla="*/ 2786 h 10000"/>
                <a:gd name="connsiteX1688" fmla="*/ 3498 w 10577"/>
                <a:gd name="connsiteY1688" fmla="*/ 2692 h 10000"/>
                <a:gd name="connsiteX1689" fmla="*/ 3498 w 10577"/>
                <a:gd name="connsiteY1689" fmla="*/ 2667 h 10000"/>
                <a:gd name="connsiteX1690" fmla="*/ 3442 w 10577"/>
                <a:gd name="connsiteY1690" fmla="*/ 2607 h 10000"/>
                <a:gd name="connsiteX1691" fmla="*/ 3433 w 10577"/>
                <a:gd name="connsiteY1691" fmla="*/ 2581 h 10000"/>
                <a:gd name="connsiteX1692" fmla="*/ 3396 w 10577"/>
                <a:gd name="connsiteY1692" fmla="*/ 2556 h 10000"/>
                <a:gd name="connsiteX1693" fmla="*/ 3318 w 10577"/>
                <a:gd name="connsiteY1693" fmla="*/ 2556 h 10000"/>
                <a:gd name="connsiteX1694" fmla="*/ 3304 w 10577"/>
                <a:gd name="connsiteY1694" fmla="*/ 2607 h 10000"/>
                <a:gd name="connsiteX1695" fmla="*/ 3276 w 10577"/>
                <a:gd name="connsiteY1695" fmla="*/ 2632 h 10000"/>
                <a:gd name="connsiteX1696" fmla="*/ 3272 w 10577"/>
                <a:gd name="connsiteY1696" fmla="*/ 2667 h 10000"/>
                <a:gd name="connsiteX1697" fmla="*/ 3304 w 10577"/>
                <a:gd name="connsiteY1697" fmla="*/ 2667 h 10000"/>
                <a:gd name="connsiteX1698" fmla="*/ 3323 w 10577"/>
                <a:gd name="connsiteY1698" fmla="*/ 2692 h 10000"/>
                <a:gd name="connsiteX1699" fmla="*/ 3318 w 10577"/>
                <a:gd name="connsiteY1699" fmla="*/ 2735 h 10000"/>
                <a:gd name="connsiteX1700" fmla="*/ 3304 w 10577"/>
                <a:gd name="connsiteY1700" fmla="*/ 2761 h 10000"/>
                <a:gd name="connsiteX1701" fmla="*/ 3276 w 10577"/>
                <a:gd name="connsiteY1701" fmla="*/ 2769 h 10000"/>
                <a:gd name="connsiteX1702" fmla="*/ 3263 w 10577"/>
                <a:gd name="connsiteY1702" fmla="*/ 2795 h 10000"/>
                <a:gd name="connsiteX1703" fmla="*/ 3235 w 10577"/>
                <a:gd name="connsiteY1703" fmla="*/ 2803 h 10000"/>
                <a:gd name="connsiteX1704" fmla="*/ 3235 w 10577"/>
                <a:gd name="connsiteY1704" fmla="*/ 2786 h 10000"/>
                <a:gd name="connsiteX1705" fmla="*/ 3212 w 10577"/>
                <a:gd name="connsiteY1705" fmla="*/ 2709 h 10000"/>
                <a:gd name="connsiteX1706" fmla="*/ 3198 w 10577"/>
                <a:gd name="connsiteY1706" fmla="*/ 2709 h 10000"/>
                <a:gd name="connsiteX1707" fmla="*/ 3184 w 10577"/>
                <a:gd name="connsiteY1707" fmla="*/ 2735 h 10000"/>
                <a:gd name="connsiteX1708" fmla="*/ 3189 w 10577"/>
                <a:gd name="connsiteY1708" fmla="*/ 2761 h 10000"/>
                <a:gd name="connsiteX1709" fmla="*/ 3203 w 10577"/>
                <a:gd name="connsiteY1709" fmla="*/ 2855 h 10000"/>
                <a:gd name="connsiteX1710" fmla="*/ 3212 w 10577"/>
                <a:gd name="connsiteY1710" fmla="*/ 2872 h 10000"/>
                <a:gd name="connsiteX1711" fmla="*/ 3235 w 10577"/>
                <a:gd name="connsiteY1711" fmla="*/ 2906 h 10000"/>
                <a:gd name="connsiteX1712" fmla="*/ 3258 w 10577"/>
                <a:gd name="connsiteY1712" fmla="*/ 2915 h 10000"/>
                <a:gd name="connsiteX1713" fmla="*/ 3272 w 10577"/>
                <a:gd name="connsiteY1713" fmla="*/ 2957 h 10000"/>
                <a:gd name="connsiteX1714" fmla="*/ 3276 w 10577"/>
                <a:gd name="connsiteY1714" fmla="*/ 2957 h 10000"/>
                <a:gd name="connsiteX1715" fmla="*/ 3286 w 10577"/>
                <a:gd name="connsiteY1715" fmla="*/ 2966 h 10000"/>
                <a:gd name="connsiteX1716" fmla="*/ 3300 w 10577"/>
                <a:gd name="connsiteY1716" fmla="*/ 2957 h 10000"/>
                <a:gd name="connsiteX1717" fmla="*/ 3309 w 10577"/>
                <a:gd name="connsiteY1717" fmla="*/ 2932 h 10000"/>
                <a:gd name="connsiteX1718" fmla="*/ 3304 w 10577"/>
                <a:gd name="connsiteY1718" fmla="*/ 2966 h 10000"/>
                <a:gd name="connsiteX1719" fmla="*/ 3309 w 10577"/>
                <a:gd name="connsiteY1719" fmla="*/ 2983 h 10000"/>
                <a:gd name="connsiteX1720" fmla="*/ 3323 w 10577"/>
                <a:gd name="connsiteY1720" fmla="*/ 2966 h 10000"/>
                <a:gd name="connsiteX1721" fmla="*/ 3323 w 10577"/>
                <a:gd name="connsiteY1721" fmla="*/ 3043 h 10000"/>
                <a:gd name="connsiteX1722" fmla="*/ 3346 w 10577"/>
                <a:gd name="connsiteY1722" fmla="*/ 3068 h 10000"/>
                <a:gd name="connsiteX1723" fmla="*/ 3346 w 10577"/>
                <a:gd name="connsiteY1723" fmla="*/ 3094 h 10000"/>
                <a:gd name="connsiteX1724" fmla="*/ 3323 w 10577"/>
                <a:gd name="connsiteY1724" fmla="*/ 3094 h 10000"/>
                <a:gd name="connsiteX1725" fmla="*/ 3309 w 10577"/>
                <a:gd name="connsiteY1725" fmla="*/ 3077 h 10000"/>
                <a:gd name="connsiteX1726" fmla="*/ 3304 w 10577"/>
                <a:gd name="connsiteY1726" fmla="*/ 3051 h 10000"/>
                <a:gd name="connsiteX1727" fmla="*/ 3300 w 10577"/>
                <a:gd name="connsiteY1727" fmla="*/ 3043 h 10000"/>
                <a:gd name="connsiteX1728" fmla="*/ 3286 w 10577"/>
                <a:gd name="connsiteY1728" fmla="*/ 3017 h 10000"/>
                <a:gd name="connsiteX1729" fmla="*/ 3152 w 10577"/>
                <a:gd name="connsiteY1729" fmla="*/ 2966 h 10000"/>
                <a:gd name="connsiteX1730" fmla="*/ 3129 w 10577"/>
                <a:gd name="connsiteY1730" fmla="*/ 2915 h 10000"/>
                <a:gd name="connsiteX1731" fmla="*/ 3129 w 10577"/>
                <a:gd name="connsiteY1731" fmla="*/ 2906 h 10000"/>
                <a:gd name="connsiteX1732" fmla="*/ 3152 w 10577"/>
                <a:gd name="connsiteY1732" fmla="*/ 2906 h 10000"/>
                <a:gd name="connsiteX1733" fmla="*/ 3152 w 10577"/>
                <a:gd name="connsiteY1733" fmla="*/ 2846 h 10000"/>
                <a:gd name="connsiteX1734" fmla="*/ 3138 w 10577"/>
                <a:gd name="connsiteY1734" fmla="*/ 2795 h 10000"/>
                <a:gd name="connsiteX1735" fmla="*/ 3138 w 10577"/>
                <a:gd name="connsiteY1735" fmla="*/ 2769 h 10000"/>
                <a:gd name="connsiteX1736" fmla="*/ 3143 w 10577"/>
                <a:gd name="connsiteY1736" fmla="*/ 2718 h 10000"/>
                <a:gd name="connsiteX1737" fmla="*/ 3129 w 10577"/>
                <a:gd name="connsiteY1737" fmla="*/ 2692 h 10000"/>
                <a:gd name="connsiteX1738" fmla="*/ 3143 w 10577"/>
                <a:gd name="connsiteY1738" fmla="*/ 2667 h 10000"/>
                <a:gd name="connsiteX1739" fmla="*/ 3157 w 10577"/>
                <a:gd name="connsiteY1739" fmla="*/ 2581 h 10000"/>
                <a:gd name="connsiteX1740" fmla="*/ 3143 w 10577"/>
                <a:gd name="connsiteY1740" fmla="*/ 2496 h 10000"/>
                <a:gd name="connsiteX1741" fmla="*/ 3157 w 10577"/>
                <a:gd name="connsiteY1741" fmla="*/ 2487 h 10000"/>
                <a:gd name="connsiteX1742" fmla="*/ 3143 w 10577"/>
                <a:gd name="connsiteY1742" fmla="*/ 2444 h 10000"/>
                <a:gd name="connsiteX1743" fmla="*/ 3143 w 10577"/>
                <a:gd name="connsiteY1743" fmla="*/ 2419 h 10000"/>
                <a:gd name="connsiteX1744" fmla="*/ 3143 w 10577"/>
                <a:gd name="connsiteY1744" fmla="*/ 2410 h 10000"/>
                <a:gd name="connsiteX1745" fmla="*/ 3124 w 10577"/>
                <a:gd name="connsiteY1745" fmla="*/ 2376 h 10000"/>
                <a:gd name="connsiteX1746" fmla="*/ 3115 w 10577"/>
                <a:gd name="connsiteY1746" fmla="*/ 2350 h 10000"/>
                <a:gd name="connsiteX1747" fmla="*/ 3101 w 10577"/>
                <a:gd name="connsiteY1747" fmla="*/ 2359 h 10000"/>
                <a:gd name="connsiteX1748" fmla="*/ 3115 w 10577"/>
                <a:gd name="connsiteY1748" fmla="*/ 2581 h 10000"/>
                <a:gd name="connsiteX1749" fmla="*/ 3111 w 10577"/>
                <a:gd name="connsiteY1749" fmla="*/ 2624 h 10000"/>
                <a:gd name="connsiteX1750" fmla="*/ 3009 w 10577"/>
                <a:gd name="connsiteY1750" fmla="*/ 2761 h 10000"/>
                <a:gd name="connsiteX1751" fmla="*/ 3009 w 10577"/>
                <a:gd name="connsiteY1751" fmla="*/ 2803 h 10000"/>
                <a:gd name="connsiteX1752" fmla="*/ 3005 w 10577"/>
                <a:gd name="connsiteY1752" fmla="*/ 2829 h 10000"/>
                <a:gd name="connsiteX1753" fmla="*/ 2982 w 10577"/>
                <a:gd name="connsiteY1753" fmla="*/ 2872 h 10000"/>
                <a:gd name="connsiteX1754" fmla="*/ 2982 w 10577"/>
                <a:gd name="connsiteY1754" fmla="*/ 2880 h 10000"/>
                <a:gd name="connsiteX1755" fmla="*/ 3037 w 10577"/>
                <a:gd name="connsiteY1755" fmla="*/ 3034 h 10000"/>
                <a:gd name="connsiteX1756" fmla="*/ 3041 w 10577"/>
                <a:gd name="connsiteY1756" fmla="*/ 3103 h 10000"/>
                <a:gd name="connsiteX1757" fmla="*/ 3069 w 10577"/>
                <a:gd name="connsiteY1757" fmla="*/ 3188 h 10000"/>
                <a:gd name="connsiteX1758" fmla="*/ 3055 w 10577"/>
                <a:gd name="connsiteY1758" fmla="*/ 3325 h 10000"/>
                <a:gd name="connsiteX1759" fmla="*/ 3037 w 10577"/>
                <a:gd name="connsiteY1759" fmla="*/ 3368 h 10000"/>
                <a:gd name="connsiteX1760" fmla="*/ 3037 w 10577"/>
                <a:gd name="connsiteY1760" fmla="*/ 3444 h 10000"/>
                <a:gd name="connsiteX1761" fmla="*/ 3028 w 10577"/>
                <a:gd name="connsiteY1761" fmla="*/ 3453 h 10000"/>
                <a:gd name="connsiteX1762" fmla="*/ 3023 w 10577"/>
                <a:gd name="connsiteY1762" fmla="*/ 3530 h 10000"/>
                <a:gd name="connsiteX1763" fmla="*/ 3051 w 10577"/>
                <a:gd name="connsiteY1763" fmla="*/ 3624 h 10000"/>
                <a:gd name="connsiteX1764" fmla="*/ 3037 w 10577"/>
                <a:gd name="connsiteY1764" fmla="*/ 3718 h 10000"/>
                <a:gd name="connsiteX1765" fmla="*/ 3041 w 10577"/>
                <a:gd name="connsiteY1765" fmla="*/ 3752 h 10000"/>
                <a:gd name="connsiteX1766" fmla="*/ 3055 w 10577"/>
                <a:gd name="connsiteY1766" fmla="*/ 3761 h 10000"/>
                <a:gd name="connsiteX1767" fmla="*/ 3078 w 10577"/>
                <a:gd name="connsiteY1767" fmla="*/ 3752 h 10000"/>
                <a:gd name="connsiteX1768" fmla="*/ 3092 w 10577"/>
                <a:gd name="connsiteY1768" fmla="*/ 3752 h 10000"/>
                <a:gd name="connsiteX1769" fmla="*/ 3129 w 10577"/>
                <a:gd name="connsiteY1769" fmla="*/ 3761 h 10000"/>
                <a:gd name="connsiteX1770" fmla="*/ 3129 w 10577"/>
                <a:gd name="connsiteY1770" fmla="*/ 3735 h 10000"/>
                <a:gd name="connsiteX1771" fmla="*/ 3157 w 10577"/>
                <a:gd name="connsiteY1771" fmla="*/ 3718 h 10000"/>
                <a:gd name="connsiteX1772" fmla="*/ 3184 w 10577"/>
                <a:gd name="connsiteY1772" fmla="*/ 3718 h 10000"/>
                <a:gd name="connsiteX1773" fmla="*/ 3290 w 10577"/>
                <a:gd name="connsiteY1773" fmla="*/ 3838 h 10000"/>
                <a:gd name="connsiteX1774" fmla="*/ 3300 w 10577"/>
                <a:gd name="connsiteY1774" fmla="*/ 3846 h 10000"/>
                <a:gd name="connsiteX1775" fmla="*/ 3300 w 10577"/>
                <a:gd name="connsiteY1775" fmla="*/ 3915 h 10000"/>
                <a:gd name="connsiteX1776" fmla="*/ 3318 w 10577"/>
                <a:gd name="connsiteY1776" fmla="*/ 4000 h 10000"/>
                <a:gd name="connsiteX1777" fmla="*/ 3323 w 10577"/>
                <a:gd name="connsiteY1777" fmla="*/ 4000 h 10000"/>
                <a:gd name="connsiteX1778" fmla="*/ 3323 w 10577"/>
                <a:gd name="connsiteY1778" fmla="*/ 4034 h 10000"/>
                <a:gd name="connsiteX1779" fmla="*/ 3318 w 10577"/>
                <a:gd name="connsiteY1779" fmla="*/ 4051 h 10000"/>
                <a:gd name="connsiteX1780" fmla="*/ 3300 w 10577"/>
                <a:gd name="connsiteY1780" fmla="*/ 4051 h 10000"/>
                <a:gd name="connsiteX1781" fmla="*/ 3290 w 10577"/>
                <a:gd name="connsiteY1781" fmla="*/ 4077 h 10000"/>
                <a:gd name="connsiteX1782" fmla="*/ 3286 w 10577"/>
                <a:gd name="connsiteY1782" fmla="*/ 4103 h 10000"/>
                <a:gd name="connsiteX1783" fmla="*/ 3286 w 10577"/>
                <a:gd name="connsiteY1783" fmla="*/ 4197 h 10000"/>
                <a:gd name="connsiteX1784" fmla="*/ 3290 w 10577"/>
                <a:gd name="connsiteY1784" fmla="*/ 4214 h 10000"/>
                <a:gd name="connsiteX1785" fmla="*/ 3304 w 10577"/>
                <a:gd name="connsiteY1785" fmla="*/ 4214 h 10000"/>
                <a:gd name="connsiteX1786" fmla="*/ 3323 w 10577"/>
                <a:gd name="connsiteY1786" fmla="*/ 4239 h 10000"/>
                <a:gd name="connsiteX1787" fmla="*/ 3350 w 10577"/>
                <a:gd name="connsiteY1787" fmla="*/ 4222 h 10000"/>
                <a:gd name="connsiteX1788" fmla="*/ 3369 w 10577"/>
                <a:gd name="connsiteY1788" fmla="*/ 4256 h 10000"/>
                <a:gd name="connsiteX1789" fmla="*/ 3369 w 10577"/>
                <a:gd name="connsiteY1789" fmla="*/ 4256 h 10000"/>
                <a:gd name="connsiteX1790" fmla="*/ 3336 w 10577"/>
                <a:gd name="connsiteY1790" fmla="*/ 4274 h 10000"/>
                <a:gd name="connsiteX1791" fmla="*/ 3323 w 10577"/>
                <a:gd name="connsiteY1791" fmla="*/ 4274 h 10000"/>
                <a:gd name="connsiteX1792" fmla="*/ 3290 w 10577"/>
                <a:gd name="connsiteY1792" fmla="*/ 4274 h 10000"/>
                <a:gd name="connsiteX1793" fmla="*/ 3286 w 10577"/>
                <a:gd name="connsiteY1793" fmla="*/ 4239 h 10000"/>
                <a:gd name="connsiteX1794" fmla="*/ 3263 w 10577"/>
                <a:gd name="connsiteY1794" fmla="*/ 4214 h 10000"/>
                <a:gd name="connsiteX1795" fmla="*/ 3258 w 10577"/>
                <a:gd name="connsiteY1795" fmla="*/ 4188 h 10000"/>
                <a:gd name="connsiteX1796" fmla="*/ 3263 w 10577"/>
                <a:gd name="connsiteY1796" fmla="*/ 4171 h 10000"/>
                <a:gd name="connsiteX1797" fmla="*/ 3263 w 10577"/>
                <a:gd name="connsiteY1797" fmla="*/ 4103 h 10000"/>
                <a:gd name="connsiteX1798" fmla="*/ 3276 w 10577"/>
                <a:gd name="connsiteY1798" fmla="*/ 4060 h 10000"/>
                <a:gd name="connsiteX1799" fmla="*/ 3272 w 10577"/>
                <a:gd name="connsiteY1799" fmla="*/ 4051 h 10000"/>
                <a:gd name="connsiteX1800" fmla="*/ 3263 w 10577"/>
                <a:gd name="connsiteY1800" fmla="*/ 4051 h 10000"/>
                <a:gd name="connsiteX1801" fmla="*/ 3263 w 10577"/>
                <a:gd name="connsiteY1801" fmla="*/ 4034 h 10000"/>
                <a:gd name="connsiteX1802" fmla="*/ 3263 w 10577"/>
                <a:gd name="connsiteY1802" fmla="*/ 4000 h 10000"/>
                <a:gd name="connsiteX1803" fmla="*/ 3272 w 10577"/>
                <a:gd name="connsiteY1803" fmla="*/ 4000 h 10000"/>
                <a:gd name="connsiteX1804" fmla="*/ 3272 w 10577"/>
                <a:gd name="connsiteY1804" fmla="*/ 3974 h 10000"/>
                <a:gd name="connsiteX1805" fmla="*/ 3272 w 10577"/>
                <a:gd name="connsiteY1805" fmla="*/ 3966 h 10000"/>
                <a:gd name="connsiteX1806" fmla="*/ 3272 w 10577"/>
                <a:gd name="connsiteY1806" fmla="*/ 3949 h 10000"/>
                <a:gd name="connsiteX1807" fmla="*/ 3258 w 10577"/>
                <a:gd name="connsiteY1807" fmla="*/ 3923 h 10000"/>
                <a:gd name="connsiteX1808" fmla="*/ 3249 w 10577"/>
                <a:gd name="connsiteY1808" fmla="*/ 3915 h 10000"/>
                <a:gd name="connsiteX1809" fmla="*/ 3244 w 10577"/>
                <a:gd name="connsiteY1809" fmla="*/ 3897 h 10000"/>
                <a:gd name="connsiteX1810" fmla="*/ 3230 w 10577"/>
                <a:gd name="connsiteY1810" fmla="*/ 3889 h 10000"/>
                <a:gd name="connsiteX1811" fmla="*/ 3230 w 10577"/>
                <a:gd name="connsiteY1811" fmla="*/ 3863 h 10000"/>
                <a:gd name="connsiteX1812" fmla="*/ 3230 w 10577"/>
                <a:gd name="connsiteY1812" fmla="*/ 3838 h 10000"/>
                <a:gd name="connsiteX1813" fmla="*/ 3226 w 10577"/>
                <a:gd name="connsiteY1813" fmla="*/ 3803 h 10000"/>
                <a:gd name="connsiteX1814" fmla="*/ 3138 w 10577"/>
                <a:gd name="connsiteY1814" fmla="*/ 3838 h 10000"/>
                <a:gd name="connsiteX1815" fmla="*/ 3078 w 10577"/>
                <a:gd name="connsiteY1815" fmla="*/ 3889 h 10000"/>
                <a:gd name="connsiteX1816" fmla="*/ 3078 w 10577"/>
                <a:gd name="connsiteY1816" fmla="*/ 3940 h 10000"/>
                <a:gd name="connsiteX1817" fmla="*/ 3069 w 10577"/>
                <a:gd name="connsiteY1817" fmla="*/ 3983 h 10000"/>
                <a:gd name="connsiteX1818" fmla="*/ 3069 w 10577"/>
                <a:gd name="connsiteY1818" fmla="*/ 4009 h 10000"/>
                <a:gd name="connsiteX1819" fmla="*/ 3078 w 10577"/>
                <a:gd name="connsiteY1819" fmla="*/ 4026 h 10000"/>
                <a:gd name="connsiteX1820" fmla="*/ 3083 w 10577"/>
                <a:gd name="connsiteY1820" fmla="*/ 4034 h 10000"/>
                <a:gd name="connsiteX1821" fmla="*/ 3092 w 10577"/>
                <a:gd name="connsiteY1821" fmla="*/ 4060 h 10000"/>
                <a:gd name="connsiteX1822" fmla="*/ 3092 w 10577"/>
                <a:gd name="connsiteY1822" fmla="*/ 4077 h 10000"/>
                <a:gd name="connsiteX1823" fmla="*/ 3097 w 10577"/>
                <a:gd name="connsiteY1823" fmla="*/ 4103 h 10000"/>
                <a:gd name="connsiteX1824" fmla="*/ 3101 w 10577"/>
                <a:gd name="connsiteY1824" fmla="*/ 4162 h 10000"/>
                <a:gd name="connsiteX1825" fmla="*/ 3097 w 10577"/>
                <a:gd name="connsiteY1825" fmla="*/ 4222 h 10000"/>
                <a:gd name="connsiteX1826" fmla="*/ 3041 w 10577"/>
                <a:gd name="connsiteY1826" fmla="*/ 4325 h 10000"/>
                <a:gd name="connsiteX1827" fmla="*/ 3037 w 10577"/>
                <a:gd name="connsiteY1827" fmla="*/ 4419 h 10000"/>
                <a:gd name="connsiteX1828" fmla="*/ 3018 w 10577"/>
                <a:gd name="connsiteY1828" fmla="*/ 4470 h 10000"/>
                <a:gd name="connsiteX1829" fmla="*/ 2991 w 10577"/>
                <a:gd name="connsiteY1829" fmla="*/ 4513 h 10000"/>
                <a:gd name="connsiteX1830" fmla="*/ 2977 w 10577"/>
                <a:gd name="connsiteY1830" fmla="*/ 4530 h 10000"/>
                <a:gd name="connsiteX1831" fmla="*/ 2945 w 10577"/>
                <a:gd name="connsiteY1831" fmla="*/ 4556 h 10000"/>
                <a:gd name="connsiteX1832" fmla="*/ 2935 w 10577"/>
                <a:gd name="connsiteY1832" fmla="*/ 4581 h 10000"/>
                <a:gd name="connsiteX1833" fmla="*/ 2949 w 10577"/>
                <a:gd name="connsiteY1833" fmla="*/ 4624 h 10000"/>
                <a:gd name="connsiteX1834" fmla="*/ 2945 w 10577"/>
                <a:gd name="connsiteY1834" fmla="*/ 4658 h 10000"/>
                <a:gd name="connsiteX1835" fmla="*/ 2922 w 10577"/>
                <a:gd name="connsiteY1835" fmla="*/ 4667 h 10000"/>
                <a:gd name="connsiteX1836" fmla="*/ 2876 w 10577"/>
                <a:gd name="connsiteY1836" fmla="*/ 4632 h 10000"/>
                <a:gd name="connsiteX1837" fmla="*/ 2857 w 10577"/>
                <a:gd name="connsiteY1837" fmla="*/ 4632 h 10000"/>
                <a:gd name="connsiteX1838" fmla="*/ 2820 w 10577"/>
                <a:gd name="connsiteY1838" fmla="*/ 4641 h 10000"/>
                <a:gd name="connsiteX1839" fmla="*/ 2797 w 10577"/>
                <a:gd name="connsiteY1839" fmla="*/ 4632 h 10000"/>
                <a:gd name="connsiteX1840" fmla="*/ 2788 w 10577"/>
                <a:gd name="connsiteY1840" fmla="*/ 4624 h 10000"/>
                <a:gd name="connsiteX1841" fmla="*/ 2788 w 10577"/>
                <a:gd name="connsiteY1841" fmla="*/ 4598 h 10000"/>
                <a:gd name="connsiteX1842" fmla="*/ 2797 w 10577"/>
                <a:gd name="connsiteY1842" fmla="*/ 4581 h 10000"/>
                <a:gd name="connsiteX1843" fmla="*/ 2788 w 10577"/>
                <a:gd name="connsiteY1843" fmla="*/ 4530 h 10000"/>
                <a:gd name="connsiteX1844" fmla="*/ 2774 w 10577"/>
                <a:gd name="connsiteY1844" fmla="*/ 4530 h 10000"/>
                <a:gd name="connsiteX1845" fmla="*/ 2770 w 10577"/>
                <a:gd name="connsiteY1845" fmla="*/ 4513 h 10000"/>
                <a:gd name="connsiteX1846" fmla="*/ 2774 w 10577"/>
                <a:gd name="connsiteY1846" fmla="*/ 4513 h 10000"/>
                <a:gd name="connsiteX1847" fmla="*/ 2788 w 10577"/>
                <a:gd name="connsiteY1847" fmla="*/ 4496 h 10000"/>
                <a:gd name="connsiteX1848" fmla="*/ 2802 w 10577"/>
                <a:gd name="connsiteY1848" fmla="*/ 4513 h 10000"/>
                <a:gd name="connsiteX1849" fmla="*/ 2811 w 10577"/>
                <a:gd name="connsiteY1849" fmla="*/ 4530 h 10000"/>
                <a:gd name="connsiteX1850" fmla="*/ 2820 w 10577"/>
                <a:gd name="connsiteY1850" fmla="*/ 4521 h 10000"/>
                <a:gd name="connsiteX1851" fmla="*/ 2829 w 10577"/>
                <a:gd name="connsiteY1851" fmla="*/ 4513 h 10000"/>
                <a:gd name="connsiteX1852" fmla="*/ 2843 w 10577"/>
                <a:gd name="connsiteY1852" fmla="*/ 4513 h 10000"/>
                <a:gd name="connsiteX1853" fmla="*/ 2848 w 10577"/>
                <a:gd name="connsiteY1853" fmla="*/ 4470 h 10000"/>
                <a:gd name="connsiteX1854" fmla="*/ 2862 w 10577"/>
                <a:gd name="connsiteY1854" fmla="*/ 4487 h 10000"/>
                <a:gd name="connsiteX1855" fmla="*/ 2876 w 10577"/>
                <a:gd name="connsiteY1855" fmla="*/ 4470 h 10000"/>
                <a:gd name="connsiteX1856" fmla="*/ 2880 w 10577"/>
                <a:gd name="connsiteY1856" fmla="*/ 4462 h 10000"/>
                <a:gd name="connsiteX1857" fmla="*/ 2889 w 10577"/>
                <a:gd name="connsiteY1857" fmla="*/ 4444 h 10000"/>
                <a:gd name="connsiteX1858" fmla="*/ 2894 w 10577"/>
                <a:gd name="connsiteY1858" fmla="*/ 4462 h 10000"/>
                <a:gd name="connsiteX1859" fmla="*/ 2917 w 10577"/>
                <a:gd name="connsiteY1859" fmla="*/ 4444 h 10000"/>
                <a:gd name="connsiteX1860" fmla="*/ 2922 w 10577"/>
                <a:gd name="connsiteY1860" fmla="*/ 4436 h 10000"/>
                <a:gd name="connsiteX1861" fmla="*/ 2917 w 10577"/>
                <a:gd name="connsiteY1861" fmla="*/ 4410 h 10000"/>
                <a:gd name="connsiteX1862" fmla="*/ 2894 w 10577"/>
                <a:gd name="connsiteY1862" fmla="*/ 4410 h 10000"/>
                <a:gd name="connsiteX1863" fmla="*/ 2889 w 10577"/>
                <a:gd name="connsiteY1863" fmla="*/ 4419 h 10000"/>
                <a:gd name="connsiteX1864" fmla="*/ 2876 w 10577"/>
                <a:gd name="connsiteY1864" fmla="*/ 4410 h 10000"/>
                <a:gd name="connsiteX1865" fmla="*/ 2880 w 10577"/>
                <a:gd name="connsiteY1865" fmla="*/ 4376 h 10000"/>
                <a:gd name="connsiteX1866" fmla="*/ 2903 w 10577"/>
                <a:gd name="connsiteY1866" fmla="*/ 4393 h 10000"/>
                <a:gd name="connsiteX1867" fmla="*/ 2931 w 10577"/>
                <a:gd name="connsiteY1867" fmla="*/ 4393 h 10000"/>
                <a:gd name="connsiteX1868" fmla="*/ 2931 w 10577"/>
                <a:gd name="connsiteY1868" fmla="*/ 4385 h 10000"/>
                <a:gd name="connsiteX1869" fmla="*/ 2931 w 10577"/>
                <a:gd name="connsiteY1869" fmla="*/ 4350 h 10000"/>
                <a:gd name="connsiteX1870" fmla="*/ 2945 w 10577"/>
                <a:gd name="connsiteY1870" fmla="*/ 4350 h 10000"/>
                <a:gd name="connsiteX1871" fmla="*/ 2949 w 10577"/>
                <a:gd name="connsiteY1871" fmla="*/ 4325 h 10000"/>
                <a:gd name="connsiteX1872" fmla="*/ 2963 w 10577"/>
                <a:gd name="connsiteY1872" fmla="*/ 4256 h 10000"/>
                <a:gd name="connsiteX1873" fmla="*/ 2982 w 10577"/>
                <a:gd name="connsiteY1873" fmla="*/ 4239 h 10000"/>
                <a:gd name="connsiteX1874" fmla="*/ 2991 w 10577"/>
                <a:gd name="connsiteY1874" fmla="*/ 4214 h 10000"/>
                <a:gd name="connsiteX1875" fmla="*/ 2991 w 10577"/>
                <a:gd name="connsiteY1875" fmla="*/ 4197 h 10000"/>
                <a:gd name="connsiteX1876" fmla="*/ 2995 w 10577"/>
                <a:gd name="connsiteY1876" fmla="*/ 4171 h 10000"/>
                <a:gd name="connsiteX1877" fmla="*/ 2991 w 10577"/>
                <a:gd name="connsiteY1877" fmla="*/ 4077 h 10000"/>
                <a:gd name="connsiteX1878" fmla="*/ 2995 w 10577"/>
                <a:gd name="connsiteY1878" fmla="*/ 4034 h 10000"/>
                <a:gd name="connsiteX1879" fmla="*/ 3018 w 10577"/>
                <a:gd name="connsiteY1879" fmla="*/ 3983 h 10000"/>
                <a:gd name="connsiteX1880" fmla="*/ 3018 w 10577"/>
                <a:gd name="connsiteY1880" fmla="*/ 3915 h 10000"/>
                <a:gd name="connsiteX1881" fmla="*/ 2949 w 10577"/>
                <a:gd name="connsiteY1881" fmla="*/ 3778 h 10000"/>
                <a:gd name="connsiteX1882" fmla="*/ 2954 w 10577"/>
                <a:gd name="connsiteY1882" fmla="*/ 3675 h 10000"/>
                <a:gd name="connsiteX1883" fmla="*/ 2954 w 10577"/>
                <a:gd name="connsiteY1883" fmla="*/ 3650 h 10000"/>
                <a:gd name="connsiteX1884" fmla="*/ 2963 w 10577"/>
                <a:gd name="connsiteY1884" fmla="*/ 3624 h 10000"/>
                <a:gd name="connsiteX1885" fmla="*/ 2954 w 10577"/>
                <a:gd name="connsiteY1885" fmla="*/ 3564 h 10000"/>
                <a:gd name="connsiteX1886" fmla="*/ 2963 w 10577"/>
                <a:gd name="connsiteY1886" fmla="*/ 3538 h 10000"/>
                <a:gd name="connsiteX1887" fmla="*/ 2963 w 10577"/>
                <a:gd name="connsiteY1887" fmla="*/ 3487 h 10000"/>
                <a:gd name="connsiteX1888" fmla="*/ 2963 w 10577"/>
                <a:gd name="connsiteY1888" fmla="*/ 3479 h 10000"/>
                <a:gd name="connsiteX1889" fmla="*/ 2963 w 10577"/>
                <a:gd name="connsiteY1889" fmla="*/ 3462 h 10000"/>
                <a:gd name="connsiteX1890" fmla="*/ 2954 w 10577"/>
                <a:gd name="connsiteY1890" fmla="*/ 3453 h 10000"/>
                <a:gd name="connsiteX1891" fmla="*/ 2954 w 10577"/>
                <a:gd name="connsiteY1891" fmla="*/ 3444 h 10000"/>
                <a:gd name="connsiteX1892" fmla="*/ 2954 w 10577"/>
                <a:gd name="connsiteY1892" fmla="*/ 3402 h 10000"/>
                <a:gd name="connsiteX1893" fmla="*/ 2954 w 10577"/>
                <a:gd name="connsiteY1893" fmla="*/ 3393 h 10000"/>
                <a:gd name="connsiteX1894" fmla="*/ 2949 w 10577"/>
                <a:gd name="connsiteY1894" fmla="*/ 3376 h 10000"/>
                <a:gd name="connsiteX1895" fmla="*/ 2949 w 10577"/>
                <a:gd name="connsiteY1895" fmla="*/ 3342 h 10000"/>
                <a:gd name="connsiteX1896" fmla="*/ 2949 w 10577"/>
                <a:gd name="connsiteY1896" fmla="*/ 3316 h 10000"/>
                <a:gd name="connsiteX1897" fmla="*/ 2968 w 10577"/>
                <a:gd name="connsiteY1897" fmla="*/ 3291 h 10000"/>
                <a:gd name="connsiteX1898" fmla="*/ 2963 w 10577"/>
                <a:gd name="connsiteY1898" fmla="*/ 3205 h 10000"/>
                <a:gd name="connsiteX1899" fmla="*/ 2968 w 10577"/>
                <a:gd name="connsiteY1899" fmla="*/ 3171 h 10000"/>
                <a:gd name="connsiteX1900" fmla="*/ 2968 w 10577"/>
                <a:gd name="connsiteY1900" fmla="*/ 3128 h 10000"/>
                <a:gd name="connsiteX1901" fmla="*/ 2954 w 10577"/>
                <a:gd name="connsiteY1901" fmla="*/ 3051 h 10000"/>
                <a:gd name="connsiteX1902" fmla="*/ 2954 w 10577"/>
                <a:gd name="connsiteY1902" fmla="*/ 3009 h 10000"/>
                <a:gd name="connsiteX1903" fmla="*/ 2922 w 10577"/>
                <a:gd name="connsiteY1903" fmla="*/ 2940 h 10000"/>
                <a:gd name="connsiteX1904" fmla="*/ 2903 w 10577"/>
                <a:gd name="connsiteY1904" fmla="*/ 2880 h 10000"/>
                <a:gd name="connsiteX1905" fmla="*/ 2903 w 10577"/>
                <a:gd name="connsiteY1905" fmla="*/ 2855 h 10000"/>
                <a:gd name="connsiteX1906" fmla="*/ 2908 w 10577"/>
                <a:gd name="connsiteY1906" fmla="*/ 2846 h 10000"/>
                <a:gd name="connsiteX1907" fmla="*/ 2931 w 10577"/>
                <a:gd name="connsiteY1907" fmla="*/ 2821 h 10000"/>
                <a:gd name="connsiteX1908" fmla="*/ 2931 w 10577"/>
                <a:gd name="connsiteY1908" fmla="*/ 2803 h 10000"/>
                <a:gd name="connsiteX1909" fmla="*/ 2935 w 10577"/>
                <a:gd name="connsiteY1909" fmla="*/ 2786 h 10000"/>
                <a:gd name="connsiteX1910" fmla="*/ 2935 w 10577"/>
                <a:gd name="connsiteY1910" fmla="*/ 2744 h 10000"/>
                <a:gd name="connsiteX1911" fmla="*/ 2963 w 10577"/>
                <a:gd name="connsiteY1911" fmla="*/ 2607 h 10000"/>
                <a:gd name="connsiteX1912" fmla="*/ 2963 w 10577"/>
                <a:gd name="connsiteY1912" fmla="*/ 2419 h 10000"/>
                <a:gd name="connsiteX1913" fmla="*/ 2954 w 10577"/>
                <a:gd name="connsiteY1913" fmla="*/ 2410 h 10000"/>
                <a:gd name="connsiteX1914" fmla="*/ 2963 w 10577"/>
                <a:gd name="connsiteY1914" fmla="*/ 2393 h 10000"/>
                <a:gd name="connsiteX1915" fmla="*/ 2908 w 10577"/>
                <a:gd name="connsiteY1915" fmla="*/ 2359 h 10000"/>
                <a:gd name="connsiteX1916" fmla="*/ 2889 w 10577"/>
                <a:gd name="connsiteY1916" fmla="*/ 2325 h 10000"/>
                <a:gd name="connsiteX1917" fmla="*/ 2788 w 10577"/>
                <a:gd name="connsiteY1917" fmla="*/ 2333 h 10000"/>
                <a:gd name="connsiteX1918" fmla="*/ 2774 w 10577"/>
                <a:gd name="connsiteY1918" fmla="*/ 2325 h 10000"/>
                <a:gd name="connsiteX1919" fmla="*/ 2783 w 10577"/>
                <a:gd name="connsiteY1919" fmla="*/ 2308 h 10000"/>
                <a:gd name="connsiteX1920" fmla="*/ 2747 w 10577"/>
                <a:gd name="connsiteY1920" fmla="*/ 2308 h 10000"/>
                <a:gd name="connsiteX1921" fmla="*/ 2742 w 10577"/>
                <a:gd name="connsiteY1921" fmla="*/ 2333 h 10000"/>
                <a:gd name="connsiteX1922" fmla="*/ 2682 w 10577"/>
                <a:gd name="connsiteY1922" fmla="*/ 2769 h 10000"/>
                <a:gd name="connsiteX1923" fmla="*/ 2613 w 10577"/>
                <a:gd name="connsiteY1923" fmla="*/ 2940 h 10000"/>
                <a:gd name="connsiteX1924" fmla="*/ 2581 w 10577"/>
                <a:gd name="connsiteY1924" fmla="*/ 2966 h 10000"/>
                <a:gd name="connsiteX1925" fmla="*/ 2576 w 10577"/>
                <a:gd name="connsiteY1925" fmla="*/ 3051 h 10000"/>
                <a:gd name="connsiteX1926" fmla="*/ 2581 w 10577"/>
                <a:gd name="connsiteY1926" fmla="*/ 3051 h 10000"/>
                <a:gd name="connsiteX1927" fmla="*/ 2594 w 10577"/>
                <a:gd name="connsiteY1927" fmla="*/ 3017 h 10000"/>
                <a:gd name="connsiteX1928" fmla="*/ 2594 w 10577"/>
                <a:gd name="connsiteY1928" fmla="*/ 3034 h 10000"/>
                <a:gd name="connsiteX1929" fmla="*/ 2594 w 10577"/>
                <a:gd name="connsiteY1929" fmla="*/ 3051 h 10000"/>
                <a:gd name="connsiteX1930" fmla="*/ 2590 w 10577"/>
                <a:gd name="connsiteY1930" fmla="*/ 3077 h 10000"/>
                <a:gd name="connsiteX1931" fmla="*/ 2567 w 10577"/>
                <a:gd name="connsiteY1931" fmla="*/ 3103 h 10000"/>
                <a:gd name="connsiteX1932" fmla="*/ 2562 w 10577"/>
                <a:gd name="connsiteY1932" fmla="*/ 3145 h 10000"/>
                <a:gd name="connsiteX1933" fmla="*/ 2567 w 10577"/>
                <a:gd name="connsiteY1933" fmla="*/ 3179 h 10000"/>
                <a:gd name="connsiteX1934" fmla="*/ 2590 w 10577"/>
                <a:gd name="connsiteY1934" fmla="*/ 3171 h 10000"/>
                <a:gd name="connsiteX1935" fmla="*/ 2594 w 10577"/>
                <a:gd name="connsiteY1935" fmla="*/ 3145 h 10000"/>
                <a:gd name="connsiteX1936" fmla="*/ 2613 w 10577"/>
                <a:gd name="connsiteY1936" fmla="*/ 3154 h 10000"/>
                <a:gd name="connsiteX1937" fmla="*/ 2622 w 10577"/>
                <a:gd name="connsiteY1937" fmla="*/ 3179 h 10000"/>
                <a:gd name="connsiteX1938" fmla="*/ 2613 w 10577"/>
                <a:gd name="connsiteY1938" fmla="*/ 3214 h 10000"/>
                <a:gd name="connsiteX1939" fmla="*/ 2613 w 10577"/>
                <a:gd name="connsiteY1939" fmla="*/ 3308 h 10000"/>
                <a:gd name="connsiteX1940" fmla="*/ 2608 w 10577"/>
                <a:gd name="connsiteY1940" fmla="*/ 3325 h 10000"/>
                <a:gd name="connsiteX1941" fmla="*/ 2608 w 10577"/>
                <a:gd name="connsiteY1941" fmla="*/ 3376 h 10000"/>
                <a:gd name="connsiteX1942" fmla="*/ 2613 w 10577"/>
                <a:gd name="connsiteY1942" fmla="*/ 3419 h 10000"/>
                <a:gd name="connsiteX1943" fmla="*/ 2608 w 10577"/>
                <a:gd name="connsiteY1943" fmla="*/ 3444 h 10000"/>
                <a:gd name="connsiteX1944" fmla="*/ 2594 w 10577"/>
                <a:gd name="connsiteY1944" fmla="*/ 3444 h 10000"/>
                <a:gd name="connsiteX1945" fmla="*/ 2590 w 10577"/>
                <a:gd name="connsiteY1945" fmla="*/ 3427 h 10000"/>
                <a:gd name="connsiteX1946" fmla="*/ 2581 w 10577"/>
                <a:gd name="connsiteY1946" fmla="*/ 3564 h 10000"/>
                <a:gd name="connsiteX1947" fmla="*/ 2594 w 10577"/>
                <a:gd name="connsiteY1947" fmla="*/ 3598 h 10000"/>
                <a:gd name="connsiteX1948" fmla="*/ 2594 w 10577"/>
                <a:gd name="connsiteY1948" fmla="*/ 3581 h 10000"/>
                <a:gd name="connsiteX1949" fmla="*/ 2608 w 10577"/>
                <a:gd name="connsiteY1949" fmla="*/ 3556 h 10000"/>
                <a:gd name="connsiteX1950" fmla="*/ 2650 w 10577"/>
                <a:gd name="connsiteY1950" fmla="*/ 3615 h 10000"/>
                <a:gd name="connsiteX1951" fmla="*/ 2664 w 10577"/>
                <a:gd name="connsiteY1951" fmla="*/ 3615 h 10000"/>
                <a:gd name="connsiteX1952" fmla="*/ 2668 w 10577"/>
                <a:gd name="connsiteY1952" fmla="*/ 3615 h 10000"/>
                <a:gd name="connsiteX1953" fmla="*/ 2664 w 10577"/>
                <a:gd name="connsiteY1953" fmla="*/ 3667 h 10000"/>
                <a:gd name="connsiteX1954" fmla="*/ 2687 w 10577"/>
                <a:gd name="connsiteY1954" fmla="*/ 3786 h 10000"/>
                <a:gd name="connsiteX1955" fmla="*/ 2710 w 10577"/>
                <a:gd name="connsiteY1955" fmla="*/ 3812 h 10000"/>
                <a:gd name="connsiteX1956" fmla="*/ 2724 w 10577"/>
                <a:gd name="connsiteY1956" fmla="*/ 3812 h 10000"/>
                <a:gd name="connsiteX1957" fmla="*/ 2724 w 10577"/>
                <a:gd name="connsiteY1957" fmla="*/ 3829 h 10000"/>
                <a:gd name="connsiteX1958" fmla="*/ 2737 w 10577"/>
                <a:gd name="connsiteY1958" fmla="*/ 3838 h 10000"/>
                <a:gd name="connsiteX1959" fmla="*/ 2714 w 10577"/>
                <a:gd name="connsiteY1959" fmla="*/ 3872 h 10000"/>
                <a:gd name="connsiteX1960" fmla="*/ 2696 w 10577"/>
                <a:gd name="connsiteY1960" fmla="*/ 4026 h 10000"/>
                <a:gd name="connsiteX1961" fmla="*/ 2673 w 10577"/>
                <a:gd name="connsiteY1961" fmla="*/ 4051 h 10000"/>
                <a:gd name="connsiteX1962" fmla="*/ 2668 w 10577"/>
                <a:gd name="connsiteY1962" fmla="*/ 4034 h 10000"/>
                <a:gd name="connsiteX1963" fmla="*/ 2673 w 10577"/>
                <a:gd name="connsiteY1963" fmla="*/ 4000 h 10000"/>
                <a:gd name="connsiteX1964" fmla="*/ 2664 w 10577"/>
                <a:gd name="connsiteY1964" fmla="*/ 3974 h 10000"/>
                <a:gd name="connsiteX1965" fmla="*/ 2636 w 10577"/>
                <a:gd name="connsiteY1965" fmla="*/ 3949 h 10000"/>
                <a:gd name="connsiteX1966" fmla="*/ 2581 w 10577"/>
                <a:gd name="connsiteY1966" fmla="*/ 3838 h 10000"/>
                <a:gd name="connsiteX1967" fmla="*/ 2562 w 10577"/>
                <a:gd name="connsiteY1967" fmla="*/ 3829 h 10000"/>
                <a:gd name="connsiteX1968" fmla="*/ 2535 w 10577"/>
                <a:gd name="connsiteY1968" fmla="*/ 3778 h 10000"/>
                <a:gd name="connsiteX1969" fmla="*/ 2502 w 10577"/>
                <a:gd name="connsiteY1969" fmla="*/ 3761 h 10000"/>
                <a:gd name="connsiteX1970" fmla="*/ 2502 w 10577"/>
                <a:gd name="connsiteY1970" fmla="*/ 3735 h 10000"/>
                <a:gd name="connsiteX1971" fmla="*/ 2516 w 10577"/>
                <a:gd name="connsiteY1971" fmla="*/ 3735 h 10000"/>
                <a:gd name="connsiteX1972" fmla="*/ 2507 w 10577"/>
                <a:gd name="connsiteY1972" fmla="*/ 3726 h 10000"/>
                <a:gd name="connsiteX1973" fmla="*/ 2488 w 10577"/>
                <a:gd name="connsiteY1973" fmla="*/ 3726 h 10000"/>
                <a:gd name="connsiteX1974" fmla="*/ 2461 w 10577"/>
                <a:gd name="connsiteY1974" fmla="*/ 3692 h 10000"/>
                <a:gd name="connsiteX1975" fmla="*/ 2442 w 10577"/>
                <a:gd name="connsiteY1975" fmla="*/ 3675 h 10000"/>
                <a:gd name="connsiteX1976" fmla="*/ 2406 w 10577"/>
                <a:gd name="connsiteY1976" fmla="*/ 3598 h 10000"/>
                <a:gd name="connsiteX1977" fmla="*/ 2346 w 10577"/>
                <a:gd name="connsiteY1977" fmla="*/ 3564 h 10000"/>
                <a:gd name="connsiteX1978" fmla="*/ 2341 w 10577"/>
                <a:gd name="connsiteY1978" fmla="*/ 3564 h 10000"/>
                <a:gd name="connsiteX1979" fmla="*/ 2313 w 10577"/>
                <a:gd name="connsiteY1979" fmla="*/ 3530 h 10000"/>
                <a:gd name="connsiteX1980" fmla="*/ 2235 w 10577"/>
                <a:gd name="connsiteY1980" fmla="*/ 3530 h 10000"/>
                <a:gd name="connsiteX1981" fmla="*/ 2226 w 10577"/>
                <a:gd name="connsiteY1981" fmla="*/ 3513 h 10000"/>
                <a:gd name="connsiteX1982" fmla="*/ 2207 w 10577"/>
                <a:gd name="connsiteY1982" fmla="*/ 3504 h 10000"/>
                <a:gd name="connsiteX1983" fmla="*/ 2194 w 10577"/>
                <a:gd name="connsiteY1983" fmla="*/ 3504 h 10000"/>
                <a:gd name="connsiteX1984" fmla="*/ 2189 w 10577"/>
                <a:gd name="connsiteY1984" fmla="*/ 3504 h 10000"/>
                <a:gd name="connsiteX1985" fmla="*/ 2189 w 10577"/>
                <a:gd name="connsiteY1985" fmla="*/ 3530 h 10000"/>
                <a:gd name="connsiteX1986" fmla="*/ 2180 w 10577"/>
                <a:gd name="connsiteY1986" fmla="*/ 3538 h 10000"/>
                <a:gd name="connsiteX1987" fmla="*/ 2152 w 10577"/>
                <a:gd name="connsiteY1987" fmla="*/ 3581 h 10000"/>
                <a:gd name="connsiteX1988" fmla="*/ 2161 w 10577"/>
                <a:gd name="connsiteY1988" fmla="*/ 3598 h 10000"/>
                <a:gd name="connsiteX1989" fmla="*/ 2194 w 10577"/>
                <a:gd name="connsiteY1989" fmla="*/ 3752 h 10000"/>
                <a:gd name="connsiteX1990" fmla="*/ 2194 w 10577"/>
                <a:gd name="connsiteY1990" fmla="*/ 3735 h 10000"/>
                <a:gd name="connsiteX1991" fmla="*/ 2198 w 10577"/>
                <a:gd name="connsiteY1991" fmla="*/ 3735 h 10000"/>
                <a:gd name="connsiteX1992" fmla="*/ 2189 w 10577"/>
                <a:gd name="connsiteY1992" fmla="*/ 3838 h 10000"/>
                <a:gd name="connsiteX1993" fmla="*/ 2166 w 10577"/>
                <a:gd name="connsiteY1993" fmla="*/ 3889 h 10000"/>
                <a:gd name="connsiteX1994" fmla="*/ 2124 w 10577"/>
                <a:gd name="connsiteY1994" fmla="*/ 3889 h 10000"/>
                <a:gd name="connsiteX1995" fmla="*/ 2124 w 10577"/>
                <a:gd name="connsiteY1995" fmla="*/ 3923 h 10000"/>
                <a:gd name="connsiteX1996" fmla="*/ 2134 w 10577"/>
                <a:gd name="connsiteY1996" fmla="*/ 3940 h 10000"/>
                <a:gd name="connsiteX1997" fmla="*/ 2134 w 10577"/>
                <a:gd name="connsiteY1997" fmla="*/ 3966 h 10000"/>
                <a:gd name="connsiteX1998" fmla="*/ 2120 w 10577"/>
                <a:gd name="connsiteY1998" fmla="*/ 4000 h 10000"/>
                <a:gd name="connsiteX1999" fmla="*/ 2106 w 10577"/>
                <a:gd name="connsiteY1999" fmla="*/ 4009 h 10000"/>
                <a:gd name="connsiteX2000" fmla="*/ 2088 w 10577"/>
                <a:gd name="connsiteY2000" fmla="*/ 4000 h 10000"/>
                <a:gd name="connsiteX2001" fmla="*/ 2074 w 10577"/>
                <a:gd name="connsiteY2001" fmla="*/ 3974 h 10000"/>
                <a:gd name="connsiteX2002" fmla="*/ 2074 w 10577"/>
                <a:gd name="connsiteY2002" fmla="*/ 3940 h 10000"/>
                <a:gd name="connsiteX2003" fmla="*/ 2078 w 10577"/>
                <a:gd name="connsiteY2003" fmla="*/ 3915 h 10000"/>
                <a:gd name="connsiteX2004" fmla="*/ 2088 w 10577"/>
                <a:gd name="connsiteY2004" fmla="*/ 3889 h 10000"/>
                <a:gd name="connsiteX2005" fmla="*/ 2101 w 10577"/>
                <a:gd name="connsiteY2005" fmla="*/ 3872 h 10000"/>
                <a:gd name="connsiteX2006" fmla="*/ 2074 w 10577"/>
                <a:gd name="connsiteY2006" fmla="*/ 3812 h 10000"/>
                <a:gd name="connsiteX2007" fmla="*/ 2074 w 10577"/>
                <a:gd name="connsiteY2007" fmla="*/ 3786 h 10000"/>
                <a:gd name="connsiteX2008" fmla="*/ 2060 w 10577"/>
                <a:gd name="connsiteY2008" fmla="*/ 3786 h 10000"/>
                <a:gd name="connsiteX2009" fmla="*/ 2014 w 10577"/>
                <a:gd name="connsiteY2009" fmla="*/ 3829 h 10000"/>
                <a:gd name="connsiteX2010" fmla="*/ 2000 w 10577"/>
                <a:gd name="connsiteY2010" fmla="*/ 3863 h 10000"/>
                <a:gd name="connsiteX2011" fmla="*/ 1986 w 10577"/>
                <a:gd name="connsiteY2011" fmla="*/ 3872 h 10000"/>
                <a:gd name="connsiteX2012" fmla="*/ 1959 w 10577"/>
                <a:gd name="connsiteY2012" fmla="*/ 3940 h 10000"/>
                <a:gd name="connsiteX2013" fmla="*/ 1945 w 10577"/>
                <a:gd name="connsiteY2013" fmla="*/ 3949 h 10000"/>
                <a:gd name="connsiteX2014" fmla="*/ 1940 w 10577"/>
                <a:gd name="connsiteY2014" fmla="*/ 3923 h 10000"/>
                <a:gd name="connsiteX2015" fmla="*/ 1917 w 10577"/>
                <a:gd name="connsiteY2015" fmla="*/ 3915 h 10000"/>
                <a:gd name="connsiteX2016" fmla="*/ 1899 w 10577"/>
                <a:gd name="connsiteY2016" fmla="*/ 3923 h 10000"/>
                <a:gd name="connsiteX2017" fmla="*/ 1880 w 10577"/>
                <a:gd name="connsiteY2017" fmla="*/ 3915 h 10000"/>
                <a:gd name="connsiteX2018" fmla="*/ 1853 w 10577"/>
                <a:gd name="connsiteY2018" fmla="*/ 3940 h 10000"/>
                <a:gd name="connsiteX2019" fmla="*/ 1839 w 10577"/>
                <a:gd name="connsiteY2019" fmla="*/ 3940 h 10000"/>
                <a:gd name="connsiteX2020" fmla="*/ 1806 w 10577"/>
                <a:gd name="connsiteY2020" fmla="*/ 3983 h 10000"/>
                <a:gd name="connsiteX2021" fmla="*/ 1806 w 10577"/>
                <a:gd name="connsiteY2021" fmla="*/ 4000 h 10000"/>
                <a:gd name="connsiteX2022" fmla="*/ 1797 w 10577"/>
                <a:gd name="connsiteY2022" fmla="*/ 4077 h 10000"/>
                <a:gd name="connsiteX2023" fmla="*/ 1783 w 10577"/>
                <a:gd name="connsiteY2023" fmla="*/ 4077 h 10000"/>
                <a:gd name="connsiteX2024" fmla="*/ 1779 w 10577"/>
                <a:gd name="connsiteY2024" fmla="*/ 4051 h 10000"/>
                <a:gd name="connsiteX2025" fmla="*/ 1765 w 10577"/>
                <a:gd name="connsiteY2025" fmla="*/ 4026 h 10000"/>
                <a:gd name="connsiteX2026" fmla="*/ 1751 w 10577"/>
                <a:gd name="connsiteY2026" fmla="*/ 4051 h 10000"/>
                <a:gd name="connsiteX2027" fmla="*/ 1737 w 10577"/>
                <a:gd name="connsiteY2027" fmla="*/ 4009 h 10000"/>
                <a:gd name="connsiteX2028" fmla="*/ 1737 w 10577"/>
                <a:gd name="connsiteY2028" fmla="*/ 3966 h 10000"/>
                <a:gd name="connsiteX2029" fmla="*/ 1733 w 10577"/>
                <a:gd name="connsiteY2029" fmla="*/ 3940 h 10000"/>
                <a:gd name="connsiteX2030" fmla="*/ 1733 w 10577"/>
                <a:gd name="connsiteY2030" fmla="*/ 3923 h 10000"/>
                <a:gd name="connsiteX2031" fmla="*/ 1747 w 10577"/>
                <a:gd name="connsiteY2031" fmla="*/ 3889 h 10000"/>
                <a:gd name="connsiteX2032" fmla="*/ 1747 w 10577"/>
                <a:gd name="connsiteY2032" fmla="*/ 3863 h 10000"/>
                <a:gd name="connsiteX2033" fmla="*/ 1737 w 10577"/>
                <a:gd name="connsiteY2033" fmla="*/ 3838 h 10000"/>
                <a:gd name="connsiteX2034" fmla="*/ 1733 w 10577"/>
                <a:gd name="connsiteY2034" fmla="*/ 3829 h 10000"/>
                <a:gd name="connsiteX2035" fmla="*/ 1733 w 10577"/>
                <a:gd name="connsiteY2035" fmla="*/ 3846 h 10000"/>
                <a:gd name="connsiteX2036" fmla="*/ 1724 w 10577"/>
                <a:gd name="connsiteY2036" fmla="*/ 3846 h 10000"/>
                <a:gd name="connsiteX2037" fmla="*/ 1724 w 10577"/>
                <a:gd name="connsiteY2037" fmla="*/ 3829 h 10000"/>
                <a:gd name="connsiteX2038" fmla="*/ 1737 w 10577"/>
                <a:gd name="connsiteY2038" fmla="*/ 3812 h 10000"/>
                <a:gd name="connsiteX2039" fmla="*/ 1765 w 10577"/>
                <a:gd name="connsiteY2039" fmla="*/ 3812 h 10000"/>
                <a:gd name="connsiteX2040" fmla="*/ 1779 w 10577"/>
                <a:gd name="connsiteY2040" fmla="*/ 3786 h 10000"/>
                <a:gd name="connsiteX2041" fmla="*/ 1779 w 10577"/>
                <a:gd name="connsiteY2041" fmla="*/ 3786 h 10000"/>
                <a:gd name="connsiteX2042" fmla="*/ 1751 w 10577"/>
                <a:gd name="connsiteY2042" fmla="*/ 3803 h 10000"/>
                <a:gd name="connsiteX2043" fmla="*/ 1747 w 10577"/>
                <a:gd name="connsiteY2043" fmla="*/ 3803 h 10000"/>
                <a:gd name="connsiteX2044" fmla="*/ 1724 w 10577"/>
                <a:gd name="connsiteY2044" fmla="*/ 3803 h 10000"/>
                <a:gd name="connsiteX2045" fmla="*/ 1700 w 10577"/>
                <a:gd name="connsiteY2045" fmla="*/ 3829 h 10000"/>
                <a:gd name="connsiteX2046" fmla="*/ 1705 w 10577"/>
                <a:gd name="connsiteY2046" fmla="*/ 3846 h 10000"/>
                <a:gd name="connsiteX2047" fmla="*/ 1691 w 10577"/>
                <a:gd name="connsiteY2047" fmla="*/ 3846 h 10000"/>
                <a:gd name="connsiteX2048" fmla="*/ 1691 w 10577"/>
                <a:gd name="connsiteY2048" fmla="*/ 3863 h 10000"/>
                <a:gd name="connsiteX2049" fmla="*/ 1691 w 10577"/>
                <a:gd name="connsiteY2049" fmla="*/ 3915 h 10000"/>
                <a:gd name="connsiteX2050" fmla="*/ 1677 w 10577"/>
                <a:gd name="connsiteY2050" fmla="*/ 3923 h 10000"/>
                <a:gd name="connsiteX2051" fmla="*/ 1673 w 10577"/>
                <a:gd name="connsiteY2051" fmla="*/ 3915 h 10000"/>
                <a:gd name="connsiteX2052" fmla="*/ 1664 w 10577"/>
                <a:gd name="connsiteY2052" fmla="*/ 3889 h 10000"/>
                <a:gd name="connsiteX2053" fmla="*/ 1673 w 10577"/>
                <a:gd name="connsiteY2053" fmla="*/ 3872 h 10000"/>
                <a:gd name="connsiteX2054" fmla="*/ 1664 w 10577"/>
                <a:gd name="connsiteY2054" fmla="*/ 3872 h 10000"/>
                <a:gd name="connsiteX2055" fmla="*/ 1636 w 10577"/>
                <a:gd name="connsiteY2055" fmla="*/ 3923 h 10000"/>
                <a:gd name="connsiteX2056" fmla="*/ 1645 w 10577"/>
                <a:gd name="connsiteY2056" fmla="*/ 3923 h 10000"/>
                <a:gd name="connsiteX2057" fmla="*/ 1650 w 10577"/>
                <a:gd name="connsiteY2057" fmla="*/ 3949 h 10000"/>
                <a:gd name="connsiteX2058" fmla="*/ 1650 w 10577"/>
                <a:gd name="connsiteY2058" fmla="*/ 3983 h 10000"/>
                <a:gd name="connsiteX2059" fmla="*/ 1636 w 10577"/>
                <a:gd name="connsiteY2059" fmla="*/ 4000 h 10000"/>
                <a:gd name="connsiteX2060" fmla="*/ 1631 w 10577"/>
                <a:gd name="connsiteY2060" fmla="*/ 4009 h 10000"/>
                <a:gd name="connsiteX2061" fmla="*/ 1618 w 10577"/>
                <a:gd name="connsiteY2061" fmla="*/ 3949 h 10000"/>
                <a:gd name="connsiteX2062" fmla="*/ 1585 w 10577"/>
                <a:gd name="connsiteY2062" fmla="*/ 3966 h 10000"/>
                <a:gd name="connsiteX2063" fmla="*/ 1590 w 10577"/>
                <a:gd name="connsiteY2063" fmla="*/ 3974 h 10000"/>
                <a:gd name="connsiteX2064" fmla="*/ 1544 w 10577"/>
                <a:gd name="connsiteY2064" fmla="*/ 4009 h 10000"/>
                <a:gd name="connsiteX2065" fmla="*/ 1539 w 10577"/>
                <a:gd name="connsiteY2065" fmla="*/ 4009 h 10000"/>
                <a:gd name="connsiteX2066" fmla="*/ 1410 w 10577"/>
                <a:gd name="connsiteY2066" fmla="*/ 4188 h 10000"/>
                <a:gd name="connsiteX2067" fmla="*/ 1406 w 10577"/>
                <a:gd name="connsiteY2067" fmla="*/ 4171 h 10000"/>
                <a:gd name="connsiteX2068" fmla="*/ 1396 w 10577"/>
                <a:gd name="connsiteY2068" fmla="*/ 4214 h 10000"/>
                <a:gd name="connsiteX2069" fmla="*/ 1406 w 10577"/>
                <a:gd name="connsiteY2069" fmla="*/ 4222 h 10000"/>
                <a:gd name="connsiteX2070" fmla="*/ 1392 w 10577"/>
                <a:gd name="connsiteY2070" fmla="*/ 4239 h 10000"/>
                <a:gd name="connsiteX2071" fmla="*/ 1369 w 10577"/>
                <a:gd name="connsiteY2071" fmla="*/ 4248 h 10000"/>
                <a:gd name="connsiteX2072" fmla="*/ 1355 w 10577"/>
                <a:gd name="connsiteY2072" fmla="*/ 4256 h 10000"/>
                <a:gd name="connsiteX2073" fmla="*/ 1350 w 10577"/>
                <a:gd name="connsiteY2073" fmla="*/ 4248 h 10000"/>
                <a:gd name="connsiteX2074" fmla="*/ 1332 w 10577"/>
                <a:gd name="connsiteY2074" fmla="*/ 4376 h 10000"/>
                <a:gd name="connsiteX2075" fmla="*/ 1332 w 10577"/>
                <a:gd name="connsiteY2075" fmla="*/ 4436 h 10000"/>
                <a:gd name="connsiteX2076" fmla="*/ 1323 w 10577"/>
                <a:gd name="connsiteY2076" fmla="*/ 4462 h 10000"/>
                <a:gd name="connsiteX2077" fmla="*/ 1304 w 10577"/>
                <a:gd name="connsiteY2077" fmla="*/ 4487 h 10000"/>
                <a:gd name="connsiteX2078" fmla="*/ 1290 w 10577"/>
                <a:gd name="connsiteY2078" fmla="*/ 4470 h 10000"/>
                <a:gd name="connsiteX2079" fmla="*/ 1263 w 10577"/>
                <a:gd name="connsiteY2079" fmla="*/ 4496 h 10000"/>
                <a:gd name="connsiteX2080" fmla="*/ 1258 w 10577"/>
                <a:gd name="connsiteY2080" fmla="*/ 4547 h 10000"/>
                <a:gd name="connsiteX2081" fmla="*/ 1249 w 10577"/>
                <a:gd name="connsiteY2081" fmla="*/ 4487 h 10000"/>
                <a:gd name="connsiteX2082" fmla="*/ 1235 w 10577"/>
                <a:gd name="connsiteY2082" fmla="*/ 4496 h 10000"/>
                <a:gd name="connsiteX2083" fmla="*/ 1221 w 10577"/>
                <a:gd name="connsiteY2083" fmla="*/ 4496 h 10000"/>
                <a:gd name="connsiteX2084" fmla="*/ 1217 w 10577"/>
                <a:gd name="connsiteY2084" fmla="*/ 4487 h 10000"/>
                <a:gd name="connsiteX2085" fmla="*/ 1198 w 10577"/>
                <a:gd name="connsiteY2085" fmla="*/ 4410 h 10000"/>
                <a:gd name="connsiteX2086" fmla="*/ 1157 w 10577"/>
                <a:gd name="connsiteY2086" fmla="*/ 4333 h 10000"/>
                <a:gd name="connsiteX2087" fmla="*/ 1147 w 10577"/>
                <a:gd name="connsiteY2087" fmla="*/ 4299 h 10000"/>
                <a:gd name="connsiteX2088" fmla="*/ 1147 w 10577"/>
                <a:gd name="connsiteY2088" fmla="*/ 4274 h 10000"/>
                <a:gd name="connsiteX2089" fmla="*/ 1161 w 10577"/>
                <a:gd name="connsiteY2089" fmla="*/ 4256 h 10000"/>
                <a:gd name="connsiteX2090" fmla="*/ 1171 w 10577"/>
                <a:gd name="connsiteY2090" fmla="*/ 4248 h 10000"/>
                <a:gd name="connsiteX2091" fmla="*/ 1175 w 10577"/>
                <a:gd name="connsiteY2091" fmla="*/ 4214 h 10000"/>
                <a:gd name="connsiteX2092" fmla="*/ 1263 w 10577"/>
                <a:gd name="connsiteY2092" fmla="*/ 4171 h 10000"/>
                <a:gd name="connsiteX2093" fmla="*/ 1249 w 10577"/>
                <a:gd name="connsiteY2093" fmla="*/ 4137 h 10000"/>
                <a:gd name="connsiteX2094" fmla="*/ 1244 w 10577"/>
                <a:gd name="connsiteY2094" fmla="*/ 4060 h 10000"/>
                <a:gd name="connsiteX2095" fmla="*/ 1230 w 10577"/>
                <a:gd name="connsiteY2095" fmla="*/ 4077 h 10000"/>
                <a:gd name="connsiteX2096" fmla="*/ 1221 w 10577"/>
                <a:gd name="connsiteY2096" fmla="*/ 4026 h 10000"/>
                <a:gd name="connsiteX2097" fmla="*/ 1217 w 10577"/>
                <a:gd name="connsiteY2097" fmla="*/ 4026 h 10000"/>
                <a:gd name="connsiteX2098" fmla="*/ 1212 w 10577"/>
                <a:gd name="connsiteY2098" fmla="*/ 3983 h 10000"/>
                <a:gd name="connsiteX2099" fmla="*/ 1203 w 10577"/>
                <a:gd name="connsiteY2099" fmla="*/ 3966 h 10000"/>
                <a:gd name="connsiteX2100" fmla="*/ 1171 w 10577"/>
                <a:gd name="connsiteY2100" fmla="*/ 3949 h 10000"/>
                <a:gd name="connsiteX2101" fmla="*/ 1111 w 10577"/>
                <a:gd name="connsiteY2101" fmla="*/ 3940 h 10000"/>
                <a:gd name="connsiteX2102" fmla="*/ 1097 w 10577"/>
                <a:gd name="connsiteY2102" fmla="*/ 3949 h 10000"/>
                <a:gd name="connsiteX2103" fmla="*/ 1037 w 10577"/>
                <a:gd name="connsiteY2103" fmla="*/ 3897 h 10000"/>
                <a:gd name="connsiteX2104" fmla="*/ 1041 w 10577"/>
                <a:gd name="connsiteY2104" fmla="*/ 3923 h 10000"/>
                <a:gd name="connsiteX2105" fmla="*/ 1097 w 10577"/>
                <a:gd name="connsiteY2105" fmla="*/ 4009 h 10000"/>
                <a:gd name="connsiteX2106" fmla="*/ 1097 w 10577"/>
                <a:gd name="connsiteY2106" fmla="*/ 4120 h 10000"/>
                <a:gd name="connsiteX2107" fmla="*/ 1097 w 10577"/>
                <a:gd name="connsiteY2107" fmla="*/ 4162 h 10000"/>
                <a:gd name="connsiteX2108" fmla="*/ 1097 w 10577"/>
                <a:gd name="connsiteY2108" fmla="*/ 4197 h 10000"/>
                <a:gd name="connsiteX2109" fmla="*/ 1074 w 10577"/>
                <a:gd name="connsiteY2109" fmla="*/ 4333 h 10000"/>
                <a:gd name="connsiteX2110" fmla="*/ 1074 w 10577"/>
                <a:gd name="connsiteY2110" fmla="*/ 4376 h 10000"/>
                <a:gd name="connsiteX2111" fmla="*/ 1083 w 10577"/>
                <a:gd name="connsiteY2111" fmla="*/ 4385 h 10000"/>
                <a:gd name="connsiteX2112" fmla="*/ 1097 w 10577"/>
                <a:gd name="connsiteY2112" fmla="*/ 4385 h 10000"/>
                <a:gd name="connsiteX2113" fmla="*/ 1111 w 10577"/>
                <a:gd name="connsiteY2113" fmla="*/ 4410 h 10000"/>
                <a:gd name="connsiteX2114" fmla="*/ 1124 w 10577"/>
                <a:gd name="connsiteY2114" fmla="*/ 4444 h 10000"/>
                <a:gd name="connsiteX2115" fmla="*/ 1124 w 10577"/>
                <a:gd name="connsiteY2115" fmla="*/ 4470 h 10000"/>
                <a:gd name="connsiteX2116" fmla="*/ 1115 w 10577"/>
                <a:gd name="connsiteY2116" fmla="*/ 4513 h 10000"/>
                <a:gd name="connsiteX2117" fmla="*/ 1115 w 10577"/>
                <a:gd name="connsiteY2117" fmla="*/ 4530 h 10000"/>
                <a:gd name="connsiteX2118" fmla="*/ 1115 w 10577"/>
                <a:gd name="connsiteY2118" fmla="*/ 4573 h 10000"/>
                <a:gd name="connsiteX2119" fmla="*/ 1101 w 10577"/>
                <a:gd name="connsiteY2119" fmla="*/ 4607 h 10000"/>
                <a:gd name="connsiteX2120" fmla="*/ 1097 w 10577"/>
                <a:gd name="connsiteY2120" fmla="*/ 4658 h 10000"/>
                <a:gd name="connsiteX2121" fmla="*/ 1101 w 10577"/>
                <a:gd name="connsiteY2121" fmla="*/ 4692 h 10000"/>
                <a:gd name="connsiteX2122" fmla="*/ 1097 w 10577"/>
                <a:gd name="connsiteY2122" fmla="*/ 4778 h 10000"/>
                <a:gd name="connsiteX2123" fmla="*/ 1083 w 10577"/>
                <a:gd name="connsiteY2123" fmla="*/ 4744 h 10000"/>
                <a:gd name="connsiteX2124" fmla="*/ 1083 w 10577"/>
                <a:gd name="connsiteY2124" fmla="*/ 4718 h 10000"/>
                <a:gd name="connsiteX2125" fmla="*/ 1074 w 10577"/>
                <a:gd name="connsiteY2125" fmla="*/ 4692 h 10000"/>
                <a:gd name="connsiteX2126" fmla="*/ 1065 w 10577"/>
                <a:gd name="connsiteY2126" fmla="*/ 4692 h 10000"/>
                <a:gd name="connsiteX2127" fmla="*/ 1051 w 10577"/>
                <a:gd name="connsiteY2127" fmla="*/ 4718 h 10000"/>
                <a:gd name="connsiteX2128" fmla="*/ 1055 w 10577"/>
                <a:gd name="connsiteY2128" fmla="*/ 4692 h 10000"/>
                <a:gd name="connsiteX2129" fmla="*/ 1055 w 10577"/>
                <a:gd name="connsiteY2129" fmla="*/ 4667 h 10000"/>
                <a:gd name="connsiteX2130" fmla="*/ 1028 w 10577"/>
                <a:gd name="connsiteY2130" fmla="*/ 4624 h 10000"/>
                <a:gd name="connsiteX2131" fmla="*/ 1005 w 10577"/>
                <a:gd name="connsiteY2131" fmla="*/ 4624 h 10000"/>
                <a:gd name="connsiteX2132" fmla="*/ 977 w 10577"/>
                <a:gd name="connsiteY2132" fmla="*/ 4581 h 10000"/>
                <a:gd name="connsiteX2133" fmla="*/ 963 w 10577"/>
                <a:gd name="connsiteY2133" fmla="*/ 4607 h 10000"/>
                <a:gd name="connsiteX2134" fmla="*/ 963 w 10577"/>
                <a:gd name="connsiteY2134" fmla="*/ 4632 h 10000"/>
                <a:gd name="connsiteX2135" fmla="*/ 917 w 10577"/>
                <a:gd name="connsiteY2135" fmla="*/ 4718 h 10000"/>
                <a:gd name="connsiteX2136" fmla="*/ 889 w 10577"/>
                <a:gd name="connsiteY2136" fmla="*/ 4744 h 10000"/>
                <a:gd name="connsiteX2137" fmla="*/ 880 w 10577"/>
                <a:gd name="connsiteY2137" fmla="*/ 4744 h 10000"/>
                <a:gd name="connsiteX2138" fmla="*/ 862 w 10577"/>
                <a:gd name="connsiteY2138" fmla="*/ 4769 h 10000"/>
                <a:gd name="connsiteX2139" fmla="*/ 857 w 10577"/>
                <a:gd name="connsiteY2139" fmla="*/ 4795 h 10000"/>
                <a:gd name="connsiteX2140" fmla="*/ 829 w 10577"/>
                <a:gd name="connsiteY2140" fmla="*/ 4846 h 10000"/>
                <a:gd name="connsiteX2141" fmla="*/ 816 w 10577"/>
                <a:gd name="connsiteY2141" fmla="*/ 4855 h 10000"/>
                <a:gd name="connsiteX2142" fmla="*/ 816 w 10577"/>
                <a:gd name="connsiteY2142" fmla="*/ 4940 h 10000"/>
                <a:gd name="connsiteX2143" fmla="*/ 880 w 10577"/>
                <a:gd name="connsiteY2143" fmla="*/ 5179 h 10000"/>
                <a:gd name="connsiteX2144" fmla="*/ 880 w 10577"/>
                <a:gd name="connsiteY2144" fmla="*/ 5188 h 10000"/>
                <a:gd name="connsiteX2145" fmla="*/ 862 w 10577"/>
                <a:gd name="connsiteY2145" fmla="*/ 5171 h 10000"/>
                <a:gd name="connsiteX2146" fmla="*/ 857 w 10577"/>
                <a:gd name="connsiteY2146" fmla="*/ 5171 h 10000"/>
                <a:gd name="connsiteX2147" fmla="*/ 820 w 10577"/>
                <a:gd name="connsiteY2147" fmla="*/ 5145 h 10000"/>
                <a:gd name="connsiteX2148" fmla="*/ 820 w 10577"/>
                <a:gd name="connsiteY2148" fmla="*/ 5154 h 10000"/>
                <a:gd name="connsiteX2149" fmla="*/ 816 w 10577"/>
                <a:gd name="connsiteY2149" fmla="*/ 5171 h 10000"/>
                <a:gd name="connsiteX2150" fmla="*/ 783 w 10577"/>
                <a:gd name="connsiteY2150" fmla="*/ 5145 h 10000"/>
                <a:gd name="connsiteX2151" fmla="*/ 756 w 10577"/>
                <a:gd name="connsiteY2151" fmla="*/ 5103 h 10000"/>
                <a:gd name="connsiteX2152" fmla="*/ 742 w 10577"/>
                <a:gd name="connsiteY2152" fmla="*/ 5103 h 10000"/>
                <a:gd name="connsiteX2153" fmla="*/ 728 w 10577"/>
                <a:gd name="connsiteY2153" fmla="*/ 5094 h 10000"/>
                <a:gd name="connsiteX2154" fmla="*/ 710 w 10577"/>
                <a:gd name="connsiteY2154" fmla="*/ 5120 h 10000"/>
                <a:gd name="connsiteX2155" fmla="*/ 700 w 10577"/>
                <a:gd name="connsiteY2155" fmla="*/ 5145 h 10000"/>
                <a:gd name="connsiteX2156" fmla="*/ 696 w 10577"/>
                <a:gd name="connsiteY2156" fmla="*/ 5103 h 10000"/>
                <a:gd name="connsiteX2157" fmla="*/ 714 w 10577"/>
                <a:gd name="connsiteY2157" fmla="*/ 5077 h 10000"/>
                <a:gd name="connsiteX2158" fmla="*/ 682 w 10577"/>
                <a:gd name="connsiteY2158" fmla="*/ 5068 h 10000"/>
                <a:gd name="connsiteX2159" fmla="*/ 673 w 10577"/>
                <a:gd name="connsiteY2159" fmla="*/ 5034 h 10000"/>
                <a:gd name="connsiteX2160" fmla="*/ 636 w 10577"/>
                <a:gd name="connsiteY2160" fmla="*/ 4991 h 10000"/>
                <a:gd name="connsiteX2161" fmla="*/ 622 w 10577"/>
                <a:gd name="connsiteY2161" fmla="*/ 4983 h 10000"/>
                <a:gd name="connsiteX2162" fmla="*/ 622 w 10577"/>
                <a:gd name="connsiteY2162" fmla="*/ 5034 h 10000"/>
                <a:gd name="connsiteX2163" fmla="*/ 608 w 10577"/>
                <a:gd name="connsiteY2163" fmla="*/ 5051 h 10000"/>
                <a:gd name="connsiteX2164" fmla="*/ 594 w 10577"/>
                <a:gd name="connsiteY2164" fmla="*/ 5068 h 10000"/>
                <a:gd name="connsiteX2165" fmla="*/ 608 w 10577"/>
                <a:gd name="connsiteY2165" fmla="*/ 5120 h 10000"/>
                <a:gd name="connsiteX2166" fmla="*/ 613 w 10577"/>
                <a:gd name="connsiteY2166" fmla="*/ 5128 h 10000"/>
                <a:gd name="connsiteX2167" fmla="*/ 627 w 10577"/>
                <a:gd name="connsiteY2167" fmla="*/ 5179 h 10000"/>
                <a:gd name="connsiteX2168" fmla="*/ 650 w 10577"/>
                <a:gd name="connsiteY2168" fmla="*/ 5214 h 10000"/>
                <a:gd name="connsiteX2169" fmla="*/ 687 w 10577"/>
                <a:gd name="connsiteY2169" fmla="*/ 5188 h 10000"/>
                <a:gd name="connsiteX2170" fmla="*/ 700 w 10577"/>
                <a:gd name="connsiteY2170" fmla="*/ 5325 h 10000"/>
                <a:gd name="connsiteX2171" fmla="*/ 710 w 10577"/>
                <a:gd name="connsiteY2171" fmla="*/ 5350 h 10000"/>
                <a:gd name="connsiteX2172" fmla="*/ 687 w 10577"/>
                <a:gd name="connsiteY2172" fmla="*/ 5325 h 10000"/>
                <a:gd name="connsiteX2173" fmla="*/ 668 w 10577"/>
                <a:gd name="connsiteY2173" fmla="*/ 5350 h 10000"/>
                <a:gd name="connsiteX2174" fmla="*/ 668 w 10577"/>
                <a:gd name="connsiteY2174" fmla="*/ 5368 h 10000"/>
                <a:gd name="connsiteX2175" fmla="*/ 668 w 10577"/>
                <a:gd name="connsiteY2175" fmla="*/ 5376 h 10000"/>
                <a:gd name="connsiteX2176" fmla="*/ 581 w 10577"/>
                <a:gd name="connsiteY2176" fmla="*/ 5316 h 10000"/>
                <a:gd name="connsiteX2177" fmla="*/ 567 w 10577"/>
                <a:gd name="connsiteY2177" fmla="*/ 5265 h 10000"/>
                <a:gd name="connsiteX2178" fmla="*/ 562 w 10577"/>
                <a:gd name="connsiteY2178" fmla="*/ 5256 h 10000"/>
                <a:gd name="connsiteX2179" fmla="*/ 548 w 10577"/>
                <a:gd name="connsiteY2179" fmla="*/ 5231 h 10000"/>
                <a:gd name="connsiteX2180" fmla="*/ 535 w 10577"/>
                <a:gd name="connsiteY2180" fmla="*/ 5214 h 10000"/>
                <a:gd name="connsiteX2181" fmla="*/ 525 w 10577"/>
                <a:gd name="connsiteY2181" fmla="*/ 5231 h 10000"/>
                <a:gd name="connsiteX2182" fmla="*/ 521 w 10577"/>
                <a:gd name="connsiteY2182" fmla="*/ 5231 h 10000"/>
                <a:gd name="connsiteX2183" fmla="*/ 493 w 10577"/>
                <a:gd name="connsiteY2183" fmla="*/ 5205 h 10000"/>
                <a:gd name="connsiteX2184" fmla="*/ 488 w 10577"/>
                <a:gd name="connsiteY2184" fmla="*/ 5179 h 10000"/>
                <a:gd name="connsiteX2185" fmla="*/ 475 w 10577"/>
                <a:gd name="connsiteY2185" fmla="*/ 5188 h 10000"/>
                <a:gd name="connsiteX2186" fmla="*/ 475 w 10577"/>
                <a:gd name="connsiteY2186" fmla="*/ 5171 h 10000"/>
                <a:gd name="connsiteX2187" fmla="*/ 488 w 10577"/>
                <a:gd name="connsiteY2187" fmla="*/ 5154 h 10000"/>
                <a:gd name="connsiteX2188" fmla="*/ 488 w 10577"/>
                <a:gd name="connsiteY2188" fmla="*/ 5068 h 10000"/>
                <a:gd name="connsiteX2189" fmla="*/ 475 w 10577"/>
                <a:gd name="connsiteY2189" fmla="*/ 5051 h 10000"/>
                <a:gd name="connsiteX2190" fmla="*/ 475 w 10577"/>
                <a:gd name="connsiteY2190" fmla="*/ 5017 h 10000"/>
                <a:gd name="connsiteX2191" fmla="*/ 452 w 10577"/>
                <a:gd name="connsiteY2191" fmla="*/ 4932 h 10000"/>
                <a:gd name="connsiteX2192" fmla="*/ 461 w 10577"/>
                <a:gd name="connsiteY2192" fmla="*/ 4915 h 10000"/>
                <a:gd name="connsiteX2193" fmla="*/ 475 w 10577"/>
                <a:gd name="connsiteY2193" fmla="*/ 4906 h 10000"/>
                <a:gd name="connsiteX2194" fmla="*/ 479 w 10577"/>
                <a:gd name="connsiteY2194" fmla="*/ 4803 h 10000"/>
                <a:gd name="connsiteX2195" fmla="*/ 479 w 10577"/>
                <a:gd name="connsiteY2195" fmla="*/ 4778 h 10000"/>
                <a:gd name="connsiteX2196" fmla="*/ 475 w 10577"/>
                <a:gd name="connsiteY2196" fmla="*/ 4761 h 10000"/>
                <a:gd name="connsiteX2197" fmla="*/ 465 w 10577"/>
                <a:gd name="connsiteY2197" fmla="*/ 4718 h 10000"/>
                <a:gd name="connsiteX2198" fmla="*/ 461 w 10577"/>
                <a:gd name="connsiteY2198" fmla="*/ 4709 h 10000"/>
                <a:gd name="connsiteX2199" fmla="*/ 442 w 10577"/>
                <a:gd name="connsiteY2199" fmla="*/ 4692 h 10000"/>
                <a:gd name="connsiteX2200" fmla="*/ 433 w 10577"/>
                <a:gd name="connsiteY2200" fmla="*/ 4667 h 10000"/>
                <a:gd name="connsiteX2201" fmla="*/ 419 w 10577"/>
                <a:gd name="connsiteY2201" fmla="*/ 4667 h 10000"/>
                <a:gd name="connsiteX2202" fmla="*/ 401 w 10577"/>
                <a:gd name="connsiteY2202" fmla="*/ 4658 h 10000"/>
                <a:gd name="connsiteX2203" fmla="*/ 401 w 10577"/>
                <a:gd name="connsiteY2203" fmla="*/ 4624 h 10000"/>
                <a:gd name="connsiteX2204" fmla="*/ 401 w 10577"/>
                <a:gd name="connsiteY2204" fmla="*/ 4607 h 10000"/>
                <a:gd name="connsiteX2205" fmla="*/ 378 w 10577"/>
                <a:gd name="connsiteY2205" fmla="*/ 4607 h 10000"/>
                <a:gd name="connsiteX2206" fmla="*/ 341 w 10577"/>
                <a:gd name="connsiteY2206" fmla="*/ 4530 h 10000"/>
                <a:gd name="connsiteX2207" fmla="*/ 346 w 10577"/>
                <a:gd name="connsiteY2207" fmla="*/ 4521 h 10000"/>
                <a:gd name="connsiteX2208" fmla="*/ 332 w 10577"/>
                <a:gd name="connsiteY2208" fmla="*/ 4487 h 10000"/>
                <a:gd name="connsiteX2209" fmla="*/ 327 w 10577"/>
                <a:gd name="connsiteY2209" fmla="*/ 4462 h 10000"/>
                <a:gd name="connsiteX2210" fmla="*/ 313 w 10577"/>
                <a:gd name="connsiteY2210" fmla="*/ 4436 h 10000"/>
                <a:gd name="connsiteX2211" fmla="*/ 300 w 10577"/>
                <a:gd name="connsiteY2211" fmla="*/ 4419 h 10000"/>
                <a:gd name="connsiteX2212" fmla="*/ 309 w 10577"/>
                <a:gd name="connsiteY2212" fmla="*/ 4393 h 10000"/>
                <a:gd name="connsiteX2213" fmla="*/ 332 w 10577"/>
                <a:gd name="connsiteY2213" fmla="*/ 4385 h 10000"/>
                <a:gd name="connsiteX2214" fmla="*/ 355 w 10577"/>
                <a:gd name="connsiteY2214" fmla="*/ 4419 h 10000"/>
                <a:gd name="connsiteX2215" fmla="*/ 355 w 10577"/>
                <a:gd name="connsiteY2215" fmla="*/ 4444 h 10000"/>
                <a:gd name="connsiteX2216" fmla="*/ 369 w 10577"/>
                <a:gd name="connsiteY2216" fmla="*/ 4470 h 10000"/>
                <a:gd name="connsiteX2217" fmla="*/ 401 w 10577"/>
                <a:gd name="connsiteY2217" fmla="*/ 4521 h 10000"/>
                <a:gd name="connsiteX2218" fmla="*/ 406 w 10577"/>
                <a:gd name="connsiteY2218" fmla="*/ 4513 h 10000"/>
                <a:gd name="connsiteX2219" fmla="*/ 406 w 10577"/>
                <a:gd name="connsiteY2219" fmla="*/ 4496 h 10000"/>
                <a:gd name="connsiteX2220" fmla="*/ 419 w 10577"/>
                <a:gd name="connsiteY2220" fmla="*/ 4521 h 10000"/>
                <a:gd name="connsiteX2221" fmla="*/ 429 w 10577"/>
                <a:gd name="connsiteY2221" fmla="*/ 4530 h 10000"/>
                <a:gd name="connsiteX2222" fmla="*/ 433 w 10577"/>
                <a:gd name="connsiteY2222" fmla="*/ 4521 h 10000"/>
                <a:gd name="connsiteX2223" fmla="*/ 442 w 10577"/>
                <a:gd name="connsiteY2223" fmla="*/ 4530 h 10000"/>
                <a:gd name="connsiteX2224" fmla="*/ 447 w 10577"/>
                <a:gd name="connsiteY2224" fmla="*/ 4521 h 10000"/>
                <a:gd name="connsiteX2225" fmla="*/ 452 w 10577"/>
                <a:gd name="connsiteY2225" fmla="*/ 4521 h 10000"/>
                <a:gd name="connsiteX2226" fmla="*/ 461 w 10577"/>
                <a:gd name="connsiteY2226" fmla="*/ 4573 h 10000"/>
                <a:gd name="connsiteX2227" fmla="*/ 479 w 10577"/>
                <a:gd name="connsiteY2227" fmla="*/ 4556 h 10000"/>
                <a:gd name="connsiteX2228" fmla="*/ 502 w 10577"/>
                <a:gd name="connsiteY2228" fmla="*/ 4573 h 10000"/>
                <a:gd name="connsiteX2229" fmla="*/ 507 w 10577"/>
                <a:gd name="connsiteY2229" fmla="*/ 4598 h 10000"/>
                <a:gd name="connsiteX2230" fmla="*/ 525 w 10577"/>
                <a:gd name="connsiteY2230" fmla="*/ 4598 h 10000"/>
                <a:gd name="connsiteX2231" fmla="*/ 535 w 10577"/>
                <a:gd name="connsiteY2231" fmla="*/ 4624 h 10000"/>
                <a:gd name="connsiteX2232" fmla="*/ 594 w 10577"/>
                <a:gd name="connsiteY2232" fmla="*/ 4658 h 10000"/>
                <a:gd name="connsiteX2233" fmla="*/ 627 w 10577"/>
                <a:gd name="connsiteY2233" fmla="*/ 4658 h 10000"/>
                <a:gd name="connsiteX2234" fmla="*/ 654 w 10577"/>
                <a:gd name="connsiteY2234" fmla="*/ 4684 h 10000"/>
                <a:gd name="connsiteX2235" fmla="*/ 668 w 10577"/>
                <a:gd name="connsiteY2235" fmla="*/ 4709 h 10000"/>
                <a:gd name="connsiteX2236" fmla="*/ 747 w 10577"/>
                <a:gd name="connsiteY2236" fmla="*/ 4718 h 10000"/>
                <a:gd name="connsiteX2237" fmla="*/ 760 w 10577"/>
                <a:gd name="connsiteY2237" fmla="*/ 4709 h 10000"/>
                <a:gd name="connsiteX2238" fmla="*/ 774 w 10577"/>
                <a:gd name="connsiteY2238" fmla="*/ 4692 h 10000"/>
                <a:gd name="connsiteX2239" fmla="*/ 829 w 10577"/>
                <a:gd name="connsiteY2239" fmla="*/ 4658 h 10000"/>
                <a:gd name="connsiteX2240" fmla="*/ 903 w 10577"/>
                <a:gd name="connsiteY2240" fmla="*/ 4496 h 10000"/>
                <a:gd name="connsiteX2241" fmla="*/ 917 w 10577"/>
                <a:gd name="connsiteY2241" fmla="*/ 4385 h 10000"/>
                <a:gd name="connsiteX2242" fmla="*/ 903 w 10577"/>
                <a:gd name="connsiteY2242" fmla="*/ 4376 h 10000"/>
                <a:gd name="connsiteX2243" fmla="*/ 903 w 10577"/>
                <a:gd name="connsiteY2243" fmla="*/ 4376 h 10000"/>
                <a:gd name="connsiteX2244" fmla="*/ 889 w 10577"/>
                <a:gd name="connsiteY2244" fmla="*/ 4239 h 10000"/>
                <a:gd name="connsiteX2245" fmla="*/ 880 w 10577"/>
                <a:gd name="connsiteY2245" fmla="*/ 4214 h 10000"/>
                <a:gd name="connsiteX2246" fmla="*/ 862 w 10577"/>
                <a:gd name="connsiteY2246" fmla="*/ 4188 h 10000"/>
                <a:gd name="connsiteX2247" fmla="*/ 857 w 10577"/>
                <a:gd name="connsiteY2247" fmla="*/ 4197 h 10000"/>
                <a:gd name="connsiteX2248" fmla="*/ 848 w 10577"/>
                <a:gd name="connsiteY2248" fmla="*/ 4188 h 10000"/>
                <a:gd name="connsiteX2249" fmla="*/ 848 w 10577"/>
                <a:gd name="connsiteY2249" fmla="*/ 4162 h 10000"/>
                <a:gd name="connsiteX2250" fmla="*/ 829 w 10577"/>
                <a:gd name="connsiteY2250" fmla="*/ 4120 h 10000"/>
                <a:gd name="connsiteX2251" fmla="*/ 820 w 10577"/>
                <a:gd name="connsiteY2251" fmla="*/ 4103 h 10000"/>
                <a:gd name="connsiteX2252" fmla="*/ 806 w 10577"/>
                <a:gd name="connsiteY2252" fmla="*/ 4077 h 10000"/>
                <a:gd name="connsiteX2253" fmla="*/ 816 w 10577"/>
                <a:gd name="connsiteY2253" fmla="*/ 4111 h 10000"/>
                <a:gd name="connsiteX2254" fmla="*/ 802 w 10577"/>
                <a:gd name="connsiteY2254" fmla="*/ 4111 h 10000"/>
                <a:gd name="connsiteX2255" fmla="*/ 770 w 10577"/>
                <a:gd name="connsiteY2255" fmla="*/ 4060 h 10000"/>
                <a:gd name="connsiteX2256" fmla="*/ 760 w 10577"/>
                <a:gd name="connsiteY2256" fmla="*/ 4077 h 10000"/>
                <a:gd name="connsiteX2257" fmla="*/ 760 w 10577"/>
                <a:gd name="connsiteY2257" fmla="*/ 4060 h 10000"/>
                <a:gd name="connsiteX2258" fmla="*/ 756 w 10577"/>
                <a:gd name="connsiteY2258" fmla="*/ 4034 h 10000"/>
                <a:gd name="connsiteX2259" fmla="*/ 742 w 10577"/>
                <a:gd name="connsiteY2259" fmla="*/ 4000 h 10000"/>
                <a:gd name="connsiteX2260" fmla="*/ 747 w 10577"/>
                <a:gd name="connsiteY2260" fmla="*/ 4034 h 10000"/>
                <a:gd name="connsiteX2261" fmla="*/ 724 w 10577"/>
                <a:gd name="connsiteY2261" fmla="*/ 4026 h 10000"/>
                <a:gd name="connsiteX2262" fmla="*/ 714 w 10577"/>
                <a:gd name="connsiteY2262" fmla="*/ 4000 h 10000"/>
                <a:gd name="connsiteX2263" fmla="*/ 714 w 10577"/>
                <a:gd name="connsiteY2263" fmla="*/ 3983 h 10000"/>
                <a:gd name="connsiteX2264" fmla="*/ 553 w 10577"/>
                <a:gd name="connsiteY2264" fmla="*/ 3726 h 10000"/>
                <a:gd name="connsiteX2265" fmla="*/ 507 w 10577"/>
                <a:gd name="connsiteY2265" fmla="*/ 3718 h 10000"/>
                <a:gd name="connsiteX2266" fmla="*/ 516 w 10577"/>
                <a:gd name="connsiteY2266" fmla="*/ 3726 h 10000"/>
                <a:gd name="connsiteX2267" fmla="*/ 507 w 10577"/>
                <a:gd name="connsiteY2267" fmla="*/ 3735 h 10000"/>
                <a:gd name="connsiteX2268" fmla="*/ 502 w 10577"/>
                <a:gd name="connsiteY2268" fmla="*/ 3735 h 10000"/>
                <a:gd name="connsiteX2269" fmla="*/ 419 w 10577"/>
                <a:gd name="connsiteY2269" fmla="*/ 3675 h 10000"/>
                <a:gd name="connsiteX2270" fmla="*/ 419 w 10577"/>
                <a:gd name="connsiteY2270" fmla="*/ 3692 h 10000"/>
                <a:gd name="connsiteX2271" fmla="*/ 401 w 10577"/>
                <a:gd name="connsiteY2271" fmla="*/ 3701 h 10000"/>
                <a:gd name="connsiteX2272" fmla="*/ 387 w 10577"/>
                <a:gd name="connsiteY2272" fmla="*/ 3718 h 10000"/>
                <a:gd name="connsiteX2273" fmla="*/ 387 w 10577"/>
                <a:gd name="connsiteY2273" fmla="*/ 3692 h 10000"/>
                <a:gd name="connsiteX2274" fmla="*/ 378 w 10577"/>
                <a:gd name="connsiteY2274" fmla="*/ 3675 h 10000"/>
                <a:gd name="connsiteX2275" fmla="*/ 378 w 10577"/>
                <a:gd name="connsiteY2275" fmla="*/ 3650 h 10000"/>
                <a:gd name="connsiteX2276" fmla="*/ 378 w 10577"/>
                <a:gd name="connsiteY2276" fmla="*/ 3650 h 10000"/>
                <a:gd name="connsiteX2277" fmla="*/ 355 w 10577"/>
                <a:gd name="connsiteY2277" fmla="*/ 3675 h 10000"/>
                <a:gd name="connsiteX2278" fmla="*/ 359 w 10577"/>
                <a:gd name="connsiteY2278" fmla="*/ 3641 h 10000"/>
                <a:gd name="connsiteX2279" fmla="*/ 346 w 10577"/>
                <a:gd name="connsiteY2279" fmla="*/ 3650 h 10000"/>
                <a:gd name="connsiteX2280" fmla="*/ 355 w 10577"/>
                <a:gd name="connsiteY2280" fmla="*/ 3624 h 10000"/>
                <a:gd name="connsiteX2281" fmla="*/ 346 w 10577"/>
                <a:gd name="connsiteY2281" fmla="*/ 3624 h 10000"/>
                <a:gd name="connsiteX2282" fmla="*/ 341 w 10577"/>
                <a:gd name="connsiteY2282" fmla="*/ 3624 h 10000"/>
                <a:gd name="connsiteX2283" fmla="*/ 318 w 10577"/>
                <a:gd name="connsiteY2283" fmla="*/ 3641 h 10000"/>
                <a:gd name="connsiteX2284" fmla="*/ 327 w 10577"/>
                <a:gd name="connsiteY2284" fmla="*/ 3624 h 10000"/>
                <a:gd name="connsiteX2285" fmla="*/ 318 w 10577"/>
                <a:gd name="connsiteY2285" fmla="*/ 3615 h 10000"/>
                <a:gd name="connsiteX2286" fmla="*/ 318 w 10577"/>
                <a:gd name="connsiteY2286" fmla="*/ 3598 h 10000"/>
                <a:gd name="connsiteX2287" fmla="*/ 300 w 10577"/>
                <a:gd name="connsiteY2287" fmla="*/ 3598 h 10000"/>
                <a:gd name="connsiteX2288" fmla="*/ 309 w 10577"/>
                <a:gd name="connsiteY2288" fmla="*/ 3538 h 10000"/>
                <a:gd name="connsiteX2289" fmla="*/ 313 w 10577"/>
                <a:gd name="connsiteY2289" fmla="*/ 3564 h 10000"/>
                <a:gd name="connsiteX2290" fmla="*/ 318 w 10577"/>
                <a:gd name="connsiteY2290" fmla="*/ 3581 h 10000"/>
                <a:gd name="connsiteX2291" fmla="*/ 327 w 10577"/>
                <a:gd name="connsiteY2291" fmla="*/ 3564 h 10000"/>
                <a:gd name="connsiteX2292" fmla="*/ 332 w 10577"/>
                <a:gd name="connsiteY2292" fmla="*/ 3590 h 10000"/>
                <a:gd name="connsiteX2293" fmla="*/ 346 w 10577"/>
                <a:gd name="connsiteY2293" fmla="*/ 3590 h 10000"/>
                <a:gd name="connsiteX2294" fmla="*/ 355 w 10577"/>
                <a:gd name="connsiteY2294" fmla="*/ 3590 h 10000"/>
                <a:gd name="connsiteX2295" fmla="*/ 369 w 10577"/>
                <a:gd name="connsiteY2295" fmla="*/ 3556 h 10000"/>
                <a:gd name="connsiteX2296" fmla="*/ 369 w 10577"/>
                <a:gd name="connsiteY2296" fmla="*/ 3538 h 10000"/>
                <a:gd name="connsiteX2297" fmla="*/ 346 w 10577"/>
                <a:gd name="connsiteY2297" fmla="*/ 3513 h 10000"/>
                <a:gd name="connsiteX2298" fmla="*/ 341 w 10577"/>
                <a:gd name="connsiteY2298" fmla="*/ 3530 h 10000"/>
                <a:gd name="connsiteX2299" fmla="*/ 327 w 10577"/>
                <a:gd name="connsiteY2299" fmla="*/ 3513 h 10000"/>
                <a:gd name="connsiteX2300" fmla="*/ 327 w 10577"/>
                <a:gd name="connsiteY2300" fmla="*/ 3504 h 10000"/>
                <a:gd name="connsiteX2301" fmla="*/ 295 w 10577"/>
                <a:gd name="connsiteY2301" fmla="*/ 3462 h 10000"/>
                <a:gd name="connsiteX2302" fmla="*/ 300 w 10577"/>
                <a:gd name="connsiteY2302" fmla="*/ 3479 h 10000"/>
                <a:gd name="connsiteX2303" fmla="*/ 295 w 10577"/>
                <a:gd name="connsiteY2303" fmla="*/ 3513 h 10000"/>
                <a:gd name="connsiteX2304" fmla="*/ 286 w 10577"/>
                <a:gd name="connsiteY2304" fmla="*/ 3513 h 10000"/>
                <a:gd name="connsiteX2305" fmla="*/ 281 w 10577"/>
                <a:gd name="connsiteY2305" fmla="*/ 3513 h 10000"/>
                <a:gd name="connsiteX2306" fmla="*/ 281 w 10577"/>
                <a:gd name="connsiteY2306" fmla="*/ 3530 h 10000"/>
                <a:gd name="connsiteX2307" fmla="*/ 281 w 10577"/>
                <a:gd name="connsiteY2307" fmla="*/ 3556 h 10000"/>
                <a:gd name="connsiteX2308" fmla="*/ 272 w 10577"/>
                <a:gd name="connsiteY2308" fmla="*/ 3564 h 10000"/>
                <a:gd name="connsiteX2309" fmla="*/ 267 w 10577"/>
                <a:gd name="connsiteY2309" fmla="*/ 3564 h 10000"/>
                <a:gd name="connsiteX2310" fmla="*/ 253 w 10577"/>
                <a:gd name="connsiteY2310" fmla="*/ 3538 h 10000"/>
                <a:gd name="connsiteX2311" fmla="*/ 226 w 10577"/>
                <a:gd name="connsiteY2311" fmla="*/ 3513 h 10000"/>
                <a:gd name="connsiteX2312" fmla="*/ 226 w 10577"/>
                <a:gd name="connsiteY2312" fmla="*/ 3530 h 10000"/>
                <a:gd name="connsiteX2313" fmla="*/ 226 w 10577"/>
                <a:gd name="connsiteY2313" fmla="*/ 3530 h 10000"/>
                <a:gd name="connsiteX2314" fmla="*/ 226 w 10577"/>
                <a:gd name="connsiteY2314" fmla="*/ 3530 h 10000"/>
                <a:gd name="connsiteX2315" fmla="*/ 226 w 10577"/>
                <a:gd name="connsiteY2315" fmla="*/ 3556 h 10000"/>
                <a:gd name="connsiteX2316" fmla="*/ 221 w 10577"/>
                <a:gd name="connsiteY2316" fmla="*/ 3598 h 10000"/>
                <a:gd name="connsiteX2317" fmla="*/ 207 w 10577"/>
                <a:gd name="connsiteY2317" fmla="*/ 3598 h 10000"/>
                <a:gd name="connsiteX2318" fmla="*/ 180 w 10577"/>
                <a:gd name="connsiteY2318" fmla="*/ 3581 h 10000"/>
                <a:gd name="connsiteX2319" fmla="*/ 171 w 10577"/>
                <a:gd name="connsiteY2319" fmla="*/ 3641 h 10000"/>
                <a:gd name="connsiteX2320" fmla="*/ 166 w 10577"/>
                <a:gd name="connsiteY2320" fmla="*/ 3650 h 10000"/>
                <a:gd name="connsiteX2321" fmla="*/ 124 w 10577"/>
                <a:gd name="connsiteY2321" fmla="*/ 3701 h 10000"/>
                <a:gd name="connsiteX2322" fmla="*/ 124 w 10577"/>
                <a:gd name="connsiteY2322" fmla="*/ 3718 h 10000"/>
                <a:gd name="connsiteX2323" fmla="*/ 120 w 10577"/>
                <a:gd name="connsiteY2323" fmla="*/ 3735 h 10000"/>
                <a:gd name="connsiteX2324" fmla="*/ 120 w 10577"/>
                <a:gd name="connsiteY2324" fmla="*/ 3735 h 10000"/>
                <a:gd name="connsiteX2325" fmla="*/ 111 w 10577"/>
                <a:gd name="connsiteY2325" fmla="*/ 3761 h 10000"/>
                <a:gd name="connsiteX2326" fmla="*/ 106 w 10577"/>
                <a:gd name="connsiteY2326" fmla="*/ 3761 h 10000"/>
                <a:gd name="connsiteX2327" fmla="*/ 106 w 10577"/>
                <a:gd name="connsiteY2327" fmla="*/ 3761 h 10000"/>
                <a:gd name="connsiteX2328" fmla="*/ 74 w 10577"/>
                <a:gd name="connsiteY2328" fmla="*/ 3829 h 10000"/>
                <a:gd name="connsiteX2329" fmla="*/ 78 w 10577"/>
                <a:gd name="connsiteY2329" fmla="*/ 3838 h 10000"/>
                <a:gd name="connsiteX2330" fmla="*/ 88 w 10577"/>
                <a:gd name="connsiteY2330" fmla="*/ 3846 h 10000"/>
                <a:gd name="connsiteX2331" fmla="*/ 65 w 10577"/>
                <a:gd name="connsiteY2331" fmla="*/ 3923 h 10000"/>
                <a:gd name="connsiteX2332" fmla="*/ 78 w 10577"/>
                <a:gd name="connsiteY2332" fmla="*/ 4026 h 10000"/>
                <a:gd name="connsiteX2333" fmla="*/ 88 w 10577"/>
                <a:gd name="connsiteY2333" fmla="*/ 4051 h 10000"/>
                <a:gd name="connsiteX2334" fmla="*/ 92 w 10577"/>
                <a:gd name="connsiteY2334" fmla="*/ 4060 h 10000"/>
                <a:gd name="connsiteX2335" fmla="*/ 111 w 10577"/>
                <a:gd name="connsiteY2335" fmla="*/ 4060 h 10000"/>
                <a:gd name="connsiteX2336" fmla="*/ 124 w 10577"/>
                <a:gd name="connsiteY2336" fmla="*/ 4085 h 10000"/>
                <a:gd name="connsiteX2337" fmla="*/ 166 w 10577"/>
                <a:gd name="connsiteY2337" fmla="*/ 4197 h 10000"/>
                <a:gd name="connsiteX2338" fmla="*/ 166 w 10577"/>
                <a:gd name="connsiteY2338" fmla="*/ 4248 h 10000"/>
                <a:gd name="connsiteX2339" fmla="*/ 120 w 10577"/>
                <a:gd name="connsiteY2339" fmla="*/ 4462 h 10000"/>
                <a:gd name="connsiteX2340" fmla="*/ 120 w 10577"/>
                <a:gd name="connsiteY2340" fmla="*/ 4513 h 10000"/>
                <a:gd name="connsiteX2341" fmla="*/ 180 w 10577"/>
                <a:gd name="connsiteY2341" fmla="*/ 4829 h 10000"/>
                <a:gd name="connsiteX2342" fmla="*/ 161 w 10577"/>
                <a:gd name="connsiteY2342" fmla="*/ 4855 h 10000"/>
                <a:gd name="connsiteX2343" fmla="*/ 152 w 10577"/>
                <a:gd name="connsiteY2343" fmla="*/ 4940 h 10000"/>
                <a:gd name="connsiteX2344" fmla="*/ 161 w 10577"/>
                <a:gd name="connsiteY2344" fmla="*/ 4966 h 10000"/>
                <a:gd name="connsiteX2345" fmla="*/ 161 w 10577"/>
                <a:gd name="connsiteY2345" fmla="*/ 5009 h 10000"/>
                <a:gd name="connsiteX2346" fmla="*/ 152 w 10577"/>
                <a:gd name="connsiteY2346" fmla="*/ 5034 h 10000"/>
                <a:gd name="connsiteX2347" fmla="*/ 152 w 10577"/>
                <a:gd name="connsiteY2347" fmla="*/ 5077 h 10000"/>
                <a:gd name="connsiteX2348" fmla="*/ 171 w 10577"/>
                <a:gd name="connsiteY2348" fmla="*/ 5094 h 10000"/>
                <a:gd name="connsiteX2349" fmla="*/ 180 w 10577"/>
                <a:gd name="connsiteY2349" fmla="*/ 5128 h 10000"/>
                <a:gd name="connsiteX2350" fmla="*/ 180 w 10577"/>
                <a:gd name="connsiteY2350" fmla="*/ 5171 h 10000"/>
                <a:gd name="connsiteX2351" fmla="*/ 184 w 10577"/>
                <a:gd name="connsiteY2351" fmla="*/ 5205 h 10000"/>
                <a:gd name="connsiteX2352" fmla="*/ 207 w 10577"/>
                <a:gd name="connsiteY2352" fmla="*/ 5239 h 10000"/>
                <a:gd name="connsiteX2353" fmla="*/ 207 w 10577"/>
                <a:gd name="connsiteY2353" fmla="*/ 5282 h 10000"/>
                <a:gd name="connsiteX2354" fmla="*/ 180 w 10577"/>
                <a:gd name="connsiteY2354" fmla="*/ 5393 h 10000"/>
                <a:gd name="connsiteX2355" fmla="*/ 194 w 10577"/>
                <a:gd name="connsiteY2355" fmla="*/ 5427 h 10000"/>
                <a:gd name="connsiteX2356" fmla="*/ 198 w 10577"/>
                <a:gd name="connsiteY2356" fmla="*/ 5462 h 10000"/>
                <a:gd name="connsiteX2357" fmla="*/ 235 w 10577"/>
                <a:gd name="connsiteY2357" fmla="*/ 5513 h 10000"/>
                <a:gd name="connsiteX2358" fmla="*/ 240 w 10577"/>
                <a:gd name="connsiteY2358" fmla="*/ 5556 h 10000"/>
                <a:gd name="connsiteX2359" fmla="*/ 253 w 10577"/>
                <a:gd name="connsiteY2359" fmla="*/ 5590 h 10000"/>
                <a:gd name="connsiteX2360" fmla="*/ 258 w 10577"/>
                <a:gd name="connsiteY2360" fmla="*/ 5573 h 10000"/>
                <a:gd name="connsiteX2361" fmla="*/ 258 w 10577"/>
                <a:gd name="connsiteY2361" fmla="*/ 5667 h 10000"/>
                <a:gd name="connsiteX2362" fmla="*/ 14 w 10577"/>
                <a:gd name="connsiteY2362" fmla="*/ 6214 h 10000"/>
                <a:gd name="connsiteX2363" fmla="*/ 14 w 10577"/>
                <a:gd name="connsiteY2363" fmla="*/ 6214 h 10000"/>
                <a:gd name="connsiteX2364" fmla="*/ 37 w 10577"/>
                <a:gd name="connsiteY2364" fmla="*/ 6214 h 10000"/>
                <a:gd name="connsiteX2365" fmla="*/ 51 w 10577"/>
                <a:gd name="connsiteY2365" fmla="*/ 6188 h 10000"/>
                <a:gd name="connsiteX2366" fmla="*/ 78 w 10577"/>
                <a:gd name="connsiteY2366" fmla="*/ 6162 h 10000"/>
                <a:gd name="connsiteX2367" fmla="*/ 78 w 10577"/>
                <a:gd name="connsiteY2367" fmla="*/ 6188 h 10000"/>
                <a:gd name="connsiteX2368" fmla="*/ 74 w 10577"/>
                <a:gd name="connsiteY2368" fmla="*/ 6197 h 10000"/>
                <a:gd name="connsiteX2369" fmla="*/ 74 w 10577"/>
                <a:gd name="connsiteY2369" fmla="*/ 6231 h 10000"/>
                <a:gd name="connsiteX2370" fmla="*/ 74 w 10577"/>
                <a:gd name="connsiteY2370" fmla="*/ 6214 h 10000"/>
                <a:gd name="connsiteX2371" fmla="*/ 65 w 10577"/>
                <a:gd name="connsiteY2371" fmla="*/ 6214 h 10000"/>
                <a:gd name="connsiteX2372" fmla="*/ 65 w 10577"/>
                <a:gd name="connsiteY2372" fmla="*/ 6248 h 10000"/>
                <a:gd name="connsiteX2373" fmla="*/ 74 w 10577"/>
                <a:gd name="connsiteY2373" fmla="*/ 6256 h 10000"/>
                <a:gd name="connsiteX2374" fmla="*/ 78 w 10577"/>
                <a:gd name="connsiteY2374" fmla="*/ 6256 h 10000"/>
                <a:gd name="connsiteX2375" fmla="*/ 106 w 10577"/>
                <a:gd name="connsiteY2375" fmla="*/ 6308 h 10000"/>
                <a:gd name="connsiteX2376" fmla="*/ 138 w 10577"/>
                <a:gd name="connsiteY2376" fmla="*/ 6299 h 10000"/>
                <a:gd name="connsiteX2377" fmla="*/ 152 w 10577"/>
                <a:gd name="connsiteY2377" fmla="*/ 6299 h 10000"/>
                <a:gd name="connsiteX2378" fmla="*/ 166 w 10577"/>
                <a:gd name="connsiteY2378" fmla="*/ 6325 h 10000"/>
                <a:gd name="connsiteX2379" fmla="*/ 166 w 10577"/>
                <a:gd name="connsiteY2379" fmla="*/ 6333 h 10000"/>
                <a:gd name="connsiteX2380" fmla="*/ 171 w 10577"/>
                <a:gd name="connsiteY2380" fmla="*/ 6350 h 10000"/>
                <a:gd name="connsiteX2381" fmla="*/ 180 w 10577"/>
                <a:gd name="connsiteY2381" fmla="*/ 6350 h 10000"/>
                <a:gd name="connsiteX2382" fmla="*/ 180 w 10577"/>
                <a:gd name="connsiteY2382" fmla="*/ 6359 h 10000"/>
                <a:gd name="connsiteX2383" fmla="*/ 171 w 10577"/>
                <a:gd name="connsiteY2383" fmla="*/ 6368 h 10000"/>
                <a:gd name="connsiteX2384" fmla="*/ 106 w 10577"/>
                <a:gd name="connsiteY2384" fmla="*/ 6350 h 10000"/>
                <a:gd name="connsiteX2385" fmla="*/ 101 w 10577"/>
                <a:gd name="connsiteY2385" fmla="*/ 6359 h 10000"/>
                <a:gd name="connsiteX2386" fmla="*/ 101 w 10577"/>
                <a:gd name="connsiteY2386" fmla="*/ 6385 h 10000"/>
                <a:gd name="connsiteX2387" fmla="*/ 78 w 10577"/>
                <a:gd name="connsiteY2387" fmla="*/ 6393 h 10000"/>
                <a:gd name="connsiteX2388" fmla="*/ 74 w 10577"/>
                <a:gd name="connsiteY2388" fmla="*/ 6385 h 10000"/>
                <a:gd name="connsiteX2389" fmla="*/ 65 w 10577"/>
                <a:gd name="connsiteY2389" fmla="*/ 6393 h 10000"/>
                <a:gd name="connsiteX2390" fmla="*/ 60 w 10577"/>
                <a:gd name="connsiteY2390" fmla="*/ 6419 h 10000"/>
                <a:gd name="connsiteX2391" fmla="*/ 51 w 10577"/>
                <a:gd name="connsiteY2391" fmla="*/ 6419 h 10000"/>
                <a:gd name="connsiteX2392" fmla="*/ 46 w 10577"/>
                <a:gd name="connsiteY2392" fmla="*/ 6410 h 10000"/>
                <a:gd name="connsiteX2393" fmla="*/ 37 w 10577"/>
                <a:gd name="connsiteY2393" fmla="*/ 6393 h 10000"/>
                <a:gd name="connsiteX2394" fmla="*/ 32 w 10577"/>
                <a:gd name="connsiteY2394" fmla="*/ 6419 h 10000"/>
                <a:gd name="connsiteX2395" fmla="*/ 37 w 10577"/>
                <a:gd name="connsiteY2395" fmla="*/ 6462 h 10000"/>
                <a:gd name="connsiteX2396" fmla="*/ 46 w 10577"/>
                <a:gd name="connsiteY2396" fmla="*/ 6462 h 10000"/>
                <a:gd name="connsiteX2397" fmla="*/ 51 w 10577"/>
                <a:gd name="connsiteY2397" fmla="*/ 6470 h 10000"/>
                <a:gd name="connsiteX2398" fmla="*/ 51 w 10577"/>
                <a:gd name="connsiteY2398" fmla="*/ 6496 h 10000"/>
                <a:gd name="connsiteX2399" fmla="*/ 51 w 10577"/>
                <a:gd name="connsiteY2399" fmla="*/ 6504 h 10000"/>
                <a:gd name="connsiteX2400" fmla="*/ 37 w 10577"/>
                <a:gd name="connsiteY2400" fmla="*/ 6530 h 10000"/>
                <a:gd name="connsiteX2401" fmla="*/ 18 w 10577"/>
                <a:gd name="connsiteY2401" fmla="*/ 6598 h 10000"/>
                <a:gd name="connsiteX2402" fmla="*/ 28 w 10577"/>
                <a:gd name="connsiteY2402" fmla="*/ 6632 h 10000"/>
                <a:gd name="connsiteX2403" fmla="*/ 18 w 10577"/>
                <a:gd name="connsiteY2403" fmla="*/ 6667 h 10000"/>
                <a:gd name="connsiteX2404" fmla="*/ 28 w 10577"/>
                <a:gd name="connsiteY2404" fmla="*/ 6692 h 10000"/>
                <a:gd name="connsiteX2405" fmla="*/ 28 w 10577"/>
                <a:gd name="connsiteY2405" fmla="*/ 6709 h 10000"/>
                <a:gd name="connsiteX2406" fmla="*/ 18 w 10577"/>
                <a:gd name="connsiteY2406" fmla="*/ 6718 h 10000"/>
                <a:gd name="connsiteX2407" fmla="*/ 5 w 10577"/>
                <a:gd name="connsiteY2407" fmla="*/ 6744 h 10000"/>
                <a:gd name="connsiteX2408" fmla="*/ 0 w 10577"/>
                <a:gd name="connsiteY2408" fmla="*/ 6769 h 10000"/>
                <a:gd name="connsiteX2409" fmla="*/ 5 w 10577"/>
                <a:gd name="connsiteY2409" fmla="*/ 6778 h 10000"/>
                <a:gd name="connsiteX2410" fmla="*/ 32 w 10577"/>
                <a:gd name="connsiteY2410" fmla="*/ 6778 h 10000"/>
                <a:gd name="connsiteX2411" fmla="*/ 46 w 10577"/>
                <a:gd name="connsiteY2411" fmla="*/ 6821 h 10000"/>
                <a:gd name="connsiteX2412" fmla="*/ 46 w 10577"/>
                <a:gd name="connsiteY2412" fmla="*/ 6855 h 10000"/>
                <a:gd name="connsiteX2413" fmla="*/ 32 w 10577"/>
                <a:gd name="connsiteY2413" fmla="*/ 6855 h 10000"/>
                <a:gd name="connsiteX2414" fmla="*/ 14 w 10577"/>
                <a:gd name="connsiteY2414" fmla="*/ 6821 h 10000"/>
                <a:gd name="connsiteX2415" fmla="*/ 14 w 10577"/>
                <a:gd name="connsiteY2415" fmla="*/ 6846 h 10000"/>
                <a:gd name="connsiteX2416" fmla="*/ 0 w 10577"/>
                <a:gd name="connsiteY2416" fmla="*/ 6897 h 10000"/>
                <a:gd name="connsiteX2417" fmla="*/ 0 w 10577"/>
                <a:gd name="connsiteY2417" fmla="*/ 6915 h 10000"/>
                <a:gd name="connsiteX2418" fmla="*/ 5 w 10577"/>
                <a:gd name="connsiteY2418" fmla="*/ 6932 h 10000"/>
                <a:gd name="connsiteX2419" fmla="*/ 14 w 10577"/>
                <a:gd name="connsiteY2419" fmla="*/ 6940 h 10000"/>
                <a:gd name="connsiteX2420" fmla="*/ 18 w 10577"/>
                <a:gd name="connsiteY2420" fmla="*/ 6957 h 10000"/>
                <a:gd name="connsiteX2421" fmla="*/ 28 w 10577"/>
                <a:gd name="connsiteY2421" fmla="*/ 6966 h 10000"/>
                <a:gd name="connsiteX2422" fmla="*/ 28 w 10577"/>
                <a:gd name="connsiteY2422" fmla="*/ 6983 h 10000"/>
                <a:gd name="connsiteX2423" fmla="*/ 18 w 10577"/>
                <a:gd name="connsiteY2423" fmla="*/ 7051 h 10000"/>
                <a:gd name="connsiteX2424" fmla="*/ 28 w 10577"/>
                <a:gd name="connsiteY2424" fmla="*/ 7068 h 10000"/>
                <a:gd name="connsiteX2425" fmla="*/ 32 w 10577"/>
                <a:gd name="connsiteY2425" fmla="*/ 7068 h 10000"/>
                <a:gd name="connsiteX2426" fmla="*/ 32 w 10577"/>
                <a:gd name="connsiteY2426" fmla="*/ 7094 h 10000"/>
                <a:gd name="connsiteX2427" fmla="*/ 60 w 10577"/>
                <a:gd name="connsiteY2427" fmla="*/ 7162 h 10000"/>
                <a:gd name="connsiteX2428" fmla="*/ 60 w 10577"/>
                <a:gd name="connsiteY2428" fmla="*/ 7231 h 10000"/>
                <a:gd name="connsiteX2429" fmla="*/ 60 w 10577"/>
                <a:gd name="connsiteY2429" fmla="*/ 7239 h 10000"/>
                <a:gd name="connsiteX2430" fmla="*/ 78 w 10577"/>
                <a:gd name="connsiteY2430" fmla="*/ 7239 h 10000"/>
                <a:gd name="connsiteX2431" fmla="*/ 88 w 10577"/>
                <a:gd name="connsiteY2431" fmla="*/ 7239 h 10000"/>
                <a:gd name="connsiteX2432" fmla="*/ 92 w 10577"/>
                <a:gd name="connsiteY2432" fmla="*/ 7256 h 10000"/>
                <a:gd name="connsiteX2433" fmla="*/ 111 w 10577"/>
                <a:gd name="connsiteY2433" fmla="*/ 7256 h 10000"/>
                <a:gd name="connsiteX2434" fmla="*/ 120 w 10577"/>
                <a:gd name="connsiteY2434" fmla="*/ 7256 h 10000"/>
                <a:gd name="connsiteX2435" fmla="*/ 134 w 10577"/>
                <a:gd name="connsiteY2435" fmla="*/ 7282 h 10000"/>
                <a:gd name="connsiteX2436" fmla="*/ 134 w 10577"/>
                <a:gd name="connsiteY2436" fmla="*/ 7316 h 10000"/>
                <a:gd name="connsiteX2437" fmla="*/ 152 w 10577"/>
                <a:gd name="connsiteY2437" fmla="*/ 7299 h 10000"/>
                <a:gd name="connsiteX2438" fmla="*/ 161 w 10577"/>
                <a:gd name="connsiteY2438" fmla="*/ 7299 h 10000"/>
                <a:gd name="connsiteX2439" fmla="*/ 166 w 10577"/>
                <a:gd name="connsiteY2439" fmla="*/ 7291 h 10000"/>
                <a:gd name="connsiteX2440" fmla="*/ 194 w 10577"/>
                <a:gd name="connsiteY2440" fmla="*/ 7291 h 10000"/>
                <a:gd name="connsiteX2441" fmla="*/ 207 w 10577"/>
                <a:gd name="connsiteY2441" fmla="*/ 7299 h 10000"/>
                <a:gd name="connsiteX2442" fmla="*/ 221 w 10577"/>
                <a:gd name="connsiteY2442" fmla="*/ 7342 h 10000"/>
                <a:gd name="connsiteX2443" fmla="*/ 235 w 10577"/>
                <a:gd name="connsiteY2443" fmla="*/ 7342 h 10000"/>
                <a:gd name="connsiteX2444" fmla="*/ 235 w 10577"/>
                <a:gd name="connsiteY2444" fmla="*/ 7368 h 10000"/>
                <a:gd name="connsiteX2445" fmla="*/ 226 w 10577"/>
                <a:gd name="connsiteY2445" fmla="*/ 7393 h 10000"/>
                <a:gd name="connsiteX2446" fmla="*/ 226 w 10577"/>
                <a:gd name="connsiteY2446" fmla="*/ 7402 h 10000"/>
                <a:gd name="connsiteX2447" fmla="*/ 235 w 10577"/>
                <a:gd name="connsiteY2447" fmla="*/ 7419 h 10000"/>
                <a:gd name="connsiteX2448" fmla="*/ 240 w 10577"/>
                <a:gd name="connsiteY2448" fmla="*/ 7436 h 10000"/>
                <a:gd name="connsiteX2449" fmla="*/ 235 w 10577"/>
                <a:gd name="connsiteY2449" fmla="*/ 7462 h 10000"/>
                <a:gd name="connsiteX2450" fmla="*/ 226 w 10577"/>
                <a:gd name="connsiteY2450" fmla="*/ 7479 h 10000"/>
                <a:gd name="connsiteX2451" fmla="*/ 226 w 10577"/>
                <a:gd name="connsiteY2451" fmla="*/ 7504 h 10000"/>
                <a:gd name="connsiteX2452" fmla="*/ 226 w 10577"/>
                <a:gd name="connsiteY2452" fmla="*/ 7513 h 10000"/>
                <a:gd name="connsiteX2453" fmla="*/ 240 w 10577"/>
                <a:gd name="connsiteY2453" fmla="*/ 7538 h 10000"/>
                <a:gd name="connsiteX2454" fmla="*/ 267 w 10577"/>
                <a:gd name="connsiteY2454" fmla="*/ 7641 h 10000"/>
                <a:gd name="connsiteX2455" fmla="*/ 281 w 10577"/>
                <a:gd name="connsiteY2455" fmla="*/ 7667 h 10000"/>
                <a:gd name="connsiteX2456" fmla="*/ 286 w 10577"/>
                <a:gd name="connsiteY2456" fmla="*/ 7675 h 10000"/>
                <a:gd name="connsiteX2457" fmla="*/ 286 w 10577"/>
                <a:gd name="connsiteY2457" fmla="*/ 7692 h 10000"/>
                <a:gd name="connsiteX2458" fmla="*/ 286 w 10577"/>
                <a:gd name="connsiteY2458" fmla="*/ 7709 h 10000"/>
                <a:gd name="connsiteX2459" fmla="*/ 295 w 10577"/>
                <a:gd name="connsiteY2459" fmla="*/ 7726 h 10000"/>
                <a:gd name="connsiteX2460" fmla="*/ 318 w 10577"/>
                <a:gd name="connsiteY2460" fmla="*/ 7709 h 10000"/>
                <a:gd name="connsiteX2461" fmla="*/ 327 w 10577"/>
                <a:gd name="connsiteY2461" fmla="*/ 7726 h 10000"/>
                <a:gd name="connsiteX2462" fmla="*/ 341 w 10577"/>
                <a:gd name="connsiteY2462" fmla="*/ 7735 h 10000"/>
                <a:gd name="connsiteX2463" fmla="*/ 332 w 10577"/>
                <a:gd name="connsiteY2463" fmla="*/ 7752 h 10000"/>
                <a:gd name="connsiteX2464" fmla="*/ 341 w 10577"/>
                <a:gd name="connsiteY2464" fmla="*/ 7761 h 10000"/>
                <a:gd name="connsiteX2465" fmla="*/ 355 w 10577"/>
                <a:gd name="connsiteY2465" fmla="*/ 7761 h 10000"/>
                <a:gd name="connsiteX2466" fmla="*/ 355 w 10577"/>
                <a:gd name="connsiteY2466" fmla="*/ 7803 h 10000"/>
                <a:gd name="connsiteX2467" fmla="*/ 313 w 10577"/>
                <a:gd name="connsiteY2467" fmla="*/ 7846 h 10000"/>
                <a:gd name="connsiteX2468" fmla="*/ 295 w 10577"/>
                <a:gd name="connsiteY2468" fmla="*/ 7846 h 10000"/>
                <a:gd name="connsiteX2469" fmla="*/ 281 w 10577"/>
                <a:gd name="connsiteY2469" fmla="*/ 7821 h 10000"/>
                <a:gd name="connsiteX2470" fmla="*/ 272 w 10577"/>
                <a:gd name="connsiteY2470" fmla="*/ 7821 h 10000"/>
                <a:gd name="connsiteX2471" fmla="*/ 267 w 10577"/>
                <a:gd name="connsiteY2471" fmla="*/ 7838 h 10000"/>
                <a:gd name="connsiteX2472" fmla="*/ 258 w 10577"/>
                <a:gd name="connsiteY2472" fmla="*/ 7846 h 10000"/>
                <a:gd name="connsiteX2473" fmla="*/ 253 w 10577"/>
                <a:gd name="connsiteY2473" fmla="*/ 7863 h 10000"/>
                <a:gd name="connsiteX2474" fmla="*/ 253 w 10577"/>
                <a:gd name="connsiteY2474" fmla="*/ 7872 h 10000"/>
                <a:gd name="connsiteX2475" fmla="*/ 267 w 10577"/>
                <a:gd name="connsiteY2475" fmla="*/ 7897 h 10000"/>
                <a:gd name="connsiteX2476" fmla="*/ 272 w 10577"/>
                <a:gd name="connsiteY2476" fmla="*/ 7915 h 10000"/>
                <a:gd name="connsiteX2477" fmla="*/ 267 w 10577"/>
                <a:gd name="connsiteY2477" fmla="*/ 7940 h 10000"/>
                <a:gd name="connsiteX2478" fmla="*/ 272 w 10577"/>
                <a:gd name="connsiteY2478" fmla="*/ 7949 h 10000"/>
                <a:gd name="connsiteX2479" fmla="*/ 272 w 10577"/>
                <a:gd name="connsiteY2479" fmla="*/ 7957 h 10000"/>
                <a:gd name="connsiteX2480" fmla="*/ 281 w 10577"/>
                <a:gd name="connsiteY2480" fmla="*/ 7974 h 10000"/>
                <a:gd name="connsiteX2481" fmla="*/ 286 w 10577"/>
                <a:gd name="connsiteY2481" fmla="*/ 7983 h 10000"/>
                <a:gd name="connsiteX2482" fmla="*/ 281 w 10577"/>
                <a:gd name="connsiteY2482" fmla="*/ 8009 h 10000"/>
                <a:gd name="connsiteX2483" fmla="*/ 286 w 10577"/>
                <a:gd name="connsiteY2483" fmla="*/ 8060 h 10000"/>
                <a:gd name="connsiteX2484" fmla="*/ 286 w 10577"/>
                <a:gd name="connsiteY2484" fmla="*/ 8060 h 10000"/>
                <a:gd name="connsiteX2485" fmla="*/ 295 w 10577"/>
                <a:gd name="connsiteY2485" fmla="*/ 8077 h 10000"/>
                <a:gd name="connsiteX2486" fmla="*/ 309 w 10577"/>
                <a:gd name="connsiteY2486" fmla="*/ 8077 h 10000"/>
                <a:gd name="connsiteX2487" fmla="*/ 313 w 10577"/>
                <a:gd name="connsiteY2487" fmla="*/ 8060 h 10000"/>
                <a:gd name="connsiteX2488" fmla="*/ 318 w 10577"/>
                <a:gd name="connsiteY2488" fmla="*/ 8051 h 10000"/>
                <a:gd name="connsiteX2489" fmla="*/ 318 w 10577"/>
                <a:gd name="connsiteY2489" fmla="*/ 8034 h 10000"/>
                <a:gd name="connsiteX2490" fmla="*/ 332 w 10577"/>
                <a:gd name="connsiteY2490" fmla="*/ 8026 h 10000"/>
                <a:gd name="connsiteX2491" fmla="*/ 359 w 10577"/>
                <a:gd name="connsiteY2491" fmla="*/ 8034 h 10000"/>
                <a:gd name="connsiteX2492" fmla="*/ 378 w 10577"/>
                <a:gd name="connsiteY2492" fmla="*/ 8026 h 10000"/>
                <a:gd name="connsiteX2493" fmla="*/ 401 w 10577"/>
                <a:gd name="connsiteY2493" fmla="*/ 8026 h 10000"/>
                <a:gd name="connsiteX2494" fmla="*/ 419 w 10577"/>
                <a:gd name="connsiteY2494" fmla="*/ 8009 h 10000"/>
                <a:gd name="connsiteX2495" fmla="*/ 433 w 10577"/>
                <a:gd name="connsiteY2495" fmla="*/ 8034 h 10000"/>
                <a:gd name="connsiteX2496" fmla="*/ 442 w 10577"/>
                <a:gd name="connsiteY2496" fmla="*/ 8060 h 10000"/>
                <a:gd name="connsiteX2497" fmla="*/ 442 w 10577"/>
                <a:gd name="connsiteY2497" fmla="*/ 8077 h 10000"/>
                <a:gd name="connsiteX2498" fmla="*/ 461 w 10577"/>
                <a:gd name="connsiteY2498" fmla="*/ 8111 h 10000"/>
                <a:gd name="connsiteX2499" fmla="*/ 461 w 10577"/>
                <a:gd name="connsiteY2499" fmla="*/ 8137 h 10000"/>
                <a:gd name="connsiteX2500" fmla="*/ 447 w 10577"/>
                <a:gd name="connsiteY2500" fmla="*/ 8145 h 10000"/>
                <a:gd name="connsiteX2501" fmla="*/ 442 w 10577"/>
                <a:gd name="connsiteY2501" fmla="*/ 8145 h 10000"/>
                <a:gd name="connsiteX2502" fmla="*/ 442 w 10577"/>
                <a:gd name="connsiteY2502" fmla="*/ 8162 h 10000"/>
                <a:gd name="connsiteX2503" fmla="*/ 442 w 10577"/>
                <a:gd name="connsiteY2503" fmla="*/ 8171 h 10000"/>
                <a:gd name="connsiteX2504" fmla="*/ 447 w 10577"/>
                <a:gd name="connsiteY2504" fmla="*/ 8214 h 10000"/>
                <a:gd name="connsiteX2505" fmla="*/ 465 w 10577"/>
                <a:gd name="connsiteY2505" fmla="*/ 8231 h 10000"/>
                <a:gd name="connsiteX2506" fmla="*/ 488 w 10577"/>
                <a:gd name="connsiteY2506" fmla="*/ 8231 h 10000"/>
                <a:gd name="connsiteX2507" fmla="*/ 493 w 10577"/>
                <a:gd name="connsiteY2507" fmla="*/ 8231 h 10000"/>
                <a:gd name="connsiteX2508" fmla="*/ 502 w 10577"/>
                <a:gd name="connsiteY2508" fmla="*/ 8231 h 10000"/>
                <a:gd name="connsiteX2509" fmla="*/ 507 w 10577"/>
                <a:gd name="connsiteY2509" fmla="*/ 8248 h 10000"/>
                <a:gd name="connsiteX2510" fmla="*/ 521 w 10577"/>
                <a:gd name="connsiteY2510" fmla="*/ 8274 h 10000"/>
                <a:gd name="connsiteX2511" fmla="*/ 525 w 10577"/>
                <a:gd name="connsiteY2511" fmla="*/ 8333 h 10000"/>
                <a:gd name="connsiteX2512" fmla="*/ 525 w 10577"/>
                <a:gd name="connsiteY2512" fmla="*/ 8359 h 10000"/>
                <a:gd name="connsiteX2513" fmla="*/ 525 w 10577"/>
                <a:gd name="connsiteY2513" fmla="*/ 8368 h 10000"/>
                <a:gd name="connsiteX2514" fmla="*/ 548 w 10577"/>
                <a:gd name="connsiteY2514" fmla="*/ 8393 h 10000"/>
                <a:gd name="connsiteX2515" fmla="*/ 553 w 10577"/>
                <a:gd name="connsiteY2515" fmla="*/ 8385 h 10000"/>
                <a:gd name="connsiteX2516" fmla="*/ 562 w 10577"/>
                <a:gd name="connsiteY2516" fmla="*/ 8385 h 10000"/>
                <a:gd name="connsiteX2517" fmla="*/ 576 w 10577"/>
                <a:gd name="connsiteY2517" fmla="*/ 8385 h 10000"/>
                <a:gd name="connsiteX2518" fmla="*/ 585 w 10577"/>
                <a:gd name="connsiteY2518" fmla="*/ 8410 h 10000"/>
                <a:gd name="connsiteX2519" fmla="*/ 594 w 10577"/>
                <a:gd name="connsiteY2519" fmla="*/ 8410 h 10000"/>
                <a:gd name="connsiteX2520" fmla="*/ 608 w 10577"/>
                <a:gd name="connsiteY2520" fmla="*/ 8410 h 10000"/>
                <a:gd name="connsiteX2521" fmla="*/ 654 w 10577"/>
                <a:gd name="connsiteY2521" fmla="*/ 8385 h 10000"/>
                <a:gd name="connsiteX2522" fmla="*/ 659 w 10577"/>
                <a:gd name="connsiteY2522" fmla="*/ 8385 h 10000"/>
                <a:gd name="connsiteX2523" fmla="*/ 696 w 10577"/>
                <a:gd name="connsiteY2523" fmla="*/ 8470 h 10000"/>
                <a:gd name="connsiteX2524" fmla="*/ 700 w 10577"/>
                <a:gd name="connsiteY2524" fmla="*/ 8470 h 10000"/>
                <a:gd name="connsiteX2525" fmla="*/ 710 w 10577"/>
                <a:gd name="connsiteY2525" fmla="*/ 8462 h 10000"/>
                <a:gd name="connsiteX2526" fmla="*/ 714 w 10577"/>
                <a:gd name="connsiteY2526" fmla="*/ 8462 h 10000"/>
                <a:gd name="connsiteX2527" fmla="*/ 724 w 10577"/>
                <a:gd name="connsiteY2527" fmla="*/ 8470 h 10000"/>
                <a:gd name="connsiteX2528" fmla="*/ 733 w 10577"/>
                <a:gd name="connsiteY2528" fmla="*/ 8470 h 10000"/>
                <a:gd name="connsiteX2529" fmla="*/ 742 w 10577"/>
                <a:gd name="connsiteY2529" fmla="*/ 8487 h 10000"/>
                <a:gd name="connsiteX2530" fmla="*/ 747 w 10577"/>
                <a:gd name="connsiteY2530" fmla="*/ 8496 h 10000"/>
                <a:gd name="connsiteX2531" fmla="*/ 770 w 10577"/>
                <a:gd name="connsiteY2531" fmla="*/ 8496 h 10000"/>
                <a:gd name="connsiteX2532" fmla="*/ 783 w 10577"/>
                <a:gd name="connsiteY2532" fmla="*/ 8521 h 10000"/>
                <a:gd name="connsiteX2533" fmla="*/ 797 w 10577"/>
                <a:gd name="connsiteY2533" fmla="*/ 8521 h 10000"/>
                <a:gd name="connsiteX2534" fmla="*/ 806 w 10577"/>
                <a:gd name="connsiteY2534" fmla="*/ 8530 h 10000"/>
                <a:gd name="connsiteX2535" fmla="*/ 829 w 10577"/>
                <a:gd name="connsiteY2535" fmla="*/ 8547 h 10000"/>
                <a:gd name="connsiteX2536" fmla="*/ 834 w 10577"/>
                <a:gd name="connsiteY2536" fmla="*/ 8556 h 10000"/>
                <a:gd name="connsiteX2537" fmla="*/ 829 w 10577"/>
                <a:gd name="connsiteY2537" fmla="*/ 8556 h 10000"/>
                <a:gd name="connsiteX2538" fmla="*/ 834 w 10577"/>
                <a:gd name="connsiteY2538" fmla="*/ 8607 h 10000"/>
                <a:gd name="connsiteX2539" fmla="*/ 829 w 10577"/>
                <a:gd name="connsiteY2539" fmla="*/ 8641 h 10000"/>
                <a:gd name="connsiteX2540" fmla="*/ 806 w 10577"/>
                <a:gd name="connsiteY2540" fmla="*/ 8658 h 10000"/>
                <a:gd name="connsiteX2541" fmla="*/ 816 w 10577"/>
                <a:gd name="connsiteY2541" fmla="*/ 8667 h 10000"/>
                <a:gd name="connsiteX2542" fmla="*/ 820 w 10577"/>
                <a:gd name="connsiteY2542" fmla="*/ 8667 h 10000"/>
                <a:gd name="connsiteX2543" fmla="*/ 829 w 10577"/>
                <a:gd name="connsiteY2543" fmla="*/ 8684 h 10000"/>
                <a:gd name="connsiteX2544" fmla="*/ 806 w 10577"/>
                <a:gd name="connsiteY2544" fmla="*/ 8692 h 10000"/>
                <a:gd name="connsiteX2545" fmla="*/ 802 w 10577"/>
                <a:gd name="connsiteY2545" fmla="*/ 8709 h 10000"/>
                <a:gd name="connsiteX2546" fmla="*/ 802 w 10577"/>
                <a:gd name="connsiteY2546" fmla="*/ 8735 h 10000"/>
                <a:gd name="connsiteX2547" fmla="*/ 806 w 10577"/>
                <a:gd name="connsiteY2547" fmla="*/ 8744 h 10000"/>
                <a:gd name="connsiteX2548" fmla="*/ 816 w 10577"/>
                <a:gd name="connsiteY2548" fmla="*/ 8752 h 10000"/>
                <a:gd name="connsiteX2549" fmla="*/ 806 w 10577"/>
                <a:gd name="connsiteY2549" fmla="*/ 8778 h 10000"/>
                <a:gd name="connsiteX2550" fmla="*/ 820 w 10577"/>
                <a:gd name="connsiteY2550" fmla="*/ 8778 h 10000"/>
                <a:gd name="connsiteX2551" fmla="*/ 806 w 10577"/>
                <a:gd name="connsiteY2551" fmla="*/ 8880 h 10000"/>
                <a:gd name="connsiteX2552" fmla="*/ 797 w 10577"/>
                <a:gd name="connsiteY2552" fmla="*/ 8880 h 10000"/>
                <a:gd name="connsiteX2553" fmla="*/ 783 w 10577"/>
                <a:gd name="connsiteY2553" fmla="*/ 8872 h 10000"/>
                <a:gd name="connsiteX2554" fmla="*/ 770 w 10577"/>
                <a:gd name="connsiteY2554" fmla="*/ 8880 h 10000"/>
                <a:gd name="connsiteX2555" fmla="*/ 756 w 10577"/>
                <a:gd name="connsiteY2555" fmla="*/ 8855 h 10000"/>
                <a:gd name="connsiteX2556" fmla="*/ 733 w 10577"/>
                <a:gd name="connsiteY2556" fmla="*/ 8906 h 10000"/>
                <a:gd name="connsiteX2557" fmla="*/ 714 w 10577"/>
                <a:gd name="connsiteY2557" fmla="*/ 8915 h 10000"/>
                <a:gd name="connsiteX2558" fmla="*/ 710 w 10577"/>
                <a:gd name="connsiteY2558" fmla="*/ 8940 h 10000"/>
                <a:gd name="connsiteX2559" fmla="*/ 710 w 10577"/>
                <a:gd name="connsiteY2559" fmla="*/ 9009 h 10000"/>
                <a:gd name="connsiteX2560" fmla="*/ 728 w 10577"/>
                <a:gd name="connsiteY2560" fmla="*/ 8991 h 10000"/>
                <a:gd name="connsiteX2561" fmla="*/ 733 w 10577"/>
                <a:gd name="connsiteY2561" fmla="*/ 8991 h 10000"/>
                <a:gd name="connsiteX2562" fmla="*/ 747 w 10577"/>
                <a:gd name="connsiteY2562" fmla="*/ 8983 h 10000"/>
                <a:gd name="connsiteX2563" fmla="*/ 760 w 10577"/>
                <a:gd name="connsiteY2563" fmla="*/ 8983 h 10000"/>
                <a:gd name="connsiteX2564" fmla="*/ 770 w 10577"/>
                <a:gd name="connsiteY2564" fmla="*/ 8983 h 10000"/>
                <a:gd name="connsiteX2565" fmla="*/ 770 w 10577"/>
                <a:gd name="connsiteY2565" fmla="*/ 8991 h 10000"/>
                <a:gd name="connsiteX2566" fmla="*/ 783 w 10577"/>
                <a:gd name="connsiteY2566" fmla="*/ 8991 h 10000"/>
                <a:gd name="connsiteX2567" fmla="*/ 783 w 10577"/>
                <a:gd name="connsiteY2567" fmla="*/ 9009 h 10000"/>
                <a:gd name="connsiteX2568" fmla="*/ 783 w 10577"/>
                <a:gd name="connsiteY2568" fmla="*/ 9017 h 10000"/>
                <a:gd name="connsiteX2569" fmla="*/ 770 w 10577"/>
                <a:gd name="connsiteY2569" fmla="*/ 9017 h 10000"/>
                <a:gd name="connsiteX2570" fmla="*/ 724 w 10577"/>
                <a:gd name="connsiteY2570" fmla="*/ 9051 h 10000"/>
                <a:gd name="connsiteX2571" fmla="*/ 724 w 10577"/>
                <a:gd name="connsiteY2571" fmla="*/ 9068 h 10000"/>
                <a:gd name="connsiteX2572" fmla="*/ 728 w 10577"/>
                <a:gd name="connsiteY2572" fmla="*/ 9077 h 10000"/>
                <a:gd name="connsiteX2573" fmla="*/ 724 w 10577"/>
                <a:gd name="connsiteY2573" fmla="*/ 9077 h 10000"/>
                <a:gd name="connsiteX2574" fmla="*/ 710 w 10577"/>
                <a:gd name="connsiteY2574" fmla="*/ 9077 h 10000"/>
                <a:gd name="connsiteX2575" fmla="*/ 682 w 10577"/>
                <a:gd name="connsiteY2575" fmla="*/ 9077 h 10000"/>
                <a:gd name="connsiteX2576" fmla="*/ 673 w 10577"/>
                <a:gd name="connsiteY2576" fmla="*/ 9103 h 10000"/>
                <a:gd name="connsiteX2577" fmla="*/ 687 w 10577"/>
                <a:gd name="connsiteY2577" fmla="*/ 9128 h 10000"/>
                <a:gd name="connsiteX2578" fmla="*/ 700 w 10577"/>
                <a:gd name="connsiteY2578" fmla="*/ 9128 h 10000"/>
                <a:gd name="connsiteX2579" fmla="*/ 728 w 10577"/>
                <a:gd name="connsiteY2579" fmla="*/ 9179 h 10000"/>
                <a:gd name="connsiteX2580" fmla="*/ 724 w 10577"/>
                <a:gd name="connsiteY2580" fmla="*/ 9188 h 10000"/>
                <a:gd name="connsiteX2581" fmla="*/ 710 w 10577"/>
                <a:gd name="connsiteY2581" fmla="*/ 9179 h 10000"/>
                <a:gd name="connsiteX2582" fmla="*/ 700 w 10577"/>
                <a:gd name="connsiteY2582" fmla="*/ 9205 h 10000"/>
                <a:gd name="connsiteX2583" fmla="*/ 696 w 10577"/>
                <a:gd name="connsiteY2583" fmla="*/ 9205 h 10000"/>
                <a:gd name="connsiteX2584" fmla="*/ 654 w 10577"/>
                <a:gd name="connsiteY2584" fmla="*/ 9299 h 10000"/>
                <a:gd name="connsiteX2585" fmla="*/ 622 w 10577"/>
                <a:gd name="connsiteY2585" fmla="*/ 9299 h 10000"/>
                <a:gd name="connsiteX2586" fmla="*/ 613 w 10577"/>
                <a:gd name="connsiteY2586" fmla="*/ 9316 h 10000"/>
                <a:gd name="connsiteX2587" fmla="*/ 613 w 10577"/>
                <a:gd name="connsiteY2587" fmla="*/ 9325 h 10000"/>
                <a:gd name="connsiteX2588" fmla="*/ 608 w 10577"/>
                <a:gd name="connsiteY2588" fmla="*/ 9342 h 10000"/>
                <a:gd name="connsiteX2589" fmla="*/ 636 w 10577"/>
                <a:gd name="connsiteY2589" fmla="*/ 9376 h 10000"/>
                <a:gd name="connsiteX2590" fmla="*/ 641 w 10577"/>
                <a:gd name="connsiteY2590" fmla="*/ 9402 h 10000"/>
                <a:gd name="connsiteX2591" fmla="*/ 654 w 10577"/>
                <a:gd name="connsiteY2591" fmla="*/ 9427 h 10000"/>
                <a:gd name="connsiteX2592" fmla="*/ 668 w 10577"/>
                <a:gd name="connsiteY2592" fmla="*/ 9427 h 10000"/>
                <a:gd name="connsiteX2593" fmla="*/ 668 w 10577"/>
                <a:gd name="connsiteY2593" fmla="*/ 9427 h 10000"/>
                <a:gd name="connsiteX2594" fmla="*/ 774 w 10577"/>
                <a:gd name="connsiteY2594" fmla="*/ 9547 h 10000"/>
                <a:gd name="connsiteX2595" fmla="*/ 797 w 10577"/>
                <a:gd name="connsiteY2595" fmla="*/ 9598 h 10000"/>
                <a:gd name="connsiteX2596" fmla="*/ 802 w 10577"/>
                <a:gd name="connsiteY2596" fmla="*/ 9598 h 10000"/>
                <a:gd name="connsiteX2597" fmla="*/ 816 w 10577"/>
                <a:gd name="connsiteY2597" fmla="*/ 9624 h 10000"/>
                <a:gd name="connsiteX2598" fmla="*/ 843 w 10577"/>
                <a:gd name="connsiteY2598" fmla="*/ 9615 h 10000"/>
                <a:gd name="connsiteX2599" fmla="*/ 857 w 10577"/>
                <a:gd name="connsiteY2599" fmla="*/ 9624 h 10000"/>
                <a:gd name="connsiteX2600" fmla="*/ 862 w 10577"/>
                <a:gd name="connsiteY2600" fmla="*/ 9615 h 10000"/>
                <a:gd name="connsiteX2601" fmla="*/ 880 w 10577"/>
                <a:gd name="connsiteY2601" fmla="*/ 9624 h 10000"/>
                <a:gd name="connsiteX2602" fmla="*/ 889 w 10577"/>
                <a:gd name="connsiteY2602" fmla="*/ 9641 h 10000"/>
                <a:gd name="connsiteX2603" fmla="*/ 935 w 10577"/>
                <a:gd name="connsiteY2603" fmla="*/ 9675 h 10000"/>
                <a:gd name="connsiteX2604" fmla="*/ 977 w 10577"/>
                <a:gd name="connsiteY2604" fmla="*/ 9667 h 10000"/>
                <a:gd name="connsiteX2605" fmla="*/ 995 w 10577"/>
                <a:gd name="connsiteY2605" fmla="*/ 9675 h 10000"/>
                <a:gd name="connsiteX2606" fmla="*/ 1014 w 10577"/>
                <a:gd name="connsiteY2606" fmla="*/ 9675 h 10000"/>
                <a:gd name="connsiteX2607" fmla="*/ 1069 w 10577"/>
                <a:gd name="connsiteY2607" fmla="*/ 9752 h 10000"/>
                <a:gd name="connsiteX2608" fmla="*/ 1074 w 10577"/>
                <a:gd name="connsiteY2608" fmla="*/ 9761 h 10000"/>
                <a:gd name="connsiteX2609" fmla="*/ 1083 w 10577"/>
                <a:gd name="connsiteY2609" fmla="*/ 9778 h 10000"/>
                <a:gd name="connsiteX2610" fmla="*/ 1115 w 10577"/>
                <a:gd name="connsiteY2610" fmla="*/ 9752 h 10000"/>
                <a:gd name="connsiteX2611" fmla="*/ 1129 w 10577"/>
                <a:gd name="connsiteY2611" fmla="*/ 9752 h 10000"/>
                <a:gd name="connsiteX2612" fmla="*/ 1138 w 10577"/>
                <a:gd name="connsiteY2612" fmla="*/ 9761 h 10000"/>
                <a:gd name="connsiteX2613" fmla="*/ 1143 w 10577"/>
                <a:gd name="connsiteY2613" fmla="*/ 9752 h 10000"/>
                <a:gd name="connsiteX2614" fmla="*/ 1161 w 10577"/>
                <a:gd name="connsiteY2614" fmla="*/ 9761 h 10000"/>
                <a:gd name="connsiteX2615" fmla="*/ 1171 w 10577"/>
                <a:gd name="connsiteY2615" fmla="*/ 9778 h 10000"/>
                <a:gd name="connsiteX2616" fmla="*/ 1175 w 10577"/>
                <a:gd name="connsiteY2616" fmla="*/ 9778 h 10000"/>
                <a:gd name="connsiteX2617" fmla="*/ 1189 w 10577"/>
                <a:gd name="connsiteY2617" fmla="*/ 9778 h 10000"/>
                <a:gd name="connsiteX2618" fmla="*/ 1198 w 10577"/>
                <a:gd name="connsiteY2618" fmla="*/ 9786 h 10000"/>
                <a:gd name="connsiteX2619" fmla="*/ 1203 w 10577"/>
                <a:gd name="connsiteY2619" fmla="*/ 9803 h 10000"/>
                <a:gd name="connsiteX2620" fmla="*/ 1198 w 10577"/>
                <a:gd name="connsiteY2620" fmla="*/ 9838 h 10000"/>
                <a:gd name="connsiteX2621" fmla="*/ 1212 w 10577"/>
                <a:gd name="connsiteY2621" fmla="*/ 9863 h 10000"/>
                <a:gd name="connsiteX2622" fmla="*/ 1230 w 10577"/>
                <a:gd name="connsiteY2622" fmla="*/ 9872 h 10000"/>
                <a:gd name="connsiteX2623" fmla="*/ 1249 w 10577"/>
                <a:gd name="connsiteY2623" fmla="*/ 9897 h 10000"/>
                <a:gd name="connsiteX2624" fmla="*/ 1263 w 10577"/>
                <a:gd name="connsiteY2624" fmla="*/ 9897 h 10000"/>
                <a:gd name="connsiteX2625" fmla="*/ 1276 w 10577"/>
                <a:gd name="connsiteY2625" fmla="*/ 9923 h 10000"/>
                <a:gd name="connsiteX2626" fmla="*/ 1281 w 10577"/>
                <a:gd name="connsiteY2626" fmla="*/ 9949 h 10000"/>
                <a:gd name="connsiteX2627" fmla="*/ 1290 w 10577"/>
                <a:gd name="connsiteY2627" fmla="*/ 9949 h 10000"/>
                <a:gd name="connsiteX2628" fmla="*/ 1295 w 10577"/>
                <a:gd name="connsiteY2628" fmla="*/ 10000 h 10000"/>
                <a:gd name="connsiteX2629" fmla="*/ 1332 w 10577"/>
                <a:gd name="connsiteY2629" fmla="*/ 10000 h 10000"/>
                <a:gd name="connsiteX2630" fmla="*/ 1336 w 10577"/>
                <a:gd name="connsiteY2630" fmla="*/ 10000 h 10000"/>
                <a:gd name="connsiteX2631" fmla="*/ 1346 w 10577"/>
                <a:gd name="connsiteY2631" fmla="*/ 9983 h 10000"/>
                <a:gd name="connsiteX2632" fmla="*/ 1350 w 10577"/>
                <a:gd name="connsiteY2632" fmla="*/ 9949 h 10000"/>
                <a:gd name="connsiteX2633" fmla="*/ 1369 w 10577"/>
                <a:gd name="connsiteY2633" fmla="*/ 9940 h 10000"/>
                <a:gd name="connsiteX2634" fmla="*/ 1378 w 10577"/>
                <a:gd name="connsiteY2634" fmla="*/ 9897 h 10000"/>
                <a:gd name="connsiteX2635" fmla="*/ 1369 w 10577"/>
                <a:gd name="connsiteY2635" fmla="*/ 9889 h 10000"/>
                <a:gd name="connsiteX2636" fmla="*/ 1318 w 10577"/>
                <a:gd name="connsiteY2636" fmla="*/ 9701 h 10000"/>
                <a:gd name="connsiteX2637" fmla="*/ 1318 w 10577"/>
                <a:gd name="connsiteY2637" fmla="*/ 9650 h 10000"/>
                <a:gd name="connsiteX2638" fmla="*/ 1323 w 10577"/>
                <a:gd name="connsiteY2638" fmla="*/ 9590 h 10000"/>
                <a:gd name="connsiteX2639" fmla="*/ 1323 w 10577"/>
                <a:gd name="connsiteY2639" fmla="*/ 9564 h 10000"/>
                <a:gd name="connsiteX2640" fmla="*/ 1309 w 10577"/>
                <a:gd name="connsiteY2640" fmla="*/ 9598 h 10000"/>
                <a:gd name="connsiteX2641" fmla="*/ 1309 w 10577"/>
                <a:gd name="connsiteY2641" fmla="*/ 9590 h 10000"/>
                <a:gd name="connsiteX2642" fmla="*/ 1304 w 10577"/>
                <a:gd name="connsiteY2642" fmla="*/ 9547 h 10000"/>
                <a:gd name="connsiteX2643" fmla="*/ 1276 w 10577"/>
                <a:gd name="connsiteY2643" fmla="*/ 9479 h 10000"/>
                <a:gd name="connsiteX2644" fmla="*/ 1263 w 10577"/>
                <a:gd name="connsiteY2644" fmla="*/ 9479 h 10000"/>
                <a:gd name="connsiteX2645" fmla="*/ 1263 w 10577"/>
                <a:gd name="connsiteY2645" fmla="*/ 9453 h 10000"/>
                <a:gd name="connsiteX2646" fmla="*/ 1272 w 10577"/>
                <a:gd name="connsiteY2646" fmla="*/ 9410 h 10000"/>
                <a:gd name="connsiteX2647" fmla="*/ 1272 w 10577"/>
                <a:gd name="connsiteY2647" fmla="*/ 9393 h 10000"/>
                <a:gd name="connsiteX2648" fmla="*/ 1281 w 10577"/>
                <a:gd name="connsiteY2648" fmla="*/ 9368 h 10000"/>
                <a:gd name="connsiteX2649" fmla="*/ 1281 w 10577"/>
                <a:gd name="connsiteY2649" fmla="*/ 9368 h 10000"/>
                <a:gd name="connsiteX2650" fmla="*/ 1290 w 10577"/>
                <a:gd name="connsiteY2650" fmla="*/ 9368 h 10000"/>
                <a:gd name="connsiteX2651" fmla="*/ 1290 w 10577"/>
                <a:gd name="connsiteY2651" fmla="*/ 9342 h 10000"/>
                <a:gd name="connsiteX2652" fmla="*/ 1304 w 10577"/>
                <a:gd name="connsiteY2652" fmla="*/ 9325 h 10000"/>
                <a:gd name="connsiteX2653" fmla="*/ 1309 w 10577"/>
                <a:gd name="connsiteY2653" fmla="*/ 9239 h 10000"/>
                <a:gd name="connsiteX2654" fmla="*/ 1318 w 10577"/>
                <a:gd name="connsiteY2654" fmla="*/ 9256 h 10000"/>
                <a:gd name="connsiteX2655" fmla="*/ 1323 w 10577"/>
                <a:gd name="connsiteY2655" fmla="*/ 9179 h 10000"/>
                <a:gd name="connsiteX2656" fmla="*/ 1309 w 10577"/>
                <a:gd name="connsiteY2656" fmla="*/ 9145 h 10000"/>
                <a:gd name="connsiteX2657" fmla="*/ 1336 w 10577"/>
                <a:gd name="connsiteY2657" fmla="*/ 9154 h 10000"/>
                <a:gd name="connsiteX2658" fmla="*/ 1336 w 10577"/>
                <a:gd name="connsiteY2658" fmla="*/ 9162 h 10000"/>
                <a:gd name="connsiteX2659" fmla="*/ 1350 w 10577"/>
                <a:gd name="connsiteY2659" fmla="*/ 9231 h 10000"/>
                <a:gd name="connsiteX2660" fmla="*/ 1355 w 10577"/>
                <a:gd name="connsiteY2660" fmla="*/ 9231 h 10000"/>
                <a:gd name="connsiteX2661" fmla="*/ 1364 w 10577"/>
                <a:gd name="connsiteY2661" fmla="*/ 9214 h 10000"/>
                <a:gd name="connsiteX2662" fmla="*/ 1369 w 10577"/>
                <a:gd name="connsiteY2662" fmla="*/ 9214 h 10000"/>
                <a:gd name="connsiteX2663" fmla="*/ 1382 w 10577"/>
                <a:gd name="connsiteY2663" fmla="*/ 9154 h 10000"/>
                <a:gd name="connsiteX2664" fmla="*/ 1396 w 10577"/>
                <a:gd name="connsiteY2664" fmla="*/ 9154 h 10000"/>
                <a:gd name="connsiteX2665" fmla="*/ 1382 w 10577"/>
                <a:gd name="connsiteY2665" fmla="*/ 9145 h 10000"/>
                <a:gd name="connsiteX2666" fmla="*/ 1382 w 10577"/>
                <a:gd name="connsiteY2666" fmla="*/ 9128 h 10000"/>
                <a:gd name="connsiteX2667" fmla="*/ 1369 w 10577"/>
                <a:gd name="connsiteY2667" fmla="*/ 9128 h 10000"/>
                <a:gd name="connsiteX2668" fmla="*/ 1364 w 10577"/>
                <a:gd name="connsiteY2668" fmla="*/ 9128 h 10000"/>
                <a:gd name="connsiteX2669" fmla="*/ 1355 w 10577"/>
                <a:gd name="connsiteY2669" fmla="*/ 9120 h 10000"/>
                <a:gd name="connsiteX2670" fmla="*/ 1350 w 10577"/>
                <a:gd name="connsiteY2670" fmla="*/ 9103 h 10000"/>
                <a:gd name="connsiteX2671" fmla="*/ 1355 w 10577"/>
                <a:gd name="connsiteY2671" fmla="*/ 9094 h 10000"/>
                <a:gd name="connsiteX2672" fmla="*/ 1355 w 10577"/>
                <a:gd name="connsiteY2672" fmla="*/ 9068 h 10000"/>
                <a:gd name="connsiteX2673" fmla="*/ 1369 w 10577"/>
                <a:gd name="connsiteY2673" fmla="*/ 9068 h 10000"/>
                <a:gd name="connsiteX2674" fmla="*/ 1378 w 10577"/>
                <a:gd name="connsiteY2674" fmla="*/ 9077 h 10000"/>
                <a:gd name="connsiteX2675" fmla="*/ 1396 w 10577"/>
                <a:gd name="connsiteY2675" fmla="*/ 9068 h 10000"/>
                <a:gd name="connsiteX2676" fmla="*/ 1382 w 10577"/>
                <a:gd name="connsiteY2676" fmla="*/ 8940 h 10000"/>
                <a:gd name="connsiteX2677" fmla="*/ 1378 w 10577"/>
                <a:gd name="connsiteY2677" fmla="*/ 8940 h 10000"/>
                <a:gd name="connsiteX2678" fmla="*/ 1364 w 10577"/>
                <a:gd name="connsiteY2678" fmla="*/ 8889 h 10000"/>
                <a:gd name="connsiteX2679" fmla="*/ 1355 w 10577"/>
                <a:gd name="connsiteY2679" fmla="*/ 8880 h 10000"/>
                <a:gd name="connsiteX2680" fmla="*/ 1323 w 10577"/>
                <a:gd name="connsiteY2680" fmla="*/ 8880 h 10000"/>
                <a:gd name="connsiteX2681" fmla="*/ 1309 w 10577"/>
                <a:gd name="connsiteY2681" fmla="*/ 8880 h 10000"/>
                <a:gd name="connsiteX2682" fmla="*/ 1309 w 10577"/>
                <a:gd name="connsiteY2682" fmla="*/ 8889 h 10000"/>
                <a:gd name="connsiteX2683" fmla="*/ 1295 w 10577"/>
                <a:gd name="connsiteY2683" fmla="*/ 8872 h 10000"/>
                <a:gd name="connsiteX2684" fmla="*/ 1290 w 10577"/>
                <a:gd name="connsiteY2684" fmla="*/ 8855 h 10000"/>
                <a:gd name="connsiteX2685" fmla="*/ 1290 w 10577"/>
                <a:gd name="connsiteY2685" fmla="*/ 8829 h 10000"/>
                <a:gd name="connsiteX2686" fmla="*/ 1290 w 10577"/>
                <a:gd name="connsiteY2686" fmla="*/ 8821 h 10000"/>
                <a:gd name="connsiteX2687" fmla="*/ 1290 w 10577"/>
                <a:gd name="connsiteY2687" fmla="*/ 8803 h 10000"/>
                <a:gd name="connsiteX2688" fmla="*/ 1281 w 10577"/>
                <a:gd name="connsiteY2688" fmla="*/ 8795 h 10000"/>
                <a:gd name="connsiteX2689" fmla="*/ 1249 w 10577"/>
                <a:gd name="connsiteY2689" fmla="*/ 8769 h 10000"/>
                <a:gd name="connsiteX2690" fmla="*/ 1263 w 10577"/>
                <a:gd name="connsiteY2690" fmla="*/ 8667 h 10000"/>
                <a:gd name="connsiteX2691" fmla="*/ 1281 w 10577"/>
                <a:gd name="connsiteY2691" fmla="*/ 8658 h 10000"/>
                <a:gd name="connsiteX2692" fmla="*/ 1290 w 10577"/>
                <a:gd name="connsiteY2692" fmla="*/ 8632 h 10000"/>
                <a:gd name="connsiteX2693" fmla="*/ 1281 w 10577"/>
                <a:gd name="connsiteY2693" fmla="*/ 8615 h 10000"/>
                <a:gd name="connsiteX2694" fmla="*/ 1272 w 10577"/>
                <a:gd name="connsiteY2694" fmla="*/ 8598 h 10000"/>
                <a:gd name="connsiteX2695" fmla="*/ 1281 w 10577"/>
                <a:gd name="connsiteY2695" fmla="*/ 8496 h 10000"/>
                <a:gd name="connsiteX2696" fmla="*/ 1295 w 10577"/>
                <a:gd name="connsiteY2696" fmla="*/ 8470 h 10000"/>
                <a:gd name="connsiteX2697" fmla="*/ 1304 w 10577"/>
                <a:gd name="connsiteY2697" fmla="*/ 8462 h 10000"/>
                <a:gd name="connsiteX2698" fmla="*/ 1304 w 10577"/>
                <a:gd name="connsiteY2698" fmla="*/ 8444 h 10000"/>
                <a:gd name="connsiteX2699" fmla="*/ 1304 w 10577"/>
                <a:gd name="connsiteY2699" fmla="*/ 8419 h 10000"/>
                <a:gd name="connsiteX2700" fmla="*/ 1304 w 10577"/>
                <a:gd name="connsiteY2700" fmla="*/ 8410 h 10000"/>
                <a:gd name="connsiteX2701" fmla="*/ 1309 w 10577"/>
                <a:gd name="connsiteY2701" fmla="*/ 8393 h 10000"/>
                <a:gd name="connsiteX2702" fmla="*/ 1318 w 10577"/>
                <a:gd name="connsiteY2702" fmla="*/ 8385 h 10000"/>
                <a:gd name="connsiteX2703" fmla="*/ 1323 w 10577"/>
                <a:gd name="connsiteY2703" fmla="*/ 8385 h 10000"/>
                <a:gd name="connsiteX2704" fmla="*/ 1332 w 10577"/>
                <a:gd name="connsiteY2704" fmla="*/ 8410 h 10000"/>
                <a:gd name="connsiteX2705" fmla="*/ 1346 w 10577"/>
                <a:gd name="connsiteY2705" fmla="*/ 8419 h 10000"/>
                <a:gd name="connsiteX2706" fmla="*/ 1364 w 10577"/>
                <a:gd name="connsiteY2706" fmla="*/ 8504 h 10000"/>
                <a:gd name="connsiteX2707" fmla="*/ 1369 w 10577"/>
                <a:gd name="connsiteY2707" fmla="*/ 8521 h 10000"/>
                <a:gd name="connsiteX2708" fmla="*/ 1406 w 10577"/>
                <a:gd name="connsiteY2708" fmla="*/ 8470 h 10000"/>
                <a:gd name="connsiteX2709" fmla="*/ 1382 w 10577"/>
                <a:gd name="connsiteY2709" fmla="*/ 8359 h 10000"/>
                <a:gd name="connsiteX2710" fmla="*/ 1392 w 10577"/>
                <a:gd name="connsiteY2710" fmla="*/ 8359 h 10000"/>
                <a:gd name="connsiteX2711" fmla="*/ 1438 w 10577"/>
                <a:gd name="connsiteY2711" fmla="*/ 8308 h 10000"/>
                <a:gd name="connsiteX2712" fmla="*/ 1442 w 10577"/>
                <a:gd name="connsiteY2712" fmla="*/ 8299 h 10000"/>
                <a:gd name="connsiteX2713" fmla="*/ 1442 w 10577"/>
                <a:gd name="connsiteY2713" fmla="*/ 8256 h 10000"/>
                <a:gd name="connsiteX2714" fmla="*/ 1452 w 10577"/>
                <a:gd name="connsiteY2714" fmla="*/ 8256 h 10000"/>
                <a:gd name="connsiteX2715" fmla="*/ 1456 w 10577"/>
                <a:gd name="connsiteY2715" fmla="*/ 8256 h 10000"/>
                <a:gd name="connsiteX2716" fmla="*/ 1470 w 10577"/>
                <a:gd name="connsiteY2716" fmla="*/ 8248 h 10000"/>
                <a:gd name="connsiteX2717" fmla="*/ 1479 w 10577"/>
                <a:gd name="connsiteY2717" fmla="*/ 8231 h 10000"/>
                <a:gd name="connsiteX2718" fmla="*/ 1493 w 10577"/>
                <a:gd name="connsiteY2718" fmla="*/ 8222 h 10000"/>
                <a:gd name="connsiteX2719" fmla="*/ 1498 w 10577"/>
                <a:gd name="connsiteY2719" fmla="*/ 8214 h 10000"/>
                <a:gd name="connsiteX2720" fmla="*/ 1502 w 10577"/>
                <a:gd name="connsiteY2720" fmla="*/ 8197 h 10000"/>
                <a:gd name="connsiteX2721" fmla="*/ 1512 w 10577"/>
                <a:gd name="connsiteY2721" fmla="*/ 8188 h 10000"/>
                <a:gd name="connsiteX2722" fmla="*/ 1516 w 10577"/>
                <a:gd name="connsiteY2722" fmla="*/ 8171 h 10000"/>
                <a:gd name="connsiteX2723" fmla="*/ 1525 w 10577"/>
                <a:gd name="connsiteY2723" fmla="*/ 8162 h 10000"/>
                <a:gd name="connsiteX2724" fmla="*/ 1539 w 10577"/>
                <a:gd name="connsiteY2724" fmla="*/ 8145 h 10000"/>
                <a:gd name="connsiteX2725" fmla="*/ 1558 w 10577"/>
                <a:gd name="connsiteY2725" fmla="*/ 8145 h 10000"/>
                <a:gd name="connsiteX2726" fmla="*/ 1562 w 10577"/>
                <a:gd name="connsiteY2726" fmla="*/ 8188 h 10000"/>
                <a:gd name="connsiteX2727" fmla="*/ 1585 w 10577"/>
                <a:gd name="connsiteY2727" fmla="*/ 8171 h 10000"/>
                <a:gd name="connsiteX2728" fmla="*/ 1590 w 10577"/>
                <a:gd name="connsiteY2728" fmla="*/ 8188 h 10000"/>
                <a:gd name="connsiteX2729" fmla="*/ 1599 w 10577"/>
                <a:gd name="connsiteY2729" fmla="*/ 8171 h 10000"/>
                <a:gd name="connsiteX2730" fmla="*/ 1599 w 10577"/>
                <a:gd name="connsiteY2730" fmla="*/ 8162 h 10000"/>
                <a:gd name="connsiteX2731" fmla="*/ 1604 w 10577"/>
                <a:gd name="connsiteY2731" fmla="*/ 8137 h 10000"/>
                <a:gd name="connsiteX2732" fmla="*/ 1618 w 10577"/>
                <a:gd name="connsiteY2732" fmla="*/ 8145 h 10000"/>
                <a:gd name="connsiteX2733" fmla="*/ 1627 w 10577"/>
                <a:gd name="connsiteY2733" fmla="*/ 8137 h 10000"/>
                <a:gd name="connsiteX2734" fmla="*/ 1631 w 10577"/>
                <a:gd name="connsiteY2734" fmla="*/ 8137 h 10000"/>
                <a:gd name="connsiteX2735" fmla="*/ 1636 w 10577"/>
                <a:gd name="connsiteY2735" fmla="*/ 8171 h 10000"/>
                <a:gd name="connsiteX2736" fmla="*/ 1645 w 10577"/>
                <a:gd name="connsiteY2736" fmla="*/ 8188 h 10000"/>
                <a:gd name="connsiteX2737" fmla="*/ 1664 w 10577"/>
                <a:gd name="connsiteY2737" fmla="*/ 8171 h 10000"/>
                <a:gd name="connsiteX2738" fmla="*/ 1673 w 10577"/>
                <a:gd name="connsiteY2738" fmla="*/ 8188 h 10000"/>
                <a:gd name="connsiteX2739" fmla="*/ 1691 w 10577"/>
                <a:gd name="connsiteY2739" fmla="*/ 8171 h 10000"/>
                <a:gd name="connsiteX2740" fmla="*/ 1705 w 10577"/>
                <a:gd name="connsiteY2740" fmla="*/ 8171 h 10000"/>
                <a:gd name="connsiteX2741" fmla="*/ 1719 w 10577"/>
                <a:gd name="connsiteY2741" fmla="*/ 8197 h 10000"/>
                <a:gd name="connsiteX2742" fmla="*/ 1724 w 10577"/>
                <a:gd name="connsiteY2742" fmla="*/ 8231 h 10000"/>
                <a:gd name="connsiteX2743" fmla="*/ 1751 w 10577"/>
                <a:gd name="connsiteY2743" fmla="*/ 8256 h 10000"/>
                <a:gd name="connsiteX2744" fmla="*/ 1751 w 10577"/>
                <a:gd name="connsiteY2744" fmla="*/ 8274 h 10000"/>
                <a:gd name="connsiteX2745" fmla="*/ 1760 w 10577"/>
                <a:gd name="connsiteY2745" fmla="*/ 8282 h 10000"/>
                <a:gd name="connsiteX2746" fmla="*/ 1770 w 10577"/>
                <a:gd name="connsiteY2746" fmla="*/ 8325 h 10000"/>
                <a:gd name="connsiteX2747" fmla="*/ 1770 w 10577"/>
                <a:gd name="connsiteY2747" fmla="*/ 8350 h 10000"/>
                <a:gd name="connsiteX2748" fmla="*/ 1779 w 10577"/>
                <a:gd name="connsiteY2748" fmla="*/ 8368 h 10000"/>
                <a:gd name="connsiteX2749" fmla="*/ 1783 w 10577"/>
                <a:gd name="connsiteY2749" fmla="*/ 8359 h 10000"/>
                <a:gd name="connsiteX2750" fmla="*/ 1783 w 10577"/>
                <a:gd name="connsiteY2750" fmla="*/ 8308 h 10000"/>
                <a:gd name="connsiteX2751" fmla="*/ 1779 w 10577"/>
                <a:gd name="connsiteY2751" fmla="*/ 8299 h 10000"/>
                <a:gd name="connsiteX2752" fmla="*/ 1783 w 10577"/>
                <a:gd name="connsiteY2752" fmla="*/ 8282 h 10000"/>
                <a:gd name="connsiteX2753" fmla="*/ 1797 w 10577"/>
                <a:gd name="connsiteY2753" fmla="*/ 8274 h 10000"/>
                <a:gd name="connsiteX2754" fmla="*/ 1797 w 10577"/>
                <a:gd name="connsiteY2754" fmla="*/ 8299 h 10000"/>
                <a:gd name="connsiteX2755" fmla="*/ 1806 w 10577"/>
                <a:gd name="connsiteY2755" fmla="*/ 8308 h 10000"/>
                <a:gd name="connsiteX2756" fmla="*/ 1811 w 10577"/>
                <a:gd name="connsiteY2756" fmla="*/ 8325 h 10000"/>
                <a:gd name="connsiteX2757" fmla="*/ 1820 w 10577"/>
                <a:gd name="connsiteY2757" fmla="*/ 8333 h 10000"/>
                <a:gd name="connsiteX2758" fmla="*/ 1853 w 10577"/>
                <a:gd name="connsiteY2758" fmla="*/ 8359 h 10000"/>
                <a:gd name="connsiteX2759" fmla="*/ 1866 w 10577"/>
                <a:gd name="connsiteY2759" fmla="*/ 8359 h 10000"/>
                <a:gd name="connsiteX2760" fmla="*/ 1885 w 10577"/>
                <a:gd name="connsiteY2760" fmla="*/ 8325 h 10000"/>
                <a:gd name="connsiteX2761" fmla="*/ 1885 w 10577"/>
                <a:gd name="connsiteY2761" fmla="*/ 8308 h 10000"/>
                <a:gd name="connsiteX2762" fmla="*/ 1894 w 10577"/>
                <a:gd name="connsiteY2762" fmla="*/ 8299 h 10000"/>
                <a:gd name="connsiteX2763" fmla="*/ 1899 w 10577"/>
                <a:gd name="connsiteY2763" fmla="*/ 8282 h 10000"/>
                <a:gd name="connsiteX2764" fmla="*/ 1912 w 10577"/>
                <a:gd name="connsiteY2764" fmla="*/ 8282 h 10000"/>
                <a:gd name="connsiteX2765" fmla="*/ 1917 w 10577"/>
                <a:gd name="connsiteY2765" fmla="*/ 8299 h 10000"/>
                <a:gd name="connsiteX2766" fmla="*/ 1917 w 10577"/>
                <a:gd name="connsiteY2766" fmla="*/ 8274 h 10000"/>
                <a:gd name="connsiteX2767" fmla="*/ 1940 w 10577"/>
                <a:gd name="connsiteY2767" fmla="*/ 8282 h 10000"/>
                <a:gd name="connsiteX2768" fmla="*/ 1945 w 10577"/>
                <a:gd name="connsiteY2768" fmla="*/ 8274 h 10000"/>
                <a:gd name="connsiteX2769" fmla="*/ 1972 w 10577"/>
                <a:gd name="connsiteY2769" fmla="*/ 8308 h 10000"/>
                <a:gd name="connsiteX2770" fmla="*/ 1986 w 10577"/>
                <a:gd name="connsiteY2770" fmla="*/ 8282 h 10000"/>
                <a:gd name="connsiteX2771" fmla="*/ 1991 w 10577"/>
                <a:gd name="connsiteY2771" fmla="*/ 8274 h 10000"/>
                <a:gd name="connsiteX2772" fmla="*/ 2014 w 10577"/>
                <a:gd name="connsiteY2772" fmla="*/ 8274 h 10000"/>
                <a:gd name="connsiteX2773" fmla="*/ 2018 w 10577"/>
                <a:gd name="connsiteY2773" fmla="*/ 8256 h 10000"/>
                <a:gd name="connsiteX2774" fmla="*/ 2041 w 10577"/>
                <a:gd name="connsiteY2774" fmla="*/ 8274 h 10000"/>
                <a:gd name="connsiteX2775" fmla="*/ 2046 w 10577"/>
                <a:gd name="connsiteY2775" fmla="*/ 8282 h 10000"/>
                <a:gd name="connsiteX2776" fmla="*/ 2046 w 10577"/>
                <a:gd name="connsiteY2776" fmla="*/ 8325 h 10000"/>
                <a:gd name="connsiteX2777" fmla="*/ 2060 w 10577"/>
                <a:gd name="connsiteY2777" fmla="*/ 8350 h 10000"/>
                <a:gd name="connsiteX2778" fmla="*/ 2078 w 10577"/>
                <a:gd name="connsiteY2778" fmla="*/ 8350 h 10000"/>
                <a:gd name="connsiteX2779" fmla="*/ 2092 w 10577"/>
                <a:gd name="connsiteY2779" fmla="*/ 8350 h 10000"/>
                <a:gd name="connsiteX2780" fmla="*/ 2092 w 10577"/>
                <a:gd name="connsiteY2780" fmla="*/ 8350 h 10000"/>
                <a:gd name="connsiteX2781" fmla="*/ 2101 w 10577"/>
                <a:gd name="connsiteY2781" fmla="*/ 8368 h 10000"/>
                <a:gd name="connsiteX2782" fmla="*/ 2120 w 10577"/>
                <a:gd name="connsiteY2782" fmla="*/ 8368 h 10000"/>
                <a:gd name="connsiteX2783" fmla="*/ 2124 w 10577"/>
                <a:gd name="connsiteY2783" fmla="*/ 8359 h 10000"/>
                <a:gd name="connsiteX2784" fmla="*/ 2138 w 10577"/>
                <a:gd name="connsiteY2784" fmla="*/ 8325 h 10000"/>
                <a:gd name="connsiteX2785" fmla="*/ 2147 w 10577"/>
                <a:gd name="connsiteY2785" fmla="*/ 8325 h 10000"/>
                <a:gd name="connsiteX2786" fmla="*/ 2161 w 10577"/>
                <a:gd name="connsiteY2786" fmla="*/ 8350 h 10000"/>
                <a:gd name="connsiteX2787" fmla="*/ 2198 w 10577"/>
                <a:gd name="connsiteY2787" fmla="*/ 8350 h 10000"/>
                <a:gd name="connsiteX2788" fmla="*/ 2207 w 10577"/>
                <a:gd name="connsiteY2788" fmla="*/ 8333 h 10000"/>
                <a:gd name="connsiteX2789" fmla="*/ 2226 w 10577"/>
                <a:gd name="connsiteY2789" fmla="*/ 8325 h 10000"/>
                <a:gd name="connsiteX2790" fmla="*/ 2249 w 10577"/>
                <a:gd name="connsiteY2790" fmla="*/ 8222 h 10000"/>
                <a:gd name="connsiteX2791" fmla="*/ 2235 w 10577"/>
                <a:gd name="connsiteY2791" fmla="*/ 8197 h 10000"/>
                <a:gd name="connsiteX2792" fmla="*/ 2198 w 10577"/>
                <a:gd name="connsiteY2792" fmla="*/ 8197 h 10000"/>
                <a:gd name="connsiteX2793" fmla="*/ 2189 w 10577"/>
                <a:gd name="connsiteY2793" fmla="*/ 8171 h 10000"/>
                <a:gd name="connsiteX2794" fmla="*/ 2161 w 10577"/>
                <a:gd name="connsiteY2794" fmla="*/ 8145 h 10000"/>
                <a:gd name="connsiteX2795" fmla="*/ 2161 w 10577"/>
                <a:gd name="connsiteY2795" fmla="*/ 8137 h 10000"/>
                <a:gd name="connsiteX2796" fmla="*/ 2152 w 10577"/>
                <a:gd name="connsiteY2796" fmla="*/ 8120 h 10000"/>
                <a:gd name="connsiteX2797" fmla="*/ 2138 w 10577"/>
                <a:gd name="connsiteY2797" fmla="*/ 8111 h 10000"/>
                <a:gd name="connsiteX2798" fmla="*/ 2138 w 10577"/>
                <a:gd name="connsiteY2798" fmla="*/ 8094 h 10000"/>
                <a:gd name="connsiteX2799" fmla="*/ 2147 w 10577"/>
                <a:gd name="connsiteY2799" fmla="*/ 8085 h 10000"/>
                <a:gd name="connsiteX2800" fmla="*/ 2161 w 10577"/>
                <a:gd name="connsiteY2800" fmla="*/ 8060 h 10000"/>
                <a:gd name="connsiteX2801" fmla="*/ 2198 w 10577"/>
                <a:gd name="connsiteY2801" fmla="*/ 8034 h 10000"/>
                <a:gd name="connsiteX2802" fmla="*/ 2198 w 10577"/>
                <a:gd name="connsiteY2802" fmla="*/ 8026 h 10000"/>
                <a:gd name="connsiteX2803" fmla="*/ 2198 w 10577"/>
                <a:gd name="connsiteY2803" fmla="*/ 8000 h 10000"/>
                <a:gd name="connsiteX2804" fmla="*/ 2180 w 10577"/>
                <a:gd name="connsiteY2804" fmla="*/ 7940 h 10000"/>
                <a:gd name="connsiteX2805" fmla="*/ 2189 w 10577"/>
                <a:gd name="connsiteY2805" fmla="*/ 7940 h 10000"/>
                <a:gd name="connsiteX2806" fmla="*/ 2198 w 10577"/>
                <a:gd name="connsiteY2806" fmla="*/ 7923 h 10000"/>
                <a:gd name="connsiteX2807" fmla="*/ 2198 w 10577"/>
                <a:gd name="connsiteY2807" fmla="*/ 7897 h 10000"/>
                <a:gd name="connsiteX2808" fmla="*/ 2207 w 10577"/>
                <a:gd name="connsiteY2808" fmla="*/ 7889 h 10000"/>
                <a:gd name="connsiteX2809" fmla="*/ 2221 w 10577"/>
                <a:gd name="connsiteY2809" fmla="*/ 7889 h 10000"/>
                <a:gd name="connsiteX2810" fmla="*/ 2226 w 10577"/>
                <a:gd name="connsiteY2810" fmla="*/ 7897 h 10000"/>
                <a:gd name="connsiteX2811" fmla="*/ 2235 w 10577"/>
                <a:gd name="connsiteY2811" fmla="*/ 7889 h 10000"/>
                <a:gd name="connsiteX2812" fmla="*/ 2249 w 10577"/>
                <a:gd name="connsiteY2812" fmla="*/ 7897 h 10000"/>
                <a:gd name="connsiteX2813" fmla="*/ 2267 w 10577"/>
                <a:gd name="connsiteY2813" fmla="*/ 7897 h 10000"/>
                <a:gd name="connsiteX2814" fmla="*/ 2272 w 10577"/>
                <a:gd name="connsiteY2814" fmla="*/ 7889 h 10000"/>
                <a:gd name="connsiteX2815" fmla="*/ 2281 w 10577"/>
                <a:gd name="connsiteY2815" fmla="*/ 7872 h 10000"/>
                <a:gd name="connsiteX2816" fmla="*/ 2272 w 10577"/>
                <a:gd name="connsiteY2816" fmla="*/ 7846 h 10000"/>
                <a:gd name="connsiteX2817" fmla="*/ 2253 w 10577"/>
                <a:gd name="connsiteY2817" fmla="*/ 7838 h 10000"/>
                <a:gd name="connsiteX2818" fmla="*/ 2221 w 10577"/>
                <a:gd name="connsiteY2818" fmla="*/ 7821 h 10000"/>
                <a:gd name="connsiteX2819" fmla="*/ 2212 w 10577"/>
                <a:gd name="connsiteY2819" fmla="*/ 7812 h 10000"/>
                <a:gd name="connsiteX2820" fmla="*/ 2212 w 10577"/>
                <a:gd name="connsiteY2820" fmla="*/ 7803 h 10000"/>
                <a:gd name="connsiteX2821" fmla="*/ 2221 w 10577"/>
                <a:gd name="connsiteY2821" fmla="*/ 7803 h 10000"/>
                <a:gd name="connsiteX2822" fmla="*/ 2235 w 10577"/>
                <a:gd name="connsiteY2822" fmla="*/ 7786 h 10000"/>
                <a:gd name="connsiteX2823" fmla="*/ 2240 w 10577"/>
                <a:gd name="connsiteY2823" fmla="*/ 7778 h 10000"/>
                <a:gd name="connsiteX2824" fmla="*/ 2226 w 10577"/>
                <a:gd name="connsiteY2824" fmla="*/ 7761 h 10000"/>
                <a:gd name="connsiteX2825" fmla="*/ 2221 w 10577"/>
                <a:gd name="connsiteY2825" fmla="*/ 7778 h 10000"/>
                <a:gd name="connsiteX2826" fmla="*/ 2198 w 10577"/>
                <a:gd name="connsiteY2826" fmla="*/ 7778 h 10000"/>
                <a:gd name="connsiteX2827" fmla="*/ 2198 w 10577"/>
                <a:gd name="connsiteY2827" fmla="*/ 7752 h 10000"/>
                <a:gd name="connsiteX2828" fmla="*/ 2207 w 10577"/>
                <a:gd name="connsiteY2828" fmla="*/ 7735 h 10000"/>
                <a:gd name="connsiteX2829" fmla="*/ 2212 w 10577"/>
                <a:gd name="connsiteY2829" fmla="*/ 7726 h 10000"/>
                <a:gd name="connsiteX2830" fmla="*/ 2198 w 10577"/>
                <a:gd name="connsiteY2830" fmla="*/ 7692 h 10000"/>
                <a:gd name="connsiteX2831" fmla="*/ 2221 w 10577"/>
                <a:gd name="connsiteY2831" fmla="*/ 7692 h 10000"/>
                <a:gd name="connsiteX2832" fmla="*/ 2221 w 10577"/>
                <a:gd name="connsiteY2832" fmla="*/ 7675 h 10000"/>
                <a:gd name="connsiteX2833" fmla="*/ 2235 w 10577"/>
                <a:gd name="connsiteY2833" fmla="*/ 7675 h 10000"/>
                <a:gd name="connsiteX2834" fmla="*/ 2240 w 10577"/>
                <a:gd name="connsiteY2834" fmla="*/ 7692 h 10000"/>
                <a:gd name="connsiteX2835" fmla="*/ 2249 w 10577"/>
                <a:gd name="connsiteY2835" fmla="*/ 7692 h 10000"/>
                <a:gd name="connsiteX2836" fmla="*/ 2258 w 10577"/>
                <a:gd name="connsiteY2836" fmla="*/ 7692 h 10000"/>
                <a:gd name="connsiteX2837" fmla="*/ 2267 w 10577"/>
                <a:gd name="connsiteY2837" fmla="*/ 7692 h 10000"/>
                <a:gd name="connsiteX2838" fmla="*/ 2295 w 10577"/>
                <a:gd name="connsiteY2838" fmla="*/ 7692 h 10000"/>
                <a:gd name="connsiteX2839" fmla="*/ 2300 w 10577"/>
                <a:gd name="connsiteY2839" fmla="*/ 7701 h 10000"/>
                <a:gd name="connsiteX2840" fmla="*/ 2313 w 10577"/>
                <a:gd name="connsiteY2840" fmla="*/ 7675 h 10000"/>
                <a:gd name="connsiteX2841" fmla="*/ 2323 w 10577"/>
                <a:gd name="connsiteY2841" fmla="*/ 7675 h 10000"/>
                <a:gd name="connsiteX2842" fmla="*/ 2341 w 10577"/>
                <a:gd name="connsiteY2842" fmla="*/ 7675 h 10000"/>
                <a:gd name="connsiteX2843" fmla="*/ 2346 w 10577"/>
                <a:gd name="connsiteY2843" fmla="*/ 7667 h 10000"/>
                <a:gd name="connsiteX2844" fmla="*/ 2359 w 10577"/>
                <a:gd name="connsiteY2844" fmla="*/ 7650 h 10000"/>
                <a:gd name="connsiteX2845" fmla="*/ 2373 w 10577"/>
                <a:gd name="connsiteY2845" fmla="*/ 7624 h 10000"/>
                <a:gd name="connsiteX2846" fmla="*/ 2382 w 10577"/>
                <a:gd name="connsiteY2846" fmla="*/ 7641 h 10000"/>
                <a:gd name="connsiteX2847" fmla="*/ 2396 w 10577"/>
                <a:gd name="connsiteY2847" fmla="*/ 7650 h 10000"/>
                <a:gd name="connsiteX2848" fmla="*/ 2401 w 10577"/>
                <a:gd name="connsiteY2848" fmla="*/ 7650 h 10000"/>
                <a:gd name="connsiteX2849" fmla="*/ 2401 w 10577"/>
                <a:gd name="connsiteY2849" fmla="*/ 7624 h 10000"/>
                <a:gd name="connsiteX2850" fmla="*/ 2419 w 10577"/>
                <a:gd name="connsiteY2850" fmla="*/ 7624 h 10000"/>
                <a:gd name="connsiteX2851" fmla="*/ 2433 w 10577"/>
                <a:gd name="connsiteY2851" fmla="*/ 7615 h 10000"/>
                <a:gd name="connsiteX2852" fmla="*/ 2442 w 10577"/>
                <a:gd name="connsiteY2852" fmla="*/ 7615 h 10000"/>
                <a:gd name="connsiteX2853" fmla="*/ 2447 w 10577"/>
                <a:gd name="connsiteY2853" fmla="*/ 7598 h 10000"/>
                <a:gd name="connsiteX2854" fmla="*/ 2461 w 10577"/>
                <a:gd name="connsiteY2854" fmla="*/ 7598 h 10000"/>
                <a:gd name="connsiteX2855" fmla="*/ 2465 w 10577"/>
                <a:gd name="connsiteY2855" fmla="*/ 7615 h 10000"/>
                <a:gd name="connsiteX2856" fmla="*/ 2479 w 10577"/>
                <a:gd name="connsiteY2856" fmla="*/ 7564 h 10000"/>
                <a:gd name="connsiteX2857" fmla="*/ 2488 w 10577"/>
                <a:gd name="connsiteY2857" fmla="*/ 7556 h 10000"/>
                <a:gd name="connsiteX2858" fmla="*/ 2493 w 10577"/>
                <a:gd name="connsiteY2858" fmla="*/ 7556 h 10000"/>
                <a:gd name="connsiteX2859" fmla="*/ 2507 w 10577"/>
                <a:gd name="connsiteY2859" fmla="*/ 7556 h 10000"/>
                <a:gd name="connsiteX2860" fmla="*/ 2530 w 10577"/>
                <a:gd name="connsiteY2860" fmla="*/ 7538 h 10000"/>
                <a:gd name="connsiteX2861" fmla="*/ 2530 w 10577"/>
                <a:gd name="connsiteY2861" fmla="*/ 7556 h 10000"/>
                <a:gd name="connsiteX2862" fmla="*/ 2641 w 10577"/>
                <a:gd name="connsiteY2862" fmla="*/ 7504 h 10000"/>
                <a:gd name="connsiteX2863" fmla="*/ 2654 w 10577"/>
                <a:gd name="connsiteY2863" fmla="*/ 7487 h 10000"/>
                <a:gd name="connsiteX2864" fmla="*/ 2664 w 10577"/>
                <a:gd name="connsiteY2864" fmla="*/ 7487 h 10000"/>
                <a:gd name="connsiteX2865" fmla="*/ 2668 w 10577"/>
                <a:gd name="connsiteY2865" fmla="*/ 7479 h 10000"/>
                <a:gd name="connsiteX2866" fmla="*/ 2673 w 10577"/>
                <a:gd name="connsiteY2866" fmla="*/ 7462 h 10000"/>
                <a:gd name="connsiteX2867" fmla="*/ 2673 w 10577"/>
                <a:gd name="connsiteY2867" fmla="*/ 7427 h 10000"/>
                <a:gd name="connsiteX2868" fmla="*/ 2687 w 10577"/>
                <a:gd name="connsiteY2868" fmla="*/ 7436 h 10000"/>
                <a:gd name="connsiteX2869" fmla="*/ 2696 w 10577"/>
                <a:gd name="connsiteY2869" fmla="*/ 7427 h 10000"/>
                <a:gd name="connsiteX2870" fmla="*/ 2700 w 10577"/>
                <a:gd name="connsiteY2870" fmla="*/ 7419 h 10000"/>
                <a:gd name="connsiteX2871" fmla="*/ 2710 w 10577"/>
                <a:gd name="connsiteY2871" fmla="*/ 7402 h 10000"/>
                <a:gd name="connsiteX2872" fmla="*/ 2724 w 10577"/>
                <a:gd name="connsiteY2872" fmla="*/ 7402 h 10000"/>
                <a:gd name="connsiteX2873" fmla="*/ 2724 w 10577"/>
                <a:gd name="connsiteY2873" fmla="*/ 7393 h 10000"/>
                <a:gd name="connsiteX2874" fmla="*/ 2737 w 10577"/>
                <a:gd name="connsiteY2874" fmla="*/ 7393 h 10000"/>
                <a:gd name="connsiteX2875" fmla="*/ 2742 w 10577"/>
                <a:gd name="connsiteY2875" fmla="*/ 7402 h 10000"/>
                <a:gd name="connsiteX2876" fmla="*/ 2747 w 10577"/>
                <a:gd name="connsiteY2876" fmla="*/ 7402 h 10000"/>
                <a:gd name="connsiteX2877" fmla="*/ 2760 w 10577"/>
                <a:gd name="connsiteY2877" fmla="*/ 7402 h 10000"/>
                <a:gd name="connsiteX2878" fmla="*/ 2770 w 10577"/>
                <a:gd name="connsiteY2878" fmla="*/ 7402 h 10000"/>
                <a:gd name="connsiteX2879" fmla="*/ 2774 w 10577"/>
                <a:gd name="connsiteY2879" fmla="*/ 7402 h 10000"/>
                <a:gd name="connsiteX2880" fmla="*/ 2783 w 10577"/>
                <a:gd name="connsiteY2880" fmla="*/ 7419 h 10000"/>
                <a:gd name="connsiteX2881" fmla="*/ 2802 w 10577"/>
                <a:gd name="connsiteY2881" fmla="*/ 7436 h 10000"/>
                <a:gd name="connsiteX2882" fmla="*/ 2816 w 10577"/>
                <a:gd name="connsiteY2882" fmla="*/ 7419 h 10000"/>
                <a:gd name="connsiteX2883" fmla="*/ 2834 w 10577"/>
                <a:gd name="connsiteY2883" fmla="*/ 7419 h 10000"/>
                <a:gd name="connsiteX2884" fmla="*/ 2843 w 10577"/>
                <a:gd name="connsiteY2884" fmla="*/ 7419 h 10000"/>
                <a:gd name="connsiteX2885" fmla="*/ 2848 w 10577"/>
                <a:gd name="connsiteY2885" fmla="*/ 7436 h 10000"/>
                <a:gd name="connsiteX2886" fmla="*/ 2857 w 10577"/>
                <a:gd name="connsiteY2886" fmla="*/ 7453 h 10000"/>
                <a:gd name="connsiteX2887" fmla="*/ 2857 w 10577"/>
                <a:gd name="connsiteY2887" fmla="*/ 7504 h 10000"/>
                <a:gd name="connsiteX2888" fmla="*/ 2862 w 10577"/>
                <a:gd name="connsiteY2888" fmla="*/ 7530 h 10000"/>
                <a:gd name="connsiteX2889" fmla="*/ 2876 w 10577"/>
                <a:gd name="connsiteY2889" fmla="*/ 7538 h 10000"/>
                <a:gd name="connsiteX2890" fmla="*/ 2871 w 10577"/>
                <a:gd name="connsiteY2890" fmla="*/ 7564 h 10000"/>
                <a:gd name="connsiteX2891" fmla="*/ 2871 w 10577"/>
                <a:gd name="connsiteY2891" fmla="*/ 7598 h 10000"/>
                <a:gd name="connsiteX2892" fmla="*/ 2857 w 10577"/>
                <a:gd name="connsiteY2892" fmla="*/ 7624 h 10000"/>
                <a:gd name="connsiteX2893" fmla="*/ 2862 w 10577"/>
                <a:gd name="connsiteY2893" fmla="*/ 7641 h 10000"/>
                <a:gd name="connsiteX2894" fmla="*/ 2871 w 10577"/>
                <a:gd name="connsiteY2894" fmla="*/ 7667 h 10000"/>
                <a:gd name="connsiteX2895" fmla="*/ 2880 w 10577"/>
                <a:gd name="connsiteY2895" fmla="*/ 7650 h 10000"/>
                <a:gd name="connsiteX2896" fmla="*/ 2894 w 10577"/>
                <a:gd name="connsiteY2896" fmla="*/ 7667 h 10000"/>
                <a:gd name="connsiteX2897" fmla="*/ 2903 w 10577"/>
                <a:gd name="connsiteY2897" fmla="*/ 7667 h 10000"/>
                <a:gd name="connsiteX2898" fmla="*/ 2908 w 10577"/>
                <a:gd name="connsiteY2898" fmla="*/ 7641 h 10000"/>
                <a:gd name="connsiteX2899" fmla="*/ 2917 w 10577"/>
                <a:gd name="connsiteY2899" fmla="*/ 7641 h 10000"/>
                <a:gd name="connsiteX2900" fmla="*/ 2922 w 10577"/>
                <a:gd name="connsiteY2900" fmla="*/ 7641 h 10000"/>
                <a:gd name="connsiteX2901" fmla="*/ 2931 w 10577"/>
                <a:gd name="connsiteY2901" fmla="*/ 7615 h 10000"/>
                <a:gd name="connsiteX2902" fmla="*/ 2935 w 10577"/>
                <a:gd name="connsiteY2902" fmla="*/ 7615 h 10000"/>
                <a:gd name="connsiteX2903" fmla="*/ 2945 w 10577"/>
                <a:gd name="connsiteY2903" fmla="*/ 7650 h 10000"/>
                <a:gd name="connsiteX2904" fmla="*/ 2949 w 10577"/>
                <a:gd name="connsiteY2904" fmla="*/ 7667 h 10000"/>
                <a:gd name="connsiteX2905" fmla="*/ 2949 w 10577"/>
                <a:gd name="connsiteY2905" fmla="*/ 7675 h 10000"/>
                <a:gd name="connsiteX2906" fmla="*/ 2945 w 10577"/>
                <a:gd name="connsiteY2906" fmla="*/ 7692 h 10000"/>
                <a:gd name="connsiteX2907" fmla="*/ 2963 w 10577"/>
                <a:gd name="connsiteY2907" fmla="*/ 7701 h 10000"/>
                <a:gd name="connsiteX2908" fmla="*/ 2963 w 10577"/>
                <a:gd name="connsiteY2908" fmla="*/ 7675 h 10000"/>
                <a:gd name="connsiteX2909" fmla="*/ 2954 w 10577"/>
                <a:gd name="connsiteY2909" fmla="*/ 7667 h 10000"/>
                <a:gd name="connsiteX2910" fmla="*/ 2963 w 10577"/>
                <a:gd name="connsiteY2910" fmla="*/ 7667 h 10000"/>
                <a:gd name="connsiteX2911" fmla="*/ 2982 w 10577"/>
                <a:gd name="connsiteY2911" fmla="*/ 7667 h 10000"/>
                <a:gd name="connsiteX2912" fmla="*/ 2991 w 10577"/>
                <a:gd name="connsiteY2912" fmla="*/ 7675 h 10000"/>
                <a:gd name="connsiteX2913" fmla="*/ 2995 w 10577"/>
                <a:gd name="connsiteY2913" fmla="*/ 7692 h 10000"/>
                <a:gd name="connsiteX2914" fmla="*/ 3009 w 10577"/>
                <a:gd name="connsiteY2914" fmla="*/ 7701 h 10000"/>
                <a:gd name="connsiteX2915" fmla="*/ 3018 w 10577"/>
                <a:gd name="connsiteY2915" fmla="*/ 7701 h 10000"/>
                <a:gd name="connsiteX2916" fmla="*/ 3023 w 10577"/>
                <a:gd name="connsiteY2916" fmla="*/ 7692 h 10000"/>
                <a:gd name="connsiteX2917" fmla="*/ 3028 w 10577"/>
                <a:gd name="connsiteY2917" fmla="*/ 7675 h 10000"/>
                <a:gd name="connsiteX2918" fmla="*/ 3037 w 10577"/>
                <a:gd name="connsiteY2918" fmla="*/ 7692 h 10000"/>
                <a:gd name="connsiteX2919" fmla="*/ 3028 w 10577"/>
                <a:gd name="connsiteY2919" fmla="*/ 7709 h 10000"/>
                <a:gd name="connsiteX2920" fmla="*/ 3023 w 10577"/>
                <a:gd name="connsiteY2920" fmla="*/ 7709 h 10000"/>
                <a:gd name="connsiteX2921" fmla="*/ 3018 w 10577"/>
                <a:gd name="connsiteY2921" fmla="*/ 7726 h 10000"/>
                <a:gd name="connsiteX2922" fmla="*/ 3009 w 10577"/>
                <a:gd name="connsiteY2922" fmla="*/ 7735 h 10000"/>
                <a:gd name="connsiteX2923" fmla="*/ 3009 w 10577"/>
                <a:gd name="connsiteY2923" fmla="*/ 7761 h 10000"/>
                <a:gd name="connsiteX2924" fmla="*/ 3009 w 10577"/>
                <a:gd name="connsiteY2924" fmla="*/ 7778 h 10000"/>
                <a:gd name="connsiteX2925" fmla="*/ 3018 w 10577"/>
                <a:gd name="connsiteY2925" fmla="*/ 7786 h 10000"/>
                <a:gd name="connsiteX2926" fmla="*/ 3023 w 10577"/>
                <a:gd name="connsiteY2926" fmla="*/ 7786 h 10000"/>
                <a:gd name="connsiteX2927" fmla="*/ 3028 w 10577"/>
                <a:gd name="connsiteY2927" fmla="*/ 7778 h 10000"/>
                <a:gd name="connsiteX2928" fmla="*/ 3051 w 10577"/>
                <a:gd name="connsiteY2928" fmla="*/ 7761 h 10000"/>
                <a:gd name="connsiteX2929" fmla="*/ 3055 w 10577"/>
                <a:gd name="connsiteY2929" fmla="*/ 7778 h 10000"/>
                <a:gd name="connsiteX2930" fmla="*/ 3065 w 10577"/>
                <a:gd name="connsiteY2930" fmla="*/ 7761 h 10000"/>
                <a:gd name="connsiteX2931" fmla="*/ 3069 w 10577"/>
                <a:gd name="connsiteY2931" fmla="*/ 7786 h 10000"/>
                <a:gd name="connsiteX2932" fmla="*/ 3083 w 10577"/>
                <a:gd name="connsiteY2932" fmla="*/ 7786 h 10000"/>
                <a:gd name="connsiteX2933" fmla="*/ 3078 w 10577"/>
                <a:gd name="connsiteY2933" fmla="*/ 7761 h 10000"/>
                <a:gd name="connsiteX2934" fmla="*/ 3083 w 10577"/>
                <a:gd name="connsiteY2934" fmla="*/ 7752 h 10000"/>
                <a:gd name="connsiteX2935" fmla="*/ 3097 w 10577"/>
                <a:gd name="connsiteY2935" fmla="*/ 7752 h 10000"/>
                <a:gd name="connsiteX2936" fmla="*/ 3111 w 10577"/>
                <a:gd name="connsiteY2936" fmla="*/ 7726 h 10000"/>
                <a:gd name="connsiteX2937" fmla="*/ 3124 w 10577"/>
                <a:gd name="connsiteY2937" fmla="*/ 7709 h 10000"/>
                <a:gd name="connsiteX2938" fmla="*/ 3143 w 10577"/>
                <a:gd name="connsiteY2938" fmla="*/ 7692 h 10000"/>
                <a:gd name="connsiteX2939" fmla="*/ 3152 w 10577"/>
                <a:gd name="connsiteY2939" fmla="*/ 7667 h 10000"/>
                <a:gd name="connsiteX2940" fmla="*/ 3157 w 10577"/>
                <a:gd name="connsiteY2940" fmla="*/ 7650 h 10000"/>
                <a:gd name="connsiteX2941" fmla="*/ 3161 w 10577"/>
                <a:gd name="connsiteY2941" fmla="*/ 7650 h 10000"/>
                <a:gd name="connsiteX2942" fmla="*/ 3189 w 10577"/>
                <a:gd name="connsiteY2942" fmla="*/ 7641 h 10000"/>
                <a:gd name="connsiteX2943" fmla="*/ 3198 w 10577"/>
                <a:gd name="connsiteY2943" fmla="*/ 7624 h 10000"/>
                <a:gd name="connsiteX2944" fmla="*/ 3217 w 10577"/>
                <a:gd name="connsiteY2944" fmla="*/ 7615 h 10000"/>
                <a:gd name="connsiteX2945" fmla="*/ 3235 w 10577"/>
                <a:gd name="connsiteY2945" fmla="*/ 7598 h 10000"/>
                <a:gd name="connsiteX2946" fmla="*/ 3235 w 10577"/>
                <a:gd name="connsiteY2946" fmla="*/ 7615 h 10000"/>
                <a:gd name="connsiteX2947" fmla="*/ 3235 w 10577"/>
                <a:gd name="connsiteY2947" fmla="*/ 7641 h 10000"/>
                <a:gd name="connsiteX2948" fmla="*/ 3235 w 10577"/>
                <a:gd name="connsiteY2948" fmla="*/ 7650 h 10000"/>
                <a:gd name="connsiteX2949" fmla="*/ 3226 w 10577"/>
                <a:gd name="connsiteY2949" fmla="*/ 7650 h 10000"/>
                <a:gd name="connsiteX2950" fmla="*/ 3217 w 10577"/>
                <a:gd name="connsiteY2950" fmla="*/ 7650 h 10000"/>
                <a:gd name="connsiteX2951" fmla="*/ 3212 w 10577"/>
                <a:gd name="connsiteY2951" fmla="*/ 7675 h 10000"/>
                <a:gd name="connsiteX2952" fmla="*/ 3212 w 10577"/>
                <a:gd name="connsiteY2952" fmla="*/ 7675 h 10000"/>
                <a:gd name="connsiteX0" fmla="*/ 3212 w 10577"/>
                <a:gd name="connsiteY0" fmla="*/ 7675 h 10000"/>
                <a:gd name="connsiteX1" fmla="*/ 3217 w 10577"/>
                <a:gd name="connsiteY1" fmla="*/ 7692 h 10000"/>
                <a:gd name="connsiteX2" fmla="*/ 3226 w 10577"/>
                <a:gd name="connsiteY2" fmla="*/ 7692 h 10000"/>
                <a:gd name="connsiteX3" fmla="*/ 3309 w 10577"/>
                <a:gd name="connsiteY3" fmla="*/ 7838 h 10000"/>
                <a:gd name="connsiteX4" fmla="*/ 3452 w 10577"/>
                <a:gd name="connsiteY4" fmla="*/ 8325 h 10000"/>
                <a:gd name="connsiteX5" fmla="*/ 3470 w 10577"/>
                <a:gd name="connsiteY5" fmla="*/ 8299 h 10000"/>
                <a:gd name="connsiteX6" fmla="*/ 3470 w 10577"/>
                <a:gd name="connsiteY6" fmla="*/ 8282 h 10000"/>
                <a:gd name="connsiteX7" fmla="*/ 3470 w 10577"/>
                <a:gd name="connsiteY7" fmla="*/ 8274 h 10000"/>
                <a:gd name="connsiteX8" fmla="*/ 3484 w 10577"/>
                <a:gd name="connsiteY8" fmla="*/ 8231 h 10000"/>
                <a:gd name="connsiteX9" fmla="*/ 3498 w 10577"/>
                <a:gd name="connsiteY9" fmla="*/ 8231 h 10000"/>
                <a:gd name="connsiteX10" fmla="*/ 3498 w 10577"/>
                <a:gd name="connsiteY10" fmla="*/ 8248 h 10000"/>
                <a:gd name="connsiteX11" fmla="*/ 3512 w 10577"/>
                <a:gd name="connsiteY11" fmla="*/ 8256 h 10000"/>
                <a:gd name="connsiteX12" fmla="*/ 3525 w 10577"/>
                <a:gd name="connsiteY12" fmla="*/ 8274 h 10000"/>
                <a:gd name="connsiteX13" fmla="*/ 3525 w 10577"/>
                <a:gd name="connsiteY13" fmla="*/ 8282 h 10000"/>
                <a:gd name="connsiteX14" fmla="*/ 3525 w 10577"/>
                <a:gd name="connsiteY14" fmla="*/ 8308 h 10000"/>
                <a:gd name="connsiteX15" fmla="*/ 3530 w 10577"/>
                <a:gd name="connsiteY15" fmla="*/ 8308 h 10000"/>
                <a:gd name="connsiteX16" fmla="*/ 3539 w 10577"/>
                <a:gd name="connsiteY16" fmla="*/ 8333 h 10000"/>
                <a:gd name="connsiteX17" fmla="*/ 3571 w 10577"/>
                <a:gd name="connsiteY17" fmla="*/ 8333 h 10000"/>
                <a:gd name="connsiteX18" fmla="*/ 3590 w 10577"/>
                <a:gd name="connsiteY18" fmla="*/ 8350 h 10000"/>
                <a:gd name="connsiteX19" fmla="*/ 3599 w 10577"/>
                <a:gd name="connsiteY19" fmla="*/ 8333 h 10000"/>
                <a:gd name="connsiteX20" fmla="*/ 3618 w 10577"/>
                <a:gd name="connsiteY20" fmla="*/ 8333 h 10000"/>
                <a:gd name="connsiteX21" fmla="*/ 3618 w 10577"/>
                <a:gd name="connsiteY21" fmla="*/ 8325 h 10000"/>
                <a:gd name="connsiteX22" fmla="*/ 3627 w 10577"/>
                <a:gd name="connsiteY22" fmla="*/ 8308 h 10000"/>
                <a:gd name="connsiteX23" fmla="*/ 3641 w 10577"/>
                <a:gd name="connsiteY23" fmla="*/ 8308 h 10000"/>
                <a:gd name="connsiteX24" fmla="*/ 3645 w 10577"/>
                <a:gd name="connsiteY24" fmla="*/ 8308 h 10000"/>
                <a:gd name="connsiteX25" fmla="*/ 3650 w 10577"/>
                <a:gd name="connsiteY25" fmla="*/ 8299 h 10000"/>
                <a:gd name="connsiteX26" fmla="*/ 3659 w 10577"/>
                <a:gd name="connsiteY26" fmla="*/ 8282 h 10000"/>
                <a:gd name="connsiteX27" fmla="*/ 3677 w 10577"/>
                <a:gd name="connsiteY27" fmla="*/ 8299 h 10000"/>
                <a:gd name="connsiteX28" fmla="*/ 3687 w 10577"/>
                <a:gd name="connsiteY28" fmla="*/ 8299 h 10000"/>
                <a:gd name="connsiteX29" fmla="*/ 3691 w 10577"/>
                <a:gd name="connsiteY29" fmla="*/ 8325 h 10000"/>
                <a:gd name="connsiteX30" fmla="*/ 3700 w 10577"/>
                <a:gd name="connsiteY30" fmla="*/ 8325 h 10000"/>
                <a:gd name="connsiteX31" fmla="*/ 3714 w 10577"/>
                <a:gd name="connsiteY31" fmla="*/ 8359 h 10000"/>
                <a:gd name="connsiteX32" fmla="*/ 3719 w 10577"/>
                <a:gd name="connsiteY32" fmla="*/ 8359 h 10000"/>
                <a:gd name="connsiteX33" fmla="*/ 3724 w 10577"/>
                <a:gd name="connsiteY33" fmla="*/ 8368 h 10000"/>
                <a:gd name="connsiteX34" fmla="*/ 3719 w 10577"/>
                <a:gd name="connsiteY34" fmla="*/ 8393 h 10000"/>
                <a:gd name="connsiteX35" fmla="*/ 3724 w 10577"/>
                <a:gd name="connsiteY35" fmla="*/ 8410 h 10000"/>
                <a:gd name="connsiteX36" fmla="*/ 3724 w 10577"/>
                <a:gd name="connsiteY36" fmla="*/ 8436 h 10000"/>
                <a:gd name="connsiteX37" fmla="*/ 3737 w 10577"/>
                <a:gd name="connsiteY37" fmla="*/ 8436 h 10000"/>
                <a:gd name="connsiteX38" fmla="*/ 3765 w 10577"/>
                <a:gd name="connsiteY38" fmla="*/ 8462 h 10000"/>
                <a:gd name="connsiteX39" fmla="*/ 3765 w 10577"/>
                <a:gd name="connsiteY39" fmla="*/ 8470 h 10000"/>
                <a:gd name="connsiteX40" fmla="*/ 3765 w 10577"/>
                <a:gd name="connsiteY40" fmla="*/ 8496 h 10000"/>
                <a:gd name="connsiteX41" fmla="*/ 3774 w 10577"/>
                <a:gd name="connsiteY41" fmla="*/ 8496 h 10000"/>
                <a:gd name="connsiteX42" fmla="*/ 3779 w 10577"/>
                <a:gd name="connsiteY42" fmla="*/ 8504 h 10000"/>
                <a:gd name="connsiteX43" fmla="*/ 3793 w 10577"/>
                <a:gd name="connsiteY43" fmla="*/ 8547 h 10000"/>
                <a:gd name="connsiteX44" fmla="*/ 3797 w 10577"/>
                <a:gd name="connsiteY44" fmla="*/ 8547 h 10000"/>
                <a:gd name="connsiteX45" fmla="*/ 3820 w 10577"/>
                <a:gd name="connsiteY45" fmla="*/ 8556 h 10000"/>
                <a:gd name="connsiteX46" fmla="*/ 3834 w 10577"/>
                <a:gd name="connsiteY46" fmla="*/ 8573 h 10000"/>
                <a:gd name="connsiteX47" fmla="*/ 3853 w 10577"/>
                <a:gd name="connsiteY47" fmla="*/ 8573 h 10000"/>
                <a:gd name="connsiteX48" fmla="*/ 3857 w 10577"/>
                <a:gd name="connsiteY48" fmla="*/ 8556 h 10000"/>
                <a:gd name="connsiteX49" fmla="*/ 3866 w 10577"/>
                <a:gd name="connsiteY49" fmla="*/ 8547 h 10000"/>
                <a:gd name="connsiteX50" fmla="*/ 3880 w 10577"/>
                <a:gd name="connsiteY50" fmla="*/ 8530 h 10000"/>
                <a:gd name="connsiteX51" fmla="*/ 3885 w 10577"/>
                <a:gd name="connsiteY51" fmla="*/ 8547 h 10000"/>
                <a:gd name="connsiteX52" fmla="*/ 3885 w 10577"/>
                <a:gd name="connsiteY52" fmla="*/ 8573 h 10000"/>
                <a:gd name="connsiteX53" fmla="*/ 3899 w 10577"/>
                <a:gd name="connsiteY53" fmla="*/ 8573 h 10000"/>
                <a:gd name="connsiteX54" fmla="*/ 3908 w 10577"/>
                <a:gd name="connsiteY54" fmla="*/ 8607 h 10000"/>
                <a:gd name="connsiteX55" fmla="*/ 3912 w 10577"/>
                <a:gd name="connsiteY55" fmla="*/ 8615 h 10000"/>
                <a:gd name="connsiteX56" fmla="*/ 3922 w 10577"/>
                <a:gd name="connsiteY56" fmla="*/ 8632 h 10000"/>
                <a:gd name="connsiteX57" fmla="*/ 3908 w 10577"/>
                <a:gd name="connsiteY57" fmla="*/ 8692 h 10000"/>
                <a:gd name="connsiteX58" fmla="*/ 3908 w 10577"/>
                <a:gd name="connsiteY58" fmla="*/ 8692 h 10000"/>
                <a:gd name="connsiteX59" fmla="*/ 3931 w 10577"/>
                <a:gd name="connsiteY59" fmla="*/ 8709 h 10000"/>
                <a:gd name="connsiteX60" fmla="*/ 3954 w 10577"/>
                <a:gd name="connsiteY60" fmla="*/ 8667 h 10000"/>
                <a:gd name="connsiteX61" fmla="*/ 3959 w 10577"/>
                <a:gd name="connsiteY61" fmla="*/ 8667 h 10000"/>
                <a:gd name="connsiteX62" fmla="*/ 3972 w 10577"/>
                <a:gd name="connsiteY62" fmla="*/ 8615 h 10000"/>
                <a:gd name="connsiteX63" fmla="*/ 3995 w 10577"/>
                <a:gd name="connsiteY63" fmla="*/ 8581 h 10000"/>
                <a:gd name="connsiteX64" fmla="*/ 4032 w 10577"/>
                <a:gd name="connsiteY64" fmla="*/ 8556 h 10000"/>
                <a:gd name="connsiteX65" fmla="*/ 4138 w 10577"/>
                <a:gd name="connsiteY65" fmla="*/ 8419 h 10000"/>
                <a:gd name="connsiteX66" fmla="*/ 4249 w 10577"/>
                <a:gd name="connsiteY66" fmla="*/ 8359 h 10000"/>
                <a:gd name="connsiteX67" fmla="*/ 4295 w 10577"/>
                <a:gd name="connsiteY67" fmla="*/ 8385 h 10000"/>
                <a:gd name="connsiteX68" fmla="*/ 4309 w 10577"/>
                <a:gd name="connsiteY68" fmla="*/ 8410 h 10000"/>
                <a:gd name="connsiteX69" fmla="*/ 4355 w 10577"/>
                <a:gd name="connsiteY69" fmla="*/ 8393 h 10000"/>
                <a:gd name="connsiteX70" fmla="*/ 4382 w 10577"/>
                <a:gd name="connsiteY70" fmla="*/ 8393 h 10000"/>
                <a:gd name="connsiteX71" fmla="*/ 4419 w 10577"/>
                <a:gd name="connsiteY71" fmla="*/ 8487 h 10000"/>
                <a:gd name="connsiteX72" fmla="*/ 4442 w 10577"/>
                <a:gd name="connsiteY72" fmla="*/ 8487 h 10000"/>
                <a:gd name="connsiteX73" fmla="*/ 4493 w 10577"/>
                <a:gd name="connsiteY73" fmla="*/ 8470 h 10000"/>
                <a:gd name="connsiteX74" fmla="*/ 4516 w 10577"/>
                <a:gd name="connsiteY74" fmla="*/ 8487 h 10000"/>
                <a:gd name="connsiteX75" fmla="*/ 4608 w 10577"/>
                <a:gd name="connsiteY75" fmla="*/ 8470 h 10000"/>
                <a:gd name="connsiteX76" fmla="*/ 4622 w 10577"/>
                <a:gd name="connsiteY76" fmla="*/ 8470 h 10000"/>
                <a:gd name="connsiteX77" fmla="*/ 4618 w 10577"/>
                <a:gd name="connsiteY77" fmla="*/ 8419 h 10000"/>
                <a:gd name="connsiteX78" fmla="*/ 4622 w 10577"/>
                <a:gd name="connsiteY78" fmla="*/ 8385 h 10000"/>
                <a:gd name="connsiteX79" fmla="*/ 4636 w 10577"/>
                <a:gd name="connsiteY79" fmla="*/ 8350 h 10000"/>
                <a:gd name="connsiteX80" fmla="*/ 4636 w 10577"/>
                <a:gd name="connsiteY80" fmla="*/ 8325 h 10000"/>
                <a:gd name="connsiteX81" fmla="*/ 4622 w 10577"/>
                <a:gd name="connsiteY81" fmla="*/ 8282 h 10000"/>
                <a:gd name="connsiteX82" fmla="*/ 4618 w 10577"/>
                <a:gd name="connsiteY82" fmla="*/ 8248 h 10000"/>
                <a:gd name="connsiteX83" fmla="*/ 4618 w 10577"/>
                <a:gd name="connsiteY83" fmla="*/ 8214 h 10000"/>
                <a:gd name="connsiteX84" fmla="*/ 4691 w 10577"/>
                <a:gd name="connsiteY84" fmla="*/ 8077 h 10000"/>
                <a:gd name="connsiteX85" fmla="*/ 4700 w 10577"/>
                <a:gd name="connsiteY85" fmla="*/ 8060 h 10000"/>
                <a:gd name="connsiteX86" fmla="*/ 4728 w 10577"/>
                <a:gd name="connsiteY86" fmla="*/ 8077 h 10000"/>
                <a:gd name="connsiteX87" fmla="*/ 4751 w 10577"/>
                <a:gd name="connsiteY87" fmla="*/ 8094 h 10000"/>
                <a:gd name="connsiteX88" fmla="*/ 4788 w 10577"/>
                <a:gd name="connsiteY88" fmla="*/ 8120 h 10000"/>
                <a:gd name="connsiteX89" fmla="*/ 4802 w 10577"/>
                <a:gd name="connsiteY89" fmla="*/ 8162 h 10000"/>
                <a:gd name="connsiteX90" fmla="*/ 4885 w 10577"/>
                <a:gd name="connsiteY90" fmla="*/ 8197 h 10000"/>
                <a:gd name="connsiteX91" fmla="*/ 4889 w 10577"/>
                <a:gd name="connsiteY91" fmla="*/ 8231 h 10000"/>
                <a:gd name="connsiteX92" fmla="*/ 4899 w 10577"/>
                <a:gd name="connsiteY92" fmla="*/ 8333 h 10000"/>
                <a:gd name="connsiteX93" fmla="*/ 4903 w 10577"/>
                <a:gd name="connsiteY93" fmla="*/ 8333 h 10000"/>
                <a:gd name="connsiteX94" fmla="*/ 4949 w 10577"/>
                <a:gd name="connsiteY94" fmla="*/ 8410 h 10000"/>
                <a:gd name="connsiteX95" fmla="*/ 4991 w 10577"/>
                <a:gd name="connsiteY95" fmla="*/ 8436 h 10000"/>
                <a:gd name="connsiteX96" fmla="*/ 5023 w 10577"/>
                <a:gd name="connsiteY96" fmla="*/ 8419 h 10000"/>
                <a:gd name="connsiteX97" fmla="*/ 5092 w 10577"/>
                <a:gd name="connsiteY97" fmla="*/ 8359 h 10000"/>
                <a:gd name="connsiteX98" fmla="*/ 5180 w 10577"/>
                <a:gd name="connsiteY98" fmla="*/ 8410 h 10000"/>
                <a:gd name="connsiteX99" fmla="*/ 5189 w 10577"/>
                <a:gd name="connsiteY99" fmla="*/ 8436 h 10000"/>
                <a:gd name="connsiteX100" fmla="*/ 5198 w 10577"/>
                <a:gd name="connsiteY100" fmla="*/ 8436 h 10000"/>
                <a:gd name="connsiteX101" fmla="*/ 5226 w 10577"/>
                <a:gd name="connsiteY101" fmla="*/ 8487 h 10000"/>
                <a:gd name="connsiteX102" fmla="*/ 5276 w 10577"/>
                <a:gd name="connsiteY102" fmla="*/ 8504 h 10000"/>
                <a:gd name="connsiteX103" fmla="*/ 5290 w 10577"/>
                <a:gd name="connsiteY103" fmla="*/ 8556 h 10000"/>
                <a:gd name="connsiteX104" fmla="*/ 5323 w 10577"/>
                <a:gd name="connsiteY104" fmla="*/ 8598 h 10000"/>
                <a:gd name="connsiteX105" fmla="*/ 5447 w 10577"/>
                <a:gd name="connsiteY105" fmla="*/ 8615 h 10000"/>
                <a:gd name="connsiteX106" fmla="*/ 5465 w 10577"/>
                <a:gd name="connsiteY106" fmla="*/ 8632 h 10000"/>
                <a:gd name="connsiteX107" fmla="*/ 5604 w 10577"/>
                <a:gd name="connsiteY107" fmla="*/ 8556 h 10000"/>
                <a:gd name="connsiteX108" fmla="*/ 5677 w 10577"/>
                <a:gd name="connsiteY108" fmla="*/ 8462 h 10000"/>
                <a:gd name="connsiteX109" fmla="*/ 5705 w 10577"/>
                <a:gd name="connsiteY109" fmla="*/ 8444 h 10000"/>
                <a:gd name="connsiteX110" fmla="*/ 5737 w 10577"/>
                <a:gd name="connsiteY110" fmla="*/ 8470 h 10000"/>
                <a:gd name="connsiteX111" fmla="*/ 5760 w 10577"/>
                <a:gd name="connsiteY111" fmla="*/ 8496 h 10000"/>
                <a:gd name="connsiteX112" fmla="*/ 5788 w 10577"/>
                <a:gd name="connsiteY112" fmla="*/ 8504 h 10000"/>
                <a:gd name="connsiteX113" fmla="*/ 5806 w 10577"/>
                <a:gd name="connsiteY113" fmla="*/ 8496 h 10000"/>
                <a:gd name="connsiteX114" fmla="*/ 5820 w 10577"/>
                <a:gd name="connsiteY114" fmla="*/ 8487 h 10000"/>
                <a:gd name="connsiteX115" fmla="*/ 5825 w 10577"/>
                <a:gd name="connsiteY115" fmla="*/ 8487 h 10000"/>
                <a:gd name="connsiteX116" fmla="*/ 5825 w 10577"/>
                <a:gd name="connsiteY116" fmla="*/ 8487 h 10000"/>
                <a:gd name="connsiteX117" fmla="*/ 5926 w 10577"/>
                <a:gd name="connsiteY117" fmla="*/ 8556 h 10000"/>
                <a:gd name="connsiteX118" fmla="*/ 5940 w 10577"/>
                <a:gd name="connsiteY118" fmla="*/ 8556 h 10000"/>
                <a:gd name="connsiteX119" fmla="*/ 6014 w 10577"/>
                <a:gd name="connsiteY119" fmla="*/ 8470 h 10000"/>
                <a:gd name="connsiteX120" fmla="*/ 6018 w 10577"/>
                <a:gd name="connsiteY120" fmla="*/ 8444 h 10000"/>
                <a:gd name="connsiteX121" fmla="*/ 6014 w 10577"/>
                <a:gd name="connsiteY121" fmla="*/ 8419 h 10000"/>
                <a:gd name="connsiteX122" fmla="*/ 6018 w 10577"/>
                <a:gd name="connsiteY122" fmla="*/ 8393 h 10000"/>
                <a:gd name="connsiteX123" fmla="*/ 6041 w 10577"/>
                <a:gd name="connsiteY123" fmla="*/ 8333 h 10000"/>
                <a:gd name="connsiteX124" fmla="*/ 6069 w 10577"/>
                <a:gd name="connsiteY124" fmla="*/ 8188 h 10000"/>
                <a:gd name="connsiteX125" fmla="*/ 6088 w 10577"/>
                <a:gd name="connsiteY125" fmla="*/ 8162 h 10000"/>
                <a:gd name="connsiteX126" fmla="*/ 6115 w 10577"/>
                <a:gd name="connsiteY126" fmla="*/ 8094 h 10000"/>
                <a:gd name="connsiteX127" fmla="*/ 6115 w 10577"/>
                <a:gd name="connsiteY127" fmla="*/ 8094 h 10000"/>
                <a:gd name="connsiteX128" fmla="*/ 6106 w 10577"/>
                <a:gd name="connsiteY128" fmla="*/ 8077 h 10000"/>
                <a:gd name="connsiteX129" fmla="*/ 6106 w 10577"/>
                <a:gd name="connsiteY129" fmla="*/ 8009 h 10000"/>
                <a:gd name="connsiteX130" fmla="*/ 6101 w 10577"/>
                <a:gd name="connsiteY130" fmla="*/ 8000 h 10000"/>
                <a:gd name="connsiteX131" fmla="*/ 6069 w 10577"/>
                <a:gd name="connsiteY131" fmla="*/ 8009 h 10000"/>
                <a:gd name="connsiteX132" fmla="*/ 6069 w 10577"/>
                <a:gd name="connsiteY132" fmla="*/ 8000 h 10000"/>
                <a:gd name="connsiteX133" fmla="*/ 6069 w 10577"/>
                <a:gd name="connsiteY133" fmla="*/ 7974 h 10000"/>
                <a:gd name="connsiteX134" fmla="*/ 6101 w 10577"/>
                <a:gd name="connsiteY134" fmla="*/ 7923 h 10000"/>
                <a:gd name="connsiteX135" fmla="*/ 6106 w 10577"/>
                <a:gd name="connsiteY135" fmla="*/ 7889 h 10000"/>
                <a:gd name="connsiteX136" fmla="*/ 6129 w 10577"/>
                <a:gd name="connsiteY136" fmla="*/ 7863 h 10000"/>
                <a:gd name="connsiteX137" fmla="*/ 6300 w 10577"/>
                <a:gd name="connsiteY137" fmla="*/ 7812 h 10000"/>
                <a:gd name="connsiteX138" fmla="*/ 6359 w 10577"/>
                <a:gd name="connsiteY138" fmla="*/ 7872 h 10000"/>
                <a:gd name="connsiteX139" fmla="*/ 6373 w 10577"/>
                <a:gd name="connsiteY139" fmla="*/ 7889 h 10000"/>
                <a:gd name="connsiteX140" fmla="*/ 6401 w 10577"/>
                <a:gd name="connsiteY140" fmla="*/ 7889 h 10000"/>
                <a:gd name="connsiteX141" fmla="*/ 6433 w 10577"/>
                <a:gd name="connsiteY141" fmla="*/ 7915 h 10000"/>
                <a:gd name="connsiteX142" fmla="*/ 6461 w 10577"/>
                <a:gd name="connsiteY142" fmla="*/ 7974 h 10000"/>
                <a:gd name="connsiteX143" fmla="*/ 6461 w 10577"/>
                <a:gd name="connsiteY143" fmla="*/ 8000 h 10000"/>
                <a:gd name="connsiteX144" fmla="*/ 6484 w 10577"/>
                <a:gd name="connsiteY144" fmla="*/ 8034 h 10000"/>
                <a:gd name="connsiteX145" fmla="*/ 6484 w 10577"/>
                <a:gd name="connsiteY145" fmla="*/ 8051 h 10000"/>
                <a:gd name="connsiteX146" fmla="*/ 6484 w 10577"/>
                <a:gd name="connsiteY146" fmla="*/ 8034 h 10000"/>
                <a:gd name="connsiteX147" fmla="*/ 6558 w 10577"/>
                <a:gd name="connsiteY147" fmla="*/ 8444 h 10000"/>
                <a:gd name="connsiteX148" fmla="*/ 6558 w 10577"/>
                <a:gd name="connsiteY148" fmla="*/ 8462 h 10000"/>
                <a:gd name="connsiteX149" fmla="*/ 6558 w 10577"/>
                <a:gd name="connsiteY149" fmla="*/ 8462 h 10000"/>
                <a:gd name="connsiteX150" fmla="*/ 6562 w 10577"/>
                <a:gd name="connsiteY150" fmla="*/ 8547 h 10000"/>
                <a:gd name="connsiteX151" fmla="*/ 6576 w 10577"/>
                <a:gd name="connsiteY151" fmla="*/ 8573 h 10000"/>
                <a:gd name="connsiteX152" fmla="*/ 6604 w 10577"/>
                <a:gd name="connsiteY152" fmla="*/ 8581 h 10000"/>
                <a:gd name="connsiteX153" fmla="*/ 6631 w 10577"/>
                <a:gd name="connsiteY153" fmla="*/ 8556 h 10000"/>
                <a:gd name="connsiteX154" fmla="*/ 6691 w 10577"/>
                <a:gd name="connsiteY154" fmla="*/ 8607 h 10000"/>
                <a:gd name="connsiteX155" fmla="*/ 6728 w 10577"/>
                <a:gd name="connsiteY155" fmla="*/ 8667 h 10000"/>
                <a:gd name="connsiteX156" fmla="*/ 6742 w 10577"/>
                <a:gd name="connsiteY156" fmla="*/ 8684 h 10000"/>
                <a:gd name="connsiteX157" fmla="*/ 6765 w 10577"/>
                <a:gd name="connsiteY157" fmla="*/ 8684 h 10000"/>
                <a:gd name="connsiteX158" fmla="*/ 6765 w 10577"/>
                <a:gd name="connsiteY158" fmla="*/ 8709 h 10000"/>
                <a:gd name="connsiteX159" fmla="*/ 6765 w 10577"/>
                <a:gd name="connsiteY159" fmla="*/ 8709 h 10000"/>
                <a:gd name="connsiteX160" fmla="*/ 6770 w 10577"/>
                <a:gd name="connsiteY160" fmla="*/ 8709 h 10000"/>
                <a:gd name="connsiteX161" fmla="*/ 6770 w 10577"/>
                <a:gd name="connsiteY161" fmla="*/ 8744 h 10000"/>
                <a:gd name="connsiteX162" fmla="*/ 6779 w 10577"/>
                <a:gd name="connsiteY162" fmla="*/ 8769 h 10000"/>
                <a:gd name="connsiteX163" fmla="*/ 6779 w 10577"/>
                <a:gd name="connsiteY163" fmla="*/ 8846 h 10000"/>
                <a:gd name="connsiteX164" fmla="*/ 6797 w 10577"/>
                <a:gd name="connsiteY164" fmla="*/ 8906 h 10000"/>
                <a:gd name="connsiteX165" fmla="*/ 6816 w 10577"/>
                <a:gd name="connsiteY165" fmla="*/ 8906 h 10000"/>
                <a:gd name="connsiteX166" fmla="*/ 6843 w 10577"/>
                <a:gd name="connsiteY166" fmla="*/ 8915 h 10000"/>
                <a:gd name="connsiteX167" fmla="*/ 6862 w 10577"/>
                <a:gd name="connsiteY167" fmla="*/ 8906 h 10000"/>
                <a:gd name="connsiteX168" fmla="*/ 6935 w 10577"/>
                <a:gd name="connsiteY168" fmla="*/ 8829 h 10000"/>
                <a:gd name="connsiteX169" fmla="*/ 6963 w 10577"/>
                <a:gd name="connsiteY169" fmla="*/ 8829 h 10000"/>
                <a:gd name="connsiteX170" fmla="*/ 7046 w 10577"/>
                <a:gd name="connsiteY170" fmla="*/ 8769 h 10000"/>
                <a:gd name="connsiteX171" fmla="*/ 7046 w 10577"/>
                <a:gd name="connsiteY171" fmla="*/ 8769 h 10000"/>
                <a:gd name="connsiteX172" fmla="*/ 7032 w 10577"/>
                <a:gd name="connsiteY172" fmla="*/ 8803 h 10000"/>
                <a:gd name="connsiteX173" fmla="*/ 7032 w 10577"/>
                <a:gd name="connsiteY173" fmla="*/ 8846 h 10000"/>
                <a:gd name="connsiteX174" fmla="*/ 7037 w 10577"/>
                <a:gd name="connsiteY174" fmla="*/ 8880 h 10000"/>
                <a:gd name="connsiteX175" fmla="*/ 7037 w 10577"/>
                <a:gd name="connsiteY175" fmla="*/ 8932 h 10000"/>
                <a:gd name="connsiteX176" fmla="*/ 7005 w 10577"/>
                <a:gd name="connsiteY176" fmla="*/ 8983 h 10000"/>
                <a:gd name="connsiteX177" fmla="*/ 6977 w 10577"/>
                <a:gd name="connsiteY177" fmla="*/ 9188 h 10000"/>
                <a:gd name="connsiteX178" fmla="*/ 6935 w 10577"/>
                <a:gd name="connsiteY178" fmla="*/ 9316 h 10000"/>
                <a:gd name="connsiteX179" fmla="*/ 6931 w 10577"/>
                <a:gd name="connsiteY179" fmla="*/ 9368 h 10000"/>
                <a:gd name="connsiteX180" fmla="*/ 6917 w 10577"/>
                <a:gd name="connsiteY180" fmla="*/ 9376 h 10000"/>
                <a:gd name="connsiteX181" fmla="*/ 6912 w 10577"/>
                <a:gd name="connsiteY181" fmla="*/ 9376 h 10000"/>
                <a:gd name="connsiteX182" fmla="*/ 6848 w 10577"/>
                <a:gd name="connsiteY182" fmla="*/ 9342 h 10000"/>
                <a:gd name="connsiteX183" fmla="*/ 6788 w 10577"/>
                <a:gd name="connsiteY183" fmla="*/ 9436 h 10000"/>
                <a:gd name="connsiteX184" fmla="*/ 6802 w 10577"/>
                <a:gd name="connsiteY184" fmla="*/ 9462 h 10000"/>
                <a:gd name="connsiteX185" fmla="*/ 6811 w 10577"/>
                <a:gd name="connsiteY185" fmla="*/ 9667 h 10000"/>
                <a:gd name="connsiteX186" fmla="*/ 6788 w 10577"/>
                <a:gd name="connsiteY186" fmla="*/ 9709 h 10000"/>
                <a:gd name="connsiteX187" fmla="*/ 6765 w 10577"/>
                <a:gd name="connsiteY187" fmla="*/ 9752 h 10000"/>
                <a:gd name="connsiteX188" fmla="*/ 6765 w 10577"/>
                <a:gd name="connsiteY188" fmla="*/ 9803 h 10000"/>
                <a:gd name="connsiteX189" fmla="*/ 6770 w 10577"/>
                <a:gd name="connsiteY189" fmla="*/ 9821 h 10000"/>
                <a:gd name="connsiteX190" fmla="*/ 6779 w 10577"/>
                <a:gd name="connsiteY190" fmla="*/ 9812 h 10000"/>
                <a:gd name="connsiteX191" fmla="*/ 6779 w 10577"/>
                <a:gd name="connsiteY191" fmla="*/ 9803 h 10000"/>
                <a:gd name="connsiteX192" fmla="*/ 6770 w 10577"/>
                <a:gd name="connsiteY192" fmla="*/ 9786 h 10000"/>
                <a:gd name="connsiteX193" fmla="*/ 6811 w 10577"/>
                <a:gd name="connsiteY193" fmla="*/ 9786 h 10000"/>
                <a:gd name="connsiteX194" fmla="*/ 6816 w 10577"/>
                <a:gd name="connsiteY194" fmla="*/ 9761 h 10000"/>
                <a:gd name="connsiteX195" fmla="*/ 6825 w 10577"/>
                <a:gd name="connsiteY195" fmla="*/ 9752 h 10000"/>
                <a:gd name="connsiteX196" fmla="*/ 6825 w 10577"/>
                <a:gd name="connsiteY196" fmla="*/ 9726 h 10000"/>
                <a:gd name="connsiteX197" fmla="*/ 6843 w 10577"/>
                <a:gd name="connsiteY197" fmla="*/ 9701 h 10000"/>
                <a:gd name="connsiteX198" fmla="*/ 6848 w 10577"/>
                <a:gd name="connsiteY198" fmla="*/ 9650 h 10000"/>
                <a:gd name="connsiteX199" fmla="*/ 6848 w 10577"/>
                <a:gd name="connsiteY199" fmla="*/ 9675 h 10000"/>
                <a:gd name="connsiteX200" fmla="*/ 6862 w 10577"/>
                <a:gd name="connsiteY200" fmla="*/ 9675 h 10000"/>
                <a:gd name="connsiteX201" fmla="*/ 6857 w 10577"/>
                <a:gd name="connsiteY201" fmla="*/ 9701 h 10000"/>
                <a:gd name="connsiteX202" fmla="*/ 6857 w 10577"/>
                <a:gd name="connsiteY202" fmla="*/ 9701 h 10000"/>
                <a:gd name="connsiteX203" fmla="*/ 6876 w 10577"/>
                <a:gd name="connsiteY203" fmla="*/ 9684 h 10000"/>
                <a:gd name="connsiteX204" fmla="*/ 6885 w 10577"/>
                <a:gd name="connsiteY204" fmla="*/ 9675 h 10000"/>
                <a:gd name="connsiteX205" fmla="*/ 6876 w 10577"/>
                <a:gd name="connsiteY205" fmla="*/ 9735 h 10000"/>
                <a:gd name="connsiteX206" fmla="*/ 6885 w 10577"/>
                <a:gd name="connsiteY206" fmla="*/ 9752 h 10000"/>
                <a:gd name="connsiteX207" fmla="*/ 6903 w 10577"/>
                <a:gd name="connsiteY207" fmla="*/ 9752 h 10000"/>
                <a:gd name="connsiteX208" fmla="*/ 6917 w 10577"/>
                <a:gd name="connsiteY208" fmla="*/ 9761 h 10000"/>
                <a:gd name="connsiteX209" fmla="*/ 6917 w 10577"/>
                <a:gd name="connsiteY209" fmla="*/ 9761 h 10000"/>
                <a:gd name="connsiteX210" fmla="*/ 6922 w 10577"/>
                <a:gd name="connsiteY210" fmla="*/ 9778 h 10000"/>
                <a:gd name="connsiteX211" fmla="*/ 6945 w 10577"/>
                <a:gd name="connsiteY211" fmla="*/ 9778 h 10000"/>
                <a:gd name="connsiteX212" fmla="*/ 6972 w 10577"/>
                <a:gd name="connsiteY212" fmla="*/ 9752 h 10000"/>
                <a:gd name="connsiteX213" fmla="*/ 6977 w 10577"/>
                <a:gd name="connsiteY213" fmla="*/ 9752 h 10000"/>
                <a:gd name="connsiteX214" fmla="*/ 7069 w 10577"/>
                <a:gd name="connsiteY214" fmla="*/ 9624 h 10000"/>
                <a:gd name="connsiteX215" fmla="*/ 7097 w 10577"/>
                <a:gd name="connsiteY215" fmla="*/ 9547 h 10000"/>
                <a:gd name="connsiteX216" fmla="*/ 7106 w 10577"/>
                <a:gd name="connsiteY216" fmla="*/ 9530 h 10000"/>
                <a:gd name="connsiteX217" fmla="*/ 7124 w 10577"/>
                <a:gd name="connsiteY217" fmla="*/ 9479 h 10000"/>
                <a:gd name="connsiteX218" fmla="*/ 7138 w 10577"/>
                <a:gd name="connsiteY218" fmla="*/ 9462 h 10000"/>
                <a:gd name="connsiteX219" fmla="*/ 7378 w 10577"/>
                <a:gd name="connsiteY219" fmla="*/ 8795 h 10000"/>
                <a:gd name="connsiteX220" fmla="*/ 7392 w 10577"/>
                <a:gd name="connsiteY220" fmla="*/ 8795 h 10000"/>
                <a:gd name="connsiteX221" fmla="*/ 7401 w 10577"/>
                <a:gd name="connsiteY221" fmla="*/ 8769 h 10000"/>
                <a:gd name="connsiteX222" fmla="*/ 7406 w 10577"/>
                <a:gd name="connsiteY222" fmla="*/ 8692 h 10000"/>
                <a:gd name="connsiteX223" fmla="*/ 7406 w 10577"/>
                <a:gd name="connsiteY223" fmla="*/ 8667 h 10000"/>
                <a:gd name="connsiteX224" fmla="*/ 7419 w 10577"/>
                <a:gd name="connsiteY224" fmla="*/ 8598 h 10000"/>
                <a:gd name="connsiteX225" fmla="*/ 7419 w 10577"/>
                <a:gd name="connsiteY225" fmla="*/ 8496 h 10000"/>
                <a:gd name="connsiteX226" fmla="*/ 7424 w 10577"/>
                <a:gd name="connsiteY226" fmla="*/ 8470 h 10000"/>
                <a:gd name="connsiteX227" fmla="*/ 7424 w 10577"/>
                <a:gd name="connsiteY227" fmla="*/ 8462 h 10000"/>
                <a:gd name="connsiteX228" fmla="*/ 7419 w 10577"/>
                <a:gd name="connsiteY228" fmla="*/ 8462 h 10000"/>
                <a:gd name="connsiteX229" fmla="*/ 7410 w 10577"/>
                <a:gd name="connsiteY229" fmla="*/ 8350 h 10000"/>
                <a:gd name="connsiteX230" fmla="*/ 7419 w 10577"/>
                <a:gd name="connsiteY230" fmla="*/ 8325 h 10000"/>
                <a:gd name="connsiteX231" fmla="*/ 7424 w 10577"/>
                <a:gd name="connsiteY231" fmla="*/ 8248 h 10000"/>
                <a:gd name="connsiteX232" fmla="*/ 7433 w 10577"/>
                <a:gd name="connsiteY232" fmla="*/ 8248 h 10000"/>
                <a:gd name="connsiteX233" fmla="*/ 7433 w 10577"/>
                <a:gd name="connsiteY233" fmla="*/ 8231 h 10000"/>
                <a:gd name="connsiteX234" fmla="*/ 7433 w 10577"/>
                <a:gd name="connsiteY234" fmla="*/ 8222 h 10000"/>
                <a:gd name="connsiteX235" fmla="*/ 7433 w 10577"/>
                <a:gd name="connsiteY235" fmla="*/ 8214 h 10000"/>
                <a:gd name="connsiteX236" fmla="*/ 7447 w 10577"/>
                <a:gd name="connsiteY236" fmla="*/ 8162 h 10000"/>
                <a:gd name="connsiteX237" fmla="*/ 7461 w 10577"/>
                <a:gd name="connsiteY237" fmla="*/ 8162 h 10000"/>
                <a:gd name="connsiteX238" fmla="*/ 7475 w 10577"/>
                <a:gd name="connsiteY238" fmla="*/ 8111 h 10000"/>
                <a:gd name="connsiteX239" fmla="*/ 7475 w 10577"/>
                <a:gd name="connsiteY239" fmla="*/ 8085 h 10000"/>
                <a:gd name="connsiteX240" fmla="*/ 7479 w 10577"/>
                <a:gd name="connsiteY240" fmla="*/ 8060 h 10000"/>
                <a:gd name="connsiteX241" fmla="*/ 7452 w 10577"/>
                <a:gd name="connsiteY241" fmla="*/ 8009 h 10000"/>
                <a:gd name="connsiteX242" fmla="*/ 7465 w 10577"/>
                <a:gd name="connsiteY242" fmla="*/ 7974 h 10000"/>
                <a:gd name="connsiteX243" fmla="*/ 7452 w 10577"/>
                <a:gd name="connsiteY243" fmla="*/ 7923 h 10000"/>
                <a:gd name="connsiteX244" fmla="*/ 7433 w 10577"/>
                <a:gd name="connsiteY244" fmla="*/ 7889 h 10000"/>
                <a:gd name="connsiteX245" fmla="*/ 7419 w 10577"/>
                <a:gd name="connsiteY245" fmla="*/ 7889 h 10000"/>
                <a:gd name="connsiteX246" fmla="*/ 7401 w 10577"/>
                <a:gd name="connsiteY246" fmla="*/ 7863 h 10000"/>
                <a:gd name="connsiteX247" fmla="*/ 7387 w 10577"/>
                <a:gd name="connsiteY247" fmla="*/ 7863 h 10000"/>
                <a:gd name="connsiteX248" fmla="*/ 7373 w 10577"/>
                <a:gd name="connsiteY248" fmla="*/ 7863 h 10000"/>
                <a:gd name="connsiteX249" fmla="*/ 7387 w 10577"/>
                <a:gd name="connsiteY249" fmla="*/ 7846 h 10000"/>
                <a:gd name="connsiteX250" fmla="*/ 7401 w 10577"/>
                <a:gd name="connsiteY250" fmla="*/ 7846 h 10000"/>
                <a:gd name="connsiteX251" fmla="*/ 7410 w 10577"/>
                <a:gd name="connsiteY251" fmla="*/ 7863 h 10000"/>
                <a:gd name="connsiteX252" fmla="*/ 7424 w 10577"/>
                <a:gd name="connsiteY252" fmla="*/ 7872 h 10000"/>
                <a:gd name="connsiteX253" fmla="*/ 7433 w 10577"/>
                <a:gd name="connsiteY253" fmla="*/ 7863 h 10000"/>
                <a:gd name="connsiteX254" fmla="*/ 7461 w 10577"/>
                <a:gd name="connsiteY254" fmla="*/ 7897 h 10000"/>
                <a:gd name="connsiteX255" fmla="*/ 7465 w 10577"/>
                <a:gd name="connsiteY255" fmla="*/ 7889 h 10000"/>
                <a:gd name="connsiteX256" fmla="*/ 7475 w 10577"/>
                <a:gd name="connsiteY256" fmla="*/ 7863 h 10000"/>
                <a:gd name="connsiteX257" fmla="*/ 7475 w 10577"/>
                <a:gd name="connsiteY257" fmla="*/ 7838 h 10000"/>
                <a:gd name="connsiteX258" fmla="*/ 7465 w 10577"/>
                <a:gd name="connsiteY258" fmla="*/ 7838 h 10000"/>
                <a:gd name="connsiteX259" fmla="*/ 7406 w 10577"/>
                <a:gd name="connsiteY259" fmla="*/ 7752 h 10000"/>
                <a:gd name="connsiteX260" fmla="*/ 7401 w 10577"/>
                <a:gd name="connsiteY260" fmla="*/ 7735 h 10000"/>
                <a:gd name="connsiteX261" fmla="*/ 7401 w 10577"/>
                <a:gd name="connsiteY261" fmla="*/ 7701 h 10000"/>
                <a:gd name="connsiteX262" fmla="*/ 7378 w 10577"/>
                <a:gd name="connsiteY262" fmla="*/ 7675 h 10000"/>
                <a:gd name="connsiteX263" fmla="*/ 7373 w 10577"/>
                <a:gd name="connsiteY263" fmla="*/ 7667 h 10000"/>
                <a:gd name="connsiteX264" fmla="*/ 7364 w 10577"/>
                <a:gd name="connsiteY264" fmla="*/ 7650 h 10000"/>
                <a:gd name="connsiteX265" fmla="*/ 7364 w 10577"/>
                <a:gd name="connsiteY265" fmla="*/ 7641 h 10000"/>
                <a:gd name="connsiteX266" fmla="*/ 7350 w 10577"/>
                <a:gd name="connsiteY266" fmla="*/ 7641 h 10000"/>
                <a:gd name="connsiteX267" fmla="*/ 7336 w 10577"/>
                <a:gd name="connsiteY267" fmla="*/ 7650 h 10000"/>
                <a:gd name="connsiteX268" fmla="*/ 7327 w 10577"/>
                <a:gd name="connsiteY268" fmla="*/ 7650 h 10000"/>
                <a:gd name="connsiteX269" fmla="*/ 7300 w 10577"/>
                <a:gd name="connsiteY269" fmla="*/ 7641 h 10000"/>
                <a:gd name="connsiteX270" fmla="*/ 7300 w 10577"/>
                <a:gd name="connsiteY270" fmla="*/ 7675 h 10000"/>
                <a:gd name="connsiteX271" fmla="*/ 7300 w 10577"/>
                <a:gd name="connsiteY271" fmla="*/ 7692 h 10000"/>
                <a:gd name="connsiteX272" fmla="*/ 7286 w 10577"/>
                <a:gd name="connsiteY272" fmla="*/ 7786 h 10000"/>
                <a:gd name="connsiteX273" fmla="*/ 7272 w 10577"/>
                <a:gd name="connsiteY273" fmla="*/ 7803 h 10000"/>
                <a:gd name="connsiteX274" fmla="*/ 7276 w 10577"/>
                <a:gd name="connsiteY274" fmla="*/ 7761 h 10000"/>
                <a:gd name="connsiteX275" fmla="*/ 7286 w 10577"/>
                <a:gd name="connsiteY275" fmla="*/ 7735 h 10000"/>
                <a:gd name="connsiteX276" fmla="*/ 7276 w 10577"/>
                <a:gd name="connsiteY276" fmla="*/ 7709 h 10000"/>
                <a:gd name="connsiteX277" fmla="*/ 7258 w 10577"/>
                <a:gd name="connsiteY277" fmla="*/ 7761 h 10000"/>
                <a:gd name="connsiteX278" fmla="*/ 7217 w 10577"/>
                <a:gd name="connsiteY278" fmla="*/ 7786 h 10000"/>
                <a:gd name="connsiteX279" fmla="*/ 7203 w 10577"/>
                <a:gd name="connsiteY279" fmla="*/ 7786 h 10000"/>
                <a:gd name="connsiteX280" fmla="*/ 7198 w 10577"/>
                <a:gd name="connsiteY280" fmla="*/ 7778 h 10000"/>
                <a:gd name="connsiteX281" fmla="*/ 7212 w 10577"/>
                <a:gd name="connsiteY281" fmla="*/ 7761 h 10000"/>
                <a:gd name="connsiteX282" fmla="*/ 7230 w 10577"/>
                <a:gd name="connsiteY282" fmla="*/ 7726 h 10000"/>
                <a:gd name="connsiteX283" fmla="*/ 7226 w 10577"/>
                <a:gd name="connsiteY283" fmla="*/ 7709 h 10000"/>
                <a:gd name="connsiteX284" fmla="*/ 7212 w 10577"/>
                <a:gd name="connsiteY284" fmla="*/ 7701 h 10000"/>
                <a:gd name="connsiteX285" fmla="*/ 7203 w 10577"/>
                <a:gd name="connsiteY285" fmla="*/ 7675 h 10000"/>
                <a:gd name="connsiteX286" fmla="*/ 7217 w 10577"/>
                <a:gd name="connsiteY286" fmla="*/ 7675 h 10000"/>
                <a:gd name="connsiteX287" fmla="*/ 7226 w 10577"/>
                <a:gd name="connsiteY287" fmla="*/ 7650 h 10000"/>
                <a:gd name="connsiteX288" fmla="*/ 7226 w 10577"/>
                <a:gd name="connsiteY288" fmla="*/ 7641 h 10000"/>
                <a:gd name="connsiteX289" fmla="*/ 7203 w 10577"/>
                <a:gd name="connsiteY289" fmla="*/ 7641 h 10000"/>
                <a:gd name="connsiteX290" fmla="*/ 7198 w 10577"/>
                <a:gd name="connsiteY290" fmla="*/ 7650 h 10000"/>
                <a:gd name="connsiteX291" fmla="*/ 7194 w 10577"/>
                <a:gd name="connsiteY291" fmla="*/ 7675 h 10000"/>
                <a:gd name="connsiteX292" fmla="*/ 7198 w 10577"/>
                <a:gd name="connsiteY292" fmla="*/ 7692 h 10000"/>
                <a:gd name="connsiteX293" fmla="*/ 7198 w 10577"/>
                <a:gd name="connsiteY293" fmla="*/ 7709 h 10000"/>
                <a:gd name="connsiteX294" fmla="*/ 7184 w 10577"/>
                <a:gd name="connsiteY294" fmla="*/ 7726 h 10000"/>
                <a:gd name="connsiteX295" fmla="*/ 7180 w 10577"/>
                <a:gd name="connsiteY295" fmla="*/ 7726 h 10000"/>
                <a:gd name="connsiteX296" fmla="*/ 7171 w 10577"/>
                <a:gd name="connsiteY296" fmla="*/ 7752 h 10000"/>
                <a:gd name="connsiteX297" fmla="*/ 7166 w 10577"/>
                <a:gd name="connsiteY297" fmla="*/ 7735 h 10000"/>
                <a:gd name="connsiteX298" fmla="*/ 7171 w 10577"/>
                <a:gd name="connsiteY298" fmla="*/ 7624 h 10000"/>
                <a:gd name="connsiteX299" fmla="*/ 7171 w 10577"/>
                <a:gd name="connsiteY299" fmla="*/ 7615 h 10000"/>
                <a:gd name="connsiteX300" fmla="*/ 7171 w 10577"/>
                <a:gd name="connsiteY300" fmla="*/ 7590 h 10000"/>
                <a:gd name="connsiteX301" fmla="*/ 7166 w 10577"/>
                <a:gd name="connsiteY301" fmla="*/ 7564 h 10000"/>
                <a:gd name="connsiteX302" fmla="*/ 7157 w 10577"/>
                <a:gd name="connsiteY302" fmla="*/ 7564 h 10000"/>
                <a:gd name="connsiteX303" fmla="*/ 7097 w 10577"/>
                <a:gd name="connsiteY303" fmla="*/ 7573 h 10000"/>
                <a:gd name="connsiteX304" fmla="*/ 7065 w 10577"/>
                <a:gd name="connsiteY304" fmla="*/ 7538 h 10000"/>
                <a:gd name="connsiteX305" fmla="*/ 7069 w 10577"/>
                <a:gd name="connsiteY305" fmla="*/ 7504 h 10000"/>
                <a:gd name="connsiteX306" fmla="*/ 7106 w 10577"/>
                <a:gd name="connsiteY306" fmla="*/ 7453 h 10000"/>
                <a:gd name="connsiteX307" fmla="*/ 7111 w 10577"/>
                <a:gd name="connsiteY307" fmla="*/ 7436 h 10000"/>
                <a:gd name="connsiteX308" fmla="*/ 7138 w 10577"/>
                <a:gd name="connsiteY308" fmla="*/ 7402 h 10000"/>
                <a:gd name="connsiteX309" fmla="*/ 7143 w 10577"/>
                <a:gd name="connsiteY309" fmla="*/ 7376 h 10000"/>
                <a:gd name="connsiteX310" fmla="*/ 7152 w 10577"/>
                <a:gd name="connsiteY310" fmla="*/ 7368 h 10000"/>
                <a:gd name="connsiteX311" fmla="*/ 7157 w 10577"/>
                <a:gd name="connsiteY311" fmla="*/ 7350 h 10000"/>
                <a:gd name="connsiteX312" fmla="*/ 7230 w 10577"/>
                <a:gd name="connsiteY312" fmla="*/ 7239 h 10000"/>
                <a:gd name="connsiteX313" fmla="*/ 7240 w 10577"/>
                <a:gd name="connsiteY313" fmla="*/ 7205 h 10000"/>
                <a:gd name="connsiteX314" fmla="*/ 7253 w 10577"/>
                <a:gd name="connsiteY314" fmla="*/ 7188 h 10000"/>
                <a:gd name="connsiteX315" fmla="*/ 7258 w 10577"/>
                <a:gd name="connsiteY315" fmla="*/ 7162 h 10000"/>
                <a:gd name="connsiteX316" fmla="*/ 7258 w 10577"/>
                <a:gd name="connsiteY316" fmla="*/ 7154 h 10000"/>
                <a:gd name="connsiteX317" fmla="*/ 7272 w 10577"/>
                <a:gd name="connsiteY317" fmla="*/ 7120 h 10000"/>
                <a:gd name="connsiteX318" fmla="*/ 7276 w 10577"/>
                <a:gd name="connsiteY318" fmla="*/ 7094 h 10000"/>
                <a:gd name="connsiteX319" fmla="*/ 7286 w 10577"/>
                <a:gd name="connsiteY319" fmla="*/ 7094 h 10000"/>
                <a:gd name="connsiteX320" fmla="*/ 7290 w 10577"/>
                <a:gd name="connsiteY320" fmla="*/ 7068 h 10000"/>
                <a:gd name="connsiteX321" fmla="*/ 7332 w 10577"/>
                <a:gd name="connsiteY321" fmla="*/ 6991 h 10000"/>
                <a:gd name="connsiteX322" fmla="*/ 7336 w 10577"/>
                <a:gd name="connsiteY322" fmla="*/ 6991 h 10000"/>
                <a:gd name="connsiteX323" fmla="*/ 7364 w 10577"/>
                <a:gd name="connsiteY323" fmla="*/ 6940 h 10000"/>
                <a:gd name="connsiteX324" fmla="*/ 7373 w 10577"/>
                <a:gd name="connsiteY324" fmla="*/ 6906 h 10000"/>
                <a:gd name="connsiteX325" fmla="*/ 7378 w 10577"/>
                <a:gd name="connsiteY325" fmla="*/ 6915 h 10000"/>
                <a:gd name="connsiteX326" fmla="*/ 7406 w 10577"/>
                <a:gd name="connsiteY326" fmla="*/ 6880 h 10000"/>
                <a:gd name="connsiteX327" fmla="*/ 7410 w 10577"/>
                <a:gd name="connsiteY327" fmla="*/ 6846 h 10000"/>
                <a:gd name="connsiteX328" fmla="*/ 7419 w 10577"/>
                <a:gd name="connsiteY328" fmla="*/ 6803 h 10000"/>
                <a:gd name="connsiteX329" fmla="*/ 7585 w 10577"/>
                <a:gd name="connsiteY329" fmla="*/ 6504 h 10000"/>
                <a:gd name="connsiteX330" fmla="*/ 7765 w 10577"/>
                <a:gd name="connsiteY330" fmla="*/ 6504 h 10000"/>
                <a:gd name="connsiteX331" fmla="*/ 7765 w 10577"/>
                <a:gd name="connsiteY331" fmla="*/ 6530 h 10000"/>
                <a:gd name="connsiteX332" fmla="*/ 7774 w 10577"/>
                <a:gd name="connsiteY332" fmla="*/ 6556 h 10000"/>
                <a:gd name="connsiteX333" fmla="*/ 7779 w 10577"/>
                <a:gd name="connsiteY333" fmla="*/ 6556 h 10000"/>
                <a:gd name="connsiteX334" fmla="*/ 7793 w 10577"/>
                <a:gd name="connsiteY334" fmla="*/ 6547 h 10000"/>
                <a:gd name="connsiteX335" fmla="*/ 7793 w 10577"/>
                <a:gd name="connsiteY335" fmla="*/ 6530 h 10000"/>
                <a:gd name="connsiteX336" fmla="*/ 7802 w 10577"/>
                <a:gd name="connsiteY336" fmla="*/ 6496 h 10000"/>
                <a:gd name="connsiteX337" fmla="*/ 7806 w 10577"/>
                <a:gd name="connsiteY337" fmla="*/ 6487 h 10000"/>
                <a:gd name="connsiteX338" fmla="*/ 7876 w 10577"/>
                <a:gd name="connsiteY338" fmla="*/ 6530 h 10000"/>
                <a:gd name="connsiteX339" fmla="*/ 7894 w 10577"/>
                <a:gd name="connsiteY339" fmla="*/ 6530 h 10000"/>
                <a:gd name="connsiteX340" fmla="*/ 7894 w 10577"/>
                <a:gd name="connsiteY340" fmla="*/ 6504 h 10000"/>
                <a:gd name="connsiteX341" fmla="*/ 7899 w 10577"/>
                <a:gd name="connsiteY341" fmla="*/ 6504 h 10000"/>
                <a:gd name="connsiteX342" fmla="*/ 7926 w 10577"/>
                <a:gd name="connsiteY342" fmla="*/ 6504 h 10000"/>
                <a:gd name="connsiteX343" fmla="*/ 7940 w 10577"/>
                <a:gd name="connsiteY343" fmla="*/ 6547 h 10000"/>
                <a:gd name="connsiteX344" fmla="*/ 7949 w 10577"/>
                <a:gd name="connsiteY344" fmla="*/ 6547 h 10000"/>
                <a:gd name="connsiteX345" fmla="*/ 7963 w 10577"/>
                <a:gd name="connsiteY345" fmla="*/ 6530 h 10000"/>
                <a:gd name="connsiteX346" fmla="*/ 7963 w 10577"/>
                <a:gd name="connsiteY346" fmla="*/ 6504 h 10000"/>
                <a:gd name="connsiteX347" fmla="*/ 7963 w 10577"/>
                <a:gd name="connsiteY347" fmla="*/ 6504 h 10000"/>
                <a:gd name="connsiteX348" fmla="*/ 7954 w 10577"/>
                <a:gd name="connsiteY348" fmla="*/ 6496 h 10000"/>
                <a:gd name="connsiteX349" fmla="*/ 7963 w 10577"/>
                <a:gd name="connsiteY349" fmla="*/ 6487 h 10000"/>
                <a:gd name="connsiteX350" fmla="*/ 7982 w 10577"/>
                <a:gd name="connsiteY350" fmla="*/ 6487 h 10000"/>
                <a:gd name="connsiteX351" fmla="*/ 7982 w 10577"/>
                <a:gd name="connsiteY351" fmla="*/ 6470 h 10000"/>
                <a:gd name="connsiteX352" fmla="*/ 7972 w 10577"/>
                <a:gd name="connsiteY352" fmla="*/ 6462 h 10000"/>
                <a:gd name="connsiteX353" fmla="*/ 7972 w 10577"/>
                <a:gd name="connsiteY353" fmla="*/ 6436 h 10000"/>
                <a:gd name="connsiteX354" fmla="*/ 7986 w 10577"/>
                <a:gd name="connsiteY354" fmla="*/ 6419 h 10000"/>
                <a:gd name="connsiteX355" fmla="*/ 8000 w 10577"/>
                <a:gd name="connsiteY355" fmla="*/ 6419 h 10000"/>
                <a:gd name="connsiteX356" fmla="*/ 8055 w 10577"/>
                <a:gd name="connsiteY356" fmla="*/ 6462 h 10000"/>
                <a:gd name="connsiteX357" fmla="*/ 8069 w 10577"/>
                <a:gd name="connsiteY357" fmla="*/ 6444 h 10000"/>
                <a:gd name="connsiteX358" fmla="*/ 8083 w 10577"/>
                <a:gd name="connsiteY358" fmla="*/ 6470 h 10000"/>
                <a:gd name="connsiteX359" fmla="*/ 8083 w 10577"/>
                <a:gd name="connsiteY359" fmla="*/ 6487 h 10000"/>
                <a:gd name="connsiteX360" fmla="*/ 8097 w 10577"/>
                <a:gd name="connsiteY360" fmla="*/ 6487 h 10000"/>
                <a:gd name="connsiteX361" fmla="*/ 8101 w 10577"/>
                <a:gd name="connsiteY361" fmla="*/ 6462 h 10000"/>
                <a:gd name="connsiteX362" fmla="*/ 8115 w 10577"/>
                <a:gd name="connsiteY362" fmla="*/ 6462 h 10000"/>
                <a:gd name="connsiteX363" fmla="*/ 8129 w 10577"/>
                <a:gd name="connsiteY363" fmla="*/ 6462 h 10000"/>
                <a:gd name="connsiteX364" fmla="*/ 8157 w 10577"/>
                <a:gd name="connsiteY364" fmla="*/ 6496 h 10000"/>
                <a:gd name="connsiteX365" fmla="*/ 8157 w 10577"/>
                <a:gd name="connsiteY365" fmla="*/ 6521 h 10000"/>
                <a:gd name="connsiteX366" fmla="*/ 8180 w 10577"/>
                <a:gd name="connsiteY366" fmla="*/ 6530 h 10000"/>
                <a:gd name="connsiteX367" fmla="*/ 8180 w 10577"/>
                <a:gd name="connsiteY367" fmla="*/ 6547 h 10000"/>
                <a:gd name="connsiteX368" fmla="*/ 8171 w 10577"/>
                <a:gd name="connsiteY368" fmla="*/ 6556 h 10000"/>
                <a:gd name="connsiteX369" fmla="*/ 8129 w 10577"/>
                <a:gd name="connsiteY369" fmla="*/ 6556 h 10000"/>
                <a:gd name="connsiteX370" fmla="*/ 8106 w 10577"/>
                <a:gd name="connsiteY370" fmla="*/ 6573 h 10000"/>
                <a:gd name="connsiteX371" fmla="*/ 8115 w 10577"/>
                <a:gd name="connsiteY371" fmla="*/ 6581 h 10000"/>
                <a:gd name="connsiteX372" fmla="*/ 8129 w 10577"/>
                <a:gd name="connsiteY372" fmla="*/ 6632 h 10000"/>
                <a:gd name="connsiteX373" fmla="*/ 8171 w 10577"/>
                <a:gd name="connsiteY373" fmla="*/ 6632 h 10000"/>
                <a:gd name="connsiteX374" fmla="*/ 8180 w 10577"/>
                <a:gd name="connsiteY374" fmla="*/ 6624 h 10000"/>
                <a:gd name="connsiteX375" fmla="*/ 8189 w 10577"/>
                <a:gd name="connsiteY375" fmla="*/ 6598 h 10000"/>
                <a:gd name="connsiteX376" fmla="*/ 8203 w 10577"/>
                <a:gd name="connsiteY376" fmla="*/ 6581 h 10000"/>
                <a:gd name="connsiteX377" fmla="*/ 8207 w 10577"/>
                <a:gd name="connsiteY377" fmla="*/ 6607 h 10000"/>
                <a:gd name="connsiteX378" fmla="*/ 8221 w 10577"/>
                <a:gd name="connsiteY378" fmla="*/ 6624 h 10000"/>
                <a:gd name="connsiteX379" fmla="*/ 8235 w 10577"/>
                <a:gd name="connsiteY379" fmla="*/ 6607 h 10000"/>
                <a:gd name="connsiteX380" fmla="*/ 8240 w 10577"/>
                <a:gd name="connsiteY380" fmla="*/ 6581 h 10000"/>
                <a:gd name="connsiteX381" fmla="*/ 8253 w 10577"/>
                <a:gd name="connsiteY381" fmla="*/ 6573 h 10000"/>
                <a:gd name="connsiteX382" fmla="*/ 8263 w 10577"/>
                <a:gd name="connsiteY382" fmla="*/ 6556 h 10000"/>
                <a:gd name="connsiteX383" fmla="*/ 8276 w 10577"/>
                <a:gd name="connsiteY383" fmla="*/ 6547 h 10000"/>
                <a:gd name="connsiteX384" fmla="*/ 8290 w 10577"/>
                <a:gd name="connsiteY384" fmla="*/ 6556 h 10000"/>
                <a:gd name="connsiteX385" fmla="*/ 8304 w 10577"/>
                <a:gd name="connsiteY385" fmla="*/ 6581 h 10000"/>
                <a:gd name="connsiteX386" fmla="*/ 8309 w 10577"/>
                <a:gd name="connsiteY386" fmla="*/ 6581 h 10000"/>
                <a:gd name="connsiteX387" fmla="*/ 8327 w 10577"/>
                <a:gd name="connsiteY387" fmla="*/ 6573 h 10000"/>
                <a:gd name="connsiteX388" fmla="*/ 8327 w 10577"/>
                <a:gd name="connsiteY388" fmla="*/ 6556 h 10000"/>
                <a:gd name="connsiteX389" fmla="*/ 8350 w 10577"/>
                <a:gd name="connsiteY389" fmla="*/ 6556 h 10000"/>
                <a:gd name="connsiteX390" fmla="*/ 8355 w 10577"/>
                <a:gd name="connsiteY390" fmla="*/ 6573 h 10000"/>
                <a:gd name="connsiteX391" fmla="*/ 8364 w 10577"/>
                <a:gd name="connsiteY391" fmla="*/ 6556 h 10000"/>
                <a:gd name="connsiteX392" fmla="*/ 8369 w 10577"/>
                <a:gd name="connsiteY392" fmla="*/ 6556 h 10000"/>
                <a:gd name="connsiteX393" fmla="*/ 8378 w 10577"/>
                <a:gd name="connsiteY393" fmla="*/ 6530 h 10000"/>
                <a:gd name="connsiteX394" fmla="*/ 8369 w 10577"/>
                <a:gd name="connsiteY394" fmla="*/ 6504 h 10000"/>
                <a:gd name="connsiteX395" fmla="*/ 8364 w 10577"/>
                <a:gd name="connsiteY395" fmla="*/ 6496 h 10000"/>
                <a:gd name="connsiteX396" fmla="*/ 8336 w 10577"/>
                <a:gd name="connsiteY396" fmla="*/ 6470 h 10000"/>
                <a:gd name="connsiteX397" fmla="*/ 8309 w 10577"/>
                <a:gd name="connsiteY397" fmla="*/ 6487 h 10000"/>
                <a:gd name="connsiteX398" fmla="*/ 8313 w 10577"/>
                <a:gd name="connsiteY398" fmla="*/ 6462 h 10000"/>
                <a:gd name="connsiteX399" fmla="*/ 8323 w 10577"/>
                <a:gd name="connsiteY399" fmla="*/ 6444 h 10000"/>
                <a:gd name="connsiteX400" fmla="*/ 8309 w 10577"/>
                <a:gd name="connsiteY400" fmla="*/ 6393 h 10000"/>
                <a:gd name="connsiteX401" fmla="*/ 8313 w 10577"/>
                <a:gd name="connsiteY401" fmla="*/ 6385 h 10000"/>
                <a:gd name="connsiteX402" fmla="*/ 8323 w 10577"/>
                <a:gd name="connsiteY402" fmla="*/ 6393 h 10000"/>
                <a:gd name="connsiteX403" fmla="*/ 8323 w 10577"/>
                <a:gd name="connsiteY403" fmla="*/ 6393 h 10000"/>
                <a:gd name="connsiteX404" fmla="*/ 8355 w 10577"/>
                <a:gd name="connsiteY404" fmla="*/ 6282 h 10000"/>
                <a:gd name="connsiteX405" fmla="*/ 8369 w 10577"/>
                <a:gd name="connsiteY405" fmla="*/ 6256 h 10000"/>
                <a:gd name="connsiteX406" fmla="*/ 8382 w 10577"/>
                <a:gd name="connsiteY406" fmla="*/ 6248 h 10000"/>
                <a:gd name="connsiteX407" fmla="*/ 8424 w 10577"/>
                <a:gd name="connsiteY407" fmla="*/ 6162 h 10000"/>
                <a:gd name="connsiteX408" fmla="*/ 8429 w 10577"/>
                <a:gd name="connsiteY408" fmla="*/ 6145 h 10000"/>
                <a:gd name="connsiteX409" fmla="*/ 8470 w 10577"/>
                <a:gd name="connsiteY409" fmla="*/ 6051 h 10000"/>
                <a:gd name="connsiteX410" fmla="*/ 8475 w 10577"/>
                <a:gd name="connsiteY410" fmla="*/ 5983 h 10000"/>
                <a:gd name="connsiteX411" fmla="*/ 8512 w 10577"/>
                <a:gd name="connsiteY411" fmla="*/ 5940 h 10000"/>
                <a:gd name="connsiteX412" fmla="*/ 8521 w 10577"/>
                <a:gd name="connsiteY412" fmla="*/ 5923 h 10000"/>
                <a:gd name="connsiteX413" fmla="*/ 8535 w 10577"/>
                <a:gd name="connsiteY413" fmla="*/ 5915 h 10000"/>
                <a:gd name="connsiteX414" fmla="*/ 8562 w 10577"/>
                <a:gd name="connsiteY414" fmla="*/ 5915 h 10000"/>
                <a:gd name="connsiteX415" fmla="*/ 8618 w 10577"/>
                <a:gd name="connsiteY415" fmla="*/ 5889 h 10000"/>
                <a:gd name="connsiteX416" fmla="*/ 8622 w 10577"/>
                <a:gd name="connsiteY416" fmla="*/ 5889 h 10000"/>
                <a:gd name="connsiteX417" fmla="*/ 8622 w 10577"/>
                <a:gd name="connsiteY417" fmla="*/ 5872 h 10000"/>
                <a:gd name="connsiteX418" fmla="*/ 8636 w 10577"/>
                <a:gd name="connsiteY418" fmla="*/ 5872 h 10000"/>
                <a:gd name="connsiteX419" fmla="*/ 8650 w 10577"/>
                <a:gd name="connsiteY419" fmla="*/ 5889 h 10000"/>
                <a:gd name="connsiteX420" fmla="*/ 8659 w 10577"/>
                <a:gd name="connsiteY420" fmla="*/ 5915 h 10000"/>
                <a:gd name="connsiteX421" fmla="*/ 8664 w 10577"/>
                <a:gd name="connsiteY421" fmla="*/ 5940 h 10000"/>
                <a:gd name="connsiteX422" fmla="*/ 8682 w 10577"/>
                <a:gd name="connsiteY422" fmla="*/ 5923 h 10000"/>
                <a:gd name="connsiteX423" fmla="*/ 8719 w 10577"/>
                <a:gd name="connsiteY423" fmla="*/ 5863 h 10000"/>
                <a:gd name="connsiteX424" fmla="*/ 8705 w 10577"/>
                <a:gd name="connsiteY424" fmla="*/ 5966 h 10000"/>
                <a:gd name="connsiteX425" fmla="*/ 8696 w 10577"/>
                <a:gd name="connsiteY425" fmla="*/ 5983 h 10000"/>
                <a:gd name="connsiteX426" fmla="*/ 8682 w 10577"/>
                <a:gd name="connsiteY426" fmla="*/ 6026 h 10000"/>
                <a:gd name="connsiteX427" fmla="*/ 8682 w 10577"/>
                <a:gd name="connsiteY427" fmla="*/ 6051 h 10000"/>
                <a:gd name="connsiteX428" fmla="*/ 8691 w 10577"/>
                <a:gd name="connsiteY428" fmla="*/ 6077 h 10000"/>
                <a:gd name="connsiteX429" fmla="*/ 8691 w 10577"/>
                <a:gd name="connsiteY429" fmla="*/ 6085 h 10000"/>
                <a:gd name="connsiteX430" fmla="*/ 8682 w 10577"/>
                <a:gd name="connsiteY430" fmla="*/ 6103 h 10000"/>
                <a:gd name="connsiteX431" fmla="*/ 8682 w 10577"/>
                <a:gd name="connsiteY431" fmla="*/ 6111 h 10000"/>
                <a:gd name="connsiteX432" fmla="*/ 8691 w 10577"/>
                <a:gd name="connsiteY432" fmla="*/ 6120 h 10000"/>
                <a:gd name="connsiteX433" fmla="*/ 8719 w 10577"/>
                <a:gd name="connsiteY433" fmla="*/ 6103 h 10000"/>
                <a:gd name="connsiteX434" fmla="*/ 8705 w 10577"/>
                <a:gd name="connsiteY434" fmla="*/ 6188 h 10000"/>
                <a:gd name="connsiteX435" fmla="*/ 8705 w 10577"/>
                <a:gd name="connsiteY435" fmla="*/ 6214 h 10000"/>
                <a:gd name="connsiteX436" fmla="*/ 8710 w 10577"/>
                <a:gd name="connsiteY436" fmla="*/ 6197 h 10000"/>
                <a:gd name="connsiteX437" fmla="*/ 8728 w 10577"/>
                <a:gd name="connsiteY437" fmla="*/ 6171 h 10000"/>
                <a:gd name="connsiteX438" fmla="*/ 8737 w 10577"/>
                <a:gd name="connsiteY438" fmla="*/ 6171 h 10000"/>
                <a:gd name="connsiteX439" fmla="*/ 8843 w 10577"/>
                <a:gd name="connsiteY439" fmla="*/ 5949 h 10000"/>
                <a:gd name="connsiteX440" fmla="*/ 8866 w 10577"/>
                <a:gd name="connsiteY440" fmla="*/ 5949 h 10000"/>
                <a:gd name="connsiteX441" fmla="*/ 8871 w 10577"/>
                <a:gd name="connsiteY441" fmla="*/ 5940 h 10000"/>
                <a:gd name="connsiteX442" fmla="*/ 8876 w 10577"/>
                <a:gd name="connsiteY442" fmla="*/ 5923 h 10000"/>
                <a:gd name="connsiteX443" fmla="*/ 8885 w 10577"/>
                <a:gd name="connsiteY443" fmla="*/ 5940 h 10000"/>
                <a:gd name="connsiteX444" fmla="*/ 8885 w 10577"/>
                <a:gd name="connsiteY444" fmla="*/ 5949 h 10000"/>
                <a:gd name="connsiteX445" fmla="*/ 8885 w 10577"/>
                <a:gd name="connsiteY445" fmla="*/ 5974 h 10000"/>
                <a:gd name="connsiteX446" fmla="*/ 8889 w 10577"/>
                <a:gd name="connsiteY446" fmla="*/ 5974 h 10000"/>
                <a:gd name="connsiteX447" fmla="*/ 8903 w 10577"/>
                <a:gd name="connsiteY447" fmla="*/ 5923 h 10000"/>
                <a:gd name="connsiteX448" fmla="*/ 8889 w 10577"/>
                <a:gd name="connsiteY448" fmla="*/ 5923 h 10000"/>
                <a:gd name="connsiteX449" fmla="*/ 8889 w 10577"/>
                <a:gd name="connsiteY449" fmla="*/ 5897 h 10000"/>
                <a:gd name="connsiteX450" fmla="*/ 8899 w 10577"/>
                <a:gd name="connsiteY450" fmla="*/ 5838 h 10000"/>
                <a:gd name="connsiteX451" fmla="*/ 8889 w 10577"/>
                <a:gd name="connsiteY451" fmla="*/ 5812 h 10000"/>
                <a:gd name="connsiteX452" fmla="*/ 8903 w 10577"/>
                <a:gd name="connsiteY452" fmla="*/ 5778 h 10000"/>
                <a:gd name="connsiteX453" fmla="*/ 8903 w 10577"/>
                <a:gd name="connsiteY453" fmla="*/ 5761 h 10000"/>
                <a:gd name="connsiteX454" fmla="*/ 8912 w 10577"/>
                <a:gd name="connsiteY454" fmla="*/ 5735 h 10000"/>
                <a:gd name="connsiteX455" fmla="*/ 8931 w 10577"/>
                <a:gd name="connsiteY455" fmla="*/ 5701 h 10000"/>
                <a:gd name="connsiteX456" fmla="*/ 8977 w 10577"/>
                <a:gd name="connsiteY456" fmla="*/ 5675 h 10000"/>
                <a:gd name="connsiteX457" fmla="*/ 9000 w 10577"/>
                <a:gd name="connsiteY457" fmla="*/ 5675 h 10000"/>
                <a:gd name="connsiteX458" fmla="*/ 9018 w 10577"/>
                <a:gd name="connsiteY458" fmla="*/ 5709 h 10000"/>
                <a:gd name="connsiteX459" fmla="*/ 9009 w 10577"/>
                <a:gd name="connsiteY459" fmla="*/ 5735 h 10000"/>
                <a:gd name="connsiteX460" fmla="*/ 9000 w 10577"/>
                <a:gd name="connsiteY460" fmla="*/ 5735 h 10000"/>
                <a:gd name="connsiteX461" fmla="*/ 8963 w 10577"/>
                <a:gd name="connsiteY461" fmla="*/ 5786 h 10000"/>
                <a:gd name="connsiteX462" fmla="*/ 8949 w 10577"/>
                <a:gd name="connsiteY462" fmla="*/ 5940 h 10000"/>
                <a:gd name="connsiteX463" fmla="*/ 8945 w 10577"/>
                <a:gd name="connsiteY463" fmla="*/ 5966 h 10000"/>
                <a:gd name="connsiteX464" fmla="*/ 8945 w 10577"/>
                <a:gd name="connsiteY464" fmla="*/ 6000 h 10000"/>
                <a:gd name="connsiteX465" fmla="*/ 8945 w 10577"/>
                <a:gd name="connsiteY465" fmla="*/ 6009 h 10000"/>
                <a:gd name="connsiteX466" fmla="*/ 8945 w 10577"/>
                <a:gd name="connsiteY466" fmla="*/ 6034 h 10000"/>
                <a:gd name="connsiteX467" fmla="*/ 8931 w 10577"/>
                <a:gd name="connsiteY467" fmla="*/ 6060 h 10000"/>
                <a:gd name="connsiteX468" fmla="*/ 8926 w 10577"/>
                <a:gd name="connsiteY468" fmla="*/ 6077 h 10000"/>
                <a:gd name="connsiteX469" fmla="*/ 8926 w 10577"/>
                <a:gd name="connsiteY469" fmla="*/ 6111 h 10000"/>
                <a:gd name="connsiteX470" fmla="*/ 8931 w 10577"/>
                <a:gd name="connsiteY470" fmla="*/ 6120 h 10000"/>
                <a:gd name="connsiteX471" fmla="*/ 8931 w 10577"/>
                <a:gd name="connsiteY471" fmla="*/ 6137 h 10000"/>
                <a:gd name="connsiteX472" fmla="*/ 8912 w 10577"/>
                <a:gd name="connsiteY472" fmla="*/ 6171 h 10000"/>
                <a:gd name="connsiteX473" fmla="*/ 8899 w 10577"/>
                <a:gd name="connsiteY473" fmla="*/ 6162 h 10000"/>
                <a:gd name="connsiteX474" fmla="*/ 8885 w 10577"/>
                <a:gd name="connsiteY474" fmla="*/ 6171 h 10000"/>
                <a:gd name="connsiteX475" fmla="*/ 8866 w 10577"/>
                <a:gd name="connsiteY475" fmla="*/ 6214 h 10000"/>
                <a:gd name="connsiteX476" fmla="*/ 8853 w 10577"/>
                <a:gd name="connsiteY476" fmla="*/ 6214 h 10000"/>
                <a:gd name="connsiteX477" fmla="*/ 8816 w 10577"/>
                <a:gd name="connsiteY477" fmla="*/ 6248 h 10000"/>
                <a:gd name="connsiteX478" fmla="*/ 8816 w 10577"/>
                <a:gd name="connsiteY478" fmla="*/ 6248 h 10000"/>
                <a:gd name="connsiteX479" fmla="*/ 8816 w 10577"/>
                <a:gd name="connsiteY479" fmla="*/ 6282 h 10000"/>
                <a:gd name="connsiteX480" fmla="*/ 8811 w 10577"/>
                <a:gd name="connsiteY480" fmla="*/ 6308 h 10000"/>
                <a:gd name="connsiteX481" fmla="*/ 8751 w 10577"/>
                <a:gd name="connsiteY481" fmla="*/ 6436 h 10000"/>
                <a:gd name="connsiteX482" fmla="*/ 8724 w 10577"/>
                <a:gd name="connsiteY482" fmla="*/ 6470 h 10000"/>
                <a:gd name="connsiteX483" fmla="*/ 8710 w 10577"/>
                <a:gd name="connsiteY483" fmla="*/ 6504 h 10000"/>
                <a:gd name="connsiteX484" fmla="*/ 8705 w 10577"/>
                <a:gd name="connsiteY484" fmla="*/ 6521 h 10000"/>
                <a:gd name="connsiteX485" fmla="*/ 8677 w 10577"/>
                <a:gd name="connsiteY485" fmla="*/ 6573 h 10000"/>
                <a:gd name="connsiteX486" fmla="*/ 8677 w 10577"/>
                <a:gd name="connsiteY486" fmla="*/ 6624 h 10000"/>
                <a:gd name="connsiteX487" fmla="*/ 8590 w 10577"/>
                <a:gd name="connsiteY487" fmla="*/ 6803 h 10000"/>
                <a:gd name="connsiteX488" fmla="*/ 8562 w 10577"/>
                <a:gd name="connsiteY488" fmla="*/ 6829 h 10000"/>
                <a:gd name="connsiteX489" fmla="*/ 8544 w 10577"/>
                <a:gd name="connsiteY489" fmla="*/ 6829 h 10000"/>
                <a:gd name="connsiteX490" fmla="*/ 8521 w 10577"/>
                <a:gd name="connsiteY490" fmla="*/ 6880 h 10000"/>
                <a:gd name="connsiteX491" fmla="*/ 8498 w 10577"/>
                <a:gd name="connsiteY491" fmla="*/ 6872 h 10000"/>
                <a:gd name="connsiteX492" fmla="*/ 8488 w 10577"/>
                <a:gd name="connsiteY492" fmla="*/ 6872 h 10000"/>
                <a:gd name="connsiteX493" fmla="*/ 8498 w 10577"/>
                <a:gd name="connsiteY493" fmla="*/ 6940 h 10000"/>
                <a:gd name="connsiteX494" fmla="*/ 8484 w 10577"/>
                <a:gd name="connsiteY494" fmla="*/ 7026 h 10000"/>
                <a:gd name="connsiteX495" fmla="*/ 8429 w 10577"/>
                <a:gd name="connsiteY495" fmla="*/ 7094 h 10000"/>
                <a:gd name="connsiteX496" fmla="*/ 8401 w 10577"/>
                <a:gd name="connsiteY496" fmla="*/ 7291 h 10000"/>
                <a:gd name="connsiteX497" fmla="*/ 8424 w 10577"/>
                <a:gd name="connsiteY497" fmla="*/ 7692 h 10000"/>
                <a:gd name="connsiteX498" fmla="*/ 8424 w 10577"/>
                <a:gd name="connsiteY498" fmla="*/ 7701 h 10000"/>
                <a:gd name="connsiteX499" fmla="*/ 8484 w 10577"/>
                <a:gd name="connsiteY499" fmla="*/ 8308 h 10000"/>
                <a:gd name="connsiteX500" fmla="*/ 8576 w 10577"/>
                <a:gd name="connsiteY500" fmla="*/ 8120 h 10000"/>
                <a:gd name="connsiteX501" fmla="*/ 8590 w 10577"/>
                <a:gd name="connsiteY501" fmla="*/ 8026 h 10000"/>
                <a:gd name="connsiteX502" fmla="*/ 8590 w 10577"/>
                <a:gd name="connsiteY502" fmla="*/ 7983 h 10000"/>
                <a:gd name="connsiteX503" fmla="*/ 8594 w 10577"/>
                <a:gd name="connsiteY503" fmla="*/ 7974 h 10000"/>
                <a:gd name="connsiteX504" fmla="*/ 8594 w 10577"/>
                <a:gd name="connsiteY504" fmla="*/ 7940 h 10000"/>
                <a:gd name="connsiteX505" fmla="*/ 8594 w 10577"/>
                <a:gd name="connsiteY505" fmla="*/ 7923 h 10000"/>
                <a:gd name="connsiteX506" fmla="*/ 8594 w 10577"/>
                <a:gd name="connsiteY506" fmla="*/ 7915 h 10000"/>
                <a:gd name="connsiteX507" fmla="*/ 8604 w 10577"/>
                <a:gd name="connsiteY507" fmla="*/ 7915 h 10000"/>
                <a:gd name="connsiteX508" fmla="*/ 8608 w 10577"/>
                <a:gd name="connsiteY508" fmla="*/ 7923 h 10000"/>
                <a:gd name="connsiteX509" fmla="*/ 8645 w 10577"/>
                <a:gd name="connsiteY509" fmla="*/ 7872 h 10000"/>
                <a:gd name="connsiteX510" fmla="*/ 8668 w 10577"/>
                <a:gd name="connsiteY510" fmla="*/ 7846 h 10000"/>
                <a:gd name="connsiteX511" fmla="*/ 8691 w 10577"/>
                <a:gd name="connsiteY511" fmla="*/ 7863 h 10000"/>
                <a:gd name="connsiteX512" fmla="*/ 8691 w 10577"/>
                <a:gd name="connsiteY512" fmla="*/ 7846 h 10000"/>
                <a:gd name="connsiteX513" fmla="*/ 8682 w 10577"/>
                <a:gd name="connsiteY513" fmla="*/ 7838 h 10000"/>
                <a:gd name="connsiteX514" fmla="*/ 8682 w 10577"/>
                <a:gd name="connsiteY514" fmla="*/ 7692 h 10000"/>
                <a:gd name="connsiteX515" fmla="*/ 8728 w 10577"/>
                <a:gd name="connsiteY515" fmla="*/ 7598 h 10000"/>
                <a:gd name="connsiteX516" fmla="*/ 8751 w 10577"/>
                <a:gd name="connsiteY516" fmla="*/ 7573 h 10000"/>
                <a:gd name="connsiteX517" fmla="*/ 8770 w 10577"/>
                <a:gd name="connsiteY517" fmla="*/ 7573 h 10000"/>
                <a:gd name="connsiteX518" fmla="*/ 8779 w 10577"/>
                <a:gd name="connsiteY518" fmla="*/ 7590 h 10000"/>
                <a:gd name="connsiteX519" fmla="*/ 8793 w 10577"/>
                <a:gd name="connsiteY519" fmla="*/ 7590 h 10000"/>
                <a:gd name="connsiteX520" fmla="*/ 8811 w 10577"/>
                <a:gd name="connsiteY520" fmla="*/ 7590 h 10000"/>
                <a:gd name="connsiteX521" fmla="*/ 8825 w 10577"/>
                <a:gd name="connsiteY521" fmla="*/ 7556 h 10000"/>
                <a:gd name="connsiteX522" fmla="*/ 8829 w 10577"/>
                <a:gd name="connsiteY522" fmla="*/ 7530 h 10000"/>
                <a:gd name="connsiteX523" fmla="*/ 8802 w 10577"/>
                <a:gd name="connsiteY523" fmla="*/ 7462 h 10000"/>
                <a:gd name="connsiteX524" fmla="*/ 8797 w 10577"/>
                <a:gd name="connsiteY524" fmla="*/ 7402 h 10000"/>
                <a:gd name="connsiteX525" fmla="*/ 8816 w 10577"/>
                <a:gd name="connsiteY525" fmla="*/ 7291 h 10000"/>
                <a:gd name="connsiteX526" fmla="*/ 8825 w 10577"/>
                <a:gd name="connsiteY526" fmla="*/ 7256 h 10000"/>
                <a:gd name="connsiteX527" fmla="*/ 8843 w 10577"/>
                <a:gd name="connsiteY527" fmla="*/ 7231 h 10000"/>
                <a:gd name="connsiteX528" fmla="*/ 8839 w 10577"/>
                <a:gd name="connsiteY528" fmla="*/ 7205 h 10000"/>
                <a:gd name="connsiteX529" fmla="*/ 8839 w 10577"/>
                <a:gd name="connsiteY529" fmla="*/ 7188 h 10000"/>
                <a:gd name="connsiteX530" fmla="*/ 8876 w 10577"/>
                <a:gd name="connsiteY530" fmla="*/ 7162 h 10000"/>
                <a:gd name="connsiteX531" fmla="*/ 8885 w 10577"/>
                <a:gd name="connsiteY531" fmla="*/ 7154 h 10000"/>
                <a:gd name="connsiteX532" fmla="*/ 8885 w 10577"/>
                <a:gd name="connsiteY532" fmla="*/ 7162 h 10000"/>
                <a:gd name="connsiteX533" fmla="*/ 8876 w 10577"/>
                <a:gd name="connsiteY533" fmla="*/ 7188 h 10000"/>
                <a:gd name="connsiteX534" fmla="*/ 8871 w 10577"/>
                <a:gd name="connsiteY534" fmla="*/ 7205 h 10000"/>
                <a:gd name="connsiteX535" fmla="*/ 8866 w 10577"/>
                <a:gd name="connsiteY535" fmla="*/ 7214 h 10000"/>
                <a:gd name="connsiteX536" fmla="*/ 8876 w 10577"/>
                <a:gd name="connsiteY536" fmla="*/ 7265 h 10000"/>
                <a:gd name="connsiteX537" fmla="*/ 8885 w 10577"/>
                <a:gd name="connsiteY537" fmla="*/ 7282 h 10000"/>
                <a:gd name="connsiteX538" fmla="*/ 8889 w 10577"/>
                <a:gd name="connsiteY538" fmla="*/ 7282 h 10000"/>
                <a:gd name="connsiteX539" fmla="*/ 8903 w 10577"/>
                <a:gd name="connsiteY539" fmla="*/ 7239 h 10000"/>
                <a:gd name="connsiteX540" fmla="*/ 8903 w 10577"/>
                <a:gd name="connsiteY540" fmla="*/ 7214 h 10000"/>
                <a:gd name="connsiteX541" fmla="*/ 8899 w 10577"/>
                <a:gd name="connsiteY541" fmla="*/ 7128 h 10000"/>
                <a:gd name="connsiteX542" fmla="*/ 8889 w 10577"/>
                <a:gd name="connsiteY542" fmla="*/ 7120 h 10000"/>
                <a:gd name="connsiteX543" fmla="*/ 8871 w 10577"/>
                <a:gd name="connsiteY543" fmla="*/ 7120 h 10000"/>
                <a:gd name="connsiteX544" fmla="*/ 8871 w 10577"/>
                <a:gd name="connsiteY544" fmla="*/ 7120 h 10000"/>
                <a:gd name="connsiteX545" fmla="*/ 8871 w 10577"/>
                <a:gd name="connsiteY545" fmla="*/ 6991 h 10000"/>
                <a:gd name="connsiteX546" fmla="*/ 8871 w 10577"/>
                <a:gd name="connsiteY546" fmla="*/ 6966 h 10000"/>
                <a:gd name="connsiteX547" fmla="*/ 8889 w 10577"/>
                <a:gd name="connsiteY547" fmla="*/ 6940 h 10000"/>
                <a:gd name="connsiteX548" fmla="*/ 8903 w 10577"/>
                <a:gd name="connsiteY548" fmla="*/ 6906 h 10000"/>
                <a:gd name="connsiteX549" fmla="*/ 8899 w 10577"/>
                <a:gd name="connsiteY549" fmla="*/ 6880 h 10000"/>
                <a:gd name="connsiteX550" fmla="*/ 8866 w 10577"/>
                <a:gd name="connsiteY550" fmla="*/ 6846 h 10000"/>
                <a:gd name="connsiteX551" fmla="*/ 8853 w 10577"/>
                <a:gd name="connsiteY551" fmla="*/ 6846 h 10000"/>
                <a:gd name="connsiteX552" fmla="*/ 8843 w 10577"/>
                <a:gd name="connsiteY552" fmla="*/ 6880 h 10000"/>
                <a:gd name="connsiteX553" fmla="*/ 8843 w 10577"/>
                <a:gd name="connsiteY553" fmla="*/ 6897 h 10000"/>
                <a:gd name="connsiteX554" fmla="*/ 8829 w 10577"/>
                <a:gd name="connsiteY554" fmla="*/ 6880 h 10000"/>
                <a:gd name="connsiteX555" fmla="*/ 8825 w 10577"/>
                <a:gd name="connsiteY555" fmla="*/ 6872 h 10000"/>
                <a:gd name="connsiteX556" fmla="*/ 8816 w 10577"/>
                <a:gd name="connsiteY556" fmla="*/ 6846 h 10000"/>
                <a:gd name="connsiteX557" fmla="*/ 8816 w 10577"/>
                <a:gd name="connsiteY557" fmla="*/ 6803 h 10000"/>
                <a:gd name="connsiteX558" fmla="*/ 8876 w 10577"/>
                <a:gd name="connsiteY558" fmla="*/ 6598 h 10000"/>
                <a:gd name="connsiteX559" fmla="*/ 8876 w 10577"/>
                <a:gd name="connsiteY559" fmla="*/ 6573 h 10000"/>
                <a:gd name="connsiteX560" fmla="*/ 8885 w 10577"/>
                <a:gd name="connsiteY560" fmla="*/ 6556 h 10000"/>
                <a:gd name="connsiteX561" fmla="*/ 8899 w 10577"/>
                <a:gd name="connsiteY561" fmla="*/ 6573 h 10000"/>
                <a:gd name="connsiteX562" fmla="*/ 8889 w 10577"/>
                <a:gd name="connsiteY562" fmla="*/ 6556 h 10000"/>
                <a:gd name="connsiteX563" fmla="*/ 8889 w 10577"/>
                <a:gd name="connsiteY563" fmla="*/ 6530 h 10000"/>
                <a:gd name="connsiteX564" fmla="*/ 8903 w 10577"/>
                <a:gd name="connsiteY564" fmla="*/ 6521 h 10000"/>
                <a:gd name="connsiteX565" fmla="*/ 8903 w 10577"/>
                <a:gd name="connsiteY565" fmla="*/ 6504 h 10000"/>
                <a:gd name="connsiteX566" fmla="*/ 8903 w 10577"/>
                <a:gd name="connsiteY566" fmla="*/ 6487 h 10000"/>
                <a:gd name="connsiteX567" fmla="*/ 8903 w 10577"/>
                <a:gd name="connsiteY567" fmla="*/ 6462 h 10000"/>
                <a:gd name="connsiteX568" fmla="*/ 8912 w 10577"/>
                <a:gd name="connsiteY568" fmla="*/ 6419 h 10000"/>
                <a:gd name="connsiteX569" fmla="*/ 8917 w 10577"/>
                <a:gd name="connsiteY569" fmla="*/ 6393 h 10000"/>
                <a:gd name="connsiteX570" fmla="*/ 8926 w 10577"/>
                <a:gd name="connsiteY570" fmla="*/ 6385 h 10000"/>
                <a:gd name="connsiteX571" fmla="*/ 8931 w 10577"/>
                <a:gd name="connsiteY571" fmla="*/ 6385 h 10000"/>
                <a:gd name="connsiteX572" fmla="*/ 8949 w 10577"/>
                <a:gd name="connsiteY572" fmla="*/ 6359 h 10000"/>
                <a:gd name="connsiteX573" fmla="*/ 8959 w 10577"/>
                <a:gd name="connsiteY573" fmla="*/ 6368 h 10000"/>
                <a:gd name="connsiteX574" fmla="*/ 8963 w 10577"/>
                <a:gd name="connsiteY574" fmla="*/ 6385 h 10000"/>
                <a:gd name="connsiteX575" fmla="*/ 8972 w 10577"/>
                <a:gd name="connsiteY575" fmla="*/ 6359 h 10000"/>
                <a:gd name="connsiteX576" fmla="*/ 8991 w 10577"/>
                <a:gd name="connsiteY576" fmla="*/ 6350 h 10000"/>
                <a:gd name="connsiteX577" fmla="*/ 9000 w 10577"/>
                <a:gd name="connsiteY577" fmla="*/ 6368 h 10000"/>
                <a:gd name="connsiteX578" fmla="*/ 9005 w 10577"/>
                <a:gd name="connsiteY578" fmla="*/ 6393 h 10000"/>
                <a:gd name="connsiteX579" fmla="*/ 9018 w 10577"/>
                <a:gd name="connsiteY579" fmla="*/ 6393 h 10000"/>
                <a:gd name="connsiteX580" fmla="*/ 9023 w 10577"/>
                <a:gd name="connsiteY580" fmla="*/ 6359 h 10000"/>
                <a:gd name="connsiteX581" fmla="*/ 9023 w 10577"/>
                <a:gd name="connsiteY581" fmla="*/ 6333 h 10000"/>
                <a:gd name="connsiteX582" fmla="*/ 9037 w 10577"/>
                <a:gd name="connsiteY582" fmla="*/ 6308 h 10000"/>
                <a:gd name="connsiteX583" fmla="*/ 9074 w 10577"/>
                <a:gd name="connsiteY583" fmla="*/ 6274 h 10000"/>
                <a:gd name="connsiteX584" fmla="*/ 9092 w 10577"/>
                <a:gd name="connsiteY584" fmla="*/ 6222 h 10000"/>
                <a:gd name="connsiteX585" fmla="*/ 9097 w 10577"/>
                <a:gd name="connsiteY585" fmla="*/ 6231 h 10000"/>
                <a:gd name="connsiteX586" fmla="*/ 9097 w 10577"/>
                <a:gd name="connsiteY586" fmla="*/ 6248 h 10000"/>
                <a:gd name="connsiteX587" fmla="*/ 9097 w 10577"/>
                <a:gd name="connsiteY587" fmla="*/ 6274 h 10000"/>
                <a:gd name="connsiteX588" fmla="*/ 9097 w 10577"/>
                <a:gd name="connsiteY588" fmla="*/ 6308 h 10000"/>
                <a:gd name="connsiteX589" fmla="*/ 9092 w 10577"/>
                <a:gd name="connsiteY589" fmla="*/ 6368 h 10000"/>
                <a:gd name="connsiteX590" fmla="*/ 9092 w 10577"/>
                <a:gd name="connsiteY590" fmla="*/ 6385 h 10000"/>
                <a:gd name="connsiteX591" fmla="*/ 9092 w 10577"/>
                <a:gd name="connsiteY591" fmla="*/ 6393 h 10000"/>
                <a:gd name="connsiteX592" fmla="*/ 9092 w 10577"/>
                <a:gd name="connsiteY592" fmla="*/ 6393 h 10000"/>
                <a:gd name="connsiteX593" fmla="*/ 9143 w 10577"/>
                <a:gd name="connsiteY593" fmla="*/ 6299 h 10000"/>
                <a:gd name="connsiteX594" fmla="*/ 9143 w 10577"/>
                <a:gd name="connsiteY594" fmla="*/ 6282 h 10000"/>
                <a:gd name="connsiteX595" fmla="*/ 9143 w 10577"/>
                <a:gd name="connsiteY595" fmla="*/ 6256 h 10000"/>
                <a:gd name="connsiteX596" fmla="*/ 9143 w 10577"/>
                <a:gd name="connsiteY596" fmla="*/ 6256 h 10000"/>
                <a:gd name="connsiteX597" fmla="*/ 9157 w 10577"/>
                <a:gd name="connsiteY597" fmla="*/ 6274 h 10000"/>
                <a:gd name="connsiteX598" fmla="*/ 9166 w 10577"/>
                <a:gd name="connsiteY598" fmla="*/ 6248 h 10000"/>
                <a:gd name="connsiteX599" fmla="*/ 9180 w 10577"/>
                <a:gd name="connsiteY599" fmla="*/ 6248 h 10000"/>
                <a:gd name="connsiteX600" fmla="*/ 9198 w 10577"/>
                <a:gd name="connsiteY600" fmla="*/ 6222 h 10000"/>
                <a:gd name="connsiteX601" fmla="*/ 9212 w 10577"/>
                <a:gd name="connsiteY601" fmla="*/ 6222 h 10000"/>
                <a:gd name="connsiteX602" fmla="*/ 9226 w 10577"/>
                <a:gd name="connsiteY602" fmla="*/ 6197 h 10000"/>
                <a:gd name="connsiteX603" fmla="*/ 9230 w 10577"/>
                <a:gd name="connsiteY603" fmla="*/ 6214 h 10000"/>
                <a:gd name="connsiteX604" fmla="*/ 9272 w 10577"/>
                <a:gd name="connsiteY604" fmla="*/ 6214 h 10000"/>
                <a:gd name="connsiteX605" fmla="*/ 9304 w 10577"/>
                <a:gd name="connsiteY605" fmla="*/ 6231 h 10000"/>
                <a:gd name="connsiteX606" fmla="*/ 9318 w 10577"/>
                <a:gd name="connsiteY606" fmla="*/ 6248 h 10000"/>
                <a:gd name="connsiteX607" fmla="*/ 9327 w 10577"/>
                <a:gd name="connsiteY607" fmla="*/ 6282 h 10000"/>
                <a:gd name="connsiteX608" fmla="*/ 9355 w 10577"/>
                <a:gd name="connsiteY608" fmla="*/ 6350 h 10000"/>
                <a:gd name="connsiteX609" fmla="*/ 9355 w 10577"/>
                <a:gd name="connsiteY609" fmla="*/ 6359 h 10000"/>
                <a:gd name="connsiteX610" fmla="*/ 9364 w 10577"/>
                <a:gd name="connsiteY610" fmla="*/ 6368 h 10000"/>
                <a:gd name="connsiteX611" fmla="*/ 9373 w 10577"/>
                <a:gd name="connsiteY611" fmla="*/ 6359 h 10000"/>
                <a:gd name="connsiteX612" fmla="*/ 9373 w 10577"/>
                <a:gd name="connsiteY612" fmla="*/ 6325 h 10000"/>
                <a:gd name="connsiteX613" fmla="*/ 9387 w 10577"/>
                <a:gd name="connsiteY613" fmla="*/ 6256 h 10000"/>
                <a:gd name="connsiteX614" fmla="*/ 9387 w 10577"/>
                <a:gd name="connsiteY614" fmla="*/ 6248 h 10000"/>
                <a:gd name="connsiteX615" fmla="*/ 9378 w 10577"/>
                <a:gd name="connsiteY615" fmla="*/ 6248 h 10000"/>
                <a:gd name="connsiteX616" fmla="*/ 9406 w 10577"/>
                <a:gd name="connsiteY616" fmla="*/ 6222 h 10000"/>
                <a:gd name="connsiteX617" fmla="*/ 9415 w 10577"/>
                <a:gd name="connsiteY617" fmla="*/ 6222 h 10000"/>
                <a:gd name="connsiteX618" fmla="*/ 9415 w 10577"/>
                <a:gd name="connsiteY618" fmla="*/ 6197 h 10000"/>
                <a:gd name="connsiteX619" fmla="*/ 9419 w 10577"/>
                <a:gd name="connsiteY619" fmla="*/ 6214 h 10000"/>
                <a:gd name="connsiteX620" fmla="*/ 9424 w 10577"/>
                <a:gd name="connsiteY620" fmla="*/ 6214 h 10000"/>
                <a:gd name="connsiteX621" fmla="*/ 9447 w 10577"/>
                <a:gd name="connsiteY621" fmla="*/ 6171 h 10000"/>
                <a:gd name="connsiteX622" fmla="*/ 9452 w 10577"/>
                <a:gd name="connsiteY622" fmla="*/ 6171 h 10000"/>
                <a:gd name="connsiteX623" fmla="*/ 9452 w 10577"/>
                <a:gd name="connsiteY623" fmla="*/ 6162 h 10000"/>
                <a:gd name="connsiteX624" fmla="*/ 9461 w 10577"/>
                <a:gd name="connsiteY624" fmla="*/ 6137 h 10000"/>
                <a:gd name="connsiteX625" fmla="*/ 9475 w 10577"/>
                <a:gd name="connsiteY625" fmla="*/ 6137 h 10000"/>
                <a:gd name="connsiteX626" fmla="*/ 9475 w 10577"/>
                <a:gd name="connsiteY626" fmla="*/ 6137 h 10000"/>
                <a:gd name="connsiteX627" fmla="*/ 9479 w 10577"/>
                <a:gd name="connsiteY627" fmla="*/ 6120 h 10000"/>
                <a:gd name="connsiteX628" fmla="*/ 9488 w 10577"/>
                <a:gd name="connsiteY628" fmla="*/ 6120 h 10000"/>
                <a:gd name="connsiteX629" fmla="*/ 9488 w 10577"/>
                <a:gd name="connsiteY629" fmla="*/ 6111 h 10000"/>
                <a:gd name="connsiteX630" fmla="*/ 9479 w 10577"/>
                <a:gd name="connsiteY630" fmla="*/ 6103 h 10000"/>
                <a:gd name="connsiteX631" fmla="*/ 9479 w 10577"/>
                <a:gd name="connsiteY631" fmla="*/ 6085 h 10000"/>
                <a:gd name="connsiteX632" fmla="*/ 9488 w 10577"/>
                <a:gd name="connsiteY632" fmla="*/ 6103 h 10000"/>
                <a:gd name="connsiteX633" fmla="*/ 9493 w 10577"/>
                <a:gd name="connsiteY633" fmla="*/ 6111 h 10000"/>
                <a:gd name="connsiteX634" fmla="*/ 9498 w 10577"/>
                <a:gd name="connsiteY634" fmla="*/ 6103 h 10000"/>
                <a:gd name="connsiteX635" fmla="*/ 9507 w 10577"/>
                <a:gd name="connsiteY635" fmla="*/ 6077 h 10000"/>
                <a:gd name="connsiteX636" fmla="*/ 9498 w 10577"/>
                <a:gd name="connsiteY636" fmla="*/ 6060 h 10000"/>
                <a:gd name="connsiteX637" fmla="*/ 9512 w 10577"/>
                <a:gd name="connsiteY637" fmla="*/ 6060 h 10000"/>
                <a:gd name="connsiteX638" fmla="*/ 9525 w 10577"/>
                <a:gd name="connsiteY638" fmla="*/ 6034 h 10000"/>
                <a:gd name="connsiteX639" fmla="*/ 9535 w 10577"/>
                <a:gd name="connsiteY639" fmla="*/ 6034 h 10000"/>
                <a:gd name="connsiteX640" fmla="*/ 9535 w 10577"/>
                <a:gd name="connsiteY640" fmla="*/ 6026 h 10000"/>
                <a:gd name="connsiteX641" fmla="*/ 9525 w 10577"/>
                <a:gd name="connsiteY641" fmla="*/ 6009 h 10000"/>
                <a:gd name="connsiteX642" fmla="*/ 9535 w 10577"/>
                <a:gd name="connsiteY642" fmla="*/ 6000 h 10000"/>
                <a:gd name="connsiteX643" fmla="*/ 9539 w 10577"/>
                <a:gd name="connsiteY643" fmla="*/ 6009 h 10000"/>
                <a:gd name="connsiteX644" fmla="*/ 9548 w 10577"/>
                <a:gd name="connsiteY644" fmla="*/ 6009 h 10000"/>
                <a:gd name="connsiteX645" fmla="*/ 9553 w 10577"/>
                <a:gd name="connsiteY645" fmla="*/ 6000 h 10000"/>
                <a:gd name="connsiteX646" fmla="*/ 9562 w 10577"/>
                <a:gd name="connsiteY646" fmla="*/ 5983 h 10000"/>
                <a:gd name="connsiteX647" fmla="*/ 9562 w 10577"/>
                <a:gd name="connsiteY647" fmla="*/ 5974 h 10000"/>
                <a:gd name="connsiteX648" fmla="*/ 9567 w 10577"/>
                <a:gd name="connsiteY648" fmla="*/ 5974 h 10000"/>
                <a:gd name="connsiteX649" fmla="*/ 9567 w 10577"/>
                <a:gd name="connsiteY649" fmla="*/ 5966 h 10000"/>
                <a:gd name="connsiteX650" fmla="*/ 9567 w 10577"/>
                <a:gd name="connsiteY650" fmla="*/ 5940 h 10000"/>
                <a:gd name="connsiteX651" fmla="*/ 9571 w 10577"/>
                <a:gd name="connsiteY651" fmla="*/ 5915 h 10000"/>
                <a:gd name="connsiteX652" fmla="*/ 9581 w 10577"/>
                <a:gd name="connsiteY652" fmla="*/ 5923 h 10000"/>
                <a:gd name="connsiteX653" fmla="*/ 9585 w 10577"/>
                <a:gd name="connsiteY653" fmla="*/ 5940 h 10000"/>
                <a:gd name="connsiteX654" fmla="*/ 9594 w 10577"/>
                <a:gd name="connsiteY654" fmla="*/ 5949 h 10000"/>
                <a:gd name="connsiteX655" fmla="*/ 9599 w 10577"/>
                <a:gd name="connsiteY655" fmla="*/ 5940 h 10000"/>
                <a:gd name="connsiteX656" fmla="*/ 9613 w 10577"/>
                <a:gd name="connsiteY656" fmla="*/ 5915 h 10000"/>
                <a:gd name="connsiteX657" fmla="*/ 9645 w 10577"/>
                <a:gd name="connsiteY657" fmla="*/ 5889 h 10000"/>
                <a:gd name="connsiteX658" fmla="*/ 9654 w 10577"/>
                <a:gd name="connsiteY658" fmla="*/ 5872 h 10000"/>
                <a:gd name="connsiteX659" fmla="*/ 9673 w 10577"/>
                <a:gd name="connsiteY659" fmla="*/ 5863 h 10000"/>
                <a:gd name="connsiteX660" fmla="*/ 9682 w 10577"/>
                <a:gd name="connsiteY660" fmla="*/ 5838 h 10000"/>
                <a:gd name="connsiteX661" fmla="*/ 9682 w 10577"/>
                <a:gd name="connsiteY661" fmla="*/ 5829 h 10000"/>
                <a:gd name="connsiteX662" fmla="*/ 9682 w 10577"/>
                <a:gd name="connsiteY662" fmla="*/ 5812 h 10000"/>
                <a:gd name="connsiteX663" fmla="*/ 9687 w 10577"/>
                <a:gd name="connsiteY663" fmla="*/ 5812 h 10000"/>
                <a:gd name="connsiteX664" fmla="*/ 9687 w 10577"/>
                <a:gd name="connsiteY664" fmla="*/ 5829 h 10000"/>
                <a:gd name="connsiteX665" fmla="*/ 9687 w 10577"/>
                <a:gd name="connsiteY665" fmla="*/ 5829 h 10000"/>
                <a:gd name="connsiteX666" fmla="*/ 9719 w 10577"/>
                <a:gd name="connsiteY666" fmla="*/ 5803 h 10000"/>
                <a:gd name="connsiteX667" fmla="*/ 9728 w 10577"/>
                <a:gd name="connsiteY667" fmla="*/ 5803 h 10000"/>
                <a:gd name="connsiteX668" fmla="*/ 9779 w 10577"/>
                <a:gd name="connsiteY668" fmla="*/ 5726 h 10000"/>
                <a:gd name="connsiteX669" fmla="*/ 9816 w 10577"/>
                <a:gd name="connsiteY669" fmla="*/ 5709 h 10000"/>
                <a:gd name="connsiteX670" fmla="*/ 9820 w 10577"/>
                <a:gd name="connsiteY670" fmla="*/ 5701 h 10000"/>
                <a:gd name="connsiteX671" fmla="*/ 9816 w 10577"/>
                <a:gd name="connsiteY671" fmla="*/ 5692 h 10000"/>
                <a:gd name="connsiteX672" fmla="*/ 9816 w 10577"/>
                <a:gd name="connsiteY672" fmla="*/ 5692 h 10000"/>
                <a:gd name="connsiteX673" fmla="*/ 9802 w 10577"/>
                <a:gd name="connsiteY673" fmla="*/ 5624 h 10000"/>
                <a:gd name="connsiteX674" fmla="*/ 9806 w 10577"/>
                <a:gd name="connsiteY674" fmla="*/ 5624 h 10000"/>
                <a:gd name="connsiteX675" fmla="*/ 9820 w 10577"/>
                <a:gd name="connsiteY675" fmla="*/ 5675 h 10000"/>
                <a:gd name="connsiteX676" fmla="*/ 9829 w 10577"/>
                <a:gd name="connsiteY676" fmla="*/ 5675 h 10000"/>
                <a:gd name="connsiteX677" fmla="*/ 9829 w 10577"/>
                <a:gd name="connsiteY677" fmla="*/ 5692 h 10000"/>
                <a:gd name="connsiteX678" fmla="*/ 9829 w 10577"/>
                <a:gd name="connsiteY678" fmla="*/ 5701 h 10000"/>
                <a:gd name="connsiteX679" fmla="*/ 9839 w 10577"/>
                <a:gd name="connsiteY679" fmla="*/ 5701 h 10000"/>
                <a:gd name="connsiteX680" fmla="*/ 9839 w 10577"/>
                <a:gd name="connsiteY680" fmla="*/ 5692 h 10000"/>
                <a:gd name="connsiteX681" fmla="*/ 9839 w 10577"/>
                <a:gd name="connsiteY681" fmla="*/ 5675 h 10000"/>
                <a:gd name="connsiteX682" fmla="*/ 9848 w 10577"/>
                <a:gd name="connsiteY682" fmla="*/ 5675 h 10000"/>
                <a:gd name="connsiteX683" fmla="*/ 9848 w 10577"/>
                <a:gd name="connsiteY683" fmla="*/ 5692 h 10000"/>
                <a:gd name="connsiteX684" fmla="*/ 9853 w 10577"/>
                <a:gd name="connsiteY684" fmla="*/ 5701 h 10000"/>
                <a:gd name="connsiteX685" fmla="*/ 9880 w 10577"/>
                <a:gd name="connsiteY685" fmla="*/ 5709 h 10000"/>
                <a:gd name="connsiteX686" fmla="*/ 9912 w 10577"/>
                <a:gd name="connsiteY686" fmla="*/ 5752 h 10000"/>
                <a:gd name="connsiteX687" fmla="*/ 9926 w 10577"/>
                <a:gd name="connsiteY687" fmla="*/ 5761 h 10000"/>
                <a:gd name="connsiteX688" fmla="*/ 9935 w 10577"/>
                <a:gd name="connsiteY688" fmla="*/ 5761 h 10000"/>
                <a:gd name="connsiteX689" fmla="*/ 9940 w 10577"/>
                <a:gd name="connsiteY689" fmla="*/ 5735 h 10000"/>
                <a:gd name="connsiteX690" fmla="*/ 9949 w 10577"/>
                <a:gd name="connsiteY690" fmla="*/ 5735 h 10000"/>
                <a:gd name="connsiteX691" fmla="*/ 9968 w 10577"/>
                <a:gd name="connsiteY691" fmla="*/ 5692 h 10000"/>
                <a:gd name="connsiteX692" fmla="*/ 9968 w 10577"/>
                <a:gd name="connsiteY692" fmla="*/ 5650 h 10000"/>
                <a:gd name="connsiteX693" fmla="*/ 9968 w 10577"/>
                <a:gd name="connsiteY693" fmla="*/ 5624 h 10000"/>
                <a:gd name="connsiteX694" fmla="*/ 9935 w 10577"/>
                <a:gd name="connsiteY694" fmla="*/ 5598 h 10000"/>
                <a:gd name="connsiteX695" fmla="*/ 9935 w 10577"/>
                <a:gd name="connsiteY695" fmla="*/ 5590 h 10000"/>
                <a:gd name="connsiteX696" fmla="*/ 9935 w 10577"/>
                <a:gd name="connsiteY696" fmla="*/ 5573 h 10000"/>
                <a:gd name="connsiteX697" fmla="*/ 9935 w 10577"/>
                <a:gd name="connsiteY697" fmla="*/ 5573 h 10000"/>
                <a:gd name="connsiteX698" fmla="*/ 9940 w 10577"/>
                <a:gd name="connsiteY698" fmla="*/ 5573 h 10000"/>
                <a:gd name="connsiteX699" fmla="*/ 9954 w 10577"/>
                <a:gd name="connsiteY699" fmla="*/ 5573 h 10000"/>
                <a:gd name="connsiteX700" fmla="*/ 9963 w 10577"/>
                <a:gd name="connsiteY700" fmla="*/ 5564 h 10000"/>
                <a:gd name="connsiteX701" fmla="*/ 9954 w 10577"/>
                <a:gd name="connsiteY701" fmla="*/ 5530 h 10000"/>
                <a:gd name="connsiteX702" fmla="*/ 9949 w 10577"/>
                <a:gd name="connsiteY702" fmla="*/ 5530 h 10000"/>
                <a:gd name="connsiteX703" fmla="*/ 9926 w 10577"/>
                <a:gd name="connsiteY703" fmla="*/ 5479 h 10000"/>
                <a:gd name="connsiteX704" fmla="*/ 9912 w 10577"/>
                <a:gd name="connsiteY704" fmla="*/ 5325 h 10000"/>
                <a:gd name="connsiteX705" fmla="*/ 9903 w 10577"/>
                <a:gd name="connsiteY705" fmla="*/ 5342 h 10000"/>
                <a:gd name="connsiteX706" fmla="*/ 9889 w 10577"/>
                <a:gd name="connsiteY706" fmla="*/ 5316 h 10000"/>
                <a:gd name="connsiteX707" fmla="*/ 9889 w 10577"/>
                <a:gd name="connsiteY707" fmla="*/ 5291 h 10000"/>
                <a:gd name="connsiteX708" fmla="*/ 9903 w 10577"/>
                <a:gd name="connsiteY708" fmla="*/ 5291 h 10000"/>
                <a:gd name="connsiteX709" fmla="*/ 9903 w 10577"/>
                <a:gd name="connsiteY709" fmla="*/ 5291 h 10000"/>
                <a:gd name="connsiteX710" fmla="*/ 9894 w 10577"/>
                <a:gd name="connsiteY710" fmla="*/ 5214 h 10000"/>
                <a:gd name="connsiteX711" fmla="*/ 9880 w 10577"/>
                <a:gd name="connsiteY711" fmla="*/ 5239 h 10000"/>
                <a:gd name="connsiteX712" fmla="*/ 9876 w 10577"/>
                <a:gd name="connsiteY712" fmla="*/ 5256 h 10000"/>
                <a:gd name="connsiteX713" fmla="*/ 9862 w 10577"/>
                <a:gd name="connsiteY713" fmla="*/ 5239 h 10000"/>
                <a:gd name="connsiteX714" fmla="*/ 9853 w 10577"/>
                <a:gd name="connsiteY714" fmla="*/ 5214 h 10000"/>
                <a:gd name="connsiteX715" fmla="*/ 9839 w 10577"/>
                <a:gd name="connsiteY715" fmla="*/ 5214 h 10000"/>
                <a:gd name="connsiteX716" fmla="*/ 9834 w 10577"/>
                <a:gd name="connsiteY716" fmla="*/ 5188 h 10000"/>
                <a:gd name="connsiteX717" fmla="*/ 9834 w 10577"/>
                <a:gd name="connsiteY717" fmla="*/ 5103 h 10000"/>
                <a:gd name="connsiteX718" fmla="*/ 9839 w 10577"/>
                <a:gd name="connsiteY718" fmla="*/ 5094 h 10000"/>
                <a:gd name="connsiteX719" fmla="*/ 9853 w 10577"/>
                <a:gd name="connsiteY719" fmla="*/ 5103 h 10000"/>
                <a:gd name="connsiteX720" fmla="*/ 9876 w 10577"/>
                <a:gd name="connsiteY720" fmla="*/ 5128 h 10000"/>
                <a:gd name="connsiteX721" fmla="*/ 9889 w 10577"/>
                <a:gd name="connsiteY721" fmla="*/ 5103 h 10000"/>
                <a:gd name="connsiteX722" fmla="*/ 9880 w 10577"/>
                <a:gd name="connsiteY722" fmla="*/ 5120 h 10000"/>
                <a:gd name="connsiteX723" fmla="*/ 9889 w 10577"/>
                <a:gd name="connsiteY723" fmla="*/ 5128 h 10000"/>
                <a:gd name="connsiteX724" fmla="*/ 9912 w 10577"/>
                <a:gd name="connsiteY724" fmla="*/ 5128 h 10000"/>
                <a:gd name="connsiteX725" fmla="*/ 9908 w 10577"/>
                <a:gd name="connsiteY725" fmla="*/ 5145 h 10000"/>
                <a:gd name="connsiteX726" fmla="*/ 9908 w 10577"/>
                <a:gd name="connsiteY726" fmla="*/ 5154 h 10000"/>
                <a:gd name="connsiteX727" fmla="*/ 9922 w 10577"/>
                <a:gd name="connsiteY727" fmla="*/ 5128 h 10000"/>
                <a:gd name="connsiteX728" fmla="*/ 9935 w 10577"/>
                <a:gd name="connsiteY728" fmla="*/ 5103 h 10000"/>
                <a:gd name="connsiteX729" fmla="*/ 9968 w 10577"/>
                <a:gd name="connsiteY729" fmla="*/ 5077 h 10000"/>
                <a:gd name="connsiteX730" fmla="*/ 10000 w 10577"/>
                <a:gd name="connsiteY730" fmla="*/ 5017 h 10000"/>
                <a:gd name="connsiteX731" fmla="*/ 10455 w 10577"/>
                <a:gd name="connsiteY731" fmla="*/ 4568 h 10000"/>
                <a:gd name="connsiteX732" fmla="*/ 10561 w 10577"/>
                <a:gd name="connsiteY732" fmla="*/ 4442 h 10000"/>
                <a:gd name="connsiteX733" fmla="*/ 10354 w 10577"/>
                <a:gd name="connsiteY733" fmla="*/ 4302 h 10000"/>
                <a:gd name="connsiteX734" fmla="*/ 9912 w 10577"/>
                <a:gd name="connsiteY734" fmla="*/ 3675 h 10000"/>
                <a:gd name="connsiteX735" fmla="*/ 9903 w 10577"/>
                <a:gd name="connsiteY735" fmla="*/ 3667 h 10000"/>
                <a:gd name="connsiteX736" fmla="*/ 9894 w 10577"/>
                <a:gd name="connsiteY736" fmla="*/ 3641 h 10000"/>
                <a:gd name="connsiteX737" fmla="*/ 9889 w 10577"/>
                <a:gd name="connsiteY737" fmla="*/ 3650 h 10000"/>
                <a:gd name="connsiteX738" fmla="*/ 9848 w 10577"/>
                <a:gd name="connsiteY738" fmla="*/ 3598 h 10000"/>
                <a:gd name="connsiteX739" fmla="*/ 9829 w 10577"/>
                <a:gd name="connsiteY739" fmla="*/ 3581 h 10000"/>
                <a:gd name="connsiteX740" fmla="*/ 9820 w 10577"/>
                <a:gd name="connsiteY740" fmla="*/ 3581 h 10000"/>
                <a:gd name="connsiteX741" fmla="*/ 9793 w 10577"/>
                <a:gd name="connsiteY741" fmla="*/ 3556 h 10000"/>
                <a:gd name="connsiteX742" fmla="*/ 9779 w 10577"/>
                <a:gd name="connsiteY742" fmla="*/ 3556 h 10000"/>
                <a:gd name="connsiteX743" fmla="*/ 9747 w 10577"/>
                <a:gd name="connsiteY743" fmla="*/ 3487 h 10000"/>
                <a:gd name="connsiteX744" fmla="*/ 9668 w 10577"/>
                <a:gd name="connsiteY744" fmla="*/ 3479 h 10000"/>
                <a:gd name="connsiteX745" fmla="*/ 9659 w 10577"/>
                <a:gd name="connsiteY745" fmla="*/ 3487 h 10000"/>
                <a:gd name="connsiteX746" fmla="*/ 9645 w 10577"/>
                <a:gd name="connsiteY746" fmla="*/ 3504 h 10000"/>
                <a:gd name="connsiteX747" fmla="*/ 9631 w 10577"/>
                <a:gd name="connsiteY747" fmla="*/ 3487 h 10000"/>
                <a:gd name="connsiteX748" fmla="*/ 9613 w 10577"/>
                <a:gd name="connsiteY748" fmla="*/ 3479 h 10000"/>
                <a:gd name="connsiteX749" fmla="*/ 9599 w 10577"/>
                <a:gd name="connsiteY749" fmla="*/ 3479 h 10000"/>
                <a:gd name="connsiteX750" fmla="*/ 9571 w 10577"/>
                <a:gd name="connsiteY750" fmla="*/ 3479 h 10000"/>
                <a:gd name="connsiteX751" fmla="*/ 9562 w 10577"/>
                <a:gd name="connsiteY751" fmla="*/ 3487 h 10000"/>
                <a:gd name="connsiteX752" fmla="*/ 9539 w 10577"/>
                <a:gd name="connsiteY752" fmla="*/ 3487 h 10000"/>
                <a:gd name="connsiteX753" fmla="*/ 9507 w 10577"/>
                <a:gd name="connsiteY753" fmla="*/ 3453 h 10000"/>
                <a:gd name="connsiteX754" fmla="*/ 9498 w 10577"/>
                <a:gd name="connsiteY754" fmla="*/ 3453 h 10000"/>
                <a:gd name="connsiteX755" fmla="*/ 9387 w 10577"/>
                <a:gd name="connsiteY755" fmla="*/ 3419 h 10000"/>
                <a:gd name="connsiteX756" fmla="*/ 9373 w 10577"/>
                <a:gd name="connsiteY756" fmla="*/ 3427 h 10000"/>
                <a:gd name="connsiteX757" fmla="*/ 9373 w 10577"/>
                <a:gd name="connsiteY757" fmla="*/ 3462 h 10000"/>
                <a:gd name="connsiteX758" fmla="*/ 9378 w 10577"/>
                <a:gd name="connsiteY758" fmla="*/ 3479 h 10000"/>
                <a:gd name="connsiteX759" fmla="*/ 9378 w 10577"/>
                <a:gd name="connsiteY759" fmla="*/ 3530 h 10000"/>
                <a:gd name="connsiteX760" fmla="*/ 9355 w 10577"/>
                <a:gd name="connsiteY760" fmla="*/ 3538 h 10000"/>
                <a:gd name="connsiteX761" fmla="*/ 9355 w 10577"/>
                <a:gd name="connsiteY761" fmla="*/ 3581 h 10000"/>
                <a:gd name="connsiteX762" fmla="*/ 9387 w 10577"/>
                <a:gd name="connsiteY762" fmla="*/ 3590 h 10000"/>
                <a:gd name="connsiteX763" fmla="*/ 9401 w 10577"/>
                <a:gd name="connsiteY763" fmla="*/ 3667 h 10000"/>
                <a:gd name="connsiteX764" fmla="*/ 9406 w 10577"/>
                <a:gd name="connsiteY764" fmla="*/ 3675 h 10000"/>
                <a:gd name="connsiteX765" fmla="*/ 9406 w 10577"/>
                <a:gd name="connsiteY765" fmla="*/ 3701 h 10000"/>
                <a:gd name="connsiteX766" fmla="*/ 9415 w 10577"/>
                <a:gd name="connsiteY766" fmla="*/ 3752 h 10000"/>
                <a:gd name="connsiteX767" fmla="*/ 9373 w 10577"/>
                <a:gd name="connsiteY767" fmla="*/ 3838 h 10000"/>
                <a:gd name="connsiteX768" fmla="*/ 9355 w 10577"/>
                <a:gd name="connsiteY768" fmla="*/ 3863 h 10000"/>
                <a:gd name="connsiteX769" fmla="*/ 9327 w 10577"/>
                <a:gd name="connsiteY769" fmla="*/ 3863 h 10000"/>
                <a:gd name="connsiteX770" fmla="*/ 9313 w 10577"/>
                <a:gd name="connsiteY770" fmla="*/ 3846 h 10000"/>
                <a:gd name="connsiteX771" fmla="*/ 9300 w 10577"/>
                <a:gd name="connsiteY771" fmla="*/ 3778 h 10000"/>
                <a:gd name="connsiteX772" fmla="*/ 9281 w 10577"/>
                <a:gd name="connsiteY772" fmla="*/ 3752 h 10000"/>
                <a:gd name="connsiteX773" fmla="*/ 9281 w 10577"/>
                <a:gd name="connsiteY773" fmla="*/ 3735 h 10000"/>
                <a:gd name="connsiteX774" fmla="*/ 9267 w 10577"/>
                <a:gd name="connsiteY774" fmla="*/ 3726 h 10000"/>
                <a:gd name="connsiteX775" fmla="*/ 9240 w 10577"/>
                <a:gd name="connsiteY775" fmla="*/ 3726 h 10000"/>
                <a:gd name="connsiteX776" fmla="*/ 9230 w 10577"/>
                <a:gd name="connsiteY776" fmla="*/ 3718 h 10000"/>
                <a:gd name="connsiteX777" fmla="*/ 9226 w 10577"/>
                <a:gd name="connsiteY777" fmla="*/ 3590 h 10000"/>
                <a:gd name="connsiteX778" fmla="*/ 9207 w 10577"/>
                <a:gd name="connsiteY778" fmla="*/ 3581 h 10000"/>
                <a:gd name="connsiteX779" fmla="*/ 9207 w 10577"/>
                <a:gd name="connsiteY779" fmla="*/ 3556 h 10000"/>
                <a:gd name="connsiteX780" fmla="*/ 9217 w 10577"/>
                <a:gd name="connsiteY780" fmla="*/ 3538 h 10000"/>
                <a:gd name="connsiteX781" fmla="*/ 9212 w 10577"/>
                <a:gd name="connsiteY781" fmla="*/ 3538 h 10000"/>
                <a:gd name="connsiteX782" fmla="*/ 9198 w 10577"/>
                <a:gd name="connsiteY782" fmla="*/ 3513 h 10000"/>
                <a:gd name="connsiteX783" fmla="*/ 9194 w 10577"/>
                <a:gd name="connsiteY783" fmla="*/ 3530 h 10000"/>
                <a:gd name="connsiteX784" fmla="*/ 9143 w 10577"/>
                <a:gd name="connsiteY784" fmla="*/ 3615 h 10000"/>
                <a:gd name="connsiteX785" fmla="*/ 9138 w 10577"/>
                <a:gd name="connsiteY785" fmla="*/ 3615 h 10000"/>
                <a:gd name="connsiteX786" fmla="*/ 9134 w 10577"/>
                <a:gd name="connsiteY786" fmla="*/ 3615 h 10000"/>
                <a:gd name="connsiteX787" fmla="*/ 9106 w 10577"/>
                <a:gd name="connsiteY787" fmla="*/ 3615 h 10000"/>
                <a:gd name="connsiteX788" fmla="*/ 9078 w 10577"/>
                <a:gd name="connsiteY788" fmla="*/ 3590 h 10000"/>
                <a:gd name="connsiteX789" fmla="*/ 9037 w 10577"/>
                <a:gd name="connsiteY789" fmla="*/ 3581 h 10000"/>
                <a:gd name="connsiteX790" fmla="*/ 9023 w 10577"/>
                <a:gd name="connsiteY790" fmla="*/ 3590 h 10000"/>
                <a:gd name="connsiteX791" fmla="*/ 9018 w 10577"/>
                <a:gd name="connsiteY791" fmla="*/ 3590 h 10000"/>
                <a:gd name="connsiteX792" fmla="*/ 9018 w 10577"/>
                <a:gd name="connsiteY792" fmla="*/ 3590 h 10000"/>
                <a:gd name="connsiteX793" fmla="*/ 8991 w 10577"/>
                <a:gd name="connsiteY793" fmla="*/ 3590 h 10000"/>
                <a:gd name="connsiteX794" fmla="*/ 8972 w 10577"/>
                <a:gd name="connsiteY794" fmla="*/ 3581 h 10000"/>
                <a:gd name="connsiteX795" fmla="*/ 8959 w 10577"/>
                <a:gd name="connsiteY795" fmla="*/ 3513 h 10000"/>
                <a:gd name="connsiteX796" fmla="*/ 8931 w 10577"/>
                <a:gd name="connsiteY796" fmla="*/ 3538 h 10000"/>
                <a:gd name="connsiteX797" fmla="*/ 8889 w 10577"/>
                <a:gd name="connsiteY797" fmla="*/ 3538 h 10000"/>
                <a:gd name="connsiteX798" fmla="*/ 8871 w 10577"/>
                <a:gd name="connsiteY798" fmla="*/ 3556 h 10000"/>
                <a:gd name="connsiteX799" fmla="*/ 8857 w 10577"/>
                <a:gd name="connsiteY799" fmla="*/ 3538 h 10000"/>
                <a:gd name="connsiteX800" fmla="*/ 8843 w 10577"/>
                <a:gd name="connsiteY800" fmla="*/ 3538 h 10000"/>
                <a:gd name="connsiteX801" fmla="*/ 8839 w 10577"/>
                <a:gd name="connsiteY801" fmla="*/ 3556 h 10000"/>
                <a:gd name="connsiteX802" fmla="*/ 8839 w 10577"/>
                <a:gd name="connsiteY802" fmla="*/ 3581 h 10000"/>
                <a:gd name="connsiteX803" fmla="*/ 8825 w 10577"/>
                <a:gd name="connsiteY803" fmla="*/ 3564 h 10000"/>
                <a:gd name="connsiteX804" fmla="*/ 8825 w 10577"/>
                <a:gd name="connsiteY804" fmla="*/ 3615 h 10000"/>
                <a:gd name="connsiteX805" fmla="*/ 8802 w 10577"/>
                <a:gd name="connsiteY805" fmla="*/ 3598 h 10000"/>
                <a:gd name="connsiteX806" fmla="*/ 8797 w 10577"/>
                <a:gd name="connsiteY806" fmla="*/ 3641 h 10000"/>
                <a:gd name="connsiteX807" fmla="*/ 8783 w 10577"/>
                <a:gd name="connsiteY807" fmla="*/ 3667 h 10000"/>
                <a:gd name="connsiteX808" fmla="*/ 8779 w 10577"/>
                <a:gd name="connsiteY808" fmla="*/ 3650 h 10000"/>
                <a:gd name="connsiteX809" fmla="*/ 8779 w 10577"/>
                <a:gd name="connsiteY809" fmla="*/ 3615 h 10000"/>
                <a:gd name="connsiteX810" fmla="*/ 8770 w 10577"/>
                <a:gd name="connsiteY810" fmla="*/ 3590 h 10000"/>
                <a:gd name="connsiteX811" fmla="*/ 8765 w 10577"/>
                <a:gd name="connsiteY811" fmla="*/ 3598 h 10000"/>
                <a:gd name="connsiteX812" fmla="*/ 8756 w 10577"/>
                <a:gd name="connsiteY812" fmla="*/ 3590 h 10000"/>
                <a:gd name="connsiteX813" fmla="*/ 8737 w 10577"/>
                <a:gd name="connsiteY813" fmla="*/ 3556 h 10000"/>
                <a:gd name="connsiteX814" fmla="*/ 8724 w 10577"/>
                <a:gd name="connsiteY814" fmla="*/ 3538 h 10000"/>
                <a:gd name="connsiteX815" fmla="*/ 8696 w 10577"/>
                <a:gd name="connsiteY815" fmla="*/ 3538 h 10000"/>
                <a:gd name="connsiteX816" fmla="*/ 8691 w 10577"/>
                <a:gd name="connsiteY816" fmla="*/ 3513 h 10000"/>
                <a:gd name="connsiteX817" fmla="*/ 8668 w 10577"/>
                <a:gd name="connsiteY817" fmla="*/ 3504 h 10000"/>
                <a:gd name="connsiteX818" fmla="*/ 8668 w 10577"/>
                <a:gd name="connsiteY818" fmla="*/ 3487 h 10000"/>
                <a:gd name="connsiteX819" fmla="*/ 8691 w 10577"/>
                <a:gd name="connsiteY819" fmla="*/ 3350 h 10000"/>
                <a:gd name="connsiteX820" fmla="*/ 8691 w 10577"/>
                <a:gd name="connsiteY820" fmla="*/ 3291 h 10000"/>
                <a:gd name="connsiteX821" fmla="*/ 8677 w 10577"/>
                <a:gd name="connsiteY821" fmla="*/ 3239 h 10000"/>
                <a:gd name="connsiteX822" fmla="*/ 8677 w 10577"/>
                <a:gd name="connsiteY822" fmla="*/ 3231 h 10000"/>
                <a:gd name="connsiteX823" fmla="*/ 8636 w 10577"/>
                <a:gd name="connsiteY823" fmla="*/ 3128 h 10000"/>
                <a:gd name="connsiteX824" fmla="*/ 8622 w 10577"/>
                <a:gd name="connsiteY824" fmla="*/ 3120 h 10000"/>
                <a:gd name="connsiteX825" fmla="*/ 8618 w 10577"/>
                <a:gd name="connsiteY825" fmla="*/ 3094 h 10000"/>
                <a:gd name="connsiteX826" fmla="*/ 8594 w 10577"/>
                <a:gd name="connsiteY826" fmla="*/ 3077 h 10000"/>
                <a:gd name="connsiteX827" fmla="*/ 8548 w 10577"/>
                <a:gd name="connsiteY827" fmla="*/ 3077 h 10000"/>
                <a:gd name="connsiteX828" fmla="*/ 8535 w 10577"/>
                <a:gd name="connsiteY828" fmla="*/ 3068 h 10000"/>
                <a:gd name="connsiteX829" fmla="*/ 8429 w 10577"/>
                <a:gd name="connsiteY829" fmla="*/ 3077 h 10000"/>
                <a:gd name="connsiteX830" fmla="*/ 8424 w 10577"/>
                <a:gd name="connsiteY830" fmla="*/ 3077 h 10000"/>
                <a:gd name="connsiteX831" fmla="*/ 8396 w 10577"/>
                <a:gd name="connsiteY831" fmla="*/ 3077 h 10000"/>
                <a:gd name="connsiteX832" fmla="*/ 8387 w 10577"/>
                <a:gd name="connsiteY832" fmla="*/ 3094 h 10000"/>
                <a:gd name="connsiteX833" fmla="*/ 8378 w 10577"/>
                <a:gd name="connsiteY833" fmla="*/ 3094 h 10000"/>
                <a:gd name="connsiteX834" fmla="*/ 8341 w 10577"/>
                <a:gd name="connsiteY834" fmla="*/ 3077 h 10000"/>
                <a:gd name="connsiteX835" fmla="*/ 8336 w 10577"/>
                <a:gd name="connsiteY835" fmla="*/ 3077 h 10000"/>
                <a:gd name="connsiteX836" fmla="*/ 8327 w 10577"/>
                <a:gd name="connsiteY836" fmla="*/ 3103 h 10000"/>
                <a:gd name="connsiteX837" fmla="*/ 8309 w 10577"/>
                <a:gd name="connsiteY837" fmla="*/ 3120 h 10000"/>
                <a:gd name="connsiteX838" fmla="*/ 8304 w 10577"/>
                <a:gd name="connsiteY838" fmla="*/ 3103 h 10000"/>
                <a:gd name="connsiteX839" fmla="*/ 8276 w 10577"/>
                <a:gd name="connsiteY839" fmla="*/ 3103 h 10000"/>
                <a:gd name="connsiteX840" fmla="*/ 8267 w 10577"/>
                <a:gd name="connsiteY840" fmla="*/ 3120 h 10000"/>
                <a:gd name="connsiteX841" fmla="*/ 8253 w 10577"/>
                <a:gd name="connsiteY841" fmla="*/ 3103 h 10000"/>
                <a:gd name="connsiteX842" fmla="*/ 8230 w 10577"/>
                <a:gd name="connsiteY842" fmla="*/ 3128 h 10000"/>
                <a:gd name="connsiteX843" fmla="*/ 8217 w 10577"/>
                <a:gd name="connsiteY843" fmla="*/ 3128 h 10000"/>
                <a:gd name="connsiteX844" fmla="*/ 8203 w 10577"/>
                <a:gd name="connsiteY844" fmla="*/ 3154 h 10000"/>
                <a:gd name="connsiteX845" fmla="*/ 8175 w 10577"/>
                <a:gd name="connsiteY845" fmla="*/ 3094 h 10000"/>
                <a:gd name="connsiteX846" fmla="*/ 8161 w 10577"/>
                <a:gd name="connsiteY846" fmla="*/ 3094 h 10000"/>
                <a:gd name="connsiteX847" fmla="*/ 8157 w 10577"/>
                <a:gd name="connsiteY847" fmla="*/ 3077 h 10000"/>
                <a:gd name="connsiteX848" fmla="*/ 8180 w 10577"/>
                <a:gd name="connsiteY848" fmla="*/ 3068 h 10000"/>
                <a:gd name="connsiteX849" fmla="*/ 8189 w 10577"/>
                <a:gd name="connsiteY849" fmla="*/ 3043 h 10000"/>
                <a:gd name="connsiteX850" fmla="*/ 8189 w 10577"/>
                <a:gd name="connsiteY850" fmla="*/ 3017 h 10000"/>
                <a:gd name="connsiteX851" fmla="*/ 8147 w 10577"/>
                <a:gd name="connsiteY851" fmla="*/ 2940 h 10000"/>
                <a:gd name="connsiteX852" fmla="*/ 8143 w 10577"/>
                <a:gd name="connsiteY852" fmla="*/ 2915 h 10000"/>
                <a:gd name="connsiteX853" fmla="*/ 8143 w 10577"/>
                <a:gd name="connsiteY853" fmla="*/ 2906 h 10000"/>
                <a:gd name="connsiteX854" fmla="*/ 8097 w 10577"/>
                <a:gd name="connsiteY854" fmla="*/ 2932 h 10000"/>
                <a:gd name="connsiteX855" fmla="*/ 8083 w 10577"/>
                <a:gd name="connsiteY855" fmla="*/ 2932 h 10000"/>
                <a:gd name="connsiteX856" fmla="*/ 8074 w 10577"/>
                <a:gd name="connsiteY856" fmla="*/ 2906 h 10000"/>
                <a:gd name="connsiteX857" fmla="*/ 8074 w 10577"/>
                <a:gd name="connsiteY857" fmla="*/ 2897 h 10000"/>
                <a:gd name="connsiteX858" fmla="*/ 8055 w 10577"/>
                <a:gd name="connsiteY858" fmla="*/ 2872 h 10000"/>
                <a:gd name="connsiteX859" fmla="*/ 8046 w 10577"/>
                <a:gd name="connsiteY859" fmla="*/ 2829 h 10000"/>
                <a:gd name="connsiteX860" fmla="*/ 8041 w 10577"/>
                <a:gd name="connsiteY860" fmla="*/ 2829 h 10000"/>
                <a:gd name="connsiteX861" fmla="*/ 8023 w 10577"/>
                <a:gd name="connsiteY861" fmla="*/ 2803 h 10000"/>
                <a:gd name="connsiteX862" fmla="*/ 8014 w 10577"/>
                <a:gd name="connsiteY862" fmla="*/ 2829 h 10000"/>
                <a:gd name="connsiteX863" fmla="*/ 8000 w 10577"/>
                <a:gd name="connsiteY863" fmla="*/ 2829 h 10000"/>
                <a:gd name="connsiteX864" fmla="*/ 7995 w 10577"/>
                <a:gd name="connsiteY864" fmla="*/ 2821 h 10000"/>
                <a:gd name="connsiteX865" fmla="*/ 7972 w 10577"/>
                <a:gd name="connsiteY865" fmla="*/ 2803 h 10000"/>
                <a:gd name="connsiteX866" fmla="*/ 7968 w 10577"/>
                <a:gd name="connsiteY866" fmla="*/ 2821 h 10000"/>
                <a:gd name="connsiteX867" fmla="*/ 7968 w 10577"/>
                <a:gd name="connsiteY867" fmla="*/ 2803 h 10000"/>
                <a:gd name="connsiteX868" fmla="*/ 7995 w 10577"/>
                <a:gd name="connsiteY868" fmla="*/ 2735 h 10000"/>
                <a:gd name="connsiteX869" fmla="*/ 8000 w 10577"/>
                <a:gd name="connsiteY869" fmla="*/ 2735 h 10000"/>
                <a:gd name="connsiteX870" fmla="*/ 8014 w 10577"/>
                <a:gd name="connsiteY870" fmla="*/ 2744 h 10000"/>
                <a:gd name="connsiteX871" fmla="*/ 8023 w 10577"/>
                <a:gd name="connsiteY871" fmla="*/ 2769 h 10000"/>
                <a:gd name="connsiteX872" fmla="*/ 8032 w 10577"/>
                <a:gd name="connsiteY872" fmla="*/ 2744 h 10000"/>
                <a:gd name="connsiteX873" fmla="*/ 8032 w 10577"/>
                <a:gd name="connsiteY873" fmla="*/ 2709 h 10000"/>
                <a:gd name="connsiteX874" fmla="*/ 8023 w 10577"/>
                <a:gd name="connsiteY874" fmla="*/ 2632 h 10000"/>
                <a:gd name="connsiteX875" fmla="*/ 7986 w 10577"/>
                <a:gd name="connsiteY875" fmla="*/ 2581 h 10000"/>
                <a:gd name="connsiteX876" fmla="*/ 7968 w 10577"/>
                <a:gd name="connsiteY876" fmla="*/ 2581 h 10000"/>
                <a:gd name="connsiteX877" fmla="*/ 7963 w 10577"/>
                <a:gd name="connsiteY877" fmla="*/ 2556 h 10000"/>
                <a:gd name="connsiteX878" fmla="*/ 7935 w 10577"/>
                <a:gd name="connsiteY878" fmla="*/ 2547 h 10000"/>
                <a:gd name="connsiteX879" fmla="*/ 7912 w 10577"/>
                <a:gd name="connsiteY879" fmla="*/ 2547 h 10000"/>
                <a:gd name="connsiteX880" fmla="*/ 7912 w 10577"/>
                <a:gd name="connsiteY880" fmla="*/ 2556 h 10000"/>
                <a:gd name="connsiteX881" fmla="*/ 7908 w 10577"/>
                <a:gd name="connsiteY881" fmla="*/ 2547 h 10000"/>
                <a:gd name="connsiteX882" fmla="*/ 7862 w 10577"/>
                <a:gd name="connsiteY882" fmla="*/ 2547 h 10000"/>
                <a:gd name="connsiteX883" fmla="*/ 7848 w 10577"/>
                <a:gd name="connsiteY883" fmla="*/ 2556 h 10000"/>
                <a:gd name="connsiteX884" fmla="*/ 7820 w 10577"/>
                <a:gd name="connsiteY884" fmla="*/ 2547 h 10000"/>
                <a:gd name="connsiteX885" fmla="*/ 7806 w 10577"/>
                <a:gd name="connsiteY885" fmla="*/ 2513 h 10000"/>
                <a:gd name="connsiteX886" fmla="*/ 7788 w 10577"/>
                <a:gd name="connsiteY886" fmla="*/ 2513 h 10000"/>
                <a:gd name="connsiteX887" fmla="*/ 7760 w 10577"/>
                <a:gd name="connsiteY887" fmla="*/ 2470 h 10000"/>
                <a:gd name="connsiteX888" fmla="*/ 7751 w 10577"/>
                <a:gd name="connsiteY888" fmla="*/ 2470 h 10000"/>
                <a:gd name="connsiteX889" fmla="*/ 7705 w 10577"/>
                <a:gd name="connsiteY889" fmla="*/ 2462 h 10000"/>
                <a:gd name="connsiteX890" fmla="*/ 7673 w 10577"/>
                <a:gd name="connsiteY890" fmla="*/ 2419 h 10000"/>
                <a:gd name="connsiteX891" fmla="*/ 7627 w 10577"/>
                <a:gd name="connsiteY891" fmla="*/ 2419 h 10000"/>
                <a:gd name="connsiteX892" fmla="*/ 7613 w 10577"/>
                <a:gd name="connsiteY892" fmla="*/ 2410 h 10000"/>
                <a:gd name="connsiteX893" fmla="*/ 7493 w 10577"/>
                <a:gd name="connsiteY893" fmla="*/ 2393 h 10000"/>
                <a:gd name="connsiteX894" fmla="*/ 7479 w 10577"/>
                <a:gd name="connsiteY894" fmla="*/ 2385 h 10000"/>
                <a:gd name="connsiteX895" fmla="*/ 7479 w 10577"/>
                <a:gd name="connsiteY895" fmla="*/ 2376 h 10000"/>
                <a:gd name="connsiteX896" fmla="*/ 7465 w 10577"/>
                <a:gd name="connsiteY896" fmla="*/ 2359 h 10000"/>
                <a:gd name="connsiteX897" fmla="*/ 7447 w 10577"/>
                <a:gd name="connsiteY897" fmla="*/ 2350 h 10000"/>
                <a:gd name="connsiteX898" fmla="*/ 7433 w 10577"/>
                <a:gd name="connsiteY898" fmla="*/ 2376 h 10000"/>
                <a:gd name="connsiteX899" fmla="*/ 7433 w 10577"/>
                <a:gd name="connsiteY899" fmla="*/ 2385 h 10000"/>
                <a:gd name="connsiteX900" fmla="*/ 7447 w 10577"/>
                <a:gd name="connsiteY900" fmla="*/ 2410 h 10000"/>
                <a:gd name="connsiteX901" fmla="*/ 7447 w 10577"/>
                <a:gd name="connsiteY901" fmla="*/ 2436 h 10000"/>
                <a:gd name="connsiteX902" fmla="*/ 7452 w 10577"/>
                <a:gd name="connsiteY902" fmla="*/ 2462 h 10000"/>
                <a:gd name="connsiteX903" fmla="*/ 7447 w 10577"/>
                <a:gd name="connsiteY903" fmla="*/ 2470 h 10000"/>
                <a:gd name="connsiteX904" fmla="*/ 7424 w 10577"/>
                <a:gd name="connsiteY904" fmla="*/ 2513 h 10000"/>
                <a:gd name="connsiteX905" fmla="*/ 7419 w 10577"/>
                <a:gd name="connsiteY905" fmla="*/ 2556 h 10000"/>
                <a:gd name="connsiteX906" fmla="*/ 7406 w 10577"/>
                <a:gd name="connsiteY906" fmla="*/ 2624 h 10000"/>
                <a:gd name="connsiteX907" fmla="*/ 7392 w 10577"/>
                <a:gd name="connsiteY907" fmla="*/ 2624 h 10000"/>
                <a:gd name="connsiteX908" fmla="*/ 7373 w 10577"/>
                <a:gd name="connsiteY908" fmla="*/ 2650 h 10000"/>
                <a:gd name="connsiteX909" fmla="*/ 7364 w 10577"/>
                <a:gd name="connsiteY909" fmla="*/ 2684 h 10000"/>
                <a:gd name="connsiteX910" fmla="*/ 7364 w 10577"/>
                <a:gd name="connsiteY910" fmla="*/ 2692 h 10000"/>
                <a:gd name="connsiteX911" fmla="*/ 7373 w 10577"/>
                <a:gd name="connsiteY911" fmla="*/ 2718 h 10000"/>
                <a:gd name="connsiteX912" fmla="*/ 7373 w 10577"/>
                <a:gd name="connsiteY912" fmla="*/ 2744 h 10000"/>
                <a:gd name="connsiteX913" fmla="*/ 7359 w 10577"/>
                <a:gd name="connsiteY913" fmla="*/ 2744 h 10000"/>
                <a:gd name="connsiteX914" fmla="*/ 7359 w 10577"/>
                <a:gd name="connsiteY914" fmla="*/ 2795 h 10000"/>
                <a:gd name="connsiteX915" fmla="*/ 7364 w 10577"/>
                <a:gd name="connsiteY915" fmla="*/ 2821 h 10000"/>
                <a:gd name="connsiteX916" fmla="*/ 7378 w 10577"/>
                <a:gd name="connsiteY916" fmla="*/ 2846 h 10000"/>
                <a:gd name="connsiteX917" fmla="*/ 7378 w 10577"/>
                <a:gd name="connsiteY917" fmla="*/ 2855 h 10000"/>
                <a:gd name="connsiteX918" fmla="*/ 7378 w 10577"/>
                <a:gd name="connsiteY918" fmla="*/ 2880 h 10000"/>
                <a:gd name="connsiteX919" fmla="*/ 7378 w 10577"/>
                <a:gd name="connsiteY919" fmla="*/ 2906 h 10000"/>
                <a:gd name="connsiteX920" fmla="*/ 7364 w 10577"/>
                <a:gd name="connsiteY920" fmla="*/ 2906 h 10000"/>
                <a:gd name="connsiteX921" fmla="*/ 7346 w 10577"/>
                <a:gd name="connsiteY921" fmla="*/ 2880 h 10000"/>
                <a:gd name="connsiteX922" fmla="*/ 7332 w 10577"/>
                <a:gd name="connsiteY922" fmla="*/ 2915 h 10000"/>
                <a:gd name="connsiteX923" fmla="*/ 7318 w 10577"/>
                <a:gd name="connsiteY923" fmla="*/ 2906 h 10000"/>
                <a:gd name="connsiteX924" fmla="*/ 7313 w 10577"/>
                <a:gd name="connsiteY924" fmla="*/ 2915 h 10000"/>
                <a:gd name="connsiteX925" fmla="*/ 7313 w 10577"/>
                <a:gd name="connsiteY925" fmla="*/ 2906 h 10000"/>
                <a:gd name="connsiteX926" fmla="*/ 7286 w 10577"/>
                <a:gd name="connsiteY926" fmla="*/ 2940 h 10000"/>
                <a:gd name="connsiteX927" fmla="*/ 7276 w 10577"/>
                <a:gd name="connsiteY927" fmla="*/ 2966 h 10000"/>
                <a:gd name="connsiteX928" fmla="*/ 7272 w 10577"/>
                <a:gd name="connsiteY928" fmla="*/ 2983 h 10000"/>
                <a:gd name="connsiteX929" fmla="*/ 7267 w 10577"/>
                <a:gd name="connsiteY929" fmla="*/ 3009 h 10000"/>
                <a:gd name="connsiteX930" fmla="*/ 7253 w 10577"/>
                <a:gd name="connsiteY930" fmla="*/ 3009 h 10000"/>
                <a:gd name="connsiteX931" fmla="*/ 7244 w 10577"/>
                <a:gd name="connsiteY931" fmla="*/ 3017 h 10000"/>
                <a:gd name="connsiteX932" fmla="*/ 7240 w 10577"/>
                <a:gd name="connsiteY932" fmla="*/ 3009 h 10000"/>
                <a:gd name="connsiteX933" fmla="*/ 7230 w 10577"/>
                <a:gd name="connsiteY933" fmla="*/ 2991 h 10000"/>
                <a:gd name="connsiteX934" fmla="*/ 7226 w 10577"/>
                <a:gd name="connsiteY934" fmla="*/ 2983 h 10000"/>
                <a:gd name="connsiteX935" fmla="*/ 7226 w 10577"/>
                <a:gd name="connsiteY935" fmla="*/ 2966 h 10000"/>
                <a:gd name="connsiteX936" fmla="*/ 7212 w 10577"/>
                <a:gd name="connsiteY936" fmla="*/ 2957 h 10000"/>
                <a:gd name="connsiteX937" fmla="*/ 7212 w 10577"/>
                <a:gd name="connsiteY937" fmla="*/ 2932 h 10000"/>
                <a:gd name="connsiteX938" fmla="*/ 7198 w 10577"/>
                <a:gd name="connsiteY938" fmla="*/ 2915 h 10000"/>
                <a:gd name="connsiteX939" fmla="*/ 7194 w 10577"/>
                <a:gd name="connsiteY939" fmla="*/ 2915 h 10000"/>
                <a:gd name="connsiteX940" fmla="*/ 7157 w 10577"/>
                <a:gd name="connsiteY940" fmla="*/ 2880 h 10000"/>
                <a:gd name="connsiteX941" fmla="*/ 7138 w 10577"/>
                <a:gd name="connsiteY941" fmla="*/ 2880 h 10000"/>
                <a:gd name="connsiteX942" fmla="*/ 7120 w 10577"/>
                <a:gd name="connsiteY942" fmla="*/ 2872 h 10000"/>
                <a:gd name="connsiteX943" fmla="*/ 7111 w 10577"/>
                <a:gd name="connsiteY943" fmla="*/ 2846 h 10000"/>
                <a:gd name="connsiteX944" fmla="*/ 7106 w 10577"/>
                <a:gd name="connsiteY944" fmla="*/ 2846 h 10000"/>
                <a:gd name="connsiteX945" fmla="*/ 7092 w 10577"/>
                <a:gd name="connsiteY945" fmla="*/ 2829 h 10000"/>
                <a:gd name="connsiteX946" fmla="*/ 7051 w 10577"/>
                <a:gd name="connsiteY946" fmla="*/ 2829 h 10000"/>
                <a:gd name="connsiteX947" fmla="*/ 7037 w 10577"/>
                <a:gd name="connsiteY947" fmla="*/ 2880 h 10000"/>
                <a:gd name="connsiteX948" fmla="*/ 7037 w 10577"/>
                <a:gd name="connsiteY948" fmla="*/ 2906 h 10000"/>
                <a:gd name="connsiteX949" fmla="*/ 7037 w 10577"/>
                <a:gd name="connsiteY949" fmla="*/ 2932 h 10000"/>
                <a:gd name="connsiteX950" fmla="*/ 7037 w 10577"/>
                <a:gd name="connsiteY950" fmla="*/ 2940 h 10000"/>
                <a:gd name="connsiteX951" fmla="*/ 7023 w 10577"/>
                <a:gd name="connsiteY951" fmla="*/ 2906 h 10000"/>
                <a:gd name="connsiteX952" fmla="*/ 7023 w 10577"/>
                <a:gd name="connsiteY952" fmla="*/ 2915 h 10000"/>
                <a:gd name="connsiteX953" fmla="*/ 6991 w 10577"/>
                <a:gd name="connsiteY953" fmla="*/ 2906 h 10000"/>
                <a:gd name="connsiteX954" fmla="*/ 6977 w 10577"/>
                <a:gd name="connsiteY954" fmla="*/ 2915 h 10000"/>
                <a:gd name="connsiteX955" fmla="*/ 6963 w 10577"/>
                <a:gd name="connsiteY955" fmla="*/ 2915 h 10000"/>
                <a:gd name="connsiteX956" fmla="*/ 6949 w 10577"/>
                <a:gd name="connsiteY956" fmla="*/ 2872 h 10000"/>
                <a:gd name="connsiteX957" fmla="*/ 6935 w 10577"/>
                <a:gd name="connsiteY957" fmla="*/ 2855 h 10000"/>
                <a:gd name="connsiteX958" fmla="*/ 6922 w 10577"/>
                <a:gd name="connsiteY958" fmla="*/ 2803 h 10000"/>
                <a:gd name="connsiteX959" fmla="*/ 6917 w 10577"/>
                <a:gd name="connsiteY959" fmla="*/ 2786 h 10000"/>
                <a:gd name="connsiteX960" fmla="*/ 6903 w 10577"/>
                <a:gd name="connsiteY960" fmla="*/ 2709 h 10000"/>
                <a:gd name="connsiteX961" fmla="*/ 6903 w 10577"/>
                <a:gd name="connsiteY961" fmla="*/ 2692 h 10000"/>
                <a:gd name="connsiteX962" fmla="*/ 6899 w 10577"/>
                <a:gd name="connsiteY962" fmla="*/ 2709 h 10000"/>
                <a:gd name="connsiteX963" fmla="*/ 6857 w 10577"/>
                <a:gd name="connsiteY963" fmla="*/ 2872 h 10000"/>
                <a:gd name="connsiteX964" fmla="*/ 6857 w 10577"/>
                <a:gd name="connsiteY964" fmla="*/ 3009 h 10000"/>
                <a:gd name="connsiteX965" fmla="*/ 6848 w 10577"/>
                <a:gd name="connsiteY965" fmla="*/ 3017 h 10000"/>
                <a:gd name="connsiteX966" fmla="*/ 6839 w 10577"/>
                <a:gd name="connsiteY966" fmla="*/ 3068 h 10000"/>
                <a:gd name="connsiteX967" fmla="*/ 6829 w 10577"/>
                <a:gd name="connsiteY967" fmla="*/ 3077 h 10000"/>
                <a:gd name="connsiteX968" fmla="*/ 6829 w 10577"/>
                <a:gd name="connsiteY968" fmla="*/ 3128 h 10000"/>
                <a:gd name="connsiteX969" fmla="*/ 6816 w 10577"/>
                <a:gd name="connsiteY969" fmla="*/ 3154 h 10000"/>
                <a:gd name="connsiteX970" fmla="*/ 6811 w 10577"/>
                <a:gd name="connsiteY970" fmla="*/ 3179 h 10000"/>
                <a:gd name="connsiteX971" fmla="*/ 6797 w 10577"/>
                <a:gd name="connsiteY971" fmla="*/ 3171 h 10000"/>
                <a:gd name="connsiteX972" fmla="*/ 6783 w 10577"/>
                <a:gd name="connsiteY972" fmla="*/ 3103 h 10000"/>
                <a:gd name="connsiteX973" fmla="*/ 6779 w 10577"/>
                <a:gd name="connsiteY973" fmla="*/ 3094 h 10000"/>
                <a:gd name="connsiteX974" fmla="*/ 6779 w 10577"/>
                <a:gd name="connsiteY974" fmla="*/ 3120 h 10000"/>
                <a:gd name="connsiteX975" fmla="*/ 6770 w 10577"/>
                <a:gd name="connsiteY975" fmla="*/ 3128 h 10000"/>
                <a:gd name="connsiteX976" fmla="*/ 6765 w 10577"/>
                <a:gd name="connsiteY976" fmla="*/ 3103 h 10000"/>
                <a:gd name="connsiteX977" fmla="*/ 6756 w 10577"/>
                <a:gd name="connsiteY977" fmla="*/ 3103 h 10000"/>
                <a:gd name="connsiteX978" fmla="*/ 6742 w 10577"/>
                <a:gd name="connsiteY978" fmla="*/ 3103 h 10000"/>
                <a:gd name="connsiteX979" fmla="*/ 6737 w 10577"/>
                <a:gd name="connsiteY979" fmla="*/ 3077 h 10000"/>
                <a:gd name="connsiteX980" fmla="*/ 6737 w 10577"/>
                <a:gd name="connsiteY980" fmla="*/ 3068 h 10000"/>
                <a:gd name="connsiteX981" fmla="*/ 6728 w 10577"/>
                <a:gd name="connsiteY981" fmla="*/ 3043 h 10000"/>
                <a:gd name="connsiteX982" fmla="*/ 6724 w 10577"/>
                <a:gd name="connsiteY982" fmla="*/ 3051 h 10000"/>
                <a:gd name="connsiteX983" fmla="*/ 6714 w 10577"/>
                <a:gd name="connsiteY983" fmla="*/ 3043 h 10000"/>
                <a:gd name="connsiteX984" fmla="*/ 6710 w 10577"/>
                <a:gd name="connsiteY984" fmla="*/ 3034 h 10000"/>
                <a:gd name="connsiteX985" fmla="*/ 6705 w 10577"/>
                <a:gd name="connsiteY985" fmla="*/ 2983 h 10000"/>
                <a:gd name="connsiteX986" fmla="*/ 6696 w 10577"/>
                <a:gd name="connsiteY986" fmla="*/ 2966 h 10000"/>
                <a:gd name="connsiteX987" fmla="*/ 6691 w 10577"/>
                <a:gd name="connsiteY987" fmla="*/ 2983 h 10000"/>
                <a:gd name="connsiteX988" fmla="*/ 6677 w 10577"/>
                <a:gd name="connsiteY988" fmla="*/ 2897 h 10000"/>
                <a:gd name="connsiteX989" fmla="*/ 6677 w 10577"/>
                <a:gd name="connsiteY989" fmla="*/ 2897 h 10000"/>
                <a:gd name="connsiteX990" fmla="*/ 6677 w 10577"/>
                <a:gd name="connsiteY990" fmla="*/ 2872 h 10000"/>
                <a:gd name="connsiteX991" fmla="*/ 6668 w 10577"/>
                <a:gd name="connsiteY991" fmla="*/ 2821 h 10000"/>
                <a:gd name="connsiteX992" fmla="*/ 6664 w 10577"/>
                <a:gd name="connsiteY992" fmla="*/ 2829 h 10000"/>
                <a:gd name="connsiteX993" fmla="*/ 6654 w 10577"/>
                <a:gd name="connsiteY993" fmla="*/ 2846 h 10000"/>
                <a:gd name="connsiteX994" fmla="*/ 6650 w 10577"/>
                <a:gd name="connsiteY994" fmla="*/ 2829 h 10000"/>
                <a:gd name="connsiteX995" fmla="*/ 6650 w 10577"/>
                <a:gd name="connsiteY995" fmla="*/ 2803 h 10000"/>
                <a:gd name="connsiteX996" fmla="*/ 6650 w 10577"/>
                <a:gd name="connsiteY996" fmla="*/ 2795 h 10000"/>
                <a:gd name="connsiteX997" fmla="*/ 6641 w 10577"/>
                <a:gd name="connsiteY997" fmla="*/ 2786 h 10000"/>
                <a:gd name="connsiteX998" fmla="*/ 6636 w 10577"/>
                <a:gd name="connsiteY998" fmla="*/ 2735 h 10000"/>
                <a:gd name="connsiteX999" fmla="*/ 6664 w 10577"/>
                <a:gd name="connsiteY999" fmla="*/ 2667 h 10000"/>
                <a:gd name="connsiteX1000" fmla="*/ 6668 w 10577"/>
                <a:gd name="connsiteY1000" fmla="*/ 2684 h 10000"/>
                <a:gd name="connsiteX1001" fmla="*/ 6677 w 10577"/>
                <a:gd name="connsiteY1001" fmla="*/ 2667 h 10000"/>
                <a:gd name="connsiteX1002" fmla="*/ 6668 w 10577"/>
                <a:gd name="connsiteY1002" fmla="*/ 2667 h 10000"/>
                <a:gd name="connsiteX1003" fmla="*/ 6668 w 10577"/>
                <a:gd name="connsiteY1003" fmla="*/ 2650 h 10000"/>
                <a:gd name="connsiteX1004" fmla="*/ 6682 w 10577"/>
                <a:gd name="connsiteY1004" fmla="*/ 2650 h 10000"/>
                <a:gd name="connsiteX1005" fmla="*/ 6691 w 10577"/>
                <a:gd name="connsiteY1005" fmla="*/ 2624 h 10000"/>
                <a:gd name="connsiteX1006" fmla="*/ 6682 w 10577"/>
                <a:gd name="connsiteY1006" fmla="*/ 2632 h 10000"/>
                <a:gd name="connsiteX1007" fmla="*/ 6682 w 10577"/>
                <a:gd name="connsiteY1007" fmla="*/ 2624 h 10000"/>
                <a:gd name="connsiteX1008" fmla="*/ 6691 w 10577"/>
                <a:gd name="connsiteY1008" fmla="*/ 2607 h 10000"/>
                <a:gd name="connsiteX1009" fmla="*/ 6691 w 10577"/>
                <a:gd name="connsiteY1009" fmla="*/ 2598 h 10000"/>
                <a:gd name="connsiteX1010" fmla="*/ 6691 w 10577"/>
                <a:gd name="connsiteY1010" fmla="*/ 2581 h 10000"/>
                <a:gd name="connsiteX1011" fmla="*/ 6696 w 10577"/>
                <a:gd name="connsiteY1011" fmla="*/ 2530 h 10000"/>
                <a:gd name="connsiteX1012" fmla="*/ 6677 w 10577"/>
                <a:gd name="connsiteY1012" fmla="*/ 2513 h 10000"/>
                <a:gd name="connsiteX1013" fmla="*/ 6677 w 10577"/>
                <a:gd name="connsiteY1013" fmla="*/ 2496 h 10000"/>
                <a:gd name="connsiteX1014" fmla="*/ 6682 w 10577"/>
                <a:gd name="connsiteY1014" fmla="*/ 2470 h 10000"/>
                <a:gd name="connsiteX1015" fmla="*/ 6668 w 10577"/>
                <a:gd name="connsiteY1015" fmla="*/ 2462 h 10000"/>
                <a:gd name="connsiteX1016" fmla="*/ 6677 w 10577"/>
                <a:gd name="connsiteY1016" fmla="*/ 2436 h 10000"/>
                <a:gd name="connsiteX1017" fmla="*/ 6682 w 10577"/>
                <a:gd name="connsiteY1017" fmla="*/ 2419 h 10000"/>
                <a:gd name="connsiteX1018" fmla="*/ 6682 w 10577"/>
                <a:gd name="connsiteY1018" fmla="*/ 2393 h 10000"/>
                <a:gd name="connsiteX1019" fmla="*/ 6682 w 10577"/>
                <a:gd name="connsiteY1019" fmla="*/ 2385 h 10000"/>
                <a:gd name="connsiteX1020" fmla="*/ 6682 w 10577"/>
                <a:gd name="connsiteY1020" fmla="*/ 2385 h 10000"/>
                <a:gd name="connsiteX1021" fmla="*/ 6677 w 10577"/>
                <a:gd name="connsiteY1021" fmla="*/ 2376 h 10000"/>
                <a:gd name="connsiteX1022" fmla="*/ 6682 w 10577"/>
                <a:gd name="connsiteY1022" fmla="*/ 2359 h 10000"/>
                <a:gd name="connsiteX1023" fmla="*/ 6677 w 10577"/>
                <a:gd name="connsiteY1023" fmla="*/ 2333 h 10000"/>
                <a:gd name="connsiteX1024" fmla="*/ 6691 w 10577"/>
                <a:gd name="connsiteY1024" fmla="*/ 2333 h 10000"/>
                <a:gd name="connsiteX1025" fmla="*/ 6691 w 10577"/>
                <a:gd name="connsiteY1025" fmla="*/ 2325 h 10000"/>
                <a:gd name="connsiteX1026" fmla="*/ 6691 w 10577"/>
                <a:gd name="connsiteY1026" fmla="*/ 2308 h 10000"/>
                <a:gd name="connsiteX1027" fmla="*/ 6691 w 10577"/>
                <a:gd name="connsiteY1027" fmla="*/ 2299 h 10000"/>
                <a:gd name="connsiteX1028" fmla="*/ 6691 w 10577"/>
                <a:gd name="connsiteY1028" fmla="*/ 2282 h 10000"/>
                <a:gd name="connsiteX1029" fmla="*/ 6691 w 10577"/>
                <a:gd name="connsiteY1029" fmla="*/ 2274 h 10000"/>
                <a:gd name="connsiteX1030" fmla="*/ 6668 w 10577"/>
                <a:gd name="connsiteY1030" fmla="*/ 2248 h 10000"/>
                <a:gd name="connsiteX1031" fmla="*/ 6664 w 10577"/>
                <a:gd name="connsiteY1031" fmla="*/ 2222 h 10000"/>
                <a:gd name="connsiteX1032" fmla="*/ 6654 w 10577"/>
                <a:gd name="connsiteY1032" fmla="*/ 2214 h 10000"/>
                <a:gd name="connsiteX1033" fmla="*/ 6654 w 10577"/>
                <a:gd name="connsiteY1033" fmla="*/ 2188 h 10000"/>
                <a:gd name="connsiteX1034" fmla="*/ 6622 w 10577"/>
                <a:gd name="connsiteY1034" fmla="*/ 2162 h 10000"/>
                <a:gd name="connsiteX1035" fmla="*/ 6631 w 10577"/>
                <a:gd name="connsiteY1035" fmla="*/ 2145 h 10000"/>
                <a:gd name="connsiteX1036" fmla="*/ 6622 w 10577"/>
                <a:gd name="connsiteY1036" fmla="*/ 2120 h 10000"/>
                <a:gd name="connsiteX1037" fmla="*/ 6608 w 10577"/>
                <a:gd name="connsiteY1037" fmla="*/ 2120 h 10000"/>
                <a:gd name="connsiteX1038" fmla="*/ 6604 w 10577"/>
                <a:gd name="connsiteY1038" fmla="*/ 2111 h 10000"/>
                <a:gd name="connsiteX1039" fmla="*/ 6608 w 10577"/>
                <a:gd name="connsiteY1039" fmla="*/ 2111 h 10000"/>
                <a:gd name="connsiteX1040" fmla="*/ 6604 w 10577"/>
                <a:gd name="connsiteY1040" fmla="*/ 2085 h 10000"/>
                <a:gd name="connsiteX1041" fmla="*/ 6581 w 10577"/>
                <a:gd name="connsiteY1041" fmla="*/ 2077 h 10000"/>
                <a:gd name="connsiteX1042" fmla="*/ 6571 w 10577"/>
                <a:gd name="connsiteY1042" fmla="*/ 2085 h 10000"/>
                <a:gd name="connsiteX1043" fmla="*/ 6548 w 10577"/>
                <a:gd name="connsiteY1043" fmla="*/ 2077 h 10000"/>
                <a:gd name="connsiteX1044" fmla="*/ 6530 w 10577"/>
                <a:gd name="connsiteY1044" fmla="*/ 2060 h 10000"/>
                <a:gd name="connsiteX1045" fmla="*/ 6521 w 10577"/>
                <a:gd name="connsiteY1045" fmla="*/ 2060 h 10000"/>
                <a:gd name="connsiteX1046" fmla="*/ 6521 w 10577"/>
                <a:gd name="connsiteY1046" fmla="*/ 2085 h 10000"/>
                <a:gd name="connsiteX1047" fmla="*/ 6516 w 10577"/>
                <a:gd name="connsiteY1047" fmla="*/ 2085 h 10000"/>
                <a:gd name="connsiteX1048" fmla="*/ 6502 w 10577"/>
                <a:gd name="connsiteY1048" fmla="*/ 2111 h 10000"/>
                <a:gd name="connsiteX1049" fmla="*/ 6498 w 10577"/>
                <a:gd name="connsiteY1049" fmla="*/ 2111 h 10000"/>
                <a:gd name="connsiteX1050" fmla="*/ 6498 w 10577"/>
                <a:gd name="connsiteY1050" fmla="*/ 2103 h 10000"/>
                <a:gd name="connsiteX1051" fmla="*/ 6475 w 10577"/>
                <a:gd name="connsiteY1051" fmla="*/ 2051 h 10000"/>
                <a:gd name="connsiteX1052" fmla="*/ 6470 w 10577"/>
                <a:gd name="connsiteY1052" fmla="*/ 2060 h 10000"/>
                <a:gd name="connsiteX1053" fmla="*/ 6456 w 10577"/>
                <a:gd name="connsiteY1053" fmla="*/ 2051 h 10000"/>
                <a:gd name="connsiteX1054" fmla="*/ 6447 w 10577"/>
                <a:gd name="connsiteY1054" fmla="*/ 2051 h 10000"/>
                <a:gd name="connsiteX1055" fmla="*/ 6433 w 10577"/>
                <a:gd name="connsiteY1055" fmla="*/ 2026 h 10000"/>
                <a:gd name="connsiteX1056" fmla="*/ 6433 w 10577"/>
                <a:gd name="connsiteY1056" fmla="*/ 2034 h 10000"/>
                <a:gd name="connsiteX1057" fmla="*/ 6429 w 10577"/>
                <a:gd name="connsiteY1057" fmla="*/ 2026 h 10000"/>
                <a:gd name="connsiteX1058" fmla="*/ 6424 w 10577"/>
                <a:gd name="connsiteY1058" fmla="*/ 2034 h 10000"/>
                <a:gd name="connsiteX1059" fmla="*/ 6410 w 10577"/>
                <a:gd name="connsiteY1059" fmla="*/ 2026 h 10000"/>
                <a:gd name="connsiteX1060" fmla="*/ 6410 w 10577"/>
                <a:gd name="connsiteY1060" fmla="*/ 1991 h 10000"/>
                <a:gd name="connsiteX1061" fmla="*/ 6401 w 10577"/>
                <a:gd name="connsiteY1061" fmla="*/ 1991 h 10000"/>
                <a:gd name="connsiteX1062" fmla="*/ 6396 w 10577"/>
                <a:gd name="connsiteY1062" fmla="*/ 2000 h 10000"/>
                <a:gd name="connsiteX1063" fmla="*/ 6382 w 10577"/>
                <a:gd name="connsiteY1063" fmla="*/ 1966 h 10000"/>
                <a:gd name="connsiteX1064" fmla="*/ 6373 w 10577"/>
                <a:gd name="connsiteY1064" fmla="*/ 1974 h 10000"/>
                <a:gd name="connsiteX1065" fmla="*/ 6369 w 10577"/>
                <a:gd name="connsiteY1065" fmla="*/ 1966 h 10000"/>
                <a:gd name="connsiteX1066" fmla="*/ 6341 w 10577"/>
                <a:gd name="connsiteY1066" fmla="*/ 1949 h 10000"/>
                <a:gd name="connsiteX1067" fmla="*/ 6327 w 10577"/>
                <a:gd name="connsiteY1067" fmla="*/ 1923 h 10000"/>
                <a:gd name="connsiteX1068" fmla="*/ 6323 w 10577"/>
                <a:gd name="connsiteY1068" fmla="*/ 1923 h 10000"/>
                <a:gd name="connsiteX1069" fmla="*/ 6323 w 10577"/>
                <a:gd name="connsiteY1069" fmla="*/ 1966 h 10000"/>
                <a:gd name="connsiteX1070" fmla="*/ 6323 w 10577"/>
                <a:gd name="connsiteY1070" fmla="*/ 1991 h 10000"/>
                <a:gd name="connsiteX1071" fmla="*/ 6313 w 10577"/>
                <a:gd name="connsiteY1071" fmla="*/ 1991 h 10000"/>
                <a:gd name="connsiteX1072" fmla="*/ 6300 w 10577"/>
                <a:gd name="connsiteY1072" fmla="*/ 1991 h 10000"/>
                <a:gd name="connsiteX1073" fmla="*/ 6290 w 10577"/>
                <a:gd name="connsiteY1073" fmla="*/ 1949 h 10000"/>
                <a:gd name="connsiteX1074" fmla="*/ 6276 w 10577"/>
                <a:gd name="connsiteY1074" fmla="*/ 2103 h 10000"/>
                <a:gd name="connsiteX1075" fmla="*/ 6281 w 10577"/>
                <a:gd name="connsiteY1075" fmla="*/ 2103 h 10000"/>
                <a:gd name="connsiteX1076" fmla="*/ 6276 w 10577"/>
                <a:gd name="connsiteY1076" fmla="*/ 2111 h 10000"/>
                <a:gd name="connsiteX1077" fmla="*/ 6276 w 10577"/>
                <a:gd name="connsiteY1077" fmla="*/ 2120 h 10000"/>
                <a:gd name="connsiteX1078" fmla="*/ 6295 w 10577"/>
                <a:gd name="connsiteY1078" fmla="*/ 2239 h 10000"/>
                <a:gd name="connsiteX1079" fmla="*/ 6290 w 10577"/>
                <a:gd name="connsiteY1079" fmla="*/ 2248 h 10000"/>
                <a:gd name="connsiteX1080" fmla="*/ 6281 w 10577"/>
                <a:gd name="connsiteY1080" fmla="*/ 2274 h 10000"/>
                <a:gd name="connsiteX1081" fmla="*/ 6249 w 10577"/>
                <a:gd name="connsiteY1081" fmla="*/ 2274 h 10000"/>
                <a:gd name="connsiteX1082" fmla="*/ 6226 w 10577"/>
                <a:gd name="connsiteY1082" fmla="*/ 2308 h 10000"/>
                <a:gd name="connsiteX1083" fmla="*/ 6221 w 10577"/>
                <a:gd name="connsiteY1083" fmla="*/ 2299 h 10000"/>
                <a:gd name="connsiteX1084" fmla="*/ 6221 w 10577"/>
                <a:gd name="connsiteY1084" fmla="*/ 2308 h 10000"/>
                <a:gd name="connsiteX1085" fmla="*/ 6217 w 10577"/>
                <a:gd name="connsiteY1085" fmla="*/ 2299 h 10000"/>
                <a:gd name="connsiteX1086" fmla="*/ 6194 w 10577"/>
                <a:gd name="connsiteY1086" fmla="*/ 2308 h 10000"/>
                <a:gd name="connsiteX1087" fmla="*/ 6180 w 10577"/>
                <a:gd name="connsiteY1087" fmla="*/ 2299 h 10000"/>
                <a:gd name="connsiteX1088" fmla="*/ 6143 w 10577"/>
                <a:gd name="connsiteY1088" fmla="*/ 2308 h 10000"/>
                <a:gd name="connsiteX1089" fmla="*/ 6134 w 10577"/>
                <a:gd name="connsiteY1089" fmla="*/ 2325 h 10000"/>
                <a:gd name="connsiteX1090" fmla="*/ 6115 w 10577"/>
                <a:gd name="connsiteY1090" fmla="*/ 2282 h 10000"/>
                <a:gd name="connsiteX1091" fmla="*/ 6069 w 10577"/>
                <a:gd name="connsiteY1091" fmla="*/ 2274 h 10000"/>
                <a:gd name="connsiteX1092" fmla="*/ 6069 w 10577"/>
                <a:gd name="connsiteY1092" fmla="*/ 2282 h 10000"/>
                <a:gd name="connsiteX1093" fmla="*/ 6060 w 10577"/>
                <a:gd name="connsiteY1093" fmla="*/ 2299 h 10000"/>
                <a:gd name="connsiteX1094" fmla="*/ 5972 w 10577"/>
                <a:gd name="connsiteY1094" fmla="*/ 2214 h 10000"/>
                <a:gd name="connsiteX1095" fmla="*/ 5968 w 10577"/>
                <a:gd name="connsiteY1095" fmla="*/ 2197 h 10000"/>
                <a:gd name="connsiteX1096" fmla="*/ 5968 w 10577"/>
                <a:gd name="connsiteY1096" fmla="*/ 2171 h 10000"/>
                <a:gd name="connsiteX1097" fmla="*/ 5968 w 10577"/>
                <a:gd name="connsiteY1097" fmla="*/ 2162 h 10000"/>
                <a:gd name="connsiteX1098" fmla="*/ 5968 w 10577"/>
                <a:gd name="connsiteY1098" fmla="*/ 2120 h 10000"/>
                <a:gd name="connsiteX1099" fmla="*/ 5968 w 10577"/>
                <a:gd name="connsiteY1099" fmla="*/ 2111 h 10000"/>
                <a:gd name="connsiteX1100" fmla="*/ 5972 w 10577"/>
                <a:gd name="connsiteY1100" fmla="*/ 2103 h 10000"/>
                <a:gd name="connsiteX1101" fmla="*/ 5986 w 10577"/>
                <a:gd name="connsiteY1101" fmla="*/ 2103 h 10000"/>
                <a:gd name="connsiteX1102" fmla="*/ 5986 w 10577"/>
                <a:gd name="connsiteY1102" fmla="*/ 2085 h 10000"/>
                <a:gd name="connsiteX1103" fmla="*/ 5995 w 10577"/>
                <a:gd name="connsiteY1103" fmla="*/ 2085 h 10000"/>
                <a:gd name="connsiteX1104" fmla="*/ 5995 w 10577"/>
                <a:gd name="connsiteY1104" fmla="*/ 2077 h 10000"/>
                <a:gd name="connsiteX1105" fmla="*/ 5986 w 10577"/>
                <a:gd name="connsiteY1105" fmla="*/ 2060 h 10000"/>
                <a:gd name="connsiteX1106" fmla="*/ 5954 w 10577"/>
                <a:gd name="connsiteY1106" fmla="*/ 2060 h 10000"/>
                <a:gd name="connsiteX1107" fmla="*/ 5940 w 10577"/>
                <a:gd name="connsiteY1107" fmla="*/ 2051 h 10000"/>
                <a:gd name="connsiteX1108" fmla="*/ 5922 w 10577"/>
                <a:gd name="connsiteY1108" fmla="*/ 2060 h 10000"/>
                <a:gd name="connsiteX1109" fmla="*/ 5885 w 10577"/>
                <a:gd name="connsiteY1109" fmla="*/ 2051 h 10000"/>
                <a:gd name="connsiteX1110" fmla="*/ 5876 w 10577"/>
                <a:gd name="connsiteY1110" fmla="*/ 2026 h 10000"/>
                <a:gd name="connsiteX1111" fmla="*/ 5862 w 10577"/>
                <a:gd name="connsiteY1111" fmla="*/ 2026 h 10000"/>
                <a:gd name="connsiteX1112" fmla="*/ 5848 w 10577"/>
                <a:gd name="connsiteY1112" fmla="*/ 2026 h 10000"/>
                <a:gd name="connsiteX1113" fmla="*/ 5825 w 10577"/>
                <a:gd name="connsiteY1113" fmla="*/ 2026 h 10000"/>
                <a:gd name="connsiteX1114" fmla="*/ 5788 w 10577"/>
                <a:gd name="connsiteY1114" fmla="*/ 1991 h 10000"/>
                <a:gd name="connsiteX1115" fmla="*/ 5760 w 10577"/>
                <a:gd name="connsiteY1115" fmla="*/ 2000 h 10000"/>
                <a:gd name="connsiteX1116" fmla="*/ 5760 w 10577"/>
                <a:gd name="connsiteY1116" fmla="*/ 2026 h 10000"/>
                <a:gd name="connsiteX1117" fmla="*/ 5714 w 10577"/>
                <a:gd name="connsiteY1117" fmla="*/ 2051 h 10000"/>
                <a:gd name="connsiteX1118" fmla="*/ 5687 w 10577"/>
                <a:gd name="connsiteY1118" fmla="*/ 2034 h 10000"/>
                <a:gd name="connsiteX1119" fmla="*/ 5645 w 10577"/>
                <a:gd name="connsiteY1119" fmla="*/ 2077 h 10000"/>
                <a:gd name="connsiteX1120" fmla="*/ 5664 w 10577"/>
                <a:gd name="connsiteY1120" fmla="*/ 2120 h 10000"/>
                <a:gd name="connsiteX1121" fmla="*/ 5664 w 10577"/>
                <a:gd name="connsiteY1121" fmla="*/ 2162 h 10000"/>
                <a:gd name="connsiteX1122" fmla="*/ 5631 w 10577"/>
                <a:gd name="connsiteY1122" fmla="*/ 2197 h 10000"/>
                <a:gd name="connsiteX1123" fmla="*/ 5618 w 10577"/>
                <a:gd name="connsiteY1123" fmla="*/ 2188 h 10000"/>
                <a:gd name="connsiteX1124" fmla="*/ 5618 w 10577"/>
                <a:gd name="connsiteY1124" fmla="*/ 2171 h 10000"/>
                <a:gd name="connsiteX1125" fmla="*/ 5641 w 10577"/>
                <a:gd name="connsiteY1125" fmla="*/ 2171 h 10000"/>
                <a:gd name="connsiteX1126" fmla="*/ 5641 w 10577"/>
                <a:gd name="connsiteY1126" fmla="*/ 2162 h 10000"/>
                <a:gd name="connsiteX1127" fmla="*/ 5627 w 10577"/>
                <a:gd name="connsiteY1127" fmla="*/ 2145 h 10000"/>
                <a:gd name="connsiteX1128" fmla="*/ 5627 w 10577"/>
                <a:gd name="connsiteY1128" fmla="*/ 2120 h 10000"/>
                <a:gd name="connsiteX1129" fmla="*/ 5618 w 10577"/>
                <a:gd name="connsiteY1129" fmla="*/ 2111 h 10000"/>
                <a:gd name="connsiteX1130" fmla="*/ 5631 w 10577"/>
                <a:gd name="connsiteY1130" fmla="*/ 2051 h 10000"/>
                <a:gd name="connsiteX1131" fmla="*/ 5631 w 10577"/>
                <a:gd name="connsiteY1131" fmla="*/ 2026 h 10000"/>
                <a:gd name="connsiteX1132" fmla="*/ 5627 w 10577"/>
                <a:gd name="connsiteY1132" fmla="*/ 1991 h 10000"/>
                <a:gd name="connsiteX1133" fmla="*/ 5618 w 10577"/>
                <a:gd name="connsiteY1133" fmla="*/ 1974 h 10000"/>
                <a:gd name="connsiteX1134" fmla="*/ 5618 w 10577"/>
                <a:gd name="connsiteY1134" fmla="*/ 1940 h 10000"/>
                <a:gd name="connsiteX1135" fmla="*/ 5594 w 10577"/>
                <a:gd name="connsiteY1135" fmla="*/ 1855 h 10000"/>
                <a:gd name="connsiteX1136" fmla="*/ 5599 w 10577"/>
                <a:gd name="connsiteY1136" fmla="*/ 1915 h 10000"/>
                <a:gd name="connsiteX1137" fmla="*/ 5599 w 10577"/>
                <a:gd name="connsiteY1137" fmla="*/ 1949 h 10000"/>
                <a:gd name="connsiteX1138" fmla="*/ 5594 w 10577"/>
                <a:gd name="connsiteY1138" fmla="*/ 1991 h 10000"/>
                <a:gd name="connsiteX1139" fmla="*/ 5571 w 10577"/>
                <a:gd name="connsiteY1139" fmla="*/ 2000 h 10000"/>
                <a:gd name="connsiteX1140" fmla="*/ 5530 w 10577"/>
                <a:gd name="connsiteY1140" fmla="*/ 1991 h 10000"/>
                <a:gd name="connsiteX1141" fmla="*/ 5525 w 10577"/>
                <a:gd name="connsiteY1141" fmla="*/ 2000 h 10000"/>
                <a:gd name="connsiteX1142" fmla="*/ 5521 w 10577"/>
                <a:gd name="connsiteY1142" fmla="*/ 1991 h 10000"/>
                <a:gd name="connsiteX1143" fmla="*/ 5498 w 10577"/>
                <a:gd name="connsiteY1143" fmla="*/ 1949 h 10000"/>
                <a:gd name="connsiteX1144" fmla="*/ 5493 w 10577"/>
                <a:gd name="connsiteY1144" fmla="*/ 1889 h 10000"/>
                <a:gd name="connsiteX1145" fmla="*/ 5493 w 10577"/>
                <a:gd name="connsiteY1145" fmla="*/ 1863 h 10000"/>
                <a:gd name="connsiteX1146" fmla="*/ 5498 w 10577"/>
                <a:gd name="connsiteY1146" fmla="*/ 1889 h 10000"/>
                <a:gd name="connsiteX1147" fmla="*/ 5512 w 10577"/>
                <a:gd name="connsiteY1147" fmla="*/ 1855 h 10000"/>
                <a:gd name="connsiteX1148" fmla="*/ 5512 w 10577"/>
                <a:gd name="connsiteY1148" fmla="*/ 1838 h 10000"/>
                <a:gd name="connsiteX1149" fmla="*/ 5479 w 10577"/>
                <a:gd name="connsiteY1149" fmla="*/ 1855 h 10000"/>
                <a:gd name="connsiteX1150" fmla="*/ 5470 w 10577"/>
                <a:gd name="connsiteY1150" fmla="*/ 1872 h 10000"/>
                <a:gd name="connsiteX1151" fmla="*/ 5470 w 10577"/>
                <a:gd name="connsiteY1151" fmla="*/ 1889 h 10000"/>
                <a:gd name="connsiteX1152" fmla="*/ 5465 w 10577"/>
                <a:gd name="connsiteY1152" fmla="*/ 1897 h 10000"/>
                <a:gd name="connsiteX1153" fmla="*/ 5456 w 10577"/>
                <a:gd name="connsiteY1153" fmla="*/ 1872 h 10000"/>
                <a:gd name="connsiteX1154" fmla="*/ 5447 w 10577"/>
                <a:gd name="connsiteY1154" fmla="*/ 1872 h 10000"/>
                <a:gd name="connsiteX1155" fmla="*/ 5433 w 10577"/>
                <a:gd name="connsiteY1155" fmla="*/ 1855 h 10000"/>
                <a:gd name="connsiteX1156" fmla="*/ 5396 w 10577"/>
                <a:gd name="connsiteY1156" fmla="*/ 1863 h 10000"/>
                <a:gd name="connsiteX1157" fmla="*/ 5396 w 10577"/>
                <a:gd name="connsiteY1157" fmla="*/ 1897 h 10000"/>
                <a:gd name="connsiteX1158" fmla="*/ 5378 w 10577"/>
                <a:gd name="connsiteY1158" fmla="*/ 1949 h 10000"/>
                <a:gd name="connsiteX1159" fmla="*/ 5378 w 10577"/>
                <a:gd name="connsiteY1159" fmla="*/ 1966 h 10000"/>
                <a:gd name="connsiteX1160" fmla="*/ 5392 w 10577"/>
                <a:gd name="connsiteY1160" fmla="*/ 2026 h 10000"/>
                <a:gd name="connsiteX1161" fmla="*/ 5396 w 10577"/>
                <a:gd name="connsiteY1161" fmla="*/ 2026 h 10000"/>
                <a:gd name="connsiteX1162" fmla="*/ 5392 w 10577"/>
                <a:gd name="connsiteY1162" fmla="*/ 2009 h 10000"/>
                <a:gd name="connsiteX1163" fmla="*/ 5392 w 10577"/>
                <a:gd name="connsiteY1163" fmla="*/ 2000 h 10000"/>
                <a:gd name="connsiteX1164" fmla="*/ 5396 w 10577"/>
                <a:gd name="connsiteY1164" fmla="*/ 2009 h 10000"/>
                <a:gd name="connsiteX1165" fmla="*/ 5424 w 10577"/>
                <a:gd name="connsiteY1165" fmla="*/ 2009 h 10000"/>
                <a:gd name="connsiteX1166" fmla="*/ 5433 w 10577"/>
                <a:gd name="connsiteY1166" fmla="*/ 1991 h 10000"/>
                <a:gd name="connsiteX1167" fmla="*/ 5447 w 10577"/>
                <a:gd name="connsiteY1167" fmla="*/ 1974 h 10000"/>
                <a:gd name="connsiteX1168" fmla="*/ 5452 w 10577"/>
                <a:gd name="connsiteY1168" fmla="*/ 1966 h 10000"/>
                <a:gd name="connsiteX1169" fmla="*/ 5456 w 10577"/>
                <a:gd name="connsiteY1169" fmla="*/ 1966 h 10000"/>
                <a:gd name="connsiteX1170" fmla="*/ 5465 w 10577"/>
                <a:gd name="connsiteY1170" fmla="*/ 2009 h 10000"/>
                <a:gd name="connsiteX1171" fmla="*/ 5433 w 10577"/>
                <a:gd name="connsiteY1171" fmla="*/ 2034 h 10000"/>
                <a:gd name="connsiteX1172" fmla="*/ 5424 w 10577"/>
                <a:gd name="connsiteY1172" fmla="*/ 2060 h 10000"/>
                <a:gd name="connsiteX1173" fmla="*/ 5419 w 10577"/>
                <a:gd name="connsiteY1173" fmla="*/ 2060 h 10000"/>
                <a:gd name="connsiteX1174" fmla="*/ 5392 w 10577"/>
                <a:gd name="connsiteY1174" fmla="*/ 2111 h 10000"/>
                <a:gd name="connsiteX1175" fmla="*/ 5378 w 10577"/>
                <a:gd name="connsiteY1175" fmla="*/ 2111 h 10000"/>
                <a:gd name="connsiteX1176" fmla="*/ 5350 w 10577"/>
                <a:gd name="connsiteY1176" fmla="*/ 2060 h 10000"/>
                <a:gd name="connsiteX1177" fmla="*/ 5373 w 10577"/>
                <a:gd name="connsiteY1177" fmla="*/ 2111 h 10000"/>
                <a:gd name="connsiteX1178" fmla="*/ 5364 w 10577"/>
                <a:gd name="connsiteY1178" fmla="*/ 2111 h 10000"/>
                <a:gd name="connsiteX1179" fmla="*/ 5359 w 10577"/>
                <a:gd name="connsiteY1179" fmla="*/ 2103 h 10000"/>
                <a:gd name="connsiteX1180" fmla="*/ 5359 w 10577"/>
                <a:gd name="connsiteY1180" fmla="*/ 2120 h 10000"/>
                <a:gd name="connsiteX1181" fmla="*/ 5359 w 10577"/>
                <a:gd name="connsiteY1181" fmla="*/ 2137 h 10000"/>
                <a:gd name="connsiteX1182" fmla="*/ 5313 w 10577"/>
                <a:gd name="connsiteY1182" fmla="*/ 2162 h 10000"/>
                <a:gd name="connsiteX1183" fmla="*/ 5300 w 10577"/>
                <a:gd name="connsiteY1183" fmla="*/ 2162 h 10000"/>
                <a:gd name="connsiteX1184" fmla="*/ 5300 w 10577"/>
                <a:gd name="connsiteY1184" fmla="*/ 2171 h 10000"/>
                <a:gd name="connsiteX1185" fmla="*/ 5300 w 10577"/>
                <a:gd name="connsiteY1185" fmla="*/ 2197 h 10000"/>
                <a:gd name="connsiteX1186" fmla="*/ 5276 w 10577"/>
                <a:gd name="connsiteY1186" fmla="*/ 2188 h 10000"/>
                <a:gd name="connsiteX1187" fmla="*/ 5249 w 10577"/>
                <a:gd name="connsiteY1187" fmla="*/ 2222 h 10000"/>
                <a:gd name="connsiteX1188" fmla="*/ 5249 w 10577"/>
                <a:gd name="connsiteY1188" fmla="*/ 2222 h 10000"/>
                <a:gd name="connsiteX1189" fmla="*/ 5217 w 10577"/>
                <a:gd name="connsiteY1189" fmla="*/ 2214 h 10000"/>
                <a:gd name="connsiteX1190" fmla="*/ 5203 w 10577"/>
                <a:gd name="connsiteY1190" fmla="*/ 2239 h 10000"/>
                <a:gd name="connsiteX1191" fmla="*/ 5171 w 10577"/>
                <a:gd name="connsiteY1191" fmla="*/ 2214 h 10000"/>
                <a:gd name="connsiteX1192" fmla="*/ 5157 w 10577"/>
                <a:gd name="connsiteY1192" fmla="*/ 2239 h 10000"/>
                <a:gd name="connsiteX1193" fmla="*/ 5166 w 10577"/>
                <a:gd name="connsiteY1193" fmla="*/ 2256 h 10000"/>
                <a:gd name="connsiteX1194" fmla="*/ 5171 w 10577"/>
                <a:gd name="connsiteY1194" fmla="*/ 2308 h 10000"/>
                <a:gd name="connsiteX1195" fmla="*/ 5212 w 10577"/>
                <a:gd name="connsiteY1195" fmla="*/ 2350 h 10000"/>
                <a:gd name="connsiteX1196" fmla="*/ 5203 w 10577"/>
                <a:gd name="connsiteY1196" fmla="*/ 2350 h 10000"/>
                <a:gd name="connsiteX1197" fmla="*/ 5166 w 10577"/>
                <a:gd name="connsiteY1197" fmla="*/ 2325 h 10000"/>
                <a:gd name="connsiteX1198" fmla="*/ 5152 w 10577"/>
                <a:gd name="connsiteY1198" fmla="*/ 2308 h 10000"/>
                <a:gd name="connsiteX1199" fmla="*/ 5143 w 10577"/>
                <a:gd name="connsiteY1199" fmla="*/ 2333 h 10000"/>
                <a:gd name="connsiteX1200" fmla="*/ 5138 w 10577"/>
                <a:gd name="connsiteY1200" fmla="*/ 2333 h 10000"/>
                <a:gd name="connsiteX1201" fmla="*/ 5124 w 10577"/>
                <a:gd name="connsiteY1201" fmla="*/ 2376 h 10000"/>
                <a:gd name="connsiteX1202" fmla="*/ 5115 w 10577"/>
                <a:gd name="connsiteY1202" fmla="*/ 2385 h 10000"/>
                <a:gd name="connsiteX1203" fmla="*/ 5106 w 10577"/>
                <a:gd name="connsiteY1203" fmla="*/ 2385 h 10000"/>
                <a:gd name="connsiteX1204" fmla="*/ 5055 w 10577"/>
                <a:gd name="connsiteY1204" fmla="*/ 2470 h 10000"/>
                <a:gd name="connsiteX1205" fmla="*/ 5065 w 10577"/>
                <a:gd name="connsiteY1205" fmla="*/ 2462 h 10000"/>
                <a:gd name="connsiteX1206" fmla="*/ 5055 w 10577"/>
                <a:gd name="connsiteY1206" fmla="*/ 2444 h 10000"/>
                <a:gd name="connsiteX1207" fmla="*/ 5041 w 10577"/>
                <a:gd name="connsiteY1207" fmla="*/ 2462 h 10000"/>
                <a:gd name="connsiteX1208" fmla="*/ 5037 w 10577"/>
                <a:gd name="connsiteY1208" fmla="*/ 2470 h 10000"/>
                <a:gd name="connsiteX1209" fmla="*/ 5032 w 10577"/>
                <a:gd name="connsiteY1209" fmla="*/ 2470 h 10000"/>
                <a:gd name="connsiteX1210" fmla="*/ 5032 w 10577"/>
                <a:gd name="connsiteY1210" fmla="*/ 2444 h 10000"/>
                <a:gd name="connsiteX1211" fmla="*/ 5055 w 10577"/>
                <a:gd name="connsiteY1211" fmla="*/ 2410 h 10000"/>
                <a:gd name="connsiteX1212" fmla="*/ 5065 w 10577"/>
                <a:gd name="connsiteY1212" fmla="*/ 2393 h 10000"/>
                <a:gd name="connsiteX1213" fmla="*/ 5069 w 10577"/>
                <a:gd name="connsiteY1213" fmla="*/ 2385 h 10000"/>
                <a:gd name="connsiteX1214" fmla="*/ 5083 w 10577"/>
                <a:gd name="connsiteY1214" fmla="*/ 2376 h 10000"/>
                <a:gd name="connsiteX1215" fmla="*/ 5097 w 10577"/>
                <a:gd name="connsiteY1215" fmla="*/ 2376 h 10000"/>
                <a:gd name="connsiteX1216" fmla="*/ 5124 w 10577"/>
                <a:gd name="connsiteY1216" fmla="*/ 2325 h 10000"/>
                <a:gd name="connsiteX1217" fmla="*/ 5143 w 10577"/>
                <a:gd name="connsiteY1217" fmla="*/ 2248 h 10000"/>
                <a:gd name="connsiteX1218" fmla="*/ 5152 w 10577"/>
                <a:gd name="connsiteY1218" fmla="*/ 2239 h 10000"/>
                <a:gd name="connsiteX1219" fmla="*/ 5166 w 10577"/>
                <a:gd name="connsiteY1219" fmla="*/ 2162 h 10000"/>
                <a:gd name="connsiteX1220" fmla="*/ 5171 w 10577"/>
                <a:gd name="connsiteY1220" fmla="*/ 2171 h 10000"/>
                <a:gd name="connsiteX1221" fmla="*/ 5198 w 10577"/>
                <a:gd name="connsiteY1221" fmla="*/ 2145 h 10000"/>
                <a:gd name="connsiteX1222" fmla="*/ 5203 w 10577"/>
                <a:gd name="connsiteY1222" fmla="*/ 2111 h 10000"/>
                <a:gd name="connsiteX1223" fmla="*/ 5217 w 10577"/>
                <a:gd name="connsiteY1223" fmla="*/ 2060 h 10000"/>
                <a:gd name="connsiteX1224" fmla="*/ 5226 w 10577"/>
                <a:gd name="connsiteY1224" fmla="*/ 2026 h 10000"/>
                <a:gd name="connsiteX1225" fmla="*/ 5286 w 10577"/>
                <a:gd name="connsiteY1225" fmla="*/ 2026 h 10000"/>
                <a:gd name="connsiteX1226" fmla="*/ 5290 w 10577"/>
                <a:gd name="connsiteY1226" fmla="*/ 2034 h 10000"/>
                <a:gd name="connsiteX1227" fmla="*/ 5323 w 10577"/>
                <a:gd name="connsiteY1227" fmla="*/ 1923 h 10000"/>
                <a:gd name="connsiteX1228" fmla="*/ 5323 w 10577"/>
                <a:gd name="connsiteY1228" fmla="*/ 1889 h 10000"/>
                <a:gd name="connsiteX1229" fmla="*/ 5359 w 10577"/>
                <a:gd name="connsiteY1229" fmla="*/ 1829 h 10000"/>
                <a:gd name="connsiteX1230" fmla="*/ 5378 w 10577"/>
                <a:gd name="connsiteY1230" fmla="*/ 1812 h 10000"/>
                <a:gd name="connsiteX1231" fmla="*/ 5406 w 10577"/>
                <a:gd name="connsiteY1231" fmla="*/ 1752 h 10000"/>
                <a:gd name="connsiteX1232" fmla="*/ 5410 w 10577"/>
                <a:gd name="connsiteY1232" fmla="*/ 1718 h 10000"/>
                <a:gd name="connsiteX1233" fmla="*/ 5438 w 10577"/>
                <a:gd name="connsiteY1233" fmla="*/ 1667 h 10000"/>
                <a:gd name="connsiteX1234" fmla="*/ 5438 w 10577"/>
                <a:gd name="connsiteY1234" fmla="*/ 1650 h 10000"/>
                <a:gd name="connsiteX1235" fmla="*/ 5438 w 10577"/>
                <a:gd name="connsiteY1235" fmla="*/ 1641 h 10000"/>
                <a:gd name="connsiteX1236" fmla="*/ 5452 w 10577"/>
                <a:gd name="connsiteY1236" fmla="*/ 1641 h 10000"/>
                <a:gd name="connsiteX1237" fmla="*/ 5456 w 10577"/>
                <a:gd name="connsiteY1237" fmla="*/ 1615 h 10000"/>
                <a:gd name="connsiteX1238" fmla="*/ 5456 w 10577"/>
                <a:gd name="connsiteY1238" fmla="*/ 1615 h 10000"/>
                <a:gd name="connsiteX1239" fmla="*/ 5465 w 10577"/>
                <a:gd name="connsiteY1239" fmla="*/ 1598 h 10000"/>
                <a:gd name="connsiteX1240" fmla="*/ 5465 w 10577"/>
                <a:gd name="connsiteY1240" fmla="*/ 1615 h 10000"/>
                <a:gd name="connsiteX1241" fmla="*/ 5479 w 10577"/>
                <a:gd name="connsiteY1241" fmla="*/ 1598 h 10000"/>
                <a:gd name="connsiteX1242" fmla="*/ 5484 w 10577"/>
                <a:gd name="connsiteY1242" fmla="*/ 1581 h 10000"/>
                <a:gd name="connsiteX1243" fmla="*/ 5493 w 10577"/>
                <a:gd name="connsiteY1243" fmla="*/ 1581 h 10000"/>
                <a:gd name="connsiteX1244" fmla="*/ 5512 w 10577"/>
                <a:gd name="connsiteY1244" fmla="*/ 1538 h 10000"/>
                <a:gd name="connsiteX1245" fmla="*/ 5530 w 10577"/>
                <a:gd name="connsiteY1245" fmla="*/ 1564 h 10000"/>
                <a:gd name="connsiteX1246" fmla="*/ 5530 w 10577"/>
                <a:gd name="connsiteY1246" fmla="*/ 1538 h 10000"/>
                <a:gd name="connsiteX1247" fmla="*/ 5539 w 10577"/>
                <a:gd name="connsiteY1247" fmla="*/ 1530 h 10000"/>
                <a:gd name="connsiteX1248" fmla="*/ 5530 w 10577"/>
                <a:gd name="connsiteY1248" fmla="*/ 1504 h 10000"/>
                <a:gd name="connsiteX1249" fmla="*/ 5567 w 10577"/>
                <a:gd name="connsiteY1249" fmla="*/ 1479 h 10000"/>
                <a:gd name="connsiteX1250" fmla="*/ 5553 w 10577"/>
                <a:gd name="connsiteY1250" fmla="*/ 1479 h 10000"/>
                <a:gd name="connsiteX1251" fmla="*/ 5553 w 10577"/>
                <a:gd name="connsiteY1251" fmla="*/ 1453 h 10000"/>
                <a:gd name="connsiteX1252" fmla="*/ 5581 w 10577"/>
                <a:gd name="connsiteY1252" fmla="*/ 1444 h 10000"/>
                <a:gd name="connsiteX1253" fmla="*/ 5581 w 10577"/>
                <a:gd name="connsiteY1253" fmla="*/ 1453 h 10000"/>
                <a:gd name="connsiteX1254" fmla="*/ 5585 w 10577"/>
                <a:gd name="connsiteY1254" fmla="*/ 1444 h 10000"/>
                <a:gd name="connsiteX1255" fmla="*/ 5594 w 10577"/>
                <a:gd name="connsiteY1255" fmla="*/ 1427 h 10000"/>
                <a:gd name="connsiteX1256" fmla="*/ 5599 w 10577"/>
                <a:gd name="connsiteY1256" fmla="*/ 1419 h 10000"/>
                <a:gd name="connsiteX1257" fmla="*/ 5594 w 10577"/>
                <a:gd name="connsiteY1257" fmla="*/ 1402 h 10000"/>
                <a:gd name="connsiteX1258" fmla="*/ 5604 w 10577"/>
                <a:gd name="connsiteY1258" fmla="*/ 1393 h 10000"/>
                <a:gd name="connsiteX1259" fmla="*/ 5618 w 10577"/>
                <a:gd name="connsiteY1259" fmla="*/ 1393 h 10000"/>
                <a:gd name="connsiteX1260" fmla="*/ 5627 w 10577"/>
                <a:gd name="connsiteY1260" fmla="*/ 1368 h 10000"/>
                <a:gd name="connsiteX1261" fmla="*/ 5627 w 10577"/>
                <a:gd name="connsiteY1261" fmla="*/ 1325 h 10000"/>
                <a:gd name="connsiteX1262" fmla="*/ 5645 w 10577"/>
                <a:gd name="connsiteY1262" fmla="*/ 1291 h 10000"/>
                <a:gd name="connsiteX1263" fmla="*/ 5645 w 10577"/>
                <a:gd name="connsiteY1263" fmla="*/ 1282 h 10000"/>
                <a:gd name="connsiteX1264" fmla="*/ 5654 w 10577"/>
                <a:gd name="connsiteY1264" fmla="*/ 1265 h 10000"/>
                <a:gd name="connsiteX1265" fmla="*/ 5654 w 10577"/>
                <a:gd name="connsiteY1265" fmla="*/ 1214 h 10000"/>
                <a:gd name="connsiteX1266" fmla="*/ 5654 w 10577"/>
                <a:gd name="connsiteY1266" fmla="*/ 1214 h 10000"/>
                <a:gd name="connsiteX1267" fmla="*/ 5645 w 10577"/>
                <a:gd name="connsiteY1267" fmla="*/ 1197 h 10000"/>
                <a:gd name="connsiteX1268" fmla="*/ 5659 w 10577"/>
                <a:gd name="connsiteY1268" fmla="*/ 1197 h 10000"/>
                <a:gd name="connsiteX1269" fmla="*/ 5654 w 10577"/>
                <a:gd name="connsiteY1269" fmla="*/ 1154 h 10000"/>
                <a:gd name="connsiteX1270" fmla="*/ 5641 w 10577"/>
                <a:gd name="connsiteY1270" fmla="*/ 1154 h 10000"/>
                <a:gd name="connsiteX1271" fmla="*/ 5627 w 10577"/>
                <a:gd name="connsiteY1271" fmla="*/ 1128 h 10000"/>
                <a:gd name="connsiteX1272" fmla="*/ 5618 w 10577"/>
                <a:gd name="connsiteY1272" fmla="*/ 1094 h 10000"/>
                <a:gd name="connsiteX1273" fmla="*/ 5613 w 10577"/>
                <a:gd name="connsiteY1273" fmla="*/ 1094 h 10000"/>
                <a:gd name="connsiteX1274" fmla="*/ 5604 w 10577"/>
                <a:gd name="connsiteY1274" fmla="*/ 1120 h 10000"/>
                <a:gd name="connsiteX1275" fmla="*/ 5604 w 10577"/>
                <a:gd name="connsiteY1275" fmla="*/ 1128 h 10000"/>
                <a:gd name="connsiteX1276" fmla="*/ 5599 w 10577"/>
                <a:gd name="connsiteY1276" fmla="*/ 1103 h 10000"/>
                <a:gd name="connsiteX1277" fmla="*/ 5599 w 10577"/>
                <a:gd name="connsiteY1277" fmla="*/ 1103 h 10000"/>
                <a:gd name="connsiteX1278" fmla="*/ 5594 w 10577"/>
                <a:gd name="connsiteY1278" fmla="*/ 1068 h 10000"/>
                <a:gd name="connsiteX1279" fmla="*/ 5594 w 10577"/>
                <a:gd name="connsiteY1279" fmla="*/ 1060 h 10000"/>
                <a:gd name="connsiteX1280" fmla="*/ 5581 w 10577"/>
                <a:gd name="connsiteY1280" fmla="*/ 1034 h 10000"/>
                <a:gd name="connsiteX1281" fmla="*/ 5571 w 10577"/>
                <a:gd name="connsiteY1281" fmla="*/ 1009 h 10000"/>
                <a:gd name="connsiteX1282" fmla="*/ 5571 w 10577"/>
                <a:gd name="connsiteY1282" fmla="*/ 991 h 10000"/>
                <a:gd name="connsiteX1283" fmla="*/ 5585 w 10577"/>
                <a:gd name="connsiteY1283" fmla="*/ 1009 h 10000"/>
                <a:gd name="connsiteX1284" fmla="*/ 5604 w 10577"/>
                <a:gd name="connsiteY1284" fmla="*/ 1043 h 10000"/>
                <a:gd name="connsiteX1285" fmla="*/ 5641 w 10577"/>
                <a:gd name="connsiteY1285" fmla="*/ 1094 h 10000"/>
                <a:gd name="connsiteX1286" fmla="*/ 5631 w 10577"/>
                <a:gd name="connsiteY1286" fmla="*/ 1128 h 10000"/>
                <a:gd name="connsiteX1287" fmla="*/ 5641 w 10577"/>
                <a:gd name="connsiteY1287" fmla="*/ 1128 h 10000"/>
                <a:gd name="connsiteX1288" fmla="*/ 5659 w 10577"/>
                <a:gd name="connsiteY1288" fmla="*/ 1017 h 10000"/>
                <a:gd name="connsiteX1289" fmla="*/ 5659 w 10577"/>
                <a:gd name="connsiteY1289" fmla="*/ 983 h 10000"/>
                <a:gd name="connsiteX1290" fmla="*/ 5659 w 10577"/>
                <a:gd name="connsiteY1290" fmla="*/ 957 h 10000"/>
                <a:gd name="connsiteX1291" fmla="*/ 5654 w 10577"/>
                <a:gd name="connsiteY1291" fmla="*/ 966 h 10000"/>
                <a:gd name="connsiteX1292" fmla="*/ 5641 w 10577"/>
                <a:gd name="connsiteY1292" fmla="*/ 957 h 10000"/>
                <a:gd name="connsiteX1293" fmla="*/ 5631 w 10577"/>
                <a:gd name="connsiteY1293" fmla="*/ 897 h 10000"/>
                <a:gd name="connsiteX1294" fmla="*/ 5641 w 10577"/>
                <a:gd name="connsiteY1294" fmla="*/ 872 h 10000"/>
                <a:gd name="connsiteX1295" fmla="*/ 5618 w 10577"/>
                <a:gd name="connsiteY1295" fmla="*/ 803 h 10000"/>
                <a:gd name="connsiteX1296" fmla="*/ 5604 w 10577"/>
                <a:gd name="connsiteY1296" fmla="*/ 821 h 10000"/>
                <a:gd name="connsiteX1297" fmla="*/ 5613 w 10577"/>
                <a:gd name="connsiteY1297" fmla="*/ 846 h 10000"/>
                <a:gd name="connsiteX1298" fmla="*/ 5604 w 10577"/>
                <a:gd name="connsiteY1298" fmla="*/ 855 h 10000"/>
                <a:gd name="connsiteX1299" fmla="*/ 5599 w 10577"/>
                <a:gd name="connsiteY1299" fmla="*/ 880 h 10000"/>
                <a:gd name="connsiteX1300" fmla="*/ 5594 w 10577"/>
                <a:gd name="connsiteY1300" fmla="*/ 880 h 10000"/>
                <a:gd name="connsiteX1301" fmla="*/ 5585 w 10577"/>
                <a:gd name="connsiteY1301" fmla="*/ 829 h 10000"/>
                <a:gd name="connsiteX1302" fmla="*/ 5571 w 10577"/>
                <a:gd name="connsiteY1302" fmla="*/ 803 h 10000"/>
                <a:gd name="connsiteX1303" fmla="*/ 5585 w 10577"/>
                <a:gd name="connsiteY1303" fmla="*/ 795 h 10000"/>
                <a:gd name="connsiteX1304" fmla="*/ 5585 w 10577"/>
                <a:gd name="connsiteY1304" fmla="*/ 761 h 10000"/>
                <a:gd name="connsiteX1305" fmla="*/ 5558 w 10577"/>
                <a:gd name="connsiteY1305" fmla="*/ 709 h 10000"/>
                <a:gd name="connsiteX1306" fmla="*/ 5544 w 10577"/>
                <a:gd name="connsiteY1306" fmla="*/ 709 h 10000"/>
                <a:gd name="connsiteX1307" fmla="*/ 5544 w 10577"/>
                <a:gd name="connsiteY1307" fmla="*/ 684 h 10000"/>
                <a:gd name="connsiteX1308" fmla="*/ 5525 w 10577"/>
                <a:gd name="connsiteY1308" fmla="*/ 632 h 10000"/>
                <a:gd name="connsiteX1309" fmla="*/ 5507 w 10577"/>
                <a:gd name="connsiteY1309" fmla="*/ 607 h 10000"/>
                <a:gd name="connsiteX1310" fmla="*/ 5512 w 10577"/>
                <a:gd name="connsiteY1310" fmla="*/ 598 h 10000"/>
                <a:gd name="connsiteX1311" fmla="*/ 5507 w 10577"/>
                <a:gd name="connsiteY1311" fmla="*/ 581 h 10000"/>
                <a:gd name="connsiteX1312" fmla="*/ 5493 w 10577"/>
                <a:gd name="connsiteY1312" fmla="*/ 573 h 10000"/>
                <a:gd name="connsiteX1313" fmla="*/ 5484 w 10577"/>
                <a:gd name="connsiteY1313" fmla="*/ 581 h 10000"/>
                <a:gd name="connsiteX1314" fmla="*/ 5484 w 10577"/>
                <a:gd name="connsiteY1314" fmla="*/ 573 h 10000"/>
                <a:gd name="connsiteX1315" fmla="*/ 5484 w 10577"/>
                <a:gd name="connsiteY1315" fmla="*/ 547 h 10000"/>
                <a:gd name="connsiteX1316" fmla="*/ 5465 w 10577"/>
                <a:gd name="connsiteY1316" fmla="*/ 556 h 10000"/>
                <a:gd name="connsiteX1317" fmla="*/ 5433 w 10577"/>
                <a:gd name="connsiteY1317" fmla="*/ 547 h 10000"/>
                <a:gd name="connsiteX1318" fmla="*/ 5410 w 10577"/>
                <a:gd name="connsiteY1318" fmla="*/ 573 h 10000"/>
                <a:gd name="connsiteX1319" fmla="*/ 5406 w 10577"/>
                <a:gd name="connsiteY1319" fmla="*/ 573 h 10000"/>
                <a:gd name="connsiteX1320" fmla="*/ 5392 w 10577"/>
                <a:gd name="connsiteY1320" fmla="*/ 573 h 10000"/>
                <a:gd name="connsiteX1321" fmla="*/ 5364 w 10577"/>
                <a:gd name="connsiteY1321" fmla="*/ 530 h 10000"/>
                <a:gd name="connsiteX1322" fmla="*/ 5350 w 10577"/>
                <a:gd name="connsiteY1322" fmla="*/ 556 h 10000"/>
                <a:gd name="connsiteX1323" fmla="*/ 5346 w 10577"/>
                <a:gd name="connsiteY1323" fmla="*/ 556 h 10000"/>
                <a:gd name="connsiteX1324" fmla="*/ 5313 w 10577"/>
                <a:gd name="connsiteY1324" fmla="*/ 573 h 10000"/>
                <a:gd name="connsiteX1325" fmla="*/ 5304 w 10577"/>
                <a:gd name="connsiteY1325" fmla="*/ 556 h 10000"/>
                <a:gd name="connsiteX1326" fmla="*/ 5290 w 10577"/>
                <a:gd name="connsiteY1326" fmla="*/ 573 h 10000"/>
                <a:gd name="connsiteX1327" fmla="*/ 5290 w 10577"/>
                <a:gd name="connsiteY1327" fmla="*/ 556 h 10000"/>
                <a:gd name="connsiteX1328" fmla="*/ 5300 w 10577"/>
                <a:gd name="connsiteY1328" fmla="*/ 547 h 10000"/>
                <a:gd name="connsiteX1329" fmla="*/ 5300 w 10577"/>
                <a:gd name="connsiteY1329" fmla="*/ 530 h 10000"/>
                <a:gd name="connsiteX1330" fmla="*/ 5290 w 10577"/>
                <a:gd name="connsiteY1330" fmla="*/ 530 h 10000"/>
                <a:gd name="connsiteX1331" fmla="*/ 5286 w 10577"/>
                <a:gd name="connsiteY1331" fmla="*/ 547 h 10000"/>
                <a:gd name="connsiteX1332" fmla="*/ 5272 w 10577"/>
                <a:gd name="connsiteY1332" fmla="*/ 556 h 10000"/>
                <a:gd name="connsiteX1333" fmla="*/ 5272 w 10577"/>
                <a:gd name="connsiteY1333" fmla="*/ 598 h 10000"/>
                <a:gd name="connsiteX1334" fmla="*/ 5276 w 10577"/>
                <a:gd name="connsiteY1334" fmla="*/ 581 h 10000"/>
                <a:gd name="connsiteX1335" fmla="*/ 5272 w 10577"/>
                <a:gd name="connsiteY1335" fmla="*/ 607 h 10000"/>
                <a:gd name="connsiteX1336" fmla="*/ 5263 w 10577"/>
                <a:gd name="connsiteY1336" fmla="*/ 607 h 10000"/>
                <a:gd name="connsiteX1337" fmla="*/ 5263 w 10577"/>
                <a:gd name="connsiteY1337" fmla="*/ 632 h 10000"/>
                <a:gd name="connsiteX1338" fmla="*/ 5258 w 10577"/>
                <a:gd name="connsiteY1338" fmla="*/ 658 h 10000"/>
                <a:gd name="connsiteX1339" fmla="*/ 5244 w 10577"/>
                <a:gd name="connsiteY1339" fmla="*/ 667 h 10000"/>
                <a:gd name="connsiteX1340" fmla="*/ 5240 w 10577"/>
                <a:gd name="connsiteY1340" fmla="*/ 658 h 10000"/>
                <a:gd name="connsiteX1341" fmla="*/ 5240 w 10577"/>
                <a:gd name="connsiteY1341" fmla="*/ 684 h 10000"/>
                <a:gd name="connsiteX1342" fmla="*/ 5212 w 10577"/>
                <a:gd name="connsiteY1342" fmla="*/ 684 h 10000"/>
                <a:gd name="connsiteX1343" fmla="*/ 5198 w 10577"/>
                <a:gd name="connsiteY1343" fmla="*/ 692 h 10000"/>
                <a:gd name="connsiteX1344" fmla="*/ 5184 w 10577"/>
                <a:gd name="connsiteY1344" fmla="*/ 684 h 10000"/>
                <a:gd name="connsiteX1345" fmla="*/ 5157 w 10577"/>
                <a:gd name="connsiteY1345" fmla="*/ 684 h 10000"/>
                <a:gd name="connsiteX1346" fmla="*/ 5157 w 10577"/>
                <a:gd name="connsiteY1346" fmla="*/ 667 h 10000"/>
                <a:gd name="connsiteX1347" fmla="*/ 5157 w 10577"/>
                <a:gd name="connsiteY1347" fmla="*/ 667 h 10000"/>
                <a:gd name="connsiteX1348" fmla="*/ 5180 w 10577"/>
                <a:gd name="connsiteY1348" fmla="*/ 650 h 10000"/>
                <a:gd name="connsiteX1349" fmla="*/ 5184 w 10577"/>
                <a:gd name="connsiteY1349" fmla="*/ 658 h 10000"/>
                <a:gd name="connsiteX1350" fmla="*/ 5203 w 10577"/>
                <a:gd name="connsiteY1350" fmla="*/ 547 h 10000"/>
                <a:gd name="connsiteX1351" fmla="*/ 5226 w 10577"/>
                <a:gd name="connsiteY1351" fmla="*/ 530 h 10000"/>
                <a:gd name="connsiteX1352" fmla="*/ 5230 w 10577"/>
                <a:gd name="connsiteY1352" fmla="*/ 487 h 10000"/>
                <a:gd name="connsiteX1353" fmla="*/ 5230 w 10577"/>
                <a:gd name="connsiteY1353" fmla="*/ 487 h 10000"/>
                <a:gd name="connsiteX1354" fmla="*/ 5226 w 10577"/>
                <a:gd name="connsiteY1354" fmla="*/ 462 h 10000"/>
                <a:gd name="connsiteX1355" fmla="*/ 5226 w 10577"/>
                <a:gd name="connsiteY1355" fmla="*/ 462 h 10000"/>
                <a:gd name="connsiteX1356" fmla="*/ 5240 w 10577"/>
                <a:gd name="connsiteY1356" fmla="*/ 462 h 10000"/>
                <a:gd name="connsiteX1357" fmla="*/ 5240 w 10577"/>
                <a:gd name="connsiteY1357" fmla="*/ 444 h 10000"/>
                <a:gd name="connsiteX1358" fmla="*/ 5230 w 10577"/>
                <a:gd name="connsiteY1358" fmla="*/ 436 h 10000"/>
                <a:gd name="connsiteX1359" fmla="*/ 5230 w 10577"/>
                <a:gd name="connsiteY1359" fmla="*/ 419 h 10000"/>
                <a:gd name="connsiteX1360" fmla="*/ 5230 w 10577"/>
                <a:gd name="connsiteY1360" fmla="*/ 410 h 10000"/>
                <a:gd name="connsiteX1361" fmla="*/ 5198 w 10577"/>
                <a:gd name="connsiteY1361" fmla="*/ 402 h 10000"/>
                <a:gd name="connsiteX1362" fmla="*/ 5189 w 10577"/>
                <a:gd name="connsiteY1362" fmla="*/ 402 h 10000"/>
                <a:gd name="connsiteX1363" fmla="*/ 5184 w 10577"/>
                <a:gd name="connsiteY1363" fmla="*/ 376 h 10000"/>
                <a:gd name="connsiteX1364" fmla="*/ 5180 w 10577"/>
                <a:gd name="connsiteY1364" fmla="*/ 376 h 10000"/>
                <a:gd name="connsiteX1365" fmla="*/ 5166 w 10577"/>
                <a:gd name="connsiteY1365" fmla="*/ 376 h 10000"/>
                <a:gd name="connsiteX1366" fmla="*/ 5157 w 10577"/>
                <a:gd name="connsiteY1366" fmla="*/ 385 h 10000"/>
                <a:gd name="connsiteX1367" fmla="*/ 5152 w 10577"/>
                <a:gd name="connsiteY1367" fmla="*/ 376 h 10000"/>
                <a:gd name="connsiteX1368" fmla="*/ 5129 w 10577"/>
                <a:gd name="connsiteY1368" fmla="*/ 385 h 10000"/>
                <a:gd name="connsiteX1369" fmla="*/ 5129 w 10577"/>
                <a:gd name="connsiteY1369" fmla="*/ 350 h 10000"/>
                <a:gd name="connsiteX1370" fmla="*/ 5129 w 10577"/>
                <a:gd name="connsiteY1370" fmla="*/ 325 h 10000"/>
                <a:gd name="connsiteX1371" fmla="*/ 5124 w 10577"/>
                <a:gd name="connsiteY1371" fmla="*/ 359 h 10000"/>
                <a:gd name="connsiteX1372" fmla="*/ 5106 w 10577"/>
                <a:gd name="connsiteY1372" fmla="*/ 359 h 10000"/>
                <a:gd name="connsiteX1373" fmla="*/ 5037 w 10577"/>
                <a:gd name="connsiteY1373" fmla="*/ 419 h 10000"/>
                <a:gd name="connsiteX1374" fmla="*/ 5051 w 10577"/>
                <a:gd name="connsiteY1374" fmla="*/ 385 h 10000"/>
                <a:gd name="connsiteX1375" fmla="*/ 5055 w 10577"/>
                <a:gd name="connsiteY1375" fmla="*/ 376 h 10000"/>
                <a:gd name="connsiteX1376" fmla="*/ 5092 w 10577"/>
                <a:gd name="connsiteY1376" fmla="*/ 282 h 10000"/>
                <a:gd name="connsiteX1377" fmla="*/ 5106 w 10577"/>
                <a:gd name="connsiteY1377" fmla="*/ 265 h 10000"/>
                <a:gd name="connsiteX1378" fmla="*/ 5115 w 10577"/>
                <a:gd name="connsiteY1378" fmla="*/ 265 h 10000"/>
                <a:gd name="connsiteX1379" fmla="*/ 5124 w 10577"/>
                <a:gd name="connsiteY1379" fmla="*/ 222 h 10000"/>
                <a:gd name="connsiteX1380" fmla="*/ 5124 w 10577"/>
                <a:gd name="connsiteY1380" fmla="*/ 214 h 10000"/>
                <a:gd name="connsiteX1381" fmla="*/ 5143 w 10577"/>
                <a:gd name="connsiteY1381" fmla="*/ 197 h 10000"/>
                <a:gd name="connsiteX1382" fmla="*/ 5152 w 10577"/>
                <a:gd name="connsiteY1382" fmla="*/ 214 h 10000"/>
                <a:gd name="connsiteX1383" fmla="*/ 5143 w 10577"/>
                <a:gd name="connsiteY1383" fmla="*/ 188 h 10000"/>
                <a:gd name="connsiteX1384" fmla="*/ 5129 w 10577"/>
                <a:gd name="connsiteY1384" fmla="*/ 103 h 10000"/>
                <a:gd name="connsiteX1385" fmla="*/ 5115 w 10577"/>
                <a:gd name="connsiteY1385" fmla="*/ 85 h 10000"/>
                <a:gd name="connsiteX1386" fmla="*/ 5111 w 10577"/>
                <a:gd name="connsiteY1386" fmla="*/ 111 h 10000"/>
                <a:gd name="connsiteX1387" fmla="*/ 5092 w 10577"/>
                <a:gd name="connsiteY1387" fmla="*/ 103 h 10000"/>
                <a:gd name="connsiteX1388" fmla="*/ 5069 w 10577"/>
                <a:gd name="connsiteY1388" fmla="*/ 77 h 10000"/>
                <a:gd name="connsiteX1389" fmla="*/ 5051 w 10577"/>
                <a:gd name="connsiteY1389" fmla="*/ 26 h 10000"/>
                <a:gd name="connsiteX1390" fmla="*/ 5041 w 10577"/>
                <a:gd name="connsiteY1390" fmla="*/ 34 h 10000"/>
                <a:gd name="connsiteX1391" fmla="*/ 5037 w 10577"/>
                <a:gd name="connsiteY1391" fmla="*/ 34 h 10000"/>
                <a:gd name="connsiteX1392" fmla="*/ 5037 w 10577"/>
                <a:gd name="connsiteY1392" fmla="*/ 26 h 10000"/>
                <a:gd name="connsiteX1393" fmla="*/ 5037 w 10577"/>
                <a:gd name="connsiteY1393" fmla="*/ 9 h 10000"/>
                <a:gd name="connsiteX1394" fmla="*/ 5023 w 10577"/>
                <a:gd name="connsiteY1394" fmla="*/ 0 h 10000"/>
                <a:gd name="connsiteX1395" fmla="*/ 5009 w 10577"/>
                <a:gd name="connsiteY1395" fmla="*/ 9 h 10000"/>
                <a:gd name="connsiteX1396" fmla="*/ 4995 w 10577"/>
                <a:gd name="connsiteY1396" fmla="*/ 34 h 10000"/>
                <a:gd name="connsiteX1397" fmla="*/ 4991 w 10577"/>
                <a:gd name="connsiteY1397" fmla="*/ 60 h 10000"/>
                <a:gd name="connsiteX1398" fmla="*/ 4982 w 10577"/>
                <a:gd name="connsiteY1398" fmla="*/ 60 h 10000"/>
                <a:gd name="connsiteX1399" fmla="*/ 4949 w 10577"/>
                <a:gd name="connsiteY1399" fmla="*/ 51 h 10000"/>
                <a:gd name="connsiteX1400" fmla="*/ 4949 w 10577"/>
                <a:gd name="connsiteY1400" fmla="*/ 85 h 10000"/>
                <a:gd name="connsiteX1401" fmla="*/ 4903 w 10577"/>
                <a:gd name="connsiteY1401" fmla="*/ 197 h 10000"/>
                <a:gd name="connsiteX1402" fmla="*/ 4899 w 10577"/>
                <a:gd name="connsiteY1402" fmla="*/ 239 h 10000"/>
                <a:gd name="connsiteX1403" fmla="*/ 4871 w 10577"/>
                <a:gd name="connsiteY1403" fmla="*/ 274 h 10000"/>
                <a:gd name="connsiteX1404" fmla="*/ 4871 w 10577"/>
                <a:gd name="connsiteY1404" fmla="*/ 282 h 10000"/>
                <a:gd name="connsiteX1405" fmla="*/ 4834 w 10577"/>
                <a:gd name="connsiteY1405" fmla="*/ 376 h 10000"/>
                <a:gd name="connsiteX1406" fmla="*/ 4829 w 10577"/>
                <a:gd name="connsiteY1406" fmla="*/ 402 h 10000"/>
                <a:gd name="connsiteX1407" fmla="*/ 4834 w 10577"/>
                <a:gd name="connsiteY1407" fmla="*/ 410 h 10000"/>
                <a:gd name="connsiteX1408" fmla="*/ 4829 w 10577"/>
                <a:gd name="connsiteY1408" fmla="*/ 436 h 10000"/>
                <a:gd name="connsiteX1409" fmla="*/ 4825 w 10577"/>
                <a:gd name="connsiteY1409" fmla="*/ 436 h 10000"/>
                <a:gd name="connsiteX1410" fmla="*/ 4825 w 10577"/>
                <a:gd name="connsiteY1410" fmla="*/ 444 h 10000"/>
                <a:gd name="connsiteX1411" fmla="*/ 4811 w 10577"/>
                <a:gd name="connsiteY1411" fmla="*/ 496 h 10000"/>
                <a:gd name="connsiteX1412" fmla="*/ 4811 w 10577"/>
                <a:gd name="connsiteY1412" fmla="*/ 496 h 10000"/>
                <a:gd name="connsiteX1413" fmla="*/ 4811 w 10577"/>
                <a:gd name="connsiteY1413" fmla="*/ 521 h 10000"/>
                <a:gd name="connsiteX1414" fmla="*/ 4816 w 10577"/>
                <a:gd name="connsiteY1414" fmla="*/ 530 h 10000"/>
                <a:gd name="connsiteX1415" fmla="*/ 4834 w 10577"/>
                <a:gd name="connsiteY1415" fmla="*/ 547 h 10000"/>
                <a:gd name="connsiteX1416" fmla="*/ 4834 w 10577"/>
                <a:gd name="connsiteY1416" fmla="*/ 581 h 10000"/>
                <a:gd name="connsiteX1417" fmla="*/ 4843 w 10577"/>
                <a:gd name="connsiteY1417" fmla="*/ 581 h 10000"/>
                <a:gd name="connsiteX1418" fmla="*/ 4843 w 10577"/>
                <a:gd name="connsiteY1418" fmla="*/ 598 h 10000"/>
                <a:gd name="connsiteX1419" fmla="*/ 4829 w 10577"/>
                <a:gd name="connsiteY1419" fmla="*/ 598 h 10000"/>
                <a:gd name="connsiteX1420" fmla="*/ 4829 w 10577"/>
                <a:gd name="connsiteY1420" fmla="*/ 573 h 10000"/>
                <a:gd name="connsiteX1421" fmla="*/ 4829 w 10577"/>
                <a:gd name="connsiteY1421" fmla="*/ 632 h 10000"/>
                <a:gd name="connsiteX1422" fmla="*/ 4829 w 10577"/>
                <a:gd name="connsiteY1422" fmla="*/ 632 h 10000"/>
                <a:gd name="connsiteX1423" fmla="*/ 4829 w 10577"/>
                <a:gd name="connsiteY1423" fmla="*/ 650 h 10000"/>
                <a:gd name="connsiteX1424" fmla="*/ 4774 w 10577"/>
                <a:gd name="connsiteY1424" fmla="*/ 684 h 10000"/>
                <a:gd name="connsiteX1425" fmla="*/ 4756 w 10577"/>
                <a:gd name="connsiteY1425" fmla="*/ 684 h 10000"/>
                <a:gd name="connsiteX1426" fmla="*/ 4737 w 10577"/>
                <a:gd name="connsiteY1426" fmla="*/ 692 h 10000"/>
                <a:gd name="connsiteX1427" fmla="*/ 4677 w 10577"/>
                <a:gd name="connsiteY1427" fmla="*/ 667 h 10000"/>
                <a:gd name="connsiteX1428" fmla="*/ 4682 w 10577"/>
                <a:gd name="connsiteY1428" fmla="*/ 692 h 10000"/>
                <a:gd name="connsiteX1429" fmla="*/ 4682 w 10577"/>
                <a:gd name="connsiteY1429" fmla="*/ 709 h 10000"/>
                <a:gd name="connsiteX1430" fmla="*/ 4691 w 10577"/>
                <a:gd name="connsiteY1430" fmla="*/ 718 h 10000"/>
                <a:gd name="connsiteX1431" fmla="*/ 4691 w 10577"/>
                <a:gd name="connsiteY1431" fmla="*/ 744 h 10000"/>
                <a:gd name="connsiteX1432" fmla="*/ 4700 w 10577"/>
                <a:gd name="connsiteY1432" fmla="*/ 744 h 10000"/>
                <a:gd name="connsiteX1433" fmla="*/ 4714 w 10577"/>
                <a:gd name="connsiteY1433" fmla="*/ 769 h 10000"/>
                <a:gd name="connsiteX1434" fmla="*/ 4710 w 10577"/>
                <a:gd name="connsiteY1434" fmla="*/ 786 h 10000"/>
                <a:gd name="connsiteX1435" fmla="*/ 4737 w 10577"/>
                <a:gd name="connsiteY1435" fmla="*/ 786 h 10000"/>
                <a:gd name="connsiteX1436" fmla="*/ 4742 w 10577"/>
                <a:gd name="connsiteY1436" fmla="*/ 795 h 10000"/>
                <a:gd name="connsiteX1437" fmla="*/ 4742 w 10577"/>
                <a:gd name="connsiteY1437" fmla="*/ 803 h 10000"/>
                <a:gd name="connsiteX1438" fmla="*/ 4737 w 10577"/>
                <a:gd name="connsiteY1438" fmla="*/ 846 h 10000"/>
                <a:gd name="connsiteX1439" fmla="*/ 4737 w 10577"/>
                <a:gd name="connsiteY1439" fmla="*/ 880 h 10000"/>
                <a:gd name="connsiteX1440" fmla="*/ 4737 w 10577"/>
                <a:gd name="connsiteY1440" fmla="*/ 906 h 10000"/>
                <a:gd name="connsiteX1441" fmla="*/ 4724 w 10577"/>
                <a:gd name="connsiteY1441" fmla="*/ 897 h 10000"/>
                <a:gd name="connsiteX1442" fmla="*/ 4724 w 10577"/>
                <a:gd name="connsiteY1442" fmla="*/ 872 h 10000"/>
                <a:gd name="connsiteX1443" fmla="*/ 4714 w 10577"/>
                <a:gd name="connsiteY1443" fmla="*/ 855 h 10000"/>
                <a:gd name="connsiteX1444" fmla="*/ 4691 w 10577"/>
                <a:gd name="connsiteY1444" fmla="*/ 846 h 10000"/>
                <a:gd name="connsiteX1445" fmla="*/ 4691 w 10577"/>
                <a:gd name="connsiteY1445" fmla="*/ 846 h 10000"/>
                <a:gd name="connsiteX1446" fmla="*/ 4696 w 10577"/>
                <a:gd name="connsiteY1446" fmla="*/ 821 h 10000"/>
                <a:gd name="connsiteX1447" fmla="*/ 4691 w 10577"/>
                <a:gd name="connsiteY1447" fmla="*/ 803 h 10000"/>
                <a:gd name="connsiteX1448" fmla="*/ 4668 w 10577"/>
                <a:gd name="connsiteY1448" fmla="*/ 821 h 10000"/>
                <a:gd name="connsiteX1449" fmla="*/ 4668 w 10577"/>
                <a:gd name="connsiteY1449" fmla="*/ 786 h 10000"/>
                <a:gd name="connsiteX1450" fmla="*/ 4664 w 10577"/>
                <a:gd name="connsiteY1450" fmla="*/ 786 h 10000"/>
                <a:gd name="connsiteX1451" fmla="*/ 4622 w 10577"/>
                <a:gd name="connsiteY1451" fmla="*/ 846 h 10000"/>
                <a:gd name="connsiteX1452" fmla="*/ 4627 w 10577"/>
                <a:gd name="connsiteY1452" fmla="*/ 872 h 10000"/>
                <a:gd name="connsiteX1453" fmla="*/ 4622 w 10577"/>
                <a:gd name="connsiteY1453" fmla="*/ 880 h 10000"/>
                <a:gd name="connsiteX1454" fmla="*/ 4622 w 10577"/>
                <a:gd name="connsiteY1454" fmla="*/ 880 h 10000"/>
                <a:gd name="connsiteX1455" fmla="*/ 4618 w 10577"/>
                <a:gd name="connsiteY1455" fmla="*/ 872 h 10000"/>
                <a:gd name="connsiteX1456" fmla="*/ 4604 w 10577"/>
                <a:gd name="connsiteY1456" fmla="*/ 880 h 10000"/>
                <a:gd name="connsiteX1457" fmla="*/ 4594 w 10577"/>
                <a:gd name="connsiteY1457" fmla="*/ 906 h 10000"/>
                <a:gd name="connsiteX1458" fmla="*/ 4604 w 10577"/>
                <a:gd name="connsiteY1458" fmla="*/ 906 h 10000"/>
                <a:gd name="connsiteX1459" fmla="*/ 4608 w 10577"/>
                <a:gd name="connsiteY1459" fmla="*/ 906 h 10000"/>
                <a:gd name="connsiteX1460" fmla="*/ 4608 w 10577"/>
                <a:gd name="connsiteY1460" fmla="*/ 932 h 10000"/>
                <a:gd name="connsiteX1461" fmla="*/ 4604 w 10577"/>
                <a:gd name="connsiteY1461" fmla="*/ 932 h 10000"/>
                <a:gd name="connsiteX1462" fmla="*/ 4590 w 10577"/>
                <a:gd name="connsiteY1462" fmla="*/ 932 h 10000"/>
                <a:gd name="connsiteX1463" fmla="*/ 4567 w 10577"/>
                <a:gd name="connsiteY1463" fmla="*/ 957 h 10000"/>
                <a:gd name="connsiteX1464" fmla="*/ 4567 w 10577"/>
                <a:gd name="connsiteY1464" fmla="*/ 932 h 10000"/>
                <a:gd name="connsiteX1465" fmla="*/ 4567 w 10577"/>
                <a:gd name="connsiteY1465" fmla="*/ 923 h 10000"/>
                <a:gd name="connsiteX1466" fmla="*/ 4562 w 10577"/>
                <a:gd name="connsiteY1466" fmla="*/ 932 h 10000"/>
                <a:gd name="connsiteX1467" fmla="*/ 4548 w 10577"/>
                <a:gd name="connsiteY1467" fmla="*/ 957 h 10000"/>
                <a:gd name="connsiteX1468" fmla="*/ 4544 w 10577"/>
                <a:gd name="connsiteY1468" fmla="*/ 957 h 10000"/>
                <a:gd name="connsiteX1469" fmla="*/ 4521 w 10577"/>
                <a:gd name="connsiteY1469" fmla="*/ 983 h 10000"/>
                <a:gd name="connsiteX1470" fmla="*/ 4521 w 10577"/>
                <a:gd name="connsiteY1470" fmla="*/ 983 h 10000"/>
                <a:gd name="connsiteX1471" fmla="*/ 4530 w 10577"/>
                <a:gd name="connsiteY1471" fmla="*/ 957 h 10000"/>
                <a:gd name="connsiteX1472" fmla="*/ 4535 w 10577"/>
                <a:gd name="connsiteY1472" fmla="*/ 932 h 10000"/>
                <a:gd name="connsiteX1473" fmla="*/ 4521 w 10577"/>
                <a:gd name="connsiteY1473" fmla="*/ 932 h 10000"/>
                <a:gd name="connsiteX1474" fmla="*/ 4516 w 10577"/>
                <a:gd name="connsiteY1474" fmla="*/ 923 h 10000"/>
                <a:gd name="connsiteX1475" fmla="*/ 4516 w 10577"/>
                <a:gd name="connsiteY1475" fmla="*/ 932 h 10000"/>
                <a:gd name="connsiteX1476" fmla="*/ 4488 w 10577"/>
                <a:gd name="connsiteY1476" fmla="*/ 940 h 10000"/>
                <a:gd name="connsiteX1477" fmla="*/ 4484 w 10577"/>
                <a:gd name="connsiteY1477" fmla="*/ 983 h 10000"/>
                <a:gd name="connsiteX1478" fmla="*/ 4470 w 10577"/>
                <a:gd name="connsiteY1478" fmla="*/ 983 h 10000"/>
                <a:gd name="connsiteX1479" fmla="*/ 4470 w 10577"/>
                <a:gd name="connsiteY1479" fmla="*/ 966 h 10000"/>
                <a:gd name="connsiteX1480" fmla="*/ 4488 w 10577"/>
                <a:gd name="connsiteY1480" fmla="*/ 923 h 10000"/>
                <a:gd name="connsiteX1481" fmla="*/ 4493 w 10577"/>
                <a:gd name="connsiteY1481" fmla="*/ 880 h 10000"/>
                <a:gd name="connsiteX1482" fmla="*/ 4475 w 10577"/>
                <a:gd name="connsiteY1482" fmla="*/ 846 h 10000"/>
                <a:gd name="connsiteX1483" fmla="*/ 4442 w 10577"/>
                <a:gd name="connsiteY1483" fmla="*/ 855 h 10000"/>
                <a:gd name="connsiteX1484" fmla="*/ 4433 w 10577"/>
                <a:gd name="connsiteY1484" fmla="*/ 855 h 10000"/>
                <a:gd name="connsiteX1485" fmla="*/ 4433 w 10577"/>
                <a:gd name="connsiteY1485" fmla="*/ 880 h 10000"/>
                <a:gd name="connsiteX1486" fmla="*/ 4401 w 10577"/>
                <a:gd name="connsiteY1486" fmla="*/ 855 h 10000"/>
                <a:gd name="connsiteX1487" fmla="*/ 4396 w 10577"/>
                <a:gd name="connsiteY1487" fmla="*/ 872 h 10000"/>
                <a:gd name="connsiteX1488" fmla="*/ 4382 w 10577"/>
                <a:gd name="connsiteY1488" fmla="*/ 897 h 10000"/>
                <a:gd name="connsiteX1489" fmla="*/ 4373 w 10577"/>
                <a:gd name="connsiteY1489" fmla="*/ 872 h 10000"/>
                <a:gd name="connsiteX1490" fmla="*/ 4341 w 10577"/>
                <a:gd name="connsiteY1490" fmla="*/ 872 h 10000"/>
                <a:gd name="connsiteX1491" fmla="*/ 4336 w 10577"/>
                <a:gd name="connsiteY1491" fmla="*/ 880 h 10000"/>
                <a:gd name="connsiteX1492" fmla="*/ 4346 w 10577"/>
                <a:gd name="connsiteY1492" fmla="*/ 897 h 10000"/>
                <a:gd name="connsiteX1493" fmla="*/ 4346 w 10577"/>
                <a:gd name="connsiteY1493" fmla="*/ 897 h 10000"/>
                <a:gd name="connsiteX1494" fmla="*/ 4313 w 10577"/>
                <a:gd name="connsiteY1494" fmla="*/ 906 h 10000"/>
                <a:gd name="connsiteX1495" fmla="*/ 4313 w 10577"/>
                <a:gd name="connsiteY1495" fmla="*/ 906 h 10000"/>
                <a:gd name="connsiteX1496" fmla="*/ 4313 w 10577"/>
                <a:gd name="connsiteY1496" fmla="*/ 880 h 10000"/>
                <a:gd name="connsiteX1497" fmla="*/ 4309 w 10577"/>
                <a:gd name="connsiteY1497" fmla="*/ 897 h 10000"/>
                <a:gd name="connsiteX1498" fmla="*/ 4295 w 10577"/>
                <a:gd name="connsiteY1498" fmla="*/ 923 h 10000"/>
                <a:gd name="connsiteX1499" fmla="*/ 4286 w 10577"/>
                <a:gd name="connsiteY1499" fmla="*/ 897 h 10000"/>
                <a:gd name="connsiteX1500" fmla="*/ 4281 w 10577"/>
                <a:gd name="connsiteY1500" fmla="*/ 906 h 10000"/>
                <a:gd name="connsiteX1501" fmla="*/ 4281 w 10577"/>
                <a:gd name="connsiteY1501" fmla="*/ 940 h 10000"/>
                <a:gd name="connsiteX1502" fmla="*/ 4286 w 10577"/>
                <a:gd name="connsiteY1502" fmla="*/ 957 h 10000"/>
                <a:gd name="connsiteX1503" fmla="*/ 4309 w 10577"/>
                <a:gd name="connsiteY1503" fmla="*/ 932 h 10000"/>
                <a:gd name="connsiteX1504" fmla="*/ 4313 w 10577"/>
                <a:gd name="connsiteY1504" fmla="*/ 957 h 10000"/>
                <a:gd name="connsiteX1505" fmla="*/ 4313 w 10577"/>
                <a:gd name="connsiteY1505" fmla="*/ 966 h 10000"/>
                <a:gd name="connsiteX1506" fmla="*/ 4323 w 10577"/>
                <a:gd name="connsiteY1506" fmla="*/ 966 h 10000"/>
                <a:gd name="connsiteX1507" fmla="*/ 4323 w 10577"/>
                <a:gd name="connsiteY1507" fmla="*/ 940 h 10000"/>
                <a:gd name="connsiteX1508" fmla="*/ 4327 w 10577"/>
                <a:gd name="connsiteY1508" fmla="*/ 940 h 10000"/>
                <a:gd name="connsiteX1509" fmla="*/ 4327 w 10577"/>
                <a:gd name="connsiteY1509" fmla="*/ 957 h 10000"/>
                <a:gd name="connsiteX1510" fmla="*/ 4327 w 10577"/>
                <a:gd name="connsiteY1510" fmla="*/ 966 h 10000"/>
                <a:gd name="connsiteX1511" fmla="*/ 4323 w 10577"/>
                <a:gd name="connsiteY1511" fmla="*/ 991 h 10000"/>
                <a:gd name="connsiteX1512" fmla="*/ 4207 w 10577"/>
                <a:gd name="connsiteY1512" fmla="*/ 1060 h 10000"/>
                <a:gd name="connsiteX1513" fmla="*/ 4207 w 10577"/>
                <a:gd name="connsiteY1513" fmla="*/ 1060 h 10000"/>
                <a:gd name="connsiteX1514" fmla="*/ 4203 w 10577"/>
                <a:gd name="connsiteY1514" fmla="*/ 1068 h 10000"/>
                <a:gd name="connsiteX1515" fmla="*/ 4203 w 10577"/>
                <a:gd name="connsiteY1515" fmla="*/ 1094 h 10000"/>
                <a:gd name="connsiteX1516" fmla="*/ 4203 w 10577"/>
                <a:gd name="connsiteY1516" fmla="*/ 1094 h 10000"/>
                <a:gd name="connsiteX1517" fmla="*/ 4189 w 10577"/>
                <a:gd name="connsiteY1517" fmla="*/ 1094 h 10000"/>
                <a:gd name="connsiteX1518" fmla="*/ 4166 w 10577"/>
                <a:gd name="connsiteY1518" fmla="*/ 1103 h 10000"/>
                <a:gd name="connsiteX1519" fmla="*/ 4152 w 10577"/>
                <a:gd name="connsiteY1519" fmla="*/ 1094 h 10000"/>
                <a:gd name="connsiteX1520" fmla="*/ 4134 w 10577"/>
                <a:gd name="connsiteY1520" fmla="*/ 1120 h 10000"/>
                <a:gd name="connsiteX1521" fmla="*/ 4106 w 10577"/>
                <a:gd name="connsiteY1521" fmla="*/ 1120 h 10000"/>
                <a:gd name="connsiteX1522" fmla="*/ 4092 w 10577"/>
                <a:gd name="connsiteY1522" fmla="*/ 1154 h 10000"/>
                <a:gd name="connsiteX1523" fmla="*/ 4106 w 10577"/>
                <a:gd name="connsiteY1523" fmla="*/ 1171 h 10000"/>
                <a:gd name="connsiteX1524" fmla="*/ 4078 w 10577"/>
                <a:gd name="connsiteY1524" fmla="*/ 1179 h 10000"/>
                <a:gd name="connsiteX1525" fmla="*/ 4065 w 10577"/>
                <a:gd name="connsiteY1525" fmla="*/ 1205 h 10000"/>
                <a:gd name="connsiteX1526" fmla="*/ 4046 w 10577"/>
                <a:gd name="connsiteY1526" fmla="*/ 1179 h 10000"/>
                <a:gd name="connsiteX1527" fmla="*/ 4041 w 10577"/>
                <a:gd name="connsiteY1527" fmla="*/ 1197 h 10000"/>
                <a:gd name="connsiteX1528" fmla="*/ 4028 w 10577"/>
                <a:gd name="connsiteY1528" fmla="*/ 1205 h 10000"/>
                <a:gd name="connsiteX1529" fmla="*/ 4028 w 10577"/>
                <a:gd name="connsiteY1529" fmla="*/ 1205 h 10000"/>
                <a:gd name="connsiteX1530" fmla="*/ 4032 w 10577"/>
                <a:gd name="connsiteY1530" fmla="*/ 1205 h 10000"/>
                <a:gd name="connsiteX1531" fmla="*/ 4032 w 10577"/>
                <a:gd name="connsiteY1531" fmla="*/ 1231 h 10000"/>
                <a:gd name="connsiteX1532" fmla="*/ 4014 w 10577"/>
                <a:gd name="connsiteY1532" fmla="*/ 1239 h 10000"/>
                <a:gd name="connsiteX1533" fmla="*/ 4014 w 10577"/>
                <a:gd name="connsiteY1533" fmla="*/ 1256 h 10000"/>
                <a:gd name="connsiteX1534" fmla="*/ 4000 w 10577"/>
                <a:gd name="connsiteY1534" fmla="*/ 1265 h 10000"/>
                <a:gd name="connsiteX1535" fmla="*/ 3986 w 10577"/>
                <a:gd name="connsiteY1535" fmla="*/ 1308 h 10000"/>
                <a:gd name="connsiteX1536" fmla="*/ 3972 w 10577"/>
                <a:gd name="connsiteY1536" fmla="*/ 1316 h 10000"/>
                <a:gd name="connsiteX1537" fmla="*/ 3972 w 10577"/>
                <a:gd name="connsiteY1537" fmla="*/ 1325 h 10000"/>
                <a:gd name="connsiteX1538" fmla="*/ 3972 w 10577"/>
                <a:gd name="connsiteY1538" fmla="*/ 1342 h 10000"/>
                <a:gd name="connsiteX1539" fmla="*/ 3968 w 10577"/>
                <a:gd name="connsiteY1539" fmla="*/ 1350 h 10000"/>
                <a:gd name="connsiteX1540" fmla="*/ 3954 w 10577"/>
                <a:gd name="connsiteY1540" fmla="*/ 1368 h 10000"/>
                <a:gd name="connsiteX1541" fmla="*/ 3945 w 10577"/>
                <a:gd name="connsiteY1541" fmla="*/ 1350 h 10000"/>
                <a:gd name="connsiteX1542" fmla="*/ 3908 w 10577"/>
                <a:gd name="connsiteY1542" fmla="*/ 1342 h 10000"/>
                <a:gd name="connsiteX1543" fmla="*/ 3894 w 10577"/>
                <a:gd name="connsiteY1543" fmla="*/ 1368 h 10000"/>
                <a:gd name="connsiteX1544" fmla="*/ 3922 w 10577"/>
                <a:gd name="connsiteY1544" fmla="*/ 1393 h 10000"/>
                <a:gd name="connsiteX1545" fmla="*/ 3945 w 10577"/>
                <a:gd name="connsiteY1545" fmla="*/ 1393 h 10000"/>
                <a:gd name="connsiteX1546" fmla="*/ 3940 w 10577"/>
                <a:gd name="connsiteY1546" fmla="*/ 1419 h 10000"/>
                <a:gd name="connsiteX1547" fmla="*/ 3931 w 10577"/>
                <a:gd name="connsiteY1547" fmla="*/ 1427 h 10000"/>
                <a:gd name="connsiteX1548" fmla="*/ 3926 w 10577"/>
                <a:gd name="connsiteY1548" fmla="*/ 1427 h 10000"/>
                <a:gd name="connsiteX1549" fmla="*/ 3922 w 10577"/>
                <a:gd name="connsiteY1549" fmla="*/ 1419 h 10000"/>
                <a:gd name="connsiteX1550" fmla="*/ 3912 w 10577"/>
                <a:gd name="connsiteY1550" fmla="*/ 1427 h 10000"/>
                <a:gd name="connsiteX1551" fmla="*/ 3912 w 10577"/>
                <a:gd name="connsiteY1551" fmla="*/ 1444 h 10000"/>
                <a:gd name="connsiteX1552" fmla="*/ 3894 w 10577"/>
                <a:gd name="connsiteY1552" fmla="*/ 1513 h 10000"/>
                <a:gd name="connsiteX1553" fmla="*/ 3885 w 10577"/>
                <a:gd name="connsiteY1553" fmla="*/ 1513 h 10000"/>
                <a:gd name="connsiteX1554" fmla="*/ 3880 w 10577"/>
                <a:gd name="connsiteY1554" fmla="*/ 1538 h 10000"/>
                <a:gd name="connsiteX1555" fmla="*/ 3885 w 10577"/>
                <a:gd name="connsiteY1555" fmla="*/ 1564 h 10000"/>
                <a:gd name="connsiteX1556" fmla="*/ 3880 w 10577"/>
                <a:gd name="connsiteY1556" fmla="*/ 1581 h 10000"/>
                <a:gd name="connsiteX1557" fmla="*/ 3871 w 10577"/>
                <a:gd name="connsiteY1557" fmla="*/ 1538 h 10000"/>
                <a:gd name="connsiteX1558" fmla="*/ 3853 w 10577"/>
                <a:gd name="connsiteY1558" fmla="*/ 1530 h 10000"/>
                <a:gd name="connsiteX1559" fmla="*/ 3853 w 10577"/>
                <a:gd name="connsiteY1559" fmla="*/ 1504 h 10000"/>
                <a:gd name="connsiteX1560" fmla="*/ 3834 w 10577"/>
                <a:gd name="connsiteY1560" fmla="*/ 1487 h 10000"/>
                <a:gd name="connsiteX1561" fmla="*/ 3834 w 10577"/>
                <a:gd name="connsiteY1561" fmla="*/ 1487 h 10000"/>
                <a:gd name="connsiteX1562" fmla="*/ 3839 w 10577"/>
                <a:gd name="connsiteY1562" fmla="*/ 1513 h 10000"/>
                <a:gd name="connsiteX1563" fmla="*/ 3820 w 10577"/>
                <a:gd name="connsiteY1563" fmla="*/ 1538 h 10000"/>
                <a:gd name="connsiteX1564" fmla="*/ 3820 w 10577"/>
                <a:gd name="connsiteY1564" fmla="*/ 1556 h 10000"/>
                <a:gd name="connsiteX1565" fmla="*/ 3820 w 10577"/>
                <a:gd name="connsiteY1565" fmla="*/ 1564 h 10000"/>
                <a:gd name="connsiteX1566" fmla="*/ 3820 w 10577"/>
                <a:gd name="connsiteY1566" fmla="*/ 1581 h 10000"/>
                <a:gd name="connsiteX1567" fmla="*/ 3853 w 10577"/>
                <a:gd name="connsiteY1567" fmla="*/ 1581 h 10000"/>
                <a:gd name="connsiteX1568" fmla="*/ 3857 w 10577"/>
                <a:gd name="connsiteY1568" fmla="*/ 1598 h 10000"/>
                <a:gd name="connsiteX1569" fmla="*/ 3880 w 10577"/>
                <a:gd name="connsiteY1569" fmla="*/ 1615 h 10000"/>
                <a:gd name="connsiteX1570" fmla="*/ 3871 w 10577"/>
                <a:gd name="connsiteY1570" fmla="*/ 1615 h 10000"/>
                <a:gd name="connsiteX1571" fmla="*/ 3871 w 10577"/>
                <a:gd name="connsiteY1571" fmla="*/ 1641 h 10000"/>
                <a:gd name="connsiteX1572" fmla="*/ 3880 w 10577"/>
                <a:gd name="connsiteY1572" fmla="*/ 1641 h 10000"/>
                <a:gd name="connsiteX1573" fmla="*/ 3871 w 10577"/>
                <a:gd name="connsiteY1573" fmla="*/ 1650 h 10000"/>
                <a:gd name="connsiteX1574" fmla="*/ 3857 w 10577"/>
                <a:gd name="connsiteY1574" fmla="*/ 1650 h 10000"/>
                <a:gd name="connsiteX1575" fmla="*/ 3853 w 10577"/>
                <a:gd name="connsiteY1575" fmla="*/ 1650 h 10000"/>
                <a:gd name="connsiteX1576" fmla="*/ 3839 w 10577"/>
                <a:gd name="connsiteY1576" fmla="*/ 1667 h 10000"/>
                <a:gd name="connsiteX1577" fmla="*/ 3848 w 10577"/>
                <a:gd name="connsiteY1577" fmla="*/ 1692 h 10000"/>
                <a:gd name="connsiteX1578" fmla="*/ 3834 w 10577"/>
                <a:gd name="connsiteY1578" fmla="*/ 1692 h 10000"/>
                <a:gd name="connsiteX1579" fmla="*/ 3825 w 10577"/>
                <a:gd name="connsiteY1579" fmla="*/ 1692 h 10000"/>
                <a:gd name="connsiteX1580" fmla="*/ 3825 w 10577"/>
                <a:gd name="connsiteY1580" fmla="*/ 1718 h 10000"/>
                <a:gd name="connsiteX1581" fmla="*/ 3839 w 10577"/>
                <a:gd name="connsiteY1581" fmla="*/ 1726 h 10000"/>
                <a:gd name="connsiteX1582" fmla="*/ 3880 w 10577"/>
                <a:gd name="connsiteY1582" fmla="*/ 1752 h 10000"/>
                <a:gd name="connsiteX1583" fmla="*/ 3894 w 10577"/>
                <a:gd name="connsiteY1583" fmla="*/ 1829 h 10000"/>
                <a:gd name="connsiteX1584" fmla="*/ 3899 w 10577"/>
                <a:gd name="connsiteY1584" fmla="*/ 1838 h 10000"/>
                <a:gd name="connsiteX1585" fmla="*/ 3894 w 10577"/>
                <a:gd name="connsiteY1585" fmla="*/ 1855 h 10000"/>
                <a:gd name="connsiteX1586" fmla="*/ 3880 w 10577"/>
                <a:gd name="connsiteY1586" fmla="*/ 1838 h 10000"/>
                <a:gd name="connsiteX1587" fmla="*/ 3880 w 10577"/>
                <a:gd name="connsiteY1587" fmla="*/ 1855 h 10000"/>
                <a:gd name="connsiteX1588" fmla="*/ 3880 w 10577"/>
                <a:gd name="connsiteY1588" fmla="*/ 1863 h 10000"/>
                <a:gd name="connsiteX1589" fmla="*/ 3871 w 10577"/>
                <a:gd name="connsiteY1589" fmla="*/ 1872 h 10000"/>
                <a:gd name="connsiteX1590" fmla="*/ 3880 w 10577"/>
                <a:gd name="connsiteY1590" fmla="*/ 1889 h 10000"/>
                <a:gd name="connsiteX1591" fmla="*/ 3885 w 10577"/>
                <a:gd name="connsiteY1591" fmla="*/ 1889 h 10000"/>
                <a:gd name="connsiteX1592" fmla="*/ 3880 w 10577"/>
                <a:gd name="connsiteY1592" fmla="*/ 1897 h 10000"/>
                <a:gd name="connsiteX1593" fmla="*/ 3871 w 10577"/>
                <a:gd name="connsiteY1593" fmla="*/ 1915 h 10000"/>
                <a:gd name="connsiteX1594" fmla="*/ 3848 w 10577"/>
                <a:gd name="connsiteY1594" fmla="*/ 1923 h 10000"/>
                <a:gd name="connsiteX1595" fmla="*/ 3825 w 10577"/>
                <a:gd name="connsiteY1595" fmla="*/ 1940 h 10000"/>
                <a:gd name="connsiteX1596" fmla="*/ 3811 w 10577"/>
                <a:gd name="connsiteY1596" fmla="*/ 1940 h 10000"/>
                <a:gd name="connsiteX1597" fmla="*/ 3806 w 10577"/>
                <a:gd name="connsiteY1597" fmla="*/ 1949 h 10000"/>
                <a:gd name="connsiteX1598" fmla="*/ 3797 w 10577"/>
                <a:gd name="connsiteY1598" fmla="*/ 1966 h 10000"/>
                <a:gd name="connsiteX1599" fmla="*/ 3788 w 10577"/>
                <a:gd name="connsiteY1599" fmla="*/ 1991 h 10000"/>
                <a:gd name="connsiteX1600" fmla="*/ 3765 w 10577"/>
                <a:gd name="connsiteY1600" fmla="*/ 1974 h 10000"/>
                <a:gd name="connsiteX1601" fmla="*/ 3760 w 10577"/>
                <a:gd name="connsiteY1601" fmla="*/ 1966 h 10000"/>
                <a:gd name="connsiteX1602" fmla="*/ 3760 w 10577"/>
                <a:gd name="connsiteY1602" fmla="*/ 1966 h 10000"/>
                <a:gd name="connsiteX1603" fmla="*/ 3631 w 10577"/>
                <a:gd name="connsiteY1603" fmla="*/ 2009 h 10000"/>
                <a:gd name="connsiteX1604" fmla="*/ 3618 w 10577"/>
                <a:gd name="connsiteY1604" fmla="*/ 2000 h 10000"/>
                <a:gd name="connsiteX1605" fmla="*/ 3599 w 10577"/>
                <a:gd name="connsiteY1605" fmla="*/ 2009 h 10000"/>
                <a:gd name="connsiteX1606" fmla="*/ 3571 w 10577"/>
                <a:gd name="connsiteY1606" fmla="*/ 2000 h 10000"/>
                <a:gd name="connsiteX1607" fmla="*/ 3530 w 10577"/>
                <a:gd name="connsiteY1607" fmla="*/ 2026 h 10000"/>
                <a:gd name="connsiteX1608" fmla="*/ 3530 w 10577"/>
                <a:gd name="connsiteY1608" fmla="*/ 2034 h 10000"/>
                <a:gd name="connsiteX1609" fmla="*/ 3525 w 10577"/>
                <a:gd name="connsiteY1609" fmla="*/ 2051 h 10000"/>
                <a:gd name="connsiteX1610" fmla="*/ 3512 w 10577"/>
                <a:gd name="connsiteY1610" fmla="*/ 2034 h 10000"/>
                <a:gd name="connsiteX1611" fmla="*/ 3507 w 10577"/>
                <a:gd name="connsiteY1611" fmla="*/ 2034 h 10000"/>
                <a:gd name="connsiteX1612" fmla="*/ 3498 w 10577"/>
                <a:gd name="connsiteY1612" fmla="*/ 2051 h 10000"/>
                <a:gd name="connsiteX1613" fmla="*/ 3484 w 10577"/>
                <a:gd name="connsiteY1613" fmla="*/ 2060 h 10000"/>
                <a:gd name="connsiteX1614" fmla="*/ 3484 w 10577"/>
                <a:gd name="connsiteY1614" fmla="*/ 2085 h 10000"/>
                <a:gd name="connsiteX1615" fmla="*/ 3484 w 10577"/>
                <a:gd name="connsiteY1615" fmla="*/ 2103 h 10000"/>
                <a:gd name="connsiteX1616" fmla="*/ 3493 w 10577"/>
                <a:gd name="connsiteY1616" fmla="*/ 2103 h 10000"/>
                <a:gd name="connsiteX1617" fmla="*/ 3493 w 10577"/>
                <a:gd name="connsiteY1617" fmla="*/ 2085 h 10000"/>
                <a:gd name="connsiteX1618" fmla="*/ 3498 w 10577"/>
                <a:gd name="connsiteY1618" fmla="*/ 2085 h 10000"/>
                <a:gd name="connsiteX1619" fmla="*/ 3498 w 10577"/>
                <a:gd name="connsiteY1619" fmla="*/ 2111 h 10000"/>
                <a:gd name="connsiteX1620" fmla="*/ 3484 w 10577"/>
                <a:gd name="connsiteY1620" fmla="*/ 2120 h 10000"/>
                <a:gd name="connsiteX1621" fmla="*/ 3484 w 10577"/>
                <a:gd name="connsiteY1621" fmla="*/ 2145 h 10000"/>
                <a:gd name="connsiteX1622" fmla="*/ 3470 w 10577"/>
                <a:gd name="connsiteY1622" fmla="*/ 2137 h 10000"/>
                <a:gd name="connsiteX1623" fmla="*/ 3465 w 10577"/>
                <a:gd name="connsiteY1623" fmla="*/ 2145 h 10000"/>
                <a:gd name="connsiteX1624" fmla="*/ 3470 w 10577"/>
                <a:gd name="connsiteY1624" fmla="*/ 2171 h 10000"/>
                <a:gd name="connsiteX1625" fmla="*/ 3484 w 10577"/>
                <a:gd name="connsiteY1625" fmla="*/ 2171 h 10000"/>
                <a:gd name="connsiteX1626" fmla="*/ 3484 w 10577"/>
                <a:gd name="connsiteY1626" fmla="*/ 2197 h 10000"/>
                <a:gd name="connsiteX1627" fmla="*/ 3465 w 10577"/>
                <a:gd name="connsiteY1627" fmla="*/ 2214 h 10000"/>
                <a:gd name="connsiteX1628" fmla="*/ 3493 w 10577"/>
                <a:gd name="connsiteY1628" fmla="*/ 2248 h 10000"/>
                <a:gd name="connsiteX1629" fmla="*/ 3484 w 10577"/>
                <a:gd name="connsiteY1629" fmla="*/ 2256 h 10000"/>
                <a:gd name="connsiteX1630" fmla="*/ 3498 w 10577"/>
                <a:gd name="connsiteY1630" fmla="*/ 2274 h 10000"/>
                <a:gd name="connsiteX1631" fmla="*/ 3498 w 10577"/>
                <a:gd name="connsiteY1631" fmla="*/ 2256 h 10000"/>
                <a:gd name="connsiteX1632" fmla="*/ 3507 w 10577"/>
                <a:gd name="connsiteY1632" fmla="*/ 2308 h 10000"/>
                <a:gd name="connsiteX1633" fmla="*/ 3512 w 10577"/>
                <a:gd name="connsiteY1633" fmla="*/ 2325 h 10000"/>
                <a:gd name="connsiteX1634" fmla="*/ 3507 w 10577"/>
                <a:gd name="connsiteY1634" fmla="*/ 2333 h 10000"/>
                <a:gd name="connsiteX1635" fmla="*/ 3507 w 10577"/>
                <a:gd name="connsiteY1635" fmla="*/ 2359 h 10000"/>
                <a:gd name="connsiteX1636" fmla="*/ 3507 w 10577"/>
                <a:gd name="connsiteY1636" fmla="*/ 2376 h 10000"/>
                <a:gd name="connsiteX1637" fmla="*/ 3498 w 10577"/>
                <a:gd name="connsiteY1637" fmla="*/ 2410 h 10000"/>
                <a:gd name="connsiteX1638" fmla="*/ 3498 w 10577"/>
                <a:gd name="connsiteY1638" fmla="*/ 2436 h 10000"/>
                <a:gd name="connsiteX1639" fmla="*/ 3507 w 10577"/>
                <a:gd name="connsiteY1639" fmla="*/ 2462 h 10000"/>
                <a:gd name="connsiteX1640" fmla="*/ 3507 w 10577"/>
                <a:gd name="connsiteY1640" fmla="*/ 2496 h 10000"/>
                <a:gd name="connsiteX1641" fmla="*/ 3512 w 10577"/>
                <a:gd name="connsiteY1641" fmla="*/ 2521 h 10000"/>
                <a:gd name="connsiteX1642" fmla="*/ 3525 w 10577"/>
                <a:gd name="connsiteY1642" fmla="*/ 2556 h 10000"/>
                <a:gd name="connsiteX1643" fmla="*/ 3571 w 10577"/>
                <a:gd name="connsiteY1643" fmla="*/ 2573 h 10000"/>
                <a:gd name="connsiteX1644" fmla="*/ 3590 w 10577"/>
                <a:gd name="connsiteY1644" fmla="*/ 2598 h 10000"/>
                <a:gd name="connsiteX1645" fmla="*/ 3599 w 10577"/>
                <a:gd name="connsiteY1645" fmla="*/ 2598 h 10000"/>
                <a:gd name="connsiteX1646" fmla="*/ 3604 w 10577"/>
                <a:gd name="connsiteY1646" fmla="*/ 2632 h 10000"/>
                <a:gd name="connsiteX1647" fmla="*/ 3599 w 10577"/>
                <a:gd name="connsiteY1647" fmla="*/ 2658 h 10000"/>
                <a:gd name="connsiteX1648" fmla="*/ 3590 w 10577"/>
                <a:gd name="connsiteY1648" fmla="*/ 2667 h 10000"/>
                <a:gd name="connsiteX1649" fmla="*/ 3604 w 10577"/>
                <a:gd name="connsiteY1649" fmla="*/ 2667 h 10000"/>
                <a:gd name="connsiteX1650" fmla="*/ 3613 w 10577"/>
                <a:gd name="connsiteY1650" fmla="*/ 2692 h 10000"/>
                <a:gd name="connsiteX1651" fmla="*/ 3627 w 10577"/>
                <a:gd name="connsiteY1651" fmla="*/ 2735 h 10000"/>
                <a:gd name="connsiteX1652" fmla="*/ 3631 w 10577"/>
                <a:gd name="connsiteY1652" fmla="*/ 2744 h 10000"/>
                <a:gd name="connsiteX1653" fmla="*/ 3659 w 10577"/>
                <a:gd name="connsiteY1653" fmla="*/ 2761 h 10000"/>
                <a:gd name="connsiteX1654" fmla="*/ 3673 w 10577"/>
                <a:gd name="connsiteY1654" fmla="*/ 2769 h 10000"/>
                <a:gd name="connsiteX1655" fmla="*/ 3673 w 10577"/>
                <a:gd name="connsiteY1655" fmla="*/ 2761 h 10000"/>
                <a:gd name="connsiteX1656" fmla="*/ 3687 w 10577"/>
                <a:gd name="connsiteY1656" fmla="*/ 2829 h 10000"/>
                <a:gd name="connsiteX1657" fmla="*/ 3677 w 10577"/>
                <a:gd name="connsiteY1657" fmla="*/ 2897 h 10000"/>
                <a:gd name="connsiteX1658" fmla="*/ 3673 w 10577"/>
                <a:gd name="connsiteY1658" fmla="*/ 2915 h 10000"/>
                <a:gd name="connsiteX1659" fmla="*/ 3664 w 10577"/>
                <a:gd name="connsiteY1659" fmla="*/ 2957 h 10000"/>
                <a:gd name="connsiteX1660" fmla="*/ 3659 w 10577"/>
                <a:gd name="connsiteY1660" fmla="*/ 2983 h 10000"/>
                <a:gd name="connsiteX1661" fmla="*/ 3664 w 10577"/>
                <a:gd name="connsiteY1661" fmla="*/ 3017 h 10000"/>
                <a:gd name="connsiteX1662" fmla="*/ 3659 w 10577"/>
                <a:gd name="connsiteY1662" fmla="*/ 3043 h 10000"/>
                <a:gd name="connsiteX1663" fmla="*/ 3677 w 10577"/>
                <a:gd name="connsiteY1663" fmla="*/ 3094 h 10000"/>
                <a:gd name="connsiteX1664" fmla="*/ 3691 w 10577"/>
                <a:gd name="connsiteY1664" fmla="*/ 3282 h 10000"/>
                <a:gd name="connsiteX1665" fmla="*/ 3691 w 10577"/>
                <a:gd name="connsiteY1665" fmla="*/ 3308 h 10000"/>
                <a:gd name="connsiteX1666" fmla="*/ 3677 w 10577"/>
                <a:gd name="connsiteY1666" fmla="*/ 3342 h 10000"/>
                <a:gd name="connsiteX1667" fmla="*/ 3664 w 10577"/>
                <a:gd name="connsiteY1667" fmla="*/ 3342 h 10000"/>
                <a:gd name="connsiteX1668" fmla="*/ 3650 w 10577"/>
                <a:gd name="connsiteY1668" fmla="*/ 3342 h 10000"/>
                <a:gd name="connsiteX1669" fmla="*/ 3650 w 10577"/>
                <a:gd name="connsiteY1669" fmla="*/ 3350 h 10000"/>
                <a:gd name="connsiteX1670" fmla="*/ 3659 w 10577"/>
                <a:gd name="connsiteY1670" fmla="*/ 3402 h 10000"/>
                <a:gd name="connsiteX1671" fmla="*/ 3659 w 10577"/>
                <a:gd name="connsiteY1671" fmla="*/ 3419 h 10000"/>
                <a:gd name="connsiteX1672" fmla="*/ 3631 w 10577"/>
                <a:gd name="connsiteY1672" fmla="*/ 3402 h 10000"/>
                <a:gd name="connsiteX1673" fmla="*/ 3604 w 10577"/>
                <a:gd name="connsiteY1673" fmla="*/ 3393 h 10000"/>
                <a:gd name="connsiteX1674" fmla="*/ 3599 w 10577"/>
                <a:gd name="connsiteY1674" fmla="*/ 3368 h 10000"/>
                <a:gd name="connsiteX1675" fmla="*/ 3590 w 10577"/>
                <a:gd name="connsiteY1675" fmla="*/ 3239 h 10000"/>
                <a:gd name="connsiteX1676" fmla="*/ 3599 w 10577"/>
                <a:gd name="connsiteY1676" fmla="*/ 3179 h 10000"/>
                <a:gd name="connsiteX1677" fmla="*/ 3599 w 10577"/>
                <a:gd name="connsiteY1677" fmla="*/ 3171 h 10000"/>
                <a:gd name="connsiteX1678" fmla="*/ 3599 w 10577"/>
                <a:gd name="connsiteY1678" fmla="*/ 3009 h 10000"/>
                <a:gd name="connsiteX1679" fmla="*/ 3604 w 10577"/>
                <a:gd name="connsiteY1679" fmla="*/ 2983 h 10000"/>
                <a:gd name="connsiteX1680" fmla="*/ 3645 w 10577"/>
                <a:gd name="connsiteY1680" fmla="*/ 2932 h 10000"/>
                <a:gd name="connsiteX1681" fmla="*/ 3650 w 10577"/>
                <a:gd name="connsiteY1681" fmla="*/ 2872 h 10000"/>
                <a:gd name="connsiteX1682" fmla="*/ 3659 w 10577"/>
                <a:gd name="connsiteY1682" fmla="*/ 2855 h 10000"/>
                <a:gd name="connsiteX1683" fmla="*/ 3659 w 10577"/>
                <a:gd name="connsiteY1683" fmla="*/ 2821 h 10000"/>
                <a:gd name="connsiteX1684" fmla="*/ 3631 w 10577"/>
                <a:gd name="connsiteY1684" fmla="*/ 2795 h 10000"/>
                <a:gd name="connsiteX1685" fmla="*/ 3567 w 10577"/>
                <a:gd name="connsiteY1685" fmla="*/ 2821 h 10000"/>
                <a:gd name="connsiteX1686" fmla="*/ 3544 w 10577"/>
                <a:gd name="connsiteY1686" fmla="*/ 2795 h 10000"/>
                <a:gd name="connsiteX1687" fmla="*/ 3530 w 10577"/>
                <a:gd name="connsiteY1687" fmla="*/ 2769 h 10000"/>
                <a:gd name="connsiteX1688" fmla="*/ 3530 w 10577"/>
                <a:gd name="connsiteY1688" fmla="*/ 2786 h 10000"/>
                <a:gd name="connsiteX1689" fmla="*/ 3498 w 10577"/>
                <a:gd name="connsiteY1689" fmla="*/ 2692 h 10000"/>
                <a:gd name="connsiteX1690" fmla="*/ 3498 w 10577"/>
                <a:gd name="connsiteY1690" fmla="*/ 2667 h 10000"/>
                <a:gd name="connsiteX1691" fmla="*/ 3442 w 10577"/>
                <a:gd name="connsiteY1691" fmla="*/ 2607 h 10000"/>
                <a:gd name="connsiteX1692" fmla="*/ 3433 w 10577"/>
                <a:gd name="connsiteY1692" fmla="*/ 2581 h 10000"/>
                <a:gd name="connsiteX1693" fmla="*/ 3396 w 10577"/>
                <a:gd name="connsiteY1693" fmla="*/ 2556 h 10000"/>
                <a:gd name="connsiteX1694" fmla="*/ 3318 w 10577"/>
                <a:gd name="connsiteY1694" fmla="*/ 2556 h 10000"/>
                <a:gd name="connsiteX1695" fmla="*/ 3304 w 10577"/>
                <a:gd name="connsiteY1695" fmla="*/ 2607 h 10000"/>
                <a:gd name="connsiteX1696" fmla="*/ 3276 w 10577"/>
                <a:gd name="connsiteY1696" fmla="*/ 2632 h 10000"/>
                <a:gd name="connsiteX1697" fmla="*/ 3272 w 10577"/>
                <a:gd name="connsiteY1697" fmla="*/ 2667 h 10000"/>
                <a:gd name="connsiteX1698" fmla="*/ 3304 w 10577"/>
                <a:gd name="connsiteY1698" fmla="*/ 2667 h 10000"/>
                <a:gd name="connsiteX1699" fmla="*/ 3323 w 10577"/>
                <a:gd name="connsiteY1699" fmla="*/ 2692 h 10000"/>
                <a:gd name="connsiteX1700" fmla="*/ 3318 w 10577"/>
                <a:gd name="connsiteY1700" fmla="*/ 2735 h 10000"/>
                <a:gd name="connsiteX1701" fmla="*/ 3304 w 10577"/>
                <a:gd name="connsiteY1701" fmla="*/ 2761 h 10000"/>
                <a:gd name="connsiteX1702" fmla="*/ 3276 w 10577"/>
                <a:gd name="connsiteY1702" fmla="*/ 2769 h 10000"/>
                <a:gd name="connsiteX1703" fmla="*/ 3263 w 10577"/>
                <a:gd name="connsiteY1703" fmla="*/ 2795 h 10000"/>
                <a:gd name="connsiteX1704" fmla="*/ 3235 w 10577"/>
                <a:gd name="connsiteY1704" fmla="*/ 2803 h 10000"/>
                <a:gd name="connsiteX1705" fmla="*/ 3235 w 10577"/>
                <a:gd name="connsiteY1705" fmla="*/ 2786 h 10000"/>
                <a:gd name="connsiteX1706" fmla="*/ 3212 w 10577"/>
                <a:gd name="connsiteY1706" fmla="*/ 2709 h 10000"/>
                <a:gd name="connsiteX1707" fmla="*/ 3198 w 10577"/>
                <a:gd name="connsiteY1707" fmla="*/ 2709 h 10000"/>
                <a:gd name="connsiteX1708" fmla="*/ 3184 w 10577"/>
                <a:gd name="connsiteY1708" fmla="*/ 2735 h 10000"/>
                <a:gd name="connsiteX1709" fmla="*/ 3189 w 10577"/>
                <a:gd name="connsiteY1709" fmla="*/ 2761 h 10000"/>
                <a:gd name="connsiteX1710" fmla="*/ 3203 w 10577"/>
                <a:gd name="connsiteY1710" fmla="*/ 2855 h 10000"/>
                <a:gd name="connsiteX1711" fmla="*/ 3212 w 10577"/>
                <a:gd name="connsiteY1711" fmla="*/ 2872 h 10000"/>
                <a:gd name="connsiteX1712" fmla="*/ 3235 w 10577"/>
                <a:gd name="connsiteY1712" fmla="*/ 2906 h 10000"/>
                <a:gd name="connsiteX1713" fmla="*/ 3258 w 10577"/>
                <a:gd name="connsiteY1713" fmla="*/ 2915 h 10000"/>
                <a:gd name="connsiteX1714" fmla="*/ 3272 w 10577"/>
                <a:gd name="connsiteY1714" fmla="*/ 2957 h 10000"/>
                <a:gd name="connsiteX1715" fmla="*/ 3276 w 10577"/>
                <a:gd name="connsiteY1715" fmla="*/ 2957 h 10000"/>
                <a:gd name="connsiteX1716" fmla="*/ 3286 w 10577"/>
                <a:gd name="connsiteY1716" fmla="*/ 2966 h 10000"/>
                <a:gd name="connsiteX1717" fmla="*/ 3300 w 10577"/>
                <a:gd name="connsiteY1717" fmla="*/ 2957 h 10000"/>
                <a:gd name="connsiteX1718" fmla="*/ 3309 w 10577"/>
                <a:gd name="connsiteY1718" fmla="*/ 2932 h 10000"/>
                <a:gd name="connsiteX1719" fmla="*/ 3304 w 10577"/>
                <a:gd name="connsiteY1719" fmla="*/ 2966 h 10000"/>
                <a:gd name="connsiteX1720" fmla="*/ 3309 w 10577"/>
                <a:gd name="connsiteY1720" fmla="*/ 2983 h 10000"/>
                <a:gd name="connsiteX1721" fmla="*/ 3323 w 10577"/>
                <a:gd name="connsiteY1721" fmla="*/ 2966 h 10000"/>
                <a:gd name="connsiteX1722" fmla="*/ 3323 w 10577"/>
                <a:gd name="connsiteY1722" fmla="*/ 3043 h 10000"/>
                <a:gd name="connsiteX1723" fmla="*/ 3346 w 10577"/>
                <a:gd name="connsiteY1723" fmla="*/ 3068 h 10000"/>
                <a:gd name="connsiteX1724" fmla="*/ 3346 w 10577"/>
                <a:gd name="connsiteY1724" fmla="*/ 3094 h 10000"/>
                <a:gd name="connsiteX1725" fmla="*/ 3323 w 10577"/>
                <a:gd name="connsiteY1725" fmla="*/ 3094 h 10000"/>
                <a:gd name="connsiteX1726" fmla="*/ 3309 w 10577"/>
                <a:gd name="connsiteY1726" fmla="*/ 3077 h 10000"/>
                <a:gd name="connsiteX1727" fmla="*/ 3304 w 10577"/>
                <a:gd name="connsiteY1727" fmla="*/ 3051 h 10000"/>
                <a:gd name="connsiteX1728" fmla="*/ 3300 w 10577"/>
                <a:gd name="connsiteY1728" fmla="*/ 3043 h 10000"/>
                <a:gd name="connsiteX1729" fmla="*/ 3286 w 10577"/>
                <a:gd name="connsiteY1729" fmla="*/ 3017 h 10000"/>
                <a:gd name="connsiteX1730" fmla="*/ 3152 w 10577"/>
                <a:gd name="connsiteY1730" fmla="*/ 2966 h 10000"/>
                <a:gd name="connsiteX1731" fmla="*/ 3129 w 10577"/>
                <a:gd name="connsiteY1731" fmla="*/ 2915 h 10000"/>
                <a:gd name="connsiteX1732" fmla="*/ 3129 w 10577"/>
                <a:gd name="connsiteY1732" fmla="*/ 2906 h 10000"/>
                <a:gd name="connsiteX1733" fmla="*/ 3152 w 10577"/>
                <a:gd name="connsiteY1733" fmla="*/ 2906 h 10000"/>
                <a:gd name="connsiteX1734" fmla="*/ 3152 w 10577"/>
                <a:gd name="connsiteY1734" fmla="*/ 2846 h 10000"/>
                <a:gd name="connsiteX1735" fmla="*/ 3138 w 10577"/>
                <a:gd name="connsiteY1735" fmla="*/ 2795 h 10000"/>
                <a:gd name="connsiteX1736" fmla="*/ 3138 w 10577"/>
                <a:gd name="connsiteY1736" fmla="*/ 2769 h 10000"/>
                <a:gd name="connsiteX1737" fmla="*/ 3143 w 10577"/>
                <a:gd name="connsiteY1737" fmla="*/ 2718 h 10000"/>
                <a:gd name="connsiteX1738" fmla="*/ 3129 w 10577"/>
                <a:gd name="connsiteY1738" fmla="*/ 2692 h 10000"/>
                <a:gd name="connsiteX1739" fmla="*/ 3143 w 10577"/>
                <a:gd name="connsiteY1739" fmla="*/ 2667 h 10000"/>
                <a:gd name="connsiteX1740" fmla="*/ 3157 w 10577"/>
                <a:gd name="connsiteY1740" fmla="*/ 2581 h 10000"/>
                <a:gd name="connsiteX1741" fmla="*/ 3143 w 10577"/>
                <a:gd name="connsiteY1741" fmla="*/ 2496 h 10000"/>
                <a:gd name="connsiteX1742" fmla="*/ 3157 w 10577"/>
                <a:gd name="connsiteY1742" fmla="*/ 2487 h 10000"/>
                <a:gd name="connsiteX1743" fmla="*/ 3143 w 10577"/>
                <a:gd name="connsiteY1743" fmla="*/ 2444 h 10000"/>
                <a:gd name="connsiteX1744" fmla="*/ 3143 w 10577"/>
                <a:gd name="connsiteY1744" fmla="*/ 2419 h 10000"/>
                <a:gd name="connsiteX1745" fmla="*/ 3143 w 10577"/>
                <a:gd name="connsiteY1745" fmla="*/ 2410 h 10000"/>
                <a:gd name="connsiteX1746" fmla="*/ 3124 w 10577"/>
                <a:gd name="connsiteY1746" fmla="*/ 2376 h 10000"/>
                <a:gd name="connsiteX1747" fmla="*/ 3115 w 10577"/>
                <a:gd name="connsiteY1747" fmla="*/ 2350 h 10000"/>
                <a:gd name="connsiteX1748" fmla="*/ 3101 w 10577"/>
                <a:gd name="connsiteY1748" fmla="*/ 2359 h 10000"/>
                <a:gd name="connsiteX1749" fmla="*/ 3115 w 10577"/>
                <a:gd name="connsiteY1749" fmla="*/ 2581 h 10000"/>
                <a:gd name="connsiteX1750" fmla="*/ 3111 w 10577"/>
                <a:gd name="connsiteY1750" fmla="*/ 2624 h 10000"/>
                <a:gd name="connsiteX1751" fmla="*/ 3009 w 10577"/>
                <a:gd name="connsiteY1751" fmla="*/ 2761 h 10000"/>
                <a:gd name="connsiteX1752" fmla="*/ 3009 w 10577"/>
                <a:gd name="connsiteY1752" fmla="*/ 2803 h 10000"/>
                <a:gd name="connsiteX1753" fmla="*/ 3005 w 10577"/>
                <a:gd name="connsiteY1753" fmla="*/ 2829 h 10000"/>
                <a:gd name="connsiteX1754" fmla="*/ 2982 w 10577"/>
                <a:gd name="connsiteY1754" fmla="*/ 2872 h 10000"/>
                <a:gd name="connsiteX1755" fmla="*/ 2982 w 10577"/>
                <a:gd name="connsiteY1755" fmla="*/ 2880 h 10000"/>
                <a:gd name="connsiteX1756" fmla="*/ 3037 w 10577"/>
                <a:gd name="connsiteY1756" fmla="*/ 3034 h 10000"/>
                <a:gd name="connsiteX1757" fmla="*/ 3041 w 10577"/>
                <a:gd name="connsiteY1757" fmla="*/ 3103 h 10000"/>
                <a:gd name="connsiteX1758" fmla="*/ 3069 w 10577"/>
                <a:gd name="connsiteY1758" fmla="*/ 3188 h 10000"/>
                <a:gd name="connsiteX1759" fmla="*/ 3055 w 10577"/>
                <a:gd name="connsiteY1759" fmla="*/ 3325 h 10000"/>
                <a:gd name="connsiteX1760" fmla="*/ 3037 w 10577"/>
                <a:gd name="connsiteY1760" fmla="*/ 3368 h 10000"/>
                <a:gd name="connsiteX1761" fmla="*/ 3037 w 10577"/>
                <a:gd name="connsiteY1761" fmla="*/ 3444 h 10000"/>
                <a:gd name="connsiteX1762" fmla="*/ 3028 w 10577"/>
                <a:gd name="connsiteY1762" fmla="*/ 3453 h 10000"/>
                <a:gd name="connsiteX1763" fmla="*/ 3023 w 10577"/>
                <a:gd name="connsiteY1763" fmla="*/ 3530 h 10000"/>
                <a:gd name="connsiteX1764" fmla="*/ 3051 w 10577"/>
                <a:gd name="connsiteY1764" fmla="*/ 3624 h 10000"/>
                <a:gd name="connsiteX1765" fmla="*/ 3037 w 10577"/>
                <a:gd name="connsiteY1765" fmla="*/ 3718 h 10000"/>
                <a:gd name="connsiteX1766" fmla="*/ 3041 w 10577"/>
                <a:gd name="connsiteY1766" fmla="*/ 3752 h 10000"/>
                <a:gd name="connsiteX1767" fmla="*/ 3055 w 10577"/>
                <a:gd name="connsiteY1767" fmla="*/ 3761 h 10000"/>
                <a:gd name="connsiteX1768" fmla="*/ 3078 w 10577"/>
                <a:gd name="connsiteY1768" fmla="*/ 3752 h 10000"/>
                <a:gd name="connsiteX1769" fmla="*/ 3092 w 10577"/>
                <a:gd name="connsiteY1769" fmla="*/ 3752 h 10000"/>
                <a:gd name="connsiteX1770" fmla="*/ 3129 w 10577"/>
                <a:gd name="connsiteY1770" fmla="*/ 3761 h 10000"/>
                <a:gd name="connsiteX1771" fmla="*/ 3129 w 10577"/>
                <a:gd name="connsiteY1771" fmla="*/ 3735 h 10000"/>
                <a:gd name="connsiteX1772" fmla="*/ 3157 w 10577"/>
                <a:gd name="connsiteY1772" fmla="*/ 3718 h 10000"/>
                <a:gd name="connsiteX1773" fmla="*/ 3184 w 10577"/>
                <a:gd name="connsiteY1773" fmla="*/ 3718 h 10000"/>
                <a:gd name="connsiteX1774" fmla="*/ 3290 w 10577"/>
                <a:gd name="connsiteY1774" fmla="*/ 3838 h 10000"/>
                <a:gd name="connsiteX1775" fmla="*/ 3300 w 10577"/>
                <a:gd name="connsiteY1775" fmla="*/ 3846 h 10000"/>
                <a:gd name="connsiteX1776" fmla="*/ 3300 w 10577"/>
                <a:gd name="connsiteY1776" fmla="*/ 3915 h 10000"/>
                <a:gd name="connsiteX1777" fmla="*/ 3318 w 10577"/>
                <a:gd name="connsiteY1777" fmla="*/ 4000 h 10000"/>
                <a:gd name="connsiteX1778" fmla="*/ 3323 w 10577"/>
                <a:gd name="connsiteY1778" fmla="*/ 4000 h 10000"/>
                <a:gd name="connsiteX1779" fmla="*/ 3323 w 10577"/>
                <a:gd name="connsiteY1779" fmla="*/ 4034 h 10000"/>
                <a:gd name="connsiteX1780" fmla="*/ 3318 w 10577"/>
                <a:gd name="connsiteY1780" fmla="*/ 4051 h 10000"/>
                <a:gd name="connsiteX1781" fmla="*/ 3300 w 10577"/>
                <a:gd name="connsiteY1781" fmla="*/ 4051 h 10000"/>
                <a:gd name="connsiteX1782" fmla="*/ 3290 w 10577"/>
                <a:gd name="connsiteY1782" fmla="*/ 4077 h 10000"/>
                <a:gd name="connsiteX1783" fmla="*/ 3286 w 10577"/>
                <a:gd name="connsiteY1783" fmla="*/ 4103 h 10000"/>
                <a:gd name="connsiteX1784" fmla="*/ 3286 w 10577"/>
                <a:gd name="connsiteY1784" fmla="*/ 4197 h 10000"/>
                <a:gd name="connsiteX1785" fmla="*/ 3290 w 10577"/>
                <a:gd name="connsiteY1785" fmla="*/ 4214 h 10000"/>
                <a:gd name="connsiteX1786" fmla="*/ 3304 w 10577"/>
                <a:gd name="connsiteY1786" fmla="*/ 4214 h 10000"/>
                <a:gd name="connsiteX1787" fmla="*/ 3323 w 10577"/>
                <a:gd name="connsiteY1787" fmla="*/ 4239 h 10000"/>
                <a:gd name="connsiteX1788" fmla="*/ 3350 w 10577"/>
                <a:gd name="connsiteY1788" fmla="*/ 4222 h 10000"/>
                <a:gd name="connsiteX1789" fmla="*/ 3369 w 10577"/>
                <a:gd name="connsiteY1789" fmla="*/ 4256 h 10000"/>
                <a:gd name="connsiteX1790" fmla="*/ 3369 w 10577"/>
                <a:gd name="connsiteY1790" fmla="*/ 4256 h 10000"/>
                <a:gd name="connsiteX1791" fmla="*/ 3336 w 10577"/>
                <a:gd name="connsiteY1791" fmla="*/ 4274 h 10000"/>
                <a:gd name="connsiteX1792" fmla="*/ 3323 w 10577"/>
                <a:gd name="connsiteY1792" fmla="*/ 4274 h 10000"/>
                <a:gd name="connsiteX1793" fmla="*/ 3290 w 10577"/>
                <a:gd name="connsiteY1793" fmla="*/ 4274 h 10000"/>
                <a:gd name="connsiteX1794" fmla="*/ 3286 w 10577"/>
                <a:gd name="connsiteY1794" fmla="*/ 4239 h 10000"/>
                <a:gd name="connsiteX1795" fmla="*/ 3263 w 10577"/>
                <a:gd name="connsiteY1795" fmla="*/ 4214 h 10000"/>
                <a:gd name="connsiteX1796" fmla="*/ 3258 w 10577"/>
                <a:gd name="connsiteY1796" fmla="*/ 4188 h 10000"/>
                <a:gd name="connsiteX1797" fmla="*/ 3263 w 10577"/>
                <a:gd name="connsiteY1797" fmla="*/ 4171 h 10000"/>
                <a:gd name="connsiteX1798" fmla="*/ 3263 w 10577"/>
                <a:gd name="connsiteY1798" fmla="*/ 4103 h 10000"/>
                <a:gd name="connsiteX1799" fmla="*/ 3276 w 10577"/>
                <a:gd name="connsiteY1799" fmla="*/ 4060 h 10000"/>
                <a:gd name="connsiteX1800" fmla="*/ 3272 w 10577"/>
                <a:gd name="connsiteY1800" fmla="*/ 4051 h 10000"/>
                <a:gd name="connsiteX1801" fmla="*/ 3263 w 10577"/>
                <a:gd name="connsiteY1801" fmla="*/ 4051 h 10000"/>
                <a:gd name="connsiteX1802" fmla="*/ 3263 w 10577"/>
                <a:gd name="connsiteY1802" fmla="*/ 4034 h 10000"/>
                <a:gd name="connsiteX1803" fmla="*/ 3263 w 10577"/>
                <a:gd name="connsiteY1803" fmla="*/ 4000 h 10000"/>
                <a:gd name="connsiteX1804" fmla="*/ 3272 w 10577"/>
                <a:gd name="connsiteY1804" fmla="*/ 4000 h 10000"/>
                <a:gd name="connsiteX1805" fmla="*/ 3272 w 10577"/>
                <a:gd name="connsiteY1805" fmla="*/ 3974 h 10000"/>
                <a:gd name="connsiteX1806" fmla="*/ 3272 w 10577"/>
                <a:gd name="connsiteY1806" fmla="*/ 3966 h 10000"/>
                <a:gd name="connsiteX1807" fmla="*/ 3272 w 10577"/>
                <a:gd name="connsiteY1807" fmla="*/ 3949 h 10000"/>
                <a:gd name="connsiteX1808" fmla="*/ 3258 w 10577"/>
                <a:gd name="connsiteY1808" fmla="*/ 3923 h 10000"/>
                <a:gd name="connsiteX1809" fmla="*/ 3249 w 10577"/>
                <a:gd name="connsiteY1809" fmla="*/ 3915 h 10000"/>
                <a:gd name="connsiteX1810" fmla="*/ 3244 w 10577"/>
                <a:gd name="connsiteY1810" fmla="*/ 3897 h 10000"/>
                <a:gd name="connsiteX1811" fmla="*/ 3230 w 10577"/>
                <a:gd name="connsiteY1811" fmla="*/ 3889 h 10000"/>
                <a:gd name="connsiteX1812" fmla="*/ 3230 w 10577"/>
                <a:gd name="connsiteY1812" fmla="*/ 3863 h 10000"/>
                <a:gd name="connsiteX1813" fmla="*/ 3230 w 10577"/>
                <a:gd name="connsiteY1813" fmla="*/ 3838 h 10000"/>
                <a:gd name="connsiteX1814" fmla="*/ 3226 w 10577"/>
                <a:gd name="connsiteY1814" fmla="*/ 3803 h 10000"/>
                <a:gd name="connsiteX1815" fmla="*/ 3138 w 10577"/>
                <a:gd name="connsiteY1815" fmla="*/ 3838 h 10000"/>
                <a:gd name="connsiteX1816" fmla="*/ 3078 w 10577"/>
                <a:gd name="connsiteY1816" fmla="*/ 3889 h 10000"/>
                <a:gd name="connsiteX1817" fmla="*/ 3078 w 10577"/>
                <a:gd name="connsiteY1817" fmla="*/ 3940 h 10000"/>
                <a:gd name="connsiteX1818" fmla="*/ 3069 w 10577"/>
                <a:gd name="connsiteY1818" fmla="*/ 3983 h 10000"/>
                <a:gd name="connsiteX1819" fmla="*/ 3069 w 10577"/>
                <a:gd name="connsiteY1819" fmla="*/ 4009 h 10000"/>
                <a:gd name="connsiteX1820" fmla="*/ 3078 w 10577"/>
                <a:gd name="connsiteY1820" fmla="*/ 4026 h 10000"/>
                <a:gd name="connsiteX1821" fmla="*/ 3083 w 10577"/>
                <a:gd name="connsiteY1821" fmla="*/ 4034 h 10000"/>
                <a:gd name="connsiteX1822" fmla="*/ 3092 w 10577"/>
                <a:gd name="connsiteY1822" fmla="*/ 4060 h 10000"/>
                <a:gd name="connsiteX1823" fmla="*/ 3092 w 10577"/>
                <a:gd name="connsiteY1823" fmla="*/ 4077 h 10000"/>
                <a:gd name="connsiteX1824" fmla="*/ 3097 w 10577"/>
                <a:gd name="connsiteY1824" fmla="*/ 4103 h 10000"/>
                <a:gd name="connsiteX1825" fmla="*/ 3101 w 10577"/>
                <a:gd name="connsiteY1825" fmla="*/ 4162 h 10000"/>
                <a:gd name="connsiteX1826" fmla="*/ 3097 w 10577"/>
                <a:gd name="connsiteY1826" fmla="*/ 4222 h 10000"/>
                <a:gd name="connsiteX1827" fmla="*/ 3041 w 10577"/>
                <a:gd name="connsiteY1827" fmla="*/ 4325 h 10000"/>
                <a:gd name="connsiteX1828" fmla="*/ 3037 w 10577"/>
                <a:gd name="connsiteY1828" fmla="*/ 4419 h 10000"/>
                <a:gd name="connsiteX1829" fmla="*/ 3018 w 10577"/>
                <a:gd name="connsiteY1829" fmla="*/ 4470 h 10000"/>
                <a:gd name="connsiteX1830" fmla="*/ 2991 w 10577"/>
                <a:gd name="connsiteY1830" fmla="*/ 4513 h 10000"/>
                <a:gd name="connsiteX1831" fmla="*/ 2977 w 10577"/>
                <a:gd name="connsiteY1831" fmla="*/ 4530 h 10000"/>
                <a:gd name="connsiteX1832" fmla="*/ 2945 w 10577"/>
                <a:gd name="connsiteY1832" fmla="*/ 4556 h 10000"/>
                <a:gd name="connsiteX1833" fmla="*/ 2935 w 10577"/>
                <a:gd name="connsiteY1833" fmla="*/ 4581 h 10000"/>
                <a:gd name="connsiteX1834" fmla="*/ 2949 w 10577"/>
                <a:gd name="connsiteY1834" fmla="*/ 4624 h 10000"/>
                <a:gd name="connsiteX1835" fmla="*/ 2945 w 10577"/>
                <a:gd name="connsiteY1835" fmla="*/ 4658 h 10000"/>
                <a:gd name="connsiteX1836" fmla="*/ 2922 w 10577"/>
                <a:gd name="connsiteY1836" fmla="*/ 4667 h 10000"/>
                <a:gd name="connsiteX1837" fmla="*/ 2876 w 10577"/>
                <a:gd name="connsiteY1837" fmla="*/ 4632 h 10000"/>
                <a:gd name="connsiteX1838" fmla="*/ 2857 w 10577"/>
                <a:gd name="connsiteY1838" fmla="*/ 4632 h 10000"/>
                <a:gd name="connsiteX1839" fmla="*/ 2820 w 10577"/>
                <a:gd name="connsiteY1839" fmla="*/ 4641 h 10000"/>
                <a:gd name="connsiteX1840" fmla="*/ 2797 w 10577"/>
                <a:gd name="connsiteY1840" fmla="*/ 4632 h 10000"/>
                <a:gd name="connsiteX1841" fmla="*/ 2788 w 10577"/>
                <a:gd name="connsiteY1841" fmla="*/ 4624 h 10000"/>
                <a:gd name="connsiteX1842" fmla="*/ 2788 w 10577"/>
                <a:gd name="connsiteY1842" fmla="*/ 4598 h 10000"/>
                <a:gd name="connsiteX1843" fmla="*/ 2797 w 10577"/>
                <a:gd name="connsiteY1843" fmla="*/ 4581 h 10000"/>
                <a:gd name="connsiteX1844" fmla="*/ 2788 w 10577"/>
                <a:gd name="connsiteY1844" fmla="*/ 4530 h 10000"/>
                <a:gd name="connsiteX1845" fmla="*/ 2774 w 10577"/>
                <a:gd name="connsiteY1845" fmla="*/ 4530 h 10000"/>
                <a:gd name="connsiteX1846" fmla="*/ 2770 w 10577"/>
                <a:gd name="connsiteY1846" fmla="*/ 4513 h 10000"/>
                <a:gd name="connsiteX1847" fmla="*/ 2774 w 10577"/>
                <a:gd name="connsiteY1847" fmla="*/ 4513 h 10000"/>
                <a:gd name="connsiteX1848" fmla="*/ 2788 w 10577"/>
                <a:gd name="connsiteY1848" fmla="*/ 4496 h 10000"/>
                <a:gd name="connsiteX1849" fmla="*/ 2802 w 10577"/>
                <a:gd name="connsiteY1849" fmla="*/ 4513 h 10000"/>
                <a:gd name="connsiteX1850" fmla="*/ 2811 w 10577"/>
                <a:gd name="connsiteY1850" fmla="*/ 4530 h 10000"/>
                <a:gd name="connsiteX1851" fmla="*/ 2820 w 10577"/>
                <a:gd name="connsiteY1851" fmla="*/ 4521 h 10000"/>
                <a:gd name="connsiteX1852" fmla="*/ 2829 w 10577"/>
                <a:gd name="connsiteY1852" fmla="*/ 4513 h 10000"/>
                <a:gd name="connsiteX1853" fmla="*/ 2843 w 10577"/>
                <a:gd name="connsiteY1853" fmla="*/ 4513 h 10000"/>
                <a:gd name="connsiteX1854" fmla="*/ 2848 w 10577"/>
                <a:gd name="connsiteY1854" fmla="*/ 4470 h 10000"/>
                <a:gd name="connsiteX1855" fmla="*/ 2862 w 10577"/>
                <a:gd name="connsiteY1855" fmla="*/ 4487 h 10000"/>
                <a:gd name="connsiteX1856" fmla="*/ 2876 w 10577"/>
                <a:gd name="connsiteY1856" fmla="*/ 4470 h 10000"/>
                <a:gd name="connsiteX1857" fmla="*/ 2880 w 10577"/>
                <a:gd name="connsiteY1857" fmla="*/ 4462 h 10000"/>
                <a:gd name="connsiteX1858" fmla="*/ 2889 w 10577"/>
                <a:gd name="connsiteY1858" fmla="*/ 4444 h 10000"/>
                <a:gd name="connsiteX1859" fmla="*/ 2894 w 10577"/>
                <a:gd name="connsiteY1859" fmla="*/ 4462 h 10000"/>
                <a:gd name="connsiteX1860" fmla="*/ 2917 w 10577"/>
                <a:gd name="connsiteY1860" fmla="*/ 4444 h 10000"/>
                <a:gd name="connsiteX1861" fmla="*/ 2922 w 10577"/>
                <a:gd name="connsiteY1861" fmla="*/ 4436 h 10000"/>
                <a:gd name="connsiteX1862" fmla="*/ 2917 w 10577"/>
                <a:gd name="connsiteY1862" fmla="*/ 4410 h 10000"/>
                <a:gd name="connsiteX1863" fmla="*/ 2894 w 10577"/>
                <a:gd name="connsiteY1863" fmla="*/ 4410 h 10000"/>
                <a:gd name="connsiteX1864" fmla="*/ 2889 w 10577"/>
                <a:gd name="connsiteY1864" fmla="*/ 4419 h 10000"/>
                <a:gd name="connsiteX1865" fmla="*/ 2876 w 10577"/>
                <a:gd name="connsiteY1865" fmla="*/ 4410 h 10000"/>
                <a:gd name="connsiteX1866" fmla="*/ 2880 w 10577"/>
                <a:gd name="connsiteY1866" fmla="*/ 4376 h 10000"/>
                <a:gd name="connsiteX1867" fmla="*/ 2903 w 10577"/>
                <a:gd name="connsiteY1867" fmla="*/ 4393 h 10000"/>
                <a:gd name="connsiteX1868" fmla="*/ 2931 w 10577"/>
                <a:gd name="connsiteY1868" fmla="*/ 4393 h 10000"/>
                <a:gd name="connsiteX1869" fmla="*/ 2931 w 10577"/>
                <a:gd name="connsiteY1869" fmla="*/ 4385 h 10000"/>
                <a:gd name="connsiteX1870" fmla="*/ 2931 w 10577"/>
                <a:gd name="connsiteY1870" fmla="*/ 4350 h 10000"/>
                <a:gd name="connsiteX1871" fmla="*/ 2945 w 10577"/>
                <a:gd name="connsiteY1871" fmla="*/ 4350 h 10000"/>
                <a:gd name="connsiteX1872" fmla="*/ 2949 w 10577"/>
                <a:gd name="connsiteY1872" fmla="*/ 4325 h 10000"/>
                <a:gd name="connsiteX1873" fmla="*/ 2963 w 10577"/>
                <a:gd name="connsiteY1873" fmla="*/ 4256 h 10000"/>
                <a:gd name="connsiteX1874" fmla="*/ 2982 w 10577"/>
                <a:gd name="connsiteY1874" fmla="*/ 4239 h 10000"/>
                <a:gd name="connsiteX1875" fmla="*/ 2991 w 10577"/>
                <a:gd name="connsiteY1875" fmla="*/ 4214 h 10000"/>
                <a:gd name="connsiteX1876" fmla="*/ 2991 w 10577"/>
                <a:gd name="connsiteY1876" fmla="*/ 4197 h 10000"/>
                <a:gd name="connsiteX1877" fmla="*/ 2995 w 10577"/>
                <a:gd name="connsiteY1877" fmla="*/ 4171 h 10000"/>
                <a:gd name="connsiteX1878" fmla="*/ 2991 w 10577"/>
                <a:gd name="connsiteY1878" fmla="*/ 4077 h 10000"/>
                <a:gd name="connsiteX1879" fmla="*/ 2995 w 10577"/>
                <a:gd name="connsiteY1879" fmla="*/ 4034 h 10000"/>
                <a:gd name="connsiteX1880" fmla="*/ 3018 w 10577"/>
                <a:gd name="connsiteY1880" fmla="*/ 3983 h 10000"/>
                <a:gd name="connsiteX1881" fmla="*/ 3018 w 10577"/>
                <a:gd name="connsiteY1881" fmla="*/ 3915 h 10000"/>
                <a:gd name="connsiteX1882" fmla="*/ 2949 w 10577"/>
                <a:gd name="connsiteY1882" fmla="*/ 3778 h 10000"/>
                <a:gd name="connsiteX1883" fmla="*/ 2954 w 10577"/>
                <a:gd name="connsiteY1883" fmla="*/ 3675 h 10000"/>
                <a:gd name="connsiteX1884" fmla="*/ 2954 w 10577"/>
                <a:gd name="connsiteY1884" fmla="*/ 3650 h 10000"/>
                <a:gd name="connsiteX1885" fmla="*/ 2963 w 10577"/>
                <a:gd name="connsiteY1885" fmla="*/ 3624 h 10000"/>
                <a:gd name="connsiteX1886" fmla="*/ 2954 w 10577"/>
                <a:gd name="connsiteY1886" fmla="*/ 3564 h 10000"/>
                <a:gd name="connsiteX1887" fmla="*/ 2963 w 10577"/>
                <a:gd name="connsiteY1887" fmla="*/ 3538 h 10000"/>
                <a:gd name="connsiteX1888" fmla="*/ 2963 w 10577"/>
                <a:gd name="connsiteY1888" fmla="*/ 3487 h 10000"/>
                <a:gd name="connsiteX1889" fmla="*/ 2963 w 10577"/>
                <a:gd name="connsiteY1889" fmla="*/ 3479 h 10000"/>
                <a:gd name="connsiteX1890" fmla="*/ 2963 w 10577"/>
                <a:gd name="connsiteY1890" fmla="*/ 3462 h 10000"/>
                <a:gd name="connsiteX1891" fmla="*/ 2954 w 10577"/>
                <a:gd name="connsiteY1891" fmla="*/ 3453 h 10000"/>
                <a:gd name="connsiteX1892" fmla="*/ 2954 w 10577"/>
                <a:gd name="connsiteY1892" fmla="*/ 3444 h 10000"/>
                <a:gd name="connsiteX1893" fmla="*/ 2954 w 10577"/>
                <a:gd name="connsiteY1893" fmla="*/ 3402 h 10000"/>
                <a:gd name="connsiteX1894" fmla="*/ 2954 w 10577"/>
                <a:gd name="connsiteY1894" fmla="*/ 3393 h 10000"/>
                <a:gd name="connsiteX1895" fmla="*/ 2949 w 10577"/>
                <a:gd name="connsiteY1895" fmla="*/ 3376 h 10000"/>
                <a:gd name="connsiteX1896" fmla="*/ 2949 w 10577"/>
                <a:gd name="connsiteY1896" fmla="*/ 3342 h 10000"/>
                <a:gd name="connsiteX1897" fmla="*/ 2949 w 10577"/>
                <a:gd name="connsiteY1897" fmla="*/ 3316 h 10000"/>
                <a:gd name="connsiteX1898" fmla="*/ 2968 w 10577"/>
                <a:gd name="connsiteY1898" fmla="*/ 3291 h 10000"/>
                <a:gd name="connsiteX1899" fmla="*/ 2963 w 10577"/>
                <a:gd name="connsiteY1899" fmla="*/ 3205 h 10000"/>
                <a:gd name="connsiteX1900" fmla="*/ 2968 w 10577"/>
                <a:gd name="connsiteY1900" fmla="*/ 3171 h 10000"/>
                <a:gd name="connsiteX1901" fmla="*/ 2968 w 10577"/>
                <a:gd name="connsiteY1901" fmla="*/ 3128 h 10000"/>
                <a:gd name="connsiteX1902" fmla="*/ 2954 w 10577"/>
                <a:gd name="connsiteY1902" fmla="*/ 3051 h 10000"/>
                <a:gd name="connsiteX1903" fmla="*/ 2954 w 10577"/>
                <a:gd name="connsiteY1903" fmla="*/ 3009 h 10000"/>
                <a:gd name="connsiteX1904" fmla="*/ 2922 w 10577"/>
                <a:gd name="connsiteY1904" fmla="*/ 2940 h 10000"/>
                <a:gd name="connsiteX1905" fmla="*/ 2903 w 10577"/>
                <a:gd name="connsiteY1905" fmla="*/ 2880 h 10000"/>
                <a:gd name="connsiteX1906" fmla="*/ 2903 w 10577"/>
                <a:gd name="connsiteY1906" fmla="*/ 2855 h 10000"/>
                <a:gd name="connsiteX1907" fmla="*/ 2908 w 10577"/>
                <a:gd name="connsiteY1907" fmla="*/ 2846 h 10000"/>
                <a:gd name="connsiteX1908" fmla="*/ 2931 w 10577"/>
                <a:gd name="connsiteY1908" fmla="*/ 2821 h 10000"/>
                <a:gd name="connsiteX1909" fmla="*/ 2931 w 10577"/>
                <a:gd name="connsiteY1909" fmla="*/ 2803 h 10000"/>
                <a:gd name="connsiteX1910" fmla="*/ 2935 w 10577"/>
                <a:gd name="connsiteY1910" fmla="*/ 2786 h 10000"/>
                <a:gd name="connsiteX1911" fmla="*/ 2935 w 10577"/>
                <a:gd name="connsiteY1911" fmla="*/ 2744 h 10000"/>
                <a:gd name="connsiteX1912" fmla="*/ 2963 w 10577"/>
                <a:gd name="connsiteY1912" fmla="*/ 2607 h 10000"/>
                <a:gd name="connsiteX1913" fmla="*/ 2963 w 10577"/>
                <a:gd name="connsiteY1913" fmla="*/ 2419 h 10000"/>
                <a:gd name="connsiteX1914" fmla="*/ 2954 w 10577"/>
                <a:gd name="connsiteY1914" fmla="*/ 2410 h 10000"/>
                <a:gd name="connsiteX1915" fmla="*/ 2963 w 10577"/>
                <a:gd name="connsiteY1915" fmla="*/ 2393 h 10000"/>
                <a:gd name="connsiteX1916" fmla="*/ 2908 w 10577"/>
                <a:gd name="connsiteY1916" fmla="*/ 2359 h 10000"/>
                <a:gd name="connsiteX1917" fmla="*/ 2889 w 10577"/>
                <a:gd name="connsiteY1917" fmla="*/ 2325 h 10000"/>
                <a:gd name="connsiteX1918" fmla="*/ 2788 w 10577"/>
                <a:gd name="connsiteY1918" fmla="*/ 2333 h 10000"/>
                <a:gd name="connsiteX1919" fmla="*/ 2774 w 10577"/>
                <a:gd name="connsiteY1919" fmla="*/ 2325 h 10000"/>
                <a:gd name="connsiteX1920" fmla="*/ 2783 w 10577"/>
                <a:gd name="connsiteY1920" fmla="*/ 2308 h 10000"/>
                <a:gd name="connsiteX1921" fmla="*/ 2747 w 10577"/>
                <a:gd name="connsiteY1921" fmla="*/ 2308 h 10000"/>
                <a:gd name="connsiteX1922" fmla="*/ 2742 w 10577"/>
                <a:gd name="connsiteY1922" fmla="*/ 2333 h 10000"/>
                <a:gd name="connsiteX1923" fmla="*/ 2682 w 10577"/>
                <a:gd name="connsiteY1923" fmla="*/ 2769 h 10000"/>
                <a:gd name="connsiteX1924" fmla="*/ 2613 w 10577"/>
                <a:gd name="connsiteY1924" fmla="*/ 2940 h 10000"/>
                <a:gd name="connsiteX1925" fmla="*/ 2581 w 10577"/>
                <a:gd name="connsiteY1925" fmla="*/ 2966 h 10000"/>
                <a:gd name="connsiteX1926" fmla="*/ 2576 w 10577"/>
                <a:gd name="connsiteY1926" fmla="*/ 3051 h 10000"/>
                <a:gd name="connsiteX1927" fmla="*/ 2581 w 10577"/>
                <a:gd name="connsiteY1927" fmla="*/ 3051 h 10000"/>
                <a:gd name="connsiteX1928" fmla="*/ 2594 w 10577"/>
                <a:gd name="connsiteY1928" fmla="*/ 3017 h 10000"/>
                <a:gd name="connsiteX1929" fmla="*/ 2594 w 10577"/>
                <a:gd name="connsiteY1929" fmla="*/ 3034 h 10000"/>
                <a:gd name="connsiteX1930" fmla="*/ 2594 w 10577"/>
                <a:gd name="connsiteY1930" fmla="*/ 3051 h 10000"/>
                <a:gd name="connsiteX1931" fmla="*/ 2590 w 10577"/>
                <a:gd name="connsiteY1931" fmla="*/ 3077 h 10000"/>
                <a:gd name="connsiteX1932" fmla="*/ 2567 w 10577"/>
                <a:gd name="connsiteY1932" fmla="*/ 3103 h 10000"/>
                <a:gd name="connsiteX1933" fmla="*/ 2562 w 10577"/>
                <a:gd name="connsiteY1933" fmla="*/ 3145 h 10000"/>
                <a:gd name="connsiteX1934" fmla="*/ 2567 w 10577"/>
                <a:gd name="connsiteY1934" fmla="*/ 3179 h 10000"/>
                <a:gd name="connsiteX1935" fmla="*/ 2590 w 10577"/>
                <a:gd name="connsiteY1935" fmla="*/ 3171 h 10000"/>
                <a:gd name="connsiteX1936" fmla="*/ 2594 w 10577"/>
                <a:gd name="connsiteY1936" fmla="*/ 3145 h 10000"/>
                <a:gd name="connsiteX1937" fmla="*/ 2613 w 10577"/>
                <a:gd name="connsiteY1937" fmla="*/ 3154 h 10000"/>
                <a:gd name="connsiteX1938" fmla="*/ 2622 w 10577"/>
                <a:gd name="connsiteY1938" fmla="*/ 3179 h 10000"/>
                <a:gd name="connsiteX1939" fmla="*/ 2613 w 10577"/>
                <a:gd name="connsiteY1939" fmla="*/ 3214 h 10000"/>
                <a:gd name="connsiteX1940" fmla="*/ 2613 w 10577"/>
                <a:gd name="connsiteY1940" fmla="*/ 3308 h 10000"/>
                <a:gd name="connsiteX1941" fmla="*/ 2608 w 10577"/>
                <a:gd name="connsiteY1941" fmla="*/ 3325 h 10000"/>
                <a:gd name="connsiteX1942" fmla="*/ 2608 w 10577"/>
                <a:gd name="connsiteY1942" fmla="*/ 3376 h 10000"/>
                <a:gd name="connsiteX1943" fmla="*/ 2613 w 10577"/>
                <a:gd name="connsiteY1943" fmla="*/ 3419 h 10000"/>
                <a:gd name="connsiteX1944" fmla="*/ 2608 w 10577"/>
                <a:gd name="connsiteY1944" fmla="*/ 3444 h 10000"/>
                <a:gd name="connsiteX1945" fmla="*/ 2594 w 10577"/>
                <a:gd name="connsiteY1945" fmla="*/ 3444 h 10000"/>
                <a:gd name="connsiteX1946" fmla="*/ 2590 w 10577"/>
                <a:gd name="connsiteY1946" fmla="*/ 3427 h 10000"/>
                <a:gd name="connsiteX1947" fmla="*/ 2581 w 10577"/>
                <a:gd name="connsiteY1947" fmla="*/ 3564 h 10000"/>
                <a:gd name="connsiteX1948" fmla="*/ 2594 w 10577"/>
                <a:gd name="connsiteY1948" fmla="*/ 3598 h 10000"/>
                <a:gd name="connsiteX1949" fmla="*/ 2594 w 10577"/>
                <a:gd name="connsiteY1949" fmla="*/ 3581 h 10000"/>
                <a:gd name="connsiteX1950" fmla="*/ 2608 w 10577"/>
                <a:gd name="connsiteY1950" fmla="*/ 3556 h 10000"/>
                <a:gd name="connsiteX1951" fmla="*/ 2650 w 10577"/>
                <a:gd name="connsiteY1951" fmla="*/ 3615 h 10000"/>
                <a:gd name="connsiteX1952" fmla="*/ 2664 w 10577"/>
                <a:gd name="connsiteY1952" fmla="*/ 3615 h 10000"/>
                <a:gd name="connsiteX1953" fmla="*/ 2668 w 10577"/>
                <a:gd name="connsiteY1953" fmla="*/ 3615 h 10000"/>
                <a:gd name="connsiteX1954" fmla="*/ 2664 w 10577"/>
                <a:gd name="connsiteY1954" fmla="*/ 3667 h 10000"/>
                <a:gd name="connsiteX1955" fmla="*/ 2687 w 10577"/>
                <a:gd name="connsiteY1955" fmla="*/ 3786 h 10000"/>
                <a:gd name="connsiteX1956" fmla="*/ 2710 w 10577"/>
                <a:gd name="connsiteY1956" fmla="*/ 3812 h 10000"/>
                <a:gd name="connsiteX1957" fmla="*/ 2724 w 10577"/>
                <a:gd name="connsiteY1957" fmla="*/ 3812 h 10000"/>
                <a:gd name="connsiteX1958" fmla="*/ 2724 w 10577"/>
                <a:gd name="connsiteY1958" fmla="*/ 3829 h 10000"/>
                <a:gd name="connsiteX1959" fmla="*/ 2737 w 10577"/>
                <a:gd name="connsiteY1959" fmla="*/ 3838 h 10000"/>
                <a:gd name="connsiteX1960" fmla="*/ 2714 w 10577"/>
                <a:gd name="connsiteY1960" fmla="*/ 3872 h 10000"/>
                <a:gd name="connsiteX1961" fmla="*/ 2696 w 10577"/>
                <a:gd name="connsiteY1961" fmla="*/ 4026 h 10000"/>
                <a:gd name="connsiteX1962" fmla="*/ 2673 w 10577"/>
                <a:gd name="connsiteY1962" fmla="*/ 4051 h 10000"/>
                <a:gd name="connsiteX1963" fmla="*/ 2668 w 10577"/>
                <a:gd name="connsiteY1963" fmla="*/ 4034 h 10000"/>
                <a:gd name="connsiteX1964" fmla="*/ 2673 w 10577"/>
                <a:gd name="connsiteY1964" fmla="*/ 4000 h 10000"/>
                <a:gd name="connsiteX1965" fmla="*/ 2664 w 10577"/>
                <a:gd name="connsiteY1965" fmla="*/ 3974 h 10000"/>
                <a:gd name="connsiteX1966" fmla="*/ 2636 w 10577"/>
                <a:gd name="connsiteY1966" fmla="*/ 3949 h 10000"/>
                <a:gd name="connsiteX1967" fmla="*/ 2581 w 10577"/>
                <a:gd name="connsiteY1967" fmla="*/ 3838 h 10000"/>
                <a:gd name="connsiteX1968" fmla="*/ 2562 w 10577"/>
                <a:gd name="connsiteY1968" fmla="*/ 3829 h 10000"/>
                <a:gd name="connsiteX1969" fmla="*/ 2535 w 10577"/>
                <a:gd name="connsiteY1969" fmla="*/ 3778 h 10000"/>
                <a:gd name="connsiteX1970" fmla="*/ 2502 w 10577"/>
                <a:gd name="connsiteY1970" fmla="*/ 3761 h 10000"/>
                <a:gd name="connsiteX1971" fmla="*/ 2502 w 10577"/>
                <a:gd name="connsiteY1971" fmla="*/ 3735 h 10000"/>
                <a:gd name="connsiteX1972" fmla="*/ 2516 w 10577"/>
                <a:gd name="connsiteY1972" fmla="*/ 3735 h 10000"/>
                <a:gd name="connsiteX1973" fmla="*/ 2507 w 10577"/>
                <a:gd name="connsiteY1973" fmla="*/ 3726 h 10000"/>
                <a:gd name="connsiteX1974" fmla="*/ 2488 w 10577"/>
                <a:gd name="connsiteY1974" fmla="*/ 3726 h 10000"/>
                <a:gd name="connsiteX1975" fmla="*/ 2461 w 10577"/>
                <a:gd name="connsiteY1975" fmla="*/ 3692 h 10000"/>
                <a:gd name="connsiteX1976" fmla="*/ 2442 w 10577"/>
                <a:gd name="connsiteY1976" fmla="*/ 3675 h 10000"/>
                <a:gd name="connsiteX1977" fmla="*/ 2406 w 10577"/>
                <a:gd name="connsiteY1977" fmla="*/ 3598 h 10000"/>
                <a:gd name="connsiteX1978" fmla="*/ 2346 w 10577"/>
                <a:gd name="connsiteY1978" fmla="*/ 3564 h 10000"/>
                <a:gd name="connsiteX1979" fmla="*/ 2341 w 10577"/>
                <a:gd name="connsiteY1979" fmla="*/ 3564 h 10000"/>
                <a:gd name="connsiteX1980" fmla="*/ 2313 w 10577"/>
                <a:gd name="connsiteY1980" fmla="*/ 3530 h 10000"/>
                <a:gd name="connsiteX1981" fmla="*/ 2235 w 10577"/>
                <a:gd name="connsiteY1981" fmla="*/ 3530 h 10000"/>
                <a:gd name="connsiteX1982" fmla="*/ 2226 w 10577"/>
                <a:gd name="connsiteY1982" fmla="*/ 3513 h 10000"/>
                <a:gd name="connsiteX1983" fmla="*/ 2207 w 10577"/>
                <a:gd name="connsiteY1983" fmla="*/ 3504 h 10000"/>
                <a:gd name="connsiteX1984" fmla="*/ 2194 w 10577"/>
                <a:gd name="connsiteY1984" fmla="*/ 3504 h 10000"/>
                <a:gd name="connsiteX1985" fmla="*/ 2189 w 10577"/>
                <a:gd name="connsiteY1985" fmla="*/ 3504 h 10000"/>
                <a:gd name="connsiteX1986" fmla="*/ 2189 w 10577"/>
                <a:gd name="connsiteY1986" fmla="*/ 3530 h 10000"/>
                <a:gd name="connsiteX1987" fmla="*/ 2180 w 10577"/>
                <a:gd name="connsiteY1987" fmla="*/ 3538 h 10000"/>
                <a:gd name="connsiteX1988" fmla="*/ 2152 w 10577"/>
                <a:gd name="connsiteY1988" fmla="*/ 3581 h 10000"/>
                <a:gd name="connsiteX1989" fmla="*/ 2161 w 10577"/>
                <a:gd name="connsiteY1989" fmla="*/ 3598 h 10000"/>
                <a:gd name="connsiteX1990" fmla="*/ 2194 w 10577"/>
                <a:gd name="connsiteY1990" fmla="*/ 3752 h 10000"/>
                <a:gd name="connsiteX1991" fmla="*/ 2194 w 10577"/>
                <a:gd name="connsiteY1991" fmla="*/ 3735 h 10000"/>
                <a:gd name="connsiteX1992" fmla="*/ 2198 w 10577"/>
                <a:gd name="connsiteY1992" fmla="*/ 3735 h 10000"/>
                <a:gd name="connsiteX1993" fmla="*/ 2189 w 10577"/>
                <a:gd name="connsiteY1993" fmla="*/ 3838 h 10000"/>
                <a:gd name="connsiteX1994" fmla="*/ 2166 w 10577"/>
                <a:gd name="connsiteY1994" fmla="*/ 3889 h 10000"/>
                <a:gd name="connsiteX1995" fmla="*/ 2124 w 10577"/>
                <a:gd name="connsiteY1995" fmla="*/ 3889 h 10000"/>
                <a:gd name="connsiteX1996" fmla="*/ 2124 w 10577"/>
                <a:gd name="connsiteY1996" fmla="*/ 3923 h 10000"/>
                <a:gd name="connsiteX1997" fmla="*/ 2134 w 10577"/>
                <a:gd name="connsiteY1997" fmla="*/ 3940 h 10000"/>
                <a:gd name="connsiteX1998" fmla="*/ 2134 w 10577"/>
                <a:gd name="connsiteY1998" fmla="*/ 3966 h 10000"/>
                <a:gd name="connsiteX1999" fmla="*/ 2120 w 10577"/>
                <a:gd name="connsiteY1999" fmla="*/ 4000 h 10000"/>
                <a:gd name="connsiteX2000" fmla="*/ 2106 w 10577"/>
                <a:gd name="connsiteY2000" fmla="*/ 4009 h 10000"/>
                <a:gd name="connsiteX2001" fmla="*/ 2088 w 10577"/>
                <a:gd name="connsiteY2001" fmla="*/ 4000 h 10000"/>
                <a:gd name="connsiteX2002" fmla="*/ 2074 w 10577"/>
                <a:gd name="connsiteY2002" fmla="*/ 3974 h 10000"/>
                <a:gd name="connsiteX2003" fmla="*/ 2074 w 10577"/>
                <a:gd name="connsiteY2003" fmla="*/ 3940 h 10000"/>
                <a:gd name="connsiteX2004" fmla="*/ 2078 w 10577"/>
                <a:gd name="connsiteY2004" fmla="*/ 3915 h 10000"/>
                <a:gd name="connsiteX2005" fmla="*/ 2088 w 10577"/>
                <a:gd name="connsiteY2005" fmla="*/ 3889 h 10000"/>
                <a:gd name="connsiteX2006" fmla="*/ 2101 w 10577"/>
                <a:gd name="connsiteY2006" fmla="*/ 3872 h 10000"/>
                <a:gd name="connsiteX2007" fmla="*/ 2074 w 10577"/>
                <a:gd name="connsiteY2007" fmla="*/ 3812 h 10000"/>
                <a:gd name="connsiteX2008" fmla="*/ 2074 w 10577"/>
                <a:gd name="connsiteY2008" fmla="*/ 3786 h 10000"/>
                <a:gd name="connsiteX2009" fmla="*/ 2060 w 10577"/>
                <a:gd name="connsiteY2009" fmla="*/ 3786 h 10000"/>
                <a:gd name="connsiteX2010" fmla="*/ 2014 w 10577"/>
                <a:gd name="connsiteY2010" fmla="*/ 3829 h 10000"/>
                <a:gd name="connsiteX2011" fmla="*/ 2000 w 10577"/>
                <a:gd name="connsiteY2011" fmla="*/ 3863 h 10000"/>
                <a:gd name="connsiteX2012" fmla="*/ 1986 w 10577"/>
                <a:gd name="connsiteY2012" fmla="*/ 3872 h 10000"/>
                <a:gd name="connsiteX2013" fmla="*/ 1959 w 10577"/>
                <a:gd name="connsiteY2013" fmla="*/ 3940 h 10000"/>
                <a:gd name="connsiteX2014" fmla="*/ 1945 w 10577"/>
                <a:gd name="connsiteY2014" fmla="*/ 3949 h 10000"/>
                <a:gd name="connsiteX2015" fmla="*/ 1940 w 10577"/>
                <a:gd name="connsiteY2015" fmla="*/ 3923 h 10000"/>
                <a:gd name="connsiteX2016" fmla="*/ 1917 w 10577"/>
                <a:gd name="connsiteY2016" fmla="*/ 3915 h 10000"/>
                <a:gd name="connsiteX2017" fmla="*/ 1899 w 10577"/>
                <a:gd name="connsiteY2017" fmla="*/ 3923 h 10000"/>
                <a:gd name="connsiteX2018" fmla="*/ 1880 w 10577"/>
                <a:gd name="connsiteY2018" fmla="*/ 3915 h 10000"/>
                <a:gd name="connsiteX2019" fmla="*/ 1853 w 10577"/>
                <a:gd name="connsiteY2019" fmla="*/ 3940 h 10000"/>
                <a:gd name="connsiteX2020" fmla="*/ 1839 w 10577"/>
                <a:gd name="connsiteY2020" fmla="*/ 3940 h 10000"/>
                <a:gd name="connsiteX2021" fmla="*/ 1806 w 10577"/>
                <a:gd name="connsiteY2021" fmla="*/ 3983 h 10000"/>
                <a:gd name="connsiteX2022" fmla="*/ 1806 w 10577"/>
                <a:gd name="connsiteY2022" fmla="*/ 4000 h 10000"/>
                <a:gd name="connsiteX2023" fmla="*/ 1797 w 10577"/>
                <a:gd name="connsiteY2023" fmla="*/ 4077 h 10000"/>
                <a:gd name="connsiteX2024" fmla="*/ 1783 w 10577"/>
                <a:gd name="connsiteY2024" fmla="*/ 4077 h 10000"/>
                <a:gd name="connsiteX2025" fmla="*/ 1779 w 10577"/>
                <a:gd name="connsiteY2025" fmla="*/ 4051 h 10000"/>
                <a:gd name="connsiteX2026" fmla="*/ 1765 w 10577"/>
                <a:gd name="connsiteY2026" fmla="*/ 4026 h 10000"/>
                <a:gd name="connsiteX2027" fmla="*/ 1751 w 10577"/>
                <a:gd name="connsiteY2027" fmla="*/ 4051 h 10000"/>
                <a:gd name="connsiteX2028" fmla="*/ 1737 w 10577"/>
                <a:gd name="connsiteY2028" fmla="*/ 4009 h 10000"/>
                <a:gd name="connsiteX2029" fmla="*/ 1737 w 10577"/>
                <a:gd name="connsiteY2029" fmla="*/ 3966 h 10000"/>
                <a:gd name="connsiteX2030" fmla="*/ 1733 w 10577"/>
                <a:gd name="connsiteY2030" fmla="*/ 3940 h 10000"/>
                <a:gd name="connsiteX2031" fmla="*/ 1733 w 10577"/>
                <a:gd name="connsiteY2031" fmla="*/ 3923 h 10000"/>
                <a:gd name="connsiteX2032" fmla="*/ 1747 w 10577"/>
                <a:gd name="connsiteY2032" fmla="*/ 3889 h 10000"/>
                <a:gd name="connsiteX2033" fmla="*/ 1747 w 10577"/>
                <a:gd name="connsiteY2033" fmla="*/ 3863 h 10000"/>
                <a:gd name="connsiteX2034" fmla="*/ 1737 w 10577"/>
                <a:gd name="connsiteY2034" fmla="*/ 3838 h 10000"/>
                <a:gd name="connsiteX2035" fmla="*/ 1733 w 10577"/>
                <a:gd name="connsiteY2035" fmla="*/ 3829 h 10000"/>
                <a:gd name="connsiteX2036" fmla="*/ 1733 w 10577"/>
                <a:gd name="connsiteY2036" fmla="*/ 3846 h 10000"/>
                <a:gd name="connsiteX2037" fmla="*/ 1724 w 10577"/>
                <a:gd name="connsiteY2037" fmla="*/ 3846 h 10000"/>
                <a:gd name="connsiteX2038" fmla="*/ 1724 w 10577"/>
                <a:gd name="connsiteY2038" fmla="*/ 3829 h 10000"/>
                <a:gd name="connsiteX2039" fmla="*/ 1737 w 10577"/>
                <a:gd name="connsiteY2039" fmla="*/ 3812 h 10000"/>
                <a:gd name="connsiteX2040" fmla="*/ 1765 w 10577"/>
                <a:gd name="connsiteY2040" fmla="*/ 3812 h 10000"/>
                <a:gd name="connsiteX2041" fmla="*/ 1779 w 10577"/>
                <a:gd name="connsiteY2041" fmla="*/ 3786 h 10000"/>
                <a:gd name="connsiteX2042" fmla="*/ 1779 w 10577"/>
                <a:gd name="connsiteY2042" fmla="*/ 3786 h 10000"/>
                <a:gd name="connsiteX2043" fmla="*/ 1751 w 10577"/>
                <a:gd name="connsiteY2043" fmla="*/ 3803 h 10000"/>
                <a:gd name="connsiteX2044" fmla="*/ 1747 w 10577"/>
                <a:gd name="connsiteY2044" fmla="*/ 3803 h 10000"/>
                <a:gd name="connsiteX2045" fmla="*/ 1724 w 10577"/>
                <a:gd name="connsiteY2045" fmla="*/ 3803 h 10000"/>
                <a:gd name="connsiteX2046" fmla="*/ 1700 w 10577"/>
                <a:gd name="connsiteY2046" fmla="*/ 3829 h 10000"/>
                <a:gd name="connsiteX2047" fmla="*/ 1705 w 10577"/>
                <a:gd name="connsiteY2047" fmla="*/ 3846 h 10000"/>
                <a:gd name="connsiteX2048" fmla="*/ 1691 w 10577"/>
                <a:gd name="connsiteY2048" fmla="*/ 3846 h 10000"/>
                <a:gd name="connsiteX2049" fmla="*/ 1691 w 10577"/>
                <a:gd name="connsiteY2049" fmla="*/ 3863 h 10000"/>
                <a:gd name="connsiteX2050" fmla="*/ 1691 w 10577"/>
                <a:gd name="connsiteY2050" fmla="*/ 3915 h 10000"/>
                <a:gd name="connsiteX2051" fmla="*/ 1677 w 10577"/>
                <a:gd name="connsiteY2051" fmla="*/ 3923 h 10000"/>
                <a:gd name="connsiteX2052" fmla="*/ 1673 w 10577"/>
                <a:gd name="connsiteY2052" fmla="*/ 3915 h 10000"/>
                <a:gd name="connsiteX2053" fmla="*/ 1664 w 10577"/>
                <a:gd name="connsiteY2053" fmla="*/ 3889 h 10000"/>
                <a:gd name="connsiteX2054" fmla="*/ 1673 w 10577"/>
                <a:gd name="connsiteY2054" fmla="*/ 3872 h 10000"/>
                <a:gd name="connsiteX2055" fmla="*/ 1664 w 10577"/>
                <a:gd name="connsiteY2055" fmla="*/ 3872 h 10000"/>
                <a:gd name="connsiteX2056" fmla="*/ 1636 w 10577"/>
                <a:gd name="connsiteY2056" fmla="*/ 3923 h 10000"/>
                <a:gd name="connsiteX2057" fmla="*/ 1645 w 10577"/>
                <a:gd name="connsiteY2057" fmla="*/ 3923 h 10000"/>
                <a:gd name="connsiteX2058" fmla="*/ 1650 w 10577"/>
                <a:gd name="connsiteY2058" fmla="*/ 3949 h 10000"/>
                <a:gd name="connsiteX2059" fmla="*/ 1650 w 10577"/>
                <a:gd name="connsiteY2059" fmla="*/ 3983 h 10000"/>
                <a:gd name="connsiteX2060" fmla="*/ 1636 w 10577"/>
                <a:gd name="connsiteY2060" fmla="*/ 4000 h 10000"/>
                <a:gd name="connsiteX2061" fmla="*/ 1631 w 10577"/>
                <a:gd name="connsiteY2061" fmla="*/ 4009 h 10000"/>
                <a:gd name="connsiteX2062" fmla="*/ 1618 w 10577"/>
                <a:gd name="connsiteY2062" fmla="*/ 3949 h 10000"/>
                <a:gd name="connsiteX2063" fmla="*/ 1585 w 10577"/>
                <a:gd name="connsiteY2063" fmla="*/ 3966 h 10000"/>
                <a:gd name="connsiteX2064" fmla="*/ 1590 w 10577"/>
                <a:gd name="connsiteY2064" fmla="*/ 3974 h 10000"/>
                <a:gd name="connsiteX2065" fmla="*/ 1544 w 10577"/>
                <a:gd name="connsiteY2065" fmla="*/ 4009 h 10000"/>
                <a:gd name="connsiteX2066" fmla="*/ 1539 w 10577"/>
                <a:gd name="connsiteY2066" fmla="*/ 4009 h 10000"/>
                <a:gd name="connsiteX2067" fmla="*/ 1410 w 10577"/>
                <a:gd name="connsiteY2067" fmla="*/ 4188 h 10000"/>
                <a:gd name="connsiteX2068" fmla="*/ 1406 w 10577"/>
                <a:gd name="connsiteY2068" fmla="*/ 4171 h 10000"/>
                <a:gd name="connsiteX2069" fmla="*/ 1396 w 10577"/>
                <a:gd name="connsiteY2069" fmla="*/ 4214 h 10000"/>
                <a:gd name="connsiteX2070" fmla="*/ 1406 w 10577"/>
                <a:gd name="connsiteY2070" fmla="*/ 4222 h 10000"/>
                <a:gd name="connsiteX2071" fmla="*/ 1392 w 10577"/>
                <a:gd name="connsiteY2071" fmla="*/ 4239 h 10000"/>
                <a:gd name="connsiteX2072" fmla="*/ 1369 w 10577"/>
                <a:gd name="connsiteY2072" fmla="*/ 4248 h 10000"/>
                <a:gd name="connsiteX2073" fmla="*/ 1355 w 10577"/>
                <a:gd name="connsiteY2073" fmla="*/ 4256 h 10000"/>
                <a:gd name="connsiteX2074" fmla="*/ 1350 w 10577"/>
                <a:gd name="connsiteY2074" fmla="*/ 4248 h 10000"/>
                <a:gd name="connsiteX2075" fmla="*/ 1332 w 10577"/>
                <a:gd name="connsiteY2075" fmla="*/ 4376 h 10000"/>
                <a:gd name="connsiteX2076" fmla="*/ 1332 w 10577"/>
                <a:gd name="connsiteY2076" fmla="*/ 4436 h 10000"/>
                <a:gd name="connsiteX2077" fmla="*/ 1323 w 10577"/>
                <a:gd name="connsiteY2077" fmla="*/ 4462 h 10000"/>
                <a:gd name="connsiteX2078" fmla="*/ 1304 w 10577"/>
                <a:gd name="connsiteY2078" fmla="*/ 4487 h 10000"/>
                <a:gd name="connsiteX2079" fmla="*/ 1290 w 10577"/>
                <a:gd name="connsiteY2079" fmla="*/ 4470 h 10000"/>
                <a:gd name="connsiteX2080" fmla="*/ 1263 w 10577"/>
                <a:gd name="connsiteY2080" fmla="*/ 4496 h 10000"/>
                <a:gd name="connsiteX2081" fmla="*/ 1258 w 10577"/>
                <a:gd name="connsiteY2081" fmla="*/ 4547 h 10000"/>
                <a:gd name="connsiteX2082" fmla="*/ 1249 w 10577"/>
                <a:gd name="connsiteY2082" fmla="*/ 4487 h 10000"/>
                <a:gd name="connsiteX2083" fmla="*/ 1235 w 10577"/>
                <a:gd name="connsiteY2083" fmla="*/ 4496 h 10000"/>
                <a:gd name="connsiteX2084" fmla="*/ 1221 w 10577"/>
                <a:gd name="connsiteY2084" fmla="*/ 4496 h 10000"/>
                <a:gd name="connsiteX2085" fmla="*/ 1217 w 10577"/>
                <a:gd name="connsiteY2085" fmla="*/ 4487 h 10000"/>
                <a:gd name="connsiteX2086" fmla="*/ 1198 w 10577"/>
                <a:gd name="connsiteY2086" fmla="*/ 4410 h 10000"/>
                <a:gd name="connsiteX2087" fmla="*/ 1157 w 10577"/>
                <a:gd name="connsiteY2087" fmla="*/ 4333 h 10000"/>
                <a:gd name="connsiteX2088" fmla="*/ 1147 w 10577"/>
                <a:gd name="connsiteY2088" fmla="*/ 4299 h 10000"/>
                <a:gd name="connsiteX2089" fmla="*/ 1147 w 10577"/>
                <a:gd name="connsiteY2089" fmla="*/ 4274 h 10000"/>
                <a:gd name="connsiteX2090" fmla="*/ 1161 w 10577"/>
                <a:gd name="connsiteY2090" fmla="*/ 4256 h 10000"/>
                <a:gd name="connsiteX2091" fmla="*/ 1171 w 10577"/>
                <a:gd name="connsiteY2091" fmla="*/ 4248 h 10000"/>
                <a:gd name="connsiteX2092" fmla="*/ 1175 w 10577"/>
                <a:gd name="connsiteY2092" fmla="*/ 4214 h 10000"/>
                <a:gd name="connsiteX2093" fmla="*/ 1263 w 10577"/>
                <a:gd name="connsiteY2093" fmla="*/ 4171 h 10000"/>
                <a:gd name="connsiteX2094" fmla="*/ 1249 w 10577"/>
                <a:gd name="connsiteY2094" fmla="*/ 4137 h 10000"/>
                <a:gd name="connsiteX2095" fmla="*/ 1244 w 10577"/>
                <a:gd name="connsiteY2095" fmla="*/ 4060 h 10000"/>
                <a:gd name="connsiteX2096" fmla="*/ 1230 w 10577"/>
                <a:gd name="connsiteY2096" fmla="*/ 4077 h 10000"/>
                <a:gd name="connsiteX2097" fmla="*/ 1221 w 10577"/>
                <a:gd name="connsiteY2097" fmla="*/ 4026 h 10000"/>
                <a:gd name="connsiteX2098" fmla="*/ 1217 w 10577"/>
                <a:gd name="connsiteY2098" fmla="*/ 4026 h 10000"/>
                <a:gd name="connsiteX2099" fmla="*/ 1212 w 10577"/>
                <a:gd name="connsiteY2099" fmla="*/ 3983 h 10000"/>
                <a:gd name="connsiteX2100" fmla="*/ 1203 w 10577"/>
                <a:gd name="connsiteY2100" fmla="*/ 3966 h 10000"/>
                <a:gd name="connsiteX2101" fmla="*/ 1171 w 10577"/>
                <a:gd name="connsiteY2101" fmla="*/ 3949 h 10000"/>
                <a:gd name="connsiteX2102" fmla="*/ 1111 w 10577"/>
                <a:gd name="connsiteY2102" fmla="*/ 3940 h 10000"/>
                <a:gd name="connsiteX2103" fmla="*/ 1097 w 10577"/>
                <a:gd name="connsiteY2103" fmla="*/ 3949 h 10000"/>
                <a:gd name="connsiteX2104" fmla="*/ 1037 w 10577"/>
                <a:gd name="connsiteY2104" fmla="*/ 3897 h 10000"/>
                <a:gd name="connsiteX2105" fmla="*/ 1041 w 10577"/>
                <a:gd name="connsiteY2105" fmla="*/ 3923 h 10000"/>
                <a:gd name="connsiteX2106" fmla="*/ 1097 w 10577"/>
                <a:gd name="connsiteY2106" fmla="*/ 4009 h 10000"/>
                <a:gd name="connsiteX2107" fmla="*/ 1097 w 10577"/>
                <a:gd name="connsiteY2107" fmla="*/ 4120 h 10000"/>
                <a:gd name="connsiteX2108" fmla="*/ 1097 w 10577"/>
                <a:gd name="connsiteY2108" fmla="*/ 4162 h 10000"/>
                <a:gd name="connsiteX2109" fmla="*/ 1097 w 10577"/>
                <a:gd name="connsiteY2109" fmla="*/ 4197 h 10000"/>
                <a:gd name="connsiteX2110" fmla="*/ 1074 w 10577"/>
                <a:gd name="connsiteY2110" fmla="*/ 4333 h 10000"/>
                <a:gd name="connsiteX2111" fmla="*/ 1074 w 10577"/>
                <a:gd name="connsiteY2111" fmla="*/ 4376 h 10000"/>
                <a:gd name="connsiteX2112" fmla="*/ 1083 w 10577"/>
                <a:gd name="connsiteY2112" fmla="*/ 4385 h 10000"/>
                <a:gd name="connsiteX2113" fmla="*/ 1097 w 10577"/>
                <a:gd name="connsiteY2113" fmla="*/ 4385 h 10000"/>
                <a:gd name="connsiteX2114" fmla="*/ 1111 w 10577"/>
                <a:gd name="connsiteY2114" fmla="*/ 4410 h 10000"/>
                <a:gd name="connsiteX2115" fmla="*/ 1124 w 10577"/>
                <a:gd name="connsiteY2115" fmla="*/ 4444 h 10000"/>
                <a:gd name="connsiteX2116" fmla="*/ 1124 w 10577"/>
                <a:gd name="connsiteY2116" fmla="*/ 4470 h 10000"/>
                <a:gd name="connsiteX2117" fmla="*/ 1115 w 10577"/>
                <a:gd name="connsiteY2117" fmla="*/ 4513 h 10000"/>
                <a:gd name="connsiteX2118" fmla="*/ 1115 w 10577"/>
                <a:gd name="connsiteY2118" fmla="*/ 4530 h 10000"/>
                <a:gd name="connsiteX2119" fmla="*/ 1115 w 10577"/>
                <a:gd name="connsiteY2119" fmla="*/ 4573 h 10000"/>
                <a:gd name="connsiteX2120" fmla="*/ 1101 w 10577"/>
                <a:gd name="connsiteY2120" fmla="*/ 4607 h 10000"/>
                <a:gd name="connsiteX2121" fmla="*/ 1097 w 10577"/>
                <a:gd name="connsiteY2121" fmla="*/ 4658 h 10000"/>
                <a:gd name="connsiteX2122" fmla="*/ 1101 w 10577"/>
                <a:gd name="connsiteY2122" fmla="*/ 4692 h 10000"/>
                <a:gd name="connsiteX2123" fmla="*/ 1097 w 10577"/>
                <a:gd name="connsiteY2123" fmla="*/ 4778 h 10000"/>
                <a:gd name="connsiteX2124" fmla="*/ 1083 w 10577"/>
                <a:gd name="connsiteY2124" fmla="*/ 4744 h 10000"/>
                <a:gd name="connsiteX2125" fmla="*/ 1083 w 10577"/>
                <a:gd name="connsiteY2125" fmla="*/ 4718 h 10000"/>
                <a:gd name="connsiteX2126" fmla="*/ 1074 w 10577"/>
                <a:gd name="connsiteY2126" fmla="*/ 4692 h 10000"/>
                <a:gd name="connsiteX2127" fmla="*/ 1065 w 10577"/>
                <a:gd name="connsiteY2127" fmla="*/ 4692 h 10000"/>
                <a:gd name="connsiteX2128" fmla="*/ 1051 w 10577"/>
                <a:gd name="connsiteY2128" fmla="*/ 4718 h 10000"/>
                <a:gd name="connsiteX2129" fmla="*/ 1055 w 10577"/>
                <a:gd name="connsiteY2129" fmla="*/ 4692 h 10000"/>
                <a:gd name="connsiteX2130" fmla="*/ 1055 w 10577"/>
                <a:gd name="connsiteY2130" fmla="*/ 4667 h 10000"/>
                <a:gd name="connsiteX2131" fmla="*/ 1028 w 10577"/>
                <a:gd name="connsiteY2131" fmla="*/ 4624 h 10000"/>
                <a:gd name="connsiteX2132" fmla="*/ 1005 w 10577"/>
                <a:gd name="connsiteY2132" fmla="*/ 4624 h 10000"/>
                <a:gd name="connsiteX2133" fmla="*/ 977 w 10577"/>
                <a:gd name="connsiteY2133" fmla="*/ 4581 h 10000"/>
                <a:gd name="connsiteX2134" fmla="*/ 963 w 10577"/>
                <a:gd name="connsiteY2134" fmla="*/ 4607 h 10000"/>
                <a:gd name="connsiteX2135" fmla="*/ 963 w 10577"/>
                <a:gd name="connsiteY2135" fmla="*/ 4632 h 10000"/>
                <a:gd name="connsiteX2136" fmla="*/ 917 w 10577"/>
                <a:gd name="connsiteY2136" fmla="*/ 4718 h 10000"/>
                <a:gd name="connsiteX2137" fmla="*/ 889 w 10577"/>
                <a:gd name="connsiteY2137" fmla="*/ 4744 h 10000"/>
                <a:gd name="connsiteX2138" fmla="*/ 880 w 10577"/>
                <a:gd name="connsiteY2138" fmla="*/ 4744 h 10000"/>
                <a:gd name="connsiteX2139" fmla="*/ 862 w 10577"/>
                <a:gd name="connsiteY2139" fmla="*/ 4769 h 10000"/>
                <a:gd name="connsiteX2140" fmla="*/ 857 w 10577"/>
                <a:gd name="connsiteY2140" fmla="*/ 4795 h 10000"/>
                <a:gd name="connsiteX2141" fmla="*/ 829 w 10577"/>
                <a:gd name="connsiteY2141" fmla="*/ 4846 h 10000"/>
                <a:gd name="connsiteX2142" fmla="*/ 816 w 10577"/>
                <a:gd name="connsiteY2142" fmla="*/ 4855 h 10000"/>
                <a:gd name="connsiteX2143" fmla="*/ 816 w 10577"/>
                <a:gd name="connsiteY2143" fmla="*/ 4940 h 10000"/>
                <a:gd name="connsiteX2144" fmla="*/ 880 w 10577"/>
                <a:gd name="connsiteY2144" fmla="*/ 5179 h 10000"/>
                <a:gd name="connsiteX2145" fmla="*/ 880 w 10577"/>
                <a:gd name="connsiteY2145" fmla="*/ 5188 h 10000"/>
                <a:gd name="connsiteX2146" fmla="*/ 862 w 10577"/>
                <a:gd name="connsiteY2146" fmla="*/ 5171 h 10000"/>
                <a:gd name="connsiteX2147" fmla="*/ 857 w 10577"/>
                <a:gd name="connsiteY2147" fmla="*/ 5171 h 10000"/>
                <a:gd name="connsiteX2148" fmla="*/ 820 w 10577"/>
                <a:gd name="connsiteY2148" fmla="*/ 5145 h 10000"/>
                <a:gd name="connsiteX2149" fmla="*/ 820 w 10577"/>
                <a:gd name="connsiteY2149" fmla="*/ 5154 h 10000"/>
                <a:gd name="connsiteX2150" fmla="*/ 816 w 10577"/>
                <a:gd name="connsiteY2150" fmla="*/ 5171 h 10000"/>
                <a:gd name="connsiteX2151" fmla="*/ 783 w 10577"/>
                <a:gd name="connsiteY2151" fmla="*/ 5145 h 10000"/>
                <a:gd name="connsiteX2152" fmla="*/ 756 w 10577"/>
                <a:gd name="connsiteY2152" fmla="*/ 5103 h 10000"/>
                <a:gd name="connsiteX2153" fmla="*/ 742 w 10577"/>
                <a:gd name="connsiteY2153" fmla="*/ 5103 h 10000"/>
                <a:gd name="connsiteX2154" fmla="*/ 728 w 10577"/>
                <a:gd name="connsiteY2154" fmla="*/ 5094 h 10000"/>
                <a:gd name="connsiteX2155" fmla="*/ 710 w 10577"/>
                <a:gd name="connsiteY2155" fmla="*/ 5120 h 10000"/>
                <a:gd name="connsiteX2156" fmla="*/ 700 w 10577"/>
                <a:gd name="connsiteY2156" fmla="*/ 5145 h 10000"/>
                <a:gd name="connsiteX2157" fmla="*/ 696 w 10577"/>
                <a:gd name="connsiteY2157" fmla="*/ 5103 h 10000"/>
                <a:gd name="connsiteX2158" fmla="*/ 714 w 10577"/>
                <a:gd name="connsiteY2158" fmla="*/ 5077 h 10000"/>
                <a:gd name="connsiteX2159" fmla="*/ 682 w 10577"/>
                <a:gd name="connsiteY2159" fmla="*/ 5068 h 10000"/>
                <a:gd name="connsiteX2160" fmla="*/ 673 w 10577"/>
                <a:gd name="connsiteY2160" fmla="*/ 5034 h 10000"/>
                <a:gd name="connsiteX2161" fmla="*/ 636 w 10577"/>
                <a:gd name="connsiteY2161" fmla="*/ 4991 h 10000"/>
                <a:gd name="connsiteX2162" fmla="*/ 622 w 10577"/>
                <a:gd name="connsiteY2162" fmla="*/ 4983 h 10000"/>
                <a:gd name="connsiteX2163" fmla="*/ 622 w 10577"/>
                <a:gd name="connsiteY2163" fmla="*/ 5034 h 10000"/>
                <a:gd name="connsiteX2164" fmla="*/ 608 w 10577"/>
                <a:gd name="connsiteY2164" fmla="*/ 5051 h 10000"/>
                <a:gd name="connsiteX2165" fmla="*/ 594 w 10577"/>
                <a:gd name="connsiteY2165" fmla="*/ 5068 h 10000"/>
                <a:gd name="connsiteX2166" fmla="*/ 608 w 10577"/>
                <a:gd name="connsiteY2166" fmla="*/ 5120 h 10000"/>
                <a:gd name="connsiteX2167" fmla="*/ 613 w 10577"/>
                <a:gd name="connsiteY2167" fmla="*/ 5128 h 10000"/>
                <a:gd name="connsiteX2168" fmla="*/ 627 w 10577"/>
                <a:gd name="connsiteY2168" fmla="*/ 5179 h 10000"/>
                <a:gd name="connsiteX2169" fmla="*/ 650 w 10577"/>
                <a:gd name="connsiteY2169" fmla="*/ 5214 h 10000"/>
                <a:gd name="connsiteX2170" fmla="*/ 687 w 10577"/>
                <a:gd name="connsiteY2170" fmla="*/ 5188 h 10000"/>
                <a:gd name="connsiteX2171" fmla="*/ 700 w 10577"/>
                <a:gd name="connsiteY2171" fmla="*/ 5325 h 10000"/>
                <a:gd name="connsiteX2172" fmla="*/ 710 w 10577"/>
                <a:gd name="connsiteY2172" fmla="*/ 5350 h 10000"/>
                <a:gd name="connsiteX2173" fmla="*/ 687 w 10577"/>
                <a:gd name="connsiteY2173" fmla="*/ 5325 h 10000"/>
                <a:gd name="connsiteX2174" fmla="*/ 668 w 10577"/>
                <a:gd name="connsiteY2174" fmla="*/ 5350 h 10000"/>
                <a:gd name="connsiteX2175" fmla="*/ 668 w 10577"/>
                <a:gd name="connsiteY2175" fmla="*/ 5368 h 10000"/>
                <a:gd name="connsiteX2176" fmla="*/ 668 w 10577"/>
                <a:gd name="connsiteY2176" fmla="*/ 5376 h 10000"/>
                <a:gd name="connsiteX2177" fmla="*/ 581 w 10577"/>
                <a:gd name="connsiteY2177" fmla="*/ 5316 h 10000"/>
                <a:gd name="connsiteX2178" fmla="*/ 567 w 10577"/>
                <a:gd name="connsiteY2178" fmla="*/ 5265 h 10000"/>
                <a:gd name="connsiteX2179" fmla="*/ 562 w 10577"/>
                <a:gd name="connsiteY2179" fmla="*/ 5256 h 10000"/>
                <a:gd name="connsiteX2180" fmla="*/ 548 w 10577"/>
                <a:gd name="connsiteY2180" fmla="*/ 5231 h 10000"/>
                <a:gd name="connsiteX2181" fmla="*/ 535 w 10577"/>
                <a:gd name="connsiteY2181" fmla="*/ 5214 h 10000"/>
                <a:gd name="connsiteX2182" fmla="*/ 525 w 10577"/>
                <a:gd name="connsiteY2182" fmla="*/ 5231 h 10000"/>
                <a:gd name="connsiteX2183" fmla="*/ 521 w 10577"/>
                <a:gd name="connsiteY2183" fmla="*/ 5231 h 10000"/>
                <a:gd name="connsiteX2184" fmla="*/ 493 w 10577"/>
                <a:gd name="connsiteY2184" fmla="*/ 5205 h 10000"/>
                <a:gd name="connsiteX2185" fmla="*/ 488 w 10577"/>
                <a:gd name="connsiteY2185" fmla="*/ 5179 h 10000"/>
                <a:gd name="connsiteX2186" fmla="*/ 475 w 10577"/>
                <a:gd name="connsiteY2186" fmla="*/ 5188 h 10000"/>
                <a:gd name="connsiteX2187" fmla="*/ 475 w 10577"/>
                <a:gd name="connsiteY2187" fmla="*/ 5171 h 10000"/>
                <a:gd name="connsiteX2188" fmla="*/ 488 w 10577"/>
                <a:gd name="connsiteY2188" fmla="*/ 5154 h 10000"/>
                <a:gd name="connsiteX2189" fmla="*/ 488 w 10577"/>
                <a:gd name="connsiteY2189" fmla="*/ 5068 h 10000"/>
                <a:gd name="connsiteX2190" fmla="*/ 475 w 10577"/>
                <a:gd name="connsiteY2190" fmla="*/ 5051 h 10000"/>
                <a:gd name="connsiteX2191" fmla="*/ 475 w 10577"/>
                <a:gd name="connsiteY2191" fmla="*/ 5017 h 10000"/>
                <a:gd name="connsiteX2192" fmla="*/ 452 w 10577"/>
                <a:gd name="connsiteY2192" fmla="*/ 4932 h 10000"/>
                <a:gd name="connsiteX2193" fmla="*/ 461 w 10577"/>
                <a:gd name="connsiteY2193" fmla="*/ 4915 h 10000"/>
                <a:gd name="connsiteX2194" fmla="*/ 475 w 10577"/>
                <a:gd name="connsiteY2194" fmla="*/ 4906 h 10000"/>
                <a:gd name="connsiteX2195" fmla="*/ 479 w 10577"/>
                <a:gd name="connsiteY2195" fmla="*/ 4803 h 10000"/>
                <a:gd name="connsiteX2196" fmla="*/ 479 w 10577"/>
                <a:gd name="connsiteY2196" fmla="*/ 4778 h 10000"/>
                <a:gd name="connsiteX2197" fmla="*/ 475 w 10577"/>
                <a:gd name="connsiteY2197" fmla="*/ 4761 h 10000"/>
                <a:gd name="connsiteX2198" fmla="*/ 465 w 10577"/>
                <a:gd name="connsiteY2198" fmla="*/ 4718 h 10000"/>
                <a:gd name="connsiteX2199" fmla="*/ 461 w 10577"/>
                <a:gd name="connsiteY2199" fmla="*/ 4709 h 10000"/>
                <a:gd name="connsiteX2200" fmla="*/ 442 w 10577"/>
                <a:gd name="connsiteY2200" fmla="*/ 4692 h 10000"/>
                <a:gd name="connsiteX2201" fmla="*/ 433 w 10577"/>
                <a:gd name="connsiteY2201" fmla="*/ 4667 h 10000"/>
                <a:gd name="connsiteX2202" fmla="*/ 419 w 10577"/>
                <a:gd name="connsiteY2202" fmla="*/ 4667 h 10000"/>
                <a:gd name="connsiteX2203" fmla="*/ 401 w 10577"/>
                <a:gd name="connsiteY2203" fmla="*/ 4658 h 10000"/>
                <a:gd name="connsiteX2204" fmla="*/ 401 w 10577"/>
                <a:gd name="connsiteY2204" fmla="*/ 4624 h 10000"/>
                <a:gd name="connsiteX2205" fmla="*/ 401 w 10577"/>
                <a:gd name="connsiteY2205" fmla="*/ 4607 h 10000"/>
                <a:gd name="connsiteX2206" fmla="*/ 378 w 10577"/>
                <a:gd name="connsiteY2206" fmla="*/ 4607 h 10000"/>
                <a:gd name="connsiteX2207" fmla="*/ 341 w 10577"/>
                <a:gd name="connsiteY2207" fmla="*/ 4530 h 10000"/>
                <a:gd name="connsiteX2208" fmla="*/ 346 w 10577"/>
                <a:gd name="connsiteY2208" fmla="*/ 4521 h 10000"/>
                <a:gd name="connsiteX2209" fmla="*/ 332 w 10577"/>
                <a:gd name="connsiteY2209" fmla="*/ 4487 h 10000"/>
                <a:gd name="connsiteX2210" fmla="*/ 327 w 10577"/>
                <a:gd name="connsiteY2210" fmla="*/ 4462 h 10000"/>
                <a:gd name="connsiteX2211" fmla="*/ 313 w 10577"/>
                <a:gd name="connsiteY2211" fmla="*/ 4436 h 10000"/>
                <a:gd name="connsiteX2212" fmla="*/ 300 w 10577"/>
                <a:gd name="connsiteY2212" fmla="*/ 4419 h 10000"/>
                <a:gd name="connsiteX2213" fmla="*/ 309 w 10577"/>
                <a:gd name="connsiteY2213" fmla="*/ 4393 h 10000"/>
                <a:gd name="connsiteX2214" fmla="*/ 332 w 10577"/>
                <a:gd name="connsiteY2214" fmla="*/ 4385 h 10000"/>
                <a:gd name="connsiteX2215" fmla="*/ 355 w 10577"/>
                <a:gd name="connsiteY2215" fmla="*/ 4419 h 10000"/>
                <a:gd name="connsiteX2216" fmla="*/ 355 w 10577"/>
                <a:gd name="connsiteY2216" fmla="*/ 4444 h 10000"/>
                <a:gd name="connsiteX2217" fmla="*/ 369 w 10577"/>
                <a:gd name="connsiteY2217" fmla="*/ 4470 h 10000"/>
                <a:gd name="connsiteX2218" fmla="*/ 401 w 10577"/>
                <a:gd name="connsiteY2218" fmla="*/ 4521 h 10000"/>
                <a:gd name="connsiteX2219" fmla="*/ 406 w 10577"/>
                <a:gd name="connsiteY2219" fmla="*/ 4513 h 10000"/>
                <a:gd name="connsiteX2220" fmla="*/ 406 w 10577"/>
                <a:gd name="connsiteY2220" fmla="*/ 4496 h 10000"/>
                <a:gd name="connsiteX2221" fmla="*/ 419 w 10577"/>
                <a:gd name="connsiteY2221" fmla="*/ 4521 h 10000"/>
                <a:gd name="connsiteX2222" fmla="*/ 429 w 10577"/>
                <a:gd name="connsiteY2222" fmla="*/ 4530 h 10000"/>
                <a:gd name="connsiteX2223" fmla="*/ 433 w 10577"/>
                <a:gd name="connsiteY2223" fmla="*/ 4521 h 10000"/>
                <a:gd name="connsiteX2224" fmla="*/ 442 w 10577"/>
                <a:gd name="connsiteY2224" fmla="*/ 4530 h 10000"/>
                <a:gd name="connsiteX2225" fmla="*/ 447 w 10577"/>
                <a:gd name="connsiteY2225" fmla="*/ 4521 h 10000"/>
                <a:gd name="connsiteX2226" fmla="*/ 452 w 10577"/>
                <a:gd name="connsiteY2226" fmla="*/ 4521 h 10000"/>
                <a:gd name="connsiteX2227" fmla="*/ 461 w 10577"/>
                <a:gd name="connsiteY2227" fmla="*/ 4573 h 10000"/>
                <a:gd name="connsiteX2228" fmla="*/ 479 w 10577"/>
                <a:gd name="connsiteY2228" fmla="*/ 4556 h 10000"/>
                <a:gd name="connsiteX2229" fmla="*/ 502 w 10577"/>
                <a:gd name="connsiteY2229" fmla="*/ 4573 h 10000"/>
                <a:gd name="connsiteX2230" fmla="*/ 507 w 10577"/>
                <a:gd name="connsiteY2230" fmla="*/ 4598 h 10000"/>
                <a:gd name="connsiteX2231" fmla="*/ 525 w 10577"/>
                <a:gd name="connsiteY2231" fmla="*/ 4598 h 10000"/>
                <a:gd name="connsiteX2232" fmla="*/ 535 w 10577"/>
                <a:gd name="connsiteY2232" fmla="*/ 4624 h 10000"/>
                <a:gd name="connsiteX2233" fmla="*/ 594 w 10577"/>
                <a:gd name="connsiteY2233" fmla="*/ 4658 h 10000"/>
                <a:gd name="connsiteX2234" fmla="*/ 627 w 10577"/>
                <a:gd name="connsiteY2234" fmla="*/ 4658 h 10000"/>
                <a:gd name="connsiteX2235" fmla="*/ 654 w 10577"/>
                <a:gd name="connsiteY2235" fmla="*/ 4684 h 10000"/>
                <a:gd name="connsiteX2236" fmla="*/ 668 w 10577"/>
                <a:gd name="connsiteY2236" fmla="*/ 4709 h 10000"/>
                <a:gd name="connsiteX2237" fmla="*/ 747 w 10577"/>
                <a:gd name="connsiteY2237" fmla="*/ 4718 h 10000"/>
                <a:gd name="connsiteX2238" fmla="*/ 760 w 10577"/>
                <a:gd name="connsiteY2238" fmla="*/ 4709 h 10000"/>
                <a:gd name="connsiteX2239" fmla="*/ 774 w 10577"/>
                <a:gd name="connsiteY2239" fmla="*/ 4692 h 10000"/>
                <a:gd name="connsiteX2240" fmla="*/ 829 w 10577"/>
                <a:gd name="connsiteY2240" fmla="*/ 4658 h 10000"/>
                <a:gd name="connsiteX2241" fmla="*/ 903 w 10577"/>
                <a:gd name="connsiteY2241" fmla="*/ 4496 h 10000"/>
                <a:gd name="connsiteX2242" fmla="*/ 917 w 10577"/>
                <a:gd name="connsiteY2242" fmla="*/ 4385 h 10000"/>
                <a:gd name="connsiteX2243" fmla="*/ 903 w 10577"/>
                <a:gd name="connsiteY2243" fmla="*/ 4376 h 10000"/>
                <a:gd name="connsiteX2244" fmla="*/ 903 w 10577"/>
                <a:gd name="connsiteY2244" fmla="*/ 4376 h 10000"/>
                <a:gd name="connsiteX2245" fmla="*/ 889 w 10577"/>
                <a:gd name="connsiteY2245" fmla="*/ 4239 h 10000"/>
                <a:gd name="connsiteX2246" fmla="*/ 880 w 10577"/>
                <a:gd name="connsiteY2246" fmla="*/ 4214 h 10000"/>
                <a:gd name="connsiteX2247" fmla="*/ 862 w 10577"/>
                <a:gd name="connsiteY2247" fmla="*/ 4188 h 10000"/>
                <a:gd name="connsiteX2248" fmla="*/ 857 w 10577"/>
                <a:gd name="connsiteY2248" fmla="*/ 4197 h 10000"/>
                <a:gd name="connsiteX2249" fmla="*/ 848 w 10577"/>
                <a:gd name="connsiteY2249" fmla="*/ 4188 h 10000"/>
                <a:gd name="connsiteX2250" fmla="*/ 848 w 10577"/>
                <a:gd name="connsiteY2250" fmla="*/ 4162 h 10000"/>
                <a:gd name="connsiteX2251" fmla="*/ 829 w 10577"/>
                <a:gd name="connsiteY2251" fmla="*/ 4120 h 10000"/>
                <a:gd name="connsiteX2252" fmla="*/ 820 w 10577"/>
                <a:gd name="connsiteY2252" fmla="*/ 4103 h 10000"/>
                <a:gd name="connsiteX2253" fmla="*/ 806 w 10577"/>
                <a:gd name="connsiteY2253" fmla="*/ 4077 h 10000"/>
                <a:gd name="connsiteX2254" fmla="*/ 816 w 10577"/>
                <a:gd name="connsiteY2254" fmla="*/ 4111 h 10000"/>
                <a:gd name="connsiteX2255" fmla="*/ 802 w 10577"/>
                <a:gd name="connsiteY2255" fmla="*/ 4111 h 10000"/>
                <a:gd name="connsiteX2256" fmla="*/ 770 w 10577"/>
                <a:gd name="connsiteY2256" fmla="*/ 4060 h 10000"/>
                <a:gd name="connsiteX2257" fmla="*/ 760 w 10577"/>
                <a:gd name="connsiteY2257" fmla="*/ 4077 h 10000"/>
                <a:gd name="connsiteX2258" fmla="*/ 760 w 10577"/>
                <a:gd name="connsiteY2258" fmla="*/ 4060 h 10000"/>
                <a:gd name="connsiteX2259" fmla="*/ 756 w 10577"/>
                <a:gd name="connsiteY2259" fmla="*/ 4034 h 10000"/>
                <a:gd name="connsiteX2260" fmla="*/ 742 w 10577"/>
                <a:gd name="connsiteY2260" fmla="*/ 4000 h 10000"/>
                <a:gd name="connsiteX2261" fmla="*/ 747 w 10577"/>
                <a:gd name="connsiteY2261" fmla="*/ 4034 h 10000"/>
                <a:gd name="connsiteX2262" fmla="*/ 724 w 10577"/>
                <a:gd name="connsiteY2262" fmla="*/ 4026 h 10000"/>
                <a:gd name="connsiteX2263" fmla="*/ 714 w 10577"/>
                <a:gd name="connsiteY2263" fmla="*/ 4000 h 10000"/>
                <a:gd name="connsiteX2264" fmla="*/ 714 w 10577"/>
                <a:gd name="connsiteY2264" fmla="*/ 3983 h 10000"/>
                <a:gd name="connsiteX2265" fmla="*/ 553 w 10577"/>
                <a:gd name="connsiteY2265" fmla="*/ 3726 h 10000"/>
                <a:gd name="connsiteX2266" fmla="*/ 507 w 10577"/>
                <a:gd name="connsiteY2266" fmla="*/ 3718 h 10000"/>
                <a:gd name="connsiteX2267" fmla="*/ 516 w 10577"/>
                <a:gd name="connsiteY2267" fmla="*/ 3726 h 10000"/>
                <a:gd name="connsiteX2268" fmla="*/ 507 w 10577"/>
                <a:gd name="connsiteY2268" fmla="*/ 3735 h 10000"/>
                <a:gd name="connsiteX2269" fmla="*/ 502 w 10577"/>
                <a:gd name="connsiteY2269" fmla="*/ 3735 h 10000"/>
                <a:gd name="connsiteX2270" fmla="*/ 419 w 10577"/>
                <a:gd name="connsiteY2270" fmla="*/ 3675 h 10000"/>
                <a:gd name="connsiteX2271" fmla="*/ 419 w 10577"/>
                <a:gd name="connsiteY2271" fmla="*/ 3692 h 10000"/>
                <a:gd name="connsiteX2272" fmla="*/ 401 w 10577"/>
                <a:gd name="connsiteY2272" fmla="*/ 3701 h 10000"/>
                <a:gd name="connsiteX2273" fmla="*/ 387 w 10577"/>
                <a:gd name="connsiteY2273" fmla="*/ 3718 h 10000"/>
                <a:gd name="connsiteX2274" fmla="*/ 387 w 10577"/>
                <a:gd name="connsiteY2274" fmla="*/ 3692 h 10000"/>
                <a:gd name="connsiteX2275" fmla="*/ 378 w 10577"/>
                <a:gd name="connsiteY2275" fmla="*/ 3675 h 10000"/>
                <a:gd name="connsiteX2276" fmla="*/ 378 w 10577"/>
                <a:gd name="connsiteY2276" fmla="*/ 3650 h 10000"/>
                <a:gd name="connsiteX2277" fmla="*/ 378 w 10577"/>
                <a:gd name="connsiteY2277" fmla="*/ 3650 h 10000"/>
                <a:gd name="connsiteX2278" fmla="*/ 355 w 10577"/>
                <a:gd name="connsiteY2278" fmla="*/ 3675 h 10000"/>
                <a:gd name="connsiteX2279" fmla="*/ 359 w 10577"/>
                <a:gd name="connsiteY2279" fmla="*/ 3641 h 10000"/>
                <a:gd name="connsiteX2280" fmla="*/ 346 w 10577"/>
                <a:gd name="connsiteY2280" fmla="*/ 3650 h 10000"/>
                <a:gd name="connsiteX2281" fmla="*/ 355 w 10577"/>
                <a:gd name="connsiteY2281" fmla="*/ 3624 h 10000"/>
                <a:gd name="connsiteX2282" fmla="*/ 346 w 10577"/>
                <a:gd name="connsiteY2282" fmla="*/ 3624 h 10000"/>
                <a:gd name="connsiteX2283" fmla="*/ 341 w 10577"/>
                <a:gd name="connsiteY2283" fmla="*/ 3624 h 10000"/>
                <a:gd name="connsiteX2284" fmla="*/ 318 w 10577"/>
                <a:gd name="connsiteY2284" fmla="*/ 3641 h 10000"/>
                <a:gd name="connsiteX2285" fmla="*/ 327 w 10577"/>
                <a:gd name="connsiteY2285" fmla="*/ 3624 h 10000"/>
                <a:gd name="connsiteX2286" fmla="*/ 318 w 10577"/>
                <a:gd name="connsiteY2286" fmla="*/ 3615 h 10000"/>
                <a:gd name="connsiteX2287" fmla="*/ 318 w 10577"/>
                <a:gd name="connsiteY2287" fmla="*/ 3598 h 10000"/>
                <a:gd name="connsiteX2288" fmla="*/ 300 w 10577"/>
                <a:gd name="connsiteY2288" fmla="*/ 3598 h 10000"/>
                <a:gd name="connsiteX2289" fmla="*/ 309 w 10577"/>
                <a:gd name="connsiteY2289" fmla="*/ 3538 h 10000"/>
                <a:gd name="connsiteX2290" fmla="*/ 313 w 10577"/>
                <a:gd name="connsiteY2290" fmla="*/ 3564 h 10000"/>
                <a:gd name="connsiteX2291" fmla="*/ 318 w 10577"/>
                <a:gd name="connsiteY2291" fmla="*/ 3581 h 10000"/>
                <a:gd name="connsiteX2292" fmla="*/ 327 w 10577"/>
                <a:gd name="connsiteY2292" fmla="*/ 3564 h 10000"/>
                <a:gd name="connsiteX2293" fmla="*/ 332 w 10577"/>
                <a:gd name="connsiteY2293" fmla="*/ 3590 h 10000"/>
                <a:gd name="connsiteX2294" fmla="*/ 346 w 10577"/>
                <a:gd name="connsiteY2294" fmla="*/ 3590 h 10000"/>
                <a:gd name="connsiteX2295" fmla="*/ 355 w 10577"/>
                <a:gd name="connsiteY2295" fmla="*/ 3590 h 10000"/>
                <a:gd name="connsiteX2296" fmla="*/ 369 w 10577"/>
                <a:gd name="connsiteY2296" fmla="*/ 3556 h 10000"/>
                <a:gd name="connsiteX2297" fmla="*/ 369 w 10577"/>
                <a:gd name="connsiteY2297" fmla="*/ 3538 h 10000"/>
                <a:gd name="connsiteX2298" fmla="*/ 346 w 10577"/>
                <a:gd name="connsiteY2298" fmla="*/ 3513 h 10000"/>
                <a:gd name="connsiteX2299" fmla="*/ 341 w 10577"/>
                <a:gd name="connsiteY2299" fmla="*/ 3530 h 10000"/>
                <a:gd name="connsiteX2300" fmla="*/ 327 w 10577"/>
                <a:gd name="connsiteY2300" fmla="*/ 3513 h 10000"/>
                <a:gd name="connsiteX2301" fmla="*/ 327 w 10577"/>
                <a:gd name="connsiteY2301" fmla="*/ 3504 h 10000"/>
                <a:gd name="connsiteX2302" fmla="*/ 295 w 10577"/>
                <a:gd name="connsiteY2302" fmla="*/ 3462 h 10000"/>
                <a:gd name="connsiteX2303" fmla="*/ 300 w 10577"/>
                <a:gd name="connsiteY2303" fmla="*/ 3479 h 10000"/>
                <a:gd name="connsiteX2304" fmla="*/ 295 w 10577"/>
                <a:gd name="connsiteY2304" fmla="*/ 3513 h 10000"/>
                <a:gd name="connsiteX2305" fmla="*/ 286 w 10577"/>
                <a:gd name="connsiteY2305" fmla="*/ 3513 h 10000"/>
                <a:gd name="connsiteX2306" fmla="*/ 281 w 10577"/>
                <a:gd name="connsiteY2306" fmla="*/ 3513 h 10000"/>
                <a:gd name="connsiteX2307" fmla="*/ 281 w 10577"/>
                <a:gd name="connsiteY2307" fmla="*/ 3530 h 10000"/>
                <a:gd name="connsiteX2308" fmla="*/ 281 w 10577"/>
                <a:gd name="connsiteY2308" fmla="*/ 3556 h 10000"/>
                <a:gd name="connsiteX2309" fmla="*/ 272 w 10577"/>
                <a:gd name="connsiteY2309" fmla="*/ 3564 h 10000"/>
                <a:gd name="connsiteX2310" fmla="*/ 267 w 10577"/>
                <a:gd name="connsiteY2310" fmla="*/ 3564 h 10000"/>
                <a:gd name="connsiteX2311" fmla="*/ 253 w 10577"/>
                <a:gd name="connsiteY2311" fmla="*/ 3538 h 10000"/>
                <a:gd name="connsiteX2312" fmla="*/ 226 w 10577"/>
                <a:gd name="connsiteY2312" fmla="*/ 3513 h 10000"/>
                <a:gd name="connsiteX2313" fmla="*/ 226 w 10577"/>
                <a:gd name="connsiteY2313" fmla="*/ 3530 h 10000"/>
                <a:gd name="connsiteX2314" fmla="*/ 226 w 10577"/>
                <a:gd name="connsiteY2314" fmla="*/ 3530 h 10000"/>
                <a:gd name="connsiteX2315" fmla="*/ 226 w 10577"/>
                <a:gd name="connsiteY2315" fmla="*/ 3530 h 10000"/>
                <a:gd name="connsiteX2316" fmla="*/ 226 w 10577"/>
                <a:gd name="connsiteY2316" fmla="*/ 3556 h 10000"/>
                <a:gd name="connsiteX2317" fmla="*/ 221 w 10577"/>
                <a:gd name="connsiteY2317" fmla="*/ 3598 h 10000"/>
                <a:gd name="connsiteX2318" fmla="*/ 207 w 10577"/>
                <a:gd name="connsiteY2318" fmla="*/ 3598 h 10000"/>
                <a:gd name="connsiteX2319" fmla="*/ 180 w 10577"/>
                <a:gd name="connsiteY2319" fmla="*/ 3581 h 10000"/>
                <a:gd name="connsiteX2320" fmla="*/ 171 w 10577"/>
                <a:gd name="connsiteY2320" fmla="*/ 3641 h 10000"/>
                <a:gd name="connsiteX2321" fmla="*/ 166 w 10577"/>
                <a:gd name="connsiteY2321" fmla="*/ 3650 h 10000"/>
                <a:gd name="connsiteX2322" fmla="*/ 124 w 10577"/>
                <a:gd name="connsiteY2322" fmla="*/ 3701 h 10000"/>
                <a:gd name="connsiteX2323" fmla="*/ 124 w 10577"/>
                <a:gd name="connsiteY2323" fmla="*/ 3718 h 10000"/>
                <a:gd name="connsiteX2324" fmla="*/ 120 w 10577"/>
                <a:gd name="connsiteY2324" fmla="*/ 3735 h 10000"/>
                <a:gd name="connsiteX2325" fmla="*/ 120 w 10577"/>
                <a:gd name="connsiteY2325" fmla="*/ 3735 h 10000"/>
                <a:gd name="connsiteX2326" fmla="*/ 111 w 10577"/>
                <a:gd name="connsiteY2326" fmla="*/ 3761 h 10000"/>
                <a:gd name="connsiteX2327" fmla="*/ 106 w 10577"/>
                <a:gd name="connsiteY2327" fmla="*/ 3761 h 10000"/>
                <a:gd name="connsiteX2328" fmla="*/ 106 w 10577"/>
                <a:gd name="connsiteY2328" fmla="*/ 3761 h 10000"/>
                <a:gd name="connsiteX2329" fmla="*/ 74 w 10577"/>
                <a:gd name="connsiteY2329" fmla="*/ 3829 h 10000"/>
                <a:gd name="connsiteX2330" fmla="*/ 78 w 10577"/>
                <a:gd name="connsiteY2330" fmla="*/ 3838 h 10000"/>
                <a:gd name="connsiteX2331" fmla="*/ 88 w 10577"/>
                <a:gd name="connsiteY2331" fmla="*/ 3846 h 10000"/>
                <a:gd name="connsiteX2332" fmla="*/ 65 w 10577"/>
                <a:gd name="connsiteY2332" fmla="*/ 3923 h 10000"/>
                <a:gd name="connsiteX2333" fmla="*/ 78 w 10577"/>
                <a:gd name="connsiteY2333" fmla="*/ 4026 h 10000"/>
                <a:gd name="connsiteX2334" fmla="*/ 88 w 10577"/>
                <a:gd name="connsiteY2334" fmla="*/ 4051 h 10000"/>
                <a:gd name="connsiteX2335" fmla="*/ 92 w 10577"/>
                <a:gd name="connsiteY2335" fmla="*/ 4060 h 10000"/>
                <a:gd name="connsiteX2336" fmla="*/ 111 w 10577"/>
                <a:gd name="connsiteY2336" fmla="*/ 4060 h 10000"/>
                <a:gd name="connsiteX2337" fmla="*/ 124 w 10577"/>
                <a:gd name="connsiteY2337" fmla="*/ 4085 h 10000"/>
                <a:gd name="connsiteX2338" fmla="*/ 166 w 10577"/>
                <a:gd name="connsiteY2338" fmla="*/ 4197 h 10000"/>
                <a:gd name="connsiteX2339" fmla="*/ 166 w 10577"/>
                <a:gd name="connsiteY2339" fmla="*/ 4248 h 10000"/>
                <a:gd name="connsiteX2340" fmla="*/ 120 w 10577"/>
                <a:gd name="connsiteY2340" fmla="*/ 4462 h 10000"/>
                <a:gd name="connsiteX2341" fmla="*/ 120 w 10577"/>
                <a:gd name="connsiteY2341" fmla="*/ 4513 h 10000"/>
                <a:gd name="connsiteX2342" fmla="*/ 180 w 10577"/>
                <a:gd name="connsiteY2342" fmla="*/ 4829 h 10000"/>
                <a:gd name="connsiteX2343" fmla="*/ 161 w 10577"/>
                <a:gd name="connsiteY2343" fmla="*/ 4855 h 10000"/>
                <a:gd name="connsiteX2344" fmla="*/ 152 w 10577"/>
                <a:gd name="connsiteY2344" fmla="*/ 4940 h 10000"/>
                <a:gd name="connsiteX2345" fmla="*/ 161 w 10577"/>
                <a:gd name="connsiteY2345" fmla="*/ 4966 h 10000"/>
                <a:gd name="connsiteX2346" fmla="*/ 161 w 10577"/>
                <a:gd name="connsiteY2346" fmla="*/ 5009 h 10000"/>
                <a:gd name="connsiteX2347" fmla="*/ 152 w 10577"/>
                <a:gd name="connsiteY2347" fmla="*/ 5034 h 10000"/>
                <a:gd name="connsiteX2348" fmla="*/ 152 w 10577"/>
                <a:gd name="connsiteY2348" fmla="*/ 5077 h 10000"/>
                <a:gd name="connsiteX2349" fmla="*/ 171 w 10577"/>
                <a:gd name="connsiteY2349" fmla="*/ 5094 h 10000"/>
                <a:gd name="connsiteX2350" fmla="*/ 180 w 10577"/>
                <a:gd name="connsiteY2350" fmla="*/ 5128 h 10000"/>
                <a:gd name="connsiteX2351" fmla="*/ 180 w 10577"/>
                <a:gd name="connsiteY2351" fmla="*/ 5171 h 10000"/>
                <a:gd name="connsiteX2352" fmla="*/ 184 w 10577"/>
                <a:gd name="connsiteY2352" fmla="*/ 5205 h 10000"/>
                <a:gd name="connsiteX2353" fmla="*/ 207 w 10577"/>
                <a:gd name="connsiteY2353" fmla="*/ 5239 h 10000"/>
                <a:gd name="connsiteX2354" fmla="*/ 207 w 10577"/>
                <a:gd name="connsiteY2354" fmla="*/ 5282 h 10000"/>
                <a:gd name="connsiteX2355" fmla="*/ 180 w 10577"/>
                <a:gd name="connsiteY2355" fmla="*/ 5393 h 10000"/>
                <a:gd name="connsiteX2356" fmla="*/ 194 w 10577"/>
                <a:gd name="connsiteY2356" fmla="*/ 5427 h 10000"/>
                <a:gd name="connsiteX2357" fmla="*/ 198 w 10577"/>
                <a:gd name="connsiteY2357" fmla="*/ 5462 h 10000"/>
                <a:gd name="connsiteX2358" fmla="*/ 235 w 10577"/>
                <a:gd name="connsiteY2358" fmla="*/ 5513 h 10000"/>
                <a:gd name="connsiteX2359" fmla="*/ 240 w 10577"/>
                <a:gd name="connsiteY2359" fmla="*/ 5556 h 10000"/>
                <a:gd name="connsiteX2360" fmla="*/ 253 w 10577"/>
                <a:gd name="connsiteY2360" fmla="*/ 5590 h 10000"/>
                <a:gd name="connsiteX2361" fmla="*/ 258 w 10577"/>
                <a:gd name="connsiteY2361" fmla="*/ 5573 h 10000"/>
                <a:gd name="connsiteX2362" fmla="*/ 258 w 10577"/>
                <a:gd name="connsiteY2362" fmla="*/ 5667 h 10000"/>
                <a:gd name="connsiteX2363" fmla="*/ 14 w 10577"/>
                <a:gd name="connsiteY2363" fmla="*/ 6214 h 10000"/>
                <a:gd name="connsiteX2364" fmla="*/ 14 w 10577"/>
                <a:gd name="connsiteY2364" fmla="*/ 6214 h 10000"/>
                <a:gd name="connsiteX2365" fmla="*/ 37 w 10577"/>
                <a:gd name="connsiteY2365" fmla="*/ 6214 h 10000"/>
                <a:gd name="connsiteX2366" fmla="*/ 51 w 10577"/>
                <a:gd name="connsiteY2366" fmla="*/ 6188 h 10000"/>
                <a:gd name="connsiteX2367" fmla="*/ 78 w 10577"/>
                <a:gd name="connsiteY2367" fmla="*/ 6162 h 10000"/>
                <a:gd name="connsiteX2368" fmla="*/ 78 w 10577"/>
                <a:gd name="connsiteY2368" fmla="*/ 6188 h 10000"/>
                <a:gd name="connsiteX2369" fmla="*/ 74 w 10577"/>
                <a:gd name="connsiteY2369" fmla="*/ 6197 h 10000"/>
                <a:gd name="connsiteX2370" fmla="*/ 74 w 10577"/>
                <a:gd name="connsiteY2370" fmla="*/ 6231 h 10000"/>
                <a:gd name="connsiteX2371" fmla="*/ 74 w 10577"/>
                <a:gd name="connsiteY2371" fmla="*/ 6214 h 10000"/>
                <a:gd name="connsiteX2372" fmla="*/ 65 w 10577"/>
                <a:gd name="connsiteY2372" fmla="*/ 6214 h 10000"/>
                <a:gd name="connsiteX2373" fmla="*/ 65 w 10577"/>
                <a:gd name="connsiteY2373" fmla="*/ 6248 h 10000"/>
                <a:gd name="connsiteX2374" fmla="*/ 74 w 10577"/>
                <a:gd name="connsiteY2374" fmla="*/ 6256 h 10000"/>
                <a:gd name="connsiteX2375" fmla="*/ 78 w 10577"/>
                <a:gd name="connsiteY2375" fmla="*/ 6256 h 10000"/>
                <a:gd name="connsiteX2376" fmla="*/ 106 w 10577"/>
                <a:gd name="connsiteY2376" fmla="*/ 6308 h 10000"/>
                <a:gd name="connsiteX2377" fmla="*/ 138 w 10577"/>
                <a:gd name="connsiteY2377" fmla="*/ 6299 h 10000"/>
                <a:gd name="connsiteX2378" fmla="*/ 152 w 10577"/>
                <a:gd name="connsiteY2378" fmla="*/ 6299 h 10000"/>
                <a:gd name="connsiteX2379" fmla="*/ 166 w 10577"/>
                <a:gd name="connsiteY2379" fmla="*/ 6325 h 10000"/>
                <a:gd name="connsiteX2380" fmla="*/ 166 w 10577"/>
                <a:gd name="connsiteY2380" fmla="*/ 6333 h 10000"/>
                <a:gd name="connsiteX2381" fmla="*/ 171 w 10577"/>
                <a:gd name="connsiteY2381" fmla="*/ 6350 h 10000"/>
                <a:gd name="connsiteX2382" fmla="*/ 180 w 10577"/>
                <a:gd name="connsiteY2382" fmla="*/ 6350 h 10000"/>
                <a:gd name="connsiteX2383" fmla="*/ 180 w 10577"/>
                <a:gd name="connsiteY2383" fmla="*/ 6359 h 10000"/>
                <a:gd name="connsiteX2384" fmla="*/ 171 w 10577"/>
                <a:gd name="connsiteY2384" fmla="*/ 6368 h 10000"/>
                <a:gd name="connsiteX2385" fmla="*/ 106 w 10577"/>
                <a:gd name="connsiteY2385" fmla="*/ 6350 h 10000"/>
                <a:gd name="connsiteX2386" fmla="*/ 101 w 10577"/>
                <a:gd name="connsiteY2386" fmla="*/ 6359 h 10000"/>
                <a:gd name="connsiteX2387" fmla="*/ 101 w 10577"/>
                <a:gd name="connsiteY2387" fmla="*/ 6385 h 10000"/>
                <a:gd name="connsiteX2388" fmla="*/ 78 w 10577"/>
                <a:gd name="connsiteY2388" fmla="*/ 6393 h 10000"/>
                <a:gd name="connsiteX2389" fmla="*/ 74 w 10577"/>
                <a:gd name="connsiteY2389" fmla="*/ 6385 h 10000"/>
                <a:gd name="connsiteX2390" fmla="*/ 65 w 10577"/>
                <a:gd name="connsiteY2390" fmla="*/ 6393 h 10000"/>
                <a:gd name="connsiteX2391" fmla="*/ 60 w 10577"/>
                <a:gd name="connsiteY2391" fmla="*/ 6419 h 10000"/>
                <a:gd name="connsiteX2392" fmla="*/ 51 w 10577"/>
                <a:gd name="connsiteY2392" fmla="*/ 6419 h 10000"/>
                <a:gd name="connsiteX2393" fmla="*/ 46 w 10577"/>
                <a:gd name="connsiteY2393" fmla="*/ 6410 h 10000"/>
                <a:gd name="connsiteX2394" fmla="*/ 37 w 10577"/>
                <a:gd name="connsiteY2394" fmla="*/ 6393 h 10000"/>
                <a:gd name="connsiteX2395" fmla="*/ 32 w 10577"/>
                <a:gd name="connsiteY2395" fmla="*/ 6419 h 10000"/>
                <a:gd name="connsiteX2396" fmla="*/ 37 w 10577"/>
                <a:gd name="connsiteY2396" fmla="*/ 6462 h 10000"/>
                <a:gd name="connsiteX2397" fmla="*/ 46 w 10577"/>
                <a:gd name="connsiteY2397" fmla="*/ 6462 h 10000"/>
                <a:gd name="connsiteX2398" fmla="*/ 51 w 10577"/>
                <a:gd name="connsiteY2398" fmla="*/ 6470 h 10000"/>
                <a:gd name="connsiteX2399" fmla="*/ 51 w 10577"/>
                <a:gd name="connsiteY2399" fmla="*/ 6496 h 10000"/>
                <a:gd name="connsiteX2400" fmla="*/ 51 w 10577"/>
                <a:gd name="connsiteY2400" fmla="*/ 6504 h 10000"/>
                <a:gd name="connsiteX2401" fmla="*/ 37 w 10577"/>
                <a:gd name="connsiteY2401" fmla="*/ 6530 h 10000"/>
                <a:gd name="connsiteX2402" fmla="*/ 18 w 10577"/>
                <a:gd name="connsiteY2402" fmla="*/ 6598 h 10000"/>
                <a:gd name="connsiteX2403" fmla="*/ 28 w 10577"/>
                <a:gd name="connsiteY2403" fmla="*/ 6632 h 10000"/>
                <a:gd name="connsiteX2404" fmla="*/ 18 w 10577"/>
                <a:gd name="connsiteY2404" fmla="*/ 6667 h 10000"/>
                <a:gd name="connsiteX2405" fmla="*/ 28 w 10577"/>
                <a:gd name="connsiteY2405" fmla="*/ 6692 h 10000"/>
                <a:gd name="connsiteX2406" fmla="*/ 28 w 10577"/>
                <a:gd name="connsiteY2406" fmla="*/ 6709 h 10000"/>
                <a:gd name="connsiteX2407" fmla="*/ 18 w 10577"/>
                <a:gd name="connsiteY2407" fmla="*/ 6718 h 10000"/>
                <a:gd name="connsiteX2408" fmla="*/ 5 w 10577"/>
                <a:gd name="connsiteY2408" fmla="*/ 6744 h 10000"/>
                <a:gd name="connsiteX2409" fmla="*/ 0 w 10577"/>
                <a:gd name="connsiteY2409" fmla="*/ 6769 h 10000"/>
                <a:gd name="connsiteX2410" fmla="*/ 5 w 10577"/>
                <a:gd name="connsiteY2410" fmla="*/ 6778 h 10000"/>
                <a:gd name="connsiteX2411" fmla="*/ 32 w 10577"/>
                <a:gd name="connsiteY2411" fmla="*/ 6778 h 10000"/>
                <a:gd name="connsiteX2412" fmla="*/ 46 w 10577"/>
                <a:gd name="connsiteY2412" fmla="*/ 6821 h 10000"/>
                <a:gd name="connsiteX2413" fmla="*/ 46 w 10577"/>
                <a:gd name="connsiteY2413" fmla="*/ 6855 h 10000"/>
                <a:gd name="connsiteX2414" fmla="*/ 32 w 10577"/>
                <a:gd name="connsiteY2414" fmla="*/ 6855 h 10000"/>
                <a:gd name="connsiteX2415" fmla="*/ 14 w 10577"/>
                <a:gd name="connsiteY2415" fmla="*/ 6821 h 10000"/>
                <a:gd name="connsiteX2416" fmla="*/ 14 w 10577"/>
                <a:gd name="connsiteY2416" fmla="*/ 6846 h 10000"/>
                <a:gd name="connsiteX2417" fmla="*/ 0 w 10577"/>
                <a:gd name="connsiteY2417" fmla="*/ 6897 h 10000"/>
                <a:gd name="connsiteX2418" fmla="*/ 0 w 10577"/>
                <a:gd name="connsiteY2418" fmla="*/ 6915 h 10000"/>
                <a:gd name="connsiteX2419" fmla="*/ 5 w 10577"/>
                <a:gd name="connsiteY2419" fmla="*/ 6932 h 10000"/>
                <a:gd name="connsiteX2420" fmla="*/ 14 w 10577"/>
                <a:gd name="connsiteY2420" fmla="*/ 6940 h 10000"/>
                <a:gd name="connsiteX2421" fmla="*/ 18 w 10577"/>
                <a:gd name="connsiteY2421" fmla="*/ 6957 h 10000"/>
                <a:gd name="connsiteX2422" fmla="*/ 28 w 10577"/>
                <a:gd name="connsiteY2422" fmla="*/ 6966 h 10000"/>
                <a:gd name="connsiteX2423" fmla="*/ 28 w 10577"/>
                <a:gd name="connsiteY2423" fmla="*/ 6983 h 10000"/>
                <a:gd name="connsiteX2424" fmla="*/ 18 w 10577"/>
                <a:gd name="connsiteY2424" fmla="*/ 7051 h 10000"/>
                <a:gd name="connsiteX2425" fmla="*/ 28 w 10577"/>
                <a:gd name="connsiteY2425" fmla="*/ 7068 h 10000"/>
                <a:gd name="connsiteX2426" fmla="*/ 32 w 10577"/>
                <a:gd name="connsiteY2426" fmla="*/ 7068 h 10000"/>
                <a:gd name="connsiteX2427" fmla="*/ 32 w 10577"/>
                <a:gd name="connsiteY2427" fmla="*/ 7094 h 10000"/>
                <a:gd name="connsiteX2428" fmla="*/ 60 w 10577"/>
                <a:gd name="connsiteY2428" fmla="*/ 7162 h 10000"/>
                <a:gd name="connsiteX2429" fmla="*/ 60 w 10577"/>
                <a:gd name="connsiteY2429" fmla="*/ 7231 h 10000"/>
                <a:gd name="connsiteX2430" fmla="*/ 60 w 10577"/>
                <a:gd name="connsiteY2430" fmla="*/ 7239 h 10000"/>
                <a:gd name="connsiteX2431" fmla="*/ 78 w 10577"/>
                <a:gd name="connsiteY2431" fmla="*/ 7239 h 10000"/>
                <a:gd name="connsiteX2432" fmla="*/ 88 w 10577"/>
                <a:gd name="connsiteY2432" fmla="*/ 7239 h 10000"/>
                <a:gd name="connsiteX2433" fmla="*/ 92 w 10577"/>
                <a:gd name="connsiteY2433" fmla="*/ 7256 h 10000"/>
                <a:gd name="connsiteX2434" fmla="*/ 111 w 10577"/>
                <a:gd name="connsiteY2434" fmla="*/ 7256 h 10000"/>
                <a:gd name="connsiteX2435" fmla="*/ 120 w 10577"/>
                <a:gd name="connsiteY2435" fmla="*/ 7256 h 10000"/>
                <a:gd name="connsiteX2436" fmla="*/ 134 w 10577"/>
                <a:gd name="connsiteY2436" fmla="*/ 7282 h 10000"/>
                <a:gd name="connsiteX2437" fmla="*/ 134 w 10577"/>
                <a:gd name="connsiteY2437" fmla="*/ 7316 h 10000"/>
                <a:gd name="connsiteX2438" fmla="*/ 152 w 10577"/>
                <a:gd name="connsiteY2438" fmla="*/ 7299 h 10000"/>
                <a:gd name="connsiteX2439" fmla="*/ 161 w 10577"/>
                <a:gd name="connsiteY2439" fmla="*/ 7299 h 10000"/>
                <a:gd name="connsiteX2440" fmla="*/ 166 w 10577"/>
                <a:gd name="connsiteY2440" fmla="*/ 7291 h 10000"/>
                <a:gd name="connsiteX2441" fmla="*/ 194 w 10577"/>
                <a:gd name="connsiteY2441" fmla="*/ 7291 h 10000"/>
                <a:gd name="connsiteX2442" fmla="*/ 207 w 10577"/>
                <a:gd name="connsiteY2442" fmla="*/ 7299 h 10000"/>
                <a:gd name="connsiteX2443" fmla="*/ 221 w 10577"/>
                <a:gd name="connsiteY2443" fmla="*/ 7342 h 10000"/>
                <a:gd name="connsiteX2444" fmla="*/ 235 w 10577"/>
                <a:gd name="connsiteY2444" fmla="*/ 7342 h 10000"/>
                <a:gd name="connsiteX2445" fmla="*/ 235 w 10577"/>
                <a:gd name="connsiteY2445" fmla="*/ 7368 h 10000"/>
                <a:gd name="connsiteX2446" fmla="*/ 226 w 10577"/>
                <a:gd name="connsiteY2446" fmla="*/ 7393 h 10000"/>
                <a:gd name="connsiteX2447" fmla="*/ 226 w 10577"/>
                <a:gd name="connsiteY2447" fmla="*/ 7402 h 10000"/>
                <a:gd name="connsiteX2448" fmla="*/ 235 w 10577"/>
                <a:gd name="connsiteY2448" fmla="*/ 7419 h 10000"/>
                <a:gd name="connsiteX2449" fmla="*/ 240 w 10577"/>
                <a:gd name="connsiteY2449" fmla="*/ 7436 h 10000"/>
                <a:gd name="connsiteX2450" fmla="*/ 235 w 10577"/>
                <a:gd name="connsiteY2450" fmla="*/ 7462 h 10000"/>
                <a:gd name="connsiteX2451" fmla="*/ 226 w 10577"/>
                <a:gd name="connsiteY2451" fmla="*/ 7479 h 10000"/>
                <a:gd name="connsiteX2452" fmla="*/ 226 w 10577"/>
                <a:gd name="connsiteY2452" fmla="*/ 7504 h 10000"/>
                <a:gd name="connsiteX2453" fmla="*/ 226 w 10577"/>
                <a:gd name="connsiteY2453" fmla="*/ 7513 h 10000"/>
                <a:gd name="connsiteX2454" fmla="*/ 240 w 10577"/>
                <a:gd name="connsiteY2454" fmla="*/ 7538 h 10000"/>
                <a:gd name="connsiteX2455" fmla="*/ 267 w 10577"/>
                <a:gd name="connsiteY2455" fmla="*/ 7641 h 10000"/>
                <a:gd name="connsiteX2456" fmla="*/ 281 w 10577"/>
                <a:gd name="connsiteY2456" fmla="*/ 7667 h 10000"/>
                <a:gd name="connsiteX2457" fmla="*/ 286 w 10577"/>
                <a:gd name="connsiteY2457" fmla="*/ 7675 h 10000"/>
                <a:gd name="connsiteX2458" fmla="*/ 286 w 10577"/>
                <a:gd name="connsiteY2458" fmla="*/ 7692 h 10000"/>
                <a:gd name="connsiteX2459" fmla="*/ 286 w 10577"/>
                <a:gd name="connsiteY2459" fmla="*/ 7709 h 10000"/>
                <a:gd name="connsiteX2460" fmla="*/ 295 w 10577"/>
                <a:gd name="connsiteY2460" fmla="*/ 7726 h 10000"/>
                <a:gd name="connsiteX2461" fmla="*/ 318 w 10577"/>
                <a:gd name="connsiteY2461" fmla="*/ 7709 h 10000"/>
                <a:gd name="connsiteX2462" fmla="*/ 327 w 10577"/>
                <a:gd name="connsiteY2462" fmla="*/ 7726 h 10000"/>
                <a:gd name="connsiteX2463" fmla="*/ 341 w 10577"/>
                <a:gd name="connsiteY2463" fmla="*/ 7735 h 10000"/>
                <a:gd name="connsiteX2464" fmla="*/ 332 w 10577"/>
                <a:gd name="connsiteY2464" fmla="*/ 7752 h 10000"/>
                <a:gd name="connsiteX2465" fmla="*/ 341 w 10577"/>
                <a:gd name="connsiteY2465" fmla="*/ 7761 h 10000"/>
                <a:gd name="connsiteX2466" fmla="*/ 355 w 10577"/>
                <a:gd name="connsiteY2466" fmla="*/ 7761 h 10000"/>
                <a:gd name="connsiteX2467" fmla="*/ 355 w 10577"/>
                <a:gd name="connsiteY2467" fmla="*/ 7803 h 10000"/>
                <a:gd name="connsiteX2468" fmla="*/ 313 w 10577"/>
                <a:gd name="connsiteY2468" fmla="*/ 7846 h 10000"/>
                <a:gd name="connsiteX2469" fmla="*/ 295 w 10577"/>
                <a:gd name="connsiteY2469" fmla="*/ 7846 h 10000"/>
                <a:gd name="connsiteX2470" fmla="*/ 281 w 10577"/>
                <a:gd name="connsiteY2470" fmla="*/ 7821 h 10000"/>
                <a:gd name="connsiteX2471" fmla="*/ 272 w 10577"/>
                <a:gd name="connsiteY2471" fmla="*/ 7821 h 10000"/>
                <a:gd name="connsiteX2472" fmla="*/ 267 w 10577"/>
                <a:gd name="connsiteY2472" fmla="*/ 7838 h 10000"/>
                <a:gd name="connsiteX2473" fmla="*/ 258 w 10577"/>
                <a:gd name="connsiteY2473" fmla="*/ 7846 h 10000"/>
                <a:gd name="connsiteX2474" fmla="*/ 253 w 10577"/>
                <a:gd name="connsiteY2474" fmla="*/ 7863 h 10000"/>
                <a:gd name="connsiteX2475" fmla="*/ 253 w 10577"/>
                <a:gd name="connsiteY2475" fmla="*/ 7872 h 10000"/>
                <a:gd name="connsiteX2476" fmla="*/ 267 w 10577"/>
                <a:gd name="connsiteY2476" fmla="*/ 7897 h 10000"/>
                <a:gd name="connsiteX2477" fmla="*/ 272 w 10577"/>
                <a:gd name="connsiteY2477" fmla="*/ 7915 h 10000"/>
                <a:gd name="connsiteX2478" fmla="*/ 267 w 10577"/>
                <a:gd name="connsiteY2478" fmla="*/ 7940 h 10000"/>
                <a:gd name="connsiteX2479" fmla="*/ 272 w 10577"/>
                <a:gd name="connsiteY2479" fmla="*/ 7949 h 10000"/>
                <a:gd name="connsiteX2480" fmla="*/ 272 w 10577"/>
                <a:gd name="connsiteY2480" fmla="*/ 7957 h 10000"/>
                <a:gd name="connsiteX2481" fmla="*/ 281 w 10577"/>
                <a:gd name="connsiteY2481" fmla="*/ 7974 h 10000"/>
                <a:gd name="connsiteX2482" fmla="*/ 286 w 10577"/>
                <a:gd name="connsiteY2482" fmla="*/ 7983 h 10000"/>
                <a:gd name="connsiteX2483" fmla="*/ 281 w 10577"/>
                <a:gd name="connsiteY2483" fmla="*/ 8009 h 10000"/>
                <a:gd name="connsiteX2484" fmla="*/ 286 w 10577"/>
                <a:gd name="connsiteY2484" fmla="*/ 8060 h 10000"/>
                <a:gd name="connsiteX2485" fmla="*/ 286 w 10577"/>
                <a:gd name="connsiteY2485" fmla="*/ 8060 h 10000"/>
                <a:gd name="connsiteX2486" fmla="*/ 295 w 10577"/>
                <a:gd name="connsiteY2486" fmla="*/ 8077 h 10000"/>
                <a:gd name="connsiteX2487" fmla="*/ 309 w 10577"/>
                <a:gd name="connsiteY2487" fmla="*/ 8077 h 10000"/>
                <a:gd name="connsiteX2488" fmla="*/ 313 w 10577"/>
                <a:gd name="connsiteY2488" fmla="*/ 8060 h 10000"/>
                <a:gd name="connsiteX2489" fmla="*/ 318 w 10577"/>
                <a:gd name="connsiteY2489" fmla="*/ 8051 h 10000"/>
                <a:gd name="connsiteX2490" fmla="*/ 318 w 10577"/>
                <a:gd name="connsiteY2490" fmla="*/ 8034 h 10000"/>
                <a:gd name="connsiteX2491" fmla="*/ 332 w 10577"/>
                <a:gd name="connsiteY2491" fmla="*/ 8026 h 10000"/>
                <a:gd name="connsiteX2492" fmla="*/ 359 w 10577"/>
                <a:gd name="connsiteY2492" fmla="*/ 8034 h 10000"/>
                <a:gd name="connsiteX2493" fmla="*/ 378 w 10577"/>
                <a:gd name="connsiteY2493" fmla="*/ 8026 h 10000"/>
                <a:gd name="connsiteX2494" fmla="*/ 401 w 10577"/>
                <a:gd name="connsiteY2494" fmla="*/ 8026 h 10000"/>
                <a:gd name="connsiteX2495" fmla="*/ 419 w 10577"/>
                <a:gd name="connsiteY2495" fmla="*/ 8009 h 10000"/>
                <a:gd name="connsiteX2496" fmla="*/ 433 w 10577"/>
                <a:gd name="connsiteY2496" fmla="*/ 8034 h 10000"/>
                <a:gd name="connsiteX2497" fmla="*/ 442 w 10577"/>
                <a:gd name="connsiteY2497" fmla="*/ 8060 h 10000"/>
                <a:gd name="connsiteX2498" fmla="*/ 442 w 10577"/>
                <a:gd name="connsiteY2498" fmla="*/ 8077 h 10000"/>
                <a:gd name="connsiteX2499" fmla="*/ 461 w 10577"/>
                <a:gd name="connsiteY2499" fmla="*/ 8111 h 10000"/>
                <a:gd name="connsiteX2500" fmla="*/ 461 w 10577"/>
                <a:gd name="connsiteY2500" fmla="*/ 8137 h 10000"/>
                <a:gd name="connsiteX2501" fmla="*/ 447 w 10577"/>
                <a:gd name="connsiteY2501" fmla="*/ 8145 h 10000"/>
                <a:gd name="connsiteX2502" fmla="*/ 442 w 10577"/>
                <a:gd name="connsiteY2502" fmla="*/ 8145 h 10000"/>
                <a:gd name="connsiteX2503" fmla="*/ 442 w 10577"/>
                <a:gd name="connsiteY2503" fmla="*/ 8162 h 10000"/>
                <a:gd name="connsiteX2504" fmla="*/ 442 w 10577"/>
                <a:gd name="connsiteY2504" fmla="*/ 8171 h 10000"/>
                <a:gd name="connsiteX2505" fmla="*/ 447 w 10577"/>
                <a:gd name="connsiteY2505" fmla="*/ 8214 h 10000"/>
                <a:gd name="connsiteX2506" fmla="*/ 465 w 10577"/>
                <a:gd name="connsiteY2506" fmla="*/ 8231 h 10000"/>
                <a:gd name="connsiteX2507" fmla="*/ 488 w 10577"/>
                <a:gd name="connsiteY2507" fmla="*/ 8231 h 10000"/>
                <a:gd name="connsiteX2508" fmla="*/ 493 w 10577"/>
                <a:gd name="connsiteY2508" fmla="*/ 8231 h 10000"/>
                <a:gd name="connsiteX2509" fmla="*/ 502 w 10577"/>
                <a:gd name="connsiteY2509" fmla="*/ 8231 h 10000"/>
                <a:gd name="connsiteX2510" fmla="*/ 507 w 10577"/>
                <a:gd name="connsiteY2510" fmla="*/ 8248 h 10000"/>
                <a:gd name="connsiteX2511" fmla="*/ 521 w 10577"/>
                <a:gd name="connsiteY2511" fmla="*/ 8274 h 10000"/>
                <a:gd name="connsiteX2512" fmla="*/ 525 w 10577"/>
                <a:gd name="connsiteY2512" fmla="*/ 8333 h 10000"/>
                <a:gd name="connsiteX2513" fmla="*/ 525 w 10577"/>
                <a:gd name="connsiteY2513" fmla="*/ 8359 h 10000"/>
                <a:gd name="connsiteX2514" fmla="*/ 525 w 10577"/>
                <a:gd name="connsiteY2514" fmla="*/ 8368 h 10000"/>
                <a:gd name="connsiteX2515" fmla="*/ 548 w 10577"/>
                <a:gd name="connsiteY2515" fmla="*/ 8393 h 10000"/>
                <a:gd name="connsiteX2516" fmla="*/ 553 w 10577"/>
                <a:gd name="connsiteY2516" fmla="*/ 8385 h 10000"/>
                <a:gd name="connsiteX2517" fmla="*/ 562 w 10577"/>
                <a:gd name="connsiteY2517" fmla="*/ 8385 h 10000"/>
                <a:gd name="connsiteX2518" fmla="*/ 576 w 10577"/>
                <a:gd name="connsiteY2518" fmla="*/ 8385 h 10000"/>
                <a:gd name="connsiteX2519" fmla="*/ 585 w 10577"/>
                <a:gd name="connsiteY2519" fmla="*/ 8410 h 10000"/>
                <a:gd name="connsiteX2520" fmla="*/ 594 w 10577"/>
                <a:gd name="connsiteY2520" fmla="*/ 8410 h 10000"/>
                <a:gd name="connsiteX2521" fmla="*/ 608 w 10577"/>
                <a:gd name="connsiteY2521" fmla="*/ 8410 h 10000"/>
                <a:gd name="connsiteX2522" fmla="*/ 654 w 10577"/>
                <a:gd name="connsiteY2522" fmla="*/ 8385 h 10000"/>
                <a:gd name="connsiteX2523" fmla="*/ 659 w 10577"/>
                <a:gd name="connsiteY2523" fmla="*/ 8385 h 10000"/>
                <a:gd name="connsiteX2524" fmla="*/ 696 w 10577"/>
                <a:gd name="connsiteY2524" fmla="*/ 8470 h 10000"/>
                <a:gd name="connsiteX2525" fmla="*/ 700 w 10577"/>
                <a:gd name="connsiteY2525" fmla="*/ 8470 h 10000"/>
                <a:gd name="connsiteX2526" fmla="*/ 710 w 10577"/>
                <a:gd name="connsiteY2526" fmla="*/ 8462 h 10000"/>
                <a:gd name="connsiteX2527" fmla="*/ 714 w 10577"/>
                <a:gd name="connsiteY2527" fmla="*/ 8462 h 10000"/>
                <a:gd name="connsiteX2528" fmla="*/ 724 w 10577"/>
                <a:gd name="connsiteY2528" fmla="*/ 8470 h 10000"/>
                <a:gd name="connsiteX2529" fmla="*/ 733 w 10577"/>
                <a:gd name="connsiteY2529" fmla="*/ 8470 h 10000"/>
                <a:gd name="connsiteX2530" fmla="*/ 742 w 10577"/>
                <a:gd name="connsiteY2530" fmla="*/ 8487 h 10000"/>
                <a:gd name="connsiteX2531" fmla="*/ 747 w 10577"/>
                <a:gd name="connsiteY2531" fmla="*/ 8496 h 10000"/>
                <a:gd name="connsiteX2532" fmla="*/ 770 w 10577"/>
                <a:gd name="connsiteY2532" fmla="*/ 8496 h 10000"/>
                <a:gd name="connsiteX2533" fmla="*/ 783 w 10577"/>
                <a:gd name="connsiteY2533" fmla="*/ 8521 h 10000"/>
                <a:gd name="connsiteX2534" fmla="*/ 797 w 10577"/>
                <a:gd name="connsiteY2534" fmla="*/ 8521 h 10000"/>
                <a:gd name="connsiteX2535" fmla="*/ 806 w 10577"/>
                <a:gd name="connsiteY2535" fmla="*/ 8530 h 10000"/>
                <a:gd name="connsiteX2536" fmla="*/ 829 w 10577"/>
                <a:gd name="connsiteY2536" fmla="*/ 8547 h 10000"/>
                <a:gd name="connsiteX2537" fmla="*/ 834 w 10577"/>
                <a:gd name="connsiteY2537" fmla="*/ 8556 h 10000"/>
                <a:gd name="connsiteX2538" fmla="*/ 829 w 10577"/>
                <a:gd name="connsiteY2538" fmla="*/ 8556 h 10000"/>
                <a:gd name="connsiteX2539" fmla="*/ 834 w 10577"/>
                <a:gd name="connsiteY2539" fmla="*/ 8607 h 10000"/>
                <a:gd name="connsiteX2540" fmla="*/ 829 w 10577"/>
                <a:gd name="connsiteY2540" fmla="*/ 8641 h 10000"/>
                <a:gd name="connsiteX2541" fmla="*/ 806 w 10577"/>
                <a:gd name="connsiteY2541" fmla="*/ 8658 h 10000"/>
                <a:gd name="connsiteX2542" fmla="*/ 816 w 10577"/>
                <a:gd name="connsiteY2542" fmla="*/ 8667 h 10000"/>
                <a:gd name="connsiteX2543" fmla="*/ 820 w 10577"/>
                <a:gd name="connsiteY2543" fmla="*/ 8667 h 10000"/>
                <a:gd name="connsiteX2544" fmla="*/ 829 w 10577"/>
                <a:gd name="connsiteY2544" fmla="*/ 8684 h 10000"/>
                <a:gd name="connsiteX2545" fmla="*/ 806 w 10577"/>
                <a:gd name="connsiteY2545" fmla="*/ 8692 h 10000"/>
                <a:gd name="connsiteX2546" fmla="*/ 802 w 10577"/>
                <a:gd name="connsiteY2546" fmla="*/ 8709 h 10000"/>
                <a:gd name="connsiteX2547" fmla="*/ 802 w 10577"/>
                <a:gd name="connsiteY2547" fmla="*/ 8735 h 10000"/>
                <a:gd name="connsiteX2548" fmla="*/ 806 w 10577"/>
                <a:gd name="connsiteY2548" fmla="*/ 8744 h 10000"/>
                <a:gd name="connsiteX2549" fmla="*/ 816 w 10577"/>
                <a:gd name="connsiteY2549" fmla="*/ 8752 h 10000"/>
                <a:gd name="connsiteX2550" fmla="*/ 806 w 10577"/>
                <a:gd name="connsiteY2550" fmla="*/ 8778 h 10000"/>
                <a:gd name="connsiteX2551" fmla="*/ 820 w 10577"/>
                <a:gd name="connsiteY2551" fmla="*/ 8778 h 10000"/>
                <a:gd name="connsiteX2552" fmla="*/ 806 w 10577"/>
                <a:gd name="connsiteY2552" fmla="*/ 8880 h 10000"/>
                <a:gd name="connsiteX2553" fmla="*/ 797 w 10577"/>
                <a:gd name="connsiteY2553" fmla="*/ 8880 h 10000"/>
                <a:gd name="connsiteX2554" fmla="*/ 783 w 10577"/>
                <a:gd name="connsiteY2554" fmla="*/ 8872 h 10000"/>
                <a:gd name="connsiteX2555" fmla="*/ 770 w 10577"/>
                <a:gd name="connsiteY2555" fmla="*/ 8880 h 10000"/>
                <a:gd name="connsiteX2556" fmla="*/ 756 w 10577"/>
                <a:gd name="connsiteY2556" fmla="*/ 8855 h 10000"/>
                <a:gd name="connsiteX2557" fmla="*/ 733 w 10577"/>
                <a:gd name="connsiteY2557" fmla="*/ 8906 h 10000"/>
                <a:gd name="connsiteX2558" fmla="*/ 714 w 10577"/>
                <a:gd name="connsiteY2558" fmla="*/ 8915 h 10000"/>
                <a:gd name="connsiteX2559" fmla="*/ 710 w 10577"/>
                <a:gd name="connsiteY2559" fmla="*/ 8940 h 10000"/>
                <a:gd name="connsiteX2560" fmla="*/ 710 w 10577"/>
                <a:gd name="connsiteY2560" fmla="*/ 9009 h 10000"/>
                <a:gd name="connsiteX2561" fmla="*/ 728 w 10577"/>
                <a:gd name="connsiteY2561" fmla="*/ 8991 h 10000"/>
                <a:gd name="connsiteX2562" fmla="*/ 733 w 10577"/>
                <a:gd name="connsiteY2562" fmla="*/ 8991 h 10000"/>
                <a:gd name="connsiteX2563" fmla="*/ 747 w 10577"/>
                <a:gd name="connsiteY2563" fmla="*/ 8983 h 10000"/>
                <a:gd name="connsiteX2564" fmla="*/ 760 w 10577"/>
                <a:gd name="connsiteY2564" fmla="*/ 8983 h 10000"/>
                <a:gd name="connsiteX2565" fmla="*/ 770 w 10577"/>
                <a:gd name="connsiteY2565" fmla="*/ 8983 h 10000"/>
                <a:gd name="connsiteX2566" fmla="*/ 770 w 10577"/>
                <a:gd name="connsiteY2566" fmla="*/ 8991 h 10000"/>
                <a:gd name="connsiteX2567" fmla="*/ 783 w 10577"/>
                <a:gd name="connsiteY2567" fmla="*/ 8991 h 10000"/>
                <a:gd name="connsiteX2568" fmla="*/ 783 w 10577"/>
                <a:gd name="connsiteY2568" fmla="*/ 9009 h 10000"/>
                <a:gd name="connsiteX2569" fmla="*/ 783 w 10577"/>
                <a:gd name="connsiteY2569" fmla="*/ 9017 h 10000"/>
                <a:gd name="connsiteX2570" fmla="*/ 770 w 10577"/>
                <a:gd name="connsiteY2570" fmla="*/ 9017 h 10000"/>
                <a:gd name="connsiteX2571" fmla="*/ 724 w 10577"/>
                <a:gd name="connsiteY2571" fmla="*/ 9051 h 10000"/>
                <a:gd name="connsiteX2572" fmla="*/ 724 w 10577"/>
                <a:gd name="connsiteY2572" fmla="*/ 9068 h 10000"/>
                <a:gd name="connsiteX2573" fmla="*/ 728 w 10577"/>
                <a:gd name="connsiteY2573" fmla="*/ 9077 h 10000"/>
                <a:gd name="connsiteX2574" fmla="*/ 724 w 10577"/>
                <a:gd name="connsiteY2574" fmla="*/ 9077 h 10000"/>
                <a:gd name="connsiteX2575" fmla="*/ 710 w 10577"/>
                <a:gd name="connsiteY2575" fmla="*/ 9077 h 10000"/>
                <a:gd name="connsiteX2576" fmla="*/ 682 w 10577"/>
                <a:gd name="connsiteY2576" fmla="*/ 9077 h 10000"/>
                <a:gd name="connsiteX2577" fmla="*/ 673 w 10577"/>
                <a:gd name="connsiteY2577" fmla="*/ 9103 h 10000"/>
                <a:gd name="connsiteX2578" fmla="*/ 687 w 10577"/>
                <a:gd name="connsiteY2578" fmla="*/ 9128 h 10000"/>
                <a:gd name="connsiteX2579" fmla="*/ 700 w 10577"/>
                <a:gd name="connsiteY2579" fmla="*/ 9128 h 10000"/>
                <a:gd name="connsiteX2580" fmla="*/ 728 w 10577"/>
                <a:gd name="connsiteY2580" fmla="*/ 9179 h 10000"/>
                <a:gd name="connsiteX2581" fmla="*/ 724 w 10577"/>
                <a:gd name="connsiteY2581" fmla="*/ 9188 h 10000"/>
                <a:gd name="connsiteX2582" fmla="*/ 710 w 10577"/>
                <a:gd name="connsiteY2582" fmla="*/ 9179 h 10000"/>
                <a:gd name="connsiteX2583" fmla="*/ 700 w 10577"/>
                <a:gd name="connsiteY2583" fmla="*/ 9205 h 10000"/>
                <a:gd name="connsiteX2584" fmla="*/ 696 w 10577"/>
                <a:gd name="connsiteY2584" fmla="*/ 9205 h 10000"/>
                <a:gd name="connsiteX2585" fmla="*/ 654 w 10577"/>
                <a:gd name="connsiteY2585" fmla="*/ 9299 h 10000"/>
                <a:gd name="connsiteX2586" fmla="*/ 622 w 10577"/>
                <a:gd name="connsiteY2586" fmla="*/ 9299 h 10000"/>
                <a:gd name="connsiteX2587" fmla="*/ 613 w 10577"/>
                <a:gd name="connsiteY2587" fmla="*/ 9316 h 10000"/>
                <a:gd name="connsiteX2588" fmla="*/ 613 w 10577"/>
                <a:gd name="connsiteY2588" fmla="*/ 9325 h 10000"/>
                <a:gd name="connsiteX2589" fmla="*/ 608 w 10577"/>
                <a:gd name="connsiteY2589" fmla="*/ 9342 h 10000"/>
                <a:gd name="connsiteX2590" fmla="*/ 636 w 10577"/>
                <a:gd name="connsiteY2590" fmla="*/ 9376 h 10000"/>
                <a:gd name="connsiteX2591" fmla="*/ 641 w 10577"/>
                <a:gd name="connsiteY2591" fmla="*/ 9402 h 10000"/>
                <a:gd name="connsiteX2592" fmla="*/ 654 w 10577"/>
                <a:gd name="connsiteY2592" fmla="*/ 9427 h 10000"/>
                <a:gd name="connsiteX2593" fmla="*/ 668 w 10577"/>
                <a:gd name="connsiteY2593" fmla="*/ 9427 h 10000"/>
                <a:gd name="connsiteX2594" fmla="*/ 668 w 10577"/>
                <a:gd name="connsiteY2594" fmla="*/ 9427 h 10000"/>
                <a:gd name="connsiteX2595" fmla="*/ 774 w 10577"/>
                <a:gd name="connsiteY2595" fmla="*/ 9547 h 10000"/>
                <a:gd name="connsiteX2596" fmla="*/ 797 w 10577"/>
                <a:gd name="connsiteY2596" fmla="*/ 9598 h 10000"/>
                <a:gd name="connsiteX2597" fmla="*/ 802 w 10577"/>
                <a:gd name="connsiteY2597" fmla="*/ 9598 h 10000"/>
                <a:gd name="connsiteX2598" fmla="*/ 816 w 10577"/>
                <a:gd name="connsiteY2598" fmla="*/ 9624 h 10000"/>
                <a:gd name="connsiteX2599" fmla="*/ 843 w 10577"/>
                <a:gd name="connsiteY2599" fmla="*/ 9615 h 10000"/>
                <a:gd name="connsiteX2600" fmla="*/ 857 w 10577"/>
                <a:gd name="connsiteY2600" fmla="*/ 9624 h 10000"/>
                <a:gd name="connsiteX2601" fmla="*/ 862 w 10577"/>
                <a:gd name="connsiteY2601" fmla="*/ 9615 h 10000"/>
                <a:gd name="connsiteX2602" fmla="*/ 880 w 10577"/>
                <a:gd name="connsiteY2602" fmla="*/ 9624 h 10000"/>
                <a:gd name="connsiteX2603" fmla="*/ 889 w 10577"/>
                <a:gd name="connsiteY2603" fmla="*/ 9641 h 10000"/>
                <a:gd name="connsiteX2604" fmla="*/ 935 w 10577"/>
                <a:gd name="connsiteY2604" fmla="*/ 9675 h 10000"/>
                <a:gd name="connsiteX2605" fmla="*/ 977 w 10577"/>
                <a:gd name="connsiteY2605" fmla="*/ 9667 h 10000"/>
                <a:gd name="connsiteX2606" fmla="*/ 995 w 10577"/>
                <a:gd name="connsiteY2606" fmla="*/ 9675 h 10000"/>
                <a:gd name="connsiteX2607" fmla="*/ 1014 w 10577"/>
                <a:gd name="connsiteY2607" fmla="*/ 9675 h 10000"/>
                <a:gd name="connsiteX2608" fmla="*/ 1069 w 10577"/>
                <a:gd name="connsiteY2608" fmla="*/ 9752 h 10000"/>
                <a:gd name="connsiteX2609" fmla="*/ 1074 w 10577"/>
                <a:gd name="connsiteY2609" fmla="*/ 9761 h 10000"/>
                <a:gd name="connsiteX2610" fmla="*/ 1083 w 10577"/>
                <a:gd name="connsiteY2610" fmla="*/ 9778 h 10000"/>
                <a:gd name="connsiteX2611" fmla="*/ 1115 w 10577"/>
                <a:gd name="connsiteY2611" fmla="*/ 9752 h 10000"/>
                <a:gd name="connsiteX2612" fmla="*/ 1129 w 10577"/>
                <a:gd name="connsiteY2612" fmla="*/ 9752 h 10000"/>
                <a:gd name="connsiteX2613" fmla="*/ 1138 w 10577"/>
                <a:gd name="connsiteY2613" fmla="*/ 9761 h 10000"/>
                <a:gd name="connsiteX2614" fmla="*/ 1143 w 10577"/>
                <a:gd name="connsiteY2614" fmla="*/ 9752 h 10000"/>
                <a:gd name="connsiteX2615" fmla="*/ 1161 w 10577"/>
                <a:gd name="connsiteY2615" fmla="*/ 9761 h 10000"/>
                <a:gd name="connsiteX2616" fmla="*/ 1171 w 10577"/>
                <a:gd name="connsiteY2616" fmla="*/ 9778 h 10000"/>
                <a:gd name="connsiteX2617" fmla="*/ 1175 w 10577"/>
                <a:gd name="connsiteY2617" fmla="*/ 9778 h 10000"/>
                <a:gd name="connsiteX2618" fmla="*/ 1189 w 10577"/>
                <a:gd name="connsiteY2618" fmla="*/ 9778 h 10000"/>
                <a:gd name="connsiteX2619" fmla="*/ 1198 w 10577"/>
                <a:gd name="connsiteY2619" fmla="*/ 9786 h 10000"/>
                <a:gd name="connsiteX2620" fmla="*/ 1203 w 10577"/>
                <a:gd name="connsiteY2620" fmla="*/ 9803 h 10000"/>
                <a:gd name="connsiteX2621" fmla="*/ 1198 w 10577"/>
                <a:gd name="connsiteY2621" fmla="*/ 9838 h 10000"/>
                <a:gd name="connsiteX2622" fmla="*/ 1212 w 10577"/>
                <a:gd name="connsiteY2622" fmla="*/ 9863 h 10000"/>
                <a:gd name="connsiteX2623" fmla="*/ 1230 w 10577"/>
                <a:gd name="connsiteY2623" fmla="*/ 9872 h 10000"/>
                <a:gd name="connsiteX2624" fmla="*/ 1249 w 10577"/>
                <a:gd name="connsiteY2624" fmla="*/ 9897 h 10000"/>
                <a:gd name="connsiteX2625" fmla="*/ 1263 w 10577"/>
                <a:gd name="connsiteY2625" fmla="*/ 9897 h 10000"/>
                <a:gd name="connsiteX2626" fmla="*/ 1276 w 10577"/>
                <a:gd name="connsiteY2626" fmla="*/ 9923 h 10000"/>
                <a:gd name="connsiteX2627" fmla="*/ 1281 w 10577"/>
                <a:gd name="connsiteY2627" fmla="*/ 9949 h 10000"/>
                <a:gd name="connsiteX2628" fmla="*/ 1290 w 10577"/>
                <a:gd name="connsiteY2628" fmla="*/ 9949 h 10000"/>
                <a:gd name="connsiteX2629" fmla="*/ 1295 w 10577"/>
                <a:gd name="connsiteY2629" fmla="*/ 10000 h 10000"/>
                <a:gd name="connsiteX2630" fmla="*/ 1332 w 10577"/>
                <a:gd name="connsiteY2630" fmla="*/ 10000 h 10000"/>
                <a:gd name="connsiteX2631" fmla="*/ 1336 w 10577"/>
                <a:gd name="connsiteY2631" fmla="*/ 10000 h 10000"/>
                <a:gd name="connsiteX2632" fmla="*/ 1346 w 10577"/>
                <a:gd name="connsiteY2632" fmla="*/ 9983 h 10000"/>
                <a:gd name="connsiteX2633" fmla="*/ 1350 w 10577"/>
                <a:gd name="connsiteY2633" fmla="*/ 9949 h 10000"/>
                <a:gd name="connsiteX2634" fmla="*/ 1369 w 10577"/>
                <a:gd name="connsiteY2634" fmla="*/ 9940 h 10000"/>
                <a:gd name="connsiteX2635" fmla="*/ 1378 w 10577"/>
                <a:gd name="connsiteY2635" fmla="*/ 9897 h 10000"/>
                <a:gd name="connsiteX2636" fmla="*/ 1369 w 10577"/>
                <a:gd name="connsiteY2636" fmla="*/ 9889 h 10000"/>
                <a:gd name="connsiteX2637" fmla="*/ 1318 w 10577"/>
                <a:gd name="connsiteY2637" fmla="*/ 9701 h 10000"/>
                <a:gd name="connsiteX2638" fmla="*/ 1318 w 10577"/>
                <a:gd name="connsiteY2638" fmla="*/ 9650 h 10000"/>
                <a:gd name="connsiteX2639" fmla="*/ 1323 w 10577"/>
                <a:gd name="connsiteY2639" fmla="*/ 9590 h 10000"/>
                <a:gd name="connsiteX2640" fmla="*/ 1323 w 10577"/>
                <a:gd name="connsiteY2640" fmla="*/ 9564 h 10000"/>
                <a:gd name="connsiteX2641" fmla="*/ 1309 w 10577"/>
                <a:gd name="connsiteY2641" fmla="*/ 9598 h 10000"/>
                <a:gd name="connsiteX2642" fmla="*/ 1309 w 10577"/>
                <a:gd name="connsiteY2642" fmla="*/ 9590 h 10000"/>
                <a:gd name="connsiteX2643" fmla="*/ 1304 w 10577"/>
                <a:gd name="connsiteY2643" fmla="*/ 9547 h 10000"/>
                <a:gd name="connsiteX2644" fmla="*/ 1276 w 10577"/>
                <a:gd name="connsiteY2644" fmla="*/ 9479 h 10000"/>
                <a:gd name="connsiteX2645" fmla="*/ 1263 w 10577"/>
                <a:gd name="connsiteY2645" fmla="*/ 9479 h 10000"/>
                <a:gd name="connsiteX2646" fmla="*/ 1263 w 10577"/>
                <a:gd name="connsiteY2646" fmla="*/ 9453 h 10000"/>
                <a:gd name="connsiteX2647" fmla="*/ 1272 w 10577"/>
                <a:gd name="connsiteY2647" fmla="*/ 9410 h 10000"/>
                <a:gd name="connsiteX2648" fmla="*/ 1272 w 10577"/>
                <a:gd name="connsiteY2648" fmla="*/ 9393 h 10000"/>
                <a:gd name="connsiteX2649" fmla="*/ 1281 w 10577"/>
                <a:gd name="connsiteY2649" fmla="*/ 9368 h 10000"/>
                <a:gd name="connsiteX2650" fmla="*/ 1281 w 10577"/>
                <a:gd name="connsiteY2650" fmla="*/ 9368 h 10000"/>
                <a:gd name="connsiteX2651" fmla="*/ 1290 w 10577"/>
                <a:gd name="connsiteY2651" fmla="*/ 9368 h 10000"/>
                <a:gd name="connsiteX2652" fmla="*/ 1290 w 10577"/>
                <a:gd name="connsiteY2652" fmla="*/ 9342 h 10000"/>
                <a:gd name="connsiteX2653" fmla="*/ 1304 w 10577"/>
                <a:gd name="connsiteY2653" fmla="*/ 9325 h 10000"/>
                <a:gd name="connsiteX2654" fmla="*/ 1309 w 10577"/>
                <a:gd name="connsiteY2654" fmla="*/ 9239 h 10000"/>
                <a:gd name="connsiteX2655" fmla="*/ 1318 w 10577"/>
                <a:gd name="connsiteY2655" fmla="*/ 9256 h 10000"/>
                <a:gd name="connsiteX2656" fmla="*/ 1323 w 10577"/>
                <a:gd name="connsiteY2656" fmla="*/ 9179 h 10000"/>
                <a:gd name="connsiteX2657" fmla="*/ 1309 w 10577"/>
                <a:gd name="connsiteY2657" fmla="*/ 9145 h 10000"/>
                <a:gd name="connsiteX2658" fmla="*/ 1336 w 10577"/>
                <a:gd name="connsiteY2658" fmla="*/ 9154 h 10000"/>
                <a:gd name="connsiteX2659" fmla="*/ 1336 w 10577"/>
                <a:gd name="connsiteY2659" fmla="*/ 9162 h 10000"/>
                <a:gd name="connsiteX2660" fmla="*/ 1350 w 10577"/>
                <a:gd name="connsiteY2660" fmla="*/ 9231 h 10000"/>
                <a:gd name="connsiteX2661" fmla="*/ 1355 w 10577"/>
                <a:gd name="connsiteY2661" fmla="*/ 9231 h 10000"/>
                <a:gd name="connsiteX2662" fmla="*/ 1364 w 10577"/>
                <a:gd name="connsiteY2662" fmla="*/ 9214 h 10000"/>
                <a:gd name="connsiteX2663" fmla="*/ 1369 w 10577"/>
                <a:gd name="connsiteY2663" fmla="*/ 9214 h 10000"/>
                <a:gd name="connsiteX2664" fmla="*/ 1382 w 10577"/>
                <a:gd name="connsiteY2664" fmla="*/ 9154 h 10000"/>
                <a:gd name="connsiteX2665" fmla="*/ 1396 w 10577"/>
                <a:gd name="connsiteY2665" fmla="*/ 9154 h 10000"/>
                <a:gd name="connsiteX2666" fmla="*/ 1382 w 10577"/>
                <a:gd name="connsiteY2666" fmla="*/ 9145 h 10000"/>
                <a:gd name="connsiteX2667" fmla="*/ 1382 w 10577"/>
                <a:gd name="connsiteY2667" fmla="*/ 9128 h 10000"/>
                <a:gd name="connsiteX2668" fmla="*/ 1369 w 10577"/>
                <a:gd name="connsiteY2668" fmla="*/ 9128 h 10000"/>
                <a:gd name="connsiteX2669" fmla="*/ 1364 w 10577"/>
                <a:gd name="connsiteY2669" fmla="*/ 9128 h 10000"/>
                <a:gd name="connsiteX2670" fmla="*/ 1355 w 10577"/>
                <a:gd name="connsiteY2670" fmla="*/ 9120 h 10000"/>
                <a:gd name="connsiteX2671" fmla="*/ 1350 w 10577"/>
                <a:gd name="connsiteY2671" fmla="*/ 9103 h 10000"/>
                <a:gd name="connsiteX2672" fmla="*/ 1355 w 10577"/>
                <a:gd name="connsiteY2672" fmla="*/ 9094 h 10000"/>
                <a:gd name="connsiteX2673" fmla="*/ 1355 w 10577"/>
                <a:gd name="connsiteY2673" fmla="*/ 9068 h 10000"/>
                <a:gd name="connsiteX2674" fmla="*/ 1369 w 10577"/>
                <a:gd name="connsiteY2674" fmla="*/ 9068 h 10000"/>
                <a:gd name="connsiteX2675" fmla="*/ 1378 w 10577"/>
                <a:gd name="connsiteY2675" fmla="*/ 9077 h 10000"/>
                <a:gd name="connsiteX2676" fmla="*/ 1396 w 10577"/>
                <a:gd name="connsiteY2676" fmla="*/ 9068 h 10000"/>
                <a:gd name="connsiteX2677" fmla="*/ 1382 w 10577"/>
                <a:gd name="connsiteY2677" fmla="*/ 8940 h 10000"/>
                <a:gd name="connsiteX2678" fmla="*/ 1378 w 10577"/>
                <a:gd name="connsiteY2678" fmla="*/ 8940 h 10000"/>
                <a:gd name="connsiteX2679" fmla="*/ 1364 w 10577"/>
                <a:gd name="connsiteY2679" fmla="*/ 8889 h 10000"/>
                <a:gd name="connsiteX2680" fmla="*/ 1355 w 10577"/>
                <a:gd name="connsiteY2680" fmla="*/ 8880 h 10000"/>
                <a:gd name="connsiteX2681" fmla="*/ 1323 w 10577"/>
                <a:gd name="connsiteY2681" fmla="*/ 8880 h 10000"/>
                <a:gd name="connsiteX2682" fmla="*/ 1309 w 10577"/>
                <a:gd name="connsiteY2682" fmla="*/ 8880 h 10000"/>
                <a:gd name="connsiteX2683" fmla="*/ 1309 w 10577"/>
                <a:gd name="connsiteY2683" fmla="*/ 8889 h 10000"/>
                <a:gd name="connsiteX2684" fmla="*/ 1295 w 10577"/>
                <a:gd name="connsiteY2684" fmla="*/ 8872 h 10000"/>
                <a:gd name="connsiteX2685" fmla="*/ 1290 w 10577"/>
                <a:gd name="connsiteY2685" fmla="*/ 8855 h 10000"/>
                <a:gd name="connsiteX2686" fmla="*/ 1290 w 10577"/>
                <a:gd name="connsiteY2686" fmla="*/ 8829 h 10000"/>
                <a:gd name="connsiteX2687" fmla="*/ 1290 w 10577"/>
                <a:gd name="connsiteY2687" fmla="*/ 8821 h 10000"/>
                <a:gd name="connsiteX2688" fmla="*/ 1290 w 10577"/>
                <a:gd name="connsiteY2688" fmla="*/ 8803 h 10000"/>
                <a:gd name="connsiteX2689" fmla="*/ 1281 w 10577"/>
                <a:gd name="connsiteY2689" fmla="*/ 8795 h 10000"/>
                <a:gd name="connsiteX2690" fmla="*/ 1249 w 10577"/>
                <a:gd name="connsiteY2690" fmla="*/ 8769 h 10000"/>
                <a:gd name="connsiteX2691" fmla="*/ 1263 w 10577"/>
                <a:gd name="connsiteY2691" fmla="*/ 8667 h 10000"/>
                <a:gd name="connsiteX2692" fmla="*/ 1281 w 10577"/>
                <a:gd name="connsiteY2692" fmla="*/ 8658 h 10000"/>
                <a:gd name="connsiteX2693" fmla="*/ 1290 w 10577"/>
                <a:gd name="connsiteY2693" fmla="*/ 8632 h 10000"/>
                <a:gd name="connsiteX2694" fmla="*/ 1281 w 10577"/>
                <a:gd name="connsiteY2694" fmla="*/ 8615 h 10000"/>
                <a:gd name="connsiteX2695" fmla="*/ 1272 w 10577"/>
                <a:gd name="connsiteY2695" fmla="*/ 8598 h 10000"/>
                <a:gd name="connsiteX2696" fmla="*/ 1281 w 10577"/>
                <a:gd name="connsiteY2696" fmla="*/ 8496 h 10000"/>
                <a:gd name="connsiteX2697" fmla="*/ 1295 w 10577"/>
                <a:gd name="connsiteY2697" fmla="*/ 8470 h 10000"/>
                <a:gd name="connsiteX2698" fmla="*/ 1304 w 10577"/>
                <a:gd name="connsiteY2698" fmla="*/ 8462 h 10000"/>
                <a:gd name="connsiteX2699" fmla="*/ 1304 w 10577"/>
                <a:gd name="connsiteY2699" fmla="*/ 8444 h 10000"/>
                <a:gd name="connsiteX2700" fmla="*/ 1304 w 10577"/>
                <a:gd name="connsiteY2700" fmla="*/ 8419 h 10000"/>
                <a:gd name="connsiteX2701" fmla="*/ 1304 w 10577"/>
                <a:gd name="connsiteY2701" fmla="*/ 8410 h 10000"/>
                <a:gd name="connsiteX2702" fmla="*/ 1309 w 10577"/>
                <a:gd name="connsiteY2702" fmla="*/ 8393 h 10000"/>
                <a:gd name="connsiteX2703" fmla="*/ 1318 w 10577"/>
                <a:gd name="connsiteY2703" fmla="*/ 8385 h 10000"/>
                <a:gd name="connsiteX2704" fmla="*/ 1323 w 10577"/>
                <a:gd name="connsiteY2704" fmla="*/ 8385 h 10000"/>
                <a:gd name="connsiteX2705" fmla="*/ 1332 w 10577"/>
                <a:gd name="connsiteY2705" fmla="*/ 8410 h 10000"/>
                <a:gd name="connsiteX2706" fmla="*/ 1346 w 10577"/>
                <a:gd name="connsiteY2706" fmla="*/ 8419 h 10000"/>
                <a:gd name="connsiteX2707" fmla="*/ 1364 w 10577"/>
                <a:gd name="connsiteY2707" fmla="*/ 8504 h 10000"/>
                <a:gd name="connsiteX2708" fmla="*/ 1369 w 10577"/>
                <a:gd name="connsiteY2708" fmla="*/ 8521 h 10000"/>
                <a:gd name="connsiteX2709" fmla="*/ 1406 w 10577"/>
                <a:gd name="connsiteY2709" fmla="*/ 8470 h 10000"/>
                <a:gd name="connsiteX2710" fmla="*/ 1382 w 10577"/>
                <a:gd name="connsiteY2710" fmla="*/ 8359 h 10000"/>
                <a:gd name="connsiteX2711" fmla="*/ 1392 w 10577"/>
                <a:gd name="connsiteY2711" fmla="*/ 8359 h 10000"/>
                <a:gd name="connsiteX2712" fmla="*/ 1438 w 10577"/>
                <a:gd name="connsiteY2712" fmla="*/ 8308 h 10000"/>
                <a:gd name="connsiteX2713" fmla="*/ 1442 w 10577"/>
                <a:gd name="connsiteY2713" fmla="*/ 8299 h 10000"/>
                <a:gd name="connsiteX2714" fmla="*/ 1442 w 10577"/>
                <a:gd name="connsiteY2714" fmla="*/ 8256 h 10000"/>
                <a:gd name="connsiteX2715" fmla="*/ 1452 w 10577"/>
                <a:gd name="connsiteY2715" fmla="*/ 8256 h 10000"/>
                <a:gd name="connsiteX2716" fmla="*/ 1456 w 10577"/>
                <a:gd name="connsiteY2716" fmla="*/ 8256 h 10000"/>
                <a:gd name="connsiteX2717" fmla="*/ 1470 w 10577"/>
                <a:gd name="connsiteY2717" fmla="*/ 8248 h 10000"/>
                <a:gd name="connsiteX2718" fmla="*/ 1479 w 10577"/>
                <a:gd name="connsiteY2718" fmla="*/ 8231 h 10000"/>
                <a:gd name="connsiteX2719" fmla="*/ 1493 w 10577"/>
                <a:gd name="connsiteY2719" fmla="*/ 8222 h 10000"/>
                <a:gd name="connsiteX2720" fmla="*/ 1498 w 10577"/>
                <a:gd name="connsiteY2720" fmla="*/ 8214 h 10000"/>
                <a:gd name="connsiteX2721" fmla="*/ 1502 w 10577"/>
                <a:gd name="connsiteY2721" fmla="*/ 8197 h 10000"/>
                <a:gd name="connsiteX2722" fmla="*/ 1512 w 10577"/>
                <a:gd name="connsiteY2722" fmla="*/ 8188 h 10000"/>
                <a:gd name="connsiteX2723" fmla="*/ 1516 w 10577"/>
                <a:gd name="connsiteY2723" fmla="*/ 8171 h 10000"/>
                <a:gd name="connsiteX2724" fmla="*/ 1525 w 10577"/>
                <a:gd name="connsiteY2724" fmla="*/ 8162 h 10000"/>
                <a:gd name="connsiteX2725" fmla="*/ 1539 w 10577"/>
                <a:gd name="connsiteY2725" fmla="*/ 8145 h 10000"/>
                <a:gd name="connsiteX2726" fmla="*/ 1558 w 10577"/>
                <a:gd name="connsiteY2726" fmla="*/ 8145 h 10000"/>
                <a:gd name="connsiteX2727" fmla="*/ 1562 w 10577"/>
                <a:gd name="connsiteY2727" fmla="*/ 8188 h 10000"/>
                <a:gd name="connsiteX2728" fmla="*/ 1585 w 10577"/>
                <a:gd name="connsiteY2728" fmla="*/ 8171 h 10000"/>
                <a:gd name="connsiteX2729" fmla="*/ 1590 w 10577"/>
                <a:gd name="connsiteY2729" fmla="*/ 8188 h 10000"/>
                <a:gd name="connsiteX2730" fmla="*/ 1599 w 10577"/>
                <a:gd name="connsiteY2730" fmla="*/ 8171 h 10000"/>
                <a:gd name="connsiteX2731" fmla="*/ 1599 w 10577"/>
                <a:gd name="connsiteY2731" fmla="*/ 8162 h 10000"/>
                <a:gd name="connsiteX2732" fmla="*/ 1604 w 10577"/>
                <a:gd name="connsiteY2732" fmla="*/ 8137 h 10000"/>
                <a:gd name="connsiteX2733" fmla="*/ 1618 w 10577"/>
                <a:gd name="connsiteY2733" fmla="*/ 8145 h 10000"/>
                <a:gd name="connsiteX2734" fmla="*/ 1627 w 10577"/>
                <a:gd name="connsiteY2734" fmla="*/ 8137 h 10000"/>
                <a:gd name="connsiteX2735" fmla="*/ 1631 w 10577"/>
                <a:gd name="connsiteY2735" fmla="*/ 8137 h 10000"/>
                <a:gd name="connsiteX2736" fmla="*/ 1636 w 10577"/>
                <a:gd name="connsiteY2736" fmla="*/ 8171 h 10000"/>
                <a:gd name="connsiteX2737" fmla="*/ 1645 w 10577"/>
                <a:gd name="connsiteY2737" fmla="*/ 8188 h 10000"/>
                <a:gd name="connsiteX2738" fmla="*/ 1664 w 10577"/>
                <a:gd name="connsiteY2738" fmla="*/ 8171 h 10000"/>
                <a:gd name="connsiteX2739" fmla="*/ 1673 w 10577"/>
                <a:gd name="connsiteY2739" fmla="*/ 8188 h 10000"/>
                <a:gd name="connsiteX2740" fmla="*/ 1691 w 10577"/>
                <a:gd name="connsiteY2740" fmla="*/ 8171 h 10000"/>
                <a:gd name="connsiteX2741" fmla="*/ 1705 w 10577"/>
                <a:gd name="connsiteY2741" fmla="*/ 8171 h 10000"/>
                <a:gd name="connsiteX2742" fmla="*/ 1719 w 10577"/>
                <a:gd name="connsiteY2742" fmla="*/ 8197 h 10000"/>
                <a:gd name="connsiteX2743" fmla="*/ 1724 w 10577"/>
                <a:gd name="connsiteY2743" fmla="*/ 8231 h 10000"/>
                <a:gd name="connsiteX2744" fmla="*/ 1751 w 10577"/>
                <a:gd name="connsiteY2744" fmla="*/ 8256 h 10000"/>
                <a:gd name="connsiteX2745" fmla="*/ 1751 w 10577"/>
                <a:gd name="connsiteY2745" fmla="*/ 8274 h 10000"/>
                <a:gd name="connsiteX2746" fmla="*/ 1760 w 10577"/>
                <a:gd name="connsiteY2746" fmla="*/ 8282 h 10000"/>
                <a:gd name="connsiteX2747" fmla="*/ 1770 w 10577"/>
                <a:gd name="connsiteY2747" fmla="*/ 8325 h 10000"/>
                <a:gd name="connsiteX2748" fmla="*/ 1770 w 10577"/>
                <a:gd name="connsiteY2748" fmla="*/ 8350 h 10000"/>
                <a:gd name="connsiteX2749" fmla="*/ 1779 w 10577"/>
                <a:gd name="connsiteY2749" fmla="*/ 8368 h 10000"/>
                <a:gd name="connsiteX2750" fmla="*/ 1783 w 10577"/>
                <a:gd name="connsiteY2750" fmla="*/ 8359 h 10000"/>
                <a:gd name="connsiteX2751" fmla="*/ 1783 w 10577"/>
                <a:gd name="connsiteY2751" fmla="*/ 8308 h 10000"/>
                <a:gd name="connsiteX2752" fmla="*/ 1779 w 10577"/>
                <a:gd name="connsiteY2752" fmla="*/ 8299 h 10000"/>
                <a:gd name="connsiteX2753" fmla="*/ 1783 w 10577"/>
                <a:gd name="connsiteY2753" fmla="*/ 8282 h 10000"/>
                <a:gd name="connsiteX2754" fmla="*/ 1797 w 10577"/>
                <a:gd name="connsiteY2754" fmla="*/ 8274 h 10000"/>
                <a:gd name="connsiteX2755" fmla="*/ 1797 w 10577"/>
                <a:gd name="connsiteY2755" fmla="*/ 8299 h 10000"/>
                <a:gd name="connsiteX2756" fmla="*/ 1806 w 10577"/>
                <a:gd name="connsiteY2756" fmla="*/ 8308 h 10000"/>
                <a:gd name="connsiteX2757" fmla="*/ 1811 w 10577"/>
                <a:gd name="connsiteY2757" fmla="*/ 8325 h 10000"/>
                <a:gd name="connsiteX2758" fmla="*/ 1820 w 10577"/>
                <a:gd name="connsiteY2758" fmla="*/ 8333 h 10000"/>
                <a:gd name="connsiteX2759" fmla="*/ 1853 w 10577"/>
                <a:gd name="connsiteY2759" fmla="*/ 8359 h 10000"/>
                <a:gd name="connsiteX2760" fmla="*/ 1866 w 10577"/>
                <a:gd name="connsiteY2760" fmla="*/ 8359 h 10000"/>
                <a:gd name="connsiteX2761" fmla="*/ 1885 w 10577"/>
                <a:gd name="connsiteY2761" fmla="*/ 8325 h 10000"/>
                <a:gd name="connsiteX2762" fmla="*/ 1885 w 10577"/>
                <a:gd name="connsiteY2762" fmla="*/ 8308 h 10000"/>
                <a:gd name="connsiteX2763" fmla="*/ 1894 w 10577"/>
                <a:gd name="connsiteY2763" fmla="*/ 8299 h 10000"/>
                <a:gd name="connsiteX2764" fmla="*/ 1899 w 10577"/>
                <a:gd name="connsiteY2764" fmla="*/ 8282 h 10000"/>
                <a:gd name="connsiteX2765" fmla="*/ 1912 w 10577"/>
                <a:gd name="connsiteY2765" fmla="*/ 8282 h 10000"/>
                <a:gd name="connsiteX2766" fmla="*/ 1917 w 10577"/>
                <a:gd name="connsiteY2766" fmla="*/ 8299 h 10000"/>
                <a:gd name="connsiteX2767" fmla="*/ 1917 w 10577"/>
                <a:gd name="connsiteY2767" fmla="*/ 8274 h 10000"/>
                <a:gd name="connsiteX2768" fmla="*/ 1940 w 10577"/>
                <a:gd name="connsiteY2768" fmla="*/ 8282 h 10000"/>
                <a:gd name="connsiteX2769" fmla="*/ 1945 w 10577"/>
                <a:gd name="connsiteY2769" fmla="*/ 8274 h 10000"/>
                <a:gd name="connsiteX2770" fmla="*/ 1972 w 10577"/>
                <a:gd name="connsiteY2770" fmla="*/ 8308 h 10000"/>
                <a:gd name="connsiteX2771" fmla="*/ 1986 w 10577"/>
                <a:gd name="connsiteY2771" fmla="*/ 8282 h 10000"/>
                <a:gd name="connsiteX2772" fmla="*/ 1991 w 10577"/>
                <a:gd name="connsiteY2772" fmla="*/ 8274 h 10000"/>
                <a:gd name="connsiteX2773" fmla="*/ 2014 w 10577"/>
                <a:gd name="connsiteY2773" fmla="*/ 8274 h 10000"/>
                <a:gd name="connsiteX2774" fmla="*/ 2018 w 10577"/>
                <a:gd name="connsiteY2774" fmla="*/ 8256 h 10000"/>
                <a:gd name="connsiteX2775" fmla="*/ 2041 w 10577"/>
                <a:gd name="connsiteY2775" fmla="*/ 8274 h 10000"/>
                <a:gd name="connsiteX2776" fmla="*/ 2046 w 10577"/>
                <a:gd name="connsiteY2776" fmla="*/ 8282 h 10000"/>
                <a:gd name="connsiteX2777" fmla="*/ 2046 w 10577"/>
                <a:gd name="connsiteY2777" fmla="*/ 8325 h 10000"/>
                <a:gd name="connsiteX2778" fmla="*/ 2060 w 10577"/>
                <a:gd name="connsiteY2778" fmla="*/ 8350 h 10000"/>
                <a:gd name="connsiteX2779" fmla="*/ 2078 w 10577"/>
                <a:gd name="connsiteY2779" fmla="*/ 8350 h 10000"/>
                <a:gd name="connsiteX2780" fmla="*/ 2092 w 10577"/>
                <a:gd name="connsiteY2780" fmla="*/ 8350 h 10000"/>
                <a:gd name="connsiteX2781" fmla="*/ 2092 w 10577"/>
                <a:gd name="connsiteY2781" fmla="*/ 8350 h 10000"/>
                <a:gd name="connsiteX2782" fmla="*/ 2101 w 10577"/>
                <a:gd name="connsiteY2782" fmla="*/ 8368 h 10000"/>
                <a:gd name="connsiteX2783" fmla="*/ 2120 w 10577"/>
                <a:gd name="connsiteY2783" fmla="*/ 8368 h 10000"/>
                <a:gd name="connsiteX2784" fmla="*/ 2124 w 10577"/>
                <a:gd name="connsiteY2784" fmla="*/ 8359 h 10000"/>
                <a:gd name="connsiteX2785" fmla="*/ 2138 w 10577"/>
                <a:gd name="connsiteY2785" fmla="*/ 8325 h 10000"/>
                <a:gd name="connsiteX2786" fmla="*/ 2147 w 10577"/>
                <a:gd name="connsiteY2786" fmla="*/ 8325 h 10000"/>
                <a:gd name="connsiteX2787" fmla="*/ 2161 w 10577"/>
                <a:gd name="connsiteY2787" fmla="*/ 8350 h 10000"/>
                <a:gd name="connsiteX2788" fmla="*/ 2198 w 10577"/>
                <a:gd name="connsiteY2788" fmla="*/ 8350 h 10000"/>
                <a:gd name="connsiteX2789" fmla="*/ 2207 w 10577"/>
                <a:gd name="connsiteY2789" fmla="*/ 8333 h 10000"/>
                <a:gd name="connsiteX2790" fmla="*/ 2226 w 10577"/>
                <a:gd name="connsiteY2790" fmla="*/ 8325 h 10000"/>
                <a:gd name="connsiteX2791" fmla="*/ 2249 w 10577"/>
                <a:gd name="connsiteY2791" fmla="*/ 8222 h 10000"/>
                <a:gd name="connsiteX2792" fmla="*/ 2235 w 10577"/>
                <a:gd name="connsiteY2792" fmla="*/ 8197 h 10000"/>
                <a:gd name="connsiteX2793" fmla="*/ 2198 w 10577"/>
                <a:gd name="connsiteY2793" fmla="*/ 8197 h 10000"/>
                <a:gd name="connsiteX2794" fmla="*/ 2189 w 10577"/>
                <a:gd name="connsiteY2794" fmla="*/ 8171 h 10000"/>
                <a:gd name="connsiteX2795" fmla="*/ 2161 w 10577"/>
                <a:gd name="connsiteY2795" fmla="*/ 8145 h 10000"/>
                <a:gd name="connsiteX2796" fmla="*/ 2161 w 10577"/>
                <a:gd name="connsiteY2796" fmla="*/ 8137 h 10000"/>
                <a:gd name="connsiteX2797" fmla="*/ 2152 w 10577"/>
                <a:gd name="connsiteY2797" fmla="*/ 8120 h 10000"/>
                <a:gd name="connsiteX2798" fmla="*/ 2138 w 10577"/>
                <a:gd name="connsiteY2798" fmla="*/ 8111 h 10000"/>
                <a:gd name="connsiteX2799" fmla="*/ 2138 w 10577"/>
                <a:gd name="connsiteY2799" fmla="*/ 8094 h 10000"/>
                <a:gd name="connsiteX2800" fmla="*/ 2147 w 10577"/>
                <a:gd name="connsiteY2800" fmla="*/ 8085 h 10000"/>
                <a:gd name="connsiteX2801" fmla="*/ 2161 w 10577"/>
                <a:gd name="connsiteY2801" fmla="*/ 8060 h 10000"/>
                <a:gd name="connsiteX2802" fmla="*/ 2198 w 10577"/>
                <a:gd name="connsiteY2802" fmla="*/ 8034 h 10000"/>
                <a:gd name="connsiteX2803" fmla="*/ 2198 w 10577"/>
                <a:gd name="connsiteY2803" fmla="*/ 8026 h 10000"/>
                <a:gd name="connsiteX2804" fmla="*/ 2198 w 10577"/>
                <a:gd name="connsiteY2804" fmla="*/ 8000 h 10000"/>
                <a:gd name="connsiteX2805" fmla="*/ 2180 w 10577"/>
                <a:gd name="connsiteY2805" fmla="*/ 7940 h 10000"/>
                <a:gd name="connsiteX2806" fmla="*/ 2189 w 10577"/>
                <a:gd name="connsiteY2806" fmla="*/ 7940 h 10000"/>
                <a:gd name="connsiteX2807" fmla="*/ 2198 w 10577"/>
                <a:gd name="connsiteY2807" fmla="*/ 7923 h 10000"/>
                <a:gd name="connsiteX2808" fmla="*/ 2198 w 10577"/>
                <a:gd name="connsiteY2808" fmla="*/ 7897 h 10000"/>
                <a:gd name="connsiteX2809" fmla="*/ 2207 w 10577"/>
                <a:gd name="connsiteY2809" fmla="*/ 7889 h 10000"/>
                <a:gd name="connsiteX2810" fmla="*/ 2221 w 10577"/>
                <a:gd name="connsiteY2810" fmla="*/ 7889 h 10000"/>
                <a:gd name="connsiteX2811" fmla="*/ 2226 w 10577"/>
                <a:gd name="connsiteY2811" fmla="*/ 7897 h 10000"/>
                <a:gd name="connsiteX2812" fmla="*/ 2235 w 10577"/>
                <a:gd name="connsiteY2812" fmla="*/ 7889 h 10000"/>
                <a:gd name="connsiteX2813" fmla="*/ 2249 w 10577"/>
                <a:gd name="connsiteY2813" fmla="*/ 7897 h 10000"/>
                <a:gd name="connsiteX2814" fmla="*/ 2267 w 10577"/>
                <a:gd name="connsiteY2814" fmla="*/ 7897 h 10000"/>
                <a:gd name="connsiteX2815" fmla="*/ 2272 w 10577"/>
                <a:gd name="connsiteY2815" fmla="*/ 7889 h 10000"/>
                <a:gd name="connsiteX2816" fmla="*/ 2281 w 10577"/>
                <a:gd name="connsiteY2816" fmla="*/ 7872 h 10000"/>
                <a:gd name="connsiteX2817" fmla="*/ 2272 w 10577"/>
                <a:gd name="connsiteY2817" fmla="*/ 7846 h 10000"/>
                <a:gd name="connsiteX2818" fmla="*/ 2253 w 10577"/>
                <a:gd name="connsiteY2818" fmla="*/ 7838 h 10000"/>
                <a:gd name="connsiteX2819" fmla="*/ 2221 w 10577"/>
                <a:gd name="connsiteY2819" fmla="*/ 7821 h 10000"/>
                <a:gd name="connsiteX2820" fmla="*/ 2212 w 10577"/>
                <a:gd name="connsiteY2820" fmla="*/ 7812 h 10000"/>
                <a:gd name="connsiteX2821" fmla="*/ 2212 w 10577"/>
                <a:gd name="connsiteY2821" fmla="*/ 7803 h 10000"/>
                <a:gd name="connsiteX2822" fmla="*/ 2221 w 10577"/>
                <a:gd name="connsiteY2822" fmla="*/ 7803 h 10000"/>
                <a:gd name="connsiteX2823" fmla="*/ 2235 w 10577"/>
                <a:gd name="connsiteY2823" fmla="*/ 7786 h 10000"/>
                <a:gd name="connsiteX2824" fmla="*/ 2240 w 10577"/>
                <a:gd name="connsiteY2824" fmla="*/ 7778 h 10000"/>
                <a:gd name="connsiteX2825" fmla="*/ 2226 w 10577"/>
                <a:gd name="connsiteY2825" fmla="*/ 7761 h 10000"/>
                <a:gd name="connsiteX2826" fmla="*/ 2221 w 10577"/>
                <a:gd name="connsiteY2826" fmla="*/ 7778 h 10000"/>
                <a:gd name="connsiteX2827" fmla="*/ 2198 w 10577"/>
                <a:gd name="connsiteY2827" fmla="*/ 7778 h 10000"/>
                <a:gd name="connsiteX2828" fmla="*/ 2198 w 10577"/>
                <a:gd name="connsiteY2828" fmla="*/ 7752 h 10000"/>
                <a:gd name="connsiteX2829" fmla="*/ 2207 w 10577"/>
                <a:gd name="connsiteY2829" fmla="*/ 7735 h 10000"/>
                <a:gd name="connsiteX2830" fmla="*/ 2212 w 10577"/>
                <a:gd name="connsiteY2830" fmla="*/ 7726 h 10000"/>
                <a:gd name="connsiteX2831" fmla="*/ 2198 w 10577"/>
                <a:gd name="connsiteY2831" fmla="*/ 7692 h 10000"/>
                <a:gd name="connsiteX2832" fmla="*/ 2221 w 10577"/>
                <a:gd name="connsiteY2832" fmla="*/ 7692 h 10000"/>
                <a:gd name="connsiteX2833" fmla="*/ 2221 w 10577"/>
                <a:gd name="connsiteY2833" fmla="*/ 7675 h 10000"/>
                <a:gd name="connsiteX2834" fmla="*/ 2235 w 10577"/>
                <a:gd name="connsiteY2834" fmla="*/ 7675 h 10000"/>
                <a:gd name="connsiteX2835" fmla="*/ 2240 w 10577"/>
                <a:gd name="connsiteY2835" fmla="*/ 7692 h 10000"/>
                <a:gd name="connsiteX2836" fmla="*/ 2249 w 10577"/>
                <a:gd name="connsiteY2836" fmla="*/ 7692 h 10000"/>
                <a:gd name="connsiteX2837" fmla="*/ 2258 w 10577"/>
                <a:gd name="connsiteY2837" fmla="*/ 7692 h 10000"/>
                <a:gd name="connsiteX2838" fmla="*/ 2267 w 10577"/>
                <a:gd name="connsiteY2838" fmla="*/ 7692 h 10000"/>
                <a:gd name="connsiteX2839" fmla="*/ 2295 w 10577"/>
                <a:gd name="connsiteY2839" fmla="*/ 7692 h 10000"/>
                <a:gd name="connsiteX2840" fmla="*/ 2300 w 10577"/>
                <a:gd name="connsiteY2840" fmla="*/ 7701 h 10000"/>
                <a:gd name="connsiteX2841" fmla="*/ 2313 w 10577"/>
                <a:gd name="connsiteY2841" fmla="*/ 7675 h 10000"/>
                <a:gd name="connsiteX2842" fmla="*/ 2323 w 10577"/>
                <a:gd name="connsiteY2842" fmla="*/ 7675 h 10000"/>
                <a:gd name="connsiteX2843" fmla="*/ 2341 w 10577"/>
                <a:gd name="connsiteY2843" fmla="*/ 7675 h 10000"/>
                <a:gd name="connsiteX2844" fmla="*/ 2346 w 10577"/>
                <a:gd name="connsiteY2844" fmla="*/ 7667 h 10000"/>
                <a:gd name="connsiteX2845" fmla="*/ 2359 w 10577"/>
                <a:gd name="connsiteY2845" fmla="*/ 7650 h 10000"/>
                <a:gd name="connsiteX2846" fmla="*/ 2373 w 10577"/>
                <a:gd name="connsiteY2846" fmla="*/ 7624 h 10000"/>
                <a:gd name="connsiteX2847" fmla="*/ 2382 w 10577"/>
                <a:gd name="connsiteY2847" fmla="*/ 7641 h 10000"/>
                <a:gd name="connsiteX2848" fmla="*/ 2396 w 10577"/>
                <a:gd name="connsiteY2848" fmla="*/ 7650 h 10000"/>
                <a:gd name="connsiteX2849" fmla="*/ 2401 w 10577"/>
                <a:gd name="connsiteY2849" fmla="*/ 7650 h 10000"/>
                <a:gd name="connsiteX2850" fmla="*/ 2401 w 10577"/>
                <a:gd name="connsiteY2850" fmla="*/ 7624 h 10000"/>
                <a:gd name="connsiteX2851" fmla="*/ 2419 w 10577"/>
                <a:gd name="connsiteY2851" fmla="*/ 7624 h 10000"/>
                <a:gd name="connsiteX2852" fmla="*/ 2433 w 10577"/>
                <a:gd name="connsiteY2852" fmla="*/ 7615 h 10000"/>
                <a:gd name="connsiteX2853" fmla="*/ 2442 w 10577"/>
                <a:gd name="connsiteY2853" fmla="*/ 7615 h 10000"/>
                <a:gd name="connsiteX2854" fmla="*/ 2447 w 10577"/>
                <a:gd name="connsiteY2854" fmla="*/ 7598 h 10000"/>
                <a:gd name="connsiteX2855" fmla="*/ 2461 w 10577"/>
                <a:gd name="connsiteY2855" fmla="*/ 7598 h 10000"/>
                <a:gd name="connsiteX2856" fmla="*/ 2465 w 10577"/>
                <a:gd name="connsiteY2856" fmla="*/ 7615 h 10000"/>
                <a:gd name="connsiteX2857" fmla="*/ 2479 w 10577"/>
                <a:gd name="connsiteY2857" fmla="*/ 7564 h 10000"/>
                <a:gd name="connsiteX2858" fmla="*/ 2488 w 10577"/>
                <a:gd name="connsiteY2858" fmla="*/ 7556 h 10000"/>
                <a:gd name="connsiteX2859" fmla="*/ 2493 w 10577"/>
                <a:gd name="connsiteY2859" fmla="*/ 7556 h 10000"/>
                <a:gd name="connsiteX2860" fmla="*/ 2507 w 10577"/>
                <a:gd name="connsiteY2860" fmla="*/ 7556 h 10000"/>
                <a:gd name="connsiteX2861" fmla="*/ 2530 w 10577"/>
                <a:gd name="connsiteY2861" fmla="*/ 7538 h 10000"/>
                <a:gd name="connsiteX2862" fmla="*/ 2530 w 10577"/>
                <a:gd name="connsiteY2862" fmla="*/ 7556 h 10000"/>
                <a:gd name="connsiteX2863" fmla="*/ 2641 w 10577"/>
                <a:gd name="connsiteY2863" fmla="*/ 7504 h 10000"/>
                <a:gd name="connsiteX2864" fmla="*/ 2654 w 10577"/>
                <a:gd name="connsiteY2864" fmla="*/ 7487 h 10000"/>
                <a:gd name="connsiteX2865" fmla="*/ 2664 w 10577"/>
                <a:gd name="connsiteY2865" fmla="*/ 7487 h 10000"/>
                <a:gd name="connsiteX2866" fmla="*/ 2668 w 10577"/>
                <a:gd name="connsiteY2866" fmla="*/ 7479 h 10000"/>
                <a:gd name="connsiteX2867" fmla="*/ 2673 w 10577"/>
                <a:gd name="connsiteY2867" fmla="*/ 7462 h 10000"/>
                <a:gd name="connsiteX2868" fmla="*/ 2673 w 10577"/>
                <a:gd name="connsiteY2868" fmla="*/ 7427 h 10000"/>
                <a:gd name="connsiteX2869" fmla="*/ 2687 w 10577"/>
                <a:gd name="connsiteY2869" fmla="*/ 7436 h 10000"/>
                <a:gd name="connsiteX2870" fmla="*/ 2696 w 10577"/>
                <a:gd name="connsiteY2870" fmla="*/ 7427 h 10000"/>
                <a:gd name="connsiteX2871" fmla="*/ 2700 w 10577"/>
                <a:gd name="connsiteY2871" fmla="*/ 7419 h 10000"/>
                <a:gd name="connsiteX2872" fmla="*/ 2710 w 10577"/>
                <a:gd name="connsiteY2872" fmla="*/ 7402 h 10000"/>
                <a:gd name="connsiteX2873" fmla="*/ 2724 w 10577"/>
                <a:gd name="connsiteY2873" fmla="*/ 7402 h 10000"/>
                <a:gd name="connsiteX2874" fmla="*/ 2724 w 10577"/>
                <a:gd name="connsiteY2874" fmla="*/ 7393 h 10000"/>
                <a:gd name="connsiteX2875" fmla="*/ 2737 w 10577"/>
                <a:gd name="connsiteY2875" fmla="*/ 7393 h 10000"/>
                <a:gd name="connsiteX2876" fmla="*/ 2742 w 10577"/>
                <a:gd name="connsiteY2876" fmla="*/ 7402 h 10000"/>
                <a:gd name="connsiteX2877" fmla="*/ 2747 w 10577"/>
                <a:gd name="connsiteY2877" fmla="*/ 7402 h 10000"/>
                <a:gd name="connsiteX2878" fmla="*/ 2760 w 10577"/>
                <a:gd name="connsiteY2878" fmla="*/ 7402 h 10000"/>
                <a:gd name="connsiteX2879" fmla="*/ 2770 w 10577"/>
                <a:gd name="connsiteY2879" fmla="*/ 7402 h 10000"/>
                <a:gd name="connsiteX2880" fmla="*/ 2774 w 10577"/>
                <a:gd name="connsiteY2880" fmla="*/ 7402 h 10000"/>
                <a:gd name="connsiteX2881" fmla="*/ 2783 w 10577"/>
                <a:gd name="connsiteY2881" fmla="*/ 7419 h 10000"/>
                <a:gd name="connsiteX2882" fmla="*/ 2802 w 10577"/>
                <a:gd name="connsiteY2882" fmla="*/ 7436 h 10000"/>
                <a:gd name="connsiteX2883" fmla="*/ 2816 w 10577"/>
                <a:gd name="connsiteY2883" fmla="*/ 7419 h 10000"/>
                <a:gd name="connsiteX2884" fmla="*/ 2834 w 10577"/>
                <a:gd name="connsiteY2884" fmla="*/ 7419 h 10000"/>
                <a:gd name="connsiteX2885" fmla="*/ 2843 w 10577"/>
                <a:gd name="connsiteY2885" fmla="*/ 7419 h 10000"/>
                <a:gd name="connsiteX2886" fmla="*/ 2848 w 10577"/>
                <a:gd name="connsiteY2886" fmla="*/ 7436 h 10000"/>
                <a:gd name="connsiteX2887" fmla="*/ 2857 w 10577"/>
                <a:gd name="connsiteY2887" fmla="*/ 7453 h 10000"/>
                <a:gd name="connsiteX2888" fmla="*/ 2857 w 10577"/>
                <a:gd name="connsiteY2888" fmla="*/ 7504 h 10000"/>
                <a:gd name="connsiteX2889" fmla="*/ 2862 w 10577"/>
                <a:gd name="connsiteY2889" fmla="*/ 7530 h 10000"/>
                <a:gd name="connsiteX2890" fmla="*/ 2876 w 10577"/>
                <a:gd name="connsiteY2890" fmla="*/ 7538 h 10000"/>
                <a:gd name="connsiteX2891" fmla="*/ 2871 w 10577"/>
                <a:gd name="connsiteY2891" fmla="*/ 7564 h 10000"/>
                <a:gd name="connsiteX2892" fmla="*/ 2871 w 10577"/>
                <a:gd name="connsiteY2892" fmla="*/ 7598 h 10000"/>
                <a:gd name="connsiteX2893" fmla="*/ 2857 w 10577"/>
                <a:gd name="connsiteY2893" fmla="*/ 7624 h 10000"/>
                <a:gd name="connsiteX2894" fmla="*/ 2862 w 10577"/>
                <a:gd name="connsiteY2894" fmla="*/ 7641 h 10000"/>
                <a:gd name="connsiteX2895" fmla="*/ 2871 w 10577"/>
                <a:gd name="connsiteY2895" fmla="*/ 7667 h 10000"/>
                <a:gd name="connsiteX2896" fmla="*/ 2880 w 10577"/>
                <a:gd name="connsiteY2896" fmla="*/ 7650 h 10000"/>
                <a:gd name="connsiteX2897" fmla="*/ 2894 w 10577"/>
                <a:gd name="connsiteY2897" fmla="*/ 7667 h 10000"/>
                <a:gd name="connsiteX2898" fmla="*/ 2903 w 10577"/>
                <a:gd name="connsiteY2898" fmla="*/ 7667 h 10000"/>
                <a:gd name="connsiteX2899" fmla="*/ 2908 w 10577"/>
                <a:gd name="connsiteY2899" fmla="*/ 7641 h 10000"/>
                <a:gd name="connsiteX2900" fmla="*/ 2917 w 10577"/>
                <a:gd name="connsiteY2900" fmla="*/ 7641 h 10000"/>
                <a:gd name="connsiteX2901" fmla="*/ 2922 w 10577"/>
                <a:gd name="connsiteY2901" fmla="*/ 7641 h 10000"/>
                <a:gd name="connsiteX2902" fmla="*/ 2931 w 10577"/>
                <a:gd name="connsiteY2902" fmla="*/ 7615 h 10000"/>
                <a:gd name="connsiteX2903" fmla="*/ 2935 w 10577"/>
                <a:gd name="connsiteY2903" fmla="*/ 7615 h 10000"/>
                <a:gd name="connsiteX2904" fmla="*/ 2945 w 10577"/>
                <a:gd name="connsiteY2904" fmla="*/ 7650 h 10000"/>
                <a:gd name="connsiteX2905" fmla="*/ 2949 w 10577"/>
                <a:gd name="connsiteY2905" fmla="*/ 7667 h 10000"/>
                <a:gd name="connsiteX2906" fmla="*/ 2949 w 10577"/>
                <a:gd name="connsiteY2906" fmla="*/ 7675 h 10000"/>
                <a:gd name="connsiteX2907" fmla="*/ 2945 w 10577"/>
                <a:gd name="connsiteY2907" fmla="*/ 7692 h 10000"/>
                <a:gd name="connsiteX2908" fmla="*/ 2963 w 10577"/>
                <a:gd name="connsiteY2908" fmla="*/ 7701 h 10000"/>
                <a:gd name="connsiteX2909" fmla="*/ 2963 w 10577"/>
                <a:gd name="connsiteY2909" fmla="*/ 7675 h 10000"/>
                <a:gd name="connsiteX2910" fmla="*/ 2954 w 10577"/>
                <a:gd name="connsiteY2910" fmla="*/ 7667 h 10000"/>
                <a:gd name="connsiteX2911" fmla="*/ 2963 w 10577"/>
                <a:gd name="connsiteY2911" fmla="*/ 7667 h 10000"/>
                <a:gd name="connsiteX2912" fmla="*/ 2982 w 10577"/>
                <a:gd name="connsiteY2912" fmla="*/ 7667 h 10000"/>
                <a:gd name="connsiteX2913" fmla="*/ 2991 w 10577"/>
                <a:gd name="connsiteY2913" fmla="*/ 7675 h 10000"/>
                <a:gd name="connsiteX2914" fmla="*/ 2995 w 10577"/>
                <a:gd name="connsiteY2914" fmla="*/ 7692 h 10000"/>
                <a:gd name="connsiteX2915" fmla="*/ 3009 w 10577"/>
                <a:gd name="connsiteY2915" fmla="*/ 7701 h 10000"/>
                <a:gd name="connsiteX2916" fmla="*/ 3018 w 10577"/>
                <a:gd name="connsiteY2916" fmla="*/ 7701 h 10000"/>
                <a:gd name="connsiteX2917" fmla="*/ 3023 w 10577"/>
                <a:gd name="connsiteY2917" fmla="*/ 7692 h 10000"/>
                <a:gd name="connsiteX2918" fmla="*/ 3028 w 10577"/>
                <a:gd name="connsiteY2918" fmla="*/ 7675 h 10000"/>
                <a:gd name="connsiteX2919" fmla="*/ 3037 w 10577"/>
                <a:gd name="connsiteY2919" fmla="*/ 7692 h 10000"/>
                <a:gd name="connsiteX2920" fmla="*/ 3028 w 10577"/>
                <a:gd name="connsiteY2920" fmla="*/ 7709 h 10000"/>
                <a:gd name="connsiteX2921" fmla="*/ 3023 w 10577"/>
                <a:gd name="connsiteY2921" fmla="*/ 7709 h 10000"/>
                <a:gd name="connsiteX2922" fmla="*/ 3018 w 10577"/>
                <a:gd name="connsiteY2922" fmla="*/ 7726 h 10000"/>
                <a:gd name="connsiteX2923" fmla="*/ 3009 w 10577"/>
                <a:gd name="connsiteY2923" fmla="*/ 7735 h 10000"/>
                <a:gd name="connsiteX2924" fmla="*/ 3009 w 10577"/>
                <a:gd name="connsiteY2924" fmla="*/ 7761 h 10000"/>
                <a:gd name="connsiteX2925" fmla="*/ 3009 w 10577"/>
                <a:gd name="connsiteY2925" fmla="*/ 7778 h 10000"/>
                <a:gd name="connsiteX2926" fmla="*/ 3018 w 10577"/>
                <a:gd name="connsiteY2926" fmla="*/ 7786 h 10000"/>
                <a:gd name="connsiteX2927" fmla="*/ 3023 w 10577"/>
                <a:gd name="connsiteY2927" fmla="*/ 7786 h 10000"/>
                <a:gd name="connsiteX2928" fmla="*/ 3028 w 10577"/>
                <a:gd name="connsiteY2928" fmla="*/ 7778 h 10000"/>
                <a:gd name="connsiteX2929" fmla="*/ 3051 w 10577"/>
                <a:gd name="connsiteY2929" fmla="*/ 7761 h 10000"/>
                <a:gd name="connsiteX2930" fmla="*/ 3055 w 10577"/>
                <a:gd name="connsiteY2930" fmla="*/ 7778 h 10000"/>
                <a:gd name="connsiteX2931" fmla="*/ 3065 w 10577"/>
                <a:gd name="connsiteY2931" fmla="*/ 7761 h 10000"/>
                <a:gd name="connsiteX2932" fmla="*/ 3069 w 10577"/>
                <a:gd name="connsiteY2932" fmla="*/ 7786 h 10000"/>
                <a:gd name="connsiteX2933" fmla="*/ 3083 w 10577"/>
                <a:gd name="connsiteY2933" fmla="*/ 7786 h 10000"/>
                <a:gd name="connsiteX2934" fmla="*/ 3078 w 10577"/>
                <a:gd name="connsiteY2934" fmla="*/ 7761 h 10000"/>
                <a:gd name="connsiteX2935" fmla="*/ 3083 w 10577"/>
                <a:gd name="connsiteY2935" fmla="*/ 7752 h 10000"/>
                <a:gd name="connsiteX2936" fmla="*/ 3097 w 10577"/>
                <a:gd name="connsiteY2936" fmla="*/ 7752 h 10000"/>
                <a:gd name="connsiteX2937" fmla="*/ 3111 w 10577"/>
                <a:gd name="connsiteY2937" fmla="*/ 7726 h 10000"/>
                <a:gd name="connsiteX2938" fmla="*/ 3124 w 10577"/>
                <a:gd name="connsiteY2938" fmla="*/ 7709 h 10000"/>
                <a:gd name="connsiteX2939" fmla="*/ 3143 w 10577"/>
                <a:gd name="connsiteY2939" fmla="*/ 7692 h 10000"/>
                <a:gd name="connsiteX2940" fmla="*/ 3152 w 10577"/>
                <a:gd name="connsiteY2940" fmla="*/ 7667 h 10000"/>
                <a:gd name="connsiteX2941" fmla="*/ 3157 w 10577"/>
                <a:gd name="connsiteY2941" fmla="*/ 7650 h 10000"/>
                <a:gd name="connsiteX2942" fmla="*/ 3161 w 10577"/>
                <a:gd name="connsiteY2942" fmla="*/ 7650 h 10000"/>
                <a:gd name="connsiteX2943" fmla="*/ 3189 w 10577"/>
                <a:gd name="connsiteY2943" fmla="*/ 7641 h 10000"/>
                <a:gd name="connsiteX2944" fmla="*/ 3198 w 10577"/>
                <a:gd name="connsiteY2944" fmla="*/ 7624 h 10000"/>
                <a:gd name="connsiteX2945" fmla="*/ 3217 w 10577"/>
                <a:gd name="connsiteY2945" fmla="*/ 7615 h 10000"/>
                <a:gd name="connsiteX2946" fmla="*/ 3235 w 10577"/>
                <a:gd name="connsiteY2946" fmla="*/ 7598 h 10000"/>
                <a:gd name="connsiteX2947" fmla="*/ 3235 w 10577"/>
                <a:gd name="connsiteY2947" fmla="*/ 7615 h 10000"/>
                <a:gd name="connsiteX2948" fmla="*/ 3235 w 10577"/>
                <a:gd name="connsiteY2948" fmla="*/ 7641 h 10000"/>
                <a:gd name="connsiteX2949" fmla="*/ 3235 w 10577"/>
                <a:gd name="connsiteY2949" fmla="*/ 7650 h 10000"/>
                <a:gd name="connsiteX2950" fmla="*/ 3226 w 10577"/>
                <a:gd name="connsiteY2950" fmla="*/ 7650 h 10000"/>
                <a:gd name="connsiteX2951" fmla="*/ 3217 w 10577"/>
                <a:gd name="connsiteY2951" fmla="*/ 7650 h 10000"/>
                <a:gd name="connsiteX2952" fmla="*/ 3212 w 10577"/>
                <a:gd name="connsiteY2952" fmla="*/ 7675 h 10000"/>
                <a:gd name="connsiteX2953" fmla="*/ 3212 w 10577"/>
                <a:gd name="connsiteY2953" fmla="*/ 7675 h 10000"/>
                <a:gd name="connsiteX0" fmla="*/ 3212 w 10746"/>
                <a:gd name="connsiteY0" fmla="*/ 7675 h 10000"/>
                <a:gd name="connsiteX1" fmla="*/ 3217 w 10746"/>
                <a:gd name="connsiteY1" fmla="*/ 7692 h 10000"/>
                <a:gd name="connsiteX2" fmla="*/ 3226 w 10746"/>
                <a:gd name="connsiteY2" fmla="*/ 7692 h 10000"/>
                <a:gd name="connsiteX3" fmla="*/ 3309 w 10746"/>
                <a:gd name="connsiteY3" fmla="*/ 7838 h 10000"/>
                <a:gd name="connsiteX4" fmla="*/ 3452 w 10746"/>
                <a:gd name="connsiteY4" fmla="*/ 8325 h 10000"/>
                <a:gd name="connsiteX5" fmla="*/ 3470 w 10746"/>
                <a:gd name="connsiteY5" fmla="*/ 8299 h 10000"/>
                <a:gd name="connsiteX6" fmla="*/ 3470 w 10746"/>
                <a:gd name="connsiteY6" fmla="*/ 8282 h 10000"/>
                <a:gd name="connsiteX7" fmla="*/ 3470 w 10746"/>
                <a:gd name="connsiteY7" fmla="*/ 8274 h 10000"/>
                <a:gd name="connsiteX8" fmla="*/ 3484 w 10746"/>
                <a:gd name="connsiteY8" fmla="*/ 8231 h 10000"/>
                <a:gd name="connsiteX9" fmla="*/ 3498 w 10746"/>
                <a:gd name="connsiteY9" fmla="*/ 8231 h 10000"/>
                <a:gd name="connsiteX10" fmla="*/ 3498 w 10746"/>
                <a:gd name="connsiteY10" fmla="*/ 8248 h 10000"/>
                <a:gd name="connsiteX11" fmla="*/ 3512 w 10746"/>
                <a:gd name="connsiteY11" fmla="*/ 8256 h 10000"/>
                <a:gd name="connsiteX12" fmla="*/ 3525 w 10746"/>
                <a:gd name="connsiteY12" fmla="*/ 8274 h 10000"/>
                <a:gd name="connsiteX13" fmla="*/ 3525 w 10746"/>
                <a:gd name="connsiteY13" fmla="*/ 8282 h 10000"/>
                <a:gd name="connsiteX14" fmla="*/ 3525 w 10746"/>
                <a:gd name="connsiteY14" fmla="*/ 8308 h 10000"/>
                <a:gd name="connsiteX15" fmla="*/ 3530 w 10746"/>
                <a:gd name="connsiteY15" fmla="*/ 8308 h 10000"/>
                <a:gd name="connsiteX16" fmla="*/ 3539 w 10746"/>
                <a:gd name="connsiteY16" fmla="*/ 8333 h 10000"/>
                <a:gd name="connsiteX17" fmla="*/ 3571 w 10746"/>
                <a:gd name="connsiteY17" fmla="*/ 8333 h 10000"/>
                <a:gd name="connsiteX18" fmla="*/ 3590 w 10746"/>
                <a:gd name="connsiteY18" fmla="*/ 8350 h 10000"/>
                <a:gd name="connsiteX19" fmla="*/ 3599 w 10746"/>
                <a:gd name="connsiteY19" fmla="*/ 8333 h 10000"/>
                <a:gd name="connsiteX20" fmla="*/ 3618 w 10746"/>
                <a:gd name="connsiteY20" fmla="*/ 8333 h 10000"/>
                <a:gd name="connsiteX21" fmla="*/ 3618 w 10746"/>
                <a:gd name="connsiteY21" fmla="*/ 8325 h 10000"/>
                <a:gd name="connsiteX22" fmla="*/ 3627 w 10746"/>
                <a:gd name="connsiteY22" fmla="*/ 8308 h 10000"/>
                <a:gd name="connsiteX23" fmla="*/ 3641 w 10746"/>
                <a:gd name="connsiteY23" fmla="*/ 8308 h 10000"/>
                <a:gd name="connsiteX24" fmla="*/ 3645 w 10746"/>
                <a:gd name="connsiteY24" fmla="*/ 8308 h 10000"/>
                <a:gd name="connsiteX25" fmla="*/ 3650 w 10746"/>
                <a:gd name="connsiteY25" fmla="*/ 8299 h 10000"/>
                <a:gd name="connsiteX26" fmla="*/ 3659 w 10746"/>
                <a:gd name="connsiteY26" fmla="*/ 8282 h 10000"/>
                <a:gd name="connsiteX27" fmla="*/ 3677 w 10746"/>
                <a:gd name="connsiteY27" fmla="*/ 8299 h 10000"/>
                <a:gd name="connsiteX28" fmla="*/ 3687 w 10746"/>
                <a:gd name="connsiteY28" fmla="*/ 8299 h 10000"/>
                <a:gd name="connsiteX29" fmla="*/ 3691 w 10746"/>
                <a:gd name="connsiteY29" fmla="*/ 8325 h 10000"/>
                <a:gd name="connsiteX30" fmla="*/ 3700 w 10746"/>
                <a:gd name="connsiteY30" fmla="*/ 8325 h 10000"/>
                <a:gd name="connsiteX31" fmla="*/ 3714 w 10746"/>
                <a:gd name="connsiteY31" fmla="*/ 8359 h 10000"/>
                <a:gd name="connsiteX32" fmla="*/ 3719 w 10746"/>
                <a:gd name="connsiteY32" fmla="*/ 8359 h 10000"/>
                <a:gd name="connsiteX33" fmla="*/ 3724 w 10746"/>
                <a:gd name="connsiteY33" fmla="*/ 8368 h 10000"/>
                <a:gd name="connsiteX34" fmla="*/ 3719 w 10746"/>
                <a:gd name="connsiteY34" fmla="*/ 8393 h 10000"/>
                <a:gd name="connsiteX35" fmla="*/ 3724 w 10746"/>
                <a:gd name="connsiteY35" fmla="*/ 8410 h 10000"/>
                <a:gd name="connsiteX36" fmla="*/ 3724 w 10746"/>
                <a:gd name="connsiteY36" fmla="*/ 8436 h 10000"/>
                <a:gd name="connsiteX37" fmla="*/ 3737 w 10746"/>
                <a:gd name="connsiteY37" fmla="*/ 8436 h 10000"/>
                <a:gd name="connsiteX38" fmla="*/ 3765 w 10746"/>
                <a:gd name="connsiteY38" fmla="*/ 8462 h 10000"/>
                <a:gd name="connsiteX39" fmla="*/ 3765 w 10746"/>
                <a:gd name="connsiteY39" fmla="*/ 8470 h 10000"/>
                <a:gd name="connsiteX40" fmla="*/ 3765 w 10746"/>
                <a:gd name="connsiteY40" fmla="*/ 8496 h 10000"/>
                <a:gd name="connsiteX41" fmla="*/ 3774 w 10746"/>
                <a:gd name="connsiteY41" fmla="*/ 8496 h 10000"/>
                <a:gd name="connsiteX42" fmla="*/ 3779 w 10746"/>
                <a:gd name="connsiteY42" fmla="*/ 8504 h 10000"/>
                <a:gd name="connsiteX43" fmla="*/ 3793 w 10746"/>
                <a:gd name="connsiteY43" fmla="*/ 8547 h 10000"/>
                <a:gd name="connsiteX44" fmla="*/ 3797 w 10746"/>
                <a:gd name="connsiteY44" fmla="*/ 8547 h 10000"/>
                <a:gd name="connsiteX45" fmla="*/ 3820 w 10746"/>
                <a:gd name="connsiteY45" fmla="*/ 8556 h 10000"/>
                <a:gd name="connsiteX46" fmla="*/ 3834 w 10746"/>
                <a:gd name="connsiteY46" fmla="*/ 8573 h 10000"/>
                <a:gd name="connsiteX47" fmla="*/ 3853 w 10746"/>
                <a:gd name="connsiteY47" fmla="*/ 8573 h 10000"/>
                <a:gd name="connsiteX48" fmla="*/ 3857 w 10746"/>
                <a:gd name="connsiteY48" fmla="*/ 8556 h 10000"/>
                <a:gd name="connsiteX49" fmla="*/ 3866 w 10746"/>
                <a:gd name="connsiteY49" fmla="*/ 8547 h 10000"/>
                <a:gd name="connsiteX50" fmla="*/ 3880 w 10746"/>
                <a:gd name="connsiteY50" fmla="*/ 8530 h 10000"/>
                <a:gd name="connsiteX51" fmla="*/ 3885 w 10746"/>
                <a:gd name="connsiteY51" fmla="*/ 8547 h 10000"/>
                <a:gd name="connsiteX52" fmla="*/ 3885 w 10746"/>
                <a:gd name="connsiteY52" fmla="*/ 8573 h 10000"/>
                <a:gd name="connsiteX53" fmla="*/ 3899 w 10746"/>
                <a:gd name="connsiteY53" fmla="*/ 8573 h 10000"/>
                <a:gd name="connsiteX54" fmla="*/ 3908 w 10746"/>
                <a:gd name="connsiteY54" fmla="*/ 8607 h 10000"/>
                <a:gd name="connsiteX55" fmla="*/ 3912 w 10746"/>
                <a:gd name="connsiteY55" fmla="*/ 8615 h 10000"/>
                <a:gd name="connsiteX56" fmla="*/ 3922 w 10746"/>
                <a:gd name="connsiteY56" fmla="*/ 8632 h 10000"/>
                <a:gd name="connsiteX57" fmla="*/ 3908 w 10746"/>
                <a:gd name="connsiteY57" fmla="*/ 8692 h 10000"/>
                <a:gd name="connsiteX58" fmla="*/ 3908 w 10746"/>
                <a:gd name="connsiteY58" fmla="*/ 8692 h 10000"/>
                <a:gd name="connsiteX59" fmla="*/ 3931 w 10746"/>
                <a:gd name="connsiteY59" fmla="*/ 8709 h 10000"/>
                <a:gd name="connsiteX60" fmla="*/ 3954 w 10746"/>
                <a:gd name="connsiteY60" fmla="*/ 8667 h 10000"/>
                <a:gd name="connsiteX61" fmla="*/ 3959 w 10746"/>
                <a:gd name="connsiteY61" fmla="*/ 8667 h 10000"/>
                <a:gd name="connsiteX62" fmla="*/ 3972 w 10746"/>
                <a:gd name="connsiteY62" fmla="*/ 8615 h 10000"/>
                <a:gd name="connsiteX63" fmla="*/ 3995 w 10746"/>
                <a:gd name="connsiteY63" fmla="*/ 8581 h 10000"/>
                <a:gd name="connsiteX64" fmla="*/ 4032 w 10746"/>
                <a:gd name="connsiteY64" fmla="*/ 8556 h 10000"/>
                <a:gd name="connsiteX65" fmla="*/ 4138 w 10746"/>
                <a:gd name="connsiteY65" fmla="*/ 8419 h 10000"/>
                <a:gd name="connsiteX66" fmla="*/ 4249 w 10746"/>
                <a:gd name="connsiteY66" fmla="*/ 8359 h 10000"/>
                <a:gd name="connsiteX67" fmla="*/ 4295 w 10746"/>
                <a:gd name="connsiteY67" fmla="*/ 8385 h 10000"/>
                <a:gd name="connsiteX68" fmla="*/ 4309 w 10746"/>
                <a:gd name="connsiteY68" fmla="*/ 8410 h 10000"/>
                <a:gd name="connsiteX69" fmla="*/ 4355 w 10746"/>
                <a:gd name="connsiteY69" fmla="*/ 8393 h 10000"/>
                <a:gd name="connsiteX70" fmla="*/ 4382 w 10746"/>
                <a:gd name="connsiteY70" fmla="*/ 8393 h 10000"/>
                <a:gd name="connsiteX71" fmla="*/ 4419 w 10746"/>
                <a:gd name="connsiteY71" fmla="*/ 8487 h 10000"/>
                <a:gd name="connsiteX72" fmla="*/ 4442 w 10746"/>
                <a:gd name="connsiteY72" fmla="*/ 8487 h 10000"/>
                <a:gd name="connsiteX73" fmla="*/ 4493 w 10746"/>
                <a:gd name="connsiteY73" fmla="*/ 8470 h 10000"/>
                <a:gd name="connsiteX74" fmla="*/ 4516 w 10746"/>
                <a:gd name="connsiteY74" fmla="*/ 8487 h 10000"/>
                <a:gd name="connsiteX75" fmla="*/ 4608 w 10746"/>
                <a:gd name="connsiteY75" fmla="*/ 8470 h 10000"/>
                <a:gd name="connsiteX76" fmla="*/ 4622 w 10746"/>
                <a:gd name="connsiteY76" fmla="*/ 8470 h 10000"/>
                <a:gd name="connsiteX77" fmla="*/ 4618 w 10746"/>
                <a:gd name="connsiteY77" fmla="*/ 8419 h 10000"/>
                <a:gd name="connsiteX78" fmla="*/ 4622 w 10746"/>
                <a:gd name="connsiteY78" fmla="*/ 8385 h 10000"/>
                <a:gd name="connsiteX79" fmla="*/ 4636 w 10746"/>
                <a:gd name="connsiteY79" fmla="*/ 8350 h 10000"/>
                <a:gd name="connsiteX80" fmla="*/ 4636 w 10746"/>
                <a:gd name="connsiteY80" fmla="*/ 8325 h 10000"/>
                <a:gd name="connsiteX81" fmla="*/ 4622 w 10746"/>
                <a:gd name="connsiteY81" fmla="*/ 8282 h 10000"/>
                <a:gd name="connsiteX82" fmla="*/ 4618 w 10746"/>
                <a:gd name="connsiteY82" fmla="*/ 8248 h 10000"/>
                <a:gd name="connsiteX83" fmla="*/ 4618 w 10746"/>
                <a:gd name="connsiteY83" fmla="*/ 8214 h 10000"/>
                <a:gd name="connsiteX84" fmla="*/ 4691 w 10746"/>
                <a:gd name="connsiteY84" fmla="*/ 8077 h 10000"/>
                <a:gd name="connsiteX85" fmla="*/ 4700 w 10746"/>
                <a:gd name="connsiteY85" fmla="*/ 8060 h 10000"/>
                <a:gd name="connsiteX86" fmla="*/ 4728 w 10746"/>
                <a:gd name="connsiteY86" fmla="*/ 8077 h 10000"/>
                <a:gd name="connsiteX87" fmla="*/ 4751 w 10746"/>
                <a:gd name="connsiteY87" fmla="*/ 8094 h 10000"/>
                <a:gd name="connsiteX88" fmla="*/ 4788 w 10746"/>
                <a:gd name="connsiteY88" fmla="*/ 8120 h 10000"/>
                <a:gd name="connsiteX89" fmla="*/ 4802 w 10746"/>
                <a:gd name="connsiteY89" fmla="*/ 8162 h 10000"/>
                <a:gd name="connsiteX90" fmla="*/ 4885 w 10746"/>
                <a:gd name="connsiteY90" fmla="*/ 8197 h 10000"/>
                <a:gd name="connsiteX91" fmla="*/ 4889 w 10746"/>
                <a:gd name="connsiteY91" fmla="*/ 8231 h 10000"/>
                <a:gd name="connsiteX92" fmla="*/ 4899 w 10746"/>
                <a:gd name="connsiteY92" fmla="*/ 8333 h 10000"/>
                <a:gd name="connsiteX93" fmla="*/ 4903 w 10746"/>
                <a:gd name="connsiteY93" fmla="*/ 8333 h 10000"/>
                <a:gd name="connsiteX94" fmla="*/ 4949 w 10746"/>
                <a:gd name="connsiteY94" fmla="*/ 8410 h 10000"/>
                <a:gd name="connsiteX95" fmla="*/ 4991 w 10746"/>
                <a:gd name="connsiteY95" fmla="*/ 8436 h 10000"/>
                <a:gd name="connsiteX96" fmla="*/ 5023 w 10746"/>
                <a:gd name="connsiteY96" fmla="*/ 8419 h 10000"/>
                <a:gd name="connsiteX97" fmla="*/ 5092 w 10746"/>
                <a:gd name="connsiteY97" fmla="*/ 8359 h 10000"/>
                <a:gd name="connsiteX98" fmla="*/ 5180 w 10746"/>
                <a:gd name="connsiteY98" fmla="*/ 8410 h 10000"/>
                <a:gd name="connsiteX99" fmla="*/ 5189 w 10746"/>
                <a:gd name="connsiteY99" fmla="*/ 8436 h 10000"/>
                <a:gd name="connsiteX100" fmla="*/ 5198 w 10746"/>
                <a:gd name="connsiteY100" fmla="*/ 8436 h 10000"/>
                <a:gd name="connsiteX101" fmla="*/ 5226 w 10746"/>
                <a:gd name="connsiteY101" fmla="*/ 8487 h 10000"/>
                <a:gd name="connsiteX102" fmla="*/ 5276 w 10746"/>
                <a:gd name="connsiteY102" fmla="*/ 8504 h 10000"/>
                <a:gd name="connsiteX103" fmla="*/ 5290 w 10746"/>
                <a:gd name="connsiteY103" fmla="*/ 8556 h 10000"/>
                <a:gd name="connsiteX104" fmla="*/ 5323 w 10746"/>
                <a:gd name="connsiteY104" fmla="*/ 8598 h 10000"/>
                <a:gd name="connsiteX105" fmla="*/ 5447 w 10746"/>
                <a:gd name="connsiteY105" fmla="*/ 8615 h 10000"/>
                <a:gd name="connsiteX106" fmla="*/ 5465 w 10746"/>
                <a:gd name="connsiteY106" fmla="*/ 8632 h 10000"/>
                <a:gd name="connsiteX107" fmla="*/ 5604 w 10746"/>
                <a:gd name="connsiteY107" fmla="*/ 8556 h 10000"/>
                <a:gd name="connsiteX108" fmla="*/ 5677 w 10746"/>
                <a:gd name="connsiteY108" fmla="*/ 8462 h 10000"/>
                <a:gd name="connsiteX109" fmla="*/ 5705 w 10746"/>
                <a:gd name="connsiteY109" fmla="*/ 8444 h 10000"/>
                <a:gd name="connsiteX110" fmla="*/ 5737 w 10746"/>
                <a:gd name="connsiteY110" fmla="*/ 8470 h 10000"/>
                <a:gd name="connsiteX111" fmla="*/ 5760 w 10746"/>
                <a:gd name="connsiteY111" fmla="*/ 8496 h 10000"/>
                <a:gd name="connsiteX112" fmla="*/ 5788 w 10746"/>
                <a:gd name="connsiteY112" fmla="*/ 8504 h 10000"/>
                <a:gd name="connsiteX113" fmla="*/ 5806 w 10746"/>
                <a:gd name="connsiteY113" fmla="*/ 8496 h 10000"/>
                <a:gd name="connsiteX114" fmla="*/ 5820 w 10746"/>
                <a:gd name="connsiteY114" fmla="*/ 8487 h 10000"/>
                <a:gd name="connsiteX115" fmla="*/ 5825 w 10746"/>
                <a:gd name="connsiteY115" fmla="*/ 8487 h 10000"/>
                <a:gd name="connsiteX116" fmla="*/ 5825 w 10746"/>
                <a:gd name="connsiteY116" fmla="*/ 8487 h 10000"/>
                <a:gd name="connsiteX117" fmla="*/ 5926 w 10746"/>
                <a:gd name="connsiteY117" fmla="*/ 8556 h 10000"/>
                <a:gd name="connsiteX118" fmla="*/ 5940 w 10746"/>
                <a:gd name="connsiteY118" fmla="*/ 8556 h 10000"/>
                <a:gd name="connsiteX119" fmla="*/ 6014 w 10746"/>
                <a:gd name="connsiteY119" fmla="*/ 8470 h 10000"/>
                <a:gd name="connsiteX120" fmla="*/ 6018 w 10746"/>
                <a:gd name="connsiteY120" fmla="*/ 8444 h 10000"/>
                <a:gd name="connsiteX121" fmla="*/ 6014 w 10746"/>
                <a:gd name="connsiteY121" fmla="*/ 8419 h 10000"/>
                <a:gd name="connsiteX122" fmla="*/ 6018 w 10746"/>
                <a:gd name="connsiteY122" fmla="*/ 8393 h 10000"/>
                <a:gd name="connsiteX123" fmla="*/ 6041 w 10746"/>
                <a:gd name="connsiteY123" fmla="*/ 8333 h 10000"/>
                <a:gd name="connsiteX124" fmla="*/ 6069 w 10746"/>
                <a:gd name="connsiteY124" fmla="*/ 8188 h 10000"/>
                <a:gd name="connsiteX125" fmla="*/ 6088 w 10746"/>
                <a:gd name="connsiteY125" fmla="*/ 8162 h 10000"/>
                <a:gd name="connsiteX126" fmla="*/ 6115 w 10746"/>
                <a:gd name="connsiteY126" fmla="*/ 8094 h 10000"/>
                <a:gd name="connsiteX127" fmla="*/ 6115 w 10746"/>
                <a:gd name="connsiteY127" fmla="*/ 8094 h 10000"/>
                <a:gd name="connsiteX128" fmla="*/ 6106 w 10746"/>
                <a:gd name="connsiteY128" fmla="*/ 8077 h 10000"/>
                <a:gd name="connsiteX129" fmla="*/ 6106 w 10746"/>
                <a:gd name="connsiteY129" fmla="*/ 8009 h 10000"/>
                <a:gd name="connsiteX130" fmla="*/ 6101 w 10746"/>
                <a:gd name="connsiteY130" fmla="*/ 8000 h 10000"/>
                <a:gd name="connsiteX131" fmla="*/ 6069 w 10746"/>
                <a:gd name="connsiteY131" fmla="*/ 8009 h 10000"/>
                <a:gd name="connsiteX132" fmla="*/ 6069 w 10746"/>
                <a:gd name="connsiteY132" fmla="*/ 8000 h 10000"/>
                <a:gd name="connsiteX133" fmla="*/ 6069 w 10746"/>
                <a:gd name="connsiteY133" fmla="*/ 7974 h 10000"/>
                <a:gd name="connsiteX134" fmla="*/ 6101 w 10746"/>
                <a:gd name="connsiteY134" fmla="*/ 7923 h 10000"/>
                <a:gd name="connsiteX135" fmla="*/ 6106 w 10746"/>
                <a:gd name="connsiteY135" fmla="*/ 7889 h 10000"/>
                <a:gd name="connsiteX136" fmla="*/ 6129 w 10746"/>
                <a:gd name="connsiteY136" fmla="*/ 7863 h 10000"/>
                <a:gd name="connsiteX137" fmla="*/ 6300 w 10746"/>
                <a:gd name="connsiteY137" fmla="*/ 7812 h 10000"/>
                <a:gd name="connsiteX138" fmla="*/ 6359 w 10746"/>
                <a:gd name="connsiteY138" fmla="*/ 7872 h 10000"/>
                <a:gd name="connsiteX139" fmla="*/ 6373 w 10746"/>
                <a:gd name="connsiteY139" fmla="*/ 7889 h 10000"/>
                <a:gd name="connsiteX140" fmla="*/ 6401 w 10746"/>
                <a:gd name="connsiteY140" fmla="*/ 7889 h 10000"/>
                <a:gd name="connsiteX141" fmla="*/ 6433 w 10746"/>
                <a:gd name="connsiteY141" fmla="*/ 7915 h 10000"/>
                <a:gd name="connsiteX142" fmla="*/ 6461 w 10746"/>
                <a:gd name="connsiteY142" fmla="*/ 7974 h 10000"/>
                <a:gd name="connsiteX143" fmla="*/ 6461 w 10746"/>
                <a:gd name="connsiteY143" fmla="*/ 8000 h 10000"/>
                <a:gd name="connsiteX144" fmla="*/ 6484 w 10746"/>
                <a:gd name="connsiteY144" fmla="*/ 8034 h 10000"/>
                <a:gd name="connsiteX145" fmla="*/ 6484 w 10746"/>
                <a:gd name="connsiteY145" fmla="*/ 8051 h 10000"/>
                <a:gd name="connsiteX146" fmla="*/ 6484 w 10746"/>
                <a:gd name="connsiteY146" fmla="*/ 8034 h 10000"/>
                <a:gd name="connsiteX147" fmla="*/ 6558 w 10746"/>
                <a:gd name="connsiteY147" fmla="*/ 8444 h 10000"/>
                <a:gd name="connsiteX148" fmla="*/ 6558 w 10746"/>
                <a:gd name="connsiteY148" fmla="*/ 8462 h 10000"/>
                <a:gd name="connsiteX149" fmla="*/ 6558 w 10746"/>
                <a:gd name="connsiteY149" fmla="*/ 8462 h 10000"/>
                <a:gd name="connsiteX150" fmla="*/ 6562 w 10746"/>
                <a:gd name="connsiteY150" fmla="*/ 8547 h 10000"/>
                <a:gd name="connsiteX151" fmla="*/ 6576 w 10746"/>
                <a:gd name="connsiteY151" fmla="*/ 8573 h 10000"/>
                <a:gd name="connsiteX152" fmla="*/ 6604 w 10746"/>
                <a:gd name="connsiteY152" fmla="*/ 8581 h 10000"/>
                <a:gd name="connsiteX153" fmla="*/ 6631 w 10746"/>
                <a:gd name="connsiteY153" fmla="*/ 8556 h 10000"/>
                <a:gd name="connsiteX154" fmla="*/ 6691 w 10746"/>
                <a:gd name="connsiteY154" fmla="*/ 8607 h 10000"/>
                <a:gd name="connsiteX155" fmla="*/ 6728 w 10746"/>
                <a:gd name="connsiteY155" fmla="*/ 8667 h 10000"/>
                <a:gd name="connsiteX156" fmla="*/ 6742 w 10746"/>
                <a:gd name="connsiteY156" fmla="*/ 8684 h 10000"/>
                <a:gd name="connsiteX157" fmla="*/ 6765 w 10746"/>
                <a:gd name="connsiteY157" fmla="*/ 8684 h 10000"/>
                <a:gd name="connsiteX158" fmla="*/ 6765 w 10746"/>
                <a:gd name="connsiteY158" fmla="*/ 8709 h 10000"/>
                <a:gd name="connsiteX159" fmla="*/ 6765 w 10746"/>
                <a:gd name="connsiteY159" fmla="*/ 8709 h 10000"/>
                <a:gd name="connsiteX160" fmla="*/ 6770 w 10746"/>
                <a:gd name="connsiteY160" fmla="*/ 8709 h 10000"/>
                <a:gd name="connsiteX161" fmla="*/ 6770 w 10746"/>
                <a:gd name="connsiteY161" fmla="*/ 8744 h 10000"/>
                <a:gd name="connsiteX162" fmla="*/ 6779 w 10746"/>
                <a:gd name="connsiteY162" fmla="*/ 8769 h 10000"/>
                <a:gd name="connsiteX163" fmla="*/ 6779 w 10746"/>
                <a:gd name="connsiteY163" fmla="*/ 8846 h 10000"/>
                <a:gd name="connsiteX164" fmla="*/ 6797 w 10746"/>
                <a:gd name="connsiteY164" fmla="*/ 8906 h 10000"/>
                <a:gd name="connsiteX165" fmla="*/ 6816 w 10746"/>
                <a:gd name="connsiteY165" fmla="*/ 8906 h 10000"/>
                <a:gd name="connsiteX166" fmla="*/ 6843 w 10746"/>
                <a:gd name="connsiteY166" fmla="*/ 8915 h 10000"/>
                <a:gd name="connsiteX167" fmla="*/ 6862 w 10746"/>
                <a:gd name="connsiteY167" fmla="*/ 8906 h 10000"/>
                <a:gd name="connsiteX168" fmla="*/ 6935 w 10746"/>
                <a:gd name="connsiteY168" fmla="*/ 8829 h 10000"/>
                <a:gd name="connsiteX169" fmla="*/ 6963 w 10746"/>
                <a:gd name="connsiteY169" fmla="*/ 8829 h 10000"/>
                <a:gd name="connsiteX170" fmla="*/ 7046 w 10746"/>
                <a:gd name="connsiteY170" fmla="*/ 8769 h 10000"/>
                <a:gd name="connsiteX171" fmla="*/ 7046 w 10746"/>
                <a:gd name="connsiteY171" fmla="*/ 8769 h 10000"/>
                <a:gd name="connsiteX172" fmla="*/ 7032 w 10746"/>
                <a:gd name="connsiteY172" fmla="*/ 8803 h 10000"/>
                <a:gd name="connsiteX173" fmla="*/ 7032 w 10746"/>
                <a:gd name="connsiteY173" fmla="*/ 8846 h 10000"/>
                <a:gd name="connsiteX174" fmla="*/ 7037 w 10746"/>
                <a:gd name="connsiteY174" fmla="*/ 8880 h 10000"/>
                <a:gd name="connsiteX175" fmla="*/ 7037 w 10746"/>
                <a:gd name="connsiteY175" fmla="*/ 8932 h 10000"/>
                <a:gd name="connsiteX176" fmla="*/ 7005 w 10746"/>
                <a:gd name="connsiteY176" fmla="*/ 8983 h 10000"/>
                <a:gd name="connsiteX177" fmla="*/ 6977 w 10746"/>
                <a:gd name="connsiteY177" fmla="*/ 9188 h 10000"/>
                <a:gd name="connsiteX178" fmla="*/ 6935 w 10746"/>
                <a:gd name="connsiteY178" fmla="*/ 9316 h 10000"/>
                <a:gd name="connsiteX179" fmla="*/ 6931 w 10746"/>
                <a:gd name="connsiteY179" fmla="*/ 9368 h 10000"/>
                <a:gd name="connsiteX180" fmla="*/ 6917 w 10746"/>
                <a:gd name="connsiteY180" fmla="*/ 9376 h 10000"/>
                <a:gd name="connsiteX181" fmla="*/ 6912 w 10746"/>
                <a:gd name="connsiteY181" fmla="*/ 9376 h 10000"/>
                <a:gd name="connsiteX182" fmla="*/ 6848 w 10746"/>
                <a:gd name="connsiteY182" fmla="*/ 9342 h 10000"/>
                <a:gd name="connsiteX183" fmla="*/ 6788 w 10746"/>
                <a:gd name="connsiteY183" fmla="*/ 9436 h 10000"/>
                <a:gd name="connsiteX184" fmla="*/ 6802 w 10746"/>
                <a:gd name="connsiteY184" fmla="*/ 9462 h 10000"/>
                <a:gd name="connsiteX185" fmla="*/ 6811 w 10746"/>
                <a:gd name="connsiteY185" fmla="*/ 9667 h 10000"/>
                <a:gd name="connsiteX186" fmla="*/ 6788 w 10746"/>
                <a:gd name="connsiteY186" fmla="*/ 9709 h 10000"/>
                <a:gd name="connsiteX187" fmla="*/ 6765 w 10746"/>
                <a:gd name="connsiteY187" fmla="*/ 9752 h 10000"/>
                <a:gd name="connsiteX188" fmla="*/ 6765 w 10746"/>
                <a:gd name="connsiteY188" fmla="*/ 9803 h 10000"/>
                <a:gd name="connsiteX189" fmla="*/ 6770 w 10746"/>
                <a:gd name="connsiteY189" fmla="*/ 9821 h 10000"/>
                <a:gd name="connsiteX190" fmla="*/ 6779 w 10746"/>
                <a:gd name="connsiteY190" fmla="*/ 9812 h 10000"/>
                <a:gd name="connsiteX191" fmla="*/ 6779 w 10746"/>
                <a:gd name="connsiteY191" fmla="*/ 9803 h 10000"/>
                <a:gd name="connsiteX192" fmla="*/ 6770 w 10746"/>
                <a:gd name="connsiteY192" fmla="*/ 9786 h 10000"/>
                <a:gd name="connsiteX193" fmla="*/ 6811 w 10746"/>
                <a:gd name="connsiteY193" fmla="*/ 9786 h 10000"/>
                <a:gd name="connsiteX194" fmla="*/ 6816 w 10746"/>
                <a:gd name="connsiteY194" fmla="*/ 9761 h 10000"/>
                <a:gd name="connsiteX195" fmla="*/ 6825 w 10746"/>
                <a:gd name="connsiteY195" fmla="*/ 9752 h 10000"/>
                <a:gd name="connsiteX196" fmla="*/ 6825 w 10746"/>
                <a:gd name="connsiteY196" fmla="*/ 9726 h 10000"/>
                <a:gd name="connsiteX197" fmla="*/ 6843 w 10746"/>
                <a:gd name="connsiteY197" fmla="*/ 9701 h 10000"/>
                <a:gd name="connsiteX198" fmla="*/ 6848 w 10746"/>
                <a:gd name="connsiteY198" fmla="*/ 9650 h 10000"/>
                <a:gd name="connsiteX199" fmla="*/ 6848 w 10746"/>
                <a:gd name="connsiteY199" fmla="*/ 9675 h 10000"/>
                <a:gd name="connsiteX200" fmla="*/ 6862 w 10746"/>
                <a:gd name="connsiteY200" fmla="*/ 9675 h 10000"/>
                <a:gd name="connsiteX201" fmla="*/ 6857 w 10746"/>
                <a:gd name="connsiteY201" fmla="*/ 9701 h 10000"/>
                <a:gd name="connsiteX202" fmla="*/ 6857 w 10746"/>
                <a:gd name="connsiteY202" fmla="*/ 9701 h 10000"/>
                <a:gd name="connsiteX203" fmla="*/ 6876 w 10746"/>
                <a:gd name="connsiteY203" fmla="*/ 9684 h 10000"/>
                <a:gd name="connsiteX204" fmla="*/ 6885 w 10746"/>
                <a:gd name="connsiteY204" fmla="*/ 9675 h 10000"/>
                <a:gd name="connsiteX205" fmla="*/ 6876 w 10746"/>
                <a:gd name="connsiteY205" fmla="*/ 9735 h 10000"/>
                <a:gd name="connsiteX206" fmla="*/ 6885 w 10746"/>
                <a:gd name="connsiteY206" fmla="*/ 9752 h 10000"/>
                <a:gd name="connsiteX207" fmla="*/ 6903 w 10746"/>
                <a:gd name="connsiteY207" fmla="*/ 9752 h 10000"/>
                <a:gd name="connsiteX208" fmla="*/ 6917 w 10746"/>
                <a:gd name="connsiteY208" fmla="*/ 9761 h 10000"/>
                <a:gd name="connsiteX209" fmla="*/ 6917 w 10746"/>
                <a:gd name="connsiteY209" fmla="*/ 9761 h 10000"/>
                <a:gd name="connsiteX210" fmla="*/ 6922 w 10746"/>
                <a:gd name="connsiteY210" fmla="*/ 9778 h 10000"/>
                <a:gd name="connsiteX211" fmla="*/ 6945 w 10746"/>
                <a:gd name="connsiteY211" fmla="*/ 9778 h 10000"/>
                <a:gd name="connsiteX212" fmla="*/ 6972 w 10746"/>
                <a:gd name="connsiteY212" fmla="*/ 9752 h 10000"/>
                <a:gd name="connsiteX213" fmla="*/ 6977 w 10746"/>
                <a:gd name="connsiteY213" fmla="*/ 9752 h 10000"/>
                <a:gd name="connsiteX214" fmla="*/ 7069 w 10746"/>
                <a:gd name="connsiteY214" fmla="*/ 9624 h 10000"/>
                <a:gd name="connsiteX215" fmla="*/ 7097 w 10746"/>
                <a:gd name="connsiteY215" fmla="*/ 9547 h 10000"/>
                <a:gd name="connsiteX216" fmla="*/ 7106 w 10746"/>
                <a:gd name="connsiteY216" fmla="*/ 9530 h 10000"/>
                <a:gd name="connsiteX217" fmla="*/ 7124 w 10746"/>
                <a:gd name="connsiteY217" fmla="*/ 9479 h 10000"/>
                <a:gd name="connsiteX218" fmla="*/ 7138 w 10746"/>
                <a:gd name="connsiteY218" fmla="*/ 9462 h 10000"/>
                <a:gd name="connsiteX219" fmla="*/ 7378 w 10746"/>
                <a:gd name="connsiteY219" fmla="*/ 8795 h 10000"/>
                <a:gd name="connsiteX220" fmla="*/ 7392 w 10746"/>
                <a:gd name="connsiteY220" fmla="*/ 8795 h 10000"/>
                <a:gd name="connsiteX221" fmla="*/ 7401 w 10746"/>
                <a:gd name="connsiteY221" fmla="*/ 8769 h 10000"/>
                <a:gd name="connsiteX222" fmla="*/ 7406 w 10746"/>
                <a:gd name="connsiteY222" fmla="*/ 8692 h 10000"/>
                <a:gd name="connsiteX223" fmla="*/ 7406 w 10746"/>
                <a:gd name="connsiteY223" fmla="*/ 8667 h 10000"/>
                <a:gd name="connsiteX224" fmla="*/ 7419 w 10746"/>
                <a:gd name="connsiteY224" fmla="*/ 8598 h 10000"/>
                <a:gd name="connsiteX225" fmla="*/ 7419 w 10746"/>
                <a:gd name="connsiteY225" fmla="*/ 8496 h 10000"/>
                <a:gd name="connsiteX226" fmla="*/ 7424 w 10746"/>
                <a:gd name="connsiteY226" fmla="*/ 8470 h 10000"/>
                <a:gd name="connsiteX227" fmla="*/ 7424 w 10746"/>
                <a:gd name="connsiteY227" fmla="*/ 8462 h 10000"/>
                <a:gd name="connsiteX228" fmla="*/ 7419 w 10746"/>
                <a:gd name="connsiteY228" fmla="*/ 8462 h 10000"/>
                <a:gd name="connsiteX229" fmla="*/ 7410 w 10746"/>
                <a:gd name="connsiteY229" fmla="*/ 8350 h 10000"/>
                <a:gd name="connsiteX230" fmla="*/ 7419 w 10746"/>
                <a:gd name="connsiteY230" fmla="*/ 8325 h 10000"/>
                <a:gd name="connsiteX231" fmla="*/ 7424 w 10746"/>
                <a:gd name="connsiteY231" fmla="*/ 8248 h 10000"/>
                <a:gd name="connsiteX232" fmla="*/ 7433 w 10746"/>
                <a:gd name="connsiteY232" fmla="*/ 8248 h 10000"/>
                <a:gd name="connsiteX233" fmla="*/ 7433 w 10746"/>
                <a:gd name="connsiteY233" fmla="*/ 8231 h 10000"/>
                <a:gd name="connsiteX234" fmla="*/ 7433 w 10746"/>
                <a:gd name="connsiteY234" fmla="*/ 8222 h 10000"/>
                <a:gd name="connsiteX235" fmla="*/ 7433 w 10746"/>
                <a:gd name="connsiteY235" fmla="*/ 8214 h 10000"/>
                <a:gd name="connsiteX236" fmla="*/ 7447 w 10746"/>
                <a:gd name="connsiteY236" fmla="*/ 8162 h 10000"/>
                <a:gd name="connsiteX237" fmla="*/ 7461 w 10746"/>
                <a:gd name="connsiteY237" fmla="*/ 8162 h 10000"/>
                <a:gd name="connsiteX238" fmla="*/ 7475 w 10746"/>
                <a:gd name="connsiteY238" fmla="*/ 8111 h 10000"/>
                <a:gd name="connsiteX239" fmla="*/ 7475 w 10746"/>
                <a:gd name="connsiteY239" fmla="*/ 8085 h 10000"/>
                <a:gd name="connsiteX240" fmla="*/ 7479 w 10746"/>
                <a:gd name="connsiteY240" fmla="*/ 8060 h 10000"/>
                <a:gd name="connsiteX241" fmla="*/ 7452 w 10746"/>
                <a:gd name="connsiteY241" fmla="*/ 8009 h 10000"/>
                <a:gd name="connsiteX242" fmla="*/ 7465 w 10746"/>
                <a:gd name="connsiteY242" fmla="*/ 7974 h 10000"/>
                <a:gd name="connsiteX243" fmla="*/ 7452 w 10746"/>
                <a:gd name="connsiteY243" fmla="*/ 7923 h 10000"/>
                <a:gd name="connsiteX244" fmla="*/ 7433 w 10746"/>
                <a:gd name="connsiteY244" fmla="*/ 7889 h 10000"/>
                <a:gd name="connsiteX245" fmla="*/ 7419 w 10746"/>
                <a:gd name="connsiteY245" fmla="*/ 7889 h 10000"/>
                <a:gd name="connsiteX246" fmla="*/ 7401 w 10746"/>
                <a:gd name="connsiteY246" fmla="*/ 7863 h 10000"/>
                <a:gd name="connsiteX247" fmla="*/ 7387 w 10746"/>
                <a:gd name="connsiteY247" fmla="*/ 7863 h 10000"/>
                <a:gd name="connsiteX248" fmla="*/ 7373 w 10746"/>
                <a:gd name="connsiteY248" fmla="*/ 7863 h 10000"/>
                <a:gd name="connsiteX249" fmla="*/ 7387 w 10746"/>
                <a:gd name="connsiteY249" fmla="*/ 7846 h 10000"/>
                <a:gd name="connsiteX250" fmla="*/ 7401 w 10746"/>
                <a:gd name="connsiteY250" fmla="*/ 7846 h 10000"/>
                <a:gd name="connsiteX251" fmla="*/ 7410 w 10746"/>
                <a:gd name="connsiteY251" fmla="*/ 7863 h 10000"/>
                <a:gd name="connsiteX252" fmla="*/ 7424 w 10746"/>
                <a:gd name="connsiteY252" fmla="*/ 7872 h 10000"/>
                <a:gd name="connsiteX253" fmla="*/ 7433 w 10746"/>
                <a:gd name="connsiteY253" fmla="*/ 7863 h 10000"/>
                <a:gd name="connsiteX254" fmla="*/ 7461 w 10746"/>
                <a:gd name="connsiteY254" fmla="*/ 7897 h 10000"/>
                <a:gd name="connsiteX255" fmla="*/ 7465 w 10746"/>
                <a:gd name="connsiteY255" fmla="*/ 7889 h 10000"/>
                <a:gd name="connsiteX256" fmla="*/ 7475 w 10746"/>
                <a:gd name="connsiteY256" fmla="*/ 7863 h 10000"/>
                <a:gd name="connsiteX257" fmla="*/ 7475 w 10746"/>
                <a:gd name="connsiteY257" fmla="*/ 7838 h 10000"/>
                <a:gd name="connsiteX258" fmla="*/ 7465 w 10746"/>
                <a:gd name="connsiteY258" fmla="*/ 7838 h 10000"/>
                <a:gd name="connsiteX259" fmla="*/ 7406 w 10746"/>
                <a:gd name="connsiteY259" fmla="*/ 7752 h 10000"/>
                <a:gd name="connsiteX260" fmla="*/ 7401 w 10746"/>
                <a:gd name="connsiteY260" fmla="*/ 7735 h 10000"/>
                <a:gd name="connsiteX261" fmla="*/ 7401 w 10746"/>
                <a:gd name="connsiteY261" fmla="*/ 7701 h 10000"/>
                <a:gd name="connsiteX262" fmla="*/ 7378 w 10746"/>
                <a:gd name="connsiteY262" fmla="*/ 7675 h 10000"/>
                <a:gd name="connsiteX263" fmla="*/ 7373 w 10746"/>
                <a:gd name="connsiteY263" fmla="*/ 7667 h 10000"/>
                <a:gd name="connsiteX264" fmla="*/ 7364 w 10746"/>
                <a:gd name="connsiteY264" fmla="*/ 7650 h 10000"/>
                <a:gd name="connsiteX265" fmla="*/ 7364 w 10746"/>
                <a:gd name="connsiteY265" fmla="*/ 7641 h 10000"/>
                <a:gd name="connsiteX266" fmla="*/ 7350 w 10746"/>
                <a:gd name="connsiteY266" fmla="*/ 7641 h 10000"/>
                <a:gd name="connsiteX267" fmla="*/ 7336 w 10746"/>
                <a:gd name="connsiteY267" fmla="*/ 7650 h 10000"/>
                <a:gd name="connsiteX268" fmla="*/ 7327 w 10746"/>
                <a:gd name="connsiteY268" fmla="*/ 7650 h 10000"/>
                <a:gd name="connsiteX269" fmla="*/ 7300 w 10746"/>
                <a:gd name="connsiteY269" fmla="*/ 7641 h 10000"/>
                <a:gd name="connsiteX270" fmla="*/ 7300 w 10746"/>
                <a:gd name="connsiteY270" fmla="*/ 7675 h 10000"/>
                <a:gd name="connsiteX271" fmla="*/ 7300 w 10746"/>
                <a:gd name="connsiteY271" fmla="*/ 7692 h 10000"/>
                <a:gd name="connsiteX272" fmla="*/ 7286 w 10746"/>
                <a:gd name="connsiteY272" fmla="*/ 7786 h 10000"/>
                <a:gd name="connsiteX273" fmla="*/ 7272 w 10746"/>
                <a:gd name="connsiteY273" fmla="*/ 7803 h 10000"/>
                <a:gd name="connsiteX274" fmla="*/ 7276 w 10746"/>
                <a:gd name="connsiteY274" fmla="*/ 7761 h 10000"/>
                <a:gd name="connsiteX275" fmla="*/ 7286 w 10746"/>
                <a:gd name="connsiteY275" fmla="*/ 7735 h 10000"/>
                <a:gd name="connsiteX276" fmla="*/ 7276 w 10746"/>
                <a:gd name="connsiteY276" fmla="*/ 7709 h 10000"/>
                <a:gd name="connsiteX277" fmla="*/ 7258 w 10746"/>
                <a:gd name="connsiteY277" fmla="*/ 7761 h 10000"/>
                <a:gd name="connsiteX278" fmla="*/ 7217 w 10746"/>
                <a:gd name="connsiteY278" fmla="*/ 7786 h 10000"/>
                <a:gd name="connsiteX279" fmla="*/ 7203 w 10746"/>
                <a:gd name="connsiteY279" fmla="*/ 7786 h 10000"/>
                <a:gd name="connsiteX280" fmla="*/ 7198 w 10746"/>
                <a:gd name="connsiteY280" fmla="*/ 7778 h 10000"/>
                <a:gd name="connsiteX281" fmla="*/ 7212 w 10746"/>
                <a:gd name="connsiteY281" fmla="*/ 7761 h 10000"/>
                <a:gd name="connsiteX282" fmla="*/ 7230 w 10746"/>
                <a:gd name="connsiteY282" fmla="*/ 7726 h 10000"/>
                <a:gd name="connsiteX283" fmla="*/ 7226 w 10746"/>
                <a:gd name="connsiteY283" fmla="*/ 7709 h 10000"/>
                <a:gd name="connsiteX284" fmla="*/ 7212 w 10746"/>
                <a:gd name="connsiteY284" fmla="*/ 7701 h 10000"/>
                <a:gd name="connsiteX285" fmla="*/ 7203 w 10746"/>
                <a:gd name="connsiteY285" fmla="*/ 7675 h 10000"/>
                <a:gd name="connsiteX286" fmla="*/ 7217 w 10746"/>
                <a:gd name="connsiteY286" fmla="*/ 7675 h 10000"/>
                <a:gd name="connsiteX287" fmla="*/ 7226 w 10746"/>
                <a:gd name="connsiteY287" fmla="*/ 7650 h 10000"/>
                <a:gd name="connsiteX288" fmla="*/ 7226 w 10746"/>
                <a:gd name="connsiteY288" fmla="*/ 7641 h 10000"/>
                <a:gd name="connsiteX289" fmla="*/ 7203 w 10746"/>
                <a:gd name="connsiteY289" fmla="*/ 7641 h 10000"/>
                <a:gd name="connsiteX290" fmla="*/ 7198 w 10746"/>
                <a:gd name="connsiteY290" fmla="*/ 7650 h 10000"/>
                <a:gd name="connsiteX291" fmla="*/ 7194 w 10746"/>
                <a:gd name="connsiteY291" fmla="*/ 7675 h 10000"/>
                <a:gd name="connsiteX292" fmla="*/ 7198 w 10746"/>
                <a:gd name="connsiteY292" fmla="*/ 7692 h 10000"/>
                <a:gd name="connsiteX293" fmla="*/ 7198 w 10746"/>
                <a:gd name="connsiteY293" fmla="*/ 7709 h 10000"/>
                <a:gd name="connsiteX294" fmla="*/ 7184 w 10746"/>
                <a:gd name="connsiteY294" fmla="*/ 7726 h 10000"/>
                <a:gd name="connsiteX295" fmla="*/ 7180 w 10746"/>
                <a:gd name="connsiteY295" fmla="*/ 7726 h 10000"/>
                <a:gd name="connsiteX296" fmla="*/ 7171 w 10746"/>
                <a:gd name="connsiteY296" fmla="*/ 7752 h 10000"/>
                <a:gd name="connsiteX297" fmla="*/ 7166 w 10746"/>
                <a:gd name="connsiteY297" fmla="*/ 7735 h 10000"/>
                <a:gd name="connsiteX298" fmla="*/ 7171 w 10746"/>
                <a:gd name="connsiteY298" fmla="*/ 7624 h 10000"/>
                <a:gd name="connsiteX299" fmla="*/ 7171 w 10746"/>
                <a:gd name="connsiteY299" fmla="*/ 7615 h 10000"/>
                <a:gd name="connsiteX300" fmla="*/ 7171 w 10746"/>
                <a:gd name="connsiteY300" fmla="*/ 7590 h 10000"/>
                <a:gd name="connsiteX301" fmla="*/ 7166 w 10746"/>
                <a:gd name="connsiteY301" fmla="*/ 7564 h 10000"/>
                <a:gd name="connsiteX302" fmla="*/ 7157 w 10746"/>
                <a:gd name="connsiteY302" fmla="*/ 7564 h 10000"/>
                <a:gd name="connsiteX303" fmla="*/ 7097 w 10746"/>
                <a:gd name="connsiteY303" fmla="*/ 7573 h 10000"/>
                <a:gd name="connsiteX304" fmla="*/ 7065 w 10746"/>
                <a:gd name="connsiteY304" fmla="*/ 7538 h 10000"/>
                <a:gd name="connsiteX305" fmla="*/ 7069 w 10746"/>
                <a:gd name="connsiteY305" fmla="*/ 7504 h 10000"/>
                <a:gd name="connsiteX306" fmla="*/ 7106 w 10746"/>
                <a:gd name="connsiteY306" fmla="*/ 7453 h 10000"/>
                <a:gd name="connsiteX307" fmla="*/ 7111 w 10746"/>
                <a:gd name="connsiteY307" fmla="*/ 7436 h 10000"/>
                <a:gd name="connsiteX308" fmla="*/ 7138 w 10746"/>
                <a:gd name="connsiteY308" fmla="*/ 7402 h 10000"/>
                <a:gd name="connsiteX309" fmla="*/ 7143 w 10746"/>
                <a:gd name="connsiteY309" fmla="*/ 7376 h 10000"/>
                <a:gd name="connsiteX310" fmla="*/ 7152 w 10746"/>
                <a:gd name="connsiteY310" fmla="*/ 7368 h 10000"/>
                <a:gd name="connsiteX311" fmla="*/ 7157 w 10746"/>
                <a:gd name="connsiteY311" fmla="*/ 7350 h 10000"/>
                <a:gd name="connsiteX312" fmla="*/ 7230 w 10746"/>
                <a:gd name="connsiteY312" fmla="*/ 7239 h 10000"/>
                <a:gd name="connsiteX313" fmla="*/ 7240 w 10746"/>
                <a:gd name="connsiteY313" fmla="*/ 7205 h 10000"/>
                <a:gd name="connsiteX314" fmla="*/ 7253 w 10746"/>
                <a:gd name="connsiteY314" fmla="*/ 7188 h 10000"/>
                <a:gd name="connsiteX315" fmla="*/ 7258 w 10746"/>
                <a:gd name="connsiteY315" fmla="*/ 7162 h 10000"/>
                <a:gd name="connsiteX316" fmla="*/ 7258 w 10746"/>
                <a:gd name="connsiteY316" fmla="*/ 7154 h 10000"/>
                <a:gd name="connsiteX317" fmla="*/ 7272 w 10746"/>
                <a:gd name="connsiteY317" fmla="*/ 7120 h 10000"/>
                <a:gd name="connsiteX318" fmla="*/ 7276 w 10746"/>
                <a:gd name="connsiteY318" fmla="*/ 7094 h 10000"/>
                <a:gd name="connsiteX319" fmla="*/ 7286 w 10746"/>
                <a:gd name="connsiteY319" fmla="*/ 7094 h 10000"/>
                <a:gd name="connsiteX320" fmla="*/ 7290 w 10746"/>
                <a:gd name="connsiteY320" fmla="*/ 7068 h 10000"/>
                <a:gd name="connsiteX321" fmla="*/ 7332 w 10746"/>
                <a:gd name="connsiteY321" fmla="*/ 6991 h 10000"/>
                <a:gd name="connsiteX322" fmla="*/ 7336 w 10746"/>
                <a:gd name="connsiteY322" fmla="*/ 6991 h 10000"/>
                <a:gd name="connsiteX323" fmla="*/ 7364 w 10746"/>
                <a:gd name="connsiteY323" fmla="*/ 6940 h 10000"/>
                <a:gd name="connsiteX324" fmla="*/ 7373 w 10746"/>
                <a:gd name="connsiteY324" fmla="*/ 6906 h 10000"/>
                <a:gd name="connsiteX325" fmla="*/ 7378 w 10746"/>
                <a:gd name="connsiteY325" fmla="*/ 6915 h 10000"/>
                <a:gd name="connsiteX326" fmla="*/ 7406 w 10746"/>
                <a:gd name="connsiteY326" fmla="*/ 6880 h 10000"/>
                <a:gd name="connsiteX327" fmla="*/ 7410 w 10746"/>
                <a:gd name="connsiteY327" fmla="*/ 6846 h 10000"/>
                <a:gd name="connsiteX328" fmla="*/ 7419 w 10746"/>
                <a:gd name="connsiteY328" fmla="*/ 6803 h 10000"/>
                <a:gd name="connsiteX329" fmla="*/ 7585 w 10746"/>
                <a:gd name="connsiteY329" fmla="*/ 6504 h 10000"/>
                <a:gd name="connsiteX330" fmla="*/ 7765 w 10746"/>
                <a:gd name="connsiteY330" fmla="*/ 6504 h 10000"/>
                <a:gd name="connsiteX331" fmla="*/ 7765 w 10746"/>
                <a:gd name="connsiteY331" fmla="*/ 6530 h 10000"/>
                <a:gd name="connsiteX332" fmla="*/ 7774 w 10746"/>
                <a:gd name="connsiteY332" fmla="*/ 6556 h 10000"/>
                <a:gd name="connsiteX333" fmla="*/ 7779 w 10746"/>
                <a:gd name="connsiteY333" fmla="*/ 6556 h 10000"/>
                <a:gd name="connsiteX334" fmla="*/ 7793 w 10746"/>
                <a:gd name="connsiteY334" fmla="*/ 6547 h 10000"/>
                <a:gd name="connsiteX335" fmla="*/ 7793 w 10746"/>
                <a:gd name="connsiteY335" fmla="*/ 6530 h 10000"/>
                <a:gd name="connsiteX336" fmla="*/ 7802 w 10746"/>
                <a:gd name="connsiteY336" fmla="*/ 6496 h 10000"/>
                <a:gd name="connsiteX337" fmla="*/ 7806 w 10746"/>
                <a:gd name="connsiteY337" fmla="*/ 6487 h 10000"/>
                <a:gd name="connsiteX338" fmla="*/ 7876 w 10746"/>
                <a:gd name="connsiteY338" fmla="*/ 6530 h 10000"/>
                <a:gd name="connsiteX339" fmla="*/ 7894 w 10746"/>
                <a:gd name="connsiteY339" fmla="*/ 6530 h 10000"/>
                <a:gd name="connsiteX340" fmla="*/ 7894 w 10746"/>
                <a:gd name="connsiteY340" fmla="*/ 6504 h 10000"/>
                <a:gd name="connsiteX341" fmla="*/ 7899 w 10746"/>
                <a:gd name="connsiteY341" fmla="*/ 6504 h 10000"/>
                <a:gd name="connsiteX342" fmla="*/ 7926 w 10746"/>
                <a:gd name="connsiteY342" fmla="*/ 6504 h 10000"/>
                <a:gd name="connsiteX343" fmla="*/ 7940 w 10746"/>
                <a:gd name="connsiteY343" fmla="*/ 6547 h 10000"/>
                <a:gd name="connsiteX344" fmla="*/ 7949 w 10746"/>
                <a:gd name="connsiteY344" fmla="*/ 6547 h 10000"/>
                <a:gd name="connsiteX345" fmla="*/ 7963 w 10746"/>
                <a:gd name="connsiteY345" fmla="*/ 6530 h 10000"/>
                <a:gd name="connsiteX346" fmla="*/ 7963 w 10746"/>
                <a:gd name="connsiteY346" fmla="*/ 6504 h 10000"/>
                <a:gd name="connsiteX347" fmla="*/ 7963 w 10746"/>
                <a:gd name="connsiteY347" fmla="*/ 6504 h 10000"/>
                <a:gd name="connsiteX348" fmla="*/ 7954 w 10746"/>
                <a:gd name="connsiteY348" fmla="*/ 6496 h 10000"/>
                <a:gd name="connsiteX349" fmla="*/ 7963 w 10746"/>
                <a:gd name="connsiteY349" fmla="*/ 6487 h 10000"/>
                <a:gd name="connsiteX350" fmla="*/ 7982 w 10746"/>
                <a:gd name="connsiteY350" fmla="*/ 6487 h 10000"/>
                <a:gd name="connsiteX351" fmla="*/ 7982 w 10746"/>
                <a:gd name="connsiteY351" fmla="*/ 6470 h 10000"/>
                <a:gd name="connsiteX352" fmla="*/ 7972 w 10746"/>
                <a:gd name="connsiteY352" fmla="*/ 6462 h 10000"/>
                <a:gd name="connsiteX353" fmla="*/ 7972 w 10746"/>
                <a:gd name="connsiteY353" fmla="*/ 6436 h 10000"/>
                <a:gd name="connsiteX354" fmla="*/ 7986 w 10746"/>
                <a:gd name="connsiteY354" fmla="*/ 6419 h 10000"/>
                <a:gd name="connsiteX355" fmla="*/ 8000 w 10746"/>
                <a:gd name="connsiteY355" fmla="*/ 6419 h 10000"/>
                <a:gd name="connsiteX356" fmla="*/ 8055 w 10746"/>
                <a:gd name="connsiteY356" fmla="*/ 6462 h 10000"/>
                <a:gd name="connsiteX357" fmla="*/ 8069 w 10746"/>
                <a:gd name="connsiteY357" fmla="*/ 6444 h 10000"/>
                <a:gd name="connsiteX358" fmla="*/ 8083 w 10746"/>
                <a:gd name="connsiteY358" fmla="*/ 6470 h 10000"/>
                <a:gd name="connsiteX359" fmla="*/ 8083 w 10746"/>
                <a:gd name="connsiteY359" fmla="*/ 6487 h 10000"/>
                <a:gd name="connsiteX360" fmla="*/ 8097 w 10746"/>
                <a:gd name="connsiteY360" fmla="*/ 6487 h 10000"/>
                <a:gd name="connsiteX361" fmla="*/ 8101 w 10746"/>
                <a:gd name="connsiteY361" fmla="*/ 6462 h 10000"/>
                <a:gd name="connsiteX362" fmla="*/ 8115 w 10746"/>
                <a:gd name="connsiteY362" fmla="*/ 6462 h 10000"/>
                <a:gd name="connsiteX363" fmla="*/ 8129 w 10746"/>
                <a:gd name="connsiteY363" fmla="*/ 6462 h 10000"/>
                <a:gd name="connsiteX364" fmla="*/ 8157 w 10746"/>
                <a:gd name="connsiteY364" fmla="*/ 6496 h 10000"/>
                <a:gd name="connsiteX365" fmla="*/ 8157 w 10746"/>
                <a:gd name="connsiteY365" fmla="*/ 6521 h 10000"/>
                <a:gd name="connsiteX366" fmla="*/ 8180 w 10746"/>
                <a:gd name="connsiteY366" fmla="*/ 6530 h 10000"/>
                <a:gd name="connsiteX367" fmla="*/ 8180 w 10746"/>
                <a:gd name="connsiteY367" fmla="*/ 6547 h 10000"/>
                <a:gd name="connsiteX368" fmla="*/ 8171 w 10746"/>
                <a:gd name="connsiteY368" fmla="*/ 6556 h 10000"/>
                <a:gd name="connsiteX369" fmla="*/ 8129 w 10746"/>
                <a:gd name="connsiteY369" fmla="*/ 6556 h 10000"/>
                <a:gd name="connsiteX370" fmla="*/ 8106 w 10746"/>
                <a:gd name="connsiteY370" fmla="*/ 6573 h 10000"/>
                <a:gd name="connsiteX371" fmla="*/ 8115 w 10746"/>
                <a:gd name="connsiteY371" fmla="*/ 6581 h 10000"/>
                <a:gd name="connsiteX372" fmla="*/ 8129 w 10746"/>
                <a:gd name="connsiteY372" fmla="*/ 6632 h 10000"/>
                <a:gd name="connsiteX373" fmla="*/ 8171 w 10746"/>
                <a:gd name="connsiteY373" fmla="*/ 6632 h 10000"/>
                <a:gd name="connsiteX374" fmla="*/ 8180 w 10746"/>
                <a:gd name="connsiteY374" fmla="*/ 6624 h 10000"/>
                <a:gd name="connsiteX375" fmla="*/ 8189 w 10746"/>
                <a:gd name="connsiteY375" fmla="*/ 6598 h 10000"/>
                <a:gd name="connsiteX376" fmla="*/ 8203 w 10746"/>
                <a:gd name="connsiteY376" fmla="*/ 6581 h 10000"/>
                <a:gd name="connsiteX377" fmla="*/ 8207 w 10746"/>
                <a:gd name="connsiteY377" fmla="*/ 6607 h 10000"/>
                <a:gd name="connsiteX378" fmla="*/ 8221 w 10746"/>
                <a:gd name="connsiteY378" fmla="*/ 6624 h 10000"/>
                <a:gd name="connsiteX379" fmla="*/ 8235 w 10746"/>
                <a:gd name="connsiteY379" fmla="*/ 6607 h 10000"/>
                <a:gd name="connsiteX380" fmla="*/ 8240 w 10746"/>
                <a:gd name="connsiteY380" fmla="*/ 6581 h 10000"/>
                <a:gd name="connsiteX381" fmla="*/ 8253 w 10746"/>
                <a:gd name="connsiteY381" fmla="*/ 6573 h 10000"/>
                <a:gd name="connsiteX382" fmla="*/ 8263 w 10746"/>
                <a:gd name="connsiteY382" fmla="*/ 6556 h 10000"/>
                <a:gd name="connsiteX383" fmla="*/ 8276 w 10746"/>
                <a:gd name="connsiteY383" fmla="*/ 6547 h 10000"/>
                <a:gd name="connsiteX384" fmla="*/ 8290 w 10746"/>
                <a:gd name="connsiteY384" fmla="*/ 6556 h 10000"/>
                <a:gd name="connsiteX385" fmla="*/ 8304 w 10746"/>
                <a:gd name="connsiteY385" fmla="*/ 6581 h 10000"/>
                <a:gd name="connsiteX386" fmla="*/ 8309 w 10746"/>
                <a:gd name="connsiteY386" fmla="*/ 6581 h 10000"/>
                <a:gd name="connsiteX387" fmla="*/ 8327 w 10746"/>
                <a:gd name="connsiteY387" fmla="*/ 6573 h 10000"/>
                <a:gd name="connsiteX388" fmla="*/ 8327 w 10746"/>
                <a:gd name="connsiteY388" fmla="*/ 6556 h 10000"/>
                <a:gd name="connsiteX389" fmla="*/ 8350 w 10746"/>
                <a:gd name="connsiteY389" fmla="*/ 6556 h 10000"/>
                <a:gd name="connsiteX390" fmla="*/ 8355 w 10746"/>
                <a:gd name="connsiteY390" fmla="*/ 6573 h 10000"/>
                <a:gd name="connsiteX391" fmla="*/ 8364 w 10746"/>
                <a:gd name="connsiteY391" fmla="*/ 6556 h 10000"/>
                <a:gd name="connsiteX392" fmla="*/ 8369 w 10746"/>
                <a:gd name="connsiteY392" fmla="*/ 6556 h 10000"/>
                <a:gd name="connsiteX393" fmla="*/ 8378 w 10746"/>
                <a:gd name="connsiteY393" fmla="*/ 6530 h 10000"/>
                <a:gd name="connsiteX394" fmla="*/ 8369 w 10746"/>
                <a:gd name="connsiteY394" fmla="*/ 6504 h 10000"/>
                <a:gd name="connsiteX395" fmla="*/ 8364 w 10746"/>
                <a:gd name="connsiteY395" fmla="*/ 6496 h 10000"/>
                <a:gd name="connsiteX396" fmla="*/ 8336 w 10746"/>
                <a:gd name="connsiteY396" fmla="*/ 6470 h 10000"/>
                <a:gd name="connsiteX397" fmla="*/ 8309 w 10746"/>
                <a:gd name="connsiteY397" fmla="*/ 6487 h 10000"/>
                <a:gd name="connsiteX398" fmla="*/ 8313 w 10746"/>
                <a:gd name="connsiteY398" fmla="*/ 6462 h 10000"/>
                <a:gd name="connsiteX399" fmla="*/ 8323 w 10746"/>
                <a:gd name="connsiteY399" fmla="*/ 6444 h 10000"/>
                <a:gd name="connsiteX400" fmla="*/ 8309 w 10746"/>
                <a:gd name="connsiteY400" fmla="*/ 6393 h 10000"/>
                <a:gd name="connsiteX401" fmla="*/ 8313 w 10746"/>
                <a:gd name="connsiteY401" fmla="*/ 6385 h 10000"/>
                <a:gd name="connsiteX402" fmla="*/ 8323 w 10746"/>
                <a:gd name="connsiteY402" fmla="*/ 6393 h 10000"/>
                <a:gd name="connsiteX403" fmla="*/ 8323 w 10746"/>
                <a:gd name="connsiteY403" fmla="*/ 6393 h 10000"/>
                <a:gd name="connsiteX404" fmla="*/ 8355 w 10746"/>
                <a:gd name="connsiteY404" fmla="*/ 6282 h 10000"/>
                <a:gd name="connsiteX405" fmla="*/ 8369 w 10746"/>
                <a:gd name="connsiteY405" fmla="*/ 6256 h 10000"/>
                <a:gd name="connsiteX406" fmla="*/ 8382 w 10746"/>
                <a:gd name="connsiteY406" fmla="*/ 6248 h 10000"/>
                <a:gd name="connsiteX407" fmla="*/ 8424 w 10746"/>
                <a:gd name="connsiteY407" fmla="*/ 6162 h 10000"/>
                <a:gd name="connsiteX408" fmla="*/ 8429 w 10746"/>
                <a:gd name="connsiteY408" fmla="*/ 6145 h 10000"/>
                <a:gd name="connsiteX409" fmla="*/ 8470 w 10746"/>
                <a:gd name="connsiteY409" fmla="*/ 6051 h 10000"/>
                <a:gd name="connsiteX410" fmla="*/ 8475 w 10746"/>
                <a:gd name="connsiteY410" fmla="*/ 5983 h 10000"/>
                <a:gd name="connsiteX411" fmla="*/ 8512 w 10746"/>
                <a:gd name="connsiteY411" fmla="*/ 5940 h 10000"/>
                <a:gd name="connsiteX412" fmla="*/ 8521 w 10746"/>
                <a:gd name="connsiteY412" fmla="*/ 5923 h 10000"/>
                <a:gd name="connsiteX413" fmla="*/ 8535 w 10746"/>
                <a:gd name="connsiteY413" fmla="*/ 5915 h 10000"/>
                <a:gd name="connsiteX414" fmla="*/ 8562 w 10746"/>
                <a:gd name="connsiteY414" fmla="*/ 5915 h 10000"/>
                <a:gd name="connsiteX415" fmla="*/ 8618 w 10746"/>
                <a:gd name="connsiteY415" fmla="*/ 5889 h 10000"/>
                <a:gd name="connsiteX416" fmla="*/ 8622 w 10746"/>
                <a:gd name="connsiteY416" fmla="*/ 5889 h 10000"/>
                <a:gd name="connsiteX417" fmla="*/ 8622 w 10746"/>
                <a:gd name="connsiteY417" fmla="*/ 5872 h 10000"/>
                <a:gd name="connsiteX418" fmla="*/ 8636 w 10746"/>
                <a:gd name="connsiteY418" fmla="*/ 5872 h 10000"/>
                <a:gd name="connsiteX419" fmla="*/ 8650 w 10746"/>
                <a:gd name="connsiteY419" fmla="*/ 5889 h 10000"/>
                <a:gd name="connsiteX420" fmla="*/ 8659 w 10746"/>
                <a:gd name="connsiteY420" fmla="*/ 5915 h 10000"/>
                <a:gd name="connsiteX421" fmla="*/ 8664 w 10746"/>
                <a:gd name="connsiteY421" fmla="*/ 5940 h 10000"/>
                <a:gd name="connsiteX422" fmla="*/ 8682 w 10746"/>
                <a:gd name="connsiteY422" fmla="*/ 5923 h 10000"/>
                <a:gd name="connsiteX423" fmla="*/ 8719 w 10746"/>
                <a:gd name="connsiteY423" fmla="*/ 5863 h 10000"/>
                <a:gd name="connsiteX424" fmla="*/ 8705 w 10746"/>
                <a:gd name="connsiteY424" fmla="*/ 5966 h 10000"/>
                <a:gd name="connsiteX425" fmla="*/ 8696 w 10746"/>
                <a:gd name="connsiteY425" fmla="*/ 5983 h 10000"/>
                <a:gd name="connsiteX426" fmla="*/ 8682 w 10746"/>
                <a:gd name="connsiteY426" fmla="*/ 6026 h 10000"/>
                <a:gd name="connsiteX427" fmla="*/ 8682 w 10746"/>
                <a:gd name="connsiteY427" fmla="*/ 6051 h 10000"/>
                <a:gd name="connsiteX428" fmla="*/ 8691 w 10746"/>
                <a:gd name="connsiteY428" fmla="*/ 6077 h 10000"/>
                <a:gd name="connsiteX429" fmla="*/ 8691 w 10746"/>
                <a:gd name="connsiteY429" fmla="*/ 6085 h 10000"/>
                <a:gd name="connsiteX430" fmla="*/ 8682 w 10746"/>
                <a:gd name="connsiteY430" fmla="*/ 6103 h 10000"/>
                <a:gd name="connsiteX431" fmla="*/ 8682 w 10746"/>
                <a:gd name="connsiteY431" fmla="*/ 6111 h 10000"/>
                <a:gd name="connsiteX432" fmla="*/ 8691 w 10746"/>
                <a:gd name="connsiteY432" fmla="*/ 6120 h 10000"/>
                <a:gd name="connsiteX433" fmla="*/ 8719 w 10746"/>
                <a:gd name="connsiteY433" fmla="*/ 6103 h 10000"/>
                <a:gd name="connsiteX434" fmla="*/ 8705 w 10746"/>
                <a:gd name="connsiteY434" fmla="*/ 6188 h 10000"/>
                <a:gd name="connsiteX435" fmla="*/ 8705 w 10746"/>
                <a:gd name="connsiteY435" fmla="*/ 6214 h 10000"/>
                <a:gd name="connsiteX436" fmla="*/ 8710 w 10746"/>
                <a:gd name="connsiteY436" fmla="*/ 6197 h 10000"/>
                <a:gd name="connsiteX437" fmla="*/ 8728 w 10746"/>
                <a:gd name="connsiteY437" fmla="*/ 6171 h 10000"/>
                <a:gd name="connsiteX438" fmla="*/ 8737 w 10746"/>
                <a:gd name="connsiteY438" fmla="*/ 6171 h 10000"/>
                <a:gd name="connsiteX439" fmla="*/ 8843 w 10746"/>
                <a:gd name="connsiteY439" fmla="*/ 5949 h 10000"/>
                <a:gd name="connsiteX440" fmla="*/ 8866 w 10746"/>
                <a:gd name="connsiteY440" fmla="*/ 5949 h 10000"/>
                <a:gd name="connsiteX441" fmla="*/ 8871 w 10746"/>
                <a:gd name="connsiteY441" fmla="*/ 5940 h 10000"/>
                <a:gd name="connsiteX442" fmla="*/ 8876 w 10746"/>
                <a:gd name="connsiteY442" fmla="*/ 5923 h 10000"/>
                <a:gd name="connsiteX443" fmla="*/ 8885 w 10746"/>
                <a:gd name="connsiteY443" fmla="*/ 5940 h 10000"/>
                <a:gd name="connsiteX444" fmla="*/ 8885 w 10746"/>
                <a:gd name="connsiteY444" fmla="*/ 5949 h 10000"/>
                <a:gd name="connsiteX445" fmla="*/ 8885 w 10746"/>
                <a:gd name="connsiteY445" fmla="*/ 5974 h 10000"/>
                <a:gd name="connsiteX446" fmla="*/ 8889 w 10746"/>
                <a:gd name="connsiteY446" fmla="*/ 5974 h 10000"/>
                <a:gd name="connsiteX447" fmla="*/ 8903 w 10746"/>
                <a:gd name="connsiteY447" fmla="*/ 5923 h 10000"/>
                <a:gd name="connsiteX448" fmla="*/ 8889 w 10746"/>
                <a:gd name="connsiteY448" fmla="*/ 5923 h 10000"/>
                <a:gd name="connsiteX449" fmla="*/ 8889 w 10746"/>
                <a:gd name="connsiteY449" fmla="*/ 5897 h 10000"/>
                <a:gd name="connsiteX450" fmla="*/ 8899 w 10746"/>
                <a:gd name="connsiteY450" fmla="*/ 5838 h 10000"/>
                <a:gd name="connsiteX451" fmla="*/ 8889 w 10746"/>
                <a:gd name="connsiteY451" fmla="*/ 5812 h 10000"/>
                <a:gd name="connsiteX452" fmla="*/ 8903 w 10746"/>
                <a:gd name="connsiteY452" fmla="*/ 5778 h 10000"/>
                <a:gd name="connsiteX453" fmla="*/ 8903 w 10746"/>
                <a:gd name="connsiteY453" fmla="*/ 5761 h 10000"/>
                <a:gd name="connsiteX454" fmla="*/ 8912 w 10746"/>
                <a:gd name="connsiteY454" fmla="*/ 5735 h 10000"/>
                <a:gd name="connsiteX455" fmla="*/ 8931 w 10746"/>
                <a:gd name="connsiteY455" fmla="*/ 5701 h 10000"/>
                <a:gd name="connsiteX456" fmla="*/ 8977 w 10746"/>
                <a:gd name="connsiteY456" fmla="*/ 5675 h 10000"/>
                <a:gd name="connsiteX457" fmla="*/ 9000 w 10746"/>
                <a:gd name="connsiteY457" fmla="*/ 5675 h 10000"/>
                <a:gd name="connsiteX458" fmla="*/ 9018 w 10746"/>
                <a:gd name="connsiteY458" fmla="*/ 5709 h 10000"/>
                <a:gd name="connsiteX459" fmla="*/ 9009 w 10746"/>
                <a:gd name="connsiteY459" fmla="*/ 5735 h 10000"/>
                <a:gd name="connsiteX460" fmla="*/ 9000 w 10746"/>
                <a:gd name="connsiteY460" fmla="*/ 5735 h 10000"/>
                <a:gd name="connsiteX461" fmla="*/ 8963 w 10746"/>
                <a:gd name="connsiteY461" fmla="*/ 5786 h 10000"/>
                <a:gd name="connsiteX462" fmla="*/ 8949 w 10746"/>
                <a:gd name="connsiteY462" fmla="*/ 5940 h 10000"/>
                <a:gd name="connsiteX463" fmla="*/ 8945 w 10746"/>
                <a:gd name="connsiteY463" fmla="*/ 5966 h 10000"/>
                <a:gd name="connsiteX464" fmla="*/ 8945 w 10746"/>
                <a:gd name="connsiteY464" fmla="*/ 6000 h 10000"/>
                <a:gd name="connsiteX465" fmla="*/ 8945 w 10746"/>
                <a:gd name="connsiteY465" fmla="*/ 6009 h 10000"/>
                <a:gd name="connsiteX466" fmla="*/ 8945 w 10746"/>
                <a:gd name="connsiteY466" fmla="*/ 6034 h 10000"/>
                <a:gd name="connsiteX467" fmla="*/ 8931 w 10746"/>
                <a:gd name="connsiteY467" fmla="*/ 6060 h 10000"/>
                <a:gd name="connsiteX468" fmla="*/ 8926 w 10746"/>
                <a:gd name="connsiteY468" fmla="*/ 6077 h 10000"/>
                <a:gd name="connsiteX469" fmla="*/ 8926 w 10746"/>
                <a:gd name="connsiteY469" fmla="*/ 6111 h 10000"/>
                <a:gd name="connsiteX470" fmla="*/ 8931 w 10746"/>
                <a:gd name="connsiteY470" fmla="*/ 6120 h 10000"/>
                <a:gd name="connsiteX471" fmla="*/ 8931 w 10746"/>
                <a:gd name="connsiteY471" fmla="*/ 6137 h 10000"/>
                <a:gd name="connsiteX472" fmla="*/ 8912 w 10746"/>
                <a:gd name="connsiteY472" fmla="*/ 6171 h 10000"/>
                <a:gd name="connsiteX473" fmla="*/ 8899 w 10746"/>
                <a:gd name="connsiteY473" fmla="*/ 6162 h 10000"/>
                <a:gd name="connsiteX474" fmla="*/ 8885 w 10746"/>
                <a:gd name="connsiteY474" fmla="*/ 6171 h 10000"/>
                <a:gd name="connsiteX475" fmla="*/ 8866 w 10746"/>
                <a:gd name="connsiteY475" fmla="*/ 6214 h 10000"/>
                <a:gd name="connsiteX476" fmla="*/ 8853 w 10746"/>
                <a:gd name="connsiteY476" fmla="*/ 6214 h 10000"/>
                <a:gd name="connsiteX477" fmla="*/ 8816 w 10746"/>
                <a:gd name="connsiteY477" fmla="*/ 6248 h 10000"/>
                <a:gd name="connsiteX478" fmla="*/ 8816 w 10746"/>
                <a:gd name="connsiteY478" fmla="*/ 6248 h 10000"/>
                <a:gd name="connsiteX479" fmla="*/ 8816 w 10746"/>
                <a:gd name="connsiteY479" fmla="*/ 6282 h 10000"/>
                <a:gd name="connsiteX480" fmla="*/ 8811 w 10746"/>
                <a:gd name="connsiteY480" fmla="*/ 6308 h 10000"/>
                <a:gd name="connsiteX481" fmla="*/ 8751 w 10746"/>
                <a:gd name="connsiteY481" fmla="*/ 6436 h 10000"/>
                <a:gd name="connsiteX482" fmla="*/ 8724 w 10746"/>
                <a:gd name="connsiteY482" fmla="*/ 6470 h 10000"/>
                <a:gd name="connsiteX483" fmla="*/ 8710 w 10746"/>
                <a:gd name="connsiteY483" fmla="*/ 6504 h 10000"/>
                <a:gd name="connsiteX484" fmla="*/ 8705 w 10746"/>
                <a:gd name="connsiteY484" fmla="*/ 6521 h 10000"/>
                <a:gd name="connsiteX485" fmla="*/ 8677 w 10746"/>
                <a:gd name="connsiteY485" fmla="*/ 6573 h 10000"/>
                <a:gd name="connsiteX486" fmla="*/ 8677 w 10746"/>
                <a:gd name="connsiteY486" fmla="*/ 6624 h 10000"/>
                <a:gd name="connsiteX487" fmla="*/ 8590 w 10746"/>
                <a:gd name="connsiteY487" fmla="*/ 6803 h 10000"/>
                <a:gd name="connsiteX488" fmla="*/ 8562 w 10746"/>
                <a:gd name="connsiteY488" fmla="*/ 6829 h 10000"/>
                <a:gd name="connsiteX489" fmla="*/ 8544 w 10746"/>
                <a:gd name="connsiteY489" fmla="*/ 6829 h 10000"/>
                <a:gd name="connsiteX490" fmla="*/ 8521 w 10746"/>
                <a:gd name="connsiteY490" fmla="*/ 6880 h 10000"/>
                <a:gd name="connsiteX491" fmla="*/ 8498 w 10746"/>
                <a:gd name="connsiteY491" fmla="*/ 6872 h 10000"/>
                <a:gd name="connsiteX492" fmla="*/ 8488 w 10746"/>
                <a:gd name="connsiteY492" fmla="*/ 6872 h 10000"/>
                <a:gd name="connsiteX493" fmla="*/ 8498 w 10746"/>
                <a:gd name="connsiteY493" fmla="*/ 6940 h 10000"/>
                <a:gd name="connsiteX494" fmla="*/ 8484 w 10746"/>
                <a:gd name="connsiteY494" fmla="*/ 7026 h 10000"/>
                <a:gd name="connsiteX495" fmla="*/ 8429 w 10746"/>
                <a:gd name="connsiteY495" fmla="*/ 7094 h 10000"/>
                <a:gd name="connsiteX496" fmla="*/ 8401 w 10746"/>
                <a:gd name="connsiteY496" fmla="*/ 7291 h 10000"/>
                <a:gd name="connsiteX497" fmla="*/ 8424 w 10746"/>
                <a:gd name="connsiteY497" fmla="*/ 7692 h 10000"/>
                <a:gd name="connsiteX498" fmla="*/ 8424 w 10746"/>
                <a:gd name="connsiteY498" fmla="*/ 7701 h 10000"/>
                <a:gd name="connsiteX499" fmla="*/ 8484 w 10746"/>
                <a:gd name="connsiteY499" fmla="*/ 8308 h 10000"/>
                <a:gd name="connsiteX500" fmla="*/ 8576 w 10746"/>
                <a:gd name="connsiteY500" fmla="*/ 8120 h 10000"/>
                <a:gd name="connsiteX501" fmla="*/ 8590 w 10746"/>
                <a:gd name="connsiteY501" fmla="*/ 8026 h 10000"/>
                <a:gd name="connsiteX502" fmla="*/ 8590 w 10746"/>
                <a:gd name="connsiteY502" fmla="*/ 7983 h 10000"/>
                <a:gd name="connsiteX503" fmla="*/ 8594 w 10746"/>
                <a:gd name="connsiteY503" fmla="*/ 7974 h 10000"/>
                <a:gd name="connsiteX504" fmla="*/ 8594 w 10746"/>
                <a:gd name="connsiteY504" fmla="*/ 7940 h 10000"/>
                <a:gd name="connsiteX505" fmla="*/ 8594 w 10746"/>
                <a:gd name="connsiteY505" fmla="*/ 7923 h 10000"/>
                <a:gd name="connsiteX506" fmla="*/ 8594 w 10746"/>
                <a:gd name="connsiteY506" fmla="*/ 7915 h 10000"/>
                <a:gd name="connsiteX507" fmla="*/ 8604 w 10746"/>
                <a:gd name="connsiteY507" fmla="*/ 7915 h 10000"/>
                <a:gd name="connsiteX508" fmla="*/ 8608 w 10746"/>
                <a:gd name="connsiteY508" fmla="*/ 7923 h 10000"/>
                <a:gd name="connsiteX509" fmla="*/ 8645 w 10746"/>
                <a:gd name="connsiteY509" fmla="*/ 7872 h 10000"/>
                <a:gd name="connsiteX510" fmla="*/ 8668 w 10746"/>
                <a:gd name="connsiteY510" fmla="*/ 7846 h 10000"/>
                <a:gd name="connsiteX511" fmla="*/ 8691 w 10746"/>
                <a:gd name="connsiteY511" fmla="*/ 7863 h 10000"/>
                <a:gd name="connsiteX512" fmla="*/ 8691 w 10746"/>
                <a:gd name="connsiteY512" fmla="*/ 7846 h 10000"/>
                <a:gd name="connsiteX513" fmla="*/ 8682 w 10746"/>
                <a:gd name="connsiteY513" fmla="*/ 7838 h 10000"/>
                <a:gd name="connsiteX514" fmla="*/ 8682 w 10746"/>
                <a:gd name="connsiteY514" fmla="*/ 7692 h 10000"/>
                <a:gd name="connsiteX515" fmla="*/ 8728 w 10746"/>
                <a:gd name="connsiteY515" fmla="*/ 7598 h 10000"/>
                <a:gd name="connsiteX516" fmla="*/ 8751 w 10746"/>
                <a:gd name="connsiteY516" fmla="*/ 7573 h 10000"/>
                <a:gd name="connsiteX517" fmla="*/ 8770 w 10746"/>
                <a:gd name="connsiteY517" fmla="*/ 7573 h 10000"/>
                <a:gd name="connsiteX518" fmla="*/ 8779 w 10746"/>
                <a:gd name="connsiteY518" fmla="*/ 7590 h 10000"/>
                <a:gd name="connsiteX519" fmla="*/ 8793 w 10746"/>
                <a:gd name="connsiteY519" fmla="*/ 7590 h 10000"/>
                <a:gd name="connsiteX520" fmla="*/ 8811 w 10746"/>
                <a:gd name="connsiteY520" fmla="*/ 7590 h 10000"/>
                <a:gd name="connsiteX521" fmla="*/ 8825 w 10746"/>
                <a:gd name="connsiteY521" fmla="*/ 7556 h 10000"/>
                <a:gd name="connsiteX522" fmla="*/ 8829 w 10746"/>
                <a:gd name="connsiteY522" fmla="*/ 7530 h 10000"/>
                <a:gd name="connsiteX523" fmla="*/ 8802 w 10746"/>
                <a:gd name="connsiteY523" fmla="*/ 7462 h 10000"/>
                <a:gd name="connsiteX524" fmla="*/ 8797 w 10746"/>
                <a:gd name="connsiteY524" fmla="*/ 7402 h 10000"/>
                <a:gd name="connsiteX525" fmla="*/ 8816 w 10746"/>
                <a:gd name="connsiteY525" fmla="*/ 7291 h 10000"/>
                <a:gd name="connsiteX526" fmla="*/ 8825 w 10746"/>
                <a:gd name="connsiteY526" fmla="*/ 7256 h 10000"/>
                <a:gd name="connsiteX527" fmla="*/ 8843 w 10746"/>
                <a:gd name="connsiteY527" fmla="*/ 7231 h 10000"/>
                <a:gd name="connsiteX528" fmla="*/ 8839 w 10746"/>
                <a:gd name="connsiteY528" fmla="*/ 7205 h 10000"/>
                <a:gd name="connsiteX529" fmla="*/ 8839 w 10746"/>
                <a:gd name="connsiteY529" fmla="*/ 7188 h 10000"/>
                <a:gd name="connsiteX530" fmla="*/ 8876 w 10746"/>
                <a:gd name="connsiteY530" fmla="*/ 7162 h 10000"/>
                <a:gd name="connsiteX531" fmla="*/ 8885 w 10746"/>
                <a:gd name="connsiteY531" fmla="*/ 7154 h 10000"/>
                <a:gd name="connsiteX532" fmla="*/ 8885 w 10746"/>
                <a:gd name="connsiteY532" fmla="*/ 7162 h 10000"/>
                <a:gd name="connsiteX533" fmla="*/ 8876 w 10746"/>
                <a:gd name="connsiteY533" fmla="*/ 7188 h 10000"/>
                <a:gd name="connsiteX534" fmla="*/ 8871 w 10746"/>
                <a:gd name="connsiteY534" fmla="*/ 7205 h 10000"/>
                <a:gd name="connsiteX535" fmla="*/ 8866 w 10746"/>
                <a:gd name="connsiteY535" fmla="*/ 7214 h 10000"/>
                <a:gd name="connsiteX536" fmla="*/ 8876 w 10746"/>
                <a:gd name="connsiteY536" fmla="*/ 7265 h 10000"/>
                <a:gd name="connsiteX537" fmla="*/ 8885 w 10746"/>
                <a:gd name="connsiteY537" fmla="*/ 7282 h 10000"/>
                <a:gd name="connsiteX538" fmla="*/ 8889 w 10746"/>
                <a:gd name="connsiteY538" fmla="*/ 7282 h 10000"/>
                <a:gd name="connsiteX539" fmla="*/ 8903 w 10746"/>
                <a:gd name="connsiteY539" fmla="*/ 7239 h 10000"/>
                <a:gd name="connsiteX540" fmla="*/ 8903 w 10746"/>
                <a:gd name="connsiteY540" fmla="*/ 7214 h 10000"/>
                <a:gd name="connsiteX541" fmla="*/ 8899 w 10746"/>
                <a:gd name="connsiteY541" fmla="*/ 7128 h 10000"/>
                <a:gd name="connsiteX542" fmla="*/ 8889 w 10746"/>
                <a:gd name="connsiteY542" fmla="*/ 7120 h 10000"/>
                <a:gd name="connsiteX543" fmla="*/ 8871 w 10746"/>
                <a:gd name="connsiteY543" fmla="*/ 7120 h 10000"/>
                <a:gd name="connsiteX544" fmla="*/ 8871 w 10746"/>
                <a:gd name="connsiteY544" fmla="*/ 7120 h 10000"/>
                <a:gd name="connsiteX545" fmla="*/ 8871 w 10746"/>
                <a:gd name="connsiteY545" fmla="*/ 6991 h 10000"/>
                <a:gd name="connsiteX546" fmla="*/ 8871 w 10746"/>
                <a:gd name="connsiteY546" fmla="*/ 6966 h 10000"/>
                <a:gd name="connsiteX547" fmla="*/ 8889 w 10746"/>
                <a:gd name="connsiteY547" fmla="*/ 6940 h 10000"/>
                <a:gd name="connsiteX548" fmla="*/ 8903 w 10746"/>
                <a:gd name="connsiteY548" fmla="*/ 6906 h 10000"/>
                <a:gd name="connsiteX549" fmla="*/ 8899 w 10746"/>
                <a:gd name="connsiteY549" fmla="*/ 6880 h 10000"/>
                <a:gd name="connsiteX550" fmla="*/ 8866 w 10746"/>
                <a:gd name="connsiteY550" fmla="*/ 6846 h 10000"/>
                <a:gd name="connsiteX551" fmla="*/ 8853 w 10746"/>
                <a:gd name="connsiteY551" fmla="*/ 6846 h 10000"/>
                <a:gd name="connsiteX552" fmla="*/ 8843 w 10746"/>
                <a:gd name="connsiteY552" fmla="*/ 6880 h 10000"/>
                <a:gd name="connsiteX553" fmla="*/ 8843 w 10746"/>
                <a:gd name="connsiteY553" fmla="*/ 6897 h 10000"/>
                <a:gd name="connsiteX554" fmla="*/ 8829 w 10746"/>
                <a:gd name="connsiteY554" fmla="*/ 6880 h 10000"/>
                <a:gd name="connsiteX555" fmla="*/ 8825 w 10746"/>
                <a:gd name="connsiteY555" fmla="*/ 6872 h 10000"/>
                <a:gd name="connsiteX556" fmla="*/ 8816 w 10746"/>
                <a:gd name="connsiteY556" fmla="*/ 6846 h 10000"/>
                <a:gd name="connsiteX557" fmla="*/ 8816 w 10746"/>
                <a:gd name="connsiteY557" fmla="*/ 6803 h 10000"/>
                <a:gd name="connsiteX558" fmla="*/ 8876 w 10746"/>
                <a:gd name="connsiteY558" fmla="*/ 6598 h 10000"/>
                <a:gd name="connsiteX559" fmla="*/ 8876 w 10746"/>
                <a:gd name="connsiteY559" fmla="*/ 6573 h 10000"/>
                <a:gd name="connsiteX560" fmla="*/ 8885 w 10746"/>
                <a:gd name="connsiteY560" fmla="*/ 6556 h 10000"/>
                <a:gd name="connsiteX561" fmla="*/ 8899 w 10746"/>
                <a:gd name="connsiteY561" fmla="*/ 6573 h 10000"/>
                <a:gd name="connsiteX562" fmla="*/ 8889 w 10746"/>
                <a:gd name="connsiteY562" fmla="*/ 6556 h 10000"/>
                <a:gd name="connsiteX563" fmla="*/ 8889 w 10746"/>
                <a:gd name="connsiteY563" fmla="*/ 6530 h 10000"/>
                <a:gd name="connsiteX564" fmla="*/ 8903 w 10746"/>
                <a:gd name="connsiteY564" fmla="*/ 6521 h 10000"/>
                <a:gd name="connsiteX565" fmla="*/ 8903 w 10746"/>
                <a:gd name="connsiteY565" fmla="*/ 6504 h 10000"/>
                <a:gd name="connsiteX566" fmla="*/ 8903 w 10746"/>
                <a:gd name="connsiteY566" fmla="*/ 6487 h 10000"/>
                <a:gd name="connsiteX567" fmla="*/ 8903 w 10746"/>
                <a:gd name="connsiteY567" fmla="*/ 6462 h 10000"/>
                <a:gd name="connsiteX568" fmla="*/ 8912 w 10746"/>
                <a:gd name="connsiteY568" fmla="*/ 6419 h 10000"/>
                <a:gd name="connsiteX569" fmla="*/ 8917 w 10746"/>
                <a:gd name="connsiteY569" fmla="*/ 6393 h 10000"/>
                <a:gd name="connsiteX570" fmla="*/ 8926 w 10746"/>
                <a:gd name="connsiteY570" fmla="*/ 6385 h 10000"/>
                <a:gd name="connsiteX571" fmla="*/ 8931 w 10746"/>
                <a:gd name="connsiteY571" fmla="*/ 6385 h 10000"/>
                <a:gd name="connsiteX572" fmla="*/ 8949 w 10746"/>
                <a:gd name="connsiteY572" fmla="*/ 6359 h 10000"/>
                <a:gd name="connsiteX573" fmla="*/ 8959 w 10746"/>
                <a:gd name="connsiteY573" fmla="*/ 6368 h 10000"/>
                <a:gd name="connsiteX574" fmla="*/ 8963 w 10746"/>
                <a:gd name="connsiteY574" fmla="*/ 6385 h 10000"/>
                <a:gd name="connsiteX575" fmla="*/ 8972 w 10746"/>
                <a:gd name="connsiteY575" fmla="*/ 6359 h 10000"/>
                <a:gd name="connsiteX576" fmla="*/ 8991 w 10746"/>
                <a:gd name="connsiteY576" fmla="*/ 6350 h 10000"/>
                <a:gd name="connsiteX577" fmla="*/ 9000 w 10746"/>
                <a:gd name="connsiteY577" fmla="*/ 6368 h 10000"/>
                <a:gd name="connsiteX578" fmla="*/ 9005 w 10746"/>
                <a:gd name="connsiteY578" fmla="*/ 6393 h 10000"/>
                <a:gd name="connsiteX579" fmla="*/ 9018 w 10746"/>
                <a:gd name="connsiteY579" fmla="*/ 6393 h 10000"/>
                <a:gd name="connsiteX580" fmla="*/ 9023 w 10746"/>
                <a:gd name="connsiteY580" fmla="*/ 6359 h 10000"/>
                <a:gd name="connsiteX581" fmla="*/ 9023 w 10746"/>
                <a:gd name="connsiteY581" fmla="*/ 6333 h 10000"/>
                <a:gd name="connsiteX582" fmla="*/ 9037 w 10746"/>
                <a:gd name="connsiteY582" fmla="*/ 6308 h 10000"/>
                <a:gd name="connsiteX583" fmla="*/ 9074 w 10746"/>
                <a:gd name="connsiteY583" fmla="*/ 6274 h 10000"/>
                <a:gd name="connsiteX584" fmla="*/ 9092 w 10746"/>
                <a:gd name="connsiteY584" fmla="*/ 6222 h 10000"/>
                <a:gd name="connsiteX585" fmla="*/ 9097 w 10746"/>
                <a:gd name="connsiteY585" fmla="*/ 6231 h 10000"/>
                <a:gd name="connsiteX586" fmla="*/ 9097 w 10746"/>
                <a:gd name="connsiteY586" fmla="*/ 6248 h 10000"/>
                <a:gd name="connsiteX587" fmla="*/ 9097 w 10746"/>
                <a:gd name="connsiteY587" fmla="*/ 6274 h 10000"/>
                <a:gd name="connsiteX588" fmla="*/ 9097 w 10746"/>
                <a:gd name="connsiteY588" fmla="*/ 6308 h 10000"/>
                <a:gd name="connsiteX589" fmla="*/ 9092 w 10746"/>
                <a:gd name="connsiteY589" fmla="*/ 6368 h 10000"/>
                <a:gd name="connsiteX590" fmla="*/ 9092 w 10746"/>
                <a:gd name="connsiteY590" fmla="*/ 6385 h 10000"/>
                <a:gd name="connsiteX591" fmla="*/ 9092 w 10746"/>
                <a:gd name="connsiteY591" fmla="*/ 6393 h 10000"/>
                <a:gd name="connsiteX592" fmla="*/ 9092 w 10746"/>
                <a:gd name="connsiteY592" fmla="*/ 6393 h 10000"/>
                <a:gd name="connsiteX593" fmla="*/ 9143 w 10746"/>
                <a:gd name="connsiteY593" fmla="*/ 6299 h 10000"/>
                <a:gd name="connsiteX594" fmla="*/ 9143 w 10746"/>
                <a:gd name="connsiteY594" fmla="*/ 6282 h 10000"/>
                <a:gd name="connsiteX595" fmla="*/ 9143 w 10746"/>
                <a:gd name="connsiteY595" fmla="*/ 6256 h 10000"/>
                <a:gd name="connsiteX596" fmla="*/ 9143 w 10746"/>
                <a:gd name="connsiteY596" fmla="*/ 6256 h 10000"/>
                <a:gd name="connsiteX597" fmla="*/ 9157 w 10746"/>
                <a:gd name="connsiteY597" fmla="*/ 6274 h 10000"/>
                <a:gd name="connsiteX598" fmla="*/ 9166 w 10746"/>
                <a:gd name="connsiteY598" fmla="*/ 6248 h 10000"/>
                <a:gd name="connsiteX599" fmla="*/ 9180 w 10746"/>
                <a:gd name="connsiteY599" fmla="*/ 6248 h 10000"/>
                <a:gd name="connsiteX600" fmla="*/ 9198 w 10746"/>
                <a:gd name="connsiteY600" fmla="*/ 6222 h 10000"/>
                <a:gd name="connsiteX601" fmla="*/ 9212 w 10746"/>
                <a:gd name="connsiteY601" fmla="*/ 6222 h 10000"/>
                <a:gd name="connsiteX602" fmla="*/ 9226 w 10746"/>
                <a:gd name="connsiteY602" fmla="*/ 6197 h 10000"/>
                <a:gd name="connsiteX603" fmla="*/ 9230 w 10746"/>
                <a:gd name="connsiteY603" fmla="*/ 6214 h 10000"/>
                <a:gd name="connsiteX604" fmla="*/ 9272 w 10746"/>
                <a:gd name="connsiteY604" fmla="*/ 6214 h 10000"/>
                <a:gd name="connsiteX605" fmla="*/ 9304 w 10746"/>
                <a:gd name="connsiteY605" fmla="*/ 6231 h 10000"/>
                <a:gd name="connsiteX606" fmla="*/ 9318 w 10746"/>
                <a:gd name="connsiteY606" fmla="*/ 6248 h 10000"/>
                <a:gd name="connsiteX607" fmla="*/ 9327 w 10746"/>
                <a:gd name="connsiteY607" fmla="*/ 6282 h 10000"/>
                <a:gd name="connsiteX608" fmla="*/ 9355 w 10746"/>
                <a:gd name="connsiteY608" fmla="*/ 6350 h 10000"/>
                <a:gd name="connsiteX609" fmla="*/ 9355 w 10746"/>
                <a:gd name="connsiteY609" fmla="*/ 6359 h 10000"/>
                <a:gd name="connsiteX610" fmla="*/ 9364 w 10746"/>
                <a:gd name="connsiteY610" fmla="*/ 6368 h 10000"/>
                <a:gd name="connsiteX611" fmla="*/ 9373 w 10746"/>
                <a:gd name="connsiteY611" fmla="*/ 6359 h 10000"/>
                <a:gd name="connsiteX612" fmla="*/ 9373 w 10746"/>
                <a:gd name="connsiteY612" fmla="*/ 6325 h 10000"/>
                <a:gd name="connsiteX613" fmla="*/ 9387 w 10746"/>
                <a:gd name="connsiteY613" fmla="*/ 6256 h 10000"/>
                <a:gd name="connsiteX614" fmla="*/ 9387 w 10746"/>
                <a:gd name="connsiteY614" fmla="*/ 6248 h 10000"/>
                <a:gd name="connsiteX615" fmla="*/ 9378 w 10746"/>
                <a:gd name="connsiteY615" fmla="*/ 6248 h 10000"/>
                <a:gd name="connsiteX616" fmla="*/ 9406 w 10746"/>
                <a:gd name="connsiteY616" fmla="*/ 6222 h 10000"/>
                <a:gd name="connsiteX617" fmla="*/ 9415 w 10746"/>
                <a:gd name="connsiteY617" fmla="*/ 6222 h 10000"/>
                <a:gd name="connsiteX618" fmla="*/ 9415 w 10746"/>
                <a:gd name="connsiteY618" fmla="*/ 6197 h 10000"/>
                <a:gd name="connsiteX619" fmla="*/ 9419 w 10746"/>
                <a:gd name="connsiteY619" fmla="*/ 6214 h 10000"/>
                <a:gd name="connsiteX620" fmla="*/ 9424 w 10746"/>
                <a:gd name="connsiteY620" fmla="*/ 6214 h 10000"/>
                <a:gd name="connsiteX621" fmla="*/ 9447 w 10746"/>
                <a:gd name="connsiteY621" fmla="*/ 6171 h 10000"/>
                <a:gd name="connsiteX622" fmla="*/ 9452 w 10746"/>
                <a:gd name="connsiteY622" fmla="*/ 6171 h 10000"/>
                <a:gd name="connsiteX623" fmla="*/ 9452 w 10746"/>
                <a:gd name="connsiteY623" fmla="*/ 6162 h 10000"/>
                <a:gd name="connsiteX624" fmla="*/ 9461 w 10746"/>
                <a:gd name="connsiteY624" fmla="*/ 6137 h 10000"/>
                <a:gd name="connsiteX625" fmla="*/ 9475 w 10746"/>
                <a:gd name="connsiteY625" fmla="*/ 6137 h 10000"/>
                <a:gd name="connsiteX626" fmla="*/ 9475 w 10746"/>
                <a:gd name="connsiteY626" fmla="*/ 6137 h 10000"/>
                <a:gd name="connsiteX627" fmla="*/ 9479 w 10746"/>
                <a:gd name="connsiteY627" fmla="*/ 6120 h 10000"/>
                <a:gd name="connsiteX628" fmla="*/ 9488 w 10746"/>
                <a:gd name="connsiteY628" fmla="*/ 6120 h 10000"/>
                <a:gd name="connsiteX629" fmla="*/ 9488 w 10746"/>
                <a:gd name="connsiteY629" fmla="*/ 6111 h 10000"/>
                <a:gd name="connsiteX630" fmla="*/ 9479 w 10746"/>
                <a:gd name="connsiteY630" fmla="*/ 6103 h 10000"/>
                <a:gd name="connsiteX631" fmla="*/ 9479 w 10746"/>
                <a:gd name="connsiteY631" fmla="*/ 6085 h 10000"/>
                <a:gd name="connsiteX632" fmla="*/ 9488 w 10746"/>
                <a:gd name="connsiteY632" fmla="*/ 6103 h 10000"/>
                <a:gd name="connsiteX633" fmla="*/ 9493 w 10746"/>
                <a:gd name="connsiteY633" fmla="*/ 6111 h 10000"/>
                <a:gd name="connsiteX634" fmla="*/ 9498 w 10746"/>
                <a:gd name="connsiteY634" fmla="*/ 6103 h 10000"/>
                <a:gd name="connsiteX635" fmla="*/ 9507 w 10746"/>
                <a:gd name="connsiteY635" fmla="*/ 6077 h 10000"/>
                <a:gd name="connsiteX636" fmla="*/ 9498 w 10746"/>
                <a:gd name="connsiteY636" fmla="*/ 6060 h 10000"/>
                <a:gd name="connsiteX637" fmla="*/ 9512 w 10746"/>
                <a:gd name="connsiteY637" fmla="*/ 6060 h 10000"/>
                <a:gd name="connsiteX638" fmla="*/ 9525 w 10746"/>
                <a:gd name="connsiteY638" fmla="*/ 6034 h 10000"/>
                <a:gd name="connsiteX639" fmla="*/ 9535 w 10746"/>
                <a:gd name="connsiteY639" fmla="*/ 6034 h 10000"/>
                <a:gd name="connsiteX640" fmla="*/ 9535 w 10746"/>
                <a:gd name="connsiteY640" fmla="*/ 6026 h 10000"/>
                <a:gd name="connsiteX641" fmla="*/ 9525 w 10746"/>
                <a:gd name="connsiteY641" fmla="*/ 6009 h 10000"/>
                <a:gd name="connsiteX642" fmla="*/ 9535 w 10746"/>
                <a:gd name="connsiteY642" fmla="*/ 6000 h 10000"/>
                <a:gd name="connsiteX643" fmla="*/ 9539 w 10746"/>
                <a:gd name="connsiteY643" fmla="*/ 6009 h 10000"/>
                <a:gd name="connsiteX644" fmla="*/ 9548 w 10746"/>
                <a:gd name="connsiteY644" fmla="*/ 6009 h 10000"/>
                <a:gd name="connsiteX645" fmla="*/ 9553 w 10746"/>
                <a:gd name="connsiteY645" fmla="*/ 6000 h 10000"/>
                <a:gd name="connsiteX646" fmla="*/ 9562 w 10746"/>
                <a:gd name="connsiteY646" fmla="*/ 5983 h 10000"/>
                <a:gd name="connsiteX647" fmla="*/ 9562 w 10746"/>
                <a:gd name="connsiteY647" fmla="*/ 5974 h 10000"/>
                <a:gd name="connsiteX648" fmla="*/ 9567 w 10746"/>
                <a:gd name="connsiteY648" fmla="*/ 5974 h 10000"/>
                <a:gd name="connsiteX649" fmla="*/ 9567 w 10746"/>
                <a:gd name="connsiteY649" fmla="*/ 5966 h 10000"/>
                <a:gd name="connsiteX650" fmla="*/ 9567 w 10746"/>
                <a:gd name="connsiteY650" fmla="*/ 5940 h 10000"/>
                <a:gd name="connsiteX651" fmla="*/ 9571 w 10746"/>
                <a:gd name="connsiteY651" fmla="*/ 5915 h 10000"/>
                <a:gd name="connsiteX652" fmla="*/ 9581 w 10746"/>
                <a:gd name="connsiteY652" fmla="*/ 5923 h 10000"/>
                <a:gd name="connsiteX653" fmla="*/ 9585 w 10746"/>
                <a:gd name="connsiteY653" fmla="*/ 5940 h 10000"/>
                <a:gd name="connsiteX654" fmla="*/ 9594 w 10746"/>
                <a:gd name="connsiteY654" fmla="*/ 5949 h 10000"/>
                <a:gd name="connsiteX655" fmla="*/ 9599 w 10746"/>
                <a:gd name="connsiteY655" fmla="*/ 5940 h 10000"/>
                <a:gd name="connsiteX656" fmla="*/ 9613 w 10746"/>
                <a:gd name="connsiteY656" fmla="*/ 5915 h 10000"/>
                <a:gd name="connsiteX657" fmla="*/ 9645 w 10746"/>
                <a:gd name="connsiteY657" fmla="*/ 5889 h 10000"/>
                <a:gd name="connsiteX658" fmla="*/ 9654 w 10746"/>
                <a:gd name="connsiteY658" fmla="*/ 5872 h 10000"/>
                <a:gd name="connsiteX659" fmla="*/ 9673 w 10746"/>
                <a:gd name="connsiteY659" fmla="*/ 5863 h 10000"/>
                <a:gd name="connsiteX660" fmla="*/ 9682 w 10746"/>
                <a:gd name="connsiteY660" fmla="*/ 5838 h 10000"/>
                <a:gd name="connsiteX661" fmla="*/ 9682 w 10746"/>
                <a:gd name="connsiteY661" fmla="*/ 5829 h 10000"/>
                <a:gd name="connsiteX662" fmla="*/ 9682 w 10746"/>
                <a:gd name="connsiteY662" fmla="*/ 5812 h 10000"/>
                <a:gd name="connsiteX663" fmla="*/ 9687 w 10746"/>
                <a:gd name="connsiteY663" fmla="*/ 5812 h 10000"/>
                <a:gd name="connsiteX664" fmla="*/ 9687 w 10746"/>
                <a:gd name="connsiteY664" fmla="*/ 5829 h 10000"/>
                <a:gd name="connsiteX665" fmla="*/ 9687 w 10746"/>
                <a:gd name="connsiteY665" fmla="*/ 5829 h 10000"/>
                <a:gd name="connsiteX666" fmla="*/ 9719 w 10746"/>
                <a:gd name="connsiteY666" fmla="*/ 5803 h 10000"/>
                <a:gd name="connsiteX667" fmla="*/ 9728 w 10746"/>
                <a:gd name="connsiteY667" fmla="*/ 5803 h 10000"/>
                <a:gd name="connsiteX668" fmla="*/ 9779 w 10746"/>
                <a:gd name="connsiteY668" fmla="*/ 5726 h 10000"/>
                <a:gd name="connsiteX669" fmla="*/ 9816 w 10746"/>
                <a:gd name="connsiteY669" fmla="*/ 5709 h 10000"/>
                <a:gd name="connsiteX670" fmla="*/ 9820 w 10746"/>
                <a:gd name="connsiteY670" fmla="*/ 5701 h 10000"/>
                <a:gd name="connsiteX671" fmla="*/ 9816 w 10746"/>
                <a:gd name="connsiteY671" fmla="*/ 5692 h 10000"/>
                <a:gd name="connsiteX672" fmla="*/ 9816 w 10746"/>
                <a:gd name="connsiteY672" fmla="*/ 5692 h 10000"/>
                <a:gd name="connsiteX673" fmla="*/ 9802 w 10746"/>
                <a:gd name="connsiteY673" fmla="*/ 5624 h 10000"/>
                <a:gd name="connsiteX674" fmla="*/ 9806 w 10746"/>
                <a:gd name="connsiteY674" fmla="*/ 5624 h 10000"/>
                <a:gd name="connsiteX675" fmla="*/ 9820 w 10746"/>
                <a:gd name="connsiteY675" fmla="*/ 5675 h 10000"/>
                <a:gd name="connsiteX676" fmla="*/ 9829 w 10746"/>
                <a:gd name="connsiteY676" fmla="*/ 5675 h 10000"/>
                <a:gd name="connsiteX677" fmla="*/ 9829 w 10746"/>
                <a:gd name="connsiteY677" fmla="*/ 5692 h 10000"/>
                <a:gd name="connsiteX678" fmla="*/ 9829 w 10746"/>
                <a:gd name="connsiteY678" fmla="*/ 5701 h 10000"/>
                <a:gd name="connsiteX679" fmla="*/ 9839 w 10746"/>
                <a:gd name="connsiteY679" fmla="*/ 5701 h 10000"/>
                <a:gd name="connsiteX680" fmla="*/ 9839 w 10746"/>
                <a:gd name="connsiteY680" fmla="*/ 5692 h 10000"/>
                <a:gd name="connsiteX681" fmla="*/ 9839 w 10746"/>
                <a:gd name="connsiteY681" fmla="*/ 5675 h 10000"/>
                <a:gd name="connsiteX682" fmla="*/ 9848 w 10746"/>
                <a:gd name="connsiteY682" fmla="*/ 5675 h 10000"/>
                <a:gd name="connsiteX683" fmla="*/ 9848 w 10746"/>
                <a:gd name="connsiteY683" fmla="*/ 5692 h 10000"/>
                <a:gd name="connsiteX684" fmla="*/ 9853 w 10746"/>
                <a:gd name="connsiteY684" fmla="*/ 5701 h 10000"/>
                <a:gd name="connsiteX685" fmla="*/ 9880 w 10746"/>
                <a:gd name="connsiteY685" fmla="*/ 5709 h 10000"/>
                <a:gd name="connsiteX686" fmla="*/ 9912 w 10746"/>
                <a:gd name="connsiteY686" fmla="*/ 5752 h 10000"/>
                <a:gd name="connsiteX687" fmla="*/ 9926 w 10746"/>
                <a:gd name="connsiteY687" fmla="*/ 5761 h 10000"/>
                <a:gd name="connsiteX688" fmla="*/ 9935 w 10746"/>
                <a:gd name="connsiteY688" fmla="*/ 5761 h 10000"/>
                <a:gd name="connsiteX689" fmla="*/ 9940 w 10746"/>
                <a:gd name="connsiteY689" fmla="*/ 5735 h 10000"/>
                <a:gd name="connsiteX690" fmla="*/ 9949 w 10746"/>
                <a:gd name="connsiteY690" fmla="*/ 5735 h 10000"/>
                <a:gd name="connsiteX691" fmla="*/ 9968 w 10746"/>
                <a:gd name="connsiteY691" fmla="*/ 5692 h 10000"/>
                <a:gd name="connsiteX692" fmla="*/ 9968 w 10746"/>
                <a:gd name="connsiteY692" fmla="*/ 5650 h 10000"/>
                <a:gd name="connsiteX693" fmla="*/ 9968 w 10746"/>
                <a:gd name="connsiteY693" fmla="*/ 5624 h 10000"/>
                <a:gd name="connsiteX694" fmla="*/ 9935 w 10746"/>
                <a:gd name="connsiteY694" fmla="*/ 5598 h 10000"/>
                <a:gd name="connsiteX695" fmla="*/ 9935 w 10746"/>
                <a:gd name="connsiteY695" fmla="*/ 5590 h 10000"/>
                <a:gd name="connsiteX696" fmla="*/ 9935 w 10746"/>
                <a:gd name="connsiteY696" fmla="*/ 5573 h 10000"/>
                <a:gd name="connsiteX697" fmla="*/ 9935 w 10746"/>
                <a:gd name="connsiteY697" fmla="*/ 5573 h 10000"/>
                <a:gd name="connsiteX698" fmla="*/ 9940 w 10746"/>
                <a:gd name="connsiteY698" fmla="*/ 5573 h 10000"/>
                <a:gd name="connsiteX699" fmla="*/ 9954 w 10746"/>
                <a:gd name="connsiteY699" fmla="*/ 5573 h 10000"/>
                <a:gd name="connsiteX700" fmla="*/ 9963 w 10746"/>
                <a:gd name="connsiteY700" fmla="*/ 5564 h 10000"/>
                <a:gd name="connsiteX701" fmla="*/ 9954 w 10746"/>
                <a:gd name="connsiteY701" fmla="*/ 5530 h 10000"/>
                <a:gd name="connsiteX702" fmla="*/ 9949 w 10746"/>
                <a:gd name="connsiteY702" fmla="*/ 5530 h 10000"/>
                <a:gd name="connsiteX703" fmla="*/ 9926 w 10746"/>
                <a:gd name="connsiteY703" fmla="*/ 5479 h 10000"/>
                <a:gd name="connsiteX704" fmla="*/ 9912 w 10746"/>
                <a:gd name="connsiteY704" fmla="*/ 5325 h 10000"/>
                <a:gd name="connsiteX705" fmla="*/ 9903 w 10746"/>
                <a:gd name="connsiteY705" fmla="*/ 5342 h 10000"/>
                <a:gd name="connsiteX706" fmla="*/ 9889 w 10746"/>
                <a:gd name="connsiteY706" fmla="*/ 5316 h 10000"/>
                <a:gd name="connsiteX707" fmla="*/ 9889 w 10746"/>
                <a:gd name="connsiteY707" fmla="*/ 5291 h 10000"/>
                <a:gd name="connsiteX708" fmla="*/ 9903 w 10746"/>
                <a:gd name="connsiteY708" fmla="*/ 5291 h 10000"/>
                <a:gd name="connsiteX709" fmla="*/ 9903 w 10746"/>
                <a:gd name="connsiteY709" fmla="*/ 5291 h 10000"/>
                <a:gd name="connsiteX710" fmla="*/ 9894 w 10746"/>
                <a:gd name="connsiteY710" fmla="*/ 5214 h 10000"/>
                <a:gd name="connsiteX711" fmla="*/ 9880 w 10746"/>
                <a:gd name="connsiteY711" fmla="*/ 5239 h 10000"/>
                <a:gd name="connsiteX712" fmla="*/ 9876 w 10746"/>
                <a:gd name="connsiteY712" fmla="*/ 5256 h 10000"/>
                <a:gd name="connsiteX713" fmla="*/ 9862 w 10746"/>
                <a:gd name="connsiteY713" fmla="*/ 5239 h 10000"/>
                <a:gd name="connsiteX714" fmla="*/ 9853 w 10746"/>
                <a:gd name="connsiteY714" fmla="*/ 5214 h 10000"/>
                <a:gd name="connsiteX715" fmla="*/ 9839 w 10746"/>
                <a:gd name="connsiteY715" fmla="*/ 5214 h 10000"/>
                <a:gd name="connsiteX716" fmla="*/ 9834 w 10746"/>
                <a:gd name="connsiteY716" fmla="*/ 5188 h 10000"/>
                <a:gd name="connsiteX717" fmla="*/ 9834 w 10746"/>
                <a:gd name="connsiteY717" fmla="*/ 5103 h 10000"/>
                <a:gd name="connsiteX718" fmla="*/ 9839 w 10746"/>
                <a:gd name="connsiteY718" fmla="*/ 5094 h 10000"/>
                <a:gd name="connsiteX719" fmla="*/ 9853 w 10746"/>
                <a:gd name="connsiteY719" fmla="*/ 5103 h 10000"/>
                <a:gd name="connsiteX720" fmla="*/ 9876 w 10746"/>
                <a:gd name="connsiteY720" fmla="*/ 5128 h 10000"/>
                <a:gd name="connsiteX721" fmla="*/ 9889 w 10746"/>
                <a:gd name="connsiteY721" fmla="*/ 5103 h 10000"/>
                <a:gd name="connsiteX722" fmla="*/ 9880 w 10746"/>
                <a:gd name="connsiteY722" fmla="*/ 5120 h 10000"/>
                <a:gd name="connsiteX723" fmla="*/ 9889 w 10746"/>
                <a:gd name="connsiteY723" fmla="*/ 5128 h 10000"/>
                <a:gd name="connsiteX724" fmla="*/ 9912 w 10746"/>
                <a:gd name="connsiteY724" fmla="*/ 5128 h 10000"/>
                <a:gd name="connsiteX725" fmla="*/ 9908 w 10746"/>
                <a:gd name="connsiteY725" fmla="*/ 5145 h 10000"/>
                <a:gd name="connsiteX726" fmla="*/ 9908 w 10746"/>
                <a:gd name="connsiteY726" fmla="*/ 5154 h 10000"/>
                <a:gd name="connsiteX727" fmla="*/ 9922 w 10746"/>
                <a:gd name="connsiteY727" fmla="*/ 5128 h 10000"/>
                <a:gd name="connsiteX728" fmla="*/ 9935 w 10746"/>
                <a:gd name="connsiteY728" fmla="*/ 5103 h 10000"/>
                <a:gd name="connsiteX729" fmla="*/ 9968 w 10746"/>
                <a:gd name="connsiteY729" fmla="*/ 5077 h 10000"/>
                <a:gd name="connsiteX730" fmla="*/ 10000 w 10746"/>
                <a:gd name="connsiteY730" fmla="*/ 5017 h 10000"/>
                <a:gd name="connsiteX731" fmla="*/ 10711 w 10746"/>
                <a:gd name="connsiteY731" fmla="*/ 4746 h 10000"/>
                <a:gd name="connsiteX732" fmla="*/ 10561 w 10746"/>
                <a:gd name="connsiteY732" fmla="*/ 4442 h 10000"/>
                <a:gd name="connsiteX733" fmla="*/ 10354 w 10746"/>
                <a:gd name="connsiteY733" fmla="*/ 4302 h 10000"/>
                <a:gd name="connsiteX734" fmla="*/ 9912 w 10746"/>
                <a:gd name="connsiteY734" fmla="*/ 3675 h 10000"/>
                <a:gd name="connsiteX735" fmla="*/ 9903 w 10746"/>
                <a:gd name="connsiteY735" fmla="*/ 3667 h 10000"/>
                <a:gd name="connsiteX736" fmla="*/ 9894 w 10746"/>
                <a:gd name="connsiteY736" fmla="*/ 3641 h 10000"/>
                <a:gd name="connsiteX737" fmla="*/ 9889 w 10746"/>
                <a:gd name="connsiteY737" fmla="*/ 3650 h 10000"/>
                <a:gd name="connsiteX738" fmla="*/ 9848 w 10746"/>
                <a:gd name="connsiteY738" fmla="*/ 3598 h 10000"/>
                <a:gd name="connsiteX739" fmla="*/ 9829 w 10746"/>
                <a:gd name="connsiteY739" fmla="*/ 3581 h 10000"/>
                <a:gd name="connsiteX740" fmla="*/ 9820 w 10746"/>
                <a:gd name="connsiteY740" fmla="*/ 3581 h 10000"/>
                <a:gd name="connsiteX741" fmla="*/ 9793 w 10746"/>
                <a:gd name="connsiteY741" fmla="*/ 3556 h 10000"/>
                <a:gd name="connsiteX742" fmla="*/ 9779 w 10746"/>
                <a:gd name="connsiteY742" fmla="*/ 3556 h 10000"/>
                <a:gd name="connsiteX743" fmla="*/ 9747 w 10746"/>
                <a:gd name="connsiteY743" fmla="*/ 3487 h 10000"/>
                <a:gd name="connsiteX744" fmla="*/ 9668 w 10746"/>
                <a:gd name="connsiteY744" fmla="*/ 3479 h 10000"/>
                <a:gd name="connsiteX745" fmla="*/ 9659 w 10746"/>
                <a:gd name="connsiteY745" fmla="*/ 3487 h 10000"/>
                <a:gd name="connsiteX746" fmla="*/ 9645 w 10746"/>
                <a:gd name="connsiteY746" fmla="*/ 3504 h 10000"/>
                <a:gd name="connsiteX747" fmla="*/ 9631 w 10746"/>
                <a:gd name="connsiteY747" fmla="*/ 3487 h 10000"/>
                <a:gd name="connsiteX748" fmla="*/ 9613 w 10746"/>
                <a:gd name="connsiteY748" fmla="*/ 3479 h 10000"/>
                <a:gd name="connsiteX749" fmla="*/ 9599 w 10746"/>
                <a:gd name="connsiteY749" fmla="*/ 3479 h 10000"/>
                <a:gd name="connsiteX750" fmla="*/ 9571 w 10746"/>
                <a:gd name="connsiteY750" fmla="*/ 3479 h 10000"/>
                <a:gd name="connsiteX751" fmla="*/ 9562 w 10746"/>
                <a:gd name="connsiteY751" fmla="*/ 3487 h 10000"/>
                <a:gd name="connsiteX752" fmla="*/ 9539 w 10746"/>
                <a:gd name="connsiteY752" fmla="*/ 3487 h 10000"/>
                <a:gd name="connsiteX753" fmla="*/ 9507 w 10746"/>
                <a:gd name="connsiteY753" fmla="*/ 3453 h 10000"/>
                <a:gd name="connsiteX754" fmla="*/ 9498 w 10746"/>
                <a:gd name="connsiteY754" fmla="*/ 3453 h 10000"/>
                <a:gd name="connsiteX755" fmla="*/ 9387 w 10746"/>
                <a:gd name="connsiteY755" fmla="*/ 3419 h 10000"/>
                <a:gd name="connsiteX756" fmla="*/ 9373 w 10746"/>
                <a:gd name="connsiteY756" fmla="*/ 3427 h 10000"/>
                <a:gd name="connsiteX757" fmla="*/ 9373 w 10746"/>
                <a:gd name="connsiteY757" fmla="*/ 3462 h 10000"/>
                <a:gd name="connsiteX758" fmla="*/ 9378 w 10746"/>
                <a:gd name="connsiteY758" fmla="*/ 3479 h 10000"/>
                <a:gd name="connsiteX759" fmla="*/ 9378 w 10746"/>
                <a:gd name="connsiteY759" fmla="*/ 3530 h 10000"/>
                <a:gd name="connsiteX760" fmla="*/ 9355 w 10746"/>
                <a:gd name="connsiteY760" fmla="*/ 3538 h 10000"/>
                <a:gd name="connsiteX761" fmla="*/ 9355 w 10746"/>
                <a:gd name="connsiteY761" fmla="*/ 3581 h 10000"/>
                <a:gd name="connsiteX762" fmla="*/ 9387 w 10746"/>
                <a:gd name="connsiteY762" fmla="*/ 3590 h 10000"/>
                <a:gd name="connsiteX763" fmla="*/ 9401 w 10746"/>
                <a:gd name="connsiteY763" fmla="*/ 3667 h 10000"/>
                <a:gd name="connsiteX764" fmla="*/ 9406 w 10746"/>
                <a:gd name="connsiteY764" fmla="*/ 3675 h 10000"/>
                <a:gd name="connsiteX765" fmla="*/ 9406 w 10746"/>
                <a:gd name="connsiteY765" fmla="*/ 3701 h 10000"/>
                <a:gd name="connsiteX766" fmla="*/ 9415 w 10746"/>
                <a:gd name="connsiteY766" fmla="*/ 3752 h 10000"/>
                <a:gd name="connsiteX767" fmla="*/ 9373 w 10746"/>
                <a:gd name="connsiteY767" fmla="*/ 3838 h 10000"/>
                <a:gd name="connsiteX768" fmla="*/ 9355 w 10746"/>
                <a:gd name="connsiteY768" fmla="*/ 3863 h 10000"/>
                <a:gd name="connsiteX769" fmla="*/ 9327 w 10746"/>
                <a:gd name="connsiteY769" fmla="*/ 3863 h 10000"/>
                <a:gd name="connsiteX770" fmla="*/ 9313 w 10746"/>
                <a:gd name="connsiteY770" fmla="*/ 3846 h 10000"/>
                <a:gd name="connsiteX771" fmla="*/ 9300 w 10746"/>
                <a:gd name="connsiteY771" fmla="*/ 3778 h 10000"/>
                <a:gd name="connsiteX772" fmla="*/ 9281 w 10746"/>
                <a:gd name="connsiteY772" fmla="*/ 3752 h 10000"/>
                <a:gd name="connsiteX773" fmla="*/ 9281 w 10746"/>
                <a:gd name="connsiteY773" fmla="*/ 3735 h 10000"/>
                <a:gd name="connsiteX774" fmla="*/ 9267 w 10746"/>
                <a:gd name="connsiteY774" fmla="*/ 3726 h 10000"/>
                <a:gd name="connsiteX775" fmla="*/ 9240 w 10746"/>
                <a:gd name="connsiteY775" fmla="*/ 3726 h 10000"/>
                <a:gd name="connsiteX776" fmla="*/ 9230 w 10746"/>
                <a:gd name="connsiteY776" fmla="*/ 3718 h 10000"/>
                <a:gd name="connsiteX777" fmla="*/ 9226 w 10746"/>
                <a:gd name="connsiteY777" fmla="*/ 3590 h 10000"/>
                <a:gd name="connsiteX778" fmla="*/ 9207 w 10746"/>
                <a:gd name="connsiteY778" fmla="*/ 3581 h 10000"/>
                <a:gd name="connsiteX779" fmla="*/ 9207 w 10746"/>
                <a:gd name="connsiteY779" fmla="*/ 3556 h 10000"/>
                <a:gd name="connsiteX780" fmla="*/ 9217 w 10746"/>
                <a:gd name="connsiteY780" fmla="*/ 3538 h 10000"/>
                <a:gd name="connsiteX781" fmla="*/ 9212 w 10746"/>
                <a:gd name="connsiteY781" fmla="*/ 3538 h 10000"/>
                <a:gd name="connsiteX782" fmla="*/ 9198 w 10746"/>
                <a:gd name="connsiteY782" fmla="*/ 3513 h 10000"/>
                <a:gd name="connsiteX783" fmla="*/ 9194 w 10746"/>
                <a:gd name="connsiteY783" fmla="*/ 3530 h 10000"/>
                <a:gd name="connsiteX784" fmla="*/ 9143 w 10746"/>
                <a:gd name="connsiteY784" fmla="*/ 3615 h 10000"/>
                <a:gd name="connsiteX785" fmla="*/ 9138 w 10746"/>
                <a:gd name="connsiteY785" fmla="*/ 3615 h 10000"/>
                <a:gd name="connsiteX786" fmla="*/ 9134 w 10746"/>
                <a:gd name="connsiteY786" fmla="*/ 3615 h 10000"/>
                <a:gd name="connsiteX787" fmla="*/ 9106 w 10746"/>
                <a:gd name="connsiteY787" fmla="*/ 3615 h 10000"/>
                <a:gd name="connsiteX788" fmla="*/ 9078 w 10746"/>
                <a:gd name="connsiteY788" fmla="*/ 3590 h 10000"/>
                <a:gd name="connsiteX789" fmla="*/ 9037 w 10746"/>
                <a:gd name="connsiteY789" fmla="*/ 3581 h 10000"/>
                <a:gd name="connsiteX790" fmla="*/ 9023 w 10746"/>
                <a:gd name="connsiteY790" fmla="*/ 3590 h 10000"/>
                <a:gd name="connsiteX791" fmla="*/ 9018 w 10746"/>
                <a:gd name="connsiteY791" fmla="*/ 3590 h 10000"/>
                <a:gd name="connsiteX792" fmla="*/ 9018 w 10746"/>
                <a:gd name="connsiteY792" fmla="*/ 3590 h 10000"/>
                <a:gd name="connsiteX793" fmla="*/ 8991 w 10746"/>
                <a:gd name="connsiteY793" fmla="*/ 3590 h 10000"/>
                <a:gd name="connsiteX794" fmla="*/ 8972 w 10746"/>
                <a:gd name="connsiteY794" fmla="*/ 3581 h 10000"/>
                <a:gd name="connsiteX795" fmla="*/ 8959 w 10746"/>
                <a:gd name="connsiteY795" fmla="*/ 3513 h 10000"/>
                <a:gd name="connsiteX796" fmla="*/ 8931 w 10746"/>
                <a:gd name="connsiteY796" fmla="*/ 3538 h 10000"/>
                <a:gd name="connsiteX797" fmla="*/ 8889 w 10746"/>
                <a:gd name="connsiteY797" fmla="*/ 3538 h 10000"/>
                <a:gd name="connsiteX798" fmla="*/ 8871 w 10746"/>
                <a:gd name="connsiteY798" fmla="*/ 3556 h 10000"/>
                <a:gd name="connsiteX799" fmla="*/ 8857 w 10746"/>
                <a:gd name="connsiteY799" fmla="*/ 3538 h 10000"/>
                <a:gd name="connsiteX800" fmla="*/ 8843 w 10746"/>
                <a:gd name="connsiteY800" fmla="*/ 3538 h 10000"/>
                <a:gd name="connsiteX801" fmla="*/ 8839 w 10746"/>
                <a:gd name="connsiteY801" fmla="*/ 3556 h 10000"/>
                <a:gd name="connsiteX802" fmla="*/ 8839 w 10746"/>
                <a:gd name="connsiteY802" fmla="*/ 3581 h 10000"/>
                <a:gd name="connsiteX803" fmla="*/ 8825 w 10746"/>
                <a:gd name="connsiteY803" fmla="*/ 3564 h 10000"/>
                <a:gd name="connsiteX804" fmla="*/ 8825 w 10746"/>
                <a:gd name="connsiteY804" fmla="*/ 3615 h 10000"/>
                <a:gd name="connsiteX805" fmla="*/ 8802 w 10746"/>
                <a:gd name="connsiteY805" fmla="*/ 3598 h 10000"/>
                <a:gd name="connsiteX806" fmla="*/ 8797 w 10746"/>
                <a:gd name="connsiteY806" fmla="*/ 3641 h 10000"/>
                <a:gd name="connsiteX807" fmla="*/ 8783 w 10746"/>
                <a:gd name="connsiteY807" fmla="*/ 3667 h 10000"/>
                <a:gd name="connsiteX808" fmla="*/ 8779 w 10746"/>
                <a:gd name="connsiteY808" fmla="*/ 3650 h 10000"/>
                <a:gd name="connsiteX809" fmla="*/ 8779 w 10746"/>
                <a:gd name="connsiteY809" fmla="*/ 3615 h 10000"/>
                <a:gd name="connsiteX810" fmla="*/ 8770 w 10746"/>
                <a:gd name="connsiteY810" fmla="*/ 3590 h 10000"/>
                <a:gd name="connsiteX811" fmla="*/ 8765 w 10746"/>
                <a:gd name="connsiteY811" fmla="*/ 3598 h 10000"/>
                <a:gd name="connsiteX812" fmla="*/ 8756 w 10746"/>
                <a:gd name="connsiteY812" fmla="*/ 3590 h 10000"/>
                <a:gd name="connsiteX813" fmla="*/ 8737 w 10746"/>
                <a:gd name="connsiteY813" fmla="*/ 3556 h 10000"/>
                <a:gd name="connsiteX814" fmla="*/ 8724 w 10746"/>
                <a:gd name="connsiteY814" fmla="*/ 3538 h 10000"/>
                <a:gd name="connsiteX815" fmla="*/ 8696 w 10746"/>
                <a:gd name="connsiteY815" fmla="*/ 3538 h 10000"/>
                <a:gd name="connsiteX816" fmla="*/ 8691 w 10746"/>
                <a:gd name="connsiteY816" fmla="*/ 3513 h 10000"/>
                <a:gd name="connsiteX817" fmla="*/ 8668 w 10746"/>
                <a:gd name="connsiteY817" fmla="*/ 3504 h 10000"/>
                <a:gd name="connsiteX818" fmla="*/ 8668 w 10746"/>
                <a:gd name="connsiteY818" fmla="*/ 3487 h 10000"/>
                <a:gd name="connsiteX819" fmla="*/ 8691 w 10746"/>
                <a:gd name="connsiteY819" fmla="*/ 3350 h 10000"/>
                <a:gd name="connsiteX820" fmla="*/ 8691 w 10746"/>
                <a:gd name="connsiteY820" fmla="*/ 3291 h 10000"/>
                <a:gd name="connsiteX821" fmla="*/ 8677 w 10746"/>
                <a:gd name="connsiteY821" fmla="*/ 3239 h 10000"/>
                <a:gd name="connsiteX822" fmla="*/ 8677 w 10746"/>
                <a:gd name="connsiteY822" fmla="*/ 3231 h 10000"/>
                <a:gd name="connsiteX823" fmla="*/ 8636 w 10746"/>
                <a:gd name="connsiteY823" fmla="*/ 3128 h 10000"/>
                <a:gd name="connsiteX824" fmla="*/ 8622 w 10746"/>
                <a:gd name="connsiteY824" fmla="*/ 3120 h 10000"/>
                <a:gd name="connsiteX825" fmla="*/ 8618 w 10746"/>
                <a:gd name="connsiteY825" fmla="*/ 3094 h 10000"/>
                <a:gd name="connsiteX826" fmla="*/ 8594 w 10746"/>
                <a:gd name="connsiteY826" fmla="*/ 3077 h 10000"/>
                <a:gd name="connsiteX827" fmla="*/ 8548 w 10746"/>
                <a:gd name="connsiteY827" fmla="*/ 3077 h 10000"/>
                <a:gd name="connsiteX828" fmla="*/ 8535 w 10746"/>
                <a:gd name="connsiteY828" fmla="*/ 3068 h 10000"/>
                <a:gd name="connsiteX829" fmla="*/ 8429 w 10746"/>
                <a:gd name="connsiteY829" fmla="*/ 3077 h 10000"/>
                <a:gd name="connsiteX830" fmla="*/ 8424 w 10746"/>
                <a:gd name="connsiteY830" fmla="*/ 3077 h 10000"/>
                <a:gd name="connsiteX831" fmla="*/ 8396 w 10746"/>
                <a:gd name="connsiteY831" fmla="*/ 3077 h 10000"/>
                <a:gd name="connsiteX832" fmla="*/ 8387 w 10746"/>
                <a:gd name="connsiteY832" fmla="*/ 3094 h 10000"/>
                <a:gd name="connsiteX833" fmla="*/ 8378 w 10746"/>
                <a:gd name="connsiteY833" fmla="*/ 3094 h 10000"/>
                <a:gd name="connsiteX834" fmla="*/ 8341 w 10746"/>
                <a:gd name="connsiteY834" fmla="*/ 3077 h 10000"/>
                <a:gd name="connsiteX835" fmla="*/ 8336 w 10746"/>
                <a:gd name="connsiteY835" fmla="*/ 3077 h 10000"/>
                <a:gd name="connsiteX836" fmla="*/ 8327 w 10746"/>
                <a:gd name="connsiteY836" fmla="*/ 3103 h 10000"/>
                <a:gd name="connsiteX837" fmla="*/ 8309 w 10746"/>
                <a:gd name="connsiteY837" fmla="*/ 3120 h 10000"/>
                <a:gd name="connsiteX838" fmla="*/ 8304 w 10746"/>
                <a:gd name="connsiteY838" fmla="*/ 3103 h 10000"/>
                <a:gd name="connsiteX839" fmla="*/ 8276 w 10746"/>
                <a:gd name="connsiteY839" fmla="*/ 3103 h 10000"/>
                <a:gd name="connsiteX840" fmla="*/ 8267 w 10746"/>
                <a:gd name="connsiteY840" fmla="*/ 3120 h 10000"/>
                <a:gd name="connsiteX841" fmla="*/ 8253 w 10746"/>
                <a:gd name="connsiteY841" fmla="*/ 3103 h 10000"/>
                <a:gd name="connsiteX842" fmla="*/ 8230 w 10746"/>
                <a:gd name="connsiteY842" fmla="*/ 3128 h 10000"/>
                <a:gd name="connsiteX843" fmla="*/ 8217 w 10746"/>
                <a:gd name="connsiteY843" fmla="*/ 3128 h 10000"/>
                <a:gd name="connsiteX844" fmla="*/ 8203 w 10746"/>
                <a:gd name="connsiteY844" fmla="*/ 3154 h 10000"/>
                <a:gd name="connsiteX845" fmla="*/ 8175 w 10746"/>
                <a:gd name="connsiteY845" fmla="*/ 3094 h 10000"/>
                <a:gd name="connsiteX846" fmla="*/ 8161 w 10746"/>
                <a:gd name="connsiteY846" fmla="*/ 3094 h 10000"/>
                <a:gd name="connsiteX847" fmla="*/ 8157 w 10746"/>
                <a:gd name="connsiteY847" fmla="*/ 3077 h 10000"/>
                <a:gd name="connsiteX848" fmla="*/ 8180 w 10746"/>
                <a:gd name="connsiteY848" fmla="*/ 3068 h 10000"/>
                <a:gd name="connsiteX849" fmla="*/ 8189 w 10746"/>
                <a:gd name="connsiteY849" fmla="*/ 3043 h 10000"/>
                <a:gd name="connsiteX850" fmla="*/ 8189 w 10746"/>
                <a:gd name="connsiteY850" fmla="*/ 3017 h 10000"/>
                <a:gd name="connsiteX851" fmla="*/ 8147 w 10746"/>
                <a:gd name="connsiteY851" fmla="*/ 2940 h 10000"/>
                <a:gd name="connsiteX852" fmla="*/ 8143 w 10746"/>
                <a:gd name="connsiteY852" fmla="*/ 2915 h 10000"/>
                <a:gd name="connsiteX853" fmla="*/ 8143 w 10746"/>
                <a:gd name="connsiteY853" fmla="*/ 2906 h 10000"/>
                <a:gd name="connsiteX854" fmla="*/ 8097 w 10746"/>
                <a:gd name="connsiteY854" fmla="*/ 2932 h 10000"/>
                <a:gd name="connsiteX855" fmla="*/ 8083 w 10746"/>
                <a:gd name="connsiteY855" fmla="*/ 2932 h 10000"/>
                <a:gd name="connsiteX856" fmla="*/ 8074 w 10746"/>
                <a:gd name="connsiteY856" fmla="*/ 2906 h 10000"/>
                <a:gd name="connsiteX857" fmla="*/ 8074 w 10746"/>
                <a:gd name="connsiteY857" fmla="*/ 2897 h 10000"/>
                <a:gd name="connsiteX858" fmla="*/ 8055 w 10746"/>
                <a:gd name="connsiteY858" fmla="*/ 2872 h 10000"/>
                <a:gd name="connsiteX859" fmla="*/ 8046 w 10746"/>
                <a:gd name="connsiteY859" fmla="*/ 2829 h 10000"/>
                <a:gd name="connsiteX860" fmla="*/ 8041 w 10746"/>
                <a:gd name="connsiteY860" fmla="*/ 2829 h 10000"/>
                <a:gd name="connsiteX861" fmla="*/ 8023 w 10746"/>
                <a:gd name="connsiteY861" fmla="*/ 2803 h 10000"/>
                <a:gd name="connsiteX862" fmla="*/ 8014 w 10746"/>
                <a:gd name="connsiteY862" fmla="*/ 2829 h 10000"/>
                <a:gd name="connsiteX863" fmla="*/ 8000 w 10746"/>
                <a:gd name="connsiteY863" fmla="*/ 2829 h 10000"/>
                <a:gd name="connsiteX864" fmla="*/ 7995 w 10746"/>
                <a:gd name="connsiteY864" fmla="*/ 2821 h 10000"/>
                <a:gd name="connsiteX865" fmla="*/ 7972 w 10746"/>
                <a:gd name="connsiteY865" fmla="*/ 2803 h 10000"/>
                <a:gd name="connsiteX866" fmla="*/ 7968 w 10746"/>
                <a:gd name="connsiteY866" fmla="*/ 2821 h 10000"/>
                <a:gd name="connsiteX867" fmla="*/ 7968 w 10746"/>
                <a:gd name="connsiteY867" fmla="*/ 2803 h 10000"/>
                <a:gd name="connsiteX868" fmla="*/ 7995 w 10746"/>
                <a:gd name="connsiteY868" fmla="*/ 2735 h 10000"/>
                <a:gd name="connsiteX869" fmla="*/ 8000 w 10746"/>
                <a:gd name="connsiteY869" fmla="*/ 2735 h 10000"/>
                <a:gd name="connsiteX870" fmla="*/ 8014 w 10746"/>
                <a:gd name="connsiteY870" fmla="*/ 2744 h 10000"/>
                <a:gd name="connsiteX871" fmla="*/ 8023 w 10746"/>
                <a:gd name="connsiteY871" fmla="*/ 2769 h 10000"/>
                <a:gd name="connsiteX872" fmla="*/ 8032 w 10746"/>
                <a:gd name="connsiteY872" fmla="*/ 2744 h 10000"/>
                <a:gd name="connsiteX873" fmla="*/ 8032 w 10746"/>
                <a:gd name="connsiteY873" fmla="*/ 2709 h 10000"/>
                <a:gd name="connsiteX874" fmla="*/ 8023 w 10746"/>
                <a:gd name="connsiteY874" fmla="*/ 2632 h 10000"/>
                <a:gd name="connsiteX875" fmla="*/ 7986 w 10746"/>
                <a:gd name="connsiteY875" fmla="*/ 2581 h 10000"/>
                <a:gd name="connsiteX876" fmla="*/ 7968 w 10746"/>
                <a:gd name="connsiteY876" fmla="*/ 2581 h 10000"/>
                <a:gd name="connsiteX877" fmla="*/ 7963 w 10746"/>
                <a:gd name="connsiteY877" fmla="*/ 2556 h 10000"/>
                <a:gd name="connsiteX878" fmla="*/ 7935 w 10746"/>
                <a:gd name="connsiteY878" fmla="*/ 2547 h 10000"/>
                <a:gd name="connsiteX879" fmla="*/ 7912 w 10746"/>
                <a:gd name="connsiteY879" fmla="*/ 2547 h 10000"/>
                <a:gd name="connsiteX880" fmla="*/ 7912 w 10746"/>
                <a:gd name="connsiteY880" fmla="*/ 2556 h 10000"/>
                <a:gd name="connsiteX881" fmla="*/ 7908 w 10746"/>
                <a:gd name="connsiteY881" fmla="*/ 2547 h 10000"/>
                <a:gd name="connsiteX882" fmla="*/ 7862 w 10746"/>
                <a:gd name="connsiteY882" fmla="*/ 2547 h 10000"/>
                <a:gd name="connsiteX883" fmla="*/ 7848 w 10746"/>
                <a:gd name="connsiteY883" fmla="*/ 2556 h 10000"/>
                <a:gd name="connsiteX884" fmla="*/ 7820 w 10746"/>
                <a:gd name="connsiteY884" fmla="*/ 2547 h 10000"/>
                <a:gd name="connsiteX885" fmla="*/ 7806 w 10746"/>
                <a:gd name="connsiteY885" fmla="*/ 2513 h 10000"/>
                <a:gd name="connsiteX886" fmla="*/ 7788 w 10746"/>
                <a:gd name="connsiteY886" fmla="*/ 2513 h 10000"/>
                <a:gd name="connsiteX887" fmla="*/ 7760 w 10746"/>
                <a:gd name="connsiteY887" fmla="*/ 2470 h 10000"/>
                <a:gd name="connsiteX888" fmla="*/ 7751 w 10746"/>
                <a:gd name="connsiteY888" fmla="*/ 2470 h 10000"/>
                <a:gd name="connsiteX889" fmla="*/ 7705 w 10746"/>
                <a:gd name="connsiteY889" fmla="*/ 2462 h 10000"/>
                <a:gd name="connsiteX890" fmla="*/ 7673 w 10746"/>
                <a:gd name="connsiteY890" fmla="*/ 2419 h 10000"/>
                <a:gd name="connsiteX891" fmla="*/ 7627 w 10746"/>
                <a:gd name="connsiteY891" fmla="*/ 2419 h 10000"/>
                <a:gd name="connsiteX892" fmla="*/ 7613 w 10746"/>
                <a:gd name="connsiteY892" fmla="*/ 2410 h 10000"/>
                <a:gd name="connsiteX893" fmla="*/ 7493 w 10746"/>
                <a:gd name="connsiteY893" fmla="*/ 2393 h 10000"/>
                <a:gd name="connsiteX894" fmla="*/ 7479 w 10746"/>
                <a:gd name="connsiteY894" fmla="*/ 2385 h 10000"/>
                <a:gd name="connsiteX895" fmla="*/ 7479 w 10746"/>
                <a:gd name="connsiteY895" fmla="*/ 2376 h 10000"/>
                <a:gd name="connsiteX896" fmla="*/ 7465 w 10746"/>
                <a:gd name="connsiteY896" fmla="*/ 2359 h 10000"/>
                <a:gd name="connsiteX897" fmla="*/ 7447 w 10746"/>
                <a:gd name="connsiteY897" fmla="*/ 2350 h 10000"/>
                <a:gd name="connsiteX898" fmla="*/ 7433 w 10746"/>
                <a:gd name="connsiteY898" fmla="*/ 2376 h 10000"/>
                <a:gd name="connsiteX899" fmla="*/ 7433 w 10746"/>
                <a:gd name="connsiteY899" fmla="*/ 2385 h 10000"/>
                <a:gd name="connsiteX900" fmla="*/ 7447 w 10746"/>
                <a:gd name="connsiteY900" fmla="*/ 2410 h 10000"/>
                <a:gd name="connsiteX901" fmla="*/ 7447 w 10746"/>
                <a:gd name="connsiteY901" fmla="*/ 2436 h 10000"/>
                <a:gd name="connsiteX902" fmla="*/ 7452 w 10746"/>
                <a:gd name="connsiteY902" fmla="*/ 2462 h 10000"/>
                <a:gd name="connsiteX903" fmla="*/ 7447 w 10746"/>
                <a:gd name="connsiteY903" fmla="*/ 2470 h 10000"/>
                <a:gd name="connsiteX904" fmla="*/ 7424 w 10746"/>
                <a:gd name="connsiteY904" fmla="*/ 2513 h 10000"/>
                <a:gd name="connsiteX905" fmla="*/ 7419 w 10746"/>
                <a:gd name="connsiteY905" fmla="*/ 2556 h 10000"/>
                <a:gd name="connsiteX906" fmla="*/ 7406 w 10746"/>
                <a:gd name="connsiteY906" fmla="*/ 2624 h 10000"/>
                <a:gd name="connsiteX907" fmla="*/ 7392 w 10746"/>
                <a:gd name="connsiteY907" fmla="*/ 2624 h 10000"/>
                <a:gd name="connsiteX908" fmla="*/ 7373 w 10746"/>
                <a:gd name="connsiteY908" fmla="*/ 2650 h 10000"/>
                <a:gd name="connsiteX909" fmla="*/ 7364 w 10746"/>
                <a:gd name="connsiteY909" fmla="*/ 2684 h 10000"/>
                <a:gd name="connsiteX910" fmla="*/ 7364 w 10746"/>
                <a:gd name="connsiteY910" fmla="*/ 2692 h 10000"/>
                <a:gd name="connsiteX911" fmla="*/ 7373 w 10746"/>
                <a:gd name="connsiteY911" fmla="*/ 2718 h 10000"/>
                <a:gd name="connsiteX912" fmla="*/ 7373 w 10746"/>
                <a:gd name="connsiteY912" fmla="*/ 2744 h 10000"/>
                <a:gd name="connsiteX913" fmla="*/ 7359 w 10746"/>
                <a:gd name="connsiteY913" fmla="*/ 2744 h 10000"/>
                <a:gd name="connsiteX914" fmla="*/ 7359 w 10746"/>
                <a:gd name="connsiteY914" fmla="*/ 2795 h 10000"/>
                <a:gd name="connsiteX915" fmla="*/ 7364 w 10746"/>
                <a:gd name="connsiteY915" fmla="*/ 2821 h 10000"/>
                <a:gd name="connsiteX916" fmla="*/ 7378 w 10746"/>
                <a:gd name="connsiteY916" fmla="*/ 2846 h 10000"/>
                <a:gd name="connsiteX917" fmla="*/ 7378 w 10746"/>
                <a:gd name="connsiteY917" fmla="*/ 2855 h 10000"/>
                <a:gd name="connsiteX918" fmla="*/ 7378 w 10746"/>
                <a:gd name="connsiteY918" fmla="*/ 2880 h 10000"/>
                <a:gd name="connsiteX919" fmla="*/ 7378 w 10746"/>
                <a:gd name="connsiteY919" fmla="*/ 2906 h 10000"/>
                <a:gd name="connsiteX920" fmla="*/ 7364 w 10746"/>
                <a:gd name="connsiteY920" fmla="*/ 2906 h 10000"/>
                <a:gd name="connsiteX921" fmla="*/ 7346 w 10746"/>
                <a:gd name="connsiteY921" fmla="*/ 2880 h 10000"/>
                <a:gd name="connsiteX922" fmla="*/ 7332 w 10746"/>
                <a:gd name="connsiteY922" fmla="*/ 2915 h 10000"/>
                <a:gd name="connsiteX923" fmla="*/ 7318 w 10746"/>
                <a:gd name="connsiteY923" fmla="*/ 2906 h 10000"/>
                <a:gd name="connsiteX924" fmla="*/ 7313 w 10746"/>
                <a:gd name="connsiteY924" fmla="*/ 2915 h 10000"/>
                <a:gd name="connsiteX925" fmla="*/ 7313 w 10746"/>
                <a:gd name="connsiteY925" fmla="*/ 2906 h 10000"/>
                <a:gd name="connsiteX926" fmla="*/ 7286 w 10746"/>
                <a:gd name="connsiteY926" fmla="*/ 2940 h 10000"/>
                <a:gd name="connsiteX927" fmla="*/ 7276 w 10746"/>
                <a:gd name="connsiteY927" fmla="*/ 2966 h 10000"/>
                <a:gd name="connsiteX928" fmla="*/ 7272 w 10746"/>
                <a:gd name="connsiteY928" fmla="*/ 2983 h 10000"/>
                <a:gd name="connsiteX929" fmla="*/ 7267 w 10746"/>
                <a:gd name="connsiteY929" fmla="*/ 3009 h 10000"/>
                <a:gd name="connsiteX930" fmla="*/ 7253 w 10746"/>
                <a:gd name="connsiteY930" fmla="*/ 3009 h 10000"/>
                <a:gd name="connsiteX931" fmla="*/ 7244 w 10746"/>
                <a:gd name="connsiteY931" fmla="*/ 3017 h 10000"/>
                <a:gd name="connsiteX932" fmla="*/ 7240 w 10746"/>
                <a:gd name="connsiteY932" fmla="*/ 3009 h 10000"/>
                <a:gd name="connsiteX933" fmla="*/ 7230 w 10746"/>
                <a:gd name="connsiteY933" fmla="*/ 2991 h 10000"/>
                <a:gd name="connsiteX934" fmla="*/ 7226 w 10746"/>
                <a:gd name="connsiteY934" fmla="*/ 2983 h 10000"/>
                <a:gd name="connsiteX935" fmla="*/ 7226 w 10746"/>
                <a:gd name="connsiteY935" fmla="*/ 2966 h 10000"/>
                <a:gd name="connsiteX936" fmla="*/ 7212 w 10746"/>
                <a:gd name="connsiteY936" fmla="*/ 2957 h 10000"/>
                <a:gd name="connsiteX937" fmla="*/ 7212 w 10746"/>
                <a:gd name="connsiteY937" fmla="*/ 2932 h 10000"/>
                <a:gd name="connsiteX938" fmla="*/ 7198 w 10746"/>
                <a:gd name="connsiteY938" fmla="*/ 2915 h 10000"/>
                <a:gd name="connsiteX939" fmla="*/ 7194 w 10746"/>
                <a:gd name="connsiteY939" fmla="*/ 2915 h 10000"/>
                <a:gd name="connsiteX940" fmla="*/ 7157 w 10746"/>
                <a:gd name="connsiteY940" fmla="*/ 2880 h 10000"/>
                <a:gd name="connsiteX941" fmla="*/ 7138 w 10746"/>
                <a:gd name="connsiteY941" fmla="*/ 2880 h 10000"/>
                <a:gd name="connsiteX942" fmla="*/ 7120 w 10746"/>
                <a:gd name="connsiteY942" fmla="*/ 2872 h 10000"/>
                <a:gd name="connsiteX943" fmla="*/ 7111 w 10746"/>
                <a:gd name="connsiteY943" fmla="*/ 2846 h 10000"/>
                <a:gd name="connsiteX944" fmla="*/ 7106 w 10746"/>
                <a:gd name="connsiteY944" fmla="*/ 2846 h 10000"/>
                <a:gd name="connsiteX945" fmla="*/ 7092 w 10746"/>
                <a:gd name="connsiteY945" fmla="*/ 2829 h 10000"/>
                <a:gd name="connsiteX946" fmla="*/ 7051 w 10746"/>
                <a:gd name="connsiteY946" fmla="*/ 2829 h 10000"/>
                <a:gd name="connsiteX947" fmla="*/ 7037 w 10746"/>
                <a:gd name="connsiteY947" fmla="*/ 2880 h 10000"/>
                <a:gd name="connsiteX948" fmla="*/ 7037 w 10746"/>
                <a:gd name="connsiteY948" fmla="*/ 2906 h 10000"/>
                <a:gd name="connsiteX949" fmla="*/ 7037 w 10746"/>
                <a:gd name="connsiteY949" fmla="*/ 2932 h 10000"/>
                <a:gd name="connsiteX950" fmla="*/ 7037 w 10746"/>
                <a:gd name="connsiteY950" fmla="*/ 2940 h 10000"/>
                <a:gd name="connsiteX951" fmla="*/ 7023 w 10746"/>
                <a:gd name="connsiteY951" fmla="*/ 2906 h 10000"/>
                <a:gd name="connsiteX952" fmla="*/ 7023 w 10746"/>
                <a:gd name="connsiteY952" fmla="*/ 2915 h 10000"/>
                <a:gd name="connsiteX953" fmla="*/ 6991 w 10746"/>
                <a:gd name="connsiteY953" fmla="*/ 2906 h 10000"/>
                <a:gd name="connsiteX954" fmla="*/ 6977 w 10746"/>
                <a:gd name="connsiteY954" fmla="*/ 2915 h 10000"/>
                <a:gd name="connsiteX955" fmla="*/ 6963 w 10746"/>
                <a:gd name="connsiteY955" fmla="*/ 2915 h 10000"/>
                <a:gd name="connsiteX956" fmla="*/ 6949 w 10746"/>
                <a:gd name="connsiteY956" fmla="*/ 2872 h 10000"/>
                <a:gd name="connsiteX957" fmla="*/ 6935 w 10746"/>
                <a:gd name="connsiteY957" fmla="*/ 2855 h 10000"/>
                <a:gd name="connsiteX958" fmla="*/ 6922 w 10746"/>
                <a:gd name="connsiteY958" fmla="*/ 2803 h 10000"/>
                <a:gd name="connsiteX959" fmla="*/ 6917 w 10746"/>
                <a:gd name="connsiteY959" fmla="*/ 2786 h 10000"/>
                <a:gd name="connsiteX960" fmla="*/ 6903 w 10746"/>
                <a:gd name="connsiteY960" fmla="*/ 2709 h 10000"/>
                <a:gd name="connsiteX961" fmla="*/ 6903 w 10746"/>
                <a:gd name="connsiteY961" fmla="*/ 2692 h 10000"/>
                <a:gd name="connsiteX962" fmla="*/ 6899 w 10746"/>
                <a:gd name="connsiteY962" fmla="*/ 2709 h 10000"/>
                <a:gd name="connsiteX963" fmla="*/ 6857 w 10746"/>
                <a:gd name="connsiteY963" fmla="*/ 2872 h 10000"/>
                <a:gd name="connsiteX964" fmla="*/ 6857 w 10746"/>
                <a:gd name="connsiteY964" fmla="*/ 3009 h 10000"/>
                <a:gd name="connsiteX965" fmla="*/ 6848 w 10746"/>
                <a:gd name="connsiteY965" fmla="*/ 3017 h 10000"/>
                <a:gd name="connsiteX966" fmla="*/ 6839 w 10746"/>
                <a:gd name="connsiteY966" fmla="*/ 3068 h 10000"/>
                <a:gd name="connsiteX967" fmla="*/ 6829 w 10746"/>
                <a:gd name="connsiteY967" fmla="*/ 3077 h 10000"/>
                <a:gd name="connsiteX968" fmla="*/ 6829 w 10746"/>
                <a:gd name="connsiteY968" fmla="*/ 3128 h 10000"/>
                <a:gd name="connsiteX969" fmla="*/ 6816 w 10746"/>
                <a:gd name="connsiteY969" fmla="*/ 3154 h 10000"/>
                <a:gd name="connsiteX970" fmla="*/ 6811 w 10746"/>
                <a:gd name="connsiteY970" fmla="*/ 3179 h 10000"/>
                <a:gd name="connsiteX971" fmla="*/ 6797 w 10746"/>
                <a:gd name="connsiteY971" fmla="*/ 3171 h 10000"/>
                <a:gd name="connsiteX972" fmla="*/ 6783 w 10746"/>
                <a:gd name="connsiteY972" fmla="*/ 3103 h 10000"/>
                <a:gd name="connsiteX973" fmla="*/ 6779 w 10746"/>
                <a:gd name="connsiteY973" fmla="*/ 3094 h 10000"/>
                <a:gd name="connsiteX974" fmla="*/ 6779 w 10746"/>
                <a:gd name="connsiteY974" fmla="*/ 3120 h 10000"/>
                <a:gd name="connsiteX975" fmla="*/ 6770 w 10746"/>
                <a:gd name="connsiteY975" fmla="*/ 3128 h 10000"/>
                <a:gd name="connsiteX976" fmla="*/ 6765 w 10746"/>
                <a:gd name="connsiteY976" fmla="*/ 3103 h 10000"/>
                <a:gd name="connsiteX977" fmla="*/ 6756 w 10746"/>
                <a:gd name="connsiteY977" fmla="*/ 3103 h 10000"/>
                <a:gd name="connsiteX978" fmla="*/ 6742 w 10746"/>
                <a:gd name="connsiteY978" fmla="*/ 3103 h 10000"/>
                <a:gd name="connsiteX979" fmla="*/ 6737 w 10746"/>
                <a:gd name="connsiteY979" fmla="*/ 3077 h 10000"/>
                <a:gd name="connsiteX980" fmla="*/ 6737 w 10746"/>
                <a:gd name="connsiteY980" fmla="*/ 3068 h 10000"/>
                <a:gd name="connsiteX981" fmla="*/ 6728 w 10746"/>
                <a:gd name="connsiteY981" fmla="*/ 3043 h 10000"/>
                <a:gd name="connsiteX982" fmla="*/ 6724 w 10746"/>
                <a:gd name="connsiteY982" fmla="*/ 3051 h 10000"/>
                <a:gd name="connsiteX983" fmla="*/ 6714 w 10746"/>
                <a:gd name="connsiteY983" fmla="*/ 3043 h 10000"/>
                <a:gd name="connsiteX984" fmla="*/ 6710 w 10746"/>
                <a:gd name="connsiteY984" fmla="*/ 3034 h 10000"/>
                <a:gd name="connsiteX985" fmla="*/ 6705 w 10746"/>
                <a:gd name="connsiteY985" fmla="*/ 2983 h 10000"/>
                <a:gd name="connsiteX986" fmla="*/ 6696 w 10746"/>
                <a:gd name="connsiteY986" fmla="*/ 2966 h 10000"/>
                <a:gd name="connsiteX987" fmla="*/ 6691 w 10746"/>
                <a:gd name="connsiteY987" fmla="*/ 2983 h 10000"/>
                <a:gd name="connsiteX988" fmla="*/ 6677 w 10746"/>
                <a:gd name="connsiteY988" fmla="*/ 2897 h 10000"/>
                <a:gd name="connsiteX989" fmla="*/ 6677 w 10746"/>
                <a:gd name="connsiteY989" fmla="*/ 2897 h 10000"/>
                <a:gd name="connsiteX990" fmla="*/ 6677 w 10746"/>
                <a:gd name="connsiteY990" fmla="*/ 2872 h 10000"/>
                <a:gd name="connsiteX991" fmla="*/ 6668 w 10746"/>
                <a:gd name="connsiteY991" fmla="*/ 2821 h 10000"/>
                <a:gd name="connsiteX992" fmla="*/ 6664 w 10746"/>
                <a:gd name="connsiteY992" fmla="*/ 2829 h 10000"/>
                <a:gd name="connsiteX993" fmla="*/ 6654 w 10746"/>
                <a:gd name="connsiteY993" fmla="*/ 2846 h 10000"/>
                <a:gd name="connsiteX994" fmla="*/ 6650 w 10746"/>
                <a:gd name="connsiteY994" fmla="*/ 2829 h 10000"/>
                <a:gd name="connsiteX995" fmla="*/ 6650 w 10746"/>
                <a:gd name="connsiteY995" fmla="*/ 2803 h 10000"/>
                <a:gd name="connsiteX996" fmla="*/ 6650 w 10746"/>
                <a:gd name="connsiteY996" fmla="*/ 2795 h 10000"/>
                <a:gd name="connsiteX997" fmla="*/ 6641 w 10746"/>
                <a:gd name="connsiteY997" fmla="*/ 2786 h 10000"/>
                <a:gd name="connsiteX998" fmla="*/ 6636 w 10746"/>
                <a:gd name="connsiteY998" fmla="*/ 2735 h 10000"/>
                <a:gd name="connsiteX999" fmla="*/ 6664 w 10746"/>
                <a:gd name="connsiteY999" fmla="*/ 2667 h 10000"/>
                <a:gd name="connsiteX1000" fmla="*/ 6668 w 10746"/>
                <a:gd name="connsiteY1000" fmla="*/ 2684 h 10000"/>
                <a:gd name="connsiteX1001" fmla="*/ 6677 w 10746"/>
                <a:gd name="connsiteY1001" fmla="*/ 2667 h 10000"/>
                <a:gd name="connsiteX1002" fmla="*/ 6668 w 10746"/>
                <a:gd name="connsiteY1002" fmla="*/ 2667 h 10000"/>
                <a:gd name="connsiteX1003" fmla="*/ 6668 w 10746"/>
                <a:gd name="connsiteY1003" fmla="*/ 2650 h 10000"/>
                <a:gd name="connsiteX1004" fmla="*/ 6682 w 10746"/>
                <a:gd name="connsiteY1004" fmla="*/ 2650 h 10000"/>
                <a:gd name="connsiteX1005" fmla="*/ 6691 w 10746"/>
                <a:gd name="connsiteY1005" fmla="*/ 2624 h 10000"/>
                <a:gd name="connsiteX1006" fmla="*/ 6682 w 10746"/>
                <a:gd name="connsiteY1006" fmla="*/ 2632 h 10000"/>
                <a:gd name="connsiteX1007" fmla="*/ 6682 w 10746"/>
                <a:gd name="connsiteY1007" fmla="*/ 2624 h 10000"/>
                <a:gd name="connsiteX1008" fmla="*/ 6691 w 10746"/>
                <a:gd name="connsiteY1008" fmla="*/ 2607 h 10000"/>
                <a:gd name="connsiteX1009" fmla="*/ 6691 w 10746"/>
                <a:gd name="connsiteY1009" fmla="*/ 2598 h 10000"/>
                <a:gd name="connsiteX1010" fmla="*/ 6691 w 10746"/>
                <a:gd name="connsiteY1010" fmla="*/ 2581 h 10000"/>
                <a:gd name="connsiteX1011" fmla="*/ 6696 w 10746"/>
                <a:gd name="connsiteY1011" fmla="*/ 2530 h 10000"/>
                <a:gd name="connsiteX1012" fmla="*/ 6677 w 10746"/>
                <a:gd name="connsiteY1012" fmla="*/ 2513 h 10000"/>
                <a:gd name="connsiteX1013" fmla="*/ 6677 w 10746"/>
                <a:gd name="connsiteY1013" fmla="*/ 2496 h 10000"/>
                <a:gd name="connsiteX1014" fmla="*/ 6682 w 10746"/>
                <a:gd name="connsiteY1014" fmla="*/ 2470 h 10000"/>
                <a:gd name="connsiteX1015" fmla="*/ 6668 w 10746"/>
                <a:gd name="connsiteY1015" fmla="*/ 2462 h 10000"/>
                <a:gd name="connsiteX1016" fmla="*/ 6677 w 10746"/>
                <a:gd name="connsiteY1016" fmla="*/ 2436 h 10000"/>
                <a:gd name="connsiteX1017" fmla="*/ 6682 w 10746"/>
                <a:gd name="connsiteY1017" fmla="*/ 2419 h 10000"/>
                <a:gd name="connsiteX1018" fmla="*/ 6682 w 10746"/>
                <a:gd name="connsiteY1018" fmla="*/ 2393 h 10000"/>
                <a:gd name="connsiteX1019" fmla="*/ 6682 w 10746"/>
                <a:gd name="connsiteY1019" fmla="*/ 2385 h 10000"/>
                <a:gd name="connsiteX1020" fmla="*/ 6682 w 10746"/>
                <a:gd name="connsiteY1020" fmla="*/ 2385 h 10000"/>
                <a:gd name="connsiteX1021" fmla="*/ 6677 w 10746"/>
                <a:gd name="connsiteY1021" fmla="*/ 2376 h 10000"/>
                <a:gd name="connsiteX1022" fmla="*/ 6682 w 10746"/>
                <a:gd name="connsiteY1022" fmla="*/ 2359 h 10000"/>
                <a:gd name="connsiteX1023" fmla="*/ 6677 w 10746"/>
                <a:gd name="connsiteY1023" fmla="*/ 2333 h 10000"/>
                <a:gd name="connsiteX1024" fmla="*/ 6691 w 10746"/>
                <a:gd name="connsiteY1024" fmla="*/ 2333 h 10000"/>
                <a:gd name="connsiteX1025" fmla="*/ 6691 w 10746"/>
                <a:gd name="connsiteY1025" fmla="*/ 2325 h 10000"/>
                <a:gd name="connsiteX1026" fmla="*/ 6691 w 10746"/>
                <a:gd name="connsiteY1026" fmla="*/ 2308 h 10000"/>
                <a:gd name="connsiteX1027" fmla="*/ 6691 w 10746"/>
                <a:gd name="connsiteY1027" fmla="*/ 2299 h 10000"/>
                <a:gd name="connsiteX1028" fmla="*/ 6691 w 10746"/>
                <a:gd name="connsiteY1028" fmla="*/ 2282 h 10000"/>
                <a:gd name="connsiteX1029" fmla="*/ 6691 w 10746"/>
                <a:gd name="connsiteY1029" fmla="*/ 2274 h 10000"/>
                <a:gd name="connsiteX1030" fmla="*/ 6668 w 10746"/>
                <a:gd name="connsiteY1030" fmla="*/ 2248 h 10000"/>
                <a:gd name="connsiteX1031" fmla="*/ 6664 w 10746"/>
                <a:gd name="connsiteY1031" fmla="*/ 2222 h 10000"/>
                <a:gd name="connsiteX1032" fmla="*/ 6654 w 10746"/>
                <a:gd name="connsiteY1032" fmla="*/ 2214 h 10000"/>
                <a:gd name="connsiteX1033" fmla="*/ 6654 w 10746"/>
                <a:gd name="connsiteY1033" fmla="*/ 2188 h 10000"/>
                <a:gd name="connsiteX1034" fmla="*/ 6622 w 10746"/>
                <a:gd name="connsiteY1034" fmla="*/ 2162 h 10000"/>
                <a:gd name="connsiteX1035" fmla="*/ 6631 w 10746"/>
                <a:gd name="connsiteY1035" fmla="*/ 2145 h 10000"/>
                <a:gd name="connsiteX1036" fmla="*/ 6622 w 10746"/>
                <a:gd name="connsiteY1036" fmla="*/ 2120 h 10000"/>
                <a:gd name="connsiteX1037" fmla="*/ 6608 w 10746"/>
                <a:gd name="connsiteY1037" fmla="*/ 2120 h 10000"/>
                <a:gd name="connsiteX1038" fmla="*/ 6604 w 10746"/>
                <a:gd name="connsiteY1038" fmla="*/ 2111 h 10000"/>
                <a:gd name="connsiteX1039" fmla="*/ 6608 w 10746"/>
                <a:gd name="connsiteY1039" fmla="*/ 2111 h 10000"/>
                <a:gd name="connsiteX1040" fmla="*/ 6604 w 10746"/>
                <a:gd name="connsiteY1040" fmla="*/ 2085 h 10000"/>
                <a:gd name="connsiteX1041" fmla="*/ 6581 w 10746"/>
                <a:gd name="connsiteY1041" fmla="*/ 2077 h 10000"/>
                <a:gd name="connsiteX1042" fmla="*/ 6571 w 10746"/>
                <a:gd name="connsiteY1042" fmla="*/ 2085 h 10000"/>
                <a:gd name="connsiteX1043" fmla="*/ 6548 w 10746"/>
                <a:gd name="connsiteY1043" fmla="*/ 2077 h 10000"/>
                <a:gd name="connsiteX1044" fmla="*/ 6530 w 10746"/>
                <a:gd name="connsiteY1044" fmla="*/ 2060 h 10000"/>
                <a:gd name="connsiteX1045" fmla="*/ 6521 w 10746"/>
                <a:gd name="connsiteY1045" fmla="*/ 2060 h 10000"/>
                <a:gd name="connsiteX1046" fmla="*/ 6521 w 10746"/>
                <a:gd name="connsiteY1046" fmla="*/ 2085 h 10000"/>
                <a:gd name="connsiteX1047" fmla="*/ 6516 w 10746"/>
                <a:gd name="connsiteY1047" fmla="*/ 2085 h 10000"/>
                <a:gd name="connsiteX1048" fmla="*/ 6502 w 10746"/>
                <a:gd name="connsiteY1048" fmla="*/ 2111 h 10000"/>
                <a:gd name="connsiteX1049" fmla="*/ 6498 w 10746"/>
                <a:gd name="connsiteY1049" fmla="*/ 2111 h 10000"/>
                <a:gd name="connsiteX1050" fmla="*/ 6498 w 10746"/>
                <a:gd name="connsiteY1050" fmla="*/ 2103 h 10000"/>
                <a:gd name="connsiteX1051" fmla="*/ 6475 w 10746"/>
                <a:gd name="connsiteY1051" fmla="*/ 2051 h 10000"/>
                <a:gd name="connsiteX1052" fmla="*/ 6470 w 10746"/>
                <a:gd name="connsiteY1052" fmla="*/ 2060 h 10000"/>
                <a:gd name="connsiteX1053" fmla="*/ 6456 w 10746"/>
                <a:gd name="connsiteY1053" fmla="*/ 2051 h 10000"/>
                <a:gd name="connsiteX1054" fmla="*/ 6447 w 10746"/>
                <a:gd name="connsiteY1054" fmla="*/ 2051 h 10000"/>
                <a:gd name="connsiteX1055" fmla="*/ 6433 w 10746"/>
                <a:gd name="connsiteY1055" fmla="*/ 2026 h 10000"/>
                <a:gd name="connsiteX1056" fmla="*/ 6433 w 10746"/>
                <a:gd name="connsiteY1056" fmla="*/ 2034 h 10000"/>
                <a:gd name="connsiteX1057" fmla="*/ 6429 w 10746"/>
                <a:gd name="connsiteY1057" fmla="*/ 2026 h 10000"/>
                <a:gd name="connsiteX1058" fmla="*/ 6424 w 10746"/>
                <a:gd name="connsiteY1058" fmla="*/ 2034 h 10000"/>
                <a:gd name="connsiteX1059" fmla="*/ 6410 w 10746"/>
                <a:gd name="connsiteY1059" fmla="*/ 2026 h 10000"/>
                <a:gd name="connsiteX1060" fmla="*/ 6410 w 10746"/>
                <a:gd name="connsiteY1060" fmla="*/ 1991 h 10000"/>
                <a:gd name="connsiteX1061" fmla="*/ 6401 w 10746"/>
                <a:gd name="connsiteY1061" fmla="*/ 1991 h 10000"/>
                <a:gd name="connsiteX1062" fmla="*/ 6396 w 10746"/>
                <a:gd name="connsiteY1062" fmla="*/ 2000 h 10000"/>
                <a:gd name="connsiteX1063" fmla="*/ 6382 w 10746"/>
                <a:gd name="connsiteY1063" fmla="*/ 1966 h 10000"/>
                <a:gd name="connsiteX1064" fmla="*/ 6373 w 10746"/>
                <a:gd name="connsiteY1064" fmla="*/ 1974 h 10000"/>
                <a:gd name="connsiteX1065" fmla="*/ 6369 w 10746"/>
                <a:gd name="connsiteY1065" fmla="*/ 1966 h 10000"/>
                <a:gd name="connsiteX1066" fmla="*/ 6341 w 10746"/>
                <a:gd name="connsiteY1066" fmla="*/ 1949 h 10000"/>
                <a:gd name="connsiteX1067" fmla="*/ 6327 w 10746"/>
                <a:gd name="connsiteY1067" fmla="*/ 1923 h 10000"/>
                <a:gd name="connsiteX1068" fmla="*/ 6323 w 10746"/>
                <a:gd name="connsiteY1068" fmla="*/ 1923 h 10000"/>
                <a:gd name="connsiteX1069" fmla="*/ 6323 w 10746"/>
                <a:gd name="connsiteY1069" fmla="*/ 1966 h 10000"/>
                <a:gd name="connsiteX1070" fmla="*/ 6323 w 10746"/>
                <a:gd name="connsiteY1070" fmla="*/ 1991 h 10000"/>
                <a:gd name="connsiteX1071" fmla="*/ 6313 w 10746"/>
                <a:gd name="connsiteY1071" fmla="*/ 1991 h 10000"/>
                <a:gd name="connsiteX1072" fmla="*/ 6300 w 10746"/>
                <a:gd name="connsiteY1072" fmla="*/ 1991 h 10000"/>
                <a:gd name="connsiteX1073" fmla="*/ 6290 w 10746"/>
                <a:gd name="connsiteY1073" fmla="*/ 1949 h 10000"/>
                <a:gd name="connsiteX1074" fmla="*/ 6276 w 10746"/>
                <a:gd name="connsiteY1074" fmla="*/ 2103 h 10000"/>
                <a:gd name="connsiteX1075" fmla="*/ 6281 w 10746"/>
                <a:gd name="connsiteY1075" fmla="*/ 2103 h 10000"/>
                <a:gd name="connsiteX1076" fmla="*/ 6276 w 10746"/>
                <a:gd name="connsiteY1076" fmla="*/ 2111 h 10000"/>
                <a:gd name="connsiteX1077" fmla="*/ 6276 w 10746"/>
                <a:gd name="connsiteY1077" fmla="*/ 2120 h 10000"/>
                <a:gd name="connsiteX1078" fmla="*/ 6295 w 10746"/>
                <a:gd name="connsiteY1078" fmla="*/ 2239 h 10000"/>
                <a:gd name="connsiteX1079" fmla="*/ 6290 w 10746"/>
                <a:gd name="connsiteY1079" fmla="*/ 2248 h 10000"/>
                <a:gd name="connsiteX1080" fmla="*/ 6281 w 10746"/>
                <a:gd name="connsiteY1080" fmla="*/ 2274 h 10000"/>
                <a:gd name="connsiteX1081" fmla="*/ 6249 w 10746"/>
                <a:gd name="connsiteY1081" fmla="*/ 2274 h 10000"/>
                <a:gd name="connsiteX1082" fmla="*/ 6226 w 10746"/>
                <a:gd name="connsiteY1082" fmla="*/ 2308 h 10000"/>
                <a:gd name="connsiteX1083" fmla="*/ 6221 w 10746"/>
                <a:gd name="connsiteY1083" fmla="*/ 2299 h 10000"/>
                <a:gd name="connsiteX1084" fmla="*/ 6221 w 10746"/>
                <a:gd name="connsiteY1084" fmla="*/ 2308 h 10000"/>
                <a:gd name="connsiteX1085" fmla="*/ 6217 w 10746"/>
                <a:gd name="connsiteY1085" fmla="*/ 2299 h 10000"/>
                <a:gd name="connsiteX1086" fmla="*/ 6194 w 10746"/>
                <a:gd name="connsiteY1086" fmla="*/ 2308 h 10000"/>
                <a:gd name="connsiteX1087" fmla="*/ 6180 w 10746"/>
                <a:gd name="connsiteY1087" fmla="*/ 2299 h 10000"/>
                <a:gd name="connsiteX1088" fmla="*/ 6143 w 10746"/>
                <a:gd name="connsiteY1088" fmla="*/ 2308 h 10000"/>
                <a:gd name="connsiteX1089" fmla="*/ 6134 w 10746"/>
                <a:gd name="connsiteY1089" fmla="*/ 2325 h 10000"/>
                <a:gd name="connsiteX1090" fmla="*/ 6115 w 10746"/>
                <a:gd name="connsiteY1090" fmla="*/ 2282 h 10000"/>
                <a:gd name="connsiteX1091" fmla="*/ 6069 w 10746"/>
                <a:gd name="connsiteY1091" fmla="*/ 2274 h 10000"/>
                <a:gd name="connsiteX1092" fmla="*/ 6069 w 10746"/>
                <a:gd name="connsiteY1092" fmla="*/ 2282 h 10000"/>
                <a:gd name="connsiteX1093" fmla="*/ 6060 w 10746"/>
                <a:gd name="connsiteY1093" fmla="*/ 2299 h 10000"/>
                <a:gd name="connsiteX1094" fmla="*/ 5972 w 10746"/>
                <a:gd name="connsiteY1094" fmla="*/ 2214 h 10000"/>
                <a:gd name="connsiteX1095" fmla="*/ 5968 w 10746"/>
                <a:gd name="connsiteY1095" fmla="*/ 2197 h 10000"/>
                <a:gd name="connsiteX1096" fmla="*/ 5968 w 10746"/>
                <a:gd name="connsiteY1096" fmla="*/ 2171 h 10000"/>
                <a:gd name="connsiteX1097" fmla="*/ 5968 w 10746"/>
                <a:gd name="connsiteY1097" fmla="*/ 2162 h 10000"/>
                <a:gd name="connsiteX1098" fmla="*/ 5968 w 10746"/>
                <a:gd name="connsiteY1098" fmla="*/ 2120 h 10000"/>
                <a:gd name="connsiteX1099" fmla="*/ 5968 w 10746"/>
                <a:gd name="connsiteY1099" fmla="*/ 2111 h 10000"/>
                <a:gd name="connsiteX1100" fmla="*/ 5972 w 10746"/>
                <a:gd name="connsiteY1100" fmla="*/ 2103 h 10000"/>
                <a:gd name="connsiteX1101" fmla="*/ 5986 w 10746"/>
                <a:gd name="connsiteY1101" fmla="*/ 2103 h 10000"/>
                <a:gd name="connsiteX1102" fmla="*/ 5986 w 10746"/>
                <a:gd name="connsiteY1102" fmla="*/ 2085 h 10000"/>
                <a:gd name="connsiteX1103" fmla="*/ 5995 w 10746"/>
                <a:gd name="connsiteY1103" fmla="*/ 2085 h 10000"/>
                <a:gd name="connsiteX1104" fmla="*/ 5995 w 10746"/>
                <a:gd name="connsiteY1104" fmla="*/ 2077 h 10000"/>
                <a:gd name="connsiteX1105" fmla="*/ 5986 w 10746"/>
                <a:gd name="connsiteY1105" fmla="*/ 2060 h 10000"/>
                <a:gd name="connsiteX1106" fmla="*/ 5954 w 10746"/>
                <a:gd name="connsiteY1106" fmla="*/ 2060 h 10000"/>
                <a:gd name="connsiteX1107" fmla="*/ 5940 w 10746"/>
                <a:gd name="connsiteY1107" fmla="*/ 2051 h 10000"/>
                <a:gd name="connsiteX1108" fmla="*/ 5922 w 10746"/>
                <a:gd name="connsiteY1108" fmla="*/ 2060 h 10000"/>
                <a:gd name="connsiteX1109" fmla="*/ 5885 w 10746"/>
                <a:gd name="connsiteY1109" fmla="*/ 2051 h 10000"/>
                <a:gd name="connsiteX1110" fmla="*/ 5876 w 10746"/>
                <a:gd name="connsiteY1110" fmla="*/ 2026 h 10000"/>
                <a:gd name="connsiteX1111" fmla="*/ 5862 w 10746"/>
                <a:gd name="connsiteY1111" fmla="*/ 2026 h 10000"/>
                <a:gd name="connsiteX1112" fmla="*/ 5848 w 10746"/>
                <a:gd name="connsiteY1112" fmla="*/ 2026 h 10000"/>
                <a:gd name="connsiteX1113" fmla="*/ 5825 w 10746"/>
                <a:gd name="connsiteY1113" fmla="*/ 2026 h 10000"/>
                <a:gd name="connsiteX1114" fmla="*/ 5788 w 10746"/>
                <a:gd name="connsiteY1114" fmla="*/ 1991 h 10000"/>
                <a:gd name="connsiteX1115" fmla="*/ 5760 w 10746"/>
                <a:gd name="connsiteY1115" fmla="*/ 2000 h 10000"/>
                <a:gd name="connsiteX1116" fmla="*/ 5760 w 10746"/>
                <a:gd name="connsiteY1116" fmla="*/ 2026 h 10000"/>
                <a:gd name="connsiteX1117" fmla="*/ 5714 w 10746"/>
                <a:gd name="connsiteY1117" fmla="*/ 2051 h 10000"/>
                <a:gd name="connsiteX1118" fmla="*/ 5687 w 10746"/>
                <a:gd name="connsiteY1118" fmla="*/ 2034 h 10000"/>
                <a:gd name="connsiteX1119" fmla="*/ 5645 w 10746"/>
                <a:gd name="connsiteY1119" fmla="*/ 2077 h 10000"/>
                <a:gd name="connsiteX1120" fmla="*/ 5664 w 10746"/>
                <a:gd name="connsiteY1120" fmla="*/ 2120 h 10000"/>
                <a:gd name="connsiteX1121" fmla="*/ 5664 w 10746"/>
                <a:gd name="connsiteY1121" fmla="*/ 2162 h 10000"/>
                <a:gd name="connsiteX1122" fmla="*/ 5631 w 10746"/>
                <a:gd name="connsiteY1122" fmla="*/ 2197 h 10000"/>
                <a:gd name="connsiteX1123" fmla="*/ 5618 w 10746"/>
                <a:gd name="connsiteY1123" fmla="*/ 2188 h 10000"/>
                <a:gd name="connsiteX1124" fmla="*/ 5618 w 10746"/>
                <a:gd name="connsiteY1124" fmla="*/ 2171 h 10000"/>
                <a:gd name="connsiteX1125" fmla="*/ 5641 w 10746"/>
                <a:gd name="connsiteY1125" fmla="*/ 2171 h 10000"/>
                <a:gd name="connsiteX1126" fmla="*/ 5641 w 10746"/>
                <a:gd name="connsiteY1126" fmla="*/ 2162 h 10000"/>
                <a:gd name="connsiteX1127" fmla="*/ 5627 w 10746"/>
                <a:gd name="connsiteY1127" fmla="*/ 2145 h 10000"/>
                <a:gd name="connsiteX1128" fmla="*/ 5627 w 10746"/>
                <a:gd name="connsiteY1128" fmla="*/ 2120 h 10000"/>
                <a:gd name="connsiteX1129" fmla="*/ 5618 w 10746"/>
                <a:gd name="connsiteY1129" fmla="*/ 2111 h 10000"/>
                <a:gd name="connsiteX1130" fmla="*/ 5631 w 10746"/>
                <a:gd name="connsiteY1130" fmla="*/ 2051 h 10000"/>
                <a:gd name="connsiteX1131" fmla="*/ 5631 w 10746"/>
                <a:gd name="connsiteY1131" fmla="*/ 2026 h 10000"/>
                <a:gd name="connsiteX1132" fmla="*/ 5627 w 10746"/>
                <a:gd name="connsiteY1132" fmla="*/ 1991 h 10000"/>
                <a:gd name="connsiteX1133" fmla="*/ 5618 w 10746"/>
                <a:gd name="connsiteY1133" fmla="*/ 1974 h 10000"/>
                <a:gd name="connsiteX1134" fmla="*/ 5618 w 10746"/>
                <a:gd name="connsiteY1134" fmla="*/ 1940 h 10000"/>
                <a:gd name="connsiteX1135" fmla="*/ 5594 w 10746"/>
                <a:gd name="connsiteY1135" fmla="*/ 1855 h 10000"/>
                <a:gd name="connsiteX1136" fmla="*/ 5599 w 10746"/>
                <a:gd name="connsiteY1136" fmla="*/ 1915 h 10000"/>
                <a:gd name="connsiteX1137" fmla="*/ 5599 w 10746"/>
                <a:gd name="connsiteY1137" fmla="*/ 1949 h 10000"/>
                <a:gd name="connsiteX1138" fmla="*/ 5594 w 10746"/>
                <a:gd name="connsiteY1138" fmla="*/ 1991 h 10000"/>
                <a:gd name="connsiteX1139" fmla="*/ 5571 w 10746"/>
                <a:gd name="connsiteY1139" fmla="*/ 2000 h 10000"/>
                <a:gd name="connsiteX1140" fmla="*/ 5530 w 10746"/>
                <a:gd name="connsiteY1140" fmla="*/ 1991 h 10000"/>
                <a:gd name="connsiteX1141" fmla="*/ 5525 w 10746"/>
                <a:gd name="connsiteY1141" fmla="*/ 2000 h 10000"/>
                <a:gd name="connsiteX1142" fmla="*/ 5521 w 10746"/>
                <a:gd name="connsiteY1142" fmla="*/ 1991 h 10000"/>
                <a:gd name="connsiteX1143" fmla="*/ 5498 w 10746"/>
                <a:gd name="connsiteY1143" fmla="*/ 1949 h 10000"/>
                <a:gd name="connsiteX1144" fmla="*/ 5493 w 10746"/>
                <a:gd name="connsiteY1144" fmla="*/ 1889 h 10000"/>
                <a:gd name="connsiteX1145" fmla="*/ 5493 w 10746"/>
                <a:gd name="connsiteY1145" fmla="*/ 1863 h 10000"/>
                <a:gd name="connsiteX1146" fmla="*/ 5498 w 10746"/>
                <a:gd name="connsiteY1146" fmla="*/ 1889 h 10000"/>
                <a:gd name="connsiteX1147" fmla="*/ 5512 w 10746"/>
                <a:gd name="connsiteY1147" fmla="*/ 1855 h 10000"/>
                <a:gd name="connsiteX1148" fmla="*/ 5512 w 10746"/>
                <a:gd name="connsiteY1148" fmla="*/ 1838 h 10000"/>
                <a:gd name="connsiteX1149" fmla="*/ 5479 w 10746"/>
                <a:gd name="connsiteY1149" fmla="*/ 1855 h 10000"/>
                <a:gd name="connsiteX1150" fmla="*/ 5470 w 10746"/>
                <a:gd name="connsiteY1150" fmla="*/ 1872 h 10000"/>
                <a:gd name="connsiteX1151" fmla="*/ 5470 w 10746"/>
                <a:gd name="connsiteY1151" fmla="*/ 1889 h 10000"/>
                <a:gd name="connsiteX1152" fmla="*/ 5465 w 10746"/>
                <a:gd name="connsiteY1152" fmla="*/ 1897 h 10000"/>
                <a:gd name="connsiteX1153" fmla="*/ 5456 w 10746"/>
                <a:gd name="connsiteY1153" fmla="*/ 1872 h 10000"/>
                <a:gd name="connsiteX1154" fmla="*/ 5447 w 10746"/>
                <a:gd name="connsiteY1154" fmla="*/ 1872 h 10000"/>
                <a:gd name="connsiteX1155" fmla="*/ 5433 w 10746"/>
                <a:gd name="connsiteY1155" fmla="*/ 1855 h 10000"/>
                <a:gd name="connsiteX1156" fmla="*/ 5396 w 10746"/>
                <a:gd name="connsiteY1156" fmla="*/ 1863 h 10000"/>
                <a:gd name="connsiteX1157" fmla="*/ 5396 w 10746"/>
                <a:gd name="connsiteY1157" fmla="*/ 1897 h 10000"/>
                <a:gd name="connsiteX1158" fmla="*/ 5378 w 10746"/>
                <a:gd name="connsiteY1158" fmla="*/ 1949 h 10000"/>
                <a:gd name="connsiteX1159" fmla="*/ 5378 w 10746"/>
                <a:gd name="connsiteY1159" fmla="*/ 1966 h 10000"/>
                <a:gd name="connsiteX1160" fmla="*/ 5392 w 10746"/>
                <a:gd name="connsiteY1160" fmla="*/ 2026 h 10000"/>
                <a:gd name="connsiteX1161" fmla="*/ 5396 w 10746"/>
                <a:gd name="connsiteY1161" fmla="*/ 2026 h 10000"/>
                <a:gd name="connsiteX1162" fmla="*/ 5392 w 10746"/>
                <a:gd name="connsiteY1162" fmla="*/ 2009 h 10000"/>
                <a:gd name="connsiteX1163" fmla="*/ 5392 w 10746"/>
                <a:gd name="connsiteY1163" fmla="*/ 2000 h 10000"/>
                <a:gd name="connsiteX1164" fmla="*/ 5396 w 10746"/>
                <a:gd name="connsiteY1164" fmla="*/ 2009 h 10000"/>
                <a:gd name="connsiteX1165" fmla="*/ 5424 w 10746"/>
                <a:gd name="connsiteY1165" fmla="*/ 2009 h 10000"/>
                <a:gd name="connsiteX1166" fmla="*/ 5433 w 10746"/>
                <a:gd name="connsiteY1166" fmla="*/ 1991 h 10000"/>
                <a:gd name="connsiteX1167" fmla="*/ 5447 w 10746"/>
                <a:gd name="connsiteY1167" fmla="*/ 1974 h 10000"/>
                <a:gd name="connsiteX1168" fmla="*/ 5452 w 10746"/>
                <a:gd name="connsiteY1168" fmla="*/ 1966 h 10000"/>
                <a:gd name="connsiteX1169" fmla="*/ 5456 w 10746"/>
                <a:gd name="connsiteY1169" fmla="*/ 1966 h 10000"/>
                <a:gd name="connsiteX1170" fmla="*/ 5465 w 10746"/>
                <a:gd name="connsiteY1170" fmla="*/ 2009 h 10000"/>
                <a:gd name="connsiteX1171" fmla="*/ 5433 w 10746"/>
                <a:gd name="connsiteY1171" fmla="*/ 2034 h 10000"/>
                <a:gd name="connsiteX1172" fmla="*/ 5424 w 10746"/>
                <a:gd name="connsiteY1172" fmla="*/ 2060 h 10000"/>
                <a:gd name="connsiteX1173" fmla="*/ 5419 w 10746"/>
                <a:gd name="connsiteY1173" fmla="*/ 2060 h 10000"/>
                <a:gd name="connsiteX1174" fmla="*/ 5392 w 10746"/>
                <a:gd name="connsiteY1174" fmla="*/ 2111 h 10000"/>
                <a:gd name="connsiteX1175" fmla="*/ 5378 w 10746"/>
                <a:gd name="connsiteY1175" fmla="*/ 2111 h 10000"/>
                <a:gd name="connsiteX1176" fmla="*/ 5350 w 10746"/>
                <a:gd name="connsiteY1176" fmla="*/ 2060 h 10000"/>
                <a:gd name="connsiteX1177" fmla="*/ 5373 w 10746"/>
                <a:gd name="connsiteY1177" fmla="*/ 2111 h 10000"/>
                <a:gd name="connsiteX1178" fmla="*/ 5364 w 10746"/>
                <a:gd name="connsiteY1178" fmla="*/ 2111 h 10000"/>
                <a:gd name="connsiteX1179" fmla="*/ 5359 w 10746"/>
                <a:gd name="connsiteY1179" fmla="*/ 2103 h 10000"/>
                <a:gd name="connsiteX1180" fmla="*/ 5359 w 10746"/>
                <a:gd name="connsiteY1180" fmla="*/ 2120 h 10000"/>
                <a:gd name="connsiteX1181" fmla="*/ 5359 w 10746"/>
                <a:gd name="connsiteY1181" fmla="*/ 2137 h 10000"/>
                <a:gd name="connsiteX1182" fmla="*/ 5313 w 10746"/>
                <a:gd name="connsiteY1182" fmla="*/ 2162 h 10000"/>
                <a:gd name="connsiteX1183" fmla="*/ 5300 w 10746"/>
                <a:gd name="connsiteY1183" fmla="*/ 2162 h 10000"/>
                <a:gd name="connsiteX1184" fmla="*/ 5300 w 10746"/>
                <a:gd name="connsiteY1184" fmla="*/ 2171 h 10000"/>
                <a:gd name="connsiteX1185" fmla="*/ 5300 w 10746"/>
                <a:gd name="connsiteY1185" fmla="*/ 2197 h 10000"/>
                <a:gd name="connsiteX1186" fmla="*/ 5276 w 10746"/>
                <a:gd name="connsiteY1186" fmla="*/ 2188 h 10000"/>
                <a:gd name="connsiteX1187" fmla="*/ 5249 w 10746"/>
                <a:gd name="connsiteY1187" fmla="*/ 2222 h 10000"/>
                <a:gd name="connsiteX1188" fmla="*/ 5249 w 10746"/>
                <a:gd name="connsiteY1188" fmla="*/ 2222 h 10000"/>
                <a:gd name="connsiteX1189" fmla="*/ 5217 w 10746"/>
                <a:gd name="connsiteY1189" fmla="*/ 2214 h 10000"/>
                <a:gd name="connsiteX1190" fmla="*/ 5203 w 10746"/>
                <a:gd name="connsiteY1190" fmla="*/ 2239 h 10000"/>
                <a:gd name="connsiteX1191" fmla="*/ 5171 w 10746"/>
                <a:gd name="connsiteY1191" fmla="*/ 2214 h 10000"/>
                <a:gd name="connsiteX1192" fmla="*/ 5157 w 10746"/>
                <a:gd name="connsiteY1192" fmla="*/ 2239 h 10000"/>
                <a:gd name="connsiteX1193" fmla="*/ 5166 w 10746"/>
                <a:gd name="connsiteY1193" fmla="*/ 2256 h 10000"/>
                <a:gd name="connsiteX1194" fmla="*/ 5171 w 10746"/>
                <a:gd name="connsiteY1194" fmla="*/ 2308 h 10000"/>
                <a:gd name="connsiteX1195" fmla="*/ 5212 w 10746"/>
                <a:gd name="connsiteY1195" fmla="*/ 2350 h 10000"/>
                <a:gd name="connsiteX1196" fmla="*/ 5203 w 10746"/>
                <a:gd name="connsiteY1196" fmla="*/ 2350 h 10000"/>
                <a:gd name="connsiteX1197" fmla="*/ 5166 w 10746"/>
                <a:gd name="connsiteY1197" fmla="*/ 2325 h 10000"/>
                <a:gd name="connsiteX1198" fmla="*/ 5152 w 10746"/>
                <a:gd name="connsiteY1198" fmla="*/ 2308 h 10000"/>
                <a:gd name="connsiteX1199" fmla="*/ 5143 w 10746"/>
                <a:gd name="connsiteY1199" fmla="*/ 2333 h 10000"/>
                <a:gd name="connsiteX1200" fmla="*/ 5138 w 10746"/>
                <a:gd name="connsiteY1200" fmla="*/ 2333 h 10000"/>
                <a:gd name="connsiteX1201" fmla="*/ 5124 w 10746"/>
                <a:gd name="connsiteY1201" fmla="*/ 2376 h 10000"/>
                <a:gd name="connsiteX1202" fmla="*/ 5115 w 10746"/>
                <a:gd name="connsiteY1202" fmla="*/ 2385 h 10000"/>
                <a:gd name="connsiteX1203" fmla="*/ 5106 w 10746"/>
                <a:gd name="connsiteY1203" fmla="*/ 2385 h 10000"/>
                <a:gd name="connsiteX1204" fmla="*/ 5055 w 10746"/>
                <a:gd name="connsiteY1204" fmla="*/ 2470 h 10000"/>
                <a:gd name="connsiteX1205" fmla="*/ 5065 w 10746"/>
                <a:gd name="connsiteY1205" fmla="*/ 2462 h 10000"/>
                <a:gd name="connsiteX1206" fmla="*/ 5055 w 10746"/>
                <a:gd name="connsiteY1206" fmla="*/ 2444 h 10000"/>
                <a:gd name="connsiteX1207" fmla="*/ 5041 w 10746"/>
                <a:gd name="connsiteY1207" fmla="*/ 2462 h 10000"/>
                <a:gd name="connsiteX1208" fmla="*/ 5037 w 10746"/>
                <a:gd name="connsiteY1208" fmla="*/ 2470 h 10000"/>
                <a:gd name="connsiteX1209" fmla="*/ 5032 w 10746"/>
                <a:gd name="connsiteY1209" fmla="*/ 2470 h 10000"/>
                <a:gd name="connsiteX1210" fmla="*/ 5032 w 10746"/>
                <a:gd name="connsiteY1210" fmla="*/ 2444 h 10000"/>
                <a:gd name="connsiteX1211" fmla="*/ 5055 w 10746"/>
                <a:gd name="connsiteY1211" fmla="*/ 2410 h 10000"/>
                <a:gd name="connsiteX1212" fmla="*/ 5065 w 10746"/>
                <a:gd name="connsiteY1212" fmla="*/ 2393 h 10000"/>
                <a:gd name="connsiteX1213" fmla="*/ 5069 w 10746"/>
                <a:gd name="connsiteY1213" fmla="*/ 2385 h 10000"/>
                <a:gd name="connsiteX1214" fmla="*/ 5083 w 10746"/>
                <a:gd name="connsiteY1214" fmla="*/ 2376 h 10000"/>
                <a:gd name="connsiteX1215" fmla="*/ 5097 w 10746"/>
                <a:gd name="connsiteY1215" fmla="*/ 2376 h 10000"/>
                <a:gd name="connsiteX1216" fmla="*/ 5124 w 10746"/>
                <a:gd name="connsiteY1216" fmla="*/ 2325 h 10000"/>
                <a:gd name="connsiteX1217" fmla="*/ 5143 w 10746"/>
                <a:gd name="connsiteY1217" fmla="*/ 2248 h 10000"/>
                <a:gd name="connsiteX1218" fmla="*/ 5152 w 10746"/>
                <a:gd name="connsiteY1218" fmla="*/ 2239 h 10000"/>
                <a:gd name="connsiteX1219" fmla="*/ 5166 w 10746"/>
                <a:gd name="connsiteY1219" fmla="*/ 2162 h 10000"/>
                <a:gd name="connsiteX1220" fmla="*/ 5171 w 10746"/>
                <a:gd name="connsiteY1220" fmla="*/ 2171 h 10000"/>
                <a:gd name="connsiteX1221" fmla="*/ 5198 w 10746"/>
                <a:gd name="connsiteY1221" fmla="*/ 2145 h 10000"/>
                <a:gd name="connsiteX1222" fmla="*/ 5203 w 10746"/>
                <a:gd name="connsiteY1222" fmla="*/ 2111 h 10000"/>
                <a:gd name="connsiteX1223" fmla="*/ 5217 w 10746"/>
                <a:gd name="connsiteY1223" fmla="*/ 2060 h 10000"/>
                <a:gd name="connsiteX1224" fmla="*/ 5226 w 10746"/>
                <a:gd name="connsiteY1224" fmla="*/ 2026 h 10000"/>
                <a:gd name="connsiteX1225" fmla="*/ 5286 w 10746"/>
                <a:gd name="connsiteY1225" fmla="*/ 2026 h 10000"/>
                <a:gd name="connsiteX1226" fmla="*/ 5290 w 10746"/>
                <a:gd name="connsiteY1226" fmla="*/ 2034 h 10000"/>
                <a:gd name="connsiteX1227" fmla="*/ 5323 w 10746"/>
                <a:gd name="connsiteY1227" fmla="*/ 1923 h 10000"/>
                <a:gd name="connsiteX1228" fmla="*/ 5323 w 10746"/>
                <a:gd name="connsiteY1228" fmla="*/ 1889 h 10000"/>
                <a:gd name="connsiteX1229" fmla="*/ 5359 w 10746"/>
                <a:gd name="connsiteY1229" fmla="*/ 1829 h 10000"/>
                <a:gd name="connsiteX1230" fmla="*/ 5378 w 10746"/>
                <a:gd name="connsiteY1230" fmla="*/ 1812 h 10000"/>
                <a:gd name="connsiteX1231" fmla="*/ 5406 w 10746"/>
                <a:gd name="connsiteY1231" fmla="*/ 1752 h 10000"/>
                <a:gd name="connsiteX1232" fmla="*/ 5410 w 10746"/>
                <a:gd name="connsiteY1232" fmla="*/ 1718 h 10000"/>
                <a:gd name="connsiteX1233" fmla="*/ 5438 w 10746"/>
                <a:gd name="connsiteY1233" fmla="*/ 1667 h 10000"/>
                <a:gd name="connsiteX1234" fmla="*/ 5438 w 10746"/>
                <a:gd name="connsiteY1234" fmla="*/ 1650 h 10000"/>
                <a:gd name="connsiteX1235" fmla="*/ 5438 w 10746"/>
                <a:gd name="connsiteY1235" fmla="*/ 1641 h 10000"/>
                <a:gd name="connsiteX1236" fmla="*/ 5452 w 10746"/>
                <a:gd name="connsiteY1236" fmla="*/ 1641 h 10000"/>
                <a:gd name="connsiteX1237" fmla="*/ 5456 w 10746"/>
                <a:gd name="connsiteY1237" fmla="*/ 1615 h 10000"/>
                <a:gd name="connsiteX1238" fmla="*/ 5456 w 10746"/>
                <a:gd name="connsiteY1238" fmla="*/ 1615 h 10000"/>
                <a:gd name="connsiteX1239" fmla="*/ 5465 w 10746"/>
                <a:gd name="connsiteY1239" fmla="*/ 1598 h 10000"/>
                <a:gd name="connsiteX1240" fmla="*/ 5465 w 10746"/>
                <a:gd name="connsiteY1240" fmla="*/ 1615 h 10000"/>
                <a:gd name="connsiteX1241" fmla="*/ 5479 w 10746"/>
                <a:gd name="connsiteY1241" fmla="*/ 1598 h 10000"/>
                <a:gd name="connsiteX1242" fmla="*/ 5484 w 10746"/>
                <a:gd name="connsiteY1242" fmla="*/ 1581 h 10000"/>
                <a:gd name="connsiteX1243" fmla="*/ 5493 w 10746"/>
                <a:gd name="connsiteY1243" fmla="*/ 1581 h 10000"/>
                <a:gd name="connsiteX1244" fmla="*/ 5512 w 10746"/>
                <a:gd name="connsiteY1244" fmla="*/ 1538 h 10000"/>
                <a:gd name="connsiteX1245" fmla="*/ 5530 w 10746"/>
                <a:gd name="connsiteY1245" fmla="*/ 1564 h 10000"/>
                <a:gd name="connsiteX1246" fmla="*/ 5530 w 10746"/>
                <a:gd name="connsiteY1246" fmla="*/ 1538 h 10000"/>
                <a:gd name="connsiteX1247" fmla="*/ 5539 w 10746"/>
                <a:gd name="connsiteY1247" fmla="*/ 1530 h 10000"/>
                <a:gd name="connsiteX1248" fmla="*/ 5530 w 10746"/>
                <a:gd name="connsiteY1248" fmla="*/ 1504 h 10000"/>
                <a:gd name="connsiteX1249" fmla="*/ 5567 w 10746"/>
                <a:gd name="connsiteY1249" fmla="*/ 1479 h 10000"/>
                <a:gd name="connsiteX1250" fmla="*/ 5553 w 10746"/>
                <a:gd name="connsiteY1250" fmla="*/ 1479 h 10000"/>
                <a:gd name="connsiteX1251" fmla="*/ 5553 w 10746"/>
                <a:gd name="connsiteY1251" fmla="*/ 1453 h 10000"/>
                <a:gd name="connsiteX1252" fmla="*/ 5581 w 10746"/>
                <a:gd name="connsiteY1252" fmla="*/ 1444 h 10000"/>
                <a:gd name="connsiteX1253" fmla="*/ 5581 w 10746"/>
                <a:gd name="connsiteY1253" fmla="*/ 1453 h 10000"/>
                <a:gd name="connsiteX1254" fmla="*/ 5585 w 10746"/>
                <a:gd name="connsiteY1254" fmla="*/ 1444 h 10000"/>
                <a:gd name="connsiteX1255" fmla="*/ 5594 w 10746"/>
                <a:gd name="connsiteY1255" fmla="*/ 1427 h 10000"/>
                <a:gd name="connsiteX1256" fmla="*/ 5599 w 10746"/>
                <a:gd name="connsiteY1256" fmla="*/ 1419 h 10000"/>
                <a:gd name="connsiteX1257" fmla="*/ 5594 w 10746"/>
                <a:gd name="connsiteY1257" fmla="*/ 1402 h 10000"/>
                <a:gd name="connsiteX1258" fmla="*/ 5604 w 10746"/>
                <a:gd name="connsiteY1258" fmla="*/ 1393 h 10000"/>
                <a:gd name="connsiteX1259" fmla="*/ 5618 w 10746"/>
                <a:gd name="connsiteY1259" fmla="*/ 1393 h 10000"/>
                <a:gd name="connsiteX1260" fmla="*/ 5627 w 10746"/>
                <a:gd name="connsiteY1260" fmla="*/ 1368 h 10000"/>
                <a:gd name="connsiteX1261" fmla="*/ 5627 w 10746"/>
                <a:gd name="connsiteY1261" fmla="*/ 1325 h 10000"/>
                <a:gd name="connsiteX1262" fmla="*/ 5645 w 10746"/>
                <a:gd name="connsiteY1262" fmla="*/ 1291 h 10000"/>
                <a:gd name="connsiteX1263" fmla="*/ 5645 w 10746"/>
                <a:gd name="connsiteY1263" fmla="*/ 1282 h 10000"/>
                <a:gd name="connsiteX1264" fmla="*/ 5654 w 10746"/>
                <a:gd name="connsiteY1264" fmla="*/ 1265 h 10000"/>
                <a:gd name="connsiteX1265" fmla="*/ 5654 w 10746"/>
                <a:gd name="connsiteY1265" fmla="*/ 1214 h 10000"/>
                <a:gd name="connsiteX1266" fmla="*/ 5654 w 10746"/>
                <a:gd name="connsiteY1266" fmla="*/ 1214 h 10000"/>
                <a:gd name="connsiteX1267" fmla="*/ 5645 w 10746"/>
                <a:gd name="connsiteY1267" fmla="*/ 1197 h 10000"/>
                <a:gd name="connsiteX1268" fmla="*/ 5659 w 10746"/>
                <a:gd name="connsiteY1268" fmla="*/ 1197 h 10000"/>
                <a:gd name="connsiteX1269" fmla="*/ 5654 w 10746"/>
                <a:gd name="connsiteY1269" fmla="*/ 1154 h 10000"/>
                <a:gd name="connsiteX1270" fmla="*/ 5641 w 10746"/>
                <a:gd name="connsiteY1270" fmla="*/ 1154 h 10000"/>
                <a:gd name="connsiteX1271" fmla="*/ 5627 w 10746"/>
                <a:gd name="connsiteY1271" fmla="*/ 1128 h 10000"/>
                <a:gd name="connsiteX1272" fmla="*/ 5618 w 10746"/>
                <a:gd name="connsiteY1272" fmla="*/ 1094 h 10000"/>
                <a:gd name="connsiteX1273" fmla="*/ 5613 w 10746"/>
                <a:gd name="connsiteY1273" fmla="*/ 1094 h 10000"/>
                <a:gd name="connsiteX1274" fmla="*/ 5604 w 10746"/>
                <a:gd name="connsiteY1274" fmla="*/ 1120 h 10000"/>
                <a:gd name="connsiteX1275" fmla="*/ 5604 w 10746"/>
                <a:gd name="connsiteY1275" fmla="*/ 1128 h 10000"/>
                <a:gd name="connsiteX1276" fmla="*/ 5599 w 10746"/>
                <a:gd name="connsiteY1276" fmla="*/ 1103 h 10000"/>
                <a:gd name="connsiteX1277" fmla="*/ 5599 w 10746"/>
                <a:gd name="connsiteY1277" fmla="*/ 1103 h 10000"/>
                <a:gd name="connsiteX1278" fmla="*/ 5594 w 10746"/>
                <a:gd name="connsiteY1278" fmla="*/ 1068 h 10000"/>
                <a:gd name="connsiteX1279" fmla="*/ 5594 w 10746"/>
                <a:gd name="connsiteY1279" fmla="*/ 1060 h 10000"/>
                <a:gd name="connsiteX1280" fmla="*/ 5581 w 10746"/>
                <a:gd name="connsiteY1280" fmla="*/ 1034 h 10000"/>
                <a:gd name="connsiteX1281" fmla="*/ 5571 w 10746"/>
                <a:gd name="connsiteY1281" fmla="*/ 1009 h 10000"/>
                <a:gd name="connsiteX1282" fmla="*/ 5571 w 10746"/>
                <a:gd name="connsiteY1282" fmla="*/ 991 h 10000"/>
                <a:gd name="connsiteX1283" fmla="*/ 5585 w 10746"/>
                <a:gd name="connsiteY1283" fmla="*/ 1009 h 10000"/>
                <a:gd name="connsiteX1284" fmla="*/ 5604 w 10746"/>
                <a:gd name="connsiteY1284" fmla="*/ 1043 h 10000"/>
                <a:gd name="connsiteX1285" fmla="*/ 5641 w 10746"/>
                <a:gd name="connsiteY1285" fmla="*/ 1094 h 10000"/>
                <a:gd name="connsiteX1286" fmla="*/ 5631 w 10746"/>
                <a:gd name="connsiteY1286" fmla="*/ 1128 h 10000"/>
                <a:gd name="connsiteX1287" fmla="*/ 5641 w 10746"/>
                <a:gd name="connsiteY1287" fmla="*/ 1128 h 10000"/>
                <a:gd name="connsiteX1288" fmla="*/ 5659 w 10746"/>
                <a:gd name="connsiteY1288" fmla="*/ 1017 h 10000"/>
                <a:gd name="connsiteX1289" fmla="*/ 5659 w 10746"/>
                <a:gd name="connsiteY1289" fmla="*/ 983 h 10000"/>
                <a:gd name="connsiteX1290" fmla="*/ 5659 w 10746"/>
                <a:gd name="connsiteY1290" fmla="*/ 957 h 10000"/>
                <a:gd name="connsiteX1291" fmla="*/ 5654 w 10746"/>
                <a:gd name="connsiteY1291" fmla="*/ 966 h 10000"/>
                <a:gd name="connsiteX1292" fmla="*/ 5641 w 10746"/>
                <a:gd name="connsiteY1292" fmla="*/ 957 h 10000"/>
                <a:gd name="connsiteX1293" fmla="*/ 5631 w 10746"/>
                <a:gd name="connsiteY1293" fmla="*/ 897 h 10000"/>
                <a:gd name="connsiteX1294" fmla="*/ 5641 w 10746"/>
                <a:gd name="connsiteY1294" fmla="*/ 872 h 10000"/>
                <a:gd name="connsiteX1295" fmla="*/ 5618 w 10746"/>
                <a:gd name="connsiteY1295" fmla="*/ 803 h 10000"/>
                <a:gd name="connsiteX1296" fmla="*/ 5604 w 10746"/>
                <a:gd name="connsiteY1296" fmla="*/ 821 h 10000"/>
                <a:gd name="connsiteX1297" fmla="*/ 5613 w 10746"/>
                <a:gd name="connsiteY1297" fmla="*/ 846 h 10000"/>
                <a:gd name="connsiteX1298" fmla="*/ 5604 w 10746"/>
                <a:gd name="connsiteY1298" fmla="*/ 855 h 10000"/>
                <a:gd name="connsiteX1299" fmla="*/ 5599 w 10746"/>
                <a:gd name="connsiteY1299" fmla="*/ 880 h 10000"/>
                <a:gd name="connsiteX1300" fmla="*/ 5594 w 10746"/>
                <a:gd name="connsiteY1300" fmla="*/ 880 h 10000"/>
                <a:gd name="connsiteX1301" fmla="*/ 5585 w 10746"/>
                <a:gd name="connsiteY1301" fmla="*/ 829 h 10000"/>
                <a:gd name="connsiteX1302" fmla="*/ 5571 w 10746"/>
                <a:gd name="connsiteY1302" fmla="*/ 803 h 10000"/>
                <a:gd name="connsiteX1303" fmla="*/ 5585 w 10746"/>
                <a:gd name="connsiteY1303" fmla="*/ 795 h 10000"/>
                <a:gd name="connsiteX1304" fmla="*/ 5585 w 10746"/>
                <a:gd name="connsiteY1304" fmla="*/ 761 h 10000"/>
                <a:gd name="connsiteX1305" fmla="*/ 5558 w 10746"/>
                <a:gd name="connsiteY1305" fmla="*/ 709 h 10000"/>
                <a:gd name="connsiteX1306" fmla="*/ 5544 w 10746"/>
                <a:gd name="connsiteY1306" fmla="*/ 709 h 10000"/>
                <a:gd name="connsiteX1307" fmla="*/ 5544 w 10746"/>
                <a:gd name="connsiteY1307" fmla="*/ 684 h 10000"/>
                <a:gd name="connsiteX1308" fmla="*/ 5525 w 10746"/>
                <a:gd name="connsiteY1308" fmla="*/ 632 h 10000"/>
                <a:gd name="connsiteX1309" fmla="*/ 5507 w 10746"/>
                <a:gd name="connsiteY1309" fmla="*/ 607 h 10000"/>
                <a:gd name="connsiteX1310" fmla="*/ 5512 w 10746"/>
                <a:gd name="connsiteY1310" fmla="*/ 598 h 10000"/>
                <a:gd name="connsiteX1311" fmla="*/ 5507 w 10746"/>
                <a:gd name="connsiteY1311" fmla="*/ 581 h 10000"/>
                <a:gd name="connsiteX1312" fmla="*/ 5493 w 10746"/>
                <a:gd name="connsiteY1312" fmla="*/ 573 h 10000"/>
                <a:gd name="connsiteX1313" fmla="*/ 5484 w 10746"/>
                <a:gd name="connsiteY1313" fmla="*/ 581 h 10000"/>
                <a:gd name="connsiteX1314" fmla="*/ 5484 w 10746"/>
                <a:gd name="connsiteY1314" fmla="*/ 573 h 10000"/>
                <a:gd name="connsiteX1315" fmla="*/ 5484 w 10746"/>
                <a:gd name="connsiteY1315" fmla="*/ 547 h 10000"/>
                <a:gd name="connsiteX1316" fmla="*/ 5465 w 10746"/>
                <a:gd name="connsiteY1316" fmla="*/ 556 h 10000"/>
                <a:gd name="connsiteX1317" fmla="*/ 5433 w 10746"/>
                <a:gd name="connsiteY1317" fmla="*/ 547 h 10000"/>
                <a:gd name="connsiteX1318" fmla="*/ 5410 w 10746"/>
                <a:gd name="connsiteY1318" fmla="*/ 573 h 10000"/>
                <a:gd name="connsiteX1319" fmla="*/ 5406 w 10746"/>
                <a:gd name="connsiteY1319" fmla="*/ 573 h 10000"/>
                <a:gd name="connsiteX1320" fmla="*/ 5392 w 10746"/>
                <a:gd name="connsiteY1320" fmla="*/ 573 h 10000"/>
                <a:gd name="connsiteX1321" fmla="*/ 5364 w 10746"/>
                <a:gd name="connsiteY1321" fmla="*/ 530 h 10000"/>
                <a:gd name="connsiteX1322" fmla="*/ 5350 w 10746"/>
                <a:gd name="connsiteY1322" fmla="*/ 556 h 10000"/>
                <a:gd name="connsiteX1323" fmla="*/ 5346 w 10746"/>
                <a:gd name="connsiteY1323" fmla="*/ 556 h 10000"/>
                <a:gd name="connsiteX1324" fmla="*/ 5313 w 10746"/>
                <a:gd name="connsiteY1324" fmla="*/ 573 h 10000"/>
                <a:gd name="connsiteX1325" fmla="*/ 5304 w 10746"/>
                <a:gd name="connsiteY1325" fmla="*/ 556 h 10000"/>
                <a:gd name="connsiteX1326" fmla="*/ 5290 w 10746"/>
                <a:gd name="connsiteY1326" fmla="*/ 573 h 10000"/>
                <a:gd name="connsiteX1327" fmla="*/ 5290 w 10746"/>
                <a:gd name="connsiteY1327" fmla="*/ 556 h 10000"/>
                <a:gd name="connsiteX1328" fmla="*/ 5300 w 10746"/>
                <a:gd name="connsiteY1328" fmla="*/ 547 h 10000"/>
                <a:gd name="connsiteX1329" fmla="*/ 5300 w 10746"/>
                <a:gd name="connsiteY1329" fmla="*/ 530 h 10000"/>
                <a:gd name="connsiteX1330" fmla="*/ 5290 w 10746"/>
                <a:gd name="connsiteY1330" fmla="*/ 530 h 10000"/>
                <a:gd name="connsiteX1331" fmla="*/ 5286 w 10746"/>
                <a:gd name="connsiteY1331" fmla="*/ 547 h 10000"/>
                <a:gd name="connsiteX1332" fmla="*/ 5272 w 10746"/>
                <a:gd name="connsiteY1332" fmla="*/ 556 h 10000"/>
                <a:gd name="connsiteX1333" fmla="*/ 5272 w 10746"/>
                <a:gd name="connsiteY1333" fmla="*/ 598 h 10000"/>
                <a:gd name="connsiteX1334" fmla="*/ 5276 w 10746"/>
                <a:gd name="connsiteY1334" fmla="*/ 581 h 10000"/>
                <a:gd name="connsiteX1335" fmla="*/ 5272 w 10746"/>
                <a:gd name="connsiteY1335" fmla="*/ 607 h 10000"/>
                <a:gd name="connsiteX1336" fmla="*/ 5263 w 10746"/>
                <a:gd name="connsiteY1336" fmla="*/ 607 h 10000"/>
                <a:gd name="connsiteX1337" fmla="*/ 5263 w 10746"/>
                <a:gd name="connsiteY1337" fmla="*/ 632 h 10000"/>
                <a:gd name="connsiteX1338" fmla="*/ 5258 w 10746"/>
                <a:gd name="connsiteY1338" fmla="*/ 658 h 10000"/>
                <a:gd name="connsiteX1339" fmla="*/ 5244 w 10746"/>
                <a:gd name="connsiteY1339" fmla="*/ 667 h 10000"/>
                <a:gd name="connsiteX1340" fmla="*/ 5240 w 10746"/>
                <a:gd name="connsiteY1340" fmla="*/ 658 h 10000"/>
                <a:gd name="connsiteX1341" fmla="*/ 5240 w 10746"/>
                <a:gd name="connsiteY1341" fmla="*/ 684 h 10000"/>
                <a:gd name="connsiteX1342" fmla="*/ 5212 w 10746"/>
                <a:gd name="connsiteY1342" fmla="*/ 684 h 10000"/>
                <a:gd name="connsiteX1343" fmla="*/ 5198 w 10746"/>
                <a:gd name="connsiteY1343" fmla="*/ 692 h 10000"/>
                <a:gd name="connsiteX1344" fmla="*/ 5184 w 10746"/>
                <a:gd name="connsiteY1344" fmla="*/ 684 h 10000"/>
                <a:gd name="connsiteX1345" fmla="*/ 5157 w 10746"/>
                <a:gd name="connsiteY1345" fmla="*/ 684 h 10000"/>
                <a:gd name="connsiteX1346" fmla="*/ 5157 w 10746"/>
                <a:gd name="connsiteY1346" fmla="*/ 667 h 10000"/>
                <a:gd name="connsiteX1347" fmla="*/ 5157 w 10746"/>
                <a:gd name="connsiteY1347" fmla="*/ 667 h 10000"/>
                <a:gd name="connsiteX1348" fmla="*/ 5180 w 10746"/>
                <a:gd name="connsiteY1348" fmla="*/ 650 h 10000"/>
                <a:gd name="connsiteX1349" fmla="*/ 5184 w 10746"/>
                <a:gd name="connsiteY1349" fmla="*/ 658 h 10000"/>
                <a:gd name="connsiteX1350" fmla="*/ 5203 w 10746"/>
                <a:gd name="connsiteY1350" fmla="*/ 547 h 10000"/>
                <a:gd name="connsiteX1351" fmla="*/ 5226 w 10746"/>
                <a:gd name="connsiteY1351" fmla="*/ 530 h 10000"/>
                <a:gd name="connsiteX1352" fmla="*/ 5230 w 10746"/>
                <a:gd name="connsiteY1352" fmla="*/ 487 h 10000"/>
                <a:gd name="connsiteX1353" fmla="*/ 5230 w 10746"/>
                <a:gd name="connsiteY1353" fmla="*/ 487 h 10000"/>
                <a:gd name="connsiteX1354" fmla="*/ 5226 w 10746"/>
                <a:gd name="connsiteY1354" fmla="*/ 462 h 10000"/>
                <a:gd name="connsiteX1355" fmla="*/ 5226 w 10746"/>
                <a:gd name="connsiteY1355" fmla="*/ 462 h 10000"/>
                <a:gd name="connsiteX1356" fmla="*/ 5240 w 10746"/>
                <a:gd name="connsiteY1356" fmla="*/ 462 h 10000"/>
                <a:gd name="connsiteX1357" fmla="*/ 5240 w 10746"/>
                <a:gd name="connsiteY1357" fmla="*/ 444 h 10000"/>
                <a:gd name="connsiteX1358" fmla="*/ 5230 w 10746"/>
                <a:gd name="connsiteY1358" fmla="*/ 436 h 10000"/>
                <a:gd name="connsiteX1359" fmla="*/ 5230 w 10746"/>
                <a:gd name="connsiteY1359" fmla="*/ 419 h 10000"/>
                <a:gd name="connsiteX1360" fmla="*/ 5230 w 10746"/>
                <a:gd name="connsiteY1360" fmla="*/ 410 h 10000"/>
                <a:gd name="connsiteX1361" fmla="*/ 5198 w 10746"/>
                <a:gd name="connsiteY1361" fmla="*/ 402 h 10000"/>
                <a:gd name="connsiteX1362" fmla="*/ 5189 w 10746"/>
                <a:gd name="connsiteY1362" fmla="*/ 402 h 10000"/>
                <a:gd name="connsiteX1363" fmla="*/ 5184 w 10746"/>
                <a:gd name="connsiteY1363" fmla="*/ 376 h 10000"/>
                <a:gd name="connsiteX1364" fmla="*/ 5180 w 10746"/>
                <a:gd name="connsiteY1364" fmla="*/ 376 h 10000"/>
                <a:gd name="connsiteX1365" fmla="*/ 5166 w 10746"/>
                <a:gd name="connsiteY1365" fmla="*/ 376 h 10000"/>
                <a:gd name="connsiteX1366" fmla="*/ 5157 w 10746"/>
                <a:gd name="connsiteY1366" fmla="*/ 385 h 10000"/>
                <a:gd name="connsiteX1367" fmla="*/ 5152 w 10746"/>
                <a:gd name="connsiteY1367" fmla="*/ 376 h 10000"/>
                <a:gd name="connsiteX1368" fmla="*/ 5129 w 10746"/>
                <a:gd name="connsiteY1368" fmla="*/ 385 h 10000"/>
                <a:gd name="connsiteX1369" fmla="*/ 5129 w 10746"/>
                <a:gd name="connsiteY1369" fmla="*/ 350 h 10000"/>
                <a:gd name="connsiteX1370" fmla="*/ 5129 w 10746"/>
                <a:gd name="connsiteY1370" fmla="*/ 325 h 10000"/>
                <a:gd name="connsiteX1371" fmla="*/ 5124 w 10746"/>
                <a:gd name="connsiteY1371" fmla="*/ 359 h 10000"/>
                <a:gd name="connsiteX1372" fmla="*/ 5106 w 10746"/>
                <a:gd name="connsiteY1372" fmla="*/ 359 h 10000"/>
                <a:gd name="connsiteX1373" fmla="*/ 5037 w 10746"/>
                <a:gd name="connsiteY1373" fmla="*/ 419 h 10000"/>
                <a:gd name="connsiteX1374" fmla="*/ 5051 w 10746"/>
                <a:gd name="connsiteY1374" fmla="*/ 385 h 10000"/>
                <a:gd name="connsiteX1375" fmla="*/ 5055 w 10746"/>
                <a:gd name="connsiteY1375" fmla="*/ 376 h 10000"/>
                <a:gd name="connsiteX1376" fmla="*/ 5092 w 10746"/>
                <a:gd name="connsiteY1376" fmla="*/ 282 h 10000"/>
                <a:gd name="connsiteX1377" fmla="*/ 5106 w 10746"/>
                <a:gd name="connsiteY1377" fmla="*/ 265 h 10000"/>
                <a:gd name="connsiteX1378" fmla="*/ 5115 w 10746"/>
                <a:gd name="connsiteY1378" fmla="*/ 265 h 10000"/>
                <a:gd name="connsiteX1379" fmla="*/ 5124 w 10746"/>
                <a:gd name="connsiteY1379" fmla="*/ 222 h 10000"/>
                <a:gd name="connsiteX1380" fmla="*/ 5124 w 10746"/>
                <a:gd name="connsiteY1380" fmla="*/ 214 h 10000"/>
                <a:gd name="connsiteX1381" fmla="*/ 5143 w 10746"/>
                <a:gd name="connsiteY1381" fmla="*/ 197 h 10000"/>
                <a:gd name="connsiteX1382" fmla="*/ 5152 w 10746"/>
                <a:gd name="connsiteY1382" fmla="*/ 214 h 10000"/>
                <a:gd name="connsiteX1383" fmla="*/ 5143 w 10746"/>
                <a:gd name="connsiteY1383" fmla="*/ 188 h 10000"/>
                <a:gd name="connsiteX1384" fmla="*/ 5129 w 10746"/>
                <a:gd name="connsiteY1384" fmla="*/ 103 h 10000"/>
                <a:gd name="connsiteX1385" fmla="*/ 5115 w 10746"/>
                <a:gd name="connsiteY1385" fmla="*/ 85 h 10000"/>
                <a:gd name="connsiteX1386" fmla="*/ 5111 w 10746"/>
                <a:gd name="connsiteY1386" fmla="*/ 111 h 10000"/>
                <a:gd name="connsiteX1387" fmla="*/ 5092 w 10746"/>
                <a:gd name="connsiteY1387" fmla="*/ 103 h 10000"/>
                <a:gd name="connsiteX1388" fmla="*/ 5069 w 10746"/>
                <a:gd name="connsiteY1388" fmla="*/ 77 h 10000"/>
                <a:gd name="connsiteX1389" fmla="*/ 5051 w 10746"/>
                <a:gd name="connsiteY1389" fmla="*/ 26 h 10000"/>
                <a:gd name="connsiteX1390" fmla="*/ 5041 w 10746"/>
                <a:gd name="connsiteY1390" fmla="*/ 34 h 10000"/>
                <a:gd name="connsiteX1391" fmla="*/ 5037 w 10746"/>
                <a:gd name="connsiteY1391" fmla="*/ 34 h 10000"/>
                <a:gd name="connsiteX1392" fmla="*/ 5037 w 10746"/>
                <a:gd name="connsiteY1392" fmla="*/ 26 h 10000"/>
                <a:gd name="connsiteX1393" fmla="*/ 5037 w 10746"/>
                <a:gd name="connsiteY1393" fmla="*/ 9 h 10000"/>
                <a:gd name="connsiteX1394" fmla="*/ 5023 w 10746"/>
                <a:gd name="connsiteY1394" fmla="*/ 0 h 10000"/>
                <a:gd name="connsiteX1395" fmla="*/ 5009 w 10746"/>
                <a:gd name="connsiteY1395" fmla="*/ 9 h 10000"/>
                <a:gd name="connsiteX1396" fmla="*/ 4995 w 10746"/>
                <a:gd name="connsiteY1396" fmla="*/ 34 h 10000"/>
                <a:gd name="connsiteX1397" fmla="*/ 4991 w 10746"/>
                <a:gd name="connsiteY1397" fmla="*/ 60 h 10000"/>
                <a:gd name="connsiteX1398" fmla="*/ 4982 w 10746"/>
                <a:gd name="connsiteY1398" fmla="*/ 60 h 10000"/>
                <a:gd name="connsiteX1399" fmla="*/ 4949 w 10746"/>
                <a:gd name="connsiteY1399" fmla="*/ 51 h 10000"/>
                <a:gd name="connsiteX1400" fmla="*/ 4949 w 10746"/>
                <a:gd name="connsiteY1400" fmla="*/ 85 h 10000"/>
                <a:gd name="connsiteX1401" fmla="*/ 4903 w 10746"/>
                <a:gd name="connsiteY1401" fmla="*/ 197 h 10000"/>
                <a:gd name="connsiteX1402" fmla="*/ 4899 w 10746"/>
                <a:gd name="connsiteY1402" fmla="*/ 239 h 10000"/>
                <a:gd name="connsiteX1403" fmla="*/ 4871 w 10746"/>
                <a:gd name="connsiteY1403" fmla="*/ 274 h 10000"/>
                <a:gd name="connsiteX1404" fmla="*/ 4871 w 10746"/>
                <a:gd name="connsiteY1404" fmla="*/ 282 h 10000"/>
                <a:gd name="connsiteX1405" fmla="*/ 4834 w 10746"/>
                <a:gd name="connsiteY1405" fmla="*/ 376 h 10000"/>
                <a:gd name="connsiteX1406" fmla="*/ 4829 w 10746"/>
                <a:gd name="connsiteY1406" fmla="*/ 402 h 10000"/>
                <a:gd name="connsiteX1407" fmla="*/ 4834 w 10746"/>
                <a:gd name="connsiteY1407" fmla="*/ 410 h 10000"/>
                <a:gd name="connsiteX1408" fmla="*/ 4829 w 10746"/>
                <a:gd name="connsiteY1408" fmla="*/ 436 h 10000"/>
                <a:gd name="connsiteX1409" fmla="*/ 4825 w 10746"/>
                <a:gd name="connsiteY1409" fmla="*/ 436 h 10000"/>
                <a:gd name="connsiteX1410" fmla="*/ 4825 w 10746"/>
                <a:gd name="connsiteY1410" fmla="*/ 444 h 10000"/>
                <a:gd name="connsiteX1411" fmla="*/ 4811 w 10746"/>
                <a:gd name="connsiteY1411" fmla="*/ 496 h 10000"/>
                <a:gd name="connsiteX1412" fmla="*/ 4811 w 10746"/>
                <a:gd name="connsiteY1412" fmla="*/ 496 h 10000"/>
                <a:gd name="connsiteX1413" fmla="*/ 4811 w 10746"/>
                <a:gd name="connsiteY1413" fmla="*/ 521 h 10000"/>
                <a:gd name="connsiteX1414" fmla="*/ 4816 w 10746"/>
                <a:gd name="connsiteY1414" fmla="*/ 530 h 10000"/>
                <a:gd name="connsiteX1415" fmla="*/ 4834 w 10746"/>
                <a:gd name="connsiteY1415" fmla="*/ 547 h 10000"/>
                <a:gd name="connsiteX1416" fmla="*/ 4834 w 10746"/>
                <a:gd name="connsiteY1416" fmla="*/ 581 h 10000"/>
                <a:gd name="connsiteX1417" fmla="*/ 4843 w 10746"/>
                <a:gd name="connsiteY1417" fmla="*/ 581 h 10000"/>
                <a:gd name="connsiteX1418" fmla="*/ 4843 w 10746"/>
                <a:gd name="connsiteY1418" fmla="*/ 598 h 10000"/>
                <a:gd name="connsiteX1419" fmla="*/ 4829 w 10746"/>
                <a:gd name="connsiteY1419" fmla="*/ 598 h 10000"/>
                <a:gd name="connsiteX1420" fmla="*/ 4829 w 10746"/>
                <a:gd name="connsiteY1420" fmla="*/ 573 h 10000"/>
                <a:gd name="connsiteX1421" fmla="*/ 4829 w 10746"/>
                <a:gd name="connsiteY1421" fmla="*/ 632 h 10000"/>
                <a:gd name="connsiteX1422" fmla="*/ 4829 w 10746"/>
                <a:gd name="connsiteY1422" fmla="*/ 632 h 10000"/>
                <a:gd name="connsiteX1423" fmla="*/ 4829 w 10746"/>
                <a:gd name="connsiteY1423" fmla="*/ 650 h 10000"/>
                <a:gd name="connsiteX1424" fmla="*/ 4774 w 10746"/>
                <a:gd name="connsiteY1424" fmla="*/ 684 h 10000"/>
                <a:gd name="connsiteX1425" fmla="*/ 4756 w 10746"/>
                <a:gd name="connsiteY1425" fmla="*/ 684 h 10000"/>
                <a:gd name="connsiteX1426" fmla="*/ 4737 w 10746"/>
                <a:gd name="connsiteY1426" fmla="*/ 692 h 10000"/>
                <a:gd name="connsiteX1427" fmla="*/ 4677 w 10746"/>
                <a:gd name="connsiteY1427" fmla="*/ 667 h 10000"/>
                <a:gd name="connsiteX1428" fmla="*/ 4682 w 10746"/>
                <a:gd name="connsiteY1428" fmla="*/ 692 h 10000"/>
                <a:gd name="connsiteX1429" fmla="*/ 4682 w 10746"/>
                <a:gd name="connsiteY1429" fmla="*/ 709 h 10000"/>
                <a:gd name="connsiteX1430" fmla="*/ 4691 w 10746"/>
                <a:gd name="connsiteY1430" fmla="*/ 718 h 10000"/>
                <a:gd name="connsiteX1431" fmla="*/ 4691 w 10746"/>
                <a:gd name="connsiteY1431" fmla="*/ 744 h 10000"/>
                <a:gd name="connsiteX1432" fmla="*/ 4700 w 10746"/>
                <a:gd name="connsiteY1432" fmla="*/ 744 h 10000"/>
                <a:gd name="connsiteX1433" fmla="*/ 4714 w 10746"/>
                <a:gd name="connsiteY1433" fmla="*/ 769 h 10000"/>
                <a:gd name="connsiteX1434" fmla="*/ 4710 w 10746"/>
                <a:gd name="connsiteY1434" fmla="*/ 786 h 10000"/>
                <a:gd name="connsiteX1435" fmla="*/ 4737 w 10746"/>
                <a:gd name="connsiteY1435" fmla="*/ 786 h 10000"/>
                <a:gd name="connsiteX1436" fmla="*/ 4742 w 10746"/>
                <a:gd name="connsiteY1436" fmla="*/ 795 h 10000"/>
                <a:gd name="connsiteX1437" fmla="*/ 4742 w 10746"/>
                <a:gd name="connsiteY1437" fmla="*/ 803 h 10000"/>
                <a:gd name="connsiteX1438" fmla="*/ 4737 w 10746"/>
                <a:gd name="connsiteY1438" fmla="*/ 846 h 10000"/>
                <a:gd name="connsiteX1439" fmla="*/ 4737 w 10746"/>
                <a:gd name="connsiteY1439" fmla="*/ 880 h 10000"/>
                <a:gd name="connsiteX1440" fmla="*/ 4737 w 10746"/>
                <a:gd name="connsiteY1440" fmla="*/ 906 h 10000"/>
                <a:gd name="connsiteX1441" fmla="*/ 4724 w 10746"/>
                <a:gd name="connsiteY1441" fmla="*/ 897 h 10000"/>
                <a:gd name="connsiteX1442" fmla="*/ 4724 w 10746"/>
                <a:gd name="connsiteY1442" fmla="*/ 872 h 10000"/>
                <a:gd name="connsiteX1443" fmla="*/ 4714 w 10746"/>
                <a:gd name="connsiteY1443" fmla="*/ 855 h 10000"/>
                <a:gd name="connsiteX1444" fmla="*/ 4691 w 10746"/>
                <a:gd name="connsiteY1444" fmla="*/ 846 h 10000"/>
                <a:gd name="connsiteX1445" fmla="*/ 4691 w 10746"/>
                <a:gd name="connsiteY1445" fmla="*/ 846 h 10000"/>
                <a:gd name="connsiteX1446" fmla="*/ 4696 w 10746"/>
                <a:gd name="connsiteY1446" fmla="*/ 821 h 10000"/>
                <a:gd name="connsiteX1447" fmla="*/ 4691 w 10746"/>
                <a:gd name="connsiteY1447" fmla="*/ 803 h 10000"/>
                <a:gd name="connsiteX1448" fmla="*/ 4668 w 10746"/>
                <a:gd name="connsiteY1448" fmla="*/ 821 h 10000"/>
                <a:gd name="connsiteX1449" fmla="*/ 4668 w 10746"/>
                <a:gd name="connsiteY1449" fmla="*/ 786 h 10000"/>
                <a:gd name="connsiteX1450" fmla="*/ 4664 w 10746"/>
                <a:gd name="connsiteY1450" fmla="*/ 786 h 10000"/>
                <a:gd name="connsiteX1451" fmla="*/ 4622 w 10746"/>
                <a:gd name="connsiteY1451" fmla="*/ 846 h 10000"/>
                <a:gd name="connsiteX1452" fmla="*/ 4627 w 10746"/>
                <a:gd name="connsiteY1452" fmla="*/ 872 h 10000"/>
                <a:gd name="connsiteX1453" fmla="*/ 4622 w 10746"/>
                <a:gd name="connsiteY1453" fmla="*/ 880 h 10000"/>
                <a:gd name="connsiteX1454" fmla="*/ 4622 w 10746"/>
                <a:gd name="connsiteY1454" fmla="*/ 880 h 10000"/>
                <a:gd name="connsiteX1455" fmla="*/ 4618 w 10746"/>
                <a:gd name="connsiteY1455" fmla="*/ 872 h 10000"/>
                <a:gd name="connsiteX1456" fmla="*/ 4604 w 10746"/>
                <a:gd name="connsiteY1456" fmla="*/ 880 h 10000"/>
                <a:gd name="connsiteX1457" fmla="*/ 4594 w 10746"/>
                <a:gd name="connsiteY1457" fmla="*/ 906 h 10000"/>
                <a:gd name="connsiteX1458" fmla="*/ 4604 w 10746"/>
                <a:gd name="connsiteY1458" fmla="*/ 906 h 10000"/>
                <a:gd name="connsiteX1459" fmla="*/ 4608 w 10746"/>
                <a:gd name="connsiteY1459" fmla="*/ 906 h 10000"/>
                <a:gd name="connsiteX1460" fmla="*/ 4608 w 10746"/>
                <a:gd name="connsiteY1460" fmla="*/ 932 h 10000"/>
                <a:gd name="connsiteX1461" fmla="*/ 4604 w 10746"/>
                <a:gd name="connsiteY1461" fmla="*/ 932 h 10000"/>
                <a:gd name="connsiteX1462" fmla="*/ 4590 w 10746"/>
                <a:gd name="connsiteY1462" fmla="*/ 932 h 10000"/>
                <a:gd name="connsiteX1463" fmla="*/ 4567 w 10746"/>
                <a:gd name="connsiteY1463" fmla="*/ 957 h 10000"/>
                <a:gd name="connsiteX1464" fmla="*/ 4567 w 10746"/>
                <a:gd name="connsiteY1464" fmla="*/ 932 h 10000"/>
                <a:gd name="connsiteX1465" fmla="*/ 4567 w 10746"/>
                <a:gd name="connsiteY1465" fmla="*/ 923 h 10000"/>
                <a:gd name="connsiteX1466" fmla="*/ 4562 w 10746"/>
                <a:gd name="connsiteY1466" fmla="*/ 932 h 10000"/>
                <a:gd name="connsiteX1467" fmla="*/ 4548 w 10746"/>
                <a:gd name="connsiteY1467" fmla="*/ 957 h 10000"/>
                <a:gd name="connsiteX1468" fmla="*/ 4544 w 10746"/>
                <a:gd name="connsiteY1468" fmla="*/ 957 h 10000"/>
                <a:gd name="connsiteX1469" fmla="*/ 4521 w 10746"/>
                <a:gd name="connsiteY1469" fmla="*/ 983 h 10000"/>
                <a:gd name="connsiteX1470" fmla="*/ 4521 w 10746"/>
                <a:gd name="connsiteY1470" fmla="*/ 983 h 10000"/>
                <a:gd name="connsiteX1471" fmla="*/ 4530 w 10746"/>
                <a:gd name="connsiteY1471" fmla="*/ 957 h 10000"/>
                <a:gd name="connsiteX1472" fmla="*/ 4535 w 10746"/>
                <a:gd name="connsiteY1472" fmla="*/ 932 h 10000"/>
                <a:gd name="connsiteX1473" fmla="*/ 4521 w 10746"/>
                <a:gd name="connsiteY1473" fmla="*/ 932 h 10000"/>
                <a:gd name="connsiteX1474" fmla="*/ 4516 w 10746"/>
                <a:gd name="connsiteY1474" fmla="*/ 923 h 10000"/>
                <a:gd name="connsiteX1475" fmla="*/ 4516 w 10746"/>
                <a:gd name="connsiteY1475" fmla="*/ 932 h 10000"/>
                <a:gd name="connsiteX1476" fmla="*/ 4488 w 10746"/>
                <a:gd name="connsiteY1476" fmla="*/ 940 h 10000"/>
                <a:gd name="connsiteX1477" fmla="*/ 4484 w 10746"/>
                <a:gd name="connsiteY1477" fmla="*/ 983 h 10000"/>
                <a:gd name="connsiteX1478" fmla="*/ 4470 w 10746"/>
                <a:gd name="connsiteY1478" fmla="*/ 983 h 10000"/>
                <a:gd name="connsiteX1479" fmla="*/ 4470 w 10746"/>
                <a:gd name="connsiteY1479" fmla="*/ 966 h 10000"/>
                <a:gd name="connsiteX1480" fmla="*/ 4488 w 10746"/>
                <a:gd name="connsiteY1480" fmla="*/ 923 h 10000"/>
                <a:gd name="connsiteX1481" fmla="*/ 4493 w 10746"/>
                <a:gd name="connsiteY1481" fmla="*/ 880 h 10000"/>
                <a:gd name="connsiteX1482" fmla="*/ 4475 w 10746"/>
                <a:gd name="connsiteY1482" fmla="*/ 846 h 10000"/>
                <a:gd name="connsiteX1483" fmla="*/ 4442 w 10746"/>
                <a:gd name="connsiteY1483" fmla="*/ 855 h 10000"/>
                <a:gd name="connsiteX1484" fmla="*/ 4433 w 10746"/>
                <a:gd name="connsiteY1484" fmla="*/ 855 h 10000"/>
                <a:gd name="connsiteX1485" fmla="*/ 4433 w 10746"/>
                <a:gd name="connsiteY1485" fmla="*/ 880 h 10000"/>
                <a:gd name="connsiteX1486" fmla="*/ 4401 w 10746"/>
                <a:gd name="connsiteY1486" fmla="*/ 855 h 10000"/>
                <a:gd name="connsiteX1487" fmla="*/ 4396 w 10746"/>
                <a:gd name="connsiteY1487" fmla="*/ 872 h 10000"/>
                <a:gd name="connsiteX1488" fmla="*/ 4382 w 10746"/>
                <a:gd name="connsiteY1488" fmla="*/ 897 h 10000"/>
                <a:gd name="connsiteX1489" fmla="*/ 4373 w 10746"/>
                <a:gd name="connsiteY1489" fmla="*/ 872 h 10000"/>
                <a:gd name="connsiteX1490" fmla="*/ 4341 w 10746"/>
                <a:gd name="connsiteY1490" fmla="*/ 872 h 10000"/>
                <a:gd name="connsiteX1491" fmla="*/ 4336 w 10746"/>
                <a:gd name="connsiteY1491" fmla="*/ 880 h 10000"/>
                <a:gd name="connsiteX1492" fmla="*/ 4346 w 10746"/>
                <a:gd name="connsiteY1492" fmla="*/ 897 h 10000"/>
                <a:gd name="connsiteX1493" fmla="*/ 4346 w 10746"/>
                <a:gd name="connsiteY1493" fmla="*/ 897 h 10000"/>
                <a:gd name="connsiteX1494" fmla="*/ 4313 w 10746"/>
                <a:gd name="connsiteY1494" fmla="*/ 906 h 10000"/>
                <a:gd name="connsiteX1495" fmla="*/ 4313 w 10746"/>
                <a:gd name="connsiteY1495" fmla="*/ 906 h 10000"/>
                <a:gd name="connsiteX1496" fmla="*/ 4313 w 10746"/>
                <a:gd name="connsiteY1496" fmla="*/ 880 h 10000"/>
                <a:gd name="connsiteX1497" fmla="*/ 4309 w 10746"/>
                <a:gd name="connsiteY1497" fmla="*/ 897 h 10000"/>
                <a:gd name="connsiteX1498" fmla="*/ 4295 w 10746"/>
                <a:gd name="connsiteY1498" fmla="*/ 923 h 10000"/>
                <a:gd name="connsiteX1499" fmla="*/ 4286 w 10746"/>
                <a:gd name="connsiteY1499" fmla="*/ 897 h 10000"/>
                <a:gd name="connsiteX1500" fmla="*/ 4281 w 10746"/>
                <a:gd name="connsiteY1500" fmla="*/ 906 h 10000"/>
                <a:gd name="connsiteX1501" fmla="*/ 4281 w 10746"/>
                <a:gd name="connsiteY1501" fmla="*/ 940 h 10000"/>
                <a:gd name="connsiteX1502" fmla="*/ 4286 w 10746"/>
                <a:gd name="connsiteY1502" fmla="*/ 957 h 10000"/>
                <a:gd name="connsiteX1503" fmla="*/ 4309 w 10746"/>
                <a:gd name="connsiteY1503" fmla="*/ 932 h 10000"/>
                <a:gd name="connsiteX1504" fmla="*/ 4313 w 10746"/>
                <a:gd name="connsiteY1504" fmla="*/ 957 h 10000"/>
                <a:gd name="connsiteX1505" fmla="*/ 4313 w 10746"/>
                <a:gd name="connsiteY1505" fmla="*/ 966 h 10000"/>
                <a:gd name="connsiteX1506" fmla="*/ 4323 w 10746"/>
                <a:gd name="connsiteY1506" fmla="*/ 966 h 10000"/>
                <a:gd name="connsiteX1507" fmla="*/ 4323 w 10746"/>
                <a:gd name="connsiteY1507" fmla="*/ 940 h 10000"/>
                <a:gd name="connsiteX1508" fmla="*/ 4327 w 10746"/>
                <a:gd name="connsiteY1508" fmla="*/ 940 h 10000"/>
                <a:gd name="connsiteX1509" fmla="*/ 4327 w 10746"/>
                <a:gd name="connsiteY1509" fmla="*/ 957 h 10000"/>
                <a:gd name="connsiteX1510" fmla="*/ 4327 w 10746"/>
                <a:gd name="connsiteY1510" fmla="*/ 966 h 10000"/>
                <a:gd name="connsiteX1511" fmla="*/ 4323 w 10746"/>
                <a:gd name="connsiteY1511" fmla="*/ 991 h 10000"/>
                <a:gd name="connsiteX1512" fmla="*/ 4207 w 10746"/>
                <a:gd name="connsiteY1512" fmla="*/ 1060 h 10000"/>
                <a:gd name="connsiteX1513" fmla="*/ 4207 w 10746"/>
                <a:gd name="connsiteY1513" fmla="*/ 1060 h 10000"/>
                <a:gd name="connsiteX1514" fmla="*/ 4203 w 10746"/>
                <a:gd name="connsiteY1514" fmla="*/ 1068 h 10000"/>
                <a:gd name="connsiteX1515" fmla="*/ 4203 w 10746"/>
                <a:gd name="connsiteY1515" fmla="*/ 1094 h 10000"/>
                <a:gd name="connsiteX1516" fmla="*/ 4203 w 10746"/>
                <a:gd name="connsiteY1516" fmla="*/ 1094 h 10000"/>
                <a:gd name="connsiteX1517" fmla="*/ 4189 w 10746"/>
                <a:gd name="connsiteY1517" fmla="*/ 1094 h 10000"/>
                <a:gd name="connsiteX1518" fmla="*/ 4166 w 10746"/>
                <a:gd name="connsiteY1518" fmla="*/ 1103 h 10000"/>
                <a:gd name="connsiteX1519" fmla="*/ 4152 w 10746"/>
                <a:gd name="connsiteY1519" fmla="*/ 1094 h 10000"/>
                <a:gd name="connsiteX1520" fmla="*/ 4134 w 10746"/>
                <a:gd name="connsiteY1520" fmla="*/ 1120 h 10000"/>
                <a:gd name="connsiteX1521" fmla="*/ 4106 w 10746"/>
                <a:gd name="connsiteY1521" fmla="*/ 1120 h 10000"/>
                <a:gd name="connsiteX1522" fmla="*/ 4092 w 10746"/>
                <a:gd name="connsiteY1522" fmla="*/ 1154 h 10000"/>
                <a:gd name="connsiteX1523" fmla="*/ 4106 w 10746"/>
                <a:gd name="connsiteY1523" fmla="*/ 1171 h 10000"/>
                <a:gd name="connsiteX1524" fmla="*/ 4078 w 10746"/>
                <a:gd name="connsiteY1524" fmla="*/ 1179 h 10000"/>
                <a:gd name="connsiteX1525" fmla="*/ 4065 w 10746"/>
                <a:gd name="connsiteY1525" fmla="*/ 1205 h 10000"/>
                <a:gd name="connsiteX1526" fmla="*/ 4046 w 10746"/>
                <a:gd name="connsiteY1526" fmla="*/ 1179 h 10000"/>
                <a:gd name="connsiteX1527" fmla="*/ 4041 w 10746"/>
                <a:gd name="connsiteY1527" fmla="*/ 1197 h 10000"/>
                <a:gd name="connsiteX1528" fmla="*/ 4028 w 10746"/>
                <a:gd name="connsiteY1528" fmla="*/ 1205 h 10000"/>
                <a:gd name="connsiteX1529" fmla="*/ 4028 w 10746"/>
                <a:gd name="connsiteY1529" fmla="*/ 1205 h 10000"/>
                <a:gd name="connsiteX1530" fmla="*/ 4032 w 10746"/>
                <a:gd name="connsiteY1530" fmla="*/ 1205 h 10000"/>
                <a:gd name="connsiteX1531" fmla="*/ 4032 w 10746"/>
                <a:gd name="connsiteY1531" fmla="*/ 1231 h 10000"/>
                <a:gd name="connsiteX1532" fmla="*/ 4014 w 10746"/>
                <a:gd name="connsiteY1532" fmla="*/ 1239 h 10000"/>
                <a:gd name="connsiteX1533" fmla="*/ 4014 w 10746"/>
                <a:gd name="connsiteY1533" fmla="*/ 1256 h 10000"/>
                <a:gd name="connsiteX1534" fmla="*/ 4000 w 10746"/>
                <a:gd name="connsiteY1534" fmla="*/ 1265 h 10000"/>
                <a:gd name="connsiteX1535" fmla="*/ 3986 w 10746"/>
                <a:gd name="connsiteY1535" fmla="*/ 1308 h 10000"/>
                <a:gd name="connsiteX1536" fmla="*/ 3972 w 10746"/>
                <a:gd name="connsiteY1536" fmla="*/ 1316 h 10000"/>
                <a:gd name="connsiteX1537" fmla="*/ 3972 w 10746"/>
                <a:gd name="connsiteY1537" fmla="*/ 1325 h 10000"/>
                <a:gd name="connsiteX1538" fmla="*/ 3972 w 10746"/>
                <a:gd name="connsiteY1538" fmla="*/ 1342 h 10000"/>
                <a:gd name="connsiteX1539" fmla="*/ 3968 w 10746"/>
                <a:gd name="connsiteY1539" fmla="*/ 1350 h 10000"/>
                <a:gd name="connsiteX1540" fmla="*/ 3954 w 10746"/>
                <a:gd name="connsiteY1540" fmla="*/ 1368 h 10000"/>
                <a:gd name="connsiteX1541" fmla="*/ 3945 w 10746"/>
                <a:gd name="connsiteY1541" fmla="*/ 1350 h 10000"/>
                <a:gd name="connsiteX1542" fmla="*/ 3908 w 10746"/>
                <a:gd name="connsiteY1542" fmla="*/ 1342 h 10000"/>
                <a:gd name="connsiteX1543" fmla="*/ 3894 w 10746"/>
                <a:gd name="connsiteY1543" fmla="*/ 1368 h 10000"/>
                <a:gd name="connsiteX1544" fmla="*/ 3922 w 10746"/>
                <a:gd name="connsiteY1544" fmla="*/ 1393 h 10000"/>
                <a:gd name="connsiteX1545" fmla="*/ 3945 w 10746"/>
                <a:gd name="connsiteY1545" fmla="*/ 1393 h 10000"/>
                <a:gd name="connsiteX1546" fmla="*/ 3940 w 10746"/>
                <a:gd name="connsiteY1546" fmla="*/ 1419 h 10000"/>
                <a:gd name="connsiteX1547" fmla="*/ 3931 w 10746"/>
                <a:gd name="connsiteY1547" fmla="*/ 1427 h 10000"/>
                <a:gd name="connsiteX1548" fmla="*/ 3926 w 10746"/>
                <a:gd name="connsiteY1548" fmla="*/ 1427 h 10000"/>
                <a:gd name="connsiteX1549" fmla="*/ 3922 w 10746"/>
                <a:gd name="connsiteY1549" fmla="*/ 1419 h 10000"/>
                <a:gd name="connsiteX1550" fmla="*/ 3912 w 10746"/>
                <a:gd name="connsiteY1550" fmla="*/ 1427 h 10000"/>
                <a:gd name="connsiteX1551" fmla="*/ 3912 w 10746"/>
                <a:gd name="connsiteY1551" fmla="*/ 1444 h 10000"/>
                <a:gd name="connsiteX1552" fmla="*/ 3894 w 10746"/>
                <a:gd name="connsiteY1552" fmla="*/ 1513 h 10000"/>
                <a:gd name="connsiteX1553" fmla="*/ 3885 w 10746"/>
                <a:gd name="connsiteY1553" fmla="*/ 1513 h 10000"/>
                <a:gd name="connsiteX1554" fmla="*/ 3880 w 10746"/>
                <a:gd name="connsiteY1554" fmla="*/ 1538 h 10000"/>
                <a:gd name="connsiteX1555" fmla="*/ 3885 w 10746"/>
                <a:gd name="connsiteY1555" fmla="*/ 1564 h 10000"/>
                <a:gd name="connsiteX1556" fmla="*/ 3880 w 10746"/>
                <a:gd name="connsiteY1556" fmla="*/ 1581 h 10000"/>
                <a:gd name="connsiteX1557" fmla="*/ 3871 w 10746"/>
                <a:gd name="connsiteY1557" fmla="*/ 1538 h 10000"/>
                <a:gd name="connsiteX1558" fmla="*/ 3853 w 10746"/>
                <a:gd name="connsiteY1558" fmla="*/ 1530 h 10000"/>
                <a:gd name="connsiteX1559" fmla="*/ 3853 w 10746"/>
                <a:gd name="connsiteY1559" fmla="*/ 1504 h 10000"/>
                <a:gd name="connsiteX1560" fmla="*/ 3834 w 10746"/>
                <a:gd name="connsiteY1560" fmla="*/ 1487 h 10000"/>
                <a:gd name="connsiteX1561" fmla="*/ 3834 w 10746"/>
                <a:gd name="connsiteY1561" fmla="*/ 1487 h 10000"/>
                <a:gd name="connsiteX1562" fmla="*/ 3839 w 10746"/>
                <a:gd name="connsiteY1562" fmla="*/ 1513 h 10000"/>
                <a:gd name="connsiteX1563" fmla="*/ 3820 w 10746"/>
                <a:gd name="connsiteY1563" fmla="*/ 1538 h 10000"/>
                <a:gd name="connsiteX1564" fmla="*/ 3820 w 10746"/>
                <a:gd name="connsiteY1564" fmla="*/ 1556 h 10000"/>
                <a:gd name="connsiteX1565" fmla="*/ 3820 w 10746"/>
                <a:gd name="connsiteY1565" fmla="*/ 1564 h 10000"/>
                <a:gd name="connsiteX1566" fmla="*/ 3820 w 10746"/>
                <a:gd name="connsiteY1566" fmla="*/ 1581 h 10000"/>
                <a:gd name="connsiteX1567" fmla="*/ 3853 w 10746"/>
                <a:gd name="connsiteY1567" fmla="*/ 1581 h 10000"/>
                <a:gd name="connsiteX1568" fmla="*/ 3857 w 10746"/>
                <a:gd name="connsiteY1568" fmla="*/ 1598 h 10000"/>
                <a:gd name="connsiteX1569" fmla="*/ 3880 w 10746"/>
                <a:gd name="connsiteY1569" fmla="*/ 1615 h 10000"/>
                <a:gd name="connsiteX1570" fmla="*/ 3871 w 10746"/>
                <a:gd name="connsiteY1570" fmla="*/ 1615 h 10000"/>
                <a:gd name="connsiteX1571" fmla="*/ 3871 w 10746"/>
                <a:gd name="connsiteY1571" fmla="*/ 1641 h 10000"/>
                <a:gd name="connsiteX1572" fmla="*/ 3880 w 10746"/>
                <a:gd name="connsiteY1572" fmla="*/ 1641 h 10000"/>
                <a:gd name="connsiteX1573" fmla="*/ 3871 w 10746"/>
                <a:gd name="connsiteY1573" fmla="*/ 1650 h 10000"/>
                <a:gd name="connsiteX1574" fmla="*/ 3857 w 10746"/>
                <a:gd name="connsiteY1574" fmla="*/ 1650 h 10000"/>
                <a:gd name="connsiteX1575" fmla="*/ 3853 w 10746"/>
                <a:gd name="connsiteY1575" fmla="*/ 1650 h 10000"/>
                <a:gd name="connsiteX1576" fmla="*/ 3839 w 10746"/>
                <a:gd name="connsiteY1576" fmla="*/ 1667 h 10000"/>
                <a:gd name="connsiteX1577" fmla="*/ 3848 w 10746"/>
                <a:gd name="connsiteY1577" fmla="*/ 1692 h 10000"/>
                <a:gd name="connsiteX1578" fmla="*/ 3834 w 10746"/>
                <a:gd name="connsiteY1578" fmla="*/ 1692 h 10000"/>
                <a:gd name="connsiteX1579" fmla="*/ 3825 w 10746"/>
                <a:gd name="connsiteY1579" fmla="*/ 1692 h 10000"/>
                <a:gd name="connsiteX1580" fmla="*/ 3825 w 10746"/>
                <a:gd name="connsiteY1580" fmla="*/ 1718 h 10000"/>
                <a:gd name="connsiteX1581" fmla="*/ 3839 w 10746"/>
                <a:gd name="connsiteY1581" fmla="*/ 1726 h 10000"/>
                <a:gd name="connsiteX1582" fmla="*/ 3880 w 10746"/>
                <a:gd name="connsiteY1582" fmla="*/ 1752 h 10000"/>
                <a:gd name="connsiteX1583" fmla="*/ 3894 w 10746"/>
                <a:gd name="connsiteY1583" fmla="*/ 1829 h 10000"/>
                <a:gd name="connsiteX1584" fmla="*/ 3899 w 10746"/>
                <a:gd name="connsiteY1584" fmla="*/ 1838 h 10000"/>
                <a:gd name="connsiteX1585" fmla="*/ 3894 w 10746"/>
                <a:gd name="connsiteY1585" fmla="*/ 1855 h 10000"/>
                <a:gd name="connsiteX1586" fmla="*/ 3880 w 10746"/>
                <a:gd name="connsiteY1586" fmla="*/ 1838 h 10000"/>
                <a:gd name="connsiteX1587" fmla="*/ 3880 w 10746"/>
                <a:gd name="connsiteY1587" fmla="*/ 1855 h 10000"/>
                <a:gd name="connsiteX1588" fmla="*/ 3880 w 10746"/>
                <a:gd name="connsiteY1588" fmla="*/ 1863 h 10000"/>
                <a:gd name="connsiteX1589" fmla="*/ 3871 w 10746"/>
                <a:gd name="connsiteY1589" fmla="*/ 1872 h 10000"/>
                <a:gd name="connsiteX1590" fmla="*/ 3880 w 10746"/>
                <a:gd name="connsiteY1590" fmla="*/ 1889 h 10000"/>
                <a:gd name="connsiteX1591" fmla="*/ 3885 w 10746"/>
                <a:gd name="connsiteY1591" fmla="*/ 1889 h 10000"/>
                <a:gd name="connsiteX1592" fmla="*/ 3880 w 10746"/>
                <a:gd name="connsiteY1592" fmla="*/ 1897 h 10000"/>
                <a:gd name="connsiteX1593" fmla="*/ 3871 w 10746"/>
                <a:gd name="connsiteY1593" fmla="*/ 1915 h 10000"/>
                <a:gd name="connsiteX1594" fmla="*/ 3848 w 10746"/>
                <a:gd name="connsiteY1594" fmla="*/ 1923 h 10000"/>
                <a:gd name="connsiteX1595" fmla="*/ 3825 w 10746"/>
                <a:gd name="connsiteY1595" fmla="*/ 1940 h 10000"/>
                <a:gd name="connsiteX1596" fmla="*/ 3811 w 10746"/>
                <a:gd name="connsiteY1596" fmla="*/ 1940 h 10000"/>
                <a:gd name="connsiteX1597" fmla="*/ 3806 w 10746"/>
                <a:gd name="connsiteY1597" fmla="*/ 1949 h 10000"/>
                <a:gd name="connsiteX1598" fmla="*/ 3797 w 10746"/>
                <a:gd name="connsiteY1598" fmla="*/ 1966 h 10000"/>
                <a:gd name="connsiteX1599" fmla="*/ 3788 w 10746"/>
                <a:gd name="connsiteY1599" fmla="*/ 1991 h 10000"/>
                <a:gd name="connsiteX1600" fmla="*/ 3765 w 10746"/>
                <a:gd name="connsiteY1600" fmla="*/ 1974 h 10000"/>
                <a:gd name="connsiteX1601" fmla="*/ 3760 w 10746"/>
                <a:gd name="connsiteY1601" fmla="*/ 1966 h 10000"/>
                <a:gd name="connsiteX1602" fmla="*/ 3760 w 10746"/>
                <a:gd name="connsiteY1602" fmla="*/ 1966 h 10000"/>
                <a:gd name="connsiteX1603" fmla="*/ 3631 w 10746"/>
                <a:gd name="connsiteY1603" fmla="*/ 2009 h 10000"/>
                <a:gd name="connsiteX1604" fmla="*/ 3618 w 10746"/>
                <a:gd name="connsiteY1604" fmla="*/ 2000 h 10000"/>
                <a:gd name="connsiteX1605" fmla="*/ 3599 w 10746"/>
                <a:gd name="connsiteY1605" fmla="*/ 2009 h 10000"/>
                <a:gd name="connsiteX1606" fmla="*/ 3571 w 10746"/>
                <a:gd name="connsiteY1606" fmla="*/ 2000 h 10000"/>
                <a:gd name="connsiteX1607" fmla="*/ 3530 w 10746"/>
                <a:gd name="connsiteY1607" fmla="*/ 2026 h 10000"/>
                <a:gd name="connsiteX1608" fmla="*/ 3530 w 10746"/>
                <a:gd name="connsiteY1608" fmla="*/ 2034 h 10000"/>
                <a:gd name="connsiteX1609" fmla="*/ 3525 w 10746"/>
                <a:gd name="connsiteY1609" fmla="*/ 2051 h 10000"/>
                <a:gd name="connsiteX1610" fmla="*/ 3512 w 10746"/>
                <a:gd name="connsiteY1610" fmla="*/ 2034 h 10000"/>
                <a:gd name="connsiteX1611" fmla="*/ 3507 w 10746"/>
                <a:gd name="connsiteY1611" fmla="*/ 2034 h 10000"/>
                <a:gd name="connsiteX1612" fmla="*/ 3498 w 10746"/>
                <a:gd name="connsiteY1612" fmla="*/ 2051 h 10000"/>
                <a:gd name="connsiteX1613" fmla="*/ 3484 w 10746"/>
                <a:gd name="connsiteY1613" fmla="*/ 2060 h 10000"/>
                <a:gd name="connsiteX1614" fmla="*/ 3484 w 10746"/>
                <a:gd name="connsiteY1614" fmla="*/ 2085 h 10000"/>
                <a:gd name="connsiteX1615" fmla="*/ 3484 w 10746"/>
                <a:gd name="connsiteY1615" fmla="*/ 2103 h 10000"/>
                <a:gd name="connsiteX1616" fmla="*/ 3493 w 10746"/>
                <a:gd name="connsiteY1616" fmla="*/ 2103 h 10000"/>
                <a:gd name="connsiteX1617" fmla="*/ 3493 w 10746"/>
                <a:gd name="connsiteY1617" fmla="*/ 2085 h 10000"/>
                <a:gd name="connsiteX1618" fmla="*/ 3498 w 10746"/>
                <a:gd name="connsiteY1618" fmla="*/ 2085 h 10000"/>
                <a:gd name="connsiteX1619" fmla="*/ 3498 w 10746"/>
                <a:gd name="connsiteY1619" fmla="*/ 2111 h 10000"/>
                <a:gd name="connsiteX1620" fmla="*/ 3484 w 10746"/>
                <a:gd name="connsiteY1620" fmla="*/ 2120 h 10000"/>
                <a:gd name="connsiteX1621" fmla="*/ 3484 w 10746"/>
                <a:gd name="connsiteY1621" fmla="*/ 2145 h 10000"/>
                <a:gd name="connsiteX1622" fmla="*/ 3470 w 10746"/>
                <a:gd name="connsiteY1622" fmla="*/ 2137 h 10000"/>
                <a:gd name="connsiteX1623" fmla="*/ 3465 w 10746"/>
                <a:gd name="connsiteY1623" fmla="*/ 2145 h 10000"/>
                <a:gd name="connsiteX1624" fmla="*/ 3470 w 10746"/>
                <a:gd name="connsiteY1624" fmla="*/ 2171 h 10000"/>
                <a:gd name="connsiteX1625" fmla="*/ 3484 w 10746"/>
                <a:gd name="connsiteY1625" fmla="*/ 2171 h 10000"/>
                <a:gd name="connsiteX1626" fmla="*/ 3484 w 10746"/>
                <a:gd name="connsiteY1626" fmla="*/ 2197 h 10000"/>
                <a:gd name="connsiteX1627" fmla="*/ 3465 w 10746"/>
                <a:gd name="connsiteY1627" fmla="*/ 2214 h 10000"/>
                <a:gd name="connsiteX1628" fmla="*/ 3493 w 10746"/>
                <a:gd name="connsiteY1628" fmla="*/ 2248 h 10000"/>
                <a:gd name="connsiteX1629" fmla="*/ 3484 w 10746"/>
                <a:gd name="connsiteY1629" fmla="*/ 2256 h 10000"/>
                <a:gd name="connsiteX1630" fmla="*/ 3498 w 10746"/>
                <a:gd name="connsiteY1630" fmla="*/ 2274 h 10000"/>
                <a:gd name="connsiteX1631" fmla="*/ 3498 w 10746"/>
                <a:gd name="connsiteY1631" fmla="*/ 2256 h 10000"/>
                <a:gd name="connsiteX1632" fmla="*/ 3507 w 10746"/>
                <a:gd name="connsiteY1632" fmla="*/ 2308 h 10000"/>
                <a:gd name="connsiteX1633" fmla="*/ 3512 w 10746"/>
                <a:gd name="connsiteY1633" fmla="*/ 2325 h 10000"/>
                <a:gd name="connsiteX1634" fmla="*/ 3507 w 10746"/>
                <a:gd name="connsiteY1634" fmla="*/ 2333 h 10000"/>
                <a:gd name="connsiteX1635" fmla="*/ 3507 w 10746"/>
                <a:gd name="connsiteY1635" fmla="*/ 2359 h 10000"/>
                <a:gd name="connsiteX1636" fmla="*/ 3507 w 10746"/>
                <a:gd name="connsiteY1636" fmla="*/ 2376 h 10000"/>
                <a:gd name="connsiteX1637" fmla="*/ 3498 w 10746"/>
                <a:gd name="connsiteY1637" fmla="*/ 2410 h 10000"/>
                <a:gd name="connsiteX1638" fmla="*/ 3498 w 10746"/>
                <a:gd name="connsiteY1638" fmla="*/ 2436 h 10000"/>
                <a:gd name="connsiteX1639" fmla="*/ 3507 w 10746"/>
                <a:gd name="connsiteY1639" fmla="*/ 2462 h 10000"/>
                <a:gd name="connsiteX1640" fmla="*/ 3507 w 10746"/>
                <a:gd name="connsiteY1640" fmla="*/ 2496 h 10000"/>
                <a:gd name="connsiteX1641" fmla="*/ 3512 w 10746"/>
                <a:gd name="connsiteY1641" fmla="*/ 2521 h 10000"/>
                <a:gd name="connsiteX1642" fmla="*/ 3525 w 10746"/>
                <a:gd name="connsiteY1642" fmla="*/ 2556 h 10000"/>
                <a:gd name="connsiteX1643" fmla="*/ 3571 w 10746"/>
                <a:gd name="connsiteY1643" fmla="*/ 2573 h 10000"/>
                <a:gd name="connsiteX1644" fmla="*/ 3590 w 10746"/>
                <a:gd name="connsiteY1644" fmla="*/ 2598 h 10000"/>
                <a:gd name="connsiteX1645" fmla="*/ 3599 w 10746"/>
                <a:gd name="connsiteY1645" fmla="*/ 2598 h 10000"/>
                <a:gd name="connsiteX1646" fmla="*/ 3604 w 10746"/>
                <a:gd name="connsiteY1646" fmla="*/ 2632 h 10000"/>
                <a:gd name="connsiteX1647" fmla="*/ 3599 w 10746"/>
                <a:gd name="connsiteY1647" fmla="*/ 2658 h 10000"/>
                <a:gd name="connsiteX1648" fmla="*/ 3590 w 10746"/>
                <a:gd name="connsiteY1648" fmla="*/ 2667 h 10000"/>
                <a:gd name="connsiteX1649" fmla="*/ 3604 w 10746"/>
                <a:gd name="connsiteY1649" fmla="*/ 2667 h 10000"/>
                <a:gd name="connsiteX1650" fmla="*/ 3613 w 10746"/>
                <a:gd name="connsiteY1650" fmla="*/ 2692 h 10000"/>
                <a:gd name="connsiteX1651" fmla="*/ 3627 w 10746"/>
                <a:gd name="connsiteY1651" fmla="*/ 2735 h 10000"/>
                <a:gd name="connsiteX1652" fmla="*/ 3631 w 10746"/>
                <a:gd name="connsiteY1652" fmla="*/ 2744 h 10000"/>
                <a:gd name="connsiteX1653" fmla="*/ 3659 w 10746"/>
                <a:gd name="connsiteY1653" fmla="*/ 2761 h 10000"/>
                <a:gd name="connsiteX1654" fmla="*/ 3673 w 10746"/>
                <a:gd name="connsiteY1654" fmla="*/ 2769 h 10000"/>
                <a:gd name="connsiteX1655" fmla="*/ 3673 w 10746"/>
                <a:gd name="connsiteY1655" fmla="*/ 2761 h 10000"/>
                <a:gd name="connsiteX1656" fmla="*/ 3687 w 10746"/>
                <a:gd name="connsiteY1656" fmla="*/ 2829 h 10000"/>
                <a:gd name="connsiteX1657" fmla="*/ 3677 w 10746"/>
                <a:gd name="connsiteY1657" fmla="*/ 2897 h 10000"/>
                <a:gd name="connsiteX1658" fmla="*/ 3673 w 10746"/>
                <a:gd name="connsiteY1658" fmla="*/ 2915 h 10000"/>
                <a:gd name="connsiteX1659" fmla="*/ 3664 w 10746"/>
                <a:gd name="connsiteY1659" fmla="*/ 2957 h 10000"/>
                <a:gd name="connsiteX1660" fmla="*/ 3659 w 10746"/>
                <a:gd name="connsiteY1660" fmla="*/ 2983 h 10000"/>
                <a:gd name="connsiteX1661" fmla="*/ 3664 w 10746"/>
                <a:gd name="connsiteY1661" fmla="*/ 3017 h 10000"/>
                <a:gd name="connsiteX1662" fmla="*/ 3659 w 10746"/>
                <a:gd name="connsiteY1662" fmla="*/ 3043 h 10000"/>
                <a:gd name="connsiteX1663" fmla="*/ 3677 w 10746"/>
                <a:gd name="connsiteY1663" fmla="*/ 3094 h 10000"/>
                <a:gd name="connsiteX1664" fmla="*/ 3691 w 10746"/>
                <a:gd name="connsiteY1664" fmla="*/ 3282 h 10000"/>
                <a:gd name="connsiteX1665" fmla="*/ 3691 w 10746"/>
                <a:gd name="connsiteY1665" fmla="*/ 3308 h 10000"/>
                <a:gd name="connsiteX1666" fmla="*/ 3677 w 10746"/>
                <a:gd name="connsiteY1666" fmla="*/ 3342 h 10000"/>
                <a:gd name="connsiteX1667" fmla="*/ 3664 w 10746"/>
                <a:gd name="connsiteY1667" fmla="*/ 3342 h 10000"/>
                <a:gd name="connsiteX1668" fmla="*/ 3650 w 10746"/>
                <a:gd name="connsiteY1668" fmla="*/ 3342 h 10000"/>
                <a:gd name="connsiteX1669" fmla="*/ 3650 w 10746"/>
                <a:gd name="connsiteY1669" fmla="*/ 3350 h 10000"/>
                <a:gd name="connsiteX1670" fmla="*/ 3659 w 10746"/>
                <a:gd name="connsiteY1670" fmla="*/ 3402 h 10000"/>
                <a:gd name="connsiteX1671" fmla="*/ 3659 w 10746"/>
                <a:gd name="connsiteY1671" fmla="*/ 3419 h 10000"/>
                <a:gd name="connsiteX1672" fmla="*/ 3631 w 10746"/>
                <a:gd name="connsiteY1672" fmla="*/ 3402 h 10000"/>
                <a:gd name="connsiteX1673" fmla="*/ 3604 w 10746"/>
                <a:gd name="connsiteY1673" fmla="*/ 3393 h 10000"/>
                <a:gd name="connsiteX1674" fmla="*/ 3599 w 10746"/>
                <a:gd name="connsiteY1674" fmla="*/ 3368 h 10000"/>
                <a:gd name="connsiteX1675" fmla="*/ 3590 w 10746"/>
                <a:gd name="connsiteY1675" fmla="*/ 3239 h 10000"/>
                <a:gd name="connsiteX1676" fmla="*/ 3599 w 10746"/>
                <a:gd name="connsiteY1676" fmla="*/ 3179 h 10000"/>
                <a:gd name="connsiteX1677" fmla="*/ 3599 w 10746"/>
                <a:gd name="connsiteY1677" fmla="*/ 3171 h 10000"/>
                <a:gd name="connsiteX1678" fmla="*/ 3599 w 10746"/>
                <a:gd name="connsiteY1678" fmla="*/ 3009 h 10000"/>
                <a:gd name="connsiteX1679" fmla="*/ 3604 w 10746"/>
                <a:gd name="connsiteY1679" fmla="*/ 2983 h 10000"/>
                <a:gd name="connsiteX1680" fmla="*/ 3645 w 10746"/>
                <a:gd name="connsiteY1680" fmla="*/ 2932 h 10000"/>
                <a:gd name="connsiteX1681" fmla="*/ 3650 w 10746"/>
                <a:gd name="connsiteY1681" fmla="*/ 2872 h 10000"/>
                <a:gd name="connsiteX1682" fmla="*/ 3659 w 10746"/>
                <a:gd name="connsiteY1682" fmla="*/ 2855 h 10000"/>
                <a:gd name="connsiteX1683" fmla="*/ 3659 w 10746"/>
                <a:gd name="connsiteY1683" fmla="*/ 2821 h 10000"/>
                <a:gd name="connsiteX1684" fmla="*/ 3631 w 10746"/>
                <a:gd name="connsiteY1684" fmla="*/ 2795 h 10000"/>
                <a:gd name="connsiteX1685" fmla="*/ 3567 w 10746"/>
                <a:gd name="connsiteY1685" fmla="*/ 2821 h 10000"/>
                <a:gd name="connsiteX1686" fmla="*/ 3544 w 10746"/>
                <a:gd name="connsiteY1686" fmla="*/ 2795 h 10000"/>
                <a:gd name="connsiteX1687" fmla="*/ 3530 w 10746"/>
                <a:gd name="connsiteY1687" fmla="*/ 2769 h 10000"/>
                <a:gd name="connsiteX1688" fmla="*/ 3530 w 10746"/>
                <a:gd name="connsiteY1688" fmla="*/ 2786 h 10000"/>
                <a:gd name="connsiteX1689" fmla="*/ 3498 w 10746"/>
                <a:gd name="connsiteY1689" fmla="*/ 2692 h 10000"/>
                <a:gd name="connsiteX1690" fmla="*/ 3498 w 10746"/>
                <a:gd name="connsiteY1690" fmla="*/ 2667 h 10000"/>
                <a:gd name="connsiteX1691" fmla="*/ 3442 w 10746"/>
                <a:gd name="connsiteY1691" fmla="*/ 2607 h 10000"/>
                <a:gd name="connsiteX1692" fmla="*/ 3433 w 10746"/>
                <a:gd name="connsiteY1692" fmla="*/ 2581 h 10000"/>
                <a:gd name="connsiteX1693" fmla="*/ 3396 w 10746"/>
                <a:gd name="connsiteY1693" fmla="*/ 2556 h 10000"/>
                <a:gd name="connsiteX1694" fmla="*/ 3318 w 10746"/>
                <a:gd name="connsiteY1694" fmla="*/ 2556 h 10000"/>
                <a:gd name="connsiteX1695" fmla="*/ 3304 w 10746"/>
                <a:gd name="connsiteY1695" fmla="*/ 2607 h 10000"/>
                <a:gd name="connsiteX1696" fmla="*/ 3276 w 10746"/>
                <a:gd name="connsiteY1696" fmla="*/ 2632 h 10000"/>
                <a:gd name="connsiteX1697" fmla="*/ 3272 w 10746"/>
                <a:gd name="connsiteY1697" fmla="*/ 2667 h 10000"/>
                <a:gd name="connsiteX1698" fmla="*/ 3304 w 10746"/>
                <a:gd name="connsiteY1698" fmla="*/ 2667 h 10000"/>
                <a:gd name="connsiteX1699" fmla="*/ 3323 w 10746"/>
                <a:gd name="connsiteY1699" fmla="*/ 2692 h 10000"/>
                <a:gd name="connsiteX1700" fmla="*/ 3318 w 10746"/>
                <a:gd name="connsiteY1700" fmla="*/ 2735 h 10000"/>
                <a:gd name="connsiteX1701" fmla="*/ 3304 w 10746"/>
                <a:gd name="connsiteY1701" fmla="*/ 2761 h 10000"/>
                <a:gd name="connsiteX1702" fmla="*/ 3276 w 10746"/>
                <a:gd name="connsiteY1702" fmla="*/ 2769 h 10000"/>
                <a:gd name="connsiteX1703" fmla="*/ 3263 w 10746"/>
                <a:gd name="connsiteY1703" fmla="*/ 2795 h 10000"/>
                <a:gd name="connsiteX1704" fmla="*/ 3235 w 10746"/>
                <a:gd name="connsiteY1704" fmla="*/ 2803 h 10000"/>
                <a:gd name="connsiteX1705" fmla="*/ 3235 w 10746"/>
                <a:gd name="connsiteY1705" fmla="*/ 2786 h 10000"/>
                <a:gd name="connsiteX1706" fmla="*/ 3212 w 10746"/>
                <a:gd name="connsiteY1706" fmla="*/ 2709 h 10000"/>
                <a:gd name="connsiteX1707" fmla="*/ 3198 w 10746"/>
                <a:gd name="connsiteY1707" fmla="*/ 2709 h 10000"/>
                <a:gd name="connsiteX1708" fmla="*/ 3184 w 10746"/>
                <a:gd name="connsiteY1708" fmla="*/ 2735 h 10000"/>
                <a:gd name="connsiteX1709" fmla="*/ 3189 w 10746"/>
                <a:gd name="connsiteY1709" fmla="*/ 2761 h 10000"/>
                <a:gd name="connsiteX1710" fmla="*/ 3203 w 10746"/>
                <a:gd name="connsiteY1710" fmla="*/ 2855 h 10000"/>
                <a:gd name="connsiteX1711" fmla="*/ 3212 w 10746"/>
                <a:gd name="connsiteY1711" fmla="*/ 2872 h 10000"/>
                <a:gd name="connsiteX1712" fmla="*/ 3235 w 10746"/>
                <a:gd name="connsiteY1712" fmla="*/ 2906 h 10000"/>
                <a:gd name="connsiteX1713" fmla="*/ 3258 w 10746"/>
                <a:gd name="connsiteY1713" fmla="*/ 2915 h 10000"/>
                <a:gd name="connsiteX1714" fmla="*/ 3272 w 10746"/>
                <a:gd name="connsiteY1714" fmla="*/ 2957 h 10000"/>
                <a:gd name="connsiteX1715" fmla="*/ 3276 w 10746"/>
                <a:gd name="connsiteY1715" fmla="*/ 2957 h 10000"/>
                <a:gd name="connsiteX1716" fmla="*/ 3286 w 10746"/>
                <a:gd name="connsiteY1716" fmla="*/ 2966 h 10000"/>
                <a:gd name="connsiteX1717" fmla="*/ 3300 w 10746"/>
                <a:gd name="connsiteY1717" fmla="*/ 2957 h 10000"/>
                <a:gd name="connsiteX1718" fmla="*/ 3309 w 10746"/>
                <a:gd name="connsiteY1718" fmla="*/ 2932 h 10000"/>
                <a:gd name="connsiteX1719" fmla="*/ 3304 w 10746"/>
                <a:gd name="connsiteY1719" fmla="*/ 2966 h 10000"/>
                <a:gd name="connsiteX1720" fmla="*/ 3309 w 10746"/>
                <a:gd name="connsiteY1720" fmla="*/ 2983 h 10000"/>
                <a:gd name="connsiteX1721" fmla="*/ 3323 w 10746"/>
                <a:gd name="connsiteY1721" fmla="*/ 2966 h 10000"/>
                <a:gd name="connsiteX1722" fmla="*/ 3323 w 10746"/>
                <a:gd name="connsiteY1722" fmla="*/ 3043 h 10000"/>
                <a:gd name="connsiteX1723" fmla="*/ 3346 w 10746"/>
                <a:gd name="connsiteY1723" fmla="*/ 3068 h 10000"/>
                <a:gd name="connsiteX1724" fmla="*/ 3346 w 10746"/>
                <a:gd name="connsiteY1724" fmla="*/ 3094 h 10000"/>
                <a:gd name="connsiteX1725" fmla="*/ 3323 w 10746"/>
                <a:gd name="connsiteY1725" fmla="*/ 3094 h 10000"/>
                <a:gd name="connsiteX1726" fmla="*/ 3309 w 10746"/>
                <a:gd name="connsiteY1726" fmla="*/ 3077 h 10000"/>
                <a:gd name="connsiteX1727" fmla="*/ 3304 w 10746"/>
                <a:gd name="connsiteY1727" fmla="*/ 3051 h 10000"/>
                <a:gd name="connsiteX1728" fmla="*/ 3300 w 10746"/>
                <a:gd name="connsiteY1728" fmla="*/ 3043 h 10000"/>
                <a:gd name="connsiteX1729" fmla="*/ 3286 w 10746"/>
                <a:gd name="connsiteY1729" fmla="*/ 3017 h 10000"/>
                <a:gd name="connsiteX1730" fmla="*/ 3152 w 10746"/>
                <a:gd name="connsiteY1730" fmla="*/ 2966 h 10000"/>
                <a:gd name="connsiteX1731" fmla="*/ 3129 w 10746"/>
                <a:gd name="connsiteY1731" fmla="*/ 2915 h 10000"/>
                <a:gd name="connsiteX1732" fmla="*/ 3129 w 10746"/>
                <a:gd name="connsiteY1732" fmla="*/ 2906 h 10000"/>
                <a:gd name="connsiteX1733" fmla="*/ 3152 w 10746"/>
                <a:gd name="connsiteY1733" fmla="*/ 2906 h 10000"/>
                <a:gd name="connsiteX1734" fmla="*/ 3152 w 10746"/>
                <a:gd name="connsiteY1734" fmla="*/ 2846 h 10000"/>
                <a:gd name="connsiteX1735" fmla="*/ 3138 w 10746"/>
                <a:gd name="connsiteY1735" fmla="*/ 2795 h 10000"/>
                <a:gd name="connsiteX1736" fmla="*/ 3138 w 10746"/>
                <a:gd name="connsiteY1736" fmla="*/ 2769 h 10000"/>
                <a:gd name="connsiteX1737" fmla="*/ 3143 w 10746"/>
                <a:gd name="connsiteY1737" fmla="*/ 2718 h 10000"/>
                <a:gd name="connsiteX1738" fmla="*/ 3129 w 10746"/>
                <a:gd name="connsiteY1738" fmla="*/ 2692 h 10000"/>
                <a:gd name="connsiteX1739" fmla="*/ 3143 w 10746"/>
                <a:gd name="connsiteY1739" fmla="*/ 2667 h 10000"/>
                <a:gd name="connsiteX1740" fmla="*/ 3157 w 10746"/>
                <a:gd name="connsiteY1740" fmla="*/ 2581 h 10000"/>
                <a:gd name="connsiteX1741" fmla="*/ 3143 w 10746"/>
                <a:gd name="connsiteY1741" fmla="*/ 2496 h 10000"/>
                <a:gd name="connsiteX1742" fmla="*/ 3157 w 10746"/>
                <a:gd name="connsiteY1742" fmla="*/ 2487 h 10000"/>
                <a:gd name="connsiteX1743" fmla="*/ 3143 w 10746"/>
                <a:gd name="connsiteY1743" fmla="*/ 2444 h 10000"/>
                <a:gd name="connsiteX1744" fmla="*/ 3143 w 10746"/>
                <a:gd name="connsiteY1744" fmla="*/ 2419 h 10000"/>
                <a:gd name="connsiteX1745" fmla="*/ 3143 w 10746"/>
                <a:gd name="connsiteY1745" fmla="*/ 2410 h 10000"/>
                <a:gd name="connsiteX1746" fmla="*/ 3124 w 10746"/>
                <a:gd name="connsiteY1746" fmla="*/ 2376 h 10000"/>
                <a:gd name="connsiteX1747" fmla="*/ 3115 w 10746"/>
                <a:gd name="connsiteY1747" fmla="*/ 2350 h 10000"/>
                <a:gd name="connsiteX1748" fmla="*/ 3101 w 10746"/>
                <a:gd name="connsiteY1748" fmla="*/ 2359 h 10000"/>
                <a:gd name="connsiteX1749" fmla="*/ 3115 w 10746"/>
                <a:gd name="connsiteY1749" fmla="*/ 2581 h 10000"/>
                <a:gd name="connsiteX1750" fmla="*/ 3111 w 10746"/>
                <a:gd name="connsiteY1750" fmla="*/ 2624 h 10000"/>
                <a:gd name="connsiteX1751" fmla="*/ 3009 w 10746"/>
                <a:gd name="connsiteY1751" fmla="*/ 2761 h 10000"/>
                <a:gd name="connsiteX1752" fmla="*/ 3009 w 10746"/>
                <a:gd name="connsiteY1752" fmla="*/ 2803 h 10000"/>
                <a:gd name="connsiteX1753" fmla="*/ 3005 w 10746"/>
                <a:gd name="connsiteY1753" fmla="*/ 2829 h 10000"/>
                <a:gd name="connsiteX1754" fmla="*/ 2982 w 10746"/>
                <a:gd name="connsiteY1754" fmla="*/ 2872 h 10000"/>
                <a:gd name="connsiteX1755" fmla="*/ 2982 w 10746"/>
                <a:gd name="connsiteY1755" fmla="*/ 2880 h 10000"/>
                <a:gd name="connsiteX1756" fmla="*/ 3037 w 10746"/>
                <a:gd name="connsiteY1756" fmla="*/ 3034 h 10000"/>
                <a:gd name="connsiteX1757" fmla="*/ 3041 w 10746"/>
                <a:gd name="connsiteY1757" fmla="*/ 3103 h 10000"/>
                <a:gd name="connsiteX1758" fmla="*/ 3069 w 10746"/>
                <a:gd name="connsiteY1758" fmla="*/ 3188 h 10000"/>
                <a:gd name="connsiteX1759" fmla="*/ 3055 w 10746"/>
                <a:gd name="connsiteY1759" fmla="*/ 3325 h 10000"/>
                <a:gd name="connsiteX1760" fmla="*/ 3037 w 10746"/>
                <a:gd name="connsiteY1760" fmla="*/ 3368 h 10000"/>
                <a:gd name="connsiteX1761" fmla="*/ 3037 w 10746"/>
                <a:gd name="connsiteY1761" fmla="*/ 3444 h 10000"/>
                <a:gd name="connsiteX1762" fmla="*/ 3028 w 10746"/>
                <a:gd name="connsiteY1762" fmla="*/ 3453 h 10000"/>
                <a:gd name="connsiteX1763" fmla="*/ 3023 w 10746"/>
                <a:gd name="connsiteY1763" fmla="*/ 3530 h 10000"/>
                <a:gd name="connsiteX1764" fmla="*/ 3051 w 10746"/>
                <a:gd name="connsiteY1764" fmla="*/ 3624 h 10000"/>
                <a:gd name="connsiteX1765" fmla="*/ 3037 w 10746"/>
                <a:gd name="connsiteY1765" fmla="*/ 3718 h 10000"/>
                <a:gd name="connsiteX1766" fmla="*/ 3041 w 10746"/>
                <a:gd name="connsiteY1766" fmla="*/ 3752 h 10000"/>
                <a:gd name="connsiteX1767" fmla="*/ 3055 w 10746"/>
                <a:gd name="connsiteY1767" fmla="*/ 3761 h 10000"/>
                <a:gd name="connsiteX1768" fmla="*/ 3078 w 10746"/>
                <a:gd name="connsiteY1768" fmla="*/ 3752 h 10000"/>
                <a:gd name="connsiteX1769" fmla="*/ 3092 w 10746"/>
                <a:gd name="connsiteY1769" fmla="*/ 3752 h 10000"/>
                <a:gd name="connsiteX1770" fmla="*/ 3129 w 10746"/>
                <a:gd name="connsiteY1770" fmla="*/ 3761 h 10000"/>
                <a:gd name="connsiteX1771" fmla="*/ 3129 w 10746"/>
                <a:gd name="connsiteY1771" fmla="*/ 3735 h 10000"/>
                <a:gd name="connsiteX1772" fmla="*/ 3157 w 10746"/>
                <a:gd name="connsiteY1772" fmla="*/ 3718 h 10000"/>
                <a:gd name="connsiteX1773" fmla="*/ 3184 w 10746"/>
                <a:gd name="connsiteY1773" fmla="*/ 3718 h 10000"/>
                <a:gd name="connsiteX1774" fmla="*/ 3290 w 10746"/>
                <a:gd name="connsiteY1774" fmla="*/ 3838 h 10000"/>
                <a:gd name="connsiteX1775" fmla="*/ 3300 w 10746"/>
                <a:gd name="connsiteY1775" fmla="*/ 3846 h 10000"/>
                <a:gd name="connsiteX1776" fmla="*/ 3300 w 10746"/>
                <a:gd name="connsiteY1776" fmla="*/ 3915 h 10000"/>
                <a:gd name="connsiteX1777" fmla="*/ 3318 w 10746"/>
                <a:gd name="connsiteY1777" fmla="*/ 4000 h 10000"/>
                <a:gd name="connsiteX1778" fmla="*/ 3323 w 10746"/>
                <a:gd name="connsiteY1778" fmla="*/ 4000 h 10000"/>
                <a:gd name="connsiteX1779" fmla="*/ 3323 w 10746"/>
                <a:gd name="connsiteY1779" fmla="*/ 4034 h 10000"/>
                <a:gd name="connsiteX1780" fmla="*/ 3318 w 10746"/>
                <a:gd name="connsiteY1780" fmla="*/ 4051 h 10000"/>
                <a:gd name="connsiteX1781" fmla="*/ 3300 w 10746"/>
                <a:gd name="connsiteY1781" fmla="*/ 4051 h 10000"/>
                <a:gd name="connsiteX1782" fmla="*/ 3290 w 10746"/>
                <a:gd name="connsiteY1782" fmla="*/ 4077 h 10000"/>
                <a:gd name="connsiteX1783" fmla="*/ 3286 w 10746"/>
                <a:gd name="connsiteY1783" fmla="*/ 4103 h 10000"/>
                <a:gd name="connsiteX1784" fmla="*/ 3286 w 10746"/>
                <a:gd name="connsiteY1784" fmla="*/ 4197 h 10000"/>
                <a:gd name="connsiteX1785" fmla="*/ 3290 w 10746"/>
                <a:gd name="connsiteY1785" fmla="*/ 4214 h 10000"/>
                <a:gd name="connsiteX1786" fmla="*/ 3304 w 10746"/>
                <a:gd name="connsiteY1786" fmla="*/ 4214 h 10000"/>
                <a:gd name="connsiteX1787" fmla="*/ 3323 w 10746"/>
                <a:gd name="connsiteY1787" fmla="*/ 4239 h 10000"/>
                <a:gd name="connsiteX1788" fmla="*/ 3350 w 10746"/>
                <a:gd name="connsiteY1788" fmla="*/ 4222 h 10000"/>
                <a:gd name="connsiteX1789" fmla="*/ 3369 w 10746"/>
                <a:gd name="connsiteY1789" fmla="*/ 4256 h 10000"/>
                <a:gd name="connsiteX1790" fmla="*/ 3369 w 10746"/>
                <a:gd name="connsiteY1790" fmla="*/ 4256 h 10000"/>
                <a:gd name="connsiteX1791" fmla="*/ 3336 w 10746"/>
                <a:gd name="connsiteY1791" fmla="*/ 4274 h 10000"/>
                <a:gd name="connsiteX1792" fmla="*/ 3323 w 10746"/>
                <a:gd name="connsiteY1792" fmla="*/ 4274 h 10000"/>
                <a:gd name="connsiteX1793" fmla="*/ 3290 w 10746"/>
                <a:gd name="connsiteY1793" fmla="*/ 4274 h 10000"/>
                <a:gd name="connsiteX1794" fmla="*/ 3286 w 10746"/>
                <a:gd name="connsiteY1794" fmla="*/ 4239 h 10000"/>
                <a:gd name="connsiteX1795" fmla="*/ 3263 w 10746"/>
                <a:gd name="connsiteY1795" fmla="*/ 4214 h 10000"/>
                <a:gd name="connsiteX1796" fmla="*/ 3258 w 10746"/>
                <a:gd name="connsiteY1796" fmla="*/ 4188 h 10000"/>
                <a:gd name="connsiteX1797" fmla="*/ 3263 w 10746"/>
                <a:gd name="connsiteY1797" fmla="*/ 4171 h 10000"/>
                <a:gd name="connsiteX1798" fmla="*/ 3263 w 10746"/>
                <a:gd name="connsiteY1798" fmla="*/ 4103 h 10000"/>
                <a:gd name="connsiteX1799" fmla="*/ 3276 w 10746"/>
                <a:gd name="connsiteY1799" fmla="*/ 4060 h 10000"/>
                <a:gd name="connsiteX1800" fmla="*/ 3272 w 10746"/>
                <a:gd name="connsiteY1800" fmla="*/ 4051 h 10000"/>
                <a:gd name="connsiteX1801" fmla="*/ 3263 w 10746"/>
                <a:gd name="connsiteY1801" fmla="*/ 4051 h 10000"/>
                <a:gd name="connsiteX1802" fmla="*/ 3263 w 10746"/>
                <a:gd name="connsiteY1802" fmla="*/ 4034 h 10000"/>
                <a:gd name="connsiteX1803" fmla="*/ 3263 w 10746"/>
                <a:gd name="connsiteY1803" fmla="*/ 4000 h 10000"/>
                <a:gd name="connsiteX1804" fmla="*/ 3272 w 10746"/>
                <a:gd name="connsiteY1804" fmla="*/ 4000 h 10000"/>
                <a:gd name="connsiteX1805" fmla="*/ 3272 w 10746"/>
                <a:gd name="connsiteY1805" fmla="*/ 3974 h 10000"/>
                <a:gd name="connsiteX1806" fmla="*/ 3272 w 10746"/>
                <a:gd name="connsiteY1806" fmla="*/ 3966 h 10000"/>
                <a:gd name="connsiteX1807" fmla="*/ 3272 w 10746"/>
                <a:gd name="connsiteY1807" fmla="*/ 3949 h 10000"/>
                <a:gd name="connsiteX1808" fmla="*/ 3258 w 10746"/>
                <a:gd name="connsiteY1808" fmla="*/ 3923 h 10000"/>
                <a:gd name="connsiteX1809" fmla="*/ 3249 w 10746"/>
                <a:gd name="connsiteY1809" fmla="*/ 3915 h 10000"/>
                <a:gd name="connsiteX1810" fmla="*/ 3244 w 10746"/>
                <a:gd name="connsiteY1810" fmla="*/ 3897 h 10000"/>
                <a:gd name="connsiteX1811" fmla="*/ 3230 w 10746"/>
                <a:gd name="connsiteY1811" fmla="*/ 3889 h 10000"/>
                <a:gd name="connsiteX1812" fmla="*/ 3230 w 10746"/>
                <a:gd name="connsiteY1812" fmla="*/ 3863 h 10000"/>
                <a:gd name="connsiteX1813" fmla="*/ 3230 w 10746"/>
                <a:gd name="connsiteY1813" fmla="*/ 3838 h 10000"/>
                <a:gd name="connsiteX1814" fmla="*/ 3226 w 10746"/>
                <a:gd name="connsiteY1814" fmla="*/ 3803 h 10000"/>
                <a:gd name="connsiteX1815" fmla="*/ 3138 w 10746"/>
                <a:gd name="connsiteY1815" fmla="*/ 3838 h 10000"/>
                <a:gd name="connsiteX1816" fmla="*/ 3078 w 10746"/>
                <a:gd name="connsiteY1816" fmla="*/ 3889 h 10000"/>
                <a:gd name="connsiteX1817" fmla="*/ 3078 w 10746"/>
                <a:gd name="connsiteY1817" fmla="*/ 3940 h 10000"/>
                <a:gd name="connsiteX1818" fmla="*/ 3069 w 10746"/>
                <a:gd name="connsiteY1818" fmla="*/ 3983 h 10000"/>
                <a:gd name="connsiteX1819" fmla="*/ 3069 w 10746"/>
                <a:gd name="connsiteY1819" fmla="*/ 4009 h 10000"/>
                <a:gd name="connsiteX1820" fmla="*/ 3078 w 10746"/>
                <a:gd name="connsiteY1820" fmla="*/ 4026 h 10000"/>
                <a:gd name="connsiteX1821" fmla="*/ 3083 w 10746"/>
                <a:gd name="connsiteY1821" fmla="*/ 4034 h 10000"/>
                <a:gd name="connsiteX1822" fmla="*/ 3092 w 10746"/>
                <a:gd name="connsiteY1822" fmla="*/ 4060 h 10000"/>
                <a:gd name="connsiteX1823" fmla="*/ 3092 w 10746"/>
                <a:gd name="connsiteY1823" fmla="*/ 4077 h 10000"/>
                <a:gd name="connsiteX1824" fmla="*/ 3097 w 10746"/>
                <a:gd name="connsiteY1824" fmla="*/ 4103 h 10000"/>
                <a:gd name="connsiteX1825" fmla="*/ 3101 w 10746"/>
                <a:gd name="connsiteY1825" fmla="*/ 4162 h 10000"/>
                <a:gd name="connsiteX1826" fmla="*/ 3097 w 10746"/>
                <a:gd name="connsiteY1826" fmla="*/ 4222 h 10000"/>
                <a:gd name="connsiteX1827" fmla="*/ 3041 w 10746"/>
                <a:gd name="connsiteY1827" fmla="*/ 4325 h 10000"/>
                <a:gd name="connsiteX1828" fmla="*/ 3037 w 10746"/>
                <a:gd name="connsiteY1828" fmla="*/ 4419 h 10000"/>
                <a:gd name="connsiteX1829" fmla="*/ 3018 w 10746"/>
                <a:gd name="connsiteY1829" fmla="*/ 4470 h 10000"/>
                <a:gd name="connsiteX1830" fmla="*/ 2991 w 10746"/>
                <a:gd name="connsiteY1830" fmla="*/ 4513 h 10000"/>
                <a:gd name="connsiteX1831" fmla="*/ 2977 w 10746"/>
                <a:gd name="connsiteY1831" fmla="*/ 4530 h 10000"/>
                <a:gd name="connsiteX1832" fmla="*/ 2945 w 10746"/>
                <a:gd name="connsiteY1832" fmla="*/ 4556 h 10000"/>
                <a:gd name="connsiteX1833" fmla="*/ 2935 w 10746"/>
                <a:gd name="connsiteY1833" fmla="*/ 4581 h 10000"/>
                <a:gd name="connsiteX1834" fmla="*/ 2949 w 10746"/>
                <a:gd name="connsiteY1834" fmla="*/ 4624 h 10000"/>
                <a:gd name="connsiteX1835" fmla="*/ 2945 w 10746"/>
                <a:gd name="connsiteY1835" fmla="*/ 4658 h 10000"/>
                <a:gd name="connsiteX1836" fmla="*/ 2922 w 10746"/>
                <a:gd name="connsiteY1836" fmla="*/ 4667 h 10000"/>
                <a:gd name="connsiteX1837" fmla="*/ 2876 w 10746"/>
                <a:gd name="connsiteY1837" fmla="*/ 4632 h 10000"/>
                <a:gd name="connsiteX1838" fmla="*/ 2857 w 10746"/>
                <a:gd name="connsiteY1838" fmla="*/ 4632 h 10000"/>
                <a:gd name="connsiteX1839" fmla="*/ 2820 w 10746"/>
                <a:gd name="connsiteY1839" fmla="*/ 4641 h 10000"/>
                <a:gd name="connsiteX1840" fmla="*/ 2797 w 10746"/>
                <a:gd name="connsiteY1840" fmla="*/ 4632 h 10000"/>
                <a:gd name="connsiteX1841" fmla="*/ 2788 w 10746"/>
                <a:gd name="connsiteY1841" fmla="*/ 4624 h 10000"/>
                <a:gd name="connsiteX1842" fmla="*/ 2788 w 10746"/>
                <a:gd name="connsiteY1842" fmla="*/ 4598 h 10000"/>
                <a:gd name="connsiteX1843" fmla="*/ 2797 w 10746"/>
                <a:gd name="connsiteY1843" fmla="*/ 4581 h 10000"/>
                <a:gd name="connsiteX1844" fmla="*/ 2788 w 10746"/>
                <a:gd name="connsiteY1844" fmla="*/ 4530 h 10000"/>
                <a:gd name="connsiteX1845" fmla="*/ 2774 w 10746"/>
                <a:gd name="connsiteY1845" fmla="*/ 4530 h 10000"/>
                <a:gd name="connsiteX1846" fmla="*/ 2770 w 10746"/>
                <a:gd name="connsiteY1846" fmla="*/ 4513 h 10000"/>
                <a:gd name="connsiteX1847" fmla="*/ 2774 w 10746"/>
                <a:gd name="connsiteY1847" fmla="*/ 4513 h 10000"/>
                <a:gd name="connsiteX1848" fmla="*/ 2788 w 10746"/>
                <a:gd name="connsiteY1848" fmla="*/ 4496 h 10000"/>
                <a:gd name="connsiteX1849" fmla="*/ 2802 w 10746"/>
                <a:gd name="connsiteY1849" fmla="*/ 4513 h 10000"/>
                <a:gd name="connsiteX1850" fmla="*/ 2811 w 10746"/>
                <a:gd name="connsiteY1850" fmla="*/ 4530 h 10000"/>
                <a:gd name="connsiteX1851" fmla="*/ 2820 w 10746"/>
                <a:gd name="connsiteY1851" fmla="*/ 4521 h 10000"/>
                <a:gd name="connsiteX1852" fmla="*/ 2829 w 10746"/>
                <a:gd name="connsiteY1852" fmla="*/ 4513 h 10000"/>
                <a:gd name="connsiteX1853" fmla="*/ 2843 w 10746"/>
                <a:gd name="connsiteY1853" fmla="*/ 4513 h 10000"/>
                <a:gd name="connsiteX1854" fmla="*/ 2848 w 10746"/>
                <a:gd name="connsiteY1854" fmla="*/ 4470 h 10000"/>
                <a:gd name="connsiteX1855" fmla="*/ 2862 w 10746"/>
                <a:gd name="connsiteY1855" fmla="*/ 4487 h 10000"/>
                <a:gd name="connsiteX1856" fmla="*/ 2876 w 10746"/>
                <a:gd name="connsiteY1856" fmla="*/ 4470 h 10000"/>
                <a:gd name="connsiteX1857" fmla="*/ 2880 w 10746"/>
                <a:gd name="connsiteY1857" fmla="*/ 4462 h 10000"/>
                <a:gd name="connsiteX1858" fmla="*/ 2889 w 10746"/>
                <a:gd name="connsiteY1858" fmla="*/ 4444 h 10000"/>
                <a:gd name="connsiteX1859" fmla="*/ 2894 w 10746"/>
                <a:gd name="connsiteY1859" fmla="*/ 4462 h 10000"/>
                <a:gd name="connsiteX1860" fmla="*/ 2917 w 10746"/>
                <a:gd name="connsiteY1860" fmla="*/ 4444 h 10000"/>
                <a:gd name="connsiteX1861" fmla="*/ 2922 w 10746"/>
                <a:gd name="connsiteY1861" fmla="*/ 4436 h 10000"/>
                <a:gd name="connsiteX1862" fmla="*/ 2917 w 10746"/>
                <a:gd name="connsiteY1862" fmla="*/ 4410 h 10000"/>
                <a:gd name="connsiteX1863" fmla="*/ 2894 w 10746"/>
                <a:gd name="connsiteY1863" fmla="*/ 4410 h 10000"/>
                <a:gd name="connsiteX1864" fmla="*/ 2889 w 10746"/>
                <a:gd name="connsiteY1864" fmla="*/ 4419 h 10000"/>
                <a:gd name="connsiteX1865" fmla="*/ 2876 w 10746"/>
                <a:gd name="connsiteY1865" fmla="*/ 4410 h 10000"/>
                <a:gd name="connsiteX1866" fmla="*/ 2880 w 10746"/>
                <a:gd name="connsiteY1866" fmla="*/ 4376 h 10000"/>
                <a:gd name="connsiteX1867" fmla="*/ 2903 w 10746"/>
                <a:gd name="connsiteY1867" fmla="*/ 4393 h 10000"/>
                <a:gd name="connsiteX1868" fmla="*/ 2931 w 10746"/>
                <a:gd name="connsiteY1868" fmla="*/ 4393 h 10000"/>
                <a:gd name="connsiteX1869" fmla="*/ 2931 w 10746"/>
                <a:gd name="connsiteY1869" fmla="*/ 4385 h 10000"/>
                <a:gd name="connsiteX1870" fmla="*/ 2931 w 10746"/>
                <a:gd name="connsiteY1870" fmla="*/ 4350 h 10000"/>
                <a:gd name="connsiteX1871" fmla="*/ 2945 w 10746"/>
                <a:gd name="connsiteY1871" fmla="*/ 4350 h 10000"/>
                <a:gd name="connsiteX1872" fmla="*/ 2949 w 10746"/>
                <a:gd name="connsiteY1872" fmla="*/ 4325 h 10000"/>
                <a:gd name="connsiteX1873" fmla="*/ 2963 w 10746"/>
                <a:gd name="connsiteY1873" fmla="*/ 4256 h 10000"/>
                <a:gd name="connsiteX1874" fmla="*/ 2982 w 10746"/>
                <a:gd name="connsiteY1874" fmla="*/ 4239 h 10000"/>
                <a:gd name="connsiteX1875" fmla="*/ 2991 w 10746"/>
                <a:gd name="connsiteY1875" fmla="*/ 4214 h 10000"/>
                <a:gd name="connsiteX1876" fmla="*/ 2991 w 10746"/>
                <a:gd name="connsiteY1876" fmla="*/ 4197 h 10000"/>
                <a:gd name="connsiteX1877" fmla="*/ 2995 w 10746"/>
                <a:gd name="connsiteY1877" fmla="*/ 4171 h 10000"/>
                <a:gd name="connsiteX1878" fmla="*/ 2991 w 10746"/>
                <a:gd name="connsiteY1878" fmla="*/ 4077 h 10000"/>
                <a:gd name="connsiteX1879" fmla="*/ 2995 w 10746"/>
                <a:gd name="connsiteY1879" fmla="*/ 4034 h 10000"/>
                <a:gd name="connsiteX1880" fmla="*/ 3018 w 10746"/>
                <a:gd name="connsiteY1880" fmla="*/ 3983 h 10000"/>
                <a:gd name="connsiteX1881" fmla="*/ 3018 w 10746"/>
                <a:gd name="connsiteY1881" fmla="*/ 3915 h 10000"/>
                <a:gd name="connsiteX1882" fmla="*/ 2949 w 10746"/>
                <a:gd name="connsiteY1882" fmla="*/ 3778 h 10000"/>
                <a:gd name="connsiteX1883" fmla="*/ 2954 w 10746"/>
                <a:gd name="connsiteY1883" fmla="*/ 3675 h 10000"/>
                <a:gd name="connsiteX1884" fmla="*/ 2954 w 10746"/>
                <a:gd name="connsiteY1884" fmla="*/ 3650 h 10000"/>
                <a:gd name="connsiteX1885" fmla="*/ 2963 w 10746"/>
                <a:gd name="connsiteY1885" fmla="*/ 3624 h 10000"/>
                <a:gd name="connsiteX1886" fmla="*/ 2954 w 10746"/>
                <a:gd name="connsiteY1886" fmla="*/ 3564 h 10000"/>
                <a:gd name="connsiteX1887" fmla="*/ 2963 w 10746"/>
                <a:gd name="connsiteY1887" fmla="*/ 3538 h 10000"/>
                <a:gd name="connsiteX1888" fmla="*/ 2963 w 10746"/>
                <a:gd name="connsiteY1888" fmla="*/ 3487 h 10000"/>
                <a:gd name="connsiteX1889" fmla="*/ 2963 w 10746"/>
                <a:gd name="connsiteY1889" fmla="*/ 3479 h 10000"/>
                <a:gd name="connsiteX1890" fmla="*/ 2963 w 10746"/>
                <a:gd name="connsiteY1890" fmla="*/ 3462 h 10000"/>
                <a:gd name="connsiteX1891" fmla="*/ 2954 w 10746"/>
                <a:gd name="connsiteY1891" fmla="*/ 3453 h 10000"/>
                <a:gd name="connsiteX1892" fmla="*/ 2954 w 10746"/>
                <a:gd name="connsiteY1892" fmla="*/ 3444 h 10000"/>
                <a:gd name="connsiteX1893" fmla="*/ 2954 w 10746"/>
                <a:gd name="connsiteY1893" fmla="*/ 3402 h 10000"/>
                <a:gd name="connsiteX1894" fmla="*/ 2954 w 10746"/>
                <a:gd name="connsiteY1894" fmla="*/ 3393 h 10000"/>
                <a:gd name="connsiteX1895" fmla="*/ 2949 w 10746"/>
                <a:gd name="connsiteY1895" fmla="*/ 3376 h 10000"/>
                <a:gd name="connsiteX1896" fmla="*/ 2949 w 10746"/>
                <a:gd name="connsiteY1896" fmla="*/ 3342 h 10000"/>
                <a:gd name="connsiteX1897" fmla="*/ 2949 w 10746"/>
                <a:gd name="connsiteY1897" fmla="*/ 3316 h 10000"/>
                <a:gd name="connsiteX1898" fmla="*/ 2968 w 10746"/>
                <a:gd name="connsiteY1898" fmla="*/ 3291 h 10000"/>
                <a:gd name="connsiteX1899" fmla="*/ 2963 w 10746"/>
                <a:gd name="connsiteY1899" fmla="*/ 3205 h 10000"/>
                <a:gd name="connsiteX1900" fmla="*/ 2968 w 10746"/>
                <a:gd name="connsiteY1900" fmla="*/ 3171 h 10000"/>
                <a:gd name="connsiteX1901" fmla="*/ 2968 w 10746"/>
                <a:gd name="connsiteY1901" fmla="*/ 3128 h 10000"/>
                <a:gd name="connsiteX1902" fmla="*/ 2954 w 10746"/>
                <a:gd name="connsiteY1902" fmla="*/ 3051 h 10000"/>
                <a:gd name="connsiteX1903" fmla="*/ 2954 w 10746"/>
                <a:gd name="connsiteY1903" fmla="*/ 3009 h 10000"/>
                <a:gd name="connsiteX1904" fmla="*/ 2922 w 10746"/>
                <a:gd name="connsiteY1904" fmla="*/ 2940 h 10000"/>
                <a:gd name="connsiteX1905" fmla="*/ 2903 w 10746"/>
                <a:gd name="connsiteY1905" fmla="*/ 2880 h 10000"/>
                <a:gd name="connsiteX1906" fmla="*/ 2903 w 10746"/>
                <a:gd name="connsiteY1906" fmla="*/ 2855 h 10000"/>
                <a:gd name="connsiteX1907" fmla="*/ 2908 w 10746"/>
                <a:gd name="connsiteY1907" fmla="*/ 2846 h 10000"/>
                <a:gd name="connsiteX1908" fmla="*/ 2931 w 10746"/>
                <a:gd name="connsiteY1908" fmla="*/ 2821 h 10000"/>
                <a:gd name="connsiteX1909" fmla="*/ 2931 w 10746"/>
                <a:gd name="connsiteY1909" fmla="*/ 2803 h 10000"/>
                <a:gd name="connsiteX1910" fmla="*/ 2935 w 10746"/>
                <a:gd name="connsiteY1910" fmla="*/ 2786 h 10000"/>
                <a:gd name="connsiteX1911" fmla="*/ 2935 w 10746"/>
                <a:gd name="connsiteY1911" fmla="*/ 2744 h 10000"/>
                <a:gd name="connsiteX1912" fmla="*/ 2963 w 10746"/>
                <a:gd name="connsiteY1912" fmla="*/ 2607 h 10000"/>
                <a:gd name="connsiteX1913" fmla="*/ 2963 w 10746"/>
                <a:gd name="connsiteY1913" fmla="*/ 2419 h 10000"/>
                <a:gd name="connsiteX1914" fmla="*/ 2954 w 10746"/>
                <a:gd name="connsiteY1914" fmla="*/ 2410 h 10000"/>
                <a:gd name="connsiteX1915" fmla="*/ 2963 w 10746"/>
                <a:gd name="connsiteY1915" fmla="*/ 2393 h 10000"/>
                <a:gd name="connsiteX1916" fmla="*/ 2908 w 10746"/>
                <a:gd name="connsiteY1916" fmla="*/ 2359 h 10000"/>
                <a:gd name="connsiteX1917" fmla="*/ 2889 w 10746"/>
                <a:gd name="connsiteY1917" fmla="*/ 2325 h 10000"/>
                <a:gd name="connsiteX1918" fmla="*/ 2788 w 10746"/>
                <a:gd name="connsiteY1918" fmla="*/ 2333 h 10000"/>
                <a:gd name="connsiteX1919" fmla="*/ 2774 w 10746"/>
                <a:gd name="connsiteY1919" fmla="*/ 2325 h 10000"/>
                <a:gd name="connsiteX1920" fmla="*/ 2783 w 10746"/>
                <a:gd name="connsiteY1920" fmla="*/ 2308 h 10000"/>
                <a:gd name="connsiteX1921" fmla="*/ 2747 w 10746"/>
                <a:gd name="connsiteY1921" fmla="*/ 2308 h 10000"/>
                <a:gd name="connsiteX1922" fmla="*/ 2742 w 10746"/>
                <a:gd name="connsiteY1922" fmla="*/ 2333 h 10000"/>
                <a:gd name="connsiteX1923" fmla="*/ 2682 w 10746"/>
                <a:gd name="connsiteY1923" fmla="*/ 2769 h 10000"/>
                <a:gd name="connsiteX1924" fmla="*/ 2613 w 10746"/>
                <a:gd name="connsiteY1924" fmla="*/ 2940 h 10000"/>
                <a:gd name="connsiteX1925" fmla="*/ 2581 w 10746"/>
                <a:gd name="connsiteY1925" fmla="*/ 2966 h 10000"/>
                <a:gd name="connsiteX1926" fmla="*/ 2576 w 10746"/>
                <a:gd name="connsiteY1926" fmla="*/ 3051 h 10000"/>
                <a:gd name="connsiteX1927" fmla="*/ 2581 w 10746"/>
                <a:gd name="connsiteY1927" fmla="*/ 3051 h 10000"/>
                <a:gd name="connsiteX1928" fmla="*/ 2594 w 10746"/>
                <a:gd name="connsiteY1928" fmla="*/ 3017 h 10000"/>
                <a:gd name="connsiteX1929" fmla="*/ 2594 w 10746"/>
                <a:gd name="connsiteY1929" fmla="*/ 3034 h 10000"/>
                <a:gd name="connsiteX1930" fmla="*/ 2594 w 10746"/>
                <a:gd name="connsiteY1930" fmla="*/ 3051 h 10000"/>
                <a:gd name="connsiteX1931" fmla="*/ 2590 w 10746"/>
                <a:gd name="connsiteY1931" fmla="*/ 3077 h 10000"/>
                <a:gd name="connsiteX1932" fmla="*/ 2567 w 10746"/>
                <a:gd name="connsiteY1932" fmla="*/ 3103 h 10000"/>
                <a:gd name="connsiteX1933" fmla="*/ 2562 w 10746"/>
                <a:gd name="connsiteY1933" fmla="*/ 3145 h 10000"/>
                <a:gd name="connsiteX1934" fmla="*/ 2567 w 10746"/>
                <a:gd name="connsiteY1934" fmla="*/ 3179 h 10000"/>
                <a:gd name="connsiteX1935" fmla="*/ 2590 w 10746"/>
                <a:gd name="connsiteY1935" fmla="*/ 3171 h 10000"/>
                <a:gd name="connsiteX1936" fmla="*/ 2594 w 10746"/>
                <a:gd name="connsiteY1936" fmla="*/ 3145 h 10000"/>
                <a:gd name="connsiteX1937" fmla="*/ 2613 w 10746"/>
                <a:gd name="connsiteY1937" fmla="*/ 3154 h 10000"/>
                <a:gd name="connsiteX1938" fmla="*/ 2622 w 10746"/>
                <a:gd name="connsiteY1938" fmla="*/ 3179 h 10000"/>
                <a:gd name="connsiteX1939" fmla="*/ 2613 w 10746"/>
                <a:gd name="connsiteY1939" fmla="*/ 3214 h 10000"/>
                <a:gd name="connsiteX1940" fmla="*/ 2613 w 10746"/>
                <a:gd name="connsiteY1940" fmla="*/ 3308 h 10000"/>
                <a:gd name="connsiteX1941" fmla="*/ 2608 w 10746"/>
                <a:gd name="connsiteY1941" fmla="*/ 3325 h 10000"/>
                <a:gd name="connsiteX1942" fmla="*/ 2608 w 10746"/>
                <a:gd name="connsiteY1942" fmla="*/ 3376 h 10000"/>
                <a:gd name="connsiteX1943" fmla="*/ 2613 w 10746"/>
                <a:gd name="connsiteY1943" fmla="*/ 3419 h 10000"/>
                <a:gd name="connsiteX1944" fmla="*/ 2608 w 10746"/>
                <a:gd name="connsiteY1944" fmla="*/ 3444 h 10000"/>
                <a:gd name="connsiteX1945" fmla="*/ 2594 w 10746"/>
                <a:gd name="connsiteY1945" fmla="*/ 3444 h 10000"/>
                <a:gd name="connsiteX1946" fmla="*/ 2590 w 10746"/>
                <a:gd name="connsiteY1946" fmla="*/ 3427 h 10000"/>
                <a:gd name="connsiteX1947" fmla="*/ 2581 w 10746"/>
                <a:gd name="connsiteY1947" fmla="*/ 3564 h 10000"/>
                <a:gd name="connsiteX1948" fmla="*/ 2594 w 10746"/>
                <a:gd name="connsiteY1948" fmla="*/ 3598 h 10000"/>
                <a:gd name="connsiteX1949" fmla="*/ 2594 w 10746"/>
                <a:gd name="connsiteY1949" fmla="*/ 3581 h 10000"/>
                <a:gd name="connsiteX1950" fmla="*/ 2608 w 10746"/>
                <a:gd name="connsiteY1950" fmla="*/ 3556 h 10000"/>
                <a:gd name="connsiteX1951" fmla="*/ 2650 w 10746"/>
                <a:gd name="connsiteY1951" fmla="*/ 3615 h 10000"/>
                <a:gd name="connsiteX1952" fmla="*/ 2664 w 10746"/>
                <a:gd name="connsiteY1952" fmla="*/ 3615 h 10000"/>
                <a:gd name="connsiteX1953" fmla="*/ 2668 w 10746"/>
                <a:gd name="connsiteY1953" fmla="*/ 3615 h 10000"/>
                <a:gd name="connsiteX1954" fmla="*/ 2664 w 10746"/>
                <a:gd name="connsiteY1954" fmla="*/ 3667 h 10000"/>
                <a:gd name="connsiteX1955" fmla="*/ 2687 w 10746"/>
                <a:gd name="connsiteY1955" fmla="*/ 3786 h 10000"/>
                <a:gd name="connsiteX1956" fmla="*/ 2710 w 10746"/>
                <a:gd name="connsiteY1956" fmla="*/ 3812 h 10000"/>
                <a:gd name="connsiteX1957" fmla="*/ 2724 w 10746"/>
                <a:gd name="connsiteY1957" fmla="*/ 3812 h 10000"/>
                <a:gd name="connsiteX1958" fmla="*/ 2724 w 10746"/>
                <a:gd name="connsiteY1958" fmla="*/ 3829 h 10000"/>
                <a:gd name="connsiteX1959" fmla="*/ 2737 w 10746"/>
                <a:gd name="connsiteY1959" fmla="*/ 3838 h 10000"/>
                <a:gd name="connsiteX1960" fmla="*/ 2714 w 10746"/>
                <a:gd name="connsiteY1960" fmla="*/ 3872 h 10000"/>
                <a:gd name="connsiteX1961" fmla="*/ 2696 w 10746"/>
                <a:gd name="connsiteY1961" fmla="*/ 4026 h 10000"/>
                <a:gd name="connsiteX1962" fmla="*/ 2673 w 10746"/>
                <a:gd name="connsiteY1962" fmla="*/ 4051 h 10000"/>
                <a:gd name="connsiteX1963" fmla="*/ 2668 w 10746"/>
                <a:gd name="connsiteY1963" fmla="*/ 4034 h 10000"/>
                <a:gd name="connsiteX1964" fmla="*/ 2673 w 10746"/>
                <a:gd name="connsiteY1964" fmla="*/ 4000 h 10000"/>
                <a:gd name="connsiteX1965" fmla="*/ 2664 w 10746"/>
                <a:gd name="connsiteY1965" fmla="*/ 3974 h 10000"/>
                <a:gd name="connsiteX1966" fmla="*/ 2636 w 10746"/>
                <a:gd name="connsiteY1966" fmla="*/ 3949 h 10000"/>
                <a:gd name="connsiteX1967" fmla="*/ 2581 w 10746"/>
                <a:gd name="connsiteY1967" fmla="*/ 3838 h 10000"/>
                <a:gd name="connsiteX1968" fmla="*/ 2562 w 10746"/>
                <a:gd name="connsiteY1968" fmla="*/ 3829 h 10000"/>
                <a:gd name="connsiteX1969" fmla="*/ 2535 w 10746"/>
                <a:gd name="connsiteY1969" fmla="*/ 3778 h 10000"/>
                <a:gd name="connsiteX1970" fmla="*/ 2502 w 10746"/>
                <a:gd name="connsiteY1970" fmla="*/ 3761 h 10000"/>
                <a:gd name="connsiteX1971" fmla="*/ 2502 w 10746"/>
                <a:gd name="connsiteY1971" fmla="*/ 3735 h 10000"/>
                <a:gd name="connsiteX1972" fmla="*/ 2516 w 10746"/>
                <a:gd name="connsiteY1972" fmla="*/ 3735 h 10000"/>
                <a:gd name="connsiteX1973" fmla="*/ 2507 w 10746"/>
                <a:gd name="connsiteY1973" fmla="*/ 3726 h 10000"/>
                <a:gd name="connsiteX1974" fmla="*/ 2488 w 10746"/>
                <a:gd name="connsiteY1974" fmla="*/ 3726 h 10000"/>
                <a:gd name="connsiteX1975" fmla="*/ 2461 w 10746"/>
                <a:gd name="connsiteY1975" fmla="*/ 3692 h 10000"/>
                <a:gd name="connsiteX1976" fmla="*/ 2442 w 10746"/>
                <a:gd name="connsiteY1976" fmla="*/ 3675 h 10000"/>
                <a:gd name="connsiteX1977" fmla="*/ 2406 w 10746"/>
                <a:gd name="connsiteY1977" fmla="*/ 3598 h 10000"/>
                <a:gd name="connsiteX1978" fmla="*/ 2346 w 10746"/>
                <a:gd name="connsiteY1978" fmla="*/ 3564 h 10000"/>
                <a:gd name="connsiteX1979" fmla="*/ 2341 w 10746"/>
                <a:gd name="connsiteY1979" fmla="*/ 3564 h 10000"/>
                <a:gd name="connsiteX1980" fmla="*/ 2313 w 10746"/>
                <a:gd name="connsiteY1980" fmla="*/ 3530 h 10000"/>
                <a:gd name="connsiteX1981" fmla="*/ 2235 w 10746"/>
                <a:gd name="connsiteY1981" fmla="*/ 3530 h 10000"/>
                <a:gd name="connsiteX1982" fmla="*/ 2226 w 10746"/>
                <a:gd name="connsiteY1982" fmla="*/ 3513 h 10000"/>
                <a:gd name="connsiteX1983" fmla="*/ 2207 w 10746"/>
                <a:gd name="connsiteY1983" fmla="*/ 3504 h 10000"/>
                <a:gd name="connsiteX1984" fmla="*/ 2194 w 10746"/>
                <a:gd name="connsiteY1984" fmla="*/ 3504 h 10000"/>
                <a:gd name="connsiteX1985" fmla="*/ 2189 w 10746"/>
                <a:gd name="connsiteY1985" fmla="*/ 3504 h 10000"/>
                <a:gd name="connsiteX1986" fmla="*/ 2189 w 10746"/>
                <a:gd name="connsiteY1986" fmla="*/ 3530 h 10000"/>
                <a:gd name="connsiteX1987" fmla="*/ 2180 w 10746"/>
                <a:gd name="connsiteY1987" fmla="*/ 3538 h 10000"/>
                <a:gd name="connsiteX1988" fmla="*/ 2152 w 10746"/>
                <a:gd name="connsiteY1988" fmla="*/ 3581 h 10000"/>
                <a:gd name="connsiteX1989" fmla="*/ 2161 w 10746"/>
                <a:gd name="connsiteY1989" fmla="*/ 3598 h 10000"/>
                <a:gd name="connsiteX1990" fmla="*/ 2194 w 10746"/>
                <a:gd name="connsiteY1990" fmla="*/ 3752 h 10000"/>
                <a:gd name="connsiteX1991" fmla="*/ 2194 w 10746"/>
                <a:gd name="connsiteY1991" fmla="*/ 3735 h 10000"/>
                <a:gd name="connsiteX1992" fmla="*/ 2198 w 10746"/>
                <a:gd name="connsiteY1992" fmla="*/ 3735 h 10000"/>
                <a:gd name="connsiteX1993" fmla="*/ 2189 w 10746"/>
                <a:gd name="connsiteY1993" fmla="*/ 3838 h 10000"/>
                <a:gd name="connsiteX1994" fmla="*/ 2166 w 10746"/>
                <a:gd name="connsiteY1994" fmla="*/ 3889 h 10000"/>
                <a:gd name="connsiteX1995" fmla="*/ 2124 w 10746"/>
                <a:gd name="connsiteY1995" fmla="*/ 3889 h 10000"/>
                <a:gd name="connsiteX1996" fmla="*/ 2124 w 10746"/>
                <a:gd name="connsiteY1996" fmla="*/ 3923 h 10000"/>
                <a:gd name="connsiteX1997" fmla="*/ 2134 w 10746"/>
                <a:gd name="connsiteY1997" fmla="*/ 3940 h 10000"/>
                <a:gd name="connsiteX1998" fmla="*/ 2134 w 10746"/>
                <a:gd name="connsiteY1998" fmla="*/ 3966 h 10000"/>
                <a:gd name="connsiteX1999" fmla="*/ 2120 w 10746"/>
                <a:gd name="connsiteY1999" fmla="*/ 4000 h 10000"/>
                <a:gd name="connsiteX2000" fmla="*/ 2106 w 10746"/>
                <a:gd name="connsiteY2000" fmla="*/ 4009 h 10000"/>
                <a:gd name="connsiteX2001" fmla="*/ 2088 w 10746"/>
                <a:gd name="connsiteY2001" fmla="*/ 4000 h 10000"/>
                <a:gd name="connsiteX2002" fmla="*/ 2074 w 10746"/>
                <a:gd name="connsiteY2002" fmla="*/ 3974 h 10000"/>
                <a:gd name="connsiteX2003" fmla="*/ 2074 w 10746"/>
                <a:gd name="connsiteY2003" fmla="*/ 3940 h 10000"/>
                <a:gd name="connsiteX2004" fmla="*/ 2078 w 10746"/>
                <a:gd name="connsiteY2004" fmla="*/ 3915 h 10000"/>
                <a:gd name="connsiteX2005" fmla="*/ 2088 w 10746"/>
                <a:gd name="connsiteY2005" fmla="*/ 3889 h 10000"/>
                <a:gd name="connsiteX2006" fmla="*/ 2101 w 10746"/>
                <a:gd name="connsiteY2006" fmla="*/ 3872 h 10000"/>
                <a:gd name="connsiteX2007" fmla="*/ 2074 w 10746"/>
                <a:gd name="connsiteY2007" fmla="*/ 3812 h 10000"/>
                <a:gd name="connsiteX2008" fmla="*/ 2074 w 10746"/>
                <a:gd name="connsiteY2008" fmla="*/ 3786 h 10000"/>
                <a:gd name="connsiteX2009" fmla="*/ 2060 w 10746"/>
                <a:gd name="connsiteY2009" fmla="*/ 3786 h 10000"/>
                <a:gd name="connsiteX2010" fmla="*/ 2014 w 10746"/>
                <a:gd name="connsiteY2010" fmla="*/ 3829 h 10000"/>
                <a:gd name="connsiteX2011" fmla="*/ 2000 w 10746"/>
                <a:gd name="connsiteY2011" fmla="*/ 3863 h 10000"/>
                <a:gd name="connsiteX2012" fmla="*/ 1986 w 10746"/>
                <a:gd name="connsiteY2012" fmla="*/ 3872 h 10000"/>
                <a:gd name="connsiteX2013" fmla="*/ 1959 w 10746"/>
                <a:gd name="connsiteY2013" fmla="*/ 3940 h 10000"/>
                <a:gd name="connsiteX2014" fmla="*/ 1945 w 10746"/>
                <a:gd name="connsiteY2014" fmla="*/ 3949 h 10000"/>
                <a:gd name="connsiteX2015" fmla="*/ 1940 w 10746"/>
                <a:gd name="connsiteY2015" fmla="*/ 3923 h 10000"/>
                <a:gd name="connsiteX2016" fmla="*/ 1917 w 10746"/>
                <a:gd name="connsiteY2016" fmla="*/ 3915 h 10000"/>
                <a:gd name="connsiteX2017" fmla="*/ 1899 w 10746"/>
                <a:gd name="connsiteY2017" fmla="*/ 3923 h 10000"/>
                <a:gd name="connsiteX2018" fmla="*/ 1880 w 10746"/>
                <a:gd name="connsiteY2018" fmla="*/ 3915 h 10000"/>
                <a:gd name="connsiteX2019" fmla="*/ 1853 w 10746"/>
                <a:gd name="connsiteY2019" fmla="*/ 3940 h 10000"/>
                <a:gd name="connsiteX2020" fmla="*/ 1839 w 10746"/>
                <a:gd name="connsiteY2020" fmla="*/ 3940 h 10000"/>
                <a:gd name="connsiteX2021" fmla="*/ 1806 w 10746"/>
                <a:gd name="connsiteY2021" fmla="*/ 3983 h 10000"/>
                <a:gd name="connsiteX2022" fmla="*/ 1806 w 10746"/>
                <a:gd name="connsiteY2022" fmla="*/ 4000 h 10000"/>
                <a:gd name="connsiteX2023" fmla="*/ 1797 w 10746"/>
                <a:gd name="connsiteY2023" fmla="*/ 4077 h 10000"/>
                <a:gd name="connsiteX2024" fmla="*/ 1783 w 10746"/>
                <a:gd name="connsiteY2024" fmla="*/ 4077 h 10000"/>
                <a:gd name="connsiteX2025" fmla="*/ 1779 w 10746"/>
                <a:gd name="connsiteY2025" fmla="*/ 4051 h 10000"/>
                <a:gd name="connsiteX2026" fmla="*/ 1765 w 10746"/>
                <a:gd name="connsiteY2026" fmla="*/ 4026 h 10000"/>
                <a:gd name="connsiteX2027" fmla="*/ 1751 w 10746"/>
                <a:gd name="connsiteY2027" fmla="*/ 4051 h 10000"/>
                <a:gd name="connsiteX2028" fmla="*/ 1737 w 10746"/>
                <a:gd name="connsiteY2028" fmla="*/ 4009 h 10000"/>
                <a:gd name="connsiteX2029" fmla="*/ 1737 w 10746"/>
                <a:gd name="connsiteY2029" fmla="*/ 3966 h 10000"/>
                <a:gd name="connsiteX2030" fmla="*/ 1733 w 10746"/>
                <a:gd name="connsiteY2030" fmla="*/ 3940 h 10000"/>
                <a:gd name="connsiteX2031" fmla="*/ 1733 w 10746"/>
                <a:gd name="connsiteY2031" fmla="*/ 3923 h 10000"/>
                <a:gd name="connsiteX2032" fmla="*/ 1747 w 10746"/>
                <a:gd name="connsiteY2032" fmla="*/ 3889 h 10000"/>
                <a:gd name="connsiteX2033" fmla="*/ 1747 w 10746"/>
                <a:gd name="connsiteY2033" fmla="*/ 3863 h 10000"/>
                <a:gd name="connsiteX2034" fmla="*/ 1737 w 10746"/>
                <a:gd name="connsiteY2034" fmla="*/ 3838 h 10000"/>
                <a:gd name="connsiteX2035" fmla="*/ 1733 w 10746"/>
                <a:gd name="connsiteY2035" fmla="*/ 3829 h 10000"/>
                <a:gd name="connsiteX2036" fmla="*/ 1733 w 10746"/>
                <a:gd name="connsiteY2036" fmla="*/ 3846 h 10000"/>
                <a:gd name="connsiteX2037" fmla="*/ 1724 w 10746"/>
                <a:gd name="connsiteY2037" fmla="*/ 3846 h 10000"/>
                <a:gd name="connsiteX2038" fmla="*/ 1724 w 10746"/>
                <a:gd name="connsiteY2038" fmla="*/ 3829 h 10000"/>
                <a:gd name="connsiteX2039" fmla="*/ 1737 w 10746"/>
                <a:gd name="connsiteY2039" fmla="*/ 3812 h 10000"/>
                <a:gd name="connsiteX2040" fmla="*/ 1765 w 10746"/>
                <a:gd name="connsiteY2040" fmla="*/ 3812 h 10000"/>
                <a:gd name="connsiteX2041" fmla="*/ 1779 w 10746"/>
                <a:gd name="connsiteY2041" fmla="*/ 3786 h 10000"/>
                <a:gd name="connsiteX2042" fmla="*/ 1779 w 10746"/>
                <a:gd name="connsiteY2042" fmla="*/ 3786 h 10000"/>
                <a:gd name="connsiteX2043" fmla="*/ 1751 w 10746"/>
                <a:gd name="connsiteY2043" fmla="*/ 3803 h 10000"/>
                <a:gd name="connsiteX2044" fmla="*/ 1747 w 10746"/>
                <a:gd name="connsiteY2044" fmla="*/ 3803 h 10000"/>
                <a:gd name="connsiteX2045" fmla="*/ 1724 w 10746"/>
                <a:gd name="connsiteY2045" fmla="*/ 3803 h 10000"/>
                <a:gd name="connsiteX2046" fmla="*/ 1700 w 10746"/>
                <a:gd name="connsiteY2046" fmla="*/ 3829 h 10000"/>
                <a:gd name="connsiteX2047" fmla="*/ 1705 w 10746"/>
                <a:gd name="connsiteY2047" fmla="*/ 3846 h 10000"/>
                <a:gd name="connsiteX2048" fmla="*/ 1691 w 10746"/>
                <a:gd name="connsiteY2048" fmla="*/ 3846 h 10000"/>
                <a:gd name="connsiteX2049" fmla="*/ 1691 w 10746"/>
                <a:gd name="connsiteY2049" fmla="*/ 3863 h 10000"/>
                <a:gd name="connsiteX2050" fmla="*/ 1691 w 10746"/>
                <a:gd name="connsiteY2050" fmla="*/ 3915 h 10000"/>
                <a:gd name="connsiteX2051" fmla="*/ 1677 w 10746"/>
                <a:gd name="connsiteY2051" fmla="*/ 3923 h 10000"/>
                <a:gd name="connsiteX2052" fmla="*/ 1673 w 10746"/>
                <a:gd name="connsiteY2052" fmla="*/ 3915 h 10000"/>
                <a:gd name="connsiteX2053" fmla="*/ 1664 w 10746"/>
                <a:gd name="connsiteY2053" fmla="*/ 3889 h 10000"/>
                <a:gd name="connsiteX2054" fmla="*/ 1673 w 10746"/>
                <a:gd name="connsiteY2054" fmla="*/ 3872 h 10000"/>
                <a:gd name="connsiteX2055" fmla="*/ 1664 w 10746"/>
                <a:gd name="connsiteY2055" fmla="*/ 3872 h 10000"/>
                <a:gd name="connsiteX2056" fmla="*/ 1636 w 10746"/>
                <a:gd name="connsiteY2056" fmla="*/ 3923 h 10000"/>
                <a:gd name="connsiteX2057" fmla="*/ 1645 w 10746"/>
                <a:gd name="connsiteY2057" fmla="*/ 3923 h 10000"/>
                <a:gd name="connsiteX2058" fmla="*/ 1650 w 10746"/>
                <a:gd name="connsiteY2058" fmla="*/ 3949 h 10000"/>
                <a:gd name="connsiteX2059" fmla="*/ 1650 w 10746"/>
                <a:gd name="connsiteY2059" fmla="*/ 3983 h 10000"/>
                <a:gd name="connsiteX2060" fmla="*/ 1636 w 10746"/>
                <a:gd name="connsiteY2060" fmla="*/ 4000 h 10000"/>
                <a:gd name="connsiteX2061" fmla="*/ 1631 w 10746"/>
                <a:gd name="connsiteY2061" fmla="*/ 4009 h 10000"/>
                <a:gd name="connsiteX2062" fmla="*/ 1618 w 10746"/>
                <a:gd name="connsiteY2062" fmla="*/ 3949 h 10000"/>
                <a:gd name="connsiteX2063" fmla="*/ 1585 w 10746"/>
                <a:gd name="connsiteY2063" fmla="*/ 3966 h 10000"/>
                <a:gd name="connsiteX2064" fmla="*/ 1590 w 10746"/>
                <a:gd name="connsiteY2064" fmla="*/ 3974 h 10000"/>
                <a:gd name="connsiteX2065" fmla="*/ 1544 w 10746"/>
                <a:gd name="connsiteY2065" fmla="*/ 4009 h 10000"/>
                <a:gd name="connsiteX2066" fmla="*/ 1539 w 10746"/>
                <a:gd name="connsiteY2066" fmla="*/ 4009 h 10000"/>
                <a:gd name="connsiteX2067" fmla="*/ 1410 w 10746"/>
                <a:gd name="connsiteY2067" fmla="*/ 4188 h 10000"/>
                <a:gd name="connsiteX2068" fmla="*/ 1406 w 10746"/>
                <a:gd name="connsiteY2068" fmla="*/ 4171 h 10000"/>
                <a:gd name="connsiteX2069" fmla="*/ 1396 w 10746"/>
                <a:gd name="connsiteY2069" fmla="*/ 4214 h 10000"/>
                <a:gd name="connsiteX2070" fmla="*/ 1406 w 10746"/>
                <a:gd name="connsiteY2070" fmla="*/ 4222 h 10000"/>
                <a:gd name="connsiteX2071" fmla="*/ 1392 w 10746"/>
                <a:gd name="connsiteY2071" fmla="*/ 4239 h 10000"/>
                <a:gd name="connsiteX2072" fmla="*/ 1369 w 10746"/>
                <a:gd name="connsiteY2072" fmla="*/ 4248 h 10000"/>
                <a:gd name="connsiteX2073" fmla="*/ 1355 w 10746"/>
                <a:gd name="connsiteY2073" fmla="*/ 4256 h 10000"/>
                <a:gd name="connsiteX2074" fmla="*/ 1350 w 10746"/>
                <a:gd name="connsiteY2074" fmla="*/ 4248 h 10000"/>
                <a:gd name="connsiteX2075" fmla="*/ 1332 w 10746"/>
                <a:gd name="connsiteY2075" fmla="*/ 4376 h 10000"/>
                <a:gd name="connsiteX2076" fmla="*/ 1332 w 10746"/>
                <a:gd name="connsiteY2076" fmla="*/ 4436 h 10000"/>
                <a:gd name="connsiteX2077" fmla="*/ 1323 w 10746"/>
                <a:gd name="connsiteY2077" fmla="*/ 4462 h 10000"/>
                <a:gd name="connsiteX2078" fmla="*/ 1304 w 10746"/>
                <a:gd name="connsiteY2078" fmla="*/ 4487 h 10000"/>
                <a:gd name="connsiteX2079" fmla="*/ 1290 w 10746"/>
                <a:gd name="connsiteY2079" fmla="*/ 4470 h 10000"/>
                <a:gd name="connsiteX2080" fmla="*/ 1263 w 10746"/>
                <a:gd name="connsiteY2080" fmla="*/ 4496 h 10000"/>
                <a:gd name="connsiteX2081" fmla="*/ 1258 w 10746"/>
                <a:gd name="connsiteY2081" fmla="*/ 4547 h 10000"/>
                <a:gd name="connsiteX2082" fmla="*/ 1249 w 10746"/>
                <a:gd name="connsiteY2082" fmla="*/ 4487 h 10000"/>
                <a:gd name="connsiteX2083" fmla="*/ 1235 w 10746"/>
                <a:gd name="connsiteY2083" fmla="*/ 4496 h 10000"/>
                <a:gd name="connsiteX2084" fmla="*/ 1221 w 10746"/>
                <a:gd name="connsiteY2084" fmla="*/ 4496 h 10000"/>
                <a:gd name="connsiteX2085" fmla="*/ 1217 w 10746"/>
                <a:gd name="connsiteY2085" fmla="*/ 4487 h 10000"/>
                <a:gd name="connsiteX2086" fmla="*/ 1198 w 10746"/>
                <a:gd name="connsiteY2086" fmla="*/ 4410 h 10000"/>
                <a:gd name="connsiteX2087" fmla="*/ 1157 w 10746"/>
                <a:gd name="connsiteY2087" fmla="*/ 4333 h 10000"/>
                <a:gd name="connsiteX2088" fmla="*/ 1147 w 10746"/>
                <a:gd name="connsiteY2088" fmla="*/ 4299 h 10000"/>
                <a:gd name="connsiteX2089" fmla="*/ 1147 w 10746"/>
                <a:gd name="connsiteY2089" fmla="*/ 4274 h 10000"/>
                <a:gd name="connsiteX2090" fmla="*/ 1161 w 10746"/>
                <a:gd name="connsiteY2090" fmla="*/ 4256 h 10000"/>
                <a:gd name="connsiteX2091" fmla="*/ 1171 w 10746"/>
                <a:gd name="connsiteY2091" fmla="*/ 4248 h 10000"/>
                <a:gd name="connsiteX2092" fmla="*/ 1175 w 10746"/>
                <a:gd name="connsiteY2092" fmla="*/ 4214 h 10000"/>
                <a:gd name="connsiteX2093" fmla="*/ 1263 w 10746"/>
                <a:gd name="connsiteY2093" fmla="*/ 4171 h 10000"/>
                <a:gd name="connsiteX2094" fmla="*/ 1249 w 10746"/>
                <a:gd name="connsiteY2094" fmla="*/ 4137 h 10000"/>
                <a:gd name="connsiteX2095" fmla="*/ 1244 w 10746"/>
                <a:gd name="connsiteY2095" fmla="*/ 4060 h 10000"/>
                <a:gd name="connsiteX2096" fmla="*/ 1230 w 10746"/>
                <a:gd name="connsiteY2096" fmla="*/ 4077 h 10000"/>
                <a:gd name="connsiteX2097" fmla="*/ 1221 w 10746"/>
                <a:gd name="connsiteY2097" fmla="*/ 4026 h 10000"/>
                <a:gd name="connsiteX2098" fmla="*/ 1217 w 10746"/>
                <a:gd name="connsiteY2098" fmla="*/ 4026 h 10000"/>
                <a:gd name="connsiteX2099" fmla="*/ 1212 w 10746"/>
                <a:gd name="connsiteY2099" fmla="*/ 3983 h 10000"/>
                <a:gd name="connsiteX2100" fmla="*/ 1203 w 10746"/>
                <a:gd name="connsiteY2100" fmla="*/ 3966 h 10000"/>
                <a:gd name="connsiteX2101" fmla="*/ 1171 w 10746"/>
                <a:gd name="connsiteY2101" fmla="*/ 3949 h 10000"/>
                <a:gd name="connsiteX2102" fmla="*/ 1111 w 10746"/>
                <a:gd name="connsiteY2102" fmla="*/ 3940 h 10000"/>
                <a:gd name="connsiteX2103" fmla="*/ 1097 w 10746"/>
                <a:gd name="connsiteY2103" fmla="*/ 3949 h 10000"/>
                <a:gd name="connsiteX2104" fmla="*/ 1037 w 10746"/>
                <a:gd name="connsiteY2104" fmla="*/ 3897 h 10000"/>
                <a:gd name="connsiteX2105" fmla="*/ 1041 w 10746"/>
                <a:gd name="connsiteY2105" fmla="*/ 3923 h 10000"/>
                <a:gd name="connsiteX2106" fmla="*/ 1097 w 10746"/>
                <a:gd name="connsiteY2106" fmla="*/ 4009 h 10000"/>
                <a:gd name="connsiteX2107" fmla="*/ 1097 w 10746"/>
                <a:gd name="connsiteY2107" fmla="*/ 4120 h 10000"/>
                <a:gd name="connsiteX2108" fmla="*/ 1097 w 10746"/>
                <a:gd name="connsiteY2108" fmla="*/ 4162 h 10000"/>
                <a:gd name="connsiteX2109" fmla="*/ 1097 w 10746"/>
                <a:gd name="connsiteY2109" fmla="*/ 4197 h 10000"/>
                <a:gd name="connsiteX2110" fmla="*/ 1074 w 10746"/>
                <a:gd name="connsiteY2110" fmla="*/ 4333 h 10000"/>
                <a:gd name="connsiteX2111" fmla="*/ 1074 w 10746"/>
                <a:gd name="connsiteY2111" fmla="*/ 4376 h 10000"/>
                <a:gd name="connsiteX2112" fmla="*/ 1083 w 10746"/>
                <a:gd name="connsiteY2112" fmla="*/ 4385 h 10000"/>
                <a:gd name="connsiteX2113" fmla="*/ 1097 w 10746"/>
                <a:gd name="connsiteY2113" fmla="*/ 4385 h 10000"/>
                <a:gd name="connsiteX2114" fmla="*/ 1111 w 10746"/>
                <a:gd name="connsiteY2114" fmla="*/ 4410 h 10000"/>
                <a:gd name="connsiteX2115" fmla="*/ 1124 w 10746"/>
                <a:gd name="connsiteY2115" fmla="*/ 4444 h 10000"/>
                <a:gd name="connsiteX2116" fmla="*/ 1124 w 10746"/>
                <a:gd name="connsiteY2116" fmla="*/ 4470 h 10000"/>
                <a:gd name="connsiteX2117" fmla="*/ 1115 w 10746"/>
                <a:gd name="connsiteY2117" fmla="*/ 4513 h 10000"/>
                <a:gd name="connsiteX2118" fmla="*/ 1115 w 10746"/>
                <a:gd name="connsiteY2118" fmla="*/ 4530 h 10000"/>
                <a:gd name="connsiteX2119" fmla="*/ 1115 w 10746"/>
                <a:gd name="connsiteY2119" fmla="*/ 4573 h 10000"/>
                <a:gd name="connsiteX2120" fmla="*/ 1101 w 10746"/>
                <a:gd name="connsiteY2120" fmla="*/ 4607 h 10000"/>
                <a:gd name="connsiteX2121" fmla="*/ 1097 w 10746"/>
                <a:gd name="connsiteY2121" fmla="*/ 4658 h 10000"/>
                <a:gd name="connsiteX2122" fmla="*/ 1101 w 10746"/>
                <a:gd name="connsiteY2122" fmla="*/ 4692 h 10000"/>
                <a:gd name="connsiteX2123" fmla="*/ 1097 w 10746"/>
                <a:gd name="connsiteY2123" fmla="*/ 4778 h 10000"/>
                <a:gd name="connsiteX2124" fmla="*/ 1083 w 10746"/>
                <a:gd name="connsiteY2124" fmla="*/ 4744 h 10000"/>
                <a:gd name="connsiteX2125" fmla="*/ 1083 w 10746"/>
                <a:gd name="connsiteY2125" fmla="*/ 4718 h 10000"/>
                <a:gd name="connsiteX2126" fmla="*/ 1074 w 10746"/>
                <a:gd name="connsiteY2126" fmla="*/ 4692 h 10000"/>
                <a:gd name="connsiteX2127" fmla="*/ 1065 w 10746"/>
                <a:gd name="connsiteY2127" fmla="*/ 4692 h 10000"/>
                <a:gd name="connsiteX2128" fmla="*/ 1051 w 10746"/>
                <a:gd name="connsiteY2128" fmla="*/ 4718 h 10000"/>
                <a:gd name="connsiteX2129" fmla="*/ 1055 w 10746"/>
                <a:gd name="connsiteY2129" fmla="*/ 4692 h 10000"/>
                <a:gd name="connsiteX2130" fmla="*/ 1055 w 10746"/>
                <a:gd name="connsiteY2130" fmla="*/ 4667 h 10000"/>
                <a:gd name="connsiteX2131" fmla="*/ 1028 w 10746"/>
                <a:gd name="connsiteY2131" fmla="*/ 4624 h 10000"/>
                <a:gd name="connsiteX2132" fmla="*/ 1005 w 10746"/>
                <a:gd name="connsiteY2132" fmla="*/ 4624 h 10000"/>
                <a:gd name="connsiteX2133" fmla="*/ 977 w 10746"/>
                <a:gd name="connsiteY2133" fmla="*/ 4581 h 10000"/>
                <a:gd name="connsiteX2134" fmla="*/ 963 w 10746"/>
                <a:gd name="connsiteY2134" fmla="*/ 4607 h 10000"/>
                <a:gd name="connsiteX2135" fmla="*/ 963 w 10746"/>
                <a:gd name="connsiteY2135" fmla="*/ 4632 h 10000"/>
                <a:gd name="connsiteX2136" fmla="*/ 917 w 10746"/>
                <a:gd name="connsiteY2136" fmla="*/ 4718 h 10000"/>
                <a:gd name="connsiteX2137" fmla="*/ 889 w 10746"/>
                <a:gd name="connsiteY2137" fmla="*/ 4744 h 10000"/>
                <a:gd name="connsiteX2138" fmla="*/ 880 w 10746"/>
                <a:gd name="connsiteY2138" fmla="*/ 4744 h 10000"/>
                <a:gd name="connsiteX2139" fmla="*/ 862 w 10746"/>
                <a:gd name="connsiteY2139" fmla="*/ 4769 h 10000"/>
                <a:gd name="connsiteX2140" fmla="*/ 857 w 10746"/>
                <a:gd name="connsiteY2140" fmla="*/ 4795 h 10000"/>
                <a:gd name="connsiteX2141" fmla="*/ 829 w 10746"/>
                <a:gd name="connsiteY2141" fmla="*/ 4846 h 10000"/>
                <a:gd name="connsiteX2142" fmla="*/ 816 w 10746"/>
                <a:gd name="connsiteY2142" fmla="*/ 4855 h 10000"/>
                <a:gd name="connsiteX2143" fmla="*/ 816 w 10746"/>
                <a:gd name="connsiteY2143" fmla="*/ 4940 h 10000"/>
                <a:gd name="connsiteX2144" fmla="*/ 880 w 10746"/>
                <a:gd name="connsiteY2144" fmla="*/ 5179 h 10000"/>
                <a:gd name="connsiteX2145" fmla="*/ 880 w 10746"/>
                <a:gd name="connsiteY2145" fmla="*/ 5188 h 10000"/>
                <a:gd name="connsiteX2146" fmla="*/ 862 w 10746"/>
                <a:gd name="connsiteY2146" fmla="*/ 5171 h 10000"/>
                <a:gd name="connsiteX2147" fmla="*/ 857 w 10746"/>
                <a:gd name="connsiteY2147" fmla="*/ 5171 h 10000"/>
                <a:gd name="connsiteX2148" fmla="*/ 820 w 10746"/>
                <a:gd name="connsiteY2148" fmla="*/ 5145 h 10000"/>
                <a:gd name="connsiteX2149" fmla="*/ 820 w 10746"/>
                <a:gd name="connsiteY2149" fmla="*/ 5154 h 10000"/>
                <a:gd name="connsiteX2150" fmla="*/ 816 w 10746"/>
                <a:gd name="connsiteY2150" fmla="*/ 5171 h 10000"/>
                <a:gd name="connsiteX2151" fmla="*/ 783 w 10746"/>
                <a:gd name="connsiteY2151" fmla="*/ 5145 h 10000"/>
                <a:gd name="connsiteX2152" fmla="*/ 756 w 10746"/>
                <a:gd name="connsiteY2152" fmla="*/ 5103 h 10000"/>
                <a:gd name="connsiteX2153" fmla="*/ 742 w 10746"/>
                <a:gd name="connsiteY2153" fmla="*/ 5103 h 10000"/>
                <a:gd name="connsiteX2154" fmla="*/ 728 w 10746"/>
                <a:gd name="connsiteY2154" fmla="*/ 5094 h 10000"/>
                <a:gd name="connsiteX2155" fmla="*/ 710 w 10746"/>
                <a:gd name="connsiteY2155" fmla="*/ 5120 h 10000"/>
                <a:gd name="connsiteX2156" fmla="*/ 700 w 10746"/>
                <a:gd name="connsiteY2156" fmla="*/ 5145 h 10000"/>
                <a:gd name="connsiteX2157" fmla="*/ 696 w 10746"/>
                <a:gd name="connsiteY2157" fmla="*/ 5103 h 10000"/>
                <a:gd name="connsiteX2158" fmla="*/ 714 w 10746"/>
                <a:gd name="connsiteY2158" fmla="*/ 5077 h 10000"/>
                <a:gd name="connsiteX2159" fmla="*/ 682 w 10746"/>
                <a:gd name="connsiteY2159" fmla="*/ 5068 h 10000"/>
                <a:gd name="connsiteX2160" fmla="*/ 673 w 10746"/>
                <a:gd name="connsiteY2160" fmla="*/ 5034 h 10000"/>
                <a:gd name="connsiteX2161" fmla="*/ 636 w 10746"/>
                <a:gd name="connsiteY2161" fmla="*/ 4991 h 10000"/>
                <a:gd name="connsiteX2162" fmla="*/ 622 w 10746"/>
                <a:gd name="connsiteY2162" fmla="*/ 4983 h 10000"/>
                <a:gd name="connsiteX2163" fmla="*/ 622 w 10746"/>
                <a:gd name="connsiteY2163" fmla="*/ 5034 h 10000"/>
                <a:gd name="connsiteX2164" fmla="*/ 608 w 10746"/>
                <a:gd name="connsiteY2164" fmla="*/ 5051 h 10000"/>
                <a:gd name="connsiteX2165" fmla="*/ 594 w 10746"/>
                <a:gd name="connsiteY2165" fmla="*/ 5068 h 10000"/>
                <a:gd name="connsiteX2166" fmla="*/ 608 w 10746"/>
                <a:gd name="connsiteY2166" fmla="*/ 5120 h 10000"/>
                <a:gd name="connsiteX2167" fmla="*/ 613 w 10746"/>
                <a:gd name="connsiteY2167" fmla="*/ 5128 h 10000"/>
                <a:gd name="connsiteX2168" fmla="*/ 627 w 10746"/>
                <a:gd name="connsiteY2168" fmla="*/ 5179 h 10000"/>
                <a:gd name="connsiteX2169" fmla="*/ 650 w 10746"/>
                <a:gd name="connsiteY2169" fmla="*/ 5214 h 10000"/>
                <a:gd name="connsiteX2170" fmla="*/ 687 w 10746"/>
                <a:gd name="connsiteY2170" fmla="*/ 5188 h 10000"/>
                <a:gd name="connsiteX2171" fmla="*/ 700 w 10746"/>
                <a:gd name="connsiteY2171" fmla="*/ 5325 h 10000"/>
                <a:gd name="connsiteX2172" fmla="*/ 710 w 10746"/>
                <a:gd name="connsiteY2172" fmla="*/ 5350 h 10000"/>
                <a:gd name="connsiteX2173" fmla="*/ 687 w 10746"/>
                <a:gd name="connsiteY2173" fmla="*/ 5325 h 10000"/>
                <a:gd name="connsiteX2174" fmla="*/ 668 w 10746"/>
                <a:gd name="connsiteY2174" fmla="*/ 5350 h 10000"/>
                <a:gd name="connsiteX2175" fmla="*/ 668 w 10746"/>
                <a:gd name="connsiteY2175" fmla="*/ 5368 h 10000"/>
                <a:gd name="connsiteX2176" fmla="*/ 668 w 10746"/>
                <a:gd name="connsiteY2176" fmla="*/ 5376 h 10000"/>
                <a:gd name="connsiteX2177" fmla="*/ 581 w 10746"/>
                <a:gd name="connsiteY2177" fmla="*/ 5316 h 10000"/>
                <a:gd name="connsiteX2178" fmla="*/ 567 w 10746"/>
                <a:gd name="connsiteY2178" fmla="*/ 5265 h 10000"/>
                <a:gd name="connsiteX2179" fmla="*/ 562 w 10746"/>
                <a:gd name="connsiteY2179" fmla="*/ 5256 h 10000"/>
                <a:gd name="connsiteX2180" fmla="*/ 548 w 10746"/>
                <a:gd name="connsiteY2180" fmla="*/ 5231 h 10000"/>
                <a:gd name="connsiteX2181" fmla="*/ 535 w 10746"/>
                <a:gd name="connsiteY2181" fmla="*/ 5214 h 10000"/>
                <a:gd name="connsiteX2182" fmla="*/ 525 w 10746"/>
                <a:gd name="connsiteY2182" fmla="*/ 5231 h 10000"/>
                <a:gd name="connsiteX2183" fmla="*/ 521 w 10746"/>
                <a:gd name="connsiteY2183" fmla="*/ 5231 h 10000"/>
                <a:gd name="connsiteX2184" fmla="*/ 493 w 10746"/>
                <a:gd name="connsiteY2184" fmla="*/ 5205 h 10000"/>
                <a:gd name="connsiteX2185" fmla="*/ 488 w 10746"/>
                <a:gd name="connsiteY2185" fmla="*/ 5179 h 10000"/>
                <a:gd name="connsiteX2186" fmla="*/ 475 w 10746"/>
                <a:gd name="connsiteY2186" fmla="*/ 5188 h 10000"/>
                <a:gd name="connsiteX2187" fmla="*/ 475 w 10746"/>
                <a:gd name="connsiteY2187" fmla="*/ 5171 h 10000"/>
                <a:gd name="connsiteX2188" fmla="*/ 488 w 10746"/>
                <a:gd name="connsiteY2188" fmla="*/ 5154 h 10000"/>
                <a:gd name="connsiteX2189" fmla="*/ 488 w 10746"/>
                <a:gd name="connsiteY2189" fmla="*/ 5068 h 10000"/>
                <a:gd name="connsiteX2190" fmla="*/ 475 w 10746"/>
                <a:gd name="connsiteY2190" fmla="*/ 5051 h 10000"/>
                <a:gd name="connsiteX2191" fmla="*/ 475 w 10746"/>
                <a:gd name="connsiteY2191" fmla="*/ 5017 h 10000"/>
                <a:gd name="connsiteX2192" fmla="*/ 452 w 10746"/>
                <a:gd name="connsiteY2192" fmla="*/ 4932 h 10000"/>
                <a:gd name="connsiteX2193" fmla="*/ 461 w 10746"/>
                <a:gd name="connsiteY2193" fmla="*/ 4915 h 10000"/>
                <a:gd name="connsiteX2194" fmla="*/ 475 w 10746"/>
                <a:gd name="connsiteY2194" fmla="*/ 4906 h 10000"/>
                <a:gd name="connsiteX2195" fmla="*/ 479 w 10746"/>
                <a:gd name="connsiteY2195" fmla="*/ 4803 h 10000"/>
                <a:gd name="connsiteX2196" fmla="*/ 479 w 10746"/>
                <a:gd name="connsiteY2196" fmla="*/ 4778 h 10000"/>
                <a:gd name="connsiteX2197" fmla="*/ 475 w 10746"/>
                <a:gd name="connsiteY2197" fmla="*/ 4761 h 10000"/>
                <a:gd name="connsiteX2198" fmla="*/ 465 w 10746"/>
                <a:gd name="connsiteY2198" fmla="*/ 4718 h 10000"/>
                <a:gd name="connsiteX2199" fmla="*/ 461 w 10746"/>
                <a:gd name="connsiteY2199" fmla="*/ 4709 h 10000"/>
                <a:gd name="connsiteX2200" fmla="*/ 442 w 10746"/>
                <a:gd name="connsiteY2200" fmla="*/ 4692 h 10000"/>
                <a:gd name="connsiteX2201" fmla="*/ 433 w 10746"/>
                <a:gd name="connsiteY2201" fmla="*/ 4667 h 10000"/>
                <a:gd name="connsiteX2202" fmla="*/ 419 w 10746"/>
                <a:gd name="connsiteY2202" fmla="*/ 4667 h 10000"/>
                <a:gd name="connsiteX2203" fmla="*/ 401 w 10746"/>
                <a:gd name="connsiteY2203" fmla="*/ 4658 h 10000"/>
                <a:gd name="connsiteX2204" fmla="*/ 401 w 10746"/>
                <a:gd name="connsiteY2204" fmla="*/ 4624 h 10000"/>
                <a:gd name="connsiteX2205" fmla="*/ 401 w 10746"/>
                <a:gd name="connsiteY2205" fmla="*/ 4607 h 10000"/>
                <a:gd name="connsiteX2206" fmla="*/ 378 w 10746"/>
                <a:gd name="connsiteY2206" fmla="*/ 4607 h 10000"/>
                <a:gd name="connsiteX2207" fmla="*/ 341 w 10746"/>
                <a:gd name="connsiteY2207" fmla="*/ 4530 h 10000"/>
                <a:gd name="connsiteX2208" fmla="*/ 346 w 10746"/>
                <a:gd name="connsiteY2208" fmla="*/ 4521 h 10000"/>
                <a:gd name="connsiteX2209" fmla="*/ 332 w 10746"/>
                <a:gd name="connsiteY2209" fmla="*/ 4487 h 10000"/>
                <a:gd name="connsiteX2210" fmla="*/ 327 w 10746"/>
                <a:gd name="connsiteY2210" fmla="*/ 4462 h 10000"/>
                <a:gd name="connsiteX2211" fmla="*/ 313 w 10746"/>
                <a:gd name="connsiteY2211" fmla="*/ 4436 h 10000"/>
                <a:gd name="connsiteX2212" fmla="*/ 300 w 10746"/>
                <a:gd name="connsiteY2212" fmla="*/ 4419 h 10000"/>
                <a:gd name="connsiteX2213" fmla="*/ 309 w 10746"/>
                <a:gd name="connsiteY2213" fmla="*/ 4393 h 10000"/>
                <a:gd name="connsiteX2214" fmla="*/ 332 w 10746"/>
                <a:gd name="connsiteY2214" fmla="*/ 4385 h 10000"/>
                <a:gd name="connsiteX2215" fmla="*/ 355 w 10746"/>
                <a:gd name="connsiteY2215" fmla="*/ 4419 h 10000"/>
                <a:gd name="connsiteX2216" fmla="*/ 355 w 10746"/>
                <a:gd name="connsiteY2216" fmla="*/ 4444 h 10000"/>
                <a:gd name="connsiteX2217" fmla="*/ 369 w 10746"/>
                <a:gd name="connsiteY2217" fmla="*/ 4470 h 10000"/>
                <a:gd name="connsiteX2218" fmla="*/ 401 w 10746"/>
                <a:gd name="connsiteY2218" fmla="*/ 4521 h 10000"/>
                <a:gd name="connsiteX2219" fmla="*/ 406 w 10746"/>
                <a:gd name="connsiteY2219" fmla="*/ 4513 h 10000"/>
                <a:gd name="connsiteX2220" fmla="*/ 406 w 10746"/>
                <a:gd name="connsiteY2220" fmla="*/ 4496 h 10000"/>
                <a:gd name="connsiteX2221" fmla="*/ 419 w 10746"/>
                <a:gd name="connsiteY2221" fmla="*/ 4521 h 10000"/>
                <a:gd name="connsiteX2222" fmla="*/ 429 w 10746"/>
                <a:gd name="connsiteY2222" fmla="*/ 4530 h 10000"/>
                <a:gd name="connsiteX2223" fmla="*/ 433 w 10746"/>
                <a:gd name="connsiteY2223" fmla="*/ 4521 h 10000"/>
                <a:gd name="connsiteX2224" fmla="*/ 442 w 10746"/>
                <a:gd name="connsiteY2224" fmla="*/ 4530 h 10000"/>
                <a:gd name="connsiteX2225" fmla="*/ 447 w 10746"/>
                <a:gd name="connsiteY2225" fmla="*/ 4521 h 10000"/>
                <a:gd name="connsiteX2226" fmla="*/ 452 w 10746"/>
                <a:gd name="connsiteY2226" fmla="*/ 4521 h 10000"/>
                <a:gd name="connsiteX2227" fmla="*/ 461 w 10746"/>
                <a:gd name="connsiteY2227" fmla="*/ 4573 h 10000"/>
                <a:gd name="connsiteX2228" fmla="*/ 479 w 10746"/>
                <a:gd name="connsiteY2228" fmla="*/ 4556 h 10000"/>
                <a:gd name="connsiteX2229" fmla="*/ 502 w 10746"/>
                <a:gd name="connsiteY2229" fmla="*/ 4573 h 10000"/>
                <a:gd name="connsiteX2230" fmla="*/ 507 w 10746"/>
                <a:gd name="connsiteY2230" fmla="*/ 4598 h 10000"/>
                <a:gd name="connsiteX2231" fmla="*/ 525 w 10746"/>
                <a:gd name="connsiteY2231" fmla="*/ 4598 h 10000"/>
                <a:gd name="connsiteX2232" fmla="*/ 535 w 10746"/>
                <a:gd name="connsiteY2232" fmla="*/ 4624 h 10000"/>
                <a:gd name="connsiteX2233" fmla="*/ 594 w 10746"/>
                <a:gd name="connsiteY2233" fmla="*/ 4658 h 10000"/>
                <a:gd name="connsiteX2234" fmla="*/ 627 w 10746"/>
                <a:gd name="connsiteY2234" fmla="*/ 4658 h 10000"/>
                <a:gd name="connsiteX2235" fmla="*/ 654 w 10746"/>
                <a:gd name="connsiteY2235" fmla="*/ 4684 h 10000"/>
                <a:gd name="connsiteX2236" fmla="*/ 668 w 10746"/>
                <a:gd name="connsiteY2236" fmla="*/ 4709 h 10000"/>
                <a:gd name="connsiteX2237" fmla="*/ 747 w 10746"/>
                <a:gd name="connsiteY2237" fmla="*/ 4718 h 10000"/>
                <a:gd name="connsiteX2238" fmla="*/ 760 w 10746"/>
                <a:gd name="connsiteY2238" fmla="*/ 4709 h 10000"/>
                <a:gd name="connsiteX2239" fmla="*/ 774 w 10746"/>
                <a:gd name="connsiteY2239" fmla="*/ 4692 h 10000"/>
                <a:gd name="connsiteX2240" fmla="*/ 829 w 10746"/>
                <a:gd name="connsiteY2240" fmla="*/ 4658 h 10000"/>
                <a:gd name="connsiteX2241" fmla="*/ 903 w 10746"/>
                <a:gd name="connsiteY2241" fmla="*/ 4496 h 10000"/>
                <a:gd name="connsiteX2242" fmla="*/ 917 w 10746"/>
                <a:gd name="connsiteY2242" fmla="*/ 4385 h 10000"/>
                <a:gd name="connsiteX2243" fmla="*/ 903 w 10746"/>
                <a:gd name="connsiteY2243" fmla="*/ 4376 h 10000"/>
                <a:gd name="connsiteX2244" fmla="*/ 903 w 10746"/>
                <a:gd name="connsiteY2244" fmla="*/ 4376 h 10000"/>
                <a:gd name="connsiteX2245" fmla="*/ 889 w 10746"/>
                <a:gd name="connsiteY2245" fmla="*/ 4239 h 10000"/>
                <a:gd name="connsiteX2246" fmla="*/ 880 w 10746"/>
                <a:gd name="connsiteY2246" fmla="*/ 4214 h 10000"/>
                <a:gd name="connsiteX2247" fmla="*/ 862 w 10746"/>
                <a:gd name="connsiteY2247" fmla="*/ 4188 h 10000"/>
                <a:gd name="connsiteX2248" fmla="*/ 857 w 10746"/>
                <a:gd name="connsiteY2248" fmla="*/ 4197 h 10000"/>
                <a:gd name="connsiteX2249" fmla="*/ 848 w 10746"/>
                <a:gd name="connsiteY2249" fmla="*/ 4188 h 10000"/>
                <a:gd name="connsiteX2250" fmla="*/ 848 w 10746"/>
                <a:gd name="connsiteY2250" fmla="*/ 4162 h 10000"/>
                <a:gd name="connsiteX2251" fmla="*/ 829 w 10746"/>
                <a:gd name="connsiteY2251" fmla="*/ 4120 h 10000"/>
                <a:gd name="connsiteX2252" fmla="*/ 820 w 10746"/>
                <a:gd name="connsiteY2252" fmla="*/ 4103 h 10000"/>
                <a:gd name="connsiteX2253" fmla="*/ 806 w 10746"/>
                <a:gd name="connsiteY2253" fmla="*/ 4077 h 10000"/>
                <a:gd name="connsiteX2254" fmla="*/ 816 w 10746"/>
                <a:gd name="connsiteY2254" fmla="*/ 4111 h 10000"/>
                <a:gd name="connsiteX2255" fmla="*/ 802 w 10746"/>
                <a:gd name="connsiteY2255" fmla="*/ 4111 h 10000"/>
                <a:gd name="connsiteX2256" fmla="*/ 770 w 10746"/>
                <a:gd name="connsiteY2256" fmla="*/ 4060 h 10000"/>
                <a:gd name="connsiteX2257" fmla="*/ 760 w 10746"/>
                <a:gd name="connsiteY2257" fmla="*/ 4077 h 10000"/>
                <a:gd name="connsiteX2258" fmla="*/ 760 w 10746"/>
                <a:gd name="connsiteY2258" fmla="*/ 4060 h 10000"/>
                <a:gd name="connsiteX2259" fmla="*/ 756 w 10746"/>
                <a:gd name="connsiteY2259" fmla="*/ 4034 h 10000"/>
                <a:gd name="connsiteX2260" fmla="*/ 742 w 10746"/>
                <a:gd name="connsiteY2260" fmla="*/ 4000 h 10000"/>
                <a:gd name="connsiteX2261" fmla="*/ 747 w 10746"/>
                <a:gd name="connsiteY2261" fmla="*/ 4034 h 10000"/>
                <a:gd name="connsiteX2262" fmla="*/ 724 w 10746"/>
                <a:gd name="connsiteY2262" fmla="*/ 4026 h 10000"/>
                <a:gd name="connsiteX2263" fmla="*/ 714 w 10746"/>
                <a:gd name="connsiteY2263" fmla="*/ 4000 h 10000"/>
                <a:gd name="connsiteX2264" fmla="*/ 714 w 10746"/>
                <a:gd name="connsiteY2264" fmla="*/ 3983 h 10000"/>
                <a:gd name="connsiteX2265" fmla="*/ 553 w 10746"/>
                <a:gd name="connsiteY2265" fmla="*/ 3726 h 10000"/>
                <a:gd name="connsiteX2266" fmla="*/ 507 w 10746"/>
                <a:gd name="connsiteY2266" fmla="*/ 3718 h 10000"/>
                <a:gd name="connsiteX2267" fmla="*/ 516 w 10746"/>
                <a:gd name="connsiteY2267" fmla="*/ 3726 h 10000"/>
                <a:gd name="connsiteX2268" fmla="*/ 507 w 10746"/>
                <a:gd name="connsiteY2268" fmla="*/ 3735 h 10000"/>
                <a:gd name="connsiteX2269" fmla="*/ 502 w 10746"/>
                <a:gd name="connsiteY2269" fmla="*/ 3735 h 10000"/>
                <a:gd name="connsiteX2270" fmla="*/ 419 w 10746"/>
                <a:gd name="connsiteY2270" fmla="*/ 3675 h 10000"/>
                <a:gd name="connsiteX2271" fmla="*/ 419 w 10746"/>
                <a:gd name="connsiteY2271" fmla="*/ 3692 h 10000"/>
                <a:gd name="connsiteX2272" fmla="*/ 401 w 10746"/>
                <a:gd name="connsiteY2272" fmla="*/ 3701 h 10000"/>
                <a:gd name="connsiteX2273" fmla="*/ 387 w 10746"/>
                <a:gd name="connsiteY2273" fmla="*/ 3718 h 10000"/>
                <a:gd name="connsiteX2274" fmla="*/ 387 w 10746"/>
                <a:gd name="connsiteY2274" fmla="*/ 3692 h 10000"/>
                <a:gd name="connsiteX2275" fmla="*/ 378 w 10746"/>
                <a:gd name="connsiteY2275" fmla="*/ 3675 h 10000"/>
                <a:gd name="connsiteX2276" fmla="*/ 378 w 10746"/>
                <a:gd name="connsiteY2276" fmla="*/ 3650 h 10000"/>
                <a:gd name="connsiteX2277" fmla="*/ 378 w 10746"/>
                <a:gd name="connsiteY2277" fmla="*/ 3650 h 10000"/>
                <a:gd name="connsiteX2278" fmla="*/ 355 w 10746"/>
                <a:gd name="connsiteY2278" fmla="*/ 3675 h 10000"/>
                <a:gd name="connsiteX2279" fmla="*/ 359 w 10746"/>
                <a:gd name="connsiteY2279" fmla="*/ 3641 h 10000"/>
                <a:gd name="connsiteX2280" fmla="*/ 346 w 10746"/>
                <a:gd name="connsiteY2280" fmla="*/ 3650 h 10000"/>
                <a:gd name="connsiteX2281" fmla="*/ 355 w 10746"/>
                <a:gd name="connsiteY2281" fmla="*/ 3624 h 10000"/>
                <a:gd name="connsiteX2282" fmla="*/ 346 w 10746"/>
                <a:gd name="connsiteY2282" fmla="*/ 3624 h 10000"/>
                <a:gd name="connsiteX2283" fmla="*/ 341 w 10746"/>
                <a:gd name="connsiteY2283" fmla="*/ 3624 h 10000"/>
                <a:gd name="connsiteX2284" fmla="*/ 318 w 10746"/>
                <a:gd name="connsiteY2284" fmla="*/ 3641 h 10000"/>
                <a:gd name="connsiteX2285" fmla="*/ 327 w 10746"/>
                <a:gd name="connsiteY2285" fmla="*/ 3624 h 10000"/>
                <a:gd name="connsiteX2286" fmla="*/ 318 w 10746"/>
                <a:gd name="connsiteY2286" fmla="*/ 3615 h 10000"/>
                <a:gd name="connsiteX2287" fmla="*/ 318 w 10746"/>
                <a:gd name="connsiteY2287" fmla="*/ 3598 h 10000"/>
                <a:gd name="connsiteX2288" fmla="*/ 300 w 10746"/>
                <a:gd name="connsiteY2288" fmla="*/ 3598 h 10000"/>
                <a:gd name="connsiteX2289" fmla="*/ 309 w 10746"/>
                <a:gd name="connsiteY2289" fmla="*/ 3538 h 10000"/>
                <a:gd name="connsiteX2290" fmla="*/ 313 w 10746"/>
                <a:gd name="connsiteY2290" fmla="*/ 3564 h 10000"/>
                <a:gd name="connsiteX2291" fmla="*/ 318 w 10746"/>
                <a:gd name="connsiteY2291" fmla="*/ 3581 h 10000"/>
                <a:gd name="connsiteX2292" fmla="*/ 327 w 10746"/>
                <a:gd name="connsiteY2292" fmla="*/ 3564 h 10000"/>
                <a:gd name="connsiteX2293" fmla="*/ 332 w 10746"/>
                <a:gd name="connsiteY2293" fmla="*/ 3590 h 10000"/>
                <a:gd name="connsiteX2294" fmla="*/ 346 w 10746"/>
                <a:gd name="connsiteY2294" fmla="*/ 3590 h 10000"/>
                <a:gd name="connsiteX2295" fmla="*/ 355 w 10746"/>
                <a:gd name="connsiteY2295" fmla="*/ 3590 h 10000"/>
                <a:gd name="connsiteX2296" fmla="*/ 369 w 10746"/>
                <a:gd name="connsiteY2296" fmla="*/ 3556 h 10000"/>
                <a:gd name="connsiteX2297" fmla="*/ 369 w 10746"/>
                <a:gd name="connsiteY2297" fmla="*/ 3538 h 10000"/>
                <a:gd name="connsiteX2298" fmla="*/ 346 w 10746"/>
                <a:gd name="connsiteY2298" fmla="*/ 3513 h 10000"/>
                <a:gd name="connsiteX2299" fmla="*/ 341 w 10746"/>
                <a:gd name="connsiteY2299" fmla="*/ 3530 h 10000"/>
                <a:gd name="connsiteX2300" fmla="*/ 327 w 10746"/>
                <a:gd name="connsiteY2300" fmla="*/ 3513 h 10000"/>
                <a:gd name="connsiteX2301" fmla="*/ 327 w 10746"/>
                <a:gd name="connsiteY2301" fmla="*/ 3504 h 10000"/>
                <a:gd name="connsiteX2302" fmla="*/ 295 w 10746"/>
                <a:gd name="connsiteY2302" fmla="*/ 3462 h 10000"/>
                <a:gd name="connsiteX2303" fmla="*/ 300 w 10746"/>
                <a:gd name="connsiteY2303" fmla="*/ 3479 h 10000"/>
                <a:gd name="connsiteX2304" fmla="*/ 295 w 10746"/>
                <a:gd name="connsiteY2304" fmla="*/ 3513 h 10000"/>
                <a:gd name="connsiteX2305" fmla="*/ 286 w 10746"/>
                <a:gd name="connsiteY2305" fmla="*/ 3513 h 10000"/>
                <a:gd name="connsiteX2306" fmla="*/ 281 w 10746"/>
                <a:gd name="connsiteY2306" fmla="*/ 3513 h 10000"/>
                <a:gd name="connsiteX2307" fmla="*/ 281 w 10746"/>
                <a:gd name="connsiteY2307" fmla="*/ 3530 h 10000"/>
                <a:gd name="connsiteX2308" fmla="*/ 281 w 10746"/>
                <a:gd name="connsiteY2308" fmla="*/ 3556 h 10000"/>
                <a:gd name="connsiteX2309" fmla="*/ 272 w 10746"/>
                <a:gd name="connsiteY2309" fmla="*/ 3564 h 10000"/>
                <a:gd name="connsiteX2310" fmla="*/ 267 w 10746"/>
                <a:gd name="connsiteY2310" fmla="*/ 3564 h 10000"/>
                <a:gd name="connsiteX2311" fmla="*/ 253 w 10746"/>
                <a:gd name="connsiteY2311" fmla="*/ 3538 h 10000"/>
                <a:gd name="connsiteX2312" fmla="*/ 226 w 10746"/>
                <a:gd name="connsiteY2312" fmla="*/ 3513 h 10000"/>
                <a:gd name="connsiteX2313" fmla="*/ 226 w 10746"/>
                <a:gd name="connsiteY2313" fmla="*/ 3530 h 10000"/>
                <a:gd name="connsiteX2314" fmla="*/ 226 w 10746"/>
                <a:gd name="connsiteY2314" fmla="*/ 3530 h 10000"/>
                <a:gd name="connsiteX2315" fmla="*/ 226 w 10746"/>
                <a:gd name="connsiteY2315" fmla="*/ 3530 h 10000"/>
                <a:gd name="connsiteX2316" fmla="*/ 226 w 10746"/>
                <a:gd name="connsiteY2316" fmla="*/ 3556 h 10000"/>
                <a:gd name="connsiteX2317" fmla="*/ 221 w 10746"/>
                <a:gd name="connsiteY2317" fmla="*/ 3598 h 10000"/>
                <a:gd name="connsiteX2318" fmla="*/ 207 w 10746"/>
                <a:gd name="connsiteY2318" fmla="*/ 3598 h 10000"/>
                <a:gd name="connsiteX2319" fmla="*/ 180 w 10746"/>
                <a:gd name="connsiteY2319" fmla="*/ 3581 h 10000"/>
                <a:gd name="connsiteX2320" fmla="*/ 171 w 10746"/>
                <a:gd name="connsiteY2320" fmla="*/ 3641 h 10000"/>
                <a:gd name="connsiteX2321" fmla="*/ 166 w 10746"/>
                <a:gd name="connsiteY2321" fmla="*/ 3650 h 10000"/>
                <a:gd name="connsiteX2322" fmla="*/ 124 w 10746"/>
                <a:gd name="connsiteY2322" fmla="*/ 3701 h 10000"/>
                <a:gd name="connsiteX2323" fmla="*/ 124 w 10746"/>
                <a:gd name="connsiteY2323" fmla="*/ 3718 h 10000"/>
                <a:gd name="connsiteX2324" fmla="*/ 120 w 10746"/>
                <a:gd name="connsiteY2324" fmla="*/ 3735 h 10000"/>
                <a:gd name="connsiteX2325" fmla="*/ 120 w 10746"/>
                <a:gd name="connsiteY2325" fmla="*/ 3735 h 10000"/>
                <a:gd name="connsiteX2326" fmla="*/ 111 w 10746"/>
                <a:gd name="connsiteY2326" fmla="*/ 3761 h 10000"/>
                <a:gd name="connsiteX2327" fmla="*/ 106 w 10746"/>
                <a:gd name="connsiteY2327" fmla="*/ 3761 h 10000"/>
                <a:gd name="connsiteX2328" fmla="*/ 106 w 10746"/>
                <a:gd name="connsiteY2328" fmla="*/ 3761 h 10000"/>
                <a:gd name="connsiteX2329" fmla="*/ 74 w 10746"/>
                <a:gd name="connsiteY2329" fmla="*/ 3829 h 10000"/>
                <a:gd name="connsiteX2330" fmla="*/ 78 w 10746"/>
                <a:gd name="connsiteY2330" fmla="*/ 3838 h 10000"/>
                <a:gd name="connsiteX2331" fmla="*/ 88 w 10746"/>
                <a:gd name="connsiteY2331" fmla="*/ 3846 h 10000"/>
                <a:gd name="connsiteX2332" fmla="*/ 65 w 10746"/>
                <a:gd name="connsiteY2332" fmla="*/ 3923 h 10000"/>
                <a:gd name="connsiteX2333" fmla="*/ 78 w 10746"/>
                <a:gd name="connsiteY2333" fmla="*/ 4026 h 10000"/>
                <a:gd name="connsiteX2334" fmla="*/ 88 w 10746"/>
                <a:gd name="connsiteY2334" fmla="*/ 4051 h 10000"/>
                <a:gd name="connsiteX2335" fmla="*/ 92 w 10746"/>
                <a:gd name="connsiteY2335" fmla="*/ 4060 h 10000"/>
                <a:gd name="connsiteX2336" fmla="*/ 111 w 10746"/>
                <a:gd name="connsiteY2336" fmla="*/ 4060 h 10000"/>
                <a:gd name="connsiteX2337" fmla="*/ 124 w 10746"/>
                <a:gd name="connsiteY2337" fmla="*/ 4085 h 10000"/>
                <a:gd name="connsiteX2338" fmla="*/ 166 w 10746"/>
                <a:gd name="connsiteY2338" fmla="*/ 4197 h 10000"/>
                <a:gd name="connsiteX2339" fmla="*/ 166 w 10746"/>
                <a:gd name="connsiteY2339" fmla="*/ 4248 h 10000"/>
                <a:gd name="connsiteX2340" fmla="*/ 120 w 10746"/>
                <a:gd name="connsiteY2340" fmla="*/ 4462 h 10000"/>
                <a:gd name="connsiteX2341" fmla="*/ 120 w 10746"/>
                <a:gd name="connsiteY2341" fmla="*/ 4513 h 10000"/>
                <a:gd name="connsiteX2342" fmla="*/ 180 w 10746"/>
                <a:gd name="connsiteY2342" fmla="*/ 4829 h 10000"/>
                <a:gd name="connsiteX2343" fmla="*/ 161 w 10746"/>
                <a:gd name="connsiteY2343" fmla="*/ 4855 h 10000"/>
                <a:gd name="connsiteX2344" fmla="*/ 152 w 10746"/>
                <a:gd name="connsiteY2344" fmla="*/ 4940 h 10000"/>
                <a:gd name="connsiteX2345" fmla="*/ 161 w 10746"/>
                <a:gd name="connsiteY2345" fmla="*/ 4966 h 10000"/>
                <a:gd name="connsiteX2346" fmla="*/ 161 w 10746"/>
                <a:gd name="connsiteY2346" fmla="*/ 5009 h 10000"/>
                <a:gd name="connsiteX2347" fmla="*/ 152 w 10746"/>
                <a:gd name="connsiteY2347" fmla="*/ 5034 h 10000"/>
                <a:gd name="connsiteX2348" fmla="*/ 152 w 10746"/>
                <a:gd name="connsiteY2348" fmla="*/ 5077 h 10000"/>
                <a:gd name="connsiteX2349" fmla="*/ 171 w 10746"/>
                <a:gd name="connsiteY2349" fmla="*/ 5094 h 10000"/>
                <a:gd name="connsiteX2350" fmla="*/ 180 w 10746"/>
                <a:gd name="connsiteY2350" fmla="*/ 5128 h 10000"/>
                <a:gd name="connsiteX2351" fmla="*/ 180 w 10746"/>
                <a:gd name="connsiteY2351" fmla="*/ 5171 h 10000"/>
                <a:gd name="connsiteX2352" fmla="*/ 184 w 10746"/>
                <a:gd name="connsiteY2352" fmla="*/ 5205 h 10000"/>
                <a:gd name="connsiteX2353" fmla="*/ 207 w 10746"/>
                <a:gd name="connsiteY2353" fmla="*/ 5239 h 10000"/>
                <a:gd name="connsiteX2354" fmla="*/ 207 w 10746"/>
                <a:gd name="connsiteY2354" fmla="*/ 5282 h 10000"/>
                <a:gd name="connsiteX2355" fmla="*/ 180 w 10746"/>
                <a:gd name="connsiteY2355" fmla="*/ 5393 h 10000"/>
                <a:gd name="connsiteX2356" fmla="*/ 194 w 10746"/>
                <a:gd name="connsiteY2356" fmla="*/ 5427 h 10000"/>
                <a:gd name="connsiteX2357" fmla="*/ 198 w 10746"/>
                <a:gd name="connsiteY2357" fmla="*/ 5462 h 10000"/>
                <a:gd name="connsiteX2358" fmla="*/ 235 w 10746"/>
                <a:gd name="connsiteY2358" fmla="*/ 5513 h 10000"/>
                <a:gd name="connsiteX2359" fmla="*/ 240 w 10746"/>
                <a:gd name="connsiteY2359" fmla="*/ 5556 h 10000"/>
                <a:gd name="connsiteX2360" fmla="*/ 253 w 10746"/>
                <a:gd name="connsiteY2360" fmla="*/ 5590 h 10000"/>
                <a:gd name="connsiteX2361" fmla="*/ 258 w 10746"/>
                <a:gd name="connsiteY2361" fmla="*/ 5573 h 10000"/>
                <a:gd name="connsiteX2362" fmla="*/ 258 w 10746"/>
                <a:gd name="connsiteY2362" fmla="*/ 5667 h 10000"/>
                <a:gd name="connsiteX2363" fmla="*/ 14 w 10746"/>
                <a:gd name="connsiteY2363" fmla="*/ 6214 h 10000"/>
                <a:gd name="connsiteX2364" fmla="*/ 14 w 10746"/>
                <a:gd name="connsiteY2364" fmla="*/ 6214 h 10000"/>
                <a:gd name="connsiteX2365" fmla="*/ 37 w 10746"/>
                <a:gd name="connsiteY2365" fmla="*/ 6214 h 10000"/>
                <a:gd name="connsiteX2366" fmla="*/ 51 w 10746"/>
                <a:gd name="connsiteY2366" fmla="*/ 6188 h 10000"/>
                <a:gd name="connsiteX2367" fmla="*/ 78 w 10746"/>
                <a:gd name="connsiteY2367" fmla="*/ 6162 h 10000"/>
                <a:gd name="connsiteX2368" fmla="*/ 78 w 10746"/>
                <a:gd name="connsiteY2368" fmla="*/ 6188 h 10000"/>
                <a:gd name="connsiteX2369" fmla="*/ 74 w 10746"/>
                <a:gd name="connsiteY2369" fmla="*/ 6197 h 10000"/>
                <a:gd name="connsiteX2370" fmla="*/ 74 w 10746"/>
                <a:gd name="connsiteY2370" fmla="*/ 6231 h 10000"/>
                <a:gd name="connsiteX2371" fmla="*/ 74 w 10746"/>
                <a:gd name="connsiteY2371" fmla="*/ 6214 h 10000"/>
                <a:gd name="connsiteX2372" fmla="*/ 65 w 10746"/>
                <a:gd name="connsiteY2372" fmla="*/ 6214 h 10000"/>
                <a:gd name="connsiteX2373" fmla="*/ 65 w 10746"/>
                <a:gd name="connsiteY2373" fmla="*/ 6248 h 10000"/>
                <a:gd name="connsiteX2374" fmla="*/ 74 w 10746"/>
                <a:gd name="connsiteY2374" fmla="*/ 6256 h 10000"/>
                <a:gd name="connsiteX2375" fmla="*/ 78 w 10746"/>
                <a:gd name="connsiteY2375" fmla="*/ 6256 h 10000"/>
                <a:gd name="connsiteX2376" fmla="*/ 106 w 10746"/>
                <a:gd name="connsiteY2376" fmla="*/ 6308 h 10000"/>
                <a:gd name="connsiteX2377" fmla="*/ 138 w 10746"/>
                <a:gd name="connsiteY2377" fmla="*/ 6299 h 10000"/>
                <a:gd name="connsiteX2378" fmla="*/ 152 w 10746"/>
                <a:gd name="connsiteY2378" fmla="*/ 6299 h 10000"/>
                <a:gd name="connsiteX2379" fmla="*/ 166 w 10746"/>
                <a:gd name="connsiteY2379" fmla="*/ 6325 h 10000"/>
                <a:gd name="connsiteX2380" fmla="*/ 166 w 10746"/>
                <a:gd name="connsiteY2380" fmla="*/ 6333 h 10000"/>
                <a:gd name="connsiteX2381" fmla="*/ 171 w 10746"/>
                <a:gd name="connsiteY2381" fmla="*/ 6350 h 10000"/>
                <a:gd name="connsiteX2382" fmla="*/ 180 w 10746"/>
                <a:gd name="connsiteY2382" fmla="*/ 6350 h 10000"/>
                <a:gd name="connsiteX2383" fmla="*/ 180 w 10746"/>
                <a:gd name="connsiteY2383" fmla="*/ 6359 h 10000"/>
                <a:gd name="connsiteX2384" fmla="*/ 171 w 10746"/>
                <a:gd name="connsiteY2384" fmla="*/ 6368 h 10000"/>
                <a:gd name="connsiteX2385" fmla="*/ 106 w 10746"/>
                <a:gd name="connsiteY2385" fmla="*/ 6350 h 10000"/>
                <a:gd name="connsiteX2386" fmla="*/ 101 w 10746"/>
                <a:gd name="connsiteY2386" fmla="*/ 6359 h 10000"/>
                <a:gd name="connsiteX2387" fmla="*/ 101 w 10746"/>
                <a:gd name="connsiteY2387" fmla="*/ 6385 h 10000"/>
                <a:gd name="connsiteX2388" fmla="*/ 78 w 10746"/>
                <a:gd name="connsiteY2388" fmla="*/ 6393 h 10000"/>
                <a:gd name="connsiteX2389" fmla="*/ 74 w 10746"/>
                <a:gd name="connsiteY2389" fmla="*/ 6385 h 10000"/>
                <a:gd name="connsiteX2390" fmla="*/ 65 w 10746"/>
                <a:gd name="connsiteY2390" fmla="*/ 6393 h 10000"/>
                <a:gd name="connsiteX2391" fmla="*/ 60 w 10746"/>
                <a:gd name="connsiteY2391" fmla="*/ 6419 h 10000"/>
                <a:gd name="connsiteX2392" fmla="*/ 51 w 10746"/>
                <a:gd name="connsiteY2392" fmla="*/ 6419 h 10000"/>
                <a:gd name="connsiteX2393" fmla="*/ 46 w 10746"/>
                <a:gd name="connsiteY2393" fmla="*/ 6410 h 10000"/>
                <a:gd name="connsiteX2394" fmla="*/ 37 w 10746"/>
                <a:gd name="connsiteY2394" fmla="*/ 6393 h 10000"/>
                <a:gd name="connsiteX2395" fmla="*/ 32 w 10746"/>
                <a:gd name="connsiteY2395" fmla="*/ 6419 h 10000"/>
                <a:gd name="connsiteX2396" fmla="*/ 37 w 10746"/>
                <a:gd name="connsiteY2396" fmla="*/ 6462 h 10000"/>
                <a:gd name="connsiteX2397" fmla="*/ 46 w 10746"/>
                <a:gd name="connsiteY2397" fmla="*/ 6462 h 10000"/>
                <a:gd name="connsiteX2398" fmla="*/ 51 w 10746"/>
                <a:gd name="connsiteY2398" fmla="*/ 6470 h 10000"/>
                <a:gd name="connsiteX2399" fmla="*/ 51 w 10746"/>
                <a:gd name="connsiteY2399" fmla="*/ 6496 h 10000"/>
                <a:gd name="connsiteX2400" fmla="*/ 51 w 10746"/>
                <a:gd name="connsiteY2400" fmla="*/ 6504 h 10000"/>
                <a:gd name="connsiteX2401" fmla="*/ 37 w 10746"/>
                <a:gd name="connsiteY2401" fmla="*/ 6530 h 10000"/>
                <a:gd name="connsiteX2402" fmla="*/ 18 w 10746"/>
                <a:gd name="connsiteY2402" fmla="*/ 6598 h 10000"/>
                <a:gd name="connsiteX2403" fmla="*/ 28 w 10746"/>
                <a:gd name="connsiteY2403" fmla="*/ 6632 h 10000"/>
                <a:gd name="connsiteX2404" fmla="*/ 18 w 10746"/>
                <a:gd name="connsiteY2404" fmla="*/ 6667 h 10000"/>
                <a:gd name="connsiteX2405" fmla="*/ 28 w 10746"/>
                <a:gd name="connsiteY2405" fmla="*/ 6692 h 10000"/>
                <a:gd name="connsiteX2406" fmla="*/ 28 w 10746"/>
                <a:gd name="connsiteY2406" fmla="*/ 6709 h 10000"/>
                <a:gd name="connsiteX2407" fmla="*/ 18 w 10746"/>
                <a:gd name="connsiteY2407" fmla="*/ 6718 h 10000"/>
                <a:gd name="connsiteX2408" fmla="*/ 5 w 10746"/>
                <a:gd name="connsiteY2408" fmla="*/ 6744 h 10000"/>
                <a:gd name="connsiteX2409" fmla="*/ 0 w 10746"/>
                <a:gd name="connsiteY2409" fmla="*/ 6769 h 10000"/>
                <a:gd name="connsiteX2410" fmla="*/ 5 w 10746"/>
                <a:gd name="connsiteY2410" fmla="*/ 6778 h 10000"/>
                <a:gd name="connsiteX2411" fmla="*/ 32 w 10746"/>
                <a:gd name="connsiteY2411" fmla="*/ 6778 h 10000"/>
                <a:gd name="connsiteX2412" fmla="*/ 46 w 10746"/>
                <a:gd name="connsiteY2412" fmla="*/ 6821 h 10000"/>
                <a:gd name="connsiteX2413" fmla="*/ 46 w 10746"/>
                <a:gd name="connsiteY2413" fmla="*/ 6855 h 10000"/>
                <a:gd name="connsiteX2414" fmla="*/ 32 w 10746"/>
                <a:gd name="connsiteY2414" fmla="*/ 6855 h 10000"/>
                <a:gd name="connsiteX2415" fmla="*/ 14 w 10746"/>
                <a:gd name="connsiteY2415" fmla="*/ 6821 h 10000"/>
                <a:gd name="connsiteX2416" fmla="*/ 14 w 10746"/>
                <a:gd name="connsiteY2416" fmla="*/ 6846 h 10000"/>
                <a:gd name="connsiteX2417" fmla="*/ 0 w 10746"/>
                <a:gd name="connsiteY2417" fmla="*/ 6897 h 10000"/>
                <a:gd name="connsiteX2418" fmla="*/ 0 w 10746"/>
                <a:gd name="connsiteY2418" fmla="*/ 6915 h 10000"/>
                <a:gd name="connsiteX2419" fmla="*/ 5 w 10746"/>
                <a:gd name="connsiteY2419" fmla="*/ 6932 h 10000"/>
                <a:gd name="connsiteX2420" fmla="*/ 14 w 10746"/>
                <a:gd name="connsiteY2420" fmla="*/ 6940 h 10000"/>
                <a:gd name="connsiteX2421" fmla="*/ 18 w 10746"/>
                <a:gd name="connsiteY2421" fmla="*/ 6957 h 10000"/>
                <a:gd name="connsiteX2422" fmla="*/ 28 w 10746"/>
                <a:gd name="connsiteY2422" fmla="*/ 6966 h 10000"/>
                <a:gd name="connsiteX2423" fmla="*/ 28 w 10746"/>
                <a:gd name="connsiteY2423" fmla="*/ 6983 h 10000"/>
                <a:gd name="connsiteX2424" fmla="*/ 18 w 10746"/>
                <a:gd name="connsiteY2424" fmla="*/ 7051 h 10000"/>
                <a:gd name="connsiteX2425" fmla="*/ 28 w 10746"/>
                <a:gd name="connsiteY2425" fmla="*/ 7068 h 10000"/>
                <a:gd name="connsiteX2426" fmla="*/ 32 w 10746"/>
                <a:gd name="connsiteY2426" fmla="*/ 7068 h 10000"/>
                <a:gd name="connsiteX2427" fmla="*/ 32 w 10746"/>
                <a:gd name="connsiteY2427" fmla="*/ 7094 h 10000"/>
                <a:gd name="connsiteX2428" fmla="*/ 60 w 10746"/>
                <a:gd name="connsiteY2428" fmla="*/ 7162 h 10000"/>
                <a:gd name="connsiteX2429" fmla="*/ 60 w 10746"/>
                <a:gd name="connsiteY2429" fmla="*/ 7231 h 10000"/>
                <a:gd name="connsiteX2430" fmla="*/ 60 w 10746"/>
                <a:gd name="connsiteY2430" fmla="*/ 7239 h 10000"/>
                <a:gd name="connsiteX2431" fmla="*/ 78 w 10746"/>
                <a:gd name="connsiteY2431" fmla="*/ 7239 h 10000"/>
                <a:gd name="connsiteX2432" fmla="*/ 88 w 10746"/>
                <a:gd name="connsiteY2432" fmla="*/ 7239 h 10000"/>
                <a:gd name="connsiteX2433" fmla="*/ 92 w 10746"/>
                <a:gd name="connsiteY2433" fmla="*/ 7256 h 10000"/>
                <a:gd name="connsiteX2434" fmla="*/ 111 w 10746"/>
                <a:gd name="connsiteY2434" fmla="*/ 7256 h 10000"/>
                <a:gd name="connsiteX2435" fmla="*/ 120 w 10746"/>
                <a:gd name="connsiteY2435" fmla="*/ 7256 h 10000"/>
                <a:gd name="connsiteX2436" fmla="*/ 134 w 10746"/>
                <a:gd name="connsiteY2436" fmla="*/ 7282 h 10000"/>
                <a:gd name="connsiteX2437" fmla="*/ 134 w 10746"/>
                <a:gd name="connsiteY2437" fmla="*/ 7316 h 10000"/>
                <a:gd name="connsiteX2438" fmla="*/ 152 w 10746"/>
                <a:gd name="connsiteY2438" fmla="*/ 7299 h 10000"/>
                <a:gd name="connsiteX2439" fmla="*/ 161 w 10746"/>
                <a:gd name="connsiteY2439" fmla="*/ 7299 h 10000"/>
                <a:gd name="connsiteX2440" fmla="*/ 166 w 10746"/>
                <a:gd name="connsiteY2440" fmla="*/ 7291 h 10000"/>
                <a:gd name="connsiteX2441" fmla="*/ 194 w 10746"/>
                <a:gd name="connsiteY2441" fmla="*/ 7291 h 10000"/>
                <a:gd name="connsiteX2442" fmla="*/ 207 w 10746"/>
                <a:gd name="connsiteY2442" fmla="*/ 7299 h 10000"/>
                <a:gd name="connsiteX2443" fmla="*/ 221 w 10746"/>
                <a:gd name="connsiteY2443" fmla="*/ 7342 h 10000"/>
                <a:gd name="connsiteX2444" fmla="*/ 235 w 10746"/>
                <a:gd name="connsiteY2444" fmla="*/ 7342 h 10000"/>
                <a:gd name="connsiteX2445" fmla="*/ 235 w 10746"/>
                <a:gd name="connsiteY2445" fmla="*/ 7368 h 10000"/>
                <a:gd name="connsiteX2446" fmla="*/ 226 w 10746"/>
                <a:gd name="connsiteY2446" fmla="*/ 7393 h 10000"/>
                <a:gd name="connsiteX2447" fmla="*/ 226 w 10746"/>
                <a:gd name="connsiteY2447" fmla="*/ 7402 h 10000"/>
                <a:gd name="connsiteX2448" fmla="*/ 235 w 10746"/>
                <a:gd name="connsiteY2448" fmla="*/ 7419 h 10000"/>
                <a:gd name="connsiteX2449" fmla="*/ 240 w 10746"/>
                <a:gd name="connsiteY2449" fmla="*/ 7436 h 10000"/>
                <a:gd name="connsiteX2450" fmla="*/ 235 w 10746"/>
                <a:gd name="connsiteY2450" fmla="*/ 7462 h 10000"/>
                <a:gd name="connsiteX2451" fmla="*/ 226 w 10746"/>
                <a:gd name="connsiteY2451" fmla="*/ 7479 h 10000"/>
                <a:gd name="connsiteX2452" fmla="*/ 226 w 10746"/>
                <a:gd name="connsiteY2452" fmla="*/ 7504 h 10000"/>
                <a:gd name="connsiteX2453" fmla="*/ 226 w 10746"/>
                <a:gd name="connsiteY2453" fmla="*/ 7513 h 10000"/>
                <a:gd name="connsiteX2454" fmla="*/ 240 w 10746"/>
                <a:gd name="connsiteY2454" fmla="*/ 7538 h 10000"/>
                <a:gd name="connsiteX2455" fmla="*/ 267 w 10746"/>
                <a:gd name="connsiteY2455" fmla="*/ 7641 h 10000"/>
                <a:gd name="connsiteX2456" fmla="*/ 281 w 10746"/>
                <a:gd name="connsiteY2456" fmla="*/ 7667 h 10000"/>
                <a:gd name="connsiteX2457" fmla="*/ 286 w 10746"/>
                <a:gd name="connsiteY2457" fmla="*/ 7675 h 10000"/>
                <a:gd name="connsiteX2458" fmla="*/ 286 w 10746"/>
                <a:gd name="connsiteY2458" fmla="*/ 7692 h 10000"/>
                <a:gd name="connsiteX2459" fmla="*/ 286 w 10746"/>
                <a:gd name="connsiteY2459" fmla="*/ 7709 h 10000"/>
                <a:gd name="connsiteX2460" fmla="*/ 295 w 10746"/>
                <a:gd name="connsiteY2460" fmla="*/ 7726 h 10000"/>
                <a:gd name="connsiteX2461" fmla="*/ 318 w 10746"/>
                <a:gd name="connsiteY2461" fmla="*/ 7709 h 10000"/>
                <a:gd name="connsiteX2462" fmla="*/ 327 w 10746"/>
                <a:gd name="connsiteY2462" fmla="*/ 7726 h 10000"/>
                <a:gd name="connsiteX2463" fmla="*/ 341 w 10746"/>
                <a:gd name="connsiteY2463" fmla="*/ 7735 h 10000"/>
                <a:gd name="connsiteX2464" fmla="*/ 332 w 10746"/>
                <a:gd name="connsiteY2464" fmla="*/ 7752 h 10000"/>
                <a:gd name="connsiteX2465" fmla="*/ 341 w 10746"/>
                <a:gd name="connsiteY2465" fmla="*/ 7761 h 10000"/>
                <a:gd name="connsiteX2466" fmla="*/ 355 w 10746"/>
                <a:gd name="connsiteY2466" fmla="*/ 7761 h 10000"/>
                <a:gd name="connsiteX2467" fmla="*/ 355 w 10746"/>
                <a:gd name="connsiteY2467" fmla="*/ 7803 h 10000"/>
                <a:gd name="connsiteX2468" fmla="*/ 313 w 10746"/>
                <a:gd name="connsiteY2468" fmla="*/ 7846 h 10000"/>
                <a:gd name="connsiteX2469" fmla="*/ 295 w 10746"/>
                <a:gd name="connsiteY2469" fmla="*/ 7846 h 10000"/>
                <a:gd name="connsiteX2470" fmla="*/ 281 w 10746"/>
                <a:gd name="connsiteY2470" fmla="*/ 7821 h 10000"/>
                <a:gd name="connsiteX2471" fmla="*/ 272 w 10746"/>
                <a:gd name="connsiteY2471" fmla="*/ 7821 h 10000"/>
                <a:gd name="connsiteX2472" fmla="*/ 267 w 10746"/>
                <a:gd name="connsiteY2472" fmla="*/ 7838 h 10000"/>
                <a:gd name="connsiteX2473" fmla="*/ 258 w 10746"/>
                <a:gd name="connsiteY2473" fmla="*/ 7846 h 10000"/>
                <a:gd name="connsiteX2474" fmla="*/ 253 w 10746"/>
                <a:gd name="connsiteY2474" fmla="*/ 7863 h 10000"/>
                <a:gd name="connsiteX2475" fmla="*/ 253 w 10746"/>
                <a:gd name="connsiteY2475" fmla="*/ 7872 h 10000"/>
                <a:gd name="connsiteX2476" fmla="*/ 267 w 10746"/>
                <a:gd name="connsiteY2476" fmla="*/ 7897 h 10000"/>
                <a:gd name="connsiteX2477" fmla="*/ 272 w 10746"/>
                <a:gd name="connsiteY2477" fmla="*/ 7915 h 10000"/>
                <a:gd name="connsiteX2478" fmla="*/ 267 w 10746"/>
                <a:gd name="connsiteY2478" fmla="*/ 7940 h 10000"/>
                <a:gd name="connsiteX2479" fmla="*/ 272 w 10746"/>
                <a:gd name="connsiteY2479" fmla="*/ 7949 h 10000"/>
                <a:gd name="connsiteX2480" fmla="*/ 272 w 10746"/>
                <a:gd name="connsiteY2480" fmla="*/ 7957 h 10000"/>
                <a:gd name="connsiteX2481" fmla="*/ 281 w 10746"/>
                <a:gd name="connsiteY2481" fmla="*/ 7974 h 10000"/>
                <a:gd name="connsiteX2482" fmla="*/ 286 w 10746"/>
                <a:gd name="connsiteY2482" fmla="*/ 7983 h 10000"/>
                <a:gd name="connsiteX2483" fmla="*/ 281 w 10746"/>
                <a:gd name="connsiteY2483" fmla="*/ 8009 h 10000"/>
                <a:gd name="connsiteX2484" fmla="*/ 286 w 10746"/>
                <a:gd name="connsiteY2484" fmla="*/ 8060 h 10000"/>
                <a:gd name="connsiteX2485" fmla="*/ 286 w 10746"/>
                <a:gd name="connsiteY2485" fmla="*/ 8060 h 10000"/>
                <a:gd name="connsiteX2486" fmla="*/ 295 w 10746"/>
                <a:gd name="connsiteY2486" fmla="*/ 8077 h 10000"/>
                <a:gd name="connsiteX2487" fmla="*/ 309 w 10746"/>
                <a:gd name="connsiteY2487" fmla="*/ 8077 h 10000"/>
                <a:gd name="connsiteX2488" fmla="*/ 313 w 10746"/>
                <a:gd name="connsiteY2488" fmla="*/ 8060 h 10000"/>
                <a:gd name="connsiteX2489" fmla="*/ 318 w 10746"/>
                <a:gd name="connsiteY2489" fmla="*/ 8051 h 10000"/>
                <a:gd name="connsiteX2490" fmla="*/ 318 w 10746"/>
                <a:gd name="connsiteY2490" fmla="*/ 8034 h 10000"/>
                <a:gd name="connsiteX2491" fmla="*/ 332 w 10746"/>
                <a:gd name="connsiteY2491" fmla="*/ 8026 h 10000"/>
                <a:gd name="connsiteX2492" fmla="*/ 359 w 10746"/>
                <a:gd name="connsiteY2492" fmla="*/ 8034 h 10000"/>
                <a:gd name="connsiteX2493" fmla="*/ 378 w 10746"/>
                <a:gd name="connsiteY2493" fmla="*/ 8026 h 10000"/>
                <a:gd name="connsiteX2494" fmla="*/ 401 w 10746"/>
                <a:gd name="connsiteY2494" fmla="*/ 8026 h 10000"/>
                <a:gd name="connsiteX2495" fmla="*/ 419 w 10746"/>
                <a:gd name="connsiteY2495" fmla="*/ 8009 h 10000"/>
                <a:gd name="connsiteX2496" fmla="*/ 433 w 10746"/>
                <a:gd name="connsiteY2496" fmla="*/ 8034 h 10000"/>
                <a:gd name="connsiteX2497" fmla="*/ 442 w 10746"/>
                <a:gd name="connsiteY2497" fmla="*/ 8060 h 10000"/>
                <a:gd name="connsiteX2498" fmla="*/ 442 w 10746"/>
                <a:gd name="connsiteY2498" fmla="*/ 8077 h 10000"/>
                <a:gd name="connsiteX2499" fmla="*/ 461 w 10746"/>
                <a:gd name="connsiteY2499" fmla="*/ 8111 h 10000"/>
                <a:gd name="connsiteX2500" fmla="*/ 461 w 10746"/>
                <a:gd name="connsiteY2500" fmla="*/ 8137 h 10000"/>
                <a:gd name="connsiteX2501" fmla="*/ 447 w 10746"/>
                <a:gd name="connsiteY2501" fmla="*/ 8145 h 10000"/>
                <a:gd name="connsiteX2502" fmla="*/ 442 w 10746"/>
                <a:gd name="connsiteY2502" fmla="*/ 8145 h 10000"/>
                <a:gd name="connsiteX2503" fmla="*/ 442 w 10746"/>
                <a:gd name="connsiteY2503" fmla="*/ 8162 h 10000"/>
                <a:gd name="connsiteX2504" fmla="*/ 442 w 10746"/>
                <a:gd name="connsiteY2504" fmla="*/ 8171 h 10000"/>
                <a:gd name="connsiteX2505" fmla="*/ 447 w 10746"/>
                <a:gd name="connsiteY2505" fmla="*/ 8214 h 10000"/>
                <a:gd name="connsiteX2506" fmla="*/ 465 w 10746"/>
                <a:gd name="connsiteY2506" fmla="*/ 8231 h 10000"/>
                <a:gd name="connsiteX2507" fmla="*/ 488 w 10746"/>
                <a:gd name="connsiteY2507" fmla="*/ 8231 h 10000"/>
                <a:gd name="connsiteX2508" fmla="*/ 493 w 10746"/>
                <a:gd name="connsiteY2508" fmla="*/ 8231 h 10000"/>
                <a:gd name="connsiteX2509" fmla="*/ 502 w 10746"/>
                <a:gd name="connsiteY2509" fmla="*/ 8231 h 10000"/>
                <a:gd name="connsiteX2510" fmla="*/ 507 w 10746"/>
                <a:gd name="connsiteY2510" fmla="*/ 8248 h 10000"/>
                <a:gd name="connsiteX2511" fmla="*/ 521 w 10746"/>
                <a:gd name="connsiteY2511" fmla="*/ 8274 h 10000"/>
                <a:gd name="connsiteX2512" fmla="*/ 525 w 10746"/>
                <a:gd name="connsiteY2512" fmla="*/ 8333 h 10000"/>
                <a:gd name="connsiteX2513" fmla="*/ 525 w 10746"/>
                <a:gd name="connsiteY2513" fmla="*/ 8359 h 10000"/>
                <a:gd name="connsiteX2514" fmla="*/ 525 w 10746"/>
                <a:gd name="connsiteY2514" fmla="*/ 8368 h 10000"/>
                <a:gd name="connsiteX2515" fmla="*/ 548 w 10746"/>
                <a:gd name="connsiteY2515" fmla="*/ 8393 h 10000"/>
                <a:gd name="connsiteX2516" fmla="*/ 553 w 10746"/>
                <a:gd name="connsiteY2516" fmla="*/ 8385 h 10000"/>
                <a:gd name="connsiteX2517" fmla="*/ 562 w 10746"/>
                <a:gd name="connsiteY2517" fmla="*/ 8385 h 10000"/>
                <a:gd name="connsiteX2518" fmla="*/ 576 w 10746"/>
                <a:gd name="connsiteY2518" fmla="*/ 8385 h 10000"/>
                <a:gd name="connsiteX2519" fmla="*/ 585 w 10746"/>
                <a:gd name="connsiteY2519" fmla="*/ 8410 h 10000"/>
                <a:gd name="connsiteX2520" fmla="*/ 594 w 10746"/>
                <a:gd name="connsiteY2520" fmla="*/ 8410 h 10000"/>
                <a:gd name="connsiteX2521" fmla="*/ 608 w 10746"/>
                <a:gd name="connsiteY2521" fmla="*/ 8410 h 10000"/>
                <a:gd name="connsiteX2522" fmla="*/ 654 w 10746"/>
                <a:gd name="connsiteY2522" fmla="*/ 8385 h 10000"/>
                <a:gd name="connsiteX2523" fmla="*/ 659 w 10746"/>
                <a:gd name="connsiteY2523" fmla="*/ 8385 h 10000"/>
                <a:gd name="connsiteX2524" fmla="*/ 696 w 10746"/>
                <a:gd name="connsiteY2524" fmla="*/ 8470 h 10000"/>
                <a:gd name="connsiteX2525" fmla="*/ 700 w 10746"/>
                <a:gd name="connsiteY2525" fmla="*/ 8470 h 10000"/>
                <a:gd name="connsiteX2526" fmla="*/ 710 w 10746"/>
                <a:gd name="connsiteY2526" fmla="*/ 8462 h 10000"/>
                <a:gd name="connsiteX2527" fmla="*/ 714 w 10746"/>
                <a:gd name="connsiteY2527" fmla="*/ 8462 h 10000"/>
                <a:gd name="connsiteX2528" fmla="*/ 724 w 10746"/>
                <a:gd name="connsiteY2528" fmla="*/ 8470 h 10000"/>
                <a:gd name="connsiteX2529" fmla="*/ 733 w 10746"/>
                <a:gd name="connsiteY2529" fmla="*/ 8470 h 10000"/>
                <a:gd name="connsiteX2530" fmla="*/ 742 w 10746"/>
                <a:gd name="connsiteY2530" fmla="*/ 8487 h 10000"/>
                <a:gd name="connsiteX2531" fmla="*/ 747 w 10746"/>
                <a:gd name="connsiteY2531" fmla="*/ 8496 h 10000"/>
                <a:gd name="connsiteX2532" fmla="*/ 770 w 10746"/>
                <a:gd name="connsiteY2532" fmla="*/ 8496 h 10000"/>
                <a:gd name="connsiteX2533" fmla="*/ 783 w 10746"/>
                <a:gd name="connsiteY2533" fmla="*/ 8521 h 10000"/>
                <a:gd name="connsiteX2534" fmla="*/ 797 w 10746"/>
                <a:gd name="connsiteY2534" fmla="*/ 8521 h 10000"/>
                <a:gd name="connsiteX2535" fmla="*/ 806 w 10746"/>
                <a:gd name="connsiteY2535" fmla="*/ 8530 h 10000"/>
                <a:gd name="connsiteX2536" fmla="*/ 829 w 10746"/>
                <a:gd name="connsiteY2536" fmla="*/ 8547 h 10000"/>
                <a:gd name="connsiteX2537" fmla="*/ 834 w 10746"/>
                <a:gd name="connsiteY2537" fmla="*/ 8556 h 10000"/>
                <a:gd name="connsiteX2538" fmla="*/ 829 w 10746"/>
                <a:gd name="connsiteY2538" fmla="*/ 8556 h 10000"/>
                <a:gd name="connsiteX2539" fmla="*/ 834 w 10746"/>
                <a:gd name="connsiteY2539" fmla="*/ 8607 h 10000"/>
                <a:gd name="connsiteX2540" fmla="*/ 829 w 10746"/>
                <a:gd name="connsiteY2540" fmla="*/ 8641 h 10000"/>
                <a:gd name="connsiteX2541" fmla="*/ 806 w 10746"/>
                <a:gd name="connsiteY2541" fmla="*/ 8658 h 10000"/>
                <a:gd name="connsiteX2542" fmla="*/ 816 w 10746"/>
                <a:gd name="connsiteY2542" fmla="*/ 8667 h 10000"/>
                <a:gd name="connsiteX2543" fmla="*/ 820 w 10746"/>
                <a:gd name="connsiteY2543" fmla="*/ 8667 h 10000"/>
                <a:gd name="connsiteX2544" fmla="*/ 829 w 10746"/>
                <a:gd name="connsiteY2544" fmla="*/ 8684 h 10000"/>
                <a:gd name="connsiteX2545" fmla="*/ 806 w 10746"/>
                <a:gd name="connsiteY2545" fmla="*/ 8692 h 10000"/>
                <a:gd name="connsiteX2546" fmla="*/ 802 w 10746"/>
                <a:gd name="connsiteY2546" fmla="*/ 8709 h 10000"/>
                <a:gd name="connsiteX2547" fmla="*/ 802 w 10746"/>
                <a:gd name="connsiteY2547" fmla="*/ 8735 h 10000"/>
                <a:gd name="connsiteX2548" fmla="*/ 806 w 10746"/>
                <a:gd name="connsiteY2548" fmla="*/ 8744 h 10000"/>
                <a:gd name="connsiteX2549" fmla="*/ 816 w 10746"/>
                <a:gd name="connsiteY2549" fmla="*/ 8752 h 10000"/>
                <a:gd name="connsiteX2550" fmla="*/ 806 w 10746"/>
                <a:gd name="connsiteY2550" fmla="*/ 8778 h 10000"/>
                <a:gd name="connsiteX2551" fmla="*/ 820 w 10746"/>
                <a:gd name="connsiteY2551" fmla="*/ 8778 h 10000"/>
                <a:gd name="connsiteX2552" fmla="*/ 806 w 10746"/>
                <a:gd name="connsiteY2552" fmla="*/ 8880 h 10000"/>
                <a:gd name="connsiteX2553" fmla="*/ 797 w 10746"/>
                <a:gd name="connsiteY2553" fmla="*/ 8880 h 10000"/>
                <a:gd name="connsiteX2554" fmla="*/ 783 w 10746"/>
                <a:gd name="connsiteY2554" fmla="*/ 8872 h 10000"/>
                <a:gd name="connsiteX2555" fmla="*/ 770 w 10746"/>
                <a:gd name="connsiteY2555" fmla="*/ 8880 h 10000"/>
                <a:gd name="connsiteX2556" fmla="*/ 756 w 10746"/>
                <a:gd name="connsiteY2556" fmla="*/ 8855 h 10000"/>
                <a:gd name="connsiteX2557" fmla="*/ 733 w 10746"/>
                <a:gd name="connsiteY2557" fmla="*/ 8906 h 10000"/>
                <a:gd name="connsiteX2558" fmla="*/ 714 w 10746"/>
                <a:gd name="connsiteY2558" fmla="*/ 8915 h 10000"/>
                <a:gd name="connsiteX2559" fmla="*/ 710 w 10746"/>
                <a:gd name="connsiteY2559" fmla="*/ 8940 h 10000"/>
                <a:gd name="connsiteX2560" fmla="*/ 710 w 10746"/>
                <a:gd name="connsiteY2560" fmla="*/ 9009 h 10000"/>
                <a:gd name="connsiteX2561" fmla="*/ 728 w 10746"/>
                <a:gd name="connsiteY2561" fmla="*/ 8991 h 10000"/>
                <a:gd name="connsiteX2562" fmla="*/ 733 w 10746"/>
                <a:gd name="connsiteY2562" fmla="*/ 8991 h 10000"/>
                <a:gd name="connsiteX2563" fmla="*/ 747 w 10746"/>
                <a:gd name="connsiteY2563" fmla="*/ 8983 h 10000"/>
                <a:gd name="connsiteX2564" fmla="*/ 760 w 10746"/>
                <a:gd name="connsiteY2564" fmla="*/ 8983 h 10000"/>
                <a:gd name="connsiteX2565" fmla="*/ 770 w 10746"/>
                <a:gd name="connsiteY2565" fmla="*/ 8983 h 10000"/>
                <a:gd name="connsiteX2566" fmla="*/ 770 w 10746"/>
                <a:gd name="connsiteY2566" fmla="*/ 8991 h 10000"/>
                <a:gd name="connsiteX2567" fmla="*/ 783 w 10746"/>
                <a:gd name="connsiteY2567" fmla="*/ 8991 h 10000"/>
                <a:gd name="connsiteX2568" fmla="*/ 783 w 10746"/>
                <a:gd name="connsiteY2568" fmla="*/ 9009 h 10000"/>
                <a:gd name="connsiteX2569" fmla="*/ 783 w 10746"/>
                <a:gd name="connsiteY2569" fmla="*/ 9017 h 10000"/>
                <a:gd name="connsiteX2570" fmla="*/ 770 w 10746"/>
                <a:gd name="connsiteY2570" fmla="*/ 9017 h 10000"/>
                <a:gd name="connsiteX2571" fmla="*/ 724 w 10746"/>
                <a:gd name="connsiteY2571" fmla="*/ 9051 h 10000"/>
                <a:gd name="connsiteX2572" fmla="*/ 724 w 10746"/>
                <a:gd name="connsiteY2572" fmla="*/ 9068 h 10000"/>
                <a:gd name="connsiteX2573" fmla="*/ 728 w 10746"/>
                <a:gd name="connsiteY2573" fmla="*/ 9077 h 10000"/>
                <a:gd name="connsiteX2574" fmla="*/ 724 w 10746"/>
                <a:gd name="connsiteY2574" fmla="*/ 9077 h 10000"/>
                <a:gd name="connsiteX2575" fmla="*/ 710 w 10746"/>
                <a:gd name="connsiteY2575" fmla="*/ 9077 h 10000"/>
                <a:gd name="connsiteX2576" fmla="*/ 682 w 10746"/>
                <a:gd name="connsiteY2576" fmla="*/ 9077 h 10000"/>
                <a:gd name="connsiteX2577" fmla="*/ 673 w 10746"/>
                <a:gd name="connsiteY2577" fmla="*/ 9103 h 10000"/>
                <a:gd name="connsiteX2578" fmla="*/ 687 w 10746"/>
                <a:gd name="connsiteY2578" fmla="*/ 9128 h 10000"/>
                <a:gd name="connsiteX2579" fmla="*/ 700 w 10746"/>
                <a:gd name="connsiteY2579" fmla="*/ 9128 h 10000"/>
                <a:gd name="connsiteX2580" fmla="*/ 728 w 10746"/>
                <a:gd name="connsiteY2580" fmla="*/ 9179 h 10000"/>
                <a:gd name="connsiteX2581" fmla="*/ 724 w 10746"/>
                <a:gd name="connsiteY2581" fmla="*/ 9188 h 10000"/>
                <a:gd name="connsiteX2582" fmla="*/ 710 w 10746"/>
                <a:gd name="connsiteY2582" fmla="*/ 9179 h 10000"/>
                <a:gd name="connsiteX2583" fmla="*/ 700 w 10746"/>
                <a:gd name="connsiteY2583" fmla="*/ 9205 h 10000"/>
                <a:gd name="connsiteX2584" fmla="*/ 696 w 10746"/>
                <a:gd name="connsiteY2584" fmla="*/ 9205 h 10000"/>
                <a:gd name="connsiteX2585" fmla="*/ 654 w 10746"/>
                <a:gd name="connsiteY2585" fmla="*/ 9299 h 10000"/>
                <a:gd name="connsiteX2586" fmla="*/ 622 w 10746"/>
                <a:gd name="connsiteY2586" fmla="*/ 9299 h 10000"/>
                <a:gd name="connsiteX2587" fmla="*/ 613 w 10746"/>
                <a:gd name="connsiteY2587" fmla="*/ 9316 h 10000"/>
                <a:gd name="connsiteX2588" fmla="*/ 613 w 10746"/>
                <a:gd name="connsiteY2588" fmla="*/ 9325 h 10000"/>
                <a:gd name="connsiteX2589" fmla="*/ 608 w 10746"/>
                <a:gd name="connsiteY2589" fmla="*/ 9342 h 10000"/>
                <a:gd name="connsiteX2590" fmla="*/ 636 w 10746"/>
                <a:gd name="connsiteY2590" fmla="*/ 9376 h 10000"/>
                <a:gd name="connsiteX2591" fmla="*/ 641 w 10746"/>
                <a:gd name="connsiteY2591" fmla="*/ 9402 h 10000"/>
                <a:gd name="connsiteX2592" fmla="*/ 654 w 10746"/>
                <a:gd name="connsiteY2592" fmla="*/ 9427 h 10000"/>
                <a:gd name="connsiteX2593" fmla="*/ 668 w 10746"/>
                <a:gd name="connsiteY2593" fmla="*/ 9427 h 10000"/>
                <a:gd name="connsiteX2594" fmla="*/ 668 w 10746"/>
                <a:gd name="connsiteY2594" fmla="*/ 9427 h 10000"/>
                <a:gd name="connsiteX2595" fmla="*/ 774 w 10746"/>
                <a:gd name="connsiteY2595" fmla="*/ 9547 h 10000"/>
                <a:gd name="connsiteX2596" fmla="*/ 797 w 10746"/>
                <a:gd name="connsiteY2596" fmla="*/ 9598 h 10000"/>
                <a:gd name="connsiteX2597" fmla="*/ 802 w 10746"/>
                <a:gd name="connsiteY2597" fmla="*/ 9598 h 10000"/>
                <a:gd name="connsiteX2598" fmla="*/ 816 w 10746"/>
                <a:gd name="connsiteY2598" fmla="*/ 9624 h 10000"/>
                <a:gd name="connsiteX2599" fmla="*/ 843 w 10746"/>
                <a:gd name="connsiteY2599" fmla="*/ 9615 h 10000"/>
                <a:gd name="connsiteX2600" fmla="*/ 857 w 10746"/>
                <a:gd name="connsiteY2600" fmla="*/ 9624 h 10000"/>
                <a:gd name="connsiteX2601" fmla="*/ 862 w 10746"/>
                <a:gd name="connsiteY2601" fmla="*/ 9615 h 10000"/>
                <a:gd name="connsiteX2602" fmla="*/ 880 w 10746"/>
                <a:gd name="connsiteY2602" fmla="*/ 9624 h 10000"/>
                <a:gd name="connsiteX2603" fmla="*/ 889 w 10746"/>
                <a:gd name="connsiteY2603" fmla="*/ 9641 h 10000"/>
                <a:gd name="connsiteX2604" fmla="*/ 935 w 10746"/>
                <a:gd name="connsiteY2604" fmla="*/ 9675 h 10000"/>
                <a:gd name="connsiteX2605" fmla="*/ 977 w 10746"/>
                <a:gd name="connsiteY2605" fmla="*/ 9667 h 10000"/>
                <a:gd name="connsiteX2606" fmla="*/ 995 w 10746"/>
                <a:gd name="connsiteY2606" fmla="*/ 9675 h 10000"/>
                <a:gd name="connsiteX2607" fmla="*/ 1014 w 10746"/>
                <a:gd name="connsiteY2607" fmla="*/ 9675 h 10000"/>
                <a:gd name="connsiteX2608" fmla="*/ 1069 w 10746"/>
                <a:gd name="connsiteY2608" fmla="*/ 9752 h 10000"/>
                <a:gd name="connsiteX2609" fmla="*/ 1074 w 10746"/>
                <a:gd name="connsiteY2609" fmla="*/ 9761 h 10000"/>
                <a:gd name="connsiteX2610" fmla="*/ 1083 w 10746"/>
                <a:gd name="connsiteY2610" fmla="*/ 9778 h 10000"/>
                <a:gd name="connsiteX2611" fmla="*/ 1115 w 10746"/>
                <a:gd name="connsiteY2611" fmla="*/ 9752 h 10000"/>
                <a:gd name="connsiteX2612" fmla="*/ 1129 w 10746"/>
                <a:gd name="connsiteY2612" fmla="*/ 9752 h 10000"/>
                <a:gd name="connsiteX2613" fmla="*/ 1138 w 10746"/>
                <a:gd name="connsiteY2613" fmla="*/ 9761 h 10000"/>
                <a:gd name="connsiteX2614" fmla="*/ 1143 w 10746"/>
                <a:gd name="connsiteY2614" fmla="*/ 9752 h 10000"/>
                <a:gd name="connsiteX2615" fmla="*/ 1161 w 10746"/>
                <a:gd name="connsiteY2615" fmla="*/ 9761 h 10000"/>
                <a:gd name="connsiteX2616" fmla="*/ 1171 w 10746"/>
                <a:gd name="connsiteY2616" fmla="*/ 9778 h 10000"/>
                <a:gd name="connsiteX2617" fmla="*/ 1175 w 10746"/>
                <a:gd name="connsiteY2617" fmla="*/ 9778 h 10000"/>
                <a:gd name="connsiteX2618" fmla="*/ 1189 w 10746"/>
                <a:gd name="connsiteY2618" fmla="*/ 9778 h 10000"/>
                <a:gd name="connsiteX2619" fmla="*/ 1198 w 10746"/>
                <a:gd name="connsiteY2619" fmla="*/ 9786 h 10000"/>
                <a:gd name="connsiteX2620" fmla="*/ 1203 w 10746"/>
                <a:gd name="connsiteY2620" fmla="*/ 9803 h 10000"/>
                <a:gd name="connsiteX2621" fmla="*/ 1198 w 10746"/>
                <a:gd name="connsiteY2621" fmla="*/ 9838 h 10000"/>
                <a:gd name="connsiteX2622" fmla="*/ 1212 w 10746"/>
                <a:gd name="connsiteY2622" fmla="*/ 9863 h 10000"/>
                <a:gd name="connsiteX2623" fmla="*/ 1230 w 10746"/>
                <a:gd name="connsiteY2623" fmla="*/ 9872 h 10000"/>
                <a:gd name="connsiteX2624" fmla="*/ 1249 w 10746"/>
                <a:gd name="connsiteY2624" fmla="*/ 9897 h 10000"/>
                <a:gd name="connsiteX2625" fmla="*/ 1263 w 10746"/>
                <a:gd name="connsiteY2625" fmla="*/ 9897 h 10000"/>
                <a:gd name="connsiteX2626" fmla="*/ 1276 w 10746"/>
                <a:gd name="connsiteY2626" fmla="*/ 9923 h 10000"/>
                <a:gd name="connsiteX2627" fmla="*/ 1281 w 10746"/>
                <a:gd name="connsiteY2627" fmla="*/ 9949 h 10000"/>
                <a:gd name="connsiteX2628" fmla="*/ 1290 w 10746"/>
                <a:gd name="connsiteY2628" fmla="*/ 9949 h 10000"/>
                <a:gd name="connsiteX2629" fmla="*/ 1295 w 10746"/>
                <a:gd name="connsiteY2629" fmla="*/ 10000 h 10000"/>
                <a:gd name="connsiteX2630" fmla="*/ 1332 w 10746"/>
                <a:gd name="connsiteY2630" fmla="*/ 10000 h 10000"/>
                <a:gd name="connsiteX2631" fmla="*/ 1336 w 10746"/>
                <a:gd name="connsiteY2631" fmla="*/ 10000 h 10000"/>
                <a:gd name="connsiteX2632" fmla="*/ 1346 w 10746"/>
                <a:gd name="connsiteY2632" fmla="*/ 9983 h 10000"/>
                <a:gd name="connsiteX2633" fmla="*/ 1350 w 10746"/>
                <a:gd name="connsiteY2633" fmla="*/ 9949 h 10000"/>
                <a:gd name="connsiteX2634" fmla="*/ 1369 w 10746"/>
                <a:gd name="connsiteY2634" fmla="*/ 9940 h 10000"/>
                <a:gd name="connsiteX2635" fmla="*/ 1378 w 10746"/>
                <a:gd name="connsiteY2635" fmla="*/ 9897 h 10000"/>
                <a:gd name="connsiteX2636" fmla="*/ 1369 w 10746"/>
                <a:gd name="connsiteY2636" fmla="*/ 9889 h 10000"/>
                <a:gd name="connsiteX2637" fmla="*/ 1318 w 10746"/>
                <a:gd name="connsiteY2637" fmla="*/ 9701 h 10000"/>
                <a:gd name="connsiteX2638" fmla="*/ 1318 w 10746"/>
                <a:gd name="connsiteY2638" fmla="*/ 9650 h 10000"/>
                <a:gd name="connsiteX2639" fmla="*/ 1323 w 10746"/>
                <a:gd name="connsiteY2639" fmla="*/ 9590 h 10000"/>
                <a:gd name="connsiteX2640" fmla="*/ 1323 w 10746"/>
                <a:gd name="connsiteY2640" fmla="*/ 9564 h 10000"/>
                <a:gd name="connsiteX2641" fmla="*/ 1309 w 10746"/>
                <a:gd name="connsiteY2641" fmla="*/ 9598 h 10000"/>
                <a:gd name="connsiteX2642" fmla="*/ 1309 w 10746"/>
                <a:gd name="connsiteY2642" fmla="*/ 9590 h 10000"/>
                <a:gd name="connsiteX2643" fmla="*/ 1304 w 10746"/>
                <a:gd name="connsiteY2643" fmla="*/ 9547 h 10000"/>
                <a:gd name="connsiteX2644" fmla="*/ 1276 w 10746"/>
                <a:gd name="connsiteY2644" fmla="*/ 9479 h 10000"/>
                <a:gd name="connsiteX2645" fmla="*/ 1263 w 10746"/>
                <a:gd name="connsiteY2645" fmla="*/ 9479 h 10000"/>
                <a:gd name="connsiteX2646" fmla="*/ 1263 w 10746"/>
                <a:gd name="connsiteY2646" fmla="*/ 9453 h 10000"/>
                <a:gd name="connsiteX2647" fmla="*/ 1272 w 10746"/>
                <a:gd name="connsiteY2647" fmla="*/ 9410 h 10000"/>
                <a:gd name="connsiteX2648" fmla="*/ 1272 w 10746"/>
                <a:gd name="connsiteY2648" fmla="*/ 9393 h 10000"/>
                <a:gd name="connsiteX2649" fmla="*/ 1281 w 10746"/>
                <a:gd name="connsiteY2649" fmla="*/ 9368 h 10000"/>
                <a:gd name="connsiteX2650" fmla="*/ 1281 w 10746"/>
                <a:gd name="connsiteY2650" fmla="*/ 9368 h 10000"/>
                <a:gd name="connsiteX2651" fmla="*/ 1290 w 10746"/>
                <a:gd name="connsiteY2651" fmla="*/ 9368 h 10000"/>
                <a:gd name="connsiteX2652" fmla="*/ 1290 w 10746"/>
                <a:gd name="connsiteY2652" fmla="*/ 9342 h 10000"/>
                <a:gd name="connsiteX2653" fmla="*/ 1304 w 10746"/>
                <a:gd name="connsiteY2653" fmla="*/ 9325 h 10000"/>
                <a:gd name="connsiteX2654" fmla="*/ 1309 w 10746"/>
                <a:gd name="connsiteY2654" fmla="*/ 9239 h 10000"/>
                <a:gd name="connsiteX2655" fmla="*/ 1318 w 10746"/>
                <a:gd name="connsiteY2655" fmla="*/ 9256 h 10000"/>
                <a:gd name="connsiteX2656" fmla="*/ 1323 w 10746"/>
                <a:gd name="connsiteY2656" fmla="*/ 9179 h 10000"/>
                <a:gd name="connsiteX2657" fmla="*/ 1309 w 10746"/>
                <a:gd name="connsiteY2657" fmla="*/ 9145 h 10000"/>
                <a:gd name="connsiteX2658" fmla="*/ 1336 w 10746"/>
                <a:gd name="connsiteY2658" fmla="*/ 9154 h 10000"/>
                <a:gd name="connsiteX2659" fmla="*/ 1336 w 10746"/>
                <a:gd name="connsiteY2659" fmla="*/ 9162 h 10000"/>
                <a:gd name="connsiteX2660" fmla="*/ 1350 w 10746"/>
                <a:gd name="connsiteY2660" fmla="*/ 9231 h 10000"/>
                <a:gd name="connsiteX2661" fmla="*/ 1355 w 10746"/>
                <a:gd name="connsiteY2661" fmla="*/ 9231 h 10000"/>
                <a:gd name="connsiteX2662" fmla="*/ 1364 w 10746"/>
                <a:gd name="connsiteY2662" fmla="*/ 9214 h 10000"/>
                <a:gd name="connsiteX2663" fmla="*/ 1369 w 10746"/>
                <a:gd name="connsiteY2663" fmla="*/ 9214 h 10000"/>
                <a:gd name="connsiteX2664" fmla="*/ 1382 w 10746"/>
                <a:gd name="connsiteY2664" fmla="*/ 9154 h 10000"/>
                <a:gd name="connsiteX2665" fmla="*/ 1396 w 10746"/>
                <a:gd name="connsiteY2665" fmla="*/ 9154 h 10000"/>
                <a:gd name="connsiteX2666" fmla="*/ 1382 w 10746"/>
                <a:gd name="connsiteY2666" fmla="*/ 9145 h 10000"/>
                <a:gd name="connsiteX2667" fmla="*/ 1382 w 10746"/>
                <a:gd name="connsiteY2667" fmla="*/ 9128 h 10000"/>
                <a:gd name="connsiteX2668" fmla="*/ 1369 w 10746"/>
                <a:gd name="connsiteY2668" fmla="*/ 9128 h 10000"/>
                <a:gd name="connsiteX2669" fmla="*/ 1364 w 10746"/>
                <a:gd name="connsiteY2669" fmla="*/ 9128 h 10000"/>
                <a:gd name="connsiteX2670" fmla="*/ 1355 w 10746"/>
                <a:gd name="connsiteY2670" fmla="*/ 9120 h 10000"/>
                <a:gd name="connsiteX2671" fmla="*/ 1350 w 10746"/>
                <a:gd name="connsiteY2671" fmla="*/ 9103 h 10000"/>
                <a:gd name="connsiteX2672" fmla="*/ 1355 w 10746"/>
                <a:gd name="connsiteY2672" fmla="*/ 9094 h 10000"/>
                <a:gd name="connsiteX2673" fmla="*/ 1355 w 10746"/>
                <a:gd name="connsiteY2673" fmla="*/ 9068 h 10000"/>
                <a:gd name="connsiteX2674" fmla="*/ 1369 w 10746"/>
                <a:gd name="connsiteY2674" fmla="*/ 9068 h 10000"/>
                <a:gd name="connsiteX2675" fmla="*/ 1378 w 10746"/>
                <a:gd name="connsiteY2675" fmla="*/ 9077 h 10000"/>
                <a:gd name="connsiteX2676" fmla="*/ 1396 w 10746"/>
                <a:gd name="connsiteY2676" fmla="*/ 9068 h 10000"/>
                <a:gd name="connsiteX2677" fmla="*/ 1382 w 10746"/>
                <a:gd name="connsiteY2677" fmla="*/ 8940 h 10000"/>
                <a:gd name="connsiteX2678" fmla="*/ 1378 w 10746"/>
                <a:gd name="connsiteY2678" fmla="*/ 8940 h 10000"/>
                <a:gd name="connsiteX2679" fmla="*/ 1364 w 10746"/>
                <a:gd name="connsiteY2679" fmla="*/ 8889 h 10000"/>
                <a:gd name="connsiteX2680" fmla="*/ 1355 w 10746"/>
                <a:gd name="connsiteY2680" fmla="*/ 8880 h 10000"/>
                <a:gd name="connsiteX2681" fmla="*/ 1323 w 10746"/>
                <a:gd name="connsiteY2681" fmla="*/ 8880 h 10000"/>
                <a:gd name="connsiteX2682" fmla="*/ 1309 w 10746"/>
                <a:gd name="connsiteY2682" fmla="*/ 8880 h 10000"/>
                <a:gd name="connsiteX2683" fmla="*/ 1309 w 10746"/>
                <a:gd name="connsiteY2683" fmla="*/ 8889 h 10000"/>
                <a:gd name="connsiteX2684" fmla="*/ 1295 w 10746"/>
                <a:gd name="connsiteY2684" fmla="*/ 8872 h 10000"/>
                <a:gd name="connsiteX2685" fmla="*/ 1290 w 10746"/>
                <a:gd name="connsiteY2685" fmla="*/ 8855 h 10000"/>
                <a:gd name="connsiteX2686" fmla="*/ 1290 w 10746"/>
                <a:gd name="connsiteY2686" fmla="*/ 8829 h 10000"/>
                <a:gd name="connsiteX2687" fmla="*/ 1290 w 10746"/>
                <a:gd name="connsiteY2687" fmla="*/ 8821 h 10000"/>
                <a:gd name="connsiteX2688" fmla="*/ 1290 w 10746"/>
                <a:gd name="connsiteY2688" fmla="*/ 8803 h 10000"/>
                <a:gd name="connsiteX2689" fmla="*/ 1281 w 10746"/>
                <a:gd name="connsiteY2689" fmla="*/ 8795 h 10000"/>
                <a:gd name="connsiteX2690" fmla="*/ 1249 w 10746"/>
                <a:gd name="connsiteY2690" fmla="*/ 8769 h 10000"/>
                <a:gd name="connsiteX2691" fmla="*/ 1263 w 10746"/>
                <a:gd name="connsiteY2691" fmla="*/ 8667 h 10000"/>
                <a:gd name="connsiteX2692" fmla="*/ 1281 w 10746"/>
                <a:gd name="connsiteY2692" fmla="*/ 8658 h 10000"/>
                <a:gd name="connsiteX2693" fmla="*/ 1290 w 10746"/>
                <a:gd name="connsiteY2693" fmla="*/ 8632 h 10000"/>
                <a:gd name="connsiteX2694" fmla="*/ 1281 w 10746"/>
                <a:gd name="connsiteY2694" fmla="*/ 8615 h 10000"/>
                <a:gd name="connsiteX2695" fmla="*/ 1272 w 10746"/>
                <a:gd name="connsiteY2695" fmla="*/ 8598 h 10000"/>
                <a:gd name="connsiteX2696" fmla="*/ 1281 w 10746"/>
                <a:gd name="connsiteY2696" fmla="*/ 8496 h 10000"/>
                <a:gd name="connsiteX2697" fmla="*/ 1295 w 10746"/>
                <a:gd name="connsiteY2697" fmla="*/ 8470 h 10000"/>
                <a:gd name="connsiteX2698" fmla="*/ 1304 w 10746"/>
                <a:gd name="connsiteY2698" fmla="*/ 8462 h 10000"/>
                <a:gd name="connsiteX2699" fmla="*/ 1304 w 10746"/>
                <a:gd name="connsiteY2699" fmla="*/ 8444 h 10000"/>
                <a:gd name="connsiteX2700" fmla="*/ 1304 w 10746"/>
                <a:gd name="connsiteY2700" fmla="*/ 8419 h 10000"/>
                <a:gd name="connsiteX2701" fmla="*/ 1304 w 10746"/>
                <a:gd name="connsiteY2701" fmla="*/ 8410 h 10000"/>
                <a:gd name="connsiteX2702" fmla="*/ 1309 w 10746"/>
                <a:gd name="connsiteY2702" fmla="*/ 8393 h 10000"/>
                <a:gd name="connsiteX2703" fmla="*/ 1318 w 10746"/>
                <a:gd name="connsiteY2703" fmla="*/ 8385 h 10000"/>
                <a:gd name="connsiteX2704" fmla="*/ 1323 w 10746"/>
                <a:gd name="connsiteY2704" fmla="*/ 8385 h 10000"/>
                <a:gd name="connsiteX2705" fmla="*/ 1332 w 10746"/>
                <a:gd name="connsiteY2705" fmla="*/ 8410 h 10000"/>
                <a:gd name="connsiteX2706" fmla="*/ 1346 w 10746"/>
                <a:gd name="connsiteY2706" fmla="*/ 8419 h 10000"/>
                <a:gd name="connsiteX2707" fmla="*/ 1364 w 10746"/>
                <a:gd name="connsiteY2707" fmla="*/ 8504 h 10000"/>
                <a:gd name="connsiteX2708" fmla="*/ 1369 w 10746"/>
                <a:gd name="connsiteY2708" fmla="*/ 8521 h 10000"/>
                <a:gd name="connsiteX2709" fmla="*/ 1406 w 10746"/>
                <a:gd name="connsiteY2709" fmla="*/ 8470 h 10000"/>
                <a:gd name="connsiteX2710" fmla="*/ 1382 w 10746"/>
                <a:gd name="connsiteY2710" fmla="*/ 8359 h 10000"/>
                <a:gd name="connsiteX2711" fmla="*/ 1392 w 10746"/>
                <a:gd name="connsiteY2711" fmla="*/ 8359 h 10000"/>
                <a:gd name="connsiteX2712" fmla="*/ 1438 w 10746"/>
                <a:gd name="connsiteY2712" fmla="*/ 8308 h 10000"/>
                <a:gd name="connsiteX2713" fmla="*/ 1442 w 10746"/>
                <a:gd name="connsiteY2713" fmla="*/ 8299 h 10000"/>
                <a:gd name="connsiteX2714" fmla="*/ 1442 w 10746"/>
                <a:gd name="connsiteY2714" fmla="*/ 8256 h 10000"/>
                <a:gd name="connsiteX2715" fmla="*/ 1452 w 10746"/>
                <a:gd name="connsiteY2715" fmla="*/ 8256 h 10000"/>
                <a:gd name="connsiteX2716" fmla="*/ 1456 w 10746"/>
                <a:gd name="connsiteY2716" fmla="*/ 8256 h 10000"/>
                <a:gd name="connsiteX2717" fmla="*/ 1470 w 10746"/>
                <a:gd name="connsiteY2717" fmla="*/ 8248 h 10000"/>
                <a:gd name="connsiteX2718" fmla="*/ 1479 w 10746"/>
                <a:gd name="connsiteY2718" fmla="*/ 8231 h 10000"/>
                <a:gd name="connsiteX2719" fmla="*/ 1493 w 10746"/>
                <a:gd name="connsiteY2719" fmla="*/ 8222 h 10000"/>
                <a:gd name="connsiteX2720" fmla="*/ 1498 w 10746"/>
                <a:gd name="connsiteY2720" fmla="*/ 8214 h 10000"/>
                <a:gd name="connsiteX2721" fmla="*/ 1502 w 10746"/>
                <a:gd name="connsiteY2721" fmla="*/ 8197 h 10000"/>
                <a:gd name="connsiteX2722" fmla="*/ 1512 w 10746"/>
                <a:gd name="connsiteY2722" fmla="*/ 8188 h 10000"/>
                <a:gd name="connsiteX2723" fmla="*/ 1516 w 10746"/>
                <a:gd name="connsiteY2723" fmla="*/ 8171 h 10000"/>
                <a:gd name="connsiteX2724" fmla="*/ 1525 w 10746"/>
                <a:gd name="connsiteY2724" fmla="*/ 8162 h 10000"/>
                <a:gd name="connsiteX2725" fmla="*/ 1539 w 10746"/>
                <a:gd name="connsiteY2725" fmla="*/ 8145 h 10000"/>
                <a:gd name="connsiteX2726" fmla="*/ 1558 w 10746"/>
                <a:gd name="connsiteY2726" fmla="*/ 8145 h 10000"/>
                <a:gd name="connsiteX2727" fmla="*/ 1562 w 10746"/>
                <a:gd name="connsiteY2727" fmla="*/ 8188 h 10000"/>
                <a:gd name="connsiteX2728" fmla="*/ 1585 w 10746"/>
                <a:gd name="connsiteY2728" fmla="*/ 8171 h 10000"/>
                <a:gd name="connsiteX2729" fmla="*/ 1590 w 10746"/>
                <a:gd name="connsiteY2729" fmla="*/ 8188 h 10000"/>
                <a:gd name="connsiteX2730" fmla="*/ 1599 w 10746"/>
                <a:gd name="connsiteY2730" fmla="*/ 8171 h 10000"/>
                <a:gd name="connsiteX2731" fmla="*/ 1599 w 10746"/>
                <a:gd name="connsiteY2731" fmla="*/ 8162 h 10000"/>
                <a:gd name="connsiteX2732" fmla="*/ 1604 w 10746"/>
                <a:gd name="connsiteY2732" fmla="*/ 8137 h 10000"/>
                <a:gd name="connsiteX2733" fmla="*/ 1618 w 10746"/>
                <a:gd name="connsiteY2733" fmla="*/ 8145 h 10000"/>
                <a:gd name="connsiteX2734" fmla="*/ 1627 w 10746"/>
                <a:gd name="connsiteY2734" fmla="*/ 8137 h 10000"/>
                <a:gd name="connsiteX2735" fmla="*/ 1631 w 10746"/>
                <a:gd name="connsiteY2735" fmla="*/ 8137 h 10000"/>
                <a:gd name="connsiteX2736" fmla="*/ 1636 w 10746"/>
                <a:gd name="connsiteY2736" fmla="*/ 8171 h 10000"/>
                <a:gd name="connsiteX2737" fmla="*/ 1645 w 10746"/>
                <a:gd name="connsiteY2737" fmla="*/ 8188 h 10000"/>
                <a:gd name="connsiteX2738" fmla="*/ 1664 w 10746"/>
                <a:gd name="connsiteY2738" fmla="*/ 8171 h 10000"/>
                <a:gd name="connsiteX2739" fmla="*/ 1673 w 10746"/>
                <a:gd name="connsiteY2739" fmla="*/ 8188 h 10000"/>
                <a:gd name="connsiteX2740" fmla="*/ 1691 w 10746"/>
                <a:gd name="connsiteY2740" fmla="*/ 8171 h 10000"/>
                <a:gd name="connsiteX2741" fmla="*/ 1705 w 10746"/>
                <a:gd name="connsiteY2741" fmla="*/ 8171 h 10000"/>
                <a:gd name="connsiteX2742" fmla="*/ 1719 w 10746"/>
                <a:gd name="connsiteY2742" fmla="*/ 8197 h 10000"/>
                <a:gd name="connsiteX2743" fmla="*/ 1724 w 10746"/>
                <a:gd name="connsiteY2743" fmla="*/ 8231 h 10000"/>
                <a:gd name="connsiteX2744" fmla="*/ 1751 w 10746"/>
                <a:gd name="connsiteY2744" fmla="*/ 8256 h 10000"/>
                <a:gd name="connsiteX2745" fmla="*/ 1751 w 10746"/>
                <a:gd name="connsiteY2745" fmla="*/ 8274 h 10000"/>
                <a:gd name="connsiteX2746" fmla="*/ 1760 w 10746"/>
                <a:gd name="connsiteY2746" fmla="*/ 8282 h 10000"/>
                <a:gd name="connsiteX2747" fmla="*/ 1770 w 10746"/>
                <a:gd name="connsiteY2747" fmla="*/ 8325 h 10000"/>
                <a:gd name="connsiteX2748" fmla="*/ 1770 w 10746"/>
                <a:gd name="connsiteY2748" fmla="*/ 8350 h 10000"/>
                <a:gd name="connsiteX2749" fmla="*/ 1779 w 10746"/>
                <a:gd name="connsiteY2749" fmla="*/ 8368 h 10000"/>
                <a:gd name="connsiteX2750" fmla="*/ 1783 w 10746"/>
                <a:gd name="connsiteY2750" fmla="*/ 8359 h 10000"/>
                <a:gd name="connsiteX2751" fmla="*/ 1783 w 10746"/>
                <a:gd name="connsiteY2751" fmla="*/ 8308 h 10000"/>
                <a:gd name="connsiteX2752" fmla="*/ 1779 w 10746"/>
                <a:gd name="connsiteY2752" fmla="*/ 8299 h 10000"/>
                <a:gd name="connsiteX2753" fmla="*/ 1783 w 10746"/>
                <a:gd name="connsiteY2753" fmla="*/ 8282 h 10000"/>
                <a:gd name="connsiteX2754" fmla="*/ 1797 w 10746"/>
                <a:gd name="connsiteY2754" fmla="*/ 8274 h 10000"/>
                <a:gd name="connsiteX2755" fmla="*/ 1797 w 10746"/>
                <a:gd name="connsiteY2755" fmla="*/ 8299 h 10000"/>
                <a:gd name="connsiteX2756" fmla="*/ 1806 w 10746"/>
                <a:gd name="connsiteY2756" fmla="*/ 8308 h 10000"/>
                <a:gd name="connsiteX2757" fmla="*/ 1811 w 10746"/>
                <a:gd name="connsiteY2757" fmla="*/ 8325 h 10000"/>
                <a:gd name="connsiteX2758" fmla="*/ 1820 w 10746"/>
                <a:gd name="connsiteY2758" fmla="*/ 8333 h 10000"/>
                <a:gd name="connsiteX2759" fmla="*/ 1853 w 10746"/>
                <a:gd name="connsiteY2759" fmla="*/ 8359 h 10000"/>
                <a:gd name="connsiteX2760" fmla="*/ 1866 w 10746"/>
                <a:gd name="connsiteY2760" fmla="*/ 8359 h 10000"/>
                <a:gd name="connsiteX2761" fmla="*/ 1885 w 10746"/>
                <a:gd name="connsiteY2761" fmla="*/ 8325 h 10000"/>
                <a:gd name="connsiteX2762" fmla="*/ 1885 w 10746"/>
                <a:gd name="connsiteY2762" fmla="*/ 8308 h 10000"/>
                <a:gd name="connsiteX2763" fmla="*/ 1894 w 10746"/>
                <a:gd name="connsiteY2763" fmla="*/ 8299 h 10000"/>
                <a:gd name="connsiteX2764" fmla="*/ 1899 w 10746"/>
                <a:gd name="connsiteY2764" fmla="*/ 8282 h 10000"/>
                <a:gd name="connsiteX2765" fmla="*/ 1912 w 10746"/>
                <a:gd name="connsiteY2765" fmla="*/ 8282 h 10000"/>
                <a:gd name="connsiteX2766" fmla="*/ 1917 w 10746"/>
                <a:gd name="connsiteY2766" fmla="*/ 8299 h 10000"/>
                <a:gd name="connsiteX2767" fmla="*/ 1917 w 10746"/>
                <a:gd name="connsiteY2767" fmla="*/ 8274 h 10000"/>
                <a:gd name="connsiteX2768" fmla="*/ 1940 w 10746"/>
                <a:gd name="connsiteY2768" fmla="*/ 8282 h 10000"/>
                <a:gd name="connsiteX2769" fmla="*/ 1945 w 10746"/>
                <a:gd name="connsiteY2769" fmla="*/ 8274 h 10000"/>
                <a:gd name="connsiteX2770" fmla="*/ 1972 w 10746"/>
                <a:gd name="connsiteY2770" fmla="*/ 8308 h 10000"/>
                <a:gd name="connsiteX2771" fmla="*/ 1986 w 10746"/>
                <a:gd name="connsiteY2771" fmla="*/ 8282 h 10000"/>
                <a:gd name="connsiteX2772" fmla="*/ 1991 w 10746"/>
                <a:gd name="connsiteY2772" fmla="*/ 8274 h 10000"/>
                <a:gd name="connsiteX2773" fmla="*/ 2014 w 10746"/>
                <a:gd name="connsiteY2773" fmla="*/ 8274 h 10000"/>
                <a:gd name="connsiteX2774" fmla="*/ 2018 w 10746"/>
                <a:gd name="connsiteY2774" fmla="*/ 8256 h 10000"/>
                <a:gd name="connsiteX2775" fmla="*/ 2041 w 10746"/>
                <a:gd name="connsiteY2775" fmla="*/ 8274 h 10000"/>
                <a:gd name="connsiteX2776" fmla="*/ 2046 w 10746"/>
                <a:gd name="connsiteY2776" fmla="*/ 8282 h 10000"/>
                <a:gd name="connsiteX2777" fmla="*/ 2046 w 10746"/>
                <a:gd name="connsiteY2777" fmla="*/ 8325 h 10000"/>
                <a:gd name="connsiteX2778" fmla="*/ 2060 w 10746"/>
                <a:gd name="connsiteY2778" fmla="*/ 8350 h 10000"/>
                <a:gd name="connsiteX2779" fmla="*/ 2078 w 10746"/>
                <a:gd name="connsiteY2779" fmla="*/ 8350 h 10000"/>
                <a:gd name="connsiteX2780" fmla="*/ 2092 w 10746"/>
                <a:gd name="connsiteY2780" fmla="*/ 8350 h 10000"/>
                <a:gd name="connsiteX2781" fmla="*/ 2092 w 10746"/>
                <a:gd name="connsiteY2781" fmla="*/ 8350 h 10000"/>
                <a:gd name="connsiteX2782" fmla="*/ 2101 w 10746"/>
                <a:gd name="connsiteY2782" fmla="*/ 8368 h 10000"/>
                <a:gd name="connsiteX2783" fmla="*/ 2120 w 10746"/>
                <a:gd name="connsiteY2783" fmla="*/ 8368 h 10000"/>
                <a:gd name="connsiteX2784" fmla="*/ 2124 w 10746"/>
                <a:gd name="connsiteY2784" fmla="*/ 8359 h 10000"/>
                <a:gd name="connsiteX2785" fmla="*/ 2138 w 10746"/>
                <a:gd name="connsiteY2785" fmla="*/ 8325 h 10000"/>
                <a:gd name="connsiteX2786" fmla="*/ 2147 w 10746"/>
                <a:gd name="connsiteY2786" fmla="*/ 8325 h 10000"/>
                <a:gd name="connsiteX2787" fmla="*/ 2161 w 10746"/>
                <a:gd name="connsiteY2787" fmla="*/ 8350 h 10000"/>
                <a:gd name="connsiteX2788" fmla="*/ 2198 w 10746"/>
                <a:gd name="connsiteY2788" fmla="*/ 8350 h 10000"/>
                <a:gd name="connsiteX2789" fmla="*/ 2207 w 10746"/>
                <a:gd name="connsiteY2789" fmla="*/ 8333 h 10000"/>
                <a:gd name="connsiteX2790" fmla="*/ 2226 w 10746"/>
                <a:gd name="connsiteY2790" fmla="*/ 8325 h 10000"/>
                <a:gd name="connsiteX2791" fmla="*/ 2249 w 10746"/>
                <a:gd name="connsiteY2791" fmla="*/ 8222 h 10000"/>
                <a:gd name="connsiteX2792" fmla="*/ 2235 w 10746"/>
                <a:gd name="connsiteY2792" fmla="*/ 8197 h 10000"/>
                <a:gd name="connsiteX2793" fmla="*/ 2198 w 10746"/>
                <a:gd name="connsiteY2793" fmla="*/ 8197 h 10000"/>
                <a:gd name="connsiteX2794" fmla="*/ 2189 w 10746"/>
                <a:gd name="connsiteY2794" fmla="*/ 8171 h 10000"/>
                <a:gd name="connsiteX2795" fmla="*/ 2161 w 10746"/>
                <a:gd name="connsiteY2795" fmla="*/ 8145 h 10000"/>
                <a:gd name="connsiteX2796" fmla="*/ 2161 w 10746"/>
                <a:gd name="connsiteY2796" fmla="*/ 8137 h 10000"/>
                <a:gd name="connsiteX2797" fmla="*/ 2152 w 10746"/>
                <a:gd name="connsiteY2797" fmla="*/ 8120 h 10000"/>
                <a:gd name="connsiteX2798" fmla="*/ 2138 w 10746"/>
                <a:gd name="connsiteY2798" fmla="*/ 8111 h 10000"/>
                <a:gd name="connsiteX2799" fmla="*/ 2138 w 10746"/>
                <a:gd name="connsiteY2799" fmla="*/ 8094 h 10000"/>
                <a:gd name="connsiteX2800" fmla="*/ 2147 w 10746"/>
                <a:gd name="connsiteY2800" fmla="*/ 8085 h 10000"/>
                <a:gd name="connsiteX2801" fmla="*/ 2161 w 10746"/>
                <a:gd name="connsiteY2801" fmla="*/ 8060 h 10000"/>
                <a:gd name="connsiteX2802" fmla="*/ 2198 w 10746"/>
                <a:gd name="connsiteY2802" fmla="*/ 8034 h 10000"/>
                <a:gd name="connsiteX2803" fmla="*/ 2198 w 10746"/>
                <a:gd name="connsiteY2803" fmla="*/ 8026 h 10000"/>
                <a:gd name="connsiteX2804" fmla="*/ 2198 w 10746"/>
                <a:gd name="connsiteY2804" fmla="*/ 8000 h 10000"/>
                <a:gd name="connsiteX2805" fmla="*/ 2180 w 10746"/>
                <a:gd name="connsiteY2805" fmla="*/ 7940 h 10000"/>
                <a:gd name="connsiteX2806" fmla="*/ 2189 w 10746"/>
                <a:gd name="connsiteY2806" fmla="*/ 7940 h 10000"/>
                <a:gd name="connsiteX2807" fmla="*/ 2198 w 10746"/>
                <a:gd name="connsiteY2807" fmla="*/ 7923 h 10000"/>
                <a:gd name="connsiteX2808" fmla="*/ 2198 w 10746"/>
                <a:gd name="connsiteY2808" fmla="*/ 7897 h 10000"/>
                <a:gd name="connsiteX2809" fmla="*/ 2207 w 10746"/>
                <a:gd name="connsiteY2809" fmla="*/ 7889 h 10000"/>
                <a:gd name="connsiteX2810" fmla="*/ 2221 w 10746"/>
                <a:gd name="connsiteY2810" fmla="*/ 7889 h 10000"/>
                <a:gd name="connsiteX2811" fmla="*/ 2226 w 10746"/>
                <a:gd name="connsiteY2811" fmla="*/ 7897 h 10000"/>
                <a:gd name="connsiteX2812" fmla="*/ 2235 w 10746"/>
                <a:gd name="connsiteY2812" fmla="*/ 7889 h 10000"/>
                <a:gd name="connsiteX2813" fmla="*/ 2249 w 10746"/>
                <a:gd name="connsiteY2813" fmla="*/ 7897 h 10000"/>
                <a:gd name="connsiteX2814" fmla="*/ 2267 w 10746"/>
                <a:gd name="connsiteY2814" fmla="*/ 7897 h 10000"/>
                <a:gd name="connsiteX2815" fmla="*/ 2272 w 10746"/>
                <a:gd name="connsiteY2815" fmla="*/ 7889 h 10000"/>
                <a:gd name="connsiteX2816" fmla="*/ 2281 w 10746"/>
                <a:gd name="connsiteY2816" fmla="*/ 7872 h 10000"/>
                <a:gd name="connsiteX2817" fmla="*/ 2272 w 10746"/>
                <a:gd name="connsiteY2817" fmla="*/ 7846 h 10000"/>
                <a:gd name="connsiteX2818" fmla="*/ 2253 w 10746"/>
                <a:gd name="connsiteY2818" fmla="*/ 7838 h 10000"/>
                <a:gd name="connsiteX2819" fmla="*/ 2221 w 10746"/>
                <a:gd name="connsiteY2819" fmla="*/ 7821 h 10000"/>
                <a:gd name="connsiteX2820" fmla="*/ 2212 w 10746"/>
                <a:gd name="connsiteY2820" fmla="*/ 7812 h 10000"/>
                <a:gd name="connsiteX2821" fmla="*/ 2212 w 10746"/>
                <a:gd name="connsiteY2821" fmla="*/ 7803 h 10000"/>
                <a:gd name="connsiteX2822" fmla="*/ 2221 w 10746"/>
                <a:gd name="connsiteY2822" fmla="*/ 7803 h 10000"/>
                <a:gd name="connsiteX2823" fmla="*/ 2235 w 10746"/>
                <a:gd name="connsiteY2823" fmla="*/ 7786 h 10000"/>
                <a:gd name="connsiteX2824" fmla="*/ 2240 w 10746"/>
                <a:gd name="connsiteY2824" fmla="*/ 7778 h 10000"/>
                <a:gd name="connsiteX2825" fmla="*/ 2226 w 10746"/>
                <a:gd name="connsiteY2825" fmla="*/ 7761 h 10000"/>
                <a:gd name="connsiteX2826" fmla="*/ 2221 w 10746"/>
                <a:gd name="connsiteY2826" fmla="*/ 7778 h 10000"/>
                <a:gd name="connsiteX2827" fmla="*/ 2198 w 10746"/>
                <a:gd name="connsiteY2827" fmla="*/ 7778 h 10000"/>
                <a:gd name="connsiteX2828" fmla="*/ 2198 w 10746"/>
                <a:gd name="connsiteY2828" fmla="*/ 7752 h 10000"/>
                <a:gd name="connsiteX2829" fmla="*/ 2207 w 10746"/>
                <a:gd name="connsiteY2829" fmla="*/ 7735 h 10000"/>
                <a:gd name="connsiteX2830" fmla="*/ 2212 w 10746"/>
                <a:gd name="connsiteY2830" fmla="*/ 7726 h 10000"/>
                <a:gd name="connsiteX2831" fmla="*/ 2198 w 10746"/>
                <a:gd name="connsiteY2831" fmla="*/ 7692 h 10000"/>
                <a:gd name="connsiteX2832" fmla="*/ 2221 w 10746"/>
                <a:gd name="connsiteY2832" fmla="*/ 7692 h 10000"/>
                <a:gd name="connsiteX2833" fmla="*/ 2221 w 10746"/>
                <a:gd name="connsiteY2833" fmla="*/ 7675 h 10000"/>
                <a:gd name="connsiteX2834" fmla="*/ 2235 w 10746"/>
                <a:gd name="connsiteY2834" fmla="*/ 7675 h 10000"/>
                <a:gd name="connsiteX2835" fmla="*/ 2240 w 10746"/>
                <a:gd name="connsiteY2835" fmla="*/ 7692 h 10000"/>
                <a:gd name="connsiteX2836" fmla="*/ 2249 w 10746"/>
                <a:gd name="connsiteY2836" fmla="*/ 7692 h 10000"/>
                <a:gd name="connsiteX2837" fmla="*/ 2258 w 10746"/>
                <a:gd name="connsiteY2837" fmla="*/ 7692 h 10000"/>
                <a:gd name="connsiteX2838" fmla="*/ 2267 w 10746"/>
                <a:gd name="connsiteY2838" fmla="*/ 7692 h 10000"/>
                <a:gd name="connsiteX2839" fmla="*/ 2295 w 10746"/>
                <a:gd name="connsiteY2839" fmla="*/ 7692 h 10000"/>
                <a:gd name="connsiteX2840" fmla="*/ 2300 w 10746"/>
                <a:gd name="connsiteY2840" fmla="*/ 7701 h 10000"/>
                <a:gd name="connsiteX2841" fmla="*/ 2313 w 10746"/>
                <a:gd name="connsiteY2841" fmla="*/ 7675 h 10000"/>
                <a:gd name="connsiteX2842" fmla="*/ 2323 w 10746"/>
                <a:gd name="connsiteY2842" fmla="*/ 7675 h 10000"/>
                <a:gd name="connsiteX2843" fmla="*/ 2341 w 10746"/>
                <a:gd name="connsiteY2843" fmla="*/ 7675 h 10000"/>
                <a:gd name="connsiteX2844" fmla="*/ 2346 w 10746"/>
                <a:gd name="connsiteY2844" fmla="*/ 7667 h 10000"/>
                <a:gd name="connsiteX2845" fmla="*/ 2359 w 10746"/>
                <a:gd name="connsiteY2845" fmla="*/ 7650 h 10000"/>
                <a:gd name="connsiteX2846" fmla="*/ 2373 w 10746"/>
                <a:gd name="connsiteY2846" fmla="*/ 7624 h 10000"/>
                <a:gd name="connsiteX2847" fmla="*/ 2382 w 10746"/>
                <a:gd name="connsiteY2847" fmla="*/ 7641 h 10000"/>
                <a:gd name="connsiteX2848" fmla="*/ 2396 w 10746"/>
                <a:gd name="connsiteY2848" fmla="*/ 7650 h 10000"/>
                <a:gd name="connsiteX2849" fmla="*/ 2401 w 10746"/>
                <a:gd name="connsiteY2849" fmla="*/ 7650 h 10000"/>
                <a:gd name="connsiteX2850" fmla="*/ 2401 w 10746"/>
                <a:gd name="connsiteY2850" fmla="*/ 7624 h 10000"/>
                <a:gd name="connsiteX2851" fmla="*/ 2419 w 10746"/>
                <a:gd name="connsiteY2851" fmla="*/ 7624 h 10000"/>
                <a:gd name="connsiteX2852" fmla="*/ 2433 w 10746"/>
                <a:gd name="connsiteY2852" fmla="*/ 7615 h 10000"/>
                <a:gd name="connsiteX2853" fmla="*/ 2442 w 10746"/>
                <a:gd name="connsiteY2853" fmla="*/ 7615 h 10000"/>
                <a:gd name="connsiteX2854" fmla="*/ 2447 w 10746"/>
                <a:gd name="connsiteY2854" fmla="*/ 7598 h 10000"/>
                <a:gd name="connsiteX2855" fmla="*/ 2461 w 10746"/>
                <a:gd name="connsiteY2855" fmla="*/ 7598 h 10000"/>
                <a:gd name="connsiteX2856" fmla="*/ 2465 w 10746"/>
                <a:gd name="connsiteY2856" fmla="*/ 7615 h 10000"/>
                <a:gd name="connsiteX2857" fmla="*/ 2479 w 10746"/>
                <a:gd name="connsiteY2857" fmla="*/ 7564 h 10000"/>
                <a:gd name="connsiteX2858" fmla="*/ 2488 w 10746"/>
                <a:gd name="connsiteY2858" fmla="*/ 7556 h 10000"/>
                <a:gd name="connsiteX2859" fmla="*/ 2493 w 10746"/>
                <a:gd name="connsiteY2859" fmla="*/ 7556 h 10000"/>
                <a:gd name="connsiteX2860" fmla="*/ 2507 w 10746"/>
                <a:gd name="connsiteY2860" fmla="*/ 7556 h 10000"/>
                <a:gd name="connsiteX2861" fmla="*/ 2530 w 10746"/>
                <a:gd name="connsiteY2861" fmla="*/ 7538 h 10000"/>
                <a:gd name="connsiteX2862" fmla="*/ 2530 w 10746"/>
                <a:gd name="connsiteY2862" fmla="*/ 7556 h 10000"/>
                <a:gd name="connsiteX2863" fmla="*/ 2641 w 10746"/>
                <a:gd name="connsiteY2863" fmla="*/ 7504 h 10000"/>
                <a:gd name="connsiteX2864" fmla="*/ 2654 w 10746"/>
                <a:gd name="connsiteY2864" fmla="*/ 7487 h 10000"/>
                <a:gd name="connsiteX2865" fmla="*/ 2664 w 10746"/>
                <a:gd name="connsiteY2865" fmla="*/ 7487 h 10000"/>
                <a:gd name="connsiteX2866" fmla="*/ 2668 w 10746"/>
                <a:gd name="connsiteY2866" fmla="*/ 7479 h 10000"/>
                <a:gd name="connsiteX2867" fmla="*/ 2673 w 10746"/>
                <a:gd name="connsiteY2867" fmla="*/ 7462 h 10000"/>
                <a:gd name="connsiteX2868" fmla="*/ 2673 w 10746"/>
                <a:gd name="connsiteY2868" fmla="*/ 7427 h 10000"/>
                <a:gd name="connsiteX2869" fmla="*/ 2687 w 10746"/>
                <a:gd name="connsiteY2869" fmla="*/ 7436 h 10000"/>
                <a:gd name="connsiteX2870" fmla="*/ 2696 w 10746"/>
                <a:gd name="connsiteY2870" fmla="*/ 7427 h 10000"/>
                <a:gd name="connsiteX2871" fmla="*/ 2700 w 10746"/>
                <a:gd name="connsiteY2871" fmla="*/ 7419 h 10000"/>
                <a:gd name="connsiteX2872" fmla="*/ 2710 w 10746"/>
                <a:gd name="connsiteY2872" fmla="*/ 7402 h 10000"/>
                <a:gd name="connsiteX2873" fmla="*/ 2724 w 10746"/>
                <a:gd name="connsiteY2873" fmla="*/ 7402 h 10000"/>
                <a:gd name="connsiteX2874" fmla="*/ 2724 w 10746"/>
                <a:gd name="connsiteY2874" fmla="*/ 7393 h 10000"/>
                <a:gd name="connsiteX2875" fmla="*/ 2737 w 10746"/>
                <a:gd name="connsiteY2875" fmla="*/ 7393 h 10000"/>
                <a:gd name="connsiteX2876" fmla="*/ 2742 w 10746"/>
                <a:gd name="connsiteY2876" fmla="*/ 7402 h 10000"/>
                <a:gd name="connsiteX2877" fmla="*/ 2747 w 10746"/>
                <a:gd name="connsiteY2877" fmla="*/ 7402 h 10000"/>
                <a:gd name="connsiteX2878" fmla="*/ 2760 w 10746"/>
                <a:gd name="connsiteY2878" fmla="*/ 7402 h 10000"/>
                <a:gd name="connsiteX2879" fmla="*/ 2770 w 10746"/>
                <a:gd name="connsiteY2879" fmla="*/ 7402 h 10000"/>
                <a:gd name="connsiteX2880" fmla="*/ 2774 w 10746"/>
                <a:gd name="connsiteY2880" fmla="*/ 7402 h 10000"/>
                <a:gd name="connsiteX2881" fmla="*/ 2783 w 10746"/>
                <a:gd name="connsiteY2881" fmla="*/ 7419 h 10000"/>
                <a:gd name="connsiteX2882" fmla="*/ 2802 w 10746"/>
                <a:gd name="connsiteY2882" fmla="*/ 7436 h 10000"/>
                <a:gd name="connsiteX2883" fmla="*/ 2816 w 10746"/>
                <a:gd name="connsiteY2883" fmla="*/ 7419 h 10000"/>
                <a:gd name="connsiteX2884" fmla="*/ 2834 w 10746"/>
                <a:gd name="connsiteY2884" fmla="*/ 7419 h 10000"/>
                <a:gd name="connsiteX2885" fmla="*/ 2843 w 10746"/>
                <a:gd name="connsiteY2885" fmla="*/ 7419 h 10000"/>
                <a:gd name="connsiteX2886" fmla="*/ 2848 w 10746"/>
                <a:gd name="connsiteY2886" fmla="*/ 7436 h 10000"/>
                <a:gd name="connsiteX2887" fmla="*/ 2857 w 10746"/>
                <a:gd name="connsiteY2887" fmla="*/ 7453 h 10000"/>
                <a:gd name="connsiteX2888" fmla="*/ 2857 w 10746"/>
                <a:gd name="connsiteY2888" fmla="*/ 7504 h 10000"/>
                <a:gd name="connsiteX2889" fmla="*/ 2862 w 10746"/>
                <a:gd name="connsiteY2889" fmla="*/ 7530 h 10000"/>
                <a:gd name="connsiteX2890" fmla="*/ 2876 w 10746"/>
                <a:gd name="connsiteY2890" fmla="*/ 7538 h 10000"/>
                <a:gd name="connsiteX2891" fmla="*/ 2871 w 10746"/>
                <a:gd name="connsiteY2891" fmla="*/ 7564 h 10000"/>
                <a:gd name="connsiteX2892" fmla="*/ 2871 w 10746"/>
                <a:gd name="connsiteY2892" fmla="*/ 7598 h 10000"/>
                <a:gd name="connsiteX2893" fmla="*/ 2857 w 10746"/>
                <a:gd name="connsiteY2893" fmla="*/ 7624 h 10000"/>
                <a:gd name="connsiteX2894" fmla="*/ 2862 w 10746"/>
                <a:gd name="connsiteY2894" fmla="*/ 7641 h 10000"/>
                <a:gd name="connsiteX2895" fmla="*/ 2871 w 10746"/>
                <a:gd name="connsiteY2895" fmla="*/ 7667 h 10000"/>
                <a:gd name="connsiteX2896" fmla="*/ 2880 w 10746"/>
                <a:gd name="connsiteY2896" fmla="*/ 7650 h 10000"/>
                <a:gd name="connsiteX2897" fmla="*/ 2894 w 10746"/>
                <a:gd name="connsiteY2897" fmla="*/ 7667 h 10000"/>
                <a:gd name="connsiteX2898" fmla="*/ 2903 w 10746"/>
                <a:gd name="connsiteY2898" fmla="*/ 7667 h 10000"/>
                <a:gd name="connsiteX2899" fmla="*/ 2908 w 10746"/>
                <a:gd name="connsiteY2899" fmla="*/ 7641 h 10000"/>
                <a:gd name="connsiteX2900" fmla="*/ 2917 w 10746"/>
                <a:gd name="connsiteY2900" fmla="*/ 7641 h 10000"/>
                <a:gd name="connsiteX2901" fmla="*/ 2922 w 10746"/>
                <a:gd name="connsiteY2901" fmla="*/ 7641 h 10000"/>
                <a:gd name="connsiteX2902" fmla="*/ 2931 w 10746"/>
                <a:gd name="connsiteY2902" fmla="*/ 7615 h 10000"/>
                <a:gd name="connsiteX2903" fmla="*/ 2935 w 10746"/>
                <a:gd name="connsiteY2903" fmla="*/ 7615 h 10000"/>
                <a:gd name="connsiteX2904" fmla="*/ 2945 w 10746"/>
                <a:gd name="connsiteY2904" fmla="*/ 7650 h 10000"/>
                <a:gd name="connsiteX2905" fmla="*/ 2949 w 10746"/>
                <a:gd name="connsiteY2905" fmla="*/ 7667 h 10000"/>
                <a:gd name="connsiteX2906" fmla="*/ 2949 w 10746"/>
                <a:gd name="connsiteY2906" fmla="*/ 7675 h 10000"/>
                <a:gd name="connsiteX2907" fmla="*/ 2945 w 10746"/>
                <a:gd name="connsiteY2907" fmla="*/ 7692 h 10000"/>
                <a:gd name="connsiteX2908" fmla="*/ 2963 w 10746"/>
                <a:gd name="connsiteY2908" fmla="*/ 7701 h 10000"/>
                <a:gd name="connsiteX2909" fmla="*/ 2963 w 10746"/>
                <a:gd name="connsiteY2909" fmla="*/ 7675 h 10000"/>
                <a:gd name="connsiteX2910" fmla="*/ 2954 w 10746"/>
                <a:gd name="connsiteY2910" fmla="*/ 7667 h 10000"/>
                <a:gd name="connsiteX2911" fmla="*/ 2963 w 10746"/>
                <a:gd name="connsiteY2911" fmla="*/ 7667 h 10000"/>
                <a:gd name="connsiteX2912" fmla="*/ 2982 w 10746"/>
                <a:gd name="connsiteY2912" fmla="*/ 7667 h 10000"/>
                <a:gd name="connsiteX2913" fmla="*/ 2991 w 10746"/>
                <a:gd name="connsiteY2913" fmla="*/ 7675 h 10000"/>
                <a:gd name="connsiteX2914" fmla="*/ 2995 w 10746"/>
                <a:gd name="connsiteY2914" fmla="*/ 7692 h 10000"/>
                <a:gd name="connsiteX2915" fmla="*/ 3009 w 10746"/>
                <a:gd name="connsiteY2915" fmla="*/ 7701 h 10000"/>
                <a:gd name="connsiteX2916" fmla="*/ 3018 w 10746"/>
                <a:gd name="connsiteY2916" fmla="*/ 7701 h 10000"/>
                <a:gd name="connsiteX2917" fmla="*/ 3023 w 10746"/>
                <a:gd name="connsiteY2917" fmla="*/ 7692 h 10000"/>
                <a:gd name="connsiteX2918" fmla="*/ 3028 w 10746"/>
                <a:gd name="connsiteY2918" fmla="*/ 7675 h 10000"/>
                <a:gd name="connsiteX2919" fmla="*/ 3037 w 10746"/>
                <a:gd name="connsiteY2919" fmla="*/ 7692 h 10000"/>
                <a:gd name="connsiteX2920" fmla="*/ 3028 w 10746"/>
                <a:gd name="connsiteY2920" fmla="*/ 7709 h 10000"/>
                <a:gd name="connsiteX2921" fmla="*/ 3023 w 10746"/>
                <a:gd name="connsiteY2921" fmla="*/ 7709 h 10000"/>
                <a:gd name="connsiteX2922" fmla="*/ 3018 w 10746"/>
                <a:gd name="connsiteY2922" fmla="*/ 7726 h 10000"/>
                <a:gd name="connsiteX2923" fmla="*/ 3009 w 10746"/>
                <a:gd name="connsiteY2923" fmla="*/ 7735 h 10000"/>
                <a:gd name="connsiteX2924" fmla="*/ 3009 w 10746"/>
                <a:gd name="connsiteY2924" fmla="*/ 7761 h 10000"/>
                <a:gd name="connsiteX2925" fmla="*/ 3009 w 10746"/>
                <a:gd name="connsiteY2925" fmla="*/ 7778 h 10000"/>
                <a:gd name="connsiteX2926" fmla="*/ 3018 w 10746"/>
                <a:gd name="connsiteY2926" fmla="*/ 7786 h 10000"/>
                <a:gd name="connsiteX2927" fmla="*/ 3023 w 10746"/>
                <a:gd name="connsiteY2927" fmla="*/ 7786 h 10000"/>
                <a:gd name="connsiteX2928" fmla="*/ 3028 w 10746"/>
                <a:gd name="connsiteY2928" fmla="*/ 7778 h 10000"/>
                <a:gd name="connsiteX2929" fmla="*/ 3051 w 10746"/>
                <a:gd name="connsiteY2929" fmla="*/ 7761 h 10000"/>
                <a:gd name="connsiteX2930" fmla="*/ 3055 w 10746"/>
                <a:gd name="connsiteY2930" fmla="*/ 7778 h 10000"/>
                <a:gd name="connsiteX2931" fmla="*/ 3065 w 10746"/>
                <a:gd name="connsiteY2931" fmla="*/ 7761 h 10000"/>
                <a:gd name="connsiteX2932" fmla="*/ 3069 w 10746"/>
                <a:gd name="connsiteY2932" fmla="*/ 7786 h 10000"/>
                <a:gd name="connsiteX2933" fmla="*/ 3083 w 10746"/>
                <a:gd name="connsiteY2933" fmla="*/ 7786 h 10000"/>
                <a:gd name="connsiteX2934" fmla="*/ 3078 w 10746"/>
                <a:gd name="connsiteY2934" fmla="*/ 7761 h 10000"/>
                <a:gd name="connsiteX2935" fmla="*/ 3083 w 10746"/>
                <a:gd name="connsiteY2935" fmla="*/ 7752 h 10000"/>
                <a:gd name="connsiteX2936" fmla="*/ 3097 w 10746"/>
                <a:gd name="connsiteY2936" fmla="*/ 7752 h 10000"/>
                <a:gd name="connsiteX2937" fmla="*/ 3111 w 10746"/>
                <a:gd name="connsiteY2937" fmla="*/ 7726 h 10000"/>
                <a:gd name="connsiteX2938" fmla="*/ 3124 w 10746"/>
                <a:gd name="connsiteY2938" fmla="*/ 7709 h 10000"/>
                <a:gd name="connsiteX2939" fmla="*/ 3143 w 10746"/>
                <a:gd name="connsiteY2939" fmla="*/ 7692 h 10000"/>
                <a:gd name="connsiteX2940" fmla="*/ 3152 w 10746"/>
                <a:gd name="connsiteY2940" fmla="*/ 7667 h 10000"/>
                <a:gd name="connsiteX2941" fmla="*/ 3157 w 10746"/>
                <a:gd name="connsiteY2941" fmla="*/ 7650 h 10000"/>
                <a:gd name="connsiteX2942" fmla="*/ 3161 w 10746"/>
                <a:gd name="connsiteY2942" fmla="*/ 7650 h 10000"/>
                <a:gd name="connsiteX2943" fmla="*/ 3189 w 10746"/>
                <a:gd name="connsiteY2943" fmla="*/ 7641 h 10000"/>
                <a:gd name="connsiteX2944" fmla="*/ 3198 w 10746"/>
                <a:gd name="connsiteY2944" fmla="*/ 7624 h 10000"/>
                <a:gd name="connsiteX2945" fmla="*/ 3217 w 10746"/>
                <a:gd name="connsiteY2945" fmla="*/ 7615 h 10000"/>
                <a:gd name="connsiteX2946" fmla="*/ 3235 w 10746"/>
                <a:gd name="connsiteY2946" fmla="*/ 7598 h 10000"/>
                <a:gd name="connsiteX2947" fmla="*/ 3235 w 10746"/>
                <a:gd name="connsiteY2947" fmla="*/ 7615 h 10000"/>
                <a:gd name="connsiteX2948" fmla="*/ 3235 w 10746"/>
                <a:gd name="connsiteY2948" fmla="*/ 7641 h 10000"/>
                <a:gd name="connsiteX2949" fmla="*/ 3235 w 10746"/>
                <a:gd name="connsiteY2949" fmla="*/ 7650 h 10000"/>
                <a:gd name="connsiteX2950" fmla="*/ 3226 w 10746"/>
                <a:gd name="connsiteY2950" fmla="*/ 7650 h 10000"/>
                <a:gd name="connsiteX2951" fmla="*/ 3217 w 10746"/>
                <a:gd name="connsiteY2951" fmla="*/ 7650 h 10000"/>
                <a:gd name="connsiteX2952" fmla="*/ 3212 w 10746"/>
                <a:gd name="connsiteY2952" fmla="*/ 7675 h 10000"/>
                <a:gd name="connsiteX2953" fmla="*/ 3212 w 10746"/>
                <a:gd name="connsiteY2953" fmla="*/ 7675 h 10000"/>
                <a:gd name="connsiteX0" fmla="*/ 3212 w 10746"/>
                <a:gd name="connsiteY0" fmla="*/ 7675 h 10000"/>
                <a:gd name="connsiteX1" fmla="*/ 3217 w 10746"/>
                <a:gd name="connsiteY1" fmla="*/ 7692 h 10000"/>
                <a:gd name="connsiteX2" fmla="*/ 3226 w 10746"/>
                <a:gd name="connsiteY2" fmla="*/ 7692 h 10000"/>
                <a:gd name="connsiteX3" fmla="*/ 3309 w 10746"/>
                <a:gd name="connsiteY3" fmla="*/ 7838 h 10000"/>
                <a:gd name="connsiteX4" fmla="*/ 3452 w 10746"/>
                <a:gd name="connsiteY4" fmla="*/ 8325 h 10000"/>
                <a:gd name="connsiteX5" fmla="*/ 3470 w 10746"/>
                <a:gd name="connsiteY5" fmla="*/ 8299 h 10000"/>
                <a:gd name="connsiteX6" fmla="*/ 3470 w 10746"/>
                <a:gd name="connsiteY6" fmla="*/ 8282 h 10000"/>
                <a:gd name="connsiteX7" fmla="*/ 3470 w 10746"/>
                <a:gd name="connsiteY7" fmla="*/ 8274 h 10000"/>
                <a:gd name="connsiteX8" fmla="*/ 3484 w 10746"/>
                <a:gd name="connsiteY8" fmla="*/ 8231 h 10000"/>
                <a:gd name="connsiteX9" fmla="*/ 3498 w 10746"/>
                <a:gd name="connsiteY9" fmla="*/ 8231 h 10000"/>
                <a:gd name="connsiteX10" fmla="*/ 3498 w 10746"/>
                <a:gd name="connsiteY10" fmla="*/ 8248 h 10000"/>
                <a:gd name="connsiteX11" fmla="*/ 3512 w 10746"/>
                <a:gd name="connsiteY11" fmla="*/ 8256 h 10000"/>
                <a:gd name="connsiteX12" fmla="*/ 3525 w 10746"/>
                <a:gd name="connsiteY12" fmla="*/ 8274 h 10000"/>
                <a:gd name="connsiteX13" fmla="*/ 3525 w 10746"/>
                <a:gd name="connsiteY13" fmla="*/ 8282 h 10000"/>
                <a:gd name="connsiteX14" fmla="*/ 3525 w 10746"/>
                <a:gd name="connsiteY14" fmla="*/ 8308 h 10000"/>
                <a:gd name="connsiteX15" fmla="*/ 3530 w 10746"/>
                <a:gd name="connsiteY15" fmla="*/ 8308 h 10000"/>
                <a:gd name="connsiteX16" fmla="*/ 3539 w 10746"/>
                <a:gd name="connsiteY16" fmla="*/ 8333 h 10000"/>
                <a:gd name="connsiteX17" fmla="*/ 3571 w 10746"/>
                <a:gd name="connsiteY17" fmla="*/ 8333 h 10000"/>
                <a:gd name="connsiteX18" fmla="*/ 3590 w 10746"/>
                <a:gd name="connsiteY18" fmla="*/ 8350 h 10000"/>
                <a:gd name="connsiteX19" fmla="*/ 3599 w 10746"/>
                <a:gd name="connsiteY19" fmla="*/ 8333 h 10000"/>
                <a:gd name="connsiteX20" fmla="*/ 3618 w 10746"/>
                <a:gd name="connsiteY20" fmla="*/ 8333 h 10000"/>
                <a:gd name="connsiteX21" fmla="*/ 3618 w 10746"/>
                <a:gd name="connsiteY21" fmla="*/ 8325 h 10000"/>
                <a:gd name="connsiteX22" fmla="*/ 3627 w 10746"/>
                <a:gd name="connsiteY22" fmla="*/ 8308 h 10000"/>
                <a:gd name="connsiteX23" fmla="*/ 3641 w 10746"/>
                <a:gd name="connsiteY23" fmla="*/ 8308 h 10000"/>
                <a:gd name="connsiteX24" fmla="*/ 3645 w 10746"/>
                <a:gd name="connsiteY24" fmla="*/ 8308 h 10000"/>
                <a:gd name="connsiteX25" fmla="*/ 3650 w 10746"/>
                <a:gd name="connsiteY25" fmla="*/ 8299 h 10000"/>
                <a:gd name="connsiteX26" fmla="*/ 3659 w 10746"/>
                <a:gd name="connsiteY26" fmla="*/ 8282 h 10000"/>
                <a:gd name="connsiteX27" fmla="*/ 3677 w 10746"/>
                <a:gd name="connsiteY27" fmla="*/ 8299 h 10000"/>
                <a:gd name="connsiteX28" fmla="*/ 3687 w 10746"/>
                <a:gd name="connsiteY28" fmla="*/ 8299 h 10000"/>
                <a:gd name="connsiteX29" fmla="*/ 3691 w 10746"/>
                <a:gd name="connsiteY29" fmla="*/ 8325 h 10000"/>
                <a:gd name="connsiteX30" fmla="*/ 3700 w 10746"/>
                <a:gd name="connsiteY30" fmla="*/ 8325 h 10000"/>
                <a:gd name="connsiteX31" fmla="*/ 3714 w 10746"/>
                <a:gd name="connsiteY31" fmla="*/ 8359 h 10000"/>
                <a:gd name="connsiteX32" fmla="*/ 3719 w 10746"/>
                <a:gd name="connsiteY32" fmla="*/ 8359 h 10000"/>
                <a:gd name="connsiteX33" fmla="*/ 3724 w 10746"/>
                <a:gd name="connsiteY33" fmla="*/ 8368 h 10000"/>
                <a:gd name="connsiteX34" fmla="*/ 3719 w 10746"/>
                <a:gd name="connsiteY34" fmla="*/ 8393 h 10000"/>
                <a:gd name="connsiteX35" fmla="*/ 3724 w 10746"/>
                <a:gd name="connsiteY35" fmla="*/ 8410 h 10000"/>
                <a:gd name="connsiteX36" fmla="*/ 3724 w 10746"/>
                <a:gd name="connsiteY36" fmla="*/ 8436 h 10000"/>
                <a:gd name="connsiteX37" fmla="*/ 3737 w 10746"/>
                <a:gd name="connsiteY37" fmla="*/ 8436 h 10000"/>
                <a:gd name="connsiteX38" fmla="*/ 3765 w 10746"/>
                <a:gd name="connsiteY38" fmla="*/ 8462 h 10000"/>
                <a:gd name="connsiteX39" fmla="*/ 3765 w 10746"/>
                <a:gd name="connsiteY39" fmla="*/ 8470 h 10000"/>
                <a:gd name="connsiteX40" fmla="*/ 3765 w 10746"/>
                <a:gd name="connsiteY40" fmla="*/ 8496 h 10000"/>
                <a:gd name="connsiteX41" fmla="*/ 3774 w 10746"/>
                <a:gd name="connsiteY41" fmla="*/ 8496 h 10000"/>
                <a:gd name="connsiteX42" fmla="*/ 3779 w 10746"/>
                <a:gd name="connsiteY42" fmla="*/ 8504 h 10000"/>
                <a:gd name="connsiteX43" fmla="*/ 3793 w 10746"/>
                <a:gd name="connsiteY43" fmla="*/ 8547 h 10000"/>
                <a:gd name="connsiteX44" fmla="*/ 3797 w 10746"/>
                <a:gd name="connsiteY44" fmla="*/ 8547 h 10000"/>
                <a:gd name="connsiteX45" fmla="*/ 3820 w 10746"/>
                <a:gd name="connsiteY45" fmla="*/ 8556 h 10000"/>
                <a:gd name="connsiteX46" fmla="*/ 3834 w 10746"/>
                <a:gd name="connsiteY46" fmla="*/ 8573 h 10000"/>
                <a:gd name="connsiteX47" fmla="*/ 3853 w 10746"/>
                <a:gd name="connsiteY47" fmla="*/ 8573 h 10000"/>
                <a:gd name="connsiteX48" fmla="*/ 3857 w 10746"/>
                <a:gd name="connsiteY48" fmla="*/ 8556 h 10000"/>
                <a:gd name="connsiteX49" fmla="*/ 3866 w 10746"/>
                <a:gd name="connsiteY49" fmla="*/ 8547 h 10000"/>
                <a:gd name="connsiteX50" fmla="*/ 3880 w 10746"/>
                <a:gd name="connsiteY50" fmla="*/ 8530 h 10000"/>
                <a:gd name="connsiteX51" fmla="*/ 3885 w 10746"/>
                <a:gd name="connsiteY51" fmla="*/ 8547 h 10000"/>
                <a:gd name="connsiteX52" fmla="*/ 3885 w 10746"/>
                <a:gd name="connsiteY52" fmla="*/ 8573 h 10000"/>
                <a:gd name="connsiteX53" fmla="*/ 3899 w 10746"/>
                <a:gd name="connsiteY53" fmla="*/ 8573 h 10000"/>
                <a:gd name="connsiteX54" fmla="*/ 3908 w 10746"/>
                <a:gd name="connsiteY54" fmla="*/ 8607 h 10000"/>
                <a:gd name="connsiteX55" fmla="*/ 3912 w 10746"/>
                <a:gd name="connsiteY55" fmla="*/ 8615 h 10000"/>
                <a:gd name="connsiteX56" fmla="*/ 3922 w 10746"/>
                <a:gd name="connsiteY56" fmla="*/ 8632 h 10000"/>
                <a:gd name="connsiteX57" fmla="*/ 3908 w 10746"/>
                <a:gd name="connsiteY57" fmla="*/ 8692 h 10000"/>
                <a:gd name="connsiteX58" fmla="*/ 3908 w 10746"/>
                <a:gd name="connsiteY58" fmla="*/ 8692 h 10000"/>
                <a:gd name="connsiteX59" fmla="*/ 3931 w 10746"/>
                <a:gd name="connsiteY59" fmla="*/ 8709 h 10000"/>
                <a:gd name="connsiteX60" fmla="*/ 3954 w 10746"/>
                <a:gd name="connsiteY60" fmla="*/ 8667 h 10000"/>
                <a:gd name="connsiteX61" fmla="*/ 3959 w 10746"/>
                <a:gd name="connsiteY61" fmla="*/ 8667 h 10000"/>
                <a:gd name="connsiteX62" fmla="*/ 3972 w 10746"/>
                <a:gd name="connsiteY62" fmla="*/ 8615 h 10000"/>
                <a:gd name="connsiteX63" fmla="*/ 3995 w 10746"/>
                <a:gd name="connsiteY63" fmla="*/ 8581 h 10000"/>
                <a:gd name="connsiteX64" fmla="*/ 4032 w 10746"/>
                <a:gd name="connsiteY64" fmla="*/ 8556 h 10000"/>
                <a:gd name="connsiteX65" fmla="*/ 4138 w 10746"/>
                <a:gd name="connsiteY65" fmla="*/ 8419 h 10000"/>
                <a:gd name="connsiteX66" fmla="*/ 4249 w 10746"/>
                <a:gd name="connsiteY66" fmla="*/ 8359 h 10000"/>
                <a:gd name="connsiteX67" fmla="*/ 4295 w 10746"/>
                <a:gd name="connsiteY67" fmla="*/ 8385 h 10000"/>
                <a:gd name="connsiteX68" fmla="*/ 4309 w 10746"/>
                <a:gd name="connsiteY68" fmla="*/ 8410 h 10000"/>
                <a:gd name="connsiteX69" fmla="*/ 4355 w 10746"/>
                <a:gd name="connsiteY69" fmla="*/ 8393 h 10000"/>
                <a:gd name="connsiteX70" fmla="*/ 4382 w 10746"/>
                <a:gd name="connsiteY70" fmla="*/ 8393 h 10000"/>
                <a:gd name="connsiteX71" fmla="*/ 4419 w 10746"/>
                <a:gd name="connsiteY71" fmla="*/ 8487 h 10000"/>
                <a:gd name="connsiteX72" fmla="*/ 4442 w 10746"/>
                <a:gd name="connsiteY72" fmla="*/ 8487 h 10000"/>
                <a:gd name="connsiteX73" fmla="*/ 4493 w 10746"/>
                <a:gd name="connsiteY73" fmla="*/ 8470 h 10000"/>
                <a:gd name="connsiteX74" fmla="*/ 4516 w 10746"/>
                <a:gd name="connsiteY74" fmla="*/ 8487 h 10000"/>
                <a:gd name="connsiteX75" fmla="*/ 4608 w 10746"/>
                <a:gd name="connsiteY75" fmla="*/ 8470 h 10000"/>
                <a:gd name="connsiteX76" fmla="*/ 4622 w 10746"/>
                <a:gd name="connsiteY76" fmla="*/ 8470 h 10000"/>
                <a:gd name="connsiteX77" fmla="*/ 4618 w 10746"/>
                <a:gd name="connsiteY77" fmla="*/ 8419 h 10000"/>
                <a:gd name="connsiteX78" fmla="*/ 4622 w 10746"/>
                <a:gd name="connsiteY78" fmla="*/ 8385 h 10000"/>
                <a:gd name="connsiteX79" fmla="*/ 4636 w 10746"/>
                <a:gd name="connsiteY79" fmla="*/ 8350 h 10000"/>
                <a:gd name="connsiteX80" fmla="*/ 4636 w 10746"/>
                <a:gd name="connsiteY80" fmla="*/ 8325 h 10000"/>
                <a:gd name="connsiteX81" fmla="*/ 4622 w 10746"/>
                <a:gd name="connsiteY81" fmla="*/ 8282 h 10000"/>
                <a:gd name="connsiteX82" fmla="*/ 4618 w 10746"/>
                <a:gd name="connsiteY82" fmla="*/ 8248 h 10000"/>
                <a:gd name="connsiteX83" fmla="*/ 4618 w 10746"/>
                <a:gd name="connsiteY83" fmla="*/ 8214 h 10000"/>
                <a:gd name="connsiteX84" fmla="*/ 4691 w 10746"/>
                <a:gd name="connsiteY84" fmla="*/ 8077 h 10000"/>
                <a:gd name="connsiteX85" fmla="*/ 4700 w 10746"/>
                <a:gd name="connsiteY85" fmla="*/ 8060 h 10000"/>
                <a:gd name="connsiteX86" fmla="*/ 4728 w 10746"/>
                <a:gd name="connsiteY86" fmla="*/ 8077 h 10000"/>
                <a:gd name="connsiteX87" fmla="*/ 4751 w 10746"/>
                <a:gd name="connsiteY87" fmla="*/ 8094 h 10000"/>
                <a:gd name="connsiteX88" fmla="*/ 4788 w 10746"/>
                <a:gd name="connsiteY88" fmla="*/ 8120 h 10000"/>
                <a:gd name="connsiteX89" fmla="*/ 4802 w 10746"/>
                <a:gd name="connsiteY89" fmla="*/ 8162 h 10000"/>
                <a:gd name="connsiteX90" fmla="*/ 4885 w 10746"/>
                <a:gd name="connsiteY90" fmla="*/ 8197 h 10000"/>
                <a:gd name="connsiteX91" fmla="*/ 4889 w 10746"/>
                <a:gd name="connsiteY91" fmla="*/ 8231 h 10000"/>
                <a:gd name="connsiteX92" fmla="*/ 4899 w 10746"/>
                <a:gd name="connsiteY92" fmla="*/ 8333 h 10000"/>
                <a:gd name="connsiteX93" fmla="*/ 4903 w 10746"/>
                <a:gd name="connsiteY93" fmla="*/ 8333 h 10000"/>
                <a:gd name="connsiteX94" fmla="*/ 4949 w 10746"/>
                <a:gd name="connsiteY94" fmla="*/ 8410 h 10000"/>
                <a:gd name="connsiteX95" fmla="*/ 4991 w 10746"/>
                <a:gd name="connsiteY95" fmla="*/ 8436 h 10000"/>
                <a:gd name="connsiteX96" fmla="*/ 5023 w 10746"/>
                <a:gd name="connsiteY96" fmla="*/ 8419 h 10000"/>
                <a:gd name="connsiteX97" fmla="*/ 5092 w 10746"/>
                <a:gd name="connsiteY97" fmla="*/ 8359 h 10000"/>
                <a:gd name="connsiteX98" fmla="*/ 5180 w 10746"/>
                <a:gd name="connsiteY98" fmla="*/ 8410 h 10000"/>
                <a:gd name="connsiteX99" fmla="*/ 5189 w 10746"/>
                <a:gd name="connsiteY99" fmla="*/ 8436 h 10000"/>
                <a:gd name="connsiteX100" fmla="*/ 5198 w 10746"/>
                <a:gd name="connsiteY100" fmla="*/ 8436 h 10000"/>
                <a:gd name="connsiteX101" fmla="*/ 5226 w 10746"/>
                <a:gd name="connsiteY101" fmla="*/ 8487 h 10000"/>
                <a:gd name="connsiteX102" fmla="*/ 5276 w 10746"/>
                <a:gd name="connsiteY102" fmla="*/ 8504 h 10000"/>
                <a:gd name="connsiteX103" fmla="*/ 5290 w 10746"/>
                <a:gd name="connsiteY103" fmla="*/ 8556 h 10000"/>
                <a:gd name="connsiteX104" fmla="*/ 5323 w 10746"/>
                <a:gd name="connsiteY104" fmla="*/ 8598 h 10000"/>
                <a:gd name="connsiteX105" fmla="*/ 5447 w 10746"/>
                <a:gd name="connsiteY105" fmla="*/ 8615 h 10000"/>
                <a:gd name="connsiteX106" fmla="*/ 5465 w 10746"/>
                <a:gd name="connsiteY106" fmla="*/ 8632 h 10000"/>
                <a:gd name="connsiteX107" fmla="*/ 5604 w 10746"/>
                <a:gd name="connsiteY107" fmla="*/ 8556 h 10000"/>
                <a:gd name="connsiteX108" fmla="*/ 5677 w 10746"/>
                <a:gd name="connsiteY108" fmla="*/ 8462 h 10000"/>
                <a:gd name="connsiteX109" fmla="*/ 5705 w 10746"/>
                <a:gd name="connsiteY109" fmla="*/ 8444 h 10000"/>
                <a:gd name="connsiteX110" fmla="*/ 5737 w 10746"/>
                <a:gd name="connsiteY110" fmla="*/ 8470 h 10000"/>
                <a:gd name="connsiteX111" fmla="*/ 5760 w 10746"/>
                <a:gd name="connsiteY111" fmla="*/ 8496 h 10000"/>
                <a:gd name="connsiteX112" fmla="*/ 5788 w 10746"/>
                <a:gd name="connsiteY112" fmla="*/ 8504 h 10000"/>
                <a:gd name="connsiteX113" fmla="*/ 5806 w 10746"/>
                <a:gd name="connsiteY113" fmla="*/ 8496 h 10000"/>
                <a:gd name="connsiteX114" fmla="*/ 5820 w 10746"/>
                <a:gd name="connsiteY114" fmla="*/ 8487 h 10000"/>
                <a:gd name="connsiteX115" fmla="*/ 5825 w 10746"/>
                <a:gd name="connsiteY115" fmla="*/ 8487 h 10000"/>
                <a:gd name="connsiteX116" fmla="*/ 5825 w 10746"/>
                <a:gd name="connsiteY116" fmla="*/ 8487 h 10000"/>
                <a:gd name="connsiteX117" fmla="*/ 5926 w 10746"/>
                <a:gd name="connsiteY117" fmla="*/ 8556 h 10000"/>
                <a:gd name="connsiteX118" fmla="*/ 5940 w 10746"/>
                <a:gd name="connsiteY118" fmla="*/ 8556 h 10000"/>
                <a:gd name="connsiteX119" fmla="*/ 6014 w 10746"/>
                <a:gd name="connsiteY119" fmla="*/ 8470 h 10000"/>
                <a:gd name="connsiteX120" fmla="*/ 6018 w 10746"/>
                <a:gd name="connsiteY120" fmla="*/ 8444 h 10000"/>
                <a:gd name="connsiteX121" fmla="*/ 6014 w 10746"/>
                <a:gd name="connsiteY121" fmla="*/ 8419 h 10000"/>
                <a:gd name="connsiteX122" fmla="*/ 6018 w 10746"/>
                <a:gd name="connsiteY122" fmla="*/ 8393 h 10000"/>
                <a:gd name="connsiteX123" fmla="*/ 6041 w 10746"/>
                <a:gd name="connsiteY123" fmla="*/ 8333 h 10000"/>
                <a:gd name="connsiteX124" fmla="*/ 6069 w 10746"/>
                <a:gd name="connsiteY124" fmla="*/ 8188 h 10000"/>
                <a:gd name="connsiteX125" fmla="*/ 6088 w 10746"/>
                <a:gd name="connsiteY125" fmla="*/ 8162 h 10000"/>
                <a:gd name="connsiteX126" fmla="*/ 6115 w 10746"/>
                <a:gd name="connsiteY126" fmla="*/ 8094 h 10000"/>
                <a:gd name="connsiteX127" fmla="*/ 6115 w 10746"/>
                <a:gd name="connsiteY127" fmla="*/ 8094 h 10000"/>
                <a:gd name="connsiteX128" fmla="*/ 6106 w 10746"/>
                <a:gd name="connsiteY128" fmla="*/ 8077 h 10000"/>
                <a:gd name="connsiteX129" fmla="*/ 6106 w 10746"/>
                <a:gd name="connsiteY129" fmla="*/ 8009 h 10000"/>
                <a:gd name="connsiteX130" fmla="*/ 6101 w 10746"/>
                <a:gd name="connsiteY130" fmla="*/ 8000 h 10000"/>
                <a:gd name="connsiteX131" fmla="*/ 6069 w 10746"/>
                <a:gd name="connsiteY131" fmla="*/ 8009 h 10000"/>
                <a:gd name="connsiteX132" fmla="*/ 6069 w 10746"/>
                <a:gd name="connsiteY132" fmla="*/ 8000 h 10000"/>
                <a:gd name="connsiteX133" fmla="*/ 6069 w 10746"/>
                <a:gd name="connsiteY133" fmla="*/ 7974 h 10000"/>
                <a:gd name="connsiteX134" fmla="*/ 6101 w 10746"/>
                <a:gd name="connsiteY134" fmla="*/ 7923 h 10000"/>
                <a:gd name="connsiteX135" fmla="*/ 6106 w 10746"/>
                <a:gd name="connsiteY135" fmla="*/ 7889 h 10000"/>
                <a:gd name="connsiteX136" fmla="*/ 6129 w 10746"/>
                <a:gd name="connsiteY136" fmla="*/ 7863 h 10000"/>
                <a:gd name="connsiteX137" fmla="*/ 6300 w 10746"/>
                <a:gd name="connsiteY137" fmla="*/ 7812 h 10000"/>
                <a:gd name="connsiteX138" fmla="*/ 6359 w 10746"/>
                <a:gd name="connsiteY138" fmla="*/ 7872 h 10000"/>
                <a:gd name="connsiteX139" fmla="*/ 6373 w 10746"/>
                <a:gd name="connsiteY139" fmla="*/ 7889 h 10000"/>
                <a:gd name="connsiteX140" fmla="*/ 6401 w 10746"/>
                <a:gd name="connsiteY140" fmla="*/ 7889 h 10000"/>
                <a:gd name="connsiteX141" fmla="*/ 6433 w 10746"/>
                <a:gd name="connsiteY141" fmla="*/ 7915 h 10000"/>
                <a:gd name="connsiteX142" fmla="*/ 6461 w 10746"/>
                <a:gd name="connsiteY142" fmla="*/ 7974 h 10000"/>
                <a:gd name="connsiteX143" fmla="*/ 6461 w 10746"/>
                <a:gd name="connsiteY143" fmla="*/ 8000 h 10000"/>
                <a:gd name="connsiteX144" fmla="*/ 6484 w 10746"/>
                <a:gd name="connsiteY144" fmla="*/ 8034 h 10000"/>
                <a:gd name="connsiteX145" fmla="*/ 6484 w 10746"/>
                <a:gd name="connsiteY145" fmla="*/ 8051 h 10000"/>
                <a:gd name="connsiteX146" fmla="*/ 6484 w 10746"/>
                <a:gd name="connsiteY146" fmla="*/ 8034 h 10000"/>
                <a:gd name="connsiteX147" fmla="*/ 6558 w 10746"/>
                <a:gd name="connsiteY147" fmla="*/ 8444 h 10000"/>
                <a:gd name="connsiteX148" fmla="*/ 6558 w 10746"/>
                <a:gd name="connsiteY148" fmla="*/ 8462 h 10000"/>
                <a:gd name="connsiteX149" fmla="*/ 6558 w 10746"/>
                <a:gd name="connsiteY149" fmla="*/ 8462 h 10000"/>
                <a:gd name="connsiteX150" fmla="*/ 6562 w 10746"/>
                <a:gd name="connsiteY150" fmla="*/ 8547 h 10000"/>
                <a:gd name="connsiteX151" fmla="*/ 6576 w 10746"/>
                <a:gd name="connsiteY151" fmla="*/ 8573 h 10000"/>
                <a:gd name="connsiteX152" fmla="*/ 6604 w 10746"/>
                <a:gd name="connsiteY152" fmla="*/ 8581 h 10000"/>
                <a:gd name="connsiteX153" fmla="*/ 6631 w 10746"/>
                <a:gd name="connsiteY153" fmla="*/ 8556 h 10000"/>
                <a:gd name="connsiteX154" fmla="*/ 6691 w 10746"/>
                <a:gd name="connsiteY154" fmla="*/ 8607 h 10000"/>
                <a:gd name="connsiteX155" fmla="*/ 6728 w 10746"/>
                <a:gd name="connsiteY155" fmla="*/ 8667 h 10000"/>
                <a:gd name="connsiteX156" fmla="*/ 6742 w 10746"/>
                <a:gd name="connsiteY156" fmla="*/ 8684 h 10000"/>
                <a:gd name="connsiteX157" fmla="*/ 6765 w 10746"/>
                <a:gd name="connsiteY157" fmla="*/ 8684 h 10000"/>
                <a:gd name="connsiteX158" fmla="*/ 6765 w 10746"/>
                <a:gd name="connsiteY158" fmla="*/ 8709 h 10000"/>
                <a:gd name="connsiteX159" fmla="*/ 6765 w 10746"/>
                <a:gd name="connsiteY159" fmla="*/ 8709 h 10000"/>
                <a:gd name="connsiteX160" fmla="*/ 6770 w 10746"/>
                <a:gd name="connsiteY160" fmla="*/ 8709 h 10000"/>
                <a:gd name="connsiteX161" fmla="*/ 6770 w 10746"/>
                <a:gd name="connsiteY161" fmla="*/ 8744 h 10000"/>
                <a:gd name="connsiteX162" fmla="*/ 6779 w 10746"/>
                <a:gd name="connsiteY162" fmla="*/ 8769 h 10000"/>
                <a:gd name="connsiteX163" fmla="*/ 6779 w 10746"/>
                <a:gd name="connsiteY163" fmla="*/ 8846 h 10000"/>
                <a:gd name="connsiteX164" fmla="*/ 6797 w 10746"/>
                <a:gd name="connsiteY164" fmla="*/ 8906 h 10000"/>
                <a:gd name="connsiteX165" fmla="*/ 6816 w 10746"/>
                <a:gd name="connsiteY165" fmla="*/ 8906 h 10000"/>
                <a:gd name="connsiteX166" fmla="*/ 6843 w 10746"/>
                <a:gd name="connsiteY166" fmla="*/ 8915 h 10000"/>
                <a:gd name="connsiteX167" fmla="*/ 6862 w 10746"/>
                <a:gd name="connsiteY167" fmla="*/ 8906 h 10000"/>
                <a:gd name="connsiteX168" fmla="*/ 6935 w 10746"/>
                <a:gd name="connsiteY168" fmla="*/ 8829 h 10000"/>
                <a:gd name="connsiteX169" fmla="*/ 6963 w 10746"/>
                <a:gd name="connsiteY169" fmla="*/ 8829 h 10000"/>
                <a:gd name="connsiteX170" fmla="*/ 7046 w 10746"/>
                <a:gd name="connsiteY170" fmla="*/ 8769 h 10000"/>
                <a:gd name="connsiteX171" fmla="*/ 7046 w 10746"/>
                <a:gd name="connsiteY171" fmla="*/ 8769 h 10000"/>
                <a:gd name="connsiteX172" fmla="*/ 7032 w 10746"/>
                <a:gd name="connsiteY172" fmla="*/ 8803 h 10000"/>
                <a:gd name="connsiteX173" fmla="*/ 7032 w 10746"/>
                <a:gd name="connsiteY173" fmla="*/ 8846 h 10000"/>
                <a:gd name="connsiteX174" fmla="*/ 7037 w 10746"/>
                <a:gd name="connsiteY174" fmla="*/ 8880 h 10000"/>
                <a:gd name="connsiteX175" fmla="*/ 7037 w 10746"/>
                <a:gd name="connsiteY175" fmla="*/ 8932 h 10000"/>
                <a:gd name="connsiteX176" fmla="*/ 7005 w 10746"/>
                <a:gd name="connsiteY176" fmla="*/ 8983 h 10000"/>
                <a:gd name="connsiteX177" fmla="*/ 6977 w 10746"/>
                <a:gd name="connsiteY177" fmla="*/ 9188 h 10000"/>
                <a:gd name="connsiteX178" fmla="*/ 6935 w 10746"/>
                <a:gd name="connsiteY178" fmla="*/ 9316 h 10000"/>
                <a:gd name="connsiteX179" fmla="*/ 6931 w 10746"/>
                <a:gd name="connsiteY179" fmla="*/ 9368 h 10000"/>
                <a:gd name="connsiteX180" fmla="*/ 6917 w 10746"/>
                <a:gd name="connsiteY180" fmla="*/ 9376 h 10000"/>
                <a:gd name="connsiteX181" fmla="*/ 6912 w 10746"/>
                <a:gd name="connsiteY181" fmla="*/ 9376 h 10000"/>
                <a:gd name="connsiteX182" fmla="*/ 6848 w 10746"/>
                <a:gd name="connsiteY182" fmla="*/ 9342 h 10000"/>
                <a:gd name="connsiteX183" fmla="*/ 6788 w 10746"/>
                <a:gd name="connsiteY183" fmla="*/ 9436 h 10000"/>
                <a:gd name="connsiteX184" fmla="*/ 6802 w 10746"/>
                <a:gd name="connsiteY184" fmla="*/ 9462 h 10000"/>
                <a:gd name="connsiteX185" fmla="*/ 6811 w 10746"/>
                <a:gd name="connsiteY185" fmla="*/ 9667 h 10000"/>
                <a:gd name="connsiteX186" fmla="*/ 6788 w 10746"/>
                <a:gd name="connsiteY186" fmla="*/ 9709 h 10000"/>
                <a:gd name="connsiteX187" fmla="*/ 6765 w 10746"/>
                <a:gd name="connsiteY187" fmla="*/ 9752 h 10000"/>
                <a:gd name="connsiteX188" fmla="*/ 6765 w 10746"/>
                <a:gd name="connsiteY188" fmla="*/ 9803 h 10000"/>
                <a:gd name="connsiteX189" fmla="*/ 6770 w 10746"/>
                <a:gd name="connsiteY189" fmla="*/ 9821 h 10000"/>
                <a:gd name="connsiteX190" fmla="*/ 6779 w 10746"/>
                <a:gd name="connsiteY190" fmla="*/ 9812 h 10000"/>
                <a:gd name="connsiteX191" fmla="*/ 6779 w 10746"/>
                <a:gd name="connsiteY191" fmla="*/ 9803 h 10000"/>
                <a:gd name="connsiteX192" fmla="*/ 6770 w 10746"/>
                <a:gd name="connsiteY192" fmla="*/ 9786 h 10000"/>
                <a:gd name="connsiteX193" fmla="*/ 6811 w 10746"/>
                <a:gd name="connsiteY193" fmla="*/ 9786 h 10000"/>
                <a:gd name="connsiteX194" fmla="*/ 6816 w 10746"/>
                <a:gd name="connsiteY194" fmla="*/ 9761 h 10000"/>
                <a:gd name="connsiteX195" fmla="*/ 6825 w 10746"/>
                <a:gd name="connsiteY195" fmla="*/ 9752 h 10000"/>
                <a:gd name="connsiteX196" fmla="*/ 6825 w 10746"/>
                <a:gd name="connsiteY196" fmla="*/ 9726 h 10000"/>
                <a:gd name="connsiteX197" fmla="*/ 6843 w 10746"/>
                <a:gd name="connsiteY197" fmla="*/ 9701 h 10000"/>
                <a:gd name="connsiteX198" fmla="*/ 6848 w 10746"/>
                <a:gd name="connsiteY198" fmla="*/ 9650 h 10000"/>
                <a:gd name="connsiteX199" fmla="*/ 6848 w 10746"/>
                <a:gd name="connsiteY199" fmla="*/ 9675 h 10000"/>
                <a:gd name="connsiteX200" fmla="*/ 6862 w 10746"/>
                <a:gd name="connsiteY200" fmla="*/ 9675 h 10000"/>
                <a:gd name="connsiteX201" fmla="*/ 6857 w 10746"/>
                <a:gd name="connsiteY201" fmla="*/ 9701 h 10000"/>
                <a:gd name="connsiteX202" fmla="*/ 6857 w 10746"/>
                <a:gd name="connsiteY202" fmla="*/ 9701 h 10000"/>
                <a:gd name="connsiteX203" fmla="*/ 6876 w 10746"/>
                <a:gd name="connsiteY203" fmla="*/ 9684 h 10000"/>
                <a:gd name="connsiteX204" fmla="*/ 6885 w 10746"/>
                <a:gd name="connsiteY204" fmla="*/ 9675 h 10000"/>
                <a:gd name="connsiteX205" fmla="*/ 6876 w 10746"/>
                <a:gd name="connsiteY205" fmla="*/ 9735 h 10000"/>
                <a:gd name="connsiteX206" fmla="*/ 6885 w 10746"/>
                <a:gd name="connsiteY206" fmla="*/ 9752 h 10000"/>
                <a:gd name="connsiteX207" fmla="*/ 6903 w 10746"/>
                <a:gd name="connsiteY207" fmla="*/ 9752 h 10000"/>
                <a:gd name="connsiteX208" fmla="*/ 6917 w 10746"/>
                <a:gd name="connsiteY208" fmla="*/ 9761 h 10000"/>
                <a:gd name="connsiteX209" fmla="*/ 6917 w 10746"/>
                <a:gd name="connsiteY209" fmla="*/ 9761 h 10000"/>
                <a:gd name="connsiteX210" fmla="*/ 6922 w 10746"/>
                <a:gd name="connsiteY210" fmla="*/ 9778 h 10000"/>
                <a:gd name="connsiteX211" fmla="*/ 6945 w 10746"/>
                <a:gd name="connsiteY211" fmla="*/ 9778 h 10000"/>
                <a:gd name="connsiteX212" fmla="*/ 6972 w 10746"/>
                <a:gd name="connsiteY212" fmla="*/ 9752 h 10000"/>
                <a:gd name="connsiteX213" fmla="*/ 6977 w 10746"/>
                <a:gd name="connsiteY213" fmla="*/ 9752 h 10000"/>
                <a:gd name="connsiteX214" fmla="*/ 7069 w 10746"/>
                <a:gd name="connsiteY214" fmla="*/ 9624 h 10000"/>
                <a:gd name="connsiteX215" fmla="*/ 7097 w 10746"/>
                <a:gd name="connsiteY215" fmla="*/ 9547 h 10000"/>
                <a:gd name="connsiteX216" fmla="*/ 7106 w 10746"/>
                <a:gd name="connsiteY216" fmla="*/ 9530 h 10000"/>
                <a:gd name="connsiteX217" fmla="*/ 7124 w 10746"/>
                <a:gd name="connsiteY217" fmla="*/ 9479 h 10000"/>
                <a:gd name="connsiteX218" fmla="*/ 7138 w 10746"/>
                <a:gd name="connsiteY218" fmla="*/ 9462 h 10000"/>
                <a:gd name="connsiteX219" fmla="*/ 7378 w 10746"/>
                <a:gd name="connsiteY219" fmla="*/ 8795 h 10000"/>
                <a:gd name="connsiteX220" fmla="*/ 7392 w 10746"/>
                <a:gd name="connsiteY220" fmla="*/ 8795 h 10000"/>
                <a:gd name="connsiteX221" fmla="*/ 7401 w 10746"/>
                <a:gd name="connsiteY221" fmla="*/ 8769 h 10000"/>
                <a:gd name="connsiteX222" fmla="*/ 7406 w 10746"/>
                <a:gd name="connsiteY222" fmla="*/ 8692 h 10000"/>
                <a:gd name="connsiteX223" fmla="*/ 7406 w 10746"/>
                <a:gd name="connsiteY223" fmla="*/ 8667 h 10000"/>
                <a:gd name="connsiteX224" fmla="*/ 7419 w 10746"/>
                <a:gd name="connsiteY224" fmla="*/ 8598 h 10000"/>
                <a:gd name="connsiteX225" fmla="*/ 7419 w 10746"/>
                <a:gd name="connsiteY225" fmla="*/ 8496 h 10000"/>
                <a:gd name="connsiteX226" fmla="*/ 7424 w 10746"/>
                <a:gd name="connsiteY226" fmla="*/ 8470 h 10000"/>
                <a:gd name="connsiteX227" fmla="*/ 7424 w 10746"/>
                <a:gd name="connsiteY227" fmla="*/ 8462 h 10000"/>
                <a:gd name="connsiteX228" fmla="*/ 7419 w 10746"/>
                <a:gd name="connsiteY228" fmla="*/ 8462 h 10000"/>
                <a:gd name="connsiteX229" fmla="*/ 7410 w 10746"/>
                <a:gd name="connsiteY229" fmla="*/ 8350 h 10000"/>
                <a:gd name="connsiteX230" fmla="*/ 7419 w 10746"/>
                <a:gd name="connsiteY230" fmla="*/ 8325 h 10000"/>
                <a:gd name="connsiteX231" fmla="*/ 7424 w 10746"/>
                <a:gd name="connsiteY231" fmla="*/ 8248 h 10000"/>
                <a:gd name="connsiteX232" fmla="*/ 7433 w 10746"/>
                <a:gd name="connsiteY232" fmla="*/ 8248 h 10000"/>
                <a:gd name="connsiteX233" fmla="*/ 7433 w 10746"/>
                <a:gd name="connsiteY233" fmla="*/ 8231 h 10000"/>
                <a:gd name="connsiteX234" fmla="*/ 7433 w 10746"/>
                <a:gd name="connsiteY234" fmla="*/ 8222 h 10000"/>
                <a:gd name="connsiteX235" fmla="*/ 7433 w 10746"/>
                <a:gd name="connsiteY235" fmla="*/ 8214 h 10000"/>
                <a:gd name="connsiteX236" fmla="*/ 7447 w 10746"/>
                <a:gd name="connsiteY236" fmla="*/ 8162 h 10000"/>
                <a:gd name="connsiteX237" fmla="*/ 7461 w 10746"/>
                <a:gd name="connsiteY237" fmla="*/ 8162 h 10000"/>
                <a:gd name="connsiteX238" fmla="*/ 7475 w 10746"/>
                <a:gd name="connsiteY238" fmla="*/ 8111 h 10000"/>
                <a:gd name="connsiteX239" fmla="*/ 7475 w 10746"/>
                <a:gd name="connsiteY239" fmla="*/ 8085 h 10000"/>
                <a:gd name="connsiteX240" fmla="*/ 7479 w 10746"/>
                <a:gd name="connsiteY240" fmla="*/ 8060 h 10000"/>
                <a:gd name="connsiteX241" fmla="*/ 7452 w 10746"/>
                <a:gd name="connsiteY241" fmla="*/ 8009 h 10000"/>
                <a:gd name="connsiteX242" fmla="*/ 7465 w 10746"/>
                <a:gd name="connsiteY242" fmla="*/ 7974 h 10000"/>
                <a:gd name="connsiteX243" fmla="*/ 7452 w 10746"/>
                <a:gd name="connsiteY243" fmla="*/ 7923 h 10000"/>
                <a:gd name="connsiteX244" fmla="*/ 7433 w 10746"/>
                <a:gd name="connsiteY244" fmla="*/ 7889 h 10000"/>
                <a:gd name="connsiteX245" fmla="*/ 7419 w 10746"/>
                <a:gd name="connsiteY245" fmla="*/ 7889 h 10000"/>
                <a:gd name="connsiteX246" fmla="*/ 7401 w 10746"/>
                <a:gd name="connsiteY246" fmla="*/ 7863 h 10000"/>
                <a:gd name="connsiteX247" fmla="*/ 7387 w 10746"/>
                <a:gd name="connsiteY247" fmla="*/ 7863 h 10000"/>
                <a:gd name="connsiteX248" fmla="*/ 7373 w 10746"/>
                <a:gd name="connsiteY248" fmla="*/ 7863 h 10000"/>
                <a:gd name="connsiteX249" fmla="*/ 7387 w 10746"/>
                <a:gd name="connsiteY249" fmla="*/ 7846 h 10000"/>
                <a:gd name="connsiteX250" fmla="*/ 7401 w 10746"/>
                <a:gd name="connsiteY250" fmla="*/ 7846 h 10000"/>
                <a:gd name="connsiteX251" fmla="*/ 7410 w 10746"/>
                <a:gd name="connsiteY251" fmla="*/ 7863 h 10000"/>
                <a:gd name="connsiteX252" fmla="*/ 7424 w 10746"/>
                <a:gd name="connsiteY252" fmla="*/ 7872 h 10000"/>
                <a:gd name="connsiteX253" fmla="*/ 7433 w 10746"/>
                <a:gd name="connsiteY253" fmla="*/ 7863 h 10000"/>
                <a:gd name="connsiteX254" fmla="*/ 7461 w 10746"/>
                <a:gd name="connsiteY254" fmla="*/ 7897 h 10000"/>
                <a:gd name="connsiteX255" fmla="*/ 7465 w 10746"/>
                <a:gd name="connsiteY255" fmla="*/ 7889 h 10000"/>
                <a:gd name="connsiteX256" fmla="*/ 7475 w 10746"/>
                <a:gd name="connsiteY256" fmla="*/ 7863 h 10000"/>
                <a:gd name="connsiteX257" fmla="*/ 7475 w 10746"/>
                <a:gd name="connsiteY257" fmla="*/ 7838 h 10000"/>
                <a:gd name="connsiteX258" fmla="*/ 7465 w 10746"/>
                <a:gd name="connsiteY258" fmla="*/ 7838 h 10000"/>
                <a:gd name="connsiteX259" fmla="*/ 7406 w 10746"/>
                <a:gd name="connsiteY259" fmla="*/ 7752 h 10000"/>
                <a:gd name="connsiteX260" fmla="*/ 7401 w 10746"/>
                <a:gd name="connsiteY260" fmla="*/ 7735 h 10000"/>
                <a:gd name="connsiteX261" fmla="*/ 7401 w 10746"/>
                <a:gd name="connsiteY261" fmla="*/ 7701 h 10000"/>
                <a:gd name="connsiteX262" fmla="*/ 7378 w 10746"/>
                <a:gd name="connsiteY262" fmla="*/ 7675 h 10000"/>
                <a:gd name="connsiteX263" fmla="*/ 7373 w 10746"/>
                <a:gd name="connsiteY263" fmla="*/ 7667 h 10000"/>
                <a:gd name="connsiteX264" fmla="*/ 7364 w 10746"/>
                <a:gd name="connsiteY264" fmla="*/ 7650 h 10000"/>
                <a:gd name="connsiteX265" fmla="*/ 7364 w 10746"/>
                <a:gd name="connsiteY265" fmla="*/ 7641 h 10000"/>
                <a:gd name="connsiteX266" fmla="*/ 7350 w 10746"/>
                <a:gd name="connsiteY266" fmla="*/ 7641 h 10000"/>
                <a:gd name="connsiteX267" fmla="*/ 7336 w 10746"/>
                <a:gd name="connsiteY267" fmla="*/ 7650 h 10000"/>
                <a:gd name="connsiteX268" fmla="*/ 7327 w 10746"/>
                <a:gd name="connsiteY268" fmla="*/ 7650 h 10000"/>
                <a:gd name="connsiteX269" fmla="*/ 7300 w 10746"/>
                <a:gd name="connsiteY269" fmla="*/ 7641 h 10000"/>
                <a:gd name="connsiteX270" fmla="*/ 7300 w 10746"/>
                <a:gd name="connsiteY270" fmla="*/ 7675 h 10000"/>
                <a:gd name="connsiteX271" fmla="*/ 7300 w 10746"/>
                <a:gd name="connsiteY271" fmla="*/ 7692 h 10000"/>
                <a:gd name="connsiteX272" fmla="*/ 7286 w 10746"/>
                <a:gd name="connsiteY272" fmla="*/ 7786 h 10000"/>
                <a:gd name="connsiteX273" fmla="*/ 7272 w 10746"/>
                <a:gd name="connsiteY273" fmla="*/ 7803 h 10000"/>
                <a:gd name="connsiteX274" fmla="*/ 7276 w 10746"/>
                <a:gd name="connsiteY274" fmla="*/ 7761 h 10000"/>
                <a:gd name="connsiteX275" fmla="*/ 7286 w 10746"/>
                <a:gd name="connsiteY275" fmla="*/ 7735 h 10000"/>
                <a:gd name="connsiteX276" fmla="*/ 7276 w 10746"/>
                <a:gd name="connsiteY276" fmla="*/ 7709 h 10000"/>
                <a:gd name="connsiteX277" fmla="*/ 7258 w 10746"/>
                <a:gd name="connsiteY277" fmla="*/ 7761 h 10000"/>
                <a:gd name="connsiteX278" fmla="*/ 7217 w 10746"/>
                <a:gd name="connsiteY278" fmla="*/ 7786 h 10000"/>
                <a:gd name="connsiteX279" fmla="*/ 7203 w 10746"/>
                <a:gd name="connsiteY279" fmla="*/ 7786 h 10000"/>
                <a:gd name="connsiteX280" fmla="*/ 7198 w 10746"/>
                <a:gd name="connsiteY280" fmla="*/ 7778 h 10000"/>
                <a:gd name="connsiteX281" fmla="*/ 7212 w 10746"/>
                <a:gd name="connsiteY281" fmla="*/ 7761 h 10000"/>
                <a:gd name="connsiteX282" fmla="*/ 7230 w 10746"/>
                <a:gd name="connsiteY282" fmla="*/ 7726 h 10000"/>
                <a:gd name="connsiteX283" fmla="*/ 7226 w 10746"/>
                <a:gd name="connsiteY283" fmla="*/ 7709 h 10000"/>
                <a:gd name="connsiteX284" fmla="*/ 7212 w 10746"/>
                <a:gd name="connsiteY284" fmla="*/ 7701 h 10000"/>
                <a:gd name="connsiteX285" fmla="*/ 7203 w 10746"/>
                <a:gd name="connsiteY285" fmla="*/ 7675 h 10000"/>
                <a:gd name="connsiteX286" fmla="*/ 7217 w 10746"/>
                <a:gd name="connsiteY286" fmla="*/ 7675 h 10000"/>
                <a:gd name="connsiteX287" fmla="*/ 7226 w 10746"/>
                <a:gd name="connsiteY287" fmla="*/ 7650 h 10000"/>
                <a:gd name="connsiteX288" fmla="*/ 7226 w 10746"/>
                <a:gd name="connsiteY288" fmla="*/ 7641 h 10000"/>
                <a:gd name="connsiteX289" fmla="*/ 7203 w 10746"/>
                <a:gd name="connsiteY289" fmla="*/ 7641 h 10000"/>
                <a:gd name="connsiteX290" fmla="*/ 7198 w 10746"/>
                <a:gd name="connsiteY290" fmla="*/ 7650 h 10000"/>
                <a:gd name="connsiteX291" fmla="*/ 7194 w 10746"/>
                <a:gd name="connsiteY291" fmla="*/ 7675 h 10000"/>
                <a:gd name="connsiteX292" fmla="*/ 7198 w 10746"/>
                <a:gd name="connsiteY292" fmla="*/ 7692 h 10000"/>
                <a:gd name="connsiteX293" fmla="*/ 7198 w 10746"/>
                <a:gd name="connsiteY293" fmla="*/ 7709 h 10000"/>
                <a:gd name="connsiteX294" fmla="*/ 7184 w 10746"/>
                <a:gd name="connsiteY294" fmla="*/ 7726 h 10000"/>
                <a:gd name="connsiteX295" fmla="*/ 7180 w 10746"/>
                <a:gd name="connsiteY295" fmla="*/ 7726 h 10000"/>
                <a:gd name="connsiteX296" fmla="*/ 7171 w 10746"/>
                <a:gd name="connsiteY296" fmla="*/ 7752 h 10000"/>
                <a:gd name="connsiteX297" fmla="*/ 7166 w 10746"/>
                <a:gd name="connsiteY297" fmla="*/ 7735 h 10000"/>
                <a:gd name="connsiteX298" fmla="*/ 7171 w 10746"/>
                <a:gd name="connsiteY298" fmla="*/ 7624 h 10000"/>
                <a:gd name="connsiteX299" fmla="*/ 7171 w 10746"/>
                <a:gd name="connsiteY299" fmla="*/ 7615 h 10000"/>
                <a:gd name="connsiteX300" fmla="*/ 7171 w 10746"/>
                <a:gd name="connsiteY300" fmla="*/ 7590 h 10000"/>
                <a:gd name="connsiteX301" fmla="*/ 7166 w 10746"/>
                <a:gd name="connsiteY301" fmla="*/ 7564 h 10000"/>
                <a:gd name="connsiteX302" fmla="*/ 7157 w 10746"/>
                <a:gd name="connsiteY302" fmla="*/ 7564 h 10000"/>
                <a:gd name="connsiteX303" fmla="*/ 7097 w 10746"/>
                <a:gd name="connsiteY303" fmla="*/ 7573 h 10000"/>
                <a:gd name="connsiteX304" fmla="*/ 7065 w 10746"/>
                <a:gd name="connsiteY304" fmla="*/ 7538 h 10000"/>
                <a:gd name="connsiteX305" fmla="*/ 7069 w 10746"/>
                <a:gd name="connsiteY305" fmla="*/ 7504 h 10000"/>
                <a:gd name="connsiteX306" fmla="*/ 7106 w 10746"/>
                <a:gd name="connsiteY306" fmla="*/ 7453 h 10000"/>
                <a:gd name="connsiteX307" fmla="*/ 7111 w 10746"/>
                <a:gd name="connsiteY307" fmla="*/ 7436 h 10000"/>
                <a:gd name="connsiteX308" fmla="*/ 7138 w 10746"/>
                <a:gd name="connsiteY308" fmla="*/ 7402 h 10000"/>
                <a:gd name="connsiteX309" fmla="*/ 7143 w 10746"/>
                <a:gd name="connsiteY309" fmla="*/ 7376 h 10000"/>
                <a:gd name="connsiteX310" fmla="*/ 7152 w 10746"/>
                <a:gd name="connsiteY310" fmla="*/ 7368 h 10000"/>
                <a:gd name="connsiteX311" fmla="*/ 7157 w 10746"/>
                <a:gd name="connsiteY311" fmla="*/ 7350 h 10000"/>
                <a:gd name="connsiteX312" fmla="*/ 7230 w 10746"/>
                <a:gd name="connsiteY312" fmla="*/ 7239 h 10000"/>
                <a:gd name="connsiteX313" fmla="*/ 7240 w 10746"/>
                <a:gd name="connsiteY313" fmla="*/ 7205 h 10000"/>
                <a:gd name="connsiteX314" fmla="*/ 7253 w 10746"/>
                <a:gd name="connsiteY314" fmla="*/ 7188 h 10000"/>
                <a:gd name="connsiteX315" fmla="*/ 7258 w 10746"/>
                <a:gd name="connsiteY315" fmla="*/ 7162 h 10000"/>
                <a:gd name="connsiteX316" fmla="*/ 7258 w 10746"/>
                <a:gd name="connsiteY316" fmla="*/ 7154 h 10000"/>
                <a:gd name="connsiteX317" fmla="*/ 7272 w 10746"/>
                <a:gd name="connsiteY317" fmla="*/ 7120 h 10000"/>
                <a:gd name="connsiteX318" fmla="*/ 7276 w 10746"/>
                <a:gd name="connsiteY318" fmla="*/ 7094 h 10000"/>
                <a:gd name="connsiteX319" fmla="*/ 7286 w 10746"/>
                <a:gd name="connsiteY319" fmla="*/ 7094 h 10000"/>
                <a:gd name="connsiteX320" fmla="*/ 7290 w 10746"/>
                <a:gd name="connsiteY320" fmla="*/ 7068 h 10000"/>
                <a:gd name="connsiteX321" fmla="*/ 7332 w 10746"/>
                <a:gd name="connsiteY321" fmla="*/ 6991 h 10000"/>
                <a:gd name="connsiteX322" fmla="*/ 7336 w 10746"/>
                <a:gd name="connsiteY322" fmla="*/ 6991 h 10000"/>
                <a:gd name="connsiteX323" fmla="*/ 7364 w 10746"/>
                <a:gd name="connsiteY323" fmla="*/ 6940 h 10000"/>
                <a:gd name="connsiteX324" fmla="*/ 7373 w 10746"/>
                <a:gd name="connsiteY324" fmla="*/ 6906 h 10000"/>
                <a:gd name="connsiteX325" fmla="*/ 7378 w 10746"/>
                <a:gd name="connsiteY325" fmla="*/ 6915 h 10000"/>
                <a:gd name="connsiteX326" fmla="*/ 7406 w 10746"/>
                <a:gd name="connsiteY326" fmla="*/ 6880 h 10000"/>
                <a:gd name="connsiteX327" fmla="*/ 7410 w 10746"/>
                <a:gd name="connsiteY327" fmla="*/ 6846 h 10000"/>
                <a:gd name="connsiteX328" fmla="*/ 7419 w 10746"/>
                <a:gd name="connsiteY328" fmla="*/ 6803 h 10000"/>
                <a:gd name="connsiteX329" fmla="*/ 7585 w 10746"/>
                <a:gd name="connsiteY329" fmla="*/ 6504 h 10000"/>
                <a:gd name="connsiteX330" fmla="*/ 7765 w 10746"/>
                <a:gd name="connsiteY330" fmla="*/ 6504 h 10000"/>
                <a:gd name="connsiteX331" fmla="*/ 7765 w 10746"/>
                <a:gd name="connsiteY331" fmla="*/ 6530 h 10000"/>
                <a:gd name="connsiteX332" fmla="*/ 7774 w 10746"/>
                <a:gd name="connsiteY332" fmla="*/ 6556 h 10000"/>
                <a:gd name="connsiteX333" fmla="*/ 7779 w 10746"/>
                <a:gd name="connsiteY333" fmla="*/ 6556 h 10000"/>
                <a:gd name="connsiteX334" fmla="*/ 7793 w 10746"/>
                <a:gd name="connsiteY334" fmla="*/ 6547 h 10000"/>
                <a:gd name="connsiteX335" fmla="*/ 7793 w 10746"/>
                <a:gd name="connsiteY335" fmla="*/ 6530 h 10000"/>
                <a:gd name="connsiteX336" fmla="*/ 7802 w 10746"/>
                <a:gd name="connsiteY336" fmla="*/ 6496 h 10000"/>
                <a:gd name="connsiteX337" fmla="*/ 7806 w 10746"/>
                <a:gd name="connsiteY337" fmla="*/ 6487 h 10000"/>
                <a:gd name="connsiteX338" fmla="*/ 7876 w 10746"/>
                <a:gd name="connsiteY338" fmla="*/ 6530 h 10000"/>
                <a:gd name="connsiteX339" fmla="*/ 7894 w 10746"/>
                <a:gd name="connsiteY339" fmla="*/ 6530 h 10000"/>
                <a:gd name="connsiteX340" fmla="*/ 7894 w 10746"/>
                <a:gd name="connsiteY340" fmla="*/ 6504 h 10000"/>
                <a:gd name="connsiteX341" fmla="*/ 7899 w 10746"/>
                <a:gd name="connsiteY341" fmla="*/ 6504 h 10000"/>
                <a:gd name="connsiteX342" fmla="*/ 7926 w 10746"/>
                <a:gd name="connsiteY342" fmla="*/ 6504 h 10000"/>
                <a:gd name="connsiteX343" fmla="*/ 7940 w 10746"/>
                <a:gd name="connsiteY343" fmla="*/ 6547 h 10000"/>
                <a:gd name="connsiteX344" fmla="*/ 7949 w 10746"/>
                <a:gd name="connsiteY344" fmla="*/ 6547 h 10000"/>
                <a:gd name="connsiteX345" fmla="*/ 7963 w 10746"/>
                <a:gd name="connsiteY345" fmla="*/ 6530 h 10000"/>
                <a:gd name="connsiteX346" fmla="*/ 7963 w 10746"/>
                <a:gd name="connsiteY346" fmla="*/ 6504 h 10000"/>
                <a:gd name="connsiteX347" fmla="*/ 7963 w 10746"/>
                <a:gd name="connsiteY347" fmla="*/ 6504 h 10000"/>
                <a:gd name="connsiteX348" fmla="*/ 7954 w 10746"/>
                <a:gd name="connsiteY348" fmla="*/ 6496 h 10000"/>
                <a:gd name="connsiteX349" fmla="*/ 7963 w 10746"/>
                <a:gd name="connsiteY349" fmla="*/ 6487 h 10000"/>
                <a:gd name="connsiteX350" fmla="*/ 7982 w 10746"/>
                <a:gd name="connsiteY350" fmla="*/ 6487 h 10000"/>
                <a:gd name="connsiteX351" fmla="*/ 7982 w 10746"/>
                <a:gd name="connsiteY351" fmla="*/ 6470 h 10000"/>
                <a:gd name="connsiteX352" fmla="*/ 7972 w 10746"/>
                <a:gd name="connsiteY352" fmla="*/ 6462 h 10000"/>
                <a:gd name="connsiteX353" fmla="*/ 7972 w 10746"/>
                <a:gd name="connsiteY353" fmla="*/ 6436 h 10000"/>
                <a:gd name="connsiteX354" fmla="*/ 7986 w 10746"/>
                <a:gd name="connsiteY354" fmla="*/ 6419 h 10000"/>
                <a:gd name="connsiteX355" fmla="*/ 8000 w 10746"/>
                <a:gd name="connsiteY355" fmla="*/ 6419 h 10000"/>
                <a:gd name="connsiteX356" fmla="*/ 8055 w 10746"/>
                <a:gd name="connsiteY356" fmla="*/ 6462 h 10000"/>
                <a:gd name="connsiteX357" fmla="*/ 8069 w 10746"/>
                <a:gd name="connsiteY357" fmla="*/ 6444 h 10000"/>
                <a:gd name="connsiteX358" fmla="*/ 8083 w 10746"/>
                <a:gd name="connsiteY358" fmla="*/ 6470 h 10000"/>
                <a:gd name="connsiteX359" fmla="*/ 8083 w 10746"/>
                <a:gd name="connsiteY359" fmla="*/ 6487 h 10000"/>
                <a:gd name="connsiteX360" fmla="*/ 8097 w 10746"/>
                <a:gd name="connsiteY360" fmla="*/ 6487 h 10000"/>
                <a:gd name="connsiteX361" fmla="*/ 8101 w 10746"/>
                <a:gd name="connsiteY361" fmla="*/ 6462 h 10000"/>
                <a:gd name="connsiteX362" fmla="*/ 8115 w 10746"/>
                <a:gd name="connsiteY362" fmla="*/ 6462 h 10000"/>
                <a:gd name="connsiteX363" fmla="*/ 8129 w 10746"/>
                <a:gd name="connsiteY363" fmla="*/ 6462 h 10000"/>
                <a:gd name="connsiteX364" fmla="*/ 8157 w 10746"/>
                <a:gd name="connsiteY364" fmla="*/ 6496 h 10000"/>
                <a:gd name="connsiteX365" fmla="*/ 8157 w 10746"/>
                <a:gd name="connsiteY365" fmla="*/ 6521 h 10000"/>
                <a:gd name="connsiteX366" fmla="*/ 8180 w 10746"/>
                <a:gd name="connsiteY366" fmla="*/ 6530 h 10000"/>
                <a:gd name="connsiteX367" fmla="*/ 8180 w 10746"/>
                <a:gd name="connsiteY367" fmla="*/ 6547 h 10000"/>
                <a:gd name="connsiteX368" fmla="*/ 8171 w 10746"/>
                <a:gd name="connsiteY368" fmla="*/ 6556 h 10000"/>
                <a:gd name="connsiteX369" fmla="*/ 8129 w 10746"/>
                <a:gd name="connsiteY369" fmla="*/ 6556 h 10000"/>
                <a:gd name="connsiteX370" fmla="*/ 8106 w 10746"/>
                <a:gd name="connsiteY370" fmla="*/ 6573 h 10000"/>
                <a:gd name="connsiteX371" fmla="*/ 8115 w 10746"/>
                <a:gd name="connsiteY371" fmla="*/ 6581 h 10000"/>
                <a:gd name="connsiteX372" fmla="*/ 8129 w 10746"/>
                <a:gd name="connsiteY372" fmla="*/ 6632 h 10000"/>
                <a:gd name="connsiteX373" fmla="*/ 8171 w 10746"/>
                <a:gd name="connsiteY373" fmla="*/ 6632 h 10000"/>
                <a:gd name="connsiteX374" fmla="*/ 8180 w 10746"/>
                <a:gd name="connsiteY374" fmla="*/ 6624 h 10000"/>
                <a:gd name="connsiteX375" fmla="*/ 8189 w 10746"/>
                <a:gd name="connsiteY375" fmla="*/ 6598 h 10000"/>
                <a:gd name="connsiteX376" fmla="*/ 8203 w 10746"/>
                <a:gd name="connsiteY376" fmla="*/ 6581 h 10000"/>
                <a:gd name="connsiteX377" fmla="*/ 8207 w 10746"/>
                <a:gd name="connsiteY377" fmla="*/ 6607 h 10000"/>
                <a:gd name="connsiteX378" fmla="*/ 8221 w 10746"/>
                <a:gd name="connsiteY378" fmla="*/ 6624 h 10000"/>
                <a:gd name="connsiteX379" fmla="*/ 8235 w 10746"/>
                <a:gd name="connsiteY379" fmla="*/ 6607 h 10000"/>
                <a:gd name="connsiteX380" fmla="*/ 8240 w 10746"/>
                <a:gd name="connsiteY380" fmla="*/ 6581 h 10000"/>
                <a:gd name="connsiteX381" fmla="*/ 8253 w 10746"/>
                <a:gd name="connsiteY381" fmla="*/ 6573 h 10000"/>
                <a:gd name="connsiteX382" fmla="*/ 8263 w 10746"/>
                <a:gd name="connsiteY382" fmla="*/ 6556 h 10000"/>
                <a:gd name="connsiteX383" fmla="*/ 8276 w 10746"/>
                <a:gd name="connsiteY383" fmla="*/ 6547 h 10000"/>
                <a:gd name="connsiteX384" fmla="*/ 8290 w 10746"/>
                <a:gd name="connsiteY384" fmla="*/ 6556 h 10000"/>
                <a:gd name="connsiteX385" fmla="*/ 8304 w 10746"/>
                <a:gd name="connsiteY385" fmla="*/ 6581 h 10000"/>
                <a:gd name="connsiteX386" fmla="*/ 8309 w 10746"/>
                <a:gd name="connsiteY386" fmla="*/ 6581 h 10000"/>
                <a:gd name="connsiteX387" fmla="*/ 8327 w 10746"/>
                <a:gd name="connsiteY387" fmla="*/ 6573 h 10000"/>
                <a:gd name="connsiteX388" fmla="*/ 8327 w 10746"/>
                <a:gd name="connsiteY388" fmla="*/ 6556 h 10000"/>
                <a:gd name="connsiteX389" fmla="*/ 8350 w 10746"/>
                <a:gd name="connsiteY389" fmla="*/ 6556 h 10000"/>
                <a:gd name="connsiteX390" fmla="*/ 8355 w 10746"/>
                <a:gd name="connsiteY390" fmla="*/ 6573 h 10000"/>
                <a:gd name="connsiteX391" fmla="*/ 8364 w 10746"/>
                <a:gd name="connsiteY391" fmla="*/ 6556 h 10000"/>
                <a:gd name="connsiteX392" fmla="*/ 8369 w 10746"/>
                <a:gd name="connsiteY392" fmla="*/ 6556 h 10000"/>
                <a:gd name="connsiteX393" fmla="*/ 8378 w 10746"/>
                <a:gd name="connsiteY393" fmla="*/ 6530 h 10000"/>
                <a:gd name="connsiteX394" fmla="*/ 8369 w 10746"/>
                <a:gd name="connsiteY394" fmla="*/ 6504 h 10000"/>
                <a:gd name="connsiteX395" fmla="*/ 8364 w 10746"/>
                <a:gd name="connsiteY395" fmla="*/ 6496 h 10000"/>
                <a:gd name="connsiteX396" fmla="*/ 8336 w 10746"/>
                <a:gd name="connsiteY396" fmla="*/ 6470 h 10000"/>
                <a:gd name="connsiteX397" fmla="*/ 8309 w 10746"/>
                <a:gd name="connsiteY397" fmla="*/ 6487 h 10000"/>
                <a:gd name="connsiteX398" fmla="*/ 8313 w 10746"/>
                <a:gd name="connsiteY398" fmla="*/ 6462 h 10000"/>
                <a:gd name="connsiteX399" fmla="*/ 8323 w 10746"/>
                <a:gd name="connsiteY399" fmla="*/ 6444 h 10000"/>
                <a:gd name="connsiteX400" fmla="*/ 8309 w 10746"/>
                <a:gd name="connsiteY400" fmla="*/ 6393 h 10000"/>
                <a:gd name="connsiteX401" fmla="*/ 8313 w 10746"/>
                <a:gd name="connsiteY401" fmla="*/ 6385 h 10000"/>
                <a:gd name="connsiteX402" fmla="*/ 8323 w 10746"/>
                <a:gd name="connsiteY402" fmla="*/ 6393 h 10000"/>
                <a:gd name="connsiteX403" fmla="*/ 8323 w 10746"/>
                <a:gd name="connsiteY403" fmla="*/ 6393 h 10000"/>
                <a:gd name="connsiteX404" fmla="*/ 8355 w 10746"/>
                <a:gd name="connsiteY404" fmla="*/ 6282 h 10000"/>
                <a:gd name="connsiteX405" fmla="*/ 8369 w 10746"/>
                <a:gd name="connsiteY405" fmla="*/ 6256 h 10000"/>
                <a:gd name="connsiteX406" fmla="*/ 8382 w 10746"/>
                <a:gd name="connsiteY406" fmla="*/ 6248 h 10000"/>
                <a:gd name="connsiteX407" fmla="*/ 8424 w 10746"/>
                <a:gd name="connsiteY407" fmla="*/ 6162 h 10000"/>
                <a:gd name="connsiteX408" fmla="*/ 8429 w 10746"/>
                <a:gd name="connsiteY408" fmla="*/ 6145 h 10000"/>
                <a:gd name="connsiteX409" fmla="*/ 8470 w 10746"/>
                <a:gd name="connsiteY409" fmla="*/ 6051 h 10000"/>
                <a:gd name="connsiteX410" fmla="*/ 8475 w 10746"/>
                <a:gd name="connsiteY410" fmla="*/ 5983 h 10000"/>
                <a:gd name="connsiteX411" fmla="*/ 8512 w 10746"/>
                <a:gd name="connsiteY411" fmla="*/ 5940 h 10000"/>
                <a:gd name="connsiteX412" fmla="*/ 8521 w 10746"/>
                <a:gd name="connsiteY412" fmla="*/ 5923 h 10000"/>
                <a:gd name="connsiteX413" fmla="*/ 8535 w 10746"/>
                <a:gd name="connsiteY413" fmla="*/ 5915 h 10000"/>
                <a:gd name="connsiteX414" fmla="*/ 8562 w 10746"/>
                <a:gd name="connsiteY414" fmla="*/ 5915 h 10000"/>
                <a:gd name="connsiteX415" fmla="*/ 8618 w 10746"/>
                <a:gd name="connsiteY415" fmla="*/ 5889 h 10000"/>
                <a:gd name="connsiteX416" fmla="*/ 8622 w 10746"/>
                <a:gd name="connsiteY416" fmla="*/ 5889 h 10000"/>
                <a:gd name="connsiteX417" fmla="*/ 8622 w 10746"/>
                <a:gd name="connsiteY417" fmla="*/ 5872 h 10000"/>
                <a:gd name="connsiteX418" fmla="*/ 8636 w 10746"/>
                <a:gd name="connsiteY418" fmla="*/ 5872 h 10000"/>
                <a:gd name="connsiteX419" fmla="*/ 8650 w 10746"/>
                <a:gd name="connsiteY419" fmla="*/ 5889 h 10000"/>
                <a:gd name="connsiteX420" fmla="*/ 8659 w 10746"/>
                <a:gd name="connsiteY420" fmla="*/ 5915 h 10000"/>
                <a:gd name="connsiteX421" fmla="*/ 8664 w 10746"/>
                <a:gd name="connsiteY421" fmla="*/ 5940 h 10000"/>
                <a:gd name="connsiteX422" fmla="*/ 8682 w 10746"/>
                <a:gd name="connsiteY422" fmla="*/ 5923 h 10000"/>
                <a:gd name="connsiteX423" fmla="*/ 8719 w 10746"/>
                <a:gd name="connsiteY423" fmla="*/ 5863 h 10000"/>
                <a:gd name="connsiteX424" fmla="*/ 8705 w 10746"/>
                <a:gd name="connsiteY424" fmla="*/ 5966 h 10000"/>
                <a:gd name="connsiteX425" fmla="*/ 8696 w 10746"/>
                <a:gd name="connsiteY425" fmla="*/ 5983 h 10000"/>
                <a:gd name="connsiteX426" fmla="*/ 8682 w 10746"/>
                <a:gd name="connsiteY426" fmla="*/ 6026 h 10000"/>
                <a:gd name="connsiteX427" fmla="*/ 8682 w 10746"/>
                <a:gd name="connsiteY427" fmla="*/ 6051 h 10000"/>
                <a:gd name="connsiteX428" fmla="*/ 8691 w 10746"/>
                <a:gd name="connsiteY428" fmla="*/ 6077 h 10000"/>
                <a:gd name="connsiteX429" fmla="*/ 8691 w 10746"/>
                <a:gd name="connsiteY429" fmla="*/ 6085 h 10000"/>
                <a:gd name="connsiteX430" fmla="*/ 8682 w 10746"/>
                <a:gd name="connsiteY430" fmla="*/ 6103 h 10000"/>
                <a:gd name="connsiteX431" fmla="*/ 8682 w 10746"/>
                <a:gd name="connsiteY431" fmla="*/ 6111 h 10000"/>
                <a:gd name="connsiteX432" fmla="*/ 8691 w 10746"/>
                <a:gd name="connsiteY432" fmla="*/ 6120 h 10000"/>
                <a:gd name="connsiteX433" fmla="*/ 8719 w 10746"/>
                <a:gd name="connsiteY433" fmla="*/ 6103 h 10000"/>
                <a:gd name="connsiteX434" fmla="*/ 8705 w 10746"/>
                <a:gd name="connsiteY434" fmla="*/ 6188 h 10000"/>
                <a:gd name="connsiteX435" fmla="*/ 8705 w 10746"/>
                <a:gd name="connsiteY435" fmla="*/ 6214 h 10000"/>
                <a:gd name="connsiteX436" fmla="*/ 8710 w 10746"/>
                <a:gd name="connsiteY436" fmla="*/ 6197 h 10000"/>
                <a:gd name="connsiteX437" fmla="*/ 8728 w 10746"/>
                <a:gd name="connsiteY437" fmla="*/ 6171 h 10000"/>
                <a:gd name="connsiteX438" fmla="*/ 8737 w 10746"/>
                <a:gd name="connsiteY438" fmla="*/ 6171 h 10000"/>
                <a:gd name="connsiteX439" fmla="*/ 8843 w 10746"/>
                <a:gd name="connsiteY439" fmla="*/ 5949 h 10000"/>
                <a:gd name="connsiteX440" fmla="*/ 8866 w 10746"/>
                <a:gd name="connsiteY440" fmla="*/ 5949 h 10000"/>
                <a:gd name="connsiteX441" fmla="*/ 8871 w 10746"/>
                <a:gd name="connsiteY441" fmla="*/ 5940 h 10000"/>
                <a:gd name="connsiteX442" fmla="*/ 8876 w 10746"/>
                <a:gd name="connsiteY442" fmla="*/ 5923 h 10000"/>
                <a:gd name="connsiteX443" fmla="*/ 8885 w 10746"/>
                <a:gd name="connsiteY443" fmla="*/ 5940 h 10000"/>
                <a:gd name="connsiteX444" fmla="*/ 8885 w 10746"/>
                <a:gd name="connsiteY444" fmla="*/ 5949 h 10000"/>
                <a:gd name="connsiteX445" fmla="*/ 8885 w 10746"/>
                <a:gd name="connsiteY445" fmla="*/ 5974 h 10000"/>
                <a:gd name="connsiteX446" fmla="*/ 8889 w 10746"/>
                <a:gd name="connsiteY446" fmla="*/ 5974 h 10000"/>
                <a:gd name="connsiteX447" fmla="*/ 8903 w 10746"/>
                <a:gd name="connsiteY447" fmla="*/ 5923 h 10000"/>
                <a:gd name="connsiteX448" fmla="*/ 8889 w 10746"/>
                <a:gd name="connsiteY448" fmla="*/ 5923 h 10000"/>
                <a:gd name="connsiteX449" fmla="*/ 8889 w 10746"/>
                <a:gd name="connsiteY449" fmla="*/ 5897 h 10000"/>
                <a:gd name="connsiteX450" fmla="*/ 8899 w 10746"/>
                <a:gd name="connsiteY450" fmla="*/ 5838 h 10000"/>
                <a:gd name="connsiteX451" fmla="*/ 8889 w 10746"/>
                <a:gd name="connsiteY451" fmla="*/ 5812 h 10000"/>
                <a:gd name="connsiteX452" fmla="*/ 8903 w 10746"/>
                <a:gd name="connsiteY452" fmla="*/ 5778 h 10000"/>
                <a:gd name="connsiteX453" fmla="*/ 8903 w 10746"/>
                <a:gd name="connsiteY453" fmla="*/ 5761 h 10000"/>
                <a:gd name="connsiteX454" fmla="*/ 8912 w 10746"/>
                <a:gd name="connsiteY454" fmla="*/ 5735 h 10000"/>
                <a:gd name="connsiteX455" fmla="*/ 8931 w 10746"/>
                <a:gd name="connsiteY455" fmla="*/ 5701 h 10000"/>
                <a:gd name="connsiteX456" fmla="*/ 8977 w 10746"/>
                <a:gd name="connsiteY456" fmla="*/ 5675 h 10000"/>
                <a:gd name="connsiteX457" fmla="*/ 9000 w 10746"/>
                <a:gd name="connsiteY457" fmla="*/ 5675 h 10000"/>
                <a:gd name="connsiteX458" fmla="*/ 9018 w 10746"/>
                <a:gd name="connsiteY458" fmla="*/ 5709 h 10000"/>
                <a:gd name="connsiteX459" fmla="*/ 9009 w 10746"/>
                <a:gd name="connsiteY459" fmla="*/ 5735 h 10000"/>
                <a:gd name="connsiteX460" fmla="*/ 9000 w 10746"/>
                <a:gd name="connsiteY460" fmla="*/ 5735 h 10000"/>
                <a:gd name="connsiteX461" fmla="*/ 8963 w 10746"/>
                <a:gd name="connsiteY461" fmla="*/ 5786 h 10000"/>
                <a:gd name="connsiteX462" fmla="*/ 8949 w 10746"/>
                <a:gd name="connsiteY462" fmla="*/ 5940 h 10000"/>
                <a:gd name="connsiteX463" fmla="*/ 8945 w 10746"/>
                <a:gd name="connsiteY463" fmla="*/ 5966 h 10000"/>
                <a:gd name="connsiteX464" fmla="*/ 8945 w 10746"/>
                <a:gd name="connsiteY464" fmla="*/ 6000 h 10000"/>
                <a:gd name="connsiteX465" fmla="*/ 8945 w 10746"/>
                <a:gd name="connsiteY465" fmla="*/ 6009 h 10000"/>
                <a:gd name="connsiteX466" fmla="*/ 8945 w 10746"/>
                <a:gd name="connsiteY466" fmla="*/ 6034 h 10000"/>
                <a:gd name="connsiteX467" fmla="*/ 8931 w 10746"/>
                <a:gd name="connsiteY467" fmla="*/ 6060 h 10000"/>
                <a:gd name="connsiteX468" fmla="*/ 8926 w 10746"/>
                <a:gd name="connsiteY468" fmla="*/ 6077 h 10000"/>
                <a:gd name="connsiteX469" fmla="*/ 8926 w 10746"/>
                <a:gd name="connsiteY469" fmla="*/ 6111 h 10000"/>
                <a:gd name="connsiteX470" fmla="*/ 8931 w 10746"/>
                <a:gd name="connsiteY470" fmla="*/ 6120 h 10000"/>
                <a:gd name="connsiteX471" fmla="*/ 8931 w 10746"/>
                <a:gd name="connsiteY471" fmla="*/ 6137 h 10000"/>
                <a:gd name="connsiteX472" fmla="*/ 8912 w 10746"/>
                <a:gd name="connsiteY472" fmla="*/ 6171 h 10000"/>
                <a:gd name="connsiteX473" fmla="*/ 8899 w 10746"/>
                <a:gd name="connsiteY473" fmla="*/ 6162 h 10000"/>
                <a:gd name="connsiteX474" fmla="*/ 8885 w 10746"/>
                <a:gd name="connsiteY474" fmla="*/ 6171 h 10000"/>
                <a:gd name="connsiteX475" fmla="*/ 8866 w 10746"/>
                <a:gd name="connsiteY475" fmla="*/ 6214 h 10000"/>
                <a:gd name="connsiteX476" fmla="*/ 8853 w 10746"/>
                <a:gd name="connsiteY476" fmla="*/ 6214 h 10000"/>
                <a:gd name="connsiteX477" fmla="*/ 8816 w 10746"/>
                <a:gd name="connsiteY477" fmla="*/ 6248 h 10000"/>
                <a:gd name="connsiteX478" fmla="*/ 8816 w 10746"/>
                <a:gd name="connsiteY478" fmla="*/ 6248 h 10000"/>
                <a:gd name="connsiteX479" fmla="*/ 8816 w 10746"/>
                <a:gd name="connsiteY479" fmla="*/ 6282 h 10000"/>
                <a:gd name="connsiteX480" fmla="*/ 8811 w 10746"/>
                <a:gd name="connsiteY480" fmla="*/ 6308 h 10000"/>
                <a:gd name="connsiteX481" fmla="*/ 8751 w 10746"/>
                <a:gd name="connsiteY481" fmla="*/ 6436 h 10000"/>
                <a:gd name="connsiteX482" fmla="*/ 8724 w 10746"/>
                <a:gd name="connsiteY482" fmla="*/ 6470 h 10000"/>
                <a:gd name="connsiteX483" fmla="*/ 8710 w 10746"/>
                <a:gd name="connsiteY483" fmla="*/ 6504 h 10000"/>
                <a:gd name="connsiteX484" fmla="*/ 8705 w 10746"/>
                <a:gd name="connsiteY484" fmla="*/ 6521 h 10000"/>
                <a:gd name="connsiteX485" fmla="*/ 8677 w 10746"/>
                <a:gd name="connsiteY485" fmla="*/ 6573 h 10000"/>
                <a:gd name="connsiteX486" fmla="*/ 8677 w 10746"/>
                <a:gd name="connsiteY486" fmla="*/ 6624 h 10000"/>
                <a:gd name="connsiteX487" fmla="*/ 8590 w 10746"/>
                <a:gd name="connsiteY487" fmla="*/ 6803 h 10000"/>
                <a:gd name="connsiteX488" fmla="*/ 8562 w 10746"/>
                <a:gd name="connsiteY488" fmla="*/ 6829 h 10000"/>
                <a:gd name="connsiteX489" fmla="*/ 8544 w 10746"/>
                <a:gd name="connsiteY489" fmla="*/ 6829 h 10000"/>
                <a:gd name="connsiteX490" fmla="*/ 8521 w 10746"/>
                <a:gd name="connsiteY490" fmla="*/ 6880 h 10000"/>
                <a:gd name="connsiteX491" fmla="*/ 8498 w 10746"/>
                <a:gd name="connsiteY491" fmla="*/ 6872 h 10000"/>
                <a:gd name="connsiteX492" fmla="*/ 8488 w 10746"/>
                <a:gd name="connsiteY492" fmla="*/ 6872 h 10000"/>
                <a:gd name="connsiteX493" fmla="*/ 8498 w 10746"/>
                <a:gd name="connsiteY493" fmla="*/ 6940 h 10000"/>
                <a:gd name="connsiteX494" fmla="*/ 8484 w 10746"/>
                <a:gd name="connsiteY494" fmla="*/ 7026 h 10000"/>
                <a:gd name="connsiteX495" fmla="*/ 8429 w 10746"/>
                <a:gd name="connsiteY495" fmla="*/ 7094 h 10000"/>
                <a:gd name="connsiteX496" fmla="*/ 8401 w 10746"/>
                <a:gd name="connsiteY496" fmla="*/ 7291 h 10000"/>
                <a:gd name="connsiteX497" fmla="*/ 8424 w 10746"/>
                <a:gd name="connsiteY497" fmla="*/ 7692 h 10000"/>
                <a:gd name="connsiteX498" fmla="*/ 8424 w 10746"/>
                <a:gd name="connsiteY498" fmla="*/ 7701 h 10000"/>
                <a:gd name="connsiteX499" fmla="*/ 8484 w 10746"/>
                <a:gd name="connsiteY499" fmla="*/ 8308 h 10000"/>
                <a:gd name="connsiteX500" fmla="*/ 8576 w 10746"/>
                <a:gd name="connsiteY500" fmla="*/ 8120 h 10000"/>
                <a:gd name="connsiteX501" fmla="*/ 8590 w 10746"/>
                <a:gd name="connsiteY501" fmla="*/ 8026 h 10000"/>
                <a:gd name="connsiteX502" fmla="*/ 8590 w 10746"/>
                <a:gd name="connsiteY502" fmla="*/ 7983 h 10000"/>
                <a:gd name="connsiteX503" fmla="*/ 8594 w 10746"/>
                <a:gd name="connsiteY503" fmla="*/ 7974 h 10000"/>
                <a:gd name="connsiteX504" fmla="*/ 8594 w 10746"/>
                <a:gd name="connsiteY504" fmla="*/ 7940 h 10000"/>
                <a:gd name="connsiteX505" fmla="*/ 8594 w 10746"/>
                <a:gd name="connsiteY505" fmla="*/ 7923 h 10000"/>
                <a:gd name="connsiteX506" fmla="*/ 8594 w 10746"/>
                <a:gd name="connsiteY506" fmla="*/ 7915 h 10000"/>
                <a:gd name="connsiteX507" fmla="*/ 8604 w 10746"/>
                <a:gd name="connsiteY507" fmla="*/ 7915 h 10000"/>
                <a:gd name="connsiteX508" fmla="*/ 8608 w 10746"/>
                <a:gd name="connsiteY508" fmla="*/ 7923 h 10000"/>
                <a:gd name="connsiteX509" fmla="*/ 8645 w 10746"/>
                <a:gd name="connsiteY509" fmla="*/ 7872 h 10000"/>
                <a:gd name="connsiteX510" fmla="*/ 8668 w 10746"/>
                <a:gd name="connsiteY510" fmla="*/ 7846 h 10000"/>
                <a:gd name="connsiteX511" fmla="*/ 8691 w 10746"/>
                <a:gd name="connsiteY511" fmla="*/ 7863 h 10000"/>
                <a:gd name="connsiteX512" fmla="*/ 8691 w 10746"/>
                <a:gd name="connsiteY512" fmla="*/ 7846 h 10000"/>
                <a:gd name="connsiteX513" fmla="*/ 8682 w 10746"/>
                <a:gd name="connsiteY513" fmla="*/ 7838 h 10000"/>
                <a:gd name="connsiteX514" fmla="*/ 8682 w 10746"/>
                <a:gd name="connsiteY514" fmla="*/ 7692 h 10000"/>
                <a:gd name="connsiteX515" fmla="*/ 8728 w 10746"/>
                <a:gd name="connsiteY515" fmla="*/ 7598 h 10000"/>
                <a:gd name="connsiteX516" fmla="*/ 8751 w 10746"/>
                <a:gd name="connsiteY516" fmla="*/ 7573 h 10000"/>
                <a:gd name="connsiteX517" fmla="*/ 8770 w 10746"/>
                <a:gd name="connsiteY517" fmla="*/ 7573 h 10000"/>
                <a:gd name="connsiteX518" fmla="*/ 8779 w 10746"/>
                <a:gd name="connsiteY518" fmla="*/ 7590 h 10000"/>
                <a:gd name="connsiteX519" fmla="*/ 8793 w 10746"/>
                <a:gd name="connsiteY519" fmla="*/ 7590 h 10000"/>
                <a:gd name="connsiteX520" fmla="*/ 8811 w 10746"/>
                <a:gd name="connsiteY520" fmla="*/ 7590 h 10000"/>
                <a:gd name="connsiteX521" fmla="*/ 8825 w 10746"/>
                <a:gd name="connsiteY521" fmla="*/ 7556 h 10000"/>
                <a:gd name="connsiteX522" fmla="*/ 8829 w 10746"/>
                <a:gd name="connsiteY522" fmla="*/ 7530 h 10000"/>
                <a:gd name="connsiteX523" fmla="*/ 8802 w 10746"/>
                <a:gd name="connsiteY523" fmla="*/ 7462 h 10000"/>
                <a:gd name="connsiteX524" fmla="*/ 8797 w 10746"/>
                <a:gd name="connsiteY524" fmla="*/ 7402 h 10000"/>
                <a:gd name="connsiteX525" fmla="*/ 8816 w 10746"/>
                <a:gd name="connsiteY525" fmla="*/ 7291 h 10000"/>
                <a:gd name="connsiteX526" fmla="*/ 8825 w 10746"/>
                <a:gd name="connsiteY526" fmla="*/ 7256 h 10000"/>
                <a:gd name="connsiteX527" fmla="*/ 8843 w 10746"/>
                <a:gd name="connsiteY527" fmla="*/ 7231 h 10000"/>
                <a:gd name="connsiteX528" fmla="*/ 8839 w 10746"/>
                <a:gd name="connsiteY528" fmla="*/ 7205 h 10000"/>
                <a:gd name="connsiteX529" fmla="*/ 8839 w 10746"/>
                <a:gd name="connsiteY529" fmla="*/ 7188 h 10000"/>
                <a:gd name="connsiteX530" fmla="*/ 8876 w 10746"/>
                <a:gd name="connsiteY530" fmla="*/ 7162 h 10000"/>
                <a:gd name="connsiteX531" fmla="*/ 8885 w 10746"/>
                <a:gd name="connsiteY531" fmla="*/ 7154 h 10000"/>
                <a:gd name="connsiteX532" fmla="*/ 8885 w 10746"/>
                <a:gd name="connsiteY532" fmla="*/ 7162 h 10000"/>
                <a:gd name="connsiteX533" fmla="*/ 8876 w 10746"/>
                <a:gd name="connsiteY533" fmla="*/ 7188 h 10000"/>
                <a:gd name="connsiteX534" fmla="*/ 8871 w 10746"/>
                <a:gd name="connsiteY534" fmla="*/ 7205 h 10000"/>
                <a:gd name="connsiteX535" fmla="*/ 8866 w 10746"/>
                <a:gd name="connsiteY535" fmla="*/ 7214 h 10000"/>
                <a:gd name="connsiteX536" fmla="*/ 8876 w 10746"/>
                <a:gd name="connsiteY536" fmla="*/ 7265 h 10000"/>
                <a:gd name="connsiteX537" fmla="*/ 8885 w 10746"/>
                <a:gd name="connsiteY537" fmla="*/ 7282 h 10000"/>
                <a:gd name="connsiteX538" fmla="*/ 8889 w 10746"/>
                <a:gd name="connsiteY538" fmla="*/ 7282 h 10000"/>
                <a:gd name="connsiteX539" fmla="*/ 8903 w 10746"/>
                <a:gd name="connsiteY539" fmla="*/ 7239 h 10000"/>
                <a:gd name="connsiteX540" fmla="*/ 8903 w 10746"/>
                <a:gd name="connsiteY540" fmla="*/ 7214 h 10000"/>
                <a:gd name="connsiteX541" fmla="*/ 8899 w 10746"/>
                <a:gd name="connsiteY541" fmla="*/ 7128 h 10000"/>
                <a:gd name="connsiteX542" fmla="*/ 8889 w 10746"/>
                <a:gd name="connsiteY542" fmla="*/ 7120 h 10000"/>
                <a:gd name="connsiteX543" fmla="*/ 8871 w 10746"/>
                <a:gd name="connsiteY543" fmla="*/ 7120 h 10000"/>
                <a:gd name="connsiteX544" fmla="*/ 8871 w 10746"/>
                <a:gd name="connsiteY544" fmla="*/ 7120 h 10000"/>
                <a:gd name="connsiteX545" fmla="*/ 8871 w 10746"/>
                <a:gd name="connsiteY545" fmla="*/ 6991 h 10000"/>
                <a:gd name="connsiteX546" fmla="*/ 8871 w 10746"/>
                <a:gd name="connsiteY546" fmla="*/ 6966 h 10000"/>
                <a:gd name="connsiteX547" fmla="*/ 8889 w 10746"/>
                <a:gd name="connsiteY547" fmla="*/ 6940 h 10000"/>
                <a:gd name="connsiteX548" fmla="*/ 8903 w 10746"/>
                <a:gd name="connsiteY548" fmla="*/ 6906 h 10000"/>
                <a:gd name="connsiteX549" fmla="*/ 8899 w 10746"/>
                <a:gd name="connsiteY549" fmla="*/ 6880 h 10000"/>
                <a:gd name="connsiteX550" fmla="*/ 8866 w 10746"/>
                <a:gd name="connsiteY550" fmla="*/ 6846 h 10000"/>
                <a:gd name="connsiteX551" fmla="*/ 8853 w 10746"/>
                <a:gd name="connsiteY551" fmla="*/ 6846 h 10000"/>
                <a:gd name="connsiteX552" fmla="*/ 8843 w 10746"/>
                <a:gd name="connsiteY552" fmla="*/ 6880 h 10000"/>
                <a:gd name="connsiteX553" fmla="*/ 8843 w 10746"/>
                <a:gd name="connsiteY553" fmla="*/ 6897 h 10000"/>
                <a:gd name="connsiteX554" fmla="*/ 8829 w 10746"/>
                <a:gd name="connsiteY554" fmla="*/ 6880 h 10000"/>
                <a:gd name="connsiteX555" fmla="*/ 8825 w 10746"/>
                <a:gd name="connsiteY555" fmla="*/ 6872 h 10000"/>
                <a:gd name="connsiteX556" fmla="*/ 8816 w 10746"/>
                <a:gd name="connsiteY556" fmla="*/ 6846 h 10000"/>
                <a:gd name="connsiteX557" fmla="*/ 8816 w 10746"/>
                <a:gd name="connsiteY557" fmla="*/ 6803 h 10000"/>
                <a:gd name="connsiteX558" fmla="*/ 8876 w 10746"/>
                <a:gd name="connsiteY558" fmla="*/ 6598 h 10000"/>
                <a:gd name="connsiteX559" fmla="*/ 8876 w 10746"/>
                <a:gd name="connsiteY559" fmla="*/ 6573 h 10000"/>
                <a:gd name="connsiteX560" fmla="*/ 8885 w 10746"/>
                <a:gd name="connsiteY560" fmla="*/ 6556 h 10000"/>
                <a:gd name="connsiteX561" fmla="*/ 8899 w 10746"/>
                <a:gd name="connsiteY561" fmla="*/ 6573 h 10000"/>
                <a:gd name="connsiteX562" fmla="*/ 8889 w 10746"/>
                <a:gd name="connsiteY562" fmla="*/ 6556 h 10000"/>
                <a:gd name="connsiteX563" fmla="*/ 8889 w 10746"/>
                <a:gd name="connsiteY563" fmla="*/ 6530 h 10000"/>
                <a:gd name="connsiteX564" fmla="*/ 8903 w 10746"/>
                <a:gd name="connsiteY564" fmla="*/ 6521 h 10000"/>
                <a:gd name="connsiteX565" fmla="*/ 8903 w 10746"/>
                <a:gd name="connsiteY565" fmla="*/ 6504 h 10000"/>
                <a:gd name="connsiteX566" fmla="*/ 8903 w 10746"/>
                <a:gd name="connsiteY566" fmla="*/ 6487 h 10000"/>
                <a:gd name="connsiteX567" fmla="*/ 8903 w 10746"/>
                <a:gd name="connsiteY567" fmla="*/ 6462 h 10000"/>
                <a:gd name="connsiteX568" fmla="*/ 8912 w 10746"/>
                <a:gd name="connsiteY568" fmla="*/ 6419 h 10000"/>
                <a:gd name="connsiteX569" fmla="*/ 8917 w 10746"/>
                <a:gd name="connsiteY569" fmla="*/ 6393 h 10000"/>
                <a:gd name="connsiteX570" fmla="*/ 8926 w 10746"/>
                <a:gd name="connsiteY570" fmla="*/ 6385 h 10000"/>
                <a:gd name="connsiteX571" fmla="*/ 8931 w 10746"/>
                <a:gd name="connsiteY571" fmla="*/ 6385 h 10000"/>
                <a:gd name="connsiteX572" fmla="*/ 8949 w 10746"/>
                <a:gd name="connsiteY572" fmla="*/ 6359 h 10000"/>
                <a:gd name="connsiteX573" fmla="*/ 8959 w 10746"/>
                <a:gd name="connsiteY573" fmla="*/ 6368 h 10000"/>
                <a:gd name="connsiteX574" fmla="*/ 8963 w 10746"/>
                <a:gd name="connsiteY574" fmla="*/ 6385 h 10000"/>
                <a:gd name="connsiteX575" fmla="*/ 8972 w 10746"/>
                <a:gd name="connsiteY575" fmla="*/ 6359 h 10000"/>
                <a:gd name="connsiteX576" fmla="*/ 8991 w 10746"/>
                <a:gd name="connsiteY576" fmla="*/ 6350 h 10000"/>
                <a:gd name="connsiteX577" fmla="*/ 9000 w 10746"/>
                <a:gd name="connsiteY577" fmla="*/ 6368 h 10000"/>
                <a:gd name="connsiteX578" fmla="*/ 9005 w 10746"/>
                <a:gd name="connsiteY578" fmla="*/ 6393 h 10000"/>
                <a:gd name="connsiteX579" fmla="*/ 9018 w 10746"/>
                <a:gd name="connsiteY579" fmla="*/ 6393 h 10000"/>
                <a:gd name="connsiteX580" fmla="*/ 9023 w 10746"/>
                <a:gd name="connsiteY580" fmla="*/ 6359 h 10000"/>
                <a:gd name="connsiteX581" fmla="*/ 9023 w 10746"/>
                <a:gd name="connsiteY581" fmla="*/ 6333 h 10000"/>
                <a:gd name="connsiteX582" fmla="*/ 9037 w 10746"/>
                <a:gd name="connsiteY582" fmla="*/ 6308 h 10000"/>
                <a:gd name="connsiteX583" fmla="*/ 9074 w 10746"/>
                <a:gd name="connsiteY583" fmla="*/ 6274 h 10000"/>
                <a:gd name="connsiteX584" fmla="*/ 9092 w 10746"/>
                <a:gd name="connsiteY584" fmla="*/ 6222 h 10000"/>
                <a:gd name="connsiteX585" fmla="*/ 9097 w 10746"/>
                <a:gd name="connsiteY585" fmla="*/ 6231 h 10000"/>
                <a:gd name="connsiteX586" fmla="*/ 9097 w 10746"/>
                <a:gd name="connsiteY586" fmla="*/ 6248 h 10000"/>
                <a:gd name="connsiteX587" fmla="*/ 9097 w 10746"/>
                <a:gd name="connsiteY587" fmla="*/ 6274 h 10000"/>
                <a:gd name="connsiteX588" fmla="*/ 9097 w 10746"/>
                <a:gd name="connsiteY588" fmla="*/ 6308 h 10000"/>
                <a:gd name="connsiteX589" fmla="*/ 9092 w 10746"/>
                <a:gd name="connsiteY589" fmla="*/ 6368 h 10000"/>
                <a:gd name="connsiteX590" fmla="*/ 9092 w 10746"/>
                <a:gd name="connsiteY590" fmla="*/ 6385 h 10000"/>
                <a:gd name="connsiteX591" fmla="*/ 9092 w 10746"/>
                <a:gd name="connsiteY591" fmla="*/ 6393 h 10000"/>
                <a:gd name="connsiteX592" fmla="*/ 9092 w 10746"/>
                <a:gd name="connsiteY592" fmla="*/ 6393 h 10000"/>
                <a:gd name="connsiteX593" fmla="*/ 9143 w 10746"/>
                <a:gd name="connsiteY593" fmla="*/ 6299 h 10000"/>
                <a:gd name="connsiteX594" fmla="*/ 9143 w 10746"/>
                <a:gd name="connsiteY594" fmla="*/ 6282 h 10000"/>
                <a:gd name="connsiteX595" fmla="*/ 9143 w 10746"/>
                <a:gd name="connsiteY595" fmla="*/ 6256 h 10000"/>
                <a:gd name="connsiteX596" fmla="*/ 9143 w 10746"/>
                <a:gd name="connsiteY596" fmla="*/ 6256 h 10000"/>
                <a:gd name="connsiteX597" fmla="*/ 9157 w 10746"/>
                <a:gd name="connsiteY597" fmla="*/ 6274 h 10000"/>
                <a:gd name="connsiteX598" fmla="*/ 9166 w 10746"/>
                <a:gd name="connsiteY598" fmla="*/ 6248 h 10000"/>
                <a:gd name="connsiteX599" fmla="*/ 9180 w 10746"/>
                <a:gd name="connsiteY599" fmla="*/ 6248 h 10000"/>
                <a:gd name="connsiteX600" fmla="*/ 9198 w 10746"/>
                <a:gd name="connsiteY600" fmla="*/ 6222 h 10000"/>
                <a:gd name="connsiteX601" fmla="*/ 9212 w 10746"/>
                <a:gd name="connsiteY601" fmla="*/ 6222 h 10000"/>
                <a:gd name="connsiteX602" fmla="*/ 9226 w 10746"/>
                <a:gd name="connsiteY602" fmla="*/ 6197 h 10000"/>
                <a:gd name="connsiteX603" fmla="*/ 9230 w 10746"/>
                <a:gd name="connsiteY603" fmla="*/ 6214 h 10000"/>
                <a:gd name="connsiteX604" fmla="*/ 9272 w 10746"/>
                <a:gd name="connsiteY604" fmla="*/ 6214 h 10000"/>
                <a:gd name="connsiteX605" fmla="*/ 9304 w 10746"/>
                <a:gd name="connsiteY605" fmla="*/ 6231 h 10000"/>
                <a:gd name="connsiteX606" fmla="*/ 9318 w 10746"/>
                <a:gd name="connsiteY606" fmla="*/ 6248 h 10000"/>
                <a:gd name="connsiteX607" fmla="*/ 9327 w 10746"/>
                <a:gd name="connsiteY607" fmla="*/ 6282 h 10000"/>
                <a:gd name="connsiteX608" fmla="*/ 9355 w 10746"/>
                <a:gd name="connsiteY608" fmla="*/ 6350 h 10000"/>
                <a:gd name="connsiteX609" fmla="*/ 9355 w 10746"/>
                <a:gd name="connsiteY609" fmla="*/ 6359 h 10000"/>
                <a:gd name="connsiteX610" fmla="*/ 9364 w 10746"/>
                <a:gd name="connsiteY610" fmla="*/ 6368 h 10000"/>
                <a:gd name="connsiteX611" fmla="*/ 9373 w 10746"/>
                <a:gd name="connsiteY611" fmla="*/ 6359 h 10000"/>
                <a:gd name="connsiteX612" fmla="*/ 9373 w 10746"/>
                <a:gd name="connsiteY612" fmla="*/ 6325 h 10000"/>
                <a:gd name="connsiteX613" fmla="*/ 9387 w 10746"/>
                <a:gd name="connsiteY613" fmla="*/ 6256 h 10000"/>
                <a:gd name="connsiteX614" fmla="*/ 9387 w 10746"/>
                <a:gd name="connsiteY614" fmla="*/ 6248 h 10000"/>
                <a:gd name="connsiteX615" fmla="*/ 9378 w 10746"/>
                <a:gd name="connsiteY615" fmla="*/ 6248 h 10000"/>
                <a:gd name="connsiteX616" fmla="*/ 9406 w 10746"/>
                <a:gd name="connsiteY616" fmla="*/ 6222 h 10000"/>
                <a:gd name="connsiteX617" fmla="*/ 9415 w 10746"/>
                <a:gd name="connsiteY617" fmla="*/ 6222 h 10000"/>
                <a:gd name="connsiteX618" fmla="*/ 9415 w 10746"/>
                <a:gd name="connsiteY618" fmla="*/ 6197 h 10000"/>
                <a:gd name="connsiteX619" fmla="*/ 9419 w 10746"/>
                <a:gd name="connsiteY619" fmla="*/ 6214 h 10000"/>
                <a:gd name="connsiteX620" fmla="*/ 9424 w 10746"/>
                <a:gd name="connsiteY620" fmla="*/ 6214 h 10000"/>
                <a:gd name="connsiteX621" fmla="*/ 9447 w 10746"/>
                <a:gd name="connsiteY621" fmla="*/ 6171 h 10000"/>
                <a:gd name="connsiteX622" fmla="*/ 9452 w 10746"/>
                <a:gd name="connsiteY622" fmla="*/ 6171 h 10000"/>
                <a:gd name="connsiteX623" fmla="*/ 9452 w 10746"/>
                <a:gd name="connsiteY623" fmla="*/ 6162 h 10000"/>
                <a:gd name="connsiteX624" fmla="*/ 9461 w 10746"/>
                <a:gd name="connsiteY624" fmla="*/ 6137 h 10000"/>
                <a:gd name="connsiteX625" fmla="*/ 9475 w 10746"/>
                <a:gd name="connsiteY625" fmla="*/ 6137 h 10000"/>
                <a:gd name="connsiteX626" fmla="*/ 9475 w 10746"/>
                <a:gd name="connsiteY626" fmla="*/ 6137 h 10000"/>
                <a:gd name="connsiteX627" fmla="*/ 9479 w 10746"/>
                <a:gd name="connsiteY627" fmla="*/ 6120 h 10000"/>
                <a:gd name="connsiteX628" fmla="*/ 9488 w 10746"/>
                <a:gd name="connsiteY628" fmla="*/ 6120 h 10000"/>
                <a:gd name="connsiteX629" fmla="*/ 9488 w 10746"/>
                <a:gd name="connsiteY629" fmla="*/ 6111 h 10000"/>
                <a:gd name="connsiteX630" fmla="*/ 9479 w 10746"/>
                <a:gd name="connsiteY630" fmla="*/ 6103 h 10000"/>
                <a:gd name="connsiteX631" fmla="*/ 9479 w 10746"/>
                <a:gd name="connsiteY631" fmla="*/ 6085 h 10000"/>
                <a:gd name="connsiteX632" fmla="*/ 9488 w 10746"/>
                <a:gd name="connsiteY632" fmla="*/ 6103 h 10000"/>
                <a:gd name="connsiteX633" fmla="*/ 9493 w 10746"/>
                <a:gd name="connsiteY633" fmla="*/ 6111 h 10000"/>
                <a:gd name="connsiteX634" fmla="*/ 9498 w 10746"/>
                <a:gd name="connsiteY634" fmla="*/ 6103 h 10000"/>
                <a:gd name="connsiteX635" fmla="*/ 9507 w 10746"/>
                <a:gd name="connsiteY635" fmla="*/ 6077 h 10000"/>
                <a:gd name="connsiteX636" fmla="*/ 9498 w 10746"/>
                <a:gd name="connsiteY636" fmla="*/ 6060 h 10000"/>
                <a:gd name="connsiteX637" fmla="*/ 9512 w 10746"/>
                <a:gd name="connsiteY637" fmla="*/ 6060 h 10000"/>
                <a:gd name="connsiteX638" fmla="*/ 9525 w 10746"/>
                <a:gd name="connsiteY638" fmla="*/ 6034 h 10000"/>
                <a:gd name="connsiteX639" fmla="*/ 9535 w 10746"/>
                <a:gd name="connsiteY639" fmla="*/ 6034 h 10000"/>
                <a:gd name="connsiteX640" fmla="*/ 9535 w 10746"/>
                <a:gd name="connsiteY640" fmla="*/ 6026 h 10000"/>
                <a:gd name="connsiteX641" fmla="*/ 9525 w 10746"/>
                <a:gd name="connsiteY641" fmla="*/ 6009 h 10000"/>
                <a:gd name="connsiteX642" fmla="*/ 9535 w 10746"/>
                <a:gd name="connsiteY642" fmla="*/ 6000 h 10000"/>
                <a:gd name="connsiteX643" fmla="*/ 9539 w 10746"/>
                <a:gd name="connsiteY643" fmla="*/ 6009 h 10000"/>
                <a:gd name="connsiteX644" fmla="*/ 9548 w 10746"/>
                <a:gd name="connsiteY644" fmla="*/ 6009 h 10000"/>
                <a:gd name="connsiteX645" fmla="*/ 9553 w 10746"/>
                <a:gd name="connsiteY645" fmla="*/ 6000 h 10000"/>
                <a:gd name="connsiteX646" fmla="*/ 9562 w 10746"/>
                <a:gd name="connsiteY646" fmla="*/ 5983 h 10000"/>
                <a:gd name="connsiteX647" fmla="*/ 9562 w 10746"/>
                <a:gd name="connsiteY647" fmla="*/ 5974 h 10000"/>
                <a:gd name="connsiteX648" fmla="*/ 9567 w 10746"/>
                <a:gd name="connsiteY648" fmla="*/ 5974 h 10000"/>
                <a:gd name="connsiteX649" fmla="*/ 9567 w 10746"/>
                <a:gd name="connsiteY649" fmla="*/ 5966 h 10000"/>
                <a:gd name="connsiteX650" fmla="*/ 9567 w 10746"/>
                <a:gd name="connsiteY650" fmla="*/ 5940 h 10000"/>
                <a:gd name="connsiteX651" fmla="*/ 9571 w 10746"/>
                <a:gd name="connsiteY651" fmla="*/ 5915 h 10000"/>
                <a:gd name="connsiteX652" fmla="*/ 9581 w 10746"/>
                <a:gd name="connsiteY652" fmla="*/ 5923 h 10000"/>
                <a:gd name="connsiteX653" fmla="*/ 9585 w 10746"/>
                <a:gd name="connsiteY653" fmla="*/ 5940 h 10000"/>
                <a:gd name="connsiteX654" fmla="*/ 9594 w 10746"/>
                <a:gd name="connsiteY654" fmla="*/ 5949 h 10000"/>
                <a:gd name="connsiteX655" fmla="*/ 9599 w 10746"/>
                <a:gd name="connsiteY655" fmla="*/ 5940 h 10000"/>
                <a:gd name="connsiteX656" fmla="*/ 9613 w 10746"/>
                <a:gd name="connsiteY656" fmla="*/ 5915 h 10000"/>
                <a:gd name="connsiteX657" fmla="*/ 9645 w 10746"/>
                <a:gd name="connsiteY657" fmla="*/ 5889 h 10000"/>
                <a:gd name="connsiteX658" fmla="*/ 9654 w 10746"/>
                <a:gd name="connsiteY658" fmla="*/ 5872 h 10000"/>
                <a:gd name="connsiteX659" fmla="*/ 9673 w 10746"/>
                <a:gd name="connsiteY659" fmla="*/ 5863 h 10000"/>
                <a:gd name="connsiteX660" fmla="*/ 9682 w 10746"/>
                <a:gd name="connsiteY660" fmla="*/ 5838 h 10000"/>
                <a:gd name="connsiteX661" fmla="*/ 9682 w 10746"/>
                <a:gd name="connsiteY661" fmla="*/ 5829 h 10000"/>
                <a:gd name="connsiteX662" fmla="*/ 9682 w 10746"/>
                <a:gd name="connsiteY662" fmla="*/ 5812 h 10000"/>
                <a:gd name="connsiteX663" fmla="*/ 9687 w 10746"/>
                <a:gd name="connsiteY663" fmla="*/ 5812 h 10000"/>
                <a:gd name="connsiteX664" fmla="*/ 9687 w 10746"/>
                <a:gd name="connsiteY664" fmla="*/ 5829 h 10000"/>
                <a:gd name="connsiteX665" fmla="*/ 9687 w 10746"/>
                <a:gd name="connsiteY665" fmla="*/ 5829 h 10000"/>
                <a:gd name="connsiteX666" fmla="*/ 9719 w 10746"/>
                <a:gd name="connsiteY666" fmla="*/ 5803 h 10000"/>
                <a:gd name="connsiteX667" fmla="*/ 9728 w 10746"/>
                <a:gd name="connsiteY667" fmla="*/ 5803 h 10000"/>
                <a:gd name="connsiteX668" fmla="*/ 9779 w 10746"/>
                <a:gd name="connsiteY668" fmla="*/ 5726 h 10000"/>
                <a:gd name="connsiteX669" fmla="*/ 9816 w 10746"/>
                <a:gd name="connsiteY669" fmla="*/ 5709 h 10000"/>
                <a:gd name="connsiteX670" fmla="*/ 9820 w 10746"/>
                <a:gd name="connsiteY670" fmla="*/ 5701 h 10000"/>
                <a:gd name="connsiteX671" fmla="*/ 9816 w 10746"/>
                <a:gd name="connsiteY671" fmla="*/ 5692 h 10000"/>
                <a:gd name="connsiteX672" fmla="*/ 9816 w 10746"/>
                <a:gd name="connsiteY672" fmla="*/ 5692 h 10000"/>
                <a:gd name="connsiteX673" fmla="*/ 9802 w 10746"/>
                <a:gd name="connsiteY673" fmla="*/ 5624 h 10000"/>
                <a:gd name="connsiteX674" fmla="*/ 9806 w 10746"/>
                <a:gd name="connsiteY674" fmla="*/ 5624 h 10000"/>
                <a:gd name="connsiteX675" fmla="*/ 9820 w 10746"/>
                <a:gd name="connsiteY675" fmla="*/ 5675 h 10000"/>
                <a:gd name="connsiteX676" fmla="*/ 9829 w 10746"/>
                <a:gd name="connsiteY676" fmla="*/ 5675 h 10000"/>
                <a:gd name="connsiteX677" fmla="*/ 9829 w 10746"/>
                <a:gd name="connsiteY677" fmla="*/ 5692 h 10000"/>
                <a:gd name="connsiteX678" fmla="*/ 9829 w 10746"/>
                <a:gd name="connsiteY678" fmla="*/ 5701 h 10000"/>
                <a:gd name="connsiteX679" fmla="*/ 9839 w 10746"/>
                <a:gd name="connsiteY679" fmla="*/ 5701 h 10000"/>
                <a:gd name="connsiteX680" fmla="*/ 9839 w 10746"/>
                <a:gd name="connsiteY680" fmla="*/ 5692 h 10000"/>
                <a:gd name="connsiteX681" fmla="*/ 9839 w 10746"/>
                <a:gd name="connsiteY681" fmla="*/ 5675 h 10000"/>
                <a:gd name="connsiteX682" fmla="*/ 9848 w 10746"/>
                <a:gd name="connsiteY682" fmla="*/ 5675 h 10000"/>
                <a:gd name="connsiteX683" fmla="*/ 9848 w 10746"/>
                <a:gd name="connsiteY683" fmla="*/ 5692 h 10000"/>
                <a:gd name="connsiteX684" fmla="*/ 9853 w 10746"/>
                <a:gd name="connsiteY684" fmla="*/ 5701 h 10000"/>
                <a:gd name="connsiteX685" fmla="*/ 9880 w 10746"/>
                <a:gd name="connsiteY685" fmla="*/ 5709 h 10000"/>
                <a:gd name="connsiteX686" fmla="*/ 9912 w 10746"/>
                <a:gd name="connsiteY686" fmla="*/ 5752 h 10000"/>
                <a:gd name="connsiteX687" fmla="*/ 9926 w 10746"/>
                <a:gd name="connsiteY687" fmla="*/ 5761 h 10000"/>
                <a:gd name="connsiteX688" fmla="*/ 9935 w 10746"/>
                <a:gd name="connsiteY688" fmla="*/ 5761 h 10000"/>
                <a:gd name="connsiteX689" fmla="*/ 9940 w 10746"/>
                <a:gd name="connsiteY689" fmla="*/ 5735 h 10000"/>
                <a:gd name="connsiteX690" fmla="*/ 9949 w 10746"/>
                <a:gd name="connsiteY690" fmla="*/ 5735 h 10000"/>
                <a:gd name="connsiteX691" fmla="*/ 9968 w 10746"/>
                <a:gd name="connsiteY691" fmla="*/ 5692 h 10000"/>
                <a:gd name="connsiteX692" fmla="*/ 9968 w 10746"/>
                <a:gd name="connsiteY692" fmla="*/ 5650 h 10000"/>
                <a:gd name="connsiteX693" fmla="*/ 9968 w 10746"/>
                <a:gd name="connsiteY693" fmla="*/ 5624 h 10000"/>
                <a:gd name="connsiteX694" fmla="*/ 9935 w 10746"/>
                <a:gd name="connsiteY694" fmla="*/ 5598 h 10000"/>
                <a:gd name="connsiteX695" fmla="*/ 9935 w 10746"/>
                <a:gd name="connsiteY695" fmla="*/ 5590 h 10000"/>
                <a:gd name="connsiteX696" fmla="*/ 9935 w 10746"/>
                <a:gd name="connsiteY696" fmla="*/ 5573 h 10000"/>
                <a:gd name="connsiteX697" fmla="*/ 9935 w 10746"/>
                <a:gd name="connsiteY697" fmla="*/ 5573 h 10000"/>
                <a:gd name="connsiteX698" fmla="*/ 9940 w 10746"/>
                <a:gd name="connsiteY698" fmla="*/ 5573 h 10000"/>
                <a:gd name="connsiteX699" fmla="*/ 9954 w 10746"/>
                <a:gd name="connsiteY699" fmla="*/ 5573 h 10000"/>
                <a:gd name="connsiteX700" fmla="*/ 9963 w 10746"/>
                <a:gd name="connsiteY700" fmla="*/ 5564 h 10000"/>
                <a:gd name="connsiteX701" fmla="*/ 9954 w 10746"/>
                <a:gd name="connsiteY701" fmla="*/ 5530 h 10000"/>
                <a:gd name="connsiteX702" fmla="*/ 9949 w 10746"/>
                <a:gd name="connsiteY702" fmla="*/ 5530 h 10000"/>
                <a:gd name="connsiteX703" fmla="*/ 9926 w 10746"/>
                <a:gd name="connsiteY703" fmla="*/ 5479 h 10000"/>
                <a:gd name="connsiteX704" fmla="*/ 9912 w 10746"/>
                <a:gd name="connsiteY704" fmla="*/ 5325 h 10000"/>
                <a:gd name="connsiteX705" fmla="*/ 9903 w 10746"/>
                <a:gd name="connsiteY705" fmla="*/ 5342 h 10000"/>
                <a:gd name="connsiteX706" fmla="*/ 9889 w 10746"/>
                <a:gd name="connsiteY706" fmla="*/ 5316 h 10000"/>
                <a:gd name="connsiteX707" fmla="*/ 9889 w 10746"/>
                <a:gd name="connsiteY707" fmla="*/ 5291 h 10000"/>
                <a:gd name="connsiteX708" fmla="*/ 9903 w 10746"/>
                <a:gd name="connsiteY708" fmla="*/ 5291 h 10000"/>
                <a:gd name="connsiteX709" fmla="*/ 9903 w 10746"/>
                <a:gd name="connsiteY709" fmla="*/ 5291 h 10000"/>
                <a:gd name="connsiteX710" fmla="*/ 9894 w 10746"/>
                <a:gd name="connsiteY710" fmla="*/ 5214 h 10000"/>
                <a:gd name="connsiteX711" fmla="*/ 9880 w 10746"/>
                <a:gd name="connsiteY711" fmla="*/ 5239 h 10000"/>
                <a:gd name="connsiteX712" fmla="*/ 9876 w 10746"/>
                <a:gd name="connsiteY712" fmla="*/ 5256 h 10000"/>
                <a:gd name="connsiteX713" fmla="*/ 9862 w 10746"/>
                <a:gd name="connsiteY713" fmla="*/ 5239 h 10000"/>
                <a:gd name="connsiteX714" fmla="*/ 9853 w 10746"/>
                <a:gd name="connsiteY714" fmla="*/ 5214 h 10000"/>
                <a:gd name="connsiteX715" fmla="*/ 9839 w 10746"/>
                <a:gd name="connsiteY715" fmla="*/ 5214 h 10000"/>
                <a:gd name="connsiteX716" fmla="*/ 9834 w 10746"/>
                <a:gd name="connsiteY716" fmla="*/ 5188 h 10000"/>
                <a:gd name="connsiteX717" fmla="*/ 9834 w 10746"/>
                <a:gd name="connsiteY717" fmla="*/ 5103 h 10000"/>
                <a:gd name="connsiteX718" fmla="*/ 9839 w 10746"/>
                <a:gd name="connsiteY718" fmla="*/ 5094 h 10000"/>
                <a:gd name="connsiteX719" fmla="*/ 9853 w 10746"/>
                <a:gd name="connsiteY719" fmla="*/ 5103 h 10000"/>
                <a:gd name="connsiteX720" fmla="*/ 9876 w 10746"/>
                <a:gd name="connsiteY720" fmla="*/ 5128 h 10000"/>
                <a:gd name="connsiteX721" fmla="*/ 9889 w 10746"/>
                <a:gd name="connsiteY721" fmla="*/ 5103 h 10000"/>
                <a:gd name="connsiteX722" fmla="*/ 9880 w 10746"/>
                <a:gd name="connsiteY722" fmla="*/ 5120 h 10000"/>
                <a:gd name="connsiteX723" fmla="*/ 9889 w 10746"/>
                <a:gd name="connsiteY723" fmla="*/ 5128 h 10000"/>
                <a:gd name="connsiteX724" fmla="*/ 9912 w 10746"/>
                <a:gd name="connsiteY724" fmla="*/ 5128 h 10000"/>
                <a:gd name="connsiteX725" fmla="*/ 9908 w 10746"/>
                <a:gd name="connsiteY725" fmla="*/ 5145 h 10000"/>
                <a:gd name="connsiteX726" fmla="*/ 9908 w 10746"/>
                <a:gd name="connsiteY726" fmla="*/ 5154 h 10000"/>
                <a:gd name="connsiteX727" fmla="*/ 9922 w 10746"/>
                <a:gd name="connsiteY727" fmla="*/ 5128 h 10000"/>
                <a:gd name="connsiteX728" fmla="*/ 9935 w 10746"/>
                <a:gd name="connsiteY728" fmla="*/ 5103 h 10000"/>
                <a:gd name="connsiteX729" fmla="*/ 9968 w 10746"/>
                <a:gd name="connsiteY729" fmla="*/ 5077 h 10000"/>
                <a:gd name="connsiteX730" fmla="*/ 10000 w 10746"/>
                <a:gd name="connsiteY730" fmla="*/ 5017 h 10000"/>
                <a:gd name="connsiteX731" fmla="*/ 10307 w 10746"/>
                <a:gd name="connsiteY731" fmla="*/ 4899 h 10000"/>
                <a:gd name="connsiteX732" fmla="*/ 10711 w 10746"/>
                <a:gd name="connsiteY732" fmla="*/ 4746 h 10000"/>
                <a:gd name="connsiteX733" fmla="*/ 10561 w 10746"/>
                <a:gd name="connsiteY733" fmla="*/ 4442 h 10000"/>
                <a:gd name="connsiteX734" fmla="*/ 10354 w 10746"/>
                <a:gd name="connsiteY734" fmla="*/ 4302 h 10000"/>
                <a:gd name="connsiteX735" fmla="*/ 9912 w 10746"/>
                <a:gd name="connsiteY735" fmla="*/ 3675 h 10000"/>
                <a:gd name="connsiteX736" fmla="*/ 9903 w 10746"/>
                <a:gd name="connsiteY736" fmla="*/ 3667 h 10000"/>
                <a:gd name="connsiteX737" fmla="*/ 9894 w 10746"/>
                <a:gd name="connsiteY737" fmla="*/ 3641 h 10000"/>
                <a:gd name="connsiteX738" fmla="*/ 9889 w 10746"/>
                <a:gd name="connsiteY738" fmla="*/ 3650 h 10000"/>
                <a:gd name="connsiteX739" fmla="*/ 9848 w 10746"/>
                <a:gd name="connsiteY739" fmla="*/ 3598 h 10000"/>
                <a:gd name="connsiteX740" fmla="*/ 9829 w 10746"/>
                <a:gd name="connsiteY740" fmla="*/ 3581 h 10000"/>
                <a:gd name="connsiteX741" fmla="*/ 9820 w 10746"/>
                <a:gd name="connsiteY741" fmla="*/ 3581 h 10000"/>
                <a:gd name="connsiteX742" fmla="*/ 9793 w 10746"/>
                <a:gd name="connsiteY742" fmla="*/ 3556 h 10000"/>
                <a:gd name="connsiteX743" fmla="*/ 9779 w 10746"/>
                <a:gd name="connsiteY743" fmla="*/ 3556 h 10000"/>
                <a:gd name="connsiteX744" fmla="*/ 9747 w 10746"/>
                <a:gd name="connsiteY744" fmla="*/ 3487 h 10000"/>
                <a:gd name="connsiteX745" fmla="*/ 9668 w 10746"/>
                <a:gd name="connsiteY745" fmla="*/ 3479 h 10000"/>
                <a:gd name="connsiteX746" fmla="*/ 9659 w 10746"/>
                <a:gd name="connsiteY746" fmla="*/ 3487 h 10000"/>
                <a:gd name="connsiteX747" fmla="*/ 9645 w 10746"/>
                <a:gd name="connsiteY747" fmla="*/ 3504 h 10000"/>
                <a:gd name="connsiteX748" fmla="*/ 9631 w 10746"/>
                <a:gd name="connsiteY748" fmla="*/ 3487 h 10000"/>
                <a:gd name="connsiteX749" fmla="*/ 9613 w 10746"/>
                <a:gd name="connsiteY749" fmla="*/ 3479 h 10000"/>
                <a:gd name="connsiteX750" fmla="*/ 9599 w 10746"/>
                <a:gd name="connsiteY750" fmla="*/ 3479 h 10000"/>
                <a:gd name="connsiteX751" fmla="*/ 9571 w 10746"/>
                <a:gd name="connsiteY751" fmla="*/ 3479 h 10000"/>
                <a:gd name="connsiteX752" fmla="*/ 9562 w 10746"/>
                <a:gd name="connsiteY752" fmla="*/ 3487 h 10000"/>
                <a:gd name="connsiteX753" fmla="*/ 9539 w 10746"/>
                <a:gd name="connsiteY753" fmla="*/ 3487 h 10000"/>
                <a:gd name="connsiteX754" fmla="*/ 9507 w 10746"/>
                <a:gd name="connsiteY754" fmla="*/ 3453 h 10000"/>
                <a:gd name="connsiteX755" fmla="*/ 9498 w 10746"/>
                <a:gd name="connsiteY755" fmla="*/ 3453 h 10000"/>
                <a:gd name="connsiteX756" fmla="*/ 9387 w 10746"/>
                <a:gd name="connsiteY756" fmla="*/ 3419 h 10000"/>
                <a:gd name="connsiteX757" fmla="*/ 9373 w 10746"/>
                <a:gd name="connsiteY757" fmla="*/ 3427 h 10000"/>
                <a:gd name="connsiteX758" fmla="*/ 9373 w 10746"/>
                <a:gd name="connsiteY758" fmla="*/ 3462 h 10000"/>
                <a:gd name="connsiteX759" fmla="*/ 9378 w 10746"/>
                <a:gd name="connsiteY759" fmla="*/ 3479 h 10000"/>
                <a:gd name="connsiteX760" fmla="*/ 9378 w 10746"/>
                <a:gd name="connsiteY760" fmla="*/ 3530 h 10000"/>
                <a:gd name="connsiteX761" fmla="*/ 9355 w 10746"/>
                <a:gd name="connsiteY761" fmla="*/ 3538 h 10000"/>
                <a:gd name="connsiteX762" fmla="*/ 9355 w 10746"/>
                <a:gd name="connsiteY762" fmla="*/ 3581 h 10000"/>
                <a:gd name="connsiteX763" fmla="*/ 9387 w 10746"/>
                <a:gd name="connsiteY763" fmla="*/ 3590 h 10000"/>
                <a:gd name="connsiteX764" fmla="*/ 9401 w 10746"/>
                <a:gd name="connsiteY764" fmla="*/ 3667 h 10000"/>
                <a:gd name="connsiteX765" fmla="*/ 9406 w 10746"/>
                <a:gd name="connsiteY765" fmla="*/ 3675 h 10000"/>
                <a:gd name="connsiteX766" fmla="*/ 9406 w 10746"/>
                <a:gd name="connsiteY766" fmla="*/ 3701 h 10000"/>
                <a:gd name="connsiteX767" fmla="*/ 9415 w 10746"/>
                <a:gd name="connsiteY767" fmla="*/ 3752 h 10000"/>
                <a:gd name="connsiteX768" fmla="*/ 9373 w 10746"/>
                <a:gd name="connsiteY768" fmla="*/ 3838 h 10000"/>
                <a:gd name="connsiteX769" fmla="*/ 9355 w 10746"/>
                <a:gd name="connsiteY769" fmla="*/ 3863 h 10000"/>
                <a:gd name="connsiteX770" fmla="*/ 9327 w 10746"/>
                <a:gd name="connsiteY770" fmla="*/ 3863 h 10000"/>
                <a:gd name="connsiteX771" fmla="*/ 9313 w 10746"/>
                <a:gd name="connsiteY771" fmla="*/ 3846 h 10000"/>
                <a:gd name="connsiteX772" fmla="*/ 9300 w 10746"/>
                <a:gd name="connsiteY772" fmla="*/ 3778 h 10000"/>
                <a:gd name="connsiteX773" fmla="*/ 9281 w 10746"/>
                <a:gd name="connsiteY773" fmla="*/ 3752 h 10000"/>
                <a:gd name="connsiteX774" fmla="*/ 9281 w 10746"/>
                <a:gd name="connsiteY774" fmla="*/ 3735 h 10000"/>
                <a:gd name="connsiteX775" fmla="*/ 9267 w 10746"/>
                <a:gd name="connsiteY775" fmla="*/ 3726 h 10000"/>
                <a:gd name="connsiteX776" fmla="*/ 9240 w 10746"/>
                <a:gd name="connsiteY776" fmla="*/ 3726 h 10000"/>
                <a:gd name="connsiteX777" fmla="*/ 9230 w 10746"/>
                <a:gd name="connsiteY777" fmla="*/ 3718 h 10000"/>
                <a:gd name="connsiteX778" fmla="*/ 9226 w 10746"/>
                <a:gd name="connsiteY778" fmla="*/ 3590 h 10000"/>
                <a:gd name="connsiteX779" fmla="*/ 9207 w 10746"/>
                <a:gd name="connsiteY779" fmla="*/ 3581 h 10000"/>
                <a:gd name="connsiteX780" fmla="*/ 9207 w 10746"/>
                <a:gd name="connsiteY780" fmla="*/ 3556 h 10000"/>
                <a:gd name="connsiteX781" fmla="*/ 9217 w 10746"/>
                <a:gd name="connsiteY781" fmla="*/ 3538 h 10000"/>
                <a:gd name="connsiteX782" fmla="*/ 9212 w 10746"/>
                <a:gd name="connsiteY782" fmla="*/ 3538 h 10000"/>
                <a:gd name="connsiteX783" fmla="*/ 9198 w 10746"/>
                <a:gd name="connsiteY783" fmla="*/ 3513 h 10000"/>
                <a:gd name="connsiteX784" fmla="*/ 9194 w 10746"/>
                <a:gd name="connsiteY784" fmla="*/ 3530 h 10000"/>
                <a:gd name="connsiteX785" fmla="*/ 9143 w 10746"/>
                <a:gd name="connsiteY785" fmla="*/ 3615 h 10000"/>
                <a:gd name="connsiteX786" fmla="*/ 9138 w 10746"/>
                <a:gd name="connsiteY786" fmla="*/ 3615 h 10000"/>
                <a:gd name="connsiteX787" fmla="*/ 9134 w 10746"/>
                <a:gd name="connsiteY787" fmla="*/ 3615 h 10000"/>
                <a:gd name="connsiteX788" fmla="*/ 9106 w 10746"/>
                <a:gd name="connsiteY788" fmla="*/ 3615 h 10000"/>
                <a:gd name="connsiteX789" fmla="*/ 9078 w 10746"/>
                <a:gd name="connsiteY789" fmla="*/ 3590 h 10000"/>
                <a:gd name="connsiteX790" fmla="*/ 9037 w 10746"/>
                <a:gd name="connsiteY790" fmla="*/ 3581 h 10000"/>
                <a:gd name="connsiteX791" fmla="*/ 9023 w 10746"/>
                <a:gd name="connsiteY791" fmla="*/ 3590 h 10000"/>
                <a:gd name="connsiteX792" fmla="*/ 9018 w 10746"/>
                <a:gd name="connsiteY792" fmla="*/ 3590 h 10000"/>
                <a:gd name="connsiteX793" fmla="*/ 9018 w 10746"/>
                <a:gd name="connsiteY793" fmla="*/ 3590 h 10000"/>
                <a:gd name="connsiteX794" fmla="*/ 8991 w 10746"/>
                <a:gd name="connsiteY794" fmla="*/ 3590 h 10000"/>
                <a:gd name="connsiteX795" fmla="*/ 8972 w 10746"/>
                <a:gd name="connsiteY795" fmla="*/ 3581 h 10000"/>
                <a:gd name="connsiteX796" fmla="*/ 8959 w 10746"/>
                <a:gd name="connsiteY796" fmla="*/ 3513 h 10000"/>
                <a:gd name="connsiteX797" fmla="*/ 8931 w 10746"/>
                <a:gd name="connsiteY797" fmla="*/ 3538 h 10000"/>
                <a:gd name="connsiteX798" fmla="*/ 8889 w 10746"/>
                <a:gd name="connsiteY798" fmla="*/ 3538 h 10000"/>
                <a:gd name="connsiteX799" fmla="*/ 8871 w 10746"/>
                <a:gd name="connsiteY799" fmla="*/ 3556 h 10000"/>
                <a:gd name="connsiteX800" fmla="*/ 8857 w 10746"/>
                <a:gd name="connsiteY800" fmla="*/ 3538 h 10000"/>
                <a:gd name="connsiteX801" fmla="*/ 8843 w 10746"/>
                <a:gd name="connsiteY801" fmla="*/ 3538 h 10000"/>
                <a:gd name="connsiteX802" fmla="*/ 8839 w 10746"/>
                <a:gd name="connsiteY802" fmla="*/ 3556 h 10000"/>
                <a:gd name="connsiteX803" fmla="*/ 8839 w 10746"/>
                <a:gd name="connsiteY803" fmla="*/ 3581 h 10000"/>
                <a:gd name="connsiteX804" fmla="*/ 8825 w 10746"/>
                <a:gd name="connsiteY804" fmla="*/ 3564 h 10000"/>
                <a:gd name="connsiteX805" fmla="*/ 8825 w 10746"/>
                <a:gd name="connsiteY805" fmla="*/ 3615 h 10000"/>
                <a:gd name="connsiteX806" fmla="*/ 8802 w 10746"/>
                <a:gd name="connsiteY806" fmla="*/ 3598 h 10000"/>
                <a:gd name="connsiteX807" fmla="*/ 8797 w 10746"/>
                <a:gd name="connsiteY807" fmla="*/ 3641 h 10000"/>
                <a:gd name="connsiteX808" fmla="*/ 8783 w 10746"/>
                <a:gd name="connsiteY808" fmla="*/ 3667 h 10000"/>
                <a:gd name="connsiteX809" fmla="*/ 8779 w 10746"/>
                <a:gd name="connsiteY809" fmla="*/ 3650 h 10000"/>
                <a:gd name="connsiteX810" fmla="*/ 8779 w 10746"/>
                <a:gd name="connsiteY810" fmla="*/ 3615 h 10000"/>
                <a:gd name="connsiteX811" fmla="*/ 8770 w 10746"/>
                <a:gd name="connsiteY811" fmla="*/ 3590 h 10000"/>
                <a:gd name="connsiteX812" fmla="*/ 8765 w 10746"/>
                <a:gd name="connsiteY812" fmla="*/ 3598 h 10000"/>
                <a:gd name="connsiteX813" fmla="*/ 8756 w 10746"/>
                <a:gd name="connsiteY813" fmla="*/ 3590 h 10000"/>
                <a:gd name="connsiteX814" fmla="*/ 8737 w 10746"/>
                <a:gd name="connsiteY814" fmla="*/ 3556 h 10000"/>
                <a:gd name="connsiteX815" fmla="*/ 8724 w 10746"/>
                <a:gd name="connsiteY815" fmla="*/ 3538 h 10000"/>
                <a:gd name="connsiteX816" fmla="*/ 8696 w 10746"/>
                <a:gd name="connsiteY816" fmla="*/ 3538 h 10000"/>
                <a:gd name="connsiteX817" fmla="*/ 8691 w 10746"/>
                <a:gd name="connsiteY817" fmla="*/ 3513 h 10000"/>
                <a:gd name="connsiteX818" fmla="*/ 8668 w 10746"/>
                <a:gd name="connsiteY818" fmla="*/ 3504 h 10000"/>
                <a:gd name="connsiteX819" fmla="*/ 8668 w 10746"/>
                <a:gd name="connsiteY819" fmla="*/ 3487 h 10000"/>
                <a:gd name="connsiteX820" fmla="*/ 8691 w 10746"/>
                <a:gd name="connsiteY820" fmla="*/ 3350 h 10000"/>
                <a:gd name="connsiteX821" fmla="*/ 8691 w 10746"/>
                <a:gd name="connsiteY821" fmla="*/ 3291 h 10000"/>
                <a:gd name="connsiteX822" fmla="*/ 8677 w 10746"/>
                <a:gd name="connsiteY822" fmla="*/ 3239 h 10000"/>
                <a:gd name="connsiteX823" fmla="*/ 8677 w 10746"/>
                <a:gd name="connsiteY823" fmla="*/ 3231 h 10000"/>
                <a:gd name="connsiteX824" fmla="*/ 8636 w 10746"/>
                <a:gd name="connsiteY824" fmla="*/ 3128 h 10000"/>
                <a:gd name="connsiteX825" fmla="*/ 8622 w 10746"/>
                <a:gd name="connsiteY825" fmla="*/ 3120 h 10000"/>
                <a:gd name="connsiteX826" fmla="*/ 8618 w 10746"/>
                <a:gd name="connsiteY826" fmla="*/ 3094 h 10000"/>
                <a:gd name="connsiteX827" fmla="*/ 8594 w 10746"/>
                <a:gd name="connsiteY827" fmla="*/ 3077 h 10000"/>
                <a:gd name="connsiteX828" fmla="*/ 8548 w 10746"/>
                <a:gd name="connsiteY828" fmla="*/ 3077 h 10000"/>
                <a:gd name="connsiteX829" fmla="*/ 8535 w 10746"/>
                <a:gd name="connsiteY829" fmla="*/ 3068 h 10000"/>
                <a:gd name="connsiteX830" fmla="*/ 8429 w 10746"/>
                <a:gd name="connsiteY830" fmla="*/ 3077 h 10000"/>
                <a:gd name="connsiteX831" fmla="*/ 8424 w 10746"/>
                <a:gd name="connsiteY831" fmla="*/ 3077 h 10000"/>
                <a:gd name="connsiteX832" fmla="*/ 8396 w 10746"/>
                <a:gd name="connsiteY832" fmla="*/ 3077 h 10000"/>
                <a:gd name="connsiteX833" fmla="*/ 8387 w 10746"/>
                <a:gd name="connsiteY833" fmla="*/ 3094 h 10000"/>
                <a:gd name="connsiteX834" fmla="*/ 8378 w 10746"/>
                <a:gd name="connsiteY834" fmla="*/ 3094 h 10000"/>
                <a:gd name="connsiteX835" fmla="*/ 8341 w 10746"/>
                <a:gd name="connsiteY835" fmla="*/ 3077 h 10000"/>
                <a:gd name="connsiteX836" fmla="*/ 8336 w 10746"/>
                <a:gd name="connsiteY836" fmla="*/ 3077 h 10000"/>
                <a:gd name="connsiteX837" fmla="*/ 8327 w 10746"/>
                <a:gd name="connsiteY837" fmla="*/ 3103 h 10000"/>
                <a:gd name="connsiteX838" fmla="*/ 8309 w 10746"/>
                <a:gd name="connsiteY838" fmla="*/ 3120 h 10000"/>
                <a:gd name="connsiteX839" fmla="*/ 8304 w 10746"/>
                <a:gd name="connsiteY839" fmla="*/ 3103 h 10000"/>
                <a:gd name="connsiteX840" fmla="*/ 8276 w 10746"/>
                <a:gd name="connsiteY840" fmla="*/ 3103 h 10000"/>
                <a:gd name="connsiteX841" fmla="*/ 8267 w 10746"/>
                <a:gd name="connsiteY841" fmla="*/ 3120 h 10000"/>
                <a:gd name="connsiteX842" fmla="*/ 8253 w 10746"/>
                <a:gd name="connsiteY842" fmla="*/ 3103 h 10000"/>
                <a:gd name="connsiteX843" fmla="*/ 8230 w 10746"/>
                <a:gd name="connsiteY843" fmla="*/ 3128 h 10000"/>
                <a:gd name="connsiteX844" fmla="*/ 8217 w 10746"/>
                <a:gd name="connsiteY844" fmla="*/ 3128 h 10000"/>
                <a:gd name="connsiteX845" fmla="*/ 8203 w 10746"/>
                <a:gd name="connsiteY845" fmla="*/ 3154 h 10000"/>
                <a:gd name="connsiteX846" fmla="*/ 8175 w 10746"/>
                <a:gd name="connsiteY846" fmla="*/ 3094 h 10000"/>
                <a:gd name="connsiteX847" fmla="*/ 8161 w 10746"/>
                <a:gd name="connsiteY847" fmla="*/ 3094 h 10000"/>
                <a:gd name="connsiteX848" fmla="*/ 8157 w 10746"/>
                <a:gd name="connsiteY848" fmla="*/ 3077 h 10000"/>
                <a:gd name="connsiteX849" fmla="*/ 8180 w 10746"/>
                <a:gd name="connsiteY849" fmla="*/ 3068 h 10000"/>
                <a:gd name="connsiteX850" fmla="*/ 8189 w 10746"/>
                <a:gd name="connsiteY850" fmla="*/ 3043 h 10000"/>
                <a:gd name="connsiteX851" fmla="*/ 8189 w 10746"/>
                <a:gd name="connsiteY851" fmla="*/ 3017 h 10000"/>
                <a:gd name="connsiteX852" fmla="*/ 8147 w 10746"/>
                <a:gd name="connsiteY852" fmla="*/ 2940 h 10000"/>
                <a:gd name="connsiteX853" fmla="*/ 8143 w 10746"/>
                <a:gd name="connsiteY853" fmla="*/ 2915 h 10000"/>
                <a:gd name="connsiteX854" fmla="*/ 8143 w 10746"/>
                <a:gd name="connsiteY854" fmla="*/ 2906 h 10000"/>
                <a:gd name="connsiteX855" fmla="*/ 8097 w 10746"/>
                <a:gd name="connsiteY855" fmla="*/ 2932 h 10000"/>
                <a:gd name="connsiteX856" fmla="*/ 8083 w 10746"/>
                <a:gd name="connsiteY856" fmla="*/ 2932 h 10000"/>
                <a:gd name="connsiteX857" fmla="*/ 8074 w 10746"/>
                <a:gd name="connsiteY857" fmla="*/ 2906 h 10000"/>
                <a:gd name="connsiteX858" fmla="*/ 8074 w 10746"/>
                <a:gd name="connsiteY858" fmla="*/ 2897 h 10000"/>
                <a:gd name="connsiteX859" fmla="*/ 8055 w 10746"/>
                <a:gd name="connsiteY859" fmla="*/ 2872 h 10000"/>
                <a:gd name="connsiteX860" fmla="*/ 8046 w 10746"/>
                <a:gd name="connsiteY860" fmla="*/ 2829 h 10000"/>
                <a:gd name="connsiteX861" fmla="*/ 8041 w 10746"/>
                <a:gd name="connsiteY861" fmla="*/ 2829 h 10000"/>
                <a:gd name="connsiteX862" fmla="*/ 8023 w 10746"/>
                <a:gd name="connsiteY862" fmla="*/ 2803 h 10000"/>
                <a:gd name="connsiteX863" fmla="*/ 8014 w 10746"/>
                <a:gd name="connsiteY863" fmla="*/ 2829 h 10000"/>
                <a:gd name="connsiteX864" fmla="*/ 8000 w 10746"/>
                <a:gd name="connsiteY864" fmla="*/ 2829 h 10000"/>
                <a:gd name="connsiteX865" fmla="*/ 7995 w 10746"/>
                <a:gd name="connsiteY865" fmla="*/ 2821 h 10000"/>
                <a:gd name="connsiteX866" fmla="*/ 7972 w 10746"/>
                <a:gd name="connsiteY866" fmla="*/ 2803 h 10000"/>
                <a:gd name="connsiteX867" fmla="*/ 7968 w 10746"/>
                <a:gd name="connsiteY867" fmla="*/ 2821 h 10000"/>
                <a:gd name="connsiteX868" fmla="*/ 7968 w 10746"/>
                <a:gd name="connsiteY868" fmla="*/ 2803 h 10000"/>
                <a:gd name="connsiteX869" fmla="*/ 7995 w 10746"/>
                <a:gd name="connsiteY869" fmla="*/ 2735 h 10000"/>
                <a:gd name="connsiteX870" fmla="*/ 8000 w 10746"/>
                <a:gd name="connsiteY870" fmla="*/ 2735 h 10000"/>
                <a:gd name="connsiteX871" fmla="*/ 8014 w 10746"/>
                <a:gd name="connsiteY871" fmla="*/ 2744 h 10000"/>
                <a:gd name="connsiteX872" fmla="*/ 8023 w 10746"/>
                <a:gd name="connsiteY872" fmla="*/ 2769 h 10000"/>
                <a:gd name="connsiteX873" fmla="*/ 8032 w 10746"/>
                <a:gd name="connsiteY873" fmla="*/ 2744 h 10000"/>
                <a:gd name="connsiteX874" fmla="*/ 8032 w 10746"/>
                <a:gd name="connsiteY874" fmla="*/ 2709 h 10000"/>
                <a:gd name="connsiteX875" fmla="*/ 8023 w 10746"/>
                <a:gd name="connsiteY875" fmla="*/ 2632 h 10000"/>
                <a:gd name="connsiteX876" fmla="*/ 7986 w 10746"/>
                <a:gd name="connsiteY876" fmla="*/ 2581 h 10000"/>
                <a:gd name="connsiteX877" fmla="*/ 7968 w 10746"/>
                <a:gd name="connsiteY877" fmla="*/ 2581 h 10000"/>
                <a:gd name="connsiteX878" fmla="*/ 7963 w 10746"/>
                <a:gd name="connsiteY878" fmla="*/ 2556 h 10000"/>
                <a:gd name="connsiteX879" fmla="*/ 7935 w 10746"/>
                <a:gd name="connsiteY879" fmla="*/ 2547 h 10000"/>
                <a:gd name="connsiteX880" fmla="*/ 7912 w 10746"/>
                <a:gd name="connsiteY880" fmla="*/ 2547 h 10000"/>
                <a:gd name="connsiteX881" fmla="*/ 7912 w 10746"/>
                <a:gd name="connsiteY881" fmla="*/ 2556 h 10000"/>
                <a:gd name="connsiteX882" fmla="*/ 7908 w 10746"/>
                <a:gd name="connsiteY882" fmla="*/ 2547 h 10000"/>
                <a:gd name="connsiteX883" fmla="*/ 7862 w 10746"/>
                <a:gd name="connsiteY883" fmla="*/ 2547 h 10000"/>
                <a:gd name="connsiteX884" fmla="*/ 7848 w 10746"/>
                <a:gd name="connsiteY884" fmla="*/ 2556 h 10000"/>
                <a:gd name="connsiteX885" fmla="*/ 7820 w 10746"/>
                <a:gd name="connsiteY885" fmla="*/ 2547 h 10000"/>
                <a:gd name="connsiteX886" fmla="*/ 7806 w 10746"/>
                <a:gd name="connsiteY886" fmla="*/ 2513 h 10000"/>
                <a:gd name="connsiteX887" fmla="*/ 7788 w 10746"/>
                <a:gd name="connsiteY887" fmla="*/ 2513 h 10000"/>
                <a:gd name="connsiteX888" fmla="*/ 7760 w 10746"/>
                <a:gd name="connsiteY888" fmla="*/ 2470 h 10000"/>
                <a:gd name="connsiteX889" fmla="*/ 7751 w 10746"/>
                <a:gd name="connsiteY889" fmla="*/ 2470 h 10000"/>
                <a:gd name="connsiteX890" fmla="*/ 7705 w 10746"/>
                <a:gd name="connsiteY890" fmla="*/ 2462 h 10000"/>
                <a:gd name="connsiteX891" fmla="*/ 7673 w 10746"/>
                <a:gd name="connsiteY891" fmla="*/ 2419 h 10000"/>
                <a:gd name="connsiteX892" fmla="*/ 7627 w 10746"/>
                <a:gd name="connsiteY892" fmla="*/ 2419 h 10000"/>
                <a:gd name="connsiteX893" fmla="*/ 7613 w 10746"/>
                <a:gd name="connsiteY893" fmla="*/ 2410 h 10000"/>
                <a:gd name="connsiteX894" fmla="*/ 7493 w 10746"/>
                <a:gd name="connsiteY894" fmla="*/ 2393 h 10000"/>
                <a:gd name="connsiteX895" fmla="*/ 7479 w 10746"/>
                <a:gd name="connsiteY895" fmla="*/ 2385 h 10000"/>
                <a:gd name="connsiteX896" fmla="*/ 7479 w 10746"/>
                <a:gd name="connsiteY896" fmla="*/ 2376 h 10000"/>
                <a:gd name="connsiteX897" fmla="*/ 7465 w 10746"/>
                <a:gd name="connsiteY897" fmla="*/ 2359 h 10000"/>
                <a:gd name="connsiteX898" fmla="*/ 7447 w 10746"/>
                <a:gd name="connsiteY898" fmla="*/ 2350 h 10000"/>
                <a:gd name="connsiteX899" fmla="*/ 7433 w 10746"/>
                <a:gd name="connsiteY899" fmla="*/ 2376 h 10000"/>
                <a:gd name="connsiteX900" fmla="*/ 7433 w 10746"/>
                <a:gd name="connsiteY900" fmla="*/ 2385 h 10000"/>
                <a:gd name="connsiteX901" fmla="*/ 7447 w 10746"/>
                <a:gd name="connsiteY901" fmla="*/ 2410 h 10000"/>
                <a:gd name="connsiteX902" fmla="*/ 7447 w 10746"/>
                <a:gd name="connsiteY902" fmla="*/ 2436 h 10000"/>
                <a:gd name="connsiteX903" fmla="*/ 7452 w 10746"/>
                <a:gd name="connsiteY903" fmla="*/ 2462 h 10000"/>
                <a:gd name="connsiteX904" fmla="*/ 7447 w 10746"/>
                <a:gd name="connsiteY904" fmla="*/ 2470 h 10000"/>
                <a:gd name="connsiteX905" fmla="*/ 7424 w 10746"/>
                <a:gd name="connsiteY905" fmla="*/ 2513 h 10000"/>
                <a:gd name="connsiteX906" fmla="*/ 7419 w 10746"/>
                <a:gd name="connsiteY906" fmla="*/ 2556 h 10000"/>
                <a:gd name="connsiteX907" fmla="*/ 7406 w 10746"/>
                <a:gd name="connsiteY907" fmla="*/ 2624 h 10000"/>
                <a:gd name="connsiteX908" fmla="*/ 7392 w 10746"/>
                <a:gd name="connsiteY908" fmla="*/ 2624 h 10000"/>
                <a:gd name="connsiteX909" fmla="*/ 7373 w 10746"/>
                <a:gd name="connsiteY909" fmla="*/ 2650 h 10000"/>
                <a:gd name="connsiteX910" fmla="*/ 7364 w 10746"/>
                <a:gd name="connsiteY910" fmla="*/ 2684 h 10000"/>
                <a:gd name="connsiteX911" fmla="*/ 7364 w 10746"/>
                <a:gd name="connsiteY911" fmla="*/ 2692 h 10000"/>
                <a:gd name="connsiteX912" fmla="*/ 7373 w 10746"/>
                <a:gd name="connsiteY912" fmla="*/ 2718 h 10000"/>
                <a:gd name="connsiteX913" fmla="*/ 7373 w 10746"/>
                <a:gd name="connsiteY913" fmla="*/ 2744 h 10000"/>
                <a:gd name="connsiteX914" fmla="*/ 7359 w 10746"/>
                <a:gd name="connsiteY914" fmla="*/ 2744 h 10000"/>
                <a:gd name="connsiteX915" fmla="*/ 7359 w 10746"/>
                <a:gd name="connsiteY915" fmla="*/ 2795 h 10000"/>
                <a:gd name="connsiteX916" fmla="*/ 7364 w 10746"/>
                <a:gd name="connsiteY916" fmla="*/ 2821 h 10000"/>
                <a:gd name="connsiteX917" fmla="*/ 7378 w 10746"/>
                <a:gd name="connsiteY917" fmla="*/ 2846 h 10000"/>
                <a:gd name="connsiteX918" fmla="*/ 7378 w 10746"/>
                <a:gd name="connsiteY918" fmla="*/ 2855 h 10000"/>
                <a:gd name="connsiteX919" fmla="*/ 7378 w 10746"/>
                <a:gd name="connsiteY919" fmla="*/ 2880 h 10000"/>
                <a:gd name="connsiteX920" fmla="*/ 7378 w 10746"/>
                <a:gd name="connsiteY920" fmla="*/ 2906 h 10000"/>
                <a:gd name="connsiteX921" fmla="*/ 7364 w 10746"/>
                <a:gd name="connsiteY921" fmla="*/ 2906 h 10000"/>
                <a:gd name="connsiteX922" fmla="*/ 7346 w 10746"/>
                <a:gd name="connsiteY922" fmla="*/ 2880 h 10000"/>
                <a:gd name="connsiteX923" fmla="*/ 7332 w 10746"/>
                <a:gd name="connsiteY923" fmla="*/ 2915 h 10000"/>
                <a:gd name="connsiteX924" fmla="*/ 7318 w 10746"/>
                <a:gd name="connsiteY924" fmla="*/ 2906 h 10000"/>
                <a:gd name="connsiteX925" fmla="*/ 7313 w 10746"/>
                <a:gd name="connsiteY925" fmla="*/ 2915 h 10000"/>
                <a:gd name="connsiteX926" fmla="*/ 7313 w 10746"/>
                <a:gd name="connsiteY926" fmla="*/ 2906 h 10000"/>
                <a:gd name="connsiteX927" fmla="*/ 7286 w 10746"/>
                <a:gd name="connsiteY927" fmla="*/ 2940 h 10000"/>
                <a:gd name="connsiteX928" fmla="*/ 7276 w 10746"/>
                <a:gd name="connsiteY928" fmla="*/ 2966 h 10000"/>
                <a:gd name="connsiteX929" fmla="*/ 7272 w 10746"/>
                <a:gd name="connsiteY929" fmla="*/ 2983 h 10000"/>
                <a:gd name="connsiteX930" fmla="*/ 7267 w 10746"/>
                <a:gd name="connsiteY930" fmla="*/ 3009 h 10000"/>
                <a:gd name="connsiteX931" fmla="*/ 7253 w 10746"/>
                <a:gd name="connsiteY931" fmla="*/ 3009 h 10000"/>
                <a:gd name="connsiteX932" fmla="*/ 7244 w 10746"/>
                <a:gd name="connsiteY932" fmla="*/ 3017 h 10000"/>
                <a:gd name="connsiteX933" fmla="*/ 7240 w 10746"/>
                <a:gd name="connsiteY933" fmla="*/ 3009 h 10000"/>
                <a:gd name="connsiteX934" fmla="*/ 7230 w 10746"/>
                <a:gd name="connsiteY934" fmla="*/ 2991 h 10000"/>
                <a:gd name="connsiteX935" fmla="*/ 7226 w 10746"/>
                <a:gd name="connsiteY935" fmla="*/ 2983 h 10000"/>
                <a:gd name="connsiteX936" fmla="*/ 7226 w 10746"/>
                <a:gd name="connsiteY936" fmla="*/ 2966 h 10000"/>
                <a:gd name="connsiteX937" fmla="*/ 7212 w 10746"/>
                <a:gd name="connsiteY937" fmla="*/ 2957 h 10000"/>
                <a:gd name="connsiteX938" fmla="*/ 7212 w 10746"/>
                <a:gd name="connsiteY938" fmla="*/ 2932 h 10000"/>
                <a:gd name="connsiteX939" fmla="*/ 7198 w 10746"/>
                <a:gd name="connsiteY939" fmla="*/ 2915 h 10000"/>
                <a:gd name="connsiteX940" fmla="*/ 7194 w 10746"/>
                <a:gd name="connsiteY940" fmla="*/ 2915 h 10000"/>
                <a:gd name="connsiteX941" fmla="*/ 7157 w 10746"/>
                <a:gd name="connsiteY941" fmla="*/ 2880 h 10000"/>
                <a:gd name="connsiteX942" fmla="*/ 7138 w 10746"/>
                <a:gd name="connsiteY942" fmla="*/ 2880 h 10000"/>
                <a:gd name="connsiteX943" fmla="*/ 7120 w 10746"/>
                <a:gd name="connsiteY943" fmla="*/ 2872 h 10000"/>
                <a:gd name="connsiteX944" fmla="*/ 7111 w 10746"/>
                <a:gd name="connsiteY944" fmla="*/ 2846 h 10000"/>
                <a:gd name="connsiteX945" fmla="*/ 7106 w 10746"/>
                <a:gd name="connsiteY945" fmla="*/ 2846 h 10000"/>
                <a:gd name="connsiteX946" fmla="*/ 7092 w 10746"/>
                <a:gd name="connsiteY946" fmla="*/ 2829 h 10000"/>
                <a:gd name="connsiteX947" fmla="*/ 7051 w 10746"/>
                <a:gd name="connsiteY947" fmla="*/ 2829 h 10000"/>
                <a:gd name="connsiteX948" fmla="*/ 7037 w 10746"/>
                <a:gd name="connsiteY948" fmla="*/ 2880 h 10000"/>
                <a:gd name="connsiteX949" fmla="*/ 7037 w 10746"/>
                <a:gd name="connsiteY949" fmla="*/ 2906 h 10000"/>
                <a:gd name="connsiteX950" fmla="*/ 7037 w 10746"/>
                <a:gd name="connsiteY950" fmla="*/ 2932 h 10000"/>
                <a:gd name="connsiteX951" fmla="*/ 7037 w 10746"/>
                <a:gd name="connsiteY951" fmla="*/ 2940 h 10000"/>
                <a:gd name="connsiteX952" fmla="*/ 7023 w 10746"/>
                <a:gd name="connsiteY952" fmla="*/ 2906 h 10000"/>
                <a:gd name="connsiteX953" fmla="*/ 7023 w 10746"/>
                <a:gd name="connsiteY953" fmla="*/ 2915 h 10000"/>
                <a:gd name="connsiteX954" fmla="*/ 6991 w 10746"/>
                <a:gd name="connsiteY954" fmla="*/ 2906 h 10000"/>
                <a:gd name="connsiteX955" fmla="*/ 6977 w 10746"/>
                <a:gd name="connsiteY955" fmla="*/ 2915 h 10000"/>
                <a:gd name="connsiteX956" fmla="*/ 6963 w 10746"/>
                <a:gd name="connsiteY956" fmla="*/ 2915 h 10000"/>
                <a:gd name="connsiteX957" fmla="*/ 6949 w 10746"/>
                <a:gd name="connsiteY957" fmla="*/ 2872 h 10000"/>
                <a:gd name="connsiteX958" fmla="*/ 6935 w 10746"/>
                <a:gd name="connsiteY958" fmla="*/ 2855 h 10000"/>
                <a:gd name="connsiteX959" fmla="*/ 6922 w 10746"/>
                <a:gd name="connsiteY959" fmla="*/ 2803 h 10000"/>
                <a:gd name="connsiteX960" fmla="*/ 6917 w 10746"/>
                <a:gd name="connsiteY960" fmla="*/ 2786 h 10000"/>
                <a:gd name="connsiteX961" fmla="*/ 6903 w 10746"/>
                <a:gd name="connsiteY961" fmla="*/ 2709 h 10000"/>
                <a:gd name="connsiteX962" fmla="*/ 6903 w 10746"/>
                <a:gd name="connsiteY962" fmla="*/ 2692 h 10000"/>
                <a:gd name="connsiteX963" fmla="*/ 6899 w 10746"/>
                <a:gd name="connsiteY963" fmla="*/ 2709 h 10000"/>
                <a:gd name="connsiteX964" fmla="*/ 6857 w 10746"/>
                <a:gd name="connsiteY964" fmla="*/ 2872 h 10000"/>
                <a:gd name="connsiteX965" fmla="*/ 6857 w 10746"/>
                <a:gd name="connsiteY965" fmla="*/ 3009 h 10000"/>
                <a:gd name="connsiteX966" fmla="*/ 6848 w 10746"/>
                <a:gd name="connsiteY966" fmla="*/ 3017 h 10000"/>
                <a:gd name="connsiteX967" fmla="*/ 6839 w 10746"/>
                <a:gd name="connsiteY967" fmla="*/ 3068 h 10000"/>
                <a:gd name="connsiteX968" fmla="*/ 6829 w 10746"/>
                <a:gd name="connsiteY968" fmla="*/ 3077 h 10000"/>
                <a:gd name="connsiteX969" fmla="*/ 6829 w 10746"/>
                <a:gd name="connsiteY969" fmla="*/ 3128 h 10000"/>
                <a:gd name="connsiteX970" fmla="*/ 6816 w 10746"/>
                <a:gd name="connsiteY970" fmla="*/ 3154 h 10000"/>
                <a:gd name="connsiteX971" fmla="*/ 6811 w 10746"/>
                <a:gd name="connsiteY971" fmla="*/ 3179 h 10000"/>
                <a:gd name="connsiteX972" fmla="*/ 6797 w 10746"/>
                <a:gd name="connsiteY972" fmla="*/ 3171 h 10000"/>
                <a:gd name="connsiteX973" fmla="*/ 6783 w 10746"/>
                <a:gd name="connsiteY973" fmla="*/ 3103 h 10000"/>
                <a:gd name="connsiteX974" fmla="*/ 6779 w 10746"/>
                <a:gd name="connsiteY974" fmla="*/ 3094 h 10000"/>
                <a:gd name="connsiteX975" fmla="*/ 6779 w 10746"/>
                <a:gd name="connsiteY975" fmla="*/ 3120 h 10000"/>
                <a:gd name="connsiteX976" fmla="*/ 6770 w 10746"/>
                <a:gd name="connsiteY976" fmla="*/ 3128 h 10000"/>
                <a:gd name="connsiteX977" fmla="*/ 6765 w 10746"/>
                <a:gd name="connsiteY977" fmla="*/ 3103 h 10000"/>
                <a:gd name="connsiteX978" fmla="*/ 6756 w 10746"/>
                <a:gd name="connsiteY978" fmla="*/ 3103 h 10000"/>
                <a:gd name="connsiteX979" fmla="*/ 6742 w 10746"/>
                <a:gd name="connsiteY979" fmla="*/ 3103 h 10000"/>
                <a:gd name="connsiteX980" fmla="*/ 6737 w 10746"/>
                <a:gd name="connsiteY980" fmla="*/ 3077 h 10000"/>
                <a:gd name="connsiteX981" fmla="*/ 6737 w 10746"/>
                <a:gd name="connsiteY981" fmla="*/ 3068 h 10000"/>
                <a:gd name="connsiteX982" fmla="*/ 6728 w 10746"/>
                <a:gd name="connsiteY982" fmla="*/ 3043 h 10000"/>
                <a:gd name="connsiteX983" fmla="*/ 6724 w 10746"/>
                <a:gd name="connsiteY983" fmla="*/ 3051 h 10000"/>
                <a:gd name="connsiteX984" fmla="*/ 6714 w 10746"/>
                <a:gd name="connsiteY984" fmla="*/ 3043 h 10000"/>
                <a:gd name="connsiteX985" fmla="*/ 6710 w 10746"/>
                <a:gd name="connsiteY985" fmla="*/ 3034 h 10000"/>
                <a:gd name="connsiteX986" fmla="*/ 6705 w 10746"/>
                <a:gd name="connsiteY986" fmla="*/ 2983 h 10000"/>
                <a:gd name="connsiteX987" fmla="*/ 6696 w 10746"/>
                <a:gd name="connsiteY987" fmla="*/ 2966 h 10000"/>
                <a:gd name="connsiteX988" fmla="*/ 6691 w 10746"/>
                <a:gd name="connsiteY988" fmla="*/ 2983 h 10000"/>
                <a:gd name="connsiteX989" fmla="*/ 6677 w 10746"/>
                <a:gd name="connsiteY989" fmla="*/ 2897 h 10000"/>
                <a:gd name="connsiteX990" fmla="*/ 6677 w 10746"/>
                <a:gd name="connsiteY990" fmla="*/ 2897 h 10000"/>
                <a:gd name="connsiteX991" fmla="*/ 6677 w 10746"/>
                <a:gd name="connsiteY991" fmla="*/ 2872 h 10000"/>
                <a:gd name="connsiteX992" fmla="*/ 6668 w 10746"/>
                <a:gd name="connsiteY992" fmla="*/ 2821 h 10000"/>
                <a:gd name="connsiteX993" fmla="*/ 6664 w 10746"/>
                <a:gd name="connsiteY993" fmla="*/ 2829 h 10000"/>
                <a:gd name="connsiteX994" fmla="*/ 6654 w 10746"/>
                <a:gd name="connsiteY994" fmla="*/ 2846 h 10000"/>
                <a:gd name="connsiteX995" fmla="*/ 6650 w 10746"/>
                <a:gd name="connsiteY995" fmla="*/ 2829 h 10000"/>
                <a:gd name="connsiteX996" fmla="*/ 6650 w 10746"/>
                <a:gd name="connsiteY996" fmla="*/ 2803 h 10000"/>
                <a:gd name="connsiteX997" fmla="*/ 6650 w 10746"/>
                <a:gd name="connsiteY997" fmla="*/ 2795 h 10000"/>
                <a:gd name="connsiteX998" fmla="*/ 6641 w 10746"/>
                <a:gd name="connsiteY998" fmla="*/ 2786 h 10000"/>
                <a:gd name="connsiteX999" fmla="*/ 6636 w 10746"/>
                <a:gd name="connsiteY999" fmla="*/ 2735 h 10000"/>
                <a:gd name="connsiteX1000" fmla="*/ 6664 w 10746"/>
                <a:gd name="connsiteY1000" fmla="*/ 2667 h 10000"/>
                <a:gd name="connsiteX1001" fmla="*/ 6668 w 10746"/>
                <a:gd name="connsiteY1001" fmla="*/ 2684 h 10000"/>
                <a:gd name="connsiteX1002" fmla="*/ 6677 w 10746"/>
                <a:gd name="connsiteY1002" fmla="*/ 2667 h 10000"/>
                <a:gd name="connsiteX1003" fmla="*/ 6668 w 10746"/>
                <a:gd name="connsiteY1003" fmla="*/ 2667 h 10000"/>
                <a:gd name="connsiteX1004" fmla="*/ 6668 w 10746"/>
                <a:gd name="connsiteY1004" fmla="*/ 2650 h 10000"/>
                <a:gd name="connsiteX1005" fmla="*/ 6682 w 10746"/>
                <a:gd name="connsiteY1005" fmla="*/ 2650 h 10000"/>
                <a:gd name="connsiteX1006" fmla="*/ 6691 w 10746"/>
                <a:gd name="connsiteY1006" fmla="*/ 2624 h 10000"/>
                <a:gd name="connsiteX1007" fmla="*/ 6682 w 10746"/>
                <a:gd name="connsiteY1007" fmla="*/ 2632 h 10000"/>
                <a:gd name="connsiteX1008" fmla="*/ 6682 w 10746"/>
                <a:gd name="connsiteY1008" fmla="*/ 2624 h 10000"/>
                <a:gd name="connsiteX1009" fmla="*/ 6691 w 10746"/>
                <a:gd name="connsiteY1009" fmla="*/ 2607 h 10000"/>
                <a:gd name="connsiteX1010" fmla="*/ 6691 w 10746"/>
                <a:gd name="connsiteY1010" fmla="*/ 2598 h 10000"/>
                <a:gd name="connsiteX1011" fmla="*/ 6691 w 10746"/>
                <a:gd name="connsiteY1011" fmla="*/ 2581 h 10000"/>
                <a:gd name="connsiteX1012" fmla="*/ 6696 w 10746"/>
                <a:gd name="connsiteY1012" fmla="*/ 2530 h 10000"/>
                <a:gd name="connsiteX1013" fmla="*/ 6677 w 10746"/>
                <a:gd name="connsiteY1013" fmla="*/ 2513 h 10000"/>
                <a:gd name="connsiteX1014" fmla="*/ 6677 w 10746"/>
                <a:gd name="connsiteY1014" fmla="*/ 2496 h 10000"/>
                <a:gd name="connsiteX1015" fmla="*/ 6682 w 10746"/>
                <a:gd name="connsiteY1015" fmla="*/ 2470 h 10000"/>
                <a:gd name="connsiteX1016" fmla="*/ 6668 w 10746"/>
                <a:gd name="connsiteY1016" fmla="*/ 2462 h 10000"/>
                <a:gd name="connsiteX1017" fmla="*/ 6677 w 10746"/>
                <a:gd name="connsiteY1017" fmla="*/ 2436 h 10000"/>
                <a:gd name="connsiteX1018" fmla="*/ 6682 w 10746"/>
                <a:gd name="connsiteY1018" fmla="*/ 2419 h 10000"/>
                <a:gd name="connsiteX1019" fmla="*/ 6682 w 10746"/>
                <a:gd name="connsiteY1019" fmla="*/ 2393 h 10000"/>
                <a:gd name="connsiteX1020" fmla="*/ 6682 w 10746"/>
                <a:gd name="connsiteY1020" fmla="*/ 2385 h 10000"/>
                <a:gd name="connsiteX1021" fmla="*/ 6682 w 10746"/>
                <a:gd name="connsiteY1021" fmla="*/ 2385 h 10000"/>
                <a:gd name="connsiteX1022" fmla="*/ 6677 w 10746"/>
                <a:gd name="connsiteY1022" fmla="*/ 2376 h 10000"/>
                <a:gd name="connsiteX1023" fmla="*/ 6682 w 10746"/>
                <a:gd name="connsiteY1023" fmla="*/ 2359 h 10000"/>
                <a:gd name="connsiteX1024" fmla="*/ 6677 w 10746"/>
                <a:gd name="connsiteY1024" fmla="*/ 2333 h 10000"/>
                <a:gd name="connsiteX1025" fmla="*/ 6691 w 10746"/>
                <a:gd name="connsiteY1025" fmla="*/ 2333 h 10000"/>
                <a:gd name="connsiteX1026" fmla="*/ 6691 w 10746"/>
                <a:gd name="connsiteY1026" fmla="*/ 2325 h 10000"/>
                <a:gd name="connsiteX1027" fmla="*/ 6691 w 10746"/>
                <a:gd name="connsiteY1027" fmla="*/ 2308 h 10000"/>
                <a:gd name="connsiteX1028" fmla="*/ 6691 w 10746"/>
                <a:gd name="connsiteY1028" fmla="*/ 2299 h 10000"/>
                <a:gd name="connsiteX1029" fmla="*/ 6691 w 10746"/>
                <a:gd name="connsiteY1029" fmla="*/ 2282 h 10000"/>
                <a:gd name="connsiteX1030" fmla="*/ 6691 w 10746"/>
                <a:gd name="connsiteY1030" fmla="*/ 2274 h 10000"/>
                <a:gd name="connsiteX1031" fmla="*/ 6668 w 10746"/>
                <a:gd name="connsiteY1031" fmla="*/ 2248 h 10000"/>
                <a:gd name="connsiteX1032" fmla="*/ 6664 w 10746"/>
                <a:gd name="connsiteY1032" fmla="*/ 2222 h 10000"/>
                <a:gd name="connsiteX1033" fmla="*/ 6654 w 10746"/>
                <a:gd name="connsiteY1033" fmla="*/ 2214 h 10000"/>
                <a:gd name="connsiteX1034" fmla="*/ 6654 w 10746"/>
                <a:gd name="connsiteY1034" fmla="*/ 2188 h 10000"/>
                <a:gd name="connsiteX1035" fmla="*/ 6622 w 10746"/>
                <a:gd name="connsiteY1035" fmla="*/ 2162 h 10000"/>
                <a:gd name="connsiteX1036" fmla="*/ 6631 w 10746"/>
                <a:gd name="connsiteY1036" fmla="*/ 2145 h 10000"/>
                <a:gd name="connsiteX1037" fmla="*/ 6622 w 10746"/>
                <a:gd name="connsiteY1037" fmla="*/ 2120 h 10000"/>
                <a:gd name="connsiteX1038" fmla="*/ 6608 w 10746"/>
                <a:gd name="connsiteY1038" fmla="*/ 2120 h 10000"/>
                <a:gd name="connsiteX1039" fmla="*/ 6604 w 10746"/>
                <a:gd name="connsiteY1039" fmla="*/ 2111 h 10000"/>
                <a:gd name="connsiteX1040" fmla="*/ 6608 w 10746"/>
                <a:gd name="connsiteY1040" fmla="*/ 2111 h 10000"/>
                <a:gd name="connsiteX1041" fmla="*/ 6604 w 10746"/>
                <a:gd name="connsiteY1041" fmla="*/ 2085 h 10000"/>
                <a:gd name="connsiteX1042" fmla="*/ 6581 w 10746"/>
                <a:gd name="connsiteY1042" fmla="*/ 2077 h 10000"/>
                <a:gd name="connsiteX1043" fmla="*/ 6571 w 10746"/>
                <a:gd name="connsiteY1043" fmla="*/ 2085 h 10000"/>
                <a:gd name="connsiteX1044" fmla="*/ 6548 w 10746"/>
                <a:gd name="connsiteY1044" fmla="*/ 2077 h 10000"/>
                <a:gd name="connsiteX1045" fmla="*/ 6530 w 10746"/>
                <a:gd name="connsiteY1045" fmla="*/ 2060 h 10000"/>
                <a:gd name="connsiteX1046" fmla="*/ 6521 w 10746"/>
                <a:gd name="connsiteY1046" fmla="*/ 2060 h 10000"/>
                <a:gd name="connsiteX1047" fmla="*/ 6521 w 10746"/>
                <a:gd name="connsiteY1047" fmla="*/ 2085 h 10000"/>
                <a:gd name="connsiteX1048" fmla="*/ 6516 w 10746"/>
                <a:gd name="connsiteY1048" fmla="*/ 2085 h 10000"/>
                <a:gd name="connsiteX1049" fmla="*/ 6502 w 10746"/>
                <a:gd name="connsiteY1049" fmla="*/ 2111 h 10000"/>
                <a:gd name="connsiteX1050" fmla="*/ 6498 w 10746"/>
                <a:gd name="connsiteY1050" fmla="*/ 2111 h 10000"/>
                <a:gd name="connsiteX1051" fmla="*/ 6498 w 10746"/>
                <a:gd name="connsiteY1051" fmla="*/ 2103 h 10000"/>
                <a:gd name="connsiteX1052" fmla="*/ 6475 w 10746"/>
                <a:gd name="connsiteY1052" fmla="*/ 2051 h 10000"/>
                <a:gd name="connsiteX1053" fmla="*/ 6470 w 10746"/>
                <a:gd name="connsiteY1053" fmla="*/ 2060 h 10000"/>
                <a:gd name="connsiteX1054" fmla="*/ 6456 w 10746"/>
                <a:gd name="connsiteY1054" fmla="*/ 2051 h 10000"/>
                <a:gd name="connsiteX1055" fmla="*/ 6447 w 10746"/>
                <a:gd name="connsiteY1055" fmla="*/ 2051 h 10000"/>
                <a:gd name="connsiteX1056" fmla="*/ 6433 w 10746"/>
                <a:gd name="connsiteY1056" fmla="*/ 2026 h 10000"/>
                <a:gd name="connsiteX1057" fmla="*/ 6433 w 10746"/>
                <a:gd name="connsiteY1057" fmla="*/ 2034 h 10000"/>
                <a:gd name="connsiteX1058" fmla="*/ 6429 w 10746"/>
                <a:gd name="connsiteY1058" fmla="*/ 2026 h 10000"/>
                <a:gd name="connsiteX1059" fmla="*/ 6424 w 10746"/>
                <a:gd name="connsiteY1059" fmla="*/ 2034 h 10000"/>
                <a:gd name="connsiteX1060" fmla="*/ 6410 w 10746"/>
                <a:gd name="connsiteY1060" fmla="*/ 2026 h 10000"/>
                <a:gd name="connsiteX1061" fmla="*/ 6410 w 10746"/>
                <a:gd name="connsiteY1061" fmla="*/ 1991 h 10000"/>
                <a:gd name="connsiteX1062" fmla="*/ 6401 w 10746"/>
                <a:gd name="connsiteY1062" fmla="*/ 1991 h 10000"/>
                <a:gd name="connsiteX1063" fmla="*/ 6396 w 10746"/>
                <a:gd name="connsiteY1063" fmla="*/ 2000 h 10000"/>
                <a:gd name="connsiteX1064" fmla="*/ 6382 w 10746"/>
                <a:gd name="connsiteY1064" fmla="*/ 1966 h 10000"/>
                <a:gd name="connsiteX1065" fmla="*/ 6373 w 10746"/>
                <a:gd name="connsiteY1065" fmla="*/ 1974 h 10000"/>
                <a:gd name="connsiteX1066" fmla="*/ 6369 w 10746"/>
                <a:gd name="connsiteY1066" fmla="*/ 1966 h 10000"/>
                <a:gd name="connsiteX1067" fmla="*/ 6341 w 10746"/>
                <a:gd name="connsiteY1067" fmla="*/ 1949 h 10000"/>
                <a:gd name="connsiteX1068" fmla="*/ 6327 w 10746"/>
                <a:gd name="connsiteY1068" fmla="*/ 1923 h 10000"/>
                <a:gd name="connsiteX1069" fmla="*/ 6323 w 10746"/>
                <a:gd name="connsiteY1069" fmla="*/ 1923 h 10000"/>
                <a:gd name="connsiteX1070" fmla="*/ 6323 w 10746"/>
                <a:gd name="connsiteY1070" fmla="*/ 1966 h 10000"/>
                <a:gd name="connsiteX1071" fmla="*/ 6323 w 10746"/>
                <a:gd name="connsiteY1071" fmla="*/ 1991 h 10000"/>
                <a:gd name="connsiteX1072" fmla="*/ 6313 w 10746"/>
                <a:gd name="connsiteY1072" fmla="*/ 1991 h 10000"/>
                <a:gd name="connsiteX1073" fmla="*/ 6300 w 10746"/>
                <a:gd name="connsiteY1073" fmla="*/ 1991 h 10000"/>
                <a:gd name="connsiteX1074" fmla="*/ 6290 w 10746"/>
                <a:gd name="connsiteY1074" fmla="*/ 1949 h 10000"/>
                <a:gd name="connsiteX1075" fmla="*/ 6276 w 10746"/>
                <a:gd name="connsiteY1075" fmla="*/ 2103 h 10000"/>
                <a:gd name="connsiteX1076" fmla="*/ 6281 w 10746"/>
                <a:gd name="connsiteY1076" fmla="*/ 2103 h 10000"/>
                <a:gd name="connsiteX1077" fmla="*/ 6276 w 10746"/>
                <a:gd name="connsiteY1077" fmla="*/ 2111 h 10000"/>
                <a:gd name="connsiteX1078" fmla="*/ 6276 w 10746"/>
                <a:gd name="connsiteY1078" fmla="*/ 2120 h 10000"/>
                <a:gd name="connsiteX1079" fmla="*/ 6295 w 10746"/>
                <a:gd name="connsiteY1079" fmla="*/ 2239 h 10000"/>
                <a:gd name="connsiteX1080" fmla="*/ 6290 w 10746"/>
                <a:gd name="connsiteY1080" fmla="*/ 2248 h 10000"/>
                <a:gd name="connsiteX1081" fmla="*/ 6281 w 10746"/>
                <a:gd name="connsiteY1081" fmla="*/ 2274 h 10000"/>
                <a:gd name="connsiteX1082" fmla="*/ 6249 w 10746"/>
                <a:gd name="connsiteY1082" fmla="*/ 2274 h 10000"/>
                <a:gd name="connsiteX1083" fmla="*/ 6226 w 10746"/>
                <a:gd name="connsiteY1083" fmla="*/ 2308 h 10000"/>
                <a:gd name="connsiteX1084" fmla="*/ 6221 w 10746"/>
                <a:gd name="connsiteY1084" fmla="*/ 2299 h 10000"/>
                <a:gd name="connsiteX1085" fmla="*/ 6221 w 10746"/>
                <a:gd name="connsiteY1085" fmla="*/ 2308 h 10000"/>
                <a:gd name="connsiteX1086" fmla="*/ 6217 w 10746"/>
                <a:gd name="connsiteY1086" fmla="*/ 2299 h 10000"/>
                <a:gd name="connsiteX1087" fmla="*/ 6194 w 10746"/>
                <a:gd name="connsiteY1087" fmla="*/ 2308 h 10000"/>
                <a:gd name="connsiteX1088" fmla="*/ 6180 w 10746"/>
                <a:gd name="connsiteY1088" fmla="*/ 2299 h 10000"/>
                <a:gd name="connsiteX1089" fmla="*/ 6143 w 10746"/>
                <a:gd name="connsiteY1089" fmla="*/ 2308 h 10000"/>
                <a:gd name="connsiteX1090" fmla="*/ 6134 w 10746"/>
                <a:gd name="connsiteY1090" fmla="*/ 2325 h 10000"/>
                <a:gd name="connsiteX1091" fmla="*/ 6115 w 10746"/>
                <a:gd name="connsiteY1091" fmla="*/ 2282 h 10000"/>
                <a:gd name="connsiteX1092" fmla="*/ 6069 w 10746"/>
                <a:gd name="connsiteY1092" fmla="*/ 2274 h 10000"/>
                <a:gd name="connsiteX1093" fmla="*/ 6069 w 10746"/>
                <a:gd name="connsiteY1093" fmla="*/ 2282 h 10000"/>
                <a:gd name="connsiteX1094" fmla="*/ 6060 w 10746"/>
                <a:gd name="connsiteY1094" fmla="*/ 2299 h 10000"/>
                <a:gd name="connsiteX1095" fmla="*/ 5972 w 10746"/>
                <a:gd name="connsiteY1095" fmla="*/ 2214 h 10000"/>
                <a:gd name="connsiteX1096" fmla="*/ 5968 w 10746"/>
                <a:gd name="connsiteY1096" fmla="*/ 2197 h 10000"/>
                <a:gd name="connsiteX1097" fmla="*/ 5968 w 10746"/>
                <a:gd name="connsiteY1097" fmla="*/ 2171 h 10000"/>
                <a:gd name="connsiteX1098" fmla="*/ 5968 w 10746"/>
                <a:gd name="connsiteY1098" fmla="*/ 2162 h 10000"/>
                <a:gd name="connsiteX1099" fmla="*/ 5968 w 10746"/>
                <a:gd name="connsiteY1099" fmla="*/ 2120 h 10000"/>
                <a:gd name="connsiteX1100" fmla="*/ 5968 w 10746"/>
                <a:gd name="connsiteY1100" fmla="*/ 2111 h 10000"/>
                <a:gd name="connsiteX1101" fmla="*/ 5972 w 10746"/>
                <a:gd name="connsiteY1101" fmla="*/ 2103 h 10000"/>
                <a:gd name="connsiteX1102" fmla="*/ 5986 w 10746"/>
                <a:gd name="connsiteY1102" fmla="*/ 2103 h 10000"/>
                <a:gd name="connsiteX1103" fmla="*/ 5986 w 10746"/>
                <a:gd name="connsiteY1103" fmla="*/ 2085 h 10000"/>
                <a:gd name="connsiteX1104" fmla="*/ 5995 w 10746"/>
                <a:gd name="connsiteY1104" fmla="*/ 2085 h 10000"/>
                <a:gd name="connsiteX1105" fmla="*/ 5995 w 10746"/>
                <a:gd name="connsiteY1105" fmla="*/ 2077 h 10000"/>
                <a:gd name="connsiteX1106" fmla="*/ 5986 w 10746"/>
                <a:gd name="connsiteY1106" fmla="*/ 2060 h 10000"/>
                <a:gd name="connsiteX1107" fmla="*/ 5954 w 10746"/>
                <a:gd name="connsiteY1107" fmla="*/ 2060 h 10000"/>
                <a:gd name="connsiteX1108" fmla="*/ 5940 w 10746"/>
                <a:gd name="connsiteY1108" fmla="*/ 2051 h 10000"/>
                <a:gd name="connsiteX1109" fmla="*/ 5922 w 10746"/>
                <a:gd name="connsiteY1109" fmla="*/ 2060 h 10000"/>
                <a:gd name="connsiteX1110" fmla="*/ 5885 w 10746"/>
                <a:gd name="connsiteY1110" fmla="*/ 2051 h 10000"/>
                <a:gd name="connsiteX1111" fmla="*/ 5876 w 10746"/>
                <a:gd name="connsiteY1111" fmla="*/ 2026 h 10000"/>
                <a:gd name="connsiteX1112" fmla="*/ 5862 w 10746"/>
                <a:gd name="connsiteY1112" fmla="*/ 2026 h 10000"/>
                <a:gd name="connsiteX1113" fmla="*/ 5848 w 10746"/>
                <a:gd name="connsiteY1113" fmla="*/ 2026 h 10000"/>
                <a:gd name="connsiteX1114" fmla="*/ 5825 w 10746"/>
                <a:gd name="connsiteY1114" fmla="*/ 2026 h 10000"/>
                <a:gd name="connsiteX1115" fmla="*/ 5788 w 10746"/>
                <a:gd name="connsiteY1115" fmla="*/ 1991 h 10000"/>
                <a:gd name="connsiteX1116" fmla="*/ 5760 w 10746"/>
                <a:gd name="connsiteY1116" fmla="*/ 2000 h 10000"/>
                <a:gd name="connsiteX1117" fmla="*/ 5760 w 10746"/>
                <a:gd name="connsiteY1117" fmla="*/ 2026 h 10000"/>
                <a:gd name="connsiteX1118" fmla="*/ 5714 w 10746"/>
                <a:gd name="connsiteY1118" fmla="*/ 2051 h 10000"/>
                <a:gd name="connsiteX1119" fmla="*/ 5687 w 10746"/>
                <a:gd name="connsiteY1119" fmla="*/ 2034 h 10000"/>
                <a:gd name="connsiteX1120" fmla="*/ 5645 w 10746"/>
                <a:gd name="connsiteY1120" fmla="*/ 2077 h 10000"/>
                <a:gd name="connsiteX1121" fmla="*/ 5664 w 10746"/>
                <a:gd name="connsiteY1121" fmla="*/ 2120 h 10000"/>
                <a:gd name="connsiteX1122" fmla="*/ 5664 w 10746"/>
                <a:gd name="connsiteY1122" fmla="*/ 2162 h 10000"/>
                <a:gd name="connsiteX1123" fmla="*/ 5631 w 10746"/>
                <a:gd name="connsiteY1123" fmla="*/ 2197 h 10000"/>
                <a:gd name="connsiteX1124" fmla="*/ 5618 w 10746"/>
                <a:gd name="connsiteY1124" fmla="*/ 2188 h 10000"/>
                <a:gd name="connsiteX1125" fmla="*/ 5618 w 10746"/>
                <a:gd name="connsiteY1125" fmla="*/ 2171 h 10000"/>
                <a:gd name="connsiteX1126" fmla="*/ 5641 w 10746"/>
                <a:gd name="connsiteY1126" fmla="*/ 2171 h 10000"/>
                <a:gd name="connsiteX1127" fmla="*/ 5641 w 10746"/>
                <a:gd name="connsiteY1127" fmla="*/ 2162 h 10000"/>
                <a:gd name="connsiteX1128" fmla="*/ 5627 w 10746"/>
                <a:gd name="connsiteY1128" fmla="*/ 2145 h 10000"/>
                <a:gd name="connsiteX1129" fmla="*/ 5627 w 10746"/>
                <a:gd name="connsiteY1129" fmla="*/ 2120 h 10000"/>
                <a:gd name="connsiteX1130" fmla="*/ 5618 w 10746"/>
                <a:gd name="connsiteY1130" fmla="*/ 2111 h 10000"/>
                <a:gd name="connsiteX1131" fmla="*/ 5631 w 10746"/>
                <a:gd name="connsiteY1131" fmla="*/ 2051 h 10000"/>
                <a:gd name="connsiteX1132" fmla="*/ 5631 w 10746"/>
                <a:gd name="connsiteY1132" fmla="*/ 2026 h 10000"/>
                <a:gd name="connsiteX1133" fmla="*/ 5627 w 10746"/>
                <a:gd name="connsiteY1133" fmla="*/ 1991 h 10000"/>
                <a:gd name="connsiteX1134" fmla="*/ 5618 w 10746"/>
                <a:gd name="connsiteY1134" fmla="*/ 1974 h 10000"/>
                <a:gd name="connsiteX1135" fmla="*/ 5618 w 10746"/>
                <a:gd name="connsiteY1135" fmla="*/ 1940 h 10000"/>
                <a:gd name="connsiteX1136" fmla="*/ 5594 w 10746"/>
                <a:gd name="connsiteY1136" fmla="*/ 1855 h 10000"/>
                <a:gd name="connsiteX1137" fmla="*/ 5599 w 10746"/>
                <a:gd name="connsiteY1137" fmla="*/ 1915 h 10000"/>
                <a:gd name="connsiteX1138" fmla="*/ 5599 w 10746"/>
                <a:gd name="connsiteY1138" fmla="*/ 1949 h 10000"/>
                <a:gd name="connsiteX1139" fmla="*/ 5594 w 10746"/>
                <a:gd name="connsiteY1139" fmla="*/ 1991 h 10000"/>
                <a:gd name="connsiteX1140" fmla="*/ 5571 w 10746"/>
                <a:gd name="connsiteY1140" fmla="*/ 2000 h 10000"/>
                <a:gd name="connsiteX1141" fmla="*/ 5530 w 10746"/>
                <a:gd name="connsiteY1141" fmla="*/ 1991 h 10000"/>
                <a:gd name="connsiteX1142" fmla="*/ 5525 w 10746"/>
                <a:gd name="connsiteY1142" fmla="*/ 2000 h 10000"/>
                <a:gd name="connsiteX1143" fmla="*/ 5521 w 10746"/>
                <a:gd name="connsiteY1143" fmla="*/ 1991 h 10000"/>
                <a:gd name="connsiteX1144" fmla="*/ 5498 w 10746"/>
                <a:gd name="connsiteY1144" fmla="*/ 1949 h 10000"/>
                <a:gd name="connsiteX1145" fmla="*/ 5493 w 10746"/>
                <a:gd name="connsiteY1145" fmla="*/ 1889 h 10000"/>
                <a:gd name="connsiteX1146" fmla="*/ 5493 w 10746"/>
                <a:gd name="connsiteY1146" fmla="*/ 1863 h 10000"/>
                <a:gd name="connsiteX1147" fmla="*/ 5498 w 10746"/>
                <a:gd name="connsiteY1147" fmla="*/ 1889 h 10000"/>
                <a:gd name="connsiteX1148" fmla="*/ 5512 w 10746"/>
                <a:gd name="connsiteY1148" fmla="*/ 1855 h 10000"/>
                <a:gd name="connsiteX1149" fmla="*/ 5512 w 10746"/>
                <a:gd name="connsiteY1149" fmla="*/ 1838 h 10000"/>
                <a:gd name="connsiteX1150" fmla="*/ 5479 w 10746"/>
                <a:gd name="connsiteY1150" fmla="*/ 1855 h 10000"/>
                <a:gd name="connsiteX1151" fmla="*/ 5470 w 10746"/>
                <a:gd name="connsiteY1151" fmla="*/ 1872 h 10000"/>
                <a:gd name="connsiteX1152" fmla="*/ 5470 w 10746"/>
                <a:gd name="connsiteY1152" fmla="*/ 1889 h 10000"/>
                <a:gd name="connsiteX1153" fmla="*/ 5465 w 10746"/>
                <a:gd name="connsiteY1153" fmla="*/ 1897 h 10000"/>
                <a:gd name="connsiteX1154" fmla="*/ 5456 w 10746"/>
                <a:gd name="connsiteY1154" fmla="*/ 1872 h 10000"/>
                <a:gd name="connsiteX1155" fmla="*/ 5447 w 10746"/>
                <a:gd name="connsiteY1155" fmla="*/ 1872 h 10000"/>
                <a:gd name="connsiteX1156" fmla="*/ 5433 w 10746"/>
                <a:gd name="connsiteY1156" fmla="*/ 1855 h 10000"/>
                <a:gd name="connsiteX1157" fmla="*/ 5396 w 10746"/>
                <a:gd name="connsiteY1157" fmla="*/ 1863 h 10000"/>
                <a:gd name="connsiteX1158" fmla="*/ 5396 w 10746"/>
                <a:gd name="connsiteY1158" fmla="*/ 1897 h 10000"/>
                <a:gd name="connsiteX1159" fmla="*/ 5378 w 10746"/>
                <a:gd name="connsiteY1159" fmla="*/ 1949 h 10000"/>
                <a:gd name="connsiteX1160" fmla="*/ 5378 w 10746"/>
                <a:gd name="connsiteY1160" fmla="*/ 1966 h 10000"/>
                <a:gd name="connsiteX1161" fmla="*/ 5392 w 10746"/>
                <a:gd name="connsiteY1161" fmla="*/ 2026 h 10000"/>
                <a:gd name="connsiteX1162" fmla="*/ 5396 w 10746"/>
                <a:gd name="connsiteY1162" fmla="*/ 2026 h 10000"/>
                <a:gd name="connsiteX1163" fmla="*/ 5392 w 10746"/>
                <a:gd name="connsiteY1163" fmla="*/ 2009 h 10000"/>
                <a:gd name="connsiteX1164" fmla="*/ 5392 w 10746"/>
                <a:gd name="connsiteY1164" fmla="*/ 2000 h 10000"/>
                <a:gd name="connsiteX1165" fmla="*/ 5396 w 10746"/>
                <a:gd name="connsiteY1165" fmla="*/ 2009 h 10000"/>
                <a:gd name="connsiteX1166" fmla="*/ 5424 w 10746"/>
                <a:gd name="connsiteY1166" fmla="*/ 2009 h 10000"/>
                <a:gd name="connsiteX1167" fmla="*/ 5433 w 10746"/>
                <a:gd name="connsiteY1167" fmla="*/ 1991 h 10000"/>
                <a:gd name="connsiteX1168" fmla="*/ 5447 w 10746"/>
                <a:gd name="connsiteY1168" fmla="*/ 1974 h 10000"/>
                <a:gd name="connsiteX1169" fmla="*/ 5452 w 10746"/>
                <a:gd name="connsiteY1169" fmla="*/ 1966 h 10000"/>
                <a:gd name="connsiteX1170" fmla="*/ 5456 w 10746"/>
                <a:gd name="connsiteY1170" fmla="*/ 1966 h 10000"/>
                <a:gd name="connsiteX1171" fmla="*/ 5465 w 10746"/>
                <a:gd name="connsiteY1171" fmla="*/ 2009 h 10000"/>
                <a:gd name="connsiteX1172" fmla="*/ 5433 w 10746"/>
                <a:gd name="connsiteY1172" fmla="*/ 2034 h 10000"/>
                <a:gd name="connsiteX1173" fmla="*/ 5424 w 10746"/>
                <a:gd name="connsiteY1173" fmla="*/ 2060 h 10000"/>
                <a:gd name="connsiteX1174" fmla="*/ 5419 w 10746"/>
                <a:gd name="connsiteY1174" fmla="*/ 2060 h 10000"/>
                <a:gd name="connsiteX1175" fmla="*/ 5392 w 10746"/>
                <a:gd name="connsiteY1175" fmla="*/ 2111 h 10000"/>
                <a:gd name="connsiteX1176" fmla="*/ 5378 w 10746"/>
                <a:gd name="connsiteY1176" fmla="*/ 2111 h 10000"/>
                <a:gd name="connsiteX1177" fmla="*/ 5350 w 10746"/>
                <a:gd name="connsiteY1177" fmla="*/ 2060 h 10000"/>
                <a:gd name="connsiteX1178" fmla="*/ 5373 w 10746"/>
                <a:gd name="connsiteY1178" fmla="*/ 2111 h 10000"/>
                <a:gd name="connsiteX1179" fmla="*/ 5364 w 10746"/>
                <a:gd name="connsiteY1179" fmla="*/ 2111 h 10000"/>
                <a:gd name="connsiteX1180" fmla="*/ 5359 w 10746"/>
                <a:gd name="connsiteY1180" fmla="*/ 2103 h 10000"/>
                <a:gd name="connsiteX1181" fmla="*/ 5359 w 10746"/>
                <a:gd name="connsiteY1181" fmla="*/ 2120 h 10000"/>
                <a:gd name="connsiteX1182" fmla="*/ 5359 w 10746"/>
                <a:gd name="connsiteY1182" fmla="*/ 2137 h 10000"/>
                <a:gd name="connsiteX1183" fmla="*/ 5313 w 10746"/>
                <a:gd name="connsiteY1183" fmla="*/ 2162 h 10000"/>
                <a:gd name="connsiteX1184" fmla="*/ 5300 w 10746"/>
                <a:gd name="connsiteY1184" fmla="*/ 2162 h 10000"/>
                <a:gd name="connsiteX1185" fmla="*/ 5300 w 10746"/>
                <a:gd name="connsiteY1185" fmla="*/ 2171 h 10000"/>
                <a:gd name="connsiteX1186" fmla="*/ 5300 w 10746"/>
                <a:gd name="connsiteY1186" fmla="*/ 2197 h 10000"/>
                <a:gd name="connsiteX1187" fmla="*/ 5276 w 10746"/>
                <a:gd name="connsiteY1187" fmla="*/ 2188 h 10000"/>
                <a:gd name="connsiteX1188" fmla="*/ 5249 w 10746"/>
                <a:gd name="connsiteY1188" fmla="*/ 2222 h 10000"/>
                <a:gd name="connsiteX1189" fmla="*/ 5249 w 10746"/>
                <a:gd name="connsiteY1189" fmla="*/ 2222 h 10000"/>
                <a:gd name="connsiteX1190" fmla="*/ 5217 w 10746"/>
                <a:gd name="connsiteY1190" fmla="*/ 2214 h 10000"/>
                <a:gd name="connsiteX1191" fmla="*/ 5203 w 10746"/>
                <a:gd name="connsiteY1191" fmla="*/ 2239 h 10000"/>
                <a:gd name="connsiteX1192" fmla="*/ 5171 w 10746"/>
                <a:gd name="connsiteY1192" fmla="*/ 2214 h 10000"/>
                <a:gd name="connsiteX1193" fmla="*/ 5157 w 10746"/>
                <a:gd name="connsiteY1193" fmla="*/ 2239 h 10000"/>
                <a:gd name="connsiteX1194" fmla="*/ 5166 w 10746"/>
                <a:gd name="connsiteY1194" fmla="*/ 2256 h 10000"/>
                <a:gd name="connsiteX1195" fmla="*/ 5171 w 10746"/>
                <a:gd name="connsiteY1195" fmla="*/ 2308 h 10000"/>
                <a:gd name="connsiteX1196" fmla="*/ 5212 w 10746"/>
                <a:gd name="connsiteY1196" fmla="*/ 2350 h 10000"/>
                <a:gd name="connsiteX1197" fmla="*/ 5203 w 10746"/>
                <a:gd name="connsiteY1197" fmla="*/ 2350 h 10000"/>
                <a:gd name="connsiteX1198" fmla="*/ 5166 w 10746"/>
                <a:gd name="connsiteY1198" fmla="*/ 2325 h 10000"/>
                <a:gd name="connsiteX1199" fmla="*/ 5152 w 10746"/>
                <a:gd name="connsiteY1199" fmla="*/ 2308 h 10000"/>
                <a:gd name="connsiteX1200" fmla="*/ 5143 w 10746"/>
                <a:gd name="connsiteY1200" fmla="*/ 2333 h 10000"/>
                <a:gd name="connsiteX1201" fmla="*/ 5138 w 10746"/>
                <a:gd name="connsiteY1201" fmla="*/ 2333 h 10000"/>
                <a:gd name="connsiteX1202" fmla="*/ 5124 w 10746"/>
                <a:gd name="connsiteY1202" fmla="*/ 2376 h 10000"/>
                <a:gd name="connsiteX1203" fmla="*/ 5115 w 10746"/>
                <a:gd name="connsiteY1203" fmla="*/ 2385 h 10000"/>
                <a:gd name="connsiteX1204" fmla="*/ 5106 w 10746"/>
                <a:gd name="connsiteY1204" fmla="*/ 2385 h 10000"/>
                <a:gd name="connsiteX1205" fmla="*/ 5055 w 10746"/>
                <a:gd name="connsiteY1205" fmla="*/ 2470 h 10000"/>
                <a:gd name="connsiteX1206" fmla="*/ 5065 w 10746"/>
                <a:gd name="connsiteY1206" fmla="*/ 2462 h 10000"/>
                <a:gd name="connsiteX1207" fmla="*/ 5055 w 10746"/>
                <a:gd name="connsiteY1207" fmla="*/ 2444 h 10000"/>
                <a:gd name="connsiteX1208" fmla="*/ 5041 w 10746"/>
                <a:gd name="connsiteY1208" fmla="*/ 2462 h 10000"/>
                <a:gd name="connsiteX1209" fmla="*/ 5037 w 10746"/>
                <a:gd name="connsiteY1209" fmla="*/ 2470 h 10000"/>
                <a:gd name="connsiteX1210" fmla="*/ 5032 w 10746"/>
                <a:gd name="connsiteY1210" fmla="*/ 2470 h 10000"/>
                <a:gd name="connsiteX1211" fmla="*/ 5032 w 10746"/>
                <a:gd name="connsiteY1211" fmla="*/ 2444 h 10000"/>
                <a:gd name="connsiteX1212" fmla="*/ 5055 w 10746"/>
                <a:gd name="connsiteY1212" fmla="*/ 2410 h 10000"/>
                <a:gd name="connsiteX1213" fmla="*/ 5065 w 10746"/>
                <a:gd name="connsiteY1213" fmla="*/ 2393 h 10000"/>
                <a:gd name="connsiteX1214" fmla="*/ 5069 w 10746"/>
                <a:gd name="connsiteY1214" fmla="*/ 2385 h 10000"/>
                <a:gd name="connsiteX1215" fmla="*/ 5083 w 10746"/>
                <a:gd name="connsiteY1215" fmla="*/ 2376 h 10000"/>
                <a:gd name="connsiteX1216" fmla="*/ 5097 w 10746"/>
                <a:gd name="connsiteY1216" fmla="*/ 2376 h 10000"/>
                <a:gd name="connsiteX1217" fmla="*/ 5124 w 10746"/>
                <a:gd name="connsiteY1217" fmla="*/ 2325 h 10000"/>
                <a:gd name="connsiteX1218" fmla="*/ 5143 w 10746"/>
                <a:gd name="connsiteY1218" fmla="*/ 2248 h 10000"/>
                <a:gd name="connsiteX1219" fmla="*/ 5152 w 10746"/>
                <a:gd name="connsiteY1219" fmla="*/ 2239 h 10000"/>
                <a:gd name="connsiteX1220" fmla="*/ 5166 w 10746"/>
                <a:gd name="connsiteY1220" fmla="*/ 2162 h 10000"/>
                <a:gd name="connsiteX1221" fmla="*/ 5171 w 10746"/>
                <a:gd name="connsiteY1221" fmla="*/ 2171 h 10000"/>
                <a:gd name="connsiteX1222" fmla="*/ 5198 w 10746"/>
                <a:gd name="connsiteY1222" fmla="*/ 2145 h 10000"/>
                <a:gd name="connsiteX1223" fmla="*/ 5203 w 10746"/>
                <a:gd name="connsiteY1223" fmla="*/ 2111 h 10000"/>
                <a:gd name="connsiteX1224" fmla="*/ 5217 w 10746"/>
                <a:gd name="connsiteY1224" fmla="*/ 2060 h 10000"/>
                <a:gd name="connsiteX1225" fmla="*/ 5226 w 10746"/>
                <a:gd name="connsiteY1225" fmla="*/ 2026 h 10000"/>
                <a:gd name="connsiteX1226" fmla="*/ 5286 w 10746"/>
                <a:gd name="connsiteY1226" fmla="*/ 2026 h 10000"/>
                <a:gd name="connsiteX1227" fmla="*/ 5290 w 10746"/>
                <a:gd name="connsiteY1227" fmla="*/ 2034 h 10000"/>
                <a:gd name="connsiteX1228" fmla="*/ 5323 w 10746"/>
                <a:gd name="connsiteY1228" fmla="*/ 1923 h 10000"/>
                <a:gd name="connsiteX1229" fmla="*/ 5323 w 10746"/>
                <a:gd name="connsiteY1229" fmla="*/ 1889 h 10000"/>
                <a:gd name="connsiteX1230" fmla="*/ 5359 w 10746"/>
                <a:gd name="connsiteY1230" fmla="*/ 1829 h 10000"/>
                <a:gd name="connsiteX1231" fmla="*/ 5378 w 10746"/>
                <a:gd name="connsiteY1231" fmla="*/ 1812 h 10000"/>
                <a:gd name="connsiteX1232" fmla="*/ 5406 w 10746"/>
                <a:gd name="connsiteY1232" fmla="*/ 1752 h 10000"/>
                <a:gd name="connsiteX1233" fmla="*/ 5410 w 10746"/>
                <a:gd name="connsiteY1233" fmla="*/ 1718 h 10000"/>
                <a:gd name="connsiteX1234" fmla="*/ 5438 w 10746"/>
                <a:gd name="connsiteY1234" fmla="*/ 1667 h 10000"/>
                <a:gd name="connsiteX1235" fmla="*/ 5438 w 10746"/>
                <a:gd name="connsiteY1235" fmla="*/ 1650 h 10000"/>
                <a:gd name="connsiteX1236" fmla="*/ 5438 w 10746"/>
                <a:gd name="connsiteY1236" fmla="*/ 1641 h 10000"/>
                <a:gd name="connsiteX1237" fmla="*/ 5452 w 10746"/>
                <a:gd name="connsiteY1237" fmla="*/ 1641 h 10000"/>
                <a:gd name="connsiteX1238" fmla="*/ 5456 w 10746"/>
                <a:gd name="connsiteY1238" fmla="*/ 1615 h 10000"/>
                <a:gd name="connsiteX1239" fmla="*/ 5456 w 10746"/>
                <a:gd name="connsiteY1239" fmla="*/ 1615 h 10000"/>
                <a:gd name="connsiteX1240" fmla="*/ 5465 w 10746"/>
                <a:gd name="connsiteY1240" fmla="*/ 1598 h 10000"/>
                <a:gd name="connsiteX1241" fmla="*/ 5465 w 10746"/>
                <a:gd name="connsiteY1241" fmla="*/ 1615 h 10000"/>
                <a:gd name="connsiteX1242" fmla="*/ 5479 w 10746"/>
                <a:gd name="connsiteY1242" fmla="*/ 1598 h 10000"/>
                <a:gd name="connsiteX1243" fmla="*/ 5484 w 10746"/>
                <a:gd name="connsiteY1243" fmla="*/ 1581 h 10000"/>
                <a:gd name="connsiteX1244" fmla="*/ 5493 w 10746"/>
                <a:gd name="connsiteY1244" fmla="*/ 1581 h 10000"/>
                <a:gd name="connsiteX1245" fmla="*/ 5512 w 10746"/>
                <a:gd name="connsiteY1245" fmla="*/ 1538 h 10000"/>
                <a:gd name="connsiteX1246" fmla="*/ 5530 w 10746"/>
                <a:gd name="connsiteY1246" fmla="*/ 1564 h 10000"/>
                <a:gd name="connsiteX1247" fmla="*/ 5530 w 10746"/>
                <a:gd name="connsiteY1247" fmla="*/ 1538 h 10000"/>
                <a:gd name="connsiteX1248" fmla="*/ 5539 w 10746"/>
                <a:gd name="connsiteY1248" fmla="*/ 1530 h 10000"/>
                <a:gd name="connsiteX1249" fmla="*/ 5530 w 10746"/>
                <a:gd name="connsiteY1249" fmla="*/ 1504 h 10000"/>
                <a:gd name="connsiteX1250" fmla="*/ 5567 w 10746"/>
                <a:gd name="connsiteY1250" fmla="*/ 1479 h 10000"/>
                <a:gd name="connsiteX1251" fmla="*/ 5553 w 10746"/>
                <a:gd name="connsiteY1251" fmla="*/ 1479 h 10000"/>
                <a:gd name="connsiteX1252" fmla="*/ 5553 w 10746"/>
                <a:gd name="connsiteY1252" fmla="*/ 1453 h 10000"/>
                <a:gd name="connsiteX1253" fmla="*/ 5581 w 10746"/>
                <a:gd name="connsiteY1253" fmla="*/ 1444 h 10000"/>
                <a:gd name="connsiteX1254" fmla="*/ 5581 w 10746"/>
                <a:gd name="connsiteY1254" fmla="*/ 1453 h 10000"/>
                <a:gd name="connsiteX1255" fmla="*/ 5585 w 10746"/>
                <a:gd name="connsiteY1255" fmla="*/ 1444 h 10000"/>
                <a:gd name="connsiteX1256" fmla="*/ 5594 w 10746"/>
                <a:gd name="connsiteY1256" fmla="*/ 1427 h 10000"/>
                <a:gd name="connsiteX1257" fmla="*/ 5599 w 10746"/>
                <a:gd name="connsiteY1257" fmla="*/ 1419 h 10000"/>
                <a:gd name="connsiteX1258" fmla="*/ 5594 w 10746"/>
                <a:gd name="connsiteY1258" fmla="*/ 1402 h 10000"/>
                <a:gd name="connsiteX1259" fmla="*/ 5604 w 10746"/>
                <a:gd name="connsiteY1259" fmla="*/ 1393 h 10000"/>
                <a:gd name="connsiteX1260" fmla="*/ 5618 w 10746"/>
                <a:gd name="connsiteY1260" fmla="*/ 1393 h 10000"/>
                <a:gd name="connsiteX1261" fmla="*/ 5627 w 10746"/>
                <a:gd name="connsiteY1261" fmla="*/ 1368 h 10000"/>
                <a:gd name="connsiteX1262" fmla="*/ 5627 w 10746"/>
                <a:gd name="connsiteY1262" fmla="*/ 1325 h 10000"/>
                <a:gd name="connsiteX1263" fmla="*/ 5645 w 10746"/>
                <a:gd name="connsiteY1263" fmla="*/ 1291 h 10000"/>
                <a:gd name="connsiteX1264" fmla="*/ 5645 w 10746"/>
                <a:gd name="connsiteY1264" fmla="*/ 1282 h 10000"/>
                <a:gd name="connsiteX1265" fmla="*/ 5654 w 10746"/>
                <a:gd name="connsiteY1265" fmla="*/ 1265 h 10000"/>
                <a:gd name="connsiteX1266" fmla="*/ 5654 w 10746"/>
                <a:gd name="connsiteY1266" fmla="*/ 1214 h 10000"/>
                <a:gd name="connsiteX1267" fmla="*/ 5654 w 10746"/>
                <a:gd name="connsiteY1267" fmla="*/ 1214 h 10000"/>
                <a:gd name="connsiteX1268" fmla="*/ 5645 w 10746"/>
                <a:gd name="connsiteY1268" fmla="*/ 1197 h 10000"/>
                <a:gd name="connsiteX1269" fmla="*/ 5659 w 10746"/>
                <a:gd name="connsiteY1269" fmla="*/ 1197 h 10000"/>
                <a:gd name="connsiteX1270" fmla="*/ 5654 w 10746"/>
                <a:gd name="connsiteY1270" fmla="*/ 1154 h 10000"/>
                <a:gd name="connsiteX1271" fmla="*/ 5641 w 10746"/>
                <a:gd name="connsiteY1271" fmla="*/ 1154 h 10000"/>
                <a:gd name="connsiteX1272" fmla="*/ 5627 w 10746"/>
                <a:gd name="connsiteY1272" fmla="*/ 1128 h 10000"/>
                <a:gd name="connsiteX1273" fmla="*/ 5618 w 10746"/>
                <a:gd name="connsiteY1273" fmla="*/ 1094 h 10000"/>
                <a:gd name="connsiteX1274" fmla="*/ 5613 w 10746"/>
                <a:gd name="connsiteY1274" fmla="*/ 1094 h 10000"/>
                <a:gd name="connsiteX1275" fmla="*/ 5604 w 10746"/>
                <a:gd name="connsiteY1275" fmla="*/ 1120 h 10000"/>
                <a:gd name="connsiteX1276" fmla="*/ 5604 w 10746"/>
                <a:gd name="connsiteY1276" fmla="*/ 1128 h 10000"/>
                <a:gd name="connsiteX1277" fmla="*/ 5599 w 10746"/>
                <a:gd name="connsiteY1277" fmla="*/ 1103 h 10000"/>
                <a:gd name="connsiteX1278" fmla="*/ 5599 w 10746"/>
                <a:gd name="connsiteY1278" fmla="*/ 1103 h 10000"/>
                <a:gd name="connsiteX1279" fmla="*/ 5594 w 10746"/>
                <a:gd name="connsiteY1279" fmla="*/ 1068 h 10000"/>
                <a:gd name="connsiteX1280" fmla="*/ 5594 w 10746"/>
                <a:gd name="connsiteY1280" fmla="*/ 1060 h 10000"/>
                <a:gd name="connsiteX1281" fmla="*/ 5581 w 10746"/>
                <a:gd name="connsiteY1281" fmla="*/ 1034 h 10000"/>
                <a:gd name="connsiteX1282" fmla="*/ 5571 w 10746"/>
                <a:gd name="connsiteY1282" fmla="*/ 1009 h 10000"/>
                <a:gd name="connsiteX1283" fmla="*/ 5571 w 10746"/>
                <a:gd name="connsiteY1283" fmla="*/ 991 h 10000"/>
                <a:gd name="connsiteX1284" fmla="*/ 5585 w 10746"/>
                <a:gd name="connsiteY1284" fmla="*/ 1009 h 10000"/>
                <a:gd name="connsiteX1285" fmla="*/ 5604 w 10746"/>
                <a:gd name="connsiteY1285" fmla="*/ 1043 h 10000"/>
                <a:gd name="connsiteX1286" fmla="*/ 5641 w 10746"/>
                <a:gd name="connsiteY1286" fmla="*/ 1094 h 10000"/>
                <a:gd name="connsiteX1287" fmla="*/ 5631 w 10746"/>
                <a:gd name="connsiteY1287" fmla="*/ 1128 h 10000"/>
                <a:gd name="connsiteX1288" fmla="*/ 5641 w 10746"/>
                <a:gd name="connsiteY1288" fmla="*/ 1128 h 10000"/>
                <a:gd name="connsiteX1289" fmla="*/ 5659 w 10746"/>
                <a:gd name="connsiteY1289" fmla="*/ 1017 h 10000"/>
                <a:gd name="connsiteX1290" fmla="*/ 5659 w 10746"/>
                <a:gd name="connsiteY1290" fmla="*/ 983 h 10000"/>
                <a:gd name="connsiteX1291" fmla="*/ 5659 w 10746"/>
                <a:gd name="connsiteY1291" fmla="*/ 957 h 10000"/>
                <a:gd name="connsiteX1292" fmla="*/ 5654 w 10746"/>
                <a:gd name="connsiteY1292" fmla="*/ 966 h 10000"/>
                <a:gd name="connsiteX1293" fmla="*/ 5641 w 10746"/>
                <a:gd name="connsiteY1293" fmla="*/ 957 h 10000"/>
                <a:gd name="connsiteX1294" fmla="*/ 5631 w 10746"/>
                <a:gd name="connsiteY1294" fmla="*/ 897 h 10000"/>
                <a:gd name="connsiteX1295" fmla="*/ 5641 w 10746"/>
                <a:gd name="connsiteY1295" fmla="*/ 872 h 10000"/>
                <a:gd name="connsiteX1296" fmla="*/ 5618 w 10746"/>
                <a:gd name="connsiteY1296" fmla="*/ 803 h 10000"/>
                <a:gd name="connsiteX1297" fmla="*/ 5604 w 10746"/>
                <a:gd name="connsiteY1297" fmla="*/ 821 h 10000"/>
                <a:gd name="connsiteX1298" fmla="*/ 5613 w 10746"/>
                <a:gd name="connsiteY1298" fmla="*/ 846 h 10000"/>
                <a:gd name="connsiteX1299" fmla="*/ 5604 w 10746"/>
                <a:gd name="connsiteY1299" fmla="*/ 855 h 10000"/>
                <a:gd name="connsiteX1300" fmla="*/ 5599 w 10746"/>
                <a:gd name="connsiteY1300" fmla="*/ 880 h 10000"/>
                <a:gd name="connsiteX1301" fmla="*/ 5594 w 10746"/>
                <a:gd name="connsiteY1301" fmla="*/ 880 h 10000"/>
                <a:gd name="connsiteX1302" fmla="*/ 5585 w 10746"/>
                <a:gd name="connsiteY1302" fmla="*/ 829 h 10000"/>
                <a:gd name="connsiteX1303" fmla="*/ 5571 w 10746"/>
                <a:gd name="connsiteY1303" fmla="*/ 803 h 10000"/>
                <a:gd name="connsiteX1304" fmla="*/ 5585 w 10746"/>
                <a:gd name="connsiteY1304" fmla="*/ 795 h 10000"/>
                <a:gd name="connsiteX1305" fmla="*/ 5585 w 10746"/>
                <a:gd name="connsiteY1305" fmla="*/ 761 h 10000"/>
                <a:gd name="connsiteX1306" fmla="*/ 5558 w 10746"/>
                <a:gd name="connsiteY1306" fmla="*/ 709 h 10000"/>
                <a:gd name="connsiteX1307" fmla="*/ 5544 w 10746"/>
                <a:gd name="connsiteY1307" fmla="*/ 709 h 10000"/>
                <a:gd name="connsiteX1308" fmla="*/ 5544 w 10746"/>
                <a:gd name="connsiteY1308" fmla="*/ 684 h 10000"/>
                <a:gd name="connsiteX1309" fmla="*/ 5525 w 10746"/>
                <a:gd name="connsiteY1309" fmla="*/ 632 h 10000"/>
                <a:gd name="connsiteX1310" fmla="*/ 5507 w 10746"/>
                <a:gd name="connsiteY1310" fmla="*/ 607 h 10000"/>
                <a:gd name="connsiteX1311" fmla="*/ 5512 w 10746"/>
                <a:gd name="connsiteY1311" fmla="*/ 598 h 10000"/>
                <a:gd name="connsiteX1312" fmla="*/ 5507 w 10746"/>
                <a:gd name="connsiteY1312" fmla="*/ 581 h 10000"/>
                <a:gd name="connsiteX1313" fmla="*/ 5493 w 10746"/>
                <a:gd name="connsiteY1313" fmla="*/ 573 h 10000"/>
                <a:gd name="connsiteX1314" fmla="*/ 5484 w 10746"/>
                <a:gd name="connsiteY1314" fmla="*/ 581 h 10000"/>
                <a:gd name="connsiteX1315" fmla="*/ 5484 w 10746"/>
                <a:gd name="connsiteY1315" fmla="*/ 573 h 10000"/>
                <a:gd name="connsiteX1316" fmla="*/ 5484 w 10746"/>
                <a:gd name="connsiteY1316" fmla="*/ 547 h 10000"/>
                <a:gd name="connsiteX1317" fmla="*/ 5465 w 10746"/>
                <a:gd name="connsiteY1317" fmla="*/ 556 h 10000"/>
                <a:gd name="connsiteX1318" fmla="*/ 5433 w 10746"/>
                <a:gd name="connsiteY1318" fmla="*/ 547 h 10000"/>
                <a:gd name="connsiteX1319" fmla="*/ 5410 w 10746"/>
                <a:gd name="connsiteY1319" fmla="*/ 573 h 10000"/>
                <a:gd name="connsiteX1320" fmla="*/ 5406 w 10746"/>
                <a:gd name="connsiteY1320" fmla="*/ 573 h 10000"/>
                <a:gd name="connsiteX1321" fmla="*/ 5392 w 10746"/>
                <a:gd name="connsiteY1321" fmla="*/ 573 h 10000"/>
                <a:gd name="connsiteX1322" fmla="*/ 5364 w 10746"/>
                <a:gd name="connsiteY1322" fmla="*/ 530 h 10000"/>
                <a:gd name="connsiteX1323" fmla="*/ 5350 w 10746"/>
                <a:gd name="connsiteY1323" fmla="*/ 556 h 10000"/>
                <a:gd name="connsiteX1324" fmla="*/ 5346 w 10746"/>
                <a:gd name="connsiteY1324" fmla="*/ 556 h 10000"/>
                <a:gd name="connsiteX1325" fmla="*/ 5313 w 10746"/>
                <a:gd name="connsiteY1325" fmla="*/ 573 h 10000"/>
                <a:gd name="connsiteX1326" fmla="*/ 5304 w 10746"/>
                <a:gd name="connsiteY1326" fmla="*/ 556 h 10000"/>
                <a:gd name="connsiteX1327" fmla="*/ 5290 w 10746"/>
                <a:gd name="connsiteY1327" fmla="*/ 573 h 10000"/>
                <a:gd name="connsiteX1328" fmla="*/ 5290 w 10746"/>
                <a:gd name="connsiteY1328" fmla="*/ 556 h 10000"/>
                <a:gd name="connsiteX1329" fmla="*/ 5300 w 10746"/>
                <a:gd name="connsiteY1329" fmla="*/ 547 h 10000"/>
                <a:gd name="connsiteX1330" fmla="*/ 5300 w 10746"/>
                <a:gd name="connsiteY1330" fmla="*/ 530 h 10000"/>
                <a:gd name="connsiteX1331" fmla="*/ 5290 w 10746"/>
                <a:gd name="connsiteY1331" fmla="*/ 530 h 10000"/>
                <a:gd name="connsiteX1332" fmla="*/ 5286 w 10746"/>
                <a:gd name="connsiteY1332" fmla="*/ 547 h 10000"/>
                <a:gd name="connsiteX1333" fmla="*/ 5272 w 10746"/>
                <a:gd name="connsiteY1333" fmla="*/ 556 h 10000"/>
                <a:gd name="connsiteX1334" fmla="*/ 5272 w 10746"/>
                <a:gd name="connsiteY1334" fmla="*/ 598 h 10000"/>
                <a:gd name="connsiteX1335" fmla="*/ 5276 w 10746"/>
                <a:gd name="connsiteY1335" fmla="*/ 581 h 10000"/>
                <a:gd name="connsiteX1336" fmla="*/ 5272 w 10746"/>
                <a:gd name="connsiteY1336" fmla="*/ 607 h 10000"/>
                <a:gd name="connsiteX1337" fmla="*/ 5263 w 10746"/>
                <a:gd name="connsiteY1337" fmla="*/ 607 h 10000"/>
                <a:gd name="connsiteX1338" fmla="*/ 5263 w 10746"/>
                <a:gd name="connsiteY1338" fmla="*/ 632 h 10000"/>
                <a:gd name="connsiteX1339" fmla="*/ 5258 w 10746"/>
                <a:gd name="connsiteY1339" fmla="*/ 658 h 10000"/>
                <a:gd name="connsiteX1340" fmla="*/ 5244 w 10746"/>
                <a:gd name="connsiteY1340" fmla="*/ 667 h 10000"/>
                <a:gd name="connsiteX1341" fmla="*/ 5240 w 10746"/>
                <a:gd name="connsiteY1341" fmla="*/ 658 h 10000"/>
                <a:gd name="connsiteX1342" fmla="*/ 5240 w 10746"/>
                <a:gd name="connsiteY1342" fmla="*/ 684 h 10000"/>
                <a:gd name="connsiteX1343" fmla="*/ 5212 w 10746"/>
                <a:gd name="connsiteY1343" fmla="*/ 684 h 10000"/>
                <a:gd name="connsiteX1344" fmla="*/ 5198 w 10746"/>
                <a:gd name="connsiteY1344" fmla="*/ 692 h 10000"/>
                <a:gd name="connsiteX1345" fmla="*/ 5184 w 10746"/>
                <a:gd name="connsiteY1345" fmla="*/ 684 h 10000"/>
                <a:gd name="connsiteX1346" fmla="*/ 5157 w 10746"/>
                <a:gd name="connsiteY1346" fmla="*/ 684 h 10000"/>
                <a:gd name="connsiteX1347" fmla="*/ 5157 w 10746"/>
                <a:gd name="connsiteY1347" fmla="*/ 667 h 10000"/>
                <a:gd name="connsiteX1348" fmla="*/ 5157 w 10746"/>
                <a:gd name="connsiteY1348" fmla="*/ 667 h 10000"/>
                <a:gd name="connsiteX1349" fmla="*/ 5180 w 10746"/>
                <a:gd name="connsiteY1349" fmla="*/ 650 h 10000"/>
                <a:gd name="connsiteX1350" fmla="*/ 5184 w 10746"/>
                <a:gd name="connsiteY1350" fmla="*/ 658 h 10000"/>
                <a:gd name="connsiteX1351" fmla="*/ 5203 w 10746"/>
                <a:gd name="connsiteY1351" fmla="*/ 547 h 10000"/>
                <a:gd name="connsiteX1352" fmla="*/ 5226 w 10746"/>
                <a:gd name="connsiteY1352" fmla="*/ 530 h 10000"/>
                <a:gd name="connsiteX1353" fmla="*/ 5230 w 10746"/>
                <a:gd name="connsiteY1353" fmla="*/ 487 h 10000"/>
                <a:gd name="connsiteX1354" fmla="*/ 5230 w 10746"/>
                <a:gd name="connsiteY1354" fmla="*/ 487 h 10000"/>
                <a:gd name="connsiteX1355" fmla="*/ 5226 w 10746"/>
                <a:gd name="connsiteY1355" fmla="*/ 462 h 10000"/>
                <a:gd name="connsiteX1356" fmla="*/ 5226 w 10746"/>
                <a:gd name="connsiteY1356" fmla="*/ 462 h 10000"/>
                <a:gd name="connsiteX1357" fmla="*/ 5240 w 10746"/>
                <a:gd name="connsiteY1357" fmla="*/ 462 h 10000"/>
                <a:gd name="connsiteX1358" fmla="*/ 5240 w 10746"/>
                <a:gd name="connsiteY1358" fmla="*/ 444 h 10000"/>
                <a:gd name="connsiteX1359" fmla="*/ 5230 w 10746"/>
                <a:gd name="connsiteY1359" fmla="*/ 436 h 10000"/>
                <a:gd name="connsiteX1360" fmla="*/ 5230 w 10746"/>
                <a:gd name="connsiteY1360" fmla="*/ 419 h 10000"/>
                <a:gd name="connsiteX1361" fmla="*/ 5230 w 10746"/>
                <a:gd name="connsiteY1361" fmla="*/ 410 h 10000"/>
                <a:gd name="connsiteX1362" fmla="*/ 5198 w 10746"/>
                <a:gd name="connsiteY1362" fmla="*/ 402 h 10000"/>
                <a:gd name="connsiteX1363" fmla="*/ 5189 w 10746"/>
                <a:gd name="connsiteY1363" fmla="*/ 402 h 10000"/>
                <a:gd name="connsiteX1364" fmla="*/ 5184 w 10746"/>
                <a:gd name="connsiteY1364" fmla="*/ 376 h 10000"/>
                <a:gd name="connsiteX1365" fmla="*/ 5180 w 10746"/>
                <a:gd name="connsiteY1365" fmla="*/ 376 h 10000"/>
                <a:gd name="connsiteX1366" fmla="*/ 5166 w 10746"/>
                <a:gd name="connsiteY1366" fmla="*/ 376 h 10000"/>
                <a:gd name="connsiteX1367" fmla="*/ 5157 w 10746"/>
                <a:gd name="connsiteY1367" fmla="*/ 385 h 10000"/>
                <a:gd name="connsiteX1368" fmla="*/ 5152 w 10746"/>
                <a:gd name="connsiteY1368" fmla="*/ 376 h 10000"/>
                <a:gd name="connsiteX1369" fmla="*/ 5129 w 10746"/>
                <a:gd name="connsiteY1369" fmla="*/ 385 h 10000"/>
                <a:gd name="connsiteX1370" fmla="*/ 5129 w 10746"/>
                <a:gd name="connsiteY1370" fmla="*/ 350 h 10000"/>
                <a:gd name="connsiteX1371" fmla="*/ 5129 w 10746"/>
                <a:gd name="connsiteY1371" fmla="*/ 325 h 10000"/>
                <a:gd name="connsiteX1372" fmla="*/ 5124 w 10746"/>
                <a:gd name="connsiteY1372" fmla="*/ 359 h 10000"/>
                <a:gd name="connsiteX1373" fmla="*/ 5106 w 10746"/>
                <a:gd name="connsiteY1373" fmla="*/ 359 h 10000"/>
                <a:gd name="connsiteX1374" fmla="*/ 5037 w 10746"/>
                <a:gd name="connsiteY1374" fmla="*/ 419 h 10000"/>
                <a:gd name="connsiteX1375" fmla="*/ 5051 w 10746"/>
                <a:gd name="connsiteY1375" fmla="*/ 385 h 10000"/>
                <a:gd name="connsiteX1376" fmla="*/ 5055 w 10746"/>
                <a:gd name="connsiteY1376" fmla="*/ 376 h 10000"/>
                <a:gd name="connsiteX1377" fmla="*/ 5092 w 10746"/>
                <a:gd name="connsiteY1377" fmla="*/ 282 h 10000"/>
                <a:gd name="connsiteX1378" fmla="*/ 5106 w 10746"/>
                <a:gd name="connsiteY1378" fmla="*/ 265 h 10000"/>
                <a:gd name="connsiteX1379" fmla="*/ 5115 w 10746"/>
                <a:gd name="connsiteY1379" fmla="*/ 265 h 10000"/>
                <a:gd name="connsiteX1380" fmla="*/ 5124 w 10746"/>
                <a:gd name="connsiteY1380" fmla="*/ 222 h 10000"/>
                <a:gd name="connsiteX1381" fmla="*/ 5124 w 10746"/>
                <a:gd name="connsiteY1381" fmla="*/ 214 h 10000"/>
                <a:gd name="connsiteX1382" fmla="*/ 5143 w 10746"/>
                <a:gd name="connsiteY1382" fmla="*/ 197 h 10000"/>
                <a:gd name="connsiteX1383" fmla="*/ 5152 w 10746"/>
                <a:gd name="connsiteY1383" fmla="*/ 214 h 10000"/>
                <a:gd name="connsiteX1384" fmla="*/ 5143 w 10746"/>
                <a:gd name="connsiteY1384" fmla="*/ 188 h 10000"/>
                <a:gd name="connsiteX1385" fmla="*/ 5129 w 10746"/>
                <a:gd name="connsiteY1385" fmla="*/ 103 h 10000"/>
                <a:gd name="connsiteX1386" fmla="*/ 5115 w 10746"/>
                <a:gd name="connsiteY1386" fmla="*/ 85 h 10000"/>
                <a:gd name="connsiteX1387" fmla="*/ 5111 w 10746"/>
                <a:gd name="connsiteY1387" fmla="*/ 111 h 10000"/>
                <a:gd name="connsiteX1388" fmla="*/ 5092 w 10746"/>
                <a:gd name="connsiteY1388" fmla="*/ 103 h 10000"/>
                <a:gd name="connsiteX1389" fmla="*/ 5069 w 10746"/>
                <a:gd name="connsiteY1389" fmla="*/ 77 h 10000"/>
                <a:gd name="connsiteX1390" fmla="*/ 5051 w 10746"/>
                <a:gd name="connsiteY1390" fmla="*/ 26 h 10000"/>
                <a:gd name="connsiteX1391" fmla="*/ 5041 w 10746"/>
                <a:gd name="connsiteY1391" fmla="*/ 34 h 10000"/>
                <a:gd name="connsiteX1392" fmla="*/ 5037 w 10746"/>
                <a:gd name="connsiteY1392" fmla="*/ 34 h 10000"/>
                <a:gd name="connsiteX1393" fmla="*/ 5037 w 10746"/>
                <a:gd name="connsiteY1393" fmla="*/ 26 h 10000"/>
                <a:gd name="connsiteX1394" fmla="*/ 5037 w 10746"/>
                <a:gd name="connsiteY1394" fmla="*/ 9 h 10000"/>
                <a:gd name="connsiteX1395" fmla="*/ 5023 w 10746"/>
                <a:gd name="connsiteY1395" fmla="*/ 0 h 10000"/>
                <a:gd name="connsiteX1396" fmla="*/ 5009 w 10746"/>
                <a:gd name="connsiteY1396" fmla="*/ 9 h 10000"/>
                <a:gd name="connsiteX1397" fmla="*/ 4995 w 10746"/>
                <a:gd name="connsiteY1397" fmla="*/ 34 h 10000"/>
                <a:gd name="connsiteX1398" fmla="*/ 4991 w 10746"/>
                <a:gd name="connsiteY1398" fmla="*/ 60 h 10000"/>
                <a:gd name="connsiteX1399" fmla="*/ 4982 w 10746"/>
                <a:gd name="connsiteY1399" fmla="*/ 60 h 10000"/>
                <a:gd name="connsiteX1400" fmla="*/ 4949 w 10746"/>
                <a:gd name="connsiteY1400" fmla="*/ 51 h 10000"/>
                <a:gd name="connsiteX1401" fmla="*/ 4949 w 10746"/>
                <a:gd name="connsiteY1401" fmla="*/ 85 h 10000"/>
                <a:gd name="connsiteX1402" fmla="*/ 4903 w 10746"/>
                <a:gd name="connsiteY1402" fmla="*/ 197 h 10000"/>
                <a:gd name="connsiteX1403" fmla="*/ 4899 w 10746"/>
                <a:gd name="connsiteY1403" fmla="*/ 239 h 10000"/>
                <a:gd name="connsiteX1404" fmla="*/ 4871 w 10746"/>
                <a:gd name="connsiteY1404" fmla="*/ 274 h 10000"/>
                <a:gd name="connsiteX1405" fmla="*/ 4871 w 10746"/>
                <a:gd name="connsiteY1405" fmla="*/ 282 h 10000"/>
                <a:gd name="connsiteX1406" fmla="*/ 4834 w 10746"/>
                <a:gd name="connsiteY1406" fmla="*/ 376 h 10000"/>
                <a:gd name="connsiteX1407" fmla="*/ 4829 w 10746"/>
                <a:gd name="connsiteY1407" fmla="*/ 402 h 10000"/>
                <a:gd name="connsiteX1408" fmla="*/ 4834 w 10746"/>
                <a:gd name="connsiteY1408" fmla="*/ 410 h 10000"/>
                <a:gd name="connsiteX1409" fmla="*/ 4829 w 10746"/>
                <a:gd name="connsiteY1409" fmla="*/ 436 h 10000"/>
                <a:gd name="connsiteX1410" fmla="*/ 4825 w 10746"/>
                <a:gd name="connsiteY1410" fmla="*/ 436 h 10000"/>
                <a:gd name="connsiteX1411" fmla="*/ 4825 w 10746"/>
                <a:gd name="connsiteY1411" fmla="*/ 444 h 10000"/>
                <a:gd name="connsiteX1412" fmla="*/ 4811 w 10746"/>
                <a:gd name="connsiteY1412" fmla="*/ 496 h 10000"/>
                <a:gd name="connsiteX1413" fmla="*/ 4811 w 10746"/>
                <a:gd name="connsiteY1413" fmla="*/ 496 h 10000"/>
                <a:gd name="connsiteX1414" fmla="*/ 4811 w 10746"/>
                <a:gd name="connsiteY1414" fmla="*/ 521 h 10000"/>
                <a:gd name="connsiteX1415" fmla="*/ 4816 w 10746"/>
                <a:gd name="connsiteY1415" fmla="*/ 530 h 10000"/>
                <a:gd name="connsiteX1416" fmla="*/ 4834 w 10746"/>
                <a:gd name="connsiteY1416" fmla="*/ 547 h 10000"/>
                <a:gd name="connsiteX1417" fmla="*/ 4834 w 10746"/>
                <a:gd name="connsiteY1417" fmla="*/ 581 h 10000"/>
                <a:gd name="connsiteX1418" fmla="*/ 4843 w 10746"/>
                <a:gd name="connsiteY1418" fmla="*/ 581 h 10000"/>
                <a:gd name="connsiteX1419" fmla="*/ 4843 w 10746"/>
                <a:gd name="connsiteY1419" fmla="*/ 598 h 10000"/>
                <a:gd name="connsiteX1420" fmla="*/ 4829 w 10746"/>
                <a:gd name="connsiteY1420" fmla="*/ 598 h 10000"/>
                <a:gd name="connsiteX1421" fmla="*/ 4829 w 10746"/>
                <a:gd name="connsiteY1421" fmla="*/ 573 h 10000"/>
                <a:gd name="connsiteX1422" fmla="*/ 4829 w 10746"/>
                <a:gd name="connsiteY1422" fmla="*/ 632 h 10000"/>
                <a:gd name="connsiteX1423" fmla="*/ 4829 w 10746"/>
                <a:gd name="connsiteY1423" fmla="*/ 632 h 10000"/>
                <a:gd name="connsiteX1424" fmla="*/ 4829 w 10746"/>
                <a:gd name="connsiteY1424" fmla="*/ 650 h 10000"/>
                <a:gd name="connsiteX1425" fmla="*/ 4774 w 10746"/>
                <a:gd name="connsiteY1425" fmla="*/ 684 h 10000"/>
                <a:gd name="connsiteX1426" fmla="*/ 4756 w 10746"/>
                <a:gd name="connsiteY1426" fmla="*/ 684 h 10000"/>
                <a:gd name="connsiteX1427" fmla="*/ 4737 w 10746"/>
                <a:gd name="connsiteY1427" fmla="*/ 692 h 10000"/>
                <a:gd name="connsiteX1428" fmla="*/ 4677 w 10746"/>
                <a:gd name="connsiteY1428" fmla="*/ 667 h 10000"/>
                <a:gd name="connsiteX1429" fmla="*/ 4682 w 10746"/>
                <a:gd name="connsiteY1429" fmla="*/ 692 h 10000"/>
                <a:gd name="connsiteX1430" fmla="*/ 4682 w 10746"/>
                <a:gd name="connsiteY1430" fmla="*/ 709 h 10000"/>
                <a:gd name="connsiteX1431" fmla="*/ 4691 w 10746"/>
                <a:gd name="connsiteY1431" fmla="*/ 718 h 10000"/>
                <a:gd name="connsiteX1432" fmla="*/ 4691 w 10746"/>
                <a:gd name="connsiteY1432" fmla="*/ 744 h 10000"/>
                <a:gd name="connsiteX1433" fmla="*/ 4700 w 10746"/>
                <a:gd name="connsiteY1433" fmla="*/ 744 h 10000"/>
                <a:gd name="connsiteX1434" fmla="*/ 4714 w 10746"/>
                <a:gd name="connsiteY1434" fmla="*/ 769 h 10000"/>
                <a:gd name="connsiteX1435" fmla="*/ 4710 w 10746"/>
                <a:gd name="connsiteY1435" fmla="*/ 786 h 10000"/>
                <a:gd name="connsiteX1436" fmla="*/ 4737 w 10746"/>
                <a:gd name="connsiteY1436" fmla="*/ 786 h 10000"/>
                <a:gd name="connsiteX1437" fmla="*/ 4742 w 10746"/>
                <a:gd name="connsiteY1437" fmla="*/ 795 h 10000"/>
                <a:gd name="connsiteX1438" fmla="*/ 4742 w 10746"/>
                <a:gd name="connsiteY1438" fmla="*/ 803 h 10000"/>
                <a:gd name="connsiteX1439" fmla="*/ 4737 w 10746"/>
                <a:gd name="connsiteY1439" fmla="*/ 846 h 10000"/>
                <a:gd name="connsiteX1440" fmla="*/ 4737 w 10746"/>
                <a:gd name="connsiteY1440" fmla="*/ 880 h 10000"/>
                <a:gd name="connsiteX1441" fmla="*/ 4737 w 10746"/>
                <a:gd name="connsiteY1441" fmla="*/ 906 h 10000"/>
                <a:gd name="connsiteX1442" fmla="*/ 4724 w 10746"/>
                <a:gd name="connsiteY1442" fmla="*/ 897 h 10000"/>
                <a:gd name="connsiteX1443" fmla="*/ 4724 w 10746"/>
                <a:gd name="connsiteY1443" fmla="*/ 872 h 10000"/>
                <a:gd name="connsiteX1444" fmla="*/ 4714 w 10746"/>
                <a:gd name="connsiteY1444" fmla="*/ 855 h 10000"/>
                <a:gd name="connsiteX1445" fmla="*/ 4691 w 10746"/>
                <a:gd name="connsiteY1445" fmla="*/ 846 h 10000"/>
                <a:gd name="connsiteX1446" fmla="*/ 4691 w 10746"/>
                <a:gd name="connsiteY1446" fmla="*/ 846 h 10000"/>
                <a:gd name="connsiteX1447" fmla="*/ 4696 w 10746"/>
                <a:gd name="connsiteY1447" fmla="*/ 821 h 10000"/>
                <a:gd name="connsiteX1448" fmla="*/ 4691 w 10746"/>
                <a:gd name="connsiteY1448" fmla="*/ 803 h 10000"/>
                <a:gd name="connsiteX1449" fmla="*/ 4668 w 10746"/>
                <a:gd name="connsiteY1449" fmla="*/ 821 h 10000"/>
                <a:gd name="connsiteX1450" fmla="*/ 4668 w 10746"/>
                <a:gd name="connsiteY1450" fmla="*/ 786 h 10000"/>
                <a:gd name="connsiteX1451" fmla="*/ 4664 w 10746"/>
                <a:gd name="connsiteY1451" fmla="*/ 786 h 10000"/>
                <a:gd name="connsiteX1452" fmla="*/ 4622 w 10746"/>
                <a:gd name="connsiteY1452" fmla="*/ 846 h 10000"/>
                <a:gd name="connsiteX1453" fmla="*/ 4627 w 10746"/>
                <a:gd name="connsiteY1453" fmla="*/ 872 h 10000"/>
                <a:gd name="connsiteX1454" fmla="*/ 4622 w 10746"/>
                <a:gd name="connsiteY1454" fmla="*/ 880 h 10000"/>
                <a:gd name="connsiteX1455" fmla="*/ 4622 w 10746"/>
                <a:gd name="connsiteY1455" fmla="*/ 880 h 10000"/>
                <a:gd name="connsiteX1456" fmla="*/ 4618 w 10746"/>
                <a:gd name="connsiteY1456" fmla="*/ 872 h 10000"/>
                <a:gd name="connsiteX1457" fmla="*/ 4604 w 10746"/>
                <a:gd name="connsiteY1457" fmla="*/ 880 h 10000"/>
                <a:gd name="connsiteX1458" fmla="*/ 4594 w 10746"/>
                <a:gd name="connsiteY1458" fmla="*/ 906 h 10000"/>
                <a:gd name="connsiteX1459" fmla="*/ 4604 w 10746"/>
                <a:gd name="connsiteY1459" fmla="*/ 906 h 10000"/>
                <a:gd name="connsiteX1460" fmla="*/ 4608 w 10746"/>
                <a:gd name="connsiteY1460" fmla="*/ 906 h 10000"/>
                <a:gd name="connsiteX1461" fmla="*/ 4608 w 10746"/>
                <a:gd name="connsiteY1461" fmla="*/ 932 h 10000"/>
                <a:gd name="connsiteX1462" fmla="*/ 4604 w 10746"/>
                <a:gd name="connsiteY1462" fmla="*/ 932 h 10000"/>
                <a:gd name="connsiteX1463" fmla="*/ 4590 w 10746"/>
                <a:gd name="connsiteY1463" fmla="*/ 932 h 10000"/>
                <a:gd name="connsiteX1464" fmla="*/ 4567 w 10746"/>
                <a:gd name="connsiteY1464" fmla="*/ 957 h 10000"/>
                <a:gd name="connsiteX1465" fmla="*/ 4567 w 10746"/>
                <a:gd name="connsiteY1465" fmla="*/ 932 h 10000"/>
                <a:gd name="connsiteX1466" fmla="*/ 4567 w 10746"/>
                <a:gd name="connsiteY1466" fmla="*/ 923 h 10000"/>
                <a:gd name="connsiteX1467" fmla="*/ 4562 w 10746"/>
                <a:gd name="connsiteY1467" fmla="*/ 932 h 10000"/>
                <a:gd name="connsiteX1468" fmla="*/ 4548 w 10746"/>
                <a:gd name="connsiteY1468" fmla="*/ 957 h 10000"/>
                <a:gd name="connsiteX1469" fmla="*/ 4544 w 10746"/>
                <a:gd name="connsiteY1469" fmla="*/ 957 h 10000"/>
                <a:gd name="connsiteX1470" fmla="*/ 4521 w 10746"/>
                <a:gd name="connsiteY1470" fmla="*/ 983 h 10000"/>
                <a:gd name="connsiteX1471" fmla="*/ 4521 w 10746"/>
                <a:gd name="connsiteY1471" fmla="*/ 983 h 10000"/>
                <a:gd name="connsiteX1472" fmla="*/ 4530 w 10746"/>
                <a:gd name="connsiteY1472" fmla="*/ 957 h 10000"/>
                <a:gd name="connsiteX1473" fmla="*/ 4535 w 10746"/>
                <a:gd name="connsiteY1473" fmla="*/ 932 h 10000"/>
                <a:gd name="connsiteX1474" fmla="*/ 4521 w 10746"/>
                <a:gd name="connsiteY1474" fmla="*/ 932 h 10000"/>
                <a:gd name="connsiteX1475" fmla="*/ 4516 w 10746"/>
                <a:gd name="connsiteY1475" fmla="*/ 923 h 10000"/>
                <a:gd name="connsiteX1476" fmla="*/ 4516 w 10746"/>
                <a:gd name="connsiteY1476" fmla="*/ 932 h 10000"/>
                <a:gd name="connsiteX1477" fmla="*/ 4488 w 10746"/>
                <a:gd name="connsiteY1477" fmla="*/ 940 h 10000"/>
                <a:gd name="connsiteX1478" fmla="*/ 4484 w 10746"/>
                <a:gd name="connsiteY1478" fmla="*/ 983 h 10000"/>
                <a:gd name="connsiteX1479" fmla="*/ 4470 w 10746"/>
                <a:gd name="connsiteY1479" fmla="*/ 983 h 10000"/>
                <a:gd name="connsiteX1480" fmla="*/ 4470 w 10746"/>
                <a:gd name="connsiteY1480" fmla="*/ 966 h 10000"/>
                <a:gd name="connsiteX1481" fmla="*/ 4488 w 10746"/>
                <a:gd name="connsiteY1481" fmla="*/ 923 h 10000"/>
                <a:gd name="connsiteX1482" fmla="*/ 4493 w 10746"/>
                <a:gd name="connsiteY1482" fmla="*/ 880 h 10000"/>
                <a:gd name="connsiteX1483" fmla="*/ 4475 w 10746"/>
                <a:gd name="connsiteY1483" fmla="*/ 846 h 10000"/>
                <a:gd name="connsiteX1484" fmla="*/ 4442 w 10746"/>
                <a:gd name="connsiteY1484" fmla="*/ 855 h 10000"/>
                <a:gd name="connsiteX1485" fmla="*/ 4433 w 10746"/>
                <a:gd name="connsiteY1485" fmla="*/ 855 h 10000"/>
                <a:gd name="connsiteX1486" fmla="*/ 4433 w 10746"/>
                <a:gd name="connsiteY1486" fmla="*/ 880 h 10000"/>
                <a:gd name="connsiteX1487" fmla="*/ 4401 w 10746"/>
                <a:gd name="connsiteY1487" fmla="*/ 855 h 10000"/>
                <a:gd name="connsiteX1488" fmla="*/ 4396 w 10746"/>
                <a:gd name="connsiteY1488" fmla="*/ 872 h 10000"/>
                <a:gd name="connsiteX1489" fmla="*/ 4382 w 10746"/>
                <a:gd name="connsiteY1489" fmla="*/ 897 h 10000"/>
                <a:gd name="connsiteX1490" fmla="*/ 4373 w 10746"/>
                <a:gd name="connsiteY1490" fmla="*/ 872 h 10000"/>
                <a:gd name="connsiteX1491" fmla="*/ 4341 w 10746"/>
                <a:gd name="connsiteY1491" fmla="*/ 872 h 10000"/>
                <a:gd name="connsiteX1492" fmla="*/ 4336 w 10746"/>
                <a:gd name="connsiteY1492" fmla="*/ 880 h 10000"/>
                <a:gd name="connsiteX1493" fmla="*/ 4346 w 10746"/>
                <a:gd name="connsiteY1493" fmla="*/ 897 h 10000"/>
                <a:gd name="connsiteX1494" fmla="*/ 4346 w 10746"/>
                <a:gd name="connsiteY1494" fmla="*/ 897 h 10000"/>
                <a:gd name="connsiteX1495" fmla="*/ 4313 w 10746"/>
                <a:gd name="connsiteY1495" fmla="*/ 906 h 10000"/>
                <a:gd name="connsiteX1496" fmla="*/ 4313 w 10746"/>
                <a:gd name="connsiteY1496" fmla="*/ 906 h 10000"/>
                <a:gd name="connsiteX1497" fmla="*/ 4313 w 10746"/>
                <a:gd name="connsiteY1497" fmla="*/ 880 h 10000"/>
                <a:gd name="connsiteX1498" fmla="*/ 4309 w 10746"/>
                <a:gd name="connsiteY1498" fmla="*/ 897 h 10000"/>
                <a:gd name="connsiteX1499" fmla="*/ 4295 w 10746"/>
                <a:gd name="connsiteY1499" fmla="*/ 923 h 10000"/>
                <a:gd name="connsiteX1500" fmla="*/ 4286 w 10746"/>
                <a:gd name="connsiteY1500" fmla="*/ 897 h 10000"/>
                <a:gd name="connsiteX1501" fmla="*/ 4281 w 10746"/>
                <a:gd name="connsiteY1501" fmla="*/ 906 h 10000"/>
                <a:gd name="connsiteX1502" fmla="*/ 4281 w 10746"/>
                <a:gd name="connsiteY1502" fmla="*/ 940 h 10000"/>
                <a:gd name="connsiteX1503" fmla="*/ 4286 w 10746"/>
                <a:gd name="connsiteY1503" fmla="*/ 957 h 10000"/>
                <a:gd name="connsiteX1504" fmla="*/ 4309 w 10746"/>
                <a:gd name="connsiteY1504" fmla="*/ 932 h 10000"/>
                <a:gd name="connsiteX1505" fmla="*/ 4313 w 10746"/>
                <a:gd name="connsiteY1505" fmla="*/ 957 h 10000"/>
                <a:gd name="connsiteX1506" fmla="*/ 4313 w 10746"/>
                <a:gd name="connsiteY1506" fmla="*/ 966 h 10000"/>
                <a:gd name="connsiteX1507" fmla="*/ 4323 w 10746"/>
                <a:gd name="connsiteY1507" fmla="*/ 966 h 10000"/>
                <a:gd name="connsiteX1508" fmla="*/ 4323 w 10746"/>
                <a:gd name="connsiteY1508" fmla="*/ 940 h 10000"/>
                <a:gd name="connsiteX1509" fmla="*/ 4327 w 10746"/>
                <a:gd name="connsiteY1509" fmla="*/ 940 h 10000"/>
                <a:gd name="connsiteX1510" fmla="*/ 4327 w 10746"/>
                <a:gd name="connsiteY1510" fmla="*/ 957 h 10000"/>
                <a:gd name="connsiteX1511" fmla="*/ 4327 w 10746"/>
                <a:gd name="connsiteY1511" fmla="*/ 966 h 10000"/>
                <a:gd name="connsiteX1512" fmla="*/ 4323 w 10746"/>
                <a:gd name="connsiteY1512" fmla="*/ 991 h 10000"/>
                <a:gd name="connsiteX1513" fmla="*/ 4207 w 10746"/>
                <a:gd name="connsiteY1513" fmla="*/ 1060 h 10000"/>
                <a:gd name="connsiteX1514" fmla="*/ 4207 w 10746"/>
                <a:gd name="connsiteY1514" fmla="*/ 1060 h 10000"/>
                <a:gd name="connsiteX1515" fmla="*/ 4203 w 10746"/>
                <a:gd name="connsiteY1515" fmla="*/ 1068 h 10000"/>
                <a:gd name="connsiteX1516" fmla="*/ 4203 w 10746"/>
                <a:gd name="connsiteY1516" fmla="*/ 1094 h 10000"/>
                <a:gd name="connsiteX1517" fmla="*/ 4203 w 10746"/>
                <a:gd name="connsiteY1517" fmla="*/ 1094 h 10000"/>
                <a:gd name="connsiteX1518" fmla="*/ 4189 w 10746"/>
                <a:gd name="connsiteY1518" fmla="*/ 1094 h 10000"/>
                <a:gd name="connsiteX1519" fmla="*/ 4166 w 10746"/>
                <a:gd name="connsiteY1519" fmla="*/ 1103 h 10000"/>
                <a:gd name="connsiteX1520" fmla="*/ 4152 w 10746"/>
                <a:gd name="connsiteY1520" fmla="*/ 1094 h 10000"/>
                <a:gd name="connsiteX1521" fmla="*/ 4134 w 10746"/>
                <a:gd name="connsiteY1521" fmla="*/ 1120 h 10000"/>
                <a:gd name="connsiteX1522" fmla="*/ 4106 w 10746"/>
                <a:gd name="connsiteY1522" fmla="*/ 1120 h 10000"/>
                <a:gd name="connsiteX1523" fmla="*/ 4092 w 10746"/>
                <a:gd name="connsiteY1523" fmla="*/ 1154 h 10000"/>
                <a:gd name="connsiteX1524" fmla="*/ 4106 w 10746"/>
                <a:gd name="connsiteY1524" fmla="*/ 1171 h 10000"/>
                <a:gd name="connsiteX1525" fmla="*/ 4078 w 10746"/>
                <a:gd name="connsiteY1525" fmla="*/ 1179 h 10000"/>
                <a:gd name="connsiteX1526" fmla="*/ 4065 w 10746"/>
                <a:gd name="connsiteY1526" fmla="*/ 1205 h 10000"/>
                <a:gd name="connsiteX1527" fmla="*/ 4046 w 10746"/>
                <a:gd name="connsiteY1527" fmla="*/ 1179 h 10000"/>
                <a:gd name="connsiteX1528" fmla="*/ 4041 w 10746"/>
                <a:gd name="connsiteY1528" fmla="*/ 1197 h 10000"/>
                <a:gd name="connsiteX1529" fmla="*/ 4028 w 10746"/>
                <a:gd name="connsiteY1529" fmla="*/ 1205 h 10000"/>
                <a:gd name="connsiteX1530" fmla="*/ 4028 w 10746"/>
                <a:gd name="connsiteY1530" fmla="*/ 1205 h 10000"/>
                <a:gd name="connsiteX1531" fmla="*/ 4032 w 10746"/>
                <a:gd name="connsiteY1531" fmla="*/ 1205 h 10000"/>
                <a:gd name="connsiteX1532" fmla="*/ 4032 w 10746"/>
                <a:gd name="connsiteY1532" fmla="*/ 1231 h 10000"/>
                <a:gd name="connsiteX1533" fmla="*/ 4014 w 10746"/>
                <a:gd name="connsiteY1533" fmla="*/ 1239 h 10000"/>
                <a:gd name="connsiteX1534" fmla="*/ 4014 w 10746"/>
                <a:gd name="connsiteY1534" fmla="*/ 1256 h 10000"/>
                <a:gd name="connsiteX1535" fmla="*/ 4000 w 10746"/>
                <a:gd name="connsiteY1535" fmla="*/ 1265 h 10000"/>
                <a:gd name="connsiteX1536" fmla="*/ 3986 w 10746"/>
                <a:gd name="connsiteY1536" fmla="*/ 1308 h 10000"/>
                <a:gd name="connsiteX1537" fmla="*/ 3972 w 10746"/>
                <a:gd name="connsiteY1537" fmla="*/ 1316 h 10000"/>
                <a:gd name="connsiteX1538" fmla="*/ 3972 w 10746"/>
                <a:gd name="connsiteY1538" fmla="*/ 1325 h 10000"/>
                <a:gd name="connsiteX1539" fmla="*/ 3972 w 10746"/>
                <a:gd name="connsiteY1539" fmla="*/ 1342 h 10000"/>
                <a:gd name="connsiteX1540" fmla="*/ 3968 w 10746"/>
                <a:gd name="connsiteY1540" fmla="*/ 1350 h 10000"/>
                <a:gd name="connsiteX1541" fmla="*/ 3954 w 10746"/>
                <a:gd name="connsiteY1541" fmla="*/ 1368 h 10000"/>
                <a:gd name="connsiteX1542" fmla="*/ 3945 w 10746"/>
                <a:gd name="connsiteY1542" fmla="*/ 1350 h 10000"/>
                <a:gd name="connsiteX1543" fmla="*/ 3908 w 10746"/>
                <a:gd name="connsiteY1543" fmla="*/ 1342 h 10000"/>
                <a:gd name="connsiteX1544" fmla="*/ 3894 w 10746"/>
                <a:gd name="connsiteY1544" fmla="*/ 1368 h 10000"/>
                <a:gd name="connsiteX1545" fmla="*/ 3922 w 10746"/>
                <a:gd name="connsiteY1545" fmla="*/ 1393 h 10000"/>
                <a:gd name="connsiteX1546" fmla="*/ 3945 w 10746"/>
                <a:gd name="connsiteY1546" fmla="*/ 1393 h 10000"/>
                <a:gd name="connsiteX1547" fmla="*/ 3940 w 10746"/>
                <a:gd name="connsiteY1547" fmla="*/ 1419 h 10000"/>
                <a:gd name="connsiteX1548" fmla="*/ 3931 w 10746"/>
                <a:gd name="connsiteY1548" fmla="*/ 1427 h 10000"/>
                <a:gd name="connsiteX1549" fmla="*/ 3926 w 10746"/>
                <a:gd name="connsiteY1549" fmla="*/ 1427 h 10000"/>
                <a:gd name="connsiteX1550" fmla="*/ 3922 w 10746"/>
                <a:gd name="connsiteY1550" fmla="*/ 1419 h 10000"/>
                <a:gd name="connsiteX1551" fmla="*/ 3912 w 10746"/>
                <a:gd name="connsiteY1551" fmla="*/ 1427 h 10000"/>
                <a:gd name="connsiteX1552" fmla="*/ 3912 w 10746"/>
                <a:gd name="connsiteY1552" fmla="*/ 1444 h 10000"/>
                <a:gd name="connsiteX1553" fmla="*/ 3894 w 10746"/>
                <a:gd name="connsiteY1553" fmla="*/ 1513 h 10000"/>
                <a:gd name="connsiteX1554" fmla="*/ 3885 w 10746"/>
                <a:gd name="connsiteY1554" fmla="*/ 1513 h 10000"/>
                <a:gd name="connsiteX1555" fmla="*/ 3880 w 10746"/>
                <a:gd name="connsiteY1555" fmla="*/ 1538 h 10000"/>
                <a:gd name="connsiteX1556" fmla="*/ 3885 w 10746"/>
                <a:gd name="connsiteY1556" fmla="*/ 1564 h 10000"/>
                <a:gd name="connsiteX1557" fmla="*/ 3880 w 10746"/>
                <a:gd name="connsiteY1557" fmla="*/ 1581 h 10000"/>
                <a:gd name="connsiteX1558" fmla="*/ 3871 w 10746"/>
                <a:gd name="connsiteY1558" fmla="*/ 1538 h 10000"/>
                <a:gd name="connsiteX1559" fmla="*/ 3853 w 10746"/>
                <a:gd name="connsiteY1559" fmla="*/ 1530 h 10000"/>
                <a:gd name="connsiteX1560" fmla="*/ 3853 w 10746"/>
                <a:gd name="connsiteY1560" fmla="*/ 1504 h 10000"/>
                <a:gd name="connsiteX1561" fmla="*/ 3834 w 10746"/>
                <a:gd name="connsiteY1561" fmla="*/ 1487 h 10000"/>
                <a:gd name="connsiteX1562" fmla="*/ 3834 w 10746"/>
                <a:gd name="connsiteY1562" fmla="*/ 1487 h 10000"/>
                <a:gd name="connsiteX1563" fmla="*/ 3839 w 10746"/>
                <a:gd name="connsiteY1563" fmla="*/ 1513 h 10000"/>
                <a:gd name="connsiteX1564" fmla="*/ 3820 w 10746"/>
                <a:gd name="connsiteY1564" fmla="*/ 1538 h 10000"/>
                <a:gd name="connsiteX1565" fmla="*/ 3820 w 10746"/>
                <a:gd name="connsiteY1565" fmla="*/ 1556 h 10000"/>
                <a:gd name="connsiteX1566" fmla="*/ 3820 w 10746"/>
                <a:gd name="connsiteY1566" fmla="*/ 1564 h 10000"/>
                <a:gd name="connsiteX1567" fmla="*/ 3820 w 10746"/>
                <a:gd name="connsiteY1567" fmla="*/ 1581 h 10000"/>
                <a:gd name="connsiteX1568" fmla="*/ 3853 w 10746"/>
                <a:gd name="connsiteY1568" fmla="*/ 1581 h 10000"/>
                <a:gd name="connsiteX1569" fmla="*/ 3857 w 10746"/>
                <a:gd name="connsiteY1569" fmla="*/ 1598 h 10000"/>
                <a:gd name="connsiteX1570" fmla="*/ 3880 w 10746"/>
                <a:gd name="connsiteY1570" fmla="*/ 1615 h 10000"/>
                <a:gd name="connsiteX1571" fmla="*/ 3871 w 10746"/>
                <a:gd name="connsiteY1571" fmla="*/ 1615 h 10000"/>
                <a:gd name="connsiteX1572" fmla="*/ 3871 w 10746"/>
                <a:gd name="connsiteY1572" fmla="*/ 1641 h 10000"/>
                <a:gd name="connsiteX1573" fmla="*/ 3880 w 10746"/>
                <a:gd name="connsiteY1573" fmla="*/ 1641 h 10000"/>
                <a:gd name="connsiteX1574" fmla="*/ 3871 w 10746"/>
                <a:gd name="connsiteY1574" fmla="*/ 1650 h 10000"/>
                <a:gd name="connsiteX1575" fmla="*/ 3857 w 10746"/>
                <a:gd name="connsiteY1575" fmla="*/ 1650 h 10000"/>
                <a:gd name="connsiteX1576" fmla="*/ 3853 w 10746"/>
                <a:gd name="connsiteY1576" fmla="*/ 1650 h 10000"/>
                <a:gd name="connsiteX1577" fmla="*/ 3839 w 10746"/>
                <a:gd name="connsiteY1577" fmla="*/ 1667 h 10000"/>
                <a:gd name="connsiteX1578" fmla="*/ 3848 w 10746"/>
                <a:gd name="connsiteY1578" fmla="*/ 1692 h 10000"/>
                <a:gd name="connsiteX1579" fmla="*/ 3834 w 10746"/>
                <a:gd name="connsiteY1579" fmla="*/ 1692 h 10000"/>
                <a:gd name="connsiteX1580" fmla="*/ 3825 w 10746"/>
                <a:gd name="connsiteY1580" fmla="*/ 1692 h 10000"/>
                <a:gd name="connsiteX1581" fmla="*/ 3825 w 10746"/>
                <a:gd name="connsiteY1581" fmla="*/ 1718 h 10000"/>
                <a:gd name="connsiteX1582" fmla="*/ 3839 w 10746"/>
                <a:gd name="connsiteY1582" fmla="*/ 1726 h 10000"/>
                <a:gd name="connsiteX1583" fmla="*/ 3880 w 10746"/>
                <a:gd name="connsiteY1583" fmla="*/ 1752 h 10000"/>
                <a:gd name="connsiteX1584" fmla="*/ 3894 w 10746"/>
                <a:gd name="connsiteY1584" fmla="*/ 1829 h 10000"/>
                <a:gd name="connsiteX1585" fmla="*/ 3899 w 10746"/>
                <a:gd name="connsiteY1585" fmla="*/ 1838 h 10000"/>
                <a:gd name="connsiteX1586" fmla="*/ 3894 w 10746"/>
                <a:gd name="connsiteY1586" fmla="*/ 1855 h 10000"/>
                <a:gd name="connsiteX1587" fmla="*/ 3880 w 10746"/>
                <a:gd name="connsiteY1587" fmla="*/ 1838 h 10000"/>
                <a:gd name="connsiteX1588" fmla="*/ 3880 w 10746"/>
                <a:gd name="connsiteY1588" fmla="*/ 1855 h 10000"/>
                <a:gd name="connsiteX1589" fmla="*/ 3880 w 10746"/>
                <a:gd name="connsiteY1589" fmla="*/ 1863 h 10000"/>
                <a:gd name="connsiteX1590" fmla="*/ 3871 w 10746"/>
                <a:gd name="connsiteY1590" fmla="*/ 1872 h 10000"/>
                <a:gd name="connsiteX1591" fmla="*/ 3880 w 10746"/>
                <a:gd name="connsiteY1591" fmla="*/ 1889 h 10000"/>
                <a:gd name="connsiteX1592" fmla="*/ 3885 w 10746"/>
                <a:gd name="connsiteY1592" fmla="*/ 1889 h 10000"/>
                <a:gd name="connsiteX1593" fmla="*/ 3880 w 10746"/>
                <a:gd name="connsiteY1593" fmla="*/ 1897 h 10000"/>
                <a:gd name="connsiteX1594" fmla="*/ 3871 w 10746"/>
                <a:gd name="connsiteY1594" fmla="*/ 1915 h 10000"/>
                <a:gd name="connsiteX1595" fmla="*/ 3848 w 10746"/>
                <a:gd name="connsiteY1595" fmla="*/ 1923 h 10000"/>
                <a:gd name="connsiteX1596" fmla="*/ 3825 w 10746"/>
                <a:gd name="connsiteY1596" fmla="*/ 1940 h 10000"/>
                <a:gd name="connsiteX1597" fmla="*/ 3811 w 10746"/>
                <a:gd name="connsiteY1597" fmla="*/ 1940 h 10000"/>
                <a:gd name="connsiteX1598" fmla="*/ 3806 w 10746"/>
                <a:gd name="connsiteY1598" fmla="*/ 1949 h 10000"/>
                <a:gd name="connsiteX1599" fmla="*/ 3797 w 10746"/>
                <a:gd name="connsiteY1599" fmla="*/ 1966 h 10000"/>
                <a:gd name="connsiteX1600" fmla="*/ 3788 w 10746"/>
                <a:gd name="connsiteY1600" fmla="*/ 1991 h 10000"/>
                <a:gd name="connsiteX1601" fmla="*/ 3765 w 10746"/>
                <a:gd name="connsiteY1601" fmla="*/ 1974 h 10000"/>
                <a:gd name="connsiteX1602" fmla="*/ 3760 w 10746"/>
                <a:gd name="connsiteY1602" fmla="*/ 1966 h 10000"/>
                <a:gd name="connsiteX1603" fmla="*/ 3760 w 10746"/>
                <a:gd name="connsiteY1603" fmla="*/ 1966 h 10000"/>
                <a:gd name="connsiteX1604" fmla="*/ 3631 w 10746"/>
                <a:gd name="connsiteY1604" fmla="*/ 2009 h 10000"/>
                <a:gd name="connsiteX1605" fmla="*/ 3618 w 10746"/>
                <a:gd name="connsiteY1605" fmla="*/ 2000 h 10000"/>
                <a:gd name="connsiteX1606" fmla="*/ 3599 w 10746"/>
                <a:gd name="connsiteY1606" fmla="*/ 2009 h 10000"/>
                <a:gd name="connsiteX1607" fmla="*/ 3571 w 10746"/>
                <a:gd name="connsiteY1607" fmla="*/ 2000 h 10000"/>
                <a:gd name="connsiteX1608" fmla="*/ 3530 w 10746"/>
                <a:gd name="connsiteY1608" fmla="*/ 2026 h 10000"/>
                <a:gd name="connsiteX1609" fmla="*/ 3530 w 10746"/>
                <a:gd name="connsiteY1609" fmla="*/ 2034 h 10000"/>
                <a:gd name="connsiteX1610" fmla="*/ 3525 w 10746"/>
                <a:gd name="connsiteY1610" fmla="*/ 2051 h 10000"/>
                <a:gd name="connsiteX1611" fmla="*/ 3512 w 10746"/>
                <a:gd name="connsiteY1611" fmla="*/ 2034 h 10000"/>
                <a:gd name="connsiteX1612" fmla="*/ 3507 w 10746"/>
                <a:gd name="connsiteY1612" fmla="*/ 2034 h 10000"/>
                <a:gd name="connsiteX1613" fmla="*/ 3498 w 10746"/>
                <a:gd name="connsiteY1613" fmla="*/ 2051 h 10000"/>
                <a:gd name="connsiteX1614" fmla="*/ 3484 w 10746"/>
                <a:gd name="connsiteY1614" fmla="*/ 2060 h 10000"/>
                <a:gd name="connsiteX1615" fmla="*/ 3484 w 10746"/>
                <a:gd name="connsiteY1615" fmla="*/ 2085 h 10000"/>
                <a:gd name="connsiteX1616" fmla="*/ 3484 w 10746"/>
                <a:gd name="connsiteY1616" fmla="*/ 2103 h 10000"/>
                <a:gd name="connsiteX1617" fmla="*/ 3493 w 10746"/>
                <a:gd name="connsiteY1617" fmla="*/ 2103 h 10000"/>
                <a:gd name="connsiteX1618" fmla="*/ 3493 w 10746"/>
                <a:gd name="connsiteY1618" fmla="*/ 2085 h 10000"/>
                <a:gd name="connsiteX1619" fmla="*/ 3498 w 10746"/>
                <a:gd name="connsiteY1619" fmla="*/ 2085 h 10000"/>
                <a:gd name="connsiteX1620" fmla="*/ 3498 w 10746"/>
                <a:gd name="connsiteY1620" fmla="*/ 2111 h 10000"/>
                <a:gd name="connsiteX1621" fmla="*/ 3484 w 10746"/>
                <a:gd name="connsiteY1621" fmla="*/ 2120 h 10000"/>
                <a:gd name="connsiteX1622" fmla="*/ 3484 w 10746"/>
                <a:gd name="connsiteY1622" fmla="*/ 2145 h 10000"/>
                <a:gd name="connsiteX1623" fmla="*/ 3470 w 10746"/>
                <a:gd name="connsiteY1623" fmla="*/ 2137 h 10000"/>
                <a:gd name="connsiteX1624" fmla="*/ 3465 w 10746"/>
                <a:gd name="connsiteY1624" fmla="*/ 2145 h 10000"/>
                <a:gd name="connsiteX1625" fmla="*/ 3470 w 10746"/>
                <a:gd name="connsiteY1625" fmla="*/ 2171 h 10000"/>
                <a:gd name="connsiteX1626" fmla="*/ 3484 w 10746"/>
                <a:gd name="connsiteY1626" fmla="*/ 2171 h 10000"/>
                <a:gd name="connsiteX1627" fmla="*/ 3484 w 10746"/>
                <a:gd name="connsiteY1627" fmla="*/ 2197 h 10000"/>
                <a:gd name="connsiteX1628" fmla="*/ 3465 w 10746"/>
                <a:gd name="connsiteY1628" fmla="*/ 2214 h 10000"/>
                <a:gd name="connsiteX1629" fmla="*/ 3493 w 10746"/>
                <a:gd name="connsiteY1629" fmla="*/ 2248 h 10000"/>
                <a:gd name="connsiteX1630" fmla="*/ 3484 w 10746"/>
                <a:gd name="connsiteY1630" fmla="*/ 2256 h 10000"/>
                <a:gd name="connsiteX1631" fmla="*/ 3498 w 10746"/>
                <a:gd name="connsiteY1631" fmla="*/ 2274 h 10000"/>
                <a:gd name="connsiteX1632" fmla="*/ 3498 w 10746"/>
                <a:gd name="connsiteY1632" fmla="*/ 2256 h 10000"/>
                <a:gd name="connsiteX1633" fmla="*/ 3507 w 10746"/>
                <a:gd name="connsiteY1633" fmla="*/ 2308 h 10000"/>
                <a:gd name="connsiteX1634" fmla="*/ 3512 w 10746"/>
                <a:gd name="connsiteY1634" fmla="*/ 2325 h 10000"/>
                <a:gd name="connsiteX1635" fmla="*/ 3507 w 10746"/>
                <a:gd name="connsiteY1635" fmla="*/ 2333 h 10000"/>
                <a:gd name="connsiteX1636" fmla="*/ 3507 w 10746"/>
                <a:gd name="connsiteY1636" fmla="*/ 2359 h 10000"/>
                <a:gd name="connsiteX1637" fmla="*/ 3507 w 10746"/>
                <a:gd name="connsiteY1637" fmla="*/ 2376 h 10000"/>
                <a:gd name="connsiteX1638" fmla="*/ 3498 w 10746"/>
                <a:gd name="connsiteY1638" fmla="*/ 2410 h 10000"/>
                <a:gd name="connsiteX1639" fmla="*/ 3498 w 10746"/>
                <a:gd name="connsiteY1639" fmla="*/ 2436 h 10000"/>
                <a:gd name="connsiteX1640" fmla="*/ 3507 w 10746"/>
                <a:gd name="connsiteY1640" fmla="*/ 2462 h 10000"/>
                <a:gd name="connsiteX1641" fmla="*/ 3507 w 10746"/>
                <a:gd name="connsiteY1641" fmla="*/ 2496 h 10000"/>
                <a:gd name="connsiteX1642" fmla="*/ 3512 w 10746"/>
                <a:gd name="connsiteY1642" fmla="*/ 2521 h 10000"/>
                <a:gd name="connsiteX1643" fmla="*/ 3525 w 10746"/>
                <a:gd name="connsiteY1643" fmla="*/ 2556 h 10000"/>
                <a:gd name="connsiteX1644" fmla="*/ 3571 w 10746"/>
                <a:gd name="connsiteY1644" fmla="*/ 2573 h 10000"/>
                <a:gd name="connsiteX1645" fmla="*/ 3590 w 10746"/>
                <a:gd name="connsiteY1645" fmla="*/ 2598 h 10000"/>
                <a:gd name="connsiteX1646" fmla="*/ 3599 w 10746"/>
                <a:gd name="connsiteY1646" fmla="*/ 2598 h 10000"/>
                <a:gd name="connsiteX1647" fmla="*/ 3604 w 10746"/>
                <a:gd name="connsiteY1647" fmla="*/ 2632 h 10000"/>
                <a:gd name="connsiteX1648" fmla="*/ 3599 w 10746"/>
                <a:gd name="connsiteY1648" fmla="*/ 2658 h 10000"/>
                <a:gd name="connsiteX1649" fmla="*/ 3590 w 10746"/>
                <a:gd name="connsiteY1649" fmla="*/ 2667 h 10000"/>
                <a:gd name="connsiteX1650" fmla="*/ 3604 w 10746"/>
                <a:gd name="connsiteY1650" fmla="*/ 2667 h 10000"/>
                <a:gd name="connsiteX1651" fmla="*/ 3613 w 10746"/>
                <a:gd name="connsiteY1651" fmla="*/ 2692 h 10000"/>
                <a:gd name="connsiteX1652" fmla="*/ 3627 w 10746"/>
                <a:gd name="connsiteY1652" fmla="*/ 2735 h 10000"/>
                <a:gd name="connsiteX1653" fmla="*/ 3631 w 10746"/>
                <a:gd name="connsiteY1653" fmla="*/ 2744 h 10000"/>
                <a:gd name="connsiteX1654" fmla="*/ 3659 w 10746"/>
                <a:gd name="connsiteY1654" fmla="*/ 2761 h 10000"/>
                <a:gd name="connsiteX1655" fmla="*/ 3673 w 10746"/>
                <a:gd name="connsiteY1655" fmla="*/ 2769 h 10000"/>
                <a:gd name="connsiteX1656" fmla="*/ 3673 w 10746"/>
                <a:gd name="connsiteY1656" fmla="*/ 2761 h 10000"/>
                <a:gd name="connsiteX1657" fmla="*/ 3687 w 10746"/>
                <a:gd name="connsiteY1657" fmla="*/ 2829 h 10000"/>
                <a:gd name="connsiteX1658" fmla="*/ 3677 w 10746"/>
                <a:gd name="connsiteY1658" fmla="*/ 2897 h 10000"/>
                <a:gd name="connsiteX1659" fmla="*/ 3673 w 10746"/>
                <a:gd name="connsiteY1659" fmla="*/ 2915 h 10000"/>
                <a:gd name="connsiteX1660" fmla="*/ 3664 w 10746"/>
                <a:gd name="connsiteY1660" fmla="*/ 2957 h 10000"/>
                <a:gd name="connsiteX1661" fmla="*/ 3659 w 10746"/>
                <a:gd name="connsiteY1661" fmla="*/ 2983 h 10000"/>
                <a:gd name="connsiteX1662" fmla="*/ 3664 w 10746"/>
                <a:gd name="connsiteY1662" fmla="*/ 3017 h 10000"/>
                <a:gd name="connsiteX1663" fmla="*/ 3659 w 10746"/>
                <a:gd name="connsiteY1663" fmla="*/ 3043 h 10000"/>
                <a:gd name="connsiteX1664" fmla="*/ 3677 w 10746"/>
                <a:gd name="connsiteY1664" fmla="*/ 3094 h 10000"/>
                <a:gd name="connsiteX1665" fmla="*/ 3691 w 10746"/>
                <a:gd name="connsiteY1665" fmla="*/ 3282 h 10000"/>
                <a:gd name="connsiteX1666" fmla="*/ 3691 w 10746"/>
                <a:gd name="connsiteY1666" fmla="*/ 3308 h 10000"/>
                <a:gd name="connsiteX1667" fmla="*/ 3677 w 10746"/>
                <a:gd name="connsiteY1667" fmla="*/ 3342 h 10000"/>
                <a:gd name="connsiteX1668" fmla="*/ 3664 w 10746"/>
                <a:gd name="connsiteY1668" fmla="*/ 3342 h 10000"/>
                <a:gd name="connsiteX1669" fmla="*/ 3650 w 10746"/>
                <a:gd name="connsiteY1669" fmla="*/ 3342 h 10000"/>
                <a:gd name="connsiteX1670" fmla="*/ 3650 w 10746"/>
                <a:gd name="connsiteY1670" fmla="*/ 3350 h 10000"/>
                <a:gd name="connsiteX1671" fmla="*/ 3659 w 10746"/>
                <a:gd name="connsiteY1671" fmla="*/ 3402 h 10000"/>
                <a:gd name="connsiteX1672" fmla="*/ 3659 w 10746"/>
                <a:gd name="connsiteY1672" fmla="*/ 3419 h 10000"/>
                <a:gd name="connsiteX1673" fmla="*/ 3631 w 10746"/>
                <a:gd name="connsiteY1673" fmla="*/ 3402 h 10000"/>
                <a:gd name="connsiteX1674" fmla="*/ 3604 w 10746"/>
                <a:gd name="connsiteY1674" fmla="*/ 3393 h 10000"/>
                <a:gd name="connsiteX1675" fmla="*/ 3599 w 10746"/>
                <a:gd name="connsiteY1675" fmla="*/ 3368 h 10000"/>
                <a:gd name="connsiteX1676" fmla="*/ 3590 w 10746"/>
                <a:gd name="connsiteY1676" fmla="*/ 3239 h 10000"/>
                <a:gd name="connsiteX1677" fmla="*/ 3599 w 10746"/>
                <a:gd name="connsiteY1677" fmla="*/ 3179 h 10000"/>
                <a:gd name="connsiteX1678" fmla="*/ 3599 w 10746"/>
                <a:gd name="connsiteY1678" fmla="*/ 3171 h 10000"/>
                <a:gd name="connsiteX1679" fmla="*/ 3599 w 10746"/>
                <a:gd name="connsiteY1679" fmla="*/ 3009 h 10000"/>
                <a:gd name="connsiteX1680" fmla="*/ 3604 w 10746"/>
                <a:gd name="connsiteY1680" fmla="*/ 2983 h 10000"/>
                <a:gd name="connsiteX1681" fmla="*/ 3645 w 10746"/>
                <a:gd name="connsiteY1681" fmla="*/ 2932 h 10000"/>
                <a:gd name="connsiteX1682" fmla="*/ 3650 w 10746"/>
                <a:gd name="connsiteY1682" fmla="*/ 2872 h 10000"/>
                <a:gd name="connsiteX1683" fmla="*/ 3659 w 10746"/>
                <a:gd name="connsiteY1683" fmla="*/ 2855 h 10000"/>
                <a:gd name="connsiteX1684" fmla="*/ 3659 w 10746"/>
                <a:gd name="connsiteY1684" fmla="*/ 2821 h 10000"/>
                <a:gd name="connsiteX1685" fmla="*/ 3631 w 10746"/>
                <a:gd name="connsiteY1685" fmla="*/ 2795 h 10000"/>
                <a:gd name="connsiteX1686" fmla="*/ 3567 w 10746"/>
                <a:gd name="connsiteY1686" fmla="*/ 2821 h 10000"/>
                <a:gd name="connsiteX1687" fmla="*/ 3544 w 10746"/>
                <a:gd name="connsiteY1687" fmla="*/ 2795 h 10000"/>
                <a:gd name="connsiteX1688" fmla="*/ 3530 w 10746"/>
                <a:gd name="connsiteY1688" fmla="*/ 2769 h 10000"/>
                <a:gd name="connsiteX1689" fmla="*/ 3530 w 10746"/>
                <a:gd name="connsiteY1689" fmla="*/ 2786 h 10000"/>
                <a:gd name="connsiteX1690" fmla="*/ 3498 w 10746"/>
                <a:gd name="connsiteY1690" fmla="*/ 2692 h 10000"/>
                <a:gd name="connsiteX1691" fmla="*/ 3498 w 10746"/>
                <a:gd name="connsiteY1691" fmla="*/ 2667 h 10000"/>
                <a:gd name="connsiteX1692" fmla="*/ 3442 w 10746"/>
                <a:gd name="connsiteY1692" fmla="*/ 2607 h 10000"/>
                <a:gd name="connsiteX1693" fmla="*/ 3433 w 10746"/>
                <a:gd name="connsiteY1693" fmla="*/ 2581 h 10000"/>
                <a:gd name="connsiteX1694" fmla="*/ 3396 w 10746"/>
                <a:gd name="connsiteY1694" fmla="*/ 2556 h 10000"/>
                <a:gd name="connsiteX1695" fmla="*/ 3318 w 10746"/>
                <a:gd name="connsiteY1695" fmla="*/ 2556 h 10000"/>
                <a:gd name="connsiteX1696" fmla="*/ 3304 w 10746"/>
                <a:gd name="connsiteY1696" fmla="*/ 2607 h 10000"/>
                <a:gd name="connsiteX1697" fmla="*/ 3276 w 10746"/>
                <a:gd name="connsiteY1697" fmla="*/ 2632 h 10000"/>
                <a:gd name="connsiteX1698" fmla="*/ 3272 w 10746"/>
                <a:gd name="connsiteY1698" fmla="*/ 2667 h 10000"/>
                <a:gd name="connsiteX1699" fmla="*/ 3304 w 10746"/>
                <a:gd name="connsiteY1699" fmla="*/ 2667 h 10000"/>
                <a:gd name="connsiteX1700" fmla="*/ 3323 w 10746"/>
                <a:gd name="connsiteY1700" fmla="*/ 2692 h 10000"/>
                <a:gd name="connsiteX1701" fmla="*/ 3318 w 10746"/>
                <a:gd name="connsiteY1701" fmla="*/ 2735 h 10000"/>
                <a:gd name="connsiteX1702" fmla="*/ 3304 w 10746"/>
                <a:gd name="connsiteY1702" fmla="*/ 2761 h 10000"/>
                <a:gd name="connsiteX1703" fmla="*/ 3276 w 10746"/>
                <a:gd name="connsiteY1703" fmla="*/ 2769 h 10000"/>
                <a:gd name="connsiteX1704" fmla="*/ 3263 w 10746"/>
                <a:gd name="connsiteY1704" fmla="*/ 2795 h 10000"/>
                <a:gd name="connsiteX1705" fmla="*/ 3235 w 10746"/>
                <a:gd name="connsiteY1705" fmla="*/ 2803 h 10000"/>
                <a:gd name="connsiteX1706" fmla="*/ 3235 w 10746"/>
                <a:gd name="connsiteY1706" fmla="*/ 2786 h 10000"/>
                <a:gd name="connsiteX1707" fmla="*/ 3212 w 10746"/>
                <a:gd name="connsiteY1707" fmla="*/ 2709 h 10000"/>
                <a:gd name="connsiteX1708" fmla="*/ 3198 w 10746"/>
                <a:gd name="connsiteY1708" fmla="*/ 2709 h 10000"/>
                <a:gd name="connsiteX1709" fmla="*/ 3184 w 10746"/>
                <a:gd name="connsiteY1709" fmla="*/ 2735 h 10000"/>
                <a:gd name="connsiteX1710" fmla="*/ 3189 w 10746"/>
                <a:gd name="connsiteY1710" fmla="*/ 2761 h 10000"/>
                <a:gd name="connsiteX1711" fmla="*/ 3203 w 10746"/>
                <a:gd name="connsiteY1711" fmla="*/ 2855 h 10000"/>
                <a:gd name="connsiteX1712" fmla="*/ 3212 w 10746"/>
                <a:gd name="connsiteY1712" fmla="*/ 2872 h 10000"/>
                <a:gd name="connsiteX1713" fmla="*/ 3235 w 10746"/>
                <a:gd name="connsiteY1713" fmla="*/ 2906 h 10000"/>
                <a:gd name="connsiteX1714" fmla="*/ 3258 w 10746"/>
                <a:gd name="connsiteY1714" fmla="*/ 2915 h 10000"/>
                <a:gd name="connsiteX1715" fmla="*/ 3272 w 10746"/>
                <a:gd name="connsiteY1715" fmla="*/ 2957 h 10000"/>
                <a:gd name="connsiteX1716" fmla="*/ 3276 w 10746"/>
                <a:gd name="connsiteY1716" fmla="*/ 2957 h 10000"/>
                <a:gd name="connsiteX1717" fmla="*/ 3286 w 10746"/>
                <a:gd name="connsiteY1717" fmla="*/ 2966 h 10000"/>
                <a:gd name="connsiteX1718" fmla="*/ 3300 w 10746"/>
                <a:gd name="connsiteY1718" fmla="*/ 2957 h 10000"/>
                <a:gd name="connsiteX1719" fmla="*/ 3309 w 10746"/>
                <a:gd name="connsiteY1719" fmla="*/ 2932 h 10000"/>
                <a:gd name="connsiteX1720" fmla="*/ 3304 w 10746"/>
                <a:gd name="connsiteY1720" fmla="*/ 2966 h 10000"/>
                <a:gd name="connsiteX1721" fmla="*/ 3309 w 10746"/>
                <a:gd name="connsiteY1721" fmla="*/ 2983 h 10000"/>
                <a:gd name="connsiteX1722" fmla="*/ 3323 w 10746"/>
                <a:gd name="connsiteY1722" fmla="*/ 2966 h 10000"/>
                <a:gd name="connsiteX1723" fmla="*/ 3323 w 10746"/>
                <a:gd name="connsiteY1723" fmla="*/ 3043 h 10000"/>
                <a:gd name="connsiteX1724" fmla="*/ 3346 w 10746"/>
                <a:gd name="connsiteY1724" fmla="*/ 3068 h 10000"/>
                <a:gd name="connsiteX1725" fmla="*/ 3346 w 10746"/>
                <a:gd name="connsiteY1725" fmla="*/ 3094 h 10000"/>
                <a:gd name="connsiteX1726" fmla="*/ 3323 w 10746"/>
                <a:gd name="connsiteY1726" fmla="*/ 3094 h 10000"/>
                <a:gd name="connsiteX1727" fmla="*/ 3309 w 10746"/>
                <a:gd name="connsiteY1727" fmla="*/ 3077 h 10000"/>
                <a:gd name="connsiteX1728" fmla="*/ 3304 w 10746"/>
                <a:gd name="connsiteY1728" fmla="*/ 3051 h 10000"/>
                <a:gd name="connsiteX1729" fmla="*/ 3300 w 10746"/>
                <a:gd name="connsiteY1729" fmla="*/ 3043 h 10000"/>
                <a:gd name="connsiteX1730" fmla="*/ 3286 w 10746"/>
                <a:gd name="connsiteY1730" fmla="*/ 3017 h 10000"/>
                <a:gd name="connsiteX1731" fmla="*/ 3152 w 10746"/>
                <a:gd name="connsiteY1731" fmla="*/ 2966 h 10000"/>
                <a:gd name="connsiteX1732" fmla="*/ 3129 w 10746"/>
                <a:gd name="connsiteY1732" fmla="*/ 2915 h 10000"/>
                <a:gd name="connsiteX1733" fmla="*/ 3129 w 10746"/>
                <a:gd name="connsiteY1733" fmla="*/ 2906 h 10000"/>
                <a:gd name="connsiteX1734" fmla="*/ 3152 w 10746"/>
                <a:gd name="connsiteY1734" fmla="*/ 2906 h 10000"/>
                <a:gd name="connsiteX1735" fmla="*/ 3152 w 10746"/>
                <a:gd name="connsiteY1735" fmla="*/ 2846 h 10000"/>
                <a:gd name="connsiteX1736" fmla="*/ 3138 w 10746"/>
                <a:gd name="connsiteY1736" fmla="*/ 2795 h 10000"/>
                <a:gd name="connsiteX1737" fmla="*/ 3138 w 10746"/>
                <a:gd name="connsiteY1737" fmla="*/ 2769 h 10000"/>
                <a:gd name="connsiteX1738" fmla="*/ 3143 w 10746"/>
                <a:gd name="connsiteY1738" fmla="*/ 2718 h 10000"/>
                <a:gd name="connsiteX1739" fmla="*/ 3129 w 10746"/>
                <a:gd name="connsiteY1739" fmla="*/ 2692 h 10000"/>
                <a:gd name="connsiteX1740" fmla="*/ 3143 w 10746"/>
                <a:gd name="connsiteY1740" fmla="*/ 2667 h 10000"/>
                <a:gd name="connsiteX1741" fmla="*/ 3157 w 10746"/>
                <a:gd name="connsiteY1741" fmla="*/ 2581 h 10000"/>
                <a:gd name="connsiteX1742" fmla="*/ 3143 w 10746"/>
                <a:gd name="connsiteY1742" fmla="*/ 2496 h 10000"/>
                <a:gd name="connsiteX1743" fmla="*/ 3157 w 10746"/>
                <a:gd name="connsiteY1743" fmla="*/ 2487 h 10000"/>
                <a:gd name="connsiteX1744" fmla="*/ 3143 w 10746"/>
                <a:gd name="connsiteY1744" fmla="*/ 2444 h 10000"/>
                <a:gd name="connsiteX1745" fmla="*/ 3143 w 10746"/>
                <a:gd name="connsiteY1745" fmla="*/ 2419 h 10000"/>
                <a:gd name="connsiteX1746" fmla="*/ 3143 w 10746"/>
                <a:gd name="connsiteY1746" fmla="*/ 2410 h 10000"/>
                <a:gd name="connsiteX1747" fmla="*/ 3124 w 10746"/>
                <a:gd name="connsiteY1747" fmla="*/ 2376 h 10000"/>
                <a:gd name="connsiteX1748" fmla="*/ 3115 w 10746"/>
                <a:gd name="connsiteY1748" fmla="*/ 2350 h 10000"/>
                <a:gd name="connsiteX1749" fmla="*/ 3101 w 10746"/>
                <a:gd name="connsiteY1749" fmla="*/ 2359 h 10000"/>
                <a:gd name="connsiteX1750" fmla="*/ 3115 w 10746"/>
                <a:gd name="connsiteY1750" fmla="*/ 2581 h 10000"/>
                <a:gd name="connsiteX1751" fmla="*/ 3111 w 10746"/>
                <a:gd name="connsiteY1751" fmla="*/ 2624 h 10000"/>
                <a:gd name="connsiteX1752" fmla="*/ 3009 w 10746"/>
                <a:gd name="connsiteY1752" fmla="*/ 2761 h 10000"/>
                <a:gd name="connsiteX1753" fmla="*/ 3009 w 10746"/>
                <a:gd name="connsiteY1753" fmla="*/ 2803 h 10000"/>
                <a:gd name="connsiteX1754" fmla="*/ 3005 w 10746"/>
                <a:gd name="connsiteY1754" fmla="*/ 2829 h 10000"/>
                <a:gd name="connsiteX1755" fmla="*/ 2982 w 10746"/>
                <a:gd name="connsiteY1755" fmla="*/ 2872 h 10000"/>
                <a:gd name="connsiteX1756" fmla="*/ 2982 w 10746"/>
                <a:gd name="connsiteY1756" fmla="*/ 2880 h 10000"/>
                <a:gd name="connsiteX1757" fmla="*/ 3037 w 10746"/>
                <a:gd name="connsiteY1757" fmla="*/ 3034 h 10000"/>
                <a:gd name="connsiteX1758" fmla="*/ 3041 w 10746"/>
                <a:gd name="connsiteY1758" fmla="*/ 3103 h 10000"/>
                <a:gd name="connsiteX1759" fmla="*/ 3069 w 10746"/>
                <a:gd name="connsiteY1759" fmla="*/ 3188 h 10000"/>
                <a:gd name="connsiteX1760" fmla="*/ 3055 w 10746"/>
                <a:gd name="connsiteY1760" fmla="*/ 3325 h 10000"/>
                <a:gd name="connsiteX1761" fmla="*/ 3037 w 10746"/>
                <a:gd name="connsiteY1761" fmla="*/ 3368 h 10000"/>
                <a:gd name="connsiteX1762" fmla="*/ 3037 w 10746"/>
                <a:gd name="connsiteY1762" fmla="*/ 3444 h 10000"/>
                <a:gd name="connsiteX1763" fmla="*/ 3028 w 10746"/>
                <a:gd name="connsiteY1763" fmla="*/ 3453 h 10000"/>
                <a:gd name="connsiteX1764" fmla="*/ 3023 w 10746"/>
                <a:gd name="connsiteY1764" fmla="*/ 3530 h 10000"/>
                <a:gd name="connsiteX1765" fmla="*/ 3051 w 10746"/>
                <a:gd name="connsiteY1765" fmla="*/ 3624 h 10000"/>
                <a:gd name="connsiteX1766" fmla="*/ 3037 w 10746"/>
                <a:gd name="connsiteY1766" fmla="*/ 3718 h 10000"/>
                <a:gd name="connsiteX1767" fmla="*/ 3041 w 10746"/>
                <a:gd name="connsiteY1767" fmla="*/ 3752 h 10000"/>
                <a:gd name="connsiteX1768" fmla="*/ 3055 w 10746"/>
                <a:gd name="connsiteY1768" fmla="*/ 3761 h 10000"/>
                <a:gd name="connsiteX1769" fmla="*/ 3078 w 10746"/>
                <a:gd name="connsiteY1769" fmla="*/ 3752 h 10000"/>
                <a:gd name="connsiteX1770" fmla="*/ 3092 w 10746"/>
                <a:gd name="connsiteY1770" fmla="*/ 3752 h 10000"/>
                <a:gd name="connsiteX1771" fmla="*/ 3129 w 10746"/>
                <a:gd name="connsiteY1771" fmla="*/ 3761 h 10000"/>
                <a:gd name="connsiteX1772" fmla="*/ 3129 w 10746"/>
                <a:gd name="connsiteY1772" fmla="*/ 3735 h 10000"/>
                <a:gd name="connsiteX1773" fmla="*/ 3157 w 10746"/>
                <a:gd name="connsiteY1773" fmla="*/ 3718 h 10000"/>
                <a:gd name="connsiteX1774" fmla="*/ 3184 w 10746"/>
                <a:gd name="connsiteY1774" fmla="*/ 3718 h 10000"/>
                <a:gd name="connsiteX1775" fmla="*/ 3290 w 10746"/>
                <a:gd name="connsiteY1775" fmla="*/ 3838 h 10000"/>
                <a:gd name="connsiteX1776" fmla="*/ 3300 w 10746"/>
                <a:gd name="connsiteY1776" fmla="*/ 3846 h 10000"/>
                <a:gd name="connsiteX1777" fmla="*/ 3300 w 10746"/>
                <a:gd name="connsiteY1777" fmla="*/ 3915 h 10000"/>
                <a:gd name="connsiteX1778" fmla="*/ 3318 w 10746"/>
                <a:gd name="connsiteY1778" fmla="*/ 4000 h 10000"/>
                <a:gd name="connsiteX1779" fmla="*/ 3323 w 10746"/>
                <a:gd name="connsiteY1779" fmla="*/ 4000 h 10000"/>
                <a:gd name="connsiteX1780" fmla="*/ 3323 w 10746"/>
                <a:gd name="connsiteY1780" fmla="*/ 4034 h 10000"/>
                <a:gd name="connsiteX1781" fmla="*/ 3318 w 10746"/>
                <a:gd name="connsiteY1781" fmla="*/ 4051 h 10000"/>
                <a:gd name="connsiteX1782" fmla="*/ 3300 w 10746"/>
                <a:gd name="connsiteY1782" fmla="*/ 4051 h 10000"/>
                <a:gd name="connsiteX1783" fmla="*/ 3290 w 10746"/>
                <a:gd name="connsiteY1783" fmla="*/ 4077 h 10000"/>
                <a:gd name="connsiteX1784" fmla="*/ 3286 w 10746"/>
                <a:gd name="connsiteY1784" fmla="*/ 4103 h 10000"/>
                <a:gd name="connsiteX1785" fmla="*/ 3286 w 10746"/>
                <a:gd name="connsiteY1785" fmla="*/ 4197 h 10000"/>
                <a:gd name="connsiteX1786" fmla="*/ 3290 w 10746"/>
                <a:gd name="connsiteY1786" fmla="*/ 4214 h 10000"/>
                <a:gd name="connsiteX1787" fmla="*/ 3304 w 10746"/>
                <a:gd name="connsiteY1787" fmla="*/ 4214 h 10000"/>
                <a:gd name="connsiteX1788" fmla="*/ 3323 w 10746"/>
                <a:gd name="connsiteY1788" fmla="*/ 4239 h 10000"/>
                <a:gd name="connsiteX1789" fmla="*/ 3350 w 10746"/>
                <a:gd name="connsiteY1789" fmla="*/ 4222 h 10000"/>
                <a:gd name="connsiteX1790" fmla="*/ 3369 w 10746"/>
                <a:gd name="connsiteY1790" fmla="*/ 4256 h 10000"/>
                <a:gd name="connsiteX1791" fmla="*/ 3369 w 10746"/>
                <a:gd name="connsiteY1791" fmla="*/ 4256 h 10000"/>
                <a:gd name="connsiteX1792" fmla="*/ 3336 w 10746"/>
                <a:gd name="connsiteY1792" fmla="*/ 4274 h 10000"/>
                <a:gd name="connsiteX1793" fmla="*/ 3323 w 10746"/>
                <a:gd name="connsiteY1793" fmla="*/ 4274 h 10000"/>
                <a:gd name="connsiteX1794" fmla="*/ 3290 w 10746"/>
                <a:gd name="connsiteY1794" fmla="*/ 4274 h 10000"/>
                <a:gd name="connsiteX1795" fmla="*/ 3286 w 10746"/>
                <a:gd name="connsiteY1795" fmla="*/ 4239 h 10000"/>
                <a:gd name="connsiteX1796" fmla="*/ 3263 w 10746"/>
                <a:gd name="connsiteY1796" fmla="*/ 4214 h 10000"/>
                <a:gd name="connsiteX1797" fmla="*/ 3258 w 10746"/>
                <a:gd name="connsiteY1797" fmla="*/ 4188 h 10000"/>
                <a:gd name="connsiteX1798" fmla="*/ 3263 w 10746"/>
                <a:gd name="connsiteY1798" fmla="*/ 4171 h 10000"/>
                <a:gd name="connsiteX1799" fmla="*/ 3263 w 10746"/>
                <a:gd name="connsiteY1799" fmla="*/ 4103 h 10000"/>
                <a:gd name="connsiteX1800" fmla="*/ 3276 w 10746"/>
                <a:gd name="connsiteY1800" fmla="*/ 4060 h 10000"/>
                <a:gd name="connsiteX1801" fmla="*/ 3272 w 10746"/>
                <a:gd name="connsiteY1801" fmla="*/ 4051 h 10000"/>
                <a:gd name="connsiteX1802" fmla="*/ 3263 w 10746"/>
                <a:gd name="connsiteY1802" fmla="*/ 4051 h 10000"/>
                <a:gd name="connsiteX1803" fmla="*/ 3263 w 10746"/>
                <a:gd name="connsiteY1803" fmla="*/ 4034 h 10000"/>
                <a:gd name="connsiteX1804" fmla="*/ 3263 w 10746"/>
                <a:gd name="connsiteY1804" fmla="*/ 4000 h 10000"/>
                <a:gd name="connsiteX1805" fmla="*/ 3272 w 10746"/>
                <a:gd name="connsiteY1805" fmla="*/ 4000 h 10000"/>
                <a:gd name="connsiteX1806" fmla="*/ 3272 w 10746"/>
                <a:gd name="connsiteY1806" fmla="*/ 3974 h 10000"/>
                <a:gd name="connsiteX1807" fmla="*/ 3272 w 10746"/>
                <a:gd name="connsiteY1807" fmla="*/ 3966 h 10000"/>
                <a:gd name="connsiteX1808" fmla="*/ 3272 w 10746"/>
                <a:gd name="connsiteY1808" fmla="*/ 3949 h 10000"/>
                <a:gd name="connsiteX1809" fmla="*/ 3258 w 10746"/>
                <a:gd name="connsiteY1809" fmla="*/ 3923 h 10000"/>
                <a:gd name="connsiteX1810" fmla="*/ 3249 w 10746"/>
                <a:gd name="connsiteY1810" fmla="*/ 3915 h 10000"/>
                <a:gd name="connsiteX1811" fmla="*/ 3244 w 10746"/>
                <a:gd name="connsiteY1811" fmla="*/ 3897 h 10000"/>
                <a:gd name="connsiteX1812" fmla="*/ 3230 w 10746"/>
                <a:gd name="connsiteY1812" fmla="*/ 3889 h 10000"/>
                <a:gd name="connsiteX1813" fmla="*/ 3230 w 10746"/>
                <a:gd name="connsiteY1813" fmla="*/ 3863 h 10000"/>
                <a:gd name="connsiteX1814" fmla="*/ 3230 w 10746"/>
                <a:gd name="connsiteY1814" fmla="*/ 3838 h 10000"/>
                <a:gd name="connsiteX1815" fmla="*/ 3226 w 10746"/>
                <a:gd name="connsiteY1815" fmla="*/ 3803 h 10000"/>
                <a:gd name="connsiteX1816" fmla="*/ 3138 w 10746"/>
                <a:gd name="connsiteY1816" fmla="*/ 3838 h 10000"/>
                <a:gd name="connsiteX1817" fmla="*/ 3078 w 10746"/>
                <a:gd name="connsiteY1817" fmla="*/ 3889 h 10000"/>
                <a:gd name="connsiteX1818" fmla="*/ 3078 w 10746"/>
                <a:gd name="connsiteY1818" fmla="*/ 3940 h 10000"/>
                <a:gd name="connsiteX1819" fmla="*/ 3069 w 10746"/>
                <a:gd name="connsiteY1819" fmla="*/ 3983 h 10000"/>
                <a:gd name="connsiteX1820" fmla="*/ 3069 w 10746"/>
                <a:gd name="connsiteY1820" fmla="*/ 4009 h 10000"/>
                <a:gd name="connsiteX1821" fmla="*/ 3078 w 10746"/>
                <a:gd name="connsiteY1821" fmla="*/ 4026 h 10000"/>
                <a:gd name="connsiteX1822" fmla="*/ 3083 w 10746"/>
                <a:gd name="connsiteY1822" fmla="*/ 4034 h 10000"/>
                <a:gd name="connsiteX1823" fmla="*/ 3092 w 10746"/>
                <a:gd name="connsiteY1823" fmla="*/ 4060 h 10000"/>
                <a:gd name="connsiteX1824" fmla="*/ 3092 w 10746"/>
                <a:gd name="connsiteY1824" fmla="*/ 4077 h 10000"/>
                <a:gd name="connsiteX1825" fmla="*/ 3097 w 10746"/>
                <a:gd name="connsiteY1825" fmla="*/ 4103 h 10000"/>
                <a:gd name="connsiteX1826" fmla="*/ 3101 w 10746"/>
                <a:gd name="connsiteY1826" fmla="*/ 4162 h 10000"/>
                <a:gd name="connsiteX1827" fmla="*/ 3097 w 10746"/>
                <a:gd name="connsiteY1827" fmla="*/ 4222 h 10000"/>
                <a:gd name="connsiteX1828" fmla="*/ 3041 w 10746"/>
                <a:gd name="connsiteY1828" fmla="*/ 4325 h 10000"/>
                <a:gd name="connsiteX1829" fmla="*/ 3037 w 10746"/>
                <a:gd name="connsiteY1829" fmla="*/ 4419 h 10000"/>
                <a:gd name="connsiteX1830" fmla="*/ 3018 w 10746"/>
                <a:gd name="connsiteY1830" fmla="*/ 4470 h 10000"/>
                <a:gd name="connsiteX1831" fmla="*/ 2991 w 10746"/>
                <a:gd name="connsiteY1831" fmla="*/ 4513 h 10000"/>
                <a:gd name="connsiteX1832" fmla="*/ 2977 w 10746"/>
                <a:gd name="connsiteY1832" fmla="*/ 4530 h 10000"/>
                <a:gd name="connsiteX1833" fmla="*/ 2945 w 10746"/>
                <a:gd name="connsiteY1833" fmla="*/ 4556 h 10000"/>
                <a:gd name="connsiteX1834" fmla="*/ 2935 w 10746"/>
                <a:gd name="connsiteY1834" fmla="*/ 4581 h 10000"/>
                <a:gd name="connsiteX1835" fmla="*/ 2949 w 10746"/>
                <a:gd name="connsiteY1835" fmla="*/ 4624 h 10000"/>
                <a:gd name="connsiteX1836" fmla="*/ 2945 w 10746"/>
                <a:gd name="connsiteY1836" fmla="*/ 4658 h 10000"/>
                <a:gd name="connsiteX1837" fmla="*/ 2922 w 10746"/>
                <a:gd name="connsiteY1837" fmla="*/ 4667 h 10000"/>
                <a:gd name="connsiteX1838" fmla="*/ 2876 w 10746"/>
                <a:gd name="connsiteY1838" fmla="*/ 4632 h 10000"/>
                <a:gd name="connsiteX1839" fmla="*/ 2857 w 10746"/>
                <a:gd name="connsiteY1839" fmla="*/ 4632 h 10000"/>
                <a:gd name="connsiteX1840" fmla="*/ 2820 w 10746"/>
                <a:gd name="connsiteY1840" fmla="*/ 4641 h 10000"/>
                <a:gd name="connsiteX1841" fmla="*/ 2797 w 10746"/>
                <a:gd name="connsiteY1841" fmla="*/ 4632 h 10000"/>
                <a:gd name="connsiteX1842" fmla="*/ 2788 w 10746"/>
                <a:gd name="connsiteY1842" fmla="*/ 4624 h 10000"/>
                <a:gd name="connsiteX1843" fmla="*/ 2788 w 10746"/>
                <a:gd name="connsiteY1843" fmla="*/ 4598 h 10000"/>
                <a:gd name="connsiteX1844" fmla="*/ 2797 w 10746"/>
                <a:gd name="connsiteY1844" fmla="*/ 4581 h 10000"/>
                <a:gd name="connsiteX1845" fmla="*/ 2788 w 10746"/>
                <a:gd name="connsiteY1845" fmla="*/ 4530 h 10000"/>
                <a:gd name="connsiteX1846" fmla="*/ 2774 w 10746"/>
                <a:gd name="connsiteY1846" fmla="*/ 4530 h 10000"/>
                <a:gd name="connsiteX1847" fmla="*/ 2770 w 10746"/>
                <a:gd name="connsiteY1847" fmla="*/ 4513 h 10000"/>
                <a:gd name="connsiteX1848" fmla="*/ 2774 w 10746"/>
                <a:gd name="connsiteY1848" fmla="*/ 4513 h 10000"/>
                <a:gd name="connsiteX1849" fmla="*/ 2788 w 10746"/>
                <a:gd name="connsiteY1849" fmla="*/ 4496 h 10000"/>
                <a:gd name="connsiteX1850" fmla="*/ 2802 w 10746"/>
                <a:gd name="connsiteY1850" fmla="*/ 4513 h 10000"/>
                <a:gd name="connsiteX1851" fmla="*/ 2811 w 10746"/>
                <a:gd name="connsiteY1851" fmla="*/ 4530 h 10000"/>
                <a:gd name="connsiteX1852" fmla="*/ 2820 w 10746"/>
                <a:gd name="connsiteY1852" fmla="*/ 4521 h 10000"/>
                <a:gd name="connsiteX1853" fmla="*/ 2829 w 10746"/>
                <a:gd name="connsiteY1853" fmla="*/ 4513 h 10000"/>
                <a:gd name="connsiteX1854" fmla="*/ 2843 w 10746"/>
                <a:gd name="connsiteY1854" fmla="*/ 4513 h 10000"/>
                <a:gd name="connsiteX1855" fmla="*/ 2848 w 10746"/>
                <a:gd name="connsiteY1855" fmla="*/ 4470 h 10000"/>
                <a:gd name="connsiteX1856" fmla="*/ 2862 w 10746"/>
                <a:gd name="connsiteY1856" fmla="*/ 4487 h 10000"/>
                <a:gd name="connsiteX1857" fmla="*/ 2876 w 10746"/>
                <a:gd name="connsiteY1857" fmla="*/ 4470 h 10000"/>
                <a:gd name="connsiteX1858" fmla="*/ 2880 w 10746"/>
                <a:gd name="connsiteY1858" fmla="*/ 4462 h 10000"/>
                <a:gd name="connsiteX1859" fmla="*/ 2889 w 10746"/>
                <a:gd name="connsiteY1859" fmla="*/ 4444 h 10000"/>
                <a:gd name="connsiteX1860" fmla="*/ 2894 w 10746"/>
                <a:gd name="connsiteY1860" fmla="*/ 4462 h 10000"/>
                <a:gd name="connsiteX1861" fmla="*/ 2917 w 10746"/>
                <a:gd name="connsiteY1861" fmla="*/ 4444 h 10000"/>
                <a:gd name="connsiteX1862" fmla="*/ 2922 w 10746"/>
                <a:gd name="connsiteY1862" fmla="*/ 4436 h 10000"/>
                <a:gd name="connsiteX1863" fmla="*/ 2917 w 10746"/>
                <a:gd name="connsiteY1863" fmla="*/ 4410 h 10000"/>
                <a:gd name="connsiteX1864" fmla="*/ 2894 w 10746"/>
                <a:gd name="connsiteY1864" fmla="*/ 4410 h 10000"/>
                <a:gd name="connsiteX1865" fmla="*/ 2889 w 10746"/>
                <a:gd name="connsiteY1865" fmla="*/ 4419 h 10000"/>
                <a:gd name="connsiteX1866" fmla="*/ 2876 w 10746"/>
                <a:gd name="connsiteY1866" fmla="*/ 4410 h 10000"/>
                <a:gd name="connsiteX1867" fmla="*/ 2880 w 10746"/>
                <a:gd name="connsiteY1867" fmla="*/ 4376 h 10000"/>
                <a:gd name="connsiteX1868" fmla="*/ 2903 w 10746"/>
                <a:gd name="connsiteY1868" fmla="*/ 4393 h 10000"/>
                <a:gd name="connsiteX1869" fmla="*/ 2931 w 10746"/>
                <a:gd name="connsiteY1869" fmla="*/ 4393 h 10000"/>
                <a:gd name="connsiteX1870" fmla="*/ 2931 w 10746"/>
                <a:gd name="connsiteY1870" fmla="*/ 4385 h 10000"/>
                <a:gd name="connsiteX1871" fmla="*/ 2931 w 10746"/>
                <a:gd name="connsiteY1871" fmla="*/ 4350 h 10000"/>
                <a:gd name="connsiteX1872" fmla="*/ 2945 w 10746"/>
                <a:gd name="connsiteY1872" fmla="*/ 4350 h 10000"/>
                <a:gd name="connsiteX1873" fmla="*/ 2949 w 10746"/>
                <a:gd name="connsiteY1873" fmla="*/ 4325 h 10000"/>
                <a:gd name="connsiteX1874" fmla="*/ 2963 w 10746"/>
                <a:gd name="connsiteY1874" fmla="*/ 4256 h 10000"/>
                <a:gd name="connsiteX1875" fmla="*/ 2982 w 10746"/>
                <a:gd name="connsiteY1875" fmla="*/ 4239 h 10000"/>
                <a:gd name="connsiteX1876" fmla="*/ 2991 w 10746"/>
                <a:gd name="connsiteY1876" fmla="*/ 4214 h 10000"/>
                <a:gd name="connsiteX1877" fmla="*/ 2991 w 10746"/>
                <a:gd name="connsiteY1877" fmla="*/ 4197 h 10000"/>
                <a:gd name="connsiteX1878" fmla="*/ 2995 w 10746"/>
                <a:gd name="connsiteY1878" fmla="*/ 4171 h 10000"/>
                <a:gd name="connsiteX1879" fmla="*/ 2991 w 10746"/>
                <a:gd name="connsiteY1879" fmla="*/ 4077 h 10000"/>
                <a:gd name="connsiteX1880" fmla="*/ 2995 w 10746"/>
                <a:gd name="connsiteY1880" fmla="*/ 4034 h 10000"/>
                <a:gd name="connsiteX1881" fmla="*/ 3018 w 10746"/>
                <a:gd name="connsiteY1881" fmla="*/ 3983 h 10000"/>
                <a:gd name="connsiteX1882" fmla="*/ 3018 w 10746"/>
                <a:gd name="connsiteY1882" fmla="*/ 3915 h 10000"/>
                <a:gd name="connsiteX1883" fmla="*/ 2949 w 10746"/>
                <a:gd name="connsiteY1883" fmla="*/ 3778 h 10000"/>
                <a:gd name="connsiteX1884" fmla="*/ 2954 w 10746"/>
                <a:gd name="connsiteY1884" fmla="*/ 3675 h 10000"/>
                <a:gd name="connsiteX1885" fmla="*/ 2954 w 10746"/>
                <a:gd name="connsiteY1885" fmla="*/ 3650 h 10000"/>
                <a:gd name="connsiteX1886" fmla="*/ 2963 w 10746"/>
                <a:gd name="connsiteY1886" fmla="*/ 3624 h 10000"/>
                <a:gd name="connsiteX1887" fmla="*/ 2954 w 10746"/>
                <a:gd name="connsiteY1887" fmla="*/ 3564 h 10000"/>
                <a:gd name="connsiteX1888" fmla="*/ 2963 w 10746"/>
                <a:gd name="connsiteY1888" fmla="*/ 3538 h 10000"/>
                <a:gd name="connsiteX1889" fmla="*/ 2963 w 10746"/>
                <a:gd name="connsiteY1889" fmla="*/ 3487 h 10000"/>
                <a:gd name="connsiteX1890" fmla="*/ 2963 w 10746"/>
                <a:gd name="connsiteY1890" fmla="*/ 3479 h 10000"/>
                <a:gd name="connsiteX1891" fmla="*/ 2963 w 10746"/>
                <a:gd name="connsiteY1891" fmla="*/ 3462 h 10000"/>
                <a:gd name="connsiteX1892" fmla="*/ 2954 w 10746"/>
                <a:gd name="connsiteY1892" fmla="*/ 3453 h 10000"/>
                <a:gd name="connsiteX1893" fmla="*/ 2954 w 10746"/>
                <a:gd name="connsiteY1893" fmla="*/ 3444 h 10000"/>
                <a:gd name="connsiteX1894" fmla="*/ 2954 w 10746"/>
                <a:gd name="connsiteY1894" fmla="*/ 3402 h 10000"/>
                <a:gd name="connsiteX1895" fmla="*/ 2954 w 10746"/>
                <a:gd name="connsiteY1895" fmla="*/ 3393 h 10000"/>
                <a:gd name="connsiteX1896" fmla="*/ 2949 w 10746"/>
                <a:gd name="connsiteY1896" fmla="*/ 3376 h 10000"/>
                <a:gd name="connsiteX1897" fmla="*/ 2949 w 10746"/>
                <a:gd name="connsiteY1897" fmla="*/ 3342 h 10000"/>
                <a:gd name="connsiteX1898" fmla="*/ 2949 w 10746"/>
                <a:gd name="connsiteY1898" fmla="*/ 3316 h 10000"/>
                <a:gd name="connsiteX1899" fmla="*/ 2968 w 10746"/>
                <a:gd name="connsiteY1899" fmla="*/ 3291 h 10000"/>
                <a:gd name="connsiteX1900" fmla="*/ 2963 w 10746"/>
                <a:gd name="connsiteY1900" fmla="*/ 3205 h 10000"/>
                <a:gd name="connsiteX1901" fmla="*/ 2968 w 10746"/>
                <a:gd name="connsiteY1901" fmla="*/ 3171 h 10000"/>
                <a:gd name="connsiteX1902" fmla="*/ 2968 w 10746"/>
                <a:gd name="connsiteY1902" fmla="*/ 3128 h 10000"/>
                <a:gd name="connsiteX1903" fmla="*/ 2954 w 10746"/>
                <a:gd name="connsiteY1903" fmla="*/ 3051 h 10000"/>
                <a:gd name="connsiteX1904" fmla="*/ 2954 w 10746"/>
                <a:gd name="connsiteY1904" fmla="*/ 3009 h 10000"/>
                <a:gd name="connsiteX1905" fmla="*/ 2922 w 10746"/>
                <a:gd name="connsiteY1905" fmla="*/ 2940 h 10000"/>
                <a:gd name="connsiteX1906" fmla="*/ 2903 w 10746"/>
                <a:gd name="connsiteY1906" fmla="*/ 2880 h 10000"/>
                <a:gd name="connsiteX1907" fmla="*/ 2903 w 10746"/>
                <a:gd name="connsiteY1907" fmla="*/ 2855 h 10000"/>
                <a:gd name="connsiteX1908" fmla="*/ 2908 w 10746"/>
                <a:gd name="connsiteY1908" fmla="*/ 2846 h 10000"/>
                <a:gd name="connsiteX1909" fmla="*/ 2931 w 10746"/>
                <a:gd name="connsiteY1909" fmla="*/ 2821 h 10000"/>
                <a:gd name="connsiteX1910" fmla="*/ 2931 w 10746"/>
                <a:gd name="connsiteY1910" fmla="*/ 2803 h 10000"/>
                <a:gd name="connsiteX1911" fmla="*/ 2935 w 10746"/>
                <a:gd name="connsiteY1911" fmla="*/ 2786 h 10000"/>
                <a:gd name="connsiteX1912" fmla="*/ 2935 w 10746"/>
                <a:gd name="connsiteY1912" fmla="*/ 2744 h 10000"/>
                <a:gd name="connsiteX1913" fmla="*/ 2963 w 10746"/>
                <a:gd name="connsiteY1913" fmla="*/ 2607 h 10000"/>
                <a:gd name="connsiteX1914" fmla="*/ 2963 w 10746"/>
                <a:gd name="connsiteY1914" fmla="*/ 2419 h 10000"/>
                <a:gd name="connsiteX1915" fmla="*/ 2954 w 10746"/>
                <a:gd name="connsiteY1915" fmla="*/ 2410 h 10000"/>
                <a:gd name="connsiteX1916" fmla="*/ 2963 w 10746"/>
                <a:gd name="connsiteY1916" fmla="*/ 2393 h 10000"/>
                <a:gd name="connsiteX1917" fmla="*/ 2908 w 10746"/>
                <a:gd name="connsiteY1917" fmla="*/ 2359 h 10000"/>
                <a:gd name="connsiteX1918" fmla="*/ 2889 w 10746"/>
                <a:gd name="connsiteY1918" fmla="*/ 2325 h 10000"/>
                <a:gd name="connsiteX1919" fmla="*/ 2788 w 10746"/>
                <a:gd name="connsiteY1919" fmla="*/ 2333 h 10000"/>
                <a:gd name="connsiteX1920" fmla="*/ 2774 w 10746"/>
                <a:gd name="connsiteY1920" fmla="*/ 2325 h 10000"/>
                <a:gd name="connsiteX1921" fmla="*/ 2783 w 10746"/>
                <a:gd name="connsiteY1921" fmla="*/ 2308 h 10000"/>
                <a:gd name="connsiteX1922" fmla="*/ 2747 w 10746"/>
                <a:gd name="connsiteY1922" fmla="*/ 2308 h 10000"/>
                <a:gd name="connsiteX1923" fmla="*/ 2742 w 10746"/>
                <a:gd name="connsiteY1923" fmla="*/ 2333 h 10000"/>
                <a:gd name="connsiteX1924" fmla="*/ 2682 w 10746"/>
                <a:gd name="connsiteY1924" fmla="*/ 2769 h 10000"/>
                <a:gd name="connsiteX1925" fmla="*/ 2613 w 10746"/>
                <a:gd name="connsiteY1925" fmla="*/ 2940 h 10000"/>
                <a:gd name="connsiteX1926" fmla="*/ 2581 w 10746"/>
                <a:gd name="connsiteY1926" fmla="*/ 2966 h 10000"/>
                <a:gd name="connsiteX1927" fmla="*/ 2576 w 10746"/>
                <a:gd name="connsiteY1927" fmla="*/ 3051 h 10000"/>
                <a:gd name="connsiteX1928" fmla="*/ 2581 w 10746"/>
                <a:gd name="connsiteY1928" fmla="*/ 3051 h 10000"/>
                <a:gd name="connsiteX1929" fmla="*/ 2594 w 10746"/>
                <a:gd name="connsiteY1929" fmla="*/ 3017 h 10000"/>
                <a:gd name="connsiteX1930" fmla="*/ 2594 w 10746"/>
                <a:gd name="connsiteY1930" fmla="*/ 3034 h 10000"/>
                <a:gd name="connsiteX1931" fmla="*/ 2594 w 10746"/>
                <a:gd name="connsiteY1931" fmla="*/ 3051 h 10000"/>
                <a:gd name="connsiteX1932" fmla="*/ 2590 w 10746"/>
                <a:gd name="connsiteY1932" fmla="*/ 3077 h 10000"/>
                <a:gd name="connsiteX1933" fmla="*/ 2567 w 10746"/>
                <a:gd name="connsiteY1933" fmla="*/ 3103 h 10000"/>
                <a:gd name="connsiteX1934" fmla="*/ 2562 w 10746"/>
                <a:gd name="connsiteY1934" fmla="*/ 3145 h 10000"/>
                <a:gd name="connsiteX1935" fmla="*/ 2567 w 10746"/>
                <a:gd name="connsiteY1935" fmla="*/ 3179 h 10000"/>
                <a:gd name="connsiteX1936" fmla="*/ 2590 w 10746"/>
                <a:gd name="connsiteY1936" fmla="*/ 3171 h 10000"/>
                <a:gd name="connsiteX1937" fmla="*/ 2594 w 10746"/>
                <a:gd name="connsiteY1937" fmla="*/ 3145 h 10000"/>
                <a:gd name="connsiteX1938" fmla="*/ 2613 w 10746"/>
                <a:gd name="connsiteY1938" fmla="*/ 3154 h 10000"/>
                <a:gd name="connsiteX1939" fmla="*/ 2622 w 10746"/>
                <a:gd name="connsiteY1939" fmla="*/ 3179 h 10000"/>
                <a:gd name="connsiteX1940" fmla="*/ 2613 w 10746"/>
                <a:gd name="connsiteY1940" fmla="*/ 3214 h 10000"/>
                <a:gd name="connsiteX1941" fmla="*/ 2613 w 10746"/>
                <a:gd name="connsiteY1941" fmla="*/ 3308 h 10000"/>
                <a:gd name="connsiteX1942" fmla="*/ 2608 w 10746"/>
                <a:gd name="connsiteY1942" fmla="*/ 3325 h 10000"/>
                <a:gd name="connsiteX1943" fmla="*/ 2608 w 10746"/>
                <a:gd name="connsiteY1943" fmla="*/ 3376 h 10000"/>
                <a:gd name="connsiteX1944" fmla="*/ 2613 w 10746"/>
                <a:gd name="connsiteY1944" fmla="*/ 3419 h 10000"/>
                <a:gd name="connsiteX1945" fmla="*/ 2608 w 10746"/>
                <a:gd name="connsiteY1945" fmla="*/ 3444 h 10000"/>
                <a:gd name="connsiteX1946" fmla="*/ 2594 w 10746"/>
                <a:gd name="connsiteY1946" fmla="*/ 3444 h 10000"/>
                <a:gd name="connsiteX1947" fmla="*/ 2590 w 10746"/>
                <a:gd name="connsiteY1947" fmla="*/ 3427 h 10000"/>
                <a:gd name="connsiteX1948" fmla="*/ 2581 w 10746"/>
                <a:gd name="connsiteY1948" fmla="*/ 3564 h 10000"/>
                <a:gd name="connsiteX1949" fmla="*/ 2594 w 10746"/>
                <a:gd name="connsiteY1949" fmla="*/ 3598 h 10000"/>
                <a:gd name="connsiteX1950" fmla="*/ 2594 w 10746"/>
                <a:gd name="connsiteY1950" fmla="*/ 3581 h 10000"/>
                <a:gd name="connsiteX1951" fmla="*/ 2608 w 10746"/>
                <a:gd name="connsiteY1951" fmla="*/ 3556 h 10000"/>
                <a:gd name="connsiteX1952" fmla="*/ 2650 w 10746"/>
                <a:gd name="connsiteY1952" fmla="*/ 3615 h 10000"/>
                <a:gd name="connsiteX1953" fmla="*/ 2664 w 10746"/>
                <a:gd name="connsiteY1953" fmla="*/ 3615 h 10000"/>
                <a:gd name="connsiteX1954" fmla="*/ 2668 w 10746"/>
                <a:gd name="connsiteY1954" fmla="*/ 3615 h 10000"/>
                <a:gd name="connsiteX1955" fmla="*/ 2664 w 10746"/>
                <a:gd name="connsiteY1955" fmla="*/ 3667 h 10000"/>
                <a:gd name="connsiteX1956" fmla="*/ 2687 w 10746"/>
                <a:gd name="connsiteY1956" fmla="*/ 3786 h 10000"/>
                <a:gd name="connsiteX1957" fmla="*/ 2710 w 10746"/>
                <a:gd name="connsiteY1957" fmla="*/ 3812 h 10000"/>
                <a:gd name="connsiteX1958" fmla="*/ 2724 w 10746"/>
                <a:gd name="connsiteY1958" fmla="*/ 3812 h 10000"/>
                <a:gd name="connsiteX1959" fmla="*/ 2724 w 10746"/>
                <a:gd name="connsiteY1959" fmla="*/ 3829 h 10000"/>
                <a:gd name="connsiteX1960" fmla="*/ 2737 w 10746"/>
                <a:gd name="connsiteY1960" fmla="*/ 3838 h 10000"/>
                <a:gd name="connsiteX1961" fmla="*/ 2714 w 10746"/>
                <a:gd name="connsiteY1961" fmla="*/ 3872 h 10000"/>
                <a:gd name="connsiteX1962" fmla="*/ 2696 w 10746"/>
                <a:gd name="connsiteY1962" fmla="*/ 4026 h 10000"/>
                <a:gd name="connsiteX1963" fmla="*/ 2673 w 10746"/>
                <a:gd name="connsiteY1963" fmla="*/ 4051 h 10000"/>
                <a:gd name="connsiteX1964" fmla="*/ 2668 w 10746"/>
                <a:gd name="connsiteY1964" fmla="*/ 4034 h 10000"/>
                <a:gd name="connsiteX1965" fmla="*/ 2673 w 10746"/>
                <a:gd name="connsiteY1965" fmla="*/ 4000 h 10000"/>
                <a:gd name="connsiteX1966" fmla="*/ 2664 w 10746"/>
                <a:gd name="connsiteY1966" fmla="*/ 3974 h 10000"/>
                <a:gd name="connsiteX1967" fmla="*/ 2636 w 10746"/>
                <a:gd name="connsiteY1967" fmla="*/ 3949 h 10000"/>
                <a:gd name="connsiteX1968" fmla="*/ 2581 w 10746"/>
                <a:gd name="connsiteY1968" fmla="*/ 3838 h 10000"/>
                <a:gd name="connsiteX1969" fmla="*/ 2562 w 10746"/>
                <a:gd name="connsiteY1969" fmla="*/ 3829 h 10000"/>
                <a:gd name="connsiteX1970" fmla="*/ 2535 w 10746"/>
                <a:gd name="connsiteY1970" fmla="*/ 3778 h 10000"/>
                <a:gd name="connsiteX1971" fmla="*/ 2502 w 10746"/>
                <a:gd name="connsiteY1971" fmla="*/ 3761 h 10000"/>
                <a:gd name="connsiteX1972" fmla="*/ 2502 w 10746"/>
                <a:gd name="connsiteY1972" fmla="*/ 3735 h 10000"/>
                <a:gd name="connsiteX1973" fmla="*/ 2516 w 10746"/>
                <a:gd name="connsiteY1973" fmla="*/ 3735 h 10000"/>
                <a:gd name="connsiteX1974" fmla="*/ 2507 w 10746"/>
                <a:gd name="connsiteY1974" fmla="*/ 3726 h 10000"/>
                <a:gd name="connsiteX1975" fmla="*/ 2488 w 10746"/>
                <a:gd name="connsiteY1975" fmla="*/ 3726 h 10000"/>
                <a:gd name="connsiteX1976" fmla="*/ 2461 w 10746"/>
                <a:gd name="connsiteY1976" fmla="*/ 3692 h 10000"/>
                <a:gd name="connsiteX1977" fmla="*/ 2442 w 10746"/>
                <a:gd name="connsiteY1977" fmla="*/ 3675 h 10000"/>
                <a:gd name="connsiteX1978" fmla="*/ 2406 w 10746"/>
                <a:gd name="connsiteY1978" fmla="*/ 3598 h 10000"/>
                <a:gd name="connsiteX1979" fmla="*/ 2346 w 10746"/>
                <a:gd name="connsiteY1979" fmla="*/ 3564 h 10000"/>
                <a:gd name="connsiteX1980" fmla="*/ 2341 w 10746"/>
                <a:gd name="connsiteY1980" fmla="*/ 3564 h 10000"/>
                <a:gd name="connsiteX1981" fmla="*/ 2313 w 10746"/>
                <a:gd name="connsiteY1981" fmla="*/ 3530 h 10000"/>
                <a:gd name="connsiteX1982" fmla="*/ 2235 w 10746"/>
                <a:gd name="connsiteY1982" fmla="*/ 3530 h 10000"/>
                <a:gd name="connsiteX1983" fmla="*/ 2226 w 10746"/>
                <a:gd name="connsiteY1983" fmla="*/ 3513 h 10000"/>
                <a:gd name="connsiteX1984" fmla="*/ 2207 w 10746"/>
                <a:gd name="connsiteY1984" fmla="*/ 3504 h 10000"/>
                <a:gd name="connsiteX1985" fmla="*/ 2194 w 10746"/>
                <a:gd name="connsiteY1985" fmla="*/ 3504 h 10000"/>
                <a:gd name="connsiteX1986" fmla="*/ 2189 w 10746"/>
                <a:gd name="connsiteY1986" fmla="*/ 3504 h 10000"/>
                <a:gd name="connsiteX1987" fmla="*/ 2189 w 10746"/>
                <a:gd name="connsiteY1987" fmla="*/ 3530 h 10000"/>
                <a:gd name="connsiteX1988" fmla="*/ 2180 w 10746"/>
                <a:gd name="connsiteY1988" fmla="*/ 3538 h 10000"/>
                <a:gd name="connsiteX1989" fmla="*/ 2152 w 10746"/>
                <a:gd name="connsiteY1989" fmla="*/ 3581 h 10000"/>
                <a:gd name="connsiteX1990" fmla="*/ 2161 w 10746"/>
                <a:gd name="connsiteY1990" fmla="*/ 3598 h 10000"/>
                <a:gd name="connsiteX1991" fmla="*/ 2194 w 10746"/>
                <a:gd name="connsiteY1991" fmla="*/ 3752 h 10000"/>
                <a:gd name="connsiteX1992" fmla="*/ 2194 w 10746"/>
                <a:gd name="connsiteY1992" fmla="*/ 3735 h 10000"/>
                <a:gd name="connsiteX1993" fmla="*/ 2198 w 10746"/>
                <a:gd name="connsiteY1993" fmla="*/ 3735 h 10000"/>
                <a:gd name="connsiteX1994" fmla="*/ 2189 w 10746"/>
                <a:gd name="connsiteY1994" fmla="*/ 3838 h 10000"/>
                <a:gd name="connsiteX1995" fmla="*/ 2166 w 10746"/>
                <a:gd name="connsiteY1995" fmla="*/ 3889 h 10000"/>
                <a:gd name="connsiteX1996" fmla="*/ 2124 w 10746"/>
                <a:gd name="connsiteY1996" fmla="*/ 3889 h 10000"/>
                <a:gd name="connsiteX1997" fmla="*/ 2124 w 10746"/>
                <a:gd name="connsiteY1997" fmla="*/ 3923 h 10000"/>
                <a:gd name="connsiteX1998" fmla="*/ 2134 w 10746"/>
                <a:gd name="connsiteY1998" fmla="*/ 3940 h 10000"/>
                <a:gd name="connsiteX1999" fmla="*/ 2134 w 10746"/>
                <a:gd name="connsiteY1999" fmla="*/ 3966 h 10000"/>
                <a:gd name="connsiteX2000" fmla="*/ 2120 w 10746"/>
                <a:gd name="connsiteY2000" fmla="*/ 4000 h 10000"/>
                <a:gd name="connsiteX2001" fmla="*/ 2106 w 10746"/>
                <a:gd name="connsiteY2001" fmla="*/ 4009 h 10000"/>
                <a:gd name="connsiteX2002" fmla="*/ 2088 w 10746"/>
                <a:gd name="connsiteY2002" fmla="*/ 4000 h 10000"/>
                <a:gd name="connsiteX2003" fmla="*/ 2074 w 10746"/>
                <a:gd name="connsiteY2003" fmla="*/ 3974 h 10000"/>
                <a:gd name="connsiteX2004" fmla="*/ 2074 w 10746"/>
                <a:gd name="connsiteY2004" fmla="*/ 3940 h 10000"/>
                <a:gd name="connsiteX2005" fmla="*/ 2078 w 10746"/>
                <a:gd name="connsiteY2005" fmla="*/ 3915 h 10000"/>
                <a:gd name="connsiteX2006" fmla="*/ 2088 w 10746"/>
                <a:gd name="connsiteY2006" fmla="*/ 3889 h 10000"/>
                <a:gd name="connsiteX2007" fmla="*/ 2101 w 10746"/>
                <a:gd name="connsiteY2007" fmla="*/ 3872 h 10000"/>
                <a:gd name="connsiteX2008" fmla="*/ 2074 w 10746"/>
                <a:gd name="connsiteY2008" fmla="*/ 3812 h 10000"/>
                <a:gd name="connsiteX2009" fmla="*/ 2074 w 10746"/>
                <a:gd name="connsiteY2009" fmla="*/ 3786 h 10000"/>
                <a:gd name="connsiteX2010" fmla="*/ 2060 w 10746"/>
                <a:gd name="connsiteY2010" fmla="*/ 3786 h 10000"/>
                <a:gd name="connsiteX2011" fmla="*/ 2014 w 10746"/>
                <a:gd name="connsiteY2011" fmla="*/ 3829 h 10000"/>
                <a:gd name="connsiteX2012" fmla="*/ 2000 w 10746"/>
                <a:gd name="connsiteY2012" fmla="*/ 3863 h 10000"/>
                <a:gd name="connsiteX2013" fmla="*/ 1986 w 10746"/>
                <a:gd name="connsiteY2013" fmla="*/ 3872 h 10000"/>
                <a:gd name="connsiteX2014" fmla="*/ 1959 w 10746"/>
                <a:gd name="connsiteY2014" fmla="*/ 3940 h 10000"/>
                <a:gd name="connsiteX2015" fmla="*/ 1945 w 10746"/>
                <a:gd name="connsiteY2015" fmla="*/ 3949 h 10000"/>
                <a:gd name="connsiteX2016" fmla="*/ 1940 w 10746"/>
                <a:gd name="connsiteY2016" fmla="*/ 3923 h 10000"/>
                <a:gd name="connsiteX2017" fmla="*/ 1917 w 10746"/>
                <a:gd name="connsiteY2017" fmla="*/ 3915 h 10000"/>
                <a:gd name="connsiteX2018" fmla="*/ 1899 w 10746"/>
                <a:gd name="connsiteY2018" fmla="*/ 3923 h 10000"/>
                <a:gd name="connsiteX2019" fmla="*/ 1880 w 10746"/>
                <a:gd name="connsiteY2019" fmla="*/ 3915 h 10000"/>
                <a:gd name="connsiteX2020" fmla="*/ 1853 w 10746"/>
                <a:gd name="connsiteY2020" fmla="*/ 3940 h 10000"/>
                <a:gd name="connsiteX2021" fmla="*/ 1839 w 10746"/>
                <a:gd name="connsiteY2021" fmla="*/ 3940 h 10000"/>
                <a:gd name="connsiteX2022" fmla="*/ 1806 w 10746"/>
                <a:gd name="connsiteY2022" fmla="*/ 3983 h 10000"/>
                <a:gd name="connsiteX2023" fmla="*/ 1806 w 10746"/>
                <a:gd name="connsiteY2023" fmla="*/ 4000 h 10000"/>
                <a:gd name="connsiteX2024" fmla="*/ 1797 w 10746"/>
                <a:gd name="connsiteY2024" fmla="*/ 4077 h 10000"/>
                <a:gd name="connsiteX2025" fmla="*/ 1783 w 10746"/>
                <a:gd name="connsiteY2025" fmla="*/ 4077 h 10000"/>
                <a:gd name="connsiteX2026" fmla="*/ 1779 w 10746"/>
                <a:gd name="connsiteY2026" fmla="*/ 4051 h 10000"/>
                <a:gd name="connsiteX2027" fmla="*/ 1765 w 10746"/>
                <a:gd name="connsiteY2027" fmla="*/ 4026 h 10000"/>
                <a:gd name="connsiteX2028" fmla="*/ 1751 w 10746"/>
                <a:gd name="connsiteY2028" fmla="*/ 4051 h 10000"/>
                <a:gd name="connsiteX2029" fmla="*/ 1737 w 10746"/>
                <a:gd name="connsiteY2029" fmla="*/ 4009 h 10000"/>
                <a:gd name="connsiteX2030" fmla="*/ 1737 w 10746"/>
                <a:gd name="connsiteY2030" fmla="*/ 3966 h 10000"/>
                <a:gd name="connsiteX2031" fmla="*/ 1733 w 10746"/>
                <a:gd name="connsiteY2031" fmla="*/ 3940 h 10000"/>
                <a:gd name="connsiteX2032" fmla="*/ 1733 w 10746"/>
                <a:gd name="connsiteY2032" fmla="*/ 3923 h 10000"/>
                <a:gd name="connsiteX2033" fmla="*/ 1747 w 10746"/>
                <a:gd name="connsiteY2033" fmla="*/ 3889 h 10000"/>
                <a:gd name="connsiteX2034" fmla="*/ 1747 w 10746"/>
                <a:gd name="connsiteY2034" fmla="*/ 3863 h 10000"/>
                <a:gd name="connsiteX2035" fmla="*/ 1737 w 10746"/>
                <a:gd name="connsiteY2035" fmla="*/ 3838 h 10000"/>
                <a:gd name="connsiteX2036" fmla="*/ 1733 w 10746"/>
                <a:gd name="connsiteY2036" fmla="*/ 3829 h 10000"/>
                <a:gd name="connsiteX2037" fmla="*/ 1733 w 10746"/>
                <a:gd name="connsiteY2037" fmla="*/ 3846 h 10000"/>
                <a:gd name="connsiteX2038" fmla="*/ 1724 w 10746"/>
                <a:gd name="connsiteY2038" fmla="*/ 3846 h 10000"/>
                <a:gd name="connsiteX2039" fmla="*/ 1724 w 10746"/>
                <a:gd name="connsiteY2039" fmla="*/ 3829 h 10000"/>
                <a:gd name="connsiteX2040" fmla="*/ 1737 w 10746"/>
                <a:gd name="connsiteY2040" fmla="*/ 3812 h 10000"/>
                <a:gd name="connsiteX2041" fmla="*/ 1765 w 10746"/>
                <a:gd name="connsiteY2041" fmla="*/ 3812 h 10000"/>
                <a:gd name="connsiteX2042" fmla="*/ 1779 w 10746"/>
                <a:gd name="connsiteY2042" fmla="*/ 3786 h 10000"/>
                <a:gd name="connsiteX2043" fmla="*/ 1779 w 10746"/>
                <a:gd name="connsiteY2043" fmla="*/ 3786 h 10000"/>
                <a:gd name="connsiteX2044" fmla="*/ 1751 w 10746"/>
                <a:gd name="connsiteY2044" fmla="*/ 3803 h 10000"/>
                <a:gd name="connsiteX2045" fmla="*/ 1747 w 10746"/>
                <a:gd name="connsiteY2045" fmla="*/ 3803 h 10000"/>
                <a:gd name="connsiteX2046" fmla="*/ 1724 w 10746"/>
                <a:gd name="connsiteY2046" fmla="*/ 3803 h 10000"/>
                <a:gd name="connsiteX2047" fmla="*/ 1700 w 10746"/>
                <a:gd name="connsiteY2047" fmla="*/ 3829 h 10000"/>
                <a:gd name="connsiteX2048" fmla="*/ 1705 w 10746"/>
                <a:gd name="connsiteY2048" fmla="*/ 3846 h 10000"/>
                <a:gd name="connsiteX2049" fmla="*/ 1691 w 10746"/>
                <a:gd name="connsiteY2049" fmla="*/ 3846 h 10000"/>
                <a:gd name="connsiteX2050" fmla="*/ 1691 w 10746"/>
                <a:gd name="connsiteY2050" fmla="*/ 3863 h 10000"/>
                <a:gd name="connsiteX2051" fmla="*/ 1691 w 10746"/>
                <a:gd name="connsiteY2051" fmla="*/ 3915 h 10000"/>
                <a:gd name="connsiteX2052" fmla="*/ 1677 w 10746"/>
                <a:gd name="connsiteY2052" fmla="*/ 3923 h 10000"/>
                <a:gd name="connsiteX2053" fmla="*/ 1673 w 10746"/>
                <a:gd name="connsiteY2053" fmla="*/ 3915 h 10000"/>
                <a:gd name="connsiteX2054" fmla="*/ 1664 w 10746"/>
                <a:gd name="connsiteY2054" fmla="*/ 3889 h 10000"/>
                <a:gd name="connsiteX2055" fmla="*/ 1673 w 10746"/>
                <a:gd name="connsiteY2055" fmla="*/ 3872 h 10000"/>
                <a:gd name="connsiteX2056" fmla="*/ 1664 w 10746"/>
                <a:gd name="connsiteY2056" fmla="*/ 3872 h 10000"/>
                <a:gd name="connsiteX2057" fmla="*/ 1636 w 10746"/>
                <a:gd name="connsiteY2057" fmla="*/ 3923 h 10000"/>
                <a:gd name="connsiteX2058" fmla="*/ 1645 w 10746"/>
                <a:gd name="connsiteY2058" fmla="*/ 3923 h 10000"/>
                <a:gd name="connsiteX2059" fmla="*/ 1650 w 10746"/>
                <a:gd name="connsiteY2059" fmla="*/ 3949 h 10000"/>
                <a:gd name="connsiteX2060" fmla="*/ 1650 w 10746"/>
                <a:gd name="connsiteY2060" fmla="*/ 3983 h 10000"/>
                <a:gd name="connsiteX2061" fmla="*/ 1636 w 10746"/>
                <a:gd name="connsiteY2061" fmla="*/ 4000 h 10000"/>
                <a:gd name="connsiteX2062" fmla="*/ 1631 w 10746"/>
                <a:gd name="connsiteY2062" fmla="*/ 4009 h 10000"/>
                <a:gd name="connsiteX2063" fmla="*/ 1618 w 10746"/>
                <a:gd name="connsiteY2063" fmla="*/ 3949 h 10000"/>
                <a:gd name="connsiteX2064" fmla="*/ 1585 w 10746"/>
                <a:gd name="connsiteY2064" fmla="*/ 3966 h 10000"/>
                <a:gd name="connsiteX2065" fmla="*/ 1590 w 10746"/>
                <a:gd name="connsiteY2065" fmla="*/ 3974 h 10000"/>
                <a:gd name="connsiteX2066" fmla="*/ 1544 w 10746"/>
                <a:gd name="connsiteY2066" fmla="*/ 4009 h 10000"/>
                <a:gd name="connsiteX2067" fmla="*/ 1539 w 10746"/>
                <a:gd name="connsiteY2067" fmla="*/ 4009 h 10000"/>
                <a:gd name="connsiteX2068" fmla="*/ 1410 w 10746"/>
                <a:gd name="connsiteY2068" fmla="*/ 4188 h 10000"/>
                <a:gd name="connsiteX2069" fmla="*/ 1406 w 10746"/>
                <a:gd name="connsiteY2069" fmla="*/ 4171 h 10000"/>
                <a:gd name="connsiteX2070" fmla="*/ 1396 w 10746"/>
                <a:gd name="connsiteY2070" fmla="*/ 4214 h 10000"/>
                <a:gd name="connsiteX2071" fmla="*/ 1406 w 10746"/>
                <a:gd name="connsiteY2071" fmla="*/ 4222 h 10000"/>
                <a:gd name="connsiteX2072" fmla="*/ 1392 w 10746"/>
                <a:gd name="connsiteY2072" fmla="*/ 4239 h 10000"/>
                <a:gd name="connsiteX2073" fmla="*/ 1369 w 10746"/>
                <a:gd name="connsiteY2073" fmla="*/ 4248 h 10000"/>
                <a:gd name="connsiteX2074" fmla="*/ 1355 w 10746"/>
                <a:gd name="connsiteY2074" fmla="*/ 4256 h 10000"/>
                <a:gd name="connsiteX2075" fmla="*/ 1350 w 10746"/>
                <a:gd name="connsiteY2075" fmla="*/ 4248 h 10000"/>
                <a:gd name="connsiteX2076" fmla="*/ 1332 w 10746"/>
                <a:gd name="connsiteY2076" fmla="*/ 4376 h 10000"/>
                <a:gd name="connsiteX2077" fmla="*/ 1332 w 10746"/>
                <a:gd name="connsiteY2077" fmla="*/ 4436 h 10000"/>
                <a:gd name="connsiteX2078" fmla="*/ 1323 w 10746"/>
                <a:gd name="connsiteY2078" fmla="*/ 4462 h 10000"/>
                <a:gd name="connsiteX2079" fmla="*/ 1304 w 10746"/>
                <a:gd name="connsiteY2079" fmla="*/ 4487 h 10000"/>
                <a:gd name="connsiteX2080" fmla="*/ 1290 w 10746"/>
                <a:gd name="connsiteY2080" fmla="*/ 4470 h 10000"/>
                <a:gd name="connsiteX2081" fmla="*/ 1263 w 10746"/>
                <a:gd name="connsiteY2081" fmla="*/ 4496 h 10000"/>
                <a:gd name="connsiteX2082" fmla="*/ 1258 w 10746"/>
                <a:gd name="connsiteY2082" fmla="*/ 4547 h 10000"/>
                <a:gd name="connsiteX2083" fmla="*/ 1249 w 10746"/>
                <a:gd name="connsiteY2083" fmla="*/ 4487 h 10000"/>
                <a:gd name="connsiteX2084" fmla="*/ 1235 w 10746"/>
                <a:gd name="connsiteY2084" fmla="*/ 4496 h 10000"/>
                <a:gd name="connsiteX2085" fmla="*/ 1221 w 10746"/>
                <a:gd name="connsiteY2085" fmla="*/ 4496 h 10000"/>
                <a:gd name="connsiteX2086" fmla="*/ 1217 w 10746"/>
                <a:gd name="connsiteY2086" fmla="*/ 4487 h 10000"/>
                <a:gd name="connsiteX2087" fmla="*/ 1198 w 10746"/>
                <a:gd name="connsiteY2087" fmla="*/ 4410 h 10000"/>
                <a:gd name="connsiteX2088" fmla="*/ 1157 w 10746"/>
                <a:gd name="connsiteY2088" fmla="*/ 4333 h 10000"/>
                <a:gd name="connsiteX2089" fmla="*/ 1147 w 10746"/>
                <a:gd name="connsiteY2089" fmla="*/ 4299 h 10000"/>
                <a:gd name="connsiteX2090" fmla="*/ 1147 w 10746"/>
                <a:gd name="connsiteY2090" fmla="*/ 4274 h 10000"/>
                <a:gd name="connsiteX2091" fmla="*/ 1161 w 10746"/>
                <a:gd name="connsiteY2091" fmla="*/ 4256 h 10000"/>
                <a:gd name="connsiteX2092" fmla="*/ 1171 w 10746"/>
                <a:gd name="connsiteY2092" fmla="*/ 4248 h 10000"/>
                <a:gd name="connsiteX2093" fmla="*/ 1175 w 10746"/>
                <a:gd name="connsiteY2093" fmla="*/ 4214 h 10000"/>
                <a:gd name="connsiteX2094" fmla="*/ 1263 w 10746"/>
                <a:gd name="connsiteY2094" fmla="*/ 4171 h 10000"/>
                <a:gd name="connsiteX2095" fmla="*/ 1249 w 10746"/>
                <a:gd name="connsiteY2095" fmla="*/ 4137 h 10000"/>
                <a:gd name="connsiteX2096" fmla="*/ 1244 w 10746"/>
                <a:gd name="connsiteY2096" fmla="*/ 4060 h 10000"/>
                <a:gd name="connsiteX2097" fmla="*/ 1230 w 10746"/>
                <a:gd name="connsiteY2097" fmla="*/ 4077 h 10000"/>
                <a:gd name="connsiteX2098" fmla="*/ 1221 w 10746"/>
                <a:gd name="connsiteY2098" fmla="*/ 4026 h 10000"/>
                <a:gd name="connsiteX2099" fmla="*/ 1217 w 10746"/>
                <a:gd name="connsiteY2099" fmla="*/ 4026 h 10000"/>
                <a:gd name="connsiteX2100" fmla="*/ 1212 w 10746"/>
                <a:gd name="connsiteY2100" fmla="*/ 3983 h 10000"/>
                <a:gd name="connsiteX2101" fmla="*/ 1203 w 10746"/>
                <a:gd name="connsiteY2101" fmla="*/ 3966 h 10000"/>
                <a:gd name="connsiteX2102" fmla="*/ 1171 w 10746"/>
                <a:gd name="connsiteY2102" fmla="*/ 3949 h 10000"/>
                <a:gd name="connsiteX2103" fmla="*/ 1111 w 10746"/>
                <a:gd name="connsiteY2103" fmla="*/ 3940 h 10000"/>
                <a:gd name="connsiteX2104" fmla="*/ 1097 w 10746"/>
                <a:gd name="connsiteY2104" fmla="*/ 3949 h 10000"/>
                <a:gd name="connsiteX2105" fmla="*/ 1037 w 10746"/>
                <a:gd name="connsiteY2105" fmla="*/ 3897 h 10000"/>
                <a:gd name="connsiteX2106" fmla="*/ 1041 w 10746"/>
                <a:gd name="connsiteY2106" fmla="*/ 3923 h 10000"/>
                <a:gd name="connsiteX2107" fmla="*/ 1097 w 10746"/>
                <a:gd name="connsiteY2107" fmla="*/ 4009 h 10000"/>
                <a:gd name="connsiteX2108" fmla="*/ 1097 w 10746"/>
                <a:gd name="connsiteY2108" fmla="*/ 4120 h 10000"/>
                <a:gd name="connsiteX2109" fmla="*/ 1097 w 10746"/>
                <a:gd name="connsiteY2109" fmla="*/ 4162 h 10000"/>
                <a:gd name="connsiteX2110" fmla="*/ 1097 w 10746"/>
                <a:gd name="connsiteY2110" fmla="*/ 4197 h 10000"/>
                <a:gd name="connsiteX2111" fmla="*/ 1074 w 10746"/>
                <a:gd name="connsiteY2111" fmla="*/ 4333 h 10000"/>
                <a:gd name="connsiteX2112" fmla="*/ 1074 w 10746"/>
                <a:gd name="connsiteY2112" fmla="*/ 4376 h 10000"/>
                <a:gd name="connsiteX2113" fmla="*/ 1083 w 10746"/>
                <a:gd name="connsiteY2113" fmla="*/ 4385 h 10000"/>
                <a:gd name="connsiteX2114" fmla="*/ 1097 w 10746"/>
                <a:gd name="connsiteY2114" fmla="*/ 4385 h 10000"/>
                <a:gd name="connsiteX2115" fmla="*/ 1111 w 10746"/>
                <a:gd name="connsiteY2115" fmla="*/ 4410 h 10000"/>
                <a:gd name="connsiteX2116" fmla="*/ 1124 w 10746"/>
                <a:gd name="connsiteY2116" fmla="*/ 4444 h 10000"/>
                <a:gd name="connsiteX2117" fmla="*/ 1124 w 10746"/>
                <a:gd name="connsiteY2117" fmla="*/ 4470 h 10000"/>
                <a:gd name="connsiteX2118" fmla="*/ 1115 w 10746"/>
                <a:gd name="connsiteY2118" fmla="*/ 4513 h 10000"/>
                <a:gd name="connsiteX2119" fmla="*/ 1115 w 10746"/>
                <a:gd name="connsiteY2119" fmla="*/ 4530 h 10000"/>
                <a:gd name="connsiteX2120" fmla="*/ 1115 w 10746"/>
                <a:gd name="connsiteY2120" fmla="*/ 4573 h 10000"/>
                <a:gd name="connsiteX2121" fmla="*/ 1101 w 10746"/>
                <a:gd name="connsiteY2121" fmla="*/ 4607 h 10000"/>
                <a:gd name="connsiteX2122" fmla="*/ 1097 w 10746"/>
                <a:gd name="connsiteY2122" fmla="*/ 4658 h 10000"/>
                <a:gd name="connsiteX2123" fmla="*/ 1101 w 10746"/>
                <a:gd name="connsiteY2123" fmla="*/ 4692 h 10000"/>
                <a:gd name="connsiteX2124" fmla="*/ 1097 w 10746"/>
                <a:gd name="connsiteY2124" fmla="*/ 4778 h 10000"/>
                <a:gd name="connsiteX2125" fmla="*/ 1083 w 10746"/>
                <a:gd name="connsiteY2125" fmla="*/ 4744 h 10000"/>
                <a:gd name="connsiteX2126" fmla="*/ 1083 w 10746"/>
                <a:gd name="connsiteY2126" fmla="*/ 4718 h 10000"/>
                <a:gd name="connsiteX2127" fmla="*/ 1074 w 10746"/>
                <a:gd name="connsiteY2127" fmla="*/ 4692 h 10000"/>
                <a:gd name="connsiteX2128" fmla="*/ 1065 w 10746"/>
                <a:gd name="connsiteY2128" fmla="*/ 4692 h 10000"/>
                <a:gd name="connsiteX2129" fmla="*/ 1051 w 10746"/>
                <a:gd name="connsiteY2129" fmla="*/ 4718 h 10000"/>
                <a:gd name="connsiteX2130" fmla="*/ 1055 w 10746"/>
                <a:gd name="connsiteY2130" fmla="*/ 4692 h 10000"/>
                <a:gd name="connsiteX2131" fmla="*/ 1055 w 10746"/>
                <a:gd name="connsiteY2131" fmla="*/ 4667 h 10000"/>
                <a:gd name="connsiteX2132" fmla="*/ 1028 w 10746"/>
                <a:gd name="connsiteY2132" fmla="*/ 4624 h 10000"/>
                <a:gd name="connsiteX2133" fmla="*/ 1005 w 10746"/>
                <a:gd name="connsiteY2133" fmla="*/ 4624 h 10000"/>
                <a:gd name="connsiteX2134" fmla="*/ 977 w 10746"/>
                <a:gd name="connsiteY2134" fmla="*/ 4581 h 10000"/>
                <a:gd name="connsiteX2135" fmla="*/ 963 w 10746"/>
                <a:gd name="connsiteY2135" fmla="*/ 4607 h 10000"/>
                <a:gd name="connsiteX2136" fmla="*/ 963 w 10746"/>
                <a:gd name="connsiteY2136" fmla="*/ 4632 h 10000"/>
                <a:gd name="connsiteX2137" fmla="*/ 917 w 10746"/>
                <a:gd name="connsiteY2137" fmla="*/ 4718 h 10000"/>
                <a:gd name="connsiteX2138" fmla="*/ 889 w 10746"/>
                <a:gd name="connsiteY2138" fmla="*/ 4744 h 10000"/>
                <a:gd name="connsiteX2139" fmla="*/ 880 w 10746"/>
                <a:gd name="connsiteY2139" fmla="*/ 4744 h 10000"/>
                <a:gd name="connsiteX2140" fmla="*/ 862 w 10746"/>
                <a:gd name="connsiteY2140" fmla="*/ 4769 h 10000"/>
                <a:gd name="connsiteX2141" fmla="*/ 857 w 10746"/>
                <a:gd name="connsiteY2141" fmla="*/ 4795 h 10000"/>
                <a:gd name="connsiteX2142" fmla="*/ 829 w 10746"/>
                <a:gd name="connsiteY2142" fmla="*/ 4846 h 10000"/>
                <a:gd name="connsiteX2143" fmla="*/ 816 w 10746"/>
                <a:gd name="connsiteY2143" fmla="*/ 4855 h 10000"/>
                <a:gd name="connsiteX2144" fmla="*/ 816 w 10746"/>
                <a:gd name="connsiteY2144" fmla="*/ 4940 h 10000"/>
                <a:gd name="connsiteX2145" fmla="*/ 880 w 10746"/>
                <a:gd name="connsiteY2145" fmla="*/ 5179 h 10000"/>
                <a:gd name="connsiteX2146" fmla="*/ 880 w 10746"/>
                <a:gd name="connsiteY2146" fmla="*/ 5188 h 10000"/>
                <a:gd name="connsiteX2147" fmla="*/ 862 w 10746"/>
                <a:gd name="connsiteY2147" fmla="*/ 5171 h 10000"/>
                <a:gd name="connsiteX2148" fmla="*/ 857 w 10746"/>
                <a:gd name="connsiteY2148" fmla="*/ 5171 h 10000"/>
                <a:gd name="connsiteX2149" fmla="*/ 820 w 10746"/>
                <a:gd name="connsiteY2149" fmla="*/ 5145 h 10000"/>
                <a:gd name="connsiteX2150" fmla="*/ 820 w 10746"/>
                <a:gd name="connsiteY2150" fmla="*/ 5154 h 10000"/>
                <a:gd name="connsiteX2151" fmla="*/ 816 w 10746"/>
                <a:gd name="connsiteY2151" fmla="*/ 5171 h 10000"/>
                <a:gd name="connsiteX2152" fmla="*/ 783 w 10746"/>
                <a:gd name="connsiteY2152" fmla="*/ 5145 h 10000"/>
                <a:gd name="connsiteX2153" fmla="*/ 756 w 10746"/>
                <a:gd name="connsiteY2153" fmla="*/ 5103 h 10000"/>
                <a:gd name="connsiteX2154" fmla="*/ 742 w 10746"/>
                <a:gd name="connsiteY2154" fmla="*/ 5103 h 10000"/>
                <a:gd name="connsiteX2155" fmla="*/ 728 w 10746"/>
                <a:gd name="connsiteY2155" fmla="*/ 5094 h 10000"/>
                <a:gd name="connsiteX2156" fmla="*/ 710 w 10746"/>
                <a:gd name="connsiteY2156" fmla="*/ 5120 h 10000"/>
                <a:gd name="connsiteX2157" fmla="*/ 700 w 10746"/>
                <a:gd name="connsiteY2157" fmla="*/ 5145 h 10000"/>
                <a:gd name="connsiteX2158" fmla="*/ 696 w 10746"/>
                <a:gd name="connsiteY2158" fmla="*/ 5103 h 10000"/>
                <a:gd name="connsiteX2159" fmla="*/ 714 w 10746"/>
                <a:gd name="connsiteY2159" fmla="*/ 5077 h 10000"/>
                <a:gd name="connsiteX2160" fmla="*/ 682 w 10746"/>
                <a:gd name="connsiteY2160" fmla="*/ 5068 h 10000"/>
                <a:gd name="connsiteX2161" fmla="*/ 673 w 10746"/>
                <a:gd name="connsiteY2161" fmla="*/ 5034 h 10000"/>
                <a:gd name="connsiteX2162" fmla="*/ 636 w 10746"/>
                <a:gd name="connsiteY2162" fmla="*/ 4991 h 10000"/>
                <a:gd name="connsiteX2163" fmla="*/ 622 w 10746"/>
                <a:gd name="connsiteY2163" fmla="*/ 4983 h 10000"/>
                <a:gd name="connsiteX2164" fmla="*/ 622 w 10746"/>
                <a:gd name="connsiteY2164" fmla="*/ 5034 h 10000"/>
                <a:gd name="connsiteX2165" fmla="*/ 608 w 10746"/>
                <a:gd name="connsiteY2165" fmla="*/ 5051 h 10000"/>
                <a:gd name="connsiteX2166" fmla="*/ 594 w 10746"/>
                <a:gd name="connsiteY2166" fmla="*/ 5068 h 10000"/>
                <a:gd name="connsiteX2167" fmla="*/ 608 w 10746"/>
                <a:gd name="connsiteY2167" fmla="*/ 5120 h 10000"/>
                <a:gd name="connsiteX2168" fmla="*/ 613 w 10746"/>
                <a:gd name="connsiteY2168" fmla="*/ 5128 h 10000"/>
                <a:gd name="connsiteX2169" fmla="*/ 627 w 10746"/>
                <a:gd name="connsiteY2169" fmla="*/ 5179 h 10000"/>
                <a:gd name="connsiteX2170" fmla="*/ 650 w 10746"/>
                <a:gd name="connsiteY2170" fmla="*/ 5214 h 10000"/>
                <a:gd name="connsiteX2171" fmla="*/ 687 w 10746"/>
                <a:gd name="connsiteY2171" fmla="*/ 5188 h 10000"/>
                <a:gd name="connsiteX2172" fmla="*/ 700 w 10746"/>
                <a:gd name="connsiteY2172" fmla="*/ 5325 h 10000"/>
                <a:gd name="connsiteX2173" fmla="*/ 710 w 10746"/>
                <a:gd name="connsiteY2173" fmla="*/ 5350 h 10000"/>
                <a:gd name="connsiteX2174" fmla="*/ 687 w 10746"/>
                <a:gd name="connsiteY2174" fmla="*/ 5325 h 10000"/>
                <a:gd name="connsiteX2175" fmla="*/ 668 w 10746"/>
                <a:gd name="connsiteY2175" fmla="*/ 5350 h 10000"/>
                <a:gd name="connsiteX2176" fmla="*/ 668 w 10746"/>
                <a:gd name="connsiteY2176" fmla="*/ 5368 h 10000"/>
                <a:gd name="connsiteX2177" fmla="*/ 668 w 10746"/>
                <a:gd name="connsiteY2177" fmla="*/ 5376 h 10000"/>
                <a:gd name="connsiteX2178" fmla="*/ 581 w 10746"/>
                <a:gd name="connsiteY2178" fmla="*/ 5316 h 10000"/>
                <a:gd name="connsiteX2179" fmla="*/ 567 w 10746"/>
                <a:gd name="connsiteY2179" fmla="*/ 5265 h 10000"/>
                <a:gd name="connsiteX2180" fmla="*/ 562 w 10746"/>
                <a:gd name="connsiteY2180" fmla="*/ 5256 h 10000"/>
                <a:gd name="connsiteX2181" fmla="*/ 548 w 10746"/>
                <a:gd name="connsiteY2181" fmla="*/ 5231 h 10000"/>
                <a:gd name="connsiteX2182" fmla="*/ 535 w 10746"/>
                <a:gd name="connsiteY2182" fmla="*/ 5214 h 10000"/>
                <a:gd name="connsiteX2183" fmla="*/ 525 w 10746"/>
                <a:gd name="connsiteY2183" fmla="*/ 5231 h 10000"/>
                <a:gd name="connsiteX2184" fmla="*/ 521 w 10746"/>
                <a:gd name="connsiteY2184" fmla="*/ 5231 h 10000"/>
                <a:gd name="connsiteX2185" fmla="*/ 493 w 10746"/>
                <a:gd name="connsiteY2185" fmla="*/ 5205 h 10000"/>
                <a:gd name="connsiteX2186" fmla="*/ 488 w 10746"/>
                <a:gd name="connsiteY2186" fmla="*/ 5179 h 10000"/>
                <a:gd name="connsiteX2187" fmla="*/ 475 w 10746"/>
                <a:gd name="connsiteY2187" fmla="*/ 5188 h 10000"/>
                <a:gd name="connsiteX2188" fmla="*/ 475 w 10746"/>
                <a:gd name="connsiteY2188" fmla="*/ 5171 h 10000"/>
                <a:gd name="connsiteX2189" fmla="*/ 488 w 10746"/>
                <a:gd name="connsiteY2189" fmla="*/ 5154 h 10000"/>
                <a:gd name="connsiteX2190" fmla="*/ 488 w 10746"/>
                <a:gd name="connsiteY2190" fmla="*/ 5068 h 10000"/>
                <a:gd name="connsiteX2191" fmla="*/ 475 w 10746"/>
                <a:gd name="connsiteY2191" fmla="*/ 5051 h 10000"/>
                <a:gd name="connsiteX2192" fmla="*/ 475 w 10746"/>
                <a:gd name="connsiteY2192" fmla="*/ 5017 h 10000"/>
                <a:gd name="connsiteX2193" fmla="*/ 452 w 10746"/>
                <a:gd name="connsiteY2193" fmla="*/ 4932 h 10000"/>
                <a:gd name="connsiteX2194" fmla="*/ 461 w 10746"/>
                <a:gd name="connsiteY2194" fmla="*/ 4915 h 10000"/>
                <a:gd name="connsiteX2195" fmla="*/ 475 w 10746"/>
                <a:gd name="connsiteY2195" fmla="*/ 4906 h 10000"/>
                <a:gd name="connsiteX2196" fmla="*/ 479 w 10746"/>
                <a:gd name="connsiteY2196" fmla="*/ 4803 h 10000"/>
                <a:gd name="connsiteX2197" fmla="*/ 479 w 10746"/>
                <a:gd name="connsiteY2197" fmla="*/ 4778 h 10000"/>
                <a:gd name="connsiteX2198" fmla="*/ 475 w 10746"/>
                <a:gd name="connsiteY2198" fmla="*/ 4761 h 10000"/>
                <a:gd name="connsiteX2199" fmla="*/ 465 w 10746"/>
                <a:gd name="connsiteY2199" fmla="*/ 4718 h 10000"/>
                <a:gd name="connsiteX2200" fmla="*/ 461 w 10746"/>
                <a:gd name="connsiteY2200" fmla="*/ 4709 h 10000"/>
                <a:gd name="connsiteX2201" fmla="*/ 442 w 10746"/>
                <a:gd name="connsiteY2201" fmla="*/ 4692 h 10000"/>
                <a:gd name="connsiteX2202" fmla="*/ 433 w 10746"/>
                <a:gd name="connsiteY2202" fmla="*/ 4667 h 10000"/>
                <a:gd name="connsiteX2203" fmla="*/ 419 w 10746"/>
                <a:gd name="connsiteY2203" fmla="*/ 4667 h 10000"/>
                <a:gd name="connsiteX2204" fmla="*/ 401 w 10746"/>
                <a:gd name="connsiteY2204" fmla="*/ 4658 h 10000"/>
                <a:gd name="connsiteX2205" fmla="*/ 401 w 10746"/>
                <a:gd name="connsiteY2205" fmla="*/ 4624 h 10000"/>
                <a:gd name="connsiteX2206" fmla="*/ 401 w 10746"/>
                <a:gd name="connsiteY2206" fmla="*/ 4607 h 10000"/>
                <a:gd name="connsiteX2207" fmla="*/ 378 w 10746"/>
                <a:gd name="connsiteY2207" fmla="*/ 4607 h 10000"/>
                <a:gd name="connsiteX2208" fmla="*/ 341 w 10746"/>
                <a:gd name="connsiteY2208" fmla="*/ 4530 h 10000"/>
                <a:gd name="connsiteX2209" fmla="*/ 346 w 10746"/>
                <a:gd name="connsiteY2209" fmla="*/ 4521 h 10000"/>
                <a:gd name="connsiteX2210" fmla="*/ 332 w 10746"/>
                <a:gd name="connsiteY2210" fmla="*/ 4487 h 10000"/>
                <a:gd name="connsiteX2211" fmla="*/ 327 w 10746"/>
                <a:gd name="connsiteY2211" fmla="*/ 4462 h 10000"/>
                <a:gd name="connsiteX2212" fmla="*/ 313 w 10746"/>
                <a:gd name="connsiteY2212" fmla="*/ 4436 h 10000"/>
                <a:gd name="connsiteX2213" fmla="*/ 300 w 10746"/>
                <a:gd name="connsiteY2213" fmla="*/ 4419 h 10000"/>
                <a:gd name="connsiteX2214" fmla="*/ 309 w 10746"/>
                <a:gd name="connsiteY2214" fmla="*/ 4393 h 10000"/>
                <a:gd name="connsiteX2215" fmla="*/ 332 w 10746"/>
                <a:gd name="connsiteY2215" fmla="*/ 4385 h 10000"/>
                <a:gd name="connsiteX2216" fmla="*/ 355 w 10746"/>
                <a:gd name="connsiteY2216" fmla="*/ 4419 h 10000"/>
                <a:gd name="connsiteX2217" fmla="*/ 355 w 10746"/>
                <a:gd name="connsiteY2217" fmla="*/ 4444 h 10000"/>
                <a:gd name="connsiteX2218" fmla="*/ 369 w 10746"/>
                <a:gd name="connsiteY2218" fmla="*/ 4470 h 10000"/>
                <a:gd name="connsiteX2219" fmla="*/ 401 w 10746"/>
                <a:gd name="connsiteY2219" fmla="*/ 4521 h 10000"/>
                <a:gd name="connsiteX2220" fmla="*/ 406 w 10746"/>
                <a:gd name="connsiteY2220" fmla="*/ 4513 h 10000"/>
                <a:gd name="connsiteX2221" fmla="*/ 406 w 10746"/>
                <a:gd name="connsiteY2221" fmla="*/ 4496 h 10000"/>
                <a:gd name="connsiteX2222" fmla="*/ 419 w 10746"/>
                <a:gd name="connsiteY2222" fmla="*/ 4521 h 10000"/>
                <a:gd name="connsiteX2223" fmla="*/ 429 w 10746"/>
                <a:gd name="connsiteY2223" fmla="*/ 4530 h 10000"/>
                <a:gd name="connsiteX2224" fmla="*/ 433 w 10746"/>
                <a:gd name="connsiteY2224" fmla="*/ 4521 h 10000"/>
                <a:gd name="connsiteX2225" fmla="*/ 442 w 10746"/>
                <a:gd name="connsiteY2225" fmla="*/ 4530 h 10000"/>
                <a:gd name="connsiteX2226" fmla="*/ 447 w 10746"/>
                <a:gd name="connsiteY2226" fmla="*/ 4521 h 10000"/>
                <a:gd name="connsiteX2227" fmla="*/ 452 w 10746"/>
                <a:gd name="connsiteY2227" fmla="*/ 4521 h 10000"/>
                <a:gd name="connsiteX2228" fmla="*/ 461 w 10746"/>
                <a:gd name="connsiteY2228" fmla="*/ 4573 h 10000"/>
                <a:gd name="connsiteX2229" fmla="*/ 479 w 10746"/>
                <a:gd name="connsiteY2229" fmla="*/ 4556 h 10000"/>
                <a:gd name="connsiteX2230" fmla="*/ 502 w 10746"/>
                <a:gd name="connsiteY2230" fmla="*/ 4573 h 10000"/>
                <a:gd name="connsiteX2231" fmla="*/ 507 w 10746"/>
                <a:gd name="connsiteY2231" fmla="*/ 4598 h 10000"/>
                <a:gd name="connsiteX2232" fmla="*/ 525 w 10746"/>
                <a:gd name="connsiteY2232" fmla="*/ 4598 h 10000"/>
                <a:gd name="connsiteX2233" fmla="*/ 535 w 10746"/>
                <a:gd name="connsiteY2233" fmla="*/ 4624 h 10000"/>
                <a:gd name="connsiteX2234" fmla="*/ 594 w 10746"/>
                <a:gd name="connsiteY2234" fmla="*/ 4658 h 10000"/>
                <a:gd name="connsiteX2235" fmla="*/ 627 w 10746"/>
                <a:gd name="connsiteY2235" fmla="*/ 4658 h 10000"/>
                <a:gd name="connsiteX2236" fmla="*/ 654 w 10746"/>
                <a:gd name="connsiteY2236" fmla="*/ 4684 h 10000"/>
                <a:gd name="connsiteX2237" fmla="*/ 668 w 10746"/>
                <a:gd name="connsiteY2237" fmla="*/ 4709 h 10000"/>
                <a:gd name="connsiteX2238" fmla="*/ 747 w 10746"/>
                <a:gd name="connsiteY2238" fmla="*/ 4718 h 10000"/>
                <a:gd name="connsiteX2239" fmla="*/ 760 w 10746"/>
                <a:gd name="connsiteY2239" fmla="*/ 4709 h 10000"/>
                <a:gd name="connsiteX2240" fmla="*/ 774 w 10746"/>
                <a:gd name="connsiteY2240" fmla="*/ 4692 h 10000"/>
                <a:gd name="connsiteX2241" fmla="*/ 829 w 10746"/>
                <a:gd name="connsiteY2241" fmla="*/ 4658 h 10000"/>
                <a:gd name="connsiteX2242" fmla="*/ 903 w 10746"/>
                <a:gd name="connsiteY2242" fmla="*/ 4496 h 10000"/>
                <a:gd name="connsiteX2243" fmla="*/ 917 w 10746"/>
                <a:gd name="connsiteY2243" fmla="*/ 4385 h 10000"/>
                <a:gd name="connsiteX2244" fmla="*/ 903 w 10746"/>
                <a:gd name="connsiteY2244" fmla="*/ 4376 h 10000"/>
                <a:gd name="connsiteX2245" fmla="*/ 903 w 10746"/>
                <a:gd name="connsiteY2245" fmla="*/ 4376 h 10000"/>
                <a:gd name="connsiteX2246" fmla="*/ 889 w 10746"/>
                <a:gd name="connsiteY2246" fmla="*/ 4239 h 10000"/>
                <a:gd name="connsiteX2247" fmla="*/ 880 w 10746"/>
                <a:gd name="connsiteY2247" fmla="*/ 4214 h 10000"/>
                <a:gd name="connsiteX2248" fmla="*/ 862 w 10746"/>
                <a:gd name="connsiteY2248" fmla="*/ 4188 h 10000"/>
                <a:gd name="connsiteX2249" fmla="*/ 857 w 10746"/>
                <a:gd name="connsiteY2249" fmla="*/ 4197 h 10000"/>
                <a:gd name="connsiteX2250" fmla="*/ 848 w 10746"/>
                <a:gd name="connsiteY2250" fmla="*/ 4188 h 10000"/>
                <a:gd name="connsiteX2251" fmla="*/ 848 w 10746"/>
                <a:gd name="connsiteY2251" fmla="*/ 4162 h 10000"/>
                <a:gd name="connsiteX2252" fmla="*/ 829 w 10746"/>
                <a:gd name="connsiteY2252" fmla="*/ 4120 h 10000"/>
                <a:gd name="connsiteX2253" fmla="*/ 820 w 10746"/>
                <a:gd name="connsiteY2253" fmla="*/ 4103 h 10000"/>
                <a:gd name="connsiteX2254" fmla="*/ 806 w 10746"/>
                <a:gd name="connsiteY2254" fmla="*/ 4077 h 10000"/>
                <a:gd name="connsiteX2255" fmla="*/ 816 w 10746"/>
                <a:gd name="connsiteY2255" fmla="*/ 4111 h 10000"/>
                <a:gd name="connsiteX2256" fmla="*/ 802 w 10746"/>
                <a:gd name="connsiteY2256" fmla="*/ 4111 h 10000"/>
                <a:gd name="connsiteX2257" fmla="*/ 770 w 10746"/>
                <a:gd name="connsiteY2257" fmla="*/ 4060 h 10000"/>
                <a:gd name="connsiteX2258" fmla="*/ 760 w 10746"/>
                <a:gd name="connsiteY2258" fmla="*/ 4077 h 10000"/>
                <a:gd name="connsiteX2259" fmla="*/ 760 w 10746"/>
                <a:gd name="connsiteY2259" fmla="*/ 4060 h 10000"/>
                <a:gd name="connsiteX2260" fmla="*/ 756 w 10746"/>
                <a:gd name="connsiteY2260" fmla="*/ 4034 h 10000"/>
                <a:gd name="connsiteX2261" fmla="*/ 742 w 10746"/>
                <a:gd name="connsiteY2261" fmla="*/ 4000 h 10000"/>
                <a:gd name="connsiteX2262" fmla="*/ 747 w 10746"/>
                <a:gd name="connsiteY2262" fmla="*/ 4034 h 10000"/>
                <a:gd name="connsiteX2263" fmla="*/ 724 w 10746"/>
                <a:gd name="connsiteY2263" fmla="*/ 4026 h 10000"/>
                <a:gd name="connsiteX2264" fmla="*/ 714 w 10746"/>
                <a:gd name="connsiteY2264" fmla="*/ 4000 h 10000"/>
                <a:gd name="connsiteX2265" fmla="*/ 714 w 10746"/>
                <a:gd name="connsiteY2265" fmla="*/ 3983 h 10000"/>
                <a:gd name="connsiteX2266" fmla="*/ 553 w 10746"/>
                <a:gd name="connsiteY2266" fmla="*/ 3726 h 10000"/>
                <a:gd name="connsiteX2267" fmla="*/ 507 w 10746"/>
                <a:gd name="connsiteY2267" fmla="*/ 3718 h 10000"/>
                <a:gd name="connsiteX2268" fmla="*/ 516 w 10746"/>
                <a:gd name="connsiteY2268" fmla="*/ 3726 h 10000"/>
                <a:gd name="connsiteX2269" fmla="*/ 507 w 10746"/>
                <a:gd name="connsiteY2269" fmla="*/ 3735 h 10000"/>
                <a:gd name="connsiteX2270" fmla="*/ 502 w 10746"/>
                <a:gd name="connsiteY2270" fmla="*/ 3735 h 10000"/>
                <a:gd name="connsiteX2271" fmla="*/ 419 w 10746"/>
                <a:gd name="connsiteY2271" fmla="*/ 3675 h 10000"/>
                <a:gd name="connsiteX2272" fmla="*/ 419 w 10746"/>
                <a:gd name="connsiteY2272" fmla="*/ 3692 h 10000"/>
                <a:gd name="connsiteX2273" fmla="*/ 401 w 10746"/>
                <a:gd name="connsiteY2273" fmla="*/ 3701 h 10000"/>
                <a:gd name="connsiteX2274" fmla="*/ 387 w 10746"/>
                <a:gd name="connsiteY2274" fmla="*/ 3718 h 10000"/>
                <a:gd name="connsiteX2275" fmla="*/ 387 w 10746"/>
                <a:gd name="connsiteY2275" fmla="*/ 3692 h 10000"/>
                <a:gd name="connsiteX2276" fmla="*/ 378 w 10746"/>
                <a:gd name="connsiteY2276" fmla="*/ 3675 h 10000"/>
                <a:gd name="connsiteX2277" fmla="*/ 378 w 10746"/>
                <a:gd name="connsiteY2277" fmla="*/ 3650 h 10000"/>
                <a:gd name="connsiteX2278" fmla="*/ 378 w 10746"/>
                <a:gd name="connsiteY2278" fmla="*/ 3650 h 10000"/>
                <a:gd name="connsiteX2279" fmla="*/ 355 w 10746"/>
                <a:gd name="connsiteY2279" fmla="*/ 3675 h 10000"/>
                <a:gd name="connsiteX2280" fmla="*/ 359 w 10746"/>
                <a:gd name="connsiteY2280" fmla="*/ 3641 h 10000"/>
                <a:gd name="connsiteX2281" fmla="*/ 346 w 10746"/>
                <a:gd name="connsiteY2281" fmla="*/ 3650 h 10000"/>
                <a:gd name="connsiteX2282" fmla="*/ 355 w 10746"/>
                <a:gd name="connsiteY2282" fmla="*/ 3624 h 10000"/>
                <a:gd name="connsiteX2283" fmla="*/ 346 w 10746"/>
                <a:gd name="connsiteY2283" fmla="*/ 3624 h 10000"/>
                <a:gd name="connsiteX2284" fmla="*/ 341 w 10746"/>
                <a:gd name="connsiteY2284" fmla="*/ 3624 h 10000"/>
                <a:gd name="connsiteX2285" fmla="*/ 318 w 10746"/>
                <a:gd name="connsiteY2285" fmla="*/ 3641 h 10000"/>
                <a:gd name="connsiteX2286" fmla="*/ 327 w 10746"/>
                <a:gd name="connsiteY2286" fmla="*/ 3624 h 10000"/>
                <a:gd name="connsiteX2287" fmla="*/ 318 w 10746"/>
                <a:gd name="connsiteY2287" fmla="*/ 3615 h 10000"/>
                <a:gd name="connsiteX2288" fmla="*/ 318 w 10746"/>
                <a:gd name="connsiteY2288" fmla="*/ 3598 h 10000"/>
                <a:gd name="connsiteX2289" fmla="*/ 300 w 10746"/>
                <a:gd name="connsiteY2289" fmla="*/ 3598 h 10000"/>
                <a:gd name="connsiteX2290" fmla="*/ 309 w 10746"/>
                <a:gd name="connsiteY2290" fmla="*/ 3538 h 10000"/>
                <a:gd name="connsiteX2291" fmla="*/ 313 w 10746"/>
                <a:gd name="connsiteY2291" fmla="*/ 3564 h 10000"/>
                <a:gd name="connsiteX2292" fmla="*/ 318 w 10746"/>
                <a:gd name="connsiteY2292" fmla="*/ 3581 h 10000"/>
                <a:gd name="connsiteX2293" fmla="*/ 327 w 10746"/>
                <a:gd name="connsiteY2293" fmla="*/ 3564 h 10000"/>
                <a:gd name="connsiteX2294" fmla="*/ 332 w 10746"/>
                <a:gd name="connsiteY2294" fmla="*/ 3590 h 10000"/>
                <a:gd name="connsiteX2295" fmla="*/ 346 w 10746"/>
                <a:gd name="connsiteY2295" fmla="*/ 3590 h 10000"/>
                <a:gd name="connsiteX2296" fmla="*/ 355 w 10746"/>
                <a:gd name="connsiteY2296" fmla="*/ 3590 h 10000"/>
                <a:gd name="connsiteX2297" fmla="*/ 369 w 10746"/>
                <a:gd name="connsiteY2297" fmla="*/ 3556 h 10000"/>
                <a:gd name="connsiteX2298" fmla="*/ 369 w 10746"/>
                <a:gd name="connsiteY2298" fmla="*/ 3538 h 10000"/>
                <a:gd name="connsiteX2299" fmla="*/ 346 w 10746"/>
                <a:gd name="connsiteY2299" fmla="*/ 3513 h 10000"/>
                <a:gd name="connsiteX2300" fmla="*/ 341 w 10746"/>
                <a:gd name="connsiteY2300" fmla="*/ 3530 h 10000"/>
                <a:gd name="connsiteX2301" fmla="*/ 327 w 10746"/>
                <a:gd name="connsiteY2301" fmla="*/ 3513 h 10000"/>
                <a:gd name="connsiteX2302" fmla="*/ 327 w 10746"/>
                <a:gd name="connsiteY2302" fmla="*/ 3504 h 10000"/>
                <a:gd name="connsiteX2303" fmla="*/ 295 w 10746"/>
                <a:gd name="connsiteY2303" fmla="*/ 3462 h 10000"/>
                <a:gd name="connsiteX2304" fmla="*/ 300 w 10746"/>
                <a:gd name="connsiteY2304" fmla="*/ 3479 h 10000"/>
                <a:gd name="connsiteX2305" fmla="*/ 295 w 10746"/>
                <a:gd name="connsiteY2305" fmla="*/ 3513 h 10000"/>
                <a:gd name="connsiteX2306" fmla="*/ 286 w 10746"/>
                <a:gd name="connsiteY2306" fmla="*/ 3513 h 10000"/>
                <a:gd name="connsiteX2307" fmla="*/ 281 w 10746"/>
                <a:gd name="connsiteY2307" fmla="*/ 3513 h 10000"/>
                <a:gd name="connsiteX2308" fmla="*/ 281 w 10746"/>
                <a:gd name="connsiteY2308" fmla="*/ 3530 h 10000"/>
                <a:gd name="connsiteX2309" fmla="*/ 281 w 10746"/>
                <a:gd name="connsiteY2309" fmla="*/ 3556 h 10000"/>
                <a:gd name="connsiteX2310" fmla="*/ 272 w 10746"/>
                <a:gd name="connsiteY2310" fmla="*/ 3564 h 10000"/>
                <a:gd name="connsiteX2311" fmla="*/ 267 w 10746"/>
                <a:gd name="connsiteY2311" fmla="*/ 3564 h 10000"/>
                <a:gd name="connsiteX2312" fmla="*/ 253 w 10746"/>
                <a:gd name="connsiteY2312" fmla="*/ 3538 h 10000"/>
                <a:gd name="connsiteX2313" fmla="*/ 226 w 10746"/>
                <a:gd name="connsiteY2313" fmla="*/ 3513 h 10000"/>
                <a:gd name="connsiteX2314" fmla="*/ 226 w 10746"/>
                <a:gd name="connsiteY2314" fmla="*/ 3530 h 10000"/>
                <a:gd name="connsiteX2315" fmla="*/ 226 w 10746"/>
                <a:gd name="connsiteY2315" fmla="*/ 3530 h 10000"/>
                <a:gd name="connsiteX2316" fmla="*/ 226 w 10746"/>
                <a:gd name="connsiteY2316" fmla="*/ 3530 h 10000"/>
                <a:gd name="connsiteX2317" fmla="*/ 226 w 10746"/>
                <a:gd name="connsiteY2317" fmla="*/ 3556 h 10000"/>
                <a:gd name="connsiteX2318" fmla="*/ 221 w 10746"/>
                <a:gd name="connsiteY2318" fmla="*/ 3598 h 10000"/>
                <a:gd name="connsiteX2319" fmla="*/ 207 w 10746"/>
                <a:gd name="connsiteY2319" fmla="*/ 3598 h 10000"/>
                <a:gd name="connsiteX2320" fmla="*/ 180 w 10746"/>
                <a:gd name="connsiteY2320" fmla="*/ 3581 h 10000"/>
                <a:gd name="connsiteX2321" fmla="*/ 171 w 10746"/>
                <a:gd name="connsiteY2321" fmla="*/ 3641 h 10000"/>
                <a:gd name="connsiteX2322" fmla="*/ 166 w 10746"/>
                <a:gd name="connsiteY2322" fmla="*/ 3650 h 10000"/>
                <a:gd name="connsiteX2323" fmla="*/ 124 w 10746"/>
                <a:gd name="connsiteY2323" fmla="*/ 3701 h 10000"/>
                <a:gd name="connsiteX2324" fmla="*/ 124 w 10746"/>
                <a:gd name="connsiteY2324" fmla="*/ 3718 h 10000"/>
                <a:gd name="connsiteX2325" fmla="*/ 120 w 10746"/>
                <a:gd name="connsiteY2325" fmla="*/ 3735 h 10000"/>
                <a:gd name="connsiteX2326" fmla="*/ 120 w 10746"/>
                <a:gd name="connsiteY2326" fmla="*/ 3735 h 10000"/>
                <a:gd name="connsiteX2327" fmla="*/ 111 w 10746"/>
                <a:gd name="connsiteY2327" fmla="*/ 3761 h 10000"/>
                <a:gd name="connsiteX2328" fmla="*/ 106 w 10746"/>
                <a:gd name="connsiteY2328" fmla="*/ 3761 h 10000"/>
                <a:gd name="connsiteX2329" fmla="*/ 106 w 10746"/>
                <a:gd name="connsiteY2329" fmla="*/ 3761 h 10000"/>
                <a:gd name="connsiteX2330" fmla="*/ 74 w 10746"/>
                <a:gd name="connsiteY2330" fmla="*/ 3829 h 10000"/>
                <a:gd name="connsiteX2331" fmla="*/ 78 w 10746"/>
                <a:gd name="connsiteY2331" fmla="*/ 3838 h 10000"/>
                <a:gd name="connsiteX2332" fmla="*/ 88 w 10746"/>
                <a:gd name="connsiteY2332" fmla="*/ 3846 h 10000"/>
                <a:gd name="connsiteX2333" fmla="*/ 65 w 10746"/>
                <a:gd name="connsiteY2333" fmla="*/ 3923 h 10000"/>
                <a:gd name="connsiteX2334" fmla="*/ 78 w 10746"/>
                <a:gd name="connsiteY2334" fmla="*/ 4026 h 10000"/>
                <a:gd name="connsiteX2335" fmla="*/ 88 w 10746"/>
                <a:gd name="connsiteY2335" fmla="*/ 4051 h 10000"/>
                <a:gd name="connsiteX2336" fmla="*/ 92 w 10746"/>
                <a:gd name="connsiteY2336" fmla="*/ 4060 h 10000"/>
                <a:gd name="connsiteX2337" fmla="*/ 111 w 10746"/>
                <a:gd name="connsiteY2337" fmla="*/ 4060 h 10000"/>
                <a:gd name="connsiteX2338" fmla="*/ 124 w 10746"/>
                <a:gd name="connsiteY2338" fmla="*/ 4085 h 10000"/>
                <a:gd name="connsiteX2339" fmla="*/ 166 w 10746"/>
                <a:gd name="connsiteY2339" fmla="*/ 4197 h 10000"/>
                <a:gd name="connsiteX2340" fmla="*/ 166 w 10746"/>
                <a:gd name="connsiteY2340" fmla="*/ 4248 h 10000"/>
                <a:gd name="connsiteX2341" fmla="*/ 120 w 10746"/>
                <a:gd name="connsiteY2341" fmla="*/ 4462 h 10000"/>
                <a:gd name="connsiteX2342" fmla="*/ 120 w 10746"/>
                <a:gd name="connsiteY2342" fmla="*/ 4513 h 10000"/>
                <a:gd name="connsiteX2343" fmla="*/ 180 w 10746"/>
                <a:gd name="connsiteY2343" fmla="*/ 4829 h 10000"/>
                <a:gd name="connsiteX2344" fmla="*/ 161 w 10746"/>
                <a:gd name="connsiteY2344" fmla="*/ 4855 h 10000"/>
                <a:gd name="connsiteX2345" fmla="*/ 152 w 10746"/>
                <a:gd name="connsiteY2345" fmla="*/ 4940 h 10000"/>
                <a:gd name="connsiteX2346" fmla="*/ 161 w 10746"/>
                <a:gd name="connsiteY2346" fmla="*/ 4966 h 10000"/>
                <a:gd name="connsiteX2347" fmla="*/ 161 w 10746"/>
                <a:gd name="connsiteY2347" fmla="*/ 5009 h 10000"/>
                <a:gd name="connsiteX2348" fmla="*/ 152 w 10746"/>
                <a:gd name="connsiteY2348" fmla="*/ 5034 h 10000"/>
                <a:gd name="connsiteX2349" fmla="*/ 152 w 10746"/>
                <a:gd name="connsiteY2349" fmla="*/ 5077 h 10000"/>
                <a:gd name="connsiteX2350" fmla="*/ 171 w 10746"/>
                <a:gd name="connsiteY2350" fmla="*/ 5094 h 10000"/>
                <a:gd name="connsiteX2351" fmla="*/ 180 w 10746"/>
                <a:gd name="connsiteY2351" fmla="*/ 5128 h 10000"/>
                <a:gd name="connsiteX2352" fmla="*/ 180 w 10746"/>
                <a:gd name="connsiteY2352" fmla="*/ 5171 h 10000"/>
                <a:gd name="connsiteX2353" fmla="*/ 184 w 10746"/>
                <a:gd name="connsiteY2353" fmla="*/ 5205 h 10000"/>
                <a:gd name="connsiteX2354" fmla="*/ 207 w 10746"/>
                <a:gd name="connsiteY2354" fmla="*/ 5239 h 10000"/>
                <a:gd name="connsiteX2355" fmla="*/ 207 w 10746"/>
                <a:gd name="connsiteY2355" fmla="*/ 5282 h 10000"/>
                <a:gd name="connsiteX2356" fmla="*/ 180 w 10746"/>
                <a:gd name="connsiteY2356" fmla="*/ 5393 h 10000"/>
                <a:gd name="connsiteX2357" fmla="*/ 194 w 10746"/>
                <a:gd name="connsiteY2357" fmla="*/ 5427 h 10000"/>
                <a:gd name="connsiteX2358" fmla="*/ 198 w 10746"/>
                <a:gd name="connsiteY2358" fmla="*/ 5462 h 10000"/>
                <a:gd name="connsiteX2359" fmla="*/ 235 w 10746"/>
                <a:gd name="connsiteY2359" fmla="*/ 5513 h 10000"/>
                <a:gd name="connsiteX2360" fmla="*/ 240 w 10746"/>
                <a:gd name="connsiteY2360" fmla="*/ 5556 h 10000"/>
                <a:gd name="connsiteX2361" fmla="*/ 253 w 10746"/>
                <a:gd name="connsiteY2361" fmla="*/ 5590 h 10000"/>
                <a:gd name="connsiteX2362" fmla="*/ 258 w 10746"/>
                <a:gd name="connsiteY2362" fmla="*/ 5573 h 10000"/>
                <a:gd name="connsiteX2363" fmla="*/ 258 w 10746"/>
                <a:gd name="connsiteY2363" fmla="*/ 5667 h 10000"/>
                <a:gd name="connsiteX2364" fmla="*/ 14 w 10746"/>
                <a:gd name="connsiteY2364" fmla="*/ 6214 h 10000"/>
                <a:gd name="connsiteX2365" fmla="*/ 14 w 10746"/>
                <a:gd name="connsiteY2365" fmla="*/ 6214 h 10000"/>
                <a:gd name="connsiteX2366" fmla="*/ 37 w 10746"/>
                <a:gd name="connsiteY2366" fmla="*/ 6214 h 10000"/>
                <a:gd name="connsiteX2367" fmla="*/ 51 w 10746"/>
                <a:gd name="connsiteY2367" fmla="*/ 6188 h 10000"/>
                <a:gd name="connsiteX2368" fmla="*/ 78 w 10746"/>
                <a:gd name="connsiteY2368" fmla="*/ 6162 h 10000"/>
                <a:gd name="connsiteX2369" fmla="*/ 78 w 10746"/>
                <a:gd name="connsiteY2369" fmla="*/ 6188 h 10000"/>
                <a:gd name="connsiteX2370" fmla="*/ 74 w 10746"/>
                <a:gd name="connsiteY2370" fmla="*/ 6197 h 10000"/>
                <a:gd name="connsiteX2371" fmla="*/ 74 w 10746"/>
                <a:gd name="connsiteY2371" fmla="*/ 6231 h 10000"/>
                <a:gd name="connsiteX2372" fmla="*/ 74 w 10746"/>
                <a:gd name="connsiteY2372" fmla="*/ 6214 h 10000"/>
                <a:gd name="connsiteX2373" fmla="*/ 65 w 10746"/>
                <a:gd name="connsiteY2373" fmla="*/ 6214 h 10000"/>
                <a:gd name="connsiteX2374" fmla="*/ 65 w 10746"/>
                <a:gd name="connsiteY2374" fmla="*/ 6248 h 10000"/>
                <a:gd name="connsiteX2375" fmla="*/ 74 w 10746"/>
                <a:gd name="connsiteY2375" fmla="*/ 6256 h 10000"/>
                <a:gd name="connsiteX2376" fmla="*/ 78 w 10746"/>
                <a:gd name="connsiteY2376" fmla="*/ 6256 h 10000"/>
                <a:gd name="connsiteX2377" fmla="*/ 106 w 10746"/>
                <a:gd name="connsiteY2377" fmla="*/ 6308 h 10000"/>
                <a:gd name="connsiteX2378" fmla="*/ 138 w 10746"/>
                <a:gd name="connsiteY2378" fmla="*/ 6299 h 10000"/>
                <a:gd name="connsiteX2379" fmla="*/ 152 w 10746"/>
                <a:gd name="connsiteY2379" fmla="*/ 6299 h 10000"/>
                <a:gd name="connsiteX2380" fmla="*/ 166 w 10746"/>
                <a:gd name="connsiteY2380" fmla="*/ 6325 h 10000"/>
                <a:gd name="connsiteX2381" fmla="*/ 166 w 10746"/>
                <a:gd name="connsiteY2381" fmla="*/ 6333 h 10000"/>
                <a:gd name="connsiteX2382" fmla="*/ 171 w 10746"/>
                <a:gd name="connsiteY2382" fmla="*/ 6350 h 10000"/>
                <a:gd name="connsiteX2383" fmla="*/ 180 w 10746"/>
                <a:gd name="connsiteY2383" fmla="*/ 6350 h 10000"/>
                <a:gd name="connsiteX2384" fmla="*/ 180 w 10746"/>
                <a:gd name="connsiteY2384" fmla="*/ 6359 h 10000"/>
                <a:gd name="connsiteX2385" fmla="*/ 171 w 10746"/>
                <a:gd name="connsiteY2385" fmla="*/ 6368 h 10000"/>
                <a:gd name="connsiteX2386" fmla="*/ 106 w 10746"/>
                <a:gd name="connsiteY2386" fmla="*/ 6350 h 10000"/>
                <a:gd name="connsiteX2387" fmla="*/ 101 w 10746"/>
                <a:gd name="connsiteY2387" fmla="*/ 6359 h 10000"/>
                <a:gd name="connsiteX2388" fmla="*/ 101 w 10746"/>
                <a:gd name="connsiteY2388" fmla="*/ 6385 h 10000"/>
                <a:gd name="connsiteX2389" fmla="*/ 78 w 10746"/>
                <a:gd name="connsiteY2389" fmla="*/ 6393 h 10000"/>
                <a:gd name="connsiteX2390" fmla="*/ 74 w 10746"/>
                <a:gd name="connsiteY2390" fmla="*/ 6385 h 10000"/>
                <a:gd name="connsiteX2391" fmla="*/ 65 w 10746"/>
                <a:gd name="connsiteY2391" fmla="*/ 6393 h 10000"/>
                <a:gd name="connsiteX2392" fmla="*/ 60 w 10746"/>
                <a:gd name="connsiteY2392" fmla="*/ 6419 h 10000"/>
                <a:gd name="connsiteX2393" fmla="*/ 51 w 10746"/>
                <a:gd name="connsiteY2393" fmla="*/ 6419 h 10000"/>
                <a:gd name="connsiteX2394" fmla="*/ 46 w 10746"/>
                <a:gd name="connsiteY2394" fmla="*/ 6410 h 10000"/>
                <a:gd name="connsiteX2395" fmla="*/ 37 w 10746"/>
                <a:gd name="connsiteY2395" fmla="*/ 6393 h 10000"/>
                <a:gd name="connsiteX2396" fmla="*/ 32 w 10746"/>
                <a:gd name="connsiteY2396" fmla="*/ 6419 h 10000"/>
                <a:gd name="connsiteX2397" fmla="*/ 37 w 10746"/>
                <a:gd name="connsiteY2397" fmla="*/ 6462 h 10000"/>
                <a:gd name="connsiteX2398" fmla="*/ 46 w 10746"/>
                <a:gd name="connsiteY2398" fmla="*/ 6462 h 10000"/>
                <a:gd name="connsiteX2399" fmla="*/ 51 w 10746"/>
                <a:gd name="connsiteY2399" fmla="*/ 6470 h 10000"/>
                <a:gd name="connsiteX2400" fmla="*/ 51 w 10746"/>
                <a:gd name="connsiteY2400" fmla="*/ 6496 h 10000"/>
                <a:gd name="connsiteX2401" fmla="*/ 51 w 10746"/>
                <a:gd name="connsiteY2401" fmla="*/ 6504 h 10000"/>
                <a:gd name="connsiteX2402" fmla="*/ 37 w 10746"/>
                <a:gd name="connsiteY2402" fmla="*/ 6530 h 10000"/>
                <a:gd name="connsiteX2403" fmla="*/ 18 w 10746"/>
                <a:gd name="connsiteY2403" fmla="*/ 6598 h 10000"/>
                <a:gd name="connsiteX2404" fmla="*/ 28 w 10746"/>
                <a:gd name="connsiteY2404" fmla="*/ 6632 h 10000"/>
                <a:gd name="connsiteX2405" fmla="*/ 18 w 10746"/>
                <a:gd name="connsiteY2405" fmla="*/ 6667 h 10000"/>
                <a:gd name="connsiteX2406" fmla="*/ 28 w 10746"/>
                <a:gd name="connsiteY2406" fmla="*/ 6692 h 10000"/>
                <a:gd name="connsiteX2407" fmla="*/ 28 w 10746"/>
                <a:gd name="connsiteY2407" fmla="*/ 6709 h 10000"/>
                <a:gd name="connsiteX2408" fmla="*/ 18 w 10746"/>
                <a:gd name="connsiteY2408" fmla="*/ 6718 h 10000"/>
                <a:gd name="connsiteX2409" fmla="*/ 5 w 10746"/>
                <a:gd name="connsiteY2409" fmla="*/ 6744 h 10000"/>
                <a:gd name="connsiteX2410" fmla="*/ 0 w 10746"/>
                <a:gd name="connsiteY2410" fmla="*/ 6769 h 10000"/>
                <a:gd name="connsiteX2411" fmla="*/ 5 w 10746"/>
                <a:gd name="connsiteY2411" fmla="*/ 6778 h 10000"/>
                <a:gd name="connsiteX2412" fmla="*/ 32 w 10746"/>
                <a:gd name="connsiteY2412" fmla="*/ 6778 h 10000"/>
                <a:gd name="connsiteX2413" fmla="*/ 46 w 10746"/>
                <a:gd name="connsiteY2413" fmla="*/ 6821 h 10000"/>
                <a:gd name="connsiteX2414" fmla="*/ 46 w 10746"/>
                <a:gd name="connsiteY2414" fmla="*/ 6855 h 10000"/>
                <a:gd name="connsiteX2415" fmla="*/ 32 w 10746"/>
                <a:gd name="connsiteY2415" fmla="*/ 6855 h 10000"/>
                <a:gd name="connsiteX2416" fmla="*/ 14 w 10746"/>
                <a:gd name="connsiteY2416" fmla="*/ 6821 h 10000"/>
                <a:gd name="connsiteX2417" fmla="*/ 14 w 10746"/>
                <a:gd name="connsiteY2417" fmla="*/ 6846 h 10000"/>
                <a:gd name="connsiteX2418" fmla="*/ 0 w 10746"/>
                <a:gd name="connsiteY2418" fmla="*/ 6897 h 10000"/>
                <a:gd name="connsiteX2419" fmla="*/ 0 w 10746"/>
                <a:gd name="connsiteY2419" fmla="*/ 6915 h 10000"/>
                <a:gd name="connsiteX2420" fmla="*/ 5 w 10746"/>
                <a:gd name="connsiteY2420" fmla="*/ 6932 h 10000"/>
                <a:gd name="connsiteX2421" fmla="*/ 14 w 10746"/>
                <a:gd name="connsiteY2421" fmla="*/ 6940 h 10000"/>
                <a:gd name="connsiteX2422" fmla="*/ 18 w 10746"/>
                <a:gd name="connsiteY2422" fmla="*/ 6957 h 10000"/>
                <a:gd name="connsiteX2423" fmla="*/ 28 w 10746"/>
                <a:gd name="connsiteY2423" fmla="*/ 6966 h 10000"/>
                <a:gd name="connsiteX2424" fmla="*/ 28 w 10746"/>
                <a:gd name="connsiteY2424" fmla="*/ 6983 h 10000"/>
                <a:gd name="connsiteX2425" fmla="*/ 18 w 10746"/>
                <a:gd name="connsiteY2425" fmla="*/ 7051 h 10000"/>
                <a:gd name="connsiteX2426" fmla="*/ 28 w 10746"/>
                <a:gd name="connsiteY2426" fmla="*/ 7068 h 10000"/>
                <a:gd name="connsiteX2427" fmla="*/ 32 w 10746"/>
                <a:gd name="connsiteY2427" fmla="*/ 7068 h 10000"/>
                <a:gd name="connsiteX2428" fmla="*/ 32 w 10746"/>
                <a:gd name="connsiteY2428" fmla="*/ 7094 h 10000"/>
                <a:gd name="connsiteX2429" fmla="*/ 60 w 10746"/>
                <a:gd name="connsiteY2429" fmla="*/ 7162 h 10000"/>
                <a:gd name="connsiteX2430" fmla="*/ 60 w 10746"/>
                <a:gd name="connsiteY2430" fmla="*/ 7231 h 10000"/>
                <a:gd name="connsiteX2431" fmla="*/ 60 w 10746"/>
                <a:gd name="connsiteY2431" fmla="*/ 7239 h 10000"/>
                <a:gd name="connsiteX2432" fmla="*/ 78 w 10746"/>
                <a:gd name="connsiteY2432" fmla="*/ 7239 h 10000"/>
                <a:gd name="connsiteX2433" fmla="*/ 88 w 10746"/>
                <a:gd name="connsiteY2433" fmla="*/ 7239 h 10000"/>
                <a:gd name="connsiteX2434" fmla="*/ 92 w 10746"/>
                <a:gd name="connsiteY2434" fmla="*/ 7256 h 10000"/>
                <a:gd name="connsiteX2435" fmla="*/ 111 w 10746"/>
                <a:gd name="connsiteY2435" fmla="*/ 7256 h 10000"/>
                <a:gd name="connsiteX2436" fmla="*/ 120 w 10746"/>
                <a:gd name="connsiteY2436" fmla="*/ 7256 h 10000"/>
                <a:gd name="connsiteX2437" fmla="*/ 134 w 10746"/>
                <a:gd name="connsiteY2437" fmla="*/ 7282 h 10000"/>
                <a:gd name="connsiteX2438" fmla="*/ 134 w 10746"/>
                <a:gd name="connsiteY2438" fmla="*/ 7316 h 10000"/>
                <a:gd name="connsiteX2439" fmla="*/ 152 w 10746"/>
                <a:gd name="connsiteY2439" fmla="*/ 7299 h 10000"/>
                <a:gd name="connsiteX2440" fmla="*/ 161 w 10746"/>
                <a:gd name="connsiteY2440" fmla="*/ 7299 h 10000"/>
                <a:gd name="connsiteX2441" fmla="*/ 166 w 10746"/>
                <a:gd name="connsiteY2441" fmla="*/ 7291 h 10000"/>
                <a:gd name="connsiteX2442" fmla="*/ 194 w 10746"/>
                <a:gd name="connsiteY2442" fmla="*/ 7291 h 10000"/>
                <a:gd name="connsiteX2443" fmla="*/ 207 w 10746"/>
                <a:gd name="connsiteY2443" fmla="*/ 7299 h 10000"/>
                <a:gd name="connsiteX2444" fmla="*/ 221 w 10746"/>
                <a:gd name="connsiteY2444" fmla="*/ 7342 h 10000"/>
                <a:gd name="connsiteX2445" fmla="*/ 235 w 10746"/>
                <a:gd name="connsiteY2445" fmla="*/ 7342 h 10000"/>
                <a:gd name="connsiteX2446" fmla="*/ 235 w 10746"/>
                <a:gd name="connsiteY2446" fmla="*/ 7368 h 10000"/>
                <a:gd name="connsiteX2447" fmla="*/ 226 w 10746"/>
                <a:gd name="connsiteY2447" fmla="*/ 7393 h 10000"/>
                <a:gd name="connsiteX2448" fmla="*/ 226 w 10746"/>
                <a:gd name="connsiteY2448" fmla="*/ 7402 h 10000"/>
                <a:gd name="connsiteX2449" fmla="*/ 235 w 10746"/>
                <a:gd name="connsiteY2449" fmla="*/ 7419 h 10000"/>
                <a:gd name="connsiteX2450" fmla="*/ 240 w 10746"/>
                <a:gd name="connsiteY2450" fmla="*/ 7436 h 10000"/>
                <a:gd name="connsiteX2451" fmla="*/ 235 w 10746"/>
                <a:gd name="connsiteY2451" fmla="*/ 7462 h 10000"/>
                <a:gd name="connsiteX2452" fmla="*/ 226 w 10746"/>
                <a:gd name="connsiteY2452" fmla="*/ 7479 h 10000"/>
                <a:gd name="connsiteX2453" fmla="*/ 226 w 10746"/>
                <a:gd name="connsiteY2453" fmla="*/ 7504 h 10000"/>
                <a:gd name="connsiteX2454" fmla="*/ 226 w 10746"/>
                <a:gd name="connsiteY2454" fmla="*/ 7513 h 10000"/>
                <a:gd name="connsiteX2455" fmla="*/ 240 w 10746"/>
                <a:gd name="connsiteY2455" fmla="*/ 7538 h 10000"/>
                <a:gd name="connsiteX2456" fmla="*/ 267 w 10746"/>
                <a:gd name="connsiteY2456" fmla="*/ 7641 h 10000"/>
                <a:gd name="connsiteX2457" fmla="*/ 281 w 10746"/>
                <a:gd name="connsiteY2457" fmla="*/ 7667 h 10000"/>
                <a:gd name="connsiteX2458" fmla="*/ 286 w 10746"/>
                <a:gd name="connsiteY2458" fmla="*/ 7675 h 10000"/>
                <a:gd name="connsiteX2459" fmla="*/ 286 w 10746"/>
                <a:gd name="connsiteY2459" fmla="*/ 7692 h 10000"/>
                <a:gd name="connsiteX2460" fmla="*/ 286 w 10746"/>
                <a:gd name="connsiteY2460" fmla="*/ 7709 h 10000"/>
                <a:gd name="connsiteX2461" fmla="*/ 295 w 10746"/>
                <a:gd name="connsiteY2461" fmla="*/ 7726 h 10000"/>
                <a:gd name="connsiteX2462" fmla="*/ 318 w 10746"/>
                <a:gd name="connsiteY2462" fmla="*/ 7709 h 10000"/>
                <a:gd name="connsiteX2463" fmla="*/ 327 w 10746"/>
                <a:gd name="connsiteY2463" fmla="*/ 7726 h 10000"/>
                <a:gd name="connsiteX2464" fmla="*/ 341 w 10746"/>
                <a:gd name="connsiteY2464" fmla="*/ 7735 h 10000"/>
                <a:gd name="connsiteX2465" fmla="*/ 332 w 10746"/>
                <a:gd name="connsiteY2465" fmla="*/ 7752 h 10000"/>
                <a:gd name="connsiteX2466" fmla="*/ 341 w 10746"/>
                <a:gd name="connsiteY2466" fmla="*/ 7761 h 10000"/>
                <a:gd name="connsiteX2467" fmla="*/ 355 w 10746"/>
                <a:gd name="connsiteY2467" fmla="*/ 7761 h 10000"/>
                <a:gd name="connsiteX2468" fmla="*/ 355 w 10746"/>
                <a:gd name="connsiteY2468" fmla="*/ 7803 h 10000"/>
                <a:gd name="connsiteX2469" fmla="*/ 313 w 10746"/>
                <a:gd name="connsiteY2469" fmla="*/ 7846 h 10000"/>
                <a:gd name="connsiteX2470" fmla="*/ 295 w 10746"/>
                <a:gd name="connsiteY2470" fmla="*/ 7846 h 10000"/>
                <a:gd name="connsiteX2471" fmla="*/ 281 w 10746"/>
                <a:gd name="connsiteY2471" fmla="*/ 7821 h 10000"/>
                <a:gd name="connsiteX2472" fmla="*/ 272 w 10746"/>
                <a:gd name="connsiteY2472" fmla="*/ 7821 h 10000"/>
                <a:gd name="connsiteX2473" fmla="*/ 267 w 10746"/>
                <a:gd name="connsiteY2473" fmla="*/ 7838 h 10000"/>
                <a:gd name="connsiteX2474" fmla="*/ 258 w 10746"/>
                <a:gd name="connsiteY2474" fmla="*/ 7846 h 10000"/>
                <a:gd name="connsiteX2475" fmla="*/ 253 w 10746"/>
                <a:gd name="connsiteY2475" fmla="*/ 7863 h 10000"/>
                <a:gd name="connsiteX2476" fmla="*/ 253 w 10746"/>
                <a:gd name="connsiteY2476" fmla="*/ 7872 h 10000"/>
                <a:gd name="connsiteX2477" fmla="*/ 267 w 10746"/>
                <a:gd name="connsiteY2477" fmla="*/ 7897 h 10000"/>
                <a:gd name="connsiteX2478" fmla="*/ 272 w 10746"/>
                <a:gd name="connsiteY2478" fmla="*/ 7915 h 10000"/>
                <a:gd name="connsiteX2479" fmla="*/ 267 w 10746"/>
                <a:gd name="connsiteY2479" fmla="*/ 7940 h 10000"/>
                <a:gd name="connsiteX2480" fmla="*/ 272 w 10746"/>
                <a:gd name="connsiteY2480" fmla="*/ 7949 h 10000"/>
                <a:gd name="connsiteX2481" fmla="*/ 272 w 10746"/>
                <a:gd name="connsiteY2481" fmla="*/ 7957 h 10000"/>
                <a:gd name="connsiteX2482" fmla="*/ 281 w 10746"/>
                <a:gd name="connsiteY2482" fmla="*/ 7974 h 10000"/>
                <a:gd name="connsiteX2483" fmla="*/ 286 w 10746"/>
                <a:gd name="connsiteY2483" fmla="*/ 7983 h 10000"/>
                <a:gd name="connsiteX2484" fmla="*/ 281 w 10746"/>
                <a:gd name="connsiteY2484" fmla="*/ 8009 h 10000"/>
                <a:gd name="connsiteX2485" fmla="*/ 286 w 10746"/>
                <a:gd name="connsiteY2485" fmla="*/ 8060 h 10000"/>
                <a:gd name="connsiteX2486" fmla="*/ 286 w 10746"/>
                <a:gd name="connsiteY2486" fmla="*/ 8060 h 10000"/>
                <a:gd name="connsiteX2487" fmla="*/ 295 w 10746"/>
                <a:gd name="connsiteY2487" fmla="*/ 8077 h 10000"/>
                <a:gd name="connsiteX2488" fmla="*/ 309 w 10746"/>
                <a:gd name="connsiteY2488" fmla="*/ 8077 h 10000"/>
                <a:gd name="connsiteX2489" fmla="*/ 313 w 10746"/>
                <a:gd name="connsiteY2489" fmla="*/ 8060 h 10000"/>
                <a:gd name="connsiteX2490" fmla="*/ 318 w 10746"/>
                <a:gd name="connsiteY2490" fmla="*/ 8051 h 10000"/>
                <a:gd name="connsiteX2491" fmla="*/ 318 w 10746"/>
                <a:gd name="connsiteY2491" fmla="*/ 8034 h 10000"/>
                <a:gd name="connsiteX2492" fmla="*/ 332 w 10746"/>
                <a:gd name="connsiteY2492" fmla="*/ 8026 h 10000"/>
                <a:gd name="connsiteX2493" fmla="*/ 359 w 10746"/>
                <a:gd name="connsiteY2493" fmla="*/ 8034 h 10000"/>
                <a:gd name="connsiteX2494" fmla="*/ 378 w 10746"/>
                <a:gd name="connsiteY2494" fmla="*/ 8026 h 10000"/>
                <a:gd name="connsiteX2495" fmla="*/ 401 w 10746"/>
                <a:gd name="connsiteY2495" fmla="*/ 8026 h 10000"/>
                <a:gd name="connsiteX2496" fmla="*/ 419 w 10746"/>
                <a:gd name="connsiteY2496" fmla="*/ 8009 h 10000"/>
                <a:gd name="connsiteX2497" fmla="*/ 433 w 10746"/>
                <a:gd name="connsiteY2497" fmla="*/ 8034 h 10000"/>
                <a:gd name="connsiteX2498" fmla="*/ 442 w 10746"/>
                <a:gd name="connsiteY2498" fmla="*/ 8060 h 10000"/>
                <a:gd name="connsiteX2499" fmla="*/ 442 w 10746"/>
                <a:gd name="connsiteY2499" fmla="*/ 8077 h 10000"/>
                <a:gd name="connsiteX2500" fmla="*/ 461 w 10746"/>
                <a:gd name="connsiteY2500" fmla="*/ 8111 h 10000"/>
                <a:gd name="connsiteX2501" fmla="*/ 461 w 10746"/>
                <a:gd name="connsiteY2501" fmla="*/ 8137 h 10000"/>
                <a:gd name="connsiteX2502" fmla="*/ 447 w 10746"/>
                <a:gd name="connsiteY2502" fmla="*/ 8145 h 10000"/>
                <a:gd name="connsiteX2503" fmla="*/ 442 w 10746"/>
                <a:gd name="connsiteY2503" fmla="*/ 8145 h 10000"/>
                <a:gd name="connsiteX2504" fmla="*/ 442 w 10746"/>
                <a:gd name="connsiteY2504" fmla="*/ 8162 h 10000"/>
                <a:gd name="connsiteX2505" fmla="*/ 442 w 10746"/>
                <a:gd name="connsiteY2505" fmla="*/ 8171 h 10000"/>
                <a:gd name="connsiteX2506" fmla="*/ 447 w 10746"/>
                <a:gd name="connsiteY2506" fmla="*/ 8214 h 10000"/>
                <a:gd name="connsiteX2507" fmla="*/ 465 w 10746"/>
                <a:gd name="connsiteY2507" fmla="*/ 8231 h 10000"/>
                <a:gd name="connsiteX2508" fmla="*/ 488 w 10746"/>
                <a:gd name="connsiteY2508" fmla="*/ 8231 h 10000"/>
                <a:gd name="connsiteX2509" fmla="*/ 493 w 10746"/>
                <a:gd name="connsiteY2509" fmla="*/ 8231 h 10000"/>
                <a:gd name="connsiteX2510" fmla="*/ 502 w 10746"/>
                <a:gd name="connsiteY2510" fmla="*/ 8231 h 10000"/>
                <a:gd name="connsiteX2511" fmla="*/ 507 w 10746"/>
                <a:gd name="connsiteY2511" fmla="*/ 8248 h 10000"/>
                <a:gd name="connsiteX2512" fmla="*/ 521 w 10746"/>
                <a:gd name="connsiteY2512" fmla="*/ 8274 h 10000"/>
                <a:gd name="connsiteX2513" fmla="*/ 525 w 10746"/>
                <a:gd name="connsiteY2513" fmla="*/ 8333 h 10000"/>
                <a:gd name="connsiteX2514" fmla="*/ 525 w 10746"/>
                <a:gd name="connsiteY2514" fmla="*/ 8359 h 10000"/>
                <a:gd name="connsiteX2515" fmla="*/ 525 w 10746"/>
                <a:gd name="connsiteY2515" fmla="*/ 8368 h 10000"/>
                <a:gd name="connsiteX2516" fmla="*/ 548 w 10746"/>
                <a:gd name="connsiteY2516" fmla="*/ 8393 h 10000"/>
                <a:gd name="connsiteX2517" fmla="*/ 553 w 10746"/>
                <a:gd name="connsiteY2517" fmla="*/ 8385 h 10000"/>
                <a:gd name="connsiteX2518" fmla="*/ 562 w 10746"/>
                <a:gd name="connsiteY2518" fmla="*/ 8385 h 10000"/>
                <a:gd name="connsiteX2519" fmla="*/ 576 w 10746"/>
                <a:gd name="connsiteY2519" fmla="*/ 8385 h 10000"/>
                <a:gd name="connsiteX2520" fmla="*/ 585 w 10746"/>
                <a:gd name="connsiteY2520" fmla="*/ 8410 h 10000"/>
                <a:gd name="connsiteX2521" fmla="*/ 594 w 10746"/>
                <a:gd name="connsiteY2521" fmla="*/ 8410 h 10000"/>
                <a:gd name="connsiteX2522" fmla="*/ 608 w 10746"/>
                <a:gd name="connsiteY2522" fmla="*/ 8410 h 10000"/>
                <a:gd name="connsiteX2523" fmla="*/ 654 w 10746"/>
                <a:gd name="connsiteY2523" fmla="*/ 8385 h 10000"/>
                <a:gd name="connsiteX2524" fmla="*/ 659 w 10746"/>
                <a:gd name="connsiteY2524" fmla="*/ 8385 h 10000"/>
                <a:gd name="connsiteX2525" fmla="*/ 696 w 10746"/>
                <a:gd name="connsiteY2525" fmla="*/ 8470 h 10000"/>
                <a:gd name="connsiteX2526" fmla="*/ 700 w 10746"/>
                <a:gd name="connsiteY2526" fmla="*/ 8470 h 10000"/>
                <a:gd name="connsiteX2527" fmla="*/ 710 w 10746"/>
                <a:gd name="connsiteY2527" fmla="*/ 8462 h 10000"/>
                <a:gd name="connsiteX2528" fmla="*/ 714 w 10746"/>
                <a:gd name="connsiteY2528" fmla="*/ 8462 h 10000"/>
                <a:gd name="connsiteX2529" fmla="*/ 724 w 10746"/>
                <a:gd name="connsiteY2529" fmla="*/ 8470 h 10000"/>
                <a:gd name="connsiteX2530" fmla="*/ 733 w 10746"/>
                <a:gd name="connsiteY2530" fmla="*/ 8470 h 10000"/>
                <a:gd name="connsiteX2531" fmla="*/ 742 w 10746"/>
                <a:gd name="connsiteY2531" fmla="*/ 8487 h 10000"/>
                <a:gd name="connsiteX2532" fmla="*/ 747 w 10746"/>
                <a:gd name="connsiteY2532" fmla="*/ 8496 h 10000"/>
                <a:gd name="connsiteX2533" fmla="*/ 770 w 10746"/>
                <a:gd name="connsiteY2533" fmla="*/ 8496 h 10000"/>
                <a:gd name="connsiteX2534" fmla="*/ 783 w 10746"/>
                <a:gd name="connsiteY2534" fmla="*/ 8521 h 10000"/>
                <a:gd name="connsiteX2535" fmla="*/ 797 w 10746"/>
                <a:gd name="connsiteY2535" fmla="*/ 8521 h 10000"/>
                <a:gd name="connsiteX2536" fmla="*/ 806 w 10746"/>
                <a:gd name="connsiteY2536" fmla="*/ 8530 h 10000"/>
                <a:gd name="connsiteX2537" fmla="*/ 829 w 10746"/>
                <a:gd name="connsiteY2537" fmla="*/ 8547 h 10000"/>
                <a:gd name="connsiteX2538" fmla="*/ 834 w 10746"/>
                <a:gd name="connsiteY2538" fmla="*/ 8556 h 10000"/>
                <a:gd name="connsiteX2539" fmla="*/ 829 w 10746"/>
                <a:gd name="connsiteY2539" fmla="*/ 8556 h 10000"/>
                <a:gd name="connsiteX2540" fmla="*/ 834 w 10746"/>
                <a:gd name="connsiteY2540" fmla="*/ 8607 h 10000"/>
                <a:gd name="connsiteX2541" fmla="*/ 829 w 10746"/>
                <a:gd name="connsiteY2541" fmla="*/ 8641 h 10000"/>
                <a:gd name="connsiteX2542" fmla="*/ 806 w 10746"/>
                <a:gd name="connsiteY2542" fmla="*/ 8658 h 10000"/>
                <a:gd name="connsiteX2543" fmla="*/ 816 w 10746"/>
                <a:gd name="connsiteY2543" fmla="*/ 8667 h 10000"/>
                <a:gd name="connsiteX2544" fmla="*/ 820 w 10746"/>
                <a:gd name="connsiteY2544" fmla="*/ 8667 h 10000"/>
                <a:gd name="connsiteX2545" fmla="*/ 829 w 10746"/>
                <a:gd name="connsiteY2545" fmla="*/ 8684 h 10000"/>
                <a:gd name="connsiteX2546" fmla="*/ 806 w 10746"/>
                <a:gd name="connsiteY2546" fmla="*/ 8692 h 10000"/>
                <a:gd name="connsiteX2547" fmla="*/ 802 w 10746"/>
                <a:gd name="connsiteY2547" fmla="*/ 8709 h 10000"/>
                <a:gd name="connsiteX2548" fmla="*/ 802 w 10746"/>
                <a:gd name="connsiteY2548" fmla="*/ 8735 h 10000"/>
                <a:gd name="connsiteX2549" fmla="*/ 806 w 10746"/>
                <a:gd name="connsiteY2549" fmla="*/ 8744 h 10000"/>
                <a:gd name="connsiteX2550" fmla="*/ 816 w 10746"/>
                <a:gd name="connsiteY2550" fmla="*/ 8752 h 10000"/>
                <a:gd name="connsiteX2551" fmla="*/ 806 w 10746"/>
                <a:gd name="connsiteY2551" fmla="*/ 8778 h 10000"/>
                <a:gd name="connsiteX2552" fmla="*/ 820 w 10746"/>
                <a:gd name="connsiteY2552" fmla="*/ 8778 h 10000"/>
                <a:gd name="connsiteX2553" fmla="*/ 806 w 10746"/>
                <a:gd name="connsiteY2553" fmla="*/ 8880 h 10000"/>
                <a:gd name="connsiteX2554" fmla="*/ 797 w 10746"/>
                <a:gd name="connsiteY2554" fmla="*/ 8880 h 10000"/>
                <a:gd name="connsiteX2555" fmla="*/ 783 w 10746"/>
                <a:gd name="connsiteY2555" fmla="*/ 8872 h 10000"/>
                <a:gd name="connsiteX2556" fmla="*/ 770 w 10746"/>
                <a:gd name="connsiteY2556" fmla="*/ 8880 h 10000"/>
                <a:gd name="connsiteX2557" fmla="*/ 756 w 10746"/>
                <a:gd name="connsiteY2557" fmla="*/ 8855 h 10000"/>
                <a:gd name="connsiteX2558" fmla="*/ 733 w 10746"/>
                <a:gd name="connsiteY2558" fmla="*/ 8906 h 10000"/>
                <a:gd name="connsiteX2559" fmla="*/ 714 w 10746"/>
                <a:gd name="connsiteY2559" fmla="*/ 8915 h 10000"/>
                <a:gd name="connsiteX2560" fmla="*/ 710 w 10746"/>
                <a:gd name="connsiteY2560" fmla="*/ 8940 h 10000"/>
                <a:gd name="connsiteX2561" fmla="*/ 710 w 10746"/>
                <a:gd name="connsiteY2561" fmla="*/ 9009 h 10000"/>
                <a:gd name="connsiteX2562" fmla="*/ 728 w 10746"/>
                <a:gd name="connsiteY2562" fmla="*/ 8991 h 10000"/>
                <a:gd name="connsiteX2563" fmla="*/ 733 w 10746"/>
                <a:gd name="connsiteY2563" fmla="*/ 8991 h 10000"/>
                <a:gd name="connsiteX2564" fmla="*/ 747 w 10746"/>
                <a:gd name="connsiteY2564" fmla="*/ 8983 h 10000"/>
                <a:gd name="connsiteX2565" fmla="*/ 760 w 10746"/>
                <a:gd name="connsiteY2565" fmla="*/ 8983 h 10000"/>
                <a:gd name="connsiteX2566" fmla="*/ 770 w 10746"/>
                <a:gd name="connsiteY2566" fmla="*/ 8983 h 10000"/>
                <a:gd name="connsiteX2567" fmla="*/ 770 w 10746"/>
                <a:gd name="connsiteY2567" fmla="*/ 8991 h 10000"/>
                <a:gd name="connsiteX2568" fmla="*/ 783 w 10746"/>
                <a:gd name="connsiteY2568" fmla="*/ 8991 h 10000"/>
                <a:gd name="connsiteX2569" fmla="*/ 783 w 10746"/>
                <a:gd name="connsiteY2569" fmla="*/ 9009 h 10000"/>
                <a:gd name="connsiteX2570" fmla="*/ 783 w 10746"/>
                <a:gd name="connsiteY2570" fmla="*/ 9017 h 10000"/>
                <a:gd name="connsiteX2571" fmla="*/ 770 w 10746"/>
                <a:gd name="connsiteY2571" fmla="*/ 9017 h 10000"/>
                <a:gd name="connsiteX2572" fmla="*/ 724 w 10746"/>
                <a:gd name="connsiteY2572" fmla="*/ 9051 h 10000"/>
                <a:gd name="connsiteX2573" fmla="*/ 724 w 10746"/>
                <a:gd name="connsiteY2573" fmla="*/ 9068 h 10000"/>
                <a:gd name="connsiteX2574" fmla="*/ 728 w 10746"/>
                <a:gd name="connsiteY2574" fmla="*/ 9077 h 10000"/>
                <a:gd name="connsiteX2575" fmla="*/ 724 w 10746"/>
                <a:gd name="connsiteY2575" fmla="*/ 9077 h 10000"/>
                <a:gd name="connsiteX2576" fmla="*/ 710 w 10746"/>
                <a:gd name="connsiteY2576" fmla="*/ 9077 h 10000"/>
                <a:gd name="connsiteX2577" fmla="*/ 682 w 10746"/>
                <a:gd name="connsiteY2577" fmla="*/ 9077 h 10000"/>
                <a:gd name="connsiteX2578" fmla="*/ 673 w 10746"/>
                <a:gd name="connsiteY2578" fmla="*/ 9103 h 10000"/>
                <a:gd name="connsiteX2579" fmla="*/ 687 w 10746"/>
                <a:gd name="connsiteY2579" fmla="*/ 9128 h 10000"/>
                <a:gd name="connsiteX2580" fmla="*/ 700 w 10746"/>
                <a:gd name="connsiteY2580" fmla="*/ 9128 h 10000"/>
                <a:gd name="connsiteX2581" fmla="*/ 728 w 10746"/>
                <a:gd name="connsiteY2581" fmla="*/ 9179 h 10000"/>
                <a:gd name="connsiteX2582" fmla="*/ 724 w 10746"/>
                <a:gd name="connsiteY2582" fmla="*/ 9188 h 10000"/>
                <a:gd name="connsiteX2583" fmla="*/ 710 w 10746"/>
                <a:gd name="connsiteY2583" fmla="*/ 9179 h 10000"/>
                <a:gd name="connsiteX2584" fmla="*/ 700 w 10746"/>
                <a:gd name="connsiteY2584" fmla="*/ 9205 h 10000"/>
                <a:gd name="connsiteX2585" fmla="*/ 696 w 10746"/>
                <a:gd name="connsiteY2585" fmla="*/ 9205 h 10000"/>
                <a:gd name="connsiteX2586" fmla="*/ 654 w 10746"/>
                <a:gd name="connsiteY2586" fmla="*/ 9299 h 10000"/>
                <a:gd name="connsiteX2587" fmla="*/ 622 w 10746"/>
                <a:gd name="connsiteY2587" fmla="*/ 9299 h 10000"/>
                <a:gd name="connsiteX2588" fmla="*/ 613 w 10746"/>
                <a:gd name="connsiteY2588" fmla="*/ 9316 h 10000"/>
                <a:gd name="connsiteX2589" fmla="*/ 613 w 10746"/>
                <a:gd name="connsiteY2589" fmla="*/ 9325 h 10000"/>
                <a:gd name="connsiteX2590" fmla="*/ 608 w 10746"/>
                <a:gd name="connsiteY2590" fmla="*/ 9342 h 10000"/>
                <a:gd name="connsiteX2591" fmla="*/ 636 w 10746"/>
                <a:gd name="connsiteY2591" fmla="*/ 9376 h 10000"/>
                <a:gd name="connsiteX2592" fmla="*/ 641 w 10746"/>
                <a:gd name="connsiteY2592" fmla="*/ 9402 h 10000"/>
                <a:gd name="connsiteX2593" fmla="*/ 654 w 10746"/>
                <a:gd name="connsiteY2593" fmla="*/ 9427 h 10000"/>
                <a:gd name="connsiteX2594" fmla="*/ 668 w 10746"/>
                <a:gd name="connsiteY2594" fmla="*/ 9427 h 10000"/>
                <a:gd name="connsiteX2595" fmla="*/ 668 w 10746"/>
                <a:gd name="connsiteY2595" fmla="*/ 9427 h 10000"/>
                <a:gd name="connsiteX2596" fmla="*/ 774 w 10746"/>
                <a:gd name="connsiteY2596" fmla="*/ 9547 h 10000"/>
                <a:gd name="connsiteX2597" fmla="*/ 797 w 10746"/>
                <a:gd name="connsiteY2597" fmla="*/ 9598 h 10000"/>
                <a:gd name="connsiteX2598" fmla="*/ 802 w 10746"/>
                <a:gd name="connsiteY2598" fmla="*/ 9598 h 10000"/>
                <a:gd name="connsiteX2599" fmla="*/ 816 w 10746"/>
                <a:gd name="connsiteY2599" fmla="*/ 9624 h 10000"/>
                <a:gd name="connsiteX2600" fmla="*/ 843 w 10746"/>
                <a:gd name="connsiteY2600" fmla="*/ 9615 h 10000"/>
                <a:gd name="connsiteX2601" fmla="*/ 857 w 10746"/>
                <a:gd name="connsiteY2601" fmla="*/ 9624 h 10000"/>
                <a:gd name="connsiteX2602" fmla="*/ 862 w 10746"/>
                <a:gd name="connsiteY2602" fmla="*/ 9615 h 10000"/>
                <a:gd name="connsiteX2603" fmla="*/ 880 w 10746"/>
                <a:gd name="connsiteY2603" fmla="*/ 9624 h 10000"/>
                <a:gd name="connsiteX2604" fmla="*/ 889 w 10746"/>
                <a:gd name="connsiteY2604" fmla="*/ 9641 h 10000"/>
                <a:gd name="connsiteX2605" fmla="*/ 935 w 10746"/>
                <a:gd name="connsiteY2605" fmla="*/ 9675 h 10000"/>
                <a:gd name="connsiteX2606" fmla="*/ 977 w 10746"/>
                <a:gd name="connsiteY2606" fmla="*/ 9667 h 10000"/>
                <a:gd name="connsiteX2607" fmla="*/ 995 w 10746"/>
                <a:gd name="connsiteY2607" fmla="*/ 9675 h 10000"/>
                <a:gd name="connsiteX2608" fmla="*/ 1014 w 10746"/>
                <a:gd name="connsiteY2608" fmla="*/ 9675 h 10000"/>
                <a:gd name="connsiteX2609" fmla="*/ 1069 w 10746"/>
                <a:gd name="connsiteY2609" fmla="*/ 9752 h 10000"/>
                <a:gd name="connsiteX2610" fmla="*/ 1074 w 10746"/>
                <a:gd name="connsiteY2610" fmla="*/ 9761 h 10000"/>
                <a:gd name="connsiteX2611" fmla="*/ 1083 w 10746"/>
                <a:gd name="connsiteY2611" fmla="*/ 9778 h 10000"/>
                <a:gd name="connsiteX2612" fmla="*/ 1115 w 10746"/>
                <a:gd name="connsiteY2612" fmla="*/ 9752 h 10000"/>
                <a:gd name="connsiteX2613" fmla="*/ 1129 w 10746"/>
                <a:gd name="connsiteY2613" fmla="*/ 9752 h 10000"/>
                <a:gd name="connsiteX2614" fmla="*/ 1138 w 10746"/>
                <a:gd name="connsiteY2614" fmla="*/ 9761 h 10000"/>
                <a:gd name="connsiteX2615" fmla="*/ 1143 w 10746"/>
                <a:gd name="connsiteY2615" fmla="*/ 9752 h 10000"/>
                <a:gd name="connsiteX2616" fmla="*/ 1161 w 10746"/>
                <a:gd name="connsiteY2616" fmla="*/ 9761 h 10000"/>
                <a:gd name="connsiteX2617" fmla="*/ 1171 w 10746"/>
                <a:gd name="connsiteY2617" fmla="*/ 9778 h 10000"/>
                <a:gd name="connsiteX2618" fmla="*/ 1175 w 10746"/>
                <a:gd name="connsiteY2618" fmla="*/ 9778 h 10000"/>
                <a:gd name="connsiteX2619" fmla="*/ 1189 w 10746"/>
                <a:gd name="connsiteY2619" fmla="*/ 9778 h 10000"/>
                <a:gd name="connsiteX2620" fmla="*/ 1198 w 10746"/>
                <a:gd name="connsiteY2620" fmla="*/ 9786 h 10000"/>
                <a:gd name="connsiteX2621" fmla="*/ 1203 w 10746"/>
                <a:gd name="connsiteY2621" fmla="*/ 9803 h 10000"/>
                <a:gd name="connsiteX2622" fmla="*/ 1198 w 10746"/>
                <a:gd name="connsiteY2622" fmla="*/ 9838 h 10000"/>
                <a:gd name="connsiteX2623" fmla="*/ 1212 w 10746"/>
                <a:gd name="connsiteY2623" fmla="*/ 9863 h 10000"/>
                <a:gd name="connsiteX2624" fmla="*/ 1230 w 10746"/>
                <a:gd name="connsiteY2624" fmla="*/ 9872 h 10000"/>
                <a:gd name="connsiteX2625" fmla="*/ 1249 w 10746"/>
                <a:gd name="connsiteY2625" fmla="*/ 9897 h 10000"/>
                <a:gd name="connsiteX2626" fmla="*/ 1263 w 10746"/>
                <a:gd name="connsiteY2626" fmla="*/ 9897 h 10000"/>
                <a:gd name="connsiteX2627" fmla="*/ 1276 w 10746"/>
                <a:gd name="connsiteY2627" fmla="*/ 9923 h 10000"/>
                <a:gd name="connsiteX2628" fmla="*/ 1281 w 10746"/>
                <a:gd name="connsiteY2628" fmla="*/ 9949 h 10000"/>
                <a:gd name="connsiteX2629" fmla="*/ 1290 w 10746"/>
                <a:gd name="connsiteY2629" fmla="*/ 9949 h 10000"/>
                <a:gd name="connsiteX2630" fmla="*/ 1295 w 10746"/>
                <a:gd name="connsiteY2630" fmla="*/ 10000 h 10000"/>
                <a:gd name="connsiteX2631" fmla="*/ 1332 w 10746"/>
                <a:gd name="connsiteY2631" fmla="*/ 10000 h 10000"/>
                <a:gd name="connsiteX2632" fmla="*/ 1336 w 10746"/>
                <a:gd name="connsiteY2632" fmla="*/ 10000 h 10000"/>
                <a:gd name="connsiteX2633" fmla="*/ 1346 w 10746"/>
                <a:gd name="connsiteY2633" fmla="*/ 9983 h 10000"/>
                <a:gd name="connsiteX2634" fmla="*/ 1350 w 10746"/>
                <a:gd name="connsiteY2634" fmla="*/ 9949 h 10000"/>
                <a:gd name="connsiteX2635" fmla="*/ 1369 w 10746"/>
                <a:gd name="connsiteY2635" fmla="*/ 9940 h 10000"/>
                <a:gd name="connsiteX2636" fmla="*/ 1378 w 10746"/>
                <a:gd name="connsiteY2636" fmla="*/ 9897 h 10000"/>
                <a:gd name="connsiteX2637" fmla="*/ 1369 w 10746"/>
                <a:gd name="connsiteY2637" fmla="*/ 9889 h 10000"/>
                <a:gd name="connsiteX2638" fmla="*/ 1318 w 10746"/>
                <a:gd name="connsiteY2638" fmla="*/ 9701 h 10000"/>
                <a:gd name="connsiteX2639" fmla="*/ 1318 w 10746"/>
                <a:gd name="connsiteY2639" fmla="*/ 9650 h 10000"/>
                <a:gd name="connsiteX2640" fmla="*/ 1323 w 10746"/>
                <a:gd name="connsiteY2640" fmla="*/ 9590 h 10000"/>
                <a:gd name="connsiteX2641" fmla="*/ 1323 w 10746"/>
                <a:gd name="connsiteY2641" fmla="*/ 9564 h 10000"/>
                <a:gd name="connsiteX2642" fmla="*/ 1309 w 10746"/>
                <a:gd name="connsiteY2642" fmla="*/ 9598 h 10000"/>
                <a:gd name="connsiteX2643" fmla="*/ 1309 w 10746"/>
                <a:gd name="connsiteY2643" fmla="*/ 9590 h 10000"/>
                <a:gd name="connsiteX2644" fmla="*/ 1304 w 10746"/>
                <a:gd name="connsiteY2644" fmla="*/ 9547 h 10000"/>
                <a:gd name="connsiteX2645" fmla="*/ 1276 w 10746"/>
                <a:gd name="connsiteY2645" fmla="*/ 9479 h 10000"/>
                <a:gd name="connsiteX2646" fmla="*/ 1263 w 10746"/>
                <a:gd name="connsiteY2646" fmla="*/ 9479 h 10000"/>
                <a:gd name="connsiteX2647" fmla="*/ 1263 w 10746"/>
                <a:gd name="connsiteY2647" fmla="*/ 9453 h 10000"/>
                <a:gd name="connsiteX2648" fmla="*/ 1272 w 10746"/>
                <a:gd name="connsiteY2648" fmla="*/ 9410 h 10000"/>
                <a:gd name="connsiteX2649" fmla="*/ 1272 w 10746"/>
                <a:gd name="connsiteY2649" fmla="*/ 9393 h 10000"/>
                <a:gd name="connsiteX2650" fmla="*/ 1281 w 10746"/>
                <a:gd name="connsiteY2650" fmla="*/ 9368 h 10000"/>
                <a:gd name="connsiteX2651" fmla="*/ 1281 w 10746"/>
                <a:gd name="connsiteY2651" fmla="*/ 9368 h 10000"/>
                <a:gd name="connsiteX2652" fmla="*/ 1290 w 10746"/>
                <a:gd name="connsiteY2652" fmla="*/ 9368 h 10000"/>
                <a:gd name="connsiteX2653" fmla="*/ 1290 w 10746"/>
                <a:gd name="connsiteY2653" fmla="*/ 9342 h 10000"/>
                <a:gd name="connsiteX2654" fmla="*/ 1304 w 10746"/>
                <a:gd name="connsiteY2654" fmla="*/ 9325 h 10000"/>
                <a:gd name="connsiteX2655" fmla="*/ 1309 w 10746"/>
                <a:gd name="connsiteY2655" fmla="*/ 9239 h 10000"/>
                <a:gd name="connsiteX2656" fmla="*/ 1318 w 10746"/>
                <a:gd name="connsiteY2656" fmla="*/ 9256 h 10000"/>
                <a:gd name="connsiteX2657" fmla="*/ 1323 w 10746"/>
                <a:gd name="connsiteY2657" fmla="*/ 9179 h 10000"/>
                <a:gd name="connsiteX2658" fmla="*/ 1309 w 10746"/>
                <a:gd name="connsiteY2658" fmla="*/ 9145 h 10000"/>
                <a:gd name="connsiteX2659" fmla="*/ 1336 w 10746"/>
                <a:gd name="connsiteY2659" fmla="*/ 9154 h 10000"/>
                <a:gd name="connsiteX2660" fmla="*/ 1336 w 10746"/>
                <a:gd name="connsiteY2660" fmla="*/ 9162 h 10000"/>
                <a:gd name="connsiteX2661" fmla="*/ 1350 w 10746"/>
                <a:gd name="connsiteY2661" fmla="*/ 9231 h 10000"/>
                <a:gd name="connsiteX2662" fmla="*/ 1355 w 10746"/>
                <a:gd name="connsiteY2662" fmla="*/ 9231 h 10000"/>
                <a:gd name="connsiteX2663" fmla="*/ 1364 w 10746"/>
                <a:gd name="connsiteY2663" fmla="*/ 9214 h 10000"/>
                <a:gd name="connsiteX2664" fmla="*/ 1369 w 10746"/>
                <a:gd name="connsiteY2664" fmla="*/ 9214 h 10000"/>
                <a:gd name="connsiteX2665" fmla="*/ 1382 w 10746"/>
                <a:gd name="connsiteY2665" fmla="*/ 9154 h 10000"/>
                <a:gd name="connsiteX2666" fmla="*/ 1396 w 10746"/>
                <a:gd name="connsiteY2666" fmla="*/ 9154 h 10000"/>
                <a:gd name="connsiteX2667" fmla="*/ 1382 w 10746"/>
                <a:gd name="connsiteY2667" fmla="*/ 9145 h 10000"/>
                <a:gd name="connsiteX2668" fmla="*/ 1382 w 10746"/>
                <a:gd name="connsiteY2668" fmla="*/ 9128 h 10000"/>
                <a:gd name="connsiteX2669" fmla="*/ 1369 w 10746"/>
                <a:gd name="connsiteY2669" fmla="*/ 9128 h 10000"/>
                <a:gd name="connsiteX2670" fmla="*/ 1364 w 10746"/>
                <a:gd name="connsiteY2670" fmla="*/ 9128 h 10000"/>
                <a:gd name="connsiteX2671" fmla="*/ 1355 w 10746"/>
                <a:gd name="connsiteY2671" fmla="*/ 9120 h 10000"/>
                <a:gd name="connsiteX2672" fmla="*/ 1350 w 10746"/>
                <a:gd name="connsiteY2672" fmla="*/ 9103 h 10000"/>
                <a:gd name="connsiteX2673" fmla="*/ 1355 w 10746"/>
                <a:gd name="connsiteY2673" fmla="*/ 9094 h 10000"/>
                <a:gd name="connsiteX2674" fmla="*/ 1355 w 10746"/>
                <a:gd name="connsiteY2674" fmla="*/ 9068 h 10000"/>
                <a:gd name="connsiteX2675" fmla="*/ 1369 w 10746"/>
                <a:gd name="connsiteY2675" fmla="*/ 9068 h 10000"/>
                <a:gd name="connsiteX2676" fmla="*/ 1378 w 10746"/>
                <a:gd name="connsiteY2676" fmla="*/ 9077 h 10000"/>
                <a:gd name="connsiteX2677" fmla="*/ 1396 w 10746"/>
                <a:gd name="connsiteY2677" fmla="*/ 9068 h 10000"/>
                <a:gd name="connsiteX2678" fmla="*/ 1382 w 10746"/>
                <a:gd name="connsiteY2678" fmla="*/ 8940 h 10000"/>
                <a:gd name="connsiteX2679" fmla="*/ 1378 w 10746"/>
                <a:gd name="connsiteY2679" fmla="*/ 8940 h 10000"/>
                <a:gd name="connsiteX2680" fmla="*/ 1364 w 10746"/>
                <a:gd name="connsiteY2680" fmla="*/ 8889 h 10000"/>
                <a:gd name="connsiteX2681" fmla="*/ 1355 w 10746"/>
                <a:gd name="connsiteY2681" fmla="*/ 8880 h 10000"/>
                <a:gd name="connsiteX2682" fmla="*/ 1323 w 10746"/>
                <a:gd name="connsiteY2682" fmla="*/ 8880 h 10000"/>
                <a:gd name="connsiteX2683" fmla="*/ 1309 w 10746"/>
                <a:gd name="connsiteY2683" fmla="*/ 8880 h 10000"/>
                <a:gd name="connsiteX2684" fmla="*/ 1309 w 10746"/>
                <a:gd name="connsiteY2684" fmla="*/ 8889 h 10000"/>
                <a:gd name="connsiteX2685" fmla="*/ 1295 w 10746"/>
                <a:gd name="connsiteY2685" fmla="*/ 8872 h 10000"/>
                <a:gd name="connsiteX2686" fmla="*/ 1290 w 10746"/>
                <a:gd name="connsiteY2686" fmla="*/ 8855 h 10000"/>
                <a:gd name="connsiteX2687" fmla="*/ 1290 w 10746"/>
                <a:gd name="connsiteY2687" fmla="*/ 8829 h 10000"/>
                <a:gd name="connsiteX2688" fmla="*/ 1290 w 10746"/>
                <a:gd name="connsiteY2688" fmla="*/ 8821 h 10000"/>
                <a:gd name="connsiteX2689" fmla="*/ 1290 w 10746"/>
                <a:gd name="connsiteY2689" fmla="*/ 8803 h 10000"/>
                <a:gd name="connsiteX2690" fmla="*/ 1281 w 10746"/>
                <a:gd name="connsiteY2690" fmla="*/ 8795 h 10000"/>
                <a:gd name="connsiteX2691" fmla="*/ 1249 w 10746"/>
                <a:gd name="connsiteY2691" fmla="*/ 8769 h 10000"/>
                <a:gd name="connsiteX2692" fmla="*/ 1263 w 10746"/>
                <a:gd name="connsiteY2692" fmla="*/ 8667 h 10000"/>
                <a:gd name="connsiteX2693" fmla="*/ 1281 w 10746"/>
                <a:gd name="connsiteY2693" fmla="*/ 8658 h 10000"/>
                <a:gd name="connsiteX2694" fmla="*/ 1290 w 10746"/>
                <a:gd name="connsiteY2694" fmla="*/ 8632 h 10000"/>
                <a:gd name="connsiteX2695" fmla="*/ 1281 w 10746"/>
                <a:gd name="connsiteY2695" fmla="*/ 8615 h 10000"/>
                <a:gd name="connsiteX2696" fmla="*/ 1272 w 10746"/>
                <a:gd name="connsiteY2696" fmla="*/ 8598 h 10000"/>
                <a:gd name="connsiteX2697" fmla="*/ 1281 w 10746"/>
                <a:gd name="connsiteY2697" fmla="*/ 8496 h 10000"/>
                <a:gd name="connsiteX2698" fmla="*/ 1295 w 10746"/>
                <a:gd name="connsiteY2698" fmla="*/ 8470 h 10000"/>
                <a:gd name="connsiteX2699" fmla="*/ 1304 w 10746"/>
                <a:gd name="connsiteY2699" fmla="*/ 8462 h 10000"/>
                <a:gd name="connsiteX2700" fmla="*/ 1304 w 10746"/>
                <a:gd name="connsiteY2700" fmla="*/ 8444 h 10000"/>
                <a:gd name="connsiteX2701" fmla="*/ 1304 w 10746"/>
                <a:gd name="connsiteY2701" fmla="*/ 8419 h 10000"/>
                <a:gd name="connsiteX2702" fmla="*/ 1304 w 10746"/>
                <a:gd name="connsiteY2702" fmla="*/ 8410 h 10000"/>
                <a:gd name="connsiteX2703" fmla="*/ 1309 w 10746"/>
                <a:gd name="connsiteY2703" fmla="*/ 8393 h 10000"/>
                <a:gd name="connsiteX2704" fmla="*/ 1318 w 10746"/>
                <a:gd name="connsiteY2704" fmla="*/ 8385 h 10000"/>
                <a:gd name="connsiteX2705" fmla="*/ 1323 w 10746"/>
                <a:gd name="connsiteY2705" fmla="*/ 8385 h 10000"/>
                <a:gd name="connsiteX2706" fmla="*/ 1332 w 10746"/>
                <a:gd name="connsiteY2706" fmla="*/ 8410 h 10000"/>
                <a:gd name="connsiteX2707" fmla="*/ 1346 w 10746"/>
                <a:gd name="connsiteY2707" fmla="*/ 8419 h 10000"/>
                <a:gd name="connsiteX2708" fmla="*/ 1364 w 10746"/>
                <a:gd name="connsiteY2708" fmla="*/ 8504 h 10000"/>
                <a:gd name="connsiteX2709" fmla="*/ 1369 w 10746"/>
                <a:gd name="connsiteY2709" fmla="*/ 8521 h 10000"/>
                <a:gd name="connsiteX2710" fmla="*/ 1406 w 10746"/>
                <a:gd name="connsiteY2710" fmla="*/ 8470 h 10000"/>
                <a:gd name="connsiteX2711" fmla="*/ 1382 w 10746"/>
                <a:gd name="connsiteY2711" fmla="*/ 8359 h 10000"/>
                <a:gd name="connsiteX2712" fmla="*/ 1392 w 10746"/>
                <a:gd name="connsiteY2712" fmla="*/ 8359 h 10000"/>
                <a:gd name="connsiteX2713" fmla="*/ 1438 w 10746"/>
                <a:gd name="connsiteY2713" fmla="*/ 8308 h 10000"/>
                <a:gd name="connsiteX2714" fmla="*/ 1442 w 10746"/>
                <a:gd name="connsiteY2714" fmla="*/ 8299 h 10000"/>
                <a:gd name="connsiteX2715" fmla="*/ 1442 w 10746"/>
                <a:gd name="connsiteY2715" fmla="*/ 8256 h 10000"/>
                <a:gd name="connsiteX2716" fmla="*/ 1452 w 10746"/>
                <a:gd name="connsiteY2716" fmla="*/ 8256 h 10000"/>
                <a:gd name="connsiteX2717" fmla="*/ 1456 w 10746"/>
                <a:gd name="connsiteY2717" fmla="*/ 8256 h 10000"/>
                <a:gd name="connsiteX2718" fmla="*/ 1470 w 10746"/>
                <a:gd name="connsiteY2718" fmla="*/ 8248 h 10000"/>
                <a:gd name="connsiteX2719" fmla="*/ 1479 w 10746"/>
                <a:gd name="connsiteY2719" fmla="*/ 8231 h 10000"/>
                <a:gd name="connsiteX2720" fmla="*/ 1493 w 10746"/>
                <a:gd name="connsiteY2720" fmla="*/ 8222 h 10000"/>
                <a:gd name="connsiteX2721" fmla="*/ 1498 w 10746"/>
                <a:gd name="connsiteY2721" fmla="*/ 8214 h 10000"/>
                <a:gd name="connsiteX2722" fmla="*/ 1502 w 10746"/>
                <a:gd name="connsiteY2722" fmla="*/ 8197 h 10000"/>
                <a:gd name="connsiteX2723" fmla="*/ 1512 w 10746"/>
                <a:gd name="connsiteY2723" fmla="*/ 8188 h 10000"/>
                <a:gd name="connsiteX2724" fmla="*/ 1516 w 10746"/>
                <a:gd name="connsiteY2724" fmla="*/ 8171 h 10000"/>
                <a:gd name="connsiteX2725" fmla="*/ 1525 w 10746"/>
                <a:gd name="connsiteY2725" fmla="*/ 8162 h 10000"/>
                <a:gd name="connsiteX2726" fmla="*/ 1539 w 10746"/>
                <a:gd name="connsiteY2726" fmla="*/ 8145 h 10000"/>
                <a:gd name="connsiteX2727" fmla="*/ 1558 w 10746"/>
                <a:gd name="connsiteY2727" fmla="*/ 8145 h 10000"/>
                <a:gd name="connsiteX2728" fmla="*/ 1562 w 10746"/>
                <a:gd name="connsiteY2728" fmla="*/ 8188 h 10000"/>
                <a:gd name="connsiteX2729" fmla="*/ 1585 w 10746"/>
                <a:gd name="connsiteY2729" fmla="*/ 8171 h 10000"/>
                <a:gd name="connsiteX2730" fmla="*/ 1590 w 10746"/>
                <a:gd name="connsiteY2730" fmla="*/ 8188 h 10000"/>
                <a:gd name="connsiteX2731" fmla="*/ 1599 w 10746"/>
                <a:gd name="connsiteY2731" fmla="*/ 8171 h 10000"/>
                <a:gd name="connsiteX2732" fmla="*/ 1599 w 10746"/>
                <a:gd name="connsiteY2732" fmla="*/ 8162 h 10000"/>
                <a:gd name="connsiteX2733" fmla="*/ 1604 w 10746"/>
                <a:gd name="connsiteY2733" fmla="*/ 8137 h 10000"/>
                <a:gd name="connsiteX2734" fmla="*/ 1618 w 10746"/>
                <a:gd name="connsiteY2734" fmla="*/ 8145 h 10000"/>
                <a:gd name="connsiteX2735" fmla="*/ 1627 w 10746"/>
                <a:gd name="connsiteY2735" fmla="*/ 8137 h 10000"/>
                <a:gd name="connsiteX2736" fmla="*/ 1631 w 10746"/>
                <a:gd name="connsiteY2736" fmla="*/ 8137 h 10000"/>
                <a:gd name="connsiteX2737" fmla="*/ 1636 w 10746"/>
                <a:gd name="connsiteY2737" fmla="*/ 8171 h 10000"/>
                <a:gd name="connsiteX2738" fmla="*/ 1645 w 10746"/>
                <a:gd name="connsiteY2738" fmla="*/ 8188 h 10000"/>
                <a:gd name="connsiteX2739" fmla="*/ 1664 w 10746"/>
                <a:gd name="connsiteY2739" fmla="*/ 8171 h 10000"/>
                <a:gd name="connsiteX2740" fmla="*/ 1673 w 10746"/>
                <a:gd name="connsiteY2740" fmla="*/ 8188 h 10000"/>
                <a:gd name="connsiteX2741" fmla="*/ 1691 w 10746"/>
                <a:gd name="connsiteY2741" fmla="*/ 8171 h 10000"/>
                <a:gd name="connsiteX2742" fmla="*/ 1705 w 10746"/>
                <a:gd name="connsiteY2742" fmla="*/ 8171 h 10000"/>
                <a:gd name="connsiteX2743" fmla="*/ 1719 w 10746"/>
                <a:gd name="connsiteY2743" fmla="*/ 8197 h 10000"/>
                <a:gd name="connsiteX2744" fmla="*/ 1724 w 10746"/>
                <a:gd name="connsiteY2744" fmla="*/ 8231 h 10000"/>
                <a:gd name="connsiteX2745" fmla="*/ 1751 w 10746"/>
                <a:gd name="connsiteY2745" fmla="*/ 8256 h 10000"/>
                <a:gd name="connsiteX2746" fmla="*/ 1751 w 10746"/>
                <a:gd name="connsiteY2746" fmla="*/ 8274 h 10000"/>
                <a:gd name="connsiteX2747" fmla="*/ 1760 w 10746"/>
                <a:gd name="connsiteY2747" fmla="*/ 8282 h 10000"/>
                <a:gd name="connsiteX2748" fmla="*/ 1770 w 10746"/>
                <a:gd name="connsiteY2748" fmla="*/ 8325 h 10000"/>
                <a:gd name="connsiteX2749" fmla="*/ 1770 w 10746"/>
                <a:gd name="connsiteY2749" fmla="*/ 8350 h 10000"/>
                <a:gd name="connsiteX2750" fmla="*/ 1779 w 10746"/>
                <a:gd name="connsiteY2750" fmla="*/ 8368 h 10000"/>
                <a:gd name="connsiteX2751" fmla="*/ 1783 w 10746"/>
                <a:gd name="connsiteY2751" fmla="*/ 8359 h 10000"/>
                <a:gd name="connsiteX2752" fmla="*/ 1783 w 10746"/>
                <a:gd name="connsiteY2752" fmla="*/ 8308 h 10000"/>
                <a:gd name="connsiteX2753" fmla="*/ 1779 w 10746"/>
                <a:gd name="connsiteY2753" fmla="*/ 8299 h 10000"/>
                <a:gd name="connsiteX2754" fmla="*/ 1783 w 10746"/>
                <a:gd name="connsiteY2754" fmla="*/ 8282 h 10000"/>
                <a:gd name="connsiteX2755" fmla="*/ 1797 w 10746"/>
                <a:gd name="connsiteY2755" fmla="*/ 8274 h 10000"/>
                <a:gd name="connsiteX2756" fmla="*/ 1797 w 10746"/>
                <a:gd name="connsiteY2756" fmla="*/ 8299 h 10000"/>
                <a:gd name="connsiteX2757" fmla="*/ 1806 w 10746"/>
                <a:gd name="connsiteY2757" fmla="*/ 8308 h 10000"/>
                <a:gd name="connsiteX2758" fmla="*/ 1811 w 10746"/>
                <a:gd name="connsiteY2758" fmla="*/ 8325 h 10000"/>
                <a:gd name="connsiteX2759" fmla="*/ 1820 w 10746"/>
                <a:gd name="connsiteY2759" fmla="*/ 8333 h 10000"/>
                <a:gd name="connsiteX2760" fmla="*/ 1853 w 10746"/>
                <a:gd name="connsiteY2760" fmla="*/ 8359 h 10000"/>
                <a:gd name="connsiteX2761" fmla="*/ 1866 w 10746"/>
                <a:gd name="connsiteY2761" fmla="*/ 8359 h 10000"/>
                <a:gd name="connsiteX2762" fmla="*/ 1885 w 10746"/>
                <a:gd name="connsiteY2762" fmla="*/ 8325 h 10000"/>
                <a:gd name="connsiteX2763" fmla="*/ 1885 w 10746"/>
                <a:gd name="connsiteY2763" fmla="*/ 8308 h 10000"/>
                <a:gd name="connsiteX2764" fmla="*/ 1894 w 10746"/>
                <a:gd name="connsiteY2764" fmla="*/ 8299 h 10000"/>
                <a:gd name="connsiteX2765" fmla="*/ 1899 w 10746"/>
                <a:gd name="connsiteY2765" fmla="*/ 8282 h 10000"/>
                <a:gd name="connsiteX2766" fmla="*/ 1912 w 10746"/>
                <a:gd name="connsiteY2766" fmla="*/ 8282 h 10000"/>
                <a:gd name="connsiteX2767" fmla="*/ 1917 w 10746"/>
                <a:gd name="connsiteY2767" fmla="*/ 8299 h 10000"/>
                <a:gd name="connsiteX2768" fmla="*/ 1917 w 10746"/>
                <a:gd name="connsiteY2768" fmla="*/ 8274 h 10000"/>
                <a:gd name="connsiteX2769" fmla="*/ 1940 w 10746"/>
                <a:gd name="connsiteY2769" fmla="*/ 8282 h 10000"/>
                <a:gd name="connsiteX2770" fmla="*/ 1945 w 10746"/>
                <a:gd name="connsiteY2770" fmla="*/ 8274 h 10000"/>
                <a:gd name="connsiteX2771" fmla="*/ 1972 w 10746"/>
                <a:gd name="connsiteY2771" fmla="*/ 8308 h 10000"/>
                <a:gd name="connsiteX2772" fmla="*/ 1986 w 10746"/>
                <a:gd name="connsiteY2772" fmla="*/ 8282 h 10000"/>
                <a:gd name="connsiteX2773" fmla="*/ 1991 w 10746"/>
                <a:gd name="connsiteY2773" fmla="*/ 8274 h 10000"/>
                <a:gd name="connsiteX2774" fmla="*/ 2014 w 10746"/>
                <a:gd name="connsiteY2774" fmla="*/ 8274 h 10000"/>
                <a:gd name="connsiteX2775" fmla="*/ 2018 w 10746"/>
                <a:gd name="connsiteY2775" fmla="*/ 8256 h 10000"/>
                <a:gd name="connsiteX2776" fmla="*/ 2041 w 10746"/>
                <a:gd name="connsiteY2776" fmla="*/ 8274 h 10000"/>
                <a:gd name="connsiteX2777" fmla="*/ 2046 w 10746"/>
                <a:gd name="connsiteY2777" fmla="*/ 8282 h 10000"/>
                <a:gd name="connsiteX2778" fmla="*/ 2046 w 10746"/>
                <a:gd name="connsiteY2778" fmla="*/ 8325 h 10000"/>
                <a:gd name="connsiteX2779" fmla="*/ 2060 w 10746"/>
                <a:gd name="connsiteY2779" fmla="*/ 8350 h 10000"/>
                <a:gd name="connsiteX2780" fmla="*/ 2078 w 10746"/>
                <a:gd name="connsiteY2780" fmla="*/ 8350 h 10000"/>
                <a:gd name="connsiteX2781" fmla="*/ 2092 w 10746"/>
                <a:gd name="connsiteY2781" fmla="*/ 8350 h 10000"/>
                <a:gd name="connsiteX2782" fmla="*/ 2092 w 10746"/>
                <a:gd name="connsiteY2782" fmla="*/ 8350 h 10000"/>
                <a:gd name="connsiteX2783" fmla="*/ 2101 w 10746"/>
                <a:gd name="connsiteY2783" fmla="*/ 8368 h 10000"/>
                <a:gd name="connsiteX2784" fmla="*/ 2120 w 10746"/>
                <a:gd name="connsiteY2784" fmla="*/ 8368 h 10000"/>
                <a:gd name="connsiteX2785" fmla="*/ 2124 w 10746"/>
                <a:gd name="connsiteY2785" fmla="*/ 8359 h 10000"/>
                <a:gd name="connsiteX2786" fmla="*/ 2138 w 10746"/>
                <a:gd name="connsiteY2786" fmla="*/ 8325 h 10000"/>
                <a:gd name="connsiteX2787" fmla="*/ 2147 w 10746"/>
                <a:gd name="connsiteY2787" fmla="*/ 8325 h 10000"/>
                <a:gd name="connsiteX2788" fmla="*/ 2161 w 10746"/>
                <a:gd name="connsiteY2788" fmla="*/ 8350 h 10000"/>
                <a:gd name="connsiteX2789" fmla="*/ 2198 w 10746"/>
                <a:gd name="connsiteY2789" fmla="*/ 8350 h 10000"/>
                <a:gd name="connsiteX2790" fmla="*/ 2207 w 10746"/>
                <a:gd name="connsiteY2790" fmla="*/ 8333 h 10000"/>
                <a:gd name="connsiteX2791" fmla="*/ 2226 w 10746"/>
                <a:gd name="connsiteY2791" fmla="*/ 8325 h 10000"/>
                <a:gd name="connsiteX2792" fmla="*/ 2249 w 10746"/>
                <a:gd name="connsiteY2792" fmla="*/ 8222 h 10000"/>
                <a:gd name="connsiteX2793" fmla="*/ 2235 w 10746"/>
                <a:gd name="connsiteY2793" fmla="*/ 8197 h 10000"/>
                <a:gd name="connsiteX2794" fmla="*/ 2198 w 10746"/>
                <a:gd name="connsiteY2794" fmla="*/ 8197 h 10000"/>
                <a:gd name="connsiteX2795" fmla="*/ 2189 w 10746"/>
                <a:gd name="connsiteY2795" fmla="*/ 8171 h 10000"/>
                <a:gd name="connsiteX2796" fmla="*/ 2161 w 10746"/>
                <a:gd name="connsiteY2796" fmla="*/ 8145 h 10000"/>
                <a:gd name="connsiteX2797" fmla="*/ 2161 w 10746"/>
                <a:gd name="connsiteY2797" fmla="*/ 8137 h 10000"/>
                <a:gd name="connsiteX2798" fmla="*/ 2152 w 10746"/>
                <a:gd name="connsiteY2798" fmla="*/ 8120 h 10000"/>
                <a:gd name="connsiteX2799" fmla="*/ 2138 w 10746"/>
                <a:gd name="connsiteY2799" fmla="*/ 8111 h 10000"/>
                <a:gd name="connsiteX2800" fmla="*/ 2138 w 10746"/>
                <a:gd name="connsiteY2800" fmla="*/ 8094 h 10000"/>
                <a:gd name="connsiteX2801" fmla="*/ 2147 w 10746"/>
                <a:gd name="connsiteY2801" fmla="*/ 8085 h 10000"/>
                <a:gd name="connsiteX2802" fmla="*/ 2161 w 10746"/>
                <a:gd name="connsiteY2802" fmla="*/ 8060 h 10000"/>
                <a:gd name="connsiteX2803" fmla="*/ 2198 w 10746"/>
                <a:gd name="connsiteY2803" fmla="*/ 8034 h 10000"/>
                <a:gd name="connsiteX2804" fmla="*/ 2198 w 10746"/>
                <a:gd name="connsiteY2804" fmla="*/ 8026 h 10000"/>
                <a:gd name="connsiteX2805" fmla="*/ 2198 w 10746"/>
                <a:gd name="connsiteY2805" fmla="*/ 8000 h 10000"/>
                <a:gd name="connsiteX2806" fmla="*/ 2180 w 10746"/>
                <a:gd name="connsiteY2806" fmla="*/ 7940 h 10000"/>
                <a:gd name="connsiteX2807" fmla="*/ 2189 w 10746"/>
                <a:gd name="connsiteY2807" fmla="*/ 7940 h 10000"/>
                <a:gd name="connsiteX2808" fmla="*/ 2198 w 10746"/>
                <a:gd name="connsiteY2808" fmla="*/ 7923 h 10000"/>
                <a:gd name="connsiteX2809" fmla="*/ 2198 w 10746"/>
                <a:gd name="connsiteY2809" fmla="*/ 7897 h 10000"/>
                <a:gd name="connsiteX2810" fmla="*/ 2207 w 10746"/>
                <a:gd name="connsiteY2810" fmla="*/ 7889 h 10000"/>
                <a:gd name="connsiteX2811" fmla="*/ 2221 w 10746"/>
                <a:gd name="connsiteY2811" fmla="*/ 7889 h 10000"/>
                <a:gd name="connsiteX2812" fmla="*/ 2226 w 10746"/>
                <a:gd name="connsiteY2812" fmla="*/ 7897 h 10000"/>
                <a:gd name="connsiteX2813" fmla="*/ 2235 w 10746"/>
                <a:gd name="connsiteY2813" fmla="*/ 7889 h 10000"/>
                <a:gd name="connsiteX2814" fmla="*/ 2249 w 10746"/>
                <a:gd name="connsiteY2814" fmla="*/ 7897 h 10000"/>
                <a:gd name="connsiteX2815" fmla="*/ 2267 w 10746"/>
                <a:gd name="connsiteY2815" fmla="*/ 7897 h 10000"/>
                <a:gd name="connsiteX2816" fmla="*/ 2272 w 10746"/>
                <a:gd name="connsiteY2816" fmla="*/ 7889 h 10000"/>
                <a:gd name="connsiteX2817" fmla="*/ 2281 w 10746"/>
                <a:gd name="connsiteY2817" fmla="*/ 7872 h 10000"/>
                <a:gd name="connsiteX2818" fmla="*/ 2272 w 10746"/>
                <a:gd name="connsiteY2818" fmla="*/ 7846 h 10000"/>
                <a:gd name="connsiteX2819" fmla="*/ 2253 w 10746"/>
                <a:gd name="connsiteY2819" fmla="*/ 7838 h 10000"/>
                <a:gd name="connsiteX2820" fmla="*/ 2221 w 10746"/>
                <a:gd name="connsiteY2820" fmla="*/ 7821 h 10000"/>
                <a:gd name="connsiteX2821" fmla="*/ 2212 w 10746"/>
                <a:gd name="connsiteY2821" fmla="*/ 7812 h 10000"/>
                <a:gd name="connsiteX2822" fmla="*/ 2212 w 10746"/>
                <a:gd name="connsiteY2822" fmla="*/ 7803 h 10000"/>
                <a:gd name="connsiteX2823" fmla="*/ 2221 w 10746"/>
                <a:gd name="connsiteY2823" fmla="*/ 7803 h 10000"/>
                <a:gd name="connsiteX2824" fmla="*/ 2235 w 10746"/>
                <a:gd name="connsiteY2824" fmla="*/ 7786 h 10000"/>
                <a:gd name="connsiteX2825" fmla="*/ 2240 w 10746"/>
                <a:gd name="connsiteY2825" fmla="*/ 7778 h 10000"/>
                <a:gd name="connsiteX2826" fmla="*/ 2226 w 10746"/>
                <a:gd name="connsiteY2826" fmla="*/ 7761 h 10000"/>
                <a:gd name="connsiteX2827" fmla="*/ 2221 w 10746"/>
                <a:gd name="connsiteY2827" fmla="*/ 7778 h 10000"/>
                <a:gd name="connsiteX2828" fmla="*/ 2198 w 10746"/>
                <a:gd name="connsiteY2828" fmla="*/ 7778 h 10000"/>
                <a:gd name="connsiteX2829" fmla="*/ 2198 w 10746"/>
                <a:gd name="connsiteY2829" fmla="*/ 7752 h 10000"/>
                <a:gd name="connsiteX2830" fmla="*/ 2207 w 10746"/>
                <a:gd name="connsiteY2830" fmla="*/ 7735 h 10000"/>
                <a:gd name="connsiteX2831" fmla="*/ 2212 w 10746"/>
                <a:gd name="connsiteY2831" fmla="*/ 7726 h 10000"/>
                <a:gd name="connsiteX2832" fmla="*/ 2198 w 10746"/>
                <a:gd name="connsiteY2832" fmla="*/ 7692 h 10000"/>
                <a:gd name="connsiteX2833" fmla="*/ 2221 w 10746"/>
                <a:gd name="connsiteY2833" fmla="*/ 7692 h 10000"/>
                <a:gd name="connsiteX2834" fmla="*/ 2221 w 10746"/>
                <a:gd name="connsiteY2834" fmla="*/ 7675 h 10000"/>
                <a:gd name="connsiteX2835" fmla="*/ 2235 w 10746"/>
                <a:gd name="connsiteY2835" fmla="*/ 7675 h 10000"/>
                <a:gd name="connsiteX2836" fmla="*/ 2240 w 10746"/>
                <a:gd name="connsiteY2836" fmla="*/ 7692 h 10000"/>
                <a:gd name="connsiteX2837" fmla="*/ 2249 w 10746"/>
                <a:gd name="connsiteY2837" fmla="*/ 7692 h 10000"/>
                <a:gd name="connsiteX2838" fmla="*/ 2258 w 10746"/>
                <a:gd name="connsiteY2838" fmla="*/ 7692 h 10000"/>
                <a:gd name="connsiteX2839" fmla="*/ 2267 w 10746"/>
                <a:gd name="connsiteY2839" fmla="*/ 7692 h 10000"/>
                <a:gd name="connsiteX2840" fmla="*/ 2295 w 10746"/>
                <a:gd name="connsiteY2840" fmla="*/ 7692 h 10000"/>
                <a:gd name="connsiteX2841" fmla="*/ 2300 w 10746"/>
                <a:gd name="connsiteY2841" fmla="*/ 7701 h 10000"/>
                <a:gd name="connsiteX2842" fmla="*/ 2313 w 10746"/>
                <a:gd name="connsiteY2842" fmla="*/ 7675 h 10000"/>
                <a:gd name="connsiteX2843" fmla="*/ 2323 w 10746"/>
                <a:gd name="connsiteY2843" fmla="*/ 7675 h 10000"/>
                <a:gd name="connsiteX2844" fmla="*/ 2341 w 10746"/>
                <a:gd name="connsiteY2844" fmla="*/ 7675 h 10000"/>
                <a:gd name="connsiteX2845" fmla="*/ 2346 w 10746"/>
                <a:gd name="connsiteY2845" fmla="*/ 7667 h 10000"/>
                <a:gd name="connsiteX2846" fmla="*/ 2359 w 10746"/>
                <a:gd name="connsiteY2846" fmla="*/ 7650 h 10000"/>
                <a:gd name="connsiteX2847" fmla="*/ 2373 w 10746"/>
                <a:gd name="connsiteY2847" fmla="*/ 7624 h 10000"/>
                <a:gd name="connsiteX2848" fmla="*/ 2382 w 10746"/>
                <a:gd name="connsiteY2848" fmla="*/ 7641 h 10000"/>
                <a:gd name="connsiteX2849" fmla="*/ 2396 w 10746"/>
                <a:gd name="connsiteY2849" fmla="*/ 7650 h 10000"/>
                <a:gd name="connsiteX2850" fmla="*/ 2401 w 10746"/>
                <a:gd name="connsiteY2850" fmla="*/ 7650 h 10000"/>
                <a:gd name="connsiteX2851" fmla="*/ 2401 w 10746"/>
                <a:gd name="connsiteY2851" fmla="*/ 7624 h 10000"/>
                <a:gd name="connsiteX2852" fmla="*/ 2419 w 10746"/>
                <a:gd name="connsiteY2852" fmla="*/ 7624 h 10000"/>
                <a:gd name="connsiteX2853" fmla="*/ 2433 w 10746"/>
                <a:gd name="connsiteY2853" fmla="*/ 7615 h 10000"/>
                <a:gd name="connsiteX2854" fmla="*/ 2442 w 10746"/>
                <a:gd name="connsiteY2854" fmla="*/ 7615 h 10000"/>
                <a:gd name="connsiteX2855" fmla="*/ 2447 w 10746"/>
                <a:gd name="connsiteY2855" fmla="*/ 7598 h 10000"/>
                <a:gd name="connsiteX2856" fmla="*/ 2461 w 10746"/>
                <a:gd name="connsiteY2856" fmla="*/ 7598 h 10000"/>
                <a:gd name="connsiteX2857" fmla="*/ 2465 w 10746"/>
                <a:gd name="connsiteY2857" fmla="*/ 7615 h 10000"/>
                <a:gd name="connsiteX2858" fmla="*/ 2479 w 10746"/>
                <a:gd name="connsiteY2858" fmla="*/ 7564 h 10000"/>
                <a:gd name="connsiteX2859" fmla="*/ 2488 w 10746"/>
                <a:gd name="connsiteY2859" fmla="*/ 7556 h 10000"/>
                <a:gd name="connsiteX2860" fmla="*/ 2493 w 10746"/>
                <a:gd name="connsiteY2860" fmla="*/ 7556 h 10000"/>
                <a:gd name="connsiteX2861" fmla="*/ 2507 w 10746"/>
                <a:gd name="connsiteY2861" fmla="*/ 7556 h 10000"/>
                <a:gd name="connsiteX2862" fmla="*/ 2530 w 10746"/>
                <a:gd name="connsiteY2862" fmla="*/ 7538 h 10000"/>
                <a:gd name="connsiteX2863" fmla="*/ 2530 w 10746"/>
                <a:gd name="connsiteY2863" fmla="*/ 7556 h 10000"/>
                <a:gd name="connsiteX2864" fmla="*/ 2641 w 10746"/>
                <a:gd name="connsiteY2864" fmla="*/ 7504 h 10000"/>
                <a:gd name="connsiteX2865" fmla="*/ 2654 w 10746"/>
                <a:gd name="connsiteY2865" fmla="*/ 7487 h 10000"/>
                <a:gd name="connsiteX2866" fmla="*/ 2664 w 10746"/>
                <a:gd name="connsiteY2866" fmla="*/ 7487 h 10000"/>
                <a:gd name="connsiteX2867" fmla="*/ 2668 w 10746"/>
                <a:gd name="connsiteY2867" fmla="*/ 7479 h 10000"/>
                <a:gd name="connsiteX2868" fmla="*/ 2673 w 10746"/>
                <a:gd name="connsiteY2868" fmla="*/ 7462 h 10000"/>
                <a:gd name="connsiteX2869" fmla="*/ 2673 w 10746"/>
                <a:gd name="connsiteY2869" fmla="*/ 7427 h 10000"/>
                <a:gd name="connsiteX2870" fmla="*/ 2687 w 10746"/>
                <a:gd name="connsiteY2870" fmla="*/ 7436 h 10000"/>
                <a:gd name="connsiteX2871" fmla="*/ 2696 w 10746"/>
                <a:gd name="connsiteY2871" fmla="*/ 7427 h 10000"/>
                <a:gd name="connsiteX2872" fmla="*/ 2700 w 10746"/>
                <a:gd name="connsiteY2872" fmla="*/ 7419 h 10000"/>
                <a:gd name="connsiteX2873" fmla="*/ 2710 w 10746"/>
                <a:gd name="connsiteY2873" fmla="*/ 7402 h 10000"/>
                <a:gd name="connsiteX2874" fmla="*/ 2724 w 10746"/>
                <a:gd name="connsiteY2874" fmla="*/ 7402 h 10000"/>
                <a:gd name="connsiteX2875" fmla="*/ 2724 w 10746"/>
                <a:gd name="connsiteY2875" fmla="*/ 7393 h 10000"/>
                <a:gd name="connsiteX2876" fmla="*/ 2737 w 10746"/>
                <a:gd name="connsiteY2876" fmla="*/ 7393 h 10000"/>
                <a:gd name="connsiteX2877" fmla="*/ 2742 w 10746"/>
                <a:gd name="connsiteY2877" fmla="*/ 7402 h 10000"/>
                <a:gd name="connsiteX2878" fmla="*/ 2747 w 10746"/>
                <a:gd name="connsiteY2878" fmla="*/ 7402 h 10000"/>
                <a:gd name="connsiteX2879" fmla="*/ 2760 w 10746"/>
                <a:gd name="connsiteY2879" fmla="*/ 7402 h 10000"/>
                <a:gd name="connsiteX2880" fmla="*/ 2770 w 10746"/>
                <a:gd name="connsiteY2880" fmla="*/ 7402 h 10000"/>
                <a:gd name="connsiteX2881" fmla="*/ 2774 w 10746"/>
                <a:gd name="connsiteY2881" fmla="*/ 7402 h 10000"/>
                <a:gd name="connsiteX2882" fmla="*/ 2783 w 10746"/>
                <a:gd name="connsiteY2882" fmla="*/ 7419 h 10000"/>
                <a:gd name="connsiteX2883" fmla="*/ 2802 w 10746"/>
                <a:gd name="connsiteY2883" fmla="*/ 7436 h 10000"/>
                <a:gd name="connsiteX2884" fmla="*/ 2816 w 10746"/>
                <a:gd name="connsiteY2884" fmla="*/ 7419 h 10000"/>
                <a:gd name="connsiteX2885" fmla="*/ 2834 w 10746"/>
                <a:gd name="connsiteY2885" fmla="*/ 7419 h 10000"/>
                <a:gd name="connsiteX2886" fmla="*/ 2843 w 10746"/>
                <a:gd name="connsiteY2886" fmla="*/ 7419 h 10000"/>
                <a:gd name="connsiteX2887" fmla="*/ 2848 w 10746"/>
                <a:gd name="connsiteY2887" fmla="*/ 7436 h 10000"/>
                <a:gd name="connsiteX2888" fmla="*/ 2857 w 10746"/>
                <a:gd name="connsiteY2888" fmla="*/ 7453 h 10000"/>
                <a:gd name="connsiteX2889" fmla="*/ 2857 w 10746"/>
                <a:gd name="connsiteY2889" fmla="*/ 7504 h 10000"/>
                <a:gd name="connsiteX2890" fmla="*/ 2862 w 10746"/>
                <a:gd name="connsiteY2890" fmla="*/ 7530 h 10000"/>
                <a:gd name="connsiteX2891" fmla="*/ 2876 w 10746"/>
                <a:gd name="connsiteY2891" fmla="*/ 7538 h 10000"/>
                <a:gd name="connsiteX2892" fmla="*/ 2871 w 10746"/>
                <a:gd name="connsiteY2892" fmla="*/ 7564 h 10000"/>
                <a:gd name="connsiteX2893" fmla="*/ 2871 w 10746"/>
                <a:gd name="connsiteY2893" fmla="*/ 7598 h 10000"/>
                <a:gd name="connsiteX2894" fmla="*/ 2857 w 10746"/>
                <a:gd name="connsiteY2894" fmla="*/ 7624 h 10000"/>
                <a:gd name="connsiteX2895" fmla="*/ 2862 w 10746"/>
                <a:gd name="connsiteY2895" fmla="*/ 7641 h 10000"/>
                <a:gd name="connsiteX2896" fmla="*/ 2871 w 10746"/>
                <a:gd name="connsiteY2896" fmla="*/ 7667 h 10000"/>
                <a:gd name="connsiteX2897" fmla="*/ 2880 w 10746"/>
                <a:gd name="connsiteY2897" fmla="*/ 7650 h 10000"/>
                <a:gd name="connsiteX2898" fmla="*/ 2894 w 10746"/>
                <a:gd name="connsiteY2898" fmla="*/ 7667 h 10000"/>
                <a:gd name="connsiteX2899" fmla="*/ 2903 w 10746"/>
                <a:gd name="connsiteY2899" fmla="*/ 7667 h 10000"/>
                <a:gd name="connsiteX2900" fmla="*/ 2908 w 10746"/>
                <a:gd name="connsiteY2900" fmla="*/ 7641 h 10000"/>
                <a:gd name="connsiteX2901" fmla="*/ 2917 w 10746"/>
                <a:gd name="connsiteY2901" fmla="*/ 7641 h 10000"/>
                <a:gd name="connsiteX2902" fmla="*/ 2922 w 10746"/>
                <a:gd name="connsiteY2902" fmla="*/ 7641 h 10000"/>
                <a:gd name="connsiteX2903" fmla="*/ 2931 w 10746"/>
                <a:gd name="connsiteY2903" fmla="*/ 7615 h 10000"/>
                <a:gd name="connsiteX2904" fmla="*/ 2935 w 10746"/>
                <a:gd name="connsiteY2904" fmla="*/ 7615 h 10000"/>
                <a:gd name="connsiteX2905" fmla="*/ 2945 w 10746"/>
                <a:gd name="connsiteY2905" fmla="*/ 7650 h 10000"/>
                <a:gd name="connsiteX2906" fmla="*/ 2949 w 10746"/>
                <a:gd name="connsiteY2906" fmla="*/ 7667 h 10000"/>
                <a:gd name="connsiteX2907" fmla="*/ 2949 w 10746"/>
                <a:gd name="connsiteY2907" fmla="*/ 7675 h 10000"/>
                <a:gd name="connsiteX2908" fmla="*/ 2945 w 10746"/>
                <a:gd name="connsiteY2908" fmla="*/ 7692 h 10000"/>
                <a:gd name="connsiteX2909" fmla="*/ 2963 w 10746"/>
                <a:gd name="connsiteY2909" fmla="*/ 7701 h 10000"/>
                <a:gd name="connsiteX2910" fmla="*/ 2963 w 10746"/>
                <a:gd name="connsiteY2910" fmla="*/ 7675 h 10000"/>
                <a:gd name="connsiteX2911" fmla="*/ 2954 w 10746"/>
                <a:gd name="connsiteY2911" fmla="*/ 7667 h 10000"/>
                <a:gd name="connsiteX2912" fmla="*/ 2963 w 10746"/>
                <a:gd name="connsiteY2912" fmla="*/ 7667 h 10000"/>
                <a:gd name="connsiteX2913" fmla="*/ 2982 w 10746"/>
                <a:gd name="connsiteY2913" fmla="*/ 7667 h 10000"/>
                <a:gd name="connsiteX2914" fmla="*/ 2991 w 10746"/>
                <a:gd name="connsiteY2914" fmla="*/ 7675 h 10000"/>
                <a:gd name="connsiteX2915" fmla="*/ 2995 w 10746"/>
                <a:gd name="connsiteY2915" fmla="*/ 7692 h 10000"/>
                <a:gd name="connsiteX2916" fmla="*/ 3009 w 10746"/>
                <a:gd name="connsiteY2916" fmla="*/ 7701 h 10000"/>
                <a:gd name="connsiteX2917" fmla="*/ 3018 w 10746"/>
                <a:gd name="connsiteY2917" fmla="*/ 7701 h 10000"/>
                <a:gd name="connsiteX2918" fmla="*/ 3023 w 10746"/>
                <a:gd name="connsiteY2918" fmla="*/ 7692 h 10000"/>
                <a:gd name="connsiteX2919" fmla="*/ 3028 w 10746"/>
                <a:gd name="connsiteY2919" fmla="*/ 7675 h 10000"/>
                <a:gd name="connsiteX2920" fmla="*/ 3037 w 10746"/>
                <a:gd name="connsiteY2920" fmla="*/ 7692 h 10000"/>
                <a:gd name="connsiteX2921" fmla="*/ 3028 w 10746"/>
                <a:gd name="connsiteY2921" fmla="*/ 7709 h 10000"/>
                <a:gd name="connsiteX2922" fmla="*/ 3023 w 10746"/>
                <a:gd name="connsiteY2922" fmla="*/ 7709 h 10000"/>
                <a:gd name="connsiteX2923" fmla="*/ 3018 w 10746"/>
                <a:gd name="connsiteY2923" fmla="*/ 7726 h 10000"/>
                <a:gd name="connsiteX2924" fmla="*/ 3009 w 10746"/>
                <a:gd name="connsiteY2924" fmla="*/ 7735 h 10000"/>
                <a:gd name="connsiteX2925" fmla="*/ 3009 w 10746"/>
                <a:gd name="connsiteY2925" fmla="*/ 7761 h 10000"/>
                <a:gd name="connsiteX2926" fmla="*/ 3009 w 10746"/>
                <a:gd name="connsiteY2926" fmla="*/ 7778 h 10000"/>
                <a:gd name="connsiteX2927" fmla="*/ 3018 w 10746"/>
                <a:gd name="connsiteY2927" fmla="*/ 7786 h 10000"/>
                <a:gd name="connsiteX2928" fmla="*/ 3023 w 10746"/>
                <a:gd name="connsiteY2928" fmla="*/ 7786 h 10000"/>
                <a:gd name="connsiteX2929" fmla="*/ 3028 w 10746"/>
                <a:gd name="connsiteY2929" fmla="*/ 7778 h 10000"/>
                <a:gd name="connsiteX2930" fmla="*/ 3051 w 10746"/>
                <a:gd name="connsiteY2930" fmla="*/ 7761 h 10000"/>
                <a:gd name="connsiteX2931" fmla="*/ 3055 w 10746"/>
                <a:gd name="connsiteY2931" fmla="*/ 7778 h 10000"/>
                <a:gd name="connsiteX2932" fmla="*/ 3065 w 10746"/>
                <a:gd name="connsiteY2932" fmla="*/ 7761 h 10000"/>
                <a:gd name="connsiteX2933" fmla="*/ 3069 w 10746"/>
                <a:gd name="connsiteY2933" fmla="*/ 7786 h 10000"/>
                <a:gd name="connsiteX2934" fmla="*/ 3083 w 10746"/>
                <a:gd name="connsiteY2934" fmla="*/ 7786 h 10000"/>
                <a:gd name="connsiteX2935" fmla="*/ 3078 w 10746"/>
                <a:gd name="connsiteY2935" fmla="*/ 7761 h 10000"/>
                <a:gd name="connsiteX2936" fmla="*/ 3083 w 10746"/>
                <a:gd name="connsiteY2936" fmla="*/ 7752 h 10000"/>
                <a:gd name="connsiteX2937" fmla="*/ 3097 w 10746"/>
                <a:gd name="connsiteY2937" fmla="*/ 7752 h 10000"/>
                <a:gd name="connsiteX2938" fmla="*/ 3111 w 10746"/>
                <a:gd name="connsiteY2938" fmla="*/ 7726 h 10000"/>
                <a:gd name="connsiteX2939" fmla="*/ 3124 w 10746"/>
                <a:gd name="connsiteY2939" fmla="*/ 7709 h 10000"/>
                <a:gd name="connsiteX2940" fmla="*/ 3143 w 10746"/>
                <a:gd name="connsiteY2940" fmla="*/ 7692 h 10000"/>
                <a:gd name="connsiteX2941" fmla="*/ 3152 w 10746"/>
                <a:gd name="connsiteY2941" fmla="*/ 7667 h 10000"/>
                <a:gd name="connsiteX2942" fmla="*/ 3157 w 10746"/>
                <a:gd name="connsiteY2942" fmla="*/ 7650 h 10000"/>
                <a:gd name="connsiteX2943" fmla="*/ 3161 w 10746"/>
                <a:gd name="connsiteY2943" fmla="*/ 7650 h 10000"/>
                <a:gd name="connsiteX2944" fmla="*/ 3189 w 10746"/>
                <a:gd name="connsiteY2944" fmla="*/ 7641 h 10000"/>
                <a:gd name="connsiteX2945" fmla="*/ 3198 w 10746"/>
                <a:gd name="connsiteY2945" fmla="*/ 7624 h 10000"/>
                <a:gd name="connsiteX2946" fmla="*/ 3217 w 10746"/>
                <a:gd name="connsiteY2946" fmla="*/ 7615 h 10000"/>
                <a:gd name="connsiteX2947" fmla="*/ 3235 w 10746"/>
                <a:gd name="connsiteY2947" fmla="*/ 7598 h 10000"/>
                <a:gd name="connsiteX2948" fmla="*/ 3235 w 10746"/>
                <a:gd name="connsiteY2948" fmla="*/ 7615 h 10000"/>
                <a:gd name="connsiteX2949" fmla="*/ 3235 w 10746"/>
                <a:gd name="connsiteY2949" fmla="*/ 7641 h 10000"/>
                <a:gd name="connsiteX2950" fmla="*/ 3235 w 10746"/>
                <a:gd name="connsiteY2950" fmla="*/ 7650 h 10000"/>
                <a:gd name="connsiteX2951" fmla="*/ 3226 w 10746"/>
                <a:gd name="connsiteY2951" fmla="*/ 7650 h 10000"/>
                <a:gd name="connsiteX2952" fmla="*/ 3217 w 10746"/>
                <a:gd name="connsiteY2952" fmla="*/ 7650 h 10000"/>
                <a:gd name="connsiteX2953" fmla="*/ 3212 w 10746"/>
                <a:gd name="connsiteY2953" fmla="*/ 7675 h 10000"/>
                <a:gd name="connsiteX2954" fmla="*/ 3212 w 10746"/>
                <a:gd name="connsiteY2954" fmla="*/ 7675 h 10000"/>
                <a:gd name="connsiteX0" fmla="*/ 3212 w 10746"/>
                <a:gd name="connsiteY0" fmla="*/ 7675 h 10000"/>
                <a:gd name="connsiteX1" fmla="*/ 3217 w 10746"/>
                <a:gd name="connsiteY1" fmla="*/ 7692 h 10000"/>
                <a:gd name="connsiteX2" fmla="*/ 3226 w 10746"/>
                <a:gd name="connsiteY2" fmla="*/ 7692 h 10000"/>
                <a:gd name="connsiteX3" fmla="*/ 3309 w 10746"/>
                <a:gd name="connsiteY3" fmla="*/ 7838 h 10000"/>
                <a:gd name="connsiteX4" fmla="*/ 3452 w 10746"/>
                <a:gd name="connsiteY4" fmla="*/ 8325 h 10000"/>
                <a:gd name="connsiteX5" fmla="*/ 3470 w 10746"/>
                <a:gd name="connsiteY5" fmla="*/ 8299 h 10000"/>
                <a:gd name="connsiteX6" fmla="*/ 3470 w 10746"/>
                <a:gd name="connsiteY6" fmla="*/ 8282 h 10000"/>
                <a:gd name="connsiteX7" fmla="*/ 3470 w 10746"/>
                <a:gd name="connsiteY7" fmla="*/ 8274 h 10000"/>
                <a:gd name="connsiteX8" fmla="*/ 3484 w 10746"/>
                <a:gd name="connsiteY8" fmla="*/ 8231 h 10000"/>
                <a:gd name="connsiteX9" fmla="*/ 3498 w 10746"/>
                <a:gd name="connsiteY9" fmla="*/ 8231 h 10000"/>
                <a:gd name="connsiteX10" fmla="*/ 3498 w 10746"/>
                <a:gd name="connsiteY10" fmla="*/ 8248 h 10000"/>
                <a:gd name="connsiteX11" fmla="*/ 3512 w 10746"/>
                <a:gd name="connsiteY11" fmla="*/ 8256 h 10000"/>
                <a:gd name="connsiteX12" fmla="*/ 3525 w 10746"/>
                <a:gd name="connsiteY12" fmla="*/ 8274 h 10000"/>
                <a:gd name="connsiteX13" fmla="*/ 3525 w 10746"/>
                <a:gd name="connsiteY13" fmla="*/ 8282 h 10000"/>
                <a:gd name="connsiteX14" fmla="*/ 3525 w 10746"/>
                <a:gd name="connsiteY14" fmla="*/ 8308 h 10000"/>
                <a:gd name="connsiteX15" fmla="*/ 3530 w 10746"/>
                <a:gd name="connsiteY15" fmla="*/ 8308 h 10000"/>
                <a:gd name="connsiteX16" fmla="*/ 3539 w 10746"/>
                <a:gd name="connsiteY16" fmla="*/ 8333 h 10000"/>
                <a:gd name="connsiteX17" fmla="*/ 3571 w 10746"/>
                <a:gd name="connsiteY17" fmla="*/ 8333 h 10000"/>
                <a:gd name="connsiteX18" fmla="*/ 3590 w 10746"/>
                <a:gd name="connsiteY18" fmla="*/ 8350 h 10000"/>
                <a:gd name="connsiteX19" fmla="*/ 3599 w 10746"/>
                <a:gd name="connsiteY19" fmla="*/ 8333 h 10000"/>
                <a:gd name="connsiteX20" fmla="*/ 3618 w 10746"/>
                <a:gd name="connsiteY20" fmla="*/ 8333 h 10000"/>
                <a:gd name="connsiteX21" fmla="*/ 3618 w 10746"/>
                <a:gd name="connsiteY21" fmla="*/ 8325 h 10000"/>
                <a:gd name="connsiteX22" fmla="*/ 3627 w 10746"/>
                <a:gd name="connsiteY22" fmla="*/ 8308 h 10000"/>
                <a:gd name="connsiteX23" fmla="*/ 3641 w 10746"/>
                <a:gd name="connsiteY23" fmla="*/ 8308 h 10000"/>
                <a:gd name="connsiteX24" fmla="*/ 3645 w 10746"/>
                <a:gd name="connsiteY24" fmla="*/ 8308 h 10000"/>
                <a:gd name="connsiteX25" fmla="*/ 3650 w 10746"/>
                <a:gd name="connsiteY25" fmla="*/ 8299 h 10000"/>
                <a:gd name="connsiteX26" fmla="*/ 3659 w 10746"/>
                <a:gd name="connsiteY26" fmla="*/ 8282 h 10000"/>
                <a:gd name="connsiteX27" fmla="*/ 3677 w 10746"/>
                <a:gd name="connsiteY27" fmla="*/ 8299 h 10000"/>
                <a:gd name="connsiteX28" fmla="*/ 3687 w 10746"/>
                <a:gd name="connsiteY28" fmla="*/ 8299 h 10000"/>
                <a:gd name="connsiteX29" fmla="*/ 3691 w 10746"/>
                <a:gd name="connsiteY29" fmla="*/ 8325 h 10000"/>
                <a:gd name="connsiteX30" fmla="*/ 3700 w 10746"/>
                <a:gd name="connsiteY30" fmla="*/ 8325 h 10000"/>
                <a:gd name="connsiteX31" fmla="*/ 3714 w 10746"/>
                <a:gd name="connsiteY31" fmla="*/ 8359 h 10000"/>
                <a:gd name="connsiteX32" fmla="*/ 3719 w 10746"/>
                <a:gd name="connsiteY32" fmla="*/ 8359 h 10000"/>
                <a:gd name="connsiteX33" fmla="*/ 3724 w 10746"/>
                <a:gd name="connsiteY33" fmla="*/ 8368 h 10000"/>
                <a:gd name="connsiteX34" fmla="*/ 3719 w 10746"/>
                <a:gd name="connsiteY34" fmla="*/ 8393 h 10000"/>
                <a:gd name="connsiteX35" fmla="*/ 3724 w 10746"/>
                <a:gd name="connsiteY35" fmla="*/ 8410 h 10000"/>
                <a:gd name="connsiteX36" fmla="*/ 3724 w 10746"/>
                <a:gd name="connsiteY36" fmla="*/ 8436 h 10000"/>
                <a:gd name="connsiteX37" fmla="*/ 3737 w 10746"/>
                <a:gd name="connsiteY37" fmla="*/ 8436 h 10000"/>
                <a:gd name="connsiteX38" fmla="*/ 3765 w 10746"/>
                <a:gd name="connsiteY38" fmla="*/ 8462 h 10000"/>
                <a:gd name="connsiteX39" fmla="*/ 3765 w 10746"/>
                <a:gd name="connsiteY39" fmla="*/ 8470 h 10000"/>
                <a:gd name="connsiteX40" fmla="*/ 3765 w 10746"/>
                <a:gd name="connsiteY40" fmla="*/ 8496 h 10000"/>
                <a:gd name="connsiteX41" fmla="*/ 3774 w 10746"/>
                <a:gd name="connsiteY41" fmla="*/ 8496 h 10000"/>
                <a:gd name="connsiteX42" fmla="*/ 3779 w 10746"/>
                <a:gd name="connsiteY42" fmla="*/ 8504 h 10000"/>
                <a:gd name="connsiteX43" fmla="*/ 3793 w 10746"/>
                <a:gd name="connsiteY43" fmla="*/ 8547 h 10000"/>
                <a:gd name="connsiteX44" fmla="*/ 3797 w 10746"/>
                <a:gd name="connsiteY44" fmla="*/ 8547 h 10000"/>
                <a:gd name="connsiteX45" fmla="*/ 3820 w 10746"/>
                <a:gd name="connsiteY45" fmla="*/ 8556 h 10000"/>
                <a:gd name="connsiteX46" fmla="*/ 3834 w 10746"/>
                <a:gd name="connsiteY46" fmla="*/ 8573 h 10000"/>
                <a:gd name="connsiteX47" fmla="*/ 3853 w 10746"/>
                <a:gd name="connsiteY47" fmla="*/ 8573 h 10000"/>
                <a:gd name="connsiteX48" fmla="*/ 3857 w 10746"/>
                <a:gd name="connsiteY48" fmla="*/ 8556 h 10000"/>
                <a:gd name="connsiteX49" fmla="*/ 3866 w 10746"/>
                <a:gd name="connsiteY49" fmla="*/ 8547 h 10000"/>
                <a:gd name="connsiteX50" fmla="*/ 3880 w 10746"/>
                <a:gd name="connsiteY50" fmla="*/ 8530 h 10000"/>
                <a:gd name="connsiteX51" fmla="*/ 3885 w 10746"/>
                <a:gd name="connsiteY51" fmla="*/ 8547 h 10000"/>
                <a:gd name="connsiteX52" fmla="*/ 3885 w 10746"/>
                <a:gd name="connsiteY52" fmla="*/ 8573 h 10000"/>
                <a:gd name="connsiteX53" fmla="*/ 3899 w 10746"/>
                <a:gd name="connsiteY53" fmla="*/ 8573 h 10000"/>
                <a:gd name="connsiteX54" fmla="*/ 3908 w 10746"/>
                <a:gd name="connsiteY54" fmla="*/ 8607 h 10000"/>
                <a:gd name="connsiteX55" fmla="*/ 3912 w 10746"/>
                <a:gd name="connsiteY55" fmla="*/ 8615 h 10000"/>
                <a:gd name="connsiteX56" fmla="*/ 3922 w 10746"/>
                <a:gd name="connsiteY56" fmla="*/ 8632 h 10000"/>
                <a:gd name="connsiteX57" fmla="*/ 3908 w 10746"/>
                <a:gd name="connsiteY57" fmla="*/ 8692 h 10000"/>
                <a:gd name="connsiteX58" fmla="*/ 3908 w 10746"/>
                <a:gd name="connsiteY58" fmla="*/ 8692 h 10000"/>
                <a:gd name="connsiteX59" fmla="*/ 3931 w 10746"/>
                <a:gd name="connsiteY59" fmla="*/ 8709 h 10000"/>
                <a:gd name="connsiteX60" fmla="*/ 3954 w 10746"/>
                <a:gd name="connsiteY60" fmla="*/ 8667 h 10000"/>
                <a:gd name="connsiteX61" fmla="*/ 3959 w 10746"/>
                <a:gd name="connsiteY61" fmla="*/ 8667 h 10000"/>
                <a:gd name="connsiteX62" fmla="*/ 3972 w 10746"/>
                <a:gd name="connsiteY62" fmla="*/ 8615 h 10000"/>
                <a:gd name="connsiteX63" fmla="*/ 3995 w 10746"/>
                <a:gd name="connsiteY63" fmla="*/ 8581 h 10000"/>
                <a:gd name="connsiteX64" fmla="*/ 4032 w 10746"/>
                <a:gd name="connsiteY64" fmla="*/ 8556 h 10000"/>
                <a:gd name="connsiteX65" fmla="*/ 4138 w 10746"/>
                <a:gd name="connsiteY65" fmla="*/ 8419 h 10000"/>
                <a:gd name="connsiteX66" fmla="*/ 4249 w 10746"/>
                <a:gd name="connsiteY66" fmla="*/ 8359 h 10000"/>
                <a:gd name="connsiteX67" fmla="*/ 4295 w 10746"/>
                <a:gd name="connsiteY67" fmla="*/ 8385 h 10000"/>
                <a:gd name="connsiteX68" fmla="*/ 4309 w 10746"/>
                <a:gd name="connsiteY68" fmla="*/ 8410 h 10000"/>
                <a:gd name="connsiteX69" fmla="*/ 4355 w 10746"/>
                <a:gd name="connsiteY69" fmla="*/ 8393 h 10000"/>
                <a:gd name="connsiteX70" fmla="*/ 4382 w 10746"/>
                <a:gd name="connsiteY70" fmla="*/ 8393 h 10000"/>
                <a:gd name="connsiteX71" fmla="*/ 4419 w 10746"/>
                <a:gd name="connsiteY71" fmla="*/ 8487 h 10000"/>
                <a:gd name="connsiteX72" fmla="*/ 4442 w 10746"/>
                <a:gd name="connsiteY72" fmla="*/ 8487 h 10000"/>
                <a:gd name="connsiteX73" fmla="*/ 4493 w 10746"/>
                <a:gd name="connsiteY73" fmla="*/ 8470 h 10000"/>
                <a:gd name="connsiteX74" fmla="*/ 4516 w 10746"/>
                <a:gd name="connsiteY74" fmla="*/ 8487 h 10000"/>
                <a:gd name="connsiteX75" fmla="*/ 4608 w 10746"/>
                <a:gd name="connsiteY75" fmla="*/ 8470 h 10000"/>
                <a:gd name="connsiteX76" fmla="*/ 4622 w 10746"/>
                <a:gd name="connsiteY76" fmla="*/ 8470 h 10000"/>
                <a:gd name="connsiteX77" fmla="*/ 4618 w 10746"/>
                <a:gd name="connsiteY77" fmla="*/ 8419 h 10000"/>
                <a:gd name="connsiteX78" fmla="*/ 4622 w 10746"/>
                <a:gd name="connsiteY78" fmla="*/ 8385 h 10000"/>
                <a:gd name="connsiteX79" fmla="*/ 4636 w 10746"/>
                <a:gd name="connsiteY79" fmla="*/ 8350 h 10000"/>
                <a:gd name="connsiteX80" fmla="*/ 4636 w 10746"/>
                <a:gd name="connsiteY80" fmla="*/ 8325 h 10000"/>
                <a:gd name="connsiteX81" fmla="*/ 4622 w 10746"/>
                <a:gd name="connsiteY81" fmla="*/ 8282 h 10000"/>
                <a:gd name="connsiteX82" fmla="*/ 4618 w 10746"/>
                <a:gd name="connsiteY82" fmla="*/ 8248 h 10000"/>
                <a:gd name="connsiteX83" fmla="*/ 4618 w 10746"/>
                <a:gd name="connsiteY83" fmla="*/ 8214 h 10000"/>
                <a:gd name="connsiteX84" fmla="*/ 4691 w 10746"/>
                <a:gd name="connsiteY84" fmla="*/ 8077 h 10000"/>
                <a:gd name="connsiteX85" fmla="*/ 4700 w 10746"/>
                <a:gd name="connsiteY85" fmla="*/ 8060 h 10000"/>
                <a:gd name="connsiteX86" fmla="*/ 4728 w 10746"/>
                <a:gd name="connsiteY86" fmla="*/ 8077 h 10000"/>
                <a:gd name="connsiteX87" fmla="*/ 4751 w 10746"/>
                <a:gd name="connsiteY87" fmla="*/ 8094 h 10000"/>
                <a:gd name="connsiteX88" fmla="*/ 4788 w 10746"/>
                <a:gd name="connsiteY88" fmla="*/ 8120 h 10000"/>
                <a:gd name="connsiteX89" fmla="*/ 4802 w 10746"/>
                <a:gd name="connsiteY89" fmla="*/ 8162 h 10000"/>
                <a:gd name="connsiteX90" fmla="*/ 4885 w 10746"/>
                <a:gd name="connsiteY90" fmla="*/ 8197 h 10000"/>
                <a:gd name="connsiteX91" fmla="*/ 4889 w 10746"/>
                <a:gd name="connsiteY91" fmla="*/ 8231 h 10000"/>
                <a:gd name="connsiteX92" fmla="*/ 4899 w 10746"/>
                <a:gd name="connsiteY92" fmla="*/ 8333 h 10000"/>
                <a:gd name="connsiteX93" fmla="*/ 4903 w 10746"/>
                <a:gd name="connsiteY93" fmla="*/ 8333 h 10000"/>
                <a:gd name="connsiteX94" fmla="*/ 4949 w 10746"/>
                <a:gd name="connsiteY94" fmla="*/ 8410 h 10000"/>
                <a:gd name="connsiteX95" fmla="*/ 4991 w 10746"/>
                <a:gd name="connsiteY95" fmla="*/ 8436 h 10000"/>
                <a:gd name="connsiteX96" fmla="*/ 5023 w 10746"/>
                <a:gd name="connsiteY96" fmla="*/ 8419 h 10000"/>
                <a:gd name="connsiteX97" fmla="*/ 5092 w 10746"/>
                <a:gd name="connsiteY97" fmla="*/ 8359 h 10000"/>
                <a:gd name="connsiteX98" fmla="*/ 5180 w 10746"/>
                <a:gd name="connsiteY98" fmla="*/ 8410 h 10000"/>
                <a:gd name="connsiteX99" fmla="*/ 5189 w 10746"/>
                <a:gd name="connsiteY99" fmla="*/ 8436 h 10000"/>
                <a:gd name="connsiteX100" fmla="*/ 5198 w 10746"/>
                <a:gd name="connsiteY100" fmla="*/ 8436 h 10000"/>
                <a:gd name="connsiteX101" fmla="*/ 5226 w 10746"/>
                <a:gd name="connsiteY101" fmla="*/ 8487 h 10000"/>
                <a:gd name="connsiteX102" fmla="*/ 5276 w 10746"/>
                <a:gd name="connsiteY102" fmla="*/ 8504 h 10000"/>
                <a:gd name="connsiteX103" fmla="*/ 5290 w 10746"/>
                <a:gd name="connsiteY103" fmla="*/ 8556 h 10000"/>
                <a:gd name="connsiteX104" fmla="*/ 5323 w 10746"/>
                <a:gd name="connsiteY104" fmla="*/ 8598 h 10000"/>
                <a:gd name="connsiteX105" fmla="*/ 5447 w 10746"/>
                <a:gd name="connsiteY105" fmla="*/ 8615 h 10000"/>
                <a:gd name="connsiteX106" fmla="*/ 5465 w 10746"/>
                <a:gd name="connsiteY106" fmla="*/ 8632 h 10000"/>
                <a:gd name="connsiteX107" fmla="*/ 5604 w 10746"/>
                <a:gd name="connsiteY107" fmla="*/ 8556 h 10000"/>
                <a:gd name="connsiteX108" fmla="*/ 5677 w 10746"/>
                <a:gd name="connsiteY108" fmla="*/ 8462 h 10000"/>
                <a:gd name="connsiteX109" fmla="*/ 5705 w 10746"/>
                <a:gd name="connsiteY109" fmla="*/ 8444 h 10000"/>
                <a:gd name="connsiteX110" fmla="*/ 5737 w 10746"/>
                <a:gd name="connsiteY110" fmla="*/ 8470 h 10000"/>
                <a:gd name="connsiteX111" fmla="*/ 5760 w 10746"/>
                <a:gd name="connsiteY111" fmla="*/ 8496 h 10000"/>
                <a:gd name="connsiteX112" fmla="*/ 5788 w 10746"/>
                <a:gd name="connsiteY112" fmla="*/ 8504 h 10000"/>
                <a:gd name="connsiteX113" fmla="*/ 5806 w 10746"/>
                <a:gd name="connsiteY113" fmla="*/ 8496 h 10000"/>
                <a:gd name="connsiteX114" fmla="*/ 5820 w 10746"/>
                <a:gd name="connsiteY114" fmla="*/ 8487 h 10000"/>
                <a:gd name="connsiteX115" fmla="*/ 5825 w 10746"/>
                <a:gd name="connsiteY115" fmla="*/ 8487 h 10000"/>
                <a:gd name="connsiteX116" fmla="*/ 5825 w 10746"/>
                <a:gd name="connsiteY116" fmla="*/ 8487 h 10000"/>
                <a:gd name="connsiteX117" fmla="*/ 5926 w 10746"/>
                <a:gd name="connsiteY117" fmla="*/ 8556 h 10000"/>
                <a:gd name="connsiteX118" fmla="*/ 5940 w 10746"/>
                <a:gd name="connsiteY118" fmla="*/ 8556 h 10000"/>
                <a:gd name="connsiteX119" fmla="*/ 6014 w 10746"/>
                <a:gd name="connsiteY119" fmla="*/ 8470 h 10000"/>
                <a:gd name="connsiteX120" fmla="*/ 6018 w 10746"/>
                <a:gd name="connsiteY120" fmla="*/ 8444 h 10000"/>
                <a:gd name="connsiteX121" fmla="*/ 6014 w 10746"/>
                <a:gd name="connsiteY121" fmla="*/ 8419 h 10000"/>
                <a:gd name="connsiteX122" fmla="*/ 6018 w 10746"/>
                <a:gd name="connsiteY122" fmla="*/ 8393 h 10000"/>
                <a:gd name="connsiteX123" fmla="*/ 6041 w 10746"/>
                <a:gd name="connsiteY123" fmla="*/ 8333 h 10000"/>
                <a:gd name="connsiteX124" fmla="*/ 6069 w 10746"/>
                <a:gd name="connsiteY124" fmla="*/ 8188 h 10000"/>
                <a:gd name="connsiteX125" fmla="*/ 6088 w 10746"/>
                <a:gd name="connsiteY125" fmla="*/ 8162 h 10000"/>
                <a:gd name="connsiteX126" fmla="*/ 6115 w 10746"/>
                <a:gd name="connsiteY126" fmla="*/ 8094 h 10000"/>
                <a:gd name="connsiteX127" fmla="*/ 6115 w 10746"/>
                <a:gd name="connsiteY127" fmla="*/ 8094 h 10000"/>
                <a:gd name="connsiteX128" fmla="*/ 6106 w 10746"/>
                <a:gd name="connsiteY128" fmla="*/ 8077 h 10000"/>
                <a:gd name="connsiteX129" fmla="*/ 6106 w 10746"/>
                <a:gd name="connsiteY129" fmla="*/ 8009 h 10000"/>
                <a:gd name="connsiteX130" fmla="*/ 6101 w 10746"/>
                <a:gd name="connsiteY130" fmla="*/ 8000 h 10000"/>
                <a:gd name="connsiteX131" fmla="*/ 6069 w 10746"/>
                <a:gd name="connsiteY131" fmla="*/ 8009 h 10000"/>
                <a:gd name="connsiteX132" fmla="*/ 6069 w 10746"/>
                <a:gd name="connsiteY132" fmla="*/ 8000 h 10000"/>
                <a:gd name="connsiteX133" fmla="*/ 6069 w 10746"/>
                <a:gd name="connsiteY133" fmla="*/ 7974 h 10000"/>
                <a:gd name="connsiteX134" fmla="*/ 6101 w 10746"/>
                <a:gd name="connsiteY134" fmla="*/ 7923 h 10000"/>
                <a:gd name="connsiteX135" fmla="*/ 6106 w 10746"/>
                <a:gd name="connsiteY135" fmla="*/ 7889 h 10000"/>
                <a:gd name="connsiteX136" fmla="*/ 6129 w 10746"/>
                <a:gd name="connsiteY136" fmla="*/ 7863 h 10000"/>
                <a:gd name="connsiteX137" fmla="*/ 6300 w 10746"/>
                <a:gd name="connsiteY137" fmla="*/ 7812 h 10000"/>
                <a:gd name="connsiteX138" fmla="*/ 6359 w 10746"/>
                <a:gd name="connsiteY138" fmla="*/ 7872 h 10000"/>
                <a:gd name="connsiteX139" fmla="*/ 6373 w 10746"/>
                <a:gd name="connsiteY139" fmla="*/ 7889 h 10000"/>
                <a:gd name="connsiteX140" fmla="*/ 6401 w 10746"/>
                <a:gd name="connsiteY140" fmla="*/ 7889 h 10000"/>
                <a:gd name="connsiteX141" fmla="*/ 6433 w 10746"/>
                <a:gd name="connsiteY141" fmla="*/ 7915 h 10000"/>
                <a:gd name="connsiteX142" fmla="*/ 6461 w 10746"/>
                <a:gd name="connsiteY142" fmla="*/ 7974 h 10000"/>
                <a:gd name="connsiteX143" fmla="*/ 6461 w 10746"/>
                <a:gd name="connsiteY143" fmla="*/ 8000 h 10000"/>
                <a:gd name="connsiteX144" fmla="*/ 6484 w 10746"/>
                <a:gd name="connsiteY144" fmla="*/ 8034 h 10000"/>
                <a:gd name="connsiteX145" fmla="*/ 6484 w 10746"/>
                <a:gd name="connsiteY145" fmla="*/ 8051 h 10000"/>
                <a:gd name="connsiteX146" fmla="*/ 6484 w 10746"/>
                <a:gd name="connsiteY146" fmla="*/ 8034 h 10000"/>
                <a:gd name="connsiteX147" fmla="*/ 6558 w 10746"/>
                <a:gd name="connsiteY147" fmla="*/ 8444 h 10000"/>
                <a:gd name="connsiteX148" fmla="*/ 6558 w 10746"/>
                <a:gd name="connsiteY148" fmla="*/ 8462 h 10000"/>
                <a:gd name="connsiteX149" fmla="*/ 6558 w 10746"/>
                <a:gd name="connsiteY149" fmla="*/ 8462 h 10000"/>
                <a:gd name="connsiteX150" fmla="*/ 6562 w 10746"/>
                <a:gd name="connsiteY150" fmla="*/ 8547 h 10000"/>
                <a:gd name="connsiteX151" fmla="*/ 6576 w 10746"/>
                <a:gd name="connsiteY151" fmla="*/ 8573 h 10000"/>
                <a:gd name="connsiteX152" fmla="*/ 6604 w 10746"/>
                <a:gd name="connsiteY152" fmla="*/ 8581 h 10000"/>
                <a:gd name="connsiteX153" fmla="*/ 6631 w 10746"/>
                <a:gd name="connsiteY153" fmla="*/ 8556 h 10000"/>
                <a:gd name="connsiteX154" fmla="*/ 6691 w 10746"/>
                <a:gd name="connsiteY154" fmla="*/ 8607 h 10000"/>
                <a:gd name="connsiteX155" fmla="*/ 6728 w 10746"/>
                <a:gd name="connsiteY155" fmla="*/ 8667 h 10000"/>
                <a:gd name="connsiteX156" fmla="*/ 6742 w 10746"/>
                <a:gd name="connsiteY156" fmla="*/ 8684 h 10000"/>
                <a:gd name="connsiteX157" fmla="*/ 6765 w 10746"/>
                <a:gd name="connsiteY157" fmla="*/ 8684 h 10000"/>
                <a:gd name="connsiteX158" fmla="*/ 6765 w 10746"/>
                <a:gd name="connsiteY158" fmla="*/ 8709 h 10000"/>
                <a:gd name="connsiteX159" fmla="*/ 6765 w 10746"/>
                <a:gd name="connsiteY159" fmla="*/ 8709 h 10000"/>
                <a:gd name="connsiteX160" fmla="*/ 6770 w 10746"/>
                <a:gd name="connsiteY160" fmla="*/ 8709 h 10000"/>
                <a:gd name="connsiteX161" fmla="*/ 6770 w 10746"/>
                <a:gd name="connsiteY161" fmla="*/ 8744 h 10000"/>
                <a:gd name="connsiteX162" fmla="*/ 6779 w 10746"/>
                <a:gd name="connsiteY162" fmla="*/ 8769 h 10000"/>
                <a:gd name="connsiteX163" fmla="*/ 6779 w 10746"/>
                <a:gd name="connsiteY163" fmla="*/ 8846 h 10000"/>
                <a:gd name="connsiteX164" fmla="*/ 6797 w 10746"/>
                <a:gd name="connsiteY164" fmla="*/ 8906 h 10000"/>
                <a:gd name="connsiteX165" fmla="*/ 6816 w 10746"/>
                <a:gd name="connsiteY165" fmla="*/ 8906 h 10000"/>
                <a:gd name="connsiteX166" fmla="*/ 6843 w 10746"/>
                <a:gd name="connsiteY166" fmla="*/ 8915 h 10000"/>
                <a:gd name="connsiteX167" fmla="*/ 6862 w 10746"/>
                <a:gd name="connsiteY167" fmla="*/ 8906 h 10000"/>
                <a:gd name="connsiteX168" fmla="*/ 6935 w 10746"/>
                <a:gd name="connsiteY168" fmla="*/ 8829 h 10000"/>
                <a:gd name="connsiteX169" fmla="*/ 6963 w 10746"/>
                <a:gd name="connsiteY169" fmla="*/ 8829 h 10000"/>
                <a:gd name="connsiteX170" fmla="*/ 7046 w 10746"/>
                <a:gd name="connsiteY170" fmla="*/ 8769 h 10000"/>
                <a:gd name="connsiteX171" fmla="*/ 7046 w 10746"/>
                <a:gd name="connsiteY171" fmla="*/ 8769 h 10000"/>
                <a:gd name="connsiteX172" fmla="*/ 7032 w 10746"/>
                <a:gd name="connsiteY172" fmla="*/ 8803 h 10000"/>
                <a:gd name="connsiteX173" fmla="*/ 7032 w 10746"/>
                <a:gd name="connsiteY173" fmla="*/ 8846 h 10000"/>
                <a:gd name="connsiteX174" fmla="*/ 7037 w 10746"/>
                <a:gd name="connsiteY174" fmla="*/ 8880 h 10000"/>
                <a:gd name="connsiteX175" fmla="*/ 7037 w 10746"/>
                <a:gd name="connsiteY175" fmla="*/ 8932 h 10000"/>
                <a:gd name="connsiteX176" fmla="*/ 7005 w 10746"/>
                <a:gd name="connsiteY176" fmla="*/ 8983 h 10000"/>
                <a:gd name="connsiteX177" fmla="*/ 6977 w 10746"/>
                <a:gd name="connsiteY177" fmla="*/ 9188 h 10000"/>
                <a:gd name="connsiteX178" fmla="*/ 6935 w 10746"/>
                <a:gd name="connsiteY178" fmla="*/ 9316 h 10000"/>
                <a:gd name="connsiteX179" fmla="*/ 6931 w 10746"/>
                <a:gd name="connsiteY179" fmla="*/ 9368 h 10000"/>
                <a:gd name="connsiteX180" fmla="*/ 6917 w 10746"/>
                <a:gd name="connsiteY180" fmla="*/ 9376 h 10000"/>
                <a:gd name="connsiteX181" fmla="*/ 6912 w 10746"/>
                <a:gd name="connsiteY181" fmla="*/ 9376 h 10000"/>
                <a:gd name="connsiteX182" fmla="*/ 6848 w 10746"/>
                <a:gd name="connsiteY182" fmla="*/ 9342 h 10000"/>
                <a:gd name="connsiteX183" fmla="*/ 6788 w 10746"/>
                <a:gd name="connsiteY183" fmla="*/ 9436 h 10000"/>
                <a:gd name="connsiteX184" fmla="*/ 6802 w 10746"/>
                <a:gd name="connsiteY184" fmla="*/ 9462 h 10000"/>
                <a:gd name="connsiteX185" fmla="*/ 6811 w 10746"/>
                <a:gd name="connsiteY185" fmla="*/ 9667 h 10000"/>
                <a:gd name="connsiteX186" fmla="*/ 6788 w 10746"/>
                <a:gd name="connsiteY186" fmla="*/ 9709 h 10000"/>
                <a:gd name="connsiteX187" fmla="*/ 6765 w 10746"/>
                <a:gd name="connsiteY187" fmla="*/ 9752 h 10000"/>
                <a:gd name="connsiteX188" fmla="*/ 6765 w 10746"/>
                <a:gd name="connsiteY188" fmla="*/ 9803 h 10000"/>
                <a:gd name="connsiteX189" fmla="*/ 6770 w 10746"/>
                <a:gd name="connsiteY189" fmla="*/ 9821 h 10000"/>
                <a:gd name="connsiteX190" fmla="*/ 6779 w 10746"/>
                <a:gd name="connsiteY190" fmla="*/ 9812 h 10000"/>
                <a:gd name="connsiteX191" fmla="*/ 6779 w 10746"/>
                <a:gd name="connsiteY191" fmla="*/ 9803 h 10000"/>
                <a:gd name="connsiteX192" fmla="*/ 6770 w 10746"/>
                <a:gd name="connsiteY192" fmla="*/ 9786 h 10000"/>
                <a:gd name="connsiteX193" fmla="*/ 6811 w 10746"/>
                <a:gd name="connsiteY193" fmla="*/ 9786 h 10000"/>
                <a:gd name="connsiteX194" fmla="*/ 6816 w 10746"/>
                <a:gd name="connsiteY194" fmla="*/ 9761 h 10000"/>
                <a:gd name="connsiteX195" fmla="*/ 6825 w 10746"/>
                <a:gd name="connsiteY195" fmla="*/ 9752 h 10000"/>
                <a:gd name="connsiteX196" fmla="*/ 6825 w 10746"/>
                <a:gd name="connsiteY196" fmla="*/ 9726 h 10000"/>
                <a:gd name="connsiteX197" fmla="*/ 6843 w 10746"/>
                <a:gd name="connsiteY197" fmla="*/ 9701 h 10000"/>
                <a:gd name="connsiteX198" fmla="*/ 6848 w 10746"/>
                <a:gd name="connsiteY198" fmla="*/ 9650 h 10000"/>
                <a:gd name="connsiteX199" fmla="*/ 6848 w 10746"/>
                <a:gd name="connsiteY199" fmla="*/ 9675 h 10000"/>
                <a:gd name="connsiteX200" fmla="*/ 6862 w 10746"/>
                <a:gd name="connsiteY200" fmla="*/ 9675 h 10000"/>
                <a:gd name="connsiteX201" fmla="*/ 6857 w 10746"/>
                <a:gd name="connsiteY201" fmla="*/ 9701 h 10000"/>
                <a:gd name="connsiteX202" fmla="*/ 6857 w 10746"/>
                <a:gd name="connsiteY202" fmla="*/ 9701 h 10000"/>
                <a:gd name="connsiteX203" fmla="*/ 6876 w 10746"/>
                <a:gd name="connsiteY203" fmla="*/ 9684 h 10000"/>
                <a:gd name="connsiteX204" fmla="*/ 6885 w 10746"/>
                <a:gd name="connsiteY204" fmla="*/ 9675 h 10000"/>
                <a:gd name="connsiteX205" fmla="*/ 6876 w 10746"/>
                <a:gd name="connsiteY205" fmla="*/ 9735 h 10000"/>
                <a:gd name="connsiteX206" fmla="*/ 6885 w 10746"/>
                <a:gd name="connsiteY206" fmla="*/ 9752 h 10000"/>
                <a:gd name="connsiteX207" fmla="*/ 6903 w 10746"/>
                <a:gd name="connsiteY207" fmla="*/ 9752 h 10000"/>
                <a:gd name="connsiteX208" fmla="*/ 6917 w 10746"/>
                <a:gd name="connsiteY208" fmla="*/ 9761 h 10000"/>
                <a:gd name="connsiteX209" fmla="*/ 6917 w 10746"/>
                <a:gd name="connsiteY209" fmla="*/ 9761 h 10000"/>
                <a:gd name="connsiteX210" fmla="*/ 6922 w 10746"/>
                <a:gd name="connsiteY210" fmla="*/ 9778 h 10000"/>
                <a:gd name="connsiteX211" fmla="*/ 6945 w 10746"/>
                <a:gd name="connsiteY211" fmla="*/ 9778 h 10000"/>
                <a:gd name="connsiteX212" fmla="*/ 6972 w 10746"/>
                <a:gd name="connsiteY212" fmla="*/ 9752 h 10000"/>
                <a:gd name="connsiteX213" fmla="*/ 6977 w 10746"/>
                <a:gd name="connsiteY213" fmla="*/ 9752 h 10000"/>
                <a:gd name="connsiteX214" fmla="*/ 7069 w 10746"/>
                <a:gd name="connsiteY214" fmla="*/ 9624 h 10000"/>
                <a:gd name="connsiteX215" fmla="*/ 7097 w 10746"/>
                <a:gd name="connsiteY215" fmla="*/ 9547 h 10000"/>
                <a:gd name="connsiteX216" fmla="*/ 7106 w 10746"/>
                <a:gd name="connsiteY216" fmla="*/ 9530 h 10000"/>
                <a:gd name="connsiteX217" fmla="*/ 7124 w 10746"/>
                <a:gd name="connsiteY217" fmla="*/ 9479 h 10000"/>
                <a:gd name="connsiteX218" fmla="*/ 7138 w 10746"/>
                <a:gd name="connsiteY218" fmla="*/ 9462 h 10000"/>
                <a:gd name="connsiteX219" fmla="*/ 7378 w 10746"/>
                <a:gd name="connsiteY219" fmla="*/ 8795 h 10000"/>
                <a:gd name="connsiteX220" fmla="*/ 7392 w 10746"/>
                <a:gd name="connsiteY220" fmla="*/ 8795 h 10000"/>
                <a:gd name="connsiteX221" fmla="*/ 7401 w 10746"/>
                <a:gd name="connsiteY221" fmla="*/ 8769 h 10000"/>
                <a:gd name="connsiteX222" fmla="*/ 7406 w 10746"/>
                <a:gd name="connsiteY222" fmla="*/ 8692 h 10000"/>
                <a:gd name="connsiteX223" fmla="*/ 7406 w 10746"/>
                <a:gd name="connsiteY223" fmla="*/ 8667 h 10000"/>
                <a:gd name="connsiteX224" fmla="*/ 7419 w 10746"/>
                <a:gd name="connsiteY224" fmla="*/ 8598 h 10000"/>
                <a:gd name="connsiteX225" fmla="*/ 7419 w 10746"/>
                <a:gd name="connsiteY225" fmla="*/ 8496 h 10000"/>
                <a:gd name="connsiteX226" fmla="*/ 7424 w 10746"/>
                <a:gd name="connsiteY226" fmla="*/ 8470 h 10000"/>
                <a:gd name="connsiteX227" fmla="*/ 7424 w 10746"/>
                <a:gd name="connsiteY227" fmla="*/ 8462 h 10000"/>
                <a:gd name="connsiteX228" fmla="*/ 7419 w 10746"/>
                <a:gd name="connsiteY228" fmla="*/ 8462 h 10000"/>
                <a:gd name="connsiteX229" fmla="*/ 7410 w 10746"/>
                <a:gd name="connsiteY229" fmla="*/ 8350 h 10000"/>
                <a:gd name="connsiteX230" fmla="*/ 7419 w 10746"/>
                <a:gd name="connsiteY230" fmla="*/ 8325 h 10000"/>
                <a:gd name="connsiteX231" fmla="*/ 7424 w 10746"/>
                <a:gd name="connsiteY231" fmla="*/ 8248 h 10000"/>
                <a:gd name="connsiteX232" fmla="*/ 7433 w 10746"/>
                <a:gd name="connsiteY232" fmla="*/ 8248 h 10000"/>
                <a:gd name="connsiteX233" fmla="*/ 7433 w 10746"/>
                <a:gd name="connsiteY233" fmla="*/ 8231 h 10000"/>
                <a:gd name="connsiteX234" fmla="*/ 7433 w 10746"/>
                <a:gd name="connsiteY234" fmla="*/ 8222 h 10000"/>
                <a:gd name="connsiteX235" fmla="*/ 7433 w 10746"/>
                <a:gd name="connsiteY235" fmla="*/ 8214 h 10000"/>
                <a:gd name="connsiteX236" fmla="*/ 7447 w 10746"/>
                <a:gd name="connsiteY236" fmla="*/ 8162 h 10000"/>
                <a:gd name="connsiteX237" fmla="*/ 7461 w 10746"/>
                <a:gd name="connsiteY237" fmla="*/ 8162 h 10000"/>
                <a:gd name="connsiteX238" fmla="*/ 7475 w 10746"/>
                <a:gd name="connsiteY238" fmla="*/ 8111 h 10000"/>
                <a:gd name="connsiteX239" fmla="*/ 7475 w 10746"/>
                <a:gd name="connsiteY239" fmla="*/ 8085 h 10000"/>
                <a:gd name="connsiteX240" fmla="*/ 7479 w 10746"/>
                <a:gd name="connsiteY240" fmla="*/ 8060 h 10000"/>
                <a:gd name="connsiteX241" fmla="*/ 7452 w 10746"/>
                <a:gd name="connsiteY241" fmla="*/ 8009 h 10000"/>
                <a:gd name="connsiteX242" fmla="*/ 7465 w 10746"/>
                <a:gd name="connsiteY242" fmla="*/ 7974 h 10000"/>
                <a:gd name="connsiteX243" fmla="*/ 7452 w 10746"/>
                <a:gd name="connsiteY243" fmla="*/ 7923 h 10000"/>
                <a:gd name="connsiteX244" fmla="*/ 7433 w 10746"/>
                <a:gd name="connsiteY244" fmla="*/ 7889 h 10000"/>
                <a:gd name="connsiteX245" fmla="*/ 7419 w 10746"/>
                <a:gd name="connsiteY245" fmla="*/ 7889 h 10000"/>
                <a:gd name="connsiteX246" fmla="*/ 7401 w 10746"/>
                <a:gd name="connsiteY246" fmla="*/ 7863 h 10000"/>
                <a:gd name="connsiteX247" fmla="*/ 7387 w 10746"/>
                <a:gd name="connsiteY247" fmla="*/ 7863 h 10000"/>
                <a:gd name="connsiteX248" fmla="*/ 7373 w 10746"/>
                <a:gd name="connsiteY248" fmla="*/ 7863 h 10000"/>
                <a:gd name="connsiteX249" fmla="*/ 7387 w 10746"/>
                <a:gd name="connsiteY249" fmla="*/ 7846 h 10000"/>
                <a:gd name="connsiteX250" fmla="*/ 7401 w 10746"/>
                <a:gd name="connsiteY250" fmla="*/ 7846 h 10000"/>
                <a:gd name="connsiteX251" fmla="*/ 7410 w 10746"/>
                <a:gd name="connsiteY251" fmla="*/ 7863 h 10000"/>
                <a:gd name="connsiteX252" fmla="*/ 7424 w 10746"/>
                <a:gd name="connsiteY252" fmla="*/ 7872 h 10000"/>
                <a:gd name="connsiteX253" fmla="*/ 7433 w 10746"/>
                <a:gd name="connsiteY253" fmla="*/ 7863 h 10000"/>
                <a:gd name="connsiteX254" fmla="*/ 7461 w 10746"/>
                <a:gd name="connsiteY254" fmla="*/ 7897 h 10000"/>
                <a:gd name="connsiteX255" fmla="*/ 7465 w 10746"/>
                <a:gd name="connsiteY255" fmla="*/ 7889 h 10000"/>
                <a:gd name="connsiteX256" fmla="*/ 7475 w 10746"/>
                <a:gd name="connsiteY256" fmla="*/ 7863 h 10000"/>
                <a:gd name="connsiteX257" fmla="*/ 7475 w 10746"/>
                <a:gd name="connsiteY257" fmla="*/ 7838 h 10000"/>
                <a:gd name="connsiteX258" fmla="*/ 7465 w 10746"/>
                <a:gd name="connsiteY258" fmla="*/ 7838 h 10000"/>
                <a:gd name="connsiteX259" fmla="*/ 7406 w 10746"/>
                <a:gd name="connsiteY259" fmla="*/ 7752 h 10000"/>
                <a:gd name="connsiteX260" fmla="*/ 7401 w 10746"/>
                <a:gd name="connsiteY260" fmla="*/ 7735 h 10000"/>
                <a:gd name="connsiteX261" fmla="*/ 7401 w 10746"/>
                <a:gd name="connsiteY261" fmla="*/ 7701 h 10000"/>
                <a:gd name="connsiteX262" fmla="*/ 7378 w 10746"/>
                <a:gd name="connsiteY262" fmla="*/ 7675 h 10000"/>
                <a:gd name="connsiteX263" fmla="*/ 7373 w 10746"/>
                <a:gd name="connsiteY263" fmla="*/ 7667 h 10000"/>
                <a:gd name="connsiteX264" fmla="*/ 7364 w 10746"/>
                <a:gd name="connsiteY264" fmla="*/ 7650 h 10000"/>
                <a:gd name="connsiteX265" fmla="*/ 7364 w 10746"/>
                <a:gd name="connsiteY265" fmla="*/ 7641 h 10000"/>
                <a:gd name="connsiteX266" fmla="*/ 7350 w 10746"/>
                <a:gd name="connsiteY266" fmla="*/ 7641 h 10000"/>
                <a:gd name="connsiteX267" fmla="*/ 7336 w 10746"/>
                <a:gd name="connsiteY267" fmla="*/ 7650 h 10000"/>
                <a:gd name="connsiteX268" fmla="*/ 7327 w 10746"/>
                <a:gd name="connsiteY268" fmla="*/ 7650 h 10000"/>
                <a:gd name="connsiteX269" fmla="*/ 7300 w 10746"/>
                <a:gd name="connsiteY269" fmla="*/ 7641 h 10000"/>
                <a:gd name="connsiteX270" fmla="*/ 7300 w 10746"/>
                <a:gd name="connsiteY270" fmla="*/ 7675 h 10000"/>
                <a:gd name="connsiteX271" fmla="*/ 7300 w 10746"/>
                <a:gd name="connsiteY271" fmla="*/ 7692 h 10000"/>
                <a:gd name="connsiteX272" fmla="*/ 7286 w 10746"/>
                <a:gd name="connsiteY272" fmla="*/ 7786 h 10000"/>
                <a:gd name="connsiteX273" fmla="*/ 7272 w 10746"/>
                <a:gd name="connsiteY273" fmla="*/ 7803 h 10000"/>
                <a:gd name="connsiteX274" fmla="*/ 7276 w 10746"/>
                <a:gd name="connsiteY274" fmla="*/ 7761 h 10000"/>
                <a:gd name="connsiteX275" fmla="*/ 7286 w 10746"/>
                <a:gd name="connsiteY275" fmla="*/ 7735 h 10000"/>
                <a:gd name="connsiteX276" fmla="*/ 7276 w 10746"/>
                <a:gd name="connsiteY276" fmla="*/ 7709 h 10000"/>
                <a:gd name="connsiteX277" fmla="*/ 7258 w 10746"/>
                <a:gd name="connsiteY277" fmla="*/ 7761 h 10000"/>
                <a:gd name="connsiteX278" fmla="*/ 7217 w 10746"/>
                <a:gd name="connsiteY278" fmla="*/ 7786 h 10000"/>
                <a:gd name="connsiteX279" fmla="*/ 7203 w 10746"/>
                <a:gd name="connsiteY279" fmla="*/ 7786 h 10000"/>
                <a:gd name="connsiteX280" fmla="*/ 7198 w 10746"/>
                <a:gd name="connsiteY280" fmla="*/ 7778 h 10000"/>
                <a:gd name="connsiteX281" fmla="*/ 7212 w 10746"/>
                <a:gd name="connsiteY281" fmla="*/ 7761 h 10000"/>
                <a:gd name="connsiteX282" fmla="*/ 7230 w 10746"/>
                <a:gd name="connsiteY282" fmla="*/ 7726 h 10000"/>
                <a:gd name="connsiteX283" fmla="*/ 7226 w 10746"/>
                <a:gd name="connsiteY283" fmla="*/ 7709 h 10000"/>
                <a:gd name="connsiteX284" fmla="*/ 7212 w 10746"/>
                <a:gd name="connsiteY284" fmla="*/ 7701 h 10000"/>
                <a:gd name="connsiteX285" fmla="*/ 7203 w 10746"/>
                <a:gd name="connsiteY285" fmla="*/ 7675 h 10000"/>
                <a:gd name="connsiteX286" fmla="*/ 7217 w 10746"/>
                <a:gd name="connsiteY286" fmla="*/ 7675 h 10000"/>
                <a:gd name="connsiteX287" fmla="*/ 7226 w 10746"/>
                <a:gd name="connsiteY287" fmla="*/ 7650 h 10000"/>
                <a:gd name="connsiteX288" fmla="*/ 7226 w 10746"/>
                <a:gd name="connsiteY288" fmla="*/ 7641 h 10000"/>
                <a:gd name="connsiteX289" fmla="*/ 7203 w 10746"/>
                <a:gd name="connsiteY289" fmla="*/ 7641 h 10000"/>
                <a:gd name="connsiteX290" fmla="*/ 7198 w 10746"/>
                <a:gd name="connsiteY290" fmla="*/ 7650 h 10000"/>
                <a:gd name="connsiteX291" fmla="*/ 7194 w 10746"/>
                <a:gd name="connsiteY291" fmla="*/ 7675 h 10000"/>
                <a:gd name="connsiteX292" fmla="*/ 7198 w 10746"/>
                <a:gd name="connsiteY292" fmla="*/ 7692 h 10000"/>
                <a:gd name="connsiteX293" fmla="*/ 7198 w 10746"/>
                <a:gd name="connsiteY293" fmla="*/ 7709 h 10000"/>
                <a:gd name="connsiteX294" fmla="*/ 7184 w 10746"/>
                <a:gd name="connsiteY294" fmla="*/ 7726 h 10000"/>
                <a:gd name="connsiteX295" fmla="*/ 7180 w 10746"/>
                <a:gd name="connsiteY295" fmla="*/ 7726 h 10000"/>
                <a:gd name="connsiteX296" fmla="*/ 7171 w 10746"/>
                <a:gd name="connsiteY296" fmla="*/ 7752 h 10000"/>
                <a:gd name="connsiteX297" fmla="*/ 7166 w 10746"/>
                <a:gd name="connsiteY297" fmla="*/ 7735 h 10000"/>
                <a:gd name="connsiteX298" fmla="*/ 7171 w 10746"/>
                <a:gd name="connsiteY298" fmla="*/ 7624 h 10000"/>
                <a:gd name="connsiteX299" fmla="*/ 7171 w 10746"/>
                <a:gd name="connsiteY299" fmla="*/ 7615 h 10000"/>
                <a:gd name="connsiteX300" fmla="*/ 7171 w 10746"/>
                <a:gd name="connsiteY300" fmla="*/ 7590 h 10000"/>
                <a:gd name="connsiteX301" fmla="*/ 7166 w 10746"/>
                <a:gd name="connsiteY301" fmla="*/ 7564 h 10000"/>
                <a:gd name="connsiteX302" fmla="*/ 7157 w 10746"/>
                <a:gd name="connsiteY302" fmla="*/ 7564 h 10000"/>
                <a:gd name="connsiteX303" fmla="*/ 7097 w 10746"/>
                <a:gd name="connsiteY303" fmla="*/ 7573 h 10000"/>
                <a:gd name="connsiteX304" fmla="*/ 7065 w 10746"/>
                <a:gd name="connsiteY304" fmla="*/ 7538 h 10000"/>
                <a:gd name="connsiteX305" fmla="*/ 7069 w 10746"/>
                <a:gd name="connsiteY305" fmla="*/ 7504 h 10000"/>
                <a:gd name="connsiteX306" fmla="*/ 7106 w 10746"/>
                <a:gd name="connsiteY306" fmla="*/ 7453 h 10000"/>
                <a:gd name="connsiteX307" fmla="*/ 7111 w 10746"/>
                <a:gd name="connsiteY307" fmla="*/ 7436 h 10000"/>
                <a:gd name="connsiteX308" fmla="*/ 7138 w 10746"/>
                <a:gd name="connsiteY308" fmla="*/ 7402 h 10000"/>
                <a:gd name="connsiteX309" fmla="*/ 7143 w 10746"/>
                <a:gd name="connsiteY309" fmla="*/ 7376 h 10000"/>
                <a:gd name="connsiteX310" fmla="*/ 7152 w 10746"/>
                <a:gd name="connsiteY310" fmla="*/ 7368 h 10000"/>
                <a:gd name="connsiteX311" fmla="*/ 7157 w 10746"/>
                <a:gd name="connsiteY311" fmla="*/ 7350 h 10000"/>
                <a:gd name="connsiteX312" fmla="*/ 7230 w 10746"/>
                <a:gd name="connsiteY312" fmla="*/ 7239 h 10000"/>
                <a:gd name="connsiteX313" fmla="*/ 7240 w 10746"/>
                <a:gd name="connsiteY313" fmla="*/ 7205 h 10000"/>
                <a:gd name="connsiteX314" fmla="*/ 7253 w 10746"/>
                <a:gd name="connsiteY314" fmla="*/ 7188 h 10000"/>
                <a:gd name="connsiteX315" fmla="*/ 7258 w 10746"/>
                <a:gd name="connsiteY315" fmla="*/ 7162 h 10000"/>
                <a:gd name="connsiteX316" fmla="*/ 7258 w 10746"/>
                <a:gd name="connsiteY316" fmla="*/ 7154 h 10000"/>
                <a:gd name="connsiteX317" fmla="*/ 7272 w 10746"/>
                <a:gd name="connsiteY317" fmla="*/ 7120 h 10000"/>
                <a:gd name="connsiteX318" fmla="*/ 7276 w 10746"/>
                <a:gd name="connsiteY318" fmla="*/ 7094 h 10000"/>
                <a:gd name="connsiteX319" fmla="*/ 7286 w 10746"/>
                <a:gd name="connsiteY319" fmla="*/ 7094 h 10000"/>
                <a:gd name="connsiteX320" fmla="*/ 7290 w 10746"/>
                <a:gd name="connsiteY320" fmla="*/ 7068 h 10000"/>
                <a:gd name="connsiteX321" fmla="*/ 7332 w 10746"/>
                <a:gd name="connsiteY321" fmla="*/ 6991 h 10000"/>
                <a:gd name="connsiteX322" fmla="*/ 7336 w 10746"/>
                <a:gd name="connsiteY322" fmla="*/ 6991 h 10000"/>
                <a:gd name="connsiteX323" fmla="*/ 7364 w 10746"/>
                <a:gd name="connsiteY323" fmla="*/ 6940 h 10000"/>
                <a:gd name="connsiteX324" fmla="*/ 7373 w 10746"/>
                <a:gd name="connsiteY324" fmla="*/ 6906 h 10000"/>
                <a:gd name="connsiteX325" fmla="*/ 7378 w 10746"/>
                <a:gd name="connsiteY325" fmla="*/ 6915 h 10000"/>
                <a:gd name="connsiteX326" fmla="*/ 7406 w 10746"/>
                <a:gd name="connsiteY326" fmla="*/ 6880 h 10000"/>
                <a:gd name="connsiteX327" fmla="*/ 7410 w 10746"/>
                <a:gd name="connsiteY327" fmla="*/ 6846 h 10000"/>
                <a:gd name="connsiteX328" fmla="*/ 7419 w 10746"/>
                <a:gd name="connsiteY328" fmla="*/ 6803 h 10000"/>
                <a:gd name="connsiteX329" fmla="*/ 7585 w 10746"/>
                <a:gd name="connsiteY329" fmla="*/ 6504 h 10000"/>
                <a:gd name="connsiteX330" fmla="*/ 7765 w 10746"/>
                <a:gd name="connsiteY330" fmla="*/ 6504 h 10000"/>
                <a:gd name="connsiteX331" fmla="*/ 7765 w 10746"/>
                <a:gd name="connsiteY331" fmla="*/ 6530 h 10000"/>
                <a:gd name="connsiteX332" fmla="*/ 7774 w 10746"/>
                <a:gd name="connsiteY332" fmla="*/ 6556 h 10000"/>
                <a:gd name="connsiteX333" fmla="*/ 7779 w 10746"/>
                <a:gd name="connsiteY333" fmla="*/ 6556 h 10000"/>
                <a:gd name="connsiteX334" fmla="*/ 7793 w 10746"/>
                <a:gd name="connsiteY334" fmla="*/ 6547 h 10000"/>
                <a:gd name="connsiteX335" fmla="*/ 7793 w 10746"/>
                <a:gd name="connsiteY335" fmla="*/ 6530 h 10000"/>
                <a:gd name="connsiteX336" fmla="*/ 7802 w 10746"/>
                <a:gd name="connsiteY336" fmla="*/ 6496 h 10000"/>
                <a:gd name="connsiteX337" fmla="*/ 7806 w 10746"/>
                <a:gd name="connsiteY337" fmla="*/ 6487 h 10000"/>
                <a:gd name="connsiteX338" fmla="*/ 7876 w 10746"/>
                <a:gd name="connsiteY338" fmla="*/ 6530 h 10000"/>
                <a:gd name="connsiteX339" fmla="*/ 7894 w 10746"/>
                <a:gd name="connsiteY339" fmla="*/ 6530 h 10000"/>
                <a:gd name="connsiteX340" fmla="*/ 7894 w 10746"/>
                <a:gd name="connsiteY340" fmla="*/ 6504 h 10000"/>
                <a:gd name="connsiteX341" fmla="*/ 7899 w 10746"/>
                <a:gd name="connsiteY341" fmla="*/ 6504 h 10000"/>
                <a:gd name="connsiteX342" fmla="*/ 7926 w 10746"/>
                <a:gd name="connsiteY342" fmla="*/ 6504 h 10000"/>
                <a:gd name="connsiteX343" fmla="*/ 7940 w 10746"/>
                <a:gd name="connsiteY343" fmla="*/ 6547 h 10000"/>
                <a:gd name="connsiteX344" fmla="*/ 7949 w 10746"/>
                <a:gd name="connsiteY344" fmla="*/ 6547 h 10000"/>
                <a:gd name="connsiteX345" fmla="*/ 7963 w 10746"/>
                <a:gd name="connsiteY345" fmla="*/ 6530 h 10000"/>
                <a:gd name="connsiteX346" fmla="*/ 7963 w 10746"/>
                <a:gd name="connsiteY346" fmla="*/ 6504 h 10000"/>
                <a:gd name="connsiteX347" fmla="*/ 7963 w 10746"/>
                <a:gd name="connsiteY347" fmla="*/ 6504 h 10000"/>
                <a:gd name="connsiteX348" fmla="*/ 7954 w 10746"/>
                <a:gd name="connsiteY348" fmla="*/ 6496 h 10000"/>
                <a:gd name="connsiteX349" fmla="*/ 7963 w 10746"/>
                <a:gd name="connsiteY349" fmla="*/ 6487 h 10000"/>
                <a:gd name="connsiteX350" fmla="*/ 7982 w 10746"/>
                <a:gd name="connsiteY350" fmla="*/ 6487 h 10000"/>
                <a:gd name="connsiteX351" fmla="*/ 7982 w 10746"/>
                <a:gd name="connsiteY351" fmla="*/ 6470 h 10000"/>
                <a:gd name="connsiteX352" fmla="*/ 7972 w 10746"/>
                <a:gd name="connsiteY352" fmla="*/ 6462 h 10000"/>
                <a:gd name="connsiteX353" fmla="*/ 7972 w 10746"/>
                <a:gd name="connsiteY353" fmla="*/ 6436 h 10000"/>
                <a:gd name="connsiteX354" fmla="*/ 7986 w 10746"/>
                <a:gd name="connsiteY354" fmla="*/ 6419 h 10000"/>
                <a:gd name="connsiteX355" fmla="*/ 8000 w 10746"/>
                <a:gd name="connsiteY355" fmla="*/ 6419 h 10000"/>
                <a:gd name="connsiteX356" fmla="*/ 8055 w 10746"/>
                <a:gd name="connsiteY356" fmla="*/ 6462 h 10000"/>
                <a:gd name="connsiteX357" fmla="*/ 8069 w 10746"/>
                <a:gd name="connsiteY357" fmla="*/ 6444 h 10000"/>
                <a:gd name="connsiteX358" fmla="*/ 8083 w 10746"/>
                <a:gd name="connsiteY358" fmla="*/ 6470 h 10000"/>
                <a:gd name="connsiteX359" fmla="*/ 8083 w 10746"/>
                <a:gd name="connsiteY359" fmla="*/ 6487 h 10000"/>
                <a:gd name="connsiteX360" fmla="*/ 8097 w 10746"/>
                <a:gd name="connsiteY360" fmla="*/ 6487 h 10000"/>
                <a:gd name="connsiteX361" fmla="*/ 8101 w 10746"/>
                <a:gd name="connsiteY361" fmla="*/ 6462 h 10000"/>
                <a:gd name="connsiteX362" fmla="*/ 8115 w 10746"/>
                <a:gd name="connsiteY362" fmla="*/ 6462 h 10000"/>
                <a:gd name="connsiteX363" fmla="*/ 8129 w 10746"/>
                <a:gd name="connsiteY363" fmla="*/ 6462 h 10000"/>
                <a:gd name="connsiteX364" fmla="*/ 8157 w 10746"/>
                <a:gd name="connsiteY364" fmla="*/ 6496 h 10000"/>
                <a:gd name="connsiteX365" fmla="*/ 8157 w 10746"/>
                <a:gd name="connsiteY365" fmla="*/ 6521 h 10000"/>
                <a:gd name="connsiteX366" fmla="*/ 8180 w 10746"/>
                <a:gd name="connsiteY366" fmla="*/ 6530 h 10000"/>
                <a:gd name="connsiteX367" fmla="*/ 8180 w 10746"/>
                <a:gd name="connsiteY367" fmla="*/ 6547 h 10000"/>
                <a:gd name="connsiteX368" fmla="*/ 8171 w 10746"/>
                <a:gd name="connsiteY368" fmla="*/ 6556 h 10000"/>
                <a:gd name="connsiteX369" fmla="*/ 8129 w 10746"/>
                <a:gd name="connsiteY369" fmla="*/ 6556 h 10000"/>
                <a:gd name="connsiteX370" fmla="*/ 8106 w 10746"/>
                <a:gd name="connsiteY370" fmla="*/ 6573 h 10000"/>
                <a:gd name="connsiteX371" fmla="*/ 8115 w 10746"/>
                <a:gd name="connsiteY371" fmla="*/ 6581 h 10000"/>
                <a:gd name="connsiteX372" fmla="*/ 8129 w 10746"/>
                <a:gd name="connsiteY372" fmla="*/ 6632 h 10000"/>
                <a:gd name="connsiteX373" fmla="*/ 8171 w 10746"/>
                <a:gd name="connsiteY373" fmla="*/ 6632 h 10000"/>
                <a:gd name="connsiteX374" fmla="*/ 8180 w 10746"/>
                <a:gd name="connsiteY374" fmla="*/ 6624 h 10000"/>
                <a:gd name="connsiteX375" fmla="*/ 8189 w 10746"/>
                <a:gd name="connsiteY375" fmla="*/ 6598 h 10000"/>
                <a:gd name="connsiteX376" fmla="*/ 8203 w 10746"/>
                <a:gd name="connsiteY376" fmla="*/ 6581 h 10000"/>
                <a:gd name="connsiteX377" fmla="*/ 8207 w 10746"/>
                <a:gd name="connsiteY377" fmla="*/ 6607 h 10000"/>
                <a:gd name="connsiteX378" fmla="*/ 8221 w 10746"/>
                <a:gd name="connsiteY378" fmla="*/ 6624 h 10000"/>
                <a:gd name="connsiteX379" fmla="*/ 8235 w 10746"/>
                <a:gd name="connsiteY379" fmla="*/ 6607 h 10000"/>
                <a:gd name="connsiteX380" fmla="*/ 8240 w 10746"/>
                <a:gd name="connsiteY380" fmla="*/ 6581 h 10000"/>
                <a:gd name="connsiteX381" fmla="*/ 8253 w 10746"/>
                <a:gd name="connsiteY381" fmla="*/ 6573 h 10000"/>
                <a:gd name="connsiteX382" fmla="*/ 8263 w 10746"/>
                <a:gd name="connsiteY382" fmla="*/ 6556 h 10000"/>
                <a:gd name="connsiteX383" fmla="*/ 8276 w 10746"/>
                <a:gd name="connsiteY383" fmla="*/ 6547 h 10000"/>
                <a:gd name="connsiteX384" fmla="*/ 8290 w 10746"/>
                <a:gd name="connsiteY384" fmla="*/ 6556 h 10000"/>
                <a:gd name="connsiteX385" fmla="*/ 8304 w 10746"/>
                <a:gd name="connsiteY385" fmla="*/ 6581 h 10000"/>
                <a:gd name="connsiteX386" fmla="*/ 8309 w 10746"/>
                <a:gd name="connsiteY386" fmla="*/ 6581 h 10000"/>
                <a:gd name="connsiteX387" fmla="*/ 8327 w 10746"/>
                <a:gd name="connsiteY387" fmla="*/ 6573 h 10000"/>
                <a:gd name="connsiteX388" fmla="*/ 8327 w 10746"/>
                <a:gd name="connsiteY388" fmla="*/ 6556 h 10000"/>
                <a:gd name="connsiteX389" fmla="*/ 8350 w 10746"/>
                <a:gd name="connsiteY389" fmla="*/ 6556 h 10000"/>
                <a:gd name="connsiteX390" fmla="*/ 8355 w 10746"/>
                <a:gd name="connsiteY390" fmla="*/ 6573 h 10000"/>
                <a:gd name="connsiteX391" fmla="*/ 8364 w 10746"/>
                <a:gd name="connsiteY391" fmla="*/ 6556 h 10000"/>
                <a:gd name="connsiteX392" fmla="*/ 8369 w 10746"/>
                <a:gd name="connsiteY392" fmla="*/ 6556 h 10000"/>
                <a:gd name="connsiteX393" fmla="*/ 8378 w 10746"/>
                <a:gd name="connsiteY393" fmla="*/ 6530 h 10000"/>
                <a:gd name="connsiteX394" fmla="*/ 8369 w 10746"/>
                <a:gd name="connsiteY394" fmla="*/ 6504 h 10000"/>
                <a:gd name="connsiteX395" fmla="*/ 8364 w 10746"/>
                <a:gd name="connsiteY395" fmla="*/ 6496 h 10000"/>
                <a:gd name="connsiteX396" fmla="*/ 8336 w 10746"/>
                <a:gd name="connsiteY396" fmla="*/ 6470 h 10000"/>
                <a:gd name="connsiteX397" fmla="*/ 8309 w 10746"/>
                <a:gd name="connsiteY397" fmla="*/ 6487 h 10000"/>
                <a:gd name="connsiteX398" fmla="*/ 8313 w 10746"/>
                <a:gd name="connsiteY398" fmla="*/ 6462 h 10000"/>
                <a:gd name="connsiteX399" fmla="*/ 8323 w 10746"/>
                <a:gd name="connsiteY399" fmla="*/ 6444 h 10000"/>
                <a:gd name="connsiteX400" fmla="*/ 8309 w 10746"/>
                <a:gd name="connsiteY400" fmla="*/ 6393 h 10000"/>
                <a:gd name="connsiteX401" fmla="*/ 8313 w 10746"/>
                <a:gd name="connsiteY401" fmla="*/ 6385 h 10000"/>
                <a:gd name="connsiteX402" fmla="*/ 8323 w 10746"/>
                <a:gd name="connsiteY402" fmla="*/ 6393 h 10000"/>
                <a:gd name="connsiteX403" fmla="*/ 8323 w 10746"/>
                <a:gd name="connsiteY403" fmla="*/ 6393 h 10000"/>
                <a:gd name="connsiteX404" fmla="*/ 8355 w 10746"/>
                <a:gd name="connsiteY404" fmla="*/ 6282 h 10000"/>
                <a:gd name="connsiteX405" fmla="*/ 8369 w 10746"/>
                <a:gd name="connsiteY405" fmla="*/ 6256 h 10000"/>
                <a:gd name="connsiteX406" fmla="*/ 8382 w 10746"/>
                <a:gd name="connsiteY406" fmla="*/ 6248 h 10000"/>
                <a:gd name="connsiteX407" fmla="*/ 8424 w 10746"/>
                <a:gd name="connsiteY407" fmla="*/ 6162 h 10000"/>
                <a:gd name="connsiteX408" fmla="*/ 8429 w 10746"/>
                <a:gd name="connsiteY408" fmla="*/ 6145 h 10000"/>
                <a:gd name="connsiteX409" fmla="*/ 8470 w 10746"/>
                <a:gd name="connsiteY409" fmla="*/ 6051 h 10000"/>
                <a:gd name="connsiteX410" fmla="*/ 8475 w 10746"/>
                <a:gd name="connsiteY410" fmla="*/ 5983 h 10000"/>
                <a:gd name="connsiteX411" fmla="*/ 8512 w 10746"/>
                <a:gd name="connsiteY411" fmla="*/ 5940 h 10000"/>
                <a:gd name="connsiteX412" fmla="*/ 8521 w 10746"/>
                <a:gd name="connsiteY412" fmla="*/ 5923 h 10000"/>
                <a:gd name="connsiteX413" fmla="*/ 8535 w 10746"/>
                <a:gd name="connsiteY413" fmla="*/ 5915 h 10000"/>
                <a:gd name="connsiteX414" fmla="*/ 8562 w 10746"/>
                <a:gd name="connsiteY414" fmla="*/ 5915 h 10000"/>
                <a:gd name="connsiteX415" fmla="*/ 8618 w 10746"/>
                <a:gd name="connsiteY415" fmla="*/ 5889 h 10000"/>
                <a:gd name="connsiteX416" fmla="*/ 8622 w 10746"/>
                <a:gd name="connsiteY416" fmla="*/ 5889 h 10000"/>
                <a:gd name="connsiteX417" fmla="*/ 8622 w 10746"/>
                <a:gd name="connsiteY417" fmla="*/ 5872 h 10000"/>
                <a:gd name="connsiteX418" fmla="*/ 8636 w 10746"/>
                <a:gd name="connsiteY418" fmla="*/ 5872 h 10000"/>
                <a:gd name="connsiteX419" fmla="*/ 8650 w 10746"/>
                <a:gd name="connsiteY419" fmla="*/ 5889 h 10000"/>
                <a:gd name="connsiteX420" fmla="*/ 8659 w 10746"/>
                <a:gd name="connsiteY420" fmla="*/ 5915 h 10000"/>
                <a:gd name="connsiteX421" fmla="*/ 8664 w 10746"/>
                <a:gd name="connsiteY421" fmla="*/ 5940 h 10000"/>
                <a:gd name="connsiteX422" fmla="*/ 8682 w 10746"/>
                <a:gd name="connsiteY422" fmla="*/ 5923 h 10000"/>
                <a:gd name="connsiteX423" fmla="*/ 8719 w 10746"/>
                <a:gd name="connsiteY423" fmla="*/ 5863 h 10000"/>
                <a:gd name="connsiteX424" fmla="*/ 8705 w 10746"/>
                <a:gd name="connsiteY424" fmla="*/ 5966 h 10000"/>
                <a:gd name="connsiteX425" fmla="*/ 8696 w 10746"/>
                <a:gd name="connsiteY425" fmla="*/ 5983 h 10000"/>
                <a:gd name="connsiteX426" fmla="*/ 8682 w 10746"/>
                <a:gd name="connsiteY426" fmla="*/ 6026 h 10000"/>
                <a:gd name="connsiteX427" fmla="*/ 8682 w 10746"/>
                <a:gd name="connsiteY427" fmla="*/ 6051 h 10000"/>
                <a:gd name="connsiteX428" fmla="*/ 8691 w 10746"/>
                <a:gd name="connsiteY428" fmla="*/ 6077 h 10000"/>
                <a:gd name="connsiteX429" fmla="*/ 8691 w 10746"/>
                <a:gd name="connsiteY429" fmla="*/ 6085 h 10000"/>
                <a:gd name="connsiteX430" fmla="*/ 8682 w 10746"/>
                <a:gd name="connsiteY430" fmla="*/ 6103 h 10000"/>
                <a:gd name="connsiteX431" fmla="*/ 8682 w 10746"/>
                <a:gd name="connsiteY431" fmla="*/ 6111 h 10000"/>
                <a:gd name="connsiteX432" fmla="*/ 8691 w 10746"/>
                <a:gd name="connsiteY432" fmla="*/ 6120 h 10000"/>
                <a:gd name="connsiteX433" fmla="*/ 8719 w 10746"/>
                <a:gd name="connsiteY433" fmla="*/ 6103 h 10000"/>
                <a:gd name="connsiteX434" fmla="*/ 8705 w 10746"/>
                <a:gd name="connsiteY434" fmla="*/ 6188 h 10000"/>
                <a:gd name="connsiteX435" fmla="*/ 8705 w 10746"/>
                <a:gd name="connsiteY435" fmla="*/ 6214 h 10000"/>
                <a:gd name="connsiteX436" fmla="*/ 8710 w 10746"/>
                <a:gd name="connsiteY436" fmla="*/ 6197 h 10000"/>
                <a:gd name="connsiteX437" fmla="*/ 8728 w 10746"/>
                <a:gd name="connsiteY437" fmla="*/ 6171 h 10000"/>
                <a:gd name="connsiteX438" fmla="*/ 8737 w 10746"/>
                <a:gd name="connsiteY438" fmla="*/ 6171 h 10000"/>
                <a:gd name="connsiteX439" fmla="*/ 8843 w 10746"/>
                <a:gd name="connsiteY439" fmla="*/ 5949 h 10000"/>
                <a:gd name="connsiteX440" fmla="*/ 8866 w 10746"/>
                <a:gd name="connsiteY440" fmla="*/ 5949 h 10000"/>
                <a:gd name="connsiteX441" fmla="*/ 8871 w 10746"/>
                <a:gd name="connsiteY441" fmla="*/ 5940 h 10000"/>
                <a:gd name="connsiteX442" fmla="*/ 8876 w 10746"/>
                <a:gd name="connsiteY442" fmla="*/ 5923 h 10000"/>
                <a:gd name="connsiteX443" fmla="*/ 8885 w 10746"/>
                <a:gd name="connsiteY443" fmla="*/ 5940 h 10000"/>
                <a:gd name="connsiteX444" fmla="*/ 8885 w 10746"/>
                <a:gd name="connsiteY444" fmla="*/ 5949 h 10000"/>
                <a:gd name="connsiteX445" fmla="*/ 8885 w 10746"/>
                <a:gd name="connsiteY445" fmla="*/ 5974 h 10000"/>
                <a:gd name="connsiteX446" fmla="*/ 8889 w 10746"/>
                <a:gd name="connsiteY446" fmla="*/ 5974 h 10000"/>
                <a:gd name="connsiteX447" fmla="*/ 8903 w 10746"/>
                <a:gd name="connsiteY447" fmla="*/ 5923 h 10000"/>
                <a:gd name="connsiteX448" fmla="*/ 8889 w 10746"/>
                <a:gd name="connsiteY448" fmla="*/ 5923 h 10000"/>
                <a:gd name="connsiteX449" fmla="*/ 8889 w 10746"/>
                <a:gd name="connsiteY449" fmla="*/ 5897 h 10000"/>
                <a:gd name="connsiteX450" fmla="*/ 8899 w 10746"/>
                <a:gd name="connsiteY450" fmla="*/ 5838 h 10000"/>
                <a:gd name="connsiteX451" fmla="*/ 8889 w 10746"/>
                <a:gd name="connsiteY451" fmla="*/ 5812 h 10000"/>
                <a:gd name="connsiteX452" fmla="*/ 8903 w 10746"/>
                <a:gd name="connsiteY452" fmla="*/ 5778 h 10000"/>
                <a:gd name="connsiteX453" fmla="*/ 8903 w 10746"/>
                <a:gd name="connsiteY453" fmla="*/ 5761 h 10000"/>
                <a:gd name="connsiteX454" fmla="*/ 8912 w 10746"/>
                <a:gd name="connsiteY454" fmla="*/ 5735 h 10000"/>
                <a:gd name="connsiteX455" fmla="*/ 8931 w 10746"/>
                <a:gd name="connsiteY455" fmla="*/ 5701 h 10000"/>
                <a:gd name="connsiteX456" fmla="*/ 8977 w 10746"/>
                <a:gd name="connsiteY456" fmla="*/ 5675 h 10000"/>
                <a:gd name="connsiteX457" fmla="*/ 9000 w 10746"/>
                <a:gd name="connsiteY457" fmla="*/ 5675 h 10000"/>
                <a:gd name="connsiteX458" fmla="*/ 9018 w 10746"/>
                <a:gd name="connsiteY458" fmla="*/ 5709 h 10000"/>
                <a:gd name="connsiteX459" fmla="*/ 9009 w 10746"/>
                <a:gd name="connsiteY459" fmla="*/ 5735 h 10000"/>
                <a:gd name="connsiteX460" fmla="*/ 9000 w 10746"/>
                <a:gd name="connsiteY460" fmla="*/ 5735 h 10000"/>
                <a:gd name="connsiteX461" fmla="*/ 8963 w 10746"/>
                <a:gd name="connsiteY461" fmla="*/ 5786 h 10000"/>
                <a:gd name="connsiteX462" fmla="*/ 8949 w 10746"/>
                <a:gd name="connsiteY462" fmla="*/ 5940 h 10000"/>
                <a:gd name="connsiteX463" fmla="*/ 8945 w 10746"/>
                <a:gd name="connsiteY463" fmla="*/ 5966 h 10000"/>
                <a:gd name="connsiteX464" fmla="*/ 8945 w 10746"/>
                <a:gd name="connsiteY464" fmla="*/ 6000 h 10000"/>
                <a:gd name="connsiteX465" fmla="*/ 8945 w 10746"/>
                <a:gd name="connsiteY465" fmla="*/ 6009 h 10000"/>
                <a:gd name="connsiteX466" fmla="*/ 8945 w 10746"/>
                <a:gd name="connsiteY466" fmla="*/ 6034 h 10000"/>
                <a:gd name="connsiteX467" fmla="*/ 8931 w 10746"/>
                <a:gd name="connsiteY467" fmla="*/ 6060 h 10000"/>
                <a:gd name="connsiteX468" fmla="*/ 8926 w 10746"/>
                <a:gd name="connsiteY468" fmla="*/ 6077 h 10000"/>
                <a:gd name="connsiteX469" fmla="*/ 8926 w 10746"/>
                <a:gd name="connsiteY469" fmla="*/ 6111 h 10000"/>
                <a:gd name="connsiteX470" fmla="*/ 8931 w 10746"/>
                <a:gd name="connsiteY470" fmla="*/ 6120 h 10000"/>
                <a:gd name="connsiteX471" fmla="*/ 8931 w 10746"/>
                <a:gd name="connsiteY471" fmla="*/ 6137 h 10000"/>
                <a:gd name="connsiteX472" fmla="*/ 8912 w 10746"/>
                <a:gd name="connsiteY472" fmla="*/ 6171 h 10000"/>
                <a:gd name="connsiteX473" fmla="*/ 8899 w 10746"/>
                <a:gd name="connsiteY473" fmla="*/ 6162 h 10000"/>
                <a:gd name="connsiteX474" fmla="*/ 8885 w 10746"/>
                <a:gd name="connsiteY474" fmla="*/ 6171 h 10000"/>
                <a:gd name="connsiteX475" fmla="*/ 8866 w 10746"/>
                <a:gd name="connsiteY475" fmla="*/ 6214 h 10000"/>
                <a:gd name="connsiteX476" fmla="*/ 8853 w 10746"/>
                <a:gd name="connsiteY476" fmla="*/ 6214 h 10000"/>
                <a:gd name="connsiteX477" fmla="*/ 8816 w 10746"/>
                <a:gd name="connsiteY477" fmla="*/ 6248 h 10000"/>
                <a:gd name="connsiteX478" fmla="*/ 8816 w 10746"/>
                <a:gd name="connsiteY478" fmla="*/ 6248 h 10000"/>
                <a:gd name="connsiteX479" fmla="*/ 8816 w 10746"/>
                <a:gd name="connsiteY479" fmla="*/ 6282 h 10000"/>
                <a:gd name="connsiteX480" fmla="*/ 8811 w 10746"/>
                <a:gd name="connsiteY480" fmla="*/ 6308 h 10000"/>
                <a:gd name="connsiteX481" fmla="*/ 8751 w 10746"/>
                <a:gd name="connsiteY481" fmla="*/ 6436 h 10000"/>
                <a:gd name="connsiteX482" fmla="*/ 8724 w 10746"/>
                <a:gd name="connsiteY482" fmla="*/ 6470 h 10000"/>
                <a:gd name="connsiteX483" fmla="*/ 8710 w 10746"/>
                <a:gd name="connsiteY483" fmla="*/ 6504 h 10000"/>
                <a:gd name="connsiteX484" fmla="*/ 8705 w 10746"/>
                <a:gd name="connsiteY484" fmla="*/ 6521 h 10000"/>
                <a:gd name="connsiteX485" fmla="*/ 8677 w 10746"/>
                <a:gd name="connsiteY485" fmla="*/ 6573 h 10000"/>
                <a:gd name="connsiteX486" fmla="*/ 8677 w 10746"/>
                <a:gd name="connsiteY486" fmla="*/ 6624 h 10000"/>
                <a:gd name="connsiteX487" fmla="*/ 8590 w 10746"/>
                <a:gd name="connsiteY487" fmla="*/ 6803 h 10000"/>
                <a:gd name="connsiteX488" fmla="*/ 8562 w 10746"/>
                <a:gd name="connsiteY488" fmla="*/ 6829 h 10000"/>
                <a:gd name="connsiteX489" fmla="*/ 8544 w 10746"/>
                <a:gd name="connsiteY489" fmla="*/ 6829 h 10000"/>
                <a:gd name="connsiteX490" fmla="*/ 8521 w 10746"/>
                <a:gd name="connsiteY490" fmla="*/ 6880 h 10000"/>
                <a:gd name="connsiteX491" fmla="*/ 8498 w 10746"/>
                <a:gd name="connsiteY491" fmla="*/ 6872 h 10000"/>
                <a:gd name="connsiteX492" fmla="*/ 8488 w 10746"/>
                <a:gd name="connsiteY492" fmla="*/ 6872 h 10000"/>
                <a:gd name="connsiteX493" fmla="*/ 8498 w 10746"/>
                <a:gd name="connsiteY493" fmla="*/ 6940 h 10000"/>
                <a:gd name="connsiteX494" fmla="*/ 8484 w 10746"/>
                <a:gd name="connsiteY494" fmla="*/ 7026 h 10000"/>
                <a:gd name="connsiteX495" fmla="*/ 8429 w 10746"/>
                <a:gd name="connsiteY495" fmla="*/ 7094 h 10000"/>
                <a:gd name="connsiteX496" fmla="*/ 8401 w 10746"/>
                <a:gd name="connsiteY496" fmla="*/ 7291 h 10000"/>
                <a:gd name="connsiteX497" fmla="*/ 8424 w 10746"/>
                <a:gd name="connsiteY497" fmla="*/ 7692 h 10000"/>
                <a:gd name="connsiteX498" fmla="*/ 8424 w 10746"/>
                <a:gd name="connsiteY498" fmla="*/ 7701 h 10000"/>
                <a:gd name="connsiteX499" fmla="*/ 8484 w 10746"/>
                <a:gd name="connsiteY499" fmla="*/ 8308 h 10000"/>
                <a:gd name="connsiteX500" fmla="*/ 8576 w 10746"/>
                <a:gd name="connsiteY500" fmla="*/ 8120 h 10000"/>
                <a:gd name="connsiteX501" fmla="*/ 8590 w 10746"/>
                <a:gd name="connsiteY501" fmla="*/ 8026 h 10000"/>
                <a:gd name="connsiteX502" fmla="*/ 8590 w 10746"/>
                <a:gd name="connsiteY502" fmla="*/ 7983 h 10000"/>
                <a:gd name="connsiteX503" fmla="*/ 8594 w 10746"/>
                <a:gd name="connsiteY503" fmla="*/ 7974 h 10000"/>
                <a:gd name="connsiteX504" fmla="*/ 8594 w 10746"/>
                <a:gd name="connsiteY504" fmla="*/ 7940 h 10000"/>
                <a:gd name="connsiteX505" fmla="*/ 8594 w 10746"/>
                <a:gd name="connsiteY505" fmla="*/ 7923 h 10000"/>
                <a:gd name="connsiteX506" fmla="*/ 8594 w 10746"/>
                <a:gd name="connsiteY506" fmla="*/ 7915 h 10000"/>
                <a:gd name="connsiteX507" fmla="*/ 8604 w 10746"/>
                <a:gd name="connsiteY507" fmla="*/ 7915 h 10000"/>
                <a:gd name="connsiteX508" fmla="*/ 8608 w 10746"/>
                <a:gd name="connsiteY508" fmla="*/ 7923 h 10000"/>
                <a:gd name="connsiteX509" fmla="*/ 8645 w 10746"/>
                <a:gd name="connsiteY509" fmla="*/ 7872 h 10000"/>
                <a:gd name="connsiteX510" fmla="*/ 8668 w 10746"/>
                <a:gd name="connsiteY510" fmla="*/ 7846 h 10000"/>
                <a:gd name="connsiteX511" fmla="*/ 8691 w 10746"/>
                <a:gd name="connsiteY511" fmla="*/ 7863 h 10000"/>
                <a:gd name="connsiteX512" fmla="*/ 8691 w 10746"/>
                <a:gd name="connsiteY512" fmla="*/ 7846 h 10000"/>
                <a:gd name="connsiteX513" fmla="*/ 8682 w 10746"/>
                <a:gd name="connsiteY513" fmla="*/ 7838 h 10000"/>
                <a:gd name="connsiteX514" fmla="*/ 8682 w 10746"/>
                <a:gd name="connsiteY514" fmla="*/ 7692 h 10000"/>
                <a:gd name="connsiteX515" fmla="*/ 8728 w 10746"/>
                <a:gd name="connsiteY515" fmla="*/ 7598 h 10000"/>
                <a:gd name="connsiteX516" fmla="*/ 8751 w 10746"/>
                <a:gd name="connsiteY516" fmla="*/ 7573 h 10000"/>
                <a:gd name="connsiteX517" fmla="*/ 8770 w 10746"/>
                <a:gd name="connsiteY517" fmla="*/ 7573 h 10000"/>
                <a:gd name="connsiteX518" fmla="*/ 8779 w 10746"/>
                <a:gd name="connsiteY518" fmla="*/ 7590 h 10000"/>
                <a:gd name="connsiteX519" fmla="*/ 8793 w 10746"/>
                <a:gd name="connsiteY519" fmla="*/ 7590 h 10000"/>
                <a:gd name="connsiteX520" fmla="*/ 8811 w 10746"/>
                <a:gd name="connsiteY520" fmla="*/ 7590 h 10000"/>
                <a:gd name="connsiteX521" fmla="*/ 8825 w 10746"/>
                <a:gd name="connsiteY521" fmla="*/ 7556 h 10000"/>
                <a:gd name="connsiteX522" fmla="*/ 8829 w 10746"/>
                <a:gd name="connsiteY522" fmla="*/ 7530 h 10000"/>
                <a:gd name="connsiteX523" fmla="*/ 8802 w 10746"/>
                <a:gd name="connsiteY523" fmla="*/ 7462 h 10000"/>
                <a:gd name="connsiteX524" fmla="*/ 8797 w 10746"/>
                <a:gd name="connsiteY524" fmla="*/ 7402 h 10000"/>
                <a:gd name="connsiteX525" fmla="*/ 8816 w 10746"/>
                <a:gd name="connsiteY525" fmla="*/ 7291 h 10000"/>
                <a:gd name="connsiteX526" fmla="*/ 8825 w 10746"/>
                <a:gd name="connsiteY526" fmla="*/ 7256 h 10000"/>
                <a:gd name="connsiteX527" fmla="*/ 8843 w 10746"/>
                <a:gd name="connsiteY527" fmla="*/ 7231 h 10000"/>
                <a:gd name="connsiteX528" fmla="*/ 8839 w 10746"/>
                <a:gd name="connsiteY528" fmla="*/ 7205 h 10000"/>
                <a:gd name="connsiteX529" fmla="*/ 8839 w 10746"/>
                <a:gd name="connsiteY529" fmla="*/ 7188 h 10000"/>
                <a:gd name="connsiteX530" fmla="*/ 8876 w 10746"/>
                <a:gd name="connsiteY530" fmla="*/ 7162 h 10000"/>
                <a:gd name="connsiteX531" fmla="*/ 8885 w 10746"/>
                <a:gd name="connsiteY531" fmla="*/ 7154 h 10000"/>
                <a:gd name="connsiteX532" fmla="*/ 8885 w 10746"/>
                <a:gd name="connsiteY532" fmla="*/ 7162 h 10000"/>
                <a:gd name="connsiteX533" fmla="*/ 8876 w 10746"/>
                <a:gd name="connsiteY533" fmla="*/ 7188 h 10000"/>
                <a:gd name="connsiteX534" fmla="*/ 8871 w 10746"/>
                <a:gd name="connsiteY534" fmla="*/ 7205 h 10000"/>
                <a:gd name="connsiteX535" fmla="*/ 8866 w 10746"/>
                <a:gd name="connsiteY535" fmla="*/ 7214 h 10000"/>
                <a:gd name="connsiteX536" fmla="*/ 8876 w 10746"/>
                <a:gd name="connsiteY536" fmla="*/ 7265 h 10000"/>
                <a:gd name="connsiteX537" fmla="*/ 8885 w 10746"/>
                <a:gd name="connsiteY537" fmla="*/ 7282 h 10000"/>
                <a:gd name="connsiteX538" fmla="*/ 8889 w 10746"/>
                <a:gd name="connsiteY538" fmla="*/ 7282 h 10000"/>
                <a:gd name="connsiteX539" fmla="*/ 8903 w 10746"/>
                <a:gd name="connsiteY539" fmla="*/ 7239 h 10000"/>
                <a:gd name="connsiteX540" fmla="*/ 8903 w 10746"/>
                <a:gd name="connsiteY540" fmla="*/ 7214 h 10000"/>
                <a:gd name="connsiteX541" fmla="*/ 8899 w 10746"/>
                <a:gd name="connsiteY541" fmla="*/ 7128 h 10000"/>
                <a:gd name="connsiteX542" fmla="*/ 8889 w 10746"/>
                <a:gd name="connsiteY542" fmla="*/ 7120 h 10000"/>
                <a:gd name="connsiteX543" fmla="*/ 8871 w 10746"/>
                <a:gd name="connsiteY543" fmla="*/ 7120 h 10000"/>
                <a:gd name="connsiteX544" fmla="*/ 8871 w 10746"/>
                <a:gd name="connsiteY544" fmla="*/ 7120 h 10000"/>
                <a:gd name="connsiteX545" fmla="*/ 8871 w 10746"/>
                <a:gd name="connsiteY545" fmla="*/ 6991 h 10000"/>
                <a:gd name="connsiteX546" fmla="*/ 8871 w 10746"/>
                <a:gd name="connsiteY546" fmla="*/ 6966 h 10000"/>
                <a:gd name="connsiteX547" fmla="*/ 8889 w 10746"/>
                <a:gd name="connsiteY547" fmla="*/ 6940 h 10000"/>
                <a:gd name="connsiteX548" fmla="*/ 8903 w 10746"/>
                <a:gd name="connsiteY548" fmla="*/ 6906 h 10000"/>
                <a:gd name="connsiteX549" fmla="*/ 8899 w 10746"/>
                <a:gd name="connsiteY549" fmla="*/ 6880 h 10000"/>
                <a:gd name="connsiteX550" fmla="*/ 8866 w 10746"/>
                <a:gd name="connsiteY550" fmla="*/ 6846 h 10000"/>
                <a:gd name="connsiteX551" fmla="*/ 8853 w 10746"/>
                <a:gd name="connsiteY551" fmla="*/ 6846 h 10000"/>
                <a:gd name="connsiteX552" fmla="*/ 8843 w 10746"/>
                <a:gd name="connsiteY552" fmla="*/ 6880 h 10000"/>
                <a:gd name="connsiteX553" fmla="*/ 8843 w 10746"/>
                <a:gd name="connsiteY553" fmla="*/ 6897 h 10000"/>
                <a:gd name="connsiteX554" fmla="*/ 8829 w 10746"/>
                <a:gd name="connsiteY554" fmla="*/ 6880 h 10000"/>
                <a:gd name="connsiteX555" fmla="*/ 8825 w 10746"/>
                <a:gd name="connsiteY555" fmla="*/ 6872 h 10000"/>
                <a:gd name="connsiteX556" fmla="*/ 8816 w 10746"/>
                <a:gd name="connsiteY556" fmla="*/ 6846 h 10000"/>
                <a:gd name="connsiteX557" fmla="*/ 8816 w 10746"/>
                <a:gd name="connsiteY557" fmla="*/ 6803 h 10000"/>
                <a:gd name="connsiteX558" fmla="*/ 8876 w 10746"/>
                <a:gd name="connsiteY558" fmla="*/ 6598 h 10000"/>
                <a:gd name="connsiteX559" fmla="*/ 8876 w 10746"/>
                <a:gd name="connsiteY559" fmla="*/ 6573 h 10000"/>
                <a:gd name="connsiteX560" fmla="*/ 8885 w 10746"/>
                <a:gd name="connsiteY560" fmla="*/ 6556 h 10000"/>
                <a:gd name="connsiteX561" fmla="*/ 8899 w 10746"/>
                <a:gd name="connsiteY561" fmla="*/ 6573 h 10000"/>
                <a:gd name="connsiteX562" fmla="*/ 8889 w 10746"/>
                <a:gd name="connsiteY562" fmla="*/ 6556 h 10000"/>
                <a:gd name="connsiteX563" fmla="*/ 8889 w 10746"/>
                <a:gd name="connsiteY563" fmla="*/ 6530 h 10000"/>
                <a:gd name="connsiteX564" fmla="*/ 8903 w 10746"/>
                <a:gd name="connsiteY564" fmla="*/ 6521 h 10000"/>
                <a:gd name="connsiteX565" fmla="*/ 8903 w 10746"/>
                <a:gd name="connsiteY565" fmla="*/ 6504 h 10000"/>
                <a:gd name="connsiteX566" fmla="*/ 8903 w 10746"/>
                <a:gd name="connsiteY566" fmla="*/ 6487 h 10000"/>
                <a:gd name="connsiteX567" fmla="*/ 8903 w 10746"/>
                <a:gd name="connsiteY567" fmla="*/ 6462 h 10000"/>
                <a:gd name="connsiteX568" fmla="*/ 8912 w 10746"/>
                <a:gd name="connsiteY568" fmla="*/ 6419 h 10000"/>
                <a:gd name="connsiteX569" fmla="*/ 8917 w 10746"/>
                <a:gd name="connsiteY569" fmla="*/ 6393 h 10000"/>
                <a:gd name="connsiteX570" fmla="*/ 8926 w 10746"/>
                <a:gd name="connsiteY570" fmla="*/ 6385 h 10000"/>
                <a:gd name="connsiteX571" fmla="*/ 8931 w 10746"/>
                <a:gd name="connsiteY571" fmla="*/ 6385 h 10000"/>
                <a:gd name="connsiteX572" fmla="*/ 8949 w 10746"/>
                <a:gd name="connsiteY572" fmla="*/ 6359 h 10000"/>
                <a:gd name="connsiteX573" fmla="*/ 8959 w 10746"/>
                <a:gd name="connsiteY573" fmla="*/ 6368 h 10000"/>
                <a:gd name="connsiteX574" fmla="*/ 8963 w 10746"/>
                <a:gd name="connsiteY574" fmla="*/ 6385 h 10000"/>
                <a:gd name="connsiteX575" fmla="*/ 8972 w 10746"/>
                <a:gd name="connsiteY575" fmla="*/ 6359 h 10000"/>
                <a:gd name="connsiteX576" fmla="*/ 8991 w 10746"/>
                <a:gd name="connsiteY576" fmla="*/ 6350 h 10000"/>
                <a:gd name="connsiteX577" fmla="*/ 9000 w 10746"/>
                <a:gd name="connsiteY577" fmla="*/ 6368 h 10000"/>
                <a:gd name="connsiteX578" fmla="*/ 9005 w 10746"/>
                <a:gd name="connsiteY578" fmla="*/ 6393 h 10000"/>
                <a:gd name="connsiteX579" fmla="*/ 9018 w 10746"/>
                <a:gd name="connsiteY579" fmla="*/ 6393 h 10000"/>
                <a:gd name="connsiteX580" fmla="*/ 9023 w 10746"/>
                <a:gd name="connsiteY580" fmla="*/ 6359 h 10000"/>
                <a:gd name="connsiteX581" fmla="*/ 9023 w 10746"/>
                <a:gd name="connsiteY581" fmla="*/ 6333 h 10000"/>
                <a:gd name="connsiteX582" fmla="*/ 9037 w 10746"/>
                <a:gd name="connsiteY582" fmla="*/ 6308 h 10000"/>
                <a:gd name="connsiteX583" fmla="*/ 9074 w 10746"/>
                <a:gd name="connsiteY583" fmla="*/ 6274 h 10000"/>
                <a:gd name="connsiteX584" fmla="*/ 9092 w 10746"/>
                <a:gd name="connsiteY584" fmla="*/ 6222 h 10000"/>
                <a:gd name="connsiteX585" fmla="*/ 9097 w 10746"/>
                <a:gd name="connsiteY585" fmla="*/ 6231 h 10000"/>
                <a:gd name="connsiteX586" fmla="*/ 9097 w 10746"/>
                <a:gd name="connsiteY586" fmla="*/ 6248 h 10000"/>
                <a:gd name="connsiteX587" fmla="*/ 9097 w 10746"/>
                <a:gd name="connsiteY587" fmla="*/ 6274 h 10000"/>
                <a:gd name="connsiteX588" fmla="*/ 9097 w 10746"/>
                <a:gd name="connsiteY588" fmla="*/ 6308 h 10000"/>
                <a:gd name="connsiteX589" fmla="*/ 9092 w 10746"/>
                <a:gd name="connsiteY589" fmla="*/ 6368 h 10000"/>
                <a:gd name="connsiteX590" fmla="*/ 9092 w 10746"/>
                <a:gd name="connsiteY590" fmla="*/ 6385 h 10000"/>
                <a:gd name="connsiteX591" fmla="*/ 9092 w 10746"/>
                <a:gd name="connsiteY591" fmla="*/ 6393 h 10000"/>
                <a:gd name="connsiteX592" fmla="*/ 9092 w 10746"/>
                <a:gd name="connsiteY592" fmla="*/ 6393 h 10000"/>
                <a:gd name="connsiteX593" fmla="*/ 9143 w 10746"/>
                <a:gd name="connsiteY593" fmla="*/ 6299 h 10000"/>
                <a:gd name="connsiteX594" fmla="*/ 9143 w 10746"/>
                <a:gd name="connsiteY594" fmla="*/ 6282 h 10000"/>
                <a:gd name="connsiteX595" fmla="*/ 9143 w 10746"/>
                <a:gd name="connsiteY595" fmla="*/ 6256 h 10000"/>
                <a:gd name="connsiteX596" fmla="*/ 9143 w 10746"/>
                <a:gd name="connsiteY596" fmla="*/ 6256 h 10000"/>
                <a:gd name="connsiteX597" fmla="*/ 9157 w 10746"/>
                <a:gd name="connsiteY597" fmla="*/ 6274 h 10000"/>
                <a:gd name="connsiteX598" fmla="*/ 9166 w 10746"/>
                <a:gd name="connsiteY598" fmla="*/ 6248 h 10000"/>
                <a:gd name="connsiteX599" fmla="*/ 9180 w 10746"/>
                <a:gd name="connsiteY599" fmla="*/ 6248 h 10000"/>
                <a:gd name="connsiteX600" fmla="*/ 9198 w 10746"/>
                <a:gd name="connsiteY600" fmla="*/ 6222 h 10000"/>
                <a:gd name="connsiteX601" fmla="*/ 9212 w 10746"/>
                <a:gd name="connsiteY601" fmla="*/ 6222 h 10000"/>
                <a:gd name="connsiteX602" fmla="*/ 9226 w 10746"/>
                <a:gd name="connsiteY602" fmla="*/ 6197 h 10000"/>
                <a:gd name="connsiteX603" fmla="*/ 9230 w 10746"/>
                <a:gd name="connsiteY603" fmla="*/ 6214 h 10000"/>
                <a:gd name="connsiteX604" fmla="*/ 9272 w 10746"/>
                <a:gd name="connsiteY604" fmla="*/ 6214 h 10000"/>
                <a:gd name="connsiteX605" fmla="*/ 9304 w 10746"/>
                <a:gd name="connsiteY605" fmla="*/ 6231 h 10000"/>
                <a:gd name="connsiteX606" fmla="*/ 9318 w 10746"/>
                <a:gd name="connsiteY606" fmla="*/ 6248 h 10000"/>
                <a:gd name="connsiteX607" fmla="*/ 9327 w 10746"/>
                <a:gd name="connsiteY607" fmla="*/ 6282 h 10000"/>
                <a:gd name="connsiteX608" fmla="*/ 9355 w 10746"/>
                <a:gd name="connsiteY608" fmla="*/ 6350 h 10000"/>
                <a:gd name="connsiteX609" fmla="*/ 9355 w 10746"/>
                <a:gd name="connsiteY609" fmla="*/ 6359 h 10000"/>
                <a:gd name="connsiteX610" fmla="*/ 9364 w 10746"/>
                <a:gd name="connsiteY610" fmla="*/ 6368 h 10000"/>
                <a:gd name="connsiteX611" fmla="*/ 9373 w 10746"/>
                <a:gd name="connsiteY611" fmla="*/ 6359 h 10000"/>
                <a:gd name="connsiteX612" fmla="*/ 9373 w 10746"/>
                <a:gd name="connsiteY612" fmla="*/ 6325 h 10000"/>
                <a:gd name="connsiteX613" fmla="*/ 9387 w 10746"/>
                <a:gd name="connsiteY613" fmla="*/ 6256 h 10000"/>
                <a:gd name="connsiteX614" fmla="*/ 9387 w 10746"/>
                <a:gd name="connsiteY614" fmla="*/ 6248 h 10000"/>
                <a:gd name="connsiteX615" fmla="*/ 9378 w 10746"/>
                <a:gd name="connsiteY615" fmla="*/ 6248 h 10000"/>
                <a:gd name="connsiteX616" fmla="*/ 9406 w 10746"/>
                <a:gd name="connsiteY616" fmla="*/ 6222 h 10000"/>
                <a:gd name="connsiteX617" fmla="*/ 9415 w 10746"/>
                <a:gd name="connsiteY617" fmla="*/ 6222 h 10000"/>
                <a:gd name="connsiteX618" fmla="*/ 9415 w 10746"/>
                <a:gd name="connsiteY618" fmla="*/ 6197 h 10000"/>
                <a:gd name="connsiteX619" fmla="*/ 9419 w 10746"/>
                <a:gd name="connsiteY619" fmla="*/ 6214 h 10000"/>
                <a:gd name="connsiteX620" fmla="*/ 9424 w 10746"/>
                <a:gd name="connsiteY620" fmla="*/ 6214 h 10000"/>
                <a:gd name="connsiteX621" fmla="*/ 9447 w 10746"/>
                <a:gd name="connsiteY621" fmla="*/ 6171 h 10000"/>
                <a:gd name="connsiteX622" fmla="*/ 9452 w 10746"/>
                <a:gd name="connsiteY622" fmla="*/ 6171 h 10000"/>
                <a:gd name="connsiteX623" fmla="*/ 9452 w 10746"/>
                <a:gd name="connsiteY623" fmla="*/ 6162 h 10000"/>
                <a:gd name="connsiteX624" fmla="*/ 9461 w 10746"/>
                <a:gd name="connsiteY624" fmla="*/ 6137 h 10000"/>
                <a:gd name="connsiteX625" fmla="*/ 9475 w 10746"/>
                <a:gd name="connsiteY625" fmla="*/ 6137 h 10000"/>
                <a:gd name="connsiteX626" fmla="*/ 9475 w 10746"/>
                <a:gd name="connsiteY626" fmla="*/ 6137 h 10000"/>
                <a:gd name="connsiteX627" fmla="*/ 9479 w 10746"/>
                <a:gd name="connsiteY627" fmla="*/ 6120 h 10000"/>
                <a:gd name="connsiteX628" fmla="*/ 9488 w 10746"/>
                <a:gd name="connsiteY628" fmla="*/ 6120 h 10000"/>
                <a:gd name="connsiteX629" fmla="*/ 9488 w 10746"/>
                <a:gd name="connsiteY629" fmla="*/ 6111 h 10000"/>
                <a:gd name="connsiteX630" fmla="*/ 9479 w 10746"/>
                <a:gd name="connsiteY630" fmla="*/ 6103 h 10000"/>
                <a:gd name="connsiteX631" fmla="*/ 9479 w 10746"/>
                <a:gd name="connsiteY631" fmla="*/ 6085 h 10000"/>
                <a:gd name="connsiteX632" fmla="*/ 9488 w 10746"/>
                <a:gd name="connsiteY632" fmla="*/ 6103 h 10000"/>
                <a:gd name="connsiteX633" fmla="*/ 9493 w 10746"/>
                <a:gd name="connsiteY633" fmla="*/ 6111 h 10000"/>
                <a:gd name="connsiteX634" fmla="*/ 9498 w 10746"/>
                <a:gd name="connsiteY634" fmla="*/ 6103 h 10000"/>
                <a:gd name="connsiteX635" fmla="*/ 9507 w 10746"/>
                <a:gd name="connsiteY635" fmla="*/ 6077 h 10000"/>
                <a:gd name="connsiteX636" fmla="*/ 9498 w 10746"/>
                <a:gd name="connsiteY636" fmla="*/ 6060 h 10000"/>
                <a:gd name="connsiteX637" fmla="*/ 9512 w 10746"/>
                <a:gd name="connsiteY637" fmla="*/ 6060 h 10000"/>
                <a:gd name="connsiteX638" fmla="*/ 9525 w 10746"/>
                <a:gd name="connsiteY638" fmla="*/ 6034 h 10000"/>
                <a:gd name="connsiteX639" fmla="*/ 9535 w 10746"/>
                <a:gd name="connsiteY639" fmla="*/ 6034 h 10000"/>
                <a:gd name="connsiteX640" fmla="*/ 9535 w 10746"/>
                <a:gd name="connsiteY640" fmla="*/ 6026 h 10000"/>
                <a:gd name="connsiteX641" fmla="*/ 9525 w 10746"/>
                <a:gd name="connsiteY641" fmla="*/ 6009 h 10000"/>
                <a:gd name="connsiteX642" fmla="*/ 9535 w 10746"/>
                <a:gd name="connsiteY642" fmla="*/ 6000 h 10000"/>
                <a:gd name="connsiteX643" fmla="*/ 9539 w 10746"/>
                <a:gd name="connsiteY643" fmla="*/ 6009 h 10000"/>
                <a:gd name="connsiteX644" fmla="*/ 9548 w 10746"/>
                <a:gd name="connsiteY644" fmla="*/ 6009 h 10000"/>
                <a:gd name="connsiteX645" fmla="*/ 9553 w 10746"/>
                <a:gd name="connsiteY645" fmla="*/ 6000 h 10000"/>
                <a:gd name="connsiteX646" fmla="*/ 9562 w 10746"/>
                <a:gd name="connsiteY646" fmla="*/ 5983 h 10000"/>
                <a:gd name="connsiteX647" fmla="*/ 9562 w 10746"/>
                <a:gd name="connsiteY647" fmla="*/ 5974 h 10000"/>
                <a:gd name="connsiteX648" fmla="*/ 9567 w 10746"/>
                <a:gd name="connsiteY648" fmla="*/ 5974 h 10000"/>
                <a:gd name="connsiteX649" fmla="*/ 9567 w 10746"/>
                <a:gd name="connsiteY649" fmla="*/ 5966 h 10000"/>
                <a:gd name="connsiteX650" fmla="*/ 9567 w 10746"/>
                <a:gd name="connsiteY650" fmla="*/ 5940 h 10000"/>
                <a:gd name="connsiteX651" fmla="*/ 9571 w 10746"/>
                <a:gd name="connsiteY651" fmla="*/ 5915 h 10000"/>
                <a:gd name="connsiteX652" fmla="*/ 9581 w 10746"/>
                <a:gd name="connsiteY652" fmla="*/ 5923 h 10000"/>
                <a:gd name="connsiteX653" fmla="*/ 9585 w 10746"/>
                <a:gd name="connsiteY653" fmla="*/ 5940 h 10000"/>
                <a:gd name="connsiteX654" fmla="*/ 9594 w 10746"/>
                <a:gd name="connsiteY654" fmla="*/ 5949 h 10000"/>
                <a:gd name="connsiteX655" fmla="*/ 9599 w 10746"/>
                <a:gd name="connsiteY655" fmla="*/ 5940 h 10000"/>
                <a:gd name="connsiteX656" fmla="*/ 9613 w 10746"/>
                <a:gd name="connsiteY656" fmla="*/ 5915 h 10000"/>
                <a:gd name="connsiteX657" fmla="*/ 9645 w 10746"/>
                <a:gd name="connsiteY657" fmla="*/ 5889 h 10000"/>
                <a:gd name="connsiteX658" fmla="*/ 9654 w 10746"/>
                <a:gd name="connsiteY658" fmla="*/ 5872 h 10000"/>
                <a:gd name="connsiteX659" fmla="*/ 9673 w 10746"/>
                <a:gd name="connsiteY659" fmla="*/ 5863 h 10000"/>
                <a:gd name="connsiteX660" fmla="*/ 9682 w 10746"/>
                <a:gd name="connsiteY660" fmla="*/ 5838 h 10000"/>
                <a:gd name="connsiteX661" fmla="*/ 9682 w 10746"/>
                <a:gd name="connsiteY661" fmla="*/ 5829 h 10000"/>
                <a:gd name="connsiteX662" fmla="*/ 9682 w 10746"/>
                <a:gd name="connsiteY662" fmla="*/ 5812 h 10000"/>
                <a:gd name="connsiteX663" fmla="*/ 9687 w 10746"/>
                <a:gd name="connsiteY663" fmla="*/ 5812 h 10000"/>
                <a:gd name="connsiteX664" fmla="*/ 9687 w 10746"/>
                <a:gd name="connsiteY664" fmla="*/ 5829 h 10000"/>
                <a:gd name="connsiteX665" fmla="*/ 9687 w 10746"/>
                <a:gd name="connsiteY665" fmla="*/ 5829 h 10000"/>
                <a:gd name="connsiteX666" fmla="*/ 9719 w 10746"/>
                <a:gd name="connsiteY666" fmla="*/ 5803 h 10000"/>
                <a:gd name="connsiteX667" fmla="*/ 9728 w 10746"/>
                <a:gd name="connsiteY667" fmla="*/ 5803 h 10000"/>
                <a:gd name="connsiteX668" fmla="*/ 9779 w 10746"/>
                <a:gd name="connsiteY668" fmla="*/ 5726 h 10000"/>
                <a:gd name="connsiteX669" fmla="*/ 9816 w 10746"/>
                <a:gd name="connsiteY669" fmla="*/ 5709 h 10000"/>
                <a:gd name="connsiteX670" fmla="*/ 9820 w 10746"/>
                <a:gd name="connsiteY670" fmla="*/ 5701 h 10000"/>
                <a:gd name="connsiteX671" fmla="*/ 9816 w 10746"/>
                <a:gd name="connsiteY671" fmla="*/ 5692 h 10000"/>
                <a:gd name="connsiteX672" fmla="*/ 9816 w 10746"/>
                <a:gd name="connsiteY672" fmla="*/ 5692 h 10000"/>
                <a:gd name="connsiteX673" fmla="*/ 9802 w 10746"/>
                <a:gd name="connsiteY673" fmla="*/ 5624 h 10000"/>
                <a:gd name="connsiteX674" fmla="*/ 9806 w 10746"/>
                <a:gd name="connsiteY674" fmla="*/ 5624 h 10000"/>
                <a:gd name="connsiteX675" fmla="*/ 9820 w 10746"/>
                <a:gd name="connsiteY675" fmla="*/ 5675 h 10000"/>
                <a:gd name="connsiteX676" fmla="*/ 9829 w 10746"/>
                <a:gd name="connsiteY676" fmla="*/ 5675 h 10000"/>
                <a:gd name="connsiteX677" fmla="*/ 9829 w 10746"/>
                <a:gd name="connsiteY677" fmla="*/ 5692 h 10000"/>
                <a:gd name="connsiteX678" fmla="*/ 9829 w 10746"/>
                <a:gd name="connsiteY678" fmla="*/ 5701 h 10000"/>
                <a:gd name="connsiteX679" fmla="*/ 9839 w 10746"/>
                <a:gd name="connsiteY679" fmla="*/ 5701 h 10000"/>
                <a:gd name="connsiteX680" fmla="*/ 9839 w 10746"/>
                <a:gd name="connsiteY680" fmla="*/ 5692 h 10000"/>
                <a:gd name="connsiteX681" fmla="*/ 9839 w 10746"/>
                <a:gd name="connsiteY681" fmla="*/ 5675 h 10000"/>
                <a:gd name="connsiteX682" fmla="*/ 9848 w 10746"/>
                <a:gd name="connsiteY682" fmla="*/ 5675 h 10000"/>
                <a:gd name="connsiteX683" fmla="*/ 9848 w 10746"/>
                <a:gd name="connsiteY683" fmla="*/ 5692 h 10000"/>
                <a:gd name="connsiteX684" fmla="*/ 9853 w 10746"/>
                <a:gd name="connsiteY684" fmla="*/ 5701 h 10000"/>
                <a:gd name="connsiteX685" fmla="*/ 9880 w 10746"/>
                <a:gd name="connsiteY685" fmla="*/ 5709 h 10000"/>
                <a:gd name="connsiteX686" fmla="*/ 9912 w 10746"/>
                <a:gd name="connsiteY686" fmla="*/ 5752 h 10000"/>
                <a:gd name="connsiteX687" fmla="*/ 9926 w 10746"/>
                <a:gd name="connsiteY687" fmla="*/ 5761 h 10000"/>
                <a:gd name="connsiteX688" fmla="*/ 9935 w 10746"/>
                <a:gd name="connsiteY688" fmla="*/ 5761 h 10000"/>
                <a:gd name="connsiteX689" fmla="*/ 9940 w 10746"/>
                <a:gd name="connsiteY689" fmla="*/ 5735 h 10000"/>
                <a:gd name="connsiteX690" fmla="*/ 9949 w 10746"/>
                <a:gd name="connsiteY690" fmla="*/ 5735 h 10000"/>
                <a:gd name="connsiteX691" fmla="*/ 9968 w 10746"/>
                <a:gd name="connsiteY691" fmla="*/ 5692 h 10000"/>
                <a:gd name="connsiteX692" fmla="*/ 9968 w 10746"/>
                <a:gd name="connsiteY692" fmla="*/ 5650 h 10000"/>
                <a:gd name="connsiteX693" fmla="*/ 9968 w 10746"/>
                <a:gd name="connsiteY693" fmla="*/ 5624 h 10000"/>
                <a:gd name="connsiteX694" fmla="*/ 9935 w 10746"/>
                <a:gd name="connsiteY694" fmla="*/ 5598 h 10000"/>
                <a:gd name="connsiteX695" fmla="*/ 9935 w 10746"/>
                <a:gd name="connsiteY695" fmla="*/ 5590 h 10000"/>
                <a:gd name="connsiteX696" fmla="*/ 9935 w 10746"/>
                <a:gd name="connsiteY696" fmla="*/ 5573 h 10000"/>
                <a:gd name="connsiteX697" fmla="*/ 9935 w 10746"/>
                <a:gd name="connsiteY697" fmla="*/ 5573 h 10000"/>
                <a:gd name="connsiteX698" fmla="*/ 9940 w 10746"/>
                <a:gd name="connsiteY698" fmla="*/ 5573 h 10000"/>
                <a:gd name="connsiteX699" fmla="*/ 9954 w 10746"/>
                <a:gd name="connsiteY699" fmla="*/ 5573 h 10000"/>
                <a:gd name="connsiteX700" fmla="*/ 9963 w 10746"/>
                <a:gd name="connsiteY700" fmla="*/ 5564 h 10000"/>
                <a:gd name="connsiteX701" fmla="*/ 9954 w 10746"/>
                <a:gd name="connsiteY701" fmla="*/ 5530 h 10000"/>
                <a:gd name="connsiteX702" fmla="*/ 9949 w 10746"/>
                <a:gd name="connsiteY702" fmla="*/ 5530 h 10000"/>
                <a:gd name="connsiteX703" fmla="*/ 9926 w 10746"/>
                <a:gd name="connsiteY703" fmla="*/ 5479 h 10000"/>
                <a:gd name="connsiteX704" fmla="*/ 9912 w 10746"/>
                <a:gd name="connsiteY704" fmla="*/ 5325 h 10000"/>
                <a:gd name="connsiteX705" fmla="*/ 9903 w 10746"/>
                <a:gd name="connsiteY705" fmla="*/ 5342 h 10000"/>
                <a:gd name="connsiteX706" fmla="*/ 9889 w 10746"/>
                <a:gd name="connsiteY706" fmla="*/ 5316 h 10000"/>
                <a:gd name="connsiteX707" fmla="*/ 9889 w 10746"/>
                <a:gd name="connsiteY707" fmla="*/ 5291 h 10000"/>
                <a:gd name="connsiteX708" fmla="*/ 9903 w 10746"/>
                <a:gd name="connsiteY708" fmla="*/ 5291 h 10000"/>
                <a:gd name="connsiteX709" fmla="*/ 9903 w 10746"/>
                <a:gd name="connsiteY709" fmla="*/ 5291 h 10000"/>
                <a:gd name="connsiteX710" fmla="*/ 9894 w 10746"/>
                <a:gd name="connsiteY710" fmla="*/ 5214 h 10000"/>
                <a:gd name="connsiteX711" fmla="*/ 9880 w 10746"/>
                <a:gd name="connsiteY711" fmla="*/ 5239 h 10000"/>
                <a:gd name="connsiteX712" fmla="*/ 9876 w 10746"/>
                <a:gd name="connsiteY712" fmla="*/ 5256 h 10000"/>
                <a:gd name="connsiteX713" fmla="*/ 9862 w 10746"/>
                <a:gd name="connsiteY713" fmla="*/ 5239 h 10000"/>
                <a:gd name="connsiteX714" fmla="*/ 9853 w 10746"/>
                <a:gd name="connsiteY714" fmla="*/ 5214 h 10000"/>
                <a:gd name="connsiteX715" fmla="*/ 9839 w 10746"/>
                <a:gd name="connsiteY715" fmla="*/ 5214 h 10000"/>
                <a:gd name="connsiteX716" fmla="*/ 9834 w 10746"/>
                <a:gd name="connsiteY716" fmla="*/ 5188 h 10000"/>
                <a:gd name="connsiteX717" fmla="*/ 9834 w 10746"/>
                <a:gd name="connsiteY717" fmla="*/ 5103 h 10000"/>
                <a:gd name="connsiteX718" fmla="*/ 9839 w 10746"/>
                <a:gd name="connsiteY718" fmla="*/ 5094 h 10000"/>
                <a:gd name="connsiteX719" fmla="*/ 9853 w 10746"/>
                <a:gd name="connsiteY719" fmla="*/ 5103 h 10000"/>
                <a:gd name="connsiteX720" fmla="*/ 9876 w 10746"/>
                <a:gd name="connsiteY720" fmla="*/ 5128 h 10000"/>
                <a:gd name="connsiteX721" fmla="*/ 9889 w 10746"/>
                <a:gd name="connsiteY721" fmla="*/ 5103 h 10000"/>
                <a:gd name="connsiteX722" fmla="*/ 9880 w 10746"/>
                <a:gd name="connsiteY722" fmla="*/ 5120 h 10000"/>
                <a:gd name="connsiteX723" fmla="*/ 9889 w 10746"/>
                <a:gd name="connsiteY723" fmla="*/ 5128 h 10000"/>
                <a:gd name="connsiteX724" fmla="*/ 9912 w 10746"/>
                <a:gd name="connsiteY724" fmla="*/ 5128 h 10000"/>
                <a:gd name="connsiteX725" fmla="*/ 9908 w 10746"/>
                <a:gd name="connsiteY725" fmla="*/ 5145 h 10000"/>
                <a:gd name="connsiteX726" fmla="*/ 9908 w 10746"/>
                <a:gd name="connsiteY726" fmla="*/ 5154 h 10000"/>
                <a:gd name="connsiteX727" fmla="*/ 9922 w 10746"/>
                <a:gd name="connsiteY727" fmla="*/ 5128 h 10000"/>
                <a:gd name="connsiteX728" fmla="*/ 9935 w 10746"/>
                <a:gd name="connsiteY728" fmla="*/ 5103 h 10000"/>
                <a:gd name="connsiteX729" fmla="*/ 9968 w 10746"/>
                <a:gd name="connsiteY729" fmla="*/ 5077 h 10000"/>
                <a:gd name="connsiteX730" fmla="*/ 10000 w 10746"/>
                <a:gd name="connsiteY730" fmla="*/ 5017 h 10000"/>
                <a:gd name="connsiteX731" fmla="*/ 10307 w 10746"/>
                <a:gd name="connsiteY731" fmla="*/ 4899 h 10000"/>
                <a:gd name="connsiteX732" fmla="*/ 10711 w 10746"/>
                <a:gd name="connsiteY732" fmla="*/ 4746 h 10000"/>
                <a:gd name="connsiteX733" fmla="*/ 10689 w 10746"/>
                <a:gd name="connsiteY733" fmla="*/ 4467 h 10000"/>
                <a:gd name="connsiteX734" fmla="*/ 10354 w 10746"/>
                <a:gd name="connsiteY734" fmla="*/ 4302 h 10000"/>
                <a:gd name="connsiteX735" fmla="*/ 9912 w 10746"/>
                <a:gd name="connsiteY735" fmla="*/ 3675 h 10000"/>
                <a:gd name="connsiteX736" fmla="*/ 9903 w 10746"/>
                <a:gd name="connsiteY736" fmla="*/ 3667 h 10000"/>
                <a:gd name="connsiteX737" fmla="*/ 9894 w 10746"/>
                <a:gd name="connsiteY737" fmla="*/ 3641 h 10000"/>
                <a:gd name="connsiteX738" fmla="*/ 9889 w 10746"/>
                <a:gd name="connsiteY738" fmla="*/ 3650 h 10000"/>
                <a:gd name="connsiteX739" fmla="*/ 9848 w 10746"/>
                <a:gd name="connsiteY739" fmla="*/ 3598 h 10000"/>
                <a:gd name="connsiteX740" fmla="*/ 9829 w 10746"/>
                <a:gd name="connsiteY740" fmla="*/ 3581 h 10000"/>
                <a:gd name="connsiteX741" fmla="*/ 9820 w 10746"/>
                <a:gd name="connsiteY741" fmla="*/ 3581 h 10000"/>
                <a:gd name="connsiteX742" fmla="*/ 9793 w 10746"/>
                <a:gd name="connsiteY742" fmla="*/ 3556 h 10000"/>
                <a:gd name="connsiteX743" fmla="*/ 9779 w 10746"/>
                <a:gd name="connsiteY743" fmla="*/ 3556 h 10000"/>
                <a:gd name="connsiteX744" fmla="*/ 9747 w 10746"/>
                <a:gd name="connsiteY744" fmla="*/ 3487 h 10000"/>
                <a:gd name="connsiteX745" fmla="*/ 9668 w 10746"/>
                <a:gd name="connsiteY745" fmla="*/ 3479 h 10000"/>
                <a:gd name="connsiteX746" fmla="*/ 9659 w 10746"/>
                <a:gd name="connsiteY746" fmla="*/ 3487 h 10000"/>
                <a:gd name="connsiteX747" fmla="*/ 9645 w 10746"/>
                <a:gd name="connsiteY747" fmla="*/ 3504 h 10000"/>
                <a:gd name="connsiteX748" fmla="*/ 9631 w 10746"/>
                <a:gd name="connsiteY748" fmla="*/ 3487 h 10000"/>
                <a:gd name="connsiteX749" fmla="*/ 9613 w 10746"/>
                <a:gd name="connsiteY749" fmla="*/ 3479 h 10000"/>
                <a:gd name="connsiteX750" fmla="*/ 9599 w 10746"/>
                <a:gd name="connsiteY750" fmla="*/ 3479 h 10000"/>
                <a:gd name="connsiteX751" fmla="*/ 9571 w 10746"/>
                <a:gd name="connsiteY751" fmla="*/ 3479 h 10000"/>
                <a:gd name="connsiteX752" fmla="*/ 9562 w 10746"/>
                <a:gd name="connsiteY752" fmla="*/ 3487 h 10000"/>
                <a:gd name="connsiteX753" fmla="*/ 9539 w 10746"/>
                <a:gd name="connsiteY753" fmla="*/ 3487 h 10000"/>
                <a:gd name="connsiteX754" fmla="*/ 9507 w 10746"/>
                <a:gd name="connsiteY754" fmla="*/ 3453 h 10000"/>
                <a:gd name="connsiteX755" fmla="*/ 9498 w 10746"/>
                <a:gd name="connsiteY755" fmla="*/ 3453 h 10000"/>
                <a:gd name="connsiteX756" fmla="*/ 9387 w 10746"/>
                <a:gd name="connsiteY756" fmla="*/ 3419 h 10000"/>
                <a:gd name="connsiteX757" fmla="*/ 9373 w 10746"/>
                <a:gd name="connsiteY757" fmla="*/ 3427 h 10000"/>
                <a:gd name="connsiteX758" fmla="*/ 9373 w 10746"/>
                <a:gd name="connsiteY758" fmla="*/ 3462 h 10000"/>
                <a:gd name="connsiteX759" fmla="*/ 9378 w 10746"/>
                <a:gd name="connsiteY759" fmla="*/ 3479 h 10000"/>
                <a:gd name="connsiteX760" fmla="*/ 9378 w 10746"/>
                <a:gd name="connsiteY760" fmla="*/ 3530 h 10000"/>
                <a:gd name="connsiteX761" fmla="*/ 9355 w 10746"/>
                <a:gd name="connsiteY761" fmla="*/ 3538 h 10000"/>
                <a:gd name="connsiteX762" fmla="*/ 9355 w 10746"/>
                <a:gd name="connsiteY762" fmla="*/ 3581 h 10000"/>
                <a:gd name="connsiteX763" fmla="*/ 9387 w 10746"/>
                <a:gd name="connsiteY763" fmla="*/ 3590 h 10000"/>
                <a:gd name="connsiteX764" fmla="*/ 9401 w 10746"/>
                <a:gd name="connsiteY764" fmla="*/ 3667 h 10000"/>
                <a:gd name="connsiteX765" fmla="*/ 9406 w 10746"/>
                <a:gd name="connsiteY765" fmla="*/ 3675 h 10000"/>
                <a:gd name="connsiteX766" fmla="*/ 9406 w 10746"/>
                <a:gd name="connsiteY766" fmla="*/ 3701 h 10000"/>
                <a:gd name="connsiteX767" fmla="*/ 9415 w 10746"/>
                <a:gd name="connsiteY767" fmla="*/ 3752 h 10000"/>
                <a:gd name="connsiteX768" fmla="*/ 9373 w 10746"/>
                <a:gd name="connsiteY768" fmla="*/ 3838 h 10000"/>
                <a:gd name="connsiteX769" fmla="*/ 9355 w 10746"/>
                <a:gd name="connsiteY769" fmla="*/ 3863 h 10000"/>
                <a:gd name="connsiteX770" fmla="*/ 9327 w 10746"/>
                <a:gd name="connsiteY770" fmla="*/ 3863 h 10000"/>
                <a:gd name="connsiteX771" fmla="*/ 9313 w 10746"/>
                <a:gd name="connsiteY771" fmla="*/ 3846 h 10000"/>
                <a:gd name="connsiteX772" fmla="*/ 9300 w 10746"/>
                <a:gd name="connsiteY772" fmla="*/ 3778 h 10000"/>
                <a:gd name="connsiteX773" fmla="*/ 9281 w 10746"/>
                <a:gd name="connsiteY773" fmla="*/ 3752 h 10000"/>
                <a:gd name="connsiteX774" fmla="*/ 9281 w 10746"/>
                <a:gd name="connsiteY774" fmla="*/ 3735 h 10000"/>
                <a:gd name="connsiteX775" fmla="*/ 9267 w 10746"/>
                <a:gd name="connsiteY775" fmla="*/ 3726 h 10000"/>
                <a:gd name="connsiteX776" fmla="*/ 9240 w 10746"/>
                <a:gd name="connsiteY776" fmla="*/ 3726 h 10000"/>
                <a:gd name="connsiteX777" fmla="*/ 9230 w 10746"/>
                <a:gd name="connsiteY777" fmla="*/ 3718 h 10000"/>
                <a:gd name="connsiteX778" fmla="*/ 9226 w 10746"/>
                <a:gd name="connsiteY778" fmla="*/ 3590 h 10000"/>
                <a:gd name="connsiteX779" fmla="*/ 9207 w 10746"/>
                <a:gd name="connsiteY779" fmla="*/ 3581 h 10000"/>
                <a:gd name="connsiteX780" fmla="*/ 9207 w 10746"/>
                <a:gd name="connsiteY780" fmla="*/ 3556 h 10000"/>
                <a:gd name="connsiteX781" fmla="*/ 9217 w 10746"/>
                <a:gd name="connsiteY781" fmla="*/ 3538 h 10000"/>
                <a:gd name="connsiteX782" fmla="*/ 9212 w 10746"/>
                <a:gd name="connsiteY782" fmla="*/ 3538 h 10000"/>
                <a:gd name="connsiteX783" fmla="*/ 9198 w 10746"/>
                <a:gd name="connsiteY783" fmla="*/ 3513 h 10000"/>
                <a:gd name="connsiteX784" fmla="*/ 9194 w 10746"/>
                <a:gd name="connsiteY784" fmla="*/ 3530 h 10000"/>
                <a:gd name="connsiteX785" fmla="*/ 9143 w 10746"/>
                <a:gd name="connsiteY785" fmla="*/ 3615 h 10000"/>
                <a:gd name="connsiteX786" fmla="*/ 9138 w 10746"/>
                <a:gd name="connsiteY786" fmla="*/ 3615 h 10000"/>
                <a:gd name="connsiteX787" fmla="*/ 9134 w 10746"/>
                <a:gd name="connsiteY787" fmla="*/ 3615 h 10000"/>
                <a:gd name="connsiteX788" fmla="*/ 9106 w 10746"/>
                <a:gd name="connsiteY788" fmla="*/ 3615 h 10000"/>
                <a:gd name="connsiteX789" fmla="*/ 9078 w 10746"/>
                <a:gd name="connsiteY789" fmla="*/ 3590 h 10000"/>
                <a:gd name="connsiteX790" fmla="*/ 9037 w 10746"/>
                <a:gd name="connsiteY790" fmla="*/ 3581 h 10000"/>
                <a:gd name="connsiteX791" fmla="*/ 9023 w 10746"/>
                <a:gd name="connsiteY791" fmla="*/ 3590 h 10000"/>
                <a:gd name="connsiteX792" fmla="*/ 9018 w 10746"/>
                <a:gd name="connsiteY792" fmla="*/ 3590 h 10000"/>
                <a:gd name="connsiteX793" fmla="*/ 9018 w 10746"/>
                <a:gd name="connsiteY793" fmla="*/ 3590 h 10000"/>
                <a:gd name="connsiteX794" fmla="*/ 8991 w 10746"/>
                <a:gd name="connsiteY794" fmla="*/ 3590 h 10000"/>
                <a:gd name="connsiteX795" fmla="*/ 8972 w 10746"/>
                <a:gd name="connsiteY795" fmla="*/ 3581 h 10000"/>
                <a:gd name="connsiteX796" fmla="*/ 8959 w 10746"/>
                <a:gd name="connsiteY796" fmla="*/ 3513 h 10000"/>
                <a:gd name="connsiteX797" fmla="*/ 8931 w 10746"/>
                <a:gd name="connsiteY797" fmla="*/ 3538 h 10000"/>
                <a:gd name="connsiteX798" fmla="*/ 8889 w 10746"/>
                <a:gd name="connsiteY798" fmla="*/ 3538 h 10000"/>
                <a:gd name="connsiteX799" fmla="*/ 8871 w 10746"/>
                <a:gd name="connsiteY799" fmla="*/ 3556 h 10000"/>
                <a:gd name="connsiteX800" fmla="*/ 8857 w 10746"/>
                <a:gd name="connsiteY800" fmla="*/ 3538 h 10000"/>
                <a:gd name="connsiteX801" fmla="*/ 8843 w 10746"/>
                <a:gd name="connsiteY801" fmla="*/ 3538 h 10000"/>
                <a:gd name="connsiteX802" fmla="*/ 8839 w 10746"/>
                <a:gd name="connsiteY802" fmla="*/ 3556 h 10000"/>
                <a:gd name="connsiteX803" fmla="*/ 8839 w 10746"/>
                <a:gd name="connsiteY803" fmla="*/ 3581 h 10000"/>
                <a:gd name="connsiteX804" fmla="*/ 8825 w 10746"/>
                <a:gd name="connsiteY804" fmla="*/ 3564 h 10000"/>
                <a:gd name="connsiteX805" fmla="*/ 8825 w 10746"/>
                <a:gd name="connsiteY805" fmla="*/ 3615 h 10000"/>
                <a:gd name="connsiteX806" fmla="*/ 8802 w 10746"/>
                <a:gd name="connsiteY806" fmla="*/ 3598 h 10000"/>
                <a:gd name="connsiteX807" fmla="*/ 8797 w 10746"/>
                <a:gd name="connsiteY807" fmla="*/ 3641 h 10000"/>
                <a:gd name="connsiteX808" fmla="*/ 8783 w 10746"/>
                <a:gd name="connsiteY808" fmla="*/ 3667 h 10000"/>
                <a:gd name="connsiteX809" fmla="*/ 8779 w 10746"/>
                <a:gd name="connsiteY809" fmla="*/ 3650 h 10000"/>
                <a:gd name="connsiteX810" fmla="*/ 8779 w 10746"/>
                <a:gd name="connsiteY810" fmla="*/ 3615 h 10000"/>
                <a:gd name="connsiteX811" fmla="*/ 8770 w 10746"/>
                <a:gd name="connsiteY811" fmla="*/ 3590 h 10000"/>
                <a:gd name="connsiteX812" fmla="*/ 8765 w 10746"/>
                <a:gd name="connsiteY812" fmla="*/ 3598 h 10000"/>
                <a:gd name="connsiteX813" fmla="*/ 8756 w 10746"/>
                <a:gd name="connsiteY813" fmla="*/ 3590 h 10000"/>
                <a:gd name="connsiteX814" fmla="*/ 8737 w 10746"/>
                <a:gd name="connsiteY814" fmla="*/ 3556 h 10000"/>
                <a:gd name="connsiteX815" fmla="*/ 8724 w 10746"/>
                <a:gd name="connsiteY815" fmla="*/ 3538 h 10000"/>
                <a:gd name="connsiteX816" fmla="*/ 8696 w 10746"/>
                <a:gd name="connsiteY816" fmla="*/ 3538 h 10000"/>
                <a:gd name="connsiteX817" fmla="*/ 8691 w 10746"/>
                <a:gd name="connsiteY817" fmla="*/ 3513 h 10000"/>
                <a:gd name="connsiteX818" fmla="*/ 8668 w 10746"/>
                <a:gd name="connsiteY818" fmla="*/ 3504 h 10000"/>
                <a:gd name="connsiteX819" fmla="*/ 8668 w 10746"/>
                <a:gd name="connsiteY819" fmla="*/ 3487 h 10000"/>
                <a:gd name="connsiteX820" fmla="*/ 8691 w 10746"/>
                <a:gd name="connsiteY820" fmla="*/ 3350 h 10000"/>
                <a:gd name="connsiteX821" fmla="*/ 8691 w 10746"/>
                <a:gd name="connsiteY821" fmla="*/ 3291 h 10000"/>
                <a:gd name="connsiteX822" fmla="*/ 8677 w 10746"/>
                <a:gd name="connsiteY822" fmla="*/ 3239 h 10000"/>
                <a:gd name="connsiteX823" fmla="*/ 8677 w 10746"/>
                <a:gd name="connsiteY823" fmla="*/ 3231 h 10000"/>
                <a:gd name="connsiteX824" fmla="*/ 8636 w 10746"/>
                <a:gd name="connsiteY824" fmla="*/ 3128 h 10000"/>
                <a:gd name="connsiteX825" fmla="*/ 8622 w 10746"/>
                <a:gd name="connsiteY825" fmla="*/ 3120 h 10000"/>
                <a:gd name="connsiteX826" fmla="*/ 8618 w 10746"/>
                <a:gd name="connsiteY826" fmla="*/ 3094 h 10000"/>
                <a:gd name="connsiteX827" fmla="*/ 8594 w 10746"/>
                <a:gd name="connsiteY827" fmla="*/ 3077 h 10000"/>
                <a:gd name="connsiteX828" fmla="*/ 8548 w 10746"/>
                <a:gd name="connsiteY828" fmla="*/ 3077 h 10000"/>
                <a:gd name="connsiteX829" fmla="*/ 8535 w 10746"/>
                <a:gd name="connsiteY829" fmla="*/ 3068 h 10000"/>
                <a:gd name="connsiteX830" fmla="*/ 8429 w 10746"/>
                <a:gd name="connsiteY830" fmla="*/ 3077 h 10000"/>
                <a:gd name="connsiteX831" fmla="*/ 8424 w 10746"/>
                <a:gd name="connsiteY831" fmla="*/ 3077 h 10000"/>
                <a:gd name="connsiteX832" fmla="*/ 8396 w 10746"/>
                <a:gd name="connsiteY832" fmla="*/ 3077 h 10000"/>
                <a:gd name="connsiteX833" fmla="*/ 8387 w 10746"/>
                <a:gd name="connsiteY833" fmla="*/ 3094 h 10000"/>
                <a:gd name="connsiteX834" fmla="*/ 8378 w 10746"/>
                <a:gd name="connsiteY834" fmla="*/ 3094 h 10000"/>
                <a:gd name="connsiteX835" fmla="*/ 8341 w 10746"/>
                <a:gd name="connsiteY835" fmla="*/ 3077 h 10000"/>
                <a:gd name="connsiteX836" fmla="*/ 8336 w 10746"/>
                <a:gd name="connsiteY836" fmla="*/ 3077 h 10000"/>
                <a:gd name="connsiteX837" fmla="*/ 8327 w 10746"/>
                <a:gd name="connsiteY837" fmla="*/ 3103 h 10000"/>
                <a:gd name="connsiteX838" fmla="*/ 8309 w 10746"/>
                <a:gd name="connsiteY838" fmla="*/ 3120 h 10000"/>
                <a:gd name="connsiteX839" fmla="*/ 8304 w 10746"/>
                <a:gd name="connsiteY839" fmla="*/ 3103 h 10000"/>
                <a:gd name="connsiteX840" fmla="*/ 8276 w 10746"/>
                <a:gd name="connsiteY840" fmla="*/ 3103 h 10000"/>
                <a:gd name="connsiteX841" fmla="*/ 8267 w 10746"/>
                <a:gd name="connsiteY841" fmla="*/ 3120 h 10000"/>
                <a:gd name="connsiteX842" fmla="*/ 8253 w 10746"/>
                <a:gd name="connsiteY842" fmla="*/ 3103 h 10000"/>
                <a:gd name="connsiteX843" fmla="*/ 8230 w 10746"/>
                <a:gd name="connsiteY843" fmla="*/ 3128 h 10000"/>
                <a:gd name="connsiteX844" fmla="*/ 8217 w 10746"/>
                <a:gd name="connsiteY844" fmla="*/ 3128 h 10000"/>
                <a:gd name="connsiteX845" fmla="*/ 8203 w 10746"/>
                <a:gd name="connsiteY845" fmla="*/ 3154 h 10000"/>
                <a:gd name="connsiteX846" fmla="*/ 8175 w 10746"/>
                <a:gd name="connsiteY846" fmla="*/ 3094 h 10000"/>
                <a:gd name="connsiteX847" fmla="*/ 8161 w 10746"/>
                <a:gd name="connsiteY847" fmla="*/ 3094 h 10000"/>
                <a:gd name="connsiteX848" fmla="*/ 8157 w 10746"/>
                <a:gd name="connsiteY848" fmla="*/ 3077 h 10000"/>
                <a:gd name="connsiteX849" fmla="*/ 8180 w 10746"/>
                <a:gd name="connsiteY849" fmla="*/ 3068 h 10000"/>
                <a:gd name="connsiteX850" fmla="*/ 8189 w 10746"/>
                <a:gd name="connsiteY850" fmla="*/ 3043 h 10000"/>
                <a:gd name="connsiteX851" fmla="*/ 8189 w 10746"/>
                <a:gd name="connsiteY851" fmla="*/ 3017 h 10000"/>
                <a:gd name="connsiteX852" fmla="*/ 8147 w 10746"/>
                <a:gd name="connsiteY852" fmla="*/ 2940 h 10000"/>
                <a:gd name="connsiteX853" fmla="*/ 8143 w 10746"/>
                <a:gd name="connsiteY853" fmla="*/ 2915 h 10000"/>
                <a:gd name="connsiteX854" fmla="*/ 8143 w 10746"/>
                <a:gd name="connsiteY854" fmla="*/ 2906 h 10000"/>
                <a:gd name="connsiteX855" fmla="*/ 8097 w 10746"/>
                <a:gd name="connsiteY855" fmla="*/ 2932 h 10000"/>
                <a:gd name="connsiteX856" fmla="*/ 8083 w 10746"/>
                <a:gd name="connsiteY856" fmla="*/ 2932 h 10000"/>
                <a:gd name="connsiteX857" fmla="*/ 8074 w 10746"/>
                <a:gd name="connsiteY857" fmla="*/ 2906 h 10000"/>
                <a:gd name="connsiteX858" fmla="*/ 8074 w 10746"/>
                <a:gd name="connsiteY858" fmla="*/ 2897 h 10000"/>
                <a:gd name="connsiteX859" fmla="*/ 8055 w 10746"/>
                <a:gd name="connsiteY859" fmla="*/ 2872 h 10000"/>
                <a:gd name="connsiteX860" fmla="*/ 8046 w 10746"/>
                <a:gd name="connsiteY860" fmla="*/ 2829 h 10000"/>
                <a:gd name="connsiteX861" fmla="*/ 8041 w 10746"/>
                <a:gd name="connsiteY861" fmla="*/ 2829 h 10000"/>
                <a:gd name="connsiteX862" fmla="*/ 8023 w 10746"/>
                <a:gd name="connsiteY862" fmla="*/ 2803 h 10000"/>
                <a:gd name="connsiteX863" fmla="*/ 8014 w 10746"/>
                <a:gd name="connsiteY863" fmla="*/ 2829 h 10000"/>
                <a:gd name="connsiteX864" fmla="*/ 8000 w 10746"/>
                <a:gd name="connsiteY864" fmla="*/ 2829 h 10000"/>
                <a:gd name="connsiteX865" fmla="*/ 7995 w 10746"/>
                <a:gd name="connsiteY865" fmla="*/ 2821 h 10000"/>
                <a:gd name="connsiteX866" fmla="*/ 7972 w 10746"/>
                <a:gd name="connsiteY866" fmla="*/ 2803 h 10000"/>
                <a:gd name="connsiteX867" fmla="*/ 7968 w 10746"/>
                <a:gd name="connsiteY867" fmla="*/ 2821 h 10000"/>
                <a:gd name="connsiteX868" fmla="*/ 7968 w 10746"/>
                <a:gd name="connsiteY868" fmla="*/ 2803 h 10000"/>
                <a:gd name="connsiteX869" fmla="*/ 7995 w 10746"/>
                <a:gd name="connsiteY869" fmla="*/ 2735 h 10000"/>
                <a:gd name="connsiteX870" fmla="*/ 8000 w 10746"/>
                <a:gd name="connsiteY870" fmla="*/ 2735 h 10000"/>
                <a:gd name="connsiteX871" fmla="*/ 8014 w 10746"/>
                <a:gd name="connsiteY871" fmla="*/ 2744 h 10000"/>
                <a:gd name="connsiteX872" fmla="*/ 8023 w 10746"/>
                <a:gd name="connsiteY872" fmla="*/ 2769 h 10000"/>
                <a:gd name="connsiteX873" fmla="*/ 8032 w 10746"/>
                <a:gd name="connsiteY873" fmla="*/ 2744 h 10000"/>
                <a:gd name="connsiteX874" fmla="*/ 8032 w 10746"/>
                <a:gd name="connsiteY874" fmla="*/ 2709 h 10000"/>
                <a:gd name="connsiteX875" fmla="*/ 8023 w 10746"/>
                <a:gd name="connsiteY875" fmla="*/ 2632 h 10000"/>
                <a:gd name="connsiteX876" fmla="*/ 7986 w 10746"/>
                <a:gd name="connsiteY876" fmla="*/ 2581 h 10000"/>
                <a:gd name="connsiteX877" fmla="*/ 7968 w 10746"/>
                <a:gd name="connsiteY877" fmla="*/ 2581 h 10000"/>
                <a:gd name="connsiteX878" fmla="*/ 7963 w 10746"/>
                <a:gd name="connsiteY878" fmla="*/ 2556 h 10000"/>
                <a:gd name="connsiteX879" fmla="*/ 7935 w 10746"/>
                <a:gd name="connsiteY879" fmla="*/ 2547 h 10000"/>
                <a:gd name="connsiteX880" fmla="*/ 7912 w 10746"/>
                <a:gd name="connsiteY880" fmla="*/ 2547 h 10000"/>
                <a:gd name="connsiteX881" fmla="*/ 7912 w 10746"/>
                <a:gd name="connsiteY881" fmla="*/ 2556 h 10000"/>
                <a:gd name="connsiteX882" fmla="*/ 7908 w 10746"/>
                <a:gd name="connsiteY882" fmla="*/ 2547 h 10000"/>
                <a:gd name="connsiteX883" fmla="*/ 7862 w 10746"/>
                <a:gd name="connsiteY883" fmla="*/ 2547 h 10000"/>
                <a:gd name="connsiteX884" fmla="*/ 7848 w 10746"/>
                <a:gd name="connsiteY884" fmla="*/ 2556 h 10000"/>
                <a:gd name="connsiteX885" fmla="*/ 7820 w 10746"/>
                <a:gd name="connsiteY885" fmla="*/ 2547 h 10000"/>
                <a:gd name="connsiteX886" fmla="*/ 7806 w 10746"/>
                <a:gd name="connsiteY886" fmla="*/ 2513 h 10000"/>
                <a:gd name="connsiteX887" fmla="*/ 7788 w 10746"/>
                <a:gd name="connsiteY887" fmla="*/ 2513 h 10000"/>
                <a:gd name="connsiteX888" fmla="*/ 7760 w 10746"/>
                <a:gd name="connsiteY888" fmla="*/ 2470 h 10000"/>
                <a:gd name="connsiteX889" fmla="*/ 7751 w 10746"/>
                <a:gd name="connsiteY889" fmla="*/ 2470 h 10000"/>
                <a:gd name="connsiteX890" fmla="*/ 7705 w 10746"/>
                <a:gd name="connsiteY890" fmla="*/ 2462 h 10000"/>
                <a:gd name="connsiteX891" fmla="*/ 7673 w 10746"/>
                <a:gd name="connsiteY891" fmla="*/ 2419 h 10000"/>
                <a:gd name="connsiteX892" fmla="*/ 7627 w 10746"/>
                <a:gd name="connsiteY892" fmla="*/ 2419 h 10000"/>
                <a:gd name="connsiteX893" fmla="*/ 7613 w 10746"/>
                <a:gd name="connsiteY893" fmla="*/ 2410 h 10000"/>
                <a:gd name="connsiteX894" fmla="*/ 7493 w 10746"/>
                <a:gd name="connsiteY894" fmla="*/ 2393 h 10000"/>
                <a:gd name="connsiteX895" fmla="*/ 7479 w 10746"/>
                <a:gd name="connsiteY895" fmla="*/ 2385 h 10000"/>
                <a:gd name="connsiteX896" fmla="*/ 7479 w 10746"/>
                <a:gd name="connsiteY896" fmla="*/ 2376 h 10000"/>
                <a:gd name="connsiteX897" fmla="*/ 7465 w 10746"/>
                <a:gd name="connsiteY897" fmla="*/ 2359 h 10000"/>
                <a:gd name="connsiteX898" fmla="*/ 7447 w 10746"/>
                <a:gd name="connsiteY898" fmla="*/ 2350 h 10000"/>
                <a:gd name="connsiteX899" fmla="*/ 7433 w 10746"/>
                <a:gd name="connsiteY899" fmla="*/ 2376 h 10000"/>
                <a:gd name="connsiteX900" fmla="*/ 7433 w 10746"/>
                <a:gd name="connsiteY900" fmla="*/ 2385 h 10000"/>
                <a:gd name="connsiteX901" fmla="*/ 7447 w 10746"/>
                <a:gd name="connsiteY901" fmla="*/ 2410 h 10000"/>
                <a:gd name="connsiteX902" fmla="*/ 7447 w 10746"/>
                <a:gd name="connsiteY902" fmla="*/ 2436 h 10000"/>
                <a:gd name="connsiteX903" fmla="*/ 7452 w 10746"/>
                <a:gd name="connsiteY903" fmla="*/ 2462 h 10000"/>
                <a:gd name="connsiteX904" fmla="*/ 7447 w 10746"/>
                <a:gd name="connsiteY904" fmla="*/ 2470 h 10000"/>
                <a:gd name="connsiteX905" fmla="*/ 7424 w 10746"/>
                <a:gd name="connsiteY905" fmla="*/ 2513 h 10000"/>
                <a:gd name="connsiteX906" fmla="*/ 7419 w 10746"/>
                <a:gd name="connsiteY906" fmla="*/ 2556 h 10000"/>
                <a:gd name="connsiteX907" fmla="*/ 7406 w 10746"/>
                <a:gd name="connsiteY907" fmla="*/ 2624 h 10000"/>
                <a:gd name="connsiteX908" fmla="*/ 7392 w 10746"/>
                <a:gd name="connsiteY908" fmla="*/ 2624 h 10000"/>
                <a:gd name="connsiteX909" fmla="*/ 7373 w 10746"/>
                <a:gd name="connsiteY909" fmla="*/ 2650 h 10000"/>
                <a:gd name="connsiteX910" fmla="*/ 7364 w 10746"/>
                <a:gd name="connsiteY910" fmla="*/ 2684 h 10000"/>
                <a:gd name="connsiteX911" fmla="*/ 7364 w 10746"/>
                <a:gd name="connsiteY911" fmla="*/ 2692 h 10000"/>
                <a:gd name="connsiteX912" fmla="*/ 7373 w 10746"/>
                <a:gd name="connsiteY912" fmla="*/ 2718 h 10000"/>
                <a:gd name="connsiteX913" fmla="*/ 7373 w 10746"/>
                <a:gd name="connsiteY913" fmla="*/ 2744 h 10000"/>
                <a:gd name="connsiteX914" fmla="*/ 7359 w 10746"/>
                <a:gd name="connsiteY914" fmla="*/ 2744 h 10000"/>
                <a:gd name="connsiteX915" fmla="*/ 7359 w 10746"/>
                <a:gd name="connsiteY915" fmla="*/ 2795 h 10000"/>
                <a:gd name="connsiteX916" fmla="*/ 7364 w 10746"/>
                <a:gd name="connsiteY916" fmla="*/ 2821 h 10000"/>
                <a:gd name="connsiteX917" fmla="*/ 7378 w 10746"/>
                <a:gd name="connsiteY917" fmla="*/ 2846 h 10000"/>
                <a:gd name="connsiteX918" fmla="*/ 7378 w 10746"/>
                <a:gd name="connsiteY918" fmla="*/ 2855 h 10000"/>
                <a:gd name="connsiteX919" fmla="*/ 7378 w 10746"/>
                <a:gd name="connsiteY919" fmla="*/ 2880 h 10000"/>
                <a:gd name="connsiteX920" fmla="*/ 7378 w 10746"/>
                <a:gd name="connsiteY920" fmla="*/ 2906 h 10000"/>
                <a:gd name="connsiteX921" fmla="*/ 7364 w 10746"/>
                <a:gd name="connsiteY921" fmla="*/ 2906 h 10000"/>
                <a:gd name="connsiteX922" fmla="*/ 7346 w 10746"/>
                <a:gd name="connsiteY922" fmla="*/ 2880 h 10000"/>
                <a:gd name="connsiteX923" fmla="*/ 7332 w 10746"/>
                <a:gd name="connsiteY923" fmla="*/ 2915 h 10000"/>
                <a:gd name="connsiteX924" fmla="*/ 7318 w 10746"/>
                <a:gd name="connsiteY924" fmla="*/ 2906 h 10000"/>
                <a:gd name="connsiteX925" fmla="*/ 7313 w 10746"/>
                <a:gd name="connsiteY925" fmla="*/ 2915 h 10000"/>
                <a:gd name="connsiteX926" fmla="*/ 7313 w 10746"/>
                <a:gd name="connsiteY926" fmla="*/ 2906 h 10000"/>
                <a:gd name="connsiteX927" fmla="*/ 7286 w 10746"/>
                <a:gd name="connsiteY927" fmla="*/ 2940 h 10000"/>
                <a:gd name="connsiteX928" fmla="*/ 7276 w 10746"/>
                <a:gd name="connsiteY928" fmla="*/ 2966 h 10000"/>
                <a:gd name="connsiteX929" fmla="*/ 7272 w 10746"/>
                <a:gd name="connsiteY929" fmla="*/ 2983 h 10000"/>
                <a:gd name="connsiteX930" fmla="*/ 7267 w 10746"/>
                <a:gd name="connsiteY930" fmla="*/ 3009 h 10000"/>
                <a:gd name="connsiteX931" fmla="*/ 7253 w 10746"/>
                <a:gd name="connsiteY931" fmla="*/ 3009 h 10000"/>
                <a:gd name="connsiteX932" fmla="*/ 7244 w 10746"/>
                <a:gd name="connsiteY932" fmla="*/ 3017 h 10000"/>
                <a:gd name="connsiteX933" fmla="*/ 7240 w 10746"/>
                <a:gd name="connsiteY933" fmla="*/ 3009 h 10000"/>
                <a:gd name="connsiteX934" fmla="*/ 7230 w 10746"/>
                <a:gd name="connsiteY934" fmla="*/ 2991 h 10000"/>
                <a:gd name="connsiteX935" fmla="*/ 7226 w 10746"/>
                <a:gd name="connsiteY935" fmla="*/ 2983 h 10000"/>
                <a:gd name="connsiteX936" fmla="*/ 7226 w 10746"/>
                <a:gd name="connsiteY936" fmla="*/ 2966 h 10000"/>
                <a:gd name="connsiteX937" fmla="*/ 7212 w 10746"/>
                <a:gd name="connsiteY937" fmla="*/ 2957 h 10000"/>
                <a:gd name="connsiteX938" fmla="*/ 7212 w 10746"/>
                <a:gd name="connsiteY938" fmla="*/ 2932 h 10000"/>
                <a:gd name="connsiteX939" fmla="*/ 7198 w 10746"/>
                <a:gd name="connsiteY939" fmla="*/ 2915 h 10000"/>
                <a:gd name="connsiteX940" fmla="*/ 7194 w 10746"/>
                <a:gd name="connsiteY940" fmla="*/ 2915 h 10000"/>
                <a:gd name="connsiteX941" fmla="*/ 7157 w 10746"/>
                <a:gd name="connsiteY941" fmla="*/ 2880 h 10000"/>
                <a:gd name="connsiteX942" fmla="*/ 7138 w 10746"/>
                <a:gd name="connsiteY942" fmla="*/ 2880 h 10000"/>
                <a:gd name="connsiteX943" fmla="*/ 7120 w 10746"/>
                <a:gd name="connsiteY943" fmla="*/ 2872 h 10000"/>
                <a:gd name="connsiteX944" fmla="*/ 7111 w 10746"/>
                <a:gd name="connsiteY944" fmla="*/ 2846 h 10000"/>
                <a:gd name="connsiteX945" fmla="*/ 7106 w 10746"/>
                <a:gd name="connsiteY945" fmla="*/ 2846 h 10000"/>
                <a:gd name="connsiteX946" fmla="*/ 7092 w 10746"/>
                <a:gd name="connsiteY946" fmla="*/ 2829 h 10000"/>
                <a:gd name="connsiteX947" fmla="*/ 7051 w 10746"/>
                <a:gd name="connsiteY947" fmla="*/ 2829 h 10000"/>
                <a:gd name="connsiteX948" fmla="*/ 7037 w 10746"/>
                <a:gd name="connsiteY948" fmla="*/ 2880 h 10000"/>
                <a:gd name="connsiteX949" fmla="*/ 7037 w 10746"/>
                <a:gd name="connsiteY949" fmla="*/ 2906 h 10000"/>
                <a:gd name="connsiteX950" fmla="*/ 7037 w 10746"/>
                <a:gd name="connsiteY950" fmla="*/ 2932 h 10000"/>
                <a:gd name="connsiteX951" fmla="*/ 7037 w 10746"/>
                <a:gd name="connsiteY951" fmla="*/ 2940 h 10000"/>
                <a:gd name="connsiteX952" fmla="*/ 7023 w 10746"/>
                <a:gd name="connsiteY952" fmla="*/ 2906 h 10000"/>
                <a:gd name="connsiteX953" fmla="*/ 7023 w 10746"/>
                <a:gd name="connsiteY953" fmla="*/ 2915 h 10000"/>
                <a:gd name="connsiteX954" fmla="*/ 6991 w 10746"/>
                <a:gd name="connsiteY954" fmla="*/ 2906 h 10000"/>
                <a:gd name="connsiteX955" fmla="*/ 6977 w 10746"/>
                <a:gd name="connsiteY955" fmla="*/ 2915 h 10000"/>
                <a:gd name="connsiteX956" fmla="*/ 6963 w 10746"/>
                <a:gd name="connsiteY956" fmla="*/ 2915 h 10000"/>
                <a:gd name="connsiteX957" fmla="*/ 6949 w 10746"/>
                <a:gd name="connsiteY957" fmla="*/ 2872 h 10000"/>
                <a:gd name="connsiteX958" fmla="*/ 6935 w 10746"/>
                <a:gd name="connsiteY958" fmla="*/ 2855 h 10000"/>
                <a:gd name="connsiteX959" fmla="*/ 6922 w 10746"/>
                <a:gd name="connsiteY959" fmla="*/ 2803 h 10000"/>
                <a:gd name="connsiteX960" fmla="*/ 6917 w 10746"/>
                <a:gd name="connsiteY960" fmla="*/ 2786 h 10000"/>
                <a:gd name="connsiteX961" fmla="*/ 6903 w 10746"/>
                <a:gd name="connsiteY961" fmla="*/ 2709 h 10000"/>
                <a:gd name="connsiteX962" fmla="*/ 6903 w 10746"/>
                <a:gd name="connsiteY962" fmla="*/ 2692 h 10000"/>
                <a:gd name="connsiteX963" fmla="*/ 6899 w 10746"/>
                <a:gd name="connsiteY963" fmla="*/ 2709 h 10000"/>
                <a:gd name="connsiteX964" fmla="*/ 6857 w 10746"/>
                <a:gd name="connsiteY964" fmla="*/ 2872 h 10000"/>
                <a:gd name="connsiteX965" fmla="*/ 6857 w 10746"/>
                <a:gd name="connsiteY965" fmla="*/ 3009 h 10000"/>
                <a:gd name="connsiteX966" fmla="*/ 6848 w 10746"/>
                <a:gd name="connsiteY966" fmla="*/ 3017 h 10000"/>
                <a:gd name="connsiteX967" fmla="*/ 6839 w 10746"/>
                <a:gd name="connsiteY967" fmla="*/ 3068 h 10000"/>
                <a:gd name="connsiteX968" fmla="*/ 6829 w 10746"/>
                <a:gd name="connsiteY968" fmla="*/ 3077 h 10000"/>
                <a:gd name="connsiteX969" fmla="*/ 6829 w 10746"/>
                <a:gd name="connsiteY969" fmla="*/ 3128 h 10000"/>
                <a:gd name="connsiteX970" fmla="*/ 6816 w 10746"/>
                <a:gd name="connsiteY970" fmla="*/ 3154 h 10000"/>
                <a:gd name="connsiteX971" fmla="*/ 6811 w 10746"/>
                <a:gd name="connsiteY971" fmla="*/ 3179 h 10000"/>
                <a:gd name="connsiteX972" fmla="*/ 6797 w 10746"/>
                <a:gd name="connsiteY972" fmla="*/ 3171 h 10000"/>
                <a:gd name="connsiteX973" fmla="*/ 6783 w 10746"/>
                <a:gd name="connsiteY973" fmla="*/ 3103 h 10000"/>
                <a:gd name="connsiteX974" fmla="*/ 6779 w 10746"/>
                <a:gd name="connsiteY974" fmla="*/ 3094 h 10000"/>
                <a:gd name="connsiteX975" fmla="*/ 6779 w 10746"/>
                <a:gd name="connsiteY975" fmla="*/ 3120 h 10000"/>
                <a:gd name="connsiteX976" fmla="*/ 6770 w 10746"/>
                <a:gd name="connsiteY976" fmla="*/ 3128 h 10000"/>
                <a:gd name="connsiteX977" fmla="*/ 6765 w 10746"/>
                <a:gd name="connsiteY977" fmla="*/ 3103 h 10000"/>
                <a:gd name="connsiteX978" fmla="*/ 6756 w 10746"/>
                <a:gd name="connsiteY978" fmla="*/ 3103 h 10000"/>
                <a:gd name="connsiteX979" fmla="*/ 6742 w 10746"/>
                <a:gd name="connsiteY979" fmla="*/ 3103 h 10000"/>
                <a:gd name="connsiteX980" fmla="*/ 6737 w 10746"/>
                <a:gd name="connsiteY980" fmla="*/ 3077 h 10000"/>
                <a:gd name="connsiteX981" fmla="*/ 6737 w 10746"/>
                <a:gd name="connsiteY981" fmla="*/ 3068 h 10000"/>
                <a:gd name="connsiteX982" fmla="*/ 6728 w 10746"/>
                <a:gd name="connsiteY982" fmla="*/ 3043 h 10000"/>
                <a:gd name="connsiteX983" fmla="*/ 6724 w 10746"/>
                <a:gd name="connsiteY983" fmla="*/ 3051 h 10000"/>
                <a:gd name="connsiteX984" fmla="*/ 6714 w 10746"/>
                <a:gd name="connsiteY984" fmla="*/ 3043 h 10000"/>
                <a:gd name="connsiteX985" fmla="*/ 6710 w 10746"/>
                <a:gd name="connsiteY985" fmla="*/ 3034 h 10000"/>
                <a:gd name="connsiteX986" fmla="*/ 6705 w 10746"/>
                <a:gd name="connsiteY986" fmla="*/ 2983 h 10000"/>
                <a:gd name="connsiteX987" fmla="*/ 6696 w 10746"/>
                <a:gd name="connsiteY987" fmla="*/ 2966 h 10000"/>
                <a:gd name="connsiteX988" fmla="*/ 6691 w 10746"/>
                <a:gd name="connsiteY988" fmla="*/ 2983 h 10000"/>
                <a:gd name="connsiteX989" fmla="*/ 6677 w 10746"/>
                <a:gd name="connsiteY989" fmla="*/ 2897 h 10000"/>
                <a:gd name="connsiteX990" fmla="*/ 6677 w 10746"/>
                <a:gd name="connsiteY990" fmla="*/ 2897 h 10000"/>
                <a:gd name="connsiteX991" fmla="*/ 6677 w 10746"/>
                <a:gd name="connsiteY991" fmla="*/ 2872 h 10000"/>
                <a:gd name="connsiteX992" fmla="*/ 6668 w 10746"/>
                <a:gd name="connsiteY992" fmla="*/ 2821 h 10000"/>
                <a:gd name="connsiteX993" fmla="*/ 6664 w 10746"/>
                <a:gd name="connsiteY993" fmla="*/ 2829 h 10000"/>
                <a:gd name="connsiteX994" fmla="*/ 6654 w 10746"/>
                <a:gd name="connsiteY994" fmla="*/ 2846 h 10000"/>
                <a:gd name="connsiteX995" fmla="*/ 6650 w 10746"/>
                <a:gd name="connsiteY995" fmla="*/ 2829 h 10000"/>
                <a:gd name="connsiteX996" fmla="*/ 6650 w 10746"/>
                <a:gd name="connsiteY996" fmla="*/ 2803 h 10000"/>
                <a:gd name="connsiteX997" fmla="*/ 6650 w 10746"/>
                <a:gd name="connsiteY997" fmla="*/ 2795 h 10000"/>
                <a:gd name="connsiteX998" fmla="*/ 6641 w 10746"/>
                <a:gd name="connsiteY998" fmla="*/ 2786 h 10000"/>
                <a:gd name="connsiteX999" fmla="*/ 6636 w 10746"/>
                <a:gd name="connsiteY999" fmla="*/ 2735 h 10000"/>
                <a:gd name="connsiteX1000" fmla="*/ 6664 w 10746"/>
                <a:gd name="connsiteY1000" fmla="*/ 2667 h 10000"/>
                <a:gd name="connsiteX1001" fmla="*/ 6668 w 10746"/>
                <a:gd name="connsiteY1001" fmla="*/ 2684 h 10000"/>
                <a:gd name="connsiteX1002" fmla="*/ 6677 w 10746"/>
                <a:gd name="connsiteY1002" fmla="*/ 2667 h 10000"/>
                <a:gd name="connsiteX1003" fmla="*/ 6668 w 10746"/>
                <a:gd name="connsiteY1003" fmla="*/ 2667 h 10000"/>
                <a:gd name="connsiteX1004" fmla="*/ 6668 w 10746"/>
                <a:gd name="connsiteY1004" fmla="*/ 2650 h 10000"/>
                <a:gd name="connsiteX1005" fmla="*/ 6682 w 10746"/>
                <a:gd name="connsiteY1005" fmla="*/ 2650 h 10000"/>
                <a:gd name="connsiteX1006" fmla="*/ 6691 w 10746"/>
                <a:gd name="connsiteY1006" fmla="*/ 2624 h 10000"/>
                <a:gd name="connsiteX1007" fmla="*/ 6682 w 10746"/>
                <a:gd name="connsiteY1007" fmla="*/ 2632 h 10000"/>
                <a:gd name="connsiteX1008" fmla="*/ 6682 w 10746"/>
                <a:gd name="connsiteY1008" fmla="*/ 2624 h 10000"/>
                <a:gd name="connsiteX1009" fmla="*/ 6691 w 10746"/>
                <a:gd name="connsiteY1009" fmla="*/ 2607 h 10000"/>
                <a:gd name="connsiteX1010" fmla="*/ 6691 w 10746"/>
                <a:gd name="connsiteY1010" fmla="*/ 2598 h 10000"/>
                <a:gd name="connsiteX1011" fmla="*/ 6691 w 10746"/>
                <a:gd name="connsiteY1011" fmla="*/ 2581 h 10000"/>
                <a:gd name="connsiteX1012" fmla="*/ 6696 w 10746"/>
                <a:gd name="connsiteY1012" fmla="*/ 2530 h 10000"/>
                <a:gd name="connsiteX1013" fmla="*/ 6677 w 10746"/>
                <a:gd name="connsiteY1013" fmla="*/ 2513 h 10000"/>
                <a:gd name="connsiteX1014" fmla="*/ 6677 w 10746"/>
                <a:gd name="connsiteY1014" fmla="*/ 2496 h 10000"/>
                <a:gd name="connsiteX1015" fmla="*/ 6682 w 10746"/>
                <a:gd name="connsiteY1015" fmla="*/ 2470 h 10000"/>
                <a:gd name="connsiteX1016" fmla="*/ 6668 w 10746"/>
                <a:gd name="connsiteY1016" fmla="*/ 2462 h 10000"/>
                <a:gd name="connsiteX1017" fmla="*/ 6677 w 10746"/>
                <a:gd name="connsiteY1017" fmla="*/ 2436 h 10000"/>
                <a:gd name="connsiteX1018" fmla="*/ 6682 w 10746"/>
                <a:gd name="connsiteY1018" fmla="*/ 2419 h 10000"/>
                <a:gd name="connsiteX1019" fmla="*/ 6682 w 10746"/>
                <a:gd name="connsiteY1019" fmla="*/ 2393 h 10000"/>
                <a:gd name="connsiteX1020" fmla="*/ 6682 w 10746"/>
                <a:gd name="connsiteY1020" fmla="*/ 2385 h 10000"/>
                <a:gd name="connsiteX1021" fmla="*/ 6682 w 10746"/>
                <a:gd name="connsiteY1021" fmla="*/ 2385 h 10000"/>
                <a:gd name="connsiteX1022" fmla="*/ 6677 w 10746"/>
                <a:gd name="connsiteY1022" fmla="*/ 2376 h 10000"/>
                <a:gd name="connsiteX1023" fmla="*/ 6682 w 10746"/>
                <a:gd name="connsiteY1023" fmla="*/ 2359 h 10000"/>
                <a:gd name="connsiteX1024" fmla="*/ 6677 w 10746"/>
                <a:gd name="connsiteY1024" fmla="*/ 2333 h 10000"/>
                <a:gd name="connsiteX1025" fmla="*/ 6691 w 10746"/>
                <a:gd name="connsiteY1025" fmla="*/ 2333 h 10000"/>
                <a:gd name="connsiteX1026" fmla="*/ 6691 w 10746"/>
                <a:gd name="connsiteY1026" fmla="*/ 2325 h 10000"/>
                <a:gd name="connsiteX1027" fmla="*/ 6691 w 10746"/>
                <a:gd name="connsiteY1027" fmla="*/ 2308 h 10000"/>
                <a:gd name="connsiteX1028" fmla="*/ 6691 w 10746"/>
                <a:gd name="connsiteY1028" fmla="*/ 2299 h 10000"/>
                <a:gd name="connsiteX1029" fmla="*/ 6691 w 10746"/>
                <a:gd name="connsiteY1029" fmla="*/ 2282 h 10000"/>
                <a:gd name="connsiteX1030" fmla="*/ 6691 w 10746"/>
                <a:gd name="connsiteY1030" fmla="*/ 2274 h 10000"/>
                <a:gd name="connsiteX1031" fmla="*/ 6668 w 10746"/>
                <a:gd name="connsiteY1031" fmla="*/ 2248 h 10000"/>
                <a:gd name="connsiteX1032" fmla="*/ 6664 w 10746"/>
                <a:gd name="connsiteY1032" fmla="*/ 2222 h 10000"/>
                <a:gd name="connsiteX1033" fmla="*/ 6654 w 10746"/>
                <a:gd name="connsiteY1033" fmla="*/ 2214 h 10000"/>
                <a:gd name="connsiteX1034" fmla="*/ 6654 w 10746"/>
                <a:gd name="connsiteY1034" fmla="*/ 2188 h 10000"/>
                <a:gd name="connsiteX1035" fmla="*/ 6622 w 10746"/>
                <a:gd name="connsiteY1035" fmla="*/ 2162 h 10000"/>
                <a:gd name="connsiteX1036" fmla="*/ 6631 w 10746"/>
                <a:gd name="connsiteY1036" fmla="*/ 2145 h 10000"/>
                <a:gd name="connsiteX1037" fmla="*/ 6622 w 10746"/>
                <a:gd name="connsiteY1037" fmla="*/ 2120 h 10000"/>
                <a:gd name="connsiteX1038" fmla="*/ 6608 w 10746"/>
                <a:gd name="connsiteY1038" fmla="*/ 2120 h 10000"/>
                <a:gd name="connsiteX1039" fmla="*/ 6604 w 10746"/>
                <a:gd name="connsiteY1039" fmla="*/ 2111 h 10000"/>
                <a:gd name="connsiteX1040" fmla="*/ 6608 w 10746"/>
                <a:gd name="connsiteY1040" fmla="*/ 2111 h 10000"/>
                <a:gd name="connsiteX1041" fmla="*/ 6604 w 10746"/>
                <a:gd name="connsiteY1041" fmla="*/ 2085 h 10000"/>
                <a:gd name="connsiteX1042" fmla="*/ 6581 w 10746"/>
                <a:gd name="connsiteY1042" fmla="*/ 2077 h 10000"/>
                <a:gd name="connsiteX1043" fmla="*/ 6571 w 10746"/>
                <a:gd name="connsiteY1043" fmla="*/ 2085 h 10000"/>
                <a:gd name="connsiteX1044" fmla="*/ 6548 w 10746"/>
                <a:gd name="connsiteY1044" fmla="*/ 2077 h 10000"/>
                <a:gd name="connsiteX1045" fmla="*/ 6530 w 10746"/>
                <a:gd name="connsiteY1045" fmla="*/ 2060 h 10000"/>
                <a:gd name="connsiteX1046" fmla="*/ 6521 w 10746"/>
                <a:gd name="connsiteY1046" fmla="*/ 2060 h 10000"/>
                <a:gd name="connsiteX1047" fmla="*/ 6521 w 10746"/>
                <a:gd name="connsiteY1047" fmla="*/ 2085 h 10000"/>
                <a:gd name="connsiteX1048" fmla="*/ 6516 w 10746"/>
                <a:gd name="connsiteY1048" fmla="*/ 2085 h 10000"/>
                <a:gd name="connsiteX1049" fmla="*/ 6502 w 10746"/>
                <a:gd name="connsiteY1049" fmla="*/ 2111 h 10000"/>
                <a:gd name="connsiteX1050" fmla="*/ 6498 w 10746"/>
                <a:gd name="connsiteY1050" fmla="*/ 2111 h 10000"/>
                <a:gd name="connsiteX1051" fmla="*/ 6498 w 10746"/>
                <a:gd name="connsiteY1051" fmla="*/ 2103 h 10000"/>
                <a:gd name="connsiteX1052" fmla="*/ 6475 w 10746"/>
                <a:gd name="connsiteY1052" fmla="*/ 2051 h 10000"/>
                <a:gd name="connsiteX1053" fmla="*/ 6470 w 10746"/>
                <a:gd name="connsiteY1053" fmla="*/ 2060 h 10000"/>
                <a:gd name="connsiteX1054" fmla="*/ 6456 w 10746"/>
                <a:gd name="connsiteY1054" fmla="*/ 2051 h 10000"/>
                <a:gd name="connsiteX1055" fmla="*/ 6447 w 10746"/>
                <a:gd name="connsiteY1055" fmla="*/ 2051 h 10000"/>
                <a:gd name="connsiteX1056" fmla="*/ 6433 w 10746"/>
                <a:gd name="connsiteY1056" fmla="*/ 2026 h 10000"/>
                <a:gd name="connsiteX1057" fmla="*/ 6433 w 10746"/>
                <a:gd name="connsiteY1057" fmla="*/ 2034 h 10000"/>
                <a:gd name="connsiteX1058" fmla="*/ 6429 w 10746"/>
                <a:gd name="connsiteY1058" fmla="*/ 2026 h 10000"/>
                <a:gd name="connsiteX1059" fmla="*/ 6424 w 10746"/>
                <a:gd name="connsiteY1059" fmla="*/ 2034 h 10000"/>
                <a:gd name="connsiteX1060" fmla="*/ 6410 w 10746"/>
                <a:gd name="connsiteY1060" fmla="*/ 2026 h 10000"/>
                <a:gd name="connsiteX1061" fmla="*/ 6410 w 10746"/>
                <a:gd name="connsiteY1061" fmla="*/ 1991 h 10000"/>
                <a:gd name="connsiteX1062" fmla="*/ 6401 w 10746"/>
                <a:gd name="connsiteY1062" fmla="*/ 1991 h 10000"/>
                <a:gd name="connsiteX1063" fmla="*/ 6396 w 10746"/>
                <a:gd name="connsiteY1063" fmla="*/ 2000 h 10000"/>
                <a:gd name="connsiteX1064" fmla="*/ 6382 w 10746"/>
                <a:gd name="connsiteY1064" fmla="*/ 1966 h 10000"/>
                <a:gd name="connsiteX1065" fmla="*/ 6373 w 10746"/>
                <a:gd name="connsiteY1065" fmla="*/ 1974 h 10000"/>
                <a:gd name="connsiteX1066" fmla="*/ 6369 w 10746"/>
                <a:gd name="connsiteY1066" fmla="*/ 1966 h 10000"/>
                <a:gd name="connsiteX1067" fmla="*/ 6341 w 10746"/>
                <a:gd name="connsiteY1067" fmla="*/ 1949 h 10000"/>
                <a:gd name="connsiteX1068" fmla="*/ 6327 w 10746"/>
                <a:gd name="connsiteY1068" fmla="*/ 1923 h 10000"/>
                <a:gd name="connsiteX1069" fmla="*/ 6323 w 10746"/>
                <a:gd name="connsiteY1069" fmla="*/ 1923 h 10000"/>
                <a:gd name="connsiteX1070" fmla="*/ 6323 w 10746"/>
                <a:gd name="connsiteY1070" fmla="*/ 1966 h 10000"/>
                <a:gd name="connsiteX1071" fmla="*/ 6323 w 10746"/>
                <a:gd name="connsiteY1071" fmla="*/ 1991 h 10000"/>
                <a:gd name="connsiteX1072" fmla="*/ 6313 w 10746"/>
                <a:gd name="connsiteY1072" fmla="*/ 1991 h 10000"/>
                <a:gd name="connsiteX1073" fmla="*/ 6300 w 10746"/>
                <a:gd name="connsiteY1073" fmla="*/ 1991 h 10000"/>
                <a:gd name="connsiteX1074" fmla="*/ 6290 w 10746"/>
                <a:gd name="connsiteY1074" fmla="*/ 1949 h 10000"/>
                <a:gd name="connsiteX1075" fmla="*/ 6276 w 10746"/>
                <a:gd name="connsiteY1075" fmla="*/ 2103 h 10000"/>
                <a:gd name="connsiteX1076" fmla="*/ 6281 w 10746"/>
                <a:gd name="connsiteY1076" fmla="*/ 2103 h 10000"/>
                <a:gd name="connsiteX1077" fmla="*/ 6276 w 10746"/>
                <a:gd name="connsiteY1077" fmla="*/ 2111 h 10000"/>
                <a:gd name="connsiteX1078" fmla="*/ 6276 w 10746"/>
                <a:gd name="connsiteY1078" fmla="*/ 2120 h 10000"/>
                <a:gd name="connsiteX1079" fmla="*/ 6295 w 10746"/>
                <a:gd name="connsiteY1079" fmla="*/ 2239 h 10000"/>
                <a:gd name="connsiteX1080" fmla="*/ 6290 w 10746"/>
                <a:gd name="connsiteY1080" fmla="*/ 2248 h 10000"/>
                <a:gd name="connsiteX1081" fmla="*/ 6281 w 10746"/>
                <a:gd name="connsiteY1081" fmla="*/ 2274 h 10000"/>
                <a:gd name="connsiteX1082" fmla="*/ 6249 w 10746"/>
                <a:gd name="connsiteY1082" fmla="*/ 2274 h 10000"/>
                <a:gd name="connsiteX1083" fmla="*/ 6226 w 10746"/>
                <a:gd name="connsiteY1083" fmla="*/ 2308 h 10000"/>
                <a:gd name="connsiteX1084" fmla="*/ 6221 w 10746"/>
                <a:gd name="connsiteY1084" fmla="*/ 2299 h 10000"/>
                <a:gd name="connsiteX1085" fmla="*/ 6221 w 10746"/>
                <a:gd name="connsiteY1085" fmla="*/ 2308 h 10000"/>
                <a:gd name="connsiteX1086" fmla="*/ 6217 w 10746"/>
                <a:gd name="connsiteY1086" fmla="*/ 2299 h 10000"/>
                <a:gd name="connsiteX1087" fmla="*/ 6194 w 10746"/>
                <a:gd name="connsiteY1087" fmla="*/ 2308 h 10000"/>
                <a:gd name="connsiteX1088" fmla="*/ 6180 w 10746"/>
                <a:gd name="connsiteY1088" fmla="*/ 2299 h 10000"/>
                <a:gd name="connsiteX1089" fmla="*/ 6143 w 10746"/>
                <a:gd name="connsiteY1089" fmla="*/ 2308 h 10000"/>
                <a:gd name="connsiteX1090" fmla="*/ 6134 w 10746"/>
                <a:gd name="connsiteY1090" fmla="*/ 2325 h 10000"/>
                <a:gd name="connsiteX1091" fmla="*/ 6115 w 10746"/>
                <a:gd name="connsiteY1091" fmla="*/ 2282 h 10000"/>
                <a:gd name="connsiteX1092" fmla="*/ 6069 w 10746"/>
                <a:gd name="connsiteY1092" fmla="*/ 2274 h 10000"/>
                <a:gd name="connsiteX1093" fmla="*/ 6069 w 10746"/>
                <a:gd name="connsiteY1093" fmla="*/ 2282 h 10000"/>
                <a:gd name="connsiteX1094" fmla="*/ 6060 w 10746"/>
                <a:gd name="connsiteY1094" fmla="*/ 2299 h 10000"/>
                <a:gd name="connsiteX1095" fmla="*/ 5972 w 10746"/>
                <a:gd name="connsiteY1095" fmla="*/ 2214 h 10000"/>
                <a:gd name="connsiteX1096" fmla="*/ 5968 w 10746"/>
                <a:gd name="connsiteY1096" fmla="*/ 2197 h 10000"/>
                <a:gd name="connsiteX1097" fmla="*/ 5968 w 10746"/>
                <a:gd name="connsiteY1097" fmla="*/ 2171 h 10000"/>
                <a:gd name="connsiteX1098" fmla="*/ 5968 w 10746"/>
                <a:gd name="connsiteY1098" fmla="*/ 2162 h 10000"/>
                <a:gd name="connsiteX1099" fmla="*/ 5968 w 10746"/>
                <a:gd name="connsiteY1099" fmla="*/ 2120 h 10000"/>
                <a:gd name="connsiteX1100" fmla="*/ 5968 w 10746"/>
                <a:gd name="connsiteY1100" fmla="*/ 2111 h 10000"/>
                <a:gd name="connsiteX1101" fmla="*/ 5972 w 10746"/>
                <a:gd name="connsiteY1101" fmla="*/ 2103 h 10000"/>
                <a:gd name="connsiteX1102" fmla="*/ 5986 w 10746"/>
                <a:gd name="connsiteY1102" fmla="*/ 2103 h 10000"/>
                <a:gd name="connsiteX1103" fmla="*/ 5986 w 10746"/>
                <a:gd name="connsiteY1103" fmla="*/ 2085 h 10000"/>
                <a:gd name="connsiteX1104" fmla="*/ 5995 w 10746"/>
                <a:gd name="connsiteY1104" fmla="*/ 2085 h 10000"/>
                <a:gd name="connsiteX1105" fmla="*/ 5995 w 10746"/>
                <a:gd name="connsiteY1105" fmla="*/ 2077 h 10000"/>
                <a:gd name="connsiteX1106" fmla="*/ 5986 w 10746"/>
                <a:gd name="connsiteY1106" fmla="*/ 2060 h 10000"/>
                <a:gd name="connsiteX1107" fmla="*/ 5954 w 10746"/>
                <a:gd name="connsiteY1107" fmla="*/ 2060 h 10000"/>
                <a:gd name="connsiteX1108" fmla="*/ 5940 w 10746"/>
                <a:gd name="connsiteY1108" fmla="*/ 2051 h 10000"/>
                <a:gd name="connsiteX1109" fmla="*/ 5922 w 10746"/>
                <a:gd name="connsiteY1109" fmla="*/ 2060 h 10000"/>
                <a:gd name="connsiteX1110" fmla="*/ 5885 w 10746"/>
                <a:gd name="connsiteY1110" fmla="*/ 2051 h 10000"/>
                <a:gd name="connsiteX1111" fmla="*/ 5876 w 10746"/>
                <a:gd name="connsiteY1111" fmla="*/ 2026 h 10000"/>
                <a:gd name="connsiteX1112" fmla="*/ 5862 w 10746"/>
                <a:gd name="connsiteY1112" fmla="*/ 2026 h 10000"/>
                <a:gd name="connsiteX1113" fmla="*/ 5848 w 10746"/>
                <a:gd name="connsiteY1113" fmla="*/ 2026 h 10000"/>
                <a:gd name="connsiteX1114" fmla="*/ 5825 w 10746"/>
                <a:gd name="connsiteY1114" fmla="*/ 2026 h 10000"/>
                <a:gd name="connsiteX1115" fmla="*/ 5788 w 10746"/>
                <a:gd name="connsiteY1115" fmla="*/ 1991 h 10000"/>
                <a:gd name="connsiteX1116" fmla="*/ 5760 w 10746"/>
                <a:gd name="connsiteY1116" fmla="*/ 2000 h 10000"/>
                <a:gd name="connsiteX1117" fmla="*/ 5760 w 10746"/>
                <a:gd name="connsiteY1117" fmla="*/ 2026 h 10000"/>
                <a:gd name="connsiteX1118" fmla="*/ 5714 w 10746"/>
                <a:gd name="connsiteY1118" fmla="*/ 2051 h 10000"/>
                <a:gd name="connsiteX1119" fmla="*/ 5687 w 10746"/>
                <a:gd name="connsiteY1119" fmla="*/ 2034 h 10000"/>
                <a:gd name="connsiteX1120" fmla="*/ 5645 w 10746"/>
                <a:gd name="connsiteY1120" fmla="*/ 2077 h 10000"/>
                <a:gd name="connsiteX1121" fmla="*/ 5664 w 10746"/>
                <a:gd name="connsiteY1121" fmla="*/ 2120 h 10000"/>
                <a:gd name="connsiteX1122" fmla="*/ 5664 w 10746"/>
                <a:gd name="connsiteY1122" fmla="*/ 2162 h 10000"/>
                <a:gd name="connsiteX1123" fmla="*/ 5631 w 10746"/>
                <a:gd name="connsiteY1123" fmla="*/ 2197 h 10000"/>
                <a:gd name="connsiteX1124" fmla="*/ 5618 w 10746"/>
                <a:gd name="connsiteY1124" fmla="*/ 2188 h 10000"/>
                <a:gd name="connsiteX1125" fmla="*/ 5618 w 10746"/>
                <a:gd name="connsiteY1125" fmla="*/ 2171 h 10000"/>
                <a:gd name="connsiteX1126" fmla="*/ 5641 w 10746"/>
                <a:gd name="connsiteY1126" fmla="*/ 2171 h 10000"/>
                <a:gd name="connsiteX1127" fmla="*/ 5641 w 10746"/>
                <a:gd name="connsiteY1127" fmla="*/ 2162 h 10000"/>
                <a:gd name="connsiteX1128" fmla="*/ 5627 w 10746"/>
                <a:gd name="connsiteY1128" fmla="*/ 2145 h 10000"/>
                <a:gd name="connsiteX1129" fmla="*/ 5627 w 10746"/>
                <a:gd name="connsiteY1129" fmla="*/ 2120 h 10000"/>
                <a:gd name="connsiteX1130" fmla="*/ 5618 w 10746"/>
                <a:gd name="connsiteY1130" fmla="*/ 2111 h 10000"/>
                <a:gd name="connsiteX1131" fmla="*/ 5631 w 10746"/>
                <a:gd name="connsiteY1131" fmla="*/ 2051 h 10000"/>
                <a:gd name="connsiteX1132" fmla="*/ 5631 w 10746"/>
                <a:gd name="connsiteY1132" fmla="*/ 2026 h 10000"/>
                <a:gd name="connsiteX1133" fmla="*/ 5627 w 10746"/>
                <a:gd name="connsiteY1133" fmla="*/ 1991 h 10000"/>
                <a:gd name="connsiteX1134" fmla="*/ 5618 w 10746"/>
                <a:gd name="connsiteY1134" fmla="*/ 1974 h 10000"/>
                <a:gd name="connsiteX1135" fmla="*/ 5618 w 10746"/>
                <a:gd name="connsiteY1135" fmla="*/ 1940 h 10000"/>
                <a:gd name="connsiteX1136" fmla="*/ 5594 w 10746"/>
                <a:gd name="connsiteY1136" fmla="*/ 1855 h 10000"/>
                <a:gd name="connsiteX1137" fmla="*/ 5599 w 10746"/>
                <a:gd name="connsiteY1137" fmla="*/ 1915 h 10000"/>
                <a:gd name="connsiteX1138" fmla="*/ 5599 w 10746"/>
                <a:gd name="connsiteY1138" fmla="*/ 1949 h 10000"/>
                <a:gd name="connsiteX1139" fmla="*/ 5594 w 10746"/>
                <a:gd name="connsiteY1139" fmla="*/ 1991 h 10000"/>
                <a:gd name="connsiteX1140" fmla="*/ 5571 w 10746"/>
                <a:gd name="connsiteY1140" fmla="*/ 2000 h 10000"/>
                <a:gd name="connsiteX1141" fmla="*/ 5530 w 10746"/>
                <a:gd name="connsiteY1141" fmla="*/ 1991 h 10000"/>
                <a:gd name="connsiteX1142" fmla="*/ 5525 w 10746"/>
                <a:gd name="connsiteY1142" fmla="*/ 2000 h 10000"/>
                <a:gd name="connsiteX1143" fmla="*/ 5521 w 10746"/>
                <a:gd name="connsiteY1143" fmla="*/ 1991 h 10000"/>
                <a:gd name="connsiteX1144" fmla="*/ 5498 w 10746"/>
                <a:gd name="connsiteY1144" fmla="*/ 1949 h 10000"/>
                <a:gd name="connsiteX1145" fmla="*/ 5493 w 10746"/>
                <a:gd name="connsiteY1145" fmla="*/ 1889 h 10000"/>
                <a:gd name="connsiteX1146" fmla="*/ 5493 w 10746"/>
                <a:gd name="connsiteY1146" fmla="*/ 1863 h 10000"/>
                <a:gd name="connsiteX1147" fmla="*/ 5498 w 10746"/>
                <a:gd name="connsiteY1147" fmla="*/ 1889 h 10000"/>
                <a:gd name="connsiteX1148" fmla="*/ 5512 w 10746"/>
                <a:gd name="connsiteY1148" fmla="*/ 1855 h 10000"/>
                <a:gd name="connsiteX1149" fmla="*/ 5512 w 10746"/>
                <a:gd name="connsiteY1149" fmla="*/ 1838 h 10000"/>
                <a:gd name="connsiteX1150" fmla="*/ 5479 w 10746"/>
                <a:gd name="connsiteY1150" fmla="*/ 1855 h 10000"/>
                <a:gd name="connsiteX1151" fmla="*/ 5470 w 10746"/>
                <a:gd name="connsiteY1151" fmla="*/ 1872 h 10000"/>
                <a:gd name="connsiteX1152" fmla="*/ 5470 w 10746"/>
                <a:gd name="connsiteY1152" fmla="*/ 1889 h 10000"/>
                <a:gd name="connsiteX1153" fmla="*/ 5465 w 10746"/>
                <a:gd name="connsiteY1153" fmla="*/ 1897 h 10000"/>
                <a:gd name="connsiteX1154" fmla="*/ 5456 w 10746"/>
                <a:gd name="connsiteY1154" fmla="*/ 1872 h 10000"/>
                <a:gd name="connsiteX1155" fmla="*/ 5447 w 10746"/>
                <a:gd name="connsiteY1155" fmla="*/ 1872 h 10000"/>
                <a:gd name="connsiteX1156" fmla="*/ 5433 w 10746"/>
                <a:gd name="connsiteY1156" fmla="*/ 1855 h 10000"/>
                <a:gd name="connsiteX1157" fmla="*/ 5396 w 10746"/>
                <a:gd name="connsiteY1157" fmla="*/ 1863 h 10000"/>
                <a:gd name="connsiteX1158" fmla="*/ 5396 w 10746"/>
                <a:gd name="connsiteY1158" fmla="*/ 1897 h 10000"/>
                <a:gd name="connsiteX1159" fmla="*/ 5378 w 10746"/>
                <a:gd name="connsiteY1159" fmla="*/ 1949 h 10000"/>
                <a:gd name="connsiteX1160" fmla="*/ 5378 w 10746"/>
                <a:gd name="connsiteY1160" fmla="*/ 1966 h 10000"/>
                <a:gd name="connsiteX1161" fmla="*/ 5392 w 10746"/>
                <a:gd name="connsiteY1161" fmla="*/ 2026 h 10000"/>
                <a:gd name="connsiteX1162" fmla="*/ 5396 w 10746"/>
                <a:gd name="connsiteY1162" fmla="*/ 2026 h 10000"/>
                <a:gd name="connsiteX1163" fmla="*/ 5392 w 10746"/>
                <a:gd name="connsiteY1163" fmla="*/ 2009 h 10000"/>
                <a:gd name="connsiteX1164" fmla="*/ 5392 w 10746"/>
                <a:gd name="connsiteY1164" fmla="*/ 2000 h 10000"/>
                <a:gd name="connsiteX1165" fmla="*/ 5396 w 10746"/>
                <a:gd name="connsiteY1165" fmla="*/ 2009 h 10000"/>
                <a:gd name="connsiteX1166" fmla="*/ 5424 w 10746"/>
                <a:gd name="connsiteY1166" fmla="*/ 2009 h 10000"/>
                <a:gd name="connsiteX1167" fmla="*/ 5433 w 10746"/>
                <a:gd name="connsiteY1167" fmla="*/ 1991 h 10000"/>
                <a:gd name="connsiteX1168" fmla="*/ 5447 w 10746"/>
                <a:gd name="connsiteY1168" fmla="*/ 1974 h 10000"/>
                <a:gd name="connsiteX1169" fmla="*/ 5452 w 10746"/>
                <a:gd name="connsiteY1169" fmla="*/ 1966 h 10000"/>
                <a:gd name="connsiteX1170" fmla="*/ 5456 w 10746"/>
                <a:gd name="connsiteY1170" fmla="*/ 1966 h 10000"/>
                <a:gd name="connsiteX1171" fmla="*/ 5465 w 10746"/>
                <a:gd name="connsiteY1171" fmla="*/ 2009 h 10000"/>
                <a:gd name="connsiteX1172" fmla="*/ 5433 w 10746"/>
                <a:gd name="connsiteY1172" fmla="*/ 2034 h 10000"/>
                <a:gd name="connsiteX1173" fmla="*/ 5424 w 10746"/>
                <a:gd name="connsiteY1173" fmla="*/ 2060 h 10000"/>
                <a:gd name="connsiteX1174" fmla="*/ 5419 w 10746"/>
                <a:gd name="connsiteY1174" fmla="*/ 2060 h 10000"/>
                <a:gd name="connsiteX1175" fmla="*/ 5392 w 10746"/>
                <a:gd name="connsiteY1175" fmla="*/ 2111 h 10000"/>
                <a:gd name="connsiteX1176" fmla="*/ 5378 w 10746"/>
                <a:gd name="connsiteY1176" fmla="*/ 2111 h 10000"/>
                <a:gd name="connsiteX1177" fmla="*/ 5350 w 10746"/>
                <a:gd name="connsiteY1177" fmla="*/ 2060 h 10000"/>
                <a:gd name="connsiteX1178" fmla="*/ 5373 w 10746"/>
                <a:gd name="connsiteY1178" fmla="*/ 2111 h 10000"/>
                <a:gd name="connsiteX1179" fmla="*/ 5364 w 10746"/>
                <a:gd name="connsiteY1179" fmla="*/ 2111 h 10000"/>
                <a:gd name="connsiteX1180" fmla="*/ 5359 w 10746"/>
                <a:gd name="connsiteY1180" fmla="*/ 2103 h 10000"/>
                <a:gd name="connsiteX1181" fmla="*/ 5359 w 10746"/>
                <a:gd name="connsiteY1181" fmla="*/ 2120 h 10000"/>
                <a:gd name="connsiteX1182" fmla="*/ 5359 w 10746"/>
                <a:gd name="connsiteY1182" fmla="*/ 2137 h 10000"/>
                <a:gd name="connsiteX1183" fmla="*/ 5313 w 10746"/>
                <a:gd name="connsiteY1183" fmla="*/ 2162 h 10000"/>
                <a:gd name="connsiteX1184" fmla="*/ 5300 w 10746"/>
                <a:gd name="connsiteY1184" fmla="*/ 2162 h 10000"/>
                <a:gd name="connsiteX1185" fmla="*/ 5300 w 10746"/>
                <a:gd name="connsiteY1185" fmla="*/ 2171 h 10000"/>
                <a:gd name="connsiteX1186" fmla="*/ 5300 w 10746"/>
                <a:gd name="connsiteY1186" fmla="*/ 2197 h 10000"/>
                <a:gd name="connsiteX1187" fmla="*/ 5276 w 10746"/>
                <a:gd name="connsiteY1187" fmla="*/ 2188 h 10000"/>
                <a:gd name="connsiteX1188" fmla="*/ 5249 w 10746"/>
                <a:gd name="connsiteY1188" fmla="*/ 2222 h 10000"/>
                <a:gd name="connsiteX1189" fmla="*/ 5249 w 10746"/>
                <a:gd name="connsiteY1189" fmla="*/ 2222 h 10000"/>
                <a:gd name="connsiteX1190" fmla="*/ 5217 w 10746"/>
                <a:gd name="connsiteY1190" fmla="*/ 2214 h 10000"/>
                <a:gd name="connsiteX1191" fmla="*/ 5203 w 10746"/>
                <a:gd name="connsiteY1191" fmla="*/ 2239 h 10000"/>
                <a:gd name="connsiteX1192" fmla="*/ 5171 w 10746"/>
                <a:gd name="connsiteY1192" fmla="*/ 2214 h 10000"/>
                <a:gd name="connsiteX1193" fmla="*/ 5157 w 10746"/>
                <a:gd name="connsiteY1193" fmla="*/ 2239 h 10000"/>
                <a:gd name="connsiteX1194" fmla="*/ 5166 w 10746"/>
                <a:gd name="connsiteY1194" fmla="*/ 2256 h 10000"/>
                <a:gd name="connsiteX1195" fmla="*/ 5171 w 10746"/>
                <a:gd name="connsiteY1195" fmla="*/ 2308 h 10000"/>
                <a:gd name="connsiteX1196" fmla="*/ 5212 w 10746"/>
                <a:gd name="connsiteY1196" fmla="*/ 2350 h 10000"/>
                <a:gd name="connsiteX1197" fmla="*/ 5203 w 10746"/>
                <a:gd name="connsiteY1197" fmla="*/ 2350 h 10000"/>
                <a:gd name="connsiteX1198" fmla="*/ 5166 w 10746"/>
                <a:gd name="connsiteY1198" fmla="*/ 2325 h 10000"/>
                <a:gd name="connsiteX1199" fmla="*/ 5152 w 10746"/>
                <a:gd name="connsiteY1199" fmla="*/ 2308 h 10000"/>
                <a:gd name="connsiteX1200" fmla="*/ 5143 w 10746"/>
                <a:gd name="connsiteY1200" fmla="*/ 2333 h 10000"/>
                <a:gd name="connsiteX1201" fmla="*/ 5138 w 10746"/>
                <a:gd name="connsiteY1201" fmla="*/ 2333 h 10000"/>
                <a:gd name="connsiteX1202" fmla="*/ 5124 w 10746"/>
                <a:gd name="connsiteY1202" fmla="*/ 2376 h 10000"/>
                <a:gd name="connsiteX1203" fmla="*/ 5115 w 10746"/>
                <a:gd name="connsiteY1203" fmla="*/ 2385 h 10000"/>
                <a:gd name="connsiteX1204" fmla="*/ 5106 w 10746"/>
                <a:gd name="connsiteY1204" fmla="*/ 2385 h 10000"/>
                <a:gd name="connsiteX1205" fmla="*/ 5055 w 10746"/>
                <a:gd name="connsiteY1205" fmla="*/ 2470 h 10000"/>
                <a:gd name="connsiteX1206" fmla="*/ 5065 w 10746"/>
                <a:gd name="connsiteY1206" fmla="*/ 2462 h 10000"/>
                <a:gd name="connsiteX1207" fmla="*/ 5055 w 10746"/>
                <a:gd name="connsiteY1207" fmla="*/ 2444 h 10000"/>
                <a:gd name="connsiteX1208" fmla="*/ 5041 w 10746"/>
                <a:gd name="connsiteY1208" fmla="*/ 2462 h 10000"/>
                <a:gd name="connsiteX1209" fmla="*/ 5037 w 10746"/>
                <a:gd name="connsiteY1209" fmla="*/ 2470 h 10000"/>
                <a:gd name="connsiteX1210" fmla="*/ 5032 w 10746"/>
                <a:gd name="connsiteY1210" fmla="*/ 2470 h 10000"/>
                <a:gd name="connsiteX1211" fmla="*/ 5032 w 10746"/>
                <a:gd name="connsiteY1211" fmla="*/ 2444 h 10000"/>
                <a:gd name="connsiteX1212" fmla="*/ 5055 w 10746"/>
                <a:gd name="connsiteY1212" fmla="*/ 2410 h 10000"/>
                <a:gd name="connsiteX1213" fmla="*/ 5065 w 10746"/>
                <a:gd name="connsiteY1213" fmla="*/ 2393 h 10000"/>
                <a:gd name="connsiteX1214" fmla="*/ 5069 w 10746"/>
                <a:gd name="connsiteY1214" fmla="*/ 2385 h 10000"/>
                <a:gd name="connsiteX1215" fmla="*/ 5083 w 10746"/>
                <a:gd name="connsiteY1215" fmla="*/ 2376 h 10000"/>
                <a:gd name="connsiteX1216" fmla="*/ 5097 w 10746"/>
                <a:gd name="connsiteY1216" fmla="*/ 2376 h 10000"/>
                <a:gd name="connsiteX1217" fmla="*/ 5124 w 10746"/>
                <a:gd name="connsiteY1217" fmla="*/ 2325 h 10000"/>
                <a:gd name="connsiteX1218" fmla="*/ 5143 w 10746"/>
                <a:gd name="connsiteY1218" fmla="*/ 2248 h 10000"/>
                <a:gd name="connsiteX1219" fmla="*/ 5152 w 10746"/>
                <a:gd name="connsiteY1219" fmla="*/ 2239 h 10000"/>
                <a:gd name="connsiteX1220" fmla="*/ 5166 w 10746"/>
                <a:gd name="connsiteY1220" fmla="*/ 2162 h 10000"/>
                <a:gd name="connsiteX1221" fmla="*/ 5171 w 10746"/>
                <a:gd name="connsiteY1221" fmla="*/ 2171 h 10000"/>
                <a:gd name="connsiteX1222" fmla="*/ 5198 w 10746"/>
                <a:gd name="connsiteY1222" fmla="*/ 2145 h 10000"/>
                <a:gd name="connsiteX1223" fmla="*/ 5203 w 10746"/>
                <a:gd name="connsiteY1223" fmla="*/ 2111 h 10000"/>
                <a:gd name="connsiteX1224" fmla="*/ 5217 w 10746"/>
                <a:gd name="connsiteY1224" fmla="*/ 2060 h 10000"/>
                <a:gd name="connsiteX1225" fmla="*/ 5226 w 10746"/>
                <a:gd name="connsiteY1225" fmla="*/ 2026 h 10000"/>
                <a:gd name="connsiteX1226" fmla="*/ 5286 w 10746"/>
                <a:gd name="connsiteY1226" fmla="*/ 2026 h 10000"/>
                <a:gd name="connsiteX1227" fmla="*/ 5290 w 10746"/>
                <a:gd name="connsiteY1227" fmla="*/ 2034 h 10000"/>
                <a:gd name="connsiteX1228" fmla="*/ 5323 w 10746"/>
                <a:gd name="connsiteY1228" fmla="*/ 1923 h 10000"/>
                <a:gd name="connsiteX1229" fmla="*/ 5323 w 10746"/>
                <a:gd name="connsiteY1229" fmla="*/ 1889 h 10000"/>
                <a:gd name="connsiteX1230" fmla="*/ 5359 w 10746"/>
                <a:gd name="connsiteY1230" fmla="*/ 1829 h 10000"/>
                <a:gd name="connsiteX1231" fmla="*/ 5378 w 10746"/>
                <a:gd name="connsiteY1231" fmla="*/ 1812 h 10000"/>
                <a:gd name="connsiteX1232" fmla="*/ 5406 w 10746"/>
                <a:gd name="connsiteY1232" fmla="*/ 1752 h 10000"/>
                <a:gd name="connsiteX1233" fmla="*/ 5410 w 10746"/>
                <a:gd name="connsiteY1233" fmla="*/ 1718 h 10000"/>
                <a:gd name="connsiteX1234" fmla="*/ 5438 w 10746"/>
                <a:gd name="connsiteY1234" fmla="*/ 1667 h 10000"/>
                <a:gd name="connsiteX1235" fmla="*/ 5438 w 10746"/>
                <a:gd name="connsiteY1235" fmla="*/ 1650 h 10000"/>
                <a:gd name="connsiteX1236" fmla="*/ 5438 w 10746"/>
                <a:gd name="connsiteY1236" fmla="*/ 1641 h 10000"/>
                <a:gd name="connsiteX1237" fmla="*/ 5452 w 10746"/>
                <a:gd name="connsiteY1237" fmla="*/ 1641 h 10000"/>
                <a:gd name="connsiteX1238" fmla="*/ 5456 w 10746"/>
                <a:gd name="connsiteY1238" fmla="*/ 1615 h 10000"/>
                <a:gd name="connsiteX1239" fmla="*/ 5456 w 10746"/>
                <a:gd name="connsiteY1239" fmla="*/ 1615 h 10000"/>
                <a:gd name="connsiteX1240" fmla="*/ 5465 w 10746"/>
                <a:gd name="connsiteY1240" fmla="*/ 1598 h 10000"/>
                <a:gd name="connsiteX1241" fmla="*/ 5465 w 10746"/>
                <a:gd name="connsiteY1241" fmla="*/ 1615 h 10000"/>
                <a:gd name="connsiteX1242" fmla="*/ 5479 w 10746"/>
                <a:gd name="connsiteY1242" fmla="*/ 1598 h 10000"/>
                <a:gd name="connsiteX1243" fmla="*/ 5484 w 10746"/>
                <a:gd name="connsiteY1243" fmla="*/ 1581 h 10000"/>
                <a:gd name="connsiteX1244" fmla="*/ 5493 w 10746"/>
                <a:gd name="connsiteY1244" fmla="*/ 1581 h 10000"/>
                <a:gd name="connsiteX1245" fmla="*/ 5512 w 10746"/>
                <a:gd name="connsiteY1245" fmla="*/ 1538 h 10000"/>
                <a:gd name="connsiteX1246" fmla="*/ 5530 w 10746"/>
                <a:gd name="connsiteY1246" fmla="*/ 1564 h 10000"/>
                <a:gd name="connsiteX1247" fmla="*/ 5530 w 10746"/>
                <a:gd name="connsiteY1247" fmla="*/ 1538 h 10000"/>
                <a:gd name="connsiteX1248" fmla="*/ 5539 w 10746"/>
                <a:gd name="connsiteY1248" fmla="*/ 1530 h 10000"/>
                <a:gd name="connsiteX1249" fmla="*/ 5530 w 10746"/>
                <a:gd name="connsiteY1249" fmla="*/ 1504 h 10000"/>
                <a:gd name="connsiteX1250" fmla="*/ 5567 w 10746"/>
                <a:gd name="connsiteY1250" fmla="*/ 1479 h 10000"/>
                <a:gd name="connsiteX1251" fmla="*/ 5553 w 10746"/>
                <a:gd name="connsiteY1251" fmla="*/ 1479 h 10000"/>
                <a:gd name="connsiteX1252" fmla="*/ 5553 w 10746"/>
                <a:gd name="connsiteY1252" fmla="*/ 1453 h 10000"/>
                <a:gd name="connsiteX1253" fmla="*/ 5581 w 10746"/>
                <a:gd name="connsiteY1253" fmla="*/ 1444 h 10000"/>
                <a:gd name="connsiteX1254" fmla="*/ 5581 w 10746"/>
                <a:gd name="connsiteY1254" fmla="*/ 1453 h 10000"/>
                <a:gd name="connsiteX1255" fmla="*/ 5585 w 10746"/>
                <a:gd name="connsiteY1255" fmla="*/ 1444 h 10000"/>
                <a:gd name="connsiteX1256" fmla="*/ 5594 w 10746"/>
                <a:gd name="connsiteY1256" fmla="*/ 1427 h 10000"/>
                <a:gd name="connsiteX1257" fmla="*/ 5599 w 10746"/>
                <a:gd name="connsiteY1257" fmla="*/ 1419 h 10000"/>
                <a:gd name="connsiteX1258" fmla="*/ 5594 w 10746"/>
                <a:gd name="connsiteY1258" fmla="*/ 1402 h 10000"/>
                <a:gd name="connsiteX1259" fmla="*/ 5604 w 10746"/>
                <a:gd name="connsiteY1259" fmla="*/ 1393 h 10000"/>
                <a:gd name="connsiteX1260" fmla="*/ 5618 w 10746"/>
                <a:gd name="connsiteY1260" fmla="*/ 1393 h 10000"/>
                <a:gd name="connsiteX1261" fmla="*/ 5627 w 10746"/>
                <a:gd name="connsiteY1261" fmla="*/ 1368 h 10000"/>
                <a:gd name="connsiteX1262" fmla="*/ 5627 w 10746"/>
                <a:gd name="connsiteY1262" fmla="*/ 1325 h 10000"/>
                <a:gd name="connsiteX1263" fmla="*/ 5645 w 10746"/>
                <a:gd name="connsiteY1263" fmla="*/ 1291 h 10000"/>
                <a:gd name="connsiteX1264" fmla="*/ 5645 w 10746"/>
                <a:gd name="connsiteY1264" fmla="*/ 1282 h 10000"/>
                <a:gd name="connsiteX1265" fmla="*/ 5654 w 10746"/>
                <a:gd name="connsiteY1265" fmla="*/ 1265 h 10000"/>
                <a:gd name="connsiteX1266" fmla="*/ 5654 w 10746"/>
                <a:gd name="connsiteY1266" fmla="*/ 1214 h 10000"/>
                <a:gd name="connsiteX1267" fmla="*/ 5654 w 10746"/>
                <a:gd name="connsiteY1267" fmla="*/ 1214 h 10000"/>
                <a:gd name="connsiteX1268" fmla="*/ 5645 w 10746"/>
                <a:gd name="connsiteY1268" fmla="*/ 1197 h 10000"/>
                <a:gd name="connsiteX1269" fmla="*/ 5659 w 10746"/>
                <a:gd name="connsiteY1269" fmla="*/ 1197 h 10000"/>
                <a:gd name="connsiteX1270" fmla="*/ 5654 w 10746"/>
                <a:gd name="connsiteY1270" fmla="*/ 1154 h 10000"/>
                <a:gd name="connsiteX1271" fmla="*/ 5641 w 10746"/>
                <a:gd name="connsiteY1271" fmla="*/ 1154 h 10000"/>
                <a:gd name="connsiteX1272" fmla="*/ 5627 w 10746"/>
                <a:gd name="connsiteY1272" fmla="*/ 1128 h 10000"/>
                <a:gd name="connsiteX1273" fmla="*/ 5618 w 10746"/>
                <a:gd name="connsiteY1273" fmla="*/ 1094 h 10000"/>
                <a:gd name="connsiteX1274" fmla="*/ 5613 w 10746"/>
                <a:gd name="connsiteY1274" fmla="*/ 1094 h 10000"/>
                <a:gd name="connsiteX1275" fmla="*/ 5604 w 10746"/>
                <a:gd name="connsiteY1275" fmla="*/ 1120 h 10000"/>
                <a:gd name="connsiteX1276" fmla="*/ 5604 w 10746"/>
                <a:gd name="connsiteY1276" fmla="*/ 1128 h 10000"/>
                <a:gd name="connsiteX1277" fmla="*/ 5599 w 10746"/>
                <a:gd name="connsiteY1277" fmla="*/ 1103 h 10000"/>
                <a:gd name="connsiteX1278" fmla="*/ 5599 w 10746"/>
                <a:gd name="connsiteY1278" fmla="*/ 1103 h 10000"/>
                <a:gd name="connsiteX1279" fmla="*/ 5594 w 10746"/>
                <a:gd name="connsiteY1279" fmla="*/ 1068 h 10000"/>
                <a:gd name="connsiteX1280" fmla="*/ 5594 w 10746"/>
                <a:gd name="connsiteY1280" fmla="*/ 1060 h 10000"/>
                <a:gd name="connsiteX1281" fmla="*/ 5581 w 10746"/>
                <a:gd name="connsiteY1281" fmla="*/ 1034 h 10000"/>
                <a:gd name="connsiteX1282" fmla="*/ 5571 w 10746"/>
                <a:gd name="connsiteY1282" fmla="*/ 1009 h 10000"/>
                <a:gd name="connsiteX1283" fmla="*/ 5571 w 10746"/>
                <a:gd name="connsiteY1283" fmla="*/ 991 h 10000"/>
                <a:gd name="connsiteX1284" fmla="*/ 5585 w 10746"/>
                <a:gd name="connsiteY1284" fmla="*/ 1009 h 10000"/>
                <a:gd name="connsiteX1285" fmla="*/ 5604 w 10746"/>
                <a:gd name="connsiteY1285" fmla="*/ 1043 h 10000"/>
                <a:gd name="connsiteX1286" fmla="*/ 5641 w 10746"/>
                <a:gd name="connsiteY1286" fmla="*/ 1094 h 10000"/>
                <a:gd name="connsiteX1287" fmla="*/ 5631 w 10746"/>
                <a:gd name="connsiteY1287" fmla="*/ 1128 h 10000"/>
                <a:gd name="connsiteX1288" fmla="*/ 5641 w 10746"/>
                <a:gd name="connsiteY1288" fmla="*/ 1128 h 10000"/>
                <a:gd name="connsiteX1289" fmla="*/ 5659 w 10746"/>
                <a:gd name="connsiteY1289" fmla="*/ 1017 h 10000"/>
                <a:gd name="connsiteX1290" fmla="*/ 5659 w 10746"/>
                <a:gd name="connsiteY1290" fmla="*/ 983 h 10000"/>
                <a:gd name="connsiteX1291" fmla="*/ 5659 w 10746"/>
                <a:gd name="connsiteY1291" fmla="*/ 957 h 10000"/>
                <a:gd name="connsiteX1292" fmla="*/ 5654 w 10746"/>
                <a:gd name="connsiteY1292" fmla="*/ 966 h 10000"/>
                <a:gd name="connsiteX1293" fmla="*/ 5641 w 10746"/>
                <a:gd name="connsiteY1293" fmla="*/ 957 h 10000"/>
                <a:gd name="connsiteX1294" fmla="*/ 5631 w 10746"/>
                <a:gd name="connsiteY1294" fmla="*/ 897 h 10000"/>
                <a:gd name="connsiteX1295" fmla="*/ 5641 w 10746"/>
                <a:gd name="connsiteY1295" fmla="*/ 872 h 10000"/>
                <a:gd name="connsiteX1296" fmla="*/ 5618 w 10746"/>
                <a:gd name="connsiteY1296" fmla="*/ 803 h 10000"/>
                <a:gd name="connsiteX1297" fmla="*/ 5604 w 10746"/>
                <a:gd name="connsiteY1297" fmla="*/ 821 h 10000"/>
                <a:gd name="connsiteX1298" fmla="*/ 5613 w 10746"/>
                <a:gd name="connsiteY1298" fmla="*/ 846 h 10000"/>
                <a:gd name="connsiteX1299" fmla="*/ 5604 w 10746"/>
                <a:gd name="connsiteY1299" fmla="*/ 855 h 10000"/>
                <a:gd name="connsiteX1300" fmla="*/ 5599 w 10746"/>
                <a:gd name="connsiteY1300" fmla="*/ 880 h 10000"/>
                <a:gd name="connsiteX1301" fmla="*/ 5594 w 10746"/>
                <a:gd name="connsiteY1301" fmla="*/ 880 h 10000"/>
                <a:gd name="connsiteX1302" fmla="*/ 5585 w 10746"/>
                <a:gd name="connsiteY1302" fmla="*/ 829 h 10000"/>
                <a:gd name="connsiteX1303" fmla="*/ 5571 w 10746"/>
                <a:gd name="connsiteY1303" fmla="*/ 803 h 10000"/>
                <a:gd name="connsiteX1304" fmla="*/ 5585 w 10746"/>
                <a:gd name="connsiteY1304" fmla="*/ 795 h 10000"/>
                <a:gd name="connsiteX1305" fmla="*/ 5585 w 10746"/>
                <a:gd name="connsiteY1305" fmla="*/ 761 h 10000"/>
                <a:gd name="connsiteX1306" fmla="*/ 5558 w 10746"/>
                <a:gd name="connsiteY1306" fmla="*/ 709 h 10000"/>
                <a:gd name="connsiteX1307" fmla="*/ 5544 w 10746"/>
                <a:gd name="connsiteY1307" fmla="*/ 709 h 10000"/>
                <a:gd name="connsiteX1308" fmla="*/ 5544 w 10746"/>
                <a:gd name="connsiteY1308" fmla="*/ 684 h 10000"/>
                <a:gd name="connsiteX1309" fmla="*/ 5525 w 10746"/>
                <a:gd name="connsiteY1309" fmla="*/ 632 h 10000"/>
                <a:gd name="connsiteX1310" fmla="*/ 5507 w 10746"/>
                <a:gd name="connsiteY1310" fmla="*/ 607 h 10000"/>
                <a:gd name="connsiteX1311" fmla="*/ 5512 w 10746"/>
                <a:gd name="connsiteY1311" fmla="*/ 598 h 10000"/>
                <a:gd name="connsiteX1312" fmla="*/ 5507 w 10746"/>
                <a:gd name="connsiteY1312" fmla="*/ 581 h 10000"/>
                <a:gd name="connsiteX1313" fmla="*/ 5493 w 10746"/>
                <a:gd name="connsiteY1313" fmla="*/ 573 h 10000"/>
                <a:gd name="connsiteX1314" fmla="*/ 5484 w 10746"/>
                <a:gd name="connsiteY1314" fmla="*/ 581 h 10000"/>
                <a:gd name="connsiteX1315" fmla="*/ 5484 w 10746"/>
                <a:gd name="connsiteY1315" fmla="*/ 573 h 10000"/>
                <a:gd name="connsiteX1316" fmla="*/ 5484 w 10746"/>
                <a:gd name="connsiteY1316" fmla="*/ 547 h 10000"/>
                <a:gd name="connsiteX1317" fmla="*/ 5465 w 10746"/>
                <a:gd name="connsiteY1317" fmla="*/ 556 h 10000"/>
                <a:gd name="connsiteX1318" fmla="*/ 5433 w 10746"/>
                <a:gd name="connsiteY1318" fmla="*/ 547 h 10000"/>
                <a:gd name="connsiteX1319" fmla="*/ 5410 w 10746"/>
                <a:gd name="connsiteY1319" fmla="*/ 573 h 10000"/>
                <a:gd name="connsiteX1320" fmla="*/ 5406 w 10746"/>
                <a:gd name="connsiteY1320" fmla="*/ 573 h 10000"/>
                <a:gd name="connsiteX1321" fmla="*/ 5392 w 10746"/>
                <a:gd name="connsiteY1321" fmla="*/ 573 h 10000"/>
                <a:gd name="connsiteX1322" fmla="*/ 5364 w 10746"/>
                <a:gd name="connsiteY1322" fmla="*/ 530 h 10000"/>
                <a:gd name="connsiteX1323" fmla="*/ 5350 w 10746"/>
                <a:gd name="connsiteY1323" fmla="*/ 556 h 10000"/>
                <a:gd name="connsiteX1324" fmla="*/ 5346 w 10746"/>
                <a:gd name="connsiteY1324" fmla="*/ 556 h 10000"/>
                <a:gd name="connsiteX1325" fmla="*/ 5313 w 10746"/>
                <a:gd name="connsiteY1325" fmla="*/ 573 h 10000"/>
                <a:gd name="connsiteX1326" fmla="*/ 5304 w 10746"/>
                <a:gd name="connsiteY1326" fmla="*/ 556 h 10000"/>
                <a:gd name="connsiteX1327" fmla="*/ 5290 w 10746"/>
                <a:gd name="connsiteY1327" fmla="*/ 573 h 10000"/>
                <a:gd name="connsiteX1328" fmla="*/ 5290 w 10746"/>
                <a:gd name="connsiteY1328" fmla="*/ 556 h 10000"/>
                <a:gd name="connsiteX1329" fmla="*/ 5300 w 10746"/>
                <a:gd name="connsiteY1329" fmla="*/ 547 h 10000"/>
                <a:gd name="connsiteX1330" fmla="*/ 5300 w 10746"/>
                <a:gd name="connsiteY1330" fmla="*/ 530 h 10000"/>
                <a:gd name="connsiteX1331" fmla="*/ 5290 w 10746"/>
                <a:gd name="connsiteY1331" fmla="*/ 530 h 10000"/>
                <a:gd name="connsiteX1332" fmla="*/ 5286 w 10746"/>
                <a:gd name="connsiteY1332" fmla="*/ 547 h 10000"/>
                <a:gd name="connsiteX1333" fmla="*/ 5272 w 10746"/>
                <a:gd name="connsiteY1333" fmla="*/ 556 h 10000"/>
                <a:gd name="connsiteX1334" fmla="*/ 5272 w 10746"/>
                <a:gd name="connsiteY1334" fmla="*/ 598 h 10000"/>
                <a:gd name="connsiteX1335" fmla="*/ 5276 w 10746"/>
                <a:gd name="connsiteY1335" fmla="*/ 581 h 10000"/>
                <a:gd name="connsiteX1336" fmla="*/ 5272 w 10746"/>
                <a:gd name="connsiteY1336" fmla="*/ 607 h 10000"/>
                <a:gd name="connsiteX1337" fmla="*/ 5263 w 10746"/>
                <a:gd name="connsiteY1337" fmla="*/ 607 h 10000"/>
                <a:gd name="connsiteX1338" fmla="*/ 5263 w 10746"/>
                <a:gd name="connsiteY1338" fmla="*/ 632 h 10000"/>
                <a:gd name="connsiteX1339" fmla="*/ 5258 w 10746"/>
                <a:gd name="connsiteY1339" fmla="*/ 658 h 10000"/>
                <a:gd name="connsiteX1340" fmla="*/ 5244 w 10746"/>
                <a:gd name="connsiteY1340" fmla="*/ 667 h 10000"/>
                <a:gd name="connsiteX1341" fmla="*/ 5240 w 10746"/>
                <a:gd name="connsiteY1341" fmla="*/ 658 h 10000"/>
                <a:gd name="connsiteX1342" fmla="*/ 5240 w 10746"/>
                <a:gd name="connsiteY1342" fmla="*/ 684 h 10000"/>
                <a:gd name="connsiteX1343" fmla="*/ 5212 w 10746"/>
                <a:gd name="connsiteY1343" fmla="*/ 684 h 10000"/>
                <a:gd name="connsiteX1344" fmla="*/ 5198 w 10746"/>
                <a:gd name="connsiteY1344" fmla="*/ 692 h 10000"/>
                <a:gd name="connsiteX1345" fmla="*/ 5184 w 10746"/>
                <a:gd name="connsiteY1345" fmla="*/ 684 h 10000"/>
                <a:gd name="connsiteX1346" fmla="*/ 5157 w 10746"/>
                <a:gd name="connsiteY1346" fmla="*/ 684 h 10000"/>
                <a:gd name="connsiteX1347" fmla="*/ 5157 w 10746"/>
                <a:gd name="connsiteY1347" fmla="*/ 667 h 10000"/>
                <a:gd name="connsiteX1348" fmla="*/ 5157 w 10746"/>
                <a:gd name="connsiteY1348" fmla="*/ 667 h 10000"/>
                <a:gd name="connsiteX1349" fmla="*/ 5180 w 10746"/>
                <a:gd name="connsiteY1349" fmla="*/ 650 h 10000"/>
                <a:gd name="connsiteX1350" fmla="*/ 5184 w 10746"/>
                <a:gd name="connsiteY1350" fmla="*/ 658 h 10000"/>
                <a:gd name="connsiteX1351" fmla="*/ 5203 w 10746"/>
                <a:gd name="connsiteY1351" fmla="*/ 547 h 10000"/>
                <a:gd name="connsiteX1352" fmla="*/ 5226 w 10746"/>
                <a:gd name="connsiteY1352" fmla="*/ 530 h 10000"/>
                <a:gd name="connsiteX1353" fmla="*/ 5230 w 10746"/>
                <a:gd name="connsiteY1353" fmla="*/ 487 h 10000"/>
                <a:gd name="connsiteX1354" fmla="*/ 5230 w 10746"/>
                <a:gd name="connsiteY1354" fmla="*/ 487 h 10000"/>
                <a:gd name="connsiteX1355" fmla="*/ 5226 w 10746"/>
                <a:gd name="connsiteY1355" fmla="*/ 462 h 10000"/>
                <a:gd name="connsiteX1356" fmla="*/ 5226 w 10746"/>
                <a:gd name="connsiteY1356" fmla="*/ 462 h 10000"/>
                <a:gd name="connsiteX1357" fmla="*/ 5240 w 10746"/>
                <a:gd name="connsiteY1357" fmla="*/ 462 h 10000"/>
                <a:gd name="connsiteX1358" fmla="*/ 5240 w 10746"/>
                <a:gd name="connsiteY1358" fmla="*/ 444 h 10000"/>
                <a:gd name="connsiteX1359" fmla="*/ 5230 w 10746"/>
                <a:gd name="connsiteY1359" fmla="*/ 436 h 10000"/>
                <a:gd name="connsiteX1360" fmla="*/ 5230 w 10746"/>
                <a:gd name="connsiteY1360" fmla="*/ 419 h 10000"/>
                <a:gd name="connsiteX1361" fmla="*/ 5230 w 10746"/>
                <a:gd name="connsiteY1361" fmla="*/ 410 h 10000"/>
                <a:gd name="connsiteX1362" fmla="*/ 5198 w 10746"/>
                <a:gd name="connsiteY1362" fmla="*/ 402 h 10000"/>
                <a:gd name="connsiteX1363" fmla="*/ 5189 w 10746"/>
                <a:gd name="connsiteY1363" fmla="*/ 402 h 10000"/>
                <a:gd name="connsiteX1364" fmla="*/ 5184 w 10746"/>
                <a:gd name="connsiteY1364" fmla="*/ 376 h 10000"/>
                <a:gd name="connsiteX1365" fmla="*/ 5180 w 10746"/>
                <a:gd name="connsiteY1365" fmla="*/ 376 h 10000"/>
                <a:gd name="connsiteX1366" fmla="*/ 5166 w 10746"/>
                <a:gd name="connsiteY1366" fmla="*/ 376 h 10000"/>
                <a:gd name="connsiteX1367" fmla="*/ 5157 w 10746"/>
                <a:gd name="connsiteY1367" fmla="*/ 385 h 10000"/>
                <a:gd name="connsiteX1368" fmla="*/ 5152 w 10746"/>
                <a:gd name="connsiteY1368" fmla="*/ 376 h 10000"/>
                <a:gd name="connsiteX1369" fmla="*/ 5129 w 10746"/>
                <a:gd name="connsiteY1369" fmla="*/ 385 h 10000"/>
                <a:gd name="connsiteX1370" fmla="*/ 5129 w 10746"/>
                <a:gd name="connsiteY1370" fmla="*/ 350 h 10000"/>
                <a:gd name="connsiteX1371" fmla="*/ 5129 w 10746"/>
                <a:gd name="connsiteY1371" fmla="*/ 325 h 10000"/>
                <a:gd name="connsiteX1372" fmla="*/ 5124 w 10746"/>
                <a:gd name="connsiteY1372" fmla="*/ 359 h 10000"/>
                <a:gd name="connsiteX1373" fmla="*/ 5106 w 10746"/>
                <a:gd name="connsiteY1373" fmla="*/ 359 h 10000"/>
                <a:gd name="connsiteX1374" fmla="*/ 5037 w 10746"/>
                <a:gd name="connsiteY1374" fmla="*/ 419 h 10000"/>
                <a:gd name="connsiteX1375" fmla="*/ 5051 w 10746"/>
                <a:gd name="connsiteY1375" fmla="*/ 385 h 10000"/>
                <a:gd name="connsiteX1376" fmla="*/ 5055 w 10746"/>
                <a:gd name="connsiteY1376" fmla="*/ 376 h 10000"/>
                <a:gd name="connsiteX1377" fmla="*/ 5092 w 10746"/>
                <a:gd name="connsiteY1377" fmla="*/ 282 h 10000"/>
                <a:gd name="connsiteX1378" fmla="*/ 5106 w 10746"/>
                <a:gd name="connsiteY1378" fmla="*/ 265 h 10000"/>
                <a:gd name="connsiteX1379" fmla="*/ 5115 w 10746"/>
                <a:gd name="connsiteY1379" fmla="*/ 265 h 10000"/>
                <a:gd name="connsiteX1380" fmla="*/ 5124 w 10746"/>
                <a:gd name="connsiteY1380" fmla="*/ 222 h 10000"/>
                <a:gd name="connsiteX1381" fmla="*/ 5124 w 10746"/>
                <a:gd name="connsiteY1381" fmla="*/ 214 h 10000"/>
                <a:gd name="connsiteX1382" fmla="*/ 5143 w 10746"/>
                <a:gd name="connsiteY1382" fmla="*/ 197 h 10000"/>
                <a:gd name="connsiteX1383" fmla="*/ 5152 w 10746"/>
                <a:gd name="connsiteY1383" fmla="*/ 214 h 10000"/>
                <a:gd name="connsiteX1384" fmla="*/ 5143 w 10746"/>
                <a:gd name="connsiteY1384" fmla="*/ 188 h 10000"/>
                <a:gd name="connsiteX1385" fmla="*/ 5129 w 10746"/>
                <a:gd name="connsiteY1385" fmla="*/ 103 h 10000"/>
                <a:gd name="connsiteX1386" fmla="*/ 5115 w 10746"/>
                <a:gd name="connsiteY1386" fmla="*/ 85 h 10000"/>
                <a:gd name="connsiteX1387" fmla="*/ 5111 w 10746"/>
                <a:gd name="connsiteY1387" fmla="*/ 111 h 10000"/>
                <a:gd name="connsiteX1388" fmla="*/ 5092 w 10746"/>
                <a:gd name="connsiteY1388" fmla="*/ 103 h 10000"/>
                <a:gd name="connsiteX1389" fmla="*/ 5069 w 10746"/>
                <a:gd name="connsiteY1389" fmla="*/ 77 h 10000"/>
                <a:gd name="connsiteX1390" fmla="*/ 5051 w 10746"/>
                <a:gd name="connsiteY1390" fmla="*/ 26 h 10000"/>
                <a:gd name="connsiteX1391" fmla="*/ 5041 w 10746"/>
                <a:gd name="connsiteY1391" fmla="*/ 34 h 10000"/>
                <a:gd name="connsiteX1392" fmla="*/ 5037 w 10746"/>
                <a:gd name="connsiteY1392" fmla="*/ 34 h 10000"/>
                <a:gd name="connsiteX1393" fmla="*/ 5037 w 10746"/>
                <a:gd name="connsiteY1393" fmla="*/ 26 h 10000"/>
                <a:gd name="connsiteX1394" fmla="*/ 5037 w 10746"/>
                <a:gd name="connsiteY1394" fmla="*/ 9 h 10000"/>
                <a:gd name="connsiteX1395" fmla="*/ 5023 w 10746"/>
                <a:gd name="connsiteY1395" fmla="*/ 0 h 10000"/>
                <a:gd name="connsiteX1396" fmla="*/ 5009 w 10746"/>
                <a:gd name="connsiteY1396" fmla="*/ 9 h 10000"/>
                <a:gd name="connsiteX1397" fmla="*/ 4995 w 10746"/>
                <a:gd name="connsiteY1397" fmla="*/ 34 h 10000"/>
                <a:gd name="connsiteX1398" fmla="*/ 4991 w 10746"/>
                <a:gd name="connsiteY1398" fmla="*/ 60 h 10000"/>
                <a:gd name="connsiteX1399" fmla="*/ 4982 w 10746"/>
                <a:gd name="connsiteY1399" fmla="*/ 60 h 10000"/>
                <a:gd name="connsiteX1400" fmla="*/ 4949 w 10746"/>
                <a:gd name="connsiteY1400" fmla="*/ 51 h 10000"/>
                <a:gd name="connsiteX1401" fmla="*/ 4949 w 10746"/>
                <a:gd name="connsiteY1401" fmla="*/ 85 h 10000"/>
                <a:gd name="connsiteX1402" fmla="*/ 4903 w 10746"/>
                <a:gd name="connsiteY1402" fmla="*/ 197 h 10000"/>
                <a:gd name="connsiteX1403" fmla="*/ 4899 w 10746"/>
                <a:gd name="connsiteY1403" fmla="*/ 239 h 10000"/>
                <a:gd name="connsiteX1404" fmla="*/ 4871 w 10746"/>
                <a:gd name="connsiteY1404" fmla="*/ 274 h 10000"/>
                <a:gd name="connsiteX1405" fmla="*/ 4871 w 10746"/>
                <a:gd name="connsiteY1405" fmla="*/ 282 h 10000"/>
                <a:gd name="connsiteX1406" fmla="*/ 4834 w 10746"/>
                <a:gd name="connsiteY1406" fmla="*/ 376 h 10000"/>
                <a:gd name="connsiteX1407" fmla="*/ 4829 w 10746"/>
                <a:gd name="connsiteY1407" fmla="*/ 402 h 10000"/>
                <a:gd name="connsiteX1408" fmla="*/ 4834 w 10746"/>
                <a:gd name="connsiteY1408" fmla="*/ 410 h 10000"/>
                <a:gd name="connsiteX1409" fmla="*/ 4829 w 10746"/>
                <a:gd name="connsiteY1409" fmla="*/ 436 h 10000"/>
                <a:gd name="connsiteX1410" fmla="*/ 4825 w 10746"/>
                <a:gd name="connsiteY1410" fmla="*/ 436 h 10000"/>
                <a:gd name="connsiteX1411" fmla="*/ 4825 w 10746"/>
                <a:gd name="connsiteY1411" fmla="*/ 444 h 10000"/>
                <a:gd name="connsiteX1412" fmla="*/ 4811 w 10746"/>
                <a:gd name="connsiteY1412" fmla="*/ 496 h 10000"/>
                <a:gd name="connsiteX1413" fmla="*/ 4811 w 10746"/>
                <a:gd name="connsiteY1413" fmla="*/ 496 h 10000"/>
                <a:gd name="connsiteX1414" fmla="*/ 4811 w 10746"/>
                <a:gd name="connsiteY1414" fmla="*/ 521 h 10000"/>
                <a:gd name="connsiteX1415" fmla="*/ 4816 w 10746"/>
                <a:gd name="connsiteY1415" fmla="*/ 530 h 10000"/>
                <a:gd name="connsiteX1416" fmla="*/ 4834 w 10746"/>
                <a:gd name="connsiteY1416" fmla="*/ 547 h 10000"/>
                <a:gd name="connsiteX1417" fmla="*/ 4834 w 10746"/>
                <a:gd name="connsiteY1417" fmla="*/ 581 h 10000"/>
                <a:gd name="connsiteX1418" fmla="*/ 4843 w 10746"/>
                <a:gd name="connsiteY1418" fmla="*/ 581 h 10000"/>
                <a:gd name="connsiteX1419" fmla="*/ 4843 w 10746"/>
                <a:gd name="connsiteY1419" fmla="*/ 598 h 10000"/>
                <a:gd name="connsiteX1420" fmla="*/ 4829 w 10746"/>
                <a:gd name="connsiteY1420" fmla="*/ 598 h 10000"/>
                <a:gd name="connsiteX1421" fmla="*/ 4829 w 10746"/>
                <a:gd name="connsiteY1421" fmla="*/ 573 h 10000"/>
                <a:gd name="connsiteX1422" fmla="*/ 4829 w 10746"/>
                <a:gd name="connsiteY1422" fmla="*/ 632 h 10000"/>
                <a:gd name="connsiteX1423" fmla="*/ 4829 w 10746"/>
                <a:gd name="connsiteY1423" fmla="*/ 632 h 10000"/>
                <a:gd name="connsiteX1424" fmla="*/ 4829 w 10746"/>
                <a:gd name="connsiteY1424" fmla="*/ 650 h 10000"/>
                <a:gd name="connsiteX1425" fmla="*/ 4774 w 10746"/>
                <a:gd name="connsiteY1425" fmla="*/ 684 h 10000"/>
                <a:gd name="connsiteX1426" fmla="*/ 4756 w 10746"/>
                <a:gd name="connsiteY1426" fmla="*/ 684 h 10000"/>
                <a:gd name="connsiteX1427" fmla="*/ 4737 w 10746"/>
                <a:gd name="connsiteY1427" fmla="*/ 692 h 10000"/>
                <a:gd name="connsiteX1428" fmla="*/ 4677 w 10746"/>
                <a:gd name="connsiteY1428" fmla="*/ 667 h 10000"/>
                <a:gd name="connsiteX1429" fmla="*/ 4682 w 10746"/>
                <a:gd name="connsiteY1429" fmla="*/ 692 h 10000"/>
                <a:gd name="connsiteX1430" fmla="*/ 4682 w 10746"/>
                <a:gd name="connsiteY1430" fmla="*/ 709 h 10000"/>
                <a:gd name="connsiteX1431" fmla="*/ 4691 w 10746"/>
                <a:gd name="connsiteY1431" fmla="*/ 718 h 10000"/>
                <a:gd name="connsiteX1432" fmla="*/ 4691 w 10746"/>
                <a:gd name="connsiteY1432" fmla="*/ 744 h 10000"/>
                <a:gd name="connsiteX1433" fmla="*/ 4700 w 10746"/>
                <a:gd name="connsiteY1433" fmla="*/ 744 h 10000"/>
                <a:gd name="connsiteX1434" fmla="*/ 4714 w 10746"/>
                <a:gd name="connsiteY1434" fmla="*/ 769 h 10000"/>
                <a:gd name="connsiteX1435" fmla="*/ 4710 w 10746"/>
                <a:gd name="connsiteY1435" fmla="*/ 786 h 10000"/>
                <a:gd name="connsiteX1436" fmla="*/ 4737 w 10746"/>
                <a:gd name="connsiteY1436" fmla="*/ 786 h 10000"/>
                <a:gd name="connsiteX1437" fmla="*/ 4742 w 10746"/>
                <a:gd name="connsiteY1437" fmla="*/ 795 h 10000"/>
                <a:gd name="connsiteX1438" fmla="*/ 4742 w 10746"/>
                <a:gd name="connsiteY1438" fmla="*/ 803 h 10000"/>
                <a:gd name="connsiteX1439" fmla="*/ 4737 w 10746"/>
                <a:gd name="connsiteY1439" fmla="*/ 846 h 10000"/>
                <a:gd name="connsiteX1440" fmla="*/ 4737 w 10746"/>
                <a:gd name="connsiteY1440" fmla="*/ 880 h 10000"/>
                <a:gd name="connsiteX1441" fmla="*/ 4737 w 10746"/>
                <a:gd name="connsiteY1441" fmla="*/ 906 h 10000"/>
                <a:gd name="connsiteX1442" fmla="*/ 4724 w 10746"/>
                <a:gd name="connsiteY1442" fmla="*/ 897 h 10000"/>
                <a:gd name="connsiteX1443" fmla="*/ 4724 w 10746"/>
                <a:gd name="connsiteY1443" fmla="*/ 872 h 10000"/>
                <a:gd name="connsiteX1444" fmla="*/ 4714 w 10746"/>
                <a:gd name="connsiteY1444" fmla="*/ 855 h 10000"/>
                <a:gd name="connsiteX1445" fmla="*/ 4691 w 10746"/>
                <a:gd name="connsiteY1445" fmla="*/ 846 h 10000"/>
                <a:gd name="connsiteX1446" fmla="*/ 4691 w 10746"/>
                <a:gd name="connsiteY1446" fmla="*/ 846 h 10000"/>
                <a:gd name="connsiteX1447" fmla="*/ 4696 w 10746"/>
                <a:gd name="connsiteY1447" fmla="*/ 821 h 10000"/>
                <a:gd name="connsiteX1448" fmla="*/ 4691 w 10746"/>
                <a:gd name="connsiteY1448" fmla="*/ 803 h 10000"/>
                <a:gd name="connsiteX1449" fmla="*/ 4668 w 10746"/>
                <a:gd name="connsiteY1449" fmla="*/ 821 h 10000"/>
                <a:gd name="connsiteX1450" fmla="*/ 4668 w 10746"/>
                <a:gd name="connsiteY1450" fmla="*/ 786 h 10000"/>
                <a:gd name="connsiteX1451" fmla="*/ 4664 w 10746"/>
                <a:gd name="connsiteY1451" fmla="*/ 786 h 10000"/>
                <a:gd name="connsiteX1452" fmla="*/ 4622 w 10746"/>
                <a:gd name="connsiteY1452" fmla="*/ 846 h 10000"/>
                <a:gd name="connsiteX1453" fmla="*/ 4627 w 10746"/>
                <a:gd name="connsiteY1453" fmla="*/ 872 h 10000"/>
                <a:gd name="connsiteX1454" fmla="*/ 4622 w 10746"/>
                <a:gd name="connsiteY1454" fmla="*/ 880 h 10000"/>
                <a:gd name="connsiteX1455" fmla="*/ 4622 w 10746"/>
                <a:gd name="connsiteY1455" fmla="*/ 880 h 10000"/>
                <a:gd name="connsiteX1456" fmla="*/ 4618 w 10746"/>
                <a:gd name="connsiteY1456" fmla="*/ 872 h 10000"/>
                <a:gd name="connsiteX1457" fmla="*/ 4604 w 10746"/>
                <a:gd name="connsiteY1457" fmla="*/ 880 h 10000"/>
                <a:gd name="connsiteX1458" fmla="*/ 4594 w 10746"/>
                <a:gd name="connsiteY1458" fmla="*/ 906 h 10000"/>
                <a:gd name="connsiteX1459" fmla="*/ 4604 w 10746"/>
                <a:gd name="connsiteY1459" fmla="*/ 906 h 10000"/>
                <a:gd name="connsiteX1460" fmla="*/ 4608 w 10746"/>
                <a:gd name="connsiteY1460" fmla="*/ 906 h 10000"/>
                <a:gd name="connsiteX1461" fmla="*/ 4608 w 10746"/>
                <a:gd name="connsiteY1461" fmla="*/ 932 h 10000"/>
                <a:gd name="connsiteX1462" fmla="*/ 4604 w 10746"/>
                <a:gd name="connsiteY1462" fmla="*/ 932 h 10000"/>
                <a:gd name="connsiteX1463" fmla="*/ 4590 w 10746"/>
                <a:gd name="connsiteY1463" fmla="*/ 932 h 10000"/>
                <a:gd name="connsiteX1464" fmla="*/ 4567 w 10746"/>
                <a:gd name="connsiteY1464" fmla="*/ 957 h 10000"/>
                <a:gd name="connsiteX1465" fmla="*/ 4567 w 10746"/>
                <a:gd name="connsiteY1465" fmla="*/ 932 h 10000"/>
                <a:gd name="connsiteX1466" fmla="*/ 4567 w 10746"/>
                <a:gd name="connsiteY1466" fmla="*/ 923 h 10000"/>
                <a:gd name="connsiteX1467" fmla="*/ 4562 w 10746"/>
                <a:gd name="connsiteY1467" fmla="*/ 932 h 10000"/>
                <a:gd name="connsiteX1468" fmla="*/ 4548 w 10746"/>
                <a:gd name="connsiteY1468" fmla="*/ 957 h 10000"/>
                <a:gd name="connsiteX1469" fmla="*/ 4544 w 10746"/>
                <a:gd name="connsiteY1469" fmla="*/ 957 h 10000"/>
                <a:gd name="connsiteX1470" fmla="*/ 4521 w 10746"/>
                <a:gd name="connsiteY1470" fmla="*/ 983 h 10000"/>
                <a:gd name="connsiteX1471" fmla="*/ 4521 w 10746"/>
                <a:gd name="connsiteY1471" fmla="*/ 983 h 10000"/>
                <a:gd name="connsiteX1472" fmla="*/ 4530 w 10746"/>
                <a:gd name="connsiteY1472" fmla="*/ 957 h 10000"/>
                <a:gd name="connsiteX1473" fmla="*/ 4535 w 10746"/>
                <a:gd name="connsiteY1473" fmla="*/ 932 h 10000"/>
                <a:gd name="connsiteX1474" fmla="*/ 4521 w 10746"/>
                <a:gd name="connsiteY1474" fmla="*/ 932 h 10000"/>
                <a:gd name="connsiteX1475" fmla="*/ 4516 w 10746"/>
                <a:gd name="connsiteY1475" fmla="*/ 923 h 10000"/>
                <a:gd name="connsiteX1476" fmla="*/ 4516 w 10746"/>
                <a:gd name="connsiteY1476" fmla="*/ 932 h 10000"/>
                <a:gd name="connsiteX1477" fmla="*/ 4488 w 10746"/>
                <a:gd name="connsiteY1477" fmla="*/ 940 h 10000"/>
                <a:gd name="connsiteX1478" fmla="*/ 4484 w 10746"/>
                <a:gd name="connsiteY1478" fmla="*/ 983 h 10000"/>
                <a:gd name="connsiteX1479" fmla="*/ 4470 w 10746"/>
                <a:gd name="connsiteY1479" fmla="*/ 983 h 10000"/>
                <a:gd name="connsiteX1480" fmla="*/ 4470 w 10746"/>
                <a:gd name="connsiteY1480" fmla="*/ 966 h 10000"/>
                <a:gd name="connsiteX1481" fmla="*/ 4488 w 10746"/>
                <a:gd name="connsiteY1481" fmla="*/ 923 h 10000"/>
                <a:gd name="connsiteX1482" fmla="*/ 4493 w 10746"/>
                <a:gd name="connsiteY1482" fmla="*/ 880 h 10000"/>
                <a:gd name="connsiteX1483" fmla="*/ 4475 w 10746"/>
                <a:gd name="connsiteY1483" fmla="*/ 846 h 10000"/>
                <a:gd name="connsiteX1484" fmla="*/ 4442 w 10746"/>
                <a:gd name="connsiteY1484" fmla="*/ 855 h 10000"/>
                <a:gd name="connsiteX1485" fmla="*/ 4433 w 10746"/>
                <a:gd name="connsiteY1485" fmla="*/ 855 h 10000"/>
                <a:gd name="connsiteX1486" fmla="*/ 4433 w 10746"/>
                <a:gd name="connsiteY1486" fmla="*/ 880 h 10000"/>
                <a:gd name="connsiteX1487" fmla="*/ 4401 w 10746"/>
                <a:gd name="connsiteY1487" fmla="*/ 855 h 10000"/>
                <a:gd name="connsiteX1488" fmla="*/ 4396 w 10746"/>
                <a:gd name="connsiteY1488" fmla="*/ 872 h 10000"/>
                <a:gd name="connsiteX1489" fmla="*/ 4382 w 10746"/>
                <a:gd name="connsiteY1489" fmla="*/ 897 h 10000"/>
                <a:gd name="connsiteX1490" fmla="*/ 4373 w 10746"/>
                <a:gd name="connsiteY1490" fmla="*/ 872 h 10000"/>
                <a:gd name="connsiteX1491" fmla="*/ 4341 w 10746"/>
                <a:gd name="connsiteY1491" fmla="*/ 872 h 10000"/>
                <a:gd name="connsiteX1492" fmla="*/ 4336 w 10746"/>
                <a:gd name="connsiteY1492" fmla="*/ 880 h 10000"/>
                <a:gd name="connsiteX1493" fmla="*/ 4346 w 10746"/>
                <a:gd name="connsiteY1493" fmla="*/ 897 h 10000"/>
                <a:gd name="connsiteX1494" fmla="*/ 4346 w 10746"/>
                <a:gd name="connsiteY1494" fmla="*/ 897 h 10000"/>
                <a:gd name="connsiteX1495" fmla="*/ 4313 w 10746"/>
                <a:gd name="connsiteY1495" fmla="*/ 906 h 10000"/>
                <a:gd name="connsiteX1496" fmla="*/ 4313 w 10746"/>
                <a:gd name="connsiteY1496" fmla="*/ 906 h 10000"/>
                <a:gd name="connsiteX1497" fmla="*/ 4313 w 10746"/>
                <a:gd name="connsiteY1497" fmla="*/ 880 h 10000"/>
                <a:gd name="connsiteX1498" fmla="*/ 4309 w 10746"/>
                <a:gd name="connsiteY1498" fmla="*/ 897 h 10000"/>
                <a:gd name="connsiteX1499" fmla="*/ 4295 w 10746"/>
                <a:gd name="connsiteY1499" fmla="*/ 923 h 10000"/>
                <a:gd name="connsiteX1500" fmla="*/ 4286 w 10746"/>
                <a:gd name="connsiteY1500" fmla="*/ 897 h 10000"/>
                <a:gd name="connsiteX1501" fmla="*/ 4281 w 10746"/>
                <a:gd name="connsiteY1501" fmla="*/ 906 h 10000"/>
                <a:gd name="connsiteX1502" fmla="*/ 4281 w 10746"/>
                <a:gd name="connsiteY1502" fmla="*/ 940 h 10000"/>
                <a:gd name="connsiteX1503" fmla="*/ 4286 w 10746"/>
                <a:gd name="connsiteY1503" fmla="*/ 957 h 10000"/>
                <a:gd name="connsiteX1504" fmla="*/ 4309 w 10746"/>
                <a:gd name="connsiteY1504" fmla="*/ 932 h 10000"/>
                <a:gd name="connsiteX1505" fmla="*/ 4313 w 10746"/>
                <a:gd name="connsiteY1505" fmla="*/ 957 h 10000"/>
                <a:gd name="connsiteX1506" fmla="*/ 4313 w 10746"/>
                <a:gd name="connsiteY1506" fmla="*/ 966 h 10000"/>
                <a:gd name="connsiteX1507" fmla="*/ 4323 w 10746"/>
                <a:gd name="connsiteY1507" fmla="*/ 966 h 10000"/>
                <a:gd name="connsiteX1508" fmla="*/ 4323 w 10746"/>
                <a:gd name="connsiteY1508" fmla="*/ 940 h 10000"/>
                <a:gd name="connsiteX1509" fmla="*/ 4327 w 10746"/>
                <a:gd name="connsiteY1509" fmla="*/ 940 h 10000"/>
                <a:gd name="connsiteX1510" fmla="*/ 4327 w 10746"/>
                <a:gd name="connsiteY1510" fmla="*/ 957 h 10000"/>
                <a:gd name="connsiteX1511" fmla="*/ 4327 w 10746"/>
                <a:gd name="connsiteY1511" fmla="*/ 966 h 10000"/>
                <a:gd name="connsiteX1512" fmla="*/ 4323 w 10746"/>
                <a:gd name="connsiteY1512" fmla="*/ 991 h 10000"/>
                <a:gd name="connsiteX1513" fmla="*/ 4207 w 10746"/>
                <a:gd name="connsiteY1513" fmla="*/ 1060 h 10000"/>
                <a:gd name="connsiteX1514" fmla="*/ 4207 w 10746"/>
                <a:gd name="connsiteY1514" fmla="*/ 1060 h 10000"/>
                <a:gd name="connsiteX1515" fmla="*/ 4203 w 10746"/>
                <a:gd name="connsiteY1515" fmla="*/ 1068 h 10000"/>
                <a:gd name="connsiteX1516" fmla="*/ 4203 w 10746"/>
                <a:gd name="connsiteY1516" fmla="*/ 1094 h 10000"/>
                <a:gd name="connsiteX1517" fmla="*/ 4203 w 10746"/>
                <a:gd name="connsiteY1517" fmla="*/ 1094 h 10000"/>
                <a:gd name="connsiteX1518" fmla="*/ 4189 w 10746"/>
                <a:gd name="connsiteY1518" fmla="*/ 1094 h 10000"/>
                <a:gd name="connsiteX1519" fmla="*/ 4166 w 10746"/>
                <a:gd name="connsiteY1519" fmla="*/ 1103 h 10000"/>
                <a:gd name="connsiteX1520" fmla="*/ 4152 w 10746"/>
                <a:gd name="connsiteY1520" fmla="*/ 1094 h 10000"/>
                <a:gd name="connsiteX1521" fmla="*/ 4134 w 10746"/>
                <a:gd name="connsiteY1521" fmla="*/ 1120 h 10000"/>
                <a:gd name="connsiteX1522" fmla="*/ 4106 w 10746"/>
                <a:gd name="connsiteY1522" fmla="*/ 1120 h 10000"/>
                <a:gd name="connsiteX1523" fmla="*/ 4092 w 10746"/>
                <a:gd name="connsiteY1523" fmla="*/ 1154 h 10000"/>
                <a:gd name="connsiteX1524" fmla="*/ 4106 w 10746"/>
                <a:gd name="connsiteY1524" fmla="*/ 1171 h 10000"/>
                <a:gd name="connsiteX1525" fmla="*/ 4078 w 10746"/>
                <a:gd name="connsiteY1525" fmla="*/ 1179 h 10000"/>
                <a:gd name="connsiteX1526" fmla="*/ 4065 w 10746"/>
                <a:gd name="connsiteY1526" fmla="*/ 1205 h 10000"/>
                <a:gd name="connsiteX1527" fmla="*/ 4046 w 10746"/>
                <a:gd name="connsiteY1527" fmla="*/ 1179 h 10000"/>
                <a:gd name="connsiteX1528" fmla="*/ 4041 w 10746"/>
                <a:gd name="connsiteY1528" fmla="*/ 1197 h 10000"/>
                <a:gd name="connsiteX1529" fmla="*/ 4028 w 10746"/>
                <a:gd name="connsiteY1529" fmla="*/ 1205 h 10000"/>
                <a:gd name="connsiteX1530" fmla="*/ 4028 w 10746"/>
                <a:gd name="connsiteY1530" fmla="*/ 1205 h 10000"/>
                <a:gd name="connsiteX1531" fmla="*/ 4032 w 10746"/>
                <a:gd name="connsiteY1531" fmla="*/ 1205 h 10000"/>
                <a:gd name="connsiteX1532" fmla="*/ 4032 w 10746"/>
                <a:gd name="connsiteY1532" fmla="*/ 1231 h 10000"/>
                <a:gd name="connsiteX1533" fmla="*/ 4014 w 10746"/>
                <a:gd name="connsiteY1533" fmla="*/ 1239 h 10000"/>
                <a:gd name="connsiteX1534" fmla="*/ 4014 w 10746"/>
                <a:gd name="connsiteY1534" fmla="*/ 1256 h 10000"/>
                <a:gd name="connsiteX1535" fmla="*/ 4000 w 10746"/>
                <a:gd name="connsiteY1535" fmla="*/ 1265 h 10000"/>
                <a:gd name="connsiteX1536" fmla="*/ 3986 w 10746"/>
                <a:gd name="connsiteY1536" fmla="*/ 1308 h 10000"/>
                <a:gd name="connsiteX1537" fmla="*/ 3972 w 10746"/>
                <a:gd name="connsiteY1537" fmla="*/ 1316 h 10000"/>
                <a:gd name="connsiteX1538" fmla="*/ 3972 w 10746"/>
                <a:gd name="connsiteY1538" fmla="*/ 1325 h 10000"/>
                <a:gd name="connsiteX1539" fmla="*/ 3972 w 10746"/>
                <a:gd name="connsiteY1539" fmla="*/ 1342 h 10000"/>
                <a:gd name="connsiteX1540" fmla="*/ 3968 w 10746"/>
                <a:gd name="connsiteY1540" fmla="*/ 1350 h 10000"/>
                <a:gd name="connsiteX1541" fmla="*/ 3954 w 10746"/>
                <a:gd name="connsiteY1541" fmla="*/ 1368 h 10000"/>
                <a:gd name="connsiteX1542" fmla="*/ 3945 w 10746"/>
                <a:gd name="connsiteY1542" fmla="*/ 1350 h 10000"/>
                <a:gd name="connsiteX1543" fmla="*/ 3908 w 10746"/>
                <a:gd name="connsiteY1543" fmla="*/ 1342 h 10000"/>
                <a:gd name="connsiteX1544" fmla="*/ 3894 w 10746"/>
                <a:gd name="connsiteY1544" fmla="*/ 1368 h 10000"/>
                <a:gd name="connsiteX1545" fmla="*/ 3922 w 10746"/>
                <a:gd name="connsiteY1545" fmla="*/ 1393 h 10000"/>
                <a:gd name="connsiteX1546" fmla="*/ 3945 w 10746"/>
                <a:gd name="connsiteY1546" fmla="*/ 1393 h 10000"/>
                <a:gd name="connsiteX1547" fmla="*/ 3940 w 10746"/>
                <a:gd name="connsiteY1547" fmla="*/ 1419 h 10000"/>
                <a:gd name="connsiteX1548" fmla="*/ 3931 w 10746"/>
                <a:gd name="connsiteY1548" fmla="*/ 1427 h 10000"/>
                <a:gd name="connsiteX1549" fmla="*/ 3926 w 10746"/>
                <a:gd name="connsiteY1549" fmla="*/ 1427 h 10000"/>
                <a:gd name="connsiteX1550" fmla="*/ 3922 w 10746"/>
                <a:gd name="connsiteY1550" fmla="*/ 1419 h 10000"/>
                <a:gd name="connsiteX1551" fmla="*/ 3912 w 10746"/>
                <a:gd name="connsiteY1551" fmla="*/ 1427 h 10000"/>
                <a:gd name="connsiteX1552" fmla="*/ 3912 w 10746"/>
                <a:gd name="connsiteY1552" fmla="*/ 1444 h 10000"/>
                <a:gd name="connsiteX1553" fmla="*/ 3894 w 10746"/>
                <a:gd name="connsiteY1553" fmla="*/ 1513 h 10000"/>
                <a:gd name="connsiteX1554" fmla="*/ 3885 w 10746"/>
                <a:gd name="connsiteY1554" fmla="*/ 1513 h 10000"/>
                <a:gd name="connsiteX1555" fmla="*/ 3880 w 10746"/>
                <a:gd name="connsiteY1555" fmla="*/ 1538 h 10000"/>
                <a:gd name="connsiteX1556" fmla="*/ 3885 w 10746"/>
                <a:gd name="connsiteY1556" fmla="*/ 1564 h 10000"/>
                <a:gd name="connsiteX1557" fmla="*/ 3880 w 10746"/>
                <a:gd name="connsiteY1557" fmla="*/ 1581 h 10000"/>
                <a:gd name="connsiteX1558" fmla="*/ 3871 w 10746"/>
                <a:gd name="connsiteY1558" fmla="*/ 1538 h 10000"/>
                <a:gd name="connsiteX1559" fmla="*/ 3853 w 10746"/>
                <a:gd name="connsiteY1559" fmla="*/ 1530 h 10000"/>
                <a:gd name="connsiteX1560" fmla="*/ 3853 w 10746"/>
                <a:gd name="connsiteY1560" fmla="*/ 1504 h 10000"/>
                <a:gd name="connsiteX1561" fmla="*/ 3834 w 10746"/>
                <a:gd name="connsiteY1561" fmla="*/ 1487 h 10000"/>
                <a:gd name="connsiteX1562" fmla="*/ 3834 w 10746"/>
                <a:gd name="connsiteY1562" fmla="*/ 1487 h 10000"/>
                <a:gd name="connsiteX1563" fmla="*/ 3839 w 10746"/>
                <a:gd name="connsiteY1563" fmla="*/ 1513 h 10000"/>
                <a:gd name="connsiteX1564" fmla="*/ 3820 w 10746"/>
                <a:gd name="connsiteY1564" fmla="*/ 1538 h 10000"/>
                <a:gd name="connsiteX1565" fmla="*/ 3820 w 10746"/>
                <a:gd name="connsiteY1565" fmla="*/ 1556 h 10000"/>
                <a:gd name="connsiteX1566" fmla="*/ 3820 w 10746"/>
                <a:gd name="connsiteY1566" fmla="*/ 1564 h 10000"/>
                <a:gd name="connsiteX1567" fmla="*/ 3820 w 10746"/>
                <a:gd name="connsiteY1567" fmla="*/ 1581 h 10000"/>
                <a:gd name="connsiteX1568" fmla="*/ 3853 w 10746"/>
                <a:gd name="connsiteY1568" fmla="*/ 1581 h 10000"/>
                <a:gd name="connsiteX1569" fmla="*/ 3857 w 10746"/>
                <a:gd name="connsiteY1569" fmla="*/ 1598 h 10000"/>
                <a:gd name="connsiteX1570" fmla="*/ 3880 w 10746"/>
                <a:gd name="connsiteY1570" fmla="*/ 1615 h 10000"/>
                <a:gd name="connsiteX1571" fmla="*/ 3871 w 10746"/>
                <a:gd name="connsiteY1571" fmla="*/ 1615 h 10000"/>
                <a:gd name="connsiteX1572" fmla="*/ 3871 w 10746"/>
                <a:gd name="connsiteY1572" fmla="*/ 1641 h 10000"/>
                <a:gd name="connsiteX1573" fmla="*/ 3880 w 10746"/>
                <a:gd name="connsiteY1573" fmla="*/ 1641 h 10000"/>
                <a:gd name="connsiteX1574" fmla="*/ 3871 w 10746"/>
                <a:gd name="connsiteY1574" fmla="*/ 1650 h 10000"/>
                <a:gd name="connsiteX1575" fmla="*/ 3857 w 10746"/>
                <a:gd name="connsiteY1575" fmla="*/ 1650 h 10000"/>
                <a:gd name="connsiteX1576" fmla="*/ 3853 w 10746"/>
                <a:gd name="connsiteY1576" fmla="*/ 1650 h 10000"/>
                <a:gd name="connsiteX1577" fmla="*/ 3839 w 10746"/>
                <a:gd name="connsiteY1577" fmla="*/ 1667 h 10000"/>
                <a:gd name="connsiteX1578" fmla="*/ 3848 w 10746"/>
                <a:gd name="connsiteY1578" fmla="*/ 1692 h 10000"/>
                <a:gd name="connsiteX1579" fmla="*/ 3834 w 10746"/>
                <a:gd name="connsiteY1579" fmla="*/ 1692 h 10000"/>
                <a:gd name="connsiteX1580" fmla="*/ 3825 w 10746"/>
                <a:gd name="connsiteY1580" fmla="*/ 1692 h 10000"/>
                <a:gd name="connsiteX1581" fmla="*/ 3825 w 10746"/>
                <a:gd name="connsiteY1581" fmla="*/ 1718 h 10000"/>
                <a:gd name="connsiteX1582" fmla="*/ 3839 w 10746"/>
                <a:gd name="connsiteY1582" fmla="*/ 1726 h 10000"/>
                <a:gd name="connsiteX1583" fmla="*/ 3880 w 10746"/>
                <a:gd name="connsiteY1583" fmla="*/ 1752 h 10000"/>
                <a:gd name="connsiteX1584" fmla="*/ 3894 w 10746"/>
                <a:gd name="connsiteY1584" fmla="*/ 1829 h 10000"/>
                <a:gd name="connsiteX1585" fmla="*/ 3899 w 10746"/>
                <a:gd name="connsiteY1585" fmla="*/ 1838 h 10000"/>
                <a:gd name="connsiteX1586" fmla="*/ 3894 w 10746"/>
                <a:gd name="connsiteY1586" fmla="*/ 1855 h 10000"/>
                <a:gd name="connsiteX1587" fmla="*/ 3880 w 10746"/>
                <a:gd name="connsiteY1587" fmla="*/ 1838 h 10000"/>
                <a:gd name="connsiteX1588" fmla="*/ 3880 w 10746"/>
                <a:gd name="connsiteY1588" fmla="*/ 1855 h 10000"/>
                <a:gd name="connsiteX1589" fmla="*/ 3880 w 10746"/>
                <a:gd name="connsiteY1589" fmla="*/ 1863 h 10000"/>
                <a:gd name="connsiteX1590" fmla="*/ 3871 w 10746"/>
                <a:gd name="connsiteY1590" fmla="*/ 1872 h 10000"/>
                <a:gd name="connsiteX1591" fmla="*/ 3880 w 10746"/>
                <a:gd name="connsiteY1591" fmla="*/ 1889 h 10000"/>
                <a:gd name="connsiteX1592" fmla="*/ 3885 w 10746"/>
                <a:gd name="connsiteY1592" fmla="*/ 1889 h 10000"/>
                <a:gd name="connsiteX1593" fmla="*/ 3880 w 10746"/>
                <a:gd name="connsiteY1593" fmla="*/ 1897 h 10000"/>
                <a:gd name="connsiteX1594" fmla="*/ 3871 w 10746"/>
                <a:gd name="connsiteY1594" fmla="*/ 1915 h 10000"/>
                <a:gd name="connsiteX1595" fmla="*/ 3848 w 10746"/>
                <a:gd name="connsiteY1595" fmla="*/ 1923 h 10000"/>
                <a:gd name="connsiteX1596" fmla="*/ 3825 w 10746"/>
                <a:gd name="connsiteY1596" fmla="*/ 1940 h 10000"/>
                <a:gd name="connsiteX1597" fmla="*/ 3811 w 10746"/>
                <a:gd name="connsiteY1597" fmla="*/ 1940 h 10000"/>
                <a:gd name="connsiteX1598" fmla="*/ 3806 w 10746"/>
                <a:gd name="connsiteY1598" fmla="*/ 1949 h 10000"/>
                <a:gd name="connsiteX1599" fmla="*/ 3797 w 10746"/>
                <a:gd name="connsiteY1599" fmla="*/ 1966 h 10000"/>
                <a:gd name="connsiteX1600" fmla="*/ 3788 w 10746"/>
                <a:gd name="connsiteY1600" fmla="*/ 1991 h 10000"/>
                <a:gd name="connsiteX1601" fmla="*/ 3765 w 10746"/>
                <a:gd name="connsiteY1601" fmla="*/ 1974 h 10000"/>
                <a:gd name="connsiteX1602" fmla="*/ 3760 w 10746"/>
                <a:gd name="connsiteY1602" fmla="*/ 1966 h 10000"/>
                <a:gd name="connsiteX1603" fmla="*/ 3760 w 10746"/>
                <a:gd name="connsiteY1603" fmla="*/ 1966 h 10000"/>
                <a:gd name="connsiteX1604" fmla="*/ 3631 w 10746"/>
                <a:gd name="connsiteY1604" fmla="*/ 2009 h 10000"/>
                <a:gd name="connsiteX1605" fmla="*/ 3618 w 10746"/>
                <a:gd name="connsiteY1605" fmla="*/ 2000 h 10000"/>
                <a:gd name="connsiteX1606" fmla="*/ 3599 w 10746"/>
                <a:gd name="connsiteY1606" fmla="*/ 2009 h 10000"/>
                <a:gd name="connsiteX1607" fmla="*/ 3571 w 10746"/>
                <a:gd name="connsiteY1607" fmla="*/ 2000 h 10000"/>
                <a:gd name="connsiteX1608" fmla="*/ 3530 w 10746"/>
                <a:gd name="connsiteY1608" fmla="*/ 2026 h 10000"/>
                <a:gd name="connsiteX1609" fmla="*/ 3530 w 10746"/>
                <a:gd name="connsiteY1609" fmla="*/ 2034 h 10000"/>
                <a:gd name="connsiteX1610" fmla="*/ 3525 w 10746"/>
                <a:gd name="connsiteY1610" fmla="*/ 2051 h 10000"/>
                <a:gd name="connsiteX1611" fmla="*/ 3512 w 10746"/>
                <a:gd name="connsiteY1611" fmla="*/ 2034 h 10000"/>
                <a:gd name="connsiteX1612" fmla="*/ 3507 w 10746"/>
                <a:gd name="connsiteY1612" fmla="*/ 2034 h 10000"/>
                <a:gd name="connsiteX1613" fmla="*/ 3498 w 10746"/>
                <a:gd name="connsiteY1613" fmla="*/ 2051 h 10000"/>
                <a:gd name="connsiteX1614" fmla="*/ 3484 w 10746"/>
                <a:gd name="connsiteY1614" fmla="*/ 2060 h 10000"/>
                <a:gd name="connsiteX1615" fmla="*/ 3484 w 10746"/>
                <a:gd name="connsiteY1615" fmla="*/ 2085 h 10000"/>
                <a:gd name="connsiteX1616" fmla="*/ 3484 w 10746"/>
                <a:gd name="connsiteY1616" fmla="*/ 2103 h 10000"/>
                <a:gd name="connsiteX1617" fmla="*/ 3493 w 10746"/>
                <a:gd name="connsiteY1617" fmla="*/ 2103 h 10000"/>
                <a:gd name="connsiteX1618" fmla="*/ 3493 w 10746"/>
                <a:gd name="connsiteY1618" fmla="*/ 2085 h 10000"/>
                <a:gd name="connsiteX1619" fmla="*/ 3498 w 10746"/>
                <a:gd name="connsiteY1619" fmla="*/ 2085 h 10000"/>
                <a:gd name="connsiteX1620" fmla="*/ 3498 w 10746"/>
                <a:gd name="connsiteY1620" fmla="*/ 2111 h 10000"/>
                <a:gd name="connsiteX1621" fmla="*/ 3484 w 10746"/>
                <a:gd name="connsiteY1621" fmla="*/ 2120 h 10000"/>
                <a:gd name="connsiteX1622" fmla="*/ 3484 w 10746"/>
                <a:gd name="connsiteY1622" fmla="*/ 2145 h 10000"/>
                <a:gd name="connsiteX1623" fmla="*/ 3470 w 10746"/>
                <a:gd name="connsiteY1623" fmla="*/ 2137 h 10000"/>
                <a:gd name="connsiteX1624" fmla="*/ 3465 w 10746"/>
                <a:gd name="connsiteY1624" fmla="*/ 2145 h 10000"/>
                <a:gd name="connsiteX1625" fmla="*/ 3470 w 10746"/>
                <a:gd name="connsiteY1625" fmla="*/ 2171 h 10000"/>
                <a:gd name="connsiteX1626" fmla="*/ 3484 w 10746"/>
                <a:gd name="connsiteY1626" fmla="*/ 2171 h 10000"/>
                <a:gd name="connsiteX1627" fmla="*/ 3484 w 10746"/>
                <a:gd name="connsiteY1627" fmla="*/ 2197 h 10000"/>
                <a:gd name="connsiteX1628" fmla="*/ 3465 w 10746"/>
                <a:gd name="connsiteY1628" fmla="*/ 2214 h 10000"/>
                <a:gd name="connsiteX1629" fmla="*/ 3493 w 10746"/>
                <a:gd name="connsiteY1629" fmla="*/ 2248 h 10000"/>
                <a:gd name="connsiteX1630" fmla="*/ 3484 w 10746"/>
                <a:gd name="connsiteY1630" fmla="*/ 2256 h 10000"/>
                <a:gd name="connsiteX1631" fmla="*/ 3498 w 10746"/>
                <a:gd name="connsiteY1631" fmla="*/ 2274 h 10000"/>
                <a:gd name="connsiteX1632" fmla="*/ 3498 w 10746"/>
                <a:gd name="connsiteY1632" fmla="*/ 2256 h 10000"/>
                <a:gd name="connsiteX1633" fmla="*/ 3507 w 10746"/>
                <a:gd name="connsiteY1633" fmla="*/ 2308 h 10000"/>
                <a:gd name="connsiteX1634" fmla="*/ 3512 w 10746"/>
                <a:gd name="connsiteY1634" fmla="*/ 2325 h 10000"/>
                <a:gd name="connsiteX1635" fmla="*/ 3507 w 10746"/>
                <a:gd name="connsiteY1635" fmla="*/ 2333 h 10000"/>
                <a:gd name="connsiteX1636" fmla="*/ 3507 w 10746"/>
                <a:gd name="connsiteY1636" fmla="*/ 2359 h 10000"/>
                <a:gd name="connsiteX1637" fmla="*/ 3507 w 10746"/>
                <a:gd name="connsiteY1637" fmla="*/ 2376 h 10000"/>
                <a:gd name="connsiteX1638" fmla="*/ 3498 w 10746"/>
                <a:gd name="connsiteY1638" fmla="*/ 2410 h 10000"/>
                <a:gd name="connsiteX1639" fmla="*/ 3498 w 10746"/>
                <a:gd name="connsiteY1639" fmla="*/ 2436 h 10000"/>
                <a:gd name="connsiteX1640" fmla="*/ 3507 w 10746"/>
                <a:gd name="connsiteY1640" fmla="*/ 2462 h 10000"/>
                <a:gd name="connsiteX1641" fmla="*/ 3507 w 10746"/>
                <a:gd name="connsiteY1641" fmla="*/ 2496 h 10000"/>
                <a:gd name="connsiteX1642" fmla="*/ 3512 w 10746"/>
                <a:gd name="connsiteY1642" fmla="*/ 2521 h 10000"/>
                <a:gd name="connsiteX1643" fmla="*/ 3525 w 10746"/>
                <a:gd name="connsiteY1643" fmla="*/ 2556 h 10000"/>
                <a:gd name="connsiteX1644" fmla="*/ 3571 w 10746"/>
                <a:gd name="connsiteY1644" fmla="*/ 2573 h 10000"/>
                <a:gd name="connsiteX1645" fmla="*/ 3590 w 10746"/>
                <a:gd name="connsiteY1645" fmla="*/ 2598 h 10000"/>
                <a:gd name="connsiteX1646" fmla="*/ 3599 w 10746"/>
                <a:gd name="connsiteY1646" fmla="*/ 2598 h 10000"/>
                <a:gd name="connsiteX1647" fmla="*/ 3604 w 10746"/>
                <a:gd name="connsiteY1647" fmla="*/ 2632 h 10000"/>
                <a:gd name="connsiteX1648" fmla="*/ 3599 w 10746"/>
                <a:gd name="connsiteY1648" fmla="*/ 2658 h 10000"/>
                <a:gd name="connsiteX1649" fmla="*/ 3590 w 10746"/>
                <a:gd name="connsiteY1649" fmla="*/ 2667 h 10000"/>
                <a:gd name="connsiteX1650" fmla="*/ 3604 w 10746"/>
                <a:gd name="connsiteY1650" fmla="*/ 2667 h 10000"/>
                <a:gd name="connsiteX1651" fmla="*/ 3613 w 10746"/>
                <a:gd name="connsiteY1651" fmla="*/ 2692 h 10000"/>
                <a:gd name="connsiteX1652" fmla="*/ 3627 w 10746"/>
                <a:gd name="connsiteY1652" fmla="*/ 2735 h 10000"/>
                <a:gd name="connsiteX1653" fmla="*/ 3631 w 10746"/>
                <a:gd name="connsiteY1653" fmla="*/ 2744 h 10000"/>
                <a:gd name="connsiteX1654" fmla="*/ 3659 w 10746"/>
                <a:gd name="connsiteY1654" fmla="*/ 2761 h 10000"/>
                <a:gd name="connsiteX1655" fmla="*/ 3673 w 10746"/>
                <a:gd name="connsiteY1655" fmla="*/ 2769 h 10000"/>
                <a:gd name="connsiteX1656" fmla="*/ 3673 w 10746"/>
                <a:gd name="connsiteY1656" fmla="*/ 2761 h 10000"/>
                <a:gd name="connsiteX1657" fmla="*/ 3687 w 10746"/>
                <a:gd name="connsiteY1657" fmla="*/ 2829 h 10000"/>
                <a:gd name="connsiteX1658" fmla="*/ 3677 w 10746"/>
                <a:gd name="connsiteY1658" fmla="*/ 2897 h 10000"/>
                <a:gd name="connsiteX1659" fmla="*/ 3673 w 10746"/>
                <a:gd name="connsiteY1659" fmla="*/ 2915 h 10000"/>
                <a:gd name="connsiteX1660" fmla="*/ 3664 w 10746"/>
                <a:gd name="connsiteY1660" fmla="*/ 2957 h 10000"/>
                <a:gd name="connsiteX1661" fmla="*/ 3659 w 10746"/>
                <a:gd name="connsiteY1661" fmla="*/ 2983 h 10000"/>
                <a:gd name="connsiteX1662" fmla="*/ 3664 w 10746"/>
                <a:gd name="connsiteY1662" fmla="*/ 3017 h 10000"/>
                <a:gd name="connsiteX1663" fmla="*/ 3659 w 10746"/>
                <a:gd name="connsiteY1663" fmla="*/ 3043 h 10000"/>
                <a:gd name="connsiteX1664" fmla="*/ 3677 w 10746"/>
                <a:gd name="connsiteY1664" fmla="*/ 3094 h 10000"/>
                <a:gd name="connsiteX1665" fmla="*/ 3691 w 10746"/>
                <a:gd name="connsiteY1665" fmla="*/ 3282 h 10000"/>
                <a:gd name="connsiteX1666" fmla="*/ 3691 w 10746"/>
                <a:gd name="connsiteY1666" fmla="*/ 3308 h 10000"/>
                <a:gd name="connsiteX1667" fmla="*/ 3677 w 10746"/>
                <a:gd name="connsiteY1667" fmla="*/ 3342 h 10000"/>
                <a:gd name="connsiteX1668" fmla="*/ 3664 w 10746"/>
                <a:gd name="connsiteY1668" fmla="*/ 3342 h 10000"/>
                <a:gd name="connsiteX1669" fmla="*/ 3650 w 10746"/>
                <a:gd name="connsiteY1669" fmla="*/ 3342 h 10000"/>
                <a:gd name="connsiteX1670" fmla="*/ 3650 w 10746"/>
                <a:gd name="connsiteY1670" fmla="*/ 3350 h 10000"/>
                <a:gd name="connsiteX1671" fmla="*/ 3659 w 10746"/>
                <a:gd name="connsiteY1671" fmla="*/ 3402 h 10000"/>
                <a:gd name="connsiteX1672" fmla="*/ 3659 w 10746"/>
                <a:gd name="connsiteY1672" fmla="*/ 3419 h 10000"/>
                <a:gd name="connsiteX1673" fmla="*/ 3631 w 10746"/>
                <a:gd name="connsiteY1673" fmla="*/ 3402 h 10000"/>
                <a:gd name="connsiteX1674" fmla="*/ 3604 w 10746"/>
                <a:gd name="connsiteY1674" fmla="*/ 3393 h 10000"/>
                <a:gd name="connsiteX1675" fmla="*/ 3599 w 10746"/>
                <a:gd name="connsiteY1675" fmla="*/ 3368 h 10000"/>
                <a:gd name="connsiteX1676" fmla="*/ 3590 w 10746"/>
                <a:gd name="connsiteY1676" fmla="*/ 3239 h 10000"/>
                <a:gd name="connsiteX1677" fmla="*/ 3599 w 10746"/>
                <a:gd name="connsiteY1677" fmla="*/ 3179 h 10000"/>
                <a:gd name="connsiteX1678" fmla="*/ 3599 w 10746"/>
                <a:gd name="connsiteY1678" fmla="*/ 3171 h 10000"/>
                <a:gd name="connsiteX1679" fmla="*/ 3599 w 10746"/>
                <a:gd name="connsiteY1679" fmla="*/ 3009 h 10000"/>
                <a:gd name="connsiteX1680" fmla="*/ 3604 w 10746"/>
                <a:gd name="connsiteY1680" fmla="*/ 2983 h 10000"/>
                <a:gd name="connsiteX1681" fmla="*/ 3645 w 10746"/>
                <a:gd name="connsiteY1681" fmla="*/ 2932 h 10000"/>
                <a:gd name="connsiteX1682" fmla="*/ 3650 w 10746"/>
                <a:gd name="connsiteY1682" fmla="*/ 2872 h 10000"/>
                <a:gd name="connsiteX1683" fmla="*/ 3659 w 10746"/>
                <a:gd name="connsiteY1683" fmla="*/ 2855 h 10000"/>
                <a:gd name="connsiteX1684" fmla="*/ 3659 w 10746"/>
                <a:gd name="connsiteY1684" fmla="*/ 2821 h 10000"/>
                <a:gd name="connsiteX1685" fmla="*/ 3631 w 10746"/>
                <a:gd name="connsiteY1685" fmla="*/ 2795 h 10000"/>
                <a:gd name="connsiteX1686" fmla="*/ 3567 w 10746"/>
                <a:gd name="connsiteY1686" fmla="*/ 2821 h 10000"/>
                <a:gd name="connsiteX1687" fmla="*/ 3544 w 10746"/>
                <a:gd name="connsiteY1687" fmla="*/ 2795 h 10000"/>
                <a:gd name="connsiteX1688" fmla="*/ 3530 w 10746"/>
                <a:gd name="connsiteY1688" fmla="*/ 2769 h 10000"/>
                <a:gd name="connsiteX1689" fmla="*/ 3530 w 10746"/>
                <a:gd name="connsiteY1689" fmla="*/ 2786 h 10000"/>
                <a:gd name="connsiteX1690" fmla="*/ 3498 w 10746"/>
                <a:gd name="connsiteY1690" fmla="*/ 2692 h 10000"/>
                <a:gd name="connsiteX1691" fmla="*/ 3498 w 10746"/>
                <a:gd name="connsiteY1691" fmla="*/ 2667 h 10000"/>
                <a:gd name="connsiteX1692" fmla="*/ 3442 w 10746"/>
                <a:gd name="connsiteY1692" fmla="*/ 2607 h 10000"/>
                <a:gd name="connsiteX1693" fmla="*/ 3433 w 10746"/>
                <a:gd name="connsiteY1693" fmla="*/ 2581 h 10000"/>
                <a:gd name="connsiteX1694" fmla="*/ 3396 w 10746"/>
                <a:gd name="connsiteY1694" fmla="*/ 2556 h 10000"/>
                <a:gd name="connsiteX1695" fmla="*/ 3318 w 10746"/>
                <a:gd name="connsiteY1695" fmla="*/ 2556 h 10000"/>
                <a:gd name="connsiteX1696" fmla="*/ 3304 w 10746"/>
                <a:gd name="connsiteY1696" fmla="*/ 2607 h 10000"/>
                <a:gd name="connsiteX1697" fmla="*/ 3276 w 10746"/>
                <a:gd name="connsiteY1697" fmla="*/ 2632 h 10000"/>
                <a:gd name="connsiteX1698" fmla="*/ 3272 w 10746"/>
                <a:gd name="connsiteY1698" fmla="*/ 2667 h 10000"/>
                <a:gd name="connsiteX1699" fmla="*/ 3304 w 10746"/>
                <a:gd name="connsiteY1699" fmla="*/ 2667 h 10000"/>
                <a:gd name="connsiteX1700" fmla="*/ 3323 w 10746"/>
                <a:gd name="connsiteY1700" fmla="*/ 2692 h 10000"/>
                <a:gd name="connsiteX1701" fmla="*/ 3318 w 10746"/>
                <a:gd name="connsiteY1701" fmla="*/ 2735 h 10000"/>
                <a:gd name="connsiteX1702" fmla="*/ 3304 w 10746"/>
                <a:gd name="connsiteY1702" fmla="*/ 2761 h 10000"/>
                <a:gd name="connsiteX1703" fmla="*/ 3276 w 10746"/>
                <a:gd name="connsiteY1703" fmla="*/ 2769 h 10000"/>
                <a:gd name="connsiteX1704" fmla="*/ 3263 w 10746"/>
                <a:gd name="connsiteY1704" fmla="*/ 2795 h 10000"/>
                <a:gd name="connsiteX1705" fmla="*/ 3235 w 10746"/>
                <a:gd name="connsiteY1705" fmla="*/ 2803 h 10000"/>
                <a:gd name="connsiteX1706" fmla="*/ 3235 w 10746"/>
                <a:gd name="connsiteY1706" fmla="*/ 2786 h 10000"/>
                <a:gd name="connsiteX1707" fmla="*/ 3212 w 10746"/>
                <a:gd name="connsiteY1707" fmla="*/ 2709 h 10000"/>
                <a:gd name="connsiteX1708" fmla="*/ 3198 w 10746"/>
                <a:gd name="connsiteY1708" fmla="*/ 2709 h 10000"/>
                <a:gd name="connsiteX1709" fmla="*/ 3184 w 10746"/>
                <a:gd name="connsiteY1709" fmla="*/ 2735 h 10000"/>
                <a:gd name="connsiteX1710" fmla="*/ 3189 w 10746"/>
                <a:gd name="connsiteY1710" fmla="*/ 2761 h 10000"/>
                <a:gd name="connsiteX1711" fmla="*/ 3203 w 10746"/>
                <a:gd name="connsiteY1711" fmla="*/ 2855 h 10000"/>
                <a:gd name="connsiteX1712" fmla="*/ 3212 w 10746"/>
                <a:gd name="connsiteY1712" fmla="*/ 2872 h 10000"/>
                <a:gd name="connsiteX1713" fmla="*/ 3235 w 10746"/>
                <a:gd name="connsiteY1713" fmla="*/ 2906 h 10000"/>
                <a:gd name="connsiteX1714" fmla="*/ 3258 w 10746"/>
                <a:gd name="connsiteY1714" fmla="*/ 2915 h 10000"/>
                <a:gd name="connsiteX1715" fmla="*/ 3272 w 10746"/>
                <a:gd name="connsiteY1715" fmla="*/ 2957 h 10000"/>
                <a:gd name="connsiteX1716" fmla="*/ 3276 w 10746"/>
                <a:gd name="connsiteY1716" fmla="*/ 2957 h 10000"/>
                <a:gd name="connsiteX1717" fmla="*/ 3286 w 10746"/>
                <a:gd name="connsiteY1717" fmla="*/ 2966 h 10000"/>
                <a:gd name="connsiteX1718" fmla="*/ 3300 w 10746"/>
                <a:gd name="connsiteY1718" fmla="*/ 2957 h 10000"/>
                <a:gd name="connsiteX1719" fmla="*/ 3309 w 10746"/>
                <a:gd name="connsiteY1719" fmla="*/ 2932 h 10000"/>
                <a:gd name="connsiteX1720" fmla="*/ 3304 w 10746"/>
                <a:gd name="connsiteY1720" fmla="*/ 2966 h 10000"/>
                <a:gd name="connsiteX1721" fmla="*/ 3309 w 10746"/>
                <a:gd name="connsiteY1721" fmla="*/ 2983 h 10000"/>
                <a:gd name="connsiteX1722" fmla="*/ 3323 w 10746"/>
                <a:gd name="connsiteY1722" fmla="*/ 2966 h 10000"/>
                <a:gd name="connsiteX1723" fmla="*/ 3323 w 10746"/>
                <a:gd name="connsiteY1723" fmla="*/ 3043 h 10000"/>
                <a:gd name="connsiteX1724" fmla="*/ 3346 w 10746"/>
                <a:gd name="connsiteY1724" fmla="*/ 3068 h 10000"/>
                <a:gd name="connsiteX1725" fmla="*/ 3346 w 10746"/>
                <a:gd name="connsiteY1725" fmla="*/ 3094 h 10000"/>
                <a:gd name="connsiteX1726" fmla="*/ 3323 w 10746"/>
                <a:gd name="connsiteY1726" fmla="*/ 3094 h 10000"/>
                <a:gd name="connsiteX1727" fmla="*/ 3309 w 10746"/>
                <a:gd name="connsiteY1727" fmla="*/ 3077 h 10000"/>
                <a:gd name="connsiteX1728" fmla="*/ 3304 w 10746"/>
                <a:gd name="connsiteY1728" fmla="*/ 3051 h 10000"/>
                <a:gd name="connsiteX1729" fmla="*/ 3300 w 10746"/>
                <a:gd name="connsiteY1729" fmla="*/ 3043 h 10000"/>
                <a:gd name="connsiteX1730" fmla="*/ 3286 w 10746"/>
                <a:gd name="connsiteY1730" fmla="*/ 3017 h 10000"/>
                <a:gd name="connsiteX1731" fmla="*/ 3152 w 10746"/>
                <a:gd name="connsiteY1731" fmla="*/ 2966 h 10000"/>
                <a:gd name="connsiteX1732" fmla="*/ 3129 w 10746"/>
                <a:gd name="connsiteY1732" fmla="*/ 2915 h 10000"/>
                <a:gd name="connsiteX1733" fmla="*/ 3129 w 10746"/>
                <a:gd name="connsiteY1733" fmla="*/ 2906 h 10000"/>
                <a:gd name="connsiteX1734" fmla="*/ 3152 w 10746"/>
                <a:gd name="connsiteY1734" fmla="*/ 2906 h 10000"/>
                <a:gd name="connsiteX1735" fmla="*/ 3152 w 10746"/>
                <a:gd name="connsiteY1735" fmla="*/ 2846 h 10000"/>
                <a:gd name="connsiteX1736" fmla="*/ 3138 w 10746"/>
                <a:gd name="connsiteY1736" fmla="*/ 2795 h 10000"/>
                <a:gd name="connsiteX1737" fmla="*/ 3138 w 10746"/>
                <a:gd name="connsiteY1737" fmla="*/ 2769 h 10000"/>
                <a:gd name="connsiteX1738" fmla="*/ 3143 w 10746"/>
                <a:gd name="connsiteY1738" fmla="*/ 2718 h 10000"/>
                <a:gd name="connsiteX1739" fmla="*/ 3129 w 10746"/>
                <a:gd name="connsiteY1739" fmla="*/ 2692 h 10000"/>
                <a:gd name="connsiteX1740" fmla="*/ 3143 w 10746"/>
                <a:gd name="connsiteY1740" fmla="*/ 2667 h 10000"/>
                <a:gd name="connsiteX1741" fmla="*/ 3157 w 10746"/>
                <a:gd name="connsiteY1741" fmla="*/ 2581 h 10000"/>
                <a:gd name="connsiteX1742" fmla="*/ 3143 w 10746"/>
                <a:gd name="connsiteY1742" fmla="*/ 2496 h 10000"/>
                <a:gd name="connsiteX1743" fmla="*/ 3157 w 10746"/>
                <a:gd name="connsiteY1743" fmla="*/ 2487 h 10000"/>
                <a:gd name="connsiteX1744" fmla="*/ 3143 w 10746"/>
                <a:gd name="connsiteY1744" fmla="*/ 2444 h 10000"/>
                <a:gd name="connsiteX1745" fmla="*/ 3143 w 10746"/>
                <a:gd name="connsiteY1745" fmla="*/ 2419 h 10000"/>
                <a:gd name="connsiteX1746" fmla="*/ 3143 w 10746"/>
                <a:gd name="connsiteY1746" fmla="*/ 2410 h 10000"/>
                <a:gd name="connsiteX1747" fmla="*/ 3124 w 10746"/>
                <a:gd name="connsiteY1747" fmla="*/ 2376 h 10000"/>
                <a:gd name="connsiteX1748" fmla="*/ 3115 w 10746"/>
                <a:gd name="connsiteY1748" fmla="*/ 2350 h 10000"/>
                <a:gd name="connsiteX1749" fmla="*/ 3101 w 10746"/>
                <a:gd name="connsiteY1749" fmla="*/ 2359 h 10000"/>
                <a:gd name="connsiteX1750" fmla="*/ 3115 w 10746"/>
                <a:gd name="connsiteY1750" fmla="*/ 2581 h 10000"/>
                <a:gd name="connsiteX1751" fmla="*/ 3111 w 10746"/>
                <a:gd name="connsiteY1751" fmla="*/ 2624 h 10000"/>
                <a:gd name="connsiteX1752" fmla="*/ 3009 w 10746"/>
                <a:gd name="connsiteY1752" fmla="*/ 2761 h 10000"/>
                <a:gd name="connsiteX1753" fmla="*/ 3009 w 10746"/>
                <a:gd name="connsiteY1753" fmla="*/ 2803 h 10000"/>
                <a:gd name="connsiteX1754" fmla="*/ 3005 w 10746"/>
                <a:gd name="connsiteY1754" fmla="*/ 2829 h 10000"/>
                <a:gd name="connsiteX1755" fmla="*/ 2982 w 10746"/>
                <a:gd name="connsiteY1755" fmla="*/ 2872 h 10000"/>
                <a:gd name="connsiteX1756" fmla="*/ 2982 w 10746"/>
                <a:gd name="connsiteY1756" fmla="*/ 2880 h 10000"/>
                <a:gd name="connsiteX1757" fmla="*/ 3037 w 10746"/>
                <a:gd name="connsiteY1757" fmla="*/ 3034 h 10000"/>
                <a:gd name="connsiteX1758" fmla="*/ 3041 w 10746"/>
                <a:gd name="connsiteY1758" fmla="*/ 3103 h 10000"/>
                <a:gd name="connsiteX1759" fmla="*/ 3069 w 10746"/>
                <a:gd name="connsiteY1759" fmla="*/ 3188 h 10000"/>
                <a:gd name="connsiteX1760" fmla="*/ 3055 w 10746"/>
                <a:gd name="connsiteY1760" fmla="*/ 3325 h 10000"/>
                <a:gd name="connsiteX1761" fmla="*/ 3037 w 10746"/>
                <a:gd name="connsiteY1761" fmla="*/ 3368 h 10000"/>
                <a:gd name="connsiteX1762" fmla="*/ 3037 w 10746"/>
                <a:gd name="connsiteY1762" fmla="*/ 3444 h 10000"/>
                <a:gd name="connsiteX1763" fmla="*/ 3028 w 10746"/>
                <a:gd name="connsiteY1763" fmla="*/ 3453 h 10000"/>
                <a:gd name="connsiteX1764" fmla="*/ 3023 w 10746"/>
                <a:gd name="connsiteY1764" fmla="*/ 3530 h 10000"/>
                <a:gd name="connsiteX1765" fmla="*/ 3051 w 10746"/>
                <a:gd name="connsiteY1765" fmla="*/ 3624 h 10000"/>
                <a:gd name="connsiteX1766" fmla="*/ 3037 w 10746"/>
                <a:gd name="connsiteY1766" fmla="*/ 3718 h 10000"/>
                <a:gd name="connsiteX1767" fmla="*/ 3041 w 10746"/>
                <a:gd name="connsiteY1767" fmla="*/ 3752 h 10000"/>
                <a:gd name="connsiteX1768" fmla="*/ 3055 w 10746"/>
                <a:gd name="connsiteY1768" fmla="*/ 3761 h 10000"/>
                <a:gd name="connsiteX1769" fmla="*/ 3078 w 10746"/>
                <a:gd name="connsiteY1769" fmla="*/ 3752 h 10000"/>
                <a:gd name="connsiteX1770" fmla="*/ 3092 w 10746"/>
                <a:gd name="connsiteY1770" fmla="*/ 3752 h 10000"/>
                <a:gd name="connsiteX1771" fmla="*/ 3129 w 10746"/>
                <a:gd name="connsiteY1771" fmla="*/ 3761 h 10000"/>
                <a:gd name="connsiteX1772" fmla="*/ 3129 w 10746"/>
                <a:gd name="connsiteY1772" fmla="*/ 3735 h 10000"/>
                <a:gd name="connsiteX1773" fmla="*/ 3157 w 10746"/>
                <a:gd name="connsiteY1773" fmla="*/ 3718 h 10000"/>
                <a:gd name="connsiteX1774" fmla="*/ 3184 w 10746"/>
                <a:gd name="connsiteY1774" fmla="*/ 3718 h 10000"/>
                <a:gd name="connsiteX1775" fmla="*/ 3290 w 10746"/>
                <a:gd name="connsiteY1775" fmla="*/ 3838 h 10000"/>
                <a:gd name="connsiteX1776" fmla="*/ 3300 w 10746"/>
                <a:gd name="connsiteY1776" fmla="*/ 3846 h 10000"/>
                <a:gd name="connsiteX1777" fmla="*/ 3300 w 10746"/>
                <a:gd name="connsiteY1777" fmla="*/ 3915 h 10000"/>
                <a:gd name="connsiteX1778" fmla="*/ 3318 w 10746"/>
                <a:gd name="connsiteY1778" fmla="*/ 4000 h 10000"/>
                <a:gd name="connsiteX1779" fmla="*/ 3323 w 10746"/>
                <a:gd name="connsiteY1779" fmla="*/ 4000 h 10000"/>
                <a:gd name="connsiteX1780" fmla="*/ 3323 w 10746"/>
                <a:gd name="connsiteY1780" fmla="*/ 4034 h 10000"/>
                <a:gd name="connsiteX1781" fmla="*/ 3318 w 10746"/>
                <a:gd name="connsiteY1781" fmla="*/ 4051 h 10000"/>
                <a:gd name="connsiteX1782" fmla="*/ 3300 w 10746"/>
                <a:gd name="connsiteY1782" fmla="*/ 4051 h 10000"/>
                <a:gd name="connsiteX1783" fmla="*/ 3290 w 10746"/>
                <a:gd name="connsiteY1783" fmla="*/ 4077 h 10000"/>
                <a:gd name="connsiteX1784" fmla="*/ 3286 w 10746"/>
                <a:gd name="connsiteY1784" fmla="*/ 4103 h 10000"/>
                <a:gd name="connsiteX1785" fmla="*/ 3286 w 10746"/>
                <a:gd name="connsiteY1785" fmla="*/ 4197 h 10000"/>
                <a:gd name="connsiteX1786" fmla="*/ 3290 w 10746"/>
                <a:gd name="connsiteY1786" fmla="*/ 4214 h 10000"/>
                <a:gd name="connsiteX1787" fmla="*/ 3304 w 10746"/>
                <a:gd name="connsiteY1787" fmla="*/ 4214 h 10000"/>
                <a:gd name="connsiteX1788" fmla="*/ 3323 w 10746"/>
                <a:gd name="connsiteY1788" fmla="*/ 4239 h 10000"/>
                <a:gd name="connsiteX1789" fmla="*/ 3350 w 10746"/>
                <a:gd name="connsiteY1789" fmla="*/ 4222 h 10000"/>
                <a:gd name="connsiteX1790" fmla="*/ 3369 w 10746"/>
                <a:gd name="connsiteY1790" fmla="*/ 4256 h 10000"/>
                <a:gd name="connsiteX1791" fmla="*/ 3369 w 10746"/>
                <a:gd name="connsiteY1791" fmla="*/ 4256 h 10000"/>
                <a:gd name="connsiteX1792" fmla="*/ 3336 w 10746"/>
                <a:gd name="connsiteY1792" fmla="*/ 4274 h 10000"/>
                <a:gd name="connsiteX1793" fmla="*/ 3323 w 10746"/>
                <a:gd name="connsiteY1793" fmla="*/ 4274 h 10000"/>
                <a:gd name="connsiteX1794" fmla="*/ 3290 w 10746"/>
                <a:gd name="connsiteY1794" fmla="*/ 4274 h 10000"/>
                <a:gd name="connsiteX1795" fmla="*/ 3286 w 10746"/>
                <a:gd name="connsiteY1795" fmla="*/ 4239 h 10000"/>
                <a:gd name="connsiteX1796" fmla="*/ 3263 w 10746"/>
                <a:gd name="connsiteY1796" fmla="*/ 4214 h 10000"/>
                <a:gd name="connsiteX1797" fmla="*/ 3258 w 10746"/>
                <a:gd name="connsiteY1797" fmla="*/ 4188 h 10000"/>
                <a:gd name="connsiteX1798" fmla="*/ 3263 w 10746"/>
                <a:gd name="connsiteY1798" fmla="*/ 4171 h 10000"/>
                <a:gd name="connsiteX1799" fmla="*/ 3263 w 10746"/>
                <a:gd name="connsiteY1799" fmla="*/ 4103 h 10000"/>
                <a:gd name="connsiteX1800" fmla="*/ 3276 w 10746"/>
                <a:gd name="connsiteY1800" fmla="*/ 4060 h 10000"/>
                <a:gd name="connsiteX1801" fmla="*/ 3272 w 10746"/>
                <a:gd name="connsiteY1801" fmla="*/ 4051 h 10000"/>
                <a:gd name="connsiteX1802" fmla="*/ 3263 w 10746"/>
                <a:gd name="connsiteY1802" fmla="*/ 4051 h 10000"/>
                <a:gd name="connsiteX1803" fmla="*/ 3263 w 10746"/>
                <a:gd name="connsiteY1803" fmla="*/ 4034 h 10000"/>
                <a:gd name="connsiteX1804" fmla="*/ 3263 w 10746"/>
                <a:gd name="connsiteY1804" fmla="*/ 4000 h 10000"/>
                <a:gd name="connsiteX1805" fmla="*/ 3272 w 10746"/>
                <a:gd name="connsiteY1805" fmla="*/ 4000 h 10000"/>
                <a:gd name="connsiteX1806" fmla="*/ 3272 w 10746"/>
                <a:gd name="connsiteY1806" fmla="*/ 3974 h 10000"/>
                <a:gd name="connsiteX1807" fmla="*/ 3272 w 10746"/>
                <a:gd name="connsiteY1807" fmla="*/ 3966 h 10000"/>
                <a:gd name="connsiteX1808" fmla="*/ 3272 w 10746"/>
                <a:gd name="connsiteY1808" fmla="*/ 3949 h 10000"/>
                <a:gd name="connsiteX1809" fmla="*/ 3258 w 10746"/>
                <a:gd name="connsiteY1809" fmla="*/ 3923 h 10000"/>
                <a:gd name="connsiteX1810" fmla="*/ 3249 w 10746"/>
                <a:gd name="connsiteY1810" fmla="*/ 3915 h 10000"/>
                <a:gd name="connsiteX1811" fmla="*/ 3244 w 10746"/>
                <a:gd name="connsiteY1811" fmla="*/ 3897 h 10000"/>
                <a:gd name="connsiteX1812" fmla="*/ 3230 w 10746"/>
                <a:gd name="connsiteY1812" fmla="*/ 3889 h 10000"/>
                <a:gd name="connsiteX1813" fmla="*/ 3230 w 10746"/>
                <a:gd name="connsiteY1813" fmla="*/ 3863 h 10000"/>
                <a:gd name="connsiteX1814" fmla="*/ 3230 w 10746"/>
                <a:gd name="connsiteY1814" fmla="*/ 3838 h 10000"/>
                <a:gd name="connsiteX1815" fmla="*/ 3226 w 10746"/>
                <a:gd name="connsiteY1815" fmla="*/ 3803 h 10000"/>
                <a:gd name="connsiteX1816" fmla="*/ 3138 w 10746"/>
                <a:gd name="connsiteY1816" fmla="*/ 3838 h 10000"/>
                <a:gd name="connsiteX1817" fmla="*/ 3078 w 10746"/>
                <a:gd name="connsiteY1817" fmla="*/ 3889 h 10000"/>
                <a:gd name="connsiteX1818" fmla="*/ 3078 w 10746"/>
                <a:gd name="connsiteY1818" fmla="*/ 3940 h 10000"/>
                <a:gd name="connsiteX1819" fmla="*/ 3069 w 10746"/>
                <a:gd name="connsiteY1819" fmla="*/ 3983 h 10000"/>
                <a:gd name="connsiteX1820" fmla="*/ 3069 w 10746"/>
                <a:gd name="connsiteY1820" fmla="*/ 4009 h 10000"/>
                <a:gd name="connsiteX1821" fmla="*/ 3078 w 10746"/>
                <a:gd name="connsiteY1821" fmla="*/ 4026 h 10000"/>
                <a:gd name="connsiteX1822" fmla="*/ 3083 w 10746"/>
                <a:gd name="connsiteY1822" fmla="*/ 4034 h 10000"/>
                <a:gd name="connsiteX1823" fmla="*/ 3092 w 10746"/>
                <a:gd name="connsiteY1823" fmla="*/ 4060 h 10000"/>
                <a:gd name="connsiteX1824" fmla="*/ 3092 w 10746"/>
                <a:gd name="connsiteY1824" fmla="*/ 4077 h 10000"/>
                <a:gd name="connsiteX1825" fmla="*/ 3097 w 10746"/>
                <a:gd name="connsiteY1825" fmla="*/ 4103 h 10000"/>
                <a:gd name="connsiteX1826" fmla="*/ 3101 w 10746"/>
                <a:gd name="connsiteY1826" fmla="*/ 4162 h 10000"/>
                <a:gd name="connsiteX1827" fmla="*/ 3097 w 10746"/>
                <a:gd name="connsiteY1827" fmla="*/ 4222 h 10000"/>
                <a:gd name="connsiteX1828" fmla="*/ 3041 w 10746"/>
                <a:gd name="connsiteY1828" fmla="*/ 4325 h 10000"/>
                <a:gd name="connsiteX1829" fmla="*/ 3037 w 10746"/>
                <a:gd name="connsiteY1829" fmla="*/ 4419 h 10000"/>
                <a:gd name="connsiteX1830" fmla="*/ 3018 w 10746"/>
                <a:gd name="connsiteY1830" fmla="*/ 4470 h 10000"/>
                <a:gd name="connsiteX1831" fmla="*/ 2991 w 10746"/>
                <a:gd name="connsiteY1831" fmla="*/ 4513 h 10000"/>
                <a:gd name="connsiteX1832" fmla="*/ 2977 w 10746"/>
                <a:gd name="connsiteY1832" fmla="*/ 4530 h 10000"/>
                <a:gd name="connsiteX1833" fmla="*/ 2945 w 10746"/>
                <a:gd name="connsiteY1833" fmla="*/ 4556 h 10000"/>
                <a:gd name="connsiteX1834" fmla="*/ 2935 w 10746"/>
                <a:gd name="connsiteY1834" fmla="*/ 4581 h 10000"/>
                <a:gd name="connsiteX1835" fmla="*/ 2949 w 10746"/>
                <a:gd name="connsiteY1835" fmla="*/ 4624 h 10000"/>
                <a:gd name="connsiteX1836" fmla="*/ 2945 w 10746"/>
                <a:gd name="connsiteY1836" fmla="*/ 4658 h 10000"/>
                <a:gd name="connsiteX1837" fmla="*/ 2922 w 10746"/>
                <a:gd name="connsiteY1837" fmla="*/ 4667 h 10000"/>
                <a:gd name="connsiteX1838" fmla="*/ 2876 w 10746"/>
                <a:gd name="connsiteY1838" fmla="*/ 4632 h 10000"/>
                <a:gd name="connsiteX1839" fmla="*/ 2857 w 10746"/>
                <a:gd name="connsiteY1839" fmla="*/ 4632 h 10000"/>
                <a:gd name="connsiteX1840" fmla="*/ 2820 w 10746"/>
                <a:gd name="connsiteY1840" fmla="*/ 4641 h 10000"/>
                <a:gd name="connsiteX1841" fmla="*/ 2797 w 10746"/>
                <a:gd name="connsiteY1841" fmla="*/ 4632 h 10000"/>
                <a:gd name="connsiteX1842" fmla="*/ 2788 w 10746"/>
                <a:gd name="connsiteY1842" fmla="*/ 4624 h 10000"/>
                <a:gd name="connsiteX1843" fmla="*/ 2788 w 10746"/>
                <a:gd name="connsiteY1843" fmla="*/ 4598 h 10000"/>
                <a:gd name="connsiteX1844" fmla="*/ 2797 w 10746"/>
                <a:gd name="connsiteY1844" fmla="*/ 4581 h 10000"/>
                <a:gd name="connsiteX1845" fmla="*/ 2788 w 10746"/>
                <a:gd name="connsiteY1845" fmla="*/ 4530 h 10000"/>
                <a:gd name="connsiteX1846" fmla="*/ 2774 w 10746"/>
                <a:gd name="connsiteY1846" fmla="*/ 4530 h 10000"/>
                <a:gd name="connsiteX1847" fmla="*/ 2770 w 10746"/>
                <a:gd name="connsiteY1847" fmla="*/ 4513 h 10000"/>
                <a:gd name="connsiteX1848" fmla="*/ 2774 w 10746"/>
                <a:gd name="connsiteY1848" fmla="*/ 4513 h 10000"/>
                <a:gd name="connsiteX1849" fmla="*/ 2788 w 10746"/>
                <a:gd name="connsiteY1849" fmla="*/ 4496 h 10000"/>
                <a:gd name="connsiteX1850" fmla="*/ 2802 w 10746"/>
                <a:gd name="connsiteY1850" fmla="*/ 4513 h 10000"/>
                <a:gd name="connsiteX1851" fmla="*/ 2811 w 10746"/>
                <a:gd name="connsiteY1851" fmla="*/ 4530 h 10000"/>
                <a:gd name="connsiteX1852" fmla="*/ 2820 w 10746"/>
                <a:gd name="connsiteY1852" fmla="*/ 4521 h 10000"/>
                <a:gd name="connsiteX1853" fmla="*/ 2829 w 10746"/>
                <a:gd name="connsiteY1853" fmla="*/ 4513 h 10000"/>
                <a:gd name="connsiteX1854" fmla="*/ 2843 w 10746"/>
                <a:gd name="connsiteY1854" fmla="*/ 4513 h 10000"/>
                <a:gd name="connsiteX1855" fmla="*/ 2848 w 10746"/>
                <a:gd name="connsiteY1855" fmla="*/ 4470 h 10000"/>
                <a:gd name="connsiteX1856" fmla="*/ 2862 w 10746"/>
                <a:gd name="connsiteY1856" fmla="*/ 4487 h 10000"/>
                <a:gd name="connsiteX1857" fmla="*/ 2876 w 10746"/>
                <a:gd name="connsiteY1857" fmla="*/ 4470 h 10000"/>
                <a:gd name="connsiteX1858" fmla="*/ 2880 w 10746"/>
                <a:gd name="connsiteY1858" fmla="*/ 4462 h 10000"/>
                <a:gd name="connsiteX1859" fmla="*/ 2889 w 10746"/>
                <a:gd name="connsiteY1859" fmla="*/ 4444 h 10000"/>
                <a:gd name="connsiteX1860" fmla="*/ 2894 w 10746"/>
                <a:gd name="connsiteY1860" fmla="*/ 4462 h 10000"/>
                <a:gd name="connsiteX1861" fmla="*/ 2917 w 10746"/>
                <a:gd name="connsiteY1861" fmla="*/ 4444 h 10000"/>
                <a:gd name="connsiteX1862" fmla="*/ 2922 w 10746"/>
                <a:gd name="connsiteY1862" fmla="*/ 4436 h 10000"/>
                <a:gd name="connsiteX1863" fmla="*/ 2917 w 10746"/>
                <a:gd name="connsiteY1863" fmla="*/ 4410 h 10000"/>
                <a:gd name="connsiteX1864" fmla="*/ 2894 w 10746"/>
                <a:gd name="connsiteY1864" fmla="*/ 4410 h 10000"/>
                <a:gd name="connsiteX1865" fmla="*/ 2889 w 10746"/>
                <a:gd name="connsiteY1865" fmla="*/ 4419 h 10000"/>
                <a:gd name="connsiteX1866" fmla="*/ 2876 w 10746"/>
                <a:gd name="connsiteY1866" fmla="*/ 4410 h 10000"/>
                <a:gd name="connsiteX1867" fmla="*/ 2880 w 10746"/>
                <a:gd name="connsiteY1867" fmla="*/ 4376 h 10000"/>
                <a:gd name="connsiteX1868" fmla="*/ 2903 w 10746"/>
                <a:gd name="connsiteY1868" fmla="*/ 4393 h 10000"/>
                <a:gd name="connsiteX1869" fmla="*/ 2931 w 10746"/>
                <a:gd name="connsiteY1869" fmla="*/ 4393 h 10000"/>
                <a:gd name="connsiteX1870" fmla="*/ 2931 w 10746"/>
                <a:gd name="connsiteY1870" fmla="*/ 4385 h 10000"/>
                <a:gd name="connsiteX1871" fmla="*/ 2931 w 10746"/>
                <a:gd name="connsiteY1871" fmla="*/ 4350 h 10000"/>
                <a:gd name="connsiteX1872" fmla="*/ 2945 w 10746"/>
                <a:gd name="connsiteY1872" fmla="*/ 4350 h 10000"/>
                <a:gd name="connsiteX1873" fmla="*/ 2949 w 10746"/>
                <a:gd name="connsiteY1873" fmla="*/ 4325 h 10000"/>
                <a:gd name="connsiteX1874" fmla="*/ 2963 w 10746"/>
                <a:gd name="connsiteY1874" fmla="*/ 4256 h 10000"/>
                <a:gd name="connsiteX1875" fmla="*/ 2982 w 10746"/>
                <a:gd name="connsiteY1875" fmla="*/ 4239 h 10000"/>
                <a:gd name="connsiteX1876" fmla="*/ 2991 w 10746"/>
                <a:gd name="connsiteY1876" fmla="*/ 4214 h 10000"/>
                <a:gd name="connsiteX1877" fmla="*/ 2991 w 10746"/>
                <a:gd name="connsiteY1877" fmla="*/ 4197 h 10000"/>
                <a:gd name="connsiteX1878" fmla="*/ 2995 w 10746"/>
                <a:gd name="connsiteY1878" fmla="*/ 4171 h 10000"/>
                <a:gd name="connsiteX1879" fmla="*/ 2991 w 10746"/>
                <a:gd name="connsiteY1879" fmla="*/ 4077 h 10000"/>
                <a:gd name="connsiteX1880" fmla="*/ 2995 w 10746"/>
                <a:gd name="connsiteY1880" fmla="*/ 4034 h 10000"/>
                <a:gd name="connsiteX1881" fmla="*/ 3018 w 10746"/>
                <a:gd name="connsiteY1881" fmla="*/ 3983 h 10000"/>
                <a:gd name="connsiteX1882" fmla="*/ 3018 w 10746"/>
                <a:gd name="connsiteY1882" fmla="*/ 3915 h 10000"/>
                <a:gd name="connsiteX1883" fmla="*/ 2949 w 10746"/>
                <a:gd name="connsiteY1883" fmla="*/ 3778 h 10000"/>
                <a:gd name="connsiteX1884" fmla="*/ 2954 w 10746"/>
                <a:gd name="connsiteY1884" fmla="*/ 3675 h 10000"/>
                <a:gd name="connsiteX1885" fmla="*/ 2954 w 10746"/>
                <a:gd name="connsiteY1885" fmla="*/ 3650 h 10000"/>
                <a:gd name="connsiteX1886" fmla="*/ 2963 w 10746"/>
                <a:gd name="connsiteY1886" fmla="*/ 3624 h 10000"/>
                <a:gd name="connsiteX1887" fmla="*/ 2954 w 10746"/>
                <a:gd name="connsiteY1887" fmla="*/ 3564 h 10000"/>
                <a:gd name="connsiteX1888" fmla="*/ 2963 w 10746"/>
                <a:gd name="connsiteY1888" fmla="*/ 3538 h 10000"/>
                <a:gd name="connsiteX1889" fmla="*/ 2963 w 10746"/>
                <a:gd name="connsiteY1889" fmla="*/ 3487 h 10000"/>
                <a:gd name="connsiteX1890" fmla="*/ 2963 w 10746"/>
                <a:gd name="connsiteY1890" fmla="*/ 3479 h 10000"/>
                <a:gd name="connsiteX1891" fmla="*/ 2963 w 10746"/>
                <a:gd name="connsiteY1891" fmla="*/ 3462 h 10000"/>
                <a:gd name="connsiteX1892" fmla="*/ 2954 w 10746"/>
                <a:gd name="connsiteY1892" fmla="*/ 3453 h 10000"/>
                <a:gd name="connsiteX1893" fmla="*/ 2954 w 10746"/>
                <a:gd name="connsiteY1893" fmla="*/ 3444 h 10000"/>
                <a:gd name="connsiteX1894" fmla="*/ 2954 w 10746"/>
                <a:gd name="connsiteY1894" fmla="*/ 3402 h 10000"/>
                <a:gd name="connsiteX1895" fmla="*/ 2954 w 10746"/>
                <a:gd name="connsiteY1895" fmla="*/ 3393 h 10000"/>
                <a:gd name="connsiteX1896" fmla="*/ 2949 w 10746"/>
                <a:gd name="connsiteY1896" fmla="*/ 3376 h 10000"/>
                <a:gd name="connsiteX1897" fmla="*/ 2949 w 10746"/>
                <a:gd name="connsiteY1897" fmla="*/ 3342 h 10000"/>
                <a:gd name="connsiteX1898" fmla="*/ 2949 w 10746"/>
                <a:gd name="connsiteY1898" fmla="*/ 3316 h 10000"/>
                <a:gd name="connsiteX1899" fmla="*/ 2968 w 10746"/>
                <a:gd name="connsiteY1899" fmla="*/ 3291 h 10000"/>
                <a:gd name="connsiteX1900" fmla="*/ 2963 w 10746"/>
                <a:gd name="connsiteY1900" fmla="*/ 3205 h 10000"/>
                <a:gd name="connsiteX1901" fmla="*/ 2968 w 10746"/>
                <a:gd name="connsiteY1901" fmla="*/ 3171 h 10000"/>
                <a:gd name="connsiteX1902" fmla="*/ 2968 w 10746"/>
                <a:gd name="connsiteY1902" fmla="*/ 3128 h 10000"/>
                <a:gd name="connsiteX1903" fmla="*/ 2954 w 10746"/>
                <a:gd name="connsiteY1903" fmla="*/ 3051 h 10000"/>
                <a:gd name="connsiteX1904" fmla="*/ 2954 w 10746"/>
                <a:gd name="connsiteY1904" fmla="*/ 3009 h 10000"/>
                <a:gd name="connsiteX1905" fmla="*/ 2922 w 10746"/>
                <a:gd name="connsiteY1905" fmla="*/ 2940 h 10000"/>
                <a:gd name="connsiteX1906" fmla="*/ 2903 w 10746"/>
                <a:gd name="connsiteY1906" fmla="*/ 2880 h 10000"/>
                <a:gd name="connsiteX1907" fmla="*/ 2903 w 10746"/>
                <a:gd name="connsiteY1907" fmla="*/ 2855 h 10000"/>
                <a:gd name="connsiteX1908" fmla="*/ 2908 w 10746"/>
                <a:gd name="connsiteY1908" fmla="*/ 2846 h 10000"/>
                <a:gd name="connsiteX1909" fmla="*/ 2931 w 10746"/>
                <a:gd name="connsiteY1909" fmla="*/ 2821 h 10000"/>
                <a:gd name="connsiteX1910" fmla="*/ 2931 w 10746"/>
                <a:gd name="connsiteY1910" fmla="*/ 2803 h 10000"/>
                <a:gd name="connsiteX1911" fmla="*/ 2935 w 10746"/>
                <a:gd name="connsiteY1911" fmla="*/ 2786 h 10000"/>
                <a:gd name="connsiteX1912" fmla="*/ 2935 w 10746"/>
                <a:gd name="connsiteY1912" fmla="*/ 2744 h 10000"/>
                <a:gd name="connsiteX1913" fmla="*/ 2963 w 10746"/>
                <a:gd name="connsiteY1913" fmla="*/ 2607 h 10000"/>
                <a:gd name="connsiteX1914" fmla="*/ 2963 w 10746"/>
                <a:gd name="connsiteY1914" fmla="*/ 2419 h 10000"/>
                <a:gd name="connsiteX1915" fmla="*/ 2954 w 10746"/>
                <a:gd name="connsiteY1915" fmla="*/ 2410 h 10000"/>
                <a:gd name="connsiteX1916" fmla="*/ 2963 w 10746"/>
                <a:gd name="connsiteY1916" fmla="*/ 2393 h 10000"/>
                <a:gd name="connsiteX1917" fmla="*/ 2908 w 10746"/>
                <a:gd name="connsiteY1917" fmla="*/ 2359 h 10000"/>
                <a:gd name="connsiteX1918" fmla="*/ 2889 w 10746"/>
                <a:gd name="connsiteY1918" fmla="*/ 2325 h 10000"/>
                <a:gd name="connsiteX1919" fmla="*/ 2788 w 10746"/>
                <a:gd name="connsiteY1919" fmla="*/ 2333 h 10000"/>
                <a:gd name="connsiteX1920" fmla="*/ 2774 w 10746"/>
                <a:gd name="connsiteY1920" fmla="*/ 2325 h 10000"/>
                <a:gd name="connsiteX1921" fmla="*/ 2783 w 10746"/>
                <a:gd name="connsiteY1921" fmla="*/ 2308 h 10000"/>
                <a:gd name="connsiteX1922" fmla="*/ 2747 w 10746"/>
                <a:gd name="connsiteY1922" fmla="*/ 2308 h 10000"/>
                <a:gd name="connsiteX1923" fmla="*/ 2742 w 10746"/>
                <a:gd name="connsiteY1923" fmla="*/ 2333 h 10000"/>
                <a:gd name="connsiteX1924" fmla="*/ 2682 w 10746"/>
                <a:gd name="connsiteY1924" fmla="*/ 2769 h 10000"/>
                <a:gd name="connsiteX1925" fmla="*/ 2613 w 10746"/>
                <a:gd name="connsiteY1925" fmla="*/ 2940 h 10000"/>
                <a:gd name="connsiteX1926" fmla="*/ 2581 w 10746"/>
                <a:gd name="connsiteY1926" fmla="*/ 2966 h 10000"/>
                <a:gd name="connsiteX1927" fmla="*/ 2576 w 10746"/>
                <a:gd name="connsiteY1927" fmla="*/ 3051 h 10000"/>
                <a:gd name="connsiteX1928" fmla="*/ 2581 w 10746"/>
                <a:gd name="connsiteY1928" fmla="*/ 3051 h 10000"/>
                <a:gd name="connsiteX1929" fmla="*/ 2594 w 10746"/>
                <a:gd name="connsiteY1929" fmla="*/ 3017 h 10000"/>
                <a:gd name="connsiteX1930" fmla="*/ 2594 w 10746"/>
                <a:gd name="connsiteY1930" fmla="*/ 3034 h 10000"/>
                <a:gd name="connsiteX1931" fmla="*/ 2594 w 10746"/>
                <a:gd name="connsiteY1931" fmla="*/ 3051 h 10000"/>
                <a:gd name="connsiteX1932" fmla="*/ 2590 w 10746"/>
                <a:gd name="connsiteY1932" fmla="*/ 3077 h 10000"/>
                <a:gd name="connsiteX1933" fmla="*/ 2567 w 10746"/>
                <a:gd name="connsiteY1933" fmla="*/ 3103 h 10000"/>
                <a:gd name="connsiteX1934" fmla="*/ 2562 w 10746"/>
                <a:gd name="connsiteY1934" fmla="*/ 3145 h 10000"/>
                <a:gd name="connsiteX1935" fmla="*/ 2567 w 10746"/>
                <a:gd name="connsiteY1935" fmla="*/ 3179 h 10000"/>
                <a:gd name="connsiteX1936" fmla="*/ 2590 w 10746"/>
                <a:gd name="connsiteY1936" fmla="*/ 3171 h 10000"/>
                <a:gd name="connsiteX1937" fmla="*/ 2594 w 10746"/>
                <a:gd name="connsiteY1937" fmla="*/ 3145 h 10000"/>
                <a:gd name="connsiteX1938" fmla="*/ 2613 w 10746"/>
                <a:gd name="connsiteY1938" fmla="*/ 3154 h 10000"/>
                <a:gd name="connsiteX1939" fmla="*/ 2622 w 10746"/>
                <a:gd name="connsiteY1939" fmla="*/ 3179 h 10000"/>
                <a:gd name="connsiteX1940" fmla="*/ 2613 w 10746"/>
                <a:gd name="connsiteY1940" fmla="*/ 3214 h 10000"/>
                <a:gd name="connsiteX1941" fmla="*/ 2613 w 10746"/>
                <a:gd name="connsiteY1941" fmla="*/ 3308 h 10000"/>
                <a:gd name="connsiteX1942" fmla="*/ 2608 w 10746"/>
                <a:gd name="connsiteY1942" fmla="*/ 3325 h 10000"/>
                <a:gd name="connsiteX1943" fmla="*/ 2608 w 10746"/>
                <a:gd name="connsiteY1943" fmla="*/ 3376 h 10000"/>
                <a:gd name="connsiteX1944" fmla="*/ 2613 w 10746"/>
                <a:gd name="connsiteY1944" fmla="*/ 3419 h 10000"/>
                <a:gd name="connsiteX1945" fmla="*/ 2608 w 10746"/>
                <a:gd name="connsiteY1945" fmla="*/ 3444 h 10000"/>
                <a:gd name="connsiteX1946" fmla="*/ 2594 w 10746"/>
                <a:gd name="connsiteY1946" fmla="*/ 3444 h 10000"/>
                <a:gd name="connsiteX1947" fmla="*/ 2590 w 10746"/>
                <a:gd name="connsiteY1947" fmla="*/ 3427 h 10000"/>
                <a:gd name="connsiteX1948" fmla="*/ 2581 w 10746"/>
                <a:gd name="connsiteY1948" fmla="*/ 3564 h 10000"/>
                <a:gd name="connsiteX1949" fmla="*/ 2594 w 10746"/>
                <a:gd name="connsiteY1949" fmla="*/ 3598 h 10000"/>
                <a:gd name="connsiteX1950" fmla="*/ 2594 w 10746"/>
                <a:gd name="connsiteY1950" fmla="*/ 3581 h 10000"/>
                <a:gd name="connsiteX1951" fmla="*/ 2608 w 10746"/>
                <a:gd name="connsiteY1951" fmla="*/ 3556 h 10000"/>
                <a:gd name="connsiteX1952" fmla="*/ 2650 w 10746"/>
                <a:gd name="connsiteY1952" fmla="*/ 3615 h 10000"/>
                <a:gd name="connsiteX1953" fmla="*/ 2664 w 10746"/>
                <a:gd name="connsiteY1953" fmla="*/ 3615 h 10000"/>
                <a:gd name="connsiteX1954" fmla="*/ 2668 w 10746"/>
                <a:gd name="connsiteY1954" fmla="*/ 3615 h 10000"/>
                <a:gd name="connsiteX1955" fmla="*/ 2664 w 10746"/>
                <a:gd name="connsiteY1955" fmla="*/ 3667 h 10000"/>
                <a:gd name="connsiteX1956" fmla="*/ 2687 w 10746"/>
                <a:gd name="connsiteY1956" fmla="*/ 3786 h 10000"/>
                <a:gd name="connsiteX1957" fmla="*/ 2710 w 10746"/>
                <a:gd name="connsiteY1957" fmla="*/ 3812 h 10000"/>
                <a:gd name="connsiteX1958" fmla="*/ 2724 w 10746"/>
                <a:gd name="connsiteY1958" fmla="*/ 3812 h 10000"/>
                <a:gd name="connsiteX1959" fmla="*/ 2724 w 10746"/>
                <a:gd name="connsiteY1959" fmla="*/ 3829 h 10000"/>
                <a:gd name="connsiteX1960" fmla="*/ 2737 w 10746"/>
                <a:gd name="connsiteY1960" fmla="*/ 3838 h 10000"/>
                <a:gd name="connsiteX1961" fmla="*/ 2714 w 10746"/>
                <a:gd name="connsiteY1961" fmla="*/ 3872 h 10000"/>
                <a:gd name="connsiteX1962" fmla="*/ 2696 w 10746"/>
                <a:gd name="connsiteY1962" fmla="*/ 4026 h 10000"/>
                <a:gd name="connsiteX1963" fmla="*/ 2673 w 10746"/>
                <a:gd name="connsiteY1963" fmla="*/ 4051 h 10000"/>
                <a:gd name="connsiteX1964" fmla="*/ 2668 w 10746"/>
                <a:gd name="connsiteY1964" fmla="*/ 4034 h 10000"/>
                <a:gd name="connsiteX1965" fmla="*/ 2673 w 10746"/>
                <a:gd name="connsiteY1965" fmla="*/ 4000 h 10000"/>
                <a:gd name="connsiteX1966" fmla="*/ 2664 w 10746"/>
                <a:gd name="connsiteY1966" fmla="*/ 3974 h 10000"/>
                <a:gd name="connsiteX1967" fmla="*/ 2636 w 10746"/>
                <a:gd name="connsiteY1967" fmla="*/ 3949 h 10000"/>
                <a:gd name="connsiteX1968" fmla="*/ 2581 w 10746"/>
                <a:gd name="connsiteY1968" fmla="*/ 3838 h 10000"/>
                <a:gd name="connsiteX1969" fmla="*/ 2562 w 10746"/>
                <a:gd name="connsiteY1969" fmla="*/ 3829 h 10000"/>
                <a:gd name="connsiteX1970" fmla="*/ 2535 w 10746"/>
                <a:gd name="connsiteY1970" fmla="*/ 3778 h 10000"/>
                <a:gd name="connsiteX1971" fmla="*/ 2502 w 10746"/>
                <a:gd name="connsiteY1971" fmla="*/ 3761 h 10000"/>
                <a:gd name="connsiteX1972" fmla="*/ 2502 w 10746"/>
                <a:gd name="connsiteY1972" fmla="*/ 3735 h 10000"/>
                <a:gd name="connsiteX1973" fmla="*/ 2516 w 10746"/>
                <a:gd name="connsiteY1973" fmla="*/ 3735 h 10000"/>
                <a:gd name="connsiteX1974" fmla="*/ 2507 w 10746"/>
                <a:gd name="connsiteY1974" fmla="*/ 3726 h 10000"/>
                <a:gd name="connsiteX1975" fmla="*/ 2488 w 10746"/>
                <a:gd name="connsiteY1975" fmla="*/ 3726 h 10000"/>
                <a:gd name="connsiteX1976" fmla="*/ 2461 w 10746"/>
                <a:gd name="connsiteY1976" fmla="*/ 3692 h 10000"/>
                <a:gd name="connsiteX1977" fmla="*/ 2442 w 10746"/>
                <a:gd name="connsiteY1977" fmla="*/ 3675 h 10000"/>
                <a:gd name="connsiteX1978" fmla="*/ 2406 w 10746"/>
                <a:gd name="connsiteY1978" fmla="*/ 3598 h 10000"/>
                <a:gd name="connsiteX1979" fmla="*/ 2346 w 10746"/>
                <a:gd name="connsiteY1979" fmla="*/ 3564 h 10000"/>
                <a:gd name="connsiteX1980" fmla="*/ 2341 w 10746"/>
                <a:gd name="connsiteY1980" fmla="*/ 3564 h 10000"/>
                <a:gd name="connsiteX1981" fmla="*/ 2313 w 10746"/>
                <a:gd name="connsiteY1981" fmla="*/ 3530 h 10000"/>
                <a:gd name="connsiteX1982" fmla="*/ 2235 w 10746"/>
                <a:gd name="connsiteY1982" fmla="*/ 3530 h 10000"/>
                <a:gd name="connsiteX1983" fmla="*/ 2226 w 10746"/>
                <a:gd name="connsiteY1983" fmla="*/ 3513 h 10000"/>
                <a:gd name="connsiteX1984" fmla="*/ 2207 w 10746"/>
                <a:gd name="connsiteY1984" fmla="*/ 3504 h 10000"/>
                <a:gd name="connsiteX1985" fmla="*/ 2194 w 10746"/>
                <a:gd name="connsiteY1985" fmla="*/ 3504 h 10000"/>
                <a:gd name="connsiteX1986" fmla="*/ 2189 w 10746"/>
                <a:gd name="connsiteY1986" fmla="*/ 3504 h 10000"/>
                <a:gd name="connsiteX1987" fmla="*/ 2189 w 10746"/>
                <a:gd name="connsiteY1987" fmla="*/ 3530 h 10000"/>
                <a:gd name="connsiteX1988" fmla="*/ 2180 w 10746"/>
                <a:gd name="connsiteY1988" fmla="*/ 3538 h 10000"/>
                <a:gd name="connsiteX1989" fmla="*/ 2152 w 10746"/>
                <a:gd name="connsiteY1989" fmla="*/ 3581 h 10000"/>
                <a:gd name="connsiteX1990" fmla="*/ 2161 w 10746"/>
                <a:gd name="connsiteY1990" fmla="*/ 3598 h 10000"/>
                <a:gd name="connsiteX1991" fmla="*/ 2194 w 10746"/>
                <a:gd name="connsiteY1991" fmla="*/ 3752 h 10000"/>
                <a:gd name="connsiteX1992" fmla="*/ 2194 w 10746"/>
                <a:gd name="connsiteY1992" fmla="*/ 3735 h 10000"/>
                <a:gd name="connsiteX1993" fmla="*/ 2198 w 10746"/>
                <a:gd name="connsiteY1993" fmla="*/ 3735 h 10000"/>
                <a:gd name="connsiteX1994" fmla="*/ 2189 w 10746"/>
                <a:gd name="connsiteY1994" fmla="*/ 3838 h 10000"/>
                <a:gd name="connsiteX1995" fmla="*/ 2166 w 10746"/>
                <a:gd name="connsiteY1995" fmla="*/ 3889 h 10000"/>
                <a:gd name="connsiteX1996" fmla="*/ 2124 w 10746"/>
                <a:gd name="connsiteY1996" fmla="*/ 3889 h 10000"/>
                <a:gd name="connsiteX1997" fmla="*/ 2124 w 10746"/>
                <a:gd name="connsiteY1997" fmla="*/ 3923 h 10000"/>
                <a:gd name="connsiteX1998" fmla="*/ 2134 w 10746"/>
                <a:gd name="connsiteY1998" fmla="*/ 3940 h 10000"/>
                <a:gd name="connsiteX1999" fmla="*/ 2134 w 10746"/>
                <a:gd name="connsiteY1999" fmla="*/ 3966 h 10000"/>
                <a:gd name="connsiteX2000" fmla="*/ 2120 w 10746"/>
                <a:gd name="connsiteY2000" fmla="*/ 4000 h 10000"/>
                <a:gd name="connsiteX2001" fmla="*/ 2106 w 10746"/>
                <a:gd name="connsiteY2001" fmla="*/ 4009 h 10000"/>
                <a:gd name="connsiteX2002" fmla="*/ 2088 w 10746"/>
                <a:gd name="connsiteY2002" fmla="*/ 4000 h 10000"/>
                <a:gd name="connsiteX2003" fmla="*/ 2074 w 10746"/>
                <a:gd name="connsiteY2003" fmla="*/ 3974 h 10000"/>
                <a:gd name="connsiteX2004" fmla="*/ 2074 w 10746"/>
                <a:gd name="connsiteY2004" fmla="*/ 3940 h 10000"/>
                <a:gd name="connsiteX2005" fmla="*/ 2078 w 10746"/>
                <a:gd name="connsiteY2005" fmla="*/ 3915 h 10000"/>
                <a:gd name="connsiteX2006" fmla="*/ 2088 w 10746"/>
                <a:gd name="connsiteY2006" fmla="*/ 3889 h 10000"/>
                <a:gd name="connsiteX2007" fmla="*/ 2101 w 10746"/>
                <a:gd name="connsiteY2007" fmla="*/ 3872 h 10000"/>
                <a:gd name="connsiteX2008" fmla="*/ 2074 w 10746"/>
                <a:gd name="connsiteY2008" fmla="*/ 3812 h 10000"/>
                <a:gd name="connsiteX2009" fmla="*/ 2074 w 10746"/>
                <a:gd name="connsiteY2009" fmla="*/ 3786 h 10000"/>
                <a:gd name="connsiteX2010" fmla="*/ 2060 w 10746"/>
                <a:gd name="connsiteY2010" fmla="*/ 3786 h 10000"/>
                <a:gd name="connsiteX2011" fmla="*/ 2014 w 10746"/>
                <a:gd name="connsiteY2011" fmla="*/ 3829 h 10000"/>
                <a:gd name="connsiteX2012" fmla="*/ 2000 w 10746"/>
                <a:gd name="connsiteY2012" fmla="*/ 3863 h 10000"/>
                <a:gd name="connsiteX2013" fmla="*/ 1986 w 10746"/>
                <a:gd name="connsiteY2013" fmla="*/ 3872 h 10000"/>
                <a:gd name="connsiteX2014" fmla="*/ 1959 w 10746"/>
                <a:gd name="connsiteY2014" fmla="*/ 3940 h 10000"/>
                <a:gd name="connsiteX2015" fmla="*/ 1945 w 10746"/>
                <a:gd name="connsiteY2015" fmla="*/ 3949 h 10000"/>
                <a:gd name="connsiteX2016" fmla="*/ 1940 w 10746"/>
                <a:gd name="connsiteY2016" fmla="*/ 3923 h 10000"/>
                <a:gd name="connsiteX2017" fmla="*/ 1917 w 10746"/>
                <a:gd name="connsiteY2017" fmla="*/ 3915 h 10000"/>
                <a:gd name="connsiteX2018" fmla="*/ 1899 w 10746"/>
                <a:gd name="connsiteY2018" fmla="*/ 3923 h 10000"/>
                <a:gd name="connsiteX2019" fmla="*/ 1880 w 10746"/>
                <a:gd name="connsiteY2019" fmla="*/ 3915 h 10000"/>
                <a:gd name="connsiteX2020" fmla="*/ 1853 w 10746"/>
                <a:gd name="connsiteY2020" fmla="*/ 3940 h 10000"/>
                <a:gd name="connsiteX2021" fmla="*/ 1839 w 10746"/>
                <a:gd name="connsiteY2021" fmla="*/ 3940 h 10000"/>
                <a:gd name="connsiteX2022" fmla="*/ 1806 w 10746"/>
                <a:gd name="connsiteY2022" fmla="*/ 3983 h 10000"/>
                <a:gd name="connsiteX2023" fmla="*/ 1806 w 10746"/>
                <a:gd name="connsiteY2023" fmla="*/ 4000 h 10000"/>
                <a:gd name="connsiteX2024" fmla="*/ 1797 w 10746"/>
                <a:gd name="connsiteY2024" fmla="*/ 4077 h 10000"/>
                <a:gd name="connsiteX2025" fmla="*/ 1783 w 10746"/>
                <a:gd name="connsiteY2025" fmla="*/ 4077 h 10000"/>
                <a:gd name="connsiteX2026" fmla="*/ 1779 w 10746"/>
                <a:gd name="connsiteY2026" fmla="*/ 4051 h 10000"/>
                <a:gd name="connsiteX2027" fmla="*/ 1765 w 10746"/>
                <a:gd name="connsiteY2027" fmla="*/ 4026 h 10000"/>
                <a:gd name="connsiteX2028" fmla="*/ 1751 w 10746"/>
                <a:gd name="connsiteY2028" fmla="*/ 4051 h 10000"/>
                <a:gd name="connsiteX2029" fmla="*/ 1737 w 10746"/>
                <a:gd name="connsiteY2029" fmla="*/ 4009 h 10000"/>
                <a:gd name="connsiteX2030" fmla="*/ 1737 w 10746"/>
                <a:gd name="connsiteY2030" fmla="*/ 3966 h 10000"/>
                <a:gd name="connsiteX2031" fmla="*/ 1733 w 10746"/>
                <a:gd name="connsiteY2031" fmla="*/ 3940 h 10000"/>
                <a:gd name="connsiteX2032" fmla="*/ 1733 w 10746"/>
                <a:gd name="connsiteY2032" fmla="*/ 3923 h 10000"/>
                <a:gd name="connsiteX2033" fmla="*/ 1747 w 10746"/>
                <a:gd name="connsiteY2033" fmla="*/ 3889 h 10000"/>
                <a:gd name="connsiteX2034" fmla="*/ 1747 w 10746"/>
                <a:gd name="connsiteY2034" fmla="*/ 3863 h 10000"/>
                <a:gd name="connsiteX2035" fmla="*/ 1737 w 10746"/>
                <a:gd name="connsiteY2035" fmla="*/ 3838 h 10000"/>
                <a:gd name="connsiteX2036" fmla="*/ 1733 w 10746"/>
                <a:gd name="connsiteY2036" fmla="*/ 3829 h 10000"/>
                <a:gd name="connsiteX2037" fmla="*/ 1733 w 10746"/>
                <a:gd name="connsiteY2037" fmla="*/ 3846 h 10000"/>
                <a:gd name="connsiteX2038" fmla="*/ 1724 w 10746"/>
                <a:gd name="connsiteY2038" fmla="*/ 3846 h 10000"/>
                <a:gd name="connsiteX2039" fmla="*/ 1724 w 10746"/>
                <a:gd name="connsiteY2039" fmla="*/ 3829 h 10000"/>
                <a:gd name="connsiteX2040" fmla="*/ 1737 w 10746"/>
                <a:gd name="connsiteY2040" fmla="*/ 3812 h 10000"/>
                <a:gd name="connsiteX2041" fmla="*/ 1765 w 10746"/>
                <a:gd name="connsiteY2041" fmla="*/ 3812 h 10000"/>
                <a:gd name="connsiteX2042" fmla="*/ 1779 w 10746"/>
                <a:gd name="connsiteY2042" fmla="*/ 3786 h 10000"/>
                <a:gd name="connsiteX2043" fmla="*/ 1779 w 10746"/>
                <a:gd name="connsiteY2043" fmla="*/ 3786 h 10000"/>
                <a:gd name="connsiteX2044" fmla="*/ 1751 w 10746"/>
                <a:gd name="connsiteY2044" fmla="*/ 3803 h 10000"/>
                <a:gd name="connsiteX2045" fmla="*/ 1747 w 10746"/>
                <a:gd name="connsiteY2045" fmla="*/ 3803 h 10000"/>
                <a:gd name="connsiteX2046" fmla="*/ 1724 w 10746"/>
                <a:gd name="connsiteY2046" fmla="*/ 3803 h 10000"/>
                <a:gd name="connsiteX2047" fmla="*/ 1700 w 10746"/>
                <a:gd name="connsiteY2047" fmla="*/ 3829 h 10000"/>
                <a:gd name="connsiteX2048" fmla="*/ 1705 w 10746"/>
                <a:gd name="connsiteY2048" fmla="*/ 3846 h 10000"/>
                <a:gd name="connsiteX2049" fmla="*/ 1691 w 10746"/>
                <a:gd name="connsiteY2049" fmla="*/ 3846 h 10000"/>
                <a:gd name="connsiteX2050" fmla="*/ 1691 w 10746"/>
                <a:gd name="connsiteY2050" fmla="*/ 3863 h 10000"/>
                <a:gd name="connsiteX2051" fmla="*/ 1691 w 10746"/>
                <a:gd name="connsiteY2051" fmla="*/ 3915 h 10000"/>
                <a:gd name="connsiteX2052" fmla="*/ 1677 w 10746"/>
                <a:gd name="connsiteY2052" fmla="*/ 3923 h 10000"/>
                <a:gd name="connsiteX2053" fmla="*/ 1673 w 10746"/>
                <a:gd name="connsiteY2053" fmla="*/ 3915 h 10000"/>
                <a:gd name="connsiteX2054" fmla="*/ 1664 w 10746"/>
                <a:gd name="connsiteY2054" fmla="*/ 3889 h 10000"/>
                <a:gd name="connsiteX2055" fmla="*/ 1673 w 10746"/>
                <a:gd name="connsiteY2055" fmla="*/ 3872 h 10000"/>
                <a:gd name="connsiteX2056" fmla="*/ 1664 w 10746"/>
                <a:gd name="connsiteY2056" fmla="*/ 3872 h 10000"/>
                <a:gd name="connsiteX2057" fmla="*/ 1636 w 10746"/>
                <a:gd name="connsiteY2057" fmla="*/ 3923 h 10000"/>
                <a:gd name="connsiteX2058" fmla="*/ 1645 w 10746"/>
                <a:gd name="connsiteY2058" fmla="*/ 3923 h 10000"/>
                <a:gd name="connsiteX2059" fmla="*/ 1650 w 10746"/>
                <a:gd name="connsiteY2059" fmla="*/ 3949 h 10000"/>
                <a:gd name="connsiteX2060" fmla="*/ 1650 w 10746"/>
                <a:gd name="connsiteY2060" fmla="*/ 3983 h 10000"/>
                <a:gd name="connsiteX2061" fmla="*/ 1636 w 10746"/>
                <a:gd name="connsiteY2061" fmla="*/ 4000 h 10000"/>
                <a:gd name="connsiteX2062" fmla="*/ 1631 w 10746"/>
                <a:gd name="connsiteY2062" fmla="*/ 4009 h 10000"/>
                <a:gd name="connsiteX2063" fmla="*/ 1618 w 10746"/>
                <a:gd name="connsiteY2063" fmla="*/ 3949 h 10000"/>
                <a:gd name="connsiteX2064" fmla="*/ 1585 w 10746"/>
                <a:gd name="connsiteY2064" fmla="*/ 3966 h 10000"/>
                <a:gd name="connsiteX2065" fmla="*/ 1590 w 10746"/>
                <a:gd name="connsiteY2065" fmla="*/ 3974 h 10000"/>
                <a:gd name="connsiteX2066" fmla="*/ 1544 w 10746"/>
                <a:gd name="connsiteY2066" fmla="*/ 4009 h 10000"/>
                <a:gd name="connsiteX2067" fmla="*/ 1539 w 10746"/>
                <a:gd name="connsiteY2067" fmla="*/ 4009 h 10000"/>
                <a:gd name="connsiteX2068" fmla="*/ 1410 w 10746"/>
                <a:gd name="connsiteY2068" fmla="*/ 4188 h 10000"/>
                <a:gd name="connsiteX2069" fmla="*/ 1406 w 10746"/>
                <a:gd name="connsiteY2069" fmla="*/ 4171 h 10000"/>
                <a:gd name="connsiteX2070" fmla="*/ 1396 w 10746"/>
                <a:gd name="connsiteY2070" fmla="*/ 4214 h 10000"/>
                <a:gd name="connsiteX2071" fmla="*/ 1406 w 10746"/>
                <a:gd name="connsiteY2071" fmla="*/ 4222 h 10000"/>
                <a:gd name="connsiteX2072" fmla="*/ 1392 w 10746"/>
                <a:gd name="connsiteY2072" fmla="*/ 4239 h 10000"/>
                <a:gd name="connsiteX2073" fmla="*/ 1369 w 10746"/>
                <a:gd name="connsiteY2073" fmla="*/ 4248 h 10000"/>
                <a:gd name="connsiteX2074" fmla="*/ 1355 w 10746"/>
                <a:gd name="connsiteY2074" fmla="*/ 4256 h 10000"/>
                <a:gd name="connsiteX2075" fmla="*/ 1350 w 10746"/>
                <a:gd name="connsiteY2075" fmla="*/ 4248 h 10000"/>
                <a:gd name="connsiteX2076" fmla="*/ 1332 w 10746"/>
                <a:gd name="connsiteY2076" fmla="*/ 4376 h 10000"/>
                <a:gd name="connsiteX2077" fmla="*/ 1332 w 10746"/>
                <a:gd name="connsiteY2077" fmla="*/ 4436 h 10000"/>
                <a:gd name="connsiteX2078" fmla="*/ 1323 w 10746"/>
                <a:gd name="connsiteY2078" fmla="*/ 4462 h 10000"/>
                <a:gd name="connsiteX2079" fmla="*/ 1304 w 10746"/>
                <a:gd name="connsiteY2079" fmla="*/ 4487 h 10000"/>
                <a:gd name="connsiteX2080" fmla="*/ 1290 w 10746"/>
                <a:gd name="connsiteY2080" fmla="*/ 4470 h 10000"/>
                <a:gd name="connsiteX2081" fmla="*/ 1263 w 10746"/>
                <a:gd name="connsiteY2081" fmla="*/ 4496 h 10000"/>
                <a:gd name="connsiteX2082" fmla="*/ 1258 w 10746"/>
                <a:gd name="connsiteY2082" fmla="*/ 4547 h 10000"/>
                <a:gd name="connsiteX2083" fmla="*/ 1249 w 10746"/>
                <a:gd name="connsiteY2083" fmla="*/ 4487 h 10000"/>
                <a:gd name="connsiteX2084" fmla="*/ 1235 w 10746"/>
                <a:gd name="connsiteY2084" fmla="*/ 4496 h 10000"/>
                <a:gd name="connsiteX2085" fmla="*/ 1221 w 10746"/>
                <a:gd name="connsiteY2085" fmla="*/ 4496 h 10000"/>
                <a:gd name="connsiteX2086" fmla="*/ 1217 w 10746"/>
                <a:gd name="connsiteY2086" fmla="*/ 4487 h 10000"/>
                <a:gd name="connsiteX2087" fmla="*/ 1198 w 10746"/>
                <a:gd name="connsiteY2087" fmla="*/ 4410 h 10000"/>
                <a:gd name="connsiteX2088" fmla="*/ 1157 w 10746"/>
                <a:gd name="connsiteY2088" fmla="*/ 4333 h 10000"/>
                <a:gd name="connsiteX2089" fmla="*/ 1147 w 10746"/>
                <a:gd name="connsiteY2089" fmla="*/ 4299 h 10000"/>
                <a:gd name="connsiteX2090" fmla="*/ 1147 w 10746"/>
                <a:gd name="connsiteY2090" fmla="*/ 4274 h 10000"/>
                <a:gd name="connsiteX2091" fmla="*/ 1161 w 10746"/>
                <a:gd name="connsiteY2091" fmla="*/ 4256 h 10000"/>
                <a:gd name="connsiteX2092" fmla="*/ 1171 w 10746"/>
                <a:gd name="connsiteY2092" fmla="*/ 4248 h 10000"/>
                <a:gd name="connsiteX2093" fmla="*/ 1175 w 10746"/>
                <a:gd name="connsiteY2093" fmla="*/ 4214 h 10000"/>
                <a:gd name="connsiteX2094" fmla="*/ 1263 w 10746"/>
                <a:gd name="connsiteY2094" fmla="*/ 4171 h 10000"/>
                <a:gd name="connsiteX2095" fmla="*/ 1249 w 10746"/>
                <a:gd name="connsiteY2095" fmla="*/ 4137 h 10000"/>
                <a:gd name="connsiteX2096" fmla="*/ 1244 w 10746"/>
                <a:gd name="connsiteY2096" fmla="*/ 4060 h 10000"/>
                <a:gd name="connsiteX2097" fmla="*/ 1230 w 10746"/>
                <a:gd name="connsiteY2097" fmla="*/ 4077 h 10000"/>
                <a:gd name="connsiteX2098" fmla="*/ 1221 w 10746"/>
                <a:gd name="connsiteY2098" fmla="*/ 4026 h 10000"/>
                <a:gd name="connsiteX2099" fmla="*/ 1217 w 10746"/>
                <a:gd name="connsiteY2099" fmla="*/ 4026 h 10000"/>
                <a:gd name="connsiteX2100" fmla="*/ 1212 w 10746"/>
                <a:gd name="connsiteY2100" fmla="*/ 3983 h 10000"/>
                <a:gd name="connsiteX2101" fmla="*/ 1203 w 10746"/>
                <a:gd name="connsiteY2101" fmla="*/ 3966 h 10000"/>
                <a:gd name="connsiteX2102" fmla="*/ 1171 w 10746"/>
                <a:gd name="connsiteY2102" fmla="*/ 3949 h 10000"/>
                <a:gd name="connsiteX2103" fmla="*/ 1111 w 10746"/>
                <a:gd name="connsiteY2103" fmla="*/ 3940 h 10000"/>
                <a:gd name="connsiteX2104" fmla="*/ 1097 w 10746"/>
                <a:gd name="connsiteY2104" fmla="*/ 3949 h 10000"/>
                <a:gd name="connsiteX2105" fmla="*/ 1037 w 10746"/>
                <a:gd name="connsiteY2105" fmla="*/ 3897 h 10000"/>
                <a:gd name="connsiteX2106" fmla="*/ 1041 w 10746"/>
                <a:gd name="connsiteY2106" fmla="*/ 3923 h 10000"/>
                <a:gd name="connsiteX2107" fmla="*/ 1097 w 10746"/>
                <a:gd name="connsiteY2107" fmla="*/ 4009 h 10000"/>
                <a:gd name="connsiteX2108" fmla="*/ 1097 w 10746"/>
                <a:gd name="connsiteY2108" fmla="*/ 4120 h 10000"/>
                <a:gd name="connsiteX2109" fmla="*/ 1097 w 10746"/>
                <a:gd name="connsiteY2109" fmla="*/ 4162 h 10000"/>
                <a:gd name="connsiteX2110" fmla="*/ 1097 w 10746"/>
                <a:gd name="connsiteY2110" fmla="*/ 4197 h 10000"/>
                <a:gd name="connsiteX2111" fmla="*/ 1074 w 10746"/>
                <a:gd name="connsiteY2111" fmla="*/ 4333 h 10000"/>
                <a:gd name="connsiteX2112" fmla="*/ 1074 w 10746"/>
                <a:gd name="connsiteY2112" fmla="*/ 4376 h 10000"/>
                <a:gd name="connsiteX2113" fmla="*/ 1083 w 10746"/>
                <a:gd name="connsiteY2113" fmla="*/ 4385 h 10000"/>
                <a:gd name="connsiteX2114" fmla="*/ 1097 w 10746"/>
                <a:gd name="connsiteY2114" fmla="*/ 4385 h 10000"/>
                <a:gd name="connsiteX2115" fmla="*/ 1111 w 10746"/>
                <a:gd name="connsiteY2115" fmla="*/ 4410 h 10000"/>
                <a:gd name="connsiteX2116" fmla="*/ 1124 w 10746"/>
                <a:gd name="connsiteY2116" fmla="*/ 4444 h 10000"/>
                <a:gd name="connsiteX2117" fmla="*/ 1124 w 10746"/>
                <a:gd name="connsiteY2117" fmla="*/ 4470 h 10000"/>
                <a:gd name="connsiteX2118" fmla="*/ 1115 w 10746"/>
                <a:gd name="connsiteY2118" fmla="*/ 4513 h 10000"/>
                <a:gd name="connsiteX2119" fmla="*/ 1115 w 10746"/>
                <a:gd name="connsiteY2119" fmla="*/ 4530 h 10000"/>
                <a:gd name="connsiteX2120" fmla="*/ 1115 w 10746"/>
                <a:gd name="connsiteY2120" fmla="*/ 4573 h 10000"/>
                <a:gd name="connsiteX2121" fmla="*/ 1101 w 10746"/>
                <a:gd name="connsiteY2121" fmla="*/ 4607 h 10000"/>
                <a:gd name="connsiteX2122" fmla="*/ 1097 w 10746"/>
                <a:gd name="connsiteY2122" fmla="*/ 4658 h 10000"/>
                <a:gd name="connsiteX2123" fmla="*/ 1101 w 10746"/>
                <a:gd name="connsiteY2123" fmla="*/ 4692 h 10000"/>
                <a:gd name="connsiteX2124" fmla="*/ 1097 w 10746"/>
                <a:gd name="connsiteY2124" fmla="*/ 4778 h 10000"/>
                <a:gd name="connsiteX2125" fmla="*/ 1083 w 10746"/>
                <a:gd name="connsiteY2125" fmla="*/ 4744 h 10000"/>
                <a:gd name="connsiteX2126" fmla="*/ 1083 w 10746"/>
                <a:gd name="connsiteY2126" fmla="*/ 4718 h 10000"/>
                <a:gd name="connsiteX2127" fmla="*/ 1074 w 10746"/>
                <a:gd name="connsiteY2127" fmla="*/ 4692 h 10000"/>
                <a:gd name="connsiteX2128" fmla="*/ 1065 w 10746"/>
                <a:gd name="connsiteY2128" fmla="*/ 4692 h 10000"/>
                <a:gd name="connsiteX2129" fmla="*/ 1051 w 10746"/>
                <a:gd name="connsiteY2129" fmla="*/ 4718 h 10000"/>
                <a:gd name="connsiteX2130" fmla="*/ 1055 w 10746"/>
                <a:gd name="connsiteY2130" fmla="*/ 4692 h 10000"/>
                <a:gd name="connsiteX2131" fmla="*/ 1055 w 10746"/>
                <a:gd name="connsiteY2131" fmla="*/ 4667 h 10000"/>
                <a:gd name="connsiteX2132" fmla="*/ 1028 w 10746"/>
                <a:gd name="connsiteY2132" fmla="*/ 4624 h 10000"/>
                <a:gd name="connsiteX2133" fmla="*/ 1005 w 10746"/>
                <a:gd name="connsiteY2133" fmla="*/ 4624 h 10000"/>
                <a:gd name="connsiteX2134" fmla="*/ 977 w 10746"/>
                <a:gd name="connsiteY2134" fmla="*/ 4581 h 10000"/>
                <a:gd name="connsiteX2135" fmla="*/ 963 w 10746"/>
                <a:gd name="connsiteY2135" fmla="*/ 4607 h 10000"/>
                <a:gd name="connsiteX2136" fmla="*/ 963 w 10746"/>
                <a:gd name="connsiteY2136" fmla="*/ 4632 h 10000"/>
                <a:gd name="connsiteX2137" fmla="*/ 917 w 10746"/>
                <a:gd name="connsiteY2137" fmla="*/ 4718 h 10000"/>
                <a:gd name="connsiteX2138" fmla="*/ 889 w 10746"/>
                <a:gd name="connsiteY2138" fmla="*/ 4744 h 10000"/>
                <a:gd name="connsiteX2139" fmla="*/ 880 w 10746"/>
                <a:gd name="connsiteY2139" fmla="*/ 4744 h 10000"/>
                <a:gd name="connsiteX2140" fmla="*/ 862 w 10746"/>
                <a:gd name="connsiteY2140" fmla="*/ 4769 h 10000"/>
                <a:gd name="connsiteX2141" fmla="*/ 857 w 10746"/>
                <a:gd name="connsiteY2141" fmla="*/ 4795 h 10000"/>
                <a:gd name="connsiteX2142" fmla="*/ 829 w 10746"/>
                <a:gd name="connsiteY2142" fmla="*/ 4846 h 10000"/>
                <a:gd name="connsiteX2143" fmla="*/ 816 w 10746"/>
                <a:gd name="connsiteY2143" fmla="*/ 4855 h 10000"/>
                <a:gd name="connsiteX2144" fmla="*/ 816 w 10746"/>
                <a:gd name="connsiteY2144" fmla="*/ 4940 h 10000"/>
                <a:gd name="connsiteX2145" fmla="*/ 880 w 10746"/>
                <a:gd name="connsiteY2145" fmla="*/ 5179 h 10000"/>
                <a:gd name="connsiteX2146" fmla="*/ 880 w 10746"/>
                <a:gd name="connsiteY2146" fmla="*/ 5188 h 10000"/>
                <a:gd name="connsiteX2147" fmla="*/ 862 w 10746"/>
                <a:gd name="connsiteY2147" fmla="*/ 5171 h 10000"/>
                <a:gd name="connsiteX2148" fmla="*/ 857 w 10746"/>
                <a:gd name="connsiteY2148" fmla="*/ 5171 h 10000"/>
                <a:gd name="connsiteX2149" fmla="*/ 820 w 10746"/>
                <a:gd name="connsiteY2149" fmla="*/ 5145 h 10000"/>
                <a:gd name="connsiteX2150" fmla="*/ 820 w 10746"/>
                <a:gd name="connsiteY2150" fmla="*/ 5154 h 10000"/>
                <a:gd name="connsiteX2151" fmla="*/ 816 w 10746"/>
                <a:gd name="connsiteY2151" fmla="*/ 5171 h 10000"/>
                <a:gd name="connsiteX2152" fmla="*/ 783 w 10746"/>
                <a:gd name="connsiteY2152" fmla="*/ 5145 h 10000"/>
                <a:gd name="connsiteX2153" fmla="*/ 756 w 10746"/>
                <a:gd name="connsiteY2153" fmla="*/ 5103 h 10000"/>
                <a:gd name="connsiteX2154" fmla="*/ 742 w 10746"/>
                <a:gd name="connsiteY2154" fmla="*/ 5103 h 10000"/>
                <a:gd name="connsiteX2155" fmla="*/ 728 w 10746"/>
                <a:gd name="connsiteY2155" fmla="*/ 5094 h 10000"/>
                <a:gd name="connsiteX2156" fmla="*/ 710 w 10746"/>
                <a:gd name="connsiteY2156" fmla="*/ 5120 h 10000"/>
                <a:gd name="connsiteX2157" fmla="*/ 700 w 10746"/>
                <a:gd name="connsiteY2157" fmla="*/ 5145 h 10000"/>
                <a:gd name="connsiteX2158" fmla="*/ 696 w 10746"/>
                <a:gd name="connsiteY2158" fmla="*/ 5103 h 10000"/>
                <a:gd name="connsiteX2159" fmla="*/ 714 w 10746"/>
                <a:gd name="connsiteY2159" fmla="*/ 5077 h 10000"/>
                <a:gd name="connsiteX2160" fmla="*/ 682 w 10746"/>
                <a:gd name="connsiteY2160" fmla="*/ 5068 h 10000"/>
                <a:gd name="connsiteX2161" fmla="*/ 673 w 10746"/>
                <a:gd name="connsiteY2161" fmla="*/ 5034 h 10000"/>
                <a:gd name="connsiteX2162" fmla="*/ 636 w 10746"/>
                <a:gd name="connsiteY2162" fmla="*/ 4991 h 10000"/>
                <a:gd name="connsiteX2163" fmla="*/ 622 w 10746"/>
                <a:gd name="connsiteY2163" fmla="*/ 4983 h 10000"/>
                <a:gd name="connsiteX2164" fmla="*/ 622 w 10746"/>
                <a:gd name="connsiteY2164" fmla="*/ 5034 h 10000"/>
                <a:gd name="connsiteX2165" fmla="*/ 608 w 10746"/>
                <a:gd name="connsiteY2165" fmla="*/ 5051 h 10000"/>
                <a:gd name="connsiteX2166" fmla="*/ 594 w 10746"/>
                <a:gd name="connsiteY2166" fmla="*/ 5068 h 10000"/>
                <a:gd name="connsiteX2167" fmla="*/ 608 w 10746"/>
                <a:gd name="connsiteY2167" fmla="*/ 5120 h 10000"/>
                <a:gd name="connsiteX2168" fmla="*/ 613 w 10746"/>
                <a:gd name="connsiteY2168" fmla="*/ 5128 h 10000"/>
                <a:gd name="connsiteX2169" fmla="*/ 627 w 10746"/>
                <a:gd name="connsiteY2169" fmla="*/ 5179 h 10000"/>
                <a:gd name="connsiteX2170" fmla="*/ 650 w 10746"/>
                <a:gd name="connsiteY2170" fmla="*/ 5214 h 10000"/>
                <a:gd name="connsiteX2171" fmla="*/ 687 w 10746"/>
                <a:gd name="connsiteY2171" fmla="*/ 5188 h 10000"/>
                <a:gd name="connsiteX2172" fmla="*/ 700 w 10746"/>
                <a:gd name="connsiteY2172" fmla="*/ 5325 h 10000"/>
                <a:gd name="connsiteX2173" fmla="*/ 710 w 10746"/>
                <a:gd name="connsiteY2173" fmla="*/ 5350 h 10000"/>
                <a:gd name="connsiteX2174" fmla="*/ 687 w 10746"/>
                <a:gd name="connsiteY2174" fmla="*/ 5325 h 10000"/>
                <a:gd name="connsiteX2175" fmla="*/ 668 w 10746"/>
                <a:gd name="connsiteY2175" fmla="*/ 5350 h 10000"/>
                <a:gd name="connsiteX2176" fmla="*/ 668 w 10746"/>
                <a:gd name="connsiteY2176" fmla="*/ 5368 h 10000"/>
                <a:gd name="connsiteX2177" fmla="*/ 668 w 10746"/>
                <a:gd name="connsiteY2177" fmla="*/ 5376 h 10000"/>
                <a:gd name="connsiteX2178" fmla="*/ 581 w 10746"/>
                <a:gd name="connsiteY2178" fmla="*/ 5316 h 10000"/>
                <a:gd name="connsiteX2179" fmla="*/ 567 w 10746"/>
                <a:gd name="connsiteY2179" fmla="*/ 5265 h 10000"/>
                <a:gd name="connsiteX2180" fmla="*/ 562 w 10746"/>
                <a:gd name="connsiteY2180" fmla="*/ 5256 h 10000"/>
                <a:gd name="connsiteX2181" fmla="*/ 548 w 10746"/>
                <a:gd name="connsiteY2181" fmla="*/ 5231 h 10000"/>
                <a:gd name="connsiteX2182" fmla="*/ 535 w 10746"/>
                <a:gd name="connsiteY2182" fmla="*/ 5214 h 10000"/>
                <a:gd name="connsiteX2183" fmla="*/ 525 w 10746"/>
                <a:gd name="connsiteY2183" fmla="*/ 5231 h 10000"/>
                <a:gd name="connsiteX2184" fmla="*/ 521 w 10746"/>
                <a:gd name="connsiteY2184" fmla="*/ 5231 h 10000"/>
                <a:gd name="connsiteX2185" fmla="*/ 493 w 10746"/>
                <a:gd name="connsiteY2185" fmla="*/ 5205 h 10000"/>
                <a:gd name="connsiteX2186" fmla="*/ 488 w 10746"/>
                <a:gd name="connsiteY2186" fmla="*/ 5179 h 10000"/>
                <a:gd name="connsiteX2187" fmla="*/ 475 w 10746"/>
                <a:gd name="connsiteY2187" fmla="*/ 5188 h 10000"/>
                <a:gd name="connsiteX2188" fmla="*/ 475 w 10746"/>
                <a:gd name="connsiteY2188" fmla="*/ 5171 h 10000"/>
                <a:gd name="connsiteX2189" fmla="*/ 488 w 10746"/>
                <a:gd name="connsiteY2189" fmla="*/ 5154 h 10000"/>
                <a:gd name="connsiteX2190" fmla="*/ 488 w 10746"/>
                <a:gd name="connsiteY2190" fmla="*/ 5068 h 10000"/>
                <a:gd name="connsiteX2191" fmla="*/ 475 w 10746"/>
                <a:gd name="connsiteY2191" fmla="*/ 5051 h 10000"/>
                <a:gd name="connsiteX2192" fmla="*/ 475 w 10746"/>
                <a:gd name="connsiteY2192" fmla="*/ 5017 h 10000"/>
                <a:gd name="connsiteX2193" fmla="*/ 452 w 10746"/>
                <a:gd name="connsiteY2193" fmla="*/ 4932 h 10000"/>
                <a:gd name="connsiteX2194" fmla="*/ 461 w 10746"/>
                <a:gd name="connsiteY2194" fmla="*/ 4915 h 10000"/>
                <a:gd name="connsiteX2195" fmla="*/ 475 w 10746"/>
                <a:gd name="connsiteY2195" fmla="*/ 4906 h 10000"/>
                <a:gd name="connsiteX2196" fmla="*/ 479 w 10746"/>
                <a:gd name="connsiteY2196" fmla="*/ 4803 h 10000"/>
                <a:gd name="connsiteX2197" fmla="*/ 479 w 10746"/>
                <a:gd name="connsiteY2197" fmla="*/ 4778 h 10000"/>
                <a:gd name="connsiteX2198" fmla="*/ 475 w 10746"/>
                <a:gd name="connsiteY2198" fmla="*/ 4761 h 10000"/>
                <a:gd name="connsiteX2199" fmla="*/ 465 w 10746"/>
                <a:gd name="connsiteY2199" fmla="*/ 4718 h 10000"/>
                <a:gd name="connsiteX2200" fmla="*/ 461 w 10746"/>
                <a:gd name="connsiteY2200" fmla="*/ 4709 h 10000"/>
                <a:gd name="connsiteX2201" fmla="*/ 442 w 10746"/>
                <a:gd name="connsiteY2201" fmla="*/ 4692 h 10000"/>
                <a:gd name="connsiteX2202" fmla="*/ 433 w 10746"/>
                <a:gd name="connsiteY2202" fmla="*/ 4667 h 10000"/>
                <a:gd name="connsiteX2203" fmla="*/ 419 w 10746"/>
                <a:gd name="connsiteY2203" fmla="*/ 4667 h 10000"/>
                <a:gd name="connsiteX2204" fmla="*/ 401 w 10746"/>
                <a:gd name="connsiteY2204" fmla="*/ 4658 h 10000"/>
                <a:gd name="connsiteX2205" fmla="*/ 401 w 10746"/>
                <a:gd name="connsiteY2205" fmla="*/ 4624 h 10000"/>
                <a:gd name="connsiteX2206" fmla="*/ 401 w 10746"/>
                <a:gd name="connsiteY2206" fmla="*/ 4607 h 10000"/>
                <a:gd name="connsiteX2207" fmla="*/ 378 w 10746"/>
                <a:gd name="connsiteY2207" fmla="*/ 4607 h 10000"/>
                <a:gd name="connsiteX2208" fmla="*/ 341 w 10746"/>
                <a:gd name="connsiteY2208" fmla="*/ 4530 h 10000"/>
                <a:gd name="connsiteX2209" fmla="*/ 346 w 10746"/>
                <a:gd name="connsiteY2209" fmla="*/ 4521 h 10000"/>
                <a:gd name="connsiteX2210" fmla="*/ 332 w 10746"/>
                <a:gd name="connsiteY2210" fmla="*/ 4487 h 10000"/>
                <a:gd name="connsiteX2211" fmla="*/ 327 w 10746"/>
                <a:gd name="connsiteY2211" fmla="*/ 4462 h 10000"/>
                <a:gd name="connsiteX2212" fmla="*/ 313 w 10746"/>
                <a:gd name="connsiteY2212" fmla="*/ 4436 h 10000"/>
                <a:gd name="connsiteX2213" fmla="*/ 300 w 10746"/>
                <a:gd name="connsiteY2213" fmla="*/ 4419 h 10000"/>
                <a:gd name="connsiteX2214" fmla="*/ 309 w 10746"/>
                <a:gd name="connsiteY2214" fmla="*/ 4393 h 10000"/>
                <a:gd name="connsiteX2215" fmla="*/ 332 w 10746"/>
                <a:gd name="connsiteY2215" fmla="*/ 4385 h 10000"/>
                <a:gd name="connsiteX2216" fmla="*/ 355 w 10746"/>
                <a:gd name="connsiteY2216" fmla="*/ 4419 h 10000"/>
                <a:gd name="connsiteX2217" fmla="*/ 355 w 10746"/>
                <a:gd name="connsiteY2217" fmla="*/ 4444 h 10000"/>
                <a:gd name="connsiteX2218" fmla="*/ 369 w 10746"/>
                <a:gd name="connsiteY2218" fmla="*/ 4470 h 10000"/>
                <a:gd name="connsiteX2219" fmla="*/ 401 w 10746"/>
                <a:gd name="connsiteY2219" fmla="*/ 4521 h 10000"/>
                <a:gd name="connsiteX2220" fmla="*/ 406 w 10746"/>
                <a:gd name="connsiteY2220" fmla="*/ 4513 h 10000"/>
                <a:gd name="connsiteX2221" fmla="*/ 406 w 10746"/>
                <a:gd name="connsiteY2221" fmla="*/ 4496 h 10000"/>
                <a:gd name="connsiteX2222" fmla="*/ 419 w 10746"/>
                <a:gd name="connsiteY2222" fmla="*/ 4521 h 10000"/>
                <a:gd name="connsiteX2223" fmla="*/ 429 w 10746"/>
                <a:gd name="connsiteY2223" fmla="*/ 4530 h 10000"/>
                <a:gd name="connsiteX2224" fmla="*/ 433 w 10746"/>
                <a:gd name="connsiteY2224" fmla="*/ 4521 h 10000"/>
                <a:gd name="connsiteX2225" fmla="*/ 442 w 10746"/>
                <a:gd name="connsiteY2225" fmla="*/ 4530 h 10000"/>
                <a:gd name="connsiteX2226" fmla="*/ 447 w 10746"/>
                <a:gd name="connsiteY2226" fmla="*/ 4521 h 10000"/>
                <a:gd name="connsiteX2227" fmla="*/ 452 w 10746"/>
                <a:gd name="connsiteY2227" fmla="*/ 4521 h 10000"/>
                <a:gd name="connsiteX2228" fmla="*/ 461 w 10746"/>
                <a:gd name="connsiteY2228" fmla="*/ 4573 h 10000"/>
                <a:gd name="connsiteX2229" fmla="*/ 479 w 10746"/>
                <a:gd name="connsiteY2229" fmla="*/ 4556 h 10000"/>
                <a:gd name="connsiteX2230" fmla="*/ 502 w 10746"/>
                <a:gd name="connsiteY2230" fmla="*/ 4573 h 10000"/>
                <a:gd name="connsiteX2231" fmla="*/ 507 w 10746"/>
                <a:gd name="connsiteY2231" fmla="*/ 4598 h 10000"/>
                <a:gd name="connsiteX2232" fmla="*/ 525 w 10746"/>
                <a:gd name="connsiteY2232" fmla="*/ 4598 h 10000"/>
                <a:gd name="connsiteX2233" fmla="*/ 535 w 10746"/>
                <a:gd name="connsiteY2233" fmla="*/ 4624 h 10000"/>
                <a:gd name="connsiteX2234" fmla="*/ 594 w 10746"/>
                <a:gd name="connsiteY2234" fmla="*/ 4658 h 10000"/>
                <a:gd name="connsiteX2235" fmla="*/ 627 w 10746"/>
                <a:gd name="connsiteY2235" fmla="*/ 4658 h 10000"/>
                <a:gd name="connsiteX2236" fmla="*/ 654 w 10746"/>
                <a:gd name="connsiteY2236" fmla="*/ 4684 h 10000"/>
                <a:gd name="connsiteX2237" fmla="*/ 668 w 10746"/>
                <a:gd name="connsiteY2237" fmla="*/ 4709 h 10000"/>
                <a:gd name="connsiteX2238" fmla="*/ 747 w 10746"/>
                <a:gd name="connsiteY2238" fmla="*/ 4718 h 10000"/>
                <a:gd name="connsiteX2239" fmla="*/ 760 w 10746"/>
                <a:gd name="connsiteY2239" fmla="*/ 4709 h 10000"/>
                <a:gd name="connsiteX2240" fmla="*/ 774 w 10746"/>
                <a:gd name="connsiteY2240" fmla="*/ 4692 h 10000"/>
                <a:gd name="connsiteX2241" fmla="*/ 829 w 10746"/>
                <a:gd name="connsiteY2241" fmla="*/ 4658 h 10000"/>
                <a:gd name="connsiteX2242" fmla="*/ 903 w 10746"/>
                <a:gd name="connsiteY2242" fmla="*/ 4496 h 10000"/>
                <a:gd name="connsiteX2243" fmla="*/ 917 w 10746"/>
                <a:gd name="connsiteY2243" fmla="*/ 4385 h 10000"/>
                <a:gd name="connsiteX2244" fmla="*/ 903 w 10746"/>
                <a:gd name="connsiteY2244" fmla="*/ 4376 h 10000"/>
                <a:gd name="connsiteX2245" fmla="*/ 903 w 10746"/>
                <a:gd name="connsiteY2245" fmla="*/ 4376 h 10000"/>
                <a:gd name="connsiteX2246" fmla="*/ 889 w 10746"/>
                <a:gd name="connsiteY2246" fmla="*/ 4239 h 10000"/>
                <a:gd name="connsiteX2247" fmla="*/ 880 w 10746"/>
                <a:gd name="connsiteY2247" fmla="*/ 4214 h 10000"/>
                <a:gd name="connsiteX2248" fmla="*/ 862 w 10746"/>
                <a:gd name="connsiteY2248" fmla="*/ 4188 h 10000"/>
                <a:gd name="connsiteX2249" fmla="*/ 857 w 10746"/>
                <a:gd name="connsiteY2249" fmla="*/ 4197 h 10000"/>
                <a:gd name="connsiteX2250" fmla="*/ 848 w 10746"/>
                <a:gd name="connsiteY2250" fmla="*/ 4188 h 10000"/>
                <a:gd name="connsiteX2251" fmla="*/ 848 w 10746"/>
                <a:gd name="connsiteY2251" fmla="*/ 4162 h 10000"/>
                <a:gd name="connsiteX2252" fmla="*/ 829 w 10746"/>
                <a:gd name="connsiteY2252" fmla="*/ 4120 h 10000"/>
                <a:gd name="connsiteX2253" fmla="*/ 820 w 10746"/>
                <a:gd name="connsiteY2253" fmla="*/ 4103 h 10000"/>
                <a:gd name="connsiteX2254" fmla="*/ 806 w 10746"/>
                <a:gd name="connsiteY2254" fmla="*/ 4077 h 10000"/>
                <a:gd name="connsiteX2255" fmla="*/ 816 w 10746"/>
                <a:gd name="connsiteY2255" fmla="*/ 4111 h 10000"/>
                <a:gd name="connsiteX2256" fmla="*/ 802 w 10746"/>
                <a:gd name="connsiteY2256" fmla="*/ 4111 h 10000"/>
                <a:gd name="connsiteX2257" fmla="*/ 770 w 10746"/>
                <a:gd name="connsiteY2257" fmla="*/ 4060 h 10000"/>
                <a:gd name="connsiteX2258" fmla="*/ 760 w 10746"/>
                <a:gd name="connsiteY2258" fmla="*/ 4077 h 10000"/>
                <a:gd name="connsiteX2259" fmla="*/ 760 w 10746"/>
                <a:gd name="connsiteY2259" fmla="*/ 4060 h 10000"/>
                <a:gd name="connsiteX2260" fmla="*/ 756 w 10746"/>
                <a:gd name="connsiteY2260" fmla="*/ 4034 h 10000"/>
                <a:gd name="connsiteX2261" fmla="*/ 742 w 10746"/>
                <a:gd name="connsiteY2261" fmla="*/ 4000 h 10000"/>
                <a:gd name="connsiteX2262" fmla="*/ 747 w 10746"/>
                <a:gd name="connsiteY2262" fmla="*/ 4034 h 10000"/>
                <a:gd name="connsiteX2263" fmla="*/ 724 w 10746"/>
                <a:gd name="connsiteY2263" fmla="*/ 4026 h 10000"/>
                <a:gd name="connsiteX2264" fmla="*/ 714 w 10746"/>
                <a:gd name="connsiteY2264" fmla="*/ 4000 h 10000"/>
                <a:gd name="connsiteX2265" fmla="*/ 714 w 10746"/>
                <a:gd name="connsiteY2265" fmla="*/ 3983 h 10000"/>
                <a:gd name="connsiteX2266" fmla="*/ 553 w 10746"/>
                <a:gd name="connsiteY2266" fmla="*/ 3726 h 10000"/>
                <a:gd name="connsiteX2267" fmla="*/ 507 w 10746"/>
                <a:gd name="connsiteY2267" fmla="*/ 3718 h 10000"/>
                <a:gd name="connsiteX2268" fmla="*/ 516 w 10746"/>
                <a:gd name="connsiteY2268" fmla="*/ 3726 h 10000"/>
                <a:gd name="connsiteX2269" fmla="*/ 507 w 10746"/>
                <a:gd name="connsiteY2269" fmla="*/ 3735 h 10000"/>
                <a:gd name="connsiteX2270" fmla="*/ 502 w 10746"/>
                <a:gd name="connsiteY2270" fmla="*/ 3735 h 10000"/>
                <a:gd name="connsiteX2271" fmla="*/ 419 w 10746"/>
                <a:gd name="connsiteY2271" fmla="*/ 3675 h 10000"/>
                <a:gd name="connsiteX2272" fmla="*/ 419 w 10746"/>
                <a:gd name="connsiteY2272" fmla="*/ 3692 h 10000"/>
                <a:gd name="connsiteX2273" fmla="*/ 401 w 10746"/>
                <a:gd name="connsiteY2273" fmla="*/ 3701 h 10000"/>
                <a:gd name="connsiteX2274" fmla="*/ 387 w 10746"/>
                <a:gd name="connsiteY2274" fmla="*/ 3718 h 10000"/>
                <a:gd name="connsiteX2275" fmla="*/ 387 w 10746"/>
                <a:gd name="connsiteY2275" fmla="*/ 3692 h 10000"/>
                <a:gd name="connsiteX2276" fmla="*/ 378 w 10746"/>
                <a:gd name="connsiteY2276" fmla="*/ 3675 h 10000"/>
                <a:gd name="connsiteX2277" fmla="*/ 378 w 10746"/>
                <a:gd name="connsiteY2277" fmla="*/ 3650 h 10000"/>
                <a:gd name="connsiteX2278" fmla="*/ 378 w 10746"/>
                <a:gd name="connsiteY2278" fmla="*/ 3650 h 10000"/>
                <a:gd name="connsiteX2279" fmla="*/ 355 w 10746"/>
                <a:gd name="connsiteY2279" fmla="*/ 3675 h 10000"/>
                <a:gd name="connsiteX2280" fmla="*/ 359 w 10746"/>
                <a:gd name="connsiteY2280" fmla="*/ 3641 h 10000"/>
                <a:gd name="connsiteX2281" fmla="*/ 346 w 10746"/>
                <a:gd name="connsiteY2281" fmla="*/ 3650 h 10000"/>
                <a:gd name="connsiteX2282" fmla="*/ 355 w 10746"/>
                <a:gd name="connsiteY2282" fmla="*/ 3624 h 10000"/>
                <a:gd name="connsiteX2283" fmla="*/ 346 w 10746"/>
                <a:gd name="connsiteY2283" fmla="*/ 3624 h 10000"/>
                <a:gd name="connsiteX2284" fmla="*/ 341 w 10746"/>
                <a:gd name="connsiteY2284" fmla="*/ 3624 h 10000"/>
                <a:gd name="connsiteX2285" fmla="*/ 318 w 10746"/>
                <a:gd name="connsiteY2285" fmla="*/ 3641 h 10000"/>
                <a:gd name="connsiteX2286" fmla="*/ 327 w 10746"/>
                <a:gd name="connsiteY2286" fmla="*/ 3624 h 10000"/>
                <a:gd name="connsiteX2287" fmla="*/ 318 w 10746"/>
                <a:gd name="connsiteY2287" fmla="*/ 3615 h 10000"/>
                <a:gd name="connsiteX2288" fmla="*/ 318 w 10746"/>
                <a:gd name="connsiteY2288" fmla="*/ 3598 h 10000"/>
                <a:gd name="connsiteX2289" fmla="*/ 300 w 10746"/>
                <a:gd name="connsiteY2289" fmla="*/ 3598 h 10000"/>
                <a:gd name="connsiteX2290" fmla="*/ 309 w 10746"/>
                <a:gd name="connsiteY2290" fmla="*/ 3538 h 10000"/>
                <a:gd name="connsiteX2291" fmla="*/ 313 w 10746"/>
                <a:gd name="connsiteY2291" fmla="*/ 3564 h 10000"/>
                <a:gd name="connsiteX2292" fmla="*/ 318 w 10746"/>
                <a:gd name="connsiteY2292" fmla="*/ 3581 h 10000"/>
                <a:gd name="connsiteX2293" fmla="*/ 327 w 10746"/>
                <a:gd name="connsiteY2293" fmla="*/ 3564 h 10000"/>
                <a:gd name="connsiteX2294" fmla="*/ 332 w 10746"/>
                <a:gd name="connsiteY2294" fmla="*/ 3590 h 10000"/>
                <a:gd name="connsiteX2295" fmla="*/ 346 w 10746"/>
                <a:gd name="connsiteY2295" fmla="*/ 3590 h 10000"/>
                <a:gd name="connsiteX2296" fmla="*/ 355 w 10746"/>
                <a:gd name="connsiteY2296" fmla="*/ 3590 h 10000"/>
                <a:gd name="connsiteX2297" fmla="*/ 369 w 10746"/>
                <a:gd name="connsiteY2297" fmla="*/ 3556 h 10000"/>
                <a:gd name="connsiteX2298" fmla="*/ 369 w 10746"/>
                <a:gd name="connsiteY2298" fmla="*/ 3538 h 10000"/>
                <a:gd name="connsiteX2299" fmla="*/ 346 w 10746"/>
                <a:gd name="connsiteY2299" fmla="*/ 3513 h 10000"/>
                <a:gd name="connsiteX2300" fmla="*/ 341 w 10746"/>
                <a:gd name="connsiteY2300" fmla="*/ 3530 h 10000"/>
                <a:gd name="connsiteX2301" fmla="*/ 327 w 10746"/>
                <a:gd name="connsiteY2301" fmla="*/ 3513 h 10000"/>
                <a:gd name="connsiteX2302" fmla="*/ 327 w 10746"/>
                <a:gd name="connsiteY2302" fmla="*/ 3504 h 10000"/>
                <a:gd name="connsiteX2303" fmla="*/ 295 w 10746"/>
                <a:gd name="connsiteY2303" fmla="*/ 3462 h 10000"/>
                <a:gd name="connsiteX2304" fmla="*/ 300 w 10746"/>
                <a:gd name="connsiteY2304" fmla="*/ 3479 h 10000"/>
                <a:gd name="connsiteX2305" fmla="*/ 295 w 10746"/>
                <a:gd name="connsiteY2305" fmla="*/ 3513 h 10000"/>
                <a:gd name="connsiteX2306" fmla="*/ 286 w 10746"/>
                <a:gd name="connsiteY2306" fmla="*/ 3513 h 10000"/>
                <a:gd name="connsiteX2307" fmla="*/ 281 w 10746"/>
                <a:gd name="connsiteY2307" fmla="*/ 3513 h 10000"/>
                <a:gd name="connsiteX2308" fmla="*/ 281 w 10746"/>
                <a:gd name="connsiteY2308" fmla="*/ 3530 h 10000"/>
                <a:gd name="connsiteX2309" fmla="*/ 281 w 10746"/>
                <a:gd name="connsiteY2309" fmla="*/ 3556 h 10000"/>
                <a:gd name="connsiteX2310" fmla="*/ 272 w 10746"/>
                <a:gd name="connsiteY2310" fmla="*/ 3564 h 10000"/>
                <a:gd name="connsiteX2311" fmla="*/ 267 w 10746"/>
                <a:gd name="connsiteY2311" fmla="*/ 3564 h 10000"/>
                <a:gd name="connsiteX2312" fmla="*/ 253 w 10746"/>
                <a:gd name="connsiteY2312" fmla="*/ 3538 h 10000"/>
                <a:gd name="connsiteX2313" fmla="*/ 226 w 10746"/>
                <a:gd name="connsiteY2313" fmla="*/ 3513 h 10000"/>
                <a:gd name="connsiteX2314" fmla="*/ 226 w 10746"/>
                <a:gd name="connsiteY2314" fmla="*/ 3530 h 10000"/>
                <a:gd name="connsiteX2315" fmla="*/ 226 w 10746"/>
                <a:gd name="connsiteY2315" fmla="*/ 3530 h 10000"/>
                <a:gd name="connsiteX2316" fmla="*/ 226 w 10746"/>
                <a:gd name="connsiteY2316" fmla="*/ 3530 h 10000"/>
                <a:gd name="connsiteX2317" fmla="*/ 226 w 10746"/>
                <a:gd name="connsiteY2317" fmla="*/ 3556 h 10000"/>
                <a:gd name="connsiteX2318" fmla="*/ 221 w 10746"/>
                <a:gd name="connsiteY2318" fmla="*/ 3598 h 10000"/>
                <a:gd name="connsiteX2319" fmla="*/ 207 w 10746"/>
                <a:gd name="connsiteY2319" fmla="*/ 3598 h 10000"/>
                <a:gd name="connsiteX2320" fmla="*/ 180 w 10746"/>
                <a:gd name="connsiteY2320" fmla="*/ 3581 h 10000"/>
                <a:gd name="connsiteX2321" fmla="*/ 171 w 10746"/>
                <a:gd name="connsiteY2321" fmla="*/ 3641 h 10000"/>
                <a:gd name="connsiteX2322" fmla="*/ 166 w 10746"/>
                <a:gd name="connsiteY2322" fmla="*/ 3650 h 10000"/>
                <a:gd name="connsiteX2323" fmla="*/ 124 w 10746"/>
                <a:gd name="connsiteY2323" fmla="*/ 3701 h 10000"/>
                <a:gd name="connsiteX2324" fmla="*/ 124 w 10746"/>
                <a:gd name="connsiteY2324" fmla="*/ 3718 h 10000"/>
                <a:gd name="connsiteX2325" fmla="*/ 120 w 10746"/>
                <a:gd name="connsiteY2325" fmla="*/ 3735 h 10000"/>
                <a:gd name="connsiteX2326" fmla="*/ 120 w 10746"/>
                <a:gd name="connsiteY2326" fmla="*/ 3735 h 10000"/>
                <a:gd name="connsiteX2327" fmla="*/ 111 w 10746"/>
                <a:gd name="connsiteY2327" fmla="*/ 3761 h 10000"/>
                <a:gd name="connsiteX2328" fmla="*/ 106 w 10746"/>
                <a:gd name="connsiteY2328" fmla="*/ 3761 h 10000"/>
                <a:gd name="connsiteX2329" fmla="*/ 106 w 10746"/>
                <a:gd name="connsiteY2329" fmla="*/ 3761 h 10000"/>
                <a:gd name="connsiteX2330" fmla="*/ 74 w 10746"/>
                <a:gd name="connsiteY2330" fmla="*/ 3829 h 10000"/>
                <a:gd name="connsiteX2331" fmla="*/ 78 w 10746"/>
                <a:gd name="connsiteY2331" fmla="*/ 3838 h 10000"/>
                <a:gd name="connsiteX2332" fmla="*/ 88 w 10746"/>
                <a:gd name="connsiteY2332" fmla="*/ 3846 h 10000"/>
                <a:gd name="connsiteX2333" fmla="*/ 65 w 10746"/>
                <a:gd name="connsiteY2333" fmla="*/ 3923 h 10000"/>
                <a:gd name="connsiteX2334" fmla="*/ 78 w 10746"/>
                <a:gd name="connsiteY2334" fmla="*/ 4026 h 10000"/>
                <a:gd name="connsiteX2335" fmla="*/ 88 w 10746"/>
                <a:gd name="connsiteY2335" fmla="*/ 4051 h 10000"/>
                <a:gd name="connsiteX2336" fmla="*/ 92 w 10746"/>
                <a:gd name="connsiteY2336" fmla="*/ 4060 h 10000"/>
                <a:gd name="connsiteX2337" fmla="*/ 111 w 10746"/>
                <a:gd name="connsiteY2337" fmla="*/ 4060 h 10000"/>
                <a:gd name="connsiteX2338" fmla="*/ 124 w 10746"/>
                <a:gd name="connsiteY2338" fmla="*/ 4085 h 10000"/>
                <a:gd name="connsiteX2339" fmla="*/ 166 w 10746"/>
                <a:gd name="connsiteY2339" fmla="*/ 4197 h 10000"/>
                <a:gd name="connsiteX2340" fmla="*/ 166 w 10746"/>
                <a:gd name="connsiteY2340" fmla="*/ 4248 h 10000"/>
                <a:gd name="connsiteX2341" fmla="*/ 120 w 10746"/>
                <a:gd name="connsiteY2341" fmla="*/ 4462 h 10000"/>
                <a:gd name="connsiteX2342" fmla="*/ 120 w 10746"/>
                <a:gd name="connsiteY2342" fmla="*/ 4513 h 10000"/>
                <a:gd name="connsiteX2343" fmla="*/ 180 w 10746"/>
                <a:gd name="connsiteY2343" fmla="*/ 4829 h 10000"/>
                <a:gd name="connsiteX2344" fmla="*/ 161 w 10746"/>
                <a:gd name="connsiteY2344" fmla="*/ 4855 h 10000"/>
                <a:gd name="connsiteX2345" fmla="*/ 152 w 10746"/>
                <a:gd name="connsiteY2345" fmla="*/ 4940 h 10000"/>
                <a:gd name="connsiteX2346" fmla="*/ 161 w 10746"/>
                <a:gd name="connsiteY2346" fmla="*/ 4966 h 10000"/>
                <a:gd name="connsiteX2347" fmla="*/ 161 w 10746"/>
                <a:gd name="connsiteY2347" fmla="*/ 5009 h 10000"/>
                <a:gd name="connsiteX2348" fmla="*/ 152 w 10746"/>
                <a:gd name="connsiteY2348" fmla="*/ 5034 h 10000"/>
                <a:gd name="connsiteX2349" fmla="*/ 152 w 10746"/>
                <a:gd name="connsiteY2349" fmla="*/ 5077 h 10000"/>
                <a:gd name="connsiteX2350" fmla="*/ 171 w 10746"/>
                <a:gd name="connsiteY2350" fmla="*/ 5094 h 10000"/>
                <a:gd name="connsiteX2351" fmla="*/ 180 w 10746"/>
                <a:gd name="connsiteY2351" fmla="*/ 5128 h 10000"/>
                <a:gd name="connsiteX2352" fmla="*/ 180 w 10746"/>
                <a:gd name="connsiteY2352" fmla="*/ 5171 h 10000"/>
                <a:gd name="connsiteX2353" fmla="*/ 184 w 10746"/>
                <a:gd name="connsiteY2353" fmla="*/ 5205 h 10000"/>
                <a:gd name="connsiteX2354" fmla="*/ 207 w 10746"/>
                <a:gd name="connsiteY2354" fmla="*/ 5239 h 10000"/>
                <a:gd name="connsiteX2355" fmla="*/ 207 w 10746"/>
                <a:gd name="connsiteY2355" fmla="*/ 5282 h 10000"/>
                <a:gd name="connsiteX2356" fmla="*/ 180 w 10746"/>
                <a:gd name="connsiteY2356" fmla="*/ 5393 h 10000"/>
                <a:gd name="connsiteX2357" fmla="*/ 194 w 10746"/>
                <a:gd name="connsiteY2357" fmla="*/ 5427 h 10000"/>
                <a:gd name="connsiteX2358" fmla="*/ 198 w 10746"/>
                <a:gd name="connsiteY2358" fmla="*/ 5462 h 10000"/>
                <a:gd name="connsiteX2359" fmla="*/ 235 w 10746"/>
                <a:gd name="connsiteY2359" fmla="*/ 5513 h 10000"/>
                <a:gd name="connsiteX2360" fmla="*/ 240 w 10746"/>
                <a:gd name="connsiteY2360" fmla="*/ 5556 h 10000"/>
                <a:gd name="connsiteX2361" fmla="*/ 253 w 10746"/>
                <a:gd name="connsiteY2361" fmla="*/ 5590 h 10000"/>
                <a:gd name="connsiteX2362" fmla="*/ 258 w 10746"/>
                <a:gd name="connsiteY2362" fmla="*/ 5573 h 10000"/>
                <a:gd name="connsiteX2363" fmla="*/ 258 w 10746"/>
                <a:gd name="connsiteY2363" fmla="*/ 5667 h 10000"/>
                <a:gd name="connsiteX2364" fmla="*/ 14 w 10746"/>
                <a:gd name="connsiteY2364" fmla="*/ 6214 h 10000"/>
                <a:gd name="connsiteX2365" fmla="*/ 14 w 10746"/>
                <a:gd name="connsiteY2365" fmla="*/ 6214 h 10000"/>
                <a:gd name="connsiteX2366" fmla="*/ 37 w 10746"/>
                <a:gd name="connsiteY2366" fmla="*/ 6214 h 10000"/>
                <a:gd name="connsiteX2367" fmla="*/ 51 w 10746"/>
                <a:gd name="connsiteY2367" fmla="*/ 6188 h 10000"/>
                <a:gd name="connsiteX2368" fmla="*/ 78 w 10746"/>
                <a:gd name="connsiteY2368" fmla="*/ 6162 h 10000"/>
                <a:gd name="connsiteX2369" fmla="*/ 78 w 10746"/>
                <a:gd name="connsiteY2369" fmla="*/ 6188 h 10000"/>
                <a:gd name="connsiteX2370" fmla="*/ 74 w 10746"/>
                <a:gd name="connsiteY2370" fmla="*/ 6197 h 10000"/>
                <a:gd name="connsiteX2371" fmla="*/ 74 w 10746"/>
                <a:gd name="connsiteY2371" fmla="*/ 6231 h 10000"/>
                <a:gd name="connsiteX2372" fmla="*/ 74 w 10746"/>
                <a:gd name="connsiteY2372" fmla="*/ 6214 h 10000"/>
                <a:gd name="connsiteX2373" fmla="*/ 65 w 10746"/>
                <a:gd name="connsiteY2373" fmla="*/ 6214 h 10000"/>
                <a:gd name="connsiteX2374" fmla="*/ 65 w 10746"/>
                <a:gd name="connsiteY2374" fmla="*/ 6248 h 10000"/>
                <a:gd name="connsiteX2375" fmla="*/ 74 w 10746"/>
                <a:gd name="connsiteY2375" fmla="*/ 6256 h 10000"/>
                <a:gd name="connsiteX2376" fmla="*/ 78 w 10746"/>
                <a:gd name="connsiteY2376" fmla="*/ 6256 h 10000"/>
                <a:gd name="connsiteX2377" fmla="*/ 106 w 10746"/>
                <a:gd name="connsiteY2377" fmla="*/ 6308 h 10000"/>
                <a:gd name="connsiteX2378" fmla="*/ 138 w 10746"/>
                <a:gd name="connsiteY2378" fmla="*/ 6299 h 10000"/>
                <a:gd name="connsiteX2379" fmla="*/ 152 w 10746"/>
                <a:gd name="connsiteY2379" fmla="*/ 6299 h 10000"/>
                <a:gd name="connsiteX2380" fmla="*/ 166 w 10746"/>
                <a:gd name="connsiteY2380" fmla="*/ 6325 h 10000"/>
                <a:gd name="connsiteX2381" fmla="*/ 166 w 10746"/>
                <a:gd name="connsiteY2381" fmla="*/ 6333 h 10000"/>
                <a:gd name="connsiteX2382" fmla="*/ 171 w 10746"/>
                <a:gd name="connsiteY2382" fmla="*/ 6350 h 10000"/>
                <a:gd name="connsiteX2383" fmla="*/ 180 w 10746"/>
                <a:gd name="connsiteY2383" fmla="*/ 6350 h 10000"/>
                <a:gd name="connsiteX2384" fmla="*/ 180 w 10746"/>
                <a:gd name="connsiteY2384" fmla="*/ 6359 h 10000"/>
                <a:gd name="connsiteX2385" fmla="*/ 171 w 10746"/>
                <a:gd name="connsiteY2385" fmla="*/ 6368 h 10000"/>
                <a:gd name="connsiteX2386" fmla="*/ 106 w 10746"/>
                <a:gd name="connsiteY2386" fmla="*/ 6350 h 10000"/>
                <a:gd name="connsiteX2387" fmla="*/ 101 w 10746"/>
                <a:gd name="connsiteY2387" fmla="*/ 6359 h 10000"/>
                <a:gd name="connsiteX2388" fmla="*/ 101 w 10746"/>
                <a:gd name="connsiteY2388" fmla="*/ 6385 h 10000"/>
                <a:gd name="connsiteX2389" fmla="*/ 78 w 10746"/>
                <a:gd name="connsiteY2389" fmla="*/ 6393 h 10000"/>
                <a:gd name="connsiteX2390" fmla="*/ 74 w 10746"/>
                <a:gd name="connsiteY2390" fmla="*/ 6385 h 10000"/>
                <a:gd name="connsiteX2391" fmla="*/ 65 w 10746"/>
                <a:gd name="connsiteY2391" fmla="*/ 6393 h 10000"/>
                <a:gd name="connsiteX2392" fmla="*/ 60 w 10746"/>
                <a:gd name="connsiteY2392" fmla="*/ 6419 h 10000"/>
                <a:gd name="connsiteX2393" fmla="*/ 51 w 10746"/>
                <a:gd name="connsiteY2393" fmla="*/ 6419 h 10000"/>
                <a:gd name="connsiteX2394" fmla="*/ 46 w 10746"/>
                <a:gd name="connsiteY2394" fmla="*/ 6410 h 10000"/>
                <a:gd name="connsiteX2395" fmla="*/ 37 w 10746"/>
                <a:gd name="connsiteY2395" fmla="*/ 6393 h 10000"/>
                <a:gd name="connsiteX2396" fmla="*/ 32 w 10746"/>
                <a:gd name="connsiteY2396" fmla="*/ 6419 h 10000"/>
                <a:gd name="connsiteX2397" fmla="*/ 37 w 10746"/>
                <a:gd name="connsiteY2397" fmla="*/ 6462 h 10000"/>
                <a:gd name="connsiteX2398" fmla="*/ 46 w 10746"/>
                <a:gd name="connsiteY2398" fmla="*/ 6462 h 10000"/>
                <a:gd name="connsiteX2399" fmla="*/ 51 w 10746"/>
                <a:gd name="connsiteY2399" fmla="*/ 6470 h 10000"/>
                <a:gd name="connsiteX2400" fmla="*/ 51 w 10746"/>
                <a:gd name="connsiteY2400" fmla="*/ 6496 h 10000"/>
                <a:gd name="connsiteX2401" fmla="*/ 51 w 10746"/>
                <a:gd name="connsiteY2401" fmla="*/ 6504 h 10000"/>
                <a:gd name="connsiteX2402" fmla="*/ 37 w 10746"/>
                <a:gd name="connsiteY2402" fmla="*/ 6530 h 10000"/>
                <a:gd name="connsiteX2403" fmla="*/ 18 w 10746"/>
                <a:gd name="connsiteY2403" fmla="*/ 6598 h 10000"/>
                <a:gd name="connsiteX2404" fmla="*/ 28 w 10746"/>
                <a:gd name="connsiteY2404" fmla="*/ 6632 h 10000"/>
                <a:gd name="connsiteX2405" fmla="*/ 18 w 10746"/>
                <a:gd name="connsiteY2405" fmla="*/ 6667 h 10000"/>
                <a:gd name="connsiteX2406" fmla="*/ 28 w 10746"/>
                <a:gd name="connsiteY2406" fmla="*/ 6692 h 10000"/>
                <a:gd name="connsiteX2407" fmla="*/ 28 w 10746"/>
                <a:gd name="connsiteY2407" fmla="*/ 6709 h 10000"/>
                <a:gd name="connsiteX2408" fmla="*/ 18 w 10746"/>
                <a:gd name="connsiteY2408" fmla="*/ 6718 h 10000"/>
                <a:gd name="connsiteX2409" fmla="*/ 5 w 10746"/>
                <a:gd name="connsiteY2409" fmla="*/ 6744 h 10000"/>
                <a:gd name="connsiteX2410" fmla="*/ 0 w 10746"/>
                <a:gd name="connsiteY2410" fmla="*/ 6769 h 10000"/>
                <a:gd name="connsiteX2411" fmla="*/ 5 w 10746"/>
                <a:gd name="connsiteY2411" fmla="*/ 6778 h 10000"/>
                <a:gd name="connsiteX2412" fmla="*/ 32 w 10746"/>
                <a:gd name="connsiteY2412" fmla="*/ 6778 h 10000"/>
                <a:gd name="connsiteX2413" fmla="*/ 46 w 10746"/>
                <a:gd name="connsiteY2413" fmla="*/ 6821 h 10000"/>
                <a:gd name="connsiteX2414" fmla="*/ 46 w 10746"/>
                <a:gd name="connsiteY2414" fmla="*/ 6855 h 10000"/>
                <a:gd name="connsiteX2415" fmla="*/ 32 w 10746"/>
                <a:gd name="connsiteY2415" fmla="*/ 6855 h 10000"/>
                <a:gd name="connsiteX2416" fmla="*/ 14 w 10746"/>
                <a:gd name="connsiteY2416" fmla="*/ 6821 h 10000"/>
                <a:gd name="connsiteX2417" fmla="*/ 14 w 10746"/>
                <a:gd name="connsiteY2417" fmla="*/ 6846 h 10000"/>
                <a:gd name="connsiteX2418" fmla="*/ 0 w 10746"/>
                <a:gd name="connsiteY2418" fmla="*/ 6897 h 10000"/>
                <a:gd name="connsiteX2419" fmla="*/ 0 w 10746"/>
                <a:gd name="connsiteY2419" fmla="*/ 6915 h 10000"/>
                <a:gd name="connsiteX2420" fmla="*/ 5 w 10746"/>
                <a:gd name="connsiteY2420" fmla="*/ 6932 h 10000"/>
                <a:gd name="connsiteX2421" fmla="*/ 14 w 10746"/>
                <a:gd name="connsiteY2421" fmla="*/ 6940 h 10000"/>
                <a:gd name="connsiteX2422" fmla="*/ 18 w 10746"/>
                <a:gd name="connsiteY2422" fmla="*/ 6957 h 10000"/>
                <a:gd name="connsiteX2423" fmla="*/ 28 w 10746"/>
                <a:gd name="connsiteY2423" fmla="*/ 6966 h 10000"/>
                <a:gd name="connsiteX2424" fmla="*/ 28 w 10746"/>
                <a:gd name="connsiteY2424" fmla="*/ 6983 h 10000"/>
                <a:gd name="connsiteX2425" fmla="*/ 18 w 10746"/>
                <a:gd name="connsiteY2425" fmla="*/ 7051 h 10000"/>
                <a:gd name="connsiteX2426" fmla="*/ 28 w 10746"/>
                <a:gd name="connsiteY2426" fmla="*/ 7068 h 10000"/>
                <a:gd name="connsiteX2427" fmla="*/ 32 w 10746"/>
                <a:gd name="connsiteY2427" fmla="*/ 7068 h 10000"/>
                <a:gd name="connsiteX2428" fmla="*/ 32 w 10746"/>
                <a:gd name="connsiteY2428" fmla="*/ 7094 h 10000"/>
                <a:gd name="connsiteX2429" fmla="*/ 60 w 10746"/>
                <a:gd name="connsiteY2429" fmla="*/ 7162 h 10000"/>
                <a:gd name="connsiteX2430" fmla="*/ 60 w 10746"/>
                <a:gd name="connsiteY2430" fmla="*/ 7231 h 10000"/>
                <a:gd name="connsiteX2431" fmla="*/ 60 w 10746"/>
                <a:gd name="connsiteY2431" fmla="*/ 7239 h 10000"/>
                <a:gd name="connsiteX2432" fmla="*/ 78 w 10746"/>
                <a:gd name="connsiteY2432" fmla="*/ 7239 h 10000"/>
                <a:gd name="connsiteX2433" fmla="*/ 88 w 10746"/>
                <a:gd name="connsiteY2433" fmla="*/ 7239 h 10000"/>
                <a:gd name="connsiteX2434" fmla="*/ 92 w 10746"/>
                <a:gd name="connsiteY2434" fmla="*/ 7256 h 10000"/>
                <a:gd name="connsiteX2435" fmla="*/ 111 w 10746"/>
                <a:gd name="connsiteY2435" fmla="*/ 7256 h 10000"/>
                <a:gd name="connsiteX2436" fmla="*/ 120 w 10746"/>
                <a:gd name="connsiteY2436" fmla="*/ 7256 h 10000"/>
                <a:gd name="connsiteX2437" fmla="*/ 134 w 10746"/>
                <a:gd name="connsiteY2437" fmla="*/ 7282 h 10000"/>
                <a:gd name="connsiteX2438" fmla="*/ 134 w 10746"/>
                <a:gd name="connsiteY2438" fmla="*/ 7316 h 10000"/>
                <a:gd name="connsiteX2439" fmla="*/ 152 w 10746"/>
                <a:gd name="connsiteY2439" fmla="*/ 7299 h 10000"/>
                <a:gd name="connsiteX2440" fmla="*/ 161 w 10746"/>
                <a:gd name="connsiteY2440" fmla="*/ 7299 h 10000"/>
                <a:gd name="connsiteX2441" fmla="*/ 166 w 10746"/>
                <a:gd name="connsiteY2441" fmla="*/ 7291 h 10000"/>
                <a:gd name="connsiteX2442" fmla="*/ 194 w 10746"/>
                <a:gd name="connsiteY2442" fmla="*/ 7291 h 10000"/>
                <a:gd name="connsiteX2443" fmla="*/ 207 w 10746"/>
                <a:gd name="connsiteY2443" fmla="*/ 7299 h 10000"/>
                <a:gd name="connsiteX2444" fmla="*/ 221 w 10746"/>
                <a:gd name="connsiteY2444" fmla="*/ 7342 h 10000"/>
                <a:gd name="connsiteX2445" fmla="*/ 235 w 10746"/>
                <a:gd name="connsiteY2445" fmla="*/ 7342 h 10000"/>
                <a:gd name="connsiteX2446" fmla="*/ 235 w 10746"/>
                <a:gd name="connsiteY2446" fmla="*/ 7368 h 10000"/>
                <a:gd name="connsiteX2447" fmla="*/ 226 w 10746"/>
                <a:gd name="connsiteY2447" fmla="*/ 7393 h 10000"/>
                <a:gd name="connsiteX2448" fmla="*/ 226 w 10746"/>
                <a:gd name="connsiteY2448" fmla="*/ 7402 h 10000"/>
                <a:gd name="connsiteX2449" fmla="*/ 235 w 10746"/>
                <a:gd name="connsiteY2449" fmla="*/ 7419 h 10000"/>
                <a:gd name="connsiteX2450" fmla="*/ 240 w 10746"/>
                <a:gd name="connsiteY2450" fmla="*/ 7436 h 10000"/>
                <a:gd name="connsiteX2451" fmla="*/ 235 w 10746"/>
                <a:gd name="connsiteY2451" fmla="*/ 7462 h 10000"/>
                <a:gd name="connsiteX2452" fmla="*/ 226 w 10746"/>
                <a:gd name="connsiteY2452" fmla="*/ 7479 h 10000"/>
                <a:gd name="connsiteX2453" fmla="*/ 226 w 10746"/>
                <a:gd name="connsiteY2453" fmla="*/ 7504 h 10000"/>
                <a:gd name="connsiteX2454" fmla="*/ 226 w 10746"/>
                <a:gd name="connsiteY2454" fmla="*/ 7513 h 10000"/>
                <a:gd name="connsiteX2455" fmla="*/ 240 w 10746"/>
                <a:gd name="connsiteY2455" fmla="*/ 7538 h 10000"/>
                <a:gd name="connsiteX2456" fmla="*/ 267 w 10746"/>
                <a:gd name="connsiteY2456" fmla="*/ 7641 h 10000"/>
                <a:gd name="connsiteX2457" fmla="*/ 281 w 10746"/>
                <a:gd name="connsiteY2457" fmla="*/ 7667 h 10000"/>
                <a:gd name="connsiteX2458" fmla="*/ 286 w 10746"/>
                <a:gd name="connsiteY2458" fmla="*/ 7675 h 10000"/>
                <a:gd name="connsiteX2459" fmla="*/ 286 w 10746"/>
                <a:gd name="connsiteY2459" fmla="*/ 7692 h 10000"/>
                <a:gd name="connsiteX2460" fmla="*/ 286 w 10746"/>
                <a:gd name="connsiteY2460" fmla="*/ 7709 h 10000"/>
                <a:gd name="connsiteX2461" fmla="*/ 295 w 10746"/>
                <a:gd name="connsiteY2461" fmla="*/ 7726 h 10000"/>
                <a:gd name="connsiteX2462" fmla="*/ 318 w 10746"/>
                <a:gd name="connsiteY2462" fmla="*/ 7709 h 10000"/>
                <a:gd name="connsiteX2463" fmla="*/ 327 w 10746"/>
                <a:gd name="connsiteY2463" fmla="*/ 7726 h 10000"/>
                <a:gd name="connsiteX2464" fmla="*/ 341 w 10746"/>
                <a:gd name="connsiteY2464" fmla="*/ 7735 h 10000"/>
                <a:gd name="connsiteX2465" fmla="*/ 332 w 10746"/>
                <a:gd name="connsiteY2465" fmla="*/ 7752 h 10000"/>
                <a:gd name="connsiteX2466" fmla="*/ 341 w 10746"/>
                <a:gd name="connsiteY2466" fmla="*/ 7761 h 10000"/>
                <a:gd name="connsiteX2467" fmla="*/ 355 w 10746"/>
                <a:gd name="connsiteY2467" fmla="*/ 7761 h 10000"/>
                <a:gd name="connsiteX2468" fmla="*/ 355 w 10746"/>
                <a:gd name="connsiteY2468" fmla="*/ 7803 h 10000"/>
                <a:gd name="connsiteX2469" fmla="*/ 313 w 10746"/>
                <a:gd name="connsiteY2469" fmla="*/ 7846 h 10000"/>
                <a:gd name="connsiteX2470" fmla="*/ 295 w 10746"/>
                <a:gd name="connsiteY2470" fmla="*/ 7846 h 10000"/>
                <a:gd name="connsiteX2471" fmla="*/ 281 w 10746"/>
                <a:gd name="connsiteY2471" fmla="*/ 7821 h 10000"/>
                <a:gd name="connsiteX2472" fmla="*/ 272 w 10746"/>
                <a:gd name="connsiteY2472" fmla="*/ 7821 h 10000"/>
                <a:gd name="connsiteX2473" fmla="*/ 267 w 10746"/>
                <a:gd name="connsiteY2473" fmla="*/ 7838 h 10000"/>
                <a:gd name="connsiteX2474" fmla="*/ 258 w 10746"/>
                <a:gd name="connsiteY2474" fmla="*/ 7846 h 10000"/>
                <a:gd name="connsiteX2475" fmla="*/ 253 w 10746"/>
                <a:gd name="connsiteY2475" fmla="*/ 7863 h 10000"/>
                <a:gd name="connsiteX2476" fmla="*/ 253 w 10746"/>
                <a:gd name="connsiteY2476" fmla="*/ 7872 h 10000"/>
                <a:gd name="connsiteX2477" fmla="*/ 267 w 10746"/>
                <a:gd name="connsiteY2477" fmla="*/ 7897 h 10000"/>
                <a:gd name="connsiteX2478" fmla="*/ 272 w 10746"/>
                <a:gd name="connsiteY2478" fmla="*/ 7915 h 10000"/>
                <a:gd name="connsiteX2479" fmla="*/ 267 w 10746"/>
                <a:gd name="connsiteY2479" fmla="*/ 7940 h 10000"/>
                <a:gd name="connsiteX2480" fmla="*/ 272 w 10746"/>
                <a:gd name="connsiteY2480" fmla="*/ 7949 h 10000"/>
                <a:gd name="connsiteX2481" fmla="*/ 272 w 10746"/>
                <a:gd name="connsiteY2481" fmla="*/ 7957 h 10000"/>
                <a:gd name="connsiteX2482" fmla="*/ 281 w 10746"/>
                <a:gd name="connsiteY2482" fmla="*/ 7974 h 10000"/>
                <a:gd name="connsiteX2483" fmla="*/ 286 w 10746"/>
                <a:gd name="connsiteY2483" fmla="*/ 7983 h 10000"/>
                <a:gd name="connsiteX2484" fmla="*/ 281 w 10746"/>
                <a:gd name="connsiteY2484" fmla="*/ 8009 h 10000"/>
                <a:gd name="connsiteX2485" fmla="*/ 286 w 10746"/>
                <a:gd name="connsiteY2485" fmla="*/ 8060 h 10000"/>
                <a:gd name="connsiteX2486" fmla="*/ 286 w 10746"/>
                <a:gd name="connsiteY2486" fmla="*/ 8060 h 10000"/>
                <a:gd name="connsiteX2487" fmla="*/ 295 w 10746"/>
                <a:gd name="connsiteY2487" fmla="*/ 8077 h 10000"/>
                <a:gd name="connsiteX2488" fmla="*/ 309 w 10746"/>
                <a:gd name="connsiteY2488" fmla="*/ 8077 h 10000"/>
                <a:gd name="connsiteX2489" fmla="*/ 313 w 10746"/>
                <a:gd name="connsiteY2489" fmla="*/ 8060 h 10000"/>
                <a:gd name="connsiteX2490" fmla="*/ 318 w 10746"/>
                <a:gd name="connsiteY2490" fmla="*/ 8051 h 10000"/>
                <a:gd name="connsiteX2491" fmla="*/ 318 w 10746"/>
                <a:gd name="connsiteY2491" fmla="*/ 8034 h 10000"/>
                <a:gd name="connsiteX2492" fmla="*/ 332 w 10746"/>
                <a:gd name="connsiteY2492" fmla="*/ 8026 h 10000"/>
                <a:gd name="connsiteX2493" fmla="*/ 359 w 10746"/>
                <a:gd name="connsiteY2493" fmla="*/ 8034 h 10000"/>
                <a:gd name="connsiteX2494" fmla="*/ 378 w 10746"/>
                <a:gd name="connsiteY2494" fmla="*/ 8026 h 10000"/>
                <a:gd name="connsiteX2495" fmla="*/ 401 w 10746"/>
                <a:gd name="connsiteY2495" fmla="*/ 8026 h 10000"/>
                <a:gd name="connsiteX2496" fmla="*/ 419 w 10746"/>
                <a:gd name="connsiteY2496" fmla="*/ 8009 h 10000"/>
                <a:gd name="connsiteX2497" fmla="*/ 433 w 10746"/>
                <a:gd name="connsiteY2497" fmla="*/ 8034 h 10000"/>
                <a:gd name="connsiteX2498" fmla="*/ 442 w 10746"/>
                <a:gd name="connsiteY2498" fmla="*/ 8060 h 10000"/>
                <a:gd name="connsiteX2499" fmla="*/ 442 w 10746"/>
                <a:gd name="connsiteY2499" fmla="*/ 8077 h 10000"/>
                <a:gd name="connsiteX2500" fmla="*/ 461 w 10746"/>
                <a:gd name="connsiteY2500" fmla="*/ 8111 h 10000"/>
                <a:gd name="connsiteX2501" fmla="*/ 461 w 10746"/>
                <a:gd name="connsiteY2501" fmla="*/ 8137 h 10000"/>
                <a:gd name="connsiteX2502" fmla="*/ 447 w 10746"/>
                <a:gd name="connsiteY2502" fmla="*/ 8145 h 10000"/>
                <a:gd name="connsiteX2503" fmla="*/ 442 w 10746"/>
                <a:gd name="connsiteY2503" fmla="*/ 8145 h 10000"/>
                <a:gd name="connsiteX2504" fmla="*/ 442 w 10746"/>
                <a:gd name="connsiteY2504" fmla="*/ 8162 h 10000"/>
                <a:gd name="connsiteX2505" fmla="*/ 442 w 10746"/>
                <a:gd name="connsiteY2505" fmla="*/ 8171 h 10000"/>
                <a:gd name="connsiteX2506" fmla="*/ 447 w 10746"/>
                <a:gd name="connsiteY2506" fmla="*/ 8214 h 10000"/>
                <a:gd name="connsiteX2507" fmla="*/ 465 w 10746"/>
                <a:gd name="connsiteY2507" fmla="*/ 8231 h 10000"/>
                <a:gd name="connsiteX2508" fmla="*/ 488 w 10746"/>
                <a:gd name="connsiteY2508" fmla="*/ 8231 h 10000"/>
                <a:gd name="connsiteX2509" fmla="*/ 493 w 10746"/>
                <a:gd name="connsiteY2509" fmla="*/ 8231 h 10000"/>
                <a:gd name="connsiteX2510" fmla="*/ 502 w 10746"/>
                <a:gd name="connsiteY2510" fmla="*/ 8231 h 10000"/>
                <a:gd name="connsiteX2511" fmla="*/ 507 w 10746"/>
                <a:gd name="connsiteY2511" fmla="*/ 8248 h 10000"/>
                <a:gd name="connsiteX2512" fmla="*/ 521 w 10746"/>
                <a:gd name="connsiteY2512" fmla="*/ 8274 h 10000"/>
                <a:gd name="connsiteX2513" fmla="*/ 525 w 10746"/>
                <a:gd name="connsiteY2513" fmla="*/ 8333 h 10000"/>
                <a:gd name="connsiteX2514" fmla="*/ 525 w 10746"/>
                <a:gd name="connsiteY2514" fmla="*/ 8359 h 10000"/>
                <a:gd name="connsiteX2515" fmla="*/ 525 w 10746"/>
                <a:gd name="connsiteY2515" fmla="*/ 8368 h 10000"/>
                <a:gd name="connsiteX2516" fmla="*/ 548 w 10746"/>
                <a:gd name="connsiteY2516" fmla="*/ 8393 h 10000"/>
                <a:gd name="connsiteX2517" fmla="*/ 553 w 10746"/>
                <a:gd name="connsiteY2517" fmla="*/ 8385 h 10000"/>
                <a:gd name="connsiteX2518" fmla="*/ 562 w 10746"/>
                <a:gd name="connsiteY2518" fmla="*/ 8385 h 10000"/>
                <a:gd name="connsiteX2519" fmla="*/ 576 w 10746"/>
                <a:gd name="connsiteY2519" fmla="*/ 8385 h 10000"/>
                <a:gd name="connsiteX2520" fmla="*/ 585 w 10746"/>
                <a:gd name="connsiteY2520" fmla="*/ 8410 h 10000"/>
                <a:gd name="connsiteX2521" fmla="*/ 594 w 10746"/>
                <a:gd name="connsiteY2521" fmla="*/ 8410 h 10000"/>
                <a:gd name="connsiteX2522" fmla="*/ 608 w 10746"/>
                <a:gd name="connsiteY2522" fmla="*/ 8410 h 10000"/>
                <a:gd name="connsiteX2523" fmla="*/ 654 w 10746"/>
                <a:gd name="connsiteY2523" fmla="*/ 8385 h 10000"/>
                <a:gd name="connsiteX2524" fmla="*/ 659 w 10746"/>
                <a:gd name="connsiteY2524" fmla="*/ 8385 h 10000"/>
                <a:gd name="connsiteX2525" fmla="*/ 696 w 10746"/>
                <a:gd name="connsiteY2525" fmla="*/ 8470 h 10000"/>
                <a:gd name="connsiteX2526" fmla="*/ 700 w 10746"/>
                <a:gd name="connsiteY2526" fmla="*/ 8470 h 10000"/>
                <a:gd name="connsiteX2527" fmla="*/ 710 w 10746"/>
                <a:gd name="connsiteY2527" fmla="*/ 8462 h 10000"/>
                <a:gd name="connsiteX2528" fmla="*/ 714 w 10746"/>
                <a:gd name="connsiteY2528" fmla="*/ 8462 h 10000"/>
                <a:gd name="connsiteX2529" fmla="*/ 724 w 10746"/>
                <a:gd name="connsiteY2529" fmla="*/ 8470 h 10000"/>
                <a:gd name="connsiteX2530" fmla="*/ 733 w 10746"/>
                <a:gd name="connsiteY2530" fmla="*/ 8470 h 10000"/>
                <a:gd name="connsiteX2531" fmla="*/ 742 w 10746"/>
                <a:gd name="connsiteY2531" fmla="*/ 8487 h 10000"/>
                <a:gd name="connsiteX2532" fmla="*/ 747 w 10746"/>
                <a:gd name="connsiteY2532" fmla="*/ 8496 h 10000"/>
                <a:gd name="connsiteX2533" fmla="*/ 770 w 10746"/>
                <a:gd name="connsiteY2533" fmla="*/ 8496 h 10000"/>
                <a:gd name="connsiteX2534" fmla="*/ 783 w 10746"/>
                <a:gd name="connsiteY2534" fmla="*/ 8521 h 10000"/>
                <a:gd name="connsiteX2535" fmla="*/ 797 w 10746"/>
                <a:gd name="connsiteY2535" fmla="*/ 8521 h 10000"/>
                <a:gd name="connsiteX2536" fmla="*/ 806 w 10746"/>
                <a:gd name="connsiteY2536" fmla="*/ 8530 h 10000"/>
                <a:gd name="connsiteX2537" fmla="*/ 829 w 10746"/>
                <a:gd name="connsiteY2537" fmla="*/ 8547 h 10000"/>
                <a:gd name="connsiteX2538" fmla="*/ 834 w 10746"/>
                <a:gd name="connsiteY2538" fmla="*/ 8556 h 10000"/>
                <a:gd name="connsiteX2539" fmla="*/ 829 w 10746"/>
                <a:gd name="connsiteY2539" fmla="*/ 8556 h 10000"/>
                <a:gd name="connsiteX2540" fmla="*/ 834 w 10746"/>
                <a:gd name="connsiteY2540" fmla="*/ 8607 h 10000"/>
                <a:gd name="connsiteX2541" fmla="*/ 829 w 10746"/>
                <a:gd name="connsiteY2541" fmla="*/ 8641 h 10000"/>
                <a:gd name="connsiteX2542" fmla="*/ 806 w 10746"/>
                <a:gd name="connsiteY2542" fmla="*/ 8658 h 10000"/>
                <a:gd name="connsiteX2543" fmla="*/ 816 w 10746"/>
                <a:gd name="connsiteY2543" fmla="*/ 8667 h 10000"/>
                <a:gd name="connsiteX2544" fmla="*/ 820 w 10746"/>
                <a:gd name="connsiteY2544" fmla="*/ 8667 h 10000"/>
                <a:gd name="connsiteX2545" fmla="*/ 829 w 10746"/>
                <a:gd name="connsiteY2545" fmla="*/ 8684 h 10000"/>
                <a:gd name="connsiteX2546" fmla="*/ 806 w 10746"/>
                <a:gd name="connsiteY2546" fmla="*/ 8692 h 10000"/>
                <a:gd name="connsiteX2547" fmla="*/ 802 w 10746"/>
                <a:gd name="connsiteY2547" fmla="*/ 8709 h 10000"/>
                <a:gd name="connsiteX2548" fmla="*/ 802 w 10746"/>
                <a:gd name="connsiteY2548" fmla="*/ 8735 h 10000"/>
                <a:gd name="connsiteX2549" fmla="*/ 806 w 10746"/>
                <a:gd name="connsiteY2549" fmla="*/ 8744 h 10000"/>
                <a:gd name="connsiteX2550" fmla="*/ 816 w 10746"/>
                <a:gd name="connsiteY2550" fmla="*/ 8752 h 10000"/>
                <a:gd name="connsiteX2551" fmla="*/ 806 w 10746"/>
                <a:gd name="connsiteY2551" fmla="*/ 8778 h 10000"/>
                <a:gd name="connsiteX2552" fmla="*/ 820 w 10746"/>
                <a:gd name="connsiteY2552" fmla="*/ 8778 h 10000"/>
                <a:gd name="connsiteX2553" fmla="*/ 806 w 10746"/>
                <a:gd name="connsiteY2553" fmla="*/ 8880 h 10000"/>
                <a:gd name="connsiteX2554" fmla="*/ 797 w 10746"/>
                <a:gd name="connsiteY2554" fmla="*/ 8880 h 10000"/>
                <a:gd name="connsiteX2555" fmla="*/ 783 w 10746"/>
                <a:gd name="connsiteY2555" fmla="*/ 8872 h 10000"/>
                <a:gd name="connsiteX2556" fmla="*/ 770 w 10746"/>
                <a:gd name="connsiteY2556" fmla="*/ 8880 h 10000"/>
                <a:gd name="connsiteX2557" fmla="*/ 756 w 10746"/>
                <a:gd name="connsiteY2557" fmla="*/ 8855 h 10000"/>
                <a:gd name="connsiteX2558" fmla="*/ 733 w 10746"/>
                <a:gd name="connsiteY2558" fmla="*/ 8906 h 10000"/>
                <a:gd name="connsiteX2559" fmla="*/ 714 w 10746"/>
                <a:gd name="connsiteY2559" fmla="*/ 8915 h 10000"/>
                <a:gd name="connsiteX2560" fmla="*/ 710 w 10746"/>
                <a:gd name="connsiteY2560" fmla="*/ 8940 h 10000"/>
                <a:gd name="connsiteX2561" fmla="*/ 710 w 10746"/>
                <a:gd name="connsiteY2561" fmla="*/ 9009 h 10000"/>
                <a:gd name="connsiteX2562" fmla="*/ 728 w 10746"/>
                <a:gd name="connsiteY2562" fmla="*/ 8991 h 10000"/>
                <a:gd name="connsiteX2563" fmla="*/ 733 w 10746"/>
                <a:gd name="connsiteY2563" fmla="*/ 8991 h 10000"/>
                <a:gd name="connsiteX2564" fmla="*/ 747 w 10746"/>
                <a:gd name="connsiteY2564" fmla="*/ 8983 h 10000"/>
                <a:gd name="connsiteX2565" fmla="*/ 760 w 10746"/>
                <a:gd name="connsiteY2565" fmla="*/ 8983 h 10000"/>
                <a:gd name="connsiteX2566" fmla="*/ 770 w 10746"/>
                <a:gd name="connsiteY2566" fmla="*/ 8983 h 10000"/>
                <a:gd name="connsiteX2567" fmla="*/ 770 w 10746"/>
                <a:gd name="connsiteY2567" fmla="*/ 8991 h 10000"/>
                <a:gd name="connsiteX2568" fmla="*/ 783 w 10746"/>
                <a:gd name="connsiteY2568" fmla="*/ 8991 h 10000"/>
                <a:gd name="connsiteX2569" fmla="*/ 783 w 10746"/>
                <a:gd name="connsiteY2569" fmla="*/ 9009 h 10000"/>
                <a:gd name="connsiteX2570" fmla="*/ 783 w 10746"/>
                <a:gd name="connsiteY2570" fmla="*/ 9017 h 10000"/>
                <a:gd name="connsiteX2571" fmla="*/ 770 w 10746"/>
                <a:gd name="connsiteY2571" fmla="*/ 9017 h 10000"/>
                <a:gd name="connsiteX2572" fmla="*/ 724 w 10746"/>
                <a:gd name="connsiteY2572" fmla="*/ 9051 h 10000"/>
                <a:gd name="connsiteX2573" fmla="*/ 724 w 10746"/>
                <a:gd name="connsiteY2573" fmla="*/ 9068 h 10000"/>
                <a:gd name="connsiteX2574" fmla="*/ 728 w 10746"/>
                <a:gd name="connsiteY2574" fmla="*/ 9077 h 10000"/>
                <a:gd name="connsiteX2575" fmla="*/ 724 w 10746"/>
                <a:gd name="connsiteY2575" fmla="*/ 9077 h 10000"/>
                <a:gd name="connsiteX2576" fmla="*/ 710 w 10746"/>
                <a:gd name="connsiteY2576" fmla="*/ 9077 h 10000"/>
                <a:gd name="connsiteX2577" fmla="*/ 682 w 10746"/>
                <a:gd name="connsiteY2577" fmla="*/ 9077 h 10000"/>
                <a:gd name="connsiteX2578" fmla="*/ 673 w 10746"/>
                <a:gd name="connsiteY2578" fmla="*/ 9103 h 10000"/>
                <a:gd name="connsiteX2579" fmla="*/ 687 w 10746"/>
                <a:gd name="connsiteY2579" fmla="*/ 9128 h 10000"/>
                <a:gd name="connsiteX2580" fmla="*/ 700 w 10746"/>
                <a:gd name="connsiteY2580" fmla="*/ 9128 h 10000"/>
                <a:gd name="connsiteX2581" fmla="*/ 728 w 10746"/>
                <a:gd name="connsiteY2581" fmla="*/ 9179 h 10000"/>
                <a:gd name="connsiteX2582" fmla="*/ 724 w 10746"/>
                <a:gd name="connsiteY2582" fmla="*/ 9188 h 10000"/>
                <a:gd name="connsiteX2583" fmla="*/ 710 w 10746"/>
                <a:gd name="connsiteY2583" fmla="*/ 9179 h 10000"/>
                <a:gd name="connsiteX2584" fmla="*/ 700 w 10746"/>
                <a:gd name="connsiteY2584" fmla="*/ 9205 h 10000"/>
                <a:gd name="connsiteX2585" fmla="*/ 696 w 10746"/>
                <a:gd name="connsiteY2585" fmla="*/ 9205 h 10000"/>
                <a:gd name="connsiteX2586" fmla="*/ 654 w 10746"/>
                <a:gd name="connsiteY2586" fmla="*/ 9299 h 10000"/>
                <a:gd name="connsiteX2587" fmla="*/ 622 w 10746"/>
                <a:gd name="connsiteY2587" fmla="*/ 9299 h 10000"/>
                <a:gd name="connsiteX2588" fmla="*/ 613 w 10746"/>
                <a:gd name="connsiteY2588" fmla="*/ 9316 h 10000"/>
                <a:gd name="connsiteX2589" fmla="*/ 613 w 10746"/>
                <a:gd name="connsiteY2589" fmla="*/ 9325 h 10000"/>
                <a:gd name="connsiteX2590" fmla="*/ 608 w 10746"/>
                <a:gd name="connsiteY2590" fmla="*/ 9342 h 10000"/>
                <a:gd name="connsiteX2591" fmla="*/ 636 w 10746"/>
                <a:gd name="connsiteY2591" fmla="*/ 9376 h 10000"/>
                <a:gd name="connsiteX2592" fmla="*/ 641 w 10746"/>
                <a:gd name="connsiteY2592" fmla="*/ 9402 h 10000"/>
                <a:gd name="connsiteX2593" fmla="*/ 654 w 10746"/>
                <a:gd name="connsiteY2593" fmla="*/ 9427 h 10000"/>
                <a:gd name="connsiteX2594" fmla="*/ 668 w 10746"/>
                <a:gd name="connsiteY2594" fmla="*/ 9427 h 10000"/>
                <a:gd name="connsiteX2595" fmla="*/ 668 w 10746"/>
                <a:gd name="connsiteY2595" fmla="*/ 9427 h 10000"/>
                <a:gd name="connsiteX2596" fmla="*/ 774 w 10746"/>
                <a:gd name="connsiteY2596" fmla="*/ 9547 h 10000"/>
                <a:gd name="connsiteX2597" fmla="*/ 797 w 10746"/>
                <a:gd name="connsiteY2597" fmla="*/ 9598 h 10000"/>
                <a:gd name="connsiteX2598" fmla="*/ 802 w 10746"/>
                <a:gd name="connsiteY2598" fmla="*/ 9598 h 10000"/>
                <a:gd name="connsiteX2599" fmla="*/ 816 w 10746"/>
                <a:gd name="connsiteY2599" fmla="*/ 9624 h 10000"/>
                <a:gd name="connsiteX2600" fmla="*/ 843 w 10746"/>
                <a:gd name="connsiteY2600" fmla="*/ 9615 h 10000"/>
                <a:gd name="connsiteX2601" fmla="*/ 857 w 10746"/>
                <a:gd name="connsiteY2601" fmla="*/ 9624 h 10000"/>
                <a:gd name="connsiteX2602" fmla="*/ 862 w 10746"/>
                <a:gd name="connsiteY2602" fmla="*/ 9615 h 10000"/>
                <a:gd name="connsiteX2603" fmla="*/ 880 w 10746"/>
                <a:gd name="connsiteY2603" fmla="*/ 9624 h 10000"/>
                <a:gd name="connsiteX2604" fmla="*/ 889 w 10746"/>
                <a:gd name="connsiteY2604" fmla="*/ 9641 h 10000"/>
                <a:gd name="connsiteX2605" fmla="*/ 935 w 10746"/>
                <a:gd name="connsiteY2605" fmla="*/ 9675 h 10000"/>
                <a:gd name="connsiteX2606" fmla="*/ 977 w 10746"/>
                <a:gd name="connsiteY2606" fmla="*/ 9667 h 10000"/>
                <a:gd name="connsiteX2607" fmla="*/ 995 w 10746"/>
                <a:gd name="connsiteY2607" fmla="*/ 9675 h 10000"/>
                <a:gd name="connsiteX2608" fmla="*/ 1014 w 10746"/>
                <a:gd name="connsiteY2608" fmla="*/ 9675 h 10000"/>
                <a:gd name="connsiteX2609" fmla="*/ 1069 w 10746"/>
                <a:gd name="connsiteY2609" fmla="*/ 9752 h 10000"/>
                <a:gd name="connsiteX2610" fmla="*/ 1074 w 10746"/>
                <a:gd name="connsiteY2610" fmla="*/ 9761 h 10000"/>
                <a:gd name="connsiteX2611" fmla="*/ 1083 w 10746"/>
                <a:gd name="connsiteY2611" fmla="*/ 9778 h 10000"/>
                <a:gd name="connsiteX2612" fmla="*/ 1115 w 10746"/>
                <a:gd name="connsiteY2612" fmla="*/ 9752 h 10000"/>
                <a:gd name="connsiteX2613" fmla="*/ 1129 w 10746"/>
                <a:gd name="connsiteY2613" fmla="*/ 9752 h 10000"/>
                <a:gd name="connsiteX2614" fmla="*/ 1138 w 10746"/>
                <a:gd name="connsiteY2614" fmla="*/ 9761 h 10000"/>
                <a:gd name="connsiteX2615" fmla="*/ 1143 w 10746"/>
                <a:gd name="connsiteY2615" fmla="*/ 9752 h 10000"/>
                <a:gd name="connsiteX2616" fmla="*/ 1161 w 10746"/>
                <a:gd name="connsiteY2616" fmla="*/ 9761 h 10000"/>
                <a:gd name="connsiteX2617" fmla="*/ 1171 w 10746"/>
                <a:gd name="connsiteY2617" fmla="*/ 9778 h 10000"/>
                <a:gd name="connsiteX2618" fmla="*/ 1175 w 10746"/>
                <a:gd name="connsiteY2618" fmla="*/ 9778 h 10000"/>
                <a:gd name="connsiteX2619" fmla="*/ 1189 w 10746"/>
                <a:gd name="connsiteY2619" fmla="*/ 9778 h 10000"/>
                <a:gd name="connsiteX2620" fmla="*/ 1198 w 10746"/>
                <a:gd name="connsiteY2620" fmla="*/ 9786 h 10000"/>
                <a:gd name="connsiteX2621" fmla="*/ 1203 w 10746"/>
                <a:gd name="connsiteY2621" fmla="*/ 9803 h 10000"/>
                <a:gd name="connsiteX2622" fmla="*/ 1198 w 10746"/>
                <a:gd name="connsiteY2622" fmla="*/ 9838 h 10000"/>
                <a:gd name="connsiteX2623" fmla="*/ 1212 w 10746"/>
                <a:gd name="connsiteY2623" fmla="*/ 9863 h 10000"/>
                <a:gd name="connsiteX2624" fmla="*/ 1230 w 10746"/>
                <a:gd name="connsiteY2624" fmla="*/ 9872 h 10000"/>
                <a:gd name="connsiteX2625" fmla="*/ 1249 w 10746"/>
                <a:gd name="connsiteY2625" fmla="*/ 9897 h 10000"/>
                <a:gd name="connsiteX2626" fmla="*/ 1263 w 10746"/>
                <a:gd name="connsiteY2626" fmla="*/ 9897 h 10000"/>
                <a:gd name="connsiteX2627" fmla="*/ 1276 w 10746"/>
                <a:gd name="connsiteY2627" fmla="*/ 9923 h 10000"/>
                <a:gd name="connsiteX2628" fmla="*/ 1281 w 10746"/>
                <a:gd name="connsiteY2628" fmla="*/ 9949 h 10000"/>
                <a:gd name="connsiteX2629" fmla="*/ 1290 w 10746"/>
                <a:gd name="connsiteY2629" fmla="*/ 9949 h 10000"/>
                <a:gd name="connsiteX2630" fmla="*/ 1295 w 10746"/>
                <a:gd name="connsiteY2630" fmla="*/ 10000 h 10000"/>
                <a:gd name="connsiteX2631" fmla="*/ 1332 w 10746"/>
                <a:gd name="connsiteY2631" fmla="*/ 10000 h 10000"/>
                <a:gd name="connsiteX2632" fmla="*/ 1336 w 10746"/>
                <a:gd name="connsiteY2632" fmla="*/ 10000 h 10000"/>
                <a:gd name="connsiteX2633" fmla="*/ 1346 w 10746"/>
                <a:gd name="connsiteY2633" fmla="*/ 9983 h 10000"/>
                <a:gd name="connsiteX2634" fmla="*/ 1350 w 10746"/>
                <a:gd name="connsiteY2634" fmla="*/ 9949 h 10000"/>
                <a:gd name="connsiteX2635" fmla="*/ 1369 w 10746"/>
                <a:gd name="connsiteY2635" fmla="*/ 9940 h 10000"/>
                <a:gd name="connsiteX2636" fmla="*/ 1378 w 10746"/>
                <a:gd name="connsiteY2636" fmla="*/ 9897 h 10000"/>
                <a:gd name="connsiteX2637" fmla="*/ 1369 w 10746"/>
                <a:gd name="connsiteY2637" fmla="*/ 9889 h 10000"/>
                <a:gd name="connsiteX2638" fmla="*/ 1318 w 10746"/>
                <a:gd name="connsiteY2638" fmla="*/ 9701 h 10000"/>
                <a:gd name="connsiteX2639" fmla="*/ 1318 w 10746"/>
                <a:gd name="connsiteY2639" fmla="*/ 9650 h 10000"/>
                <a:gd name="connsiteX2640" fmla="*/ 1323 w 10746"/>
                <a:gd name="connsiteY2640" fmla="*/ 9590 h 10000"/>
                <a:gd name="connsiteX2641" fmla="*/ 1323 w 10746"/>
                <a:gd name="connsiteY2641" fmla="*/ 9564 h 10000"/>
                <a:gd name="connsiteX2642" fmla="*/ 1309 w 10746"/>
                <a:gd name="connsiteY2642" fmla="*/ 9598 h 10000"/>
                <a:gd name="connsiteX2643" fmla="*/ 1309 w 10746"/>
                <a:gd name="connsiteY2643" fmla="*/ 9590 h 10000"/>
                <a:gd name="connsiteX2644" fmla="*/ 1304 w 10746"/>
                <a:gd name="connsiteY2644" fmla="*/ 9547 h 10000"/>
                <a:gd name="connsiteX2645" fmla="*/ 1276 w 10746"/>
                <a:gd name="connsiteY2645" fmla="*/ 9479 h 10000"/>
                <a:gd name="connsiteX2646" fmla="*/ 1263 w 10746"/>
                <a:gd name="connsiteY2646" fmla="*/ 9479 h 10000"/>
                <a:gd name="connsiteX2647" fmla="*/ 1263 w 10746"/>
                <a:gd name="connsiteY2647" fmla="*/ 9453 h 10000"/>
                <a:gd name="connsiteX2648" fmla="*/ 1272 w 10746"/>
                <a:gd name="connsiteY2648" fmla="*/ 9410 h 10000"/>
                <a:gd name="connsiteX2649" fmla="*/ 1272 w 10746"/>
                <a:gd name="connsiteY2649" fmla="*/ 9393 h 10000"/>
                <a:gd name="connsiteX2650" fmla="*/ 1281 w 10746"/>
                <a:gd name="connsiteY2650" fmla="*/ 9368 h 10000"/>
                <a:gd name="connsiteX2651" fmla="*/ 1281 w 10746"/>
                <a:gd name="connsiteY2651" fmla="*/ 9368 h 10000"/>
                <a:gd name="connsiteX2652" fmla="*/ 1290 w 10746"/>
                <a:gd name="connsiteY2652" fmla="*/ 9368 h 10000"/>
                <a:gd name="connsiteX2653" fmla="*/ 1290 w 10746"/>
                <a:gd name="connsiteY2653" fmla="*/ 9342 h 10000"/>
                <a:gd name="connsiteX2654" fmla="*/ 1304 w 10746"/>
                <a:gd name="connsiteY2654" fmla="*/ 9325 h 10000"/>
                <a:gd name="connsiteX2655" fmla="*/ 1309 w 10746"/>
                <a:gd name="connsiteY2655" fmla="*/ 9239 h 10000"/>
                <a:gd name="connsiteX2656" fmla="*/ 1318 w 10746"/>
                <a:gd name="connsiteY2656" fmla="*/ 9256 h 10000"/>
                <a:gd name="connsiteX2657" fmla="*/ 1323 w 10746"/>
                <a:gd name="connsiteY2657" fmla="*/ 9179 h 10000"/>
                <a:gd name="connsiteX2658" fmla="*/ 1309 w 10746"/>
                <a:gd name="connsiteY2658" fmla="*/ 9145 h 10000"/>
                <a:gd name="connsiteX2659" fmla="*/ 1336 w 10746"/>
                <a:gd name="connsiteY2659" fmla="*/ 9154 h 10000"/>
                <a:gd name="connsiteX2660" fmla="*/ 1336 w 10746"/>
                <a:gd name="connsiteY2660" fmla="*/ 9162 h 10000"/>
                <a:gd name="connsiteX2661" fmla="*/ 1350 w 10746"/>
                <a:gd name="connsiteY2661" fmla="*/ 9231 h 10000"/>
                <a:gd name="connsiteX2662" fmla="*/ 1355 w 10746"/>
                <a:gd name="connsiteY2662" fmla="*/ 9231 h 10000"/>
                <a:gd name="connsiteX2663" fmla="*/ 1364 w 10746"/>
                <a:gd name="connsiteY2663" fmla="*/ 9214 h 10000"/>
                <a:gd name="connsiteX2664" fmla="*/ 1369 w 10746"/>
                <a:gd name="connsiteY2664" fmla="*/ 9214 h 10000"/>
                <a:gd name="connsiteX2665" fmla="*/ 1382 w 10746"/>
                <a:gd name="connsiteY2665" fmla="*/ 9154 h 10000"/>
                <a:gd name="connsiteX2666" fmla="*/ 1396 w 10746"/>
                <a:gd name="connsiteY2666" fmla="*/ 9154 h 10000"/>
                <a:gd name="connsiteX2667" fmla="*/ 1382 w 10746"/>
                <a:gd name="connsiteY2667" fmla="*/ 9145 h 10000"/>
                <a:gd name="connsiteX2668" fmla="*/ 1382 w 10746"/>
                <a:gd name="connsiteY2668" fmla="*/ 9128 h 10000"/>
                <a:gd name="connsiteX2669" fmla="*/ 1369 w 10746"/>
                <a:gd name="connsiteY2669" fmla="*/ 9128 h 10000"/>
                <a:gd name="connsiteX2670" fmla="*/ 1364 w 10746"/>
                <a:gd name="connsiteY2670" fmla="*/ 9128 h 10000"/>
                <a:gd name="connsiteX2671" fmla="*/ 1355 w 10746"/>
                <a:gd name="connsiteY2671" fmla="*/ 9120 h 10000"/>
                <a:gd name="connsiteX2672" fmla="*/ 1350 w 10746"/>
                <a:gd name="connsiteY2672" fmla="*/ 9103 h 10000"/>
                <a:gd name="connsiteX2673" fmla="*/ 1355 w 10746"/>
                <a:gd name="connsiteY2673" fmla="*/ 9094 h 10000"/>
                <a:gd name="connsiteX2674" fmla="*/ 1355 w 10746"/>
                <a:gd name="connsiteY2674" fmla="*/ 9068 h 10000"/>
                <a:gd name="connsiteX2675" fmla="*/ 1369 w 10746"/>
                <a:gd name="connsiteY2675" fmla="*/ 9068 h 10000"/>
                <a:gd name="connsiteX2676" fmla="*/ 1378 w 10746"/>
                <a:gd name="connsiteY2676" fmla="*/ 9077 h 10000"/>
                <a:gd name="connsiteX2677" fmla="*/ 1396 w 10746"/>
                <a:gd name="connsiteY2677" fmla="*/ 9068 h 10000"/>
                <a:gd name="connsiteX2678" fmla="*/ 1382 w 10746"/>
                <a:gd name="connsiteY2678" fmla="*/ 8940 h 10000"/>
                <a:gd name="connsiteX2679" fmla="*/ 1378 w 10746"/>
                <a:gd name="connsiteY2679" fmla="*/ 8940 h 10000"/>
                <a:gd name="connsiteX2680" fmla="*/ 1364 w 10746"/>
                <a:gd name="connsiteY2680" fmla="*/ 8889 h 10000"/>
                <a:gd name="connsiteX2681" fmla="*/ 1355 w 10746"/>
                <a:gd name="connsiteY2681" fmla="*/ 8880 h 10000"/>
                <a:gd name="connsiteX2682" fmla="*/ 1323 w 10746"/>
                <a:gd name="connsiteY2682" fmla="*/ 8880 h 10000"/>
                <a:gd name="connsiteX2683" fmla="*/ 1309 w 10746"/>
                <a:gd name="connsiteY2683" fmla="*/ 8880 h 10000"/>
                <a:gd name="connsiteX2684" fmla="*/ 1309 w 10746"/>
                <a:gd name="connsiteY2684" fmla="*/ 8889 h 10000"/>
                <a:gd name="connsiteX2685" fmla="*/ 1295 w 10746"/>
                <a:gd name="connsiteY2685" fmla="*/ 8872 h 10000"/>
                <a:gd name="connsiteX2686" fmla="*/ 1290 w 10746"/>
                <a:gd name="connsiteY2686" fmla="*/ 8855 h 10000"/>
                <a:gd name="connsiteX2687" fmla="*/ 1290 w 10746"/>
                <a:gd name="connsiteY2687" fmla="*/ 8829 h 10000"/>
                <a:gd name="connsiteX2688" fmla="*/ 1290 w 10746"/>
                <a:gd name="connsiteY2688" fmla="*/ 8821 h 10000"/>
                <a:gd name="connsiteX2689" fmla="*/ 1290 w 10746"/>
                <a:gd name="connsiteY2689" fmla="*/ 8803 h 10000"/>
                <a:gd name="connsiteX2690" fmla="*/ 1281 w 10746"/>
                <a:gd name="connsiteY2690" fmla="*/ 8795 h 10000"/>
                <a:gd name="connsiteX2691" fmla="*/ 1249 w 10746"/>
                <a:gd name="connsiteY2691" fmla="*/ 8769 h 10000"/>
                <a:gd name="connsiteX2692" fmla="*/ 1263 w 10746"/>
                <a:gd name="connsiteY2692" fmla="*/ 8667 h 10000"/>
                <a:gd name="connsiteX2693" fmla="*/ 1281 w 10746"/>
                <a:gd name="connsiteY2693" fmla="*/ 8658 h 10000"/>
                <a:gd name="connsiteX2694" fmla="*/ 1290 w 10746"/>
                <a:gd name="connsiteY2694" fmla="*/ 8632 h 10000"/>
                <a:gd name="connsiteX2695" fmla="*/ 1281 w 10746"/>
                <a:gd name="connsiteY2695" fmla="*/ 8615 h 10000"/>
                <a:gd name="connsiteX2696" fmla="*/ 1272 w 10746"/>
                <a:gd name="connsiteY2696" fmla="*/ 8598 h 10000"/>
                <a:gd name="connsiteX2697" fmla="*/ 1281 w 10746"/>
                <a:gd name="connsiteY2697" fmla="*/ 8496 h 10000"/>
                <a:gd name="connsiteX2698" fmla="*/ 1295 w 10746"/>
                <a:gd name="connsiteY2698" fmla="*/ 8470 h 10000"/>
                <a:gd name="connsiteX2699" fmla="*/ 1304 w 10746"/>
                <a:gd name="connsiteY2699" fmla="*/ 8462 h 10000"/>
                <a:gd name="connsiteX2700" fmla="*/ 1304 w 10746"/>
                <a:gd name="connsiteY2700" fmla="*/ 8444 h 10000"/>
                <a:gd name="connsiteX2701" fmla="*/ 1304 w 10746"/>
                <a:gd name="connsiteY2701" fmla="*/ 8419 h 10000"/>
                <a:gd name="connsiteX2702" fmla="*/ 1304 w 10746"/>
                <a:gd name="connsiteY2702" fmla="*/ 8410 h 10000"/>
                <a:gd name="connsiteX2703" fmla="*/ 1309 w 10746"/>
                <a:gd name="connsiteY2703" fmla="*/ 8393 h 10000"/>
                <a:gd name="connsiteX2704" fmla="*/ 1318 w 10746"/>
                <a:gd name="connsiteY2704" fmla="*/ 8385 h 10000"/>
                <a:gd name="connsiteX2705" fmla="*/ 1323 w 10746"/>
                <a:gd name="connsiteY2705" fmla="*/ 8385 h 10000"/>
                <a:gd name="connsiteX2706" fmla="*/ 1332 w 10746"/>
                <a:gd name="connsiteY2706" fmla="*/ 8410 h 10000"/>
                <a:gd name="connsiteX2707" fmla="*/ 1346 w 10746"/>
                <a:gd name="connsiteY2707" fmla="*/ 8419 h 10000"/>
                <a:gd name="connsiteX2708" fmla="*/ 1364 w 10746"/>
                <a:gd name="connsiteY2708" fmla="*/ 8504 h 10000"/>
                <a:gd name="connsiteX2709" fmla="*/ 1369 w 10746"/>
                <a:gd name="connsiteY2709" fmla="*/ 8521 h 10000"/>
                <a:gd name="connsiteX2710" fmla="*/ 1406 w 10746"/>
                <a:gd name="connsiteY2710" fmla="*/ 8470 h 10000"/>
                <a:gd name="connsiteX2711" fmla="*/ 1382 w 10746"/>
                <a:gd name="connsiteY2711" fmla="*/ 8359 h 10000"/>
                <a:gd name="connsiteX2712" fmla="*/ 1392 w 10746"/>
                <a:gd name="connsiteY2712" fmla="*/ 8359 h 10000"/>
                <a:gd name="connsiteX2713" fmla="*/ 1438 w 10746"/>
                <a:gd name="connsiteY2713" fmla="*/ 8308 h 10000"/>
                <a:gd name="connsiteX2714" fmla="*/ 1442 w 10746"/>
                <a:gd name="connsiteY2714" fmla="*/ 8299 h 10000"/>
                <a:gd name="connsiteX2715" fmla="*/ 1442 w 10746"/>
                <a:gd name="connsiteY2715" fmla="*/ 8256 h 10000"/>
                <a:gd name="connsiteX2716" fmla="*/ 1452 w 10746"/>
                <a:gd name="connsiteY2716" fmla="*/ 8256 h 10000"/>
                <a:gd name="connsiteX2717" fmla="*/ 1456 w 10746"/>
                <a:gd name="connsiteY2717" fmla="*/ 8256 h 10000"/>
                <a:gd name="connsiteX2718" fmla="*/ 1470 w 10746"/>
                <a:gd name="connsiteY2718" fmla="*/ 8248 h 10000"/>
                <a:gd name="connsiteX2719" fmla="*/ 1479 w 10746"/>
                <a:gd name="connsiteY2719" fmla="*/ 8231 h 10000"/>
                <a:gd name="connsiteX2720" fmla="*/ 1493 w 10746"/>
                <a:gd name="connsiteY2720" fmla="*/ 8222 h 10000"/>
                <a:gd name="connsiteX2721" fmla="*/ 1498 w 10746"/>
                <a:gd name="connsiteY2721" fmla="*/ 8214 h 10000"/>
                <a:gd name="connsiteX2722" fmla="*/ 1502 w 10746"/>
                <a:gd name="connsiteY2722" fmla="*/ 8197 h 10000"/>
                <a:gd name="connsiteX2723" fmla="*/ 1512 w 10746"/>
                <a:gd name="connsiteY2723" fmla="*/ 8188 h 10000"/>
                <a:gd name="connsiteX2724" fmla="*/ 1516 w 10746"/>
                <a:gd name="connsiteY2724" fmla="*/ 8171 h 10000"/>
                <a:gd name="connsiteX2725" fmla="*/ 1525 w 10746"/>
                <a:gd name="connsiteY2725" fmla="*/ 8162 h 10000"/>
                <a:gd name="connsiteX2726" fmla="*/ 1539 w 10746"/>
                <a:gd name="connsiteY2726" fmla="*/ 8145 h 10000"/>
                <a:gd name="connsiteX2727" fmla="*/ 1558 w 10746"/>
                <a:gd name="connsiteY2727" fmla="*/ 8145 h 10000"/>
                <a:gd name="connsiteX2728" fmla="*/ 1562 w 10746"/>
                <a:gd name="connsiteY2728" fmla="*/ 8188 h 10000"/>
                <a:gd name="connsiteX2729" fmla="*/ 1585 w 10746"/>
                <a:gd name="connsiteY2729" fmla="*/ 8171 h 10000"/>
                <a:gd name="connsiteX2730" fmla="*/ 1590 w 10746"/>
                <a:gd name="connsiteY2730" fmla="*/ 8188 h 10000"/>
                <a:gd name="connsiteX2731" fmla="*/ 1599 w 10746"/>
                <a:gd name="connsiteY2731" fmla="*/ 8171 h 10000"/>
                <a:gd name="connsiteX2732" fmla="*/ 1599 w 10746"/>
                <a:gd name="connsiteY2732" fmla="*/ 8162 h 10000"/>
                <a:gd name="connsiteX2733" fmla="*/ 1604 w 10746"/>
                <a:gd name="connsiteY2733" fmla="*/ 8137 h 10000"/>
                <a:gd name="connsiteX2734" fmla="*/ 1618 w 10746"/>
                <a:gd name="connsiteY2734" fmla="*/ 8145 h 10000"/>
                <a:gd name="connsiteX2735" fmla="*/ 1627 w 10746"/>
                <a:gd name="connsiteY2735" fmla="*/ 8137 h 10000"/>
                <a:gd name="connsiteX2736" fmla="*/ 1631 w 10746"/>
                <a:gd name="connsiteY2736" fmla="*/ 8137 h 10000"/>
                <a:gd name="connsiteX2737" fmla="*/ 1636 w 10746"/>
                <a:gd name="connsiteY2737" fmla="*/ 8171 h 10000"/>
                <a:gd name="connsiteX2738" fmla="*/ 1645 w 10746"/>
                <a:gd name="connsiteY2738" fmla="*/ 8188 h 10000"/>
                <a:gd name="connsiteX2739" fmla="*/ 1664 w 10746"/>
                <a:gd name="connsiteY2739" fmla="*/ 8171 h 10000"/>
                <a:gd name="connsiteX2740" fmla="*/ 1673 w 10746"/>
                <a:gd name="connsiteY2740" fmla="*/ 8188 h 10000"/>
                <a:gd name="connsiteX2741" fmla="*/ 1691 w 10746"/>
                <a:gd name="connsiteY2741" fmla="*/ 8171 h 10000"/>
                <a:gd name="connsiteX2742" fmla="*/ 1705 w 10746"/>
                <a:gd name="connsiteY2742" fmla="*/ 8171 h 10000"/>
                <a:gd name="connsiteX2743" fmla="*/ 1719 w 10746"/>
                <a:gd name="connsiteY2743" fmla="*/ 8197 h 10000"/>
                <a:gd name="connsiteX2744" fmla="*/ 1724 w 10746"/>
                <a:gd name="connsiteY2744" fmla="*/ 8231 h 10000"/>
                <a:gd name="connsiteX2745" fmla="*/ 1751 w 10746"/>
                <a:gd name="connsiteY2745" fmla="*/ 8256 h 10000"/>
                <a:gd name="connsiteX2746" fmla="*/ 1751 w 10746"/>
                <a:gd name="connsiteY2746" fmla="*/ 8274 h 10000"/>
                <a:gd name="connsiteX2747" fmla="*/ 1760 w 10746"/>
                <a:gd name="connsiteY2747" fmla="*/ 8282 h 10000"/>
                <a:gd name="connsiteX2748" fmla="*/ 1770 w 10746"/>
                <a:gd name="connsiteY2748" fmla="*/ 8325 h 10000"/>
                <a:gd name="connsiteX2749" fmla="*/ 1770 w 10746"/>
                <a:gd name="connsiteY2749" fmla="*/ 8350 h 10000"/>
                <a:gd name="connsiteX2750" fmla="*/ 1779 w 10746"/>
                <a:gd name="connsiteY2750" fmla="*/ 8368 h 10000"/>
                <a:gd name="connsiteX2751" fmla="*/ 1783 w 10746"/>
                <a:gd name="connsiteY2751" fmla="*/ 8359 h 10000"/>
                <a:gd name="connsiteX2752" fmla="*/ 1783 w 10746"/>
                <a:gd name="connsiteY2752" fmla="*/ 8308 h 10000"/>
                <a:gd name="connsiteX2753" fmla="*/ 1779 w 10746"/>
                <a:gd name="connsiteY2753" fmla="*/ 8299 h 10000"/>
                <a:gd name="connsiteX2754" fmla="*/ 1783 w 10746"/>
                <a:gd name="connsiteY2754" fmla="*/ 8282 h 10000"/>
                <a:gd name="connsiteX2755" fmla="*/ 1797 w 10746"/>
                <a:gd name="connsiteY2755" fmla="*/ 8274 h 10000"/>
                <a:gd name="connsiteX2756" fmla="*/ 1797 w 10746"/>
                <a:gd name="connsiteY2756" fmla="*/ 8299 h 10000"/>
                <a:gd name="connsiteX2757" fmla="*/ 1806 w 10746"/>
                <a:gd name="connsiteY2757" fmla="*/ 8308 h 10000"/>
                <a:gd name="connsiteX2758" fmla="*/ 1811 w 10746"/>
                <a:gd name="connsiteY2758" fmla="*/ 8325 h 10000"/>
                <a:gd name="connsiteX2759" fmla="*/ 1820 w 10746"/>
                <a:gd name="connsiteY2759" fmla="*/ 8333 h 10000"/>
                <a:gd name="connsiteX2760" fmla="*/ 1853 w 10746"/>
                <a:gd name="connsiteY2760" fmla="*/ 8359 h 10000"/>
                <a:gd name="connsiteX2761" fmla="*/ 1866 w 10746"/>
                <a:gd name="connsiteY2761" fmla="*/ 8359 h 10000"/>
                <a:gd name="connsiteX2762" fmla="*/ 1885 w 10746"/>
                <a:gd name="connsiteY2762" fmla="*/ 8325 h 10000"/>
                <a:gd name="connsiteX2763" fmla="*/ 1885 w 10746"/>
                <a:gd name="connsiteY2763" fmla="*/ 8308 h 10000"/>
                <a:gd name="connsiteX2764" fmla="*/ 1894 w 10746"/>
                <a:gd name="connsiteY2764" fmla="*/ 8299 h 10000"/>
                <a:gd name="connsiteX2765" fmla="*/ 1899 w 10746"/>
                <a:gd name="connsiteY2765" fmla="*/ 8282 h 10000"/>
                <a:gd name="connsiteX2766" fmla="*/ 1912 w 10746"/>
                <a:gd name="connsiteY2766" fmla="*/ 8282 h 10000"/>
                <a:gd name="connsiteX2767" fmla="*/ 1917 w 10746"/>
                <a:gd name="connsiteY2767" fmla="*/ 8299 h 10000"/>
                <a:gd name="connsiteX2768" fmla="*/ 1917 w 10746"/>
                <a:gd name="connsiteY2768" fmla="*/ 8274 h 10000"/>
                <a:gd name="connsiteX2769" fmla="*/ 1940 w 10746"/>
                <a:gd name="connsiteY2769" fmla="*/ 8282 h 10000"/>
                <a:gd name="connsiteX2770" fmla="*/ 1945 w 10746"/>
                <a:gd name="connsiteY2770" fmla="*/ 8274 h 10000"/>
                <a:gd name="connsiteX2771" fmla="*/ 1972 w 10746"/>
                <a:gd name="connsiteY2771" fmla="*/ 8308 h 10000"/>
                <a:gd name="connsiteX2772" fmla="*/ 1986 w 10746"/>
                <a:gd name="connsiteY2772" fmla="*/ 8282 h 10000"/>
                <a:gd name="connsiteX2773" fmla="*/ 1991 w 10746"/>
                <a:gd name="connsiteY2773" fmla="*/ 8274 h 10000"/>
                <a:gd name="connsiteX2774" fmla="*/ 2014 w 10746"/>
                <a:gd name="connsiteY2774" fmla="*/ 8274 h 10000"/>
                <a:gd name="connsiteX2775" fmla="*/ 2018 w 10746"/>
                <a:gd name="connsiteY2775" fmla="*/ 8256 h 10000"/>
                <a:gd name="connsiteX2776" fmla="*/ 2041 w 10746"/>
                <a:gd name="connsiteY2776" fmla="*/ 8274 h 10000"/>
                <a:gd name="connsiteX2777" fmla="*/ 2046 w 10746"/>
                <a:gd name="connsiteY2777" fmla="*/ 8282 h 10000"/>
                <a:gd name="connsiteX2778" fmla="*/ 2046 w 10746"/>
                <a:gd name="connsiteY2778" fmla="*/ 8325 h 10000"/>
                <a:gd name="connsiteX2779" fmla="*/ 2060 w 10746"/>
                <a:gd name="connsiteY2779" fmla="*/ 8350 h 10000"/>
                <a:gd name="connsiteX2780" fmla="*/ 2078 w 10746"/>
                <a:gd name="connsiteY2780" fmla="*/ 8350 h 10000"/>
                <a:gd name="connsiteX2781" fmla="*/ 2092 w 10746"/>
                <a:gd name="connsiteY2781" fmla="*/ 8350 h 10000"/>
                <a:gd name="connsiteX2782" fmla="*/ 2092 w 10746"/>
                <a:gd name="connsiteY2782" fmla="*/ 8350 h 10000"/>
                <a:gd name="connsiteX2783" fmla="*/ 2101 w 10746"/>
                <a:gd name="connsiteY2783" fmla="*/ 8368 h 10000"/>
                <a:gd name="connsiteX2784" fmla="*/ 2120 w 10746"/>
                <a:gd name="connsiteY2784" fmla="*/ 8368 h 10000"/>
                <a:gd name="connsiteX2785" fmla="*/ 2124 w 10746"/>
                <a:gd name="connsiteY2785" fmla="*/ 8359 h 10000"/>
                <a:gd name="connsiteX2786" fmla="*/ 2138 w 10746"/>
                <a:gd name="connsiteY2786" fmla="*/ 8325 h 10000"/>
                <a:gd name="connsiteX2787" fmla="*/ 2147 w 10746"/>
                <a:gd name="connsiteY2787" fmla="*/ 8325 h 10000"/>
                <a:gd name="connsiteX2788" fmla="*/ 2161 w 10746"/>
                <a:gd name="connsiteY2788" fmla="*/ 8350 h 10000"/>
                <a:gd name="connsiteX2789" fmla="*/ 2198 w 10746"/>
                <a:gd name="connsiteY2789" fmla="*/ 8350 h 10000"/>
                <a:gd name="connsiteX2790" fmla="*/ 2207 w 10746"/>
                <a:gd name="connsiteY2790" fmla="*/ 8333 h 10000"/>
                <a:gd name="connsiteX2791" fmla="*/ 2226 w 10746"/>
                <a:gd name="connsiteY2791" fmla="*/ 8325 h 10000"/>
                <a:gd name="connsiteX2792" fmla="*/ 2249 w 10746"/>
                <a:gd name="connsiteY2792" fmla="*/ 8222 h 10000"/>
                <a:gd name="connsiteX2793" fmla="*/ 2235 w 10746"/>
                <a:gd name="connsiteY2793" fmla="*/ 8197 h 10000"/>
                <a:gd name="connsiteX2794" fmla="*/ 2198 w 10746"/>
                <a:gd name="connsiteY2794" fmla="*/ 8197 h 10000"/>
                <a:gd name="connsiteX2795" fmla="*/ 2189 w 10746"/>
                <a:gd name="connsiteY2795" fmla="*/ 8171 h 10000"/>
                <a:gd name="connsiteX2796" fmla="*/ 2161 w 10746"/>
                <a:gd name="connsiteY2796" fmla="*/ 8145 h 10000"/>
                <a:gd name="connsiteX2797" fmla="*/ 2161 w 10746"/>
                <a:gd name="connsiteY2797" fmla="*/ 8137 h 10000"/>
                <a:gd name="connsiteX2798" fmla="*/ 2152 w 10746"/>
                <a:gd name="connsiteY2798" fmla="*/ 8120 h 10000"/>
                <a:gd name="connsiteX2799" fmla="*/ 2138 w 10746"/>
                <a:gd name="connsiteY2799" fmla="*/ 8111 h 10000"/>
                <a:gd name="connsiteX2800" fmla="*/ 2138 w 10746"/>
                <a:gd name="connsiteY2800" fmla="*/ 8094 h 10000"/>
                <a:gd name="connsiteX2801" fmla="*/ 2147 w 10746"/>
                <a:gd name="connsiteY2801" fmla="*/ 8085 h 10000"/>
                <a:gd name="connsiteX2802" fmla="*/ 2161 w 10746"/>
                <a:gd name="connsiteY2802" fmla="*/ 8060 h 10000"/>
                <a:gd name="connsiteX2803" fmla="*/ 2198 w 10746"/>
                <a:gd name="connsiteY2803" fmla="*/ 8034 h 10000"/>
                <a:gd name="connsiteX2804" fmla="*/ 2198 w 10746"/>
                <a:gd name="connsiteY2804" fmla="*/ 8026 h 10000"/>
                <a:gd name="connsiteX2805" fmla="*/ 2198 w 10746"/>
                <a:gd name="connsiteY2805" fmla="*/ 8000 h 10000"/>
                <a:gd name="connsiteX2806" fmla="*/ 2180 w 10746"/>
                <a:gd name="connsiteY2806" fmla="*/ 7940 h 10000"/>
                <a:gd name="connsiteX2807" fmla="*/ 2189 w 10746"/>
                <a:gd name="connsiteY2807" fmla="*/ 7940 h 10000"/>
                <a:gd name="connsiteX2808" fmla="*/ 2198 w 10746"/>
                <a:gd name="connsiteY2808" fmla="*/ 7923 h 10000"/>
                <a:gd name="connsiteX2809" fmla="*/ 2198 w 10746"/>
                <a:gd name="connsiteY2809" fmla="*/ 7897 h 10000"/>
                <a:gd name="connsiteX2810" fmla="*/ 2207 w 10746"/>
                <a:gd name="connsiteY2810" fmla="*/ 7889 h 10000"/>
                <a:gd name="connsiteX2811" fmla="*/ 2221 w 10746"/>
                <a:gd name="connsiteY2811" fmla="*/ 7889 h 10000"/>
                <a:gd name="connsiteX2812" fmla="*/ 2226 w 10746"/>
                <a:gd name="connsiteY2812" fmla="*/ 7897 h 10000"/>
                <a:gd name="connsiteX2813" fmla="*/ 2235 w 10746"/>
                <a:gd name="connsiteY2813" fmla="*/ 7889 h 10000"/>
                <a:gd name="connsiteX2814" fmla="*/ 2249 w 10746"/>
                <a:gd name="connsiteY2814" fmla="*/ 7897 h 10000"/>
                <a:gd name="connsiteX2815" fmla="*/ 2267 w 10746"/>
                <a:gd name="connsiteY2815" fmla="*/ 7897 h 10000"/>
                <a:gd name="connsiteX2816" fmla="*/ 2272 w 10746"/>
                <a:gd name="connsiteY2816" fmla="*/ 7889 h 10000"/>
                <a:gd name="connsiteX2817" fmla="*/ 2281 w 10746"/>
                <a:gd name="connsiteY2817" fmla="*/ 7872 h 10000"/>
                <a:gd name="connsiteX2818" fmla="*/ 2272 w 10746"/>
                <a:gd name="connsiteY2818" fmla="*/ 7846 h 10000"/>
                <a:gd name="connsiteX2819" fmla="*/ 2253 w 10746"/>
                <a:gd name="connsiteY2819" fmla="*/ 7838 h 10000"/>
                <a:gd name="connsiteX2820" fmla="*/ 2221 w 10746"/>
                <a:gd name="connsiteY2820" fmla="*/ 7821 h 10000"/>
                <a:gd name="connsiteX2821" fmla="*/ 2212 w 10746"/>
                <a:gd name="connsiteY2821" fmla="*/ 7812 h 10000"/>
                <a:gd name="connsiteX2822" fmla="*/ 2212 w 10746"/>
                <a:gd name="connsiteY2822" fmla="*/ 7803 h 10000"/>
                <a:gd name="connsiteX2823" fmla="*/ 2221 w 10746"/>
                <a:gd name="connsiteY2823" fmla="*/ 7803 h 10000"/>
                <a:gd name="connsiteX2824" fmla="*/ 2235 w 10746"/>
                <a:gd name="connsiteY2824" fmla="*/ 7786 h 10000"/>
                <a:gd name="connsiteX2825" fmla="*/ 2240 w 10746"/>
                <a:gd name="connsiteY2825" fmla="*/ 7778 h 10000"/>
                <a:gd name="connsiteX2826" fmla="*/ 2226 w 10746"/>
                <a:gd name="connsiteY2826" fmla="*/ 7761 h 10000"/>
                <a:gd name="connsiteX2827" fmla="*/ 2221 w 10746"/>
                <a:gd name="connsiteY2827" fmla="*/ 7778 h 10000"/>
                <a:gd name="connsiteX2828" fmla="*/ 2198 w 10746"/>
                <a:gd name="connsiteY2828" fmla="*/ 7778 h 10000"/>
                <a:gd name="connsiteX2829" fmla="*/ 2198 w 10746"/>
                <a:gd name="connsiteY2829" fmla="*/ 7752 h 10000"/>
                <a:gd name="connsiteX2830" fmla="*/ 2207 w 10746"/>
                <a:gd name="connsiteY2830" fmla="*/ 7735 h 10000"/>
                <a:gd name="connsiteX2831" fmla="*/ 2212 w 10746"/>
                <a:gd name="connsiteY2831" fmla="*/ 7726 h 10000"/>
                <a:gd name="connsiteX2832" fmla="*/ 2198 w 10746"/>
                <a:gd name="connsiteY2832" fmla="*/ 7692 h 10000"/>
                <a:gd name="connsiteX2833" fmla="*/ 2221 w 10746"/>
                <a:gd name="connsiteY2833" fmla="*/ 7692 h 10000"/>
                <a:gd name="connsiteX2834" fmla="*/ 2221 w 10746"/>
                <a:gd name="connsiteY2834" fmla="*/ 7675 h 10000"/>
                <a:gd name="connsiteX2835" fmla="*/ 2235 w 10746"/>
                <a:gd name="connsiteY2835" fmla="*/ 7675 h 10000"/>
                <a:gd name="connsiteX2836" fmla="*/ 2240 w 10746"/>
                <a:gd name="connsiteY2836" fmla="*/ 7692 h 10000"/>
                <a:gd name="connsiteX2837" fmla="*/ 2249 w 10746"/>
                <a:gd name="connsiteY2837" fmla="*/ 7692 h 10000"/>
                <a:gd name="connsiteX2838" fmla="*/ 2258 w 10746"/>
                <a:gd name="connsiteY2838" fmla="*/ 7692 h 10000"/>
                <a:gd name="connsiteX2839" fmla="*/ 2267 w 10746"/>
                <a:gd name="connsiteY2839" fmla="*/ 7692 h 10000"/>
                <a:gd name="connsiteX2840" fmla="*/ 2295 w 10746"/>
                <a:gd name="connsiteY2840" fmla="*/ 7692 h 10000"/>
                <a:gd name="connsiteX2841" fmla="*/ 2300 w 10746"/>
                <a:gd name="connsiteY2841" fmla="*/ 7701 h 10000"/>
                <a:gd name="connsiteX2842" fmla="*/ 2313 w 10746"/>
                <a:gd name="connsiteY2842" fmla="*/ 7675 h 10000"/>
                <a:gd name="connsiteX2843" fmla="*/ 2323 w 10746"/>
                <a:gd name="connsiteY2843" fmla="*/ 7675 h 10000"/>
                <a:gd name="connsiteX2844" fmla="*/ 2341 w 10746"/>
                <a:gd name="connsiteY2844" fmla="*/ 7675 h 10000"/>
                <a:gd name="connsiteX2845" fmla="*/ 2346 w 10746"/>
                <a:gd name="connsiteY2845" fmla="*/ 7667 h 10000"/>
                <a:gd name="connsiteX2846" fmla="*/ 2359 w 10746"/>
                <a:gd name="connsiteY2846" fmla="*/ 7650 h 10000"/>
                <a:gd name="connsiteX2847" fmla="*/ 2373 w 10746"/>
                <a:gd name="connsiteY2847" fmla="*/ 7624 h 10000"/>
                <a:gd name="connsiteX2848" fmla="*/ 2382 w 10746"/>
                <a:gd name="connsiteY2848" fmla="*/ 7641 h 10000"/>
                <a:gd name="connsiteX2849" fmla="*/ 2396 w 10746"/>
                <a:gd name="connsiteY2849" fmla="*/ 7650 h 10000"/>
                <a:gd name="connsiteX2850" fmla="*/ 2401 w 10746"/>
                <a:gd name="connsiteY2850" fmla="*/ 7650 h 10000"/>
                <a:gd name="connsiteX2851" fmla="*/ 2401 w 10746"/>
                <a:gd name="connsiteY2851" fmla="*/ 7624 h 10000"/>
                <a:gd name="connsiteX2852" fmla="*/ 2419 w 10746"/>
                <a:gd name="connsiteY2852" fmla="*/ 7624 h 10000"/>
                <a:gd name="connsiteX2853" fmla="*/ 2433 w 10746"/>
                <a:gd name="connsiteY2853" fmla="*/ 7615 h 10000"/>
                <a:gd name="connsiteX2854" fmla="*/ 2442 w 10746"/>
                <a:gd name="connsiteY2854" fmla="*/ 7615 h 10000"/>
                <a:gd name="connsiteX2855" fmla="*/ 2447 w 10746"/>
                <a:gd name="connsiteY2855" fmla="*/ 7598 h 10000"/>
                <a:gd name="connsiteX2856" fmla="*/ 2461 w 10746"/>
                <a:gd name="connsiteY2856" fmla="*/ 7598 h 10000"/>
                <a:gd name="connsiteX2857" fmla="*/ 2465 w 10746"/>
                <a:gd name="connsiteY2857" fmla="*/ 7615 h 10000"/>
                <a:gd name="connsiteX2858" fmla="*/ 2479 w 10746"/>
                <a:gd name="connsiteY2858" fmla="*/ 7564 h 10000"/>
                <a:gd name="connsiteX2859" fmla="*/ 2488 w 10746"/>
                <a:gd name="connsiteY2859" fmla="*/ 7556 h 10000"/>
                <a:gd name="connsiteX2860" fmla="*/ 2493 w 10746"/>
                <a:gd name="connsiteY2860" fmla="*/ 7556 h 10000"/>
                <a:gd name="connsiteX2861" fmla="*/ 2507 w 10746"/>
                <a:gd name="connsiteY2861" fmla="*/ 7556 h 10000"/>
                <a:gd name="connsiteX2862" fmla="*/ 2530 w 10746"/>
                <a:gd name="connsiteY2862" fmla="*/ 7538 h 10000"/>
                <a:gd name="connsiteX2863" fmla="*/ 2530 w 10746"/>
                <a:gd name="connsiteY2863" fmla="*/ 7556 h 10000"/>
                <a:gd name="connsiteX2864" fmla="*/ 2641 w 10746"/>
                <a:gd name="connsiteY2864" fmla="*/ 7504 h 10000"/>
                <a:gd name="connsiteX2865" fmla="*/ 2654 w 10746"/>
                <a:gd name="connsiteY2865" fmla="*/ 7487 h 10000"/>
                <a:gd name="connsiteX2866" fmla="*/ 2664 w 10746"/>
                <a:gd name="connsiteY2866" fmla="*/ 7487 h 10000"/>
                <a:gd name="connsiteX2867" fmla="*/ 2668 w 10746"/>
                <a:gd name="connsiteY2867" fmla="*/ 7479 h 10000"/>
                <a:gd name="connsiteX2868" fmla="*/ 2673 w 10746"/>
                <a:gd name="connsiteY2868" fmla="*/ 7462 h 10000"/>
                <a:gd name="connsiteX2869" fmla="*/ 2673 w 10746"/>
                <a:gd name="connsiteY2869" fmla="*/ 7427 h 10000"/>
                <a:gd name="connsiteX2870" fmla="*/ 2687 w 10746"/>
                <a:gd name="connsiteY2870" fmla="*/ 7436 h 10000"/>
                <a:gd name="connsiteX2871" fmla="*/ 2696 w 10746"/>
                <a:gd name="connsiteY2871" fmla="*/ 7427 h 10000"/>
                <a:gd name="connsiteX2872" fmla="*/ 2700 w 10746"/>
                <a:gd name="connsiteY2872" fmla="*/ 7419 h 10000"/>
                <a:gd name="connsiteX2873" fmla="*/ 2710 w 10746"/>
                <a:gd name="connsiteY2873" fmla="*/ 7402 h 10000"/>
                <a:gd name="connsiteX2874" fmla="*/ 2724 w 10746"/>
                <a:gd name="connsiteY2874" fmla="*/ 7402 h 10000"/>
                <a:gd name="connsiteX2875" fmla="*/ 2724 w 10746"/>
                <a:gd name="connsiteY2875" fmla="*/ 7393 h 10000"/>
                <a:gd name="connsiteX2876" fmla="*/ 2737 w 10746"/>
                <a:gd name="connsiteY2876" fmla="*/ 7393 h 10000"/>
                <a:gd name="connsiteX2877" fmla="*/ 2742 w 10746"/>
                <a:gd name="connsiteY2877" fmla="*/ 7402 h 10000"/>
                <a:gd name="connsiteX2878" fmla="*/ 2747 w 10746"/>
                <a:gd name="connsiteY2878" fmla="*/ 7402 h 10000"/>
                <a:gd name="connsiteX2879" fmla="*/ 2760 w 10746"/>
                <a:gd name="connsiteY2879" fmla="*/ 7402 h 10000"/>
                <a:gd name="connsiteX2880" fmla="*/ 2770 w 10746"/>
                <a:gd name="connsiteY2880" fmla="*/ 7402 h 10000"/>
                <a:gd name="connsiteX2881" fmla="*/ 2774 w 10746"/>
                <a:gd name="connsiteY2881" fmla="*/ 7402 h 10000"/>
                <a:gd name="connsiteX2882" fmla="*/ 2783 w 10746"/>
                <a:gd name="connsiteY2882" fmla="*/ 7419 h 10000"/>
                <a:gd name="connsiteX2883" fmla="*/ 2802 w 10746"/>
                <a:gd name="connsiteY2883" fmla="*/ 7436 h 10000"/>
                <a:gd name="connsiteX2884" fmla="*/ 2816 w 10746"/>
                <a:gd name="connsiteY2884" fmla="*/ 7419 h 10000"/>
                <a:gd name="connsiteX2885" fmla="*/ 2834 w 10746"/>
                <a:gd name="connsiteY2885" fmla="*/ 7419 h 10000"/>
                <a:gd name="connsiteX2886" fmla="*/ 2843 w 10746"/>
                <a:gd name="connsiteY2886" fmla="*/ 7419 h 10000"/>
                <a:gd name="connsiteX2887" fmla="*/ 2848 w 10746"/>
                <a:gd name="connsiteY2887" fmla="*/ 7436 h 10000"/>
                <a:gd name="connsiteX2888" fmla="*/ 2857 w 10746"/>
                <a:gd name="connsiteY2888" fmla="*/ 7453 h 10000"/>
                <a:gd name="connsiteX2889" fmla="*/ 2857 w 10746"/>
                <a:gd name="connsiteY2889" fmla="*/ 7504 h 10000"/>
                <a:gd name="connsiteX2890" fmla="*/ 2862 w 10746"/>
                <a:gd name="connsiteY2890" fmla="*/ 7530 h 10000"/>
                <a:gd name="connsiteX2891" fmla="*/ 2876 w 10746"/>
                <a:gd name="connsiteY2891" fmla="*/ 7538 h 10000"/>
                <a:gd name="connsiteX2892" fmla="*/ 2871 w 10746"/>
                <a:gd name="connsiteY2892" fmla="*/ 7564 h 10000"/>
                <a:gd name="connsiteX2893" fmla="*/ 2871 w 10746"/>
                <a:gd name="connsiteY2893" fmla="*/ 7598 h 10000"/>
                <a:gd name="connsiteX2894" fmla="*/ 2857 w 10746"/>
                <a:gd name="connsiteY2894" fmla="*/ 7624 h 10000"/>
                <a:gd name="connsiteX2895" fmla="*/ 2862 w 10746"/>
                <a:gd name="connsiteY2895" fmla="*/ 7641 h 10000"/>
                <a:gd name="connsiteX2896" fmla="*/ 2871 w 10746"/>
                <a:gd name="connsiteY2896" fmla="*/ 7667 h 10000"/>
                <a:gd name="connsiteX2897" fmla="*/ 2880 w 10746"/>
                <a:gd name="connsiteY2897" fmla="*/ 7650 h 10000"/>
                <a:gd name="connsiteX2898" fmla="*/ 2894 w 10746"/>
                <a:gd name="connsiteY2898" fmla="*/ 7667 h 10000"/>
                <a:gd name="connsiteX2899" fmla="*/ 2903 w 10746"/>
                <a:gd name="connsiteY2899" fmla="*/ 7667 h 10000"/>
                <a:gd name="connsiteX2900" fmla="*/ 2908 w 10746"/>
                <a:gd name="connsiteY2900" fmla="*/ 7641 h 10000"/>
                <a:gd name="connsiteX2901" fmla="*/ 2917 w 10746"/>
                <a:gd name="connsiteY2901" fmla="*/ 7641 h 10000"/>
                <a:gd name="connsiteX2902" fmla="*/ 2922 w 10746"/>
                <a:gd name="connsiteY2902" fmla="*/ 7641 h 10000"/>
                <a:gd name="connsiteX2903" fmla="*/ 2931 w 10746"/>
                <a:gd name="connsiteY2903" fmla="*/ 7615 h 10000"/>
                <a:gd name="connsiteX2904" fmla="*/ 2935 w 10746"/>
                <a:gd name="connsiteY2904" fmla="*/ 7615 h 10000"/>
                <a:gd name="connsiteX2905" fmla="*/ 2945 w 10746"/>
                <a:gd name="connsiteY2905" fmla="*/ 7650 h 10000"/>
                <a:gd name="connsiteX2906" fmla="*/ 2949 w 10746"/>
                <a:gd name="connsiteY2906" fmla="*/ 7667 h 10000"/>
                <a:gd name="connsiteX2907" fmla="*/ 2949 w 10746"/>
                <a:gd name="connsiteY2907" fmla="*/ 7675 h 10000"/>
                <a:gd name="connsiteX2908" fmla="*/ 2945 w 10746"/>
                <a:gd name="connsiteY2908" fmla="*/ 7692 h 10000"/>
                <a:gd name="connsiteX2909" fmla="*/ 2963 w 10746"/>
                <a:gd name="connsiteY2909" fmla="*/ 7701 h 10000"/>
                <a:gd name="connsiteX2910" fmla="*/ 2963 w 10746"/>
                <a:gd name="connsiteY2910" fmla="*/ 7675 h 10000"/>
                <a:gd name="connsiteX2911" fmla="*/ 2954 w 10746"/>
                <a:gd name="connsiteY2911" fmla="*/ 7667 h 10000"/>
                <a:gd name="connsiteX2912" fmla="*/ 2963 w 10746"/>
                <a:gd name="connsiteY2912" fmla="*/ 7667 h 10000"/>
                <a:gd name="connsiteX2913" fmla="*/ 2982 w 10746"/>
                <a:gd name="connsiteY2913" fmla="*/ 7667 h 10000"/>
                <a:gd name="connsiteX2914" fmla="*/ 2991 w 10746"/>
                <a:gd name="connsiteY2914" fmla="*/ 7675 h 10000"/>
                <a:gd name="connsiteX2915" fmla="*/ 2995 w 10746"/>
                <a:gd name="connsiteY2915" fmla="*/ 7692 h 10000"/>
                <a:gd name="connsiteX2916" fmla="*/ 3009 w 10746"/>
                <a:gd name="connsiteY2916" fmla="*/ 7701 h 10000"/>
                <a:gd name="connsiteX2917" fmla="*/ 3018 w 10746"/>
                <a:gd name="connsiteY2917" fmla="*/ 7701 h 10000"/>
                <a:gd name="connsiteX2918" fmla="*/ 3023 w 10746"/>
                <a:gd name="connsiteY2918" fmla="*/ 7692 h 10000"/>
                <a:gd name="connsiteX2919" fmla="*/ 3028 w 10746"/>
                <a:gd name="connsiteY2919" fmla="*/ 7675 h 10000"/>
                <a:gd name="connsiteX2920" fmla="*/ 3037 w 10746"/>
                <a:gd name="connsiteY2920" fmla="*/ 7692 h 10000"/>
                <a:gd name="connsiteX2921" fmla="*/ 3028 w 10746"/>
                <a:gd name="connsiteY2921" fmla="*/ 7709 h 10000"/>
                <a:gd name="connsiteX2922" fmla="*/ 3023 w 10746"/>
                <a:gd name="connsiteY2922" fmla="*/ 7709 h 10000"/>
                <a:gd name="connsiteX2923" fmla="*/ 3018 w 10746"/>
                <a:gd name="connsiteY2923" fmla="*/ 7726 h 10000"/>
                <a:gd name="connsiteX2924" fmla="*/ 3009 w 10746"/>
                <a:gd name="connsiteY2924" fmla="*/ 7735 h 10000"/>
                <a:gd name="connsiteX2925" fmla="*/ 3009 w 10746"/>
                <a:gd name="connsiteY2925" fmla="*/ 7761 h 10000"/>
                <a:gd name="connsiteX2926" fmla="*/ 3009 w 10746"/>
                <a:gd name="connsiteY2926" fmla="*/ 7778 h 10000"/>
                <a:gd name="connsiteX2927" fmla="*/ 3018 w 10746"/>
                <a:gd name="connsiteY2927" fmla="*/ 7786 h 10000"/>
                <a:gd name="connsiteX2928" fmla="*/ 3023 w 10746"/>
                <a:gd name="connsiteY2928" fmla="*/ 7786 h 10000"/>
                <a:gd name="connsiteX2929" fmla="*/ 3028 w 10746"/>
                <a:gd name="connsiteY2929" fmla="*/ 7778 h 10000"/>
                <a:gd name="connsiteX2930" fmla="*/ 3051 w 10746"/>
                <a:gd name="connsiteY2930" fmla="*/ 7761 h 10000"/>
                <a:gd name="connsiteX2931" fmla="*/ 3055 w 10746"/>
                <a:gd name="connsiteY2931" fmla="*/ 7778 h 10000"/>
                <a:gd name="connsiteX2932" fmla="*/ 3065 w 10746"/>
                <a:gd name="connsiteY2932" fmla="*/ 7761 h 10000"/>
                <a:gd name="connsiteX2933" fmla="*/ 3069 w 10746"/>
                <a:gd name="connsiteY2933" fmla="*/ 7786 h 10000"/>
                <a:gd name="connsiteX2934" fmla="*/ 3083 w 10746"/>
                <a:gd name="connsiteY2934" fmla="*/ 7786 h 10000"/>
                <a:gd name="connsiteX2935" fmla="*/ 3078 w 10746"/>
                <a:gd name="connsiteY2935" fmla="*/ 7761 h 10000"/>
                <a:gd name="connsiteX2936" fmla="*/ 3083 w 10746"/>
                <a:gd name="connsiteY2936" fmla="*/ 7752 h 10000"/>
                <a:gd name="connsiteX2937" fmla="*/ 3097 w 10746"/>
                <a:gd name="connsiteY2937" fmla="*/ 7752 h 10000"/>
                <a:gd name="connsiteX2938" fmla="*/ 3111 w 10746"/>
                <a:gd name="connsiteY2938" fmla="*/ 7726 h 10000"/>
                <a:gd name="connsiteX2939" fmla="*/ 3124 w 10746"/>
                <a:gd name="connsiteY2939" fmla="*/ 7709 h 10000"/>
                <a:gd name="connsiteX2940" fmla="*/ 3143 w 10746"/>
                <a:gd name="connsiteY2940" fmla="*/ 7692 h 10000"/>
                <a:gd name="connsiteX2941" fmla="*/ 3152 w 10746"/>
                <a:gd name="connsiteY2941" fmla="*/ 7667 h 10000"/>
                <a:gd name="connsiteX2942" fmla="*/ 3157 w 10746"/>
                <a:gd name="connsiteY2942" fmla="*/ 7650 h 10000"/>
                <a:gd name="connsiteX2943" fmla="*/ 3161 w 10746"/>
                <a:gd name="connsiteY2943" fmla="*/ 7650 h 10000"/>
                <a:gd name="connsiteX2944" fmla="*/ 3189 w 10746"/>
                <a:gd name="connsiteY2944" fmla="*/ 7641 h 10000"/>
                <a:gd name="connsiteX2945" fmla="*/ 3198 w 10746"/>
                <a:gd name="connsiteY2945" fmla="*/ 7624 h 10000"/>
                <a:gd name="connsiteX2946" fmla="*/ 3217 w 10746"/>
                <a:gd name="connsiteY2946" fmla="*/ 7615 h 10000"/>
                <a:gd name="connsiteX2947" fmla="*/ 3235 w 10746"/>
                <a:gd name="connsiteY2947" fmla="*/ 7598 h 10000"/>
                <a:gd name="connsiteX2948" fmla="*/ 3235 w 10746"/>
                <a:gd name="connsiteY2948" fmla="*/ 7615 h 10000"/>
                <a:gd name="connsiteX2949" fmla="*/ 3235 w 10746"/>
                <a:gd name="connsiteY2949" fmla="*/ 7641 h 10000"/>
                <a:gd name="connsiteX2950" fmla="*/ 3235 w 10746"/>
                <a:gd name="connsiteY2950" fmla="*/ 7650 h 10000"/>
                <a:gd name="connsiteX2951" fmla="*/ 3226 w 10746"/>
                <a:gd name="connsiteY2951" fmla="*/ 7650 h 10000"/>
                <a:gd name="connsiteX2952" fmla="*/ 3217 w 10746"/>
                <a:gd name="connsiteY2952" fmla="*/ 7650 h 10000"/>
                <a:gd name="connsiteX2953" fmla="*/ 3212 w 10746"/>
                <a:gd name="connsiteY2953" fmla="*/ 7675 h 10000"/>
                <a:gd name="connsiteX2954" fmla="*/ 3212 w 10746"/>
                <a:gd name="connsiteY2954" fmla="*/ 7675 h 10000"/>
                <a:gd name="connsiteX0" fmla="*/ 3212 w 10820"/>
                <a:gd name="connsiteY0" fmla="*/ 7675 h 10000"/>
                <a:gd name="connsiteX1" fmla="*/ 3217 w 10820"/>
                <a:gd name="connsiteY1" fmla="*/ 7692 h 10000"/>
                <a:gd name="connsiteX2" fmla="*/ 3226 w 10820"/>
                <a:gd name="connsiteY2" fmla="*/ 7692 h 10000"/>
                <a:gd name="connsiteX3" fmla="*/ 3309 w 10820"/>
                <a:gd name="connsiteY3" fmla="*/ 7838 h 10000"/>
                <a:gd name="connsiteX4" fmla="*/ 3452 w 10820"/>
                <a:gd name="connsiteY4" fmla="*/ 8325 h 10000"/>
                <a:gd name="connsiteX5" fmla="*/ 3470 w 10820"/>
                <a:gd name="connsiteY5" fmla="*/ 8299 h 10000"/>
                <a:gd name="connsiteX6" fmla="*/ 3470 w 10820"/>
                <a:gd name="connsiteY6" fmla="*/ 8282 h 10000"/>
                <a:gd name="connsiteX7" fmla="*/ 3470 w 10820"/>
                <a:gd name="connsiteY7" fmla="*/ 8274 h 10000"/>
                <a:gd name="connsiteX8" fmla="*/ 3484 w 10820"/>
                <a:gd name="connsiteY8" fmla="*/ 8231 h 10000"/>
                <a:gd name="connsiteX9" fmla="*/ 3498 w 10820"/>
                <a:gd name="connsiteY9" fmla="*/ 8231 h 10000"/>
                <a:gd name="connsiteX10" fmla="*/ 3498 w 10820"/>
                <a:gd name="connsiteY10" fmla="*/ 8248 h 10000"/>
                <a:gd name="connsiteX11" fmla="*/ 3512 w 10820"/>
                <a:gd name="connsiteY11" fmla="*/ 8256 h 10000"/>
                <a:gd name="connsiteX12" fmla="*/ 3525 w 10820"/>
                <a:gd name="connsiteY12" fmla="*/ 8274 h 10000"/>
                <a:gd name="connsiteX13" fmla="*/ 3525 w 10820"/>
                <a:gd name="connsiteY13" fmla="*/ 8282 h 10000"/>
                <a:gd name="connsiteX14" fmla="*/ 3525 w 10820"/>
                <a:gd name="connsiteY14" fmla="*/ 8308 h 10000"/>
                <a:gd name="connsiteX15" fmla="*/ 3530 w 10820"/>
                <a:gd name="connsiteY15" fmla="*/ 8308 h 10000"/>
                <a:gd name="connsiteX16" fmla="*/ 3539 w 10820"/>
                <a:gd name="connsiteY16" fmla="*/ 8333 h 10000"/>
                <a:gd name="connsiteX17" fmla="*/ 3571 w 10820"/>
                <a:gd name="connsiteY17" fmla="*/ 8333 h 10000"/>
                <a:gd name="connsiteX18" fmla="*/ 3590 w 10820"/>
                <a:gd name="connsiteY18" fmla="*/ 8350 h 10000"/>
                <a:gd name="connsiteX19" fmla="*/ 3599 w 10820"/>
                <a:gd name="connsiteY19" fmla="*/ 8333 h 10000"/>
                <a:gd name="connsiteX20" fmla="*/ 3618 w 10820"/>
                <a:gd name="connsiteY20" fmla="*/ 8333 h 10000"/>
                <a:gd name="connsiteX21" fmla="*/ 3618 w 10820"/>
                <a:gd name="connsiteY21" fmla="*/ 8325 h 10000"/>
                <a:gd name="connsiteX22" fmla="*/ 3627 w 10820"/>
                <a:gd name="connsiteY22" fmla="*/ 8308 h 10000"/>
                <a:gd name="connsiteX23" fmla="*/ 3641 w 10820"/>
                <a:gd name="connsiteY23" fmla="*/ 8308 h 10000"/>
                <a:gd name="connsiteX24" fmla="*/ 3645 w 10820"/>
                <a:gd name="connsiteY24" fmla="*/ 8308 h 10000"/>
                <a:gd name="connsiteX25" fmla="*/ 3650 w 10820"/>
                <a:gd name="connsiteY25" fmla="*/ 8299 h 10000"/>
                <a:gd name="connsiteX26" fmla="*/ 3659 w 10820"/>
                <a:gd name="connsiteY26" fmla="*/ 8282 h 10000"/>
                <a:gd name="connsiteX27" fmla="*/ 3677 w 10820"/>
                <a:gd name="connsiteY27" fmla="*/ 8299 h 10000"/>
                <a:gd name="connsiteX28" fmla="*/ 3687 w 10820"/>
                <a:gd name="connsiteY28" fmla="*/ 8299 h 10000"/>
                <a:gd name="connsiteX29" fmla="*/ 3691 w 10820"/>
                <a:gd name="connsiteY29" fmla="*/ 8325 h 10000"/>
                <a:gd name="connsiteX30" fmla="*/ 3700 w 10820"/>
                <a:gd name="connsiteY30" fmla="*/ 8325 h 10000"/>
                <a:gd name="connsiteX31" fmla="*/ 3714 w 10820"/>
                <a:gd name="connsiteY31" fmla="*/ 8359 h 10000"/>
                <a:gd name="connsiteX32" fmla="*/ 3719 w 10820"/>
                <a:gd name="connsiteY32" fmla="*/ 8359 h 10000"/>
                <a:gd name="connsiteX33" fmla="*/ 3724 w 10820"/>
                <a:gd name="connsiteY33" fmla="*/ 8368 h 10000"/>
                <a:gd name="connsiteX34" fmla="*/ 3719 w 10820"/>
                <a:gd name="connsiteY34" fmla="*/ 8393 h 10000"/>
                <a:gd name="connsiteX35" fmla="*/ 3724 w 10820"/>
                <a:gd name="connsiteY35" fmla="*/ 8410 h 10000"/>
                <a:gd name="connsiteX36" fmla="*/ 3724 w 10820"/>
                <a:gd name="connsiteY36" fmla="*/ 8436 h 10000"/>
                <a:gd name="connsiteX37" fmla="*/ 3737 w 10820"/>
                <a:gd name="connsiteY37" fmla="*/ 8436 h 10000"/>
                <a:gd name="connsiteX38" fmla="*/ 3765 w 10820"/>
                <a:gd name="connsiteY38" fmla="*/ 8462 h 10000"/>
                <a:gd name="connsiteX39" fmla="*/ 3765 w 10820"/>
                <a:gd name="connsiteY39" fmla="*/ 8470 h 10000"/>
                <a:gd name="connsiteX40" fmla="*/ 3765 w 10820"/>
                <a:gd name="connsiteY40" fmla="*/ 8496 h 10000"/>
                <a:gd name="connsiteX41" fmla="*/ 3774 w 10820"/>
                <a:gd name="connsiteY41" fmla="*/ 8496 h 10000"/>
                <a:gd name="connsiteX42" fmla="*/ 3779 w 10820"/>
                <a:gd name="connsiteY42" fmla="*/ 8504 h 10000"/>
                <a:gd name="connsiteX43" fmla="*/ 3793 w 10820"/>
                <a:gd name="connsiteY43" fmla="*/ 8547 h 10000"/>
                <a:gd name="connsiteX44" fmla="*/ 3797 w 10820"/>
                <a:gd name="connsiteY44" fmla="*/ 8547 h 10000"/>
                <a:gd name="connsiteX45" fmla="*/ 3820 w 10820"/>
                <a:gd name="connsiteY45" fmla="*/ 8556 h 10000"/>
                <a:gd name="connsiteX46" fmla="*/ 3834 w 10820"/>
                <a:gd name="connsiteY46" fmla="*/ 8573 h 10000"/>
                <a:gd name="connsiteX47" fmla="*/ 3853 w 10820"/>
                <a:gd name="connsiteY47" fmla="*/ 8573 h 10000"/>
                <a:gd name="connsiteX48" fmla="*/ 3857 w 10820"/>
                <a:gd name="connsiteY48" fmla="*/ 8556 h 10000"/>
                <a:gd name="connsiteX49" fmla="*/ 3866 w 10820"/>
                <a:gd name="connsiteY49" fmla="*/ 8547 h 10000"/>
                <a:gd name="connsiteX50" fmla="*/ 3880 w 10820"/>
                <a:gd name="connsiteY50" fmla="*/ 8530 h 10000"/>
                <a:gd name="connsiteX51" fmla="*/ 3885 w 10820"/>
                <a:gd name="connsiteY51" fmla="*/ 8547 h 10000"/>
                <a:gd name="connsiteX52" fmla="*/ 3885 w 10820"/>
                <a:gd name="connsiteY52" fmla="*/ 8573 h 10000"/>
                <a:gd name="connsiteX53" fmla="*/ 3899 w 10820"/>
                <a:gd name="connsiteY53" fmla="*/ 8573 h 10000"/>
                <a:gd name="connsiteX54" fmla="*/ 3908 w 10820"/>
                <a:gd name="connsiteY54" fmla="*/ 8607 h 10000"/>
                <a:gd name="connsiteX55" fmla="*/ 3912 w 10820"/>
                <a:gd name="connsiteY55" fmla="*/ 8615 h 10000"/>
                <a:gd name="connsiteX56" fmla="*/ 3922 w 10820"/>
                <a:gd name="connsiteY56" fmla="*/ 8632 h 10000"/>
                <a:gd name="connsiteX57" fmla="*/ 3908 w 10820"/>
                <a:gd name="connsiteY57" fmla="*/ 8692 h 10000"/>
                <a:gd name="connsiteX58" fmla="*/ 3908 w 10820"/>
                <a:gd name="connsiteY58" fmla="*/ 8692 h 10000"/>
                <a:gd name="connsiteX59" fmla="*/ 3931 w 10820"/>
                <a:gd name="connsiteY59" fmla="*/ 8709 h 10000"/>
                <a:gd name="connsiteX60" fmla="*/ 3954 w 10820"/>
                <a:gd name="connsiteY60" fmla="*/ 8667 h 10000"/>
                <a:gd name="connsiteX61" fmla="*/ 3959 w 10820"/>
                <a:gd name="connsiteY61" fmla="*/ 8667 h 10000"/>
                <a:gd name="connsiteX62" fmla="*/ 3972 w 10820"/>
                <a:gd name="connsiteY62" fmla="*/ 8615 h 10000"/>
                <a:gd name="connsiteX63" fmla="*/ 3995 w 10820"/>
                <a:gd name="connsiteY63" fmla="*/ 8581 h 10000"/>
                <a:gd name="connsiteX64" fmla="*/ 4032 w 10820"/>
                <a:gd name="connsiteY64" fmla="*/ 8556 h 10000"/>
                <a:gd name="connsiteX65" fmla="*/ 4138 w 10820"/>
                <a:gd name="connsiteY65" fmla="*/ 8419 h 10000"/>
                <a:gd name="connsiteX66" fmla="*/ 4249 w 10820"/>
                <a:gd name="connsiteY66" fmla="*/ 8359 h 10000"/>
                <a:gd name="connsiteX67" fmla="*/ 4295 w 10820"/>
                <a:gd name="connsiteY67" fmla="*/ 8385 h 10000"/>
                <a:gd name="connsiteX68" fmla="*/ 4309 w 10820"/>
                <a:gd name="connsiteY68" fmla="*/ 8410 h 10000"/>
                <a:gd name="connsiteX69" fmla="*/ 4355 w 10820"/>
                <a:gd name="connsiteY69" fmla="*/ 8393 h 10000"/>
                <a:gd name="connsiteX70" fmla="*/ 4382 w 10820"/>
                <a:gd name="connsiteY70" fmla="*/ 8393 h 10000"/>
                <a:gd name="connsiteX71" fmla="*/ 4419 w 10820"/>
                <a:gd name="connsiteY71" fmla="*/ 8487 h 10000"/>
                <a:gd name="connsiteX72" fmla="*/ 4442 w 10820"/>
                <a:gd name="connsiteY72" fmla="*/ 8487 h 10000"/>
                <a:gd name="connsiteX73" fmla="*/ 4493 w 10820"/>
                <a:gd name="connsiteY73" fmla="*/ 8470 h 10000"/>
                <a:gd name="connsiteX74" fmla="*/ 4516 w 10820"/>
                <a:gd name="connsiteY74" fmla="*/ 8487 h 10000"/>
                <a:gd name="connsiteX75" fmla="*/ 4608 w 10820"/>
                <a:gd name="connsiteY75" fmla="*/ 8470 h 10000"/>
                <a:gd name="connsiteX76" fmla="*/ 4622 w 10820"/>
                <a:gd name="connsiteY76" fmla="*/ 8470 h 10000"/>
                <a:gd name="connsiteX77" fmla="*/ 4618 w 10820"/>
                <a:gd name="connsiteY77" fmla="*/ 8419 h 10000"/>
                <a:gd name="connsiteX78" fmla="*/ 4622 w 10820"/>
                <a:gd name="connsiteY78" fmla="*/ 8385 h 10000"/>
                <a:gd name="connsiteX79" fmla="*/ 4636 w 10820"/>
                <a:gd name="connsiteY79" fmla="*/ 8350 h 10000"/>
                <a:gd name="connsiteX80" fmla="*/ 4636 w 10820"/>
                <a:gd name="connsiteY80" fmla="*/ 8325 h 10000"/>
                <a:gd name="connsiteX81" fmla="*/ 4622 w 10820"/>
                <a:gd name="connsiteY81" fmla="*/ 8282 h 10000"/>
                <a:gd name="connsiteX82" fmla="*/ 4618 w 10820"/>
                <a:gd name="connsiteY82" fmla="*/ 8248 h 10000"/>
                <a:gd name="connsiteX83" fmla="*/ 4618 w 10820"/>
                <a:gd name="connsiteY83" fmla="*/ 8214 h 10000"/>
                <a:gd name="connsiteX84" fmla="*/ 4691 w 10820"/>
                <a:gd name="connsiteY84" fmla="*/ 8077 h 10000"/>
                <a:gd name="connsiteX85" fmla="*/ 4700 w 10820"/>
                <a:gd name="connsiteY85" fmla="*/ 8060 h 10000"/>
                <a:gd name="connsiteX86" fmla="*/ 4728 w 10820"/>
                <a:gd name="connsiteY86" fmla="*/ 8077 h 10000"/>
                <a:gd name="connsiteX87" fmla="*/ 4751 w 10820"/>
                <a:gd name="connsiteY87" fmla="*/ 8094 h 10000"/>
                <a:gd name="connsiteX88" fmla="*/ 4788 w 10820"/>
                <a:gd name="connsiteY88" fmla="*/ 8120 h 10000"/>
                <a:gd name="connsiteX89" fmla="*/ 4802 w 10820"/>
                <a:gd name="connsiteY89" fmla="*/ 8162 h 10000"/>
                <a:gd name="connsiteX90" fmla="*/ 4885 w 10820"/>
                <a:gd name="connsiteY90" fmla="*/ 8197 h 10000"/>
                <a:gd name="connsiteX91" fmla="*/ 4889 w 10820"/>
                <a:gd name="connsiteY91" fmla="*/ 8231 h 10000"/>
                <a:gd name="connsiteX92" fmla="*/ 4899 w 10820"/>
                <a:gd name="connsiteY92" fmla="*/ 8333 h 10000"/>
                <a:gd name="connsiteX93" fmla="*/ 4903 w 10820"/>
                <a:gd name="connsiteY93" fmla="*/ 8333 h 10000"/>
                <a:gd name="connsiteX94" fmla="*/ 4949 w 10820"/>
                <a:gd name="connsiteY94" fmla="*/ 8410 h 10000"/>
                <a:gd name="connsiteX95" fmla="*/ 4991 w 10820"/>
                <a:gd name="connsiteY95" fmla="*/ 8436 h 10000"/>
                <a:gd name="connsiteX96" fmla="*/ 5023 w 10820"/>
                <a:gd name="connsiteY96" fmla="*/ 8419 h 10000"/>
                <a:gd name="connsiteX97" fmla="*/ 5092 w 10820"/>
                <a:gd name="connsiteY97" fmla="*/ 8359 h 10000"/>
                <a:gd name="connsiteX98" fmla="*/ 5180 w 10820"/>
                <a:gd name="connsiteY98" fmla="*/ 8410 h 10000"/>
                <a:gd name="connsiteX99" fmla="*/ 5189 w 10820"/>
                <a:gd name="connsiteY99" fmla="*/ 8436 h 10000"/>
                <a:gd name="connsiteX100" fmla="*/ 5198 w 10820"/>
                <a:gd name="connsiteY100" fmla="*/ 8436 h 10000"/>
                <a:gd name="connsiteX101" fmla="*/ 5226 w 10820"/>
                <a:gd name="connsiteY101" fmla="*/ 8487 h 10000"/>
                <a:gd name="connsiteX102" fmla="*/ 5276 w 10820"/>
                <a:gd name="connsiteY102" fmla="*/ 8504 h 10000"/>
                <a:gd name="connsiteX103" fmla="*/ 5290 w 10820"/>
                <a:gd name="connsiteY103" fmla="*/ 8556 h 10000"/>
                <a:gd name="connsiteX104" fmla="*/ 5323 w 10820"/>
                <a:gd name="connsiteY104" fmla="*/ 8598 h 10000"/>
                <a:gd name="connsiteX105" fmla="*/ 5447 w 10820"/>
                <a:gd name="connsiteY105" fmla="*/ 8615 h 10000"/>
                <a:gd name="connsiteX106" fmla="*/ 5465 w 10820"/>
                <a:gd name="connsiteY106" fmla="*/ 8632 h 10000"/>
                <a:gd name="connsiteX107" fmla="*/ 5604 w 10820"/>
                <a:gd name="connsiteY107" fmla="*/ 8556 h 10000"/>
                <a:gd name="connsiteX108" fmla="*/ 5677 w 10820"/>
                <a:gd name="connsiteY108" fmla="*/ 8462 h 10000"/>
                <a:gd name="connsiteX109" fmla="*/ 5705 w 10820"/>
                <a:gd name="connsiteY109" fmla="*/ 8444 h 10000"/>
                <a:gd name="connsiteX110" fmla="*/ 5737 w 10820"/>
                <a:gd name="connsiteY110" fmla="*/ 8470 h 10000"/>
                <a:gd name="connsiteX111" fmla="*/ 5760 w 10820"/>
                <a:gd name="connsiteY111" fmla="*/ 8496 h 10000"/>
                <a:gd name="connsiteX112" fmla="*/ 5788 w 10820"/>
                <a:gd name="connsiteY112" fmla="*/ 8504 h 10000"/>
                <a:gd name="connsiteX113" fmla="*/ 5806 w 10820"/>
                <a:gd name="connsiteY113" fmla="*/ 8496 h 10000"/>
                <a:gd name="connsiteX114" fmla="*/ 5820 w 10820"/>
                <a:gd name="connsiteY114" fmla="*/ 8487 h 10000"/>
                <a:gd name="connsiteX115" fmla="*/ 5825 w 10820"/>
                <a:gd name="connsiteY115" fmla="*/ 8487 h 10000"/>
                <a:gd name="connsiteX116" fmla="*/ 5825 w 10820"/>
                <a:gd name="connsiteY116" fmla="*/ 8487 h 10000"/>
                <a:gd name="connsiteX117" fmla="*/ 5926 w 10820"/>
                <a:gd name="connsiteY117" fmla="*/ 8556 h 10000"/>
                <a:gd name="connsiteX118" fmla="*/ 5940 w 10820"/>
                <a:gd name="connsiteY118" fmla="*/ 8556 h 10000"/>
                <a:gd name="connsiteX119" fmla="*/ 6014 w 10820"/>
                <a:gd name="connsiteY119" fmla="*/ 8470 h 10000"/>
                <a:gd name="connsiteX120" fmla="*/ 6018 w 10820"/>
                <a:gd name="connsiteY120" fmla="*/ 8444 h 10000"/>
                <a:gd name="connsiteX121" fmla="*/ 6014 w 10820"/>
                <a:gd name="connsiteY121" fmla="*/ 8419 h 10000"/>
                <a:gd name="connsiteX122" fmla="*/ 6018 w 10820"/>
                <a:gd name="connsiteY122" fmla="*/ 8393 h 10000"/>
                <a:gd name="connsiteX123" fmla="*/ 6041 w 10820"/>
                <a:gd name="connsiteY123" fmla="*/ 8333 h 10000"/>
                <a:gd name="connsiteX124" fmla="*/ 6069 w 10820"/>
                <a:gd name="connsiteY124" fmla="*/ 8188 h 10000"/>
                <a:gd name="connsiteX125" fmla="*/ 6088 w 10820"/>
                <a:gd name="connsiteY125" fmla="*/ 8162 h 10000"/>
                <a:gd name="connsiteX126" fmla="*/ 6115 w 10820"/>
                <a:gd name="connsiteY126" fmla="*/ 8094 h 10000"/>
                <a:gd name="connsiteX127" fmla="*/ 6115 w 10820"/>
                <a:gd name="connsiteY127" fmla="*/ 8094 h 10000"/>
                <a:gd name="connsiteX128" fmla="*/ 6106 w 10820"/>
                <a:gd name="connsiteY128" fmla="*/ 8077 h 10000"/>
                <a:gd name="connsiteX129" fmla="*/ 6106 w 10820"/>
                <a:gd name="connsiteY129" fmla="*/ 8009 h 10000"/>
                <a:gd name="connsiteX130" fmla="*/ 6101 w 10820"/>
                <a:gd name="connsiteY130" fmla="*/ 8000 h 10000"/>
                <a:gd name="connsiteX131" fmla="*/ 6069 w 10820"/>
                <a:gd name="connsiteY131" fmla="*/ 8009 h 10000"/>
                <a:gd name="connsiteX132" fmla="*/ 6069 w 10820"/>
                <a:gd name="connsiteY132" fmla="*/ 8000 h 10000"/>
                <a:gd name="connsiteX133" fmla="*/ 6069 w 10820"/>
                <a:gd name="connsiteY133" fmla="*/ 7974 h 10000"/>
                <a:gd name="connsiteX134" fmla="*/ 6101 w 10820"/>
                <a:gd name="connsiteY134" fmla="*/ 7923 h 10000"/>
                <a:gd name="connsiteX135" fmla="*/ 6106 w 10820"/>
                <a:gd name="connsiteY135" fmla="*/ 7889 h 10000"/>
                <a:gd name="connsiteX136" fmla="*/ 6129 w 10820"/>
                <a:gd name="connsiteY136" fmla="*/ 7863 h 10000"/>
                <a:gd name="connsiteX137" fmla="*/ 6300 w 10820"/>
                <a:gd name="connsiteY137" fmla="*/ 7812 h 10000"/>
                <a:gd name="connsiteX138" fmla="*/ 6359 w 10820"/>
                <a:gd name="connsiteY138" fmla="*/ 7872 h 10000"/>
                <a:gd name="connsiteX139" fmla="*/ 6373 w 10820"/>
                <a:gd name="connsiteY139" fmla="*/ 7889 h 10000"/>
                <a:gd name="connsiteX140" fmla="*/ 6401 w 10820"/>
                <a:gd name="connsiteY140" fmla="*/ 7889 h 10000"/>
                <a:gd name="connsiteX141" fmla="*/ 6433 w 10820"/>
                <a:gd name="connsiteY141" fmla="*/ 7915 h 10000"/>
                <a:gd name="connsiteX142" fmla="*/ 6461 w 10820"/>
                <a:gd name="connsiteY142" fmla="*/ 7974 h 10000"/>
                <a:gd name="connsiteX143" fmla="*/ 6461 w 10820"/>
                <a:gd name="connsiteY143" fmla="*/ 8000 h 10000"/>
                <a:gd name="connsiteX144" fmla="*/ 6484 w 10820"/>
                <a:gd name="connsiteY144" fmla="*/ 8034 h 10000"/>
                <a:gd name="connsiteX145" fmla="*/ 6484 w 10820"/>
                <a:gd name="connsiteY145" fmla="*/ 8051 h 10000"/>
                <a:gd name="connsiteX146" fmla="*/ 6484 w 10820"/>
                <a:gd name="connsiteY146" fmla="*/ 8034 h 10000"/>
                <a:gd name="connsiteX147" fmla="*/ 6558 w 10820"/>
                <a:gd name="connsiteY147" fmla="*/ 8444 h 10000"/>
                <a:gd name="connsiteX148" fmla="*/ 6558 w 10820"/>
                <a:gd name="connsiteY148" fmla="*/ 8462 h 10000"/>
                <a:gd name="connsiteX149" fmla="*/ 6558 w 10820"/>
                <a:gd name="connsiteY149" fmla="*/ 8462 h 10000"/>
                <a:gd name="connsiteX150" fmla="*/ 6562 w 10820"/>
                <a:gd name="connsiteY150" fmla="*/ 8547 h 10000"/>
                <a:gd name="connsiteX151" fmla="*/ 6576 w 10820"/>
                <a:gd name="connsiteY151" fmla="*/ 8573 h 10000"/>
                <a:gd name="connsiteX152" fmla="*/ 6604 w 10820"/>
                <a:gd name="connsiteY152" fmla="*/ 8581 h 10000"/>
                <a:gd name="connsiteX153" fmla="*/ 6631 w 10820"/>
                <a:gd name="connsiteY153" fmla="*/ 8556 h 10000"/>
                <a:gd name="connsiteX154" fmla="*/ 6691 w 10820"/>
                <a:gd name="connsiteY154" fmla="*/ 8607 h 10000"/>
                <a:gd name="connsiteX155" fmla="*/ 6728 w 10820"/>
                <a:gd name="connsiteY155" fmla="*/ 8667 h 10000"/>
                <a:gd name="connsiteX156" fmla="*/ 6742 w 10820"/>
                <a:gd name="connsiteY156" fmla="*/ 8684 h 10000"/>
                <a:gd name="connsiteX157" fmla="*/ 6765 w 10820"/>
                <a:gd name="connsiteY157" fmla="*/ 8684 h 10000"/>
                <a:gd name="connsiteX158" fmla="*/ 6765 w 10820"/>
                <a:gd name="connsiteY158" fmla="*/ 8709 h 10000"/>
                <a:gd name="connsiteX159" fmla="*/ 6765 w 10820"/>
                <a:gd name="connsiteY159" fmla="*/ 8709 h 10000"/>
                <a:gd name="connsiteX160" fmla="*/ 6770 w 10820"/>
                <a:gd name="connsiteY160" fmla="*/ 8709 h 10000"/>
                <a:gd name="connsiteX161" fmla="*/ 6770 w 10820"/>
                <a:gd name="connsiteY161" fmla="*/ 8744 h 10000"/>
                <a:gd name="connsiteX162" fmla="*/ 6779 w 10820"/>
                <a:gd name="connsiteY162" fmla="*/ 8769 h 10000"/>
                <a:gd name="connsiteX163" fmla="*/ 6779 w 10820"/>
                <a:gd name="connsiteY163" fmla="*/ 8846 h 10000"/>
                <a:gd name="connsiteX164" fmla="*/ 6797 w 10820"/>
                <a:gd name="connsiteY164" fmla="*/ 8906 h 10000"/>
                <a:gd name="connsiteX165" fmla="*/ 6816 w 10820"/>
                <a:gd name="connsiteY165" fmla="*/ 8906 h 10000"/>
                <a:gd name="connsiteX166" fmla="*/ 6843 w 10820"/>
                <a:gd name="connsiteY166" fmla="*/ 8915 h 10000"/>
                <a:gd name="connsiteX167" fmla="*/ 6862 w 10820"/>
                <a:gd name="connsiteY167" fmla="*/ 8906 h 10000"/>
                <a:gd name="connsiteX168" fmla="*/ 6935 w 10820"/>
                <a:gd name="connsiteY168" fmla="*/ 8829 h 10000"/>
                <a:gd name="connsiteX169" fmla="*/ 6963 w 10820"/>
                <a:gd name="connsiteY169" fmla="*/ 8829 h 10000"/>
                <a:gd name="connsiteX170" fmla="*/ 7046 w 10820"/>
                <a:gd name="connsiteY170" fmla="*/ 8769 h 10000"/>
                <a:gd name="connsiteX171" fmla="*/ 7046 w 10820"/>
                <a:gd name="connsiteY171" fmla="*/ 8769 h 10000"/>
                <a:gd name="connsiteX172" fmla="*/ 7032 w 10820"/>
                <a:gd name="connsiteY172" fmla="*/ 8803 h 10000"/>
                <a:gd name="connsiteX173" fmla="*/ 7032 w 10820"/>
                <a:gd name="connsiteY173" fmla="*/ 8846 h 10000"/>
                <a:gd name="connsiteX174" fmla="*/ 7037 w 10820"/>
                <a:gd name="connsiteY174" fmla="*/ 8880 h 10000"/>
                <a:gd name="connsiteX175" fmla="*/ 7037 w 10820"/>
                <a:gd name="connsiteY175" fmla="*/ 8932 h 10000"/>
                <a:gd name="connsiteX176" fmla="*/ 7005 w 10820"/>
                <a:gd name="connsiteY176" fmla="*/ 8983 h 10000"/>
                <a:gd name="connsiteX177" fmla="*/ 6977 w 10820"/>
                <a:gd name="connsiteY177" fmla="*/ 9188 h 10000"/>
                <a:gd name="connsiteX178" fmla="*/ 6935 w 10820"/>
                <a:gd name="connsiteY178" fmla="*/ 9316 h 10000"/>
                <a:gd name="connsiteX179" fmla="*/ 6931 w 10820"/>
                <a:gd name="connsiteY179" fmla="*/ 9368 h 10000"/>
                <a:gd name="connsiteX180" fmla="*/ 6917 w 10820"/>
                <a:gd name="connsiteY180" fmla="*/ 9376 h 10000"/>
                <a:gd name="connsiteX181" fmla="*/ 6912 w 10820"/>
                <a:gd name="connsiteY181" fmla="*/ 9376 h 10000"/>
                <a:gd name="connsiteX182" fmla="*/ 6848 w 10820"/>
                <a:gd name="connsiteY182" fmla="*/ 9342 h 10000"/>
                <a:gd name="connsiteX183" fmla="*/ 6788 w 10820"/>
                <a:gd name="connsiteY183" fmla="*/ 9436 h 10000"/>
                <a:gd name="connsiteX184" fmla="*/ 6802 w 10820"/>
                <a:gd name="connsiteY184" fmla="*/ 9462 h 10000"/>
                <a:gd name="connsiteX185" fmla="*/ 6811 w 10820"/>
                <a:gd name="connsiteY185" fmla="*/ 9667 h 10000"/>
                <a:gd name="connsiteX186" fmla="*/ 6788 w 10820"/>
                <a:gd name="connsiteY186" fmla="*/ 9709 h 10000"/>
                <a:gd name="connsiteX187" fmla="*/ 6765 w 10820"/>
                <a:gd name="connsiteY187" fmla="*/ 9752 h 10000"/>
                <a:gd name="connsiteX188" fmla="*/ 6765 w 10820"/>
                <a:gd name="connsiteY188" fmla="*/ 9803 h 10000"/>
                <a:gd name="connsiteX189" fmla="*/ 6770 w 10820"/>
                <a:gd name="connsiteY189" fmla="*/ 9821 h 10000"/>
                <a:gd name="connsiteX190" fmla="*/ 6779 w 10820"/>
                <a:gd name="connsiteY190" fmla="*/ 9812 h 10000"/>
                <a:gd name="connsiteX191" fmla="*/ 6779 w 10820"/>
                <a:gd name="connsiteY191" fmla="*/ 9803 h 10000"/>
                <a:gd name="connsiteX192" fmla="*/ 6770 w 10820"/>
                <a:gd name="connsiteY192" fmla="*/ 9786 h 10000"/>
                <a:gd name="connsiteX193" fmla="*/ 6811 w 10820"/>
                <a:gd name="connsiteY193" fmla="*/ 9786 h 10000"/>
                <a:gd name="connsiteX194" fmla="*/ 6816 w 10820"/>
                <a:gd name="connsiteY194" fmla="*/ 9761 h 10000"/>
                <a:gd name="connsiteX195" fmla="*/ 6825 w 10820"/>
                <a:gd name="connsiteY195" fmla="*/ 9752 h 10000"/>
                <a:gd name="connsiteX196" fmla="*/ 6825 w 10820"/>
                <a:gd name="connsiteY196" fmla="*/ 9726 h 10000"/>
                <a:gd name="connsiteX197" fmla="*/ 6843 w 10820"/>
                <a:gd name="connsiteY197" fmla="*/ 9701 h 10000"/>
                <a:gd name="connsiteX198" fmla="*/ 6848 w 10820"/>
                <a:gd name="connsiteY198" fmla="*/ 9650 h 10000"/>
                <a:gd name="connsiteX199" fmla="*/ 6848 w 10820"/>
                <a:gd name="connsiteY199" fmla="*/ 9675 h 10000"/>
                <a:gd name="connsiteX200" fmla="*/ 6862 w 10820"/>
                <a:gd name="connsiteY200" fmla="*/ 9675 h 10000"/>
                <a:gd name="connsiteX201" fmla="*/ 6857 w 10820"/>
                <a:gd name="connsiteY201" fmla="*/ 9701 h 10000"/>
                <a:gd name="connsiteX202" fmla="*/ 6857 w 10820"/>
                <a:gd name="connsiteY202" fmla="*/ 9701 h 10000"/>
                <a:gd name="connsiteX203" fmla="*/ 6876 w 10820"/>
                <a:gd name="connsiteY203" fmla="*/ 9684 h 10000"/>
                <a:gd name="connsiteX204" fmla="*/ 6885 w 10820"/>
                <a:gd name="connsiteY204" fmla="*/ 9675 h 10000"/>
                <a:gd name="connsiteX205" fmla="*/ 6876 w 10820"/>
                <a:gd name="connsiteY205" fmla="*/ 9735 h 10000"/>
                <a:gd name="connsiteX206" fmla="*/ 6885 w 10820"/>
                <a:gd name="connsiteY206" fmla="*/ 9752 h 10000"/>
                <a:gd name="connsiteX207" fmla="*/ 6903 w 10820"/>
                <a:gd name="connsiteY207" fmla="*/ 9752 h 10000"/>
                <a:gd name="connsiteX208" fmla="*/ 6917 w 10820"/>
                <a:gd name="connsiteY208" fmla="*/ 9761 h 10000"/>
                <a:gd name="connsiteX209" fmla="*/ 6917 w 10820"/>
                <a:gd name="connsiteY209" fmla="*/ 9761 h 10000"/>
                <a:gd name="connsiteX210" fmla="*/ 6922 w 10820"/>
                <a:gd name="connsiteY210" fmla="*/ 9778 h 10000"/>
                <a:gd name="connsiteX211" fmla="*/ 6945 w 10820"/>
                <a:gd name="connsiteY211" fmla="*/ 9778 h 10000"/>
                <a:gd name="connsiteX212" fmla="*/ 6972 w 10820"/>
                <a:gd name="connsiteY212" fmla="*/ 9752 h 10000"/>
                <a:gd name="connsiteX213" fmla="*/ 6977 w 10820"/>
                <a:gd name="connsiteY213" fmla="*/ 9752 h 10000"/>
                <a:gd name="connsiteX214" fmla="*/ 7069 w 10820"/>
                <a:gd name="connsiteY214" fmla="*/ 9624 h 10000"/>
                <a:gd name="connsiteX215" fmla="*/ 7097 w 10820"/>
                <a:gd name="connsiteY215" fmla="*/ 9547 h 10000"/>
                <a:gd name="connsiteX216" fmla="*/ 7106 w 10820"/>
                <a:gd name="connsiteY216" fmla="*/ 9530 h 10000"/>
                <a:gd name="connsiteX217" fmla="*/ 7124 w 10820"/>
                <a:gd name="connsiteY217" fmla="*/ 9479 h 10000"/>
                <a:gd name="connsiteX218" fmla="*/ 7138 w 10820"/>
                <a:gd name="connsiteY218" fmla="*/ 9462 h 10000"/>
                <a:gd name="connsiteX219" fmla="*/ 7378 w 10820"/>
                <a:gd name="connsiteY219" fmla="*/ 8795 h 10000"/>
                <a:gd name="connsiteX220" fmla="*/ 7392 w 10820"/>
                <a:gd name="connsiteY220" fmla="*/ 8795 h 10000"/>
                <a:gd name="connsiteX221" fmla="*/ 7401 w 10820"/>
                <a:gd name="connsiteY221" fmla="*/ 8769 h 10000"/>
                <a:gd name="connsiteX222" fmla="*/ 7406 w 10820"/>
                <a:gd name="connsiteY222" fmla="*/ 8692 h 10000"/>
                <a:gd name="connsiteX223" fmla="*/ 7406 w 10820"/>
                <a:gd name="connsiteY223" fmla="*/ 8667 h 10000"/>
                <a:gd name="connsiteX224" fmla="*/ 7419 w 10820"/>
                <a:gd name="connsiteY224" fmla="*/ 8598 h 10000"/>
                <a:gd name="connsiteX225" fmla="*/ 7419 w 10820"/>
                <a:gd name="connsiteY225" fmla="*/ 8496 h 10000"/>
                <a:gd name="connsiteX226" fmla="*/ 7424 w 10820"/>
                <a:gd name="connsiteY226" fmla="*/ 8470 h 10000"/>
                <a:gd name="connsiteX227" fmla="*/ 7424 w 10820"/>
                <a:gd name="connsiteY227" fmla="*/ 8462 h 10000"/>
                <a:gd name="connsiteX228" fmla="*/ 7419 w 10820"/>
                <a:gd name="connsiteY228" fmla="*/ 8462 h 10000"/>
                <a:gd name="connsiteX229" fmla="*/ 7410 w 10820"/>
                <a:gd name="connsiteY229" fmla="*/ 8350 h 10000"/>
                <a:gd name="connsiteX230" fmla="*/ 7419 w 10820"/>
                <a:gd name="connsiteY230" fmla="*/ 8325 h 10000"/>
                <a:gd name="connsiteX231" fmla="*/ 7424 w 10820"/>
                <a:gd name="connsiteY231" fmla="*/ 8248 h 10000"/>
                <a:gd name="connsiteX232" fmla="*/ 7433 w 10820"/>
                <a:gd name="connsiteY232" fmla="*/ 8248 h 10000"/>
                <a:gd name="connsiteX233" fmla="*/ 7433 w 10820"/>
                <a:gd name="connsiteY233" fmla="*/ 8231 h 10000"/>
                <a:gd name="connsiteX234" fmla="*/ 7433 w 10820"/>
                <a:gd name="connsiteY234" fmla="*/ 8222 h 10000"/>
                <a:gd name="connsiteX235" fmla="*/ 7433 w 10820"/>
                <a:gd name="connsiteY235" fmla="*/ 8214 h 10000"/>
                <a:gd name="connsiteX236" fmla="*/ 7447 w 10820"/>
                <a:gd name="connsiteY236" fmla="*/ 8162 h 10000"/>
                <a:gd name="connsiteX237" fmla="*/ 7461 w 10820"/>
                <a:gd name="connsiteY237" fmla="*/ 8162 h 10000"/>
                <a:gd name="connsiteX238" fmla="*/ 7475 w 10820"/>
                <a:gd name="connsiteY238" fmla="*/ 8111 h 10000"/>
                <a:gd name="connsiteX239" fmla="*/ 7475 w 10820"/>
                <a:gd name="connsiteY239" fmla="*/ 8085 h 10000"/>
                <a:gd name="connsiteX240" fmla="*/ 7479 w 10820"/>
                <a:gd name="connsiteY240" fmla="*/ 8060 h 10000"/>
                <a:gd name="connsiteX241" fmla="*/ 7452 w 10820"/>
                <a:gd name="connsiteY241" fmla="*/ 8009 h 10000"/>
                <a:gd name="connsiteX242" fmla="*/ 7465 w 10820"/>
                <a:gd name="connsiteY242" fmla="*/ 7974 h 10000"/>
                <a:gd name="connsiteX243" fmla="*/ 7452 w 10820"/>
                <a:gd name="connsiteY243" fmla="*/ 7923 h 10000"/>
                <a:gd name="connsiteX244" fmla="*/ 7433 w 10820"/>
                <a:gd name="connsiteY244" fmla="*/ 7889 h 10000"/>
                <a:gd name="connsiteX245" fmla="*/ 7419 w 10820"/>
                <a:gd name="connsiteY245" fmla="*/ 7889 h 10000"/>
                <a:gd name="connsiteX246" fmla="*/ 7401 w 10820"/>
                <a:gd name="connsiteY246" fmla="*/ 7863 h 10000"/>
                <a:gd name="connsiteX247" fmla="*/ 7387 w 10820"/>
                <a:gd name="connsiteY247" fmla="*/ 7863 h 10000"/>
                <a:gd name="connsiteX248" fmla="*/ 7373 w 10820"/>
                <a:gd name="connsiteY248" fmla="*/ 7863 h 10000"/>
                <a:gd name="connsiteX249" fmla="*/ 7387 w 10820"/>
                <a:gd name="connsiteY249" fmla="*/ 7846 h 10000"/>
                <a:gd name="connsiteX250" fmla="*/ 7401 w 10820"/>
                <a:gd name="connsiteY250" fmla="*/ 7846 h 10000"/>
                <a:gd name="connsiteX251" fmla="*/ 7410 w 10820"/>
                <a:gd name="connsiteY251" fmla="*/ 7863 h 10000"/>
                <a:gd name="connsiteX252" fmla="*/ 7424 w 10820"/>
                <a:gd name="connsiteY252" fmla="*/ 7872 h 10000"/>
                <a:gd name="connsiteX253" fmla="*/ 7433 w 10820"/>
                <a:gd name="connsiteY253" fmla="*/ 7863 h 10000"/>
                <a:gd name="connsiteX254" fmla="*/ 7461 w 10820"/>
                <a:gd name="connsiteY254" fmla="*/ 7897 h 10000"/>
                <a:gd name="connsiteX255" fmla="*/ 7465 w 10820"/>
                <a:gd name="connsiteY255" fmla="*/ 7889 h 10000"/>
                <a:gd name="connsiteX256" fmla="*/ 7475 w 10820"/>
                <a:gd name="connsiteY256" fmla="*/ 7863 h 10000"/>
                <a:gd name="connsiteX257" fmla="*/ 7475 w 10820"/>
                <a:gd name="connsiteY257" fmla="*/ 7838 h 10000"/>
                <a:gd name="connsiteX258" fmla="*/ 7465 w 10820"/>
                <a:gd name="connsiteY258" fmla="*/ 7838 h 10000"/>
                <a:gd name="connsiteX259" fmla="*/ 7406 w 10820"/>
                <a:gd name="connsiteY259" fmla="*/ 7752 h 10000"/>
                <a:gd name="connsiteX260" fmla="*/ 7401 w 10820"/>
                <a:gd name="connsiteY260" fmla="*/ 7735 h 10000"/>
                <a:gd name="connsiteX261" fmla="*/ 7401 w 10820"/>
                <a:gd name="connsiteY261" fmla="*/ 7701 h 10000"/>
                <a:gd name="connsiteX262" fmla="*/ 7378 w 10820"/>
                <a:gd name="connsiteY262" fmla="*/ 7675 h 10000"/>
                <a:gd name="connsiteX263" fmla="*/ 7373 w 10820"/>
                <a:gd name="connsiteY263" fmla="*/ 7667 h 10000"/>
                <a:gd name="connsiteX264" fmla="*/ 7364 w 10820"/>
                <a:gd name="connsiteY264" fmla="*/ 7650 h 10000"/>
                <a:gd name="connsiteX265" fmla="*/ 7364 w 10820"/>
                <a:gd name="connsiteY265" fmla="*/ 7641 h 10000"/>
                <a:gd name="connsiteX266" fmla="*/ 7350 w 10820"/>
                <a:gd name="connsiteY266" fmla="*/ 7641 h 10000"/>
                <a:gd name="connsiteX267" fmla="*/ 7336 w 10820"/>
                <a:gd name="connsiteY267" fmla="*/ 7650 h 10000"/>
                <a:gd name="connsiteX268" fmla="*/ 7327 w 10820"/>
                <a:gd name="connsiteY268" fmla="*/ 7650 h 10000"/>
                <a:gd name="connsiteX269" fmla="*/ 7300 w 10820"/>
                <a:gd name="connsiteY269" fmla="*/ 7641 h 10000"/>
                <a:gd name="connsiteX270" fmla="*/ 7300 w 10820"/>
                <a:gd name="connsiteY270" fmla="*/ 7675 h 10000"/>
                <a:gd name="connsiteX271" fmla="*/ 7300 w 10820"/>
                <a:gd name="connsiteY271" fmla="*/ 7692 h 10000"/>
                <a:gd name="connsiteX272" fmla="*/ 7286 w 10820"/>
                <a:gd name="connsiteY272" fmla="*/ 7786 h 10000"/>
                <a:gd name="connsiteX273" fmla="*/ 7272 w 10820"/>
                <a:gd name="connsiteY273" fmla="*/ 7803 h 10000"/>
                <a:gd name="connsiteX274" fmla="*/ 7276 w 10820"/>
                <a:gd name="connsiteY274" fmla="*/ 7761 h 10000"/>
                <a:gd name="connsiteX275" fmla="*/ 7286 w 10820"/>
                <a:gd name="connsiteY275" fmla="*/ 7735 h 10000"/>
                <a:gd name="connsiteX276" fmla="*/ 7276 w 10820"/>
                <a:gd name="connsiteY276" fmla="*/ 7709 h 10000"/>
                <a:gd name="connsiteX277" fmla="*/ 7258 w 10820"/>
                <a:gd name="connsiteY277" fmla="*/ 7761 h 10000"/>
                <a:gd name="connsiteX278" fmla="*/ 7217 w 10820"/>
                <a:gd name="connsiteY278" fmla="*/ 7786 h 10000"/>
                <a:gd name="connsiteX279" fmla="*/ 7203 w 10820"/>
                <a:gd name="connsiteY279" fmla="*/ 7786 h 10000"/>
                <a:gd name="connsiteX280" fmla="*/ 7198 w 10820"/>
                <a:gd name="connsiteY280" fmla="*/ 7778 h 10000"/>
                <a:gd name="connsiteX281" fmla="*/ 7212 w 10820"/>
                <a:gd name="connsiteY281" fmla="*/ 7761 h 10000"/>
                <a:gd name="connsiteX282" fmla="*/ 7230 w 10820"/>
                <a:gd name="connsiteY282" fmla="*/ 7726 h 10000"/>
                <a:gd name="connsiteX283" fmla="*/ 7226 w 10820"/>
                <a:gd name="connsiteY283" fmla="*/ 7709 h 10000"/>
                <a:gd name="connsiteX284" fmla="*/ 7212 w 10820"/>
                <a:gd name="connsiteY284" fmla="*/ 7701 h 10000"/>
                <a:gd name="connsiteX285" fmla="*/ 7203 w 10820"/>
                <a:gd name="connsiteY285" fmla="*/ 7675 h 10000"/>
                <a:gd name="connsiteX286" fmla="*/ 7217 w 10820"/>
                <a:gd name="connsiteY286" fmla="*/ 7675 h 10000"/>
                <a:gd name="connsiteX287" fmla="*/ 7226 w 10820"/>
                <a:gd name="connsiteY287" fmla="*/ 7650 h 10000"/>
                <a:gd name="connsiteX288" fmla="*/ 7226 w 10820"/>
                <a:gd name="connsiteY288" fmla="*/ 7641 h 10000"/>
                <a:gd name="connsiteX289" fmla="*/ 7203 w 10820"/>
                <a:gd name="connsiteY289" fmla="*/ 7641 h 10000"/>
                <a:gd name="connsiteX290" fmla="*/ 7198 w 10820"/>
                <a:gd name="connsiteY290" fmla="*/ 7650 h 10000"/>
                <a:gd name="connsiteX291" fmla="*/ 7194 w 10820"/>
                <a:gd name="connsiteY291" fmla="*/ 7675 h 10000"/>
                <a:gd name="connsiteX292" fmla="*/ 7198 w 10820"/>
                <a:gd name="connsiteY292" fmla="*/ 7692 h 10000"/>
                <a:gd name="connsiteX293" fmla="*/ 7198 w 10820"/>
                <a:gd name="connsiteY293" fmla="*/ 7709 h 10000"/>
                <a:gd name="connsiteX294" fmla="*/ 7184 w 10820"/>
                <a:gd name="connsiteY294" fmla="*/ 7726 h 10000"/>
                <a:gd name="connsiteX295" fmla="*/ 7180 w 10820"/>
                <a:gd name="connsiteY295" fmla="*/ 7726 h 10000"/>
                <a:gd name="connsiteX296" fmla="*/ 7171 w 10820"/>
                <a:gd name="connsiteY296" fmla="*/ 7752 h 10000"/>
                <a:gd name="connsiteX297" fmla="*/ 7166 w 10820"/>
                <a:gd name="connsiteY297" fmla="*/ 7735 h 10000"/>
                <a:gd name="connsiteX298" fmla="*/ 7171 w 10820"/>
                <a:gd name="connsiteY298" fmla="*/ 7624 h 10000"/>
                <a:gd name="connsiteX299" fmla="*/ 7171 w 10820"/>
                <a:gd name="connsiteY299" fmla="*/ 7615 h 10000"/>
                <a:gd name="connsiteX300" fmla="*/ 7171 w 10820"/>
                <a:gd name="connsiteY300" fmla="*/ 7590 h 10000"/>
                <a:gd name="connsiteX301" fmla="*/ 7166 w 10820"/>
                <a:gd name="connsiteY301" fmla="*/ 7564 h 10000"/>
                <a:gd name="connsiteX302" fmla="*/ 7157 w 10820"/>
                <a:gd name="connsiteY302" fmla="*/ 7564 h 10000"/>
                <a:gd name="connsiteX303" fmla="*/ 7097 w 10820"/>
                <a:gd name="connsiteY303" fmla="*/ 7573 h 10000"/>
                <a:gd name="connsiteX304" fmla="*/ 7065 w 10820"/>
                <a:gd name="connsiteY304" fmla="*/ 7538 h 10000"/>
                <a:gd name="connsiteX305" fmla="*/ 7069 w 10820"/>
                <a:gd name="connsiteY305" fmla="*/ 7504 h 10000"/>
                <a:gd name="connsiteX306" fmla="*/ 7106 w 10820"/>
                <a:gd name="connsiteY306" fmla="*/ 7453 h 10000"/>
                <a:gd name="connsiteX307" fmla="*/ 7111 w 10820"/>
                <a:gd name="connsiteY307" fmla="*/ 7436 h 10000"/>
                <a:gd name="connsiteX308" fmla="*/ 7138 w 10820"/>
                <a:gd name="connsiteY308" fmla="*/ 7402 h 10000"/>
                <a:gd name="connsiteX309" fmla="*/ 7143 w 10820"/>
                <a:gd name="connsiteY309" fmla="*/ 7376 h 10000"/>
                <a:gd name="connsiteX310" fmla="*/ 7152 w 10820"/>
                <a:gd name="connsiteY310" fmla="*/ 7368 h 10000"/>
                <a:gd name="connsiteX311" fmla="*/ 7157 w 10820"/>
                <a:gd name="connsiteY311" fmla="*/ 7350 h 10000"/>
                <a:gd name="connsiteX312" fmla="*/ 7230 w 10820"/>
                <a:gd name="connsiteY312" fmla="*/ 7239 h 10000"/>
                <a:gd name="connsiteX313" fmla="*/ 7240 w 10820"/>
                <a:gd name="connsiteY313" fmla="*/ 7205 h 10000"/>
                <a:gd name="connsiteX314" fmla="*/ 7253 w 10820"/>
                <a:gd name="connsiteY314" fmla="*/ 7188 h 10000"/>
                <a:gd name="connsiteX315" fmla="*/ 7258 w 10820"/>
                <a:gd name="connsiteY315" fmla="*/ 7162 h 10000"/>
                <a:gd name="connsiteX316" fmla="*/ 7258 w 10820"/>
                <a:gd name="connsiteY316" fmla="*/ 7154 h 10000"/>
                <a:gd name="connsiteX317" fmla="*/ 7272 w 10820"/>
                <a:gd name="connsiteY317" fmla="*/ 7120 h 10000"/>
                <a:gd name="connsiteX318" fmla="*/ 7276 w 10820"/>
                <a:gd name="connsiteY318" fmla="*/ 7094 h 10000"/>
                <a:gd name="connsiteX319" fmla="*/ 7286 w 10820"/>
                <a:gd name="connsiteY319" fmla="*/ 7094 h 10000"/>
                <a:gd name="connsiteX320" fmla="*/ 7290 w 10820"/>
                <a:gd name="connsiteY320" fmla="*/ 7068 h 10000"/>
                <a:gd name="connsiteX321" fmla="*/ 7332 w 10820"/>
                <a:gd name="connsiteY321" fmla="*/ 6991 h 10000"/>
                <a:gd name="connsiteX322" fmla="*/ 7336 w 10820"/>
                <a:gd name="connsiteY322" fmla="*/ 6991 h 10000"/>
                <a:gd name="connsiteX323" fmla="*/ 7364 w 10820"/>
                <a:gd name="connsiteY323" fmla="*/ 6940 h 10000"/>
                <a:gd name="connsiteX324" fmla="*/ 7373 w 10820"/>
                <a:gd name="connsiteY324" fmla="*/ 6906 h 10000"/>
                <a:gd name="connsiteX325" fmla="*/ 7378 w 10820"/>
                <a:gd name="connsiteY325" fmla="*/ 6915 h 10000"/>
                <a:gd name="connsiteX326" fmla="*/ 7406 w 10820"/>
                <a:gd name="connsiteY326" fmla="*/ 6880 h 10000"/>
                <a:gd name="connsiteX327" fmla="*/ 7410 w 10820"/>
                <a:gd name="connsiteY327" fmla="*/ 6846 h 10000"/>
                <a:gd name="connsiteX328" fmla="*/ 7419 w 10820"/>
                <a:gd name="connsiteY328" fmla="*/ 6803 h 10000"/>
                <a:gd name="connsiteX329" fmla="*/ 7585 w 10820"/>
                <a:gd name="connsiteY329" fmla="*/ 6504 h 10000"/>
                <a:gd name="connsiteX330" fmla="*/ 7765 w 10820"/>
                <a:gd name="connsiteY330" fmla="*/ 6504 h 10000"/>
                <a:gd name="connsiteX331" fmla="*/ 7765 w 10820"/>
                <a:gd name="connsiteY331" fmla="*/ 6530 h 10000"/>
                <a:gd name="connsiteX332" fmla="*/ 7774 w 10820"/>
                <a:gd name="connsiteY332" fmla="*/ 6556 h 10000"/>
                <a:gd name="connsiteX333" fmla="*/ 7779 w 10820"/>
                <a:gd name="connsiteY333" fmla="*/ 6556 h 10000"/>
                <a:gd name="connsiteX334" fmla="*/ 7793 w 10820"/>
                <a:gd name="connsiteY334" fmla="*/ 6547 h 10000"/>
                <a:gd name="connsiteX335" fmla="*/ 7793 w 10820"/>
                <a:gd name="connsiteY335" fmla="*/ 6530 h 10000"/>
                <a:gd name="connsiteX336" fmla="*/ 7802 w 10820"/>
                <a:gd name="connsiteY336" fmla="*/ 6496 h 10000"/>
                <a:gd name="connsiteX337" fmla="*/ 7806 w 10820"/>
                <a:gd name="connsiteY337" fmla="*/ 6487 h 10000"/>
                <a:gd name="connsiteX338" fmla="*/ 7876 w 10820"/>
                <a:gd name="connsiteY338" fmla="*/ 6530 h 10000"/>
                <a:gd name="connsiteX339" fmla="*/ 7894 w 10820"/>
                <a:gd name="connsiteY339" fmla="*/ 6530 h 10000"/>
                <a:gd name="connsiteX340" fmla="*/ 7894 w 10820"/>
                <a:gd name="connsiteY340" fmla="*/ 6504 h 10000"/>
                <a:gd name="connsiteX341" fmla="*/ 7899 w 10820"/>
                <a:gd name="connsiteY341" fmla="*/ 6504 h 10000"/>
                <a:gd name="connsiteX342" fmla="*/ 7926 w 10820"/>
                <a:gd name="connsiteY342" fmla="*/ 6504 h 10000"/>
                <a:gd name="connsiteX343" fmla="*/ 7940 w 10820"/>
                <a:gd name="connsiteY343" fmla="*/ 6547 h 10000"/>
                <a:gd name="connsiteX344" fmla="*/ 7949 w 10820"/>
                <a:gd name="connsiteY344" fmla="*/ 6547 h 10000"/>
                <a:gd name="connsiteX345" fmla="*/ 7963 w 10820"/>
                <a:gd name="connsiteY345" fmla="*/ 6530 h 10000"/>
                <a:gd name="connsiteX346" fmla="*/ 7963 w 10820"/>
                <a:gd name="connsiteY346" fmla="*/ 6504 h 10000"/>
                <a:gd name="connsiteX347" fmla="*/ 7963 w 10820"/>
                <a:gd name="connsiteY347" fmla="*/ 6504 h 10000"/>
                <a:gd name="connsiteX348" fmla="*/ 7954 w 10820"/>
                <a:gd name="connsiteY348" fmla="*/ 6496 h 10000"/>
                <a:gd name="connsiteX349" fmla="*/ 7963 w 10820"/>
                <a:gd name="connsiteY349" fmla="*/ 6487 h 10000"/>
                <a:gd name="connsiteX350" fmla="*/ 7982 w 10820"/>
                <a:gd name="connsiteY350" fmla="*/ 6487 h 10000"/>
                <a:gd name="connsiteX351" fmla="*/ 7982 w 10820"/>
                <a:gd name="connsiteY351" fmla="*/ 6470 h 10000"/>
                <a:gd name="connsiteX352" fmla="*/ 7972 w 10820"/>
                <a:gd name="connsiteY352" fmla="*/ 6462 h 10000"/>
                <a:gd name="connsiteX353" fmla="*/ 7972 w 10820"/>
                <a:gd name="connsiteY353" fmla="*/ 6436 h 10000"/>
                <a:gd name="connsiteX354" fmla="*/ 7986 w 10820"/>
                <a:gd name="connsiteY354" fmla="*/ 6419 h 10000"/>
                <a:gd name="connsiteX355" fmla="*/ 8000 w 10820"/>
                <a:gd name="connsiteY355" fmla="*/ 6419 h 10000"/>
                <a:gd name="connsiteX356" fmla="*/ 8055 w 10820"/>
                <a:gd name="connsiteY356" fmla="*/ 6462 h 10000"/>
                <a:gd name="connsiteX357" fmla="*/ 8069 w 10820"/>
                <a:gd name="connsiteY357" fmla="*/ 6444 h 10000"/>
                <a:gd name="connsiteX358" fmla="*/ 8083 w 10820"/>
                <a:gd name="connsiteY358" fmla="*/ 6470 h 10000"/>
                <a:gd name="connsiteX359" fmla="*/ 8083 w 10820"/>
                <a:gd name="connsiteY359" fmla="*/ 6487 h 10000"/>
                <a:gd name="connsiteX360" fmla="*/ 8097 w 10820"/>
                <a:gd name="connsiteY360" fmla="*/ 6487 h 10000"/>
                <a:gd name="connsiteX361" fmla="*/ 8101 w 10820"/>
                <a:gd name="connsiteY361" fmla="*/ 6462 h 10000"/>
                <a:gd name="connsiteX362" fmla="*/ 8115 w 10820"/>
                <a:gd name="connsiteY362" fmla="*/ 6462 h 10000"/>
                <a:gd name="connsiteX363" fmla="*/ 8129 w 10820"/>
                <a:gd name="connsiteY363" fmla="*/ 6462 h 10000"/>
                <a:gd name="connsiteX364" fmla="*/ 8157 w 10820"/>
                <a:gd name="connsiteY364" fmla="*/ 6496 h 10000"/>
                <a:gd name="connsiteX365" fmla="*/ 8157 w 10820"/>
                <a:gd name="connsiteY365" fmla="*/ 6521 h 10000"/>
                <a:gd name="connsiteX366" fmla="*/ 8180 w 10820"/>
                <a:gd name="connsiteY366" fmla="*/ 6530 h 10000"/>
                <a:gd name="connsiteX367" fmla="*/ 8180 w 10820"/>
                <a:gd name="connsiteY367" fmla="*/ 6547 h 10000"/>
                <a:gd name="connsiteX368" fmla="*/ 8171 w 10820"/>
                <a:gd name="connsiteY368" fmla="*/ 6556 h 10000"/>
                <a:gd name="connsiteX369" fmla="*/ 8129 w 10820"/>
                <a:gd name="connsiteY369" fmla="*/ 6556 h 10000"/>
                <a:gd name="connsiteX370" fmla="*/ 8106 w 10820"/>
                <a:gd name="connsiteY370" fmla="*/ 6573 h 10000"/>
                <a:gd name="connsiteX371" fmla="*/ 8115 w 10820"/>
                <a:gd name="connsiteY371" fmla="*/ 6581 h 10000"/>
                <a:gd name="connsiteX372" fmla="*/ 8129 w 10820"/>
                <a:gd name="connsiteY372" fmla="*/ 6632 h 10000"/>
                <a:gd name="connsiteX373" fmla="*/ 8171 w 10820"/>
                <a:gd name="connsiteY373" fmla="*/ 6632 h 10000"/>
                <a:gd name="connsiteX374" fmla="*/ 8180 w 10820"/>
                <a:gd name="connsiteY374" fmla="*/ 6624 h 10000"/>
                <a:gd name="connsiteX375" fmla="*/ 8189 w 10820"/>
                <a:gd name="connsiteY375" fmla="*/ 6598 h 10000"/>
                <a:gd name="connsiteX376" fmla="*/ 8203 w 10820"/>
                <a:gd name="connsiteY376" fmla="*/ 6581 h 10000"/>
                <a:gd name="connsiteX377" fmla="*/ 8207 w 10820"/>
                <a:gd name="connsiteY377" fmla="*/ 6607 h 10000"/>
                <a:gd name="connsiteX378" fmla="*/ 8221 w 10820"/>
                <a:gd name="connsiteY378" fmla="*/ 6624 h 10000"/>
                <a:gd name="connsiteX379" fmla="*/ 8235 w 10820"/>
                <a:gd name="connsiteY379" fmla="*/ 6607 h 10000"/>
                <a:gd name="connsiteX380" fmla="*/ 8240 w 10820"/>
                <a:gd name="connsiteY380" fmla="*/ 6581 h 10000"/>
                <a:gd name="connsiteX381" fmla="*/ 8253 w 10820"/>
                <a:gd name="connsiteY381" fmla="*/ 6573 h 10000"/>
                <a:gd name="connsiteX382" fmla="*/ 8263 w 10820"/>
                <a:gd name="connsiteY382" fmla="*/ 6556 h 10000"/>
                <a:gd name="connsiteX383" fmla="*/ 8276 w 10820"/>
                <a:gd name="connsiteY383" fmla="*/ 6547 h 10000"/>
                <a:gd name="connsiteX384" fmla="*/ 8290 w 10820"/>
                <a:gd name="connsiteY384" fmla="*/ 6556 h 10000"/>
                <a:gd name="connsiteX385" fmla="*/ 8304 w 10820"/>
                <a:gd name="connsiteY385" fmla="*/ 6581 h 10000"/>
                <a:gd name="connsiteX386" fmla="*/ 8309 w 10820"/>
                <a:gd name="connsiteY386" fmla="*/ 6581 h 10000"/>
                <a:gd name="connsiteX387" fmla="*/ 8327 w 10820"/>
                <a:gd name="connsiteY387" fmla="*/ 6573 h 10000"/>
                <a:gd name="connsiteX388" fmla="*/ 8327 w 10820"/>
                <a:gd name="connsiteY388" fmla="*/ 6556 h 10000"/>
                <a:gd name="connsiteX389" fmla="*/ 8350 w 10820"/>
                <a:gd name="connsiteY389" fmla="*/ 6556 h 10000"/>
                <a:gd name="connsiteX390" fmla="*/ 8355 w 10820"/>
                <a:gd name="connsiteY390" fmla="*/ 6573 h 10000"/>
                <a:gd name="connsiteX391" fmla="*/ 8364 w 10820"/>
                <a:gd name="connsiteY391" fmla="*/ 6556 h 10000"/>
                <a:gd name="connsiteX392" fmla="*/ 8369 w 10820"/>
                <a:gd name="connsiteY392" fmla="*/ 6556 h 10000"/>
                <a:gd name="connsiteX393" fmla="*/ 8378 w 10820"/>
                <a:gd name="connsiteY393" fmla="*/ 6530 h 10000"/>
                <a:gd name="connsiteX394" fmla="*/ 8369 w 10820"/>
                <a:gd name="connsiteY394" fmla="*/ 6504 h 10000"/>
                <a:gd name="connsiteX395" fmla="*/ 8364 w 10820"/>
                <a:gd name="connsiteY395" fmla="*/ 6496 h 10000"/>
                <a:gd name="connsiteX396" fmla="*/ 8336 w 10820"/>
                <a:gd name="connsiteY396" fmla="*/ 6470 h 10000"/>
                <a:gd name="connsiteX397" fmla="*/ 8309 w 10820"/>
                <a:gd name="connsiteY397" fmla="*/ 6487 h 10000"/>
                <a:gd name="connsiteX398" fmla="*/ 8313 w 10820"/>
                <a:gd name="connsiteY398" fmla="*/ 6462 h 10000"/>
                <a:gd name="connsiteX399" fmla="*/ 8323 w 10820"/>
                <a:gd name="connsiteY399" fmla="*/ 6444 h 10000"/>
                <a:gd name="connsiteX400" fmla="*/ 8309 w 10820"/>
                <a:gd name="connsiteY400" fmla="*/ 6393 h 10000"/>
                <a:gd name="connsiteX401" fmla="*/ 8313 w 10820"/>
                <a:gd name="connsiteY401" fmla="*/ 6385 h 10000"/>
                <a:gd name="connsiteX402" fmla="*/ 8323 w 10820"/>
                <a:gd name="connsiteY402" fmla="*/ 6393 h 10000"/>
                <a:gd name="connsiteX403" fmla="*/ 8323 w 10820"/>
                <a:gd name="connsiteY403" fmla="*/ 6393 h 10000"/>
                <a:gd name="connsiteX404" fmla="*/ 8355 w 10820"/>
                <a:gd name="connsiteY404" fmla="*/ 6282 h 10000"/>
                <a:gd name="connsiteX405" fmla="*/ 8369 w 10820"/>
                <a:gd name="connsiteY405" fmla="*/ 6256 h 10000"/>
                <a:gd name="connsiteX406" fmla="*/ 8382 w 10820"/>
                <a:gd name="connsiteY406" fmla="*/ 6248 h 10000"/>
                <a:gd name="connsiteX407" fmla="*/ 8424 w 10820"/>
                <a:gd name="connsiteY407" fmla="*/ 6162 h 10000"/>
                <a:gd name="connsiteX408" fmla="*/ 8429 w 10820"/>
                <a:gd name="connsiteY408" fmla="*/ 6145 h 10000"/>
                <a:gd name="connsiteX409" fmla="*/ 8470 w 10820"/>
                <a:gd name="connsiteY409" fmla="*/ 6051 h 10000"/>
                <a:gd name="connsiteX410" fmla="*/ 8475 w 10820"/>
                <a:gd name="connsiteY410" fmla="*/ 5983 h 10000"/>
                <a:gd name="connsiteX411" fmla="*/ 8512 w 10820"/>
                <a:gd name="connsiteY411" fmla="*/ 5940 h 10000"/>
                <a:gd name="connsiteX412" fmla="*/ 8521 w 10820"/>
                <a:gd name="connsiteY412" fmla="*/ 5923 h 10000"/>
                <a:gd name="connsiteX413" fmla="*/ 8535 w 10820"/>
                <a:gd name="connsiteY413" fmla="*/ 5915 h 10000"/>
                <a:gd name="connsiteX414" fmla="*/ 8562 w 10820"/>
                <a:gd name="connsiteY414" fmla="*/ 5915 h 10000"/>
                <a:gd name="connsiteX415" fmla="*/ 8618 w 10820"/>
                <a:gd name="connsiteY415" fmla="*/ 5889 h 10000"/>
                <a:gd name="connsiteX416" fmla="*/ 8622 w 10820"/>
                <a:gd name="connsiteY416" fmla="*/ 5889 h 10000"/>
                <a:gd name="connsiteX417" fmla="*/ 8622 w 10820"/>
                <a:gd name="connsiteY417" fmla="*/ 5872 h 10000"/>
                <a:gd name="connsiteX418" fmla="*/ 8636 w 10820"/>
                <a:gd name="connsiteY418" fmla="*/ 5872 h 10000"/>
                <a:gd name="connsiteX419" fmla="*/ 8650 w 10820"/>
                <a:gd name="connsiteY419" fmla="*/ 5889 h 10000"/>
                <a:gd name="connsiteX420" fmla="*/ 8659 w 10820"/>
                <a:gd name="connsiteY420" fmla="*/ 5915 h 10000"/>
                <a:gd name="connsiteX421" fmla="*/ 8664 w 10820"/>
                <a:gd name="connsiteY421" fmla="*/ 5940 h 10000"/>
                <a:gd name="connsiteX422" fmla="*/ 8682 w 10820"/>
                <a:gd name="connsiteY422" fmla="*/ 5923 h 10000"/>
                <a:gd name="connsiteX423" fmla="*/ 8719 w 10820"/>
                <a:gd name="connsiteY423" fmla="*/ 5863 h 10000"/>
                <a:gd name="connsiteX424" fmla="*/ 8705 w 10820"/>
                <a:gd name="connsiteY424" fmla="*/ 5966 h 10000"/>
                <a:gd name="connsiteX425" fmla="*/ 8696 w 10820"/>
                <a:gd name="connsiteY425" fmla="*/ 5983 h 10000"/>
                <a:gd name="connsiteX426" fmla="*/ 8682 w 10820"/>
                <a:gd name="connsiteY426" fmla="*/ 6026 h 10000"/>
                <a:gd name="connsiteX427" fmla="*/ 8682 w 10820"/>
                <a:gd name="connsiteY427" fmla="*/ 6051 h 10000"/>
                <a:gd name="connsiteX428" fmla="*/ 8691 w 10820"/>
                <a:gd name="connsiteY428" fmla="*/ 6077 h 10000"/>
                <a:gd name="connsiteX429" fmla="*/ 8691 w 10820"/>
                <a:gd name="connsiteY429" fmla="*/ 6085 h 10000"/>
                <a:gd name="connsiteX430" fmla="*/ 8682 w 10820"/>
                <a:gd name="connsiteY430" fmla="*/ 6103 h 10000"/>
                <a:gd name="connsiteX431" fmla="*/ 8682 w 10820"/>
                <a:gd name="connsiteY431" fmla="*/ 6111 h 10000"/>
                <a:gd name="connsiteX432" fmla="*/ 8691 w 10820"/>
                <a:gd name="connsiteY432" fmla="*/ 6120 h 10000"/>
                <a:gd name="connsiteX433" fmla="*/ 8719 w 10820"/>
                <a:gd name="connsiteY433" fmla="*/ 6103 h 10000"/>
                <a:gd name="connsiteX434" fmla="*/ 8705 w 10820"/>
                <a:gd name="connsiteY434" fmla="*/ 6188 h 10000"/>
                <a:gd name="connsiteX435" fmla="*/ 8705 w 10820"/>
                <a:gd name="connsiteY435" fmla="*/ 6214 h 10000"/>
                <a:gd name="connsiteX436" fmla="*/ 8710 w 10820"/>
                <a:gd name="connsiteY436" fmla="*/ 6197 h 10000"/>
                <a:gd name="connsiteX437" fmla="*/ 8728 w 10820"/>
                <a:gd name="connsiteY437" fmla="*/ 6171 h 10000"/>
                <a:gd name="connsiteX438" fmla="*/ 8737 w 10820"/>
                <a:gd name="connsiteY438" fmla="*/ 6171 h 10000"/>
                <a:gd name="connsiteX439" fmla="*/ 8843 w 10820"/>
                <a:gd name="connsiteY439" fmla="*/ 5949 h 10000"/>
                <a:gd name="connsiteX440" fmla="*/ 8866 w 10820"/>
                <a:gd name="connsiteY440" fmla="*/ 5949 h 10000"/>
                <a:gd name="connsiteX441" fmla="*/ 8871 w 10820"/>
                <a:gd name="connsiteY441" fmla="*/ 5940 h 10000"/>
                <a:gd name="connsiteX442" fmla="*/ 8876 w 10820"/>
                <a:gd name="connsiteY442" fmla="*/ 5923 h 10000"/>
                <a:gd name="connsiteX443" fmla="*/ 8885 w 10820"/>
                <a:gd name="connsiteY443" fmla="*/ 5940 h 10000"/>
                <a:gd name="connsiteX444" fmla="*/ 8885 w 10820"/>
                <a:gd name="connsiteY444" fmla="*/ 5949 h 10000"/>
                <a:gd name="connsiteX445" fmla="*/ 8885 w 10820"/>
                <a:gd name="connsiteY445" fmla="*/ 5974 h 10000"/>
                <a:gd name="connsiteX446" fmla="*/ 8889 w 10820"/>
                <a:gd name="connsiteY446" fmla="*/ 5974 h 10000"/>
                <a:gd name="connsiteX447" fmla="*/ 8903 w 10820"/>
                <a:gd name="connsiteY447" fmla="*/ 5923 h 10000"/>
                <a:gd name="connsiteX448" fmla="*/ 8889 w 10820"/>
                <a:gd name="connsiteY448" fmla="*/ 5923 h 10000"/>
                <a:gd name="connsiteX449" fmla="*/ 8889 w 10820"/>
                <a:gd name="connsiteY449" fmla="*/ 5897 h 10000"/>
                <a:gd name="connsiteX450" fmla="*/ 8899 w 10820"/>
                <a:gd name="connsiteY450" fmla="*/ 5838 h 10000"/>
                <a:gd name="connsiteX451" fmla="*/ 8889 w 10820"/>
                <a:gd name="connsiteY451" fmla="*/ 5812 h 10000"/>
                <a:gd name="connsiteX452" fmla="*/ 8903 w 10820"/>
                <a:gd name="connsiteY452" fmla="*/ 5778 h 10000"/>
                <a:gd name="connsiteX453" fmla="*/ 8903 w 10820"/>
                <a:gd name="connsiteY453" fmla="*/ 5761 h 10000"/>
                <a:gd name="connsiteX454" fmla="*/ 8912 w 10820"/>
                <a:gd name="connsiteY454" fmla="*/ 5735 h 10000"/>
                <a:gd name="connsiteX455" fmla="*/ 8931 w 10820"/>
                <a:gd name="connsiteY455" fmla="*/ 5701 h 10000"/>
                <a:gd name="connsiteX456" fmla="*/ 8977 w 10820"/>
                <a:gd name="connsiteY456" fmla="*/ 5675 h 10000"/>
                <a:gd name="connsiteX457" fmla="*/ 9000 w 10820"/>
                <a:gd name="connsiteY457" fmla="*/ 5675 h 10000"/>
                <a:gd name="connsiteX458" fmla="*/ 9018 w 10820"/>
                <a:gd name="connsiteY458" fmla="*/ 5709 h 10000"/>
                <a:gd name="connsiteX459" fmla="*/ 9009 w 10820"/>
                <a:gd name="connsiteY459" fmla="*/ 5735 h 10000"/>
                <a:gd name="connsiteX460" fmla="*/ 9000 w 10820"/>
                <a:gd name="connsiteY460" fmla="*/ 5735 h 10000"/>
                <a:gd name="connsiteX461" fmla="*/ 8963 w 10820"/>
                <a:gd name="connsiteY461" fmla="*/ 5786 h 10000"/>
                <a:gd name="connsiteX462" fmla="*/ 8949 w 10820"/>
                <a:gd name="connsiteY462" fmla="*/ 5940 h 10000"/>
                <a:gd name="connsiteX463" fmla="*/ 8945 w 10820"/>
                <a:gd name="connsiteY463" fmla="*/ 5966 h 10000"/>
                <a:gd name="connsiteX464" fmla="*/ 8945 w 10820"/>
                <a:gd name="connsiteY464" fmla="*/ 6000 h 10000"/>
                <a:gd name="connsiteX465" fmla="*/ 8945 w 10820"/>
                <a:gd name="connsiteY465" fmla="*/ 6009 h 10000"/>
                <a:gd name="connsiteX466" fmla="*/ 8945 w 10820"/>
                <a:gd name="connsiteY466" fmla="*/ 6034 h 10000"/>
                <a:gd name="connsiteX467" fmla="*/ 8931 w 10820"/>
                <a:gd name="connsiteY467" fmla="*/ 6060 h 10000"/>
                <a:gd name="connsiteX468" fmla="*/ 8926 w 10820"/>
                <a:gd name="connsiteY468" fmla="*/ 6077 h 10000"/>
                <a:gd name="connsiteX469" fmla="*/ 8926 w 10820"/>
                <a:gd name="connsiteY469" fmla="*/ 6111 h 10000"/>
                <a:gd name="connsiteX470" fmla="*/ 8931 w 10820"/>
                <a:gd name="connsiteY470" fmla="*/ 6120 h 10000"/>
                <a:gd name="connsiteX471" fmla="*/ 8931 w 10820"/>
                <a:gd name="connsiteY471" fmla="*/ 6137 h 10000"/>
                <a:gd name="connsiteX472" fmla="*/ 8912 w 10820"/>
                <a:gd name="connsiteY472" fmla="*/ 6171 h 10000"/>
                <a:gd name="connsiteX473" fmla="*/ 8899 w 10820"/>
                <a:gd name="connsiteY473" fmla="*/ 6162 h 10000"/>
                <a:gd name="connsiteX474" fmla="*/ 8885 w 10820"/>
                <a:gd name="connsiteY474" fmla="*/ 6171 h 10000"/>
                <a:gd name="connsiteX475" fmla="*/ 8866 w 10820"/>
                <a:gd name="connsiteY475" fmla="*/ 6214 h 10000"/>
                <a:gd name="connsiteX476" fmla="*/ 8853 w 10820"/>
                <a:gd name="connsiteY476" fmla="*/ 6214 h 10000"/>
                <a:gd name="connsiteX477" fmla="*/ 8816 w 10820"/>
                <a:gd name="connsiteY477" fmla="*/ 6248 h 10000"/>
                <a:gd name="connsiteX478" fmla="*/ 8816 w 10820"/>
                <a:gd name="connsiteY478" fmla="*/ 6248 h 10000"/>
                <a:gd name="connsiteX479" fmla="*/ 8816 w 10820"/>
                <a:gd name="connsiteY479" fmla="*/ 6282 h 10000"/>
                <a:gd name="connsiteX480" fmla="*/ 8811 w 10820"/>
                <a:gd name="connsiteY480" fmla="*/ 6308 h 10000"/>
                <a:gd name="connsiteX481" fmla="*/ 8751 w 10820"/>
                <a:gd name="connsiteY481" fmla="*/ 6436 h 10000"/>
                <a:gd name="connsiteX482" fmla="*/ 8724 w 10820"/>
                <a:gd name="connsiteY482" fmla="*/ 6470 h 10000"/>
                <a:gd name="connsiteX483" fmla="*/ 8710 w 10820"/>
                <a:gd name="connsiteY483" fmla="*/ 6504 h 10000"/>
                <a:gd name="connsiteX484" fmla="*/ 8705 w 10820"/>
                <a:gd name="connsiteY484" fmla="*/ 6521 h 10000"/>
                <a:gd name="connsiteX485" fmla="*/ 8677 w 10820"/>
                <a:gd name="connsiteY485" fmla="*/ 6573 h 10000"/>
                <a:gd name="connsiteX486" fmla="*/ 8677 w 10820"/>
                <a:gd name="connsiteY486" fmla="*/ 6624 h 10000"/>
                <a:gd name="connsiteX487" fmla="*/ 8590 w 10820"/>
                <a:gd name="connsiteY487" fmla="*/ 6803 h 10000"/>
                <a:gd name="connsiteX488" fmla="*/ 8562 w 10820"/>
                <a:gd name="connsiteY488" fmla="*/ 6829 h 10000"/>
                <a:gd name="connsiteX489" fmla="*/ 8544 w 10820"/>
                <a:gd name="connsiteY489" fmla="*/ 6829 h 10000"/>
                <a:gd name="connsiteX490" fmla="*/ 8521 w 10820"/>
                <a:gd name="connsiteY490" fmla="*/ 6880 h 10000"/>
                <a:gd name="connsiteX491" fmla="*/ 8498 w 10820"/>
                <a:gd name="connsiteY491" fmla="*/ 6872 h 10000"/>
                <a:gd name="connsiteX492" fmla="*/ 8488 w 10820"/>
                <a:gd name="connsiteY492" fmla="*/ 6872 h 10000"/>
                <a:gd name="connsiteX493" fmla="*/ 8498 w 10820"/>
                <a:gd name="connsiteY493" fmla="*/ 6940 h 10000"/>
                <a:gd name="connsiteX494" fmla="*/ 8484 w 10820"/>
                <a:gd name="connsiteY494" fmla="*/ 7026 h 10000"/>
                <a:gd name="connsiteX495" fmla="*/ 8429 w 10820"/>
                <a:gd name="connsiteY495" fmla="*/ 7094 h 10000"/>
                <a:gd name="connsiteX496" fmla="*/ 8401 w 10820"/>
                <a:gd name="connsiteY496" fmla="*/ 7291 h 10000"/>
                <a:gd name="connsiteX497" fmla="*/ 8424 w 10820"/>
                <a:gd name="connsiteY497" fmla="*/ 7692 h 10000"/>
                <a:gd name="connsiteX498" fmla="*/ 8424 w 10820"/>
                <a:gd name="connsiteY498" fmla="*/ 7701 h 10000"/>
                <a:gd name="connsiteX499" fmla="*/ 8484 w 10820"/>
                <a:gd name="connsiteY499" fmla="*/ 8308 h 10000"/>
                <a:gd name="connsiteX500" fmla="*/ 8576 w 10820"/>
                <a:gd name="connsiteY500" fmla="*/ 8120 h 10000"/>
                <a:gd name="connsiteX501" fmla="*/ 8590 w 10820"/>
                <a:gd name="connsiteY501" fmla="*/ 8026 h 10000"/>
                <a:gd name="connsiteX502" fmla="*/ 8590 w 10820"/>
                <a:gd name="connsiteY502" fmla="*/ 7983 h 10000"/>
                <a:gd name="connsiteX503" fmla="*/ 8594 w 10820"/>
                <a:gd name="connsiteY503" fmla="*/ 7974 h 10000"/>
                <a:gd name="connsiteX504" fmla="*/ 8594 w 10820"/>
                <a:gd name="connsiteY504" fmla="*/ 7940 h 10000"/>
                <a:gd name="connsiteX505" fmla="*/ 8594 w 10820"/>
                <a:gd name="connsiteY505" fmla="*/ 7923 h 10000"/>
                <a:gd name="connsiteX506" fmla="*/ 8594 w 10820"/>
                <a:gd name="connsiteY506" fmla="*/ 7915 h 10000"/>
                <a:gd name="connsiteX507" fmla="*/ 8604 w 10820"/>
                <a:gd name="connsiteY507" fmla="*/ 7915 h 10000"/>
                <a:gd name="connsiteX508" fmla="*/ 8608 w 10820"/>
                <a:gd name="connsiteY508" fmla="*/ 7923 h 10000"/>
                <a:gd name="connsiteX509" fmla="*/ 8645 w 10820"/>
                <a:gd name="connsiteY509" fmla="*/ 7872 h 10000"/>
                <a:gd name="connsiteX510" fmla="*/ 8668 w 10820"/>
                <a:gd name="connsiteY510" fmla="*/ 7846 h 10000"/>
                <a:gd name="connsiteX511" fmla="*/ 8691 w 10820"/>
                <a:gd name="connsiteY511" fmla="*/ 7863 h 10000"/>
                <a:gd name="connsiteX512" fmla="*/ 8691 w 10820"/>
                <a:gd name="connsiteY512" fmla="*/ 7846 h 10000"/>
                <a:gd name="connsiteX513" fmla="*/ 8682 w 10820"/>
                <a:gd name="connsiteY513" fmla="*/ 7838 h 10000"/>
                <a:gd name="connsiteX514" fmla="*/ 8682 w 10820"/>
                <a:gd name="connsiteY514" fmla="*/ 7692 h 10000"/>
                <a:gd name="connsiteX515" fmla="*/ 8728 w 10820"/>
                <a:gd name="connsiteY515" fmla="*/ 7598 h 10000"/>
                <a:gd name="connsiteX516" fmla="*/ 8751 w 10820"/>
                <a:gd name="connsiteY516" fmla="*/ 7573 h 10000"/>
                <a:gd name="connsiteX517" fmla="*/ 8770 w 10820"/>
                <a:gd name="connsiteY517" fmla="*/ 7573 h 10000"/>
                <a:gd name="connsiteX518" fmla="*/ 8779 w 10820"/>
                <a:gd name="connsiteY518" fmla="*/ 7590 h 10000"/>
                <a:gd name="connsiteX519" fmla="*/ 8793 w 10820"/>
                <a:gd name="connsiteY519" fmla="*/ 7590 h 10000"/>
                <a:gd name="connsiteX520" fmla="*/ 8811 w 10820"/>
                <a:gd name="connsiteY520" fmla="*/ 7590 h 10000"/>
                <a:gd name="connsiteX521" fmla="*/ 8825 w 10820"/>
                <a:gd name="connsiteY521" fmla="*/ 7556 h 10000"/>
                <a:gd name="connsiteX522" fmla="*/ 8829 w 10820"/>
                <a:gd name="connsiteY522" fmla="*/ 7530 h 10000"/>
                <a:gd name="connsiteX523" fmla="*/ 8802 w 10820"/>
                <a:gd name="connsiteY523" fmla="*/ 7462 h 10000"/>
                <a:gd name="connsiteX524" fmla="*/ 8797 w 10820"/>
                <a:gd name="connsiteY524" fmla="*/ 7402 h 10000"/>
                <a:gd name="connsiteX525" fmla="*/ 8816 w 10820"/>
                <a:gd name="connsiteY525" fmla="*/ 7291 h 10000"/>
                <a:gd name="connsiteX526" fmla="*/ 8825 w 10820"/>
                <a:gd name="connsiteY526" fmla="*/ 7256 h 10000"/>
                <a:gd name="connsiteX527" fmla="*/ 8843 w 10820"/>
                <a:gd name="connsiteY527" fmla="*/ 7231 h 10000"/>
                <a:gd name="connsiteX528" fmla="*/ 8839 w 10820"/>
                <a:gd name="connsiteY528" fmla="*/ 7205 h 10000"/>
                <a:gd name="connsiteX529" fmla="*/ 8839 w 10820"/>
                <a:gd name="connsiteY529" fmla="*/ 7188 h 10000"/>
                <a:gd name="connsiteX530" fmla="*/ 8876 w 10820"/>
                <a:gd name="connsiteY530" fmla="*/ 7162 h 10000"/>
                <a:gd name="connsiteX531" fmla="*/ 8885 w 10820"/>
                <a:gd name="connsiteY531" fmla="*/ 7154 h 10000"/>
                <a:gd name="connsiteX532" fmla="*/ 8885 w 10820"/>
                <a:gd name="connsiteY532" fmla="*/ 7162 h 10000"/>
                <a:gd name="connsiteX533" fmla="*/ 8876 w 10820"/>
                <a:gd name="connsiteY533" fmla="*/ 7188 h 10000"/>
                <a:gd name="connsiteX534" fmla="*/ 8871 w 10820"/>
                <a:gd name="connsiteY534" fmla="*/ 7205 h 10000"/>
                <a:gd name="connsiteX535" fmla="*/ 8866 w 10820"/>
                <a:gd name="connsiteY535" fmla="*/ 7214 h 10000"/>
                <a:gd name="connsiteX536" fmla="*/ 8876 w 10820"/>
                <a:gd name="connsiteY536" fmla="*/ 7265 h 10000"/>
                <a:gd name="connsiteX537" fmla="*/ 8885 w 10820"/>
                <a:gd name="connsiteY537" fmla="*/ 7282 h 10000"/>
                <a:gd name="connsiteX538" fmla="*/ 8889 w 10820"/>
                <a:gd name="connsiteY538" fmla="*/ 7282 h 10000"/>
                <a:gd name="connsiteX539" fmla="*/ 8903 w 10820"/>
                <a:gd name="connsiteY539" fmla="*/ 7239 h 10000"/>
                <a:gd name="connsiteX540" fmla="*/ 8903 w 10820"/>
                <a:gd name="connsiteY540" fmla="*/ 7214 h 10000"/>
                <a:gd name="connsiteX541" fmla="*/ 8899 w 10820"/>
                <a:gd name="connsiteY541" fmla="*/ 7128 h 10000"/>
                <a:gd name="connsiteX542" fmla="*/ 8889 w 10820"/>
                <a:gd name="connsiteY542" fmla="*/ 7120 h 10000"/>
                <a:gd name="connsiteX543" fmla="*/ 8871 w 10820"/>
                <a:gd name="connsiteY543" fmla="*/ 7120 h 10000"/>
                <a:gd name="connsiteX544" fmla="*/ 8871 w 10820"/>
                <a:gd name="connsiteY544" fmla="*/ 7120 h 10000"/>
                <a:gd name="connsiteX545" fmla="*/ 8871 w 10820"/>
                <a:gd name="connsiteY545" fmla="*/ 6991 h 10000"/>
                <a:gd name="connsiteX546" fmla="*/ 8871 w 10820"/>
                <a:gd name="connsiteY546" fmla="*/ 6966 h 10000"/>
                <a:gd name="connsiteX547" fmla="*/ 8889 w 10820"/>
                <a:gd name="connsiteY547" fmla="*/ 6940 h 10000"/>
                <a:gd name="connsiteX548" fmla="*/ 8903 w 10820"/>
                <a:gd name="connsiteY548" fmla="*/ 6906 h 10000"/>
                <a:gd name="connsiteX549" fmla="*/ 8899 w 10820"/>
                <a:gd name="connsiteY549" fmla="*/ 6880 h 10000"/>
                <a:gd name="connsiteX550" fmla="*/ 8866 w 10820"/>
                <a:gd name="connsiteY550" fmla="*/ 6846 h 10000"/>
                <a:gd name="connsiteX551" fmla="*/ 8853 w 10820"/>
                <a:gd name="connsiteY551" fmla="*/ 6846 h 10000"/>
                <a:gd name="connsiteX552" fmla="*/ 8843 w 10820"/>
                <a:gd name="connsiteY552" fmla="*/ 6880 h 10000"/>
                <a:gd name="connsiteX553" fmla="*/ 8843 w 10820"/>
                <a:gd name="connsiteY553" fmla="*/ 6897 h 10000"/>
                <a:gd name="connsiteX554" fmla="*/ 8829 w 10820"/>
                <a:gd name="connsiteY554" fmla="*/ 6880 h 10000"/>
                <a:gd name="connsiteX555" fmla="*/ 8825 w 10820"/>
                <a:gd name="connsiteY555" fmla="*/ 6872 h 10000"/>
                <a:gd name="connsiteX556" fmla="*/ 8816 w 10820"/>
                <a:gd name="connsiteY556" fmla="*/ 6846 h 10000"/>
                <a:gd name="connsiteX557" fmla="*/ 8816 w 10820"/>
                <a:gd name="connsiteY557" fmla="*/ 6803 h 10000"/>
                <a:gd name="connsiteX558" fmla="*/ 8876 w 10820"/>
                <a:gd name="connsiteY558" fmla="*/ 6598 h 10000"/>
                <a:gd name="connsiteX559" fmla="*/ 8876 w 10820"/>
                <a:gd name="connsiteY559" fmla="*/ 6573 h 10000"/>
                <a:gd name="connsiteX560" fmla="*/ 8885 w 10820"/>
                <a:gd name="connsiteY560" fmla="*/ 6556 h 10000"/>
                <a:gd name="connsiteX561" fmla="*/ 8899 w 10820"/>
                <a:gd name="connsiteY561" fmla="*/ 6573 h 10000"/>
                <a:gd name="connsiteX562" fmla="*/ 8889 w 10820"/>
                <a:gd name="connsiteY562" fmla="*/ 6556 h 10000"/>
                <a:gd name="connsiteX563" fmla="*/ 8889 w 10820"/>
                <a:gd name="connsiteY563" fmla="*/ 6530 h 10000"/>
                <a:gd name="connsiteX564" fmla="*/ 8903 w 10820"/>
                <a:gd name="connsiteY564" fmla="*/ 6521 h 10000"/>
                <a:gd name="connsiteX565" fmla="*/ 8903 w 10820"/>
                <a:gd name="connsiteY565" fmla="*/ 6504 h 10000"/>
                <a:gd name="connsiteX566" fmla="*/ 8903 w 10820"/>
                <a:gd name="connsiteY566" fmla="*/ 6487 h 10000"/>
                <a:gd name="connsiteX567" fmla="*/ 8903 w 10820"/>
                <a:gd name="connsiteY567" fmla="*/ 6462 h 10000"/>
                <a:gd name="connsiteX568" fmla="*/ 8912 w 10820"/>
                <a:gd name="connsiteY568" fmla="*/ 6419 h 10000"/>
                <a:gd name="connsiteX569" fmla="*/ 8917 w 10820"/>
                <a:gd name="connsiteY569" fmla="*/ 6393 h 10000"/>
                <a:gd name="connsiteX570" fmla="*/ 8926 w 10820"/>
                <a:gd name="connsiteY570" fmla="*/ 6385 h 10000"/>
                <a:gd name="connsiteX571" fmla="*/ 8931 w 10820"/>
                <a:gd name="connsiteY571" fmla="*/ 6385 h 10000"/>
                <a:gd name="connsiteX572" fmla="*/ 8949 w 10820"/>
                <a:gd name="connsiteY572" fmla="*/ 6359 h 10000"/>
                <a:gd name="connsiteX573" fmla="*/ 8959 w 10820"/>
                <a:gd name="connsiteY573" fmla="*/ 6368 h 10000"/>
                <a:gd name="connsiteX574" fmla="*/ 8963 w 10820"/>
                <a:gd name="connsiteY574" fmla="*/ 6385 h 10000"/>
                <a:gd name="connsiteX575" fmla="*/ 8972 w 10820"/>
                <a:gd name="connsiteY575" fmla="*/ 6359 h 10000"/>
                <a:gd name="connsiteX576" fmla="*/ 8991 w 10820"/>
                <a:gd name="connsiteY576" fmla="*/ 6350 h 10000"/>
                <a:gd name="connsiteX577" fmla="*/ 9000 w 10820"/>
                <a:gd name="connsiteY577" fmla="*/ 6368 h 10000"/>
                <a:gd name="connsiteX578" fmla="*/ 9005 w 10820"/>
                <a:gd name="connsiteY578" fmla="*/ 6393 h 10000"/>
                <a:gd name="connsiteX579" fmla="*/ 9018 w 10820"/>
                <a:gd name="connsiteY579" fmla="*/ 6393 h 10000"/>
                <a:gd name="connsiteX580" fmla="*/ 9023 w 10820"/>
                <a:gd name="connsiteY580" fmla="*/ 6359 h 10000"/>
                <a:gd name="connsiteX581" fmla="*/ 9023 w 10820"/>
                <a:gd name="connsiteY581" fmla="*/ 6333 h 10000"/>
                <a:gd name="connsiteX582" fmla="*/ 9037 w 10820"/>
                <a:gd name="connsiteY582" fmla="*/ 6308 h 10000"/>
                <a:gd name="connsiteX583" fmla="*/ 9074 w 10820"/>
                <a:gd name="connsiteY583" fmla="*/ 6274 h 10000"/>
                <a:gd name="connsiteX584" fmla="*/ 9092 w 10820"/>
                <a:gd name="connsiteY584" fmla="*/ 6222 h 10000"/>
                <a:gd name="connsiteX585" fmla="*/ 9097 w 10820"/>
                <a:gd name="connsiteY585" fmla="*/ 6231 h 10000"/>
                <a:gd name="connsiteX586" fmla="*/ 9097 w 10820"/>
                <a:gd name="connsiteY586" fmla="*/ 6248 h 10000"/>
                <a:gd name="connsiteX587" fmla="*/ 9097 w 10820"/>
                <a:gd name="connsiteY587" fmla="*/ 6274 h 10000"/>
                <a:gd name="connsiteX588" fmla="*/ 9097 w 10820"/>
                <a:gd name="connsiteY588" fmla="*/ 6308 h 10000"/>
                <a:gd name="connsiteX589" fmla="*/ 9092 w 10820"/>
                <a:gd name="connsiteY589" fmla="*/ 6368 h 10000"/>
                <a:gd name="connsiteX590" fmla="*/ 9092 w 10820"/>
                <a:gd name="connsiteY590" fmla="*/ 6385 h 10000"/>
                <a:gd name="connsiteX591" fmla="*/ 9092 w 10820"/>
                <a:gd name="connsiteY591" fmla="*/ 6393 h 10000"/>
                <a:gd name="connsiteX592" fmla="*/ 9092 w 10820"/>
                <a:gd name="connsiteY592" fmla="*/ 6393 h 10000"/>
                <a:gd name="connsiteX593" fmla="*/ 9143 w 10820"/>
                <a:gd name="connsiteY593" fmla="*/ 6299 h 10000"/>
                <a:gd name="connsiteX594" fmla="*/ 9143 w 10820"/>
                <a:gd name="connsiteY594" fmla="*/ 6282 h 10000"/>
                <a:gd name="connsiteX595" fmla="*/ 9143 w 10820"/>
                <a:gd name="connsiteY595" fmla="*/ 6256 h 10000"/>
                <a:gd name="connsiteX596" fmla="*/ 9143 w 10820"/>
                <a:gd name="connsiteY596" fmla="*/ 6256 h 10000"/>
                <a:gd name="connsiteX597" fmla="*/ 9157 w 10820"/>
                <a:gd name="connsiteY597" fmla="*/ 6274 h 10000"/>
                <a:gd name="connsiteX598" fmla="*/ 9166 w 10820"/>
                <a:gd name="connsiteY598" fmla="*/ 6248 h 10000"/>
                <a:gd name="connsiteX599" fmla="*/ 9180 w 10820"/>
                <a:gd name="connsiteY599" fmla="*/ 6248 h 10000"/>
                <a:gd name="connsiteX600" fmla="*/ 9198 w 10820"/>
                <a:gd name="connsiteY600" fmla="*/ 6222 h 10000"/>
                <a:gd name="connsiteX601" fmla="*/ 9212 w 10820"/>
                <a:gd name="connsiteY601" fmla="*/ 6222 h 10000"/>
                <a:gd name="connsiteX602" fmla="*/ 9226 w 10820"/>
                <a:gd name="connsiteY602" fmla="*/ 6197 h 10000"/>
                <a:gd name="connsiteX603" fmla="*/ 9230 w 10820"/>
                <a:gd name="connsiteY603" fmla="*/ 6214 h 10000"/>
                <a:gd name="connsiteX604" fmla="*/ 9272 w 10820"/>
                <a:gd name="connsiteY604" fmla="*/ 6214 h 10000"/>
                <a:gd name="connsiteX605" fmla="*/ 9304 w 10820"/>
                <a:gd name="connsiteY605" fmla="*/ 6231 h 10000"/>
                <a:gd name="connsiteX606" fmla="*/ 9318 w 10820"/>
                <a:gd name="connsiteY606" fmla="*/ 6248 h 10000"/>
                <a:gd name="connsiteX607" fmla="*/ 9327 w 10820"/>
                <a:gd name="connsiteY607" fmla="*/ 6282 h 10000"/>
                <a:gd name="connsiteX608" fmla="*/ 9355 w 10820"/>
                <a:gd name="connsiteY608" fmla="*/ 6350 h 10000"/>
                <a:gd name="connsiteX609" fmla="*/ 9355 w 10820"/>
                <a:gd name="connsiteY609" fmla="*/ 6359 h 10000"/>
                <a:gd name="connsiteX610" fmla="*/ 9364 w 10820"/>
                <a:gd name="connsiteY610" fmla="*/ 6368 h 10000"/>
                <a:gd name="connsiteX611" fmla="*/ 9373 w 10820"/>
                <a:gd name="connsiteY611" fmla="*/ 6359 h 10000"/>
                <a:gd name="connsiteX612" fmla="*/ 9373 w 10820"/>
                <a:gd name="connsiteY612" fmla="*/ 6325 h 10000"/>
                <a:gd name="connsiteX613" fmla="*/ 9387 w 10820"/>
                <a:gd name="connsiteY613" fmla="*/ 6256 h 10000"/>
                <a:gd name="connsiteX614" fmla="*/ 9387 w 10820"/>
                <a:gd name="connsiteY614" fmla="*/ 6248 h 10000"/>
                <a:gd name="connsiteX615" fmla="*/ 9378 w 10820"/>
                <a:gd name="connsiteY615" fmla="*/ 6248 h 10000"/>
                <a:gd name="connsiteX616" fmla="*/ 9406 w 10820"/>
                <a:gd name="connsiteY616" fmla="*/ 6222 h 10000"/>
                <a:gd name="connsiteX617" fmla="*/ 9415 w 10820"/>
                <a:gd name="connsiteY617" fmla="*/ 6222 h 10000"/>
                <a:gd name="connsiteX618" fmla="*/ 9415 w 10820"/>
                <a:gd name="connsiteY618" fmla="*/ 6197 h 10000"/>
                <a:gd name="connsiteX619" fmla="*/ 9419 w 10820"/>
                <a:gd name="connsiteY619" fmla="*/ 6214 h 10000"/>
                <a:gd name="connsiteX620" fmla="*/ 9424 w 10820"/>
                <a:gd name="connsiteY620" fmla="*/ 6214 h 10000"/>
                <a:gd name="connsiteX621" fmla="*/ 9447 w 10820"/>
                <a:gd name="connsiteY621" fmla="*/ 6171 h 10000"/>
                <a:gd name="connsiteX622" fmla="*/ 9452 w 10820"/>
                <a:gd name="connsiteY622" fmla="*/ 6171 h 10000"/>
                <a:gd name="connsiteX623" fmla="*/ 9452 w 10820"/>
                <a:gd name="connsiteY623" fmla="*/ 6162 h 10000"/>
                <a:gd name="connsiteX624" fmla="*/ 9461 w 10820"/>
                <a:gd name="connsiteY624" fmla="*/ 6137 h 10000"/>
                <a:gd name="connsiteX625" fmla="*/ 9475 w 10820"/>
                <a:gd name="connsiteY625" fmla="*/ 6137 h 10000"/>
                <a:gd name="connsiteX626" fmla="*/ 9475 w 10820"/>
                <a:gd name="connsiteY626" fmla="*/ 6137 h 10000"/>
                <a:gd name="connsiteX627" fmla="*/ 9479 w 10820"/>
                <a:gd name="connsiteY627" fmla="*/ 6120 h 10000"/>
                <a:gd name="connsiteX628" fmla="*/ 9488 w 10820"/>
                <a:gd name="connsiteY628" fmla="*/ 6120 h 10000"/>
                <a:gd name="connsiteX629" fmla="*/ 9488 w 10820"/>
                <a:gd name="connsiteY629" fmla="*/ 6111 h 10000"/>
                <a:gd name="connsiteX630" fmla="*/ 9479 w 10820"/>
                <a:gd name="connsiteY630" fmla="*/ 6103 h 10000"/>
                <a:gd name="connsiteX631" fmla="*/ 9479 w 10820"/>
                <a:gd name="connsiteY631" fmla="*/ 6085 h 10000"/>
                <a:gd name="connsiteX632" fmla="*/ 9488 w 10820"/>
                <a:gd name="connsiteY632" fmla="*/ 6103 h 10000"/>
                <a:gd name="connsiteX633" fmla="*/ 9493 w 10820"/>
                <a:gd name="connsiteY633" fmla="*/ 6111 h 10000"/>
                <a:gd name="connsiteX634" fmla="*/ 9498 w 10820"/>
                <a:gd name="connsiteY634" fmla="*/ 6103 h 10000"/>
                <a:gd name="connsiteX635" fmla="*/ 9507 w 10820"/>
                <a:gd name="connsiteY635" fmla="*/ 6077 h 10000"/>
                <a:gd name="connsiteX636" fmla="*/ 9498 w 10820"/>
                <a:gd name="connsiteY636" fmla="*/ 6060 h 10000"/>
                <a:gd name="connsiteX637" fmla="*/ 9512 w 10820"/>
                <a:gd name="connsiteY637" fmla="*/ 6060 h 10000"/>
                <a:gd name="connsiteX638" fmla="*/ 9525 w 10820"/>
                <a:gd name="connsiteY638" fmla="*/ 6034 h 10000"/>
                <a:gd name="connsiteX639" fmla="*/ 9535 w 10820"/>
                <a:gd name="connsiteY639" fmla="*/ 6034 h 10000"/>
                <a:gd name="connsiteX640" fmla="*/ 9535 w 10820"/>
                <a:gd name="connsiteY640" fmla="*/ 6026 h 10000"/>
                <a:gd name="connsiteX641" fmla="*/ 9525 w 10820"/>
                <a:gd name="connsiteY641" fmla="*/ 6009 h 10000"/>
                <a:gd name="connsiteX642" fmla="*/ 9535 w 10820"/>
                <a:gd name="connsiteY642" fmla="*/ 6000 h 10000"/>
                <a:gd name="connsiteX643" fmla="*/ 9539 w 10820"/>
                <a:gd name="connsiteY643" fmla="*/ 6009 h 10000"/>
                <a:gd name="connsiteX644" fmla="*/ 9548 w 10820"/>
                <a:gd name="connsiteY644" fmla="*/ 6009 h 10000"/>
                <a:gd name="connsiteX645" fmla="*/ 9553 w 10820"/>
                <a:gd name="connsiteY645" fmla="*/ 6000 h 10000"/>
                <a:gd name="connsiteX646" fmla="*/ 9562 w 10820"/>
                <a:gd name="connsiteY646" fmla="*/ 5983 h 10000"/>
                <a:gd name="connsiteX647" fmla="*/ 9562 w 10820"/>
                <a:gd name="connsiteY647" fmla="*/ 5974 h 10000"/>
                <a:gd name="connsiteX648" fmla="*/ 9567 w 10820"/>
                <a:gd name="connsiteY648" fmla="*/ 5974 h 10000"/>
                <a:gd name="connsiteX649" fmla="*/ 9567 w 10820"/>
                <a:gd name="connsiteY649" fmla="*/ 5966 h 10000"/>
                <a:gd name="connsiteX650" fmla="*/ 9567 w 10820"/>
                <a:gd name="connsiteY650" fmla="*/ 5940 h 10000"/>
                <a:gd name="connsiteX651" fmla="*/ 9571 w 10820"/>
                <a:gd name="connsiteY651" fmla="*/ 5915 h 10000"/>
                <a:gd name="connsiteX652" fmla="*/ 9581 w 10820"/>
                <a:gd name="connsiteY652" fmla="*/ 5923 h 10000"/>
                <a:gd name="connsiteX653" fmla="*/ 9585 w 10820"/>
                <a:gd name="connsiteY653" fmla="*/ 5940 h 10000"/>
                <a:gd name="connsiteX654" fmla="*/ 9594 w 10820"/>
                <a:gd name="connsiteY654" fmla="*/ 5949 h 10000"/>
                <a:gd name="connsiteX655" fmla="*/ 9599 w 10820"/>
                <a:gd name="connsiteY655" fmla="*/ 5940 h 10000"/>
                <a:gd name="connsiteX656" fmla="*/ 9613 w 10820"/>
                <a:gd name="connsiteY656" fmla="*/ 5915 h 10000"/>
                <a:gd name="connsiteX657" fmla="*/ 9645 w 10820"/>
                <a:gd name="connsiteY657" fmla="*/ 5889 h 10000"/>
                <a:gd name="connsiteX658" fmla="*/ 9654 w 10820"/>
                <a:gd name="connsiteY658" fmla="*/ 5872 h 10000"/>
                <a:gd name="connsiteX659" fmla="*/ 9673 w 10820"/>
                <a:gd name="connsiteY659" fmla="*/ 5863 h 10000"/>
                <a:gd name="connsiteX660" fmla="*/ 9682 w 10820"/>
                <a:gd name="connsiteY660" fmla="*/ 5838 h 10000"/>
                <a:gd name="connsiteX661" fmla="*/ 9682 w 10820"/>
                <a:gd name="connsiteY661" fmla="*/ 5829 h 10000"/>
                <a:gd name="connsiteX662" fmla="*/ 9682 w 10820"/>
                <a:gd name="connsiteY662" fmla="*/ 5812 h 10000"/>
                <a:gd name="connsiteX663" fmla="*/ 9687 w 10820"/>
                <a:gd name="connsiteY663" fmla="*/ 5812 h 10000"/>
                <a:gd name="connsiteX664" fmla="*/ 9687 w 10820"/>
                <a:gd name="connsiteY664" fmla="*/ 5829 h 10000"/>
                <a:gd name="connsiteX665" fmla="*/ 9687 w 10820"/>
                <a:gd name="connsiteY665" fmla="*/ 5829 h 10000"/>
                <a:gd name="connsiteX666" fmla="*/ 9719 w 10820"/>
                <a:gd name="connsiteY666" fmla="*/ 5803 h 10000"/>
                <a:gd name="connsiteX667" fmla="*/ 9728 w 10820"/>
                <a:gd name="connsiteY667" fmla="*/ 5803 h 10000"/>
                <a:gd name="connsiteX668" fmla="*/ 9779 w 10820"/>
                <a:gd name="connsiteY668" fmla="*/ 5726 h 10000"/>
                <a:gd name="connsiteX669" fmla="*/ 9816 w 10820"/>
                <a:gd name="connsiteY669" fmla="*/ 5709 h 10000"/>
                <a:gd name="connsiteX670" fmla="*/ 9820 w 10820"/>
                <a:gd name="connsiteY670" fmla="*/ 5701 h 10000"/>
                <a:gd name="connsiteX671" fmla="*/ 9816 w 10820"/>
                <a:gd name="connsiteY671" fmla="*/ 5692 h 10000"/>
                <a:gd name="connsiteX672" fmla="*/ 9816 w 10820"/>
                <a:gd name="connsiteY672" fmla="*/ 5692 h 10000"/>
                <a:gd name="connsiteX673" fmla="*/ 9802 w 10820"/>
                <a:gd name="connsiteY673" fmla="*/ 5624 h 10000"/>
                <a:gd name="connsiteX674" fmla="*/ 9806 w 10820"/>
                <a:gd name="connsiteY674" fmla="*/ 5624 h 10000"/>
                <a:gd name="connsiteX675" fmla="*/ 9820 w 10820"/>
                <a:gd name="connsiteY675" fmla="*/ 5675 h 10000"/>
                <a:gd name="connsiteX676" fmla="*/ 9829 w 10820"/>
                <a:gd name="connsiteY676" fmla="*/ 5675 h 10000"/>
                <a:gd name="connsiteX677" fmla="*/ 9829 w 10820"/>
                <a:gd name="connsiteY677" fmla="*/ 5692 h 10000"/>
                <a:gd name="connsiteX678" fmla="*/ 9829 w 10820"/>
                <a:gd name="connsiteY678" fmla="*/ 5701 h 10000"/>
                <a:gd name="connsiteX679" fmla="*/ 9839 w 10820"/>
                <a:gd name="connsiteY679" fmla="*/ 5701 h 10000"/>
                <a:gd name="connsiteX680" fmla="*/ 9839 w 10820"/>
                <a:gd name="connsiteY680" fmla="*/ 5692 h 10000"/>
                <a:gd name="connsiteX681" fmla="*/ 9839 w 10820"/>
                <a:gd name="connsiteY681" fmla="*/ 5675 h 10000"/>
                <a:gd name="connsiteX682" fmla="*/ 9848 w 10820"/>
                <a:gd name="connsiteY682" fmla="*/ 5675 h 10000"/>
                <a:gd name="connsiteX683" fmla="*/ 9848 w 10820"/>
                <a:gd name="connsiteY683" fmla="*/ 5692 h 10000"/>
                <a:gd name="connsiteX684" fmla="*/ 9853 w 10820"/>
                <a:gd name="connsiteY684" fmla="*/ 5701 h 10000"/>
                <a:gd name="connsiteX685" fmla="*/ 9880 w 10820"/>
                <a:gd name="connsiteY685" fmla="*/ 5709 h 10000"/>
                <a:gd name="connsiteX686" fmla="*/ 9912 w 10820"/>
                <a:gd name="connsiteY686" fmla="*/ 5752 h 10000"/>
                <a:gd name="connsiteX687" fmla="*/ 9926 w 10820"/>
                <a:gd name="connsiteY687" fmla="*/ 5761 h 10000"/>
                <a:gd name="connsiteX688" fmla="*/ 9935 w 10820"/>
                <a:gd name="connsiteY688" fmla="*/ 5761 h 10000"/>
                <a:gd name="connsiteX689" fmla="*/ 9940 w 10820"/>
                <a:gd name="connsiteY689" fmla="*/ 5735 h 10000"/>
                <a:gd name="connsiteX690" fmla="*/ 9949 w 10820"/>
                <a:gd name="connsiteY690" fmla="*/ 5735 h 10000"/>
                <a:gd name="connsiteX691" fmla="*/ 9968 w 10820"/>
                <a:gd name="connsiteY691" fmla="*/ 5692 h 10000"/>
                <a:gd name="connsiteX692" fmla="*/ 9968 w 10820"/>
                <a:gd name="connsiteY692" fmla="*/ 5650 h 10000"/>
                <a:gd name="connsiteX693" fmla="*/ 9968 w 10820"/>
                <a:gd name="connsiteY693" fmla="*/ 5624 h 10000"/>
                <a:gd name="connsiteX694" fmla="*/ 9935 w 10820"/>
                <a:gd name="connsiteY694" fmla="*/ 5598 h 10000"/>
                <a:gd name="connsiteX695" fmla="*/ 9935 w 10820"/>
                <a:gd name="connsiteY695" fmla="*/ 5590 h 10000"/>
                <a:gd name="connsiteX696" fmla="*/ 9935 w 10820"/>
                <a:gd name="connsiteY696" fmla="*/ 5573 h 10000"/>
                <a:gd name="connsiteX697" fmla="*/ 9935 w 10820"/>
                <a:gd name="connsiteY697" fmla="*/ 5573 h 10000"/>
                <a:gd name="connsiteX698" fmla="*/ 9940 w 10820"/>
                <a:gd name="connsiteY698" fmla="*/ 5573 h 10000"/>
                <a:gd name="connsiteX699" fmla="*/ 9954 w 10820"/>
                <a:gd name="connsiteY699" fmla="*/ 5573 h 10000"/>
                <a:gd name="connsiteX700" fmla="*/ 9963 w 10820"/>
                <a:gd name="connsiteY700" fmla="*/ 5564 h 10000"/>
                <a:gd name="connsiteX701" fmla="*/ 9954 w 10820"/>
                <a:gd name="connsiteY701" fmla="*/ 5530 h 10000"/>
                <a:gd name="connsiteX702" fmla="*/ 9949 w 10820"/>
                <a:gd name="connsiteY702" fmla="*/ 5530 h 10000"/>
                <a:gd name="connsiteX703" fmla="*/ 9926 w 10820"/>
                <a:gd name="connsiteY703" fmla="*/ 5479 h 10000"/>
                <a:gd name="connsiteX704" fmla="*/ 9912 w 10820"/>
                <a:gd name="connsiteY704" fmla="*/ 5325 h 10000"/>
                <a:gd name="connsiteX705" fmla="*/ 9903 w 10820"/>
                <a:gd name="connsiteY705" fmla="*/ 5342 h 10000"/>
                <a:gd name="connsiteX706" fmla="*/ 9889 w 10820"/>
                <a:gd name="connsiteY706" fmla="*/ 5316 h 10000"/>
                <a:gd name="connsiteX707" fmla="*/ 9889 w 10820"/>
                <a:gd name="connsiteY707" fmla="*/ 5291 h 10000"/>
                <a:gd name="connsiteX708" fmla="*/ 9903 w 10820"/>
                <a:gd name="connsiteY708" fmla="*/ 5291 h 10000"/>
                <a:gd name="connsiteX709" fmla="*/ 9903 w 10820"/>
                <a:gd name="connsiteY709" fmla="*/ 5291 h 10000"/>
                <a:gd name="connsiteX710" fmla="*/ 9894 w 10820"/>
                <a:gd name="connsiteY710" fmla="*/ 5214 h 10000"/>
                <a:gd name="connsiteX711" fmla="*/ 9880 w 10820"/>
                <a:gd name="connsiteY711" fmla="*/ 5239 h 10000"/>
                <a:gd name="connsiteX712" fmla="*/ 9876 w 10820"/>
                <a:gd name="connsiteY712" fmla="*/ 5256 h 10000"/>
                <a:gd name="connsiteX713" fmla="*/ 9862 w 10820"/>
                <a:gd name="connsiteY713" fmla="*/ 5239 h 10000"/>
                <a:gd name="connsiteX714" fmla="*/ 9853 w 10820"/>
                <a:gd name="connsiteY714" fmla="*/ 5214 h 10000"/>
                <a:gd name="connsiteX715" fmla="*/ 9839 w 10820"/>
                <a:gd name="connsiteY715" fmla="*/ 5214 h 10000"/>
                <a:gd name="connsiteX716" fmla="*/ 9834 w 10820"/>
                <a:gd name="connsiteY716" fmla="*/ 5188 h 10000"/>
                <a:gd name="connsiteX717" fmla="*/ 9834 w 10820"/>
                <a:gd name="connsiteY717" fmla="*/ 5103 h 10000"/>
                <a:gd name="connsiteX718" fmla="*/ 9839 w 10820"/>
                <a:gd name="connsiteY718" fmla="*/ 5094 h 10000"/>
                <a:gd name="connsiteX719" fmla="*/ 9853 w 10820"/>
                <a:gd name="connsiteY719" fmla="*/ 5103 h 10000"/>
                <a:gd name="connsiteX720" fmla="*/ 9876 w 10820"/>
                <a:gd name="connsiteY720" fmla="*/ 5128 h 10000"/>
                <a:gd name="connsiteX721" fmla="*/ 9889 w 10820"/>
                <a:gd name="connsiteY721" fmla="*/ 5103 h 10000"/>
                <a:gd name="connsiteX722" fmla="*/ 9880 w 10820"/>
                <a:gd name="connsiteY722" fmla="*/ 5120 h 10000"/>
                <a:gd name="connsiteX723" fmla="*/ 9889 w 10820"/>
                <a:gd name="connsiteY723" fmla="*/ 5128 h 10000"/>
                <a:gd name="connsiteX724" fmla="*/ 9912 w 10820"/>
                <a:gd name="connsiteY724" fmla="*/ 5128 h 10000"/>
                <a:gd name="connsiteX725" fmla="*/ 9908 w 10820"/>
                <a:gd name="connsiteY725" fmla="*/ 5145 h 10000"/>
                <a:gd name="connsiteX726" fmla="*/ 9908 w 10820"/>
                <a:gd name="connsiteY726" fmla="*/ 5154 h 10000"/>
                <a:gd name="connsiteX727" fmla="*/ 9922 w 10820"/>
                <a:gd name="connsiteY727" fmla="*/ 5128 h 10000"/>
                <a:gd name="connsiteX728" fmla="*/ 9935 w 10820"/>
                <a:gd name="connsiteY728" fmla="*/ 5103 h 10000"/>
                <a:gd name="connsiteX729" fmla="*/ 9968 w 10820"/>
                <a:gd name="connsiteY729" fmla="*/ 5077 h 10000"/>
                <a:gd name="connsiteX730" fmla="*/ 10000 w 10820"/>
                <a:gd name="connsiteY730" fmla="*/ 5017 h 10000"/>
                <a:gd name="connsiteX731" fmla="*/ 10307 w 10820"/>
                <a:gd name="connsiteY731" fmla="*/ 4899 h 10000"/>
                <a:gd name="connsiteX732" fmla="*/ 10785 w 10820"/>
                <a:gd name="connsiteY732" fmla="*/ 4708 h 10000"/>
                <a:gd name="connsiteX733" fmla="*/ 10689 w 10820"/>
                <a:gd name="connsiteY733" fmla="*/ 4467 h 10000"/>
                <a:gd name="connsiteX734" fmla="*/ 10354 w 10820"/>
                <a:gd name="connsiteY734" fmla="*/ 4302 h 10000"/>
                <a:gd name="connsiteX735" fmla="*/ 9912 w 10820"/>
                <a:gd name="connsiteY735" fmla="*/ 3675 h 10000"/>
                <a:gd name="connsiteX736" fmla="*/ 9903 w 10820"/>
                <a:gd name="connsiteY736" fmla="*/ 3667 h 10000"/>
                <a:gd name="connsiteX737" fmla="*/ 9894 w 10820"/>
                <a:gd name="connsiteY737" fmla="*/ 3641 h 10000"/>
                <a:gd name="connsiteX738" fmla="*/ 9889 w 10820"/>
                <a:gd name="connsiteY738" fmla="*/ 3650 h 10000"/>
                <a:gd name="connsiteX739" fmla="*/ 9848 w 10820"/>
                <a:gd name="connsiteY739" fmla="*/ 3598 h 10000"/>
                <a:gd name="connsiteX740" fmla="*/ 9829 w 10820"/>
                <a:gd name="connsiteY740" fmla="*/ 3581 h 10000"/>
                <a:gd name="connsiteX741" fmla="*/ 9820 w 10820"/>
                <a:gd name="connsiteY741" fmla="*/ 3581 h 10000"/>
                <a:gd name="connsiteX742" fmla="*/ 9793 w 10820"/>
                <a:gd name="connsiteY742" fmla="*/ 3556 h 10000"/>
                <a:gd name="connsiteX743" fmla="*/ 9779 w 10820"/>
                <a:gd name="connsiteY743" fmla="*/ 3556 h 10000"/>
                <a:gd name="connsiteX744" fmla="*/ 9747 w 10820"/>
                <a:gd name="connsiteY744" fmla="*/ 3487 h 10000"/>
                <a:gd name="connsiteX745" fmla="*/ 9668 w 10820"/>
                <a:gd name="connsiteY745" fmla="*/ 3479 h 10000"/>
                <a:gd name="connsiteX746" fmla="*/ 9659 w 10820"/>
                <a:gd name="connsiteY746" fmla="*/ 3487 h 10000"/>
                <a:gd name="connsiteX747" fmla="*/ 9645 w 10820"/>
                <a:gd name="connsiteY747" fmla="*/ 3504 h 10000"/>
                <a:gd name="connsiteX748" fmla="*/ 9631 w 10820"/>
                <a:gd name="connsiteY748" fmla="*/ 3487 h 10000"/>
                <a:gd name="connsiteX749" fmla="*/ 9613 w 10820"/>
                <a:gd name="connsiteY749" fmla="*/ 3479 h 10000"/>
                <a:gd name="connsiteX750" fmla="*/ 9599 w 10820"/>
                <a:gd name="connsiteY750" fmla="*/ 3479 h 10000"/>
                <a:gd name="connsiteX751" fmla="*/ 9571 w 10820"/>
                <a:gd name="connsiteY751" fmla="*/ 3479 h 10000"/>
                <a:gd name="connsiteX752" fmla="*/ 9562 w 10820"/>
                <a:gd name="connsiteY752" fmla="*/ 3487 h 10000"/>
                <a:gd name="connsiteX753" fmla="*/ 9539 w 10820"/>
                <a:gd name="connsiteY753" fmla="*/ 3487 h 10000"/>
                <a:gd name="connsiteX754" fmla="*/ 9507 w 10820"/>
                <a:gd name="connsiteY754" fmla="*/ 3453 h 10000"/>
                <a:gd name="connsiteX755" fmla="*/ 9498 w 10820"/>
                <a:gd name="connsiteY755" fmla="*/ 3453 h 10000"/>
                <a:gd name="connsiteX756" fmla="*/ 9387 w 10820"/>
                <a:gd name="connsiteY756" fmla="*/ 3419 h 10000"/>
                <a:gd name="connsiteX757" fmla="*/ 9373 w 10820"/>
                <a:gd name="connsiteY757" fmla="*/ 3427 h 10000"/>
                <a:gd name="connsiteX758" fmla="*/ 9373 w 10820"/>
                <a:gd name="connsiteY758" fmla="*/ 3462 h 10000"/>
                <a:gd name="connsiteX759" fmla="*/ 9378 w 10820"/>
                <a:gd name="connsiteY759" fmla="*/ 3479 h 10000"/>
                <a:gd name="connsiteX760" fmla="*/ 9378 w 10820"/>
                <a:gd name="connsiteY760" fmla="*/ 3530 h 10000"/>
                <a:gd name="connsiteX761" fmla="*/ 9355 w 10820"/>
                <a:gd name="connsiteY761" fmla="*/ 3538 h 10000"/>
                <a:gd name="connsiteX762" fmla="*/ 9355 w 10820"/>
                <a:gd name="connsiteY762" fmla="*/ 3581 h 10000"/>
                <a:gd name="connsiteX763" fmla="*/ 9387 w 10820"/>
                <a:gd name="connsiteY763" fmla="*/ 3590 h 10000"/>
                <a:gd name="connsiteX764" fmla="*/ 9401 w 10820"/>
                <a:gd name="connsiteY764" fmla="*/ 3667 h 10000"/>
                <a:gd name="connsiteX765" fmla="*/ 9406 w 10820"/>
                <a:gd name="connsiteY765" fmla="*/ 3675 h 10000"/>
                <a:gd name="connsiteX766" fmla="*/ 9406 w 10820"/>
                <a:gd name="connsiteY766" fmla="*/ 3701 h 10000"/>
                <a:gd name="connsiteX767" fmla="*/ 9415 w 10820"/>
                <a:gd name="connsiteY767" fmla="*/ 3752 h 10000"/>
                <a:gd name="connsiteX768" fmla="*/ 9373 w 10820"/>
                <a:gd name="connsiteY768" fmla="*/ 3838 h 10000"/>
                <a:gd name="connsiteX769" fmla="*/ 9355 w 10820"/>
                <a:gd name="connsiteY769" fmla="*/ 3863 h 10000"/>
                <a:gd name="connsiteX770" fmla="*/ 9327 w 10820"/>
                <a:gd name="connsiteY770" fmla="*/ 3863 h 10000"/>
                <a:gd name="connsiteX771" fmla="*/ 9313 w 10820"/>
                <a:gd name="connsiteY771" fmla="*/ 3846 h 10000"/>
                <a:gd name="connsiteX772" fmla="*/ 9300 w 10820"/>
                <a:gd name="connsiteY772" fmla="*/ 3778 h 10000"/>
                <a:gd name="connsiteX773" fmla="*/ 9281 w 10820"/>
                <a:gd name="connsiteY773" fmla="*/ 3752 h 10000"/>
                <a:gd name="connsiteX774" fmla="*/ 9281 w 10820"/>
                <a:gd name="connsiteY774" fmla="*/ 3735 h 10000"/>
                <a:gd name="connsiteX775" fmla="*/ 9267 w 10820"/>
                <a:gd name="connsiteY775" fmla="*/ 3726 h 10000"/>
                <a:gd name="connsiteX776" fmla="*/ 9240 w 10820"/>
                <a:gd name="connsiteY776" fmla="*/ 3726 h 10000"/>
                <a:gd name="connsiteX777" fmla="*/ 9230 w 10820"/>
                <a:gd name="connsiteY777" fmla="*/ 3718 h 10000"/>
                <a:gd name="connsiteX778" fmla="*/ 9226 w 10820"/>
                <a:gd name="connsiteY778" fmla="*/ 3590 h 10000"/>
                <a:gd name="connsiteX779" fmla="*/ 9207 w 10820"/>
                <a:gd name="connsiteY779" fmla="*/ 3581 h 10000"/>
                <a:gd name="connsiteX780" fmla="*/ 9207 w 10820"/>
                <a:gd name="connsiteY780" fmla="*/ 3556 h 10000"/>
                <a:gd name="connsiteX781" fmla="*/ 9217 w 10820"/>
                <a:gd name="connsiteY781" fmla="*/ 3538 h 10000"/>
                <a:gd name="connsiteX782" fmla="*/ 9212 w 10820"/>
                <a:gd name="connsiteY782" fmla="*/ 3538 h 10000"/>
                <a:gd name="connsiteX783" fmla="*/ 9198 w 10820"/>
                <a:gd name="connsiteY783" fmla="*/ 3513 h 10000"/>
                <a:gd name="connsiteX784" fmla="*/ 9194 w 10820"/>
                <a:gd name="connsiteY784" fmla="*/ 3530 h 10000"/>
                <a:gd name="connsiteX785" fmla="*/ 9143 w 10820"/>
                <a:gd name="connsiteY785" fmla="*/ 3615 h 10000"/>
                <a:gd name="connsiteX786" fmla="*/ 9138 w 10820"/>
                <a:gd name="connsiteY786" fmla="*/ 3615 h 10000"/>
                <a:gd name="connsiteX787" fmla="*/ 9134 w 10820"/>
                <a:gd name="connsiteY787" fmla="*/ 3615 h 10000"/>
                <a:gd name="connsiteX788" fmla="*/ 9106 w 10820"/>
                <a:gd name="connsiteY788" fmla="*/ 3615 h 10000"/>
                <a:gd name="connsiteX789" fmla="*/ 9078 w 10820"/>
                <a:gd name="connsiteY789" fmla="*/ 3590 h 10000"/>
                <a:gd name="connsiteX790" fmla="*/ 9037 w 10820"/>
                <a:gd name="connsiteY790" fmla="*/ 3581 h 10000"/>
                <a:gd name="connsiteX791" fmla="*/ 9023 w 10820"/>
                <a:gd name="connsiteY791" fmla="*/ 3590 h 10000"/>
                <a:gd name="connsiteX792" fmla="*/ 9018 w 10820"/>
                <a:gd name="connsiteY792" fmla="*/ 3590 h 10000"/>
                <a:gd name="connsiteX793" fmla="*/ 9018 w 10820"/>
                <a:gd name="connsiteY793" fmla="*/ 3590 h 10000"/>
                <a:gd name="connsiteX794" fmla="*/ 8991 w 10820"/>
                <a:gd name="connsiteY794" fmla="*/ 3590 h 10000"/>
                <a:gd name="connsiteX795" fmla="*/ 8972 w 10820"/>
                <a:gd name="connsiteY795" fmla="*/ 3581 h 10000"/>
                <a:gd name="connsiteX796" fmla="*/ 8959 w 10820"/>
                <a:gd name="connsiteY796" fmla="*/ 3513 h 10000"/>
                <a:gd name="connsiteX797" fmla="*/ 8931 w 10820"/>
                <a:gd name="connsiteY797" fmla="*/ 3538 h 10000"/>
                <a:gd name="connsiteX798" fmla="*/ 8889 w 10820"/>
                <a:gd name="connsiteY798" fmla="*/ 3538 h 10000"/>
                <a:gd name="connsiteX799" fmla="*/ 8871 w 10820"/>
                <a:gd name="connsiteY799" fmla="*/ 3556 h 10000"/>
                <a:gd name="connsiteX800" fmla="*/ 8857 w 10820"/>
                <a:gd name="connsiteY800" fmla="*/ 3538 h 10000"/>
                <a:gd name="connsiteX801" fmla="*/ 8843 w 10820"/>
                <a:gd name="connsiteY801" fmla="*/ 3538 h 10000"/>
                <a:gd name="connsiteX802" fmla="*/ 8839 w 10820"/>
                <a:gd name="connsiteY802" fmla="*/ 3556 h 10000"/>
                <a:gd name="connsiteX803" fmla="*/ 8839 w 10820"/>
                <a:gd name="connsiteY803" fmla="*/ 3581 h 10000"/>
                <a:gd name="connsiteX804" fmla="*/ 8825 w 10820"/>
                <a:gd name="connsiteY804" fmla="*/ 3564 h 10000"/>
                <a:gd name="connsiteX805" fmla="*/ 8825 w 10820"/>
                <a:gd name="connsiteY805" fmla="*/ 3615 h 10000"/>
                <a:gd name="connsiteX806" fmla="*/ 8802 w 10820"/>
                <a:gd name="connsiteY806" fmla="*/ 3598 h 10000"/>
                <a:gd name="connsiteX807" fmla="*/ 8797 w 10820"/>
                <a:gd name="connsiteY807" fmla="*/ 3641 h 10000"/>
                <a:gd name="connsiteX808" fmla="*/ 8783 w 10820"/>
                <a:gd name="connsiteY808" fmla="*/ 3667 h 10000"/>
                <a:gd name="connsiteX809" fmla="*/ 8779 w 10820"/>
                <a:gd name="connsiteY809" fmla="*/ 3650 h 10000"/>
                <a:gd name="connsiteX810" fmla="*/ 8779 w 10820"/>
                <a:gd name="connsiteY810" fmla="*/ 3615 h 10000"/>
                <a:gd name="connsiteX811" fmla="*/ 8770 w 10820"/>
                <a:gd name="connsiteY811" fmla="*/ 3590 h 10000"/>
                <a:gd name="connsiteX812" fmla="*/ 8765 w 10820"/>
                <a:gd name="connsiteY812" fmla="*/ 3598 h 10000"/>
                <a:gd name="connsiteX813" fmla="*/ 8756 w 10820"/>
                <a:gd name="connsiteY813" fmla="*/ 3590 h 10000"/>
                <a:gd name="connsiteX814" fmla="*/ 8737 w 10820"/>
                <a:gd name="connsiteY814" fmla="*/ 3556 h 10000"/>
                <a:gd name="connsiteX815" fmla="*/ 8724 w 10820"/>
                <a:gd name="connsiteY815" fmla="*/ 3538 h 10000"/>
                <a:gd name="connsiteX816" fmla="*/ 8696 w 10820"/>
                <a:gd name="connsiteY816" fmla="*/ 3538 h 10000"/>
                <a:gd name="connsiteX817" fmla="*/ 8691 w 10820"/>
                <a:gd name="connsiteY817" fmla="*/ 3513 h 10000"/>
                <a:gd name="connsiteX818" fmla="*/ 8668 w 10820"/>
                <a:gd name="connsiteY818" fmla="*/ 3504 h 10000"/>
                <a:gd name="connsiteX819" fmla="*/ 8668 w 10820"/>
                <a:gd name="connsiteY819" fmla="*/ 3487 h 10000"/>
                <a:gd name="connsiteX820" fmla="*/ 8691 w 10820"/>
                <a:gd name="connsiteY820" fmla="*/ 3350 h 10000"/>
                <a:gd name="connsiteX821" fmla="*/ 8691 w 10820"/>
                <a:gd name="connsiteY821" fmla="*/ 3291 h 10000"/>
                <a:gd name="connsiteX822" fmla="*/ 8677 w 10820"/>
                <a:gd name="connsiteY822" fmla="*/ 3239 h 10000"/>
                <a:gd name="connsiteX823" fmla="*/ 8677 w 10820"/>
                <a:gd name="connsiteY823" fmla="*/ 3231 h 10000"/>
                <a:gd name="connsiteX824" fmla="*/ 8636 w 10820"/>
                <a:gd name="connsiteY824" fmla="*/ 3128 h 10000"/>
                <a:gd name="connsiteX825" fmla="*/ 8622 w 10820"/>
                <a:gd name="connsiteY825" fmla="*/ 3120 h 10000"/>
                <a:gd name="connsiteX826" fmla="*/ 8618 w 10820"/>
                <a:gd name="connsiteY826" fmla="*/ 3094 h 10000"/>
                <a:gd name="connsiteX827" fmla="*/ 8594 w 10820"/>
                <a:gd name="connsiteY827" fmla="*/ 3077 h 10000"/>
                <a:gd name="connsiteX828" fmla="*/ 8548 w 10820"/>
                <a:gd name="connsiteY828" fmla="*/ 3077 h 10000"/>
                <a:gd name="connsiteX829" fmla="*/ 8535 w 10820"/>
                <a:gd name="connsiteY829" fmla="*/ 3068 h 10000"/>
                <a:gd name="connsiteX830" fmla="*/ 8429 w 10820"/>
                <a:gd name="connsiteY830" fmla="*/ 3077 h 10000"/>
                <a:gd name="connsiteX831" fmla="*/ 8424 w 10820"/>
                <a:gd name="connsiteY831" fmla="*/ 3077 h 10000"/>
                <a:gd name="connsiteX832" fmla="*/ 8396 w 10820"/>
                <a:gd name="connsiteY832" fmla="*/ 3077 h 10000"/>
                <a:gd name="connsiteX833" fmla="*/ 8387 w 10820"/>
                <a:gd name="connsiteY833" fmla="*/ 3094 h 10000"/>
                <a:gd name="connsiteX834" fmla="*/ 8378 w 10820"/>
                <a:gd name="connsiteY834" fmla="*/ 3094 h 10000"/>
                <a:gd name="connsiteX835" fmla="*/ 8341 w 10820"/>
                <a:gd name="connsiteY835" fmla="*/ 3077 h 10000"/>
                <a:gd name="connsiteX836" fmla="*/ 8336 w 10820"/>
                <a:gd name="connsiteY836" fmla="*/ 3077 h 10000"/>
                <a:gd name="connsiteX837" fmla="*/ 8327 w 10820"/>
                <a:gd name="connsiteY837" fmla="*/ 3103 h 10000"/>
                <a:gd name="connsiteX838" fmla="*/ 8309 w 10820"/>
                <a:gd name="connsiteY838" fmla="*/ 3120 h 10000"/>
                <a:gd name="connsiteX839" fmla="*/ 8304 w 10820"/>
                <a:gd name="connsiteY839" fmla="*/ 3103 h 10000"/>
                <a:gd name="connsiteX840" fmla="*/ 8276 w 10820"/>
                <a:gd name="connsiteY840" fmla="*/ 3103 h 10000"/>
                <a:gd name="connsiteX841" fmla="*/ 8267 w 10820"/>
                <a:gd name="connsiteY841" fmla="*/ 3120 h 10000"/>
                <a:gd name="connsiteX842" fmla="*/ 8253 w 10820"/>
                <a:gd name="connsiteY842" fmla="*/ 3103 h 10000"/>
                <a:gd name="connsiteX843" fmla="*/ 8230 w 10820"/>
                <a:gd name="connsiteY843" fmla="*/ 3128 h 10000"/>
                <a:gd name="connsiteX844" fmla="*/ 8217 w 10820"/>
                <a:gd name="connsiteY844" fmla="*/ 3128 h 10000"/>
                <a:gd name="connsiteX845" fmla="*/ 8203 w 10820"/>
                <a:gd name="connsiteY845" fmla="*/ 3154 h 10000"/>
                <a:gd name="connsiteX846" fmla="*/ 8175 w 10820"/>
                <a:gd name="connsiteY846" fmla="*/ 3094 h 10000"/>
                <a:gd name="connsiteX847" fmla="*/ 8161 w 10820"/>
                <a:gd name="connsiteY847" fmla="*/ 3094 h 10000"/>
                <a:gd name="connsiteX848" fmla="*/ 8157 w 10820"/>
                <a:gd name="connsiteY848" fmla="*/ 3077 h 10000"/>
                <a:gd name="connsiteX849" fmla="*/ 8180 w 10820"/>
                <a:gd name="connsiteY849" fmla="*/ 3068 h 10000"/>
                <a:gd name="connsiteX850" fmla="*/ 8189 w 10820"/>
                <a:gd name="connsiteY850" fmla="*/ 3043 h 10000"/>
                <a:gd name="connsiteX851" fmla="*/ 8189 w 10820"/>
                <a:gd name="connsiteY851" fmla="*/ 3017 h 10000"/>
                <a:gd name="connsiteX852" fmla="*/ 8147 w 10820"/>
                <a:gd name="connsiteY852" fmla="*/ 2940 h 10000"/>
                <a:gd name="connsiteX853" fmla="*/ 8143 w 10820"/>
                <a:gd name="connsiteY853" fmla="*/ 2915 h 10000"/>
                <a:gd name="connsiteX854" fmla="*/ 8143 w 10820"/>
                <a:gd name="connsiteY854" fmla="*/ 2906 h 10000"/>
                <a:gd name="connsiteX855" fmla="*/ 8097 w 10820"/>
                <a:gd name="connsiteY855" fmla="*/ 2932 h 10000"/>
                <a:gd name="connsiteX856" fmla="*/ 8083 w 10820"/>
                <a:gd name="connsiteY856" fmla="*/ 2932 h 10000"/>
                <a:gd name="connsiteX857" fmla="*/ 8074 w 10820"/>
                <a:gd name="connsiteY857" fmla="*/ 2906 h 10000"/>
                <a:gd name="connsiteX858" fmla="*/ 8074 w 10820"/>
                <a:gd name="connsiteY858" fmla="*/ 2897 h 10000"/>
                <a:gd name="connsiteX859" fmla="*/ 8055 w 10820"/>
                <a:gd name="connsiteY859" fmla="*/ 2872 h 10000"/>
                <a:gd name="connsiteX860" fmla="*/ 8046 w 10820"/>
                <a:gd name="connsiteY860" fmla="*/ 2829 h 10000"/>
                <a:gd name="connsiteX861" fmla="*/ 8041 w 10820"/>
                <a:gd name="connsiteY861" fmla="*/ 2829 h 10000"/>
                <a:gd name="connsiteX862" fmla="*/ 8023 w 10820"/>
                <a:gd name="connsiteY862" fmla="*/ 2803 h 10000"/>
                <a:gd name="connsiteX863" fmla="*/ 8014 w 10820"/>
                <a:gd name="connsiteY863" fmla="*/ 2829 h 10000"/>
                <a:gd name="connsiteX864" fmla="*/ 8000 w 10820"/>
                <a:gd name="connsiteY864" fmla="*/ 2829 h 10000"/>
                <a:gd name="connsiteX865" fmla="*/ 7995 w 10820"/>
                <a:gd name="connsiteY865" fmla="*/ 2821 h 10000"/>
                <a:gd name="connsiteX866" fmla="*/ 7972 w 10820"/>
                <a:gd name="connsiteY866" fmla="*/ 2803 h 10000"/>
                <a:gd name="connsiteX867" fmla="*/ 7968 w 10820"/>
                <a:gd name="connsiteY867" fmla="*/ 2821 h 10000"/>
                <a:gd name="connsiteX868" fmla="*/ 7968 w 10820"/>
                <a:gd name="connsiteY868" fmla="*/ 2803 h 10000"/>
                <a:gd name="connsiteX869" fmla="*/ 7995 w 10820"/>
                <a:gd name="connsiteY869" fmla="*/ 2735 h 10000"/>
                <a:gd name="connsiteX870" fmla="*/ 8000 w 10820"/>
                <a:gd name="connsiteY870" fmla="*/ 2735 h 10000"/>
                <a:gd name="connsiteX871" fmla="*/ 8014 w 10820"/>
                <a:gd name="connsiteY871" fmla="*/ 2744 h 10000"/>
                <a:gd name="connsiteX872" fmla="*/ 8023 w 10820"/>
                <a:gd name="connsiteY872" fmla="*/ 2769 h 10000"/>
                <a:gd name="connsiteX873" fmla="*/ 8032 w 10820"/>
                <a:gd name="connsiteY873" fmla="*/ 2744 h 10000"/>
                <a:gd name="connsiteX874" fmla="*/ 8032 w 10820"/>
                <a:gd name="connsiteY874" fmla="*/ 2709 h 10000"/>
                <a:gd name="connsiteX875" fmla="*/ 8023 w 10820"/>
                <a:gd name="connsiteY875" fmla="*/ 2632 h 10000"/>
                <a:gd name="connsiteX876" fmla="*/ 7986 w 10820"/>
                <a:gd name="connsiteY876" fmla="*/ 2581 h 10000"/>
                <a:gd name="connsiteX877" fmla="*/ 7968 w 10820"/>
                <a:gd name="connsiteY877" fmla="*/ 2581 h 10000"/>
                <a:gd name="connsiteX878" fmla="*/ 7963 w 10820"/>
                <a:gd name="connsiteY878" fmla="*/ 2556 h 10000"/>
                <a:gd name="connsiteX879" fmla="*/ 7935 w 10820"/>
                <a:gd name="connsiteY879" fmla="*/ 2547 h 10000"/>
                <a:gd name="connsiteX880" fmla="*/ 7912 w 10820"/>
                <a:gd name="connsiteY880" fmla="*/ 2547 h 10000"/>
                <a:gd name="connsiteX881" fmla="*/ 7912 w 10820"/>
                <a:gd name="connsiteY881" fmla="*/ 2556 h 10000"/>
                <a:gd name="connsiteX882" fmla="*/ 7908 w 10820"/>
                <a:gd name="connsiteY882" fmla="*/ 2547 h 10000"/>
                <a:gd name="connsiteX883" fmla="*/ 7862 w 10820"/>
                <a:gd name="connsiteY883" fmla="*/ 2547 h 10000"/>
                <a:gd name="connsiteX884" fmla="*/ 7848 w 10820"/>
                <a:gd name="connsiteY884" fmla="*/ 2556 h 10000"/>
                <a:gd name="connsiteX885" fmla="*/ 7820 w 10820"/>
                <a:gd name="connsiteY885" fmla="*/ 2547 h 10000"/>
                <a:gd name="connsiteX886" fmla="*/ 7806 w 10820"/>
                <a:gd name="connsiteY886" fmla="*/ 2513 h 10000"/>
                <a:gd name="connsiteX887" fmla="*/ 7788 w 10820"/>
                <a:gd name="connsiteY887" fmla="*/ 2513 h 10000"/>
                <a:gd name="connsiteX888" fmla="*/ 7760 w 10820"/>
                <a:gd name="connsiteY888" fmla="*/ 2470 h 10000"/>
                <a:gd name="connsiteX889" fmla="*/ 7751 w 10820"/>
                <a:gd name="connsiteY889" fmla="*/ 2470 h 10000"/>
                <a:gd name="connsiteX890" fmla="*/ 7705 w 10820"/>
                <a:gd name="connsiteY890" fmla="*/ 2462 h 10000"/>
                <a:gd name="connsiteX891" fmla="*/ 7673 w 10820"/>
                <a:gd name="connsiteY891" fmla="*/ 2419 h 10000"/>
                <a:gd name="connsiteX892" fmla="*/ 7627 w 10820"/>
                <a:gd name="connsiteY892" fmla="*/ 2419 h 10000"/>
                <a:gd name="connsiteX893" fmla="*/ 7613 w 10820"/>
                <a:gd name="connsiteY893" fmla="*/ 2410 h 10000"/>
                <a:gd name="connsiteX894" fmla="*/ 7493 w 10820"/>
                <a:gd name="connsiteY894" fmla="*/ 2393 h 10000"/>
                <a:gd name="connsiteX895" fmla="*/ 7479 w 10820"/>
                <a:gd name="connsiteY895" fmla="*/ 2385 h 10000"/>
                <a:gd name="connsiteX896" fmla="*/ 7479 w 10820"/>
                <a:gd name="connsiteY896" fmla="*/ 2376 h 10000"/>
                <a:gd name="connsiteX897" fmla="*/ 7465 w 10820"/>
                <a:gd name="connsiteY897" fmla="*/ 2359 h 10000"/>
                <a:gd name="connsiteX898" fmla="*/ 7447 w 10820"/>
                <a:gd name="connsiteY898" fmla="*/ 2350 h 10000"/>
                <a:gd name="connsiteX899" fmla="*/ 7433 w 10820"/>
                <a:gd name="connsiteY899" fmla="*/ 2376 h 10000"/>
                <a:gd name="connsiteX900" fmla="*/ 7433 w 10820"/>
                <a:gd name="connsiteY900" fmla="*/ 2385 h 10000"/>
                <a:gd name="connsiteX901" fmla="*/ 7447 w 10820"/>
                <a:gd name="connsiteY901" fmla="*/ 2410 h 10000"/>
                <a:gd name="connsiteX902" fmla="*/ 7447 w 10820"/>
                <a:gd name="connsiteY902" fmla="*/ 2436 h 10000"/>
                <a:gd name="connsiteX903" fmla="*/ 7452 w 10820"/>
                <a:gd name="connsiteY903" fmla="*/ 2462 h 10000"/>
                <a:gd name="connsiteX904" fmla="*/ 7447 w 10820"/>
                <a:gd name="connsiteY904" fmla="*/ 2470 h 10000"/>
                <a:gd name="connsiteX905" fmla="*/ 7424 w 10820"/>
                <a:gd name="connsiteY905" fmla="*/ 2513 h 10000"/>
                <a:gd name="connsiteX906" fmla="*/ 7419 w 10820"/>
                <a:gd name="connsiteY906" fmla="*/ 2556 h 10000"/>
                <a:gd name="connsiteX907" fmla="*/ 7406 w 10820"/>
                <a:gd name="connsiteY907" fmla="*/ 2624 h 10000"/>
                <a:gd name="connsiteX908" fmla="*/ 7392 w 10820"/>
                <a:gd name="connsiteY908" fmla="*/ 2624 h 10000"/>
                <a:gd name="connsiteX909" fmla="*/ 7373 w 10820"/>
                <a:gd name="connsiteY909" fmla="*/ 2650 h 10000"/>
                <a:gd name="connsiteX910" fmla="*/ 7364 w 10820"/>
                <a:gd name="connsiteY910" fmla="*/ 2684 h 10000"/>
                <a:gd name="connsiteX911" fmla="*/ 7364 w 10820"/>
                <a:gd name="connsiteY911" fmla="*/ 2692 h 10000"/>
                <a:gd name="connsiteX912" fmla="*/ 7373 w 10820"/>
                <a:gd name="connsiteY912" fmla="*/ 2718 h 10000"/>
                <a:gd name="connsiteX913" fmla="*/ 7373 w 10820"/>
                <a:gd name="connsiteY913" fmla="*/ 2744 h 10000"/>
                <a:gd name="connsiteX914" fmla="*/ 7359 w 10820"/>
                <a:gd name="connsiteY914" fmla="*/ 2744 h 10000"/>
                <a:gd name="connsiteX915" fmla="*/ 7359 w 10820"/>
                <a:gd name="connsiteY915" fmla="*/ 2795 h 10000"/>
                <a:gd name="connsiteX916" fmla="*/ 7364 w 10820"/>
                <a:gd name="connsiteY916" fmla="*/ 2821 h 10000"/>
                <a:gd name="connsiteX917" fmla="*/ 7378 w 10820"/>
                <a:gd name="connsiteY917" fmla="*/ 2846 h 10000"/>
                <a:gd name="connsiteX918" fmla="*/ 7378 w 10820"/>
                <a:gd name="connsiteY918" fmla="*/ 2855 h 10000"/>
                <a:gd name="connsiteX919" fmla="*/ 7378 w 10820"/>
                <a:gd name="connsiteY919" fmla="*/ 2880 h 10000"/>
                <a:gd name="connsiteX920" fmla="*/ 7378 w 10820"/>
                <a:gd name="connsiteY920" fmla="*/ 2906 h 10000"/>
                <a:gd name="connsiteX921" fmla="*/ 7364 w 10820"/>
                <a:gd name="connsiteY921" fmla="*/ 2906 h 10000"/>
                <a:gd name="connsiteX922" fmla="*/ 7346 w 10820"/>
                <a:gd name="connsiteY922" fmla="*/ 2880 h 10000"/>
                <a:gd name="connsiteX923" fmla="*/ 7332 w 10820"/>
                <a:gd name="connsiteY923" fmla="*/ 2915 h 10000"/>
                <a:gd name="connsiteX924" fmla="*/ 7318 w 10820"/>
                <a:gd name="connsiteY924" fmla="*/ 2906 h 10000"/>
                <a:gd name="connsiteX925" fmla="*/ 7313 w 10820"/>
                <a:gd name="connsiteY925" fmla="*/ 2915 h 10000"/>
                <a:gd name="connsiteX926" fmla="*/ 7313 w 10820"/>
                <a:gd name="connsiteY926" fmla="*/ 2906 h 10000"/>
                <a:gd name="connsiteX927" fmla="*/ 7286 w 10820"/>
                <a:gd name="connsiteY927" fmla="*/ 2940 h 10000"/>
                <a:gd name="connsiteX928" fmla="*/ 7276 w 10820"/>
                <a:gd name="connsiteY928" fmla="*/ 2966 h 10000"/>
                <a:gd name="connsiteX929" fmla="*/ 7272 w 10820"/>
                <a:gd name="connsiteY929" fmla="*/ 2983 h 10000"/>
                <a:gd name="connsiteX930" fmla="*/ 7267 w 10820"/>
                <a:gd name="connsiteY930" fmla="*/ 3009 h 10000"/>
                <a:gd name="connsiteX931" fmla="*/ 7253 w 10820"/>
                <a:gd name="connsiteY931" fmla="*/ 3009 h 10000"/>
                <a:gd name="connsiteX932" fmla="*/ 7244 w 10820"/>
                <a:gd name="connsiteY932" fmla="*/ 3017 h 10000"/>
                <a:gd name="connsiteX933" fmla="*/ 7240 w 10820"/>
                <a:gd name="connsiteY933" fmla="*/ 3009 h 10000"/>
                <a:gd name="connsiteX934" fmla="*/ 7230 w 10820"/>
                <a:gd name="connsiteY934" fmla="*/ 2991 h 10000"/>
                <a:gd name="connsiteX935" fmla="*/ 7226 w 10820"/>
                <a:gd name="connsiteY935" fmla="*/ 2983 h 10000"/>
                <a:gd name="connsiteX936" fmla="*/ 7226 w 10820"/>
                <a:gd name="connsiteY936" fmla="*/ 2966 h 10000"/>
                <a:gd name="connsiteX937" fmla="*/ 7212 w 10820"/>
                <a:gd name="connsiteY937" fmla="*/ 2957 h 10000"/>
                <a:gd name="connsiteX938" fmla="*/ 7212 w 10820"/>
                <a:gd name="connsiteY938" fmla="*/ 2932 h 10000"/>
                <a:gd name="connsiteX939" fmla="*/ 7198 w 10820"/>
                <a:gd name="connsiteY939" fmla="*/ 2915 h 10000"/>
                <a:gd name="connsiteX940" fmla="*/ 7194 w 10820"/>
                <a:gd name="connsiteY940" fmla="*/ 2915 h 10000"/>
                <a:gd name="connsiteX941" fmla="*/ 7157 w 10820"/>
                <a:gd name="connsiteY941" fmla="*/ 2880 h 10000"/>
                <a:gd name="connsiteX942" fmla="*/ 7138 w 10820"/>
                <a:gd name="connsiteY942" fmla="*/ 2880 h 10000"/>
                <a:gd name="connsiteX943" fmla="*/ 7120 w 10820"/>
                <a:gd name="connsiteY943" fmla="*/ 2872 h 10000"/>
                <a:gd name="connsiteX944" fmla="*/ 7111 w 10820"/>
                <a:gd name="connsiteY944" fmla="*/ 2846 h 10000"/>
                <a:gd name="connsiteX945" fmla="*/ 7106 w 10820"/>
                <a:gd name="connsiteY945" fmla="*/ 2846 h 10000"/>
                <a:gd name="connsiteX946" fmla="*/ 7092 w 10820"/>
                <a:gd name="connsiteY946" fmla="*/ 2829 h 10000"/>
                <a:gd name="connsiteX947" fmla="*/ 7051 w 10820"/>
                <a:gd name="connsiteY947" fmla="*/ 2829 h 10000"/>
                <a:gd name="connsiteX948" fmla="*/ 7037 w 10820"/>
                <a:gd name="connsiteY948" fmla="*/ 2880 h 10000"/>
                <a:gd name="connsiteX949" fmla="*/ 7037 w 10820"/>
                <a:gd name="connsiteY949" fmla="*/ 2906 h 10000"/>
                <a:gd name="connsiteX950" fmla="*/ 7037 w 10820"/>
                <a:gd name="connsiteY950" fmla="*/ 2932 h 10000"/>
                <a:gd name="connsiteX951" fmla="*/ 7037 w 10820"/>
                <a:gd name="connsiteY951" fmla="*/ 2940 h 10000"/>
                <a:gd name="connsiteX952" fmla="*/ 7023 w 10820"/>
                <a:gd name="connsiteY952" fmla="*/ 2906 h 10000"/>
                <a:gd name="connsiteX953" fmla="*/ 7023 w 10820"/>
                <a:gd name="connsiteY953" fmla="*/ 2915 h 10000"/>
                <a:gd name="connsiteX954" fmla="*/ 6991 w 10820"/>
                <a:gd name="connsiteY954" fmla="*/ 2906 h 10000"/>
                <a:gd name="connsiteX955" fmla="*/ 6977 w 10820"/>
                <a:gd name="connsiteY955" fmla="*/ 2915 h 10000"/>
                <a:gd name="connsiteX956" fmla="*/ 6963 w 10820"/>
                <a:gd name="connsiteY956" fmla="*/ 2915 h 10000"/>
                <a:gd name="connsiteX957" fmla="*/ 6949 w 10820"/>
                <a:gd name="connsiteY957" fmla="*/ 2872 h 10000"/>
                <a:gd name="connsiteX958" fmla="*/ 6935 w 10820"/>
                <a:gd name="connsiteY958" fmla="*/ 2855 h 10000"/>
                <a:gd name="connsiteX959" fmla="*/ 6922 w 10820"/>
                <a:gd name="connsiteY959" fmla="*/ 2803 h 10000"/>
                <a:gd name="connsiteX960" fmla="*/ 6917 w 10820"/>
                <a:gd name="connsiteY960" fmla="*/ 2786 h 10000"/>
                <a:gd name="connsiteX961" fmla="*/ 6903 w 10820"/>
                <a:gd name="connsiteY961" fmla="*/ 2709 h 10000"/>
                <a:gd name="connsiteX962" fmla="*/ 6903 w 10820"/>
                <a:gd name="connsiteY962" fmla="*/ 2692 h 10000"/>
                <a:gd name="connsiteX963" fmla="*/ 6899 w 10820"/>
                <a:gd name="connsiteY963" fmla="*/ 2709 h 10000"/>
                <a:gd name="connsiteX964" fmla="*/ 6857 w 10820"/>
                <a:gd name="connsiteY964" fmla="*/ 2872 h 10000"/>
                <a:gd name="connsiteX965" fmla="*/ 6857 w 10820"/>
                <a:gd name="connsiteY965" fmla="*/ 3009 h 10000"/>
                <a:gd name="connsiteX966" fmla="*/ 6848 w 10820"/>
                <a:gd name="connsiteY966" fmla="*/ 3017 h 10000"/>
                <a:gd name="connsiteX967" fmla="*/ 6839 w 10820"/>
                <a:gd name="connsiteY967" fmla="*/ 3068 h 10000"/>
                <a:gd name="connsiteX968" fmla="*/ 6829 w 10820"/>
                <a:gd name="connsiteY968" fmla="*/ 3077 h 10000"/>
                <a:gd name="connsiteX969" fmla="*/ 6829 w 10820"/>
                <a:gd name="connsiteY969" fmla="*/ 3128 h 10000"/>
                <a:gd name="connsiteX970" fmla="*/ 6816 w 10820"/>
                <a:gd name="connsiteY970" fmla="*/ 3154 h 10000"/>
                <a:gd name="connsiteX971" fmla="*/ 6811 w 10820"/>
                <a:gd name="connsiteY971" fmla="*/ 3179 h 10000"/>
                <a:gd name="connsiteX972" fmla="*/ 6797 w 10820"/>
                <a:gd name="connsiteY972" fmla="*/ 3171 h 10000"/>
                <a:gd name="connsiteX973" fmla="*/ 6783 w 10820"/>
                <a:gd name="connsiteY973" fmla="*/ 3103 h 10000"/>
                <a:gd name="connsiteX974" fmla="*/ 6779 w 10820"/>
                <a:gd name="connsiteY974" fmla="*/ 3094 h 10000"/>
                <a:gd name="connsiteX975" fmla="*/ 6779 w 10820"/>
                <a:gd name="connsiteY975" fmla="*/ 3120 h 10000"/>
                <a:gd name="connsiteX976" fmla="*/ 6770 w 10820"/>
                <a:gd name="connsiteY976" fmla="*/ 3128 h 10000"/>
                <a:gd name="connsiteX977" fmla="*/ 6765 w 10820"/>
                <a:gd name="connsiteY977" fmla="*/ 3103 h 10000"/>
                <a:gd name="connsiteX978" fmla="*/ 6756 w 10820"/>
                <a:gd name="connsiteY978" fmla="*/ 3103 h 10000"/>
                <a:gd name="connsiteX979" fmla="*/ 6742 w 10820"/>
                <a:gd name="connsiteY979" fmla="*/ 3103 h 10000"/>
                <a:gd name="connsiteX980" fmla="*/ 6737 w 10820"/>
                <a:gd name="connsiteY980" fmla="*/ 3077 h 10000"/>
                <a:gd name="connsiteX981" fmla="*/ 6737 w 10820"/>
                <a:gd name="connsiteY981" fmla="*/ 3068 h 10000"/>
                <a:gd name="connsiteX982" fmla="*/ 6728 w 10820"/>
                <a:gd name="connsiteY982" fmla="*/ 3043 h 10000"/>
                <a:gd name="connsiteX983" fmla="*/ 6724 w 10820"/>
                <a:gd name="connsiteY983" fmla="*/ 3051 h 10000"/>
                <a:gd name="connsiteX984" fmla="*/ 6714 w 10820"/>
                <a:gd name="connsiteY984" fmla="*/ 3043 h 10000"/>
                <a:gd name="connsiteX985" fmla="*/ 6710 w 10820"/>
                <a:gd name="connsiteY985" fmla="*/ 3034 h 10000"/>
                <a:gd name="connsiteX986" fmla="*/ 6705 w 10820"/>
                <a:gd name="connsiteY986" fmla="*/ 2983 h 10000"/>
                <a:gd name="connsiteX987" fmla="*/ 6696 w 10820"/>
                <a:gd name="connsiteY987" fmla="*/ 2966 h 10000"/>
                <a:gd name="connsiteX988" fmla="*/ 6691 w 10820"/>
                <a:gd name="connsiteY988" fmla="*/ 2983 h 10000"/>
                <a:gd name="connsiteX989" fmla="*/ 6677 w 10820"/>
                <a:gd name="connsiteY989" fmla="*/ 2897 h 10000"/>
                <a:gd name="connsiteX990" fmla="*/ 6677 w 10820"/>
                <a:gd name="connsiteY990" fmla="*/ 2897 h 10000"/>
                <a:gd name="connsiteX991" fmla="*/ 6677 w 10820"/>
                <a:gd name="connsiteY991" fmla="*/ 2872 h 10000"/>
                <a:gd name="connsiteX992" fmla="*/ 6668 w 10820"/>
                <a:gd name="connsiteY992" fmla="*/ 2821 h 10000"/>
                <a:gd name="connsiteX993" fmla="*/ 6664 w 10820"/>
                <a:gd name="connsiteY993" fmla="*/ 2829 h 10000"/>
                <a:gd name="connsiteX994" fmla="*/ 6654 w 10820"/>
                <a:gd name="connsiteY994" fmla="*/ 2846 h 10000"/>
                <a:gd name="connsiteX995" fmla="*/ 6650 w 10820"/>
                <a:gd name="connsiteY995" fmla="*/ 2829 h 10000"/>
                <a:gd name="connsiteX996" fmla="*/ 6650 w 10820"/>
                <a:gd name="connsiteY996" fmla="*/ 2803 h 10000"/>
                <a:gd name="connsiteX997" fmla="*/ 6650 w 10820"/>
                <a:gd name="connsiteY997" fmla="*/ 2795 h 10000"/>
                <a:gd name="connsiteX998" fmla="*/ 6641 w 10820"/>
                <a:gd name="connsiteY998" fmla="*/ 2786 h 10000"/>
                <a:gd name="connsiteX999" fmla="*/ 6636 w 10820"/>
                <a:gd name="connsiteY999" fmla="*/ 2735 h 10000"/>
                <a:gd name="connsiteX1000" fmla="*/ 6664 w 10820"/>
                <a:gd name="connsiteY1000" fmla="*/ 2667 h 10000"/>
                <a:gd name="connsiteX1001" fmla="*/ 6668 w 10820"/>
                <a:gd name="connsiteY1001" fmla="*/ 2684 h 10000"/>
                <a:gd name="connsiteX1002" fmla="*/ 6677 w 10820"/>
                <a:gd name="connsiteY1002" fmla="*/ 2667 h 10000"/>
                <a:gd name="connsiteX1003" fmla="*/ 6668 w 10820"/>
                <a:gd name="connsiteY1003" fmla="*/ 2667 h 10000"/>
                <a:gd name="connsiteX1004" fmla="*/ 6668 w 10820"/>
                <a:gd name="connsiteY1004" fmla="*/ 2650 h 10000"/>
                <a:gd name="connsiteX1005" fmla="*/ 6682 w 10820"/>
                <a:gd name="connsiteY1005" fmla="*/ 2650 h 10000"/>
                <a:gd name="connsiteX1006" fmla="*/ 6691 w 10820"/>
                <a:gd name="connsiteY1006" fmla="*/ 2624 h 10000"/>
                <a:gd name="connsiteX1007" fmla="*/ 6682 w 10820"/>
                <a:gd name="connsiteY1007" fmla="*/ 2632 h 10000"/>
                <a:gd name="connsiteX1008" fmla="*/ 6682 w 10820"/>
                <a:gd name="connsiteY1008" fmla="*/ 2624 h 10000"/>
                <a:gd name="connsiteX1009" fmla="*/ 6691 w 10820"/>
                <a:gd name="connsiteY1009" fmla="*/ 2607 h 10000"/>
                <a:gd name="connsiteX1010" fmla="*/ 6691 w 10820"/>
                <a:gd name="connsiteY1010" fmla="*/ 2598 h 10000"/>
                <a:gd name="connsiteX1011" fmla="*/ 6691 w 10820"/>
                <a:gd name="connsiteY1011" fmla="*/ 2581 h 10000"/>
                <a:gd name="connsiteX1012" fmla="*/ 6696 w 10820"/>
                <a:gd name="connsiteY1012" fmla="*/ 2530 h 10000"/>
                <a:gd name="connsiteX1013" fmla="*/ 6677 w 10820"/>
                <a:gd name="connsiteY1013" fmla="*/ 2513 h 10000"/>
                <a:gd name="connsiteX1014" fmla="*/ 6677 w 10820"/>
                <a:gd name="connsiteY1014" fmla="*/ 2496 h 10000"/>
                <a:gd name="connsiteX1015" fmla="*/ 6682 w 10820"/>
                <a:gd name="connsiteY1015" fmla="*/ 2470 h 10000"/>
                <a:gd name="connsiteX1016" fmla="*/ 6668 w 10820"/>
                <a:gd name="connsiteY1016" fmla="*/ 2462 h 10000"/>
                <a:gd name="connsiteX1017" fmla="*/ 6677 w 10820"/>
                <a:gd name="connsiteY1017" fmla="*/ 2436 h 10000"/>
                <a:gd name="connsiteX1018" fmla="*/ 6682 w 10820"/>
                <a:gd name="connsiteY1018" fmla="*/ 2419 h 10000"/>
                <a:gd name="connsiteX1019" fmla="*/ 6682 w 10820"/>
                <a:gd name="connsiteY1019" fmla="*/ 2393 h 10000"/>
                <a:gd name="connsiteX1020" fmla="*/ 6682 w 10820"/>
                <a:gd name="connsiteY1020" fmla="*/ 2385 h 10000"/>
                <a:gd name="connsiteX1021" fmla="*/ 6682 w 10820"/>
                <a:gd name="connsiteY1021" fmla="*/ 2385 h 10000"/>
                <a:gd name="connsiteX1022" fmla="*/ 6677 w 10820"/>
                <a:gd name="connsiteY1022" fmla="*/ 2376 h 10000"/>
                <a:gd name="connsiteX1023" fmla="*/ 6682 w 10820"/>
                <a:gd name="connsiteY1023" fmla="*/ 2359 h 10000"/>
                <a:gd name="connsiteX1024" fmla="*/ 6677 w 10820"/>
                <a:gd name="connsiteY1024" fmla="*/ 2333 h 10000"/>
                <a:gd name="connsiteX1025" fmla="*/ 6691 w 10820"/>
                <a:gd name="connsiteY1025" fmla="*/ 2333 h 10000"/>
                <a:gd name="connsiteX1026" fmla="*/ 6691 w 10820"/>
                <a:gd name="connsiteY1026" fmla="*/ 2325 h 10000"/>
                <a:gd name="connsiteX1027" fmla="*/ 6691 w 10820"/>
                <a:gd name="connsiteY1027" fmla="*/ 2308 h 10000"/>
                <a:gd name="connsiteX1028" fmla="*/ 6691 w 10820"/>
                <a:gd name="connsiteY1028" fmla="*/ 2299 h 10000"/>
                <a:gd name="connsiteX1029" fmla="*/ 6691 w 10820"/>
                <a:gd name="connsiteY1029" fmla="*/ 2282 h 10000"/>
                <a:gd name="connsiteX1030" fmla="*/ 6691 w 10820"/>
                <a:gd name="connsiteY1030" fmla="*/ 2274 h 10000"/>
                <a:gd name="connsiteX1031" fmla="*/ 6668 w 10820"/>
                <a:gd name="connsiteY1031" fmla="*/ 2248 h 10000"/>
                <a:gd name="connsiteX1032" fmla="*/ 6664 w 10820"/>
                <a:gd name="connsiteY1032" fmla="*/ 2222 h 10000"/>
                <a:gd name="connsiteX1033" fmla="*/ 6654 w 10820"/>
                <a:gd name="connsiteY1033" fmla="*/ 2214 h 10000"/>
                <a:gd name="connsiteX1034" fmla="*/ 6654 w 10820"/>
                <a:gd name="connsiteY1034" fmla="*/ 2188 h 10000"/>
                <a:gd name="connsiteX1035" fmla="*/ 6622 w 10820"/>
                <a:gd name="connsiteY1035" fmla="*/ 2162 h 10000"/>
                <a:gd name="connsiteX1036" fmla="*/ 6631 w 10820"/>
                <a:gd name="connsiteY1036" fmla="*/ 2145 h 10000"/>
                <a:gd name="connsiteX1037" fmla="*/ 6622 w 10820"/>
                <a:gd name="connsiteY1037" fmla="*/ 2120 h 10000"/>
                <a:gd name="connsiteX1038" fmla="*/ 6608 w 10820"/>
                <a:gd name="connsiteY1038" fmla="*/ 2120 h 10000"/>
                <a:gd name="connsiteX1039" fmla="*/ 6604 w 10820"/>
                <a:gd name="connsiteY1039" fmla="*/ 2111 h 10000"/>
                <a:gd name="connsiteX1040" fmla="*/ 6608 w 10820"/>
                <a:gd name="connsiteY1040" fmla="*/ 2111 h 10000"/>
                <a:gd name="connsiteX1041" fmla="*/ 6604 w 10820"/>
                <a:gd name="connsiteY1041" fmla="*/ 2085 h 10000"/>
                <a:gd name="connsiteX1042" fmla="*/ 6581 w 10820"/>
                <a:gd name="connsiteY1042" fmla="*/ 2077 h 10000"/>
                <a:gd name="connsiteX1043" fmla="*/ 6571 w 10820"/>
                <a:gd name="connsiteY1043" fmla="*/ 2085 h 10000"/>
                <a:gd name="connsiteX1044" fmla="*/ 6548 w 10820"/>
                <a:gd name="connsiteY1044" fmla="*/ 2077 h 10000"/>
                <a:gd name="connsiteX1045" fmla="*/ 6530 w 10820"/>
                <a:gd name="connsiteY1045" fmla="*/ 2060 h 10000"/>
                <a:gd name="connsiteX1046" fmla="*/ 6521 w 10820"/>
                <a:gd name="connsiteY1046" fmla="*/ 2060 h 10000"/>
                <a:gd name="connsiteX1047" fmla="*/ 6521 w 10820"/>
                <a:gd name="connsiteY1047" fmla="*/ 2085 h 10000"/>
                <a:gd name="connsiteX1048" fmla="*/ 6516 w 10820"/>
                <a:gd name="connsiteY1048" fmla="*/ 2085 h 10000"/>
                <a:gd name="connsiteX1049" fmla="*/ 6502 w 10820"/>
                <a:gd name="connsiteY1049" fmla="*/ 2111 h 10000"/>
                <a:gd name="connsiteX1050" fmla="*/ 6498 w 10820"/>
                <a:gd name="connsiteY1050" fmla="*/ 2111 h 10000"/>
                <a:gd name="connsiteX1051" fmla="*/ 6498 w 10820"/>
                <a:gd name="connsiteY1051" fmla="*/ 2103 h 10000"/>
                <a:gd name="connsiteX1052" fmla="*/ 6475 w 10820"/>
                <a:gd name="connsiteY1052" fmla="*/ 2051 h 10000"/>
                <a:gd name="connsiteX1053" fmla="*/ 6470 w 10820"/>
                <a:gd name="connsiteY1053" fmla="*/ 2060 h 10000"/>
                <a:gd name="connsiteX1054" fmla="*/ 6456 w 10820"/>
                <a:gd name="connsiteY1054" fmla="*/ 2051 h 10000"/>
                <a:gd name="connsiteX1055" fmla="*/ 6447 w 10820"/>
                <a:gd name="connsiteY1055" fmla="*/ 2051 h 10000"/>
                <a:gd name="connsiteX1056" fmla="*/ 6433 w 10820"/>
                <a:gd name="connsiteY1056" fmla="*/ 2026 h 10000"/>
                <a:gd name="connsiteX1057" fmla="*/ 6433 w 10820"/>
                <a:gd name="connsiteY1057" fmla="*/ 2034 h 10000"/>
                <a:gd name="connsiteX1058" fmla="*/ 6429 w 10820"/>
                <a:gd name="connsiteY1058" fmla="*/ 2026 h 10000"/>
                <a:gd name="connsiteX1059" fmla="*/ 6424 w 10820"/>
                <a:gd name="connsiteY1059" fmla="*/ 2034 h 10000"/>
                <a:gd name="connsiteX1060" fmla="*/ 6410 w 10820"/>
                <a:gd name="connsiteY1060" fmla="*/ 2026 h 10000"/>
                <a:gd name="connsiteX1061" fmla="*/ 6410 w 10820"/>
                <a:gd name="connsiteY1061" fmla="*/ 1991 h 10000"/>
                <a:gd name="connsiteX1062" fmla="*/ 6401 w 10820"/>
                <a:gd name="connsiteY1062" fmla="*/ 1991 h 10000"/>
                <a:gd name="connsiteX1063" fmla="*/ 6396 w 10820"/>
                <a:gd name="connsiteY1063" fmla="*/ 2000 h 10000"/>
                <a:gd name="connsiteX1064" fmla="*/ 6382 w 10820"/>
                <a:gd name="connsiteY1064" fmla="*/ 1966 h 10000"/>
                <a:gd name="connsiteX1065" fmla="*/ 6373 w 10820"/>
                <a:gd name="connsiteY1065" fmla="*/ 1974 h 10000"/>
                <a:gd name="connsiteX1066" fmla="*/ 6369 w 10820"/>
                <a:gd name="connsiteY1066" fmla="*/ 1966 h 10000"/>
                <a:gd name="connsiteX1067" fmla="*/ 6341 w 10820"/>
                <a:gd name="connsiteY1067" fmla="*/ 1949 h 10000"/>
                <a:gd name="connsiteX1068" fmla="*/ 6327 w 10820"/>
                <a:gd name="connsiteY1068" fmla="*/ 1923 h 10000"/>
                <a:gd name="connsiteX1069" fmla="*/ 6323 w 10820"/>
                <a:gd name="connsiteY1069" fmla="*/ 1923 h 10000"/>
                <a:gd name="connsiteX1070" fmla="*/ 6323 w 10820"/>
                <a:gd name="connsiteY1070" fmla="*/ 1966 h 10000"/>
                <a:gd name="connsiteX1071" fmla="*/ 6323 w 10820"/>
                <a:gd name="connsiteY1071" fmla="*/ 1991 h 10000"/>
                <a:gd name="connsiteX1072" fmla="*/ 6313 w 10820"/>
                <a:gd name="connsiteY1072" fmla="*/ 1991 h 10000"/>
                <a:gd name="connsiteX1073" fmla="*/ 6300 w 10820"/>
                <a:gd name="connsiteY1073" fmla="*/ 1991 h 10000"/>
                <a:gd name="connsiteX1074" fmla="*/ 6290 w 10820"/>
                <a:gd name="connsiteY1074" fmla="*/ 1949 h 10000"/>
                <a:gd name="connsiteX1075" fmla="*/ 6276 w 10820"/>
                <a:gd name="connsiteY1075" fmla="*/ 2103 h 10000"/>
                <a:gd name="connsiteX1076" fmla="*/ 6281 w 10820"/>
                <a:gd name="connsiteY1076" fmla="*/ 2103 h 10000"/>
                <a:gd name="connsiteX1077" fmla="*/ 6276 w 10820"/>
                <a:gd name="connsiteY1077" fmla="*/ 2111 h 10000"/>
                <a:gd name="connsiteX1078" fmla="*/ 6276 w 10820"/>
                <a:gd name="connsiteY1078" fmla="*/ 2120 h 10000"/>
                <a:gd name="connsiteX1079" fmla="*/ 6295 w 10820"/>
                <a:gd name="connsiteY1079" fmla="*/ 2239 h 10000"/>
                <a:gd name="connsiteX1080" fmla="*/ 6290 w 10820"/>
                <a:gd name="connsiteY1080" fmla="*/ 2248 h 10000"/>
                <a:gd name="connsiteX1081" fmla="*/ 6281 w 10820"/>
                <a:gd name="connsiteY1081" fmla="*/ 2274 h 10000"/>
                <a:gd name="connsiteX1082" fmla="*/ 6249 w 10820"/>
                <a:gd name="connsiteY1082" fmla="*/ 2274 h 10000"/>
                <a:gd name="connsiteX1083" fmla="*/ 6226 w 10820"/>
                <a:gd name="connsiteY1083" fmla="*/ 2308 h 10000"/>
                <a:gd name="connsiteX1084" fmla="*/ 6221 w 10820"/>
                <a:gd name="connsiteY1084" fmla="*/ 2299 h 10000"/>
                <a:gd name="connsiteX1085" fmla="*/ 6221 w 10820"/>
                <a:gd name="connsiteY1085" fmla="*/ 2308 h 10000"/>
                <a:gd name="connsiteX1086" fmla="*/ 6217 w 10820"/>
                <a:gd name="connsiteY1086" fmla="*/ 2299 h 10000"/>
                <a:gd name="connsiteX1087" fmla="*/ 6194 w 10820"/>
                <a:gd name="connsiteY1087" fmla="*/ 2308 h 10000"/>
                <a:gd name="connsiteX1088" fmla="*/ 6180 w 10820"/>
                <a:gd name="connsiteY1088" fmla="*/ 2299 h 10000"/>
                <a:gd name="connsiteX1089" fmla="*/ 6143 w 10820"/>
                <a:gd name="connsiteY1089" fmla="*/ 2308 h 10000"/>
                <a:gd name="connsiteX1090" fmla="*/ 6134 w 10820"/>
                <a:gd name="connsiteY1090" fmla="*/ 2325 h 10000"/>
                <a:gd name="connsiteX1091" fmla="*/ 6115 w 10820"/>
                <a:gd name="connsiteY1091" fmla="*/ 2282 h 10000"/>
                <a:gd name="connsiteX1092" fmla="*/ 6069 w 10820"/>
                <a:gd name="connsiteY1092" fmla="*/ 2274 h 10000"/>
                <a:gd name="connsiteX1093" fmla="*/ 6069 w 10820"/>
                <a:gd name="connsiteY1093" fmla="*/ 2282 h 10000"/>
                <a:gd name="connsiteX1094" fmla="*/ 6060 w 10820"/>
                <a:gd name="connsiteY1094" fmla="*/ 2299 h 10000"/>
                <a:gd name="connsiteX1095" fmla="*/ 5972 w 10820"/>
                <a:gd name="connsiteY1095" fmla="*/ 2214 h 10000"/>
                <a:gd name="connsiteX1096" fmla="*/ 5968 w 10820"/>
                <a:gd name="connsiteY1096" fmla="*/ 2197 h 10000"/>
                <a:gd name="connsiteX1097" fmla="*/ 5968 w 10820"/>
                <a:gd name="connsiteY1097" fmla="*/ 2171 h 10000"/>
                <a:gd name="connsiteX1098" fmla="*/ 5968 w 10820"/>
                <a:gd name="connsiteY1098" fmla="*/ 2162 h 10000"/>
                <a:gd name="connsiteX1099" fmla="*/ 5968 w 10820"/>
                <a:gd name="connsiteY1099" fmla="*/ 2120 h 10000"/>
                <a:gd name="connsiteX1100" fmla="*/ 5968 w 10820"/>
                <a:gd name="connsiteY1100" fmla="*/ 2111 h 10000"/>
                <a:gd name="connsiteX1101" fmla="*/ 5972 w 10820"/>
                <a:gd name="connsiteY1101" fmla="*/ 2103 h 10000"/>
                <a:gd name="connsiteX1102" fmla="*/ 5986 w 10820"/>
                <a:gd name="connsiteY1102" fmla="*/ 2103 h 10000"/>
                <a:gd name="connsiteX1103" fmla="*/ 5986 w 10820"/>
                <a:gd name="connsiteY1103" fmla="*/ 2085 h 10000"/>
                <a:gd name="connsiteX1104" fmla="*/ 5995 w 10820"/>
                <a:gd name="connsiteY1104" fmla="*/ 2085 h 10000"/>
                <a:gd name="connsiteX1105" fmla="*/ 5995 w 10820"/>
                <a:gd name="connsiteY1105" fmla="*/ 2077 h 10000"/>
                <a:gd name="connsiteX1106" fmla="*/ 5986 w 10820"/>
                <a:gd name="connsiteY1106" fmla="*/ 2060 h 10000"/>
                <a:gd name="connsiteX1107" fmla="*/ 5954 w 10820"/>
                <a:gd name="connsiteY1107" fmla="*/ 2060 h 10000"/>
                <a:gd name="connsiteX1108" fmla="*/ 5940 w 10820"/>
                <a:gd name="connsiteY1108" fmla="*/ 2051 h 10000"/>
                <a:gd name="connsiteX1109" fmla="*/ 5922 w 10820"/>
                <a:gd name="connsiteY1109" fmla="*/ 2060 h 10000"/>
                <a:gd name="connsiteX1110" fmla="*/ 5885 w 10820"/>
                <a:gd name="connsiteY1110" fmla="*/ 2051 h 10000"/>
                <a:gd name="connsiteX1111" fmla="*/ 5876 w 10820"/>
                <a:gd name="connsiteY1111" fmla="*/ 2026 h 10000"/>
                <a:gd name="connsiteX1112" fmla="*/ 5862 w 10820"/>
                <a:gd name="connsiteY1112" fmla="*/ 2026 h 10000"/>
                <a:gd name="connsiteX1113" fmla="*/ 5848 w 10820"/>
                <a:gd name="connsiteY1113" fmla="*/ 2026 h 10000"/>
                <a:gd name="connsiteX1114" fmla="*/ 5825 w 10820"/>
                <a:gd name="connsiteY1114" fmla="*/ 2026 h 10000"/>
                <a:gd name="connsiteX1115" fmla="*/ 5788 w 10820"/>
                <a:gd name="connsiteY1115" fmla="*/ 1991 h 10000"/>
                <a:gd name="connsiteX1116" fmla="*/ 5760 w 10820"/>
                <a:gd name="connsiteY1116" fmla="*/ 2000 h 10000"/>
                <a:gd name="connsiteX1117" fmla="*/ 5760 w 10820"/>
                <a:gd name="connsiteY1117" fmla="*/ 2026 h 10000"/>
                <a:gd name="connsiteX1118" fmla="*/ 5714 w 10820"/>
                <a:gd name="connsiteY1118" fmla="*/ 2051 h 10000"/>
                <a:gd name="connsiteX1119" fmla="*/ 5687 w 10820"/>
                <a:gd name="connsiteY1119" fmla="*/ 2034 h 10000"/>
                <a:gd name="connsiteX1120" fmla="*/ 5645 w 10820"/>
                <a:gd name="connsiteY1120" fmla="*/ 2077 h 10000"/>
                <a:gd name="connsiteX1121" fmla="*/ 5664 w 10820"/>
                <a:gd name="connsiteY1121" fmla="*/ 2120 h 10000"/>
                <a:gd name="connsiteX1122" fmla="*/ 5664 w 10820"/>
                <a:gd name="connsiteY1122" fmla="*/ 2162 h 10000"/>
                <a:gd name="connsiteX1123" fmla="*/ 5631 w 10820"/>
                <a:gd name="connsiteY1123" fmla="*/ 2197 h 10000"/>
                <a:gd name="connsiteX1124" fmla="*/ 5618 w 10820"/>
                <a:gd name="connsiteY1124" fmla="*/ 2188 h 10000"/>
                <a:gd name="connsiteX1125" fmla="*/ 5618 w 10820"/>
                <a:gd name="connsiteY1125" fmla="*/ 2171 h 10000"/>
                <a:gd name="connsiteX1126" fmla="*/ 5641 w 10820"/>
                <a:gd name="connsiteY1126" fmla="*/ 2171 h 10000"/>
                <a:gd name="connsiteX1127" fmla="*/ 5641 w 10820"/>
                <a:gd name="connsiteY1127" fmla="*/ 2162 h 10000"/>
                <a:gd name="connsiteX1128" fmla="*/ 5627 w 10820"/>
                <a:gd name="connsiteY1128" fmla="*/ 2145 h 10000"/>
                <a:gd name="connsiteX1129" fmla="*/ 5627 w 10820"/>
                <a:gd name="connsiteY1129" fmla="*/ 2120 h 10000"/>
                <a:gd name="connsiteX1130" fmla="*/ 5618 w 10820"/>
                <a:gd name="connsiteY1130" fmla="*/ 2111 h 10000"/>
                <a:gd name="connsiteX1131" fmla="*/ 5631 w 10820"/>
                <a:gd name="connsiteY1131" fmla="*/ 2051 h 10000"/>
                <a:gd name="connsiteX1132" fmla="*/ 5631 w 10820"/>
                <a:gd name="connsiteY1132" fmla="*/ 2026 h 10000"/>
                <a:gd name="connsiteX1133" fmla="*/ 5627 w 10820"/>
                <a:gd name="connsiteY1133" fmla="*/ 1991 h 10000"/>
                <a:gd name="connsiteX1134" fmla="*/ 5618 w 10820"/>
                <a:gd name="connsiteY1134" fmla="*/ 1974 h 10000"/>
                <a:gd name="connsiteX1135" fmla="*/ 5618 w 10820"/>
                <a:gd name="connsiteY1135" fmla="*/ 1940 h 10000"/>
                <a:gd name="connsiteX1136" fmla="*/ 5594 w 10820"/>
                <a:gd name="connsiteY1136" fmla="*/ 1855 h 10000"/>
                <a:gd name="connsiteX1137" fmla="*/ 5599 w 10820"/>
                <a:gd name="connsiteY1137" fmla="*/ 1915 h 10000"/>
                <a:gd name="connsiteX1138" fmla="*/ 5599 w 10820"/>
                <a:gd name="connsiteY1138" fmla="*/ 1949 h 10000"/>
                <a:gd name="connsiteX1139" fmla="*/ 5594 w 10820"/>
                <a:gd name="connsiteY1139" fmla="*/ 1991 h 10000"/>
                <a:gd name="connsiteX1140" fmla="*/ 5571 w 10820"/>
                <a:gd name="connsiteY1140" fmla="*/ 2000 h 10000"/>
                <a:gd name="connsiteX1141" fmla="*/ 5530 w 10820"/>
                <a:gd name="connsiteY1141" fmla="*/ 1991 h 10000"/>
                <a:gd name="connsiteX1142" fmla="*/ 5525 w 10820"/>
                <a:gd name="connsiteY1142" fmla="*/ 2000 h 10000"/>
                <a:gd name="connsiteX1143" fmla="*/ 5521 w 10820"/>
                <a:gd name="connsiteY1143" fmla="*/ 1991 h 10000"/>
                <a:gd name="connsiteX1144" fmla="*/ 5498 w 10820"/>
                <a:gd name="connsiteY1144" fmla="*/ 1949 h 10000"/>
                <a:gd name="connsiteX1145" fmla="*/ 5493 w 10820"/>
                <a:gd name="connsiteY1145" fmla="*/ 1889 h 10000"/>
                <a:gd name="connsiteX1146" fmla="*/ 5493 w 10820"/>
                <a:gd name="connsiteY1146" fmla="*/ 1863 h 10000"/>
                <a:gd name="connsiteX1147" fmla="*/ 5498 w 10820"/>
                <a:gd name="connsiteY1147" fmla="*/ 1889 h 10000"/>
                <a:gd name="connsiteX1148" fmla="*/ 5512 w 10820"/>
                <a:gd name="connsiteY1148" fmla="*/ 1855 h 10000"/>
                <a:gd name="connsiteX1149" fmla="*/ 5512 w 10820"/>
                <a:gd name="connsiteY1149" fmla="*/ 1838 h 10000"/>
                <a:gd name="connsiteX1150" fmla="*/ 5479 w 10820"/>
                <a:gd name="connsiteY1150" fmla="*/ 1855 h 10000"/>
                <a:gd name="connsiteX1151" fmla="*/ 5470 w 10820"/>
                <a:gd name="connsiteY1151" fmla="*/ 1872 h 10000"/>
                <a:gd name="connsiteX1152" fmla="*/ 5470 w 10820"/>
                <a:gd name="connsiteY1152" fmla="*/ 1889 h 10000"/>
                <a:gd name="connsiteX1153" fmla="*/ 5465 w 10820"/>
                <a:gd name="connsiteY1153" fmla="*/ 1897 h 10000"/>
                <a:gd name="connsiteX1154" fmla="*/ 5456 w 10820"/>
                <a:gd name="connsiteY1154" fmla="*/ 1872 h 10000"/>
                <a:gd name="connsiteX1155" fmla="*/ 5447 w 10820"/>
                <a:gd name="connsiteY1155" fmla="*/ 1872 h 10000"/>
                <a:gd name="connsiteX1156" fmla="*/ 5433 w 10820"/>
                <a:gd name="connsiteY1156" fmla="*/ 1855 h 10000"/>
                <a:gd name="connsiteX1157" fmla="*/ 5396 w 10820"/>
                <a:gd name="connsiteY1157" fmla="*/ 1863 h 10000"/>
                <a:gd name="connsiteX1158" fmla="*/ 5396 w 10820"/>
                <a:gd name="connsiteY1158" fmla="*/ 1897 h 10000"/>
                <a:gd name="connsiteX1159" fmla="*/ 5378 w 10820"/>
                <a:gd name="connsiteY1159" fmla="*/ 1949 h 10000"/>
                <a:gd name="connsiteX1160" fmla="*/ 5378 w 10820"/>
                <a:gd name="connsiteY1160" fmla="*/ 1966 h 10000"/>
                <a:gd name="connsiteX1161" fmla="*/ 5392 w 10820"/>
                <a:gd name="connsiteY1161" fmla="*/ 2026 h 10000"/>
                <a:gd name="connsiteX1162" fmla="*/ 5396 w 10820"/>
                <a:gd name="connsiteY1162" fmla="*/ 2026 h 10000"/>
                <a:gd name="connsiteX1163" fmla="*/ 5392 w 10820"/>
                <a:gd name="connsiteY1163" fmla="*/ 2009 h 10000"/>
                <a:gd name="connsiteX1164" fmla="*/ 5392 w 10820"/>
                <a:gd name="connsiteY1164" fmla="*/ 2000 h 10000"/>
                <a:gd name="connsiteX1165" fmla="*/ 5396 w 10820"/>
                <a:gd name="connsiteY1165" fmla="*/ 2009 h 10000"/>
                <a:gd name="connsiteX1166" fmla="*/ 5424 w 10820"/>
                <a:gd name="connsiteY1166" fmla="*/ 2009 h 10000"/>
                <a:gd name="connsiteX1167" fmla="*/ 5433 w 10820"/>
                <a:gd name="connsiteY1167" fmla="*/ 1991 h 10000"/>
                <a:gd name="connsiteX1168" fmla="*/ 5447 w 10820"/>
                <a:gd name="connsiteY1168" fmla="*/ 1974 h 10000"/>
                <a:gd name="connsiteX1169" fmla="*/ 5452 w 10820"/>
                <a:gd name="connsiteY1169" fmla="*/ 1966 h 10000"/>
                <a:gd name="connsiteX1170" fmla="*/ 5456 w 10820"/>
                <a:gd name="connsiteY1170" fmla="*/ 1966 h 10000"/>
                <a:gd name="connsiteX1171" fmla="*/ 5465 w 10820"/>
                <a:gd name="connsiteY1171" fmla="*/ 2009 h 10000"/>
                <a:gd name="connsiteX1172" fmla="*/ 5433 w 10820"/>
                <a:gd name="connsiteY1172" fmla="*/ 2034 h 10000"/>
                <a:gd name="connsiteX1173" fmla="*/ 5424 w 10820"/>
                <a:gd name="connsiteY1173" fmla="*/ 2060 h 10000"/>
                <a:gd name="connsiteX1174" fmla="*/ 5419 w 10820"/>
                <a:gd name="connsiteY1174" fmla="*/ 2060 h 10000"/>
                <a:gd name="connsiteX1175" fmla="*/ 5392 w 10820"/>
                <a:gd name="connsiteY1175" fmla="*/ 2111 h 10000"/>
                <a:gd name="connsiteX1176" fmla="*/ 5378 w 10820"/>
                <a:gd name="connsiteY1176" fmla="*/ 2111 h 10000"/>
                <a:gd name="connsiteX1177" fmla="*/ 5350 w 10820"/>
                <a:gd name="connsiteY1177" fmla="*/ 2060 h 10000"/>
                <a:gd name="connsiteX1178" fmla="*/ 5373 w 10820"/>
                <a:gd name="connsiteY1178" fmla="*/ 2111 h 10000"/>
                <a:gd name="connsiteX1179" fmla="*/ 5364 w 10820"/>
                <a:gd name="connsiteY1179" fmla="*/ 2111 h 10000"/>
                <a:gd name="connsiteX1180" fmla="*/ 5359 w 10820"/>
                <a:gd name="connsiteY1180" fmla="*/ 2103 h 10000"/>
                <a:gd name="connsiteX1181" fmla="*/ 5359 w 10820"/>
                <a:gd name="connsiteY1181" fmla="*/ 2120 h 10000"/>
                <a:gd name="connsiteX1182" fmla="*/ 5359 w 10820"/>
                <a:gd name="connsiteY1182" fmla="*/ 2137 h 10000"/>
                <a:gd name="connsiteX1183" fmla="*/ 5313 w 10820"/>
                <a:gd name="connsiteY1183" fmla="*/ 2162 h 10000"/>
                <a:gd name="connsiteX1184" fmla="*/ 5300 w 10820"/>
                <a:gd name="connsiteY1184" fmla="*/ 2162 h 10000"/>
                <a:gd name="connsiteX1185" fmla="*/ 5300 w 10820"/>
                <a:gd name="connsiteY1185" fmla="*/ 2171 h 10000"/>
                <a:gd name="connsiteX1186" fmla="*/ 5300 w 10820"/>
                <a:gd name="connsiteY1186" fmla="*/ 2197 h 10000"/>
                <a:gd name="connsiteX1187" fmla="*/ 5276 w 10820"/>
                <a:gd name="connsiteY1187" fmla="*/ 2188 h 10000"/>
                <a:gd name="connsiteX1188" fmla="*/ 5249 w 10820"/>
                <a:gd name="connsiteY1188" fmla="*/ 2222 h 10000"/>
                <a:gd name="connsiteX1189" fmla="*/ 5249 w 10820"/>
                <a:gd name="connsiteY1189" fmla="*/ 2222 h 10000"/>
                <a:gd name="connsiteX1190" fmla="*/ 5217 w 10820"/>
                <a:gd name="connsiteY1190" fmla="*/ 2214 h 10000"/>
                <a:gd name="connsiteX1191" fmla="*/ 5203 w 10820"/>
                <a:gd name="connsiteY1191" fmla="*/ 2239 h 10000"/>
                <a:gd name="connsiteX1192" fmla="*/ 5171 w 10820"/>
                <a:gd name="connsiteY1192" fmla="*/ 2214 h 10000"/>
                <a:gd name="connsiteX1193" fmla="*/ 5157 w 10820"/>
                <a:gd name="connsiteY1193" fmla="*/ 2239 h 10000"/>
                <a:gd name="connsiteX1194" fmla="*/ 5166 w 10820"/>
                <a:gd name="connsiteY1194" fmla="*/ 2256 h 10000"/>
                <a:gd name="connsiteX1195" fmla="*/ 5171 w 10820"/>
                <a:gd name="connsiteY1195" fmla="*/ 2308 h 10000"/>
                <a:gd name="connsiteX1196" fmla="*/ 5212 w 10820"/>
                <a:gd name="connsiteY1196" fmla="*/ 2350 h 10000"/>
                <a:gd name="connsiteX1197" fmla="*/ 5203 w 10820"/>
                <a:gd name="connsiteY1197" fmla="*/ 2350 h 10000"/>
                <a:gd name="connsiteX1198" fmla="*/ 5166 w 10820"/>
                <a:gd name="connsiteY1198" fmla="*/ 2325 h 10000"/>
                <a:gd name="connsiteX1199" fmla="*/ 5152 w 10820"/>
                <a:gd name="connsiteY1199" fmla="*/ 2308 h 10000"/>
                <a:gd name="connsiteX1200" fmla="*/ 5143 w 10820"/>
                <a:gd name="connsiteY1200" fmla="*/ 2333 h 10000"/>
                <a:gd name="connsiteX1201" fmla="*/ 5138 w 10820"/>
                <a:gd name="connsiteY1201" fmla="*/ 2333 h 10000"/>
                <a:gd name="connsiteX1202" fmla="*/ 5124 w 10820"/>
                <a:gd name="connsiteY1202" fmla="*/ 2376 h 10000"/>
                <a:gd name="connsiteX1203" fmla="*/ 5115 w 10820"/>
                <a:gd name="connsiteY1203" fmla="*/ 2385 h 10000"/>
                <a:gd name="connsiteX1204" fmla="*/ 5106 w 10820"/>
                <a:gd name="connsiteY1204" fmla="*/ 2385 h 10000"/>
                <a:gd name="connsiteX1205" fmla="*/ 5055 w 10820"/>
                <a:gd name="connsiteY1205" fmla="*/ 2470 h 10000"/>
                <a:gd name="connsiteX1206" fmla="*/ 5065 w 10820"/>
                <a:gd name="connsiteY1206" fmla="*/ 2462 h 10000"/>
                <a:gd name="connsiteX1207" fmla="*/ 5055 w 10820"/>
                <a:gd name="connsiteY1207" fmla="*/ 2444 h 10000"/>
                <a:gd name="connsiteX1208" fmla="*/ 5041 w 10820"/>
                <a:gd name="connsiteY1208" fmla="*/ 2462 h 10000"/>
                <a:gd name="connsiteX1209" fmla="*/ 5037 w 10820"/>
                <a:gd name="connsiteY1209" fmla="*/ 2470 h 10000"/>
                <a:gd name="connsiteX1210" fmla="*/ 5032 w 10820"/>
                <a:gd name="connsiteY1210" fmla="*/ 2470 h 10000"/>
                <a:gd name="connsiteX1211" fmla="*/ 5032 w 10820"/>
                <a:gd name="connsiteY1211" fmla="*/ 2444 h 10000"/>
                <a:gd name="connsiteX1212" fmla="*/ 5055 w 10820"/>
                <a:gd name="connsiteY1212" fmla="*/ 2410 h 10000"/>
                <a:gd name="connsiteX1213" fmla="*/ 5065 w 10820"/>
                <a:gd name="connsiteY1213" fmla="*/ 2393 h 10000"/>
                <a:gd name="connsiteX1214" fmla="*/ 5069 w 10820"/>
                <a:gd name="connsiteY1214" fmla="*/ 2385 h 10000"/>
                <a:gd name="connsiteX1215" fmla="*/ 5083 w 10820"/>
                <a:gd name="connsiteY1215" fmla="*/ 2376 h 10000"/>
                <a:gd name="connsiteX1216" fmla="*/ 5097 w 10820"/>
                <a:gd name="connsiteY1216" fmla="*/ 2376 h 10000"/>
                <a:gd name="connsiteX1217" fmla="*/ 5124 w 10820"/>
                <a:gd name="connsiteY1217" fmla="*/ 2325 h 10000"/>
                <a:gd name="connsiteX1218" fmla="*/ 5143 w 10820"/>
                <a:gd name="connsiteY1218" fmla="*/ 2248 h 10000"/>
                <a:gd name="connsiteX1219" fmla="*/ 5152 w 10820"/>
                <a:gd name="connsiteY1219" fmla="*/ 2239 h 10000"/>
                <a:gd name="connsiteX1220" fmla="*/ 5166 w 10820"/>
                <a:gd name="connsiteY1220" fmla="*/ 2162 h 10000"/>
                <a:gd name="connsiteX1221" fmla="*/ 5171 w 10820"/>
                <a:gd name="connsiteY1221" fmla="*/ 2171 h 10000"/>
                <a:gd name="connsiteX1222" fmla="*/ 5198 w 10820"/>
                <a:gd name="connsiteY1222" fmla="*/ 2145 h 10000"/>
                <a:gd name="connsiteX1223" fmla="*/ 5203 w 10820"/>
                <a:gd name="connsiteY1223" fmla="*/ 2111 h 10000"/>
                <a:gd name="connsiteX1224" fmla="*/ 5217 w 10820"/>
                <a:gd name="connsiteY1224" fmla="*/ 2060 h 10000"/>
                <a:gd name="connsiteX1225" fmla="*/ 5226 w 10820"/>
                <a:gd name="connsiteY1225" fmla="*/ 2026 h 10000"/>
                <a:gd name="connsiteX1226" fmla="*/ 5286 w 10820"/>
                <a:gd name="connsiteY1226" fmla="*/ 2026 h 10000"/>
                <a:gd name="connsiteX1227" fmla="*/ 5290 w 10820"/>
                <a:gd name="connsiteY1227" fmla="*/ 2034 h 10000"/>
                <a:gd name="connsiteX1228" fmla="*/ 5323 w 10820"/>
                <a:gd name="connsiteY1228" fmla="*/ 1923 h 10000"/>
                <a:gd name="connsiteX1229" fmla="*/ 5323 w 10820"/>
                <a:gd name="connsiteY1229" fmla="*/ 1889 h 10000"/>
                <a:gd name="connsiteX1230" fmla="*/ 5359 w 10820"/>
                <a:gd name="connsiteY1230" fmla="*/ 1829 h 10000"/>
                <a:gd name="connsiteX1231" fmla="*/ 5378 w 10820"/>
                <a:gd name="connsiteY1231" fmla="*/ 1812 h 10000"/>
                <a:gd name="connsiteX1232" fmla="*/ 5406 w 10820"/>
                <a:gd name="connsiteY1232" fmla="*/ 1752 h 10000"/>
                <a:gd name="connsiteX1233" fmla="*/ 5410 w 10820"/>
                <a:gd name="connsiteY1233" fmla="*/ 1718 h 10000"/>
                <a:gd name="connsiteX1234" fmla="*/ 5438 w 10820"/>
                <a:gd name="connsiteY1234" fmla="*/ 1667 h 10000"/>
                <a:gd name="connsiteX1235" fmla="*/ 5438 w 10820"/>
                <a:gd name="connsiteY1235" fmla="*/ 1650 h 10000"/>
                <a:gd name="connsiteX1236" fmla="*/ 5438 w 10820"/>
                <a:gd name="connsiteY1236" fmla="*/ 1641 h 10000"/>
                <a:gd name="connsiteX1237" fmla="*/ 5452 w 10820"/>
                <a:gd name="connsiteY1237" fmla="*/ 1641 h 10000"/>
                <a:gd name="connsiteX1238" fmla="*/ 5456 w 10820"/>
                <a:gd name="connsiteY1238" fmla="*/ 1615 h 10000"/>
                <a:gd name="connsiteX1239" fmla="*/ 5456 w 10820"/>
                <a:gd name="connsiteY1239" fmla="*/ 1615 h 10000"/>
                <a:gd name="connsiteX1240" fmla="*/ 5465 w 10820"/>
                <a:gd name="connsiteY1240" fmla="*/ 1598 h 10000"/>
                <a:gd name="connsiteX1241" fmla="*/ 5465 w 10820"/>
                <a:gd name="connsiteY1241" fmla="*/ 1615 h 10000"/>
                <a:gd name="connsiteX1242" fmla="*/ 5479 w 10820"/>
                <a:gd name="connsiteY1242" fmla="*/ 1598 h 10000"/>
                <a:gd name="connsiteX1243" fmla="*/ 5484 w 10820"/>
                <a:gd name="connsiteY1243" fmla="*/ 1581 h 10000"/>
                <a:gd name="connsiteX1244" fmla="*/ 5493 w 10820"/>
                <a:gd name="connsiteY1244" fmla="*/ 1581 h 10000"/>
                <a:gd name="connsiteX1245" fmla="*/ 5512 w 10820"/>
                <a:gd name="connsiteY1245" fmla="*/ 1538 h 10000"/>
                <a:gd name="connsiteX1246" fmla="*/ 5530 w 10820"/>
                <a:gd name="connsiteY1246" fmla="*/ 1564 h 10000"/>
                <a:gd name="connsiteX1247" fmla="*/ 5530 w 10820"/>
                <a:gd name="connsiteY1247" fmla="*/ 1538 h 10000"/>
                <a:gd name="connsiteX1248" fmla="*/ 5539 w 10820"/>
                <a:gd name="connsiteY1248" fmla="*/ 1530 h 10000"/>
                <a:gd name="connsiteX1249" fmla="*/ 5530 w 10820"/>
                <a:gd name="connsiteY1249" fmla="*/ 1504 h 10000"/>
                <a:gd name="connsiteX1250" fmla="*/ 5567 w 10820"/>
                <a:gd name="connsiteY1250" fmla="*/ 1479 h 10000"/>
                <a:gd name="connsiteX1251" fmla="*/ 5553 w 10820"/>
                <a:gd name="connsiteY1251" fmla="*/ 1479 h 10000"/>
                <a:gd name="connsiteX1252" fmla="*/ 5553 w 10820"/>
                <a:gd name="connsiteY1252" fmla="*/ 1453 h 10000"/>
                <a:gd name="connsiteX1253" fmla="*/ 5581 w 10820"/>
                <a:gd name="connsiteY1253" fmla="*/ 1444 h 10000"/>
                <a:gd name="connsiteX1254" fmla="*/ 5581 w 10820"/>
                <a:gd name="connsiteY1254" fmla="*/ 1453 h 10000"/>
                <a:gd name="connsiteX1255" fmla="*/ 5585 w 10820"/>
                <a:gd name="connsiteY1255" fmla="*/ 1444 h 10000"/>
                <a:gd name="connsiteX1256" fmla="*/ 5594 w 10820"/>
                <a:gd name="connsiteY1256" fmla="*/ 1427 h 10000"/>
                <a:gd name="connsiteX1257" fmla="*/ 5599 w 10820"/>
                <a:gd name="connsiteY1257" fmla="*/ 1419 h 10000"/>
                <a:gd name="connsiteX1258" fmla="*/ 5594 w 10820"/>
                <a:gd name="connsiteY1258" fmla="*/ 1402 h 10000"/>
                <a:gd name="connsiteX1259" fmla="*/ 5604 w 10820"/>
                <a:gd name="connsiteY1259" fmla="*/ 1393 h 10000"/>
                <a:gd name="connsiteX1260" fmla="*/ 5618 w 10820"/>
                <a:gd name="connsiteY1260" fmla="*/ 1393 h 10000"/>
                <a:gd name="connsiteX1261" fmla="*/ 5627 w 10820"/>
                <a:gd name="connsiteY1261" fmla="*/ 1368 h 10000"/>
                <a:gd name="connsiteX1262" fmla="*/ 5627 w 10820"/>
                <a:gd name="connsiteY1262" fmla="*/ 1325 h 10000"/>
                <a:gd name="connsiteX1263" fmla="*/ 5645 w 10820"/>
                <a:gd name="connsiteY1263" fmla="*/ 1291 h 10000"/>
                <a:gd name="connsiteX1264" fmla="*/ 5645 w 10820"/>
                <a:gd name="connsiteY1264" fmla="*/ 1282 h 10000"/>
                <a:gd name="connsiteX1265" fmla="*/ 5654 w 10820"/>
                <a:gd name="connsiteY1265" fmla="*/ 1265 h 10000"/>
                <a:gd name="connsiteX1266" fmla="*/ 5654 w 10820"/>
                <a:gd name="connsiteY1266" fmla="*/ 1214 h 10000"/>
                <a:gd name="connsiteX1267" fmla="*/ 5654 w 10820"/>
                <a:gd name="connsiteY1267" fmla="*/ 1214 h 10000"/>
                <a:gd name="connsiteX1268" fmla="*/ 5645 w 10820"/>
                <a:gd name="connsiteY1268" fmla="*/ 1197 h 10000"/>
                <a:gd name="connsiteX1269" fmla="*/ 5659 w 10820"/>
                <a:gd name="connsiteY1269" fmla="*/ 1197 h 10000"/>
                <a:gd name="connsiteX1270" fmla="*/ 5654 w 10820"/>
                <a:gd name="connsiteY1270" fmla="*/ 1154 h 10000"/>
                <a:gd name="connsiteX1271" fmla="*/ 5641 w 10820"/>
                <a:gd name="connsiteY1271" fmla="*/ 1154 h 10000"/>
                <a:gd name="connsiteX1272" fmla="*/ 5627 w 10820"/>
                <a:gd name="connsiteY1272" fmla="*/ 1128 h 10000"/>
                <a:gd name="connsiteX1273" fmla="*/ 5618 w 10820"/>
                <a:gd name="connsiteY1273" fmla="*/ 1094 h 10000"/>
                <a:gd name="connsiteX1274" fmla="*/ 5613 w 10820"/>
                <a:gd name="connsiteY1274" fmla="*/ 1094 h 10000"/>
                <a:gd name="connsiteX1275" fmla="*/ 5604 w 10820"/>
                <a:gd name="connsiteY1275" fmla="*/ 1120 h 10000"/>
                <a:gd name="connsiteX1276" fmla="*/ 5604 w 10820"/>
                <a:gd name="connsiteY1276" fmla="*/ 1128 h 10000"/>
                <a:gd name="connsiteX1277" fmla="*/ 5599 w 10820"/>
                <a:gd name="connsiteY1277" fmla="*/ 1103 h 10000"/>
                <a:gd name="connsiteX1278" fmla="*/ 5599 w 10820"/>
                <a:gd name="connsiteY1278" fmla="*/ 1103 h 10000"/>
                <a:gd name="connsiteX1279" fmla="*/ 5594 w 10820"/>
                <a:gd name="connsiteY1279" fmla="*/ 1068 h 10000"/>
                <a:gd name="connsiteX1280" fmla="*/ 5594 w 10820"/>
                <a:gd name="connsiteY1280" fmla="*/ 1060 h 10000"/>
                <a:gd name="connsiteX1281" fmla="*/ 5581 w 10820"/>
                <a:gd name="connsiteY1281" fmla="*/ 1034 h 10000"/>
                <a:gd name="connsiteX1282" fmla="*/ 5571 w 10820"/>
                <a:gd name="connsiteY1282" fmla="*/ 1009 h 10000"/>
                <a:gd name="connsiteX1283" fmla="*/ 5571 w 10820"/>
                <a:gd name="connsiteY1283" fmla="*/ 991 h 10000"/>
                <a:gd name="connsiteX1284" fmla="*/ 5585 w 10820"/>
                <a:gd name="connsiteY1284" fmla="*/ 1009 h 10000"/>
                <a:gd name="connsiteX1285" fmla="*/ 5604 w 10820"/>
                <a:gd name="connsiteY1285" fmla="*/ 1043 h 10000"/>
                <a:gd name="connsiteX1286" fmla="*/ 5641 w 10820"/>
                <a:gd name="connsiteY1286" fmla="*/ 1094 h 10000"/>
                <a:gd name="connsiteX1287" fmla="*/ 5631 w 10820"/>
                <a:gd name="connsiteY1287" fmla="*/ 1128 h 10000"/>
                <a:gd name="connsiteX1288" fmla="*/ 5641 w 10820"/>
                <a:gd name="connsiteY1288" fmla="*/ 1128 h 10000"/>
                <a:gd name="connsiteX1289" fmla="*/ 5659 w 10820"/>
                <a:gd name="connsiteY1289" fmla="*/ 1017 h 10000"/>
                <a:gd name="connsiteX1290" fmla="*/ 5659 w 10820"/>
                <a:gd name="connsiteY1290" fmla="*/ 983 h 10000"/>
                <a:gd name="connsiteX1291" fmla="*/ 5659 w 10820"/>
                <a:gd name="connsiteY1291" fmla="*/ 957 h 10000"/>
                <a:gd name="connsiteX1292" fmla="*/ 5654 w 10820"/>
                <a:gd name="connsiteY1292" fmla="*/ 966 h 10000"/>
                <a:gd name="connsiteX1293" fmla="*/ 5641 w 10820"/>
                <a:gd name="connsiteY1293" fmla="*/ 957 h 10000"/>
                <a:gd name="connsiteX1294" fmla="*/ 5631 w 10820"/>
                <a:gd name="connsiteY1294" fmla="*/ 897 h 10000"/>
                <a:gd name="connsiteX1295" fmla="*/ 5641 w 10820"/>
                <a:gd name="connsiteY1295" fmla="*/ 872 h 10000"/>
                <a:gd name="connsiteX1296" fmla="*/ 5618 w 10820"/>
                <a:gd name="connsiteY1296" fmla="*/ 803 h 10000"/>
                <a:gd name="connsiteX1297" fmla="*/ 5604 w 10820"/>
                <a:gd name="connsiteY1297" fmla="*/ 821 h 10000"/>
                <a:gd name="connsiteX1298" fmla="*/ 5613 w 10820"/>
                <a:gd name="connsiteY1298" fmla="*/ 846 h 10000"/>
                <a:gd name="connsiteX1299" fmla="*/ 5604 w 10820"/>
                <a:gd name="connsiteY1299" fmla="*/ 855 h 10000"/>
                <a:gd name="connsiteX1300" fmla="*/ 5599 w 10820"/>
                <a:gd name="connsiteY1300" fmla="*/ 880 h 10000"/>
                <a:gd name="connsiteX1301" fmla="*/ 5594 w 10820"/>
                <a:gd name="connsiteY1301" fmla="*/ 880 h 10000"/>
                <a:gd name="connsiteX1302" fmla="*/ 5585 w 10820"/>
                <a:gd name="connsiteY1302" fmla="*/ 829 h 10000"/>
                <a:gd name="connsiteX1303" fmla="*/ 5571 w 10820"/>
                <a:gd name="connsiteY1303" fmla="*/ 803 h 10000"/>
                <a:gd name="connsiteX1304" fmla="*/ 5585 w 10820"/>
                <a:gd name="connsiteY1304" fmla="*/ 795 h 10000"/>
                <a:gd name="connsiteX1305" fmla="*/ 5585 w 10820"/>
                <a:gd name="connsiteY1305" fmla="*/ 761 h 10000"/>
                <a:gd name="connsiteX1306" fmla="*/ 5558 w 10820"/>
                <a:gd name="connsiteY1306" fmla="*/ 709 h 10000"/>
                <a:gd name="connsiteX1307" fmla="*/ 5544 w 10820"/>
                <a:gd name="connsiteY1307" fmla="*/ 709 h 10000"/>
                <a:gd name="connsiteX1308" fmla="*/ 5544 w 10820"/>
                <a:gd name="connsiteY1308" fmla="*/ 684 h 10000"/>
                <a:gd name="connsiteX1309" fmla="*/ 5525 w 10820"/>
                <a:gd name="connsiteY1309" fmla="*/ 632 h 10000"/>
                <a:gd name="connsiteX1310" fmla="*/ 5507 w 10820"/>
                <a:gd name="connsiteY1310" fmla="*/ 607 h 10000"/>
                <a:gd name="connsiteX1311" fmla="*/ 5512 w 10820"/>
                <a:gd name="connsiteY1311" fmla="*/ 598 h 10000"/>
                <a:gd name="connsiteX1312" fmla="*/ 5507 w 10820"/>
                <a:gd name="connsiteY1312" fmla="*/ 581 h 10000"/>
                <a:gd name="connsiteX1313" fmla="*/ 5493 w 10820"/>
                <a:gd name="connsiteY1313" fmla="*/ 573 h 10000"/>
                <a:gd name="connsiteX1314" fmla="*/ 5484 w 10820"/>
                <a:gd name="connsiteY1314" fmla="*/ 581 h 10000"/>
                <a:gd name="connsiteX1315" fmla="*/ 5484 w 10820"/>
                <a:gd name="connsiteY1315" fmla="*/ 573 h 10000"/>
                <a:gd name="connsiteX1316" fmla="*/ 5484 w 10820"/>
                <a:gd name="connsiteY1316" fmla="*/ 547 h 10000"/>
                <a:gd name="connsiteX1317" fmla="*/ 5465 w 10820"/>
                <a:gd name="connsiteY1317" fmla="*/ 556 h 10000"/>
                <a:gd name="connsiteX1318" fmla="*/ 5433 w 10820"/>
                <a:gd name="connsiteY1318" fmla="*/ 547 h 10000"/>
                <a:gd name="connsiteX1319" fmla="*/ 5410 w 10820"/>
                <a:gd name="connsiteY1319" fmla="*/ 573 h 10000"/>
                <a:gd name="connsiteX1320" fmla="*/ 5406 w 10820"/>
                <a:gd name="connsiteY1320" fmla="*/ 573 h 10000"/>
                <a:gd name="connsiteX1321" fmla="*/ 5392 w 10820"/>
                <a:gd name="connsiteY1321" fmla="*/ 573 h 10000"/>
                <a:gd name="connsiteX1322" fmla="*/ 5364 w 10820"/>
                <a:gd name="connsiteY1322" fmla="*/ 530 h 10000"/>
                <a:gd name="connsiteX1323" fmla="*/ 5350 w 10820"/>
                <a:gd name="connsiteY1323" fmla="*/ 556 h 10000"/>
                <a:gd name="connsiteX1324" fmla="*/ 5346 w 10820"/>
                <a:gd name="connsiteY1324" fmla="*/ 556 h 10000"/>
                <a:gd name="connsiteX1325" fmla="*/ 5313 w 10820"/>
                <a:gd name="connsiteY1325" fmla="*/ 573 h 10000"/>
                <a:gd name="connsiteX1326" fmla="*/ 5304 w 10820"/>
                <a:gd name="connsiteY1326" fmla="*/ 556 h 10000"/>
                <a:gd name="connsiteX1327" fmla="*/ 5290 w 10820"/>
                <a:gd name="connsiteY1327" fmla="*/ 573 h 10000"/>
                <a:gd name="connsiteX1328" fmla="*/ 5290 w 10820"/>
                <a:gd name="connsiteY1328" fmla="*/ 556 h 10000"/>
                <a:gd name="connsiteX1329" fmla="*/ 5300 w 10820"/>
                <a:gd name="connsiteY1329" fmla="*/ 547 h 10000"/>
                <a:gd name="connsiteX1330" fmla="*/ 5300 w 10820"/>
                <a:gd name="connsiteY1330" fmla="*/ 530 h 10000"/>
                <a:gd name="connsiteX1331" fmla="*/ 5290 w 10820"/>
                <a:gd name="connsiteY1331" fmla="*/ 530 h 10000"/>
                <a:gd name="connsiteX1332" fmla="*/ 5286 w 10820"/>
                <a:gd name="connsiteY1332" fmla="*/ 547 h 10000"/>
                <a:gd name="connsiteX1333" fmla="*/ 5272 w 10820"/>
                <a:gd name="connsiteY1333" fmla="*/ 556 h 10000"/>
                <a:gd name="connsiteX1334" fmla="*/ 5272 w 10820"/>
                <a:gd name="connsiteY1334" fmla="*/ 598 h 10000"/>
                <a:gd name="connsiteX1335" fmla="*/ 5276 w 10820"/>
                <a:gd name="connsiteY1335" fmla="*/ 581 h 10000"/>
                <a:gd name="connsiteX1336" fmla="*/ 5272 w 10820"/>
                <a:gd name="connsiteY1336" fmla="*/ 607 h 10000"/>
                <a:gd name="connsiteX1337" fmla="*/ 5263 w 10820"/>
                <a:gd name="connsiteY1337" fmla="*/ 607 h 10000"/>
                <a:gd name="connsiteX1338" fmla="*/ 5263 w 10820"/>
                <a:gd name="connsiteY1338" fmla="*/ 632 h 10000"/>
                <a:gd name="connsiteX1339" fmla="*/ 5258 w 10820"/>
                <a:gd name="connsiteY1339" fmla="*/ 658 h 10000"/>
                <a:gd name="connsiteX1340" fmla="*/ 5244 w 10820"/>
                <a:gd name="connsiteY1340" fmla="*/ 667 h 10000"/>
                <a:gd name="connsiteX1341" fmla="*/ 5240 w 10820"/>
                <a:gd name="connsiteY1341" fmla="*/ 658 h 10000"/>
                <a:gd name="connsiteX1342" fmla="*/ 5240 w 10820"/>
                <a:gd name="connsiteY1342" fmla="*/ 684 h 10000"/>
                <a:gd name="connsiteX1343" fmla="*/ 5212 w 10820"/>
                <a:gd name="connsiteY1343" fmla="*/ 684 h 10000"/>
                <a:gd name="connsiteX1344" fmla="*/ 5198 w 10820"/>
                <a:gd name="connsiteY1344" fmla="*/ 692 h 10000"/>
                <a:gd name="connsiteX1345" fmla="*/ 5184 w 10820"/>
                <a:gd name="connsiteY1345" fmla="*/ 684 h 10000"/>
                <a:gd name="connsiteX1346" fmla="*/ 5157 w 10820"/>
                <a:gd name="connsiteY1346" fmla="*/ 684 h 10000"/>
                <a:gd name="connsiteX1347" fmla="*/ 5157 w 10820"/>
                <a:gd name="connsiteY1347" fmla="*/ 667 h 10000"/>
                <a:gd name="connsiteX1348" fmla="*/ 5157 w 10820"/>
                <a:gd name="connsiteY1348" fmla="*/ 667 h 10000"/>
                <a:gd name="connsiteX1349" fmla="*/ 5180 w 10820"/>
                <a:gd name="connsiteY1349" fmla="*/ 650 h 10000"/>
                <a:gd name="connsiteX1350" fmla="*/ 5184 w 10820"/>
                <a:gd name="connsiteY1350" fmla="*/ 658 h 10000"/>
                <a:gd name="connsiteX1351" fmla="*/ 5203 w 10820"/>
                <a:gd name="connsiteY1351" fmla="*/ 547 h 10000"/>
                <a:gd name="connsiteX1352" fmla="*/ 5226 w 10820"/>
                <a:gd name="connsiteY1352" fmla="*/ 530 h 10000"/>
                <a:gd name="connsiteX1353" fmla="*/ 5230 w 10820"/>
                <a:gd name="connsiteY1353" fmla="*/ 487 h 10000"/>
                <a:gd name="connsiteX1354" fmla="*/ 5230 w 10820"/>
                <a:gd name="connsiteY1354" fmla="*/ 487 h 10000"/>
                <a:gd name="connsiteX1355" fmla="*/ 5226 w 10820"/>
                <a:gd name="connsiteY1355" fmla="*/ 462 h 10000"/>
                <a:gd name="connsiteX1356" fmla="*/ 5226 w 10820"/>
                <a:gd name="connsiteY1356" fmla="*/ 462 h 10000"/>
                <a:gd name="connsiteX1357" fmla="*/ 5240 w 10820"/>
                <a:gd name="connsiteY1357" fmla="*/ 462 h 10000"/>
                <a:gd name="connsiteX1358" fmla="*/ 5240 w 10820"/>
                <a:gd name="connsiteY1358" fmla="*/ 444 h 10000"/>
                <a:gd name="connsiteX1359" fmla="*/ 5230 w 10820"/>
                <a:gd name="connsiteY1359" fmla="*/ 436 h 10000"/>
                <a:gd name="connsiteX1360" fmla="*/ 5230 w 10820"/>
                <a:gd name="connsiteY1360" fmla="*/ 419 h 10000"/>
                <a:gd name="connsiteX1361" fmla="*/ 5230 w 10820"/>
                <a:gd name="connsiteY1361" fmla="*/ 410 h 10000"/>
                <a:gd name="connsiteX1362" fmla="*/ 5198 w 10820"/>
                <a:gd name="connsiteY1362" fmla="*/ 402 h 10000"/>
                <a:gd name="connsiteX1363" fmla="*/ 5189 w 10820"/>
                <a:gd name="connsiteY1363" fmla="*/ 402 h 10000"/>
                <a:gd name="connsiteX1364" fmla="*/ 5184 w 10820"/>
                <a:gd name="connsiteY1364" fmla="*/ 376 h 10000"/>
                <a:gd name="connsiteX1365" fmla="*/ 5180 w 10820"/>
                <a:gd name="connsiteY1365" fmla="*/ 376 h 10000"/>
                <a:gd name="connsiteX1366" fmla="*/ 5166 w 10820"/>
                <a:gd name="connsiteY1366" fmla="*/ 376 h 10000"/>
                <a:gd name="connsiteX1367" fmla="*/ 5157 w 10820"/>
                <a:gd name="connsiteY1367" fmla="*/ 385 h 10000"/>
                <a:gd name="connsiteX1368" fmla="*/ 5152 w 10820"/>
                <a:gd name="connsiteY1368" fmla="*/ 376 h 10000"/>
                <a:gd name="connsiteX1369" fmla="*/ 5129 w 10820"/>
                <a:gd name="connsiteY1369" fmla="*/ 385 h 10000"/>
                <a:gd name="connsiteX1370" fmla="*/ 5129 w 10820"/>
                <a:gd name="connsiteY1370" fmla="*/ 350 h 10000"/>
                <a:gd name="connsiteX1371" fmla="*/ 5129 w 10820"/>
                <a:gd name="connsiteY1371" fmla="*/ 325 h 10000"/>
                <a:gd name="connsiteX1372" fmla="*/ 5124 w 10820"/>
                <a:gd name="connsiteY1372" fmla="*/ 359 h 10000"/>
                <a:gd name="connsiteX1373" fmla="*/ 5106 w 10820"/>
                <a:gd name="connsiteY1373" fmla="*/ 359 h 10000"/>
                <a:gd name="connsiteX1374" fmla="*/ 5037 w 10820"/>
                <a:gd name="connsiteY1374" fmla="*/ 419 h 10000"/>
                <a:gd name="connsiteX1375" fmla="*/ 5051 w 10820"/>
                <a:gd name="connsiteY1375" fmla="*/ 385 h 10000"/>
                <a:gd name="connsiteX1376" fmla="*/ 5055 w 10820"/>
                <a:gd name="connsiteY1376" fmla="*/ 376 h 10000"/>
                <a:gd name="connsiteX1377" fmla="*/ 5092 w 10820"/>
                <a:gd name="connsiteY1377" fmla="*/ 282 h 10000"/>
                <a:gd name="connsiteX1378" fmla="*/ 5106 w 10820"/>
                <a:gd name="connsiteY1378" fmla="*/ 265 h 10000"/>
                <a:gd name="connsiteX1379" fmla="*/ 5115 w 10820"/>
                <a:gd name="connsiteY1379" fmla="*/ 265 h 10000"/>
                <a:gd name="connsiteX1380" fmla="*/ 5124 w 10820"/>
                <a:gd name="connsiteY1380" fmla="*/ 222 h 10000"/>
                <a:gd name="connsiteX1381" fmla="*/ 5124 w 10820"/>
                <a:gd name="connsiteY1381" fmla="*/ 214 h 10000"/>
                <a:gd name="connsiteX1382" fmla="*/ 5143 w 10820"/>
                <a:gd name="connsiteY1382" fmla="*/ 197 h 10000"/>
                <a:gd name="connsiteX1383" fmla="*/ 5152 w 10820"/>
                <a:gd name="connsiteY1383" fmla="*/ 214 h 10000"/>
                <a:gd name="connsiteX1384" fmla="*/ 5143 w 10820"/>
                <a:gd name="connsiteY1384" fmla="*/ 188 h 10000"/>
                <a:gd name="connsiteX1385" fmla="*/ 5129 w 10820"/>
                <a:gd name="connsiteY1385" fmla="*/ 103 h 10000"/>
                <a:gd name="connsiteX1386" fmla="*/ 5115 w 10820"/>
                <a:gd name="connsiteY1386" fmla="*/ 85 h 10000"/>
                <a:gd name="connsiteX1387" fmla="*/ 5111 w 10820"/>
                <a:gd name="connsiteY1387" fmla="*/ 111 h 10000"/>
                <a:gd name="connsiteX1388" fmla="*/ 5092 w 10820"/>
                <a:gd name="connsiteY1388" fmla="*/ 103 h 10000"/>
                <a:gd name="connsiteX1389" fmla="*/ 5069 w 10820"/>
                <a:gd name="connsiteY1389" fmla="*/ 77 h 10000"/>
                <a:gd name="connsiteX1390" fmla="*/ 5051 w 10820"/>
                <a:gd name="connsiteY1390" fmla="*/ 26 h 10000"/>
                <a:gd name="connsiteX1391" fmla="*/ 5041 w 10820"/>
                <a:gd name="connsiteY1391" fmla="*/ 34 h 10000"/>
                <a:gd name="connsiteX1392" fmla="*/ 5037 w 10820"/>
                <a:gd name="connsiteY1392" fmla="*/ 34 h 10000"/>
                <a:gd name="connsiteX1393" fmla="*/ 5037 w 10820"/>
                <a:gd name="connsiteY1393" fmla="*/ 26 h 10000"/>
                <a:gd name="connsiteX1394" fmla="*/ 5037 w 10820"/>
                <a:gd name="connsiteY1394" fmla="*/ 9 h 10000"/>
                <a:gd name="connsiteX1395" fmla="*/ 5023 w 10820"/>
                <a:gd name="connsiteY1395" fmla="*/ 0 h 10000"/>
                <a:gd name="connsiteX1396" fmla="*/ 5009 w 10820"/>
                <a:gd name="connsiteY1396" fmla="*/ 9 h 10000"/>
                <a:gd name="connsiteX1397" fmla="*/ 4995 w 10820"/>
                <a:gd name="connsiteY1397" fmla="*/ 34 h 10000"/>
                <a:gd name="connsiteX1398" fmla="*/ 4991 w 10820"/>
                <a:gd name="connsiteY1398" fmla="*/ 60 h 10000"/>
                <a:gd name="connsiteX1399" fmla="*/ 4982 w 10820"/>
                <a:gd name="connsiteY1399" fmla="*/ 60 h 10000"/>
                <a:gd name="connsiteX1400" fmla="*/ 4949 w 10820"/>
                <a:gd name="connsiteY1400" fmla="*/ 51 h 10000"/>
                <a:gd name="connsiteX1401" fmla="*/ 4949 w 10820"/>
                <a:gd name="connsiteY1401" fmla="*/ 85 h 10000"/>
                <a:gd name="connsiteX1402" fmla="*/ 4903 w 10820"/>
                <a:gd name="connsiteY1402" fmla="*/ 197 h 10000"/>
                <a:gd name="connsiteX1403" fmla="*/ 4899 w 10820"/>
                <a:gd name="connsiteY1403" fmla="*/ 239 h 10000"/>
                <a:gd name="connsiteX1404" fmla="*/ 4871 w 10820"/>
                <a:gd name="connsiteY1404" fmla="*/ 274 h 10000"/>
                <a:gd name="connsiteX1405" fmla="*/ 4871 w 10820"/>
                <a:gd name="connsiteY1405" fmla="*/ 282 h 10000"/>
                <a:gd name="connsiteX1406" fmla="*/ 4834 w 10820"/>
                <a:gd name="connsiteY1406" fmla="*/ 376 h 10000"/>
                <a:gd name="connsiteX1407" fmla="*/ 4829 w 10820"/>
                <a:gd name="connsiteY1407" fmla="*/ 402 h 10000"/>
                <a:gd name="connsiteX1408" fmla="*/ 4834 w 10820"/>
                <a:gd name="connsiteY1408" fmla="*/ 410 h 10000"/>
                <a:gd name="connsiteX1409" fmla="*/ 4829 w 10820"/>
                <a:gd name="connsiteY1409" fmla="*/ 436 h 10000"/>
                <a:gd name="connsiteX1410" fmla="*/ 4825 w 10820"/>
                <a:gd name="connsiteY1410" fmla="*/ 436 h 10000"/>
                <a:gd name="connsiteX1411" fmla="*/ 4825 w 10820"/>
                <a:gd name="connsiteY1411" fmla="*/ 444 h 10000"/>
                <a:gd name="connsiteX1412" fmla="*/ 4811 w 10820"/>
                <a:gd name="connsiteY1412" fmla="*/ 496 h 10000"/>
                <a:gd name="connsiteX1413" fmla="*/ 4811 w 10820"/>
                <a:gd name="connsiteY1413" fmla="*/ 496 h 10000"/>
                <a:gd name="connsiteX1414" fmla="*/ 4811 w 10820"/>
                <a:gd name="connsiteY1414" fmla="*/ 521 h 10000"/>
                <a:gd name="connsiteX1415" fmla="*/ 4816 w 10820"/>
                <a:gd name="connsiteY1415" fmla="*/ 530 h 10000"/>
                <a:gd name="connsiteX1416" fmla="*/ 4834 w 10820"/>
                <a:gd name="connsiteY1416" fmla="*/ 547 h 10000"/>
                <a:gd name="connsiteX1417" fmla="*/ 4834 w 10820"/>
                <a:gd name="connsiteY1417" fmla="*/ 581 h 10000"/>
                <a:gd name="connsiteX1418" fmla="*/ 4843 w 10820"/>
                <a:gd name="connsiteY1418" fmla="*/ 581 h 10000"/>
                <a:gd name="connsiteX1419" fmla="*/ 4843 w 10820"/>
                <a:gd name="connsiteY1419" fmla="*/ 598 h 10000"/>
                <a:gd name="connsiteX1420" fmla="*/ 4829 w 10820"/>
                <a:gd name="connsiteY1420" fmla="*/ 598 h 10000"/>
                <a:gd name="connsiteX1421" fmla="*/ 4829 w 10820"/>
                <a:gd name="connsiteY1421" fmla="*/ 573 h 10000"/>
                <a:gd name="connsiteX1422" fmla="*/ 4829 w 10820"/>
                <a:gd name="connsiteY1422" fmla="*/ 632 h 10000"/>
                <a:gd name="connsiteX1423" fmla="*/ 4829 w 10820"/>
                <a:gd name="connsiteY1423" fmla="*/ 632 h 10000"/>
                <a:gd name="connsiteX1424" fmla="*/ 4829 w 10820"/>
                <a:gd name="connsiteY1424" fmla="*/ 650 h 10000"/>
                <a:gd name="connsiteX1425" fmla="*/ 4774 w 10820"/>
                <a:gd name="connsiteY1425" fmla="*/ 684 h 10000"/>
                <a:gd name="connsiteX1426" fmla="*/ 4756 w 10820"/>
                <a:gd name="connsiteY1426" fmla="*/ 684 h 10000"/>
                <a:gd name="connsiteX1427" fmla="*/ 4737 w 10820"/>
                <a:gd name="connsiteY1427" fmla="*/ 692 h 10000"/>
                <a:gd name="connsiteX1428" fmla="*/ 4677 w 10820"/>
                <a:gd name="connsiteY1428" fmla="*/ 667 h 10000"/>
                <a:gd name="connsiteX1429" fmla="*/ 4682 w 10820"/>
                <a:gd name="connsiteY1429" fmla="*/ 692 h 10000"/>
                <a:gd name="connsiteX1430" fmla="*/ 4682 w 10820"/>
                <a:gd name="connsiteY1430" fmla="*/ 709 h 10000"/>
                <a:gd name="connsiteX1431" fmla="*/ 4691 w 10820"/>
                <a:gd name="connsiteY1431" fmla="*/ 718 h 10000"/>
                <a:gd name="connsiteX1432" fmla="*/ 4691 w 10820"/>
                <a:gd name="connsiteY1432" fmla="*/ 744 h 10000"/>
                <a:gd name="connsiteX1433" fmla="*/ 4700 w 10820"/>
                <a:gd name="connsiteY1433" fmla="*/ 744 h 10000"/>
                <a:gd name="connsiteX1434" fmla="*/ 4714 w 10820"/>
                <a:gd name="connsiteY1434" fmla="*/ 769 h 10000"/>
                <a:gd name="connsiteX1435" fmla="*/ 4710 w 10820"/>
                <a:gd name="connsiteY1435" fmla="*/ 786 h 10000"/>
                <a:gd name="connsiteX1436" fmla="*/ 4737 w 10820"/>
                <a:gd name="connsiteY1436" fmla="*/ 786 h 10000"/>
                <a:gd name="connsiteX1437" fmla="*/ 4742 w 10820"/>
                <a:gd name="connsiteY1437" fmla="*/ 795 h 10000"/>
                <a:gd name="connsiteX1438" fmla="*/ 4742 w 10820"/>
                <a:gd name="connsiteY1438" fmla="*/ 803 h 10000"/>
                <a:gd name="connsiteX1439" fmla="*/ 4737 w 10820"/>
                <a:gd name="connsiteY1439" fmla="*/ 846 h 10000"/>
                <a:gd name="connsiteX1440" fmla="*/ 4737 w 10820"/>
                <a:gd name="connsiteY1440" fmla="*/ 880 h 10000"/>
                <a:gd name="connsiteX1441" fmla="*/ 4737 w 10820"/>
                <a:gd name="connsiteY1441" fmla="*/ 906 h 10000"/>
                <a:gd name="connsiteX1442" fmla="*/ 4724 w 10820"/>
                <a:gd name="connsiteY1442" fmla="*/ 897 h 10000"/>
                <a:gd name="connsiteX1443" fmla="*/ 4724 w 10820"/>
                <a:gd name="connsiteY1443" fmla="*/ 872 h 10000"/>
                <a:gd name="connsiteX1444" fmla="*/ 4714 w 10820"/>
                <a:gd name="connsiteY1444" fmla="*/ 855 h 10000"/>
                <a:gd name="connsiteX1445" fmla="*/ 4691 w 10820"/>
                <a:gd name="connsiteY1445" fmla="*/ 846 h 10000"/>
                <a:gd name="connsiteX1446" fmla="*/ 4691 w 10820"/>
                <a:gd name="connsiteY1446" fmla="*/ 846 h 10000"/>
                <a:gd name="connsiteX1447" fmla="*/ 4696 w 10820"/>
                <a:gd name="connsiteY1447" fmla="*/ 821 h 10000"/>
                <a:gd name="connsiteX1448" fmla="*/ 4691 w 10820"/>
                <a:gd name="connsiteY1448" fmla="*/ 803 h 10000"/>
                <a:gd name="connsiteX1449" fmla="*/ 4668 w 10820"/>
                <a:gd name="connsiteY1449" fmla="*/ 821 h 10000"/>
                <a:gd name="connsiteX1450" fmla="*/ 4668 w 10820"/>
                <a:gd name="connsiteY1450" fmla="*/ 786 h 10000"/>
                <a:gd name="connsiteX1451" fmla="*/ 4664 w 10820"/>
                <a:gd name="connsiteY1451" fmla="*/ 786 h 10000"/>
                <a:gd name="connsiteX1452" fmla="*/ 4622 w 10820"/>
                <a:gd name="connsiteY1452" fmla="*/ 846 h 10000"/>
                <a:gd name="connsiteX1453" fmla="*/ 4627 w 10820"/>
                <a:gd name="connsiteY1453" fmla="*/ 872 h 10000"/>
                <a:gd name="connsiteX1454" fmla="*/ 4622 w 10820"/>
                <a:gd name="connsiteY1454" fmla="*/ 880 h 10000"/>
                <a:gd name="connsiteX1455" fmla="*/ 4622 w 10820"/>
                <a:gd name="connsiteY1455" fmla="*/ 880 h 10000"/>
                <a:gd name="connsiteX1456" fmla="*/ 4618 w 10820"/>
                <a:gd name="connsiteY1456" fmla="*/ 872 h 10000"/>
                <a:gd name="connsiteX1457" fmla="*/ 4604 w 10820"/>
                <a:gd name="connsiteY1457" fmla="*/ 880 h 10000"/>
                <a:gd name="connsiteX1458" fmla="*/ 4594 w 10820"/>
                <a:gd name="connsiteY1458" fmla="*/ 906 h 10000"/>
                <a:gd name="connsiteX1459" fmla="*/ 4604 w 10820"/>
                <a:gd name="connsiteY1459" fmla="*/ 906 h 10000"/>
                <a:gd name="connsiteX1460" fmla="*/ 4608 w 10820"/>
                <a:gd name="connsiteY1460" fmla="*/ 906 h 10000"/>
                <a:gd name="connsiteX1461" fmla="*/ 4608 w 10820"/>
                <a:gd name="connsiteY1461" fmla="*/ 932 h 10000"/>
                <a:gd name="connsiteX1462" fmla="*/ 4604 w 10820"/>
                <a:gd name="connsiteY1462" fmla="*/ 932 h 10000"/>
                <a:gd name="connsiteX1463" fmla="*/ 4590 w 10820"/>
                <a:gd name="connsiteY1463" fmla="*/ 932 h 10000"/>
                <a:gd name="connsiteX1464" fmla="*/ 4567 w 10820"/>
                <a:gd name="connsiteY1464" fmla="*/ 957 h 10000"/>
                <a:gd name="connsiteX1465" fmla="*/ 4567 w 10820"/>
                <a:gd name="connsiteY1465" fmla="*/ 932 h 10000"/>
                <a:gd name="connsiteX1466" fmla="*/ 4567 w 10820"/>
                <a:gd name="connsiteY1466" fmla="*/ 923 h 10000"/>
                <a:gd name="connsiteX1467" fmla="*/ 4562 w 10820"/>
                <a:gd name="connsiteY1467" fmla="*/ 932 h 10000"/>
                <a:gd name="connsiteX1468" fmla="*/ 4548 w 10820"/>
                <a:gd name="connsiteY1468" fmla="*/ 957 h 10000"/>
                <a:gd name="connsiteX1469" fmla="*/ 4544 w 10820"/>
                <a:gd name="connsiteY1469" fmla="*/ 957 h 10000"/>
                <a:gd name="connsiteX1470" fmla="*/ 4521 w 10820"/>
                <a:gd name="connsiteY1470" fmla="*/ 983 h 10000"/>
                <a:gd name="connsiteX1471" fmla="*/ 4521 w 10820"/>
                <a:gd name="connsiteY1471" fmla="*/ 983 h 10000"/>
                <a:gd name="connsiteX1472" fmla="*/ 4530 w 10820"/>
                <a:gd name="connsiteY1472" fmla="*/ 957 h 10000"/>
                <a:gd name="connsiteX1473" fmla="*/ 4535 w 10820"/>
                <a:gd name="connsiteY1473" fmla="*/ 932 h 10000"/>
                <a:gd name="connsiteX1474" fmla="*/ 4521 w 10820"/>
                <a:gd name="connsiteY1474" fmla="*/ 932 h 10000"/>
                <a:gd name="connsiteX1475" fmla="*/ 4516 w 10820"/>
                <a:gd name="connsiteY1475" fmla="*/ 923 h 10000"/>
                <a:gd name="connsiteX1476" fmla="*/ 4516 w 10820"/>
                <a:gd name="connsiteY1476" fmla="*/ 932 h 10000"/>
                <a:gd name="connsiteX1477" fmla="*/ 4488 w 10820"/>
                <a:gd name="connsiteY1477" fmla="*/ 940 h 10000"/>
                <a:gd name="connsiteX1478" fmla="*/ 4484 w 10820"/>
                <a:gd name="connsiteY1478" fmla="*/ 983 h 10000"/>
                <a:gd name="connsiteX1479" fmla="*/ 4470 w 10820"/>
                <a:gd name="connsiteY1479" fmla="*/ 983 h 10000"/>
                <a:gd name="connsiteX1480" fmla="*/ 4470 w 10820"/>
                <a:gd name="connsiteY1480" fmla="*/ 966 h 10000"/>
                <a:gd name="connsiteX1481" fmla="*/ 4488 w 10820"/>
                <a:gd name="connsiteY1481" fmla="*/ 923 h 10000"/>
                <a:gd name="connsiteX1482" fmla="*/ 4493 w 10820"/>
                <a:gd name="connsiteY1482" fmla="*/ 880 h 10000"/>
                <a:gd name="connsiteX1483" fmla="*/ 4475 w 10820"/>
                <a:gd name="connsiteY1483" fmla="*/ 846 h 10000"/>
                <a:gd name="connsiteX1484" fmla="*/ 4442 w 10820"/>
                <a:gd name="connsiteY1484" fmla="*/ 855 h 10000"/>
                <a:gd name="connsiteX1485" fmla="*/ 4433 w 10820"/>
                <a:gd name="connsiteY1485" fmla="*/ 855 h 10000"/>
                <a:gd name="connsiteX1486" fmla="*/ 4433 w 10820"/>
                <a:gd name="connsiteY1486" fmla="*/ 880 h 10000"/>
                <a:gd name="connsiteX1487" fmla="*/ 4401 w 10820"/>
                <a:gd name="connsiteY1487" fmla="*/ 855 h 10000"/>
                <a:gd name="connsiteX1488" fmla="*/ 4396 w 10820"/>
                <a:gd name="connsiteY1488" fmla="*/ 872 h 10000"/>
                <a:gd name="connsiteX1489" fmla="*/ 4382 w 10820"/>
                <a:gd name="connsiteY1489" fmla="*/ 897 h 10000"/>
                <a:gd name="connsiteX1490" fmla="*/ 4373 w 10820"/>
                <a:gd name="connsiteY1490" fmla="*/ 872 h 10000"/>
                <a:gd name="connsiteX1491" fmla="*/ 4341 w 10820"/>
                <a:gd name="connsiteY1491" fmla="*/ 872 h 10000"/>
                <a:gd name="connsiteX1492" fmla="*/ 4336 w 10820"/>
                <a:gd name="connsiteY1492" fmla="*/ 880 h 10000"/>
                <a:gd name="connsiteX1493" fmla="*/ 4346 w 10820"/>
                <a:gd name="connsiteY1493" fmla="*/ 897 h 10000"/>
                <a:gd name="connsiteX1494" fmla="*/ 4346 w 10820"/>
                <a:gd name="connsiteY1494" fmla="*/ 897 h 10000"/>
                <a:gd name="connsiteX1495" fmla="*/ 4313 w 10820"/>
                <a:gd name="connsiteY1495" fmla="*/ 906 h 10000"/>
                <a:gd name="connsiteX1496" fmla="*/ 4313 w 10820"/>
                <a:gd name="connsiteY1496" fmla="*/ 906 h 10000"/>
                <a:gd name="connsiteX1497" fmla="*/ 4313 w 10820"/>
                <a:gd name="connsiteY1497" fmla="*/ 880 h 10000"/>
                <a:gd name="connsiteX1498" fmla="*/ 4309 w 10820"/>
                <a:gd name="connsiteY1498" fmla="*/ 897 h 10000"/>
                <a:gd name="connsiteX1499" fmla="*/ 4295 w 10820"/>
                <a:gd name="connsiteY1499" fmla="*/ 923 h 10000"/>
                <a:gd name="connsiteX1500" fmla="*/ 4286 w 10820"/>
                <a:gd name="connsiteY1500" fmla="*/ 897 h 10000"/>
                <a:gd name="connsiteX1501" fmla="*/ 4281 w 10820"/>
                <a:gd name="connsiteY1501" fmla="*/ 906 h 10000"/>
                <a:gd name="connsiteX1502" fmla="*/ 4281 w 10820"/>
                <a:gd name="connsiteY1502" fmla="*/ 940 h 10000"/>
                <a:gd name="connsiteX1503" fmla="*/ 4286 w 10820"/>
                <a:gd name="connsiteY1503" fmla="*/ 957 h 10000"/>
                <a:gd name="connsiteX1504" fmla="*/ 4309 w 10820"/>
                <a:gd name="connsiteY1504" fmla="*/ 932 h 10000"/>
                <a:gd name="connsiteX1505" fmla="*/ 4313 w 10820"/>
                <a:gd name="connsiteY1505" fmla="*/ 957 h 10000"/>
                <a:gd name="connsiteX1506" fmla="*/ 4313 w 10820"/>
                <a:gd name="connsiteY1506" fmla="*/ 966 h 10000"/>
                <a:gd name="connsiteX1507" fmla="*/ 4323 w 10820"/>
                <a:gd name="connsiteY1507" fmla="*/ 966 h 10000"/>
                <a:gd name="connsiteX1508" fmla="*/ 4323 w 10820"/>
                <a:gd name="connsiteY1508" fmla="*/ 940 h 10000"/>
                <a:gd name="connsiteX1509" fmla="*/ 4327 w 10820"/>
                <a:gd name="connsiteY1509" fmla="*/ 940 h 10000"/>
                <a:gd name="connsiteX1510" fmla="*/ 4327 w 10820"/>
                <a:gd name="connsiteY1510" fmla="*/ 957 h 10000"/>
                <a:gd name="connsiteX1511" fmla="*/ 4327 w 10820"/>
                <a:gd name="connsiteY1511" fmla="*/ 966 h 10000"/>
                <a:gd name="connsiteX1512" fmla="*/ 4323 w 10820"/>
                <a:gd name="connsiteY1512" fmla="*/ 991 h 10000"/>
                <a:gd name="connsiteX1513" fmla="*/ 4207 w 10820"/>
                <a:gd name="connsiteY1513" fmla="*/ 1060 h 10000"/>
                <a:gd name="connsiteX1514" fmla="*/ 4207 w 10820"/>
                <a:gd name="connsiteY1514" fmla="*/ 1060 h 10000"/>
                <a:gd name="connsiteX1515" fmla="*/ 4203 w 10820"/>
                <a:gd name="connsiteY1515" fmla="*/ 1068 h 10000"/>
                <a:gd name="connsiteX1516" fmla="*/ 4203 w 10820"/>
                <a:gd name="connsiteY1516" fmla="*/ 1094 h 10000"/>
                <a:gd name="connsiteX1517" fmla="*/ 4203 w 10820"/>
                <a:gd name="connsiteY1517" fmla="*/ 1094 h 10000"/>
                <a:gd name="connsiteX1518" fmla="*/ 4189 w 10820"/>
                <a:gd name="connsiteY1518" fmla="*/ 1094 h 10000"/>
                <a:gd name="connsiteX1519" fmla="*/ 4166 w 10820"/>
                <a:gd name="connsiteY1519" fmla="*/ 1103 h 10000"/>
                <a:gd name="connsiteX1520" fmla="*/ 4152 w 10820"/>
                <a:gd name="connsiteY1520" fmla="*/ 1094 h 10000"/>
                <a:gd name="connsiteX1521" fmla="*/ 4134 w 10820"/>
                <a:gd name="connsiteY1521" fmla="*/ 1120 h 10000"/>
                <a:gd name="connsiteX1522" fmla="*/ 4106 w 10820"/>
                <a:gd name="connsiteY1522" fmla="*/ 1120 h 10000"/>
                <a:gd name="connsiteX1523" fmla="*/ 4092 w 10820"/>
                <a:gd name="connsiteY1523" fmla="*/ 1154 h 10000"/>
                <a:gd name="connsiteX1524" fmla="*/ 4106 w 10820"/>
                <a:gd name="connsiteY1524" fmla="*/ 1171 h 10000"/>
                <a:gd name="connsiteX1525" fmla="*/ 4078 w 10820"/>
                <a:gd name="connsiteY1525" fmla="*/ 1179 h 10000"/>
                <a:gd name="connsiteX1526" fmla="*/ 4065 w 10820"/>
                <a:gd name="connsiteY1526" fmla="*/ 1205 h 10000"/>
                <a:gd name="connsiteX1527" fmla="*/ 4046 w 10820"/>
                <a:gd name="connsiteY1527" fmla="*/ 1179 h 10000"/>
                <a:gd name="connsiteX1528" fmla="*/ 4041 w 10820"/>
                <a:gd name="connsiteY1528" fmla="*/ 1197 h 10000"/>
                <a:gd name="connsiteX1529" fmla="*/ 4028 w 10820"/>
                <a:gd name="connsiteY1529" fmla="*/ 1205 h 10000"/>
                <a:gd name="connsiteX1530" fmla="*/ 4028 w 10820"/>
                <a:gd name="connsiteY1530" fmla="*/ 1205 h 10000"/>
                <a:gd name="connsiteX1531" fmla="*/ 4032 w 10820"/>
                <a:gd name="connsiteY1531" fmla="*/ 1205 h 10000"/>
                <a:gd name="connsiteX1532" fmla="*/ 4032 w 10820"/>
                <a:gd name="connsiteY1532" fmla="*/ 1231 h 10000"/>
                <a:gd name="connsiteX1533" fmla="*/ 4014 w 10820"/>
                <a:gd name="connsiteY1533" fmla="*/ 1239 h 10000"/>
                <a:gd name="connsiteX1534" fmla="*/ 4014 w 10820"/>
                <a:gd name="connsiteY1534" fmla="*/ 1256 h 10000"/>
                <a:gd name="connsiteX1535" fmla="*/ 4000 w 10820"/>
                <a:gd name="connsiteY1535" fmla="*/ 1265 h 10000"/>
                <a:gd name="connsiteX1536" fmla="*/ 3986 w 10820"/>
                <a:gd name="connsiteY1536" fmla="*/ 1308 h 10000"/>
                <a:gd name="connsiteX1537" fmla="*/ 3972 w 10820"/>
                <a:gd name="connsiteY1537" fmla="*/ 1316 h 10000"/>
                <a:gd name="connsiteX1538" fmla="*/ 3972 w 10820"/>
                <a:gd name="connsiteY1538" fmla="*/ 1325 h 10000"/>
                <a:gd name="connsiteX1539" fmla="*/ 3972 w 10820"/>
                <a:gd name="connsiteY1539" fmla="*/ 1342 h 10000"/>
                <a:gd name="connsiteX1540" fmla="*/ 3968 w 10820"/>
                <a:gd name="connsiteY1540" fmla="*/ 1350 h 10000"/>
                <a:gd name="connsiteX1541" fmla="*/ 3954 w 10820"/>
                <a:gd name="connsiteY1541" fmla="*/ 1368 h 10000"/>
                <a:gd name="connsiteX1542" fmla="*/ 3945 w 10820"/>
                <a:gd name="connsiteY1542" fmla="*/ 1350 h 10000"/>
                <a:gd name="connsiteX1543" fmla="*/ 3908 w 10820"/>
                <a:gd name="connsiteY1543" fmla="*/ 1342 h 10000"/>
                <a:gd name="connsiteX1544" fmla="*/ 3894 w 10820"/>
                <a:gd name="connsiteY1544" fmla="*/ 1368 h 10000"/>
                <a:gd name="connsiteX1545" fmla="*/ 3922 w 10820"/>
                <a:gd name="connsiteY1545" fmla="*/ 1393 h 10000"/>
                <a:gd name="connsiteX1546" fmla="*/ 3945 w 10820"/>
                <a:gd name="connsiteY1546" fmla="*/ 1393 h 10000"/>
                <a:gd name="connsiteX1547" fmla="*/ 3940 w 10820"/>
                <a:gd name="connsiteY1547" fmla="*/ 1419 h 10000"/>
                <a:gd name="connsiteX1548" fmla="*/ 3931 w 10820"/>
                <a:gd name="connsiteY1548" fmla="*/ 1427 h 10000"/>
                <a:gd name="connsiteX1549" fmla="*/ 3926 w 10820"/>
                <a:gd name="connsiteY1549" fmla="*/ 1427 h 10000"/>
                <a:gd name="connsiteX1550" fmla="*/ 3922 w 10820"/>
                <a:gd name="connsiteY1550" fmla="*/ 1419 h 10000"/>
                <a:gd name="connsiteX1551" fmla="*/ 3912 w 10820"/>
                <a:gd name="connsiteY1551" fmla="*/ 1427 h 10000"/>
                <a:gd name="connsiteX1552" fmla="*/ 3912 w 10820"/>
                <a:gd name="connsiteY1552" fmla="*/ 1444 h 10000"/>
                <a:gd name="connsiteX1553" fmla="*/ 3894 w 10820"/>
                <a:gd name="connsiteY1553" fmla="*/ 1513 h 10000"/>
                <a:gd name="connsiteX1554" fmla="*/ 3885 w 10820"/>
                <a:gd name="connsiteY1554" fmla="*/ 1513 h 10000"/>
                <a:gd name="connsiteX1555" fmla="*/ 3880 w 10820"/>
                <a:gd name="connsiteY1555" fmla="*/ 1538 h 10000"/>
                <a:gd name="connsiteX1556" fmla="*/ 3885 w 10820"/>
                <a:gd name="connsiteY1556" fmla="*/ 1564 h 10000"/>
                <a:gd name="connsiteX1557" fmla="*/ 3880 w 10820"/>
                <a:gd name="connsiteY1557" fmla="*/ 1581 h 10000"/>
                <a:gd name="connsiteX1558" fmla="*/ 3871 w 10820"/>
                <a:gd name="connsiteY1558" fmla="*/ 1538 h 10000"/>
                <a:gd name="connsiteX1559" fmla="*/ 3853 w 10820"/>
                <a:gd name="connsiteY1559" fmla="*/ 1530 h 10000"/>
                <a:gd name="connsiteX1560" fmla="*/ 3853 w 10820"/>
                <a:gd name="connsiteY1560" fmla="*/ 1504 h 10000"/>
                <a:gd name="connsiteX1561" fmla="*/ 3834 w 10820"/>
                <a:gd name="connsiteY1561" fmla="*/ 1487 h 10000"/>
                <a:gd name="connsiteX1562" fmla="*/ 3834 w 10820"/>
                <a:gd name="connsiteY1562" fmla="*/ 1487 h 10000"/>
                <a:gd name="connsiteX1563" fmla="*/ 3839 w 10820"/>
                <a:gd name="connsiteY1563" fmla="*/ 1513 h 10000"/>
                <a:gd name="connsiteX1564" fmla="*/ 3820 w 10820"/>
                <a:gd name="connsiteY1564" fmla="*/ 1538 h 10000"/>
                <a:gd name="connsiteX1565" fmla="*/ 3820 w 10820"/>
                <a:gd name="connsiteY1565" fmla="*/ 1556 h 10000"/>
                <a:gd name="connsiteX1566" fmla="*/ 3820 w 10820"/>
                <a:gd name="connsiteY1566" fmla="*/ 1564 h 10000"/>
                <a:gd name="connsiteX1567" fmla="*/ 3820 w 10820"/>
                <a:gd name="connsiteY1567" fmla="*/ 1581 h 10000"/>
                <a:gd name="connsiteX1568" fmla="*/ 3853 w 10820"/>
                <a:gd name="connsiteY1568" fmla="*/ 1581 h 10000"/>
                <a:gd name="connsiteX1569" fmla="*/ 3857 w 10820"/>
                <a:gd name="connsiteY1569" fmla="*/ 1598 h 10000"/>
                <a:gd name="connsiteX1570" fmla="*/ 3880 w 10820"/>
                <a:gd name="connsiteY1570" fmla="*/ 1615 h 10000"/>
                <a:gd name="connsiteX1571" fmla="*/ 3871 w 10820"/>
                <a:gd name="connsiteY1571" fmla="*/ 1615 h 10000"/>
                <a:gd name="connsiteX1572" fmla="*/ 3871 w 10820"/>
                <a:gd name="connsiteY1572" fmla="*/ 1641 h 10000"/>
                <a:gd name="connsiteX1573" fmla="*/ 3880 w 10820"/>
                <a:gd name="connsiteY1573" fmla="*/ 1641 h 10000"/>
                <a:gd name="connsiteX1574" fmla="*/ 3871 w 10820"/>
                <a:gd name="connsiteY1574" fmla="*/ 1650 h 10000"/>
                <a:gd name="connsiteX1575" fmla="*/ 3857 w 10820"/>
                <a:gd name="connsiteY1575" fmla="*/ 1650 h 10000"/>
                <a:gd name="connsiteX1576" fmla="*/ 3853 w 10820"/>
                <a:gd name="connsiteY1576" fmla="*/ 1650 h 10000"/>
                <a:gd name="connsiteX1577" fmla="*/ 3839 w 10820"/>
                <a:gd name="connsiteY1577" fmla="*/ 1667 h 10000"/>
                <a:gd name="connsiteX1578" fmla="*/ 3848 w 10820"/>
                <a:gd name="connsiteY1578" fmla="*/ 1692 h 10000"/>
                <a:gd name="connsiteX1579" fmla="*/ 3834 w 10820"/>
                <a:gd name="connsiteY1579" fmla="*/ 1692 h 10000"/>
                <a:gd name="connsiteX1580" fmla="*/ 3825 w 10820"/>
                <a:gd name="connsiteY1580" fmla="*/ 1692 h 10000"/>
                <a:gd name="connsiteX1581" fmla="*/ 3825 w 10820"/>
                <a:gd name="connsiteY1581" fmla="*/ 1718 h 10000"/>
                <a:gd name="connsiteX1582" fmla="*/ 3839 w 10820"/>
                <a:gd name="connsiteY1582" fmla="*/ 1726 h 10000"/>
                <a:gd name="connsiteX1583" fmla="*/ 3880 w 10820"/>
                <a:gd name="connsiteY1583" fmla="*/ 1752 h 10000"/>
                <a:gd name="connsiteX1584" fmla="*/ 3894 w 10820"/>
                <a:gd name="connsiteY1584" fmla="*/ 1829 h 10000"/>
                <a:gd name="connsiteX1585" fmla="*/ 3899 w 10820"/>
                <a:gd name="connsiteY1585" fmla="*/ 1838 h 10000"/>
                <a:gd name="connsiteX1586" fmla="*/ 3894 w 10820"/>
                <a:gd name="connsiteY1586" fmla="*/ 1855 h 10000"/>
                <a:gd name="connsiteX1587" fmla="*/ 3880 w 10820"/>
                <a:gd name="connsiteY1587" fmla="*/ 1838 h 10000"/>
                <a:gd name="connsiteX1588" fmla="*/ 3880 w 10820"/>
                <a:gd name="connsiteY1588" fmla="*/ 1855 h 10000"/>
                <a:gd name="connsiteX1589" fmla="*/ 3880 w 10820"/>
                <a:gd name="connsiteY1589" fmla="*/ 1863 h 10000"/>
                <a:gd name="connsiteX1590" fmla="*/ 3871 w 10820"/>
                <a:gd name="connsiteY1590" fmla="*/ 1872 h 10000"/>
                <a:gd name="connsiteX1591" fmla="*/ 3880 w 10820"/>
                <a:gd name="connsiteY1591" fmla="*/ 1889 h 10000"/>
                <a:gd name="connsiteX1592" fmla="*/ 3885 w 10820"/>
                <a:gd name="connsiteY1592" fmla="*/ 1889 h 10000"/>
                <a:gd name="connsiteX1593" fmla="*/ 3880 w 10820"/>
                <a:gd name="connsiteY1593" fmla="*/ 1897 h 10000"/>
                <a:gd name="connsiteX1594" fmla="*/ 3871 w 10820"/>
                <a:gd name="connsiteY1594" fmla="*/ 1915 h 10000"/>
                <a:gd name="connsiteX1595" fmla="*/ 3848 w 10820"/>
                <a:gd name="connsiteY1595" fmla="*/ 1923 h 10000"/>
                <a:gd name="connsiteX1596" fmla="*/ 3825 w 10820"/>
                <a:gd name="connsiteY1596" fmla="*/ 1940 h 10000"/>
                <a:gd name="connsiteX1597" fmla="*/ 3811 w 10820"/>
                <a:gd name="connsiteY1597" fmla="*/ 1940 h 10000"/>
                <a:gd name="connsiteX1598" fmla="*/ 3806 w 10820"/>
                <a:gd name="connsiteY1598" fmla="*/ 1949 h 10000"/>
                <a:gd name="connsiteX1599" fmla="*/ 3797 w 10820"/>
                <a:gd name="connsiteY1599" fmla="*/ 1966 h 10000"/>
                <a:gd name="connsiteX1600" fmla="*/ 3788 w 10820"/>
                <a:gd name="connsiteY1600" fmla="*/ 1991 h 10000"/>
                <a:gd name="connsiteX1601" fmla="*/ 3765 w 10820"/>
                <a:gd name="connsiteY1601" fmla="*/ 1974 h 10000"/>
                <a:gd name="connsiteX1602" fmla="*/ 3760 w 10820"/>
                <a:gd name="connsiteY1602" fmla="*/ 1966 h 10000"/>
                <a:gd name="connsiteX1603" fmla="*/ 3760 w 10820"/>
                <a:gd name="connsiteY1603" fmla="*/ 1966 h 10000"/>
                <a:gd name="connsiteX1604" fmla="*/ 3631 w 10820"/>
                <a:gd name="connsiteY1604" fmla="*/ 2009 h 10000"/>
                <a:gd name="connsiteX1605" fmla="*/ 3618 w 10820"/>
                <a:gd name="connsiteY1605" fmla="*/ 2000 h 10000"/>
                <a:gd name="connsiteX1606" fmla="*/ 3599 w 10820"/>
                <a:gd name="connsiteY1606" fmla="*/ 2009 h 10000"/>
                <a:gd name="connsiteX1607" fmla="*/ 3571 w 10820"/>
                <a:gd name="connsiteY1607" fmla="*/ 2000 h 10000"/>
                <a:gd name="connsiteX1608" fmla="*/ 3530 w 10820"/>
                <a:gd name="connsiteY1608" fmla="*/ 2026 h 10000"/>
                <a:gd name="connsiteX1609" fmla="*/ 3530 w 10820"/>
                <a:gd name="connsiteY1609" fmla="*/ 2034 h 10000"/>
                <a:gd name="connsiteX1610" fmla="*/ 3525 w 10820"/>
                <a:gd name="connsiteY1610" fmla="*/ 2051 h 10000"/>
                <a:gd name="connsiteX1611" fmla="*/ 3512 w 10820"/>
                <a:gd name="connsiteY1611" fmla="*/ 2034 h 10000"/>
                <a:gd name="connsiteX1612" fmla="*/ 3507 w 10820"/>
                <a:gd name="connsiteY1612" fmla="*/ 2034 h 10000"/>
                <a:gd name="connsiteX1613" fmla="*/ 3498 w 10820"/>
                <a:gd name="connsiteY1613" fmla="*/ 2051 h 10000"/>
                <a:gd name="connsiteX1614" fmla="*/ 3484 w 10820"/>
                <a:gd name="connsiteY1614" fmla="*/ 2060 h 10000"/>
                <a:gd name="connsiteX1615" fmla="*/ 3484 w 10820"/>
                <a:gd name="connsiteY1615" fmla="*/ 2085 h 10000"/>
                <a:gd name="connsiteX1616" fmla="*/ 3484 w 10820"/>
                <a:gd name="connsiteY1616" fmla="*/ 2103 h 10000"/>
                <a:gd name="connsiteX1617" fmla="*/ 3493 w 10820"/>
                <a:gd name="connsiteY1617" fmla="*/ 2103 h 10000"/>
                <a:gd name="connsiteX1618" fmla="*/ 3493 w 10820"/>
                <a:gd name="connsiteY1618" fmla="*/ 2085 h 10000"/>
                <a:gd name="connsiteX1619" fmla="*/ 3498 w 10820"/>
                <a:gd name="connsiteY1619" fmla="*/ 2085 h 10000"/>
                <a:gd name="connsiteX1620" fmla="*/ 3498 w 10820"/>
                <a:gd name="connsiteY1620" fmla="*/ 2111 h 10000"/>
                <a:gd name="connsiteX1621" fmla="*/ 3484 w 10820"/>
                <a:gd name="connsiteY1621" fmla="*/ 2120 h 10000"/>
                <a:gd name="connsiteX1622" fmla="*/ 3484 w 10820"/>
                <a:gd name="connsiteY1622" fmla="*/ 2145 h 10000"/>
                <a:gd name="connsiteX1623" fmla="*/ 3470 w 10820"/>
                <a:gd name="connsiteY1623" fmla="*/ 2137 h 10000"/>
                <a:gd name="connsiteX1624" fmla="*/ 3465 w 10820"/>
                <a:gd name="connsiteY1624" fmla="*/ 2145 h 10000"/>
                <a:gd name="connsiteX1625" fmla="*/ 3470 w 10820"/>
                <a:gd name="connsiteY1625" fmla="*/ 2171 h 10000"/>
                <a:gd name="connsiteX1626" fmla="*/ 3484 w 10820"/>
                <a:gd name="connsiteY1626" fmla="*/ 2171 h 10000"/>
                <a:gd name="connsiteX1627" fmla="*/ 3484 w 10820"/>
                <a:gd name="connsiteY1627" fmla="*/ 2197 h 10000"/>
                <a:gd name="connsiteX1628" fmla="*/ 3465 w 10820"/>
                <a:gd name="connsiteY1628" fmla="*/ 2214 h 10000"/>
                <a:gd name="connsiteX1629" fmla="*/ 3493 w 10820"/>
                <a:gd name="connsiteY1629" fmla="*/ 2248 h 10000"/>
                <a:gd name="connsiteX1630" fmla="*/ 3484 w 10820"/>
                <a:gd name="connsiteY1630" fmla="*/ 2256 h 10000"/>
                <a:gd name="connsiteX1631" fmla="*/ 3498 w 10820"/>
                <a:gd name="connsiteY1631" fmla="*/ 2274 h 10000"/>
                <a:gd name="connsiteX1632" fmla="*/ 3498 w 10820"/>
                <a:gd name="connsiteY1632" fmla="*/ 2256 h 10000"/>
                <a:gd name="connsiteX1633" fmla="*/ 3507 w 10820"/>
                <a:gd name="connsiteY1633" fmla="*/ 2308 h 10000"/>
                <a:gd name="connsiteX1634" fmla="*/ 3512 w 10820"/>
                <a:gd name="connsiteY1634" fmla="*/ 2325 h 10000"/>
                <a:gd name="connsiteX1635" fmla="*/ 3507 w 10820"/>
                <a:gd name="connsiteY1635" fmla="*/ 2333 h 10000"/>
                <a:gd name="connsiteX1636" fmla="*/ 3507 w 10820"/>
                <a:gd name="connsiteY1636" fmla="*/ 2359 h 10000"/>
                <a:gd name="connsiteX1637" fmla="*/ 3507 w 10820"/>
                <a:gd name="connsiteY1637" fmla="*/ 2376 h 10000"/>
                <a:gd name="connsiteX1638" fmla="*/ 3498 w 10820"/>
                <a:gd name="connsiteY1638" fmla="*/ 2410 h 10000"/>
                <a:gd name="connsiteX1639" fmla="*/ 3498 w 10820"/>
                <a:gd name="connsiteY1639" fmla="*/ 2436 h 10000"/>
                <a:gd name="connsiteX1640" fmla="*/ 3507 w 10820"/>
                <a:gd name="connsiteY1640" fmla="*/ 2462 h 10000"/>
                <a:gd name="connsiteX1641" fmla="*/ 3507 w 10820"/>
                <a:gd name="connsiteY1641" fmla="*/ 2496 h 10000"/>
                <a:gd name="connsiteX1642" fmla="*/ 3512 w 10820"/>
                <a:gd name="connsiteY1642" fmla="*/ 2521 h 10000"/>
                <a:gd name="connsiteX1643" fmla="*/ 3525 w 10820"/>
                <a:gd name="connsiteY1643" fmla="*/ 2556 h 10000"/>
                <a:gd name="connsiteX1644" fmla="*/ 3571 w 10820"/>
                <a:gd name="connsiteY1644" fmla="*/ 2573 h 10000"/>
                <a:gd name="connsiteX1645" fmla="*/ 3590 w 10820"/>
                <a:gd name="connsiteY1645" fmla="*/ 2598 h 10000"/>
                <a:gd name="connsiteX1646" fmla="*/ 3599 w 10820"/>
                <a:gd name="connsiteY1646" fmla="*/ 2598 h 10000"/>
                <a:gd name="connsiteX1647" fmla="*/ 3604 w 10820"/>
                <a:gd name="connsiteY1647" fmla="*/ 2632 h 10000"/>
                <a:gd name="connsiteX1648" fmla="*/ 3599 w 10820"/>
                <a:gd name="connsiteY1648" fmla="*/ 2658 h 10000"/>
                <a:gd name="connsiteX1649" fmla="*/ 3590 w 10820"/>
                <a:gd name="connsiteY1649" fmla="*/ 2667 h 10000"/>
                <a:gd name="connsiteX1650" fmla="*/ 3604 w 10820"/>
                <a:gd name="connsiteY1650" fmla="*/ 2667 h 10000"/>
                <a:gd name="connsiteX1651" fmla="*/ 3613 w 10820"/>
                <a:gd name="connsiteY1651" fmla="*/ 2692 h 10000"/>
                <a:gd name="connsiteX1652" fmla="*/ 3627 w 10820"/>
                <a:gd name="connsiteY1652" fmla="*/ 2735 h 10000"/>
                <a:gd name="connsiteX1653" fmla="*/ 3631 w 10820"/>
                <a:gd name="connsiteY1653" fmla="*/ 2744 h 10000"/>
                <a:gd name="connsiteX1654" fmla="*/ 3659 w 10820"/>
                <a:gd name="connsiteY1654" fmla="*/ 2761 h 10000"/>
                <a:gd name="connsiteX1655" fmla="*/ 3673 w 10820"/>
                <a:gd name="connsiteY1655" fmla="*/ 2769 h 10000"/>
                <a:gd name="connsiteX1656" fmla="*/ 3673 w 10820"/>
                <a:gd name="connsiteY1656" fmla="*/ 2761 h 10000"/>
                <a:gd name="connsiteX1657" fmla="*/ 3687 w 10820"/>
                <a:gd name="connsiteY1657" fmla="*/ 2829 h 10000"/>
                <a:gd name="connsiteX1658" fmla="*/ 3677 w 10820"/>
                <a:gd name="connsiteY1658" fmla="*/ 2897 h 10000"/>
                <a:gd name="connsiteX1659" fmla="*/ 3673 w 10820"/>
                <a:gd name="connsiteY1659" fmla="*/ 2915 h 10000"/>
                <a:gd name="connsiteX1660" fmla="*/ 3664 w 10820"/>
                <a:gd name="connsiteY1660" fmla="*/ 2957 h 10000"/>
                <a:gd name="connsiteX1661" fmla="*/ 3659 w 10820"/>
                <a:gd name="connsiteY1661" fmla="*/ 2983 h 10000"/>
                <a:gd name="connsiteX1662" fmla="*/ 3664 w 10820"/>
                <a:gd name="connsiteY1662" fmla="*/ 3017 h 10000"/>
                <a:gd name="connsiteX1663" fmla="*/ 3659 w 10820"/>
                <a:gd name="connsiteY1663" fmla="*/ 3043 h 10000"/>
                <a:gd name="connsiteX1664" fmla="*/ 3677 w 10820"/>
                <a:gd name="connsiteY1664" fmla="*/ 3094 h 10000"/>
                <a:gd name="connsiteX1665" fmla="*/ 3691 w 10820"/>
                <a:gd name="connsiteY1665" fmla="*/ 3282 h 10000"/>
                <a:gd name="connsiteX1666" fmla="*/ 3691 w 10820"/>
                <a:gd name="connsiteY1666" fmla="*/ 3308 h 10000"/>
                <a:gd name="connsiteX1667" fmla="*/ 3677 w 10820"/>
                <a:gd name="connsiteY1667" fmla="*/ 3342 h 10000"/>
                <a:gd name="connsiteX1668" fmla="*/ 3664 w 10820"/>
                <a:gd name="connsiteY1668" fmla="*/ 3342 h 10000"/>
                <a:gd name="connsiteX1669" fmla="*/ 3650 w 10820"/>
                <a:gd name="connsiteY1669" fmla="*/ 3342 h 10000"/>
                <a:gd name="connsiteX1670" fmla="*/ 3650 w 10820"/>
                <a:gd name="connsiteY1670" fmla="*/ 3350 h 10000"/>
                <a:gd name="connsiteX1671" fmla="*/ 3659 w 10820"/>
                <a:gd name="connsiteY1671" fmla="*/ 3402 h 10000"/>
                <a:gd name="connsiteX1672" fmla="*/ 3659 w 10820"/>
                <a:gd name="connsiteY1672" fmla="*/ 3419 h 10000"/>
                <a:gd name="connsiteX1673" fmla="*/ 3631 w 10820"/>
                <a:gd name="connsiteY1673" fmla="*/ 3402 h 10000"/>
                <a:gd name="connsiteX1674" fmla="*/ 3604 w 10820"/>
                <a:gd name="connsiteY1674" fmla="*/ 3393 h 10000"/>
                <a:gd name="connsiteX1675" fmla="*/ 3599 w 10820"/>
                <a:gd name="connsiteY1675" fmla="*/ 3368 h 10000"/>
                <a:gd name="connsiteX1676" fmla="*/ 3590 w 10820"/>
                <a:gd name="connsiteY1676" fmla="*/ 3239 h 10000"/>
                <a:gd name="connsiteX1677" fmla="*/ 3599 w 10820"/>
                <a:gd name="connsiteY1677" fmla="*/ 3179 h 10000"/>
                <a:gd name="connsiteX1678" fmla="*/ 3599 w 10820"/>
                <a:gd name="connsiteY1678" fmla="*/ 3171 h 10000"/>
                <a:gd name="connsiteX1679" fmla="*/ 3599 w 10820"/>
                <a:gd name="connsiteY1679" fmla="*/ 3009 h 10000"/>
                <a:gd name="connsiteX1680" fmla="*/ 3604 w 10820"/>
                <a:gd name="connsiteY1680" fmla="*/ 2983 h 10000"/>
                <a:gd name="connsiteX1681" fmla="*/ 3645 w 10820"/>
                <a:gd name="connsiteY1681" fmla="*/ 2932 h 10000"/>
                <a:gd name="connsiteX1682" fmla="*/ 3650 w 10820"/>
                <a:gd name="connsiteY1682" fmla="*/ 2872 h 10000"/>
                <a:gd name="connsiteX1683" fmla="*/ 3659 w 10820"/>
                <a:gd name="connsiteY1683" fmla="*/ 2855 h 10000"/>
                <a:gd name="connsiteX1684" fmla="*/ 3659 w 10820"/>
                <a:gd name="connsiteY1684" fmla="*/ 2821 h 10000"/>
                <a:gd name="connsiteX1685" fmla="*/ 3631 w 10820"/>
                <a:gd name="connsiteY1685" fmla="*/ 2795 h 10000"/>
                <a:gd name="connsiteX1686" fmla="*/ 3567 w 10820"/>
                <a:gd name="connsiteY1686" fmla="*/ 2821 h 10000"/>
                <a:gd name="connsiteX1687" fmla="*/ 3544 w 10820"/>
                <a:gd name="connsiteY1687" fmla="*/ 2795 h 10000"/>
                <a:gd name="connsiteX1688" fmla="*/ 3530 w 10820"/>
                <a:gd name="connsiteY1688" fmla="*/ 2769 h 10000"/>
                <a:gd name="connsiteX1689" fmla="*/ 3530 w 10820"/>
                <a:gd name="connsiteY1689" fmla="*/ 2786 h 10000"/>
                <a:gd name="connsiteX1690" fmla="*/ 3498 w 10820"/>
                <a:gd name="connsiteY1690" fmla="*/ 2692 h 10000"/>
                <a:gd name="connsiteX1691" fmla="*/ 3498 w 10820"/>
                <a:gd name="connsiteY1691" fmla="*/ 2667 h 10000"/>
                <a:gd name="connsiteX1692" fmla="*/ 3442 w 10820"/>
                <a:gd name="connsiteY1692" fmla="*/ 2607 h 10000"/>
                <a:gd name="connsiteX1693" fmla="*/ 3433 w 10820"/>
                <a:gd name="connsiteY1693" fmla="*/ 2581 h 10000"/>
                <a:gd name="connsiteX1694" fmla="*/ 3396 w 10820"/>
                <a:gd name="connsiteY1694" fmla="*/ 2556 h 10000"/>
                <a:gd name="connsiteX1695" fmla="*/ 3318 w 10820"/>
                <a:gd name="connsiteY1695" fmla="*/ 2556 h 10000"/>
                <a:gd name="connsiteX1696" fmla="*/ 3304 w 10820"/>
                <a:gd name="connsiteY1696" fmla="*/ 2607 h 10000"/>
                <a:gd name="connsiteX1697" fmla="*/ 3276 w 10820"/>
                <a:gd name="connsiteY1697" fmla="*/ 2632 h 10000"/>
                <a:gd name="connsiteX1698" fmla="*/ 3272 w 10820"/>
                <a:gd name="connsiteY1698" fmla="*/ 2667 h 10000"/>
                <a:gd name="connsiteX1699" fmla="*/ 3304 w 10820"/>
                <a:gd name="connsiteY1699" fmla="*/ 2667 h 10000"/>
                <a:gd name="connsiteX1700" fmla="*/ 3323 w 10820"/>
                <a:gd name="connsiteY1700" fmla="*/ 2692 h 10000"/>
                <a:gd name="connsiteX1701" fmla="*/ 3318 w 10820"/>
                <a:gd name="connsiteY1701" fmla="*/ 2735 h 10000"/>
                <a:gd name="connsiteX1702" fmla="*/ 3304 w 10820"/>
                <a:gd name="connsiteY1702" fmla="*/ 2761 h 10000"/>
                <a:gd name="connsiteX1703" fmla="*/ 3276 w 10820"/>
                <a:gd name="connsiteY1703" fmla="*/ 2769 h 10000"/>
                <a:gd name="connsiteX1704" fmla="*/ 3263 w 10820"/>
                <a:gd name="connsiteY1704" fmla="*/ 2795 h 10000"/>
                <a:gd name="connsiteX1705" fmla="*/ 3235 w 10820"/>
                <a:gd name="connsiteY1705" fmla="*/ 2803 h 10000"/>
                <a:gd name="connsiteX1706" fmla="*/ 3235 w 10820"/>
                <a:gd name="connsiteY1706" fmla="*/ 2786 h 10000"/>
                <a:gd name="connsiteX1707" fmla="*/ 3212 w 10820"/>
                <a:gd name="connsiteY1707" fmla="*/ 2709 h 10000"/>
                <a:gd name="connsiteX1708" fmla="*/ 3198 w 10820"/>
                <a:gd name="connsiteY1708" fmla="*/ 2709 h 10000"/>
                <a:gd name="connsiteX1709" fmla="*/ 3184 w 10820"/>
                <a:gd name="connsiteY1709" fmla="*/ 2735 h 10000"/>
                <a:gd name="connsiteX1710" fmla="*/ 3189 w 10820"/>
                <a:gd name="connsiteY1710" fmla="*/ 2761 h 10000"/>
                <a:gd name="connsiteX1711" fmla="*/ 3203 w 10820"/>
                <a:gd name="connsiteY1711" fmla="*/ 2855 h 10000"/>
                <a:gd name="connsiteX1712" fmla="*/ 3212 w 10820"/>
                <a:gd name="connsiteY1712" fmla="*/ 2872 h 10000"/>
                <a:gd name="connsiteX1713" fmla="*/ 3235 w 10820"/>
                <a:gd name="connsiteY1713" fmla="*/ 2906 h 10000"/>
                <a:gd name="connsiteX1714" fmla="*/ 3258 w 10820"/>
                <a:gd name="connsiteY1714" fmla="*/ 2915 h 10000"/>
                <a:gd name="connsiteX1715" fmla="*/ 3272 w 10820"/>
                <a:gd name="connsiteY1715" fmla="*/ 2957 h 10000"/>
                <a:gd name="connsiteX1716" fmla="*/ 3276 w 10820"/>
                <a:gd name="connsiteY1716" fmla="*/ 2957 h 10000"/>
                <a:gd name="connsiteX1717" fmla="*/ 3286 w 10820"/>
                <a:gd name="connsiteY1717" fmla="*/ 2966 h 10000"/>
                <a:gd name="connsiteX1718" fmla="*/ 3300 w 10820"/>
                <a:gd name="connsiteY1718" fmla="*/ 2957 h 10000"/>
                <a:gd name="connsiteX1719" fmla="*/ 3309 w 10820"/>
                <a:gd name="connsiteY1719" fmla="*/ 2932 h 10000"/>
                <a:gd name="connsiteX1720" fmla="*/ 3304 w 10820"/>
                <a:gd name="connsiteY1720" fmla="*/ 2966 h 10000"/>
                <a:gd name="connsiteX1721" fmla="*/ 3309 w 10820"/>
                <a:gd name="connsiteY1721" fmla="*/ 2983 h 10000"/>
                <a:gd name="connsiteX1722" fmla="*/ 3323 w 10820"/>
                <a:gd name="connsiteY1722" fmla="*/ 2966 h 10000"/>
                <a:gd name="connsiteX1723" fmla="*/ 3323 w 10820"/>
                <a:gd name="connsiteY1723" fmla="*/ 3043 h 10000"/>
                <a:gd name="connsiteX1724" fmla="*/ 3346 w 10820"/>
                <a:gd name="connsiteY1724" fmla="*/ 3068 h 10000"/>
                <a:gd name="connsiteX1725" fmla="*/ 3346 w 10820"/>
                <a:gd name="connsiteY1725" fmla="*/ 3094 h 10000"/>
                <a:gd name="connsiteX1726" fmla="*/ 3323 w 10820"/>
                <a:gd name="connsiteY1726" fmla="*/ 3094 h 10000"/>
                <a:gd name="connsiteX1727" fmla="*/ 3309 w 10820"/>
                <a:gd name="connsiteY1727" fmla="*/ 3077 h 10000"/>
                <a:gd name="connsiteX1728" fmla="*/ 3304 w 10820"/>
                <a:gd name="connsiteY1728" fmla="*/ 3051 h 10000"/>
                <a:gd name="connsiteX1729" fmla="*/ 3300 w 10820"/>
                <a:gd name="connsiteY1729" fmla="*/ 3043 h 10000"/>
                <a:gd name="connsiteX1730" fmla="*/ 3286 w 10820"/>
                <a:gd name="connsiteY1730" fmla="*/ 3017 h 10000"/>
                <a:gd name="connsiteX1731" fmla="*/ 3152 w 10820"/>
                <a:gd name="connsiteY1731" fmla="*/ 2966 h 10000"/>
                <a:gd name="connsiteX1732" fmla="*/ 3129 w 10820"/>
                <a:gd name="connsiteY1732" fmla="*/ 2915 h 10000"/>
                <a:gd name="connsiteX1733" fmla="*/ 3129 w 10820"/>
                <a:gd name="connsiteY1733" fmla="*/ 2906 h 10000"/>
                <a:gd name="connsiteX1734" fmla="*/ 3152 w 10820"/>
                <a:gd name="connsiteY1734" fmla="*/ 2906 h 10000"/>
                <a:gd name="connsiteX1735" fmla="*/ 3152 w 10820"/>
                <a:gd name="connsiteY1735" fmla="*/ 2846 h 10000"/>
                <a:gd name="connsiteX1736" fmla="*/ 3138 w 10820"/>
                <a:gd name="connsiteY1736" fmla="*/ 2795 h 10000"/>
                <a:gd name="connsiteX1737" fmla="*/ 3138 w 10820"/>
                <a:gd name="connsiteY1737" fmla="*/ 2769 h 10000"/>
                <a:gd name="connsiteX1738" fmla="*/ 3143 w 10820"/>
                <a:gd name="connsiteY1738" fmla="*/ 2718 h 10000"/>
                <a:gd name="connsiteX1739" fmla="*/ 3129 w 10820"/>
                <a:gd name="connsiteY1739" fmla="*/ 2692 h 10000"/>
                <a:gd name="connsiteX1740" fmla="*/ 3143 w 10820"/>
                <a:gd name="connsiteY1740" fmla="*/ 2667 h 10000"/>
                <a:gd name="connsiteX1741" fmla="*/ 3157 w 10820"/>
                <a:gd name="connsiteY1741" fmla="*/ 2581 h 10000"/>
                <a:gd name="connsiteX1742" fmla="*/ 3143 w 10820"/>
                <a:gd name="connsiteY1742" fmla="*/ 2496 h 10000"/>
                <a:gd name="connsiteX1743" fmla="*/ 3157 w 10820"/>
                <a:gd name="connsiteY1743" fmla="*/ 2487 h 10000"/>
                <a:gd name="connsiteX1744" fmla="*/ 3143 w 10820"/>
                <a:gd name="connsiteY1744" fmla="*/ 2444 h 10000"/>
                <a:gd name="connsiteX1745" fmla="*/ 3143 w 10820"/>
                <a:gd name="connsiteY1745" fmla="*/ 2419 h 10000"/>
                <a:gd name="connsiteX1746" fmla="*/ 3143 w 10820"/>
                <a:gd name="connsiteY1746" fmla="*/ 2410 h 10000"/>
                <a:gd name="connsiteX1747" fmla="*/ 3124 w 10820"/>
                <a:gd name="connsiteY1747" fmla="*/ 2376 h 10000"/>
                <a:gd name="connsiteX1748" fmla="*/ 3115 w 10820"/>
                <a:gd name="connsiteY1748" fmla="*/ 2350 h 10000"/>
                <a:gd name="connsiteX1749" fmla="*/ 3101 w 10820"/>
                <a:gd name="connsiteY1749" fmla="*/ 2359 h 10000"/>
                <a:gd name="connsiteX1750" fmla="*/ 3115 w 10820"/>
                <a:gd name="connsiteY1750" fmla="*/ 2581 h 10000"/>
                <a:gd name="connsiteX1751" fmla="*/ 3111 w 10820"/>
                <a:gd name="connsiteY1751" fmla="*/ 2624 h 10000"/>
                <a:gd name="connsiteX1752" fmla="*/ 3009 w 10820"/>
                <a:gd name="connsiteY1752" fmla="*/ 2761 h 10000"/>
                <a:gd name="connsiteX1753" fmla="*/ 3009 w 10820"/>
                <a:gd name="connsiteY1753" fmla="*/ 2803 h 10000"/>
                <a:gd name="connsiteX1754" fmla="*/ 3005 w 10820"/>
                <a:gd name="connsiteY1754" fmla="*/ 2829 h 10000"/>
                <a:gd name="connsiteX1755" fmla="*/ 2982 w 10820"/>
                <a:gd name="connsiteY1755" fmla="*/ 2872 h 10000"/>
                <a:gd name="connsiteX1756" fmla="*/ 2982 w 10820"/>
                <a:gd name="connsiteY1756" fmla="*/ 2880 h 10000"/>
                <a:gd name="connsiteX1757" fmla="*/ 3037 w 10820"/>
                <a:gd name="connsiteY1757" fmla="*/ 3034 h 10000"/>
                <a:gd name="connsiteX1758" fmla="*/ 3041 w 10820"/>
                <a:gd name="connsiteY1758" fmla="*/ 3103 h 10000"/>
                <a:gd name="connsiteX1759" fmla="*/ 3069 w 10820"/>
                <a:gd name="connsiteY1759" fmla="*/ 3188 h 10000"/>
                <a:gd name="connsiteX1760" fmla="*/ 3055 w 10820"/>
                <a:gd name="connsiteY1760" fmla="*/ 3325 h 10000"/>
                <a:gd name="connsiteX1761" fmla="*/ 3037 w 10820"/>
                <a:gd name="connsiteY1761" fmla="*/ 3368 h 10000"/>
                <a:gd name="connsiteX1762" fmla="*/ 3037 w 10820"/>
                <a:gd name="connsiteY1762" fmla="*/ 3444 h 10000"/>
                <a:gd name="connsiteX1763" fmla="*/ 3028 w 10820"/>
                <a:gd name="connsiteY1763" fmla="*/ 3453 h 10000"/>
                <a:gd name="connsiteX1764" fmla="*/ 3023 w 10820"/>
                <a:gd name="connsiteY1764" fmla="*/ 3530 h 10000"/>
                <a:gd name="connsiteX1765" fmla="*/ 3051 w 10820"/>
                <a:gd name="connsiteY1765" fmla="*/ 3624 h 10000"/>
                <a:gd name="connsiteX1766" fmla="*/ 3037 w 10820"/>
                <a:gd name="connsiteY1766" fmla="*/ 3718 h 10000"/>
                <a:gd name="connsiteX1767" fmla="*/ 3041 w 10820"/>
                <a:gd name="connsiteY1767" fmla="*/ 3752 h 10000"/>
                <a:gd name="connsiteX1768" fmla="*/ 3055 w 10820"/>
                <a:gd name="connsiteY1768" fmla="*/ 3761 h 10000"/>
                <a:gd name="connsiteX1769" fmla="*/ 3078 w 10820"/>
                <a:gd name="connsiteY1769" fmla="*/ 3752 h 10000"/>
                <a:gd name="connsiteX1770" fmla="*/ 3092 w 10820"/>
                <a:gd name="connsiteY1770" fmla="*/ 3752 h 10000"/>
                <a:gd name="connsiteX1771" fmla="*/ 3129 w 10820"/>
                <a:gd name="connsiteY1771" fmla="*/ 3761 h 10000"/>
                <a:gd name="connsiteX1772" fmla="*/ 3129 w 10820"/>
                <a:gd name="connsiteY1772" fmla="*/ 3735 h 10000"/>
                <a:gd name="connsiteX1773" fmla="*/ 3157 w 10820"/>
                <a:gd name="connsiteY1773" fmla="*/ 3718 h 10000"/>
                <a:gd name="connsiteX1774" fmla="*/ 3184 w 10820"/>
                <a:gd name="connsiteY1774" fmla="*/ 3718 h 10000"/>
                <a:gd name="connsiteX1775" fmla="*/ 3290 w 10820"/>
                <a:gd name="connsiteY1775" fmla="*/ 3838 h 10000"/>
                <a:gd name="connsiteX1776" fmla="*/ 3300 w 10820"/>
                <a:gd name="connsiteY1776" fmla="*/ 3846 h 10000"/>
                <a:gd name="connsiteX1777" fmla="*/ 3300 w 10820"/>
                <a:gd name="connsiteY1777" fmla="*/ 3915 h 10000"/>
                <a:gd name="connsiteX1778" fmla="*/ 3318 w 10820"/>
                <a:gd name="connsiteY1778" fmla="*/ 4000 h 10000"/>
                <a:gd name="connsiteX1779" fmla="*/ 3323 w 10820"/>
                <a:gd name="connsiteY1779" fmla="*/ 4000 h 10000"/>
                <a:gd name="connsiteX1780" fmla="*/ 3323 w 10820"/>
                <a:gd name="connsiteY1780" fmla="*/ 4034 h 10000"/>
                <a:gd name="connsiteX1781" fmla="*/ 3318 w 10820"/>
                <a:gd name="connsiteY1781" fmla="*/ 4051 h 10000"/>
                <a:gd name="connsiteX1782" fmla="*/ 3300 w 10820"/>
                <a:gd name="connsiteY1782" fmla="*/ 4051 h 10000"/>
                <a:gd name="connsiteX1783" fmla="*/ 3290 w 10820"/>
                <a:gd name="connsiteY1783" fmla="*/ 4077 h 10000"/>
                <a:gd name="connsiteX1784" fmla="*/ 3286 w 10820"/>
                <a:gd name="connsiteY1784" fmla="*/ 4103 h 10000"/>
                <a:gd name="connsiteX1785" fmla="*/ 3286 w 10820"/>
                <a:gd name="connsiteY1785" fmla="*/ 4197 h 10000"/>
                <a:gd name="connsiteX1786" fmla="*/ 3290 w 10820"/>
                <a:gd name="connsiteY1786" fmla="*/ 4214 h 10000"/>
                <a:gd name="connsiteX1787" fmla="*/ 3304 w 10820"/>
                <a:gd name="connsiteY1787" fmla="*/ 4214 h 10000"/>
                <a:gd name="connsiteX1788" fmla="*/ 3323 w 10820"/>
                <a:gd name="connsiteY1788" fmla="*/ 4239 h 10000"/>
                <a:gd name="connsiteX1789" fmla="*/ 3350 w 10820"/>
                <a:gd name="connsiteY1789" fmla="*/ 4222 h 10000"/>
                <a:gd name="connsiteX1790" fmla="*/ 3369 w 10820"/>
                <a:gd name="connsiteY1790" fmla="*/ 4256 h 10000"/>
                <a:gd name="connsiteX1791" fmla="*/ 3369 w 10820"/>
                <a:gd name="connsiteY1791" fmla="*/ 4256 h 10000"/>
                <a:gd name="connsiteX1792" fmla="*/ 3336 w 10820"/>
                <a:gd name="connsiteY1792" fmla="*/ 4274 h 10000"/>
                <a:gd name="connsiteX1793" fmla="*/ 3323 w 10820"/>
                <a:gd name="connsiteY1793" fmla="*/ 4274 h 10000"/>
                <a:gd name="connsiteX1794" fmla="*/ 3290 w 10820"/>
                <a:gd name="connsiteY1794" fmla="*/ 4274 h 10000"/>
                <a:gd name="connsiteX1795" fmla="*/ 3286 w 10820"/>
                <a:gd name="connsiteY1795" fmla="*/ 4239 h 10000"/>
                <a:gd name="connsiteX1796" fmla="*/ 3263 w 10820"/>
                <a:gd name="connsiteY1796" fmla="*/ 4214 h 10000"/>
                <a:gd name="connsiteX1797" fmla="*/ 3258 w 10820"/>
                <a:gd name="connsiteY1797" fmla="*/ 4188 h 10000"/>
                <a:gd name="connsiteX1798" fmla="*/ 3263 w 10820"/>
                <a:gd name="connsiteY1798" fmla="*/ 4171 h 10000"/>
                <a:gd name="connsiteX1799" fmla="*/ 3263 w 10820"/>
                <a:gd name="connsiteY1799" fmla="*/ 4103 h 10000"/>
                <a:gd name="connsiteX1800" fmla="*/ 3276 w 10820"/>
                <a:gd name="connsiteY1800" fmla="*/ 4060 h 10000"/>
                <a:gd name="connsiteX1801" fmla="*/ 3272 w 10820"/>
                <a:gd name="connsiteY1801" fmla="*/ 4051 h 10000"/>
                <a:gd name="connsiteX1802" fmla="*/ 3263 w 10820"/>
                <a:gd name="connsiteY1802" fmla="*/ 4051 h 10000"/>
                <a:gd name="connsiteX1803" fmla="*/ 3263 w 10820"/>
                <a:gd name="connsiteY1803" fmla="*/ 4034 h 10000"/>
                <a:gd name="connsiteX1804" fmla="*/ 3263 w 10820"/>
                <a:gd name="connsiteY1804" fmla="*/ 4000 h 10000"/>
                <a:gd name="connsiteX1805" fmla="*/ 3272 w 10820"/>
                <a:gd name="connsiteY1805" fmla="*/ 4000 h 10000"/>
                <a:gd name="connsiteX1806" fmla="*/ 3272 w 10820"/>
                <a:gd name="connsiteY1806" fmla="*/ 3974 h 10000"/>
                <a:gd name="connsiteX1807" fmla="*/ 3272 w 10820"/>
                <a:gd name="connsiteY1807" fmla="*/ 3966 h 10000"/>
                <a:gd name="connsiteX1808" fmla="*/ 3272 w 10820"/>
                <a:gd name="connsiteY1808" fmla="*/ 3949 h 10000"/>
                <a:gd name="connsiteX1809" fmla="*/ 3258 w 10820"/>
                <a:gd name="connsiteY1809" fmla="*/ 3923 h 10000"/>
                <a:gd name="connsiteX1810" fmla="*/ 3249 w 10820"/>
                <a:gd name="connsiteY1810" fmla="*/ 3915 h 10000"/>
                <a:gd name="connsiteX1811" fmla="*/ 3244 w 10820"/>
                <a:gd name="connsiteY1811" fmla="*/ 3897 h 10000"/>
                <a:gd name="connsiteX1812" fmla="*/ 3230 w 10820"/>
                <a:gd name="connsiteY1812" fmla="*/ 3889 h 10000"/>
                <a:gd name="connsiteX1813" fmla="*/ 3230 w 10820"/>
                <a:gd name="connsiteY1813" fmla="*/ 3863 h 10000"/>
                <a:gd name="connsiteX1814" fmla="*/ 3230 w 10820"/>
                <a:gd name="connsiteY1814" fmla="*/ 3838 h 10000"/>
                <a:gd name="connsiteX1815" fmla="*/ 3226 w 10820"/>
                <a:gd name="connsiteY1815" fmla="*/ 3803 h 10000"/>
                <a:gd name="connsiteX1816" fmla="*/ 3138 w 10820"/>
                <a:gd name="connsiteY1816" fmla="*/ 3838 h 10000"/>
                <a:gd name="connsiteX1817" fmla="*/ 3078 w 10820"/>
                <a:gd name="connsiteY1817" fmla="*/ 3889 h 10000"/>
                <a:gd name="connsiteX1818" fmla="*/ 3078 w 10820"/>
                <a:gd name="connsiteY1818" fmla="*/ 3940 h 10000"/>
                <a:gd name="connsiteX1819" fmla="*/ 3069 w 10820"/>
                <a:gd name="connsiteY1819" fmla="*/ 3983 h 10000"/>
                <a:gd name="connsiteX1820" fmla="*/ 3069 w 10820"/>
                <a:gd name="connsiteY1820" fmla="*/ 4009 h 10000"/>
                <a:gd name="connsiteX1821" fmla="*/ 3078 w 10820"/>
                <a:gd name="connsiteY1821" fmla="*/ 4026 h 10000"/>
                <a:gd name="connsiteX1822" fmla="*/ 3083 w 10820"/>
                <a:gd name="connsiteY1822" fmla="*/ 4034 h 10000"/>
                <a:gd name="connsiteX1823" fmla="*/ 3092 w 10820"/>
                <a:gd name="connsiteY1823" fmla="*/ 4060 h 10000"/>
                <a:gd name="connsiteX1824" fmla="*/ 3092 w 10820"/>
                <a:gd name="connsiteY1824" fmla="*/ 4077 h 10000"/>
                <a:gd name="connsiteX1825" fmla="*/ 3097 w 10820"/>
                <a:gd name="connsiteY1825" fmla="*/ 4103 h 10000"/>
                <a:gd name="connsiteX1826" fmla="*/ 3101 w 10820"/>
                <a:gd name="connsiteY1826" fmla="*/ 4162 h 10000"/>
                <a:gd name="connsiteX1827" fmla="*/ 3097 w 10820"/>
                <a:gd name="connsiteY1827" fmla="*/ 4222 h 10000"/>
                <a:gd name="connsiteX1828" fmla="*/ 3041 w 10820"/>
                <a:gd name="connsiteY1828" fmla="*/ 4325 h 10000"/>
                <a:gd name="connsiteX1829" fmla="*/ 3037 w 10820"/>
                <a:gd name="connsiteY1829" fmla="*/ 4419 h 10000"/>
                <a:gd name="connsiteX1830" fmla="*/ 3018 w 10820"/>
                <a:gd name="connsiteY1830" fmla="*/ 4470 h 10000"/>
                <a:gd name="connsiteX1831" fmla="*/ 2991 w 10820"/>
                <a:gd name="connsiteY1831" fmla="*/ 4513 h 10000"/>
                <a:gd name="connsiteX1832" fmla="*/ 2977 w 10820"/>
                <a:gd name="connsiteY1832" fmla="*/ 4530 h 10000"/>
                <a:gd name="connsiteX1833" fmla="*/ 2945 w 10820"/>
                <a:gd name="connsiteY1833" fmla="*/ 4556 h 10000"/>
                <a:gd name="connsiteX1834" fmla="*/ 2935 w 10820"/>
                <a:gd name="connsiteY1834" fmla="*/ 4581 h 10000"/>
                <a:gd name="connsiteX1835" fmla="*/ 2949 w 10820"/>
                <a:gd name="connsiteY1835" fmla="*/ 4624 h 10000"/>
                <a:gd name="connsiteX1836" fmla="*/ 2945 w 10820"/>
                <a:gd name="connsiteY1836" fmla="*/ 4658 h 10000"/>
                <a:gd name="connsiteX1837" fmla="*/ 2922 w 10820"/>
                <a:gd name="connsiteY1837" fmla="*/ 4667 h 10000"/>
                <a:gd name="connsiteX1838" fmla="*/ 2876 w 10820"/>
                <a:gd name="connsiteY1838" fmla="*/ 4632 h 10000"/>
                <a:gd name="connsiteX1839" fmla="*/ 2857 w 10820"/>
                <a:gd name="connsiteY1839" fmla="*/ 4632 h 10000"/>
                <a:gd name="connsiteX1840" fmla="*/ 2820 w 10820"/>
                <a:gd name="connsiteY1840" fmla="*/ 4641 h 10000"/>
                <a:gd name="connsiteX1841" fmla="*/ 2797 w 10820"/>
                <a:gd name="connsiteY1841" fmla="*/ 4632 h 10000"/>
                <a:gd name="connsiteX1842" fmla="*/ 2788 w 10820"/>
                <a:gd name="connsiteY1842" fmla="*/ 4624 h 10000"/>
                <a:gd name="connsiteX1843" fmla="*/ 2788 w 10820"/>
                <a:gd name="connsiteY1843" fmla="*/ 4598 h 10000"/>
                <a:gd name="connsiteX1844" fmla="*/ 2797 w 10820"/>
                <a:gd name="connsiteY1844" fmla="*/ 4581 h 10000"/>
                <a:gd name="connsiteX1845" fmla="*/ 2788 w 10820"/>
                <a:gd name="connsiteY1845" fmla="*/ 4530 h 10000"/>
                <a:gd name="connsiteX1846" fmla="*/ 2774 w 10820"/>
                <a:gd name="connsiteY1846" fmla="*/ 4530 h 10000"/>
                <a:gd name="connsiteX1847" fmla="*/ 2770 w 10820"/>
                <a:gd name="connsiteY1847" fmla="*/ 4513 h 10000"/>
                <a:gd name="connsiteX1848" fmla="*/ 2774 w 10820"/>
                <a:gd name="connsiteY1848" fmla="*/ 4513 h 10000"/>
                <a:gd name="connsiteX1849" fmla="*/ 2788 w 10820"/>
                <a:gd name="connsiteY1849" fmla="*/ 4496 h 10000"/>
                <a:gd name="connsiteX1850" fmla="*/ 2802 w 10820"/>
                <a:gd name="connsiteY1850" fmla="*/ 4513 h 10000"/>
                <a:gd name="connsiteX1851" fmla="*/ 2811 w 10820"/>
                <a:gd name="connsiteY1851" fmla="*/ 4530 h 10000"/>
                <a:gd name="connsiteX1852" fmla="*/ 2820 w 10820"/>
                <a:gd name="connsiteY1852" fmla="*/ 4521 h 10000"/>
                <a:gd name="connsiteX1853" fmla="*/ 2829 w 10820"/>
                <a:gd name="connsiteY1853" fmla="*/ 4513 h 10000"/>
                <a:gd name="connsiteX1854" fmla="*/ 2843 w 10820"/>
                <a:gd name="connsiteY1854" fmla="*/ 4513 h 10000"/>
                <a:gd name="connsiteX1855" fmla="*/ 2848 w 10820"/>
                <a:gd name="connsiteY1855" fmla="*/ 4470 h 10000"/>
                <a:gd name="connsiteX1856" fmla="*/ 2862 w 10820"/>
                <a:gd name="connsiteY1856" fmla="*/ 4487 h 10000"/>
                <a:gd name="connsiteX1857" fmla="*/ 2876 w 10820"/>
                <a:gd name="connsiteY1857" fmla="*/ 4470 h 10000"/>
                <a:gd name="connsiteX1858" fmla="*/ 2880 w 10820"/>
                <a:gd name="connsiteY1858" fmla="*/ 4462 h 10000"/>
                <a:gd name="connsiteX1859" fmla="*/ 2889 w 10820"/>
                <a:gd name="connsiteY1859" fmla="*/ 4444 h 10000"/>
                <a:gd name="connsiteX1860" fmla="*/ 2894 w 10820"/>
                <a:gd name="connsiteY1860" fmla="*/ 4462 h 10000"/>
                <a:gd name="connsiteX1861" fmla="*/ 2917 w 10820"/>
                <a:gd name="connsiteY1861" fmla="*/ 4444 h 10000"/>
                <a:gd name="connsiteX1862" fmla="*/ 2922 w 10820"/>
                <a:gd name="connsiteY1862" fmla="*/ 4436 h 10000"/>
                <a:gd name="connsiteX1863" fmla="*/ 2917 w 10820"/>
                <a:gd name="connsiteY1863" fmla="*/ 4410 h 10000"/>
                <a:gd name="connsiteX1864" fmla="*/ 2894 w 10820"/>
                <a:gd name="connsiteY1864" fmla="*/ 4410 h 10000"/>
                <a:gd name="connsiteX1865" fmla="*/ 2889 w 10820"/>
                <a:gd name="connsiteY1865" fmla="*/ 4419 h 10000"/>
                <a:gd name="connsiteX1866" fmla="*/ 2876 w 10820"/>
                <a:gd name="connsiteY1866" fmla="*/ 4410 h 10000"/>
                <a:gd name="connsiteX1867" fmla="*/ 2880 w 10820"/>
                <a:gd name="connsiteY1867" fmla="*/ 4376 h 10000"/>
                <a:gd name="connsiteX1868" fmla="*/ 2903 w 10820"/>
                <a:gd name="connsiteY1868" fmla="*/ 4393 h 10000"/>
                <a:gd name="connsiteX1869" fmla="*/ 2931 w 10820"/>
                <a:gd name="connsiteY1869" fmla="*/ 4393 h 10000"/>
                <a:gd name="connsiteX1870" fmla="*/ 2931 w 10820"/>
                <a:gd name="connsiteY1870" fmla="*/ 4385 h 10000"/>
                <a:gd name="connsiteX1871" fmla="*/ 2931 w 10820"/>
                <a:gd name="connsiteY1871" fmla="*/ 4350 h 10000"/>
                <a:gd name="connsiteX1872" fmla="*/ 2945 w 10820"/>
                <a:gd name="connsiteY1872" fmla="*/ 4350 h 10000"/>
                <a:gd name="connsiteX1873" fmla="*/ 2949 w 10820"/>
                <a:gd name="connsiteY1873" fmla="*/ 4325 h 10000"/>
                <a:gd name="connsiteX1874" fmla="*/ 2963 w 10820"/>
                <a:gd name="connsiteY1874" fmla="*/ 4256 h 10000"/>
                <a:gd name="connsiteX1875" fmla="*/ 2982 w 10820"/>
                <a:gd name="connsiteY1875" fmla="*/ 4239 h 10000"/>
                <a:gd name="connsiteX1876" fmla="*/ 2991 w 10820"/>
                <a:gd name="connsiteY1876" fmla="*/ 4214 h 10000"/>
                <a:gd name="connsiteX1877" fmla="*/ 2991 w 10820"/>
                <a:gd name="connsiteY1877" fmla="*/ 4197 h 10000"/>
                <a:gd name="connsiteX1878" fmla="*/ 2995 w 10820"/>
                <a:gd name="connsiteY1878" fmla="*/ 4171 h 10000"/>
                <a:gd name="connsiteX1879" fmla="*/ 2991 w 10820"/>
                <a:gd name="connsiteY1879" fmla="*/ 4077 h 10000"/>
                <a:gd name="connsiteX1880" fmla="*/ 2995 w 10820"/>
                <a:gd name="connsiteY1880" fmla="*/ 4034 h 10000"/>
                <a:gd name="connsiteX1881" fmla="*/ 3018 w 10820"/>
                <a:gd name="connsiteY1881" fmla="*/ 3983 h 10000"/>
                <a:gd name="connsiteX1882" fmla="*/ 3018 w 10820"/>
                <a:gd name="connsiteY1882" fmla="*/ 3915 h 10000"/>
                <a:gd name="connsiteX1883" fmla="*/ 2949 w 10820"/>
                <a:gd name="connsiteY1883" fmla="*/ 3778 h 10000"/>
                <a:gd name="connsiteX1884" fmla="*/ 2954 w 10820"/>
                <a:gd name="connsiteY1884" fmla="*/ 3675 h 10000"/>
                <a:gd name="connsiteX1885" fmla="*/ 2954 w 10820"/>
                <a:gd name="connsiteY1885" fmla="*/ 3650 h 10000"/>
                <a:gd name="connsiteX1886" fmla="*/ 2963 w 10820"/>
                <a:gd name="connsiteY1886" fmla="*/ 3624 h 10000"/>
                <a:gd name="connsiteX1887" fmla="*/ 2954 w 10820"/>
                <a:gd name="connsiteY1887" fmla="*/ 3564 h 10000"/>
                <a:gd name="connsiteX1888" fmla="*/ 2963 w 10820"/>
                <a:gd name="connsiteY1888" fmla="*/ 3538 h 10000"/>
                <a:gd name="connsiteX1889" fmla="*/ 2963 w 10820"/>
                <a:gd name="connsiteY1889" fmla="*/ 3487 h 10000"/>
                <a:gd name="connsiteX1890" fmla="*/ 2963 w 10820"/>
                <a:gd name="connsiteY1890" fmla="*/ 3479 h 10000"/>
                <a:gd name="connsiteX1891" fmla="*/ 2963 w 10820"/>
                <a:gd name="connsiteY1891" fmla="*/ 3462 h 10000"/>
                <a:gd name="connsiteX1892" fmla="*/ 2954 w 10820"/>
                <a:gd name="connsiteY1892" fmla="*/ 3453 h 10000"/>
                <a:gd name="connsiteX1893" fmla="*/ 2954 w 10820"/>
                <a:gd name="connsiteY1893" fmla="*/ 3444 h 10000"/>
                <a:gd name="connsiteX1894" fmla="*/ 2954 w 10820"/>
                <a:gd name="connsiteY1894" fmla="*/ 3402 h 10000"/>
                <a:gd name="connsiteX1895" fmla="*/ 2954 w 10820"/>
                <a:gd name="connsiteY1895" fmla="*/ 3393 h 10000"/>
                <a:gd name="connsiteX1896" fmla="*/ 2949 w 10820"/>
                <a:gd name="connsiteY1896" fmla="*/ 3376 h 10000"/>
                <a:gd name="connsiteX1897" fmla="*/ 2949 w 10820"/>
                <a:gd name="connsiteY1897" fmla="*/ 3342 h 10000"/>
                <a:gd name="connsiteX1898" fmla="*/ 2949 w 10820"/>
                <a:gd name="connsiteY1898" fmla="*/ 3316 h 10000"/>
                <a:gd name="connsiteX1899" fmla="*/ 2968 w 10820"/>
                <a:gd name="connsiteY1899" fmla="*/ 3291 h 10000"/>
                <a:gd name="connsiteX1900" fmla="*/ 2963 w 10820"/>
                <a:gd name="connsiteY1900" fmla="*/ 3205 h 10000"/>
                <a:gd name="connsiteX1901" fmla="*/ 2968 w 10820"/>
                <a:gd name="connsiteY1901" fmla="*/ 3171 h 10000"/>
                <a:gd name="connsiteX1902" fmla="*/ 2968 w 10820"/>
                <a:gd name="connsiteY1902" fmla="*/ 3128 h 10000"/>
                <a:gd name="connsiteX1903" fmla="*/ 2954 w 10820"/>
                <a:gd name="connsiteY1903" fmla="*/ 3051 h 10000"/>
                <a:gd name="connsiteX1904" fmla="*/ 2954 w 10820"/>
                <a:gd name="connsiteY1904" fmla="*/ 3009 h 10000"/>
                <a:gd name="connsiteX1905" fmla="*/ 2922 w 10820"/>
                <a:gd name="connsiteY1905" fmla="*/ 2940 h 10000"/>
                <a:gd name="connsiteX1906" fmla="*/ 2903 w 10820"/>
                <a:gd name="connsiteY1906" fmla="*/ 2880 h 10000"/>
                <a:gd name="connsiteX1907" fmla="*/ 2903 w 10820"/>
                <a:gd name="connsiteY1907" fmla="*/ 2855 h 10000"/>
                <a:gd name="connsiteX1908" fmla="*/ 2908 w 10820"/>
                <a:gd name="connsiteY1908" fmla="*/ 2846 h 10000"/>
                <a:gd name="connsiteX1909" fmla="*/ 2931 w 10820"/>
                <a:gd name="connsiteY1909" fmla="*/ 2821 h 10000"/>
                <a:gd name="connsiteX1910" fmla="*/ 2931 w 10820"/>
                <a:gd name="connsiteY1910" fmla="*/ 2803 h 10000"/>
                <a:gd name="connsiteX1911" fmla="*/ 2935 w 10820"/>
                <a:gd name="connsiteY1911" fmla="*/ 2786 h 10000"/>
                <a:gd name="connsiteX1912" fmla="*/ 2935 w 10820"/>
                <a:gd name="connsiteY1912" fmla="*/ 2744 h 10000"/>
                <a:gd name="connsiteX1913" fmla="*/ 2963 w 10820"/>
                <a:gd name="connsiteY1913" fmla="*/ 2607 h 10000"/>
                <a:gd name="connsiteX1914" fmla="*/ 2963 w 10820"/>
                <a:gd name="connsiteY1914" fmla="*/ 2419 h 10000"/>
                <a:gd name="connsiteX1915" fmla="*/ 2954 w 10820"/>
                <a:gd name="connsiteY1915" fmla="*/ 2410 h 10000"/>
                <a:gd name="connsiteX1916" fmla="*/ 2963 w 10820"/>
                <a:gd name="connsiteY1916" fmla="*/ 2393 h 10000"/>
                <a:gd name="connsiteX1917" fmla="*/ 2908 w 10820"/>
                <a:gd name="connsiteY1917" fmla="*/ 2359 h 10000"/>
                <a:gd name="connsiteX1918" fmla="*/ 2889 w 10820"/>
                <a:gd name="connsiteY1918" fmla="*/ 2325 h 10000"/>
                <a:gd name="connsiteX1919" fmla="*/ 2788 w 10820"/>
                <a:gd name="connsiteY1919" fmla="*/ 2333 h 10000"/>
                <a:gd name="connsiteX1920" fmla="*/ 2774 w 10820"/>
                <a:gd name="connsiteY1920" fmla="*/ 2325 h 10000"/>
                <a:gd name="connsiteX1921" fmla="*/ 2783 w 10820"/>
                <a:gd name="connsiteY1921" fmla="*/ 2308 h 10000"/>
                <a:gd name="connsiteX1922" fmla="*/ 2747 w 10820"/>
                <a:gd name="connsiteY1922" fmla="*/ 2308 h 10000"/>
                <a:gd name="connsiteX1923" fmla="*/ 2742 w 10820"/>
                <a:gd name="connsiteY1923" fmla="*/ 2333 h 10000"/>
                <a:gd name="connsiteX1924" fmla="*/ 2682 w 10820"/>
                <a:gd name="connsiteY1924" fmla="*/ 2769 h 10000"/>
                <a:gd name="connsiteX1925" fmla="*/ 2613 w 10820"/>
                <a:gd name="connsiteY1925" fmla="*/ 2940 h 10000"/>
                <a:gd name="connsiteX1926" fmla="*/ 2581 w 10820"/>
                <a:gd name="connsiteY1926" fmla="*/ 2966 h 10000"/>
                <a:gd name="connsiteX1927" fmla="*/ 2576 w 10820"/>
                <a:gd name="connsiteY1927" fmla="*/ 3051 h 10000"/>
                <a:gd name="connsiteX1928" fmla="*/ 2581 w 10820"/>
                <a:gd name="connsiteY1928" fmla="*/ 3051 h 10000"/>
                <a:gd name="connsiteX1929" fmla="*/ 2594 w 10820"/>
                <a:gd name="connsiteY1929" fmla="*/ 3017 h 10000"/>
                <a:gd name="connsiteX1930" fmla="*/ 2594 w 10820"/>
                <a:gd name="connsiteY1930" fmla="*/ 3034 h 10000"/>
                <a:gd name="connsiteX1931" fmla="*/ 2594 w 10820"/>
                <a:gd name="connsiteY1931" fmla="*/ 3051 h 10000"/>
                <a:gd name="connsiteX1932" fmla="*/ 2590 w 10820"/>
                <a:gd name="connsiteY1932" fmla="*/ 3077 h 10000"/>
                <a:gd name="connsiteX1933" fmla="*/ 2567 w 10820"/>
                <a:gd name="connsiteY1933" fmla="*/ 3103 h 10000"/>
                <a:gd name="connsiteX1934" fmla="*/ 2562 w 10820"/>
                <a:gd name="connsiteY1934" fmla="*/ 3145 h 10000"/>
                <a:gd name="connsiteX1935" fmla="*/ 2567 w 10820"/>
                <a:gd name="connsiteY1935" fmla="*/ 3179 h 10000"/>
                <a:gd name="connsiteX1936" fmla="*/ 2590 w 10820"/>
                <a:gd name="connsiteY1936" fmla="*/ 3171 h 10000"/>
                <a:gd name="connsiteX1937" fmla="*/ 2594 w 10820"/>
                <a:gd name="connsiteY1937" fmla="*/ 3145 h 10000"/>
                <a:gd name="connsiteX1938" fmla="*/ 2613 w 10820"/>
                <a:gd name="connsiteY1938" fmla="*/ 3154 h 10000"/>
                <a:gd name="connsiteX1939" fmla="*/ 2622 w 10820"/>
                <a:gd name="connsiteY1939" fmla="*/ 3179 h 10000"/>
                <a:gd name="connsiteX1940" fmla="*/ 2613 w 10820"/>
                <a:gd name="connsiteY1940" fmla="*/ 3214 h 10000"/>
                <a:gd name="connsiteX1941" fmla="*/ 2613 w 10820"/>
                <a:gd name="connsiteY1941" fmla="*/ 3308 h 10000"/>
                <a:gd name="connsiteX1942" fmla="*/ 2608 w 10820"/>
                <a:gd name="connsiteY1942" fmla="*/ 3325 h 10000"/>
                <a:gd name="connsiteX1943" fmla="*/ 2608 w 10820"/>
                <a:gd name="connsiteY1943" fmla="*/ 3376 h 10000"/>
                <a:gd name="connsiteX1944" fmla="*/ 2613 w 10820"/>
                <a:gd name="connsiteY1944" fmla="*/ 3419 h 10000"/>
                <a:gd name="connsiteX1945" fmla="*/ 2608 w 10820"/>
                <a:gd name="connsiteY1945" fmla="*/ 3444 h 10000"/>
                <a:gd name="connsiteX1946" fmla="*/ 2594 w 10820"/>
                <a:gd name="connsiteY1946" fmla="*/ 3444 h 10000"/>
                <a:gd name="connsiteX1947" fmla="*/ 2590 w 10820"/>
                <a:gd name="connsiteY1947" fmla="*/ 3427 h 10000"/>
                <a:gd name="connsiteX1948" fmla="*/ 2581 w 10820"/>
                <a:gd name="connsiteY1948" fmla="*/ 3564 h 10000"/>
                <a:gd name="connsiteX1949" fmla="*/ 2594 w 10820"/>
                <a:gd name="connsiteY1949" fmla="*/ 3598 h 10000"/>
                <a:gd name="connsiteX1950" fmla="*/ 2594 w 10820"/>
                <a:gd name="connsiteY1950" fmla="*/ 3581 h 10000"/>
                <a:gd name="connsiteX1951" fmla="*/ 2608 w 10820"/>
                <a:gd name="connsiteY1951" fmla="*/ 3556 h 10000"/>
                <a:gd name="connsiteX1952" fmla="*/ 2650 w 10820"/>
                <a:gd name="connsiteY1952" fmla="*/ 3615 h 10000"/>
                <a:gd name="connsiteX1953" fmla="*/ 2664 w 10820"/>
                <a:gd name="connsiteY1953" fmla="*/ 3615 h 10000"/>
                <a:gd name="connsiteX1954" fmla="*/ 2668 w 10820"/>
                <a:gd name="connsiteY1954" fmla="*/ 3615 h 10000"/>
                <a:gd name="connsiteX1955" fmla="*/ 2664 w 10820"/>
                <a:gd name="connsiteY1955" fmla="*/ 3667 h 10000"/>
                <a:gd name="connsiteX1956" fmla="*/ 2687 w 10820"/>
                <a:gd name="connsiteY1956" fmla="*/ 3786 h 10000"/>
                <a:gd name="connsiteX1957" fmla="*/ 2710 w 10820"/>
                <a:gd name="connsiteY1957" fmla="*/ 3812 h 10000"/>
                <a:gd name="connsiteX1958" fmla="*/ 2724 w 10820"/>
                <a:gd name="connsiteY1958" fmla="*/ 3812 h 10000"/>
                <a:gd name="connsiteX1959" fmla="*/ 2724 w 10820"/>
                <a:gd name="connsiteY1959" fmla="*/ 3829 h 10000"/>
                <a:gd name="connsiteX1960" fmla="*/ 2737 w 10820"/>
                <a:gd name="connsiteY1960" fmla="*/ 3838 h 10000"/>
                <a:gd name="connsiteX1961" fmla="*/ 2714 w 10820"/>
                <a:gd name="connsiteY1961" fmla="*/ 3872 h 10000"/>
                <a:gd name="connsiteX1962" fmla="*/ 2696 w 10820"/>
                <a:gd name="connsiteY1962" fmla="*/ 4026 h 10000"/>
                <a:gd name="connsiteX1963" fmla="*/ 2673 w 10820"/>
                <a:gd name="connsiteY1963" fmla="*/ 4051 h 10000"/>
                <a:gd name="connsiteX1964" fmla="*/ 2668 w 10820"/>
                <a:gd name="connsiteY1964" fmla="*/ 4034 h 10000"/>
                <a:gd name="connsiteX1965" fmla="*/ 2673 w 10820"/>
                <a:gd name="connsiteY1965" fmla="*/ 4000 h 10000"/>
                <a:gd name="connsiteX1966" fmla="*/ 2664 w 10820"/>
                <a:gd name="connsiteY1966" fmla="*/ 3974 h 10000"/>
                <a:gd name="connsiteX1967" fmla="*/ 2636 w 10820"/>
                <a:gd name="connsiteY1967" fmla="*/ 3949 h 10000"/>
                <a:gd name="connsiteX1968" fmla="*/ 2581 w 10820"/>
                <a:gd name="connsiteY1968" fmla="*/ 3838 h 10000"/>
                <a:gd name="connsiteX1969" fmla="*/ 2562 w 10820"/>
                <a:gd name="connsiteY1969" fmla="*/ 3829 h 10000"/>
                <a:gd name="connsiteX1970" fmla="*/ 2535 w 10820"/>
                <a:gd name="connsiteY1970" fmla="*/ 3778 h 10000"/>
                <a:gd name="connsiteX1971" fmla="*/ 2502 w 10820"/>
                <a:gd name="connsiteY1971" fmla="*/ 3761 h 10000"/>
                <a:gd name="connsiteX1972" fmla="*/ 2502 w 10820"/>
                <a:gd name="connsiteY1972" fmla="*/ 3735 h 10000"/>
                <a:gd name="connsiteX1973" fmla="*/ 2516 w 10820"/>
                <a:gd name="connsiteY1973" fmla="*/ 3735 h 10000"/>
                <a:gd name="connsiteX1974" fmla="*/ 2507 w 10820"/>
                <a:gd name="connsiteY1974" fmla="*/ 3726 h 10000"/>
                <a:gd name="connsiteX1975" fmla="*/ 2488 w 10820"/>
                <a:gd name="connsiteY1975" fmla="*/ 3726 h 10000"/>
                <a:gd name="connsiteX1976" fmla="*/ 2461 w 10820"/>
                <a:gd name="connsiteY1976" fmla="*/ 3692 h 10000"/>
                <a:gd name="connsiteX1977" fmla="*/ 2442 w 10820"/>
                <a:gd name="connsiteY1977" fmla="*/ 3675 h 10000"/>
                <a:gd name="connsiteX1978" fmla="*/ 2406 w 10820"/>
                <a:gd name="connsiteY1978" fmla="*/ 3598 h 10000"/>
                <a:gd name="connsiteX1979" fmla="*/ 2346 w 10820"/>
                <a:gd name="connsiteY1979" fmla="*/ 3564 h 10000"/>
                <a:gd name="connsiteX1980" fmla="*/ 2341 w 10820"/>
                <a:gd name="connsiteY1980" fmla="*/ 3564 h 10000"/>
                <a:gd name="connsiteX1981" fmla="*/ 2313 w 10820"/>
                <a:gd name="connsiteY1981" fmla="*/ 3530 h 10000"/>
                <a:gd name="connsiteX1982" fmla="*/ 2235 w 10820"/>
                <a:gd name="connsiteY1982" fmla="*/ 3530 h 10000"/>
                <a:gd name="connsiteX1983" fmla="*/ 2226 w 10820"/>
                <a:gd name="connsiteY1983" fmla="*/ 3513 h 10000"/>
                <a:gd name="connsiteX1984" fmla="*/ 2207 w 10820"/>
                <a:gd name="connsiteY1984" fmla="*/ 3504 h 10000"/>
                <a:gd name="connsiteX1985" fmla="*/ 2194 w 10820"/>
                <a:gd name="connsiteY1985" fmla="*/ 3504 h 10000"/>
                <a:gd name="connsiteX1986" fmla="*/ 2189 w 10820"/>
                <a:gd name="connsiteY1986" fmla="*/ 3504 h 10000"/>
                <a:gd name="connsiteX1987" fmla="*/ 2189 w 10820"/>
                <a:gd name="connsiteY1987" fmla="*/ 3530 h 10000"/>
                <a:gd name="connsiteX1988" fmla="*/ 2180 w 10820"/>
                <a:gd name="connsiteY1988" fmla="*/ 3538 h 10000"/>
                <a:gd name="connsiteX1989" fmla="*/ 2152 w 10820"/>
                <a:gd name="connsiteY1989" fmla="*/ 3581 h 10000"/>
                <a:gd name="connsiteX1990" fmla="*/ 2161 w 10820"/>
                <a:gd name="connsiteY1990" fmla="*/ 3598 h 10000"/>
                <a:gd name="connsiteX1991" fmla="*/ 2194 w 10820"/>
                <a:gd name="connsiteY1991" fmla="*/ 3752 h 10000"/>
                <a:gd name="connsiteX1992" fmla="*/ 2194 w 10820"/>
                <a:gd name="connsiteY1992" fmla="*/ 3735 h 10000"/>
                <a:gd name="connsiteX1993" fmla="*/ 2198 w 10820"/>
                <a:gd name="connsiteY1993" fmla="*/ 3735 h 10000"/>
                <a:gd name="connsiteX1994" fmla="*/ 2189 w 10820"/>
                <a:gd name="connsiteY1994" fmla="*/ 3838 h 10000"/>
                <a:gd name="connsiteX1995" fmla="*/ 2166 w 10820"/>
                <a:gd name="connsiteY1995" fmla="*/ 3889 h 10000"/>
                <a:gd name="connsiteX1996" fmla="*/ 2124 w 10820"/>
                <a:gd name="connsiteY1996" fmla="*/ 3889 h 10000"/>
                <a:gd name="connsiteX1997" fmla="*/ 2124 w 10820"/>
                <a:gd name="connsiteY1997" fmla="*/ 3923 h 10000"/>
                <a:gd name="connsiteX1998" fmla="*/ 2134 w 10820"/>
                <a:gd name="connsiteY1998" fmla="*/ 3940 h 10000"/>
                <a:gd name="connsiteX1999" fmla="*/ 2134 w 10820"/>
                <a:gd name="connsiteY1999" fmla="*/ 3966 h 10000"/>
                <a:gd name="connsiteX2000" fmla="*/ 2120 w 10820"/>
                <a:gd name="connsiteY2000" fmla="*/ 4000 h 10000"/>
                <a:gd name="connsiteX2001" fmla="*/ 2106 w 10820"/>
                <a:gd name="connsiteY2001" fmla="*/ 4009 h 10000"/>
                <a:gd name="connsiteX2002" fmla="*/ 2088 w 10820"/>
                <a:gd name="connsiteY2002" fmla="*/ 4000 h 10000"/>
                <a:gd name="connsiteX2003" fmla="*/ 2074 w 10820"/>
                <a:gd name="connsiteY2003" fmla="*/ 3974 h 10000"/>
                <a:gd name="connsiteX2004" fmla="*/ 2074 w 10820"/>
                <a:gd name="connsiteY2004" fmla="*/ 3940 h 10000"/>
                <a:gd name="connsiteX2005" fmla="*/ 2078 w 10820"/>
                <a:gd name="connsiteY2005" fmla="*/ 3915 h 10000"/>
                <a:gd name="connsiteX2006" fmla="*/ 2088 w 10820"/>
                <a:gd name="connsiteY2006" fmla="*/ 3889 h 10000"/>
                <a:gd name="connsiteX2007" fmla="*/ 2101 w 10820"/>
                <a:gd name="connsiteY2007" fmla="*/ 3872 h 10000"/>
                <a:gd name="connsiteX2008" fmla="*/ 2074 w 10820"/>
                <a:gd name="connsiteY2008" fmla="*/ 3812 h 10000"/>
                <a:gd name="connsiteX2009" fmla="*/ 2074 w 10820"/>
                <a:gd name="connsiteY2009" fmla="*/ 3786 h 10000"/>
                <a:gd name="connsiteX2010" fmla="*/ 2060 w 10820"/>
                <a:gd name="connsiteY2010" fmla="*/ 3786 h 10000"/>
                <a:gd name="connsiteX2011" fmla="*/ 2014 w 10820"/>
                <a:gd name="connsiteY2011" fmla="*/ 3829 h 10000"/>
                <a:gd name="connsiteX2012" fmla="*/ 2000 w 10820"/>
                <a:gd name="connsiteY2012" fmla="*/ 3863 h 10000"/>
                <a:gd name="connsiteX2013" fmla="*/ 1986 w 10820"/>
                <a:gd name="connsiteY2013" fmla="*/ 3872 h 10000"/>
                <a:gd name="connsiteX2014" fmla="*/ 1959 w 10820"/>
                <a:gd name="connsiteY2014" fmla="*/ 3940 h 10000"/>
                <a:gd name="connsiteX2015" fmla="*/ 1945 w 10820"/>
                <a:gd name="connsiteY2015" fmla="*/ 3949 h 10000"/>
                <a:gd name="connsiteX2016" fmla="*/ 1940 w 10820"/>
                <a:gd name="connsiteY2016" fmla="*/ 3923 h 10000"/>
                <a:gd name="connsiteX2017" fmla="*/ 1917 w 10820"/>
                <a:gd name="connsiteY2017" fmla="*/ 3915 h 10000"/>
                <a:gd name="connsiteX2018" fmla="*/ 1899 w 10820"/>
                <a:gd name="connsiteY2018" fmla="*/ 3923 h 10000"/>
                <a:gd name="connsiteX2019" fmla="*/ 1880 w 10820"/>
                <a:gd name="connsiteY2019" fmla="*/ 3915 h 10000"/>
                <a:gd name="connsiteX2020" fmla="*/ 1853 w 10820"/>
                <a:gd name="connsiteY2020" fmla="*/ 3940 h 10000"/>
                <a:gd name="connsiteX2021" fmla="*/ 1839 w 10820"/>
                <a:gd name="connsiteY2021" fmla="*/ 3940 h 10000"/>
                <a:gd name="connsiteX2022" fmla="*/ 1806 w 10820"/>
                <a:gd name="connsiteY2022" fmla="*/ 3983 h 10000"/>
                <a:gd name="connsiteX2023" fmla="*/ 1806 w 10820"/>
                <a:gd name="connsiteY2023" fmla="*/ 4000 h 10000"/>
                <a:gd name="connsiteX2024" fmla="*/ 1797 w 10820"/>
                <a:gd name="connsiteY2024" fmla="*/ 4077 h 10000"/>
                <a:gd name="connsiteX2025" fmla="*/ 1783 w 10820"/>
                <a:gd name="connsiteY2025" fmla="*/ 4077 h 10000"/>
                <a:gd name="connsiteX2026" fmla="*/ 1779 w 10820"/>
                <a:gd name="connsiteY2026" fmla="*/ 4051 h 10000"/>
                <a:gd name="connsiteX2027" fmla="*/ 1765 w 10820"/>
                <a:gd name="connsiteY2027" fmla="*/ 4026 h 10000"/>
                <a:gd name="connsiteX2028" fmla="*/ 1751 w 10820"/>
                <a:gd name="connsiteY2028" fmla="*/ 4051 h 10000"/>
                <a:gd name="connsiteX2029" fmla="*/ 1737 w 10820"/>
                <a:gd name="connsiteY2029" fmla="*/ 4009 h 10000"/>
                <a:gd name="connsiteX2030" fmla="*/ 1737 w 10820"/>
                <a:gd name="connsiteY2030" fmla="*/ 3966 h 10000"/>
                <a:gd name="connsiteX2031" fmla="*/ 1733 w 10820"/>
                <a:gd name="connsiteY2031" fmla="*/ 3940 h 10000"/>
                <a:gd name="connsiteX2032" fmla="*/ 1733 w 10820"/>
                <a:gd name="connsiteY2032" fmla="*/ 3923 h 10000"/>
                <a:gd name="connsiteX2033" fmla="*/ 1747 w 10820"/>
                <a:gd name="connsiteY2033" fmla="*/ 3889 h 10000"/>
                <a:gd name="connsiteX2034" fmla="*/ 1747 w 10820"/>
                <a:gd name="connsiteY2034" fmla="*/ 3863 h 10000"/>
                <a:gd name="connsiteX2035" fmla="*/ 1737 w 10820"/>
                <a:gd name="connsiteY2035" fmla="*/ 3838 h 10000"/>
                <a:gd name="connsiteX2036" fmla="*/ 1733 w 10820"/>
                <a:gd name="connsiteY2036" fmla="*/ 3829 h 10000"/>
                <a:gd name="connsiteX2037" fmla="*/ 1733 w 10820"/>
                <a:gd name="connsiteY2037" fmla="*/ 3846 h 10000"/>
                <a:gd name="connsiteX2038" fmla="*/ 1724 w 10820"/>
                <a:gd name="connsiteY2038" fmla="*/ 3846 h 10000"/>
                <a:gd name="connsiteX2039" fmla="*/ 1724 w 10820"/>
                <a:gd name="connsiteY2039" fmla="*/ 3829 h 10000"/>
                <a:gd name="connsiteX2040" fmla="*/ 1737 w 10820"/>
                <a:gd name="connsiteY2040" fmla="*/ 3812 h 10000"/>
                <a:gd name="connsiteX2041" fmla="*/ 1765 w 10820"/>
                <a:gd name="connsiteY2041" fmla="*/ 3812 h 10000"/>
                <a:gd name="connsiteX2042" fmla="*/ 1779 w 10820"/>
                <a:gd name="connsiteY2042" fmla="*/ 3786 h 10000"/>
                <a:gd name="connsiteX2043" fmla="*/ 1779 w 10820"/>
                <a:gd name="connsiteY2043" fmla="*/ 3786 h 10000"/>
                <a:gd name="connsiteX2044" fmla="*/ 1751 w 10820"/>
                <a:gd name="connsiteY2044" fmla="*/ 3803 h 10000"/>
                <a:gd name="connsiteX2045" fmla="*/ 1747 w 10820"/>
                <a:gd name="connsiteY2045" fmla="*/ 3803 h 10000"/>
                <a:gd name="connsiteX2046" fmla="*/ 1724 w 10820"/>
                <a:gd name="connsiteY2046" fmla="*/ 3803 h 10000"/>
                <a:gd name="connsiteX2047" fmla="*/ 1700 w 10820"/>
                <a:gd name="connsiteY2047" fmla="*/ 3829 h 10000"/>
                <a:gd name="connsiteX2048" fmla="*/ 1705 w 10820"/>
                <a:gd name="connsiteY2048" fmla="*/ 3846 h 10000"/>
                <a:gd name="connsiteX2049" fmla="*/ 1691 w 10820"/>
                <a:gd name="connsiteY2049" fmla="*/ 3846 h 10000"/>
                <a:gd name="connsiteX2050" fmla="*/ 1691 w 10820"/>
                <a:gd name="connsiteY2050" fmla="*/ 3863 h 10000"/>
                <a:gd name="connsiteX2051" fmla="*/ 1691 w 10820"/>
                <a:gd name="connsiteY2051" fmla="*/ 3915 h 10000"/>
                <a:gd name="connsiteX2052" fmla="*/ 1677 w 10820"/>
                <a:gd name="connsiteY2052" fmla="*/ 3923 h 10000"/>
                <a:gd name="connsiteX2053" fmla="*/ 1673 w 10820"/>
                <a:gd name="connsiteY2053" fmla="*/ 3915 h 10000"/>
                <a:gd name="connsiteX2054" fmla="*/ 1664 w 10820"/>
                <a:gd name="connsiteY2054" fmla="*/ 3889 h 10000"/>
                <a:gd name="connsiteX2055" fmla="*/ 1673 w 10820"/>
                <a:gd name="connsiteY2055" fmla="*/ 3872 h 10000"/>
                <a:gd name="connsiteX2056" fmla="*/ 1664 w 10820"/>
                <a:gd name="connsiteY2056" fmla="*/ 3872 h 10000"/>
                <a:gd name="connsiteX2057" fmla="*/ 1636 w 10820"/>
                <a:gd name="connsiteY2057" fmla="*/ 3923 h 10000"/>
                <a:gd name="connsiteX2058" fmla="*/ 1645 w 10820"/>
                <a:gd name="connsiteY2058" fmla="*/ 3923 h 10000"/>
                <a:gd name="connsiteX2059" fmla="*/ 1650 w 10820"/>
                <a:gd name="connsiteY2059" fmla="*/ 3949 h 10000"/>
                <a:gd name="connsiteX2060" fmla="*/ 1650 w 10820"/>
                <a:gd name="connsiteY2060" fmla="*/ 3983 h 10000"/>
                <a:gd name="connsiteX2061" fmla="*/ 1636 w 10820"/>
                <a:gd name="connsiteY2061" fmla="*/ 4000 h 10000"/>
                <a:gd name="connsiteX2062" fmla="*/ 1631 w 10820"/>
                <a:gd name="connsiteY2062" fmla="*/ 4009 h 10000"/>
                <a:gd name="connsiteX2063" fmla="*/ 1618 w 10820"/>
                <a:gd name="connsiteY2063" fmla="*/ 3949 h 10000"/>
                <a:gd name="connsiteX2064" fmla="*/ 1585 w 10820"/>
                <a:gd name="connsiteY2064" fmla="*/ 3966 h 10000"/>
                <a:gd name="connsiteX2065" fmla="*/ 1590 w 10820"/>
                <a:gd name="connsiteY2065" fmla="*/ 3974 h 10000"/>
                <a:gd name="connsiteX2066" fmla="*/ 1544 w 10820"/>
                <a:gd name="connsiteY2066" fmla="*/ 4009 h 10000"/>
                <a:gd name="connsiteX2067" fmla="*/ 1539 w 10820"/>
                <a:gd name="connsiteY2067" fmla="*/ 4009 h 10000"/>
                <a:gd name="connsiteX2068" fmla="*/ 1410 w 10820"/>
                <a:gd name="connsiteY2068" fmla="*/ 4188 h 10000"/>
                <a:gd name="connsiteX2069" fmla="*/ 1406 w 10820"/>
                <a:gd name="connsiteY2069" fmla="*/ 4171 h 10000"/>
                <a:gd name="connsiteX2070" fmla="*/ 1396 w 10820"/>
                <a:gd name="connsiteY2070" fmla="*/ 4214 h 10000"/>
                <a:gd name="connsiteX2071" fmla="*/ 1406 w 10820"/>
                <a:gd name="connsiteY2071" fmla="*/ 4222 h 10000"/>
                <a:gd name="connsiteX2072" fmla="*/ 1392 w 10820"/>
                <a:gd name="connsiteY2072" fmla="*/ 4239 h 10000"/>
                <a:gd name="connsiteX2073" fmla="*/ 1369 w 10820"/>
                <a:gd name="connsiteY2073" fmla="*/ 4248 h 10000"/>
                <a:gd name="connsiteX2074" fmla="*/ 1355 w 10820"/>
                <a:gd name="connsiteY2074" fmla="*/ 4256 h 10000"/>
                <a:gd name="connsiteX2075" fmla="*/ 1350 w 10820"/>
                <a:gd name="connsiteY2075" fmla="*/ 4248 h 10000"/>
                <a:gd name="connsiteX2076" fmla="*/ 1332 w 10820"/>
                <a:gd name="connsiteY2076" fmla="*/ 4376 h 10000"/>
                <a:gd name="connsiteX2077" fmla="*/ 1332 w 10820"/>
                <a:gd name="connsiteY2077" fmla="*/ 4436 h 10000"/>
                <a:gd name="connsiteX2078" fmla="*/ 1323 w 10820"/>
                <a:gd name="connsiteY2078" fmla="*/ 4462 h 10000"/>
                <a:gd name="connsiteX2079" fmla="*/ 1304 w 10820"/>
                <a:gd name="connsiteY2079" fmla="*/ 4487 h 10000"/>
                <a:gd name="connsiteX2080" fmla="*/ 1290 w 10820"/>
                <a:gd name="connsiteY2080" fmla="*/ 4470 h 10000"/>
                <a:gd name="connsiteX2081" fmla="*/ 1263 w 10820"/>
                <a:gd name="connsiteY2081" fmla="*/ 4496 h 10000"/>
                <a:gd name="connsiteX2082" fmla="*/ 1258 w 10820"/>
                <a:gd name="connsiteY2082" fmla="*/ 4547 h 10000"/>
                <a:gd name="connsiteX2083" fmla="*/ 1249 w 10820"/>
                <a:gd name="connsiteY2083" fmla="*/ 4487 h 10000"/>
                <a:gd name="connsiteX2084" fmla="*/ 1235 w 10820"/>
                <a:gd name="connsiteY2084" fmla="*/ 4496 h 10000"/>
                <a:gd name="connsiteX2085" fmla="*/ 1221 w 10820"/>
                <a:gd name="connsiteY2085" fmla="*/ 4496 h 10000"/>
                <a:gd name="connsiteX2086" fmla="*/ 1217 w 10820"/>
                <a:gd name="connsiteY2086" fmla="*/ 4487 h 10000"/>
                <a:gd name="connsiteX2087" fmla="*/ 1198 w 10820"/>
                <a:gd name="connsiteY2087" fmla="*/ 4410 h 10000"/>
                <a:gd name="connsiteX2088" fmla="*/ 1157 w 10820"/>
                <a:gd name="connsiteY2088" fmla="*/ 4333 h 10000"/>
                <a:gd name="connsiteX2089" fmla="*/ 1147 w 10820"/>
                <a:gd name="connsiteY2089" fmla="*/ 4299 h 10000"/>
                <a:gd name="connsiteX2090" fmla="*/ 1147 w 10820"/>
                <a:gd name="connsiteY2090" fmla="*/ 4274 h 10000"/>
                <a:gd name="connsiteX2091" fmla="*/ 1161 w 10820"/>
                <a:gd name="connsiteY2091" fmla="*/ 4256 h 10000"/>
                <a:gd name="connsiteX2092" fmla="*/ 1171 w 10820"/>
                <a:gd name="connsiteY2092" fmla="*/ 4248 h 10000"/>
                <a:gd name="connsiteX2093" fmla="*/ 1175 w 10820"/>
                <a:gd name="connsiteY2093" fmla="*/ 4214 h 10000"/>
                <a:gd name="connsiteX2094" fmla="*/ 1263 w 10820"/>
                <a:gd name="connsiteY2094" fmla="*/ 4171 h 10000"/>
                <a:gd name="connsiteX2095" fmla="*/ 1249 w 10820"/>
                <a:gd name="connsiteY2095" fmla="*/ 4137 h 10000"/>
                <a:gd name="connsiteX2096" fmla="*/ 1244 w 10820"/>
                <a:gd name="connsiteY2096" fmla="*/ 4060 h 10000"/>
                <a:gd name="connsiteX2097" fmla="*/ 1230 w 10820"/>
                <a:gd name="connsiteY2097" fmla="*/ 4077 h 10000"/>
                <a:gd name="connsiteX2098" fmla="*/ 1221 w 10820"/>
                <a:gd name="connsiteY2098" fmla="*/ 4026 h 10000"/>
                <a:gd name="connsiteX2099" fmla="*/ 1217 w 10820"/>
                <a:gd name="connsiteY2099" fmla="*/ 4026 h 10000"/>
                <a:gd name="connsiteX2100" fmla="*/ 1212 w 10820"/>
                <a:gd name="connsiteY2100" fmla="*/ 3983 h 10000"/>
                <a:gd name="connsiteX2101" fmla="*/ 1203 w 10820"/>
                <a:gd name="connsiteY2101" fmla="*/ 3966 h 10000"/>
                <a:gd name="connsiteX2102" fmla="*/ 1171 w 10820"/>
                <a:gd name="connsiteY2102" fmla="*/ 3949 h 10000"/>
                <a:gd name="connsiteX2103" fmla="*/ 1111 w 10820"/>
                <a:gd name="connsiteY2103" fmla="*/ 3940 h 10000"/>
                <a:gd name="connsiteX2104" fmla="*/ 1097 w 10820"/>
                <a:gd name="connsiteY2104" fmla="*/ 3949 h 10000"/>
                <a:gd name="connsiteX2105" fmla="*/ 1037 w 10820"/>
                <a:gd name="connsiteY2105" fmla="*/ 3897 h 10000"/>
                <a:gd name="connsiteX2106" fmla="*/ 1041 w 10820"/>
                <a:gd name="connsiteY2106" fmla="*/ 3923 h 10000"/>
                <a:gd name="connsiteX2107" fmla="*/ 1097 w 10820"/>
                <a:gd name="connsiteY2107" fmla="*/ 4009 h 10000"/>
                <a:gd name="connsiteX2108" fmla="*/ 1097 w 10820"/>
                <a:gd name="connsiteY2108" fmla="*/ 4120 h 10000"/>
                <a:gd name="connsiteX2109" fmla="*/ 1097 w 10820"/>
                <a:gd name="connsiteY2109" fmla="*/ 4162 h 10000"/>
                <a:gd name="connsiteX2110" fmla="*/ 1097 w 10820"/>
                <a:gd name="connsiteY2110" fmla="*/ 4197 h 10000"/>
                <a:gd name="connsiteX2111" fmla="*/ 1074 w 10820"/>
                <a:gd name="connsiteY2111" fmla="*/ 4333 h 10000"/>
                <a:gd name="connsiteX2112" fmla="*/ 1074 w 10820"/>
                <a:gd name="connsiteY2112" fmla="*/ 4376 h 10000"/>
                <a:gd name="connsiteX2113" fmla="*/ 1083 w 10820"/>
                <a:gd name="connsiteY2113" fmla="*/ 4385 h 10000"/>
                <a:gd name="connsiteX2114" fmla="*/ 1097 w 10820"/>
                <a:gd name="connsiteY2114" fmla="*/ 4385 h 10000"/>
                <a:gd name="connsiteX2115" fmla="*/ 1111 w 10820"/>
                <a:gd name="connsiteY2115" fmla="*/ 4410 h 10000"/>
                <a:gd name="connsiteX2116" fmla="*/ 1124 w 10820"/>
                <a:gd name="connsiteY2116" fmla="*/ 4444 h 10000"/>
                <a:gd name="connsiteX2117" fmla="*/ 1124 w 10820"/>
                <a:gd name="connsiteY2117" fmla="*/ 4470 h 10000"/>
                <a:gd name="connsiteX2118" fmla="*/ 1115 w 10820"/>
                <a:gd name="connsiteY2118" fmla="*/ 4513 h 10000"/>
                <a:gd name="connsiteX2119" fmla="*/ 1115 w 10820"/>
                <a:gd name="connsiteY2119" fmla="*/ 4530 h 10000"/>
                <a:gd name="connsiteX2120" fmla="*/ 1115 w 10820"/>
                <a:gd name="connsiteY2120" fmla="*/ 4573 h 10000"/>
                <a:gd name="connsiteX2121" fmla="*/ 1101 w 10820"/>
                <a:gd name="connsiteY2121" fmla="*/ 4607 h 10000"/>
                <a:gd name="connsiteX2122" fmla="*/ 1097 w 10820"/>
                <a:gd name="connsiteY2122" fmla="*/ 4658 h 10000"/>
                <a:gd name="connsiteX2123" fmla="*/ 1101 w 10820"/>
                <a:gd name="connsiteY2123" fmla="*/ 4692 h 10000"/>
                <a:gd name="connsiteX2124" fmla="*/ 1097 w 10820"/>
                <a:gd name="connsiteY2124" fmla="*/ 4778 h 10000"/>
                <a:gd name="connsiteX2125" fmla="*/ 1083 w 10820"/>
                <a:gd name="connsiteY2125" fmla="*/ 4744 h 10000"/>
                <a:gd name="connsiteX2126" fmla="*/ 1083 w 10820"/>
                <a:gd name="connsiteY2126" fmla="*/ 4718 h 10000"/>
                <a:gd name="connsiteX2127" fmla="*/ 1074 w 10820"/>
                <a:gd name="connsiteY2127" fmla="*/ 4692 h 10000"/>
                <a:gd name="connsiteX2128" fmla="*/ 1065 w 10820"/>
                <a:gd name="connsiteY2128" fmla="*/ 4692 h 10000"/>
                <a:gd name="connsiteX2129" fmla="*/ 1051 w 10820"/>
                <a:gd name="connsiteY2129" fmla="*/ 4718 h 10000"/>
                <a:gd name="connsiteX2130" fmla="*/ 1055 w 10820"/>
                <a:gd name="connsiteY2130" fmla="*/ 4692 h 10000"/>
                <a:gd name="connsiteX2131" fmla="*/ 1055 w 10820"/>
                <a:gd name="connsiteY2131" fmla="*/ 4667 h 10000"/>
                <a:gd name="connsiteX2132" fmla="*/ 1028 w 10820"/>
                <a:gd name="connsiteY2132" fmla="*/ 4624 h 10000"/>
                <a:gd name="connsiteX2133" fmla="*/ 1005 w 10820"/>
                <a:gd name="connsiteY2133" fmla="*/ 4624 h 10000"/>
                <a:gd name="connsiteX2134" fmla="*/ 977 w 10820"/>
                <a:gd name="connsiteY2134" fmla="*/ 4581 h 10000"/>
                <a:gd name="connsiteX2135" fmla="*/ 963 w 10820"/>
                <a:gd name="connsiteY2135" fmla="*/ 4607 h 10000"/>
                <a:gd name="connsiteX2136" fmla="*/ 963 w 10820"/>
                <a:gd name="connsiteY2136" fmla="*/ 4632 h 10000"/>
                <a:gd name="connsiteX2137" fmla="*/ 917 w 10820"/>
                <a:gd name="connsiteY2137" fmla="*/ 4718 h 10000"/>
                <a:gd name="connsiteX2138" fmla="*/ 889 w 10820"/>
                <a:gd name="connsiteY2138" fmla="*/ 4744 h 10000"/>
                <a:gd name="connsiteX2139" fmla="*/ 880 w 10820"/>
                <a:gd name="connsiteY2139" fmla="*/ 4744 h 10000"/>
                <a:gd name="connsiteX2140" fmla="*/ 862 w 10820"/>
                <a:gd name="connsiteY2140" fmla="*/ 4769 h 10000"/>
                <a:gd name="connsiteX2141" fmla="*/ 857 w 10820"/>
                <a:gd name="connsiteY2141" fmla="*/ 4795 h 10000"/>
                <a:gd name="connsiteX2142" fmla="*/ 829 w 10820"/>
                <a:gd name="connsiteY2142" fmla="*/ 4846 h 10000"/>
                <a:gd name="connsiteX2143" fmla="*/ 816 w 10820"/>
                <a:gd name="connsiteY2143" fmla="*/ 4855 h 10000"/>
                <a:gd name="connsiteX2144" fmla="*/ 816 w 10820"/>
                <a:gd name="connsiteY2144" fmla="*/ 4940 h 10000"/>
                <a:gd name="connsiteX2145" fmla="*/ 880 w 10820"/>
                <a:gd name="connsiteY2145" fmla="*/ 5179 h 10000"/>
                <a:gd name="connsiteX2146" fmla="*/ 880 w 10820"/>
                <a:gd name="connsiteY2146" fmla="*/ 5188 h 10000"/>
                <a:gd name="connsiteX2147" fmla="*/ 862 w 10820"/>
                <a:gd name="connsiteY2147" fmla="*/ 5171 h 10000"/>
                <a:gd name="connsiteX2148" fmla="*/ 857 w 10820"/>
                <a:gd name="connsiteY2148" fmla="*/ 5171 h 10000"/>
                <a:gd name="connsiteX2149" fmla="*/ 820 w 10820"/>
                <a:gd name="connsiteY2149" fmla="*/ 5145 h 10000"/>
                <a:gd name="connsiteX2150" fmla="*/ 820 w 10820"/>
                <a:gd name="connsiteY2150" fmla="*/ 5154 h 10000"/>
                <a:gd name="connsiteX2151" fmla="*/ 816 w 10820"/>
                <a:gd name="connsiteY2151" fmla="*/ 5171 h 10000"/>
                <a:gd name="connsiteX2152" fmla="*/ 783 w 10820"/>
                <a:gd name="connsiteY2152" fmla="*/ 5145 h 10000"/>
                <a:gd name="connsiteX2153" fmla="*/ 756 w 10820"/>
                <a:gd name="connsiteY2153" fmla="*/ 5103 h 10000"/>
                <a:gd name="connsiteX2154" fmla="*/ 742 w 10820"/>
                <a:gd name="connsiteY2154" fmla="*/ 5103 h 10000"/>
                <a:gd name="connsiteX2155" fmla="*/ 728 w 10820"/>
                <a:gd name="connsiteY2155" fmla="*/ 5094 h 10000"/>
                <a:gd name="connsiteX2156" fmla="*/ 710 w 10820"/>
                <a:gd name="connsiteY2156" fmla="*/ 5120 h 10000"/>
                <a:gd name="connsiteX2157" fmla="*/ 700 w 10820"/>
                <a:gd name="connsiteY2157" fmla="*/ 5145 h 10000"/>
                <a:gd name="connsiteX2158" fmla="*/ 696 w 10820"/>
                <a:gd name="connsiteY2158" fmla="*/ 5103 h 10000"/>
                <a:gd name="connsiteX2159" fmla="*/ 714 w 10820"/>
                <a:gd name="connsiteY2159" fmla="*/ 5077 h 10000"/>
                <a:gd name="connsiteX2160" fmla="*/ 682 w 10820"/>
                <a:gd name="connsiteY2160" fmla="*/ 5068 h 10000"/>
                <a:gd name="connsiteX2161" fmla="*/ 673 w 10820"/>
                <a:gd name="connsiteY2161" fmla="*/ 5034 h 10000"/>
                <a:gd name="connsiteX2162" fmla="*/ 636 w 10820"/>
                <a:gd name="connsiteY2162" fmla="*/ 4991 h 10000"/>
                <a:gd name="connsiteX2163" fmla="*/ 622 w 10820"/>
                <a:gd name="connsiteY2163" fmla="*/ 4983 h 10000"/>
                <a:gd name="connsiteX2164" fmla="*/ 622 w 10820"/>
                <a:gd name="connsiteY2164" fmla="*/ 5034 h 10000"/>
                <a:gd name="connsiteX2165" fmla="*/ 608 w 10820"/>
                <a:gd name="connsiteY2165" fmla="*/ 5051 h 10000"/>
                <a:gd name="connsiteX2166" fmla="*/ 594 w 10820"/>
                <a:gd name="connsiteY2166" fmla="*/ 5068 h 10000"/>
                <a:gd name="connsiteX2167" fmla="*/ 608 w 10820"/>
                <a:gd name="connsiteY2167" fmla="*/ 5120 h 10000"/>
                <a:gd name="connsiteX2168" fmla="*/ 613 w 10820"/>
                <a:gd name="connsiteY2168" fmla="*/ 5128 h 10000"/>
                <a:gd name="connsiteX2169" fmla="*/ 627 w 10820"/>
                <a:gd name="connsiteY2169" fmla="*/ 5179 h 10000"/>
                <a:gd name="connsiteX2170" fmla="*/ 650 w 10820"/>
                <a:gd name="connsiteY2170" fmla="*/ 5214 h 10000"/>
                <a:gd name="connsiteX2171" fmla="*/ 687 w 10820"/>
                <a:gd name="connsiteY2171" fmla="*/ 5188 h 10000"/>
                <a:gd name="connsiteX2172" fmla="*/ 700 w 10820"/>
                <a:gd name="connsiteY2172" fmla="*/ 5325 h 10000"/>
                <a:gd name="connsiteX2173" fmla="*/ 710 w 10820"/>
                <a:gd name="connsiteY2173" fmla="*/ 5350 h 10000"/>
                <a:gd name="connsiteX2174" fmla="*/ 687 w 10820"/>
                <a:gd name="connsiteY2174" fmla="*/ 5325 h 10000"/>
                <a:gd name="connsiteX2175" fmla="*/ 668 w 10820"/>
                <a:gd name="connsiteY2175" fmla="*/ 5350 h 10000"/>
                <a:gd name="connsiteX2176" fmla="*/ 668 w 10820"/>
                <a:gd name="connsiteY2176" fmla="*/ 5368 h 10000"/>
                <a:gd name="connsiteX2177" fmla="*/ 668 w 10820"/>
                <a:gd name="connsiteY2177" fmla="*/ 5376 h 10000"/>
                <a:gd name="connsiteX2178" fmla="*/ 581 w 10820"/>
                <a:gd name="connsiteY2178" fmla="*/ 5316 h 10000"/>
                <a:gd name="connsiteX2179" fmla="*/ 567 w 10820"/>
                <a:gd name="connsiteY2179" fmla="*/ 5265 h 10000"/>
                <a:gd name="connsiteX2180" fmla="*/ 562 w 10820"/>
                <a:gd name="connsiteY2180" fmla="*/ 5256 h 10000"/>
                <a:gd name="connsiteX2181" fmla="*/ 548 w 10820"/>
                <a:gd name="connsiteY2181" fmla="*/ 5231 h 10000"/>
                <a:gd name="connsiteX2182" fmla="*/ 535 w 10820"/>
                <a:gd name="connsiteY2182" fmla="*/ 5214 h 10000"/>
                <a:gd name="connsiteX2183" fmla="*/ 525 w 10820"/>
                <a:gd name="connsiteY2183" fmla="*/ 5231 h 10000"/>
                <a:gd name="connsiteX2184" fmla="*/ 521 w 10820"/>
                <a:gd name="connsiteY2184" fmla="*/ 5231 h 10000"/>
                <a:gd name="connsiteX2185" fmla="*/ 493 w 10820"/>
                <a:gd name="connsiteY2185" fmla="*/ 5205 h 10000"/>
                <a:gd name="connsiteX2186" fmla="*/ 488 w 10820"/>
                <a:gd name="connsiteY2186" fmla="*/ 5179 h 10000"/>
                <a:gd name="connsiteX2187" fmla="*/ 475 w 10820"/>
                <a:gd name="connsiteY2187" fmla="*/ 5188 h 10000"/>
                <a:gd name="connsiteX2188" fmla="*/ 475 w 10820"/>
                <a:gd name="connsiteY2188" fmla="*/ 5171 h 10000"/>
                <a:gd name="connsiteX2189" fmla="*/ 488 w 10820"/>
                <a:gd name="connsiteY2189" fmla="*/ 5154 h 10000"/>
                <a:gd name="connsiteX2190" fmla="*/ 488 w 10820"/>
                <a:gd name="connsiteY2190" fmla="*/ 5068 h 10000"/>
                <a:gd name="connsiteX2191" fmla="*/ 475 w 10820"/>
                <a:gd name="connsiteY2191" fmla="*/ 5051 h 10000"/>
                <a:gd name="connsiteX2192" fmla="*/ 475 w 10820"/>
                <a:gd name="connsiteY2192" fmla="*/ 5017 h 10000"/>
                <a:gd name="connsiteX2193" fmla="*/ 452 w 10820"/>
                <a:gd name="connsiteY2193" fmla="*/ 4932 h 10000"/>
                <a:gd name="connsiteX2194" fmla="*/ 461 w 10820"/>
                <a:gd name="connsiteY2194" fmla="*/ 4915 h 10000"/>
                <a:gd name="connsiteX2195" fmla="*/ 475 w 10820"/>
                <a:gd name="connsiteY2195" fmla="*/ 4906 h 10000"/>
                <a:gd name="connsiteX2196" fmla="*/ 479 w 10820"/>
                <a:gd name="connsiteY2196" fmla="*/ 4803 h 10000"/>
                <a:gd name="connsiteX2197" fmla="*/ 479 w 10820"/>
                <a:gd name="connsiteY2197" fmla="*/ 4778 h 10000"/>
                <a:gd name="connsiteX2198" fmla="*/ 475 w 10820"/>
                <a:gd name="connsiteY2198" fmla="*/ 4761 h 10000"/>
                <a:gd name="connsiteX2199" fmla="*/ 465 w 10820"/>
                <a:gd name="connsiteY2199" fmla="*/ 4718 h 10000"/>
                <a:gd name="connsiteX2200" fmla="*/ 461 w 10820"/>
                <a:gd name="connsiteY2200" fmla="*/ 4709 h 10000"/>
                <a:gd name="connsiteX2201" fmla="*/ 442 w 10820"/>
                <a:gd name="connsiteY2201" fmla="*/ 4692 h 10000"/>
                <a:gd name="connsiteX2202" fmla="*/ 433 w 10820"/>
                <a:gd name="connsiteY2202" fmla="*/ 4667 h 10000"/>
                <a:gd name="connsiteX2203" fmla="*/ 419 w 10820"/>
                <a:gd name="connsiteY2203" fmla="*/ 4667 h 10000"/>
                <a:gd name="connsiteX2204" fmla="*/ 401 w 10820"/>
                <a:gd name="connsiteY2204" fmla="*/ 4658 h 10000"/>
                <a:gd name="connsiteX2205" fmla="*/ 401 w 10820"/>
                <a:gd name="connsiteY2205" fmla="*/ 4624 h 10000"/>
                <a:gd name="connsiteX2206" fmla="*/ 401 w 10820"/>
                <a:gd name="connsiteY2206" fmla="*/ 4607 h 10000"/>
                <a:gd name="connsiteX2207" fmla="*/ 378 w 10820"/>
                <a:gd name="connsiteY2207" fmla="*/ 4607 h 10000"/>
                <a:gd name="connsiteX2208" fmla="*/ 341 w 10820"/>
                <a:gd name="connsiteY2208" fmla="*/ 4530 h 10000"/>
                <a:gd name="connsiteX2209" fmla="*/ 346 w 10820"/>
                <a:gd name="connsiteY2209" fmla="*/ 4521 h 10000"/>
                <a:gd name="connsiteX2210" fmla="*/ 332 w 10820"/>
                <a:gd name="connsiteY2210" fmla="*/ 4487 h 10000"/>
                <a:gd name="connsiteX2211" fmla="*/ 327 w 10820"/>
                <a:gd name="connsiteY2211" fmla="*/ 4462 h 10000"/>
                <a:gd name="connsiteX2212" fmla="*/ 313 w 10820"/>
                <a:gd name="connsiteY2212" fmla="*/ 4436 h 10000"/>
                <a:gd name="connsiteX2213" fmla="*/ 300 w 10820"/>
                <a:gd name="connsiteY2213" fmla="*/ 4419 h 10000"/>
                <a:gd name="connsiteX2214" fmla="*/ 309 w 10820"/>
                <a:gd name="connsiteY2214" fmla="*/ 4393 h 10000"/>
                <a:gd name="connsiteX2215" fmla="*/ 332 w 10820"/>
                <a:gd name="connsiteY2215" fmla="*/ 4385 h 10000"/>
                <a:gd name="connsiteX2216" fmla="*/ 355 w 10820"/>
                <a:gd name="connsiteY2216" fmla="*/ 4419 h 10000"/>
                <a:gd name="connsiteX2217" fmla="*/ 355 w 10820"/>
                <a:gd name="connsiteY2217" fmla="*/ 4444 h 10000"/>
                <a:gd name="connsiteX2218" fmla="*/ 369 w 10820"/>
                <a:gd name="connsiteY2218" fmla="*/ 4470 h 10000"/>
                <a:gd name="connsiteX2219" fmla="*/ 401 w 10820"/>
                <a:gd name="connsiteY2219" fmla="*/ 4521 h 10000"/>
                <a:gd name="connsiteX2220" fmla="*/ 406 w 10820"/>
                <a:gd name="connsiteY2220" fmla="*/ 4513 h 10000"/>
                <a:gd name="connsiteX2221" fmla="*/ 406 w 10820"/>
                <a:gd name="connsiteY2221" fmla="*/ 4496 h 10000"/>
                <a:gd name="connsiteX2222" fmla="*/ 419 w 10820"/>
                <a:gd name="connsiteY2222" fmla="*/ 4521 h 10000"/>
                <a:gd name="connsiteX2223" fmla="*/ 429 w 10820"/>
                <a:gd name="connsiteY2223" fmla="*/ 4530 h 10000"/>
                <a:gd name="connsiteX2224" fmla="*/ 433 w 10820"/>
                <a:gd name="connsiteY2224" fmla="*/ 4521 h 10000"/>
                <a:gd name="connsiteX2225" fmla="*/ 442 w 10820"/>
                <a:gd name="connsiteY2225" fmla="*/ 4530 h 10000"/>
                <a:gd name="connsiteX2226" fmla="*/ 447 w 10820"/>
                <a:gd name="connsiteY2226" fmla="*/ 4521 h 10000"/>
                <a:gd name="connsiteX2227" fmla="*/ 452 w 10820"/>
                <a:gd name="connsiteY2227" fmla="*/ 4521 h 10000"/>
                <a:gd name="connsiteX2228" fmla="*/ 461 w 10820"/>
                <a:gd name="connsiteY2228" fmla="*/ 4573 h 10000"/>
                <a:gd name="connsiteX2229" fmla="*/ 479 w 10820"/>
                <a:gd name="connsiteY2229" fmla="*/ 4556 h 10000"/>
                <a:gd name="connsiteX2230" fmla="*/ 502 w 10820"/>
                <a:gd name="connsiteY2230" fmla="*/ 4573 h 10000"/>
                <a:gd name="connsiteX2231" fmla="*/ 507 w 10820"/>
                <a:gd name="connsiteY2231" fmla="*/ 4598 h 10000"/>
                <a:gd name="connsiteX2232" fmla="*/ 525 w 10820"/>
                <a:gd name="connsiteY2232" fmla="*/ 4598 h 10000"/>
                <a:gd name="connsiteX2233" fmla="*/ 535 w 10820"/>
                <a:gd name="connsiteY2233" fmla="*/ 4624 h 10000"/>
                <a:gd name="connsiteX2234" fmla="*/ 594 w 10820"/>
                <a:gd name="connsiteY2234" fmla="*/ 4658 h 10000"/>
                <a:gd name="connsiteX2235" fmla="*/ 627 w 10820"/>
                <a:gd name="connsiteY2235" fmla="*/ 4658 h 10000"/>
                <a:gd name="connsiteX2236" fmla="*/ 654 w 10820"/>
                <a:gd name="connsiteY2236" fmla="*/ 4684 h 10000"/>
                <a:gd name="connsiteX2237" fmla="*/ 668 w 10820"/>
                <a:gd name="connsiteY2237" fmla="*/ 4709 h 10000"/>
                <a:gd name="connsiteX2238" fmla="*/ 747 w 10820"/>
                <a:gd name="connsiteY2238" fmla="*/ 4718 h 10000"/>
                <a:gd name="connsiteX2239" fmla="*/ 760 w 10820"/>
                <a:gd name="connsiteY2239" fmla="*/ 4709 h 10000"/>
                <a:gd name="connsiteX2240" fmla="*/ 774 w 10820"/>
                <a:gd name="connsiteY2240" fmla="*/ 4692 h 10000"/>
                <a:gd name="connsiteX2241" fmla="*/ 829 w 10820"/>
                <a:gd name="connsiteY2241" fmla="*/ 4658 h 10000"/>
                <a:gd name="connsiteX2242" fmla="*/ 903 w 10820"/>
                <a:gd name="connsiteY2242" fmla="*/ 4496 h 10000"/>
                <a:gd name="connsiteX2243" fmla="*/ 917 w 10820"/>
                <a:gd name="connsiteY2243" fmla="*/ 4385 h 10000"/>
                <a:gd name="connsiteX2244" fmla="*/ 903 w 10820"/>
                <a:gd name="connsiteY2244" fmla="*/ 4376 h 10000"/>
                <a:gd name="connsiteX2245" fmla="*/ 903 w 10820"/>
                <a:gd name="connsiteY2245" fmla="*/ 4376 h 10000"/>
                <a:gd name="connsiteX2246" fmla="*/ 889 w 10820"/>
                <a:gd name="connsiteY2246" fmla="*/ 4239 h 10000"/>
                <a:gd name="connsiteX2247" fmla="*/ 880 w 10820"/>
                <a:gd name="connsiteY2247" fmla="*/ 4214 h 10000"/>
                <a:gd name="connsiteX2248" fmla="*/ 862 w 10820"/>
                <a:gd name="connsiteY2248" fmla="*/ 4188 h 10000"/>
                <a:gd name="connsiteX2249" fmla="*/ 857 w 10820"/>
                <a:gd name="connsiteY2249" fmla="*/ 4197 h 10000"/>
                <a:gd name="connsiteX2250" fmla="*/ 848 w 10820"/>
                <a:gd name="connsiteY2250" fmla="*/ 4188 h 10000"/>
                <a:gd name="connsiteX2251" fmla="*/ 848 w 10820"/>
                <a:gd name="connsiteY2251" fmla="*/ 4162 h 10000"/>
                <a:gd name="connsiteX2252" fmla="*/ 829 w 10820"/>
                <a:gd name="connsiteY2252" fmla="*/ 4120 h 10000"/>
                <a:gd name="connsiteX2253" fmla="*/ 820 w 10820"/>
                <a:gd name="connsiteY2253" fmla="*/ 4103 h 10000"/>
                <a:gd name="connsiteX2254" fmla="*/ 806 w 10820"/>
                <a:gd name="connsiteY2254" fmla="*/ 4077 h 10000"/>
                <a:gd name="connsiteX2255" fmla="*/ 816 w 10820"/>
                <a:gd name="connsiteY2255" fmla="*/ 4111 h 10000"/>
                <a:gd name="connsiteX2256" fmla="*/ 802 w 10820"/>
                <a:gd name="connsiteY2256" fmla="*/ 4111 h 10000"/>
                <a:gd name="connsiteX2257" fmla="*/ 770 w 10820"/>
                <a:gd name="connsiteY2257" fmla="*/ 4060 h 10000"/>
                <a:gd name="connsiteX2258" fmla="*/ 760 w 10820"/>
                <a:gd name="connsiteY2258" fmla="*/ 4077 h 10000"/>
                <a:gd name="connsiteX2259" fmla="*/ 760 w 10820"/>
                <a:gd name="connsiteY2259" fmla="*/ 4060 h 10000"/>
                <a:gd name="connsiteX2260" fmla="*/ 756 w 10820"/>
                <a:gd name="connsiteY2260" fmla="*/ 4034 h 10000"/>
                <a:gd name="connsiteX2261" fmla="*/ 742 w 10820"/>
                <a:gd name="connsiteY2261" fmla="*/ 4000 h 10000"/>
                <a:gd name="connsiteX2262" fmla="*/ 747 w 10820"/>
                <a:gd name="connsiteY2262" fmla="*/ 4034 h 10000"/>
                <a:gd name="connsiteX2263" fmla="*/ 724 w 10820"/>
                <a:gd name="connsiteY2263" fmla="*/ 4026 h 10000"/>
                <a:gd name="connsiteX2264" fmla="*/ 714 w 10820"/>
                <a:gd name="connsiteY2264" fmla="*/ 4000 h 10000"/>
                <a:gd name="connsiteX2265" fmla="*/ 714 w 10820"/>
                <a:gd name="connsiteY2265" fmla="*/ 3983 h 10000"/>
                <a:gd name="connsiteX2266" fmla="*/ 553 w 10820"/>
                <a:gd name="connsiteY2266" fmla="*/ 3726 h 10000"/>
                <a:gd name="connsiteX2267" fmla="*/ 507 w 10820"/>
                <a:gd name="connsiteY2267" fmla="*/ 3718 h 10000"/>
                <a:gd name="connsiteX2268" fmla="*/ 516 w 10820"/>
                <a:gd name="connsiteY2268" fmla="*/ 3726 h 10000"/>
                <a:gd name="connsiteX2269" fmla="*/ 507 w 10820"/>
                <a:gd name="connsiteY2269" fmla="*/ 3735 h 10000"/>
                <a:gd name="connsiteX2270" fmla="*/ 502 w 10820"/>
                <a:gd name="connsiteY2270" fmla="*/ 3735 h 10000"/>
                <a:gd name="connsiteX2271" fmla="*/ 419 w 10820"/>
                <a:gd name="connsiteY2271" fmla="*/ 3675 h 10000"/>
                <a:gd name="connsiteX2272" fmla="*/ 419 w 10820"/>
                <a:gd name="connsiteY2272" fmla="*/ 3692 h 10000"/>
                <a:gd name="connsiteX2273" fmla="*/ 401 w 10820"/>
                <a:gd name="connsiteY2273" fmla="*/ 3701 h 10000"/>
                <a:gd name="connsiteX2274" fmla="*/ 387 w 10820"/>
                <a:gd name="connsiteY2274" fmla="*/ 3718 h 10000"/>
                <a:gd name="connsiteX2275" fmla="*/ 387 w 10820"/>
                <a:gd name="connsiteY2275" fmla="*/ 3692 h 10000"/>
                <a:gd name="connsiteX2276" fmla="*/ 378 w 10820"/>
                <a:gd name="connsiteY2276" fmla="*/ 3675 h 10000"/>
                <a:gd name="connsiteX2277" fmla="*/ 378 w 10820"/>
                <a:gd name="connsiteY2277" fmla="*/ 3650 h 10000"/>
                <a:gd name="connsiteX2278" fmla="*/ 378 w 10820"/>
                <a:gd name="connsiteY2278" fmla="*/ 3650 h 10000"/>
                <a:gd name="connsiteX2279" fmla="*/ 355 w 10820"/>
                <a:gd name="connsiteY2279" fmla="*/ 3675 h 10000"/>
                <a:gd name="connsiteX2280" fmla="*/ 359 w 10820"/>
                <a:gd name="connsiteY2280" fmla="*/ 3641 h 10000"/>
                <a:gd name="connsiteX2281" fmla="*/ 346 w 10820"/>
                <a:gd name="connsiteY2281" fmla="*/ 3650 h 10000"/>
                <a:gd name="connsiteX2282" fmla="*/ 355 w 10820"/>
                <a:gd name="connsiteY2282" fmla="*/ 3624 h 10000"/>
                <a:gd name="connsiteX2283" fmla="*/ 346 w 10820"/>
                <a:gd name="connsiteY2283" fmla="*/ 3624 h 10000"/>
                <a:gd name="connsiteX2284" fmla="*/ 341 w 10820"/>
                <a:gd name="connsiteY2284" fmla="*/ 3624 h 10000"/>
                <a:gd name="connsiteX2285" fmla="*/ 318 w 10820"/>
                <a:gd name="connsiteY2285" fmla="*/ 3641 h 10000"/>
                <a:gd name="connsiteX2286" fmla="*/ 327 w 10820"/>
                <a:gd name="connsiteY2286" fmla="*/ 3624 h 10000"/>
                <a:gd name="connsiteX2287" fmla="*/ 318 w 10820"/>
                <a:gd name="connsiteY2287" fmla="*/ 3615 h 10000"/>
                <a:gd name="connsiteX2288" fmla="*/ 318 w 10820"/>
                <a:gd name="connsiteY2288" fmla="*/ 3598 h 10000"/>
                <a:gd name="connsiteX2289" fmla="*/ 300 w 10820"/>
                <a:gd name="connsiteY2289" fmla="*/ 3598 h 10000"/>
                <a:gd name="connsiteX2290" fmla="*/ 309 w 10820"/>
                <a:gd name="connsiteY2290" fmla="*/ 3538 h 10000"/>
                <a:gd name="connsiteX2291" fmla="*/ 313 w 10820"/>
                <a:gd name="connsiteY2291" fmla="*/ 3564 h 10000"/>
                <a:gd name="connsiteX2292" fmla="*/ 318 w 10820"/>
                <a:gd name="connsiteY2292" fmla="*/ 3581 h 10000"/>
                <a:gd name="connsiteX2293" fmla="*/ 327 w 10820"/>
                <a:gd name="connsiteY2293" fmla="*/ 3564 h 10000"/>
                <a:gd name="connsiteX2294" fmla="*/ 332 w 10820"/>
                <a:gd name="connsiteY2294" fmla="*/ 3590 h 10000"/>
                <a:gd name="connsiteX2295" fmla="*/ 346 w 10820"/>
                <a:gd name="connsiteY2295" fmla="*/ 3590 h 10000"/>
                <a:gd name="connsiteX2296" fmla="*/ 355 w 10820"/>
                <a:gd name="connsiteY2296" fmla="*/ 3590 h 10000"/>
                <a:gd name="connsiteX2297" fmla="*/ 369 w 10820"/>
                <a:gd name="connsiteY2297" fmla="*/ 3556 h 10000"/>
                <a:gd name="connsiteX2298" fmla="*/ 369 w 10820"/>
                <a:gd name="connsiteY2298" fmla="*/ 3538 h 10000"/>
                <a:gd name="connsiteX2299" fmla="*/ 346 w 10820"/>
                <a:gd name="connsiteY2299" fmla="*/ 3513 h 10000"/>
                <a:gd name="connsiteX2300" fmla="*/ 341 w 10820"/>
                <a:gd name="connsiteY2300" fmla="*/ 3530 h 10000"/>
                <a:gd name="connsiteX2301" fmla="*/ 327 w 10820"/>
                <a:gd name="connsiteY2301" fmla="*/ 3513 h 10000"/>
                <a:gd name="connsiteX2302" fmla="*/ 327 w 10820"/>
                <a:gd name="connsiteY2302" fmla="*/ 3504 h 10000"/>
                <a:gd name="connsiteX2303" fmla="*/ 295 w 10820"/>
                <a:gd name="connsiteY2303" fmla="*/ 3462 h 10000"/>
                <a:gd name="connsiteX2304" fmla="*/ 300 w 10820"/>
                <a:gd name="connsiteY2304" fmla="*/ 3479 h 10000"/>
                <a:gd name="connsiteX2305" fmla="*/ 295 w 10820"/>
                <a:gd name="connsiteY2305" fmla="*/ 3513 h 10000"/>
                <a:gd name="connsiteX2306" fmla="*/ 286 w 10820"/>
                <a:gd name="connsiteY2306" fmla="*/ 3513 h 10000"/>
                <a:gd name="connsiteX2307" fmla="*/ 281 w 10820"/>
                <a:gd name="connsiteY2307" fmla="*/ 3513 h 10000"/>
                <a:gd name="connsiteX2308" fmla="*/ 281 w 10820"/>
                <a:gd name="connsiteY2308" fmla="*/ 3530 h 10000"/>
                <a:gd name="connsiteX2309" fmla="*/ 281 w 10820"/>
                <a:gd name="connsiteY2309" fmla="*/ 3556 h 10000"/>
                <a:gd name="connsiteX2310" fmla="*/ 272 w 10820"/>
                <a:gd name="connsiteY2310" fmla="*/ 3564 h 10000"/>
                <a:gd name="connsiteX2311" fmla="*/ 267 w 10820"/>
                <a:gd name="connsiteY2311" fmla="*/ 3564 h 10000"/>
                <a:gd name="connsiteX2312" fmla="*/ 253 w 10820"/>
                <a:gd name="connsiteY2312" fmla="*/ 3538 h 10000"/>
                <a:gd name="connsiteX2313" fmla="*/ 226 w 10820"/>
                <a:gd name="connsiteY2313" fmla="*/ 3513 h 10000"/>
                <a:gd name="connsiteX2314" fmla="*/ 226 w 10820"/>
                <a:gd name="connsiteY2314" fmla="*/ 3530 h 10000"/>
                <a:gd name="connsiteX2315" fmla="*/ 226 w 10820"/>
                <a:gd name="connsiteY2315" fmla="*/ 3530 h 10000"/>
                <a:gd name="connsiteX2316" fmla="*/ 226 w 10820"/>
                <a:gd name="connsiteY2316" fmla="*/ 3530 h 10000"/>
                <a:gd name="connsiteX2317" fmla="*/ 226 w 10820"/>
                <a:gd name="connsiteY2317" fmla="*/ 3556 h 10000"/>
                <a:gd name="connsiteX2318" fmla="*/ 221 w 10820"/>
                <a:gd name="connsiteY2318" fmla="*/ 3598 h 10000"/>
                <a:gd name="connsiteX2319" fmla="*/ 207 w 10820"/>
                <a:gd name="connsiteY2319" fmla="*/ 3598 h 10000"/>
                <a:gd name="connsiteX2320" fmla="*/ 180 w 10820"/>
                <a:gd name="connsiteY2320" fmla="*/ 3581 h 10000"/>
                <a:gd name="connsiteX2321" fmla="*/ 171 w 10820"/>
                <a:gd name="connsiteY2321" fmla="*/ 3641 h 10000"/>
                <a:gd name="connsiteX2322" fmla="*/ 166 w 10820"/>
                <a:gd name="connsiteY2322" fmla="*/ 3650 h 10000"/>
                <a:gd name="connsiteX2323" fmla="*/ 124 w 10820"/>
                <a:gd name="connsiteY2323" fmla="*/ 3701 h 10000"/>
                <a:gd name="connsiteX2324" fmla="*/ 124 w 10820"/>
                <a:gd name="connsiteY2324" fmla="*/ 3718 h 10000"/>
                <a:gd name="connsiteX2325" fmla="*/ 120 w 10820"/>
                <a:gd name="connsiteY2325" fmla="*/ 3735 h 10000"/>
                <a:gd name="connsiteX2326" fmla="*/ 120 w 10820"/>
                <a:gd name="connsiteY2326" fmla="*/ 3735 h 10000"/>
                <a:gd name="connsiteX2327" fmla="*/ 111 w 10820"/>
                <a:gd name="connsiteY2327" fmla="*/ 3761 h 10000"/>
                <a:gd name="connsiteX2328" fmla="*/ 106 w 10820"/>
                <a:gd name="connsiteY2328" fmla="*/ 3761 h 10000"/>
                <a:gd name="connsiteX2329" fmla="*/ 106 w 10820"/>
                <a:gd name="connsiteY2329" fmla="*/ 3761 h 10000"/>
                <a:gd name="connsiteX2330" fmla="*/ 74 w 10820"/>
                <a:gd name="connsiteY2330" fmla="*/ 3829 h 10000"/>
                <a:gd name="connsiteX2331" fmla="*/ 78 w 10820"/>
                <a:gd name="connsiteY2331" fmla="*/ 3838 h 10000"/>
                <a:gd name="connsiteX2332" fmla="*/ 88 w 10820"/>
                <a:gd name="connsiteY2332" fmla="*/ 3846 h 10000"/>
                <a:gd name="connsiteX2333" fmla="*/ 65 w 10820"/>
                <a:gd name="connsiteY2333" fmla="*/ 3923 h 10000"/>
                <a:gd name="connsiteX2334" fmla="*/ 78 w 10820"/>
                <a:gd name="connsiteY2334" fmla="*/ 4026 h 10000"/>
                <a:gd name="connsiteX2335" fmla="*/ 88 w 10820"/>
                <a:gd name="connsiteY2335" fmla="*/ 4051 h 10000"/>
                <a:gd name="connsiteX2336" fmla="*/ 92 w 10820"/>
                <a:gd name="connsiteY2336" fmla="*/ 4060 h 10000"/>
                <a:gd name="connsiteX2337" fmla="*/ 111 w 10820"/>
                <a:gd name="connsiteY2337" fmla="*/ 4060 h 10000"/>
                <a:gd name="connsiteX2338" fmla="*/ 124 w 10820"/>
                <a:gd name="connsiteY2338" fmla="*/ 4085 h 10000"/>
                <a:gd name="connsiteX2339" fmla="*/ 166 w 10820"/>
                <a:gd name="connsiteY2339" fmla="*/ 4197 h 10000"/>
                <a:gd name="connsiteX2340" fmla="*/ 166 w 10820"/>
                <a:gd name="connsiteY2340" fmla="*/ 4248 h 10000"/>
                <a:gd name="connsiteX2341" fmla="*/ 120 w 10820"/>
                <a:gd name="connsiteY2341" fmla="*/ 4462 h 10000"/>
                <a:gd name="connsiteX2342" fmla="*/ 120 w 10820"/>
                <a:gd name="connsiteY2342" fmla="*/ 4513 h 10000"/>
                <a:gd name="connsiteX2343" fmla="*/ 180 w 10820"/>
                <a:gd name="connsiteY2343" fmla="*/ 4829 h 10000"/>
                <a:gd name="connsiteX2344" fmla="*/ 161 w 10820"/>
                <a:gd name="connsiteY2344" fmla="*/ 4855 h 10000"/>
                <a:gd name="connsiteX2345" fmla="*/ 152 w 10820"/>
                <a:gd name="connsiteY2345" fmla="*/ 4940 h 10000"/>
                <a:gd name="connsiteX2346" fmla="*/ 161 w 10820"/>
                <a:gd name="connsiteY2346" fmla="*/ 4966 h 10000"/>
                <a:gd name="connsiteX2347" fmla="*/ 161 w 10820"/>
                <a:gd name="connsiteY2347" fmla="*/ 5009 h 10000"/>
                <a:gd name="connsiteX2348" fmla="*/ 152 w 10820"/>
                <a:gd name="connsiteY2348" fmla="*/ 5034 h 10000"/>
                <a:gd name="connsiteX2349" fmla="*/ 152 w 10820"/>
                <a:gd name="connsiteY2349" fmla="*/ 5077 h 10000"/>
                <a:gd name="connsiteX2350" fmla="*/ 171 w 10820"/>
                <a:gd name="connsiteY2350" fmla="*/ 5094 h 10000"/>
                <a:gd name="connsiteX2351" fmla="*/ 180 w 10820"/>
                <a:gd name="connsiteY2351" fmla="*/ 5128 h 10000"/>
                <a:gd name="connsiteX2352" fmla="*/ 180 w 10820"/>
                <a:gd name="connsiteY2352" fmla="*/ 5171 h 10000"/>
                <a:gd name="connsiteX2353" fmla="*/ 184 w 10820"/>
                <a:gd name="connsiteY2353" fmla="*/ 5205 h 10000"/>
                <a:gd name="connsiteX2354" fmla="*/ 207 w 10820"/>
                <a:gd name="connsiteY2354" fmla="*/ 5239 h 10000"/>
                <a:gd name="connsiteX2355" fmla="*/ 207 w 10820"/>
                <a:gd name="connsiteY2355" fmla="*/ 5282 h 10000"/>
                <a:gd name="connsiteX2356" fmla="*/ 180 w 10820"/>
                <a:gd name="connsiteY2356" fmla="*/ 5393 h 10000"/>
                <a:gd name="connsiteX2357" fmla="*/ 194 w 10820"/>
                <a:gd name="connsiteY2357" fmla="*/ 5427 h 10000"/>
                <a:gd name="connsiteX2358" fmla="*/ 198 w 10820"/>
                <a:gd name="connsiteY2358" fmla="*/ 5462 h 10000"/>
                <a:gd name="connsiteX2359" fmla="*/ 235 w 10820"/>
                <a:gd name="connsiteY2359" fmla="*/ 5513 h 10000"/>
                <a:gd name="connsiteX2360" fmla="*/ 240 w 10820"/>
                <a:gd name="connsiteY2360" fmla="*/ 5556 h 10000"/>
                <a:gd name="connsiteX2361" fmla="*/ 253 w 10820"/>
                <a:gd name="connsiteY2361" fmla="*/ 5590 h 10000"/>
                <a:gd name="connsiteX2362" fmla="*/ 258 w 10820"/>
                <a:gd name="connsiteY2362" fmla="*/ 5573 h 10000"/>
                <a:gd name="connsiteX2363" fmla="*/ 258 w 10820"/>
                <a:gd name="connsiteY2363" fmla="*/ 5667 h 10000"/>
                <a:gd name="connsiteX2364" fmla="*/ 14 w 10820"/>
                <a:gd name="connsiteY2364" fmla="*/ 6214 h 10000"/>
                <a:gd name="connsiteX2365" fmla="*/ 14 w 10820"/>
                <a:gd name="connsiteY2365" fmla="*/ 6214 h 10000"/>
                <a:gd name="connsiteX2366" fmla="*/ 37 w 10820"/>
                <a:gd name="connsiteY2366" fmla="*/ 6214 h 10000"/>
                <a:gd name="connsiteX2367" fmla="*/ 51 w 10820"/>
                <a:gd name="connsiteY2367" fmla="*/ 6188 h 10000"/>
                <a:gd name="connsiteX2368" fmla="*/ 78 w 10820"/>
                <a:gd name="connsiteY2368" fmla="*/ 6162 h 10000"/>
                <a:gd name="connsiteX2369" fmla="*/ 78 w 10820"/>
                <a:gd name="connsiteY2369" fmla="*/ 6188 h 10000"/>
                <a:gd name="connsiteX2370" fmla="*/ 74 w 10820"/>
                <a:gd name="connsiteY2370" fmla="*/ 6197 h 10000"/>
                <a:gd name="connsiteX2371" fmla="*/ 74 w 10820"/>
                <a:gd name="connsiteY2371" fmla="*/ 6231 h 10000"/>
                <a:gd name="connsiteX2372" fmla="*/ 74 w 10820"/>
                <a:gd name="connsiteY2372" fmla="*/ 6214 h 10000"/>
                <a:gd name="connsiteX2373" fmla="*/ 65 w 10820"/>
                <a:gd name="connsiteY2373" fmla="*/ 6214 h 10000"/>
                <a:gd name="connsiteX2374" fmla="*/ 65 w 10820"/>
                <a:gd name="connsiteY2374" fmla="*/ 6248 h 10000"/>
                <a:gd name="connsiteX2375" fmla="*/ 74 w 10820"/>
                <a:gd name="connsiteY2375" fmla="*/ 6256 h 10000"/>
                <a:gd name="connsiteX2376" fmla="*/ 78 w 10820"/>
                <a:gd name="connsiteY2376" fmla="*/ 6256 h 10000"/>
                <a:gd name="connsiteX2377" fmla="*/ 106 w 10820"/>
                <a:gd name="connsiteY2377" fmla="*/ 6308 h 10000"/>
                <a:gd name="connsiteX2378" fmla="*/ 138 w 10820"/>
                <a:gd name="connsiteY2378" fmla="*/ 6299 h 10000"/>
                <a:gd name="connsiteX2379" fmla="*/ 152 w 10820"/>
                <a:gd name="connsiteY2379" fmla="*/ 6299 h 10000"/>
                <a:gd name="connsiteX2380" fmla="*/ 166 w 10820"/>
                <a:gd name="connsiteY2380" fmla="*/ 6325 h 10000"/>
                <a:gd name="connsiteX2381" fmla="*/ 166 w 10820"/>
                <a:gd name="connsiteY2381" fmla="*/ 6333 h 10000"/>
                <a:gd name="connsiteX2382" fmla="*/ 171 w 10820"/>
                <a:gd name="connsiteY2382" fmla="*/ 6350 h 10000"/>
                <a:gd name="connsiteX2383" fmla="*/ 180 w 10820"/>
                <a:gd name="connsiteY2383" fmla="*/ 6350 h 10000"/>
                <a:gd name="connsiteX2384" fmla="*/ 180 w 10820"/>
                <a:gd name="connsiteY2384" fmla="*/ 6359 h 10000"/>
                <a:gd name="connsiteX2385" fmla="*/ 171 w 10820"/>
                <a:gd name="connsiteY2385" fmla="*/ 6368 h 10000"/>
                <a:gd name="connsiteX2386" fmla="*/ 106 w 10820"/>
                <a:gd name="connsiteY2386" fmla="*/ 6350 h 10000"/>
                <a:gd name="connsiteX2387" fmla="*/ 101 w 10820"/>
                <a:gd name="connsiteY2387" fmla="*/ 6359 h 10000"/>
                <a:gd name="connsiteX2388" fmla="*/ 101 w 10820"/>
                <a:gd name="connsiteY2388" fmla="*/ 6385 h 10000"/>
                <a:gd name="connsiteX2389" fmla="*/ 78 w 10820"/>
                <a:gd name="connsiteY2389" fmla="*/ 6393 h 10000"/>
                <a:gd name="connsiteX2390" fmla="*/ 74 w 10820"/>
                <a:gd name="connsiteY2390" fmla="*/ 6385 h 10000"/>
                <a:gd name="connsiteX2391" fmla="*/ 65 w 10820"/>
                <a:gd name="connsiteY2391" fmla="*/ 6393 h 10000"/>
                <a:gd name="connsiteX2392" fmla="*/ 60 w 10820"/>
                <a:gd name="connsiteY2392" fmla="*/ 6419 h 10000"/>
                <a:gd name="connsiteX2393" fmla="*/ 51 w 10820"/>
                <a:gd name="connsiteY2393" fmla="*/ 6419 h 10000"/>
                <a:gd name="connsiteX2394" fmla="*/ 46 w 10820"/>
                <a:gd name="connsiteY2394" fmla="*/ 6410 h 10000"/>
                <a:gd name="connsiteX2395" fmla="*/ 37 w 10820"/>
                <a:gd name="connsiteY2395" fmla="*/ 6393 h 10000"/>
                <a:gd name="connsiteX2396" fmla="*/ 32 w 10820"/>
                <a:gd name="connsiteY2396" fmla="*/ 6419 h 10000"/>
                <a:gd name="connsiteX2397" fmla="*/ 37 w 10820"/>
                <a:gd name="connsiteY2397" fmla="*/ 6462 h 10000"/>
                <a:gd name="connsiteX2398" fmla="*/ 46 w 10820"/>
                <a:gd name="connsiteY2398" fmla="*/ 6462 h 10000"/>
                <a:gd name="connsiteX2399" fmla="*/ 51 w 10820"/>
                <a:gd name="connsiteY2399" fmla="*/ 6470 h 10000"/>
                <a:gd name="connsiteX2400" fmla="*/ 51 w 10820"/>
                <a:gd name="connsiteY2400" fmla="*/ 6496 h 10000"/>
                <a:gd name="connsiteX2401" fmla="*/ 51 w 10820"/>
                <a:gd name="connsiteY2401" fmla="*/ 6504 h 10000"/>
                <a:gd name="connsiteX2402" fmla="*/ 37 w 10820"/>
                <a:gd name="connsiteY2402" fmla="*/ 6530 h 10000"/>
                <a:gd name="connsiteX2403" fmla="*/ 18 w 10820"/>
                <a:gd name="connsiteY2403" fmla="*/ 6598 h 10000"/>
                <a:gd name="connsiteX2404" fmla="*/ 28 w 10820"/>
                <a:gd name="connsiteY2404" fmla="*/ 6632 h 10000"/>
                <a:gd name="connsiteX2405" fmla="*/ 18 w 10820"/>
                <a:gd name="connsiteY2405" fmla="*/ 6667 h 10000"/>
                <a:gd name="connsiteX2406" fmla="*/ 28 w 10820"/>
                <a:gd name="connsiteY2406" fmla="*/ 6692 h 10000"/>
                <a:gd name="connsiteX2407" fmla="*/ 28 w 10820"/>
                <a:gd name="connsiteY2407" fmla="*/ 6709 h 10000"/>
                <a:gd name="connsiteX2408" fmla="*/ 18 w 10820"/>
                <a:gd name="connsiteY2408" fmla="*/ 6718 h 10000"/>
                <a:gd name="connsiteX2409" fmla="*/ 5 w 10820"/>
                <a:gd name="connsiteY2409" fmla="*/ 6744 h 10000"/>
                <a:gd name="connsiteX2410" fmla="*/ 0 w 10820"/>
                <a:gd name="connsiteY2410" fmla="*/ 6769 h 10000"/>
                <a:gd name="connsiteX2411" fmla="*/ 5 w 10820"/>
                <a:gd name="connsiteY2411" fmla="*/ 6778 h 10000"/>
                <a:gd name="connsiteX2412" fmla="*/ 32 w 10820"/>
                <a:gd name="connsiteY2412" fmla="*/ 6778 h 10000"/>
                <a:gd name="connsiteX2413" fmla="*/ 46 w 10820"/>
                <a:gd name="connsiteY2413" fmla="*/ 6821 h 10000"/>
                <a:gd name="connsiteX2414" fmla="*/ 46 w 10820"/>
                <a:gd name="connsiteY2414" fmla="*/ 6855 h 10000"/>
                <a:gd name="connsiteX2415" fmla="*/ 32 w 10820"/>
                <a:gd name="connsiteY2415" fmla="*/ 6855 h 10000"/>
                <a:gd name="connsiteX2416" fmla="*/ 14 w 10820"/>
                <a:gd name="connsiteY2416" fmla="*/ 6821 h 10000"/>
                <a:gd name="connsiteX2417" fmla="*/ 14 w 10820"/>
                <a:gd name="connsiteY2417" fmla="*/ 6846 h 10000"/>
                <a:gd name="connsiteX2418" fmla="*/ 0 w 10820"/>
                <a:gd name="connsiteY2418" fmla="*/ 6897 h 10000"/>
                <a:gd name="connsiteX2419" fmla="*/ 0 w 10820"/>
                <a:gd name="connsiteY2419" fmla="*/ 6915 h 10000"/>
                <a:gd name="connsiteX2420" fmla="*/ 5 w 10820"/>
                <a:gd name="connsiteY2420" fmla="*/ 6932 h 10000"/>
                <a:gd name="connsiteX2421" fmla="*/ 14 w 10820"/>
                <a:gd name="connsiteY2421" fmla="*/ 6940 h 10000"/>
                <a:gd name="connsiteX2422" fmla="*/ 18 w 10820"/>
                <a:gd name="connsiteY2422" fmla="*/ 6957 h 10000"/>
                <a:gd name="connsiteX2423" fmla="*/ 28 w 10820"/>
                <a:gd name="connsiteY2423" fmla="*/ 6966 h 10000"/>
                <a:gd name="connsiteX2424" fmla="*/ 28 w 10820"/>
                <a:gd name="connsiteY2424" fmla="*/ 6983 h 10000"/>
                <a:gd name="connsiteX2425" fmla="*/ 18 w 10820"/>
                <a:gd name="connsiteY2425" fmla="*/ 7051 h 10000"/>
                <a:gd name="connsiteX2426" fmla="*/ 28 w 10820"/>
                <a:gd name="connsiteY2426" fmla="*/ 7068 h 10000"/>
                <a:gd name="connsiteX2427" fmla="*/ 32 w 10820"/>
                <a:gd name="connsiteY2427" fmla="*/ 7068 h 10000"/>
                <a:gd name="connsiteX2428" fmla="*/ 32 w 10820"/>
                <a:gd name="connsiteY2428" fmla="*/ 7094 h 10000"/>
                <a:gd name="connsiteX2429" fmla="*/ 60 w 10820"/>
                <a:gd name="connsiteY2429" fmla="*/ 7162 h 10000"/>
                <a:gd name="connsiteX2430" fmla="*/ 60 w 10820"/>
                <a:gd name="connsiteY2430" fmla="*/ 7231 h 10000"/>
                <a:gd name="connsiteX2431" fmla="*/ 60 w 10820"/>
                <a:gd name="connsiteY2431" fmla="*/ 7239 h 10000"/>
                <a:gd name="connsiteX2432" fmla="*/ 78 w 10820"/>
                <a:gd name="connsiteY2432" fmla="*/ 7239 h 10000"/>
                <a:gd name="connsiteX2433" fmla="*/ 88 w 10820"/>
                <a:gd name="connsiteY2433" fmla="*/ 7239 h 10000"/>
                <a:gd name="connsiteX2434" fmla="*/ 92 w 10820"/>
                <a:gd name="connsiteY2434" fmla="*/ 7256 h 10000"/>
                <a:gd name="connsiteX2435" fmla="*/ 111 w 10820"/>
                <a:gd name="connsiteY2435" fmla="*/ 7256 h 10000"/>
                <a:gd name="connsiteX2436" fmla="*/ 120 w 10820"/>
                <a:gd name="connsiteY2436" fmla="*/ 7256 h 10000"/>
                <a:gd name="connsiteX2437" fmla="*/ 134 w 10820"/>
                <a:gd name="connsiteY2437" fmla="*/ 7282 h 10000"/>
                <a:gd name="connsiteX2438" fmla="*/ 134 w 10820"/>
                <a:gd name="connsiteY2438" fmla="*/ 7316 h 10000"/>
                <a:gd name="connsiteX2439" fmla="*/ 152 w 10820"/>
                <a:gd name="connsiteY2439" fmla="*/ 7299 h 10000"/>
                <a:gd name="connsiteX2440" fmla="*/ 161 w 10820"/>
                <a:gd name="connsiteY2440" fmla="*/ 7299 h 10000"/>
                <a:gd name="connsiteX2441" fmla="*/ 166 w 10820"/>
                <a:gd name="connsiteY2441" fmla="*/ 7291 h 10000"/>
                <a:gd name="connsiteX2442" fmla="*/ 194 w 10820"/>
                <a:gd name="connsiteY2442" fmla="*/ 7291 h 10000"/>
                <a:gd name="connsiteX2443" fmla="*/ 207 w 10820"/>
                <a:gd name="connsiteY2443" fmla="*/ 7299 h 10000"/>
                <a:gd name="connsiteX2444" fmla="*/ 221 w 10820"/>
                <a:gd name="connsiteY2444" fmla="*/ 7342 h 10000"/>
                <a:gd name="connsiteX2445" fmla="*/ 235 w 10820"/>
                <a:gd name="connsiteY2445" fmla="*/ 7342 h 10000"/>
                <a:gd name="connsiteX2446" fmla="*/ 235 w 10820"/>
                <a:gd name="connsiteY2446" fmla="*/ 7368 h 10000"/>
                <a:gd name="connsiteX2447" fmla="*/ 226 w 10820"/>
                <a:gd name="connsiteY2447" fmla="*/ 7393 h 10000"/>
                <a:gd name="connsiteX2448" fmla="*/ 226 w 10820"/>
                <a:gd name="connsiteY2448" fmla="*/ 7402 h 10000"/>
                <a:gd name="connsiteX2449" fmla="*/ 235 w 10820"/>
                <a:gd name="connsiteY2449" fmla="*/ 7419 h 10000"/>
                <a:gd name="connsiteX2450" fmla="*/ 240 w 10820"/>
                <a:gd name="connsiteY2450" fmla="*/ 7436 h 10000"/>
                <a:gd name="connsiteX2451" fmla="*/ 235 w 10820"/>
                <a:gd name="connsiteY2451" fmla="*/ 7462 h 10000"/>
                <a:gd name="connsiteX2452" fmla="*/ 226 w 10820"/>
                <a:gd name="connsiteY2452" fmla="*/ 7479 h 10000"/>
                <a:gd name="connsiteX2453" fmla="*/ 226 w 10820"/>
                <a:gd name="connsiteY2453" fmla="*/ 7504 h 10000"/>
                <a:gd name="connsiteX2454" fmla="*/ 226 w 10820"/>
                <a:gd name="connsiteY2454" fmla="*/ 7513 h 10000"/>
                <a:gd name="connsiteX2455" fmla="*/ 240 w 10820"/>
                <a:gd name="connsiteY2455" fmla="*/ 7538 h 10000"/>
                <a:gd name="connsiteX2456" fmla="*/ 267 w 10820"/>
                <a:gd name="connsiteY2456" fmla="*/ 7641 h 10000"/>
                <a:gd name="connsiteX2457" fmla="*/ 281 w 10820"/>
                <a:gd name="connsiteY2457" fmla="*/ 7667 h 10000"/>
                <a:gd name="connsiteX2458" fmla="*/ 286 w 10820"/>
                <a:gd name="connsiteY2458" fmla="*/ 7675 h 10000"/>
                <a:gd name="connsiteX2459" fmla="*/ 286 w 10820"/>
                <a:gd name="connsiteY2459" fmla="*/ 7692 h 10000"/>
                <a:gd name="connsiteX2460" fmla="*/ 286 w 10820"/>
                <a:gd name="connsiteY2460" fmla="*/ 7709 h 10000"/>
                <a:gd name="connsiteX2461" fmla="*/ 295 w 10820"/>
                <a:gd name="connsiteY2461" fmla="*/ 7726 h 10000"/>
                <a:gd name="connsiteX2462" fmla="*/ 318 w 10820"/>
                <a:gd name="connsiteY2462" fmla="*/ 7709 h 10000"/>
                <a:gd name="connsiteX2463" fmla="*/ 327 w 10820"/>
                <a:gd name="connsiteY2463" fmla="*/ 7726 h 10000"/>
                <a:gd name="connsiteX2464" fmla="*/ 341 w 10820"/>
                <a:gd name="connsiteY2464" fmla="*/ 7735 h 10000"/>
                <a:gd name="connsiteX2465" fmla="*/ 332 w 10820"/>
                <a:gd name="connsiteY2465" fmla="*/ 7752 h 10000"/>
                <a:gd name="connsiteX2466" fmla="*/ 341 w 10820"/>
                <a:gd name="connsiteY2466" fmla="*/ 7761 h 10000"/>
                <a:gd name="connsiteX2467" fmla="*/ 355 w 10820"/>
                <a:gd name="connsiteY2467" fmla="*/ 7761 h 10000"/>
                <a:gd name="connsiteX2468" fmla="*/ 355 w 10820"/>
                <a:gd name="connsiteY2468" fmla="*/ 7803 h 10000"/>
                <a:gd name="connsiteX2469" fmla="*/ 313 w 10820"/>
                <a:gd name="connsiteY2469" fmla="*/ 7846 h 10000"/>
                <a:gd name="connsiteX2470" fmla="*/ 295 w 10820"/>
                <a:gd name="connsiteY2470" fmla="*/ 7846 h 10000"/>
                <a:gd name="connsiteX2471" fmla="*/ 281 w 10820"/>
                <a:gd name="connsiteY2471" fmla="*/ 7821 h 10000"/>
                <a:gd name="connsiteX2472" fmla="*/ 272 w 10820"/>
                <a:gd name="connsiteY2472" fmla="*/ 7821 h 10000"/>
                <a:gd name="connsiteX2473" fmla="*/ 267 w 10820"/>
                <a:gd name="connsiteY2473" fmla="*/ 7838 h 10000"/>
                <a:gd name="connsiteX2474" fmla="*/ 258 w 10820"/>
                <a:gd name="connsiteY2474" fmla="*/ 7846 h 10000"/>
                <a:gd name="connsiteX2475" fmla="*/ 253 w 10820"/>
                <a:gd name="connsiteY2475" fmla="*/ 7863 h 10000"/>
                <a:gd name="connsiteX2476" fmla="*/ 253 w 10820"/>
                <a:gd name="connsiteY2476" fmla="*/ 7872 h 10000"/>
                <a:gd name="connsiteX2477" fmla="*/ 267 w 10820"/>
                <a:gd name="connsiteY2477" fmla="*/ 7897 h 10000"/>
                <a:gd name="connsiteX2478" fmla="*/ 272 w 10820"/>
                <a:gd name="connsiteY2478" fmla="*/ 7915 h 10000"/>
                <a:gd name="connsiteX2479" fmla="*/ 267 w 10820"/>
                <a:gd name="connsiteY2479" fmla="*/ 7940 h 10000"/>
                <a:gd name="connsiteX2480" fmla="*/ 272 w 10820"/>
                <a:gd name="connsiteY2480" fmla="*/ 7949 h 10000"/>
                <a:gd name="connsiteX2481" fmla="*/ 272 w 10820"/>
                <a:gd name="connsiteY2481" fmla="*/ 7957 h 10000"/>
                <a:gd name="connsiteX2482" fmla="*/ 281 w 10820"/>
                <a:gd name="connsiteY2482" fmla="*/ 7974 h 10000"/>
                <a:gd name="connsiteX2483" fmla="*/ 286 w 10820"/>
                <a:gd name="connsiteY2483" fmla="*/ 7983 h 10000"/>
                <a:gd name="connsiteX2484" fmla="*/ 281 w 10820"/>
                <a:gd name="connsiteY2484" fmla="*/ 8009 h 10000"/>
                <a:gd name="connsiteX2485" fmla="*/ 286 w 10820"/>
                <a:gd name="connsiteY2485" fmla="*/ 8060 h 10000"/>
                <a:gd name="connsiteX2486" fmla="*/ 286 w 10820"/>
                <a:gd name="connsiteY2486" fmla="*/ 8060 h 10000"/>
                <a:gd name="connsiteX2487" fmla="*/ 295 w 10820"/>
                <a:gd name="connsiteY2487" fmla="*/ 8077 h 10000"/>
                <a:gd name="connsiteX2488" fmla="*/ 309 w 10820"/>
                <a:gd name="connsiteY2488" fmla="*/ 8077 h 10000"/>
                <a:gd name="connsiteX2489" fmla="*/ 313 w 10820"/>
                <a:gd name="connsiteY2489" fmla="*/ 8060 h 10000"/>
                <a:gd name="connsiteX2490" fmla="*/ 318 w 10820"/>
                <a:gd name="connsiteY2490" fmla="*/ 8051 h 10000"/>
                <a:gd name="connsiteX2491" fmla="*/ 318 w 10820"/>
                <a:gd name="connsiteY2491" fmla="*/ 8034 h 10000"/>
                <a:gd name="connsiteX2492" fmla="*/ 332 w 10820"/>
                <a:gd name="connsiteY2492" fmla="*/ 8026 h 10000"/>
                <a:gd name="connsiteX2493" fmla="*/ 359 w 10820"/>
                <a:gd name="connsiteY2493" fmla="*/ 8034 h 10000"/>
                <a:gd name="connsiteX2494" fmla="*/ 378 w 10820"/>
                <a:gd name="connsiteY2494" fmla="*/ 8026 h 10000"/>
                <a:gd name="connsiteX2495" fmla="*/ 401 w 10820"/>
                <a:gd name="connsiteY2495" fmla="*/ 8026 h 10000"/>
                <a:gd name="connsiteX2496" fmla="*/ 419 w 10820"/>
                <a:gd name="connsiteY2496" fmla="*/ 8009 h 10000"/>
                <a:gd name="connsiteX2497" fmla="*/ 433 w 10820"/>
                <a:gd name="connsiteY2497" fmla="*/ 8034 h 10000"/>
                <a:gd name="connsiteX2498" fmla="*/ 442 w 10820"/>
                <a:gd name="connsiteY2498" fmla="*/ 8060 h 10000"/>
                <a:gd name="connsiteX2499" fmla="*/ 442 w 10820"/>
                <a:gd name="connsiteY2499" fmla="*/ 8077 h 10000"/>
                <a:gd name="connsiteX2500" fmla="*/ 461 w 10820"/>
                <a:gd name="connsiteY2500" fmla="*/ 8111 h 10000"/>
                <a:gd name="connsiteX2501" fmla="*/ 461 w 10820"/>
                <a:gd name="connsiteY2501" fmla="*/ 8137 h 10000"/>
                <a:gd name="connsiteX2502" fmla="*/ 447 w 10820"/>
                <a:gd name="connsiteY2502" fmla="*/ 8145 h 10000"/>
                <a:gd name="connsiteX2503" fmla="*/ 442 w 10820"/>
                <a:gd name="connsiteY2503" fmla="*/ 8145 h 10000"/>
                <a:gd name="connsiteX2504" fmla="*/ 442 w 10820"/>
                <a:gd name="connsiteY2504" fmla="*/ 8162 h 10000"/>
                <a:gd name="connsiteX2505" fmla="*/ 442 w 10820"/>
                <a:gd name="connsiteY2505" fmla="*/ 8171 h 10000"/>
                <a:gd name="connsiteX2506" fmla="*/ 447 w 10820"/>
                <a:gd name="connsiteY2506" fmla="*/ 8214 h 10000"/>
                <a:gd name="connsiteX2507" fmla="*/ 465 w 10820"/>
                <a:gd name="connsiteY2507" fmla="*/ 8231 h 10000"/>
                <a:gd name="connsiteX2508" fmla="*/ 488 w 10820"/>
                <a:gd name="connsiteY2508" fmla="*/ 8231 h 10000"/>
                <a:gd name="connsiteX2509" fmla="*/ 493 w 10820"/>
                <a:gd name="connsiteY2509" fmla="*/ 8231 h 10000"/>
                <a:gd name="connsiteX2510" fmla="*/ 502 w 10820"/>
                <a:gd name="connsiteY2510" fmla="*/ 8231 h 10000"/>
                <a:gd name="connsiteX2511" fmla="*/ 507 w 10820"/>
                <a:gd name="connsiteY2511" fmla="*/ 8248 h 10000"/>
                <a:gd name="connsiteX2512" fmla="*/ 521 w 10820"/>
                <a:gd name="connsiteY2512" fmla="*/ 8274 h 10000"/>
                <a:gd name="connsiteX2513" fmla="*/ 525 w 10820"/>
                <a:gd name="connsiteY2513" fmla="*/ 8333 h 10000"/>
                <a:gd name="connsiteX2514" fmla="*/ 525 w 10820"/>
                <a:gd name="connsiteY2514" fmla="*/ 8359 h 10000"/>
                <a:gd name="connsiteX2515" fmla="*/ 525 w 10820"/>
                <a:gd name="connsiteY2515" fmla="*/ 8368 h 10000"/>
                <a:gd name="connsiteX2516" fmla="*/ 548 w 10820"/>
                <a:gd name="connsiteY2516" fmla="*/ 8393 h 10000"/>
                <a:gd name="connsiteX2517" fmla="*/ 553 w 10820"/>
                <a:gd name="connsiteY2517" fmla="*/ 8385 h 10000"/>
                <a:gd name="connsiteX2518" fmla="*/ 562 w 10820"/>
                <a:gd name="connsiteY2518" fmla="*/ 8385 h 10000"/>
                <a:gd name="connsiteX2519" fmla="*/ 576 w 10820"/>
                <a:gd name="connsiteY2519" fmla="*/ 8385 h 10000"/>
                <a:gd name="connsiteX2520" fmla="*/ 585 w 10820"/>
                <a:gd name="connsiteY2520" fmla="*/ 8410 h 10000"/>
                <a:gd name="connsiteX2521" fmla="*/ 594 w 10820"/>
                <a:gd name="connsiteY2521" fmla="*/ 8410 h 10000"/>
                <a:gd name="connsiteX2522" fmla="*/ 608 w 10820"/>
                <a:gd name="connsiteY2522" fmla="*/ 8410 h 10000"/>
                <a:gd name="connsiteX2523" fmla="*/ 654 w 10820"/>
                <a:gd name="connsiteY2523" fmla="*/ 8385 h 10000"/>
                <a:gd name="connsiteX2524" fmla="*/ 659 w 10820"/>
                <a:gd name="connsiteY2524" fmla="*/ 8385 h 10000"/>
                <a:gd name="connsiteX2525" fmla="*/ 696 w 10820"/>
                <a:gd name="connsiteY2525" fmla="*/ 8470 h 10000"/>
                <a:gd name="connsiteX2526" fmla="*/ 700 w 10820"/>
                <a:gd name="connsiteY2526" fmla="*/ 8470 h 10000"/>
                <a:gd name="connsiteX2527" fmla="*/ 710 w 10820"/>
                <a:gd name="connsiteY2527" fmla="*/ 8462 h 10000"/>
                <a:gd name="connsiteX2528" fmla="*/ 714 w 10820"/>
                <a:gd name="connsiteY2528" fmla="*/ 8462 h 10000"/>
                <a:gd name="connsiteX2529" fmla="*/ 724 w 10820"/>
                <a:gd name="connsiteY2529" fmla="*/ 8470 h 10000"/>
                <a:gd name="connsiteX2530" fmla="*/ 733 w 10820"/>
                <a:gd name="connsiteY2530" fmla="*/ 8470 h 10000"/>
                <a:gd name="connsiteX2531" fmla="*/ 742 w 10820"/>
                <a:gd name="connsiteY2531" fmla="*/ 8487 h 10000"/>
                <a:gd name="connsiteX2532" fmla="*/ 747 w 10820"/>
                <a:gd name="connsiteY2532" fmla="*/ 8496 h 10000"/>
                <a:gd name="connsiteX2533" fmla="*/ 770 w 10820"/>
                <a:gd name="connsiteY2533" fmla="*/ 8496 h 10000"/>
                <a:gd name="connsiteX2534" fmla="*/ 783 w 10820"/>
                <a:gd name="connsiteY2534" fmla="*/ 8521 h 10000"/>
                <a:gd name="connsiteX2535" fmla="*/ 797 w 10820"/>
                <a:gd name="connsiteY2535" fmla="*/ 8521 h 10000"/>
                <a:gd name="connsiteX2536" fmla="*/ 806 w 10820"/>
                <a:gd name="connsiteY2536" fmla="*/ 8530 h 10000"/>
                <a:gd name="connsiteX2537" fmla="*/ 829 w 10820"/>
                <a:gd name="connsiteY2537" fmla="*/ 8547 h 10000"/>
                <a:gd name="connsiteX2538" fmla="*/ 834 w 10820"/>
                <a:gd name="connsiteY2538" fmla="*/ 8556 h 10000"/>
                <a:gd name="connsiteX2539" fmla="*/ 829 w 10820"/>
                <a:gd name="connsiteY2539" fmla="*/ 8556 h 10000"/>
                <a:gd name="connsiteX2540" fmla="*/ 834 w 10820"/>
                <a:gd name="connsiteY2540" fmla="*/ 8607 h 10000"/>
                <a:gd name="connsiteX2541" fmla="*/ 829 w 10820"/>
                <a:gd name="connsiteY2541" fmla="*/ 8641 h 10000"/>
                <a:gd name="connsiteX2542" fmla="*/ 806 w 10820"/>
                <a:gd name="connsiteY2542" fmla="*/ 8658 h 10000"/>
                <a:gd name="connsiteX2543" fmla="*/ 816 w 10820"/>
                <a:gd name="connsiteY2543" fmla="*/ 8667 h 10000"/>
                <a:gd name="connsiteX2544" fmla="*/ 820 w 10820"/>
                <a:gd name="connsiteY2544" fmla="*/ 8667 h 10000"/>
                <a:gd name="connsiteX2545" fmla="*/ 829 w 10820"/>
                <a:gd name="connsiteY2545" fmla="*/ 8684 h 10000"/>
                <a:gd name="connsiteX2546" fmla="*/ 806 w 10820"/>
                <a:gd name="connsiteY2546" fmla="*/ 8692 h 10000"/>
                <a:gd name="connsiteX2547" fmla="*/ 802 w 10820"/>
                <a:gd name="connsiteY2547" fmla="*/ 8709 h 10000"/>
                <a:gd name="connsiteX2548" fmla="*/ 802 w 10820"/>
                <a:gd name="connsiteY2548" fmla="*/ 8735 h 10000"/>
                <a:gd name="connsiteX2549" fmla="*/ 806 w 10820"/>
                <a:gd name="connsiteY2549" fmla="*/ 8744 h 10000"/>
                <a:gd name="connsiteX2550" fmla="*/ 816 w 10820"/>
                <a:gd name="connsiteY2550" fmla="*/ 8752 h 10000"/>
                <a:gd name="connsiteX2551" fmla="*/ 806 w 10820"/>
                <a:gd name="connsiteY2551" fmla="*/ 8778 h 10000"/>
                <a:gd name="connsiteX2552" fmla="*/ 820 w 10820"/>
                <a:gd name="connsiteY2552" fmla="*/ 8778 h 10000"/>
                <a:gd name="connsiteX2553" fmla="*/ 806 w 10820"/>
                <a:gd name="connsiteY2553" fmla="*/ 8880 h 10000"/>
                <a:gd name="connsiteX2554" fmla="*/ 797 w 10820"/>
                <a:gd name="connsiteY2554" fmla="*/ 8880 h 10000"/>
                <a:gd name="connsiteX2555" fmla="*/ 783 w 10820"/>
                <a:gd name="connsiteY2555" fmla="*/ 8872 h 10000"/>
                <a:gd name="connsiteX2556" fmla="*/ 770 w 10820"/>
                <a:gd name="connsiteY2556" fmla="*/ 8880 h 10000"/>
                <a:gd name="connsiteX2557" fmla="*/ 756 w 10820"/>
                <a:gd name="connsiteY2557" fmla="*/ 8855 h 10000"/>
                <a:gd name="connsiteX2558" fmla="*/ 733 w 10820"/>
                <a:gd name="connsiteY2558" fmla="*/ 8906 h 10000"/>
                <a:gd name="connsiteX2559" fmla="*/ 714 w 10820"/>
                <a:gd name="connsiteY2559" fmla="*/ 8915 h 10000"/>
                <a:gd name="connsiteX2560" fmla="*/ 710 w 10820"/>
                <a:gd name="connsiteY2560" fmla="*/ 8940 h 10000"/>
                <a:gd name="connsiteX2561" fmla="*/ 710 w 10820"/>
                <a:gd name="connsiteY2561" fmla="*/ 9009 h 10000"/>
                <a:gd name="connsiteX2562" fmla="*/ 728 w 10820"/>
                <a:gd name="connsiteY2562" fmla="*/ 8991 h 10000"/>
                <a:gd name="connsiteX2563" fmla="*/ 733 w 10820"/>
                <a:gd name="connsiteY2563" fmla="*/ 8991 h 10000"/>
                <a:gd name="connsiteX2564" fmla="*/ 747 w 10820"/>
                <a:gd name="connsiteY2564" fmla="*/ 8983 h 10000"/>
                <a:gd name="connsiteX2565" fmla="*/ 760 w 10820"/>
                <a:gd name="connsiteY2565" fmla="*/ 8983 h 10000"/>
                <a:gd name="connsiteX2566" fmla="*/ 770 w 10820"/>
                <a:gd name="connsiteY2566" fmla="*/ 8983 h 10000"/>
                <a:gd name="connsiteX2567" fmla="*/ 770 w 10820"/>
                <a:gd name="connsiteY2567" fmla="*/ 8991 h 10000"/>
                <a:gd name="connsiteX2568" fmla="*/ 783 w 10820"/>
                <a:gd name="connsiteY2568" fmla="*/ 8991 h 10000"/>
                <a:gd name="connsiteX2569" fmla="*/ 783 w 10820"/>
                <a:gd name="connsiteY2569" fmla="*/ 9009 h 10000"/>
                <a:gd name="connsiteX2570" fmla="*/ 783 w 10820"/>
                <a:gd name="connsiteY2570" fmla="*/ 9017 h 10000"/>
                <a:gd name="connsiteX2571" fmla="*/ 770 w 10820"/>
                <a:gd name="connsiteY2571" fmla="*/ 9017 h 10000"/>
                <a:gd name="connsiteX2572" fmla="*/ 724 w 10820"/>
                <a:gd name="connsiteY2572" fmla="*/ 9051 h 10000"/>
                <a:gd name="connsiteX2573" fmla="*/ 724 w 10820"/>
                <a:gd name="connsiteY2573" fmla="*/ 9068 h 10000"/>
                <a:gd name="connsiteX2574" fmla="*/ 728 w 10820"/>
                <a:gd name="connsiteY2574" fmla="*/ 9077 h 10000"/>
                <a:gd name="connsiteX2575" fmla="*/ 724 w 10820"/>
                <a:gd name="connsiteY2575" fmla="*/ 9077 h 10000"/>
                <a:gd name="connsiteX2576" fmla="*/ 710 w 10820"/>
                <a:gd name="connsiteY2576" fmla="*/ 9077 h 10000"/>
                <a:gd name="connsiteX2577" fmla="*/ 682 w 10820"/>
                <a:gd name="connsiteY2577" fmla="*/ 9077 h 10000"/>
                <a:gd name="connsiteX2578" fmla="*/ 673 w 10820"/>
                <a:gd name="connsiteY2578" fmla="*/ 9103 h 10000"/>
                <a:gd name="connsiteX2579" fmla="*/ 687 w 10820"/>
                <a:gd name="connsiteY2579" fmla="*/ 9128 h 10000"/>
                <a:gd name="connsiteX2580" fmla="*/ 700 w 10820"/>
                <a:gd name="connsiteY2580" fmla="*/ 9128 h 10000"/>
                <a:gd name="connsiteX2581" fmla="*/ 728 w 10820"/>
                <a:gd name="connsiteY2581" fmla="*/ 9179 h 10000"/>
                <a:gd name="connsiteX2582" fmla="*/ 724 w 10820"/>
                <a:gd name="connsiteY2582" fmla="*/ 9188 h 10000"/>
                <a:gd name="connsiteX2583" fmla="*/ 710 w 10820"/>
                <a:gd name="connsiteY2583" fmla="*/ 9179 h 10000"/>
                <a:gd name="connsiteX2584" fmla="*/ 700 w 10820"/>
                <a:gd name="connsiteY2584" fmla="*/ 9205 h 10000"/>
                <a:gd name="connsiteX2585" fmla="*/ 696 w 10820"/>
                <a:gd name="connsiteY2585" fmla="*/ 9205 h 10000"/>
                <a:gd name="connsiteX2586" fmla="*/ 654 w 10820"/>
                <a:gd name="connsiteY2586" fmla="*/ 9299 h 10000"/>
                <a:gd name="connsiteX2587" fmla="*/ 622 w 10820"/>
                <a:gd name="connsiteY2587" fmla="*/ 9299 h 10000"/>
                <a:gd name="connsiteX2588" fmla="*/ 613 w 10820"/>
                <a:gd name="connsiteY2588" fmla="*/ 9316 h 10000"/>
                <a:gd name="connsiteX2589" fmla="*/ 613 w 10820"/>
                <a:gd name="connsiteY2589" fmla="*/ 9325 h 10000"/>
                <a:gd name="connsiteX2590" fmla="*/ 608 w 10820"/>
                <a:gd name="connsiteY2590" fmla="*/ 9342 h 10000"/>
                <a:gd name="connsiteX2591" fmla="*/ 636 w 10820"/>
                <a:gd name="connsiteY2591" fmla="*/ 9376 h 10000"/>
                <a:gd name="connsiteX2592" fmla="*/ 641 w 10820"/>
                <a:gd name="connsiteY2592" fmla="*/ 9402 h 10000"/>
                <a:gd name="connsiteX2593" fmla="*/ 654 w 10820"/>
                <a:gd name="connsiteY2593" fmla="*/ 9427 h 10000"/>
                <a:gd name="connsiteX2594" fmla="*/ 668 w 10820"/>
                <a:gd name="connsiteY2594" fmla="*/ 9427 h 10000"/>
                <a:gd name="connsiteX2595" fmla="*/ 668 w 10820"/>
                <a:gd name="connsiteY2595" fmla="*/ 9427 h 10000"/>
                <a:gd name="connsiteX2596" fmla="*/ 774 w 10820"/>
                <a:gd name="connsiteY2596" fmla="*/ 9547 h 10000"/>
                <a:gd name="connsiteX2597" fmla="*/ 797 w 10820"/>
                <a:gd name="connsiteY2597" fmla="*/ 9598 h 10000"/>
                <a:gd name="connsiteX2598" fmla="*/ 802 w 10820"/>
                <a:gd name="connsiteY2598" fmla="*/ 9598 h 10000"/>
                <a:gd name="connsiteX2599" fmla="*/ 816 w 10820"/>
                <a:gd name="connsiteY2599" fmla="*/ 9624 h 10000"/>
                <a:gd name="connsiteX2600" fmla="*/ 843 w 10820"/>
                <a:gd name="connsiteY2600" fmla="*/ 9615 h 10000"/>
                <a:gd name="connsiteX2601" fmla="*/ 857 w 10820"/>
                <a:gd name="connsiteY2601" fmla="*/ 9624 h 10000"/>
                <a:gd name="connsiteX2602" fmla="*/ 862 w 10820"/>
                <a:gd name="connsiteY2602" fmla="*/ 9615 h 10000"/>
                <a:gd name="connsiteX2603" fmla="*/ 880 w 10820"/>
                <a:gd name="connsiteY2603" fmla="*/ 9624 h 10000"/>
                <a:gd name="connsiteX2604" fmla="*/ 889 w 10820"/>
                <a:gd name="connsiteY2604" fmla="*/ 9641 h 10000"/>
                <a:gd name="connsiteX2605" fmla="*/ 935 w 10820"/>
                <a:gd name="connsiteY2605" fmla="*/ 9675 h 10000"/>
                <a:gd name="connsiteX2606" fmla="*/ 977 w 10820"/>
                <a:gd name="connsiteY2606" fmla="*/ 9667 h 10000"/>
                <a:gd name="connsiteX2607" fmla="*/ 995 w 10820"/>
                <a:gd name="connsiteY2607" fmla="*/ 9675 h 10000"/>
                <a:gd name="connsiteX2608" fmla="*/ 1014 w 10820"/>
                <a:gd name="connsiteY2608" fmla="*/ 9675 h 10000"/>
                <a:gd name="connsiteX2609" fmla="*/ 1069 w 10820"/>
                <a:gd name="connsiteY2609" fmla="*/ 9752 h 10000"/>
                <a:gd name="connsiteX2610" fmla="*/ 1074 w 10820"/>
                <a:gd name="connsiteY2610" fmla="*/ 9761 h 10000"/>
                <a:gd name="connsiteX2611" fmla="*/ 1083 w 10820"/>
                <a:gd name="connsiteY2611" fmla="*/ 9778 h 10000"/>
                <a:gd name="connsiteX2612" fmla="*/ 1115 w 10820"/>
                <a:gd name="connsiteY2612" fmla="*/ 9752 h 10000"/>
                <a:gd name="connsiteX2613" fmla="*/ 1129 w 10820"/>
                <a:gd name="connsiteY2613" fmla="*/ 9752 h 10000"/>
                <a:gd name="connsiteX2614" fmla="*/ 1138 w 10820"/>
                <a:gd name="connsiteY2614" fmla="*/ 9761 h 10000"/>
                <a:gd name="connsiteX2615" fmla="*/ 1143 w 10820"/>
                <a:gd name="connsiteY2615" fmla="*/ 9752 h 10000"/>
                <a:gd name="connsiteX2616" fmla="*/ 1161 w 10820"/>
                <a:gd name="connsiteY2616" fmla="*/ 9761 h 10000"/>
                <a:gd name="connsiteX2617" fmla="*/ 1171 w 10820"/>
                <a:gd name="connsiteY2617" fmla="*/ 9778 h 10000"/>
                <a:gd name="connsiteX2618" fmla="*/ 1175 w 10820"/>
                <a:gd name="connsiteY2618" fmla="*/ 9778 h 10000"/>
                <a:gd name="connsiteX2619" fmla="*/ 1189 w 10820"/>
                <a:gd name="connsiteY2619" fmla="*/ 9778 h 10000"/>
                <a:gd name="connsiteX2620" fmla="*/ 1198 w 10820"/>
                <a:gd name="connsiteY2620" fmla="*/ 9786 h 10000"/>
                <a:gd name="connsiteX2621" fmla="*/ 1203 w 10820"/>
                <a:gd name="connsiteY2621" fmla="*/ 9803 h 10000"/>
                <a:gd name="connsiteX2622" fmla="*/ 1198 w 10820"/>
                <a:gd name="connsiteY2622" fmla="*/ 9838 h 10000"/>
                <a:gd name="connsiteX2623" fmla="*/ 1212 w 10820"/>
                <a:gd name="connsiteY2623" fmla="*/ 9863 h 10000"/>
                <a:gd name="connsiteX2624" fmla="*/ 1230 w 10820"/>
                <a:gd name="connsiteY2624" fmla="*/ 9872 h 10000"/>
                <a:gd name="connsiteX2625" fmla="*/ 1249 w 10820"/>
                <a:gd name="connsiteY2625" fmla="*/ 9897 h 10000"/>
                <a:gd name="connsiteX2626" fmla="*/ 1263 w 10820"/>
                <a:gd name="connsiteY2626" fmla="*/ 9897 h 10000"/>
                <a:gd name="connsiteX2627" fmla="*/ 1276 w 10820"/>
                <a:gd name="connsiteY2627" fmla="*/ 9923 h 10000"/>
                <a:gd name="connsiteX2628" fmla="*/ 1281 w 10820"/>
                <a:gd name="connsiteY2628" fmla="*/ 9949 h 10000"/>
                <a:gd name="connsiteX2629" fmla="*/ 1290 w 10820"/>
                <a:gd name="connsiteY2629" fmla="*/ 9949 h 10000"/>
                <a:gd name="connsiteX2630" fmla="*/ 1295 w 10820"/>
                <a:gd name="connsiteY2630" fmla="*/ 10000 h 10000"/>
                <a:gd name="connsiteX2631" fmla="*/ 1332 w 10820"/>
                <a:gd name="connsiteY2631" fmla="*/ 10000 h 10000"/>
                <a:gd name="connsiteX2632" fmla="*/ 1336 w 10820"/>
                <a:gd name="connsiteY2632" fmla="*/ 10000 h 10000"/>
                <a:gd name="connsiteX2633" fmla="*/ 1346 w 10820"/>
                <a:gd name="connsiteY2633" fmla="*/ 9983 h 10000"/>
                <a:gd name="connsiteX2634" fmla="*/ 1350 w 10820"/>
                <a:gd name="connsiteY2634" fmla="*/ 9949 h 10000"/>
                <a:gd name="connsiteX2635" fmla="*/ 1369 w 10820"/>
                <a:gd name="connsiteY2635" fmla="*/ 9940 h 10000"/>
                <a:gd name="connsiteX2636" fmla="*/ 1378 w 10820"/>
                <a:gd name="connsiteY2636" fmla="*/ 9897 h 10000"/>
                <a:gd name="connsiteX2637" fmla="*/ 1369 w 10820"/>
                <a:gd name="connsiteY2637" fmla="*/ 9889 h 10000"/>
                <a:gd name="connsiteX2638" fmla="*/ 1318 w 10820"/>
                <a:gd name="connsiteY2638" fmla="*/ 9701 h 10000"/>
                <a:gd name="connsiteX2639" fmla="*/ 1318 w 10820"/>
                <a:gd name="connsiteY2639" fmla="*/ 9650 h 10000"/>
                <a:gd name="connsiteX2640" fmla="*/ 1323 w 10820"/>
                <a:gd name="connsiteY2640" fmla="*/ 9590 h 10000"/>
                <a:gd name="connsiteX2641" fmla="*/ 1323 w 10820"/>
                <a:gd name="connsiteY2641" fmla="*/ 9564 h 10000"/>
                <a:gd name="connsiteX2642" fmla="*/ 1309 w 10820"/>
                <a:gd name="connsiteY2642" fmla="*/ 9598 h 10000"/>
                <a:gd name="connsiteX2643" fmla="*/ 1309 w 10820"/>
                <a:gd name="connsiteY2643" fmla="*/ 9590 h 10000"/>
                <a:gd name="connsiteX2644" fmla="*/ 1304 w 10820"/>
                <a:gd name="connsiteY2644" fmla="*/ 9547 h 10000"/>
                <a:gd name="connsiteX2645" fmla="*/ 1276 w 10820"/>
                <a:gd name="connsiteY2645" fmla="*/ 9479 h 10000"/>
                <a:gd name="connsiteX2646" fmla="*/ 1263 w 10820"/>
                <a:gd name="connsiteY2646" fmla="*/ 9479 h 10000"/>
                <a:gd name="connsiteX2647" fmla="*/ 1263 w 10820"/>
                <a:gd name="connsiteY2647" fmla="*/ 9453 h 10000"/>
                <a:gd name="connsiteX2648" fmla="*/ 1272 w 10820"/>
                <a:gd name="connsiteY2648" fmla="*/ 9410 h 10000"/>
                <a:gd name="connsiteX2649" fmla="*/ 1272 w 10820"/>
                <a:gd name="connsiteY2649" fmla="*/ 9393 h 10000"/>
                <a:gd name="connsiteX2650" fmla="*/ 1281 w 10820"/>
                <a:gd name="connsiteY2650" fmla="*/ 9368 h 10000"/>
                <a:gd name="connsiteX2651" fmla="*/ 1281 w 10820"/>
                <a:gd name="connsiteY2651" fmla="*/ 9368 h 10000"/>
                <a:gd name="connsiteX2652" fmla="*/ 1290 w 10820"/>
                <a:gd name="connsiteY2652" fmla="*/ 9368 h 10000"/>
                <a:gd name="connsiteX2653" fmla="*/ 1290 w 10820"/>
                <a:gd name="connsiteY2653" fmla="*/ 9342 h 10000"/>
                <a:gd name="connsiteX2654" fmla="*/ 1304 w 10820"/>
                <a:gd name="connsiteY2654" fmla="*/ 9325 h 10000"/>
                <a:gd name="connsiteX2655" fmla="*/ 1309 w 10820"/>
                <a:gd name="connsiteY2655" fmla="*/ 9239 h 10000"/>
                <a:gd name="connsiteX2656" fmla="*/ 1318 w 10820"/>
                <a:gd name="connsiteY2656" fmla="*/ 9256 h 10000"/>
                <a:gd name="connsiteX2657" fmla="*/ 1323 w 10820"/>
                <a:gd name="connsiteY2657" fmla="*/ 9179 h 10000"/>
                <a:gd name="connsiteX2658" fmla="*/ 1309 w 10820"/>
                <a:gd name="connsiteY2658" fmla="*/ 9145 h 10000"/>
                <a:gd name="connsiteX2659" fmla="*/ 1336 w 10820"/>
                <a:gd name="connsiteY2659" fmla="*/ 9154 h 10000"/>
                <a:gd name="connsiteX2660" fmla="*/ 1336 w 10820"/>
                <a:gd name="connsiteY2660" fmla="*/ 9162 h 10000"/>
                <a:gd name="connsiteX2661" fmla="*/ 1350 w 10820"/>
                <a:gd name="connsiteY2661" fmla="*/ 9231 h 10000"/>
                <a:gd name="connsiteX2662" fmla="*/ 1355 w 10820"/>
                <a:gd name="connsiteY2662" fmla="*/ 9231 h 10000"/>
                <a:gd name="connsiteX2663" fmla="*/ 1364 w 10820"/>
                <a:gd name="connsiteY2663" fmla="*/ 9214 h 10000"/>
                <a:gd name="connsiteX2664" fmla="*/ 1369 w 10820"/>
                <a:gd name="connsiteY2664" fmla="*/ 9214 h 10000"/>
                <a:gd name="connsiteX2665" fmla="*/ 1382 w 10820"/>
                <a:gd name="connsiteY2665" fmla="*/ 9154 h 10000"/>
                <a:gd name="connsiteX2666" fmla="*/ 1396 w 10820"/>
                <a:gd name="connsiteY2666" fmla="*/ 9154 h 10000"/>
                <a:gd name="connsiteX2667" fmla="*/ 1382 w 10820"/>
                <a:gd name="connsiteY2667" fmla="*/ 9145 h 10000"/>
                <a:gd name="connsiteX2668" fmla="*/ 1382 w 10820"/>
                <a:gd name="connsiteY2668" fmla="*/ 9128 h 10000"/>
                <a:gd name="connsiteX2669" fmla="*/ 1369 w 10820"/>
                <a:gd name="connsiteY2669" fmla="*/ 9128 h 10000"/>
                <a:gd name="connsiteX2670" fmla="*/ 1364 w 10820"/>
                <a:gd name="connsiteY2670" fmla="*/ 9128 h 10000"/>
                <a:gd name="connsiteX2671" fmla="*/ 1355 w 10820"/>
                <a:gd name="connsiteY2671" fmla="*/ 9120 h 10000"/>
                <a:gd name="connsiteX2672" fmla="*/ 1350 w 10820"/>
                <a:gd name="connsiteY2672" fmla="*/ 9103 h 10000"/>
                <a:gd name="connsiteX2673" fmla="*/ 1355 w 10820"/>
                <a:gd name="connsiteY2673" fmla="*/ 9094 h 10000"/>
                <a:gd name="connsiteX2674" fmla="*/ 1355 w 10820"/>
                <a:gd name="connsiteY2674" fmla="*/ 9068 h 10000"/>
                <a:gd name="connsiteX2675" fmla="*/ 1369 w 10820"/>
                <a:gd name="connsiteY2675" fmla="*/ 9068 h 10000"/>
                <a:gd name="connsiteX2676" fmla="*/ 1378 w 10820"/>
                <a:gd name="connsiteY2676" fmla="*/ 9077 h 10000"/>
                <a:gd name="connsiteX2677" fmla="*/ 1396 w 10820"/>
                <a:gd name="connsiteY2677" fmla="*/ 9068 h 10000"/>
                <a:gd name="connsiteX2678" fmla="*/ 1382 w 10820"/>
                <a:gd name="connsiteY2678" fmla="*/ 8940 h 10000"/>
                <a:gd name="connsiteX2679" fmla="*/ 1378 w 10820"/>
                <a:gd name="connsiteY2679" fmla="*/ 8940 h 10000"/>
                <a:gd name="connsiteX2680" fmla="*/ 1364 w 10820"/>
                <a:gd name="connsiteY2680" fmla="*/ 8889 h 10000"/>
                <a:gd name="connsiteX2681" fmla="*/ 1355 w 10820"/>
                <a:gd name="connsiteY2681" fmla="*/ 8880 h 10000"/>
                <a:gd name="connsiteX2682" fmla="*/ 1323 w 10820"/>
                <a:gd name="connsiteY2682" fmla="*/ 8880 h 10000"/>
                <a:gd name="connsiteX2683" fmla="*/ 1309 w 10820"/>
                <a:gd name="connsiteY2683" fmla="*/ 8880 h 10000"/>
                <a:gd name="connsiteX2684" fmla="*/ 1309 w 10820"/>
                <a:gd name="connsiteY2684" fmla="*/ 8889 h 10000"/>
                <a:gd name="connsiteX2685" fmla="*/ 1295 w 10820"/>
                <a:gd name="connsiteY2685" fmla="*/ 8872 h 10000"/>
                <a:gd name="connsiteX2686" fmla="*/ 1290 w 10820"/>
                <a:gd name="connsiteY2686" fmla="*/ 8855 h 10000"/>
                <a:gd name="connsiteX2687" fmla="*/ 1290 w 10820"/>
                <a:gd name="connsiteY2687" fmla="*/ 8829 h 10000"/>
                <a:gd name="connsiteX2688" fmla="*/ 1290 w 10820"/>
                <a:gd name="connsiteY2688" fmla="*/ 8821 h 10000"/>
                <a:gd name="connsiteX2689" fmla="*/ 1290 w 10820"/>
                <a:gd name="connsiteY2689" fmla="*/ 8803 h 10000"/>
                <a:gd name="connsiteX2690" fmla="*/ 1281 w 10820"/>
                <a:gd name="connsiteY2690" fmla="*/ 8795 h 10000"/>
                <a:gd name="connsiteX2691" fmla="*/ 1249 w 10820"/>
                <a:gd name="connsiteY2691" fmla="*/ 8769 h 10000"/>
                <a:gd name="connsiteX2692" fmla="*/ 1263 w 10820"/>
                <a:gd name="connsiteY2692" fmla="*/ 8667 h 10000"/>
                <a:gd name="connsiteX2693" fmla="*/ 1281 w 10820"/>
                <a:gd name="connsiteY2693" fmla="*/ 8658 h 10000"/>
                <a:gd name="connsiteX2694" fmla="*/ 1290 w 10820"/>
                <a:gd name="connsiteY2694" fmla="*/ 8632 h 10000"/>
                <a:gd name="connsiteX2695" fmla="*/ 1281 w 10820"/>
                <a:gd name="connsiteY2695" fmla="*/ 8615 h 10000"/>
                <a:gd name="connsiteX2696" fmla="*/ 1272 w 10820"/>
                <a:gd name="connsiteY2696" fmla="*/ 8598 h 10000"/>
                <a:gd name="connsiteX2697" fmla="*/ 1281 w 10820"/>
                <a:gd name="connsiteY2697" fmla="*/ 8496 h 10000"/>
                <a:gd name="connsiteX2698" fmla="*/ 1295 w 10820"/>
                <a:gd name="connsiteY2698" fmla="*/ 8470 h 10000"/>
                <a:gd name="connsiteX2699" fmla="*/ 1304 w 10820"/>
                <a:gd name="connsiteY2699" fmla="*/ 8462 h 10000"/>
                <a:gd name="connsiteX2700" fmla="*/ 1304 w 10820"/>
                <a:gd name="connsiteY2700" fmla="*/ 8444 h 10000"/>
                <a:gd name="connsiteX2701" fmla="*/ 1304 w 10820"/>
                <a:gd name="connsiteY2701" fmla="*/ 8419 h 10000"/>
                <a:gd name="connsiteX2702" fmla="*/ 1304 w 10820"/>
                <a:gd name="connsiteY2702" fmla="*/ 8410 h 10000"/>
                <a:gd name="connsiteX2703" fmla="*/ 1309 w 10820"/>
                <a:gd name="connsiteY2703" fmla="*/ 8393 h 10000"/>
                <a:gd name="connsiteX2704" fmla="*/ 1318 w 10820"/>
                <a:gd name="connsiteY2704" fmla="*/ 8385 h 10000"/>
                <a:gd name="connsiteX2705" fmla="*/ 1323 w 10820"/>
                <a:gd name="connsiteY2705" fmla="*/ 8385 h 10000"/>
                <a:gd name="connsiteX2706" fmla="*/ 1332 w 10820"/>
                <a:gd name="connsiteY2706" fmla="*/ 8410 h 10000"/>
                <a:gd name="connsiteX2707" fmla="*/ 1346 w 10820"/>
                <a:gd name="connsiteY2707" fmla="*/ 8419 h 10000"/>
                <a:gd name="connsiteX2708" fmla="*/ 1364 w 10820"/>
                <a:gd name="connsiteY2708" fmla="*/ 8504 h 10000"/>
                <a:gd name="connsiteX2709" fmla="*/ 1369 w 10820"/>
                <a:gd name="connsiteY2709" fmla="*/ 8521 h 10000"/>
                <a:gd name="connsiteX2710" fmla="*/ 1406 w 10820"/>
                <a:gd name="connsiteY2710" fmla="*/ 8470 h 10000"/>
                <a:gd name="connsiteX2711" fmla="*/ 1382 w 10820"/>
                <a:gd name="connsiteY2711" fmla="*/ 8359 h 10000"/>
                <a:gd name="connsiteX2712" fmla="*/ 1392 w 10820"/>
                <a:gd name="connsiteY2712" fmla="*/ 8359 h 10000"/>
                <a:gd name="connsiteX2713" fmla="*/ 1438 w 10820"/>
                <a:gd name="connsiteY2713" fmla="*/ 8308 h 10000"/>
                <a:gd name="connsiteX2714" fmla="*/ 1442 w 10820"/>
                <a:gd name="connsiteY2714" fmla="*/ 8299 h 10000"/>
                <a:gd name="connsiteX2715" fmla="*/ 1442 w 10820"/>
                <a:gd name="connsiteY2715" fmla="*/ 8256 h 10000"/>
                <a:gd name="connsiteX2716" fmla="*/ 1452 w 10820"/>
                <a:gd name="connsiteY2716" fmla="*/ 8256 h 10000"/>
                <a:gd name="connsiteX2717" fmla="*/ 1456 w 10820"/>
                <a:gd name="connsiteY2717" fmla="*/ 8256 h 10000"/>
                <a:gd name="connsiteX2718" fmla="*/ 1470 w 10820"/>
                <a:gd name="connsiteY2718" fmla="*/ 8248 h 10000"/>
                <a:gd name="connsiteX2719" fmla="*/ 1479 w 10820"/>
                <a:gd name="connsiteY2719" fmla="*/ 8231 h 10000"/>
                <a:gd name="connsiteX2720" fmla="*/ 1493 w 10820"/>
                <a:gd name="connsiteY2720" fmla="*/ 8222 h 10000"/>
                <a:gd name="connsiteX2721" fmla="*/ 1498 w 10820"/>
                <a:gd name="connsiteY2721" fmla="*/ 8214 h 10000"/>
                <a:gd name="connsiteX2722" fmla="*/ 1502 w 10820"/>
                <a:gd name="connsiteY2722" fmla="*/ 8197 h 10000"/>
                <a:gd name="connsiteX2723" fmla="*/ 1512 w 10820"/>
                <a:gd name="connsiteY2723" fmla="*/ 8188 h 10000"/>
                <a:gd name="connsiteX2724" fmla="*/ 1516 w 10820"/>
                <a:gd name="connsiteY2724" fmla="*/ 8171 h 10000"/>
                <a:gd name="connsiteX2725" fmla="*/ 1525 w 10820"/>
                <a:gd name="connsiteY2725" fmla="*/ 8162 h 10000"/>
                <a:gd name="connsiteX2726" fmla="*/ 1539 w 10820"/>
                <a:gd name="connsiteY2726" fmla="*/ 8145 h 10000"/>
                <a:gd name="connsiteX2727" fmla="*/ 1558 w 10820"/>
                <a:gd name="connsiteY2727" fmla="*/ 8145 h 10000"/>
                <a:gd name="connsiteX2728" fmla="*/ 1562 w 10820"/>
                <a:gd name="connsiteY2728" fmla="*/ 8188 h 10000"/>
                <a:gd name="connsiteX2729" fmla="*/ 1585 w 10820"/>
                <a:gd name="connsiteY2729" fmla="*/ 8171 h 10000"/>
                <a:gd name="connsiteX2730" fmla="*/ 1590 w 10820"/>
                <a:gd name="connsiteY2730" fmla="*/ 8188 h 10000"/>
                <a:gd name="connsiteX2731" fmla="*/ 1599 w 10820"/>
                <a:gd name="connsiteY2731" fmla="*/ 8171 h 10000"/>
                <a:gd name="connsiteX2732" fmla="*/ 1599 w 10820"/>
                <a:gd name="connsiteY2732" fmla="*/ 8162 h 10000"/>
                <a:gd name="connsiteX2733" fmla="*/ 1604 w 10820"/>
                <a:gd name="connsiteY2733" fmla="*/ 8137 h 10000"/>
                <a:gd name="connsiteX2734" fmla="*/ 1618 w 10820"/>
                <a:gd name="connsiteY2734" fmla="*/ 8145 h 10000"/>
                <a:gd name="connsiteX2735" fmla="*/ 1627 w 10820"/>
                <a:gd name="connsiteY2735" fmla="*/ 8137 h 10000"/>
                <a:gd name="connsiteX2736" fmla="*/ 1631 w 10820"/>
                <a:gd name="connsiteY2736" fmla="*/ 8137 h 10000"/>
                <a:gd name="connsiteX2737" fmla="*/ 1636 w 10820"/>
                <a:gd name="connsiteY2737" fmla="*/ 8171 h 10000"/>
                <a:gd name="connsiteX2738" fmla="*/ 1645 w 10820"/>
                <a:gd name="connsiteY2738" fmla="*/ 8188 h 10000"/>
                <a:gd name="connsiteX2739" fmla="*/ 1664 w 10820"/>
                <a:gd name="connsiteY2739" fmla="*/ 8171 h 10000"/>
                <a:gd name="connsiteX2740" fmla="*/ 1673 w 10820"/>
                <a:gd name="connsiteY2740" fmla="*/ 8188 h 10000"/>
                <a:gd name="connsiteX2741" fmla="*/ 1691 w 10820"/>
                <a:gd name="connsiteY2741" fmla="*/ 8171 h 10000"/>
                <a:gd name="connsiteX2742" fmla="*/ 1705 w 10820"/>
                <a:gd name="connsiteY2742" fmla="*/ 8171 h 10000"/>
                <a:gd name="connsiteX2743" fmla="*/ 1719 w 10820"/>
                <a:gd name="connsiteY2743" fmla="*/ 8197 h 10000"/>
                <a:gd name="connsiteX2744" fmla="*/ 1724 w 10820"/>
                <a:gd name="connsiteY2744" fmla="*/ 8231 h 10000"/>
                <a:gd name="connsiteX2745" fmla="*/ 1751 w 10820"/>
                <a:gd name="connsiteY2745" fmla="*/ 8256 h 10000"/>
                <a:gd name="connsiteX2746" fmla="*/ 1751 w 10820"/>
                <a:gd name="connsiteY2746" fmla="*/ 8274 h 10000"/>
                <a:gd name="connsiteX2747" fmla="*/ 1760 w 10820"/>
                <a:gd name="connsiteY2747" fmla="*/ 8282 h 10000"/>
                <a:gd name="connsiteX2748" fmla="*/ 1770 w 10820"/>
                <a:gd name="connsiteY2748" fmla="*/ 8325 h 10000"/>
                <a:gd name="connsiteX2749" fmla="*/ 1770 w 10820"/>
                <a:gd name="connsiteY2749" fmla="*/ 8350 h 10000"/>
                <a:gd name="connsiteX2750" fmla="*/ 1779 w 10820"/>
                <a:gd name="connsiteY2750" fmla="*/ 8368 h 10000"/>
                <a:gd name="connsiteX2751" fmla="*/ 1783 w 10820"/>
                <a:gd name="connsiteY2751" fmla="*/ 8359 h 10000"/>
                <a:gd name="connsiteX2752" fmla="*/ 1783 w 10820"/>
                <a:gd name="connsiteY2752" fmla="*/ 8308 h 10000"/>
                <a:gd name="connsiteX2753" fmla="*/ 1779 w 10820"/>
                <a:gd name="connsiteY2753" fmla="*/ 8299 h 10000"/>
                <a:gd name="connsiteX2754" fmla="*/ 1783 w 10820"/>
                <a:gd name="connsiteY2754" fmla="*/ 8282 h 10000"/>
                <a:gd name="connsiteX2755" fmla="*/ 1797 w 10820"/>
                <a:gd name="connsiteY2755" fmla="*/ 8274 h 10000"/>
                <a:gd name="connsiteX2756" fmla="*/ 1797 w 10820"/>
                <a:gd name="connsiteY2756" fmla="*/ 8299 h 10000"/>
                <a:gd name="connsiteX2757" fmla="*/ 1806 w 10820"/>
                <a:gd name="connsiteY2757" fmla="*/ 8308 h 10000"/>
                <a:gd name="connsiteX2758" fmla="*/ 1811 w 10820"/>
                <a:gd name="connsiteY2758" fmla="*/ 8325 h 10000"/>
                <a:gd name="connsiteX2759" fmla="*/ 1820 w 10820"/>
                <a:gd name="connsiteY2759" fmla="*/ 8333 h 10000"/>
                <a:gd name="connsiteX2760" fmla="*/ 1853 w 10820"/>
                <a:gd name="connsiteY2760" fmla="*/ 8359 h 10000"/>
                <a:gd name="connsiteX2761" fmla="*/ 1866 w 10820"/>
                <a:gd name="connsiteY2761" fmla="*/ 8359 h 10000"/>
                <a:gd name="connsiteX2762" fmla="*/ 1885 w 10820"/>
                <a:gd name="connsiteY2762" fmla="*/ 8325 h 10000"/>
                <a:gd name="connsiteX2763" fmla="*/ 1885 w 10820"/>
                <a:gd name="connsiteY2763" fmla="*/ 8308 h 10000"/>
                <a:gd name="connsiteX2764" fmla="*/ 1894 w 10820"/>
                <a:gd name="connsiteY2764" fmla="*/ 8299 h 10000"/>
                <a:gd name="connsiteX2765" fmla="*/ 1899 w 10820"/>
                <a:gd name="connsiteY2765" fmla="*/ 8282 h 10000"/>
                <a:gd name="connsiteX2766" fmla="*/ 1912 w 10820"/>
                <a:gd name="connsiteY2766" fmla="*/ 8282 h 10000"/>
                <a:gd name="connsiteX2767" fmla="*/ 1917 w 10820"/>
                <a:gd name="connsiteY2767" fmla="*/ 8299 h 10000"/>
                <a:gd name="connsiteX2768" fmla="*/ 1917 w 10820"/>
                <a:gd name="connsiteY2768" fmla="*/ 8274 h 10000"/>
                <a:gd name="connsiteX2769" fmla="*/ 1940 w 10820"/>
                <a:gd name="connsiteY2769" fmla="*/ 8282 h 10000"/>
                <a:gd name="connsiteX2770" fmla="*/ 1945 w 10820"/>
                <a:gd name="connsiteY2770" fmla="*/ 8274 h 10000"/>
                <a:gd name="connsiteX2771" fmla="*/ 1972 w 10820"/>
                <a:gd name="connsiteY2771" fmla="*/ 8308 h 10000"/>
                <a:gd name="connsiteX2772" fmla="*/ 1986 w 10820"/>
                <a:gd name="connsiteY2772" fmla="*/ 8282 h 10000"/>
                <a:gd name="connsiteX2773" fmla="*/ 1991 w 10820"/>
                <a:gd name="connsiteY2773" fmla="*/ 8274 h 10000"/>
                <a:gd name="connsiteX2774" fmla="*/ 2014 w 10820"/>
                <a:gd name="connsiteY2774" fmla="*/ 8274 h 10000"/>
                <a:gd name="connsiteX2775" fmla="*/ 2018 w 10820"/>
                <a:gd name="connsiteY2775" fmla="*/ 8256 h 10000"/>
                <a:gd name="connsiteX2776" fmla="*/ 2041 w 10820"/>
                <a:gd name="connsiteY2776" fmla="*/ 8274 h 10000"/>
                <a:gd name="connsiteX2777" fmla="*/ 2046 w 10820"/>
                <a:gd name="connsiteY2777" fmla="*/ 8282 h 10000"/>
                <a:gd name="connsiteX2778" fmla="*/ 2046 w 10820"/>
                <a:gd name="connsiteY2778" fmla="*/ 8325 h 10000"/>
                <a:gd name="connsiteX2779" fmla="*/ 2060 w 10820"/>
                <a:gd name="connsiteY2779" fmla="*/ 8350 h 10000"/>
                <a:gd name="connsiteX2780" fmla="*/ 2078 w 10820"/>
                <a:gd name="connsiteY2780" fmla="*/ 8350 h 10000"/>
                <a:gd name="connsiteX2781" fmla="*/ 2092 w 10820"/>
                <a:gd name="connsiteY2781" fmla="*/ 8350 h 10000"/>
                <a:gd name="connsiteX2782" fmla="*/ 2092 w 10820"/>
                <a:gd name="connsiteY2782" fmla="*/ 8350 h 10000"/>
                <a:gd name="connsiteX2783" fmla="*/ 2101 w 10820"/>
                <a:gd name="connsiteY2783" fmla="*/ 8368 h 10000"/>
                <a:gd name="connsiteX2784" fmla="*/ 2120 w 10820"/>
                <a:gd name="connsiteY2784" fmla="*/ 8368 h 10000"/>
                <a:gd name="connsiteX2785" fmla="*/ 2124 w 10820"/>
                <a:gd name="connsiteY2785" fmla="*/ 8359 h 10000"/>
                <a:gd name="connsiteX2786" fmla="*/ 2138 w 10820"/>
                <a:gd name="connsiteY2786" fmla="*/ 8325 h 10000"/>
                <a:gd name="connsiteX2787" fmla="*/ 2147 w 10820"/>
                <a:gd name="connsiteY2787" fmla="*/ 8325 h 10000"/>
                <a:gd name="connsiteX2788" fmla="*/ 2161 w 10820"/>
                <a:gd name="connsiteY2788" fmla="*/ 8350 h 10000"/>
                <a:gd name="connsiteX2789" fmla="*/ 2198 w 10820"/>
                <a:gd name="connsiteY2789" fmla="*/ 8350 h 10000"/>
                <a:gd name="connsiteX2790" fmla="*/ 2207 w 10820"/>
                <a:gd name="connsiteY2790" fmla="*/ 8333 h 10000"/>
                <a:gd name="connsiteX2791" fmla="*/ 2226 w 10820"/>
                <a:gd name="connsiteY2791" fmla="*/ 8325 h 10000"/>
                <a:gd name="connsiteX2792" fmla="*/ 2249 w 10820"/>
                <a:gd name="connsiteY2792" fmla="*/ 8222 h 10000"/>
                <a:gd name="connsiteX2793" fmla="*/ 2235 w 10820"/>
                <a:gd name="connsiteY2793" fmla="*/ 8197 h 10000"/>
                <a:gd name="connsiteX2794" fmla="*/ 2198 w 10820"/>
                <a:gd name="connsiteY2794" fmla="*/ 8197 h 10000"/>
                <a:gd name="connsiteX2795" fmla="*/ 2189 w 10820"/>
                <a:gd name="connsiteY2795" fmla="*/ 8171 h 10000"/>
                <a:gd name="connsiteX2796" fmla="*/ 2161 w 10820"/>
                <a:gd name="connsiteY2796" fmla="*/ 8145 h 10000"/>
                <a:gd name="connsiteX2797" fmla="*/ 2161 w 10820"/>
                <a:gd name="connsiteY2797" fmla="*/ 8137 h 10000"/>
                <a:gd name="connsiteX2798" fmla="*/ 2152 w 10820"/>
                <a:gd name="connsiteY2798" fmla="*/ 8120 h 10000"/>
                <a:gd name="connsiteX2799" fmla="*/ 2138 w 10820"/>
                <a:gd name="connsiteY2799" fmla="*/ 8111 h 10000"/>
                <a:gd name="connsiteX2800" fmla="*/ 2138 w 10820"/>
                <a:gd name="connsiteY2800" fmla="*/ 8094 h 10000"/>
                <a:gd name="connsiteX2801" fmla="*/ 2147 w 10820"/>
                <a:gd name="connsiteY2801" fmla="*/ 8085 h 10000"/>
                <a:gd name="connsiteX2802" fmla="*/ 2161 w 10820"/>
                <a:gd name="connsiteY2802" fmla="*/ 8060 h 10000"/>
                <a:gd name="connsiteX2803" fmla="*/ 2198 w 10820"/>
                <a:gd name="connsiteY2803" fmla="*/ 8034 h 10000"/>
                <a:gd name="connsiteX2804" fmla="*/ 2198 w 10820"/>
                <a:gd name="connsiteY2804" fmla="*/ 8026 h 10000"/>
                <a:gd name="connsiteX2805" fmla="*/ 2198 w 10820"/>
                <a:gd name="connsiteY2805" fmla="*/ 8000 h 10000"/>
                <a:gd name="connsiteX2806" fmla="*/ 2180 w 10820"/>
                <a:gd name="connsiteY2806" fmla="*/ 7940 h 10000"/>
                <a:gd name="connsiteX2807" fmla="*/ 2189 w 10820"/>
                <a:gd name="connsiteY2807" fmla="*/ 7940 h 10000"/>
                <a:gd name="connsiteX2808" fmla="*/ 2198 w 10820"/>
                <a:gd name="connsiteY2808" fmla="*/ 7923 h 10000"/>
                <a:gd name="connsiteX2809" fmla="*/ 2198 w 10820"/>
                <a:gd name="connsiteY2809" fmla="*/ 7897 h 10000"/>
                <a:gd name="connsiteX2810" fmla="*/ 2207 w 10820"/>
                <a:gd name="connsiteY2810" fmla="*/ 7889 h 10000"/>
                <a:gd name="connsiteX2811" fmla="*/ 2221 w 10820"/>
                <a:gd name="connsiteY2811" fmla="*/ 7889 h 10000"/>
                <a:gd name="connsiteX2812" fmla="*/ 2226 w 10820"/>
                <a:gd name="connsiteY2812" fmla="*/ 7897 h 10000"/>
                <a:gd name="connsiteX2813" fmla="*/ 2235 w 10820"/>
                <a:gd name="connsiteY2813" fmla="*/ 7889 h 10000"/>
                <a:gd name="connsiteX2814" fmla="*/ 2249 w 10820"/>
                <a:gd name="connsiteY2814" fmla="*/ 7897 h 10000"/>
                <a:gd name="connsiteX2815" fmla="*/ 2267 w 10820"/>
                <a:gd name="connsiteY2815" fmla="*/ 7897 h 10000"/>
                <a:gd name="connsiteX2816" fmla="*/ 2272 w 10820"/>
                <a:gd name="connsiteY2816" fmla="*/ 7889 h 10000"/>
                <a:gd name="connsiteX2817" fmla="*/ 2281 w 10820"/>
                <a:gd name="connsiteY2817" fmla="*/ 7872 h 10000"/>
                <a:gd name="connsiteX2818" fmla="*/ 2272 w 10820"/>
                <a:gd name="connsiteY2818" fmla="*/ 7846 h 10000"/>
                <a:gd name="connsiteX2819" fmla="*/ 2253 w 10820"/>
                <a:gd name="connsiteY2819" fmla="*/ 7838 h 10000"/>
                <a:gd name="connsiteX2820" fmla="*/ 2221 w 10820"/>
                <a:gd name="connsiteY2820" fmla="*/ 7821 h 10000"/>
                <a:gd name="connsiteX2821" fmla="*/ 2212 w 10820"/>
                <a:gd name="connsiteY2821" fmla="*/ 7812 h 10000"/>
                <a:gd name="connsiteX2822" fmla="*/ 2212 w 10820"/>
                <a:gd name="connsiteY2822" fmla="*/ 7803 h 10000"/>
                <a:gd name="connsiteX2823" fmla="*/ 2221 w 10820"/>
                <a:gd name="connsiteY2823" fmla="*/ 7803 h 10000"/>
                <a:gd name="connsiteX2824" fmla="*/ 2235 w 10820"/>
                <a:gd name="connsiteY2824" fmla="*/ 7786 h 10000"/>
                <a:gd name="connsiteX2825" fmla="*/ 2240 w 10820"/>
                <a:gd name="connsiteY2825" fmla="*/ 7778 h 10000"/>
                <a:gd name="connsiteX2826" fmla="*/ 2226 w 10820"/>
                <a:gd name="connsiteY2826" fmla="*/ 7761 h 10000"/>
                <a:gd name="connsiteX2827" fmla="*/ 2221 w 10820"/>
                <a:gd name="connsiteY2827" fmla="*/ 7778 h 10000"/>
                <a:gd name="connsiteX2828" fmla="*/ 2198 w 10820"/>
                <a:gd name="connsiteY2828" fmla="*/ 7778 h 10000"/>
                <a:gd name="connsiteX2829" fmla="*/ 2198 w 10820"/>
                <a:gd name="connsiteY2829" fmla="*/ 7752 h 10000"/>
                <a:gd name="connsiteX2830" fmla="*/ 2207 w 10820"/>
                <a:gd name="connsiteY2830" fmla="*/ 7735 h 10000"/>
                <a:gd name="connsiteX2831" fmla="*/ 2212 w 10820"/>
                <a:gd name="connsiteY2831" fmla="*/ 7726 h 10000"/>
                <a:gd name="connsiteX2832" fmla="*/ 2198 w 10820"/>
                <a:gd name="connsiteY2832" fmla="*/ 7692 h 10000"/>
                <a:gd name="connsiteX2833" fmla="*/ 2221 w 10820"/>
                <a:gd name="connsiteY2833" fmla="*/ 7692 h 10000"/>
                <a:gd name="connsiteX2834" fmla="*/ 2221 w 10820"/>
                <a:gd name="connsiteY2834" fmla="*/ 7675 h 10000"/>
                <a:gd name="connsiteX2835" fmla="*/ 2235 w 10820"/>
                <a:gd name="connsiteY2835" fmla="*/ 7675 h 10000"/>
                <a:gd name="connsiteX2836" fmla="*/ 2240 w 10820"/>
                <a:gd name="connsiteY2836" fmla="*/ 7692 h 10000"/>
                <a:gd name="connsiteX2837" fmla="*/ 2249 w 10820"/>
                <a:gd name="connsiteY2837" fmla="*/ 7692 h 10000"/>
                <a:gd name="connsiteX2838" fmla="*/ 2258 w 10820"/>
                <a:gd name="connsiteY2838" fmla="*/ 7692 h 10000"/>
                <a:gd name="connsiteX2839" fmla="*/ 2267 w 10820"/>
                <a:gd name="connsiteY2839" fmla="*/ 7692 h 10000"/>
                <a:gd name="connsiteX2840" fmla="*/ 2295 w 10820"/>
                <a:gd name="connsiteY2840" fmla="*/ 7692 h 10000"/>
                <a:gd name="connsiteX2841" fmla="*/ 2300 w 10820"/>
                <a:gd name="connsiteY2841" fmla="*/ 7701 h 10000"/>
                <a:gd name="connsiteX2842" fmla="*/ 2313 w 10820"/>
                <a:gd name="connsiteY2842" fmla="*/ 7675 h 10000"/>
                <a:gd name="connsiteX2843" fmla="*/ 2323 w 10820"/>
                <a:gd name="connsiteY2843" fmla="*/ 7675 h 10000"/>
                <a:gd name="connsiteX2844" fmla="*/ 2341 w 10820"/>
                <a:gd name="connsiteY2844" fmla="*/ 7675 h 10000"/>
                <a:gd name="connsiteX2845" fmla="*/ 2346 w 10820"/>
                <a:gd name="connsiteY2845" fmla="*/ 7667 h 10000"/>
                <a:gd name="connsiteX2846" fmla="*/ 2359 w 10820"/>
                <a:gd name="connsiteY2846" fmla="*/ 7650 h 10000"/>
                <a:gd name="connsiteX2847" fmla="*/ 2373 w 10820"/>
                <a:gd name="connsiteY2847" fmla="*/ 7624 h 10000"/>
                <a:gd name="connsiteX2848" fmla="*/ 2382 w 10820"/>
                <a:gd name="connsiteY2848" fmla="*/ 7641 h 10000"/>
                <a:gd name="connsiteX2849" fmla="*/ 2396 w 10820"/>
                <a:gd name="connsiteY2849" fmla="*/ 7650 h 10000"/>
                <a:gd name="connsiteX2850" fmla="*/ 2401 w 10820"/>
                <a:gd name="connsiteY2850" fmla="*/ 7650 h 10000"/>
                <a:gd name="connsiteX2851" fmla="*/ 2401 w 10820"/>
                <a:gd name="connsiteY2851" fmla="*/ 7624 h 10000"/>
                <a:gd name="connsiteX2852" fmla="*/ 2419 w 10820"/>
                <a:gd name="connsiteY2852" fmla="*/ 7624 h 10000"/>
                <a:gd name="connsiteX2853" fmla="*/ 2433 w 10820"/>
                <a:gd name="connsiteY2853" fmla="*/ 7615 h 10000"/>
                <a:gd name="connsiteX2854" fmla="*/ 2442 w 10820"/>
                <a:gd name="connsiteY2854" fmla="*/ 7615 h 10000"/>
                <a:gd name="connsiteX2855" fmla="*/ 2447 w 10820"/>
                <a:gd name="connsiteY2855" fmla="*/ 7598 h 10000"/>
                <a:gd name="connsiteX2856" fmla="*/ 2461 w 10820"/>
                <a:gd name="connsiteY2856" fmla="*/ 7598 h 10000"/>
                <a:gd name="connsiteX2857" fmla="*/ 2465 w 10820"/>
                <a:gd name="connsiteY2857" fmla="*/ 7615 h 10000"/>
                <a:gd name="connsiteX2858" fmla="*/ 2479 w 10820"/>
                <a:gd name="connsiteY2858" fmla="*/ 7564 h 10000"/>
                <a:gd name="connsiteX2859" fmla="*/ 2488 w 10820"/>
                <a:gd name="connsiteY2859" fmla="*/ 7556 h 10000"/>
                <a:gd name="connsiteX2860" fmla="*/ 2493 w 10820"/>
                <a:gd name="connsiteY2860" fmla="*/ 7556 h 10000"/>
                <a:gd name="connsiteX2861" fmla="*/ 2507 w 10820"/>
                <a:gd name="connsiteY2861" fmla="*/ 7556 h 10000"/>
                <a:gd name="connsiteX2862" fmla="*/ 2530 w 10820"/>
                <a:gd name="connsiteY2862" fmla="*/ 7538 h 10000"/>
                <a:gd name="connsiteX2863" fmla="*/ 2530 w 10820"/>
                <a:gd name="connsiteY2863" fmla="*/ 7556 h 10000"/>
                <a:gd name="connsiteX2864" fmla="*/ 2641 w 10820"/>
                <a:gd name="connsiteY2864" fmla="*/ 7504 h 10000"/>
                <a:gd name="connsiteX2865" fmla="*/ 2654 w 10820"/>
                <a:gd name="connsiteY2865" fmla="*/ 7487 h 10000"/>
                <a:gd name="connsiteX2866" fmla="*/ 2664 w 10820"/>
                <a:gd name="connsiteY2866" fmla="*/ 7487 h 10000"/>
                <a:gd name="connsiteX2867" fmla="*/ 2668 w 10820"/>
                <a:gd name="connsiteY2867" fmla="*/ 7479 h 10000"/>
                <a:gd name="connsiteX2868" fmla="*/ 2673 w 10820"/>
                <a:gd name="connsiteY2868" fmla="*/ 7462 h 10000"/>
                <a:gd name="connsiteX2869" fmla="*/ 2673 w 10820"/>
                <a:gd name="connsiteY2869" fmla="*/ 7427 h 10000"/>
                <a:gd name="connsiteX2870" fmla="*/ 2687 w 10820"/>
                <a:gd name="connsiteY2870" fmla="*/ 7436 h 10000"/>
                <a:gd name="connsiteX2871" fmla="*/ 2696 w 10820"/>
                <a:gd name="connsiteY2871" fmla="*/ 7427 h 10000"/>
                <a:gd name="connsiteX2872" fmla="*/ 2700 w 10820"/>
                <a:gd name="connsiteY2872" fmla="*/ 7419 h 10000"/>
                <a:gd name="connsiteX2873" fmla="*/ 2710 w 10820"/>
                <a:gd name="connsiteY2873" fmla="*/ 7402 h 10000"/>
                <a:gd name="connsiteX2874" fmla="*/ 2724 w 10820"/>
                <a:gd name="connsiteY2874" fmla="*/ 7402 h 10000"/>
                <a:gd name="connsiteX2875" fmla="*/ 2724 w 10820"/>
                <a:gd name="connsiteY2875" fmla="*/ 7393 h 10000"/>
                <a:gd name="connsiteX2876" fmla="*/ 2737 w 10820"/>
                <a:gd name="connsiteY2876" fmla="*/ 7393 h 10000"/>
                <a:gd name="connsiteX2877" fmla="*/ 2742 w 10820"/>
                <a:gd name="connsiteY2877" fmla="*/ 7402 h 10000"/>
                <a:gd name="connsiteX2878" fmla="*/ 2747 w 10820"/>
                <a:gd name="connsiteY2878" fmla="*/ 7402 h 10000"/>
                <a:gd name="connsiteX2879" fmla="*/ 2760 w 10820"/>
                <a:gd name="connsiteY2879" fmla="*/ 7402 h 10000"/>
                <a:gd name="connsiteX2880" fmla="*/ 2770 w 10820"/>
                <a:gd name="connsiteY2880" fmla="*/ 7402 h 10000"/>
                <a:gd name="connsiteX2881" fmla="*/ 2774 w 10820"/>
                <a:gd name="connsiteY2881" fmla="*/ 7402 h 10000"/>
                <a:gd name="connsiteX2882" fmla="*/ 2783 w 10820"/>
                <a:gd name="connsiteY2882" fmla="*/ 7419 h 10000"/>
                <a:gd name="connsiteX2883" fmla="*/ 2802 w 10820"/>
                <a:gd name="connsiteY2883" fmla="*/ 7436 h 10000"/>
                <a:gd name="connsiteX2884" fmla="*/ 2816 w 10820"/>
                <a:gd name="connsiteY2884" fmla="*/ 7419 h 10000"/>
                <a:gd name="connsiteX2885" fmla="*/ 2834 w 10820"/>
                <a:gd name="connsiteY2885" fmla="*/ 7419 h 10000"/>
                <a:gd name="connsiteX2886" fmla="*/ 2843 w 10820"/>
                <a:gd name="connsiteY2886" fmla="*/ 7419 h 10000"/>
                <a:gd name="connsiteX2887" fmla="*/ 2848 w 10820"/>
                <a:gd name="connsiteY2887" fmla="*/ 7436 h 10000"/>
                <a:gd name="connsiteX2888" fmla="*/ 2857 w 10820"/>
                <a:gd name="connsiteY2888" fmla="*/ 7453 h 10000"/>
                <a:gd name="connsiteX2889" fmla="*/ 2857 w 10820"/>
                <a:gd name="connsiteY2889" fmla="*/ 7504 h 10000"/>
                <a:gd name="connsiteX2890" fmla="*/ 2862 w 10820"/>
                <a:gd name="connsiteY2890" fmla="*/ 7530 h 10000"/>
                <a:gd name="connsiteX2891" fmla="*/ 2876 w 10820"/>
                <a:gd name="connsiteY2891" fmla="*/ 7538 h 10000"/>
                <a:gd name="connsiteX2892" fmla="*/ 2871 w 10820"/>
                <a:gd name="connsiteY2892" fmla="*/ 7564 h 10000"/>
                <a:gd name="connsiteX2893" fmla="*/ 2871 w 10820"/>
                <a:gd name="connsiteY2893" fmla="*/ 7598 h 10000"/>
                <a:gd name="connsiteX2894" fmla="*/ 2857 w 10820"/>
                <a:gd name="connsiteY2894" fmla="*/ 7624 h 10000"/>
                <a:gd name="connsiteX2895" fmla="*/ 2862 w 10820"/>
                <a:gd name="connsiteY2895" fmla="*/ 7641 h 10000"/>
                <a:gd name="connsiteX2896" fmla="*/ 2871 w 10820"/>
                <a:gd name="connsiteY2896" fmla="*/ 7667 h 10000"/>
                <a:gd name="connsiteX2897" fmla="*/ 2880 w 10820"/>
                <a:gd name="connsiteY2897" fmla="*/ 7650 h 10000"/>
                <a:gd name="connsiteX2898" fmla="*/ 2894 w 10820"/>
                <a:gd name="connsiteY2898" fmla="*/ 7667 h 10000"/>
                <a:gd name="connsiteX2899" fmla="*/ 2903 w 10820"/>
                <a:gd name="connsiteY2899" fmla="*/ 7667 h 10000"/>
                <a:gd name="connsiteX2900" fmla="*/ 2908 w 10820"/>
                <a:gd name="connsiteY2900" fmla="*/ 7641 h 10000"/>
                <a:gd name="connsiteX2901" fmla="*/ 2917 w 10820"/>
                <a:gd name="connsiteY2901" fmla="*/ 7641 h 10000"/>
                <a:gd name="connsiteX2902" fmla="*/ 2922 w 10820"/>
                <a:gd name="connsiteY2902" fmla="*/ 7641 h 10000"/>
                <a:gd name="connsiteX2903" fmla="*/ 2931 w 10820"/>
                <a:gd name="connsiteY2903" fmla="*/ 7615 h 10000"/>
                <a:gd name="connsiteX2904" fmla="*/ 2935 w 10820"/>
                <a:gd name="connsiteY2904" fmla="*/ 7615 h 10000"/>
                <a:gd name="connsiteX2905" fmla="*/ 2945 w 10820"/>
                <a:gd name="connsiteY2905" fmla="*/ 7650 h 10000"/>
                <a:gd name="connsiteX2906" fmla="*/ 2949 w 10820"/>
                <a:gd name="connsiteY2906" fmla="*/ 7667 h 10000"/>
                <a:gd name="connsiteX2907" fmla="*/ 2949 w 10820"/>
                <a:gd name="connsiteY2907" fmla="*/ 7675 h 10000"/>
                <a:gd name="connsiteX2908" fmla="*/ 2945 w 10820"/>
                <a:gd name="connsiteY2908" fmla="*/ 7692 h 10000"/>
                <a:gd name="connsiteX2909" fmla="*/ 2963 w 10820"/>
                <a:gd name="connsiteY2909" fmla="*/ 7701 h 10000"/>
                <a:gd name="connsiteX2910" fmla="*/ 2963 w 10820"/>
                <a:gd name="connsiteY2910" fmla="*/ 7675 h 10000"/>
                <a:gd name="connsiteX2911" fmla="*/ 2954 w 10820"/>
                <a:gd name="connsiteY2911" fmla="*/ 7667 h 10000"/>
                <a:gd name="connsiteX2912" fmla="*/ 2963 w 10820"/>
                <a:gd name="connsiteY2912" fmla="*/ 7667 h 10000"/>
                <a:gd name="connsiteX2913" fmla="*/ 2982 w 10820"/>
                <a:gd name="connsiteY2913" fmla="*/ 7667 h 10000"/>
                <a:gd name="connsiteX2914" fmla="*/ 2991 w 10820"/>
                <a:gd name="connsiteY2914" fmla="*/ 7675 h 10000"/>
                <a:gd name="connsiteX2915" fmla="*/ 2995 w 10820"/>
                <a:gd name="connsiteY2915" fmla="*/ 7692 h 10000"/>
                <a:gd name="connsiteX2916" fmla="*/ 3009 w 10820"/>
                <a:gd name="connsiteY2916" fmla="*/ 7701 h 10000"/>
                <a:gd name="connsiteX2917" fmla="*/ 3018 w 10820"/>
                <a:gd name="connsiteY2917" fmla="*/ 7701 h 10000"/>
                <a:gd name="connsiteX2918" fmla="*/ 3023 w 10820"/>
                <a:gd name="connsiteY2918" fmla="*/ 7692 h 10000"/>
                <a:gd name="connsiteX2919" fmla="*/ 3028 w 10820"/>
                <a:gd name="connsiteY2919" fmla="*/ 7675 h 10000"/>
                <a:gd name="connsiteX2920" fmla="*/ 3037 w 10820"/>
                <a:gd name="connsiteY2920" fmla="*/ 7692 h 10000"/>
                <a:gd name="connsiteX2921" fmla="*/ 3028 w 10820"/>
                <a:gd name="connsiteY2921" fmla="*/ 7709 h 10000"/>
                <a:gd name="connsiteX2922" fmla="*/ 3023 w 10820"/>
                <a:gd name="connsiteY2922" fmla="*/ 7709 h 10000"/>
                <a:gd name="connsiteX2923" fmla="*/ 3018 w 10820"/>
                <a:gd name="connsiteY2923" fmla="*/ 7726 h 10000"/>
                <a:gd name="connsiteX2924" fmla="*/ 3009 w 10820"/>
                <a:gd name="connsiteY2924" fmla="*/ 7735 h 10000"/>
                <a:gd name="connsiteX2925" fmla="*/ 3009 w 10820"/>
                <a:gd name="connsiteY2925" fmla="*/ 7761 h 10000"/>
                <a:gd name="connsiteX2926" fmla="*/ 3009 w 10820"/>
                <a:gd name="connsiteY2926" fmla="*/ 7778 h 10000"/>
                <a:gd name="connsiteX2927" fmla="*/ 3018 w 10820"/>
                <a:gd name="connsiteY2927" fmla="*/ 7786 h 10000"/>
                <a:gd name="connsiteX2928" fmla="*/ 3023 w 10820"/>
                <a:gd name="connsiteY2928" fmla="*/ 7786 h 10000"/>
                <a:gd name="connsiteX2929" fmla="*/ 3028 w 10820"/>
                <a:gd name="connsiteY2929" fmla="*/ 7778 h 10000"/>
                <a:gd name="connsiteX2930" fmla="*/ 3051 w 10820"/>
                <a:gd name="connsiteY2930" fmla="*/ 7761 h 10000"/>
                <a:gd name="connsiteX2931" fmla="*/ 3055 w 10820"/>
                <a:gd name="connsiteY2931" fmla="*/ 7778 h 10000"/>
                <a:gd name="connsiteX2932" fmla="*/ 3065 w 10820"/>
                <a:gd name="connsiteY2932" fmla="*/ 7761 h 10000"/>
                <a:gd name="connsiteX2933" fmla="*/ 3069 w 10820"/>
                <a:gd name="connsiteY2933" fmla="*/ 7786 h 10000"/>
                <a:gd name="connsiteX2934" fmla="*/ 3083 w 10820"/>
                <a:gd name="connsiteY2934" fmla="*/ 7786 h 10000"/>
                <a:gd name="connsiteX2935" fmla="*/ 3078 w 10820"/>
                <a:gd name="connsiteY2935" fmla="*/ 7761 h 10000"/>
                <a:gd name="connsiteX2936" fmla="*/ 3083 w 10820"/>
                <a:gd name="connsiteY2936" fmla="*/ 7752 h 10000"/>
                <a:gd name="connsiteX2937" fmla="*/ 3097 w 10820"/>
                <a:gd name="connsiteY2937" fmla="*/ 7752 h 10000"/>
                <a:gd name="connsiteX2938" fmla="*/ 3111 w 10820"/>
                <a:gd name="connsiteY2938" fmla="*/ 7726 h 10000"/>
                <a:gd name="connsiteX2939" fmla="*/ 3124 w 10820"/>
                <a:gd name="connsiteY2939" fmla="*/ 7709 h 10000"/>
                <a:gd name="connsiteX2940" fmla="*/ 3143 w 10820"/>
                <a:gd name="connsiteY2940" fmla="*/ 7692 h 10000"/>
                <a:gd name="connsiteX2941" fmla="*/ 3152 w 10820"/>
                <a:gd name="connsiteY2941" fmla="*/ 7667 h 10000"/>
                <a:gd name="connsiteX2942" fmla="*/ 3157 w 10820"/>
                <a:gd name="connsiteY2942" fmla="*/ 7650 h 10000"/>
                <a:gd name="connsiteX2943" fmla="*/ 3161 w 10820"/>
                <a:gd name="connsiteY2943" fmla="*/ 7650 h 10000"/>
                <a:gd name="connsiteX2944" fmla="*/ 3189 w 10820"/>
                <a:gd name="connsiteY2944" fmla="*/ 7641 h 10000"/>
                <a:gd name="connsiteX2945" fmla="*/ 3198 w 10820"/>
                <a:gd name="connsiteY2945" fmla="*/ 7624 h 10000"/>
                <a:gd name="connsiteX2946" fmla="*/ 3217 w 10820"/>
                <a:gd name="connsiteY2946" fmla="*/ 7615 h 10000"/>
                <a:gd name="connsiteX2947" fmla="*/ 3235 w 10820"/>
                <a:gd name="connsiteY2947" fmla="*/ 7598 h 10000"/>
                <a:gd name="connsiteX2948" fmla="*/ 3235 w 10820"/>
                <a:gd name="connsiteY2948" fmla="*/ 7615 h 10000"/>
                <a:gd name="connsiteX2949" fmla="*/ 3235 w 10820"/>
                <a:gd name="connsiteY2949" fmla="*/ 7641 h 10000"/>
                <a:gd name="connsiteX2950" fmla="*/ 3235 w 10820"/>
                <a:gd name="connsiteY2950" fmla="*/ 7650 h 10000"/>
                <a:gd name="connsiteX2951" fmla="*/ 3226 w 10820"/>
                <a:gd name="connsiteY2951" fmla="*/ 7650 h 10000"/>
                <a:gd name="connsiteX2952" fmla="*/ 3217 w 10820"/>
                <a:gd name="connsiteY2952" fmla="*/ 7650 h 10000"/>
                <a:gd name="connsiteX2953" fmla="*/ 3212 w 10820"/>
                <a:gd name="connsiteY2953" fmla="*/ 7675 h 10000"/>
                <a:gd name="connsiteX2954" fmla="*/ 3212 w 10820"/>
                <a:gd name="connsiteY2954"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307 w 10785"/>
                <a:gd name="connsiteY731" fmla="*/ 4899 h 10000"/>
                <a:gd name="connsiteX732" fmla="*/ 10785 w 10785"/>
                <a:gd name="connsiteY732" fmla="*/ 4708 h 10000"/>
                <a:gd name="connsiteX733" fmla="*/ 10689 w 10785"/>
                <a:gd name="connsiteY733" fmla="*/ 4467 h 10000"/>
                <a:gd name="connsiteX734" fmla="*/ 10354 w 10785"/>
                <a:gd name="connsiteY734" fmla="*/ 4302 h 10000"/>
                <a:gd name="connsiteX735" fmla="*/ 9912 w 10785"/>
                <a:gd name="connsiteY735" fmla="*/ 3675 h 10000"/>
                <a:gd name="connsiteX736" fmla="*/ 9903 w 10785"/>
                <a:gd name="connsiteY736" fmla="*/ 3667 h 10000"/>
                <a:gd name="connsiteX737" fmla="*/ 9894 w 10785"/>
                <a:gd name="connsiteY737" fmla="*/ 3641 h 10000"/>
                <a:gd name="connsiteX738" fmla="*/ 9889 w 10785"/>
                <a:gd name="connsiteY738" fmla="*/ 3650 h 10000"/>
                <a:gd name="connsiteX739" fmla="*/ 9848 w 10785"/>
                <a:gd name="connsiteY739" fmla="*/ 3598 h 10000"/>
                <a:gd name="connsiteX740" fmla="*/ 9829 w 10785"/>
                <a:gd name="connsiteY740" fmla="*/ 3581 h 10000"/>
                <a:gd name="connsiteX741" fmla="*/ 9820 w 10785"/>
                <a:gd name="connsiteY741" fmla="*/ 3581 h 10000"/>
                <a:gd name="connsiteX742" fmla="*/ 9793 w 10785"/>
                <a:gd name="connsiteY742" fmla="*/ 3556 h 10000"/>
                <a:gd name="connsiteX743" fmla="*/ 9779 w 10785"/>
                <a:gd name="connsiteY743" fmla="*/ 3556 h 10000"/>
                <a:gd name="connsiteX744" fmla="*/ 9747 w 10785"/>
                <a:gd name="connsiteY744" fmla="*/ 3487 h 10000"/>
                <a:gd name="connsiteX745" fmla="*/ 9668 w 10785"/>
                <a:gd name="connsiteY745" fmla="*/ 3479 h 10000"/>
                <a:gd name="connsiteX746" fmla="*/ 9659 w 10785"/>
                <a:gd name="connsiteY746" fmla="*/ 3487 h 10000"/>
                <a:gd name="connsiteX747" fmla="*/ 9645 w 10785"/>
                <a:gd name="connsiteY747" fmla="*/ 3504 h 10000"/>
                <a:gd name="connsiteX748" fmla="*/ 9631 w 10785"/>
                <a:gd name="connsiteY748" fmla="*/ 3487 h 10000"/>
                <a:gd name="connsiteX749" fmla="*/ 9613 w 10785"/>
                <a:gd name="connsiteY749" fmla="*/ 3479 h 10000"/>
                <a:gd name="connsiteX750" fmla="*/ 9599 w 10785"/>
                <a:gd name="connsiteY750" fmla="*/ 3479 h 10000"/>
                <a:gd name="connsiteX751" fmla="*/ 9571 w 10785"/>
                <a:gd name="connsiteY751" fmla="*/ 3479 h 10000"/>
                <a:gd name="connsiteX752" fmla="*/ 9562 w 10785"/>
                <a:gd name="connsiteY752" fmla="*/ 3487 h 10000"/>
                <a:gd name="connsiteX753" fmla="*/ 9539 w 10785"/>
                <a:gd name="connsiteY753" fmla="*/ 3487 h 10000"/>
                <a:gd name="connsiteX754" fmla="*/ 9507 w 10785"/>
                <a:gd name="connsiteY754" fmla="*/ 3453 h 10000"/>
                <a:gd name="connsiteX755" fmla="*/ 9498 w 10785"/>
                <a:gd name="connsiteY755" fmla="*/ 3453 h 10000"/>
                <a:gd name="connsiteX756" fmla="*/ 9387 w 10785"/>
                <a:gd name="connsiteY756" fmla="*/ 3419 h 10000"/>
                <a:gd name="connsiteX757" fmla="*/ 9373 w 10785"/>
                <a:gd name="connsiteY757" fmla="*/ 3427 h 10000"/>
                <a:gd name="connsiteX758" fmla="*/ 9373 w 10785"/>
                <a:gd name="connsiteY758" fmla="*/ 3462 h 10000"/>
                <a:gd name="connsiteX759" fmla="*/ 9378 w 10785"/>
                <a:gd name="connsiteY759" fmla="*/ 3479 h 10000"/>
                <a:gd name="connsiteX760" fmla="*/ 9378 w 10785"/>
                <a:gd name="connsiteY760" fmla="*/ 3530 h 10000"/>
                <a:gd name="connsiteX761" fmla="*/ 9355 w 10785"/>
                <a:gd name="connsiteY761" fmla="*/ 3538 h 10000"/>
                <a:gd name="connsiteX762" fmla="*/ 9355 w 10785"/>
                <a:gd name="connsiteY762" fmla="*/ 3581 h 10000"/>
                <a:gd name="connsiteX763" fmla="*/ 9387 w 10785"/>
                <a:gd name="connsiteY763" fmla="*/ 3590 h 10000"/>
                <a:gd name="connsiteX764" fmla="*/ 9401 w 10785"/>
                <a:gd name="connsiteY764" fmla="*/ 3667 h 10000"/>
                <a:gd name="connsiteX765" fmla="*/ 9406 w 10785"/>
                <a:gd name="connsiteY765" fmla="*/ 3675 h 10000"/>
                <a:gd name="connsiteX766" fmla="*/ 9406 w 10785"/>
                <a:gd name="connsiteY766" fmla="*/ 3701 h 10000"/>
                <a:gd name="connsiteX767" fmla="*/ 9415 w 10785"/>
                <a:gd name="connsiteY767" fmla="*/ 3752 h 10000"/>
                <a:gd name="connsiteX768" fmla="*/ 9373 w 10785"/>
                <a:gd name="connsiteY768" fmla="*/ 3838 h 10000"/>
                <a:gd name="connsiteX769" fmla="*/ 9355 w 10785"/>
                <a:gd name="connsiteY769" fmla="*/ 3863 h 10000"/>
                <a:gd name="connsiteX770" fmla="*/ 9327 w 10785"/>
                <a:gd name="connsiteY770" fmla="*/ 3863 h 10000"/>
                <a:gd name="connsiteX771" fmla="*/ 9313 w 10785"/>
                <a:gd name="connsiteY771" fmla="*/ 3846 h 10000"/>
                <a:gd name="connsiteX772" fmla="*/ 9300 w 10785"/>
                <a:gd name="connsiteY772" fmla="*/ 3778 h 10000"/>
                <a:gd name="connsiteX773" fmla="*/ 9281 w 10785"/>
                <a:gd name="connsiteY773" fmla="*/ 3752 h 10000"/>
                <a:gd name="connsiteX774" fmla="*/ 9281 w 10785"/>
                <a:gd name="connsiteY774" fmla="*/ 3735 h 10000"/>
                <a:gd name="connsiteX775" fmla="*/ 9267 w 10785"/>
                <a:gd name="connsiteY775" fmla="*/ 3726 h 10000"/>
                <a:gd name="connsiteX776" fmla="*/ 9240 w 10785"/>
                <a:gd name="connsiteY776" fmla="*/ 3726 h 10000"/>
                <a:gd name="connsiteX777" fmla="*/ 9230 w 10785"/>
                <a:gd name="connsiteY777" fmla="*/ 3718 h 10000"/>
                <a:gd name="connsiteX778" fmla="*/ 9226 w 10785"/>
                <a:gd name="connsiteY778" fmla="*/ 3590 h 10000"/>
                <a:gd name="connsiteX779" fmla="*/ 9207 w 10785"/>
                <a:gd name="connsiteY779" fmla="*/ 3581 h 10000"/>
                <a:gd name="connsiteX780" fmla="*/ 9207 w 10785"/>
                <a:gd name="connsiteY780" fmla="*/ 3556 h 10000"/>
                <a:gd name="connsiteX781" fmla="*/ 9217 w 10785"/>
                <a:gd name="connsiteY781" fmla="*/ 3538 h 10000"/>
                <a:gd name="connsiteX782" fmla="*/ 9212 w 10785"/>
                <a:gd name="connsiteY782" fmla="*/ 3538 h 10000"/>
                <a:gd name="connsiteX783" fmla="*/ 9198 w 10785"/>
                <a:gd name="connsiteY783" fmla="*/ 3513 h 10000"/>
                <a:gd name="connsiteX784" fmla="*/ 9194 w 10785"/>
                <a:gd name="connsiteY784" fmla="*/ 3530 h 10000"/>
                <a:gd name="connsiteX785" fmla="*/ 9143 w 10785"/>
                <a:gd name="connsiteY785" fmla="*/ 3615 h 10000"/>
                <a:gd name="connsiteX786" fmla="*/ 9138 w 10785"/>
                <a:gd name="connsiteY786" fmla="*/ 3615 h 10000"/>
                <a:gd name="connsiteX787" fmla="*/ 9134 w 10785"/>
                <a:gd name="connsiteY787" fmla="*/ 3615 h 10000"/>
                <a:gd name="connsiteX788" fmla="*/ 9106 w 10785"/>
                <a:gd name="connsiteY788" fmla="*/ 3615 h 10000"/>
                <a:gd name="connsiteX789" fmla="*/ 9078 w 10785"/>
                <a:gd name="connsiteY789" fmla="*/ 3590 h 10000"/>
                <a:gd name="connsiteX790" fmla="*/ 9037 w 10785"/>
                <a:gd name="connsiteY790" fmla="*/ 3581 h 10000"/>
                <a:gd name="connsiteX791" fmla="*/ 9023 w 10785"/>
                <a:gd name="connsiteY791" fmla="*/ 3590 h 10000"/>
                <a:gd name="connsiteX792" fmla="*/ 9018 w 10785"/>
                <a:gd name="connsiteY792" fmla="*/ 3590 h 10000"/>
                <a:gd name="connsiteX793" fmla="*/ 9018 w 10785"/>
                <a:gd name="connsiteY793" fmla="*/ 3590 h 10000"/>
                <a:gd name="connsiteX794" fmla="*/ 8991 w 10785"/>
                <a:gd name="connsiteY794" fmla="*/ 3590 h 10000"/>
                <a:gd name="connsiteX795" fmla="*/ 8972 w 10785"/>
                <a:gd name="connsiteY795" fmla="*/ 3581 h 10000"/>
                <a:gd name="connsiteX796" fmla="*/ 8959 w 10785"/>
                <a:gd name="connsiteY796" fmla="*/ 3513 h 10000"/>
                <a:gd name="connsiteX797" fmla="*/ 8931 w 10785"/>
                <a:gd name="connsiteY797" fmla="*/ 3538 h 10000"/>
                <a:gd name="connsiteX798" fmla="*/ 8889 w 10785"/>
                <a:gd name="connsiteY798" fmla="*/ 3538 h 10000"/>
                <a:gd name="connsiteX799" fmla="*/ 8871 w 10785"/>
                <a:gd name="connsiteY799" fmla="*/ 3556 h 10000"/>
                <a:gd name="connsiteX800" fmla="*/ 8857 w 10785"/>
                <a:gd name="connsiteY800" fmla="*/ 3538 h 10000"/>
                <a:gd name="connsiteX801" fmla="*/ 8843 w 10785"/>
                <a:gd name="connsiteY801" fmla="*/ 3538 h 10000"/>
                <a:gd name="connsiteX802" fmla="*/ 8839 w 10785"/>
                <a:gd name="connsiteY802" fmla="*/ 3556 h 10000"/>
                <a:gd name="connsiteX803" fmla="*/ 8839 w 10785"/>
                <a:gd name="connsiteY803" fmla="*/ 3581 h 10000"/>
                <a:gd name="connsiteX804" fmla="*/ 8825 w 10785"/>
                <a:gd name="connsiteY804" fmla="*/ 3564 h 10000"/>
                <a:gd name="connsiteX805" fmla="*/ 8825 w 10785"/>
                <a:gd name="connsiteY805" fmla="*/ 3615 h 10000"/>
                <a:gd name="connsiteX806" fmla="*/ 8802 w 10785"/>
                <a:gd name="connsiteY806" fmla="*/ 3598 h 10000"/>
                <a:gd name="connsiteX807" fmla="*/ 8797 w 10785"/>
                <a:gd name="connsiteY807" fmla="*/ 3641 h 10000"/>
                <a:gd name="connsiteX808" fmla="*/ 8783 w 10785"/>
                <a:gd name="connsiteY808" fmla="*/ 3667 h 10000"/>
                <a:gd name="connsiteX809" fmla="*/ 8779 w 10785"/>
                <a:gd name="connsiteY809" fmla="*/ 3650 h 10000"/>
                <a:gd name="connsiteX810" fmla="*/ 8779 w 10785"/>
                <a:gd name="connsiteY810" fmla="*/ 3615 h 10000"/>
                <a:gd name="connsiteX811" fmla="*/ 8770 w 10785"/>
                <a:gd name="connsiteY811" fmla="*/ 3590 h 10000"/>
                <a:gd name="connsiteX812" fmla="*/ 8765 w 10785"/>
                <a:gd name="connsiteY812" fmla="*/ 3598 h 10000"/>
                <a:gd name="connsiteX813" fmla="*/ 8756 w 10785"/>
                <a:gd name="connsiteY813" fmla="*/ 3590 h 10000"/>
                <a:gd name="connsiteX814" fmla="*/ 8737 w 10785"/>
                <a:gd name="connsiteY814" fmla="*/ 3556 h 10000"/>
                <a:gd name="connsiteX815" fmla="*/ 8724 w 10785"/>
                <a:gd name="connsiteY815" fmla="*/ 3538 h 10000"/>
                <a:gd name="connsiteX816" fmla="*/ 8696 w 10785"/>
                <a:gd name="connsiteY816" fmla="*/ 3538 h 10000"/>
                <a:gd name="connsiteX817" fmla="*/ 8691 w 10785"/>
                <a:gd name="connsiteY817" fmla="*/ 3513 h 10000"/>
                <a:gd name="connsiteX818" fmla="*/ 8668 w 10785"/>
                <a:gd name="connsiteY818" fmla="*/ 3504 h 10000"/>
                <a:gd name="connsiteX819" fmla="*/ 8668 w 10785"/>
                <a:gd name="connsiteY819" fmla="*/ 3487 h 10000"/>
                <a:gd name="connsiteX820" fmla="*/ 8691 w 10785"/>
                <a:gd name="connsiteY820" fmla="*/ 3350 h 10000"/>
                <a:gd name="connsiteX821" fmla="*/ 8691 w 10785"/>
                <a:gd name="connsiteY821" fmla="*/ 3291 h 10000"/>
                <a:gd name="connsiteX822" fmla="*/ 8677 w 10785"/>
                <a:gd name="connsiteY822" fmla="*/ 3239 h 10000"/>
                <a:gd name="connsiteX823" fmla="*/ 8677 w 10785"/>
                <a:gd name="connsiteY823" fmla="*/ 3231 h 10000"/>
                <a:gd name="connsiteX824" fmla="*/ 8636 w 10785"/>
                <a:gd name="connsiteY824" fmla="*/ 3128 h 10000"/>
                <a:gd name="connsiteX825" fmla="*/ 8622 w 10785"/>
                <a:gd name="connsiteY825" fmla="*/ 3120 h 10000"/>
                <a:gd name="connsiteX826" fmla="*/ 8618 w 10785"/>
                <a:gd name="connsiteY826" fmla="*/ 3094 h 10000"/>
                <a:gd name="connsiteX827" fmla="*/ 8594 w 10785"/>
                <a:gd name="connsiteY827" fmla="*/ 3077 h 10000"/>
                <a:gd name="connsiteX828" fmla="*/ 8548 w 10785"/>
                <a:gd name="connsiteY828" fmla="*/ 3077 h 10000"/>
                <a:gd name="connsiteX829" fmla="*/ 8535 w 10785"/>
                <a:gd name="connsiteY829" fmla="*/ 3068 h 10000"/>
                <a:gd name="connsiteX830" fmla="*/ 8429 w 10785"/>
                <a:gd name="connsiteY830" fmla="*/ 3077 h 10000"/>
                <a:gd name="connsiteX831" fmla="*/ 8424 w 10785"/>
                <a:gd name="connsiteY831" fmla="*/ 3077 h 10000"/>
                <a:gd name="connsiteX832" fmla="*/ 8396 w 10785"/>
                <a:gd name="connsiteY832" fmla="*/ 3077 h 10000"/>
                <a:gd name="connsiteX833" fmla="*/ 8387 w 10785"/>
                <a:gd name="connsiteY833" fmla="*/ 3094 h 10000"/>
                <a:gd name="connsiteX834" fmla="*/ 8378 w 10785"/>
                <a:gd name="connsiteY834" fmla="*/ 3094 h 10000"/>
                <a:gd name="connsiteX835" fmla="*/ 8341 w 10785"/>
                <a:gd name="connsiteY835" fmla="*/ 3077 h 10000"/>
                <a:gd name="connsiteX836" fmla="*/ 8336 w 10785"/>
                <a:gd name="connsiteY836" fmla="*/ 3077 h 10000"/>
                <a:gd name="connsiteX837" fmla="*/ 8327 w 10785"/>
                <a:gd name="connsiteY837" fmla="*/ 3103 h 10000"/>
                <a:gd name="connsiteX838" fmla="*/ 8309 w 10785"/>
                <a:gd name="connsiteY838" fmla="*/ 3120 h 10000"/>
                <a:gd name="connsiteX839" fmla="*/ 8304 w 10785"/>
                <a:gd name="connsiteY839" fmla="*/ 3103 h 10000"/>
                <a:gd name="connsiteX840" fmla="*/ 8276 w 10785"/>
                <a:gd name="connsiteY840" fmla="*/ 3103 h 10000"/>
                <a:gd name="connsiteX841" fmla="*/ 8267 w 10785"/>
                <a:gd name="connsiteY841" fmla="*/ 3120 h 10000"/>
                <a:gd name="connsiteX842" fmla="*/ 8253 w 10785"/>
                <a:gd name="connsiteY842" fmla="*/ 3103 h 10000"/>
                <a:gd name="connsiteX843" fmla="*/ 8230 w 10785"/>
                <a:gd name="connsiteY843" fmla="*/ 3128 h 10000"/>
                <a:gd name="connsiteX844" fmla="*/ 8217 w 10785"/>
                <a:gd name="connsiteY844" fmla="*/ 3128 h 10000"/>
                <a:gd name="connsiteX845" fmla="*/ 8203 w 10785"/>
                <a:gd name="connsiteY845" fmla="*/ 3154 h 10000"/>
                <a:gd name="connsiteX846" fmla="*/ 8175 w 10785"/>
                <a:gd name="connsiteY846" fmla="*/ 3094 h 10000"/>
                <a:gd name="connsiteX847" fmla="*/ 8161 w 10785"/>
                <a:gd name="connsiteY847" fmla="*/ 3094 h 10000"/>
                <a:gd name="connsiteX848" fmla="*/ 8157 w 10785"/>
                <a:gd name="connsiteY848" fmla="*/ 3077 h 10000"/>
                <a:gd name="connsiteX849" fmla="*/ 8180 w 10785"/>
                <a:gd name="connsiteY849" fmla="*/ 3068 h 10000"/>
                <a:gd name="connsiteX850" fmla="*/ 8189 w 10785"/>
                <a:gd name="connsiteY850" fmla="*/ 3043 h 10000"/>
                <a:gd name="connsiteX851" fmla="*/ 8189 w 10785"/>
                <a:gd name="connsiteY851" fmla="*/ 3017 h 10000"/>
                <a:gd name="connsiteX852" fmla="*/ 8147 w 10785"/>
                <a:gd name="connsiteY852" fmla="*/ 2940 h 10000"/>
                <a:gd name="connsiteX853" fmla="*/ 8143 w 10785"/>
                <a:gd name="connsiteY853" fmla="*/ 2915 h 10000"/>
                <a:gd name="connsiteX854" fmla="*/ 8143 w 10785"/>
                <a:gd name="connsiteY854" fmla="*/ 2906 h 10000"/>
                <a:gd name="connsiteX855" fmla="*/ 8097 w 10785"/>
                <a:gd name="connsiteY855" fmla="*/ 2932 h 10000"/>
                <a:gd name="connsiteX856" fmla="*/ 8083 w 10785"/>
                <a:gd name="connsiteY856" fmla="*/ 2932 h 10000"/>
                <a:gd name="connsiteX857" fmla="*/ 8074 w 10785"/>
                <a:gd name="connsiteY857" fmla="*/ 2906 h 10000"/>
                <a:gd name="connsiteX858" fmla="*/ 8074 w 10785"/>
                <a:gd name="connsiteY858" fmla="*/ 2897 h 10000"/>
                <a:gd name="connsiteX859" fmla="*/ 8055 w 10785"/>
                <a:gd name="connsiteY859" fmla="*/ 2872 h 10000"/>
                <a:gd name="connsiteX860" fmla="*/ 8046 w 10785"/>
                <a:gd name="connsiteY860" fmla="*/ 2829 h 10000"/>
                <a:gd name="connsiteX861" fmla="*/ 8041 w 10785"/>
                <a:gd name="connsiteY861" fmla="*/ 2829 h 10000"/>
                <a:gd name="connsiteX862" fmla="*/ 8023 w 10785"/>
                <a:gd name="connsiteY862" fmla="*/ 2803 h 10000"/>
                <a:gd name="connsiteX863" fmla="*/ 8014 w 10785"/>
                <a:gd name="connsiteY863" fmla="*/ 2829 h 10000"/>
                <a:gd name="connsiteX864" fmla="*/ 8000 w 10785"/>
                <a:gd name="connsiteY864" fmla="*/ 2829 h 10000"/>
                <a:gd name="connsiteX865" fmla="*/ 7995 w 10785"/>
                <a:gd name="connsiteY865" fmla="*/ 2821 h 10000"/>
                <a:gd name="connsiteX866" fmla="*/ 7972 w 10785"/>
                <a:gd name="connsiteY866" fmla="*/ 2803 h 10000"/>
                <a:gd name="connsiteX867" fmla="*/ 7968 w 10785"/>
                <a:gd name="connsiteY867" fmla="*/ 2821 h 10000"/>
                <a:gd name="connsiteX868" fmla="*/ 7968 w 10785"/>
                <a:gd name="connsiteY868" fmla="*/ 2803 h 10000"/>
                <a:gd name="connsiteX869" fmla="*/ 7995 w 10785"/>
                <a:gd name="connsiteY869" fmla="*/ 2735 h 10000"/>
                <a:gd name="connsiteX870" fmla="*/ 8000 w 10785"/>
                <a:gd name="connsiteY870" fmla="*/ 2735 h 10000"/>
                <a:gd name="connsiteX871" fmla="*/ 8014 w 10785"/>
                <a:gd name="connsiteY871" fmla="*/ 2744 h 10000"/>
                <a:gd name="connsiteX872" fmla="*/ 8023 w 10785"/>
                <a:gd name="connsiteY872" fmla="*/ 2769 h 10000"/>
                <a:gd name="connsiteX873" fmla="*/ 8032 w 10785"/>
                <a:gd name="connsiteY873" fmla="*/ 2744 h 10000"/>
                <a:gd name="connsiteX874" fmla="*/ 8032 w 10785"/>
                <a:gd name="connsiteY874" fmla="*/ 2709 h 10000"/>
                <a:gd name="connsiteX875" fmla="*/ 8023 w 10785"/>
                <a:gd name="connsiteY875" fmla="*/ 2632 h 10000"/>
                <a:gd name="connsiteX876" fmla="*/ 7986 w 10785"/>
                <a:gd name="connsiteY876" fmla="*/ 2581 h 10000"/>
                <a:gd name="connsiteX877" fmla="*/ 7968 w 10785"/>
                <a:gd name="connsiteY877" fmla="*/ 2581 h 10000"/>
                <a:gd name="connsiteX878" fmla="*/ 7963 w 10785"/>
                <a:gd name="connsiteY878" fmla="*/ 2556 h 10000"/>
                <a:gd name="connsiteX879" fmla="*/ 7935 w 10785"/>
                <a:gd name="connsiteY879" fmla="*/ 2547 h 10000"/>
                <a:gd name="connsiteX880" fmla="*/ 7912 w 10785"/>
                <a:gd name="connsiteY880" fmla="*/ 2547 h 10000"/>
                <a:gd name="connsiteX881" fmla="*/ 7912 w 10785"/>
                <a:gd name="connsiteY881" fmla="*/ 2556 h 10000"/>
                <a:gd name="connsiteX882" fmla="*/ 7908 w 10785"/>
                <a:gd name="connsiteY882" fmla="*/ 2547 h 10000"/>
                <a:gd name="connsiteX883" fmla="*/ 7862 w 10785"/>
                <a:gd name="connsiteY883" fmla="*/ 2547 h 10000"/>
                <a:gd name="connsiteX884" fmla="*/ 7848 w 10785"/>
                <a:gd name="connsiteY884" fmla="*/ 2556 h 10000"/>
                <a:gd name="connsiteX885" fmla="*/ 7820 w 10785"/>
                <a:gd name="connsiteY885" fmla="*/ 2547 h 10000"/>
                <a:gd name="connsiteX886" fmla="*/ 7806 w 10785"/>
                <a:gd name="connsiteY886" fmla="*/ 2513 h 10000"/>
                <a:gd name="connsiteX887" fmla="*/ 7788 w 10785"/>
                <a:gd name="connsiteY887" fmla="*/ 2513 h 10000"/>
                <a:gd name="connsiteX888" fmla="*/ 7760 w 10785"/>
                <a:gd name="connsiteY888" fmla="*/ 2470 h 10000"/>
                <a:gd name="connsiteX889" fmla="*/ 7751 w 10785"/>
                <a:gd name="connsiteY889" fmla="*/ 2470 h 10000"/>
                <a:gd name="connsiteX890" fmla="*/ 7705 w 10785"/>
                <a:gd name="connsiteY890" fmla="*/ 2462 h 10000"/>
                <a:gd name="connsiteX891" fmla="*/ 7673 w 10785"/>
                <a:gd name="connsiteY891" fmla="*/ 2419 h 10000"/>
                <a:gd name="connsiteX892" fmla="*/ 7627 w 10785"/>
                <a:gd name="connsiteY892" fmla="*/ 2419 h 10000"/>
                <a:gd name="connsiteX893" fmla="*/ 7613 w 10785"/>
                <a:gd name="connsiteY893" fmla="*/ 2410 h 10000"/>
                <a:gd name="connsiteX894" fmla="*/ 7493 w 10785"/>
                <a:gd name="connsiteY894" fmla="*/ 2393 h 10000"/>
                <a:gd name="connsiteX895" fmla="*/ 7479 w 10785"/>
                <a:gd name="connsiteY895" fmla="*/ 2385 h 10000"/>
                <a:gd name="connsiteX896" fmla="*/ 7479 w 10785"/>
                <a:gd name="connsiteY896" fmla="*/ 2376 h 10000"/>
                <a:gd name="connsiteX897" fmla="*/ 7465 w 10785"/>
                <a:gd name="connsiteY897" fmla="*/ 2359 h 10000"/>
                <a:gd name="connsiteX898" fmla="*/ 7447 w 10785"/>
                <a:gd name="connsiteY898" fmla="*/ 2350 h 10000"/>
                <a:gd name="connsiteX899" fmla="*/ 7433 w 10785"/>
                <a:gd name="connsiteY899" fmla="*/ 2376 h 10000"/>
                <a:gd name="connsiteX900" fmla="*/ 7433 w 10785"/>
                <a:gd name="connsiteY900" fmla="*/ 2385 h 10000"/>
                <a:gd name="connsiteX901" fmla="*/ 7447 w 10785"/>
                <a:gd name="connsiteY901" fmla="*/ 2410 h 10000"/>
                <a:gd name="connsiteX902" fmla="*/ 7447 w 10785"/>
                <a:gd name="connsiteY902" fmla="*/ 2436 h 10000"/>
                <a:gd name="connsiteX903" fmla="*/ 7452 w 10785"/>
                <a:gd name="connsiteY903" fmla="*/ 2462 h 10000"/>
                <a:gd name="connsiteX904" fmla="*/ 7447 w 10785"/>
                <a:gd name="connsiteY904" fmla="*/ 2470 h 10000"/>
                <a:gd name="connsiteX905" fmla="*/ 7424 w 10785"/>
                <a:gd name="connsiteY905" fmla="*/ 2513 h 10000"/>
                <a:gd name="connsiteX906" fmla="*/ 7419 w 10785"/>
                <a:gd name="connsiteY906" fmla="*/ 2556 h 10000"/>
                <a:gd name="connsiteX907" fmla="*/ 7406 w 10785"/>
                <a:gd name="connsiteY907" fmla="*/ 2624 h 10000"/>
                <a:gd name="connsiteX908" fmla="*/ 7392 w 10785"/>
                <a:gd name="connsiteY908" fmla="*/ 2624 h 10000"/>
                <a:gd name="connsiteX909" fmla="*/ 7373 w 10785"/>
                <a:gd name="connsiteY909" fmla="*/ 2650 h 10000"/>
                <a:gd name="connsiteX910" fmla="*/ 7364 w 10785"/>
                <a:gd name="connsiteY910" fmla="*/ 2684 h 10000"/>
                <a:gd name="connsiteX911" fmla="*/ 7364 w 10785"/>
                <a:gd name="connsiteY911" fmla="*/ 2692 h 10000"/>
                <a:gd name="connsiteX912" fmla="*/ 7373 w 10785"/>
                <a:gd name="connsiteY912" fmla="*/ 2718 h 10000"/>
                <a:gd name="connsiteX913" fmla="*/ 7373 w 10785"/>
                <a:gd name="connsiteY913" fmla="*/ 2744 h 10000"/>
                <a:gd name="connsiteX914" fmla="*/ 7359 w 10785"/>
                <a:gd name="connsiteY914" fmla="*/ 2744 h 10000"/>
                <a:gd name="connsiteX915" fmla="*/ 7359 w 10785"/>
                <a:gd name="connsiteY915" fmla="*/ 2795 h 10000"/>
                <a:gd name="connsiteX916" fmla="*/ 7364 w 10785"/>
                <a:gd name="connsiteY916" fmla="*/ 2821 h 10000"/>
                <a:gd name="connsiteX917" fmla="*/ 7378 w 10785"/>
                <a:gd name="connsiteY917" fmla="*/ 2846 h 10000"/>
                <a:gd name="connsiteX918" fmla="*/ 7378 w 10785"/>
                <a:gd name="connsiteY918" fmla="*/ 2855 h 10000"/>
                <a:gd name="connsiteX919" fmla="*/ 7378 w 10785"/>
                <a:gd name="connsiteY919" fmla="*/ 2880 h 10000"/>
                <a:gd name="connsiteX920" fmla="*/ 7378 w 10785"/>
                <a:gd name="connsiteY920" fmla="*/ 2906 h 10000"/>
                <a:gd name="connsiteX921" fmla="*/ 7364 w 10785"/>
                <a:gd name="connsiteY921" fmla="*/ 2906 h 10000"/>
                <a:gd name="connsiteX922" fmla="*/ 7346 w 10785"/>
                <a:gd name="connsiteY922" fmla="*/ 2880 h 10000"/>
                <a:gd name="connsiteX923" fmla="*/ 7332 w 10785"/>
                <a:gd name="connsiteY923" fmla="*/ 2915 h 10000"/>
                <a:gd name="connsiteX924" fmla="*/ 7318 w 10785"/>
                <a:gd name="connsiteY924" fmla="*/ 2906 h 10000"/>
                <a:gd name="connsiteX925" fmla="*/ 7313 w 10785"/>
                <a:gd name="connsiteY925" fmla="*/ 2915 h 10000"/>
                <a:gd name="connsiteX926" fmla="*/ 7313 w 10785"/>
                <a:gd name="connsiteY926" fmla="*/ 2906 h 10000"/>
                <a:gd name="connsiteX927" fmla="*/ 7286 w 10785"/>
                <a:gd name="connsiteY927" fmla="*/ 2940 h 10000"/>
                <a:gd name="connsiteX928" fmla="*/ 7276 w 10785"/>
                <a:gd name="connsiteY928" fmla="*/ 2966 h 10000"/>
                <a:gd name="connsiteX929" fmla="*/ 7272 w 10785"/>
                <a:gd name="connsiteY929" fmla="*/ 2983 h 10000"/>
                <a:gd name="connsiteX930" fmla="*/ 7267 w 10785"/>
                <a:gd name="connsiteY930" fmla="*/ 3009 h 10000"/>
                <a:gd name="connsiteX931" fmla="*/ 7253 w 10785"/>
                <a:gd name="connsiteY931" fmla="*/ 3009 h 10000"/>
                <a:gd name="connsiteX932" fmla="*/ 7244 w 10785"/>
                <a:gd name="connsiteY932" fmla="*/ 3017 h 10000"/>
                <a:gd name="connsiteX933" fmla="*/ 7240 w 10785"/>
                <a:gd name="connsiteY933" fmla="*/ 3009 h 10000"/>
                <a:gd name="connsiteX934" fmla="*/ 7230 w 10785"/>
                <a:gd name="connsiteY934" fmla="*/ 2991 h 10000"/>
                <a:gd name="connsiteX935" fmla="*/ 7226 w 10785"/>
                <a:gd name="connsiteY935" fmla="*/ 2983 h 10000"/>
                <a:gd name="connsiteX936" fmla="*/ 7226 w 10785"/>
                <a:gd name="connsiteY936" fmla="*/ 2966 h 10000"/>
                <a:gd name="connsiteX937" fmla="*/ 7212 w 10785"/>
                <a:gd name="connsiteY937" fmla="*/ 2957 h 10000"/>
                <a:gd name="connsiteX938" fmla="*/ 7212 w 10785"/>
                <a:gd name="connsiteY938" fmla="*/ 2932 h 10000"/>
                <a:gd name="connsiteX939" fmla="*/ 7198 w 10785"/>
                <a:gd name="connsiteY939" fmla="*/ 2915 h 10000"/>
                <a:gd name="connsiteX940" fmla="*/ 7194 w 10785"/>
                <a:gd name="connsiteY940" fmla="*/ 2915 h 10000"/>
                <a:gd name="connsiteX941" fmla="*/ 7157 w 10785"/>
                <a:gd name="connsiteY941" fmla="*/ 2880 h 10000"/>
                <a:gd name="connsiteX942" fmla="*/ 7138 w 10785"/>
                <a:gd name="connsiteY942" fmla="*/ 2880 h 10000"/>
                <a:gd name="connsiteX943" fmla="*/ 7120 w 10785"/>
                <a:gd name="connsiteY943" fmla="*/ 2872 h 10000"/>
                <a:gd name="connsiteX944" fmla="*/ 7111 w 10785"/>
                <a:gd name="connsiteY944" fmla="*/ 2846 h 10000"/>
                <a:gd name="connsiteX945" fmla="*/ 7106 w 10785"/>
                <a:gd name="connsiteY945" fmla="*/ 2846 h 10000"/>
                <a:gd name="connsiteX946" fmla="*/ 7092 w 10785"/>
                <a:gd name="connsiteY946" fmla="*/ 2829 h 10000"/>
                <a:gd name="connsiteX947" fmla="*/ 7051 w 10785"/>
                <a:gd name="connsiteY947" fmla="*/ 2829 h 10000"/>
                <a:gd name="connsiteX948" fmla="*/ 7037 w 10785"/>
                <a:gd name="connsiteY948" fmla="*/ 2880 h 10000"/>
                <a:gd name="connsiteX949" fmla="*/ 7037 w 10785"/>
                <a:gd name="connsiteY949" fmla="*/ 2906 h 10000"/>
                <a:gd name="connsiteX950" fmla="*/ 7037 w 10785"/>
                <a:gd name="connsiteY950" fmla="*/ 2932 h 10000"/>
                <a:gd name="connsiteX951" fmla="*/ 7037 w 10785"/>
                <a:gd name="connsiteY951" fmla="*/ 2940 h 10000"/>
                <a:gd name="connsiteX952" fmla="*/ 7023 w 10785"/>
                <a:gd name="connsiteY952" fmla="*/ 2906 h 10000"/>
                <a:gd name="connsiteX953" fmla="*/ 7023 w 10785"/>
                <a:gd name="connsiteY953" fmla="*/ 2915 h 10000"/>
                <a:gd name="connsiteX954" fmla="*/ 6991 w 10785"/>
                <a:gd name="connsiteY954" fmla="*/ 2906 h 10000"/>
                <a:gd name="connsiteX955" fmla="*/ 6977 w 10785"/>
                <a:gd name="connsiteY955" fmla="*/ 2915 h 10000"/>
                <a:gd name="connsiteX956" fmla="*/ 6963 w 10785"/>
                <a:gd name="connsiteY956" fmla="*/ 2915 h 10000"/>
                <a:gd name="connsiteX957" fmla="*/ 6949 w 10785"/>
                <a:gd name="connsiteY957" fmla="*/ 2872 h 10000"/>
                <a:gd name="connsiteX958" fmla="*/ 6935 w 10785"/>
                <a:gd name="connsiteY958" fmla="*/ 2855 h 10000"/>
                <a:gd name="connsiteX959" fmla="*/ 6922 w 10785"/>
                <a:gd name="connsiteY959" fmla="*/ 2803 h 10000"/>
                <a:gd name="connsiteX960" fmla="*/ 6917 w 10785"/>
                <a:gd name="connsiteY960" fmla="*/ 2786 h 10000"/>
                <a:gd name="connsiteX961" fmla="*/ 6903 w 10785"/>
                <a:gd name="connsiteY961" fmla="*/ 2709 h 10000"/>
                <a:gd name="connsiteX962" fmla="*/ 6903 w 10785"/>
                <a:gd name="connsiteY962" fmla="*/ 2692 h 10000"/>
                <a:gd name="connsiteX963" fmla="*/ 6899 w 10785"/>
                <a:gd name="connsiteY963" fmla="*/ 2709 h 10000"/>
                <a:gd name="connsiteX964" fmla="*/ 6857 w 10785"/>
                <a:gd name="connsiteY964" fmla="*/ 2872 h 10000"/>
                <a:gd name="connsiteX965" fmla="*/ 6857 w 10785"/>
                <a:gd name="connsiteY965" fmla="*/ 3009 h 10000"/>
                <a:gd name="connsiteX966" fmla="*/ 6848 w 10785"/>
                <a:gd name="connsiteY966" fmla="*/ 3017 h 10000"/>
                <a:gd name="connsiteX967" fmla="*/ 6839 w 10785"/>
                <a:gd name="connsiteY967" fmla="*/ 3068 h 10000"/>
                <a:gd name="connsiteX968" fmla="*/ 6829 w 10785"/>
                <a:gd name="connsiteY968" fmla="*/ 3077 h 10000"/>
                <a:gd name="connsiteX969" fmla="*/ 6829 w 10785"/>
                <a:gd name="connsiteY969" fmla="*/ 3128 h 10000"/>
                <a:gd name="connsiteX970" fmla="*/ 6816 w 10785"/>
                <a:gd name="connsiteY970" fmla="*/ 3154 h 10000"/>
                <a:gd name="connsiteX971" fmla="*/ 6811 w 10785"/>
                <a:gd name="connsiteY971" fmla="*/ 3179 h 10000"/>
                <a:gd name="connsiteX972" fmla="*/ 6797 w 10785"/>
                <a:gd name="connsiteY972" fmla="*/ 3171 h 10000"/>
                <a:gd name="connsiteX973" fmla="*/ 6783 w 10785"/>
                <a:gd name="connsiteY973" fmla="*/ 3103 h 10000"/>
                <a:gd name="connsiteX974" fmla="*/ 6779 w 10785"/>
                <a:gd name="connsiteY974" fmla="*/ 3094 h 10000"/>
                <a:gd name="connsiteX975" fmla="*/ 6779 w 10785"/>
                <a:gd name="connsiteY975" fmla="*/ 3120 h 10000"/>
                <a:gd name="connsiteX976" fmla="*/ 6770 w 10785"/>
                <a:gd name="connsiteY976" fmla="*/ 3128 h 10000"/>
                <a:gd name="connsiteX977" fmla="*/ 6765 w 10785"/>
                <a:gd name="connsiteY977" fmla="*/ 3103 h 10000"/>
                <a:gd name="connsiteX978" fmla="*/ 6756 w 10785"/>
                <a:gd name="connsiteY978" fmla="*/ 3103 h 10000"/>
                <a:gd name="connsiteX979" fmla="*/ 6742 w 10785"/>
                <a:gd name="connsiteY979" fmla="*/ 3103 h 10000"/>
                <a:gd name="connsiteX980" fmla="*/ 6737 w 10785"/>
                <a:gd name="connsiteY980" fmla="*/ 3077 h 10000"/>
                <a:gd name="connsiteX981" fmla="*/ 6737 w 10785"/>
                <a:gd name="connsiteY981" fmla="*/ 3068 h 10000"/>
                <a:gd name="connsiteX982" fmla="*/ 6728 w 10785"/>
                <a:gd name="connsiteY982" fmla="*/ 3043 h 10000"/>
                <a:gd name="connsiteX983" fmla="*/ 6724 w 10785"/>
                <a:gd name="connsiteY983" fmla="*/ 3051 h 10000"/>
                <a:gd name="connsiteX984" fmla="*/ 6714 w 10785"/>
                <a:gd name="connsiteY984" fmla="*/ 3043 h 10000"/>
                <a:gd name="connsiteX985" fmla="*/ 6710 w 10785"/>
                <a:gd name="connsiteY985" fmla="*/ 3034 h 10000"/>
                <a:gd name="connsiteX986" fmla="*/ 6705 w 10785"/>
                <a:gd name="connsiteY986" fmla="*/ 2983 h 10000"/>
                <a:gd name="connsiteX987" fmla="*/ 6696 w 10785"/>
                <a:gd name="connsiteY987" fmla="*/ 2966 h 10000"/>
                <a:gd name="connsiteX988" fmla="*/ 6691 w 10785"/>
                <a:gd name="connsiteY988" fmla="*/ 2983 h 10000"/>
                <a:gd name="connsiteX989" fmla="*/ 6677 w 10785"/>
                <a:gd name="connsiteY989" fmla="*/ 2897 h 10000"/>
                <a:gd name="connsiteX990" fmla="*/ 6677 w 10785"/>
                <a:gd name="connsiteY990" fmla="*/ 2897 h 10000"/>
                <a:gd name="connsiteX991" fmla="*/ 6677 w 10785"/>
                <a:gd name="connsiteY991" fmla="*/ 2872 h 10000"/>
                <a:gd name="connsiteX992" fmla="*/ 6668 w 10785"/>
                <a:gd name="connsiteY992" fmla="*/ 2821 h 10000"/>
                <a:gd name="connsiteX993" fmla="*/ 6664 w 10785"/>
                <a:gd name="connsiteY993" fmla="*/ 2829 h 10000"/>
                <a:gd name="connsiteX994" fmla="*/ 6654 w 10785"/>
                <a:gd name="connsiteY994" fmla="*/ 2846 h 10000"/>
                <a:gd name="connsiteX995" fmla="*/ 6650 w 10785"/>
                <a:gd name="connsiteY995" fmla="*/ 2829 h 10000"/>
                <a:gd name="connsiteX996" fmla="*/ 6650 w 10785"/>
                <a:gd name="connsiteY996" fmla="*/ 2803 h 10000"/>
                <a:gd name="connsiteX997" fmla="*/ 6650 w 10785"/>
                <a:gd name="connsiteY997" fmla="*/ 2795 h 10000"/>
                <a:gd name="connsiteX998" fmla="*/ 6641 w 10785"/>
                <a:gd name="connsiteY998" fmla="*/ 2786 h 10000"/>
                <a:gd name="connsiteX999" fmla="*/ 6636 w 10785"/>
                <a:gd name="connsiteY999" fmla="*/ 2735 h 10000"/>
                <a:gd name="connsiteX1000" fmla="*/ 6664 w 10785"/>
                <a:gd name="connsiteY1000" fmla="*/ 2667 h 10000"/>
                <a:gd name="connsiteX1001" fmla="*/ 6668 w 10785"/>
                <a:gd name="connsiteY1001" fmla="*/ 2684 h 10000"/>
                <a:gd name="connsiteX1002" fmla="*/ 6677 w 10785"/>
                <a:gd name="connsiteY1002" fmla="*/ 2667 h 10000"/>
                <a:gd name="connsiteX1003" fmla="*/ 6668 w 10785"/>
                <a:gd name="connsiteY1003" fmla="*/ 2667 h 10000"/>
                <a:gd name="connsiteX1004" fmla="*/ 6668 w 10785"/>
                <a:gd name="connsiteY1004" fmla="*/ 2650 h 10000"/>
                <a:gd name="connsiteX1005" fmla="*/ 6682 w 10785"/>
                <a:gd name="connsiteY1005" fmla="*/ 2650 h 10000"/>
                <a:gd name="connsiteX1006" fmla="*/ 6691 w 10785"/>
                <a:gd name="connsiteY1006" fmla="*/ 2624 h 10000"/>
                <a:gd name="connsiteX1007" fmla="*/ 6682 w 10785"/>
                <a:gd name="connsiteY1007" fmla="*/ 2632 h 10000"/>
                <a:gd name="connsiteX1008" fmla="*/ 6682 w 10785"/>
                <a:gd name="connsiteY1008" fmla="*/ 2624 h 10000"/>
                <a:gd name="connsiteX1009" fmla="*/ 6691 w 10785"/>
                <a:gd name="connsiteY1009" fmla="*/ 2607 h 10000"/>
                <a:gd name="connsiteX1010" fmla="*/ 6691 w 10785"/>
                <a:gd name="connsiteY1010" fmla="*/ 2598 h 10000"/>
                <a:gd name="connsiteX1011" fmla="*/ 6691 w 10785"/>
                <a:gd name="connsiteY1011" fmla="*/ 2581 h 10000"/>
                <a:gd name="connsiteX1012" fmla="*/ 6696 w 10785"/>
                <a:gd name="connsiteY1012" fmla="*/ 2530 h 10000"/>
                <a:gd name="connsiteX1013" fmla="*/ 6677 w 10785"/>
                <a:gd name="connsiteY1013" fmla="*/ 2513 h 10000"/>
                <a:gd name="connsiteX1014" fmla="*/ 6677 w 10785"/>
                <a:gd name="connsiteY1014" fmla="*/ 2496 h 10000"/>
                <a:gd name="connsiteX1015" fmla="*/ 6682 w 10785"/>
                <a:gd name="connsiteY1015" fmla="*/ 2470 h 10000"/>
                <a:gd name="connsiteX1016" fmla="*/ 6668 w 10785"/>
                <a:gd name="connsiteY1016" fmla="*/ 2462 h 10000"/>
                <a:gd name="connsiteX1017" fmla="*/ 6677 w 10785"/>
                <a:gd name="connsiteY1017" fmla="*/ 2436 h 10000"/>
                <a:gd name="connsiteX1018" fmla="*/ 6682 w 10785"/>
                <a:gd name="connsiteY1018" fmla="*/ 2419 h 10000"/>
                <a:gd name="connsiteX1019" fmla="*/ 6682 w 10785"/>
                <a:gd name="connsiteY1019" fmla="*/ 2393 h 10000"/>
                <a:gd name="connsiteX1020" fmla="*/ 6682 w 10785"/>
                <a:gd name="connsiteY1020" fmla="*/ 2385 h 10000"/>
                <a:gd name="connsiteX1021" fmla="*/ 6682 w 10785"/>
                <a:gd name="connsiteY1021" fmla="*/ 2385 h 10000"/>
                <a:gd name="connsiteX1022" fmla="*/ 6677 w 10785"/>
                <a:gd name="connsiteY1022" fmla="*/ 2376 h 10000"/>
                <a:gd name="connsiteX1023" fmla="*/ 6682 w 10785"/>
                <a:gd name="connsiteY1023" fmla="*/ 2359 h 10000"/>
                <a:gd name="connsiteX1024" fmla="*/ 6677 w 10785"/>
                <a:gd name="connsiteY1024" fmla="*/ 2333 h 10000"/>
                <a:gd name="connsiteX1025" fmla="*/ 6691 w 10785"/>
                <a:gd name="connsiteY1025" fmla="*/ 2333 h 10000"/>
                <a:gd name="connsiteX1026" fmla="*/ 6691 w 10785"/>
                <a:gd name="connsiteY1026" fmla="*/ 2325 h 10000"/>
                <a:gd name="connsiteX1027" fmla="*/ 6691 w 10785"/>
                <a:gd name="connsiteY1027" fmla="*/ 2308 h 10000"/>
                <a:gd name="connsiteX1028" fmla="*/ 6691 w 10785"/>
                <a:gd name="connsiteY1028" fmla="*/ 2299 h 10000"/>
                <a:gd name="connsiteX1029" fmla="*/ 6691 w 10785"/>
                <a:gd name="connsiteY1029" fmla="*/ 2282 h 10000"/>
                <a:gd name="connsiteX1030" fmla="*/ 6691 w 10785"/>
                <a:gd name="connsiteY1030" fmla="*/ 2274 h 10000"/>
                <a:gd name="connsiteX1031" fmla="*/ 6668 w 10785"/>
                <a:gd name="connsiteY1031" fmla="*/ 2248 h 10000"/>
                <a:gd name="connsiteX1032" fmla="*/ 6664 w 10785"/>
                <a:gd name="connsiteY1032" fmla="*/ 2222 h 10000"/>
                <a:gd name="connsiteX1033" fmla="*/ 6654 w 10785"/>
                <a:gd name="connsiteY1033" fmla="*/ 2214 h 10000"/>
                <a:gd name="connsiteX1034" fmla="*/ 6654 w 10785"/>
                <a:gd name="connsiteY1034" fmla="*/ 2188 h 10000"/>
                <a:gd name="connsiteX1035" fmla="*/ 6622 w 10785"/>
                <a:gd name="connsiteY1035" fmla="*/ 2162 h 10000"/>
                <a:gd name="connsiteX1036" fmla="*/ 6631 w 10785"/>
                <a:gd name="connsiteY1036" fmla="*/ 2145 h 10000"/>
                <a:gd name="connsiteX1037" fmla="*/ 6622 w 10785"/>
                <a:gd name="connsiteY1037" fmla="*/ 2120 h 10000"/>
                <a:gd name="connsiteX1038" fmla="*/ 6608 w 10785"/>
                <a:gd name="connsiteY1038" fmla="*/ 2120 h 10000"/>
                <a:gd name="connsiteX1039" fmla="*/ 6604 w 10785"/>
                <a:gd name="connsiteY1039" fmla="*/ 2111 h 10000"/>
                <a:gd name="connsiteX1040" fmla="*/ 6608 w 10785"/>
                <a:gd name="connsiteY1040" fmla="*/ 2111 h 10000"/>
                <a:gd name="connsiteX1041" fmla="*/ 6604 w 10785"/>
                <a:gd name="connsiteY1041" fmla="*/ 2085 h 10000"/>
                <a:gd name="connsiteX1042" fmla="*/ 6581 w 10785"/>
                <a:gd name="connsiteY1042" fmla="*/ 2077 h 10000"/>
                <a:gd name="connsiteX1043" fmla="*/ 6571 w 10785"/>
                <a:gd name="connsiteY1043" fmla="*/ 2085 h 10000"/>
                <a:gd name="connsiteX1044" fmla="*/ 6548 w 10785"/>
                <a:gd name="connsiteY1044" fmla="*/ 2077 h 10000"/>
                <a:gd name="connsiteX1045" fmla="*/ 6530 w 10785"/>
                <a:gd name="connsiteY1045" fmla="*/ 2060 h 10000"/>
                <a:gd name="connsiteX1046" fmla="*/ 6521 w 10785"/>
                <a:gd name="connsiteY1046" fmla="*/ 2060 h 10000"/>
                <a:gd name="connsiteX1047" fmla="*/ 6521 w 10785"/>
                <a:gd name="connsiteY1047" fmla="*/ 2085 h 10000"/>
                <a:gd name="connsiteX1048" fmla="*/ 6516 w 10785"/>
                <a:gd name="connsiteY1048" fmla="*/ 2085 h 10000"/>
                <a:gd name="connsiteX1049" fmla="*/ 6502 w 10785"/>
                <a:gd name="connsiteY1049" fmla="*/ 2111 h 10000"/>
                <a:gd name="connsiteX1050" fmla="*/ 6498 w 10785"/>
                <a:gd name="connsiteY1050" fmla="*/ 2111 h 10000"/>
                <a:gd name="connsiteX1051" fmla="*/ 6498 w 10785"/>
                <a:gd name="connsiteY1051" fmla="*/ 2103 h 10000"/>
                <a:gd name="connsiteX1052" fmla="*/ 6475 w 10785"/>
                <a:gd name="connsiteY1052" fmla="*/ 2051 h 10000"/>
                <a:gd name="connsiteX1053" fmla="*/ 6470 w 10785"/>
                <a:gd name="connsiteY1053" fmla="*/ 2060 h 10000"/>
                <a:gd name="connsiteX1054" fmla="*/ 6456 w 10785"/>
                <a:gd name="connsiteY1054" fmla="*/ 2051 h 10000"/>
                <a:gd name="connsiteX1055" fmla="*/ 6447 w 10785"/>
                <a:gd name="connsiteY1055" fmla="*/ 2051 h 10000"/>
                <a:gd name="connsiteX1056" fmla="*/ 6433 w 10785"/>
                <a:gd name="connsiteY1056" fmla="*/ 2026 h 10000"/>
                <a:gd name="connsiteX1057" fmla="*/ 6433 w 10785"/>
                <a:gd name="connsiteY1057" fmla="*/ 2034 h 10000"/>
                <a:gd name="connsiteX1058" fmla="*/ 6429 w 10785"/>
                <a:gd name="connsiteY1058" fmla="*/ 2026 h 10000"/>
                <a:gd name="connsiteX1059" fmla="*/ 6424 w 10785"/>
                <a:gd name="connsiteY1059" fmla="*/ 2034 h 10000"/>
                <a:gd name="connsiteX1060" fmla="*/ 6410 w 10785"/>
                <a:gd name="connsiteY1060" fmla="*/ 2026 h 10000"/>
                <a:gd name="connsiteX1061" fmla="*/ 6410 w 10785"/>
                <a:gd name="connsiteY1061" fmla="*/ 1991 h 10000"/>
                <a:gd name="connsiteX1062" fmla="*/ 6401 w 10785"/>
                <a:gd name="connsiteY1062" fmla="*/ 1991 h 10000"/>
                <a:gd name="connsiteX1063" fmla="*/ 6396 w 10785"/>
                <a:gd name="connsiteY1063" fmla="*/ 2000 h 10000"/>
                <a:gd name="connsiteX1064" fmla="*/ 6382 w 10785"/>
                <a:gd name="connsiteY1064" fmla="*/ 1966 h 10000"/>
                <a:gd name="connsiteX1065" fmla="*/ 6373 w 10785"/>
                <a:gd name="connsiteY1065" fmla="*/ 1974 h 10000"/>
                <a:gd name="connsiteX1066" fmla="*/ 6369 w 10785"/>
                <a:gd name="connsiteY1066" fmla="*/ 1966 h 10000"/>
                <a:gd name="connsiteX1067" fmla="*/ 6341 w 10785"/>
                <a:gd name="connsiteY1067" fmla="*/ 1949 h 10000"/>
                <a:gd name="connsiteX1068" fmla="*/ 6327 w 10785"/>
                <a:gd name="connsiteY1068" fmla="*/ 1923 h 10000"/>
                <a:gd name="connsiteX1069" fmla="*/ 6323 w 10785"/>
                <a:gd name="connsiteY1069" fmla="*/ 1923 h 10000"/>
                <a:gd name="connsiteX1070" fmla="*/ 6323 w 10785"/>
                <a:gd name="connsiteY1070" fmla="*/ 1966 h 10000"/>
                <a:gd name="connsiteX1071" fmla="*/ 6323 w 10785"/>
                <a:gd name="connsiteY1071" fmla="*/ 1991 h 10000"/>
                <a:gd name="connsiteX1072" fmla="*/ 6313 w 10785"/>
                <a:gd name="connsiteY1072" fmla="*/ 1991 h 10000"/>
                <a:gd name="connsiteX1073" fmla="*/ 6300 w 10785"/>
                <a:gd name="connsiteY1073" fmla="*/ 1991 h 10000"/>
                <a:gd name="connsiteX1074" fmla="*/ 6290 w 10785"/>
                <a:gd name="connsiteY1074" fmla="*/ 1949 h 10000"/>
                <a:gd name="connsiteX1075" fmla="*/ 6276 w 10785"/>
                <a:gd name="connsiteY1075" fmla="*/ 2103 h 10000"/>
                <a:gd name="connsiteX1076" fmla="*/ 6281 w 10785"/>
                <a:gd name="connsiteY1076" fmla="*/ 2103 h 10000"/>
                <a:gd name="connsiteX1077" fmla="*/ 6276 w 10785"/>
                <a:gd name="connsiteY1077" fmla="*/ 2111 h 10000"/>
                <a:gd name="connsiteX1078" fmla="*/ 6276 w 10785"/>
                <a:gd name="connsiteY1078" fmla="*/ 2120 h 10000"/>
                <a:gd name="connsiteX1079" fmla="*/ 6295 w 10785"/>
                <a:gd name="connsiteY1079" fmla="*/ 2239 h 10000"/>
                <a:gd name="connsiteX1080" fmla="*/ 6290 w 10785"/>
                <a:gd name="connsiteY1080" fmla="*/ 2248 h 10000"/>
                <a:gd name="connsiteX1081" fmla="*/ 6281 w 10785"/>
                <a:gd name="connsiteY1081" fmla="*/ 2274 h 10000"/>
                <a:gd name="connsiteX1082" fmla="*/ 6249 w 10785"/>
                <a:gd name="connsiteY1082" fmla="*/ 2274 h 10000"/>
                <a:gd name="connsiteX1083" fmla="*/ 6226 w 10785"/>
                <a:gd name="connsiteY1083" fmla="*/ 2308 h 10000"/>
                <a:gd name="connsiteX1084" fmla="*/ 6221 w 10785"/>
                <a:gd name="connsiteY1084" fmla="*/ 2299 h 10000"/>
                <a:gd name="connsiteX1085" fmla="*/ 6221 w 10785"/>
                <a:gd name="connsiteY1085" fmla="*/ 2308 h 10000"/>
                <a:gd name="connsiteX1086" fmla="*/ 6217 w 10785"/>
                <a:gd name="connsiteY1086" fmla="*/ 2299 h 10000"/>
                <a:gd name="connsiteX1087" fmla="*/ 6194 w 10785"/>
                <a:gd name="connsiteY1087" fmla="*/ 2308 h 10000"/>
                <a:gd name="connsiteX1088" fmla="*/ 6180 w 10785"/>
                <a:gd name="connsiteY1088" fmla="*/ 2299 h 10000"/>
                <a:gd name="connsiteX1089" fmla="*/ 6143 w 10785"/>
                <a:gd name="connsiteY1089" fmla="*/ 2308 h 10000"/>
                <a:gd name="connsiteX1090" fmla="*/ 6134 w 10785"/>
                <a:gd name="connsiteY1090" fmla="*/ 2325 h 10000"/>
                <a:gd name="connsiteX1091" fmla="*/ 6115 w 10785"/>
                <a:gd name="connsiteY1091" fmla="*/ 2282 h 10000"/>
                <a:gd name="connsiteX1092" fmla="*/ 6069 w 10785"/>
                <a:gd name="connsiteY1092" fmla="*/ 2274 h 10000"/>
                <a:gd name="connsiteX1093" fmla="*/ 6069 w 10785"/>
                <a:gd name="connsiteY1093" fmla="*/ 2282 h 10000"/>
                <a:gd name="connsiteX1094" fmla="*/ 6060 w 10785"/>
                <a:gd name="connsiteY1094" fmla="*/ 2299 h 10000"/>
                <a:gd name="connsiteX1095" fmla="*/ 5972 w 10785"/>
                <a:gd name="connsiteY1095" fmla="*/ 2214 h 10000"/>
                <a:gd name="connsiteX1096" fmla="*/ 5968 w 10785"/>
                <a:gd name="connsiteY1096" fmla="*/ 2197 h 10000"/>
                <a:gd name="connsiteX1097" fmla="*/ 5968 w 10785"/>
                <a:gd name="connsiteY1097" fmla="*/ 2171 h 10000"/>
                <a:gd name="connsiteX1098" fmla="*/ 5968 w 10785"/>
                <a:gd name="connsiteY1098" fmla="*/ 2162 h 10000"/>
                <a:gd name="connsiteX1099" fmla="*/ 5968 w 10785"/>
                <a:gd name="connsiteY1099" fmla="*/ 2120 h 10000"/>
                <a:gd name="connsiteX1100" fmla="*/ 5968 w 10785"/>
                <a:gd name="connsiteY1100" fmla="*/ 2111 h 10000"/>
                <a:gd name="connsiteX1101" fmla="*/ 5972 w 10785"/>
                <a:gd name="connsiteY1101" fmla="*/ 2103 h 10000"/>
                <a:gd name="connsiteX1102" fmla="*/ 5986 w 10785"/>
                <a:gd name="connsiteY1102" fmla="*/ 2103 h 10000"/>
                <a:gd name="connsiteX1103" fmla="*/ 5986 w 10785"/>
                <a:gd name="connsiteY1103" fmla="*/ 2085 h 10000"/>
                <a:gd name="connsiteX1104" fmla="*/ 5995 w 10785"/>
                <a:gd name="connsiteY1104" fmla="*/ 2085 h 10000"/>
                <a:gd name="connsiteX1105" fmla="*/ 5995 w 10785"/>
                <a:gd name="connsiteY1105" fmla="*/ 2077 h 10000"/>
                <a:gd name="connsiteX1106" fmla="*/ 5986 w 10785"/>
                <a:gd name="connsiteY1106" fmla="*/ 2060 h 10000"/>
                <a:gd name="connsiteX1107" fmla="*/ 5954 w 10785"/>
                <a:gd name="connsiteY1107" fmla="*/ 2060 h 10000"/>
                <a:gd name="connsiteX1108" fmla="*/ 5940 w 10785"/>
                <a:gd name="connsiteY1108" fmla="*/ 2051 h 10000"/>
                <a:gd name="connsiteX1109" fmla="*/ 5922 w 10785"/>
                <a:gd name="connsiteY1109" fmla="*/ 2060 h 10000"/>
                <a:gd name="connsiteX1110" fmla="*/ 5885 w 10785"/>
                <a:gd name="connsiteY1110" fmla="*/ 2051 h 10000"/>
                <a:gd name="connsiteX1111" fmla="*/ 5876 w 10785"/>
                <a:gd name="connsiteY1111" fmla="*/ 2026 h 10000"/>
                <a:gd name="connsiteX1112" fmla="*/ 5862 w 10785"/>
                <a:gd name="connsiteY1112" fmla="*/ 2026 h 10000"/>
                <a:gd name="connsiteX1113" fmla="*/ 5848 w 10785"/>
                <a:gd name="connsiteY1113" fmla="*/ 2026 h 10000"/>
                <a:gd name="connsiteX1114" fmla="*/ 5825 w 10785"/>
                <a:gd name="connsiteY1114" fmla="*/ 2026 h 10000"/>
                <a:gd name="connsiteX1115" fmla="*/ 5788 w 10785"/>
                <a:gd name="connsiteY1115" fmla="*/ 1991 h 10000"/>
                <a:gd name="connsiteX1116" fmla="*/ 5760 w 10785"/>
                <a:gd name="connsiteY1116" fmla="*/ 2000 h 10000"/>
                <a:gd name="connsiteX1117" fmla="*/ 5760 w 10785"/>
                <a:gd name="connsiteY1117" fmla="*/ 2026 h 10000"/>
                <a:gd name="connsiteX1118" fmla="*/ 5714 w 10785"/>
                <a:gd name="connsiteY1118" fmla="*/ 2051 h 10000"/>
                <a:gd name="connsiteX1119" fmla="*/ 5687 w 10785"/>
                <a:gd name="connsiteY1119" fmla="*/ 2034 h 10000"/>
                <a:gd name="connsiteX1120" fmla="*/ 5645 w 10785"/>
                <a:gd name="connsiteY1120" fmla="*/ 2077 h 10000"/>
                <a:gd name="connsiteX1121" fmla="*/ 5664 w 10785"/>
                <a:gd name="connsiteY1121" fmla="*/ 2120 h 10000"/>
                <a:gd name="connsiteX1122" fmla="*/ 5664 w 10785"/>
                <a:gd name="connsiteY1122" fmla="*/ 2162 h 10000"/>
                <a:gd name="connsiteX1123" fmla="*/ 5631 w 10785"/>
                <a:gd name="connsiteY1123" fmla="*/ 2197 h 10000"/>
                <a:gd name="connsiteX1124" fmla="*/ 5618 w 10785"/>
                <a:gd name="connsiteY1124" fmla="*/ 2188 h 10000"/>
                <a:gd name="connsiteX1125" fmla="*/ 5618 w 10785"/>
                <a:gd name="connsiteY1125" fmla="*/ 2171 h 10000"/>
                <a:gd name="connsiteX1126" fmla="*/ 5641 w 10785"/>
                <a:gd name="connsiteY1126" fmla="*/ 2171 h 10000"/>
                <a:gd name="connsiteX1127" fmla="*/ 5641 w 10785"/>
                <a:gd name="connsiteY1127" fmla="*/ 2162 h 10000"/>
                <a:gd name="connsiteX1128" fmla="*/ 5627 w 10785"/>
                <a:gd name="connsiteY1128" fmla="*/ 2145 h 10000"/>
                <a:gd name="connsiteX1129" fmla="*/ 5627 w 10785"/>
                <a:gd name="connsiteY1129" fmla="*/ 2120 h 10000"/>
                <a:gd name="connsiteX1130" fmla="*/ 5618 w 10785"/>
                <a:gd name="connsiteY1130" fmla="*/ 2111 h 10000"/>
                <a:gd name="connsiteX1131" fmla="*/ 5631 w 10785"/>
                <a:gd name="connsiteY1131" fmla="*/ 2051 h 10000"/>
                <a:gd name="connsiteX1132" fmla="*/ 5631 w 10785"/>
                <a:gd name="connsiteY1132" fmla="*/ 2026 h 10000"/>
                <a:gd name="connsiteX1133" fmla="*/ 5627 w 10785"/>
                <a:gd name="connsiteY1133" fmla="*/ 1991 h 10000"/>
                <a:gd name="connsiteX1134" fmla="*/ 5618 w 10785"/>
                <a:gd name="connsiteY1134" fmla="*/ 1974 h 10000"/>
                <a:gd name="connsiteX1135" fmla="*/ 5618 w 10785"/>
                <a:gd name="connsiteY1135" fmla="*/ 1940 h 10000"/>
                <a:gd name="connsiteX1136" fmla="*/ 5594 w 10785"/>
                <a:gd name="connsiteY1136" fmla="*/ 1855 h 10000"/>
                <a:gd name="connsiteX1137" fmla="*/ 5599 w 10785"/>
                <a:gd name="connsiteY1137" fmla="*/ 1915 h 10000"/>
                <a:gd name="connsiteX1138" fmla="*/ 5599 w 10785"/>
                <a:gd name="connsiteY1138" fmla="*/ 1949 h 10000"/>
                <a:gd name="connsiteX1139" fmla="*/ 5594 w 10785"/>
                <a:gd name="connsiteY1139" fmla="*/ 1991 h 10000"/>
                <a:gd name="connsiteX1140" fmla="*/ 5571 w 10785"/>
                <a:gd name="connsiteY1140" fmla="*/ 2000 h 10000"/>
                <a:gd name="connsiteX1141" fmla="*/ 5530 w 10785"/>
                <a:gd name="connsiteY1141" fmla="*/ 1991 h 10000"/>
                <a:gd name="connsiteX1142" fmla="*/ 5525 w 10785"/>
                <a:gd name="connsiteY1142" fmla="*/ 2000 h 10000"/>
                <a:gd name="connsiteX1143" fmla="*/ 5521 w 10785"/>
                <a:gd name="connsiteY1143" fmla="*/ 1991 h 10000"/>
                <a:gd name="connsiteX1144" fmla="*/ 5498 w 10785"/>
                <a:gd name="connsiteY1144" fmla="*/ 1949 h 10000"/>
                <a:gd name="connsiteX1145" fmla="*/ 5493 w 10785"/>
                <a:gd name="connsiteY1145" fmla="*/ 1889 h 10000"/>
                <a:gd name="connsiteX1146" fmla="*/ 5493 w 10785"/>
                <a:gd name="connsiteY1146" fmla="*/ 1863 h 10000"/>
                <a:gd name="connsiteX1147" fmla="*/ 5498 w 10785"/>
                <a:gd name="connsiteY1147" fmla="*/ 1889 h 10000"/>
                <a:gd name="connsiteX1148" fmla="*/ 5512 w 10785"/>
                <a:gd name="connsiteY1148" fmla="*/ 1855 h 10000"/>
                <a:gd name="connsiteX1149" fmla="*/ 5512 w 10785"/>
                <a:gd name="connsiteY1149" fmla="*/ 1838 h 10000"/>
                <a:gd name="connsiteX1150" fmla="*/ 5479 w 10785"/>
                <a:gd name="connsiteY1150" fmla="*/ 1855 h 10000"/>
                <a:gd name="connsiteX1151" fmla="*/ 5470 w 10785"/>
                <a:gd name="connsiteY1151" fmla="*/ 1872 h 10000"/>
                <a:gd name="connsiteX1152" fmla="*/ 5470 w 10785"/>
                <a:gd name="connsiteY1152" fmla="*/ 1889 h 10000"/>
                <a:gd name="connsiteX1153" fmla="*/ 5465 w 10785"/>
                <a:gd name="connsiteY1153" fmla="*/ 1897 h 10000"/>
                <a:gd name="connsiteX1154" fmla="*/ 5456 w 10785"/>
                <a:gd name="connsiteY1154" fmla="*/ 1872 h 10000"/>
                <a:gd name="connsiteX1155" fmla="*/ 5447 w 10785"/>
                <a:gd name="connsiteY1155" fmla="*/ 1872 h 10000"/>
                <a:gd name="connsiteX1156" fmla="*/ 5433 w 10785"/>
                <a:gd name="connsiteY1156" fmla="*/ 1855 h 10000"/>
                <a:gd name="connsiteX1157" fmla="*/ 5396 w 10785"/>
                <a:gd name="connsiteY1157" fmla="*/ 1863 h 10000"/>
                <a:gd name="connsiteX1158" fmla="*/ 5396 w 10785"/>
                <a:gd name="connsiteY1158" fmla="*/ 1897 h 10000"/>
                <a:gd name="connsiteX1159" fmla="*/ 5378 w 10785"/>
                <a:gd name="connsiteY1159" fmla="*/ 1949 h 10000"/>
                <a:gd name="connsiteX1160" fmla="*/ 5378 w 10785"/>
                <a:gd name="connsiteY1160" fmla="*/ 1966 h 10000"/>
                <a:gd name="connsiteX1161" fmla="*/ 5392 w 10785"/>
                <a:gd name="connsiteY1161" fmla="*/ 2026 h 10000"/>
                <a:gd name="connsiteX1162" fmla="*/ 5396 w 10785"/>
                <a:gd name="connsiteY1162" fmla="*/ 2026 h 10000"/>
                <a:gd name="connsiteX1163" fmla="*/ 5392 w 10785"/>
                <a:gd name="connsiteY1163" fmla="*/ 2009 h 10000"/>
                <a:gd name="connsiteX1164" fmla="*/ 5392 w 10785"/>
                <a:gd name="connsiteY1164" fmla="*/ 2000 h 10000"/>
                <a:gd name="connsiteX1165" fmla="*/ 5396 w 10785"/>
                <a:gd name="connsiteY1165" fmla="*/ 2009 h 10000"/>
                <a:gd name="connsiteX1166" fmla="*/ 5424 w 10785"/>
                <a:gd name="connsiteY1166" fmla="*/ 2009 h 10000"/>
                <a:gd name="connsiteX1167" fmla="*/ 5433 w 10785"/>
                <a:gd name="connsiteY1167" fmla="*/ 1991 h 10000"/>
                <a:gd name="connsiteX1168" fmla="*/ 5447 w 10785"/>
                <a:gd name="connsiteY1168" fmla="*/ 1974 h 10000"/>
                <a:gd name="connsiteX1169" fmla="*/ 5452 w 10785"/>
                <a:gd name="connsiteY1169" fmla="*/ 1966 h 10000"/>
                <a:gd name="connsiteX1170" fmla="*/ 5456 w 10785"/>
                <a:gd name="connsiteY1170" fmla="*/ 1966 h 10000"/>
                <a:gd name="connsiteX1171" fmla="*/ 5465 w 10785"/>
                <a:gd name="connsiteY1171" fmla="*/ 2009 h 10000"/>
                <a:gd name="connsiteX1172" fmla="*/ 5433 w 10785"/>
                <a:gd name="connsiteY1172" fmla="*/ 2034 h 10000"/>
                <a:gd name="connsiteX1173" fmla="*/ 5424 w 10785"/>
                <a:gd name="connsiteY1173" fmla="*/ 2060 h 10000"/>
                <a:gd name="connsiteX1174" fmla="*/ 5419 w 10785"/>
                <a:gd name="connsiteY1174" fmla="*/ 2060 h 10000"/>
                <a:gd name="connsiteX1175" fmla="*/ 5392 w 10785"/>
                <a:gd name="connsiteY1175" fmla="*/ 2111 h 10000"/>
                <a:gd name="connsiteX1176" fmla="*/ 5378 w 10785"/>
                <a:gd name="connsiteY1176" fmla="*/ 2111 h 10000"/>
                <a:gd name="connsiteX1177" fmla="*/ 5350 w 10785"/>
                <a:gd name="connsiteY1177" fmla="*/ 2060 h 10000"/>
                <a:gd name="connsiteX1178" fmla="*/ 5373 w 10785"/>
                <a:gd name="connsiteY1178" fmla="*/ 2111 h 10000"/>
                <a:gd name="connsiteX1179" fmla="*/ 5364 w 10785"/>
                <a:gd name="connsiteY1179" fmla="*/ 2111 h 10000"/>
                <a:gd name="connsiteX1180" fmla="*/ 5359 w 10785"/>
                <a:gd name="connsiteY1180" fmla="*/ 2103 h 10000"/>
                <a:gd name="connsiteX1181" fmla="*/ 5359 w 10785"/>
                <a:gd name="connsiteY1181" fmla="*/ 2120 h 10000"/>
                <a:gd name="connsiteX1182" fmla="*/ 5359 w 10785"/>
                <a:gd name="connsiteY1182" fmla="*/ 2137 h 10000"/>
                <a:gd name="connsiteX1183" fmla="*/ 5313 w 10785"/>
                <a:gd name="connsiteY1183" fmla="*/ 2162 h 10000"/>
                <a:gd name="connsiteX1184" fmla="*/ 5300 w 10785"/>
                <a:gd name="connsiteY1184" fmla="*/ 2162 h 10000"/>
                <a:gd name="connsiteX1185" fmla="*/ 5300 w 10785"/>
                <a:gd name="connsiteY1185" fmla="*/ 2171 h 10000"/>
                <a:gd name="connsiteX1186" fmla="*/ 5300 w 10785"/>
                <a:gd name="connsiteY1186" fmla="*/ 2197 h 10000"/>
                <a:gd name="connsiteX1187" fmla="*/ 5276 w 10785"/>
                <a:gd name="connsiteY1187" fmla="*/ 2188 h 10000"/>
                <a:gd name="connsiteX1188" fmla="*/ 5249 w 10785"/>
                <a:gd name="connsiteY1188" fmla="*/ 2222 h 10000"/>
                <a:gd name="connsiteX1189" fmla="*/ 5249 w 10785"/>
                <a:gd name="connsiteY1189" fmla="*/ 2222 h 10000"/>
                <a:gd name="connsiteX1190" fmla="*/ 5217 w 10785"/>
                <a:gd name="connsiteY1190" fmla="*/ 2214 h 10000"/>
                <a:gd name="connsiteX1191" fmla="*/ 5203 w 10785"/>
                <a:gd name="connsiteY1191" fmla="*/ 2239 h 10000"/>
                <a:gd name="connsiteX1192" fmla="*/ 5171 w 10785"/>
                <a:gd name="connsiteY1192" fmla="*/ 2214 h 10000"/>
                <a:gd name="connsiteX1193" fmla="*/ 5157 w 10785"/>
                <a:gd name="connsiteY1193" fmla="*/ 2239 h 10000"/>
                <a:gd name="connsiteX1194" fmla="*/ 5166 w 10785"/>
                <a:gd name="connsiteY1194" fmla="*/ 2256 h 10000"/>
                <a:gd name="connsiteX1195" fmla="*/ 5171 w 10785"/>
                <a:gd name="connsiteY1195" fmla="*/ 2308 h 10000"/>
                <a:gd name="connsiteX1196" fmla="*/ 5212 w 10785"/>
                <a:gd name="connsiteY1196" fmla="*/ 2350 h 10000"/>
                <a:gd name="connsiteX1197" fmla="*/ 5203 w 10785"/>
                <a:gd name="connsiteY1197" fmla="*/ 2350 h 10000"/>
                <a:gd name="connsiteX1198" fmla="*/ 5166 w 10785"/>
                <a:gd name="connsiteY1198" fmla="*/ 2325 h 10000"/>
                <a:gd name="connsiteX1199" fmla="*/ 5152 w 10785"/>
                <a:gd name="connsiteY1199" fmla="*/ 2308 h 10000"/>
                <a:gd name="connsiteX1200" fmla="*/ 5143 w 10785"/>
                <a:gd name="connsiteY1200" fmla="*/ 2333 h 10000"/>
                <a:gd name="connsiteX1201" fmla="*/ 5138 w 10785"/>
                <a:gd name="connsiteY1201" fmla="*/ 2333 h 10000"/>
                <a:gd name="connsiteX1202" fmla="*/ 5124 w 10785"/>
                <a:gd name="connsiteY1202" fmla="*/ 2376 h 10000"/>
                <a:gd name="connsiteX1203" fmla="*/ 5115 w 10785"/>
                <a:gd name="connsiteY1203" fmla="*/ 2385 h 10000"/>
                <a:gd name="connsiteX1204" fmla="*/ 5106 w 10785"/>
                <a:gd name="connsiteY1204" fmla="*/ 2385 h 10000"/>
                <a:gd name="connsiteX1205" fmla="*/ 5055 w 10785"/>
                <a:gd name="connsiteY1205" fmla="*/ 2470 h 10000"/>
                <a:gd name="connsiteX1206" fmla="*/ 5065 w 10785"/>
                <a:gd name="connsiteY1206" fmla="*/ 2462 h 10000"/>
                <a:gd name="connsiteX1207" fmla="*/ 5055 w 10785"/>
                <a:gd name="connsiteY1207" fmla="*/ 2444 h 10000"/>
                <a:gd name="connsiteX1208" fmla="*/ 5041 w 10785"/>
                <a:gd name="connsiteY1208" fmla="*/ 2462 h 10000"/>
                <a:gd name="connsiteX1209" fmla="*/ 5037 w 10785"/>
                <a:gd name="connsiteY1209" fmla="*/ 2470 h 10000"/>
                <a:gd name="connsiteX1210" fmla="*/ 5032 w 10785"/>
                <a:gd name="connsiteY1210" fmla="*/ 2470 h 10000"/>
                <a:gd name="connsiteX1211" fmla="*/ 5032 w 10785"/>
                <a:gd name="connsiteY1211" fmla="*/ 2444 h 10000"/>
                <a:gd name="connsiteX1212" fmla="*/ 5055 w 10785"/>
                <a:gd name="connsiteY1212" fmla="*/ 2410 h 10000"/>
                <a:gd name="connsiteX1213" fmla="*/ 5065 w 10785"/>
                <a:gd name="connsiteY1213" fmla="*/ 2393 h 10000"/>
                <a:gd name="connsiteX1214" fmla="*/ 5069 w 10785"/>
                <a:gd name="connsiteY1214" fmla="*/ 2385 h 10000"/>
                <a:gd name="connsiteX1215" fmla="*/ 5083 w 10785"/>
                <a:gd name="connsiteY1215" fmla="*/ 2376 h 10000"/>
                <a:gd name="connsiteX1216" fmla="*/ 5097 w 10785"/>
                <a:gd name="connsiteY1216" fmla="*/ 2376 h 10000"/>
                <a:gd name="connsiteX1217" fmla="*/ 5124 w 10785"/>
                <a:gd name="connsiteY1217" fmla="*/ 2325 h 10000"/>
                <a:gd name="connsiteX1218" fmla="*/ 5143 w 10785"/>
                <a:gd name="connsiteY1218" fmla="*/ 2248 h 10000"/>
                <a:gd name="connsiteX1219" fmla="*/ 5152 w 10785"/>
                <a:gd name="connsiteY1219" fmla="*/ 2239 h 10000"/>
                <a:gd name="connsiteX1220" fmla="*/ 5166 w 10785"/>
                <a:gd name="connsiteY1220" fmla="*/ 2162 h 10000"/>
                <a:gd name="connsiteX1221" fmla="*/ 5171 w 10785"/>
                <a:gd name="connsiteY1221" fmla="*/ 2171 h 10000"/>
                <a:gd name="connsiteX1222" fmla="*/ 5198 w 10785"/>
                <a:gd name="connsiteY1222" fmla="*/ 2145 h 10000"/>
                <a:gd name="connsiteX1223" fmla="*/ 5203 w 10785"/>
                <a:gd name="connsiteY1223" fmla="*/ 2111 h 10000"/>
                <a:gd name="connsiteX1224" fmla="*/ 5217 w 10785"/>
                <a:gd name="connsiteY1224" fmla="*/ 2060 h 10000"/>
                <a:gd name="connsiteX1225" fmla="*/ 5226 w 10785"/>
                <a:gd name="connsiteY1225" fmla="*/ 2026 h 10000"/>
                <a:gd name="connsiteX1226" fmla="*/ 5286 w 10785"/>
                <a:gd name="connsiteY1226" fmla="*/ 2026 h 10000"/>
                <a:gd name="connsiteX1227" fmla="*/ 5290 w 10785"/>
                <a:gd name="connsiteY1227" fmla="*/ 2034 h 10000"/>
                <a:gd name="connsiteX1228" fmla="*/ 5323 w 10785"/>
                <a:gd name="connsiteY1228" fmla="*/ 1923 h 10000"/>
                <a:gd name="connsiteX1229" fmla="*/ 5323 w 10785"/>
                <a:gd name="connsiteY1229" fmla="*/ 1889 h 10000"/>
                <a:gd name="connsiteX1230" fmla="*/ 5359 w 10785"/>
                <a:gd name="connsiteY1230" fmla="*/ 1829 h 10000"/>
                <a:gd name="connsiteX1231" fmla="*/ 5378 w 10785"/>
                <a:gd name="connsiteY1231" fmla="*/ 1812 h 10000"/>
                <a:gd name="connsiteX1232" fmla="*/ 5406 w 10785"/>
                <a:gd name="connsiteY1232" fmla="*/ 1752 h 10000"/>
                <a:gd name="connsiteX1233" fmla="*/ 5410 w 10785"/>
                <a:gd name="connsiteY1233" fmla="*/ 1718 h 10000"/>
                <a:gd name="connsiteX1234" fmla="*/ 5438 w 10785"/>
                <a:gd name="connsiteY1234" fmla="*/ 1667 h 10000"/>
                <a:gd name="connsiteX1235" fmla="*/ 5438 w 10785"/>
                <a:gd name="connsiteY1235" fmla="*/ 1650 h 10000"/>
                <a:gd name="connsiteX1236" fmla="*/ 5438 w 10785"/>
                <a:gd name="connsiteY1236" fmla="*/ 1641 h 10000"/>
                <a:gd name="connsiteX1237" fmla="*/ 5452 w 10785"/>
                <a:gd name="connsiteY1237" fmla="*/ 1641 h 10000"/>
                <a:gd name="connsiteX1238" fmla="*/ 5456 w 10785"/>
                <a:gd name="connsiteY1238" fmla="*/ 1615 h 10000"/>
                <a:gd name="connsiteX1239" fmla="*/ 5456 w 10785"/>
                <a:gd name="connsiteY1239" fmla="*/ 1615 h 10000"/>
                <a:gd name="connsiteX1240" fmla="*/ 5465 w 10785"/>
                <a:gd name="connsiteY1240" fmla="*/ 1598 h 10000"/>
                <a:gd name="connsiteX1241" fmla="*/ 5465 w 10785"/>
                <a:gd name="connsiteY1241" fmla="*/ 1615 h 10000"/>
                <a:gd name="connsiteX1242" fmla="*/ 5479 w 10785"/>
                <a:gd name="connsiteY1242" fmla="*/ 1598 h 10000"/>
                <a:gd name="connsiteX1243" fmla="*/ 5484 w 10785"/>
                <a:gd name="connsiteY1243" fmla="*/ 1581 h 10000"/>
                <a:gd name="connsiteX1244" fmla="*/ 5493 w 10785"/>
                <a:gd name="connsiteY1244" fmla="*/ 1581 h 10000"/>
                <a:gd name="connsiteX1245" fmla="*/ 5512 w 10785"/>
                <a:gd name="connsiteY1245" fmla="*/ 1538 h 10000"/>
                <a:gd name="connsiteX1246" fmla="*/ 5530 w 10785"/>
                <a:gd name="connsiteY1246" fmla="*/ 1564 h 10000"/>
                <a:gd name="connsiteX1247" fmla="*/ 5530 w 10785"/>
                <a:gd name="connsiteY1247" fmla="*/ 1538 h 10000"/>
                <a:gd name="connsiteX1248" fmla="*/ 5539 w 10785"/>
                <a:gd name="connsiteY1248" fmla="*/ 1530 h 10000"/>
                <a:gd name="connsiteX1249" fmla="*/ 5530 w 10785"/>
                <a:gd name="connsiteY1249" fmla="*/ 1504 h 10000"/>
                <a:gd name="connsiteX1250" fmla="*/ 5567 w 10785"/>
                <a:gd name="connsiteY1250" fmla="*/ 1479 h 10000"/>
                <a:gd name="connsiteX1251" fmla="*/ 5553 w 10785"/>
                <a:gd name="connsiteY1251" fmla="*/ 1479 h 10000"/>
                <a:gd name="connsiteX1252" fmla="*/ 5553 w 10785"/>
                <a:gd name="connsiteY1252" fmla="*/ 1453 h 10000"/>
                <a:gd name="connsiteX1253" fmla="*/ 5581 w 10785"/>
                <a:gd name="connsiteY1253" fmla="*/ 1444 h 10000"/>
                <a:gd name="connsiteX1254" fmla="*/ 5581 w 10785"/>
                <a:gd name="connsiteY1254" fmla="*/ 1453 h 10000"/>
                <a:gd name="connsiteX1255" fmla="*/ 5585 w 10785"/>
                <a:gd name="connsiteY1255" fmla="*/ 1444 h 10000"/>
                <a:gd name="connsiteX1256" fmla="*/ 5594 w 10785"/>
                <a:gd name="connsiteY1256" fmla="*/ 1427 h 10000"/>
                <a:gd name="connsiteX1257" fmla="*/ 5599 w 10785"/>
                <a:gd name="connsiteY1257" fmla="*/ 1419 h 10000"/>
                <a:gd name="connsiteX1258" fmla="*/ 5594 w 10785"/>
                <a:gd name="connsiteY1258" fmla="*/ 1402 h 10000"/>
                <a:gd name="connsiteX1259" fmla="*/ 5604 w 10785"/>
                <a:gd name="connsiteY1259" fmla="*/ 1393 h 10000"/>
                <a:gd name="connsiteX1260" fmla="*/ 5618 w 10785"/>
                <a:gd name="connsiteY1260" fmla="*/ 1393 h 10000"/>
                <a:gd name="connsiteX1261" fmla="*/ 5627 w 10785"/>
                <a:gd name="connsiteY1261" fmla="*/ 1368 h 10000"/>
                <a:gd name="connsiteX1262" fmla="*/ 5627 w 10785"/>
                <a:gd name="connsiteY1262" fmla="*/ 1325 h 10000"/>
                <a:gd name="connsiteX1263" fmla="*/ 5645 w 10785"/>
                <a:gd name="connsiteY1263" fmla="*/ 1291 h 10000"/>
                <a:gd name="connsiteX1264" fmla="*/ 5645 w 10785"/>
                <a:gd name="connsiteY1264" fmla="*/ 1282 h 10000"/>
                <a:gd name="connsiteX1265" fmla="*/ 5654 w 10785"/>
                <a:gd name="connsiteY1265" fmla="*/ 1265 h 10000"/>
                <a:gd name="connsiteX1266" fmla="*/ 5654 w 10785"/>
                <a:gd name="connsiteY1266" fmla="*/ 1214 h 10000"/>
                <a:gd name="connsiteX1267" fmla="*/ 5654 w 10785"/>
                <a:gd name="connsiteY1267" fmla="*/ 1214 h 10000"/>
                <a:gd name="connsiteX1268" fmla="*/ 5645 w 10785"/>
                <a:gd name="connsiteY1268" fmla="*/ 1197 h 10000"/>
                <a:gd name="connsiteX1269" fmla="*/ 5659 w 10785"/>
                <a:gd name="connsiteY1269" fmla="*/ 1197 h 10000"/>
                <a:gd name="connsiteX1270" fmla="*/ 5654 w 10785"/>
                <a:gd name="connsiteY1270" fmla="*/ 1154 h 10000"/>
                <a:gd name="connsiteX1271" fmla="*/ 5641 w 10785"/>
                <a:gd name="connsiteY1271" fmla="*/ 1154 h 10000"/>
                <a:gd name="connsiteX1272" fmla="*/ 5627 w 10785"/>
                <a:gd name="connsiteY1272" fmla="*/ 1128 h 10000"/>
                <a:gd name="connsiteX1273" fmla="*/ 5618 w 10785"/>
                <a:gd name="connsiteY1273" fmla="*/ 1094 h 10000"/>
                <a:gd name="connsiteX1274" fmla="*/ 5613 w 10785"/>
                <a:gd name="connsiteY1274" fmla="*/ 1094 h 10000"/>
                <a:gd name="connsiteX1275" fmla="*/ 5604 w 10785"/>
                <a:gd name="connsiteY1275" fmla="*/ 1120 h 10000"/>
                <a:gd name="connsiteX1276" fmla="*/ 5604 w 10785"/>
                <a:gd name="connsiteY1276" fmla="*/ 1128 h 10000"/>
                <a:gd name="connsiteX1277" fmla="*/ 5599 w 10785"/>
                <a:gd name="connsiteY1277" fmla="*/ 1103 h 10000"/>
                <a:gd name="connsiteX1278" fmla="*/ 5599 w 10785"/>
                <a:gd name="connsiteY1278" fmla="*/ 1103 h 10000"/>
                <a:gd name="connsiteX1279" fmla="*/ 5594 w 10785"/>
                <a:gd name="connsiteY1279" fmla="*/ 1068 h 10000"/>
                <a:gd name="connsiteX1280" fmla="*/ 5594 w 10785"/>
                <a:gd name="connsiteY1280" fmla="*/ 1060 h 10000"/>
                <a:gd name="connsiteX1281" fmla="*/ 5581 w 10785"/>
                <a:gd name="connsiteY1281" fmla="*/ 1034 h 10000"/>
                <a:gd name="connsiteX1282" fmla="*/ 5571 w 10785"/>
                <a:gd name="connsiteY1282" fmla="*/ 1009 h 10000"/>
                <a:gd name="connsiteX1283" fmla="*/ 5571 w 10785"/>
                <a:gd name="connsiteY1283" fmla="*/ 991 h 10000"/>
                <a:gd name="connsiteX1284" fmla="*/ 5585 w 10785"/>
                <a:gd name="connsiteY1284" fmla="*/ 1009 h 10000"/>
                <a:gd name="connsiteX1285" fmla="*/ 5604 w 10785"/>
                <a:gd name="connsiteY1285" fmla="*/ 1043 h 10000"/>
                <a:gd name="connsiteX1286" fmla="*/ 5641 w 10785"/>
                <a:gd name="connsiteY1286" fmla="*/ 1094 h 10000"/>
                <a:gd name="connsiteX1287" fmla="*/ 5631 w 10785"/>
                <a:gd name="connsiteY1287" fmla="*/ 1128 h 10000"/>
                <a:gd name="connsiteX1288" fmla="*/ 5641 w 10785"/>
                <a:gd name="connsiteY1288" fmla="*/ 1128 h 10000"/>
                <a:gd name="connsiteX1289" fmla="*/ 5659 w 10785"/>
                <a:gd name="connsiteY1289" fmla="*/ 1017 h 10000"/>
                <a:gd name="connsiteX1290" fmla="*/ 5659 w 10785"/>
                <a:gd name="connsiteY1290" fmla="*/ 983 h 10000"/>
                <a:gd name="connsiteX1291" fmla="*/ 5659 w 10785"/>
                <a:gd name="connsiteY1291" fmla="*/ 957 h 10000"/>
                <a:gd name="connsiteX1292" fmla="*/ 5654 w 10785"/>
                <a:gd name="connsiteY1292" fmla="*/ 966 h 10000"/>
                <a:gd name="connsiteX1293" fmla="*/ 5641 w 10785"/>
                <a:gd name="connsiteY1293" fmla="*/ 957 h 10000"/>
                <a:gd name="connsiteX1294" fmla="*/ 5631 w 10785"/>
                <a:gd name="connsiteY1294" fmla="*/ 897 h 10000"/>
                <a:gd name="connsiteX1295" fmla="*/ 5641 w 10785"/>
                <a:gd name="connsiteY1295" fmla="*/ 872 h 10000"/>
                <a:gd name="connsiteX1296" fmla="*/ 5618 w 10785"/>
                <a:gd name="connsiteY1296" fmla="*/ 803 h 10000"/>
                <a:gd name="connsiteX1297" fmla="*/ 5604 w 10785"/>
                <a:gd name="connsiteY1297" fmla="*/ 821 h 10000"/>
                <a:gd name="connsiteX1298" fmla="*/ 5613 w 10785"/>
                <a:gd name="connsiteY1298" fmla="*/ 846 h 10000"/>
                <a:gd name="connsiteX1299" fmla="*/ 5604 w 10785"/>
                <a:gd name="connsiteY1299" fmla="*/ 855 h 10000"/>
                <a:gd name="connsiteX1300" fmla="*/ 5599 w 10785"/>
                <a:gd name="connsiteY1300" fmla="*/ 880 h 10000"/>
                <a:gd name="connsiteX1301" fmla="*/ 5594 w 10785"/>
                <a:gd name="connsiteY1301" fmla="*/ 880 h 10000"/>
                <a:gd name="connsiteX1302" fmla="*/ 5585 w 10785"/>
                <a:gd name="connsiteY1302" fmla="*/ 829 h 10000"/>
                <a:gd name="connsiteX1303" fmla="*/ 5571 w 10785"/>
                <a:gd name="connsiteY1303" fmla="*/ 803 h 10000"/>
                <a:gd name="connsiteX1304" fmla="*/ 5585 w 10785"/>
                <a:gd name="connsiteY1304" fmla="*/ 795 h 10000"/>
                <a:gd name="connsiteX1305" fmla="*/ 5585 w 10785"/>
                <a:gd name="connsiteY1305" fmla="*/ 761 h 10000"/>
                <a:gd name="connsiteX1306" fmla="*/ 5558 w 10785"/>
                <a:gd name="connsiteY1306" fmla="*/ 709 h 10000"/>
                <a:gd name="connsiteX1307" fmla="*/ 5544 w 10785"/>
                <a:gd name="connsiteY1307" fmla="*/ 709 h 10000"/>
                <a:gd name="connsiteX1308" fmla="*/ 5544 w 10785"/>
                <a:gd name="connsiteY1308" fmla="*/ 684 h 10000"/>
                <a:gd name="connsiteX1309" fmla="*/ 5525 w 10785"/>
                <a:gd name="connsiteY1309" fmla="*/ 632 h 10000"/>
                <a:gd name="connsiteX1310" fmla="*/ 5507 w 10785"/>
                <a:gd name="connsiteY1310" fmla="*/ 607 h 10000"/>
                <a:gd name="connsiteX1311" fmla="*/ 5512 w 10785"/>
                <a:gd name="connsiteY1311" fmla="*/ 598 h 10000"/>
                <a:gd name="connsiteX1312" fmla="*/ 5507 w 10785"/>
                <a:gd name="connsiteY1312" fmla="*/ 581 h 10000"/>
                <a:gd name="connsiteX1313" fmla="*/ 5493 w 10785"/>
                <a:gd name="connsiteY1313" fmla="*/ 573 h 10000"/>
                <a:gd name="connsiteX1314" fmla="*/ 5484 w 10785"/>
                <a:gd name="connsiteY1314" fmla="*/ 581 h 10000"/>
                <a:gd name="connsiteX1315" fmla="*/ 5484 w 10785"/>
                <a:gd name="connsiteY1315" fmla="*/ 573 h 10000"/>
                <a:gd name="connsiteX1316" fmla="*/ 5484 w 10785"/>
                <a:gd name="connsiteY1316" fmla="*/ 547 h 10000"/>
                <a:gd name="connsiteX1317" fmla="*/ 5465 w 10785"/>
                <a:gd name="connsiteY1317" fmla="*/ 556 h 10000"/>
                <a:gd name="connsiteX1318" fmla="*/ 5433 w 10785"/>
                <a:gd name="connsiteY1318" fmla="*/ 547 h 10000"/>
                <a:gd name="connsiteX1319" fmla="*/ 5410 w 10785"/>
                <a:gd name="connsiteY1319" fmla="*/ 573 h 10000"/>
                <a:gd name="connsiteX1320" fmla="*/ 5406 w 10785"/>
                <a:gd name="connsiteY1320" fmla="*/ 573 h 10000"/>
                <a:gd name="connsiteX1321" fmla="*/ 5392 w 10785"/>
                <a:gd name="connsiteY1321" fmla="*/ 573 h 10000"/>
                <a:gd name="connsiteX1322" fmla="*/ 5364 w 10785"/>
                <a:gd name="connsiteY1322" fmla="*/ 530 h 10000"/>
                <a:gd name="connsiteX1323" fmla="*/ 5350 w 10785"/>
                <a:gd name="connsiteY1323" fmla="*/ 556 h 10000"/>
                <a:gd name="connsiteX1324" fmla="*/ 5346 w 10785"/>
                <a:gd name="connsiteY1324" fmla="*/ 556 h 10000"/>
                <a:gd name="connsiteX1325" fmla="*/ 5313 w 10785"/>
                <a:gd name="connsiteY1325" fmla="*/ 573 h 10000"/>
                <a:gd name="connsiteX1326" fmla="*/ 5304 w 10785"/>
                <a:gd name="connsiteY1326" fmla="*/ 556 h 10000"/>
                <a:gd name="connsiteX1327" fmla="*/ 5290 w 10785"/>
                <a:gd name="connsiteY1327" fmla="*/ 573 h 10000"/>
                <a:gd name="connsiteX1328" fmla="*/ 5290 w 10785"/>
                <a:gd name="connsiteY1328" fmla="*/ 556 h 10000"/>
                <a:gd name="connsiteX1329" fmla="*/ 5300 w 10785"/>
                <a:gd name="connsiteY1329" fmla="*/ 547 h 10000"/>
                <a:gd name="connsiteX1330" fmla="*/ 5300 w 10785"/>
                <a:gd name="connsiteY1330" fmla="*/ 530 h 10000"/>
                <a:gd name="connsiteX1331" fmla="*/ 5290 w 10785"/>
                <a:gd name="connsiteY1331" fmla="*/ 530 h 10000"/>
                <a:gd name="connsiteX1332" fmla="*/ 5286 w 10785"/>
                <a:gd name="connsiteY1332" fmla="*/ 547 h 10000"/>
                <a:gd name="connsiteX1333" fmla="*/ 5272 w 10785"/>
                <a:gd name="connsiteY1333" fmla="*/ 556 h 10000"/>
                <a:gd name="connsiteX1334" fmla="*/ 5272 w 10785"/>
                <a:gd name="connsiteY1334" fmla="*/ 598 h 10000"/>
                <a:gd name="connsiteX1335" fmla="*/ 5276 w 10785"/>
                <a:gd name="connsiteY1335" fmla="*/ 581 h 10000"/>
                <a:gd name="connsiteX1336" fmla="*/ 5272 w 10785"/>
                <a:gd name="connsiteY1336" fmla="*/ 607 h 10000"/>
                <a:gd name="connsiteX1337" fmla="*/ 5263 w 10785"/>
                <a:gd name="connsiteY1337" fmla="*/ 607 h 10000"/>
                <a:gd name="connsiteX1338" fmla="*/ 5263 w 10785"/>
                <a:gd name="connsiteY1338" fmla="*/ 632 h 10000"/>
                <a:gd name="connsiteX1339" fmla="*/ 5258 w 10785"/>
                <a:gd name="connsiteY1339" fmla="*/ 658 h 10000"/>
                <a:gd name="connsiteX1340" fmla="*/ 5244 w 10785"/>
                <a:gd name="connsiteY1340" fmla="*/ 667 h 10000"/>
                <a:gd name="connsiteX1341" fmla="*/ 5240 w 10785"/>
                <a:gd name="connsiteY1341" fmla="*/ 658 h 10000"/>
                <a:gd name="connsiteX1342" fmla="*/ 5240 w 10785"/>
                <a:gd name="connsiteY1342" fmla="*/ 684 h 10000"/>
                <a:gd name="connsiteX1343" fmla="*/ 5212 w 10785"/>
                <a:gd name="connsiteY1343" fmla="*/ 684 h 10000"/>
                <a:gd name="connsiteX1344" fmla="*/ 5198 w 10785"/>
                <a:gd name="connsiteY1344" fmla="*/ 692 h 10000"/>
                <a:gd name="connsiteX1345" fmla="*/ 5184 w 10785"/>
                <a:gd name="connsiteY1345" fmla="*/ 684 h 10000"/>
                <a:gd name="connsiteX1346" fmla="*/ 5157 w 10785"/>
                <a:gd name="connsiteY1346" fmla="*/ 684 h 10000"/>
                <a:gd name="connsiteX1347" fmla="*/ 5157 w 10785"/>
                <a:gd name="connsiteY1347" fmla="*/ 667 h 10000"/>
                <a:gd name="connsiteX1348" fmla="*/ 5157 w 10785"/>
                <a:gd name="connsiteY1348" fmla="*/ 667 h 10000"/>
                <a:gd name="connsiteX1349" fmla="*/ 5180 w 10785"/>
                <a:gd name="connsiteY1349" fmla="*/ 650 h 10000"/>
                <a:gd name="connsiteX1350" fmla="*/ 5184 w 10785"/>
                <a:gd name="connsiteY1350" fmla="*/ 658 h 10000"/>
                <a:gd name="connsiteX1351" fmla="*/ 5203 w 10785"/>
                <a:gd name="connsiteY1351" fmla="*/ 547 h 10000"/>
                <a:gd name="connsiteX1352" fmla="*/ 5226 w 10785"/>
                <a:gd name="connsiteY1352" fmla="*/ 530 h 10000"/>
                <a:gd name="connsiteX1353" fmla="*/ 5230 w 10785"/>
                <a:gd name="connsiteY1353" fmla="*/ 487 h 10000"/>
                <a:gd name="connsiteX1354" fmla="*/ 5230 w 10785"/>
                <a:gd name="connsiteY1354" fmla="*/ 487 h 10000"/>
                <a:gd name="connsiteX1355" fmla="*/ 5226 w 10785"/>
                <a:gd name="connsiteY1355" fmla="*/ 462 h 10000"/>
                <a:gd name="connsiteX1356" fmla="*/ 5226 w 10785"/>
                <a:gd name="connsiteY1356" fmla="*/ 462 h 10000"/>
                <a:gd name="connsiteX1357" fmla="*/ 5240 w 10785"/>
                <a:gd name="connsiteY1357" fmla="*/ 462 h 10000"/>
                <a:gd name="connsiteX1358" fmla="*/ 5240 w 10785"/>
                <a:gd name="connsiteY1358" fmla="*/ 444 h 10000"/>
                <a:gd name="connsiteX1359" fmla="*/ 5230 w 10785"/>
                <a:gd name="connsiteY1359" fmla="*/ 436 h 10000"/>
                <a:gd name="connsiteX1360" fmla="*/ 5230 w 10785"/>
                <a:gd name="connsiteY1360" fmla="*/ 419 h 10000"/>
                <a:gd name="connsiteX1361" fmla="*/ 5230 w 10785"/>
                <a:gd name="connsiteY1361" fmla="*/ 410 h 10000"/>
                <a:gd name="connsiteX1362" fmla="*/ 5198 w 10785"/>
                <a:gd name="connsiteY1362" fmla="*/ 402 h 10000"/>
                <a:gd name="connsiteX1363" fmla="*/ 5189 w 10785"/>
                <a:gd name="connsiteY1363" fmla="*/ 402 h 10000"/>
                <a:gd name="connsiteX1364" fmla="*/ 5184 w 10785"/>
                <a:gd name="connsiteY1364" fmla="*/ 376 h 10000"/>
                <a:gd name="connsiteX1365" fmla="*/ 5180 w 10785"/>
                <a:gd name="connsiteY1365" fmla="*/ 376 h 10000"/>
                <a:gd name="connsiteX1366" fmla="*/ 5166 w 10785"/>
                <a:gd name="connsiteY1366" fmla="*/ 376 h 10000"/>
                <a:gd name="connsiteX1367" fmla="*/ 5157 w 10785"/>
                <a:gd name="connsiteY1367" fmla="*/ 385 h 10000"/>
                <a:gd name="connsiteX1368" fmla="*/ 5152 w 10785"/>
                <a:gd name="connsiteY1368" fmla="*/ 376 h 10000"/>
                <a:gd name="connsiteX1369" fmla="*/ 5129 w 10785"/>
                <a:gd name="connsiteY1369" fmla="*/ 385 h 10000"/>
                <a:gd name="connsiteX1370" fmla="*/ 5129 w 10785"/>
                <a:gd name="connsiteY1370" fmla="*/ 350 h 10000"/>
                <a:gd name="connsiteX1371" fmla="*/ 5129 w 10785"/>
                <a:gd name="connsiteY1371" fmla="*/ 325 h 10000"/>
                <a:gd name="connsiteX1372" fmla="*/ 5124 w 10785"/>
                <a:gd name="connsiteY1372" fmla="*/ 359 h 10000"/>
                <a:gd name="connsiteX1373" fmla="*/ 5106 w 10785"/>
                <a:gd name="connsiteY1373" fmla="*/ 359 h 10000"/>
                <a:gd name="connsiteX1374" fmla="*/ 5037 w 10785"/>
                <a:gd name="connsiteY1374" fmla="*/ 419 h 10000"/>
                <a:gd name="connsiteX1375" fmla="*/ 5051 w 10785"/>
                <a:gd name="connsiteY1375" fmla="*/ 385 h 10000"/>
                <a:gd name="connsiteX1376" fmla="*/ 5055 w 10785"/>
                <a:gd name="connsiteY1376" fmla="*/ 376 h 10000"/>
                <a:gd name="connsiteX1377" fmla="*/ 5092 w 10785"/>
                <a:gd name="connsiteY1377" fmla="*/ 282 h 10000"/>
                <a:gd name="connsiteX1378" fmla="*/ 5106 w 10785"/>
                <a:gd name="connsiteY1378" fmla="*/ 265 h 10000"/>
                <a:gd name="connsiteX1379" fmla="*/ 5115 w 10785"/>
                <a:gd name="connsiteY1379" fmla="*/ 265 h 10000"/>
                <a:gd name="connsiteX1380" fmla="*/ 5124 w 10785"/>
                <a:gd name="connsiteY1380" fmla="*/ 222 h 10000"/>
                <a:gd name="connsiteX1381" fmla="*/ 5124 w 10785"/>
                <a:gd name="connsiteY1381" fmla="*/ 214 h 10000"/>
                <a:gd name="connsiteX1382" fmla="*/ 5143 w 10785"/>
                <a:gd name="connsiteY1382" fmla="*/ 197 h 10000"/>
                <a:gd name="connsiteX1383" fmla="*/ 5152 w 10785"/>
                <a:gd name="connsiteY1383" fmla="*/ 214 h 10000"/>
                <a:gd name="connsiteX1384" fmla="*/ 5143 w 10785"/>
                <a:gd name="connsiteY1384" fmla="*/ 188 h 10000"/>
                <a:gd name="connsiteX1385" fmla="*/ 5129 w 10785"/>
                <a:gd name="connsiteY1385" fmla="*/ 103 h 10000"/>
                <a:gd name="connsiteX1386" fmla="*/ 5115 w 10785"/>
                <a:gd name="connsiteY1386" fmla="*/ 85 h 10000"/>
                <a:gd name="connsiteX1387" fmla="*/ 5111 w 10785"/>
                <a:gd name="connsiteY1387" fmla="*/ 111 h 10000"/>
                <a:gd name="connsiteX1388" fmla="*/ 5092 w 10785"/>
                <a:gd name="connsiteY1388" fmla="*/ 103 h 10000"/>
                <a:gd name="connsiteX1389" fmla="*/ 5069 w 10785"/>
                <a:gd name="connsiteY1389" fmla="*/ 77 h 10000"/>
                <a:gd name="connsiteX1390" fmla="*/ 5051 w 10785"/>
                <a:gd name="connsiteY1390" fmla="*/ 26 h 10000"/>
                <a:gd name="connsiteX1391" fmla="*/ 5041 w 10785"/>
                <a:gd name="connsiteY1391" fmla="*/ 34 h 10000"/>
                <a:gd name="connsiteX1392" fmla="*/ 5037 w 10785"/>
                <a:gd name="connsiteY1392" fmla="*/ 34 h 10000"/>
                <a:gd name="connsiteX1393" fmla="*/ 5037 w 10785"/>
                <a:gd name="connsiteY1393" fmla="*/ 26 h 10000"/>
                <a:gd name="connsiteX1394" fmla="*/ 5037 w 10785"/>
                <a:gd name="connsiteY1394" fmla="*/ 9 h 10000"/>
                <a:gd name="connsiteX1395" fmla="*/ 5023 w 10785"/>
                <a:gd name="connsiteY1395" fmla="*/ 0 h 10000"/>
                <a:gd name="connsiteX1396" fmla="*/ 5009 w 10785"/>
                <a:gd name="connsiteY1396" fmla="*/ 9 h 10000"/>
                <a:gd name="connsiteX1397" fmla="*/ 4995 w 10785"/>
                <a:gd name="connsiteY1397" fmla="*/ 34 h 10000"/>
                <a:gd name="connsiteX1398" fmla="*/ 4991 w 10785"/>
                <a:gd name="connsiteY1398" fmla="*/ 60 h 10000"/>
                <a:gd name="connsiteX1399" fmla="*/ 4982 w 10785"/>
                <a:gd name="connsiteY1399" fmla="*/ 60 h 10000"/>
                <a:gd name="connsiteX1400" fmla="*/ 4949 w 10785"/>
                <a:gd name="connsiteY1400" fmla="*/ 51 h 10000"/>
                <a:gd name="connsiteX1401" fmla="*/ 4949 w 10785"/>
                <a:gd name="connsiteY1401" fmla="*/ 85 h 10000"/>
                <a:gd name="connsiteX1402" fmla="*/ 4903 w 10785"/>
                <a:gd name="connsiteY1402" fmla="*/ 197 h 10000"/>
                <a:gd name="connsiteX1403" fmla="*/ 4899 w 10785"/>
                <a:gd name="connsiteY1403" fmla="*/ 239 h 10000"/>
                <a:gd name="connsiteX1404" fmla="*/ 4871 w 10785"/>
                <a:gd name="connsiteY1404" fmla="*/ 274 h 10000"/>
                <a:gd name="connsiteX1405" fmla="*/ 4871 w 10785"/>
                <a:gd name="connsiteY1405" fmla="*/ 282 h 10000"/>
                <a:gd name="connsiteX1406" fmla="*/ 4834 w 10785"/>
                <a:gd name="connsiteY1406" fmla="*/ 376 h 10000"/>
                <a:gd name="connsiteX1407" fmla="*/ 4829 w 10785"/>
                <a:gd name="connsiteY1407" fmla="*/ 402 h 10000"/>
                <a:gd name="connsiteX1408" fmla="*/ 4834 w 10785"/>
                <a:gd name="connsiteY1408" fmla="*/ 410 h 10000"/>
                <a:gd name="connsiteX1409" fmla="*/ 4829 w 10785"/>
                <a:gd name="connsiteY1409" fmla="*/ 436 h 10000"/>
                <a:gd name="connsiteX1410" fmla="*/ 4825 w 10785"/>
                <a:gd name="connsiteY1410" fmla="*/ 436 h 10000"/>
                <a:gd name="connsiteX1411" fmla="*/ 4825 w 10785"/>
                <a:gd name="connsiteY1411" fmla="*/ 444 h 10000"/>
                <a:gd name="connsiteX1412" fmla="*/ 4811 w 10785"/>
                <a:gd name="connsiteY1412" fmla="*/ 496 h 10000"/>
                <a:gd name="connsiteX1413" fmla="*/ 4811 w 10785"/>
                <a:gd name="connsiteY1413" fmla="*/ 496 h 10000"/>
                <a:gd name="connsiteX1414" fmla="*/ 4811 w 10785"/>
                <a:gd name="connsiteY1414" fmla="*/ 521 h 10000"/>
                <a:gd name="connsiteX1415" fmla="*/ 4816 w 10785"/>
                <a:gd name="connsiteY1415" fmla="*/ 530 h 10000"/>
                <a:gd name="connsiteX1416" fmla="*/ 4834 w 10785"/>
                <a:gd name="connsiteY1416" fmla="*/ 547 h 10000"/>
                <a:gd name="connsiteX1417" fmla="*/ 4834 w 10785"/>
                <a:gd name="connsiteY1417" fmla="*/ 581 h 10000"/>
                <a:gd name="connsiteX1418" fmla="*/ 4843 w 10785"/>
                <a:gd name="connsiteY1418" fmla="*/ 581 h 10000"/>
                <a:gd name="connsiteX1419" fmla="*/ 4843 w 10785"/>
                <a:gd name="connsiteY1419" fmla="*/ 598 h 10000"/>
                <a:gd name="connsiteX1420" fmla="*/ 4829 w 10785"/>
                <a:gd name="connsiteY1420" fmla="*/ 598 h 10000"/>
                <a:gd name="connsiteX1421" fmla="*/ 4829 w 10785"/>
                <a:gd name="connsiteY1421" fmla="*/ 573 h 10000"/>
                <a:gd name="connsiteX1422" fmla="*/ 4829 w 10785"/>
                <a:gd name="connsiteY1422" fmla="*/ 632 h 10000"/>
                <a:gd name="connsiteX1423" fmla="*/ 4829 w 10785"/>
                <a:gd name="connsiteY1423" fmla="*/ 632 h 10000"/>
                <a:gd name="connsiteX1424" fmla="*/ 4829 w 10785"/>
                <a:gd name="connsiteY1424" fmla="*/ 650 h 10000"/>
                <a:gd name="connsiteX1425" fmla="*/ 4774 w 10785"/>
                <a:gd name="connsiteY1425" fmla="*/ 684 h 10000"/>
                <a:gd name="connsiteX1426" fmla="*/ 4756 w 10785"/>
                <a:gd name="connsiteY1426" fmla="*/ 684 h 10000"/>
                <a:gd name="connsiteX1427" fmla="*/ 4737 w 10785"/>
                <a:gd name="connsiteY1427" fmla="*/ 692 h 10000"/>
                <a:gd name="connsiteX1428" fmla="*/ 4677 w 10785"/>
                <a:gd name="connsiteY1428" fmla="*/ 667 h 10000"/>
                <a:gd name="connsiteX1429" fmla="*/ 4682 w 10785"/>
                <a:gd name="connsiteY1429" fmla="*/ 692 h 10000"/>
                <a:gd name="connsiteX1430" fmla="*/ 4682 w 10785"/>
                <a:gd name="connsiteY1430" fmla="*/ 709 h 10000"/>
                <a:gd name="connsiteX1431" fmla="*/ 4691 w 10785"/>
                <a:gd name="connsiteY1431" fmla="*/ 718 h 10000"/>
                <a:gd name="connsiteX1432" fmla="*/ 4691 w 10785"/>
                <a:gd name="connsiteY1432" fmla="*/ 744 h 10000"/>
                <a:gd name="connsiteX1433" fmla="*/ 4700 w 10785"/>
                <a:gd name="connsiteY1433" fmla="*/ 744 h 10000"/>
                <a:gd name="connsiteX1434" fmla="*/ 4714 w 10785"/>
                <a:gd name="connsiteY1434" fmla="*/ 769 h 10000"/>
                <a:gd name="connsiteX1435" fmla="*/ 4710 w 10785"/>
                <a:gd name="connsiteY1435" fmla="*/ 786 h 10000"/>
                <a:gd name="connsiteX1436" fmla="*/ 4737 w 10785"/>
                <a:gd name="connsiteY1436" fmla="*/ 786 h 10000"/>
                <a:gd name="connsiteX1437" fmla="*/ 4742 w 10785"/>
                <a:gd name="connsiteY1437" fmla="*/ 795 h 10000"/>
                <a:gd name="connsiteX1438" fmla="*/ 4742 w 10785"/>
                <a:gd name="connsiteY1438" fmla="*/ 803 h 10000"/>
                <a:gd name="connsiteX1439" fmla="*/ 4737 w 10785"/>
                <a:gd name="connsiteY1439" fmla="*/ 846 h 10000"/>
                <a:gd name="connsiteX1440" fmla="*/ 4737 w 10785"/>
                <a:gd name="connsiteY1440" fmla="*/ 880 h 10000"/>
                <a:gd name="connsiteX1441" fmla="*/ 4737 w 10785"/>
                <a:gd name="connsiteY1441" fmla="*/ 906 h 10000"/>
                <a:gd name="connsiteX1442" fmla="*/ 4724 w 10785"/>
                <a:gd name="connsiteY1442" fmla="*/ 897 h 10000"/>
                <a:gd name="connsiteX1443" fmla="*/ 4724 w 10785"/>
                <a:gd name="connsiteY1443" fmla="*/ 872 h 10000"/>
                <a:gd name="connsiteX1444" fmla="*/ 4714 w 10785"/>
                <a:gd name="connsiteY1444" fmla="*/ 855 h 10000"/>
                <a:gd name="connsiteX1445" fmla="*/ 4691 w 10785"/>
                <a:gd name="connsiteY1445" fmla="*/ 846 h 10000"/>
                <a:gd name="connsiteX1446" fmla="*/ 4691 w 10785"/>
                <a:gd name="connsiteY1446" fmla="*/ 846 h 10000"/>
                <a:gd name="connsiteX1447" fmla="*/ 4696 w 10785"/>
                <a:gd name="connsiteY1447" fmla="*/ 821 h 10000"/>
                <a:gd name="connsiteX1448" fmla="*/ 4691 w 10785"/>
                <a:gd name="connsiteY1448" fmla="*/ 803 h 10000"/>
                <a:gd name="connsiteX1449" fmla="*/ 4668 w 10785"/>
                <a:gd name="connsiteY1449" fmla="*/ 821 h 10000"/>
                <a:gd name="connsiteX1450" fmla="*/ 4668 w 10785"/>
                <a:gd name="connsiteY1450" fmla="*/ 786 h 10000"/>
                <a:gd name="connsiteX1451" fmla="*/ 4664 w 10785"/>
                <a:gd name="connsiteY1451" fmla="*/ 786 h 10000"/>
                <a:gd name="connsiteX1452" fmla="*/ 4622 w 10785"/>
                <a:gd name="connsiteY1452" fmla="*/ 846 h 10000"/>
                <a:gd name="connsiteX1453" fmla="*/ 4627 w 10785"/>
                <a:gd name="connsiteY1453" fmla="*/ 872 h 10000"/>
                <a:gd name="connsiteX1454" fmla="*/ 4622 w 10785"/>
                <a:gd name="connsiteY1454" fmla="*/ 880 h 10000"/>
                <a:gd name="connsiteX1455" fmla="*/ 4622 w 10785"/>
                <a:gd name="connsiteY1455" fmla="*/ 880 h 10000"/>
                <a:gd name="connsiteX1456" fmla="*/ 4618 w 10785"/>
                <a:gd name="connsiteY1456" fmla="*/ 872 h 10000"/>
                <a:gd name="connsiteX1457" fmla="*/ 4604 w 10785"/>
                <a:gd name="connsiteY1457" fmla="*/ 880 h 10000"/>
                <a:gd name="connsiteX1458" fmla="*/ 4594 w 10785"/>
                <a:gd name="connsiteY1458" fmla="*/ 906 h 10000"/>
                <a:gd name="connsiteX1459" fmla="*/ 4604 w 10785"/>
                <a:gd name="connsiteY1459" fmla="*/ 906 h 10000"/>
                <a:gd name="connsiteX1460" fmla="*/ 4608 w 10785"/>
                <a:gd name="connsiteY1460" fmla="*/ 906 h 10000"/>
                <a:gd name="connsiteX1461" fmla="*/ 4608 w 10785"/>
                <a:gd name="connsiteY1461" fmla="*/ 932 h 10000"/>
                <a:gd name="connsiteX1462" fmla="*/ 4604 w 10785"/>
                <a:gd name="connsiteY1462" fmla="*/ 932 h 10000"/>
                <a:gd name="connsiteX1463" fmla="*/ 4590 w 10785"/>
                <a:gd name="connsiteY1463" fmla="*/ 932 h 10000"/>
                <a:gd name="connsiteX1464" fmla="*/ 4567 w 10785"/>
                <a:gd name="connsiteY1464" fmla="*/ 957 h 10000"/>
                <a:gd name="connsiteX1465" fmla="*/ 4567 w 10785"/>
                <a:gd name="connsiteY1465" fmla="*/ 932 h 10000"/>
                <a:gd name="connsiteX1466" fmla="*/ 4567 w 10785"/>
                <a:gd name="connsiteY1466" fmla="*/ 923 h 10000"/>
                <a:gd name="connsiteX1467" fmla="*/ 4562 w 10785"/>
                <a:gd name="connsiteY1467" fmla="*/ 932 h 10000"/>
                <a:gd name="connsiteX1468" fmla="*/ 4548 w 10785"/>
                <a:gd name="connsiteY1468" fmla="*/ 957 h 10000"/>
                <a:gd name="connsiteX1469" fmla="*/ 4544 w 10785"/>
                <a:gd name="connsiteY1469" fmla="*/ 957 h 10000"/>
                <a:gd name="connsiteX1470" fmla="*/ 4521 w 10785"/>
                <a:gd name="connsiteY1470" fmla="*/ 983 h 10000"/>
                <a:gd name="connsiteX1471" fmla="*/ 4521 w 10785"/>
                <a:gd name="connsiteY1471" fmla="*/ 983 h 10000"/>
                <a:gd name="connsiteX1472" fmla="*/ 4530 w 10785"/>
                <a:gd name="connsiteY1472" fmla="*/ 957 h 10000"/>
                <a:gd name="connsiteX1473" fmla="*/ 4535 w 10785"/>
                <a:gd name="connsiteY1473" fmla="*/ 932 h 10000"/>
                <a:gd name="connsiteX1474" fmla="*/ 4521 w 10785"/>
                <a:gd name="connsiteY1474" fmla="*/ 932 h 10000"/>
                <a:gd name="connsiteX1475" fmla="*/ 4516 w 10785"/>
                <a:gd name="connsiteY1475" fmla="*/ 923 h 10000"/>
                <a:gd name="connsiteX1476" fmla="*/ 4516 w 10785"/>
                <a:gd name="connsiteY1476" fmla="*/ 932 h 10000"/>
                <a:gd name="connsiteX1477" fmla="*/ 4488 w 10785"/>
                <a:gd name="connsiteY1477" fmla="*/ 940 h 10000"/>
                <a:gd name="connsiteX1478" fmla="*/ 4484 w 10785"/>
                <a:gd name="connsiteY1478" fmla="*/ 983 h 10000"/>
                <a:gd name="connsiteX1479" fmla="*/ 4470 w 10785"/>
                <a:gd name="connsiteY1479" fmla="*/ 983 h 10000"/>
                <a:gd name="connsiteX1480" fmla="*/ 4470 w 10785"/>
                <a:gd name="connsiteY1480" fmla="*/ 966 h 10000"/>
                <a:gd name="connsiteX1481" fmla="*/ 4488 w 10785"/>
                <a:gd name="connsiteY1481" fmla="*/ 923 h 10000"/>
                <a:gd name="connsiteX1482" fmla="*/ 4493 w 10785"/>
                <a:gd name="connsiteY1482" fmla="*/ 880 h 10000"/>
                <a:gd name="connsiteX1483" fmla="*/ 4475 w 10785"/>
                <a:gd name="connsiteY1483" fmla="*/ 846 h 10000"/>
                <a:gd name="connsiteX1484" fmla="*/ 4442 w 10785"/>
                <a:gd name="connsiteY1484" fmla="*/ 855 h 10000"/>
                <a:gd name="connsiteX1485" fmla="*/ 4433 w 10785"/>
                <a:gd name="connsiteY1485" fmla="*/ 855 h 10000"/>
                <a:gd name="connsiteX1486" fmla="*/ 4433 w 10785"/>
                <a:gd name="connsiteY1486" fmla="*/ 880 h 10000"/>
                <a:gd name="connsiteX1487" fmla="*/ 4401 w 10785"/>
                <a:gd name="connsiteY1487" fmla="*/ 855 h 10000"/>
                <a:gd name="connsiteX1488" fmla="*/ 4396 w 10785"/>
                <a:gd name="connsiteY1488" fmla="*/ 872 h 10000"/>
                <a:gd name="connsiteX1489" fmla="*/ 4382 w 10785"/>
                <a:gd name="connsiteY1489" fmla="*/ 897 h 10000"/>
                <a:gd name="connsiteX1490" fmla="*/ 4373 w 10785"/>
                <a:gd name="connsiteY1490" fmla="*/ 872 h 10000"/>
                <a:gd name="connsiteX1491" fmla="*/ 4341 w 10785"/>
                <a:gd name="connsiteY1491" fmla="*/ 872 h 10000"/>
                <a:gd name="connsiteX1492" fmla="*/ 4336 w 10785"/>
                <a:gd name="connsiteY1492" fmla="*/ 880 h 10000"/>
                <a:gd name="connsiteX1493" fmla="*/ 4346 w 10785"/>
                <a:gd name="connsiteY1493" fmla="*/ 897 h 10000"/>
                <a:gd name="connsiteX1494" fmla="*/ 4346 w 10785"/>
                <a:gd name="connsiteY1494" fmla="*/ 897 h 10000"/>
                <a:gd name="connsiteX1495" fmla="*/ 4313 w 10785"/>
                <a:gd name="connsiteY1495" fmla="*/ 906 h 10000"/>
                <a:gd name="connsiteX1496" fmla="*/ 4313 w 10785"/>
                <a:gd name="connsiteY1496" fmla="*/ 906 h 10000"/>
                <a:gd name="connsiteX1497" fmla="*/ 4313 w 10785"/>
                <a:gd name="connsiteY1497" fmla="*/ 880 h 10000"/>
                <a:gd name="connsiteX1498" fmla="*/ 4309 w 10785"/>
                <a:gd name="connsiteY1498" fmla="*/ 897 h 10000"/>
                <a:gd name="connsiteX1499" fmla="*/ 4295 w 10785"/>
                <a:gd name="connsiteY1499" fmla="*/ 923 h 10000"/>
                <a:gd name="connsiteX1500" fmla="*/ 4286 w 10785"/>
                <a:gd name="connsiteY1500" fmla="*/ 897 h 10000"/>
                <a:gd name="connsiteX1501" fmla="*/ 4281 w 10785"/>
                <a:gd name="connsiteY1501" fmla="*/ 906 h 10000"/>
                <a:gd name="connsiteX1502" fmla="*/ 4281 w 10785"/>
                <a:gd name="connsiteY1502" fmla="*/ 940 h 10000"/>
                <a:gd name="connsiteX1503" fmla="*/ 4286 w 10785"/>
                <a:gd name="connsiteY1503" fmla="*/ 957 h 10000"/>
                <a:gd name="connsiteX1504" fmla="*/ 4309 w 10785"/>
                <a:gd name="connsiteY1504" fmla="*/ 932 h 10000"/>
                <a:gd name="connsiteX1505" fmla="*/ 4313 w 10785"/>
                <a:gd name="connsiteY1505" fmla="*/ 957 h 10000"/>
                <a:gd name="connsiteX1506" fmla="*/ 4313 w 10785"/>
                <a:gd name="connsiteY1506" fmla="*/ 966 h 10000"/>
                <a:gd name="connsiteX1507" fmla="*/ 4323 w 10785"/>
                <a:gd name="connsiteY1507" fmla="*/ 966 h 10000"/>
                <a:gd name="connsiteX1508" fmla="*/ 4323 w 10785"/>
                <a:gd name="connsiteY1508" fmla="*/ 940 h 10000"/>
                <a:gd name="connsiteX1509" fmla="*/ 4327 w 10785"/>
                <a:gd name="connsiteY1509" fmla="*/ 940 h 10000"/>
                <a:gd name="connsiteX1510" fmla="*/ 4327 w 10785"/>
                <a:gd name="connsiteY1510" fmla="*/ 957 h 10000"/>
                <a:gd name="connsiteX1511" fmla="*/ 4327 w 10785"/>
                <a:gd name="connsiteY1511" fmla="*/ 966 h 10000"/>
                <a:gd name="connsiteX1512" fmla="*/ 4323 w 10785"/>
                <a:gd name="connsiteY1512" fmla="*/ 991 h 10000"/>
                <a:gd name="connsiteX1513" fmla="*/ 4207 w 10785"/>
                <a:gd name="connsiteY1513" fmla="*/ 1060 h 10000"/>
                <a:gd name="connsiteX1514" fmla="*/ 4207 w 10785"/>
                <a:gd name="connsiteY1514" fmla="*/ 1060 h 10000"/>
                <a:gd name="connsiteX1515" fmla="*/ 4203 w 10785"/>
                <a:gd name="connsiteY1515" fmla="*/ 1068 h 10000"/>
                <a:gd name="connsiteX1516" fmla="*/ 4203 w 10785"/>
                <a:gd name="connsiteY1516" fmla="*/ 1094 h 10000"/>
                <a:gd name="connsiteX1517" fmla="*/ 4203 w 10785"/>
                <a:gd name="connsiteY1517" fmla="*/ 1094 h 10000"/>
                <a:gd name="connsiteX1518" fmla="*/ 4189 w 10785"/>
                <a:gd name="connsiteY1518" fmla="*/ 1094 h 10000"/>
                <a:gd name="connsiteX1519" fmla="*/ 4166 w 10785"/>
                <a:gd name="connsiteY1519" fmla="*/ 1103 h 10000"/>
                <a:gd name="connsiteX1520" fmla="*/ 4152 w 10785"/>
                <a:gd name="connsiteY1520" fmla="*/ 1094 h 10000"/>
                <a:gd name="connsiteX1521" fmla="*/ 4134 w 10785"/>
                <a:gd name="connsiteY1521" fmla="*/ 1120 h 10000"/>
                <a:gd name="connsiteX1522" fmla="*/ 4106 w 10785"/>
                <a:gd name="connsiteY1522" fmla="*/ 1120 h 10000"/>
                <a:gd name="connsiteX1523" fmla="*/ 4092 w 10785"/>
                <a:gd name="connsiteY1523" fmla="*/ 1154 h 10000"/>
                <a:gd name="connsiteX1524" fmla="*/ 4106 w 10785"/>
                <a:gd name="connsiteY1524" fmla="*/ 1171 h 10000"/>
                <a:gd name="connsiteX1525" fmla="*/ 4078 w 10785"/>
                <a:gd name="connsiteY1525" fmla="*/ 1179 h 10000"/>
                <a:gd name="connsiteX1526" fmla="*/ 4065 w 10785"/>
                <a:gd name="connsiteY1526" fmla="*/ 1205 h 10000"/>
                <a:gd name="connsiteX1527" fmla="*/ 4046 w 10785"/>
                <a:gd name="connsiteY1527" fmla="*/ 1179 h 10000"/>
                <a:gd name="connsiteX1528" fmla="*/ 4041 w 10785"/>
                <a:gd name="connsiteY1528" fmla="*/ 1197 h 10000"/>
                <a:gd name="connsiteX1529" fmla="*/ 4028 w 10785"/>
                <a:gd name="connsiteY1529" fmla="*/ 1205 h 10000"/>
                <a:gd name="connsiteX1530" fmla="*/ 4028 w 10785"/>
                <a:gd name="connsiteY1530" fmla="*/ 1205 h 10000"/>
                <a:gd name="connsiteX1531" fmla="*/ 4032 w 10785"/>
                <a:gd name="connsiteY1531" fmla="*/ 1205 h 10000"/>
                <a:gd name="connsiteX1532" fmla="*/ 4032 w 10785"/>
                <a:gd name="connsiteY1532" fmla="*/ 1231 h 10000"/>
                <a:gd name="connsiteX1533" fmla="*/ 4014 w 10785"/>
                <a:gd name="connsiteY1533" fmla="*/ 1239 h 10000"/>
                <a:gd name="connsiteX1534" fmla="*/ 4014 w 10785"/>
                <a:gd name="connsiteY1534" fmla="*/ 1256 h 10000"/>
                <a:gd name="connsiteX1535" fmla="*/ 4000 w 10785"/>
                <a:gd name="connsiteY1535" fmla="*/ 1265 h 10000"/>
                <a:gd name="connsiteX1536" fmla="*/ 3986 w 10785"/>
                <a:gd name="connsiteY1536" fmla="*/ 1308 h 10000"/>
                <a:gd name="connsiteX1537" fmla="*/ 3972 w 10785"/>
                <a:gd name="connsiteY1537" fmla="*/ 1316 h 10000"/>
                <a:gd name="connsiteX1538" fmla="*/ 3972 w 10785"/>
                <a:gd name="connsiteY1538" fmla="*/ 1325 h 10000"/>
                <a:gd name="connsiteX1539" fmla="*/ 3972 w 10785"/>
                <a:gd name="connsiteY1539" fmla="*/ 1342 h 10000"/>
                <a:gd name="connsiteX1540" fmla="*/ 3968 w 10785"/>
                <a:gd name="connsiteY1540" fmla="*/ 1350 h 10000"/>
                <a:gd name="connsiteX1541" fmla="*/ 3954 w 10785"/>
                <a:gd name="connsiteY1541" fmla="*/ 1368 h 10000"/>
                <a:gd name="connsiteX1542" fmla="*/ 3945 w 10785"/>
                <a:gd name="connsiteY1542" fmla="*/ 1350 h 10000"/>
                <a:gd name="connsiteX1543" fmla="*/ 3908 w 10785"/>
                <a:gd name="connsiteY1543" fmla="*/ 1342 h 10000"/>
                <a:gd name="connsiteX1544" fmla="*/ 3894 w 10785"/>
                <a:gd name="connsiteY1544" fmla="*/ 1368 h 10000"/>
                <a:gd name="connsiteX1545" fmla="*/ 3922 w 10785"/>
                <a:gd name="connsiteY1545" fmla="*/ 1393 h 10000"/>
                <a:gd name="connsiteX1546" fmla="*/ 3945 w 10785"/>
                <a:gd name="connsiteY1546" fmla="*/ 1393 h 10000"/>
                <a:gd name="connsiteX1547" fmla="*/ 3940 w 10785"/>
                <a:gd name="connsiteY1547" fmla="*/ 1419 h 10000"/>
                <a:gd name="connsiteX1548" fmla="*/ 3931 w 10785"/>
                <a:gd name="connsiteY1548" fmla="*/ 1427 h 10000"/>
                <a:gd name="connsiteX1549" fmla="*/ 3926 w 10785"/>
                <a:gd name="connsiteY1549" fmla="*/ 1427 h 10000"/>
                <a:gd name="connsiteX1550" fmla="*/ 3922 w 10785"/>
                <a:gd name="connsiteY1550" fmla="*/ 1419 h 10000"/>
                <a:gd name="connsiteX1551" fmla="*/ 3912 w 10785"/>
                <a:gd name="connsiteY1551" fmla="*/ 1427 h 10000"/>
                <a:gd name="connsiteX1552" fmla="*/ 3912 w 10785"/>
                <a:gd name="connsiteY1552" fmla="*/ 1444 h 10000"/>
                <a:gd name="connsiteX1553" fmla="*/ 3894 w 10785"/>
                <a:gd name="connsiteY1553" fmla="*/ 1513 h 10000"/>
                <a:gd name="connsiteX1554" fmla="*/ 3885 w 10785"/>
                <a:gd name="connsiteY1554" fmla="*/ 1513 h 10000"/>
                <a:gd name="connsiteX1555" fmla="*/ 3880 w 10785"/>
                <a:gd name="connsiteY1555" fmla="*/ 1538 h 10000"/>
                <a:gd name="connsiteX1556" fmla="*/ 3885 w 10785"/>
                <a:gd name="connsiteY1556" fmla="*/ 1564 h 10000"/>
                <a:gd name="connsiteX1557" fmla="*/ 3880 w 10785"/>
                <a:gd name="connsiteY1557" fmla="*/ 1581 h 10000"/>
                <a:gd name="connsiteX1558" fmla="*/ 3871 w 10785"/>
                <a:gd name="connsiteY1558" fmla="*/ 1538 h 10000"/>
                <a:gd name="connsiteX1559" fmla="*/ 3853 w 10785"/>
                <a:gd name="connsiteY1559" fmla="*/ 1530 h 10000"/>
                <a:gd name="connsiteX1560" fmla="*/ 3853 w 10785"/>
                <a:gd name="connsiteY1560" fmla="*/ 1504 h 10000"/>
                <a:gd name="connsiteX1561" fmla="*/ 3834 w 10785"/>
                <a:gd name="connsiteY1561" fmla="*/ 1487 h 10000"/>
                <a:gd name="connsiteX1562" fmla="*/ 3834 w 10785"/>
                <a:gd name="connsiteY1562" fmla="*/ 1487 h 10000"/>
                <a:gd name="connsiteX1563" fmla="*/ 3839 w 10785"/>
                <a:gd name="connsiteY1563" fmla="*/ 1513 h 10000"/>
                <a:gd name="connsiteX1564" fmla="*/ 3820 w 10785"/>
                <a:gd name="connsiteY1564" fmla="*/ 1538 h 10000"/>
                <a:gd name="connsiteX1565" fmla="*/ 3820 w 10785"/>
                <a:gd name="connsiteY1565" fmla="*/ 1556 h 10000"/>
                <a:gd name="connsiteX1566" fmla="*/ 3820 w 10785"/>
                <a:gd name="connsiteY1566" fmla="*/ 1564 h 10000"/>
                <a:gd name="connsiteX1567" fmla="*/ 3820 w 10785"/>
                <a:gd name="connsiteY1567" fmla="*/ 1581 h 10000"/>
                <a:gd name="connsiteX1568" fmla="*/ 3853 w 10785"/>
                <a:gd name="connsiteY1568" fmla="*/ 1581 h 10000"/>
                <a:gd name="connsiteX1569" fmla="*/ 3857 w 10785"/>
                <a:gd name="connsiteY1569" fmla="*/ 1598 h 10000"/>
                <a:gd name="connsiteX1570" fmla="*/ 3880 w 10785"/>
                <a:gd name="connsiteY1570" fmla="*/ 1615 h 10000"/>
                <a:gd name="connsiteX1571" fmla="*/ 3871 w 10785"/>
                <a:gd name="connsiteY1571" fmla="*/ 1615 h 10000"/>
                <a:gd name="connsiteX1572" fmla="*/ 3871 w 10785"/>
                <a:gd name="connsiteY1572" fmla="*/ 1641 h 10000"/>
                <a:gd name="connsiteX1573" fmla="*/ 3880 w 10785"/>
                <a:gd name="connsiteY1573" fmla="*/ 1641 h 10000"/>
                <a:gd name="connsiteX1574" fmla="*/ 3871 w 10785"/>
                <a:gd name="connsiteY1574" fmla="*/ 1650 h 10000"/>
                <a:gd name="connsiteX1575" fmla="*/ 3857 w 10785"/>
                <a:gd name="connsiteY1575" fmla="*/ 1650 h 10000"/>
                <a:gd name="connsiteX1576" fmla="*/ 3853 w 10785"/>
                <a:gd name="connsiteY1576" fmla="*/ 1650 h 10000"/>
                <a:gd name="connsiteX1577" fmla="*/ 3839 w 10785"/>
                <a:gd name="connsiteY1577" fmla="*/ 1667 h 10000"/>
                <a:gd name="connsiteX1578" fmla="*/ 3848 w 10785"/>
                <a:gd name="connsiteY1578" fmla="*/ 1692 h 10000"/>
                <a:gd name="connsiteX1579" fmla="*/ 3834 w 10785"/>
                <a:gd name="connsiteY1579" fmla="*/ 1692 h 10000"/>
                <a:gd name="connsiteX1580" fmla="*/ 3825 w 10785"/>
                <a:gd name="connsiteY1580" fmla="*/ 1692 h 10000"/>
                <a:gd name="connsiteX1581" fmla="*/ 3825 w 10785"/>
                <a:gd name="connsiteY1581" fmla="*/ 1718 h 10000"/>
                <a:gd name="connsiteX1582" fmla="*/ 3839 w 10785"/>
                <a:gd name="connsiteY1582" fmla="*/ 1726 h 10000"/>
                <a:gd name="connsiteX1583" fmla="*/ 3880 w 10785"/>
                <a:gd name="connsiteY1583" fmla="*/ 1752 h 10000"/>
                <a:gd name="connsiteX1584" fmla="*/ 3894 w 10785"/>
                <a:gd name="connsiteY1584" fmla="*/ 1829 h 10000"/>
                <a:gd name="connsiteX1585" fmla="*/ 3899 w 10785"/>
                <a:gd name="connsiteY1585" fmla="*/ 1838 h 10000"/>
                <a:gd name="connsiteX1586" fmla="*/ 3894 w 10785"/>
                <a:gd name="connsiteY1586" fmla="*/ 1855 h 10000"/>
                <a:gd name="connsiteX1587" fmla="*/ 3880 w 10785"/>
                <a:gd name="connsiteY1587" fmla="*/ 1838 h 10000"/>
                <a:gd name="connsiteX1588" fmla="*/ 3880 w 10785"/>
                <a:gd name="connsiteY1588" fmla="*/ 1855 h 10000"/>
                <a:gd name="connsiteX1589" fmla="*/ 3880 w 10785"/>
                <a:gd name="connsiteY1589" fmla="*/ 1863 h 10000"/>
                <a:gd name="connsiteX1590" fmla="*/ 3871 w 10785"/>
                <a:gd name="connsiteY1590" fmla="*/ 1872 h 10000"/>
                <a:gd name="connsiteX1591" fmla="*/ 3880 w 10785"/>
                <a:gd name="connsiteY1591" fmla="*/ 1889 h 10000"/>
                <a:gd name="connsiteX1592" fmla="*/ 3885 w 10785"/>
                <a:gd name="connsiteY1592" fmla="*/ 1889 h 10000"/>
                <a:gd name="connsiteX1593" fmla="*/ 3880 w 10785"/>
                <a:gd name="connsiteY1593" fmla="*/ 1897 h 10000"/>
                <a:gd name="connsiteX1594" fmla="*/ 3871 w 10785"/>
                <a:gd name="connsiteY1594" fmla="*/ 1915 h 10000"/>
                <a:gd name="connsiteX1595" fmla="*/ 3848 w 10785"/>
                <a:gd name="connsiteY1595" fmla="*/ 1923 h 10000"/>
                <a:gd name="connsiteX1596" fmla="*/ 3825 w 10785"/>
                <a:gd name="connsiteY1596" fmla="*/ 1940 h 10000"/>
                <a:gd name="connsiteX1597" fmla="*/ 3811 w 10785"/>
                <a:gd name="connsiteY1597" fmla="*/ 1940 h 10000"/>
                <a:gd name="connsiteX1598" fmla="*/ 3806 w 10785"/>
                <a:gd name="connsiteY1598" fmla="*/ 1949 h 10000"/>
                <a:gd name="connsiteX1599" fmla="*/ 3797 w 10785"/>
                <a:gd name="connsiteY1599" fmla="*/ 1966 h 10000"/>
                <a:gd name="connsiteX1600" fmla="*/ 3788 w 10785"/>
                <a:gd name="connsiteY1600" fmla="*/ 1991 h 10000"/>
                <a:gd name="connsiteX1601" fmla="*/ 3765 w 10785"/>
                <a:gd name="connsiteY1601" fmla="*/ 1974 h 10000"/>
                <a:gd name="connsiteX1602" fmla="*/ 3760 w 10785"/>
                <a:gd name="connsiteY1602" fmla="*/ 1966 h 10000"/>
                <a:gd name="connsiteX1603" fmla="*/ 3760 w 10785"/>
                <a:gd name="connsiteY1603" fmla="*/ 1966 h 10000"/>
                <a:gd name="connsiteX1604" fmla="*/ 3631 w 10785"/>
                <a:gd name="connsiteY1604" fmla="*/ 2009 h 10000"/>
                <a:gd name="connsiteX1605" fmla="*/ 3618 w 10785"/>
                <a:gd name="connsiteY1605" fmla="*/ 2000 h 10000"/>
                <a:gd name="connsiteX1606" fmla="*/ 3599 w 10785"/>
                <a:gd name="connsiteY1606" fmla="*/ 2009 h 10000"/>
                <a:gd name="connsiteX1607" fmla="*/ 3571 w 10785"/>
                <a:gd name="connsiteY1607" fmla="*/ 2000 h 10000"/>
                <a:gd name="connsiteX1608" fmla="*/ 3530 w 10785"/>
                <a:gd name="connsiteY1608" fmla="*/ 2026 h 10000"/>
                <a:gd name="connsiteX1609" fmla="*/ 3530 w 10785"/>
                <a:gd name="connsiteY1609" fmla="*/ 2034 h 10000"/>
                <a:gd name="connsiteX1610" fmla="*/ 3525 w 10785"/>
                <a:gd name="connsiteY1610" fmla="*/ 2051 h 10000"/>
                <a:gd name="connsiteX1611" fmla="*/ 3512 w 10785"/>
                <a:gd name="connsiteY1611" fmla="*/ 2034 h 10000"/>
                <a:gd name="connsiteX1612" fmla="*/ 3507 w 10785"/>
                <a:gd name="connsiteY1612" fmla="*/ 2034 h 10000"/>
                <a:gd name="connsiteX1613" fmla="*/ 3498 w 10785"/>
                <a:gd name="connsiteY1613" fmla="*/ 2051 h 10000"/>
                <a:gd name="connsiteX1614" fmla="*/ 3484 w 10785"/>
                <a:gd name="connsiteY1614" fmla="*/ 2060 h 10000"/>
                <a:gd name="connsiteX1615" fmla="*/ 3484 w 10785"/>
                <a:gd name="connsiteY1615" fmla="*/ 2085 h 10000"/>
                <a:gd name="connsiteX1616" fmla="*/ 3484 w 10785"/>
                <a:gd name="connsiteY1616" fmla="*/ 2103 h 10000"/>
                <a:gd name="connsiteX1617" fmla="*/ 3493 w 10785"/>
                <a:gd name="connsiteY1617" fmla="*/ 2103 h 10000"/>
                <a:gd name="connsiteX1618" fmla="*/ 3493 w 10785"/>
                <a:gd name="connsiteY1618" fmla="*/ 2085 h 10000"/>
                <a:gd name="connsiteX1619" fmla="*/ 3498 w 10785"/>
                <a:gd name="connsiteY1619" fmla="*/ 2085 h 10000"/>
                <a:gd name="connsiteX1620" fmla="*/ 3498 w 10785"/>
                <a:gd name="connsiteY1620" fmla="*/ 2111 h 10000"/>
                <a:gd name="connsiteX1621" fmla="*/ 3484 w 10785"/>
                <a:gd name="connsiteY1621" fmla="*/ 2120 h 10000"/>
                <a:gd name="connsiteX1622" fmla="*/ 3484 w 10785"/>
                <a:gd name="connsiteY1622" fmla="*/ 2145 h 10000"/>
                <a:gd name="connsiteX1623" fmla="*/ 3470 w 10785"/>
                <a:gd name="connsiteY1623" fmla="*/ 2137 h 10000"/>
                <a:gd name="connsiteX1624" fmla="*/ 3465 w 10785"/>
                <a:gd name="connsiteY1624" fmla="*/ 2145 h 10000"/>
                <a:gd name="connsiteX1625" fmla="*/ 3470 w 10785"/>
                <a:gd name="connsiteY1625" fmla="*/ 2171 h 10000"/>
                <a:gd name="connsiteX1626" fmla="*/ 3484 w 10785"/>
                <a:gd name="connsiteY1626" fmla="*/ 2171 h 10000"/>
                <a:gd name="connsiteX1627" fmla="*/ 3484 w 10785"/>
                <a:gd name="connsiteY1627" fmla="*/ 2197 h 10000"/>
                <a:gd name="connsiteX1628" fmla="*/ 3465 w 10785"/>
                <a:gd name="connsiteY1628" fmla="*/ 2214 h 10000"/>
                <a:gd name="connsiteX1629" fmla="*/ 3493 w 10785"/>
                <a:gd name="connsiteY1629" fmla="*/ 2248 h 10000"/>
                <a:gd name="connsiteX1630" fmla="*/ 3484 w 10785"/>
                <a:gd name="connsiteY1630" fmla="*/ 2256 h 10000"/>
                <a:gd name="connsiteX1631" fmla="*/ 3498 w 10785"/>
                <a:gd name="connsiteY1631" fmla="*/ 2274 h 10000"/>
                <a:gd name="connsiteX1632" fmla="*/ 3498 w 10785"/>
                <a:gd name="connsiteY1632" fmla="*/ 2256 h 10000"/>
                <a:gd name="connsiteX1633" fmla="*/ 3507 w 10785"/>
                <a:gd name="connsiteY1633" fmla="*/ 2308 h 10000"/>
                <a:gd name="connsiteX1634" fmla="*/ 3512 w 10785"/>
                <a:gd name="connsiteY1634" fmla="*/ 2325 h 10000"/>
                <a:gd name="connsiteX1635" fmla="*/ 3507 w 10785"/>
                <a:gd name="connsiteY1635" fmla="*/ 2333 h 10000"/>
                <a:gd name="connsiteX1636" fmla="*/ 3507 w 10785"/>
                <a:gd name="connsiteY1636" fmla="*/ 2359 h 10000"/>
                <a:gd name="connsiteX1637" fmla="*/ 3507 w 10785"/>
                <a:gd name="connsiteY1637" fmla="*/ 2376 h 10000"/>
                <a:gd name="connsiteX1638" fmla="*/ 3498 w 10785"/>
                <a:gd name="connsiteY1638" fmla="*/ 2410 h 10000"/>
                <a:gd name="connsiteX1639" fmla="*/ 3498 w 10785"/>
                <a:gd name="connsiteY1639" fmla="*/ 2436 h 10000"/>
                <a:gd name="connsiteX1640" fmla="*/ 3507 w 10785"/>
                <a:gd name="connsiteY1640" fmla="*/ 2462 h 10000"/>
                <a:gd name="connsiteX1641" fmla="*/ 3507 w 10785"/>
                <a:gd name="connsiteY1641" fmla="*/ 2496 h 10000"/>
                <a:gd name="connsiteX1642" fmla="*/ 3512 w 10785"/>
                <a:gd name="connsiteY1642" fmla="*/ 2521 h 10000"/>
                <a:gd name="connsiteX1643" fmla="*/ 3525 w 10785"/>
                <a:gd name="connsiteY1643" fmla="*/ 2556 h 10000"/>
                <a:gd name="connsiteX1644" fmla="*/ 3571 w 10785"/>
                <a:gd name="connsiteY1644" fmla="*/ 2573 h 10000"/>
                <a:gd name="connsiteX1645" fmla="*/ 3590 w 10785"/>
                <a:gd name="connsiteY1645" fmla="*/ 2598 h 10000"/>
                <a:gd name="connsiteX1646" fmla="*/ 3599 w 10785"/>
                <a:gd name="connsiteY1646" fmla="*/ 2598 h 10000"/>
                <a:gd name="connsiteX1647" fmla="*/ 3604 w 10785"/>
                <a:gd name="connsiteY1647" fmla="*/ 2632 h 10000"/>
                <a:gd name="connsiteX1648" fmla="*/ 3599 w 10785"/>
                <a:gd name="connsiteY1648" fmla="*/ 2658 h 10000"/>
                <a:gd name="connsiteX1649" fmla="*/ 3590 w 10785"/>
                <a:gd name="connsiteY1649" fmla="*/ 2667 h 10000"/>
                <a:gd name="connsiteX1650" fmla="*/ 3604 w 10785"/>
                <a:gd name="connsiteY1650" fmla="*/ 2667 h 10000"/>
                <a:gd name="connsiteX1651" fmla="*/ 3613 w 10785"/>
                <a:gd name="connsiteY1651" fmla="*/ 2692 h 10000"/>
                <a:gd name="connsiteX1652" fmla="*/ 3627 w 10785"/>
                <a:gd name="connsiteY1652" fmla="*/ 2735 h 10000"/>
                <a:gd name="connsiteX1653" fmla="*/ 3631 w 10785"/>
                <a:gd name="connsiteY1653" fmla="*/ 2744 h 10000"/>
                <a:gd name="connsiteX1654" fmla="*/ 3659 w 10785"/>
                <a:gd name="connsiteY1654" fmla="*/ 2761 h 10000"/>
                <a:gd name="connsiteX1655" fmla="*/ 3673 w 10785"/>
                <a:gd name="connsiteY1655" fmla="*/ 2769 h 10000"/>
                <a:gd name="connsiteX1656" fmla="*/ 3673 w 10785"/>
                <a:gd name="connsiteY1656" fmla="*/ 2761 h 10000"/>
                <a:gd name="connsiteX1657" fmla="*/ 3687 w 10785"/>
                <a:gd name="connsiteY1657" fmla="*/ 2829 h 10000"/>
                <a:gd name="connsiteX1658" fmla="*/ 3677 w 10785"/>
                <a:gd name="connsiteY1658" fmla="*/ 2897 h 10000"/>
                <a:gd name="connsiteX1659" fmla="*/ 3673 w 10785"/>
                <a:gd name="connsiteY1659" fmla="*/ 2915 h 10000"/>
                <a:gd name="connsiteX1660" fmla="*/ 3664 w 10785"/>
                <a:gd name="connsiteY1660" fmla="*/ 2957 h 10000"/>
                <a:gd name="connsiteX1661" fmla="*/ 3659 w 10785"/>
                <a:gd name="connsiteY1661" fmla="*/ 2983 h 10000"/>
                <a:gd name="connsiteX1662" fmla="*/ 3664 w 10785"/>
                <a:gd name="connsiteY1662" fmla="*/ 3017 h 10000"/>
                <a:gd name="connsiteX1663" fmla="*/ 3659 w 10785"/>
                <a:gd name="connsiteY1663" fmla="*/ 3043 h 10000"/>
                <a:gd name="connsiteX1664" fmla="*/ 3677 w 10785"/>
                <a:gd name="connsiteY1664" fmla="*/ 3094 h 10000"/>
                <a:gd name="connsiteX1665" fmla="*/ 3691 w 10785"/>
                <a:gd name="connsiteY1665" fmla="*/ 3282 h 10000"/>
                <a:gd name="connsiteX1666" fmla="*/ 3691 w 10785"/>
                <a:gd name="connsiteY1666" fmla="*/ 3308 h 10000"/>
                <a:gd name="connsiteX1667" fmla="*/ 3677 w 10785"/>
                <a:gd name="connsiteY1667" fmla="*/ 3342 h 10000"/>
                <a:gd name="connsiteX1668" fmla="*/ 3664 w 10785"/>
                <a:gd name="connsiteY1668" fmla="*/ 3342 h 10000"/>
                <a:gd name="connsiteX1669" fmla="*/ 3650 w 10785"/>
                <a:gd name="connsiteY1669" fmla="*/ 3342 h 10000"/>
                <a:gd name="connsiteX1670" fmla="*/ 3650 w 10785"/>
                <a:gd name="connsiteY1670" fmla="*/ 3350 h 10000"/>
                <a:gd name="connsiteX1671" fmla="*/ 3659 w 10785"/>
                <a:gd name="connsiteY1671" fmla="*/ 3402 h 10000"/>
                <a:gd name="connsiteX1672" fmla="*/ 3659 w 10785"/>
                <a:gd name="connsiteY1672" fmla="*/ 3419 h 10000"/>
                <a:gd name="connsiteX1673" fmla="*/ 3631 w 10785"/>
                <a:gd name="connsiteY1673" fmla="*/ 3402 h 10000"/>
                <a:gd name="connsiteX1674" fmla="*/ 3604 w 10785"/>
                <a:gd name="connsiteY1674" fmla="*/ 3393 h 10000"/>
                <a:gd name="connsiteX1675" fmla="*/ 3599 w 10785"/>
                <a:gd name="connsiteY1675" fmla="*/ 3368 h 10000"/>
                <a:gd name="connsiteX1676" fmla="*/ 3590 w 10785"/>
                <a:gd name="connsiteY1676" fmla="*/ 3239 h 10000"/>
                <a:gd name="connsiteX1677" fmla="*/ 3599 w 10785"/>
                <a:gd name="connsiteY1677" fmla="*/ 3179 h 10000"/>
                <a:gd name="connsiteX1678" fmla="*/ 3599 w 10785"/>
                <a:gd name="connsiteY1678" fmla="*/ 3171 h 10000"/>
                <a:gd name="connsiteX1679" fmla="*/ 3599 w 10785"/>
                <a:gd name="connsiteY1679" fmla="*/ 3009 h 10000"/>
                <a:gd name="connsiteX1680" fmla="*/ 3604 w 10785"/>
                <a:gd name="connsiteY1680" fmla="*/ 2983 h 10000"/>
                <a:gd name="connsiteX1681" fmla="*/ 3645 w 10785"/>
                <a:gd name="connsiteY1681" fmla="*/ 2932 h 10000"/>
                <a:gd name="connsiteX1682" fmla="*/ 3650 w 10785"/>
                <a:gd name="connsiteY1682" fmla="*/ 2872 h 10000"/>
                <a:gd name="connsiteX1683" fmla="*/ 3659 w 10785"/>
                <a:gd name="connsiteY1683" fmla="*/ 2855 h 10000"/>
                <a:gd name="connsiteX1684" fmla="*/ 3659 w 10785"/>
                <a:gd name="connsiteY1684" fmla="*/ 2821 h 10000"/>
                <a:gd name="connsiteX1685" fmla="*/ 3631 w 10785"/>
                <a:gd name="connsiteY1685" fmla="*/ 2795 h 10000"/>
                <a:gd name="connsiteX1686" fmla="*/ 3567 w 10785"/>
                <a:gd name="connsiteY1686" fmla="*/ 2821 h 10000"/>
                <a:gd name="connsiteX1687" fmla="*/ 3544 w 10785"/>
                <a:gd name="connsiteY1687" fmla="*/ 2795 h 10000"/>
                <a:gd name="connsiteX1688" fmla="*/ 3530 w 10785"/>
                <a:gd name="connsiteY1688" fmla="*/ 2769 h 10000"/>
                <a:gd name="connsiteX1689" fmla="*/ 3530 w 10785"/>
                <a:gd name="connsiteY1689" fmla="*/ 2786 h 10000"/>
                <a:gd name="connsiteX1690" fmla="*/ 3498 w 10785"/>
                <a:gd name="connsiteY1690" fmla="*/ 2692 h 10000"/>
                <a:gd name="connsiteX1691" fmla="*/ 3498 w 10785"/>
                <a:gd name="connsiteY1691" fmla="*/ 2667 h 10000"/>
                <a:gd name="connsiteX1692" fmla="*/ 3442 w 10785"/>
                <a:gd name="connsiteY1692" fmla="*/ 2607 h 10000"/>
                <a:gd name="connsiteX1693" fmla="*/ 3433 w 10785"/>
                <a:gd name="connsiteY1693" fmla="*/ 2581 h 10000"/>
                <a:gd name="connsiteX1694" fmla="*/ 3396 w 10785"/>
                <a:gd name="connsiteY1694" fmla="*/ 2556 h 10000"/>
                <a:gd name="connsiteX1695" fmla="*/ 3318 w 10785"/>
                <a:gd name="connsiteY1695" fmla="*/ 2556 h 10000"/>
                <a:gd name="connsiteX1696" fmla="*/ 3304 w 10785"/>
                <a:gd name="connsiteY1696" fmla="*/ 2607 h 10000"/>
                <a:gd name="connsiteX1697" fmla="*/ 3276 w 10785"/>
                <a:gd name="connsiteY1697" fmla="*/ 2632 h 10000"/>
                <a:gd name="connsiteX1698" fmla="*/ 3272 w 10785"/>
                <a:gd name="connsiteY1698" fmla="*/ 2667 h 10000"/>
                <a:gd name="connsiteX1699" fmla="*/ 3304 w 10785"/>
                <a:gd name="connsiteY1699" fmla="*/ 2667 h 10000"/>
                <a:gd name="connsiteX1700" fmla="*/ 3323 w 10785"/>
                <a:gd name="connsiteY1700" fmla="*/ 2692 h 10000"/>
                <a:gd name="connsiteX1701" fmla="*/ 3318 w 10785"/>
                <a:gd name="connsiteY1701" fmla="*/ 2735 h 10000"/>
                <a:gd name="connsiteX1702" fmla="*/ 3304 w 10785"/>
                <a:gd name="connsiteY1702" fmla="*/ 2761 h 10000"/>
                <a:gd name="connsiteX1703" fmla="*/ 3276 w 10785"/>
                <a:gd name="connsiteY1703" fmla="*/ 2769 h 10000"/>
                <a:gd name="connsiteX1704" fmla="*/ 3263 w 10785"/>
                <a:gd name="connsiteY1704" fmla="*/ 2795 h 10000"/>
                <a:gd name="connsiteX1705" fmla="*/ 3235 w 10785"/>
                <a:gd name="connsiteY1705" fmla="*/ 2803 h 10000"/>
                <a:gd name="connsiteX1706" fmla="*/ 3235 w 10785"/>
                <a:gd name="connsiteY1706" fmla="*/ 2786 h 10000"/>
                <a:gd name="connsiteX1707" fmla="*/ 3212 w 10785"/>
                <a:gd name="connsiteY1707" fmla="*/ 2709 h 10000"/>
                <a:gd name="connsiteX1708" fmla="*/ 3198 w 10785"/>
                <a:gd name="connsiteY1708" fmla="*/ 2709 h 10000"/>
                <a:gd name="connsiteX1709" fmla="*/ 3184 w 10785"/>
                <a:gd name="connsiteY1709" fmla="*/ 2735 h 10000"/>
                <a:gd name="connsiteX1710" fmla="*/ 3189 w 10785"/>
                <a:gd name="connsiteY1710" fmla="*/ 2761 h 10000"/>
                <a:gd name="connsiteX1711" fmla="*/ 3203 w 10785"/>
                <a:gd name="connsiteY1711" fmla="*/ 2855 h 10000"/>
                <a:gd name="connsiteX1712" fmla="*/ 3212 w 10785"/>
                <a:gd name="connsiteY1712" fmla="*/ 2872 h 10000"/>
                <a:gd name="connsiteX1713" fmla="*/ 3235 w 10785"/>
                <a:gd name="connsiteY1713" fmla="*/ 2906 h 10000"/>
                <a:gd name="connsiteX1714" fmla="*/ 3258 w 10785"/>
                <a:gd name="connsiteY1714" fmla="*/ 2915 h 10000"/>
                <a:gd name="connsiteX1715" fmla="*/ 3272 w 10785"/>
                <a:gd name="connsiteY1715" fmla="*/ 2957 h 10000"/>
                <a:gd name="connsiteX1716" fmla="*/ 3276 w 10785"/>
                <a:gd name="connsiteY1716" fmla="*/ 2957 h 10000"/>
                <a:gd name="connsiteX1717" fmla="*/ 3286 w 10785"/>
                <a:gd name="connsiteY1717" fmla="*/ 2966 h 10000"/>
                <a:gd name="connsiteX1718" fmla="*/ 3300 w 10785"/>
                <a:gd name="connsiteY1718" fmla="*/ 2957 h 10000"/>
                <a:gd name="connsiteX1719" fmla="*/ 3309 w 10785"/>
                <a:gd name="connsiteY1719" fmla="*/ 2932 h 10000"/>
                <a:gd name="connsiteX1720" fmla="*/ 3304 w 10785"/>
                <a:gd name="connsiteY1720" fmla="*/ 2966 h 10000"/>
                <a:gd name="connsiteX1721" fmla="*/ 3309 w 10785"/>
                <a:gd name="connsiteY1721" fmla="*/ 2983 h 10000"/>
                <a:gd name="connsiteX1722" fmla="*/ 3323 w 10785"/>
                <a:gd name="connsiteY1722" fmla="*/ 2966 h 10000"/>
                <a:gd name="connsiteX1723" fmla="*/ 3323 w 10785"/>
                <a:gd name="connsiteY1723" fmla="*/ 3043 h 10000"/>
                <a:gd name="connsiteX1724" fmla="*/ 3346 w 10785"/>
                <a:gd name="connsiteY1724" fmla="*/ 3068 h 10000"/>
                <a:gd name="connsiteX1725" fmla="*/ 3346 w 10785"/>
                <a:gd name="connsiteY1725" fmla="*/ 3094 h 10000"/>
                <a:gd name="connsiteX1726" fmla="*/ 3323 w 10785"/>
                <a:gd name="connsiteY1726" fmla="*/ 3094 h 10000"/>
                <a:gd name="connsiteX1727" fmla="*/ 3309 w 10785"/>
                <a:gd name="connsiteY1727" fmla="*/ 3077 h 10000"/>
                <a:gd name="connsiteX1728" fmla="*/ 3304 w 10785"/>
                <a:gd name="connsiteY1728" fmla="*/ 3051 h 10000"/>
                <a:gd name="connsiteX1729" fmla="*/ 3300 w 10785"/>
                <a:gd name="connsiteY1729" fmla="*/ 3043 h 10000"/>
                <a:gd name="connsiteX1730" fmla="*/ 3286 w 10785"/>
                <a:gd name="connsiteY1730" fmla="*/ 3017 h 10000"/>
                <a:gd name="connsiteX1731" fmla="*/ 3152 w 10785"/>
                <a:gd name="connsiteY1731" fmla="*/ 2966 h 10000"/>
                <a:gd name="connsiteX1732" fmla="*/ 3129 w 10785"/>
                <a:gd name="connsiteY1732" fmla="*/ 2915 h 10000"/>
                <a:gd name="connsiteX1733" fmla="*/ 3129 w 10785"/>
                <a:gd name="connsiteY1733" fmla="*/ 2906 h 10000"/>
                <a:gd name="connsiteX1734" fmla="*/ 3152 w 10785"/>
                <a:gd name="connsiteY1734" fmla="*/ 2906 h 10000"/>
                <a:gd name="connsiteX1735" fmla="*/ 3152 w 10785"/>
                <a:gd name="connsiteY1735" fmla="*/ 2846 h 10000"/>
                <a:gd name="connsiteX1736" fmla="*/ 3138 w 10785"/>
                <a:gd name="connsiteY1736" fmla="*/ 2795 h 10000"/>
                <a:gd name="connsiteX1737" fmla="*/ 3138 w 10785"/>
                <a:gd name="connsiteY1737" fmla="*/ 2769 h 10000"/>
                <a:gd name="connsiteX1738" fmla="*/ 3143 w 10785"/>
                <a:gd name="connsiteY1738" fmla="*/ 2718 h 10000"/>
                <a:gd name="connsiteX1739" fmla="*/ 3129 w 10785"/>
                <a:gd name="connsiteY1739" fmla="*/ 2692 h 10000"/>
                <a:gd name="connsiteX1740" fmla="*/ 3143 w 10785"/>
                <a:gd name="connsiteY1740" fmla="*/ 2667 h 10000"/>
                <a:gd name="connsiteX1741" fmla="*/ 3157 w 10785"/>
                <a:gd name="connsiteY1741" fmla="*/ 2581 h 10000"/>
                <a:gd name="connsiteX1742" fmla="*/ 3143 w 10785"/>
                <a:gd name="connsiteY1742" fmla="*/ 2496 h 10000"/>
                <a:gd name="connsiteX1743" fmla="*/ 3157 w 10785"/>
                <a:gd name="connsiteY1743" fmla="*/ 2487 h 10000"/>
                <a:gd name="connsiteX1744" fmla="*/ 3143 w 10785"/>
                <a:gd name="connsiteY1744" fmla="*/ 2444 h 10000"/>
                <a:gd name="connsiteX1745" fmla="*/ 3143 w 10785"/>
                <a:gd name="connsiteY1745" fmla="*/ 2419 h 10000"/>
                <a:gd name="connsiteX1746" fmla="*/ 3143 w 10785"/>
                <a:gd name="connsiteY1746" fmla="*/ 2410 h 10000"/>
                <a:gd name="connsiteX1747" fmla="*/ 3124 w 10785"/>
                <a:gd name="connsiteY1747" fmla="*/ 2376 h 10000"/>
                <a:gd name="connsiteX1748" fmla="*/ 3115 w 10785"/>
                <a:gd name="connsiteY1748" fmla="*/ 2350 h 10000"/>
                <a:gd name="connsiteX1749" fmla="*/ 3101 w 10785"/>
                <a:gd name="connsiteY1749" fmla="*/ 2359 h 10000"/>
                <a:gd name="connsiteX1750" fmla="*/ 3115 w 10785"/>
                <a:gd name="connsiteY1750" fmla="*/ 2581 h 10000"/>
                <a:gd name="connsiteX1751" fmla="*/ 3111 w 10785"/>
                <a:gd name="connsiteY1751" fmla="*/ 2624 h 10000"/>
                <a:gd name="connsiteX1752" fmla="*/ 3009 w 10785"/>
                <a:gd name="connsiteY1752" fmla="*/ 2761 h 10000"/>
                <a:gd name="connsiteX1753" fmla="*/ 3009 w 10785"/>
                <a:gd name="connsiteY1753" fmla="*/ 2803 h 10000"/>
                <a:gd name="connsiteX1754" fmla="*/ 3005 w 10785"/>
                <a:gd name="connsiteY1754" fmla="*/ 2829 h 10000"/>
                <a:gd name="connsiteX1755" fmla="*/ 2982 w 10785"/>
                <a:gd name="connsiteY1755" fmla="*/ 2872 h 10000"/>
                <a:gd name="connsiteX1756" fmla="*/ 2982 w 10785"/>
                <a:gd name="connsiteY1756" fmla="*/ 2880 h 10000"/>
                <a:gd name="connsiteX1757" fmla="*/ 3037 w 10785"/>
                <a:gd name="connsiteY1757" fmla="*/ 3034 h 10000"/>
                <a:gd name="connsiteX1758" fmla="*/ 3041 w 10785"/>
                <a:gd name="connsiteY1758" fmla="*/ 3103 h 10000"/>
                <a:gd name="connsiteX1759" fmla="*/ 3069 w 10785"/>
                <a:gd name="connsiteY1759" fmla="*/ 3188 h 10000"/>
                <a:gd name="connsiteX1760" fmla="*/ 3055 w 10785"/>
                <a:gd name="connsiteY1760" fmla="*/ 3325 h 10000"/>
                <a:gd name="connsiteX1761" fmla="*/ 3037 w 10785"/>
                <a:gd name="connsiteY1761" fmla="*/ 3368 h 10000"/>
                <a:gd name="connsiteX1762" fmla="*/ 3037 w 10785"/>
                <a:gd name="connsiteY1762" fmla="*/ 3444 h 10000"/>
                <a:gd name="connsiteX1763" fmla="*/ 3028 w 10785"/>
                <a:gd name="connsiteY1763" fmla="*/ 3453 h 10000"/>
                <a:gd name="connsiteX1764" fmla="*/ 3023 w 10785"/>
                <a:gd name="connsiteY1764" fmla="*/ 3530 h 10000"/>
                <a:gd name="connsiteX1765" fmla="*/ 3051 w 10785"/>
                <a:gd name="connsiteY1765" fmla="*/ 3624 h 10000"/>
                <a:gd name="connsiteX1766" fmla="*/ 3037 w 10785"/>
                <a:gd name="connsiteY1766" fmla="*/ 3718 h 10000"/>
                <a:gd name="connsiteX1767" fmla="*/ 3041 w 10785"/>
                <a:gd name="connsiteY1767" fmla="*/ 3752 h 10000"/>
                <a:gd name="connsiteX1768" fmla="*/ 3055 w 10785"/>
                <a:gd name="connsiteY1768" fmla="*/ 3761 h 10000"/>
                <a:gd name="connsiteX1769" fmla="*/ 3078 w 10785"/>
                <a:gd name="connsiteY1769" fmla="*/ 3752 h 10000"/>
                <a:gd name="connsiteX1770" fmla="*/ 3092 w 10785"/>
                <a:gd name="connsiteY1770" fmla="*/ 3752 h 10000"/>
                <a:gd name="connsiteX1771" fmla="*/ 3129 w 10785"/>
                <a:gd name="connsiteY1771" fmla="*/ 3761 h 10000"/>
                <a:gd name="connsiteX1772" fmla="*/ 3129 w 10785"/>
                <a:gd name="connsiteY1772" fmla="*/ 3735 h 10000"/>
                <a:gd name="connsiteX1773" fmla="*/ 3157 w 10785"/>
                <a:gd name="connsiteY1773" fmla="*/ 3718 h 10000"/>
                <a:gd name="connsiteX1774" fmla="*/ 3184 w 10785"/>
                <a:gd name="connsiteY1774" fmla="*/ 3718 h 10000"/>
                <a:gd name="connsiteX1775" fmla="*/ 3290 w 10785"/>
                <a:gd name="connsiteY1775" fmla="*/ 3838 h 10000"/>
                <a:gd name="connsiteX1776" fmla="*/ 3300 w 10785"/>
                <a:gd name="connsiteY1776" fmla="*/ 3846 h 10000"/>
                <a:gd name="connsiteX1777" fmla="*/ 3300 w 10785"/>
                <a:gd name="connsiteY1777" fmla="*/ 3915 h 10000"/>
                <a:gd name="connsiteX1778" fmla="*/ 3318 w 10785"/>
                <a:gd name="connsiteY1778" fmla="*/ 4000 h 10000"/>
                <a:gd name="connsiteX1779" fmla="*/ 3323 w 10785"/>
                <a:gd name="connsiteY1779" fmla="*/ 4000 h 10000"/>
                <a:gd name="connsiteX1780" fmla="*/ 3323 w 10785"/>
                <a:gd name="connsiteY1780" fmla="*/ 4034 h 10000"/>
                <a:gd name="connsiteX1781" fmla="*/ 3318 w 10785"/>
                <a:gd name="connsiteY1781" fmla="*/ 4051 h 10000"/>
                <a:gd name="connsiteX1782" fmla="*/ 3300 w 10785"/>
                <a:gd name="connsiteY1782" fmla="*/ 4051 h 10000"/>
                <a:gd name="connsiteX1783" fmla="*/ 3290 w 10785"/>
                <a:gd name="connsiteY1783" fmla="*/ 4077 h 10000"/>
                <a:gd name="connsiteX1784" fmla="*/ 3286 w 10785"/>
                <a:gd name="connsiteY1784" fmla="*/ 4103 h 10000"/>
                <a:gd name="connsiteX1785" fmla="*/ 3286 w 10785"/>
                <a:gd name="connsiteY1785" fmla="*/ 4197 h 10000"/>
                <a:gd name="connsiteX1786" fmla="*/ 3290 w 10785"/>
                <a:gd name="connsiteY1786" fmla="*/ 4214 h 10000"/>
                <a:gd name="connsiteX1787" fmla="*/ 3304 w 10785"/>
                <a:gd name="connsiteY1787" fmla="*/ 4214 h 10000"/>
                <a:gd name="connsiteX1788" fmla="*/ 3323 w 10785"/>
                <a:gd name="connsiteY1788" fmla="*/ 4239 h 10000"/>
                <a:gd name="connsiteX1789" fmla="*/ 3350 w 10785"/>
                <a:gd name="connsiteY1789" fmla="*/ 4222 h 10000"/>
                <a:gd name="connsiteX1790" fmla="*/ 3369 w 10785"/>
                <a:gd name="connsiteY1790" fmla="*/ 4256 h 10000"/>
                <a:gd name="connsiteX1791" fmla="*/ 3369 w 10785"/>
                <a:gd name="connsiteY1791" fmla="*/ 4256 h 10000"/>
                <a:gd name="connsiteX1792" fmla="*/ 3336 w 10785"/>
                <a:gd name="connsiteY1792" fmla="*/ 4274 h 10000"/>
                <a:gd name="connsiteX1793" fmla="*/ 3323 w 10785"/>
                <a:gd name="connsiteY1793" fmla="*/ 4274 h 10000"/>
                <a:gd name="connsiteX1794" fmla="*/ 3290 w 10785"/>
                <a:gd name="connsiteY1794" fmla="*/ 4274 h 10000"/>
                <a:gd name="connsiteX1795" fmla="*/ 3286 w 10785"/>
                <a:gd name="connsiteY1795" fmla="*/ 4239 h 10000"/>
                <a:gd name="connsiteX1796" fmla="*/ 3263 w 10785"/>
                <a:gd name="connsiteY1796" fmla="*/ 4214 h 10000"/>
                <a:gd name="connsiteX1797" fmla="*/ 3258 w 10785"/>
                <a:gd name="connsiteY1797" fmla="*/ 4188 h 10000"/>
                <a:gd name="connsiteX1798" fmla="*/ 3263 w 10785"/>
                <a:gd name="connsiteY1798" fmla="*/ 4171 h 10000"/>
                <a:gd name="connsiteX1799" fmla="*/ 3263 w 10785"/>
                <a:gd name="connsiteY1799" fmla="*/ 4103 h 10000"/>
                <a:gd name="connsiteX1800" fmla="*/ 3276 w 10785"/>
                <a:gd name="connsiteY1800" fmla="*/ 4060 h 10000"/>
                <a:gd name="connsiteX1801" fmla="*/ 3272 w 10785"/>
                <a:gd name="connsiteY1801" fmla="*/ 4051 h 10000"/>
                <a:gd name="connsiteX1802" fmla="*/ 3263 w 10785"/>
                <a:gd name="connsiteY1802" fmla="*/ 4051 h 10000"/>
                <a:gd name="connsiteX1803" fmla="*/ 3263 w 10785"/>
                <a:gd name="connsiteY1803" fmla="*/ 4034 h 10000"/>
                <a:gd name="connsiteX1804" fmla="*/ 3263 w 10785"/>
                <a:gd name="connsiteY1804" fmla="*/ 4000 h 10000"/>
                <a:gd name="connsiteX1805" fmla="*/ 3272 w 10785"/>
                <a:gd name="connsiteY1805" fmla="*/ 4000 h 10000"/>
                <a:gd name="connsiteX1806" fmla="*/ 3272 w 10785"/>
                <a:gd name="connsiteY1806" fmla="*/ 3974 h 10000"/>
                <a:gd name="connsiteX1807" fmla="*/ 3272 w 10785"/>
                <a:gd name="connsiteY1807" fmla="*/ 3966 h 10000"/>
                <a:gd name="connsiteX1808" fmla="*/ 3272 w 10785"/>
                <a:gd name="connsiteY1808" fmla="*/ 3949 h 10000"/>
                <a:gd name="connsiteX1809" fmla="*/ 3258 w 10785"/>
                <a:gd name="connsiteY1809" fmla="*/ 3923 h 10000"/>
                <a:gd name="connsiteX1810" fmla="*/ 3249 w 10785"/>
                <a:gd name="connsiteY1810" fmla="*/ 3915 h 10000"/>
                <a:gd name="connsiteX1811" fmla="*/ 3244 w 10785"/>
                <a:gd name="connsiteY1811" fmla="*/ 3897 h 10000"/>
                <a:gd name="connsiteX1812" fmla="*/ 3230 w 10785"/>
                <a:gd name="connsiteY1812" fmla="*/ 3889 h 10000"/>
                <a:gd name="connsiteX1813" fmla="*/ 3230 w 10785"/>
                <a:gd name="connsiteY1813" fmla="*/ 3863 h 10000"/>
                <a:gd name="connsiteX1814" fmla="*/ 3230 w 10785"/>
                <a:gd name="connsiteY1814" fmla="*/ 3838 h 10000"/>
                <a:gd name="connsiteX1815" fmla="*/ 3226 w 10785"/>
                <a:gd name="connsiteY1815" fmla="*/ 3803 h 10000"/>
                <a:gd name="connsiteX1816" fmla="*/ 3138 w 10785"/>
                <a:gd name="connsiteY1816" fmla="*/ 3838 h 10000"/>
                <a:gd name="connsiteX1817" fmla="*/ 3078 w 10785"/>
                <a:gd name="connsiteY1817" fmla="*/ 3889 h 10000"/>
                <a:gd name="connsiteX1818" fmla="*/ 3078 w 10785"/>
                <a:gd name="connsiteY1818" fmla="*/ 3940 h 10000"/>
                <a:gd name="connsiteX1819" fmla="*/ 3069 w 10785"/>
                <a:gd name="connsiteY1819" fmla="*/ 3983 h 10000"/>
                <a:gd name="connsiteX1820" fmla="*/ 3069 w 10785"/>
                <a:gd name="connsiteY1820" fmla="*/ 4009 h 10000"/>
                <a:gd name="connsiteX1821" fmla="*/ 3078 w 10785"/>
                <a:gd name="connsiteY1821" fmla="*/ 4026 h 10000"/>
                <a:gd name="connsiteX1822" fmla="*/ 3083 w 10785"/>
                <a:gd name="connsiteY1822" fmla="*/ 4034 h 10000"/>
                <a:gd name="connsiteX1823" fmla="*/ 3092 w 10785"/>
                <a:gd name="connsiteY1823" fmla="*/ 4060 h 10000"/>
                <a:gd name="connsiteX1824" fmla="*/ 3092 w 10785"/>
                <a:gd name="connsiteY1824" fmla="*/ 4077 h 10000"/>
                <a:gd name="connsiteX1825" fmla="*/ 3097 w 10785"/>
                <a:gd name="connsiteY1825" fmla="*/ 4103 h 10000"/>
                <a:gd name="connsiteX1826" fmla="*/ 3101 w 10785"/>
                <a:gd name="connsiteY1826" fmla="*/ 4162 h 10000"/>
                <a:gd name="connsiteX1827" fmla="*/ 3097 w 10785"/>
                <a:gd name="connsiteY1827" fmla="*/ 4222 h 10000"/>
                <a:gd name="connsiteX1828" fmla="*/ 3041 w 10785"/>
                <a:gd name="connsiteY1828" fmla="*/ 4325 h 10000"/>
                <a:gd name="connsiteX1829" fmla="*/ 3037 w 10785"/>
                <a:gd name="connsiteY1829" fmla="*/ 4419 h 10000"/>
                <a:gd name="connsiteX1830" fmla="*/ 3018 w 10785"/>
                <a:gd name="connsiteY1830" fmla="*/ 4470 h 10000"/>
                <a:gd name="connsiteX1831" fmla="*/ 2991 w 10785"/>
                <a:gd name="connsiteY1831" fmla="*/ 4513 h 10000"/>
                <a:gd name="connsiteX1832" fmla="*/ 2977 w 10785"/>
                <a:gd name="connsiteY1832" fmla="*/ 4530 h 10000"/>
                <a:gd name="connsiteX1833" fmla="*/ 2945 w 10785"/>
                <a:gd name="connsiteY1833" fmla="*/ 4556 h 10000"/>
                <a:gd name="connsiteX1834" fmla="*/ 2935 w 10785"/>
                <a:gd name="connsiteY1834" fmla="*/ 4581 h 10000"/>
                <a:gd name="connsiteX1835" fmla="*/ 2949 w 10785"/>
                <a:gd name="connsiteY1835" fmla="*/ 4624 h 10000"/>
                <a:gd name="connsiteX1836" fmla="*/ 2945 w 10785"/>
                <a:gd name="connsiteY1836" fmla="*/ 4658 h 10000"/>
                <a:gd name="connsiteX1837" fmla="*/ 2922 w 10785"/>
                <a:gd name="connsiteY1837" fmla="*/ 4667 h 10000"/>
                <a:gd name="connsiteX1838" fmla="*/ 2876 w 10785"/>
                <a:gd name="connsiteY1838" fmla="*/ 4632 h 10000"/>
                <a:gd name="connsiteX1839" fmla="*/ 2857 w 10785"/>
                <a:gd name="connsiteY1839" fmla="*/ 4632 h 10000"/>
                <a:gd name="connsiteX1840" fmla="*/ 2820 w 10785"/>
                <a:gd name="connsiteY1840" fmla="*/ 4641 h 10000"/>
                <a:gd name="connsiteX1841" fmla="*/ 2797 w 10785"/>
                <a:gd name="connsiteY1841" fmla="*/ 4632 h 10000"/>
                <a:gd name="connsiteX1842" fmla="*/ 2788 w 10785"/>
                <a:gd name="connsiteY1842" fmla="*/ 4624 h 10000"/>
                <a:gd name="connsiteX1843" fmla="*/ 2788 w 10785"/>
                <a:gd name="connsiteY1843" fmla="*/ 4598 h 10000"/>
                <a:gd name="connsiteX1844" fmla="*/ 2797 w 10785"/>
                <a:gd name="connsiteY1844" fmla="*/ 4581 h 10000"/>
                <a:gd name="connsiteX1845" fmla="*/ 2788 w 10785"/>
                <a:gd name="connsiteY1845" fmla="*/ 4530 h 10000"/>
                <a:gd name="connsiteX1846" fmla="*/ 2774 w 10785"/>
                <a:gd name="connsiteY1846" fmla="*/ 4530 h 10000"/>
                <a:gd name="connsiteX1847" fmla="*/ 2770 w 10785"/>
                <a:gd name="connsiteY1847" fmla="*/ 4513 h 10000"/>
                <a:gd name="connsiteX1848" fmla="*/ 2774 w 10785"/>
                <a:gd name="connsiteY1848" fmla="*/ 4513 h 10000"/>
                <a:gd name="connsiteX1849" fmla="*/ 2788 w 10785"/>
                <a:gd name="connsiteY1849" fmla="*/ 4496 h 10000"/>
                <a:gd name="connsiteX1850" fmla="*/ 2802 w 10785"/>
                <a:gd name="connsiteY1850" fmla="*/ 4513 h 10000"/>
                <a:gd name="connsiteX1851" fmla="*/ 2811 w 10785"/>
                <a:gd name="connsiteY1851" fmla="*/ 4530 h 10000"/>
                <a:gd name="connsiteX1852" fmla="*/ 2820 w 10785"/>
                <a:gd name="connsiteY1852" fmla="*/ 4521 h 10000"/>
                <a:gd name="connsiteX1853" fmla="*/ 2829 w 10785"/>
                <a:gd name="connsiteY1853" fmla="*/ 4513 h 10000"/>
                <a:gd name="connsiteX1854" fmla="*/ 2843 w 10785"/>
                <a:gd name="connsiteY1854" fmla="*/ 4513 h 10000"/>
                <a:gd name="connsiteX1855" fmla="*/ 2848 w 10785"/>
                <a:gd name="connsiteY1855" fmla="*/ 4470 h 10000"/>
                <a:gd name="connsiteX1856" fmla="*/ 2862 w 10785"/>
                <a:gd name="connsiteY1856" fmla="*/ 4487 h 10000"/>
                <a:gd name="connsiteX1857" fmla="*/ 2876 w 10785"/>
                <a:gd name="connsiteY1857" fmla="*/ 4470 h 10000"/>
                <a:gd name="connsiteX1858" fmla="*/ 2880 w 10785"/>
                <a:gd name="connsiteY1858" fmla="*/ 4462 h 10000"/>
                <a:gd name="connsiteX1859" fmla="*/ 2889 w 10785"/>
                <a:gd name="connsiteY1859" fmla="*/ 4444 h 10000"/>
                <a:gd name="connsiteX1860" fmla="*/ 2894 w 10785"/>
                <a:gd name="connsiteY1860" fmla="*/ 4462 h 10000"/>
                <a:gd name="connsiteX1861" fmla="*/ 2917 w 10785"/>
                <a:gd name="connsiteY1861" fmla="*/ 4444 h 10000"/>
                <a:gd name="connsiteX1862" fmla="*/ 2922 w 10785"/>
                <a:gd name="connsiteY1862" fmla="*/ 4436 h 10000"/>
                <a:gd name="connsiteX1863" fmla="*/ 2917 w 10785"/>
                <a:gd name="connsiteY1863" fmla="*/ 4410 h 10000"/>
                <a:gd name="connsiteX1864" fmla="*/ 2894 w 10785"/>
                <a:gd name="connsiteY1864" fmla="*/ 4410 h 10000"/>
                <a:gd name="connsiteX1865" fmla="*/ 2889 w 10785"/>
                <a:gd name="connsiteY1865" fmla="*/ 4419 h 10000"/>
                <a:gd name="connsiteX1866" fmla="*/ 2876 w 10785"/>
                <a:gd name="connsiteY1866" fmla="*/ 4410 h 10000"/>
                <a:gd name="connsiteX1867" fmla="*/ 2880 w 10785"/>
                <a:gd name="connsiteY1867" fmla="*/ 4376 h 10000"/>
                <a:gd name="connsiteX1868" fmla="*/ 2903 w 10785"/>
                <a:gd name="connsiteY1868" fmla="*/ 4393 h 10000"/>
                <a:gd name="connsiteX1869" fmla="*/ 2931 w 10785"/>
                <a:gd name="connsiteY1869" fmla="*/ 4393 h 10000"/>
                <a:gd name="connsiteX1870" fmla="*/ 2931 w 10785"/>
                <a:gd name="connsiteY1870" fmla="*/ 4385 h 10000"/>
                <a:gd name="connsiteX1871" fmla="*/ 2931 w 10785"/>
                <a:gd name="connsiteY1871" fmla="*/ 4350 h 10000"/>
                <a:gd name="connsiteX1872" fmla="*/ 2945 w 10785"/>
                <a:gd name="connsiteY1872" fmla="*/ 4350 h 10000"/>
                <a:gd name="connsiteX1873" fmla="*/ 2949 w 10785"/>
                <a:gd name="connsiteY1873" fmla="*/ 4325 h 10000"/>
                <a:gd name="connsiteX1874" fmla="*/ 2963 w 10785"/>
                <a:gd name="connsiteY1874" fmla="*/ 4256 h 10000"/>
                <a:gd name="connsiteX1875" fmla="*/ 2982 w 10785"/>
                <a:gd name="connsiteY1875" fmla="*/ 4239 h 10000"/>
                <a:gd name="connsiteX1876" fmla="*/ 2991 w 10785"/>
                <a:gd name="connsiteY1876" fmla="*/ 4214 h 10000"/>
                <a:gd name="connsiteX1877" fmla="*/ 2991 w 10785"/>
                <a:gd name="connsiteY1877" fmla="*/ 4197 h 10000"/>
                <a:gd name="connsiteX1878" fmla="*/ 2995 w 10785"/>
                <a:gd name="connsiteY1878" fmla="*/ 4171 h 10000"/>
                <a:gd name="connsiteX1879" fmla="*/ 2991 w 10785"/>
                <a:gd name="connsiteY1879" fmla="*/ 4077 h 10000"/>
                <a:gd name="connsiteX1880" fmla="*/ 2995 w 10785"/>
                <a:gd name="connsiteY1880" fmla="*/ 4034 h 10000"/>
                <a:gd name="connsiteX1881" fmla="*/ 3018 w 10785"/>
                <a:gd name="connsiteY1881" fmla="*/ 3983 h 10000"/>
                <a:gd name="connsiteX1882" fmla="*/ 3018 w 10785"/>
                <a:gd name="connsiteY1882" fmla="*/ 3915 h 10000"/>
                <a:gd name="connsiteX1883" fmla="*/ 2949 w 10785"/>
                <a:gd name="connsiteY1883" fmla="*/ 3778 h 10000"/>
                <a:gd name="connsiteX1884" fmla="*/ 2954 w 10785"/>
                <a:gd name="connsiteY1884" fmla="*/ 3675 h 10000"/>
                <a:gd name="connsiteX1885" fmla="*/ 2954 w 10785"/>
                <a:gd name="connsiteY1885" fmla="*/ 3650 h 10000"/>
                <a:gd name="connsiteX1886" fmla="*/ 2963 w 10785"/>
                <a:gd name="connsiteY1886" fmla="*/ 3624 h 10000"/>
                <a:gd name="connsiteX1887" fmla="*/ 2954 w 10785"/>
                <a:gd name="connsiteY1887" fmla="*/ 3564 h 10000"/>
                <a:gd name="connsiteX1888" fmla="*/ 2963 w 10785"/>
                <a:gd name="connsiteY1888" fmla="*/ 3538 h 10000"/>
                <a:gd name="connsiteX1889" fmla="*/ 2963 w 10785"/>
                <a:gd name="connsiteY1889" fmla="*/ 3487 h 10000"/>
                <a:gd name="connsiteX1890" fmla="*/ 2963 w 10785"/>
                <a:gd name="connsiteY1890" fmla="*/ 3479 h 10000"/>
                <a:gd name="connsiteX1891" fmla="*/ 2963 w 10785"/>
                <a:gd name="connsiteY1891" fmla="*/ 3462 h 10000"/>
                <a:gd name="connsiteX1892" fmla="*/ 2954 w 10785"/>
                <a:gd name="connsiteY1892" fmla="*/ 3453 h 10000"/>
                <a:gd name="connsiteX1893" fmla="*/ 2954 w 10785"/>
                <a:gd name="connsiteY1893" fmla="*/ 3444 h 10000"/>
                <a:gd name="connsiteX1894" fmla="*/ 2954 w 10785"/>
                <a:gd name="connsiteY1894" fmla="*/ 3402 h 10000"/>
                <a:gd name="connsiteX1895" fmla="*/ 2954 w 10785"/>
                <a:gd name="connsiteY1895" fmla="*/ 3393 h 10000"/>
                <a:gd name="connsiteX1896" fmla="*/ 2949 w 10785"/>
                <a:gd name="connsiteY1896" fmla="*/ 3376 h 10000"/>
                <a:gd name="connsiteX1897" fmla="*/ 2949 w 10785"/>
                <a:gd name="connsiteY1897" fmla="*/ 3342 h 10000"/>
                <a:gd name="connsiteX1898" fmla="*/ 2949 w 10785"/>
                <a:gd name="connsiteY1898" fmla="*/ 3316 h 10000"/>
                <a:gd name="connsiteX1899" fmla="*/ 2968 w 10785"/>
                <a:gd name="connsiteY1899" fmla="*/ 3291 h 10000"/>
                <a:gd name="connsiteX1900" fmla="*/ 2963 w 10785"/>
                <a:gd name="connsiteY1900" fmla="*/ 3205 h 10000"/>
                <a:gd name="connsiteX1901" fmla="*/ 2968 w 10785"/>
                <a:gd name="connsiteY1901" fmla="*/ 3171 h 10000"/>
                <a:gd name="connsiteX1902" fmla="*/ 2968 w 10785"/>
                <a:gd name="connsiteY1902" fmla="*/ 3128 h 10000"/>
                <a:gd name="connsiteX1903" fmla="*/ 2954 w 10785"/>
                <a:gd name="connsiteY1903" fmla="*/ 3051 h 10000"/>
                <a:gd name="connsiteX1904" fmla="*/ 2954 w 10785"/>
                <a:gd name="connsiteY1904" fmla="*/ 3009 h 10000"/>
                <a:gd name="connsiteX1905" fmla="*/ 2922 w 10785"/>
                <a:gd name="connsiteY1905" fmla="*/ 2940 h 10000"/>
                <a:gd name="connsiteX1906" fmla="*/ 2903 w 10785"/>
                <a:gd name="connsiteY1906" fmla="*/ 2880 h 10000"/>
                <a:gd name="connsiteX1907" fmla="*/ 2903 w 10785"/>
                <a:gd name="connsiteY1907" fmla="*/ 2855 h 10000"/>
                <a:gd name="connsiteX1908" fmla="*/ 2908 w 10785"/>
                <a:gd name="connsiteY1908" fmla="*/ 2846 h 10000"/>
                <a:gd name="connsiteX1909" fmla="*/ 2931 w 10785"/>
                <a:gd name="connsiteY1909" fmla="*/ 2821 h 10000"/>
                <a:gd name="connsiteX1910" fmla="*/ 2931 w 10785"/>
                <a:gd name="connsiteY1910" fmla="*/ 2803 h 10000"/>
                <a:gd name="connsiteX1911" fmla="*/ 2935 w 10785"/>
                <a:gd name="connsiteY1911" fmla="*/ 2786 h 10000"/>
                <a:gd name="connsiteX1912" fmla="*/ 2935 w 10785"/>
                <a:gd name="connsiteY1912" fmla="*/ 2744 h 10000"/>
                <a:gd name="connsiteX1913" fmla="*/ 2963 w 10785"/>
                <a:gd name="connsiteY1913" fmla="*/ 2607 h 10000"/>
                <a:gd name="connsiteX1914" fmla="*/ 2963 w 10785"/>
                <a:gd name="connsiteY1914" fmla="*/ 2419 h 10000"/>
                <a:gd name="connsiteX1915" fmla="*/ 2954 w 10785"/>
                <a:gd name="connsiteY1915" fmla="*/ 2410 h 10000"/>
                <a:gd name="connsiteX1916" fmla="*/ 2963 w 10785"/>
                <a:gd name="connsiteY1916" fmla="*/ 2393 h 10000"/>
                <a:gd name="connsiteX1917" fmla="*/ 2908 w 10785"/>
                <a:gd name="connsiteY1917" fmla="*/ 2359 h 10000"/>
                <a:gd name="connsiteX1918" fmla="*/ 2889 w 10785"/>
                <a:gd name="connsiteY1918" fmla="*/ 2325 h 10000"/>
                <a:gd name="connsiteX1919" fmla="*/ 2788 w 10785"/>
                <a:gd name="connsiteY1919" fmla="*/ 2333 h 10000"/>
                <a:gd name="connsiteX1920" fmla="*/ 2774 w 10785"/>
                <a:gd name="connsiteY1920" fmla="*/ 2325 h 10000"/>
                <a:gd name="connsiteX1921" fmla="*/ 2783 w 10785"/>
                <a:gd name="connsiteY1921" fmla="*/ 2308 h 10000"/>
                <a:gd name="connsiteX1922" fmla="*/ 2747 w 10785"/>
                <a:gd name="connsiteY1922" fmla="*/ 2308 h 10000"/>
                <a:gd name="connsiteX1923" fmla="*/ 2742 w 10785"/>
                <a:gd name="connsiteY1923" fmla="*/ 2333 h 10000"/>
                <a:gd name="connsiteX1924" fmla="*/ 2682 w 10785"/>
                <a:gd name="connsiteY1924" fmla="*/ 2769 h 10000"/>
                <a:gd name="connsiteX1925" fmla="*/ 2613 w 10785"/>
                <a:gd name="connsiteY1925" fmla="*/ 2940 h 10000"/>
                <a:gd name="connsiteX1926" fmla="*/ 2581 w 10785"/>
                <a:gd name="connsiteY1926" fmla="*/ 2966 h 10000"/>
                <a:gd name="connsiteX1927" fmla="*/ 2576 w 10785"/>
                <a:gd name="connsiteY1927" fmla="*/ 3051 h 10000"/>
                <a:gd name="connsiteX1928" fmla="*/ 2581 w 10785"/>
                <a:gd name="connsiteY1928" fmla="*/ 3051 h 10000"/>
                <a:gd name="connsiteX1929" fmla="*/ 2594 w 10785"/>
                <a:gd name="connsiteY1929" fmla="*/ 3017 h 10000"/>
                <a:gd name="connsiteX1930" fmla="*/ 2594 w 10785"/>
                <a:gd name="connsiteY1930" fmla="*/ 3034 h 10000"/>
                <a:gd name="connsiteX1931" fmla="*/ 2594 w 10785"/>
                <a:gd name="connsiteY1931" fmla="*/ 3051 h 10000"/>
                <a:gd name="connsiteX1932" fmla="*/ 2590 w 10785"/>
                <a:gd name="connsiteY1932" fmla="*/ 3077 h 10000"/>
                <a:gd name="connsiteX1933" fmla="*/ 2567 w 10785"/>
                <a:gd name="connsiteY1933" fmla="*/ 3103 h 10000"/>
                <a:gd name="connsiteX1934" fmla="*/ 2562 w 10785"/>
                <a:gd name="connsiteY1934" fmla="*/ 3145 h 10000"/>
                <a:gd name="connsiteX1935" fmla="*/ 2567 w 10785"/>
                <a:gd name="connsiteY1935" fmla="*/ 3179 h 10000"/>
                <a:gd name="connsiteX1936" fmla="*/ 2590 w 10785"/>
                <a:gd name="connsiteY1936" fmla="*/ 3171 h 10000"/>
                <a:gd name="connsiteX1937" fmla="*/ 2594 w 10785"/>
                <a:gd name="connsiteY1937" fmla="*/ 3145 h 10000"/>
                <a:gd name="connsiteX1938" fmla="*/ 2613 w 10785"/>
                <a:gd name="connsiteY1938" fmla="*/ 3154 h 10000"/>
                <a:gd name="connsiteX1939" fmla="*/ 2622 w 10785"/>
                <a:gd name="connsiteY1939" fmla="*/ 3179 h 10000"/>
                <a:gd name="connsiteX1940" fmla="*/ 2613 w 10785"/>
                <a:gd name="connsiteY1940" fmla="*/ 3214 h 10000"/>
                <a:gd name="connsiteX1941" fmla="*/ 2613 w 10785"/>
                <a:gd name="connsiteY1941" fmla="*/ 3308 h 10000"/>
                <a:gd name="connsiteX1942" fmla="*/ 2608 w 10785"/>
                <a:gd name="connsiteY1942" fmla="*/ 3325 h 10000"/>
                <a:gd name="connsiteX1943" fmla="*/ 2608 w 10785"/>
                <a:gd name="connsiteY1943" fmla="*/ 3376 h 10000"/>
                <a:gd name="connsiteX1944" fmla="*/ 2613 w 10785"/>
                <a:gd name="connsiteY1944" fmla="*/ 3419 h 10000"/>
                <a:gd name="connsiteX1945" fmla="*/ 2608 w 10785"/>
                <a:gd name="connsiteY1945" fmla="*/ 3444 h 10000"/>
                <a:gd name="connsiteX1946" fmla="*/ 2594 w 10785"/>
                <a:gd name="connsiteY1946" fmla="*/ 3444 h 10000"/>
                <a:gd name="connsiteX1947" fmla="*/ 2590 w 10785"/>
                <a:gd name="connsiteY1947" fmla="*/ 3427 h 10000"/>
                <a:gd name="connsiteX1948" fmla="*/ 2581 w 10785"/>
                <a:gd name="connsiteY1948" fmla="*/ 3564 h 10000"/>
                <a:gd name="connsiteX1949" fmla="*/ 2594 w 10785"/>
                <a:gd name="connsiteY1949" fmla="*/ 3598 h 10000"/>
                <a:gd name="connsiteX1950" fmla="*/ 2594 w 10785"/>
                <a:gd name="connsiteY1950" fmla="*/ 3581 h 10000"/>
                <a:gd name="connsiteX1951" fmla="*/ 2608 w 10785"/>
                <a:gd name="connsiteY1951" fmla="*/ 3556 h 10000"/>
                <a:gd name="connsiteX1952" fmla="*/ 2650 w 10785"/>
                <a:gd name="connsiteY1952" fmla="*/ 3615 h 10000"/>
                <a:gd name="connsiteX1953" fmla="*/ 2664 w 10785"/>
                <a:gd name="connsiteY1953" fmla="*/ 3615 h 10000"/>
                <a:gd name="connsiteX1954" fmla="*/ 2668 w 10785"/>
                <a:gd name="connsiteY1954" fmla="*/ 3615 h 10000"/>
                <a:gd name="connsiteX1955" fmla="*/ 2664 w 10785"/>
                <a:gd name="connsiteY1955" fmla="*/ 3667 h 10000"/>
                <a:gd name="connsiteX1956" fmla="*/ 2687 w 10785"/>
                <a:gd name="connsiteY1956" fmla="*/ 3786 h 10000"/>
                <a:gd name="connsiteX1957" fmla="*/ 2710 w 10785"/>
                <a:gd name="connsiteY1957" fmla="*/ 3812 h 10000"/>
                <a:gd name="connsiteX1958" fmla="*/ 2724 w 10785"/>
                <a:gd name="connsiteY1958" fmla="*/ 3812 h 10000"/>
                <a:gd name="connsiteX1959" fmla="*/ 2724 w 10785"/>
                <a:gd name="connsiteY1959" fmla="*/ 3829 h 10000"/>
                <a:gd name="connsiteX1960" fmla="*/ 2737 w 10785"/>
                <a:gd name="connsiteY1960" fmla="*/ 3838 h 10000"/>
                <a:gd name="connsiteX1961" fmla="*/ 2714 w 10785"/>
                <a:gd name="connsiteY1961" fmla="*/ 3872 h 10000"/>
                <a:gd name="connsiteX1962" fmla="*/ 2696 w 10785"/>
                <a:gd name="connsiteY1962" fmla="*/ 4026 h 10000"/>
                <a:gd name="connsiteX1963" fmla="*/ 2673 w 10785"/>
                <a:gd name="connsiteY1963" fmla="*/ 4051 h 10000"/>
                <a:gd name="connsiteX1964" fmla="*/ 2668 w 10785"/>
                <a:gd name="connsiteY1964" fmla="*/ 4034 h 10000"/>
                <a:gd name="connsiteX1965" fmla="*/ 2673 w 10785"/>
                <a:gd name="connsiteY1965" fmla="*/ 4000 h 10000"/>
                <a:gd name="connsiteX1966" fmla="*/ 2664 w 10785"/>
                <a:gd name="connsiteY1966" fmla="*/ 3974 h 10000"/>
                <a:gd name="connsiteX1967" fmla="*/ 2636 w 10785"/>
                <a:gd name="connsiteY1967" fmla="*/ 3949 h 10000"/>
                <a:gd name="connsiteX1968" fmla="*/ 2581 w 10785"/>
                <a:gd name="connsiteY1968" fmla="*/ 3838 h 10000"/>
                <a:gd name="connsiteX1969" fmla="*/ 2562 w 10785"/>
                <a:gd name="connsiteY1969" fmla="*/ 3829 h 10000"/>
                <a:gd name="connsiteX1970" fmla="*/ 2535 w 10785"/>
                <a:gd name="connsiteY1970" fmla="*/ 3778 h 10000"/>
                <a:gd name="connsiteX1971" fmla="*/ 2502 w 10785"/>
                <a:gd name="connsiteY1971" fmla="*/ 3761 h 10000"/>
                <a:gd name="connsiteX1972" fmla="*/ 2502 w 10785"/>
                <a:gd name="connsiteY1972" fmla="*/ 3735 h 10000"/>
                <a:gd name="connsiteX1973" fmla="*/ 2516 w 10785"/>
                <a:gd name="connsiteY1973" fmla="*/ 3735 h 10000"/>
                <a:gd name="connsiteX1974" fmla="*/ 2507 w 10785"/>
                <a:gd name="connsiteY1974" fmla="*/ 3726 h 10000"/>
                <a:gd name="connsiteX1975" fmla="*/ 2488 w 10785"/>
                <a:gd name="connsiteY1975" fmla="*/ 3726 h 10000"/>
                <a:gd name="connsiteX1976" fmla="*/ 2461 w 10785"/>
                <a:gd name="connsiteY1976" fmla="*/ 3692 h 10000"/>
                <a:gd name="connsiteX1977" fmla="*/ 2442 w 10785"/>
                <a:gd name="connsiteY1977" fmla="*/ 3675 h 10000"/>
                <a:gd name="connsiteX1978" fmla="*/ 2406 w 10785"/>
                <a:gd name="connsiteY1978" fmla="*/ 3598 h 10000"/>
                <a:gd name="connsiteX1979" fmla="*/ 2346 w 10785"/>
                <a:gd name="connsiteY1979" fmla="*/ 3564 h 10000"/>
                <a:gd name="connsiteX1980" fmla="*/ 2341 w 10785"/>
                <a:gd name="connsiteY1980" fmla="*/ 3564 h 10000"/>
                <a:gd name="connsiteX1981" fmla="*/ 2313 w 10785"/>
                <a:gd name="connsiteY1981" fmla="*/ 3530 h 10000"/>
                <a:gd name="connsiteX1982" fmla="*/ 2235 w 10785"/>
                <a:gd name="connsiteY1982" fmla="*/ 3530 h 10000"/>
                <a:gd name="connsiteX1983" fmla="*/ 2226 w 10785"/>
                <a:gd name="connsiteY1983" fmla="*/ 3513 h 10000"/>
                <a:gd name="connsiteX1984" fmla="*/ 2207 w 10785"/>
                <a:gd name="connsiteY1984" fmla="*/ 3504 h 10000"/>
                <a:gd name="connsiteX1985" fmla="*/ 2194 w 10785"/>
                <a:gd name="connsiteY1985" fmla="*/ 3504 h 10000"/>
                <a:gd name="connsiteX1986" fmla="*/ 2189 w 10785"/>
                <a:gd name="connsiteY1986" fmla="*/ 3504 h 10000"/>
                <a:gd name="connsiteX1987" fmla="*/ 2189 w 10785"/>
                <a:gd name="connsiteY1987" fmla="*/ 3530 h 10000"/>
                <a:gd name="connsiteX1988" fmla="*/ 2180 w 10785"/>
                <a:gd name="connsiteY1988" fmla="*/ 3538 h 10000"/>
                <a:gd name="connsiteX1989" fmla="*/ 2152 w 10785"/>
                <a:gd name="connsiteY1989" fmla="*/ 3581 h 10000"/>
                <a:gd name="connsiteX1990" fmla="*/ 2161 w 10785"/>
                <a:gd name="connsiteY1990" fmla="*/ 3598 h 10000"/>
                <a:gd name="connsiteX1991" fmla="*/ 2194 w 10785"/>
                <a:gd name="connsiteY1991" fmla="*/ 3752 h 10000"/>
                <a:gd name="connsiteX1992" fmla="*/ 2194 w 10785"/>
                <a:gd name="connsiteY1992" fmla="*/ 3735 h 10000"/>
                <a:gd name="connsiteX1993" fmla="*/ 2198 w 10785"/>
                <a:gd name="connsiteY1993" fmla="*/ 3735 h 10000"/>
                <a:gd name="connsiteX1994" fmla="*/ 2189 w 10785"/>
                <a:gd name="connsiteY1994" fmla="*/ 3838 h 10000"/>
                <a:gd name="connsiteX1995" fmla="*/ 2166 w 10785"/>
                <a:gd name="connsiteY1995" fmla="*/ 3889 h 10000"/>
                <a:gd name="connsiteX1996" fmla="*/ 2124 w 10785"/>
                <a:gd name="connsiteY1996" fmla="*/ 3889 h 10000"/>
                <a:gd name="connsiteX1997" fmla="*/ 2124 w 10785"/>
                <a:gd name="connsiteY1997" fmla="*/ 3923 h 10000"/>
                <a:gd name="connsiteX1998" fmla="*/ 2134 w 10785"/>
                <a:gd name="connsiteY1998" fmla="*/ 3940 h 10000"/>
                <a:gd name="connsiteX1999" fmla="*/ 2134 w 10785"/>
                <a:gd name="connsiteY1999" fmla="*/ 3966 h 10000"/>
                <a:gd name="connsiteX2000" fmla="*/ 2120 w 10785"/>
                <a:gd name="connsiteY2000" fmla="*/ 4000 h 10000"/>
                <a:gd name="connsiteX2001" fmla="*/ 2106 w 10785"/>
                <a:gd name="connsiteY2001" fmla="*/ 4009 h 10000"/>
                <a:gd name="connsiteX2002" fmla="*/ 2088 w 10785"/>
                <a:gd name="connsiteY2002" fmla="*/ 4000 h 10000"/>
                <a:gd name="connsiteX2003" fmla="*/ 2074 w 10785"/>
                <a:gd name="connsiteY2003" fmla="*/ 3974 h 10000"/>
                <a:gd name="connsiteX2004" fmla="*/ 2074 w 10785"/>
                <a:gd name="connsiteY2004" fmla="*/ 3940 h 10000"/>
                <a:gd name="connsiteX2005" fmla="*/ 2078 w 10785"/>
                <a:gd name="connsiteY2005" fmla="*/ 3915 h 10000"/>
                <a:gd name="connsiteX2006" fmla="*/ 2088 w 10785"/>
                <a:gd name="connsiteY2006" fmla="*/ 3889 h 10000"/>
                <a:gd name="connsiteX2007" fmla="*/ 2101 w 10785"/>
                <a:gd name="connsiteY2007" fmla="*/ 3872 h 10000"/>
                <a:gd name="connsiteX2008" fmla="*/ 2074 w 10785"/>
                <a:gd name="connsiteY2008" fmla="*/ 3812 h 10000"/>
                <a:gd name="connsiteX2009" fmla="*/ 2074 w 10785"/>
                <a:gd name="connsiteY2009" fmla="*/ 3786 h 10000"/>
                <a:gd name="connsiteX2010" fmla="*/ 2060 w 10785"/>
                <a:gd name="connsiteY2010" fmla="*/ 3786 h 10000"/>
                <a:gd name="connsiteX2011" fmla="*/ 2014 w 10785"/>
                <a:gd name="connsiteY2011" fmla="*/ 3829 h 10000"/>
                <a:gd name="connsiteX2012" fmla="*/ 2000 w 10785"/>
                <a:gd name="connsiteY2012" fmla="*/ 3863 h 10000"/>
                <a:gd name="connsiteX2013" fmla="*/ 1986 w 10785"/>
                <a:gd name="connsiteY2013" fmla="*/ 3872 h 10000"/>
                <a:gd name="connsiteX2014" fmla="*/ 1959 w 10785"/>
                <a:gd name="connsiteY2014" fmla="*/ 3940 h 10000"/>
                <a:gd name="connsiteX2015" fmla="*/ 1945 w 10785"/>
                <a:gd name="connsiteY2015" fmla="*/ 3949 h 10000"/>
                <a:gd name="connsiteX2016" fmla="*/ 1940 w 10785"/>
                <a:gd name="connsiteY2016" fmla="*/ 3923 h 10000"/>
                <a:gd name="connsiteX2017" fmla="*/ 1917 w 10785"/>
                <a:gd name="connsiteY2017" fmla="*/ 3915 h 10000"/>
                <a:gd name="connsiteX2018" fmla="*/ 1899 w 10785"/>
                <a:gd name="connsiteY2018" fmla="*/ 3923 h 10000"/>
                <a:gd name="connsiteX2019" fmla="*/ 1880 w 10785"/>
                <a:gd name="connsiteY2019" fmla="*/ 3915 h 10000"/>
                <a:gd name="connsiteX2020" fmla="*/ 1853 w 10785"/>
                <a:gd name="connsiteY2020" fmla="*/ 3940 h 10000"/>
                <a:gd name="connsiteX2021" fmla="*/ 1839 w 10785"/>
                <a:gd name="connsiteY2021" fmla="*/ 3940 h 10000"/>
                <a:gd name="connsiteX2022" fmla="*/ 1806 w 10785"/>
                <a:gd name="connsiteY2022" fmla="*/ 3983 h 10000"/>
                <a:gd name="connsiteX2023" fmla="*/ 1806 w 10785"/>
                <a:gd name="connsiteY2023" fmla="*/ 4000 h 10000"/>
                <a:gd name="connsiteX2024" fmla="*/ 1797 w 10785"/>
                <a:gd name="connsiteY2024" fmla="*/ 4077 h 10000"/>
                <a:gd name="connsiteX2025" fmla="*/ 1783 w 10785"/>
                <a:gd name="connsiteY2025" fmla="*/ 4077 h 10000"/>
                <a:gd name="connsiteX2026" fmla="*/ 1779 w 10785"/>
                <a:gd name="connsiteY2026" fmla="*/ 4051 h 10000"/>
                <a:gd name="connsiteX2027" fmla="*/ 1765 w 10785"/>
                <a:gd name="connsiteY2027" fmla="*/ 4026 h 10000"/>
                <a:gd name="connsiteX2028" fmla="*/ 1751 w 10785"/>
                <a:gd name="connsiteY2028" fmla="*/ 4051 h 10000"/>
                <a:gd name="connsiteX2029" fmla="*/ 1737 w 10785"/>
                <a:gd name="connsiteY2029" fmla="*/ 4009 h 10000"/>
                <a:gd name="connsiteX2030" fmla="*/ 1737 w 10785"/>
                <a:gd name="connsiteY2030" fmla="*/ 3966 h 10000"/>
                <a:gd name="connsiteX2031" fmla="*/ 1733 w 10785"/>
                <a:gd name="connsiteY2031" fmla="*/ 3940 h 10000"/>
                <a:gd name="connsiteX2032" fmla="*/ 1733 w 10785"/>
                <a:gd name="connsiteY2032" fmla="*/ 3923 h 10000"/>
                <a:gd name="connsiteX2033" fmla="*/ 1747 w 10785"/>
                <a:gd name="connsiteY2033" fmla="*/ 3889 h 10000"/>
                <a:gd name="connsiteX2034" fmla="*/ 1747 w 10785"/>
                <a:gd name="connsiteY2034" fmla="*/ 3863 h 10000"/>
                <a:gd name="connsiteX2035" fmla="*/ 1737 w 10785"/>
                <a:gd name="connsiteY2035" fmla="*/ 3838 h 10000"/>
                <a:gd name="connsiteX2036" fmla="*/ 1733 w 10785"/>
                <a:gd name="connsiteY2036" fmla="*/ 3829 h 10000"/>
                <a:gd name="connsiteX2037" fmla="*/ 1733 w 10785"/>
                <a:gd name="connsiteY2037" fmla="*/ 3846 h 10000"/>
                <a:gd name="connsiteX2038" fmla="*/ 1724 w 10785"/>
                <a:gd name="connsiteY2038" fmla="*/ 3846 h 10000"/>
                <a:gd name="connsiteX2039" fmla="*/ 1724 w 10785"/>
                <a:gd name="connsiteY2039" fmla="*/ 3829 h 10000"/>
                <a:gd name="connsiteX2040" fmla="*/ 1737 w 10785"/>
                <a:gd name="connsiteY2040" fmla="*/ 3812 h 10000"/>
                <a:gd name="connsiteX2041" fmla="*/ 1765 w 10785"/>
                <a:gd name="connsiteY2041" fmla="*/ 3812 h 10000"/>
                <a:gd name="connsiteX2042" fmla="*/ 1779 w 10785"/>
                <a:gd name="connsiteY2042" fmla="*/ 3786 h 10000"/>
                <a:gd name="connsiteX2043" fmla="*/ 1779 w 10785"/>
                <a:gd name="connsiteY2043" fmla="*/ 3786 h 10000"/>
                <a:gd name="connsiteX2044" fmla="*/ 1751 w 10785"/>
                <a:gd name="connsiteY2044" fmla="*/ 3803 h 10000"/>
                <a:gd name="connsiteX2045" fmla="*/ 1747 w 10785"/>
                <a:gd name="connsiteY2045" fmla="*/ 3803 h 10000"/>
                <a:gd name="connsiteX2046" fmla="*/ 1724 w 10785"/>
                <a:gd name="connsiteY2046" fmla="*/ 3803 h 10000"/>
                <a:gd name="connsiteX2047" fmla="*/ 1700 w 10785"/>
                <a:gd name="connsiteY2047" fmla="*/ 3829 h 10000"/>
                <a:gd name="connsiteX2048" fmla="*/ 1705 w 10785"/>
                <a:gd name="connsiteY2048" fmla="*/ 3846 h 10000"/>
                <a:gd name="connsiteX2049" fmla="*/ 1691 w 10785"/>
                <a:gd name="connsiteY2049" fmla="*/ 3846 h 10000"/>
                <a:gd name="connsiteX2050" fmla="*/ 1691 w 10785"/>
                <a:gd name="connsiteY2050" fmla="*/ 3863 h 10000"/>
                <a:gd name="connsiteX2051" fmla="*/ 1691 w 10785"/>
                <a:gd name="connsiteY2051" fmla="*/ 3915 h 10000"/>
                <a:gd name="connsiteX2052" fmla="*/ 1677 w 10785"/>
                <a:gd name="connsiteY2052" fmla="*/ 3923 h 10000"/>
                <a:gd name="connsiteX2053" fmla="*/ 1673 w 10785"/>
                <a:gd name="connsiteY2053" fmla="*/ 3915 h 10000"/>
                <a:gd name="connsiteX2054" fmla="*/ 1664 w 10785"/>
                <a:gd name="connsiteY2054" fmla="*/ 3889 h 10000"/>
                <a:gd name="connsiteX2055" fmla="*/ 1673 w 10785"/>
                <a:gd name="connsiteY2055" fmla="*/ 3872 h 10000"/>
                <a:gd name="connsiteX2056" fmla="*/ 1664 w 10785"/>
                <a:gd name="connsiteY2056" fmla="*/ 3872 h 10000"/>
                <a:gd name="connsiteX2057" fmla="*/ 1636 w 10785"/>
                <a:gd name="connsiteY2057" fmla="*/ 3923 h 10000"/>
                <a:gd name="connsiteX2058" fmla="*/ 1645 w 10785"/>
                <a:gd name="connsiteY2058" fmla="*/ 3923 h 10000"/>
                <a:gd name="connsiteX2059" fmla="*/ 1650 w 10785"/>
                <a:gd name="connsiteY2059" fmla="*/ 3949 h 10000"/>
                <a:gd name="connsiteX2060" fmla="*/ 1650 w 10785"/>
                <a:gd name="connsiteY2060" fmla="*/ 3983 h 10000"/>
                <a:gd name="connsiteX2061" fmla="*/ 1636 w 10785"/>
                <a:gd name="connsiteY2061" fmla="*/ 4000 h 10000"/>
                <a:gd name="connsiteX2062" fmla="*/ 1631 w 10785"/>
                <a:gd name="connsiteY2062" fmla="*/ 4009 h 10000"/>
                <a:gd name="connsiteX2063" fmla="*/ 1618 w 10785"/>
                <a:gd name="connsiteY2063" fmla="*/ 3949 h 10000"/>
                <a:gd name="connsiteX2064" fmla="*/ 1585 w 10785"/>
                <a:gd name="connsiteY2064" fmla="*/ 3966 h 10000"/>
                <a:gd name="connsiteX2065" fmla="*/ 1590 w 10785"/>
                <a:gd name="connsiteY2065" fmla="*/ 3974 h 10000"/>
                <a:gd name="connsiteX2066" fmla="*/ 1544 w 10785"/>
                <a:gd name="connsiteY2066" fmla="*/ 4009 h 10000"/>
                <a:gd name="connsiteX2067" fmla="*/ 1539 w 10785"/>
                <a:gd name="connsiteY2067" fmla="*/ 4009 h 10000"/>
                <a:gd name="connsiteX2068" fmla="*/ 1410 w 10785"/>
                <a:gd name="connsiteY2068" fmla="*/ 4188 h 10000"/>
                <a:gd name="connsiteX2069" fmla="*/ 1406 w 10785"/>
                <a:gd name="connsiteY2069" fmla="*/ 4171 h 10000"/>
                <a:gd name="connsiteX2070" fmla="*/ 1396 w 10785"/>
                <a:gd name="connsiteY2070" fmla="*/ 4214 h 10000"/>
                <a:gd name="connsiteX2071" fmla="*/ 1406 w 10785"/>
                <a:gd name="connsiteY2071" fmla="*/ 4222 h 10000"/>
                <a:gd name="connsiteX2072" fmla="*/ 1392 w 10785"/>
                <a:gd name="connsiteY2072" fmla="*/ 4239 h 10000"/>
                <a:gd name="connsiteX2073" fmla="*/ 1369 w 10785"/>
                <a:gd name="connsiteY2073" fmla="*/ 4248 h 10000"/>
                <a:gd name="connsiteX2074" fmla="*/ 1355 w 10785"/>
                <a:gd name="connsiteY2074" fmla="*/ 4256 h 10000"/>
                <a:gd name="connsiteX2075" fmla="*/ 1350 w 10785"/>
                <a:gd name="connsiteY2075" fmla="*/ 4248 h 10000"/>
                <a:gd name="connsiteX2076" fmla="*/ 1332 w 10785"/>
                <a:gd name="connsiteY2076" fmla="*/ 4376 h 10000"/>
                <a:gd name="connsiteX2077" fmla="*/ 1332 w 10785"/>
                <a:gd name="connsiteY2077" fmla="*/ 4436 h 10000"/>
                <a:gd name="connsiteX2078" fmla="*/ 1323 w 10785"/>
                <a:gd name="connsiteY2078" fmla="*/ 4462 h 10000"/>
                <a:gd name="connsiteX2079" fmla="*/ 1304 w 10785"/>
                <a:gd name="connsiteY2079" fmla="*/ 4487 h 10000"/>
                <a:gd name="connsiteX2080" fmla="*/ 1290 w 10785"/>
                <a:gd name="connsiteY2080" fmla="*/ 4470 h 10000"/>
                <a:gd name="connsiteX2081" fmla="*/ 1263 w 10785"/>
                <a:gd name="connsiteY2081" fmla="*/ 4496 h 10000"/>
                <a:gd name="connsiteX2082" fmla="*/ 1258 w 10785"/>
                <a:gd name="connsiteY2082" fmla="*/ 4547 h 10000"/>
                <a:gd name="connsiteX2083" fmla="*/ 1249 w 10785"/>
                <a:gd name="connsiteY2083" fmla="*/ 4487 h 10000"/>
                <a:gd name="connsiteX2084" fmla="*/ 1235 w 10785"/>
                <a:gd name="connsiteY2084" fmla="*/ 4496 h 10000"/>
                <a:gd name="connsiteX2085" fmla="*/ 1221 w 10785"/>
                <a:gd name="connsiteY2085" fmla="*/ 4496 h 10000"/>
                <a:gd name="connsiteX2086" fmla="*/ 1217 w 10785"/>
                <a:gd name="connsiteY2086" fmla="*/ 4487 h 10000"/>
                <a:gd name="connsiteX2087" fmla="*/ 1198 w 10785"/>
                <a:gd name="connsiteY2087" fmla="*/ 4410 h 10000"/>
                <a:gd name="connsiteX2088" fmla="*/ 1157 w 10785"/>
                <a:gd name="connsiteY2088" fmla="*/ 4333 h 10000"/>
                <a:gd name="connsiteX2089" fmla="*/ 1147 w 10785"/>
                <a:gd name="connsiteY2089" fmla="*/ 4299 h 10000"/>
                <a:gd name="connsiteX2090" fmla="*/ 1147 w 10785"/>
                <a:gd name="connsiteY2090" fmla="*/ 4274 h 10000"/>
                <a:gd name="connsiteX2091" fmla="*/ 1161 w 10785"/>
                <a:gd name="connsiteY2091" fmla="*/ 4256 h 10000"/>
                <a:gd name="connsiteX2092" fmla="*/ 1171 w 10785"/>
                <a:gd name="connsiteY2092" fmla="*/ 4248 h 10000"/>
                <a:gd name="connsiteX2093" fmla="*/ 1175 w 10785"/>
                <a:gd name="connsiteY2093" fmla="*/ 4214 h 10000"/>
                <a:gd name="connsiteX2094" fmla="*/ 1263 w 10785"/>
                <a:gd name="connsiteY2094" fmla="*/ 4171 h 10000"/>
                <a:gd name="connsiteX2095" fmla="*/ 1249 w 10785"/>
                <a:gd name="connsiteY2095" fmla="*/ 4137 h 10000"/>
                <a:gd name="connsiteX2096" fmla="*/ 1244 w 10785"/>
                <a:gd name="connsiteY2096" fmla="*/ 4060 h 10000"/>
                <a:gd name="connsiteX2097" fmla="*/ 1230 w 10785"/>
                <a:gd name="connsiteY2097" fmla="*/ 4077 h 10000"/>
                <a:gd name="connsiteX2098" fmla="*/ 1221 w 10785"/>
                <a:gd name="connsiteY2098" fmla="*/ 4026 h 10000"/>
                <a:gd name="connsiteX2099" fmla="*/ 1217 w 10785"/>
                <a:gd name="connsiteY2099" fmla="*/ 4026 h 10000"/>
                <a:gd name="connsiteX2100" fmla="*/ 1212 w 10785"/>
                <a:gd name="connsiteY2100" fmla="*/ 3983 h 10000"/>
                <a:gd name="connsiteX2101" fmla="*/ 1203 w 10785"/>
                <a:gd name="connsiteY2101" fmla="*/ 3966 h 10000"/>
                <a:gd name="connsiteX2102" fmla="*/ 1171 w 10785"/>
                <a:gd name="connsiteY2102" fmla="*/ 3949 h 10000"/>
                <a:gd name="connsiteX2103" fmla="*/ 1111 w 10785"/>
                <a:gd name="connsiteY2103" fmla="*/ 3940 h 10000"/>
                <a:gd name="connsiteX2104" fmla="*/ 1097 w 10785"/>
                <a:gd name="connsiteY2104" fmla="*/ 3949 h 10000"/>
                <a:gd name="connsiteX2105" fmla="*/ 1037 w 10785"/>
                <a:gd name="connsiteY2105" fmla="*/ 3897 h 10000"/>
                <a:gd name="connsiteX2106" fmla="*/ 1041 w 10785"/>
                <a:gd name="connsiteY2106" fmla="*/ 3923 h 10000"/>
                <a:gd name="connsiteX2107" fmla="*/ 1097 w 10785"/>
                <a:gd name="connsiteY2107" fmla="*/ 4009 h 10000"/>
                <a:gd name="connsiteX2108" fmla="*/ 1097 w 10785"/>
                <a:gd name="connsiteY2108" fmla="*/ 4120 h 10000"/>
                <a:gd name="connsiteX2109" fmla="*/ 1097 w 10785"/>
                <a:gd name="connsiteY2109" fmla="*/ 4162 h 10000"/>
                <a:gd name="connsiteX2110" fmla="*/ 1097 w 10785"/>
                <a:gd name="connsiteY2110" fmla="*/ 4197 h 10000"/>
                <a:gd name="connsiteX2111" fmla="*/ 1074 w 10785"/>
                <a:gd name="connsiteY2111" fmla="*/ 4333 h 10000"/>
                <a:gd name="connsiteX2112" fmla="*/ 1074 w 10785"/>
                <a:gd name="connsiteY2112" fmla="*/ 4376 h 10000"/>
                <a:gd name="connsiteX2113" fmla="*/ 1083 w 10785"/>
                <a:gd name="connsiteY2113" fmla="*/ 4385 h 10000"/>
                <a:gd name="connsiteX2114" fmla="*/ 1097 w 10785"/>
                <a:gd name="connsiteY2114" fmla="*/ 4385 h 10000"/>
                <a:gd name="connsiteX2115" fmla="*/ 1111 w 10785"/>
                <a:gd name="connsiteY2115" fmla="*/ 4410 h 10000"/>
                <a:gd name="connsiteX2116" fmla="*/ 1124 w 10785"/>
                <a:gd name="connsiteY2116" fmla="*/ 4444 h 10000"/>
                <a:gd name="connsiteX2117" fmla="*/ 1124 w 10785"/>
                <a:gd name="connsiteY2117" fmla="*/ 4470 h 10000"/>
                <a:gd name="connsiteX2118" fmla="*/ 1115 w 10785"/>
                <a:gd name="connsiteY2118" fmla="*/ 4513 h 10000"/>
                <a:gd name="connsiteX2119" fmla="*/ 1115 w 10785"/>
                <a:gd name="connsiteY2119" fmla="*/ 4530 h 10000"/>
                <a:gd name="connsiteX2120" fmla="*/ 1115 w 10785"/>
                <a:gd name="connsiteY2120" fmla="*/ 4573 h 10000"/>
                <a:gd name="connsiteX2121" fmla="*/ 1101 w 10785"/>
                <a:gd name="connsiteY2121" fmla="*/ 4607 h 10000"/>
                <a:gd name="connsiteX2122" fmla="*/ 1097 w 10785"/>
                <a:gd name="connsiteY2122" fmla="*/ 4658 h 10000"/>
                <a:gd name="connsiteX2123" fmla="*/ 1101 w 10785"/>
                <a:gd name="connsiteY2123" fmla="*/ 4692 h 10000"/>
                <a:gd name="connsiteX2124" fmla="*/ 1097 w 10785"/>
                <a:gd name="connsiteY2124" fmla="*/ 4778 h 10000"/>
                <a:gd name="connsiteX2125" fmla="*/ 1083 w 10785"/>
                <a:gd name="connsiteY2125" fmla="*/ 4744 h 10000"/>
                <a:gd name="connsiteX2126" fmla="*/ 1083 w 10785"/>
                <a:gd name="connsiteY2126" fmla="*/ 4718 h 10000"/>
                <a:gd name="connsiteX2127" fmla="*/ 1074 w 10785"/>
                <a:gd name="connsiteY2127" fmla="*/ 4692 h 10000"/>
                <a:gd name="connsiteX2128" fmla="*/ 1065 w 10785"/>
                <a:gd name="connsiteY2128" fmla="*/ 4692 h 10000"/>
                <a:gd name="connsiteX2129" fmla="*/ 1051 w 10785"/>
                <a:gd name="connsiteY2129" fmla="*/ 4718 h 10000"/>
                <a:gd name="connsiteX2130" fmla="*/ 1055 w 10785"/>
                <a:gd name="connsiteY2130" fmla="*/ 4692 h 10000"/>
                <a:gd name="connsiteX2131" fmla="*/ 1055 w 10785"/>
                <a:gd name="connsiteY2131" fmla="*/ 4667 h 10000"/>
                <a:gd name="connsiteX2132" fmla="*/ 1028 w 10785"/>
                <a:gd name="connsiteY2132" fmla="*/ 4624 h 10000"/>
                <a:gd name="connsiteX2133" fmla="*/ 1005 w 10785"/>
                <a:gd name="connsiteY2133" fmla="*/ 4624 h 10000"/>
                <a:gd name="connsiteX2134" fmla="*/ 977 w 10785"/>
                <a:gd name="connsiteY2134" fmla="*/ 4581 h 10000"/>
                <a:gd name="connsiteX2135" fmla="*/ 963 w 10785"/>
                <a:gd name="connsiteY2135" fmla="*/ 4607 h 10000"/>
                <a:gd name="connsiteX2136" fmla="*/ 963 w 10785"/>
                <a:gd name="connsiteY2136" fmla="*/ 4632 h 10000"/>
                <a:gd name="connsiteX2137" fmla="*/ 917 w 10785"/>
                <a:gd name="connsiteY2137" fmla="*/ 4718 h 10000"/>
                <a:gd name="connsiteX2138" fmla="*/ 889 w 10785"/>
                <a:gd name="connsiteY2138" fmla="*/ 4744 h 10000"/>
                <a:gd name="connsiteX2139" fmla="*/ 880 w 10785"/>
                <a:gd name="connsiteY2139" fmla="*/ 4744 h 10000"/>
                <a:gd name="connsiteX2140" fmla="*/ 862 w 10785"/>
                <a:gd name="connsiteY2140" fmla="*/ 4769 h 10000"/>
                <a:gd name="connsiteX2141" fmla="*/ 857 w 10785"/>
                <a:gd name="connsiteY2141" fmla="*/ 4795 h 10000"/>
                <a:gd name="connsiteX2142" fmla="*/ 829 w 10785"/>
                <a:gd name="connsiteY2142" fmla="*/ 4846 h 10000"/>
                <a:gd name="connsiteX2143" fmla="*/ 816 w 10785"/>
                <a:gd name="connsiteY2143" fmla="*/ 4855 h 10000"/>
                <a:gd name="connsiteX2144" fmla="*/ 816 w 10785"/>
                <a:gd name="connsiteY2144" fmla="*/ 4940 h 10000"/>
                <a:gd name="connsiteX2145" fmla="*/ 880 w 10785"/>
                <a:gd name="connsiteY2145" fmla="*/ 5179 h 10000"/>
                <a:gd name="connsiteX2146" fmla="*/ 880 w 10785"/>
                <a:gd name="connsiteY2146" fmla="*/ 5188 h 10000"/>
                <a:gd name="connsiteX2147" fmla="*/ 862 w 10785"/>
                <a:gd name="connsiteY2147" fmla="*/ 5171 h 10000"/>
                <a:gd name="connsiteX2148" fmla="*/ 857 w 10785"/>
                <a:gd name="connsiteY2148" fmla="*/ 5171 h 10000"/>
                <a:gd name="connsiteX2149" fmla="*/ 820 w 10785"/>
                <a:gd name="connsiteY2149" fmla="*/ 5145 h 10000"/>
                <a:gd name="connsiteX2150" fmla="*/ 820 w 10785"/>
                <a:gd name="connsiteY2150" fmla="*/ 5154 h 10000"/>
                <a:gd name="connsiteX2151" fmla="*/ 816 w 10785"/>
                <a:gd name="connsiteY2151" fmla="*/ 5171 h 10000"/>
                <a:gd name="connsiteX2152" fmla="*/ 783 w 10785"/>
                <a:gd name="connsiteY2152" fmla="*/ 5145 h 10000"/>
                <a:gd name="connsiteX2153" fmla="*/ 756 w 10785"/>
                <a:gd name="connsiteY2153" fmla="*/ 5103 h 10000"/>
                <a:gd name="connsiteX2154" fmla="*/ 742 w 10785"/>
                <a:gd name="connsiteY2154" fmla="*/ 5103 h 10000"/>
                <a:gd name="connsiteX2155" fmla="*/ 728 w 10785"/>
                <a:gd name="connsiteY2155" fmla="*/ 5094 h 10000"/>
                <a:gd name="connsiteX2156" fmla="*/ 710 w 10785"/>
                <a:gd name="connsiteY2156" fmla="*/ 5120 h 10000"/>
                <a:gd name="connsiteX2157" fmla="*/ 700 w 10785"/>
                <a:gd name="connsiteY2157" fmla="*/ 5145 h 10000"/>
                <a:gd name="connsiteX2158" fmla="*/ 696 w 10785"/>
                <a:gd name="connsiteY2158" fmla="*/ 5103 h 10000"/>
                <a:gd name="connsiteX2159" fmla="*/ 714 w 10785"/>
                <a:gd name="connsiteY2159" fmla="*/ 5077 h 10000"/>
                <a:gd name="connsiteX2160" fmla="*/ 682 w 10785"/>
                <a:gd name="connsiteY2160" fmla="*/ 5068 h 10000"/>
                <a:gd name="connsiteX2161" fmla="*/ 673 w 10785"/>
                <a:gd name="connsiteY2161" fmla="*/ 5034 h 10000"/>
                <a:gd name="connsiteX2162" fmla="*/ 636 w 10785"/>
                <a:gd name="connsiteY2162" fmla="*/ 4991 h 10000"/>
                <a:gd name="connsiteX2163" fmla="*/ 622 w 10785"/>
                <a:gd name="connsiteY2163" fmla="*/ 4983 h 10000"/>
                <a:gd name="connsiteX2164" fmla="*/ 622 w 10785"/>
                <a:gd name="connsiteY2164" fmla="*/ 5034 h 10000"/>
                <a:gd name="connsiteX2165" fmla="*/ 608 w 10785"/>
                <a:gd name="connsiteY2165" fmla="*/ 5051 h 10000"/>
                <a:gd name="connsiteX2166" fmla="*/ 594 w 10785"/>
                <a:gd name="connsiteY2166" fmla="*/ 5068 h 10000"/>
                <a:gd name="connsiteX2167" fmla="*/ 608 w 10785"/>
                <a:gd name="connsiteY2167" fmla="*/ 5120 h 10000"/>
                <a:gd name="connsiteX2168" fmla="*/ 613 w 10785"/>
                <a:gd name="connsiteY2168" fmla="*/ 5128 h 10000"/>
                <a:gd name="connsiteX2169" fmla="*/ 627 w 10785"/>
                <a:gd name="connsiteY2169" fmla="*/ 5179 h 10000"/>
                <a:gd name="connsiteX2170" fmla="*/ 650 w 10785"/>
                <a:gd name="connsiteY2170" fmla="*/ 5214 h 10000"/>
                <a:gd name="connsiteX2171" fmla="*/ 687 w 10785"/>
                <a:gd name="connsiteY2171" fmla="*/ 5188 h 10000"/>
                <a:gd name="connsiteX2172" fmla="*/ 700 w 10785"/>
                <a:gd name="connsiteY2172" fmla="*/ 5325 h 10000"/>
                <a:gd name="connsiteX2173" fmla="*/ 710 w 10785"/>
                <a:gd name="connsiteY2173" fmla="*/ 5350 h 10000"/>
                <a:gd name="connsiteX2174" fmla="*/ 687 w 10785"/>
                <a:gd name="connsiteY2174" fmla="*/ 5325 h 10000"/>
                <a:gd name="connsiteX2175" fmla="*/ 668 w 10785"/>
                <a:gd name="connsiteY2175" fmla="*/ 5350 h 10000"/>
                <a:gd name="connsiteX2176" fmla="*/ 668 w 10785"/>
                <a:gd name="connsiteY2176" fmla="*/ 5368 h 10000"/>
                <a:gd name="connsiteX2177" fmla="*/ 668 w 10785"/>
                <a:gd name="connsiteY2177" fmla="*/ 5376 h 10000"/>
                <a:gd name="connsiteX2178" fmla="*/ 581 w 10785"/>
                <a:gd name="connsiteY2178" fmla="*/ 5316 h 10000"/>
                <a:gd name="connsiteX2179" fmla="*/ 567 w 10785"/>
                <a:gd name="connsiteY2179" fmla="*/ 5265 h 10000"/>
                <a:gd name="connsiteX2180" fmla="*/ 562 w 10785"/>
                <a:gd name="connsiteY2180" fmla="*/ 5256 h 10000"/>
                <a:gd name="connsiteX2181" fmla="*/ 548 w 10785"/>
                <a:gd name="connsiteY2181" fmla="*/ 5231 h 10000"/>
                <a:gd name="connsiteX2182" fmla="*/ 535 w 10785"/>
                <a:gd name="connsiteY2182" fmla="*/ 5214 h 10000"/>
                <a:gd name="connsiteX2183" fmla="*/ 525 w 10785"/>
                <a:gd name="connsiteY2183" fmla="*/ 5231 h 10000"/>
                <a:gd name="connsiteX2184" fmla="*/ 521 w 10785"/>
                <a:gd name="connsiteY2184" fmla="*/ 5231 h 10000"/>
                <a:gd name="connsiteX2185" fmla="*/ 493 w 10785"/>
                <a:gd name="connsiteY2185" fmla="*/ 5205 h 10000"/>
                <a:gd name="connsiteX2186" fmla="*/ 488 w 10785"/>
                <a:gd name="connsiteY2186" fmla="*/ 5179 h 10000"/>
                <a:gd name="connsiteX2187" fmla="*/ 475 w 10785"/>
                <a:gd name="connsiteY2187" fmla="*/ 5188 h 10000"/>
                <a:gd name="connsiteX2188" fmla="*/ 475 w 10785"/>
                <a:gd name="connsiteY2188" fmla="*/ 5171 h 10000"/>
                <a:gd name="connsiteX2189" fmla="*/ 488 w 10785"/>
                <a:gd name="connsiteY2189" fmla="*/ 5154 h 10000"/>
                <a:gd name="connsiteX2190" fmla="*/ 488 w 10785"/>
                <a:gd name="connsiteY2190" fmla="*/ 5068 h 10000"/>
                <a:gd name="connsiteX2191" fmla="*/ 475 w 10785"/>
                <a:gd name="connsiteY2191" fmla="*/ 5051 h 10000"/>
                <a:gd name="connsiteX2192" fmla="*/ 475 w 10785"/>
                <a:gd name="connsiteY2192" fmla="*/ 5017 h 10000"/>
                <a:gd name="connsiteX2193" fmla="*/ 452 w 10785"/>
                <a:gd name="connsiteY2193" fmla="*/ 4932 h 10000"/>
                <a:gd name="connsiteX2194" fmla="*/ 461 w 10785"/>
                <a:gd name="connsiteY2194" fmla="*/ 4915 h 10000"/>
                <a:gd name="connsiteX2195" fmla="*/ 475 w 10785"/>
                <a:gd name="connsiteY2195" fmla="*/ 4906 h 10000"/>
                <a:gd name="connsiteX2196" fmla="*/ 479 w 10785"/>
                <a:gd name="connsiteY2196" fmla="*/ 4803 h 10000"/>
                <a:gd name="connsiteX2197" fmla="*/ 479 w 10785"/>
                <a:gd name="connsiteY2197" fmla="*/ 4778 h 10000"/>
                <a:gd name="connsiteX2198" fmla="*/ 475 w 10785"/>
                <a:gd name="connsiteY2198" fmla="*/ 4761 h 10000"/>
                <a:gd name="connsiteX2199" fmla="*/ 465 w 10785"/>
                <a:gd name="connsiteY2199" fmla="*/ 4718 h 10000"/>
                <a:gd name="connsiteX2200" fmla="*/ 461 w 10785"/>
                <a:gd name="connsiteY2200" fmla="*/ 4709 h 10000"/>
                <a:gd name="connsiteX2201" fmla="*/ 442 w 10785"/>
                <a:gd name="connsiteY2201" fmla="*/ 4692 h 10000"/>
                <a:gd name="connsiteX2202" fmla="*/ 433 w 10785"/>
                <a:gd name="connsiteY2202" fmla="*/ 4667 h 10000"/>
                <a:gd name="connsiteX2203" fmla="*/ 419 w 10785"/>
                <a:gd name="connsiteY2203" fmla="*/ 4667 h 10000"/>
                <a:gd name="connsiteX2204" fmla="*/ 401 w 10785"/>
                <a:gd name="connsiteY2204" fmla="*/ 4658 h 10000"/>
                <a:gd name="connsiteX2205" fmla="*/ 401 w 10785"/>
                <a:gd name="connsiteY2205" fmla="*/ 4624 h 10000"/>
                <a:gd name="connsiteX2206" fmla="*/ 401 w 10785"/>
                <a:gd name="connsiteY2206" fmla="*/ 4607 h 10000"/>
                <a:gd name="connsiteX2207" fmla="*/ 378 w 10785"/>
                <a:gd name="connsiteY2207" fmla="*/ 4607 h 10000"/>
                <a:gd name="connsiteX2208" fmla="*/ 341 w 10785"/>
                <a:gd name="connsiteY2208" fmla="*/ 4530 h 10000"/>
                <a:gd name="connsiteX2209" fmla="*/ 346 w 10785"/>
                <a:gd name="connsiteY2209" fmla="*/ 4521 h 10000"/>
                <a:gd name="connsiteX2210" fmla="*/ 332 w 10785"/>
                <a:gd name="connsiteY2210" fmla="*/ 4487 h 10000"/>
                <a:gd name="connsiteX2211" fmla="*/ 327 w 10785"/>
                <a:gd name="connsiteY2211" fmla="*/ 4462 h 10000"/>
                <a:gd name="connsiteX2212" fmla="*/ 313 w 10785"/>
                <a:gd name="connsiteY2212" fmla="*/ 4436 h 10000"/>
                <a:gd name="connsiteX2213" fmla="*/ 300 w 10785"/>
                <a:gd name="connsiteY2213" fmla="*/ 4419 h 10000"/>
                <a:gd name="connsiteX2214" fmla="*/ 309 w 10785"/>
                <a:gd name="connsiteY2214" fmla="*/ 4393 h 10000"/>
                <a:gd name="connsiteX2215" fmla="*/ 332 w 10785"/>
                <a:gd name="connsiteY2215" fmla="*/ 4385 h 10000"/>
                <a:gd name="connsiteX2216" fmla="*/ 355 w 10785"/>
                <a:gd name="connsiteY2216" fmla="*/ 4419 h 10000"/>
                <a:gd name="connsiteX2217" fmla="*/ 355 w 10785"/>
                <a:gd name="connsiteY2217" fmla="*/ 4444 h 10000"/>
                <a:gd name="connsiteX2218" fmla="*/ 369 w 10785"/>
                <a:gd name="connsiteY2218" fmla="*/ 4470 h 10000"/>
                <a:gd name="connsiteX2219" fmla="*/ 401 w 10785"/>
                <a:gd name="connsiteY2219" fmla="*/ 4521 h 10000"/>
                <a:gd name="connsiteX2220" fmla="*/ 406 w 10785"/>
                <a:gd name="connsiteY2220" fmla="*/ 4513 h 10000"/>
                <a:gd name="connsiteX2221" fmla="*/ 406 w 10785"/>
                <a:gd name="connsiteY2221" fmla="*/ 4496 h 10000"/>
                <a:gd name="connsiteX2222" fmla="*/ 419 w 10785"/>
                <a:gd name="connsiteY2222" fmla="*/ 4521 h 10000"/>
                <a:gd name="connsiteX2223" fmla="*/ 429 w 10785"/>
                <a:gd name="connsiteY2223" fmla="*/ 4530 h 10000"/>
                <a:gd name="connsiteX2224" fmla="*/ 433 w 10785"/>
                <a:gd name="connsiteY2224" fmla="*/ 4521 h 10000"/>
                <a:gd name="connsiteX2225" fmla="*/ 442 w 10785"/>
                <a:gd name="connsiteY2225" fmla="*/ 4530 h 10000"/>
                <a:gd name="connsiteX2226" fmla="*/ 447 w 10785"/>
                <a:gd name="connsiteY2226" fmla="*/ 4521 h 10000"/>
                <a:gd name="connsiteX2227" fmla="*/ 452 w 10785"/>
                <a:gd name="connsiteY2227" fmla="*/ 4521 h 10000"/>
                <a:gd name="connsiteX2228" fmla="*/ 461 w 10785"/>
                <a:gd name="connsiteY2228" fmla="*/ 4573 h 10000"/>
                <a:gd name="connsiteX2229" fmla="*/ 479 w 10785"/>
                <a:gd name="connsiteY2229" fmla="*/ 4556 h 10000"/>
                <a:gd name="connsiteX2230" fmla="*/ 502 w 10785"/>
                <a:gd name="connsiteY2230" fmla="*/ 4573 h 10000"/>
                <a:gd name="connsiteX2231" fmla="*/ 507 w 10785"/>
                <a:gd name="connsiteY2231" fmla="*/ 4598 h 10000"/>
                <a:gd name="connsiteX2232" fmla="*/ 525 w 10785"/>
                <a:gd name="connsiteY2232" fmla="*/ 4598 h 10000"/>
                <a:gd name="connsiteX2233" fmla="*/ 535 w 10785"/>
                <a:gd name="connsiteY2233" fmla="*/ 4624 h 10000"/>
                <a:gd name="connsiteX2234" fmla="*/ 594 w 10785"/>
                <a:gd name="connsiteY2234" fmla="*/ 4658 h 10000"/>
                <a:gd name="connsiteX2235" fmla="*/ 627 w 10785"/>
                <a:gd name="connsiteY2235" fmla="*/ 4658 h 10000"/>
                <a:gd name="connsiteX2236" fmla="*/ 654 w 10785"/>
                <a:gd name="connsiteY2236" fmla="*/ 4684 h 10000"/>
                <a:gd name="connsiteX2237" fmla="*/ 668 w 10785"/>
                <a:gd name="connsiteY2237" fmla="*/ 4709 h 10000"/>
                <a:gd name="connsiteX2238" fmla="*/ 747 w 10785"/>
                <a:gd name="connsiteY2238" fmla="*/ 4718 h 10000"/>
                <a:gd name="connsiteX2239" fmla="*/ 760 w 10785"/>
                <a:gd name="connsiteY2239" fmla="*/ 4709 h 10000"/>
                <a:gd name="connsiteX2240" fmla="*/ 774 w 10785"/>
                <a:gd name="connsiteY2240" fmla="*/ 4692 h 10000"/>
                <a:gd name="connsiteX2241" fmla="*/ 829 w 10785"/>
                <a:gd name="connsiteY2241" fmla="*/ 4658 h 10000"/>
                <a:gd name="connsiteX2242" fmla="*/ 903 w 10785"/>
                <a:gd name="connsiteY2242" fmla="*/ 4496 h 10000"/>
                <a:gd name="connsiteX2243" fmla="*/ 917 w 10785"/>
                <a:gd name="connsiteY2243" fmla="*/ 4385 h 10000"/>
                <a:gd name="connsiteX2244" fmla="*/ 903 w 10785"/>
                <a:gd name="connsiteY2244" fmla="*/ 4376 h 10000"/>
                <a:gd name="connsiteX2245" fmla="*/ 903 w 10785"/>
                <a:gd name="connsiteY2245" fmla="*/ 4376 h 10000"/>
                <a:gd name="connsiteX2246" fmla="*/ 889 w 10785"/>
                <a:gd name="connsiteY2246" fmla="*/ 4239 h 10000"/>
                <a:gd name="connsiteX2247" fmla="*/ 880 w 10785"/>
                <a:gd name="connsiteY2247" fmla="*/ 4214 h 10000"/>
                <a:gd name="connsiteX2248" fmla="*/ 862 w 10785"/>
                <a:gd name="connsiteY2248" fmla="*/ 4188 h 10000"/>
                <a:gd name="connsiteX2249" fmla="*/ 857 w 10785"/>
                <a:gd name="connsiteY2249" fmla="*/ 4197 h 10000"/>
                <a:gd name="connsiteX2250" fmla="*/ 848 w 10785"/>
                <a:gd name="connsiteY2250" fmla="*/ 4188 h 10000"/>
                <a:gd name="connsiteX2251" fmla="*/ 848 w 10785"/>
                <a:gd name="connsiteY2251" fmla="*/ 4162 h 10000"/>
                <a:gd name="connsiteX2252" fmla="*/ 829 w 10785"/>
                <a:gd name="connsiteY2252" fmla="*/ 4120 h 10000"/>
                <a:gd name="connsiteX2253" fmla="*/ 820 w 10785"/>
                <a:gd name="connsiteY2253" fmla="*/ 4103 h 10000"/>
                <a:gd name="connsiteX2254" fmla="*/ 806 w 10785"/>
                <a:gd name="connsiteY2254" fmla="*/ 4077 h 10000"/>
                <a:gd name="connsiteX2255" fmla="*/ 816 w 10785"/>
                <a:gd name="connsiteY2255" fmla="*/ 4111 h 10000"/>
                <a:gd name="connsiteX2256" fmla="*/ 802 w 10785"/>
                <a:gd name="connsiteY2256" fmla="*/ 4111 h 10000"/>
                <a:gd name="connsiteX2257" fmla="*/ 770 w 10785"/>
                <a:gd name="connsiteY2257" fmla="*/ 4060 h 10000"/>
                <a:gd name="connsiteX2258" fmla="*/ 760 w 10785"/>
                <a:gd name="connsiteY2258" fmla="*/ 4077 h 10000"/>
                <a:gd name="connsiteX2259" fmla="*/ 760 w 10785"/>
                <a:gd name="connsiteY2259" fmla="*/ 4060 h 10000"/>
                <a:gd name="connsiteX2260" fmla="*/ 756 w 10785"/>
                <a:gd name="connsiteY2260" fmla="*/ 4034 h 10000"/>
                <a:gd name="connsiteX2261" fmla="*/ 742 w 10785"/>
                <a:gd name="connsiteY2261" fmla="*/ 4000 h 10000"/>
                <a:gd name="connsiteX2262" fmla="*/ 747 w 10785"/>
                <a:gd name="connsiteY2262" fmla="*/ 4034 h 10000"/>
                <a:gd name="connsiteX2263" fmla="*/ 724 w 10785"/>
                <a:gd name="connsiteY2263" fmla="*/ 4026 h 10000"/>
                <a:gd name="connsiteX2264" fmla="*/ 714 w 10785"/>
                <a:gd name="connsiteY2264" fmla="*/ 4000 h 10000"/>
                <a:gd name="connsiteX2265" fmla="*/ 714 w 10785"/>
                <a:gd name="connsiteY2265" fmla="*/ 3983 h 10000"/>
                <a:gd name="connsiteX2266" fmla="*/ 553 w 10785"/>
                <a:gd name="connsiteY2266" fmla="*/ 3726 h 10000"/>
                <a:gd name="connsiteX2267" fmla="*/ 507 w 10785"/>
                <a:gd name="connsiteY2267" fmla="*/ 3718 h 10000"/>
                <a:gd name="connsiteX2268" fmla="*/ 516 w 10785"/>
                <a:gd name="connsiteY2268" fmla="*/ 3726 h 10000"/>
                <a:gd name="connsiteX2269" fmla="*/ 507 w 10785"/>
                <a:gd name="connsiteY2269" fmla="*/ 3735 h 10000"/>
                <a:gd name="connsiteX2270" fmla="*/ 502 w 10785"/>
                <a:gd name="connsiteY2270" fmla="*/ 3735 h 10000"/>
                <a:gd name="connsiteX2271" fmla="*/ 419 w 10785"/>
                <a:gd name="connsiteY2271" fmla="*/ 3675 h 10000"/>
                <a:gd name="connsiteX2272" fmla="*/ 419 w 10785"/>
                <a:gd name="connsiteY2272" fmla="*/ 3692 h 10000"/>
                <a:gd name="connsiteX2273" fmla="*/ 401 w 10785"/>
                <a:gd name="connsiteY2273" fmla="*/ 3701 h 10000"/>
                <a:gd name="connsiteX2274" fmla="*/ 387 w 10785"/>
                <a:gd name="connsiteY2274" fmla="*/ 3718 h 10000"/>
                <a:gd name="connsiteX2275" fmla="*/ 387 w 10785"/>
                <a:gd name="connsiteY2275" fmla="*/ 3692 h 10000"/>
                <a:gd name="connsiteX2276" fmla="*/ 378 w 10785"/>
                <a:gd name="connsiteY2276" fmla="*/ 3675 h 10000"/>
                <a:gd name="connsiteX2277" fmla="*/ 378 w 10785"/>
                <a:gd name="connsiteY2277" fmla="*/ 3650 h 10000"/>
                <a:gd name="connsiteX2278" fmla="*/ 378 w 10785"/>
                <a:gd name="connsiteY2278" fmla="*/ 3650 h 10000"/>
                <a:gd name="connsiteX2279" fmla="*/ 355 w 10785"/>
                <a:gd name="connsiteY2279" fmla="*/ 3675 h 10000"/>
                <a:gd name="connsiteX2280" fmla="*/ 359 w 10785"/>
                <a:gd name="connsiteY2280" fmla="*/ 3641 h 10000"/>
                <a:gd name="connsiteX2281" fmla="*/ 346 w 10785"/>
                <a:gd name="connsiteY2281" fmla="*/ 3650 h 10000"/>
                <a:gd name="connsiteX2282" fmla="*/ 355 w 10785"/>
                <a:gd name="connsiteY2282" fmla="*/ 3624 h 10000"/>
                <a:gd name="connsiteX2283" fmla="*/ 346 w 10785"/>
                <a:gd name="connsiteY2283" fmla="*/ 3624 h 10000"/>
                <a:gd name="connsiteX2284" fmla="*/ 341 w 10785"/>
                <a:gd name="connsiteY2284" fmla="*/ 3624 h 10000"/>
                <a:gd name="connsiteX2285" fmla="*/ 318 w 10785"/>
                <a:gd name="connsiteY2285" fmla="*/ 3641 h 10000"/>
                <a:gd name="connsiteX2286" fmla="*/ 327 w 10785"/>
                <a:gd name="connsiteY2286" fmla="*/ 3624 h 10000"/>
                <a:gd name="connsiteX2287" fmla="*/ 318 w 10785"/>
                <a:gd name="connsiteY2287" fmla="*/ 3615 h 10000"/>
                <a:gd name="connsiteX2288" fmla="*/ 318 w 10785"/>
                <a:gd name="connsiteY2288" fmla="*/ 3598 h 10000"/>
                <a:gd name="connsiteX2289" fmla="*/ 300 w 10785"/>
                <a:gd name="connsiteY2289" fmla="*/ 3598 h 10000"/>
                <a:gd name="connsiteX2290" fmla="*/ 309 w 10785"/>
                <a:gd name="connsiteY2290" fmla="*/ 3538 h 10000"/>
                <a:gd name="connsiteX2291" fmla="*/ 313 w 10785"/>
                <a:gd name="connsiteY2291" fmla="*/ 3564 h 10000"/>
                <a:gd name="connsiteX2292" fmla="*/ 318 w 10785"/>
                <a:gd name="connsiteY2292" fmla="*/ 3581 h 10000"/>
                <a:gd name="connsiteX2293" fmla="*/ 327 w 10785"/>
                <a:gd name="connsiteY2293" fmla="*/ 3564 h 10000"/>
                <a:gd name="connsiteX2294" fmla="*/ 332 w 10785"/>
                <a:gd name="connsiteY2294" fmla="*/ 3590 h 10000"/>
                <a:gd name="connsiteX2295" fmla="*/ 346 w 10785"/>
                <a:gd name="connsiteY2295" fmla="*/ 3590 h 10000"/>
                <a:gd name="connsiteX2296" fmla="*/ 355 w 10785"/>
                <a:gd name="connsiteY2296" fmla="*/ 3590 h 10000"/>
                <a:gd name="connsiteX2297" fmla="*/ 369 w 10785"/>
                <a:gd name="connsiteY2297" fmla="*/ 3556 h 10000"/>
                <a:gd name="connsiteX2298" fmla="*/ 369 w 10785"/>
                <a:gd name="connsiteY2298" fmla="*/ 3538 h 10000"/>
                <a:gd name="connsiteX2299" fmla="*/ 346 w 10785"/>
                <a:gd name="connsiteY2299" fmla="*/ 3513 h 10000"/>
                <a:gd name="connsiteX2300" fmla="*/ 341 w 10785"/>
                <a:gd name="connsiteY2300" fmla="*/ 3530 h 10000"/>
                <a:gd name="connsiteX2301" fmla="*/ 327 w 10785"/>
                <a:gd name="connsiteY2301" fmla="*/ 3513 h 10000"/>
                <a:gd name="connsiteX2302" fmla="*/ 327 w 10785"/>
                <a:gd name="connsiteY2302" fmla="*/ 3504 h 10000"/>
                <a:gd name="connsiteX2303" fmla="*/ 295 w 10785"/>
                <a:gd name="connsiteY2303" fmla="*/ 3462 h 10000"/>
                <a:gd name="connsiteX2304" fmla="*/ 300 w 10785"/>
                <a:gd name="connsiteY2304" fmla="*/ 3479 h 10000"/>
                <a:gd name="connsiteX2305" fmla="*/ 295 w 10785"/>
                <a:gd name="connsiteY2305" fmla="*/ 3513 h 10000"/>
                <a:gd name="connsiteX2306" fmla="*/ 286 w 10785"/>
                <a:gd name="connsiteY2306" fmla="*/ 3513 h 10000"/>
                <a:gd name="connsiteX2307" fmla="*/ 281 w 10785"/>
                <a:gd name="connsiteY2307" fmla="*/ 3513 h 10000"/>
                <a:gd name="connsiteX2308" fmla="*/ 281 w 10785"/>
                <a:gd name="connsiteY2308" fmla="*/ 3530 h 10000"/>
                <a:gd name="connsiteX2309" fmla="*/ 281 w 10785"/>
                <a:gd name="connsiteY2309" fmla="*/ 3556 h 10000"/>
                <a:gd name="connsiteX2310" fmla="*/ 272 w 10785"/>
                <a:gd name="connsiteY2310" fmla="*/ 3564 h 10000"/>
                <a:gd name="connsiteX2311" fmla="*/ 267 w 10785"/>
                <a:gd name="connsiteY2311" fmla="*/ 3564 h 10000"/>
                <a:gd name="connsiteX2312" fmla="*/ 253 w 10785"/>
                <a:gd name="connsiteY2312" fmla="*/ 3538 h 10000"/>
                <a:gd name="connsiteX2313" fmla="*/ 226 w 10785"/>
                <a:gd name="connsiteY2313" fmla="*/ 3513 h 10000"/>
                <a:gd name="connsiteX2314" fmla="*/ 226 w 10785"/>
                <a:gd name="connsiteY2314" fmla="*/ 3530 h 10000"/>
                <a:gd name="connsiteX2315" fmla="*/ 226 w 10785"/>
                <a:gd name="connsiteY2315" fmla="*/ 3530 h 10000"/>
                <a:gd name="connsiteX2316" fmla="*/ 226 w 10785"/>
                <a:gd name="connsiteY2316" fmla="*/ 3530 h 10000"/>
                <a:gd name="connsiteX2317" fmla="*/ 226 w 10785"/>
                <a:gd name="connsiteY2317" fmla="*/ 3556 h 10000"/>
                <a:gd name="connsiteX2318" fmla="*/ 221 w 10785"/>
                <a:gd name="connsiteY2318" fmla="*/ 3598 h 10000"/>
                <a:gd name="connsiteX2319" fmla="*/ 207 w 10785"/>
                <a:gd name="connsiteY2319" fmla="*/ 3598 h 10000"/>
                <a:gd name="connsiteX2320" fmla="*/ 180 w 10785"/>
                <a:gd name="connsiteY2320" fmla="*/ 3581 h 10000"/>
                <a:gd name="connsiteX2321" fmla="*/ 171 w 10785"/>
                <a:gd name="connsiteY2321" fmla="*/ 3641 h 10000"/>
                <a:gd name="connsiteX2322" fmla="*/ 166 w 10785"/>
                <a:gd name="connsiteY2322" fmla="*/ 3650 h 10000"/>
                <a:gd name="connsiteX2323" fmla="*/ 124 w 10785"/>
                <a:gd name="connsiteY2323" fmla="*/ 3701 h 10000"/>
                <a:gd name="connsiteX2324" fmla="*/ 124 w 10785"/>
                <a:gd name="connsiteY2324" fmla="*/ 3718 h 10000"/>
                <a:gd name="connsiteX2325" fmla="*/ 120 w 10785"/>
                <a:gd name="connsiteY2325" fmla="*/ 3735 h 10000"/>
                <a:gd name="connsiteX2326" fmla="*/ 120 w 10785"/>
                <a:gd name="connsiteY2326" fmla="*/ 3735 h 10000"/>
                <a:gd name="connsiteX2327" fmla="*/ 111 w 10785"/>
                <a:gd name="connsiteY2327" fmla="*/ 3761 h 10000"/>
                <a:gd name="connsiteX2328" fmla="*/ 106 w 10785"/>
                <a:gd name="connsiteY2328" fmla="*/ 3761 h 10000"/>
                <a:gd name="connsiteX2329" fmla="*/ 106 w 10785"/>
                <a:gd name="connsiteY2329" fmla="*/ 3761 h 10000"/>
                <a:gd name="connsiteX2330" fmla="*/ 74 w 10785"/>
                <a:gd name="connsiteY2330" fmla="*/ 3829 h 10000"/>
                <a:gd name="connsiteX2331" fmla="*/ 78 w 10785"/>
                <a:gd name="connsiteY2331" fmla="*/ 3838 h 10000"/>
                <a:gd name="connsiteX2332" fmla="*/ 88 w 10785"/>
                <a:gd name="connsiteY2332" fmla="*/ 3846 h 10000"/>
                <a:gd name="connsiteX2333" fmla="*/ 65 w 10785"/>
                <a:gd name="connsiteY2333" fmla="*/ 3923 h 10000"/>
                <a:gd name="connsiteX2334" fmla="*/ 78 w 10785"/>
                <a:gd name="connsiteY2334" fmla="*/ 4026 h 10000"/>
                <a:gd name="connsiteX2335" fmla="*/ 88 w 10785"/>
                <a:gd name="connsiteY2335" fmla="*/ 4051 h 10000"/>
                <a:gd name="connsiteX2336" fmla="*/ 92 w 10785"/>
                <a:gd name="connsiteY2336" fmla="*/ 4060 h 10000"/>
                <a:gd name="connsiteX2337" fmla="*/ 111 w 10785"/>
                <a:gd name="connsiteY2337" fmla="*/ 4060 h 10000"/>
                <a:gd name="connsiteX2338" fmla="*/ 124 w 10785"/>
                <a:gd name="connsiteY2338" fmla="*/ 4085 h 10000"/>
                <a:gd name="connsiteX2339" fmla="*/ 166 w 10785"/>
                <a:gd name="connsiteY2339" fmla="*/ 4197 h 10000"/>
                <a:gd name="connsiteX2340" fmla="*/ 166 w 10785"/>
                <a:gd name="connsiteY2340" fmla="*/ 4248 h 10000"/>
                <a:gd name="connsiteX2341" fmla="*/ 120 w 10785"/>
                <a:gd name="connsiteY2341" fmla="*/ 4462 h 10000"/>
                <a:gd name="connsiteX2342" fmla="*/ 120 w 10785"/>
                <a:gd name="connsiteY2342" fmla="*/ 4513 h 10000"/>
                <a:gd name="connsiteX2343" fmla="*/ 180 w 10785"/>
                <a:gd name="connsiteY2343" fmla="*/ 4829 h 10000"/>
                <a:gd name="connsiteX2344" fmla="*/ 161 w 10785"/>
                <a:gd name="connsiteY2344" fmla="*/ 4855 h 10000"/>
                <a:gd name="connsiteX2345" fmla="*/ 152 w 10785"/>
                <a:gd name="connsiteY2345" fmla="*/ 4940 h 10000"/>
                <a:gd name="connsiteX2346" fmla="*/ 161 w 10785"/>
                <a:gd name="connsiteY2346" fmla="*/ 4966 h 10000"/>
                <a:gd name="connsiteX2347" fmla="*/ 161 w 10785"/>
                <a:gd name="connsiteY2347" fmla="*/ 5009 h 10000"/>
                <a:gd name="connsiteX2348" fmla="*/ 152 w 10785"/>
                <a:gd name="connsiteY2348" fmla="*/ 5034 h 10000"/>
                <a:gd name="connsiteX2349" fmla="*/ 152 w 10785"/>
                <a:gd name="connsiteY2349" fmla="*/ 5077 h 10000"/>
                <a:gd name="connsiteX2350" fmla="*/ 171 w 10785"/>
                <a:gd name="connsiteY2350" fmla="*/ 5094 h 10000"/>
                <a:gd name="connsiteX2351" fmla="*/ 180 w 10785"/>
                <a:gd name="connsiteY2351" fmla="*/ 5128 h 10000"/>
                <a:gd name="connsiteX2352" fmla="*/ 180 w 10785"/>
                <a:gd name="connsiteY2352" fmla="*/ 5171 h 10000"/>
                <a:gd name="connsiteX2353" fmla="*/ 184 w 10785"/>
                <a:gd name="connsiteY2353" fmla="*/ 5205 h 10000"/>
                <a:gd name="connsiteX2354" fmla="*/ 207 w 10785"/>
                <a:gd name="connsiteY2354" fmla="*/ 5239 h 10000"/>
                <a:gd name="connsiteX2355" fmla="*/ 207 w 10785"/>
                <a:gd name="connsiteY2355" fmla="*/ 5282 h 10000"/>
                <a:gd name="connsiteX2356" fmla="*/ 180 w 10785"/>
                <a:gd name="connsiteY2356" fmla="*/ 5393 h 10000"/>
                <a:gd name="connsiteX2357" fmla="*/ 194 w 10785"/>
                <a:gd name="connsiteY2357" fmla="*/ 5427 h 10000"/>
                <a:gd name="connsiteX2358" fmla="*/ 198 w 10785"/>
                <a:gd name="connsiteY2358" fmla="*/ 5462 h 10000"/>
                <a:gd name="connsiteX2359" fmla="*/ 235 w 10785"/>
                <a:gd name="connsiteY2359" fmla="*/ 5513 h 10000"/>
                <a:gd name="connsiteX2360" fmla="*/ 240 w 10785"/>
                <a:gd name="connsiteY2360" fmla="*/ 5556 h 10000"/>
                <a:gd name="connsiteX2361" fmla="*/ 253 w 10785"/>
                <a:gd name="connsiteY2361" fmla="*/ 5590 h 10000"/>
                <a:gd name="connsiteX2362" fmla="*/ 258 w 10785"/>
                <a:gd name="connsiteY2362" fmla="*/ 5573 h 10000"/>
                <a:gd name="connsiteX2363" fmla="*/ 258 w 10785"/>
                <a:gd name="connsiteY2363" fmla="*/ 5667 h 10000"/>
                <a:gd name="connsiteX2364" fmla="*/ 14 w 10785"/>
                <a:gd name="connsiteY2364" fmla="*/ 6214 h 10000"/>
                <a:gd name="connsiteX2365" fmla="*/ 14 w 10785"/>
                <a:gd name="connsiteY2365" fmla="*/ 6214 h 10000"/>
                <a:gd name="connsiteX2366" fmla="*/ 37 w 10785"/>
                <a:gd name="connsiteY2366" fmla="*/ 6214 h 10000"/>
                <a:gd name="connsiteX2367" fmla="*/ 51 w 10785"/>
                <a:gd name="connsiteY2367" fmla="*/ 6188 h 10000"/>
                <a:gd name="connsiteX2368" fmla="*/ 78 w 10785"/>
                <a:gd name="connsiteY2368" fmla="*/ 6162 h 10000"/>
                <a:gd name="connsiteX2369" fmla="*/ 78 w 10785"/>
                <a:gd name="connsiteY2369" fmla="*/ 6188 h 10000"/>
                <a:gd name="connsiteX2370" fmla="*/ 74 w 10785"/>
                <a:gd name="connsiteY2370" fmla="*/ 6197 h 10000"/>
                <a:gd name="connsiteX2371" fmla="*/ 74 w 10785"/>
                <a:gd name="connsiteY2371" fmla="*/ 6231 h 10000"/>
                <a:gd name="connsiteX2372" fmla="*/ 74 w 10785"/>
                <a:gd name="connsiteY2372" fmla="*/ 6214 h 10000"/>
                <a:gd name="connsiteX2373" fmla="*/ 65 w 10785"/>
                <a:gd name="connsiteY2373" fmla="*/ 6214 h 10000"/>
                <a:gd name="connsiteX2374" fmla="*/ 65 w 10785"/>
                <a:gd name="connsiteY2374" fmla="*/ 6248 h 10000"/>
                <a:gd name="connsiteX2375" fmla="*/ 74 w 10785"/>
                <a:gd name="connsiteY2375" fmla="*/ 6256 h 10000"/>
                <a:gd name="connsiteX2376" fmla="*/ 78 w 10785"/>
                <a:gd name="connsiteY2376" fmla="*/ 6256 h 10000"/>
                <a:gd name="connsiteX2377" fmla="*/ 106 w 10785"/>
                <a:gd name="connsiteY2377" fmla="*/ 6308 h 10000"/>
                <a:gd name="connsiteX2378" fmla="*/ 138 w 10785"/>
                <a:gd name="connsiteY2378" fmla="*/ 6299 h 10000"/>
                <a:gd name="connsiteX2379" fmla="*/ 152 w 10785"/>
                <a:gd name="connsiteY2379" fmla="*/ 6299 h 10000"/>
                <a:gd name="connsiteX2380" fmla="*/ 166 w 10785"/>
                <a:gd name="connsiteY2380" fmla="*/ 6325 h 10000"/>
                <a:gd name="connsiteX2381" fmla="*/ 166 w 10785"/>
                <a:gd name="connsiteY2381" fmla="*/ 6333 h 10000"/>
                <a:gd name="connsiteX2382" fmla="*/ 171 w 10785"/>
                <a:gd name="connsiteY2382" fmla="*/ 6350 h 10000"/>
                <a:gd name="connsiteX2383" fmla="*/ 180 w 10785"/>
                <a:gd name="connsiteY2383" fmla="*/ 6350 h 10000"/>
                <a:gd name="connsiteX2384" fmla="*/ 180 w 10785"/>
                <a:gd name="connsiteY2384" fmla="*/ 6359 h 10000"/>
                <a:gd name="connsiteX2385" fmla="*/ 171 w 10785"/>
                <a:gd name="connsiteY2385" fmla="*/ 6368 h 10000"/>
                <a:gd name="connsiteX2386" fmla="*/ 106 w 10785"/>
                <a:gd name="connsiteY2386" fmla="*/ 6350 h 10000"/>
                <a:gd name="connsiteX2387" fmla="*/ 101 w 10785"/>
                <a:gd name="connsiteY2387" fmla="*/ 6359 h 10000"/>
                <a:gd name="connsiteX2388" fmla="*/ 101 w 10785"/>
                <a:gd name="connsiteY2388" fmla="*/ 6385 h 10000"/>
                <a:gd name="connsiteX2389" fmla="*/ 78 w 10785"/>
                <a:gd name="connsiteY2389" fmla="*/ 6393 h 10000"/>
                <a:gd name="connsiteX2390" fmla="*/ 74 w 10785"/>
                <a:gd name="connsiteY2390" fmla="*/ 6385 h 10000"/>
                <a:gd name="connsiteX2391" fmla="*/ 65 w 10785"/>
                <a:gd name="connsiteY2391" fmla="*/ 6393 h 10000"/>
                <a:gd name="connsiteX2392" fmla="*/ 60 w 10785"/>
                <a:gd name="connsiteY2392" fmla="*/ 6419 h 10000"/>
                <a:gd name="connsiteX2393" fmla="*/ 51 w 10785"/>
                <a:gd name="connsiteY2393" fmla="*/ 6419 h 10000"/>
                <a:gd name="connsiteX2394" fmla="*/ 46 w 10785"/>
                <a:gd name="connsiteY2394" fmla="*/ 6410 h 10000"/>
                <a:gd name="connsiteX2395" fmla="*/ 37 w 10785"/>
                <a:gd name="connsiteY2395" fmla="*/ 6393 h 10000"/>
                <a:gd name="connsiteX2396" fmla="*/ 32 w 10785"/>
                <a:gd name="connsiteY2396" fmla="*/ 6419 h 10000"/>
                <a:gd name="connsiteX2397" fmla="*/ 37 w 10785"/>
                <a:gd name="connsiteY2397" fmla="*/ 6462 h 10000"/>
                <a:gd name="connsiteX2398" fmla="*/ 46 w 10785"/>
                <a:gd name="connsiteY2398" fmla="*/ 6462 h 10000"/>
                <a:gd name="connsiteX2399" fmla="*/ 51 w 10785"/>
                <a:gd name="connsiteY2399" fmla="*/ 6470 h 10000"/>
                <a:gd name="connsiteX2400" fmla="*/ 51 w 10785"/>
                <a:gd name="connsiteY2400" fmla="*/ 6496 h 10000"/>
                <a:gd name="connsiteX2401" fmla="*/ 51 w 10785"/>
                <a:gd name="connsiteY2401" fmla="*/ 6504 h 10000"/>
                <a:gd name="connsiteX2402" fmla="*/ 37 w 10785"/>
                <a:gd name="connsiteY2402" fmla="*/ 6530 h 10000"/>
                <a:gd name="connsiteX2403" fmla="*/ 18 w 10785"/>
                <a:gd name="connsiteY2403" fmla="*/ 6598 h 10000"/>
                <a:gd name="connsiteX2404" fmla="*/ 28 w 10785"/>
                <a:gd name="connsiteY2404" fmla="*/ 6632 h 10000"/>
                <a:gd name="connsiteX2405" fmla="*/ 18 w 10785"/>
                <a:gd name="connsiteY2405" fmla="*/ 6667 h 10000"/>
                <a:gd name="connsiteX2406" fmla="*/ 28 w 10785"/>
                <a:gd name="connsiteY2406" fmla="*/ 6692 h 10000"/>
                <a:gd name="connsiteX2407" fmla="*/ 28 w 10785"/>
                <a:gd name="connsiteY2407" fmla="*/ 6709 h 10000"/>
                <a:gd name="connsiteX2408" fmla="*/ 18 w 10785"/>
                <a:gd name="connsiteY2408" fmla="*/ 6718 h 10000"/>
                <a:gd name="connsiteX2409" fmla="*/ 5 w 10785"/>
                <a:gd name="connsiteY2409" fmla="*/ 6744 h 10000"/>
                <a:gd name="connsiteX2410" fmla="*/ 0 w 10785"/>
                <a:gd name="connsiteY2410" fmla="*/ 6769 h 10000"/>
                <a:gd name="connsiteX2411" fmla="*/ 5 w 10785"/>
                <a:gd name="connsiteY2411" fmla="*/ 6778 h 10000"/>
                <a:gd name="connsiteX2412" fmla="*/ 32 w 10785"/>
                <a:gd name="connsiteY2412" fmla="*/ 6778 h 10000"/>
                <a:gd name="connsiteX2413" fmla="*/ 46 w 10785"/>
                <a:gd name="connsiteY2413" fmla="*/ 6821 h 10000"/>
                <a:gd name="connsiteX2414" fmla="*/ 46 w 10785"/>
                <a:gd name="connsiteY2414" fmla="*/ 6855 h 10000"/>
                <a:gd name="connsiteX2415" fmla="*/ 32 w 10785"/>
                <a:gd name="connsiteY2415" fmla="*/ 6855 h 10000"/>
                <a:gd name="connsiteX2416" fmla="*/ 14 w 10785"/>
                <a:gd name="connsiteY2416" fmla="*/ 6821 h 10000"/>
                <a:gd name="connsiteX2417" fmla="*/ 14 w 10785"/>
                <a:gd name="connsiteY2417" fmla="*/ 6846 h 10000"/>
                <a:gd name="connsiteX2418" fmla="*/ 0 w 10785"/>
                <a:gd name="connsiteY2418" fmla="*/ 6897 h 10000"/>
                <a:gd name="connsiteX2419" fmla="*/ 0 w 10785"/>
                <a:gd name="connsiteY2419" fmla="*/ 6915 h 10000"/>
                <a:gd name="connsiteX2420" fmla="*/ 5 w 10785"/>
                <a:gd name="connsiteY2420" fmla="*/ 6932 h 10000"/>
                <a:gd name="connsiteX2421" fmla="*/ 14 w 10785"/>
                <a:gd name="connsiteY2421" fmla="*/ 6940 h 10000"/>
                <a:gd name="connsiteX2422" fmla="*/ 18 w 10785"/>
                <a:gd name="connsiteY2422" fmla="*/ 6957 h 10000"/>
                <a:gd name="connsiteX2423" fmla="*/ 28 w 10785"/>
                <a:gd name="connsiteY2423" fmla="*/ 6966 h 10000"/>
                <a:gd name="connsiteX2424" fmla="*/ 28 w 10785"/>
                <a:gd name="connsiteY2424" fmla="*/ 6983 h 10000"/>
                <a:gd name="connsiteX2425" fmla="*/ 18 w 10785"/>
                <a:gd name="connsiteY2425" fmla="*/ 7051 h 10000"/>
                <a:gd name="connsiteX2426" fmla="*/ 28 w 10785"/>
                <a:gd name="connsiteY2426" fmla="*/ 7068 h 10000"/>
                <a:gd name="connsiteX2427" fmla="*/ 32 w 10785"/>
                <a:gd name="connsiteY2427" fmla="*/ 7068 h 10000"/>
                <a:gd name="connsiteX2428" fmla="*/ 32 w 10785"/>
                <a:gd name="connsiteY2428" fmla="*/ 7094 h 10000"/>
                <a:gd name="connsiteX2429" fmla="*/ 60 w 10785"/>
                <a:gd name="connsiteY2429" fmla="*/ 7162 h 10000"/>
                <a:gd name="connsiteX2430" fmla="*/ 60 w 10785"/>
                <a:gd name="connsiteY2430" fmla="*/ 7231 h 10000"/>
                <a:gd name="connsiteX2431" fmla="*/ 60 w 10785"/>
                <a:gd name="connsiteY2431" fmla="*/ 7239 h 10000"/>
                <a:gd name="connsiteX2432" fmla="*/ 78 w 10785"/>
                <a:gd name="connsiteY2432" fmla="*/ 7239 h 10000"/>
                <a:gd name="connsiteX2433" fmla="*/ 88 w 10785"/>
                <a:gd name="connsiteY2433" fmla="*/ 7239 h 10000"/>
                <a:gd name="connsiteX2434" fmla="*/ 92 w 10785"/>
                <a:gd name="connsiteY2434" fmla="*/ 7256 h 10000"/>
                <a:gd name="connsiteX2435" fmla="*/ 111 w 10785"/>
                <a:gd name="connsiteY2435" fmla="*/ 7256 h 10000"/>
                <a:gd name="connsiteX2436" fmla="*/ 120 w 10785"/>
                <a:gd name="connsiteY2436" fmla="*/ 7256 h 10000"/>
                <a:gd name="connsiteX2437" fmla="*/ 134 w 10785"/>
                <a:gd name="connsiteY2437" fmla="*/ 7282 h 10000"/>
                <a:gd name="connsiteX2438" fmla="*/ 134 w 10785"/>
                <a:gd name="connsiteY2438" fmla="*/ 7316 h 10000"/>
                <a:gd name="connsiteX2439" fmla="*/ 152 w 10785"/>
                <a:gd name="connsiteY2439" fmla="*/ 7299 h 10000"/>
                <a:gd name="connsiteX2440" fmla="*/ 161 w 10785"/>
                <a:gd name="connsiteY2440" fmla="*/ 7299 h 10000"/>
                <a:gd name="connsiteX2441" fmla="*/ 166 w 10785"/>
                <a:gd name="connsiteY2441" fmla="*/ 7291 h 10000"/>
                <a:gd name="connsiteX2442" fmla="*/ 194 w 10785"/>
                <a:gd name="connsiteY2442" fmla="*/ 7291 h 10000"/>
                <a:gd name="connsiteX2443" fmla="*/ 207 w 10785"/>
                <a:gd name="connsiteY2443" fmla="*/ 7299 h 10000"/>
                <a:gd name="connsiteX2444" fmla="*/ 221 w 10785"/>
                <a:gd name="connsiteY2444" fmla="*/ 7342 h 10000"/>
                <a:gd name="connsiteX2445" fmla="*/ 235 w 10785"/>
                <a:gd name="connsiteY2445" fmla="*/ 7342 h 10000"/>
                <a:gd name="connsiteX2446" fmla="*/ 235 w 10785"/>
                <a:gd name="connsiteY2446" fmla="*/ 7368 h 10000"/>
                <a:gd name="connsiteX2447" fmla="*/ 226 w 10785"/>
                <a:gd name="connsiteY2447" fmla="*/ 7393 h 10000"/>
                <a:gd name="connsiteX2448" fmla="*/ 226 w 10785"/>
                <a:gd name="connsiteY2448" fmla="*/ 7402 h 10000"/>
                <a:gd name="connsiteX2449" fmla="*/ 235 w 10785"/>
                <a:gd name="connsiteY2449" fmla="*/ 7419 h 10000"/>
                <a:gd name="connsiteX2450" fmla="*/ 240 w 10785"/>
                <a:gd name="connsiteY2450" fmla="*/ 7436 h 10000"/>
                <a:gd name="connsiteX2451" fmla="*/ 235 w 10785"/>
                <a:gd name="connsiteY2451" fmla="*/ 7462 h 10000"/>
                <a:gd name="connsiteX2452" fmla="*/ 226 w 10785"/>
                <a:gd name="connsiteY2452" fmla="*/ 7479 h 10000"/>
                <a:gd name="connsiteX2453" fmla="*/ 226 w 10785"/>
                <a:gd name="connsiteY2453" fmla="*/ 7504 h 10000"/>
                <a:gd name="connsiteX2454" fmla="*/ 226 w 10785"/>
                <a:gd name="connsiteY2454" fmla="*/ 7513 h 10000"/>
                <a:gd name="connsiteX2455" fmla="*/ 240 w 10785"/>
                <a:gd name="connsiteY2455" fmla="*/ 7538 h 10000"/>
                <a:gd name="connsiteX2456" fmla="*/ 267 w 10785"/>
                <a:gd name="connsiteY2456" fmla="*/ 7641 h 10000"/>
                <a:gd name="connsiteX2457" fmla="*/ 281 w 10785"/>
                <a:gd name="connsiteY2457" fmla="*/ 7667 h 10000"/>
                <a:gd name="connsiteX2458" fmla="*/ 286 w 10785"/>
                <a:gd name="connsiteY2458" fmla="*/ 7675 h 10000"/>
                <a:gd name="connsiteX2459" fmla="*/ 286 w 10785"/>
                <a:gd name="connsiteY2459" fmla="*/ 7692 h 10000"/>
                <a:gd name="connsiteX2460" fmla="*/ 286 w 10785"/>
                <a:gd name="connsiteY2460" fmla="*/ 7709 h 10000"/>
                <a:gd name="connsiteX2461" fmla="*/ 295 w 10785"/>
                <a:gd name="connsiteY2461" fmla="*/ 7726 h 10000"/>
                <a:gd name="connsiteX2462" fmla="*/ 318 w 10785"/>
                <a:gd name="connsiteY2462" fmla="*/ 7709 h 10000"/>
                <a:gd name="connsiteX2463" fmla="*/ 327 w 10785"/>
                <a:gd name="connsiteY2463" fmla="*/ 7726 h 10000"/>
                <a:gd name="connsiteX2464" fmla="*/ 341 w 10785"/>
                <a:gd name="connsiteY2464" fmla="*/ 7735 h 10000"/>
                <a:gd name="connsiteX2465" fmla="*/ 332 w 10785"/>
                <a:gd name="connsiteY2465" fmla="*/ 7752 h 10000"/>
                <a:gd name="connsiteX2466" fmla="*/ 341 w 10785"/>
                <a:gd name="connsiteY2466" fmla="*/ 7761 h 10000"/>
                <a:gd name="connsiteX2467" fmla="*/ 355 w 10785"/>
                <a:gd name="connsiteY2467" fmla="*/ 7761 h 10000"/>
                <a:gd name="connsiteX2468" fmla="*/ 355 w 10785"/>
                <a:gd name="connsiteY2468" fmla="*/ 7803 h 10000"/>
                <a:gd name="connsiteX2469" fmla="*/ 313 w 10785"/>
                <a:gd name="connsiteY2469" fmla="*/ 7846 h 10000"/>
                <a:gd name="connsiteX2470" fmla="*/ 295 w 10785"/>
                <a:gd name="connsiteY2470" fmla="*/ 7846 h 10000"/>
                <a:gd name="connsiteX2471" fmla="*/ 281 w 10785"/>
                <a:gd name="connsiteY2471" fmla="*/ 7821 h 10000"/>
                <a:gd name="connsiteX2472" fmla="*/ 272 w 10785"/>
                <a:gd name="connsiteY2472" fmla="*/ 7821 h 10000"/>
                <a:gd name="connsiteX2473" fmla="*/ 267 w 10785"/>
                <a:gd name="connsiteY2473" fmla="*/ 7838 h 10000"/>
                <a:gd name="connsiteX2474" fmla="*/ 258 w 10785"/>
                <a:gd name="connsiteY2474" fmla="*/ 7846 h 10000"/>
                <a:gd name="connsiteX2475" fmla="*/ 253 w 10785"/>
                <a:gd name="connsiteY2475" fmla="*/ 7863 h 10000"/>
                <a:gd name="connsiteX2476" fmla="*/ 253 w 10785"/>
                <a:gd name="connsiteY2476" fmla="*/ 7872 h 10000"/>
                <a:gd name="connsiteX2477" fmla="*/ 267 w 10785"/>
                <a:gd name="connsiteY2477" fmla="*/ 7897 h 10000"/>
                <a:gd name="connsiteX2478" fmla="*/ 272 w 10785"/>
                <a:gd name="connsiteY2478" fmla="*/ 7915 h 10000"/>
                <a:gd name="connsiteX2479" fmla="*/ 267 w 10785"/>
                <a:gd name="connsiteY2479" fmla="*/ 7940 h 10000"/>
                <a:gd name="connsiteX2480" fmla="*/ 272 w 10785"/>
                <a:gd name="connsiteY2480" fmla="*/ 7949 h 10000"/>
                <a:gd name="connsiteX2481" fmla="*/ 272 w 10785"/>
                <a:gd name="connsiteY2481" fmla="*/ 7957 h 10000"/>
                <a:gd name="connsiteX2482" fmla="*/ 281 w 10785"/>
                <a:gd name="connsiteY2482" fmla="*/ 7974 h 10000"/>
                <a:gd name="connsiteX2483" fmla="*/ 286 w 10785"/>
                <a:gd name="connsiteY2483" fmla="*/ 7983 h 10000"/>
                <a:gd name="connsiteX2484" fmla="*/ 281 w 10785"/>
                <a:gd name="connsiteY2484" fmla="*/ 8009 h 10000"/>
                <a:gd name="connsiteX2485" fmla="*/ 286 w 10785"/>
                <a:gd name="connsiteY2485" fmla="*/ 8060 h 10000"/>
                <a:gd name="connsiteX2486" fmla="*/ 286 w 10785"/>
                <a:gd name="connsiteY2486" fmla="*/ 8060 h 10000"/>
                <a:gd name="connsiteX2487" fmla="*/ 295 w 10785"/>
                <a:gd name="connsiteY2487" fmla="*/ 8077 h 10000"/>
                <a:gd name="connsiteX2488" fmla="*/ 309 w 10785"/>
                <a:gd name="connsiteY2488" fmla="*/ 8077 h 10000"/>
                <a:gd name="connsiteX2489" fmla="*/ 313 w 10785"/>
                <a:gd name="connsiteY2489" fmla="*/ 8060 h 10000"/>
                <a:gd name="connsiteX2490" fmla="*/ 318 w 10785"/>
                <a:gd name="connsiteY2490" fmla="*/ 8051 h 10000"/>
                <a:gd name="connsiteX2491" fmla="*/ 318 w 10785"/>
                <a:gd name="connsiteY2491" fmla="*/ 8034 h 10000"/>
                <a:gd name="connsiteX2492" fmla="*/ 332 w 10785"/>
                <a:gd name="connsiteY2492" fmla="*/ 8026 h 10000"/>
                <a:gd name="connsiteX2493" fmla="*/ 359 w 10785"/>
                <a:gd name="connsiteY2493" fmla="*/ 8034 h 10000"/>
                <a:gd name="connsiteX2494" fmla="*/ 378 w 10785"/>
                <a:gd name="connsiteY2494" fmla="*/ 8026 h 10000"/>
                <a:gd name="connsiteX2495" fmla="*/ 401 w 10785"/>
                <a:gd name="connsiteY2495" fmla="*/ 8026 h 10000"/>
                <a:gd name="connsiteX2496" fmla="*/ 419 w 10785"/>
                <a:gd name="connsiteY2496" fmla="*/ 8009 h 10000"/>
                <a:gd name="connsiteX2497" fmla="*/ 433 w 10785"/>
                <a:gd name="connsiteY2497" fmla="*/ 8034 h 10000"/>
                <a:gd name="connsiteX2498" fmla="*/ 442 w 10785"/>
                <a:gd name="connsiteY2498" fmla="*/ 8060 h 10000"/>
                <a:gd name="connsiteX2499" fmla="*/ 442 w 10785"/>
                <a:gd name="connsiteY2499" fmla="*/ 8077 h 10000"/>
                <a:gd name="connsiteX2500" fmla="*/ 461 w 10785"/>
                <a:gd name="connsiteY2500" fmla="*/ 8111 h 10000"/>
                <a:gd name="connsiteX2501" fmla="*/ 461 w 10785"/>
                <a:gd name="connsiteY2501" fmla="*/ 8137 h 10000"/>
                <a:gd name="connsiteX2502" fmla="*/ 447 w 10785"/>
                <a:gd name="connsiteY2502" fmla="*/ 8145 h 10000"/>
                <a:gd name="connsiteX2503" fmla="*/ 442 w 10785"/>
                <a:gd name="connsiteY2503" fmla="*/ 8145 h 10000"/>
                <a:gd name="connsiteX2504" fmla="*/ 442 w 10785"/>
                <a:gd name="connsiteY2504" fmla="*/ 8162 h 10000"/>
                <a:gd name="connsiteX2505" fmla="*/ 442 w 10785"/>
                <a:gd name="connsiteY2505" fmla="*/ 8171 h 10000"/>
                <a:gd name="connsiteX2506" fmla="*/ 447 w 10785"/>
                <a:gd name="connsiteY2506" fmla="*/ 8214 h 10000"/>
                <a:gd name="connsiteX2507" fmla="*/ 465 w 10785"/>
                <a:gd name="connsiteY2507" fmla="*/ 8231 h 10000"/>
                <a:gd name="connsiteX2508" fmla="*/ 488 w 10785"/>
                <a:gd name="connsiteY2508" fmla="*/ 8231 h 10000"/>
                <a:gd name="connsiteX2509" fmla="*/ 493 w 10785"/>
                <a:gd name="connsiteY2509" fmla="*/ 8231 h 10000"/>
                <a:gd name="connsiteX2510" fmla="*/ 502 w 10785"/>
                <a:gd name="connsiteY2510" fmla="*/ 8231 h 10000"/>
                <a:gd name="connsiteX2511" fmla="*/ 507 w 10785"/>
                <a:gd name="connsiteY2511" fmla="*/ 8248 h 10000"/>
                <a:gd name="connsiteX2512" fmla="*/ 521 w 10785"/>
                <a:gd name="connsiteY2512" fmla="*/ 8274 h 10000"/>
                <a:gd name="connsiteX2513" fmla="*/ 525 w 10785"/>
                <a:gd name="connsiteY2513" fmla="*/ 8333 h 10000"/>
                <a:gd name="connsiteX2514" fmla="*/ 525 w 10785"/>
                <a:gd name="connsiteY2514" fmla="*/ 8359 h 10000"/>
                <a:gd name="connsiteX2515" fmla="*/ 525 w 10785"/>
                <a:gd name="connsiteY2515" fmla="*/ 8368 h 10000"/>
                <a:gd name="connsiteX2516" fmla="*/ 548 w 10785"/>
                <a:gd name="connsiteY2516" fmla="*/ 8393 h 10000"/>
                <a:gd name="connsiteX2517" fmla="*/ 553 w 10785"/>
                <a:gd name="connsiteY2517" fmla="*/ 8385 h 10000"/>
                <a:gd name="connsiteX2518" fmla="*/ 562 w 10785"/>
                <a:gd name="connsiteY2518" fmla="*/ 8385 h 10000"/>
                <a:gd name="connsiteX2519" fmla="*/ 576 w 10785"/>
                <a:gd name="connsiteY2519" fmla="*/ 8385 h 10000"/>
                <a:gd name="connsiteX2520" fmla="*/ 585 w 10785"/>
                <a:gd name="connsiteY2520" fmla="*/ 8410 h 10000"/>
                <a:gd name="connsiteX2521" fmla="*/ 594 w 10785"/>
                <a:gd name="connsiteY2521" fmla="*/ 8410 h 10000"/>
                <a:gd name="connsiteX2522" fmla="*/ 608 w 10785"/>
                <a:gd name="connsiteY2522" fmla="*/ 8410 h 10000"/>
                <a:gd name="connsiteX2523" fmla="*/ 654 w 10785"/>
                <a:gd name="connsiteY2523" fmla="*/ 8385 h 10000"/>
                <a:gd name="connsiteX2524" fmla="*/ 659 w 10785"/>
                <a:gd name="connsiteY2524" fmla="*/ 8385 h 10000"/>
                <a:gd name="connsiteX2525" fmla="*/ 696 w 10785"/>
                <a:gd name="connsiteY2525" fmla="*/ 8470 h 10000"/>
                <a:gd name="connsiteX2526" fmla="*/ 700 w 10785"/>
                <a:gd name="connsiteY2526" fmla="*/ 8470 h 10000"/>
                <a:gd name="connsiteX2527" fmla="*/ 710 w 10785"/>
                <a:gd name="connsiteY2527" fmla="*/ 8462 h 10000"/>
                <a:gd name="connsiteX2528" fmla="*/ 714 w 10785"/>
                <a:gd name="connsiteY2528" fmla="*/ 8462 h 10000"/>
                <a:gd name="connsiteX2529" fmla="*/ 724 w 10785"/>
                <a:gd name="connsiteY2529" fmla="*/ 8470 h 10000"/>
                <a:gd name="connsiteX2530" fmla="*/ 733 w 10785"/>
                <a:gd name="connsiteY2530" fmla="*/ 8470 h 10000"/>
                <a:gd name="connsiteX2531" fmla="*/ 742 w 10785"/>
                <a:gd name="connsiteY2531" fmla="*/ 8487 h 10000"/>
                <a:gd name="connsiteX2532" fmla="*/ 747 w 10785"/>
                <a:gd name="connsiteY2532" fmla="*/ 8496 h 10000"/>
                <a:gd name="connsiteX2533" fmla="*/ 770 w 10785"/>
                <a:gd name="connsiteY2533" fmla="*/ 8496 h 10000"/>
                <a:gd name="connsiteX2534" fmla="*/ 783 w 10785"/>
                <a:gd name="connsiteY2534" fmla="*/ 8521 h 10000"/>
                <a:gd name="connsiteX2535" fmla="*/ 797 w 10785"/>
                <a:gd name="connsiteY2535" fmla="*/ 8521 h 10000"/>
                <a:gd name="connsiteX2536" fmla="*/ 806 w 10785"/>
                <a:gd name="connsiteY2536" fmla="*/ 8530 h 10000"/>
                <a:gd name="connsiteX2537" fmla="*/ 829 w 10785"/>
                <a:gd name="connsiteY2537" fmla="*/ 8547 h 10000"/>
                <a:gd name="connsiteX2538" fmla="*/ 834 w 10785"/>
                <a:gd name="connsiteY2538" fmla="*/ 8556 h 10000"/>
                <a:gd name="connsiteX2539" fmla="*/ 829 w 10785"/>
                <a:gd name="connsiteY2539" fmla="*/ 8556 h 10000"/>
                <a:gd name="connsiteX2540" fmla="*/ 834 w 10785"/>
                <a:gd name="connsiteY2540" fmla="*/ 8607 h 10000"/>
                <a:gd name="connsiteX2541" fmla="*/ 829 w 10785"/>
                <a:gd name="connsiteY2541" fmla="*/ 8641 h 10000"/>
                <a:gd name="connsiteX2542" fmla="*/ 806 w 10785"/>
                <a:gd name="connsiteY2542" fmla="*/ 8658 h 10000"/>
                <a:gd name="connsiteX2543" fmla="*/ 816 w 10785"/>
                <a:gd name="connsiteY2543" fmla="*/ 8667 h 10000"/>
                <a:gd name="connsiteX2544" fmla="*/ 820 w 10785"/>
                <a:gd name="connsiteY2544" fmla="*/ 8667 h 10000"/>
                <a:gd name="connsiteX2545" fmla="*/ 829 w 10785"/>
                <a:gd name="connsiteY2545" fmla="*/ 8684 h 10000"/>
                <a:gd name="connsiteX2546" fmla="*/ 806 w 10785"/>
                <a:gd name="connsiteY2546" fmla="*/ 8692 h 10000"/>
                <a:gd name="connsiteX2547" fmla="*/ 802 w 10785"/>
                <a:gd name="connsiteY2547" fmla="*/ 8709 h 10000"/>
                <a:gd name="connsiteX2548" fmla="*/ 802 w 10785"/>
                <a:gd name="connsiteY2548" fmla="*/ 8735 h 10000"/>
                <a:gd name="connsiteX2549" fmla="*/ 806 w 10785"/>
                <a:gd name="connsiteY2549" fmla="*/ 8744 h 10000"/>
                <a:gd name="connsiteX2550" fmla="*/ 816 w 10785"/>
                <a:gd name="connsiteY2550" fmla="*/ 8752 h 10000"/>
                <a:gd name="connsiteX2551" fmla="*/ 806 w 10785"/>
                <a:gd name="connsiteY2551" fmla="*/ 8778 h 10000"/>
                <a:gd name="connsiteX2552" fmla="*/ 820 w 10785"/>
                <a:gd name="connsiteY2552" fmla="*/ 8778 h 10000"/>
                <a:gd name="connsiteX2553" fmla="*/ 806 w 10785"/>
                <a:gd name="connsiteY2553" fmla="*/ 8880 h 10000"/>
                <a:gd name="connsiteX2554" fmla="*/ 797 w 10785"/>
                <a:gd name="connsiteY2554" fmla="*/ 8880 h 10000"/>
                <a:gd name="connsiteX2555" fmla="*/ 783 w 10785"/>
                <a:gd name="connsiteY2555" fmla="*/ 8872 h 10000"/>
                <a:gd name="connsiteX2556" fmla="*/ 770 w 10785"/>
                <a:gd name="connsiteY2556" fmla="*/ 8880 h 10000"/>
                <a:gd name="connsiteX2557" fmla="*/ 756 w 10785"/>
                <a:gd name="connsiteY2557" fmla="*/ 8855 h 10000"/>
                <a:gd name="connsiteX2558" fmla="*/ 733 w 10785"/>
                <a:gd name="connsiteY2558" fmla="*/ 8906 h 10000"/>
                <a:gd name="connsiteX2559" fmla="*/ 714 w 10785"/>
                <a:gd name="connsiteY2559" fmla="*/ 8915 h 10000"/>
                <a:gd name="connsiteX2560" fmla="*/ 710 w 10785"/>
                <a:gd name="connsiteY2560" fmla="*/ 8940 h 10000"/>
                <a:gd name="connsiteX2561" fmla="*/ 710 w 10785"/>
                <a:gd name="connsiteY2561" fmla="*/ 9009 h 10000"/>
                <a:gd name="connsiteX2562" fmla="*/ 728 w 10785"/>
                <a:gd name="connsiteY2562" fmla="*/ 8991 h 10000"/>
                <a:gd name="connsiteX2563" fmla="*/ 733 w 10785"/>
                <a:gd name="connsiteY2563" fmla="*/ 8991 h 10000"/>
                <a:gd name="connsiteX2564" fmla="*/ 747 w 10785"/>
                <a:gd name="connsiteY2564" fmla="*/ 8983 h 10000"/>
                <a:gd name="connsiteX2565" fmla="*/ 760 w 10785"/>
                <a:gd name="connsiteY2565" fmla="*/ 8983 h 10000"/>
                <a:gd name="connsiteX2566" fmla="*/ 770 w 10785"/>
                <a:gd name="connsiteY2566" fmla="*/ 8983 h 10000"/>
                <a:gd name="connsiteX2567" fmla="*/ 770 w 10785"/>
                <a:gd name="connsiteY2567" fmla="*/ 8991 h 10000"/>
                <a:gd name="connsiteX2568" fmla="*/ 783 w 10785"/>
                <a:gd name="connsiteY2568" fmla="*/ 8991 h 10000"/>
                <a:gd name="connsiteX2569" fmla="*/ 783 w 10785"/>
                <a:gd name="connsiteY2569" fmla="*/ 9009 h 10000"/>
                <a:gd name="connsiteX2570" fmla="*/ 783 w 10785"/>
                <a:gd name="connsiteY2570" fmla="*/ 9017 h 10000"/>
                <a:gd name="connsiteX2571" fmla="*/ 770 w 10785"/>
                <a:gd name="connsiteY2571" fmla="*/ 9017 h 10000"/>
                <a:gd name="connsiteX2572" fmla="*/ 724 w 10785"/>
                <a:gd name="connsiteY2572" fmla="*/ 9051 h 10000"/>
                <a:gd name="connsiteX2573" fmla="*/ 724 w 10785"/>
                <a:gd name="connsiteY2573" fmla="*/ 9068 h 10000"/>
                <a:gd name="connsiteX2574" fmla="*/ 728 w 10785"/>
                <a:gd name="connsiteY2574" fmla="*/ 9077 h 10000"/>
                <a:gd name="connsiteX2575" fmla="*/ 724 w 10785"/>
                <a:gd name="connsiteY2575" fmla="*/ 9077 h 10000"/>
                <a:gd name="connsiteX2576" fmla="*/ 710 w 10785"/>
                <a:gd name="connsiteY2576" fmla="*/ 9077 h 10000"/>
                <a:gd name="connsiteX2577" fmla="*/ 682 w 10785"/>
                <a:gd name="connsiteY2577" fmla="*/ 9077 h 10000"/>
                <a:gd name="connsiteX2578" fmla="*/ 673 w 10785"/>
                <a:gd name="connsiteY2578" fmla="*/ 9103 h 10000"/>
                <a:gd name="connsiteX2579" fmla="*/ 687 w 10785"/>
                <a:gd name="connsiteY2579" fmla="*/ 9128 h 10000"/>
                <a:gd name="connsiteX2580" fmla="*/ 700 w 10785"/>
                <a:gd name="connsiteY2580" fmla="*/ 9128 h 10000"/>
                <a:gd name="connsiteX2581" fmla="*/ 728 w 10785"/>
                <a:gd name="connsiteY2581" fmla="*/ 9179 h 10000"/>
                <a:gd name="connsiteX2582" fmla="*/ 724 w 10785"/>
                <a:gd name="connsiteY2582" fmla="*/ 9188 h 10000"/>
                <a:gd name="connsiteX2583" fmla="*/ 710 w 10785"/>
                <a:gd name="connsiteY2583" fmla="*/ 9179 h 10000"/>
                <a:gd name="connsiteX2584" fmla="*/ 700 w 10785"/>
                <a:gd name="connsiteY2584" fmla="*/ 9205 h 10000"/>
                <a:gd name="connsiteX2585" fmla="*/ 696 w 10785"/>
                <a:gd name="connsiteY2585" fmla="*/ 9205 h 10000"/>
                <a:gd name="connsiteX2586" fmla="*/ 654 w 10785"/>
                <a:gd name="connsiteY2586" fmla="*/ 9299 h 10000"/>
                <a:gd name="connsiteX2587" fmla="*/ 622 w 10785"/>
                <a:gd name="connsiteY2587" fmla="*/ 9299 h 10000"/>
                <a:gd name="connsiteX2588" fmla="*/ 613 w 10785"/>
                <a:gd name="connsiteY2588" fmla="*/ 9316 h 10000"/>
                <a:gd name="connsiteX2589" fmla="*/ 613 w 10785"/>
                <a:gd name="connsiteY2589" fmla="*/ 9325 h 10000"/>
                <a:gd name="connsiteX2590" fmla="*/ 608 w 10785"/>
                <a:gd name="connsiteY2590" fmla="*/ 9342 h 10000"/>
                <a:gd name="connsiteX2591" fmla="*/ 636 w 10785"/>
                <a:gd name="connsiteY2591" fmla="*/ 9376 h 10000"/>
                <a:gd name="connsiteX2592" fmla="*/ 641 w 10785"/>
                <a:gd name="connsiteY2592" fmla="*/ 9402 h 10000"/>
                <a:gd name="connsiteX2593" fmla="*/ 654 w 10785"/>
                <a:gd name="connsiteY2593" fmla="*/ 9427 h 10000"/>
                <a:gd name="connsiteX2594" fmla="*/ 668 w 10785"/>
                <a:gd name="connsiteY2594" fmla="*/ 9427 h 10000"/>
                <a:gd name="connsiteX2595" fmla="*/ 668 w 10785"/>
                <a:gd name="connsiteY2595" fmla="*/ 9427 h 10000"/>
                <a:gd name="connsiteX2596" fmla="*/ 774 w 10785"/>
                <a:gd name="connsiteY2596" fmla="*/ 9547 h 10000"/>
                <a:gd name="connsiteX2597" fmla="*/ 797 w 10785"/>
                <a:gd name="connsiteY2597" fmla="*/ 9598 h 10000"/>
                <a:gd name="connsiteX2598" fmla="*/ 802 w 10785"/>
                <a:gd name="connsiteY2598" fmla="*/ 9598 h 10000"/>
                <a:gd name="connsiteX2599" fmla="*/ 816 w 10785"/>
                <a:gd name="connsiteY2599" fmla="*/ 9624 h 10000"/>
                <a:gd name="connsiteX2600" fmla="*/ 843 w 10785"/>
                <a:gd name="connsiteY2600" fmla="*/ 9615 h 10000"/>
                <a:gd name="connsiteX2601" fmla="*/ 857 w 10785"/>
                <a:gd name="connsiteY2601" fmla="*/ 9624 h 10000"/>
                <a:gd name="connsiteX2602" fmla="*/ 862 w 10785"/>
                <a:gd name="connsiteY2602" fmla="*/ 9615 h 10000"/>
                <a:gd name="connsiteX2603" fmla="*/ 880 w 10785"/>
                <a:gd name="connsiteY2603" fmla="*/ 9624 h 10000"/>
                <a:gd name="connsiteX2604" fmla="*/ 889 w 10785"/>
                <a:gd name="connsiteY2604" fmla="*/ 9641 h 10000"/>
                <a:gd name="connsiteX2605" fmla="*/ 935 w 10785"/>
                <a:gd name="connsiteY2605" fmla="*/ 9675 h 10000"/>
                <a:gd name="connsiteX2606" fmla="*/ 977 w 10785"/>
                <a:gd name="connsiteY2606" fmla="*/ 9667 h 10000"/>
                <a:gd name="connsiteX2607" fmla="*/ 995 w 10785"/>
                <a:gd name="connsiteY2607" fmla="*/ 9675 h 10000"/>
                <a:gd name="connsiteX2608" fmla="*/ 1014 w 10785"/>
                <a:gd name="connsiteY2608" fmla="*/ 9675 h 10000"/>
                <a:gd name="connsiteX2609" fmla="*/ 1069 w 10785"/>
                <a:gd name="connsiteY2609" fmla="*/ 9752 h 10000"/>
                <a:gd name="connsiteX2610" fmla="*/ 1074 w 10785"/>
                <a:gd name="connsiteY2610" fmla="*/ 9761 h 10000"/>
                <a:gd name="connsiteX2611" fmla="*/ 1083 w 10785"/>
                <a:gd name="connsiteY2611" fmla="*/ 9778 h 10000"/>
                <a:gd name="connsiteX2612" fmla="*/ 1115 w 10785"/>
                <a:gd name="connsiteY2612" fmla="*/ 9752 h 10000"/>
                <a:gd name="connsiteX2613" fmla="*/ 1129 w 10785"/>
                <a:gd name="connsiteY2613" fmla="*/ 9752 h 10000"/>
                <a:gd name="connsiteX2614" fmla="*/ 1138 w 10785"/>
                <a:gd name="connsiteY2614" fmla="*/ 9761 h 10000"/>
                <a:gd name="connsiteX2615" fmla="*/ 1143 w 10785"/>
                <a:gd name="connsiteY2615" fmla="*/ 9752 h 10000"/>
                <a:gd name="connsiteX2616" fmla="*/ 1161 w 10785"/>
                <a:gd name="connsiteY2616" fmla="*/ 9761 h 10000"/>
                <a:gd name="connsiteX2617" fmla="*/ 1171 w 10785"/>
                <a:gd name="connsiteY2617" fmla="*/ 9778 h 10000"/>
                <a:gd name="connsiteX2618" fmla="*/ 1175 w 10785"/>
                <a:gd name="connsiteY2618" fmla="*/ 9778 h 10000"/>
                <a:gd name="connsiteX2619" fmla="*/ 1189 w 10785"/>
                <a:gd name="connsiteY2619" fmla="*/ 9778 h 10000"/>
                <a:gd name="connsiteX2620" fmla="*/ 1198 w 10785"/>
                <a:gd name="connsiteY2620" fmla="*/ 9786 h 10000"/>
                <a:gd name="connsiteX2621" fmla="*/ 1203 w 10785"/>
                <a:gd name="connsiteY2621" fmla="*/ 9803 h 10000"/>
                <a:gd name="connsiteX2622" fmla="*/ 1198 w 10785"/>
                <a:gd name="connsiteY2622" fmla="*/ 9838 h 10000"/>
                <a:gd name="connsiteX2623" fmla="*/ 1212 w 10785"/>
                <a:gd name="connsiteY2623" fmla="*/ 9863 h 10000"/>
                <a:gd name="connsiteX2624" fmla="*/ 1230 w 10785"/>
                <a:gd name="connsiteY2624" fmla="*/ 9872 h 10000"/>
                <a:gd name="connsiteX2625" fmla="*/ 1249 w 10785"/>
                <a:gd name="connsiteY2625" fmla="*/ 9897 h 10000"/>
                <a:gd name="connsiteX2626" fmla="*/ 1263 w 10785"/>
                <a:gd name="connsiteY2626" fmla="*/ 9897 h 10000"/>
                <a:gd name="connsiteX2627" fmla="*/ 1276 w 10785"/>
                <a:gd name="connsiteY2627" fmla="*/ 9923 h 10000"/>
                <a:gd name="connsiteX2628" fmla="*/ 1281 w 10785"/>
                <a:gd name="connsiteY2628" fmla="*/ 9949 h 10000"/>
                <a:gd name="connsiteX2629" fmla="*/ 1290 w 10785"/>
                <a:gd name="connsiteY2629" fmla="*/ 9949 h 10000"/>
                <a:gd name="connsiteX2630" fmla="*/ 1295 w 10785"/>
                <a:gd name="connsiteY2630" fmla="*/ 10000 h 10000"/>
                <a:gd name="connsiteX2631" fmla="*/ 1332 w 10785"/>
                <a:gd name="connsiteY2631" fmla="*/ 10000 h 10000"/>
                <a:gd name="connsiteX2632" fmla="*/ 1336 w 10785"/>
                <a:gd name="connsiteY2632" fmla="*/ 10000 h 10000"/>
                <a:gd name="connsiteX2633" fmla="*/ 1346 w 10785"/>
                <a:gd name="connsiteY2633" fmla="*/ 9983 h 10000"/>
                <a:gd name="connsiteX2634" fmla="*/ 1350 w 10785"/>
                <a:gd name="connsiteY2634" fmla="*/ 9949 h 10000"/>
                <a:gd name="connsiteX2635" fmla="*/ 1369 w 10785"/>
                <a:gd name="connsiteY2635" fmla="*/ 9940 h 10000"/>
                <a:gd name="connsiteX2636" fmla="*/ 1378 w 10785"/>
                <a:gd name="connsiteY2636" fmla="*/ 9897 h 10000"/>
                <a:gd name="connsiteX2637" fmla="*/ 1369 w 10785"/>
                <a:gd name="connsiteY2637" fmla="*/ 9889 h 10000"/>
                <a:gd name="connsiteX2638" fmla="*/ 1318 w 10785"/>
                <a:gd name="connsiteY2638" fmla="*/ 9701 h 10000"/>
                <a:gd name="connsiteX2639" fmla="*/ 1318 w 10785"/>
                <a:gd name="connsiteY2639" fmla="*/ 9650 h 10000"/>
                <a:gd name="connsiteX2640" fmla="*/ 1323 w 10785"/>
                <a:gd name="connsiteY2640" fmla="*/ 9590 h 10000"/>
                <a:gd name="connsiteX2641" fmla="*/ 1323 w 10785"/>
                <a:gd name="connsiteY2641" fmla="*/ 9564 h 10000"/>
                <a:gd name="connsiteX2642" fmla="*/ 1309 w 10785"/>
                <a:gd name="connsiteY2642" fmla="*/ 9598 h 10000"/>
                <a:gd name="connsiteX2643" fmla="*/ 1309 w 10785"/>
                <a:gd name="connsiteY2643" fmla="*/ 9590 h 10000"/>
                <a:gd name="connsiteX2644" fmla="*/ 1304 w 10785"/>
                <a:gd name="connsiteY2644" fmla="*/ 9547 h 10000"/>
                <a:gd name="connsiteX2645" fmla="*/ 1276 w 10785"/>
                <a:gd name="connsiteY2645" fmla="*/ 9479 h 10000"/>
                <a:gd name="connsiteX2646" fmla="*/ 1263 w 10785"/>
                <a:gd name="connsiteY2646" fmla="*/ 9479 h 10000"/>
                <a:gd name="connsiteX2647" fmla="*/ 1263 w 10785"/>
                <a:gd name="connsiteY2647" fmla="*/ 9453 h 10000"/>
                <a:gd name="connsiteX2648" fmla="*/ 1272 w 10785"/>
                <a:gd name="connsiteY2648" fmla="*/ 9410 h 10000"/>
                <a:gd name="connsiteX2649" fmla="*/ 1272 w 10785"/>
                <a:gd name="connsiteY2649" fmla="*/ 9393 h 10000"/>
                <a:gd name="connsiteX2650" fmla="*/ 1281 w 10785"/>
                <a:gd name="connsiteY2650" fmla="*/ 9368 h 10000"/>
                <a:gd name="connsiteX2651" fmla="*/ 1281 w 10785"/>
                <a:gd name="connsiteY2651" fmla="*/ 9368 h 10000"/>
                <a:gd name="connsiteX2652" fmla="*/ 1290 w 10785"/>
                <a:gd name="connsiteY2652" fmla="*/ 9368 h 10000"/>
                <a:gd name="connsiteX2653" fmla="*/ 1290 w 10785"/>
                <a:gd name="connsiteY2653" fmla="*/ 9342 h 10000"/>
                <a:gd name="connsiteX2654" fmla="*/ 1304 w 10785"/>
                <a:gd name="connsiteY2654" fmla="*/ 9325 h 10000"/>
                <a:gd name="connsiteX2655" fmla="*/ 1309 w 10785"/>
                <a:gd name="connsiteY2655" fmla="*/ 9239 h 10000"/>
                <a:gd name="connsiteX2656" fmla="*/ 1318 w 10785"/>
                <a:gd name="connsiteY2656" fmla="*/ 9256 h 10000"/>
                <a:gd name="connsiteX2657" fmla="*/ 1323 w 10785"/>
                <a:gd name="connsiteY2657" fmla="*/ 9179 h 10000"/>
                <a:gd name="connsiteX2658" fmla="*/ 1309 w 10785"/>
                <a:gd name="connsiteY2658" fmla="*/ 9145 h 10000"/>
                <a:gd name="connsiteX2659" fmla="*/ 1336 w 10785"/>
                <a:gd name="connsiteY2659" fmla="*/ 9154 h 10000"/>
                <a:gd name="connsiteX2660" fmla="*/ 1336 w 10785"/>
                <a:gd name="connsiteY2660" fmla="*/ 9162 h 10000"/>
                <a:gd name="connsiteX2661" fmla="*/ 1350 w 10785"/>
                <a:gd name="connsiteY2661" fmla="*/ 9231 h 10000"/>
                <a:gd name="connsiteX2662" fmla="*/ 1355 w 10785"/>
                <a:gd name="connsiteY2662" fmla="*/ 9231 h 10000"/>
                <a:gd name="connsiteX2663" fmla="*/ 1364 w 10785"/>
                <a:gd name="connsiteY2663" fmla="*/ 9214 h 10000"/>
                <a:gd name="connsiteX2664" fmla="*/ 1369 w 10785"/>
                <a:gd name="connsiteY2664" fmla="*/ 9214 h 10000"/>
                <a:gd name="connsiteX2665" fmla="*/ 1382 w 10785"/>
                <a:gd name="connsiteY2665" fmla="*/ 9154 h 10000"/>
                <a:gd name="connsiteX2666" fmla="*/ 1396 w 10785"/>
                <a:gd name="connsiteY2666" fmla="*/ 9154 h 10000"/>
                <a:gd name="connsiteX2667" fmla="*/ 1382 w 10785"/>
                <a:gd name="connsiteY2667" fmla="*/ 9145 h 10000"/>
                <a:gd name="connsiteX2668" fmla="*/ 1382 w 10785"/>
                <a:gd name="connsiteY2668" fmla="*/ 9128 h 10000"/>
                <a:gd name="connsiteX2669" fmla="*/ 1369 w 10785"/>
                <a:gd name="connsiteY2669" fmla="*/ 9128 h 10000"/>
                <a:gd name="connsiteX2670" fmla="*/ 1364 w 10785"/>
                <a:gd name="connsiteY2670" fmla="*/ 9128 h 10000"/>
                <a:gd name="connsiteX2671" fmla="*/ 1355 w 10785"/>
                <a:gd name="connsiteY2671" fmla="*/ 9120 h 10000"/>
                <a:gd name="connsiteX2672" fmla="*/ 1350 w 10785"/>
                <a:gd name="connsiteY2672" fmla="*/ 9103 h 10000"/>
                <a:gd name="connsiteX2673" fmla="*/ 1355 w 10785"/>
                <a:gd name="connsiteY2673" fmla="*/ 9094 h 10000"/>
                <a:gd name="connsiteX2674" fmla="*/ 1355 w 10785"/>
                <a:gd name="connsiteY2674" fmla="*/ 9068 h 10000"/>
                <a:gd name="connsiteX2675" fmla="*/ 1369 w 10785"/>
                <a:gd name="connsiteY2675" fmla="*/ 9068 h 10000"/>
                <a:gd name="connsiteX2676" fmla="*/ 1378 w 10785"/>
                <a:gd name="connsiteY2676" fmla="*/ 9077 h 10000"/>
                <a:gd name="connsiteX2677" fmla="*/ 1396 w 10785"/>
                <a:gd name="connsiteY2677" fmla="*/ 9068 h 10000"/>
                <a:gd name="connsiteX2678" fmla="*/ 1382 w 10785"/>
                <a:gd name="connsiteY2678" fmla="*/ 8940 h 10000"/>
                <a:gd name="connsiteX2679" fmla="*/ 1378 w 10785"/>
                <a:gd name="connsiteY2679" fmla="*/ 8940 h 10000"/>
                <a:gd name="connsiteX2680" fmla="*/ 1364 w 10785"/>
                <a:gd name="connsiteY2680" fmla="*/ 8889 h 10000"/>
                <a:gd name="connsiteX2681" fmla="*/ 1355 w 10785"/>
                <a:gd name="connsiteY2681" fmla="*/ 8880 h 10000"/>
                <a:gd name="connsiteX2682" fmla="*/ 1323 w 10785"/>
                <a:gd name="connsiteY2682" fmla="*/ 8880 h 10000"/>
                <a:gd name="connsiteX2683" fmla="*/ 1309 w 10785"/>
                <a:gd name="connsiteY2683" fmla="*/ 8880 h 10000"/>
                <a:gd name="connsiteX2684" fmla="*/ 1309 w 10785"/>
                <a:gd name="connsiteY2684" fmla="*/ 8889 h 10000"/>
                <a:gd name="connsiteX2685" fmla="*/ 1295 w 10785"/>
                <a:gd name="connsiteY2685" fmla="*/ 8872 h 10000"/>
                <a:gd name="connsiteX2686" fmla="*/ 1290 w 10785"/>
                <a:gd name="connsiteY2686" fmla="*/ 8855 h 10000"/>
                <a:gd name="connsiteX2687" fmla="*/ 1290 w 10785"/>
                <a:gd name="connsiteY2687" fmla="*/ 8829 h 10000"/>
                <a:gd name="connsiteX2688" fmla="*/ 1290 w 10785"/>
                <a:gd name="connsiteY2688" fmla="*/ 8821 h 10000"/>
                <a:gd name="connsiteX2689" fmla="*/ 1290 w 10785"/>
                <a:gd name="connsiteY2689" fmla="*/ 8803 h 10000"/>
                <a:gd name="connsiteX2690" fmla="*/ 1281 w 10785"/>
                <a:gd name="connsiteY2690" fmla="*/ 8795 h 10000"/>
                <a:gd name="connsiteX2691" fmla="*/ 1249 w 10785"/>
                <a:gd name="connsiteY2691" fmla="*/ 8769 h 10000"/>
                <a:gd name="connsiteX2692" fmla="*/ 1263 w 10785"/>
                <a:gd name="connsiteY2692" fmla="*/ 8667 h 10000"/>
                <a:gd name="connsiteX2693" fmla="*/ 1281 w 10785"/>
                <a:gd name="connsiteY2693" fmla="*/ 8658 h 10000"/>
                <a:gd name="connsiteX2694" fmla="*/ 1290 w 10785"/>
                <a:gd name="connsiteY2694" fmla="*/ 8632 h 10000"/>
                <a:gd name="connsiteX2695" fmla="*/ 1281 w 10785"/>
                <a:gd name="connsiteY2695" fmla="*/ 8615 h 10000"/>
                <a:gd name="connsiteX2696" fmla="*/ 1272 w 10785"/>
                <a:gd name="connsiteY2696" fmla="*/ 8598 h 10000"/>
                <a:gd name="connsiteX2697" fmla="*/ 1281 w 10785"/>
                <a:gd name="connsiteY2697" fmla="*/ 8496 h 10000"/>
                <a:gd name="connsiteX2698" fmla="*/ 1295 w 10785"/>
                <a:gd name="connsiteY2698" fmla="*/ 8470 h 10000"/>
                <a:gd name="connsiteX2699" fmla="*/ 1304 w 10785"/>
                <a:gd name="connsiteY2699" fmla="*/ 8462 h 10000"/>
                <a:gd name="connsiteX2700" fmla="*/ 1304 w 10785"/>
                <a:gd name="connsiteY2700" fmla="*/ 8444 h 10000"/>
                <a:gd name="connsiteX2701" fmla="*/ 1304 w 10785"/>
                <a:gd name="connsiteY2701" fmla="*/ 8419 h 10000"/>
                <a:gd name="connsiteX2702" fmla="*/ 1304 w 10785"/>
                <a:gd name="connsiteY2702" fmla="*/ 8410 h 10000"/>
                <a:gd name="connsiteX2703" fmla="*/ 1309 w 10785"/>
                <a:gd name="connsiteY2703" fmla="*/ 8393 h 10000"/>
                <a:gd name="connsiteX2704" fmla="*/ 1318 w 10785"/>
                <a:gd name="connsiteY2704" fmla="*/ 8385 h 10000"/>
                <a:gd name="connsiteX2705" fmla="*/ 1323 w 10785"/>
                <a:gd name="connsiteY2705" fmla="*/ 8385 h 10000"/>
                <a:gd name="connsiteX2706" fmla="*/ 1332 w 10785"/>
                <a:gd name="connsiteY2706" fmla="*/ 8410 h 10000"/>
                <a:gd name="connsiteX2707" fmla="*/ 1346 w 10785"/>
                <a:gd name="connsiteY2707" fmla="*/ 8419 h 10000"/>
                <a:gd name="connsiteX2708" fmla="*/ 1364 w 10785"/>
                <a:gd name="connsiteY2708" fmla="*/ 8504 h 10000"/>
                <a:gd name="connsiteX2709" fmla="*/ 1369 w 10785"/>
                <a:gd name="connsiteY2709" fmla="*/ 8521 h 10000"/>
                <a:gd name="connsiteX2710" fmla="*/ 1406 w 10785"/>
                <a:gd name="connsiteY2710" fmla="*/ 8470 h 10000"/>
                <a:gd name="connsiteX2711" fmla="*/ 1382 w 10785"/>
                <a:gd name="connsiteY2711" fmla="*/ 8359 h 10000"/>
                <a:gd name="connsiteX2712" fmla="*/ 1392 w 10785"/>
                <a:gd name="connsiteY2712" fmla="*/ 8359 h 10000"/>
                <a:gd name="connsiteX2713" fmla="*/ 1438 w 10785"/>
                <a:gd name="connsiteY2713" fmla="*/ 8308 h 10000"/>
                <a:gd name="connsiteX2714" fmla="*/ 1442 w 10785"/>
                <a:gd name="connsiteY2714" fmla="*/ 8299 h 10000"/>
                <a:gd name="connsiteX2715" fmla="*/ 1442 w 10785"/>
                <a:gd name="connsiteY2715" fmla="*/ 8256 h 10000"/>
                <a:gd name="connsiteX2716" fmla="*/ 1452 w 10785"/>
                <a:gd name="connsiteY2716" fmla="*/ 8256 h 10000"/>
                <a:gd name="connsiteX2717" fmla="*/ 1456 w 10785"/>
                <a:gd name="connsiteY2717" fmla="*/ 8256 h 10000"/>
                <a:gd name="connsiteX2718" fmla="*/ 1470 w 10785"/>
                <a:gd name="connsiteY2718" fmla="*/ 8248 h 10000"/>
                <a:gd name="connsiteX2719" fmla="*/ 1479 w 10785"/>
                <a:gd name="connsiteY2719" fmla="*/ 8231 h 10000"/>
                <a:gd name="connsiteX2720" fmla="*/ 1493 w 10785"/>
                <a:gd name="connsiteY2720" fmla="*/ 8222 h 10000"/>
                <a:gd name="connsiteX2721" fmla="*/ 1498 w 10785"/>
                <a:gd name="connsiteY2721" fmla="*/ 8214 h 10000"/>
                <a:gd name="connsiteX2722" fmla="*/ 1502 w 10785"/>
                <a:gd name="connsiteY2722" fmla="*/ 8197 h 10000"/>
                <a:gd name="connsiteX2723" fmla="*/ 1512 w 10785"/>
                <a:gd name="connsiteY2723" fmla="*/ 8188 h 10000"/>
                <a:gd name="connsiteX2724" fmla="*/ 1516 w 10785"/>
                <a:gd name="connsiteY2724" fmla="*/ 8171 h 10000"/>
                <a:gd name="connsiteX2725" fmla="*/ 1525 w 10785"/>
                <a:gd name="connsiteY2725" fmla="*/ 8162 h 10000"/>
                <a:gd name="connsiteX2726" fmla="*/ 1539 w 10785"/>
                <a:gd name="connsiteY2726" fmla="*/ 8145 h 10000"/>
                <a:gd name="connsiteX2727" fmla="*/ 1558 w 10785"/>
                <a:gd name="connsiteY2727" fmla="*/ 8145 h 10000"/>
                <a:gd name="connsiteX2728" fmla="*/ 1562 w 10785"/>
                <a:gd name="connsiteY2728" fmla="*/ 8188 h 10000"/>
                <a:gd name="connsiteX2729" fmla="*/ 1585 w 10785"/>
                <a:gd name="connsiteY2729" fmla="*/ 8171 h 10000"/>
                <a:gd name="connsiteX2730" fmla="*/ 1590 w 10785"/>
                <a:gd name="connsiteY2730" fmla="*/ 8188 h 10000"/>
                <a:gd name="connsiteX2731" fmla="*/ 1599 w 10785"/>
                <a:gd name="connsiteY2731" fmla="*/ 8171 h 10000"/>
                <a:gd name="connsiteX2732" fmla="*/ 1599 w 10785"/>
                <a:gd name="connsiteY2732" fmla="*/ 8162 h 10000"/>
                <a:gd name="connsiteX2733" fmla="*/ 1604 w 10785"/>
                <a:gd name="connsiteY2733" fmla="*/ 8137 h 10000"/>
                <a:gd name="connsiteX2734" fmla="*/ 1618 w 10785"/>
                <a:gd name="connsiteY2734" fmla="*/ 8145 h 10000"/>
                <a:gd name="connsiteX2735" fmla="*/ 1627 w 10785"/>
                <a:gd name="connsiteY2735" fmla="*/ 8137 h 10000"/>
                <a:gd name="connsiteX2736" fmla="*/ 1631 w 10785"/>
                <a:gd name="connsiteY2736" fmla="*/ 8137 h 10000"/>
                <a:gd name="connsiteX2737" fmla="*/ 1636 w 10785"/>
                <a:gd name="connsiteY2737" fmla="*/ 8171 h 10000"/>
                <a:gd name="connsiteX2738" fmla="*/ 1645 w 10785"/>
                <a:gd name="connsiteY2738" fmla="*/ 8188 h 10000"/>
                <a:gd name="connsiteX2739" fmla="*/ 1664 w 10785"/>
                <a:gd name="connsiteY2739" fmla="*/ 8171 h 10000"/>
                <a:gd name="connsiteX2740" fmla="*/ 1673 w 10785"/>
                <a:gd name="connsiteY2740" fmla="*/ 8188 h 10000"/>
                <a:gd name="connsiteX2741" fmla="*/ 1691 w 10785"/>
                <a:gd name="connsiteY2741" fmla="*/ 8171 h 10000"/>
                <a:gd name="connsiteX2742" fmla="*/ 1705 w 10785"/>
                <a:gd name="connsiteY2742" fmla="*/ 8171 h 10000"/>
                <a:gd name="connsiteX2743" fmla="*/ 1719 w 10785"/>
                <a:gd name="connsiteY2743" fmla="*/ 8197 h 10000"/>
                <a:gd name="connsiteX2744" fmla="*/ 1724 w 10785"/>
                <a:gd name="connsiteY2744" fmla="*/ 8231 h 10000"/>
                <a:gd name="connsiteX2745" fmla="*/ 1751 w 10785"/>
                <a:gd name="connsiteY2745" fmla="*/ 8256 h 10000"/>
                <a:gd name="connsiteX2746" fmla="*/ 1751 w 10785"/>
                <a:gd name="connsiteY2746" fmla="*/ 8274 h 10000"/>
                <a:gd name="connsiteX2747" fmla="*/ 1760 w 10785"/>
                <a:gd name="connsiteY2747" fmla="*/ 8282 h 10000"/>
                <a:gd name="connsiteX2748" fmla="*/ 1770 w 10785"/>
                <a:gd name="connsiteY2748" fmla="*/ 8325 h 10000"/>
                <a:gd name="connsiteX2749" fmla="*/ 1770 w 10785"/>
                <a:gd name="connsiteY2749" fmla="*/ 8350 h 10000"/>
                <a:gd name="connsiteX2750" fmla="*/ 1779 w 10785"/>
                <a:gd name="connsiteY2750" fmla="*/ 8368 h 10000"/>
                <a:gd name="connsiteX2751" fmla="*/ 1783 w 10785"/>
                <a:gd name="connsiteY2751" fmla="*/ 8359 h 10000"/>
                <a:gd name="connsiteX2752" fmla="*/ 1783 w 10785"/>
                <a:gd name="connsiteY2752" fmla="*/ 8308 h 10000"/>
                <a:gd name="connsiteX2753" fmla="*/ 1779 w 10785"/>
                <a:gd name="connsiteY2753" fmla="*/ 8299 h 10000"/>
                <a:gd name="connsiteX2754" fmla="*/ 1783 w 10785"/>
                <a:gd name="connsiteY2754" fmla="*/ 8282 h 10000"/>
                <a:gd name="connsiteX2755" fmla="*/ 1797 w 10785"/>
                <a:gd name="connsiteY2755" fmla="*/ 8274 h 10000"/>
                <a:gd name="connsiteX2756" fmla="*/ 1797 w 10785"/>
                <a:gd name="connsiteY2756" fmla="*/ 8299 h 10000"/>
                <a:gd name="connsiteX2757" fmla="*/ 1806 w 10785"/>
                <a:gd name="connsiteY2757" fmla="*/ 8308 h 10000"/>
                <a:gd name="connsiteX2758" fmla="*/ 1811 w 10785"/>
                <a:gd name="connsiteY2758" fmla="*/ 8325 h 10000"/>
                <a:gd name="connsiteX2759" fmla="*/ 1820 w 10785"/>
                <a:gd name="connsiteY2759" fmla="*/ 8333 h 10000"/>
                <a:gd name="connsiteX2760" fmla="*/ 1853 w 10785"/>
                <a:gd name="connsiteY2760" fmla="*/ 8359 h 10000"/>
                <a:gd name="connsiteX2761" fmla="*/ 1866 w 10785"/>
                <a:gd name="connsiteY2761" fmla="*/ 8359 h 10000"/>
                <a:gd name="connsiteX2762" fmla="*/ 1885 w 10785"/>
                <a:gd name="connsiteY2762" fmla="*/ 8325 h 10000"/>
                <a:gd name="connsiteX2763" fmla="*/ 1885 w 10785"/>
                <a:gd name="connsiteY2763" fmla="*/ 8308 h 10000"/>
                <a:gd name="connsiteX2764" fmla="*/ 1894 w 10785"/>
                <a:gd name="connsiteY2764" fmla="*/ 8299 h 10000"/>
                <a:gd name="connsiteX2765" fmla="*/ 1899 w 10785"/>
                <a:gd name="connsiteY2765" fmla="*/ 8282 h 10000"/>
                <a:gd name="connsiteX2766" fmla="*/ 1912 w 10785"/>
                <a:gd name="connsiteY2766" fmla="*/ 8282 h 10000"/>
                <a:gd name="connsiteX2767" fmla="*/ 1917 w 10785"/>
                <a:gd name="connsiteY2767" fmla="*/ 8299 h 10000"/>
                <a:gd name="connsiteX2768" fmla="*/ 1917 w 10785"/>
                <a:gd name="connsiteY2768" fmla="*/ 8274 h 10000"/>
                <a:gd name="connsiteX2769" fmla="*/ 1940 w 10785"/>
                <a:gd name="connsiteY2769" fmla="*/ 8282 h 10000"/>
                <a:gd name="connsiteX2770" fmla="*/ 1945 w 10785"/>
                <a:gd name="connsiteY2770" fmla="*/ 8274 h 10000"/>
                <a:gd name="connsiteX2771" fmla="*/ 1972 w 10785"/>
                <a:gd name="connsiteY2771" fmla="*/ 8308 h 10000"/>
                <a:gd name="connsiteX2772" fmla="*/ 1986 w 10785"/>
                <a:gd name="connsiteY2772" fmla="*/ 8282 h 10000"/>
                <a:gd name="connsiteX2773" fmla="*/ 1991 w 10785"/>
                <a:gd name="connsiteY2773" fmla="*/ 8274 h 10000"/>
                <a:gd name="connsiteX2774" fmla="*/ 2014 w 10785"/>
                <a:gd name="connsiteY2774" fmla="*/ 8274 h 10000"/>
                <a:gd name="connsiteX2775" fmla="*/ 2018 w 10785"/>
                <a:gd name="connsiteY2775" fmla="*/ 8256 h 10000"/>
                <a:gd name="connsiteX2776" fmla="*/ 2041 w 10785"/>
                <a:gd name="connsiteY2776" fmla="*/ 8274 h 10000"/>
                <a:gd name="connsiteX2777" fmla="*/ 2046 w 10785"/>
                <a:gd name="connsiteY2777" fmla="*/ 8282 h 10000"/>
                <a:gd name="connsiteX2778" fmla="*/ 2046 w 10785"/>
                <a:gd name="connsiteY2778" fmla="*/ 8325 h 10000"/>
                <a:gd name="connsiteX2779" fmla="*/ 2060 w 10785"/>
                <a:gd name="connsiteY2779" fmla="*/ 8350 h 10000"/>
                <a:gd name="connsiteX2780" fmla="*/ 2078 w 10785"/>
                <a:gd name="connsiteY2780" fmla="*/ 8350 h 10000"/>
                <a:gd name="connsiteX2781" fmla="*/ 2092 w 10785"/>
                <a:gd name="connsiteY2781" fmla="*/ 8350 h 10000"/>
                <a:gd name="connsiteX2782" fmla="*/ 2092 w 10785"/>
                <a:gd name="connsiteY2782" fmla="*/ 8350 h 10000"/>
                <a:gd name="connsiteX2783" fmla="*/ 2101 w 10785"/>
                <a:gd name="connsiteY2783" fmla="*/ 8368 h 10000"/>
                <a:gd name="connsiteX2784" fmla="*/ 2120 w 10785"/>
                <a:gd name="connsiteY2784" fmla="*/ 8368 h 10000"/>
                <a:gd name="connsiteX2785" fmla="*/ 2124 w 10785"/>
                <a:gd name="connsiteY2785" fmla="*/ 8359 h 10000"/>
                <a:gd name="connsiteX2786" fmla="*/ 2138 w 10785"/>
                <a:gd name="connsiteY2786" fmla="*/ 8325 h 10000"/>
                <a:gd name="connsiteX2787" fmla="*/ 2147 w 10785"/>
                <a:gd name="connsiteY2787" fmla="*/ 8325 h 10000"/>
                <a:gd name="connsiteX2788" fmla="*/ 2161 w 10785"/>
                <a:gd name="connsiteY2788" fmla="*/ 8350 h 10000"/>
                <a:gd name="connsiteX2789" fmla="*/ 2198 w 10785"/>
                <a:gd name="connsiteY2789" fmla="*/ 8350 h 10000"/>
                <a:gd name="connsiteX2790" fmla="*/ 2207 w 10785"/>
                <a:gd name="connsiteY2790" fmla="*/ 8333 h 10000"/>
                <a:gd name="connsiteX2791" fmla="*/ 2226 w 10785"/>
                <a:gd name="connsiteY2791" fmla="*/ 8325 h 10000"/>
                <a:gd name="connsiteX2792" fmla="*/ 2249 w 10785"/>
                <a:gd name="connsiteY2792" fmla="*/ 8222 h 10000"/>
                <a:gd name="connsiteX2793" fmla="*/ 2235 w 10785"/>
                <a:gd name="connsiteY2793" fmla="*/ 8197 h 10000"/>
                <a:gd name="connsiteX2794" fmla="*/ 2198 w 10785"/>
                <a:gd name="connsiteY2794" fmla="*/ 8197 h 10000"/>
                <a:gd name="connsiteX2795" fmla="*/ 2189 w 10785"/>
                <a:gd name="connsiteY2795" fmla="*/ 8171 h 10000"/>
                <a:gd name="connsiteX2796" fmla="*/ 2161 w 10785"/>
                <a:gd name="connsiteY2796" fmla="*/ 8145 h 10000"/>
                <a:gd name="connsiteX2797" fmla="*/ 2161 w 10785"/>
                <a:gd name="connsiteY2797" fmla="*/ 8137 h 10000"/>
                <a:gd name="connsiteX2798" fmla="*/ 2152 w 10785"/>
                <a:gd name="connsiteY2798" fmla="*/ 8120 h 10000"/>
                <a:gd name="connsiteX2799" fmla="*/ 2138 w 10785"/>
                <a:gd name="connsiteY2799" fmla="*/ 8111 h 10000"/>
                <a:gd name="connsiteX2800" fmla="*/ 2138 w 10785"/>
                <a:gd name="connsiteY2800" fmla="*/ 8094 h 10000"/>
                <a:gd name="connsiteX2801" fmla="*/ 2147 w 10785"/>
                <a:gd name="connsiteY2801" fmla="*/ 8085 h 10000"/>
                <a:gd name="connsiteX2802" fmla="*/ 2161 w 10785"/>
                <a:gd name="connsiteY2802" fmla="*/ 8060 h 10000"/>
                <a:gd name="connsiteX2803" fmla="*/ 2198 w 10785"/>
                <a:gd name="connsiteY2803" fmla="*/ 8034 h 10000"/>
                <a:gd name="connsiteX2804" fmla="*/ 2198 w 10785"/>
                <a:gd name="connsiteY2804" fmla="*/ 8026 h 10000"/>
                <a:gd name="connsiteX2805" fmla="*/ 2198 w 10785"/>
                <a:gd name="connsiteY2805" fmla="*/ 8000 h 10000"/>
                <a:gd name="connsiteX2806" fmla="*/ 2180 w 10785"/>
                <a:gd name="connsiteY2806" fmla="*/ 7940 h 10000"/>
                <a:gd name="connsiteX2807" fmla="*/ 2189 w 10785"/>
                <a:gd name="connsiteY2807" fmla="*/ 7940 h 10000"/>
                <a:gd name="connsiteX2808" fmla="*/ 2198 w 10785"/>
                <a:gd name="connsiteY2808" fmla="*/ 7923 h 10000"/>
                <a:gd name="connsiteX2809" fmla="*/ 2198 w 10785"/>
                <a:gd name="connsiteY2809" fmla="*/ 7897 h 10000"/>
                <a:gd name="connsiteX2810" fmla="*/ 2207 w 10785"/>
                <a:gd name="connsiteY2810" fmla="*/ 7889 h 10000"/>
                <a:gd name="connsiteX2811" fmla="*/ 2221 w 10785"/>
                <a:gd name="connsiteY2811" fmla="*/ 7889 h 10000"/>
                <a:gd name="connsiteX2812" fmla="*/ 2226 w 10785"/>
                <a:gd name="connsiteY2812" fmla="*/ 7897 h 10000"/>
                <a:gd name="connsiteX2813" fmla="*/ 2235 w 10785"/>
                <a:gd name="connsiteY2813" fmla="*/ 7889 h 10000"/>
                <a:gd name="connsiteX2814" fmla="*/ 2249 w 10785"/>
                <a:gd name="connsiteY2814" fmla="*/ 7897 h 10000"/>
                <a:gd name="connsiteX2815" fmla="*/ 2267 w 10785"/>
                <a:gd name="connsiteY2815" fmla="*/ 7897 h 10000"/>
                <a:gd name="connsiteX2816" fmla="*/ 2272 w 10785"/>
                <a:gd name="connsiteY2816" fmla="*/ 7889 h 10000"/>
                <a:gd name="connsiteX2817" fmla="*/ 2281 w 10785"/>
                <a:gd name="connsiteY2817" fmla="*/ 7872 h 10000"/>
                <a:gd name="connsiteX2818" fmla="*/ 2272 w 10785"/>
                <a:gd name="connsiteY2818" fmla="*/ 7846 h 10000"/>
                <a:gd name="connsiteX2819" fmla="*/ 2253 w 10785"/>
                <a:gd name="connsiteY2819" fmla="*/ 7838 h 10000"/>
                <a:gd name="connsiteX2820" fmla="*/ 2221 w 10785"/>
                <a:gd name="connsiteY2820" fmla="*/ 7821 h 10000"/>
                <a:gd name="connsiteX2821" fmla="*/ 2212 w 10785"/>
                <a:gd name="connsiteY2821" fmla="*/ 7812 h 10000"/>
                <a:gd name="connsiteX2822" fmla="*/ 2212 w 10785"/>
                <a:gd name="connsiteY2822" fmla="*/ 7803 h 10000"/>
                <a:gd name="connsiteX2823" fmla="*/ 2221 w 10785"/>
                <a:gd name="connsiteY2823" fmla="*/ 7803 h 10000"/>
                <a:gd name="connsiteX2824" fmla="*/ 2235 w 10785"/>
                <a:gd name="connsiteY2824" fmla="*/ 7786 h 10000"/>
                <a:gd name="connsiteX2825" fmla="*/ 2240 w 10785"/>
                <a:gd name="connsiteY2825" fmla="*/ 7778 h 10000"/>
                <a:gd name="connsiteX2826" fmla="*/ 2226 w 10785"/>
                <a:gd name="connsiteY2826" fmla="*/ 7761 h 10000"/>
                <a:gd name="connsiteX2827" fmla="*/ 2221 w 10785"/>
                <a:gd name="connsiteY2827" fmla="*/ 7778 h 10000"/>
                <a:gd name="connsiteX2828" fmla="*/ 2198 w 10785"/>
                <a:gd name="connsiteY2828" fmla="*/ 7778 h 10000"/>
                <a:gd name="connsiteX2829" fmla="*/ 2198 w 10785"/>
                <a:gd name="connsiteY2829" fmla="*/ 7752 h 10000"/>
                <a:gd name="connsiteX2830" fmla="*/ 2207 w 10785"/>
                <a:gd name="connsiteY2830" fmla="*/ 7735 h 10000"/>
                <a:gd name="connsiteX2831" fmla="*/ 2212 w 10785"/>
                <a:gd name="connsiteY2831" fmla="*/ 7726 h 10000"/>
                <a:gd name="connsiteX2832" fmla="*/ 2198 w 10785"/>
                <a:gd name="connsiteY2832" fmla="*/ 7692 h 10000"/>
                <a:gd name="connsiteX2833" fmla="*/ 2221 w 10785"/>
                <a:gd name="connsiteY2833" fmla="*/ 7692 h 10000"/>
                <a:gd name="connsiteX2834" fmla="*/ 2221 w 10785"/>
                <a:gd name="connsiteY2834" fmla="*/ 7675 h 10000"/>
                <a:gd name="connsiteX2835" fmla="*/ 2235 w 10785"/>
                <a:gd name="connsiteY2835" fmla="*/ 7675 h 10000"/>
                <a:gd name="connsiteX2836" fmla="*/ 2240 w 10785"/>
                <a:gd name="connsiteY2836" fmla="*/ 7692 h 10000"/>
                <a:gd name="connsiteX2837" fmla="*/ 2249 w 10785"/>
                <a:gd name="connsiteY2837" fmla="*/ 7692 h 10000"/>
                <a:gd name="connsiteX2838" fmla="*/ 2258 w 10785"/>
                <a:gd name="connsiteY2838" fmla="*/ 7692 h 10000"/>
                <a:gd name="connsiteX2839" fmla="*/ 2267 w 10785"/>
                <a:gd name="connsiteY2839" fmla="*/ 7692 h 10000"/>
                <a:gd name="connsiteX2840" fmla="*/ 2295 w 10785"/>
                <a:gd name="connsiteY2840" fmla="*/ 7692 h 10000"/>
                <a:gd name="connsiteX2841" fmla="*/ 2300 w 10785"/>
                <a:gd name="connsiteY2841" fmla="*/ 7701 h 10000"/>
                <a:gd name="connsiteX2842" fmla="*/ 2313 w 10785"/>
                <a:gd name="connsiteY2842" fmla="*/ 7675 h 10000"/>
                <a:gd name="connsiteX2843" fmla="*/ 2323 w 10785"/>
                <a:gd name="connsiteY2843" fmla="*/ 7675 h 10000"/>
                <a:gd name="connsiteX2844" fmla="*/ 2341 w 10785"/>
                <a:gd name="connsiteY2844" fmla="*/ 7675 h 10000"/>
                <a:gd name="connsiteX2845" fmla="*/ 2346 w 10785"/>
                <a:gd name="connsiteY2845" fmla="*/ 7667 h 10000"/>
                <a:gd name="connsiteX2846" fmla="*/ 2359 w 10785"/>
                <a:gd name="connsiteY2846" fmla="*/ 7650 h 10000"/>
                <a:gd name="connsiteX2847" fmla="*/ 2373 w 10785"/>
                <a:gd name="connsiteY2847" fmla="*/ 7624 h 10000"/>
                <a:gd name="connsiteX2848" fmla="*/ 2382 w 10785"/>
                <a:gd name="connsiteY2848" fmla="*/ 7641 h 10000"/>
                <a:gd name="connsiteX2849" fmla="*/ 2396 w 10785"/>
                <a:gd name="connsiteY2849" fmla="*/ 7650 h 10000"/>
                <a:gd name="connsiteX2850" fmla="*/ 2401 w 10785"/>
                <a:gd name="connsiteY2850" fmla="*/ 7650 h 10000"/>
                <a:gd name="connsiteX2851" fmla="*/ 2401 w 10785"/>
                <a:gd name="connsiteY2851" fmla="*/ 7624 h 10000"/>
                <a:gd name="connsiteX2852" fmla="*/ 2419 w 10785"/>
                <a:gd name="connsiteY2852" fmla="*/ 7624 h 10000"/>
                <a:gd name="connsiteX2853" fmla="*/ 2433 w 10785"/>
                <a:gd name="connsiteY2853" fmla="*/ 7615 h 10000"/>
                <a:gd name="connsiteX2854" fmla="*/ 2442 w 10785"/>
                <a:gd name="connsiteY2854" fmla="*/ 7615 h 10000"/>
                <a:gd name="connsiteX2855" fmla="*/ 2447 w 10785"/>
                <a:gd name="connsiteY2855" fmla="*/ 7598 h 10000"/>
                <a:gd name="connsiteX2856" fmla="*/ 2461 w 10785"/>
                <a:gd name="connsiteY2856" fmla="*/ 7598 h 10000"/>
                <a:gd name="connsiteX2857" fmla="*/ 2465 w 10785"/>
                <a:gd name="connsiteY2857" fmla="*/ 7615 h 10000"/>
                <a:gd name="connsiteX2858" fmla="*/ 2479 w 10785"/>
                <a:gd name="connsiteY2858" fmla="*/ 7564 h 10000"/>
                <a:gd name="connsiteX2859" fmla="*/ 2488 w 10785"/>
                <a:gd name="connsiteY2859" fmla="*/ 7556 h 10000"/>
                <a:gd name="connsiteX2860" fmla="*/ 2493 w 10785"/>
                <a:gd name="connsiteY2860" fmla="*/ 7556 h 10000"/>
                <a:gd name="connsiteX2861" fmla="*/ 2507 w 10785"/>
                <a:gd name="connsiteY2861" fmla="*/ 7556 h 10000"/>
                <a:gd name="connsiteX2862" fmla="*/ 2530 w 10785"/>
                <a:gd name="connsiteY2862" fmla="*/ 7538 h 10000"/>
                <a:gd name="connsiteX2863" fmla="*/ 2530 w 10785"/>
                <a:gd name="connsiteY2863" fmla="*/ 7556 h 10000"/>
                <a:gd name="connsiteX2864" fmla="*/ 2641 w 10785"/>
                <a:gd name="connsiteY2864" fmla="*/ 7504 h 10000"/>
                <a:gd name="connsiteX2865" fmla="*/ 2654 w 10785"/>
                <a:gd name="connsiteY2865" fmla="*/ 7487 h 10000"/>
                <a:gd name="connsiteX2866" fmla="*/ 2664 w 10785"/>
                <a:gd name="connsiteY2866" fmla="*/ 7487 h 10000"/>
                <a:gd name="connsiteX2867" fmla="*/ 2668 w 10785"/>
                <a:gd name="connsiteY2867" fmla="*/ 7479 h 10000"/>
                <a:gd name="connsiteX2868" fmla="*/ 2673 w 10785"/>
                <a:gd name="connsiteY2868" fmla="*/ 7462 h 10000"/>
                <a:gd name="connsiteX2869" fmla="*/ 2673 w 10785"/>
                <a:gd name="connsiteY2869" fmla="*/ 7427 h 10000"/>
                <a:gd name="connsiteX2870" fmla="*/ 2687 w 10785"/>
                <a:gd name="connsiteY2870" fmla="*/ 7436 h 10000"/>
                <a:gd name="connsiteX2871" fmla="*/ 2696 w 10785"/>
                <a:gd name="connsiteY2871" fmla="*/ 7427 h 10000"/>
                <a:gd name="connsiteX2872" fmla="*/ 2700 w 10785"/>
                <a:gd name="connsiteY2872" fmla="*/ 7419 h 10000"/>
                <a:gd name="connsiteX2873" fmla="*/ 2710 w 10785"/>
                <a:gd name="connsiteY2873" fmla="*/ 7402 h 10000"/>
                <a:gd name="connsiteX2874" fmla="*/ 2724 w 10785"/>
                <a:gd name="connsiteY2874" fmla="*/ 7402 h 10000"/>
                <a:gd name="connsiteX2875" fmla="*/ 2724 w 10785"/>
                <a:gd name="connsiteY2875" fmla="*/ 7393 h 10000"/>
                <a:gd name="connsiteX2876" fmla="*/ 2737 w 10785"/>
                <a:gd name="connsiteY2876" fmla="*/ 7393 h 10000"/>
                <a:gd name="connsiteX2877" fmla="*/ 2742 w 10785"/>
                <a:gd name="connsiteY2877" fmla="*/ 7402 h 10000"/>
                <a:gd name="connsiteX2878" fmla="*/ 2747 w 10785"/>
                <a:gd name="connsiteY2878" fmla="*/ 7402 h 10000"/>
                <a:gd name="connsiteX2879" fmla="*/ 2760 w 10785"/>
                <a:gd name="connsiteY2879" fmla="*/ 7402 h 10000"/>
                <a:gd name="connsiteX2880" fmla="*/ 2770 w 10785"/>
                <a:gd name="connsiteY2880" fmla="*/ 7402 h 10000"/>
                <a:gd name="connsiteX2881" fmla="*/ 2774 w 10785"/>
                <a:gd name="connsiteY2881" fmla="*/ 7402 h 10000"/>
                <a:gd name="connsiteX2882" fmla="*/ 2783 w 10785"/>
                <a:gd name="connsiteY2882" fmla="*/ 7419 h 10000"/>
                <a:gd name="connsiteX2883" fmla="*/ 2802 w 10785"/>
                <a:gd name="connsiteY2883" fmla="*/ 7436 h 10000"/>
                <a:gd name="connsiteX2884" fmla="*/ 2816 w 10785"/>
                <a:gd name="connsiteY2884" fmla="*/ 7419 h 10000"/>
                <a:gd name="connsiteX2885" fmla="*/ 2834 w 10785"/>
                <a:gd name="connsiteY2885" fmla="*/ 7419 h 10000"/>
                <a:gd name="connsiteX2886" fmla="*/ 2843 w 10785"/>
                <a:gd name="connsiteY2886" fmla="*/ 7419 h 10000"/>
                <a:gd name="connsiteX2887" fmla="*/ 2848 w 10785"/>
                <a:gd name="connsiteY2887" fmla="*/ 7436 h 10000"/>
                <a:gd name="connsiteX2888" fmla="*/ 2857 w 10785"/>
                <a:gd name="connsiteY2888" fmla="*/ 7453 h 10000"/>
                <a:gd name="connsiteX2889" fmla="*/ 2857 w 10785"/>
                <a:gd name="connsiteY2889" fmla="*/ 7504 h 10000"/>
                <a:gd name="connsiteX2890" fmla="*/ 2862 w 10785"/>
                <a:gd name="connsiteY2890" fmla="*/ 7530 h 10000"/>
                <a:gd name="connsiteX2891" fmla="*/ 2876 w 10785"/>
                <a:gd name="connsiteY2891" fmla="*/ 7538 h 10000"/>
                <a:gd name="connsiteX2892" fmla="*/ 2871 w 10785"/>
                <a:gd name="connsiteY2892" fmla="*/ 7564 h 10000"/>
                <a:gd name="connsiteX2893" fmla="*/ 2871 w 10785"/>
                <a:gd name="connsiteY2893" fmla="*/ 7598 h 10000"/>
                <a:gd name="connsiteX2894" fmla="*/ 2857 w 10785"/>
                <a:gd name="connsiteY2894" fmla="*/ 7624 h 10000"/>
                <a:gd name="connsiteX2895" fmla="*/ 2862 w 10785"/>
                <a:gd name="connsiteY2895" fmla="*/ 7641 h 10000"/>
                <a:gd name="connsiteX2896" fmla="*/ 2871 w 10785"/>
                <a:gd name="connsiteY2896" fmla="*/ 7667 h 10000"/>
                <a:gd name="connsiteX2897" fmla="*/ 2880 w 10785"/>
                <a:gd name="connsiteY2897" fmla="*/ 7650 h 10000"/>
                <a:gd name="connsiteX2898" fmla="*/ 2894 w 10785"/>
                <a:gd name="connsiteY2898" fmla="*/ 7667 h 10000"/>
                <a:gd name="connsiteX2899" fmla="*/ 2903 w 10785"/>
                <a:gd name="connsiteY2899" fmla="*/ 7667 h 10000"/>
                <a:gd name="connsiteX2900" fmla="*/ 2908 w 10785"/>
                <a:gd name="connsiteY2900" fmla="*/ 7641 h 10000"/>
                <a:gd name="connsiteX2901" fmla="*/ 2917 w 10785"/>
                <a:gd name="connsiteY2901" fmla="*/ 7641 h 10000"/>
                <a:gd name="connsiteX2902" fmla="*/ 2922 w 10785"/>
                <a:gd name="connsiteY2902" fmla="*/ 7641 h 10000"/>
                <a:gd name="connsiteX2903" fmla="*/ 2931 w 10785"/>
                <a:gd name="connsiteY2903" fmla="*/ 7615 h 10000"/>
                <a:gd name="connsiteX2904" fmla="*/ 2935 w 10785"/>
                <a:gd name="connsiteY2904" fmla="*/ 7615 h 10000"/>
                <a:gd name="connsiteX2905" fmla="*/ 2945 w 10785"/>
                <a:gd name="connsiteY2905" fmla="*/ 7650 h 10000"/>
                <a:gd name="connsiteX2906" fmla="*/ 2949 w 10785"/>
                <a:gd name="connsiteY2906" fmla="*/ 7667 h 10000"/>
                <a:gd name="connsiteX2907" fmla="*/ 2949 w 10785"/>
                <a:gd name="connsiteY2907" fmla="*/ 7675 h 10000"/>
                <a:gd name="connsiteX2908" fmla="*/ 2945 w 10785"/>
                <a:gd name="connsiteY2908" fmla="*/ 7692 h 10000"/>
                <a:gd name="connsiteX2909" fmla="*/ 2963 w 10785"/>
                <a:gd name="connsiteY2909" fmla="*/ 7701 h 10000"/>
                <a:gd name="connsiteX2910" fmla="*/ 2963 w 10785"/>
                <a:gd name="connsiteY2910" fmla="*/ 7675 h 10000"/>
                <a:gd name="connsiteX2911" fmla="*/ 2954 w 10785"/>
                <a:gd name="connsiteY2911" fmla="*/ 7667 h 10000"/>
                <a:gd name="connsiteX2912" fmla="*/ 2963 w 10785"/>
                <a:gd name="connsiteY2912" fmla="*/ 7667 h 10000"/>
                <a:gd name="connsiteX2913" fmla="*/ 2982 w 10785"/>
                <a:gd name="connsiteY2913" fmla="*/ 7667 h 10000"/>
                <a:gd name="connsiteX2914" fmla="*/ 2991 w 10785"/>
                <a:gd name="connsiteY2914" fmla="*/ 7675 h 10000"/>
                <a:gd name="connsiteX2915" fmla="*/ 2995 w 10785"/>
                <a:gd name="connsiteY2915" fmla="*/ 7692 h 10000"/>
                <a:gd name="connsiteX2916" fmla="*/ 3009 w 10785"/>
                <a:gd name="connsiteY2916" fmla="*/ 7701 h 10000"/>
                <a:gd name="connsiteX2917" fmla="*/ 3018 w 10785"/>
                <a:gd name="connsiteY2917" fmla="*/ 7701 h 10000"/>
                <a:gd name="connsiteX2918" fmla="*/ 3023 w 10785"/>
                <a:gd name="connsiteY2918" fmla="*/ 7692 h 10000"/>
                <a:gd name="connsiteX2919" fmla="*/ 3028 w 10785"/>
                <a:gd name="connsiteY2919" fmla="*/ 7675 h 10000"/>
                <a:gd name="connsiteX2920" fmla="*/ 3037 w 10785"/>
                <a:gd name="connsiteY2920" fmla="*/ 7692 h 10000"/>
                <a:gd name="connsiteX2921" fmla="*/ 3028 w 10785"/>
                <a:gd name="connsiteY2921" fmla="*/ 7709 h 10000"/>
                <a:gd name="connsiteX2922" fmla="*/ 3023 w 10785"/>
                <a:gd name="connsiteY2922" fmla="*/ 7709 h 10000"/>
                <a:gd name="connsiteX2923" fmla="*/ 3018 w 10785"/>
                <a:gd name="connsiteY2923" fmla="*/ 7726 h 10000"/>
                <a:gd name="connsiteX2924" fmla="*/ 3009 w 10785"/>
                <a:gd name="connsiteY2924" fmla="*/ 7735 h 10000"/>
                <a:gd name="connsiteX2925" fmla="*/ 3009 w 10785"/>
                <a:gd name="connsiteY2925" fmla="*/ 7761 h 10000"/>
                <a:gd name="connsiteX2926" fmla="*/ 3009 w 10785"/>
                <a:gd name="connsiteY2926" fmla="*/ 7778 h 10000"/>
                <a:gd name="connsiteX2927" fmla="*/ 3018 w 10785"/>
                <a:gd name="connsiteY2927" fmla="*/ 7786 h 10000"/>
                <a:gd name="connsiteX2928" fmla="*/ 3023 w 10785"/>
                <a:gd name="connsiteY2928" fmla="*/ 7786 h 10000"/>
                <a:gd name="connsiteX2929" fmla="*/ 3028 w 10785"/>
                <a:gd name="connsiteY2929" fmla="*/ 7778 h 10000"/>
                <a:gd name="connsiteX2930" fmla="*/ 3051 w 10785"/>
                <a:gd name="connsiteY2930" fmla="*/ 7761 h 10000"/>
                <a:gd name="connsiteX2931" fmla="*/ 3055 w 10785"/>
                <a:gd name="connsiteY2931" fmla="*/ 7778 h 10000"/>
                <a:gd name="connsiteX2932" fmla="*/ 3065 w 10785"/>
                <a:gd name="connsiteY2932" fmla="*/ 7761 h 10000"/>
                <a:gd name="connsiteX2933" fmla="*/ 3069 w 10785"/>
                <a:gd name="connsiteY2933" fmla="*/ 7786 h 10000"/>
                <a:gd name="connsiteX2934" fmla="*/ 3083 w 10785"/>
                <a:gd name="connsiteY2934" fmla="*/ 7786 h 10000"/>
                <a:gd name="connsiteX2935" fmla="*/ 3078 w 10785"/>
                <a:gd name="connsiteY2935" fmla="*/ 7761 h 10000"/>
                <a:gd name="connsiteX2936" fmla="*/ 3083 w 10785"/>
                <a:gd name="connsiteY2936" fmla="*/ 7752 h 10000"/>
                <a:gd name="connsiteX2937" fmla="*/ 3097 w 10785"/>
                <a:gd name="connsiteY2937" fmla="*/ 7752 h 10000"/>
                <a:gd name="connsiteX2938" fmla="*/ 3111 w 10785"/>
                <a:gd name="connsiteY2938" fmla="*/ 7726 h 10000"/>
                <a:gd name="connsiteX2939" fmla="*/ 3124 w 10785"/>
                <a:gd name="connsiteY2939" fmla="*/ 7709 h 10000"/>
                <a:gd name="connsiteX2940" fmla="*/ 3143 w 10785"/>
                <a:gd name="connsiteY2940" fmla="*/ 7692 h 10000"/>
                <a:gd name="connsiteX2941" fmla="*/ 3152 w 10785"/>
                <a:gd name="connsiteY2941" fmla="*/ 7667 h 10000"/>
                <a:gd name="connsiteX2942" fmla="*/ 3157 w 10785"/>
                <a:gd name="connsiteY2942" fmla="*/ 7650 h 10000"/>
                <a:gd name="connsiteX2943" fmla="*/ 3161 w 10785"/>
                <a:gd name="connsiteY2943" fmla="*/ 7650 h 10000"/>
                <a:gd name="connsiteX2944" fmla="*/ 3189 w 10785"/>
                <a:gd name="connsiteY2944" fmla="*/ 7641 h 10000"/>
                <a:gd name="connsiteX2945" fmla="*/ 3198 w 10785"/>
                <a:gd name="connsiteY2945" fmla="*/ 7624 h 10000"/>
                <a:gd name="connsiteX2946" fmla="*/ 3217 w 10785"/>
                <a:gd name="connsiteY2946" fmla="*/ 7615 h 10000"/>
                <a:gd name="connsiteX2947" fmla="*/ 3235 w 10785"/>
                <a:gd name="connsiteY2947" fmla="*/ 7598 h 10000"/>
                <a:gd name="connsiteX2948" fmla="*/ 3235 w 10785"/>
                <a:gd name="connsiteY2948" fmla="*/ 7615 h 10000"/>
                <a:gd name="connsiteX2949" fmla="*/ 3235 w 10785"/>
                <a:gd name="connsiteY2949" fmla="*/ 7641 h 10000"/>
                <a:gd name="connsiteX2950" fmla="*/ 3235 w 10785"/>
                <a:gd name="connsiteY2950" fmla="*/ 7650 h 10000"/>
                <a:gd name="connsiteX2951" fmla="*/ 3226 w 10785"/>
                <a:gd name="connsiteY2951" fmla="*/ 7650 h 10000"/>
                <a:gd name="connsiteX2952" fmla="*/ 3217 w 10785"/>
                <a:gd name="connsiteY2952" fmla="*/ 7650 h 10000"/>
                <a:gd name="connsiteX2953" fmla="*/ 3212 w 10785"/>
                <a:gd name="connsiteY2953" fmla="*/ 7675 h 10000"/>
                <a:gd name="connsiteX2954" fmla="*/ 3212 w 10785"/>
                <a:gd name="connsiteY2954"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307 w 10785"/>
                <a:gd name="connsiteY731" fmla="*/ 4899 h 10000"/>
                <a:gd name="connsiteX732" fmla="*/ 10617 w 10785"/>
                <a:gd name="connsiteY732" fmla="*/ 4759 h 10000"/>
                <a:gd name="connsiteX733" fmla="*/ 10785 w 10785"/>
                <a:gd name="connsiteY733" fmla="*/ 4708 h 10000"/>
                <a:gd name="connsiteX734" fmla="*/ 10689 w 10785"/>
                <a:gd name="connsiteY734" fmla="*/ 4467 h 10000"/>
                <a:gd name="connsiteX735" fmla="*/ 10354 w 10785"/>
                <a:gd name="connsiteY735" fmla="*/ 4302 h 10000"/>
                <a:gd name="connsiteX736" fmla="*/ 9912 w 10785"/>
                <a:gd name="connsiteY736" fmla="*/ 3675 h 10000"/>
                <a:gd name="connsiteX737" fmla="*/ 9903 w 10785"/>
                <a:gd name="connsiteY737" fmla="*/ 3667 h 10000"/>
                <a:gd name="connsiteX738" fmla="*/ 9894 w 10785"/>
                <a:gd name="connsiteY738" fmla="*/ 3641 h 10000"/>
                <a:gd name="connsiteX739" fmla="*/ 9889 w 10785"/>
                <a:gd name="connsiteY739" fmla="*/ 3650 h 10000"/>
                <a:gd name="connsiteX740" fmla="*/ 9848 w 10785"/>
                <a:gd name="connsiteY740" fmla="*/ 3598 h 10000"/>
                <a:gd name="connsiteX741" fmla="*/ 9829 w 10785"/>
                <a:gd name="connsiteY741" fmla="*/ 3581 h 10000"/>
                <a:gd name="connsiteX742" fmla="*/ 9820 w 10785"/>
                <a:gd name="connsiteY742" fmla="*/ 3581 h 10000"/>
                <a:gd name="connsiteX743" fmla="*/ 9793 w 10785"/>
                <a:gd name="connsiteY743" fmla="*/ 3556 h 10000"/>
                <a:gd name="connsiteX744" fmla="*/ 9779 w 10785"/>
                <a:gd name="connsiteY744" fmla="*/ 3556 h 10000"/>
                <a:gd name="connsiteX745" fmla="*/ 9747 w 10785"/>
                <a:gd name="connsiteY745" fmla="*/ 3487 h 10000"/>
                <a:gd name="connsiteX746" fmla="*/ 9668 w 10785"/>
                <a:gd name="connsiteY746" fmla="*/ 3479 h 10000"/>
                <a:gd name="connsiteX747" fmla="*/ 9659 w 10785"/>
                <a:gd name="connsiteY747" fmla="*/ 3487 h 10000"/>
                <a:gd name="connsiteX748" fmla="*/ 9645 w 10785"/>
                <a:gd name="connsiteY748" fmla="*/ 3504 h 10000"/>
                <a:gd name="connsiteX749" fmla="*/ 9631 w 10785"/>
                <a:gd name="connsiteY749" fmla="*/ 3487 h 10000"/>
                <a:gd name="connsiteX750" fmla="*/ 9613 w 10785"/>
                <a:gd name="connsiteY750" fmla="*/ 3479 h 10000"/>
                <a:gd name="connsiteX751" fmla="*/ 9599 w 10785"/>
                <a:gd name="connsiteY751" fmla="*/ 3479 h 10000"/>
                <a:gd name="connsiteX752" fmla="*/ 9571 w 10785"/>
                <a:gd name="connsiteY752" fmla="*/ 3479 h 10000"/>
                <a:gd name="connsiteX753" fmla="*/ 9562 w 10785"/>
                <a:gd name="connsiteY753" fmla="*/ 3487 h 10000"/>
                <a:gd name="connsiteX754" fmla="*/ 9539 w 10785"/>
                <a:gd name="connsiteY754" fmla="*/ 3487 h 10000"/>
                <a:gd name="connsiteX755" fmla="*/ 9507 w 10785"/>
                <a:gd name="connsiteY755" fmla="*/ 3453 h 10000"/>
                <a:gd name="connsiteX756" fmla="*/ 9498 w 10785"/>
                <a:gd name="connsiteY756" fmla="*/ 3453 h 10000"/>
                <a:gd name="connsiteX757" fmla="*/ 9387 w 10785"/>
                <a:gd name="connsiteY757" fmla="*/ 3419 h 10000"/>
                <a:gd name="connsiteX758" fmla="*/ 9373 w 10785"/>
                <a:gd name="connsiteY758" fmla="*/ 3427 h 10000"/>
                <a:gd name="connsiteX759" fmla="*/ 9373 w 10785"/>
                <a:gd name="connsiteY759" fmla="*/ 3462 h 10000"/>
                <a:gd name="connsiteX760" fmla="*/ 9378 w 10785"/>
                <a:gd name="connsiteY760" fmla="*/ 3479 h 10000"/>
                <a:gd name="connsiteX761" fmla="*/ 9378 w 10785"/>
                <a:gd name="connsiteY761" fmla="*/ 3530 h 10000"/>
                <a:gd name="connsiteX762" fmla="*/ 9355 w 10785"/>
                <a:gd name="connsiteY762" fmla="*/ 3538 h 10000"/>
                <a:gd name="connsiteX763" fmla="*/ 9355 w 10785"/>
                <a:gd name="connsiteY763" fmla="*/ 3581 h 10000"/>
                <a:gd name="connsiteX764" fmla="*/ 9387 w 10785"/>
                <a:gd name="connsiteY764" fmla="*/ 3590 h 10000"/>
                <a:gd name="connsiteX765" fmla="*/ 9401 w 10785"/>
                <a:gd name="connsiteY765" fmla="*/ 3667 h 10000"/>
                <a:gd name="connsiteX766" fmla="*/ 9406 w 10785"/>
                <a:gd name="connsiteY766" fmla="*/ 3675 h 10000"/>
                <a:gd name="connsiteX767" fmla="*/ 9406 w 10785"/>
                <a:gd name="connsiteY767" fmla="*/ 3701 h 10000"/>
                <a:gd name="connsiteX768" fmla="*/ 9415 w 10785"/>
                <a:gd name="connsiteY768" fmla="*/ 3752 h 10000"/>
                <a:gd name="connsiteX769" fmla="*/ 9373 w 10785"/>
                <a:gd name="connsiteY769" fmla="*/ 3838 h 10000"/>
                <a:gd name="connsiteX770" fmla="*/ 9355 w 10785"/>
                <a:gd name="connsiteY770" fmla="*/ 3863 h 10000"/>
                <a:gd name="connsiteX771" fmla="*/ 9327 w 10785"/>
                <a:gd name="connsiteY771" fmla="*/ 3863 h 10000"/>
                <a:gd name="connsiteX772" fmla="*/ 9313 w 10785"/>
                <a:gd name="connsiteY772" fmla="*/ 3846 h 10000"/>
                <a:gd name="connsiteX773" fmla="*/ 9300 w 10785"/>
                <a:gd name="connsiteY773" fmla="*/ 3778 h 10000"/>
                <a:gd name="connsiteX774" fmla="*/ 9281 w 10785"/>
                <a:gd name="connsiteY774" fmla="*/ 3752 h 10000"/>
                <a:gd name="connsiteX775" fmla="*/ 9281 w 10785"/>
                <a:gd name="connsiteY775" fmla="*/ 3735 h 10000"/>
                <a:gd name="connsiteX776" fmla="*/ 9267 w 10785"/>
                <a:gd name="connsiteY776" fmla="*/ 3726 h 10000"/>
                <a:gd name="connsiteX777" fmla="*/ 9240 w 10785"/>
                <a:gd name="connsiteY777" fmla="*/ 3726 h 10000"/>
                <a:gd name="connsiteX778" fmla="*/ 9230 w 10785"/>
                <a:gd name="connsiteY778" fmla="*/ 3718 h 10000"/>
                <a:gd name="connsiteX779" fmla="*/ 9226 w 10785"/>
                <a:gd name="connsiteY779" fmla="*/ 3590 h 10000"/>
                <a:gd name="connsiteX780" fmla="*/ 9207 w 10785"/>
                <a:gd name="connsiteY780" fmla="*/ 3581 h 10000"/>
                <a:gd name="connsiteX781" fmla="*/ 9207 w 10785"/>
                <a:gd name="connsiteY781" fmla="*/ 3556 h 10000"/>
                <a:gd name="connsiteX782" fmla="*/ 9217 w 10785"/>
                <a:gd name="connsiteY782" fmla="*/ 3538 h 10000"/>
                <a:gd name="connsiteX783" fmla="*/ 9212 w 10785"/>
                <a:gd name="connsiteY783" fmla="*/ 3538 h 10000"/>
                <a:gd name="connsiteX784" fmla="*/ 9198 w 10785"/>
                <a:gd name="connsiteY784" fmla="*/ 3513 h 10000"/>
                <a:gd name="connsiteX785" fmla="*/ 9194 w 10785"/>
                <a:gd name="connsiteY785" fmla="*/ 3530 h 10000"/>
                <a:gd name="connsiteX786" fmla="*/ 9143 w 10785"/>
                <a:gd name="connsiteY786" fmla="*/ 3615 h 10000"/>
                <a:gd name="connsiteX787" fmla="*/ 9138 w 10785"/>
                <a:gd name="connsiteY787" fmla="*/ 3615 h 10000"/>
                <a:gd name="connsiteX788" fmla="*/ 9134 w 10785"/>
                <a:gd name="connsiteY788" fmla="*/ 3615 h 10000"/>
                <a:gd name="connsiteX789" fmla="*/ 9106 w 10785"/>
                <a:gd name="connsiteY789" fmla="*/ 3615 h 10000"/>
                <a:gd name="connsiteX790" fmla="*/ 9078 w 10785"/>
                <a:gd name="connsiteY790" fmla="*/ 3590 h 10000"/>
                <a:gd name="connsiteX791" fmla="*/ 9037 w 10785"/>
                <a:gd name="connsiteY791" fmla="*/ 3581 h 10000"/>
                <a:gd name="connsiteX792" fmla="*/ 9023 w 10785"/>
                <a:gd name="connsiteY792" fmla="*/ 3590 h 10000"/>
                <a:gd name="connsiteX793" fmla="*/ 9018 w 10785"/>
                <a:gd name="connsiteY793" fmla="*/ 3590 h 10000"/>
                <a:gd name="connsiteX794" fmla="*/ 9018 w 10785"/>
                <a:gd name="connsiteY794" fmla="*/ 3590 h 10000"/>
                <a:gd name="connsiteX795" fmla="*/ 8991 w 10785"/>
                <a:gd name="connsiteY795" fmla="*/ 3590 h 10000"/>
                <a:gd name="connsiteX796" fmla="*/ 8972 w 10785"/>
                <a:gd name="connsiteY796" fmla="*/ 3581 h 10000"/>
                <a:gd name="connsiteX797" fmla="*/ 8959 w 10785"/>
                <a:gd name="connsiteY797" fmla="*/ 3513 h 10000"/>
                <a:gd name="connsiteX798" fmla="*/ 8931 w 10785"/>
                <a:gd name="connsiteY798" fmla="*/ 3538 h 10000"/>
                <a:gd name="connsiteX799" fmla="*/ 8889 w 10785"/>
                <a:gd name="connsiteY799" fmla="*/ 3538 h 10000"/>
                <a:gd name="connsiteX800" fmla="*/ 8871 w 10785"/>
                <a:gd name="connsiteY800" fmla="*/ 3556 h 10000"/>
                <a:gd name="connsiteX801" fmla="*/ 8857 w 10785"/>
                <a:gd name="connsiteY801" fmla="*/ 3538 h 10000"/>
                <a:gd name="connsiteX802" fmla="*/ 8843 w 10785"/>
                <a:gd name="connsiteY802" fmla="*/ 3538 h 10000"/>
                <a:gd name="connsiteX803" fmla="*/ 8839 w 10785"/>
                <a:gd name="connsiteY803" fmla="*/ 3556 h 10000"/>
                <a:gd name="connsiteX804" fmla="*/ 8839 w 10785"/>
                <a:gd name="connsiteY804" fmla="*/ 3581 h 10000"/>
                <a:gd name="connsiteX805" fmla="*/ 8825 w 10785"/>
                <a:gd name="connsiteY805" fmla="*/ 3564 h 10000"/>
                <a:gd name="connsiteX806" fmla="*/ 8825 w 10785"/>
                <a:gd name="connsiteY806" fmla="*/ 3615 h 10000"/>
                <a:gd name="connsiteX807" fmla="*/ 8802 w 10785"/>
                <a:gd name="connsiteY807" fmla="*/ 3598 h 10000"/>
                <a:gd name="connsiteX808" fmla="*/ 8797 w 10785"/>
                <a:gd name="connsiteY808" fmla="*/ 3641 h 10000"/>
                <a:gd name="connsiteX809" fmla="*/ 8783 w 10785"/>
                <a:gd name="connsiteY809" fmla="*/ 3667 h 10000"/>
                <a:gd name="connsiteX810" fmla="*/ 8779 w 10785"/>
                <a:gd name="connsiteY810" fmla="*/ 3650 h 10000"/>
                <a:gd name="connsiteX811" fmla="*/ 8779 w 10785"/>
                <a:gd name="connsiteY811" fmla="*/ 3615 h 10000"/>
                <a:gd name="connsiteX812" fmla="*/ 8770 w 10785"/>
                <a:gd name="connsiteY812" fmla="*/ 3590 h 10000"/>
                <a:gd name="connsiteX813" fmla="*/ 8765 w 10785"/>
                <a:gd name="connsiteY813" fmla="*/ 3598 h 10000"/>
                <a:gd name="connsiteX814" fmla="*/ 8756 w 10785"/>
                <a:gd name="connsiteY814" fmla="*/ 3590 h 10000"/>
                <a:gd name="connsiteX815" fmla="*/ 8737 w 10785"/>
                <a:gd name="connsiteY815" fmla="*/ 3556 h 10000"/>
                <a:gd name="connsiteX816" fmla="*/ 8724 w 10785"/>
                <a:gd name="connsiteY816" fmla="*/ 3538 h 10000"/>
                <a:gd name="connsiteX817" fmla="*/ 8696 w 10785"/>
                <a:gd name="connsiteY817" fmla="*/ 3538 h 10000"/>
                <a:gd name="connsiteX818" fmla="*/ 8691 w 10785"/>
                <a:gd name="connsiteY818" fmla="*/ 3513 h 10000"/>
                <a:gd name="connsiteX819" fmla="*/ 8668 w 10785"/>
                <a:gd name="connsiteY819" fmla="*/ 3504 h 10000"/>
                <a:gd name="connsiteX820" fmla="*/ 8668 w 10785"/>
                <a:gd name="connsiteY820" fmla="*/ 3487 h 10000"/>
                <a:gd name="connsiteX821" fmla="*/ 8691 w 10785"/>
                <a:gd name="connsiteY821" fmla="*/ 3350 h 10000"/>
                <a:gd name="connsiteX822" fmla="*/ 8691 w 10785"/>
                <a:gd name="connsiteY822" fmla="*/ 3291 h 10000"/>
                <a:gd name="connsiteX823" fmla="*/ 8677 w 10785"/>
                <a:gd name="connsiteY823" fmla="*/ 3239 h 10000"/>
                <a:gd name="connsiteX824" fmla="*/ 8677 w 10785"/>
                <a:gd name="connsiteY824" fmla="*/ 3231 h 10000"/>
                <a:gd name="connsiteX825" fmla="*/ 8636 w 10785"/>
                <a:gd name="connsiteY825" fmla="*/ 3128 h 10000"/>
                <a:gd name="connsiteX826" fmla="*/ 8622 w 10785"/>
                <a:gd name="connsiteY826" fmla="*/ 3120 h 10000"/>
                <a:gd name="connsiteX827" fmla="*/ 8618 w 10785"/>
                <a:gd name="connsiteY827" fmla="*/ 3094 h 10000"/>
                <a:gd name="connsiteX828" fmla="*/ 8594 w 10785"/>
                <a:gd name="connsiteY828" fmla="*/ 3077 h 10000"/>
                <a:gd name="connsiteX829" fmla="*/ 8548 w 10785"/>
                <a:gd name="connsiteY829" fmla="*/ 3077 h 10000"/>
                <a:gd name="connsiteX830" fmla="*/ 8535 w 10785"/>
                <a:gd name="connsiteY830" fmla="*/ 3068 h 10000"/>
                <a:gd name="connsiteX831" fmla="*/ 8429 w 10785"/>
                <a:gd name="connsiteY831" fmla="*/ 3077 h 10000"/>
                <a:gd name="connsiteX832" fmla="*/ 8424 w 10785"/>
                <a:gd name="connsiteY832" fmla="*/ 3077 h 10000"/>
                <a:gd name="connsiteX833" fmla="*/ 8396 w 10785"/>
                <a:gd name="connsiteY833" fmla="*/ 3077 h 10000"/>
                <a:gd name="connsiteX834" fmla="*/ 8387 w 10785"/>
                <a:gd name="connsiteY834" fmla="*/ 3094 h 10000"/>
                <a:gd name="connsiteX835" fmla="*/ 8378 w 10785"/>
                <a:gd name="connsiteY835" fmla="*/ 3094 h 10000"/>
                <a:gd name="connsiteX836" fmla="*/ 8341 w 10785"/>
                <a:gd name="connsiteY836" fmla="*/ 3077 h 10000"/>
                <a:gd name="connsiteX837" fmla="*/ 8336 w 10785"/>
                <a:gd name="connsiteY837" fmla="*/ 3077 h 10000"/>
                <a:gd name="connsiteX838" fmla="*/ 8327 w 10785"/>
                <a:gd name="connsiteY838" fmla="*/ 3103 h 10000"/>
                <a:gd name="connsiteX839" fmla="*/ 8309 w 10785"/>
                <a:gd name="connsiteY839" fmla="*/ 3120 h 10000"/>
                <a:gd name="connsiteX840" fmla="*/ 8304 w 10785"/>
                <a:gd name="connsiteY840" fmla="*/ 3103 h 10000"/>
                <a:gd name="connsiteX841" fmla="*/ 8276 w 10785"/>
                <a:gd name="connsiteY841" fmla="*/ 3103 h 10000"/>
                <a:gd name="connsiteX842" fmla="*/ 8267 w 10785"/>
                <a:gd name="connsiteY842" fmla="*/ 3120 h 10000"/>
                <a:gd name="connsiteX843" fmla="*/ 8253 w 10785"/>
                <a:gd name="connsiteY843" fmla="*/ 3103 h 10000"/>
                <a:gd name="connsiteX844" fmla="*/ 8230 w 10785"/>
                <a:gd name="connsiteY844" fmla="*/ 3128 h 10000"/>
                <a:gd name="connsiteX845" fmla="*/ 8217 w 10785"/>
                <a:gd name="connsiteY845" fmla="*/ 3128 h 10000"/>
                <a:gd name="connsiteX846" fmla="*/ 8203 w 10785"/>
                <a:gd name="connsiteY846" fmla="*/ 3154 h 10000"/>
                <a:gd name="connsiteX847" fmla="*/ 8175 w 10785"/>
                <a:gd name="connsiteY847" fmla="*/ 3094 h 10000"/>
                <a:gd name="connsiteX848" fmla="*/ 8161 w 10785"/>
                <a:gd name="connsiteY848" fmla="*/ 3094 h 10000"/>
                <a:gd name="connsiteX849" fmla="*/ 8157 w 10785"/>
                <a:gd name="connsiteY849" fmla="*/ 3077 h 10000"/>
                <a:gd name="connsiteX850" fmla="*/ 8180 w 10785"/>
                <a:gd name="connsiteY850" fmla="*/ 3068 h 10000"/>
                <a:gd name="connsiteX851" fmla="*/ 8189 w 10785"/>
                <a:gd name="connsiteY851" fmla="*/ 3043 h 10000"/>
                <a:gd name="connsiteX852" fmla="*/ 8189 w 10785"/>
                <a:gd name="connsiteY852" fmla="*/ 3017 h 10000"/>
                <a:gd name="connsiteX853" fmla="*/ 8147 w 10785"/>
                <a:gd name="connsiteY853" fmla="*/ 2940 h 10000"/>
                <a:gd name="connsiteX854" fmla="*/ 8143 w 10785"/>
                <a:gd name="connsiteY854" fmla="*/ 2915 h 10000"/>
                <a:gd name="connsiteX855" fmla="*/ 8143 w 10785"/>
                <a:gd name="connsiteY855" fmla="*/ 2906 h 10000"/>
                <a:gd name="connsiteX856" fmla="*/ 8097 w 10785"/>
                <a:gd name="connsiteY856" fmla="*/ 2932 h 10000"/>
                <a:gd name="connsiteX857" fmla="*/ 8083 w 10785"/>
                <a:gd name="connsiteY857" fmla="*/ 2932 h 10000"/>
                <a:gd name="connsiteX858" fmla="*/ 8074 w 10785"/>
                <a:gd name="connsiteY858" fmla="*/ 2906 h 10000"/>
                <a:gd name="connsiteX859" fmla="*/ 8074 w 10785"/>
                <a:gd name="connsiteY859" fmla="*/ 2897 h 10000"/>
                <a:gd name="connsiteX860" fmla="*/ 8055 w 10785"/>
                <a:gd name="connsiteY860" fmla="*/ 2872 h 10000"/>
                <a:gd name="connsiteX861" fmla="*/ 8046 w 10785"/>
                <a:gd name="connsiteY861" fmla="*/ 2829 h 10000"/>
                <a:gd name="connsiteX862" fmla="*/ 8041 w 10785"/>
                <a:gd name="connsiteY862" fmla="*/ 2829 h 10000"/>
                <a:gd name="connsiteX863" fmla="*/ 8023 w 10785"/>
                <a:gd name="connsiteY863" fmla="*/ 2803 h 10000"/>
                <a:gd name="connsiteX864" fmla="*/ 8014 w 10785"/>
                <a:gd name="connsiteY864" fmla="*/ 2829 h 10000"/>
                <a:gd name="connsiteX865" fmla="*/ 8000 w 10785"/>
                <a:gd name="connsiteY865" fmla="*/ 2829 h 10000"/>
                <a:gd name="connsiteX866" fmla="*/ 7995 w 10785"/>
                <a:gd name="connsiteY866" fmla="*/ 2821 h 10000"/>
                <a:gd name="connsiteX867" fmla="*/ 7972 w 10785"/>
                <a:gd name="connsiteY867" fmla="*/ 2803 h 10000"/>
                <a:gd name="connsiteX868" fmla="*/ 7968 w 10785"/>
                <a:gd name="connsiteY868" fmla="*/ 2821 h 10000"/>
                <a:gd name="connsiteX869" fmla="*/ 7968 w 10785"/>
                <a:gd name="connsiteY869" fmla="*/ 2803 h 10000"/>
                <a:gd name="connsiteX870" fmla="*/ 7995 w 10785"/>
                <a:gd name="connsiteY870" fmla="*/ 2735 h 10000"/>
                <a:gd name="connsiteX871" fmla="*/ 8000 w 10785"/>
                <a:gd name="connsiteY871" fmla="*/ 2735 h 10000"/>
                <a:gd name="connsiteX872" fmla="*/ 8014 w 10785"/>
                <a:gd name="connsiteY872" fmla="*/ 2744 h 10000"/>
                <a:gd name="connsiteX873" fmla="*/ 8023 w 10785"/>
                <a:gd name="connsiteY873" fmla="*/ 2769 h 10000"/>
                <a:gd name="connsiteX874" fmla="*/ 8032 w 10785"/>
                <a:gd name="connsiteY874" fmla="*/ 2744 h 10000"/>
                <a:gd name="connsiteX875" fmla="*/ 8032 w 10785"/>
                <a:gd name="connsiteY875" fmla="*/ 2709 h 10000"/>
                <a:gd name="connsiteX876" fmla="*/ 8023 w 10785"/>
                <a:gd name="connsiteY876" fmla="*/ 2632 h 10000"/>
                <a:gd name="connsiteX877" fmla="*/ 7986 w 10785"/>
                <a:gd name="connsiteY877" fmla="*/ 2581 h 10000"/>
                <a:gd name="connsiteX878" fmla="*/ 7968 w 10785"/>
                <a:gd name="connsiteY878" fmla="*/ 2581 h 10000"/>
                <a:gd name="connsiteX879" fmla="*/ 7963 w 10785"/>
                <a:gd name="connsiteY879" fmla="*/ 2556 h 10000"/>
                <a:gd name="connsiteX880" fmla="*/ 7935 w 10785"/>
                <a:gd name="connsiteY880" fmla="*/ 2547 h 10000"/>
                <a:gd name="connsiteX881" fmla="*/ 7912 w 10785"/>
                <a:gd name="connsiteY881" fmla="*/ 2547 h 10000"/>
                <a:gd name="connsiteX882" fmla="*/ 7912 w 10785"/>
                <a:gd name="connsiteY882" fmla="*/ 2556 h 10000"/>
                <a:gd name="connsiteX883" fmla="*/ 7908 w 10785"/>
                <a:gd name="connsiteY883" fmla="*/ 2547 h 10000"/>
                <a:gd name="connsiteX884" fmla="*/ 7862 w 10785"/>
                <a:gd name="connsiteY884" fmla="*/ 2547 h 10000"/>
                <a:gd name="connsiteX885" fmla="*/ 7848 w 10785"/>
                <a:gd name="connsiteY885" fmla="*/ 2556 h 10000"/>
                <a:gd name="connsiteX886" fmla="*/ 7820 w 10785"/>
                <a:gd name="connsiteY886" fmla="*/ 2547 h 10000"/>
                <a:gd name="connsiteX887" fmla="*/ 7806 w 10785"/>
                <a:gd name="connsiteY887" fmla="*/ 2513 h 10000"/>
                <a:gd name="connsiteX888" fmla="*/ 7788 w 10785"/>
                <a:gd name="connsiteY888" fmla="*/ 2513 h 10000"/>
                <a:gd name="connsiteX889" fmla="*/ 7760 w 10785"/>
                <a:gd name="connsiteY889" fmla="*/ 2470 h 10000"/>
                <a:gd name="connsiteX890" fmla="*/ 7751 w 10785"/>
                <a:gd name="connsiteY890" fmla="*/ 2470 h 10000"/>
                <a:gd name="connsiteX891" fmla="*/ 7705 w 10785"/>
                <a:gd name="connsiteY891" fmla="*/ 2462 h 10000"/>
                <a:gd name="connsiteX892" fmla="*/ 7673 w 10785"/>
                <a:gd name="connsiteY892" fmla="*/ 2419 h 10000"/>
                <a:gd name="connsiteX893" fmla="*/ 7627 w 10785"/>
                <a:gd name="connsiteY893" fmla="*/ 2419 h 10000"/>
                <a:gd name="connsiteX894" fmla="*/ 7613 w 10785"/>
                <a:gd name="connsiteY894" fmla="*/ 2410 h 10000"/>
                <a:gd name="connsiteX895" fmla="*/ 7493 w 10785"/>
                <a:gd name="connsiteY895" fmla="*/ 2393 h 10000"/>
                <a:gd name="connsiteX896" fmla="*/ 7479 w 10785"/>
                <a:gd name="connsiteY896" fmla="*/ 2385 h 10000"/>
                <a:gd name="connsiteX897" fmla="*/ 7479 w 10785"/>
                <a:gd name="connsiteY897" fmla="*/ 2376 h 10000"/>
                <a:gd name="connsiteX898" fmla="*/ 7465 w 10785"/>
                <a:gd name="connsiteY898" fmla="*/ 2359 h 10000"/>
                <a:gd name="connsiteX899" fmla="*/ 7447 w 10785"/>
                <a:gd name="connsiteY899" fmla="*/ 2350 h 10000"/>
                <a:gd name="connsiteX900" fmla="*/ 7433 w 10785"/>
                <a:gd name="connsiteY900" fmla="*/ 2376 h 10000"/>
                <a:gd name="connsiteX901" fmla="*/ 7433 w 10785"/>
                <a:gd name="connsiteY901" fmla="*/ 2385 h 10000"/>
                <a:gd name="connsiteX902" fmla="*/ 7447 w 10785"/>
                <a:gd name="connsiteY902" fmla="*/ 2410 h 10000"/>
                <a:gd name="connsiteX903" fmla="*/ 7447 w 10785"/>
                <a:gd name="connsiteY903" fmla="*/ 2436 h 10000"/>
                <a:gd name="connsiteX904" fmla="*/ 7452 w 10785"/>
                <a:gd name="connsiteY904" fmla="*/ 2462 h 10000"/>
                <a:gd name="connsiteX905" fmla="*/ 7447 w 10785"/>
                <a:gd name="connsiteY905" fmla="*/ 2470 h 10000"/>
                <a:gd name="connsiteX906" fmla="*/ 7424 w 10785"/>
                <a:gd name="connsiteY906" fmla="*/ 2513 h 10000"/>
                <a:gd name="connsiteX907" fmla="*/ 7419 w 10785"/>
                <a:gd name="connsiteY907" fmla="*/ 2556 h 10000"/>
                <a:gd name="connsiteX908" fmla="*/ 7406 w 10785"/>
                <a:gd name="connsiteY908" fmla="*/ 2624 h 10000"/>
                <a:gd name="connsiteX909" fmla="*/ 7392 w 10785"/>
                <a:gd name="connsiteY909" fmla="*/ 2624 h 10000"/>
                <a:gd name="connsiteX910" fmla="*/ 7373 w 10785"/>
                <a:gd name="connsiteY910" fmla="*/ 2650 h 10000"/>
                <a:gd name="connsiteX911" fmla="*/ 7364 w 10785"/>
                <a:gd name="connsiteY911" fmla="*/ 2684 h 10000"/>
                <a:gd name="connsiteX912" fmla="*/ 7364 w 10785"/>
                <a:gd name="connsiteY912" fmla="*/ 2692 h 10000"/>
                <a:gd name="connsiteX913" fmla="*/ 7373 w 10785"/>
                <a:gd name="connsiteY913" fmla="*/ 2718 h 10000"/>
                <a:gd name="connsiteX914" fmla="*/ 7373 w 10785"/>
                <a:gd name="connsiteY914" fmla="*/ 2744 h 10000"/>
                <a:gd name="connsiteX915" fmla="*/ 7359 w 10785"/>
                <a:gd name="connsiteY915" fmla="*/ 2744 h 10000"/>
                <a:gd name="connsiteX916" fmla="*/ 7359 w 10785"/>
                <a:gd name="connsiteY916" fmla="*/ 2795 h 10000"/>
                <a:gd name="connsiteX917" fmla="*/ 7364 w 10785"/>
                <a:gd name="connsiteY917" fmla="*/ 2821 h 10000"/>
                <a:gd name="connsiteX918" fmla="*/ 7378 w 10785"/>
                <a:gd name="connsiteY918" fmla="*/ 2846 h 10000"/>
                <a:gd name="connsiteX919" fmla="*/ 7378 w 10785"/>
                <a:gd name="connsiteY919" fmla="*/ 2855 h 10000"/>
                <a:gd name="connsiteX920" fmla="*/ 7378 w 10785"/>
                <a:gd name="connsiteY920" fmla="*/ 2880 h 10000"/>
                <a:gd name="connsiteX921" fmla="*/ 7378 w 10785"/>
                <a:gd name="connsiteY921" fmla="*/ 2906 h 10000"/>
                <a:gd name="connsiteX922" fmla="*/ 7364 w 10785"/>
                <a:gd name="connsiteY922" fmla="*/ 2906 h 10000"/>
                <a:gd name="connsiteX923" fmla="*/ 7346 w 10785"/>
                <a:gd name="connsiteY923" fmla="*/ 2880 h 10000"/>
                <a:gd name="connsiteX924" fmla="*/ 7332 w 10785"/>
                <a:gd name="connsiteY924" fmla="*/ 2915 h 10000"/>
                <a:gd name="connsiteX925" fmla="*/ 7318 w 10785"/>
                <a:gd name="connsiteY925" fmla="*/ 2906 h 10000"/>
                <a:gd name="connsiteX926" fmla="*/ 7313 w 10785"/>
                <a:gd name="connsiteY926" fmla="*/ 2915 h 10000"/>
                <a:gd name="connsiteX927" fmla="*/ 7313 w 10785"/>
                <a:gd name="connsiteY927" fmla="*/ 2906 h 10000"/>
                <a:gd name="connsiteX928" fmla="*/ 7286 w 10785"/>
                <a:gd name="connsiteY928" fmla="*/ 2940 h 10000"/>
                <a:gd name="connsiteX929" fmla="*/ 7276 w 10785"/>
                <a:gd name="connsiteY929" fmla="*/ 2966 h 10000"/>
                <a:gd name="connsiteX930" fmla="*/ 7272 w 10785"/>
                <a:gd name="connsiteY930" fmla="*/ 2983 h 10000"/>
                <a:gd name="connsiteX931" fmla="*/ 7267 w 10785"/>
                <a:gd name="connsiteY931" fmla="*/ 3009 h 10000"/>
                <a:gd name="connsiteX932" fmla="*/ 7253 w 10785"/>
                <a:gd name="connsiteY932" fmla="*/ 3009 h 10000"/>
                <a:gd name="connsiteX933" fmla="*/ 7244 w 10785"/>
                <a:gd name="connsiteY933" fmla="*/ 3017 h 10000"/>
                <a:gd name="connsiteX934" fmla="*/ 7240 w 10785"/>
                <a:gd name="connsiteY934" fmla="*/ 3009 h 10000"/>
                <a:gd name="connsiteX935" fmla="*/ 7230 w 10785"/>
                <a:gd name="connsiteY935" fmla="*/ 2991 h 10000"/>
                <a:gd name="connsiteX936" fmla="*/ 7226 w 10785"/>
                <a:gd name="connsiteY936" fmla="*/ 2983 h 10000"/>
                <a:gd name="connsiteX937" fmla="*/ 7226 w 10785"/>
                <a:gd name="connsiteY937" fmla="*/ 2966 h 10000"/>
                <a:gd name="connsiteX938" fmla="*/ 7212 w 10785"/>
                <a:gd name="connsiteY938" fmla="*/ 2957 h 10000"/>
                <a:gd name="connsiteX939" fmla="*/ 7212 w 10785"/>
                <a:gd name="connsiteY939" fmla="*/ 2932 h 10000"/>
                <a:gd name="connsiteX940" fmla="*/ 7198 w 10785"/>
                <a:gd name="connsiteY940" fmla="*/ 2915 h 10000"/>
                <a:gd name="connsiteX941" fmla="*/ 7194 w 10785"/>
                <a:gd name="connsiteY941" fmla="*/ 2915 h 10000"/>
                <a:gd name="connsiteX942" fmla="*/ 7157 w 10785"/>
                <a:gd name="connsiteY942" fmla="*/ 2880 h 10000"/>
                <a:gd name="connsiteX943" fmla="*/ 7138 w 10785"/>
                <a:gd name="connsiteY943" fmla="*/ 2880 h 10000"/>
                <a:gd name="connsiteX944" fmla="*/ 7120 w 10785"/>
                <a:gd name="connsiteY944" fmla="*/ 2872 h 10000"/>
                <a:gd name="connsiteX945" fmla="*/ 7111 w 10785"/>
                <a:gd name="connsiteY945" fmla="*/ 2846 h 10000"/>
                <a:gd name="connsiteX946" fmla="*/ 7106 w 10785"/>
                <a:gd name="connsiteY946" fmla="*/ 2846 h 10000"/>
                <a:gd name="connsiteX947" fmla="*/ 7092 w 10785"/>
                <a:gd name="connsiteY947" fmla="*/ 2829 h 10000"/>
                <a:gd name="connsiteX948" fmla="*/ 7051 w 10785"/>
                <a:gd name="connsiteY948" fmla="*/ 2829 h 10000"/>
                <a:gd name="connsiteX949" fmla="*/ 7037 w 10785"/>
                <a:gd name="connsiteY949" fmla="*/ 2880 h 10000"/>
                <a:gd name="connsiteX950" fmla="*/ 7037 w 10785"/>
                <a:gd name="connsiteY950" fmla="*/ 2906 h 10000"/>
                <a:gd name="connsiteX951" fmla="*/ 7037 w 10785"/>
                <a:gd name="connsiteY951" fmla="*/ 2932 h 10000"/>
                <a:gd name="connsiteX952" fmla="*/ 7037 w 10785"/>
                <a:gd name="connsiteY952" fmla="*/ 2940 h 10000"/>
                <a:gd name="connsiteX953" fmla="*/ 7023 w 10785"/>
                <a:gd name="connsiteY953" fmla="*/ 2906 h 10000"/>
                <a:gd name="connsiteX954" fmla="*/ 7023 w 10785"/>
                <a:gd name="connsiteY954" fmla="*/ 2915 h 10000"/>
                <a:gd name="connsiteX955" fmla="*/ 6991 w 10785"/>
                <a:gd name="connsiteY955" fmla="*/ 2906 h 10000"/>
                <a:gd name="connsiteX956" fmla="*/ 6977 w 10785"/>
                <a:gd name="connsiteY956" fmla="*/ 2915 h 10000"/>
                <a:gd name="connsiteX957" fmla="*/ 6963 w 10785"/>
                <a:gd name="connsiteY957" fmla="*/ 2915 h 10000"/>
                <a:gd name="connsiteX958" fmla="*/ 6949 w 10785"/>
                <a:gd name="connsiteY958" fmla="*/ 2872 h 10000"/>
                <a:gd name="connsiteX959" fmla="*/ 6935 w 10785"/>
                <a:gd name="connsiteY959" fmla="*/ 2855 h 10000"/>
                <a:gd name="connsiteX960" fmla="*/ 6922 w 10785"/>
                <a:gd name="connsiteY960" fmla="*/ 2803 h 10000"/>
                <a:gd name="connsiteX961" fmla="*/ 6917 w 10785"/>
                <a:gd name="connsiteY961" fmla="*/ 2786 h 10000"/>
                <a:gd name="connsiteX962" fmla="*/ 6903 w 10785"/>
                <a:gd name="connsiteY962" fmla="*/ 2709 h 10000"/>
                <a:gd name="connsiteX963" fmla="*/ 6903 w 10785"/>
                <a:gd name="connsiteY963" fmla="*/ 2692 h 10000"/>
                <a:gd name="connsiteX964" fmla="*/ 6899 w 10785"/>
                <a:gd name="connsiteY964" fmla="*/ 2709 h 10000"/>
                <a:gd name="connsiteX965" fmla="*/ 6857 w 10785"/>
                <a:gd name="connsiteY965" fmla="*/ 2872 h 10000"/>
                <a:gd name="connsiteX966" fmla="*/ 6857 w 10785"/>
                <a:gd name="connsiteY966" fmla="*/ 3009 h 10000"/>
                <a:gd name="connsiteX967" fmla="*/ 6848 w 10785"/>
                <a:gd name="connsiteY967" fmla="*/ 3017 h 10000"/>
                <a:gd name="connsiteX968" fmla="*/ 6839 w 10785"/>
                <a:gd name="connsiteY968" fmla="*/ 3068 h 10000"/>
                <a:gd name="connsiteX969" fmla="*/ 6829 w 10785"/>
                <a:gd name="connsiteY969" fmla="*/ 3077 h 10000"/>
                <a:gd name="connsiteX970" fmla="*/ 6829 w 10785"/>
                <a:gd name="connsiteY970" fmla="*/ 3128 h 10000"/>
                <a:gd name="connsiteX971" fmla="*/ 6816 w 10785"/>
                <a:gd name="connsiteY971" fmla="*/ 3154 h 10000"/>
                <a:gd name="connsiteX972" fmla="*/ 6811 w 10785"/>
                <a:gd name="connsiteY972" fmla="*/ 3179 h 10000"/>
                <a:gd name="connsiteX973" fmla="*/ 6797 w 10785"/>
                <a:gd name="connsiteY973" fmla="*/ 3171 h 10000"/>
                <a:gd name="connsiteX974" fmla="*/ 6783 w 10785"/>
                <a:gd name="connsiteY974" fmla="*/ 3103 h 10000"/>
                <a:gd name="connsiteX975" fmla="*/ 6779 w 10785"/>
                <a:gd name="connsiteY975" fmla="*/ 3094 h 10000"/>
                <a:gd name="connsiteX976" fmla="*/ 6779 w 10785"/>
                <a:gd name="connsiteY976" fmla="*/ 3120 h 10000"/>
                <a:gd name="connsiteX977" fmla="*/ 6770 w 10785"/>
                <a:gd name="connsiteY977" fmla="*/ 3128 h 10000"/>
                <a:gd name="connsiteX978" fmla="*/ 6765 w 10785"/>
                <a:gd name="connsiteY978" fmla="*/ 3103 h 10000"/>
                <a:gd name="connsiteX979" fmla="*/ 6756 w 10785"/>
                <a:gd name="connsiteY979" fmla="*/ 3103 h 10000"/>
                <a:gd name="connsiteX980" fmla="*/ 6742 w 10785"/>
                <a:gd name="connsiteY980" fmla="*/ 3103 h 10000"/>
                <a:gd name="connsiteX981" fmla="*/ 6737 w 10785"/>
                <a:gd name="connsiteY981" fmla="*/ 3077 h 10000"/>
                <a:gd name="connsiteX982" fmla="*/ 6737 w 10785"/>
                <a:gd name="connsiteY982" fmla="*/ 3068 h 10000"/>
                <a:gd name="connsiteX983" fmla="*/ 6728 w 10785"/>
                <a:gd name="connsiteY983" fmla="*/ 3043 h 10000"/>
                <a:gd name="connsiteX984" fmla="*/ 6724 w 10785"/>
                <a:gd name="connsiteY984" fmla="*/ 3051 h 10000"/>
                <a:gd name="connsiteX985" fmla="*/ 6714 w 10785"/>
                <a:gd name="connsiteY985" fmla="*/ 3043 h 10000"/>
                <a:gd name="connsiteX986" fmla="*/ 6710 w 10785"/>
                <a:gd name="connsiteY986" fmla="*/ 3034 h 10000"/>
                <a:gd name="connsiteX987" fmla="*/ 6705 w 10785"/>
                <a:gd name="connsiteY987" fmla="*/ 2983 h 10000"/>
                <a:gd name="connsiteX988" fmla="*/ 6696 w 10785"/>
                <a:gd name="connsiteY988" fmla="*/ 2966 h 10000"/>
                <a:gd name="connsiteX989" fmla="*/ 6691 w 10785"/>
                <a:gd name="connsiteY989" fmla="*/ 2983 h 10000"/>
                <a:gd name="connsiteX990" fmla="*/ 6677 w 10785"/>
                <a:gd name="connsiteY990" fmla="*/ 2897 h 10000"/>
                <a:gd name="connsiteX991" fmla="*/ 6677 w 10785"/>
                <a:gd name="connsiteY991" fmla="*/ 2897 h 10000"/>
                <a:gd name="connsiteX992" fmla="*/ 6677 w 10785"/>
                <a:gd name="connsiteY992" fmla="*/ 2872 h 10000"/>
                <a:gd name="connsiteX993" fmla="*/ 6668 w 10785"/>
                <a:gd name="connsiteY993" fmla="*/ 2821 h 10000"/>
                <a:gd name="connsiteX994" fmla="*/ 6664 w 10785"/>
                <a:gd name="connsiteY994" fmla="*/ 2829 h 10000"/>
                <a:gd name="connsiteX995" fmla="*/ 6654 w 10785"/>
                <a:gd name="connsiteY995" fmla="*/ 2846 h 10000"/>
                <a:gd name="connsiteX996" fmla="*/ 6650 w 10785"/>
                <a:gd name="connsiteY996" fmla="*/ 2829 h 10000"/>
                <a:gd name="connsiteX997" fmla="*/ 6650 w 10785"/>
                <a:gd name="connsiteY997" fmla="*/ 2803 h 10000"/>
                <a:gd name="connsiteX998" fmla="*/ 6650 w 10785"/>
                <a:gd name="connsiteY998" fmla="*/ 2795 h 10000"/>
                <a:gd name="connsiteX999" fmla="*/ 6641 w 10785"/>
                <a:gd name="connsiteY999" fmla="*/ 2786 h 10000"/>
                <a:gd name="connsiteX1000" fmla="*/ 6636 w 10785"/>
                <a:gd name="connsiteY1000" fmla="*/ 2735 h 10000"/>
                <a:gd name="connsiteX1001" fmla="*/ 6664 w 10785"/>
                <a:gd name="connsiteY1001" fmla="*/ 2667 h 10000"/>
                <a:gd name="connsiteX1002" fmla="*/ 6668 w 10785"/>
                <a:gd name="connsiteY1002" fmla="*/ 2684 h 10000"/>
                <a:gd name="connsiteX1003" fmla="*/ 6677 w 10785"/>
                <a:gd name="connsiteY1003" fmla="*/ 2667 h 10000"/>
                <a:gd name="connsiteX1004" fmla="*/ 6668 w 10785"/>
                <a:gd name="connsiteY1004" fmla="*/ 2667 h 10000"/>
                <a:gd name="connsiteX1005" fmla="*/ 6668 w 10785"/>
                <a:gd name="connsiteY1005" fmla="*/ 2650 h 10000"/>
                <a:gd name="connsiteX1006" fmla="*/ 6682 w 10785"/>
                <a:gd name="connsiteY1006" fmla="*/ 2650 h 10000"/>
                <a:gd name="connsiteX1007" fmla="*/ 6691 w 10785"/>
                <a:gd name="connsiteY1007" fmla="*/ 2624 h 10000"/>
                <a:gd name="connsiteX1008" fmla="*/ 6682 w 10785"/>
                <a:gd name="connsiteY1008" fmla="*/ 2632 h 10000"/>
                <a:gd name="connsiteX1009" fmla="*/ 6682 w 10785"/>
                <a:gd name="connsiteY1009" fmla="*/ 2624 h 10000"/>
                <a:gd name="connsiteX1010" fmla="*/ 6691 w 10785"/>
                <a:gd name="connsiteY1010" fmla="*/ 2607 h 10000"/>
                <a:gd name="connsiteX1011" fmla="*/ 6691 w 10785"/>
                <a:gd name="connsiteY1011" fmla="*/ 2598 h 10000"/>
                <a:gd name="connsiteX1012" fmla="*/ 6691 w 10785"/>
                <a:gd name="connsiteY1012" fmla="*/ 2581 h 10000"/>
                <a:gd name="connsiteX1013" fmla="*/ 6696 w 10785"/>
                <a:gd name="connsiteY1013" fmla="*/ 2530 h 10000"/>
                <a:gd name="connsiteX1014" fmla="*/ 6677 w 10785"/>
                <a:gd name="connsiteY1014" fmla="*/ 2513 h 10000"/>
                <a:gd name="connsiteX1015" fmla="*/ 6677 w 10785"/>
                <a:gd name="connsiteY1015" fmla="*/ 2496 h 10000"/>
                <a:gd name="connsiteX1016" fmla="*/ 6682 w 10785"/>
                <a:gd name="connsiteY1016" fmla="*/ 2470 h 10000"/>
                <a:gd name="connsiteX1017" fmla="*/ 6668 w 10785"/>
                <a:gd name="connsiteY1017" fmla="*/ 2462 h 10000"/>
                <a:gd name="connsiteX1018" fmla="*/ 6677 w 10785"/>
                <a:gd name="connsiteY1018" fmla="*/ 2436 h 10000"/>
                <a:gd name="connsiteX1019" fmla="*/ 6682 w 10785"/>
                <a:gd name="connsiteY1019" fmla="*/ 2419 h 10000"/>
                <a:gd name="connsiteX1020" fmla="*/ 6682 w 10785"/>
                <a:gd name="connsiteY1020" fmla="*/ 2393 h 10000"/>
                <a:gd name="connsiteX1021" fmla="*/ 6682 w 10785"/>
                <a:gd name="connsiteY1021" fmla="*/ 2385 h 10000"/>
                <a:gd name="connsiteX1022" fmla="*/ 6682 w 10785"/>
                <a:gd name="connsiteY1022" fmla="*/ 2385 h 10000"/>
                <a:gd name="connsiteX1023" fmla="*/ 6677 w 10785"/>
                <a:gd name="connsiteY1023" fmla="*/ 2376 h 10000"/>
                <a:gd name="connsiteX1024" fmla="*/ 6682 w 10785"/>
                <a:gd name="connsiteY1024" fmla="*/ 2359 h 10000"/>
                <a:gd name="connsiteX1025" fmla="*/ 6677 w 10785"/>
                <a:gd name="connsiteY1025" fmla="*/ 2333 h 10000"/>
                <a:gd name="connsiteX1026" fmla="*/ 6691 w 10785"/>
                <a:gd name="connsiteY1026" fmla="*/ 2333 h 10000"/>
                <a:gd name="connsiteX1027" fmla="*/ 6691 w 10785"/>
                <a:gd name="connsiteY1027" fmla="*/ 2325 h 10000"/>
                <a:gd name="connsiteX1028" fmla="*/ 6691 w 10785"/>
                <a:gd name="connsiteY1028" fmla="*/ 2308 h 10000"/>
                <a:gd name="connsiteX1029" fmla="*/ 6691 w 10785"/>
                <a:gd name="connsiteY1029" fmla="*/ 2299 h 10000"/>
                <a:gd name="connsiteX1030" fmla="*/ 6691 w 10785"/>
                <a:gd name="connsiteY1030" fmla="*/ 2282 h 10000"/>
                <a:gd name="connsiteX1031" fmla="*/ 6691 w 10785"/>
                <a:gd name="connsiteY1031" fmla="*/ 2274 h 10000"/>
                <a:gd name="connsiteX1032" fmla="*/ 6668 w 10785"/>
                <a:gd name="connsiteY1032" fmla="*/ 2248 h 10000"/>
                <a:gd name="connsiteX1033" fmla="*/ 6664 w 10785"/>
                <a:gd name="connsiteY1033" fmla="*/ 2222 h 10000"/>
                <a:gd name="connsiteX1034" fmla="*/ 6654 w 10785"/>
                <a:gd name="connsiteY1034" fmla="*/ 2214 h 10000"/>
                <a:gd name="connsiteX1035" fmla="*/ 6654 w 10785"/>
                <a:gd name="connsiteY1035" fmla="*/ 2188 h 10000"/>
                <a:gd name="connsiteX1036" fmla="*/ 6622 w 10785"/>
                <a:gd name="connsiteY1036" fmla="*/ 2162 h 10000"/>
                <a:gd name="connsiteX1037" fmla="*/ 6631 w 10785"/>
                <a:gd name="connsiteY1037" fmla="*/ 2145 h 10000"/>
                <a:gd name="connsiteX1038" fmla="*/ 6622 w 10785"/>
                <a:gd name="connsiteY1038" fmla="*/ 2120 h 10000"/>
                <a:gd name="connsiteX1039" fmla="*/ 6608 w 10785"/>
                <a:gd name="connsiteY1039" fmla="*/ 2120 h 10000"/>
                <a:gd name="connsiteX1040" fmla="*/ 6604 w 10785"/>
                <a:gd name="connsiteY1040" fmla="*/ 2111 h 10000"/>
                <a:gd name="connsiteX1041" fmla="*/ 6608 w 10785"/>
                <a:gd name="connsiteY1041" fmla="*/ 2111 h 10000"/>
                <a:gd name="connsiteX1042" fmla="*/ 6604 w 10785"/>
                <a:gd name="connsiteY1042" fmla="*/ 2085 h 10000"/>
                <a:gd name="connsiteX1043" fmla="*/ 6581 w 10785"/>
                <a:gd name="connsiteY1043" fmla="*/ 2077 h 10000"/>
                <a:gd name="connsiteX1044" fmla="*/ 6571 w 10785"/>
                <a:gd name="connsiteY1044" fmla="*/ 2085 h 10000"/>
                <a:gd name="connsiteX1045" fmla="*/ 6548 w 10785"/>
                <a:gd name="connsiteY1045" fmla="*/ 2077 h 10000"/>
                <a:gd name="connsiteX1046" fmla="*/ 6530 w 10785"/>
                <a:gd name="connsiteY1046" fmla="*/ 2060 h 10000"/>
                <a:gd name="connsiteX1047" fmla="*/ 6521 w 10785"/>
                <a:gd name="connsiteY1047" fmla="*/ 2060 h 10000"/>
                <a:gd name="connsiteX1048" fmla="*/ 6521 w 10785"/>
                <a:gd name="connsiteY1048" fmla="*/ 2085 h 10000"/>
                <a:gd name="connsiteX1049" fmla="*/ 6516 w 10785"/>
                <a:gd name="connsiteY1049" fmla="*/ 2085 h 10000"/>
                <a:gd name="connsiteX1050" fmla="*/ 6502 w 10785"/>
                <a:gd name="connsiteY1050" fmla="*/ 2111 h 10000"/>
                <a:gd name="connsiteX1051" fmla="*/ 6498 w 10785"/>
                <a:gd name="connsiteY1051" fmla="*/ 2111 h 10000"/>
                <a:gd name="connsiteX1052" fmla="*/ 6498 w 10785"/>
                <a:gd name="connsiteY1052" fmla="*/ 2103 h 10000"/>
                <a:gd name="connsiteX1053" fmla="*/ 6475 w 10785"/>
                <a:gd name="connsiteY1053" fmla="*/ 2051 h 10000"/>
                <a:gd name="connsiteX1054" fmla="*/ 6470 w 10785"/>
                <a:gd name="connsiteY1054" fmla="*/ 2060 h 10000"/>
                <a:gd name="connsiteX1055" fmla="*/ 6456 w 10785"/>
                <a:gd name="connsiteY1055" fmla="*/ 2051 h 10000"/>
                <a:gd name="connsiteX1056" fmla="*/ 6447 w 10785"/>
                <a:gd name="connsiteY1056" fmla="*/ 2051 h 10000"/>
                <a:gd name="connsiteX1057" fmla="*/ 6433 w 10785"/>
                <a:gd name="connsiteY1057" fmla="*/ 2026 h 10000"/>
                <a:gd name="connsiteX1058" fmla="*/ 6433 w 10785"/>
                <a:gd name="connsiteY1058" fmla="*/ 2034 h 10000"/>
                <a:gd name="connsiteX1059" fmla="*/ 6429 w 10785"/>
                <a:gd name="connsiteY1059" fmla="*/ 2026 h 10000"/>
                <a:gd name="connsiteX1060" fmla="*/ 6424 w 10785"/>
                <a:gd name="connsiteY1060" fmla="*/ 2034 h 10000"/>
                <a:gd name="connsiteX1061" fmla="*/ 6410 w 10785"/>
                <a:gd name="connsiteY1061" fmla="*/ 2026 h 10000"/>
                <a:gd name="connsiteX1062" fmla="*/ 6410 w 10785"/>
                <a:gd name="connsiteY1062" fmla="*/ 1991 h 10000"/>
                <a:gd name="connsiteX1063" fmla="*/ 6401 w 10785"/>
                <a:gd name="connsiteY1063" fmla="*/ 1991 h 10000"/>
                <a:gd name="connsiteX1064" fmla="*/ 6396 w 10785"/>
                <a:gd name="connsiteY1064" fmla="*/ 2000 h 10000"/>
                <a:gd name="connsiteX1065" fmla="*/ 6382 w 10785"/>
                <a:gd name="connsiteY1065" fmla="*/ 1966 h 10000"/>
                <a:gd name="connsiteX1066" fmla="*/ 6373 w 10785"/>
                <a:gd name="connsiteY1066" fmla="*/ 1974 h 10000"/>
                <a:gd name="connsiteX1067" fmla="*/ 6369 w 10785"/>
                <a:gd name="connsiteY1067" fmla="*/ 1966 h 10000"/>
                <a:gd name="connsiteX1068" fmla="*/ 6341 w 10785"/>
                <a:gd name="connsiteY1068" fmla="*/ 1949 h 10000"/>
                <a:gd name="connsiteX1069" fmla="*/ 6327 w 10785"/>
                <a:gd name="connsiteY1069" fmla="*/ 1923 h 10000"/>
                <a:gd name="connsiteX1070" fmla="*/ 6323 w 10785"/>
                <a:gd name="connsiteY1070" fmla="*/ 1923 h 10000"/>
                <a:gd name="connsiteX1071" fmla="*/ 6323 w 10785"/>
                <a:gd name="connsiteY1071" fmla="*/ 1966 h 10000"/>
                <a:gd name="connsiteX1072" fmla="*/ 6323 w 10785"/>
                <a:gd name="connsiteY1072" fmla="*/ 1991 h 10000"/>
                <a:gd name="connsiteX1073" fmla="*/ 6313 w 10785"/>
                <a:gd name="connsiteY1073" fmla="*/ 1991 h 10000"/>
                <a:gd name="connsiteX1074" fmla="*/ 6300 w 10785"/>
                <a:gd name="connsiteY1074" fmla="*/ 1991 h 10000"/>
                <a:gd name="connsiteX1075" fmla="*/ 6290 w 10785"/>
                <a:gd name="connsiteY1075" fmla="*/ 1949 h 10000"/>
                <a:gd name="connsiteX1076" fmla="*/ 6276 w 10785"/>
                <a:gd name="connsiteY1076" fmla="*/ 2103 h 10000"/>
                <a:gd name="connsiteX1077" fmla="*/ 6281 w 10785"/>
                <a:gd name="connsiteY1077" fmla="*/ 2103 h 10000"/>
                <a:gd name="connsiteX1078" fmla="*/ 6276 w 10785"/>
                <a:gd name="connsiteY1078" fmla="*/ 2111 h 10000"/>
                <a:gd name="connsiteX1079" fmla="*/ 6276 w 10785"/>
                <a:gd name="connsiteY1079" fmla="*/ 2120 h 10000"/>
                <a:gd name="connsiteX1080" fmla="*/ 6295 w 10785"/>
                <a:gd name="connsiteY1080" fmla="*/ 2239 h 10000"/>
                <a:gd name="connsiteX1081" fmla="*/ 6290 w 10785"/>
                <a:gd name="connsiteY1081" fmla="*/ 2248 h 10000"/>
                <a:gd name="connsiteX1082" fmla="*/ 6281 w 10785"/>
                <a:gd name="connsiteY1082" fmla="*/ 2274 h 10000"/>
                <a:gd name="connsiteX1083" fmla="*/ 6249 w 10785"/>
                <a:gd name="connsiteY1083" fmla="*/ 2274 h 10000"/>
                <a:gd name="connsiteX1084" fmla="*/ 6226 w 10785"/>
                <a:gd name="connsiteY1084" fmla="*/ 2308 h 10000"/>
                <a:gd name="connsiteX1085" fmla="*/ 6221 w 10785"/>
                <a:gd name="connsiteY1085" fmla="*/ 2299 h 10000"/>
                <a:gd name="connsiteX1086" fmla="*/ 6221 w 10785"/>
                <a:gd name="connsiteY1086" fmla="*/ 2308 h 10000"/>
                <a:gd name="connsiteX1087" fmla="*/ 6217 w 10785"/>
                <a:gd name="connsiteY1087" fmla="*/ 2299 h 10000"/>
                <a:gd name="connsiteX1088" fmla="*/ 6194 w 10785"/>
                <a:gd name="connsiteY1088" fmla="*/ 2308 h 10000"/>
                <a:gd name="connsiteX1089" fmla="*/ 6180 w 10785"/>
                <a:gd name="connsiteY1089" fmla="*/ 2299 h 10000"/>
                <a:gd name="connsiteX1090" fmla="*/ 6143 w 10785"/>
                <a:gd name="connsiteY1090" fmla="*/ 2308 h 10000"/>
                <a:gd name="connsiteX1091" fmla="*/ 6134 w 10785"/>
                <a:gd name="connsiteY1091" fmla="*/ 2325 h 10000"/>
                <a:gd name="connsiteX1092" fmla="*/ 6115 w 10785"/>
                <a:gd name="connsiteY1092" fmla="*/ 2282 h 10000"/>
                <a:gd name="connsiteX1093" fmla="*/ 6069 w 10785"/>
                <a:gd name="connsiteY1093" fmla="*/ 2274 h 10000"/>
                <a:gd name="connsiteX1094" fmla="*/ 6069 w 10785"/>
                <a:gd name="connsiteY1094" fmla="*/ 2282 h 10000"/>
                <a:gd name="connsiteX1095" fmla="*/ 6060 w 10785"/>
                <a:gd name="connsiteY1095" fmla="*/ 2299 h 10000"/>
                <a:gd name="connsiteX1096" fmla="*/ 5972 w 10785"/>
                <a:gd name="connsiteY1096" fmla="*/ 2214 h 10000"/>
                <a:gd name="connsiteX1097" fmla="*/ 5968 w 10785"/>
                <a:gd name="connsiteY1097" fmla="*/ 2197 h 10000"/>
                <a:gd name="connsiteX1098" fmla="*/ 5968 w 10785"/>
                <a:gd name="connsiteY1098" fmla="*/ 2171 h 10000"/>
                <a:gd name="connsiteX1099" fmla="*/ 5968 w 10785"/>
                <a:gd name="connsiteY1099" fmla="*/ 2162 h 10000"/>
                <a:gd name="connsiteX1100" fmla="*/ 5968 w 10785"/>
                <a:gd name="connsiteY1100" fmla="*/ 2120 h 10000"/>
                <a:gd name="connsiteX1101" fmla="*/ 5968 w 10785"/>
                <a:gd name="connsiteY1101" fmla="*/ 2111 h 10000"/>
                <a:gd name="connsiteX1102" fmla="*/ 5972 w 10785"/>
                <a:gd name="connsiteY1102" fmla="*/ 2103 h 10000"/>
                <a:gd name="connsiteX1103" fmla="*/ 5986 w 10785"/>
                <a:gd name="connsiteY1103" fmla="*/ 2103 h 10000"/>
                <a:gd name="connsiteX1104" fmla="*/ 5986 w 10785"/>
                <a:gd name="connsiteY1104" fmla="*/ 2085 h 10000"/>
                <a:gd name="connsiteX1105" fmla="*/ 5995 w 10785"/>
                <a:gd name="connsiteY1105" fmla="*/ 2085 h 10000"/>
                <a:gd name="connsiteX1106" fmla="*/ 5995 w 10785"/>
                <a:gd name="connsiteY1106" fmla="*/ 2077 h 10000"/>
                <a:gd name="connsiteX1107" fmla="*/ 5986 w 10785"/>
                <a:gd name="connsiteY1107" fmla="*/ 2060 h 10000"/>
                <a:gd name="connsiteX1108" fmla="*/ 5954 w 10785"/>
                <a:gd name="connsiteY1108" fmla="*/ 2060 h 10000"/>
                <a:gd name="connsiteX1109" fmla="*/ 5940 w 10785"/>
                <a:gd name="connsiteY1109" fmla="*/ 2051 h 10000"/>
                <a:gd name="connsiteX1110" fmla="*/ 5922 w 10785"/>
                <a:gd name="connsiteY1110" fmla="*/ 2060 h 10000"/>
                <a:gd name="connsiteX1111" fmla="*/ 5885 w 10785"/>
                <a:gd name="connsiteY1111" fmla="*/ 2051 h 10000"/>
                <a:gd name="connsiteX1112" fmla="*/ 5876 w 10785"/>
                <a:gd name="connsiteY1112" fmla="*/ 2026 h 10000"/>
                <a:gd name="connsiteX1113" fmla="*/ 5862 w 10785"/>
                <a:gd name="connsiteY1113" fmla="*/ 2026 h 10000"/>
                <a:gd name="connsiteX1114" fmla="*/ 5848 w 10785"/>
                <a:gd name="connsiteY1114" fmla="*/ 2026 h 10000"/>
                <a:gd name="connsiteX1115" fmla="*/ 5825 w 10785"/>
                <a:gd name="connsiteY1115" fmla="*/ 2026 h 10000"/>
                <a:gd name="connsiteX1116" fmla="*/ 5788 w 10785"/>
                <a:gd name="connsiteY1116" fmla="*/ 1991 h 10000"/>
                <a:gd name="connsiteX1117" fmla="*/ 5760 w 10785"/>
                <a:gd name="connsiteY1117" fmla="*/ 2000 h 10000"/>
                <a:gd name="connsiteX1118" fmla="*/ 5760 w 10785"/>
                <a:gd name="connsiteY1118" fmla="*/ 2026 h 10000"/>
                <a:gd name="connsiteX1119" fmla="*/ 5714 w 10785"/>
                <a:gd name="connsiteY1119" fmla="*/ 2051 h 10000"/>
                <a:gd name="connsiteX1120" fmla="*/ 5687 w 10785"/>
                <a:gd name="connsiteY1120" fmla="*/ 2034 h 10000"/>
                <a:gd name="connsiteX1121" fmla="*/ 5645 w 10785"/>
                <a:gd name="connsiteY1121" fmla="*/ 2077 h 10000"/>
                <a:gd name="connsiteX1122" fmla="*/ 5664 w 10785"/>
                <a:gd name="connsiteY1122" fmla="*/ 2120 h 10000"/>
                <a:gd name="connsiteX1123" fmla="*/ 5664 w 10785"/>
                <a:gd name="connsiteY1123" fmla="*/ 2162 h 10000"/>
                <a:gd name="connsiteX1124" fmla="*/ 5631 w 10785"/>
                <a:gd name="connsiteY1124" fmla="*/ 2197 h 10000"/>
                <a:gd name="connsiteX1125" fmla="*/ 5618 w 10785"/>
                <a:gd name="connsiteY1125" fmla="*/ 2188 h 10000"/>
                <a:gd name="connsiteX1126" fmla="*/ 5618 w 10785"/>
                <a:gd name="connsiteY1126" fmla="*/ 2171 h 10000"/>
                <a:gd name="connsiteX1127" fmla="*/ 5641 w 10785"/>
                <a:gd name="connsiteY1127" fmla="*/ 2171 h 10000"/>
                <a:gd name="connsiteX1128" fmla="*/ 5641 w 10785"/>
                <a:gd name="connsiteY1128" fmla="*/ 2162 h 10000"/>
                <a:gd name="connsiteX1129" fmla="*/ 5627 w 10785"/>
                <a:gd name="connsiteY1129" fmla="*/ 2145 h 10000"/>
                <a:gd name="connsiteX1130" fmla="*/ 5627 w 10785"/>
                <a:gd name="connsiteY1130" fmla="*/ 2120 h 10000"/>
                <a:gd name="connsiteX1131" fmla="*/ 5618 w 10785"/>
                <a:gd name="connsiteY1131" fmla="*/ 2111 h 10000"/>
                <a:gd name="connsiteX1132" fmla="*/ 5631 w 10785"/>
                <a:gd name="connsiteY1132" fmla="*/ 2051 h 10000"/>
                <a:gd name="connsiteX1133" fmla="*/ 5631 w 10785"/>
                <a:gd name="connsiteY1133" fmla="*/ 2026 h 10000"/>
                <a:gd name="connsiteX1134" fmla="*/ 5627 w 10785"/>
                <a:gd name="connsiteY1134" fmla="*/ 1991 h 10000"/>
                <a:gd name="connsiteX1135" fmla="*/ 5618 w 10785"/>
                <a:gd name="connsiteY1135" fmla="*/ 1974 h 10000"/>
                <a:gd name="connsiteX1136" fmla="*/ 5618 w 10785"/>
                <a:gd name="connsiteY1136" fmla="*/ 1940 h 10000"/>
                <a:gd name="connsiteX1137" fmla="*/ 5594 w 10785"/>
                <a:gd name="connsiteY1137" fmla="*/ 1855 h 10000"/>
                <a:gd name="connsiteX1138" fmla="*/ 5599 w 10785"/>
                <a:gd name="connsiteY1138" fmla="*/ 1915 h 10000"/>
                <a:gd name="connsiteX1139" fmla="*/ 5599 w 10785"/>
                <a:gd name="connsiteY1139" fmla="*/ 1949 h 10000"/>
                <a:gd name="connsiteX1140" fmla="*/ 5594 w 10785"/>
                <a:gd name="connsiteY1140" fmla="*/ 1991 h 10000"/>
                <a:gd name="connsiteX1141" fmla="*/ 5571 w 10785"/>
                <a:gd name="connsiteY1141" fmla="*/ 2000 h 10000"/>
                <a:gd name="connsiteX1142" fmla="*/ 5530 w 10785"/>
                <a:gd name="connsiteY1142" fmla="*/ 1991 h 10000"/>
                <a:gd name="connsiteX1143" fmla="*/ 5525 w 10785"/>
                <a:gd name="connsiteY1143" fmla="*/ 2000 h 10000"/>
                <a:gd name="connsiteX1144" fmla="*/ 5521 w 10785"/>
                <a:gd name="connsiteY1144" fmla="*/ 1991 h 10000"/>
                <a:gd name="connsiteX1145" fmla="*/ 5498 w 10785"/>
                <a:gd name="connsiteY1145" fmla="*/ 1949 h 10000"/>
                <a:gd name="connsiteX1146" fmla="*/ 5493 w 10785"/>
                <a:gd name="connsiteY1146" fmla="*/ 1889 h 10000"/>
                <a:gd name="connsiteX1147" fmla="*/ 5493 w 10785"/>
                <a:gd name="connsiteY1147" fmla="*/ 1863 h 10000"/>
                <a:gd name="connsiteX1148" fmla="*/ 5498 w 10785"/>
                <a:gd name="connsiteY1148" fmla="*/ 1889 h 10000"/>
                <a:gd name="connsiteX1149" fmla="*/ 5512 w 10785"/>
                <a:gd name="connsiteY1149" fmla="*/ 1855 h 10000"/>
                <a:gd name="connsiteX1150" fmla="*/ 5512 w 10785"/>
                <a:gd name="connsiteY1150" fmla="*/ 1838 h 10000"/>
                <a:gd name="connsiteX1151" fmla="*/ 5479 w 10785"/>
                <a:gd name="connsiteY1151" fmla="*/ 1855 h 10000"/>
                <a:gd name="connsiteX1152" fmla="*/ 5470 w 10785"/>
                <a:gd name="connsiteY1152" fmla="*/ 1872 h 10000"/>
                <a:gd name="connsiteX1153" fmla="*/ 5470 w 10785"/>
                <a:gd name="connsiteY1153" fmla="*/ 1889 h 10000"/>
                <a:gd name="connsiteX1154" fmla="*/ 5465 w 10785"/>
                <a:gd name="connsiteY1154" fmla="*/ 1897 h 10000"/>
                <a:gd name="connsiteX1155" fmla="*/ 5456 w 10785"/>
                <a:gd name="connsiteY1155" fmla="*/ 1872 h 10000"/>
                <a:gd name="connsiteX1156" fmla="*/ 5447 w 10785"/>
                <a:gd name="connsiteY1156" fmla="*/ 1872 h 10000"/>
                <a:gd name="connsiteX1157" fmla="*/ 5433 w 10785"/>
                <a:gd name="connsiteY1157" fmla="*/ 1855 h 10000"/>
                <a:gd name="connsiteX1158" fmla="*/ 5396 w 10785"/>
                <a:gd name="connsiteY1158" fmla="*/ 1863 h 10000"/>
                <a:gd name="connsiteX1159" fmla="*/ 5396 w 10785"/>
                <a:gd name="connsiteY1159" fmla="*/ 1897 h 10000"/>
                <a:gd name="connsiteX1160" fmla="*/ 5378 w 10785"/>
                <a:gd name="connsiteY1160" fmla="*/ 1949 h 10000"/>
                <a:gd name="connsiteX1161" fmla="*/ 5378 w 10785"/>
                <a:gd name="connsiteY1161" fmla="*/ 1966 h 10000"/>
                <a:gd name="connsiteX1162" fmla="*/ 5392 w 10785"/>
                <a:gd name="connsiteY1162" fmla="*/ 2026 h 10000"/>
                <a:gd name="connsiteX1163" fmla="*/ 5396 w 10785"/>
                <a:gd name="connsiteY1163" fmla="*/ 2026 h 10000"/>
                <a:gd name="connsiteX1164" fmla="*/ 5392 w 10785"/>
                <a:gd name="connsiteY1164" fmla="*/ 2009 h 10000"/>
                <a:gd name="connsiteX1165" fmla="*/ 5392 w 10785"/>
                <a:gd name="connsiteY1165" fmla="*/ 2000 h 10000"/>
                <a:gd name="connsiteX1166" fmla="*/ 5396 w 10785"/>
                <a:gd name="connsiteY1166" fmla="*/ 2009 h 10000"/>
                <a:gd name="connsiteX1167" fmla="*/ 5424 w 10785"/>
                <a:gd name="connsiteY1167" fmla="*/ 2009 h 10000"/>
                <a:gd name="connsiteX1168" fmla="*/ 5433 w 10785"/>
                <a:gd name="connsiteY1168" fmla="*/ 1991 h 10000"/>
                <a:gd name="connsiteX1169" fmla="*/ 5447 w 10785"/>
                <a:gd name="connsiteY1169" fmla="*/ 1974 h 10000"/>
                <a:gd name="connsiteX1170" fmla="*/ 5452 w 10785"/>
                <a:gd name="connsiteY1170" fmla="*/ 1966 h 10000"/>
                <a:gd name="connsiteX1171" fmla="*/ 5456 w 10785"/>
                <a:gd name="connsiteY1171" fmla="*/ 1966 h 10000"/>
                <a:gd name="connsiteX1172" fmla="*/ 5465 w 10785"/>
                <a:gd name="connsiteY1172" fmla="*/ 2009 h 10000"/>
                <a:gd name="connsiteX1173" fmla="*/ 5433 w 10785"/>
                <a:gd name="connsiteY1173" fmla="*/ 2034 h 10000"/>
                <a:gd name="connsiteX1174" fmla="*/ 5424 w 10785"/>
                <a:gd name="connsiteY1174" fmla="*/ 2060 h 10000"/>
                <a:gd name="connsiteX1175" fmla="*/ 5419 w 10785"/>
                <a:gd name="connsiteY1175" fmla="*/ 2060 h 10000"/>
                <a:gd name="connsiteX1176" fmla="*/ 5392 w 10785"/>
                <a:gd name="connsiteY1176" fmla="*/ 2111 h 10000"/>
                <a:gd name="connsiteX1177" fmla="*/ 5378 w 10785"/>
                <a:gd name="connsiteY1177" fmla="*/ 2111 h 10000"/>
                <a:gd name="connsiteX1178" fmla="*/ 5350 w 10785"/>
                <a:gd name="connsiteY1178" fmla="*/ 2060 h 10000"/>
                <a:gd name="connsiteX1179" fmla="*/ 5373 w 10785"/>
                <a:gd name="connsiteY1179" fmla="*/ 2111 h 10000"/>
                <a:gd name="connsiteX1180" fmla="*/ 5364 w 10785"/>
                <a:gd name="connsiteY1180" fmla="*/ 2111 h 10000"/>
                <a:gd name="connsiteX1181" fmla="*/ 5359 w 10785"/>
                <a:gd name="connsiteY1181" fmla="*/ 2103 h 10000"/>
                <a:gd name="connsiteX1182" fmla="*/ 5359 w 10785"/>
                <a:gd name="connsiteY1182" fmla="*/ 2120 h 10000"/>
                <a:gd name="connsiteX1183" fmla="*/ 5359 w 10785"/>
                <a:gd name="connsiteY1183" fmla="*/ 2137 h 10000"/>
                <a:gd name="connsiteX1184" fmla="*/ 5313 w 10785"/>
                <a:gd name="connsiteY1184" fmla="*/ 2162 h 10000"/>
                <a:gd name="connsiteX1185" fmla="*/ 5300 w 10785"/>
                <a:gd name="connsiteY1185" fmla="*/ 2162 h 10000"/>
                <a:gd name="connsiteX1186" fmla="*/ 5300 w 10785"/>
                <a:gd name="connsiteY1186" fmla="*/ 2171 h 10000"/>
                <a:gd name="connsiteX1187" fmla="*/ 5300 w 10785"/>
                <a:gd name="connsiteY1187" fmla="*/ 2197 h 10000"/>
                <a:gd name="connsiteX1188" fmla="*/ 5276 w 10785"/>
                <a:gd name="connsiteY1188" fmla="*/ 2188 h 10000"/>
                <a:gd name="connsiteX1189" fmla="*/ 5249 w 10785"/>
                <a:gd name="connsiteY1189" fmla="*/ 2222 h 10000"/>
                <a:gd name="connsiteX1190" fmla="*/ 5249 w 10785"/>
                <a:gd name="connsiteY1190" fmla="*/ 2222 h 10000"/>
                <a:gd name="connsiteX1191" fmla="*/ 5217 w 10785"/>
                <a:gd name="connsiteY1191" fmla="*/ 2214 h 10000"/>
                <a:gd name="connsiteX1192" fmla="*/ 5203 w 10785"/>
                <a:gd name="connsiteY1192" fmla="*/ 2239 h 10000"/>
                <a:gd name="connsiteX1193" fmla="*/ 5171 w 10785"/>
                <a:gd name="connsiteY1193" fmla="*/ 2214 h 10000"/>
                <a:gd name="connsiteX1194" fmla="*/ 5157 w 10785"/>
                <a:gd name="connsiteY1194" fmla="*/ 2239 h 10000"/>
                <a:gd name="connsiteX1195" fmla="*/ 5166 w 10785"/>
                <a:gd name="connsiteY1195" fmla="*/ 2256 h 10000"/>
                <a:gd name="connsiteX1196" fmla="*/ 5171 w 10785"/>
                <a:gd name="connsiteY1196" fmla="*/ 2308 h 10000"/>
                <a:gd name="connsiteX1197" fmla="*/ 5212 w 10785"/>
                <a:gd name="connsiteY1197" fmla="*/ 2350 h 10000"/>
                <a:gd name="connsiteX1198" fmla="*/ 5203 w 10785"/>
                <a:gd name="connsiteY1198" fmla="*/ 2350 h 10000"/>
                <a:gd name="connsiteX1199" fmla="*/ 5166 w 10785"/>
                <a:gd name="connsiteY1199" fmla="*/ 2325 h 10000"/>
                <a:gd name="connsiteX1200" fmla="*/ 5152 w 10785"/>
                <a:gd name="connsiteY1200" fmla="*/ 2308 h 10000"/>
                <a:gd name="connsiteX1201" fmla="*/ 5143 w 10785"/>
                <a:gd name="connsiteY1201" fmla="*/ 2333 h 10000"/>
                <a:gd name="connsiteX1202" fmla="*/ 5138 w 10785"/>
                <a:gd name="connsiteY1202" fmla="*/ 2333 h 10000"/>
                <a:gd name="connsiteX1203" fmla="*/ 5124 w 10785"/>
                <a:gd name="connsiteY1203" fmla="*/ 2376 h 10000"/>
                <a:gd name="connsiteX1204" fmla="*/ 5115 w 10785"/>
                <a:gd name="connsiteY1204" fmla="*/ 2385 h 10000"/>
                <a:gd name="connsiteX1205" fmla="*/ 5106 w 10785"/>
                <a:gd name="connsiteY1205" fmla="*/ 2385 h 10000"/>
                <a:gd name="connsiteX1206" fmla="*/ 5055 w 10785"/>
                <a:gd name="connsiteY1206" fmla="*/ 2470 h 10000"/>
                <a:gd name="connsiteX1207" fmla="*/ 5065 w 10785"/>
                <a:gd name="connsiteY1207" fmla="*/ 2462 h 10000"/>
                <a:gd name="connsiteX1208" fmla="*/ 5055 w 10785"/>
                <a:gd name="connsiteY1208" fmla="*/ 2444 h 10000"/>
                <a:gd name="connsiteX1209" fmla="*/ 5041 w 10785"/>
                <a:gd name="connsiteY1209" fmla="*/ 2462 h 10000"/>
                <a:gd name="connsiteX1210" fmla="*/ 5037 w 10785"/>
                <a:gd name="connsiteY1210" fmla="*/ 2470 h 10000"/>
                <a:gd name="connsiteX1211" fmla="*/ 5032 w 10785"/>
                <a:gd name="connsiteY1211" fmla="*/ 2470 h 10000"/>
                <a:gd name="connsiteX1212" fmla="*/ 5032 w 10785"/>
                <a:gd name="connsiteY1212" fmla="*/ 2444 h 10000"/>
                <a:gd name="connsiteX1213" fmla="*/ 5055 w 10785"/>
                <a:gd name="connsiteY1213" fmla="*/ 2410 h 10000"/>
                <a:gd name="connsiteX1214" fmla="*/ 5065 w 10785"/>
                <a:gd name="connsiteY1214" fmla="*/ 2393 h 10000"/>
                <a:gd name="connsiteX1215" fmla="*/ 5069 w 10785"/>
                <a:gd name="connsiteY1215" fmla="*/ 2385 h 10000"/>
                <a:gd name="connsiteX1216" fmla="*/ 5083 w 10785"/>
                <a:gd name="connsiteY1216" fmla="*/ 2376 h 10000"/>
                <a:gd name="connsiteX1217" fmla="*/ 5097 w 10785"/>
                <a:gd name="connsiteY1217" fmla="*/ 2376 h 10000"/>
                <a:gd name="connsiteX1218" fmla="*/ 5124 w 10785"/>
                <a:gd name="connsiteY1218" fmla="*/ 2325 h 10000"/>
                <a:gd name="connsiteX1219" fmla="*/ 5143 w 10785"/>
                <a:gd name="connsiteY1219" fmla="*/ 2248 h 10000"/>
                <a:gd name="connsiteX1220" fmla="*/ 5152 w 10785"/>
                <a:gd name="connsiteY1220" fmla="*/ 2239 h 10000"/>
                <a:gd name="connsiteX1221" fmla="*/ 5166 w 10785"/>
                <a:gd name="connsiteY1221" fmla="*/ 2162 h 10000"/>
                <a:gd name="connsiteX1222" fmla="*/ 5171 w 10785"/>
                <a:gd name="connsiteY1222" fmla="*/ 2171 h 10000"/>
                <a:gd name="connsiteX1223" fmla="*/ 5198 w 10785"/>
                <a:gd name="connsiteY1223" fmla="*/ 2145 h 10000"/>
                <a:gd name="connsiteX1224" fmla="*/ 5203 w 10785"/>
                <a:gd name="connsiteY1224" fmla="*/ 2111 h 10000"/>
                <a:gd name="connsiteX1225" fmla="*/ 5217 w 10785"/>
                <a:gd name="connsiteY1225" fmla="*/ 2060 h 10000"/>
                <a:gd name="connsiteX1226" fmla="*/ 5226 w 10785"/>
                <a:gd name="connsiteY1226" fmla="*/ 2026 h 10000"/>
                <a:gd name="connsiteX1227" fmla="*/ 5286 w 10785"/>
                <a:gd name="connsiteY1227" fmla="*/ 2026 h 10000"/>
                <a:gd name="connsiteX1228" fmla="*/ 5290 w 10785"/>
                <a:gd name="connsiteY1228" fmla="*/ 2034 h 10000"/>
                <a:gd name="connsiteX1229" fmla="*/ 5323 w 10785"/>
                <a:gd name="connsiteY1229" fmla="*/ 1923 h 10000"/>
                <a:gd name="connsiteX1230" fmla="*/ 5323 w 10785"/>
                <a:gd name="connsiteY1230" fmla="*/ 1889 h 10000"/>
                <a:gd name="connsiteX1231" fmla="*/ 5359 w 10785"/>
                <a:gd name="connsiteY1231" fmla="*/ 1829 h 10000"/>
                <a:gd name="connsiteX1232" fmla="*/ 5378 w 10785"/>
                <a:gd name="connsiteY1232" fmla="*/ 1812 h 10000"/>
                <a:gd name="connsiteX1233" fmla="*/ 5406 w 10785"/>
                <a:gd name="connsiteY1233" fmla="*/ 1752 h 10000"/>
                <a:gd name="connsiteX1234" fmla="*/ 5410 w 10785"/>
                <a:gd name="connsiteY1234" fmla="*/ 1718 h 10000"/>
                <a:gd name="connsiteX1235" fmla="*/ 5438 w 10785"/>
                <a:gd name="connsiteY1235" fmla="*/ 1667 h 10000"/>
                <a:gd name="connsiteX1236" fmla="*/ 5438 w 10785"/>
                <a:gd name="connsiteY1236" fmla="*/ 1650 h 10000"/>
                <a:gd name="connsiteX1237" fmla="*/ 5438 w 10785"/>
                <a:gd name="connsiteY1237" fmla="*/ 1641 h 10000"/>
                <a:gd name="connsiteX1238" fmla="*/ 5452 w 10785"/>
                <a:gd name="connsiteY1238" fmla="*/ 1641 h 10000"/>
                <a:gd name="connsiteX1239" fmla="*/ 5456 w 10785"/>
                <a:gd name="connsiteY1239" fmla="*/ 1615 h 10000"/>
                <a:gd name="connsiteX1240" fmla="*/ 5456 w 10785"/>
                <a:gd name="connsiteY1240" fmla="*/ 1615 h 10000"/>
                <a:gd name="connsiteX1241" fmla="*/ 5465 w 10785"/>
                <a:gd name="connsiteY1241" fmla="*/ 1598 h 10000"/>
                <a:gd name="connsiteX1242" fmla="*/ 5465 w 10785"/>
                <a:gd name="connsiteY1242" fmla="*/ 1615 h 10000"/>
                <a:gd name="connsiteX1243" fmla="*/ 5479 w 10785"/>
                <a:gd name="connsiteY1243" fmla="*/ 1598 h 10000"/>
                <a:gd name="connsiteX1244" fmla="*/ 5484 w 10785"/>
                <a:gd name="connsiteY1244" fmla="*/ 1581 h 10000"/>
                <a:gd name="connsiteX1245" fmla="*/ 5493 w 10785"/>
                <a:gd name="connsiteY1245" fmla="*/ 1581 h 10000"/>
                <a:gd name="connsiteX1246" fmla="*/ 5512 w 10785"/>
                <a:gd name="connsiteY1246" fmla="*/ 1538 h 10000"/>
                <a:gd name="connsiteX1247" fmla="*/ 5530 w 10785"/>
                <a:gd name="connsiteY1247" fmla="*/ 1564 h 10000"/>
                <a:gd name="connsiteX1248" fmla="*/ 5530 w 10785"/>
                <a:gd name="connsiteY1248" fmla="*/ 1538 h 10000"/>
                <a:gd name="connsiteX1249" fmla="*/ 5539 w 10785"/>
                <a:gd name="connsiteY1249" fmla="*/ 1530 h 10000"/>
                <a:gd name="connsiteX1250" fmla="*/ 5530 w 10785"/>
                <a:gd name="connsiteY1250" fmla="*/ 1504 h 10000"/>
                <a:gd name="connsiteX1251" fmla="*/ 5567 w 10785"/>
                <a:gd name="connsiteY1251" fmla="*/ 1479 h 10000"/>
                <a:gd name="connsiteX1252" fmla="*/ 5553 w 10785"/>
                <a:gd name="connsiteY1252" fmla="*/ 1479 h 10000"/>
                <a:gd name="connsiteX1253" fmla="*/ 5553 w 10785"/>
                <a:gd name="connsiteY1253" fmla="*/ 1453 h 10000"/>
                <a:gd name="connsiteX1254" fmla="*/ 5581 w 10785"/>
                <a:gd name="connsiteY1254" fmla="*/ 1444 h 10000"/>
                <a:gd name="connsiteX1255" fmla="*/ 5581 w 10785"/>
                <a:gd name="connsiteY1255" fmla="*/ 1453 h 10000"/>
                <a:gd name="connsiteX1256" fmla="*/ 5585 w 10785"/>
                <a:gd name="connsiteY1256" fmla="*/ 1444 h 10000"/>
                <a:gd name="connsiteX1257" fmla="*/ 5594 w 10785"/>
                <a:gd name="connsiteY1257" fmla="*/ 1427 h 10000"/>
                <a:gd name="connsiteX1258" fmla="*/ 5599 w 10785"/>
                <a:gd name="connsiteY1258" fmla="*/ 1419 h 10000"/>
                <a:gd name="connsiteX1259" fmla="*/ 5594 w 10785"/>
                <a:gd name="connsiteY1259" fmla="*/ 1402 h 10000"/>
                <a:gd name="connsiteX1260" fmla="*/ 5604 w 10785"/>
                <a:gd name="connsiteY1260" fmla="*/ 1393 h 10000"/>
                <a:gd name="connsiteX1261" fmla="*/ 5618 w 10785"/>
                <a:gd name="connsiteY1261" fmla="*/ 1393 h 10000"/>
                <a:gd name="connsiteX1262" fmla="*/ 5627 w 10785"/>
                <a:gd name="connsiteY1262" fmla="*/ 1368 h 10000"/>
                <a:gd name="connsiteX1263" fmla="*/ 5627 w 10785"/>
                <a:gd name="connsiteY1263" fmla="*/ 1325 h 10000"/>
                <a:gd name="connsiteX1264" fmla="*/ 5645 w 10785"/>
                <a:gd name="connsiteY1264" fmla="*/ 1291 h 10000"/>
                <a:gd name="connsiteX1265" fmla="*/ 5645 w 10785"/>
                <a:gd name="connsiteY1265" fmla="*/ 1282 h 10000"/>
                <a:gd name="connsiteX1266" fmla="*/ 5654 w 10785"/>
                <a:gd name="connsiteY1266" fmla="*/ 1265 h 10000"/>
                <a:gd name="connsiteX1267" fmla="*/ 5654 w 10785"/>
                <a:gd name="connsiteY1267" fmla="*/ 1214 h 10000"/>
                <a:gd name="connsiteX1268" fmla="*/ 5654 w 10785"/>
                <a:gd name="connsiteY1268" fmla="*/ 1214 h 10000"/>
                <a:gd name="connsiteX1269" fmla="*/ 5645 w 10785"/>
                <a:gd name="connsiteY1269" fmla="*/ 1197 h 10000"/>
                <a:gd name="connsiteX1270" fmla="*/ 5659 w 10785"/>
                <a:gd name="connsiteY1270" fmla="*/ 1197 h 10000"/>
                <a:gd name="connsiteX1271" fmla="*/ 5654 w 10785"/>
                <a:gd name="connsiteY1271" fmla="*/ 1154 h 10000"/>
                <a:gd name="connsiteX1272" fmla="*/ 5641 w 10785"/>
                <a:gd name="connsiteY1272" fmla="*/ 1154 h 10000"/>
                <a:gd name="connsiteX1273" fmla="*/ 5627 w 10785"/>
                <a:gd name="connsiteY1273" fmla="*/ 1128 h 10000"/>
                <a:gd name="connsiteX1274" fmla="*/ 5618 w 10785"/>
                <a:gd name="connsiteY1274" fmla="*/ 1094 h 10000"/>
                <a:gd name="connsiteX1275" fmla="*/ 5613 w 10785"/>
                <a:gd name="connsiteY1275" fmla="*/ 1094 h 10000"/>
                <a:gd name="connsiteX1276" fmla="*/ 5604 w 10785"/>
                <a:gd name="connsiteY1276" fmla="*/ 1120 h 10000"/>
                <a:gd name="connsiteX1277" fmla="*/ 5604 w 10785"/>
                <a:gd name="connsiteY1277" fmla="*/ 1128 h 10000"/>
                <a:gd name="connsiteX1278" fmla="*/ 5599 w 10785"/>
                <a:gd name="connsiteY1278" fmla="*/ 1103 h 10000"/>
                <a:gd name="connsiteX1279" fmla="*/ 5599 w 10785"/>
                <a:gd name="connsiteY1279" fmla="*/ 1103 h 10000"/>
                <a:gd name="connsiteX1280" fmla="*/ 5594 w 10785"/>
                <a:gd name="connsiteY1280" fmla="*/ 1068 h 10000"/>
                <a:gd name="connsiteX1281" fmla="*/ 5594 w 10785"/>
                <a:gd name="connsiteY1281" fmla="*/ 1060 h 10000"/>
                <a:gd name="connsiteX1282" fmla="*/ 5581 w 10785"/>
                <a:gd name="connsiteY1282" fmla="*/ 1034 h 10000"/>
                <a:gd name="connsiteX1283" fmla="*/ 5571 w 10785"/>
                <a:gd name="connsiteY1283" fmla="*/ 1009 h 10000"/>
                <a:gd name="connsiteX1284" fmla="*/ 5571 w 10785"/>
                <a:gd name="connsiteY1284" fmla="*/ 991 h 10000"/>
                <a:gd name="connsiteX1285" fmla="*/ 5585 w 10785"/>
                <a:gd name="connsiteY1285" fmla="*/ 1009 h 10000"/>
                <a:gd name="connsiteX1286" fmla="*/ 5604 w 10785"/>
                <a:gd name="connsiteY1286" fmla="*/ 1043 h 10000"/>
                <a:gd name="connsiteX1287" fmla="*/ 5641 w 10785"/>
                <a:gd name="connsiteY1287" fmla="*/ 1094 h 10000"/>
                <a:gd name="connsiteX1288" fmla="*/ 5631 w 10785"/>
                <a:gd name="connsiteY1288" fmla="*/ 1128 h 10000"/>
                <a:gd name="connsiteX1289" fmla="*/ 5641 w 10785"/>
                <a:gd name="connsiteY1289" fmla="*/ 1128 h 10000"/>
                <a:gd name="connsiteX1290" fmla="*/ 5659 w 10785"/>
                <a:gd name="connsiteY1290" fmla="*/ 1017 h 10000"/>
                <a:gd name="connsiteX1291" fmla="*/ 5659 w 10785"/>
                <a:gd name="connsiteY1291" fmla="*/ 983 h 10000"/>
                <a:gd name="connsiteX1292" fmla="*/ 5659 w 10785"/>
                <a:gd name="connsiteY1292" fmla="*/ 957 h 10000"/>
                <a:gd name="connsiteX1293" fmla="*/ 5654 w 10785"/>
                <a:gd name="connsiteY1293" fmla="*/ 966 h 10000"/>
                <a:gd name="connsiteX1294" fmla="*/ 5641 w 10785"/>
                <a:gd name="connsiteY1294" fmla="*/ 957 h 10000"/>
                <a:gd name="connsiteX1295" fmla="*/ 5631 w 10785"/>
                <a:gd name="connsiteY1295" fmla="*/ 897 h 10000"/>
                <a:gd name="connsiteX1296" fmla="*/ 5641 w 10785"/>
                <a:gd name="connsiteY1296" fmla="*/ 872 h 10000"/>
                <a:gd name="connsiteX1297" fmla="*/ 5618 w 10785"/>
                <a:gd name="connsiteY1297" fmla="*/ 803 h 10000"/>
                <a:gd name="connsiteX1298" fmla="*/ 5604 w 10785"/>
                <a:gd name="connsiteY1298" fmla="*/ 821 h 10000"/>
                <a:gd name="connsiteX1299" fmla="*/ 5613 w 10785"/>
                <a:gd name="connsiteY1299" fmla="*/ 846 h 10000"/>
                <a:gd name="connsiteX1300" fmla="*/ 5604 w 10785"/>
                <a:gd name="connsiteY1300" fmla="*/ 855 h 10000"/>
                <a:gd name="connsiteX1301" fmla="*/ 5599 w 10785"/>
                <a:gd name="connsiteY1301" fmla="*/ 880 h 10000"/>
                <a:gd name="connsiteX1302" fmla="*/ 5594 w 10785"/>
                <a:gd name="connsiteY1302" fmla="*/ 880 h 10000"/>
                <a:gd name="connsiteX1303" fmla="*/ 5585 w 10785"/>
                <a:gd name="connsiteY1303" fmla="*/ 829 h 10000"/>
                <a:gd name="connsiteX1304" fmla="*/ 5571 w 10785"/>
                <a:gd name="connsiteY1304" fmla="*/ 803 h 10000"/>
                <a:gd name="connsiteX1305" fmla="*/ 5585 w 10785"/>
                <a:gd name="connsiteY1305" fmla="*/ 795 h 10000"/>
                <a:gd name="connsiteX1306" fmla="*/ 5585 w 10785"/>
                <a:gd name="connsiteY1306" fmla="*/ 761 h 10000"/>
                <a:gd name="connsiteX1307" fmla="*/ 5558 w 10785"/>
                <a:gd name="connsiteY1307" fmla="*/ 709 h 10000"/>
                <a:gd name="connsiteX1308" fmla="*/ 5544 w 10785"/>
                <a:gd name="connsiteY1308" fmla="*/ 709 h 10000"/>
                <a:gd name="connsiteX1309" fmla="*/ 5544 w 10785"/>
                <a:gd name="connsiteY1309" fmla="*/ 684 h 10000"/>
                <a:gd name="connsiteX1310" fmla="*/ 5525 w 10785"/>
                <a:gd name="connsiteY1310" fmla="*/ 632 h 10000"/>
                <a:gd name="connsiteX1311" fmla="*/ 5507 w 10785"/>
                <a:gd name="connsiteY1311" fmla="*/ 607 h 10000"/>
                <a:gd name="connsiteX1312" fmla="*/ 5512 w 10785"/>
                <a:gd name="connsiteY1312" fmla="*/ 598 h 10000"/>
                <a:gd name="connsiteX1313" fmla="*/ 5507 w 10785"/>
                <a:gd name="connsiteY1313" fmla="*/ 581 h 10000"/>
                <a:gd name="connsiteX1314" fmla="*/ 5493 w 10785"/>
                <a:gd name="connsiteY1314" fmla="*/ 573 h 10000"/>
                <a:gd name="connsiteX1315" fmla="*/ 5484 w 10785"/>
                <a:gd name="connsiteY1315" fmla="*/ 581 h 10000"/>
                <a:gd name="connsiteX1316" fmla="*/ 5484 w 10785"/>
                <a:gd name="connsiteY1316" fmla="*/ 573 h 10000"/>
                <a:gd name="connsiteX1317" fmla="*/ 5484 w 10785"/>
                <a:gd name="connsiteY1317" fmla="*/ 547 h 10000"/>
                <a:gd name="connsiteX1318" fmla="*/ 5465 w 10785"/>
                <a:gd name="connsiteY1318" fmla="*/ 556 h 10000"/>
                <a:gd name="connsiteX1319" fmla="*/ 5433 w 10785"/>
                <a:gd name="connsiteY1319" fmla="*/ 547 h 10000"/>
                <a:gd name="connsiteX1320" fmla="*/ 5410 w 10785"/>
                <a:gd name="connsiteY1320" fmla="*/ 573 h 10000"/>
                <a:gd name="connsiteX1321" fmla="*/ 5406 w 10785"/>
                <a:gd name="connsiteY1321" fmla="*/ 573 h 10000"/>
                <a:gd name="connsiteX1322" fmla="*/ 5392 w 10785"/>
                <a:gd name="connsiteY1322" fmla="*/ 573 h 10000"/>
                <a:gd name="connsiteX1323" fmla="*/ 5364 w 10785"/>
                <a:gd name="connsiteY1323" fmla="*/ 530 h 10000"/>
                <a:gd name="connsiteX1324" fmla="*/ 5350 w 10785"/>
                <a:gd name="connsiteY1324" fmla="*/ 556 h 10000"/>
                <a:gd name="connsiteX1325" fmla="*/ 5346 w 10785"/>
                <a:gd name="connsiteY1325" fmla="*/ 556 h 10000"/>
                <a:gd name="connsiteX1326" fmla="*/ 5313 w 10785"/>
                <a:gd name="connsiteY1326" fmla="*/ 573 h 10000"/>
                <a:gd name="connsiteX1327" fmla="*/ 5304 w 10785"/>
                <a:gd name="connsiteY1327" fmla="*/ 556 h 10000"/>
                <a:gd name="connsiteX1328" fmla="*/ 5290 w 10785"/>
                <a:gd name="connsiteY1328" fmla="*/ 573 h 10000"/>
                <a:gd name="connsiteX1329" fmla="*/ 5290 w 10785"/>
                <a:gd name="connsiteY1329" fmla="*/ 556 h 10000"/>
                <a:gd name="connsiteX1330" fmla="*/ 5300 w 10785"/>
                <a:gd name="connsiteY1330" fmla="*/ 547 h 10000"/>
                <a:gd name="connsiteX1331" fmla="*/ 5300 w 10785"/>
                <a:gd name="connsiteY1331" fmla="*/ 530 h 10000"/>
                <a:gd name="connsiteX1332" fmla="*/ 5290 w 10785"/>
                <a:gd name="connsiteY1332" fmla="*/ 530 h 10000"/>
                <a:gd name="connsiteX1333" fmla="*/ 5286 w 10785"/>
                <a:gd name="connsiteY1333" fmla="*/ 547 h 10000"/>
                <a:gd name="connsiteX1334" fmla="*/ 5272 w 10785"/>
                <a:gd name="connsiteY1334" fmla="*/ 556 h 10000"/>
                <a:gd name="connsiteX1335" fmla="*/ 5272 w 10785"/>
                <a:gd name="connsiteY1335" fmla="*/ 598 h 10000"/>
                <a:gd name="connsiteX1336" fmla="*/ 5276 w 10785"/>
                <a:gd name="connsiteY1336" fmla="*/ 581 h 10000"/>
                <a:gd name="connsiteX1337" fmla="*/ 5272 w 10785"/>
                <a:gd name="connsiteY1337" fmla="*/ 607 h 10000"/>
                <a:gd name="connsiteX1338" fmla="*/ 5263 w 10785"/>
                <a:gd name="connsiteY1338" fmla="*/ 607 h 10000"/>
                <a:gd name="connsiteX1339" fmla="*/ 5263 w 10785"/>
                <a:gd name="connsiteY1339" fmla="*/ 632 h 10000"/>
                <a:gd name="connsiteX1340" fmla="*/ 5258 w 10785"/>
                <a:gd name="connsiteY1340" fmla="*/ 658 h 10000"/>
                <a:gd name="connsiteX1341" fmla="*/ 5244 w 10785"/>
                <a:gd name="connsiteY1341" fmla="*/ 667 h 10000"/>
                <a:gd name="connsiteX1342" fmla="*/ 5240 w 10785"/>
                <a:gd name="connsiteY1342" fmla="*/ 658 h 10000"/>
                <a:gd name="connsiteX1343" fmla="*/ 5240 w 10785"/>
                <a:gd name="connsiteY1343" fmla="*/ 684 h 10000"/>
                <a:gd name="connsiteX1344" fmla="*/ 5212 w 10785"/>
                <a:gd name="connsiteY1344" fmla="*/ 684 h 10000"/>
                <a:gd name="connsiteX1345" fmla="*/ 5198 w 10785"/>
                <a:gd name="connsiteY1345" fmla="*/ 692 h 10000"/>
                <a:gd name="connsiteX1346" fmla="*/ 5184 w 10785"/>
                <a:gd name="connsiteY1346" fmla="*/ 684 h 10000"/>
                <a:gd name="connsiteX1347" fmla="*/ 5157 w 10785"/>
                <a:gd name="connsiteY1347" fmla="*/ 684 h 10000"/>
                <a:gd name="connsiteX1348" fmla="*/ 5157 w 10785"/>
                <a:gd name="connsiteY1348" fmla="*/ 667 h 10000"/>
                <a:gd name="connsiteX1349" fmla="*/ 5157 w 10785"/>
                <a:gd name="connsiteY1349" fmla="*/ 667 h 10000"/>
                <a:gd name="connsiteX1350" fmla="*/ 5180 w 10785"/>
                <a:gd name="connsiteY1350" fmla="*/ 650 h 10000"/>
                <a:gd name="connsiteX1351" fmla="*/ 5184 w 10785"/>
                <a:gd name="connsiteY1351" fmla="*/ 658 h 10000"/>
                <a:gd name="connsiteX1352" fmla="*/ 5203 w 10785"/>
                <a:gd name="connsiteY1352" fmla="*/ 547 h 10000"/>
                <a:gd name="connsiteX1353" fmla="*/ 5226 w 10785"/>
                <a:gd name="connsiteY1353" fmla="*/ 530 h 10000"/>
                <a:gd name="connsiteX1354" fmla="*/ 5230 w 10785"/>
                <a:gd name="connsiteY1354" fmla="*/ 487 h 10000"/>
                <a:gd name="connsiteX1355" fmla="*/ 5230 w 10785"/>
                <a:gd name="connsiteY1355" fmla="*/ 487 h 10000"/>
                <a:gd name="connsiteX1356" fmla="*/ 5226 w 10785"/>
                <a:gd name="connsiteY1356" fmla="*/ 462 h 10000"/>
                <a:gd name="connsiteX1357" fmla="*/ 5226 w 10785"/>
                <a:gd name="connsiteY1357" fmla="*/ 462 h 10000"/>
                <a:gd name="connsiteX1358" fmla="*/ 5240 w 10785"/>
                <a:gd name="connsiteY1358" fmla="*/ 462 h 10000"/>
                <a:gd name="connsiteX1359" fmla="*/ 5240 w 10785"/>
                <a:gd name="connsiteY1359" fmla="*/ 444 h 10000"/>
                <a:gd name="connsiteX1360" fmla="*/ 5230 w 10785"/>
                <a:gd name="connsiteY1360" fmla="*/ 436 h 10000"/>
                <a:gd name="connsiteX1361" fmla="*/ 5230 w 10785"/>
                <a:gd name="connsiteY1361" fmla="*/ 419 h 10000"/>
                <a:gd name="connsiteX1362" fmla="*/ 5230 w 10785"/>
                <a:gd name="connsiteY1362" fmla="*/ 410 h 10000"/>
                <a:gd name="connsiteX1363" fmla="*/ 5198 w 10785"/>
                <a:gd name="connsiteY1363" fmla="*/ 402 h 10000"/>
                <a:gd name="connsiteX1364" fmla="*/ 5189 w 10785"/>
                <a:gd name="connsiteY1364" fmla="*/ 402 h 10000"/>
                <a:gd name="connsiteX1365" fmla="*/ 5184 w 10785"/>
                <a:gd name="connsiteY1365" fmla="*/ 376 h 10000"/>
                <a:gd name="connsiteX1366" fmla="*/ 5180 w 10785"/>
                <a:gd name="connsiteY1366" fmla="*/ 376 h 10000"/>
                <a:gd name="connsiteX1367" fmla="*/ 5166 w 10785"/>
                <a:gd name="connsiteY1367" fmla="*/ 376 h 10000"/>
                <a:gd name="connsiteX1368" fmla="*/ 5157 w 10785"/>
                <a:gd name="connsiteY1368" fmla="*/ 385 h 10000"/>
                <a:gd name="connsiteX1369" fmla="*/ 5152 w 10785"/>
                <a:gd name="connsiteY1369" fmla="*/ 376 h 10000"/>
                <a:gd name="connsiteX1370" fmla="*/ 5129 w 10785"/>
                <a:gd name="connsiteY1370" fmla="*/ 385 h 10000"/>
                <a:gd name="connsiteX1371" fmla="*/ 5129 w 10785"/>
                <a:gd name="connsiteY1371" fmla="*/ 350 h 10000"/>
                <a:gd name="connsiteX1372" fmla="*/ 5129 w 10785"/>
                <a:gd name="connsiteY1372" fmla="*/ 325 h 10000"/>
                <a:gd name="connsiteX1373" fmla="*/ 5124 w 10785"/>
                <a:gd name="connsiteY1373" fmla="*/ 359 h 10000"/>
                <a:gd name="connsiteX1374" fmla="*/ 5106 w 10785"/>
                <a:gd name="connsiteY1374" fmla="*/ 359 h 10000"/>
                <a:gd name="connsiteX1375" fmla="*/ 5037 w 10785"/>
                <a:gd name="connsiteY1375" fmla="*/ 419 h 10000"/>
                <a:gd name="connsiteX1376" fmla="*/ 5051 w 10785"/>
                <a:gd name="connsiteY1376" fmla="*/ 385 h 10000"/>
                <a:gd name="connsiteX1377" fmla="*/ 5055 w 10785"/>
                <a:gd name="connsiteY1377" fmla="*/ 376 h 10000"/>
                <a:gd name="connsiteX1378" fmla="*/ 5092 w 10785"/>
                <a:gd name="connsiteY1378" fmla="*/ 282 h 10000"/>
                <a:gd name="connsiteX1379" fmla="*/ 5106 w 10785"/>
                <a:gd name="connsiteY1379" fmla="*/ 265 h 10000"/>
                <a:gd name="connsiteX1380" fmla="*/ 5115 w 10785"/>
                <a:gd name="connsiteY1380" fmla="*/ 265 h 10000"/>
                <a:gd name="connsiteX1381" fmla="*/ 5124 w 10785"/>
                <a:gd name="connsiteY1381" fmla="*/ 222 h 10000"/>
                <a:gd name="connsiteX1382" fmla="*/ 5124 w 10785"/>
                <a:gd name="connsiteY1382" fmla="*/ 214 h 10000"/>
                <a:gd name="connsiteX1383" fmla="*/ 5143 w 10785"/>
                <a:gd name="connsiteY1383" fmla="*/ 197 h 10000"/>
                <a:gd name="connsiteX1384" fmla="*/ 5152 w 10785"/>
                <a:gd name="connsiteY1384" fmla="*/ 214 h 10000"/>
                <a:gd name="connsiteX1385" fmla="*/ 5143 w 10785"/>
                <a:gd name="connsiteY1385" fmla="*/ 188 h 10000"/>
                <a:gd name="connsiteX1386" fmla="*/ 5129 w 10785"/>
                <a:gd name="connsiteY1386" fmla="*/ 103 h 10000"/>
                <a:gd name="connsiteX1387" fmla="*/ 5115 w 10785"/>
                <a:gd name="connsiteY1387" fmla="*/ 85 h 10000"/>
                <a:gd name="connsiteX1388" fmla="*/ 5111 w 10785"/>
                <a:gd name="connsiteY1388" fmla="*/ 111 h 10000"/>
                <a:gd name="connsiteX1389" fmla="*/ 5092 w 10785"/>
                <a:gd name="connsiteY1389" fmla="*/ 103 h 10000"/>
                <a:gd name="connsiteX1390" fmla="*/ 5069 w 10785"/>
                <a:gd name="connsiteY1390" fmla="*/ 77 h 10000"/>
                <a:gd name="connsiteX1391" fmla="*/ 5051 w 10785"/>
                <a:gd name="connsiteY1391" fmla="*/ 26 h 10000"/>
                <a:gd name="connsiteX1392" fmla="*/ 5041 w 10785"/>
                <a:gd name="connsiteY1392" fmla="*/ 34 h 10000"/>
                <a:gd name="connsiteX1393" fmla="*/ 5037 w 10785"/>
                <a:gd name="connsiteY1393" fmla="*/ 34 h 10000"/>
                <a:gd name="connsiteX1394" fmla="*/ 5037 w 10785"/>
                <a:gd name="connsiteY1394" fmla="*/ 26 h 10000"/>
                <a:gd name="connsiteX1395" fmla="*/ 5037 w 10785"/>
                <a:gd name="connsiteY1395" fmla="*/ 9 h 10000"/>
                <a:gd name="connsiteX1396" fmla="*/ 5023 w 10785"/>
                <a:gd name="connsiteY1396" fmla="*/ 0 h 10000"/>
                <a:gd name="connsiteX1397" fmla="*/ 5009 w 10785"/>
                <a:gd name="connsiteY1397" fmla="*/ 9 h 10000"/>
                <a:gd name="connsiteX1398" fmla="*/ 4995 w 10785"/>
                <a:gd name="connsiteY1398" fmla="*/ 34 h 10000"/>
                <a:gd name="connsiteX1399" fmla="*/ 4991 w 10785"/>
                <a:gd name="connsiteY1399" fmla="*/ 60 h 10000"/>
                <a:gd name="connsiteX1400" fmla="*/ 4982 w 10785"/>
                <a:gd name="connsiteY1400" fmla="*/ 60 h 10000"/>
                <a:gd name="connsiteX1401" fmla="*/ 4949 w 10785"/>
                <a:gd name="connsiteY1401" fmla="*/ 51 h 10000"/>
                <a:gd name="connsiteX1402" fmla="*/ 4949 w 10785"/>
                <a:gd name="connsiteY1402" fmla="*/ 85 h 10000"/>
                <a:gd name="connsiteX1403" fmla="*/ 4903 w 10785"/>
                <a:gd name="connsiteY1403" fmla="*/ 197 h 10000"/>
                <a:gd name="connsiteX1404" fmla="*/ 4899 w 10785"/>
                <a:gd name="connsiteY1404" fmla="*/ 239 h 10000"/>
                <a:gd name="connsiteX1405" fmla="*/ 4871 w 10785"/>
                <a:gd name="connsiteY1405" fmla="*/ 274 h 10000"/>
                <a:gd name="connsiteX1406" fmla="*/ 4871 w 10785"/>
                <a:gd name="connsiteY1406" fmla="*/ 282 h 10000"/>
                <a:gd name="connsiteX1407" fmla="*/ 4834 w 10785"/>
                <a:gd name="connsiteY1407" fmla="*/ 376 h 10000"/>
                <a:gd name="connsiteX1408" fmla="*/ 4829 w 10785"/>
                <a:gd name="connsiteY1408" fmla="*/ 402 h 10000"/>
                <a:gd name="connsiteX1409" fmla="*/ 4834 w 10785"/>
                <a:gd name="connsiteY1409" fmla="*/ 410 h 10000"/>
                <a:gd name="connsiteX1410" fmla="*/ 4829 w 10785"/>
                <a:gd name="connsiteY1410" fmla="*/ 436 h 10000"/>
                <a:gd name="connsiteX1411" fmla="*/ 4825 w 10785"/>
                <a:gd name="connsiteY1411" fmla="*/ 436 h 10000"/>
                <a:gd name="connsiteX1412" fmla="*/ 4825 w 10785"/>
                <a:gd name="connsiteY1412" fmla="*/ 444 h 10000"/>
                <a:gd name="connsiteX1413" fmla="*/ 4811 w 10785"/>
                <a:gd name="connsiteY1413" fmla="*/ 496 h 10000"/>
                <a:gd name="connsiteX1414" fmla="*/ 4811 w 10785"/>
                <a:gd name="connsiteY1414" fmla="*/ 496 h 10000"/>
                <a:gd name="connsiteX1415" fmla="*/ 4811 w 10785"/>
                <a:gd name="connsiteY1415" fmla="*/ 521 h 10000"/>
                <a:gd name="connsiteX1416" fmla="*/ 4816 w 10785"/>
                <a:gd name="connsiteY1416" fmla="*/ 530 h 10000"/>
                <a:gd name="connsiteX1417" fmla="*/ 4834 w 10785"/>
                <a:gd name="connsiteY1417" fmla="*/ 547 h 10000"/>
                <a:gd name="connsiteX1418" fmla="*/ 4834 w 10785"/>
                <a:gd name="connsiteY1418" fmla="*/ 581 h 10000"/>
                <a:gd name="connsiteX1419" fmla="*/ 4843 w 10785"/>
                <a:gd name="connsiteY1419" fmla="*/ 581 h 10000"/>
                <a:gd name="connsiteX1420" fmla="*/ 4843 w 10785"/>
                <a:gd name="connsiteY1420" fmla="*/ 598 h 10000"/>
                <a:gd name="connsiteX1421" fmla="*/ 4829 w 10785"/>
                <a:gd name="connsiteY1421" fmla="*/ 598 h 10000"/>
                <a:gd name="connsiteX1422" fmla="*/ 4829 w 10785"/>
                <a:gd name="connsiteY1422" fmla="*/ 573 h 10000"/>
                <a:gd name="connsiteX1423" fmla="*/ 4829 w 10785"/>
                <a:gd name="connsiteY1423" fmla="*/ 632 h 10000"/>
                <a:gd name="connsiteX1424" fmla="*/ 4829 w 10785"/>
                <a:gd name="connsiteY1424" fmla="*/ 632 h 10000"/>
                <a:gd name="connsiteX1425" fmla="*/ 4829 w 10785"/>
                <a:gd name="connsiteY1425" fmla="*/ 650 h 10000"/>
                <a:gd name="connsiteX1426" fmla="*/ 4774 w 10785"/>
                <a:gd name="connsiteY1426" fmla="*/ 684 h 10000"/>
                <a:gd name="connsiteX1427" fmla="*/ 4756 w 10785"/>
                <a:gd name="connsiteY1427" fmla="*/ 684 h 10000"/>
                <a:gd name="connsiteX1428" fmla="*/ 4737 w 10785"/>
                <a:gd name="connsiteY1428" fmla="*/ 692 h 10000"/>
                <a:gd name="connsiteX1429" fmla="*/ 4677 w 10785"/>
                <a:gd name="connsiteY1429" fmla="*/ 667 h 10000"/>
                <a:gd name="connsiteX1430" fmla="*/ 4682 w 10785"/>
                <a:gd name="connsiteY1430" fmla="*/ 692 h 10000"/>
                <a:gd name="connsiteX1431" fmla="*/ 4682 w 10785"/>
                <a:gd name="connsiteY1431" fmla="*/ 709 h 10000"/>
                <a:gd name="connsiteX1432" fmla="*/ 4691 w 10785"/>
                <a:gd name="connsiteY1432" fmla="*/ 718 h 10000"/>
                <a:gd name="connsiteX1433" fmla="*/ 4691 w 10785"/>
                <a:gd name="connsiteY1433" fmla="*/ 744 h 10000"/>
                <a:gd name="connsiteX1434" fmla="*/ 4700 w 10785"/>
                <a:gd name="connsiteY1434" fmla="*/ 744 h 10000"/>
                <a:gd name="connsiteX1435" fmla="*/ 4714 w 10785"/>
                <a:gd name="connsiteY1435" fmla="*/ 769 h 10000"/>
                <a:gd name="connsiteX1436" fmla="*/ 4710 w 10785"/>
                <a:gd name="connsiteY1436" fmla="*/ 786 h 10000"/>
                <a:gd name="connsiteX1437" fmla="*/ 4737 w 10785"/>
                <a:gd name="connsiteY1437" fmla="*/ 786 h 10000"/>
                <a:gd name="connsiteX1438" fmla="*/ 4742 w 10785"/>
                <a:gd name="connsiteY1438" fmla="*/ 795 h 10000"/>
                <a:gd name="connsiteX1439" fmla="*/ 4742 w 10785"/>
                <a:gd name="connsiteY1439" fmla="*/ 803 h 10000"/>
                <a:gd name="connsiteX1440" fmla="*/ 4737 w 10785"/>
                <a:gd name="connsiteY1440" fmla="*/ 846 h 10000"/>
                <a:gd name="connsiteX1441" fmla="*/ 4737 w 10785"/>
                <a:gd name="connsiteY1441" fmla="*/ 880 h 10000"/>
                <a:gd name="connsiteX1442" fmla="*/ 4737 w 10785"/>
                <a:gd name="connsiteY1442" fmla="*/ 906 h 10000"/>
                <a:gd name="connsiteX1443" fmla="*/ 4724 w 10785"/>
                <a:gd name="connsiteY1443" fmla="*/ 897 h 10000"/>
                <a:gd name="connsiteX1444" fmla="*/ 4724 w 10785"/>
                <a:gd name="connsiteY1444" fmla="*/ 872 h 10000"/>
                <a:gd name="connsiteX1445" fmla="*/ 4714 w 10785"/>
                <a:gd name="connsiteY1445" fmla="*/ 855 h 10000"/>
                <a:gd name="connsiteX1446" fmla="*/ 4691 w 10785"/>
                <a:gd name="connsiteY1446" fmla="*/ 846 h 10000"/>
                <a:gd name="connsiteX1447" fmla="*/ 4691 w 10785"/>
                <a:gd name="connsiteY1447" fmla="*/ 846 h 10000"/>
                <a:gd name="connsiteX1448" fmla="*/ 4696 w 10785"/>
                <a:gd name="connsiteY1448" fmla="*/ 821 h 10000"/>
                <a:gd name="connsiteX1449" fmla="*/ 4691 w 10785"/>
                <a:gd name="connsiteY1449" fmla="*/ 803 h 10000"/>
                <a:gd name="connsiteX1450" fmla="*/ 4668 w 10785"/>
                <a:gd name="connsiteY1450" fmla="*/ 821 h 10000"/>
                <a:gd name="connsiteX1451" fmla="*/ 4668 w 10785"/>
                <a:gd name="connsiteY1451" fmla="*/ 786 h 10000"/>
                <a:gd name="connsiteX1452" fmla="*/ 4664 w 10785"/>
                <a:gd name="connsiteY1452" fmla="*/ 786 h 10000"/>
                <a:gd name="connsiteX1453" fmla="*/ 4622 w 10785"/>
                <a:gd name="connsiteY1453" fmla="*/ 846 h 10000"/>
                <a:gd name="connsiteX1454" fmla="*/ 4627 w 10785"/>
                <a:gd name="connsiteY1454" fmla="*/ 872 h 10000"/>
                <a:gd name="connsiteX1455" fmla="*/ 4622 w 10785"/>
                <a:gd name="connsiteY1455" fmla="*/ 880 h 10000"/>
                <a:gd name="connsiteX1456" fmla="*/ 4622 w 10785"/>
                <a:gd name="connsiteY1456" fmla="*/ 880 h 10000"/>
                <a:gd name="connsiteX1457" fmla="*/ 4618 w 10785"/>
                <a:gd name="connsiteY1457" fmla="*/ 872 h 10000"/>
                <a:gd name="connsiteX1458" fmla="*/ 4604 w 10785"/>
                <a:gd name="connsiteY1458" fmla="*/ 880 h 10000"/>
                <a:gd name="connsiteX1459" fmla="*/ 4594 w 10785"/>
                <a:gd name="connsiteY1459" fmla="*/ 906 h 10000"/>
                <a:gd name="connsiteX1460" fmla="*/ 4604 w 10785"/>
                <a:gd name="connsiteY1460" fmla="*/ 906 h 10000"/>
                <a:gd name="connsiteX1461" fmla="*/ 4608 w 10785"/>
                <a:gd name="connsiteY1461" fmla="*/ 906 h 10000"/>
                <a:gd name="connsiteX1462" fmla="*/ 4608 w 10785"/>
                <a:gd name="connsiteY1462" fmla="*/ 932 h 10000"/>
                <a:gd name="connsiteX1463" fmla="*/ 4604 w 10785"/>
                <a:gd name="connsiteY1463" fmla="*/ 932 h 10000"/>
                <a:gd name="connsiteX1464" fmla="*/ 4590 w 10785"/>
                <a:gd name="connsiteY1464" fmla="*/ 932 h 10000"/>
                <a:gd name="connsiteX1465" fmla="*/ 4567 w 10785"/>
                <a:gd name="connsiteY1465" fmla="*/ 957 h 10000"/>
                <a:gd name="connsiteX1466" fmla="*/ 4567 w 10785"/>
                <a:gd name="connsiteY1466" fmla="*/ 932 h 10000"/>
                <a:gd name="connsiteX1467" fmla="*/ 4567 w 10785"/>
                <a:gd name="connsiteY1467" fmla="*/ 923 h 10000"/>
                <a:gd name="connsiteX1468" fmla="*/ 4562 w 10785"/>
                <a:gd name="connsiteY1468" fmla="*/ 932 h 10000"/>
                <a:gd name="connsiteX1469" fmla="*/ 4548 w 10785"/>
                <a:gd name="connsiteY1469" fmla="*/ 957 h 10000"/>
                <a:gd name="connsiteX1470" fmla="*/ 4544 w 10785"/>
                <a:gd name="connsiteY1470" fmla="*/ 957 h 10000"/>
                <a:gd name="connsiteX1471" fmla="*/ 4521 w 10785"/>
                <a:gd name="connsiteY1471" fmla="*/ 983 h 10000"/>
                <a:gd name="connsiteX1472" fmla="*/ 4521 w 10785"/>
                <a:gd name="connsiteY1472" fmla="*/ 983 h 10000"/>
                <a:gd name="connsiteX1473" fmla="*/ 4530 w 10785"/>
                <a:gd name="connsiteY1473" fmla="*/ 957 h 10000"/>
                <a:gd name="connsiteX1474" fmla="*/ 4535 w 10785"/>
                <a:gd name="connsiteY1474" fmla="*/ 932 h 10000"/>
                <a:gd name="connsiteX1475" fmla="*/ 4521 w 10785"/>
                <a:gd name="connsiteY1475" fmla="*/ 932 h 10000"/>
                <a:gd name="connsiteX1476" fmla="*/ 4516 w 10785"/>
                <a:gd name="connsiteY1476" fmla="*/ 923 h 10000"/>
                <a:gd name="connsiteX1477" fmla="*/ 4516 w 10785"/>
                <a:gd name="connsiteY1477" fmla="*/ 932 h 10000"/>
                <a:gd name="connsiteX1478" fmla="*/ 4488 w 10785"/>
                <a:gd name="connsiteY1478" fmla="*/ 940 h 10000"/>
                <a:gd name="connsiteX1479" fmla="*/ 4484 w 10785"/>
                <a:gd name="connsiteY1479" fmla="*/ 983 h 10000"/>
                <a:gd name="connsiteX1480" fmla="*/ 4470 w 10785"/>
                <a:gd name="connsiteY1480" fmla="*/ 983 h 10000"/>
                <a:gd name="connsiteX1481" fmla="*/ 4470 w 10785"/>
                <a:gd name="connsiteY1481" fmla="*/ 966 h 10000"/>
                <a:gd name="connsiteX1482" fmla="*/ 4488 w 10785"/>
                <a:gd name="connsiteY1482" fmla="*/ 923 h 10000"/>
                <a:gd name="connsiteX1483" fmla="*/ 4493 w 10785"/>
                <a:gd name="connsiteY1483" fmla="*/ 880 h 10000"/>
                <a:gd name="connsiteX1484" fmla="*/ 4475 w 10785"/>
                <a:gd name="connsiteY1484" fmla="*/ 846 h 10000"/>
                <a:gd name="connsiteX1485" fmla="*/ 4442 w 10785"/>
                <a:gd name="connsiteY1485" fmla="*/ 855 h 10000"/>
                <a:gd name="connsiteX1486" fmla="*/ 4433 w 10785"/>
                <a:gd name="connsiteY1486" fmla="*/ 855 h 10000"/>
                <a:gd name="connsiteX1487" fmla="*/ 4433 w 10785"/>
                <a:gd name="connsiteY1487" fmla="*/ 880 h 10000"/>
                <a:gd name="connsiteX1488" fmla="*/ 4401 w 10785"/>
                <a:gd name="connsiteY1488" fmla="*/ 855 h 10000"/>
                <a:gd name="connsiteX1489" fmla="*/ 4396 w 10785"/>
                <a:gd name="connsiteY1489" fmla="*/ 872 h 10000"/>
                <a:gd name="connsiteX1490" fmla="*/ 4382 w 10785"/>
                <a:gd name="connsiteY1490" fmla="*/ 897 h 10000"/>
                <a:gd name="connsiteX1491" fmla="*/ 4373 w 10785"/>
                <a:gd name="connsiteY1491" fmla="*/ 872 h 10000"/>
                <a:gd name="connsiteX1492" fmla="*/ 4341 w 10785"/>
                <a:gd name="connsiteY1492" fmla="*/ 872 h 10000"/>
                <a:gd name="connsiteX1493" fmla="*/ 4336 w 10785"/>
                <a:gd name="connsiteY1493" fmla="*/ 880 h 10000"/>
                <a:gd name="connsiteX1494" fmla="*/ 4346 w 10785"/>
                <a:gd name="connsiteY1494" fmla="*/ 897 h 10000"/>
                <a:gd name="connsiteX1495" fmla="*/ 4346 w 10785"/>
                <a:gd name="connsiteY1495" fmla="*/ 897 h 10000"/>
                <a:gd name="connsiteX1496" fmla="*/ 4313 w 10785"/>
                <a:gd name="connsiteY1496" fmla="*/ 906 h 10000"/>
                <a:gd name="connsiteX1497" fmla="*/ 4313 w 10785"/>
                <a:gd name="connsiteY1497" fmla="*/ 906 h 10000"/>
                <a:gd name="connsiteX1498" fmla="*/ 4313 w 10785"/>
                <a:gd name="connsiteY1498" fmla="*/ 880 h 10000"/>
                <a:gd name="connsiteX1499" fmla="*/ 4309 w 10785"/>
                <a:gd name="connsiteY1499" fmla="*/ 897 h 10000"/>
                <a:gd name="connsiteX1500" fmla="*/ 4295 w 10785"/>
                <a:gd name="connsiteY1500" fmla="*/ 923 h 10000"/>
                <a:gd name="connsiteX1501" fmla="*/ 4286 w 10785"/>
                <a:gd name="connsiteY1501" fmla="*/ 897 h 10000"/>
                <a:gd name="connsiteX1502" fmla="*/ 4281 w 10785"/>
                <a:gd name="connsiteY1502" fmla="*/ 906 h 10000"/>
                <a:gd name="connsiteX1503" fmla="*/ 4281 w 10785"/>
                <a:gd name="connsiteY1503" fmla="*/ 940 h 10000"/>
                <a:gd name="connsiteX1504" fmla="*/ 4286 w 10785"/>
                <a:gd name="connsiteY1504" fmla="*/ 957 h 10000"/>
                <a:gd name="connsiteX1505" fmla="*/ 4309 w 10785"/>
                <a:gd name="connsiteY1505" fmla="*/ 932 h 10000"/>
                <a:gd name="connsiteX1506" fmla="*/ 4313 w 10785"/>
                <a:gd name="connsiteY1506" fmla="*/ 957 h 10000"/>
                <a:gd name="connsiteX1507" fmla="*/ 4313 w 10785"/>
                <a:gd name="connsiteY1507" fmla="*/ 966 h 10000"/>
                <a:gd name="connsiteX1508" fmla="*/ 4323 w 10785"/>
                <a:gd name="connsiteY1508" fmla="*/ 966 h 10000"/>
                <a:gd name="connsiteX1509" fmla="*/ 4323 w 10785"/>
                <a:gd name="connsiteY1509" fmla="*/ 940 h 10000"/>
                <a:gd name="connsiteX1510" fmla="*/ 4327 w 10785"/>
                <a:gd name="connsiteY1510" fmla="*/ 940 h 10000"/>
                <a:gd name="connsiteX1511" fmla="*/ 4327 w 10785"/>
                <a:gd name="connsiteY1511" fmla="*/ 957 h 10000"/>
                <a:gd name="connsiteX1512" fmla="*/ 4327 w 10785"/>
                <a:gd name="connsiteY1512" fmla="*/ 966 h 10000"/>
                <a:gd name="connsiteX1513" fmla="*/ 4323 w 10785"/>
                <a:gd name="connsiteY1513" fmla="*/ 991 h 10000"/>
                <a:gd name="connsiteX1514" fmla="*/ 4207 w 10785"/>
                <a:gd name="connsiteY1514" fmla="*/ 1060 h 10000"/>
                <a:gd name="connsiteX1515" fmla="*/ 4207 w 10785"/>
                <a:gd name="connsiteY1515" fmla="*/ 1060 h 10000"/>
                <a:gd name="connsiteX1516" fmla="*/ 4203 w 10785"/>
                <a:gd name="connsiteY1516" fmla="*/ 1068 h 10000"/>
                <a:gd name="connsiteX1517" fmla="*/ 4203 w 10785"/>
                <a:gd name="connsiteY1517" fmla="*/ 1094 h 10000"/>
                <a:gd name="connsiteX1518" fmla="*/ 4203 w 10785"/>
                <a:gd name="connsiteY1518" fmla="*/ 1094 h 10000"/>
                <a:gd name="connsiteX1519" fmla="*/ 4189 w 10785"/>
                <a:gd name="connsiteY1519" fmla="*/ 1094 h 10000"/>
                <a:gd name="connsiteX1520" fmla="*/ 4166 w 10785"/>
                <a:gd name="connsiteY1520" fmla="*/ 1103 h 10000"/>
                <a:gd name="connsiteX1521" fmla="*/ 4152 w 10785"/>
                <a:gd name="connsiteY1521" fmla="*/ 1094 h 10000"/>
                <a:gd name="connsiteX1522" fmla="*/ 4134 w 10785"/>
                <a:gd name="connsiteY1522" fmla="*/ 1120 h 10000"/>
                <a:gd name="connsiteX1523" fmla="*/ 4106 w 10785"/>
                <a:gd name="connsiteY1523" fmla="*/ 1120 h 10000"/>
                <a:gd name="connsiteX1524" fmla="*/ 4092 w 10785"/>
                <a:gd name="connsiteY1524" fmla="*/ 1154 h 10000"/>
                <a:gd name="connsiteX1525" fmla="*/ 4106 w 10785"/>
                <a:gd name="connsiteY1525" fmla="*/ 1171 h 10000"/>
                <a:gd name="connsiteX1526" fmla="*/ 4078 w 10785"/>
                <a:gd name="connsiteY1526" fmla="*/ 1179 h 10000"/>
                <a:gd name="connsiteX1527" fmla="*/ 4065 w 10785"/>
                <a:gd name="connsiteY1527" fmla="*/ 1205 h 10000"/>
                <a:gd name="connsiteX1528" fmla="*/ 4046 w 10785"/>
                <a:gd name="connsiteY1528" fmla="*/ 1179 h 10000"/>
                <a:gd name="connsiteX1529" fmla="*/ 4041 w 10785"/>
                <a:gd name="connsiteY1529" fmla="*/ 1197 h 10000"/>
                <a:gd name="connsiteX1530" fmla="*/ 4028 w 10785"/>
                <a:gd name="connsiteY1530" fmla="*/ 1205 h 10000"/>
                <a:gd name="connsiteX1531" fmla="*/ 4028 w 10785"/>
                <a:gd name="connsiteY1531" fmla="*/ 1205 h 10000"/>
                <a:gd name="connsiteX1532" fmla="*/ 4032 w 10785"/>
                <a:gd name="connsiteY1532" fmla="*/ 1205 h 10000"/>
                <a:gd name="connsiteX1533" fmla="*/ 4032 w 10785"/>
                <a:gd name="connsiteY1533" fmla="*/ 1231 h 10000"/>
                <a:gd name="connsiteX1534" fmla="*/ 4014 w 10785"/>
                <a:gd name="connsiteY1534" fmla="*/ 1239 h 10000"/>
                <a:gd name="connsiteX1535" fmla="*/ 4014 w 10785"/>
                <a:gd name="connsiteY1535" fmla="*/ 1256 h 10000"/>
                <a:gd name="connsiteX1536" fmla="*/ 4000 w 10785"/>
                <a:gd name="connsiteY1536" fmla="*/ 1265 h 10000"/>
                <a:gd name="connsiteX1537" fmla="*/ 3986 w 10785"/>
                <a:gd name="connsiteY1537" fmla="*/ 1308 h 10000"/>
                <a:gd name="connsiteX1538" fmla="*/ 3972 w 10785"/>
                <a:gd name="connsiteY1538" fmla="*/ 1316 h 10000"/>
                <a:gd name="connsiteX1539" fmla="*/ 3972 w 10785"/>
                <a:gd name="connsiteY1539" fmla="*/ 1325 h 10000"/>
                <a:gd name="connsiteX1540" fmla="*/ 3972 w 10785"/>
                <a:gd name="connsiteY1540" fmla="*/ 1342 h 10000"/>
                <a:gd name="connsiteX1541" fmla="*/ 3968 w 10785"/>
                <a:gd name="connsiteY1541" fmla="*/ 1350 h 10000"/>
                <a:gd name="connsiteX1542" fmla="*/ 3954 w 10785"/>
                <a:gd name="connsiteY1542" fmla="*/ 1368 h 10000"/>
                <a:gd name="connsiteX1543" fmla="*/ 3945 w 10785"/>
                <a:gd name="connsiteY1543" fmla="*/ 1350 h 10000"/>
                <a:gd name="connsiteX1544" fmla="*/ 3908 w 10785"/>
                <a:gd name="connsiteY1544" fmla="*/ 1342 h 10000"/>
                <a:gd name="connsiteX1545" fmla="*/ 3894 w 10785"/>
                <a:gd name="connsiteY1545" fmla="*/ 1368 h 10000"/>
                <a:gd name="connsiteX1546" fmla="*/ 3922 w 10785"/>
                <a:gd name="connsiteY1546" fmla="*/ 1393 h 10000"/>
                <a:gd name="connsiteX1547" fmla="*/ 3945 w 10785"/>
                <a:gd name="connsiteY1547" fmla="*/ 1393 h 10000"/>
                <a:gd name="connsiteX1548" fmla="*/ 3940 w 10785"/>
                <a:gd name="connsiteY1548" fmla="*/ 1419 h 10000"/>
                <a:gd name="connsiteX1549" fmla="*/ 3931 w 10785"/>
                <a:gd name="connsiteY1549" fmla="*/ 1427 h 10000"/>
                <a:gd name="connsiteX1550" fmla="*/ 3926 w 10785"/>
                <a:gd name="connsiteY1550" fmla="*/ 1427 h 10000"/>
                <a:gd name="connsiteX1551" fmla="*/ 3922 w 10785"/>
                <a:gd name="connsiteY1551" fmla="*/ 1419 h 10000"/>
                <a:gd name="connsiteX1552" fmla="*/ 3912 w 10785"/>
                <a:gd name="connsiteY1552" fmla="*/ 1427 h 10000"/>
                <a:gd name="connsiteX1553" fmla="*/ 3912 w 10785"/>
                <a:gd name="connsiteY1553" fmla="*/ 1444 h 10000"/>
                <a:gd name="connsiteX1554" fmla="*/ 3894 w 10785"/>
                <a:gd name="connsiteY1554" fmla="*/ 1513 h 10000"/>
                <a:gd name="connsiteX1555" fmla="*/ 3885 w 10785"/>
                <a:gd name="connsiteY1555" fmla="*/ 1513 h 10000"/>
                <a:gd name="connsiteX1556" fmla="*/ 3880 w 10785"/>
                <a:gd name="connsiteY1556" fmla="*/ 1538 h 10000"/>
                <a:gd name="connsiteX1557" fmla="*/ 3885 w 10785"/>
                <a:gd name="connsiteY1557" fmla="*/ 1564 h 10000"/>
                <a:gd name="connsiteX1558" fmla="*/ 3880 w 10785"/>
                <a:gd name="connsiteY1558" fmla="*/ 1581 h 10000"/>
                <a:gd name="connsiteX1559" fmla="*/ 3871 w 10785"/>
                <a:gd name="connsiteY1559" fmla="*/ 1538 h 10000"/>
                <a:gd name="connsiteX1560" fmla="*/ 3853 w 10785"/>
                <a:gd name="connsiteY1560" fmla="*/ 1530 h 10000"/>
                <a:gd name="connsiteX1561" fmla="*/ 3853 w 10785"/>
                <a:gd name="connsiteY1561" fmla="*/ 1504 h 10000"/>
                <a:gd name="connsiteX1562" fmla="*/ 3834 w 10785"/>
                <a:gd name="connsiteY1562" fmla="*/ 1487 h 10000"/>
                <a:gd name="connsiteX1563" fmla="*/ 3834 w 10785"/>
                <a:gd name="connsiteY1563" fmla="*/ 1487 h 10000"/>
                <a:gd name="connsiteX1564" fmla="*/ 3839 w 10785"/>
                <a:gd name="connsiteY1564" fmla="*/ 1513 h 10000"/>
                <a:gd name="connsiteX1565" fmla="*/ 3820 w 10785"/>
                <a:gd name="connsiteY1565" fmla="*/ 1538 h 10000"/>
                <a:gd name="connsiteX1566" fmla="*/ 3820 w 10785"/>
                <a:gd name="connsiteY1566" fmla="*/ 1556 h 10000"/>
                <a:gd name="connsiteX1567" fmla="*/ 3820 w 10785"/>
                <a:gd name="connsiteY1567" fmla="*/ 1564 h 10000"/>
                <a:gd name="connsiteX1568" fmla="*/ 3820 w 10785"/>
                <a:gd name="connsiteY1568" fmla="*/ 1581 h 10000"/>
                <a:gd name="connsiteX1569" fmla="*/ 3853 w 10785"/>
                <a:gd name="connsiteY1569" fmla="*/ 1581 h 10000"/>
                <a:gd name="connsiteX1570" fmla="*/ 3857 w 10785"/>
                <a:gd name="connsiteY1570" fmla="*/ 1598 h 10000"/>
                <a:gd name="connsiteX1571" fmla="*/ 3880 w 10785"/>
                <a:gd name="connsiteY1571" fmla="*/ 1615 h 10000"/>
                <a:gd name="connsiteX1572" fmla="*/ 3871 w 10785"/>
                <a:gd name="connsiteY1572" fmla="*/ 1615 h 10000"/>
                <a:gd name="connsiteX1573" fmla="*/ 3871 w 10785"/>
                <a:gd name="connsiteY1573" fmla="*/ 1641 h 10000"/>
                <a:gd name="connsiteX1574" fmla="*/ 3880 w 10785"/>
                <a:gd name="connsiteY1574" fmla="*/ 1641 h 10000"/>
                <a:gd name="connsiteX1575" fmla="*/ 3871 w 10785"/>
                <a:gd name="connsiteY1575" fmla="*/ 1650 h 10000"/>
                <a:gd name="connsiteX1576" fmla="*/ 3857 w 10785"/>
                <a:gd name="connsiteY1576" fmla="*/ 1650 h 10000"/>
                <a:gd name="connsiteX1577" fmla="*/ 3853 w 10785"/>
                <a:gd name="connsiteY1577" fmla="*/ 1650 h 10000"/>
                <a:gd name="connsiteX1578" fmla="*/ 3839 w 10785"/>
                <a:gd name="connsiteY1578" fmla="*/ 1667 h 10000"/>
                <a:gd name="connsiteX1579" fmla="*/ 3848 w 10785"/>
                <a:gd name="connsiteY1579" fmla="*/ 1692 h 10000"/>
                <a:gd name="connsiteX1580" fmla="*/ 3834 w 10785"/>
                <a:gd name="connsiteY1580" fmla="*/ 1692 h 10000"/>
                <a:gd name="connsiteX1581" fmla="*/ 3825 w 10785"/>
                <a:gd name="connsiteY1581" fmla="*/ 1692 h 10000"/>
                <a:gd name="connsiteX1582" fmla="*/ 3825 w 10785"/>
                <a:gd name="connsiteY1582" fmla="*/ 1718 h 10000"/>
                <a:gd name="connsiteX1583" fmla="*/ 3839 w 10785"/>
                <a:gd name="connsiteY1583" fmla="*/ 1726 h 10000"/>
                <a:gd name="connsiteX1584" fmla="*/ 3880 w 10785"/>
                <a:gd name="connsiteY1584" fmla="*/ 1752 h 10000"/>
                <a:gd name="connsiteX1585" fmla="*/ 3894 w 10785"/>
                <a:gd name="connsiteY1585" fmla="*/ 1829 h 10000"/>
                <a:gd name="connsiteX1586" fmla="*/ 3899 w 10785"/>
                <a:gd name="connsiteY1586" fmla="*/ 1838 h 10000"/>
                <a:gd name="connsiteX1587" fmla="*/ 3894 w 10785"/>
                <a:gd name="connsiteY1587" fmla="*/ 1855 h 10000"/>
                <a:gd name="connsiteX1588" fmla="*/ 3880 w 10785"/>
                <a:gd name="connsiteY1588" fmla="*/ 1838 h 10000"/>
                <a:gd name="connsiteX1589" fmla="*/ 3880 w 10785"/>
                <a:gd name="connsiteY1589" fmla="*/ 1855 h 10000"/>
                <a:gd name="connsiteX1590" fmla="*/ 3880 w 10785"/>
                <a:gd name="connsiteY1590" fmla="*/ 1863 h 10000"/>
                <a:gd name="connsiteX1591" fmla="*/ 3871 w 10785"/>
                <a:gd name="connsiteY1591" fmla="*/ 1872 h 10000"/>
                <a:gd name="connsiteX1592" fmla="*/ 3880 w 10785"/>
                <a:gd name="connsiteY1592" fmla="*/ 1889 h 10000"/>
                <a:gd name="connsiteX1593" fmla="*/ 3885 w 10785"/>
                <a:gd name="connsiteY1593" fmla="*/ 1889 h 10000"/>
                <a:gd name="connsiteX1594" fmla="*/ 3880 w 10785"/>
                <a:gd name="connsiteY1594" fmla="*/ 1897 h 10000"/>
                <a:gd name="connsiteX1595" fmla="*/ 3871 w 10785"/>
                <a:gd name="connsiteY1595" fmla="*/ 1915 h 10000"/>
                <a:gd name="connsiteX1596" fmla="*/ 3848 w 10785"/>
                <a:gd name="connsiteY1596" fmla="*/ 1923 h 10000"/>
                <a:gd name="connsiteX1597" fmla="*/ 3825 w 10785"/>
                <a:gd name="connsiteY1597" fmla="*/ 1940 h 10000"/>
                <a:gd name="connsiteX1598" fmla="*/ 3811 w 10785"/>
                <a:gd name="connsiteY1598" fmla="*/ 1940 h 10000"/>
                <a:gd name="connsiteX1599" fmla="*/ 3806 w 10785"/>
                <a:gd name="connsiteY1599" fmla="*/ 1949 h 10000"/>
                <a:gd name="connsiteX1600" fmla="*/ 3797 w 10785"/>
                <a:gd name="connsiteY1600" fmla="*/ 1966 h 10000"/>
                <a:gd name="connsiteX1601" fmla="*/ 3788 w 10785"/>
                <a:gd name="connsiteY1601" fmla="*/ 1991 h 10000"/>
                <a:gd name="connsiteX1602" fmla="*/ 3765 w 10785"/>
                <a:gd name="connsiteY1602" fmla="*/ 1974 h 10000"/>
                <a:gd name="connsiteX1603" fmla="*/ 3760 w 10785"/>
                <a:gd name="connsiteY1603" fmla="*/ 1966 h 10000"/>
                <a:gd name="connsiteX1604" fmla="*/ 3760 w 10785"/>
                <a:gd name="connsiteY1604" fmla="*/ 1966 h 10000"/>
                <a:gd name="connsiteX1605" fmla="*/ 3631 w 10785"/>
                <a:gd name="connsiteY1605" fmla="*/ 2009 h 10000"/>
                <a:gd name="connsiteX1606" fmla="*/ 3618 w 10785"/>
                <a:gd name="connsiteY1606" fmla="*/ 2000 h 10000"/>
                <a:gd name="connsiteX1607" fmla="*/ 3599 w 10785"/>
                <a:gd name="connsiteY1607" fmla="*/ 2009 h 10000"/>
                <a:gd name="connsiteX1608" fmla="*/ 3571 w 10785"/>
                <a:gd name="connsiteY1608" fmla="*/ 2000 h 10000"/>
                <a:gd name="connsiteX1609" fmla="*/ 3530 w 10785"/>
                <a:gd name="connsiteY1609" fmla="*/ 2026 h 10000"/>
                <a:gd name="connsiteX1610" fmla="*/ 3530 w 10785"/>
                <a:gd name="connsiteY1610" fmla="*/ 2034 h 10000"/>
                <a:gd name="connsiteX1611" fmla="*/ 3525 w 10785"/>
                <a:gd name="connsiteY1611" fmla="*/ 2051 h 10000"/>
                <a:gd name="connsiteX1612" fmla="*/ 3512 w 10785"/>
                <a:gd name="connsiteY1612" fmla="*/ 2034 h 10000"/>
                <a:gd name="connsiteX1613" fmla="*/ 3507 w 10785"/>
                <a:gd name="connsiteY1613" fmla="*/ 2034 h 10000"/>
                <a:gd name="connsiteX1614" fmla="*/ 3498 w 10785"/>
                <a:gd name="connsiteY1614" fmla="*/ 2051 h 10000"/>
                <a:gd name="connsiteX1615" fmla="*/ 3484 w 10785"/>
                <a:gd name="connsiteY1615" fmla="*/ 2060 h 10000"/>
                <a:gd name="connsiteX1616" fmla="*/ 3484 w 10785"/>
                <a:gd name="connsiteY1616" fmla="*/ 2085 h 10000"/>
                <a:gd name="connsiteX1617" fmla="*/ 3484 w 10785"/>
                <a:gd name="connsiteY1617" fmla="*/ 2103 h 10000"/>
                <a:gd name="connsiteX1618" fmla="*/ 3493 w 10785"/>
                <a:gd name="connsiteY1618" fmla="*/ 2103 h 10000"/>
                <a:gd name="connsiteX1619" fmla="*/ 3493 w 10785"/>
                <a:gd name="connsiteY1619" fmla="*/ 2085 h 10000"/>
                <a:gd name="connsiteX1620" fmla="*/ 3498 w 10785"/>
                <a:gd name="connsiteY1620" fmla="*/ 2085 h 10000"/>
                <a:gd name="connsiteX1621" fmla="*/ 3498 w 10785"/>
                <a:gd name="connsiteY1621" fmla="*/ 2111 h 10000"/>
                <a:gd name="connsiteX1622" fmla="*/ 3484 w 10785"/>
                <a:gd name="connsiteY1622" fmla="*/ 2120 h 10000"/>
                <a:gd name="connsiteX1623" fmla="*/ 3484 w 10785"/>
                <a:gd name="connsiteY1623" fmla="*/ 2145 h 10000"/>
                <a:gd name="connsiteX1624" fmla="*/ 3470 w 10785"/>
                <a:gd name="connsiteY1624" fmla="*/ 2137 h 10000"/>
                <a:gd name="connsiteX1625" fmla="*/ 3465 w 10785"/>
                <a:gd name="connsiteY1625" fmla="*/ 2145 h 10000"/>
                <a:gd name="connsiteX1626" fmla="*/ 3470 w 10785"/>
                <a:gd name="connsiteY1626" fmla="*/ 2171 h 10000"/>
                <a:gd name="connsiteX1627" fmla="*/ 3484 w 10785"/>
                <a:gd name="connsiteY1627" fmla="*/ 2171 h 10000"/>
                <a:gd name="connsiteX1628" fmla="*/ 3484 w 10785"/>
                <a:gd name="connsiteY1628" fmla="*/ 2197 h 10000"/>
                <a:gd name="connsiteX1629" fmla="*/ 3465 w 10785"/>
                <a:gd name="connsiteY1629" fmla="*/ 2214 h 10000"/>
                <a:gd name="connsiteX1630" fmla="*/ 3493 w 10785"/>
                <a:gd name="connsiteY1630" fmla="*/ 2248 h 10000"/>
                <a:gd name="connsiteX1631" fmla="*/ 3484 w 10785"/>
                <a:gd name="connsiteY1631" fmla="*/ 2256 h 10000"/>
                <a:gd name="connsiteX1632" fmla="*/ 3498 w 10785"/>
                <a:gd name="connsiteY1632" fmla="*/ 2274 h 10000"/>
                <a:gd name="connsiteX1633" fmla="*/ 3498 w 10785"/>
                <a:gd name="connsiteY1633" fmla="*/ 2256 h 10000"/>
                <a:gd name="connsiteX1634" fmla="*/ 3507 w 10785"/>
                <a:gd name="connsiteY1634" fmla="*/ 2308 h 10000"/>
                <a:gd name="connsiteX1635" fmla="*/ 3512 w 10785"/>
                <a:gd name="connsiteY1635" fmla="*/ 2325 h 10000"/>
                <a:gd name="connsiteX1636" fmla="*/ 3507 w 10785"/>
                <a:gd name="connsiteY1636" fmla="*/ 2333 h 10000"/>
                <a:gd name="connsiteX1637" fmla="*/ 3507 w 10785"/>
                <a:gd name="connsiteY1637" fmla="*/ 2359 h 10000"/>
                <a:gd name="connsiteX1638" fmla="*/ 3507 w 10785"/>
                <a:gd name="connsiteY1638" fmla="*/ 2376 h 10000"/>
                <a:gd name="connsiteX1639" fmla="*/ 3498 w 10785"/>
                <a:gd name="connsiteY1639" fmla="*/ 2410 h 10000"/>
                <a:gd name="connsiteX1640" fmla="*/ 3498 w 10785"/>
                <a:gd name="connsiteY1640" fmla="*/ 2436 h 10000"/>
                <a:gd name="connsiteX1641" fmla="*/ 3507 w 10785"/>
                <a:gd name="connsiteY1641" fmla="*/ 2462 h 10000"/>
                <a:gd name="connsiteX1642" fmla="*/ 3507 w 10785"/>
                <a:gd name="connsiteY1642" fmla="*/ 2496 h 10000"/>
                <a:gd name="connsiteX1643" fmla="*/ 3512 w 10785"/>
                <a:gd name="connsiteY1643" fmla="*/ 2521 h 10000"/>
                <a:gd name="connsiteX1644" fmla="*/ 3525 w 10785"/>
                <a:gd name="connsiteY1644" fmla="*/ 2556 h 10000"/>
                <a:gd name="connsiteX1645" fmla="*/ 3571 w 10785"/>
                <a:gd name="connsiteY1645" fmla="*/ 2573 h 10000"/>
                <a:gd name="connsiteX1646" fmla="*/ 3590 w 10785"/>
                <a:gd name="connsiteY1646" fmla="*/ 2598 h 10000"/>
                <a:gd name="connsiteX1647" fmla="*/ 3599 w 10785"/>
                <a:gd name="connsiteY1647" fmla="*/ 2598 h 10000"/>
                <a:gd name="connsiteX1648" fmla="*/ 3604 w 10785"/>
                <a:gd name="connsiteY1648" fmla="*/ 2632 h 10000"/>
                <a:gd name="connsiteX1649" fmla="*/ 3599 w 10785"/>
                <a:gd name="connsiteY1649" fmla="*/ 2658 h 10000"/>
                <a:gd name="connsiteX1650" fmla="*/ 3590 w 10785"/>
                <a:gd name="connsiteY1650" fmla="*/ 2667 h 10000"/>
                <a:gd name="connsiteX1651" fmla="*/ 3604 w 10785"/>
                <a:gd name="connsiteY1651" fmla="*/ 2667 h 10000"/>
                <a:gd name="connsiteX1652" fmla="*/ 3613 w 10785"/>
                <a:gd name="connsiteY1652" fmla="*/ 2692 h 10000"/>
                <a:gd name="connsiteX1653" fmla="*/ 3627 w 10785"/>
                <a:gd name="connsiteY1653" fmla="*/ 2735 h 10000"/>
                <a:gd name="connsiteX1654" fmla="*/ 3631 w 10785"/>
                <a:gd name="connsiteY1654" fmla="*/ 2744 h 10000"/>
                <a:gd name="connsiteX1655" fmla="*/ 3659 w 10785"/>
                <a:gd name="connsiteY1655" fmla="*/ 2761 h 10000"/>
                <a:gd name="connsiteX1656" fmla="*/ 3673 w 10785"/>
                <a:gd name="connsiteY1656" fmla="*/ 2769 h 10000"/>
                <a:gd name="connsiteX1657" fmla="*/ 3673 w 10785"/>
                <a:gd name="connsiteY1657" fmla="*/ 2761 h 10000"/>
                <a:gd name="connsiteX1658" fmla="*/ 3687 w 10785"/>
                <a:gd name="connsiteY1658" fmla="*/ 2829 h 10000"/>
                <a:gd name="connsiteX1659" fmla="*/ 3677 w 10785"/>
                <a:gd name="connsiteY1659" fmla="*/ 2897 h 10000"/>
                <a:gd name="connsiteX1660" fmla="*/ 3673 w 10785"/>
                <a:gd name="connsiteY1660" fmla="*/ 2915 h 10000"/>
                <a:gd name="connsiteX1661" fmla="*/ 3664 w 10785"/>
                <a:gd name="connsiteY1661" fmla="*/ 2957 h 10000"/>
                <a:gd name="connsiteX1662" fmla="*/ 3659 w 10785"/>
                <a:gd name="connsiteY1662" fmla="*/ 2983 h 10000"/>
                <a:gd name="connsiteX1663" fmla="*/ 3664 w 10785"/>
                <a:gd name="connsiteY1663" fmla="*/ 3017 h 10000"/>
                <a:gd name="connsiteX1664" fmla="*/ 3659 w 10785"/>
                <a:gd name="connsiteY1664" fmla="*/ 3043 h 10000"/>
                <a:gd name="connsiteX1665" fmla="*/ 3677 w 10785"/>
                <a:gd name="connsiteY1665" fmla="*/ 3094 h 10000"/>
                <a:gd name="connsiteX1666" fmla="*/ 3691 w 10785"/>
                <a:gd name="connsiteY1666" fmla="*/ 3282 h 10000"/>
                <a:gd name="connsiteX1667" fmla="*/ 3691 w 10785"/>
                <a:gd name="connsiteY1667" fmla="*/ 3308 h 10000"/>
                <a:gd name="connsiteX1668" fmla="*/ 3677 w 10785"/>
                <a:gd name="connsiteY1668" fmla="*/ 3342 h 10000"/>
                <a:gd name="connsiteX1669" fmla="*/ 3664 w 10785"/>
                <a:gd name="connsiteY1669" fmla="*/ 3342 h 10000"/>
                <a:gd name="connsiteX1670" fmla="*/ 3650 w 10785"/>
                <a:gd name="connsiteY1670" fmla="*/ 3342 h 10000"/>
                <a:gd name="connsiteX1671" fmla="*/ 3650 w 10785"/>
                <a:gd name="connsiteY1671" fmla="*/ 3350 h 10000"/>
                <a:gd name="connsiteX1672" fmla="*/ 3659 w 10785"/>
                <a:gd name="connsiteY1672" fmla="*/ 3402 h 10000"/>
                <a:gd name="connsiteX1673" fmla="*/ 3659 w 10785"/>
                <a:gd name="connsiteY1673" fmla="*/ 3419 h 10000"/>
                <a:gd name="connsiteX1674" fmla="*/ 3631 w 10785"/>
                <a:gd name="connsiteY1674" fmla="*/ 3402 h 10000"/>
                <a:gd name="connsiteX1675" fmla="*/ 3604 w 10785"/>
                <a:gd name="connsiteY1675" fmla="*/ 3393 h 10000"/>
                <a:gd name="connsiteX1676" fmla="*/ 3599 w 10785"/>
                <a:gd name="connsiteY1676" fmla="*/ 3368 h 10000"/>
                <a:gd name="connsiteX1677" fmla="*/ 3590 w 10785"/>
                <a:gd name="connsiteY1677" fmla="*/ 3239 h 10000"/>
                <a:gd name="connsiteX1678" fmla="*/ 3599 w 10785"/>
                <a:gd name="connsiteY1678" fmla="*/ 3179 h 10000"/>
                <a:gd name="connsiteX1679" fmla="*/ 3599 w 10785"/>
                <a:gd name="connsiteY1679" fmla="*/ 3171 h 10000"/>
                <a:gd name="connsiteX1680" fmla="*/ 3599 w 10785"/>
                <a:gd name="connsiteY1680" fmla="*/ 3009 h 10000"/>
                <a:gd name="connsiteX1681" fmla="*/ 3604 w 10785"/>
                <a:gd name="connsiteY1681" fmla="*/ 2983 h 10000"/>
                <a:gd name="connsiteX1682" fmla="*/ 3645 w 10785"/>
                <a:gd name="connsiteY1682" fmla="*/ 2932 h 10000"/>
                <a:gd name="connsiteX1683" fmla="*/ 3650 w 10785"/>
                <a:gd name="connsiteY1683" fmla="*/ 2872 h 10000"/>
                <a:gd name="connsiteX1684" fmla="*/ 3659 w 10785"/>
                <a:gd name="connsiteY1684" fmla="*/ 2855 h 10000"/>
                <a:gd name="connsiteX1685" fmla="*/ 3659 w 10785"/>
                <a:gd name="connsiteY1685" fmla="*/ 2821 h 10000"/>
                <a:gd name="connsiteX1686" fmla="*/ 3631 w 10785"/>
                <a:gd name="connsiteY1686" fmla="*/ 2795 h 10000"/>
                <a:gd name="connsiteX1687" fmla="*/ 3567 w 10785"/>
                <a:gd name="connsiteY1687" fmla="*/ 2821 h 10000"/>
                <a:gd name="connsiteX1688" fmla="*/ 3544 w 10785"/>
                <a:gd name="connsiteY1688" fmla="*/ 2795 h 10000"/>
                <a:gd name="connsiteX1689" fmla="*/ 3530 w 10785"/>
                <a:gd name="connsiteY1689" fmla="*/ 2769 h 10000"/>
                <a:gd name="connsiteX1690" fmla="*/ 3530 w 10785"/>
                <a:gd name="connsiteY1690" fmla="*/ 2786 h 10000"/>
                <a:gd name="connsiteX1691" fmla="*/ 3498 w 10785"/>
                <a:gd name="connsiteY1691" fmla="*/ 2692 h 10000"/>
                <a:gd name="connsiteX1692" fmla="*/ 3498 w 10785"/>
                <a:gd name="connsiteY1692" fmla="*/ 2667 h 10000"/>
                <a:gd name="connsiteX1693" fmla="*/ 3442 w 10785"/>
                <a:gd name="connsiteY1693" fmla="*/ 2607 h 10000"/>
                <a:gd name="connsiteX1694" fmla="*/ 3433 w 10785"/>
                <a:gd name="connsiteY1694" fmla="*/ 2581 h 10000"/>
                <a:gd name="connsiteX1695" fmla="*/ 3396 w 10785"/>
                <a:gd name="connsiteY1695" fmla="*/ 2556 h 10000"/>
                <a:gd name="connsiteX1696" fmla="*/ 3318 w 10785"/>
                <a:gd name="connsiteY1696" fmla="*/ 2556 h 10000"/>
                <a:gd name="connsiteX1697" fmla="*/ 3304 w 10785"/>
                <a:gd name="connsiteY1697" fmla="*/ 2607 h 10000"/>
                <a:gd name="connsiteX1698" fmla="*/ 3276 w 10785"/>
                <a:gd name="connsiteY1698" fmla="*/ 2632 h 10000"/>
                <a:gd name="connsiteX1699" fmla="*/ 3272 w 10785"/>
                <a:gd name="connsiteY1699" fmla="*/ 2667 h 10000"/>
                <a:gd name="connsiteX1700" fmla="*/ 3304 w 10785"/>
                <a:gd name="connsiteY1700" fmla="*/ 2667 h 10000"/>
                <a:gd name="connsiteX1701" fmla="*/ 3323 w 10785"/>
                <a:gd name="connsiteY1701" fmla="*/ 2692 h 10000"/>
                <a:gd name="connsiteX1702" fmla="*/ 3318 w 10785"/>
                <a:gd name="connsiteY1702" fmla="*/ 2735 h 10000"/>
                <a:gd name="connsiteX1703" fmla="*/ 3304 w 10785"/>
                <a:gd name="connsiteY1703" fmla="*/ 2761 h 10000"/>
                <a:gd name="connsiteX1704" fmla="*/ 3276 w 10785"/>
                <a:gd name="connsiteY1704" fmla="*/ 2769 h 10000"/>
                <a:gd name="connsiteX1705" fmla="*/ 3263 w 10785"/>
                <a:gd name="connsiteY1705" fmla="*/ 2795 h 10000"/>
                <a:gd name="connsiteX1706" fmla="*/ 3235 w 10785"/>
                <a:gd name="connsiteY1706" fmla="*/ 2803 h 10000"/>
                <a:gd name="connsiteX1707" fmla="*/ 3235 w 10785"/>
                <a:gd name="connsiteY1707" fmla="*/ 2786 h 10000"/>
                <a:gd name="connsiteX1708" fmla="*/ 3212 w 10785"/>
                <a:gd name="connsiteY1708" fmla="*/ 2709 h 10000"/>
                <a:gd name="connsiteX1709" fmla="*/ 3198 w 10785"/>
                <a:gd name="connsiteY1709" fmla="*/ 2709 h 10000"/>
                <a:gd name="connsiteX1710" fmla="*/ 3184 w 10785"/>
                <a:gd name="connsiteY1710" fmla="*/ 2735 h 10000"/>
                <a:gd name="connsiteX1711" fmla="*/ 3189 w 10785"/>
                <a:gd name="connsiteY1711" fmla="*/ 2761 h 10000"/>
                <a:gd name="connsiteX1712" fmla="*/ 3203 w 10785"/>
                <a:gd name="connsiteY1712" fmla="*/ 2855 h 10000"/>
                <a:gd name="connsiteX1713" fmla="*/ 3212 w 10785"/>
                <a:gd name="connsiteY1713" fmla="*/ 2872 h 10000"/>
                <a:gd name="connsiteX1714" fmla="*/ 3235 w 10785"/>
                <a:gd name="connsiteY1714" fmla="*/ 2906 h 10000"/>
                <a:gd name="connsiteX1715" fmla="*/ 3258 w 10785"/>
                <a:gd name="connsiteY1715" fmla="*/ 2915 h 10000"/>
                <a:gd name="connsiteX1716" fmla="*/ 3272 w 10785"/>
                <a:gd name="connsiteY1716" fmla="*/ 2957 h 10000"/>
                <a:gd name="connsiteX1717" fmla="*/ 3276 w 10785"/>
                <a:gd name="connsiteY1717" fmla="*/ 2957 h 10000"/>
                <a:gd name="connsiteX1718" fmla="*/ 3286 w 10785"/>
                <a:gd name="connsiteY1718" fmla="*/ 2966 h 10000"/>
                <a:gd name="connsiteX1719" fmla="*/ 3300 w 10785"/>
                <a:gd name="connsiteY1719" fmla="*/ 2957 h 10000"/>
                <a:gd name="connsiteX1720" fmla="*/ 3309 w 10785"/>
                <a:gd name="connsiteY1720" fmla="*/ 2932 h 10000"/>
                <a:gd name="connsiteX1721" fmla="*/ 3304 w 10785"/>
                <a:gd name="connsiteY1721" fmla="*/ 2966 h 10000"/>
                <a:gd name="connsiteX1722" fmla="*/ 3309 w 10785"/>
                <a:gd name="connsiteY1722" fmla="*/ 2983 h 10000"/>
                <a:gd name="connsiteX1723" fmla="*/ 3323 w 10785"/>
                <a:gd name="connsiteY1723" fmla="*/ 2966 h 10000"/>
                <a:gd name="connsiteX1724" fmla="*/ 3323 w 10785"/>
                <a:gd name="connsiteY1724" fmla="*/ 3043 h 10000"/>
                <a:gd name="connsiteX1725" fmla="*/ 3346 w 10785"/>
                <a:gd name="connsiteY1725" fmla="*/ 3068 h 10000"/>
                <a:gd name="connsiteX1726" fmla="*/ 3346 w 10785"/>
                <a:gd name="connsiteY1726" fmla="*/ 3094 h 10000"/>
                <a:gd name="connsiteX1727" fmla="*/ 3323 w 10785"/>
                <a:gd name="connsiteY1727" fmla="*/ 3094 h 10000"/>
                <a:gd name="connsiteX1728" fmla="*/ 3309 w 10785"/>
                <a:gd name="connsiteY1728" fmla="*/ 3077 h 10000"/>
                <a:gd name="connsiteX1729" fmla="*/ 3304 w 10785"/>
                <a:gd name="connsiteY1729" fmla="*/ 3051 h 10000"/>
                <a:gd name="connsiteX1730" fmla="*/ 3300 w 10785"/>
                <a:gd name="connsiteY1730" fmla="*/ 3043 h 10000"/>
                <a:gd name="connsiteX1731" fmla="*/ 3286 w 10785"/>
                <a:gd name="connsiteY1731" fmla="*/ 3017 h 10000"/>
                <a:gd name="connsiteX1732" fmla="*/ 3152 w 10785"/>
                <a:gd name="connsiteY1732" fmla="*/ 2966 h 10000"/>
                <a:gd name="connsiteX1733" fmla="*/ 3129 w 10785"/>
                <a:gd name="connsiteY1733" fmla="*/ 2915 h 10000"/>
                <a:gd name="connsiteX1734" fmla="*/ 3129 w 10785"/>
                <a:gd name="connsiteY1734" fmla="*/ 2906 h 10000"/>
                <a:gd name="connsiteX1735" fmla="*/ 3152 w 10785"/>
                <a:gd name="connsiteY1735" fmla="*/ 2906 h 10000"/>
                <a:gd name="connsiteX1736" fmla="*/ 3152 w 10785"/>
                <a:gd name="connsiteY1736" fmla="*/ 2846 h 10000"/>
                <a:gd name="connsiteX1737" fmla="*/ 3138 w 10785"/>
                <a:gd name="connsiteY1737" fmla="*/ 2795 h 10000"/>
                <a:gd name="connsiteX1738" fmla="*/ 3138 w 10785"/>
                <a:gd name="connsiteY1738" fmla="*/ 2769 h 10000"/>
                <a:gd name="connsiteX1739" fmla="*/ 3143 w 10785"/>
                <a:gd name="connsiteY1739" fmla="*/ 2718 h 10000"/>
                <a:gd name="connsiteX1740" fmla="*/ 3129 w 10785"/>
                <a:gd name="connsiteY1740" fmla="*/ 2692 h 10000"/>
                <a:gd name="connsiteX1741" fmla="*/ 3143 w 10785"/>
                <a:gd name="connsiteY1741" fmla="*/ 2667 h 10000"/>
                <a:gd name="connsiteX1742" fmla="*/ 3157 w 10785"/>
                <a:gd name="connsiteY1742" fmla="*/ 2581 h 10000"/>
                <a:gd name="connsiteX1743" fmla="*/ 3143 w 10785"/>
                <a:gd name="connsiteY1743" fmla="*/ 2496 h 10000"/>
                <a:gd name="connsiteX1744" fmla="*/ 3157 w 10785"/>
                <a:gd name="connsiteY1744" fmla="*/ 2487 h 10000"/>
                <a:gd name="connsiteX1745" fmla="*/ 3143 w 10785"/>
                <a:gd name="connsiteY1745" fmla="*/ 2444 h 10000"/>
                <a:gd name="connsiteX1746" fmla="*/ 3143 w 10785"/>
                <a:gd name="connsiteY1746" fmla="*/ 2419 h 10000"/>
                <a:gd name="connsiteX1747" fmla="*/ 3143 w 10785"/>
                <a:gd name="connsiteY1747" fmla="*/ 2410 h 10000"/>
                <a:gd name="connsiteX1748" fmla="*/ 3124 w 10785"/>
                <a:gd name="connsiteY1748" fmla="*/ 2376 h 10000"/>
                <a:gd name="connsiteX1749" fmla="*/ 3115 w 10785"/>
                <a:gd name="connsiteY1749" fmla="*/ 2350 h 10000"/>
                <a:gd name="connsiteX1750" fmla="*/ 3101 w 10785"/>
                <a:gd name="connsiteY1750" fmla="*/ 2359 h 10000"/>
                <a:gd name="connsiteX1751" fmla="*/ 3115 w 10785"/>
                <a:gd name="connsiteY1751" fmla="*/ 2581 h 10000"/>
                <a:gd name="connsiteX1752" fmla="*/ 3111 w 10785"/>
                <a:gd name="connsiteY1752" fmla="*/ 2624 h 10000"/>
                <a:gd name="connsiteX1753" fmla="*/ 3009 w 10785"/>
                <a:gd name="connsiteY1753" fmla="*/ 2761 h 10000"/>
                <a:gd name="connsiteX1754" fmla="*/ 3009 w 10785"/>
                <a:gd name="connsiteY1754" fmla="*/ 2803 h 10000"/>
                <a:gd name="connsiteX1755" fmla="*/ 3005 w 10785"/>
                <a:gd name="connsiteY1755" fmla="*/ 2829 h 10000"/>
                <a:gd name="connsiteX1756" fmla="*/ 2982 w 10785"/>
                <a:gd name="connsiteY1756" fmla="*/ 2872 h 10000"/>
                <a:gd name="connsiteX1757" fmla="*/ 2982 w 10785"/>
                <a:gd name="connsiteY1757" fmla="*/ 2880 h 10000"/>
                <a:gd name="connsiteX1758" fmla="*/ 3037 w 10785"/>
                <a:gd name="connsiteY1758" fmla="*/ 3034 h 10000"/>
                <a:gd name="connsiteX1759" fmla="*/ 3041 w 10785"/>
                <a:gd name="connsiteY1759" fmla="*/ 3103 h 10000"/>
                <a:gd name="connsiteX1760" fmla="*/ 3069 w 10785"/>
                <a:gd name="connsiteY1760" fmla="*/ 3188 h 10000"/>
                <a:gd name="connsiteX1761" fmla="*/ 3055 w 10785"/>
                <a:gd name="connsiteY1761" fmla="*/ 3325 h 10000"/>
                <a:gd name="connsiteX1762" fmla="*/ 3037 w 10785"/>
                <a:gd name="connsiteY1762" fmla="*/ 3368 h 10000"/>
                <a:gd name="connsiteX1763" fmla="*/ 3037 w 10785"/>
                <a:gd name="connsiteY1763" fmla="*/ 3444 h 10000"/>
                <a:gd name="connsiteX1764" fmla="*/ 3028 w 10785"/>
                <a:gd name="connsiteY1764" fmla="*/ 3453 h 10000"/>
                <a:gd name="connsiteX1765" fmla="*/ 3023 w 10785"/>
                <a:gd name="connsiteY1765" fmla="*/ 3530 h 10000"/>
                <a:gd name="connsiteX1766" fmla="*/ 3051 w 10785"/>
                <a:gd name="connsiteY1766" fmla="*/ 3624 h 10000"/>
                <a:gd name="connsiteX1767" fmla="*/ 3037 w 10785"/>
                <a:gd name="connsiteY1767" fmla="*/ 3718 h 10000"/>
                <a:gd name="connsiteX1768" fmla="*/ 3041 w 10785"/>
                <a:gd name="connsiteY1768" fmla="*/ 3752 h 10000"/>
                <a:gd name="connsiteX1769" fmla="*/ 3055 w 10785"/>
                <a:gd name="connsiteY1769" fmla="*/ 3761 h 10000"/>
                <a:gd name="connsiteX1770" fmla="*/ 3078 w 10785"/>
                <a:gd name="connsiteY1770" fmla="*/ 3752 h 10000"/>
                <a:gd name="connsiteX1771" fmla="*/ 3092 w 10785"/>
                <a:gd name="connsiteY1771" fmla="*/ 3752 h 10000"/>
                <a:gd name="connsiteX1772" fmla="*/ 3129 w 10785"/>
                <a:gd name="connsiteY1772" fmla="*/ 3761 h 10000"/>
                <a:gd name="connsiteX1773" fmla="*/ 3129 w 10785"/>
                <a:gd name="connsiteY1773" fmla="*/ 3735 h 10000"/>
                <a:gd name="connsiteX1774" fmla="*/ 3157 w 10785"/>
                <a:gd name="connsiteY1774" fmla="*/ 3718 h 10000"/>
                <a:gd name="connsiteX1775" fmla="*/ 3184 w 10785"/>
                <a:gd name="connsiteY1775" fmla="*/ 3718 h 10000"/>
                <a:gd name="connsiteX1776" fmla="*/ 3290 w 10785"/>
                <a:gd name="connsiteY1776" fmla="*/ 3838 h 10000"/>
                <a:gd name="connsiteX1777" fmla="*/ 3300 w 10785"/>
                <a:gd name="connsiteY1777" fmla="*/ 3846 h 10000"/>
                <a:gd name="connsiteX1778" fmla="*/ 3300 w 10785"/>
                <a:gd name="connsiteY1778" fmla="*/ 3915 h 10000"/>
                <a:gd name="connsiteX1779" fmla="*/ 3318 w 10785"/>
                <a:gd name="connsiteY1779" fmla="*/ 4000 h 10000"/>
                <a:gd name="connsiteX1780" fmla="*/ 3323 w 10785"/>
                <a:gd name="connsiteY1780" fmla="*/ 4000 h 10000"/>
                <a:gd name="connsiteX1781" fmla="*/ 3323 w 10785"/>
                <a:gd name="connsiteY1781" fmla="*/ 4034 h 10000"/>
                <a:gd name="connsiteX1782" fmla="*/ 3318 w 10785"/>
                <a:gd name="connsiteY1782" fmla="*/ 4051 h 10000"/>
                <a:gd name="connsiteX1783" fmla="*/ 3300 w 10785"/>
                <a:gd name="connsiteY1783" fmla="*/ 4051 h 10000"/>
                <a:gd name="connsiteX1784" fmla="*/ 3290 w 10785"/>
                <a:gd name="connsiteY1784" fmla="*/ 4077 h 10000"/>
                <a:gd name="connsiteX1785" fmla="*/ 3286 w 10785"/>
                <a:gd name="connsiteY1785" fmla="*/ 4103 h 10000"/>
                <a:gd name="connsiteX1786" fmla="*/ 3286 w 10785"/>
                <a:gd name="connsiteY1786" fmla="*/ 4197 h 10000"/>
                <a:gd name="connsiteX1787" fmla="*/ 3290 w 10785"/>
                <a:gd name="connsiteY1787" fmla="*/ 4214 h 10000"/>
                <a:gd name="connsiteX1788" fmla="*/ 3304 w 10785"/>
                <a:gd name="connsiteY1788" fmla="*/ 4214 h 10000"/>
                <a:gd name="connsiteX1789" fmla="*/ 3323 w 10785"/>
                <a:gd name="connsiteY1789" fmla="*/ 4239 h 10000"/>
                <a:gd name="connsiteX1790" fmla="*/ 3350 w 10785"/>
                <a:gd name="connsiteY1790" fmla="*/ 4222 h 10000"/>
                <a:gd name="connsiteX1791" fmla="*/ 3369 w 10785"/>
                <a:gd name="connsiteY1791" fmla="*/ 4256 h 10000"/>
                <a:gd name="connsiteX1792" fmla="*/ 3369 w 10785"/>
                <a:gd name="connsiteY1792" fmla="*/ 4256 h 10000"/>
                <a:gd name="connsiteX1793" fmla="*/ 3336 w 10785"/>
                <a:gd name="connsiteY1793" fmla="*/ 4274 h 10000"/>
                <a:gd name="connsiteX1794" fmla="*/ 3323 w 10785"/>
                <a:gd name="connsiteY1794" fmla="*/ 4274 h 10000"/>
                <a:gd name="connsiteX1795" fmla="*/ 3290 w 10785"/>
                <a:gd name="connsiteY1795" fmla="*/ 4274 h 10000"/>
                <a:gd name="connsiteX1796" fmla="*/ 3286 w 10785"/>
                <a:gd name="connsiteY1796" fmla="*/ 4239 h 10000"/>
                <a:gd name="connsiteX1797" fmla="*/ 3263 w 10785"/>
                <a:gd name="connsiteY1797" fmla="*/ 4214 h 10000"/>
                <a:gd name="connsiteX1798" fmla="*/ 3258 w 10785"/>
                <a:gd name="connsiteY1798" fmla="*/ 4188 h 10000"/>
                <a:gd name="connsiteX1799" fmla="*/ 3263 w 10785"/>
                <a:gd name="connsiteY1799" fmla="*/ 4171 h 10000"/>
                <a:gd name="connsiteX1800" fmla="*/ 3263 w 10785"/>
                <a:gd name="connsiteY1800" fmla="*/ 4103 h 10000"/>
                <a:gd name="connsiteX1801" fmla="*/ 3276 w 10785"/>
                <a:gd name="connsiteY1801" fmla="*/ 4060 h 10000"/>
                <a:gd name="connsiteX1802" fmla="*/ 3272 w 10785"/>
                <a:gd name="connsiteY1802" fmla="*/ 4051 h 10000"/>
                <a:gd name="connsiteX1803" fmla="*/ 3263 w 10785"/>
                <a:gd name="connsiteY1803" fmla="*/ 4051 h 10000"/>
                <a:gd name="connsiteX1804" fmla="*/ 3263 w 10785"/>
                <a:gd name="connsiteY1804" fmla="*/ 4034 h 10000"/>
                <a:gd name="connsiteX1805" fmla="*/ 3263 w 10785"/>
                <a:gd name="connsiteY1805" fmla="*/ 4000 h 10000"/>
                <a:gd name="connsiteX1806" fmla="*/ 3272 w 10785"/>
                <a:gd name="connsiteY1806" fmla="*/ 4000 h 10000"/>
                <a:gd name="connsiteX1807" fmla="*/ 3272 w 10785"/>
                <a:gd name="connsiteY1807" fmla="*/ 3974 h 10000"/>
                <a:gd name="connsiteX1808" fmla="*/ 3272 w 10785"/>
                <a:gd name="connsiteY1808" fmla="*/ 3966 h 10000"/>
                <a:gd name="connsiteX1809" fmla="*/ 3272 w 10785"/>
                <a:gd name="connsiteY1809" fmla="*/ 3949 h 10000"/>
                <a:gd name="connsiteX1810" fmla="*/ 3258 w 10785"/>
                <a:gd name="connsiteY1810" fmla="*/ 3923 h 10000"/>
                <a:gd name="connsiteX1811" fmla="*/ 3249 w 10785"/>
                <a:gd name="connsiteY1811" fmla="*/ 3915 h 10000"/>
                <a:gd name="connsiteX1812" fmla="*/ 3244 w 10785"/>
                <a:gd name="connsiteY1812" fmla="*/ 3897 h 10000"/>
                <a:gd name="connsiteX1813" fmla="*/ 3230 w 10785"/>
                <a:gd name="connsiteY1813" fmla="*/ 3889 h 10000"/>
                <a:gd name="connsiteX1814" fmla="*/ 3230 w 10785"/>
                <a:gd name="connsiteY1814" fmla="*/ 3863 h 10000"/>
                <a:gd name="connsiteX1815" fmla="*/ 3230 w 10785"/>
                <a:gd name="connsiteY1815" fmla="*/ 3838 h 10000"/>
                <a:gd name="connsiteX1816" fmla="*/ 3226 w 10785"/>
                <a:gd name="connsiteY1816" fmla="*/ 3803 h 10000"/>
                <a:gd name="connsiteX1817" fmla="*/ 3138 w 10785"/>
                <a:gd name="connsiteY1817" fmla="*/ 3838 h 10000"/>
                <a:gd name="connsiteX1818" fmla="*/ 3078 w 10785"/>
                <a:gd name="connsiteY1818" fmla="*/ 3889 h 10000"/>
                <a:gd name="connsiteX1819" fmla="*/ 3078 w 10785"/>
                <a:gd name="connsiteY1819" fmla="*/ 3940 h 10000"/>
                <a:gd name="connsiteX1820" fmla="*/ 3069 w 10785"/>
                <a:gd name="connsiteY1820" fmla="*/ 3983 h 10000"/>
                <a:gd name="connsiteX1821" fmla="*/ 3069 w 10785"/>
                <a:gd name="connsiteY1821" fmla="*/ 4009 h 10000"/>
                <a:gd name="connsiteX1822" fmla="*/ 3078 w 10785"/>
                <a:gd name="connsiteY1822" fmla="*/ 4026 h 10000"/>
                <a:gd name="connsiteX1823" fmla="*/ 3083 w 10785"/>
                <a:gd name="connsiteY1823" fmla="*/ 4034 h 10000"/>
                <a:gd name="connsiteX1824" fmla="*/ 3092 w 10785"/>
                <a:gd name="connsiteY1824" fmla="*/ 4060 h 10000"/>
                <a:gd name="connsiteX1825" fmla="*/ 3092 w 10785"/>
                <a:gd name="connsiteY1825" fmla="*/ 4077 h 10000"/>
                <a:gd name="connsiteX1826" fmla="*/ 3097 w 10785"/>
                <a:gd name="connsiteY1826" fmla="*/ 4103 h 10000"/>
                <a:gd name="connsiteX1827" fmla="*/ 3101 w 10785"/>
                <a:gd name="connsiteY1827" fmla="*/ 4162 h 10000"/>
                <a:gd name="connsiteX1828" fmla="*/ 3097 w 10785"/>
                <a:gd name="connsiteY1828" fmla="*/ 4222 h 10000"/>
                <a:gd name="connsiteX1829" fmla="*/ 3041 w 10785"/>
                <a:gd name="connsiteY1829" fmla="*/ 4325 h 10000"/>
                <a:gd name="connsiteX1830" fmla="*/ 3037 w 10785"/>
                <a:gd name="connsiteY1830" fmla="*/ 4419 h 10000"/>
                <a:gd name="connsiteX1831" fmla="*/ 3018 w 10785"/>
                <a:gd name="connsiteY1831" fmla="*/ 4470 h 10000"/>
                <a:gd name="connsiteX1832" fmla="*/ 2991 w 10785"/>
                <a:gd name="connsiteY1832" fmla="*/ 4513 h 10000"/>
                <a:gd name="connsiteX1833" fmla="*/ 2977 w 10785"/>
                <a:gd name="connsiteY1833" fmla="*/ 4530 h 10000"/>
                <a:gd name="connsiteX1834" fmla="*/ 2945 w 10785"/>
                <a:gd name="connsiteY1834" fmla="*/ 4556 h 10000"/>
                <a:gd name="connsiteX1835" fmla="*/ 2935 w 10785"/>
                <a:gd name="connsiteY1835" fmla="*/ 4581 h 10000"/>
                <a:gd name="connsiteX1836" fmla="*/ 2949 w 10785"/>
                <a:gd name="connsiteY1836" fmla="*/ 4624 h 10000"/>
                <a:gd name="connsiteX1837" fmla="*/ 2945 w 10785"/>
                <a:gd name="connsiteY1837" fmla="*/ 4658 h 10000"/>
                <a:gd name="connsiteX1838" fmla="*/ 2922 w 10785"/>
                <a:gd name="connsiteY1838" fmla="*/ 4667 h 10000"/>
                <a:gd name="connsiteX1839" fmla="*/ 2876 w 10785"/>
                <a:gd name="connsiteY1839" fmla="*/ 4632 h 10000"/>
                <a:gd name="connsiteX1840" fmla="*/ 2857 w 10785"/>
                <a:gd name="connsiteY1840" fmla="*/ 4632 h 10000"/>
                <a:gd name="connsiteX1841" fmla="*/ 2820 w 10785"/>
                <a:gd name="connsiteY1841" fmla="*/ 4641 h 10000"/>
                <a:gd name="connsiteX1842" fmla="*/ 2797 w 10785"/>
                <a:gd name="connsiteY1842" fmla="*/ 4632 h 10000"/>
                <a:gd name="connsiteX1843" fmla="*/ 2788 w 10785"/>
                <a:gd name="connsiteY1843" fmla="*/ 4624 h 10000"/>
                <a:gd name="connsiteX1844" fmla="*/ 2788 w 10785"/>
                <a:gd name="connsiteY1844" fmla="*/ 4598 h 10000"/>
                <a:gd name="connsiteX1845" fmla="*/ 2797 w 10785"/>
                <a:gd name="connsiteY1845" fmla="*/ 4581 h 10000"/>
                <a:gd name="connsiteX1846" fmla="*/ 2788 w 10785"/>
                <a:gd name="connsiteY1846" fmla="*/ 4530 h 10000"/>
                <a:gd name="connsiteX1847" fmla="*/ 2774 w 10785"/>
                <a:gd name="connsiteY1847" fmla="*/ 4530 h 10000"/>
                <a:gd name="connsiteX1848" fmla="*/ 2770 w 10785"/>
                <a:gd name="connsiteY1848" fmla="*/ 4513 h 10000"/>
                <a:gd name="connsiteX1849" fmla="*/ 2774 w 10785"/>
                <a:gd name="connsiteY1849" fmla="*/ 4513 h 10000"/>
                <a:gd name="connsiteX1850" fmla="*/ 2788 w 10785"/>
                <a:gd name="connsiteY1850" fmla="*/ 4496 h 10000"/>
                <a:gd name="connsiteX1851" fmla="*/ 2802 w 10785"/>
                <a:gd name="connsiteY1851" fmla="*/ 4513 h 10000"/>
                <a:gd name="connsiteX1852" fmla="*/ 2811 w 10785"/>
                <a:gd name="connsiteY1852" fmla="*/ 4530 h 10000"/>
                <a:gd name="connsiteX1853" fmla="*/ 2820 w 10785"/>
                <a:gd name="connsiteY1853" fmla="*/ 4521 h 10000"/>
                <a:gd name="connsiteX1854" fmla="*/ 2829 w 10785"/>
                <a:gd name="connsiteY1854" fmla="*/ 4513 h 10000"/>
                <a:gd name="connsiteX1855" fmla="*/ 2843 w 10785"/>
                <a:gd name="connsiteY1855" fmla="*/ 4513 h 10000"/>
                <a:gd name="connsiteX1856" fmla="*/ 2848 w 10785"/>
                <a:gd name="connsiteY1856" fmla="*/ 4470 h 10000"/>
                <a:gd name="connsiteX1857" fmla="*/ 2862 w 10785"/>
                <a:gd name="connsiteY1857" fmla="*/ 4487 h 10000"/>
                <a:gd name="connsiteX1858" fmla="*/ 2876 w 10785"/>
                <a:gd name="connsiteY1858" fmla="*/ 4470 h 10000"/>
                <a:gd name="connsiteX1859" fmla="*/ 2880 w 10785"/>
                <a:gd name="connsiteY1859" fmla="*/ 4462 h 10000"/>
                <a:gd name="connsiteX1860" fmla="*/ 2889 w 10785"/>
                <a:gd name="connsiteY1860" fmla="*/ 4444 h 10000"/>
                <a:gd name="connsiteX1861" fmla="*/ 2894 w 10785"/>
                <a:gd name="connsiteY1861" fmla="*/ 4462 h 10000"/>
                <a:gd name="connsiteX1862" fmla="*/ 2917 w 10785"/>
                <a:gd name="connsiteY1862" fmla="*/ 4444 h 10000"/>
                <a:gd name="connsiteX1863" fmla="*/ 2922 w 10785"/>
                <a:gd name="connsiteY1863" fmla="*/ 4436 h 10000"/>
                <a:gd name="connsiteX1864" fmla="*/ 2917 w 10785"/>
                <a:gd name="connsiteY1864" fmla="*/ 4410 h 10000"/>
                <a:gd name="connsiteX1865" fmla="*/ 2894 w 10785"/>
                <a:gd name="connsiteY1865" fmla="*/ 4410 h 10000"/>
                <a:gd name="connsiteX1866" fmla="*/ 2889 w 10785"/>
                <a:gd name="connsiteY1866" fmla="*/ 4419 h 10000"/>
                <a:gd name="connsiteX1867" fmla="*/ 2876 w 10785"/>
                <a:gd name="connsiteY1867" fmla="*/ 4410 h 10000"/>
                <a:gd name="connsiteX1868" fmla="*/ 2880 w 10785"/>
                <a:gd name="connsiteY1868" fmla="*/ 4376 h 10000"/>
                <a:gd name="connsiteX1869" fmla="*/ 2903 w 10785"/>
                <a:gd name="connsiteY1869" fmla="*/ 4393 h 10000"/>
                <a:gd name="connsiteX1870" fmla="*/ 2931 w 10785"/>
                <a:gd name="connsiteY1870" fmla="*/ 4393 h 10000"/>
                <a:gd name="connsiteX1871" fmla="*/ 2931 w 10785"/>
                <a:gd name="connsiteY1871" fmla="*/ 4385 h 10000"/>
                <a:gd name="connsiteX1872" fmla="*/ 2931 w 10785"/>
                <a:gd name="connsiteY1872" fmla="*/ 4350 h 10000"/>
                <a:gd name="connsiteX1873" fmla="*/ 2945 w 10785"/>
                <a:gd name="connsiteY1873" fmla="*/ 4350 h 10000"/>
                <a:gd name="connsiteX1874" fmla="*/ 2949 w 10785"/>
                <a:gd name="connsiteY1874" fmla="*/ 4325 h 10000"/>
                <a:gd name="connsiteX1875" fmla="*/ 2963 w 10785"/>
                <a:gd name="connsiteY1875" fmla="*/ 4256 h 10000"/>
                <a:gd name="connsiteX1876" fmla="*/ 2982 w 10785"/>
                <a:gd name="connsiteY1876" fmla="*/ 4239 h 10000"/>
                <a:gd name="connsiteX1877" fmla="*/ 2991 w 10785"/>
                <a:gd name="connsiteY1877" fmla="*/ 4214 h 10000"/>
                <a:gd name="connsiteX1878" fmla="*/ 2991 w 10785"/>
                <a:gd name="connsiteY1878" fmla="*/ 4197 h 10000"/>
                <a:gd name="connsiteX1879" fmla="*/ 2995 w 10785"/>
                <a:gd name="connsiteY1879" fmla="*/ 4171 h 10000"/>
                <a:gd name="connsiteX1880" fmla="*/ 2991 w 10785"/>
                <a:gd name="connsiteY1880" fmla="*/ 4077 h 10000"/>
                <a:gd name="connsiteX1881" fmla="*/ 2995 w 10785"/>
                <a:gd name="connsiteY1881" fmla="*/ 4034 h 10000"/>
                <a:gd name="connsiteX1882" fmla="*/ 3018 w 10785"/>
                <a:gd name="connsiteY1882" fmla="*/ 3983 h 10000"/>
                <a:gd name="connsiteX1883" fmla="*/ 3018 w 10785"/>
                <a:gd name="connsiteY1883" fmla="*/ 3915 h 10000"/>
                <a:gd name="connsiteX1884" fmla="*/ 2949 w 10785"/>
                <a:gd name="connsiteY1884" fmla="*/ 3778 h 10000"/>
                <a:gd name="connsiteX1885" fmla="*/ 2954 w 10785"/>
                <a:gd name="connsiteY1885" fmla="*/ 3675 h 10000"/>
                <a:gd name="connsiteX1886" fmla="*/ 2954 w 10785"/>
                <a:gd name="connsiteY1886" fmla="*/ 3650 h 10000"/>
                <a:gd name="connsiteX1887" fmla="*/ 2963 w 10785"/>
                <a:gd name="connsiteY1887" fmla="*/ 3624 h 10000"/>
                <a:gd name="connsiteX1888" fmla="*/ 2954 w 10785"/>
                <a:gd name="connsiteY1888" fmla="*/ 3564 h 10000"/>
                <a:gd name="connsiteX1889" fmla="*/ 2963 w 10785"/>
                <a:gd name="connsiteY1889" fmla="*/ 3538 h 10000"/>
                <a:gd name="connsiteX1890" fmla="*/ 2963 w 10785"/>
                <a:gd name="connsiteY1890" fmla="*/ 3487 h 10000"/>
                <a:gd name="connsiteX1891" fmla="*/ 2963 w 10785"/>
                <a:gd name="connsiteY1891" fmla="*/ 3479 h 10000"/>
                <a:gd name="connsiteX1892" fmla="*/ 2963 w 10785"/>
                <a:gd name="connsiteY1892" fmla="*/ 3462 h 10000"/>
                <a:gd name="connsiteX1893" fmla="*/ 2954 w 10785"/>
                <a:gd name="connsiteY1893" fmla="*/ 3453 h 10000"/>
                <a:gd name="connsiteX1894" fmla="*/ 2954 w 10785"/>
                <a:gd name="connsiteY1894" fmla="*/ 3444 h 10000"/>
                <a:gd name="connsiteX1895" fmla="*/ 2954 w 10785"/>
                <a:gd name="connsiteY1895" fmla="*/ 3402 h 10000"/>
                <a:gd name="connsiteX1896" fmla="*/ 2954 w 10785"/>
                <a:gd name="connsiteY1896" fmla="*/ 3393 h 10000"/>
                <a:gd name="connsiteX1897" fmla="*/ 2949 w 10785"/>
                <a:gd name="connsiteY1897" fmla="*/ 3376 h 10000"/>
                <a:gd name="connsiteX1898" fmla="*/ 2949 w 10785"/>
                <a:gd name="connsiteY1898" fmla="*/ 3342 h 10000"/>
                <a:gd name="connsiteX1899" fmla="*/ 2949 w 10785"/>
                <a:gd name="connsiteY1899" fmla="*/ 3316 h 10000"/>
                <a:gd name="connsiteX1900" fmla="*/ 2968 w 10785"/>
                <a:gd name="connsiteY1900" fmla="*/ 3291 h 10000"/>
                <a:gd name="connsiteX1901" fmla="*/ 2963 w 10785"/>
                <a:gd name="connsiteY1901" fmla="*/ 3205 h 10000"/>
                <a:gd name="connsiteX1902" fmla="*/ 2968 w 10785"/>
                <a:gd name="connsiteY1902" fmla="*/ 3171 h 10000"/>
                <a:gd name="connsiteX1903" fmla="*/ 2968 w 10785"/>
                <a:gd name="connsiteY1903" fmla="*/ 3128 h 10000"/>
                <a:gd name="connsiteX1904" fmla="*/ 2954 w 10785"/>
                <a:gd name="connsiteY1904" fmla="*/ 3051 h 10000"/>
                <a:gd name="connsiteX1905" fmla="*/ 2954 w 10785"/>
                <a:gd name="connsiteY1905" fmla="*/ 3009 h 10000"/>
                <a:gd name="connsiteX1906" fmla="*/ 2922 w 10785"/>
                <a:gd name="connsiteY1906" fmla="*/ 2940 h 10000"/>
                <a:gd name="connsiteX1907" fmla="*/ 2903 w 10785"/>
                <a:gd name="connsiteY1907" fmla="*/ 2880 h 10000"/>
                <a:gd name="connsiteX1908" fmla="*/ 2903 w 10785"/>
                <a:gd name="connsiteY1908" fmla="*/ 2855 h 10000"/>
                <a:gd name="connsiteX1909" fmla="*/ 2908 w 10785"/>
                <a:gd name="connsiteY1909" fmla="*/ 2846 h 10000"/>
                <a:gd name="connsiteX1910" fmla="*/ 2931 w 10785"/>
                <a:gd name="connsiteY1910" fmla="*/ 2821 h 10000"/>
                <a:gd name="connsiteX1911" fmla="*/ 2931 w 10785"/>
                <a:gd name="connsiteY1911" fmla="*/ 2803 h 10000"/>
                <a:gd name="connsiteX1912" fmla="*/ 2935 w 10785"/>
                <a:gd name="connsiteY1912" fmla="*/ 2786 h 10000"/>
                <a:gd name="connsiteX1913" fmla="*/ 2935 w 10785"/>
                <a:gd name="connsiteY1913" fmla="*/ 2744 h 10000"/>
                <a:gd name="connsiteX1914" fmla="*/ 2963 w 10785"/>
                <a:gd name="connsiteY1914" fmla="*/ 2607 h 10000"/>
                <a:gd name="connsiteX1915" fmla="*/ 2963 w 10785"/>
                <a:gd name="connsiteY1915" fmla="*/ 2419 h 10000"/>
                <a:gd name="connsiteX1916" fmla="*/ 2954 w 10785"/>
                <a:gd name="connsiteY1916" fmla="*/ 2410 h 10000"/>
                <a:gd name="connsiteX1917" fmla="*/ 2963 w 10785"/>
                <a:gd name="connsiteY1917" fmla="*/ 2393 h 10000"/>
                <a:gd name="connsiteX1918" fmla="*/ 2908 w 10785"/>
                <a:gd name="connsiteY1918" fmla="*/ 2359 h 10000"/>
                <a:gd name="connsiteX1919" fmla="*/ 2889 w 10785"/>
                <a:gd name="connsiteY1919" fmla="*/ 2325 h 10000"/>
                <a:gd name="connsiteX1920" fmla="*/ 2788 w 10785"/>
                <a:gd name="connsiteY1920" fmla="*/ 2333 h 10000"/>
                <a:gd name="connsiteX1921" fmla="*/ 2774 w 10785"/>
                <a:gd name="connsiteY1921" fmla="*/ 2325 h 10000"/>
                <a:gd name="connsiteX1922" fmla="*/ 2783 w 10785"/>
                <a:gd name="connsiteY1922" fmla="*/ 2308 h 10000"/>
                <a:gd name="connsiteX1923" fmla="*/ 2747 w 10785"/>
                <a:gd name="connsiteY1923" fmla="*/ 2308 h 10000"/>
                <a:gd name="connsiteX1924" fmla="*/ 2742 w 10785"/>
                <a:gd name="connsiteY1924" fmla="*/ 2333 h 10000"/>
                <a:gd name="connsiteX1925" fmla="*/ 2682 w 10785"/>
                <a:gd name="connsiteY1925" fmla="*/ 2769 h 10000"/>
                <a:gd name="connsiteX1926" fmla="*/ 2613 w 10785"/>
                <a:gd name="connsiteY1926" fmla="*/ 2940 h 10000"/>
                <a:gd name="connsiteX1927" fmla="*/ 2581 w 10785"/>
                <a:gd name="connsiteY1927" fmla="*/ 2966 h 10000"/>
                <a:gd name="connsiteX1928" fmla="*/ 2576 w 10785"/>
                <a:gd name="connsiteY1928" fmla="*/ 3051 h 10000"/>
                <a:gd name="connsiteX1929" fmla="*/ 2581 w 10785"/>
                <a:gd name="connsiteY1929" fmla="*/ 3051 h 10000"/>
                <a:gd name="connsiteX1930" fmla="*/ 2594 w 10785"/>
                <a:gd name="connsiteY1930" fmla="*/ 3017 h 10000"/>
                <a:gd name="connsiteX1931" fmla="*/ 2594 w 10785"/>
                <a:gd name="connsiteY1931" fmla="*/ 3034 h 10000"/>
                <a:gd name="connsiteX1932" fmla="*/ 2594 w 10785"/>
                <a:gd name="connsiteY1932" fmla="*/ 3051 h 10000"/>
                <a:gd name="connsiteX1933" fmla="*/ 2590 w 10785"/>
                <a:gd name="connsiteY1933" fmla="*/ 3077 h 10000"/>
                <a:gd name="connsiteX1934" fmla="*/ 2567 w 10785"/>
                <a:gd name="connsiteY1934" fmla="*/ 3103 h 10000"/>
                <a:gd name="connsiteX1935" fmla="*/ 2562 w 10785"/>
                <a:gd name="connsiteY1935" fmla="*/ 3145 h 10000"/>
                <a:gd name="connsiteX1936" fmla="*/ 2567 w 10785"/>
                <a:gd name="connsiteY1936" fmla="*/ 3179 h 10000"/>
                <a:gd name="connsiteX1937" fmla="*/ 2590 w 10785"/>
                <a:gd name="connsiteY1937" fmla="*/ 3171 h 10000"/>
                <a:gd name="connsiteX1938" fmla="*/ 2594 w 10785"/>
                <a:gd name="connsiteY1938" fmla="*/ 3145 h 10000"/>
                <a:gd name="connsiteX1939" fmla="*/ 2613 w 10785"/>
                <a:gd name="connsiteY1939" fmla="*/ 3154 h 10000"/>
                <a:gd name="connsiteX1940" fmla="*/ 2622 w 10785"/>
                <a:gd name="connsiteY1940" fmla="*/ 3179 h 10000"/>
                <a:gd name="connsiteX1941" fmla="*/ 2613 w 10785"/>
                <a:gd name="connsiteY1941" fmla="*/ 3214 h 10000"/>
                <a:gd name="connsiteX1942" fmla="*/ 2613 w 10785"/>
                <a:gd name="connsiteY1942" fmla="*/ 3308 h 10000"/>
                <a:gd name="connsiteX1943" fmla="*/ 2608 w 10785"/>
                <a:gd name="connsiteY1943" fmla="*/ 3325 h 10000"/>
                <a:gd name="connsiteX1944" fmla="*/ 2608 w 10785"/>
                <a:gd name="connsiteY1944" fmla="*/ 3376 h 10000"/>
                <a:gd name="connsiteX1945" fmla="*/ 2613 w 10785"/>
                <a:gd name="connsiteY1945" fmla="*/ 3419 h 10000"/>
                <a:gd name="connsiteX1946" fmla="*/ 2608 w 10785"/>
                <a:gd name="connsiteY1946" fmla="*/ 3444 h 10000"/>
                <a:gd name="connsiteX1947" fmla="*/ 2594 w 10785"/>
                <a:gd name="connsiteY1947" fmla="*/ 3444 h 10000"/>
                <a:gd name="connsiteX1948" fmla="*/ 2590 w 10785"/>
                <a:gd name="connsiteY1948" fmla="*/ 3427 h 10000"/>
                <a:gd name="connsiteX1949" fmla="*/ 2581 w 10785"/>
                <a:gd name="connsiteY1949" fmla="*/ 3564 h 10000"/>
                <a:gd name="connsiteX1950" fmla="*/ 2594 w 10785"/>
                <a:gd name="connsiteY1950" fmla="*/ 3598 h 10000"/>
                <a:gd name="connsiteX1951" fmla="*/ 2594 w 10785"/>
                <a:gd name="connsiteY1951" fmla="*/ 3581 h 10000"/>
                <a:gd name="connsiteX1952" fmla="*/ 2608 w 10785"/>
                <a:gd name="connsiteY1952" fmla="*/ 3556 h 10000"/>
                <a:gd name="connsiteX1953" fmla="*/ 2650 w 10785"/>
                <a:gd name="connsiteY1953" fmla="*/ 3615 h 10000"/>
                <a:gd name="connsiteX1954" fmla="*/ 2664 w 10785"/>
                <a:gd name="connsiteY1954" fmla="*/ 3615 h 10000"/>
                <a:gd name="connsiteX1955" fmla="*/ 2668 w 10785"/>
                <a:gd name="connsiteY1955" fmla="*/ 3615 h 10000"/>
                <a:gd name="connsiteX1956" fmla="*/ 2664 w 10785"/>
                <a:gd name="connsiteY1956" fmla="*/ 3667 h 10000"/>
                <a:gd name="connsiteX1957" fmla="*/ 2687 w 10785"/>
                <a:gd name="connsiteY1957" fmla="*/ 3786 h 10000"/>
                <a:gd name="connsiteX1958" fmla="*/ 2710 w 10785"/>
                <a:gd name="connsiteY1958" fmla="*/ 3812 h 10000"/>
                <a:gd name="connsiteX1959" fmla="*/ 2724 w 10785"/>
                <a:gd name="connsiteY1959" fmla="*/ 3812 h 10000"/>
                <a:gd name="connsiteX1960" fmla="*/ 2724 w 10785"/>
                <a:gd name="connsiteY1960" fmla="*/ 3829 h 10000"/>
                <a:gd name="connsiteX1961" fmla="*/ 2737 w 10785"/>
                <a:gd name="connsiteY1961" fmla="*/ 3838 h 10000"/>
                <a:gd name="connsiteX1962" fmla="*/ 2714 w 10785"/>
                <a:gd name="connsiteY1962" fmla="*/ 3872 h 10000"/>
                <a:gd name="connsiteX1963" fmla="*/ 2696 w 10785"/>
                <a:gd name="connsiteY1963" fmla="*/ 4026 h 10000"/>
                <a:gd name="connsiteX1964" fmla="*/ 2673 w 10785"/>
                <a:gd name="connsiteY1964" fmla="*/ 4051 h 10000"/>
                <a:gd name="connsiteX1965" fmla="*/ 2668 w 10785"/>
                <a:gd name="connsiteY1965" fmla="*/ 4034 h 10000"/>
                <a:gd name="connsiteX1966" fmla="*/ 2673 w 10785"/>
                <a:gd name="connsiteY1966" fmla="*/ 4000 h 10000"/>
                <a:gd name="connsiteX1967" fmla="*/ 2664 w 10785"/>
                <a:gd name="connsiteY1967" fmla="*/ 3974 h 10000"/>
                <a:gd name="connsiteX1968" fmla="*/ 2636 w 10785"/>
                <a:gd name="connsiteY1968" fmla="*/ 3949 h 10000"/>
                <a:gd name="connsiteX1969" fmla="*/ 2581 w 10785"/>
                <a:gd name="connsiteY1969" fmla="*/ 3838 h 10000"/>
                <a:gd name="connsiteX1970" fmla="*/ 2562 w 10785"/>
                <a:gd name="connsiteY1970" fmla="*/ 3829 h 10000"/>
                <a:gd name="connsiteX1971" fmla="*/ 2535 w 10785"/>
                <a:gd name="connsiteY1971" fmla="*/ 3778 h 10000"/>
                <a:gd name="connsiteX1972" fmla="*/ 2502 w 10785"/>
                <a:gd name="connsiteY1972" fmla="*/ 3761 h 10000"/>
                <a:gd name="connsiteX1973" fmla="*/ 2502 w 10785"/>
                <a:gd name="connsiteY1973" fmla="*/ 3735 h 10000"/>
                <a:gd name="connsiteX1974" fmla="*/ 2516 w 10785"/>
                <a:gd name="connsiteY1974" fmla="*/ 3735 h 10000"/>
                <a:gd name="connsiteX1975" fmla="*/ 2507 w 10785"/>
                <a:gd name="connsiteY1975" fmla="*/ 3726 h 10000"/>
                <a:gd name="connsiteX1976" fmla="*/ 2488 w 10785"/>
                <a:gd name="connsiteY1976" fmla="*/ 3726 h 10000"/>
                <a:gd name="connsiteX1977" fmla="*/ 2461 w 10785"/>
                <a:gd name="connsiteY1977" fmla="*/ 3692 h 10000"/>
                <a:gd name="connsiteX1978" fmla="*/ 2442 w 10785"/>
                <a:gd name="connsiteY1978" fmla="*/ 3675 h 10000"/>
                <a:gd name="connsiteX1979" fmla="*/ 2406 w 10785"/>
                <a:gd name="connsiteY1979" fmla="*/ 3598 h 10000"/>
                <a:gd name="connsiteX1980" fmla="*/ 2346 w 10785"/>
                <a:gd name="connsiteY1980" fmla="*/ 3564 h 10000"/>
                <a:gd name="connsiteX1981" fmla="*/ 2341 w 10785"/>
                <a:gd name="connsiteY1981" fmla="*/ 3564 h 10000"/>
                <a:gd name="connsiteX1982" fmla="*/ 2313 w 10785"/>
                <a:gd name="connsiteY1982" fmla="*/ 3530 h 10000"/>
                <a:gd name="connsiteX1983" fmla="*/ 2235 w 10785"/>
                <a:gd name="connsiteY1983" fmla="*/ 3530 h 10000"/>
                <a:gd name="connsiteX1984" fmla="*/ 2226 w 10785"/>
                <a:gd name="connsiteY1984" fmla="*/ 3513 h 10000"/>
                <a:gd name="connsiteX1985" fmla="*/ 2207 w 10785"/>
                <a:gd name="connsiteY1985" fmla="*/ 3504 h 10000"/>
                <a:gd name="connsiteX1986" fmla="*/ 2194 w 10785"/>
                <a:gd name="connsiteY1986" fmla="*/ 3504 h 10000"/>
                <a:gd name="connsiteX1987" fmla="*/ 2189 w 10785"/>
                <a:gd name="connsiteY1987" fmla="*/ 3504 h 10000"/>
                <a:gd name="connsiteX1988" fmla="*/ 2189 w 10785"/>
                <a:gd name="connsiteY1988" fmla="*/ 3530 h 10000"/>
                <a:gd name="connsiteX1989" fmla="*/ 2180 w 10785"/>
                <a:gd name="connsiteY1989" fmla="*/ 3538 h 10000"/>
                <a:gd name="connsiteX1990" fmla="*/ 2152 w 10785"/>
                <a:gd name="connsiteY1990" fmla="*/ 3581 h 10000"/>
                <a:gd name="connsiteX1991" fmla="*/ 2161 w 10785"/>
                <a:gd name="connsiteY1991" fmla="*/ 3598 h 10000"/>
                <a:gd name="connsiteX1992" fmla="*/ 2194 w 10785"/>
                <a:gd name="connsiteY1992" fmla="*/ 3752 h 10000"/>
                <a:gd name="connsiteX1993" fmla="*/ 2194 w 10785"/>
                <a:gd name="connsiteY1993" fmla="*/ 3735 h 10000"/>
                <a:gd name="connsiteX1994" fmla="*/ 2198 w 10785"/>
                <a:gd name="connsiteY1994" fmla="*/ 3735 h 10000"/>
                <a:gd name="connsiteX1995" fmla="*/ 2189 w 10785"/>
                <a:gd name="connsiteY1995" fmla="*/ 3838 h 10000"/>
                <a:gd name="connsiteX1996" fmla="*/ 2166 w 10785"/>
                <a:gd name="connsiteY1996" fmla="*/ 3889 h 10000"/>
                <a:gd name="connsiteX1997" fmla="*/ 2124 w 10785"/>
                <a:gd name="connsiteY1997" fmla="*/ 3889 h 10000"/>
                <a:gd name="connsiteX1998" fmla="*/ 2124 w 10785"/>
                <a:gd name="connsiteY1998" fmla="*/ 3923 h 10000"/>
                <a:gd name="connsiteX1999" fmla="*/ 2134 w 10785"/>
                <a:gd name="connsiteY1999" fmla="*/ 3940 h 10000"/>
                <a:gd name="connsiteX2000" fmla="*/ 2134 w 10785"/>
                <a:gd name="connsiteY2000" fmla="*/ 3966 h 10000"/>
                <a:gd name="connsiteX2001" fmla="*/ 2120 w 10785"/>
                <a:gd name="connsiteY2001" fmla="*/ 4000 h 10000"/>
                <a:gd name="connsiteX2002" fmla="*/ 2106 w 10785"/>
                <a:gd name="connsiteY2002" fmla="*/ 4009 h 10000"/>
                <a:gd name="connsiteX2003" fmla="*/ 2088 w 10785"/>
                <a:gd name="connsiteY2003" fmla="*/ 4000 h 10000"/>
                <a:gd name="connsiteX2004" fmla="*/ 2074 w 10785"/>
                <a:gd name="connsiteY2004" fmla="*/ 3974 h 10000"/>
                <a:gd name="connsiteX2005" fmla="*/ 2074 w 10785"/>
                <a:gd name="connsiteY2005" fmla="*/ 3940 h 10000"/>
                <a:gd name="connsiteX2006" fmla="*/ 2078 w 10785"/>
                <a:gd name="connsiteY2006" fmla="*/ 3915 h 10000"/>
                <a:gd name="connsiteX2007" fmla="*/ 2088 w 10785"/>
                <a:gd name="connsiteY2007" fmla="*/ 3889 h 10000"/>
                <a:gd name="connsiteX2008" fmla="*/ 2101 w 10785"/>
                <a:gd name="connsiteY2008" fmla="*/ 3872 h 10000"/>
                <a:gd name="connsiteX2009" fmla="*/ 2074 w 10785"/>
                <a:gd name="connsiteY2009" fmla="*/ 3812 h 10000"/>
                <a:gd name="connsiteX2010" fmla="*/ 2074 w 10785"/>
                <a:gd name="connsiteY2010" fmla="*/ 3786 h 10000"/>
                <a:gd name="connsiteX2011" fmla="*/ 2060 w 10785"/>
                <a:gd name="connsiteY2011" fmla="*/ 3786 h 10000"/>
                <a:gd name="connsiteX2012" fmla="*/ 2014 w 10785"/>
                <a:gd name="connsiteY2012" fmla="*/ 3829 h 10000"/>
                <a:gd name="connsiteX2013" fmla="*/ 2000 w 10785"/>
                <a:gd name="connsiteY2013" fmla="*/ 3863 h 10000"/>
                <a:gd name="connsiteX2014" fmla="*/ 1986 w 10785"/>
                <a:gd name="connsiteY2014" fmla="*/ 3872 h 10000"/>
                <a:gd name="connsiteX2015" fmla="*/ 1959 w 10785"/>
                <a:gd name="connsiteY2015" fmla="*/ 3940 h 10000"/>
                <a:gd name="connsiteX2016" fmla="*/ 1945 w 10785"/>
                <a:gd name="connsiteY2016" fmla="*/ 3949 h 10000"/>
                <a:gd name="connsiteX2017" fmla="*/ 1940 w 10785"/>
                <a:gd name="connsiteY2017" fmla="*/ 3923 h 10000"/>
                <a:gd name="connsiteX2018" fmla="*/ 1917 w 10785"/>
                <a:gd name="connsiteY2018" fmla="*/ 3915 h 10000"/>
                <a:gd name="connsiteX2019" fmla="*/ 1899 w 10785"/>
                <a:gd name="connsiteY2019" fmla="*/ 3923 h 10000"/>
                <a:gd name="connsiteX2020" fmla="*/ 1880 w 10785"/>
                <a:gd name="connsiteY2020" fmla="*/ 3915 h 10000"/>
                <a:gd name="connsiteX2021" fmla="*/ 1853 w 10785"/>
                <a:gd name="connsiteY2021" fmla="*/ 3940 h 10000"/>
                <a:gd name="connsiteX2022" fmla="*/ 1839 w 10785"/>
                <a:gd name="connsiteY2022" fmla="*/ 3940 h 10000"/>
                <a:gd name="connsiteX2023" fmla="*/ 1806 w 10785"/>
                <a:gd name="connsiteY2023" fmla="*/ 3983 h 10000"/>
                <a:gd name="connsiteX2024" fmla="*/ 1806 w 10785"/>
                <a:gd name="connsiteY2024" fmla="*/ 4000 h 10000"/>
                <a:gd name="connsiteX2025" fmla="*/ 1797 w 10785"/>
                <a:gd name="connsiteY2025" fmla="*/ 4077 h 10000"/>
                <a:gd name="connsiteX2026" fmla="*/ 1783 w 10785"/>
                <a:gd name="connsiteY2026" fmla="*/ 4077 h 10000"/>
                <a:gd name="connsiteX2027" fmla="*/ 1779 w 10785"/>
                <a:gd name="connsiteY2027" fmla="*/ 4051 h 10000"/>
                <a:gd name="connsiteX2028" fmla="*/ 1765 w 10785"/>
                <a:gd name="connsiteY2028" fmla="*/ 4026 h 10000"/>
                <a:gd name="connsiteX2029" fmla="*/ 1751 w 10785"/>
                <a:gd name="connsiteY2029" fmla="*/ 4051 h 10000"/>
                <a:gd name="connsiteX2030" fmla="*/ 1737 w 10785"/>
                <a:gd name="connsiteY2030" fmla="*/ 4009 h 10000"/>
                <a:gd name="connsiteX2031" fmla="*/ 1737 w 10785"/>
                <a:gd name="connsiteY2031" fmla="*/ 3966 h 10000"/>
                <a:gd name="connsiteX2032" fmla="*/ 1733 w 10785"/>
                <a:gd name="connsiteY2032" fmla="*/ 3940 h 10000"/>
                <a:gd name="connsiteX2033" fmla="*/ 1733 w 10785"/>
                <a:gd name="connsiteY2033" fmla="*/ 3923 h 10000"/>
                <a:gd name="connsiteX2034" fmla="*/ 1747 w 10785"/>
                <a:gd name="connsiteY2034" fmla="*/ 3889 h 10000"/>
                <a:gd name="connsiteX2035" fmla="*/ 1747 w 10785"/>
                <a:gd name="connsiteY2035" fmla="*/ 3863 h 10000"/>
                <a:gd name="connsiteX2036" fmla="*/ 1737 w 10785"/>
                <a:gd name="connsiteY2036" fmla="*/ 3838 h 10000"/>
                <a:gd name="connsiteX2037" fmla="*/ 1733 w 10785"/>
                <a:gd name="connsiteY2037" fmla="*/ 3829 h 10000"/>
                <a:gd name="connsiteX2038" fmla="*/ 1733 w 10785"/>
                <a:gd name="connsiteY2038" fmla="*/ 3846 h 10000"/>
                <a:gd name="connsiteX2039" fmla="*/ 1724 w 10785"/>
                <a:gd name="connsiteY2039" fmla="*/ 3846 h 10000"/>
                <a:gd name="connsiteX2040" fmla="*/ 1724 w 10785"/>
                <a:gd name="connsiteY2040" fmla="*/ 3829 h 10000"/>
                <a:gd name="connsiteX2041" fmla="*/ 1737 w 10785"/>
                <a:gd name="connsiteY2041" fmla="*/ 3812 h 10000"/>
                <a:gd name="connsiteX2042" fmla="*/ 1765 w 10785"/>
                <a:gd name="connsiteY2042" fmla="*/ 3812 h 10000"/>
                <a:gd name="connsiteX2043" fmla="*/ 1779 w 10785"/>
                <a:gd name="connsiteY2043" fmla="*/ 3786 h 10000"/>
                <a:gd name="connsiteX2044" fmla="*/ 1779 w 10785"/>
                <a:gd name="connsiteY2044" fmla="*/ 3786 h 10000"/>
                <a:gd name="connsiteX2045" fmla="*/ 1751 w 10785"/>
                <a:gd name="connsiteY2045" fmla="*/ 3803 h 10000"/>
                <a:gd name="connsiteX2046" fmla="*/ 1747 w 10785"/>
                <a:gd name="connsiteY2046" fmla="*/ 3803 h 10000"/>
                <a:gd name="connsiteX2047" fmla="*/ 1724 w 10785"/>
                <a:gd name="connsiteY2047" fmla="*/ 3803 h 10000"/>
                <a:gd name="connsiteX2048" fmla="*/ 1700 w 10785"/>
                <a:gd name="connsiteY2048" fmla="*/ 3829 h 10000"/>
                <a:gd name="connsiteX2049" fmla="*/ 1705 w 10785"/>
                <a:gd name="connsiteY2049" fmla="*/ 3846 h 10000"/>
                <a:gd name="connsiteX2050" fmla="*/ 1691 w 10785"/>
                <a:gd name="connsiteY2050" fmla="*/ 3846 h 10000"/>
                <a:gd name="connsiteX2051" fmla="*/ 1691 w 10785"/>
                <a:gd name="connsiteY2051" fmla="*/ 3863 h 10000"/>
                <a:gd name="connsiteX2052" fmla="*/ 1691 w 10785"/>
                <a:gd name="connsiteY2052" fmla="*/ 3915 h 10000"/>
                <a:gd name="connsiteX2053" fmla="*/ 1677 w 10785"/>
                <a:gd name="connsiteY2053" fmla="*/ 3923 h 10000"/>
                <a:gd name="connsiteX2054" fmla="*/ 1673 w 10785"/>
                <a:gd name="connsiteY2054" fmla="*/ 3915 h 10000"/>
                <a:gd name="connsiteX2055" fmla="*/ 1664 w 10785"/>
                <a:gd name="connsiteY2055" fmla="*/ 3889 h 10000"/>
                <a:gd name="connsiteX2056" fmla="*/ 1673 w 10785"/>
                <a:gd name="connsiteY2056" fmla="*/ 3872 h 10000"/>
                <a:gd name="connsiteX2057" fmla="*/ 1664 w 10785"/>
                <a:gd name="connsiteY2057" fmla="*/ 3872 h 10000"/>
                <a:gd name="connsiteX2058" fmla="*/ 1636 w 10785"/>
                <a:gd name="connsiteY2058" fmla="*/ 3923 h 10000"/>
                <a:gd name="connsiteX2059" fmla="*/ 1645 w 10785"/>
                <a:gd name="connsiteY2059" fmla="*/ 3923 h 10000"/>
                <a:gd name="connsiteX2060" fmla="*/ 1650 w 10785"/>
                <a:gd name="connsiteY2060" fmla="*/ 3949 h 10000"/>
                <a:gd name="connsiteX2061" fmla="*/ 1650 w 10785"/>
                <a:gd name="connsiteY2061" fmla="*/ 3983 h 10000"/>
                <a:gd name="connsiteX2062" fmla="*/ 1636 w 10785"/>
                <a:gd name="connsiteY2062" fmla="*/ 4000 h 10000"/>
                <a:gd name="connsiteX2063" fmla="*/ 1631 w 10785"/>
                <a:gd name="connsiteY2063" fmla="*/ 4009 h 10000"/>
                <a:gd name="connsiteX2064" fmla="*/ 1618 w 10785"/>
                <a:gd name="connsiteY2064" fmla="*/ 3949 h 10000"/>
                <a:gd name="connsiteX2065" fmla="*/ 1585 w 10785"/>
                <a:gd name="connsiteY2065" fmla="*/ 3966 h 10000"/>
                <a:gd name="connsiteX2066" fmla="*/ 1590 w 10785"/>
                <a:gd name="connsiteY2066" fmla="*/ 3974 h 10000"/>
                <a:gd name="connsiteX2067" fmla="*/ 1544 w 10785"/>
                <a:gd name="connsiteY2067" fmla="*/ 4009 h 10000"/>
                <a:gd name="connsiteX2068" fmla="*/ 1539 w 10785"/>
                <a:gd name="connsiteY2068" fmla="*/ 4009 h 10000"/>
                <a:gd name="connsiteX2069" fmla="*/ 1410 w 10785"/>
                <a:gd name="connsiteY2069" fmla="*/ 4188 h 10000"/>
                <a:gd name="connsiteX2070" fmla="*/ 1406 w 10785"/>
                <a:gd name="connsiteY2070" fmla="*/ 4171 h 10000"/>
                <a:gd name="connsiteX2071" fmla="*/ 1396 w 10785"/>
                <a:gd name="connsiteY2071" fmla="*/ 4214 h 10000"/>
                <a:gd name="connsiteX2072" fmla="*/ 1406 w 10785"/>
                <a:gd name="connsiteY2072" fmla="*/ 4222 h 10000"/>
                <a:gd name="connsiteX2073" fmla="*/ 1392 w 10785"/>
                <a:gd name="connsiteY2073" fmla="*/ 4239 h 10000"/>
                <a:gd name="connsiteX2074" fmla="*/ 1369 w 10785"/>
                <a:gd name="connsiteY2074" fmla="*/ 4248 h 10000"/>
                <a:gd name="connsiteX2075" fmla="*/ 1355 w 10785"/>
                <a:gd name="connsiteY2075" fmla="*/ 4256 h 10000"/>
                <a:gd name="connsiteX2076" fmla="*/ 1350 w 10785"/>
                <a:gd name="connsiteY2076" fmla="*/ 4248 h 10000"/>
                <a:gd name="connsiteX2077" fmla="*/ 1332 w 10785"/>
                <a:gd name="connsiteY2077" fmla="*/ 4376 h 10000"/>
                <a:gd name="connsiteX2078" fmla="*/ 1332 w 10785"/>
                <a:gd name="connsiteY2078" fmla="*/ 4436 h 10000"/>
                <a:gd name="connsiteX2079" fmla="*/ 1323 w 10785"/>
                <a:gd name="connsiteY2079" fmla="*/ 4462 h 10000"/>
                <a:gd name="connsiteX2080" fmla="*/ 1304 w 10785"/>
                <a:gd name="connsiteY2080" fmla="*/ 4487 h 10000"/>
                <a:gd name="connsiteX2081" fmla="*/ 1290 w 10785"/>
                <a:gd name="connsiteY2081" fmla="*/ 4470 h 10000"/>
                <a:gd name="connsiteX2082" fmla="*/ 1263 w 10785"/>
                <a:gd name="connsiteY2082" fmla="*/ 4496 h 10000"/>
                <a:gd name="connsiteX2083" fmla="*/ 1258 w 10785"/>
                <a:gd name="connsiteY2083" fmla="*/ 4547 h 10000"/>
                <a:gd name="connsiteX2084" fmla="*/ 1249 w 10785"/>
                <a:gd name="connsiteY2084" fmla="*/ 4487 h 10000"/>
                <a:gd name="connsiteX2085" fmla="*/ 1235 w 10785"/>
                <a:gd name="connsiteY2085" fmla="*/ 4496 h 10000"/>
                <a:gd name="connsiteX2086" fmla="*/ 1221 w 10785"/>
                <a:gd name="connsiteY2086" fmla="*/ 4496 h 10000"/>
                <a:gd name="connsiteX2087" fmla="*/ 1217 w 10785"/>
                <a:gd name="connsiteY2087" fmla="*/ 4487 h 10000"/>
                <a:gd name="connsiteX2088" fmla="*/ 1198 w 10785"/>
                <a:gd name="connsiteY2088" fmla="*/ 4410 h 10000"/>
                <a:gd name="connsiteX2089" fmla="*/ 1157 w 10785"/>
                <a:gd name="connsiteY2089" fmla="*/ 4333 h 10000"/>
                <a:gd name="connsiteX2090" fmla="*/ 1147 w 10785"/>
                <a:gd name="connsiteY2090" fmla="*/ 4299 h 10000"/>
                <a:gd name="connsiteX2091" fmla="*/ 1147 w 10785"/>
                <a:gd name="connsiteY2091" fmla="*/ 4274 h 10000"/>
                <a:gd name="connsiteX2092" fmla="*/ 1161 w 10785"/>
                <a:gd name="connsiteY2092" fmla="*/ 4256 h 10000"/>
                <a:gd name="connsiteX2093" fmla="*/ 1171 w 10785"/>
                <a:gd name="connsiteY2093" fmla="*/ 4248 h 10000"/>
                <a:gd name="connsiteX2094" fmla="*/ 1175 w 10785"/>
                <a:gd name="connsiteY2094" fmla="*/ 4214 h 10000"/>
                <a:gd name="connsiteX2095" fmla="*/ 1263 w 10785"/>
                <a:gd name="connsiteY2095" fmla="*/ 4171 h 10000"/>
                <a:gd name="connsiteX2096" fmla="*/ 1249 w 10785"/>
                <a:gd name="connsiteY2096" fmla="*/ 4137 h 10000"/>
                <a:gd name="connsiteX2097" fmla="*/ 1244 w 10785"/>
                <a:gd name="connsiteY2097" fmla="*/ 4060 h 10000"/>
                <a:gd name="connsiteX2098" fmla="*/ 1230 w 10785"/>
                <a:gd name="connsiteY2098" fmla="*/ 4077 h 10000"/>
                <a:gd name="connsiteX2099" fmla="*/ 1221 w 10785"/>
                <a:gd name="connsiteY2099" fmla="*/ 4026 h 10000"/>
                <a:gd name="connsiteX2100" fmla="*/ 1217 w 10785"/>
                <a:gd name="connsiteY2100" fmla="*/ 4026 h 10000"/>
                <a:gd name="connsiteX2101" fmla="*/ 1212 w 10785"/>
                <a:gd name="connsiteY2101" fmla="*/ 3983 h 10000"/>
                <a:gd name="connsiteX2102" fmla="*/ 1203 w 10785"/>
                <a:gd name="connsiteY2102" fmla="*/ 3966 h 10000"/>
                <a:gd name="connsiteX2103" fmla="*/ 1171 w 10785"/>
                <a:gd name="connsiteY2103" fmla="*/ 3949 h 10000"/>
                <a:gd name="connsiteX2104" fmla="*/ 1111 w 10785"/>
                <a:gd name="connsiteY2104" fmla="*/ 3940 h 10000"/>
                <a:gd name="connsiteX2105" fmla="*/ 1097 w 10785"/>
                <a:gd name="connsiteY2105" fmla="*/ 3949 h 10000"/>
                <a:gd name="connsiteX2106" fmla="*/ 1037 w 10785"/>
                <a:gd name="connsiteY2106" fmla="*/ 3897 h 10000"/>
                <a:gd name="connsiteX2107" fmla="*/ 1041 w 10785"/>
                <a:gd name="connsiteY2107" fmla="*/ 3923 h 10000"/>
                <a:gd name="connsiteX2108" fmla="*/ 1097 w 10785"/>
                <a:gd name="connsiteY2108" fmla="*/ 4009 h 10000"/>
                <a:gd name="connsiteX2109" fmla="*/ 1097 w 10785"/>
                <a:gd name="connsiteY2109" fmla="*/ 4120 h 10000"/>
                <a:gd name="connsiteX2110" fmla="*/ 1097 w 10785"/>
                <a:gd name="connsiteY2110" fmla="*/ 4162 h 10000"/>
                <a:gd name="connsiteX2111" fmla="*/ 1097 w 10785"/>
                <a:gd name="connsiteY2111" fmla="*/ 4197 h 10000"/>
                <a:gd name="connsiteX2112" fmla="*/ 1074 w 10785"/>
                <a:gd name="connsiteY2112" fmla="*/ 4333 h 10000"/>
                <a:gd name="connsiteX2113" fmla="*/ 1074 w 10785"/>
                <a:gd name="connsiteY2113" fmla="*/ 4376 h 10000"/>
                <a:gd name="connsiteX2114" fmla="*/ 1083 w 10785"/>
                <a:gd name="connsiteY2114" fmla="*/ 4385 h 10000"/>
                <a:gd name="connsiteX2115" fmla="*/ 1097 w 10785"/>
                <a:gd name="connsiteY2115" fmla="*/ 4385 h 10000"/>
                <a:gd name="connsiteX2116" fmla="*/ 1111 w 10785"/>
                <a:gd name="connsiteY2116" fmla="*/ 4410 h 10000"/>
                <a:gd name="connsiteX2117" fmla="*/ 1124 w 10785"/>
                <a:gd name="connsiteY2117" fmla="*/ 4444 h 10000"/>
                <a:gd name="connsiteX2118" fmla="*/ 1124 w 10785"/>
                <a:gd name="connsiteY2118" fmla="*/ 4470 h 10000"/>
                <a:gd name="connsiteX2119" fmla="*/ 1115 w 10785"/>
                <a:gd name="connsiteY2119" fmla="*/ 4513 h 10000"/>
                <a:gd name="connsiteX2120" fmla="*/ 1115 w 10785"/>
                <a:gd name="connsiteY2120" fmla="*/ 4530 h 10000"/>
                <a:gd name="connsiteX2121" fmla="*/ 1115 w 10785"/>
                <a:gd name="connsiteY2121" fmla="*/ 4573 h 10000"/>
                <a:gd name="connsiteX2122" fmla="*/ 1101 w 10785"/>
                <a:gd name="connsiteY2122" fmla="*/ 4607 h 10000"/>
                <a:gd name="connsiteX2123" fmla="*/ 1097 w 10785"/>
                <a:gd name="connsiteY2123" fmla="*/ 4658 h 10000"/>
                <a:gd name="connsiteX2124" fmla="*/ 1101 w 10785"/>
                <a:gd name="connsiteY2124" fmla="*/ 4692 h 10000"/>
                <a:gd name="connsiteX2125" fmla="*/ 1097 w 10785"/>
                <a:gd name="connsiteY2125" fmla="*/ 4778 h 10000"/>
                <a:gd name="connsiteX2126" fmla="*/ 1083 w 10785"/>
                <a:gd name="connsiteY2126" fmla="*/ 4744 h 10000"/>
                <a:gd name="connsiteX2127" fmla="*/ 1083 w 10785"/>
                <a:gd name="connsiteY2127" fmla="*/ 4718 h 10000"/>
                <a:gd name="connsiteX2128" fmla="*/ 1074 w 10785"/>
                <a:gd name="connsiteY2128" fmla="*/ 4692 h 10000"/>
                <a:gd name="connsiteX2129" fmla="*/ 1065 w 10785"/>
                <a:gd name="connsiteY2129" fmla="*/ 4692 h 10000"/>
                <a:gd name="connsiteX2130" fmla="*/ 1051 w 10785"/>
                <a:gd name="connsiteY2130" fmla="*/ 4718 h 10000"/>
                <a:gd name="connsiteX2131" fmla="*/ 1055 w 10785"/>
                <a:gd name="connsiteY2131" fmla="*/ 4692 h 10000"/>
                <a:gd name="connsiteX2132" fmla="*/ 1055 w 10785"/>
                <a:gd name="connsiteY2132" fmla="*/ 4667 h 10000"/>
                <a:gd name="connsiteX2133" fmla="*/ 1028 w 10785"/>
                <a:gd name="connsiteY2133" fmla="*/ 4624 h 10000"/>
                <a:gd name="connsiteX2134" fmla="*/ 1005 w 10785"/>
                <a:gd name="connsiteY2134" fmla="*/ 4624 h 10000"/>
                <a:gd name="connsiteX2135" fmla="*/ 977 w 10785"/>
                <a:gd name="connsiteY2135" fmla="*/ 4581 h 10000"/>
                <a:gd name="connsiteX2136" fmla="*/ 963 w 10785"/>
                <a:gd name="connsiteY2136" fmla="*/ 4607 h 10000"/>
                <a:gd name="connsiteX2137" fmla="*/ 963 w 10785"/>
                <a:gd name="connsiteY2137" fmla="*/ 4632 h 10000"/>
                <a:gd name="connsiteX2138" fmla="*/ 917 w 10785"/>
                <a:gd name="connsiteY2138" fmla="*/ 4718 h 10000"/>
                <a:gd name="connsiteX2139" fmla="*/ 889 w 10785"/>
                <a:gd name="connsiteY2139" fmla="*/ 4744 h 10000"/>
                <a:gd name="connsiteX2140" fmla="*/ 880 w 10785"/>
                <a:gd name="connsiteY2140" fmla="*/ 4744 h 10000"/>
                <a:gd name="connsiteX2141" fmla="*/ 862 w 10785"/>
                <a:gd name="connsiteY2141" fmla="*/ 4769 h 10000"/>
                <a:gd name="connsiteX2142" fmla="*/ 857 w 10785"/>
                <a:gd name="connsiteY2142" fmla="*/ 4795 h 10000"/>
                <a:gd name="connsiteX2143" fmla="*/ 829 w 10785"/>
                <a:gd name="connsiteY2143" fmla="*/ 4846 h 10000"/>
                <a:gd name="connsiteX2144" fmla="*/ 816 w 10785"/>
                <a:gd name="connsiteY2144" fmla="*/ 4855 h 10000"/>
                <a:gd name="connsiteX2145" fmla="*/ 816 w 10785"/>
                <a:gd name="connsiteY2145" fmla="*/ 4940 h 10000"/>
                <a:gd name="connsiteX2146" fmla="*/ 880 w 10785"/>
                <a:gd name="connsiteY2146" fmla="*/ 5179 h 10000"/>
                <a:gd name="connsiteX2147" fmla="*/ 880 w 10785"/>
                <a:gd name="connsiteY2147" fmla="*/ 5188 h 10000"/>
                <a:gd name="connsiteX2148" fmla="*/ 862 w 10785"/>
                <a:gd name="connsiteY2148" fmla="*/ 5171 h 10000"/>
                <a:gd name="connsiteX2149" fmla="*/ 857 w 10785"/>
                <a:gd name="connsiteY2149" fmla="*/ 5171 h 10000"/>
                <a:gd name="connsiteX2150" fmla="*/ 820 w 10785"/>
                <a:gd name="connsiteY2150" fmla="*/ 5145 h 10000"/>
                <a:gd name="connsiteX2151" fmla="*/ 820 w 10785"/>
                <a:gd name="connsiteY2151" fmla="*/ 5154 h 10000"/>
                <a:gd name="connsiteX2152" fmla="*/ 816 w 10785"/>
                <a:gd name="connsiteY2152" fmla="*/ 5171 h 10000"/>
                <a:gd name="connsiteX2153" fmla="*/ 783 w 10785"/>
                <a:gd name="connsiteY2153" fmla="*/ 5145 h 10000"/>
                <a:gd name="connsiteX2154" fmla="*/ 756 w 10785"/>
                <a:gd name="connsiteY2154" fmla="*/ 5103 h 10000"/>
                <a:gd name="connsiteX2155" fmla="*/ 742 w 10785"/>
                <a:gd name="connsiteY2155" fmla="*/ 5103 h 10000"/>
                <a:gd name="connsiteX2156" fmla="*/ 728 w 10785"/>
                <a:gd name="connsiteY2156" fmla="*/ 5094 h 10000"/>
                <a:gd name="connsiteX2157" fmla="*/ 710 w 10785"/>
                <a:gd name="connsiteY2157" fmla="*/ 5120 h 10000"/>
                <a:gd name="connsiteX2158" fmla="*/ 700 w 10785"/>
                <a:gd name="connsiteY2158" fmla="*/ 5145 h 10000"/>
                <a:gd name="connsiteX2159" fmla="*/ 696 w 10785"/>
                <a:gd name="connsiteY2159" fmla="*/ 5103 h 10000"/>
                <a:gd name="connsiteX2160" fmla="*/ 714 w 10785"/>
                <a:gd name="connsiteY2160" fmla="*/ 5077 h 10000"/>
                <a:gd name="connsiteX2161" fmla="*/ 682 w 10785"/>
                <a:gd name="connsiteY2161" fmla="*/ 5068 h 10000"/>
                <a:gd name="connsiteX2162" fmla="*/ 673 w 10785"/>
                <a:gd name="connsiteY2162" fmla="*/ 5034 h 10000"/>
                <a:gd name="connsiteX2163" fmla="*/ 636 w 10785"/>
                <a:gd name="connsiteY2163" fmla="*/ 4991 h 10000"/>
                <a:gd name="connsiteX2164" fmla="*/ 622 w 10785"/>
                <a:gd name="connsiteY2164" fmla="*/ 4983 h 10000"/>
                <a:gd name="connsiteX2165" fmla="*/ 622 w 10785"/>
                <a:gd name="connsiteY2165" fmla="*/ 5034 h 10000"/>
                <a:gd name="connsiteX2166" fmla="*/ 608 w 10785"/>
                <a:gd name="connsiteY2166" fmla="*/ 5051 h 10000"/>
                <a:gd name="connsiteX2167" fmla="*/ 594 w 10785"/>
                <a:gd name="connsiteY2167" fmla="*/ 5068 h 10000"/>
                <a:gd name="connsiteX2168" fmla="*/ 608 w 10785"/>
                <a:gd name="connsiteY2168" fmla="*/ 5120 h 10000"/>
                <a:gd name="connsiteX2169" fmla="*/ 613 w 10785"/>
                <a:gd name="connsiteY2169" fmla="*/ 5128 h 10000"/>
                <a:gd name="connsiteX2170" fmla="*/ 627 w 10785"/>
                <a:gd name="connsiteY2170" fmla="*/ 5179 h 10000"/>
                <a:gd name="connsiteX2171" fmla="*/ 650 w 10785"/>
                <a:gd name="connsiteY2171" fmla="*/ 5214 h 10000"/>
                <a:gd name="connsiteX2172" fmla="*/ 687 w 10785"/>
                <a:gd name="connsiteY2172" fmla="*/ 5188 h 10000"/>
                <a:gd name="connsiteX2173" fmla="*/ 700 w 10785"/>
                <a:gd name="connsiteY2173" fmla="*/ 5325 h 10000"/>
                <a:gd name="connsiteX2174" fmla="*/ 710 w 10785"/>
                <a:gd name="connsiteY2174" fmla="*/ 5350 h 10000"/>
                <a:gd name="connsiteX2175" fmla="*/ 687 w 10785"/>
                <a:gd name="connsiteY2175" fmla="*/ 5325 h 10000"/>
                <a:gd name="connsiteX2176" fmla="*/ 668 w 10785"/>
                <a:gd name="connsiteY2176" fmla="*/ 5350 h 10000"/>
                <a:gd name="connsiteX2177" fmla="*/ 668 w 10785"/>
                <a:gd name="connsiteY2177" fmla="*/ 5368 h 10000"/>
                <a:gd name="connsiteX2178" fmla="*/ 668 w 10785"/>
                <a:gd name="connsiteY2178" fmla="*/ 5376 h 10000"/>
                <a:gd name="connsiteX2179" fmla="*/ 581 w 10785"/>
                <a:gd name="connsiteY2179" fmla="*/ 5316 h 10000"/>
                <a:gd name="connsiteX2180" fmla="*/ 567 w 10785"/>
                <a:gd name="connsiteY2180" fmla="*/ 5265 h 10000"/>
                <a:gd name="connsiteX2181" fmla="*/ 562 w 10785"/>
                <a:gd name="connsiteY2181" fmla="*/ 5256 h 10000"/>
                <a:gd name="connsiteX2182" fmla="*/ 548 w 10785"/>
                <a:gd name="connsiteY2182" fmla="*/ 5231 h 10000"/>
                <a:gd name="connsiteX2183" fmla="*/ 535 w 10785"/>
                <a:gd name="connsiteY2183" fmla="*/ 5214 h 10000"/>
                <a:gd name="connsiteX2184" fmla="*/ 525 w 10785"/>
                <a:gd name="connsiteY2184" fmla="*/ 5231 h 10000"/>
                <a:gd name="connsiteX2185" fmla="*/ 521 w 10785"/>
                <a:gd name="connsiteY2185" fmla="*/ 5231 h 10000"/>
                <a:gd name="connsiteX2186" fmla="*/ 493 w 10785"/>
                <a:gd name="connsiteY2186" fmla="*/ 5205 h 10000"/>
                <a:gd name="connsiteX2187" fmla="*/ 488 w 10785"/>
                <a:gd name="connsiteY2187" fmla="*/ 5179 h 10000"/>
                <a:gd name="connsiteX2188" fmla="*/ 475 w 10785"/>
                <a:gd name="connsiteY2188" fmla="*/ 5188 h 10000"/>
                <a:gd name="connsiteX2189" fmla="*/ 475 w 10785"/>
                <a:gd name="connsiteY2189" fmla="*/ 5171 h 10000"/>
                <a:gd name="connsiteX2190" fmla="*/ 488 w 10785"/>
                <a:gd name="connsiteY2190" fmla="*/ 5154 h 10000"/>
                <a:gd name="connsiteX2191" fmla="*/ 488 w 10785"/>
                <a:gd name="connsiteY2191" fmla="*/ 5068 h 10000"/>
                <a:gd name="connsiteX2192" fmla="*/ 475 w 10785"/>
                <a:gd name="connsiteY2192" fmla="*/ 5051 h 10000"/>
                <a:gd name="connsiteX2193" fmla="*/ 475 w 10785"/>
                <a:gd name="connsiteY2193" fmla="*/ 5017 h 10000"/>
                <a:gd name="connsiteX2194" fmla="*/ 452 w 10785"/>
                <a:gd name="connsiteY2194" fmla="*/ 4932 h 10000"/>
                <a:gd name="connsiteX2195" fmla="*/ 461 w 10785"/>
                <a:gd name="connsiteY2195" fmla="*/ 4915 h 10000"/>
                <a:gd name="connsiteX2196" fmla="*/ 475 w 10785"/>
                <a:gd name="connsiteY2196" fmla="*/ 4906 h 10000"/>
                <a:gd name="connsiteX2197" fmla="*/ 479 w 10785"/>
                <a:gd name="connsiteY2197" fmla="*/ 4803 h 10000"/>
                <a:gd name="connsiteX2198" fmla="*/ 479 w 10785"/>
                <a:gd name="connsiteY2198" fmla="*/ 4778 h 10000"/>
                <a:gd name="connsiteX2199" fmla="*/ 475 w 10785"/>
                <a:gd name="connsiteY2199" fmla="*/ 4761 h 10000"/>
                <a:gd name="connsiteX2200" fmla="*/ 465 w 10785"/>
                <a:gd name="connsiteY2200" fmla="*/ 4718 h 10000"/>
                <a:gd name="connsiteX2201" fmla="*/ 461 w 10785"/>
                <a:gd name="connsiteY2201" fmla="*/ 4709 h 10000"/>
                <a:gd name="connsiteX2202" fmla="*/ 442 w 10785"/>
                <a:gd name="connsiteY2202" fmla="*/ 4692 h 10000"/>
                <a:gd name="connsiteX2203" fmla="*/ 433 w 10785"/>
                <a:gd name="connsiteY2203" fmla="*/ 4667 h 10000"/>
                <a:gd name="connsiteX2204" fmla="*/ 419 w 10785"/>
                <a:gd name="connsiteY2204" fmla="*/ 4667 h 10000"/>
                <a:gd name="connsiteX2205" fmla="*/ 401 w 10785"/>
                <a:gd name="connsiteY2205" fmla="*/ 4658 h 10000"/>
                <a:gd name="connsiteX2206" fmla="*/ 401 w 10785"/>
                <a:gd name="connsiteY2206" fmla="*/ 4624 h 10000"/>
                <a:gd name="connsiteX2207" fmla="*/ 401 w 10785"/>
                <a:gd name="connsiteY2207" fmla="*/ 4607 h 10000"/>
                <a:gd name="connsiteX2208" fmla="*/ 378 w 10785"/>
                <a:gd name="connsiteY2208" fmla="*/ 4607 h 10000"/>
                <a:gd name="connsiteX2209" fmla="*/ 341 w 10785"/>
                <a:gd name="connsiteY2209" fmla="*/ 4530 h 10000"/>
                <a:gd name="connsiteX2210" fmla="*/ 346 w 10785"/>
                <a:gd name="connsiteY2210" fmla="*/ 4521 h 10000"/>
                <a:gd name="connsiteX2211" fmla="*/ 332 w 10785"/>
                <a:gd name="connsiteY2211" fmla="*/ 4487 h 10000"/>
                <a:gd name="connsiteX2212" fmla="*/ 327 w 10785"/>
                <a:gd name="connsiteY2212" fmla="*/ 4462 h 10000"/>
                <a:gd name="connsiteX2213" fmla="*/ 313 w 10785"/>
                <a:gd name="connsiteY2213" fmla="*/ 4436 h 10000"/>
                <a:gd name="connsiteX2214" fmla="*/ 300 w 10785"/>
                <a:gd name="connsiteY2214" fmla="*/ 4419 h 10000"/>
                <a:gd name="connsiteX2215" fmla="*/ 309 w 10785"/>
                <a:gd name="connsiteY2215" fmla="*/ 4393 h 10000"/>
                <a:gd name="connsiteX2216" fmla="*/ 332 w 10785"/>
                <a:gd name="connsiteY2216" fmla="*/ 4385 h 10000"/>
                <a:gd name="connsiteX2217" fmla="*/ 355 w 10785"/>
                <a:gd name="connsiteY2217" fmla="*/ 4419 h 10000"/>
                <a:gd name="connsiteX2218" fmla="*/ 355 w 10785"/>
                <a:gd name="connsiteY2218" fmla="*/ 4444 h 10000"/>
                <a:gd name="connsiteX2219" fmla="*/ 369 w 10785"/>
                <a:gd name="connsiteY2219" fmla="*/ 4470 h 10000"/>
                <a:gd name="connsiteX2220" fmla="*/ 401 w 10785"/>
                <a:gd name="connsiteY2220" fmla="*/ 4521 h 10000"/>
                <a:gd name="connsiteX2221" fmla="*/ 406 w 10785"/>
                <a:gd name="connsiteY2221" fmla="*/ 4513 h 10000"/>
                <a:gd name="connsiteX2222" fmla="*/ 406 w 10785"/>
                <a:gd name="connsiteY2222" fmla="*/ 4496 h 10000"/>
                <a:gd name="connsiteX2223" fmla="*/ 419 w 10785"/>
                <a:gd name="connsiteY2223" fmla="*/ 4521 h 10000"/>
                <a:gd name="connsiteX2224" fmla="*/ 429 w 10785"/>
                <a:gd name="connsiteY2224" fmla="*/ 4530 h 10000"/>
                <a:gd name="connsiteX2225" fmla="*/ 433 w 10785"/>
                <a:gd name="connsiteY2225" fmla="*/ 4521 h 10000"/>
                <a:gd name="connsiteX2226" fmla="*/ 442 w 10785"/>
                <a:gd name="connsiteY2226" fmla="*/ 4530 h 10000"/>
                <a:gd name="connsiteX2227" fmla="*/ 447 w 10785"/>
                <a:gd name="connsiteY2227" fmla="*/ 4521 h 10000"/>
                <a:gd name="connsiteX2228" fmla="*/ 452 w 10785"/>
                <a:gd name="connsiteY2228" fmla="*/ 4521 h 10000"/>
                <a:gd name="connsiteX2229" fmla="*/ 461 w 10785"/>
                <a:gd name="connsiteY2229" fmla="*/ 4573 h 10000"/>
                <a:gd name="connsiteX2230" fmla="*/ 479 w 10785"/>
                <a:gd name="connsiteY2230" fmla="*/ 4556 h 10000"/>
                <a:gd name="connsiteX2231" fmla="*/ 502 w 10785"/>
                <a:gd name="connsiteY2231" fmla="*/ 4573 h 10000"/>
                <a:gd name="connsiteX2232" fmla="*/ 507 w 10785"/>
                <a:gd name="connsiteY2232" fmla="*/ 4598 h 10000"/>
                <a:gd name="connsiteX2233" fmla="*/ 525 w 10785"/>
                <a:gd name="connsiteY2233" fmla="*/ 4598 h 10000"/>
                <a:gd name="connsiteX2234" fmla="*/ 535 w 10785"/>
                <a:gd name="connsiteY2234" fmla="*/ 4624 h 10000"/>
                <a:gd name="connsiteX2235" fmla="*/ 594 w 10785"/>
                <a:gd name="connsiteY2235" fmla="*/ 4658 h 10000"/>
                <a:gd name="connsiteX2236" fmla="*/ 627 w 10785"/>
                <a:gd name="connsiteY2236" fmla="*/ 4658 h 10000"/>
                <a:gd name="connsiteX2237" fmla="*/ 654 w 10785"/>
                <a:gd name="connsiteY2237" fmla="*/ 4684 h 10000"/>
                <a:gd name="connsiteX2238" fmla="*/ 668 w 10785"/>
                <a:gd name="connsiteY2238" fmla="*/ 4709 h 10000"/>
                <a:gd name="connsiteX2239" fmla="*/ 747 w 10785"/>
                <a:gd name="connsiteY2239" fmla="*/ 4718 h 10000"/>
                <a:gd name="connsiteX2240" fmla="*/ 760 w 10785"/>
                <a:gd name="connsiteY2240" fmla="*/ 4709 h 10000"/>
                <a:gd name="connsiteX2241" fmla="*/ 774 w 10785"/>
                <a:gd name="connsiteY2241" fmla="*/ 4692 h 10000"/>
                <a:gd name="connsiteX2242" fmla="*/ 829 w 10785"/>
                <a:gd name="connsiteY2242" fmla="*/ 4658 h 10000"/>
                <a:gd name="connsiteX2243" fmla="*/ 903 w 10785"/>
                <a:gd name="connsiteY2243" fmla="*/ 4496 h 10000"/>
                <a:gd name="connsiteX2244" fmla="*/ 917 w 10785"/>
                <a:gd name="connsiteY2244" fmla="*/ 4385 h 10000"/>
                <a:gd name="connsiteX2245" fmla="*/ 903 w 10785"/>
                <a:gd name="connsiteY2245" fmla="*/ 4376 h 10000"/>
                <a:gd name="connsiteX2246" fmla="*/ 903 w 10785"/>
                <a:gd name="connsiteY2246" fmla="*/ 4376 h 10000"/>
                <a:gd name="connsiteX2247" fmla="*/ 889 w 10785"/>
                <a:gd name="connsiteY2247" fmla="*/ 4239 h 10000"/>
                <a:gd name="connsiteX2248" fmla="*/ 880 w 10785"/>
                <a:gd name="connsiteY2248" fmla="*/ 4214 h 10000"/>
                <a:gd name="connsiteX2249" fmla="*/ 862 w 10785"/>
                <a:gd name="connsiteY2249" fmla="*/ 4188 h 10000"/>
                <a:gd name="connsiteX2250" fmla="*/ 857 w 10785"/>
                <a:gd name="connsiteY2250" fmla="*/ 4197 h 10000"/>
                <a:gd name="connsiteX2251" fmla="*/ 848 w 10785"/>
                <a:gd name="connsiteY2251" fmla="*/ 4188 h 10000"/>
                <a:gd name="connsiteX2252" fmla="*/ 848 w 10785"/>
                <a:gd name="connsiteY2252" fmla="*/ 4162 h 10000"/>
                <a:gd name="connsiteX2253" fmla="*/ 829 w 10785"/>
                <a:gd name="connsiteY2253" fmla="*/ 4120 h 10000"/>
                <a:gd name="connsiteX2254" fmla="*/ 820 w 10785"/>
                <a:gd name="connsiteY2254" fmla="*/ 4103 h 10000"/>
                <a:gd name="connsiteX2255" fmla="*/ 806 w 10785"/>
                <a:gd name="connsiteY2255" fmla="*/ 4077 h 10000"/>
                <a:gd name="connsiteX2256" fmla="*/ 816 w 10785"/>
                <a:gd name="connsiteY2256" fmla="*/ 4111 h 10000"/>
                <a:gd name="connsiteX2257" fmla="*/ 802 w 10785"/>
                <a:gd name="connsiteY2257" fmla="*/ 4111 h 10000"/>
                <a:gd name="connsiteX2258" fmla="*/ 770 w 10785"/>
                <a:gd name="connsiteY2258" fmla="*/ 4060 h 10000"/>
                <a:gd name="connsiteX2259" fmla="*/ 760 w 10785"/>
                <a:gd name="connsiteY2259" fmla="*/ 4077 h 10000"/>
                <a:gd name="connsiteX2260" fmla="*/ 760 w 10785"/>
                <a:gd name="connsiteY2260" fmla="*/ 4060 h 10000"/>
                <a:gd name="connsiteX2261" fmla="*/ 756 w 10785"/>
                <a:gd name="connsiteY2261" fmla="*/ 4034 h 10000"/>
                <a:gd name="connsiteX2262" fmla="*/ 742 w 10785"/>
                <a:gd name="connsiteY2262" fmla="*/ 4000 h 10000"/>
                <a:gd name="connsiteX2263" fmla="*/ 747 w 10785"/>
                <a:gd name="connsiteY2263" fmla="*/ 4034 h 10000"/>
                <a:gd name="connsiteX2264" fmla="*/ 724 w 10785"/>
                <a:gd name="connsiteY2264" fmla="*/ 4026 h 10000"/>
                <a:gd name="connsiteX2265" fmla="*/ 714 w 10785"/>
                <a:gd name="connsiteY2265" fmla="*/ 4000 h 10000"/>
                <a:gd name="connsiteX2266" fmla="*/ 714 w 10785"/>
                <a:gd name="connsiteY2266" fmla="*/ 3983 h 10000"/>
                <a:gd name="connsiteX2267" fmla="*/ 553 w 10785"/>
                <a:gd name="connsiteY2267" fmla="*/ 3726 h 10000"/>
                <a:gd name="connsiteX2268" fmla="*/ 507 w 10785"/>
                <a:gd name="connsiteY2268" fmla="*/ 3718 h 10000"/>
                <a:gd name="connsiteX2269" fmla="*/ 516 w 10785"/>
                <a:gd name="connsiteY2269" fmla="*/ 3726 h 10000"/>
                <a:gd name="connsiteX2270" fmla="*/ 507 w 10785"/>
                <a:gd name="connsiteY2270" fmla="*/ 3735 h 10000"/>
                <a:gd name="connsiteX2271" fmla="*/ 502 w 10785"/>
                <a:gd name="connsiteY2271" fmla="*/ 3735 h 10000"/>
                <a:gd name="connsiteX2272" fmla="*/ 419 w 10785"/>
                <a:gd name="connsiteY2272" fmla="*/ 3675 h 10000"/>
                <a:gd name="connsiteX2273" fmla="*/ 419 w 10785"/>
                <a:gd name="connsiteY2273" fmla="*/ 3692 h 10000"/>
                <a:gd name="connsiteX2274" fmla="*/ 401 w 10785"/>
                <a:gd name="connsiteY2274" fmla="*/ 3701 h 10000"/>
                <a:gd name="connsiteX2275" fmla="*/ 387 w 10785"/>
                <a:gd name="connsiteY2275" fmla="*/ 3718 h 10000"/>
                <a:gd name="connsiteX2276" fmla="*/ 387 w 10785"/>
                <a:gd name="connsiteY2276" fmla="*/ 3692 h 10000"/>
                <a:gd name="connsiteX2277" fmla="*/ 378 w 10785"/>
                <a:gd name="connsiteY2277" fmla="*/ 3675 h 10000"/>
                <a:gd name="connsiteX2278" fmla="*/ 378 w 10785"/>
                <a:gd name="connsiteY2278" fmla="*/ 3650 h 10000"/>
                <a:gd name="connsiteX2279" fmla="*/ 378 w 10785"/>
                <a:gd name="connsiteY2279" fmla="*/ 3650 h 10000"/>
                <a:gd name="connsiteX2280" fmla="*/ 355 w 10785"/>
                <a:gd name="connsiteY2280" fmla="*/ 3675 h 10000"/>
                <a:gd name="connsiteX2281" fmla="*/ 359 w 10785"/>
                <a:gd name="connsiteY2281" fmla="*/ 3641 h 10000"/>
                <a:gd name="connsiteX2282" fmla="*/ 346 w 10785"/>
                <a:gd name="connsiteY2282" fmla="*/ 3650 h 10000"/>
                <a:gd name="connsiteX2283" fmla="*/ 355 w 10785"/>
                <a:gd name="connsiteY2283" fmla="*/ 3624 h 10000"/>
                <a:gd name="connsiteX2284" fmla="*/ 346 w 10785"/>
                <a:gd name="connsiteY2284" fmla="*/ 3624 h 10000"/>
                <a:gd name="connsiteX2285" fmla="*/ 341 w 10785"/>
                <a:gd name="connsiteY2285" fmla="*/ 3624 h 10000"/>
                <a:gd name="connsiteX2286" fmla="*/ 318 w 10785"/>
                <a:gd name="connsiteY2286" fmla="*/ 3641 h 10000"/>
                <a:gd name="connsiteX2287" fmla="*/ 327 w 10785"/>
                <a:gd name="connsiteY2287" fmla="*/ 3624 h 10000"/>
                <a:gd name="connsiteX2288" fmla="*/ 318 w 10785"/>
                <a:gd name="connsiteY2288" fmla="*/ 3615 h 10000"/>
                <a:gd name="connsiteX2289" fmla="*/ 318 w 10785"/>
                <a:gd name="connsiteY2289" fmla="*/ 3598 h 10000"/>
                <a:gd name="connsiteX2290" fmla="*/ 300 w 10785"/>
                <a:gd name="connsiteY2290" fmla="*/ 3598 h 10000"/>
                <a:gd name="connsiteX2291" fmla="*/ 309 w 10785"/>
                <a:gd name="connsiteY2291" fmla="*/ 3538 h 10000"/>
                <a:gd name="connsiteX2292" fmla="*/ 313 w 10785"/>
                <a:gd name="connsiteY2292" fmla="*/ 3564 h 10000"/>
                <a:gd name="connsiteX2293" fmla="*/ 318 w 10785"/>
                <a:gd name="connsiteY2293" fmla="*/ 3581 h 10000"/>
                <a:gd name="connsiteX2294" fmla="*/ 327 w 10785"/>
                <a:gd name="connsiteY2294" fmla="*/ 3564 h 10000"/>
                <a:gd name="connsiteX2295" fmla="*/ 332 w 10785"/>
                <a:gd name="connsiteY2295" fmla="*/ 3590 h 10000"/>
                <a:gd name="connsiteX2296" fmla="*/ 346 w 10785"/>
                <a:gd name="connsiteY2296" fmla="*/ 3590 h 10000"/>
                <a:gd name="connsiteX2297" fmla="*/ 355 w 10785"/>
                <a:gd name="connsiteY2297" fmla="*/ 3590 h 10000"/>
                <a:gd name="connsiteX2298" fmla="*/ 369 w 10785"/>
                <a:gd name="connsiteY2298" fmla="*/ 3556 h 10000"/>
                <a:gd name="connsiteX2299" fmla="*/ 369 w 10785"/>
                <a:gd name="connsiteY2299" fmla="*/ 3538 h 10000"/>
                <a:gd name="connsiteX2300" fmla="*/ 346 w 10785"/>
                <a:gd name="connsiteY2300" fmla="*/ 3513 h 10000"/>
                <a:gd name="connsiteX2301" fmla="*/ 341 w 10785"/>
                <a:gd name="connsiteY2301" fmla="*/ 3530 h 10000"/>
                <a:gd name="connsiteX2302" fmla="*/ 327 w 10785"/>
                <a:gd name="connsiteY2302" fmla="*/ 3513 h 10000"/>
                <a:gd name="connsiteX2303" fmla="*/ 327 w 10785"/>
                <a:gd name="connsiteY2303" fmla="*/ 3504 h 10000"/>
                <a:gd name="connsiteX2304" fmla="*/ 295 w 10785"/>
                <a:gd name="connsiteY2304" fmla="*/ 3462 h 10000"/>
                <a:gd name="connsiteX2305" fmla="*/ 300 w 10785"/>
                <a:gd name="connsiteY2305" fmla="*/ 3479 h 10000"/>
                <a:gd name="connsiteX2306" fmla="*/ 295 w 10785"/>
                <a:gd name="connsiteY2306" fmla="*/ 3513 h 10000"/>
                <a:gd name="connsiteX2307" fmla="*/ 286 w 10785"/>
                <a:gd name="connsiteY2307" fmla="*/ 3513 h 10000"/>
                <a:gd name="connsiteX2308" fmla="*/ 281 w 10785"/>
                <a:gd name="connsiteY2308" fmla="*/ 3513 h 10000"/>
                <a:gd name="connsiteX2309" fmla="*/ 281 w 10785"/>
                <a:gd name="connsiteY2309" fmla="*/ 3530 h 10000"/>
                <a:gd name="connsiteX2310" fmla="*/ 281 w 10785"/>
                <a:gd name="connsiteY2310" fmla="*/ 3556 h 10000"/>
                <a:gd name="connsiteX2311" fmla="*/ 272 w 10785"/>
                <a:gd name="connsiteY2311" fmla="*/ 3564 h 10000"/>
                <a:gd name="connsiteX2312" fmla="*/ 267 w 10785"/>
                <a:gd name="connsiteY2312" fmla="*/ 3564 h 10000"/>
                <a:gd name="connsiteX2313" fmla="*/ 253 w 10785"/>
                <a:gd name="connsiteY2313" fmla="*/ 3538 h 10000"/>
                <a:gd name="connsiteX2314" fmla="*/ 226 w 10785"/>
                <a:gd name="connsiteY2314" fmla="*/ 3513 h 10000"/>
                <a:gd name="connsiteX2315" fmla="*/ 226 w 10785"/>
                <a:gd name="connsiteY2315" fmla="*/ 3530 h 10000"/>
                <a:gd name="connsiteX2316" fmla="*/ 226 w 10785"/>
                <a:gd name="connsiteY2316" fmla="*/ 3530 h 10000"/>
                <a:gd name="connsiteX2317" fmla="*/ 226 w 10785"/>
                <a:gd name="connsiteY2317" fmla="*/ 3530 h 10000"/>
                <a:gd name="connsiteX2318" fmla="*/ 226 w 10785"/>
                <a:gd name="connsiteY2318" fmla="*/ 3556 h 10000"/>
                <a:gd name="connsiteX2319" fmla="*/ 221 w 10785"/>
                <a:gd name="connsiteY2319" fmla="*/ 3598 h 10000"/>
                <a:gd name="connsiteX2320" fmla="*/ 207 w 10785"/>
                <a:gd name="connsiteY2320" fmla="*/ 3598 h 10000"/>
                <a:gd name="connsiteX2321" fmla="*/ 180 w 10785"/>
                <a:gd name="connsiteY2321" fmla="*/ 3581 h 10000"/>
                <a:gd name="connsiteX2322" fmla="*/ 171 w 10785"/>
                <a:gd name="connsiteY2322" fmla="*/ 3641 h 10000"/>
                <a:gd name="connsiteX2323" fmla="*/ 166 w 10785"/>
                <a:gd name="connsiteY2323" fmla="*/ 3650 h 10000"/>
                <a:gd name="connsiteX2324" fmla="*/ 124 w 10785"/>
                <a:gd name="connsiteY2324" fmla="*/ 3701 h 10000"/>
                <a:gd name="connsiteX2325" fmla="*/ 124 w 10785"/>
                <a:gd name="connsiteY2325" fmla="*/ 3718 h 10000"/>
                <a:gd name="connsiteX2326" fmla="*/ 120 w 10785"/>
                <a:gd name="connsiteY2326" fmla="*/ 3735 h 10000"/>
                <a:gd name="connsiteX2327" fmla="*/ 120 w 10785"/>
                <a:gd name="connsiteY2327" fmla="*/ 3735 h 10000"/>
                <a:gd name="connsiteX2328" fmla="*/ 111 w 10785"/>
                <a:gd name="connsiteY2328" fmla="*/ 3761 h 10000"/>
                <a:gd name="connsiteX2329" fmla="*/ 106 w 10785"/>
                <a:gd name="connsiteY2329" fmla="*/ 3761 h 10000"/>
                <a:gd name="connsiteX2330" fmla="*/ 106 w 10785"/>
                <a:gd name="connsiteY2330" fmla="*/ 3761 h 10000"/>
                <a:gd name="connsiteX2331" fmla="*/ 74 w 10785"/>
                <a:gd name="connsiteY2331" fmla="*/ 3829 h 10000"/>
                <a:gd name="connsiteX2332" fmla="*/ 78 w 10785"/>
                <a:gd name="connsiteY2332" fmla="*/ 3838 h 10000"/>
                <a:gd name="connsiteX2333" fmla="*/ 88 w 10785"/>
                <a:gd name="connsiteY2333" fmla="*/ 3846 h 10000"/>
                <a:gd name="connsiteX2334" fmla="*/ 65 w 10785"/>
                <a:gd name="connsiteY2334" fmla="*/ 3923 h 10000"/>
                <a:gd name="connsiteX2335" fmla="*/ 78 w 10785"/>
                <a:gd name="connsiteY2335" fmla="*/ 4026 h 10000"/>
                <a:gd name="connsiteX2336" fmla="*/ 88 w 10785"/>
                <a:gd name="connsiteY2336" fmla="*/ 4051 h 10000"/>
                <a:gd name="connsiteX2337" fmla="*/ 92 w 10785"/>
                <a:gd name="connsiteY2337" fmla="*/ 4060 h 10000"/>
                <a:gd name="connsiteX2338" fmla="*/ 111 w 10785"/>
                <a:gd name="connsiteY2338" fmla="*/ 4060 h 10000"/>
                <a:gd name="connsiteX2339" fmla="*/ 124 w 10785"/>
                <a:gd name="connsiteY2339" fmla="*/ 4085 h 10000"/>
                <a:gd name="connsiteX2340" fmla="*/ 166 w 10785"/>
                <a:gd name="connsiteY2340" fmla="*/ 4197 h 10000"/>
                <a:gd name="connsiteX2341" fmla="*/ 166 w 10785"/>
                <a:gd name="connsiteY2341" fmla="*/ 4248 h 10000"/>
                <a:gd name="connsiteX2342" fmla="*/ 120 w 10785"/>
                <a:gd name="connsiteY2342" fmla="*/ 4462 h 10000"/>
                <a:gd name="connsiteX2343" fmla="*/ 120 w 10785"/>
                <a:gd name="connsiteY2343" fmla="*/ 4513 h 10000"/>
                <a:gd name="connsiteX2344" fmla="*/ 180 w 10785"/>
                <a:gd name="connsiteY2344" fmla="*/ 4829 h 10000"/>
                <a:gd name="connsiteX2345" fmla="*/ 161 w 10785"/>
                <a:gd name="connsiteY2345" fmla="*/ 4855 h 10000"/>
                <a:gd name="connsiteX2346" fmla="*/ 152 w 10785"/>
                <a:gd name="connsiteY2346" fmla="*/ 4940 h 10000"/>
                <a:gd name="connsiteX2347" fmla="*/ 161 w 10785"/>
                <a:gd name="connsiteY2347" fmla="*/ 4966 h 10000"/>
                <a:gd name="connsiteX2348" fmla="*/ 161 w 10785"/>
                <a:gd name="connsiteY2348" fmla="*/ 5009 h 10000"/>
                <a:gd name="connsiteX2349" fmla="*/ 152 w 10785"/>
                <a:gd name="connsiteY2349" fmla="*/ 5034 h 10000"/>
                <a:gd name="connsiteX2350" fmla="*/ 152 w 10785"/>
                <a:gd name="connsiteY2350" fmla="*/ 5077 h 10000"/>
                <a:gd name="connsiteX2351" fmla="*/ 171 w 10785"/>
                <a:gd name="connsiteY2351" fmla="*/ 5094 h 10000"/>
                <a:gd name="connsiteX2352" fmla="*/ 180 w 10785"/>
                <a:gd name="connsiteY2352" fmla="*/ 5128 h 10000"/>
                <a:gd name="connsiteX2353" fmla="*/ 180 w 10785"/>
                <a:gd name="connsiteY2353" fmla="*/ 5171 h 10000"/>
                <a:gd name="connsiteX2354" fmla="*/ 184 w 10785"/>
                <a:gd name="connsiteY2354" fmla="*/ 5205 h 10000"/>
                <a:gd name="connsiteX2355" fmla="*/ 207 w 10785"/>
                <a:gd name="connsiteY2355" fmla="*/ 5239 h 10000"/>
                <a:gd name="connsiteX2356" fmla="*/ 207 w 10785"/>
                <a:gd name="connsiteY2356" fmla="*/ 5282 h 10000"/>
                <a:gd name="connsiteX2357" fmla="*/ 180 w 10785"/>
                <a:gd name="connsiteY2357" fmla="*/ 5393 h 10000"/>
                <a:gd name="connsiteX2358" fmla="*/ 194 w 10785"/>
                <a:gd name="connsiteY2358" fmla="*/ 5427 h 10000"/>
                <a:gd name="connsiteX2359" fmla="*/ 198 w 10785"/>
                <a:gd name="connsiteY2359" fmla="*/ 5462 h 10000"/>
                <a:gd name="connsiteX2360" fmla="*/ 235 w 10785"/>
                <a:gd name="connsiteY2360" fmla="*/ 5513 h 10000"/>
                <a:gd name="connsiteX2361" fmla="*/ 240 w 10785"/>
                <a:gd name="connsiteY2361" fmla="*/ 5556 h 10000"/>
                <a:gd name="connsiteX2362" fmla="*/ 253 w 10785"/>
                <a:gd name="connsiteY2362" fmla="*/ 5590 h 10000"/>
                <a:gd name="connsiteX2363" fmla="*/ 258 w 10785"/>
                <a:gd name="connsiteY2363" fmla="*/ 5573 h 10000"/>
                <a:gd name="connsiteX2364" fmla="*/ 258 w 10785"/>
                <a:gd name="connsiteY2364" fmla="*/ 5667 h 10000"/>
                <a:gd name="connsiteX2365" fmla="*/ 14 w 10785"/>
                <a:gd name="connsiteY2365" fmla="*/ 6214 h 10000"/>
                <a:gd name="connsiteX2366" fmla="*/ 14 w 10785"/>
                <a:gd name="connsiteY2366" fmla="*/ 6214 h 10000"/>
                <a:gd name="connsiteX2367" fmla="*/ 37 w 10785"/>
                <a:gd name="connsiteY2367" fmla="*/ 6214 h 10000"/>
                <a:gd name="connsiteX2368" fmla="*/ 51 w 10785"/>
                <a:gd name="connsiteY2368" fmla="*/ 6188 h 10000"/>
                <a:gd name="connsiteX2369" fmla="*/ 78 w 10785"/>
                <a:gd name="connsiteY2369" fmla="*/ 6162 h 10000"/>
                <a:gd name="connsiteX2370" fmla="*/ 78 w 10785"/>
                <a:gd name="connsiteY2370" fmla="*/ 6188 h 10000"/>
                <a:gd name="connsiteX2371" fmla="*/ 74 w 10785"/>
                <a:gd name="connsiteY2371" fmla="*/ 6197 h 10000"/>
                <a:gd name="connsiteX2372" fmla="*/ 74 w 10785"/>
                <a:gd name="connsiteY2372" fmla="*/ 6231 h 10000"/>
                <a:gd name="connsiteX2373" fmla="*/ 74 w 10785"/>
                <a:gd name="connsiteY2373" fmla="*/ 6214 h 10000"/>
                <a:gd name="connsiteX2374" fmla="*/ 65 w 10785"/>
                <a:gd name="connsiteY2374" fmla="*/ 6214 h 10000"/>
                <a:gd name="connsiteX2375" fmla="*/ 65 w 10785"/>
                <a:gd name="connsiteY2375" fmla="*/ 6248 h 10000"/>
                <a:gd name="connsiteX2376" fmla="*/ 74 w 10785"/>
                <a:gd name="connsiteY2376" fmla="*/ 6256 h 10000"/>
                <a:gd name="connsiteX2377" fmla="*/ 78 w 10785"/>
                <a:gd name="connsiteY2377" fmla="*/ 6256 h 10000"/>
                <a:gd name="connsiteX2378" fmla="*/ 106 w 10785"/>
                <a:gd name="connsiteY2378" fmla="*/ 6308 h 10000"/>
                <a:gd name="connsiteX2379" fmla="*/ 138 w 10785"/>
                <a:gd name="connsiteY2379" fmla="*/ 6299 h 10000"/>
                <a:gd name="connsiteX2380" fmla="*/ 152 w 10785"/>
                <a:gd name="connsiteY2380" fmla="*/ 6299 h 10000"/>
                <a:gd name="connsiteX2381" fmla="*/ 166 w 10785"/>
                <a:gd name="connsiteY2381" fmla="*/ 6325 h 10000"/>
                <a:gd name="connsiteX2382" fmla="*/ 166 w 10785"/>
                <a:gd name="connsiteY2382" fmla="*/ 6333 h 10000"/>
                <a:gd name="connsiteX2383" fmla="*/ 171 w 10785"/>
                <a:gd name="connsiteY2383" fmla="*/ 6350 h 10000"/>
                <a:gd name="connsiteX2384" fmla="*/ 180 w 10785"/>
                <a:gd name="connsiteY2384" fmla="*/ 6350 h 10000"/>
                <a:gd name="connsiteX2385" fmla="*/ 180 w 10785"/>
                <a:gd name="connsiteY2385" fmla="*/ 6359 h 10000"/>
                <a:gd name="connsiteX2386" fmla="*/ 171 w 10785"/>
                <a:gd name="connsiteY2386" fmla="*/ 6368 h 10000"/>
                <a:gd name="connsiteX2387" fmla="*/ 106 w 10785"/>
                <a:gd name="connsiteY2387" fmla="*/ 6350 h 10000"/>
                <a:gd name="connsiteX2388" fmla="*/ 101 w 10785"/>
                <a:gd name="connsiteY2388" fmla="*/ 6359 h 10000"/>
                <a:gd name="connsiteX2389" fmla="*/ 101 w 10785"/>
                <a:gd name="connsiteY2389" fmla="*/ 6385 h 10000"/>
                <a:gd name="connsiteX2390" fmla="*/ 78 w 10785"/>
                <a:gd name="connsiteY2390" fmla="*/ 6393 h 10000"/>
                <a:gd name="connsiteX2391" fmla="*/ 74 w 10785"/>
                <a:gd name="connsiteY2391" fmla="*/ 6385 h 10000"/>
                <a:gd name="connsiteX2392" fmla="*/ 65 w 10785"/>
                <a:gd name="connsiteY2392" fmla="*/ 6393 h 10000"/>
                <a:gd name="connsiteX2393" fmla="*/ 60 w 10785"/>
                <a:gd name="connsiteY2393" fmla="*/ 6419 h 10000"/>
                <a:gd name="connsiteX2394" fmla="*/ 51 w 10785"/>
                <a:gd name="connsiteY2394" fmla="*/ 6419 h 10000"/>
                <a:gd name="connsiteX2395" fmla="*/ 46 w 10785"/>
                <a:gd name="connsiteY2395" fmla="*/ 6410 h 10000"/>
                <a:gd name="connsiteX2396" fmla="*/ 37 w 10785"/>
                <a:gd name="connsiteY2396" fmla="*/ 6393 h 10000"/>
                <a:gd name="connsiteX2397" fmla="*/ 32 w 10785"/>
                <a:gd name="connsiteY2397" fmla="*/ 6419 h 10000"/>
                <a:gd name="connsiteX2398" fmla="*/ 37 w 10785"/>
                <a:gd name="connsiteY2398" fmla="*/ 6462 h 10000"/>
                <a:gd name="connsiteX2399" fmla="*/ 46 w 10785"/>
                <a:gd name="connsiteY2399" fmla="*/ 6462 h 10000"/>
                <a:gd name="connsiteX2400" fmla="*/ 51 w 10785"/>
                <a:gd name="connsiteY2400" fmla="*/ 6470 h 10000"/>
                <a:gd name="connsiteX2401" fmla="*/ 51 w 10785"/>
                <a:gd name="connsiteY2401" fmla="*/ 6496 h 10000"/>
                <a:gd name="connsiteX2402" fmla="*/ 51 w 10785"/>
                <a:gd name="connsiteY2402" fmla="*/ 6504 h 10000"/>
                <a:gd name="connsiteX2403" fmla="*/ 37 w 10785"/>
                <a:gd name="connsiteY2403" fmla="*/ 6530 h 10000"/>
                <a:gd name="connsiteX2404" fmla="*/ 18 w 10785"/>
                <a:gd name="connsiteY2404" fmla="*/ 6598 h 10000"/>
                <a:gd name="connsiteX2405" fmla="*/ 28 w 10785"/>
                <a:gd name="connsiteY2405" fmla="*/ 6632 h 10000"/>
                <a:gd name="connsiteX2406" fmla="*/ 18 w 10785"/>
                <a:gd name="connsiteY2406" fmla="*/ 6667 h 10000"/>
                <a:gd name="connsiteX2407" fmla="*/ 28 w 10785"/>
                <a:gd name="connsiteY2407" fmla="*/ 6692 h 10000"/>
                <a:gd name="connsiteX2408" fmla="*/ 28 w 10785"/>
                <a:gd name="connsiteY2408" fmla="*/ 6709 h 10000"/>
                <a:gd name="connsiteX2409" fmla="*/ 18 w 10785"/>
                <a:gd name="connsiteY2409" fmla="*/ 6718 h 10000"/>
                <a:gd name="connsiteX2410" fmla="*/ 5 w 10785"/>
                <a:gd name="connsiteY2410" fmla="*/ 6744 h 10000"/>
                <a:gd name="connsiteX2411" fmla="*/ 0 w 10785"/>
                <a:gd name="connsiteY2411" fmla="*/ 6769 h 10000"/>
                <a:gd name="connsiteX2412" fmla="*/ 5 w 10785"/>
                <a:gd name="connsiteY2412" fmla="*/ 6778 h 10000"/>
                <a:gd name="connsiteX2413" fmla="*/ 32 w 10785"/>
                <a:gd name="connsiteY2413" fmla="*/ 6778 h 10000"/>
                <a:gd name="connsiteX2414" fmla="*/ 46 w 10785"/>
                <a:gd name="connsiteY2414" fmla="*/ 6821 h 10000"/>
                <a:gd name="connsiteX2415" fmla="*/ 46 w 10785"/>
                <a:gd name="connsiteY2415" fmla="*/ 6855 h 10000"/>
                <a:gd name="connsiteX2416" fmla="*/ 32 w 10785"/>
                <a:gd name="connsiteY2416" fmla="*/ 6855 h 10000"/>
                <a:gd name="connsiteX2417" fmla="*/ 14 w 10785"/>
                <a:gd name="connsiteY2417" fmla="*/ 6821 h 10000"/>
                <a:gd name="connsiteX2418" fmla="*/ 14 w 10785"/>
                <a:gd name="connsiteY2418" fmla="*/ 6846 h 10000"/>
                <a:gd name="connsiteX2419" fmla="*/ 0 w 10785"/>
                <a:gd name="connsiteY2419" fmla="*/ 6897 h 10000"/>
                <a:gd name="connsiteX2420" fmla="*/ 0 w 10785"/>
                <a:gd name="connsiteY2420" fmla="*/ 6915 h 10000"/>
                <a:gd name="connsiteX2421" fmla="*/ 5 w 10785"/>
                <a:gd name="connsiteY2421" fmla="*/ 6932 h 10000"/>
                <a:gd name="connsiteX2422" fmla="*/ 14 w 10785"/>
                <a:gd name="connsiteY2422" fmla="*/ 6940 h 10000"/>
                <a:gd name="connsiteX2423" fmla="*/ 18 w 10785"/>
                <a:gd name="connsiteY2423" fmla="*/ 6957 h 10000"/>
                <a:gd name="connsiteX2424" fmla="*/ 28 w 10785"/>
                <a:gd name="connsiteY2424" fmla="*/ 6966 h 10000"/>
                <a:gd name="connsiteX2425" fmla="*/ 28 w 10785"/>
                <a:gd name="connsiteY2425" fmla="*/ 6983 h 10000"/>
                <a:gd name="connsiteX2426" fmla="*/ 18 w 10785"/>
                <a:gd name="connsiteY2426" fmla="*/ 7051 h 10000"/>
                <a:gd name="connsiteX2427" fmla="*/ 28 w 10785"/>
                <a:gd name="connsiteY2427" fmla="*/ 7068 h 10000"/>
                <a:gd name="connsiteX2428" fmla="*/ 32 w 10785"/>
                <a:gd name="connsiteY2428" fmla="*/ 7068 h 10000"/>
                <a:gd name="connsiteX2429" fmla="*/ 32 w 10785"/>
                <a:gd name="connsiteY2429" fmla="*/ 7094 h 10000"/>
                <a:gd name="connsiteX2430" fmla="*/ 60 w 10785"/>
                <a:gd name="connsiteY2430" fmla="*/ 7162 h 10000"/>
                <a:gd name="connsiteX2431" fmla="*/ 60 w 10785"/>
                <a:gd name="connsiteY2431" fmla="*/ 7231 h 10000"/>
                <a:gd name="connsiteX2432" fmla="*/ 60 w 10785"/>
                <a:gd name="connsiteY2432" fmla="*/ 7239 h 10000"/>
                <a:gd name="connsiteX2433" fmla="*/ 78 w 10785"/>
                <a:gd name="connsiteY2433" fmla="*/ 7239 h 10000"/>
                <a:gd name="connsiteX2434" fmla="*/ 88 w 10785"/>
                <a:gd name="connsiteY2434" fmla="*/ 7239 h 10000"/>
                <a:gd name="connsiteX2435" fmla="*/ 92 w 10785"/>
                <a:gd name="connsiteY2435" fmla="*/ 7256 h 10000"/>
                <a:gd name="connsiteX2436" fmla="*/ 111 w 10785"/>
                <a:gd name="connsiteY2436" fmla="*/ 7256 h 10000"/>
                <a:gd name="connsiteX2437" fmla="*/ 120 w 10785"/>
                <a:gd name="connsiteY2437" fmla="*/ 7256 h 10000"/>
                <a:gd name="connsiteX2438" fmla="*/ 134 w 10785"/>
                <a:gd name="connsiteY2438" fmla="*/ 7282 h 10000"/>
                <a:gd name="connsiteX2439" fmla="*/ 134 w 10785"/>
                <a:gd name="connsiteY2439" fmla="*/ 7316 h 10000"/>
                <a:gd name="connsiteX2440" fmla="*/ 152 w 10785"/>
                <a:gd name="connsiteY2440" fmla="*/ 7299 h 10000"/>
                <a:gd name="connsiteX2441" fmla="*/ 161 w 10785"/>
                <a:gd name="connsiteY2441" fmla="*/ 7299 h 10000"/>
                <a:gd name="connsiteX2442" fmla="*/ 166 w 10785"/>
                <a:gd name="connsiteY2442" fmla="*/ 7291 h 10000"/>
                <a:gd name="connsiteX2443" fmla="*/ 194 w 10785"/>
                <a:gd name="connsiteY2443" fmla="*/ 7291 h 10000"/>
                <a:gd name="connsiteX2444" fmla="*/ 207 w 10785"/>
                <a:gd name="connsiteY2444" fmla="*/ 7299 h 10000"/>
                <a:gd name="connsiteX2445" fmla="*/ 221 w 10785"/>
                <a:gd name="connsiteY2445" fmla="*/ 7342 h 10000"/>
                <a:gd name="connsiteX2446" fmla="*/ 235 w 10785"/>
                <a:gd name="connsiteY2446" fmla="*/ 7342 h 10000"/>
                <a:gd name="connsiteX2447" fmla="*/ 235 w 10785"/>
                <a:gd name="connsiteY2447" fmla="*/ 7368 h 10000"/>
                <a:gd name="connsiteX2448" fmla="*/ 226 w 10785"/>
                <a:gd name="connsiteY2448" fmla="*/ 7393 h 10000"/>
                <a:gd name="connsiteX2449" fmla="*/ 226 w 10785"/>
                <a:gd name="connsiteY2449" fmla="*/ 7402 h 10000"/>
                <a:gd name="connsiteX2450" fmla="*/ 235 w 10785"/>
                <a:gd name="connsiteY2450" fmla="*/ 7419 h 10000"/>
                <a:gd name="connsiteX2451" fmla="*/ 240 w 10785"/>
                <a:gd name="connsiteY2451" fmla="*/ 7436 h 10000"/>
                <a:gd name="connsiteX2452" fmla="*/ 235 w 10785"/>
                <a:gd name="connsiteY2452" fmla="*/ 7462 h 10000"/>
                <a:gd name="connsiteX2453" fmla="*/ 226 w 10785"/>
                <a:gd name="connsiteY2453" fmla="*/ 7479 h 10000"/>
                <a:gd name="connsiteX2454" fmla="*/ 226 w 10785"/>
                <a:gd name="connsiteY2454" fmla="*/ 7504 h 10000"/>
                <a:gd name="connsiteX2455" fmla="*/ 226 w 10785"/>
                <a:gd name="connsiteY2455" fmla="*/ 7513 h 10000"/>
                <a:gd name="connsiteX2456" fmla="*/ 240 w 10785"/>
                <a:gd name="connsiteY2456" fmla="*/ 7538 h 10000"/>
                <a:gd name="connsiteX2457" fmla="*/ 267 w 10785"/>
                <a:gd name="connsiteY2457" fmla="*/ 7641 h 10000"/>
                <a:gd name="connsiteX2458" fmla="*/ 281 w 10785"/>
                <a:gd name="connsiteY2458" fmla="*/ 7667 h 10000"/>
                <a:gd name="connsiteX2459" fmla="*/ 286 w 10785"/>
                <a:gd name="connsiteY2459" fmla="*/ 7675 h 10000"/>
                <a:gd name="connsiteX2460" fmla="*/ 286 w 10785"/>
                <a:gd name="connsiteY2460" fmla="*/ 7692 h 10000"/>
                <a:gd name="connsiteX2461" fmla="*/ 286 w 10785"/>
                <a:gd name="connsiteY2461" fmla="*/ 7709 h 10000"/>
                <a:gd name="connsiteX2462" fmla="*/ 295 w 10785"/>
                <a:gd name="connsiteY2462" fmla="*/ 7726 h 10000"/>
                <a:gd name="connsiteX2463" fmla="*/ 318 w 10785"/>
                <a:gd name="connsiteY2463" fmla="*/ 7709 h 10000"/>
                <a:gd name="connsiteX2464" fmla="*/ 327 w 10785"/>
                <a:gd name="connsiteY2464" fmla="*/ 7726 h 10000"/>
                <a:gd name="connsiteX2465" fmla="*/ 341 w 10785"/>
                <a:gd name="connsiteY2465" fmla="*/ 7735 h 10000"/>
                <a:gd name="connsiteX2466" fmla="*/ 332 w 10785"/>
                <a:gd name="connsiteY2466" fmla="*/ 7752 h 10000"/>
                <a:gd name="connsiteX2467" fmla="*/ 341 w 10785"/>
                <a:gd name="connsiteY2467" fmla="*/ 7761 h 10000"/>
                <a:gd name="connsiteX2468" fmla="*/ 355 w 10785"/>
                <a:gd name="connsiteY2468" fmla="*/ 7761 h 10000"/>
                <a:gd name="connsiteX2469" fmla="*/ 355 w 10785"/>
                <a:gd name="connsiteY2469" fmla="*/ 7803 h 10000"/>
                <a:gd name="connsiteX2470" fmla="*/ 313 w 10785"/>
                <a:gd name="connsiteY2470" fmla="*/ 7846 h 10000"/>
                <a:gd name="connsiteX2471" fmla="*/ 295 w 10785"/>
                <a:gd name="connsiteY2471" fmla="*/ 7846 h 10000"/>
                <a:gd name="connsiteX2472" fmla="*/ 281 w 10785"/>
                <a:gd name="connsiteY2472" fmla="*/ 7821 h 10000"/>
                <a:gd name="connsiteX2473" fmla="*/ 272 w 10785"/>
                <a:gd name="connsiteY2473" fmla="*/ 7821 h 10000"/>
                <a:gd name="connsiteX2474" fmla="*/ 267 w 10785"/>
                <a:gd name="connsiteY2474" fmla="*/ 7838 h 10000"/>
                <a:gd name="connsiteX2475" fmla="*/ 258 w 10785"/>
                <a:gd name="connsiteY2475" fmla="*/ 7846 h 10000"/>
                <a:gd name="connsiteX2476" fmla="*/ 253 w 10785"/>
                <a:gd name="connsiteY2476" fmla="*/ 7863 h 10000"/>
                <a:gd name="connsiteX2477" fmla="*/ 253 w 10785"/>
                <a:gd name="connsiteY2477" fmla="*/ 7872 h 10000"/>
                <a:gd name="connsiteX2478" fmla="*/ 267 w 10785"/>
                <a:gd name="connsiteY2478" fmla="*/ 7897 h 10000"/>
                <a:gd name="connsiteX2479" fmla="*/ 272 w 10785"/>
                <a:gd name="connsiteY2479" fmla="*/ 7915 h 10000"/>
                <a:gd name="connsiteX2480" fmla="*/ 267 w 10785"/>
                <a:gd name="connsiteY2480" fmla="*/ 7940 h 10000"/>
                <a:gd name="connsiteX2481" fmla="*/ 272 w 10785"/>
                <a:gd name="connsiteY2481" fmla="*/ 7949 h 10000"/>
                <a:gd name="connsiteX2482" fmla="*/ 272 w 10785"/>
                <a:gd name="connsiteY2482" fmla="*/ 7957 h 10000"/>
                <a:gd name="connsiteX2483" fmla="*/ 281 w 10785"/>
                <a:gd name="connsiteY2483" fmla="*/ 7974 h 10000"/>
                <a:gd name="connsiteX2484" fmla="*/ 286 w 10785"/>
                <a:gd name="connsiteY2484" fmla="*/ 7983 h 10000"/>
                <a:gd name="connsiteX2485" fmla="*/ 281 w 10785"/>
                <a:gd name="connsiteY2485" fmla="*/ 8009 h 10000"/>
                <a:gd name="connsiteX2486" fmla="*/ 286 w 10785"/>
                <a:gd name="connsiteY2486" fmla="*/ 8060 h 10000"/>
                <a:gd name="connsiteX2487" fmla="*/ 286 w 10785"/>
                <a:gd name="connsiteY2487" fmla="*/ 8060 h 10000"/>
                <a:gd name="connsiteX2488" fmla="*/ 295 w 10785"/>
                <a:gd name="connsiteY2488" fmla="*/ 8077 h 10000"/>
                <a:gd name="connsiteX2489" fmla="*/ 309 w 10785"/>
                <a:gd name="connsiteY2489" fmla="*/ 8077 h 10000"/>
                <a:gd name="connsiteX2490" fmla="*/ 313 w 10785"/>
                <a:gd name="connsiteY2490" fmla="*/ 8060 h 10000"/>
                <a:gd name="connsiteX2491" fmla="*/ 318 w 10785"/>
                <a:gd name="connsiteY2491" fmla="*/ 8051 h 10000"/>
                <a:gd name="connsiteX2492" fmla="*/ 318 w 10785"/>
                <a:gd name="connsiteY2492" fmla="*/ 8034 h 10000"/>
                <a:gd name="connsiteX2493" fmla="*/ 332 w 10785"/>
                <a:gd name="connsiteY2493" fmla="*/ 8026 h 10000"/>
                <a:gd name="connsiteX2494" fmla="*/ 359 w 10785"/>
                <a:gd name="connsiteY2494" fmla="*/ 8034 h 10000"/>
                <a:gd name="connsiteX2495" fmla="*/ 378 w 10785"/>
                <a:gd name="connsiteY2495" fmla="*/ 8026 h 10000"/>
                <a:gd name="connsiteX2496" fmla="*/ 401 w 10785"/>
                <a:gd name="connsiteY2496" fmla="*/ 8026 h 10000"/>
                <a:gd name="connsiteX2497" fmla="*/ 419 w 10785"/>
                <a:gd name="connsiteY2497" fmla="*/ 8009 h 10000"/>
                <a:gd name="connsiteX2498" fmla="*/ 433 w 10785"/>
                <a:gd name="connsiteY2498" fmla="*/ 8034 h 10000"/>
                <a:gd name="connsiteX2499" fmla="*/ 442 w 10785"/>
                <a:gd name="connsiteY2499" fmla="*/ 8060 h 10000"/>
                <a:gd name="connsiteX2500" fmla="*/ 442 w 10785"/>
                <a:gd name="connsiteY2500" fmla="*/ 8077 h 10000"/>
                <a:gd name="connsiteX2501" fmla="*/ 461 w 10785"/>
                <a:gd name="connsiteY2501" fmla="*/ 8111 h 10000"/>
                <a:gd name="connsiteX2502" fmla="*/ 461 w 10785"/>
                <a:gd name="connsiteY2502" fmla="*/ 8137 h 10000"/>
                <a:gd name="connsiteX2503" fmla="*/ 447 w 10785"/>
                <a:gd name="connsiteY2503" fmla="*/ 8145 h 10000"/>
                <a:gd name="connsiteX2504" fmla="*/ 442 w 10785"/>
                <a:gd name="connsiteY2504" fmla="*/ 8145 h 10000"/>
                <a:gd name="connsiteX2505" fmla="*/ 442 w 10785"/>
                <a:gd name="connsiteY2505" fmla="*/ 8162 h 10000"/>
                <a:gd name="connsiteX2506" fmla="*/ 442 w 10785"/>
                <a:gd name="connsiteY2506" fmla="*/ 8171 h 10000"/>
                <a:gd name="connsiteX2507" fmla="*/ 447 w 10785"/>
                <a:gd name="connsiteY2507" fmla="*/ 8214 h 10000"/>
                <a:gd name="connsiteX2508" fmla="*/ 465 w 10785"/>
                <a:gd name="connsiteY2508" fmla="*/ 8231 h 10000"/>
                <a:gd name="connsiteX2509" fmla="*/ 488 w 10785"/>
                <a:gd name="connsiteY2509" fmla="*/ 8231 h 10000"/>
                <a:gd name="connsiteX2510" fmla="*/ 493 w 10785"/>
                <a:gd name="connsiteY2510" fmla="*/ 8231 h 10000"/>
                <a:gd name="connsiteX2511" fmla="*/ 502 w 10785"/>
                <a:gd name="connsiteY2511" fmla="*/ 8231 h 10000"/>
                <a:gd name="connsiteX2512" fmla="*/ 507 w 10785"/>
                <a:gd name="connsiteY2512" fmla="*/ 8248 h 10000"/>
                <a:gd name="connsiteX2513" fmla="*/ 521 w 10785"/>
                <a:gd name="connsiteY2513" fmla="*/ 8274 h 10000"/>
                <a:gd name="connsiteX2514" fmla="*/ 525 w 10785"/>
                <a:gd name="connsiteY2514" fmla="*/ 8333 h 10000"/>
                <a:gd name="connsiteX2515" fmla="*/ 525 w 10785"/>
                <a:gd name="connsiteY2515" fmla="*/ 8359 h 10000"/>
                <a:gd name="connsiteX2516" fmla="*/ 525 w 10785"/>
                <a:gd name="connsiteY2516" fmla="*/ 8368 h 10000"/>
                <a:gd name="connsiteX2517" fmla="*/ 548 w 10785"/>
                <a:gd name="connsiteY2517" fmla="*/ 8393 h 10000"/>
                <a:gd name="connsiteX2518" fmla="*/ 553 w 10785"/>
                <a:gd name="connsiteY2518" fmla="*/ 8385 h 10000"/>
                <a:gd name="connsiteX2519" fmla="*/ 562 w 10785"/>
                <a:gd name="connsiteY2519" fmla="*/ 8385 h 10000"/>
                <a:gd name="connsiteX2520" fmla="*/ 576 w 10785"/>
                <a:gd name="connsiteY2520" fmla="*/ 8385 h 10000"/>
                <a:gd name="connsiteX2521" fmla="*/ 585 w 10785"/>
                <a:gd name="connsiteY2521" fmla="*/ 8410 h 10000"/>
                <a:gd name="connsiteX2522" fmla="*/ 594 w 10785"/>
                <a:gd name="connsiteY2522" fmla="*/ 8410 h 10000"/>
                <a:gd name="connsiteX2523" fmla="*/ 608 w 10785"/>
                <a:gd name="connsiteY2523" fmla="*/ 8410 h 10000"/>
                <a:gd name="connsiteX2524" fmla="*/ 654 w 10785"/>
                <a:gd name="connsiteY2524" fmla="*/ 8385 h 10000"/>
                <a:gd name="connsiteX2525" fmla="*/ 659 w 10785"/>
                <a:gd name="connsiteY2525" fmla="*/ 8385 h 10000"/>
                <a:gd name="connsiteX2526" fmla="*/ 696 w 10785"/>
                <a:gd name="connsiteY2526" fmla="*/ 8470 h 10000"/>
                <a:gd name="connsiteX2527" fmla="*/ 700 w 10785"/>
                <a:gd name="connsiteY2527" fmla="*/ 8470 h 10000"/>
                <a:gd name="connsiteX2528" fmla="*/ 710 w 10785"/>
                <a:gd name="connsiteY2528" fmla="*/ 8462 h 10000"/>
                <a:gd name="connsiteX2529" fmla="*/ 714 w 10785"/>
                <a:gd name="connsiteY2529" fmla="*/ 8462 h 10000"/>
                <a:gd name="connsiteX2530" fmla="*/ 724 w 10785"/>
                <a:gd name="connsiteY2530" fmla="*/ 8470 h 10000"/>
                <a:gd name="connsiteX2531" fmla="*/ 733 w 10785"/>
                <a:gd name="connsiteY2531" fmla="*/ 8470 h 10000"/>
                <a:gd name="connsiteX2532" fmla="*/ 742 w 10785"/>
                <a:gd name="connsiteY2532" fmla="*/ 8487 h 10000"/>
                <a:gd name="connsiteX2533" fmla="*/ 747 w 10785"/>
                <a:gd name="connsiteY2533" fmla="*/ 8496 h 10000"/>
                <a:gd name="connsiteX2534" fmla="*/ 770 w 10785"/>
                <a:gd name="connsiteY2534" fmla="*/ 8496 h 10000"/>
                <a:gd name="connsiteX2535" fmla="*/ 783 w 10785"/>
                <a:gd name="connsiteY2535" fmla="*/ 8521 h 10000"/>
                <a:gd name="connsiteX2536" fmla="*/ 797 w 10785"/>
                <a:gd name="connsiteY2536" fmla="*/ 8521 h 10000"/>
                <a:gd name="connsiteX2537" fmla="*/ 806 w 10785"/>
                <a:gd name="connsiteY2537" fmla="*/ 8530 h 10000"/>
                <a:gd name="connsiteX2538" fmla="*/ 829 w 10785"/>
                <a:gd name="connsiteY2538" fmla="*/ 8547 h 10000"/>
                <a:gd name="connsiteX2539" fmla="*/ 834 w 10785"/>
                <a:gd name="connsiteY2539" fmla="*/ 8556 h 10000"/>
                <a:gd name="connsiteX2540" fmla="*/ 829 w 10785"/>
                <a:gd name="connsiteY2540" fmla="*/ 8556 h 10000"/>
                <a:gd name="connsiteX2541" fmla="*/ 834 w 10785"/>
                <a:gd name="connsiteY2541" fmla="*/ 8607 h 10000"/>
                <a:gd name="connsiteX2542" fmla="*/ 829 w 10785"/>
                <a:gd name="connsiteY2542" fmla="*/ 8641 h 10000"/>
                <a:gd name="connsiteX2543" fmla="*/ 806 w 10785"/>
                <a:gd name="connsiteY2543" fmla="*/ 8658 h 10000"/>
                <a:gd name="connsiteX2544" fmla="*/ 816 w 10785"/>
                <a:gd name="connsiteY2544" fmla="*/ 8667 h 10000"/>
                <a:gd name="connsiteX2545" fmla="*/ 820 w 10785"/>
                <a:gd name="connsiteY2545" fmla="*/ 8667 h 10000"/>
                <a:gd name="connsiteX2546" fmla="*/ 829 w 10785"/>
                <a:gd name="connsiteY2546" fmla="*/ 8684 h 10000"/>
                <a:gd name="connsiteX2547" fmla="*/ 806 w 10785"/>
                <a:gd name="connsiteY2547" fmla="*/ 8692 h 10000"/>
                <a:gd name="connsiteX2548" fmla="*/ 802 w 10785"/>
                <a:gd name="connsiteY2548" fmla="*/ 8709 h 10000"/>
                <a:gd name="connsiteX2549" fmla="*/ 802 w 10785"/>
                <a:gd name="connsiteY2549" fmla="*/ 8735 h 10000"/>
                <a:gd name="connsiteX2550" fmla="*/ 806 w 10785"/>
                <a:gd name="connsiteY2550" fmla="*/ 8744 h 10000"/>
                <a:gd name="connsiteX2551" fmla="*/ 816 w 10785"/>
                <a:gd name="connsiteY2551" fmla="*/ 8752 h 10000"/>
                <a:gd name="connsiteX2552" fmla="*/ 806 w 10785"/>
                <a:gd name="connsiteY2552" fmla="*/ 8778 h 10000"/>
                <a:gd name="connsiteX2553" fmla="*/ 820 w 10785"/>
                <a:gd name="connsiteY2553" fmla="*/ 8778 h 10000"/>
                <a:gd name="connsiteX2554" fmla="*/ 806 w 10785"/>
                <a:gd name="connsiteY2554" fmla="*/ 8880 h 10000"/>
                <a:gd name="connsiteX2555" fmla="*/ 797 w 10785"/>
                <a:gd name="connsiteY2555" fmla="*/ 8880 h 10000"/>
                <a:gd name="connsiteX2556" fmla="*/ 783 w 10785"/>
                <a:gd name="connsiteY2556" fmla="*/ 8872 h 10000"/>
                <a:gd name="connsiteX2557" fmla="*/ 770 w 10785"/>
                <a:gd name="connsiteY2557" fmla="*/ 8880 h 10000"/>
                <a:gd name="connsiteX2558" fmla="*/ 756 w 10785"/>
                <a:gd name="connsiteY2558" fmla="*/ 8855 h 10000"/>
                <a:gd name="connsiteX2559" fmla="*/ 733 w 10785"/>
                <a:gd name="connsiteY2559" fmla="*/ 8906 h 10000"/>
                <a:gd name="connsiteX2560" fmla="*/ 714 w 10785"/>
                <a:gd name="connsiteY2560" fmla="*/ 8915 h 10000"/>
                <a:gd name="connsiteX2561" fmla="*/ 710 w 10785"/>
                <a:gd name="connsiteY2561" fmla="*/ 8940 h 10000"/>
                <a:gd name="connsiteX2562" fmla="*/ 710 w 10785"/>
                <a:gd name="connsiteY2562" fmla="*/ 9009 h 10000"/>
                <a:gd name="connsiteX2563" fmla="*/ 728 w 10785"/>
                <a:gd name="connsiteY2563" fmla="*/ 8991 h 10000"/>
                <a:gd name="connsiteX2564" fmla="*/ 733 w 10785"/>
                <a:gd name="connsiteY2564" fmla="*/ 8991 h 10000"/>
                <a:gd name="connsiteX2565" fmla="*/ 747 w 10785"/>
                <a:gd name="connsiteY2565" fmla="*/ 8983 h 10000"/>
                <a:gd name="connsiteX2566" fmla="*/ 760 w 10785"/>
                <a:gd name="connsiteY2566" fmla="*/ 8983 h 10000"/>
                <a:gd name="connsiteX2567" fmla="*/ 770 w 10785"/>
                <a:gd name="connsiteY2567" fmla="*/ 8983 h 10000"/>
                <a:gd name="connsiteX2568" fmla="*/ 770 w 10785"/>
                <a:gd name="connsiteY2568" fmla="*/ 8991 h 10000"/>
                <a:gd name="connsiteX2569" fmla="*/ 783 w 10785"/>
                <a:gd name="connsiteY2569" fmla="*/ 8991 h 10000"/>
                <a:gd name="connsiteX2570" fmla="*/ 783 w 10785"/>
                <a:gd name="connsiteY2570" fmla="*/ 9009 h 10000"/>
                <a:gd name="connsiteX2571" fmla="*/ 783 w 10785"/>
                <a:gd name="connsiteY2571" fmla="*/ 9017 h 10000"/>
                <a:gd name="connsiteX2572" fmla="*/ 770 w 10785"/>
                <a:gd name="connsiteY2572" fmla="*/ 9017 h 10000"/>
                <a:gd name="connsiteX2573" fmla="*/ 724 w 10785"/>
                <a:gd name="connsiteY2573" fmla="*/ 9051 h 10000"/>
                <a:gd name="connsiteX2574" fmla="*/ 724 w 10785"/>
                <a:gd name="connsiteY2574" fmla="*/ 9068 h 10000"/>
                <a:gd name="connsiteX2575" fmla="*/ 728 w 10785"/>
                <a:gd name="connsiteY2575" fmla="*/ 9077 h 10000"/>
                <a:gd name="connsiteX2576" fmla="*/ 724 w 10785"/>
                <a:gd name="connsiteY2576" fmla="*/ 9077 h 10000"/>
                <a:gd name="connsiteX2577" fmla="*/ 710 w 10785"/>
                <a:gd name="connsiteY2577" fmla="*/ 9077 h 10000"/>
                <a:gd name="connsiteX2578" fmla="*/ 682 w 10785"/>
                <a:gd name="connsiteY2578" fmla="*/ 9077 h 10000"/>
                <a:gd name="connsiteX2579" fmla="*/ 673 w 10785"/>
                <a:gd name="connsiteY2579" fmla="*/ 9103 h 10000"/>
                <a:gd name="connsiteX2580" fmla="*/ 687 w 10785"/>
                <a:gd name="connsiteY2580" fmla="*/ 9128 h 10000"/>
                <a:gd name="connsiteX2581" fmla="*/ 700 w 10785"/>
                <a:gd name="connsiteY2581" fmla="*/ 9128 h 10000"/>
                <a:gd name="connsiteX2582" fmla="*/ 728 w 10785"/>
                <a:gd name="connsiteY2582" fmla="*/ 9179 h 10000"/>
                <a:gd name="connsiteX2583" fmla="*/ 724 w 10785"/>
                <a:gd name="connsiteY2583" fmla="*/ 9188 h 10000"/>
                <a:gd name="connsiteX2584" fmla="*/ 710 w 10785"/>
                <a:gd name="connsiteY2584" fmla="*/ 9179 h 10000"/>
                <a:gd name="connsiteX2585" fmla="*/ 700 w 10785"/>
                <a:gd name="connsiteY2585" fmla="*/ 9205 h 10000"/>
                <a:gd name="connsiteX2586" fmla="*/ 696 w 10785"/>
                <a:gd name="connsiteY2586" fmla="*/ 9205 h 10000"/>
                <a:gd name="connsiteX2587" fmla="*/ 654 w 10785"/>
                <a:gd name="connsiteY2587" fmla="*/ 9299 h 10000"/>
                <a:gd name="connsiteX2588" fmla="*/ 622 w 10785"/>
                <a:gd name="connsiteY2588" fmla="*/ 9299 h 10000"/>
                <a:gd name="connsiteX2589" fmla="*/ 613 w 10785"/>
                <a:gd name="connsiteY2589" fmla="*/ 9316 h 10000"/>
                <a:gd name="connsiteX2590" fmla="*/ 613 w 10785"/>
                <a:gd name="connsiteY2590" fmla="*/ 9325 h 10000"/>
                <a:gd name="connsiteX2591" fmla="*/ 608 w 10785"/>
                <a:gd name="connsiteY2591" fmla="*/ 9342 h 10000"/>
                <a:gd name="connsiteX2592" fmla="*/ 636 w 10785"/>
                <a:gd name="connsiteY2592" fmla="*/ 9376 h 10000"/>
                <a:gd name="connsiteX2593" fmla="*/ 641 w 10785"/>
                <a:gd name="connsiteY2593" fmla="*/ 9402 h 10000"/>
                <a:gd name="connsiteX2594" fmla="*/ 654 w 10785"/>
                <a:gd name="connsiteY2594" fmla="*/ 9427 h 10000"/>
                <a:gd name="connsiteX2595" fmla="*/ 668 w 10785"/>
                <a:gd name="connsiteY2595" fmla="*/ 9427 h 10000"/>
                <a:gd name="connsiteX2596" fmla="*/ 668 w 10785"/>
                <a:gd name="connsiteY2596" fmla="*/ 9427 h 10000"/>
                <a:gd name="connsiteX2597" fmla="*/ 774 w 10785"/>
                <a:gd name="connsiteY2597" fmla="*/ 9547 h 10000"/>
                <a:gd name="connsiteX2598" fmla="*/ 797 w 10785"/>
                <a:gd name="connsiteY2598" fmla="*/ 9598 h 10000"/>
                <a:gd name="connsiteX2599" fmla="*/ 802 w 10785"/>
                <a:gd name="connsiteY2599" fmla="*/ 9598 h 10000"/>
                <a:gd name="connsiteX2600" fmla="*/ 816 w 10785"/>
                <a:gd name="connsiteY2600" fmla="*/ 9624 h 10000"/>
                <a:gd name="connsiteX2601" fmla="*/ 843 w 10785"/>
                <a:gd name="connsiteY2601" fmla="*/ 9615 h 10000"/>
                <a:gd name="connsiteX2602" fmla="*/ 857 w 10785"/>
                <a:gd name="connsiteY2602" fmla="*/ 9624 h 10000"/>
                <a:gd name="connsiteX2603" fmla="*/ 862 w 10785"/>
                <a:gd name="connsiteY2603" fmla="*/ 9615 h 10000"/>
                <a:gd name="connsiteX2604" fmla="*/ 880 w 10785"/>
                <a:gd name="connsiteY2604" fmla="*/ 9624 h 10000"/>
                <a:gd name="connsiteX2605" fmla="*/ 889 w 10785"/>
                <a:gd name="connsiteY2605" fmla="*/ 9641 h 10000"/>
                <a:gd name="connsiteX2606" fmla="*/ 935 w 10785"/>
                <a:gd name="connsiteY2606" fmla="*/ 9675 h 10000"/>
                <a:gd name="connsiteX2607" fmla="*/ 977 w 10785"/>
                <a:gd name="connsiteY2607" fmla="*/ 9667 h 10000"/>
                <a:gd name="connsiteX2608" fmla="*/ 995 w 10785"/>
                <a:gd name="connsiteY2608" fmla="*/ 9675 h 10000"/>
                <a:gd name="connsiteX2609" fmla="*/ 1014 w 10785"/>
                <a:gd name="connsiteY2609" fmla="*/ 9675 h 10000"/>
                <a:gd name="connsiteX2610" fmla="*/ 1069 w 10785"/>
                <a:gd name="connsiteY2610" fmla="*/ 9752 h 10000"/>
                <a:gd name="connsiteX2611" fmla="*/ 1074 w 10785"/>
                <a:gd name="connsiteY2611" fmla="*/ 9761 h 10000"/>
                <a:gd name="connsiteX2612" fmla="*/ 1083 w 10785"/>
                <a:gd name="connsiteY2612" fmla="*/ 9778 h 10000"/>
                <a:gd name="connsiteX2613" fmla="*/ 1115 w 10785"/>
                <a:gd name="connsiteY2613" fmla="*/ 9752 h 10000"/>
                <a:gd name="connsiteX2614" fmla="*/ 1129 w 10785"/>
                <a:gd name="connsiteY2614" fmla="*/ 9752 h 10000"/>
                <a:gd name="connsiteX2615" fmla="*/ 1138 w 10785"/>
                <a:gd name="connsiteY2615" fmla="*/ 9761 h 10000"/>
                <a:gd name="connsiteX2616" fmla="*/ 1143 w 10785"/>
                <a:gd name="connsiteY2616" fmla="*/ 9752 h 10000"/>
                <a:gd name="connsiteX2617" fmla="*/ 1161 w 10785"/>
                <a:gd name="connsiteY2617" fmla="*/ 9761 h 10000"/>
                <a:gd name="connsiteX2618" fmla="*/ 1171 w 10785"/>
                <a:gd name="connsiteY2618" fmla="*/ 9778 h 10000"/>
                <a:gd name="connsiteX2619" fmla="*/ 1175 w 10785"/>
                <a:gd name="connsiteY2619" fmla="*/ 9778 h 10000"/>
                <a:gd name="connsiteX2620" fmla="*/ 1189 w 10785"/>
                <a:gd name="connsiteY2620" fmla="*/ 9778 h 10000"/>
                <a:gd name="connsiteX2621" fmla="*/ 1198 w 10785"/>
                <a:gd name="connsiteY2621" fmla="*/ 9786 h 10000"/>
                <a:gd name="connsiteX2622" fmla="*/ 1203 w 10785"/>
                <a:gd name="connsiteY2622" fmla="*/ 9803 h 10000"/>
                <a:gd name="connsiteX2623" fmla="*/ 1198 w 10785"/>
                <a:gd name="connsiteY2623" fmla="*/ 9838 h 10000"/>
                <a:gd name="connsiteX2624" fmla="*/ 1212 w 10785"/>
                <a:gd name="connsiteY2624" fmla="*/ 9863 h 10000"/>
                <a:gd name="connsiteX2625" fmla="*/ 1230 w 10785"/>
                <a:gd name="connsiteY2625" fmla="*/ 9872 h 10000"/>
                <a:gd name="connsiteX2626" fmla="*/ 1249 w 10785"/>
                <a:gd name="connsiteY2626" fmla="*/ 9897 h 10000"/>
                <a:gd name="connsiteX2627" fmla="*/ 1263 w 10785"/>
                <a:gd name="connsiteY2627" fmla="*/ 9897 h 10000"/>
                <a:gd name="connsiteX2628" fmla="*/ 1276 w 10785"/>
                <a:gd name="connsiteY2628" fmla="*/ 9923 h 10000"/>
                <a:gd name="connsiteX2629" fmla="*/ 1281 w 10785"/>
                <a:gd name="connsiteY2629" fmla="*/ 9949 h 10000"/>
                <a:gd name="connsiteX2630" fmla="*/ 1290 w 10785"/>
                <a:gd name="connsiteY2630" fmla="*/ 9949 h 10000"/>
                <a:gd name="connsiteX2631" fmla="*/ 1295 w 10785"/>
                <a:gd name="connsiteY2631" fmla="*/ 10000 h 10000"/>
                <a:gd name="connsiteX2632" fmla="*/ 1332 w 10785"/>
                <a:gd name="connsiteY2632" fmla="*/ 10000 h 10000"/>
                <a:gd name="connsiteX2633" fmla="*/ 1336 w 10785"/>
                <a:gd name="connsiteY2633" fmla="*/ 10000 h 10000"/>
                <a:gd name="connsiteX2634" fmla="*/ 1346 w 10785"/>
                <a:gd name="connsiteY2634" fmla="*/ 9983 h 10000"/>
                <a:gd name="connsiteX2635" fmla="*/ 1350 w 10785"/>
                <a:gd name="connsiteY2635" fmla="*/ 9949 h 10000"/>
                <a:gd name="connsiteX2636" fmla="*/ 1369 w 10785"/>
                <a:gd name="connsiteY2636" fmla="*/ 9940 h 10000"/>
                <a:gd name="connsiteX2637" fmla="*/ 1378 w 10785"/>
                <a:gd name="connsiteY2637" fmla="*/ 9897 h 10000"/>
                <a:gd name="connsiteX2638" fmla="*/ 1369 w 10785"/>
                <a:gd name="connsiteY2638" fmla="*/ 9889 h 10000"/>
                <a:gd name="connsiteX2639" fmla="*/ 1318 w 10785"/>
                <a:gd name="connsiteY2639" fmla="*/ 9701 h 10000"/>
                <a:gd name="connsiteX2640" fmla="*/ 1318 w 10785"/>
                <a:gd name="connsiteY2640" fmla="*/ 9650 h 10000"/>
                <a:gd name="connsiteX2641" fmla="*/ 1323 w 10785"/>
                <a:gd name="connsiteY2641" fmla="*/ 9590 h 10000"/>
                <a:gd name="connsiteX2642" fmla="*/ 1323 w 10785"/>
                <a:gd name="connsiteY2642" fmla="*/ 9564 h 10000"/>
                <a:gd name="connsiteX2643" fmla="*/ 1309 w 10785"/>
                <a:gd name="connsiteY2643" fmla="*/ 9598 h 10000"/>
                <a:gd name="connsiteX2644" fmla="*/ 1309 w 10785"/>
                <a:gd name="connsiteY2644" fmla="*/ 9590 h 10000"/>
                <a:gd name="connsiteX2645" fmla="*/ 1304 w 10785"/>
                <a:gd name="connsiteY2645" fmla="*/ 9547 h 10000"/>
                <a:gd name="connsiteX2646" fmla="*/ 1276 w 10785"/>
                <a:gd name="connsiteY2646" fmla="*/ 9479 h 10000"/>
                <a:gd name="connsiteX2647" fmla="*/ 1263 w 10785"/>
                <a:gd name="connsiteY2647" fmla="*/ 9479 h 10000"/>
                <a:gd name="connsiteX2648" fmla="*/ 1263 w 10785"/>
                <a:gd name="connsiteY2648" fmla="*/ 9453 h 10000"/>
                <a:gd name="connsiteX2649" fmla="*/ 1272 w 10785"/>
                <a:gd name="connsiteY2649" fmla="*/ 9410 h 10000"/>
                <a:gd name="connsiteX2650" fmla="*/ 1272 w 10785"/>
                <a:gd name="connsiteY2650" fmla="*/ 9393 h 10000"/>
                <a:gd name="connsiteX2651" fmla="*/ 1281 w 10785"/>
                <a:gd name="connsiteY2651" fmla="*/ 9368 h 10000"/>
                <a:gd name="connsiteX2652" fmla="*/ 1281 w 10785"/>
                <a:gd name="connsiteY2652" fmla="*/ 9368 h 10000"/>
                <a:gd name="connsiteX2653" fmla="*/ 1290 w 10785"/>
                <a:gd name="connsiteY2653" fmla="*/ 9368 h 10000"/>
                <a:gd name="connsiteX2654" fmla="*/ 1290 w 10785"/>
                <a:gd name="connsiteY2654" fmla="*/ 9342 h 10000"/>
                <a:gd name="connsiteX2655" fmla="*/ 1304 w 10785"/>
                <a:gd name="connsiteY2655" fmla="*/ 9325 h 10000"/>
                <a:gd name="connsiteX2656" fmla="*/ 1309 w 10785"/>
                <a:gd name="connsiteY2656" fmla="*/ 9239 h 10000"/>
                <a:gd name="connsiteX2657" fmla="*/ 1318 w 10785"/>
                <a:gd name="connsiteY2657" fmla="*/ 9256 h 10000"/>
                <a:gd name="connsiteX2658" fmla="*/ 1323 w 10785"/>
                <a:gd name="connsiteY2658" fmla="*/ 9179 h 10000"/>
                <a:gd name="connsiteX2659" fmla="*/ 1309 w 10785"/>
                <a:gd name="connsiteY2659" fmla="*/ 9145 h 10000"/>
                <a:gd name="connsiteX2660" fmla="*/ 1336 w 10785"/>
                <a:gd name="connsiteY2660" fmla="*/ 9154 h 10000"/>
                <a:gd name="connsiteX2661" fmla="*/ 1336 w 10785"/>
                <a:gd name="connsiteY2661" fmla="*/ 9162 h 10000"/>
                <a:gd name="connsiteX2662" fmla="*/ 1350 w 10785"/>
                <a:gd name="connsiteY2662" fmla="*/ 9231 h 10000"/>
                <a:gd name="connsiteX2663" fmla="*/ 1355 w 10785"/>
                <a:gd name="connsiteY2663" fmla="*/ 9231 h 10000"/>
                <a:gd name="connsiteX2664" fmla="*/ 1364 w 10785"/>
                <a:gd name="connsiteY2664" fmla="*/ 9214 h 10000"/>
                <a:gd name="connsiteX2665" fmla="*/ 1369 w 10785"/>
                <a:gd name="connsiteY2665" fmla="*/ 9214 h 10000"/>
                <a:gd name="connsiteX2666" fmla="*/ 1382 w 10785"/>
                <a:gd name="connsiteY2666" fmla="*/ 9154 h 10000"/>
                <a:gd name="connsiteX2667" fmla="*/ 1396 w 10785"/>
                <a:gd name="connsiteY2667" fmla="*/ 9154 h 10000"/>
                <a:gd name="connsiteX2668" fmla="*/ 1382 w 10785"/>
                <a:gd name="connsiteY2668" fmla="*/ 9145 h 10000"/>
                <a:gd name="connsiteX2669" fmla="*/ 1382 w 10785"/>
                <a:gd name="connsiteY2669" fmla="*/ 9128 h 10000"/>
                <a:gd name="connsiteX2670" fmla="*/ 1369 w 10785"/>
                <a:gd name="connsiteY2670" fmla="*/ 9128 h 10000"/>
                <a:gd name="connsiteX2671" fmla="*/ 1364 w 10785"/>
                <a:gd name="connsiteY2671" fmla="*/ 9128 h 10000"/>
                <a:gd name="connsiteX2672" fmla="*/ 1355 w 10785"/>
                <a:gd name="connsiteY2672" fmla="*/ 9120 h 10000"/>
                <a:gd name="connsiteX2673" fmla="*/ 1350 w 10785"/>
                <a:gd name="connsiteY2673" fmla="*/ 9103 h 10000"/>
                <a:gd name="connsiteX2674" fmla="*/ 1355 w 10785"/>
                <a:gd name="connsiteY2674" fmla="*/ 9094 h 10000"/>
                <a:gd name="connsiteX2675" fmla="*/ 1355 w 10785"/>
                <a:gd name="connsiteY2675" fmla="*/ 9068 h 10000"/>
                <a:gd name="connsiteX2676" fmla="*/ 1369 w 10785"/>
                <a:gd name="connsiteY2676" fmla="*/ 9068 h 10000"/>
                <a:gd name="connsiteX2677" fmla="*/ 1378 w 10785"/>
                <a:gd name="connsiteY2677" fmla="*/ 9077 h 10000"/>
                <a:gd name="connsiteX2678" fmla="*/ 1396 w 10785"/>
                <a:gd name="connsiteY2678" fmla="*/ 9068 h 10000"/>
                <a:gd name="connsiteX2679" fmla="*/ 1382 w 10785"/>
                <a:gd name="connsiteY2679" fmla="*/ 8940 h 10000"/>
                <a:gd name="connsiteX2680" fmla="*/ 1378 w 10785"/>
                <a:gd name="connsiteY2680" fmla="*/ 8940 h 10000"/>
                <a:gd name="connsiteX2681" fmla="*/ 1364 w 10785"/>
                <a:gd name="connsiteY2681" fmla="*/ 8889 h 10000"/>
                <a:gd name="connsiteX2682" fmla="*/ 1355 w 10785"/>
                <a:gd name="connsiteY2682" fmla="*/ 8880 h 10000"/>
                <a:gd name="connsiteX2683" fmla="*/ 1323 w 10785"/>
                <a:gd name="connsiteY2683" fmla="*/ 8880 h 10000"/>
                <a:gd name="connsiteX2684" fmla="*/ 1309 w 10785"/>
                <a:gd name="connsiteY2684" fmla="*/ 8880 h 10000"/>
                <a:gd name="connsiteX2685" fmla="*/ 1309 w 10785"/>
                <a:gd name="connsiteY2685" fmla="*/ 8889 h 10000"/>
                <a:gd name="connsiteX2686" fmla="*/ 1295 w 10785"/>
                <a:gd name="connsiteY2686" fmla="*/ 8872 h 10000"/>
                <a:gd name="connsiteX2687" fmla="*/ 1290 w 10785"/>
                <a:gd name="connsiteY2687" fmla="*/ 8855 h 10000"/>
                <a:gd name="connsiteX2688" fmla="*/ 1290 w 10785"/>
                <a:gd name="connsiteY2688" fmla="*/ 8829 h 10000"/>
                <a:gd name="connsiteX2689" fmla="*/ 1290 w 10785"/>
                <a:gd name="connsiteY2689" fmla="*/ 8821 h 10000"/>
                <a:gd name="connsiteX2690" fmla="*/ 1290 w 10785"/>
                <a:gd name="connsiteY2690" fmla="*/ 8803 h 10000"/>
                <a:gd name="connsiteX2691" fmla="*/ 1281 w 10785"/>
                <a:gd name="connsiteY2691" fmla="*/ 8795 h 10000"/>
                <a:gd name="connsiteX2692" fmla="*/ 1249 w 10785"/>
                <a:gd name="connsiteY2692" fmla="*/ 8769 h 10000"/>
                <a:gd name="connsiteX2693" fmla="*/ 1263 w 10785"/>
                <a:gd name="connsiteY2693" fmla="*/ 8667 h 10000"/>
                <a:gd name="connsiteX2694" fmla="*/ 1281 w 10785"/>
                <a:gd name="connsiteY2694" fmla="*/ 8658 h 10000"/>
                <a:gd name="connsiteX2695" fmla="*/ 1290 w 10785"/>
                <a:gd name="connsiteY2695" fmla="*/ 8632 h 10000"/>
                <a:gd name="connsiteX2696" fmla="*/ 1281 w 10785"/>
                <a:gd name="connsiteY2696" fmla="*/ 8615 h 10000"/>
                <a:gd name="connsiteX2697" fmla="*/ 1272 w 10785"/>
                <a:gd name="connsiteY2697" fmla="*/ 8598 h 10000"/>
                <a:gd name="connsiteX2698" fmla="*/ 1281 w 10785"/>
                <a:gd name="connsiteY2698" fmla="*/ 8496 h 10000"/>
                <a:gd name="connsiteX2699" fmla="*/ 1295 w 10785"/>
                <a:gd name="connsiteY2699" fmla="*/ 8470 h 10000"/>
                <a:gd name="connsiteX2700" fmla="*/ 1304 w 10785"/>
                <a:gd name="connsiteY2700" fmla="*/ 8462 h 10000"/>
                <a:gd name="connsiteX2701" fmla="*/ 1304 w 10785"/>
                <a:gd name="connsiteY2701" fmla="*/ 8444 h 10000"/>
                <a:gd name="connsiteX2702" fmla="*/ 1304 w 10785"/>
                <a:gd name="connsiteY2702" fmla="*/ 8419 h 10000"/>
                <a:gd name="connsiteX2703" fmla="*/ 1304 w 10785"/>
                <a:gd name="connsiteY2703" fmla="*/ 8410 h 10000"/>
                <a:gd name="connsiteX2704" fmla="*/ 1309 w 10785"/>
                <a:gd name="connsiteY2704" fmla="*/ 8393 h 10000"/>
                <a:gd name="connsiteX2705" fmla="*/ 1318 w 10785"/>
                <a:gd name="connsiteY2705" fmla="*/ 8385 h 10000"/>
                <a:gd name="connsiteX2706" fmla="*/ 1323 w 10785"/>
                <a:gd name="connsiteY2706" fmla="*/ 8385 h 10000"/>
                <a:gd name="connsiteX2707" fmla="*/ 1332 w 10785"/>
                <a:gd name="connsiteY2707" fmla="*/ 8410 h 10000"/>
                <a:gd name="connsiteX2708" fmla="*/ 1346 w 10785"/>
                <a:gd name="connsiteY2708" fmla="*/ 8419 h 10000"/>
                <a:gd name="connsiteX2709" fmla="*/ 1364 w 10785"/>
                <a:gd name="connsiteY2709" fmla="*/ 8504 h 10000"/>
                <a:gd name="connsiteX2710" fmla="*/ 1369 w 10785"/>
                <a:gd name="connsiteY2710" fmla="*/ 8521 h 10000"/>
                <a:gd name="connsiteX2711" fmla="*/ 1406 w 10785"/>
                <a:gd name="connsiteY2711" fmla="*/ 8470 h 10000"/>
                <a:gd name="connsiteX2712" fmla="*/ 1382 w 10785"/>
                <a:gd name="connsiteY2712" fmla="*/ 8359 h 10000"/>
                <a:gd name="connsiteX2713" fmla="*/ 1392 w 10785"/>
                <a:gd name="connsiteY2713" fmla="*/ 8359 h 10000"/>
                <a:gd name="connsiteX2714" fmla="*/ 1438 w 10785"/>
                <a:gd name="connsiteY2714" fmla="*/ 8308 h 10000"/>
                <a:gd name="connsiteX2715" fmla="*/ 1442 w 10785"/>
                <a:gd name="connsiteY2715" fmla="*/ 8299 h 10000"/>
                <a:gd name="connsiteX2716" fmla="*/ 1442 w 10785"/>
                <a:gd name="connsiteY2716" fmla="*/ 8256 h 10000"/>
                <a:gd name="connsiteX2717" fmla="*/ 1452 w 10785"/>
                <a:gd name="connsiteY2717" fmla="*/ 8256 h 10000"/>
                <a:gd name="connsiteX2718" fmla="*/ 1456 w 10785"/>
                <a:gd name="connsiteY2718" fmla="*/ 8256 h 10000"/>
                <a:gd name="connsiteX2719" fmla="*/ 1470 w 10785"/>
                <a:gd name="connsiteY2719" fmla="*/ 8248 h 10000"/>
                <a:gd name="connsiteX2720" fmla="*/ 1479 w 10785"/>
                <a:gd name="connsiteY2720" fmla="*/ 8231 h 10000"/>
                <a:gd name="connsiteX2721" fmla="*/ 1493 w 10785"/>
                <a:gd name="connsiteY2721" fmla="*/ 8222 h 10000"/>
                <a:gd name="connsiteX2722" fmla="*/ 1498 w 10785"/>
                <a:gd name="connsiteY2722" fmla="*/ 8214 h 10000"/>
                <a:gd name="connsiteX2723" fmla="*/ 1502 w 10785"/>
                <a:gd name="connsiteY2723" fmla="*/ 8197 h 10000"/>
                <a:gd name="connsiteX2724" fmla="*/ 1512 w 10785"/>
                <a:gd name="connsiteY2724" fmla="*/ 8188 h 10000"/>
                <a:gd name="connsiteX2725" fmla="*/ 1516 w 10785"/>
                <a:gd name="connsiteY2725" fmla="*/ 8171 h 10000"/>
                <a:gd name="connsiteX2726" fmla="*/ 1525 w 10785"/>
                <a:gd name="connsiteY2726" fmla="*/ 8162 h 10000"/>
                <a:gd name="connsiteX2727" fmla="*/ 1539 w 10785"/>
                <a:gd name="connsiteY2727" fmla="*/ 8145 h 10000"/>
                <a:gd name="connsiteX2728" fmla="*/ 1558 w 10785"/>
                <a:gd name="connsiteY2728" fmla="*/ 8145 h 10000"/>
                <a:gd name="connsiteX2729" fmla="*/ 1562 w 10785"/>
                <a:gd name="connsiteY2729" fmla="*/ 8188 h 10000"/>
                <a:gd name="connsiteX2730" fmla="*/ 1585 w 10785"/>
                <a:gd name="connsiteY2730" fmla="*/ 8171 h 10000"/>
                <a:gd name="connsiteX2731" fmla="*/ 1590 w 10785"/>
                <a:gd name="connsiteY2731" fmla="*/ 8188 h 10000"/>
                <a:gd name="connsiteX2732" fmla="*/ 1599 w 10785"/>
                <a:gd name="connsiteY2732" fmla="*/ 8171 h 10000"/>
                <a:gd name="connsiteX2733" fmla="*/ 1599 w 10785"/>
                <a:gd name="connsiteY2733" fmla="*/ 8162 h 10000"/>
                <a:gd name="connsiteX2734" fmla="*/ 1604 w 10785"/>
                <a:gd name="connsiteY2734" fmla="*/ 8137 h 10000"/>
                <a:gd name="connsiteX2735" fmla="*/ 1618 w 10785"/>
                <a:gd name="connsiteY2735" fmla="*/ 8145 h 10000"/>
                <a:gd name="connsiteX2736" fmla="*/ 1627 w 10785"/>
                <a:gd name="connsiteY2736" fmla="*/ 8137 h 10000"/>
                <a:gd name="connsiteX2737" fmla="*/ 1631 w 10785"/>
                <a:gd name="connsiteY2737" fmla="*/ 8137 h 10000"/>
                <a:gd name="connsiteX2738" fmla="*/ 1636 w 10785"/>
                <a:gd name="connsiteY2738" fmla="*/ 8171 h 10000"/>
                <a:gd name="connsiteX2739" fmla="*/ 1645 w 10785"/>
                <a:gd name="connsiteY2739" fmla="*/ 8188 h 10000"/>
                <a:gd name="connsiteX2740" fmla="*/ 1664 w 10785"/>
                <a:gd name="connsiteY2740" fmla="*/ 8171 h 10000"/>
                <a:gd name="connsiteX2741" fmla="*/ 1673 w 10785"/>
                <a:gd name="connsiteY2741" fmla="*/ 8188 h 10000"/>
                <a:gd name="connsiteX2742" fmla="*/ 1691 w 10785"/>
                <a:gd name="connsiteY2742" fmla="*/ 8171 h 10000"/>
                <a:gd name="connsiteX2743" fmla="*/ 1705 w 10785"/>
                <a:gd name="connsiteY2743" fmla="*/ 8171 h 10000"/>
                <a:gd name="connsiteX2744" fmla="*/ 1719 w 10785"/>
                <a:gd name="connsiteY2744" fmla="*/ 8197 h 10000"/>
                <a:gd name="connsiteX2745" fmla="*/ 1724 w 10785"/>
                <a:gd name="connsiteY2745" fmla="*/ 8231 h 10000"/>
                <a:gd name="connsiteX2746" fmla="*/ 1751 w 10785"/>
                <a:gd name="connsiteY2746" fmla="*/ 8256 h 10000"/>
                <a:gd name="connsiteX2747" fmla="*/ 1751 w 10785"/>
                <a:gd name="connsiteY2747" fmla="*/ 8274 h 10000"/>
                <a:gd name="connsiteX2748" fmla="*/ 1760 w 10785"/>
                <a:gd name="connsiteY2748" fmla="*/ 8282 h 10000"/>
                <a:gd name="connsiteX2749" fmla="*/ 1770 w 10785"/>
                <a:gd name="connsiteY2749" fmla="*/ 8325 h 10000"/>
                <a:gd name="connsiteX2750" fmla="*/ 1770 w 10785"/>
                <a:gd name="connsiteY2750" fmla="*/ 8350 h 10000"/>
                <a:gd name="connsiteX2751" fmla="*/ 1779 w 10785"/>
                <a:gd name="connsiteY2751" fmla="*/ 8368 h 10000"/>
                <a:gd name="connsiteX2752" fmla="*/ 1783 w 10785"/>
                <a:gd name="connsiteY2752" fmla="*/ 8359 h 10000"/>
                <a:gd name="connsiteX2753" fmla="*/ 1783 w 10785"/>
                <a:gd name="connsiteY2753" fmla="*/ 8308 h 10000"/>
                <a:gd name="connsiteX2754" fmla="*/ 1779 w 10785"/>
                <a:gd name="connsiteY2754" fmla="*/ 8299 h 10000"/>
                <a:gd name="connsiteX2755" fmla="*/ 1783 w 10785"/>
                <a:gd name="connsiteY2755" fmla="*/ 8282 h 10000"/>
                <a:gd name="connsiteX2756" fmla="*/ 1797 w 10785"/>
                <a:gd name="connsiteY2756" fmla="*/ 8274 h 10000"/>
                <a:gd name="connsiteX2757" fmla="*/ 1797 w 10785"/>
                <a:gd name="connsiteY2757" fmla="*/ 8299 h 10000"/>
                <a:gd name="connsiteX2758" fmla="*/ 1806 w 10785"/>
                <a:gd name="connsiteY2758" fmla="*/ 8308 h 10000"/>
                <a:gd name="connsiteX2759" fmla="*/ 1811 w 10785"/>
                <a:gd name="connsiteY2759" fmla="*/ 8325 h 10000"/>
                <a:gd name="connsiteX2760" fmla="*/ 1820 w 10785"/>
                <a:gd name="connsiteY2760" fmla="*/ 8333 h 10000"/>
                <a:gd name="connsiteX2761" fmla="*/ 1853 w 10785"/>
                <a:gd name="connsiteY2761" fmla="*/ 8359 h 10000"/>
                <a:gd name="connsiteX2762" fmla="*/ 1866 w 10785"/>
                <a:gd name="connsiteY2762" fmla="*/ 8359 h 10000"/>
                <a:gd name="connsiteX2763" fmla="*/ 1885 w 10785"/>
                <a:gd name="connsiteY2763" fmla="*/ 8325 h 10000"/>
                <a:gd name="connsiteX2764" fmla="*/ 1885 w 10785"/>
                <a:gd name="connsiteY2764" fmla="*/ 8308 h 10000"/>
                <a:gd name="connsiteX2765" fmla="*/ 1894 w 10785"/>
                <a:gd name="connsiteY2765" fmla="*/ 8299 h 10000"/>
                <a:gd name="connsiteX2766" fmla="*/ 1899 w 10785"/>
                <a:gd name="connsiteY2766" fmla="*/ 8282 h 10000"/>
                <a:gd name="connsiteX2767" fmla="*/ 1912 w 10785"/>
                <a:gd name="connsiteY2767" fmla="*/ 8282 h 10000"/>
                <a:gd name="connsiteX2768" fmla="*/ 1917 w 10785"/>
                <a:gd name="connsiteY2768" fmla="*/ 8299 h 10000"/>
                <a:gd name="connsiteX2769" fmla="*/ 1917 w 10785"/>
                <a:gd name="connsiteY2769" fmla="*/ 8274 h 10000"/>
                <a:gd name="connsiteX2770" fmla="*/ 1940 w 10785"/>
                <a:gd name="connsiteY2770" fmla="*/ 8282 h 10000"/>
                <a:gd name="connsiteX2771" fmla="*/ 1945 w 10785"/>
                <a:gd name="connsiteY2771" fmla="*/ 8274 h 10000"/>
                <a:gd name="connsiteX2772" fmla="*/ 1972 w 10785"/>
                <a:gd name="connsiteY2772" fmla="*/ 8308 h 10000"/>
                <a:gd name="connsiteX2773" fmla="*/ 1986 w 10785"/>
                <a:gd name="connsiteY2773" fmla="*/ 8282 h 10000"/>
                <a:gd name="connsiteX2774" fmla="*/ 1991 w 10785"/>
                <a:gd name="connsiteY2774" fmla="*/ 8274 h 10000"/>
                <a:gd name="connsiteX2775" fmla="*/ 2014 w 10785"/>
                <a:gd name="connsiteY2775" fmla="*/ 8274 h 10000"/>
                <a:gd name="connsiteX2776" fmla="*/ 2018 w 10785"/>
                <a:gd name="connsiteY2776" fmla="*/ 8256 h 10000"/>
                <a:gd name="connsiteX2777" fmla="*/ 2041 w 10785"/>
                <a:gd name="connsiteY2777" fmla="*/ 8274 h 10000"/>
                <a:gd name="connsiteX2778" fmla="*/ 2046 w 10785"/>
                <a:gd name="connsiteY2778" fmla="*/ 8282 h 10000"/>
                <a:gd name="connsiteX2779" fmla="*/ 2046 w 10785"/>
                <a:gd name="connsiteY2779" fmla="*/ 8325 h 10000"/>
                <a:gd name="connsiteX2780" fmla="*/ 2060 w 10785"/>
                <a:gd name="connsiteY2780" fmla="*/ 8350 h 10000"/>
                <a:gd name="connsiteX2781" fmla="*/ 2078 w 10785"/>
                <a:gd name="connsiteY2781" fmla="*/ 8350 h 10000"/>
                <a:gd name="connsiteX2782" fmla="*/ 2092 w 10785"/>
                <a:gd name="connsiteY2782" fmla="*/ 8350 h 10000"/>
                <a:gd name="connsiteX2783" fmla="*/ 2092 w 10785"/>
                <a:gd name="connsiteY2783" fmla="*/ 8350 h 10000"/>
                <a:gd name="connsiteX2784" fmla="*/ 2101 w 10785"/>
                <a:gd name="connsiteY2784" fmla="*/ 8368 h 10000"/>
                <a:gd name="connsiteX2785" fmla="*/ 2120 w 10785"/>
                <a:gd name="connsiteY2785" fmla="*/ 8368 h 10000"/>
                <a:gd name="connsiteX2786" fmla="*/ 2124 w 10785"/>
                <a:gd name="connsiteY2786" fmla="*/ 8359 h 10000"/>
                <a:gd name="connsiteX2787" fmla="*/ 2138 w 10785"/>
                <a:gd name="connsiteY2787" fmla="*/ 8325 h 10000"/>
                <a:gd name="connsiteX2788" fmla="*/ 2147 w 10785"/>
                <a:gd name="connsiteY2788" fmla="*/ 8325 h 10000"/>
                <a:gd name="connsiteX2789" fmla="*/ 2161 w 10785"/>
                <a:gd name="connsiteY2789" fmla="*/ 8350 h 10000"/>
                <a:gd name="connsiteX2790" fmla="*/ 2198 w 10785"/>
                <a:gd name="connsiteY2790" fmla="*/ 8350 h 10000"/>
                <a:gd name="connsiteX2791" fmla="*/ 2207 w 10785"/>
                <a:gd name="connsiteY2791" fmla="*/ 8333 h 10000"/>
                <a:gd name="connsiteX2792" fmla="*/ 2226 w 10785"/>
                <a:gd name="connsiteY2792" fmla="*/ 8325 h 10000"/>
                <a:gd name="connsiteX2793" fmla="*/ 2249 w 10785"/>
                <a:gd name="connsiteY2793" fmla="*/ 8222 h 10000"/>
                <a:gd name="connsiteX2794" fmla="*/ 2235 w 10785"/>
                <a:gd name="connsiteY2794" fmla="*/ 8197 h 10000"/>
                <a:gd name="connsiteX2795" fmla="*/ 2198 w 10785"/>
                <a:gd name="connsiteY2795" fmla="*/ 8197 h 10000"/>
                <a:gd name="connsiteX2796" fmla="*/ 2189 w 10785"/>
                <a:gd name="connsiteY2796" fmla="*/ 8171 h 10000"/>
                <a:gd name="connsiteX2797" fmla="*/ 2161 w 10785"/>
                <a:gd name="connsiteY2797" fmla="*/ 8145 h 10000"/>
                <a:gd name="connsiteX2798" fmla="*/ 2161 w 10785"/>
                <a:gd name="connsiteY2798" fmla="*/ 8137 h 10000"/>
                <a:gd name="connsiteX2799" fmla="*/ 2152 w 10785"/>
                <a:gd name="connsiteY2799" fmla="*/ 8120 h 10000"/>
                <a:gd name="connsiteX2800" fmla="*/ 2138 w 10785"/>
                <a:gd name="connsiteY2800" fmla="*/ 8111 h 10000"/>
                <a:gd name="connsiteX2801" fmla="*/ 2138 w 10785"/>
                <a:gd name="connsiteY2801" fmla="*/ 8094 h 10000"/>
                <a:gd name="connsiteX2802" fmla="*/ 2147 w 10785"/>
                <a:gd name="connsiteY2802" fmla="*/ 8085 h 10000"/>
                <a:gd name="connsiteX2803" fmla="*/ 2161 w 10785"/>
                <a:gd name="connsiteY2803" fmla="*/ 8060 h 10000"/>
                <a:gd name="connsiteX2804" fmla="*/ 2198 w 10785"/>
                <a:gd name="connsiteY2804" fmla="*/ 8034 h 10000"/>
                <a:gd name="connsiteX2805" fmla="*/ 2198 w 10785"/>
                <a:gd name="connsiteY2805" fmla="*/ 8026 h 10000"/>
                <a:gd name="connsiteX2806" fmla="*/ 2198 w 10785"/>
                <a:gd name="connsiteY2806" fmla="*/ 8000 h 10000"/>
                <a:gd name="connsiteX2807" fmla="*/ 2180 w 10785"/>
                <a:gd name="connsiteY2807" fmla="*/ 7940 h 10000"/>
                <a:gd name="connsiteX2808" fmla="*/ 2189 w 10785"/>
                <a:gd name="connsiteY2808" fmla="*/ 7940 h 10000"/>
                <a:gd name="connsiteX2809" fmla="*/ 2198 w 10785"/>
                <a:gd name="connsiteY2809" fmla="*/ 7923 h 10000"/>
                <a:gd name="connsiteX2810" fmla="*/ 2198 w 10785"/>
                <a:gd name="connsiteY2810" fmla="*/ 7897 h 10000"/>
                <a:gd name="connsiteX2811" fmla="*/ 2207 w 10785"/>
                <a:gd name="connsiteY2811" fmla="*/ 7889 h 10000"/>
                <a:gd name="connsiteX2812" fmla="*/ 2221 w 10785"/>
                <a:gd name="connsiteY2812" fmla="*/ 7889 h 10000"/>
                <a:gd name="connsiteX2813" fmla="*/ 2226 w 10785"/>
                <a:gd name="connsiteY2813" fmla="*/ 7897 h 10000"/>
                <a:gd name="connsiteX2814" fmla="*/ 2235 w 10785"/>
                <a:gd name="connsiteY2814" fmla="*/ 7889 h 10000"/>
                <a:gd name="connsiteX2815" fmla="*/ 2249 w 10785"/>
                <a:gd name="connsiteY2815" fmla="*/ 7897 h 10000"/>
                <a:gd name="connsiteX2816" fmla="*/ 2267 w 10785"/>
                <a:gd name="connsiteY2816" fmla="*/ 7897 h 10000"/>
                <a:gd name="connsiteX2817" fmla="*/ 2272 w 10785"/>
                <a:gd name="connsiteY2817" fmla="*/ 7889 h 10000"/>
                <a:gd name="connsiteX2818" fmla="*/ 2281 w 10785"/>
                <a:gd name="connsiteY2818" fmla="*/ 7872 h 10000"/>
                <a:gd name="connsiteX2819" fmla="*/ 2272 w 10785"/>
                <a:gd name="connsiteY2819" fmla="*/ 7846 h 10000"/>
                <a:gd name="connsiteX2820" fmla="*/ 2253 w 10785"/>
                <a:gd name="connsiteY2820" fmla="*/ 7838 h 10000"/>
                <a:gd name="connsiteX2821" fmla="*/ 2221 w 10785"/>
                <a:gd name="connsiteY2821" fmla="*/ 7821 h 10000"/>
                <a:gd name="connsiteX2822" fmla="*/ 2212 w 10785"/>
                <a:gd name="connsiteY2822" fmla="*/ 7812 h 10000"/>
                <a:gd name="connsiteX2823" fmla="*/ 2212 w 10785"/>
                <a:gd name="connsiteY2823" fmla="*/ 7803 h 10000"/>
                <a:gd name="connsiteX2824" fmla="*/ 2221 w 10785"/>
                <a:gd name="connsiteY2824" fmla="*/ 7803 h 10000"/>
                <a:gd name="connsiteX2825" fmla="*/ 2235 w 10785"/>
                <a:gd name="connsiteY2825" fmla="*/ 7786 h 10000"/>
                <a:gd name="connsiteX2826" fmla="*/ 2240 w 10785"/>
                <a:gd name="connsiteY2826" fmla="*/ 7778 h 10000"/>
                <a:gd name="connsiteX2827" fmla="*/ 2226 w 10785"/>
                <a:gd name="connsiteY2827" fmla="*/ 7761 h 10000"/>
                <a:gd name="connsiteX2828" fmla="*/ 2221 w 10785"/>
                <a:gd name="connsiteY2828" fmla="*/ 7778 h 10000"/>
                <a:gd name="connsiteX2829" fmla="*/ 2198 w 10785"/>
                <a:gd name="connsiteY2829" fmla="*/ 7778 h 10000"/>
                <a:gd name="connsiteX2830" fmla="*/ 2198 w 10785"/>
                <a:gd name="connsiteY2830" fmla="*/ 7752 h 10000"/>
                <a:gd name="connsiteX2831" fmla="*/ 2207 w 10785"/>
                <a:gd name="connsiteY2831" fmla="*/ 7735 h 10000"/>
                <a:gd name="connsiteX2832" fmla="*/ 2212 w 10785"/>
                <a:gd name="connsiteY2832" fmla="*/ 7726 h 10000"/>
                <a:gd name="connsiteX2833" fmla="*/ 2198 w 10785"/>
                <a:gd name="connsiteY2833" fmla="*/ 7692 h 10000"/>
                <a:gd name="connsiteX2834" fmla="*/ 2221 w 10785"/>
                <a:gd name="connsiteY2834" fmla="*/ 7692 h 10000"/>
                <a:gd name="connsiteX2835" fmla="*/ 2221 w 10785"/>
                <a:gd name="connsiteY2835" fmla="*/ 7675 h 10000"/>
                <a:gd name="connsiteX2836" fmla="*/ 2235 w 10785"/>
                <a:gd name="connsiteY2836" fmla="*/ 7675 h 10000"/>
                <a:gd name="connsiteX2837" fmla="*/ 2240 w 10785"/>
                <a:gd name="connsiteY2837" fmla="*/ 7692 h 10000"/>
                <a:gd name="connsiteX2838" fmla="*/ 2249 w 10785"/>
                <a:gd name="connsiteY2838" fmla="*/ 7692 h 10000"/>
                <a:gd name="connsiteX2839" fmla="*/ 2258 w 10785"/>
                <a:gd name="connsiteY2839" fmla="*/ 7692 h 10000"/>
                <a:gd name="connsiteX2840" fmla="*/ 2267 w 10785"/>
                <a:gd name="connsiteY2840" fmla="*/ 7692 h 10000"/>
                <a:gd name="connsiteX2841" fmla="*/ 2295 w 10785"/>
                <a:gd name="connsiteY2841" fmla="*/ 7692 h 10000"/>
                <a:gd name="connsiteX2842" fmla="*/ 2300 w 10785"/>
                <a:gd name="connsiteY2842" fmla="*/ 7701 h 10000"/>
                <a:gd name="connsiteX2843" fmla="*/ 2313 w 10785"/>
                <a:gd name="connsiteY2843" fmla="*/ 7675 h 10000"/>
                <a:gd name="connsiteX2844" fmla="*/ 2323 w 10785"/>
                <a:gd name="connsiteY2844" fmla="*/ 7675 h 10000"/>
                <a:gd name="connsiteX2845" fmla="*/ 2341 w 10785"/>
                <a:gd name="connsiteY2845" fmla="*/ 7675 h 10000"/>
                <a:gd name="connsiteX2846" fmla="*/ 2346 w 10785"/>
                <a:gd name="connsiteY2846" fmla="*/ 7667 h 10000"/>
                <a:gd name="connsiteX2847" fmla="*/ 2359 w 10785"/>
                <a:gd name="connsiteY2847" fmla="*/ 7650 h 10000"/>
                <a:gd name="connsiteX2848" fmla="*/ 2373 w 10785"/>
                <a:gd name="connsiteY2848" fmla="*/ 7624 h 10000"/>
                <a:gd name="connsiteX2849" fmla="*/ 2382 w 10785"/>
                <a:gd name="connsiteY2849" fmla="*/ 7641 h 10000"/>
                <a:gd name="connsiteX2850" fmla="*/ 2396 w 10785"/>
                <a:gd name="connsiteY2850" fmla="*/ 7650 h 10000"/>
                <a:gd name="connsiteX2851" fmla="*/ 2401 w 10785"/>
                <a:gd name="connsiteY2851" fmla="*/ 7650 h 10000"/>
                <a:gd name="connsiteX2852" fmla="*/ 2401 w 10785"/>
                <a:gd name="connsiteY2852" fmla="*/ 7624 h 10000"/>
                <a:gd name="connsiteX2853" fmla="*/ 2419 w 10785"/>
                <a:gd name="connsiteY2853" fmla="*/ 7624 h 10000"/>
                <a:gd name="connsiteX2854" fmla="*/ 2433 w 10785"/>
                <a:gd name="connsiteY2854" fmla="*/ 7615 h 10000"/>
                <a:gd name="connsiteX2855" fmla="*/ 2442 w 10785"/>
                <a:gd name="connsiteY2855" fmla="*/ 7615 h 10000"/>
                <a:gd name="connsiteX2856" fmla="*/ 2447 w 10785"/>
                <a:gd name="connsiteY2856" fmla="*/ 7598 h 10000"/>
                <a:gd name="connsiteX2857" fmla="*/ 2461 w 10785"/>
                <a:gd name="connsiteY2857" fmla="*/ 7598 h 10000"/>
                <a:gd name="connsiteX2858" fmla="*/ 2465 w 10785"/>
                <a:gd name="connsiteY2858" fmla="*/ 7615 h 10000"/>
                <a:gd name="connsiteX2859" fmla="*/ 2479 w 10785"/>
                <a:gd name="connsiteY2859" fmla="*/ 7564 h 10000"/>
                <a:gd name="connsiteX2860" fmla="*/ 2488 w 10785"/>
                <a:gd name="connsiteY2860" fmla="*/ 7556 h 10000"/>
                <a:gd name="connsiteX2861" fmla="*/ 2493 w 10785"/>
                <a:gd name="connsiteY2861" fmla="*/ 7556 h 10000"/>
                <a:gd name="connsiteX2862" fmla="*/ 2507 w 10785"/>
                <a:gd name="connsiteY2862" fmla="*/ 7556 h 10000"/>
                <a:gd name="connsiteX2863" fmla="*/ 2530 w 10785"/>
                <a:gd name="connsiteY2863" fmla="*/ 7538 h 10000"/>
                <a:gd name="connsiteX2864" fmla="*/ 2530 w 10785"/>
                <a:gd name="connsiteY2864" fmla="*/ 7556 h 10000"/>
                <a:gd name="connsiteX2865" fmla="*/ 2641 w 10785"/>
                <a:gd name="connsiteY2865" fmla="*/ 7504 h 10000"/>
                <a:gd name="connsiteX2866" fmla="*/ 2654 w 10785"/>
                <a:gd name="connsiteY2866" fmla="*/ 7487 h 10000"/>
                <a:gd name="connsiteX2867" fmla="*/ 2664 w 10785"/>
                <a:gd name="connsiteY2867" fmla="*/ 7487 h 10000"/>
                <a:gd name="connsiteX2868" fmla="*/ 2668 w 10785"/>
                <a:gd name="connsiteY2868" fmla="*/ 7479 h 10000"/>
                <a:gd name="connsiteX2869" fmla="*/ 2673 w 10785"/>
                <a:gd name="connsiteY2869" fmla="*/ 7462 h 10000"/>
                <a:gd name="connsiteX2870" fmla="*/ 2673 w 10785"/>
                <a:gd name="connsiteY2870" fmla="*/ 7427 h 10000"/>
                <a:gd name="connsiteX2871" fmla="*/ 2687 w 10785"/>
                <a:gd name="connsiteY2871" fmla="*/ 7436 h 10000"/>
                <a:gd name="connsiteX2872" fmla="*/ 2696 w 10785"/>
                <a:gd name="connsiteY2872" fmla="*/ 7427 h 10000"/>
                <a:gd name="connsiteX2873" fmla="*/ 2700 w 10785"/>
                <a:gd name="connsiteY2873" fmla="*/ 7419 h 10000"/>
                <a:gd name="connsiteX2874" fmla="*/ 2710 w 10785"/>
                <a:gd name="connsiteY2874" fmla="*/ 7402 h 10000"/>
                <a:gd name="connsiteX2875" fmla="*/ 2724 w 10785"/>
                <a:gd name="connsiteY2875" fmla="*/ 7402 h 10000"/>
                <a:gd name="connsiteX2876" fmla="*/ 2724 w 10785"/>
                <a:gd name="connsiteY2876" fmla="*/ 7393 h 10000"/>
                <a:gd name="connsiteX2877" fmla="*/ 2737 w 10785"/>
                <a:gd name="connsiteY2877" fmla="*/ 7393 h 10000"/>
                <a:gd name="connsiteX2878" fmla="*/ 2742 w 10785"/>
                <a:gd name="connsiteY2878" fmla="*/ 7402 h 10000"/>
                <a:gd name="connsiteX2879" fmla="*/ 2747 w 10785"/>
                <a:gd name="connsiteY2879" fmla="*/ 7402 h 10000"/>
                <a:gd name="connsiteX2880" fmla="*/ 2760 w 10785"/>
                <a:gd name="connsiteY2880" fmla="*/ 7402 h 10000"/>
                <a:gd name="connsiteX2881" fmla="*/ 2770 w 10785"/>
                <a:gd name="connsiteY2881" fmla="*/ 7402 h 10000"/>
                <a:gd name="connsiteX2882" fmla="*/ 2774 w 10785"/>
                <a:gd name="connsiteY2882" fmla="*/ 7402 h 10000"/>
                <a:gd name="connsiteX2883" fmla="*/ 2783 w 10785"/>
                <a:gd name="connsiteY2883" fmla="*/ 7419 h 10000"/>
                <a:gd name="connsiteX2884" fmla="*/ 2802 w 10785"/>
                <a:gd name="connsiteY2884" fmla="*/ 7436 h 10000"/>
                <a:gd name="connsiteX2885" fmla="*/ 2816 w 10785"/>
                <a:gd name="connsiteY2885" fmla="*/ 7419 h 10000"/>
                <a:gd name="connsiteX2886" fmla="*/ 2834 w 10785"/>
                <a:gd name="connsiteY2886" fmla="*/ 7419 h 10000"/>
                <a:gd name="connsiteX2887" fmla="*/ 2843 w 10785"/>
                <a:gd name="connsiteY2887" fmla="*/ 7419 h 10000"/>
                <a:gd name="connsiteX2888" fmla="*/ 2848 w 10785"/>
                <a:gd name="connsiteY2888" fmla="*/ 7436 h 10000"/>
                <a:gd name="connsiteX2889" fmla="*/ 2857 w 10785"/>
                <a:gd name="connsiteY2889" fmla="*/ 7453 h 10000"/>
                <a:gd name="connsiteX2890" fmla="*/ 2857 w 10785"/>
                <a:gd name="connsiteY2890" fmla="*/ 7504 h 10000"/>
                <a:gd name="connsiteX2891" fmla="*/ 2862 w 10785"/>
                <a:gd name="connsiteY2891" fmla="*/ 7530 h 10000"/>
                <a:gd name="connsiteX2892" fmla="*/ 2876 w 10785"/>
                <a:gd name="connsiteY2892" fmla="*/ 7538 h 10000"/>
                <a:gd name="connsiteX2893" fmla="*/ 2871 w 10785"/>
                <a:gd name="connsiteY2893" fmla="*/ 7564 h 10000"/>
                <a:gd name="connsiteX2894" fmla="*/ 2871 w 10785"/>
                <a:gd name="connsiteY2894" fmla="*/ 7598 h 10000"/>
                <a:gd name="connsiteX2895" fmla="*/ 2857 w 10785"/>
                <a:gd name="connsiteY2895" fmla="*/ 7624 h 10000"/>
                <a:gd name="connsiteX2896" fmla="*/ 2862 w 10785"/>
                <a:gd name="connsiteY2896" fmla="*/ 7641 h 10000"/>
                <a:gd name="connsiteX2897" fmla="*/ 2871 w 10785"/>
                <a:gd name="connsiteY2897" fmla="*/ 7667 h 10000"/>
                <a:gd name="connsiteX2898" fmla="*/ 2880 w 10785"/>
                <a:gd name="connsiteY2898" fmla="*/ 7650 h 10000"/>
                <a:gd name="connsiteX2899" fmla="*/ 2894 w 10785"/>
                <a:gd name="connsiteY2899" fmla="*/ 7667 h 10000"/>
                <a:gd name="connsiteX2900" fmla="*/ 2903 w 10785"/>
                <a:gd name="connsiteY2900" fmla="*/ 7667 h 10000"/>
                <a:gd name="connsiteX2901" fmla="*/ 2908 w 10785"/>
                <a:gd name="connsiteY2901" fmla="*/ 7641 h 10000"/>
                <a:gd name="connsiteX2902" fmla="*/ 2917 w 10785"/>
                <a:gd name="connsiteY2902" fmla="*/ 7641 h 10000"/>
                <a:gd name="connsiteX2903" fmla="*/ 2922 w 10785"/>
                <a:gd name="connsiteY2903" fmla="*/ 7641 h 10000"/>
                <a:gd name="connsiteX2904" fmla="*/ 2931 w 10785"/>
                <a:gd name="connsiteY2904" fmla="*/ 7615 h 10000"/>
                <a:gd name="connsiteX2905" fmla="*/ 2935 w 10785"/>
                <a:gd name="connsiteY2905" fmla="*/ 7615 h 10000"/>
                <a:gd name="connsiteX2906" fmla="*/ 2945 w 10785"/>
                <a:gd name="connsiteY2906" fmla="*/ 7650 h 10000"/>
                <a:gd name="connsiteX2907" fmla="*/ 2949 w 10785"/>
                <a:gd name="connsiteY2907" fmla="*/ 7667 h 10000"/>
                <a:gd name="connsiteX2908" fmla="*/ 2949 w 10785"/>
                <a:gd name="connsiteY2908" fmla="*/ 7675 h 10000"/>
                <a:gd name="connsiteX2909" fmla="*/ 2945 w 10785"/>
                <a:gd name="connsiteY2909" fmla="*/ 7692 h 10000"/>
                <a:gd name="connsiteX2910" fmla="*/ 2963 w 10785"/>
                <a:gd name="connsiteY2910" fmla="*/ 7701 h 10000"/>
                <a:gd name="connsiteX2911" fmla="*/ 2963 w 10785"/>
                <a:gd name="connsiteY2911" fmla="*/ 7675 h 10000"/>
                <a:gd name="connsiteX2912" fmla="*/ 2954 w 10785"/>
                <a:gd name="connsiteY2912" fmla="*/ 7667 h 10000"/>
                <a:gd name="connsiteX2913" fmla="*/ 2963 w 10785"/>
                <a:gd name="connsiteY2913" fmla="*/ 7667 h 10000"/>
                <a:gd name="connsiteX2914" fmla="*/ 2982 w 10785"/>
                <a:gd name="connsiteY2914" fmla="*/ 7667 h 10000"/>
                <a:gd name="connsiteX2915" fmla="*/ 2991 w 10785"/>
                <a:gd name="connsiteY2915" fmla="*/ 7675 h 10000"/>
                <a:gd name="connsiteX2916" fmla="*/ 2995 w 10785"/>
                <a:gd name="connsiteY2916" fmla="*/ 7692 h 10000"/>
                <a:gd name="connsiteX2917" fmla="*/ 3009 w 10785"/>
                <a:gd name="connsiteY2917" fmla="*/ 7701 h 10000"/>
                <a:gd name="connsiteX2918" fmla="*/ 3018 w 10785"/>
                <a:gd name="connsiteY2918" fmla="*/ 7701 h 10000"/>
                <a:gd name="connsiteX2919" fmla="*/ 3023 w 10785"/>
                <a:gd name="connsiteY2919" fmla="*/ 7692 h 10000"/>
                <a:gd name="connsiteX2920" fmla="*/ 3028 w 10785"/>
                <a:gd name="connsiteY2920" fmla="*/ 7675 h 10000"/>
                <a:gd name="connsiteX2921" fmla="*/ 3037 w 10785"/>
                <a:gd name="connsiteY2921" fmla="*/ 7692 h 10000"/>
                <a:gd name="connsiteX2922" fmla="*/ 3028 w 10785"/>
                <a:gd name="connsiteY2922" fmla="*/ 7709 h 10000"/>
                <a:gd name="connsiteX2923" fmla="*/ 3023 w 10785"/>
                <a:gd name="connsiteY2923" fmla="*/ 7709 h 10000"/>
                <a:gd name="connsiteX2924" fmla="*/ 3018 w 10785"/>
                <a:gd name="connsiteY2924" fmla="*/ 7726 h 10000"/>
                <a:gd name="connsiteX2925" fmla="*/ 3009 w 10785"/>
                <a:gd name="connsiteY2925" fmla="*/ 7735 h 10000"/>
                <a:gd name="connsiteX2926" fmla="*/ 3009 w 10785"/>
                <a:gd name="connsiteY2926" fmla="*/ 7761 h 10000"/>
                <a:gd name="connsiteX2927" fmla="*/ 3009 w 10785"/>
                <a:gd name="connsiteY2927" fmla="*/ 7778 h 10000"/>
                <a:gd name="connsiteX2928" fmla="*/ 3018 w 10785"/>
                <a:gd name="connsiteY2928" fmla="*/ 7786 h 10000"/>
                <a:gd name="connsiteX2929" fmla="*/ 3023 w 10785"/>
                <a:gd name="connsiteY2929" fmla="*/ 7786 h 10000"/>
                <a:gd name="connsiteX2930" fmla="*/ 3028 w 10785"/>
                <a:gd name="connsiteY2930" fmla="*/ 7778 h 10000"/>
                <a:gd name="connsiteX2931" fmla="*/ 3051 w 10785"/>
                <a:gd name="connsiteY2931" fmla="*/ 7761 h 10000"/>
                <a:gd name="connsiteX2932" fmla="*/ 3055 w 10785"/>
                <a:gd name="connsiteY2932" fmla="*/ 7778 h 10000"/>
                <a:gd name="connsiteX2933" fmla="*/ 3065 w 10785"/>
                <a:gd name="connsiteY2933" fmla="*/ 7761 h 10000"/>
                <a:gd name="connsiteX2934" fmla="*/ 3069 w 10785"/>
                <a:gd name="connsiteY2934" fmla="*/ 7786 h 10000"/>
                <a:gd name="connsiteX2935" fmla="*/ 3083 w 10785"/>
                <a:gd name="connsiteY2935" fmla="*/ 7786 h 10000"/>
                <a:gd name="connsiteX2936" fmla="*/ 3078 w 10785"/>
                <a:gd name="connsiteY2936" fmla="*/ 7761 h 10000"/>
                <a:gd name="connsiteX2937" fmla="*/ 3083 w 10785"/>
                <a:gd name="connsiteY2937" fmla="*/ 7752 h 10000"/>
                <a:gd name="connsiteX2938" fmla="*/ 3097 w 10785"/>
                <a:gd name="connsiteY2938" fmla="*/ 7752 h 10000"/>
                <a:gd name="connsiteX2939" fmla="*/ 3111 w 10785"/>
                <a:gd name="connsiteY2939" fmla="*/ 7726 h 10000"/>
                <a:gd name="connsiteX2940" fmla="*/ 3124 w 10785"/>
                <a:gd name="connsiteY2940" fmla="*/ 7709 h 10000"/>
                <a:gd name="connsiteX2941" fmla="*/ 3143 w 10785"/>
                <a:gd name="connsiteY2941" fmla="*/ 7692 h 10000"/>
                <a:gd name="connsiteX2942" fmla="*/ 3152 w 10785"/>
                <a:gd name="connsiteY2942" fmla="*/ 7667 h 10000"/>
                <a:gd name="connsiteX2943" fmla="*/ 3157 w 10785"/>
                <a:gd name="connsiteY2943" fmla="*/ 7650 h 10000"/>
                <a:gd name="connsiteX2944" fmla="*/ 3161 w 10785"/>
                <a:gd name="connsiteY2944" fmla="*/ 7650 h 10000"/>
                <a:gd name="connsiteX2945" fmla="*/ 3189 w 10785"/>
                <a:gd name="connsiteY2945" fmla="*/ 7641 h 10000"/>
                <a:gd name="connsiteX2946" fmla="*/ 3198 w 10785"/>
                <a:gd name="connsiteY2946" fmla="*/ 7624 h 10000"/>
                <a:gd name="connsiteX2947" fmla="*/ 3217 w 10785"/>
                <a:gd name="connsiteY2947" fmla="*/ 7615 h 10000"/>
                <a:gd name="connsiteX2948" fmla="*/ 3235 w 10785"/>
                <a:gd name="connsiteY2948" fmla="*/ 7598 h 10000"/>
                <a:gd name="connsiteX2949" fmla="*/ 3235 w 10785"/>
                <a:gd name="connsiteY2949" fmla="*/ 7615 h 10000"/>
                <a:gd name="connsiteX2950" fmla="*/ 3235 w 10785"/>
                <a:gd name="connsiteY2950" fmla="*/ 7641 h 10000"/>
                <a:gd name="connsiteX2951" fmla="*/ 3235 w 10785"/>
                <a:gd name="connsiteY2951" fmla="*/ 7650 h 10000"/>
                <a:gd name="connsiteX2952" fmla="*/ 3226 w 10785"/>
                <a:gd name="connsiteY2952" fmla="*/ 7650 h 10000"/>
                <a:gd name="connsiteX2953" fmla="*/ 3217 w 10785"/>
                <a:gd name="connsiteY2953" fmla="*/ 7650 h 10000"/>
                <a:gd name="connsiteX2954" fmla="*/ 3212 w 10785"/>
                <a:gd name="connsiteY2954" fmla="*/ 7675 h 10000"/>
                <a:gd name="connsiteX2955" fmla="*/ 3212 w 10785"/>
                <a:gd name="connsiteY2955"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307 w 10785"/>
                <a:gd name="connsiteY731" fmla="*/ 4899 h 10000"/>
                <a:gd name="connsiteX732" fmla="*/ 10619 w 10785"/>
                <a:gd name="connsiteY732" fmla="*/ 4708 h 10000"/>
                <a:gd name="connsiteX733" fmla="*/ 10785 w 10785"/>
                <a:gd name="connsiteY733" fmla="*/ 4708 h 10000"/>
                <a:gd name="connsiteX734" fmla="*/ 10689 w 10785"/>
                <a:gd name="connsiteY734" fmla="*/ 4467 h 10000"/>
                <a:gd name="connsiteX735" fmla="*/ 10354 w 10785"/>
                <a:gd name="connsiteY735" fmla="*/ 4302 h 10000"/>
                <a:gd name="connsiteX736" fmla="*/ 9912 w 10785"/>
                <a:gd name="connsiteY736" fmla="*/ 3675 h 10000"/>
                <a:gd name="connsiteX737" fmla="*/ 9903 w 10785"/>
                <a:gd name="connsiteY737" fmla="*/ 3667 h 10000"/>
                <a:gd name="connsiteX738" fmla="*/ 9894 w 10785"/>
                <a:gd name="connsiteY738" fmla="*/ 3641 h 10000"/>
                <a:gd name="connsiteX739" fmla="*/ 9889 w 10785"/>
                <a:gd name="connsiteY739" fmla="*/ 3650 h 10000"/>
                <a:gd name="connsiteX740" fmla="*/ 9848 w 10785"/>
                <a:gd name="connsiteY740" fmla="*/ 3598 h 10000"/>
                <a:gd name="connsiteX741" fmla="*/ 9829 w 10785"/>
                <a:gd name="connsiteY741" fmla="*/ 3581 h 10000"/>
                <a:gd name="connsiteX742" fmla="*/ 9820 w 10785"/>
                <a:gd name="connsiteY742" fmla="*/ 3581 h 10000"/>
                <a:gd name="connsiteX743" fmla="*/ 9793 w 10785"/>
                <a:gd name="connsiteY743" fmla="*/ 3556 h 10000"/>
                <a:gd name="connsiteX744" fmla="*/ 9779 w 10785"/>
                <a:gd name="connsiteY744" fmla="*/ 3556 h 10000"/>
                <a:gd name="connsiteX745" fmla="*/ 9747 w 10785"/>
                <a:gd name="connsiteY745" fmla="*/ 3487 h 10000"/>
                <a:gd name="connsiteX746" fmla="*/ 9668 w 10785"/>
                <a:gd name="connsiteY746" fmla="*/ 3479 h 10000"/>
                <a:gd name="connsiteX747" fmla="*/ 9659 w 10785"/>
                <a:gd name="connsiteY747" fmla="*/ 3487 h 10000"/>
                <a:gd name="connsiteX748" fmla="*/ 9645 w 10785"/>
                <a:gd name="connsiteY748" fmla="*/ 3504 h 10000"/>
                <a:gd name="connsiteX749" fmla="*/ 9631 w 10785"/>
                <a:gd name="connsiteY749" fmla="*/ 3487 h 10000"/>
                <a:gd name="connsiteX750" fmla="*/ 9613 w 10785"/>
                <a:gd name="connsiteY750" fmla="*/ 3479 h 10000"/>
                <a:gd name="connsiteX751" fmla="*/ 9599 w 10785"/>
                <a:gd name="connsiteY751" fmla="*/ 3479 h 10000"/>
                <a:gd name="connsiteX752" fmla="*/ 9571 w 10785"/>
                <a:gd name="connsiteY752" fmla="*/ 3479 h 10000"/>
                <a:gd name="connsiteX753" fmla="*/ 9562 w 10785"/>
                <a:gd name="connsiteY753" fmla="*/ 3487 h 10000"/>
                <a:gd name="connsiteX754" fmla="*/ 9539 w 10785"/>
                <a:gd name="connsiteY754" fmla="*/ 3487 h 10000"/>
                <a:gd name="connsiteX755" fmla="*/ 9507 w 10785"/>
                <a:gd name="connsiteY755" fmla="*/ 3453 h 10000"/>
                <a:gd name="connsiteX756" fmla="*/ 9498 w 10785"/>
                <a:gd name="connsiteY756" fmla="*/ 3453 h 10000"/>
                <a:gd name="connsiteX757" fmla="*/ 9387 w 10785"/>
                <a:gd name="connsiteY757" fmla="*/ 3419 h 10000"/>
                <a:gd name="connsiteX758" fmla="*/ 9373 w 10785"/>
                <a:gd name="connsiteY758" fmla="*/ 3427 h 10000"/>
                <a:gd name="connsiteX759" fmla="*/ 9373 w 10785"/>
                <a:gd name="connsiteY759" fmla="*/ 3462 h 10000"/>
                <a:gd name="connsiteX760" fmla="*/ 9378 w 10785"/>
                <a:gd name="connsiteY760" fmla="*/ 3479 h 10000"/>
                <a:gd name="connsiteX761" fmla="*/ 9378 w 10785"/>
                <a:gd name="connsiteY761" fmla="*/ 3530 h 10000"/>
                <a:gd name="connsiteX762" fmla="*/ 9355 w 10785"/>
                <a:gd name="connsiteY762" fmla="*/ 3538 h 10000"/>
                <a:gd name="connsiteX763" fmla="*/ 9355 w 10785"/>
                <a:gd name="connsiteY763" fmla="*/ 3581 h 10000"/>
                <a:gd name="connsiteX764" fmla="*/ 9387 w 10785"/>
                <a:gd name="connsiteY764" fmla="*/ 3590 h 10000"/>
                <a:gd name="connsiteX765" fmla="*/ 9401 w 10785"/>
                <a:gd name="connsiteY765" fmla="*/ 3667 h 10000"/>
                <a:gd name="connsiteX766" fmla="*/ 9406 w 10785"/>
                <a:gd name="connsiteY766" fmla="*/ 3675 h 10000"/>
                <a:gd name="connsiteX767" fmla="*/ 9406 w 10785"/>
                <a:gd name="connsiteY767" fmla="*/ 3701 h 10000"/>
                <a:gd name="connsiteX768" fmla="*/ 9415 w 10785"/>
                <a:gd name="connsiteY768" fmla="*/ 3752 h 10000"/>
                <a:gd name="connsiteX769" fmla="*/ 9373 w 10785"/>
                <a:gd name="connsiteY769" fmla="*/ 3838 h 10000"/>
                <a:gd name="connsiteX770" fmla="*/ 9355 w 10785"/>
                <a:gd name="connsiteY770" fmla="*/ 3863 h 10000"/>
                <a:gd name="connsiteX771" fmla="*/ 9327 w 10785"/>
                <a:gd name="connsiteY771" fmla="*/ 3863 h 10000"/>
                <a:gd name="connsiteX772" fmla="*/ 9313 w 10785"/>
                <a:gd name="connsiteY772" fmla="*/ 3846 h 10000"/>
                <a:gd name="connsiteX773" fmla="*/ 9300 w 10785"/>
                <a:gd name="connsiteY773" fmla="*/ 3778 h 10000"/>
                <a:gd name="connsiteX774" fmla="*/ 9281 w 10785"/>
                <a:gd name="connsiteY774" fmla="*/ 3752 h 10000"/>
                <a:gd name="connsiteX775" fmla="*/ 9281 w 10785"/>
                <a:gd name="connsiteY775" fmla="*/ 3735 h 10000"/>
                <a:gd name="connsiteX776" fmla="*/ 9267 w 10785"/>
                <a:gd name="connsiteY776" fmla="*/ 3726 h 10000"/>
                <a:gd name="connsiteX777" fmla="*/ 9240 w 10785"/>
                <a:gd name="connsiteY777" fmla="*/ 3726 h 10000"/>
                <a:gd name="connsiteX778" fmla="*/ 9230 w 10785"/>
                <a:gd name="connsiteY778" fmla="*/ 3718 h 10000"/>
                <a:gd name="connsiteX779" fmla="*/ 9226 w 10785"/>
                <a:gd name="connsiteY779" fmla="*/ 3590 h 10000"/>
                <a:gd name="connsiteX780" fmla="*/ 9207 w 10785"/>
                <a:gd name="connsiteY780" fmla="*/ 3581 h 10000"/>
                <a:gd name="connsiteX781" fmla="*/ 9207 w 10785"/>
                <a:gd name="connsiteY781" fmla="*/ 3556 h 10000"/>
                <a:gd name="connsiteX782" fmla="*/ 9217 w 10785"/>
                <a:gd name="connsiteY782" fmla="*/ 3538 h 10000"/>
                <a:gd name="connsiteX783" fmla="*/ 9212 w 10785"/>
                <a:gd name="connsiteY783" fmla="*/ 3538 h 10000"/>
                <a:gd name="connsiteX784" fmla="*/ 9198 w 10785"/>
                <a:gd name="connsiteY784" fmla="*/ 3513 h 10000"/>
                <a:gd name="connsiteX785" fmla="*/ 9194 w 10785"/>
                <a:gd name="connsiteY785" fmla="*/ 3530 h 10000"/>
                <a:gd name="connsiteX786" fmla="*/ 9143 w 10785"/>
                <a:gd name="connsiteY786" fmla="*/ 3615 h 10000"/>
                <a:gd name="connsiteX787" fmla="*/ 9138 w 10785"/>
                <a:gd name="connsiteY787" fmla="*/ 3615 h 10000"/>
                <a:gd name="connsiteX788" fmla="*/ 9134 w 10785"/>
                <a:gd name="connsiteY788" fmla="*/ 3615 h 10000"/>
                <a:gd name="connsiteX789" fmla="*/ 9106 w 10785"/>
                <a:gd name="connsiteY789" fmla="*/ 3615 h 10000"/>
                <a:gd name="connsiteX790" fmla="*/ 9078 w 10785"/>
                <a:gd name="connsiteY790" fmla="*/ 3590 h 10000"/>
                <a:gd name="connsiteX791" fmla="*/ 9037 w 10785"/>
                <a:gd name="connsiteY791" fmla="*/ 3581 h 10000"/>
                <a:gd name="connsiteX792" fmla="*/ 9023 w 10785"/>
                <a:gd name="connsiteY792" fmla="*/ 3590 h 10000"/>
                <a:gd name="connsiteX793" fmla="*/ 9018 w 10785"/>
                <a:gd name="connsiteY793" fmla="*/ 3590 h 10000"/>
                <a:gd name="connsiteX794" fmla="*/ 9018 w 10785"/>
                <a:gd name="connsiteY794" fmla="*/ 3590 h 10000"/>
                <a:gd name="connsiteX795" fmla="*/ 8991 w 10785"/>
                <a:gd name="connsiteY795" fmla="*/ 3590 h 10000"/>
                <a:gd name="connsiteX796" fmla="*/ 8972 w 10785"/>
                <a:gd name="connsiteY796" fmla="*/ 3581 h 10000"/>
                <a:gd name="connsiteX797" fmla="*/ 8959 w 10785"/>
                <a:gd name="connsiteY797" fmla="*/ 3513 h 10000"/>
                <a:gd name="connsiteX798" fmla="*/ 8931 w 10785"/>
                <a:gd name="connsiteY798" fmla="*/ 3538 h 10000"/>
                <a:gd name="connsiteX799" fmla="*/ 8889 w 10785"/>
                <a:gd name="connsiteY799" fmla="*/ 3538 h 10000"/>
                <a:gd name="connsiteX800" fmla="*/ 8871 w 10785"/>
                <a:gd name="connsiteY800" fmla="*/ 3556 h 10000"/>
                <a:gd name="connsiteX801" fmla="*/ 8857 w 10785"/>
                <a:gd name="connsiteY801" fmla="*/ 3538 h 10000"/>
                <a:gd name="connsiteX802" fmla="*/ 8843 w 10785"/>
                <a:gd name="connsiteY802" fmla="*/ 3538 h 10000"/>
                <a:gd name="connsiteX803" fmla="*/ 8839 w 10785"/>
                <a:gd name="connsiteY803" fmla="*/ 3556 h 10000"/>
                <a:gd name="connsiteX804" fmla="*/ 8839 w 10785"/>
                <a:gd name="connsiteY804" fmla="*/ 3581 h 10000"/>
                <a:gd name="connsiteX805" fmla="*/ 8825 w 10785"/>
                <a:gd name="connsiteY805" fmla="*/ 3564 h 10000"/>
                <a:gd name="connsiteX806" fmla="*/ 8825 w 10785"/>
                <a:gd name="connsiteY806" fmla="*/ 3615 h 10000"/>
                <a:gd name="connsiteX807" fmla="*/ 8802 w 10785"/>
                <a:gd name="connsiteY807" fmla="*/ 3598 h 10000"/>
                <a:gd name="connsiteX808" fmla="*/ 8797 w 10785"/>
                <a:gd name="connsiteY808" fmla="*/ 3641 h 10000"/>
                <a:gd name="connsiteX809" fmla="*/ 8783 w 10785"/>
                <a:gd name="connsiteY809" fmla="*/ 3667 h 10000"/>
                <a:gd name="connsiteX810" fmla="*/ 8779 w 10785"/>
                <a:gd name="connsiteY810" fmla="*/ 3650 h 10000"/>
                <a:gd name="connsiteX811" fmla="*/ 8779 w 10785"/>
                <a:gd name="connsiteY811" fmla="*/ 3615 h 10000"/>
                <a:gd name="connsiteX812" fmla="*/ 8770 w 10785"/>
                <a:gd name="connsiteY812" fmla="*/ 3590 h 10000"/>
                <a:gd name="connsiteX813" fmla="*/ 8765 w 10785"/>
                <a:gd name="connsiteY813" fmla="*/ 3598 h 10000"/>
                <a:gd name="connsiteX814" fmla="*/ 8756 w 10785"/>
                <a:gd name="connsiteY814" fmla="*/ 3590 h 10000"/>
                <a:gd name="connsiteX815" fmla="*/ 8737 w 10785"/>
                <a:gd name="connsiteY815" fmla="*/ 3556 h 10000"/>
                <a:gd name="connsiteX816" fmla="*/ 8724 w 10785"/>
                <a:gd name="connsiteY816" fmla="*/ 3538 h 10000"/>
                <a:gd name="connsiteX817" fmla="*/ 8696 w 10785"/>
                <a:gd name="connsiteY817" fmla="*/ 3538 h 10000"/>
                <a:gd name="connsiteX818" fmla="*/ 8691 w 10785"/>
                <a:gd name="connsiteY818" fmla="*/ 3513 h 10000"/>
                <a:gd name="connsiteX819" fmla="*/ 8668 w 10785"/>
                <a:gd name="connsiteY819" fmla="*/ 3504 h 10000"/>
                <a:gd name="connsiteX820" fmla="*/ 8668 w 10785"/>
                <a:gd name="connsiteY820" fmla="*/ 3487 h 10000"/>
                <a:gd name="connsiteX821" fmla="*/ 8691 w 10785"/>
                <a:gd name="connsiteY821" fmla="*/ 3350 h 10000"/>
                <a:gd name="connsiteX822" fmla="*/ 8691 w 10785"/>
                <a:gd name="connsiteY822" fmla="*/ 3291 h 10000"/>
                <a:gd name="connsiteX823" fmla="*/ 8677 w 10785"/>
                <a:gd name="connsiteY823" fmla="*/ 3239 h 10000"/>
                <a:gd name="connsiteX824" fmla="*/ 8677 w 10785"/>
                <a:gd name="connsiteY824" fmla="*/ 3231 h 10000"/>
                <a:gd name="connsiteX825" fmla="*/ 8636 w 10785"/>
                <a:gd name="connsiteY825" fmla="*/ 3128 h 10000"/>
                <a:gd name="connsiteX826" fmla="*/ 8622 w 10785"/>
                <a:gd name="connsiteY826" fmla="*/ 3120 h 10000"/>
                <a:gd name="connsiteX827" fmla="*/ 8618 w 10785"/>
                <a:gd name="connsiteY827" fmla="*/ 3094 h 10000"/>
                <a:gd name="connsiteX828" fmla="*/ 8594 w 10785"/>
                <a:gd name="connsiteY828" fmla="*/ 3077 h 10000"/>
                <a:gd name="connsiteX829" fmla="*/ 8548 w 10785"/>
                <a:gd name="connsiteY829" fmla="*/ 3077 h 10000"/>
                <a:gd name="connsiteX830" fmla="*/ 8535 w 10785"/>
                <a:gd name="connsiteY830" fmla="*/ 3068 h 10000"/>
                <a:gd name="connsiteX831" fmla="*/ 8429 w 10785"/>
                <a:gd name="connsiteY831" fmla="*/ 3077 h 10000"/>
                <a:gd name="connsiteX832" fmla="*/ 8424 w 10785"/>
                <a:gd name="connsiteY832" fmla="*/ 3077 h 10000"/>
                <a:gd name="connsiteX833" fmla="*/ 8396 w 10785"/>
                <a:gd name="connsiteY833" fmla="*/ 3077 h 10000"/>
                <a:gd name="connsiteX834" fmla="*/ 8387 w 10785"/>
                <a:gd name="connsiteY834" fmla="*/ 3094 h 10000"/>
                <a:gd name="connsiteX835" fmla="*/ 8378 w 10785"/>
                <a:gd name="connsiteY835" fmla="*/ 3094 h 10000"/>
                <a:gd name="connsiteX836" fmla="*/ 8341 w 10785"/>
                <a:gd name="connsiteY836" fmla="*/ 3077 h 10000"/>
                <a:gd name="connsiteX837" fmla="*/ 8336 w 10785"/>
                <a:gd name="connsiteY837" fmla="*/ 3077 h 10000"/>
                <a:gd name="connsiteX838" fmla="*/ 8327 w 10785"/>
                <a:gd name="connsiteY838" fmla="*/ 3103 h 10000"/>
                <a:gd name="connsiteX839" fmla="*/ 8309 w 10785"/>
                <a:gd name="connsiteY839" fmla="*/ 3120 h 10000"/>
                <a:gd name="connsiteX840" fmla="*/ 8304 w 10785"/>
                <a:gd name="connsiteY840" fmla="*/ 3103 h 10000"/>
                <a:gd name="connsiteX841" fmla="*/ 8276 w 10785"/>
                <a:gd name="connsiteY841" fmla="*/ 3103 h 10000"/>
                <a:gd name="connsiteX842" fmla="*/ 8267 w 10785"/>
                <a:gd name="connsiteY842" fmla="*/ 3120 h 10000"/>
                <a:gd name="connsiteX843" fmla="*/ 8253 w 10785"/>
                <a:gd name="connsiteY843" fmla="*/ 3103 h 10000"/>
                <a:gd name="connsiteX844" fmla="*/ 8230 w 10785"/>
                <a:gd name="connsiteY844" fmla="*/ 3128 h 10000"/>
                <a:gd name="connsiteX845" fmla="*/ 8217 w 10785"/>
                <a:gd name="connsiteY845" fmla="*/ 3128 h 10000"/>
                <a:gd name="connsiteX846" fmla="*/ 8203 w 10785"/>
                <a:gd name="connsiteY846" fmla="*/ 3154 h 10000"/>
                <a:gd name="connsiteX847" fmla="*/ 8175 w 10785"/>
                <a:gd name="connsiteY847" fmla="*/ 3094 h 10000"/>
                <a:gd name="connsiteX848" fmla="*/ 8161 w 10785"/>
                <a:gd name="connsiteY848" fmla="*/ 3094 h 10000"/>
                <a:gd name="connsiteX849" fmla="*/ 8157 w 10785"/>
                <a:gd name="connsiteY849" fmla="*/ 3077 h 10000"/>
                <a:gd name="connsiteX850" fmla="*/ 8180 w 10785"/>
                <a:gd name="connsiteY850" fmla="*/ 3068 h 10000"/>
                <a:gd name="connsiteX851" fmla="*/ 8189 w 10785"/>
                <a:gd name="connsiteY851" fmla="*/ 3043 h 10000"/>
                <a:gd name="connsiteX852" fmla="*/ 8189 w 10785"/>
                <a:gd name="connsiteY852" fmla="*/ 3017 h 10000"/>
                <a:gd name="connsiteX853" fmla="*/ 8147 w 10785"/>
                <a:gd name="connsiteY853" fmla="*/ 2940 h 10000"/>
                <a:gd name="connsiteX854" fmla="*/ 8143 w 10785"/>
                <a:gd name="connsiteY854" fmla="*/ 2915 h 10000"/>
                <a:gd name="connsiteX855" fmla="*/ 8143 w 10785"/>
                <a:gd name="connsiteY855" fmla="*/ 2906 h 10000"/>
                <a:gd name="connsiteX856" fmla="*/ 8097 w 10785"/>
                <a:gd name="connsiteY856" fmla="*/ 2932 h 10000"/>
                <a:gd name="connsiteX857" fmla="*/ 8083 w 10785"/>
                <a:gd name="connsiteY857" fmla="*/ 2932 h 10000"/>
                <a:gd name="connsiteX858" fmla="*/ 8074 w 10785"/>
                <a:gd name="connsiteY858" fmla="*/ 2906 h 10000"/>
                <a:gd name="connsiteX859" fmla="*/ 8074 w 10785"/>
                <a:gd name="connsiteY859" fmla="*/ 2897 h 10000"/>
                <a:gd name="connsiteX860" fmla="*/ 8055 w 10785"/>
                <a:gd name="connsiteY860" fmla="*/ 2872 h 10000"/>
                <a:gd name="connsiteX861" fmla="*/ 8046 w 10785"/>
                <a:gd name="connsiteY861" fmla="*/ 2829 h 10000"/>
                <a:gd name="connsiteX862" fmla="*/ 8041 w 10785"/>
                <a:gd name="connsiteY862" fmla="*/ 2829 h 10000"/>
                <a:gd name="connsiteX863" fmla="*/ 8023 w 10785"/>
                <a:gd name="connsiteY863" fmla="*/ 2803 h 10000"/>
                <a:gd name="connsiteX864" fmla="*/ 8014 w 10785"/>
                <a:gd name="connsiteY864" fmla="*/ 2829 h 10000"/>
                <a:gd name="connsiteX865" fmla="*/ 8000 w 10785"/>
                <a:gd name="connsiteY865" fmla="*/ 2829 h 10000"/>
                <a:gd name="connsiteX866" fmla="*/ 7995 w 10785"/>
                <a:gd name="connsiteY866" fmla="*/ 2821 h 10000"/>
                <a:gd name="connsiteX867" fmla="*/ 7972 w 10785"/>
                <a:gd name="connsiteY867" fmla="*/ 2803 h 10000"/>
                <a:gd name="connsiteX868" fmla="*/ 7968 w 10785"/>
                <a:gd name="connsiteY868" fmla="*/ 2821 h 10000"/>
                <a:gd name="connsiteX869" fmla="*/ 7968 w 10785"/>
                <a:gd name="connsiteY869" fmla="*/ 2803 h 10000"/>
                <a:gd name="connsiteX870" fmla="*/ 7995 w 10785"/>
                <a:gd name="connsiteY870" fmla="*/ 2735 h 10000"/>
                <a:gd name="connsiteX871" fmla="*/ 8000 w 10785"/>
                <a:gd name="connsiteY871" fmla="*/ 2735 h 10000"/>
                <a:gd name="connsiteX872" fmla="*/ 8014 w 10785"/>
                <a:gd name="connsiteY872" fmla="*/ 2744 h 10000"/>
                <a:gd name="connsiteX873" fmla="*/ 8023 w 10785"/>
                <a:gd name="connsiteY873" fmla="*/ 2769 h 10000"/>
                <a:gd name="connsiteX874" fmla="*/ 8032 w 10785"/>
                <a:gd name="connsiteY874" fmla="*/ 2744 h 10000"/>
                <a:gd name="connsiteX875" fmla="*/ 8032 w 10785"/>
                <a:gd name="connsiteY875" fmla="*/ 2709 h 10000"/>
                <a:gd name="connsiteX876" fmla="*/ 8023 w 10785"/>
                <a:gd name="connsiteY876" fmla="*/ 2632 h 10000"/>
                <a:gd name="connsiteX877" fmla="*/ 7986 w 10785"/>
                <a:gd name="connsiteY877" fmla="*/ 2581 h 10000"/>
                <a:gd name="connsiteX878" fmla="*/ 7968 w 10785"/>
                <a:gd name="connsiteY878" fmla="*/ 2581 h 10000"/>
                <a:gd name="connsiteX879" fmla="*/ 7963 w 10785"/>
                <a:gd name="connsiteY879" fmla="*/ 2556 h 10000"/>
                <a:gd name="connsiteX880" fmla="*/ 7935 w 10785"/>
                <a:gd name="connsiteY880" fmla="*/ 2547 h 10000"/>
                <a:gd name="connsiteX881" fmla="*/ 7912 w 10785"/>
                <a:gd name="connsiteY881" fmla="*/ 2547 h 10000"/>
                <a:gd name="connsiteX882" fmla="*/ 7912 w 10785"/>
                <a:gd name="connsiteY882" fmla="*/ 2556 h 10000"/>
                <a:gd name="connsiteX883" fmla="*/ 7908 w 10785"/>
                <a:gd name="connsiteY883" fmla="*/ 2547 h 10000"/>
                <a:gd name="connsiteX884" fmla="*/ 7862 w 10785"/>
                <a:gd name="connsiteY884" fmla="*/ 2547 h 10000"/>
                <a:gd name="connsiteX885" fmla="*/ 7848 w 10785"/>
                <a:gd name="connsiteY885" fmla="*/ 2556 h 10000"/>
                <a:gd name="connsiteX886" fmla="*/ 7820 w 10785"/>
                <a:gd name="connsiteY886" fmla="*/ 2547 h 10000"/>
                <a:gd name="connsiteX887" fmla="*/ 7806 w 10785"/>
                <a:gd name="connsiteY887" fmla="*/ 2513 h 10000"/>
                <a:gd name="connsiteX888" fmla="*/ 7788 w 10785"/>
                <a:gd name="connsiteY888" fmla="*/ 2513 h 10000"/>
                <a:gd name="connsiteX889" fmla="*/ 7760 w 10785"/>
                <a:gd name="connsiteY889" fmla="*/ 2470 h 10000"/>
                <a:gd name="connsiteX890" fmla="*/ 7751 w 10785"/>
                <a:gd name="connsiteY890" fmla="*/ 2470 h 10000"/>
                <a:gd name="connsiteX891" fmla="*/ 7705 w 10785"/>
                <a:gd name="connsiteY891" fmla="*/ 2462 h 10000"/>
                <a:gd name="connsiteX892" fmla="*/ 7673 w 10785"/>
                <a:gd name="connsiteY892" fmla="*/ 2419 h 10000"/>
                <a:gd name="connsiteX893" fmla="*/ 7627 w 10785"/>
                <a:gd name="connsiteY893" fmla="*/ 2419 h 10000"/>
                <a:gd name="connsiteX894" fmla="*/ 7613 w 10785"/>
                <a:gd name="connsiteY894" fmla="*/ 2410 h 10000"/>
                <a:gd name="connsiteX895" fmla="*/ 7493 w 10785"/>
                <a:gd name="connsiteY895" fmla="*/ 2393 h 10000"/>
                <a:gd name="connsiteX896" fmla="*/ 7479 w 10785"/>
                <a:gd name="connsiteY896" fmla="*/ 2385 h 10000"/>
                <a:gd name="connsiteX897" fmla="*/ 7479 w 10785"/>
                <a:gd name="connsiteY897" fmla="*/ 2376 h 10000"/>
                <a:gd name="connsiteX898" fmla="*/ 7465 w 10785"/>
                <a:gd name="connsiteY898" fmla="*/ 2359 h 10000"/>
                <a:gd name="connsiteX899" fmla="*/ 7447 w 10785"/>
                <a:gd name="connsiteY899" fmla="*/ 2350 h 10000"/>
                <a:gd name="connsiteX900" fmla="*/ 7433 w 10785"/>
                <a:gd name="connsiteY900" fmla="*/ 2376 h 10000"/>
                <a:gd name="connsiteX901" fmla="*/ 7433 w 10785"/>
                <a:gd name="connsiteY901" fmla="*/ 2385 h 10000"/>
                <a:gd name="connsiteX902" fmla="*/ 7447 w 10785"/>
                <a:gd name="connsiteY902" fmla="*/ 2410 h 10000"/>
                <a:gd name="connsiteX903" fmla="*/ 7447 w 10785"/>
                <a:gd name="connsiteY903" fmla="*/ 2436 h 10000"/>
                <a:gd name="connsiteX904" fmla="*/ 7452 w 10785"/>
                <a:gd name="connsiteY904" fmla="*/ 2462 h 10000"/>
                <a:gd name="connsiteX905" fmla="*/ 7447 w 10785"/>
                <a:gd name="connsiteY905" fmla="*/ 2470 h 10000"/>
                <a:gd name="connsiteX906" fmla="*/ 7424 w 10785"/>
                <a:gd name="connsiteY906" fmla="*/ 2513 h 10000"/>
                <a:gd name="connsiteX907" fmla="*/ 7419 w 10785"/>
                <a:gd name="connsiteY907" fmla="*/ 2556 h 10000"/>
                <a:gd name="connsiteX908" fmla="*/ 7406 w 10785"/>
                <a:gd name="connsiteY908" fmla="*/ 2624 h 10000"/>
                <a:gd name="connsiteX909" fmla="*/ 7392 w 10785"/>
                <a:gd name="connsiteY909" fmla="*/ 2624 h 10000"/>
                <a:gd name="connsiteX910" fmla="*/ 7373 w 10785"/>
                <a:gd name="connsiteY910" fmla="*/ 2650 h 10000"/>
                <a:gd name="connsiteX911" fmla="*/ 7364 w 10785"/>
                <a:gd name="connsiteY911" fmla="*/ 2684 h 10000"/>
                <a:gd name="connsiteX912" fmla="*/ 7364 w 10785"/>
                <a:gd name="connsiteY912" fmla="*/ 2692 h 10000"/>
                <a:gd name="connsiteX913" fmla="*/ 7373 w 10785"/>
                <a:gd name="connsiteY913" fmla="*/ 2718 h 10000"/>
                <a:gd name="connsiteX914" fmla="*/ 7373 w 10785"/>
                <a:gd name="connsiteY914" fmla="*/ 2744 h 10000"/>
                <a:gd name="connsiteX915" fmla="*/ 7359 w 10785"/>
                <a:gd name="connsiteY915" fmla="*/ 2744 h 10000"/>
                <a:gd name="connsiteX916" fmla="*/ 7359 w 10785"/>
                <a:gd name="connsiteY916" fmla="*/ 2795 h 10000"/>
                <a:gd name="connsiteX917" fmla="*/ 7364 w 10785"/>
                <a:gd name="connsiteY917" fmla="*/ 2821 h 10000"/>
                <a:gd name="connsiteX918" fmla="*/ 7378 w 10785"/>
                <a:gd name="connsiteY918" fmla="*/ 2846 h 10000"/>
                <a:gd name="connsiteX919" fmla="*/ 7378 w 10785"/>
                <a:gd name="connsiteY919" fmla="*/ 2855 h 10000"/>
                <a:gd name="connsiteX920" fmla="*/ 7378 w 10785"/>
                <a:gd name="connsiteY920" fmla="*/ 2880 h 10000"/>
                <a:gd name="connsiteX921" fmla="*/ 7378 w 10785"/>
                <a:gd name="connsiteY921" fmla="*/ 2906 h 10000"/>
                <a:gd name="connsiteX922" fmla="*/ 7364 w 10785"/>
                <a:gd name="connsiteY922" fmla="*/ 2906 h 10000"/>
                <a:gd name="connsiteX923" fmla="*/ 7346 w 10785"/>
                <a:gd name="connsiteY923" fmla="*/ 2880 h 10000"/>
                <a:gd name="connsiteX924" fmla="*/ 7332 w 10785"/>
                <a:gd name="connsiteY924" fmla="*/ 2915 h 10000"/>
                <a:gd name="connsiteX925" fmla="*/ 7318 w 10785"/>
                <a:gd name="connsiteY925" fmla="*/ 2906 h 10000"/>
                <a:gd name="connsiteX926" fmla="*/ 7313 w 10785"/>
                <a:gd name="connsiteY926" fmla="*/ 2915 h 10000"/>
                <a:gd name="connsiteX927" fmla="*/ 7313 w 10785"/>
                <a:gd name="connsiteY927" fmla="*/ 2906 h 10000"/>
                <a:gd name="connsiteX928" fmla="*/ 7286 w 10785"/>
                <a:gd name="connsiteY928" fmla="*/ 2940 h 10000"/>
                <a:gd name="connsiteX929" fmla="*/ 7276 w 10785"/>
                <a:gd name="connsiteY929" fmla="*/ 2966 h 10000"/>
                <a:gd name="connsiteX930" fmla="*/ 7272 w 10785"/>
                <a:gd name="connsiteY930" fmla="*/ 2983 h 10000"/>
                <a:gd name="connsiteX931" fmla="*/ 7267 w 10785"/>
                <a:gd name="connsiteY931" fmla="*/ 3009 h 10000"/>
                <a:gd name="connsiteX932" fmla="*/ 7253 w 10785"/>
                <a:gd name="connsiteY932" fmla="*/ 3009 h 10000"/>
                <a:gd name="connsiteX933" fmla="*/ 7244 w 10785"/>
                <a:gd name="connsiteY933" fmla="*/ 3017 h 10000"/>
                <a:gd name="connsiteX934" fmla="*/ 7240 w 10785"/>
                <a:gd name="connsiteY934" fmla="*/ 3009 h 10000"/>
                <a:gd name="connsiteX935" fmla="*/ 7230 w 10785"/>
                <a:gd name="connsiteY935" fmla="*/ 2991 h 10000"/>
                <a:gd name="connsiteX936" fmla="*/ 7226 w 10785"/>
                <a:gd name="connsiteY936" fmla="*/ 2983 h 10000"/>
                <a:gd name="connsiteX937" fmla="*/ 7226 w 10785"/>
                <a:gd name="connsiteY937" fmla="*/ 2966 h 10000"/>
                <a:gd name="connsiteX938" fmla="*/ 7212 w 10785"/>
                <a:gd name="connsiteY938" fmla="*/ 2957 h 10000"/>
                <a:gd name="connsiteX939" fmla="*/ 7212 w 10785"/>
                <a:gd name="connsiteY939" fmla="*/ 2932 h 10000"/>
                <a:gd name="connsiteX940" fmla="*/ 7198 w 10785"/>
                <a:gd name="connsiteY940" fmla="*/ 2915 h 10000"/>
                <a:gd name="connsiteX941" fmla="*/ 7194 w 10785"/>
                <a:gd name="connsiteY941" fmla="*/ 2915 h 10000"/>
                <a:gd name="connsiteX942" fmla="*/ 7157 w 10785"/>
                <a:gd name="connsiteY942" fmla="*/ 2880 h 10000"/>
                <a:gd name="connsiteX943" fmla="*/ 7138 w 10785"/>
                <a:gd name="connsiteY943" fmla="*/ 2880 h 10000"/>
                <a:gd name="connsiteX944" fmla="*/ 7120 w 10785"/>
                <a:gd name="connsiteY944" fmla="*/ 2872 h 10000"/>
                <a:gd name="connsiteX945" fmla="*/ 7111 w 10785"/>
                <a:gd name="connsiteY945" fmla="*/ 2846 h 10000"/>
                <a:gd name="connsiteX946" fmla="*/ 7106 w 10785"/>
                <a:gd name="connsiteY946" fmla="*/ 2846 h 10000"/>
                <a:gd name="connsiteX947" fmla="*/ 7092 w 10785"/>
                <a:gd name="connsiteY947" fmla="*/ 2829 h 10000"/>
                <a:gd name="connsiteX948" fmla="*/ 7051 w 10785"/>
                <a:gd name="connsiteY948" fmla="*/ 2829 h 10000"/>
                <a:gd name="connsiteX949" fmla="*/ 7037 w 10785"/>
                <a:gd name="connsiteY949" fmla="*/ 2880 h 10000"/>
                <a:gd name="connsiteX950" fmla="*/ 7037 w 10785"/>
                <a:gd name="connsiteY950" fmla="*/ 2906 h 10000"/>
                <a:gd name="connsiteX951" fmla="*/ 7037 w 10785"/>
                <a:gd name="connsiteY951" fmla="*/ 2932 h 10000"/>
                <a:gd name="connsiteX952" fmla="*/ 7037 w 10785"/>
                <a:gd name="connsiteY952" fmla="*/ 2940 h 10000"/>
                <a:gd name="connsiteX953" fmla="*/ 7023 w 10785"/>
                <a:gd name="connsiteY953" fmla="*/ 2906 h 10000"/>
                <a:gd name="connsiteX954" fmla="*/ 7023 w 10785"/>
                <a:gd name="connsiteY954" fmla="*/ 2915 h 10000"/>
                <a:gd name="connsiteX955" fmla="*/ 6991 w 10785"/>
                <a:gd name="connsiteY955" fmla="*/ 2906 h 10000"/>
                <a:gd name="connsiteX956" fmla="*/ 6977 w 10785"/>
                <a:gd name="connsiteY956" fmla="*/ 2915 h 10000"/>
                <a:gd name="connsiteX957" fmla="*/ 6963 w 10785"/>
                <a:gd name="connsiteY957" fmla="*/ 2915 h 10000"/>
                <a:gd name="connsiteX958" fmla="*/ 6949 w 10785"/>
                <a:gd name="connsiteY958" fmla="*/ 2872 h 10000"/>
                <a:gd name="connsiteX959" fmla="*/ 6935 w 10785"/>
                <a:gd name="connsiteY959" fmla="*/ 2855 h 10000"/>
                <a:gd name="connsiteX960" fmla="*/ 6922 w 10785"/>
                <a:gd name="connsiteY960" fmla="*/ 2803 h 10000"/>
                <a:gd name="connsiteX961" fmla="*/ 6917 w 10785"/>
                <a:gd name="connsiteY961" fmla="*/ 2786 h 10000"/>
                <a:gd name="connsiteX962" fmla="*/ 6903 w 10785"/>
                <a:gd name="connsiteY962" fmla="*/ 2709 h 10000"/>
                <a:gd name="connsiteX963" fmla="*/ 6903 w 10785"/>
                <a:gd name="connsiteY963" fmla="*/ 2692 h 10000"/>
                <a:gd name="connsiteX964" fmla="*/ 6899 w 10785"/>
                <a:gd name="connsiteY964" fmla="*/ 2709 h 10000"/>
                <a:gd name="connsiteX965" fmla="*/ 6857 w 10785"/>
                <a:gd name="connsiteY965" fmla="*/ 2872 h 10000"/>
                <a:gd name="connsiteX966" fmla="*/ 6857 w 10785"/>
                <a:gd name="connsiteY966" fmla="*/ 3009 h 10000"/>
                <a:gd name="connsiteX967" fmla="*/ 6848 w 10785"/>
                <a:gd name="connsiteY967" fmla="*/ 3017 h 10000"/>
                <a:gd name="connsiteX968" fmla="*/ 6839 w 10785"/>
                <a:gd name="connsiteY968" fmla="*/ 3068 h 10000"/>
                <a:gd name="connsiteX969" fmla="*/ 6829 w 10785"/>
                <a:gd name="connsiteY969" fmla="*/ 3077 h 10000"/>
                <a:gd name="connsiteX970" fmla="*/ 6829 w 10785"/>
                <a:gd name="connsiteY970" fmla="*/ 3128 h 10000"/>
                <a:gd name="connsiteX971" fmla="*/ 6816 w 10785"/>
                <a:gd name="connsiteY971" fmla="*/ 3154 h 10000"/>
                <a:gd name="connsiteX972" fmla="*/ 6811 w 10785"/>
                <a:gd name="connsiteY972" fmla="*/ 3179 h 10000"/>
                <a:gd name="connsiteX973" fmla="*/ 6797 w 10785"/>
                <a:gd name="connsiteY973" fmla="*/ 3171 h 10000"/>
                <a:gd name="connsiteX974" fmla="*/ 6783 w 10785"/>
                <a:gd name="connsiteY974" fmla="*/ 3103 h 10000"/>
                <a:gd name="connsiteX975" fmla="*/ 6779 w 10785"/>
                <a:gd name="connsiteY975" fmla="*/ 3094 h 10000"/>
                <a:gd name="connsiteX976" fmla="*/ 6779 w 10785"/>
                <a:gd name="connsiteY976" fmla="*/ 3120 h 10000"/>
                <a:gd name="connsiteX977" fmla="*/ 6770 w 10785"/>
                <a:gd name="connsiteY977" fmla="*/ 3128 h 10000"/>
                <a:gd name="connsiteX978" fmla="*/ 6765 w 10785"/>
                <a:gd name="connsiteY978" fmla="*/ 3103 h 10000"/>
                <a:gd name="connsiteX979" fmla="*/ 6756 w 10785"/>
                <a:gd name="connsiteY979" fmla="*/ 3103 h 10000"/>
                <a:gd name="connsiteX980" fmla="*/ 6742 w 10785"/>
                <a:gd name="connsiteY980" fmla="*/ 3103 h 10000"/>
                <a:gd name="connsiteX981" fmla="*/ 6737 w 10785"/>
                <a:gd name="connsiteY981" fmla="*/ 3077 h 10000"/>
                <a:gd name="connsiteX982" fmla="*/ 6737 w 10785"/>
                <a:gd name="connsiteY982" fmla="*/ 3068 h 10000"/>
                <a:gd name="connsiteX983" fmla="*/ 6728 w 10785"/>
                <a:gd name="connsiteY983" fmla="*/ 3043 h 10000"/>
                <a:gd name="connsiteX984" fmla="*/ 6724 w 10785"/>
                <a:gd name="connsiteY984" fmla="*/ 3051 h 10000"/>
                <a:gd name="connsiteX985" fmla="*/ 6714 w 10785"/>
                <a:gd name="connsiteY985" fmla="*/ 3043 h 10000"/>
                <a:gd name="connsiteX986" fmla="*/ 6710 w 10785"/>
                <a:gd name="connsiteY986" fmla="*/ 3034 h 10000"/>
                <a:gd name="connsiteX987" fmla="*/ 6705 w 10785"/>
                <a:gd name="connsiteY987" fmla="*/ 2983 h 10000"/>
                <a:gd name="connsiteX988" fmla="*/ 6696 w 10785"/>
                <a:gd name="connsiteY988" fmla="*/ 2966 h 10000"/>
                <a:gd name="connsiteX989" fmla="*/ 6691 w 10785"/>
                <a:gd name="connsiteY989" fmla="*/ 2983 h 10000"/>
                <a:gd name="connsiteX990" fmla="*/ 6677 w 10785"/>
                <a:gd name="connsiteY990" fmla="*/ 2897 h 10000"/>
                <a:gd name="connsiteX991" fmla="*/ 6677 w 10785"/>
                <a:gd name="connsiteY991" fmla="*/ 2897 h 10000"/>
                <a:gd name="connsiteX992" fmla="*/ 6677 w 10785"/>
                <a:gd name="connsiteY992" fmla="*/ 2872 h 10000"/>
                <a:gd name="connsiteX993" fmla="*/ 6668 w 10785"/>
                <a:gd name="connsiteY993" fmla="*/ 2821 h 10000"/>
                <a:gd name="connsiteX994" fmla="*/ 6664 w 10785"/>
                <a:gd name="connsiteY994" fmla="*/ 2829 h 10000"/>
                <a:gd name="connsiteX995" fmla="*/ 6654 w 10785"/>
                <a:gd name="connsiteY995" fmla="*/ 2846 h 10000"/>
                <a:gd name="connsiteX996" fmla="*/ 6650 w 10785"/>
                <a:gd name="connsiteY996" fmla="*/ 2829 h 10000"/>
                <a:gd name="connsiteX997" fmla="*/ 6650 w 10785"/>
                <a:gd name="connsiteY997" fmla="*/ 2803 h 10000"/>
                <a:gd name="connsiteX998" fmla="*/ 6650 w 10785"/>
                <a:gd name="connsiteY998" fmla="*/ 2795 h 10000"/>
                <a:gd name="connsiteX999" fmla="*/ 6641 w 10785"/>
                <a:gd name="connsiteY999" fmla="*/ 2786 h 10000"/>
                <a:gd name="connsiteX1000" fmla="*/ 6636 w 10785"/>
                <a:gd name="connsiteY1000" fmla="*/ 2735 h 10000"/>
                <a:gd name="connsiteX1001" fmla="*/ 6664 w 10785"/>
                <a:gd name="connsiteY1001" fmla="*/ 2667 h 10000"/>
                <a:gd name="connsiteX1002" fmla="*/ 6668 w 10785"/>
                <a:gd name="connsiteY1002" fmla="*/ 2684 h 10000"/>
                <a:gd name="connsiteX1003" fmla="*/ 6677 w 10785"/>
                <a:gd name="connsiteY1003" fmla="*/ 2667 h 10000"/>
                <a:gd name="connsiteX1004" fmla="*/ 6668 w 10785"/>
                <a:gd name="connsiteY1004" fmla="*/ 2667 h 10000"/>
                <a:gd name="connsiteX1005" fmla="*/ 6668 w 10785"/>
                <a:gd name="connsiteY1005" fmla="*/ 2650 h 10000"/>
                <a:gd name="connsiteX1006" fmla="*/ 6682 w 10785"/>
                <a:gd name="connsiteY1006" fmla="*/ 2650 h 10000"/>
                <a:gd name="connsiteX1007" fmla="*/ 6691 w 10785"/>
                <a:gd name="connsiteY1007" fmla="*/ 2624 h 10000"/>
                <a:gd name="connsiteX1008" fmla="*/ 6682 w 10785"/>
                <a:gd name="connsiteY1008" fmla="*/ 2632 h 10000"/>
                <a:gd name="connsiteX1009" fmla="*/ 6682 w 10785"/>
                <a:gd name="connsiteY1009" fmla="*/ 2624 h 10000"/>
                <a:gd name="connsiteX1010" fmla="*/ 6691 w 10785"/>
                <a:gd name="connsiteY1010" fmla="*/ 2607 h 10000"/>
                <a:gd name="connsiteX1011" fmla="*/ 6691 w 10785"/>
                <a:gd name="connsiteY1011" fmla="*/ 2598 h 10000"/>
                <a:gd name="connsiteX1012" fmla="*/ 6691 w 10785"/>
                <a:gd name="connsiteY1012" fmla="*/ 2581 h 10000"/>
                <a:gd name="connsiteX1013" fmla="*/ 6696 w 10785"/>
                <a:gd name="connsiteY1013" fmla="*/ 2530 h 10000"/>
                <a:gd name="connsiteX1014" fmla="*/ 6677 w 10785"/>
                <a:gd name="connsiteY1014" fmla="*/ 2513 h 10000"/>
                <a:gd name="connsiteX1015" fmla="*/ 6677 w 10785"/>
                <a:gd name="connsiteY1015" fmla="*/ 2496 h 10000"/>
                <a:gd name="connsiteX1016" fmla="*/ 6682 w 10785"/>
                <a:gd name="connsiteY1016" fmla="*/ 2470 h 10000"/>
                <a:gd name="connsiteX1017" fmla="*/ 6668 w 10785"/>
                <a:gd name="connsiteY1017" fmla="*/ 2462 h 10000"/>
                <a:gd name="connsiteX1018" fmla="*/ 6677 w 10785"/>
                <a:gd name="connsiteY1018" fmla="*/ 2436 h 10000"/>
                <a:gd name="connsiteX1019" fmla="*/ 6682 w 10785"/>
                <a:gd name="connsiteY1019" fmla="*/ 2419 h 10000"/>
                <a:gd name="connsiteX1020" fmla="*/ 6682 w 10785"/>
                <a:gd name="connsiteY1020" fmla="*/ 2393 h 10000"/>
                <a:gd name="connsiteX1021" fmla="*/ 6682 w 10785"/>
                <a:gd name="connsiteY1021" fmla="*/ 2385 h 10000"/>
                <a:gd name="connsiteX1022" fmla="*/ 6682 w 10785"/>
                <a:gd name="connsiteY1022" fmla="*/ 2385 h 10000"/>
                <a:gd name="connsiteX1023" fmla="*/ 6677 w 10785"/>
                <a:gd name="connsiteY1023" fmla="*/ 2376 h 10000"/>
                <a:gd name="connsiteX1024" fmla="*/ 6682 w 10785"/>
                <a:gd name="connsiteY1024" fmla="*/ 2359 h 10000"/>
                <a:gd name="connsiteX1025" fmla="*/ 6677 w 10785"/>
                <a:gd name="connsiteY1025" fmla="*/ 2333 h 10000"/>
                <a:gd name="connsiteX1026" fmla="*/ 6691 w 10785"/>
                <a:gd name="connsiteY1026" fmla="*/ 2333 h 10000"/>
                <a:gd name="connsiteX1027" fmla="*/ 6691 w 10785"/>
                <a:gd name="connsiteY1027" fmla="*/ 2325 h 10000"/>
                <a:gd name="connsiteX1028" fmla="*/ 6691 w 10785"/>
                <a:gd name="connsiteY1028" fmla="*/ 2308 h 10000"/>
                <a:gd name="connsiteX1029" fmla="*/ 6691 w 10785"/>
                <a:gd name="connsiteY1029" fmla="*/ 2299 h 10000"/>
                <a:gd name="connsiteX1030" fmla="*/ 6691 w 10785"/>
                <a:gd name="connsiteY1030" fmla="*/ 2282 h 10000"/>
                <a:gd name="connsiteX1031" fmla="*/ 6691 w 10785"/>
                <a:gd name="connsiteY1031" fmla="*/ 2274 h 10000"/>
                <a:gd name="connsiteX1032" fmla="*/ 6668 w 10785"/>
                <a:gd name="connsiteY1032" fmla="*/ 2248 h 10000"/>
                <a:gd name="connsiteX1033" fmla="*/ 6664 w 10785"/>
                <a:gd name="connsiteY1033" fmla="*/ 2222 h 10000"/>
                <a:gd name="connsiteX1034" fmla="*/ 6654 w 10785"/>
                <a:gd name="connsiteY1034" fmla="*/ 2214 h 10000"/>
                <a:gd name="connsiteX1035" fmla="*/ 6654 w 10785"/>
                <a:gd name="connsiteY1035" fmla="*/ 2188 h 10000"/>
                <a:gd name="connsiteX1036" fmla="*/ 6622 w 10785"/>
                <a:gd name="connsiteY1036" fmla="*/ 2162 h 10000"/>
                <a:gd name="connsiteX1037" fmla="*/ 6631 w 10785"/>
                <a:gd name="connsiteY1037" fmla="*/ 2145 h 10000"/>
                <a:gd name="connsiteX1038" fmla="*/ 6622 w 10785"/>
                <a:gd name="connsiteY1038" fmla="*/ 2120 h 10000"/>
                <a:gd name="connsiteX1039" fmla="*/ 6608 w 10785"/>
                <a:gd name="connsiteY1039" fmla="*/ 2120 h 10000"/>
                <a:gd name="connsiteX1040" fmla="*/ 6604 w 10785"/>
                <a:gd name="connsiteY1040" fmla="*/ 2111 h 10000"/>
                <a:gd name="connsiteX1041" fmla="*/ 6608 w 10785"/>
                <a:gd name="connsiteY1041" fmla="*/ 2111 h 10000"/>
                <a:gd name="connsiteX1042" fmla="*/ 6604 w 10785"/>
                <a:gd name="connsiteY1042" fmla="*/ 2085 h 10000"/>
                <a:gd name="connsiteX1043" fmla="*/ 6581 w 10785"/>
                <a:gd name="connsiteY1043" fmla="*/ 2077 h 10000"/>
                <a:gd name="connsiteX1044" fmla="*/ 6571 w 10785"/>
                <a:gd name="connsiteY1044" fmla="*/ 2085 h 10000"/>
                <a:gd name="connsiteX1045" fmla="*/ 6548 w 10785"/>
                <a:gd name="connsiteY1045" fmla="*/ 2077 h 10000"/>
                <a:gd name="connsiteX1046" fmla="*/ 6530 w 10785"/>
                <a:gd name="connsiteY1046" fmla="*/ 2060 h 10000"/>
                <a:gd name="connsiteX1047" fmla="*/ 6521 w 10785"/>
                <a:gd name="connsiteY1047" fmla="*/ 2060 h 10000"/>
                <a:gd name="connsiteX1048" fmla="*/ 6521 w 10785"/>
                <a:gd name="connsiteY1048" fmla="*/ 2085 h 10000"/>
                <a:gd name="connsiteX1049" fmla="*/ 6516 w 10785"/>
                <a:gd name="connsiteY1049" fmla="*/ 2085 h 10000"/>
                <a:gd name="connsiteX1050" fmla="*/ 6502 w 10785"/>
                <a:gd name="connsiteY1050" fmla="*/ 2111 h 10000"/>
                <a:gd name="connsiteX1051" fmla="*/ 6498 w 10785"/>
                <a:gd name="connsiteY1051" fmla="*/ 2111 h 10000"/>
                <a:gd name="connsiteX1052" fmla="*/ 6498 w 10785"/>
                <a:gd name="connsiteY1052" fmla="*/ 2103 h 10000"/>
                <a:gd name="connsiteX1053" fmla="*/ 6475 w 10785"/>
                <a:gd name="connsiteY1053" fmla="*/ 2051 h 10000"/>
                <a:gd name="connsiteX1054" fmla="*/ 6470 w 10785"/>
                <a:gd name="connsiteY1054" fmla="*/ 2060 h 10000"/>
                <a:gd name="connsiteX1055" fmla="*/ 6456 w 10785"/>
                <a:gd name="connsiteY1055" fmla="*/ 2051 h 10000"/>
                <a:gd name="connsiteX1056" fmla="*/ 6447 w 10785"/>
                <a:gd name="connsiteY1056" fmla="*/ 2051 h 10000"/>
                <a:gd name="connsiteX1057" fmla="*/ 6433 w 10785"/>
                <a:gd name="connsiteY1057" fmla="*/ 2026 h 10000"/>
                <a:gd name="connsiteX1058" fmla="*/ 6433 w 10785"/>
                <a:gd name="connsiteY1058" fmla="*/ 2034 h 10000"/>
                <a:gd name="connsiteX1059" fmla="*/ 6429 w 10785"/>
                <a:gd name="connsiteY1059" fmla="*/ 2026 h 10000"/>
                <a:gd name="connsiteX1060" fmla="*/ 6424 w 10785"/>
                <a:gd name="connsiteY1060" fmla="*/ 2034 h 10000"/>
                <a:gd name="connsiteX1061" fmla="*/ 6410 w 10785"/>
                <a:gd name="connsiteY1061" fmla="*/ 2026 h 10000"/>
                <a:gd name="connsiteX1062" fmla="*/ 6410 w 10785"/>
                <a:gd name="connsiteY1062" fmla="*/ 1991 h 10000"/>
                <a:gd name="connsiteX1063" fmla="*/ 6401 w 10785"/>
                <a:gd name="connsiteY1063" fmla="*/ 1991 h 10000"/>
                <a:gd name="connsiteX1064" fmla="*/ 6396 w 10785"/>
                <a:gd name="connsiteY1064" fmla="*/ 2000 h 10000"/>
                <a:gd name="connsiteX1065" fmla="*/ 6382 w 10785"/>
                <a:gd name="connsiteY1065" fmla="*/ 1966 h 10000"/>
                <a:gd name="connsiteX1066" fmla="*/ 6373 w 10785"/>
                <a:gd name="connsiteY1066" fmla="*/ 1974 h 10000"/>
                <a:gd name="connsiteX1067" fmla="*/ 6369 w 10785"/>
                <a:gd name="connsiteY1067" fmla="*/ 1966 h 10000"/>
                <a:gd name="connsiteX1068" fmla="*/ 6341 w 10785"/>
                <a:gd name="connsiteY1068" fmla="*/ 1949 h 10000"/>
                <a:gd name="connsiteX1069" fmla="*/ 6327 w 10785"/>
                <a:gd name="connsiteY1069" fmla="*/ 1923 h 10000"/>
                <a:gd name="connsiteX1070" fmla="*/ 6323 w 10785"/>
                <a:gd name="connsiteY1070" fmla="*/ 1923 h 10000"/>
                <a:gd name="connsiteX1071" fmla="*/ 6323 w 10785"/>
                <a:gd name="connsiteY1071" fmla="*/ 1966 h 10000"/>
                <a:gd name="connsiteX1072" fmla="*/ 6323 w 10785"/>
                <a:gd name="connsiteY1072" fmla="*/ 1991 h 10000"/>
                <a:gd name="connsiteX1073" fmla="*/ 6313 w 10785"/>
                <a:gd name="connsiteY1073" fmla="*/ 1991 h 10000"/>
                <a:gd name="connsiteX1074" fmla="*/ 6300 w 10785"/>
                <a:gd name="connsiteY1074" fmla="*/ 1991 h 10000"/>
                <a:gd name="connsiteX1075" fmla="*/ 6290 w 10785"/>
                <a:gd name="connsiteY1075" fmla="*/ 1949 h 10000"/>
                <a:gd name="connsiteX1076" fmla="*/ 6276 w 10785"/>
                <a:gd name="connsiteY1076" fmla="*/ 2103 h 10000"/>
                <a:gd name="connsiteX1077" fmla="*/ 6281 w 10785"/>
                <a:gd name="connsiteY1077" fmla="*/ 2103 h 10000"/>
                <a:gd name="connsiteX1078" fmla="*/ 6276 w 10785"/>
                <a:gd name="connsiteY1078" fmla="*/ 2111 h 10000"/>
                <a:gd name="connsiteX1079" fmla="*/ 6276 w 10785"/>
                <a:gd name="connsiteY1079" fmla="*/ 2120 h 10000"/>
                <a:gd name="connsiteX1080" fmla="*/ 6295 w 10785"/>
                <a:gd name="connsiteY1080" fmla="*/ 2239 h 10000"/>
                <a:gd name="connsiteX1081" fmla="*/ 6290 w 10785"/>
                <a:gd name="connsiteY1081" fmla="*/ 2248 h 10000"/>
                <a:gd name="connsiteX1082" fmla="*/ 6281 w 10785"/>
                <a:gd name="connsiteY1082" fmla="*/ 2274 h 10000"/>
                <a:gd name="connsiteX1083" fmla="*/ 6249 w 10785"/>
                <a:gd name="connsiteY1083" fmla="*/ 2274 h 10000"/>
                <a:gd name="connsiteX1084" fmla="*/ 6226 w 10785"/>
                <a:gd name="connsiteY1084" fmla="*/ 2308 h 10000"/>
                <a:gd name="connsiteX1085" fmla="*/ 6221 w 10785"/>
                <a:gd name="connsiteY1085" fmla="*/ 2299 h 10000"/>
                <a:gd name="connsiteX1086" fmla="*/ 6221 w 10785"/>
                <a:gd name="connsiteY1086" fmla="*/ 2308 h 10000"/>
                <a:gd name="connsiteX1087" fmla="*/ 6217 w 10785"/>
                <a:gd name="connsiteY1087" fmla="*/ 2299 h 10000"/>
                <a:gd name="connsiteX1088" fmla="*/ 6194 w 10785"/>
                <a:gd name="connsiteY1088" fmla="*/ 2308 h 10000"/>
                <a:gd name="connsiteX1089" fmla="*/ 6180 w 10785"/>
                <a:gd name="connsiteY1089" fmla="*/ 2299 h 10000"/>
                <a:gd name="connsiteX1090" fmla="*/ 6143 w 10785"/>
                <a:gd name="connsiteY1090" fmla="*/ 2308 h 10000"/>
                <a:gd name="connsiteX1091" fmla="*/ 6134 w 10785"/>
                <a:gd name="connsiteY1091" fmla="*/ 2325 h 10000"/>
                <a:gd name="connsiteX1092" fmla="*/ 6115 w 10785"/>
                <a:gd name="connsiteY1092" fmla="*/ 2282 h 10000"/>
                <a:gd name="connsiteX1093" fmla="*/ 6069 w 10785"/>
                <a:gd name="connsiteY1093" fmla="*/ 2274 h 10000"/>
                <a:gd name="connsiteX1094" fmla="*/ 6069 w 10785"/>
                <a:gd name="connsiteY1094" fmla="*/ 2282 h 10000"/>
                <a:gd name="connsiteX1095" fmla="*/ 6060 w 10785"/>
                <a:gd name="connsiteY1095" fmla="*/ 2299 h 10000"/>
                <a:gd name="connsiteX1096" fmla="*/ 5972 w 10785"/>
                <a:gd name="connsiteY1096" fmla="*/ 2214 h 10000"/>
                <a:gd name="connsiteX1097" fmla="*/ 5968 w 10785"/>
                <a:gd name="connsiteY1097" fmla="*/ 2197 h 10000"/>
                <a:gd name="connsiteX1098" fmla="*/ 5968 w 10785"/>
                <a:gd name="connsiteY1098" fmla="*/ 2171 h 10000"/>
                <a:gd name="connsiteX1099" fmla="*/ 5968 w 10785"/>
                <a:gd name="connsiteY1099" fmla="*/ 2162 h 10000"/>
                <a:gd name="connsiteX1100" fmla="*/ 5968 w 10785"/>
                <a:gd name="connsiteY1100" fmla="*/ 2120 h 10000"/>
                <a:gd name="connsiteX1101" fmla="*/ 5968 w 10785"/>
                <a:gd name="connsiteY1101" fmla="*/ 2111 h 10000"/>
                <a:gd name="connsiteX1102" fmla="*/ 5972 w 10785"/>
                <a:gd name="connsiteY1102" fmla="*/ 2103 h 10000"/>
                <a:gd name="connsiteX1103" fmla="*/ 5986 w 10785"/>
                <a:gd name="connsiteY1103" fmla="*/ 2103 h 10000"/>
                <a:gd name="connsiteX1104" fmla="*/ 5986 w 10785"/>
                <a:gd name="connsiteY1104" fmla="*/ 2085 h 10000"/>
                <a:gd name="connsiteX1105" fmla="*/ 5995 w 10785"/>
                <a:gd name="connsiteY1105" fmla="*/ 2085 h 10000"/>
                <a:gd name="connsiteX1106" fmla="*/ 5995 w 10785"/>
                <a:gd name="connsiteY1106" fmla="*/ 2077 h 10000"/>
                <a:gd name="connsiteX1107" fmla="*/ 5986 w 10785"/>
                <a:gd name="connsiteY1107" fmla="*/ 2060 h 10000"/>
                <a:gd name="connsiteX1108" fmla="*/ 5954 w 10785"/>
                <a:gd name="connsiteY1108" fmla="*/ 2060 h 10000"/>
                <a:gd name="connsiteX1109" fmla="*/ 5940 w 10785"/>
                <a:gd name="connsiteY1109" fmla="*/ 2051 h 10000"/>
                <a:gd name="connsiteX1110" fmla="*/ 5922 w 10785"/>
                <a:gd name="connsiteY1110" fmla="*/ 2060 h 10000"/>
                <a:gd name="connsiteX1111" fmla="*/ 5885 w 10785"/>
                <a:gd name="connsiteY1111" fmla="*/ 2051 h 10000"/>
                <a:gd name="connsiteX1112" fmla="*/ 5876 w 10785"/>
                <a:gd name="connsiteY1112" fmla="*/ 2026 h 10000"/>
                <a:gd name="connsiteX1113" fmla="*/ 5862 w 10785"/>
                <a:gd name="connsiteY1113" fmla="*/ 2026 h 10000"/>
                <a:gd name="connsiteX1114" fmla="*/ 5848 w 10785"/>
                <a:gd name="connsiteY1114" fmla="*/ 2026 h 10000"/>
                <a:gd name="connsiteX1115" fmla="*/ 5825 w 10785"/>
                <a:gd name="connsiteY1115" fmla="*/ 2026 h 10000"/>
                <a:gd name="connsiteX1116" fmla="*/ 5788 w 10785"/>
                <a:gd name="connsiteY1116" fmla="*/ 1991 h 10000"/>
                <a:gd name="connsiteX1117" fmla="*/ 5760 w 10785"/>
                <a:gd name="connsiteY1117" fmla="*/ 2000 h 10000"/>
                <a:gd name="connsiteX1118" fmla="*/ 5760 w 10785"/>
                <a:gd name="connsiteY1118" fmla="*/ 2026 h 10000"/>
                <a:gd name="connsiteX1119" fmla="*/ 5714 w 10785"/>
                <a:gd name="connsiteY1119" fmla="*/ 2051 h 10000"/>
                <a:gd name="connsiteX1120" fmla="*/ 5687 w 10785"/>
                <a:gd name="connsiteY1120" fmla="*/ 2034 h 10000"/>
                <a:gd name="connsiteX1121" fmla="*/ 5645 w 10785"/>
                <a:gd name="connsiteY1121" fmla="*/ 2077 h 10000"/>
                <a:gd name="connsiteX1122" fmla="*/ 5664 w 10785"/>
                <a:gd name="connsiteY1122" fmla="*/ 2120 h 10000"/>
                <a:gd name="connsiteX1123" fmla="*/ 5664 w 10785"/>
                <a:gd name="connsiteY1123" fmla="*/ 2162 h 10000"/>
                <a:gd name="connsiteX1124" fmla="*/ 5631 w 10785"/>
                <a:gd name="connsiteY1124" fmla="*/ 2197 h 10000"/>
                <a:gd name="connsiteX1125" fmla="*/ 5618 w 10785"/>
                <a:gd name="connsiteY1125" fmla="*/ 2188 h 10000"/>
                <a:gd name="connsiteX1126" fmla="*/ 5618 w 10785"/>
                <a:gd name="connsiteY1126" fmla="*/ 2171 h 10000"/>
                <a:gd name="connsiteX1127" fmla="*/ 5641 w 10785"/>
                <a:gd name="connsiteY1127" fmla="*/ 2171 h 10000"/>
                <a:gd name="connsiteX1128" fmla="*/ 5641 w 10785"/>
                <a:gd name="connsiteY1128" fmla="*/ 2162 h 10000"/>
                <a:gd name="connsiteX1129" fmla="*/ 5627 w 10785"/>
                <a:gd name="connsiteY1129" fmla="*/ 2145 h 10000"/>
                <a:gd name="connsiteX1130" fmla="*/ 5627 w 10785"/>
                <a:gd name="connsiteY1130" fmla="*/ 2120 h 10000"/>
                <a:gd name="connsiteX1131" fmla="*/ 5618 w 10785"/>
                <a:gd name="connsiteY1131" fmla="*/ 2111 h 10000"/>
                <a:gd name="connsiteX1132" fmla="*/ 5631 w 10785"/>
                <a:gd name="connsiteY1132" fmla="*/ 2051 h 10000"/>
                <a:gd name="connsiteX1133" fmla="*/ 5631 w 10785"/>
                <a:gd name="connsiteY1133" fmla="*/ 2026 h 10000"/>
                <a:gd name="connsiteX1134" fmla="*/ 5627 w 10785"/>
                <a:gd name="connsiteY1134" fmla="*/ 1991 h 10000"/>
                <a:gd name="connsiteX1135" fmla="*/ 5618 w 10785"/>
                <a:gd name="connsiteY1135" fmla="*/ 1974 h 10000"/>
                <a:gd name="connsiteX1136" fmla="*/ 5618 w 10785"/>
                <a:gd name="connsiteY1136" fmla="*/ 1940 h 10000"/>
                <a:gd name="connsiteX1137" fmla="*/ 5594 w 10785"/>
                <a:gd name="connsiteY1137" fmla="*/ 1855 h 10000"/>
                <a:gd name="connsiteX1138" fmla="*/ 5599 w 10785"/>
                <a:gd name="connsiteY1138" fmla="*/ 1915 h 10000"/>
                <a:gd name="connsiteX1139" fmla="*/ 5599 w 10785"/>
                <a:gd name="connsiteY1139" fmla="*/ 1949 h 10000"/>
                <a:gd name="connsiteX1140" fmla="*/ 5594 w 10785"/>
                <a:gd name="connsiteY1140" fmla="*/ 1991 h 10000"/>
                <a:gd name="connsiteX1141" fmla="*/ 5571 w 10785"/>
                <a:gd name="connsiteY1141" fmla="*/ 2000 h 10000"/>
                <a:gd name="connsiteX1142" fmla="*/ 5530 w 10785"/>
                <a:gd name="connsiteY1142" fmla="*/ 1991 h 10000"/>
                <a:gd name="connsiteX1143" fmla="*/ 5525 w 10785"/>
                <a:gd name="connsiteY1143" fmla="*/ 2000 h 10000"/>
                <a:gd name="connsiteX1144" fmla="*/ 5521 w 10785"/>
                <a:gd name="connsiteY1144" fmla="*/ 1991 h 10000"/>
                <a:gd name="connsiteX1145" fmla="*/ 5498 w 10785"/>
                <a:gd name="connsiteY1145" fmla="*/ 1949 h 10000"/>
                <a:gd name="connsiteX1146" fmla="*/ 5493 w 10785"/>
                <a:gd name="connsiteY1146" fmla="*/ 1889 h 10000"/>
                <a:gd name="connsiteX1147" fmla="*/ 5493 w 10785"/>
                <a:gd name="connsiteY1147" fmla="*/ 1863 h 10000"/>
                <a:gd name="connsiteX1148" fmla="*/ 5498 w 10785"/>
                <a:gd name="connsiteY1148" fmla="*/ 1889 h 10000"/>
                <a:gd name="connsiteX1149" fmla="*/ 5512 w 10785"/>
                <a:gd name="connsiteY1149" fmla="*/ 1855 h 10000"/>
                <a:gd name="connsiteX1150" fmla="*/ 5512 w 10785"/>
                <a:gd name="connsiteY1150" fmla="*/ 1838 h 10000"/>
                <a:gd name="connsiteX1151" fmla="*/ 5479 w 10785"/>
                <a:gd name="connsiteY1151" fmla="*/ 1855 h 10000"/>
                <a:gd name="connsiteX1152" fmla="*/ 5470 w 10785"/>
                <a:gd name="connsiteY1152" fmla="*/ 1872 h 10000"/>
                <a:gd name="connsiteX1153" fmla="*/ 5470 w 10785"/>
                <a:gd name="connsiteY1153" fmla="*/ 1889 h 10000"/>
                <a:gd name="connsiteX1154" fmla="*/ 5465 w 10785"/>
                <a:gd name="connsiteY1154" fmla="*/ 1897 h 10000"/>
                <a:gd name="connsiteX1155" fmla="*/ 5456 w 10785"/>
                <a:gd name="connsiteY1155" fmla="*/ 1872 h 10000"/>
                <a:gd name="connsiteX1156" fmla="*/ 5447 w 10785"/>
                <a:gd name="connsiteY1156" fmla="*/ 1872 h 10000"/>
                <a:gd name="connsiteX1157" fmla="*/ 5433 w 10785"/>
                <a:gd name="connsiteY1157" fmla="*/ 1855 h 10000"/>
                <a:gd name="connsiteX1158" fmla="*/ 5396 w 10785"/>
                <a:gd name="connsiteY1158" fmla="*/ 1863 h 10000"/>
                <a:gd name="connsiteX1159" fmla="*/ 5396 w 10785"/>
                <a:gd name="connsiteY1159" fmla="*/ 1897 h 10000"/>
                <a:gd name="connsiteX1160" fmla="*/ 5378 w 10785"/>
                <a:gd name="connsiteY1160" fmla="*/ 1949 h 10000"/>
                <a:gd name="connsiteX1161" fmla="*/ 5378 w 10785"/>
                <a:gd name="connsiteY1161" fmla="*/ 1966 h 10000"/>
                <a:gd name="connsiteX1162" fmla="*/ 5392 w 10785"/>
                <a:gd name="connsiteY1162" fmla="*/ 2026 h 10000"/>
                <a:gd name="connsiteX1163" fmla="*/ 5396 w 10785"/>
                <a:gd name="connsiteY1163" fmla="*/ 2026 h 10000"/>
                <a:gd name="connsiteX1164" fmla="*/ 5392 w 10785"/>
                <a:gd name="connsiteY1164" fmla="*/ 2009 h 10000"/>
                <a:gd name="connsiteX1165" fmla="*/ 5392 w 10785"/>
                <a:gd name="connsiteY1165" fmla="*/ 2000 h 10000"/>
                <a:gd name="connsiteX1166" fmla="*/ 5396 w 10785"/>
                <a:gd name="connsiteY1166" fmla="*/ 2009 h 10000"/>
                <a:gd name="connsiteX1167" fmla="*/ 5424 w 10785"/>
                <a:gd name="connsiteY1167" fmla="*/ 2009 h 10000"/>
                <a:gd name="connsiteX1168" fmla="*/ 5433 w 10785"/>
                <a:gd name="connsiteY1168" fmla="*/ 1991 h 10000"/>
                <a:gd name="connsiteX1169" fmla="*/ 5447 w 10785"/>
                <a:gd name="connsiteY1169" fmla="*/ 1974 h 10000"/>
                <a:gd name="connsiteX1170" fmla="*/ 5452 w 10785"/>
                <a:gd name="connsiteY1170" fmla="*/ 1966 h 10000"/>
                <a:gd name="connsiteX1171" fmla="*/ 5456 w 10785"/>
                <a:gd name="connsiteY1171" fmla="*/ 1966 h 10000"/>
                <a:gd name="connsiteX1172" fmla="*/ 5465 w 10785"/>
                <a:gd name="connsiteY1172" fmla="*/ 2009 h 10000"/>
                <a:gd name="connsiteX1173" fmla="*/ 5433 w 10785"/>
                <a:gd name="connsiteY1173" fmla="*/ 2034 h 10000"/>
                <a:gd name="connsiteX1174" fmla="*/ 5424 w 10785"/>
                <a:gd name="connsiteY1174" fmla="*/ 2060 h 10000"/>
                <a:gd name="connsiteX1175" fmla="*/ 5419 w 10785"/>
                <a:gd name="connsiteY1175" fmla="*/ 2060 h 10000"/>
                <a:gd name="connsiteX1176" fmla="*/ 5392 w 10785"/>
                <a:gd name="connsiteY1176" fmla="*/ 2111 h 10000"/>
                <a:gd name="connsiteX1177" fmla="*/ 5378 w 10785"/>
                <a:gd name="connsiteY1177" fmla="*/ 2111 h 10000"/>
                <a:gd name="connsiteX1178" fmla="*/ 5350 w 10785"/>
                <a:gd name="connsiteY1178" fmla="*/ 2060 h 10000"/>
                <a:gd name="connsiteX1179" fmla="*/ 5373 w 10785"/>
                <a:gd name="connsiteY1179" fmla="*/ 2111 h 10000"/>
                <a:gd name="connsiteX1180" fmla="*/ 5364 w 10785"/>
                <a:gd name="connsiteY1180" fmla="*/ 2111 h 10000"/>
                <a:gd name="connsiteX1181" fmla="*/ 5359 w 10785"/>
                <a:gd name="connsiteY1181" fmla="*/ 2103 h 10000"/>
                <a:gd name="connsiteX1182" fmla="*/ 5359 w 10785"/>
                <a:gd name="connsiteY1182" fmla="*/ 2120 h 10000"/>
                <a:gd name="connsiteX1183" fmla="*/ 5359 w 10785"/>
                <a:gd name="connsiteY1183" fmla="*/ 2137 h 10000"/>
                <a:gd name="connsiteX1184" fmla="*/ 5313 w 10785"/>
                <a:gd name="connsiteY1184" fmla="*/ 2162 h 10000"/>
                <a:gd name="connsiteX1185" fmla="*/ 5300 w 10785"/>
                <a:gd name="connsiteY1185" fmla="*/ 2162 h 10000"/>
                <a:gd name="connsiteX1186" fmla="*/ 5300 w 10785"/>
                <a:gd name="connsiteY1186" fmla="*/ 2171 h 10000"/>
                <a:gd name="connsiteX1187" fmla="*/ 5300 w 10785"/>
                <a:gd name="connsiteY1187" fmla="*/ 2197 h 10000"/>
                <a:gd name="connsiteX1188" fmla="*/ 5276 w 10785"/>
                <a:gd name="connsiteY1188" fmla="*/ 2188 h 10000"/>
                <a:gd name="connsiteX1189" fmla="*/ 5249 w 10785"/>
                <a:gd name="connsiteY1189" fmla="*/ 2222 h 10000"/>
                <a:gd name="connsiteX1190" fmla="*/ 5249 w 10785"/>
                <a:gd name="connsiteY1190" fmla="*/ 2222 h 10000"/>
                <a:gd name="connsiteX1191" fmla="*/ 5217 w 10785"/>
                <a:gd name="connsiteY1191" fmla="*/ 2214 h 10000"/>
                <a:gd name="connsiteX1192" fmla="*/ 5203 w 10785"/>
                <a:gd name="connsiteY1192" fmla="*/ 2239 h 10000"/>
                <a:gd name="connsiteX1193" fmla="*/ 5171 w 10785"/>
                <a:gd name="connsiteY1193" fmla="*/ 2214 h 10000"/>
                <a:gd name="connsiteX1194" fmla="*/ 5157 w 10785"/>
                <a:gd name="connsiteY1194" fmla="*/ 2239 h 10000"/>
                <a:gd name="connsiteX1195" fmla="*/ 5166 w 10785"/>
                <a:gd name="connsiteY1195" fmla="*/ 2256 h 10000"/>
                <a:gd name="connsiteX1196" fmla="*/ 5171 w 10785"/>
                <a:gd name="connsiteY1196" fmla="*/ 2308 h 10000"/>
                <a:gd name="connsiteX1197" fmla="*/ 5212 w 10785"/>
                <a:gd name="connsiteY1197" fmla="*/ 2350 h 10000"/>
                <a:gd name="connsiteX1198" fmla="*/ 5203 w 10785"/>
                <a:gd name="connsiteY1198" fmla="*/ 2350 h 10000"/>
                <a:gd name="connsiteX1199" fmla="*/ 5166 w 10785"/>
                <a:gd name="connsiteY1199" fmla="*/ 2325 h 10000"/>
                <a:gd name="connsiteX1200" fmla="*/ 5152 w 10785"/>
                <a:gd name="connsiteY1200" fmla="*/ 2308 h 10000"/>
                <a:gd name="connsiteX1201" fmla="*/ 5143 w 10785"/>
                <a:gd name="connsiteY1201" fmla="*/ 2333 h 10000"/>
                <a:gd name="connsiteX1202" fmla="*/ 5138 w 10785"/>
                <a:gd name="connsiteY1202" fmla="*/ 2333 h 10000"/>
                <a:gd name="connsiteX1203" fmla="*/ 5124 w 10785"/>
                <a:gd name="connsiteY1203" fmla="*/ 2376 h 10000"/>
                <a:gd name="connsiteX1204" fmla="*/ 5115 w 10785"/>
                <a:gd name="connsiteY1204" fmla="*/ 2385 h 10000"/>
                <a:gd name="connsiteX1205" fmla="*/ 5106 w 10785"/>
                <a:gd name="connsiteY1205" fmla="*/ 2385 h 10000"/>
                <a:gd name="connsiteX1206" fmla="*/ 5055 w 10785"/>
                <a:gd name="connsiteY1206" fmla="*/ 2470 h 10000"/>
                <a:gd name="connsiteX1207" fmla="*/ 5065 w 10785"/>
                <a:gd name="connsiteY1207" fmla="*/ 2462 h 10000"/>
                <a:gd name="connsiteX1208" fmla="*/ 5055 w 10785"/>
                <a:gd name="connsiteY1208" fmla="*/ 2444 h 10000"/>
                <a:gd name="connsiteX1209" fmla="*/ 5041 w 10785"/>
                <a:gd name="connsiteY1209" fmla="*/ 2462 h 10000"/>
                <a:gd name="connsiteX1210" fmla="*/ 5037 w 10785"/>
                <a:gd name="connsiteY1210" fmla="*/ 2470 h 10000"/>
                <a:gd name="connsiteX1211" fmla="*/ 5032 w 10785"/>
                <a:gd name="connsiteY1211" fmla="*/ 2470 h 10000"/>
                <a:gd name="connsiteX1212" fmla="*/ 5032 w 10785"/>
                <a:gd name="connsiteY1212" fmla="*/ 2444 h 10000"/>
                <a:gd name="connsiteX1213" fmla="*/ 5055 w 10785"/>
                <a:gd name="connsiteY1213" fmla="*/ 2410 h 10000"/>
                <a:gd name="connsiteX1214" fmla="*/ 5065 w 10785"/>
                <a:gd name="connsiteY1214" fmla="*/ 2393 h 10000"/>
                <a:gd name="connsiteX1215" fmla="*/ 5069 w 10785"/>
                <a:gd name="connsiteY1215" fmla="*/ 2385 h 10000"/>
                <a:gd name="connsiteX1216" fmla="*/ 5083 w 10785"/>
                <a:gd name="connsiteY1216" fmla="*/ 2376 h 10000"/>
                <a:gd name="connsiteX1217" fmla="*/ 5097 w 10785"/>
                <a:gd name="connsiteY1217" fmla="*/ 2376 h 10000"/>
                <a:gd name="connsiteX1218" fmla="*/ 5124 w 10785"/>
                <a:gd name="connsiteY1218" fmla="*/ 2325 h 10000"/>
                <a:gd name="connsiteX1219" fmla="*/ 5143 w 10785"/>
                <a:gd name="connsiteY1219" fmla="*/ 2248 h 10000"/>
                <a:gd name="connsiteX1220" fmla="*/ 5152 w 10785"/>
                <a:gd name="connsiteY1220" fmla="*/ 2239 h 10000"/>
                <a:gd name="connsiteX1221" fmla="*/ 5166 w 10785"/>
                <a:gd name="connsiteY1221" fmla="*/ 2162 h 10000"/>
                <a:gd name="connsiteX1222" fmla="*/ 5171 w 10785"/>
                <a:gd name="connsiteY1222" fmla="*/ 2171 h 10000"/>
                <a:gd name="connsiteX1223" fmla="*/ 5198 w 10785"/>
                <a:gd name="connsiteY1223" fmla="*/ 2145 h 10000"/>
                <a:gd name="connsiteX1224" fmla="*/ 5203 w 10785"/>
                <a:gd name="connsiteY1224" fmla="*/ 2111 h 10000"/>
                <a:gd name="connsiteX1225" fmla="*/ 5217 w 10785"/>
                <a:gd name="connsiteY1225" fmla="*/ 2060 h 10000"/>
                <a:gd name="connsiteX1226" fmla="*/ 5226 w 10785"/>
                <a:gd name="connsiteY1226" fmla="*/ 2026 h 10000"/>
                <a:gd name="connsiteX1227" fmla="*/ 5286 w 10785"/>
                <a:gd name="connsiteY1227" fmla="*/ 2026 h 10000"/>
                <a:gd name="connsiteX1228" fmla="*/ 5290 w 10785"/>
                <a:gd name="connsiteY1228" fmla="*/ 2034 h 10000"/>
                <a:gd name="connsiteX1229" fmla="*/ 5323 w 10785"/>
                <a:gd name="connsiteY1229" fmla="*/ 1923 h 10000"/>
                <a:gd name="connsiteX1230" fmla="*/ 5323 w 10785"/>
                <a:gd name="connsiteY1230" fmla="*/ 1889 h 10000"/>
                <a:gd name="connsiteX1231" fmla="*/ 5359 w 10785"/>
                <a:gd name="connsiteY1231" fmla="*/ 1829 h 10000"/>
                <a:gd name="connsiteX1232" fmla="*/ 5378 w 10785"/>
                <a:gd name="connsiteY1232" fmla="*/ 1812 h 10000"/>
                <a:gd name="connsiteX1233" fmla="*/ 5406 w 10785"/>
                <a:gd name="connsiteY1233" fmla="*/ 1752 h 10000"/>
                <a:gd name="connsiteX1234" fmla="*/ 5410 w 10785"/>
                <a:gd name="connsiteY1234" fmla="*/ 1718 h 10000"/>
                <a:gd name="connsiteX1235" fmla="*/ 5438 w 10785"/>
                <a:gd name="connsiteY1235" fmla="*/ 1667 h 10000"/>
                <a:gd name="connsiteX1236" fmla="*/ 5438 w 10785"/>
                <a:gd name="connsiteY1236" fmla="*/ 1650 h 10000"/>
                <a:gd name="connsiteX1237" fmla="*/ 5438 w 10785"/>
                <a:gd name="connsiteY1237" fmla="*/ 1641 h 10000"/>
                <a:gd name="connsiteX1238" fmla="*/ 5452 w 10785"/>
                <a:gd name="connsiteY1238" fmla="*/ 1641 h 10000"/>
                <a:gd name="connsiteX1239" fmla="*/ 5456 w 10785"/>
                <a:gd name="connsiteY1239" fmla="*/ 1615 h 10000"/>
                <a:gd name="connsiteX1240" fmla="*/ 5456 w 10785"/>
                <a:gd name="connsiteY1240" fmla="*/ 1615 h 10000"/>
                <a:gd name="connsiteX1241" fmla="*/ 5465 w 10785"/>
                <a:gd name="connsiteY1241" fmla="*/ 1598 h 10000"/>
                <a:gd name="connsiteX1242" fmla="*/ 5465 w 10785"/>
                <a:gd name="connsiteY1242" fmla="*/ 1615 h 10000"/>
                <a:gd name="connsiteX1243" fmla="*/ 5479 w 10785"/>
                <a:gd name="connsiteY1243" fmla="*/ 1598 h 10000"/>
                <a:gd name="connsiteX1244" fmla="*/ 5484 w 10785"/>
                <a:gd name="connsiteY1244" fmla="*/ 1581 h 10000"/>
                <a:gd name="connsiteX1245" fmla="*/ 5493 w 10785"/>
                <a:gd name="connsiteY1245" fmla="*/ 1581 h 10000"/>
                <a:gd name="connsiteX1246" fmla="*/ 5512 w 10785"/>
                <a:gd name="connsiteY1246" fmla="*/ 1538 h 10000"/>
                <a:gd name="connsiteX1247" fmla="*/ 5530 w 10785"/>
                <a:gd name="connsiteY1247" fmla="*/ 1564 h 10000"/>
                <a:gd name="connsiteX1248" fmla="*/ 5530 w 10785"/>
                <a:gd name="connsiteY1248" fmla="*/ 1538 h 10000"/>
                <a:gd name="connsiteX1249" fmla="*/ 5539 w 10785"/>
                <a:gd name="connsiteY1249" fmla="*/ 1530 h 10000"/>
                <a:gd name="connsiteX1250" fmla="*/ 5530 w 10785"/>
                <a:gd name="connsiteY1250" fmla="*/ 1504 h 10000"/>
                <a:gd name="connsiteX1251" fmla="*/ 5567 w 10785"/>
                <a:gd name="connsiteY1251" fmla="*/ 1479 h 10000"/>
                <a:gd name="connsiteX1252" fmla="*/ 5553 w 10785"/>
                <a:gd name="connsiteY1252" fmla="*/ 1479 h 10000"/>
                <a:gd name="connsiteX1253" fmla="*/ 5553 w 10785"/>
                <a:gd name="connsiteY1253" fmla="*/ 1453 h 10000"/>
                <a:gd name="connsiteX1254" fmla="*/ 5581 w 10785"/>
                <a:gd name="connsiteY1254" fmla="*/ 1444 h 10000"/>
                <a:gd name="connsiteX1255" fmla="*/ 5581 w 10785"/>
                <a:gd name="connsiteY1255" fmla="*/ 1453 h 10000"/>
                <a:gd name="connsiteX1256" fmla="*/ 5585 w 10785"/>
                <a:gd name="connsiteY1256" fmla="*/ 1444 h 10000"/>
                <a:gd name="connsiteX1257" fmla="*/ 5594 w 10785"/>
                <a:gd name="connsiteY1257" fmla="*/ 1427 h 10000"/>
                <a:gd name="connsiteX1258" fmla="*/ 5599 w 10785"/>
                <a:gd name="connsiteY1258" fmla="*/ 1419 h 10000"/>
                <a:gd name="connsiteX1259" fmla="*/ 5594 w 10785"/>
                <a:gd name="connsiteY1259" fmla="*/ 1402 h 10000"/>
                <a:gd name="connsiteX1260" fmla="*/ 5604 w 10785"/>
                <a:gd name="connsiteY1260" fmla="*/ 1393 h 10000"/>
                <a:gd name="connsiteX1261" fmla="*/ 5618 w 10785"/>
                <a:gd name="connsiteY1261" fmla="*/ 1393 h 10000"/>
                <a:gd name="connsiteX1262" fmla="*/ 5627 w 10785"/>
                <a:gd name="connsiteY1262" fmla="*/ 1368 h 10000"/>
                <a:gd name="connsiteX1263" fmla="*/ 5627 w 10785"/>
                <a:gd name="connsiteY1263" fmla="*/ 1325 h 10000"/>
                <a:gd name="connsiteX1264" fmla="*/ 5645 w 10785"/>
                <a:gd name="connsiteY1264" fmla="*/ 1291 h 10000"/>
                <a:gd name="connsiteX1265" fmla="*/ 5645 w 10785"/>
                <a:gd name="connsiteY1265" fmla="*/ 1282 h 10000"/>
                <a:gd name="connsiteX1266" fmla="*/ 5654 w 10785"/>
                <a:gd name="connsiteY1266" fmla="*/ 1265 h 10000"/>
                <a:gd name="connsiteX1267" fmla="*/ 5654 w 10785"/>
                <a:gd name="connsiteY1267" fmla="*/ 1214 h 10000"/>
                <a:gd name="connsiteX1268" fmla="*/ 5654 w 10785"/>
                <a:gd name="connsiteY1268" fmla="*/ 1214 h 10000"/>
                <a:gd name="connsiteX1269" fmla="*/ 5645 w 10785"/>
                <a:gd name="connsiteY1269" fmla="*/ 1197 h 10000"/>
                <a:gd name="connsiteX1270" fmla="*/ 5659 w 10785"/>
                <a:gd name="connsiteY1270" fmla="*/ 1197 h 10000"/>
                <a:gd name="connsiteX1271" fmla="*/ 5654 w 10785"/>
                <a:gd name="connsiteY1271" fmla="*/ 1154 h 10000"/>
                <a:gd name="connsiteX1272" fmla="*/ 5641 w 10785"/>
                <a:gd name="connsiteY1272" fmla="*/ 1154 h 10000"/>
                <a:gd name="connsiteX1273" fmla="*/ 5627 w 10785"/>
                <a:gd name="connsiteY1273" fmla="*/ 1128 h 10000"/>
                <a:gd name="connsiteX1274" fmla="*/ 5618 w 10785"/>
                <a:gd name="connsiteY1274" fmla="*/ 1094 h 10000"/>
                <a:gd name="connsiteX1275" fmla="*/ 5613 w 10785"/>
                <a:gd name="connsiteY1275" fmla="*/ 1094 h 10000"/>
                <a:gd name="connsiteX1276" fmla="*/ 5604 w 10785"/>
                <a:gd name="connsiteY1276" fmla="*/ 1120 h 10000"/>
                <a:gd name="connsiteX1277" fmla="*/ 5604 w 10785"/>
                <a:gd name="connsiteY1277" fmla="*/ 1128 h 10000"/>
                <a:gd name="connsiteX1278" fmla="*/ 5599 w 10785"/>
                <a:gd name="connsiteY1278" fmla="*/ 1103 h 10000"/>
                <a:gd name="connsiteX1279" fmla="*/ 5599 w 10785"/>
                <a:gd name="connsiteY1279" fmla="*/ 1103 h 10000"/>
                <a:gd name="connsiteX1280" fmla="*/ 5594 w 10785"/>
                <a:gd name="connsiteY1280" fmla="*/ 1068 h 10000"/>
                <a:gd name="connsiteX1281" fmla="*/ 5594 w 10785"/>
                <a:gd name="connsiteY1281" fmla="*/ 1060 h 10000"/>
                <a:gd name="connsiteX1282" fmla="*/ 5581 w 10785"/>
                <a:gd name="connsiteY1282" fmla="*/ 1034 h 10000"/>
                <a:gd name="connsiteX1283" fmla="*/ 5571 w 10785"/>
                <a:gd name="connsiteY1283" fmla="*/ 1009 h 10000"/>
                <a:gd name="connsiteX1284" fmla="*/ 5571 w 10785"/>
                <a:gd name="connsiteY1284" fmla="*/ 991 h 10000"/>
                <a:gd name="connsiteX1285" fmla="*/ 5585 w 10785"/>
                <a:gd name="connsiteY1285" fmla="*/ 1009 h 10000"/>
                <a:gd name="connsiteX1286" fmla="*/ 5604 w 10785"/>
                <a:gd name="connsiteY1286" fmla="*/ 1043 h 10000"/>
                <a:gd name="connsiteX1287" fmla="*/ 5641 w 10785"/>
                <a:gd name="connsiteY1287" fmla="*/ 1094 h 10000"/>
                <a:gd name="connsiteX1288" fmla="*/ 5631 w 10785"/>
                <a:gd name="connsiteY1288" fmla="*/ 1128 h 10000"/>
                <a:gd name="connsiteX1289" fmla="*/ 5641 w 10785"/>
                <a:gd name="connsiteY1289" fmla="*/ 1128 h 10000"/>
                <a:gd name="connsiteX1290" fmla="*/ 5659 w 10785"/>
                <a:gd name="connsiteY1290" fmla="*/ 1017 h 10000"/>
                <a:gd name="connsiteX1291" fmla="*/ 5659 w 10785"/>
                <a:gd name="connsiteY1291" fmla="*/ 983 h 10000"/>
                <a:gd name="connsiteX1292" fmla="*/ 5659 w 10785"/>
                <a:gd name="connsiteY1292" fmla="*/ 957 h 10000"/>
                <a:gd name="connsiteX1293" fmla="*/ 5654 w 10785"/>
                <a:gd name="connsiteY1293" fmla="*/ 966 h 10000"/>
                <a:gd name="connsiteX1294" fmla="*/ 5641 w 10785"/>
                <a:gd name="connsiteY1294" fmla="*/ 957 h 10000"/>
                <a:gd name="connsiteX1295" fmla="*/ 5631 w 10785"/>
                <a:gd name="connsiteY1295" fmla="*/ 897 h 10000"/>
                <a:gd name="connsiteX1296" fmla="*/ 5641 w 10785"/>
                <a:gd name="connsiteY1296" fmla="*/ 872 h 10000"/>
                <a:gd name="connsiteX1297" fmla="*/ 5618 w 10785"/>
                <a:gd name="connsiteY1297" fmla="*/ 803 h 10000"/>
                <a:gd name="connsiteX1298" fmla="*/ 5604 w 10785"/>
                <a:gd name="connsiteY1298" fmla="*/ 821 h 10000"/>
                <a:gd name="connsiteX1299" fmla="*/ 5613 w 10785"/>
                <a:gd name="connsiteY1299" fmla="*/ 846 h 10000"/>
                <a:gd name="connsiteX1300" fmla="*/ 5604 w 10785"/>
                <a:gd name="connsiteY1300" fmla="*/ 855 h 10000"/>
                <a:gd name="connsiteX1301" fmla="*/ 5599 w 10785"/>
                <a:gd name="connsiteY1301" fmla="*/ 880 h 10000"/>
                <a:gd name="connsiteX1302" fmla="*/ 5594 w 10785"/>
                <a:gd name="connsiteY1302" fmla="*/ 880 h 10000"/>
                <a:gd name="connsiteX1303" fmla="*/ 5585 w 10785"/>
                <a:gd name="connsiteY1303" fmla="*/ 829 h 10000"/>
                <a:gd name="connsiteX1304" fmla="*/ 5571 w 10785"/>
                <a:gd name="connsiteY1304" fmla="*/ 803 h 10000"/>
                <a:gd name="connsiteX1305" fmla="*/ 5585 w 10785"/>
                <a:gd name="connsiteY1305" fmla="*/ 795 h 10000"/>
                <a:gd name="connsiteX1306" fmla="*/ 5585 w 10785"/>
                <a:gd name="connsiteY1306" fmla="*/ 761 h 10000"/>
                <a:gd name="connsiteX1307" fmla="*/ 5558 w 10785"/>
                <a:gd name="connsiteY1307" fmla="*/ 709 h 10000"/>
                <a:gd name="connsiteX1308" fmla="*/ 5544 w 10785"/>
                <a:gd name="connsiteY1308" fmla="*/ 709 h 10000"/>
                <a:gd name="connsiteX1309" fmla="*/ 5544 w 10785"/>
                <a:gd name="connsiteY1309" fmla="*/ 684 h 10000"/>
                <a:gd name="connsiteX1310" fmla="*/ 5525 w 10785"/>
                <a:gd name="connsiteY1310" fmla="*/ 632 h 10000"/>
                <a:gd name="connsiteX1311" fmla="*/ 5507 w 10785"/>
                <a:gd name="connsiteY1311" fmla="*/ 607 h 10000"/>
                <a:gd name="connsiteX1312" fmla="*/ 5512 w 10785"/>
                <a:gd name="connsiteY1312" fmla="*/ 598 h 10000"/>
                <a:gd name="connsiteX1313" fmla="*/ 5507 w 10785"/>
                <a:gd name="connsiteY1313" fmla="*/ 581 h 10000"/>
                <a:gd name="connsiteX1314" fmla="*/ 5493 w 10785"/>
                <a:gd name="connsiteY1314" fmla="*/ 573 h 10000"/>
                <a:gd name="connsiteX1315" fmla="*/ 5484 w 10785"/>
                <a:gd name="connsiteY1315" fmla="*/ 581 h 10000"/>
                <a:gd name="connsiteX1316" fmla="*/ 5484 w 10785"/>
                <a:gd name="connsiteY1316" fmla="*/ 573 h 10000"/>
                <a:gd name="connsiteX1317" fmla="*/ 5484 w 10785"/>
                <a:gd name="connsiteY1317" fmla="*/ 547 h 10000"/>
                <a:gd name="connsiteX1318" fmla="*/ 5465 w 10785"/>
                <a:gd name="connsiteY1318" fmla="*/ 556 h 10000"/>
                <a:gd name="connsiteX1319" fmla="*/ 5433 w 10785"/>
                <a:gd name="connsiteY1319" fmla="*/ 547 h 10000"/>
                <a:gd name="connsiteX1320" fmla="*/ 5410 w 10785"/>
                <a:gd name="connsiteY1320" fmla="*/ 573 h 10000"/>
                <a:gd name="connsiteX1321" fmla="*/ 5406 w 10785"/>
                <a:gd name="connsiteY1321" fmla="*/ 573 h 10000"/>
                <a:gd name="connsiteX1322" fmla="*/ 5392 w 10785"/>
                <a:gd name="connsiteY1322" fmla="*/ 573 h 10000"/>
                <a:gd name="connsiteX1323" fmla="*/ 5364 w 10785"/>
                <a:gd name="connsiteY1323" fmla="*/ 530 h 10000"/>
                <a:gd name="connsiteX1324" fmla="*/ 5350 w 10785"/>
                <a:gd name="connsiteY1324" fmla="*/ 556 h 10000"/>
                <a:gd name="connsiteX1325" fmla="*/ 5346 w 10785"/>
                <a:gd name="connsiteY1325" fmla="*/ 556 h 10000"/>
                <a:gd name="connsiteX1326" fmla="*/ 5313 w 10785"/>
                <a:gd name="connsiteY1326" fmla="*/ 573 h 10000"/>
                <a:gd name="connsiteX1327" fmla="*/ 5304 w 10785"/>
                <a:gd name="connsiteY1327" fmla="*/ 556 h 10000"/>
                <a:gd name="connsiteX1328" fmla="*/ 5290 w 10785"/>
                <a:gd name="connsiteY1328" fmla="*/ 573 h 10000"/>
                <a:gd name="connsiteX1329" fmla="*/ 5290 w 10785"/>
                <a:gd name="connsiteY1329" fmla="*/ 556 h 10000"/>
                <a:gd name="connsiteX1330" fmla="*/ 5300 w 10785"/>
                <a:gd name="connsiteY1330" fmla="*/ 547 h 10000"/>
                <a:gd name="connsiteX1331" fmla="*/ 5300 w 10785"/>
                <a:gd name="connsiteY1331" fmla="*/ 530 h 10000"/>
                <a:gd name="connsiteX1332" fmla="*/ 5290 w 10785"/>
                <a:gd name="connsiteY1332" fmla="*/ 530 h 10000"/>
                <a:gd name="connsiteX1333" fmla="*/ 5286 w 10785"/>
                <a:gd name="connsiteY1333" fmla="*/ 547 h 10000"/>
                <a:gd name="connsiteX1334" fmla="*/ 5272 w 10785"/>
                <a:gd name="connsiteY1334" fmla="*/ 556 h 10000"/>
                <a:gd name="connsiteX1335" fmla="*/ 5272 w 10785"/>
                <a:gd name="connsiteY1335" fmla="*/ 598 h 10000"/>
                <a:gd name="connsiteX1336" fmla="*/ 5276 w 10785"/>
                <a:gd name="connsiteY1336" fmla="*/ 581 h 10000"/>
                <a:gd name="connsiteX1337" fmla="*/ 5272 w 10785"/>
                <a:gd name="connsiteY1337" fmla="*/ 607 h 10000"/>
                <a:gd name="connsiteX1338" fmla="*/ 5263 w 10785"/>
                <a:gd name="connsiteY1338" fmla="*/ 607 h 10000"/>
                <a:gd name="connsiteX1339" fmla="*/ 5263 w 10785"/>
                <a:gd name="connsiteY1339" fmla="*/ 632 h 10000"/>
                <a:gd name="connsiteX1340" fmla="*/ 5258 w 10785"/>
                <a:gd name="connsiteY1340" fmla="*/ 658 h 10000"/>
                <a:gd name="connsiteX1341" fmla="*/ 5244 w 10785"/>
                <a:gd name="connsiteY1341" fmla="*/ 667 h 10000"/>
                <a:gd name="connsiteX1342" fmla="*/ 5240 w 10785"/>
                <a:gd name="connsiteY1342" fmla="*/ 658 h 10000"/>
                <a:gd name="connsiteX1343" fmla="*/ 5240 w 10785"/>
                <a:gd name="connsiteY1343" fmla="*/ 684 h 10000"/>
                <a:gd name="connsiteX1344" fmla="*/ 5212 w 10785"/>
                <a:gd name="connsiteY1344" fmla="*/ 684 h 10000"/>
                <a:gd name="connsiteX1345" fmla="*/ 5198 w 10785"/>
                <a:gd name="connsiteY1345" fmla="*/ 692 h 10000"/>
                <a:gd name="connsiteX1346" fmla="*/ 5184 w 10785"/>
                <a:gd name="connsiteY1346" fmla="*/ 684 h 10000"/>
                <a:gd name="connsiteX1347" fmla="*/ 5157 w 10785"/>
                <a:gd name="connsiteY1347" fmla="*/ 684 h 10000"/>
                <a:gd name="connsiteX1348" fmla="*/ 5157 w 10785"/>
                <a:gd name="connsiteY1348" fmla="*/ 667 h 10000"/>
                <a:gd name="connsiteX1349" fmla="*/ 5157 w 10785"/>
                <a:gd name="connsiteY1349" fmla="*/ 667 h 10000"/>
                <a:gd name="connsiteX1350" fmla="*/ 5180 w 10785"/>
                <a:gd name="connsiteY1350" fmla="*/ 650 h 10000"/>
                <a:gd name="connsiteX1351" fmla="*/ 5184 w 10785"/>
                <a:gd name="connsiteY1351" fmla="*/ 658 h 10000"/>
                <a:gd name="connsiteX1352" fmla="*/ 5203 w 10785"/>
                <a:gd name="connsiteY1352" fmla="*/ 547 h 10000"/>
                <a:gd name="connsiteX1353" fmla="*/ 5226 w 10785"/>
                <a:gd name="connsiteY1353" fmla="*/ 530 h 10000"/>
                <a:gd name="connsiteX1354" fmla="*/ 5230 w 10785"/>
                <a:gd name="connsiteY1354" fmla="*/ 487 h 10000"/>
                <a:gd name="connsiteX1355" fmla="*/ 5230 w 10785"/>
                <a:gd name="connsiteY1355" fmla="*/ 487 h 10000"/>
                <a:gd name="connsiteX1356" fmla="*/ 5226 w 10785"/>
                <a:gd name="connsiteY1356" fmla="*/ 462 h 10000"/>
                <a:gd name="connsiteX1357" fmla="*/ 5226 w 10785"/>
                <a:gd name="connsiteY1357" fmla="*/ 462 h 10000"/>
                <a:gd name="connsiteX1358" fmla="*/ 5240 w 10785"/>
                <a:gd name="connsiteY1358" fmla="*/ 462 h 10000"/>
                <a:gd name="connsiteX1359" fmla="*/ 5240 w 10785"/>
                <a:gd name="connsiteY1359" fmla="*/ 444 h 10000"/>
                <a:gd name="connsiteX1360" fmla="*/ 5230 w 10785"/>
                <a:gd name="connsiteY1360" fmla="*/ 436 h 10000"/>
                <a:gd name="connsiteX1361" fmla="*/ 5230 w 10785"/>
                <a:gd name="connsiteY1361" fmla="*/ 419 h 10000"/>
                <a:gd name="connsiteX1362" fmla="*/ 5230 w 10785"/>
                <a:gd name="connsiteY1362" fmla="*/ 410 h 10000"/>
                <a:gd name="connsiteX1363" fmla="*/ 5198 w 10785"/>
                <a:gd name="connsiteY1363" fmla="*/ 402 h 10000"/>
                <a:gd name="connsiteX1364" fmla="*/ 5189 w 10785"/>
                <a:gd name="connsiteY1364" fmla="*/ 402 h 10000"/>
                <a:gd name="connsiteX1365" fmla="*/ 5184 w 10785"/>
                <a:gd name="connsiteY1365" fmla="*/ 376 h 10000"/>
                <a:gd name="connsiteX1366" fmla="*/ 5180 w 10785"/>
                <a:gd name="connsiteY1366" fmla="*/ 376 h 10000"/>
                <a:gd name="connsiteX1367" fmla="*/ 5166 w 10785"/>
                <a:gd name="connsiteY1367" fmla="*/ 376 h 10000"/>
                <a:gd name="connsiteX1368" fmla="*/ 5157 w 10785"/>
                <a:gd name="connsiteY1368" fmla="*/ 385 h 10000"/>
                <a:gd name="connsiteX1369" fmla="*/ 5152 w 10785"/>
                <a:gd name="connsiteY1369" fmla="*/ 376 h 10000"/>
                <a:gd name="connsiteX1370" fmla="*/ 5129 w 10785"/>
                <a:gd name="connsiteY1370" fmla="*/ 385 h 10000"/>
                <a:gd name="connsiteX1371" fmla="*/ 5129 w 10785"/>
                <a:gd name="connsiteY1371" fmla="*/ 350 h 10000"/>
                <a:gd name="connsiteX1372" fmla="*/ 5129 w 10785"/>
                <a:gd name="connsiteY1372" fmla="*/ 325 h 10000"/>
                <a:gd name="connsiteX1373" fmla="*/ 5124 w 10785"/>
                <a:gd name="connsiteY1373" fmla="*/ 359 h 10000"/>
                <a:gd name="connsiteX1374" fmla="*/ 5106 w 10785"/>
                <a:gd name="connsiteY1374" fmla="*/ 359 h 10000"/>
                <a:gd name="connsiteX1375" fmla="*/ 5037 w 10785"/>
                <a:gd name="connsiteY1375" fmla="*/ 419 h 10000"/>
                <a:gd name="connsiteX1376" fmla="*/ 5051 w 10785"/>
                <a:gd name="connsiteY1376" fmla="*/ 385 h 10000"/>
                <a:gd name="connsiteX1377" fmla="*/ 5055 w 10785"/>
                <a:gd name="connsiteY1377" fmla="*/ 376 h 10000"/>
                <a:gd name="connsiteX1378" fmla="*/ 5092 w 10785"/>
                <a:gd name="connsiteY1378" fmla="*/ 282 h 10000"/>
                <a:gd name="connsiteX1379" fmla="*/ 5106 w 10785"/>
                <a:gd name="connsiteY1379" fmla="*/ 265 h 10000"/>
                <a:gd name="connsiteX1380" fmla="*/ 5115 w 10785"/>
                <a:gd name="connsiteY1380" fmla="*/ 265 h 10000"/>
                <a:gd name="connsiteX1381" fmla="*/ 5124 w 10785"/>
                <a:gd name="connsiteY1381" fmla="*/ 222 h 10000"/>
                <a:gd name="connsiteX1382" fmla="*/ 5124 w 10785"/>
                <a:gd name="connsiteY1382" fmla="*/ 214 h 10000"/>
                <a:gd name="connsiteX1383" fmla="*/ 5143 w 10785"/>
                <a:gd name="connsiteY1383" fmla="*/ 197 h 10000"/>
                <a:gd name="connsiteX1384" fmla="*/ 5152 w 10785"/>
                <a:gd name="connsiteY1384" fmla="*/ 214 h 10000"/>
                <a:gd name="connsiteX1385" fmla="*/ 5143 w 10785"/>
                <a:gd name="connsiteY1385" fmla="*/ 188 h 10000"/>
                <a:gd name="connsiteX1386" fmla="*/ 5129 w 10785"/>
                <a:gd name="connsiteY1386" fmla="*/ 103 h 10000"/>
                <a:gd name="connsiteX1387" fmla="*/ 5115 w 10785"/>
                <a:gd name="connsiteY1387" fmla="*/ 85 h 10000"/>
                <a:gd name="connsiteX1388" fmla="*/ 5111 w 10785"/>
                <a:gd name="connsiteY1388" fmla="*/ 111 h 10000"/>
                <a:gd name="connsiteX1389" fmla="*/ 5092 w 10785"/>
                <a:gd name="connsiteY1389" fmla="*/ 103 h 10000"/>
                <a:gd name="connsiteX1390" fmla="*/ 5069 w 10785"/>
                <a:gd name="connsiteY1390" fmla="*/ 77 h 10000"/>
                <a:gd name="connsiteX1391" fmla="*/ 5051 w 10785"/>
                <a:gd name="connsiteY1391" fmla="*/ 26 h 10000"/>
                <a:gd name="connsiteX1392" fmla="*/ 5041 w 10785"/>
                <a:gd name="connsiteY1392" fmla="*/ 34 h 10000"/>
                <a:gd name="connsiteX1393" fmla="*/ 5037 w 10785"/>
                <a:gd name="connsiteY1393" fmla="*/ 34 h 10000"/>
                <a:gd name="connsiteX1394" fmla="*/ 5037 w 10785"/>
                <a:gd name="connsiteY1394" fmla="*/ 26 h 10000"/>
                <a:gd name="connsiteX1395" fmla="*/ 5037 w 10785"/>
                <a:gd name="connsiteY1395" fmla="*/ 9 h 10000"/>
                <a:gd name="connsiteX1396" fmla="*/ 5023 w 10785"/>
                <a:gd name="connsiteY1396" fmla="*/ 0 h 10000"/>
                <a:gd name="connsiteX1397" fmla="*/ 5009 w 10785"/>
                <a:gd name="connsiteY1397" fmla="*/ 9 h 10000"/>
                <a:gd name="connsiteX1398" fmla="*/ 4995 w 10785"/>
                <a:gd name="connsiteY1398" fmla="*/ 34 h 10000"/>
                <a:gd name="connsiteX1399" fmla="*/ 4991 w 10785"/>
                <a:gd name="connsiteY1399" fmla="*/ 60 h 10000"/>
                <a:gd name="connsiteX1400" fmla="*/ 4982 w 10785"/>
                <a:gd name="connsiteY1400" fmla="*/ 60 h 10000"/>
                <a:gd name="connsiteX1401" fmla="*/ 4949 w 10785"/>
                <a:gd name="connsiteY1401" fmla="*/ 51 h 10000"/>
                <a:gd name="connsiteX1402" fmla="*/ 4949 w 10785"/>
                <a:gd name="connsiteY1402" fmla="*/ 85 h 10000"/>
                <a:gd name="connsiteX1403" fmla="*/ 4903 w 10785"/>
                <a:gd name="connsiteY1403" fmla="*/ 197 h 10000"/>
                <a:gd name="connsiteX1404" fmla="*/ 4899 w 10785"/>
                <a:gd name="connsiteY1404" fmla="*/ 239 h 10000"/>
                <a:gd name="connsiteX1405" fmla="*/ 4871 w 10785"/>
                <a:gd name="connsiteY1405" fmla="*/ 274 h 10000"/>
                <a:gd name="connsiteX1406" fmla="*/ 4871 w 10785"/>
                <a:gd name="connsiteY1406" fmla="*/ 282 h 10000"/>
                <a:gd name="connsiteX1407" fmla="*/ 4834 w 10785"/>
                <a:gd name="connsiteY1407" fmla="*/ 376 h 10000"/>
                <a:gd name="connsiteX1408" fmla="*/ 4829 w 10785"/>
                <a:gd name="connsiteY1408" fmla="*/ 402 h 10000"/>
                <a:gd name="connsiteX1409" fmla="*/ 4834 w 10785"/>
                <a:gd name="connsiteY1409" fmla="*/ 410 h 10000"/>
                <a:gd name="connsiteX1410" fmla="*/ 4829 w 10785"/>
                <a:gd name="connsiteY1410" fmla="*/ 436 h 10000"/>
                <a:gd name="connsiteX1411" fmla="*/ 4825 w 10785"/>
                <a:gd name="connsiteY1411" fmla="*/ 436 h 10000"/>
                <a:gd name="connsiteX1412" fmla="*/ 4825 w 10785"/>
                <a:gd name="connsiteY1412" fmla="*/ 444 h 10000"/>
                <a:gd name="connsiteX1413" fmla="*/ 4811 w 10785"/>
                <a:gd name="connsiteY1413" fmla="*/ 496 h 10000"/>
                <a:gd name="connsiteX1414" fmla="*/ 4811 w 10785"/>
                <a:gd name="connsiteY1414" fmla="*/ 496 h 10000"/>
                <a:gd name="connsiteX1415" fmla="*/ 4811 w 10785"/>
                <a:gd name="connsiteY1415" fmla="*/ 521 h 10000"/>
                <a:gd name="connsiteX1416" fmla="*/ 4816 w 10785"/>
                <a:gd name="connsiteY1416" fmla="*/ 530 h 10000"/>
                <a:gd name="connsiteX1417" fmla="*/ 4834 w 10785"/>
                <a:gd name="connsiteY1417" fmla="*/ 547 h 10000"/>
                <a:gd name="connsiteX1418" fmla="*/ 4834 w 10785"/>
                <a:gd name="connsiteY1418" fmla="*/ 581 h 10000"/>
                <a:gd name="connsiteX1419" fmla="*/ 4843 w 10785"/>
                <a:gd name="connsiteY1419" fmla="*/ 581 h 10000"/>
                <a:gd name="connsiteX1420" fmla="*/ 4843 w 10785"/>
                <a:gd name="connsiteY1420" fmla="*/ 598 h 10000"/>
                <a:gd name="connsiteX1421" fmla="*/ 4829 w 10785"/>
                <a:gd name="connsiteY1421" fmla="*/ 598 h 10000"/>
                <a:gd name="connsiteX1422" fmla="*/ 4829 w 10785"/>
                <a:gd name="connsiteY1422" fmla="*/ 573 h 10000"/>
                <a:gd name="connsiteX1423" fmla="*/ 4829 w 10785"/>
                <a:gd name="connsiteY1423" fmla="*/ 632 h 10000"/>
                <a:gd name="connsiteX1424" fmla="*/ 4829 w 10785"/>
                <a:gd name="connsiteY1424" fmla="*/ 632 h 10000"/>
                <a:gd name="connsiteX1425" fmla="*/ 4829 w 10785"/>
                <a:gd name="connsiteY1425" fmla="*/ 650 h 10000"/>
                <a:gd name="connsiteX1426" fmla="*/ 4774 w 10785"/>
                <a:gd name="connsiteY1426" fmla="*/ 684 h 10000"/>
                <a:gd name="connsiteX1427" fmla="*/ 4756 w 10785"/>
                <a:gd name="connsiteY1427" fmla="*/ 684 h 10000"/>
                <a:gd name="connsiteX1428" fmla="*/ 4737 w 10785"/>
                <a:gd name="connsiteY1428" fmla="*/ 692 h 10000"/>
                <a:gd name="connsiteX1429" fmla="*/ 4677 w 10785"/>
                <a:gd name="connsiteY1429" fmla="*/ 667 h 10000"/>
                <a:gd name="connsiteX1430" fmla="*/ 4682 w 10785"/>
                <a:gd name="connsiteY1430" fmla="*/ 692 h 10000"/>
                <a:gd name="connsiteX1431" fmla="*/ 4682 w 10785"/>
                <a:gd name="connsiteY1431" fmla="*/ 709 h 10000"/>
                <a:gd name="connsiteX1432" fmla="*/ 4691 w 10785"/>
                <a:gd name="connsiteY1432" fmla="*/ 718 h 10000"/>
                <a:gd name="connsiteX1433" fmla="*/ 4691 w 10785"/>
                <a:gd name="connsiteY1433" fmla="*/ 744 h 10000"/>
                <a:gd name="connsiteX1434" fmla="*/ 4700 w 10785"/>
                <a:gd name="connsiteY1434" fmla="*/ 744 h 10000"/>
                <a:gd name="connsiteX1435" fmla="*/ 4714 w 10785"/>
                <a:gd name="connsiteY1435" fmla="*/ 769 h 10000"/>
                <a:gd name="connsiteX1436" fmla="*/ 4710 w 10785"/>
                <a:gd name="connsiteY1436" fmla="*/ 786 h 10000"/>
                <a:gd name="connsiteX1437" fmla="*/ 4737 w 10785"/>
                <a:gd name="connsiteY1437" fmla="*/ 786 h 10000"/>
                <a:gd name="connsiteX1438" fmla="*/ 4742 w 10785"/>
                <a:gd name="connsiteY1438" fmla="*/ 795 h 10000"/>
                <a:gd name="connsiteX1439" fmla="*/ 4742 w 10785"/>
                <a:gd name="connsiteY1439" fmla="*/ 803 h 10000"/>
                <a:gd name="connsiteX1440" fmla="*/ 4737 w 10785"/>
                <a:gd name="connsiteY1440" fmla="*/ 846 h 10000"/>
                <a:gd name="connsiteX1441" fmla="*/ 4737 w 10785"/>
                <a:gd name="connsiteY1441" fmla="*/ 880 h 10000"/>
                <a:gd name="connsiteX1442" fmla="*/ 4737 w 10785"/>
                <a:gd name="connsiteY1442" fmla="*/ 906 h 10000"/>
                <a:gd name="connsiteX1443" fmla="*/ 4724 w 10785"/>
                <a:gd name="connsiteY1443" fmla="*/ 897 h 10000"/>
                <a:gd name="connsiteX1444" fmla="*/ 4724 w 10785"/>
                <a:gd name="connsiteY1444" fmla="*/ 872 h 10000"/>
                <a:gd name="connsiteX1445" fmla="*/ 4714 w 10785"/>
                <a:gd name="connsiteY1445" fmla="*/ 855 h 10000"/>
                <a:gd name="connsiteX1446" fmla="*/ 4691 w 10785"/>
                <a:gd name="connsiteY1446" fmla="*/ 846 h 10000"/>
                <a:gd name="connsiteX1447" fmla="*/ 4691 w 10785"/>
                <a:gd name="connsiteY1447" fmla="*/ 846 h 10000"/>
                <a:gd name="connsiteX1448" fmla="*/ 4696 w 10785"/>
                <a:gd name="connsiteY1448" fmla="*/ 821 h 10000"/>
                <a:gd name="connsiteX1449" fmla="*/ 4691 w 10785"/>
                <a:gd name="connsiteY1449" fmla="*/ 803 h 10000"/>
                <a:gd name="connsiteX1450" fmla="*/ 4668 w 10785"/>
                <a:gd name="connsiteY1450" fmla="*/ 821 h 10000"/>
                <a:gd name="connsiteX1451" fmla="*/ 4668 w 10785"/>
                <a:gd name="connsiteY1451" fmla="*/ 786 h 10000"/>
                <a:gd name="connsiteX1452" fmla="*/ 4664 w 10785"/>
                <a:gd name="connsiteY1452" fmla="*/ 786 h 10000"/>
                <a:gd name="connsiteX1453" fmla="*/ 4622 w 10785"/>
                <a:gd name="connsiteY1453" fmla="*/ 846 h 10000"/>
                <a:gd name="connsiteX1454" fmla="*/ 4627 w 10785"/>
                <a:gd name="connsiteY1454" fmla="*/ 872 h 10000"/>
                <a:gd name="connsiteX1455" fmla="*/ 4622 w 10785"/>
                <a:gd name="connsiteY1455" fmla="*/ 880 h 10000"/>
                <a:gd name="connsiteX1456" fmla="*/ 4622 w 10785"/>
                <a:gd name="connsiteY1456" fmla="*/ 880 h 10000"/>
                <a:gd name="connsiteX1457" fmla="*/ 4618 w 10785"/>
                <a:gd name="connsiteY1457" fmla="*/ 872 h 10000"/>
                <a:gd name="connsiteX1458" fmla="*/ 4604 w 10785"/>
                <a:gd name="connsiteY1458" fmla="*/ 880 h 10000"/>
                <a:gd name="connsiteX1459" fmla="*/ 4594 w 10785"/>
                <a:gd name="connsiteY1459" fmla="*/ 906 h 10000"/>
                <a:gd name="connsiteX1460" fmla="*/ 4604 w 10785"/>
                <a:gd name="connsiteY1460" fmla="*/ 906 h 10000"/>
                <a:gd name="connsiteX1461" fmla="*/ 4608 w 10785"/>
                <a:gd name="connsiteY1461" fmla="*/ 906 h 10000"/>
                <a:gd name="connsiteX1462" fmla="*/ 4608 w 10785"/>
                <a:gd name="connsiteY1462" fmla="*/ 932 h 10000"/>
                <a:gd name="connsiteX1463" fmla="*/ 4604 w 10785"/>
                <a:gd name="connsiteY1463" fmla="*/ 932 h 10000"/>
                <a:gd name="connsiteX1464" fmla="*/ 4590 w 10785"/>
                <a:gd name="connsiteY1464" fmla="*/ 932 h 10000"/>
                <a:gd name="connsiteX1465" fmla="*/ 4567 w 10785"/>
                <a:gd name="connsiteY1465" fmla="*/ 957 h 10000"/>
                <a:gd name="connsiteX1466" fmla="*/ 4567 w 10785"/>
                <a:gd name="connsiteY1466" fmla="*/ 932 h 10000"/>
                <a:gd name="connsiteX1467" fmla="*/ 4567 w 10785"/>
                <a:gd name="connsiteY1467" fmla="*/ 923 h 10000"/>
                <a:gd name="connsiteX1468" fmla="*/ 4562 w 10785"/>
                <a:gd name="connsiteY1468" fmla="*/ 932 h 10000"/>
                <a:gd name="connsiteX1469" fmla="*/ 4548 w 10785"/>
                <a:gd name="connsiteY1469" fmla="*/ 957 h 10000"/>
                <a:gd name="connsiteX1470" fmla="*/ 4544 w 10785"/>
                <a:gd name="connsiteY1470" fmla="*/ 957 h 10000"/>
                <a:gd name="connsiteX1471" fmla="*/ 4521 w 10785"/>
                <a:gd name="connsiteY1471" fmla="*/ 983 h 10000"/>
                <a:gd name="connsiteX1472" fmla="*/ 4521 w 10785"/>
                <a:gd name="connsiteY1472" fmla="*/ 983 h 10000"/>
                <a:gd name="connsiteX1473" fmla="*/ 4530 w 10785"/>
                <a:gd name="connsiteY1473" fmla="*/ 957 h 10000"/>
                <a:gd name="connsiteX1474" fmla="*/ 4535 w 10785"/>
                <a:gd name="connsiteY1474" fmla="*/ 932 h 10000"/>
                <a:gd name="connsiteX1475" fmla="*/ 4521 w 10785"/>
                <a:gd name="connsiteY1475" fmla="*/ 932 h 10000"/>
                <a:gd name="connsiteX1476" fmla="*/ 4516 w 10785"/>
                <a:gd name="connsiteY1476" fmla="*/ 923 h 10000"/>
                <a:gd name="connsiteX1477" fmla="*/ 4516 w 10785"/>
                <a:gd name="connsiteY1477" fmla="*/ 932 h 10000"/>
                <a:gd name="connsiteX1478" fmla="*/ 4488 w 10785"/>
                <a:gd name="connsiteY1478" fmla="*/ 940 h 10000"/>
                <a:gd name="connsiteX1479" fmla="*/ 4484 w 10785"/>
                <a:gd name="connsiteY1479" fmla="*/ 983 h 10000"/>
                <a:gd name="connsiteX1480" fmla="*/ 4470 w 10785"/>
                <a:gd name="connsiteY1480" fmla="*/ 983 h 10000"/>
                <a:gd name="connsiteX1481" fmla="*/ 4470 w 10785"/>
                <a:gd name="connsiteY1481" fmla="*/ 966 h 10000"/>
                <a:gd name="connsiteX1482" fmla="*/ 4488 w 10785"/>
                <a:gd name="connsiteY1482" fmla="*/ 923 h 10000"/>
                <a:gd name="connsiteX1483" fmla="*/ 4493 w 10785"/>
                <a:gd name="connsiteY1483" fmla="*/ 880 h 10000"/>
                <a:gd name="connsiteX1484" fmla="*/ 4475 w 10785"/>
                <a:gd name="connsiteY1484" fmla="*/ 846 h 10000"/>
                <a:gd name="connsiteX1485" fmla="*/ 4442 w 10785"/>
                <a:gd name="connsiteY1485" fmla="*/ 855 h 10000"/>
                <a:gd name="connsiteX1486" fmla="*/ 4433 w 10785"/>
                <a:gd name="connsiteY1486" fmla="*/ 855 h 10000"/>
                <a:gd name="connsiteX1487" fmla="*/ 4433 w 10785"/>
                <a:gd name="connsiteY1487" fmla="*/ 880 h 10000"/>
                <a:gd name="connsiteX1488" fmla="*/ 4401 w 10785"/>
                <a:gd name="connsiteY1488" fmla="*/ 855 h 10000"/>
                <a:gd name="connsiteX1489" fmla="*/ 4396 w 10785"/>
                <a:gd name="connsiteY1489" fmla="*/ 872 h 10000"/>
                <a:gd name="connsiteX1490" fmla="*/ 4382 w 10785"/>
                <a:gd name="connsiteY1490" fmla="*/ 897 h 10000"/>
                <a:gd name="connsiteX1491" fmla="*/ 4373 w 10785"/>
                <a:gd name="connsiteY1491" fmla="*/ 872 h 10000"/>
                <a:gd name="connsiteX1492" fmla="*/ 4341 w 10785"/>
                <a:gd name="connsiteY1492" fmla="*/ 872 h 10000"/>
                <a:gd name="connsiteX1493" fmla="*/ 4336 w 10785"/>
                <a:gd name="connsiteY1493" fmla="*/ 880 h 10000"/>
                <a:gd name="connsiteX1494" fmla="*/ 4346 w 10785"/>
                <a:gd name="connsiteY1494" fmla="*/ 897 h 10000"/>
                <a:gd name="connsiteX1495" fmla="*/ 4346 w 10785"/>
                <a:gd name="connsiteY1495" fmla="*/ 897 h 10000"/>
                <a:gd name="connsiteX1496" fmla="*/ 4313 w 10785"/>
                <a:gd name="connsiteY1496" fmla="*/ 906 h 10000"/>
                <a:gd name="connsiteX1497" fmla="*/ 4313 w 10785"/>
                <a:gd name="connsiteY1497" fmla="*/ 906 h 10000"/>
                <a:gd name="connsiteX1498" fmla="*/ 4313 w 10785"/>
                <a:gd name="connsiteY1498" fmla="*/ 880 h 10000"/>
                <a:gd name="connsiteX1499" fmla="*/ 4309 w 10785"/>
                <a:gd name="connsiteY1499" fmla="*/ 897 h 10000"/>
                <a:gd name="connsiteX1500" fmla="*/ 4295 w 10785"/>
                <a:gd name="connsiteY1500" fmla="*/ 923 h 10000"/>
                <a:gd name="connsiteX1501" fmla="*/ 4286 w 10785"/>
                <a:gd name="connsiteY1501" fmla="*/ 897 h 10000"/>
                <a:gd name="connsiteX1502" fmla="*/ 4281 w 10785"/>
                <a:gd name="connsiteY1502" fmla="*/ 906 h 10000"/>
                <a:gd name="connsiteX1503" fmla="*/ 4281 w 10785"/>
                <a:gd name="connsiteY1503" fmla="*/ 940 h 10000"/>
                <a:gd name="connsiteX1504" fmla="*/ 4286 w 10785"/>
                <a:gd name="connsiteY1504" fmla="*/ 957 h 10000"/>
                <a:gd name="connsiteX1505" fmla="*/ 4309 w 10785"/>
                <a:gd name="connsiteY1505" fmla="*/ 932 h 10000"/>
                <a:gd name="connsiteX1506" fmla="*/ 4313 w 10785"/>
                <a:gd name="connsiteY1506" fmla="*/ 957 h 10000"/>
                <a:gd name="connsiteX1507" fmla="*/ 4313 w 10785"/>
                <a:gd name="connsiteY1507" fmla="*/ 966 h 10000"/>
                <a:gd name="connsiteX1508" fmla="*/ 4323 w 10785"/>
                <a:gd name="connsiteY1508" fmla="*/ 966 h 10000"/>
                <a:gd name="connsiteX1509" fmla="*/ 4323 w 10785"/>
                <a:gd name="connsiteY1509" fmla="*/ 940 h 10000"/>
                <a:gd name="connsiteX1510" fmla="*/ 4327 w 10785"/>
                <a:gd name="connsiteY1510" fmla="*/ 940 h 10000"/>
                <a:gd name="connsiteX1511" fmla="*/ 4327 w 10785"/>
                <a:gd name="connsiteY1511" fmla="*/ 957 h 10000"/>
                <a:gd name="connsiteX1512" fmla="*/ 4327 w 10785"/>
                <a:gd name="connsiteY1512" fmla="*/ 966 h 10000"/>
                <a:gd name="connsiteX1513" fmla="*/ 4323 w 10785"/>
                <a:gd name="connsiteY1513" fmla="*/ 991 h 10000"/>
                <a:gd name="connsiteX1514" fmla="*/ 4207 w 10785"/>
                <a:gd name="connsiteY1514" fmla="*/ 1060 h 10000"/>
                <a:gd name="connsiteX1515" fmla="*/ 4207 w 10785"/>
                <a:gd name="connsiteY1515" fmla="*/ 1060 h 10000"/>
                <a:gd name="connsiteX1516" fmla="*/ 4203 w 10785"/>
                <a:gd name="connsiteY1516" fmla="*/ 1068 h 10000"/>
                <a:gd name="connsiteX1517" fmla="*/ 4203 w 10785"/>
                <a:gd name="connsiteY1517" fmla="*/ 1094 h 10000"/>
                <a:gd name="connsiteX1518" fmla="*/ 4203 w 10785"/>
                <a:gd name="connsiteY1518" fmla="*/ 1094 h 10000"/>
                <a:gd name="connsiteX1519" fmla="*/ 4189 w 10785"/>
                <a:gd name="connsiteY1519" fmla="*/ 1094 h 10000"/>
                <a:gd name="connsiteX1520" fmla="*/ 4166 w 10785"/>
                <a:gd name="connsiteY1520" fmla="*/ 1103 h 10000"/>
                <a:gd name="connsiteX1521" fmla="*/ 4152 w 10785"/>
                <a:gd name="connsiteY1521" fmla="*/ 1094 h 10000"/>
                <a:gd name="connsiteX1522" fmla="*/ 4134 w 10785"/>
                <a:gd name="connsiteY1522" fmla="*/ 1120 h 10000"/>
                <a:gd name="connsiteX1523" fmla="*/ 4106 w 10785"/>
                <a:gd name="connsiteY1523" fmla="*/ 1120 h 10000"/>
                <a:gd name="connsiteX1524" fmla="*/ 4092 w 10785"/>
                <a:gd name="connsiteY1524" fmla="*/ 1154 h 10000"/>
                <a:gd name="connsiteX1525" fmla="*/ 4106 w 10785"/>
                <a:gd name="connsiteY1525" fmla="*/ 1171 h 10000"/>
                <a:gd name="connsiteX1526" fmla="*/ 4078 w 10785"/>
                <a:gd name="connsiteY1526" fmla="*/ 1179 h 10000"/>
                <a:gd name="connsiteX1527" fmla="*/ 4065 w 10785"/>
                <a:gd name="connsiteY1527" fmla="*/ 1205 h 10000"/>
                <a:gd name="connsiteX1528" fmla="*/ 4046 w 10785"/>
                <a:gd name="connsiteY1528" fmla="*/ 1179 h 10000"/>
                <a:gd name="connsiteX1529" fmla="*/ 4041 w 10785"/>
                <a:gd name="connsiteY1529" fmla="*/ 1197 h 10000"/>
                <a:gd name="connsiteX1530" fmla="*/ 4028 w 10785"/>
                <a:gd name="connsiteY1530" fmla="*/ 1205 h 10000"/>
                <a:gd name="connsiteX1531" fmla="*/ 4028 w 10785"/>
                <a:gd name="connsiteY1531" fmla="*/ 1205 h 10000"/>
                <a:gd name="connsiteX1532" fmla="*/ 4032 w 10785"/>
                <a:gd name="connsiteY1532" fmla="*/ 1205 h 10000"/>
                <a:gd name="connsiteX1533" fmla="*/ 4032 w 10785"/>
                <a:gd name="connsiteY1533" fmla="*/ 1231 h 10000"/>
                <a:gd name="connsiteX1534" fmla="*/ 4014 w 10785"/>
                <a:gd name="connsiteY1534" fmla="*/ 1239 h 10000"/>
                <a:gd name="connsiteX1535" fmla="*/ 4014 w 10785"/>
                <a:gd name="connsiteY1535" fmla="*/ 1256 h 10000"/>
                <a:gd name="connsiteX1536" fmla="*/ 4000 w 10785"/>
                <a:gd name="connsiteY1536" fmla="*/ 1265 h 10000"/>
                <a:gd name="connsiteX1537" fmla="*/ 3986 w 10785"/>
                <a:gd name="connsiteY1537" fmla="*/ 1308 h 10000"/>
                <a:gd name="connsiteX1538" fmla="*/ 3972 w 10785"/>
                <a:gd name="connsiteY1538" fmla="*/ 1316 h 10000"/>
                <a:gd name="connsiteX1539" fmla="*/ 3972 w 10785"/>
                <a:gd name="connsiteY1539" fmla="*/ 1325 h 10000"/>
                <a:gd name="connsiteX1540" fmla="*/ 3972 w 10785"/>
                <a:gd name="connsiteY1540" fmla="*/ 1342 h 10000"/>
                <a:gd name="connsiteX1541" fmla="*/ 3968 w 10785"/>
                <a:gd name="connsiteY1541" fmla="*/ 1350 h 10000"/>
                <a:gd name="connsiteX1542" fmla="*/ 3954 w 10785"/>
                <a:gd name="connsiteY1542" fmla="*/ 1368 h 10000"/>
                <a:gd name="connsiteX1543" fmla="*/ 3945 w 10785"/>
                <a:gd name="connsiteY1543" fmla="*/ 1350 h 10000"/>
                <a:gd name="connsiteX1544" fmla="*/ 3908 w 10785"/>
                <a:gd name="connsiteY1544" fmla="*/ 1342 h 10000"/>
                <a:gd name="connsiteX1545" fmla="*/ 3894 w 10785"/>
                <a:gd name="connsiteY1545" fmla="*/ 1368 h 10000"/>
                <a:gd name="connsiteX1546" fmla="*/ 3922 w 10785"/>
                <a:gd name="connsiteY1546" fmla="*/ 1393 h 10000"/>
                <a:gd name="connsiteX1547" fmla="*/ 3945 w 10785"/>
                <a:gd name="connsiteY1547" fmla="*/ 1393 h 10000"/>
                <a:gd name="connsiteX1548" fmla="*/ 3940 w 10785"/>
                <a:gd name="connsiteY1548" fmla="*/ 1419 h 10000"/>
                <a:gd name="connsiteX1549" fmla="*/ 3931 w 10785"/>
                <a:gd name="connsiteY1549" fmla="*/ 1427 h 10000"/>
                <a:gd name="connsiteX1550" fmla="*/ 3926 w 10785"/>
                <a:gd name="connsiteY1550" fmla="*/ 1427 h 10000"/>
                <a:gd name="connsiteX1551" fmla="*/ 3922 w 10785"/>
                <a:gd name="connsiteY1551" fmla="*/ 1419 h 10000"/>
                <a:gd name="connsiteX1552" fmla="*/ 3912 w 10785"/>
                <a:gd name="connsiteY1552" fmla="*/ 1427 h 10000"/>
                <a:gd name="connsiteX1553" fmla="*/ 3912 w 10785"/>
                <a:gd name="connsiteY1553" fmla="*/ 1444 h 10000"/>
                <a:gd name="connsiteX1554" fmla="*/ 3894 w 10785"/>
                <a:gd name="connsiteY1554" fmla="*/ 1513 h 10000"/>
                <a:gd name="connsiteX1555" fmla="*/ 3885 w 10785"/>
                <a:gd name="connsiteY1555" fmla="*/ 1513 h 10000"/>
                <a:gd name="connsiteX1556" fmla="*/ 3880 w 10785"/>
                <a:gd name="connsiteY1556" fmla="*/ 1538 h 10000"/>
                <a:gd name="connsiteX1557" fmla="*/ 3885 w 10785"/>
                <a:gd name="connsiteY1557" fmla="*/ 1564 h 10000"/>
                <a:gd name="connsiteX1558" fmla="*/ 3880 w 10785"/>
                <a:gd name="connsiteY1558" fmla="*/ 1581 h 10000"/>
                <a:gd name="connsiteX1559" fmla="*/ 3871 w 10785"/>
                <a:gd name="connsiteY1559" fmla="*/ 1538 h 10000"/>
                <a:gd name="connsiteX1560" fmla="*/ 3853 w 10785"/>
                <a:gd name="connsiteY1560" fmla="*/ 1530 h 10000"/>
                <a:gd name="connsiteX1561" fmla="*/ 3853 w 10785"/>
                <a:gd name="connsiteY1561" fmla="*/ 1504 h 10000"/>
                <a:gd name="connsiteX1562" fmla="*/ 3834 w 10785"/>
                <a:gd name="connsiteY1562" fmla="*/ 1487 h 10000"/>
                <a:gd name="connsiteX1563" fmla="*/ 3834 w 10785"/>
                <a:gd name="connsiteY1563" fmla="*/ 1487 h 10000"/>
                <a:gd name="connsiteX1564" fmla="*/ 3839 w 10785"/>
                <a:gd name="connsiteY1564" fmla="*/ 1513 h 10000"/>
                <a:gd name="connsiteX1565" fmla="*/ 3820 w 10785"/>
                <a:gd name="connsiteY1565" fmla="*/ 1538 h 10000"/>
                <a:gd name="connsiteX1566" fmla="*/ 3820 w 10785"/>
                <a:gd name="connsiteY1566" fmla="*/ 1556 h 10000"/>
                <a:gd name="connsiteX1567" fmla="*/ 3820 w 10785"/>
                <a:gd name="connsiteY1567" fmla="*/ 1564 h 10000"/>
                <a:gd name="connsiteX1568" fmla="*/ 3820 w 10785"/>
                <a:gd name="connsiteY1568" fmla="*/ 1581 h 10000"/>
                <a:gd name="connsiteX1569" fmla="*/ 3853 w 10785"/>
                <a:gd name="connsiteY1569" fmla="*/ 1581 h 10000"/>
                <a:gd name="connsiteX1570" fmla="*/ 3857 w 10785"/>
                <a:gd name="connsiteY1570" fmla="*/ 1598 h 10000"/>
                <a:gd name="connsiteX1571" fmla="*/ 3880 w 10785"/>
                <a:gd name="connsiteY1571" fmla="*/ 1615 h 10000"/>
                <a:gd name="connsiteX1572" fmla="*/ 3871 w 10785"/>
                <a:gd name="connsiteY1572" fmla="*/ 1615 h 10000"/>
                <a:gd name="connsiteX1573" fmla="*/ 3871 w 10785"/>
                <a:gd name="connsiteY1573" fmla="*/ 1641 h 10000"/>
                <a:gd name="connsiteX1574" fmla="*/ 3880 w 10785"/>
                <a:gd name="connsiteY1574" fmla="*/ 1641 h 10000"/>
                <a:gd name="connsiteX1575" fmla="*/ 3871 w 10785"/>
                <a:gd name="connsiteY1575" fmla="*/ 1650 h 10000"/>
                <a:gd name="connsiteX1576" fmla="*/ 3857 w 10785"/>
                <a:gd name="connsiteY1576" fmla="*/ 1650 h 10000"/>
                <a:gd name="connsiteX1577" fmla="*/ 3853 w 10785"/>
                <a:gd name="connsiteY1577" fmla="*/ 1650 h 10000"/>
                <a:gd name="connsiteX1578" fmla="*/ 3839 w 10785"/>
                <a:gd name="connsiteY1578" fmla="*/ 1667 h 10000"/>
                <a:gd name="connsiteX1579" fmla="*/ 3848 w 10785"/>
                <a:gd name="connsiteY1579" fmla="*/ 1692 h 10000"/>
                <a:gd name="connsiteX1580" fmla="*/ 3834 w 10785"/>
                <a:gd name="connsiteY1580" fmla="*/ 1692 h 10000"/>
                <a:gd name="connsiteX1581" fmla="*/ 3825 w 10785"/>
                <a:gd name="connsiteY1581" fmla="*/ 1692 h 10000"/>
                <a:gd name="connsiteX1582" fmla="*/ 3825 w 10785"/>
                <a:gd name="connsiteY1582" fmla="*/ 1718 h 10000"/>
                <a:gd name="connsiteX1583" fmla="*/ 3839 w 10785"/>
                <a:gd name="connsiteY1583" fmla="*/ 1726 h 10000"/>
                <a:gd name="connsiteX1584" fmla="*/ 3880 w 10785"/>
                <a:gd name="connsiteY1584" fmla="*/ 1752 h 10000"/>
                <a:gd name="connsiteX1585" fmla="*/ 3894 w 10785"/>
                <a:gd name="connsiteY1585" fmla="*/ 1829 h 10000"/>
                <a:gd name="connsiteX1586" fmla="*/ 3899 w 10785"/>
                <a:gd name="connsiteY1586" fmla="*/ 1838 h 10000"/>
                <a:gd name="connsiteX1587" fmla="*/ 3894 w 10785"/>
                <a:gd name="connsiteY1587" fmla="*/ 1855 h 10000"/>
                <a:gd name="connsiteX1588" fmla="*/ 3880 w 10785"/>
                <a:gd name="connsiteY1588" fmla="*/ 1838 h 10000"/>
                <a:gd name="connsiteX1589" fmla="*/ 3880 w 10785"/>
                <a:gd name="connsiteY1589" fmla="*/ 1855 h 10000"/>
                <a:gd name="connsiteX1590" fmla="*/ 3880 w 10785"/>
                <a:gd name="connsiteY1590" fmla="*/ 1863 h 10000"/>
                <a:gd name="connsiteX1591" fmla="*/ 3871 w 10785"/>
                <a:gd name="connsiteY1591" fmla="*/ 1872 h 10000"/>
                <a:gd name="connsiteX1592" fmla="*/ 3880 w 10785"/>
                <a:gd name="connsiteY1592" fmla="*/ 1889 h 10000"/>
                <a:gd name="connsiteX1593" fmla="*/ 3885 w 10785"/>
                <a:gd name="connsiteY1593" fmla="*/ 1889 h 10000"/>
                <a:gd name="connsiteX1594" fmla="*/ 3880 w 10785"/>
                <a:gd name="connsiteY1594" fmla="*/ 1897 h 10000"/>
                <a:gd name="connsiteX1595" fmla="*/ 3871 w 10785"/>
                <a:gd name="connsiteY1595" fmla="*/ 1915 h 10000"/>
                <a:gd name="connsiteX1596" fmla="*/ 3848 w 10785"/>
                <a:gd name="connsiteY1596" fmla="*/ 1923 h 10000"/>
                <a:gd name="connsiteX1597" fmla="*/ 3825 w 10785"/>
                <a:gd name="connsiteY1597" fmla="*/ 1940 h 10000"/>
                <a:gd name="connsiteX1598" fmla="*/ 3811 w 10785"/>
                <a:gd name="connsiteY1598" fmla="*/ 1940 h 10000"/>
                <a:gd name="connsiteX1599" fmla="*/ 3806 w 10785"/>
                <a:gd name="connsiteY1599" fmla="*/ 1949 h 10000"/>
                <a:gd name="connsiteX1600" fmla="*/ 3797 w 10785"/>
                <a:gd name="connsiteY1600" fmla="*/ 1966 h 10000"/>
                <a:gd name="connsiteX1601" fmla="*/ 3788 w 10785"/>
                <a:gd name="connsiteY1601" fmla="*/ 1991 h 10000"/>
                <a:gd name="connsiteX1602" fmla="*/ 3765 w 10785"/>
                <a:gd name="connsiteY1602" fmla="*/ 1974 h 10000"/>
                <a:gd name="connsiteX1603" fmla="*/ 3760 w 10785"/>
                <a:gd name="connsiteY1603" fmla="*/ 1966 h 10000"/>
                <a:gd name="connsiteX1604" fmla="*/ 3760 w 10785"/>
                <a:gd name="connsiteY1604" fmla="*/ 1966 h 10000"/>
                <a:gd name="connsiteX1605" fmla="*/ 3631 w 10785"/>
                <a:gd name="connsiteY1605" fmla="*/ 2009 h 10000"/>
                <a:gd name="connsiteX1606" fmla="*/ 3618 w 10785"/>
                <a:gd name="connsiteY1606" fmla="*/ 2000 h 10000"/>
                <a:gd name="connsiteX1607" fmla="*/ 3599 w 10785"/>
                <a:gd name="connsiteY1607" fmla="*/ 2009 h 10000"/>
                <a:gd name="connsiteX1608" fmla="*/ 3571 w 10785"/>
                <a:gd name="connsiteY1608" fmla="*/ 2000 h 10000"/>
                <a:gd name="connsiteX1609" fmla="*/ 3530 w 10785"/>
                <a:gd name="connsiteY1609" fmla="*/ 2026 h 10000"/>
                <a:gd name="connsiteX1610" fmla="*/ 3530 w 10785"/>
                <a:gd name="connsiteY1610" fmla="*/ 2034 h 10000"/>
                <a:gd name="connsiteX1611" fmla="*/ 3525 w 10785"/>
                <a:gd name="connsiteY1611" fmla="*/ 2051 h 10000"/>
                <a:gd name="connsiteX1612" fmla="*/ 3512 w 10785"/>
                <a:gd name="connsiteY1612" fmla="*/ 2034 h 10000"/>
                <a:gd name="connsiteX1613" fmla="*/ 3507 w 10785"/>
                <a:gd name="connsiteY1613" fmla="*/ 2034 h 10000"/>
                <a:gd name="connsiteX1614" fmla="*/ 3498 w 10785"/>
                <a:gd name="connsiteY1614" fmla="*/ 2051 h 10000"/>
                <a:gd name="connsiteX1615" fmla="*/ 3484 w 10785"/>
                <a:gd name="connsiteY1615" fmla="*/ 2060 h 10000"/>
                <a:gd name="connsiteX1616" fmla="*/ 3484 w 10785"/>
                <a:gd name="connsiteY1616" fmla="*/ 2085 h 10000"/>
                <a:gd name="connsiteX1617" fmla="*/ 3484 w 10785"/>
                <a:gd name="connsiteY1617" fmla="*/ 2103 h 10000"/>
                <a:gd name="connsiteX1618" fmla="*/ 3493 w 10785"/>
                <a:gd name="connsiteY1618" fmla="*/ 2103 h 10000"/>
                <a:gd name="connsiteX1619" fmla="*/ 3493 w 10785"/>
                <a:gd name="connsiteY1619" fmla="*/ 2085 h 10000"/>
                <a:gd name="connsiteX1620" fmla="*/ 3498 w 10785"/>
                <a:gd name="connsiteY1620" fmla="*/ 2085 h 10000"/>
                <a:gd name="connsiteX1621" fmla="*/ 3498 w 10785"/>
                <a:gd name="connsiteY1621" fmla="*/ 2111 h 10000"/>
                <a:gd name="connsiteX1622" fmla="*/ 3484 w 10785"/>
                <a:gd name="connsiteY1622" fmla="*/ 2120 h 10000"/>
                <a:gd name="connsiteX1623" fmla="*/ 3484 w 10785"/>
                <a:gd name="connsiteY1623" fmla="*/ 2145 h 10000"/>
                <a:gd name="connsiteX1624" fmla="*/ 3470 w 10785"/>
                <a:gd name="connsiteY1624" fmla="*/ 2137 h 10000"/>
                <a:gd name="connsiteX1625" fmla="*/ 3465 w 10785"/>
                <a:gd name="connsiteY1625" fmla="*/ 2145 h 10000"/>
                <a:gd name="connsiteX1626" fmla="*/ 3470 w 10785"/>
                <a:gd name="connsiteY1626" fmla="*/ 2171 h 10000"/>
                <a:gd name="connsiteX1627" fmla="*/ 3484 w 10785"/>
                <a:gd name="connsiteY1627" fmla="*/ 2171 h 10000"/>
                <a:gd name="connsiteX1628" fmla="*/ 3484 w 10785"/>
                <a:gd name="connsiteY1628" fmla="*/ 2197 h 10000"/>
                <a:gd name="connsiteX1629" fmla="*/ 3465 w 10785"/>
                <a:gd name="connsiteY1629" fmla="*/ 2214 h 10000"/>
                <a:gd name="connsiteX1630" fmla="*/ 3493 w 10785"/>
                <a:gd name="connsiteY1630" fmla="*/ 2248 h 10000"/>
                <a:gd name="connsiteX1631" fmla="*/ 3484 w 10785"/>
                <a:gd name="connsiteY1631" fmla="*/ 2256 h 10000"/>
                <a:gd name="connsiteX1632" fmla="*/ 3498 w 10785"/>
                <a:gd name="connsiteY1632" fmla="*/ 2274 h 10000"/>
                <a:gd name="connsiteX1633" fmla="*/ 3498 w 10785"/>
                <a:gd name="connsiteY1633" fmla="*/ 2256 h 10000"/>
                <a:gd name="connsiteX1634" fmla="*/ 3507 w 10785"/>
                <a:gd name="connsiteY1634" fmla="*/ 2308 h 10000"/>
                <a:gd name="connsiteX1635" fmla="*/ 3512 w 10785"/>
                <a:gd name="connsiteY1635" fmla="*/ 2325 h 10000"/>
                <a:gd name="connsiteX1636" fmla="*/ 3507 w 10785"/>
                <a:gd name="connsiteY1636" fmla="*/ 2333 h 10000"/>
                <a:gd name="connsiteX1637" fmla="*/ 3507 w 10785"/>
                <a:gd name="connsiteY1637" fmla="*/ 2359 h 10000"/>
                <a:gd name="connsiteX1638" fmla="*/ 3507 w 10785"/>
                <a:gd name="connsiteY1638" fmla="*/ 2376 h 10000"/>
                <a:gd name="connsiteX1639" fmla="*/ 3498 w 10785"/>
                <a:gd name="connsiteY1639" fmla="*/ 2410 h 10000"/>
                <a:gd name="connsiteX1640" fmla="*/ 3498 w 10785"/>
                <a:gd name="connsiteY1640" fmla="*/ 2436 h 10000"/>
                <a:gd name="connsiteX1641" fmla="*/ 3507 w 10785"/>
                <a:gd name="connsiteY1641" fmla="*/ 2462 h 10000"/>
                <a:gd name="connsiteX1642" fmla="*/ 3507 w 10785"/>
                <a:gd name="connsiteY1642" fmla="*/ 2496 h 10000"/>
                <a:gd name="connsiteX1643" fmla="*/ 3512 w 10785"/>
                <a:gd name="connsiteY1643" fmla="*/ 2521 h 10000"/>
                <a:gd name="connsiteX1644" fmla="*/ 3525 w 10785"/>
                <a:gd name="connsiteY1644" fmla="*/ 2556 h 10000"/>
                <a:gd name="connsiteX1645" fmla="*/ 3571 w 10785"/>
                <a:gd name="connsiteY1645" fmla="*/ 2573 h 10000"/>
                <a:gd name="connsiteX1646" fmla="*/ 3590 w 10785"/>
                <a:gd name="connsiteY1646" fmla="*/ 2598 h 10000"/>
                <a:gd name="connsiteX1647" fmla="*/ 3599 w 10785"/>
                <a:gd name="connsiteY1647" fmla="*/ 2598 h 10000"/>
                <a:gd name="connsiteX1648" fmla="*/ 3604 w 10785"/>
                <a:gd name="connsiteY1648" fmla="*/ 2632 h 10000"/>
                <a:gd name="connsiteX1649" fmla="*/ 3599 w 10785"/>
                <a:gd name="connsiteY1649" fmla="*/ 2658 h 10000"/>
                <a:gd name="connsiteX1650" fmla="*/ 3590 w 10785"/>
                <a:gd name="connsiteY1650" fmla="*/ 2667 h 10000"/>
                <a:gd name="connsiteX1651" fmla="*/ 3604 w 10785"/>
                <a:gd name="connsiteY1651" fmla="*/ 2667 h 10000"/>
                <a:gd name="connsiteX1652" fmla="*/ 3613 w 10785"/>
                <a:gd name="connsiteY1652" fmla="*/ 2692 h 10000"/>
                <a:gd name="connsiteX1653" fmla="*/ 3627 w 10785"/>
                <a:gd name="connsiteY1653" fmla="*/ 2735 h 10000"/>
                <a:gd name="connsiteX1654" fmla="*/ 3631 w 10785"/>
                <a:gd name="connsiteY1654" fmla="*/ 2744 h 10000"/>
                <a:gd name="connsiteX1655" fmla="*/ 3659 w 10785"/>
                <a:gd name="connsiteY1655" fmla="*/ 2761 h 10000"/>
                <a:gd name="connsiteX1656" fmla="*/ 3673 w 10785"/>
                <a:gd name="connsiteY1656" fmla="*/ 2769 h 10000"/>
                <a:gd name="connsiteX1657" fmla="*/ 3673 w 10785"/>
                <a:gd name="connsiteY1657" fmla="*/ 2761 h 10000"/>
                <a:gd name="connsiteX1658" fmla="*/ 3687 w 10785"/>
                <a:gd name="connsiteY1658" fmla="*/ 2829 h 10000"/>
                <a:gd name="connsiteX1659" fmla="*/ 3677 w 10785"/>
                <a:gd name="connsiteY1659" fmla="*/ 2897 h 10000"/>
                <a:gd name="connsiteX1660" fmla="*/ 3673 w 10785"/>
                <a:gd name="connsiteY1660" fmla="*/ 2915 h 10000"/>
                <a:gd name="connsiteX1661" fmla="*/ 3664 w 10785"/>
                <a:gd name="connsiteY1661" fmla="*/ 2957 h 10000"/>
                <a:gd name="connsiteX1662" fmla="*/ 3659 w 10785"/>
                <a:gd name="connsiteY1662" fmla="*/ 2983 h 10000"/>
                <a:gd name="connsiteX1663" fmla="*/ 3664 w 10785"/>
                <a:gd name="connsiteY1663" fmla="*/ 3017 h 10000"/>
                <a:gd name="connsiteX1664" fmla="*/ 3659 w 10785"/>
                <a:gd name="connsiteY1664" fmla="*/ 3043 h 10000"/>
                <a:gd name="connsiteX1665" fmla="*/ 3677 w 10785"/>
                <a:gd name="connsiteY1665" fmla="*/ 3094 h 10000"/>
                <a:gd name="connsiteX1666" fmla="*/ 3691 w 10785"/>
                <a:gd name="connsiteY1666" fmla="*/ 3282 h 10000"/>
                <a:gd name="connsiteX1667" fmla="*/ 3691 w 10785"/>
                <a:gd name="connsiteY1667" fmla="*/ 3308 h 10000"/>
                <a:gd name="connsiteX1668" fmla="*/ 3677 w 10785"/>
                <a:gd name="connsiteY1668" fmla="*/ 3342 h 10000"/>
                <a:gd name="connsiteX1669" fmla="*/ 3664 w 10785"/>
                <a:gd name="connsiteY1669" fmla="*/ 3342 h 10000"/>
                <a:gd name="connsiteX1670" fmla="*/ 3650 w 10785"/>
                <a:gd name="connsiteY1670" fmla="*/ 3342 h 10000"/>
                <a:gd name="connsiteX1671" fmla="*/ 3650 w 10785"/>
                <a:gd name="connsiteY1671" fmla="*/ 3350 h 10000"/>
                <a:gd name="connsiteX1672" fmla="*/ 3659 w 10785"/>
                <a:gd name="connsiteY1672" fmla="*/ 3402 h 10000"/>
                <a:gd name="connsiteX1673" fmla="*/ 3659 w 10785"/>
                <a:gd name="connsiteY1673" fmla="*/ 3419 h 10000"/>
                <a:gd name="connsiteX1674" fmla="*/ 3631 w 10785"/>
                <a:gd name="connsiteY1674" fmla="*/ 3402 h 10000"/>
                <a:gd name="connsiteX1675" fmla="*/ 3604 w 10785"/>
                <a:gd name="connsiteY1675" fmla="*/ 3393 h 10000"/>
                <a:gd name="connsiteX1676" fmla="*/ 3599 w 10785"/>
                <a:gd name="connsiteY1676" fmla="*/ 3368 h 10000"/>
                <a:gd name="connsiteX1677" fmla="*/ 3590 w 10785"/>
                <a:gd name="connsiteY1677" fmla="*/ 3239 h 10000"/>
                <a:gd name="connsiteX1678" fmla="*/ 3599 w 10785"/>
                <a:gd name="connsiteY1678" fmla="*/ 3179 h 10000"/>
                <a:gd name="connsiteX1679" fmla="*/ 3599 w 10785"/>
                <a:gd name="connsiteY1679" fmla="*/ 3171 h 10000"/>
                <a:gd name="connsiteX1680" fmla="*/ 3599 w 10785"/>
                <a:gd name="connsiteY1680" fmla="*/ 3009 h 10000"/>
                <a:gd name="connsiteX1681" fmla="*/ 3604 w 10785"/>
                <a:gd name="connsiteY1681" fmla="*/ 2983 h 10000"/>
                <a:gd name="connsiteX1682" fmla="*/ 3645 w 10785"/>
                <a:gd name="connsiteY1682" fmla="*/ 2932 h 10000"/>
                <a:gd name="connsiteX1683" fmla="*/ 3650 w 10785"/>
                <a:gd name="connsiteY1683" fmla="*/ 2872 h 10000"/>
                <a:gd name="connsiteX1684" fmla="*/ 3659 w 10785"/>
                <a:gd name="connsiteY1684" fmla="*/ 2855 h 10000"/>
                <a:gd name="connsiteX1685" fmla="*/ 3659 w 10785"/>
                <a:gd name="connsiteY1685" fmla="*/ 2821 h 10000"/>
                <a:gd name="connsiteX1686" fmla="*/ 3631 w 10785"/>
                <a:gd name="connsiteY1686" fmla="*/ 2795 h 10000"/>
                <a:gd name="connsiteX1687" fmla="*/ 3567 w 10785"/>
                <a:gd name="connsiteY1687" fmla="*/ 2821 h 10000"/>
                <a:gd name="connsiteX1688" fmla="*/ 3544 w 10785"/>
                <a:gd name="connsiteY1688" fmla="*/ 2795 h 10000"/>
                <a:gd name="connsiteX1689" fmla="*/ 3530 w 10785"/>
                <a:gd name="connsiteY1689" fmla="*/ 2769 h 10000"/>
                <a:gd name="connsiteX1690" fmla="*/ 3530 w 10785"/>
                <a:gd name="connsiteY1690" fmla="*/ 2786 h 10000"/>
                <a:gd name="connsiteX1691" fmla="*/ 3498 w 10785"/>
                <a:gd name="connsiteY1691" fmla="*/ 2692 h 10000"/>
                <a:gd name="connsiteX1692" fmla="*/ 3498 w 10785"/>
                <a:gd name="connsiteY1692" fmla="*/ 2667 h 10000"/>
                <a:gd name="connsiteX1693" fmla="*/ 3442 w 10785"/>
                <a:gd name="connsiteY1693" fmla="*/ 2607 h 10000"/>
                <a:gd name="connsiteX1694" fmla="*/ 3433 w 10785"/>
                <a:gd name="connsiteY1694" fmla="*/ 2581 h 10000"/>
                <a:gd name="connsiteX1695" fmla="*/ 3396 w 10785"/>
                <a:gd name="connsiteY1695" fmla="*/ 2556 h 10000"/>
                <a:gd name="connsiteX1696" fmla="*/ 3318 w 10785"/>
                <a:gd name="connsiteY1696" fmla="*/ 2556 h 10000"/>
                <a:gd name="connsiteX1697" fmla="*/ 3304 w 10785"/>
                <a:gd name="connsiteY1697" fmla="*/ 2607 h 10000"/>
                <a:gd name="connsiteX1698" fmla="*/ 3276 w 10785"/>
                <a:gd name="connsiteY1698" fmla="*/ 2632 h 10000"/>
                <a:gd name="connsiteX1699" fmla="*/ 3272 w 10785"/>
                <a:gd name="connsiteY1699" fmla="*/ 2667 h 10000"/>
                <a:gd name="connsiteX1700" fmla="*/ 3304 w 10785"/>
                <a:gd name="connsiteY1700" fmla="*/ 2667 h 10000"/>
                <a:gd name="connsiteX1701" fmla="*/ 3323 w 10785"/>
                <a:gd name="connsiteY1701" fmla="*/ 2692 h 10000"/>
                <a:gd name="connsiteX1702" fmla="*/ 3318 w 10785"/>
                <a:gd name="connsiteY1702" fmla="*/ 2735 h 10000"/>
                <a:gd name="connsiteX1703" fmla="*/ 3304 w 10785"/>
                <a:gd name="connsiteY1703" fmla="*/ 2761 h 10000"/>
                <a:gd name="connsiteX1704" fmla="*/ 3276 w 10785"/>
                <a:gd name="connsiteY1704" fmla="*/ 2769 h 10000"/>
                <a:gd name="connsiteX1705" fmla="*/ 3263 w 10785"/>
                <a:gd name="connsiteY1705" fmla="*/ 2795 h 10000"/>
                <a:gd name="connsiteX1706" fmla="*/ 3235 w 10785"/>
                <a:gd name="connsiteY1706" fmla="*/ 2803 h 10000"/>
                <a:gd name="connsiteX1707" fmla="*/ 3235 w 10785"/>
                <a:gd name="connsiteY1707" fmla="*/ 2786 h 10000"/>
                <a:gd name="connsiteX1708" fmla="*/ 3212 w 10785"/>
                <a:gd name="connsiteY1708" fmla="*/ 2709 h 10000"/>
                <a:gd name="connsiteX1709" fmla="*/ 3198 w 10785"/>
                <a:gd name="connsiteY1709" fmla="*/ 2709 h 10000"/>
                <a:gd name="connsiteX1710" fmla="*/ 3184 w 10785"/>
                <a:gd name="connsiteY1710" fmla="*/ 2735 h 10000"/>
                <a:gd name="connsiteX1711" fmla="*/ 3189 w 10785"/>
                <a:gd name="connsiteY1711" fmla="*/ 2761 h 10000"/>
                <a:gd name="connsiteX1712" fmla="*/ 3203 w 10785"/>
                <a:gd name="connsiteY1712" fmla="*/ 2855 h 10000"/>
                <a:gd name="connsiteX1713" fmla="*/ 3212 w 10785"/>
                <a:gd name="connsiteY1713" fmla="*/ 2872 h 10000"/>
                <a:gd name="connsiteX1714" fmla="*/ 3235 w 10785"/>
                <a:gd name="connsiteY1714" fmla="*/ 2906 h 10000"/>
                <a:gd name="connsiteX1715" fmla="*/ 3258 w 10785"/>
                <a:gd name="connsiteY1715" fmla="*/ 2915 h 10000"/>
                <a:gd name="connsiteX1716" fmla="*/ 3272 w 10785"/>
                <a:gd name="connsiteY1716" fmla="*/ 2957 h 10000"/>
                <a:gd name="connsiteX1717" fmla="*/ 3276 w 10785"/>
                <a:gd name="connsiteY1717" fmla="*/ 2957 h 10000"/>
                <a:gd name="connsiteX1718" fmla="*/ 3286 w 10785"/>
                <a:gd name="connsiteY1718" fmla="*/ 2966 h 10000"/>
                <a:gd name="connsiteX1719" fmla="*/ 3300 w 10785"/>
                <a:gd name="connsiteY1719" fmla="*/ 2957 h 10000"/>
                <a:gd name="connsiteX1720" fmla="*/ 3309 w 10785"/>
                <a:gd name="connsiteY1720" fmla="*/ 2932 h 10000"/>
                <a:gd name="connsiteX1721" fmla="*/ 3304 w 10785"/>
                <a:gd name="connsiteY1721" fmla="*/ 2966 h 10000"/>
                <a:gd name="connsiteX1722" fmla="*/ 3309 w 10785"/>
                <a:gd name="connsiteY1722" fmla="*/ 2983 h 10000"/>
                <a:gd name="connsiteX1723" fmla="*/ 3323 w 10785"/>
                <a:gd name="connsiteY1723" fmla="*/ 2966 h 10000"/>
                <a:gd name="connsiteX1724" fmla="*/ 3323 w 10785"/>
                <a:gd name="connsiteY1724" fmla="*/ 3043 h 10000"/>
                <a:gd name="connsiteX1725" fmla="*/ 3346 w 10785"/>
                <a:gd name="connsiteY1725" fmla="*/ 3068 h 10000"/>
                <a:gd name="connsiteX1726" fmla="*/ 3346 w 10785"/>
                <a:gd name="connsiteY1726" fmla="*/ 3094 h 10000"/>
                <a:gd name="connsiteX1727" fmla="*/ 3323 w 10785"/>
                <a:gd name="connsiteY1727" fmla="*/ 3094 h 10000"/>
                <a:gd name="connsiteX1728" fmla="*/ 3309 w 10785"/>
                <a:gd name="connsiteY1728" fmla="*/ 3077 h 10000"/>
                <a:gd name="connsiteX1729" fmla="*/ 3304 w 10785"/>
                <a:gd name="connsiteY1729" fmla="*/ 3051 h 10000"/>
                <a:gd name="connsiteX1730" fmla="*/ 3300 w 10785"/>
                <a:gd name="connsiteY1730" fmla="*/ 3043 h 10000"/>
                <a:gd name="connsiteX1731" fmla="*/ 3286 w 10785"/>
                <a:gd name="connsiteY1731" fmla="*/ 3017 h 10000"/>
                <a:gd name="connsiteX1732" fmla="*/ 3152 w 10785"/>
                <a:gd name="connsiteY1732" fmla="*/ 2966 h 10000"/>
                <a:gd name="connsiteX1733" fmla="*/ 3129 w 10785"/>
                <a:gd name="connsiteY1733" fmla="*/ 2915 h 10000"/>
                <a:gd name="connsiteX1734" fmla="*/ 3129 w 10785"/>
                <a:gd name="connsiteY1734" fmla="*/ 2906 h 10000"/>
                <a:gd name="connsiteX1735" fmla="*/ 3152 w 10785"/>
                <a:gd name="connsiteY1735" fmla="*/ 2906 h 10000"/>
                <a:gd name="connsiteX1736" fmla="*/ 3152 w 10785"/>
                <a:gd name="connsiteY1736" fmla="*/ 2846 h 10000"/>
                <a:gd name="connsiteX1737" fmla="*/ 3138 w 10785"/>
                <a:gd name="connsiteY1737" fmla="*/ 2795 h 10000"/>
                <a:gd name="connsiteX1738" fmla="*/ 3138 w 10785"/>
                <a:gd name="connsiteY1738" fmla="*/ 2769 h 10000"/>
                <a:gd name="connsiteX1739" fmla="*/ 3143 w 10785"/>
                <a:gd name="connsiteY1739" fmla="*/ 2718 h 10000"/>
                <a:gd name="connsiteX1740" fmla="*/ 3129 w 10785"/>
                <a:gd name="connsiteY1740" fmla="*/ 2692 h 10000"/>
                <a:gd name="connsiteX1741" fmla="*/ 3143 w 10785"/>
                <a:gd name="connsiteY1741" fmla="*/ 2667 h 10000"/>
                <a:gd name="connsiteX1742" fmla="*/ 3157 w 10785"/>
                <a:gd name="connsiteY1742" fmla="*/ 2581 h 10000"/>
                <a:gd name="connsiteX1743" fmla="*/ 3143 w 10785"/>
                <a:gd name="connsiteY1743" fmla="*/ 2496 h 10000"/>
                <a:gd name="connsiteX1744" fmla="*/ 3157 w 10785"/>
                <a:gd name="connsiteY1744" fmla="*/ 2487 h 10000"/>
                <a:gd name="connsiteX1745" fmla="*/ 3143 w 10785"/>
                <a:gd name="connsiteY1745" fmla="*/ 2444 h 10000"/>
                <a:gd name="connsiteX1746" fmla="*/ 3143 w 10785"/>
                <a:gd name="connsiteY1746" fmla="*/ 2419 h 10000"/>
                <a:gd name="connsiteX1747" fmla="*/ 3143 w 10785"/>
                <a:gd name="connsiteY1747" fmla="*/ 2410 h 10000"/>
                <a:gd name="connsiteX1748" fmla="*/ 3124 w 10785"/>
                <a:gd name="connsiteY1748" fmla="*/ 2376 h 10000"/>
                <a:gd name="connsiteX1749" fmla="*/ 3115 w 10785"/>
                <a:gd name="connsiteY1749" fmla="*/ 2350 h 10000"/>
                <a:gd name="connsiteX1750" fmla="*/ 3101 w 10785"/>
                <a:gd name="connsiteY1750" fmla="*/ 2359 h 10000"/>
                <a:gd name="connsiteX1751" fmla="*/ 3115 w 10785"/>
                <a:gd name="connsiteY1751" fmla="*/ 2581 h 10000"/>
                <a:gd name="connsiteX1752" fmla="*/ 3111 w 10785"/>
                <a:gd name="connsiteY1752" fmla="*/ 2624 h 10000"/>
                <a:gd name="connsiteX1753" fmla="*/ 3009 w 10785"/>
                <a:gd name="connsiteY1753" fmla="*/ 2761 h 10000"/>
                <a:gd name="connsiteX1754" fmla="*/ 3009 w 10785"/>
                <a:gd name="connsiteY1754" fmla="*/ 2803 h 10000"/>
                <a:gd name="connsiteX1755" fmla="*/ 3005 w 10785"/>
                <a:gd name="connsiteY1755" fmla="*/ 2829 h 10000"/>
                <a:gd name="connsiteX1756" fmla="*/ 2982 w 10785"/>
                <a:gd name="connsiteY1756" fmla="*/ 2872 h 10000"/>
                <a:gd name="connsiteX1757" fmla="*/ 2982 w 10785"/>
                <a:gd name="connsiteY1757" fmla="*/ 2880 h 10000"/>
                <a:gd name="connsiteX1758" fmla="*/ 3037 w 10785"/>
                <a:gd name="connsiteY1758" fmla="*/ 3034 h 10000"/>
                <a:gd name="connsiteX1759" fmla="*/ 3041 w 10785"/>
                <a:gd name="connsiteY1759" fmla="*/ 3103 h 10000"/>
                <a:gd name="connsiteX1760" fmla="*/ 3069 w 10785"/>
                <a:gd name="connsiteY1760" fmla="*/ 3188 h 10000"/>
                <a:gd name="connsiteX1761" fmla="*/ 3055 w 10785"/>
                <a:gd name="connsiteY1761" fmla="*/ 3325 h 10000"/>
                <a:gd name="connsiteX1762" fmla="*/ 3037 w 10785"/>
                <a:gd name="connsiteY1762" fmla="*/ 3368 h 10000"/>
                <a:gd name="connsiteX1763" fmla="*/ 3037 w 10785"/>
                <a:gd name="connsiteY1763" fmla="*/ 3444 h 10000"/>
                <a:gd name="connsiteX1764" fmla="*/ 3028 w 10785"/>
                <a:gd name="connsiteY1764" fmla="*/ 3453 h 10000"/>
                <a:gd name="connsiteX1765" fmla="*/ 3023 w 10785"/>
                <a:gd name="connsiteY1765" fmla="*/ 3530 h 10000"/>
                <a:gd name="connsiteX1766" fmla="*/ 3051 w 10785"/>
                <a:gd name="connsiteY1766" fmla="*/ 3624 h 10000"/>
                <a:gd name="connsiteX1767" fmla="*/ 3037 w 10785"/>
                <a:gd name="connsiteY1767" fmla="*/ 3718 h 10000"/>
                <a:gd name="connsiteX1768" fmla="*/ 3041 w 10785"/>
                <a:gd name="connsiteY1768" fmla="*/ 3752 h 10000"/>
                <a:gd name="connsiteX1769" fmla="*/ 3055 w 10785"/>
                <a:gd name="connsiteY1769" fmla="*/ 3761 h 10000"/>
                <a:gd name="connsiteX1770" fmla="*/ 3078 w 10785"/>
                <a:gd name="connsiteY1770" fmla="*/ 3752 h 10000"/>
                <a:gd name="connsiteX1771" fmla="*/ 3092 w 10785"/>
                <a:gd name="connsiteY1771" fmla="*/ 3752 h 10000"/>
                <a:gd name="connsiteX1772" fmla="*/ 3129 w 10785"/>
                <a:gd name="connsiteY1772" fmla="*/ 3761 h 10000"/>
                <a:gd name="connsiteX1773" fmla="*/ 3129 w 10785"/>
                <a:gd name="connsiteY1773" fmla="*/ 3735 h 10000"/>
                <a:gd name="connsiteX1774" fmla="*/ 3157 w 10785"/>
                <a:gd name="connsiteY1774" fmla="*/ 3718 h 10000"/>
                <a:gd name="connsiteX1775" fmla="*/ 3184 w 10785"/>
                <a:gd name="connsiteY1775" fmla="*/ 3718 h 10000"/>
                <a:gd name="connsiteX1776" fmla="*/ 3290 w 10785"/>
                <a:gd name="connsiteY1776" fmla="*/ 3838 h 10000"/>
                <a:gd name="connsiteX1777" fmla="*/ 3300 w 10785"/>
                <a:gd name="connsiteY1777" fmla="*/ 3846 h 10000"/>
                <a:gd name="connsiteX1778" fmla="*/ 3300 w 10785"/>
                <a:gd name="connsiteY1778" fmla="*/ 3915 h 10000"/>
                <a:gd name="connsiteX1779" fmla="*/ 3318 w 10785"/>
                <a:gd name="connsiteY1779" fmla="*/ 4000 h 10000"/>
                <a:gd name="connsiteX1780" fmla="*/ 3323 w 10785"/>
                <a:gd name="connsiteY1780" fmla="*/ 4000 h 10000"/>
                <a:gd name="connsiteX1781" fmla="*/ 3323 w 10785"/>
                <a:gd name="connsiteY1781" fmla="*/ 4034 h 10000"/>
                <a:gd name="connsiteX1782" fmla="*/ 3318 w 10785"/>
                <a:gd name="connsiteY1782" fmla="*/ 4051 h 10000"/>
                <a:gd name="connsiteX1783" fmla="*/ 3300 w 10785"/>
                <a:gd name="connsiteY1783" fmla="*/ 4051 h 10000"/>
                <a:gd name="connsiteX1784" fmla="*/ 3290 w 10785"/>
                <a:gd name="connsiteY1784" fmla="*/ 4077 h 10000"/>
                <a:gd name="connsiteX1785" fmla="*/ 3286 w 10785"/>
                <a:gd name="connsiteY1785" fmla="*/ 4103 h 10000"/>
                <a:gd name="connsiteX1786" fmla="*/ 3286 w 10785"/>
                <a:gd name="connsiteY1786" fmla="*/ 4197 h 10000"/>
                <a:gd name="connsiteX1787" fmla="*/ 3290 w 10785"/>
                <a:gd name="connsiteY1787" fmla="*/ 4214 h 10000"/>
                <a:gd name="connsiteX1788" fmla="*/ 3304 w 10785"/>
                <a:gd name="connsiteY1788" fmla="*/ 4214 h 10000"/>
                <a:gd name="connsiteX1789" fmla="*/ 3323 w 10785"/>
                <a:gd name="connsiteY1789" fmla="*/ 4239 h 10000"/>
                <a:gd name="connsiteX1790" fmla="*/ 3350 w 10785"/>
                <a:gd name="connsiteY1790" fmla="*/ 4222 h 10000"/>
                <a:gd name="connsiteX1791" fmla="*/ 3369 w 10785"/>
                <a:gd name="connsiteY1791" fmla="*/ 4256 h 10000"/>
                <a:gd name="connsiteX1792" fmla="*/ 3369 w 10785"/>
                <a:gd name="connsiteY1792" fmla="*/ 4256 h 10000"/>
                <a:gd name="connsiteX1793" fmla="*/ 3336 w 10785"/>
                <a:gd name="connsiteY1793" fmla="*/ 4274 h 10000"/>
                <a:gd name="connsiteX1794" fmla="*/ 3323 w 10785"/>
                <a:gd name="connsiteY1794" fmla="*/ 4274 h 10000"/>
                <a:gd name="connsiteX1795" fmla="*/ 3290 w 10785"/>
                <a:gd name="connsiteY1795" fmla="*/ 4274 h 10000"/>
                <a:gd name="connsiteX1796" fmla="*/ 3286 w 10785"/>
                <a:gd name="connsiteY1796" fmla="*/ 4239 h 10000"/>
                <a:gd name="connsiteX1797" fmla="*/ 3263 w 10785"/>
                <a:gd name="connsiteY1797" fmla="*/ 4214 h 10000"/>
                <a:gd name="connsiteX1798" fmla="*/ 3258 w 10785"/>
                <a:gd name="connsiteY1798" fmla="*/ 4188 h 10000"/>
                <a:gd name="connsiteX1799" fmla="*/ 3263 w 10785"/>
                <a:gd name="connsiteY1799" fmla="*/ 4171 h 10000"/>
                <a:gd name="connsiteX1800" fmla="*/ 3263 w 10785"/>
                <a:gd name="connsiteY1800" fmla="*/ 4103 h 10000"/>
                <a:gd name="connsiteX1801" fmla="*/ 3276 w 10785"/>
                <a:gd name="connsiteY1801" fmla="*/ 4060 h 10000"/>
                <a:gd name="connsiteX1802" fmla="*/ 3272 w 10785"/>
                <a:gd name="connsiteY1802" fmla="*/ 4051 h 10000"/>
                <a:gd name="connsiteX1803" fmla="*/ 3263 w 10785"/>
                <a:gd name="connsiteY1803" fmla="*/ 4051 h 10000"/>
                <a:gd name="connsiteX1804" fmla="*/ 3263 w 10785"/>
                <a:gd name="connsiteY1804" fmla="*/ 4034 h 10000"/>
                <a:gd name="connsiteX1805" fmla="*/ 3263 w 10785"/>
                <a:gd name="connsiteY1805" fmla="*/ 4000 h 10000"/>
                <a:gd name="connsiteX1806" fmla="*/ 3272 w 10785"/>
                <a:gd name="connsiteY1806" fmla="*/ 4000 h 10000"/>
                <a:gd name="connsiteX1807" fmla="*/ 3272 w 10785"/>
                <a:gd name="connsiteY1807" fmla="*/ 3974 h 10000"/>
                <a:gd name="connsiteX1808" fmla="*/ 3272 w 10785"/>
                <a:gd name="connsiteY1808" fmla="*/ 3966 h 10000"/>
                <a:gd name="connsiteX1809" fmla="*/ 3272 w 10785"/>
                <a:gd name="connsiteY1809" fmla="*/ 3949 h 10000"/>
                <a:gd name="connsiteX1810" fmla="*/ 3258 w 10785"/>
                <a:gd name="connsiteY1810" fmla="*/ 3923 h 10000"/>
                <a:gd name="connsiteX1811" fmla="*/ 3249 w 10785"/>
                <a:gd name="connsiteY1811" fmla="*/ 3915 h 10000"/>
                <a:gd name="connsiteX1812" fmla="*/ 3244 w 10785"/>
                <a:gd name="connsiteY1812" fmla="*/ 3897 h 10000"/>
                <a:gd name="connsiteX1813" fmla="*/ 3230 w 10785"/>
                <a:gd name="connsiteY1813" fmla="*/ 3889 h 10000"/>
                <a:gd name="connsiteX1814" fmla="*/ 3230 w 10785"/>
                <a:gd name="connsiteY1814" fmla="*/ 3863 h 10000"/>
                <a:gd name="connsiteX1815" fmla="*/ 3230 w 10785"/>
                <a:gd name="connsiteY1815" fmla="*/ 3838 h 10000"/>
                <a:gd name="connsiteX1816" fmla="*/ 3226 w 10785"/>
                <a:gd name="connsiteY1816" fmla="*/ 3803 h 10000"/>
                <a:gd name="connsiteX1817" fmla="*/ 3138 w 10785"/>
                <a:gd name="connsiteY1817" fmla="*/ 3838 h 10000"/>
                <a:gd name="connsiteX1818" fmla="*/ 3078 w 10785"/>
                <a:gd name="connsiteY1818" fmla="*/ 3889 h 10000"/>
                <a:gd name="connsiteX1819" fmla="*/ 3078 w 10785"/>
                <a:gd name="connsiteY1819" fmla="*/ 3940 h 10000"/>
                <a:gd name="connsiteX1820" fmla="*/ 3069 w 10785"/>
                <a:gd name="connsiteY1820" fmla="*/ 3983 h 10000"/>
                <a:gd name="connsiteX1821" fmla="*/ 3069 w 10785"/>
                <a:gd name="connsiteY1821" fmla="*/ 4009 h 10000"/>
                <a:gd name="connsiteX1822" fmla="*/ 3078 w 10785"/>
                <a:gd name="connsiteY1822" fmla="*/ 4026 h 10000"/>
                <a:gd name="connsiteX1823" fmla="*/ 3083 w 10785"/>
                <a:gd name="connsiteY1823" fmla="*/ 4034 h 10000"/>
                <a:gd name="connsiteX1824" fmla="*/ 3092 w 10785"/>
                <a:gd name="connsiteY1824" fmla="*/ 4060 h 10000"/>
                <a:gd name="connsiteX1825" fmla="*/ 3092 w 10785"/>
                <a:gd name="connsiteY1825" fmla="*/ 4077 h 10000"/>
                <a:gd name="connsiteX1826" fmla="*/ 3097 w 10785"/>
                <a:gd name="connsiteY1826" fmla="*/ 4103 h 10000"/>
                <a:gd name="connsiteX1827" fmla="*/ 3101 w 10785"/>
                <a:gd name="connsiteY1827" fmla="*/ 4162 h 10000"/>
                <a:gd name="connsiteX1828" fmla="*/ 3097 w 10785"/>
                <a:gd name="connsiteY1828" fmla="*/ 4222 h 10000"/>
                <a:gd name="connsiteX1829" fmla="*/ 3041 w 10785"/>
                <a:gd name="connsiteY1829" fmla="*/ 4325 h 10000"/>
                <a:gd name="connsiteX1830" fmla="*/ 3037 w 10785"/>
                <a:gd name="connsiteY1830" fmla="*/ 4419 h 10000"/>
                <a:gd name="connsiteX1831" fmla="*/ 3018 w 10785"/>
                <a:gd name="connsiteY1831" fmla="*/ 4470 h 10000"/>
                <a:gd name="connsiteX1832" fmla="*/ 2991 w 10785"/>
                <a:gd name="connsiteY1832" fmla="*/ 4513 h 10000"/>
                <a:gd name="connsiteX1833" fmla="*/ 2977 w 10785"/>
                <a:gd name="connsiteY1833" fmla="*/ 4530 h 10000"/>
                <a:gd name="connsiteX1834" fmla="*/ 2945 w 10785"/>
                <a:gd name="connsiteY1834" fmla="*/ 4556 h 10000"/>
                <a:gd name="connsiteX1835" fmla="*/ 2935 w 10785"/>
                <a:gd name="connsiteY1835" fmla="*/ 4581 h 10000"/>
                <a:gd name="connsiteX1836" fmla="*/ 2949 w 10785"/>
                <a:gd name="connsiteY1836" fmla="*/ 4624 h 10000"/>
                <a:gd name="connsiteX1837" fmla="*/ 2945 w 10785"/>
                <a:gd name="connsiteY1837" fmla="*/ 4658 h 10000"/>
                <a:gd name="connsiteX1838" fmla="*/ 2922 w 10785"/>
                <a:gd name="connsiteY1838" fmla="*/ 4667 h 10000"/>
                <a:gd name="connsiteX1839" fmla="*/ 2876 w 10785"/>
                <a:gd name="connsiteY1839" fmla="*/ 4632 h 10000"/>
                <a:gd name="connsiteX1840" fmla="*/ 2857 w 10785"/>
                <a:gd name="connsiteY1840" fmla="*/ 4632 h 10000"/>
                <a:gd name="connsiteX1841" fmla="*/ 2820 w 10785"/>
                <a:gd name="connsiteY1841" fmla="*/ 4641 h 10000"/>
                <a:gd name="connsiteX1842" fmla="*/ 2797 w 10785"/>
                <a:gd name="connsiteY1842" fmla="*/ 4632 h 10000"/>
                <a:gd name="connsiteX1843" fmla="*/ 2788 w 10785"/>
                <a:gd name="connsiteY1843" fmla="*/ 4624 h 10000"/>
                <a:gd name="connsiteX1844" fmla="*/ 2788 w 10785"/>
                <a:gd name="connsiteY1844" fmla="*/ 4598 h 10000"/>
                <a:gd name="connsiteX1845" fmla="*/ 2797 w 10785"/>
                <a:gd name="connsiteY1845" fmla="*/ 4581 h 10000"/>
                <a:gd name="connsiteX1846" fmla="*/ 2788 w 10785"/>
                <a:gd name="connsiteY1846" fmla="*/ 4530 h 10000"/>
                <a:gd name="connsiteX1847" fmla="*/ 2774 w 10785"/>
                <a:gd name="connsiteY1847" fmla="*/ 4530 h 10000"/>
                <a:gd name="connsiteX1848" fmla="*/ 2770 w 10785"/>
                <a:gd name="connsiteY1848" fmla="*/ 4513 h 10000"/>
                <a:gd name="connsiteX1849" fmla="*/ 2774 w 10785"/>
                <a:gd name="connsiteY1849" fmla="*/ 4513 h 10000"/>
                <a:gd name="connsiteX1850" fmla="*/ 2788 w 10785"/>
                <a:gd name="connsiteY1850" fmla="*/ 4496 h 10000"/>
                <a:gd name="connsiteX1851" fmla="*/ 2802 w 10785"/>
                <a:gd name="connsiteY1851" fmla="*/ 4513 h 10000"/>
                <a:gd name="connsiteX1852" fmla="*/ 2811 w 10785"/>
                <a:gd name="connsiteY1852" fmla="*/ 4530 h 10000"/>
                <a:gd name="connsiteX1853" fmla="*/ 2820 w 10785"/>
                <a:gd name="connsiteY1853" fmla="*/ 4521 h 10000"/>
                <a:gd name="connsiteX1854" fmla="*/ 2829 w 10785"/>
                <a:gd name="connsiteY1854" fmla="*/ 4513 h 10000"/>
                <a:gd name="connsiteX1855" fmla="*/ 2843 w 10785"/>
                <a:gd name="connsiteY1855" fmla="*/ 4513 h 10000"/>
                <a:gd name="connsiteX1856" fmla="*/ 2848 w 10785"/>
                <a:gd name="connsiteY1856" fmla="*/ 4470 h 10000"/>
                <a:gd name="connsiteX1857" fmla="*/ 2862 w 10785"/>
                <a:gd name="connsiteY1857" fmla="*/ 4487 h 10000"/>
                <a:gd name="connsiteX1858" fmla="*/ 2876 w 10785"/>
                <a:gd name="connsiteY1858" fmla="*/ 4470 h 10000"/>
                <a:gd name="connsiteX1859" fmla="*/ 2880 w 10785"/>
                <a:gd name="connsiteY1859" fmla="*/ 4462 h 10000"/>
                <a:gd name="connsiteX1860" fmla="*/ 2889 w 10785"/>
                <a:gd name="connsiteY1860" fmla="*/ 4444 h 10000"/>
                <a:gd name="connsiteX1861" fmla="*/ 2894 w 10785"/>
                <a:gd name="connsiteY1861" fmla="*/ 4462 h 10000"/>
                <a:gd name="connsiteX1862" fmla="*/ 2917 w 10785"/>
                <a:gd name="connsiteY1862" fmla="*/ 4444 h 10000"/>
                <a:gd name="connsiteX1863" fmla="*/ 2922 w 10785"/>
                <a:gd name="connsiteY1863" fmla="*/ 4436 h 10000"/>
                <a:gd name="connsiteX1864" fmla="*/ 2917 w 10785"/>
                <a:gd name="connsiteY1864" fmla="*/ 4410 h 10000"/>
                <a:gd name="connsiteX1865" fmla="*/ 2894 w 10785"/>
                <a:gd name="connsiteY1865" fmla="*/ 4410 h 10000"/>
                <a:gd name="connsiteX1866" fmla="*/ 2889 w 10785"/>
                <a:gd name="connsiteY1866" fmla="*/ 4419 h 10000"/>
                <a:gd name="connsiteX1867" fmla="*/ 2876 w 10785"/>
                <a:gd name="connsiteY1867" fmla="*/ 4410 h 10000"/>
                <a:gd name="connsiteX1868" fmla="*/ 2880 w 10785"/>
                <a:gd name="connsiteY1868" fmla="*/ 4376 h 10000"/>
                <a:gd name="connsiteX1869" fmla="*/ 2903 w 10785"/>
                <a:gd name="connsiteY1869" fmla="*/ 4393 h 10000"/>
                <a:gd name="connsiteX1870" fmla="*/ 2931 w 10785"/>
                <a:gd name="connsiteY1870" fmla="*/ 4393 h 10000"/>
                <a:gd name="connsiteX1871" fmla="*/ 2931 w 10785"/>
                <a:gd name="connsiteY1871" fmla="*/ 4385 h 10000"/>
                <a:gd name="connsiteX1872" fmla="*/ 2931 w 10785"/>
                <a:gd name="connsiteY1872" fmla="*/ 4350 h 10000"/>
                <a:gd name="connsiteX1873" fmla="*/ 2945 w 10785"/>
                <a:gd name="connsiteY1873" fmla="*/ 4350 h 10000"/>
                <a:gd name="connsiteX1874" fmla="*/ 2949 w 10785"/>
                <a:gd name="connsiteY1874" fmla="*/ 4325 h 10000"/>
                <a:gd name="connsiteX1875" fmla="*/ 2963 w 10785"/>
                <a:gd name="connsiteY1875" fmla="*/ 4256 h 10000"/>
                <a:gd name="connsiteX1876" fmla="*/ 2982 w 10785"/>
                <a:gd name="connsiteY1876" fmla="*/ 4239 h 10000"/>
                <a:gd name="connsiteX1877" fmla="*/ 2991 w 10785"/>
                <a:gd name="connsiteY1877" fmla="*/ 4214 h 10000"/>
                <a:gd name="connsiteX1878" fmla="*/ 2991 w 10785"/>
                <a:gd name="connsiteY1878" fmla="*/ 4197 h 10000"/>
                <a:gd name="connsiteX1879" fmla="*/ 2995 w 10785"/>
                <a:gd name="connsiteY1879" fmla="*/ 4171 h 10000"/>
                <a:gd name="connsiteX1880" fmla="*/ 2991 w 10785"/>
                <a:gd name="connsiteY1880" fmla="*/ 4077 h 10000"/>
                <a:gd name="connsiteX1881" fmla="*/ 2995 w 10785"/>
                <a:gd name="connsiteY1881" fmla="*/ 4034 h 10000"/>
                <a:gd name="connsiteX1882" fmla="*/ 3018 w 10785"/>
                <a:gd name="connsiteY1882" fmla="*/ 3983 h 10000"/>
                <a:gd name="connsiteX1883" fmla="*/ 3018 w 10785"/>
                <a:gd name="connsiteY1883" fmla="*/ 3915 h 10000"/>
                <a:gd name="connsiteX1884" fmla="*/ 2949 w 10785"/>
                <a:gd name="connsiteY1884" fmla="*/ 3778 h 10000"/>
                <a:gd name="connsiteX1885" fmla="*/ 2954 w 10785"/>
                <a:gd name="connsiteY1885" fmla="*/ 3675 h 10000"/>
                <a:gd name="connsiteX1886" fmla="*/ 2954 w 10785"/>
                <a:gd name="connsiteY1886" fmla="*/ 3650 h 10000"/>
                <a:gd name="connsiteX1887" fmla="*/ 2963 w 10785"/>
                <a:gd name="connsiteY1887" fmla="*/ 3624 h 10000"/>
                <a:gd name="connsiteX1888" fmla="*/ 2954 w 10785"/>
                <a:gd name="connsiteY1888" fmla="*/ 3564 h 10000"/>
                <a:gd name="connsiteX1889" fmla="*/ 2963 w 10785"/>
                <a:gd name="connsiteY1889" fmla="*/ 3538 h 10000"/>
                <a:gd name="connsiteX1890" fmla="*/ 2963 w 10785"/>
                <a:gd name="connsiteY1890" fmla="*/ 3487 h 10000"/>
                <a:gd name="connsiteX1891" fmla="*/ 2963 w 10785"/>
                <a:gd name="connsiteY1891" fmla="*/ 3479 h 10000"/>
                <a:gd name="connsiteX1892" fmla="*/ 2963 w 10785"/>
                <a:gd name="connsiteY1892" fmla="*/ 3462 h 10000"/>
                <a:gd name="connsiteX1893" fmla="*/ 2954 w 10785"/>
                <a:gd name="connsiteY1893" fmla="*/ 3453 h 10000"/>
                <a:gd name="connsiteX1894" fmla="*/ 2954 w 10785"/>
                <a:gd name="connsiteY1894" fmla="*/ 3444 h 10000"/>
                <a:gd name="connsiteX1895" fmla="*/ 2954 w 10785"/>
                <a:gd name="connsiteY1895" fmla="*/ 3402 h 10000"/>
                <a:gd name="connsiteX1896" fmla="*/ 2954 w 10785"/>
                <a:gd name="connsiteY1896" fmla="*/ 3393 h 10000"/>
                <a:gd name="connsiteX1897" fmla="*/ 2949 w 10785"/>
                <a:gd name="connsiteY1897" fmla="*/ 3376 h 10000"/>
                <a:gd name="connsiteX1898" fmla="*/ 2949 w 10785"/>
                <a:gd name="connsiteY1898" fmla="*/ 3342 h 10000"/>
                <a:gd name="connsiteX1899" fmla="*/ 2949 w 10785"/>
                <a:gd name="connsiteY1899" fmla="*/ 3316 h 10000"/>
                <a:gd name="connsiteX1900" fmla="*/ 2968 w 10785"/>
                <a:gd name="connsiteY1900" fmla="*/ 3291 h 10000"/>
                <a:gd name="connsiteX1901" fmla="*/ 2963 w 10785"/>
                <a:gd name="connsiteY1901" fmla="*/ 3205 h 10000"/>
                <a:gd name="connsiteX1902" fmla="*/ 2968 w 10785"/>
                <a:gd name="connsiteY1902" fmla="*/ 3171 h 10000"/>
                <a:gd name="connsiteX1903" fmla="*/ 2968 w 10785"/>
                <a:gd name="connsiteY1903" fmla="*/ 3128 h 10000"/>
                <a:gd name="connsiteX1904" fmla="*/ 2954 w 10785"/>
                <a:gd name="connsiteY1904" fmla="*/ 3051 h 10000"/>
                <a:gd name="connsiteX1905" fmla="*/ 2954 w 10785"/>
                <a:gd name="connsiteY1905" fmla="*/ 3009 h 10000"/>
                <a:gd name="connsiteX1906" fmla="*/ 2922 w 10785"/>
                <a:gd name="connsiteY1906" fmla="*/ 2940 h 10000"/>
                <a:gd name="connsiteX1907" fmla="*/ 2903 w 10785"/>
                <a:gd name="connsiteY1907" fmla="*/ 2880 h 10000"/>
                <a:gd name="connsiteX1908" fmla="*/ 2903 w 10785"/>
                <a:gd name="connsiteY1908" fmla="*/ 2855 h 10000"/>
                <a:gd name="connsiteX1909" fmla="*/ 2908 w 10785"/>
                <a:gd name="connsiteY1909" fmla="*/ 2846 h 10000"/>
                <a:gd name="connsiteX1910" fmla="*/ 2931 w 10785"/>
                <a:gd name="connsiteY1910" fmla="*/ 2821 h 10000"/>
                <a:gd name="connsiteX1911" fmla="*/ 2931 w 10785"/>
                <a:gd name="connsiteY1911" fmla="*/ 2803 h 10000"/>
                <a:gd name="connsiteX1912" fmla="*/ 2935 w 10785"/>
                <a:gd name="connsiteY1912" fmla="*/ 2786 h 10000"/>
                <a:gd name="connsiteX1913" fmla="*/ 2935 w 10785"/>
                <a:gd name="connsiteY1913" fmla="*/ 2744 h 10000"/>
                <a:gd name="connsiteX1914" fmla="*/ 2963 w 10785"/>
                <a:gd name="connsiteY1914" fmla="*/ 2607 h 10000"/>
                <a:gd name="connsiteX1915" fmla="*/ 2963 w 10785"/>
                <a:gd name="connsiteY1915" fmla="*/ 2419 h 10000"/>
                <a:gd name="connsiteX1916" fmla="*/ 2954 w 10785"/>
                <a:gd name="connsiteY1916" fmla="*/ 2410 h 10000"/>
                <a:gd name="connsiteX1917" fmla="*/ 2963 w 10785"/>
                <a:gd name="connsiteY1917" fmla="*/ 2393 h 10000"/>
                <a:gd name="connsiteX1918" fmla="*/ 2908 w 10785"/>
                <a:gd name="connsiteY1918" fmla="*/ 2359 h 10000"/>
                <a:gd name="connsiteX1919" fmla="*/ 2889 w 10785"/>
                <a:gd name="connsiteY1919" fmla="*/ 2325 h 10000"/>
                <a:gd name="connsiteX1920" fmla="*/ 2788 w 10785"/>
                <a:gd name="connsiteY1920" fmla="*/ 2333 h 10000"/>
                <a:gd name="connsiteX1921" fmla="*/ 2774 w 10785"/>
                <a:gd name="connsiteY1921" fmla="*/ 2325 h 10000"/>
                <a:gd name="connsiteX1922" fmla="*/ 2783 w 10785"/>
                <a:gd name="connsiteY1922" fmla="*/ 2308 h 10000"/>
                <a:gd name="connsiteX1923" fmla="*/ 2747 w 10785"/>
                <a:gd name="connsiteY1923" fmla="*/ 2308 h 10000"/>
                <a:gd name="connsiteX1924" fmla="*/ 2742 w 10785"/>
                <a:gd name="connsiteY1924" fmla="*/ 2333 h 10000"/>
                <a:gd name="connsiteX1925" fmla="*/ 2682 w 10785"/>
                <a:gd name="connsiteY1925" fmla="*/ 2769 h 10000"/>
                <a:gd name="connsiteX1926" fmla="*/ 2613 w 10785"/>
                <a:gd name="connsiteY1926" fmla="*/ 2940 h 10000"/>
                <a:gd name="connsiteX1927" fmla="*/ 2581 w 10785"/>
                <a:gd name="connsiteY1927" fmla="*/ 2966 h 10000"/>
                <a:gd name="connsiteX1928" fmla="*/ 2576 w 10785"/>
                <a:gd name="connsiteY1928" fmla="*/ 3051 h 10000"/>
                <a:gd name="connsiteX1929" fmla="*/ 2581 w 10785"/>
                <a:gd name="connsiteY1929" fmla="*/ 3051 h 10000"/>
                <a:gd name="connsiteX1930" fmla="*/ 2594 w 10785"/>
                <a:gd name="connsiteY1930" fmla="*/ 3017 h 10000"/>
                <a:gd name="connsiteX1931" fmla="*/ 2594 w 10785"/>
                <a:gd name="connsiteY1931" fmla="*/ 3034 h 10000"/>
                <a:gd name="connsiteX1932" fmla="*/ 2594 w 10785"/>
                <a:gd name="connsiteY1932" fmla="*/ 3051 h 10000"/>
                <a:gd name="connsiteX1933" fmla="*/ 2590 w 10785"/>
                <a:gd name="connsiteY1933" fmla="*/ 3077 h 10000"/>
                <a:gd name="connsiteX1934" fmla="*/ 2567 w 10785"/>
                <a:gd name="connsiteY1934" fmla="*/ 3103 h 10000"/>
                <a:gd name="connsiteX1935" fmla="*/ 2562 w 10785"/>
                <a:gd name="connsiteY1935" fmla="*/ 3145 h 10000"/>
                <a:gd name="connsiteX1936" fmla="*/ 2567 w 10785"/>
                <a:gd name="connsiteY1936" fmla="*/ 3179 h 10000"/>
                <a:gd name="connsiteX1937" fmla="*/ 2590 w 10785"/>
                <a:gd name="connsiteY1937" fmla="*/ 3171 h 10000"/>
                <a:gd name="connsiteX1938" fmla="*/ 2594 w 10785"/>
                <a:gd name="connsiteY1938" fmla="*/ 3145 h 10000"/>
                <a:gd name="connsiteX1939" fmla="*/ 2613 w 10785"/>
                <a:gd name="connsiteY1939" fmla="*/ 3154 h 10000"/>
                <a:gd name="connsiteX1940" fmla="*/ 2622 w 10785"/>
                <a:gd name="connsiteY1940" fmla="*/ 3179 h 10000"/>
                <a:gd name="connsiteX1941" fmla="*/ 2613 w 10785"/>
                <a:gd name="connsiteY1941" fmla="*/ 3214 h 10000"/>
                <a:gd name="connsiteX1942" fmla="*/ 2613 w 10785"/>
                <a:gd name="connsiteY1942" fmla="*/ 3308 h 10000"/>
                <a:gd name="connsiteX1943" fmla="*/ 2608 w 10785"/>
                <a:gd name="connsiteY1943" fmla="*/ 3325 h 10000"/>
                <a:gd name="connsiteX1944" fmla="*/ 2608 w 10785"/>
                <a:gd name="connsiteY1944" fmla="*/ 3376 h 10000"/>
                <a:gd name="connsiteX1945" fmla="*/ 2613 w 10785"/>
                <a:gd name="connsiteY1945" fmla="*/ 3419 h 10000"/>
                <a:gd name="connsiteX1946" fmla="*/ 2608 w 10785"/>
                <a:gd name="connsiteY1946" fmla="*/ 3444 h 10000"/>
                <a:gd name="connsiteX1947" fmla="*/ 2594 w 10785"/>
                <a:gd name="connsiteY1947" fmla="*/ 3444 h 10000"/>
                <a:gd name="connsiteX1948" fmla="*/ 2590 w 10785"/>
                <a:gd name="connsiteY1948" fmla="*/ 3427 h 10000"/>
                <a:gd name="connsiteX1949" fmla="*/ 2581 w 10785"/>
                <a:gd name="connsiteY1949" fmla="*/ 3564 h 10000"/>
                <a:gd name="connsiteX1950" fmla="*/ 2594 w 10785"/>
                <a:gd name="connsiteY1950" fmla="*/ 3598 h 10000"/>
                <a:gd name="connsiteX1951" fmla="*/ 2594 w 10785"/>
                <a:gd name="connsiteY1951" fmla="*/ 3581 h 10000"/>
                <a:gd name="connsiteX1952" fmla="*/ 2608 w 10785"/>
                <a:gd name="connsiteY1952" fmla="*/ 3556 h 10000"/>
                <a:gd name="connsiteX1953" fmla="*/ 2650 w 10785"/>
                <a:gd name="connsiteY1953" fmla="*/ 3615 h 10000"/>
                <a:gd name="connsiteX1954" fmla="*/ 2664 w 10785"/>
                <a:gd name="connsiteY1954" fmla="*/ 3615 h 10000"/>
                <a:gd name="connsiteX1955" fmla="*/ 2668 w 10785"/>
                <a:gd name="connsiteY1955" fmla="*/ 3615 h 10000"/>
                <a:gd name="connsiteX1956" fmla="*/ 2664 w 10785"/>
                <a:gd name="connsiteY1956" fmla="*/ 3667 h 10000"/>
                <a:gd name="connsiteX1957" fmla="*/ 2687 w 10785"/>
                <a:gd name="connsiteY1957" fmla="*/ 3786 h 10000"/>
                <a:gd name="connsiteX1958" fmla="*/ 2710 w 10785"/>
                <a:gd name="connsiteY1958" fmla="*/ 3812 h 10000"/>
                <a:gd name="connsiteX1959" fmla="*/ 2724 w 10785"/>
                <a:gd name="connsiteY1959" fmla="*/ 3812 h 10000"/>
                <a:gd name="connsiteX1960" fmla="*/ 2724 w 10785"/>
                <a:gd name="connsiteY1960" fmla="*/ 3829 h 10000"/>
                <a:gd name="connsiteX1961" fmla="*/ 2737 w 10785"/>
                <a:gd name="connsiteY1961" fmla="*/ 3838 h 10000"/>
                <a:gd name="connsiteX1962" fmla="*/ 2714 w 10785"/>
                <a:gd name="connsiteY1962" fmla="*/ 3872 h 10000"/>
                <a:gd name="connsiteX1963" fmla="*/ 2696 w 10785"/>
                <a:gd name="connsiteY1963" fmla="*/ 4026 h 10000"/>
                <a:gd name="connsiteX1964" fmla="*/ 2673 w 10785"/>
                <a:gd name="connsiteY1964" fmla="*/ 4051 h 10000"/>
                <a:gd name="connsiteX1965" fmla="*/ 2668 w 10785"/>
                <a:gd name="connsiteY1965" fmla="*/ 4034 h 10000"/>
                <a:gd name="connsiteX1966" fmla="*/ 2673 w 10785"/>
                <a:gd name="connsiteY1966" fmla="*/ 4000 h 10000"/>
                <a:gd name="connsiteX1967" fmla="*/ 2664 w 10785"/>
                <a:gd name="connsiteY1967" fmla="*/ 3974 h 10000"/>
                <a:gd name="connsiteX1968" fmla="*/ 2636 w 10785"/>
                <a:gd name="connsiteY1968" fmla="*/ 3949 h 10000"/>
                <a:gd name="connsiteX1969" fmla="*/ 2581 w 10785"/>
                <a:gd name="connsiteY1969" fmla="*/ 3838 h 10000"/>
                <a:gd name="connsiteX1970" fmla="*/ 2562 w 10785"/>
                <a:gd name="connsiteY1970" fmla="*/ 3829 h 10000"/>
                <a:gd name="connsiteX1971" fmla="*/ 2535 w 10785"/>
                <a:gd name="connsiteY1971" fmla="*/ 3778 h 10000"/>
                <a:gd name="connsiteX1972" fmla="*/ 2502 w 10785"/>
                <a:gd name="connsiteY1972" fmla="*/ 3761 h 10000"/>
                <a:gd name="connsiteX1973" fmla="*/ 2502 w 10785"/>
                <a:gd name="connsiteY1973" fmla="*/ 3735 h 10000"/>
                <a:gd name="connsiteX1974" fmla="*/ 2516 w 10785"/>
                <a:gd name="connsiteY1974" fmla="*/ 3735 h 10000"/>
                <a:gd name="connsiteX1975" fmla="*/ 2507 w 10785"/>
                <a:gd name="connsiteY1975" fmla="*/ 3726 h 10000"/>
                <a:gd name="connsiteX1976" fmla="*/ 2488 w 10785"/>
                <a:gd name="connsiteY1976" fmla="*/ 3726 h 10000"/>
                <a:gd name="connsiteX1977" fmla="*/ 2461 w 10785"/>
                <a:gd name="connsiteY1977" fmla="*/ 3692 h 10000"/>
                <a:gd name="connsiteX1978" fmla="*/ 2442 w 10785"/>
                <a:gd name="connsiteY1978" fmla="*/ 3675 h 10000"/>
                <a:gd name="connsiteX1979" fmla="*/ 2406 w 10785"/>
                <a:gd name="connsiteY1979" fmla="*/ 3598 h 10000"/>
                <a:gd name="connsiteX1980" fmla="*/ 2346 w 10785"/>
                <a:gd name="connsiteY1980" fmla="*/ 3564 h 10000"/>
                <a:gd name="connsiteX1981" fmla="*/ 2341 w 10785"/>
                <a:gd name="connsiteY1981" fmla="*/ 3564 h 10000"/>
                <a:gd name="connsiteX1982" fmla="*/ 2313 w 10785"/>
                <a:gd name="connsiteY1982" fmla="*/ 3530 h 10000"/>
                <a:gd name="connsiteX1983" fmla="*/ 2235 w 10785"/>
                <a:gd name="connsiteY1983" fmla="*/ 3530 h 10000"/>
                <a:gd name="connsiteX1984" fmla="*/ 2226 w 10785"/>
                <a:gd name="connsiteY1984" fmla="*/ 3513 h 10000"/>
                <a:gd name="connsiteX1985" fmla="*/ 2207 w 10785"/>
                <a:gd name="connsiteY1985" fmla="*/ 3504 h 10000"/>
                <a:gd name="connsiteX1986" fmla="*/ 2194 w 10785"/>
                <a:gd name="connsiteY1986" fmla="*/ 3504 h 10000"/>
                <a:gd name="connsiteX1987" fmla="*/ 2189 w 10785"/>
                <a:gd name="connsiteY1987" fmla="*/ 3504 h 10000"/>
                <a:gd name="connsiteX1988" fmla="*/ 2189 w 10785"/>
                <a:gd name="connsiteY1988" fmla="*/ 3530 h 10000"/>
                <a:gd name="connsiteX1989" fmla="*/ 2180 w 10785"/>
                <a:gd name="connsiteY1989" fmla="*/ 3538 h 10000"/>
                <a:gd name="connsiteX1990" fmla="*/ 2152 w 10785"/>
                <a:gd name="connsiteY1990" fmla="*/ 3581 h 10000"/>
                <a:gd name="connsiteX1991" fmla="*/ 2161 w 10785"/>
                <a:gd name="connsiteY1991" fmla="*/ 3598 h 10000"/>
                <a:gd name="connsiteX1992" fmla="*/ 2194 w 10785"/>
                <a:gd name="connsiteY1992" fmla="*/ 3752 h 10000"/>
                <a:gd name="connsiteX1993" fmla="*/ 2194 w 10785"/>
                <a:gd name="connsiteY1993" fmla="*/ 3735 h 10000"/>
                <a:gd name="connsiteX1994" fmla="*/ 2198 w 10785"/>
                <a:gd name="connsiteY1994" fmla="*/ 3735 h 10000"/>
                <a:gd name="connsiteX1995" fmla="*/ 2189 w 10785"/>
                <a:gd name="connsiteY1995" fmla="*/ 3838 h 10000"/>
                <a:gd name="connsiteX1996" fmla="*/ 2166 w 10785"/>
                <a:gd name="connsiteY1996" fmla="*/ 3889 h 10000"/>
                <a:gd name="connsiteX1997" fmla="*/ 2124 w 10785"/>
                <a:gd name="connsiteY1997" fmla="*/ 3889 h 10000"/>
                <a:gd name="connsiteX1998" fmla="*/ 2124 w 10785"/>
                <a:gd name="connsiteY1998" fmla="*/ 3923 h 10000"/>
                <a:gd name="connsiteX1999" fmla="*/ 2134 w 10785"/>
                <a:gd name="connsiteY1999" fmla="*/ 3940 h 10000"/>
                <a:gd name="connsiteX2000" fmla="*/ 2134 w 10785"/>
                <a:gd name="connsiteY2000" fmla="*/ 3966 h 10000"/>
                <a:gd name="connsiteX2001" fmla="*/ 2120 w 10785"/>
                <a:gd name="connsiteY2001" fmla="*/ 4000 h 10000"/>
                <a:gd name="connsiteX2002" fmla="*/ 2106 w 10785"/>
                <a:gd name="connsiteY2002" fmla="*/ 4009 h 10000"/>
                <a:gd name="connsiteX2003" fmla="*/ 2088 w 10785"/>
                <a:gd name="connsiteY2003" fmla="*/ 4000 h 10000"/>
                <a:gd name="connsiteX2004" fmla="*/ 2074 w 10785"/>
                <a:gd name="connsiteY2004" fmla="*/ 3974 h 10000"/>
                <a:gd name="connsiteX2005" fmla="*/ 2074 w 10785"/>
                <a:gd name="connsiteY2005" fmla="*/ 3940 h 10000"/>
                <a:gd name="connsiteX2006" fmla="*/ 2078 w 10785"/>
                <a:gd name="connsiteY2006" fmla="*/ 3915 h 10000"/>
                <a:gd name="connsiteX2007" fmla="*/ 2088 w 10785"/>
                <a:gd name="connsiteY2007" fmla="*/ 3889 h 10000"/>
                <a:gd name="connsiteX2008" fmla="*/ 2101 w 10785"/>
                <a:gd name="connsiteY2008" fmla="*/ 3872 h 10000"/>
                <a:gd name="connsiteX2009" fmla="*/ 2074 w 10785"/>
                <a:gd name="connsiteY2009" fmla="*/ 3812 h 10000"/>
                <a:gd name="connsiteX2010" fmla="*/ 2074 w 10785"/>
                <a:gd name="connsiteY2010" fmla="*/ 3786 h 10000"/>
                <a:gd name="connsiteX2011" fmla="*/ 2060 w 10785"/>
                <a:gd name="connsiteY2011" fmla="*/ 3786 h 10000"/>
                <a:gd name="connsiteX2012" fmla="*/ 2014 w 10785"/>
                <a:gd name="connsiteY2012" fmla="*/ 3829 h 10000"/>
                <a:gd name="connsiteX2013" fmla="*/ 2000 w 10785"/>
                <a:gd name="connsiteY2013" fmla="*/ 3863 h 10000"/>
                <a:gd name="connsiteX2014" fmla="*/ 1986 w 10785"/>
                <a:gd name="connsiteY2014" fmla="*/ 3872 h 10000"/>
                <a:gd name="connsiteX2015" fmla="*/ 1959 w 10785"/>
                <a:gd name="connsiteY2015" fmla="*/ 3940 h 10000"/>
                <a:gd name="connsiteX2016" fmla="*/ 1945 w 10785"/>
                <a:gd name="connsiteY2016" fmla="*/ 3949 h 10000"/>
                <a:gd name="connsiteX2017" fmla="*/ 1940 w 10785"/>
                <a:gd name="connsiteY2017" fmla="*/ 3923 h 10000"/>
                <a:gd name="connsiteX2018" fmla="*/ 1917 w 10785"/>
                <a:gd name="connsiteY2018" fmla="*/ 3915 h 10000"/>
                <a:gd name="connsiteX2019" fmla="*/ 1899 w 10785"/>
                <a:gd name="connsiteY2019" fmla="*/ 3923 h 10000"/>
                <a:gd name="connsiteX2020" fmla="*/ 1880 w 10785"/>
                <a:gd name="connsiteY2020" fmla="*/ 3915 h 10000"/>
                <a:gd name="connsiteX2021" fmla="*/ 1853 w 10785"/>
                <a:gd name="connsiteY2021" fmla="*/ 3940 h 10000"/>
                <a:gd name="connsiteX2022" fmla="*/ 1839 w 10785"/>
                <a:gd name="connsiteY2022" fmla="*/ 3940 h 10000"/>
                <a:gd name="connsiteX2023" fmla="*/ 1806 w 10785"/>
                <a:gd name="connsiteY2023" fmla="*/ 3983 h 10000"/>
                <a:gd name="connsiteX2024" fmla="*/ 1806 w 10785"/>
                <a:gd name="connsiteY2024" fmla="*/ 4000 h 10000"/>
                <a:gd name="connsiteX2025" fmla="*/ 1797 w 10785"/>
                <a:gd name="connsiteY2025" fmla="*/ 4077 h 10000"/>
                <a:gd name="connsiteX2026" fmla="*/ 1783 w 10785"/>
                <a:gd name="connsiteY2026" fmla="*/ 4077 h 10000"/>
                <a:gd name="connsiteX2027" fmla="*/ 1779 w 10785"/>
                <a:gd name="connsiteY2027" fmla="*/ 4051 h 10000"/>
                <a:gd name="connsiteX2028" fmla="*/ 1765 w 10785"/>
                <a:gd name="connsiteY2028" fmla="*/ 4026 h 10000"/>
                <a:gd name="connsiteX2029" fmla="*/ 1751 w 10785"/>
                <a:gd name="connsiteY2029" fmla="*/ 4051 h 10000"/>
                <a:gd name="connsiteX2030" fmla="*/ 1737 w 10785"/>
                <a:gd name="connsiteY2030" fmla="*/ 4009 h 10000"/>
                <a:gd name="connsiteX2031" fmla="*/ 1737 w 10785"/>
                <a:gd name="connsiteY2031" fmla="*/ 3966 h 10000"/>
                <a:gd name="connsiteX2032" fmla="*/ 1733 w 10785"/>
                <a:gd name="connsiteY2032" fmla="*/ 3940 h 10000"/>
                <a:gd name="connsiteX2033" fmla="*/ 1733 w 10785"/>
                <a:gd name="connsiteY2033" fmla="*/ 3923 h 10000"/>
                <a:gd name="connsiteX2034" fmla="*/ 1747 w 10785"/>
                <a:gd name="connsiteY2034" fmla="*/ 3889 h 10000"/>
                <a:gd name="connsiteX2035" fmla="*/ 1747 w 10785"/>
                <a:gd name="connsiteY2035" fmla="*/ 3863 h 10000"/>
                <a:gd name="connsiteX2036" fmla="*/ 1737 w 10785"/>
                <a:gd name="connsiteY2036" fmla="*/ 3838 h 10000"/>
                <a:gd name="connsiteX2037" fmla="*/ 1733 w 10785"/>
                <a:gd name="connsiteY2037" fmla="*/ 3829 h 10000"/>
                <a:gd name="connsiteX2038" fmla="*/ 1733 w 10785"/>
                <a:gd name="connsiteY2038" fmla="*/ 3846 h 10000"/>
                <a:gd name="connsiteX2039" fmla="*/ 1724 w 10785"/>
                <a:gd name="connsiteY2039" fmla="*/ 3846 h 10000"/>
                <a:gd name="connsiteX2040" fmla="*/ 1724 w 10785"/>
                <a:gd name="connsiteY2040" fmla="*/ 3829 h 10000"/>
                <a:gd name="connsiteX2041" fmla="*/ 1737 w 10785"/>
                <a:gd name="connsiteY2041" fmla="*/ 3812 h 10000"/>
                <a:gd name="connsiteX2042" fmla="*/ 1765 w 10785"/>
                <a:gd name="connsiteY2042" fmla="*/ 3812 h 10000"/>
                <a:gd name="connsiteX2043" fmla="*/ 1779 w 10785"/>
                <a:gd name="connsiteY2043" fmla="*/ 3786 h 10000"/>
                <a:gd name="connsiteX2044" fmla="*/ 1779 w 10785"/>
                <a:gd name="connsiteY2044" fmla="*/ 3786 h 10000"/>
                <a:gd name="connsiteX2045" fmla="*/ 1751 w 10785"/>
                <a:gd name="connsiteY2045" fmla="*/ 3803 h 10000"/>
                <a:gd name="connsiteX2046" fmla="*/ 1747 w 10785"/>
                <a:gd name="connsiteY2046" fmla="*/ 3803 h 10000"/>
                <a:gd name="connsiteX2047" fmla="*/ 1724 w 10785"/>
                <a:gd name="connsiteY2047" fmla="*/ 3803 h 10000"/>
                <a:gd name="connsiteX2048" fmla="*/ 1700 w 10785"/>
                <a:gd name="connsiteY2048" fmla="*/ 3829 h 10000"/>
                <a:gd name="connsiteX2049" fmla="*/ 1705 w 10785"/>
                <a:gd name="connsiteY2049" fmla="*/ 3846 h 10000"/>
                <a:gd name="connsiteX2050" fmla="*/ 1691 w 10785"/>
                <a:gd name="connsiteY2050" fmla="*/ 3846 h 10000"/>
                <a:gd name="connsiteX2051" fmla="*/ 1691 w 10785"/>
                <a:gd name="connsiteY2051" fmla="*/ 3863 h 10000"/>
                <a:gd name="connsiteX2052" fmla="*/ 1691 w 10785"/>
                <a:gd name="connsiteY2052" fmla="*/ 3915 h 10000"/>
                <a:gd name="connsiteX2053" fmla="*/ 1677 w 10785"/>
                <a:gd name="connsiteY2053" fmla="*/ 3923 h 10000"/>
                <a:gd name="connsiteX2054" fmla="*/ 1673 w 10785"/>
                <a:gd name="connsiteY2054" fmla="*/ 3915 h 10000"/>
                <a:gd name="connsiteX2055" fmla="*/ 1664 w 10785"/>
                <a:gd name="connsiteY2055" fmla="*/ 3889 h 10000"/>
                <a:gd name="connsiteX2056" fmla="*/ 1673 w 10785"/>
                <a:gd name="connsiteY2056" fmla="*/ 3872 h 10000"/>
                <a:gd name="connsiteX2057" fmla="*/ 1664 w 10785"/>
                <a:gd name="connsiteY2057" fmla="*/ 3872 h 10000"/>
                <a:gd name="connsiteX2058" fmla="*/ 1636 w 10785"/>
                <a:gd name="connsiteY2058" fmla="*/ 3923 h 10000"/>
                <a:gd name="connsiteX2059" fmla="*/ 1645 w 10785"/>
                <a:gd name="connsiteY2059" fmla="*/ 3923 h 10000"/>
                <a:gd name="connsiteX2060" fmla="*/ 1650 w 10785"/>
                <a:gd name="connsiteY2060" fmla="*/ 3949 h 10000"/>
                <a:gd name="connsiteX2061" fmla="*/ 1650 w 10785"/>
                <a:gd name="connsiteY2061" fmla="*/ 3983 h 10000"/>
                <a:gd name="connsiteX2062" fmla="*/ 1636 w 10785"/>
                <a:gd name="connsiteY2062" fmla="*/ 4000 h 10000"/>
                <a:gd name="connsiteX2063" fmla="*/ 1631 w 10785"/>
                <a:gd name="connsiteY2063" fmla="*/ 4009 h 10000"/>
                <a:gd name="connsiteX2064" fmla="*/ 1618 w 10785"/>
                <a:gd name="connsiteY2064" fmla="*/ 3949 h 10000"/>
                <a:gd name="connsiteX2065" fmla="*/ 1585 w 10785"/>
                <a:gd name="connsiteY2065" fmla="*/ 3966 h 10000"/>
                <a:gd name="connsiteX2066" fmla="*/ 1590 w 10785"/>
                <a:gd name="connsiteY2066" fmla="*/ 3974 h 10000"/>
                <a:gd name="connsiteX2067" fmla="*/ 1544 w 10785"/>
                <a:gd name="connsiteY2067" fmla="*/ 4009 h 10000"/>
                <a:gd name="connsiteX2068" fmla="*/ 1539 w 10785"/>
                <a:gd name="connsiteY2068" fmla="*/ 4009 h 10000"/>
                <a:gd name="connsiteX2069" fmla="*/ 1410 w 10785"/>
                <a:gd name="connsiteY2069" fmla="*/ 4188 h 10000"/>
                <a:gd name="connsiteX2070" fmla="*/ 1406 w 10785"/>
                <a:gd name="connsiteY2070" fmla="*/ 4171 h 10000"/>
                <a:gd name="connsiteX2071" fmla="*/ 1396 w 10785"/>
                <a:gd name="connsiteY2071" fmla="*/ 4214 h 10000"/>
                <a:gd name="connsiteX2072" fmla="*/ 1406 w 10785"/>
                <a:gd name="connsiteY2072" fmla="*/ 4222 h 10000"/>
                <a:gd name="connsiteX2073" fmla="*/ 1392 w 10785"/>
                <a:gd name="connsiteY2073" fmla="*/ 4239 h 10000"/>
                <a:gd name="connsiteX2074" fmla="*/ 1369 w 10785"/>
                <a:gd name="connsiteY2074" fmla="*/ 4248 h 10000"/>
                <a:gd name="connsiteX2075" fmla="*/ 1355 w 10785"/>
                <a:gd name="connsiteY2075" fmla="*/ 4256 h 10000"/>
                <a:gd name="connsiteX2076" fmla="*/ 1350 w 10785"/>
                <a:gd name="connsiteY2076" fmla="*/ 4248 h 10000"/>
                <a:gd name="connsiteX2077" fmla="*/ 1332 w 10785"/>
                <a:gd name="connsiteY2077" fmla="*/ 4376 h 10000"/>
                <a:gd name="connsiteX2078" fmla="*/ 1332 w 10785"/>
                <a:gd name="connsiteY2078" fmla="*/ 4436 h 10000"/>
                <a:gd name="connsiteX2079" fmla="*/ 1323 w 10785"/>
                <a:gd name="connsiteY2079" fmla="*/ 4462 h 10000"/>
                <a:gd name="connsiteX2080" fmla="*/ 1304 w 10785"/>
                <a:gd name="connsiteY2080" fmla="*/ 4487 h 10000"/>
                <a:gd name="connsiteX2081" fmla="*/ 1290 w 10785"/>
                <a:gd name="connsiteY2081" fmla="*/ 4470 h 10000"/>
                <a:gd name="connsiteX2082" fmla="*/ 1263 w 10785"/>
                <a:gd name="connsiteY2082" fmla="*/ 4496 h 10000"/>
                <a:gd name="connsiteX2083" fmla="*/ 1258 w 10785"/>
                <a:gd name="connsiteY2083" fmla="*/ 4547 h 10000"/>
                <a:gd name="connsiteX2084" fmla="*/ 1249 w 10785"/>
                <a:gd name="connsiteY2084" fmla="*/ 4487 h 10000"/>
                <a:gd name="connsiteX2085" fmla="*/ 1235 w 10785"/>
                <a:gd name="connsiteY2085" fmla="*/ 4496 h 10000"/>
                <a:gd name="connsiteX2086" fmla="*/ 1221 w 10785"/>
                <a:gd name="connsiteY2086" fmla="*/ 4496 h 10000"/>
                <a:gd name="connsiteX2087" fmla="*/ 1217 w 10785"/>
                <a:gd name="connsiteY2087" fmla="*/ 4487 h 10000"/>
                <a:gd name="connsiteX2088" fmla="*/ 1198 w 10785"/>
                <a:gd name="connsiteY2088" fmla="*/ 4410 h 10000"/>
                <a:gd name="connsiteX2089" fmla="*/ 1157 w 10785"/>
                <a:gd name="connsiteY2089" fmla="*/ 4333 h 10000"/>
                <a:gd name="connsiteX2090" fmla="*/ 1147 w 10785"/>
                <a:gd name="connsiteY2090" fmla="*/ 4299 h 10000"/>
                <a:gd name="connsiteX2091" fmla="*/ 1147 w 10785"/>
                <a:gd name="connsiteY2091" fmla="*/ 4274 h 10000"/>
                <a:gd name="connsiteX2092" fmla="*/ 1161 w 10785"/>
                <a:gd name="connsiteY2092" fmla="*/ 4256 h 10000"/>
                <a:gd name="connsiteX2093" fmla="*/ 1171 w 10785"/>
                <a:gd name="connsiteY2093" fmla="*/ 4248 h 10000"/>
                <a:gd name="connsiteX2094" fmla="*/ 1175 w 10785"/>
                <a:gd name="connsiteY2094" fmla="*/ 4214 h 10000"/>
                <a:gd name="connsiteX2095" fmla="*/ 1263 w 10785"/>
                <a:gd name="connsiteY2095" fmla="*/ 4171 h 10000"/>
                <a:gd name="connsiteX2096" fmla="*/ 1249 w 10785"/>
                <a:gd name="connsiteY2096" fmla="*/ 4137 h 10000"/>
                <a:gd name="connsiteX2097" fmla="*/ 1244 w 10785"/>
                <a:gd name="connsiteY2097" fmla="*/ 4060 h 10000"/>
                <a:gd name="connsiteX2098" fmla="*/ 1230 w 10785"/>
                <a:gd name="connsiteY2098" fmla="*/ 4077 h 10000"/>
                <a:gd name="connsiteX2099" fmla="*/ 1221 w 10785"/>
                <a:gd name="connsiteY2099" fmla="*/ 4026 h 10000"/>
                <a:gd name="connsiteX2100" fmla="*/ 1217 w 10785"/>
                <a:gd name="connsiteY2100" fmla="*/ 4026 h 10000"/>
                <a:gd name="connsiteX2101" fmla="*/ 1212 w 10785"/>
                <a:gd name="connsiteY2101" fmla="*/ 3983 h 10000"/>
                <a:gd name="connsiteX2102" fmla="*/ 1203 w 10785"/>
                <a:gd name="connsiteY2102" fmla="*/ 3966 h 10000"/>
                <a:gd name="connsiteX2103" fmla="*/ 1171 w 10785"/>
                <a:gd name="connsiteY2103" fmla="*/ 3949 h 10000"/>
                <a:gd name="connsiteX2104" fmla="*/ 1111 w 10785"/>
                <a:gd name="connsiteY2104" fmla="*/ 3940 h 10000"/>
                <a:gd name="connsiteX2105" fmla="*/ 1097 w 10785"/>
                <a:gd name="connsiteY2105" fmla="*/ 3949 h 10000"/>
                <a:gd name="connsiteX2106" fmla="*/ 1037 w 10785"/>
                <a:gd name="connsiteY2106" fmla="*/ 3897 h 10000"/>
                <a:gd name="connsiteX2107" fmla="*/ 1041 w 10785"/>
                <a:gd name="connsiteY2107" fmla="*/ 3923 h 10000"/>
                <a:gd name="connsiteX2108" fmla="*/ 1097 w 10785"/>
                <a:gd name="connsiteY2108" fmla="*/ 4009 h 10000"/>
                <a:gd name="connsiteX2109" fmla="*/ 1097 w 10785"/>
                <a:gd name="connsiteY2109" fmla="*/ 4120 h 10000"/>
                <a:gd name="connsiteX2110" fmla="*/ 1097 w 10785"/>
                <a:gd name="connsiteY2110" fmla="*/ 4162 h 10000"/>
                <a:gd name="connsiteX2111" fmla="*/ 1097 w 10785"/>
                <a:gd name="connsiteY2111" fmla="*/ 4197 h 10000"/>
                <a:gd name="connsiteX2112" fmla="*/ 1074 w 10785"/>
                <a:gd name="connsiteY2112" fmla="*/ 4333 h 10000"/>
                <a:gd name="connsiteX2113" fmla="*/ 1074 w 10785"/>
                <a:gd name="connsiteY2113" fmla="*/ 4376 h 10000"/>
                <a:gd name="connsiteX2114" fmla="*/ 1083 w 10785"/>
                <a:gd name="connsiteY2114" fmla="*/ 4385 h 10000"/>
                <a:gd name="connsiteX2115" fmla="*/ 1097 w 10785"/>
                <a:gd name="connsiteY2115" fmla="*/ 4385 h 10000"/>
                <a:gd name="connsiteX2116" fmla="*/ 1111 w 10785"/>
                <a:gd name="connsiteY2116" fmla="*/ 4410 h 10000"/>
                <a:gd name="connsiteX2117" fmla="*/ 1124 w 10785"/>
                <a:gd name="connsiteY2117" fmla="*/ 4444 h 10000"/>
                <a:gd name="connsiteX2118" fmla="*/ 1124 w 10785"/>
                <a:gd name="connsiteY2118" fmla="*/ 4470 h 10000"/>
                <a:gd name="connsiteX2119" fmla="*/ 1115 w 10785"/>
                <a:gd name="connsiteY2119" fmla="*/ 4513 h 10000"/>
                <a:gd name="connsiteX2120" fmla="*/ 1115 w 10785"/>
                <a:gd name="connsiteY2120" fmla="*/ 4530 h 10000"/>
                <a:gd name="connsiteX2121" fmla="*/ 1115 w 10785"/>
                <a:gd name="connsiteY2121" fmla="*/ 4573 h 10000"/>
                <a:gd name="connsiteX2122" fmla="*/ 1101 w 10785"/>
                <a:gd name="connsiteY2122" fmla="*/ 4607 h 10000"/>
                <a:gd name="connsiteX2123" fmla="*/ 1097 w 10785"/>
                <a:gd name="connsiteY2123" fmla="*/ 4658 h 10000"/>
                <a:gd name="connsiteX2124" fmla="*/ 1101 w 10785"/>
                <a:gd name="connsiteY2124" fmla="*/ 4692 h 10000"/>
                <a:gd name="connsiteX2125" fmla="*/ 1097 w 10785"/>
                <a:gd name="connsiteY2125" fmla="*/ 4778 h 10000"/>
                <a:gd name="connsiteX2126" fmla="*/ 1083 w 10785"/>
                <a:gd name="connsiteY2126" fmla="*/ 4744 h 10000"/>
                <a:gd name="connsiteX2127" fmla="*/ 1083 w 10785"/>
                <a:gd name="connsiteY2127" fmla="*/ 4718 h 10000"/>
                <a:gd name="connsiteX2128" fmla="*/ 1074 w 10785"/>
                <a:gd name="connsiteY2128" fmla="*/ 4692 h 10000"/>
                <a:gd name="connsiteX2129" fmla="*/ 1065 w 10785"/>
                <a:gd name="connsiteY2129" fmla="*/ 4692 h 10000"/>
                <a:gd name="connsiteX2130" fmla="*/ 1051 w 10785"/>
                <a:gd name="connsiteY2130" fmla="*/ 4718 h 10000"/>
                <a:gd name="connsiteX2131" fmla="*/ 1055 w 10785"/>
                <a:gd name="connsiteY2131" fmla="*/ 4692 h 10000"/>
                <a:gd name="connsiteX2132" fmla="*/ 1055 w 10785"/>
                <a:gd name="connsiteY2132" fmla="*/ 4667 h 10000"/>
                <a:gd name="connsiteX2133" fmla="*/ 1028 w 10785"/>
                <a:gd name="connsiteY2133" fmla="*/ 4624 h 10000"/>
                <a:gd name="connsiteX2134" fmla="*/ 1005 w 10785"/>
                <a:gd name="connsiteY2134" fmla="*/ 4624 h 10000"/>
                <a:gd name="connsiteX2135" fmla="*/ 977 w 10785"/>
                <a:gd name="connsiteY2135" fmla="*/ 4581 h 10000"/>
                <a:gd name="connsiteX2136" fmla="*/ 963 w 10785"/>
                <a:gd name="connsiteY2136" fmla="*/ 4607 h 10000"/>
                <a:gd name="connsiteX2137" fmla="*/ 963 w 10785"/>
                <a:gd name="connsiteY2137" fmla="*/ 4632 h 10000"/>
                <a:gd name="connsiteX2138" fmla="*/ 917 w 10785"/>
                <a:gd name="connsiteY2138" fmla="*/ 4718 h 10000"/>
                <a:gd name="connsiteX2139" fmla="*/ 889 w 10785"/>
                <a:gd name="connsiteY2139" fmla="*/ 4744 h 10000"/>
                <a:gd name="connsiteX2140" fmla="*/ 880 w 10785"/>
                <a:gd name="connsiteY2140" fmla="*/ 4744 h 10000"/>
                <a:gd name="connsiteX2141" fmla="*/ 862 w 10785"/>
                <a:gd name="connsiteY2141" fmla="*/ 4769 h 10000"/>
                <a:gd name="connsiteX2142" fmla="*/ 857 w 10785"/>
                <a:gd name="connsiteY2142" fmla="*/ 4795 h 10000"/>
                <a:gd name="connsiteX2143" fmla="*/ 829 w 10785"/>
                <a:gd name="connsiteY2143" fmla="*/ 4846 h 10000"/>
                <a:gd name="connsiteX2144" fmla="*/ 816 w 10785"/>
                <a:gd name="connsiteY2144" fmla="*/ 4855 h 10000"/>
                <a:gd name="connsiteX2145" fmla="*/ 816 w 10785"/>
                <a:gd name="connsiteY2145" fmla="*/ 4940 h 10000"/>
                <a:gd name="connsiteX2146" fmla="*/ 880 w 10785"/>
                <a:gd name="connsiteY2146" fmla="*/ 5179 h 10000"/>
                <a:gd name="connsiteX2147" fmla="*/ 880 w 10785"/>
                <a:gd name="connsiteY2147" fmla="*/ 5188 h 10000"/>
                <a:gd name="connsiteX2148" fmla="*/ 862 w 10785"/>
                <a:gd name="connsiteY2148" fmla="*/ 5171 h 10000"/>
                <a:gd name="connsiteX2149" fmla="*/ 857 w 10785"/>
                <a:gd name="connsiteY2149" fmla="*/ 5171 h 10000"/>
                <a:gd name="connsiteX2150" fmla="*/ 820 w 10785"/>
                <a:gd name="connsiteY2150" fmla="*/ 5145 h 10000"/>
                <a:gd name="connsiteX2151" fmla="*/ 820 w 10785"/>
                <a:gd name="connsiteY2151" fmla="*/ 5154 h 10000"/>
                <a:gd name="connsiteX2152" fmla="*/ 816 w 10785"/>
                <a:gd name="connsiteY2152" fmla="*/ 5171 h 10000"/>
                <a:gd name="connsiteX2153" fmla="*/ 783 w 10785"/>
                <a:gd name="connsiteY2153" fmla="*/ 5145 h 10000"/>
                <a:gd name="connsiteX2154" fmla="*/ 756 w 10785"/>
                <a:gd name="connsiteY2154" fmla="*/ 5103 h 10000"/>
                <a:gd name="connsiteX2155" fmla="*/ 742 w 10785"/>
                <a:gd name="connsiteY2155" fmla="*/ 5103 h 10000"/>
                <a:gd name="connsiteX2156" fmla="*/ 728 w 10785"/>
                <a:gd name="connsiteY2156" fmla="*/ 5094 h 10000"/>
                <a:gd name="connsiteX2157" fmla="*/ 710 w 10785"/>
                <a:gd name="connsiteY2157" fmla="*/ 5120 h 10000"/>
                <a:gd name="connsiteX2158" fmla="*/ 700 w 10785"/>
                <a:gd name="connsiteY2158" fmla="*/ 5145 h 10000"/>
                <a:gd name="connsiteX2159" fmla="*/ 696 w 10785"/>
                <a:gd name="connsiteY2159" fmla="*/ 5103 h 10000"/>
                <a:gd name="connsiteX2160" fmla="*/ 714 w 10785"/>
                <a:gd name="connsiteY2160" fmla="*/ 5077 h 10000"/>
                <a:gd name="connsiteX2161" fmla="*/ 682 w 10785"/>
                <a:gd name="connsiteY2161" fmla="*/ 5068 h 10000"/>
                <a:gd name="connsiteX2162" fmla="*/ 673 w 10785"/>
                <a:gd name="connsiteY2162" fmla="*/ 5034 h 10000"/>
                <a:gd name="connsiteX2163" fmla="*/ 636 w 10785"/>
                <a:gd name="connsiteY2163" fmla="*/ 4991 h 10000"/>
                <a:gd name="connsiteX2164" fmla="*/ 622 w 10785"/>
                <a:gd name="connsiteY2164" fmla="*/ 4983 h 10000"/>
                <a:gd name="connsiteX2165" fmla="*/ 622 w 10785"/>
                <a:gd name="connsiteY2165" fmla="*/ 5034 h 10000"/>
                <a:gd name="connsiteX2166" fmla="*/ 608 w 10785"/>
                <a:gd name="connsiteY2166" fmla="*/ 5051 h 10000"/>
                <a:gd name="connsiteX2167" fmla="*/ 594 w 10785"/>
                <a:gd name="connsiteY2167" fmla="*/ 5068 h 10000"/>
                <a:gd name="connsiteX2168" fmla="*/ 608 w 10785"/>
                <a:gd name="connsiteY2168" fmla="*/ 5120 h 10000"/>
                <a:gd name="connsiteX2169" fmla="*/ 613 w 10785"/>
                <a:gd name="connsiteY2169" fmla="*/ 5128 h 10000"/>
                <a:gd name="connsiteX2170" fmla="*/ 627 w 10785"/>
                <a:gd name="connsiteY2170" fmla="*/ 5179 h 10000"/>
                <a:gd name="connsiteX2171" fmla="*/ 650 w 10785"/>
                <a:gd name="connsiteY2171" fmla="*/ 5214 h 10000"/>
                <a:gd name="connsiteX2172" fmla="*/ 687 w 10785"/>
                <a:gd name="connsiteY2172" fmla="*/ 5188 h 10000"/>
                <a:gd name="connsiteX2173" fmla="*/ 700 w 10785"/>
                <a:gd name="connsiteY2173" fmla="*/ 5325 h 10000"/>
                <a:gd name="connsiteX2174" fmla="*/ 710 w 10785"/>
                <a:gd name="connsiteY2174" fmla="*/ 5350 h 10000"/>
                <a:gd name="connsiteX2175" fmla="*/ 687 w 10785"/>
                <a:gd name="connsiteY2175" fmla="*/ 5325 h 10000"/>
                <a:gd name="connsiteX2176" fmla="*/ 668 w 10785"/>
                <a:gd name="connsiteY2176" fmla="*/ 5350 h 10000"/>
                <a:gd name="connsiteX2177" fmla="*/ 668 w 10785"/>
                <a:gd name="connsiteY2177" fmla="*/ 5368 h 10000"/>
                <a:gd name="connsiteX2178" fmla="*/ 668 w 10785"/>
                <a:gd name="connsiteY2178" fmla="*/ 5376 h 10000"/>
                <a:gd name="connsiteX2179" fmla="*/ 581 w 10785"/>
                <a:gd name="connsiteY2179" fmla="*/ 5316 h 10000"/>
                <a:gd name="connsiteX2180" fmla="*/ 567 w 10785"/>
                <a:gd name="connsiteY2180" fmla="*/ 5265 h 10000"/>
                <a:gd name="connsiteX2181" fmla="*/ 562 w 10785"/>
                <a:gd name="connsiteY2181" fmla="*/ 5256 h 10000"/>
                <a:gd name="connsiteX2182" fmla="*/ 548 w 10785"/>
                <a:gd name="connsiteY2182" fmla="*/ 5231 h 10000"/>
                <a:gd name="connsiteX2183" fmla="*/ 535 w 10785"/>
                <a:gd name="connsiteY2183" fmla="*/ 5214 h 10000"/>
                <a:gd name="connsiteX2184" fmla="*/ 525 w 10785"/>
                <a:gd name="connsiteY2184" fmla="*/ 5231 h 10000"/>
                <a:gd name="connsiteX2185" fmla="*/ 521 w 10785"/>
                <a:gd name="connsiteY2185" fmla="*/ 5231 h 10000"/>
                <a:gd name="connsiteX2186" fmla="*/ 493 w 10785"/>
                <a:gd name="connsiteY2186" fmla="*/ 5205 h 10000"/>
                <a:gd name="connsiteX2187" fmla="*/ 488 w 10785"/>
                <a:gd name="connsiteY2187" fmla="*/ 5179 h 10000"/>
                <a:gd name="connsiteX2188" fmla="*/ 475 w 10785"/>
                <a:gd name="connsiteY2188" fmla="*/ 5188 h 10000"/>
                <a:gd name="connsiteX2189" fmla="*/ 475 w 10785"/>
                <a:gd name="connsiteY2189" fmla="*/ 5171 h 10000"/>
                <a:gd name="connsiteX2190" fmla="*/ 488 w 10785"/>
                <a:gd name="connsiteY2190" fmla="*/ 5154 h 10000"/>
                <a:gd name="connsiteX2191" fmla="*/ 488 w 10785"/>
                <a:gd name="connsiteY2191" fmla="*/ 5068 h 10000"/>
                <a:gd name="connsiteX2192" fmla="*/ 475 w 10785"/>
                <a:gd name="connsiteY2192" fmla="*/ 5051 h 10000"/>
                <a:gd name="connsiteX2193" fmla="*/ 475 w 10785"/>
                <a:gd name="connsiteY2193" fmla="*/ 5017 h 10000"/>
                <a:gd name="connsiteX2194" fmla="*/ 452 w 10785"/>
                <a:gd name="connsiteY2194" fmla="*/ 4932 h 10000"/>
                <a:gd name="connsiteX2195" fmla="*/ 461 w 10785"/>
                <a:gd name="connsiteY2195" fmla="*/ 4915 h 10000"/>
                <a:gd name="connsiteX2196" fmla="*/ 475 w 10785"/>
                <a:gd name="connsiteY2196" fmla="*/ 4906 h 10000"/>
                <a:gd name="connsiteX2197" fmla="*/ 479 w 10785"/>
                <a:gd name="connsiteY2197" fmla="*/ 4803 h 10000"/>
                <a:gd name="connsiteX2198" fmla="*/ 479 w 10785"/>
                <a:gd name="connsiteY2198" fmla="*/ 4778 h 10000"/>
                <a:gd name="connsiteX2199" fmla="*/ 475 w 10785"/>
                <a:gd name="connsiteY2199" fmla="*/ 4761 h 10000"/>
                <a:gd name="connsiteX2200" fmla="*/ 465 w 10785"/>
                <a:gd name="connsiteY2200" fmla="*/ 4718 h 10000"/>
                <a:gd name="connsiteX2201" fmla="*/ 461 w 10785"/>
                <a:gd name="connsiteY2201" fmla="*/ 4709 h 10000"/>
                <a:gd name="connsiteX2202" fmla="*/ 442 w 10785"/>
                <a:gd name="connsiteY2202" fmla="*/ 4692 h 10000"/>
                <a:gd name="connsiteX2203" fmla="*/ 433 w 10785"/>
                <a:gd name="connsiteY2203" fmla="*/ 4667 h 10000"/>
                <a:gd name="connsiteX2204" fmla="*/ 419 w 10785"/>
                <a:gd name="connsiteY2204" fmla="*/ 4667 h 10000"/>
                <a:gd name="connsiteX2205" fmla="*/ 401 w 10785"/>
                <a:gd name="connsiteY2205" fmla="*/ 4658 h 10000"/>
                <a:gd name="connsiteX2206" fmla="*/ 401 w 10785"/>
                <a:gd name="connsiteY2206" fmla="*/ 4624 h 10000"/>
                <a:gd name="connsiteX2207" fmla="*/ 401 w 10785"/>
                <a:gd name="connsiteY2207" fmla="*/ 4607 h 10000"/>
                <a:gd name="connsiteX2208" fmla="*/ 378 w 10785"/>
                <a:gd name="connsiteY2208" fmla="*/ 4607 h 10000"/>
                <a:gd name="connsiteX2209" fmla="*/ 341 w 10785"/>
                <a:gd name="connsiteY2209" fmla="*/ 4530 h 10000"/>
                <a:gd name="connsiteX2210" fmla="*/ 346 w 10785"/>
                <a:gd name="connsiteY2210" fmla="*/ 4521 h 10000"/>
                <a:gd name="connsiteX2211" fmla="*/ 332 w 10785"/>
                <a:gd name="connsiteY2211" fmla="*/ 4487 h 10000"/>
                <a:gd name="connsiteX2212" fmla="*/ 327 w 10785"/>
                <a:gd name="connsiteY2212" fmla="*/ 4462 h 10000"/>
                <a:gd name="connsiteX2213" fmla="*/ 313 w 10785"/>
                <a:gd name="connsiteY2213" fmla="*/ 4436 h 10000"/>
                <a:gd name="connsiteX2214" fmla="*/ 300 w 10785"/>
                <a:gd name="connsiteY2214" fmla="*/ 4419 h 10000"/>
                <a:gd name="connsiteX2215" fmla="*/ 309 w 10785"/>
                <a:gd name="connsiteY2215" fmla="*/ 4393 h 10000"/>
                <a:gd name="connsiteX2216" fmla="*/ 332 w 10785"/>
                <a:gd name="connsiteY2216" fmla="*/ 4385 h 10000"/>
                <a:gd name="connsiteX2217" fmla="*/ 355 w 10785"/>
                <a:gd name="connsiteY2217" fmla="*/ 4419 h 10000"/>
                <a:gd name="connsiteX2218" fmla="*/ 355 w 10785"/>
                <a:gd name="connsiteY2218" fmla="*/ 4444 h 10000"/>
                <a:gd name="connsiteX2219" fmla="*/ 369 w 10785"/>
                <a:gd name="connsiteY2219" fmla="*/ 4470 h 10000"/>
                <a:gd name="connsiteX2220" fmla="*/ 401 w 10785"/>
                <a:gd name="connsiteY2220" fmla="*/ 4521 h 10000"/>
                <a:gd name="connsiteX2221" fmla="*/ 406 w 10785"/>
                <a:gd name="connsiteY2221" fmla="*/ 4513 h 10000"/>
                <a:gd name="connsiteX2222" fmla="*/ 406 w 10785"/>
                <a:gd name="connsiteY2222" fmla="*/ 4496 h 10000"/>
                <a:gd name="connsiteX2223" fmla="*/ 419 w 10785"/>
                <a:gd name="connsiteY2223" fmla="*/ 4521 h 10000"/>
                <a:gd name="connsiteX2224" fmla="*/ 429 w 10785"/>
                <a:gd name="connsiteY2224" fmla="*/ 4530 h 10000"/>
                <a:gd name="connsiteX2225" fmla="*/ 433 w 10785"/>
                <a:gd name="connsiteY2225" fmla="*/ 4521 h 10000"/>
                <a:gd name="connsiteX2226" fmla="*/ 442 w 10785"/>
                <a:gd name="connsiteY2226" fmla="*/ 4530 h 10000"/>
                <a:gd name="connsiteX2227" fmla="*/ 447 w 10785"/>
                <a:gd name="connsiteY2227" fmla="*/ 4521 h 10000"/>
                <a:gd name="connsiteX2228" fmla="*/ 452 w 10785"/>
                <a:gd name="connsiteY2228" fmla="*/ 4521 h 10000"/>
                <a:gd name="connsiteX2229" fmla="*/ 461 w 10785"/>
                <a:gd name="connsiteY2229" fmla="*/ 4573 h 10000"/>
                <a:gd name="connsiteX2230" fmla="*/ 479 w 10785"/>
                <a:gd name="connsiteY2230" fmla="*/ 4556 h 10000"/>
                <a:gd name="connsiteX2231" fmla="*/ 502 w 10785"/>
                <a:gd name="connsiteY2231" fmla="*/ 4573 h 10000"/>
                <a:gd name="connsiteX2232" fmla="*/ 507 w 10785"/>
                <a:gd name="connsiteY2232" fmla="*/ 4598 h 10000"/>
                <a:gd name="connsiteX2233" fmla="*/ 525 w 10785"/>
                <a:gd name="connsiteY2233" fmla="*/ 4598 h 10000"/>
                <a:gd name="connsiteX2234" fmla="*/ 535 w 10785"/>
                <a:gd name="connsiteY2234" fmla="*/ 4624 h 10000"/>
                <a:gd name="connsiteX2235" fmla="*/ 594 w 10785"/>
                <a:gd name="connsiteY2235" fmla="*/ 4658 h 10000"/>
                <a:gd name="connsiteX2236" fmla="*/ 627 w 10785"/>
                <a:gd name="connsiteY2236" fmla="*/ 4658 h 10000"/>
                <a:gd name="connsiteX2237" fmla="*/ 654 w 10785"/>
                <a:gd name="connsiteY2237" fmla="*/ 4684 h 10000"/>
                <a:gd name="connsiteX2238" fmla="*/ 668 w 10785"/>
                <a:gd name="connsiteY2238" fmla="*/ 4709 h 10000"/>
                <a:gd name="connsiteX2239" fmla="*/ 747 w 10785"/>
                <a:gd name="connsiteY2239" fmla="*/ 4718 h 10000"/>
                <a:gd name="connsiteX2240" fmla="*/ 760 w 10785"/>
                <a:gd name="connsiteY2240" fmla="*/ 4709 h 10000"/>
                <a:gd name="connsiteX2241" fmla="*/ 774 w 10785"/>
                <a:gd name="connsiteY2241" fmla="*/ 4692 h 10000"/>
                <a:gd name="connsiteX2242" fmla="*/ 829 w 10785"/>
                <a:gd name="connsiteY2242" fmla="*/ 4658 h 10000"/>
                <a:gd name="connsiteX2243" fmla="*/ 903 w 10785"/>
                <a:gd name="connsiteY2243" fmla="*/ 4496 h 10000"/>
                <a:gd name="connsiteX2244" fmla="*/ 917 w 10785"/>
                <a:gd name="connsiteY2244" fmla="*/ 4385 h 10000"/>
                <a:gd name="connsiteX2245" fmla="*/ 903 w 10785"/>
                <a:gd name="connsiteY2245" fmla="*/ 4376 h 10000"/>
                <a:gd name="connsiteX2246" fmla="*/ 903 w 10785"/>
                <a:gd name="connsiteY2246" fmla="*/ 4376 h 10000"/>
                <a:gd name="connsiteX2247" fmla="*/ 889 w 10785"/>
                <a:gd name="connsiteY2247" fmla="*/ 4239 h 10000"/>
                <a:gd name="connsiteX2248" fmla="*/ 880 w 10785"/>
                <a:gd name="connsiteY2248" fmla="*/ 4214 h 10000"/>
                <a:gd name="connsiteX2249" fmla="*/ 862 w 10785"/>
                <a:gd name="connsiteY2249" fmla="*/ 4188 h 10000"/>
                <a:gd name="connsiteX2250" fmla="*/ 857 w 10785"/>
                <a:gd name="connsiteY2250" fmla="*/ 4197 h 10000"/>
                <a:gd name="connsiteX2251" fmla="*/ 848 w 10785"/>
                <a:gd name="connsiteY2251" fmla="*/ 4188 h 10000"/>
                <a:gd name="connsiteX2252" fmla="*/ 848 w 10785"/>
                <a:gd name="connsiteY2252" fmla="*/ 4162 h 10000"/>
                <a:gd name="connsiteX2253" fmla="*/ 829 w 10785"/>
                <a:gd name="connsiteY2253" fmla="*/ 4120 h 10000"/>
                <a:gd name="connsiteX2254" fmla="*/ 820 w 10785"/>
                <a:gd name="connsiteY2254" fmla="*/ 4103 h 10000"/>
                <a:gd name="connsiteX2255" fmla="*/ 806 w 10785"/>
                <a:gd name="connsiteY2255" fmla="*/ 4077 h 10000"/>
                <a:gd name="connsiteX2256" fmla="*/ 816 w 10785"/>
                <a:gd name="connsiteY2256" fmla="*/ 4111 h 10000"/>
                <a:gd name="connsiteX2257" fmla="*/ 802 w 10785"/>
                <a:gd name="connsiteY2257" fmla="*/ 4111 h 10000"/>
                <a:gd name="connsiteX2258" fmla="*/ 770 w 10785"/>
                <a:gd name="connsiteY2258" fmla="*/ 4060 h 10000"/>
                <a:gd name="connsiteX2259" fmla="*/ 760 w 10785"/>
                <a:gd name="connsiteY2259" fmla="*/ 4077 h 10000"/>
                <a:gd name="connsiteX2260" fmla="*/ 760 w 10785"/>
                <a:gd name="connsiteY2260" fmla="*/ 4060 h 10000"/>
                <a:gd name="connsiteX2261" fmla="*/ 756 w 10785"/>
                <a:gd name="connsiteY2261" fmla="*/ 4034 h 10000"/>
                <a:gd name="connsiteX2262" fmla="*/ 742 w 10785"/>
                <a:gd name="connsiteY2262" fmla="*/ 4000 h 10000"/>
                <a:gd name="connsiteX2263" fmla="*/ 747 w 10785"/>
                <a:gd name="connsiteY2263" fmla="*/ 4034 h 10000"/>
                <a:gd name="connsiteX2264" fmla="*/ 724 w 10785"/>
                <a:gd name="connsiteY2264" fmla="*/ 4026 h 10000"/>
                <a:gd name="connsiteX2265" fmla="*/ 714 w 10785"/>
                <a:gd name="connsiteY2265" fmla="*/ 4000 h 10000"/>
                <a:gd name="connsiteX2266" fmla="*/ 714 w 10785"/>
                <a:gd name="connsiteY2266" fmla="*/ 3983 h 10000"/>
                <a:gd name="connsiteX2267" fmla="*/ 553 w 10785"/>
                <a:gd name="connsiteY2267" fmla="*/ 3726 h 10000"/>
                <a:gd name="connsiteX2268" fmla="*/ 507 w 10785"/>
                <a:gd name="connsiteY2268" fmla="*/ 3718 h 10000"/>
                <a:gd name="connsiteX2269" fmla="*/ 516 w 10785"/>
                <a:gd name="connsiteY2269" fmla="*/ 3726 h 10000"/>
                <a:gd name="connsiteX2270" fmla="*/ 507 w 10785"/>
                <a:gd name="connsiteY2270" fmla="*/ 3735 h 10000"/>
                <a:gd name="connsiteX2271" fmla="*/ 502 w 10785"/>
                <a:gd name="connsiteY2271" fmla="*/ 3735 h 10000"/>
                <a:gd name="connsiteX2272" fmla="*/ 419 w 10785"/>
                <a:gd name="connsiteY2272" fmla="*/ 3675 h 10000"/>
                <a:gd name="connsiteX2273" fmla="*/ 419 w 10785"/>
                <a:gd name="connsiteY2273" fmla="*/ 3692 h 10000"/>
                <a:gd name="connsiteX2274" fmla="*/ 401 w 10785"/>
                <a:gd name="connsiteY2274" fmla="*/ 3701 h 10000"/>
                <a:gd name="connsiteX2275" fmla="*/ 387 w 10785"/>
                <a:gd name="connsiteY2275" fmla="*/ 3718 h 10000"/>
                <a:gd name="connsiteX2276" fmla="*/ 387 w 10785"/>
                <a:gd name="connsiteY2276" fmla="*/ 3692 h 10000"/>
                <a:gd name="connsiteX2277" fmla="*/ 378 w 10785"/>
                <a:gd name="connsiteY2277" fmla="*/ 3675 h 10000"/>
                <a:gd name="connsiteX2278" fmla="*/ 378 w 10785"/>
                <a:gd name="connsiteY2278" fmla="*/ 3650 h 10000"/>
                <a:gd name="connsiteX2279" fmla="*/ 378 w 10785"/>
                <a:gd name="connsiteY2279" fmla="*/ 3650 h 10000"/>
                <a:gd name="connsiteX2280" fmla="*/ 355 w 10785"/>
                <a:gd name="connsiteY2280" fmla="*/ 3675 h 10000"/>
                <a:gd name="connsiteX2281" fmla="*/ 359 w 10785"/>
                <a:gd name="connsiteY2281" fmla="*/ 3641 h 10000"/>
                <a:gd name="connsiteX2282" fmla="*/ 346 w 10785"/>
                <a:gd name="connsiteY2282" fmla="*/ 3650 h 10000"/>
                <a:gd name="connsiteX2283" fmla="*/ 355 w 10785"/>
                <a:gd name="connsiteY2283" fmla="*/ 3624 h 10000"/>
                <a:gd name="connsiteX2284" fmla="*/ 346 w 10785"/>
                <a:gd name="connsiteY2284" fmla="*/ 3624 h 10000"/>
                <a:gd name="connsiteX2285" fmla="*/ 341 w 10785"/>
                <a:gd name="connsiteY2285" fmla="*/ 3624 h 10000"/>
                <a:gd name="connsiteX2286" fmla="*/ 318 w 10785"/>
                <a:gd name="connsiteY2286" fmla="*/ 3641 h 10000"/>
                <a:gd name="connsiteX2287" fmla="*/ 327 w 10785"/>
                <a:gd name="connsiteY2287" fmla="*/ 3624 h 10000"/>
                <a:gd name="connsiteX2288" fmla="*/ 318 w 10785"/>
                <a:gd name="connsiteY2288" fmla="*/ 3615 h 10000"/>
                <a:gd name="connsiteX2289" fmla="*/ 318 w 10785"/>
                <a:gd name="connsiteY2289" fmla="*/ 3598 h 10000"/>
                <a:gd name="connsiteX2290" fmla="*/ 300 w 10785"/>
                <a:gd name="connsiteY2290" fmla="*/ 3598 h 10000"/>
                <a:gd name="connsiteX2291" fmla="*/ 309 w 10785"/>
                <a:gd name="connsiteY2291" fmla="*/ 3538 h 10000"/>
                <a:gd name="connsiteX2292" fmla="*/ 313 w 10785"/>
                <a:gd name="connsiteY2292" fmla="*/ 3564 h 10000"/>
                <a:gd name="connsiteX2293" fmla="*/ 318 w 10785"/>
                <a:gd name="connsiteY2293" fmla="*/ 3581 h 10000"/>
                <a:gd name="connsiteX2294" fmla="*/ 327 w 10785"/>
                <a:gd name="connsiteY2294" fmla="*/ 3564 h 10000"/>
                <a:gd name="connsiteX2295" fmla="*/ 332 w 10785"/>
                <a:gd name="connsiteY2295" fmla="*/ 3590 h 10000"/>
                <a:gd name="connsiteX2296" fmla="*/ 346 w 10785"/>
                <a:gd name="connsiteY2296" fmla="*/ 3590 h 10000"/>
                <a:gd name="connsiteX2297" fmla="*/ 355 w 10785"/>
                <a:gd name="connsiteY2297" fmla="*/ 3590 h 10000"/>
                <a:gd name="connsiteX2298" fmla="*/ 369 w 10785"/>
                <a:gd name="connsiteY2298" fmla="*/ 3556 h 10000"/>
                <a:gd name="connsiteX2299" fmla="*/ 369 w 10785"/>
                <a:gd name="connsiteY2299" fmla="*/ 3538 h 10000"/>
                <a:gd name="connsiteX2300" fmla="*/ 346 w 10785"/>
                <a:gd name="connsiteY2300" fmla="*/ 3513 h 10000"/>
                <a:gd name="connsiteX2301" fmla="*/ 341 w 10785"/>
                <a:gd name="connsiteY2301" fmla="*/ 3530 h 10000"/>
                <a:gd name="connsiteX2302" fmla="*/ 327 w 10785"/>
                <a:gd name="connsiteY2302" fmla="*/ 3513 h 10000"/>
                <a:gd name="connsiteX2303" fmla="*/ 327 w 10785"/>
                <a:gd name="connsiteY2303" fmla="*/ 3504 h 10000"/>
                <a:gd name="connsiteX2304" fmla="*/ 295 w 10785"/>
                <a:gd name="connsiteY2304" fmla="*/ 3462 h 10000"/>
                <a:gd name="connsiteX2305" fmla="*/ 300 w 10785"/>
                <a:gd name="connsiteY2305" fmla="*/ 3479 h 10000"/>
                <a:gd name="connsiteX2306" fmla="*/ 295 w 10785"/>
                <a:gd name="connsiteY2306" fmla="*/ 3513 h 10000"/>
                <a:gd name="connsiteX2307" fmla="*/ 286 w 10785"/>
                <a:gd name="connsiteY2307" fmla="*/ 3513 h 10000"/>
                <a:gd name="connsiteX2308" fmla="*/ 281 w 10785"/>
                <a:gd name="connsiteY2308" fmla="*/ 3513 h 10000"/>
                <a:gd name="connsiteX2309" fmla="*/ 281 w 10785"/>
                <a:gd name="connsiteY2309" fmla="*/ 3530 h 10000"/>
                <a:gd name="connsiteX2310" fmla="*/ 281 w 10785"/>
                <a:gd name="connsiteY2310" fmla="*/ 3556 h 10000"/>
                <a:gd name="connsiteX2311" fmla="*/ 272 w 10785"/>
                <a:gd name="connsiteY2311" fmla="*/ 3564 h 10000"/>
                <a:gd name="connsiteX2312" fmla="*/ 267 w 10785"/>
                <a:gd name="connsiteY2312" fmla="*/ 3564 h 10000"/>
                <a:gd name="connsiteX2313" fmla="*/ 253 w 10785"/>
                <a:gd name="connsiteY2313" fmla="*/ 3538 h 10000"/>
                <a:gd name="connsiteX2314" fmla="*/ 226 w 10785"/>
                <a:gd name="connsiteY2314" fmla="*/ 3513 h 10000"/>
                <a:gd name="connsiteX2315" fmla="*/ 226 w 10785"/>
                <a:gd name="connsiteY2315" fmla="*/ 3530 h 10000"/>
                <a:gd name="connsiteX2316" fmla="*/ 226 w 10785"/>
                <a:gd name="connsiteY2316" fmla="*/ 3530 h 10000"/>
                <a:gd name="connsiteX2317" fmla="*/ 226 w 10785"/>
                <a:gd name="connsiteY2317" fmla="*/ 3530 h 10000"/>
                <a:gd name="connsiteX2318" fmla="*/ 226 w 10785"/>
                <a:gd name="connsiteY2318" fmla="*/ 3556 h 10000"/>
                <a:gd name="connsiteX2319" fmla="*/ 221 w 10785"/>
                <a:gd name="connsiteY2319" fmla="*/ 3598 h 10000"/>
                <a:gd name="connsiteX2320" fmla="*/ 207 w 10785"/>
                <a:gd name="connsiteY2320" fmla="*/ 3598 h 10000"/>
                <a:gd name="connsiteX2321" fmla="*/ 180 w 10785"/>
                <a:gd name="connsiteY2321" fmla="*/ 3581 h 10000"/>
                <a:gd name="connsiteX2322" fmla="*/ 171 w 10785"/>
                <a:gd name="connsiteY2322" fmla="*/ 3641 h 10000"/>
                <a:gd name="connsiteX2323" fmla="*/ 166 w 10785"/>
                <a:gd name="connsiteY2323" fmla="*/ 3650 h 10000"/>
                <a:gd name="connsiteX2324" fmla="*/ 124 w 10785"/>
                <a:gd name="connsiteY2324" fmla="*/ 3701 h 10000"/>
                <a:gd name="connsiteX2325" fmla="*/ 124 w 10785"/>
                <a:gd name="connsiteY2325" fmla="*/ 3718 h 10000"/>
                <a:gd name="connsiteX2326" fmla="*/ 120 w 10785"/>
                <a:gd name="connsiteY2326" fmla="*/ 3735 h 10000"/>
                <a:gd name="connsiteX2327" fmla="*/ 120 w 10785"/>
                <a:gd name="connsiteY2327" fmla="*/ 3735 h 10000"/>
                <a:gd name="connsiteX2328" fmla="*/ 111 w 10785"/>
                <a:gd name="connsiteY2328" fmla="*/ 3761 h 10000"/>
                <a:gd name="connsiteX2329" fmla="*/ 106 w 10785"/>
                <a:gd name="connsiteY2329" fmla="*/ 3761 h 10000"/>
                <a:gd name="connsiteX2330" fmla="*/ 106 w 10785"/>
                <a:gd name="connsiteY2330" fmla="*/ 3761 h 10000"/>
                <a:gd name="connsiteX2331" fmla="*/ 74 w 10785"/>
                <a:gd name="connsiteY2331" fmla="*/ 3829 h 10000"/>
                <a:gd name="connsiteX2332" fmla="*/ 78 w 10785"/>
                <a:gd name="connsiteY2332" fmla="*/ 3838 h 10000"/>
                <a:gd name="connsiteX2333" fmla="*/ 88 w 10785"/>
                <a:gd name="connsiteY2333" fmla="*/ 3846 h 10000"/>
                <a:gd name="connsiteX2334" fmla="*/ 65 w 10785"/>
                <a:gd name="connsiteY2334" fmla="*/ 3923 h 10000"/>
                <a:gd name="connsiteX2335" fmla="*/ 78 w 10785"/>
                <a:gd name="connsiteY2335" fmla="*/ 4026 h 10000"/>
                <a:gd name="connsiteX2336" fmla="*/ 88 w 10785"/>
                <a:gd name="connsiteY2336" fmla="*/ 4051 h 10000"/>
                <a:gd name="connsiteX2337" fmla="*/ 92 w 10785"/>
                <a:gd name="connsiteY2337" fmla="*/ 4060 h 10000"/>
                <a:gd name="connsiteX2338" fmla="*/ 111 w 10785"/>
                <a:gd name="connsiteY2338" fmla="*/ 4060 h 10000"/>
                <a:gd name="connsiteX2339" fmla="*/ 124 w 10785"/>
                <a:gd name="connsiteY2339" fmla="*/ 4085 h 10000"/>
                <a:gd name="connsiteX2340" fmla="*/ 166 w 10785"/>
                <a:gd name="connsiteY2340" fmla="*/ 4197 h 10000"/>
                <a:gd name="connsiteX2341" fmla="*/ 166 w 10785"/>
                <a:gd name="connsiteY2341" fmla="*/ 4248 h 10000"/>
                <a:gd name="connsiteX2342" fmla="*/ 120 w 10785"/>
                <a:gd name="connsiteY2342" fmla="*/ 4462 h 10000"/>
                <a:gd name="connsiteX2343" fmla="*/ 120 w 10785"/>
                <a:gd name="connsiteY2343" fmla="*/ 4513 h 10000"/>
                <a:gd name="connsiteX2344" fmla="*/ 180 w 10785"/>
                <a:gd name="connsiteY2344" fmla="*/ 4829 h 10000"/>
                <a:gd name="connsiteX2345" fmla="*/ 161 w 10785"/>
                <a:gd name="connsiteY2345" fmla="*/ 4855 h 10000"/>
                <a:gd name="connsiteX2346" fmla="*/ 152 w 10785"/>
                <a:gd name="connsiteY2346" fmla="*/ 4940 h 10000"/>
                <a:gd name="connsiteX2347" fmla="*/ 161 w 10785"/>
                <a:gd name="connsiteY2347" fmla="*/ 4966 h 10000"/>
                <a:gd name="connsiteX2348" fmla="*/ 161 w 10785"/>
                <a:gd name="connsiteY2348" fmla="*/ 5009 h 10000"/>
                <a:gd name="connsiteX2349" fmla="*/ 152 w 10785"/>
                <a:gd name="connsiteY2349" fmla="*/ 5034 h 10000"/>
                <a:gd name="connsiteX2350" fmla="*/ 152 w 10785"/>
                <a:gd name="connsiteY2350" fmla="*/ 5077 h 10000"/>
                <a:gd name="connsiteX2351" fmla="*/ 171 w 10785"/>
                <a:gd name="connsiteY2351" fmla="*/ 5094 h 10000"/>
                <a:gd name="connsiteX2352" fmla="*/ 180 w 10785"/>
                <a:gd name="connsiteY2352" fmla="*/ 5128 h 10000"/>
                <a:gd name="connsiteX2353" fmla="*/ 180 w 10785"/>
                <a:gd name="connsiteY2353" fmla="*/ 5171 h 10000"/>
                <a:gd name="connsiteX2354" fmla="*/ 184 w 10785"/>
                <a:gd name="connsiteY2354" fmla="*/ 5205 h 10000"/>
                <a:gd name="connsiteX2355" fmla="*/ 207 w 10785"/>
                <a:gd name="connsiteY2355" fmla="*/ 5239 h 10000"/>
                <a:gd name="connsiteX2356" fmla="*/ 207 w 10785"/>
                <a:gd name="connsiteY2356" fmla="*/ 5282 h 10000"/>
                <a:gd name="connsiteX2357" fmla="*/ 180 w 10785"/>
                <a:gd name="connsiteY2357" fmla="*/ 5393 h 10000"/>
                <a:gd name="connsiteX2358" fmla="*/ 194 w 10785"/>
                <a:gd name="connsiteY2358" fmla="*/ 5427 h 10000"/>
                <a:gd name="connsiteX2359" fmla="*/ 198 w 10785"/>
                <a:gd name="connsiteY2359" fmla="*/ 5462 h 10000"/>
                <a:gd name="connsiteX2360" fmla="*/ 235 w 10785"/>
                <a:gd name="connsiteY2360" fmla="*/ 5513 h 10000"/>
                <a:gd name="connsiteX2361" fmla="*/ 240 w 10785"/>
                <a:gd name="connsiteY2361" fmla="*/ 5556 h 10000"/>
                <a:gd name="connsiteX2362" fmla="*/ 253 w 10785"/>
                <a:gd name="connsiteY2362" fmla="*/ 5590 h 10000"/>
                <a:gd name="connsiteX2363" fmla="*/ 258 w 10785"/>
                <a:gd name="connsiteY2363" fmla="*/ 5573 h 10000"/>
                <a:gd name="connsiteX2364" fmla="*/ 258 w 10785"/>
                <a:gd name="connsiteY2364" fmla="*/ 5667 h 10000"/>
                <a:gd name="connsiteX2365" fmla="*/ 14 w 10785"/>
                <a:gd name="connsiteY2365" fmla="*/ 6214 h 10000"/>
                <a:gd name="connsiteX2366" fmla="*/ 14 w 10785"/>
                <a:gd name="connsiteY2366" fmla="*/ 6214 h 10000"/>
                <a:gd name="connsiteX2367" fmla="*/ 37 w 10785"/>
                <a:gd name="connsiteY2367" fmla="*/ 6214 h 10000"/>
                <a:gd name="connsiteX2368" fmla="*/ 51 w 10785"/>
                <a:gd name="connsiteY2368" fmla="*/ 6188 h 10000"/>
                <a:gd name="connsiteX2369" fmla="*/ 78 w 10785"/>
                <a:gd name="connsiteY2369" fmla="*/ 6162 h 10000"/>
                <a:gd name="connsiteX2370" fmla="*/ 78 w 10785"/>
                <a:gd name="connsiteY2370" fmla="*/ 6188 h 10000"/>
                <a:gd name="connsiteX2371" fmla="*/ 74 w 10785"/>
                <a:gd name="connsiteY2371" fmla="*/ 6197 h 10000"/>
                <a:gd name="connsiteX2372" fmla="*/ 74 w 10785"/>
                <a:gd name="connsiteY2372" fmla="*/ 6231 h 10000"/>
                <a:gd name="connsiteX2373" fmla="*/ 74 w 10785"/>
                <a:gd name="connsiteY2373" fmla="*/ 6214 h 10000"/>
                <a:gd name="connsiteX2374" fmla="*/ 65 w 10785"/>
                <a:gd name="connsiteY2374" fmla="*/ 6214 h 10000"/>
                <a:gd name="connsiteX2375" fmla="*/ 65 w 10785"/>
                <a:gd name="connsiteY2375" fmla="*/ 6248 h 10000"/>
                <a:gd name="connsiteX2376" fmla="*/ 74 w 10785"/>
                <a:gd name="connsiteY2376" fmla="*/ 6256 h 10000"/>
                <a:gd name="connsiteX2377" fmla="*/ 78 w 10785"/>
                <a:gd name="connsiteY2377" fmla="*/ 6256 h 10000"/>
                <a:gd name="connsiteX2378" fmla="*/ 106 w 10785"/>
                <a:gd name="connsiteY2378" fmla="*/ 6308 h 10000"/>
                <a:gd name="connsiteX2379" fmla="*/ 138 w 10785"/>
                <a:gd name="connsiteY2379" fmla="*/ 6299 h 10000"/>
                <a:gd name="connsiteX2380" fmla="*/ 152 w 10785"/>
                <a:gd name="connsiteY2380" fmla="*/ 6299 h 10000"/>
                <a:gd name="connsiteX2381" fmla="*/ 166 w 10785"/>
                <a:gd name="connsiteY2381" fmla="*/ 6325 h 10000"/>
                <a:gd name="connsiteX2382" fmla="*/ 166 w 10785"/>
                <a:gd name="connsiteY2382" fmla="*/ 6333 h 10000"/>
                <a:gd name="connsiteX2383" fmla="*/ 171 w 10785"/>
                <a:gd name="connsiteY2383" fmla="*/ 6350 h 10000"/>
                <a:gd name="connsiteX2384" fmla="*/ 180 w 10785"/>
                <a:gd name="connsiteY2384" fmla="*/ 6350 h 10000"/>
                <a:gd name="connsiteX2385" fmla="*/ 180 w 10785"/>
                <a:gd name="connsiteY2385" fmla="*/ 6359 h 10000"/>
                <a:gd name="connsiteX2386" fmla="*/ 171 w 10785"/>
                <a:gd name="connsiteY2386" fmla="*/ 6368 h 10000"/>
                <a:gd name="connsiteX2387" fmla="*/ 106 w 10785"/>
                <a:gd name="connsiteY2387" fmla="*/ 6350 h 10000"/>
                <a:gd name="connsiteX2388" fmla="*/ 101 w 10785"/>
                <a:gd name="connsiteY2388" fmla="*/ 6359 h 10000"/>
                <a:gd name="connsiteX2389" fmla="*/ 101 w 10785"/>
                <a:gd name="connsiteY2389" fmla="*/ 6385 h 10000"/>
                <a:gd name="connsiteX2390" fmla="*/ 78 w 10785"/>
                <a:gd name="connsiteY2390" fmla="*/ 6393 h 10000"/>
                <a:gd name="connsiteX2391" fmla="*/ 74 w 10785"/>
                <a:gd name="connsiteY2391" fmla="*/ 6385 h 10000"/>
                <a:gd name="connsiteX2392" fmla="*/ 65 w 10785"/>
                <a:gd name="connsiteY2392" fmla="*/ 6393 h 10000"/>
                <a:gd name="connsiteX2393" fmla="*/ 60 w 10785"/>
                <a:gd name="connsiteY2393" fmla="*/ 6419 h 10000"/>
                <a:gd name="connsiteX2394" fmla="*/ 51 w 10785"/>
                <a:gd name="connsiteY2394" fmla="*/ 6419 h 10000"/>
                <a:gd name="connsiteX2395" fmla="*/ 46 w 10785"/>
                <a:gd name="connsiteY2395" fmla="*/ 6410 h 10000"/>
                <a:gd name="connsiteX2396" fmla="*/ 37 w 10785"/>
                <a:gd name="connsiteY2396" fmla="*/ 6393 h 10000"/>
                <a:gd name="connsiteX2397" fmla="*/ 32 w 10785"/>
                <a:gd name="connsiteY2397" fmla="*/ 6419 h 10000"/>
                <a:gd name="connsiteX2398" fmla="*/ 37 w 10785"/>
                <a:gd name="connsiteY2398" fmla="*/ 6462 h 10000"/>
                <a:gd name="connsiteX2399" fmla="*/ 46 w 10785"/>
                <a:gd name="connsiteY2399" fmla="*/ 6462 h 10000"/>
                <a:gd name="connsiteX2400" fmla="*/ 51 w 10785"/>
                <a:gd name="connsiteY2400" fmla="*/ 6470 h 10000"/>
                <a:gd name="connsiteX2401" fmla="*/ 51 w 10785"/>
                <a:gd name="connsiteY2401" fmla="*/ 6496 h 10000"/>
                <a:gd name="connsiteX2402" fmla="*/ 51 w 10785"/>
                <a:gd name="connsiteY2402" fmla="*/ 6504 h 10000"/>
                <a:gd name="connsiteX2403" fmla="*/ 37 w 10785"/>
                <a:gd name="connsiteY2403" fmla="*/ 6530 h 10000"/>
                <a:gd name="connsiteX2404" fmla="*/ 18 w 10785"/>
                <a:gd name="connsiteY2404" fmla="*/ 6598 h 10000"/>
                <a:gd name="connsiteX2405" fmla="*/ 28 w 10785"/>
                <a:gd name="connsiteY2405" fmla="*/ 6632 h 10000"/>
                <a:gd name="connsiteX2406" fmla="*/ 18 w 10785"/>
                <a:gd name="connsiteY2406" fmla="*/ 6667 h 10000"/>
                <a:gd name="connsiteX2407" fmla="*/ 28 w 10785"/>
                <a:gd name="connsiteY2407" fmla="*/ 6692 h 10000"/>
                <a:gd name="connsiteX2408" fmla="*/ 28 w 10785"/>
                <a:gd name="connsiteY2408" fmla="*/ 6709 h 10000"/>
                <a:gd name="connsiteX2409" fmla="*/ 18 w 10785"/>
                <a:gd name="connsiteY2409" fmla="*/ 6718 h 10000"/>
                <a:gd name="connsiteX2410" fmla="*/ 5 w 10785"/>
                <a:gd name="connsiteY2410" fmla="*/ 6744 h 10000"/>
                <a:gd name="connsiteX2411" fmla="*/ 0 w 10785"/>
                <a:gd name="connsiteY2411" fmla="*/ 6769 h 10000"/>
                <a:gd name="connsiteX2412" fmla="*/ 5 w 10785"/>
                <a:gd name="connsiteY2412" fmla="*/ 6778 h 10000"/>
                <a:gd name="connsiteX2413" fmla="*/ 32 w 10785"/>
                <a:gd name="connsiteY2413" fmla="*/ 6778 h 10000"/>
                <a:gd name="connsiteX2414" fmla="*/ 46 w 10785"/>
                <a:gd name="connsiteY2414" fmla="*/ 6821 h 10000"/>
                <a:gd name="connsiteX2415" fmla="*/ 46 w 10785"/>
                <a:gd name="connsiteY2415" fmla="*/ 6855 h 10000"/>
                <a:gd name="connsiteX2416" fmla="*/ 32 w 10785"/>
                <a:gd name="connsiteY2416" fmla="*/ 6855 h 10000"/>
                <a:gd name="connsiteX2417" fmla="*/ 14 w 10785"/>
                <a:gd name="connsiteY2417" fmla="*/ 6821 h 10000"/>
                <a:gd name="connsiteX2418" fmla="*/ 14 w 10785"/>
                <a:gd name="connsiteY2418" fmla="*/ 6846 h 10000"/>
                <a:gd name="connsiteX2419" fmla="*/ 0 w 10785"/>
                <a:gd name="connsiteY2419" fmla="*/ 6897 h 10000"/>
                <a:gd name="connsiteX2420" fmla="*/ 0 w 10785"/>
                <a:gd name="connsiteY2420" fmla="*/ 6915 h 10000"/>
                <a:gd name="connsiteX2421" fmla="*/ 5 w 10785"/>
                <a:gd name="connsiteY2421" fmla="*/ 6932 h 10000"/>
                <a:gd name="connsiteX2422" fmla="*/ 14 w 10785"/>
                <a:gd name="connsiteY2422" fmla="*/ 6940 h 10000"/>
                <a:gd name="connsiteX2423" fmla="*/ 18 w 10785"/>
                <a:gd name="connsiteY2423" fmla="*/ 6957 h 10000"/>
                <a:gd name="connsiteX2424" fmla="*/ 28 w 10785"/>
                <a:gd name="connsiteY2424" fmla="*/ 6966 h 10000"/>
                <a:gd name="connsiteX2425" fmla="*/ 28 w 10785"/>
                <a:gd name="connsiteY2425" fmla="*/ 6983 h 10000"/>
                <a:gd name="connsiteX2426" fmla="*/ 18 w 10785"/>
                <a:gd name="connsiteY2426" fmla="*/ 7051 h 10000"/>
                <a:gd name="connsiteX2427" fmla="*/ 28 w 10785"/>
                <a:gd name="connsiteY2427" fmla="*/ 7068 h 10000"/>
                <a:gd name="connsiteX2428" fmla="*/ 32 w 10785"/>
                <a:gd name="connsiteY2428" fmla="*/ 7068 h 10000"/>
                <a:gd name="connsiteX2429" fmla="*/ 32 w 10785"/>
                <a:gd name="connsiteY2429" fmla="*/ 7094 h 10000"/>
                <a:gd name="connsiteX2430" fmla="*/ 60 w 10785"/>
                <a:gd name="connsiteY2430" fmla="*/ 7162 h 10000"/>
                <a:gd name="connsiteX2431" fmla="*/ 60 w 10785"/>
                <a:gd name="connsiteY2431" fmla="*/ 7231 h 10000"/>
                <a:gd name="connsiteX2432" fmla="*/ 60 w 10785"/>
                <a:gd name="connsiteY2432" fmla="*/ 7239 h 10000"/>
                <a:gd name="connsiteX2433" fmla="*/ 78 w 10785"/>
                <a:gd name="connsiteY2433" fmla="*/ 7239 h 10000"/>
                <a:gd name="connsiteX2434" fmla="*/ 88 w 10785"/>
                <a:gd name="connsiteY2434" fmla="*/ 7239 h 10000"/>
                <a:gd name="connsiteX2435" fmla="*/ 92 w 10785"/>
                <a:gd name="connsiteY2435" fmla="*/ 7256 h 10000"/>
                <a:gd name="connsiteX2436" fmla="*/ 111 w 10785"/>
                <a:gd name="connsiteY2436" fmla="*/ 7256 h 10000"/>
                <a:gd name="connsiteX2437" fmla="*/ 120 w 10785"/>
                <a:gd name="connsiteY2437" fmla="*/ 7256 h 10000"/>
                <a:gd name="connsiteX2438" fmla="*/ 134 w 10785"/>
                <a:gd name="connsiteY2438" fmla="*/ 7282 h 10000"/>
                <a:gd name="connsiteX2439" fmla="*/ 134 w 10785"/>
                <a:gd name="connsiteY2439" fmla="*/ 7316 h 10000"/>
                <a:gd name="connsiteX2440" fmla="*/ 152 w 10785"/>
                <a:gd name="connsiteY2440" fmla="*/ 7299 h 10000"/>
                <a:gd name="connsiteX2441" fmla="*/ 161 w 10785"/>
                <a:gd name="connsiteY2441" fmla="*/ 7299 h 10000"/>
                <a:gd name="connsiteX2442" fmla="*/ 166 w 10785"/>
                <a:gd name="connsiteY2442" fmla="*/ 7291 h 10000"/>
                <a:gd name="connsiteX2443" fmla="*/ 194 w 10785"/>
                <a:gd name="connsiteY2443" fmla="*/ 7291 h 10000"/>
                <a:gd name="connsiteX2444" fmla="*/ 207 w 10785"/>
                <a:gd name="connsiteY2444" fmla="*/ 7299 h 10000"/>
                <a:gd name="connsiteX2445" fmla="*/ 221 w 10785"/>
                <a:gd name="connsiteY2445" fmla="*/ 7342 h 10000"/>
                <a:gd name="connsiteX2446" fmla="*/ 235 w 10785"/>
                <a:gd name="connsiteY2446" fmla="*/ 7342 h 10000"/>
                <a:gd name="connsiteX2447" fmla="*/ 235 w 10785"/>
                <a:gd name="connsiteY2447" fmla="*/ 7368 h 10000"/>
                <a:gd name="connsiteX2448" fmla="*/ 226 w 10785"/>
                <a:gd name="connsiteY2448" fmla="*/ 7393 h 10000"/>
                <a:gd name="connsiteX2449" fmla="*/ 226 w 10785"/>
                <a:gd name="connsiteY2449" fmla="*/ 7402 h 10000"/>
                <a:gd name="connsiteX2450" fmla="*/ 235 w 10785"/>
                <a:gd name="connsiteY2450" fmla="*/ 7419 h 10000"/>
                <a:gd name="connsiteX2451" fmla="*/ 240 w 10785"/>
                <a:gd name="connsiteY2451" fmla="*/ 7436 h 10000"/>
                <a:gd name="connsiteX2452" fmla="*/ 235 w 10785"/>
                <a:gd name="connsiteY2452" fmla="*/ 7462 h 10000"/>
                <a:gd name="connsiteX2453" fmla="*/ 226 w 10785"/>
                <a:gd name="connsiteY2453" fmla="*/ 7479 h 10000"/>
                <a:gd name="connsiteX2454" fmla="*/ 226 w 10785"/>
                <a:gd name="connsiteY2454" fmla="*/ 7504 h 10000"/>
                <a:gd name="connsiteX2455" fmla="*/ 226 w 10785"/>
                <a:gd name="connsiteY2455" fmla="*/ 7513 h 10000"/>
                <a:gd name="connsiteX2456" fmla="*/ 240 w 10785"/>
                <a:gd name="connsiteY2456" fmla="*/ 7538 h 10000"/>
                <a:gd name="connsiteX2457" fmla="*/ 267 w 10785"/>
                <a:gd name="connsiteY2457" fmla="*/ 7641 h 10000"/>
                <a:gd name="connsiteX2458" fmla="*/ 281 w 10785"/>
                <a:gd name="connsiteY2458" fmla="*/ 7667 h 10000"/>
                <a:gd name="connsiteX2459" fmla="*/ 286 w 10785"/>
                <a:gd name="connsiteY2459" fmla="*/ 7675 h 10000"/>
                <a:gd name="connsiteX2460" fmla="*/ 286 w 10785"/>
                <a:gd name="connsiteY2460" fmla="*/ 7692 h 10000"/>
                <a:gd name="connsiteX2461" fmla="*/ 286 w 10785"/>
                <a:gd name="connsiteY2461" fmla="*/ 7709 h 10000"/>
                <a:gd name="connsiteX2462" fmla="*/ 295 w 10785"/>
                <a:gd name="connsiteY2462" fmla="*/ 7726 h 10000"/>
                <a:gd name="connsiteX2463" fmla="*/ 318 w 10785"/>
                <a:gd name="connsiteY2463" fmla="*/ 7709 h 10000"/>
                <a:gd name="connsiteX2464" fmla="*/ 327 w 10785"/>
                <a:gd name="connsiteY2464" fmla="*/ 7726 h 10000"/>
                <a:gd name="connsiteX2465" fmla="*/ 341 w 10785"/>
                <a:gd name="connsiteY2465" fmla="*/ 7735 h 10000"/>
                <a:gd name="connsiteX2466" fmla="*/ 332 w 10785"/>
                <a:gd name="connsiteY2466" fmla="*/ 7752 h 10000"/>
                <a:gd name="connsiteX2467" fmla="*/ 341 w 10785"/>
                <a:gd name="connsiteY2467" fmla="*/ 7761 h 10000"/>
                <a:gd name="connsiteX2468" fmla="*/ 355 w 10785"/>
                <a:gd name="connsiteY2468" fmla="*/ 7761 h 10000"/>
                <a:gd name="connsiteX2469" fmla="*/ 355 w 10785"/>
                <a:gd name="connsiteY2469" fmla="*/ 7803 h 10000"/>
                <a:gd name="connsiteX2470" fmla="*/ 313 w 10785"/>
                <a:gd name="connsiteY2470" fmla="*/ 7846 h 10000"/>
                <a:gd name="connsiteX2471" fmla="*/ 295 w 10785"/>
                <a:gd name="connsiteY2471" fmla="*/ 7846 h 10000"/>
                <a:gd name="connsiteX2472" fmla="*/ 281 w 10785"/>
                <a:gd name="connsiteY2472" fmla="*/ 7821 h 10000"/>
                <a:gd name="connsiteX2473" fmla="*/ 272 w 10785"/>
                <a:gd name="connsiteY2473" fmla="*/ 7821 h 10000"/>
                <a:gd name="connsiteX2474" fmla="*/ 267 w 10785"/>
                <a:gd name="connsiteY2474" fmla="*/ 7838 h 10000"/>
                <a:gd name="connsiteX2475" fmla="*/ 258 w 10785"/>
                <a:gd name="connsiteY2475" fmla="*/ 7846 h 10000"/>
                <a:gd name="connsiteX2476" fmla="*/ 253 w 10785"/>
                <a:gd name="connsiteY2476" fmla="*/ 7863 h 10000"/>
                <a:gd name="connsiteX2477" fmla="*/ 253 w 10785"/>
                <a:gd name="connsiteY2477" fmla="*/ 7872 h 10000"/>
                <a:gd name="connsiteX2478" fmla="*/ 267 w 10785"/>
                <a:gd name="connsiteY2478" fmla="*/ 7897 h 10000"/>
                <a:gd name="connsiteX2479" fmla="*/ 272 w 10785"/>
                <a:gd name="connsiteY2479" fmla="*/ 7915 h 10000"/>
                <a:gd name="connsiteX2480" fmla="*/ 267 w 10785"/>
                <a:gd name="connsiteY2480" fmla="*/ 7940 h 10000"/>
                <a:gd name="connsiteX2481" fmla="*/ 272 w 10785"/>
                <a:gd name="connsiteY2481" fmla="*/ 7949 h 10000"/>
                <a:gd name="connsiteX2482" fmla="*/ 272 w 10785"/>
                <a:gd name="connsiteY2482" fmla="*/ 7957 h 10000"/>
                <a:gd name="connsiteX2483" fmla="*/ 281 w 10785"/>
                <a:gd name="connsiteY2483" fmla="*/ 7974 h 10000"/>
                <a:gd name="connsiteX2484" fmla="*/ 286 w 10785"/>
                <a:gd name="connsiteY2484" fmla="*/ 7983 h 10000"/>
                <a:gd name="connsiteX2485" fmla="*/ 281 w 10785"/>
                <a:gd name="connsiteY2485" fmla="*/ 8009 h 10000"/>
                <a:gd name="connsiteX2486" fmla="*/ 286 w 10785"/>
                <a:gd name="connsiteY2486" fmla="*/ 8060 h 10000"/>
                <a:gd name="connsiteX2487" fmla="*/ 286 w 10785"/>
                <a:gd name="connsiteY2487" fmla="*/ 8060 h 10000"/>
                <a:gd name="connsiteX2488" fmla="*/ 295 w 10785"/>
                <a:gd name="connsiteY2488" fmla="*/ 8077 h 10000"/>
                <a:gd name="connsiteX2489" fmla="*/ 309 w 10785"/>
                <a:gd name="connsiteY2489" fmla="*/ 8077 h 10000"/>
                <a:gd name="connsiteX2490" fmla="*/ 313 w 10785"/>
                <a:gd name="connsiteY2490" fmla="*/ 8060 h 10000"/>
                <a:gd name="connsiteX2491" fmla="*/ 318 w 10785"/>
                <a:gd name="connsiteY2491" fmla="*/ 8051 h 10000"/>
                <a:gd name="connsiteX2492" fmla="*/ 318 w 10785"/>
                <a:gd name="connsiteY2492" fmla="*/ 8034 h 10000"/>
                <a:gd name="connsiteX2493" fmla="*/ 332 w 10785"/>
                <a:gd name="connsiteY2493" fmla="*/ 8026 h 10000"/>
                <a:gd name="connsiteX2494" fmla="*/ 359 w 10785"/>
                <a:gd name="connsiteY2494" fmla="*/ 8034 h 10000"/>
                <a:gd name="connsiteX2495" fmla="*/ 378 w 10785"/>
                <a:gd name="connsiteY2495" fmla="*/ 8026 h 10000"/>
                <a:gd name="connsiteX2496" fmla="*/ 401 w 10785"/>
                <a:gd name="connsiteY2496" fmla="*/ 8026 h 10000"/>
                <a:gd name="connsiteX2497" fmla="*/ 419 w 10785"/>
                <a:gd name="connsiteY2497" fmla="*/ 8009 h 10000"/>
                <a:gd name="connsiteX2498" fmla="*/ 433 w 10785"/>
                <a:gd name="connsiteY2498" fmla="*/ 8034 h 10000"/>
                <a:gd name="connsiteX2499" fmla="*/ 442 w 10785"/>
                <a:gd name="connsiteY2499" fmla="*/ 8060 h 10000"/>
                <a:gd name="connsiteX2500" fmla="*/ 442 w 10785"/>
                <a:gd name="connsiteY2500" fmla="*/ 8077 h 10000"/>
                <a:gd name="connsiteX2501" fmla="*/ 461 w 10785"/>
                <a:gd name="connsiteY2501" fmla="*/ 8111 h 10000"/>
                <a:gd name="connsiteX2502" fmla="*/ 461 w 10785"/>
                <a:gd name="connsiteY2502" fmla="*/ 8137 h 10000"/>
                <a:gd name="connsiteX2503" fmla="*/ 447 w 10785"/>
                <a:gd name="connsiteY2503" fmla="*/ 8145 h 10000"/>
                <a:gd name="connsiteX2504" fmla="*/ 442 w 10785"/>
                <a:gd name="connsiteY2504" fmla="*/ 8145 h 10000"/>
                <a:gd name="connsiteX2505" fmla="*/ 442 w 10785"/>
                <a:gd name="connsiteY2505" fmla="*/ 8162 h 10000"/>
                <a:gd name="connsiteX2506" fmla="*/ 442 w 10785"/>
                <a:gd name="connsiteY2506" fmla="*/ 8171 h 10000"/>
                <a:gd name="connsiteX2507" fmla="*/ 447 w 10785"/>
                <a:gd name="connsiteY2507" fmla="*/ 8214 h 10000"/>
                <a:gd name="connsiteX2508" fmla="*/ 465 w 10785"/>
                <a:gd name="connsiteY2508" fmla="*/ 8231 h 10000"/>
                <a:gd name="connsiteX2509" fmla="*/ 488 w 10785"/>
                <a:gd name="connsiteY2509" fmla="*/ 8231 h 10000"/>
                <a:gd name="connsiteX2510" fmla="*/ 493 w 10785"/>
                <a:gd name="connsiteY2510" fmla="*/ 8231 h 10000"/>
                <a:gd name="connsiteX2511" fmla="*/ 502 w 10785"/>
                <a:gd name="connsiteY2511" fmla="*/ 8231 h 10000"/>
                <a:gd name="connsiteX2512" fmla="*/ 507 w 10785"/>
                <a:gd name="connsiteY2512" fmla="*/ 8248 h 10000"/>
                <a:gd name="connsiteX2513" fmla="*/ 521 w 10785"/>
                <a:gd name="connsiteY2513" fmla="*/ 8274 h 10000"/>
                <a:gd name="connsiteX2514" fmla="*/ 525 w 10785"/>
                <a:gd name="connsiteY2514" fmla="*/ 8333 h 10000"/>
                <a:gd name="connsiteX2515" fmla="*/ 525 w 10785"/>
                <a:gd name="connsiteY2515" fmla="*/ 8359 h 10000"/>
                <a:gd name="connsiteX2516" fmla="*/ 525 w 10785"/>
                <a:gd name="connsiteY2516" fmla="*/ 8368 h 10000"/>
                <a:gd name="connsiteX2517" fmla="*/ 548 w 10785"/>
                <a:gd name="connsiteY2517" fmla="*/ 8393 h 10000"/>
                <a:gd name="connsiteX2518" fmla="*/ 553 w 10785"/>
                <a:gd name="connsiteY2518" fmla="*/ 8385 h 10000"/>
                <a:gd name="connsiteX2519" fmla="*/ 562 w 10785"/>
                <a:gd name="connsiteY2519" fmla="*/ 8385 h 10000"/>
                <a:gd name="connsiteX2520" fmla="*/ 576 w 10785"/>
                <a:gd name="connsiteY2520" fmla="*/ 8385 h 10000"/>
                <a:gd name="connsiteX2521" fmla="*/ 585 w 10785"/>
                <a:gd name="connsiteY2521" fmla="*/ 8410 h 10000"/>
                <a:gd name="connsiteX2522" fmla="*/ 594 w 10785"/>
                <a:gd name="connsiteY2522" fmla="*/ 8410 h 10000"/>
                <a:gd name="connsiteX2523" fmla="*/ 608 w 10785"/>
                <a:gd name="connsiteY2523" fmla="*/ 8410 h 10000"/>
                <a:gd name="connsiteX2524" fmla="*/ 654 w 10785"/>
                <a:gd name="connsiteY2524" fmla="*/ 8385 h 10000"/>
                <a:gd name="connsiteX2525" fmla="*/ 659 w 10785"/>
                <a:gd name="connsiteY2525" fmla="*/ 8385 h 10000"/>
                <a:gd name="connsiteX2526" fmla="*/ 696 w 10785"/>
                <a:gd name="connsiteY2526" fmla="*/ 8470 h 10000"/>
                <a:gd name="connsiteX2527" fmla="*/ 700 w 10785"/>
                <a:gd name="connsiteY2527" fmla="*/ 8470 h 10000"/>
                <a:gd name="connsiteX2528" fmla="*/ 710 w 10785"/>
                <a:gd name="connsiteY2528" fmla="*/ 8462 h 10000"/>
                <a:gd name="connsiteX2529" fmla="*/ 714 w 10785"/>
                <a:gd name="connsiteY2529" fmla="*/ 8462 h 10000"/>
                <a:gd name="connsiteX2530" fmla="*/ 724 w 10785"/>
                <a:gd name="connsiteY2530" fmla="*/ 8470 h 10000"/>
                <a:gd name="connsiteX2531" fmla="*/ 733 w 10785"/>
                <a:gd name="connsiteY2531" fmla="*/ 8470 h 10000"/>
                <a:gd name="connsiteX2532" fmla="*/ 742 w 10785"/>
                <a:gd name="connsiteY2532" fmla="*/ 8487 h 10000"/>
                <a:gd name="connsiteX2533" fmla="*/ 747 w 10785"/>
                <a:gd name="connsiteY2533" fmla="*/ 8496 h 10000"/>
                <a:gd name="connsiteX2534" fmla="*/ 770 w 10785"/>
                <a:gd name="connsiteY2534" fmla="*/ 8496 h 10000"/>
                <a:gd name="connsiteX2535" fmla="*/ 783 w 10785"/>
                <a:gd name="connsiteY2535" fmla="*/ 8521 h 10000"/>
                <a:gd name="connsiteX2536" fmla="*/ 797 w 10785"/>
                <a:gd name="connsiteY2536" fmla="*/ 8521 h 10000"/>
                <a:gd name="connsiteX2537" fmla="*/ 806 w 10785"/>
                <a:gd name="connsiteY2537" fmla="*/ 8530 h 10000"/>
                <a:gd name="connsiteX2538" fmla="*/ 829 w 10785"/>
                <a:gd name="connsiteY2538" fmla="*/ 8547 h 10000"/>
                <a:gd name="connsiteX2539" fmla="*/ 834 w 10785"/>
                <a:gd name="connsiteY2539" fmla="*/ 8556 h 10000"/>
                <a:gd name="connsiteX2540" fmla="*/ 829 w 10785"/>
                <a:gd name="connsiteY2540" fmla="*/ 8556 h 10000"/>
                <a:gd name="connsiteX2541" fmla="*/ 834 w 10785"/>
                <a:gd name="connsiteY2541" fmla="*/ 8607 h 10000"/>
                <a:gd name="connsiteX2542" fmla="*/ 829 w 10785"/>
                <a:gd name="connsiteY2542" fmla="*/ 8641 h 10000"/>
                <a:gd name="connsiteX2543" fmla="*/ 806 w 10785"/>
                <a:gd name="connsiteY2543" fmla="*/ 8658 h 10000"/>
                <a:gd name="connsiteX2544" fmla="*/ 816 w 10785"/>
                <a:gd name="connsiteY2544" fmla="*/ 8667 h 10000"/>
                <a:gd name="connsiteX2545" fmla="*/ 820 w 10785"/>
                <a:gd name="connsiteY2545" fmla="*/ 8667 h 10000"/>
                <a:gd name="connsiteX2546" fmla="*/ 829 w 10785"/>
                <a:gd name="connsiteY2546" fmla="*/ 8684 h 10000"/>
                <a:gd name="connsiteX2547" fmla="*/ 806 w 10785"/>
                <a:gd name="connsiteY2547" fmla="*/ 8692 h 10000"/>
                <a:gd name="connsiteX2548" fmla="*/ 802 w 10785"/>
                <a:gd name="connsiteY2548" fmla="*/ 8709 h 10000"/>
                <a:gd name="connsiteX2549" fmla="*/ 802 w 10785"/>
                <a:gd name="connsiteY2549" fmla="*/ 8735 h 10000"/>
                <a:gd name="connsiteX2550" fmla="*/ 806 w 10785"/>
                <a:gd name="connsiteY2550" fmla="*/ 8744 h 10000"/>
                <a:gd name="connsiteX2551" fmla="*/ 816 w 10785"/>
                <a:gd name="connsiteY2551" fmla="*/ 8752 h 10000"/>
                <a:gd name="connsiteX2552" fmla="*/ 806 w 10785"/>
                <a:gd name="connsiteY2552" fmla="*/ 8778 h 10000"/>
                <a:gd name="connsiteX2553" fmla="*/ 820 w 10785"/>
                <a:gd name="connsiteY2553" fmla="*/ 8778 h 10000"/>
                <a:gd name="connsiteX2554" fmla="*/ 806 w 10785"/>
                <a:gd name="connsiteY2554" fmla="*/ 8880 h 10000"/>
                <a:gd name="connsiteX2555" fmla="*/ 797 w 10785"/>
                <a:gd name="connsiteY2555" fmla="*/ 8880 h 10000"/>
                <a:gd name="connsiteX2556" fmla="*/ 783 w 10785"/>
                <a:gd name="connsiteY2556" fmla="*/ 8872 h 10000"/>
                <a:gd name="connsiteX2557" fmla="*/ 770 w 10785"/>
                <a:gd name="connsiteY2557" fmla="*/ 8880 h 10000"/>
                <a:gd name="connsiteX2558" fmla="*/ 756 w 10785"/>
                <a:gd name="connsiteY2558" fmla="*/ 8855 h 10000"/>
                <a:gd name="connsiteX2559" fmla="*/ 733 w 10785"/>
                <a:gd name="connsiteY2559" fmla="*/ 8906 h 10000"/>
                <a:gd name="connsiteX2560" fmla="*/ 714 w 10785"/>
                <a:gd name="connsiteY2560" fmla="*/ 8915 h 10000"/>
                <a:gd name="connsiteX2561" fmla="*/ 710 w 10785"/>
                <a:gd name="connsiteY2561" fmla="*/ 8940 h 10000"/>
                <a:gd name="connsiteX2562" fmla="*/ 710 w 10785"/>
                <a:gd name="connsiteY2562" fmla="*/ 9009 h 10000"/>
                <a:gd name="connsiteX2563" fmla="*/ 728 w 10785"/>
                <a:gd name="connsiteY2563" fmla="*/ 8991 h 10000"/>
                <a:gd name="connsiteX2564" fmla="*/ 733 w 10785"/>
                <a:gd name="connsiteY2564" fmla="*/ 8991 h 10000"/>
                <a:gd name="connsiteX2565" fmla="*/ 747 w 10785"/>
                <a:gd name="connsiteY2565" fmla="*/ 8983 h 10000"/>
                <a:gd name="connsiteX2566" fmla="*/ 760 w 10785"/>
                <a:gd name="connsiteY2566" fmla="*/ 8983 h 10000"/>
                <a:gd name="connsiteX2567" fmla="*/ 770 w 10785"/>
                <a:gd name="connsiteY2567" fmla="*/ 8983 h 10000"/>
                <a:gd name="connsiteX2568" fmla="*/ 770 w 10785"/>
                <a:gd name="connsiteY2568" fmla="*/ 8991 h 10000"/>
                <a:gd name="connsiteX2569" fmla="*/ 783 w 10785"/>
                <a:gd name="connsiteY2569" fmla="*/ 8991 h 10000"/>
                <a:gd name="connsiteX2570" fmla="*/ 783 w 10785"/>
                <a:gd name="connsiteY2570" fmla="*/ 9009 h 10000"/>
                <a:gd name="connsiteX2571" fmla="*/ 783 w 10785"/>
                <a:gd name="connsiteY2571" fmla="*/ 9017 h 10000"/>
                <a:gd name="connsiteX2572" fmla="*/ 770 w 10785"/>
                <a:gd name="connsiteY2572" fmla="*/ 9017 h 10000"/>
                <a:gd name="connsiteX2573" fmla="*/ 724 w 10785"/>
                <a:gd name="connsiteY2573" fmla="*/ 9051 h 10000"/>
                <a:gd name="connsiteX2574" fmla="*/ 724 w 10785"/>
                <a:gd name="connsiteY2574" fmla="*/ 9068 h 10000"/>
                <a:gd name="connsiteX2575" fmla="*/ 728 w 10785"/>
                <a:gd name="connsiteY2575" fmla="*/ 9077 h 10000"/>
                <a:gd name="connsiteX2576" fmla="*/ 724 w 10785"/>
                <a:gd name="connsiteY2576" fmla="*/ 9077 h 10000"/>
                <a:gd name="connsiteX2577" fmla="*/ 710 w 10785"/>
                <a:gd name="connsiteY2577" fmla="*/ 9077 h 10000"/>
                <a:gd name="connsiteX2578" fmla="*/ 682 w 10785"/>
                <a:gd name="connsiteY2578" fmla="*/ 9077 h 10000"/>
                <a:gd name="connsiteX2579" fmla="*/ 673 w 10785"/>
                <a:gd name="connsiteY2579" fmla="*/ 9103 h 10000"/>
                <a:gd name="connsiteX2580" fmla="*/ 687 w 10785"/>
                <a:gd name="connsiteY2580" fmla="*/ 9128 h 10000"/>
                <a:gd name="connsiteX2581" fmla="*/ 700 w 10785"/>
                <a:gd name="connsiteY2581" fmla="*/ 9128 h 10000"/>
                <a:gd name="connsiteX2582" fmla="*/ 728 w 10785"/>
                <a:gd name="connsiteY2582" fmla="*/ 9179 h 10000"/>
                <a:gd name="connsiteX2583" fmla="*/ 724 w 10785"/>
                <a:gd name="connsiteY2583" fmla="*/ 9188 h 10000"/>
                <a:gd name="connsiteX2584" fmla="*/ 710 w 10785"/>
                <a:gd name="connsiteY2584" fmla="*/ 9179 h 10000"/>
                <a:gd name="connsiteX2585" fmla="*/ 700 w 10785"/>
                <a:gd name="connsiteY2585" fmla="*/ 9205 h 10000"/>
                <a:gd name="connsiteX2586" fmla="*/ 696 w 10785"/>
                <a:gd name="connsiteY2586" fmla="*/ 9205 h 10000"/>
                <a:gd name="connsiteX2587" fmla="*/ 654 w 10785"/>
                <a:gd name="connsiteY2587" fmla="*/ 9299 h 10000"/>
                <a:gd name="connsiteX2588" fmla="*/ 622 w 10785"/>
                <a:gd name="connsiteY2588" fmla="*/ 9299 h 10000"/>
                <a:gd name="connsiteX2589" fmla="*/ 613 w 10785"/>
                <a:gd name="connsiteY2589" fmla="*/ 9316 h 10000"/>
                <a:gd name="connsiteX2590" fmla="*/ 613 w 10785"/>
                <a:gd name="connsiteY2590" fmla="*/ 9325 h 10000"/>
                <a:gd name="connsiteX2591" fmla="*/ 608 w 10785"/>
                <a:gd name="connsiteY2591" fmla="*/ 9342 h 10000"/>
                <a:gd name="connsiteX2592" fmla="*/ 636 w 10785"/>
                <a:gd name="connsiteY2592" fmla="*/ 9376 h 10000"/>
                <a:gd name="connsiteX2593" fmla="*/ 641 w 10785"/>
                <a:gd name="connsiteY2593" fmla="*/ 9402 h 10000"/>
                <a:gd name="connsiteX2594" fmla="*/ 654 w 10785"/>
                <a:gd name="connsiteY2594" fmla="*/ 9427 h 10000"/>
                <a:gd name="connsiteX2595" fmla="*/ 668 w 10785"/>
                <a:gd name="connsiteY2595" fmla="*/ 9427 h 10000"/>
                <a:gd name="connsiteX2596" fmla="*/ 668 w 10785"/>
                <a:gd name="connsiteY2596" fmla="*/ 9427 h 10000"/>
                <a:gd name="connsiteX2597" fmla="*/ 774 w 10785"/>
                <a:gd name="connsiteY2597" fmla="*/ 9547 h 10000"/>
                <a:gd name="connsiteX2598" fmla="*/ 797 w 10785"/>
                <a:gd name="connsiteY2598" fmla="*/ 9598 h 10000"/>
                <a:gd name="connsiteX2599" fmla="*/ 802 w 10785"/>
                <a:gd name="connsiteY2599" fmla="*/ 9598 h 10000"/>
                <a:gd name="connsiteX2600" fmla="*/ 816 w 10785"/>
                <a:gd name="connsiteY2600" fmla="*/ 9624 h 10000"/>
                <a:gd name="connsiteX2601" fmla="*/ 843 w 10785"/>
                <a:gd name="connsiteY2601" fmla="*/ 9615 h 10000"/>
                <a:gd name="connsiteX2602" fmla="*/ 857 w 10785"/>
                <a:gd name="connsiteY2602" fmla="*/ 9624 h 10000"/>
                <a:gd name="connsiteX2603" fmla="*/ 862 w 10785"/>
                <a:gd name="connsiteY2603" fmla="*/ 9615 h 10000"/>
                <a:gd name="connsiteX2604" fmla="*/ 880 w 10785"/>
                <a:gd name="connsiteY2604" fmla="*/ 9624 h 10000"/>
                <a:gd name="connsiteX2605" fmla="*/ 889 w 10785"/>
                <a:gd name="connsiteY2605" fmla="*/ 9641 h 10000"/>
                <a:gd name="connsiteX2606" fmla="*/ 935 w 10785"/>
                <a:gd name="connsiteY2606" fmla="*/ 9675 h 10000"/>
                <a:gd name="connsiteX2607" fmla="*/ 977 w 10785"/>
                <a:gd name="connsiteY2607" fmla="*/ 9667 h 10000"/>
                <a:gd name="connsiteX2608" fmla="*/ 995 w 10785"/>
                <a:gd name="connsiteY2608" fmla="*/ 9675 h 10000"/>
                <a:gd name="connsiteX2609" fmla="*/ 1014 w 10785"/>
                <a:gd name="connsiteY2609" fmla="*/ 9675 h 10000"/>
                <a:gd name="connsiteX2610" fmla="*/ 1069 w 10785"/>
                <a:gd name="connsiteY2610" fmla="*/ 9752 h 10000"/>
                <a:gd name="connsiteX2611" fmla="*/ 1074 w 10785"/>
                <a:gd name="connsiteY2611" fmla="*/ 9761 h 10000"/>
                <a:gd name="connsiteX2612" fmla="*/ 1083 w 10785"/>
                <a:gd name="connsiteY2612" fmla="*/ 9778 h 10000"/>
                <a:gd name="connsiteX2613" fmla="*/ 1115 w 10785"/>
                <a:gd name="connsiteY2613" fmla="*/ 9752 h 10000"/>
                <a:gd name="connsiteX2614" fmla="*/ 1129 w 10785"/>
                <a:gd name="connsiteY2614" fmla="*/ 9752 h 10000"/>
                <a:gd name="connsiteX2615" fmla="*/ 1138 w 10785"/>
                <a:gd name="connsiteY2615" fmla="*/ 9761 h 10000"/>
                <a:gd name="connsiteX2616" fmla="*/ 1143 w 10785"/>
                <a:gd name="connsiteY2616" fmla="*/ 9752 h 10000"/>
                <a:gd name="connsiteX2617" fmla="*/ 1161 w 10785"/>
                <a:gd name="connsiteY2617" fmla="*/ 9761 h 10000"/>
                <a:gd name="connsiteX2618" fmla="*/ 1171 w 10785"/>
                <a:gd name="connsiteY2618" fmla="*/ 9778 h 10000"/>
                <a:gd name="connsiteX2619" fmla="*/ 1175 w 10785"/>
                <a:gd name="connsiteY2619" fmla="*/ 9778 h 10000"/>
                <a:gd name="connsiteX2620" fmla="*/ 1189 w 10785"/>
                <a:gd name="connsiteY2620" fmla="*/ 9778 h 10000"/>
                <a:gd name="connsiteX2621" fmla="*/ 1198 w 10785"/>
                <a:gd name="connsiteY2621" fmla="*/ 9786 h 10000"/>
                <a:gd name="connsiteX2622" fmla="*/ 1203 w 10785"/>
                <a:gd name="connsiteY2622" fmla="*/ 9803 h 10000"/>
                <a:gd name="connsiteX2623" fmla="*/ 1198 w 10785"/>
                <a:gd name="connsiteY2623" fmla="*/ 9838 h 10000"/>
                <a:gd name="connsiteX2624" fmla="*/ 1212 w 10785"/>
                <a:gd name="connsiteY2624" fmla="*/ 9863 h 10000"/>
                <a:gd name="connsiteX2625" fmla="*/ 1230 w 10785"/>
                <a:gd name="connsiteY2625" fmla="*/ 9872 h 10000"/>
                <a:gd name="connsiteX2626" fmla="*/ 1249 w 10785"/>
                <a:gd name="connsiteY2626" fmla="*/ 9897 h 10000"/>
                <a:gd name="connsiteX2627" fmla="*/ 1263 w 10785"/>
                <a:gd name="connsiteY2627" fmla="*/ 9897 h 10000"/>
                <a:gd name="connsiteX2628" fmla="*/ 1276 w 10785"/>
                <a:gd name="connsiteY2628" fmla="*/ 9923 h 10000"/>
                <a:gd name="connsiteX2629" fmla="*/ 1281 w 10785"/>
                <a:gd name="connsiteY2629" fmla="*/ 9949 h 10000"/>
                <a:gd name="connsiteX2630" fmla="*/ 1290 w 10785"/>
                <a:gd name="connsiteY2630" fmla="*/ 9949 h 10000"/>
                <a:gd name="connsiteX2631" fmla="*/ 1295 w 10785"/>
                <a:gd name="connsiteY2631" fmla="*/ 10000 h 10000"/>
                <a:gd name="connsiteX2632" fmla="*/ 1332 w 10785"/>
                <a:gd name="connsiteY2632" fmla="*/ 10000 h 10000"/>
                <a:gd name="connsiteX2633" fmla="*/ 1336 w 10785"/>
                <a:gd name="connsiteY2633" fmla="*/ 10000 h 10000"/>
                <a:gd name="connsiteX2634" fmla="*/ 1346 w 10785"/>
                <a:gd name="connsiteY2634" fmla="*/ 9983 h 10000"/>
                <a:gd name="connsiteX2635" fmla="*/ 1350 w 10785"/>
                <a:gd name="connsiteY2635" fmla="*/ 9949 h 10000"/>
                <a:gd name="connsiteX2636" fmla="*/ 1369 w 10785"/>
                <a:gd name="connsiteY2636" fmla="*/ 9940 h 10000"/>
                <a:gd name="connsiteX2637" fmla="*/ 1378 w 10785"/>
                <a:gd name="connsiteY2637" fmla="*/ 9897 h 10000"/>
                <a:gd name="connsiteX2638" fmla="*/ 1369 w 10785"/>
                <a:gd name="connsiteY2638" fmla="*/ 9889 h 10000"/>
                <a:gd name="connsiteX2639" fmla="*/ 1318 w 10785"/>
                <a:gd name="connsiteY2639" fmla="*/ 9701 h 10000"/>
                <a:gd name="connsiteX2640" fmla="*/ 1318 w 10785"/>
                <a:gd name="connsiteY2640" fmla="*/ 9650 h 10000"/>
                <a:gd name="connsiteX2641" fmla="*/ 1323 w 10785"/>
                <a:gd name="connsiteY2641" fmla="*/ 9590 h 10000"/>
                <a:gd name="connsiteX2642" fmla="*/ 1323 w 10785"/>
                <a:gd name="connsiteY2642" fmla="*/ 9564 h 10000"/>
                <a:gd name="connsiteX2643" fmla="*/ 1309 w 10785"/>
                <a:gd name="connsiteY2643" fmla="*/ 9598 h 10000"/>
                <a:gd name="connsiteX2644" fmla="*/ 1309 w 10785"/>
                <a:gd name="connsiteY2644" fmla="*/ 9590 h 10000"/>
                <a:gd name="connsiteX2645" fmla="*/ 1304 w 10785"/>
                <a:gd name="connsiteY2645" fmla="*/ 9547 h 10000"/>
                <a:gd name="connsiteX2646" fmla="*/ 1276 w 10785"/>
                <a:gd name="connsiteY2646" fmla="*/ 9479 h 10000"/>
                <a:gd name="connsiteX2647" fmla="*/ 1263 w 10785"/>
                <a:gd name="connsiteY2647" fmla="*/ 9479 h 10000"/>
                <a:gd name="connsiteX2648" fmla="*/ 1263 w 10785"/>
                <a:gd name="connsiteY2648" fmla="*/ 9453 h 10000"/>
                <a:gd name="connsiteX2649" fmla="*/ 1272 w 10785"/>
                <a:gd name="connsiteY2649" fmla="*/ 9410 h 10000"/>
                <a:gd name="connsiteX2650" fmla="*/ 1272 w 10785"/>
                <a:gd name="connsiteY2650" fmla="*/ 9393 h 10000"/>
                <a:gd name="connsiteX2651" fmla="*/ 1281 w 10785"/>
                <a:gd name="connsiteY2651" fmla="*/ 9368 h 10000"/>
                <a:gd name="connsiteX2652" fmla="*/ 1281 w 10785"/>
                <a:gd name="connsiteY2652" fmla="*/ 9368 h 10000"/>
                <a:gd name="connsiteX2653" fmla="*/ 1290 w 10785"/>
                <a:gd name="connsiteY2653" fmla="*/ 9368 h 10000"/>
                <a:gd name="connsiteX2654" fmla="*/ 1290 w 10785"/>
                <a:gd name="connsiteY2654" fmla="*/ 9342 h 10000"/>
                <a:gd name="connsiteX2655" fmla="*/ 1304 w 10785"/>
                <a:gd name="connsiteY2655" fmla="*/ 9325 h 10000"/>
                <a:gd name="connsiteX2656" fmla="*/ 1309 w 10785"/>
                <a:gd name="connsiteY2656" fmla="*/ 9239 h 10000"/>
                <a:gd name="connsiteX2657" fmla="*/ 1318 w 10785"/>
                <a:gd name="connsiteY2657" fmla="*/ 9256 h 10000"/>
                <a:gd name="connsiteX2658" fmla="*/ 1323 w 10785"/>
                <a:gd name="connsiteY2658" fmla="*/ 9179 h 10000"/>
                <a:gd name="connsiteX2659" fmla="*/ 1309 w 10785"/>
                <a:gd name="connsiteY2659" fmla="*/ 9145 h 10000"/>
                <a:gd name="connsiteX2660" fmla="*/ 1336 w 10785"/>
                <a:gd name="connsiteY2660" fmla="*/ 9154 h 10000"/>
                <a:gd name="connsiteX2661" fmla="*/ 1336 w 10785"/>
                <a:gd name="connsiteY2661" fmla="*/ 9162 h 10000"/>
                <a:gd name="connsiteX2662" fmla="*/ 1350 w 10785"/>
                <a:gd name="connsiteY2662" fmla="*/ 9231 h 10000"/>
                <a:gd name="connsiteX2663" fmla="*/ 1355 w 10785"/>
                <a:gd name="connsiteY2663" fmla="*/ 9231 h 10000"/>
                <a:gd name="connsiteX2664" fmla="*/ 1364 w 10785"/>
                <a:gd name="connsiteY2664" fmla="*/ 9214 h 10000"/>
                <a:gd name="connsiteX2665" fmla="*/ 1369 w 10785"/>
                <a:gd name="connsiteY2665" fmla="*/ 9214 h 10000"/>
                <a:gd name="connsiteX2666" fmla="*/ 1382 w 10785"/>
                <a:gd name="connsiteY2666" fmla="*/ 9154 h 10000"/>
                <a:gd name="connsiteX2667" fmla="*/ 1396 w 10785"/>
                <a:gd name="connsiteY2667" fmla="*/ 9154 h 10000"/>
                <a:gd name="connsiteX2668" fmla="*/ 1382 w 10785"/>
                <a:gd name="connsiteY2668" fmla="*/ 9145 h 10000"/>
                <a:gd name="connsiteX2669" fmla="*/ 1382 w 10785"/>
                <a:gd name="connsiteY2669" fmla="*/ 9128 h 10000"/>
                <a:gd name="connsiteX2670" fmla="*/ 1369 w 10785"/>
                <a:gd name="connsiteY2670" fmla="*/ 9128 h 10000"/>
                <a:gd name="connsiteX2671" fmla="*/ 1364 w 10785"/>
                <a:gd name="connsiteY2671" fmla="*/ 9128 h 10000"/>
                <a:gd name="connsiteX2672" fmla="*/ 1355 w 10785"/>
                <a:gd name="connsiteY2672" fmla="*/ 9120 h 10000"/>
                <a:gd name="connsiteX2673" fmla="*/ 1350 w 10785"/>
                <a:gd name="connsiteY2673" fmla="*/ 9103 h 10000"/>
                <a:gd name="connsiteX2674" fmla="*/ 1355 w 10785"/>
                <a:gd name="connsiteY2674" fmla="*/ 9094 h 10000"/>
                <a:gd name="connsiteX2675" fmla="*/ 1355 w 10785"/>
                <a:gd name="connsiteY2675" fmla="*/ 9068 h 10000"/>
                <a:gd name="connsiteX2676" fmla="*/ 1369 w 10785"/>
                <a:gd name="connsiteY2676" fmla="*/ 9068 h 10000"/>
                <a:gd name="connsiteX2677" fmla="*/ 1378 w 10785"/>
                <a:gd name="connsiteY2677" fmla="*/ 9077 h 10000"/>
                <a:gd name="connsiteX2678" fmla="*/ 1396 w 10785"/>
                <a:gd name="connsiteY2678" fmla="*/ 9068 h 10000"/>
                <a:gd name="connsiteX2679" fmla="*/ 1382 w 10785"/>
                <a:gd name="connsiteY2679" fmla="*/ 8940 h 10000"/>
                <a:gd name="connsiteX2680" fmla="*/ 1378 w 10785"/>
                <a:gd name="connsiteY2680" fmla="*/ 8940 h 10000"/>
                <a:gd name="connsiteX2681" fmla="*/ 1364 w 10785"/>
                <a:gd name="connsiteY2681" fmla="*/ 8889 h 10000"/>
                <a:gd name="connsiteX2682" fmla="*/ 1355 w 10785"/>
                <a:gd name="connsiteY2682" fmla="*/ 8880 h 10000"/>
                <a:gd name="connsiteX2683" fmla="*/ 1323 w 10785"/>
                <a:gd name="connsiteY2683" fmla="*/ 8880 h 10000"/>
                <a:gd name="connsiteX2684" fmla="*/ 1309 w 10785"/>
                <a:gd name="connsiteY2684" fmla="*/ 8880 h 10000"/>
                <a:gd name="connsiteX2685" fmla="*/ 1309 w 10785"/>
                <a:gd name="connsiteY2685" fmla="*/ 8889 h 10000"/>
                <a:gd name="connsiteX2686" fmla="*/ 1295 w 10785"/>
                <a:gd name="connsiteY2686" fmla="*/ 8872 h 10000"/>
                <a:gd name="connsiteX2687" fmla="*/ 1290 w 10785"/>
                <a:gd name="connsiteY2687" fmla="*/ 8855 h 10000"/>
                <a:gd name="connsiteX2688" fmla="*/ 1290 w 10785"/>
                <a:gd name="connsiteY2688" fmla="*/ 8829 h 10000"/>
                <a:gd name="connsiteX2689" fmla="*/ 1290 w 10785"/>
                <a:gd name="connsiteY2689" fmla="*/ 8821 h 10000"/>
                <a:gd name="connsiteX2690" fmla="*/ 1290 w 10785"/>
                <a:gd name="connsiteY2690" fmla="*/ 8803 h 10000"/>
                <a:gd name="connsiteX2691" fmla="*/ 1281 w 10785"/>
                <a:gd name="connsiteY2691" fmla="*/ 8795 h 10000"/>
                <a:gd name="connsiteX2692" fmla="*/ 1249 w 10785"/>
                <a:gd name="connsiteY2692" fmla="*/ 8769 h 10000"/>
                <a:gd name="connsiteX2693" fmla="*/ 1263 w 10785"/>
                <a:gd name="connsiteY2693" fmla="*/ 8667 h 10000"/>
                <a:gd name="connsiteX2694" fmla="*/ 1281 w 10785"/>
                <a:gd name="connsiteY2694" fmla="*/ 8658 h 10000"/>
                <a:gd name="connsiteX2695" fmla="*/ 1290 w 10785"/>
                <a:gd name="connsiteY2695" fmla="*/ 8632 h 10000"/>
                <a:gd name="connsiteX2696" fmla="*/ 1281 w 10785"/>
                <a:gd name="connsiteY2696" fmla="*/ 8615 h 10000"/>
                <a:gd name="connsiteX2697" fmla="*/ 1272 w 10785"/>
                <a:gd name="connsiteY2697" fmla="*/ 8598 h 10000"/>
                <a:gd name="connsiteX2698" fmla="*/ 1281 w 10785"/>
                <a:gd name="connsiteY2698" fmla="*/ 8496 h 10000"/>
                <a:gd name="connsiteX2699" fmla="*/ 1295 w 10785"/>
                <a:gd name="connsiteY2699" fmla="*/ 8470 h 10000"/>
                <a:gd name="connsiteX2700" fmla="*/ 1304 w 10785"/>
                <a:gd name="connsiteY2700" fmla="*/ 8462 h 10000"/>
                <a:gd name="connsiteX2701" fmla="*/ 1304 w 10785"/>
                <a:gd name="connsiteY2701" fmla="*/ 8444 h 10000"/>
                <a:gd name="connsiteX2702" fmla="*/ 1304 w 10785"/>
                <a:gd name="connsiteY2702" fmla="*/ 8419 h 10000"/>
                <a:gd name="connsiteX2703" fmla="*/ 1304 w 10785"/>
                <a:gd name="connsiteY2703" fmla="*/ 8410 h 10000"/>
                <a:gd name="connsiteX2704" fmla="*/ 1309 w 10785"/>
                <a:gd name="connsiteY2704" fmla="*/ 8393 h 10000"/>
                <a:gd name="connsiteX2705" fmla="*/ 1318 w 10785"/>
                <a:gd name="connsiteY2705" fmla="*/ 8385 h 10000"/>
                <a:gd name="connsiteX2706" fmla="*/ 1323 w 10785"/>
                <a:gd name="connsiteY2706" fmla="*/ 8385 h 10000"/>
                <a:gd name="connsiteX2707" fmla="*/ 1332 w 10785"/>
                <a:gd name="connsiteY2707" fmla="*/ 8410 h 10000"/>
                <a:gd name="connsiteX2708" fmla="*/ 1346 w 10785"/>
                <a:gd name="connsiteY2708" fmla="*/ 8419 h 10000"/>
                <a:gd name="connsiteX2709" fmla="*/ 1364 w 10785"/>
                <a:gd name="connsiteY2709" fmla="*/ 8504 h 10000"/>
                <a:gd name="connsiteX2710" fmla="*/ 1369 w 10785"/>
                <a:gd name="connsiteY2710" fmla="*/ 8521 h 10000"/>
                <a:gd name="connsiteX2711" fmla="*/ 1406 w 10785"/>
                <a:gd name="connsiteY2711" fmla="*/ 8470 h 10000"/>
                <a:gd name="connsiteX2712" fmla="*/ 1382 w 10785"/>
                <a:gd name="connsiteY2712" fmla="*/ 8359 h 10000"/>
                <a:gd name="connsiteX2713" fmla="*/ 1392 w 10785"/>
                <a:gd name="connsiteY2713" fmla="*/ 8359 h 10000"/>
                <a:gd name="connsiteX2714" fmla="*/ 1438 w 10785"/>
                <a:gd name="connsiteY2714" fmla="*/ 8308 h 10000"/>
                <a:gd name="connsiteX2715" fmla="*/ 1442 w 10785"/>
                <a:gd name="connsiteY2715" fmla="*/ 8299 h 10000"/>
                <a:gd name="connsiteX2716" fmla="*/ 1442 w 10785"/>
                <a:gd name="connsiteY2716" fmla="*/ 8256 h 10000"/>
                <a:gd name="connsiteX2717" fmla="*/ 1452 w 10785"/>
                <a:gd name="connsiteY2717" fmla="*/ 8256 h 10000"/>
                <a:gd name="connsiteX2718" fmla="*/ 1456 w 10785"/>
                <a:gd name="connsiteY2718" fmla="*/ 8256 h 10000"/>
                <a:gd name="connsiteX2719" fmla="*/ 1470 w 10785"/>
                <a:gd name="connsiteY2719" fmla="*/ 8248 h 10000"/>
                <a:gd name="connsiteX2720" fmla="*/ 1479 w 10785"/>
                <a:gd name="connsiteY2720" fmla="*/ 8231 h 10000"/>
                <a:gd name="connsiteX2721" fmla="*/ 1493 w 10785"/>
                <a:gd name="connsiteY2721" fmla="*/ 8222 h 10000"/>
                <a:gd name="connsiteX2722" fmla="*/ 1498 w 10785"/>
                <a:gd name="connsiteY2722" fmla="*/ 8214 h 10000"/>
                <a:gd name="connsiteX2723" fmla="*/ 1502 w 10785"/>
                <a:gd name="connsiteY2723" fmla="*/ 8197 h 10000"/>
                <a:gd name="connsiteX2724" fmla="*/ 1512 w 10785"/>
                <a:gd name="connsiteY2724" fmla="*/ 8188 h 10000"/>
                <a:gd name="connsiteX2725" fmla="*/ 1516 w 10785"/>
                <a:gd name="connsiteY2725" fmla="*/ 8171 h 10000"/>
                <a:gd name="connsiteX2726" fmla="*/ 1525 w 10785"/>
                <a:gd name="connsiteY2726" fmla="*/ 8162 h 10000"/>
                <a:gd name="connsiteX2727" fmla="*/ 1539 w 10785"/>
                <a:gd name="connsiteY2727" fmla="*/ 8145 h 10000"/>
                <a:gd name="connsiteX2728" fmla="*/ 1558 w 10785"/>
                <a:gd name="connsiteY2728" fmla="*/ 8145 h 10000"/>
                <a:gd name="connsiteX2729" fmla="*/ 1562 w 10785"/>
                <a:gd name="connsiteY2729" fmla="*/ 8188 h 10000"/>
                <a:gd name="connsiteX2730" fmla="*/ 1585 w 10785"/>
                <a:gd name="connsiteY2730" fmla="*/ 8171 h 10000"/>
                <a:gd name="connsiteX2731" fmla="*/ 1590 w 10785"/>
                <a:gd name="connsiteY2731" fmla="*/ 8188 h 10000"/>
                <a:gd name="connsiteX2732" fmla="*/ 1599 w 10785"/>
                <a:gd name="connsiteY2732" fmla="*/ 8171 h 10000"/>
                <a:gd name="connsiteX2733" fmla="*/ 1599 w 10785"/>
                <a:gd name="connsiteY2733" fmla="*/ 8162 h 10000"/>
                <a:gd name="connsiteX2734" fmla="*/ 1604 w 10785"/>
                <a:gd name="connsiteY2734" fmla="*/ 8137 h 10000"/>
                <a:gd name="connsiteX2735" fmla="*/ 1618 w 10785"/>
                <a:gd name="connsiteY2735" fmla="*/ 8145 h 10000"/>
                <a:gd name="connsiteX2736" fmla="*/ 1627 w 10785"/>
                <a:gd name="connsiteY2736" fmla="*/ 8137 h 10000"/>
                <a:gd name="connsiteX2737" fmla="*/ 1631 w 10785"/>
                <a:gd name="connsiteY2737" fmla="*/ 8137 h 10000"/>
                <a:gd name="connsiteX2738" fmla="*/ 1636 w 10785"/>
                <a:gd name="connsiteY2738" fmla="*/ 8171 h 10000"/>
                <a:gd name="connsiteX2739" fmla="*/ 1645 w 10785"/>
                <a:gd name="connsiteY2739" fmla="*/ 8188 h 10000"/>
                <a:gd name="connsiteX2740" fmla="*/ 1664 w 10785"/>
                <a:gd name="connsiteY2740" fmla="*/ 8171 h 10000"/>
                <a:gd name="connsiteX2741" fmla="*/ 1673 w 10785"/>
                <a:gd name="connsiteY2741" fmla="*/ 8188 h 10000"/>
                <a:gd name="connsiteX2742" fmla="*/ 1691 w 10785"/>
                <a:gd name="connsiteY2742" fmla="*/ 8171 h 10000"/>
                <a:gd name="connsiteX2743" fmla="*/ 1705 w 10785"/>
                <a:gd name="connsiteY2743" fmla="*/ 8171 h 10000"/>
                <a:gd name="connsiteX2744" fmla="*/ 1719 w 10785"/>
                <a:gd name="connsiteY2744" fmla="*/ 8197 h 10000"/>
                <a:gd name="connsiteX2745" fmla="*/ 1724 w 10785"/>
                <a:gd name="connsiteY2745" fmla="*/ 8231 h 10000"/>
                <a:gd name="connsiteX2746" fmla="*/ 1751 w 10785"/>
                <a:gd name="connsiteY2746" fmla="*/ 8256 h 10000"/>
                <a:gd name="connsiteX2747" fmla="*/ 1751 w 10785"/>
                <a:gd name="connsiteY2747" fmla="*/ 8274 h 10000"/>
                <a:gd name="connsiteX2748" fmla="*/ 1760 w 10785"/>
                <a:gd name="connsiteY2748" fmla="*/ 8282 h 10000"/>
                <a:gd name="connsiteX2749" fmla="*/ 1770 w 10785"/>
                <a:gd name="connsiteY2749" fmla="*/ 8325 h 10000"/>
                <a:gd name="connsiteX2750" fmla="*/ 1770 w 10785"/>
                <a:gd name="connsiteY2750" fmla="*/ 8350 h 10000"/>
                <a:gd name="connsiteX2751" fmla="*/ 1779 w 10785"/>
                <a:gd name="connsiteY2751" fmla="*/ 8368 h 10000"/>
                <a:gd name="connsiteX2752" fmla="*/ 1783 w 10785"/>
                <a:gd name="connsiteY2752" fmla="*/ 8359 h 10000"/>
                <a:gd name="connsiteX2753" fmla="*/ 1783 w 10785"/>
                <a:gd name="connsiteY2753" fmla="*/ 8308 h 10000"/>
                <a:gd name="connsiteX2754" fmla="*/ 1779 w 10785"/>
                <a:gd name="connsiteY2754" fmla="*/ 8299 h 10000"/>
                <a:gd name="connsiteX2755" fmla="*/ 1783 w 10785"/>
                <a:gd name="connsiteY2755" fmla="*/ 8282 h 10000"/>
                <a:gd name="connsiteX2756" fmla="*/ 1797 w 10785"/>
                <a:gd name="connsiteY2756" fmla="*/ 8274 h 10000"/>
                <a:gd name="connsiteX2757" fmla="*/ 1797 w 10785"/>
                <a:gd name="connsiteY2757" fmla="*/ 8299 h 10000"/>
                <a:gd name="connsiteX2758" fmla="*/ 1806 w 10785"/>
                <a:gd name="connsiteY2758" fmla="*/ 8308 h 10000"/>
                <a:gd name="connsiteX2759" fmla="*/ 1811 w 10785"/>
                <a:gd name="connsiteY2759" fmla="*/ 8325 h 10000"/>
                <a:gd name="connsiteX2760" fmla="*/ 1820 w 10785"/>
                <a:gd name="connsiteY2760" fmla="*/ 8333 h 10000"/>
                <a:gd name="connsiteX2761" fmla="*/ 1853 w 10785"/>
                <a:gd name="connsiteY2761" fmla="*/ 8359 h 10000"/>
                <a:gd name="connsiteX2762" fmla="*/ 1866 w 10785"/>
                <a:gd name="connsiteY2762" fmla="*/ 8359 h 10000"/>
                <a:gd name="connsiteX2763" fmla="*/ 1885 w 10785"/>
                <a:gd name="connsiteY2763" fmla="*/ 8325 h 10000"/>
                <a:gd name="connsiteX2764" fmla="*/ 1885 w 10785"/>
                <a:gd name="connsiteY2764" fmla="*/ 8308 h 10000"/>
                <a:gd name="connsiteX2765" fmla="*/ 1894 w 10785"/>
                <a:gd name="connsiteY2765" fmla="*/ 8299 h 10000"/>
                <a:gd name="connsiteX2766" fmla="*/ 1899 w 10785"/>
                <a:gd name="connsiteY2766" fmla="*/ 8282 h 10000"/>
                <a:gd name="connsiteX2767" fmla="*/ 1912 w 10785"/>
                <a:gd name="connsiteY2767" fmla="*/ 8282 h 10000"/>
                <a:gd name="connsiteX2768" fmla="*/ 1917 w 10785"/>
                <a:gd name="connsiteY2768" fmla="*/ 8299 h 10000"/>
                <a:gd name="connsiteX2769" fmla="*/ 1917 w 10785"/>
                <a:gd name="connsiteY2769" fmla="*/ 8274 h 10000"/>
                <a:gd name="connsiteX2770" fmla="*/ 1940 w 10785"/>
                <a:gd name="connsiteY2770" fmla="*/ 8282 h 10000"/>
                <a:gd name="connsiteX2771" fmla="*/ 1945 w 10785"/>
                <a:gd name="connsiteY2771" fmla="*/ 8274 h 10000"/>
                <a:gd name="connsiteX2772" fmla="*/ 1972 w 10785"/>
                <a:gd name="connsiteY2772" fmla="*/ 8308 h 10000"/>
                <a:gd name="connsiteX2773" fmla="*/ 1986 w 10785"/>
                <a:gd name="connsiteY2773" fmla="*/ 8282 h 10000"/>
                <a:gd name="connsiteX2774" fmla="*/ 1991 w 10785"/>
                <a:gd name="connsiteY2774" fmla="*/ 8274 h 10000"/>
                <a:gd name="connsiteX2775" fmla="*/ 2014 w 10785"/>
                <a:gd name="connsiteY2775" fmla="*/ 8274 h 10000"/>
                <a:gd name="connsiteX2776" fmla="*/ 2018 w 10785"/>
                <a:gd name="connsiteY2776" fmla="*/ 8256 h 10000"/>
                <a:gd name="connsiteX2777" fmla="*/ 2041 w 10785"/>
                <a:gd name="connsiteY2777" fmla="*/ 8274 h 10000"/>
                <a:gd name="connsiteX2778" fmla="*/ 2046 w 10785"/>
                <a:gd name="connsiteY2778" fmla="*/ 8282 h 10000"/>
                <a:gd name="connsiteX2779" fmla="*/ 2046 w 10785"/>
                <a:gd name="connsiteY2779" fmla="*/ 8325 h 10000"/>
                <a:gd name="connsiteX2780" fmla="*/ 2060 w 10785"/>
                <a:gd name="connsiteY2780" fmla="*/ 8350 h 10000"/>
                <a:gd name="connsiteX2781" fmla="*/ 2078 w 10785"/>
                <a:gd name="connsiteY2781" fmla="*/ 8350 h 10000"/>
                <a:gd name="connsiteX2782" fmla="*/ 2092 w 10785"/>
                <a:gd name="connsiteY2782" fmla="*/ 8350 h 10000"/>
                <a:gd name="connsiteX2783" fmla="*/ 2092 w 10785"/>
                <a:gd name="connsiteY2783" fmla="*/ 8350 h 10000"/>
                <a:gd name="connsiteX2784" fmla="*/ 2101 w 10785"/>
                <a:gd name="connsiteY2784" fmla="*/ 8368 h 10000"/>
                <a:gd name="connsiteX2785" fmla="*/ 2120 w 10785"/>
                <a:gd name="connsiteY2785" fmla="*/ 8368 h 10000"/>
                <a:gd name="connsiteX2786" fmla="*/ 2124 w 10785"/>
                <a:gd name="connsiteY2786" fmla="*/ 8359 h 10000"/>
                <a:gd name="connsiteX2787" fmla="*/ 2138 w 10785"/>
                <a:gd name="connsiteY2787" fmla="*/ 8325 h 10000"/>
                <a:gd name="connsiteX2788" fmla="*/ 2147 w 10785"/>
                <a:gd name="connsiteY2788" fmla="*/ 8325 h 10000"/>
                <a:gd name="connsiteX2789" fmla="*/ 2161 w 10785"/>
                <a:gd name="connsiteY2789" fmla="*/ 8350 h 10000"/>
                <a:gd name="connsiteX2790" fmla="*/ 2198 w 10785"/>
                <a:gd name="connsiteY2790" fmla="*/ 8350 h 10000"/>
                <a:gd name="connsiteX2791" fmla="*/ 2207 w 10785"/>
                <a:gd name="connsiteY2791" fmla="*/ 8333 h 10000"/>
                <a:gd name="connsiteX2792" fmla="*/ 2226 w 10785"/>
                <a:gd name="connsiteY2792" fmla="*/ 8325 h 10000"/>
                <a:gd name="connsiteX2793" fmla="*/ 2249 w 10785"/>
                <a:gd name="connsiteY2793" fmla="*/ 8222 h 10000"/>
                <a:gd name="connsiteX2794" fmla="*/ 2235 w 10785"/>
                <a:gd name="connsiteY2794" fmla="*/ 8197 h 10000"/>
                <a:gd name="connsiteX2795" fmla="*/ 2198 w 10785"/>
                <a:gd name="connsiteY2795" fmla="*/ 8197 h 10000"/>
                <a:gd name="connsiteX2796" fmla="*/ 2189 w 10785"/>
                <a:gd name="connsiteY2796" fmla="*/ 8171 h 10000"/>
                <a:gd name="connsiteX2797" fmla="*/ 2161 w 10785"/>
                <a:gd name="connsiteY2797" fmla="*/ 8145 h 10000"/>
                <a:gd name="connsiteX2798" fmla="*/ 2161 w 10785"/>
                <a:gd name="connsiteY2798" fmla="*/ 8137 h 10000"/>
                <a:gd name="connsiteX2799" fmla="*/ 2152 w 10785"/>
                <a:gd name="connsiteY2799" fmla="*/ 8120 h 10000"/>
                <a:gd name="connsiteX2800" fmla="*/ 2138 w 10785"/>
                <a:gd name="connsiteY2800" fmla="*/ 8111 h 10000"/>
                <a:gd name="connsiteX2801" fmla="*/ 2138 w 10785"/>
                <a:gd name="connsiteY2801" fmla="*/ 8094 h 10000"/>
                <a:gd name="connsiteX2802" fmla="*/ 2147 w 10785"/>
                <a:gd name="connsiteY2802" fmla="*/ 8085 h 10000"/>
                <a:gd name="connsiteX2803" fmla="*/ 2161 w 10785"/>
                <a:gd name="connsiteY2803" fmla="*/ 8060 h 10000"/>
                <a:gd name="connsiteX2804" fmla="*/ 2198 w 10785"/>
                <a:gd name="connsiteY2804" fmla="*/ 8034 h 10000"/>
                <a:gd name="connsiteX2805" fmla="*/ 2198 w 10785"/>
                <a:gd name="connsiteY2805" fmla="*/ 8026 h 10000"/>
                <a:gd name="connsiteX2806" fmla="*/ 2198 w 10785"/>
                <a:gd name="connsiteY2806" fmla="*/ 8000 h 10000"/>
                <a:gd name="connsiteX2807" fmla="*/ 2180 w 10785"/>
                <a:gd name="connsiteY2807" fmla="*/ 7940 h 10000"/>
                <a:gd name="connsiteX2808" fmla="*/ 2189 w 10785"/>
                <a:gd name="connsiteY2808" fmla="*/ 7940 h 10000"/>
                <a:gd name="connsiteX2809" fmla="*/ 2198 w 10785"/>
                <a:gd name="connsiteY2809" fmla="*/ 7923 h 10000"/>
                <a:gd name="connsiteX2810" fmla="*/ 2198 w 10785"/>
                <a:gd name="connsiteY2810" fmla="*/ 7897 h 10000"/>
                <a:gd name="connsiteX2811" fmla="*/ 2207 w 10785"/>
                <a:gd name="connsiteY2811" fmla="*/ 7889 h 10000"/>
                <a:gd name="connsiteX2812" fmla="*/ 2221 w 10785"/>
                <a:gd name="connsiteY2812" fmla="*/ 7889 h 10000"/>
                <a:gd name="connsiteX2813" fmla="*/ 2226 w 10785"/>
                <a:gd name="connsiteY2813" fmla="*/ 7897 h 10000"/>
                <a:gd name="connsiteX2814" fmla="*/ 2235 w 10785"/>
                <a:gd name="connsiteY2814" fmla="*/ 7889 h 10000"/>
                <a:gd name="connsiteX2815" fmla="*/ 2249 w 10785"/>
                <a:gd name="connsiteY2815" fmla="*/ 7897 h 10000"/>
                <a:gd name="connsiteX2816" fmla="*/ 2267 w 10785"/>
                <a:gd name="connsiteY2816" fmla="*/ 7897 h 10000"/>
                <a:gd name="connsiteX2817" fmla="*/ 2272 w 10785"/>
                <a:gd name="connsiteY2817" fmla="*/ 7889 h 10000"/>
                <a:gd name="connsiteX2818" fmla="*/ 2281 w 10785"/>
                <a:gd name="connsiteY2818" fmla="*/ 7872 h 10000"/>
                <a:gd name="connsiteX2819" fmla="*/ 2272 w 10785"/>
                <a:gd name="connsiteY2819" fmla="*/ 7846 h 10000"/>
                <a:gd name="connsiteX2820" fmla="*/ 2253 w 10785"/>
                <a:gd name="connsiteY2820" fmla="*/ 7838 h 10000"/>
                <a:gd name="connsiteX2821" fmla="*/ 2221 w 10785"/>
                <a:gd name="connsiteY2821" fmla="*/ 7821 h 10000"/>
                <a:gd name="connsiteX2822" fmla="*/ 2212 w 10785"/>
                <a:gd name="connsiteY2822" fmla="*/ 7812 h 10000"/>
                <a:gd name="connsiteX2823" fmla="*/ 2212 w 10785"/>
                <a:gd name="connsiteY2823" fmla="*/ 7803 h 10000"/>
                <a:gd name="connsiteX2824" fmla="*/ 2221 w 10785"/>
                <a:gd name="connsiteY2824" fmla="*/ 7803 h 10000"/>
                <a:gd name="connsiteX2825" fmla="*/ 2235 w 10785"/>
                <a:gd name="connsiteY2825" fmla="*/ 7786 h 10000"/>
                <a:gd name="connsiteX2826" fmla="*/ 2240 w 10785"/>
                <a:gd name="connsiteY2826" fmla="*/ 7778 h 10000"/>
                <a:gd name="connsiteX2827" fmla="*/ 2226 w 10785"/>
                <a:gd name="connsiteY2827" fmla="*/ 7761 h 10000"/>
                <a:gd name="connsiteX2828" fmla="*/ 2221 w 10785"/>
                <a:gd name="connsiteY2828" fmla="*/ 7778 h 10000"/>
                <a:gd name="connsiteX2829" fmla="*/ 2198 w 10785"/>
                <a:gd name="connsiteY2829" fmla="*/ 7778 h 10000"/>
                <a:gd name="connsiteX2830" fmla="*/ 2198 w 10785"/>
                <a:gd name="connsiteY2830" fmla="*/ 7752 h 10000"/>
                <a:gd name="connsiteX2831" fmla="*/ 2207 w 10785"/>
                <a:gd name="connsiteY2831" fmla="*/ 7735 h 10000"/>
                <a:gd name="connsiteX2832" fmla="*/ 2212 w 10785"/>
                <a:gd name="connsiteY2832" fmla="*/ 7726 h 10000"/>
                <a:gd name="connsiteX2833" fmla="*/ 2198 w 10785"/>
                <a:gd name="connsiteY2833" fmla="*/ 7692 h 10000"/>
                <a:gd name="connsiteX2834" fmla="*/ 2221 w 10785"/>
                <a:gd name="connsiteY2834" fmla="*/ 7692 h 10000"/>
                <a:gd name="connsiteX2835" fmla="*/ 2221 w 10785"/>
                <a:gd name="connsiteY2835" fmla="*/ 7675 h 10000"/>
                <a:gd name="connsiteX2836" fmla="*/ 2235 w 10785"/>
                <a:gd name="connsiteY2836" fmla="*/ 7675 h 10000"/>
                <a:gd name="connsiteX2837" fmla="*/ 2240 w 10785"/>
                <a:gd name="connsiteY2837" fmla="*/ 7692 h 10000"/>
                <a:gd name="connsiteX2838" fmla="*/ 2249 w 10785"/>
                <a:gd name="connsiteY2838" fmla="*/ 7692 h 10000"/>
                <a:gd name="connsiteX2839" fmla="*/ 2258 w 10785"/>
                <a:gd name="connsiteY2839" fmla="*/ 7692 h 10000"/>
                <a:gd name="connsiteX2840" fmla="*/ 2267 w 10785"/>
                <a:gd name="connsiteY2840" fmla="*/ 7692 h 10000"/>
                <a:gd name="connsiteX2841" fmla="*/ 2295 w 10785"/>
                <a:gd name="connsiteY2841" fmla="*/ 7692 h 10000"/>
                <a:gd name="connsiteX2842" fmla="*/ 2300 w 10785"/>
                <a:gd name="connsiteY2842" fmla="*/ 7701 h 10000"/>
                <a:gd name="connsiteX2843" fmla="*/ 2313 w 10785"/>
                <a:gd name="connsiteY2843" fmla="*/ 7675 h 10000"/>
                <a:gd name="connsiteX2844" fmla="*/ 2323 w 10785"/>
                <a:gd name="connsiteY2844" fmla="*/ 7675 h 10000"/>
                <a:gd name="connsiteX2845" fmla="*/ 2341 w 10785"/>
                <a:gd name="connsiteY2845" fmla="*/ 7675 h 10000"/>
                <a:gd name="connsiteX2846" fmla="*/ 2346 w 10785"/>
                <a:gd name="connsiteY2846" fmla="*/ 7667 h 10000"/>
                <a:gd name="connsiteX2847" fmla="*/ 2359 w 10785"/>
                <a:gd name="connsiteY2847" fmla="*/ 7650 h 10000"/>
                <a:gd name="connsiteX2848" fmla="*/ 2373 w 10785"/>
                <a:gd name="connsiteY2848" fmla="*/ 7624 h 10000"/>
                <a:gd name="connsiteX2849" fmla="*/ 2382 w 10785"/>
                <a:gd name="connsiteY2849" fmla="*/ 7641 h 10000"/>
                <a:gd name="connsiteX2850" fmla="*/ 2396 w 10785"/>
                <a:gd name="connsiteY2850" fmla="*/ 7650 h 10000"/>
                <a:gd name="connsiteX2851" fmla="*/ 2401 w 10785"/>
                <a:gd name="connsiteY2851" fmla="*/ 7650 h 10000"/>
                <a:gd name="connsiteX2852" fmla="*/ 2401 w 10785"/>
                <a:gd name="connsiteY2852" fmla="*/ 7624 h 10000"/>
                <a:gd name="connsiteX2853" fmla="*/ 2419 w 10785"/>
                <a:gd name="connsiteY2853" fmla="*/ 7624 h 10000"/>
                <a:gd name="connsiteX2854" fmla="*/ 2433 w 10785"/>
                <a:gd name="connsiteY2854" fmla="*/ 7615 h 10000"/>
                <a:gd name="connsiteX2855" fmla="*/ 2442 w 10785"/>
                <a:gd name="connsiteY2855" fmla="*/ 7615 h 10000"/>
                <a:gd name="connsiteX2856" fmla="*/ 2447 w 10785"/>
                <a:gd name="connsiteY2856" fmla="*/ 7598 h 10000"/>
                <a:gd name="connsiteX2857" fmla="*/ 2461 w 10785"/>
                <a:gd name="connsiteY2857" fmla="*/ 7598 h 10000"/>
                <a:gd name="connsiteX2858" fmla="*/ 2465 w 10785"/>
                <a:gd name="connsiteY2858" fmla="*/ 7615 h 10000"/>
                <a:gd name="connsiteX2859" fmla="*/ 2479 w 10785"/>
                <a:gd name="connsiteY2859" fmla="*/ 7564 h 10000"/>
                <a:gd name="connsiteX2860" fmla="*/ 2488 w 10785"/>
                <a:gd name="connsiteY2860" fmla="*/ 7556 h 10000"/>
                <a:gd name="connsiteX2861" fmla="*/ 2493 w 10785"/>
                <a:gd name="connsiteY2861" fmla="*/ 7556 h 10000"/>
                <a:gd name="connsiteX2862" fmla="*/ 2507 w 10785"/>
                <a:gd name="connsiteY2862" fmla="*/ 7556 h 10000"/>
                <a:gd name="connsiteX2863" fmla="*/ 2530 w 10785"/>
                <a:gd name="connsiteY2863" fmla="*/ 7538 h 10000"/>
                <a:gd name="connsiteX2864" fmla="*/ 2530 w 10785"/>
                <a:gd name="connsiteY2864" fmla="*/ 7556 h 10000"/>
                <a:gd name="connsiteX2865" fmla="*/ 2641 w 10785"/>
                <a:gd name="connsiteY2865" fmla="*/ 7504 h 10000"/>
                <a:gd name="connsiteX2866" fmla="*/ 2654 w 10785"/>
                <a:gd name="connsiteY2866" fmla="*/ 7487 h 10000"/>
                <a:gd name="connsiteX2867" fmla="*/ 2664 w 10785"/>
                <a:gd name="connsiteY2867" fmla="*/ 7487 h 10000"/>
                <a:gd name="connsiteX2868" fmla="*/ 2668 w 10785"/>
                <a:gd name="connsiteY2868" fmla="*/ 7479 h 10000"/>
                <a:gd name="connsiteX2869" fmla="*/ 2673 w 10785"/>
                <a:gd name="connsiteY2869" fmla="*/ 7462 h 10000"/>
                <a:gd name="connsiteX2870" fmla="*/ 2673 w 10785"/>
                <a:gd name="connsiteY2870" fmla="*/ 7427 h 10000"/>
                <a:gd name="connsiteX2871" fmla="*/ 2687 w 10785"/>
                <a:gd name="connsiteY2871" fmla="*/ 7436 h 10000"/>
                <a:gd name="connsiteX2872" fmla="*/ 2696 w 10785"/>
                <a:gd name="connsiteY2872" fmla="*/ 7427 h 10000"/>
                <a:gd name="connsiteX2873" fmla="*/ 2700 w 10785"/>
                <a:gd name="connsiteY2873" fmla="*/ 7419 h 10000"/>
                <a:gd name="connsiteX2874" fmla="*/ 2710 w 10785"/>
                <a:gd name="connsiteY2874" fmla="*/ 7402 h 10000"/>
                <a:gd name="connsiteX2875" fmla="*/ 2724 w 10785"/>
                <a:gd name="connsiteY2875" fmla="*/ 7402 h 10000"/>
                <a:gd name="connsiteX2876" fmla="*/ 2724 w 10785"/>
                <a:gd name="connsiteY2876" fmla="*/ 7393 h 10000"/>
                <a:gd name="connsiteX2877" fmla="*/ 2737 w 10785"/>
                <a:gd name="connsiteY2877" fmla="*/ 7393 h 10000"/>
                <a:gd name="connsiteX2878" fmla="*/ 2742 w 10785"/>
                <a:gd name="connsiteY2878" fmla="*/ 7402 h 10000"/>
                <a:gd name="connsiteX2879" fmla="*/ 2747 w 10785"/>
                <a:gd name="connsiteY2879" fmla="*/ 7402 h 10000"/>
                <a:gd name="connsiteX2880" fmla="*/ 2760 w 10785"/>
                <a:gd name="connsiteY2880" fmla="*/ 7402 h 10000"/>
                <a:gd name="connsiteX2881" fmla="*/ 2770 w 10785"/>
                <a:gd name="connsiteY2881" fmla="*/ 7402 h 10000"/>
                <a:gd name="connsiteX2882" fmla="*/ 2774 w 10785"/>
                <a:gd name="connsiteY2882" fmla="*/ 7402 h 10000"/>
                <a:gd name="connsiteX2883" fmla="*/ 2783 w 10785"/>
                <a:gd name="connsiteY2883" fmla="*/ 7419 h 10000"/>
                <a:gd name="connsiteX2884" fmla="*/ 2802 w 10785"/>
                <a:gd name="connsiteY2884" fmla="*/ 7436 h 10000"/>
                <a:gd name="connsiteX2885" fmla="*/ 2816 w 10785"/>
                <a:gd name="connsiteY2885" fmla="*/ 7419 h 10000"/>
                <a:gd name="connsiteX2886" fmla="*/ 2834 w 10785"/>
                <a:gd name="connsiteY2886" fmla="*/ 7419 h 10000"/>
                <a:gd name="connsiteX2887" fmla="*/ 2843 w 10785"/>
                <a:gd name="connsiteY2887" fmla="*/ 7419 h 10000"/>
                <a:gd name="connsiteX2888" fmla="*/ 2848 w 10785"/>
                <a:gd name="connsiteY2888" fmla="*/ 7436 h 10000"/>
                <a:gd name="connsiteX2889" fmla="*/ 2857 w 10785"/>
                <a:gd name="connsiteY2889" fmla="*/ 7453 h 10000"/>
                <a:gd name="connsiteX2890" fmla="*/ 2857 w 10785"/>
                <a:gd name="connsiteY2890" fmla="*/ 7504 h 10000"/>
                <a:gd name="connsiteX2891" fmla="*/ 2862 w 10785"/>
                <a:gd name="connsiteY2891" fmla="*/ 7530 h 10000"/>
                <a:gd name="connsiteX2892" fmla="*/ 2876 w 10785"/>
                <a:gd name="connsiteY2892" fmla="*/ 7538 h 10000"/>
                <a:gd name="connsiteX2893" fmla="*/ 2871 w 10785"/>
                <a:gd name="connsiteY2893" fmla="*/ 7564 h 10000"/>
                <a:gd name="connsiteX2894" fmla="*/ 2871 w 10785"/>
                <a:gd name="connsiteY2894" fmla="*/ 7598 h 10000"/>
                <a:gd name="connsiteX2895" fmla="*/ 2857 w 10785"/>
                <a:gd name="connsiteY2895" fmla="*/ 7624 h 10000"/>
                <a:gd name="connsiteX2896" fmla="*/ 2862 w 10785"/>
                <a:gd name="connsiteY2896" fmla="*/ 7641 h 10000"/>
                <a:gd name="connsiteX2897" fmla="*/ 2871 w 10785"/>
                <a:gd name="connsiteY2897" fmla="*/ 7667 h 10000"/>
                <a:gd name="connsiteX2898" fmla="*/ 2880 w 10785"/>
                <a:gd name="connsiteY2898" fmla="*/ 7650 h 10000"/>
                <a:gd name="connsiteX2899" fmla="*/ 2894 w 10785"/>
                <a:gd name="connsiteY2899" fmla="*/ 7667 h 10000"/>
                <a:gd name="connsiteX2900" fmla="*/ 2903 w 10785"/>
                <a:gd name="connsiteY2900" fmla="*/ 7667 h 10000"/>
                <a:gd name="connsiteX2901" fmla="*/ 2908 w 10785"/>
                <a:gd name="connsiteY2901" fmla="*/ 7641 h 10000"/>
                <a:gd name="connsiteX2902" fmla="*/ 2917 w 10785"/>
                <a:gd name="connsiteY2902" fmla="*/ 7641 h 10000"/>
                <a:gd name="connsiteX2903" fmla="*/ 2922 w 10785"/>
                <a:gd name="connsiteY2903" fmla="*/ 7641 h 10000"/>
                <a:gd name="connsiteX2904" fmla="*/ 2931 w 10785"/>
                <a:gd name="connsiteY2904" fmla="*/ 7615 h 10000"/>
                <a:gd name="connsiteX2905" fmla="*/ 2935 w 10785"/>
                <a:gd name="connsiteY2905" fmla="*/ 7615 h 10000"/>
                <a:gd name="connsiteX2906" fmla="*/ 2945 w 10785"/>
                <a:gd name="connsiteY2906" fmla="*/ 7650 h 10000"/>
                <a:gd name="connsiteX2907" fmla="*/ 2949 w 10785"/>
                <a:gd name="connsiteY2907" fmla="*/ 7667 h 10000"/>
                <a:gd name="connsiteX2908" fmla="*/ 2949 w 10785"/>
                <a:gd name="connsiteY2908" fmla="*/ 7675 h 10000"/>
                <a:gd name="connsiteX2909" fmla="*/ 2945 w 10785"/>
                <a:gd name="connsiteY2909" fmla="*/ 7692 h 10000"/>
                <a:gd name="connsiteX2910" fmla="*/ 2963 w 10785"/>
                <a:gd name="connsiteY2910" fmla="*/ 7701 h 10000"/>
                <a:gd name="connsiteX2911" fmla="*/ 2963 w 10785"/>
                <a:gd name="connsiteY2911" fmla="*/ 7675 h 10000"/>
                <a:gd name="connsiteX2912" fmla="*/ 2954 w 10785"/>
                <a:gd name="connsiteY2912" fmla="*/ 7667 h 10000"/>
                <a:gd name="connsiteX2913" fmla="*/ 2963 w 10785"/>
                <a:gd name="connsiteY2913" fmla="*/ 7667 h 10000"/>
                <a:gd name="connsiteX2914" fmla="*/ 2982 w 10785"/>
                <a:gd name="connsiteY2914" fmla="*/ 7667 h 10000"/>
                <a:gd name="connsiteX2915" fmla="*/ 2991 w 10785"/>
                <a:gd name="connsiteY2915" fmla="*/ 7675 h 10000"/>
                <a:gd name="connsiteX2916" fmla="*/ 2995 w 10785"/>
                <a:gd name="connsiteY2916" fmla="*/ 7692 h 10000"/>
                <a:gd name="connsiteX2917" fmla="*/ 3009 w 10785"/>
                <a:gd name="connsiteY2917" fmla="*/ 7701 h 10000"/>
                <a:gd name="connsiteX2918" fmla="*/ 3018 w 10785"/>
                <a:gd name="connsiteY2918" fmla="*/ 7701 h 10000"/>
                <a:gd name="connsiteX2919" fmla="*/ 3023 w 10785"/>
                <a:gd name="connsiteY2919" fmla="*/ 7692 h 10000"/>
                <a:gd name="connsiteX2920" fmla="*/ 3028 w 10785"/>
                <a:gd name="connsiteY2920" fmla="*/ 7675 h 10000"/>
                <a:gd name="connsiteX2921" fmla="*/ 3037 w 10785"/>
                <a:gd name="connsiteY2921" fmla="*/ 7692 h 10000"/>
                <a:gd name="connsiteX2922" fmla="*/ 3028 w 10785"/>
                <a:gd name="connsiteY2922" fmla="*/ 7709 h 10000"/>
                <a:gd name="connsiteX2923" fmla="*/ 3023 w 10785"/>
                <a:gd name="connsiteY2923" fmla="*/ 7709 h 10000"/>
                <a:gd name="connsiteX2924" fmla="*/ 3018 w 10785"/>
                <a:gd name="connsiteY2924" fmla="*/ 7726 h 10000"/>
                <a:gd name="connsiteX2925" fmla="*/ 3009 w 10785"/>
                <a:gd name="connsiteY2925" fmla="*/ 7735 h 10000"/>
                <a:gd name="connsiteX2926" fmla="*/ 3009 w 10785"/>
                <a:gd name="connsiteY2926" fmla="*/ 7761 h 10000"/>
                <a:gd name="connsiteX2927" fmla="*/ 3009 w 10785"/>
                <a:gd name="connsiteY2927" fmla="*/ 7778 h 10000"/>
                <a:gd name="connsiteX2928" fmla="*/ 3018 w 10785"/>
                <a:gd name="connsiteY2928" fmla="*/ 7786 h 10000"/>
                <a:gd name="connsiteX2929" fmla="*/ 3023 w 10785"/>
                <a:gd name="connsiteY2929" fmla="*/ 7786 h 10000"/>
                <a:gd name="connsiteX2930" fmla="*/ 3028 w 10785"/>
                <a:gd name="connsiteY2930" fmla="*/ 7778 h 10000"/>
                <a:gd name="connsiteX2931" fmla="*/ 3051 w 10785"/>
                <a:gd name="connsiteY2931" fmla="*/ 7761 h 10000"/>
                <a:gd name="connsiteX2932" fmla="*/ 3055 w 10785"/>
                <a:gd name="connsiteY2932" fmla="*/ 7778 h 10000"/>
                <a:gd name="connsiteX2933" fmla="*/ 3065 w 10785"/>
                <a:gd name="connsiteY2933" fmla="*/ 7761 h 10000"/>
                <a:gd name="connsiteX2934" fmla="*/ 3069 w 10785"/>
                <a:gd name="connsiteY2934" fmla="*/ 7786 h 10000"/>
                <a:gd name="connsiteX2935" fmla="*/ 3083 w 10785"/>
                <a:gd name="connsiteY2935" fmla="*/ 7786 h 10000"/>
                <a:gd name="connsiteX2936" fmla="*/ 3078 w 10785"/>
                <a:gd name="connsiteY2936" fmla="*/ 7761 h 10000"/>
                <a:gd name="connsiteX2937" fmla="*/ 3083 w 10785"/>
                <a:gd name="connsiteY2937" fmla="*/ 7752 h 10000"/>
                <a:gd name="connsiteX2938" fmla="*/ 3097 w 10785"/>
                <a:gd name="connsiteY2938" fmla="*/ 7752 h 10000"/>
                <a:gd name="connsiteX2939" fmla="*/ 3111 w 10785"/>
                <a:gd name="connsiteY2939" fmla="*/ 7726 h 10000"/>
                <a:gd name="connsiteX2940" fmla="*/ 3124 w 10785"/>
                <a:gd name="connsiteY2940" fmla="*/ 7709 h 10000"/>
                <a:gd name="connsiteX2941" fmla="*/ 3143 w 10785"/>
                <a:gd name="connsiteY2941" fmla="*/ 7692 h 10000"/>
                <a:gd name="connsiteX2942" fmla="*/ 3152 w 10785"/>
                <a:gd name="connsiteY2942" fmla="*/ 7667 h 10000"/>
                <a:gd name="connsiteX2943" fmla="*/ 3157 w 10785"/>
                <a:gd name="connsiteY2943" fmla="*/ 7650 h 10000"/>
                <a:gd name="connsiteX2944" fmla="*/ 3161 w 10785"/>
                <a:gd name="connsiteY2944" fmla="*/ 7650 h 10000"/>
                <a:gd name="connsiteX2945" fmla="*/ 3189 w 10785"/>
                <a:gd name="connsiteY2945" fmla="*/ 7641 h 10000"/>
                <a:gd name="connsiteX2946" fmla="*/ 3198 w 10785"/>
                <a:gd name="connsiteY2946" fmla="*/ 7624 h 10000"/>
                <a:gd name="connsiteX2947" fmla="*/ 3217 w 10785"/>
                <a:gd name="connsiteY2947" fmla="*/ 7615 h 10000"/>
                <a:gd name="connsiteX2948" fmla="*/ 3235 w 10785"/>
                <a:gd name="connsiteY2948" fmla="*/ 7598 h 10000"/>
                <a:gd name="connsiteX2949" fmla="*/ 3235 w 10785"/>
                <a:gd name="connsiteY2949" fmla="*/ 7615 h 10000"/>
                <a:gd name="connsiteX2950" fmla="*/ 3235 w 10785"/>
                <a:gd name="connsiteY2950" fmla="*/ 7641 h 10000"/>
                <a:gd name="connsiteX2951" fmla="*/ 3235 w 10785"/>
                <a:gd name="connsiteY2951" fmla="*/ 7650 h 10000"/>
                <a:gd name="connsiteX2952" fmla="*/ 3226 w 10785"/>
                <a:gd name="connsiteY2952" fmla="*/ 7650 h 10000"/>
                <a:gd name="connsiteX2953" fmla="*/ 3217 w 10785"/>
                <a:gd name="connsiteY2953" fmla="*/ 7650 h 10000"/>
                <a:gd name="connsiteX2954" fmla="*/ 3212 w 10785"/>
                <a:gd name="connsiteY2954" fmla="*/ 7675 h 10000"/>
                <a:gd name="connsiteX2955" fmla="*/ 3212 w 10785"/>
                <a:gd name="connsiteY2955"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307 w 10785"/>
                <a:gd name="connsiteY731" fmla="*/ 4899 h 10000"/>
                <a:gd name="connsiteX732" fmla="*/ 10435 w 10785"/>
                <a:gd name="connsiteY732" fmla="*/ 4810 h 10000"/>
                <a:gd name="connsiteX733" fmla="*/ 10619 w 10785"/>
                <a:gd name="connsiteY733" fmla="*/ 4708 h 10000"/>
                <a:gd name="connsiteX734" fmla="*/ 10785 w 10785"/>
                <a:gd name="connsiteY734" fmla="*/ 4708 h 10000"/>
                <a:gd name="connsiteX735" fmla="*/ 10689 w 10785"/>
                <a:gd name="connsiteY735" fmla="*/ 4467 h 10000"/>
                <a:gd name="connsiteX736" fmla="*/ 10354 w 10785"/>
                <a:gd name="connsiteY736" fmla="*/ 4302 h 10000"/>
                <a:gd name="connsiteX737" fmla="*/ 9912 w 10785"/>
                <a:gd name="connsiteY737" fmla="*/ 3675 h 10000"/>
                <a:gd name="connsiteX738" fmla="*/ 9903 w 10785"/>
                <a:gd name="connsiteY738" fmla="*/ 3667 h 10000"/>
                <a:gd name="connsiteX739" fmla="*/ 9894 w 10785"/>
                <a:gd name="connsiteY739" fmla="*/ 3641 h 10000"/>
                <a:gd name="connsiteX740" fmla="*/ 9889 w 10785"/>
                <a:gd name="connsiteY740" fmla="*/ 3650 h 10000"/>
                <a:gd name="connsiteX741" fmla="*/ 9848 w 10785"/>
                <a:gd name="connsiteY741" fmla="*/ 3598 h 10000"/>
                <a:gd name="connsiteX742" fmla="*/ 9829 w 10785"/>
                <a:gd name="connsiteY742" fmla="*/ 3581 h 10000"/>
                <a:gd name="connsiteX743" fmla="*/ 9820 w 10785"/>
                <a:gd name="connsiteY743" fmla="*/ 3581 h 10000"/>
                <a:gd name="connsiteX744" fmla="*/ 9793 w 10785"/>
                <a:gd name="connsiteY744" fmla="*/ 3556 h 10000"/>
                <a:gd name="connsiteX745" fmla="*/ 9779 w 10785"/>
                <a:gd name="connsiteY745" fmla="*/ 3556 h 10000"/>
                <a:gd name="connsiteX746" fmla="*/ 9747 w 10785"/>
                <a:gd name="connsiteY746" fmla="*/ 3487 h 10000"/>
                <a:gd name="connsiteX747" fmla="*/ 9668 w 10785"/>
                <a:gd name="connsiteY747" fmla="*/ 3479 h 10000"/>
                <a:gd name="connsiteX748" fmla="*/ 9659 w 10785"/>
                <a:gd name="connsiteY748" fmla="*/ 3487 h 10000"/>
                <a:gd name="connsiteX749" fmla="*/ 9645 w 10785"/>
                <a:gd name="connsiteY749" fmla="*/ 3504 h 10000"/>
                <a:gd name="connsiteX750" fmla="*/ 9631 w 10785"/>
                <a:gd name="connsiteY750" fmla="*/ 3487 h 10000"/>
                <a:gd name="connsiteX751" fmla="*/ 9613 w 10785"/>
                <a:gd name="connsiteY751" fmla="*/ 3479 h 10000"/>
                <a:gd name="connsiteX752" fmla="*/ 9599 w 10785"/>
                <a:gd name="connsiteY752" fmla="*/ 3479 h 10000"/>
                <a:gd name="connsiteX753" fmla="*/ 9571 w 10785"/>
                <a:gd name="connsiteY753" fmla="*/ 3479 h 10000"/>
                <a:gd name="connsiteX754" fmla="*/ 9562 w 10785"/>
                <a:gd name="connsiteY754" fmla="*/ 3487 h 10000"/>
                <a:gd name="connsiteX755" fmla="*/ 9539 w 10785"/>
                <a:gd name="connsiteY755" fmla="*/ 3487 h 10000"/>
                <a:gd name="connsiteX756" fmla="*/ 9507 w 10785"/>
                <a:gd name="connsiteY756" fmla="*/ 3453 h 10000"/>
                <a:gd name="connsiteX757" fmla="*/ 9498 w 10785"/>
                <a:gd name="connsiteY757" fmla="*/ 3453 h 10000"/>
                <a:gd name="connsiteX758" fmla="*/ 9387 w 10785"/>
                <a:gd name="connsiteY758" fmla="*/ 3419 h 10000"/>
                <a:gd name="connsiteX759" fmla="*/ 9373 w 10785"/>
                <a:gd name="connsiteY759" fmla="*/ 3427 h 10000"/>
                <a:gd name="connsiteX760" fmla="*/ 9373 w 10785"/>
                <a:gd name="connsiteY760" fmla="*/ 3462 h 10000"/>
                <a:gd name="connsiteX761" fmla="*/ 9378 w 10785"/>
                <a:gd name="connsiteY761" fmla="*/ 3479 h 10000"/>
                <a:gd name="connsiteX762" fmla="*/ 9378 w 10785"/>
                <a:gd name="connsiteY762" fmla="*/ 3530 h 10000"/>
                <a:gd name="connsiteX763" fmla="*/ 9355 w 10785"/>
                <a:gd name="connsiteY763" fmla="*/ 3538 h 10000"/>
                <a:gd name="connsiteX764" fmla="*/ 9355 w 10785"/>
                <a:gd name="connsiteY764" fmla="*/ 3581 h 10000"/>
                <a:gd name="connsiteX765" fmla="*/ 9387 w 10785"/>
                <a:gd name="connsiteY765" fmla="*/ 3590 h 10000"/>
                <a:gd name="connsiteX766" fmla="*/ 9401 w 10785"/>
                <a:gd name="connsiteY766" fmla="*/ 3667 h 10000"/>
                <a:gd name="connsiteX767" fmla="*/ 9406 w 10785"/>
                <a:gd name="connsiteY767" fmla="*/ 3675 h 10000"/>
                <a:gd name="connsiteX768" fmla="*/ 9406 w 10785"/>
                <a:gd name="connsiteY768" fmla="*/ 3701 h 10000"/>
                <a:gd name="connsiteX769" fmla="*/ 9415 w 10785"/>
                <a:gd name="connsiteY769" fmla="*/ 3752 h 10000"/>
                <a:gd name="connsiteX770" fmla="*/ 9373 w 10785"/>
                <a:gd name="connsiteY770" fmla="*/ 3838 h 10000"/>
                <a:gd name="connsiteX771" fmla="*/ 9355 w 10785"/>
                <a:gd name="connsiteY771" fmla="*/ 3863 h 10000"/>
                <a:gd name="connsiteX772" fmla="*/ 9327 w 10785"/>
                <a:gd name="connsiteY772" fmla="*/ 3863 h 10000"/>
                <a:gd name="connsiteX773" fmla="*/ 9313 w 10785"/>
                <a:gd name="connsiteY773" fmla="*/ 3846 h 10000"/>
                <a:gd name="connsiteX774" fmla="*/ 9300 w 10785"/>
                <a:gd name="connsiteY774" fmla="*/ 3778 h 10000"/>
                <a:gd name="connsiteX775" fmla="*/ 9281 w 10785"/>
                <a:gd name="connsiteY775" fmla="*/ 3752 h 10000"/>
                <a:gd name="connsiteX776" fmla="*/ 9281 w 10785"/>
                <a:gd name="connsiteY776" fmla="*/ 3735 h 10000"/>
                <a:gd name="connsiteX777" fmla="*/ 9267 w 10785"/>
                <a:gd name="connsiteY777" fmla="*/ 3726 h 10000"/>
                <a:gd name="connsiteX778" fmla="*/ 9240 w 10785"/>
                <a:gd name="connsiteY778" fmla="*/ 3726 h 10000"/>
                <a:gd name="connsiteX779" fmla="*/ 9230 w 10785"/>
                <a:gd name="connsiteY779" fmla="*/ 3718 h 10000"/>
                <a:gd name="connsiteX780" fmla="*/ 9226 w 10785"/>
                <a:gd name="connsiteY780" fmla="*/ 3590 h 10000"/>
                <a:gd name="connsiteX781" fmla="*/ 9207 w 10785"/>
                <a:gd name="connsiteY781" fmla="*/ 3581 h 10000"/>
                <a:gd name="connsiteX782" fmla="*/ 9207 w 10785"/>
                <a:gd name="connsiteY782" fmla="*/ 3556 h 10000"/>
                <a:gd name="connsiteX783" fmla="*/ 9217 w 10785"/>
                <a:gd name="connsiteY783" fmla="*/ 3538 h 10000"/>
                <a:gd name="connsiteX784" fmla="*/ 9212 w 10785"/>
                <a:gd name="connsiteY784" fmla="*/ 3538 h 10000"/>
                <a:gd name="connsiteX785" fmla="*/ 9198 w 10785"/>
                <a:gd name="connsiteY785" fmla="*/ 3513 h 10000"/>
                <a:gd name="connsiteX786" fmla="*/ 9194 w 10785"/>
                <a:gd name="connsiteY786" fmla="*/ 3530 h 10000"/>
                <a:gd name="connsiteX787" fmla="*/ 9143 w 10785"/>
                <a:gd name="connsiteY787" fmla="*/ 3615 h 10000"/>
                <a:gd name="connsiteX788" fmla="*/ 9138 w 10785"/>
                <a:gd name="connsiteY788" fmla="*/ 3615 h 10000"/>
                <a:gd name="connsiteX789" fmla="*/ 9134 w 10785"/>
                <a:gd name="connsiteY789" fmla="*/ 3615 h 10000"/>
                <a:gd name="connsiteX790" fmla="*/ 9106 w 10785"/>
                <a:gd name="connsiteY790" fmla="*/ 3615 h 10000"/>
                <a:gd name="connsiteX791" fmla="*/ 9078 w 10785"/>
                <a:gd name="connsiteY791" fmla="*/ 3590 h 10000"/>
                <a:gd name="connsiteX792" fmla="*/ 9037 w 10785"/>
                <a:gd name="connsiteY792" fmla="*/ 3581 h 10000"/>
                <a:gd name="connsiteX793" fmla="*/ 9023 w 10785"/>
                <a:gd name="connsiteY793" fmla="*/ 3590 h 10000"/>
                <a:gd name="connsiteX794" fmla="*/ 9018 w 10785"/>
                <a:gd name="connsiteY794" fmla="*/ 3590 h 10000"/>
                <a:gd name="connsiteX795" fmla="*/ 9018 w 10785"/>
                <a:gd name="connsiteY795" fmla="*/ 3590 h 10000"/>
                <a:gd name="connsiteX796" fmla="*/ 8991 w 10785"/>
                <a:gd name="connsiteY796" fmla="*/ 3590 h 10000"/>
                <a:gd name="connsiteX797" fmla="*/ 8972 w 10785"/>
                <a:gd name="connsiteY797" fmla="*/ 3581 h 10000"/>
                <a:gd name="connsiteX798" fmla="*/ 8959 w 10785"/>
                <a:gd name="connsiteY798" fmla="*/ 3513 h 10000"/>
                <a:gd name="connsiteX799" fmla="*/ 8931 w 10785"/>
                <a:gd name="connsiteY799" fmla="*/ 3538 h 10000"/>
                <a:gd name="connsiteX800" fmla="*/ 8889 w 10785"/>
                <a:gd name="connsiteY800" fmla="*/ 3538 h 10000"/>
                <a:gd name="connsiteX801" fmla="*/ 8871 w 10785"/>
                <a:gd name="connsiteY801" fmla="*/ 3556 h 10000"/>
                <a:gd name="connsiteX802" fmla="*/ 8857 w 10785"/>
                <a:gd name="connsiteY802" fmla="*/ 3538 h 10000"/>
                <a:gd name="connsiteX803" fmla="*/ 8843 w 10785"/>
                <a:gd name="connsiteY803" fmla="*/ 3538 h 10000"/>
                <a:gd name="connsiteX804" fmla="*/ 8839 w 10785"/>
                <a:gd name="connsiteY804" fmla="*/ 3556 h 10000"/>
                <a:gd name="connsiteX805" fmla="*/ 8839 w 10785"/>
                <a:gd name="connsiteY805" fmla="*/ 3581 h 10000"/>
                <a:gd name="connsiteX806" fmla="*/ 8825 w 10785"/>
                <a:gd name="connsiteY806" fmla="*/ 3564 h 10000"/>
                <a:gd name="connsiteX807" fmla="*/ 8825 w 10785"/>
                <a:gd name="connsiteY807" fmla="*/ 3615 h 10000"/>
                <a:gd name="connsiteX808" fmla="*/ 8802 w 10785"/>
                <a:gd name="connsiteY808" fmla="*/ 3598 h 10000"/>
                <a:gd name="connsiteX809" fmla="*/ 8797 w 10785"/>
                <a:gd name="connsiteY809" fmla="*/ 3641 h 10000"/>
                <a:gd name="connsiteX810" fmla="*/ 8783 w 10785"/>
                <a:gd name="connsiteY810" fmla="*/ 3667 h 10000"/>
                <a:gd name="connsiteX811" fmla="*/ 8779 w 10785"/>
                <a:gd name="connsiteY811" fmla="*/ 3650 h 10000"/>
                <a:gd name="connsiteX812" fmla="*/ 8779 w 10785"/>
                <a:gd name="connsiteY812" fmla="*/ 3615 h 10000"/>
                <a:gd name="connsiteX813" fmla="*/ 8770 w 10785"/>
                <a:gd name="connsiteY813" fmla="*/ 3590 h 10000"/>
                <a:gd name="connsiteX814" fmla="*/ 8765 w 10785"/>
                <a:gd name="connsiteY814" fmla="*/ 3598 h 10000"/>
                <a:gd name="connsiteX815" fmla="*/ 8756 w 10785"/>
                <a:gd name="connsiteY815" fmla="*/ 3590 h 10000"/>
                <a:gd name="connsiteX816" fmla="*/ 8737 w 10785"/>
                <a:gd name="connsiteY816" fmla="*/ 3556 h 10000"/>
                <a:gd name="connsiteX817" fmla="*/ 8724 w 10785"/>
                <a:gd name="connsiteY817" fmla="*/ 3538 h 10000"/>
                <a:gd name="connsiteX818" fmla="*/ 8696 w 10785"/>
                <a:gd name="connsiteY818" fmla="*/ 3538 h 10000"/>
                <a:gd name="connsiteX819" fmla="*/ 8691 w 10785"/>
                <a:gd name="connsiteY819" fmla="*/ 3513 h 10000"/>
                <a:gd name="connsiteX820" fmla="*/ 8668 w 10785"/>
                <a:gd name="connsiteY820" fmla="*/ 3504 h 10000"/>
                <a:gd name="connsiteX821" fmla="*/ 8668 w 10785"/>
                <a:gd name="connsiteY821" fmla="*/ 3487 h 10000"/>
                <a:gd name="connsiteX822" fmla="*/ 8691 w 10785"/>
                <a:gd name="connsiteY822" fmla="*/ 3350 h 10000"/>
                <a:gd name="connsiteX823" fmla="*/ 8691 w 10785"/>
                <a:gd name="connsiteY823" fmla="*/ 3291 h 10000"/>
                <a:gd name="connsiteX824" fmla="*/ 8677 w 10785"/>
                <a:gd name="connsiteY824" fmla="*/ 3239 h 10000"/>
                <a:gd name="connsiteX825" fmla="*/ 8677 w 10785"/>
                <a:gd name="connsiteY825" fmla="*/ 3231 h 10000"/>
                <a:gd name="connsiteX826" fmla="*/ 8636 w 10785"/>
                <a:gd name="connsiteY826" fmla="*/ 3128 h 10000"/>
                <a:gd name="connsiteX827" fmla="*/ 8622 w 10785"/>
                <a:gd name="connsiteY827" fmla="*/ 3120 h 10000"/>
                <a:gd name="connsiteX828" fmla="*/ 8618 w 10785"/>
                <a:gd name="connsiteY828" fmla="*/ 3094 h 10000"/>
                <a:gd name="connsiteX829" fmla="*/ 8594 w 10785"/>
                <a:gd name="connsiteY829" fmla="*/ 3077 h 10000"/>
                <a:gd name="connsiteX830" fmla="*/ 8548 w 10785"/>
                <a:gd name="connsiteY830" fmla="*/ 3077 h 10000"/>
                <a:gd name="connsiteX831" fmla="*/ 8535 w 10785"/>
                <a:gd name="connsiteY831" fmla="*/ 3068 h 10000"/>
                <a:gd name="connsiteX832" fmla="*/ 8429 w 10785"/>
                <a:gd name="connsiteY832" fmla="*/ 3077 h 10000"/>
                <a:gd name="connsiteX833" fmla="*/ 8424 w 10785"/>
                <a:gd name="connsiteY833" fmla="*/ 3077 h 10000"/>
                <a:gd name="connsiteX834" fmla="*/ 8396 w 10785"/>
                <a:gd name="connsiteY834" fmla="*/ 3077 h 10000"/>
                <a:gd name="connsiteX835" fmla="*/ 8387 w 10785"/>
                <a:gd name="connsiteY835" fmla="*/ 3094 h 10000"/>
                <a:gd name="connsiteX836" fmla="*/ 8378 w 10785"/>
                <a:gd name="connsiteY836" fmla="*/ 3094 h 10000"/>
                <a:gd name="connsiteX837" fmla="*/ 8341 w 10785"/>
                <a:gd name="connsiteY837" fmla="*/ 3077 h 10000"/>
                <a:gd name="connsiteX838" fmla="*/ 8336 w 10785"/>
                <a:gd name="connsiteY838" fmla="*/ 3077 h 10000"/>
                <a:gd name="connsiteX839" fmla="*/ 8327 w 10785"/>
                <a:gd name="connsiteY839" fmla="*/ 3103 h 10000"/>
                <a:gd name="connsiteX840" fmla="*/ 8309 w 10785"/>
                <a:gd name="connsiteY840" fmla="*/ 3120 h 10000"/>
                <a:gd name="connsiteX841" fmla="*/ 8304 w 10785"/>
                <a:gd name="connsiteY841" fmla="*/ 3103 h 10000"/>
                <a:gd name="connsiteX842" fmla="*/ 8276 w 10785"/>
                <a:gd name="connsiteY842" fmla="*/ 3103 h 10000"/>
                <a:gd name="connsiteX843" fmla="*/ 8267 w 10785"/>
                <a:gd name="connsiteY843" fmla="*/ 3120 h 10000"/>
                <a:gd name="connsiteX844" fmla="*/ 8253 w 10785"/>
                <a:gd name="connsiteY844" fmla="*/ 3103 h 10000"/>
                <a:gd name="connsiteX845" fmla="*/ 8230 w 10785"/>
                <a:gd name="connsiteY845" fmla="*/ 3128 h 10000"/>
                <a:gd name="connsiteX846" fmla="*/ 8217 w 10785"/>
                <a:gd name="connsiteY846" fmla="*/ 3128 h 10000"/>
                <a:gd name="connsiteX847" fmla="*/ 8203 w 10785"/>
                <a:gd name="connsiteY847" fmla="*/ 3154 h 10000"/>
                <a:gd name="connsiteX848" fmla="*/ 8175 w 10785"/>
                <a:gd name="connsiteY848" fmla="*/ 3094 h 10000"/>
                <a:gd name="connsiteX849" fmla="*/ 8161 w 10785"/>
                <a:gd name="connsiteY849" fmla="*/ 3094 h 10000"/>
                <a:gd name="connsiteX850" fmla="*/ 8157 w 10785"/>
                <a:gd name="connsiteY850" fmla="*/ 3077 h 10000"/>
                <a:gd name="connsiteX851" fmla="*/ 8180 w 10785"/>
                <a:gd name="connsiteY851" fmla="*/ 3068 h 10000"/>
                <a:gd name="connsiteX852" fmla="*/ 8189 w 10785"/>
                <a:gd name="connsiteY852" fmla="*/ 3043 h 10000"/>
                <a:gd name="connsiteX853" fmla="*/ 8189 w 10785"/>
                <a:gd name="connsiteY853" fmla="*/ 3017 h 10000"/>
                <a:gd name="connsiteX854" fmla="*/ 8147 w 10785"/>
                <a:gd name="connsiteY854" fmla="*/ 2940 h 10000"/>
                <a:gd name="connsiteX855" fmla="*/ 8143 w 10785"/>
                <a:gd name="connsiteY855" fmla="*/ 2915 h 10000"/>
                <a:gd name="connsiteX856" fmla="*/ 8143 w 10785"/>
                <a:gd name="connsiteY856" fmla="*/ 2906 h 10000"/>
                <a:gd name="connsiteX857" fmla="*/ 8097 w 10785"/>
                <a:gd name="connsiteY857" fmla="*/ 2932 h 10000"/>
                <a:gd name="connsiteX858" fmla="*/ 8083 w 10785"/>
                <a:gd name="connsiteY858" fmla="*/ 2932 h 10000"/>
                <a:gd name="connsiteX859" fmla="*/ 8074 w 10785"/>
                <a:gd name="connsiteY859" fmla="*/ 2906 h 10000"/>
                <a:gd name="connsiteX860" fmla="*/ 8074 w 10785"/>
                <a:gd name="connsiteY860" fmla="*/ 2897 h 10000"/>
                <a:gd name="connsiteX861" fmla="*/ 8055 w 10785"/>
                <a:gd name="connsiteY861" fmla="*/ 2872 h 10000"/>
                <a:gd name="connsiteX862" fmla="*/ 8046 w 10785"/>
                <a:gd name="connsiteY862" fmla="*/ 2829 h 10000"/>
                <a:gd name="connsiteX863" fmla="*/ 8041 w 10785"/>
                <a:gd name="connsiteY863" fmla="*/ 2829 h 10000"/>
                <a:gd name="connsiteX864" fmla="*/ 8023 w 10785"/>
                <a:gd name="connsiteY864" fmla="*/ 2803 h 10000"/>
                <a:gd name="connsiteX865" fmla="*/ 8014 w 10785"/>
                <a:gd name="connsiteY865" fmla="*/ 2829 h 10000"/>
                <a:gd name="connsiteX866" fmla="*/ 8000 w 10785"/>
                <a:gd name="connsiteY866" fmla="*/ 2829 h 10000"/>
                <a:gd name="connsiteX867" fmla="*/ 7995 w 10785"/>
                <a:gd name="connsiteY867" fmla="*/ 2821 h 10000"/>
                <a:gd name="connsiteX868" fmla="*/ 7972 w 10785"/>
                <a:gd name="connsiteY868" fmla="*/ 2803 h 10000"/>
                <a:gd name="connsiteX869" fmla="*/ 7968 w 10785"/>
                <a:gd name="connsiteY869" fmla="*/ 2821 h 10000"/>
                <a:gd name="connsiteX870" fmla="*/ 7968 w 10785"/>
                <a:gd name="connsiteY870" fmla="*/ 2803 h 10000"/>
                <a:gd name="connsiteX871" fmla="*/ 7995 w 10785"/>
                <a:gd name="connsiteY871" fmla="*/ 2735 h 10000"/>
                <a:gd name="connsiteX872" fmla="*/ 8000 w 10785"/>
                <a:gd name="connsiteY872" fmla="*/ 2735 h 10000"/>
                <a:gd name="connsiteX873" fmla="*/ 8014 w 10785"/>
                <a:gd name="connsiteY873" fmla="*/ 2744 h 10000"/>
                <a:gd name="connsiteX874" fmla="*/ 8023 w 10785"/>
                <a:gd name="connsiteY874" fmla="*/ 2769 h 10000"/>
                <a:gd name="connsiteX875" fmla="*/ 8032 w 10785"/>
                <a:gd name="connsiteY875" fmla="*/ 2744 h 10000"/>
                <a:gd name="connsiteX876" fmla="*/ 8032 w 10785"/>
                <a:gd name="connsiteY876" fmla="*/ 2709 h 10000"/>
                <a:gd name="connsiteX877" fmla="*/ 8023 w 10785"/>
                <a:gd name="connsiteY877" fmla="*/ 2632 h 10000"/>
                <a:gd name="connsiteX878" fmla="*/ 7986 w 10785"/>
                <a:gd name="connsiteY878" fmla="*/ 2581 h 10000"/>
                <a:gd name="connsiteX879" fmla="*/ 7968 w 10785"/>
                <a:gd name="connsiteY879" fmla="*/ 2581 h 10000"/>
                <a:gd name="connsiteX880" fmla="*/ 7963 w 10785"/>
                <a:gd name="connsiteY880" fmla="*/ 2556 h 10000"/>
                <a:gd name="connsiteX881" fmla="*/ 7935 w 10785"/>
                <a:gd name="connsiteY881" fmla="*/ 2547 h 10000"/>
                <a:gd name="connsiteX882" fmla="*/ 7912 w 10785"/>
                <a:gd name="connsiteY882" fmla="*/ 2547 h 10000"/>
                <a:gd name="connsiteX883" fmla="*/ 7912 w 10785"/>
                <a:gd name="connsiteY883" fmla="*/ 2556 h 10000"/>
                <a:gd name="connsiteX884" fmla="*/ 7908 w 10785"/>
                <a:gd name="connsiteY884" fmla="*/ 2547 h 10000"/>
                <a:gd name="connsiteX885" fmla="*/ 7862 w 10785"/>
                <a:gd name="connsiteY885" fmla="*/ 2547 h 10000"/>
                <a:gd name="connsiteX886" fmla="*/ 7848 w 10785"/>
                <a:gd name="connsiteY886" fmla="*/ 2556 h 10000"/>
                <a:gd name="connsiteX887" fmla="*/ 7820 w 10785"/>
                <a:gd name="connsiteY887" fmla="*/ 2547 h 10000"/>
                <a:gd name="connsiteX888" fmla="*/ 7806 w 10785"/>
                <a:gd name="connsiteY888" fmla="*/ 2513 h 10000"/>
                <a:gd name="connsiteX889" fmla="*/ 7788 w 10785"/>
                <a:gd name="connsiteY889" fmla="*/ 2513 h 10000"/>
                <a:gd name="connsiteX890" fmla="*/ 7760 w 10785"/>
                <a:gd name="connsiteY890" fmla="*/ 2470 h 10000"/>
                <a:gd name="connsiteX891" fmla="*/ 7751 w 10785"/>
                <a:gd name="connsiteY891" fmla="*/ 2470 h 10000"/>
                <a:gd name="connsiteX892" fmla="*/ 7705 w 10785"/>
                <a:gd name="connsiteY892" fmla="*/ 2462 h 10000"/>
                <a:gd name="connsiteX893" fmla="*/ 7673 w 10785"/>
                <a:gd name="connsiteY893" fmla="*/ 2419 h 10000"/>
                <a:gd name="connsiteX894" fmla="*/ 7627 w 10785"/>
                <a:gd name="connsiteY894" fmla="*/ 2419 h 10000"/>
                <a:gd name="connsiteX895" fmla="*/ 7613 w 10785"/>
                <a:gd name="connsiteY895" fmla="*/ 2410 h 10000"/>
                <a:gd name="connsiteX896" fmla="*/ 7493 w 10785"/>
                <a:gd name="connsiteY896" fmla="*/ 2393 h 10000"/>
                <a:gd name="connsiteX897" fmla="*/ 7479 w 10785"/>
                <a:gd name="connsiteY897" fmla="*/ 2385 h 10000"/>
                <a:gd name="connsiteX898" fmla="*/ 7479 w 10785"/>
                <a:gd name="connsiteY898" fmla="*/ 2376 h 10000"/>
                <a:gd name="connsiteX899" fmla="*/ 7465 w 10785"/>
                <a:gd name="connsiteY899" fmla="*/ 2359 h 10000"/>
                <a:gd name="connsiteX900" fmla="*/ 7447 w 10785"/>
                <a:gd name="connsiteY900" fmla="*/ 2350 h 10000"/>
                <a:gd name="connsiteX901" fmla="*/ 7433 w 10785"/>
                <a:gd name="connsiteY901" fmla="*/ 2376 h 10000"/>
                <a:gd name="connsiteX902" fmla="*/ 7433 w 10785"/>
                <a:gd name="connsiteY902" fmla="*/ 2385 h 10000"/>
                <a:gd name="connsiteX903" fmla="*/ 7447 w 10785"/>
                <a:gd name="connsiteY903" fmla="*/ 2410 h 10000"/>
                <a:gd name="connsiteX904" fmla="*/ 7447 w 10785"/>
                <a:gd name="connsiteY904" fmla="*/ 2436 h 10000"/>
                <a:gd name="connsiteX905" fmla="*/ 7452 w 10785"/>
                <a:gd name="connsiteY905" fmla="*/ 2462 h 10000"/>
                <a:gd name="connsiteX906" fmla="*/ 7447 w 10785"/>
                <a:gd name="connsiteY906" fmla="*/ 2470 h 10000"/>
                <a:gd name="connsiteX907" fmla="*/ 7424 w 10785"/>
                <a:gd name="connsiteY907" fmla="*/ 2513 h 10000"/>
                <a:gd name="connsiteX908" fmla="*/ 7419 w 10785"/>
                <a:gd name="connsiteY908" fmla="*/ 2556 h 10000"/>
                <a:gd name="connsiteX909" fmla="*/ 7406 w 10785"/>
                <a:gd name="connsiteY909" fmla="*/ 2624 h 10000"/>
                <a:gd name="connsiteX910" fmla="*/ 7392 w 10785"/>
                <a:gd name="connsiteY910" fmla="*/ 2624 h 10000"/>
                <a:gd name="connsiteX911" fmla="*/ 7373 w 10785"/>
                <a:gd name="connsiteY911" fmla="*/ 2650 h 10000"/>
                <a:gd name="connsiteX912" fmla="*/ 7364 w 10785"/>
                <a:gd name="connsiteY912" fmla="*/ 2684 h 10000"/>
                <a:gd name="connsiteX913" fmla="*/ 7364 w 10785"/>
                <a:gd name="connsiteY913" fmla="*/ 2692 h 10000"/>
                <a:gd name="connsiteX914" fmla="*/ 7373 w 10785"/>
                <a:gd name="connsiteY914" fmla="*/ 2718 h 10000"/>
                <a:gd name="connsiteX915" fmla="*/ 7373 w 10785"/>
                <a:gd name="connsiteY915" fmla="*/ 2744 h 10000"/>
                <a:gd name="connsiteX916" fmla="*/ 7359 w 10785"/>
                <a:gd name="connsiteY916" fmla="*/ 2744 h 10000"/>
                <a:gd name="connsiteX917" fmla="*/ 7359 w 10785"/>
                <a:gd name="connsiteY917" fmla="*/ 2795 h 10000"/>
                <a:gd name="connsiteX918" fmla="*/ 7364 w 10785"/>
                <a:gd name="connsiteY918" fmla="*/ 2821 h 10000"/>
                <a:gd name="connsiteX919" fmla="*/ 7378 w 10785"/>
                <a:gd name="connsiteY919" fmla="*/ 2846 h 10000"/>
                <a:gd name="connsiteX920" fmla="*/ 7378 w 10785"/>
                <a:gd name="connsiteY920" fmla="*/ 2855 h 10000"/>
                <a:gd name="connsiteX921" fmla="*/ 7378 w 10785"/>
                <a:gd name="connsiteY921" fmla="*/ 2880 h 10000"/>
                <a:gd name="connsiteX922" fmla="*/ 7378 w 10785"/>
                <a:gd name="connsiteY922" fmla="*/ 2906 h 10000"/>
                <a:gd name="connsiteX923" fmla="*/ 7364 w 10785"/>
                <a:gd name="connsiteY923" fmla="*/ 2906 h 10000"/>
                <a:gd name="connsiteX924" fmla="*/ 7346 w 10785"/>
                <a:gd name="connsiteY924" fmla="*/ 2880 h 10000"/>
                <a:gd name="connsiteX925" fmla="*/ 7332 w 10785"/>
                <a:gd name="connsiteY925" fmla="*/ 2915 h 10000"/>
                <a:gd name="connsiteX926" fmla="*/ 7318 w 10785"/>
                <a:gd name="connsiteY926" fmla="*/ 2906 h 10000"/>
                <a:gd name="connsiteX927" fmla="*/ 7313 w 10785"/>
                <a:gd name="connsiteY927" fmla="*/ 2915 h 10000"/>
                <a:gd name="connsiteX928" fmla="*/ 7313 w 10785"/>
                <a:gd name="connsiteY928" fmla="*/ 2906 h 10000"/>
                <a:gd name="connsiteX929" fmla="*/ 7286 w 10785"/>
                <a:gd name="connsiteY929" fmla="*/ 2940 h 10000"/>
                <a:gd name="connsiteX930" fmla="*/ 7276 w 10785"/>
                <a:gd name="connsiteY930" fmla="*/ 2966 h 10000"/>
                <a:gd name="connsiteX931" fmla="*/ 7272 w 10785"/>
                <a:gd name="connsiteY931" fmla="*/ 2983 h 10000"/>
                <a:gd name="connsiteX932" fmla="*/ 7267 w 10785"/>
                <a:gd name="connsiteY932" fmla="*/ 3009 h 10000"/>
                <a:gd name="connsiteX933" fmla="*/ 7253 w 10785"/>
                <a:gd name="connsiteY933" fmla="*/ 3009 h 10000"/>
                <a:gd name="connsiteX934" fmla="*/ 7244 w 10785"/>
                <a:gd name="connsiteY934" fmla="*/ 3017 h 10000"/>
                <a:gd name="connsiteX935" fmla="*/ 7240 w 10785"/>
                <a:gd name="connsiteY935" fmla="*/ 3009 h 10000"/>
                <a:gd name="connsiteX936" fmla="*/ 7230 w 10785"/>
                <a:gd name="connsiteY936" fmla="*/ 2991 h 10000"/>
                <a:gd name="connsiteX937" fmla="*/ 7226 w 10785"/>
                <a:gd name="connsiteY937" fmla="*/ 2983 h 10000"/>
                <a:gd name="connsiteX938" fmla="*/ 7226 w 10785"/>
                <a:gd name="connsiteY938" fmla="*/ 2966 h 10000"/>
                <a:gd name="connsiteX939" fmla="*/ 7212 w 10785"/>
                <a:gd name="connsiteY939" fmla="*/ 2957 h 10000"/>
                <a:gd name="connsiteX940" fmla="*/ 7212 w 10785"/>
                <a:gd name="connsiteY940" fmla="*/ 2932 h 10000"/>
                <a:gd name="connsiteX941" fmla="*/ 7198 w 10785"/>
                <a:gd name="connsiteY941" fmla="*/ 2915 h 10000"/>
                <a:gd name="connsiteX942" fmla="*/ 7194 w 10785"/>
                <a:gd name="connsiteY942" fmla="*/ 2915 h 10000"/>
                <a:gd name="connsiteX943" fmla="*/ 7157 w 10785"/>
                <a:gd name="connsiteY943" fmla="*/ 2880 h 10000"/>
                <a:gd name="connsiteX944" fmla="*/ 7138 w 10785"/>
                <a:gd name="connsiteY944" fmla="*/ 2880 h 10000"/>
                <a:gd name="connsiteX945" fmla="*/ 7120 w 10785"/>
                <a:gd name="connsiteY945" fmla="*/ 2872 h 10000"/>
                <a:gd name="connsiteX946" fmla="*/ 7111 w 10785"/>
                <a:gd name="connsiteY946" fmla="*/ 2846 h 10000"/>
                <a:gd name="connsiteX947" fmla="*/ 7106 w 10785"/>
                <a:gd name="connsiteY947" fmla="*/ 2846 h 10000"/>
                <a:gd name="connsiteX948" fmla="*/ 7092 w 10785"/>
                <a:gd name="connsiteY948" fmla="*/ 2829 h 10000"/>
                <a:gd name="connsiteX949" fmla="*/ 7051 w 10785"/>
                <a:gd name="connsiteY949" fmla="*/ 2829 h 10000"/>
                <a:gd name="connsiteX950" fmla="*/ 7037 w 10785"/>
                <a:gd name="connsiteY950" fmla="*/ 2880 h 10000"/>
                <a:gd name="connsiteX951" fmla="*/ 7037 w 10785"/>
                <a:gd name="connsiteY951" fmla="*/ 2906 h 10000"/>
                <a:gd name="connsiteX952" fmla="*/ 7037 w 10785"/>
                <a:gd name="connsiteY952" fmla="*/ 2932 h 10000"/>
                <a:gd name="connsiteX953" fmla="*/ 7037 w 10785"/>
                <a:gd name="connsiteY953" fmla="*/ 2940 h 10000"/>
                <a:gd name="connsiteX954" fmla="*/ 7023 w 10785"/>
                <a:gd name="connsiteY954" fmla="*/ 2906 h 10000"/>
                <a:gd name="connsiteX955" fmla="*/ 7023 w 10785"/>
                <a:gd name="connsiteY955" fmla="*/ 2915 h 10000"/>
                <a:gd name="connsiteX956" fmla="*/ 6991 w 10785"/>
                <a:gd name="connsiteY956" fmla="*/ 2906 h 10000"/>
                <a:gd name="connsiteX957" fmla="*/ 6977 w 10785"/>
                <a:gd name="connsiteY957" fmla="*/ 2915 h 10000"/>
                <a:gd name="connsiteX958" fmla="*/ 6963 w 10785"/>
                <a:gd name="connsiteY958" fmla="*/ 2915 h 10000"/>
                <a:gd name="connsiteX959" fmla="*/ 6949 w 10785"/>
                <a:gd name="connsiteY959" fmla="*/ 2872 h 10000"/>
                <a:gd name="connsiteX960" fmla="*/ 6935 w 10785"/>
                <a:gd name="connsiteY960" fmla="*/ 2855 h 10000"/>
                <a:gd name="connsiteX961" fmla="*/ 6922 w 10785"/>
                <a:gd name="connsiteY961" fmla="*/ 2803 h 10000"/>
                <a:gd name="connsiteX962" fmla="*/ 6917 w 10785"/>
                <a:gd name="connsiteY962" fmla="*/ 2786 h 10000"/>
                <a:gd name="connsiteX963" fmla="*/ 6903 w 10785"/>
                <a:gd name="connsiteY963" fmla="*/ 2709 h 10000"/>
                <a:gd name="connsiteX964" fmla="*/ 6903 w 10785"/>
                <a:gd name="connsiteY964" fmla="*/ 2692 h 10000"/>
                <a:gd name="connsiteX965" fmla="*/ 6899 w 10785"/>
                <a:gd name="connsiteY965" fmla="*/ 2709 h 10000"/>
                <a:gd name="connsiteX966" fmla="*/ 6857 w 10785"/>
                <a:gd name="connsiteY966" fmla="*/ 2872 h 10000"/>
                <a:gd name="connsiteX967" fmla="*/ 6857 w 10785"/>
                <a:gd name="connsiteY967" fmla="*/ 3009 h 10000"/>
                <a:gd name="connsiteX968" fmla="*/ 6848 w 10785"/>
                <a:gd name="connsiteY968" fmla="*/ 3017 h 10000"/>
                <a:gd name="connsiteX969" fmla="*/ 6839 w 10785"/>
                <a:gd name="connsiteY969" fmla="*/ 3068 h 10000"/>
                <a:gd name="connsiteX970" fmla="*/ 6829 w 10785"/>
                <a:gd name="connsiteY970" fmla="*/ 3077 h 10000"/>
                <a:gd name="connsiteX971" fmla="*/ 6829 w 10785"/>
                <a:gd name="connsiteY971" fmla="*/ 3128 h 10000"/>
                <a:gd name="connsiteX972" fmla="*/ 6816 w 10785"/>
                <a:gd name="connsiteY972" fmla="*/ 3154 h 10000"/>
                <a:gd name="connsiteX973" fmla="*/ 6811 w 10785"/>
                <a:gd name="connsiteY973" fmla="*/ 3179 h 10000"/>
                <a:gd name="connsiteX974" fmla="*/ 6797 w 10785"/>
                <a:gd name="connsiteY974" fmla="*/ 3171 h 10000"/>
                <a:gd name="connsiteX975" fmla="*/ 6783 w 10785"/>
                <a:gd name="connsiteY975" fmla="*/ 3103 h 10000"/>
                <a:gd name="connsiteX976" fmla="*/ 6779 w 10785"/>
                <a:gd name="connsiteY976" fmla="*/ 3094 h 10000"/>
                <a:gd name="connsiteX977" fmla="*/ 6779 w 10785"/>
                <a:gd name="connsiteY977" fmla="*/ 3120 h 10000"/>
                <a:gd name="connsiteX978" fmla="*/ 6770 w 10785"/>
                <a:gd name="connsiteY978" fmla="*/ 3128 h 10000"/>
                <a:gd name="connsiteX979" fmla="*/ 6765 w 10785"/>
                <a:gd name="connsiteY979" fmla="*/ 3103 h 10000"/>
                <a:gd name="connsiteX980" fmla="*/ 6756 w 10785"/>
                <a:gd name="connsiteY980" fmla="*/ 3103 h 10000"/>
                <a:gd name="connsiteX981" fmla="*/ 6742 w 10785"/>
                <a:gd name="connsiteY981" fmla="*/ 3103 h 10000"/>
                <a:gd name="connsiteX982" fmla="*/ 6737 w 10785"/>
                <a:gd name="connsiteY982" fmla="*/ 3077 h 10000"/>
                <a:gd name="connsiteX983" fmla="*/ 6737 w 10785"/>
                <a:gd name="connsiteY983" fmla="*/ 3068 h 10000"/>
                <a:gd name="connsiteX984" fmla="*/ 6728 w 10785"/>
                <a:gd name="connsiteY984" fmla="*/ 3043 h 10000"/>
                <a:gd name="connsiteX985" fmla="*/ 6724 w 10785"/>
                <a:gd name="connsiteY985" fmla="*/ 3051 h 10000"/>
                <a:gd name="connsiteX986" fmla="*/ 6714 w 10785"/>
                <a:gd name="connsiteY986" fmla="*/ 3043 h 10000"/>
                <a:gd name="connsiteX987" fmla="*/ 6710 w 10785"/>
                <a:gd name="connsiteY987" fmla="*/ 3034 h 10000"/>
                <a:gd name="connsiteX988" fmla="*/ 6705 w 10785"/>
                <a:gd name="connsiteY988" fmla="*/ 2983 h 10000"/>
                <a:gd name="connsiteX989" fmla="*/ 6696 w 10785"/>
                <a:gd name="connsiteY989" fmla="*/ 2966 h 10000"/>
                <a:gd name="connsiteX990" fmla="*/ 6691 w 10785"/>
                <a:gd name="connsiteY990" fmla="*/ 2983 h 10000"/>
                <a:gd name="connsiteX991" fmla="*/ 6677 w 10785"/>
                <a:gd name="connsiteY991" fmla="*/ 2897 h 10000"/>
                <a:gd name="connsiteX992" fmla="*/ 6677 w 10785"/>
                <a:gd name="connsiteY992" fmla="*/ 2897 h 10000"/>
                <a:gd name="connsiteX993" fmla="*/ 6677 w 10785"/>
                <a:gd name="connsiteY993" fmla="*/ 2872 h 10000"/>
                <a:gd name="connsiteX994" fmla="*/ 6668 w 10785"/>
                <a:gd name="connsiteY994" fmla="*/ 2821 h 10000"/>
                <a:gd name="connsiteX995" fmla="*/ 6664 w 10785"/>
                <a:gd name="connsiteY995" fmla="*/ 2829 h 10000"/>
                <a:gd name="connsiteX996" fmla="*/ 6654 w 10785"/>
                <a:gd name="connsiteY996" fmla="*/ 2846 h 10000"/>
                <a:gd name="connsiteX997" fmla="*/ 6650 w 10785"/>
                <a:gd name="connsiteY997" fmla="*/ 2829 h 10000"/>
                <a:gd name="connsiteX998" fmla="*/ 6650 w 10785"/>
                <a:gd name="connsiteY998" fmla="*/ 2803 h 10000"/>
                <a:gd name="connsiteX999" fmla="*/ 6650 w 10785"/>
                <a:gd name="connsiteY999" fmla="*/ 2795 h 10000"/>
                <a:gd name="connsiteX1000" fmla="*/ 6641 w 10785"/>
                <a:gd name="connsiteY1000" fmla="*/ 2786 h 10000"/>
                <a:gd name="connsiteX1001" fmla="*/ 6636 w 10785"/>
                <a:gd name="connsiteY1001" fmla="*/ 2735 h 10000"/>
                <a:gd name="connsiteX1002" fmla="*/ 6664 w 10785"/>
                <a:gd name="connsiteY1002" fmla="*/ 2667 h 10000"/>
                <a:gd name="connsiteX1003" fmla="*/ 6668 w 10785"/>
                <a:gd name="connsiteY1003" fmla="*/ 2684 h 10000"/>
                <a:gd name="connsiteX1004" fmla="*/ 6677 w 10785"/>
                <a:gd name="connsiteY1004" fmla="*/ 2667 h 10000"/>
                <a:gd name="connsiteX1005" fmla="*/ 6668 w 10785"/>
                <a:gd name="connsiteY1005" fmla="*/ 2667 h 10000"/>
                <a:gd name="connsiteX1006" fmla="*/ 6668 w 10785"/>
                <a:gd name="connsiteY1006" fmla="*/ 2650 h 10000"/>
                <a:gd name="connsiteX1007" fmla="*/ 6682 w 10785"/>
                <a:gd name="connsiteY1007" fmla="*/ 2650 h 10000"/>
                <a:gd name="connsiteX1008" fmla="*/ 6691 w 10785"/>
                <a:gd name="connsiteY1008" fmla="*/ 2624 h 10000"/>
                <a:gd name="connsiteX1009" fmla="*/ 6682 w 10785"/>
                <a:gd name="connsiteY1009" fmla="*/ 2632 h 10000"/>
                <a:gd name="connsiteX1010" fmla="*/ 6682 w 10785"/>
                <a:gd name="connsiteY1010" fmla="*/ 2624 h 10000"/>
                <a:gd name="connsiteX1011" fmla="*/ 6691 w 10785"/>
                <a:gd name="connsiteY1011" fmla="*/ 2607 h 10000"/>
                <a:gd name="connsiteX1012" fmla="*/ 6691 w 10785"/>
                <a:gd name="connsiteY1012" fmla="*/ 2598 h 10000"/>
                <a:gd name="connsiteX1013" fmla="*/ 6691 w 10785"/>
                <a:gd name="connsiteY1013" fmla="*/ 2581 h 10000"/>
                <a:gd name="connsiteX1014" fmla="*/ 6696 w 10785"/>
                <a:gd name="connsiteY1014" fmla="*/ 2530 h 10000"/>
                <a:gd name="connsiteX1015" fmla="*/ 6677 w 10785"/>
                <a:gd name="connsiteY1015" fmla="*/ 2513 h 10000"/>
                <a:gd name="connsiteX1016" fmla="*/ 6677 w 10785"/>
                <a:gd name="connsiteY1016" fmla="*/ 2496 h 10000"/>
                <a:gd name="connsiteX1017" fmla="*/ 6682 w 10785"/>
                <a:gd name="connsiteY1017" fmla="*/ 2470 h 10000"/>
                <a:gd name="connsiteX1018" fmla="*/ 6668 w 10785"/>
                <a:gd name="connsiteY1018" fmla="*/ 2462 h 10000"/>
                <a:gd name="connsiteX1019" fmla="*/ 6677 w 10785"/>
                <a:gd name="connsiteY1019" fmla="*/ 2436 h 10000"/>
                <a:gd name="connsiteX1020" fmla="*/ 6682 w 10785"/>
                <a:gd name="connsiteY1020" fmla="*/ 2419 h 10000"/>
                <a:gd name="connsiteX1021" fmla="*/ 6682 w 10785"/>
                <a:gd name="connsiteY1021" fmla="*/ 2393 h 10000"/>
                <a:gd name="connsiteX1022" fmla="*/ 6682 w 10785"/>
                <a:gd name="connsiteY1022" fmla="*/ 2385 h 10000"/>
                <a:gd name="connsiteX1023" fmla="*/ 6682 w 10785"/>
                <a:gd name="connsiteY1023" fmla="*/ 2385 h 10000"/>
                <a:gd name="connsiteX1024" fmla="*/ 6677 w 10785"/>
                <a:gd name="connsiteY1024" fmla="*/ 2376 h 10000"/>
                <a:gd name="connsiteX1025" fmla="*/ 6682 w 10785"/>
                <a:gd name="connsiteY1025" fmla="*/ 2359 h 10000"/>
                <a:gd name="connsiteX1026" fmla="*/ 6677 w 10785"/>
                <a:gd name="connsiteY1026" fmla="*/ 2333 h 10000"/>
                <a:gd name="connsiteX1027" fmla="*/ 6691 w 10785"/>
                <a:gd name="connsiteY1027" fmla="*/ 2333 h 10000"/>
                <a:gd name="connsiteX1028" fmla="*/ 6691 w 10785"/>
                <a:gd name="connsiteY1028" fmla="*/ 2325 h 10000"/>
                <a:gd name="connsiteX1029" fmla="*/ 6691 w 10785"/>
                <a:gd name="connsiteY1029" fmla="*/ 2308 h 10000"/>
                <a:gd name="connsiteX1030" fmla="*/ 6691 w 10785"/>
                <a:gd name="connsiteY1030" fmla="*/ 2299 h 10000"/>
                <a:gd name="connsiteX1031" fmla="*/ 6691 w 10785"/>
                <a:gd name="connsiteY1031" fmla="*/ 2282 h 10000"/>
                <a:gd name="connsiteX1032" fmla="*/ 6691 w 10785"/>
                <a:gd name="connsiteY1032" fmla="*/ 2274 h 10000"/>
                <a:gd name="connsiteX1033" fmla="*/ 6668 w 10785"/>
                <a:gd name="connsiteY1033" fmla="*/ 2248 h 10000"/>
                <a:gd name="connsiteX1034" fmla="*/ 6664 w 10785"/>
                <a:gd name="connsiteY1034" fmla="*/ 2222 h 10000"/>
                <a:gd name="connsiteX1035" fmla="*/ 6654 w 10785"/>
                <a:gd name="connsiteY1035" fmla="*/ 2214 h 10000"/>
                <a:gd name="connsiteX1036" fmla="*/ 6654 w 10785"/>
                <a:gd name="connsiteY1036" fmla="*/ 2188 h 10000"/>
                <a:gd name="connsiteX1037" fmla="*/ 6622 w 10785"/>
                <a:gd name="connsiteY1037" fmla="*/ 2162 h 10000"/>
                <a:gd name="connsiteX1038" fmla="*/ 6631 w 10785"/>
                <a:gd name="connsiteY1038" fmla="*/ 2145 h 10000"/>
                <a:gd name="connsiteX1039" fmla="*/ 6622 w 10785"/>
                <a:gd name="connsiteY1039" fmla="*/ 2120 h 10000"/>
                <a:gd name="connsiteX1040" fmla="*/ 6608 w 10785"/>
                <a:gd name="connsiteY1040" fmla="*/ 2120 h 10000"/>
                <a:gd name="connsiteX1041" fmla="*/ 6604 w 10785"/>
                <a:gd name="connsiteY1041" fmla="*/ 2111 h 10000"/>
                <a:gd name="connsiteX1042" fmla="*/ 6608 w 10785"/>
                <a:gd name="connsiteY1042" fmla="*/ 2111 h 10000"/>
                <a:gd name="connsiteX1043" fmla="*/ 6604 w 10785"/>
                <a:gd name="connsiteY1043" fmla="*/ 2085 h 10000"/>
                <a:gd name="connsiteX1044" fmla="*/ 6581 w 10785"/>
                <a:gd name="connsiteY1044" fmla="*/ 2077 h 10000"/>
                <a:gd name="connsiteX1045" fmla="*/ 6571 w 10785"/>
                <a:gd name="connsiteY1045" fmla="*/ 2085 h 10000"/>
                <a:gd name="connsiteX1046" fmla="*/ 6548 w 10785"/>
                <a:gd name="connsiteY1046" fmla="*/ 2077 h 10000"/>
                <a:gd name="connsiteX1047" fmla="*/ 6530 w 10785"/>
                <a:gd name="connsiteY1047" fmla="*/ 2060 h 10000"/>
                <a:gd name="connsiteX1048" fmla="*/ 6521 w 10785"/>
                <a:gd name="connsiteY1048" fmla="*/ 2060 h 10000"/>
                <a:gd name="connsiteX1049" fmla="*/ 6521 w 10785"/>
                <a:gd name="connsiteY1049" fmla="*/ 2085 h 10000"/>
                <a:gd name="connsiteX1050" fmla="*/ 6516 w 10785"/>
                <a:gd name="connsiteY1050" fmla="*/ 2085 h 10000"/>
                <a:gd name="connsiteX1051" fmla="*/ 6502 w 10785"/>
                <a:gd name="connsiteY1051" fmla="*/ 2111 h 10000"/>
                <a:gd name="connsiteX1052" fmla="*/ 6498 w 10785"/>
                <a:gd name="connsiteY1052" fmla="*/ 2111 h 10000"/>
                <a:gd name="connsiteX1053" fmla="*/ 6498 w 10785"/>
                <a:gd name="connsiteY1053" fmla="*/ 2103 h 10000"/>
                <a:gd name="connsiteX1054" fmla="*/ 6475 w 10785"/>
                <a:gd name="connsiteY1054" fmla="*/ 2051 h 10000"/>
                <a:gd name="connsiteX1055" fmla="*/ 6470 w 10785"/>
                <a:gd name="connsiteY1055" fmla="*/ 2060 h 10000"/>
                <a:gd name="connsiteX1056" fmla="*/ 6456 w 10785"/>
                <a:gd name="connsiteY1056" fmla="*/ 2051 h 10000"/>
                <a:gd name="connsiteX1057" fmla="*/ 6447 w 10785"/>
                <a:gd name="connsiteY1057" fmla="*/ 2051 h 10000"/>
                <a:gd name="connsiteX1058" fmla="*/ 6433 w 10785"/>
                <a:gd name="connsiteY1058" fmla="*/ 2026 h 10000"/>
                <a:gd name="connsiteX1059" fmla="*/ 6433 w 10785"/>
                <a:gd name="connsiteY1059" fmla="*/ 2034 h 10000"/>
                <a:gd name="connsiteX1060" fmla="*/ 6429 w 10785"/>
                <a:gd name="connsiteY1060" fmla="*/ 2026 h 10000"/>
                <a:gd name="connsiteX1061" fmla="*/ 6424 w 10785"/>
                <a:gd name="connsiteY1061" fmla="*/ 2034 h 10000"/>
                <a:gd name="connsiteX1062" fmla="*/ 6410 w 10785"/>
                <a:gd name="connsiteY1062" fmla="*/ 2026 h 10000"/>
                <a:gd name="connsiteX1063" fmla="*/ 6410 w 10785"/>
                <a:gd name="connsiteY1063" fmla="*/ 1991 h 10000"/>
                <a:gd name="connsiteX1064" fmla="*/ 6401 w 10785"/>
                <a:gd name="connsiteY1064" fmla="*/ 1991 h 10000"/>
                <a:gd name="connsiteX1065" fmla="*/ 6396 w 10785"/>
                <a:gd name="connsiteY1065" fmla="*/ 2000 h 10000"/>
                <a:gd name="connsiteX1066" fmla="*/ 6382 w 10785"/>
                <a:gd name="connsiteY1066" fmla="*/ 1966 h 10000"/>
                <a:gd name="connsiteX1067" fmla="*/ 6373 w 10785"/>
                <a:gd name="connsiteY1067" fmla="*/ 1974 h 10000"/>
                <a:gd name="connsiteX1068" fmla="*/ 6369 w 10785"/>
                <a:gd name="connsiteY1068" fmla="*/ 1966 h 10000"/>
                <a:gd name="connsiteX1069" fmla="*/ 6341 w 10785"/>
                <a:gd name="connsiteY1069" fmla="*/ 1949 h 10000"/>
                <a:gd name="connsiteX1070" fmla="*/ 6327 w 10785"/>
                <a:gd name="connsiteY1070" fmla="*/ 1923 h 10000"/>
                <a:gd name="connsiteX1071" fmla="*/ 6323 w 10785"/>
                <a:gd name="connsiteY1071" fmla="*/ 1923 h 10000"/>
                <a:gd name="connsiteX1072" fmla="*/ 6323 w 10785"/>
                <a:gd name="connsiteY1072" fmla="*/ 1966 h 10000"/>
                <a:gd name="connsiteX1073" fmla="*/ 6323 w 10785"/>
                <a:gd name="connsiteY1073" fmla="*/ 1991 h 10000"/>
                <a:gd name="connsiteX1074" fmla="*/ 6313 w 10785"/>
                <a:gd name="connsiteY1074" fmla="*/ 1991 h 10000"/>
                <a:gd name="connsiteX1075" fmla="*/ 6300 w 10785"/>
                <a:gd name="connsiteY1075" fmla="*/ 1991 h 10000"/>
                <a:gd name="connsiteX1076" fmla="*/ 6290 w 10785"/>
                <a:gd name="connsiteY1076" fmla="*/ 1949 h 10000"/>
                <a:gd name="connsiteX1077" fmla="*/ 6276 w 10785"/>
                <a:gd name="connsiteY1077" fmla="*/ 2103 h 10000"/>
                <a:gd name="connsiteX1078" fmla="*/ 6281 w 10785"/>
                <a:gd name="connsiteY1078" fmla="*/ 2103 h 10000"/>
                <a:gd name="connsiteX1079" fmla="*/ 6276 w 10785"/>
                <a:gd name="connsiteY1079" fmla="*/ 2111 h 10000"/>
                <a:gd name="connsiteX1080" fmla="*/ 6276 w 10785"/>
                <a:gd name="connsiteY1080" fmla="*/ 2120 h 10000"/>
                <a:gd name="connsiteX1081" fmla="*/ 6295 w 10785"/>
                <a:gd name="connsiteY1081" fmla="*/ 2239 h 10000"/>
                <a:gd name="connsiteX1082" fmla="*/ 6290 w 10785"/>
                <a:gd name="connsiteY1082" fmla="*/ 2248 h 10000"/>
                <a:gd name="connsiteX1083" fmla="*/ 6281 w 10785"/>
                <a:gd name="connsiteY1083" fmla="*/ 2274 h 10000"/>
                <a:gd name="connsiteX1084" fmla="*/ 6249 w 10785"/>
                <a:gd name="connsiteY1084" fmla="*/ 2274 h 10000"/>
                <a:gd name="connsiteX1085" fmla="*/ 6226 w 10785"/>
                <a:gd name="connsiteY1085" fmla="*/ 2308 h 10000"/>
                <a:gd name="connsiteX1086" fmla="*/ 6221 w 10785"/>
                <a:gd name="connsiteY1086" fmla="*/ 2299 h 10000"/>
                <a:gd name="connsiteX1087" fmla="*/ 6221 w 10785"/>
                <a:gd name="connsiteY1087" fmla="*/ 2308 h 10000"/>
                <a:gd name="connsiteX1088" fmla="*/ 6217 w 10785"/>
                <a:gd name="connsiteY1088" fmla="*/ 2299 h 10000"/>
                <a:gd name="connsiteX1089" fmla="*/ 6194 w 10785"/>
                <a:gd name="connsiteY1089" fmla="*/ 2308 h 10000"/>
                <a:gd name="connsiteX1090" fmla="*/ 6180 w 10785"/>
                <a:gd name="connsiteY1090" fmla="*/ 2299 h 10000"/>
                <a:gd name="connsiteX1091" fmla="*/ 6143 w 10785"/>
                <a:gd name="connsiteY1091" fmla="*/ 2308 h 10000"/>
                <a:gd name="connsiteX1092" fmla="*/ 6134 w 10785"/>
                <a:gd name="connsiteY1092" fmla="*/ 2325 h 10000"/>
                <a:gd name="connsiteX1093" fmla="*/ 6115 w 10785"/>
                <a:gd name="connsiteY1093" fmla="*/ 2282 h 10000"/>
                <a:gd name="connsiteX1094" fmla="*/ 6069 w 10785"/>
                <a:gd name="connsiteY1094" fmla="*/ 2274 h 10000"/>
                <a:gd name="connsiteX1095" fmla="*/ 6069 w 10785"/>
                <a:gd name="connsiteY1095" fmla="*/ 2282 h 10000"/>
                <a:gd name="connsiteX1096" fmla="*/ 6060 w 10785"/>
                <a:gd name="connsiteY1096" fmla="*/ 2299 h 10000"/>
                <a:gd name="connsiteX1097" fmla="*/ 5972 w 10785"/>
                <a:gd name="connsiteY1097" fmla="*/ 2214 h 10000"/>
                <a:gd name="connsiteX1098" fmla="*/ 5968 w 10785"/>
                <a:gd name="connsiteY1098" fmla="*/ 2197 h 10000"/>
                <a:gd name="connsiteX1099" fmla="*/ 5968 w 10785"/>
                <a:gd name="connsiteY1099" fmla="*/ 2171 h 10000"/>
                <a:gd name="connsiteX1100" fmla="*/ 5968 w 10785"/>
                <a:gd name="connsiteY1100" fmla="*/ 2162 h 10000"/>
                <a:gd name="connsiteX1101" fmla="*/ 5968 w 10785"/>
                <a:gd name="connsiteY1101" fmla="*/ 2120 h 10000"/>
                <a:gd name="connsiteX1102" fmla="*/ 5968 w 10785"/>
                <a:gd name="connsiteY1102" fmla="*/ 2111 h 10000"/>
                <a:gd name="connsiteX1103" fmla="*/ 5972 w 10785"/>
                <a:gd name="connsiteY1103" fmla="*/ 2103 h 10000"/>
                <a:gd name="connsiteX1104" fmla="*/ 5986 w 10785"/>
                <a:gd name="connsiteY1104" fmla="*/ 2103 h 10000"/>
                <a:gd name="connsiteX1105" fmla="*/ 5986 w 10785"/>
                <a:gd name="connsiteY1105" fmla="*/ 2085 h 10000"/>
                <a:gd name="connsiteX1106" fmla="*/ 5995 w 10785"/>
                <a:gd name="connsiteY1106" fmla="*/ 2085 h 10000"/>
                <a:gd name="connsiteX1107" fmla="*/ 5995 w 10785"/>
                <a:gd name="connsiteY1107" fmla="*/ 2077 h 10000"/>
                <a:gd name="connsiteX1108" fmla="*/ 5986 w 10785"/>
                <a:gd name="connsiteY1108" fmla="*/ 2060 h 10000"/>
                <a:gd name="connsiteX1109" fmla="*/ 5954 w 10785"/>
                <a:gd name="connsiteY1109" fmla="*/ 2060 h 10000"/>
                <a:gd name="connsiteX1110" fmla="*/ 5940 w 10785"/>
                <a:gd name="connsiteY1110" fmla="*/ 2051 h 10000"/>
                <a:gd name="connsiteX1111" fmla="*/ 5922 w 10785"/>
                <a:gd name="connsiteY1111" fmla="*/ 2060 h 10000"/>
                <a:gd name="connsiteX1112" fmla="*/ 5885 w 10785"/>
                <a:gd name="connsiteY1112" fmla="*/ 2051 h 10000"/>
                <a:gd name="connsiteX1113" fmla="*/ 5876 w 10785"/>
                <a:gd name="connsiteY1113" fmla="*/ 2026 h 10000"/>
                <a:gd name="connsiteX1114" fmla="*/ 5862 w 10785"/>
                <a:gd name="connsiteY1114" fmla="*/ 2026 h 10000"/>
                <a:gd name="connsiteX1115" fmla="*/ 5848 w 10785"/>
                <a:gd name="connsiteY1115" fmla="*/ 2026 h 10000"/>
                <a:gd name="connsiteX1116" fmla="*/ 5825 w 10785"/>
                <a:gd name="connsiteY1116" fmla="*/ 2026 h 10000"/>
                <a:gd name="connsiteX1117" fmla="*/ 5788 w 10785"/>
                <a:gd name="connsiteY1117" fmla="*/ 1991 h 10000"/>
                <a:gd name="connsiteX1118" fmla="*/ 5760 w 10785"/>
                <a:gd name="connsiteY1118" fmla="*/ 2000 h 10000"/>
                <a:gd name="connsiteX1119" fmla="*/ 5760 w 10785"/>
                <a:gd name="connsiteY1119" fmla="*/ 2026 h 10000"/>
                <a:gd name="connsiteX1120" fmla="*/ 5714 w 10785"/>
                <a:gd name="connsiteY1120" fmla="*/ 2051 h 10000"/>
                <a:gd name="connsiteX1121" fmla="*/ 5687 w 10785"/>
                <a:gd name="connsiteY1121" fmla="*/ 2034 h 10000"/>
                <a:gd name="connsiteX1122" fmla="*/ 5645 w 10785"/>
                <a:gd name="connsiteY1122" fmla="*/ 2077 h 10000"/>
                <a:gd name="connsiteX1123" fmla="*/ 5664 w 10785"/>
                <a:gd name="connsiteY1123" fmla="*/ 2120 h 10000"/>
                <a:gd name="connsiteX1124" fmla="*/ 5664 w 10785"/>
                <a:gd name="connsiteY1124" fmla="*/ 2162 h 10000"/>
                <a:gd name="connsiteX1125" fmla="*/ 5631 w 10785"/>
                <a:gd name="connsiteY1125" fmla="*/ 2197 h 10000"/>
                <a:gd name="connsiteX1126" fmla="*/ 5618 w 10785"/>
                <a:gd name="connsiteY1126" fmla="*/ 2188 h 10000"/>
                <a:gd name="connsiteX1127" fmla="*/ 5618 w 10785"/>
                <a:gd name="connsiteY1127" fmla="*/ 2171 h 10000"/>
                <a:gd name="connsiteX1128" fmla="*/ 5641 w 10785"/>
                <a:gd name="connsiteY1128" fmla="*/ 2171 h 10000"/>
                <a:gd name="connsiteX1129" fmla="*/ 5641 w 10785"/>
                <a:gd name="connsiteY1129" fmla="*/ 2162 h 10000"/>
                <a:gd name="connsiteX1130" fmla="*/ 5627 w 10785"/>
                <a:gd name="connsiteY1130" fmla="*/ 2145 h 10000"/>
                <a:gd name="connsiteX1131" fmla="*/ 5627 w 10785"/>
                <a:gd name="connsiteY1131" fmla="*/ 2120 h 10000"/>
                <a:gd name="connsiteX1132" fmla="*/ 5618 w 10785"/>
                <a:gd name="connsiteY1132" fmla="*/ 2111 h 10000"/>
                <a:gd name="connsiteX1133" fmla="*/ 5631 w 10785"/>
                <a:gd name="connsiteY1133" fmla="*/ 2051 h 10000"/>
                <a:gd name="connsiteX1134" fmla="*/ 5631 w 10785"/>
                <a:gd name="connsiteY1134" fmla="*/ 2026 h 10000"/>
                <a:gd name="connsiteX1135" fmla="*/ 5627 w 10785"/>
                <a:gd name="connsiteY1135" fmla="*/ 1991 h 10000"/>
                <a:gd name="connsiteX1136" fmla="*/ 5618 w 10785"/>
                <a:gd name="connsiteY1136" fmla="*/ 1974 h 10000"/>
                <a:gd name="connsiteX1137" fmla="*/ 5618 w 10785"/>
                <a:gd name="connsiteY1137" fmla="*/ 1940 h 10000"/>
                <a:gd name="connsiteX1138" fmla="*/ 5594 w 10785"/>
                <a:gd name="connsiteY1138" fmla="*/ 1855 h 10000"/>
                <a:gd name="connsiteX1139" fmla="*/ 5599 w 10785"/>
                <a:gd name="connsiteY1139" fmla="*/ 1915 h 10000"/>
                <a:gd name="connsiteX1140" fmla="*/ 5599 w 10785"/>
                <a:gd name="connsiteY1140" fmla="*/ 1949 h 10000"/>
                <a:gd name="connsiteX1141" fmla="*/ 5594 w 10785"/>
                <a:gd name="connsiteY1141" fmla="*/ 1991 h 10000"/>
                <a:gd name="connsiteX1142" fmla="*/ 5571 w 10785"/>
                <a:gd name="connsiteY1142" fmla="*/ 2000 h 10000"/>
                <a:gd name="connsiteX1143" fmla="*/ 5530 w 10785"/>
                <a:gd name="connsiteY1143" fmla="*/ 1991 h 10000"/>
                <a:gd name="connsiteX1144" fmla="*/ 5525 w 10785"/>
                <a:gd name="connsiteY1144" fmla="*/ 2000 h 10000"/>
                <a:gd name="connsiteX1145" fmla="*/ 5521 w 10785"/>
                <a:gd name="connsiteY1145" fmla="*/ 1991 h 10000"/>
                <a:gd name="connsiteX1146" fmla="*/ 5498 w 10785"/>
                <a:gd name="connsiteY1146" fmla="*/ 1949 h 10000"/>
                <a:gd name="connsiteX1147" fmla="*/ 5493 w 10785"/>
                <a:gd name="connsiteY1147" fmla="*/ 1889 h 10000"/>
                <a:gd name="connsiteX1148" fmla="*/ 5493 w 10785"/>
                <a:gd name="connsiteY1148" fmla="*/ 1863 h 10000"/>
                <a:gd name="connsiteX1149" fmla="*/ 5498 w 10785"/>
                <a:gd name="connsiteY1149" fmla="*/ 1889 h 10000"/>
                <a:gd name="connsiteX1150" fmla="*/ 5512 w 10785"/>
                <a:gd name="connsiteY1150" fmla="*/ 1855 h 10000"/>
                <a:gd name="connsiteX1151" fmla="*/ 5512 w 10785"/>
                <a:gd name="connsiteY1151" fmla="*/ 1838 h 10000"/>
                <a:gd name="connsiteX1152" fmla="*/ 5479 w 10785"/>
                <a:gd name="connsiteY1152" fmla="*/ 1855 h 10000"/>
                <a:gd name="connsiteX1153" fmla="*/ 5470 w 10785"/>
                <a:gd name="connsiteY1153" fmla="*/ 1872 h 10000"/>
                <a:gd name="connsiteX1154" fmla="*/ 5470 w 10785"/>
                <a:gd name="connsiteY1154" fmla="*/ 1889 h 10000"/>
                <a:gd name="connsiteX1155" fmla="*/ 5465 w 10785"/>
                <a:gd name="connsiteY1155" fmla="*/ 1897 h 10000"/>
                <a:gd name="connsiteX1156" fmla="*/ 5456 w 10785"/>
                <a:gd name="connsiteY1156" fmla="*/ 1872 h 10000"/>
                <a:gd name="connsiteX1157" fmla="*/ 5447 w 10785"/>
                <a:gd name="connsiteY1157" fmla="*/ 1872 h 10000"/>
                <a:gd name="connsiteX1158" fmla="*/ 5433 w 10785"/>
                <a:gd name="connsiteY1158" fmla="*/ 1855 h 10000"/>
                <a:gd name="connsiteX1159" fmla="*/ 5396 w 10785"/>
                <a:gd name="connsiteY1159" fmla="*/ 1863 h 10000"/>
                <a:gd name="connsiteX1160" fmla="*/ 5396 w 10785"/>
                <a:gd name="connsiteY1160" fmla="*/ 1897 h 10000"/>
                <a:gd name="connsiteX1161" fmla="*/ 5378 w 10785"/>
                <a:gd name="connsiteY1161" fmla="*/ 1949 h 10000"/>
                <a:gd name="connsiteX1162" fmla="*/ 5378 w 10785"/>
                <a:gd name="connsiteY1162" fmla="*/ 1966 h 10000"/>
                <a:gd name="connsiteX1163" fmla="*/ 5392 w 10785"/>
                <a:gd name="connsiteY1163" fmla="*/ 2026 h 10000"/>
                <a:gd name="connsiteX1164" fmla="*/ 5396 w 10785"/>
                <a:gd name="connsiteY1164" fmla="*/ 2026 h 10000"/>
                <a:gd name="connsiteX1165" fmla="*/ 5392 w 10785"/>
                <a:gd name="connsiteY1165" fmla="*/ 2009 h 10000"/>
                <a:gd name="connsiteX1166" fmla="*/ 5392 w 10785"/>
                <a:gd name="connsiteY1166" fmla="*/ 2000 h 10000"/>
                <a:gd name="connsiteX1167" fmla="*/ 5396 w 10785"/>
                <a:gd name="connsiteY1167" fmla="*/ 2009 h 10000"/>
                <a:gd name="connsiteX1168" fmla="*/ 5424 w 10785"/>
                <a:gd name="connsiteY1168" fmla="*/ 2009 h 10000"/>
                <a:gd name="connsiteX1169" fmla="*/ 5433 w 10785"/>
                <a:gd name="connsiteY1169" fmla="*/ 1991 h 10000"/>
                <a:gd name="connsiteX1170" fmla="*/ 5447 w 10785"/>
                <a:gd name="connsiteY1170" fmla="*/ 1974 h 10000"/>
                <a:gd name="connsiteX1171" fmla="*/ 5452 w 10785"/>
                <a:gd name="connsiteY1171" fmla="*/ 1966 h 10000"/>
                <a:gd name="connsiteX1172" fmla="*/ 5456 w 10785"/>
                <a:gd name="connsiteY1172" fmla="*/ 1966 h 10000"/>
                <a:gd name="connsiteX1173" fmla="*/ 5465 w 10785"/>
                <a:gd name="connsiteY1173" fmla="*/ 2009 h 10000"/>
                <a:gd name="connsiteX1174" fmla="*/ 5433 w 10785"/>
                <a:gd name="connsiteY1174" fmla="*/ 2034 h 10000"/>
                <a:gd name="connsiteX1175" fmla="*/ 5424 w 10785"/>
                <a:gd name="connsiteY1175" fmla="*/ 2060 h 10000"/>
                <a:gd name="connsiteX1176" fmla="*/ 5419 w 10785"/>
                <a:gd name="connsiteY1176" fmla="*/ 2060 h 10000"/>
                <a:gd name="connsiteX1177" fmla="*/ 5392 w 10785"/>
                <a:gd name="connsiteY1177" fmla="*/ 2111 h 10000"/>
                <a:gd name="connsiteX1178" fmla="*/ 5378 w 10785"/>
                <a:gd name="connsiteY1178" fmla="*/ 2111 h 10000"/>
                <a:gd name="connsiteX1179" fmla="*/ 5350 w 10785"/>
                <a:gd name="connsiteY1179" fmla="*/ 2060 h 10000"/>
                <a:gd name="connsiteX1180" fmla="*/ 5373 w 10785"/>
                <a:gd name="connsiteY1180" fmla="*/ 2111 h 10000"/>
                <a:gd name="connsiteX1181" fmla="*/ 5364 w 10785"/>
                <a:gd name="connsiteY1181" fmla="*/ 2111 h 10000"/>
                <a:gd name="connsiteX1182" fmla="*/ 5359 w 10785"/>
                <a:gd name="connsiteY1182" fmla="*/ 2103 h 10000"/>
                <a:gd name="connsiteX1183" fmla="*/ 5359 w 10785"/>
                <a:gd name="connsiteY1183" fmla="*/ 2120 h 10000"/>
                <a:gd name="connsiteX1184" fmla="*/ 5359 w 10785"/>
                <a:gd name="connsiteY1184" fmla="*/ 2137 h 10000"/>
                <a:gd name="connsiteX1185" fmla="*/ 5313 w 10785"/>
                <a:gd name="connsiteY1185" fmla="*/ 2162 h 10000"/>
                <a:gd name="connsiteX1186" fmla="*/ 5300 w 10785"/>
                <a:gd name="connsiteY1186" fmla="*/ 2162 h 10000"/>
                <a:gd name="connsiteX1187" fmla="*/ 5300 w 10785"/>
                <a:gd name="connsiteY1187" fmla="*/ 2171 h 10000"/>
                <a:gd name="connsiteX1188" fmla="*/ 5300 w 10785"/>
                <a:gd name="connsiteY1188" fmla="*/ 2197 h 10000"/>
                <a:gd name="connsiteX1189" fmla="*/ 5276 w 10785"/>
                <a:gd name="connsiteY1189" fmla="*/ 2188 h 10000"/>
                <a:gd name="connsiteX1190" fmla="*/ 5249 w 10785"/>
                <a:gd name="connsiteY1190" fmla="*/ 2222 h 10000"/>
                <a:gd name="connsiteX1191" fmla="*/ 5249 w 10785"/>
                <a:gd name="connsiteY1191" fmla="*/ 2222 h 10000"/>
                <a:gd name="connsiteX1192" fmla="*/ 5217 w 10785"/>
                <a:gd name="connsiteY1192" fmla="*/ 2214 h 10000"/>
                <a:gd name="connsiteX1193" fmla="*/ 5203 w 10785"/>
                <a:gd name="connsiteY1193" fmla="*/ 2239 h 10000"/>
                <a:gd name="connsiteX1194" fmla="*/ 5171 w 10785"/>
                <a:gd name="connsiteY1194" fmla="*/ 2214 h 10000"/>
                <a:gd name="connsiteX1195" fmla="*/ 5157 w 10785"/>
                <a:gd name="connsiteY1195" fmla="*/ 2239 h 10000"/>
                <a:gd name="connsiteX1196" fmla="*/ 5166 w 10785"/>
                <a:gd name="connsiteY1196" fmla="*/ 2256 h 10000"/>
                <a:gd name="connsiteX1197" fmla="*/ 5171 w 10785"/>
                <a:gd name="connsiteY1197" fmla="*/ 2308 h 10000"/>
                <a:gd name="connsiteX1198" fmla="*/ 5212 w 10785"/>
                <a:gd name="connsiteY1198" fmla="*/ 2350 h 10000"/>
                <a:gd name="connsiteX1199" fmla="*/ 5203 w 10785"/>
                <a:gd name="connsiteY1199" fmla="*/ 2350 h 10000"/>
                <a:gd name="connsiteX1200" fmla="*/ 5166 w 10785"/>
                <a:gd name="connsiteY1200" fmla="*/ 2325 h 10000"/>
                <a:gd name="connsiteX1201" fmla="*/ 5152 w 10785"/>
                <a:gd name="connsiteY1201" fmla="*/ 2308 h 10000"/>
                <a:gd name="connsiteX1202" fmla="*/ 5143 w 10785"/>
                <a:gd name="connsiteY1202" fmla="*/ 2333 h 10000"/>
                <a:gd name="connsiteX1203" fmla="*/ 5138 w 10785"/>
                <a:gd name="connsiteY1203" fmla="*/ 2333 h 10000"/>
                <a:gd name="connsiteX1204" fmla="*/ 5124 w 10785"/>
                <a:gd name="connsiteY1204" fmla="*/ 2376 h 10000"/>
                <a:gd name="connsiteX1205" fmla="*/ 5115 w 10785"/>
                <a:gd name="connsiteY1205" fmla="*/ 2385 h 10000"/>
                <a:gd name="connsiteX1206" fmla="*/ 5106 w 10785"/>
                <a:gd name="connsiteY1206" fmla="*/ 2385 h 10000"/>
                <a:gd name="connsiteX1207" fmla="*/ 5055 w 10785"/>
                <a:gd name="connsiteY1207" fmla="*/ 2470 h 10000"/>
                <a:gd name="connsiteX1208" fmla="*/ 5065 w 10785"/>
                <a:gd name="connsiteY1208" fmla="*/ 2462 h 10000"/>
                <a:gd name="connsiteX1209" fmla="*/ 5055 w 10785"/>
                <a:gd name="connsiteY1209" fmla="*/ 2444 h 10000"/>
                <a:gd name="connsiteX1210" fmla="*/ 5041 w 10785"/>
                <a:gd name="connsiteY1210" fmla="*/ 2462 h 10000"/>
                <a:gd name="connsiteX1211" fmla="*/ 5037 w 10785"/>
                <a:gd name="connsiteY1211" fmla="*/ 2470 h 10000"/>
                <a:gd name="connsiteX1212" fmla="*/ 5032 w 10785"/>
                <a:gd name="connsiteY1212" fmla="*/ 2470 h 10000"/>
                <a:gd name="connsiteX1213" fmla="*/ 5032 w 10785"/>
                <a:gd name="connsiteY1213" fmla="*/ 2444 h 10000"/>
                <a:gd name="connsiteX1214" fmla="*/ 5055 w 10785"/>
                <a:gd name="connsiteY1214" fmla="*/ 2410 h 10000"/>
                <a:gd name="connsiteX1215" fmla="*/ 5065 w 10785"/>
                <a:gd name="connsiteY1215" fmla="*/ 2393 h 10000"/>
                <a:gd name="connsiteX1216" fmla="*/ 5069 w 10785"/>
                <a:gd name="connsiteY1216" fmla="*/ 2385 h 10000"/>
                <a:gd name="connsiteX1217" fmla="*/ 5083 w 10785"/>
                <a:gd name="connsiteY1217" fmla="*/ 2376 h 10000"/>
                <a:gd name="connsiteX1218" fmla="*/ 5097 w 10785"/>
                <a:gd name="connsiteY1218" fmla="*/ 2376 h 10000"/>
                <a:gd name="connsiteX1219" fmla="*/ 5124 w 10785"/>
                <a:gd name="connsiteY1219" fmla="*/ 2325 h 10000"/>
                <a:gd name="connsiteX1220" fmla="*/ 5143 w 10785"/>
                <a:gd name="connsiteY1220" fmla="*/ 2248 h 10000"/>
                <a:gd name="connsiteX1221" fmla="*/ 5152 w 10785"/>
                <a:gd name="connsiteY1221" fmla="*/ 2239 h 10000"/>
                <a:gd name="connsiteX1222" fmla="*/ 5166 w 10785"/>
                <a:gd name="connsiteY1222" fmla="*/ 2162 h 10000"/>
                <a:gd name="connsiteX1223" fmla="*/ 5171 w 10785"/>
                <a:gd name="connsiteY1223" fmla="*/ 2171 h 10000"/>
                <a:gd name="connsiteX1224" fmla="*/ 5198 w 10785"/>
                <a:gd name="connsiteY1224" fmla="*/ 2145 h 10000"/>
                <a:gd name="connsiteX1225" fmla="*/ 5203 w 10785"/>
                <a:gd name="connsiteY1225" fmla="*/ 2111 h 10000"/>
                <a:gd name="connsiteX1226" fmla="*/ 5217 w 10785"/>
                <a:gd name="connsiteY1226" fmla="*/ 2060 h 10000"/>
                <a:gd name="connsiteX1227" fmla="*/ 5226 w 10785"/>
                <a:gd name="connsiteY1227" fmla="*/ 2026 h 10000"/>
                <a:gd name="connsiteX1228" fmla="*/ 5286 w 10785"/>
                <a:gd name="connsiteY1228" fmla="*/ 2026 h 10000"/>
                <a:gd name="connsiteX1229" fmla="*/ 5290 w 10785"/>
                <a:gd name="connsiteY1229" fmla="*/ 2034 h 10000"/>
                <a:gd name="connsiteX1230" fmla="*/ 5323 w 10785"/>
                <a:gd name="connsiteY1230" fmla="*/ 1923 h 10000"/>
                <a:gd name="connsiteX1231" fmla="*/ 5323 w 10785"/>
                <a:gd name="connsiteY1231" fmla="*/ 1889 h 10000"/>
                <a:gd name="connsiteX1232" fmla="*/ 5359 w 10785"/>
                <a:gd name="connsiteY1232" fmla="*/ 1829 h 10000"/>
                <a:gd name="connsiteX1233" fmla="*/ 5378 w 10785"/>
                <a:gd name="connsiteY1233" fmla="*/ 1812 h 10000"/>
                <a:gd name="connsiteX1234" fmla="*/ 5406 w 10785"/>
                <a:gd name="connsiteY1234" fmla="*/ 1752 h 10000"/>
                <a:gd name="connsiteX1235" fmla="*/ 5410 w 10785"/>
                <a:gd name="connsiteY1235" fmla="*/ 1718 h 10000"/>
                <a:gd name="connsiteX1236" fmla="*/ 5438 w 10785"/>
                <a:gd name="connsiteY1236" fmla="*/ 1667 h 10000"/>
                <a:gd name="connsiteX1237" fmla="*/ 5438 w 10785"/>
                <a:gd name="connsiteY1237" fmla="*/ 1650 h 10000"/>
                <a:gd name="connsiteX1238" fmla="*/ 5438 w 10785"/>
                <a:gd name="connsiteY1238" fmla="*/ 1641 h 10000"/>
                <a:gd name="connsiteX1239" fmla="*/ 5452 w 10785"/>
                <a:gd name="connsiteY1239" fmla="*/ 1641 h 10000"/>
                <a:gd name="connsiteX1240" fmla="*/ 5456 w 10785"/>
                <a:gd name="connsiteY1240" fmla="*/ 1615 h 10000"/>
                <a:gd name="connsiteX1241" fmla="*/ 5456 w 10785"/>
                <a:gd name="connsiteY1241" fmla="*/ 1615 h 10000"/>
                <a:gd name="connsiteX1242" fmla="*/ 5465 w 10785"/>
                <a:gd name="connsiteY1242" fmla="*/ 1598 h 10000"/>
                <a:gd name="connsiteX1243" fmla="*/ 5465 w 10785"/>
                <a:gd name="connsiteY1243" fmla="*/ 1615 h 10000"/>
                <a:gd name="connsiteX1244" fmla="*/ 5479 w 10785"/>
                <a:gd name="connsiteY1244" fmla="*/ 1598 h 10000"/>
                <a:gd name="connsiteX1245" fmla="*/ 5484 w 10785"/>
                <a:gd name="connsiteY1245" fmla="*/ 1581 h 10000"/>
                <a:gd name="connsiteX1246" fmla="*/ 5493 w 10785"/>
                <a:gd name="connsiteY1246" fmla="*/ 1581 h 10000"/>
                <a:gd name="connsiteX1247" fmla="*/ 5512 w 10785"/>
                <a:gd name="connsiteY1247" fmla="*/ 1538 h 10000"/>
                <a:gd name="connsiteX1248" fmla="*/ 5530 w 10785"/>
                <a:gd name="connsiteY1248" fmla="*/ 1564 h 10000"/>
                <a:gd name="connsiteX1249" fmla="*/ 5530 w 10785"/>
                <a:gd name="connsiteY1249" fmla="*/ 1538 h 10000"/>
                <a:gd name="connsiteX1250" fmla="*/ 5539 w 10785"/>
                <a:gd name="connsiteY1250" fmla="*/ 1530 h 10000"/>
                <a:gd name="connsiteX1251" fmla="*/ 5530 w 10785"/>
                <a:gd name="connsiteY1251" fmla="*/ 1504 h 10000"/>
                <a:gd name="connsiteX1252" fmla="*/ 5567 w 10785"/>
                <a:gd name="connsiteY1252" fmla="*/ 1479 h 10000"/>
                <a:gd name="connsiteX1253" fmla="*/ 5553 w 10785"/>
                <a:gd name="connsiteY1253" fmla="*/ 1479 h 10000"/>
                <a:gd name="connsiteX1254" fmla="*/ 5553 w 10785"/>
                <a:gd name="connsiteY1254" fmla="*/ 1453 h 10000"/>
                <a:gd name="connsiteX1255" fmla="*/ 5581 w 10785"/>
                <a:gd name="connsiteY1255" fmla="*/ 1444 h 10000"/>
                <a:gd name="connsiteX1256" fmla="*/ 5581 w 10785"/>
                <a:gd name="connsiteY1256" fmla="*/ 1453 h 10000"/>
                <a:gd name="connsiteX1257" fmla="*/ 5585 w 10785"/>
                <a:gd name="connsiteY1257" fmla="*/ 1444 h 10000"/>
                <a:gd name="connsiteX1258" fmla="*/ 5594 w 10785"/>
                <a:gd name="connsiteY1258" fmla="*/ 1427 h 10000"/>
                <a:gd name="connsiteX1259" fmla="*/ 5599 w 10785"/>
                <a:gd name="connsiteY1259" fmla="*/ 1419 h 10000"/>
                <a:gd name="connsiteX1260" fmla="*/ 5594 w 10785"/>
                <a:gd name="connsiteY1260" fmla="*/ 1402 h 10000"/>
                <a:gd name="connsiteX1261" fmla="*/ 5604 w 10785"/>
                <a:gd name="connsiteY1261" fmla="*/ 1393 h 10000"/>
                <a:gd name="connsiteX1262" fmla="*/ 5618 w 10785"/>
                <a:gd name="connsiteY1262" fmla="*/ 1393 h 10000"/>
                <a:gd name="connsiteX1263" fmla="*/ 5627 w 10785"/>
                <a:gd name="connsiteY1263" fmla="*/ 1368 h 10000"/>
                <a:gd name="connsiteX1264" fmla="*/ 5627 w 10785"/>
                <a:gd name="connsiteY1264" fmla="*/ 1325 h 10000"/>
                <a:gd name="connsiteX1265" fmla="*/ 5645 w 10785"/>
                <a:gd name="connsiteY1265" fmla="*/ 1291 h 10000"/>
                <a:gd name="connsiteX1266" fmla="*/ 5645 w 10785"/>
                <a:gd name="connsiteY1266" fmla="*/ 1282 h 10000"/>
                <a:gd name="connsiteX1267" fmla="*/ 5654 w 10785"/>
                <a:gd name="connsiteY1267" fmla="*/ 1265 h 10000"/>
                <a:gd name="connsiteX1268" fmla="*/ 5654 w 10785"/>
                <a:gd name="connsiteY1268" fmla="*/ 1214 h 10000"/>
                <a:gd name="connsiteX1269" fmla="*/ 5654 w 10785"/>
                <a:gd name="connsiteY1269" fmla="*/ 1214 h 10000"/>
                <a:gd name="connsiteX1270" fmla="*/ 5645 w 10785"/>
                <a:gd name="connsiteY1270" fmla="*/ 1197 h 10000"/>
                <a:gd name="connsiteX1271" fmla="*/ 5659 w 10785"/>
                <a:gd name="connsiteY1271" fmla="*/ 1197 h 10000"/>
                <a:gd name="connsiteX1272" fmla="*/ 5654 w 10785"/>
                <a:gd name="connsiteY1272" fmla="*/ 1154 h 10000"/>
                <a:gd name="connsiteX1273" fmla="*/ 5641 w 10785"/>
                <a:gd name="connsiteY1273" fmla="*/ 1154 h 10000"/>
                <a:gd name="connsiteX1274" fmla="*/ 5627 w 10785"/>
                <a:gd name="connsiteY1274" fmla="*/ 1128 h 10000"/>
                <a:gd name="connsiteX1275" fmla="*/ 5618 w 10785"/>
                <a:gd name="connsiteY1275" fmla="*/ 1094 h 10000"/>
                <a:gd name="connsiteX1276" fmla="*/ 5613 w 10785"/>
                <a:gd name="connsiteY1276" fmla="*/ 1094 h 10000"/>
                <a:gd name="connsiteX1277" fmla="*/ 5604 w 10785"/>
                <a:gd name="connsiteY1277" fmla="*/ 1120 h 10000"/>
                <a:gd name="connsiteX1278" fmla="*/ 5604 w 10785"/>
                <a:gd name="connsiteY1278" fmla="*/ 1128 h 10000"/>
                <a:gd name="connsiteX1279" fmla="*/ 5599 w 10785"/>
                <a:gd name="connsiteY1279" fmla="*/ 1103 h 10000"/>
                <a:gd name="connsiteX1280" fmla="*/ 5599 w 10785"/>
                <a:gd name="connsiteY1280" fmla="*/ 1103 h 10000"/>
                <a:gd name="connsiteX1281" fmla="*/ 5594 w 10785"/>
                <a:gd name="connsiteY1281" fmla="*/ 1068 h 10000"/>
                <a:gd name="connsiteX1282" fmla="*/ 5594 w 10785"/>
                <a:gd name="connsiteY1282" fmla="*/ 1060 h 10000"/>
                <a:gd name="connsiteX1283" fmla="*/ 5581 w 10785"/>
                <a:gd name="connsiteY1283" fmla="*/ 1034 h 10000"/>
                <a:gd name="connsiteX1284" fmla="*/ 5571 w 10785"/>
                <a:gd name="connsiteY1284" fmla="*/ 1009 h 10000"/>
                <a:gd name="connsiteX1285" fmla="*/ 5571 w 10785"/>
                <a:gd name="connsiteY1285" fmla="*/ 991 h 10000"/>
                <a:gd name="connsiteX1286" fmla="*/ 5585 w 10785"/>
                <a:gd name="connsiteY1286" fmla="*/ 1009 h 10000"/>
                <a:gd name="connsiteX1287" fmla="*/ 5604 w 10785"/>
                <a:gd name="connsiteY1287" fmla="*/ 1043 h 10000"/>
                <a:gd name="connsiteX1288" fmla="*/ 5641 w 10785"/>
                <a:gd name="connsiteY1288" fmla="*/ 1094 h 10000"/>
                <a:gd name="connsiteX1289" fmla="*/ 5631 w 10785"/>
                <a:gd name="connsiteY1289" fmla="*/ 1128 h 10000"/>
                <a:gd name="connsiteX1290" fmla="*/ 5641 w 10785"/>
                <a:gd name="connsiteY1290" fmla="*/ 1128 h 10000"/>
                <a:gd name="connsiteX1291" fmla="*/ 5659 w 10785"/>
                <a:gd name="connsiteY1291" fmla="*/ 1017 h 10000"/>
                <a:gd name="connsiteX1292" fmla="*/ 5659 w 10785"/>
                <a:gd name="connsiteY1292" fmla="*/ 983 h 10000"/>
                <a:gd name="connsiteX1293" fmla="*/ 5659 w 10785"/>
                <a:gd name="connsiteY1293" fmla="*/ 957 h 10000"/>
                <a:gd name="connsiteX1294" fmla="*/ 5654 w 10785"/>
                <a:gd name="connsiteY1294" fmla="*/ 966 h 10000"/>
                <a:gd name="connsiteX1295" fmla="*/ 5641 w 10785"/>
                <a:gd name="connsiteY1295" fmla="*/ 957 h 10000"/>
                <a:gd name="connsiteX1296" fmla="*/ 5631 w 10785"/>
                <a:gd name="connsiteY1296" fmla="*/ 897 h 10000"/>
                <a:gd name="connsiteX1297" fmla="*/ 5641 w 10785"/>
                <a:gd name="connsiteY1297" fmla="*/ 872 h 10000"/>
                <a:gd name="connsiteX1298" fmla="*/ 5618 w 10785"/>
                <a:gd name="connsiteY1298" fmla="*/ 803 h 10000"/>
                <a:gd name="connsiteX1299" fmla="*/ 5604 w 10785"/>
                <a:gd name="connsiteY1299" fmla="*/ 821 h 10000"/>
                <a:gd name="connsiteX1300" fmla="*/ 5613 w 10785"/>
                <a:gd name="connsiteY1300" fmla="*/ 846 h 10000"/>
                <a:gd name="connsiteX1301" fmla="*/ 5604 w 10785"/>
                <a:gd name="connsiteY1301" fmla="*/ 855 h 10000"/>
                <a:gd name="connsiteX1302" fmla="*/ 5599 w 10785"/>
                <a:gd name="connsiteY1302" fmla="*/ 880 h 10000"/>
                <a:gd name="connsiteX1303" fmla="*/ 5594 w 10785"/>
                <a:gd name="connsiteY1303" fmla="*/ 880 h 10000"/>
                <a:gd name="connsiteX1304" fmla="*/ 5585 w 10785"/>
                <a:gd name="connsiteY1304" fmla="*/ 829 h 10000"/>
                <a:gd name="connsiteX1305" fmla="*/ 5571 w 10785"/>
                <a:gd name="connsiteY1305" fmla="*/ 803 h 10000"/>
                <a:gd name="connsiteX1306" fmla="*/ 5585 w 10785"/>
                <a:gd name="connsiteY1306" fmla="*/ 795 h 10000"/>
                <a:gd name="connsiteX1307" fmla="*/ 5585 w 10785"/>
                <a:gd name="connsiteY1307" fmla="*/ 761 h 10000"/>
                <a:gd name="connsiteX1308" fmla="*/ 5558 w 10785"/>
                <a:gd name="connsiteY1308" fmla="*/ 709 h 10000"/>
                <a:gd name="connsiteX1309" fmla="*/ 5544 w 10785"/>
                <a:gd name="connsiteY1309" fmla="*/ 709 h 10000"/>
                <a:gd name="connsiteX1310" fmla="*/ 5544 w 10785"/>
                <a:gd name="connsiteY1310" fmla="*/ 684 h 10000"/>
                <a:gd name="connsiteX1311" fmla="*/ 5525 w 10785"/>
                <a:gd name="connsiteY1311" fmla="*/ 632 h 10000"/>
                <a:gd name="connsiteX1312" fmla="*/ 5507 w 10785"/>
                <a:gd name="connsiteY1312" fmla="*/ 607 h 10000"/>
                <a:gd name="connsiteX1313" fmla="*/ 5512 w 10785"/>
                <a:gd name="connsiteY1313" fmla="*/ 598 h 10000"/>
                <a:gd name="connsiteX1314" fmla="*/ 5507 w 10785"/>
                <a:gd name="connsiteY1314" fmla="*/ 581 h 10000"/>
                <a:gd name="connsiteX1315" fmla="*/ 5493 w 10785"/>
                <a:gd name="connsiteY1315" fmla="*/ 573 h 10000"/>
                <a:gd name="connsiteX1316" fmla="*/ 5484 w 10785"/>
                <a:gd name="connsiteY1316" fmla="*/ 581 h 10000"/>
                <a:gd name="connsiteX1317" fmla="*/ 5484 w 10785"/>
                <a:gd name="connsiteY1317" fmla="*/ 573 h 10000"/>
                <a:gd name="connsiteX1318" fmla="*/ 5484 w 10785"/>
                <a:gd name="connsiteY1318" fmla="*/ 547 h 10000"/>
                <a:gd name="connsiteX1319" fmla="*/ 5465 w 10785"/>
                <a:gd name="connsiteY1319" fmla="*/ 556 h 10000"/>
                <a:gd name="connsiteX1320" fmla="*/ 5433 w 10785"/>
                <a:gd name="connsiteY1320" fmla="*/ 547 h 10000"/>
                <a:gd name="connsiteX1321" fmla="*/ 5410 w 10785"/>
                <a:gd name="connsiteY1321" fmla="*/ 573 h 10000"/>
                <a:gd name="connsiteX1322" fmla="*/ 5406 w 10785"/>
                <a:gd name="connsiteY1322" fmla="*/ 573 h 10000"/>
                <a:gd name="connsiteX1323" fmla="*/ 5392 w 10785"/>
                <a:gd name="connsiteY1323" fmla="*/ 573 h 10000"/>
                <a:gd name="connsiteX1324" fmla="*/ 5364 w 10785"/>
                <a:gd name="connsiteY1324" fmla="*/ 530 h 10000"/>
                <a:gd name="connsiteX1325" fmla="*/ 5350 w 10785"/>
                <a:gd name="connsiteY1325" fmla="*/ 556 h 10000"/>
                <a:gd name="connsiteX1326" fmla="*/ 5346 w 10785"/>
                <a:gd name="connsiteY1326" fmla="*/ 556 h 10000"/>
                <a:gd name="connsiteX1327" fmla="*/ 5313 w 10785"/>
                <a:gd name="connsiteY1327" fmla="*/ 573 h 10000"/>
                <a:gd name="connsiteX1328" fmla="*/ 5304 w 10785"/>
                <a:gd name="connsiteY1328" fmla="*/ 556 h 10000"/>
                <a:gd name="connsiteX1329" fmla="*/ 5290 w 10785"/>
                <a:gd name="connsiteY1329" fmla="*/ 573 h 10000"/>
                <a:gd name="connsiteX1330" fmla="*/ 5290 w 10785"/>
                <a:gd name="connsiteY1330" fmla="*/ 556 h 10000"/>
                <a:gd name="connsiteX1331" fmla="*/ 5300 w 10785"/>
                <a:gd name="connsiteY1331" fmla="*/ 547 h 10000"/>
                <a:gd name="connsiteX1332" fmla="*/ 5300 w 10785"/>
                <a:gd name="connsiteY1332" fmla="*/ 530 h 10000"/>
                <a:gd name="connsiteX1333" fmla="*/ 5290 w 10785"/>
                <a:gd name="connsiteY1333" fmla="*/ 530 h 10000"/>
                <a:gd name="connsiteX1334" fmla="*/ 5286 w 10785"/>
                <a:gd name="connsiteY1334" fmla="*/ 547 h 10000"/>
                <a:gd name="connsiteX1335" fmla="*/ 5272 w 10785"/>
                <a:gd name="connsiteY1335" fmla="*/ 556 h 10000"/>
                <a:gd name="connsiteX1336" fmla="*/ 5272 w 10785"/>
                <a:gd name="connsiteY1336" fmla="*/ 598 h 10000"/>
                <a:gd name="connsiteX1337" fmla="*/ 5276 w 10785"/>
                <a:gd name="connsiteY1337" fmla="*/ 581 h 10000"/>
                <a:gd name="connsiteX1338" fmla="*/ 5272 w 10785"/>
                <a:gd name="connsiteY1338" fmla="*/ 607 h 10000"/>
                <a:gd name="connsiteX1339" fmla="*/ 5263 w 10785"/>
                <a:gd name="connsiteY1339" fmla="*/ 607 h 10000"/>
                <a:gd name="connsiteX1340" fmla="*/ 5263 w 10785"/>
                <a:gd name="connsiteY1340" fmla="*/ 632 h 10000"/>
                <a:gd name="connsiteX1341" fmla="*/ 5258 w 10785"/>
                <a:gd name="connsiteY1341" fmla="*/ 658 h 10000"/>
                <a:gd name="connsiteX1342" fmla="*/ 5244 w 10785"/>
                <a:gd name="connsiteY1342" fmla="*/ 667 h 10000"/>
                <a:gd name="connsiteX1343" fmla="*/ 5240 w 10785"/>
                <a:gd name="connsiteY1343" fmla="*/ 658 h 10000"/>
                <a:gd name="connsiteX1344" fmla="*/ 5240 w 10785"/>
                <a:gd name="connsiteY1344" fmla="*/ 684 h 10000"/>
                <a:gd name="connsiteX1345" fmla="*/ 5212 w 10785"/>
                <a:gd name="connsiteY1345" fmla="*/ 684 h 10000"/>
                <a:gd name="connsiteX1346" fmla="*/ 5198 w 10785"/>
                <a:gd name="connsiteY1346" fmla="*/ 692 h 10000"/>
                <a:gd name="connsiteX1347" fmla="*/ 5184 w 10785"/>
                <a:gd name="connsiteY1347" fmla="*/ 684 h 10000"/>
                <a:gd name="connsiteX1348" fmla="*/ 5157 w 10785"/>
                <a:gd name="connsiteY1348" fmla="*/ 684 h 10000"/>
                <a:gd name="connsiteX1349" fmla="*/ 5157 w 10785"/>
                <a:gd name="connsiteY1349" fmla="*/ 667 h 10000"/>
                <a:gd name="connsiteX1350" fmla="*/ 5157 w 10785"/>
                <a:gd name="connsiteY1350" fmla="*/ 667 h 10000"/>
                <a:gd name="connsiteX1351" fmla="*/ 5180 w 10785"/>
                <a:gd name="connsiteY1351" fmla="*/ 650 h 10000"/>
                <a:gd name="connsiteX1352" fmla="*/ 5184 w 10785"/>
                <a:gd name="connsiteY1352" fmla="*/ 658 h 10000"/>
                <a:gd name="connsiteX1353" fmla="*/ 5203 w 10785"/>
                <a:gd name="connsiteY1353" fmla="*/ 547 h 10000"/>
                <a:gd name="connsiteX1354" fmla="*/ 5226 w 10785"/>
                <a:gd name="connsiteY1354" fmla="*/ 530 h 10000"/>
                <a:gd name="connsiteX1355" fmla="*/ 5230 w 10785"/>
                <a:gd name="connsiteY1355" fmla="*/ 487 h 10000"/>
                <a:gd name="connsiteX1356" fmla="*/ 5230 w 10785"/>
                <a:gd name="connsiteY1356" fmla="*/ 487 h 10000"/>
                <a:gd name="connsiteX1357" fmla="*/ 5226 w 10785"/>
                <a:gd name="connsiteY1357" fmla="*/ 462 h 10000"/>
                <a:gd name="connsiteX1358" fmla="*/ 5226 w 10785"/>
                <a:gd name="connsiteY1358" fmla="*/ 462 h 10000"/>
                <a:gd name="connsiteX1359" fmla="*/ 5240 w 10785"/>
                <a:gd name="connsiteY1359" fmla="*/ 462 h 10000"/>
                <a:gd name="connsiteX1360" fmla="*/ 5240 w 10785"/>
                <a:gd name="connsiteY1360" fmla="*/ 444 h 10000"/>
                <a:gd name="connsiteX1361" fmla="*/ 5230 w 10785"/>
                <a:gd name="connsiteY1361" fmla="*/ 436 h 10000"/>
                <a:gd name="connsiteX1362" fmla="*/ 5230 w 10785"/>
                <a:gd name="connsiteY1362" fmla="*/ 419 h 10000"/>
                <a:gd name="connsiteX1363" fmla="*/ 5230 w 10785"/>
                <a:gd name="connsiteY1363" fmla="*/ 410 h 10000"/>
                <a:gd name="connsiteX1364" fmla="*/ 5198 w 10785"/>
                <a:gd name="connsiteY1364" fmla="*/ 402 h 10000"/>
                <a:gd name="connsiteX1365" fmla="*/ 5189 w 10785"/>
                <a:gd name="connsiteY1365" fmla="*/ 402 h 10000"/>
                <a:gd name="connsiteX1366" fmla="*/ 5184 w 10785"/>
                <a:gd name="connsiteY1366" fmla="*/ 376 h 10000"/>
                <a:gd name="connsiteX1367" fmla="*/ 5180 w 10785"/>
                <a:gd name="connsiteY1367" fmla="*/ 376 h 10000"/>
                <a:gd name="connsiteX1368" fmla="*/ 5166 w 10785"/>
                <a:gd name="connsiteY1368" fmla="*/ 376 h 10000"/>
                <a:gd name="connsiteX1369" fmla="*/ 5157 w 10785"/>
                <a:gd name="connsiteY1369" fmla="*/ 385 h 10000"/>
                <a:gd name="connsiteX1370" fmla="*/ 5152 w 10785"/>
                <a:gd name="connsiteY1370" fmla="*/ 376 h 10000"/>
                <a:gd name="connsiteX1371" fmla="*/ 5129 w 10785"/>
                <a:gd name="connsiteY1371" fmla="*/ 385 h 10000"/>
                <a:gd name="connsiteX1372" fmla="*/ 5129 w 10785"/>
                <a:gd name="connsiteY1372" fmla="*/ 350 h 10000"/>
                <a:gd name="connsiteX1373" fmla="*/ 5129 w 10785"/>
                <a:gd name="connsiteY1373" fmla="*/ 325 h 10000"/>
                <a:gd name="connsiteX1374" fmla="*/ 5124 w 10785"/>
                <a:gd name="connsiteY1374" fmla="*/ 359 h 10000"/>
                <a:gd name="connsiteX1375" fmla="*/ 5106 w 10785"/>
                <a:gd name="connsiteY1375" fmla="*/ 359 h 10000"/>
                <a:gd name="connsiteX1376" fmla="*/ 5037 w 10785"/>
                <a:gd name="connsiteY1376" fmla="*/ 419 h 10000"/>
                <a:gd name="connsiteX1377" fmla="*/ 5051 w 10785"/>
                <a:gd name="connsiteY1377" fmla="*/ 385 h 10000"/>
                <a:gd name="connsiteX1378" fmla="*/ 5055 w 10785"/>
                <a:gd name="connsiteY1378" fmla="*/ 376 h 10000"/>
                <a:gd name="connsiteX1379" fmla="*/ 5092 w 10785"/>
                <a:gd name="connsiteY1379" fmla="*/ 282 h 10000"/>
                <a:gd name="connsiteX1380" fmla="*/ 5106 w 10785"/>
                <a:gd name="connsiteY1380" fmla="*/ 265 h 10000"/>
                <a:gd name="connsiteX1381" fmla="*/ 5115 w 10785"/>
                <a:gd name="connsiteY1381" fmla="*/ 265 h 10000"/>
                <a:gd name="connsiteX1382" fmla="*/ 5124 w 10785"/>
                <a:gd name="connsiteY1382" fmla="*/ 222 h 10000"/>
                <a:gd name="connsiteX1383" fmla="*/ 5124 w 10785"/>
                <a:gd name="connsiteY1383" fmla="*/ 214 h 10000"/>
                <a:gd name="connsiteX1384" fmla="*/ 5143 w 10785"/>
                <a:gd name="connsiteY1384" fmla="*/ 197 h 10000"/>
                <a:gd name="connsiteX1385" fmla="*/ 5152 w 10785"/>
                <a:gd name="connsiteY1385" fmla="*/ 214 h 10000"/>
                <a:gd name="connsiteX1386" fmla="*/ 5143 w 10785"/>
                <a:gd name="connsiteY1386" fmla="*/ 188 h 10000"/>
                <a:gd name="connsiteX1387" fmla="*/ 5129 w 10785"/>
                <a:gd name="connsiteY1387" fmla="*/ 103 h 10000"/>
                <a:gd name="connsiteX1388" fmla="*/ 5115 w 10785"/>
                <a:gd name="connsiteY1388" fmla="*/ 85 h 10000"/>
                <a:gd name="connsiteX1389" fmla="*/ 5111 w 10785"/>
                <a:gd name="connsiteY1389" fmla="*/ 111 h 10000"/>
                <a:gd name="connsiteX1390" fmla="*/ 5092 w 10785"/>
                <a:gd name="connsiteY1390" fmla="*/ 103 h 10000"/>
                <a:gd name="connsiteX1391" fmla="*/ 5069 w 10785"/>
                <a:gd name="connsiteY1391" fmla="*/ 77 h 10000"/>
                <a:gd name="connsiteX1392" fmla="*/ 5051 w 10785"/>
                <a:gd name="connsiteY1392" fmla="*/ 26 h 10000"/>
                <a:gd name="connsiteX1393" fmla="*/ 5041 w 10785"/>
                <a:gd name="connsiteY1393" fmla="*/ 34 h 10000"/>
                <a:gd name="connsiteX1394" fmla="*/ 5037 w 10785"/>
                <a:gd name="connsiteY1394" fmla="*/ 34 h 10000"/>
                <a:gd name="connsiteX1395" fmla="*/ 5037 w 10785"/>
                <a:gd name="connsiteY1395" fmla="*/ 26 h 10000"/>
                <a:gd name="connsiteX1396" fmla="*/ 5037 w 10785"/>
                <a:gd name="connsiteY1396" fmla="*/ 9 h 10000"/>
                <a:gd name="connsiteX1397" fmla="*/ 5023 w 10785"/>
                <a:gd name="connsiteY1397" fmla="*/ 0 h 10000"/>
                <a:gd name="connsiteX1398" fmla="*/ 5009 w 10785"/>
                <a:gd name="connsiteY1398" fmla="*/ 9 h 10000"/>
                <a:gd name="connsiteX1399" fmla="*/ 4995 w 10785"/>
                <a:gd name="connsiteY1399" fmla="*/ 34 h 10000"/>
                <a:gd name="connsiteX1400" fmla="*/ 4991 w 10785"/>
                <a:gd name="connsiteY1400" fmla="*/ 60 h 10000"/>
                <a:gd name="connsiteX1401" fmla="*/ 4982 w 10785"/>
                <a:gd name="connsiteY1401" fmla="*/ 60 h 10000"/>
                <a:gd name="connsiteX1402" fmla="*/ 4949 w 10785"/>
                <a:gd name="connsiteY1402" fmla="*/ 51 h 10000"/>
                <a:gd name="connsiteX1403" fmla="*/ 4949 w 10785"/>
                <a:gd name="connsiteY1403" fmla="*/ 85 h 10000"/>
                <a:gd name="connsiteX1404" fmla="*/ 4903 w 10785"/>
                <a:gd name="connsiteY1404" fmla="*/ 197 h 10000"/>
                <a:gd name="connsiteX1405" fmla="*/ 4899 w 10785"/>
                <a:gd name="connsiteY1405" fmla="*/ 239 h 10000"/>
                <a:gd name="connsiteX1406" fmla="*/ 4871 w 10785"/>
                <a:gd name="connsiteY1406" fmla="*/ 274 h 10000"/>
                <a:gd name="connsiteX1407" fmla="*/ 4871 w 10785"/>
                <a:gd name="connsiteY1407" fmla="*/ 282 h 10000"/>
                <a:gd name="connsiteX1408" fmla="*/ 4834 w 10785"/>
                <a:gd name="connsiteY1408" fmla="*/ 376 h 10000"/>
                <a:gd name="connsiteX1409" fmla="*/ 4829 w 10785"/>
                <a:gd name="connsiteY1409" fmla="*/ 402 h 10000"/>
                <a:gd name="connsiteX1410" fmla="*/ 4834 w 10785"/>
                <a:gd name="connsiteY1410" fmla="*/ 410 h 10000"/>
                <a:gd name="connsiteX1411" fmla="*/ 4829 w 10785"/>
                <a:gd name="connsiteY1411" fmla="*/ 436 h 10000"/>
                <a:gd name="connsiteX1412" fmla="*/ 4825 w 10785"/>
                <a:gd name="connsiteY1412" fmla="*/ 436 h 10000"/>
                <a:gd name="connsiteX1413" fmla="*/ 4825 w 10785"/>
                <a:gd name="connsiteY1413" fmla="*/ 444 h 10000"/>
                <a:gd name="connsiteX1414" fmla="*/ 4811 w 10785"/>
                <a:gd name="connsiteY1414" fmla="*/ 496 h 10000"/>
                <a:gd name="connsiteX1415" fmla="*/ 4811 w 10785"/>
                <a:gd name="connsiteY1415" fmla="*/ 496 h 10000"/>
                <a:gd name="connsiteX1416" fmla="*/ 4811 w 10785"/>
                <a:gd name="connsiteY1416" fmla="*/ 521 h 10000"/>
                <a:gd name="connsiteX1417" fmla="*/ 4816 w 10785"/>
                <a:gd name="connsiteY1417" fmla="*/ 530 h 10000"/>
                <a:gd name="connsiteX1418" fmla="*/ 4834 w 10785"/>
                <a:gd name="connsiteY1418" fmla="*/ 547 h 10000"/>
                <a:gd name="connsiteX1419" fmla="*/ 4834 w 10785"/>
                <a:gd name="connsiteY1419" fmla="*/ 581 h 10000"/>
                <a:gd name="connsiteX1420" fmla="*/ 4843 w 10785"/>
                <a:gd name="connsiteY1420" fmla="*/ 581 h 10000"/>
                <a:gd name="connsiteX1421" fmla="*/ 4843 w 10785"/>
                <a:gd name="connsiteY1421" fmla="*/ 598 h 10000"/>
                <a:gd name="connsiteX1422" fmla="*/ 4829 w 10785"/>
                <a:gd name="connsiteY1422" fmla="*/ 598 h 10000"/>
                <a:gd name="connsiteX1423" fmla="*/ 4829 w 10785"/>
                <a:gd name="connsiteY1423" fmla="*/ 573 h 10000"/>
                <a:gd name="connsiteX1424" fmla="*/ 4829 w 10785"/>
                <a:gd name="connsiteY1424" fmla="*/ 632 h 10000"/>
                <a:gd name="connsiteX1425" fmla="*/ 4829 w 10785"/>
                <a:gd name="connsiteY1425" fmla="*/ 632 h 10000"/>
                <a:gd name="connsiteX1426" fmla="*/ 4829 w 10785"/>
                <a:gd name="connsiteY1426" fmla="*/ 650 h 10000"/>
                <a:gd name="connsiteX1427" fmla="*/ 4774 w 10785"/>
                <a:gd name="connsiteY1427" fmla="*/ 684 h 10000"/>
                <a:gd name="connsiteX1428" fmla="*/ 4756 w 10785"/>
                <a:gd name="connsiteY1428" fmla="*/ 684 h 10000"/>
                <a:gd name="connsiteX1429" fmla="*/ 4737 w 10785"/>
                <a:gd name="connsiteY1429" fmla="*/ 692 h 10000"/>
                <a:gd name="connsiteX1430" fmla="*/ 4677 w 10785"/>
                <a:gd name="connsiteY1430" fmla="*/ 667 h 10000"/>
                <a:gd name="connsiteX1431" fmla="*/ 4682 w 10785"/>
                <a:gd name="connsiteY1431" fmla="*/ 692 h 10000"/>
                <a:gd name="connsiteX1432" fmla="*/ 4682 w 10785"/>
                <a:gd name="connsiteY1432" fmla="*/ 709 h 10000"/>
                <a:gd name="connsiteX1433" fmla="*/ 4691 w 10785"/>
                <a:gd name="connsiteY1433" fmla="*/ 718 h 10000"/>
                <a:gd name="connsiteX1434" fmla="*/ 4691 w 10785"/>
                <a:gd name="connsiteY1434" fmla="*/ 744 h 10000"/>
                <a:gd name="connsiteX1435" fmla="*/ 4700 w 10785"/>
                <a:gd name="connsiteY1435" fmla="*/ 744 h 10000"/>
                <a:gd name="connsiteX1436" fmla="*/ 4714 w 10785"/>
                <a:gd name="connsiteY1436" fmla="*/ 769 h 10000"/>
                <a:gd name="connsiteX1437" fmla="*/ 4710 w 10785"/>
                <a:gd name="connsiteY1437" fmla="*/ 786 h 10000"/>
                <a:gd name="connsiteX1438" fmla="*/ 4737 w 10785"/>
                <a:gd name="connsiteY1438" fmla="*/ 786 h 10000"/>
                <a:gd name="connsiteX1439" fmla="*/ 4742 w 10785"/>
                <a:gd name="connsiteY1439" fmla="*/ 795 h 10000"/>
                <a:gd name="connsiteX1440" fmla="*/ 4742 w 10785"/>
                <a:gd name="connsiteY1440" fmla="*/ 803 h 10000"/>
                <a:gd name="connsiteX1441" fmla="*/ 4737 w 10785"/>
                <a:gd name="connsiteY1441" fmla="*/ 846 h 10000"/>
                <a:gd name="connsiteX1442" fmla="*/ 4737 w 10785"/>
                <a:gd name="connsiteY1442" fmla="*/ 880 h 10000"/>
                <a:gd name="connsiteX1443" fmla="*/ 4737 w 10785"/>
                <a:gd name="connsiteY1443" fmla="*/ 906 h 10000"/>
                <a:gd name="connsiteX1444" fmla="*/ 4724 w 10785"/>
                <a:gd name="connsiteY1444" fmla="*/ 897 h 10000"/>
                <a:gd name="connsiteX1445" fmla="*/ 4724 w 10785"/>
                <a:gd name="connsiteY1445" fmla="*/ 872 h 10000"/>
                <a:gd name="connsiteX1446" fmla="*/ 4714 w 10785"/>
                <a:gd name="connsiteY1446" fmla="*/ 855 h 10000"/>
                <a:gd name="connsiteX1447" fmla="*/ 4691 w 10785"/>
                <a:gd name="connsiteY1447" fmla="*/ 846 h 10000"/>
                <a:gd name="connsiteX1448" fmla="*/ 4691 w 10785"/>
                <a:gd name="connsiteY1448" fmla="*/ 846 h 10000"/>
                <a:gd name="connsiteX1449" fmla="*/ 4696 w 10785"/>
                <a:gd name="connsiteY1449" fmla="*/ 821 h 10000"/>
                <a:gd name="connsiteX1450" fmla="*/ 4691 w 10785"/>
                <a:gd name="connsiteY1450" fmla="*/ 803 h 10000"/>
                <a:gd name="connsiteX1451" fmla="*/ 4668 w 10785"/>
                <a:gd name="connsiteY1451" fmla="*/ 821 h 10000"/>
                <a:gd name="connsiteX1452" fmla="*/ 4668 w 10785"/>
                <a:gd name="connsiteY1452" fmla="*/ 786 h 10000"/>
                <a:gd name="connsiteX1453" fmla="*/ 4664 w 10785"/>
                <a:gd name="connsiteY1453" fmla="*/ 786 h 10000"/>
                <a:gd name="connsiteX1454" fmla="*/ 4622 w 10785"/>
                <a:gd name="connsiteY1454" fmla="*/ 846 h 10000"/>
                <a:gd name="connsiteX1455" fmla="*/ 4627 w 10785"/>
                <a:gd name="connsiteY1455" fmla="*/ 872 h 10000"/>
                <a:gd name="connsiteX1456" fmla="*/ 4622 w 10785"/>
                <a:gd name="connsiteY1456" fmla="*/ 880 h 10000"/>
                <a:gd name="connsiteX1457" fmla="*/ 4622 w 10785"/>
                <a:gd name="connsiteY1457" fmla="*/ 880 h 10000"/>
                <a:gd name="connsiteX1458" fmla="*/ 4618 w 10785"/>
                <a:gd name="connsiteY1458" fmla="*/ 872 h 10000"/>
                <a:gd name="connsiteX1459" fmla="*/ 4604 w 10785"/>
                <a:gd name="connsiteY1459" fmla="*/ 880 h 10000"/>
                <a:gd name="connsiteX1460" fmla="*/ 4594 w 10785"/>
                <a:gd name="connsiteY1460" fmla="*/ 906 h 10000"/>
                <a:gd name="connsiteX1461" fmla="*/ 4604 w 10785"/>
                <a:gd name="connsiteY1461" fmla="*/ 906 h 10000"/>
                <a:gd name="connsiteX1462" fmla="*/ 4608 w 10785"/>
                <a:gd name="connsiteY1462" fmla="*/ 906 h 10000"/>
                <a:gd name="connsiteX1463" fmla="*/ 4608 w 10785"/>
                <a:gd name="connsiteY1463" fmla="*/ 932 h 10000"/>
                <a:gd name="connsiteX1464" fmla="*/ 4604 w 10785"/>
                <a:gd name="connsiteY1464" fmla="*/ 932 h 10000"/>
                <a:gd name="connsiteX1465" fmla="*/ 4590 w 10785"/>
                <a:gd name="connsiteY1465" fmla="*/ 932 h 10000"/>
                <a:gd name="connsiteX1466" fmla="*/ 4567 w 10785"/>
                <a:gd name="connsiteY1466" fmla="*/ 957 h 10000"/>
                <a:gd name="connsiteX1467" fmla="*/ 4567 w 10785"/>
                <a:gd name="connsiteY1467" fmla="*/ 932 h 10000"/>
                <a:gd name="connsiteX1468" fmla="*/ 4567 w 10785"/>
                <a:gd name="connsiteY1468" fmla="*/ 923 h 10000"/>
                <a:gd name="connsiteX1469" fmla="*/ 4562 w 10785"/>
                <a:gd name="connsiteY1469" fmla="*/ 932 h 10000"/>
                <a:gd name="connsiteX1470" fmla="*/ 4548 w 10785"/>
                <a:gd name="connsiteY1470" fmla="*/ 957 h 10000"/>
                <a:gd name="connsiteX1471" fmla="*/ 4544 w 10785"/>
                <a:gd name="connsiteY1471" fmla="*/ 957 h 10000"/>
                <a:gd name="connsiteX1472" fmla="*/ 4521 w 10785"/>
                <a:gd name="connsiteY1472" fmla="*/ 983 h 10000"/>
                <a:gd name="connsiteX1473" fmla="*/ 4521 w 10785"/>
                <a:gd name="connsiteY1473" fmla="*/ 983 h 10000"/>
                <a:gd name="connsiteX1474" fmla="*/ 4530 w 10785"/>
                <a:gd name="connsiteY1474" fmla="*/ 957 h 10000"/>
                <a:gd name="connsiteX1475" fmla="*/ 4535 w 10785"/>
                <a:gd name="connsiteY1475" fmla="*/ 932 h 10000"/>
                <a:gd name="connsiteX1476" fmla="*/ 4521 w 10785"/>
                <a:gd name="connsiteY1476" fmla="*/ 932 h 10000"/>
                <a:gd name="connsiteX1477" fmla="*/ 4516 w 10785"/>
                <a:gd name="connsiteY1477" fmla="*/ 923 h 10000"/>
                <a:gd name="connsiteX1478" fmla="*/ 4516 w 10785"/>
                <a:gd name="connsiteY1478" fmla="*/ 932 h 10000"/>
                <a:gd name="connsiteX1479" fmla="*/ 4488 w 10785"/>
                <a:gd name="connsiteY1479" fmla="*/ 940 h 10000"/>
                <a:gd name="connsiteX1480" fmla="*/ 4484 w 10785"/>
                <a:gd name="connsiteY1480" fmla="*/ 983 h 10000"/>
                <a:gd name="connsiteX1481" fmla="*/ 4470 w 10785"/>
                <a:gd name="connsiteY1481" fmla="*/ 983 h 10000"/>
                <a:gd name="connsiteX1482" fmla="*/ 4470 w 10785"/>
                <a:gd name="connsiteY1482" fmla="*/ 966 h 10000"/>
                <a:gd name="connsiteX1483" fmla="*/ 4488 w 10785"/>
                <a:gd name="connsiteY1483" fmla="*/ 923 h 10000"/>
                <a:gd name="connsiteX1484" fmla="*/ 4493 w 10785"/>
                <a:gd name="connsiteY1484" fmla="*/ 880 h 10000"/>
                <a:gd name="connsiteX1485" fmla="*/ 4475 w 10785"/>
                <a:gd name="connsiteY1485" fmla="*/ 846 h 10000"/>
                <a:gd name="connsiteX1486" fmla="*/ 4442 w 10785"/>
                <a:gd name="connsiteY1486" fmla="*/ 855 h 10000"/>
                <a:gd name="connsiteX1487" fmla="*/ 4433 w 10785"/>
                <a:gd name="connsiteY1487" fmla="*/ 855 h 10000"/>
                <a:gd name="connsiteX1488" fmla="*/ 4433 w 10785"/>
                <a:gd name="connsiteY1488" fmla="*/ 880 h 10000"/>
                <a:gd name="connsiteX1489" fmla="*/ 4401 w 10785"/>
                <a:gd name="connsiteY1489" fmla="*/ 855 h 10000"/>
                <a:gd name="connsiteX1490" fmla="*/ 4396 w 10785"/>
                <a:gd name="connsiteY1490" fmla="*/ 872 h 10000"/>
                <a:gd name="connsiteX1491" fmla="*/ 4382 w 10785"/>
                <a:gd name="connsiteY1491" fmla="*/ 897 h 10000"/>
                <a:gd name="connsiteX1492" fmla="*/ 4373 w 10785"/>
                <a:gd name="connsiteY1492" fmla="*/ 872 h 10000"/>
                <a:gd name="connsiteX1493" fmla="*/ 4341 w 10785"/>
                <a:gd name="connsiteY1493" fmla="*/ 872 h 10000"/>
                <a:gd name="connsiteX1494" fmla="*/ 4336 w 10785"/>
                <a:gd name="connsiteY1494" fmla="*/ 880 h 10000"/>
                <a:gd name="connsiteX1495" fmla="*/ 4346 w 10785"/>
                <a:gd name="connsiteY1495" fmla="*/ 897 h 10000"/>
                <a:gd name="connsiteX1496" fmla="*/ 4346 w 10785"/>
                <a:gd name="connsiteY1496" fmla="*/ 897 h 10000"/>
                <a:gd name="connsiteX1497" fmla="*/ 4313 w 10785"/>
                <a:gd name="connsiteY1497" fmla="*/ 906 h 10000"/>
                <a:gd name="connsiteX1498" fmla="*/ 4313 w 10785"/>
                <a:gd name="connsiteY1498" fmla="*/ 906 h 10000"/>
                <a:gd name="connsiteX1499" fmla="*/ 4313 w 10785"/>
                <a:gd name="connsiteY1499" fmla="*/ 880 h 10000"/>
                <a:gd name="connsiteX1500" fmla="*/ 4309 w 10785"/>
                <a:gd name="connsiteY1500" fmla="*/ 897 h 10000"/>
                <a:gd name="connsiteX1501" fmla="*/ 4295 w 10785"/>
                <a:gd name="connsiteY1501" fmla="*/ 923 h 10000"/>
                <a:gd name="connsiteX1502" fmla="*/ 4286 w 10785"/>
                <a:gd name="connsiteY1502" fmla="*/ 897 h 10000"/>
                <a:gd name="connsiteX1503" fmla="*/ 4281 w 10785"/>
                <a:gd name="connsiteY1503" fmla="*/ 906 h 10000"/>
                <a:gd name="connsiteX1504" fmla="*/ 4281 w 10785"/>
                <a:gd name="connsiteY1504" fmla="*/ 940 h 10000"/>
                <a:gd name="connsiteX1505" fmla="*/ 4286 w 10785"/>
                <a:gd name="connsiteY1505" fmla="*/ 957 h 10000"/>
                <a:gd name="connsiteX1506" fmla="*/ 4309 w 10785"/>
                <a:gd name="connsiteY1506" fmla="*/ 932 h 10000"/>
                <a:gd name="connsiteX1507" fmla="*/ 4313 w 10785"/>
                <a:gd name="connsiteY1507" fmla="*/ 957 h 10000"/>
                <a:gd name="connsiteX1508" fmla="*/ 4313 w 10785"/>
                <a:gd name="connsiteY1508" fmla="*/ 966 h 10000"/>
                <a:gd name="connsiteX1509" fmla="*/ 4323 w 10785"/>
                <a:gd name="connsiteY1509" fmla="*/ 966 h 10000"/>
                <a:gd name="connsiteX1510" fmla="*/ 4323 w 10785"/>
                <a:gd name="connsiteY1510" fmla="*/ 940 h 10000"/>
                <a:gd name="connsiteX1511" fmla="*/ 4327 w 10785"/>
                <a:gd name="connsiteY1511" fmla="*/ 940 h 10000"/>
                <a:gd name="connsiteX1512" fmla="*/ 4327 w 10785"/>
                <a:gd name="connsiteY1512" fmla="*/ 957 h 10000"/>
                <a:gd name="connsiteX1513" fmla="*/ 4327 w 10785"/>
                <a:gd name="connsiteY1513" fmla="*/ 966 h 10000"/>
                <a:gd name="connsiteX1514" fmla="*/ 4323 w 10785"/>
                <a:gd name="connsiteY1514" fmla="*/ 991 h 10000"/>
                <a:gd name="connsiteX1515" fmla="*/ 4207 w 10785"/>
                <a:gd name="connsiteY1515" fmla="*/ 1060 h 10000"/>
                <a:gd name="connsiteX1516" fmla="*/ 4207 w 10785"/>
                <a:gd name="connsiteY1516" fmla="*/ 1060 h 10000"/>
                <a:gd name="connsiteX1517" fmla="*/ 4203 w 10785"/>
                <a:gd name="connsiteY1517" fmla="*/ 1068 h 10000"/>
                <a:gd name="connsiteX1518" fmla="*/ 4203 w 10785"/>
                <a:gd name="connsiteY1518" fmla="*/ 1094 h 10000"/>
                <a:gd name="connsiteX1519" fmla="*/ 4203 w 10785"/>
                <a:gd name="connsiteY1519" fmla="*/ 1094 h 10000"/>
                <a:gd name="connsiteX1520" fmla="*/ 4189 w 10785"/>
                <a:gd name="connsiteY1520" fmla="*/ 1094 h 10000"/>
                <a:gd name="connsiteX1521" fmla="*/ 4166 w 10785"/>
                <a:gd name="connsiteY1521" fmla="*/ 1103 h 10000"/>
                <a:gd name="connsiteX1522" fmla="*/ 4152 w 10785"/>
                <a:gd name="connsiteY1522" fmla="*/ 1094 h 10000"/>
                <a:gd name="connsiteX1523" fmla="*/ 4134 w 10785"/>
                <a:gd name="connsiteY1523" fmla="*/ 1120 h 10000"/>
                <a:gd name="connsiteX1524" fmla="*/ 4106 w 10785"/>
                <a:gd name="connsiteY1524" fmla="*/ 1120 h 10000"/>
                <a:gd name="connsiteX1525" fmla="*/ 4092 w 10785"/>
                <a:gd name="connsiteY1525" fmla="*/ 1154 h 10000"/>
                <a:gd name="connsiteX1526" fmla="*/ 4106 w 10785"/>
                <a:gd name="connsiteY1526" fmla="*/ 1171 h 10000"/>
                <a:gd name="connsiteX1527" fmla="*/ 4078 w 10785"/>
                <a:gd name="connsiteY1527" fmla="*/ 1179 h 10000"/>
                <a:gd name="connsiteX1528" fmla="*/ 4065 w 10785"/>
                <a:gd name="connsiteY1528" fmla="*/ 1205 h 10000"/>
                <a:gd name="connsiteX1529" fmla="*/ 4046 w 10785"/>
                <a:gd name="connsiteY1529" fmla="*/ 1179 h 10000"/>
                <a:gd name="connsiteX1530" fmla="*/ 4041 w 10785"/>
                <a:gd name="connsiteY1530" fmla="*/ 1197 h 10000"/>
                <a:gd name="connsiteX1531" fmla="*/ 4028 w 10785"/>
                <a:gd name="connsiteY1531" fmla="*/ 1205 h 10000"/>
                <a:gd name="connsiteX1532" fmla="*/ 4028 w 10785"/>
                <a:gd name="connsiteY1532" fmla="*/ 1205 h 10000"/>
                <a:gd name="connsiteX1533" fmla="*/ 4032 w 10785"/>
                <a:gd name="connsiteY1533" fmla="*/ 1205 h 10000"/>
                <a:gd name="connsiteX1534" fmla="*/ 4032 w 10785"/>
                <a:gd name="connsiteY1534" fmla="*/ 1231 h 10000"/>
                <a:gd name="connsiteX1535" fmla="*/ 4014 w 10785"/>
                <a:gd name="connsiteY1535" fmla="*/ 1239 h 10000"/>
                <a:gd name="connsiteX1536" fmla="*/ 4014 w 10785"/>
                <a:gd name="connsiteY1536" fmla="*/ 1256 h 10000"/>
                <a:gd name="connsiteX1537" fmla="*/ 4000 w 10785"/>
                <a:gd name="connsiteY1537" fmla="*/ 1265 h 10000"/>
                <a:gd name="connsiteX1538" fmla="*/ 3986 w 10785"/>
                <a:gd name="connsiteY1538" fmla="*/ 1308 h 10000"/>
                <a:gd name="connsiteX1539" fmla="*/ 3972 w 10785"/>
                <a:gd name="connsiteY1539" fmla="*/ 1316 h 10000"/>
                <a:gd name="connsiteX1540" fmla="*/ 3972 w 10785"/>
                <a:gd name="connsiteY1540" fmla="*/ 1325 h 10000"/>
                <a:gd name="connsiteX1541" fmla="*/ 3972 w 10785"/>
                <a:gd name="connsiteY1541" fmla="*/ 1342 h 10000"/>
                <a:gd name="connsiteX1542" fmla="*/ 3968 w 10785"/>
                <a:gd name="connsiteY1542" fmla="*/ 1350 h 10000"/>
                <a:gd name="connsiteX1543" fmla="*/ 3954 w 10785"/>
                <a:gd name="connsiteY1543" fmla="*/ 1368 h 10000"/>
                <a:gd name="connsiteX1544" fmla="*/ 3945 w 10785"/>
                <a:gd name="connsiteY1544" fmla="*/ 1350 h 10000"/>
                <a:gd name="connsiteX1545" fmla="*/ 3908 w 10785"/>
                <a:gd name="connsiteY1545" fmla="*/ 1342 h 10000"/>
                <a:gd name="connsiteX1546" fmla="*/ 3894 w 10785"/>
                <a:gd name="connsiteY1546" fmla="*/ 1368 h 10000"/>
                <a:gd name="connsiteX1547" fmla="*/ 3922 w 10785"/>
                <a:gd name="connsiteY1547" fmla="*/ 1393 h 10000"/>
                <a:gd name="connsiteX1548" fmla="*/ 3945 w 10785"/>
                <a:gd name="connsiteY1548" fmla="*/ 1393 h 10000"/>
                <a:gd name="connsiteX1549" fmla="*/ 3940 w 10785"/>
                <a:gd name="connsiteY1549" fmla="*/ 1419 h 10000"/>
                <a:gd name="connsiteX1550" fmla="*/ 3931 w 10785"/>
                <a:gd name="connsiteY1550" fmla="*/ 1427 h 10000"/>
                <a:gd name="connsiteX1551" fmla="*/ 3926 w 10785"/>
                <a:gd name="connsiteY1551" fmla="*/ 1427 h 10000"/>
                <a:gd name="connsiteX1552" fmla="*/ 3922 w 10785"/>
                <a:gd name="connsiteY1552" fmla="*/ 1419 h 10000"/>
                <a:gd name="connsiteX1553" fmla="*/ 3912 w 10785"/>
                <a:gd name="connsiteY1553" fmla="*/ 1427 h 10000"/>
                <a:gd name="connsiteX1554" fmla="*/ 3912 w 10785"/>
                <a:gd name="connsiteY1554" fmla="*/ 1444 h 10000"/>
                <a:gd name="connsiteX1555" fmla="*/ 3894 w 10785"/>
                <a:gd name="connsiteY1555" fmla="*/ 1513 h 10000"/>
                <a:gd name="connsiteX1556" fmla="*/ 3885 w 10785"/>
                <a:gd name="connsiteY1556" fmla="*/ 1513 h 10000"/>
                <a:gd name="connsiteX1557" fmla="*/ 3880 w 10785"/>
                <a:gd name="connsiteY1557" fmla="*/ 1538 h 10000"/>
                <a:gd name="connsiteX1558" fmla="*/ 3885 w 10785"/>
                <a:gd name="connsiteY1558" fmla="*/ 1564 h 10000"/>
                <a:gd name="connsiteX1559" fmla="*/ 3880 w 10785"/>
                <a:gd name="connsiteY1559" fmla="*/ 1581 h 10000"/>
                <a:gd name="connsiteX1560" fmla="*/ 3871 w 10785"/>
                <a:gd name="connsiteY1560" fmla="*/ 1538 h 10000"/>
                <a:gd name="connsiteX1561" fmla="*/ 3853 w 10785"/>
                <a:gd name="connsiteY1561" fmla="*/ 1530 h 10000"/>
                <a:gd name="connsiteX1562" fmla="*/ 3853 w 10785"/>
                <a:gd name="connsiteY1562" fmla="*/ 1504 h 10000"/>
                <a:gd name="connsiteX1563" fmla="*/ 3834 w 10785"/>
                <a:gd name="connsiteY1563" fmla="*/ 1487 h 10000"/>
                <a:gd name="connsiteX1564" fmla="*/ 3834 w 10785"/>
                <a:gd name="connsiteY1564" fmla="*/ 1487 h 10000"/>
                <a:gd name="connsiteX1565" fmla="*/ 3839 w 10785"/>
                <a:gd name="connsiteY1565" fmla="*/ 1513 h 10000"/>
                <a:gd name="connsiteX1566" fmla="*/ 3820 w 10785"/>
                <a:gd name="connsiteY1566" fmla="*/ 1538 h 10000"/>
                <a:gd name="connsiteX1567" fmla="*/ 3820 w 10785"/>
                <a:gd name="connsiteY1567" fmla="*/ 1556 h 10000"/>
                <a:gd name="connsiteX1568" fmla="*/ 3820 w 10785"/>
                <a:gd name="connsiteY1568" fmla="*/ 1564 h 10000"/>
                <a:gd name="connsiteX1569" fmla="*/ 3820 w 10785"/>
                <a:gd name="connsiteY1569" fmla="*/ 1581 h 10000"/>
                <a:gd name="connsiteX1570" fmla="*/ 3853 w 10785"/>
                <a:gd name="connsiteY1570" fmla="*/ 1581 h 10000"/>
                <a:gd name="connsiteX1571" fmla="*/ 3857 w 10785"/>
                <a:gd name="connsiteY1571" fmla="*/ 1598 h 10000"/>
                <a:gd name="connsiteX1572" fmla="*/ 3880 w 10785"/>
                <a:gd name="connsiteY1572" fmla="*/ 1615 h 10000"/>
                <a:gd name="connsiteX1573" fmla="*/ 3871 w 10785"/>
                <a:gd name="connsiteY1573" fmla="*/ 1615 h 10000"/>
                <a:gd name="connsiteX1574" fmla="*/ 3871 w 10785"/>
                <a:gd name="connsiteY1574" fmla="*/ 1641 h 10000"/>
                <a:gd name="connsiteX1575" fmla="*/ 3880 w 10785"/>
                <a:gd name="connsiteY1575" fmla="*/ 1641 h 10000"/>
                <a:gd name="connsiteX1576" fmla="*/ 3871 w 10785"/>
                <a:gd name="connsiteY1576" fmla="*/ 1650 h 10000"/>
                <a:gd name="connsiteX1577" fmla="*/ 3857 w 10785"/>
                <a:gd name="connsiteY1577" fmla="*/ 1650 h 10000"/>
                <a:gd name="connsiteX1578" fmla="*/ 3853 w 10785"/>
                <a:gd name="connsiteY1578" fmla="*/ 1650 h 10000"/>
                <a:gd name="connsiteX1579" fmla="*/ 3839 w 10785"/>
                <a:gd name="connsiteY1579" fmla="*/ 1667 h 10000"/>
                <a:gd name="connsiteX1580" fmla="*/ 3848 w 10785"/>
                <a:gd name="connsiteY1580" fmla="*/ 1692 h 10000"/>
                <a:gd name="connsiteX1581" fmla="*/ 3834 w 10785"/>
                <a:gd name="connsiteY1581" fmla="*/ 1692 h 10000"/>
                <a:gd name="connsiteX1582" fmla="*/ 3825 w 10785"/>
                <a:gd name="connsiteY1582" fmla="*/ 1692 h 10000"/>
                <a:gd name="connsiteX1583" fmla="*/ 3825 w 10785"/>
                <a:gd name="connsiteY1583" fmla="*/ 1718 h 10000"/>
                <a:gd name="connsiteX1584" fmla="*/ 3839 w 10785"/>
                <a:gd name="connsiteY1584" fmla="*/ 1726 h 10000"/>
                <a:gd name="connsiteX1585" fmla="*/ 3880 w 10785"/>
                <a:gd name="connsiteY1585" fmla="*/ 1752 h 10000"/>
                <a:gd name="connsiteX1586" fmla="*/ 3894 w 10785"/>
                <a:gd name="connsiteY1586" fmla="*/ 1829 h 10000"/>
                <a:gd name="connsiteX1587" fmla="*/ 3899 w 10785"/>
                <a:gd name="connsiteY1587" fmla="*/ 1838 h 10000"/>
                <a:gd name="connsiteX1588" fmla="*/ 3894 w 10785"/>
                <a:gd name="connsiteY1588" fmla="*/ 1855 h 10000"/>
                <a:gd name="connsiteX1589" fmla="*/ 3880 w 10785"/>
                <a:gd name="connsiteY1589" fmla="*/ 1838 h 10000"/>
                <a:gd name="connsiteX1590" fmla="*/ 3880 w 10785"/>
                <a:gd name="connsiteY1590" fmla="*/ 1855 h 10000"/>
                <a:gd name="connsiteX1591" fmla="*/ 3880 w 10785"/>
                <a:gd name="connsiteY1591" fmla="*/ 1863 h 10000"/>
                <a:gd name="connsiteX1592" fmla="*/ 3871 w 10785"/>
                <a:gd name="connsiteY1592" fmla="*/ 1872 h 10000"/>
                <a:gd name="connsiteX1593" fmla="*/ 3880 w 10785"/>
                <a:gd name="connsiteY1593" fmla="*/ 1889 h 10000"/>
                <a:gd name="connsiteX1594" fmla="*/ 3885 w 10785"/>
                <a:gd name="connsiteY1594" fmla="*/ 1889 h 10000"/>
                <a:gd name="connsiteX1595" fmla="*/ 3880 w 10785"/>
                <a:gd name="connsiteY1595" fmla="*/ 1897 h 10000"/>
                <a:gd name="connsiteX1596" fmla="*/ 3871 w 10785"/>
                <a:gd name="connsiteY1596" fmla="*/ 1915 h 10000"/>
                <a:gd name="connsiteX1597" fmla="*/ 3848 w 10785"/>
                <a:gd name="connsiteY1597" fmla="*/ 1923 h 10000"/>
                <a:gd name="connsiteX1598" fmla="*/ 3825 w 10785"/>
                <a:gd name="connsiteY1598" fmla="*/ 1940 h 10000"/>
                <a:gd name="connsiteX1599" fmla="*/ 3811 w 10785"/>
                <a:gd name="connsiteY1599" fmla="*/ 1940 h 10000"/>
                <a:gd name="connsiteX1600" fmla="*/ 3806 w 10785"/>
                <a:gd name="connsiteY1600" fmla="*/ 1949 h 10000"/>
                <a:gd name="connsiteX1601" fmla="*/ 3797 w 10785"/>
                <a:gd name="connsiteY1601" fmla="*/ 1966 h 10000"/>
                <a:gd name="connsiteX1602" fmla="*/ 3788 w 10785"/>
                <a:gd name="connsiteY1602" fmla="*/ 1991 h 10000"/>
                <a:gd name="connsiteX1603" fmla="*/ 3765 w 10785"/>
                <a:gd name="connsiteY1603" fmla="*/ 1974 h 10000"/>
                <a:gd name="connsiteX1604" fmla="*/ 3760 w 10785"/>
                <a:gd name="connsiteY1604" fmla="*/ 1966 h 10000"/>
                <a:gd name="connsiteX1605" fmla="*/ 3760 w 10785"/>
                <a:gd name="connsiteY1605" fmla="*/ 1966 h 10000"/>
                <a:gd name="connsiteX1606" fmla="*/ 3631 w 10785"/>
                <a:gd name="connsiteY1606" fmla="*/ 2009 h 10000"/>
                <a:gd name="connsiteX1607" fmla="*/ 3618 w 10785"/>
                <a:gd name="connsiteY1607" fmla="*/ 2000 h 10000"/>
                <a:gd name="connsiteX1608" fmla="*/ 3599 w 10785"/>
                <a:gd name="connsiteY1608" fmla="*/ 2009 h 10000"/>
                <a:gd name="connsiteX1609" fmla="*/ 3571 w 10785"/>
                <a:gd name="connsiteY1609" fmla="*/ 2000 h 10000"/>
                <a:gd name="connsiteX1610" fmla="*/ 3530 w 10785"/>
                <a:gd name="connsiteY1610" fmla="*/ 2026 h 10000"/>
                <a:gd name="connsiteX1611" fmla="*/ 3530 w 10785"/>
                <a:gd name="connsiteY1611" fmla="*/ 2034 h 10000"/>
                <a:gd name="connsiteX1612" fmla="*/ 3525 w 10785"/>
                <a:gd name="connsiteY1612" fmla="*/ 2051 h 10000"/>
                <a:gd name="connsiteX1613" fmla="*/ 3512 w 10785"/>
                <a:gd name="connsiteY1613" fmla="*/ 2034 h 10000"/>
                <a:gd name="connsiteX1614" fmla="*/ 3507 w 10785"/>
                <a:gd name="connsiteY1614" fmla="*/ 2034 h 10000"/>
                <a:gd name="connsiteX1615" fmla="*/ 3498 w 10785"/>
                <a:gd name="connsiteY1615" fmla="*/ 2051 h 10000"/>
                <a:gd name="connsiteX1616" fmla="*/ 3484 w 10785"/>
                <a:gd name="connsiteY1616" fmla="*/ 2060 h 10000"/>
                <a:gd name="connsiteX1617" fmla="*/ 3484 w 10785"/>
                <a:gd name="connsiteY1617" fmla="*/ 2085 h 10000"/>
                <a:gd name="connsiteX1618" fmla="*/ 3484 w 10785"/>
                <a:gd name="connsiteY1618" fmla="*/ 2103 h 10000"/>
                <a:gd name="connsiteX1619" fmla="*/ 3493 w 10785"/>
                <a:gd name="connsiteY1619" fmla="*/ 2103 h 10000"/>
                <a:gd name="connsiteX1620" fmla="*/ 3493 w 10785"/>
                <a:gd name="connsiteY1620" fmla="*/ 2085 h 10000"/>
                <a:gd name="connsiteX1621" fmla="*/ 3498 w 10785"/>
                <a:gd name="connsiteY1621" fmla="*/ 2085 h 10000"/>
                <a:gd name="connsiteX1622" fmla="*/ 3498 w 10785"/>
                <a:gd name="connsiteY1622" fmla="*/ 2111 h 10000"/>
                <a:gd name="connsiteX1623" fmla="*/ 3484 w 10785"/>
                <a:gd name="connsiteY1623" fmla="*/ 2120 h 10000"/>
                <a:gd name="connsiteX1624" fmla="*/ 3484 w 10785"/>
                <a:gd name="connsiteY1624" fmla="*/ 2145 h 10000"/>
                <a:gd name="connsiteX1625" fmla="*/ 3470 w 10785"/>
                <a:gd name="connsiteY1625" fmla="*/ 2137 h 10000"/>
                <a:gd name="connsiteX1626" fmla="*/ 3465 w 10785"/>
                <a:gd name="connsiteY1626" fmla="*/ 2145 h 10000"/>
                <a:gd name="connsiteX1627" fmla="*/ 3470 w 10785"/>
                <a:gd name="connsiteY1627" fmla="*/ 2171 h 10000"/>
                <a:gd name="connsiteX1628" fmla="*/ 3484 w 10785"/>
                <a:gd name="connsiteY1628" fmla="*/ 2171 h 10000"/>
                <a:gd name="connsiteX1629" fmla="*/ 3484 w 10785"/>
                <a:gd name="connsiteY1629" fmla="*/ 2197 h 10000"/>
                <a:gd name="connsiteX1630" fmla="*/ 3465 w 10785"/>
                <a:gd name="connsiteY1630" fmla="*/ 2214 h 10000"/>
                <a:gd name="connsiteX1631" fmla="*/ 3493 w 10785"/>
                <a:gd name="connsiteY1631" fmla="*/ 2248 h 10000"/>
                <a:gd name="connsiteX1632" fmla="*/ 3484 w 10785"/>
                <a:gd name="connsiteY1632" fmla="*/ 2256 h 10000"/>
                <a:gd name="connsiteX1633" fmla="*/ 3498 w 10785"/>
                <a:gd name="connsiteY1633" fmla="*/ 2274 h 10000"/>
                <a:gd name="connsiteX1634" fmla="*/ 3498 w 10785"/>
                <a:gd name="connsiteY1634" fmla="*/ 2256 h 10000"/>
                <a:gd name="connsiteX1635" fmla="*/ 3507 w 10785"/>
                <a:gd name="connsiteY1635" fmla="*/ 2308 h 10000"/>
                <a:gd name="connsiteX1636" fmla="*/ 3512 w 10785"/>
                <a:gd name="connsiteY1636" fmla="*/ 2325 h 10000"/>
                <a:gd name="connsiteX1637" fmla="*/ 3507 w 10785"/>
                <a:gd name="connsiteY1637" fmla="*/ 2333 h 10000"/>
                <a:gd name="connsiteX1638" fmla="*/ 3507 w 10785"/>
                <a:gd name="connsiteY1638" fmla="*/ 2359 h 10000"/>
                <a:gd name="connsiteX1639" fmla="*/ 3507 w 10785"/>
                <a:gd name="connsiteY1639" fmla="*/ 2376 h 10000"/>
                <a:gd name="connsiteX1640" fmla="*/ 3498 w 10785"/>
                <a:gd name="connsiteY1640" fmla="*/ 2410 h 10000"/>
                <a:gd name="connsiteX1641" fmla="*/ 3498 w 10785"/>
                <a:gd name="connsiteY1641" fmla="*/ 2436 h 10000"/>
                <a:gd name="connsiteX1642" fmla="*/ 3507 w 10785"/>
                <a:gd name="connsiteY1642" fmla="*/ 2462 h 10000"/>
                <a:gd name="connsiteX1643" fmla="*/ 3507 w 10785"/>
                <a:gd name="connsiteY1643" fmla="*/ 2496 h 10000"/>
                <a:gd name="connsiteX1644" fmla="*/ 3512 w 10785"/>
                <a:gd name="connsiteY1644" fmla="*/ 2521 h 10000"/>
                <a:gd name="connsiteX1645" fmla="*/ 3525 w 10785"/>
                <a:gd name="connsiteY1645" fmla="*/ 2556 h 10000"/>
                <a:gd name="connsiteX1646" fmla="*/ 3571 w 10785"/>
                <a:gd name="connsiteY1646" fmla="*/ 2573 h 10000"/>
                <a:gd name="connsiteX1647" fmla="*/ 3590 w 10785"/>
                <a:gd name="connsiteY1647" fmla="*/ 2598 h 10000"/>
                <a:gd name="connsiteX1648" fmla="*/ 3599 w 10785"/>
                <a:gd name="connsiteY1648" fmla="*/ 2598 h 10000"/>
                <a:gd name="connsiteX1649" fmla="*/ 3604 w 10785"/>
                <a:gd name="connsiteY1649" fmla="*/ 2632 h 10000"/>
                <a:gd name="connsiteX1650" fmla="*/ 3599 w 10785"/>
                <a:gd name="connsiteY1650" fmla="*/ 2658 h 10000"/>
                <a:gd name="connsiteX1651" fmla="*/ 3590 w 10785"/>
                <a:gd name="connsiteY1651" fmla="*/ 2667 h 10000"/>
                <a:gd name="connsiteX1652" fmla="*/ 3604 w 10785"/>
                <a:gd name="connsiteY1652" fmla="*/ 2667 h 10000"/>
                <a:gd name="connsiteX1653" fmla="*/ 3613 w 10785"/>
                <a:gd name="connsiteY1653" fmla="*/ 2692 h 10000"/>
                <a:gd name="connsiteX1654" fmla="*/ 3627 w 10785"/>
                <a:gd name="connsiteY1654" fmla="*/ 2735 h 10000"/>
                <a:gd name="connsiteX1655" fmla="*/ 3631 w 10785"/>
                <a:gd name="connsiteY1655" fmla="*/ 2744 h 10000"/>
                <a:gd name="connsiteX1656" fmla="*/ 3659 w 10785"/>
                <a:gd name="connsiteY1656" fmla="*/ 2761 h 10000"/>
                <a:gd name="connsiteX1657" fmla="*/ 3673 w 10785"/>
                <a:gd name="connsiteY1657" fmla="*/ 2769 h 10000"/>
                <a:gd name="connsiteX1658" fmla="*/ 3673 w 10785"/>
                <a:gd name="connsiteY1658" fmla="*/ 2761 h 10000"/>
                <a:gd name="connsiteX1659" fmla="*/ 3687 w 10785"/>
                <a:gd name="connsiteY1659" fmla="*/ 2829 h 10000"/>
                <a:gd name="connsiteX1660" fmla="*/ 3677 w 10785"/>
                <a:gd name="connsiteY1660" fmla="*/ 2897 h 10000"/>
                <a:gd name="connsiteX1661" fmla="*/ 3673 w 10785"/>
                <a:gd name="connsiteY1661" fmla="*/ 2915 h 10000"/>
                <a:gd name="connsiteX1662" fmla="*/ 3664 w 10785"/>
                <a:gd name="connsiteY1662" fmla="*/ 2957 h 10000"/>
                <a:gd name="connsiteX1663" fmla="*/ 3659 w 10785"/>
                <a:gd name="connsiteY1663" fmla="*/ 2983 h 10000"/>
                <a:gd name="connsiteX1664" fmla="*/ 3664 w 10785"/>
                <a:gd name="connsiteY1664" fmla="*/ 3017 h 10000"/>
                <a:gd name="connsiteX1665" fmla="*/ 3659 w 10785"/>
                <a:gd name="connsiteY1665" fmla="*/ 3043 h 10000"/>
                <a:gd name="connsiteX1666" fmla="*/ 3677 w 10785"/>
                <a:gd name="connsiteY1666" fmla="*/ 3094 h 10000"/>
                <a:gd name="connsiteX1667" fmla="*/ 3691 w 10785"/>
                <a:gd name="connsiteY1667" fmla="*/ 3282 h 10000"/>
                <a:gd name="connsiteX1668" fmla="*/ 3691 w 10785"/>
                <a:gd name="connsiteY1668" fmla="*/ 3308 h 10000"/>
                <a:gd name="connsiteX1669" fmla="*/ 3677 w 10785"/>
                <a:gd name="connsiteY1669" fmla="*/ 3342 h 10000"/>
                <a:gd name="connsiteX1670" fmla="*/ 3664 w 10785"/>
                <a:gd name="connsiteY1670" fmla="*/ 3342 h 10000"/>
                <a:gd name="connsiteX1671" fmla="*/ 3650 w 10785"/>
                <a:gd name="connsiteY1671" fmla="*/ 3342 h 10000"/>
                <a:gd name="connsiteX1672" fmla="*/ 3650 w 10785"/>
                <a:gd name="connsiteY1672" fmla="*/ 3350 h 10000"/>
                <a:gd name="connsiteX1673" fmla="*/ 3659 w 10785"/>
                <a:gd name="connsiteY1673" fmla="*/ 3402 h 10000"/>
                <a:gd name="connsiteX1674" fmla="*/ 3659 w 10785"/>
                <a:gd name="connsiteY1674" fmla="*/ 3419 h 10000"/>
                <a:gd name="connsiteX1675" fmla="*/ 3631 w 10785"/>
                <a:gd name="connsiteY1675" fmla="*/ 3402 h 10000"/>
                <a:gd name="connsiteX1676" fmla="*/ 3604 w 10785"/>
                <a:gd name="connsiteY1676" fmla="*/ 3393 h 10000"/>
                <a:gd name="connsiteX1677" fmla="*/ 3599 w 10785"/>
                <a:gd name="connsiteY1677" fmla="*/ 3368 h 10000"/>
                <a:gd name="connsiteX1678" fmla="*/ 3590 w 10785"/>
                <a:gd name="connsiteY1678" fmla="*/ 3239 h 10000"/>
                <a:gd name="connsiteX1679" fmla="*/ 3599 w 10785"/>
                <a:gd name="connsiteY1679" fmla="*/ 3179 h 10000"/>
                <a:gd name="connsiteX1680" fmla="*/ 3599 w 10785"/>
                <a:gd name="connsiteY1680" fmla="*/ 3171 h 10000"/>
                <a:gd name="connsiteX1681" fmla="*/ 3599 w 10785"/>
                <a:gd name="connsiteY1681" fmla="*/ 3009 h 10000"/>
                <a:gd name="connsiteX1682" fmla="*/ 3604 w 10785"/>
                <a:gd name="connsiteY1682" fmla="*/ 2983 h 10000"/>
                <a:gd name="connsiteX1683" fmla="*/ 3645 w 10785"/>
                <a:gd name="connsiteY1683" fmla="*/ 2932 h 10000"/>
                <a:gd name="connsiteX1684" fmla="*/ 3650 w 10785"/>
                <a:gd name="connsiteY1684" fmla="*/ 2872 h 10000"/>
                <a:gd name="connsiteX1685" fmla="*/ 3659 w 10785"/>
                <a:gd name="connsiteY1685" fmla="*/ 2855 h 10000"/>
                <a:gd name="connsiteX1686" fmla="*/ 3659 w 10785"/>
                <a:gd name="connsiteY1686" fmla="*/ 2821 h 10000"/>
                <a:gd name="connsiteX1687" fmla="*/ 3631 w 10785"/>
                <a:gd name="connsiteY1687" fmla="*/ 2795 h 10000"/>
                <a:gd name="connsiteX1688" fmla="*/ 3567 w 10785"/>
                <a:gd name="connsiteY1688" fmla="*/ 2821 h 10000"/>
                <a:gd name="connsiteX1689" fmla="*/ 3544 w 10785"/>
                <a:gd name="connsiteY1689" fmla="*/ 2795 h 10000"/>
                <a:gd name="connsiteX1690" fmla="*/ 3530 w 10785"/>
                <a:gd name="connsiteY1690" fmla="*/ 2769 h 10000"/>
                <a:gd name="connsiteX1691" fmla="*/ 3530 w 10785"/>
                <a:gd name="connsiteY1691" fmla="*/ 2786 h 10000"/>
                <a:gd name="connsiteX1692" fmla="*/ 3498 w 10785"/>
                <a:gd name="connsiteY1692" fmla="*/ 2692 h 10000"/>
                <a:gd name="connsiteX1693" fmla="*/ 3498 w 10785"/>
                <a:gd name="connsiteY1693" fmla="*/ 2667 h 10000"/>
                <a:gd name="connsiteX1694" fmla="*/ 3442 w 10785"/>
                <a:gd name="connsiteY1694" fmla="*/ 2607 h 10000"/>
                <a:gd name="connsiteX1695" fmla="*/ 3433 w 10785"/>
                <a:gd name="connsiteY1695" fmla="*/ 2581 h 10000"/>
                <a:gd name="connsiteX1696" fmla="*/ 3396 w 10785"/>
                <a:gd name="connsiteY1696" fmla="*/ 2556 h 10000"/>
                <a:gd name="connsiteX1697" fmla="*/ 3318 w 10785"/>
                <a:gd name="connsiteY1697" fmla="*/ 2556 h 10000"/>
                <a:gd name="connsiteX1698" fmla="*/ 3304 w 10785"/>
                <a:gd name="connsiteY1698" fmla="*/ 2607 h 10000"/>
                <a:gd name="connsiteX1699" fmla="*/ 3276 w 10785"/>
                <a:gd name="connsiteY1699" fmla="*/ 2632 h 10000"/>
                <a:gd name="connsiteX1700" fmla="*/ 3272 w 10785"/>
                <a:gd name="connsiteY1700" fmla="*/ 2667 h 10000"/>
                <a:gd name="connsiteX1701" fmla="*/ 3304 w 10785"/>
                <a:gd name="connsiteY1701" fmla="*/ 2667 h 10000"/>
                <a:gd name="connsiteX1702" fmla="*/ 3323 w 10785"/>
                <a:gd name="connsiteY1702" fmla="*/ 2692 h 10000"/>
                <a:gd name="connsiteX1703" fmla="*/ 3318 w 10785"/>
                <a:gd name="connsiteY1703" fmla="*/ 2735 h 10000"/>
                <a:gd name="connsiteX1704" fmla="*/ 3304 w 10785"/>
                <a:gd name="connsiteY1704" fmla="*/ 2761 h 10000"/>
                <a:gd name="connsiteX1705" fmla="*/ 3276 w 10785"/>
                <a:gd name="connsiteY1705" fmla="*/ 2769 h 10000"/>
                <a:gd name="connsiteX1706" fmla="*/ 3263 w 10785"/>
                <a:gd name="connsiteY1706" fmla="*/ 2795 h 10000"/>
                <a:gd name="connsiteX1707" fmla="*/ 3235 w 10785"/>
                <a:gd name="connsiteY1707" fmla="*/ 2803 h 10000"/>
                <a:gd name="connsiteX1708" fmla="*/ 3235 w 10785"/>
                <a:gd name="connsiteY1708" fmla="*/ 2786 h 10000"/>
                <a:gd name="connsiteX1709" fmla="*/ 3212 w 10785"/>
                <a:gd name="connsiteY1709" fmla="*/ 2709 h 10000"/>
                <a:gd name="connsiteX1710" fmla="*/ 3198 w 10785"/>
                <a:gd name="connsiteY1710" fmla="*/ 2709 h 10000"/>
                <a:gd name="connsiteX1711" fmla="*/ 3184 w 10785"/>
                <a:gd name="connsiteY1711" fmla="*/ 2735 h 10000"/>
                <a:gd name="connsiteX1712" fmla="*/ 3189 w 10785"/>
                <a:gd name="connsiteY1712" fmla="*/ 2761 h 10000"/>
                <a:gd name="connsiteX1713" fmla="*/ 3203 w 10785"/>
                <a:gd name="connsiteY1713" fmla="*/ 2855 h 10000"/>
                <a:gd name="connsiteX1714" fmla="*/ 3212 w 10785"/>
                <a:gd name="connsiteY1714" fmla="*/ 2872 h 10000"/>
                <a:gd name="connsiteX1715" fmla="*/ 3235 w 10785"/>
                <a:gd name="connsiteY1715" fmla="*/ 2906 h 10000"/>
                <a:gd name="connsiteX1716" fmla="*/ 3258 w 10785"/>
                <a:gd name="connsiteY1716" fmla="*/ 2915 h 10000"/>
                <a:gd name="connsiteX1717" fmla="*/ 3272 w 10785"/>
                <a:gd name="connsiteY1717" fmla="*/ 2957 h 10000"/>
                <a:gd name="connsiteX1718" fmla="*/ 3276 w 10785"/>
                <a:gd name="connsiteY1718" fmla="*/ 2957 h 10000"/>
                <a:gd name="connsiteX1719" fmla="*/ 3286 w 10785"/>
                <a:gd name="connsiteY1719" fmla="*/ 2966 h 10000"/>
                <a:gd name="connsiteX1720" fmla="*/ 3300 w 10785"/>
                <a:gd name="connsiteY1720" fmla="*/ 2957 h 10000"/>
                <a:gd name="connsiteX1721" fmla="*/ 3309 w 10785"/>
                <a:gd name="connsiteY1721" fmla="*/ 2932 h 10000"/>
                <a:gd name="connsiteX1722" fmla="*/ 3304 w 10785"/>
                <a:gd name="connsiteY1722" fmla="*/ 2966 h 10000"/>
                <a:gd name="connsiteX1723" fmla="*/ 3309 w 10785"/>
                <a:gd name="connsiteY1723" fmla="*/ 2983 h 10000"/>
                <a:gd name="connsiteX1724" fmla="*/ 3323 w 10785"/>
                <a:gd name="connsiteY1724" fmla="*/ 2966 h 10000"/>
                <a:gd name="connsiteX1725" fmla="*/ 3323 w 10785"/>
                <a:gd name="connsiteY1725" fmla="*/ 3043 h 10000"/>
                <a:gd name="connsiteX1726" fmla="*/ 3346 w 10785"/>
                <a:gd name="connsiteY1726" fmla="*/ 3068 h 10000"/>
                <a:gd name="connsiteX1727" fmla="*/ 3346 w 10785"/>
                <a:gd name="connsiteY1727" fmla="*/ 3094 h 10000"/>
                <a:gd name="connsiteX1728" fmla="*/ 3323 w 10785"/>
                <a:gd name="connsiteY1728" fmla="*/ 3094 h 10000"/>
                <a:gd name="connsiteX1729" fmla="*/ 3309 w 10785"/>
                <a:gd name="connsiteY1729" fmla="*/ 3077 h 10000"/>
                <a:gd name="connsiteX1730" fmla="*/ 3304 w 10785"/>
                <a:gd name="connsiteY1730" fmla="*/ 3051 h 10000"/>
                <a:gd name="connsiteX1731" fmla="*/ 3300 w 10785"/>
                <a:gd name="connsiteY1731" fmla="*/ 3043 h 10000"/>
                <a:gd name="connsiteX1732" fmla="*/ 3286 w 10785"/>
                <a:gd name="connsiteY1732" fmla="*/ 3017 h 10000"/>
                <a:gd name="connsiteX1733" fmla="*/ 3152 w 10785"/>
                <a:gd name="connsiteY1733" fmla="*/ 2966 h 10000"/>
                <a:gd name="connsiteX1734" fmla="*/ 3129 w 10785"/>
                <a:gd name="connsiteY1734" fmla="*/ 2915 h 10000"/>
                <a:gd name="connsiteX1735" fmla="*/ 3129 w 10785"/>
                <a:gd name="connsiteY1735" fmla="*/ 2906 h 10000"/>
                <a:gd name="connsiteX1736" fmla="*/ 3152 w 10785"/>
                <a:gd name="connsiteY1736" fmla="*/ 2906 h 10000"/>
                <a:gd name="connsiteX1737" fmla="*/ 3152 w 10785"/>
                <a:gd name="connsiteY1737" fmla="*/ 2846 h 10000"/>
                <a:gd name="connsiteX1738" fmla="*/ 3138 w 10785"/>
                <a:gd name="connsiteY1738" fmla="*/ 2795 h 10000"/>
                <a:gd name="connsiteX1739" fmla="*/ 3138 w 10785"/>
                <a:gd name="connsiteY1739" fmla="*/ 2769 h 10000"/>
                <a:gd name="connsiteX1740" fmla="*/ 3143 w 10785"/>
                <a:gd name="connsiteY1740" fmla="*/ 2718 h 10000"/>
                <a:gd name="connsiteX1741" fmla="*/ 3129 w 10785"/>
                <a:gd name="connsiteY1741" fmla="*/ 2692 h 10000"/>
                <a:gd name="connsiteX1742" fmla="*/ 3143 w 10785"/>
                <a:gd name="connsiteY1742" fmla="*/ 2667 h 10000"/>
                <a:gd name="connsiteX1743" fmla="*/ 3157 w 10785"/>
                <a:gd name="connsiteY1743" fmla="*/ 2581 h 10000"/>
                <a:gd name="connsiteX1744" fmla="*/ 3143 w 10785"/>
                <a:gd name="connsiteY1744" fmla="*/ 2496 h 10000"/>
                <a:gd name="connsiteX1745" fmla="*/ 3157 w 10785"/>
                <a:gd name="connsiteY1745" fmla="*/ 2487 h 10000"/>
                <a:gd name="connsiteX1746" fmla="*/ 3143 w 10785"/>
                <a:gd name="connsiteY1746" fmla="*/ 2444 h 10000"/>
                <a:gd name="connsiteX1747" fmla="*/ 3143 w 10785"/>
                <a:gd name="connsiteY1747" fmla="*/ 2419 h 10000"/>
                <a:gd name="connsiteX1748" fmla="*/ 3143 w 10785"/>
                <a:gd name="connsiteY1748" fmla="*/ 2410 h 10000"/>
                <a:gd name="connsiteX1749" fmla="*/ 3124 w 10785"/>
                <a:gd name="connsiteY1749" fmla="*/ 2376 h 10000"/>
                <a:gd name="connsiteX1750" fmla="*/ 3115 w 10785"/>
                <a:gd name="connsiteY1750" fmla="*/ 2350 h 10000"/>
                <a:gd name="connsiteX1751" fmla="*/ 3101 w 10785"/>
                <a:gd name="connsiteY1751" fmla="*/ 2359 h 10000"/>
                <a:gd name="connsiteX1752" fmla="*/ 3115 w 10785"/>
                <a:gd name="connsiteY1752" fmla="*/ 2581 h 10000"/>
                <a:gd name="connsiteX1753" fmla="*/ 3111 w 10785"/>
                <a:gd name="connsiteY1753" fmla="*/ 2624 h 10000"/>
                <a:gd name="connsiteX1754" fmla="*/ 3009 w 10785"/>
                <a:gd name="connsiteY1754" fmla="*/ 2761 h 10000"/>
                <a:gd name="connsiteX1755" fmla="*/ 3009 w 10785"/>
                <a:gd name="connsiteY1755" fmla="*/ 2803 h 10000"/>
                <a:gd name="connsiteX1756" fmla="*/ 3005 w 10785"/>
                <a:gd name="connsiteY1756" fmla="*/ 2829 h 10000"/>
                <a:gd name="connsiteX1757" fmla="*/ 2982 w 10785"/>
                <a:gd name="connsiteY1757" fmla="*/ 2872 h 10000"/>
                <a:gd name="connsiteX1758" fmla="*/ 2982 w 10785"/>
                <a:gd name="connsiteY1758" fmla="*/ 2880 h 10000"/>
                <a:gd name="connsiteX1759" fmla="*/ 3037 w 10785"/>
                <a:gd name="connsiteY1759" fmla="*/ 3034 h 10000"/>
                <a:gd name="connsiteX1760" fmla="*/ 3041 w 10785"/>
                <a:gd name="connsiteY1760" fmla="*/ 3103 h 10000"/>
                <a:gd name="connsiteX1761" fmla="*/ 3069 w 10785"/>
                <a:gd name="connsiteY1761" fmla="*/ 3188 h 10000"/>
                <a:gd name="connsiteX1762" fmla="*/ 3055 w 10785"/>
                <a:gd name="connsiteY1762" fmla="*/ 3325 h 10000"/>
                <a:gd name="connsiteX1763" fmla="*/ 3037 w 10785"/>
                <a:gd name="connsiteY1763" fmla="*/ 3368 h 10000"/>
                <a:gd name="connsiteX1764" fmla="*/ 3037 w 10785"/>
                <a:gd name="connsiteY1764" fmla="*/ 3444 h 10000"/>
                <a:gd name="connsiteX1765" fmla="*/ 3028 w 10785"/>
                <a:gd name="connsiteY1765" fmla="*/ 3453 h 10000"/>
                <a:gd name="connsiteX1766" fmla="*/ 3023 w 10785"/>
                <a:gd name="connsiteY1766" fmla="*/ 3530 h 10000"/>
                <a:gd name="connsiteX1767" fmla="*/ 3051 w 10785"/>
                <a:gd name="connsiteY1767" fmla="*/ 3624 h 10000"/>
                <a:gd name="connsiteX1768" fmla="*/ 3037 w 10785"/>
                <a:gd name="connsiteY1768" fmla="*/ 3718 h 10000"/>
                <a:gd name="connsiteX1769" fmla="*/ 3041 w 10785"/>
                <a:gd name="connsiteY1769" fmla="*/ 3752 h 10000"/>
                <a:gd name="connsiteX1770" fmla="*/ 3055 w 10785"/>
                <a:gd name="connsiteY1770" fmla="*/ 3761 h 10000"/>
                <a:gd name="connsiteX1771" fmla="*/ 3078 w 10785"/>
                <a:gd name="connsiteY1771" fmla="*/ 3752 h 10000"/>
                <a:gd name="connsiteX1772" fmla="*/ 3092 w 10785"/>
                <a:gd name="connsiteY1772" fmla="*/ 3752 h 10000"/>
                <a:gd name="connsiteX1773" fmla="*/ 3129 w 10785"/>
                <a:gd name="connsiteY1773" fmla="*/ 3761 h 10000"/>
                <a:gd name="connsiteX1774" fmla="*/ 3129 w 10785"/>
                <a:gd name="connsiteY1774" fmla="*/ 3735 h 10000"/>
                <a:gd name="connsiteX1775" fmla="*/ 3157 w 10785"/>
                <a:gd name="connsiteY1775" fmla="*/ 3718 h 10000"/>
                <a:gd name="connsiteX1776" fmla="*/ 3184 w 10785"/>
                <a:gd name="connsiteY1776" fmla="*/ 3718 h 10000"/>
                <a:gd name="connsiteX1777" fmla="*/ 3290 w 10785"/>
                <a:gd name="connsiteY1777" fmla="*/ 3838 h 10000"/>
                <a:gd name="connsiteX1778" fmla="*/ 3300 w 10785"/>
                <a:gd name="connsiteY1778" fmla="*/ 3846 h 10000"/>
                <a:gd name="connsiteX1779" fmla="*/ 3300 w 10785"/>
                <a:gd name="connsiteY1779" fmla="*/ 3915 h 10000"/>
                <a:gd name="connsiteX1780" fmla="*/ 3318 w 10785"/>
                <a:gd name="connsiteY1780" fmla="*/ 4000 h 10000"/>
                <a:gd name="connsiteX1781" fmla="*/ 3323 w 10785"/>
                <a:gd name="connsiteY1781" fmla="*/ 4000 h 10000"/>
                <a:gd name="connsiteX1782" fmla="*/ 3323 w 10785"/>
                <a:gd name="connsiteY1782" fmla="*/ 4034 h 10000"/>
                <a:gd name="connsiteX1783" fmla="*/ 3318 w 10785"/>
                <a:gd name="connsiteY1783" fmla="*/ 4051 h 10000"/>
                <a:gd name="connsiteX1784" fmla="*/ 3300 w 10785"/>
                <a:gd name="connsiteY1784" fmla="*/ 4051 h 10000"/>
                <a:gd name="connsiteX1785" fmla="*/ 3290 w 10785"/>
                <a:gd name="connsiteY1785" fmla="*/ 4077 h 10000"/>
                <a:gd name="connsiteX1786" fmla="*/ 3286 w 10785"/>
                <a:gd name="connsiteY1786" fmla="*/ 4103 h 10000"/>
                <a:gd name="connsiteX1787" fmla="*/ 3286 w 10785"/>
                <a:gd name="connsiteY1787" fmla="*/ 4197 h 10000"/>
                <a:gd name="connsiteX1788" fmla="*/ 3290 w 10785"/>
                <a:gd name="connsiteY1788" fmla="*/ 4214 h 10000"/>
                <a:gd name="connsiteX1789" fmla="*/ 3304 w 10785"/>
                <a:gd name="connsiteY1789" fmla="*/ 4214 h 10000"/>
                <a:gd name="connsiteX1790" fmla="*/ 3323 w 10785"/>
                <a:gd name="connsiteY1790" fmla="*/ 4239 h 10000"/>
                <a:gd name="connsiteX1791" fmla="*/ 3350 w 10785"/>
                <a:gd name="connsiteY1791" fmla="*/ 4222 h 10000"/>
                <a:gd name="connsiteX1792" fmla="*/ 3369 w 10785"/>
                <a:gd name="connsiteY1792" fmla="*/ 4256 h 10000"/>
                <a:gd name="connsiteX1793" fmla="*/ 3369 w 10785"/>
                <a:gd name="connsiteY1793" fmla="*/ 4256 h 10000"/>
                <a:gd name="connsiteX1794" fmla="*/ 3336 w 10785"/>
                <a:gd name="connsiteY1794" fmla="*/ 4274 h 10000"/>
                <a:gd name="connsiteX1795" fmla="*/ 3323 w 10785"/>
                <a:gd name="connsiteY1795" fmla="*/ 4274 h 10000"/>
                <a:gd name="connsiteX1796" fmla="*/ 3290 w 10785"/>
                <a:gd name="connsiteY1796" fmla="*/ 4274 h 10000"/>
                <a:gd name="connsiteX1797" fmla="*/ 3286 w 10785"/>
                <a:gd name="connsiteY1797" fmla="*/ 4239 h 10000"/>
                <a:gd name="connsiteX1798" fmla="*/ 3263 w 10785"/>
                <a:gd name="connsiteY1798" fmla="*/ 4214 h 10000"/>
                <a:gd name="connsiteX1799" fmla="*/ 3258 w 10785"/>
                <a:gd name="connsiteY1799" fmla="*/ 4188 h 10000"/>
                <a:gd name="connsiteX1800" fmla="*/ 3263 w 10785"/>
                <a:gd name="connsiteY1800" fmla="*/ 4171 h 10000"/>
                <a:gd name="connsiteX1801" fmla="*/ 3263 w 10785"/>
                <a:gd name="connsiteY1801" fmla="*/ 4103 h 10000"/>
                <a:gd name="connsiteX1802" fmla="*/ 3276 w 10785"/>
                <a:gd name="connsiteY1802" fmla="*/ 4060 h 10000"/>
                <a:gd name="connsiteX1803" fmla="*/ 3272 w 10785"/>
                <a:gd name="connsiteY1803" fmla="*/ 4051 h 10000"/>
                <a:gd name="connsiteX1804" fmla="*/ 3263 w 10785"/>
                <a:gd name="connsiteY1804" fmla="*/ 4051 h 10000"/>
                <a:gd name="connsiteX1805" fmla="*/ 3263 w 10785"/>
                <a:gd name="connsiteY1805" fmla="*/ 4034 h 10000"/>
                <a:gd name="connsiteX1806" fmla="*/ 3263 w 10785"/>
                <a:gd name="connsiteY1806" fmla="*/ 4000 h 10000"/>
                <a:gd name="connsiteX1807" fmla="*/ 3272 w 10785"/>
                <a:gd name="connsiteY1807" fmla="*/ 4000 h 10000"/>
                <a:gd name="connsiteX1808" fmla="*/ 3272 w 10785"/>
                <a:gd name="connsiteY1808" fmla="*/ 3974 h 10000"/>
                <a:gd name="connsiteX1809" fmla="*/ 3272 w 10785"/>
                <a:gd name="connsiteY1809" fmla="*/ 3966 h 10000"/>
                <a:gd name="connsiteX1810" fmla="*/ 3272 w 10785"/>
                <a:gd name="connsiteY1810" fmla="*/ 3949 h 10000"/>
                <a:gd name="connsiteX1811" fmla="*/ 3258 w 10785"/>
                <a:gd name="connsiteY1811" fmla="*/ 3923 h 10000"/>
                <a:gd name="connsiteX1812" fmla="*/ 3249 w 10785"/>
                <a:gd name="connsiteY1812" fmla="*/ 3915 h 10000"/>
                <a:gd name="connsiteX1813" fmla="*/ 3244 w 10785"/>
                <a:gd name="connsiteY1813" fmla="*/ 3897 h 10000"/>
                <a:gd name="connsiteX1814" fmla="*/ 3230 w 10785"/>
                <a:gd name="connsiteY1814" fmla="*/ 3889 h 10000"/>
                <a:gd name="connsiteX1815" fmla="*/ 3230 w 10785"/>
                <a:gd name="connsiteY1815" fmla="*/ 3863 h 10000"/>
                <a:gd name="connsiteX1816" fmla="*/ 3230 w 10785"/>
                <a:gd name="connsiteY1816" fmla="*/ 3838 h 10000"/>
                <a:gd name="connsiteX1817" fmla="*/ 3226 w 10785"/>
                <a:gd name="connsiteY1817" fmla="*/ 3803 h 10000"/>
                <a:gd name="connsiteX1818" fmla="*/ 3138 w 10785"/>
                <a:gd name="connsiteY1818" fmla="*/ 3838 h 10000"/>
                <a:gd name="connsiteX1819" fmla="*/ 3078 w 10785"/>
                <a:gd name="connsiteY1819" fmla="*/ 3889 h 10000"/>
                <a:gd name="connsiteX1820" fmla="*/ 3078 w 10785"/>
                <a:gd name="connsiteY1820" fmla="*/ 3940 h 10000"/>
                <a:gd name="connsiteX1821" fmla="*/ 3069 w 10785"/>
                <a:gd name="connsiteY1821" fmla="*/ 3983 h 10000"/>
                <a:gd name="connsiteX1822" fmla="*/ 3069 w 10785"/>
                <a:gd name="connsiteY1822" fmla="*/ 4009 h 10000"/>
                <a:gd name="connsiteX1823" fmla="*/ 3078 w 10785"/>
                <a:gd name="connsiteY1823" fmla="*/ 4026 h 10000"/>
                <a:gd name="connsiteX1824" fmla="*/ 3083 w 10785"/>
                <a:gd name="connsiteY1824" fmla="*/ 4034 h 10000"/>
                <a:gd name="connsiteX1825" fmla="*/ 3092 w 10785"/>
                <a:gd name="connsiteY1825" fmla="*/ 4060 h 10000"/>
                <a:gd name="connsiteX1826" fmla="*/ 3092 w 10785"/>
                <a:gd name="connsiteY1826" fmla="*/ 4077 h 10000"/>
                <a:gd name="connsiteX1827" fmla="*/ 3097 w 10785"/>
                <a:gd name="connsiteY1827" fmla="*/ 4103 h 10000"/>
                <a:gd name="connsiteX1828" fmla="*/ 3101 w 10785"/>
                <a:gd name="connsiteY1828" fmla="*/ 4162 h 10000"/>
                <a:gd name="connsiteX1829" fmla="*/ 3097 w 10785"/>
                <a:gd name="connsiteY1829" fmla="*/ 4222 h 10000"/>
                <a:gd name="connsiteX1830" fmla="*/ 3041 w 10785"/>
                <a:gd name="connsiteY1830" fmla="*/ 4325 h 10000"/>
                <a:gd name="connsiteX1831" fmla="*/ 3037 w 10785"/>
                <a:gd name="connsiteY1831" fmla="*/ 4419 h 10000"/>
                <a:gd name="connsiteX1832" fmla="*/ 3018 w 10785"/>
                <a:gd name="connsiteY1832" fmla="*/ 4470 h 10000"/>
                <a:gd name="connsiteX1833" fmla="*/ 2991 w 10785"/>
                <a:gd name="connsiteY1833" fmla="*/ 4513 h 10000"/>
                <a:gd name="connsiteX1834" fmla="*/ 2977 w 10785"/>
                <a:gd name="connsiteY1834" fmla="*/ 4530 h 10000"/>
                <a:gd name="connsiteX1835" fmla="*/ 2945 w 10785"/>
                <a:gd name="connsiteY1835" fmla="*/ 4556 h 10000"/>
                <a:gd name="connsiteX1836" fmla="*/ 2935 w 10785"/>
                <a:gd name="connsiteY1836" fmla="*/ 4581 h 10000"/>
                <a:gd name="connsiteX1837" fmla="*/ 2949 w 10785"/>
                <a:gd name="connsiteY1837" fmla="*/ 4624 h 10000"/>
                <a:gd name="connsiteX1838" fmla="*/ 2945 w 10785"/>
                <a:gd name="connsiteY1838" fmla="*/ 4658 h 10000"/>
                <a:gd name="connsiteX1839" fmla="*/ 2922 w 10785"/>
                <a:gd name="connsiteY1839" fmla="*/ 4667 h 10000"/>
                <a:gd name="connsiteX1840" fmla="*/ 2876 w 10785"/>
                <a:gd name="connsiteY1840" fmla="*/ 4632 h 10000"/>
                <a:gd name="connsiteX1841" fmla="*/ 2857 w 10785"/>
                <a:gd name="connsiteY1841" fmla="*/ 4632 h 10000"/>
                <a:gd name="connsiteX1842" fmla="*/ 2820 w 10785"/>
                <a:gd name="connsiteY1842" fmla="*/ 4641 h 10000"/>
                <a:gd name="connsiteX1843" fmla="*/ 2797 w 10785"/>
                <a:gd name="connsiteY1843" fmla="*/ 4632 h 10000"/>
                <a:gd name="connsiteX1844" fmla="*/ 2788 w 10785"/>
                <a:gd name="connsiteY1844" fmla="*/ 4624 h 10000"/>
                <a:gd name="connsiteX1845" fmla="*/ 2788 w 10785"/>
                <a:gd name="connsiteY1845" fmla="*/ 4598 h 10000"/>
                <a:gd name="connsiteX1846" fmla="*/ 2797 w 10785"/>
                <a:gd name="connsiteY1846" fmla="*/ 4581 h 10000"/>
                <a:gd name="connsiteX1847" fmla="*/ 2788 w 10785"/>
                <a:gd name="connsiteY1847" fmla="*/ 4530 h 10000"/>
                <a:gd name="connsiteX1848" fmla="*/ 2774 w 10785"/>
                <a:gd name="connsiteY1848" fmla="*/ 4530 h 10000"/>
                <a:gd name="connsiteX1849" fmla="*/ 2770 w 10785"/>
                <a:gd name="connsiteY1849" fmla="*/ 4513 h 10000"/>
                <a:gd name="connsiteX1850" fmla="*/ 2774 w 10785"/>
                <a:gd name="connsiteY1850" fmla="*/ 4513 h 10000"/>
                <a:gd name="connsiteX1851" fmla="*/ 2788 w 10785"/>
                <a:gd name="connsiteY1851" fmla="*/ 4496 h 10000"/>
                <a:gd name="connsiteX1852" fmla="*/ 2802 w 10785"/>
                <a:gd name="connsiteY1852" fmla="*/ 4513 h 10000"/>
                <a:gd name="connsiteX1853" fmla="*/ 2811 w 10785"/>
                <a:gd name="connsiteY1853" fmla="*/ 4530 h 10000"/>
                <a:gd name="connsiteX1854" fmla="*/ 2820 w 10785"/>
                <a:gd name="connsiteY1854" fmla="*/ 4521 h 10000"/>
                <a:gd name="connsiteX1855" fmla="*/ 2829 w 10785"/>
                <a:gd name="connsiteY1855" fmla="*/ 4513 h 10000"/>
                <a:gd name="connsiteX1856" fmla="*/ 2843 w 10785"/>
                <a:gd name="connsiteY1856" fmla="*/ 4513 h 10000"/>
                <a:gd name="connsiteX1857" fmla="*/ 2848 w 10785"/>
                <a:gd name="connsiteY1857" fmla="*/ 4470 h 10000"/>
                <a:gd name="connsiteX1858" fmla="*/ 2862 w 10785"/>
                <a:gd name="connsiteY1858" fmla="*/ 4487 h 10000"/>
                <a:gd name="connsiteX1859" fmla="*/ 2876 w 10785"/>
                <a:gd name="connsiteY1859" fmla="*/ 4470 h 10000"/>
                <a:gd name="connsiteX1860" fmla="*/ 2880 w 10785"/>
                <a:gd name="connsiteY1860" fmla="*/ 4462 h 10000"/>
                <a:gd name="connsiteX1861" fmla="*/ 2889 w 10785"/>
                <a:gd name="connsiteY1861" fmla="*/ 4444 h 10000"/>
                <a:gd name="connsiteX1862" fmla="*/ 2894 w 10785"/>
                <a:gd name="connsiteY1862" fmla="*/ 4462 h 10000"/>
                <a:gd name="connsiteX1863" fmla="*/ 2917 w 10785"/>
                <a:gd name="connsiteY1863" fmla="*/ 4444 h 10000"/>
                <a:gd name="connsiteX1864" fmla="*/ 2922 w 10785"/>
                <a:gd name="connsiteY1864" fmla="*/ 4436 h 10000"/>
                <a:gd name="connsiteX1865" fmla="*/ 2917 w 10785"/>
                <a:gd name="connsiteY1865" fmla="*/ 4410 h 10000"/>
                <a:gd name="connsiteX1866" fmla="*/ 2894 w 10785"/>
                <a:gd name="connsiteY1866" fmla="*/ 4410 h 10000"/>
                <a:gd name="connsiteX1867" fmla="*/ 2889 w 10785"/>
                <a:gd name="connsiteY1867" fmla="*/ 4419 h 10000"/>
                <a:gd name="connsiteX1868" fmla="*/ 2876 w 10785"/>
                <a:gd name="connsiteY1868" fmla="*/ 4410 h 10000"/>
                <a:gd name="connsiteX1869" fmla="*/ 2880 w 10785"/>
                <a:gd name="connsiteY1869" fmla="*/ 4376 h 10000"/>
                <a:gd name="connsiteX1870" fmla="*/ 2903 w 10785"/>
                <a:gd name="connsiteY1870" fmla="*/ 4393 h 10000"/>
                <a:gd name="connsiteX1871" fmla="*/ 2931 w 10785"/>
                <a:gd name="connsiteY1871" fmla="*/ 4393 h 10000"/>
                <a:gd name="connsiteX1872" fmla="*/ 2931 w 10785"/>
                <a:gd name="connsiteY1872" fmla="*/ 4385 h 10000"/>
                <a:gd name="connsiteX1873" fmla="*/ 2931 w 10785"/>
                <a:gd name="connsiteY1873" fmla="*/ 4350 h 10000"/>
                <a:gd name="connsiteX1874" fmla="*/ 2945 w 10785"/>
                <a:gd name="connsiteY1874" fmla="*/ 4350 h 10000"/>
                <a:gd name="connsiteX1875" fmla="*/ 2949 w 10785"/>
                <a:gd name="connsiteY1875" fmla="*/ 4325 h 10000"/>
                <a:gd name="connsiteX1876" fmla="*/ 2963 w 10785"/>
                <a:gd name="connsiteY1876" fmla="*/ 4256 h 10000"/>
                <a:gd name="connsiteX1877" fmla="*/ 2982 w 10785"/>
                <a:gd name="connsiteY1877" fmla="*/ 4239 h 10000"/>
                <a:gd name="connsiteX1878" fmla="*/ 2991 w 10785"/>
                <a:gd name="connsiteY1878" fmla="*/ 4214 h 10000"/>
                <a:gd name="connsiteX1879" fmla="*/ 2991 w 10785"/>
                <a:gd name="connsiteY1879" fmla="*/ 4197 h 10000"/>
                <a:gd name="connsiteX1880" fmla="*/ 2995 w 10785"/>
                <a:gd name="connsiteY1880" fmla="*/ 4171 h 10000"/>
                <a:gd name="connsiteX1881" fmla="*/ 2991 w 10785"/>
                <a:gd name="connsiteY1881" fmla="*/ 4077 h 10000"/>
                <a:gd name="connsiteX1882" fmla="*/ 2995 w 10785"/>
                <a:gd name="connsiteY1882" fmla="*/ 4034 h 10000"/>
                <a:gd name="connsiteX1883" fmla="*/ 3018 w 10785"/>
                <a:gd name="connsiteY1883" fmla="*/ 3983 h 10000"/>
                <a:gd name="connsiteX1884" fmla="*/ 3018 w 10785"/>
                <a:gd name="connsiteY1884" fmla="*/ 3915 h 10000"/>
                <a:gd name="connsiteX1885" fmla="*/ 2949 w 10785"/>
                <a:gd name="connsiteY1885" fmla="*/ 3778 h 10000"/>
                <a:gd name="connsiteX1886" fmla="*/ 2954 w 10785"/>
                <a:gd name="connsiteY1886" fmla="*/ 3675 h 10000"/>
                <a:gd name="connsiteX1887" fmla="*/ 2954 w 10785"/>
                <a:gd name="connsiteY1887" fmla="*/ 3650 h 10000"/>
                <a:gd name="connsiteX1888" fmla="*/ 2963 w 10785"/>
                <a:gd name="connsiteY1888" fmla="*/ 3624 h 10000"/>
                <a:gd name="connsiteX1889" fmla="*/ 2954 w 10785"/>
                <a:gd name="connsiteY1889" fmla="*/ 3564 h 10000"/>
                <a:gd name="connsiteX1890" fmla="*/ 2963 w 10785"/>
                <a:gd name="connsiteY1890" fmla="*/ 3538 h 10000"/>
                <a:gd name="connsiteX1891" fmla="*/ 2963 w 10785"/>
                <a:gd name="connsiteY1891" fmla="*/ 3487 h 10000"/>
                <a:gd name="connsiteX1892" fmla="*/ 2963 w 10785"/>
                <a:gd name="connsiteY1892" fmla="*/ 3479 h 10000"/>
                <a:gd name="connsiteX1893" fmla="*/ 2963 w 10785"/>
                <a:gd name="connsiteY1893" fmla="*/ 3462 h 10000"/>
                <a:gd name="connsiteX1894" fmla="*/ 2954 w 10785"/>
                <a:gd name="connsiteY1894" fmla="*/ 3453 h 10000"/>
                <a:gd name="connsiteX1895" fmla="*/ 2954 w 10785"/>
                <a:gd name="connsiteY1895" fmla="*/ 3444 h 10000"/>
                <a:gd name="connsiteX1896" fmla="*/ 2954 w 10785"/>
                <a:gd name="connsiteY1896" fmla="*/ 3402 h 10000"/>
                <a:gd name="connsiteX1897" fmla="*/ 2954 w 10785"/>
                <a:gd name="connsiteY1897" fmla="*/ 3393 h 10000"/>
                <a:gd name="connsiteX1898" fmla="*/ 2949 w 10785"/>
                <a:gd name="connsiteY1898" fmla="*/ 3376 h 10000"/>
                <a:gd name="connsiteX1899" fmla="*/ 2949 w 10785"/>
                <a:gd name="connsiteY1899" fmla="*/ 3342 h 10000"/>
                <a:gd name="connsiteX1900" fmla="*/ 2949 w 10785"/>
                <a:gd name="connsiteY1900" fmla="*/ 3316 h 10000"/>
                <a:gd name="connsiteX1901" fmla="*/ 2968 w 10785"/>
                <a:gd name="connsiteY1901" fmla="*/ 3291 h 10000"/>
                <a:gd name="connsiteX1902" fmla="*/ 2963 w 10785"/>
                <a:gd name="connsiteY1902" fmla="*/ 3205 h 10000"/>
                <a:gd name="connsiteX1903" fmla="*/ 2968 w 10785"/>
                <a:gd name="connsiteY1903" fmla="*/ 3171 h 10000"/>
                <a:gd name="connsiteX1904" fmla="*/ 2968 w 10785"/>
                <a:gd name="connsiteY1904" fmla="*/ 3128 h 10000"/>
                <a:gd name="connsiteX1905" fmla="*/ 2954 w 10785"/>
                <a:gd name="connsiteY1905" fmla="*/ 3051 h 10000"/>
                <a:gd name="connsiteX1906" fmla="*/ 2954 w 10785"/>
                <a:gd name="connsiteY1906" fmla="*/ 3009 h 10000"/>
                <a:gd name="connsiteX1907" fmla="*/ 2922 w 10785"/>
                <a:gd name="connsiteY1907" fmla="*/ 2940 h 10000"/>
                <a:gd name="connsiteX1908" fmla="*/ 2903 w 10785"/>
                <a:gd name="connsiteY1908" fmla="*/ 2880 h 10000"/>
                <a:gd name="connsiteX1909" fmla="*/ 2903 w 10785"/>
                <a:gd name="connsiteY1909" fmla="*/ 2855 h 10000"/>
                <a:gd name="connsiteX1910" fmla="*/ 2908 w 10785"/>
                <a:gd name="connsiteY1910" fmla="*/ 2846 h 10000"/>
                <a:gd name="connsiteX1911" fmla="*/ 2931 w 10785"/>
                <a:gd name="connsiteY1911" fmla="*/ 2821 h 10000"/>
                <a:gd name="connsiteX1912" fmla="*/ 2931 w 10785"/>
                <a:gd name="connsiteY1912" fmla="*/ 2803 h 10000"/>
                <a:gd name="connsiteX1913" fmla="*/ 2935 w 10785"/>
                <a:gd name="connsiteY1913" fmla="*/ 2786 h 10000"/>
                <a:gd name="connsiteX1914" fmla="*/ 2935 w 10785"/>
                <a:gd name="connsiteY1914" fmla="*/ 2744 h 10000"/>
                <a:gd name="connsiteX1915" fmla="*/ 2963 w 10785"/>
                <a:gd name="connsiteY1915" fmla="*/ 2607 h 10000"/>
                <a:gd name="connsiteX1916" fmla="*/ 2963 w 10785"/>
                <a:gd name="connsiteY1916" fmla="*/ 2419 h 10000"/>
                <a:gd name="connsiteX1917" fmla="*/ 2954 w 10785"/>
                <a:gd name="connsiteY1917" fmla="*/ 2410 h 10000"/>
                <a:gd name="connsiteX1918" fmla="*/ 2963 w 10785"/>
                <a:gd name="connsiteY1918" fmla="*/ 2393 h 10000"/>
                <a:gd name="connsiteX1919" fmla="*/ 2908 w 10785"/>
                <a:gd name="connsiteY1919" fmla="*/ 2359 h 10000"/>
                <a:gd name="connsiteX1920" fmla="*/ 2889 w 10785"/>
                <a:gd name="connsiteY1920" fmla="*/ 2325 h 10000"/>
                <a:gd name="connsiteX1921" fmla="*/ 2788 w 10785"/>
                <a:gd name="connsiteY1921" fmla="*/ 2333 h 10000"/>
                <a:gd name="connsiteX1922" fmla="*/ 2774 w 10785"/>
                <a:gd name="connsiteY1922" fmla="*/ 2325 h 10000"/>
                <a:gd name="connsiteX1923" fmla="*/ 2783 w 10785"/>
                <a:gd name="connsiteY1923" fmla="*/ 2308 h 10000"/>
                <a:gd name="connsiteX1924" fmla="*/ 2747 w 10785"/>
                <a:gd name="connsiteY1924" fmla="*/ 2308 h 10000"/>
                <a:gd name="connsiteX1925" fmla="*/ 2742 w 10785"/>
                <a:gd name="connsiteY1925" fmla="*/ 2333 h 10000"/>
                <a:gd name="connsiteX1926" fmla="*/ 2682 w 10785"/>
                <a:gd name="connsiteY1926" fmla="*/ 2769 h 10000"/>
                <a:gd name="connsiteX1927" fmla="*/ 2613 w 10785"/>
                <a:gd name="connsiteY1927" fmla="*/ 2940 h 10000"/>
                <a:gd name="connsiteX1928" fmla="*/ 2581 w 10785"/>
                <a:gd name="connsiteY1928" fmla="*/ 2966 h 10000"/>
                <a:gd name="connsiteX1929" fmla="*/ 2576 w 10785"/>
                <a:gd name="connsiteY1929" fmla="*/ 3051 h 10000"/>
                <a:gd name="connsiteX1930" fmla="*/ 2581 w 10785"/>
                <a:gd name="connsiteY1930" fmla="*/ 3051 h 10000"/>
                <a:gd name="connsiteX1931" fmla="*/ 2594 w 10785"/>
                <a:gd name="connsiteY1931" fmla="*/ 3017 h 10000"/>
                <a:gd name="connsiteX1932" fmla="*/ 2594 w 10785"/>
                <a:gd name="connsiteY1932" fmla="*/ 3034 h 10000"/>
                <a:gd name="connsiteX1933" fmla="*/ 2594 w 10785"/>
                <a:gd name="connsiteY1933" fmla="*/ 3051 h 10000"/>
                <a:gd name="connsiteX1934" fmla="*/ 2590 w 10785"/>
                <a:gd name="connsiteY1934" fmla="*/ 3077 h 10000"/>
                <a:gd name="connsiteX1935" fmla="*/ 2567 w 10785"/>
                <a:gd name="connsiteY1935" fmla="*/ 3103 h 10000"/>
                <a:gd name="connsiteX1936" fmla="*/ 2562 w 10785"/>
                <a:gd name="connsiteY1936" fmla="*/ 3145 h 10000"/>
                <a:gd name="connsiteX1937" fmla="*/ 2567 w 10785"/>
                <a:gd name="connsiteY1937" fmla="*/ 3179 h 10000"/>
                <a:gd name="connsiteX1938" fmla="*/ 2590 w 10785"/>
                <a:gd name="connsiteY1938" fmla="*/ 3171 h 10000"/>
                <a:gd name="connsiteX1939" fmla="*/ 2594 w 10785"/>
                <a:gd name="connsiteY1939" fmla="*/ 3145 h 10000"/>
                <a:gd name="connsiteX1940" fmla="*/ 2613 w 10785"/>
                <a:gd name="connsiteY1940" fmla="*/ 3154 h 10000"/>
                <a:gd name="connsiteX1941" fmla="*/ 2622 w 10785"/>
                <a:gd name="connsiteY1941" fmla="*/ 3179 h 10000"/>
                <a:gd name="connsiteX1942" fmla="*/ 2613 w 10785"/>
                <a:gd name="connsiteY1942" fmla="*/ 3214 h 10000"/>
                <a:gd name="connsiteX1943" fmla="*/ 2613 w 10785"/>
                <a:gd name="connsiteY1943" fmla="*/ 3308 h 10000"/>
                <a:gd name="connsiteX1944" fmla="*/ 2608 w 10785"/>
                <a:gd name="connsiteY1944" fmla="*/ 3325 h 10000"/>
                <a:gd name="connsiteX1945" fmla="*/ 2608 w 10785"/>
                <a:gd name="connsiteY1945" fmla="*/ 3376 h 10000"/>
                <a:gd name="connsiteX1946" fmla="*/ 2613 w 10785"/>
                <a:gd name="connsiteY1946" fmla="*/ 3419 h 10000"/>
                <a:gd name="connsiteX1947" fmla="*/ 2608 w 10785"/>
                <a:gd name="connsiteY1947" fmla="*/ 3444 h 10000"/>
                <a:gd name="connsiteX1948" fmla="*/ 2594 w 10785"/>
                <a:gd name="connsiteY1948" fmla="*/ 3444 h 10000"/>
                <a:gd name="connsiteX1949" fmla="*/ 2590 w 10785"/>
                <a:gd name="connsiteY1949" fmla="*/ 3427 h 10000"/>
                <a:gd name="connsiteX1950" fmla="*/ 2581 w 10785"/>
                <a:gd name="connsiteY1950" fmla="*/ 3564 h 10000"/>
                <a:gd name="connsiteX1951" fmla="*/ 2594 w 10785"/>
                <a:gd name="connsiteY1951" fmla="*/ 3598 h 10000"/>
                <a:gd name="connsiteX1952" fmla="*/ 2594 w 10785"/>
                <a:gd name="connsiteY1952" fmla="*/ 3581 h 10000"/>
                <a:gd name="connsiteX1953" fmla="*/ 2608 w 10785"/>
                <a:gd name="connsiteY1953" fmla="*/ 3556 h 10000"/>
                <a:gd name="connsiteX1954" fmla="*/ 2650 w 10785"/>
                <a:gd name="connsiteY1954" fmla="*/ 3615 h 10000"/>
                <a:gd name="connsiteX1955" fmla="*/ 2664 w 10785"/>
                <a:gd name="connsiteY1955" fmla="*/ 3615 h 10000"/>
                <a:gd name="connsiteX1956" fmla="*/ 2668 w 10785"/>
                <a:gd name="connsiteY1956" fmla="*/ 3615 h 10000"/>
                <a:gd name="connsiteX1957" fmla="*/ 2664 w 10785"/>
                <a:gd name="connsiteY1957" fmla="*/ 3667 h 10000"/>
                <a:gd name="connsiteX1958" fmla="*/ 2687 w 10785"/>
                <a:gd name="connsiteY1958" fmla="*/ 3786 h 10000"/>
                <a:gd name="connsiteX1959" fmla="*/ 2710 w 10785"/>
                <a:gd name="connsiteY1959" fmla="*/ 3812 h 10000"/>
                <a:gd name="connsiteX1960" fmla="*/ 2724 w 10785"/>
                <a:gd name="connsiteY1960" fmla="*/ 3812 h 10000"/>
                <a:gd name="connsiteX1961" fmla="*/ 2724 w 10785"/>
                <a:gd name="connsiteY1961" fmla="*/ 3829 h 10000"/>
                <a:gd name="connsiteX1962" fmla="*/ 2737 w 10785"/>
                <a:gd name="connsiteY1962" fmla="*/ 3838 h 10000"/>
                <a:gd name="connsiteX1963" fmla="*/ 2714 w 10785"/>
                <a:gd name="connsiteY1963" fmla="*/ 3872 h 10000"/>
                <a:gd name="connsiteX1964" fmla="*/ 2696 w 10785"/>
                <a:gd name="connsiteY1964" fmla="*/ 4026 h 10000"/>
                <a:gd name="connsiteX1965" fmla="*/ 2673 w 10785"/>
                <a:gd name="connsiteY1965" fmla="*/ 4051 h 10000"/>
                <a:gd name="connsiteX1966" fmla="*/ 2668 w 10785"/>
                <a:gd name="connsiteY1966" fmla="*/ 4034 h 10000"/>
                <a:gd name="connsiteX1967" fmla="*/ 2673 w 10785"/>
                <a:gd name="connsiteY1967" fmla="*/ 4000 h 10000"/>
                <a:gd name="connsiteX1968" fmla="*/ 2664 w 10785"/>
                <a:gd name="connsiteY1968" fmla="*/ 3974 h 10000"/>
                <a:gd name="connsiteX1969" fmla="*/ 2636 w 10785"/>
                <a:gd name="connsiteY1969" fmla="*/ 3949 h 10000"/>
                <a:gd name="connsiteX1970" fmla="*/ 2581 w 10785"/>
                <a:gd name="connsiteY1970" fmla="*/ 3838 h 10000"/>
                <a:gd name="connsiteX1971" fmla="*/ 2562 w 10785"/>
                <a:gd name="connsiteY1971" fmla="*/ 3829 h 10000"/>
                <a:gd name="connsiteX1972" fmla="*/ 2535 w 10785"/>
                <a:gd name="connsiteY1972" fmla="*/ 3778 h 10000"/>
                <a:gd name="connsiteX1973" fmla="*/ 2502 w 10785"/>
                <a:gd name="connsiteY1973" fmla="*/ 3761 h 10000"/>
                <a:gd name="connsiteX1974" fmla="*/ 2502 w 10785"/>
                <a:gd name="connsiteY1974" fmla="*/ 3735 h 10000"/>
                <a:gd name="connsiteX1975" fmla="*/ 2516 w 10785"/>
                <a:gd name="connsiteY1975" fmla="*/ 3735 h 10000"/>
                <a:gd name="connsiteX1976" fmla="*/ 2507 w 10785"/>
                <a:gd name="connsiteY1976" fmla="*/ 3726 h 10000"/>
                <a:gd name="connsiteX1977" fmla="*/ 2488 w 10785"/>
                <a:gd name="connsiteY1977" fmla="*/ 3726 h 10000"/>
                <a:gd name="connsiteX1978" fmla="*/ 2461 w 10785"/>
                <a:gd name="connsiteY1978" fmla="*/ 3692 h 10000"/>
                <a:gd name="connsiteX1979" fmla="*/ 2442 w 10785"/>
                <a:gd name="connsiteY1979" fmla="*/ 3675 h 10000"/>
                <a:gd name="connsiteX1980" fmla="*/ 2406 w 10785"/>
                <a:gd name="connsiteY1980" fmla="*/ 3598 h 10000"/>
                <a:gd name="connsiteX1981" fmla="*/ 2346 w 10785"/>
                <a:gd name="connsiteY1981" fmla="*/ 3564 h 10000"/>
                <a:gd name="connsiteX1982" fmla="*/ 2341 w 10785"/>
                <a:gd name="connsiteY1982" fmla="*/ 3564 h 10000"/>
                <a:gd name="connsiteX1983" fmla="*/ 2313 w 10785"/>
                <a:gd name="connsiteY1983" fmla="*/ 3530 h 10000"/>
                <a:gd name="connsiteX1984" fmla="*/ 2235 w 10785"/>
                <a:gd name="connsiteY1984" fmla="*/ 3530 h 10000"/>
                <a:gd name="connsiteX1985" fmla="*/ 2226 w 10785"/>
                <a:gd name="connsiteY1985" fmla="*/ 3513 h 10000"/>
                <a:gd name="connsiteX1986" fmla="*/ 2207 w 10785"/>
                <a:gd name="connsiteY1986" fmla="*/ 3504 h 10000"/>
                <a:gd name="connsiteX1987" fmla="*/ 2194 w 10785"/>
                <a:gd name="connsiteY1987" fmla="*/ 3504 h 10000"/>
                <a:gd name="connsiteX1988" fmla="*/ 2189 w 10785"/>
                <a:gd name="connsiteY1988" fmla="*/ 3504 h 10000"/>
                <a:gd name="connsiteX1989" fmla="*/ 2189 w 10785"/>
                <a:gd name="connsiteY1989" fmla="*/ 3530 h 10000"/>
                <a:gd name="connsiteX1990" fmla="*/ 2180 w 10785"/>
                <a:gd name="connsiteY1990" fmla="*/ 3538 h 10000"/>
                <a:gd name="connsiteX1991" fmla="*/ 2152 w 10785"/>
                <a:gd name="connsiteY1991" fmla="*/ 3581 h 10000"/>
                <a:gd name="connsiteX1992" fmla="*/ 2161 w 10785"/>
                <a:gd name="connsiteY1992" fmla="*/ 3598 h 10000"/>
                <a:gd name="connsiteX1993" fmla="*/ 2194 w 10785"/>
                <a:gd name="connsiteY1993" fmla="*/ 3752 h 10000"/>
                <a:gd name="connsiteX1994" fmla="*/ 2194 w 10785"/>
                <a:gd name="connsiteY1994" fmla="*/ 3735 h 10000"/>
                <a:gd name="connsiteX1995" fmla="*/ 2198 w 10785"/>
                <a:gd name="connsiteY1995" fmla="*/ 3735 h 10000"/>
                <a:gd name="connsiteX1996" fmla="*/ 2189 w 10785"/>
                <a:gd name="connsiteY1996" fmla="*/ 3838 h 10000"/>
                <a:gd name="connsiteX1997" fmla="*/ 2166 w 10785"/>
                <a:gd name="connsiteY1997" fmla="*/ 3889 h 10000"/>
                <a:gd name="connsiteX1998" fmla="*/ 2124 w 10785"/>
                <a:gd name="connsiteY1998" fmla="*/ 3889 h 10000"/>
                <a:gd name="connsiteX1999" fmla="*/ 2124 w 10785"/>
                <a:gd name="connsiteY1999" fmla="*/ 3923 h 10000"/>
                <a:gd name="connsiteX2000" fmla="*/ 2134 w 10785"/>
                <a:gd name="connsiteY2000" fmla="*/ 3940 h 10000"/>
                <a:gd name="connsiteX2001" fmla="*/ 2134 w 10785"/>
                <a:gd name="connsiteY2001" fmla="*/ 3966 h 10000"/>
                <a:gd name="connsiteX2002" fmla="*/ 2120 w 10785"/>
                <a:gd name="connsiteY2002" fmla="*/ 4000 h 10000"/>
                <a:gd name="connsiteX2003" fmla="*/ 2106 w 10785"/>
                <a:gd name="connsiteY2003" fmla="*/ 4009 h 10000"/>
                <a:gd name="connsiteX2004" fmla="*/ 2088 w 10785"/>
                <a:gd name="connsiteY2004" fmla="*/ 4000 h 10000"/>
                <a:gd name="connsiteX2005" fmla="*/ 2074 w 10785"/>
                <a:gd name="connsiteY2005" fmla="*/ 3974 h 10000"/>
                <a:gd name="connsiteX2006" fmla="*/ 2074 w 10785"/>
                <a:gd name="connsiteY2006" fmla="*/ 3940 h 10000"/>
                <a:gd name="connsiteX2007" fmla="*/ 2078 w 10785"/>
                <a:gd name="connsiteY2007" fmla="*/ 3915 h 10000"/>
                <a:gd name="connsiteX2008" fmla="*/ 2088 w 10785"/>
                <a:gd name="connsiteY2008" fmla="*/ 3889 h 10000"/>
                <a:gd name="connsiteX2009" fmla="*/ 2101 w 10785"/>
                <a:gd name="connsiteY2009" fmla="*/ 3872 h 10000"/>
                <a:gd name="connsiteX2010" fmla="*/ 2074 w 10785"/>
                <a:gd name="connsiteY2010" fmla="*/ 3812 h 10000"/>
                <a:gd name="connsiteX2011" fmla="*/ 2074 w 10785"/>
                <a:gd name="connsiteY2011" fmla="*/ 3786 h 10000"/>
                <a:gd name="connsiteX2012" fmla="*/ 2060 w 10785"/>
                <a:gd name="connsiteY2012" fmla="*/ 3786 h 10000"/>
                <a:gd name="connsiteX2013" fmla="*/ 2014 w 10785"/>
                <a:gd name="connsiteY2013" fmla="*/ 3829 h 10000"/>
                <a:gd name="connsiteX2014" fmla="*/ 2000 w 10785"/>
                <a:gd name="connsiteY2014" fmla="*/ 3863 h 10000"/>
                <a:gd name="connsiteX2015" fmla="*/ 1986 w 10785"/>
                <a:gd name="connsiteY2015" fmla="*/ 3872 h 10000"/>
                <a:gd name="connsiteX2016" fmla="*/ 1959 w 10785"/>
                <a:gd name="connsiteY2016" fmla="*/ 3940 h 10000"/>
                <a:gd name="connsiteX2017" fmla="*/ 1945 w 10785"/>
                <a:gd name="connsiteY2017" fmla="*/ 3949 h 10000"/>
                <a:gd name="connsiteX2018" fmla="*/ 1940 w 10785"/>
                <a:gd name="connsiteY2018" fmla="*/ 3923 h 10000"/>
                <a:gd name="connsiteX2019" fmla="*/ 1917 w 10785"/>
                <a:gd name="connsiteY2019" fmla="*/ 3915 h 10000"/>
                <a:gd name="connsiteX2020" fmla="*/ 1899 w 10785"/>
                <a:gd name="connsiteY2020" fmla="*/ 3923 h 10000"/>
                <a:gd name="connsiteX2021" fmla="*/ 1880 w 10785"/>
                <a:gd name="connsiteY2021" fmla="*/ 3915 h 10000"/>
                <a:gd name="connsiteX2022" fmla="*/ 1853 w 10785"/>
                <a:gd name="connsiteY2022" fmla="*/ 3940 h 10000"/>
                <a:gd name="connsiteX2023" fmla="*/ 1839 w 10785"/>
                <a:gd name="connsiteY2023" fmla="*/ 3940 h 10000"/>
                <a:gd name="connsiteX2024" fmla="*/ 1806 w 10785"/>
                <a:gd name="connsiteY2024" fmla="*/ 3983 h 10000"/>
                <a:gd name="connsiteX2025" fmla="*/ 1806 w 10785"/>
                <a:gd name="connsiteY2025" fmla="*/ 4000 h 10000"/>
                <a:gd name="connsiteX2026" fmla="*/ 1797 w 10785"/>
                <a:gd name="connsiteY2026" fmla="*/ 4077 h 10000"/>
                <a:gd name="connsiteX2027" fmla="*/ 1783 w 10785"/>
                <a:gd name="connsiteY2027" fmla="*/ 4077 h 10000"/>
                <a:gd name="connsiteX2028" fmla="*/ 1779 w 10785"/>
                <a:gd name="connsiteY2028" fmla="*/ 4051 h 10000"/>
                <a:gd name="connsiteX2029" fmla="*/ 1765 w 10785"/>
                <a:gd name="connsiteY2029" fmla="*/ 4026 h 10000"/>
                <a:gd name="connsiteX2030" fmla="*/ 1751 w 10785"/>
                <a:gd name="connsiteY2030" fmla="*/ 4051 h 10000"/>
                <a:gd name="connsiteX2031" fmla="*/ 1737 w 10785"/>
                <a:gd name="connsiteY2031" fmla="*/ 4009 h 10000"/>
                <a:gd name="connsiteX2032" fmla="*/ 1737 w 10785"/>
                <a:gd name="connsiteY2032" fmla="*/ 3966 h 10000"/>
                <a:gd name="connsiteX2033" fmla="*/ 1733 w 10785"/>
                <a:gd name="connsiteY2033" fmla="*/ 3940 h 10000"/>
                <a:gd name="connsiteX2034" fmla="*/ 1733 w 10785"/>
                <a:gd name="connsiteY2034" fmla="*/ 3923 h 10000"/>
                <a:gd name="connsiteX2035" fmla="*/ 1747 w 10785"/>
                <a:gd name="connsiteY2035" fmla="*/ 3889 h 10000"/>
                <a:gd name="connsiteX2036" fmla="*/ 1747 w 10785"/>
                <a:gd name="connsiteY2036" fmla="*/ 3863 h 10000"/>
                <a:gd name="connsiteX2037" fmla="*/ 1737 w 10785"/>
                <a:gd name="connsiteY2037" fmla="*/ 3838 h 10000"/>
                <a:gd name="connsiteX2038" fmla="*/ 1733 w 10785"/>
                <a:gd name="connsiteY2038" fmla="*/ 3829 h 10000"/>
                <a:gd name="connsiteX2039" fmla="*/ 1733 w 10785"/>
                <a:gd name="connsiteY2039" fmla="*/ 3846 h 10000"/>
                <a:gd name="connsiteX2040" fmla="*/ 1724 w 10785"/>
                <a:gd name="connsiteY2040" fmla="*/ 3846 h 10000"/>
                <a:gd name="connsiteX2041" fmla="*/ 1724 w 10785"/>
                <a:gd name="connsiteY2041" fmla="*/ 3829 h 10000"/>
                <a:gd name="connsiteX2042" fmla="*/ 1737 w 10785"/>
                <a:gd name="connsiteY2042" fmla="*/ 3812 h 10000"/>
                <a:gd name="connsiteX2043" fmla="*/ 1765 w 10785"/>
                <a:gd name="connsiteY2043" fmla="*/ 3812 h 10000"/>
                <a:gd name="connsiteX2044" fmla="*/ 1779 w 10785"/>
                <a:gd name="connsiteY2044" fmla="*/ 3786 h 10000"/>
                <a:gd name="connsiteX2045" fmla="*/ 1779 w 10785"/>
                <a:gd name="connsiteY2045" fmla="*/ 3786 h 10000"/>
                <a:gd name="connsiteX2046" fmla="*/ 1751 w 10785"/>
                <a:gd name="connsiteY2046" fmla="*/ 3803 h 10000"/>
                <a:gd name="connsiteX2047" fmla="*/ 1747 w 10785"/>
                <a:gd name="connsiteY2047" fmla="*/ 3803 h 10000"/>
                <a:gd name="connsiteX2048" fmla="*/ 1724 w 10785"/>
                <a:gd name="connsiteY2048" fmla="*/ 3803 h 10000"/>
                <a:gd name="connsiteX2049" fmla="*/ 1700 w 10785"/>
                <a:gd name="connsiteY2049" fmla="*/ 3829 h 10000"/>
                <a:gd name="connsiteX2050" fmla="*/ 1705 w 10785"/>
                <a:gd name="connsiteY2050" fmla="*/ 3846 h 10000"/>
                <a:gd name="connsiteX2051" fmla="*/ 1691 w 10785"/>
                <a:gd name="connsiteY2051" fmla="*/ 3846 h 10000"/>
                <a:gd name="connsiteX2052" fmla="*/ 1691 w 10785"/>
                <a:gd name="connsiteY2052" fmla="*/ 3863 h 10000"/>
                <a:gd name="connsiteX2053" fmla="*/ 1691 w 10785"/>
                <a:gd name="connsiteY2053" fmla="*/ 3915 h 10000"/>
                <a:gd name="connsiteX2054" fmla="*/ 1677 w 10785"/>
                <a:gd name="connsiteY2054" fmla="*/ 3923 h 10000"/>
                <a:gd name="connsiteX2055" fmla="*/ 1673 w 10785"/>
                <a:gd name="connsiteY2055" fmla="*/ 3915 h 10000"/>
                <a:gd name="connsiteX2056" fmla="*/ 1664 w 10785"/>
                <a:gd name="connsiteY2056" fmla="*/ 3889 h 10000"/>
                <a:gd name="connsiteX2057" fmla="*/ 1673 w 10785"/>
                <a:gd name="connsiteY2057" fmla="*/ 3872 h 10000"/>
                <a:gd name="connsiteX2058" fmla="*/ 1664 w 10785"/>
                <a:gd name="connsiteY2058" fmla="*/ 3872 h 10000"/>
                <a:gd name="connsiteX2059" fmla="*/ 1636 w 10785"/>
                <a:gd name="connsiteY2059" fmla="*/ 3923 h 10000"/>
                <a:gd name="connsiteX2060" fmla="*/ 1645 w 10785"/>
                <a:gd name="connsiteY2060" fmla="*/ 3923 h 10000"/>
                <a:gd name="connsiteX2061" fmla="*/ 1650 w 10785"/>
                <a:gd name="connsiteY2061" fmla="*/ 3949 h 10000"/>
                <a:gd name="connsiteX2062" fmla="*/ 1650 w 10785"/>
                <a:gd name="connsiteY2062" fmla="*/ 3983 h 10000"/>
                <a:gd name="connsiteX2063" fmla="*/ 1636 w 10785"/>
                <a:gd name="connsiteY2063" fmla="*/ 4000 h 10000"/>
                <a:gd name="connsiteX2064" fmla="*/ 1631 w 10785"/>
                <a:gd name="connsiteY2064" fmla="*/ 4009 h 10000"/>
                <a:gd name="connsiteX2065" fmla="*/ 1618 w 10785"/>
                <a:gd name="connsiteY2065" fmla="*/ 3949 h 10000"/>
                <a:gd name="connsiteX2066" fmla="*/ 1585 w 10785"/>
                <a:gd name="connsiteY2066" fmla="*/ 3966 h 10000"/>
                <a:gd name="connsiteX2067" fmla="*/ 1590 w 10785"/>
                <a:gd name="connsiteY2067" fmla="*/ 3974 h 10000"/>
                <a:gd name="connsiteX2068" fmla="*/ 1544 w 10785"/>
                <a:gd name="connsiteY2068" fmla="*/ 4009 h 10000"/>
                <a:gd name="connsiteX2069" fmla="*/ 1539 w 10785"/>
                <a:gd name="connsiteY2069" fmla="*/ 4009 h 10000"/>
                <a:gd name="connsiteX2070" fmla="*/ 1410 w 10785"/>
                <a:gd name="connsiteY2070" fmla="*/ 4188 h 10000"/>
                <a:gd name="connsiteX2071" fmla="*/ 1406 w 10785"/>
                <a:gd name="connsiteY2071" fmla="*/ 4171 h 10000"/>
                <a:gd name="connsiteX2072" fmla="*/ 1396 w 10785"/>
                <a:gd name="connsiteY2072" fmla="*/ 4214 h 10000"/>
                <a:gd name="connsiteX2073" fmla="*/ 1406 w 10785"/>
                <a:gd name="connsiteY2073" fmla="*/ 4222 h 10000"/>
                <a:gd name="connsiteX2074" fmla="*/ 1392 w 10785"/>
                <a:gd name="connsiteY2074" fmla="*/ 4239 h 10000"/>
                <a:gd name="connsiteX2075" fmla="*/ 1369 w 10785"/>
                <a:gd name="connsiteY2075" fmla="*/ 4248 h 10000"/>
                <a:gd name="connsiteX2076" fmla="*/ 1355 w 10785"/>
                <a:gd name="connsiteY2076" fmla="*/ 4256 h 10000"/>
                <a:gd name="connsiteX2077" fmla="*/ 1350 w 10785"/>
                <a:gd name="connsiteY2077" fmla="*/ 4248 h 10000"/>
                <a:gd name="connsiteX2078" fmla="*/ 1332 w 10785"/>
                <a:gd name="connsiteY2078" fmla="*/ 4376 h 10000"/>
                <a:gd name="connsiteX2079" fmla="*/ 1332 w 10785"/>
                <a:gd name="connsiteY2079" fmla="*/ 4436 h 10000"/>
                <a:gd name="connsiteX2080" fmla="*/ 1323 w 10785"/>
                <a:gd name="connsiteY2080" fmla="*/ 4462 h 10000"/>
                <a:gd name="connsiteX2081" fmla="*/ 1304 w 10785"/>
                <a:gd name="connsiteY2081" fmla="*/ 4487 h 10000"/>
                <a:gd name="connsiteX2082" fmla="*/ 1290 w 10785"/>
                <a:gd name="connsiteY2082" fmla="*/ 4470 h 10000"/>
                <a:gd name="connsiteX2083" fmla="*/ 1263 w 10785"/>
                <a:gd name="connsiteY2083" fmla="*/ 4496 h 10000"/>
                <a:gd name="connsiteX2084" fmla="*/ 1258 w 10785"/>
                <a:gd name="connsiteY2084" fmla="*/ 4547 h 10000"/>
                <a:gd name="connsiteX2085" fmla="*/ 1249 w 10785"/>
                <a:gd name="connsiteY2085" fmla="*/ 4487 h 10000"/>
                <a:gd name="connsiteX2086" fmla="*/ 1235 w 10785"/>
                <a:gd name="connsiteY2086" fmla="*/ 4496 h 10000"/>
                <a:gd name="connsiteX2087" fmla="*/ 1221 w 10785"/>
                <a:gd name="connsiteY2087" fmla="*/ 4496 h 10000"/>
                <a:gd name="connsiteX2088" fmla="*/ 1217 w 10785"/>
                <a:gd name="connsiteY2088" fmla="*/ 4487 h 10000"/>
                <a:gd name="connsiteX2089" fmla="*/ 1198 w 10785"/>
                <a:gd name="connsiteY2089" fmla="*/ 4410 h 10000"/>
                <a:gd name="connsiteX2090" fmla="*/ 1157 w 10785"/>
                <a:gd name="connsiteY2090" fmla="*/ 4333 h 10000"/>
                <a:gd name="connsiteX2091" fmla="*/ 1147 w 10785"/>
                <a:gd name="connsiteY2091" fmla="*/ 4299 h 10000"/>
                <a:gd name="connsiteX2092" fmla="*/ 1147 w 10785"/>
                <a:gd name="connsiteY2092" fmla="*/ 4274 h 10000"/>
                <a:gd name="connsiteX2093" fmla="*/ 1161 w 10785"/>
                <a:gd name="connsiteY2093" fmla="*/ 4256 h 10000"/>
                <a:gd name="connsiteX2094" fmla="*/ 1171 w 10785"/>
                <a:gd name="connsiteY2094" fmla="*/ 4248 h 10000"/>
                <a:gd name="connsiteX2095" fmla="*/ 1175 w 10785"/>
                <a:gd name="connsiteY2095" fmla="*/ 4214 h 10000"/>
                <a:gd name="connsiteX2096" fmla="*/ 1263 w 10785"/>
                <a:gd name="connsiteY2096" fmla="*/ 4171 h 10000"/>
                <a:gd name="connsiteX2097" fmla="*/ 1249 w 10785"/>
                <a:gd name="connsiteY2097" fmla="*/ 4137 h 10000"/>
                <a:gd name="connsiteX2098" fmla="*/ 1244 w 10785"/>
                <a:gd name="connsiteY2098" fmla="*/ 4060 h 10000"/>
                <a:gd name="connsiteX2099" fmla="*/ 1230 w 10785"/>
                <a:gd name="connsiteY2099" fmla="*/ 4077 h 10000"/>
                <a:gd name="connsiteX2100" fmla="*/ 1221 w 10785"/>
                <a:gd name="connsiteY2100" fmla="*/ 4026 h 10000"/>
                <a:gd name="connsiteX2101" fmla="*/ 1217 w 10785"/>
                <a:gd name="connsiteY2101" fmla="*/ 4026 h 10000"/>
                <a:gd name="connsiteX2102" fmla="*/ 1212 w 10785"/>
                <a:gd name="connsiteY2102" fmla="*/ 3983 h 10000"/>
                <a:gd name="connsiteX2103" fmla="*/ 1203 w 10785"/>
                <a:gd name="connsiteY2103" fmla="*/ 3966 h 10000"/>
                <a:gd name="connsiteX2104" fmla="*/ 1171 w 10785"/>
                <a:gd name="connsiteY2104" fmla="*/ 3949 h 10000"/>
                <a:gd name="connsiteX2105" fmla="*/ 1111 w 10785"/>
                <a:gd name="connsiteY2105" fmla="*/ 3940 h 10000"/>
                <a:gd name="connsiteX2106" fmla="*/ 1097 w 10785"/>
                <a:gd name="connsiteY2106" fmla="*/ 3949 h 10000"/>
                <a:gd name="connsiteX2107" fmla="*/ 1037 w 10785"/>
                <a:gd name="connsiteY2107" fmla="*/ 3897 h 10000"/>
                <a:gd name="connsiteX2108" fmla="*/ 1041 w 10785"/>
                <a:gd name="connsiteY2108" fmla="*/ 3923 h 10000"/>
                <a:gd name="connsiteX2109" fmla="*/ 1097 w 10785"/>
                <a:gd name="connsiteY2109" fmla="*/ 4009 h 10000"/>
                <a:gd name="connsiteX2110" fmla="*/ 1097 w 10785"/>
                <a:gd name="connsiteY2110" fmla="*/ 4120 h 10000"/>
                <a:gd name="connsiteX2111" fmla="*/ 1097 w 10785"/>
                <a:gd name="connsiteY2111" fmla="*/ 4162 h 10000"/>
                <a:gd name="connsiteX2112" fmla="*/ 1097 w 10785"/>
                <a:gd name="connsiteY2112" fmla="*/ 4197 h 10000"/>
                <a:gd name="connsiteX2113" fmla="*/ 1074 w 10785"/>
                <a:gd name="connsiteY2113" fmla="*/ 4333 h 10000"/>
                <a:gd name="connsiteX2114" fmla="*/ 1074 w 10785"/>
                <a:gd name="connsiteY2114" fmla="*/ 4376 h 10000"/>
                <a:gd name="connsiteX2115" fmla="*/ 1083 w 10785"/>
                <a:gd name="connsiteY2115" fmla="*/ 4385 h 10000"/>
                <a:gd name="connsiteX2116" fmla="*/ 1097 w 10785"/>
                <a:gd name="connsiteY2116" fmla="*/ 4385 h 10000"/>
                <a:gd name="connsiteX2117" fmla="*/ 1111 w 10785"/>
                <a:gd name="connsiteY2117" fmla="*/ 4410 h 10000"/>
                <a:gd name="connsiteX2118" fmla="*/ 1124 w 10785"/>
                <a:gd name="connsiteY2118" fmla="*/ 4444 h 10000"/>
                <a:gd name="connsiteX2119" fmla="*/ 1124 w 10785"/>
                <a:gd name="connsiteY2119" fmla="*/ 4470 h 10000"/>
                <a:gd name="connsiteX2120" fmla="*/ 1115 w 10785"/>
                <a:gd name="connsiteY2120" fmla="*/ 4513 h 10000"/>
                <a:gd name="connsiteX2121" fmla="*/ 1115 w 10785"/>
                <a:gd name="connsiteY2121" fmla="*/ 4530 h 10000"/>
                <a:gd name="connsiteX2122" fmla="*/ 1115 w 10785"/>
                <a:gd name="connsiteY2122" fmla="*/ 4573 h 10000"/>
                <a:gd name="connsiteX2123" fmla="*/ 1101 w 10785"/>
                <a:gd name="connsiteY2123" fmla="*/ 4607 h 10000"/>
                <a:gd name="connsiteX2124" fmla="*/ 1097 w 10785"/>
                <a:gd name="connsiteY2124" fmla="*/ 4658 h 10000"/>
                <a:gd name="connsiteX2125" fmla="*/ 1101 w 10785"/>
                <a:gd name="connsiteY2125" fmla="*/ 4692 h 10000"/>
                <a:gd name="connsiteX2126" fmla="*/ 1097 w 10785"/>
                <a:gd name="connsiteY2126" fmla="*/ 4778 h 10000"/>
                <a:gd name="connsiteX2127" fmla="*/ 1083 w 10785"/>
                <a:gd name="connsiteY2127" fmla="*/ 4744 h 10000"/>
                <a:gd name="connsiteX2128" fmla="*/ 1083 w 10785"/>
                <a:gd name="connsiteY2128" fmla="*/ 4718 h 10000"/>
                <a:gd name="connsiteX2129" fmla="*/ 1074 w 10785"/>
                <a:gd name="connsiteY2129" fmla="*/ 4692 h 10000"/>
                <a:gd name="connsiteX2130" fmla="*/ 1065 w 10785"/>
                <a:gd name="connsiteY2130" fmla="*/ 4692 h 10000"/>
                <a:gd name="connsiteX2131" fmla="*/ 1051 w 10785"/>
                <a:gd name="connsiteY2131" fmla="*/ 4718 h 10000"/>
                <a:gd name="connsiteX2132" fmla="*/ 1055 w 10785"/>
                <a:gd name="connsiteY2132" fmla="*/ 4692 h 10000"/>
                <a:gd name="connsiteX2133" fmla="*/ 1055 w 10785"/>
                <a:gd name="connsiteY2133" fmla="*/ 4667 h 10000"/>
                <a:gd name="connsiteX2134" fmla="*/ 1028 w 10785"/>
                <a:gd name="connsiteY2134" fmla="*/ 4624 h 10000"/>
                <a:gd name="connsiteX2135" fmla="*/ 1005 w 10785"/>
                <a:gd name="connsiteY2135" fmla="*/ 4624 h 10000"/>
                <a:gd name="connsiteX2136" fmla="*/ 977 w 10785"/>
                <a:gd name="connsiteY2136" fmla="*/ 4581 h 10000"/>
                <a:gd name="connsiteX2137" fmla="*/ 963 w 10785"/>
                <a:gd name="connsiteY2137" fmla="*/ 4607 h 10000"/>
                <a:gd name="connsiteX2138" fmla="*/ 963 w 10785"/>
                <a:gd name="connsiteY2138" fmla="*/ 4632 h 10000"/>
                <a:gd name="connsiteX2139" fmla="*/ 917 w 10785"/>
                <a:gd name="connsiteY2139" fmla="*/ 4718 h 10000"/>
                <a:gd name="connsiteX2140" fmla="*/ 889 w 10785"/>
                <a:gd name="connsiteY2140" fmla="*/ 4744 h 10000"/>
                <a:gd name="connsiteX2141" fmla="*/ 880 w 10785"/>
                <a:gd name="connsiteY2141" fmla="*/ 4744 h 10000"/>
                <a:gd name="connsiteX2142" fmla="*/ 862 w 10785"/>
                <a:gd name="connsiteY2142" fmla="*/ 4769 h 10000"/>
                <a:gd name="connsiteX2143" fmla="*/ 857 w 10785"/>
                <a:gd name="connsiteY2143" fmla="*/ 4795 h 10000"/>
                <a:gd name="connsiteX2144" fmla="*/ 829 w 10785"/>
                <a:gd name="connsiteY2144" fmla="*/ 4846 h 10000"/>
                <a:gd name="connsiteX2145" fmla="*/ 816 w 10785"/>
                <a:gd name="connsiteY2145" fmla="*/ 4855 h 10000"/>
                <a:gd name="connsiteX2146" fmla="*/ 816 w 10785"/>
                <a:gd name="connsiteY2146" fmla="*/ 4940 h 10000"/>
                <a:gd name="connsiteX2147" fmla="*/ 880 w 10785"/>
                <a:gd name="connsiteY2147" fmla="*/ 5179 h 10000"/>
                <a:gd name="connsiteX2148" fmla="*/ 880 w 10785"/>
                <a:gd name="connsiteY2148" fmla="*/ 5188 h 10000"/>
                <a:gd name="connsiteX2149" fmla="*/ 862 w 10785"/>
                <a:gd name="connsiteY2149" fmla="*/ 5171 h 10000"/>
                <a:gd name="connsiteX2150" fmla="*/ 857 w 10785"/>
                <a:gd name="connsiteY2150" fmla="*/ 5171 h 10000"/>
                <a:gd name="connsiteX2151" fmla="*/ 820 w 10785"/>
                <a:gd name="connsiteY2151" fmla="*/ 5145 h 10000"/>
                <a:gd name="connsiteX2152" fmla="*/ 820 w 10785"/>
                <a:gd name="connsiteY2152" fmla="*/ 5154 h 10000"/>
                <a:gd name="connsiteX2153" fmla="*/ 816 w 10785"/>
                <a:gd name="connsiteY2153" fmla="*/ 5171 h 10000"/>
                <a:gd name="connsiteX2154" fmla="*/ 783 w 10785"/>
                <a:gd name="connsiteY2154" fmla="*/ 5145 h 10000"/>
                <a:gd name="connsiteX2155" fmla="*/ 756 w 10785"/>
                <a:gd name="connsiteY2155" fmla="*/ 5103 h 10000"/>
                <a:gd name="connsiteX2156" fmla="*/ 742 w 10785"/>
                <a:gd name="connsiteY2156" fmla="*/ 5103 h 10000"/>
                <a:gd name="connsiteX2157" fmla="*/ 728 w 10785"/>
                <a:gd name="connsiteY2157" fmla="*/ 5094 h 10000"/>
                <a:gd name="connsiteX2158" fmla="*/ 710 w 10785"/>
                <a:gd name="connsiteY2158" fmla="*/ 5120 h 10000"/>
                <a:gd name="connsiteX2159" fmla="*/ 700 w 10785"/>
                <a:gd name="connsiteY2159" fmla="*/ 5145 h 10000"/>
                <a:gd name="connsiteX2160" fmla="*/ 696 w 10785"/>
                <a:gd name="connsiteY2160" fmla="*/ 5103 h 10000"/>
                <a:gd name="connsiteX2161" fmla="*/ 714 w 10785"/>
                <a:gd name="connsiteY2161" fmla="*/ 5077 h 10000"/>
                <a:gd name="connsiteX2162" fmla="*/ 682 w 10785"/>
                <a:gd name="connsiteY2162" fmla="*/ 5068 h 10000"/>
                <a:gd name="connsiteX2163" fmla="*/ 673 w 10785"/>
                <a:gd name="connsiteY2163" fmla="*/ 5034 h 10000"/>
                <a:gd name="connsiteX2164" fmla="*/ 636 w 10785"/>
                <a:gd name="connsiteY2164" fmla="*/ 4991 h 10000"/>
                <a:gd name="connsiteX2165" fmla="*/ 622 w 10785"/>
                <a:gd name="connsiteY2165" fmla="*/ 4983 h 10000"/>
                <a:gd name="connsiteX2166" fmla="*/ 622 w 10785"/>
                <a:gd name="connsiteY2166" fmla="*/ 5034 h 10000"/>
                <a:gd name="connsiteX2167" fmla="*/ 608 w 10785"/>
                <a:gd name="connsiteY2167" fmla="*/ 5051 h 10000"/>
                <a:gd name="connsiteX2168" fmla="*/ 594 w 10785"/>
                <a:gd name="connsiteY2168" fmla="*/ 5068 h 10000"/>
                <a:gd name="connsiteX2169" fmla="*/ 608 w 10785"/>
                <a:gd name="connsiteY2169" fmla="*/ 5120 h 10000"/>
                <a:gd name="connsiteX2170" fmla="*/ 613 w 10785"/>
                <a:gd name="connsiteY2170" fmla="*/ 5128 h 10000"/>
                <a:gd name="connsiteX2171" fmla="*/ 627 w 10785"/>
                <a:gd name="connsiteY2171" fmla="*/ 5179 h 10000"/>
                <a:gd name="connsiteX2172" fmla="*/ 650 w 10785"/>
                <a:gd name="connsiteY2172" fmla="*/ 5214 h 10000"/>
                <a:gd name="connsiteX2173" fmla="*/ 687 w 10785"/>
                <a:gd name="connsiteY2173" fmla="*/ 5188 h 10000"/>
                <a:gd name="connsiteX2174" fmla="*/ 700 w 10785"/>
                <a:gd name="connsiteY2174" fmla="*/ 5325 h 10000"/>
                <a:gd name="connsiteX2175" fmla="*/ 710 w 10785"/>
                <a:gd name="connsiteY2175" fmla="*/ 5350 h 10000"/>
                <a:gd name="connsiteX2176" fmla="*/ 687 w 10785"/>
                <a:gd name="connsiteY2176" fmla="*/ 5325 h 10000"/>
                <a:gd name="connsiteX2177" fmla="*/ 668 w 10785"/>
                <a:gd name="connsiteY2177" fmla="*/ 5350 h 10000"/>
                <a:gd name="connsiteX2178" fmla="*/ 668 w 10785"/>
                <a:gd name="connsiteY2178" fmla="*/ 5368 h 10000"/>
                <a:gd name="connsiteX2179" fmla="*/ 668 w 10785"/>
                <a:gd name="connsiteY2179" fmla="*/ 5376 h 10000"/>
                <a:gd name="connsiteX2180" fmla="*/ 581 w 10785"/>
                <a:gd name="connsiteY2180" fmla="*/ 5316 h 10000"/>
                <a:gd name="connsiteX2181" fmla="*/ 567 w 10785"/>
                <a:gd name="connsiteY2181" fmla="*/ 5265 h 10000"/>
                <a:gd name="connsiteX2182" fmla="*/ 562 w 10785"/>
                <a:gd name="connsiteY2182" fmla="*/ 5256 h 10000"/>
                <a:gd name="connsiteX2183" fmla="*/ 548 w 10785"/>
                <a:gd name="connsiteY2183" fmla="*/ 5231 h 10000"/>
                <a:gd name="connsiteX2184" fmla="*/ 535 w 10785"/>
                <a:gd name="connsiteY2184" fmla="*/ 5214 h 10000"/>
                <a:gd name="connsiteX2185" fmla="*/ 525 w 10785"/>
                <a:gd name="connsiteY2185" fmla="*/ 5231 h 10000"/>
                <a:gd name="connsiteX2186" fmla="*/ 521 w 10785"/>
                <a:gd name="connsiteY2186" fmla="*/ 5231 h 10000"/>
                <a:gd name="connsiteX2187" fmla="*/ 493 w 10785"/>
                <a:gd name="connsiteY2187" fmla="*/ 5205 h 10000"/>
                <a:gd name="connsiteX2188" fmla="*/ 488 w 10785"/>
                <a:gd name="connsiteY2188" fmla="*/ 5179 h 10000"/>
                <a:gd name="connsiteX2189" fmla="*/ 475 w 10785"/>
                <a:gd name="connsiteY2189" fmla="*/ 5188 h 10000"/>
                <a:gd name="connsiteX2190" fmla="*/ 475 w 10785"/>
                <a:gd name="connsiteY2190" fmla="*/ 5171 h 10000"/>
                <a:gd name="connsiteX2191" fmla="*/ 488 w 10785"/>
                <a:gd name="connsiteY2191" fmla="*/ 5154 h 10000"/>
                <a:gd name="connsiteX2192" fmla="*/ 488 w 10785"/>
                <a:gd name="connsiteY2192" fmla="*/ 5068 h 10000"/>
                <a:gd name="connsiteX2193" fmla="*/ 475 w 10785"/>
                <a:gd name="connsiteY2193" fmla="*/ 5051 h 10000"/>
                <a:gd name="connsiteX2194" fmla="*/ 475 w 10785"/>
                <a:gd name="connsiteY2194" fmla="*/ 5017 h 10000"/>
                <a:gd name="connsiteX2195" fmla="*/ 452 w 10785"/>
                <a:gd name="connsiteY2195" fmla="*/ 4932 h 10000"/>
                <a:gd name="connsiteX2196" fmla="*/ 461 w 10785"/>
                <a:gd name="connsiteY2196" fmla="*/ 4915 h 10000"/>
                <a:gd name="connsiteX2197" fmla="*/ 475 w 10785"/>
                <a:gd name="connsiteY2197" fmla="*/ 4906 h 10000"/>
                <a:gd name="connsiteX2198" fmla="*/ 479 w 10785"/>
                <a:gd name="connsiteY2198" fmla="*/ 4803 h 10000"/>
                <a:gd name="connsiteX2199" fmla="*/ 479 w 10785"/>
                <a:gd name="connsiteY2199" fmla="*/ 4778 h 10000"/>
                <a:gd name="connsiteX2200" fmla="*/ 475 w 10785"/>
                <a:gd name="connsiteY2200" fmla="*/ 4761 h 10000"/>
                <a:gd name="connsiteX2201" fmla="*/ 465 w 10785"/>
                <a:gd name="connsiteY2201" fmla="*/ 4718 h 10000"/>
                <a:gd name="connsiteX2202" fmla="*/ 461 w 10785"/>
                <a:gd name="connsiteY2202" fmla="*/ 4709 h 10000"/>
                <a:gd name="connsiteX2203" fmla="*/ 442 w 10785"/>
                <a:gd name="connsiteY2203" fmla="*/ 4692 h 10000"/>
                <a:gd name="connsiteX2204" fmla="*/ 433 w 10785"/>
                <a:gd name="connsiteY2204" fmla="*/ 4667 h 10000"/>
                <a:gd name="connsiteX2205" fmla="*/ 419 w 10785"/>
                <a:gd name="connsiteY2205" fmla="*/ 4667 h 10000"/>
                <a:gd name="connsiteX2206" fmla="*/ 401 w 10785"/>
                <a:gd name="connsiteY2206" fmla="*/ 4658 h 10000"/>
                <a:gd name="connsiteX2207" fmla="*/ 401 w 10785"/>
                <a:gd name="connsiteY2207" fmla="*/ 4624 h 10000"/>
                <a:gd name="connsiteX2208" fmla="*/ 401 w 10785"/>
                <a:gd name="connsiteY2208" fmla="*/ 4607 h 10000"/>
                <a:gd name="connsiteX2209" fmla="*/ 378 w 10785"/>
                <a:gd name="connsiteY2209" fmla="*/ 4607 h 10000"/>
                <a:gd name="connsiteX2210" fmla="*/ 341 w 10785"/>
                <a:gd name="connsiteY2210" fmla="*/ 4530 h 10000"/>
                <a:gd name="connsiteX2211" fmla="*/ 346 w 10785"/>
                <a:gd name="connsiteY2211" fmla="*/ 4521 h 10000"/>
                <a:gd name="connsiteX2212" fmla="*/ 332 w 10785"/>
                <a:gd name="connsiteY2212" fmla="*/ 4487 h 10000"/>
                <a:gd name="connsiteX2213" fmla="*/ 327 w 10785"/>
                <a:gd name="connsiteY2213" fmla="*/ 4462 h 10000"/>
                <a:gd name="connsiteX2214" fmla="*/ 313 w 10785"/>
                <a:gd name="connsiteY2214" fmla="*/ 4436 h 10000"/>
                <a:gd name="connsiteX2215" fmla="*/ 300 w 10785"/>
                <a:gd name="connsiteY2215" fmla="*/ 4419 h 10000"/>
                <a:gd name="connsiteX2216" fmla="*/ 309 w 10785"/>
                <a:gd name="connsiteY2216" fmla="*/ 4393 h 10000"/>
                <a:gd name="connsiteX2217" fmla="*/ 332 w 10785"/>
                <a:gd name="connsiteY2217" fmla="*/ 4385 h 10000"/>
                <a:gd name="connsiteX2218" fmla="*/ 355 w 10785"/>
                <a:gd name="connsiteY2218" fmla="*/ 4419 h 10000"/>
                <a:gd name="connsiteX2219" fmla="*/ 355 w 10785"/>
                <a:gd name="connsiteY2219" fmla="*/ 4444 h 10000"/>
                <a:gd name="connsiteX2220" fmla="*/ 369 w 10785"/>
                <a:gd name="connsiteY2220" fmla="*/ 4470 h 10000"/>
                <a:gd name="connsiteX2221" fmla="*/ 401 w 10785"/>
                <a:gd name="connsiteY2221" fmla="*/ 4521 h 10000"/>
                <a:gd name="connsiteX2222" fmla="*/ 406 w 10785"/>
                <a:gd name="connsiteY2222" fmla="*/ 4513 h 10000"/>
                <a:gd name="connsiteX2223" fmla="*/ 406 w 10785"/>
                <a:gd name="connsiteY2223" fmla="*/ 4496 h 10000"/>
                <a:gd name="connsiteX2224" fmla="*/ 419 w 10785"/>
                <a:gd name="connsiteY2224" fmla="*/ 4521 h 10000"/>
                <a:gd name="connsiteX2225" fmla="*/ 429 w 10785"/>
                <a:gd name="connsiteY2225" fmla="*/ 4530 h 10000"/>
                <a:gd name="connsiteX2226" fmla="*/ 433 w 10785"/>
                <a:gd name="connsiteY2226" fmla="*/ 4521 h 10000"/>
                <a:gd name="connsiteX2227" fmla="*/ 442 w 10785"/>
                <a:gd name="connsiteY2227" fmla="*/ 4530 h 10000"/>
                <a:gd name="connsiteX2228" fmla="*/ 447 w 10785"/>
                <a:gd name="connsiteY2228" fmla="*/ 4521 h 10000"/>
                <a:gd name="connsiteX2229" fmla="*/ 452 w 10785"/>
                <a:gd name="connsiteY2229" fmla="*/ 4521 h 10000"/>
                <a:gd name="connsiteX2230" fmla="*/ 461 w 10785"/>
                <a:gd name="connsiteY2230" fmla="*/ 4573 h 10000"/>
                <a:gd name="connsiteX2231" fmla="*/ 479 w 10785"/>
                <a:gd name="connsiteY2231" fmla="*/ 4556 h 10000"/>
                <a:gd name="connsiteX2232" fmla="*/ 502 w 10785"/>
                <a:gd name="connsiteY2232" fmla="*/ 4573 h 10000"/>
                <a:gd name="connsiteX2233" fmla="*/ 507 w 10785"/>
                <a:gd name="connsiteY2233" fmla="*/ 4598 h 10000"/>
                <a:gd name="connsiteX2234" fmla="*/ 525 w 10785"/>
                <a:gd name="connsiteY2234" fmla="*/ 4598 h 10000"/>
                <a:gd name="connsiteX2235" fmla="*/ 535 w 10785"/>
                <a:gd name="connsiteY2235" fmla="*/ 4624 h 10000"/>
                <a:gd name="connsiteX2236" fmla="*/ 594 w 10785"/>
                <a:gd name="connsiteY2236" fmla="*/ 4658 h 10000"/>
                <a:gd name="connsiteX2237" fmla="*/ 627 w 10785"/>
                <a:gd name="connsiteY2237" fmla="*/ 4658 h 10000"/>
                <a:gd name="connsiteX2238" fmla="*/ 654 w 10785"/>
                <a:gd name="connsiteY2238" fmla="*/ 4684 h 10000"/>
                <a:gd name="connsiteX2239" fmla="*/ 668 w 10785"/>
                <a:gd name="connsiteY2239" fmla="*/ 4709 h 10000"/>
                <a:gd name="connsiteX2240" fmla="*/ 747 w 10785"/>
                <a:gd name="connsiteY2240" fmla="*/ 4718 h 10000"/>
                <a:gd name="connsiteX2241" fmla="*/ 760 w 10785"/>
                <a:gd name="connsiteY2241" fmla="*/ 4709 h 10000"/>
                <a:gd name="connsiteX2242" fmla="*/ 774 w 10785"/>
                <a:gd name="connsiteY2242" fmla="*/ 4692 h 10000"/>
                <a:gd name="connsiteX2243" fmla="*/ 829 w 10785"/>
                <a:gd name="connsiteY2243" fmla="*/ 4658 h 10000"/>
                <a:gd name="connsiteX2244" fmla="*/ 903 w 10785"/>
                <a:gd name="connsiteY2244" fmla="*/ 4496 h 10000"/>
                <a:gd name="connsiteX2245" fmla="*/ 917 w 10785"/>
                <a:gd name="connsiteY2245" fmla="*/ 4385 h 10000"/>
                <a:gd name="connsiteX2246" fmla="*/ 903 w 10785"/>
                <a:gd name="connsiteY2246" fmla="*/ 4376 h 10000"/>
                <a:gd name="connsiteX2247" fmla="*/ 903 w 10785"/>
                <a:gd name="connsiteY2247" fmla="*/ 4376 h 10000"/>
                <a:gd name="connsiteX2248" fmla="*/ 889 w 10785"/>
                <a:gd name="connsiteY2248" fmla="*/ 4239 h 10000"/>
                <a:gd name="connsiteX2249" fmla="*/ 880 w 10785"/>
                <a:gd name="connsiteY2249" fmla="*/ 4214 h 10000"/>
                <a:gd name="connsiteX2250" fmla="*/ 862 w 10785"/>
                <a:gd name="connsiteY2250" fmla="*/ 4188 h 10000"/>
                <a:gd name="connsiteX2251" fmla="*/ 857 w 10785"/>
                <a:gd name="connsiteY2251" fmla="*/ 4197 h 10000"/>
                <a:gd name="connsiteX2252" fmla="*/ 848 w 10785"/>
                <a:gd name="connsiteY2252" fmla="*/ 4188 h 10000"/>
                <a:gd name="connsiteX2253" fmla="*/ 848 w 10785"/>
                <a:gd name="connsiteY2253" fmla="*/ 4162 h 10000"/>
                <a:gd name="connsiteX2254" fmla="*/ 829 w 10785"/>
                <a:gd name="connsiteY2254" fmla="*/ 4120 h 10000"/>
                <a:gd name="connsiteX2255" fmla="*/ 820 w 10785"/>
                <a:gd name="connsiteY2255" fmla="*/ 4103 h 10000"/>
                <a:gd name="connsiteX2256" fmla="*/ 806 w 10785"/>
                <a:gd name="connsiteY2256" fmla="*/ 4077 h 10000"/>
                <a:gd name="connsiteX2257" fmla="*/ 816 w 10785"/>
                <a:gd name="connsiteY2257" fmla="*/ 4111 h 10000"/>
                <a:gd name="connsiteX2258" fmla="*/ 802 w 10785"/>
                <a:gd name="connsiteY2258" fmla="*/ 4111 h 10000"/>
                <a:gd name="connsiteX2259" fmla="*/ 770 w 10785"/>
                <a:gd name="connsiteY2259" fmla="*/ 4060 h 10000"/>
                <a:gd name="connsiteX2260" fmla="*/ 760 w 10785"/>
                <a:gd name="connsiteY2260" fmla="*/ 4077 h 10000"/>
                <a:gd name="connsiteX2261" fmla="*/ 760 w 10785"/>
                <a:gd name="connsiteY2261" fmla="*/ 4060 h 10000"/>
                <a:gd name="connsiteX2262" fmla="*/ 756 w 10785"/>
                <a:gd name="connsiteY2262" fmla="*/ 4034 h 10000"/>
                <a:gd name="connsiteX2263" fmla="*/ 742 w 10785"/>
                <a:gd name="connsiteY2263" fmla="*/ 4000 h 10000"/>
                <a:gd name="connsiteX2264" fmla="*/ 747 w 10785"/>
                <a:gd name="connsiteY2264" fmla="*/ 4034 h 10000"/>
                <a:gd name="connsiteX2265" fmla="*/ 724 w 10785"/>
                <a:gd name="connsiteY2265" fmla="*/ 4026 h 10000"/>
                <a:gd name="connsiteX2266" fmla="*/ 714 w 10785"/>
                <a:gd name="connsiteY2266" fmla="*/ 4000 h 10000"/>
                <a:gd name="connsiteX2267" fmla="*/ 714 w 10785"/>
                <a:gd name="connsiteY2267" fmla="*/ 3983 h 10000"/>
                <a:gd name="connsiteX2268" fmla="*/ 553 w 10785"/>
                <a:gd name="connsiteY2268" fmla="*/ 3726 h 10000"/>
                <a:gd name="connsiteX2269" fmla="*/ 507 w 10785"/>
                <a:gd name="connsiteY2269" fmla="*/ 3718 h 10000"/>
                <a:gd name="connsiteX2270" fmla="*/ 516 w 10785"/>
                <a:gd name="connsiteY2270" fmla="*/ 3726 h 10000"/>
                <a:gd name="connsiteX2271" fmla="*/ 507 w 10785"/>
                <a:gd name="connsiteY2271" fmla="*/ 3735 h 10000"/>
                <a:gd name="connsiteX2272" fmla="*/ 502 w 10785"/>
                <a:gd name="connsiteY2272" fmla="*/ 3735 h 10000"/>
                <a:gd name="connsiteX2273" fmla="*/ 419 w 10785"/>
                <a:gd name="connsiteY2273" fmla="*/ 3675 h 10000"/>
                <a:gd name="connsiteX2274" fmla="*/ 419 w 10785"/>
                <a:gd name="connsiteY2274" fmla="*/ 3692 h 10000"/>
                <a:gd name="connsiteX2275" fmla="*/ 401 w 10785"/>
                <a:gd name="connsiteY2275" fmla="*/ 3701 h 10000"/>
                <a:gd name="connsiteX2276" fmla="*/ 387 w 10785"/>
                <a:gd name="connsiteY2276" fmla="*/ 3718 h 10000"/>
                <a:gd name="connsiteX2277" fmla="*/ 387 w 10785"/>
                <a:gd name="connsiteY2277" fmla="*/ 3692 h 10000"/>
                <a:gd name="connsiteX2278" fmla="*/ 378 w 10785"/>
                <a:gd name="connsiteY2278" fmla="*/ 3675 h 10000"/>
                <a:gd name="connsiteX2279" fmla="*/ 378 w 10785"/>
                <a:gd name="connsiteY2279" fmla="*/ 3650 h 10000"/>
                <a:gd name="connsiteX2280" fmla="*/ 378 w 10785"/>
                <a:gd name="connsiteY2280" fmla="*/ 3650 h 10000"/>
                <a:gd name="connsiteX2281" fmla="*/ 355 w 10785"/>
                <a:gd name="connsiteY2281" fmla="*/ 3675 h 10000"/>
                <a:gd name="connsiteX2282" fmla="*/ 359 w 10785"/>
                <a:gd name="connsiteY2282" fmla="*/ 3641 h 10000"/>
                <a:gd name="connsiteX2283" fmla="*/ 346 w 10785"/>
                <a:gd name="connsiteY2283" fmla="*/ 3650 h 10000"/>
                <a:gd name="connsiteX2284" fmla="*/ 355 w 10785"/>
                <a:gd name="connsiteY2284" fmla="*/ 3624 h 10000"/>
                <a:gd name="connsiteX2285" fmla="*/ 346 w 10785"/>
                <a:gd name="connsiteY2285" fmla="*/ 3624 h 10000"/>
                <a:gd name="connsiteX2286" fmla="*/ 341 w 10785"/>
                <a:gd name="connsiteY2286" fmla="*/ 3624 h 10000"/>
                <a:gd name="connsiteX2287" fmla="*/ 318 w 10785"/>
                <a:gd name="connsiteY2287" fmla="*/ 3641 h 10000"/>
                <a:gd name="connsiteX2288" fmla="*/ 327 w 10785"/>
                <a:gd name="connsiteY2288" fmla="*/ 3624 h 10000"/>
                <a:gd name="connsiteX2289" fmla="*/ 318 w 10785"/>
                <a:gd name="connsiteY2289" fmla="*/ 3615 h 10000"/>
                <a:gd name="connsiteX2290" fmla="*/ 318 w 10785"/>
                <a:gd name="connsiteY2290" fmla="*/ 3598 h 10000"/>
                <a:gd name="connsiteX2291" fmla="*/ 300 w 10785"/>
                <a:gd name="connsiteY2291" fmla="*/ 3598 h 10000"/>
                <a:gd name="connsiteX2292" fmla="*/ 309 w 10785"/>
                <a:gd name="connsiteY2292" fmla="*/ 3538 h 10000"/>
                <a:gd name="connsiteX2293" fmla="*/ 313 w 10785"/>
                <a:gd name="connsiteY2293" fmla="*/ 3564 h 10000"/>
                <a:gd name="connsiteX2294" fmla="*/ 318 w 10785"/>
                <a:gd name="connsiteY2294" fmla="*/ 3581 h 10000"/>
                <a:gd name="connsiteX2295" fmla="*/ 327 w 10785"/>
                <a:gd name="connsiteY2295" fmla="*/ 3564 h 10000"/>
                <a:gd name="connsiteX2296" fmla="*/ 332 w 10785"/>
                <a:gd name="connsiteY2296" fmla="*/ 3590 h 10000"/>
                <a:gd name="connsiteX2297" fmla="*/ 346 w 10785"/>
                <a:gd name="connsiteY2297" fmla="*/ 3590 h 10000"/>
                <a:gd name="connsiteX2298" fmla="*/ 355 w 10785"/>
                <a:gd name="connsiteY2298" fmla="*/ 3590 h 10000"/>
                <a:gd name="connsiteX2299" fmla="*/ 369 w 10785"/>
                <a:gd name="connsiteY2299" fmla="*/ 3556 h 10000"/>
                <a:gd name="connsiteX2300" fmla="*/ 369 w 10785"/>
                <a:gd name="connsiteY2300" fmla="*/ 3538 h 10000"/>
                <a:gd name="connsiteX2301" fmla="*/ 346 w 10785"/>
                <a:gd name="connsiteY2301" fmla="*/ 3513 h 10000"/>
                <a:gd name="connsiteX2302" fmla="*/ 341 w 10785"/>
                <a:gd name="connsiteY2302" fmla="*/ 3530 h 10000"/>
                <a:gd name="connsiteX2303" fmla="*/ 327 w 10785"/>
                <a:gd name="connsiteY2303" fmla="*/ 3513 h 10000"/>
                <a:gd name="connsiteX2304" fmla="*/ 327 w 10785"/>
                <a:gd name="connsiteY2304" fmla="*/ 3504 h 10000"/>
                <a:gd name="connsiteX2305" fmla="*/ 295 w 10785"/>
                <a:gd name="connsiteY2305" fmla="*/ 3462 h 10000"/>
                <a:gd name="connsiteX2306" fmla="*/ 300 w 10785"/>
                <a:gd name="connsiteY2306" fmla="*/ 3479 h 10000"/>
                <a:gd name="connsiteX2307" fmla="*/ 295 w 10785"/>
                <a:gd name="connsiteY2307" fmla="*/ 3513 h 10000"/>
                <a:gd name="connsiteX2308" fmla="*/ 286 w 10785"/>
                <a:gd name="connsiteY2308" fmla="*/ 3513 h 10000"/>
                <a:gd name="connsiteX2309" fmla="*/ 281 w 10785"/>
                <a:gd name="connsiteY2309" fmla="*/ 3513 h 10000"/>
                <a:gd name="connsiteX2310" fmla="*/ 281 w 10785"/>
                <a:gd name="connsiteY2310" fmla="*/ 3530 h 10000"/>
                <a:gd name="connsiteX2311" fmla="*/ 281 w 10785"/>
                <a:gd name="connsiteY2311" fmla="*/ 3556 h 10000"/>
                <a:gd name="connsiteX2312" fmla="*/ 272 w 10785"/>
                <a:gd name="connsiteY2312" fmla="*/ 3564 h 10000"/>
                <a:gd name="connsiteX2313" fmla="*/ 267 w 10785"/>
                <a:gd name="connsiteY2313" fmla="*/ 3564 h 10000"/>
                <a:gd name="connsiteX2314" fmla="*/ 253 w 10785"/>
                <a:gd name="connsiteY2314" fmla="*/ 3538 h 10000"/>
                <a:gd name="connsiteX2315" fmla="*/ 226 w 10785"/>
                <a:gd name="connsiteY2315" fmla="*/ 3513 h 10000"/>
                <a:gd name="connsiteX2316" fmla="*/ 226 w 10785"/>
                <a:gd name="connsiteY2316" fmla="*/ 3530 h 10000"/>
                <a:gd name="connsiteX2317" fmla="*/ 226 w 10785"/>
                <a:gd name="connsiteY2317" fmla="*/ 3530 h 10000"/>
                <a:gd name="connsiteX2318" fmla="*/ 226 w 10785"/>
                <a:gd name="connsiteY2318" fmla="*/ 3530 h 10000"/>
                <a:gd name="connsiteX2319" fmla="*/ 226 w 10785"/>
                <a:gd name="connsiteY2319" fmla="*/ 3556 h 10000"/>
                <a:gd name="connsiteX2320" fmla="*/ 221 w 10785"/>
                <a:gd name="connsiteY2320" fmla="*/ 3598 h 10000"/>
                <a:gd name="connsiteX2321" fmla="*/ 207 w 10785"/>
                <a:gd name="connsiteY2321" fmla="*/ 3598 h 10000"/>
                <a:gd name="connsiteX2322" fmla="*/ 180 w 10785"/>
                <a:gd name="connsiteY2322" fmla="*/ 3581 h 10000"/>
                <a:gd name="connsiteX2323" fmla="*/ 171 w 10785"/>
                <a:gd name="connsiteY2323" fmla="*/ 3641 h 10000"/>
                <a:gd name="connsiteX2324" fmla="*/ 166 w 10785"/>
                <a:gd name="connsiteY2324" fmla="*/ 3650 h 10000"/>
                <a:gd name="connsiteX2325" fmla="*/ 124 w 10785"/>
                <a:gd name="connsiteY2325" fmla="*/ 3701 h 10000"/>
                <a:gd name="connsiteX2326" fmla="*/ 124 w 10785"/>
                <a:gd name="connsiteY2326" fmla="*/ 3718 h 10000"/>
                <a:gd name="connsiteX2327" fmla="*/ 120 w 10785"/>
                <a:gd name="connsiteY2327" fmla="*/ 3735 h 10000"/>
                <a:gd name="connsiteX2328" fmla="*/ 120 w 10785"/>
                <a:gd name="connsiteY2328" fmla="*/ 3735 h 10000"/>
                <a:gd name="connsiteX2329" fmla="*/ 111 w 10785"/>
                <a:gd name="connsiteY2329" fmla="*/ 3761 h 10000"/>
                <a:gd name="connsiteX2330" fmla="*/ 106 w 10785"/>
                <a:gd name="connsiteY2330" fmla="*/ 3761 h 10000"/>
                <a:gd name="connsiteX2331" fmla="*/ 106 w 10785"/>
                <a:gd name="connsiteY2331" fmla="*/ 3761 h 10000"/>
                <a:gd name="connsiteX2332" fmla="*/ 74 w 10785"/>
                <a:gd name="connsiteY2332" fmla="*/ 3829 h 10000"/>
                <a:gd name="connsiteX2333" fmla="*/ 78 w 10785"/>
                <a:gd name="connsiteY2333" fmla="*/ 3838 h 10000"/>
                <a:gd name="connsiteX2334" fmla="*/ 88 w 10785"/>
                <a:gd name="connsiteY2334" fmla="*/ 3846 h 10000"/>
                <a:gd name="connsiteX2335" fmla="*/ 65 w 10785"/>
                <a:gd name="connsiteY2335" fmla="*/ 3923 h 10000"/>
                <a:gd name="connsiteX2336" fmla="*/ 78 w 10785"/>
                <a:gd name="connsiteY2336" fmla="*/ 4026 h 10000"/>
                <a:gd name="connsiteX2337" fmla="*/ 88 w 10785"/>
                <a:gd name="connsiteY2337" fmla="*/ 4051 h 10000"/>
                <a:gd name="connsiteX2338" fmla="*/ 92 w 10785"/>
                <a:gd name="connsiteY2338" fmla="*/ 4060 h 10000"/>
                <a:gd name="connsiteX2339" fmla="*/ 111 w 10785"/>
                <a:gd name="connsiteY2339" fmla="*/ 4060 h 10000"/>
                <a:gd name="connsiteX2340" fmla="*/ 124 w 10785"/>
                <a:gd name="connsiteY2340" fmla="*/ 4085 h 10000"/>
                <a:gd name="connsiteX2341" fmla="*/ 166 w 10785"/>
                <a:gd name="connsiteY2341" fmla="*/ 4197 h 10000"/>
                <a:gd name="connsiteX2342" fmla="*/ 166 w 10785"/>
                <a:gd name="connsiteY2342" fmla="*/ 4248 h 10000"/>
                <a:gd name="connsiteX2343" fmla="*/ 120 w 10785"/>
                <a:gd name="connsiteY2343" fmla="*/ 4462 h 10000"/>
                <a:gd name="connsiteX2344" fmla="*/ 120 w 10785"/>
                <a:gd name="connsiteY2344" fmla="*/ 4513 h 10000"/>
                <a:gd name="connsiteX2345" fmla="*/ 180 w 10785"/>
                <a:gd name="connsiteY2345" fmla="*/ 4829 h 10000"/>
                <a:gd name="connsiteX2346" fmla="*/ 161 w 10785"/>
                <a:gd name="connsiteY2346" fmla="*/ 4855 h 10000"/>
                <a:gd name="connsiteX2347" fmla="*/ 152 w 10785"/>
                <a:gd name="connsiteY2347" fmla="*/ 4940 h 10000"/>
                <a:gd name="connsiteX2348" fmla="*/ 161 w 10785"/>
                <a:gd name="connsiteY2348" fmla="*/ 4966 h 10000"/>
                <a:gd name="connsiteX2349" fmla="*/ 161 w 10785"/>
                <a:gd name="connsiteY2349" fmla="*/ 5009 h 10000"/>
                <a:gd name="connsiteX2350" fmla="*/ 152 w 10785"/>
                <a:gd name="connsiteY2350" fmla="*/ 5034 h 10000"/>
                <a:gd name="connsiteX2351" fmla="*/ 152 w 10785"/>
                <a:gd name="connsiteY2351" fmla="*/ 5077 h 10000"/>
                <a:gd name="connsiteX2352" fmla="*/ 171 w 10785"/>
                <a:gd name="connsiteY2352" fmla="*/ 5094 h 10000"/>
                <a:gd name="connsiteX2353" fmla="*/ 180 w 10785"/>
                <a:gd name="connsiteY2353" fmla="*/ 5128 h 10000"/>
                <a:gd name="connsiteX2354" fmla="*/ 180 w 10785"/>
                <a:gd name="connsiteY2354" fmla="*/ 5171 h 10000"/>
                <a:gd name="connsiteX2355" fmla="*/ 184 w 10785"/>
                <a:gd name="connsiteY2355" fmla="*/ 5205 h 10000"/>
                <a:gd name="connsiteX2356" fmla="*/ 207 w 10785"/>
                <a:gd name="connsiteY2356" fmla="*/ 5239 h 10000"/>
                <a:gd name="connsiteX2357" fmla="*/ 207 w 10785"/>
                <a:gd name="connsiteY2357" fmla="*/ 5282 h 10000"/>
                <a:gd name="connsiteX2358" fmla="*/ 180 w 10785"/>
                <a:gd name="connsiteY2358" fmla="*/ 5393 h 10000"/>
                <a:gd name="connsiteX2359" fmla="*/ 194 w 10785"/>
                <a:gd name="connsiteY2359" fmla="*/ 5427 h 10000"/>
                <a:gd name="connsiteX2360" fmla="*/ 198 w 10785"/>
                <a:gd name="connsiteY2360" fmla="*/ 5462 h 10000"/>
                <a:gd name="connsiteX2361" fmla="*/ 235 w 10785"/>
                <a:gd name="connsiteY2361" fmla="*/ 5513 h 10000"/>
                <a:gd name="connsiteX2362" fmla="*/ 240 w 10785"/>
                <a:gd name="connsiteY2362" fmla="*/ 5556 h 10000"/>
                <a:gd name="connsiteX2363" fmla="*/ 253 w 10785"/>
                <a:gd name="connsiteY2363" fmla="*/ 5590 h 10000"/>
                <a:gd name="connsiteX2364" fmla="*/ 258 w 10785"/>
                <a:gd name="connsiteY2364" fmla="*/ 5573 h 10000"/>
                <a:gd name="connsiteX2365" fmla="*/ 258 w 10785"/>
                <a:gd name="connsiteY2365" fmla="*/ 5667 h 10000"/>
                <a:gd name="connsiteX2366" fmla="*/ 14 w 10785"/>
                <a:gd name="connsiteY2366" fmla="*/ 6214 h 10000"/>
                <a:gd name="connsiteX2367" fmla="*/ 14 w 10785"/>
                <a:gd name="connsiteY2367" fmla="*/ 6214 h 10000"/>
                <a:gd name="connsiteX2368" fmla="*/ 37 w 10785"/>
                <a:gd name="connsiteY2368" fmla="*/ 6214 h 10000"/>
                <a:gd name="connsiteX2369" fmla="*/ 51 w 10785"/>
                <a:gd name="connsiteY2369" fmla="*/ 6188 h 10000"/>
                <a:gd name="connsiteX2370" fmla="*/ 78 w 10785"/>
                <a:gd name="connsiteY2370" fmla="*/ 6162 h 10000"/>
                <a:gd name="connsiteX2371" fmla="*/ 78 w 10785"/>
                <a:gd name="connsiteY2371" fmla="*/ 6188 h 10000"/>
                <a:gd name="connsiteX2372" fmla="*/ 74 w 10785"/>
                <a:gd name="connsiteY2372" fmla="*/ 6197 h 10000"/>
                <a:gd name="connsiteX2373" fmla="*/ 74 w 10785"/>
                <a:gd name="connsiteY2373" fmla="*/ 6231 h 10000"/>
                <a:gd name="connsiteX2374" fmla="*/ 74 w 10785"/>
                <a:gd name="connsiteY2374" fmla="*/ 6214 h 10000"/>
                <a:gd name="connsiteX2375" fmla="*/ 65 w 10785"/>
                <a:gd name="connsiteY2375" fmla="*/ 6214 h 10000"/>
                <a:gd name="connsiteX2376" fmla="*/ 65 w 10785"/>
                <a:gd name="connsiteY2376" fmla="*/ 6248 h 10000"/>
                <a:gd name="connsiteX2377" fmla="*/ 74 w 10785"/>
                <a:gd name="connsiteY2377" fmla="*/ 6256 h 10000"/>
                <a:gd name="connsiteX2378" fmla="*/ 78 w 10785"/>
                <a:gd name="connsiteY2378" fmla="*/ 6256 h 10000"/>
                <a:gd name="connsiteX2379" fmla="*/ 106 w 10785"/>
                <a:gd name="connsiteY2379" fmla="*/ 6308 h 10000"/>
                <a:gd name="connsiteX2380" fmla="*/ 138 w 10785"/>
                <a:gd name="connsiteY2380" fmla="*/ 6299 h 10000"/>
                <a:gd name="connsiteX2381" fmla="*/ 152 w 10785"/>
                <a:gd name="connsiteY2381" fmla="*/ 6299 h 10000"/>
                <a:gd name="connsiteX2382" fmla="*/ 166 w 10785"/>
                <a:gd name="connsiteY2382" fmla="*/ 6325 h 10000"/>
                <a:gd name="connsiteX2383" fmla="*/ 166 w 10785"/>
                <a:gd name="connsiteY2383" fmla="*/ 6333 h 10000"/>
                <a:gd name="connsiteX2384" fmla="*/ 171 w 10785"/>
                <a:gd name="connsiteY2384" fmla="*/ 6350 h 10000"/>
                <a:gd name="connsiteX2385" fmla="*/ 180 w 10785"/>
                <a:gd name="connsiteY2385" fmla="*/ 6350 h 10000"/>
                <a:gd name="connsiteX2386" fmla="*/ 180 w 10785"/>
                <a:gd name="connsiteY2386" fmla="*/ 6359 h 10000"/>
                <a:gd name="connsiteX2387" fmla="*/ 171 w 10785"/>
                <a:gd name="connsiteY2387" fmla="*/ 6368 h 10000"/>
                <a:gd name="connsiteX2388" fmla="*/ 106 w 10785"/>
                <a:gd name="connsiteY2388" fmla="*/ 6350 h 10000"/>
                <a:gd name="connsiteX2389" fmla="*/ 101 w 10785"/>
                <a:gd name="connsiteY2389" fmla="*/ 6359 h 10000"/>
                <a:gd name="connsiteX2390" fmla="*/ 101 w 10785"/>
                <a:gd name="connsiteY2390" fmla="*/ 6385 h 10000"/>
                <a:gd name="connsiteX2391" fmla="*/ 78 w 10785"/>
                <a:gd name="connsiteY2391" fmla="*/ 6393 h 10000"/>
                <a:gd name="connsiteX2392" fmla="*/ 74 w 10785"/>
                <a:gd name="connsiteY2392" fmla="*/ 6385 h 10000"/>
                <a:gd name="connsiteX2393" fmla="*/ 65 w 10785"/>
                <a:gd name="connsiteY2393" fmla="*/ 6393 h 10000"/>
                <a:gd name="connsiteX2394" fmla="*/ 60 w 10785"/>
                <a:gd name="connsiteY2394" fmla="*/ 6419 h 10000"/>
                <a:gd name="connsiteX2395" fmla="*/ 51 w 10785"/>
                <a:gd name="connsiteY2395" fmla="*/ 6419 h 10000"/>
                <a:gd name="connsiteX2396" fmla="*/ 46 w 10785"/>
                <a:gd name="connsiteY2396" fmla="*/ 6410 h 10000"/>
                <a:gd name="connsiteX2397" fmla="*/ 37 w 10785"/>
                <a:gd name="connsiteY2397" fmla="*/ 6393 h 10000"/>
                <a:gd name="connsiteX2398" fmla="*/ 32 w 10785"/>
                <a:gd name="connsiteY2398" fmla="*/ 6419 h 10000"/>
                <a:gd name="connsiteX2399" fmla="*/ 37 w 10785"/>
                <a:gd name="connsiteY2399" fmla="*/ 6462 h 10000"/>
                <a:gd name="connsiteX2400" fmla="*/ 46 w 10785"/>
                <a:gd name="connsiteY2400" fmla="*/ 6462 h 10000"/>
                <a:gd name="connsiteX2401" fmla="*/ 51 w 10785"/>
                <a:gd name="connsiteY2401" fmla="*/ 6470 h 10000"/>
                <a:gd name="connsiteX2402" fmla="*/ 51 w 10785"/>
                <a:gd name="connsiteY2402" fmla="*/ 6496 h 10000"/>
                <a:gd name="connsiteX2403" fmla="*/ 51 w 10785"/>
                <a:gd name="connsiteY2403" fmla="*/ 6504 h 10000"/>
                <a:gd name="connsiteX2404" fmla="*/ 37 w 10785"/>
                <a:gd name="connsiteY2404" fmla="*/ 6530 h 10000"/>
                <a:gd name="connsiteX2405" fmla="*/ 18 w 10785"/>
                <a:gd name="connsiteY2405" fmla="*/ 6598 h 10000"/>
                <a:gd name="connsiteX2406" fmla="*/ 28 w 10785"/>
                <a:gd name="connsiteY2406" fmla="*/ 6632 h 10000"/>
                <a:gd name="connsiteX2407" fmla="*/ 18 w 10785"/>
                <a:gd name="connsiteY2407" fmla="*/ 6667 h 10000"/>
                <a:gd name="connsiteX2408" fmla="*/ 28 w 10785"/>
                <a:gd name="connsiteY2408" fmla="*/ 6692 h 10000"/>
                <a:gd name="connsiteX2409" fmla="*/ 28 w 10785"/>
                <a:gd name="connsiteY2409" fmla="*/ 6709 h 10000"/>
                <a:gd name="connsiteX2410" fmla="*/ 18 w 10785"/>
                <a:gd name="connsiteY2410" fmla="*/ 6718 h 10000"/>
                <a:gd name="connsiteX2411" fmla="*/ 5 w 10785"/>
                <a:gd name="connsiteY2411" fmla="*/ 6744 h 10000"/>
                <a:gd name="connsiteX2412" fmla="*/ 0 w 10785"/>
                <a:gd name="connsiteY2412" fmla="*/ 6769 h 10000"/>
                <a:gd name="connsiteX2413" fmla="*/ 5 w 10785"/>
                <a:gd name="connsiteY2413" fmla="*/ 6778 h 10000"/>
                <a:gd name="connsiteX2414" fmla="*/ 32 w 10785"/>
                <a:gd name="connsiteY2414" fmla="*/ 6778 h 10000"/>
                <a:gd name="connsiteX2415" fmla="*/ 46 w 10785"/>
                <a:gd name="connsiteY2415" fmla="*/ 6821 h 10000"/>
                <a:gd name="connsiteX2416" fmla="*/ 46 w 10785"/>
                <a:gd name="connsiteY2416" fmla="*/ 6855 h 10000"/>
                <a:gd name="connsiteX2417" fmla="*/ 32 w 10785"/>
                <a:gd name="connsiteY2417" fmla="*/ 6855 h 10000"/>
                <a:gd name="connsiteX2418" fmla="*/ 14 w 10785"/>
                <a:gd name="connsiteY2418" fmla="*/ 6821 h 10000"/>
                <a:gd name="connsiteX2419" fmla="*/ 14 w 10785"/>
                <a:gd name="connsiteY2419" fmla="*/ 6846 h 10000"/>
                <a:gd name="connsiteX2420" fmla="*/ 0 w 10785"/>
                <a:gd name="connsiteY2420" fmla="*/ 6897 h 10000"/>
                <a:gd name="connsiteX2421" fmla="*/ 0 w 10785"/>
                <a:gd name="connsiteY2421" fmla="*/ 6915 h 10000"/>
                <a:gd name="connsiteX2422" fmla="*/ 5 w 10785"/>
                <a:gd name="connsiteY2422" fmla="*/ 6932 h 10000"/>
                <a:gd name="connsiteX2423" fmla="*/ 14 w 10785"/>
                <a:gd name="connsiteY2423" fmla="*/ 6940 h 10000"/>
                <a:gd name="connsiteX2424" fmla="*/ 18 w 10785"/>
                <a:gd name="connsiteY2424" fmla="*/ 6957 h 10000"/>
                <a:gd name="connsiteX2425" fmla="*/ 28 w 10785"/>
                <a:gd name="connsiteY2425" fmla="*/ 6966 h 10000"/>
                <a:gd name="connsiteX2426" fmla="*/ 28 w 10785"/>
                <a:gd name="connsiteY2426" fmla="*/ 6983 h 10000"/>
                <a:gd name="connsiteX2427" fmla="*/ 18 w 10785"/>
                <a:gd name="connsiteY2427" fmla="*/ 7051 h 10000"/>
                <a:gd name="connsiteX2428" fmla="*/ 28 w 10785"/>
                <a:gd name="connsiteY2428" fmla="*/ 7068 h 10000"/>
                <a:gd name="connsiteX2429" fmla="*/ 32 w 10785"/>
                <a:gd name="connsiteY2429" fmla="*/ 7068 h 10000"/>
                <a:gd name="connsiteX2430" fmla="*/ 32 w 10785"/>
                <a:gd name="connsiteY2430" fmla="*/ 7094 h 10000"/>
                <a:gd name="connsiteX2431" fmla="*/ 60 w 10785"/>
                <a:gd name="connsiteY2431" fmla="*/ 7162 h 10000"/>
                <a:gd name="connsiteX2432" fmla="*/ 60 w 10785"/>
                <a:gd name="connsiteY2432" fmla="*/ 7231 h 10000"/>
                <a:gd name="connsiteX2433" fmla="*/ 60 w 10785"/>
                <a:gd name="connsiteY2433" fmla="*/ 7239 h 10000"/>
                <a:gd name="connsiteX2434" fmla="*/ 78 w 10785"/>
                <a:gd name="connsiteY2434" fmla="*/ 7239 h 10000"/>
                <a:gd name="connsiteX2435" fmla="*/ 88 w 10785"/>
                <a:gd name="connsiteY2435" fmla="*/ 7239 h 10000"/>
                <a:gd name="connsiteX2436" fmla="*/ 92 w 10785"/>
                <a:gd name="connsiteY2436" fmla="*/ 7256 h 10000"/>
                <a:gd name="connsiteX2437" fmla="*/ 111 w 10785"/>
                <a:gd name="connsiteY2437" fmla="*/ 7256 h 10000"/>
                <a:gd name="connsiteX2438" fmla="*/ 120 w 10785"/>
                <a:gd name="connsiteY2438" fmla="*/ 7256 h 10000"/>
                <a:gd name="connsiteX2439" fmla="*/ 134 w 10785"/>
                <a:gd name="connsiteY2439" fmla="*/ 7282 h 10000"/>
                <a:gd name="connsiteX2440" fmla="*/ 134 w 10785"/>
                <a:gd name="connsiteY2440" fmla="*/ 7316 h 10000"/>
                <a:gd name="connsiteX2441" fmla="*/ 152 w 10785"/>
                <a:gd name="connsiteY2441" fmla="*/ 7299 h 10000"/>
                <a:gd name="connsiteX2442" fmla="*/ 161 w 10785"/>
                <a:gd name="connsiteY2442" fmla="*/ 7299 h 10000"/>
                <a:gd name="connsiteX2443" fmla="*/ 166 w 10785"/>
                <a:gd name="connsiteY2443" fmla="*/ 7291 h 10000"/>
                <a:gd name="connsiteX2444" fmla="*/ 194 w 10785"/>
                <a:gd name="connsiteY2444" fmla="*/ 7291 h 10000"/>
                <a:gd name="connsiteX2445" fmla="*/ 207 w 10785"/>
                <a:gd name="connsiteY2445" fmla="*/ 7299 h 10000"/>
                <a:gd name="connsiteX2446" fmla="*/ 221 w 10785"/>
                <a:gd name="connsiteY2446" fmla="*/ 7342 h 10000"/>
                <a:gd name="connsiteX2447" fmla="*/ 235 w 10785"/>
                <a:gd name="connsiteY2447" fmla="*/ 7342 h 10000"/>
                <a:gd name="connsiteX2448" fmla="*/ 235 w 10785"/>
                <a:gd name="connsiteY2448" fmla="*/ 7368 h 10000"/>
                <a:gd name="connsiteX2449" fmla="*/ 226 w 10785"/>
                <a:gd name="connsiteY2449" fmla="*/ 7393 h 10000"/>
                <a:gd name="connsiteX2450" fmla="*/ 226 w 10785"/>
                <a:gd name="connsiteY2450" fmla="*/ 7402 h 10000"/>
                <a:gd name="connsiteX2451" fmla="*/ 235 w 10785"/>
                <a:gd name="connsiteY2451" fmla="*/ 7419 h 10000"/>
                <a:gd name="connsiteX2452" fmla="*/ 240 w 10785"/>
                <a:gd name="connsiteY2452" fmla="*/ 7436 h 10000"/>
                <a:gd name="connsiteX2453" fmla="*/ 235 w 10785"/>
                <a:gd name="connsiteY2453" fmla="*/ 7462 h 10000"/>
                <a:gd name="connsiteX2454" fmla="*/ 226 w 10785"/>
                <a:gd name="connsiteY2454" fmla="*/ 7479 h 10000"/>
                <a:gd name="connsiteX2455" fmla="*/ 226 w 10785"/>
                <a:gd name="connsiteY2455" fmla="*/ 7504 h 10000"/>
                <a:gd name="connsiteX2456" fmla="*/ 226 w 10785"/>
                <a:gd name="connsiteY2456" fmla="*/ 7513 h 10000"/>
                <a:gd name="connsiteX2457" fmla="*/ 240 w 10785"/>
                <a:gd name="connsiteY2457" fmla="*/ 7538 h 10000"/>
                <a:gd name="connsiteX2458" fmla="*/ 267 w 10785"/>
                <a:gd name="connsiteY2458" fmla="*/ 7641 h 10000"/>
                <a:gd name="connsiteX2459" fmla="*/ 281 w 10785"/>
                <a:gd name="connsiteY2459" fmla="*/ 7667 h 10000"/>
                <a:gd name="connsiteX2460" fmla="*/ 286 w 10785"/>
                <a:gd name="connsiteY2460" fmla="*/ 7675 h 10000"/>
                <a:gd name="connsiteX2461" fmla="*/ 286 w 10785"/>
                <a:gd name="connsiteY2461" fmla="*/ 7692 h 10000"/>
                <a:gd name="connsiteX2462" fmla="*/ 286 w 10785"/>
                <a:gd name="connsiteY2462" fmla="*/ 7709 h 10000"/>
                <a:gd name="connsiteX2463" fmla="*/ 295 w 10785"/>
                <a:gd name="connsiteY2463" fmla="*/ 7726 h 10000"/>
                <a:gd name="connsiteX2464" fmla="*/ 318 w 10785"/>
                <a:gd name="connsiteY2464" fmla="*/ 7709 h 10000"/>
                <a:gd name="connsiteX2465" fmla="*/ 327 w 10785"/>
                <a:gd name="connsiteY2465" fmla="*/ 7726 h 10000"/>
                <a:gd name="connsiteX2466" fmla="*/ 341 w 10785"/>
                <a:gd name="connsiteY2466" fmla="*/ 7735 h 10000"/>
                <a:gd name="connsiteX2467" fmla="*/ 332 w 10785"/>
                <a:gd name="connsiteY2467" fmla="*/ 7752 h 10000"/>
                <a:gd name="connsiteX2468" fmla="*/ 341 w 10785"/>
                <a:gd name="connsiteY2468" fmla="*/ 7761 h 10000"/>
                <a:gd name="connsiteX2469" fmla="*/ 355 w 10785"/>
                <a:gd name="connsiteY2469" fmla="*/ 7761 h 10000"/>
                <a:gd name="connsiteX2470" fmla="*/ 355 w 10785"/>
                <a:gd name="connsiteY2470" fmla="*/ 7803 h 10000"/>
                <a:gd name="connsiteX2471" fmla="*/ 313 w 10785"/>
                <a:gd name="connsiteY2471" fmla="*/ 7846 h 10000"/>
                <a:gd name="connsiteX2472" fmla="*/ 295 w 10785"/>
                <a:gd name="connsiteY2472" fmla="*/ 7846 h 10000"/>
                <a:gd name="connsiteX2473" fmla="*/ 281 w 10785"/>
                <a:gd name="connsiteY2473" fmla="*/ 7821 h 10000"/>
                <a:gd name="connsiteX2474" fmla="*/ 272 w 10785"/>
                <a:gd name="connsiteY2474" fmla="*/ 7821 h 10000"/>
                <a:gd name="connsiteX2475" fmla="*/ 267 w 10785"/>
                <a:gd name="connsiteY2475" fmla="*/ 7838 h 10000"/>
                <a:gd name="connsiteX2476" fmla="*/ 258 w 10785"/>
                <a:gd name="connsiteY2476" fmla="*/ 7846 h 10000"/>
                <a:gd name="connsiteX2477" fmla="*/ 253 w 10785"/>
                <a:gd name="connsiteY2477" fmla="*/ 7863 h 10000"/>
                <a:gd name="connsiteX2478" fmla="*/ 253 w 10785"/>
                <a:gd name="connsiteY2478" fmla="*/ 7872 h 10000"/>
                <a:gd name="connsiteX2479" fmla="*/ 267 w 10785"/>
                <a:gd name="connsiteY2479" fmla="*/ 7897 h 10000"/>
                <a:gd name="connsiteX2480" fmla="*/ 272 w 10785"/>
                <a:gd name="connsiteY2480" fmla="*/ 7915 h 10000"/>
                <a:gd name="connsiteX2481" fmla="*/ 267 w 10785"/>
                <a:gd name="connsiteY2481" fmla="*/ 7940 h 10000"/>
                <a:gd name="connsiteX2482" fmla="*/ 272 w 10785"/>
                <a:gd name="connsiteY2482" fmla="*/ 7949 h 10000"/>
                <a:gd name="connsiteX2483" fmla="*/ 272 w 10785"/>
                <a:gd name="connsiteY2483" fmla="*/ 7957 h 10000"/>
                <a:gd name="connsiteX2484" fmla="*/ 281 w 10785"/>
                <a:gd name="connsiteY2484" fmla="*/ 7974 h 10000"/>
                <a:gd name="connsiteX2485" fmla="*/ 286 w 10785"/>
                <a:gd name="connsiteY2485" fmla="*/ 7983 h 10000"/>
                <a:gd name="connsiteX2486" fmla="*/ 281 w 10785"/>
                <a:gd name="connsiteY2486" fmla="*/ 8009 h 10000"/>
                <a:gd name="connsiteX2487" fmla="*/ 286 w 10785"/>
                <a:gd name="connsiteY2487" fmla="*/ 8060 h 10000"/>
                <a:gd name="connsiteX2488" fmla="*/ 286 w 10785"/>
                <a:gd name="connsiteY2488" fmla="*/ 8060 h 10000"/>
                <a:gd name="connsiteX2489" fmla="*/ 295 w 10785"/>
                <a:gd name="connsiteY2489" fmla="*/ 8077 h 10000"/>
                <a:gd name="connsiteX2490" fmla="*/ 309 w 10785"/>
                <a:gd name="connsiteY2490" fmla="*/ 8077 h 10000"/>
                <a:gd name="connsiteX2491" fmla="*/ 313 w 10785"/>
                <a:gd name="connsiteY2491" fmla="*/ 8060 h 10000"/>
                <a:gd name="connsiteX2492" fmla="*/ 318 w 10785"/>
                <a:gd name="connsiteY2492" fmla="*/ 8051 h 10000"/>
                <a:gd name="connsiteX2493" fmla="*/ 318 w 10785"/>
                <a:gd name="connsiteY2493" fmla="*/ 8034 h 10000"/>
                <a:gd name="connsiteX2494" fmla="*/ 332 w 10785"/>
                <a:gd name="connsiteY2494" fmla="*/ 8026 h 10000"/>
                <a:gd name="connsiteX2495" fmla="*/ 359 w 10785"/>
                <a:gd name="connsiteY2495" fmla="*/ 8034 h 10000"/>
                <a:gd name="connsiteX2496" fmla="*/ 378 w 10785"/>
                <a:gd name="connsiteY2496" fmla="*/ 8026 h 10000"/>
                <a:gd name="connsiteX2497" fmla="*/ 401 w 10785"/>
                <a:gd name="connsiteY2497" fmla="*/ 8026 h 10000"/>
                <a:gd name="connsiteX2498" fmla="*/ 419 w 10785"/>
                <a:gd name="connsiteY2498" fmla="*/ 8009 h 10000"/>
                <a:gd name="connsiteX2499" fmla="*/ 433 w 10785"/>
                <a:gd name="connsiteY2499" fmla="*/ 8034 h 10000"/>
                <a:gd name="connsiteX2500" fmla="*/ 442 w 10785"/>
                <a:gd name="connsiteY2500" fmla="*/ 8060 h 10000"/>
                <a:gd name="connsiteX2501" fmla="*/ 442 w 10785"/>
                <a:gd name="connsiteY2501" fmla="*/ 8077 h 10000"/>
                <a:gd name="connsiteX2502" fmla="*/ 461 w 10785"/>
                <a:gd name="connsiteY2502" fmla="*/ 8111 h 10000"/>
                <a:gd name="connsiteX2503" fmla="*/ 461 w 10785"/>
                <a:gd name="connsiteY2503" fmla="*/ 8137 h 10000"/>
                <a:gd name="connsiteX2504" fmla="*/ 447 w 10785"/>
                <a:gd name="connsiteY2504" fmla="*/ 8145 h 10000"/>
                <a:gd name="connsiteX2505" fmla="*/ 442 w 10785"/>
                <a:gd name="connsiteY2505" fmla="*/ 8145 h 10000"/>
                <a:gd name="connsiteX2506" fmla="*/ 442 w 10785"/>
                <a:gd name="connsiteY2506" fmla="*/ 8162 h 10000"/>
                <a:gd name="connsiteX2507" fmla="*/ 442 w 10785"/>
                <a:gd name="connsiteY2507" fmla="*/ 8171 h 10000"/>
                <a:gd name="connsiteX2508" fmla="*/ 447 w 10785"/>
                <a:gd name="connsiteY2508" fmla="*/ 8214 h 10000"/>
                <a:gd name="connsiteX2509" fmla="*/ 465 w 10785"/>
                <a:gd name="connsiteY2509" fmla="*/ 8231 h 10000"/>
                <a:gd name="connsiteX2510" fmla="*/ 488 w 10785"/>
                <a:gd name="connsiteY2510" fmla="*/ 8231 h 10000"/>
                <a:gd name="connsiteX2511" fmla="*/ 493 w 10785"/>
                <a:gd name="connsiteY2511" fmla="*/ 8231 h 10000"/>
                <a:gd name="connsiteX2512" fmla="*/ 502 w 10785"/>
                <a:gd name="connsiteY2512" fmla="*/ 8231 h 10000"/>
                <a:gd name="connsiteX2513" fmla="*/ 507 w 10785"/>
                <a:gd name="connsiteY2513" fmla="*/ 8248 h 10000"/>
                <a:gd name="connsiteX2514" fmla="*/ 521 w 10785"/>
                <a:gd name="connsiteY2514" fmla="*/ 8274 h 10000"/>
                <a:gd name="connsiteX2515" fmla="*/ 525 w 10785"/>
                <a:gd name="connsiteY2515" fmla="*/ 8333 h 10000"/>
                <a:gd name="connsiteX2516" fmla="*/ 525 w 10785"/>
                <a:gd name="connsiteY2516" fmla="*/ 8359 h 10000"/>
                <a:gd name="connsiteX2517" fmla="*/ 525 w 10785"/>
                <a:gd name="connsiteY2517" fmla="*/ 8368 h 10000"/>
                <a:gd name="connsiteX2518" fmla="*/ 548 w 10785"/>
                <a:gd name="connsiteY2518" fmla="*/ 8393 h 10000"/>
                <a:gd name="connsiteX2519" fmla="*/ 553 w 10785"/>
                <a:gd name="connsiteY2519" fmla="*/ 8385 h 10000"/>
                <a:gd name="connsiteX2520" fmla="*/ 562 w 10785"/>
                <a:gd name="connsiteY2520" fmla="*/ 8385 h 10000"/>
                <a:gd name="connsiteX2521" fmla="*/ 576 w 10785"/>
                <a:gd name="connsiteY2521" fmla="*/ 8385 h 10000"/>
                <a:gd name="connsiteX2522" fmla="*/ 585 w 10785"/>
                <a:gd name="connsiteY2522" fmla="*/ 8410 h 10000"/>
                <a:gd name="connsiteX2523" fmla="*/ 594 w 10785"/>
                <a:gd name="connsiteY2523" fmla="*/ 8410 h 10000"/>
                <a:gd name="connsiteX2524" fmla="*/ 608 w 10785"/>
                <a:gd name="connsiteY2524" fmla="*/ 8410 h 10000"/>
                <a:gd name="connsiteX2525" fmla="*/ 654 w 10785"/>
                <a:gd name="connsiteY2525" fmla="*/ 8385 h 10000"/>
                <a:gd name="connsiteX2526" fmla="*/ 659 w 10785"/>
                <a:gd name="connsiteY2526" fmla="*/ 8385 h 10000"/>
                <a:gd name="connsiteX2527" fmla="*/ 696 w 10785"/>
                <a:gd name="connsiteY2527" fmla="*/ 8470 h 10000"/>
                <a:gd name="connsiteX2528" fmla="*/ 700 w 10785"/>
                <a:gd name="connsiteY2528" fmla="*/ 8470 h 10000"/>
                <a:gd name="connsiteX2529" fmla="*/ 710 w 10785"/>
                <a:gd name="connsiteY2529" fmla="*/ 8462 h 10000"/>
                <a:gd name="connsiteX2530" fmla="*/ 714 w 10785"/>
                <a:gd name="connsiteY2530" fmla="*/ 8462 h 10000"/>
                <a:gd name="connsiteX2531" fmla="*/ 724 w 10785"/>
                <a:gd name="connsiteY2531" fmla="*/ 8470 h 10000"/>
                <a:gd name="connsiteX2532" fmla="*/ 733 w 10785"/>
                <a:gd name="connsiteY2532" fmla="*/ 8470 h 10000"/>
                <a:gd name="connsiteX2533" fmla="*/ 742 w 10785"/>
                <a:gd name="connsiteY2533" fmla="*/ 8487 h 10000"/>
                <a:gd name="connsiteX2534" fmla="*/ 747 w 10785"/>
                <a:gd name="connsiteY2534" fmla="*/ 8496 h 10000"/>
                <a:gd name="connsiteX2535" fmla="*/ 770 w 10785"/>
                <a:gd name="connsiteY2535" fmla="*/ 8496 h 10000"/>
                <a:gd name="connsiteX2536" fmla="*/ 783 w 10785"/>
                <a:gd name="connsiteY2536" fmla="*/ 8521 h 10000"/>
                <a:gd name="connsiteX2537" fmla="*/ 797 w 10785"/>
                <a:gd name="connsiteY2537" fmla="*/ 8521 h 10000"/>
                <a:gd name="connsiteX2538" fmla="*/ 806 w 10785"/>
                <a:gd name="connsiteY2538" fmla="*/ 8530 h 10000"/>
                <a:gd name="connsiteX2539" fmla="*/ 829 w 10785"/>
                <a:gd name="connsiteY2539" fmla="*/ 8547 h 10000"/>
                <a:gd name="connsiteX2540" fmla="*/ 834 w 10785"/>
                <a:gd name="connsiteY2540" fmla="*/ 8556 h 10000"/>
                <a:gd name="connsiteX2541" fmla="*/ 829 w 10785"/>
                <a:gd name="connsiteY2541" fmla="*/ 8556 h 10000"/>
                <a:gd name="connsiteX2542" fmla="*/ 834 w 10785"/>
                <a:gd name="connsiteY2542" fmla="*/ 8607 h 10000"/>
                <a:gd name="connsiteX2543" fmla="*/ 829 w 10785"/>
                <a:gd name="connsiteY2543" fmla="*/ 8641 h 10000"/>
                <a:gd name="connsiteX2544" fmla="*/ 806 w 10785"/>
                <a:gd name="connsiteY2544" fmla="*/ 8658 h 10000"/>
                <a:gd name="connsiteX2545" fmla="*/ 816 w 10785"/>
                <a:gd name="connsiteY2545" fmla="*/ 8667 h 10000"/>
                <a:gd name="connsiteX2546" fmla="*/ 820 w 10785"/>
                <a:gd name="connsiteY2546" fmla="*/ 8667 h 10000"/>
                <a:gd name="connsiteX2547" fmla="*/ 829 w 10785"/>
                <a:gd name="connsiteY2547" fmla="*/ 8684 h 10000"/>
                <a:gd name="connsiteX2548" fmla="*/ 806 w 10785"/>
                <a:gd name="connsiteY2548" fmla="*/ 8692 h 10000"/>
                <a:gd name="connsiteX2549" fmla="*/ 802 w 10785"/>
                <a:gd name="connsiteY2549" fmla="*/ 8709 h 10000"/>
                <a:gd name="connsiteX2550" fmla="*/ 802 w 10785"/>
                <a:gd name="connsiteY2550" fmla="*/ 8735 h 10000"/>
                <a:gd name="connsiteX2551" fmla="*/ 806 w 10785"/>
                <a:gd name="connsiteY2551" fmla="*/ 8744 h 10000"/>
                <a:gd name="connsiteX2552" fmla="*/ 816 w 10785"/>
                <a:gd name="connsiteY2552" fmla="*/ 8752 h 10000"/>
                <a:gd name="connsiteX2553" fmla="*/ 806 w 10785"/>
                <a:gd name="connsiteY2553" fmla="*/ 8778 h 10000"/>
                <a:gd name="connsiteX2554" fmla="*/ 820 w 10785"/>
                <a:gd name="connsiteY2554" fmla="*/ 8778 h 10000"/>
                <a:gd name="connsiteX2555" fmla="*/ 806 w 10785"/>
                <a:gd name="connsiteY2555" fmla="*/ 8880 h 10000"/>
                <a:gd name="connsiteX2556" fmla="*/ 797 w 10785"/>
                <a:gd name="connsiteY2556" fmla="*/ 8880 h 10000"/>
                <a:gd name="connsiteX2557" fmla="*/ 783 w 10785"/>
                <a:gd name="connsiteY2557" fmla="*/ 8872 h 10000"/>
                <a:gd name="connsiteX2558" fmla="*/ 770 w 10785"/>
                <a:gd name="connsiteY2558" fmla="*/ 8880 h 10000"/>
                <a:gd name="connsiteX2559" fmla="*/ 756 w 10785"/>
                <a:gd name="connsiteY2559" fmla="*/ 8855 h 10000"/>
                <a:gd name="connsiteX2560" fmla="*/ 733 w 10785"/>
                <a:gd name="connsiteY2560" fmla="*/ 8906 h 10000"/>
                <a:gd name="connsiteX2561" fmla="*/ 714 w 10785"/>
                <a:gd name="connsiteY2561" fmla="*/ 8915 h 10000"/>
                <a:gd name="connsiteX2562" fmla="*/ 710 w 10785"/>
                <a:gd name="connsiteY2562" fmla="*/ 8940 h 10000"/>
                <a:gd name="connsiteX2563" fmla="*/ 710 w 10785"/>
                <a:gd name="connsiteY2563" fmla="*/ 9009 h 10000"/>
                <a:gd name="connsiteX2564" fmla="*/ 728 w 10785"/>
                <a:gd name="connsiteY2564" fmla="*/ 8991 h 10000"/>
                <a:gd name="connsiteX2565" fmla="*/ 733 w 10785"/>
                <a:gd name="connsiteY2565" fmla="*/ 8991 h 10000"/>
                <a:gd name="connsiteX2566" fmla="*/ 747 w 10785"/>
                <a:gd name="connsiteY2566" fmla="*/ 8983 h 10000"/>
                <a:gd name="connsiteX2567" fmla="*/ 760 w 10785"/>
                <a:gd name="connsiteY2567" fmla="*/ 8983 h 10000"/>
                <a:gd name="connsiteX2568" fmla="*/ 770 w 10785"/>
                <a:gd name="connsiteY2568" fmla="*/ 8983 h 10000"/>
                <a:gd name="connsiteX2569" fmla="*/ 770 w 10785"/>
                <a:gd name="connsiteY2569" fmla="*/ 8991 h 10000"/>
                <a:gd name="connsiteX2570" fmla="*/ 783 w 10785"/>
                <a:gd name="connsiteY2570" fmla="*/ 8991 h 10000"/>
                <a:gd name="connsiteX2571" fmla="*/ 783 w 10785"/>
                <a:gd name="connsiteY2571" fmla="*/ 9009 h 10000"/>
                <a:gd name="connsiteX2572" fmla="*/ 783 w 10785"/>
                <a:gd name="connsiteY2572" fmla="*/ 9017 h 10000"/>
                <a:gd name="connsiteX2573" fmla="*/ 770 w 10785"/>
                <a:gd name="connsiteY2573" fmla="*/ 9017 h 10000"/>
                <a:gd name="connsiteX2574" fmla="*/ 724 w 10785"/>
                <a:gd name="connsiteY2574" fmla="*/ 9051 h 10000"/>
                <a:gd name="connsiteX2575" fmla="*/ 724 w 10785"/>
                <a:gd name="connsiteY2575" fmla="*/ 9068 h 10000"/>
                <a:gd name="connsiteX2576" fmla="*/ 728 w 10785"/>
                <a:gd name="connsiteY2576" fmla="*/ 9077 h 10000"/>
                <a:gd name="connsiteX2577" fmla="*/ 724 w 10785"/>
                <a:gd name="connsiteY2577" fmla="*/ 9077 h 10000"/>
                <a:gd name="connsiteX2578" fmla="*/ 710 w 10785"/>
                <a:gd name="connsiteY2578" fmla="*/ 9077 h 10000"/>
                <a:gd name="connsiteX2579" fmla="*/ 682 w 10785"/>
                <a:gd name="connsiteY2579" fmla="*/ 9077 h 10000"/>
                <a:gd name="connsiteX2580" fmla="*/ 673 w 10785"/>
                <a:gd name="connsiteY2580" fmla="*/ 9103 h 10000"/>
                <a:gd name="connsiteX2581" fmla="*/ 687 w 10785"/>
                <a:gd name="connsiteY2581" fmla="*/ 9128 h 10000"/>
                <a:gd name="connsiteX2582" fmla="*/ 700 w 10785"/>
                <a:gd name="connsiteY2582" fmla="*/ 9128 h 10000"/>
                <a:gd name="connsiteX2583" fmla="*/ 728 w 10785"/>
                <a:gd name="connsiteY2583" fmla="*/ 9179 h 10000"/>
                <a:gd name="connsiteX2584" fmla="*/ 724 w 10785"/>
                <a:gd name="connsiteY2584" fmla="*/ 9188 h 10000"/>
                <a:gd name="connsiteX2585" fmla="*/ 710 w 10785"/>
                <a:gd name="connsiteY2585" fmla="*/ 9179 h 10000"/>
                <a:gd name="connsiteX2586" fmla="*/ 700 w 10785"/>
                <a:gd name="connsiteY2586" fmla="*/ 9205 h 10000"/>
                <a:gd name="connsiteX2587" fmla="*/ 696 w 10785"/>
                <a:gd name="connsiteY2587" fmla="*/ 9205 h 10000"/>
                <a:gd name="connsiteX2588" fmla="*/ 654 w 10785"/>
                <a:gd name="connsiteY2588" fmla="*/ 9299 h 10000"/>
                <a:gd name="connsiteX2589" fmla="*/ 622 w 10785"/>
                <a:gd name="connsiteY2589" fmla="*/ 9299 h 10000"/>
                <a:gd name="connsiteX2590" fmla="*/ 613 w 10785"/>
                <a:gd name="connsiteY2590" fmla="*/ 9316 h 10000"/>
                <a:gd name="connsiteX2591" fmla="*/ 613 w 10785"/>
                <a:gd name="connsiteY2591" fmla="*/ 9325 h 10000"/>
                <a:gd name="connsiteX2592" fmla="*/ 608 w 10785"/>
                <a:gd name="connsiteY2592" fmla="*/ 9342 h 10000"/>
                <a:gd name="connsiteX2593" fmla="*/ 636 w 10785"/>
                <a:gd name="connsiteY2593" fmla="*/ 9376 h 10000"/>
                <a:gd name="connsiteX2594" fmla="*/ 641 w 10785"/>
                <a:gd name="connsiteY2594" fmla="*/ 9402 h 10000"/>
                <a:gd name="connsiteX2595" fmla="*/ 654 w 10785"/>
                <a:gd name="connsiteY2595" fmla="*/ 9427 h 10000"/>
                <a:gd name="connsiteX2596" fmla="*/ 668 w 10785"/>
                <a:gd name="connsiteY2596" fmla="*/ 9427 h 10000"/>
                <a:gd name="connsiteX2597" fmla="*/ 668 w 10785"/>
                <a:gd name="connsiteY2597" fmla="*/ 9427 h 10000"/>
                <a:gd name="connsiteX2598" fmla="*/ 774 w 10785"/>
                <a:gd name="connsiteY2598" fmla="*/ 9547 h 10000"/>
                <a:gd name="connsiteX2599" fmla="*/ 797 w 10785"/>
                <a:gd name="connsiteY2599" fmla="*/ 9598 h 10000"/>
                <a:gd name="connsiteX2600" fmla="*/ 802 w 10785"/>
                <a:gd name="connsiteY2600" fmla="*/ 9598 h 10000"/>
                <a:gd name="connsiteX2601" fmla="*/ 816 w 10785"/>
                <a:gd name="connsiteY2601" fmla="*/ 9624 h 10000"/>
                <a:gd name="connsiteX2602" fmla="*/ 843 w 10785"/>
                <a:gd name="connsiteY2602" fmla="*/ 9615 h 10000"/>
                <a:gd name="connsiteX2603" fmla="*/ 857 w 10785"/>
                <a:gd name="connsiteY2603" fmla="*/ 9624 h 10000"/>
                <a:gd name="connsiteX2604" fmla="*/ 862 w 10785"/>
                <a:gd name="connsiteY2604" fmla="*/ 9615 h 10000"/>
                <a:gd name="connsiteX2605" fmla="*/ 880 w 10785"/>
                <a:gd name="connsiteY2605" fmla="*/ 9624 h 10000"/>
                <a:gd name="connsiteX2606" fmla="*/ 889 w 10785"/>
                <a:gd name="connsiteY2606" fmla="*/ 9641 h 10000"/>
                <a:gd name="connsiteX2607" fmla="*/ 935 w 10785"/>
                <a:gd name="connsiteY2607" fmla="*/ 9675 h 10000"/>
                <a:gd name="connsiteX2608" fmla="*/ 977 w 10785"/>
                <a:gd name="connsiteY2608" fmla="*/ 9667 h 10000"/>
                <a:gd name="connsiteX2609" fmla="*/ 995 w 10785"/>
                <a:gd name="connsiteY2609" fmla="*/ 9675 h 10000"/>
                <a:gd name="connsiteX2610" fmla="*/ 1014 w 10785"/>
                <a:gd name="connsiteY2610" fmla="*/ 9675 h 10000"/>
                <a:gd name="connsiteX2611" fmla="*/ 1069 w 10785"/>
                <a:gd name="connsiteY2611" fmla="*/ 9752 h 10000"/>
                <a:gd name="connsiteX2612" fmla="*/ 1074 w 10785"/>
                <a:gd name="connsiteY2612" fmla="*/ 9761 h 10000"/>
                <a:gd name="connsiteX2613" fmla="*/ 1083 w 10785"/>
                <a:gd name="connsiteY2613" fmla="*/ 9778 h 10000"/>
                <a:gd name="connsiteX2614" fmla="*/ 1115 w 10785"/>
                <a:gd name="connsiteY2614" fmla="*/ 9752 h 10000"/>
                <a:gd name="connsiteX2615" fmla="*/ 1129 w 10785"/>
                <a:gd name="connsiteY2615" fmla="*/ 9752 h 10000"/>
                <a:gd name="connsiteX2616" fmla="*/ 1138 w 10785"/>
                <a:gd name="connsiteY2616" fmla="*/ 9761 h 10000"/>
                <a:gd name="connsiteX2617" fmla="*/ 1143 w 10785"/>
                <a:gd name="connsiteY2617" fmla="*/ 9752 h 10000"/>
                <a:gd name="connsiteX2618" fmla="*/ 1161 w 10785"/>
                <a:gd name="connsiteY2618" fmla="*/ 9761 h 10000"/>
                <a:gd name="connsiteX2619" fmla="*/ 1171 w 10785"/>
                <a:gd name="connsiteY2619" fmla="*/ 9778 h 10000"/>
                <a:gd name="connsiteX2620" fmla="*/ 1175 w 10785"/>
                <a:gd name="connsiteY2620" fmla="*/ 9778 h 10000"/>
                <a:gd name="connsiteX2621" fmla="*/ 1189 w 10785"/>
                <a:gd name="connsiteY2621" fmla="*/ 9778 h 10000"/>
                <a:gd name="connsiteX2622" fmla="*/ 1198 w 10785"/>
                <a:gd name="connsiteY2622" fmla="*/ 9786 h 10000"/>
                <a:gd name="connsiteX2623" fmla="*/ 1203 w 10785"/>
                <a:gd name="connsiteY2623" fmla="*/ 9803 h 10000"/>
                <a:gd name="connsiteX2624" fmla="*/ 1198 w 10785"/>
                <a:gd name="connsiteY2624" fmla="*/ 9838 h 10000"/>
                <a:gd name="connsiteX2625" fmla="*/ 1212 w 10785"/>
                <a:gd name="connsiteY2625" fmla="*/ 9863 h 10000"/>
                <a:gd name="connsiteX2626" fmla="*/ 1230 w 10785"/>
                <a:gd name="connsiteY2626" fmla="*/ 9872 h 10000"/>
                <a:gd name="connsiteX2627" fmla="*/ 1249 w 10785"/>
                <a:gd name="connsiteY2627" fmla="*/ 9897 h 10000"/>
                <a:gd name="connsiteX2628" fmla="*/ 1263 w 10785"/>
                <a:gd name="connsiteY2628" fmla="*/ 9897 h 10000"/>
                <a:gd name="connsiteX2629" fmla="*/ 1276 w 10785"/>
                <a:gd name="connsiteY2629" fmla="*/ 9923 h 10000"/>
                <a:gd name="connsiteX2630" fmla="*/ 1281 w 10785"/>
                <a:gd name="connsiteY2630" fmla="*/ 9949 h 10000"/>
                <a:gd name="connsiteX2631" fmla="*/ 1290 w 10785"/>
                <a:gd name="connsiteY2631" fmla="*/ 9949 h 10000"/>
                <a:gd name="connsiteX2632" fmla="*/ 1295 w 10785"/>
                <a:gd name="connsiteY2632" fmla="*/ 10000 h 10000"/>
                <a:gd name="connsiteX2633" fmla="*/ 1332 w 10785"/>
                <a:gd name="connsiteY2633" fmla="*/ 10000 h 10000"/>
                <a:gd name="connsiteX2634" fmla="*/ 1336 w 10785"/>
                <a:gd name="connsiteY2634" fmla="*/ 10000 h 10000"/>
                <a:gd name="connsiteX2635" fmla="*/ 1346 w 10785"/>
                <a:gd name="connsiteY2635" fmla="*/ 9983 h 10000"/>
                <a:gd name="connsiteX2636" fmla="*/ 1350 w 10785"/>
                <a:gd name="connsiteY2636" fmla="*/ 9949 h 10000"/>
                <a:gd name="connsiteX2637" fmla="*/ 1369 w 10785"/>
                <a:gd name="connsiteY2637" fmla="*/ 9940 h 10000"/>
                <a:gd name="connsiteX2638" fmla="*/ 1378 w 10785"/>
                <a:gd name="connsiteY2638" fmla="*/ 9897 h 10000"/>
                <a:gd name="connsiteX2639" fmla="*/ 1369 w 10785"/>
                <a:gd name="connsiteY2639" fmla="*/ 9889 h 10000"/>
                <a:gd name="connsiteX2640" fmla="*/ 1318 w 10785"/>
                <a:gd name="connsiteY2640" fmla="*/ 9701 h 10000"/>
                <a:gd name="connsiteX2641" fmla="*/ 1318 w 10785"/>
                <a:gd name="connsiteY2641" fmla="*/ 9650 h 10000"/>
                <a:gd name="connsiteX2642" fmla="*/ 1323 w 10785"/>
                <a:gd name="connsiteY2642" fmla="*/ 9590 h 10000"/>
                <a:gd name="connsiteX2643" fmla="*/ 1323 w 10785"/>
                <a:gd name="connsiteY2643" fmla="*/ 9564 h 10000"/>
                <a:gd name="connsiteX2644" fmla="*/ 1309 w 10785"/>
                <a:gd name="connsiteY2644" fmla="*/ 9598 h 10000"/>
                <a:gd name="connsiteX2645" fmla="*/ 1309 w 10785"/>
                <a:gd name="connsiteY2645" fmla="*/ 9590 h 10000"/>
                <a:gd name="connsiteX2646" fmla="*/ 1304 w 10785"/>
                <a:gd name="connsiteY2646" fmla="*/ 9547 h 10000"/>
                <a:gd name="connsiteX2647" fmla="*/ 1276 w 10785"/>
                <a:gd name="connsiteY2647" fmla="*/ 9479 h 10000"/>
                <a:gd name="connsiteX2648" fmla="*/ 1263 w 10785"/>
                <a:gd name="connsiteY2648" fmla="*/ 9479 h 10000"/>
                <a:gd name="connsiteX2649" fmla="*/ 1263 w 10785"/>
                <a:gd name="connsiteY2649" fmla="*/ 9453 h 10000"/>
                <a:gd name="connsiteX2650" fmla="*/ 1272 w 10785"/>
                <a:gd name="connsiteY2650" fmla="*/ 9410 h 10000"/>
                <a:gd name="connsiteX2651" fmla="*/ 1272 w 10785"/>
                <a:gd name="connsiteY2651" fmla="*/ 9393 h 10000"/>
                <a:gd name="connsiteX2652" fmla="*/ 1281 w 10785"/>
                <a:gd name="connsiteY2652" fmla="*/ 9368 h 10000"/>
                <a:gd name="connsiteX2653" fmla="*/ 1281 w 10785"/>
                <a:gd name="connsiteY2653" fmla="*/ 9368 h 10000"/>
                <a:gd name="connsiteX2654" fmla="*/ 1290 w 10785"/>
                <a:gd name="connsiteY2654" fmla="*/ 9368 h 10000"/>
                <a:gd name="connsiteX2655" fmla="*/ 1290 w 10785"/>
                <a:gd name="connsiteY2655" fmla="*/ 9342 h 10000"/>
                <a:gd name="connsiteX2656" fmla="*/ 1304 w 10785"/>
                <a:gd name="connsiteY2656" fmla="*/ 9325 h 10000"/>
                <a:gd name="connsiteX2657" fmla="*/ 1309 w 10785"/>
                <a:gd name="connsiteY2657" fmla="*/ 9239 h 10000"/>
                <a:gd name="connsiteX2658" fmla="*/ 1318 w 10785"/>
                <a:gd name="connsiteY2658" fmla="*/ 9256 h 10000"/>
                <a:gd name="connsiteX2659" fmla="*/ 1323 w 10785"/>
                <a:gd name="connsiteY2659" fmla="*/ 9179 h 10000"/>
                <a:gd name="connsiteX2660" fmla="*/ 1309 w 10785"/>
                <a:gd name="connsiteY2660" fmla="*/ 9145 h 10000"/>
                <a:gd name="connsiteX2661" fmla="*/ 1336 w 10785"/>
                <a:gd name="connsiteY2661" fmla="*/ 9154 h 10000"/>
                <a:gd name="connsiteX2662" fmla="*/ 1336 w 10785"/>
                <a:gd name="connsiteY2662" fmla="*/ 9162 h 10000"/>
                <a:gd name="connsiteX2663" fmla="*/ 1350 w 10785"/>
                <a:gd name="connsiteY2663" fmla="*/ 9231 h 10000"/>
                <a:gd name="connsiteX2664" fmla="*/ 1355 w 10785"/>
                <a:gd name="connsiteY2664" fmla="*/ 9231 h 10000"/>
                <a:gd name="connsiteX2665" fmla="*/ 1364 w 10785"/>
                <a:gd name="connsiteY2665" fmla="*/ 9214 h 10000"/>
                <a:gd name="connsiteX2666" fmla="*/ 1369 w 10785"/>
                <a:gd name="connsiteY2666" fmla="*/ 9214 h 10000"/>
                <a:gd name="connsiteX2667" fmla="*/ 1382 w 10785"/>
                <a:gd name="connsiteY2667" fmla="*/ 9154 h 10000"/>
                <a:gd name="connsiteX2668" fmla="*/ 1396 w 10785"/>
                <a:gd name="connsiteY2668" fmla="*/ 9154 h 10000"/>
                <a:gd name="connsiteX2669" fmla="*/ 1382 w 10785"/>
                <a:gd name="connsiteY2669" fmla="*/ 9145 h 10000"/>
                <a:gd name="connsiteX2670" fmla="*/ 1382 w 10785"/>
                <a:gd name="connsiteY2670" fmla="*/ 9128 h 10000"/>
                <a:gd name="connsiteX2671" fmla="*/ 1369 w 10785"/>
                <a:gd name="connsiteY2671" fmla="*/ 9128 h 10000"/>
                <a:gd name="connsiteX2672" fmla="*/ 1364 w 10785"/>
                <a:gd name="connsiteY2672" fmla="*/ 9128 h 10000"/>
                <a:gd name="connsiteX2673" fmla="*/ 1355 w 10785"/>
                <a:gd name="connsiteY2673" fmla="*/ 9120 h 10000"/>
                <a:gd name="connsiteX2674" fmla="*/ 1350 w 10785"/>
                <a:gd name="connsiteY2674" fmla="*/ 9103 h 10000"/>
                <a:gd name="connsiteX2675" fmla="*/ 1355 w 10785"/>
                <a:gd name="connsiteY2675" fmla="*/ 9094 h 10000"/>
                <a:gd name="connsiteX2676" fmla="*/ 1355 w 10785"/>
                <a:gd name="connsiteY2676" fmla="*/ 9068 h 10000"/>
                <a:gd name="connsiteX2677" fmla="*/ 1369 w 10785"/>
                <a:gd name="connsiteY2677" fmla="*/ 9068 h 10000"/>
                <a:gd name="connsiteX2678" fmla="*/ 1378 w 10785"/>
                <a:gd name="connsiteY2678" fmla="*/ 9077 h 10000"/>
                <a:gd name="connsiteX2679" fmla="*/ 1396 w 10785"/>
                <a:gd name="connsiteY2679" fmla="*/ 9068 h 10000"/>
                <a:gd name="connsiteX2680" fmla="*/ 1382 w 10785"/>
                <a:gd name="connsiteY2680" fmla="*/ 8940 h 10000"/>
                <a:gd name="connsiteX2681" fmla="*/ 1378 w 10785"/>
                <a:gd name="connsiteY2681" fmla="*/ 8940 h 10000"/>
                <a:gd name="connsiteX2682" fmla="*/ 1364 w 10785"/>
                <a:gd name="connsiteY2682" fmla="*/ 8889 h 10000"/>
                <a:gd name="connsiteX2683" fmla="*/ 1355 w 10785"/>
                <a:gd name="connsiteY2683" fmla="*/ 8880 h 10000"/>
                <a:gd name="connsiteX2684" fmla="*/ 1323 w 10785"/>
                <a:gd name="connsiteY2684" fmla="*/ 8880 h 10000"/>
                <a:gd name="connsiteX2685" fmla="*/ 1309 w 10785"/>
                <a:gd name="connsiteY2685" fmla="*/ 8880 h 10000"/>
                <a:gd name="connsiteX2686" fmla="*/ 1309 w 10785"/>
                <a:gd name="connsiteY2686" fmla="*/ 8889 h 10000"/>
                <a:gd name="connsiteX2687" fmla="*/ 1295 w 10785"/>
                <a:gd name="connsiteY2687" fmla="*/ 8872 h 10000"/>
                <a:gd name="connsiteX2688" fmla="*/ 1290 w 10785"/>
                <a:gd name="connsiteY2688" fmla="*/ 8855 h 10000"/>
                <a:gd name="connsiteX2689" fmla="*/ 1290 w 10785"/>
                <a:gd name="connsiteY2689" fmla="*/ 8829 h 10000"/>
                <a:gd name="connsiteX2690" fmla="*/ 1290 w 10785"/>
                <a:gd name="connsiteY2690" fmla="*/ 8821 h 10000"/>
                <a:gd name="connsiteX2691" fmla="*/ 1290 w 10785"/>
                <a:gd name="connsiteY2691" fmla="*/ 8803 h 10000"/>
                <a:gd name="connsiteX2692" fmla="*/ 1281 w 10785"/>
                <a:gd name="connsiteY2692" fmla="*/ 8795 h 10000"/>
                <a:gd name="connsiteX2693" fmla="*/ 1249 w 10785"/>
                <a:gd name="connsiteY2693" fmla="*/ 8769 h 10000"/>
                <a:gd name="connsiteX2694" fmla="*/ 1263 w 10785"/>
                <a:gd name="connsiteY2694" fmla="*/ 8667 h 10000"/>
                <a:gd name="connsiteX2695" fmla="*/ 1281 w 10785"/>
                <a:gd name="connsiteY2695" fmla="*/ 8658 h 10000"/>
                <a:gd name="connsiteX2696" fmla="*/ 1290 w 10785"/>
                <a:gd name="connsiteY2696" fmla="*/ 8632 h 10000"/>
                <a:gd name="connsiteX2697" fmla="*/ 1281 w 10785"/>
                <a:gd name="connsiteY2697" fmla="*/ 8615 h 10000"/>
                <a:gd name="connsiteX2698" fmla="*/ 1272 w 10785"/>
                <a:gd name="connsiteY2698" fmla="*/ 8598 h 10000"/>
                <a:gd name="connsiteX2699" fmla="*/ 1281 w 10785"/>
                <a:gd name="connsiteY2699" fmla="*/ 8496 h 10000"/>
                <a:gd name="connsiteX2700" fmla="*/ 1295 w 10785"/>
                <a:gd name="connsiteY2700" fmla="*/ 8470 h 10000"/>
                <a:gd name="connsiteX2701" fmla="*/ 1304 w 10785"/>
                <a:gd name="connsiteY2701" fmla="*/ 8462 h 10000"/>
                <a:gd name="connsiteX2702" fmla="*/ 1304 w 10785"/>
                <a:gd name="connsiteY2702" fmla="*/ 8444 h 10000"/>
                <a:gd name="connsiteX2703" fmla="*/ 1304 w 10785"/>
                <a:gd name="connsiteY2703" fmla="*/ 8419 h 10000"/>
                <a:gd name="connsiteX2704" fmla="*/ 1304 w 10785"/>
                <a:gd name="connsiteY2704" fmla="*/ 8410 h 10000"/>
                <a:gd name="connsiteX2705" fmla="*/ 1309 w 10785"/>
                <a:gd name="connsiteY2705" fmla="*/ 8393 h 10000"/>
                <a:gd name="connsiteX2706" fmla="*/ 1318 w 10785"/>
                <a:gd name="connsiteY2706" fmla="*/ 8385 h 10000"/>
                <a:gd name="connsiteX2707" fmla="*/ 1323 w 10785"/>
                <a:gd name="connsiteY2707" fmla="*/ 8385 h 10000"/>
                <a:gd name="connsiteX2708" fmla="*/ 1332 w 10785"/>
                <a:gd name="connsiteY2708" fmla="*/ 8410 h 10000"/>
                <a:gd name="connsiteX2709" fmla="*/ 1346 w 10785"/>
                <a:gd name="connsiteY2709" fmla="*/ 8419 h 10000"/>
                <a:gd name="connsiteX2710" fmla="*/ 1364 w 10785"/>
                <a:gd name="connsiteY2710" fmla="*/ 8504 h 10000"/>
                <a:gd name="connsiteX2711" fmla="*/ 1369 w 10785"/>
                <a:gd name="connsiteY2711" fmla="*/ 8521 h 10000"/>
                <a:gd name="connsiteX2712" fmla="*/ 1406 w 10785"/>
                <a:gd name="connsiteY2712" fmla="*/ 8470 h 10000"/>
                <a:gd name="connsiteX2713" fmla="*/ 1382 w 10785"/>
                <a:gd name="connsiteY2713" fmla="*/ 8359 h 10000"/>
                <a:gd name="connsiteX2714" fmla="*/ 1392 w 10785"/>
                <a:gd name="connsiteY2714" fmla="*/ 8359 h 10000"/>
                <a:gd name="connsiteX2715" fmla="*/ 1438 w 10785"/>
                <a:gd name="connsiteY2715" fmla="*/ 8308 h 10000"/>
                <a:gd name="connsiteX2716" fmla="*/ 1442 w 10785"/>
                <a:gd name="connsiteY2716" fmla="*/ 8299 h 10000"/>
                <a:gd name="connsiteX2717" fmla="*/ 1442 w 10785"/>
                <a:gd name="connsiteY2717" fmla="*/ 8256 h 10000"/>
                <a:gd name="connsiteX2718" fmla="*/ 1452 w 10785"/>
                <a:gd name="connsiteY2718" fmla="*/ 8256 h 10000"/>
                <a:gd name="connsiteX2719" fmla="*/ 1456 w 10785"/>
                <a:gd name="connsiteY2719" fmla="*/ 8256 h 10000"/>
                <a:gd name="connsiteX2720" fmla="*/ 1470 w 10785"/>
                <a:gd name="connsiteY2720" fmla="*/ 8248 h 10000"/>
                <a:gd name="connsiteX2721" fmla="*/ 1479 w 10785"/>
                <a:gd name="connsiteY2721" fmla="*/ 8231 h 10000"/>
                <a:gd name="connsiteX2722" fmla="*/ 1493 w 10785"/>
                <a:gd name="connsiteY2722" fmla="*/ 8222 h 10000"/>
                <a:gd name="connsiteX2723" fmla="*/ 1498 w 10785"/>
                <a:gd name="connsiteY2723" fmla="*/ 8214 h 10000"/>
                <a:gd name="connsiteX2724" fmla="*/ 1502 w 10785"/>
                <a:gd name="connsiteY2724" fmla="*/ 8197 h 10000"/>
                <a:gd name="connsiteX2725" fmla="*/ 1512 w 10785"/>
                <a:gd name="connsiteY2725" fmla="*/ 8188 h 10000"/>
                <a:gd name="connsiteX2726" fmla="*/ 1516 w 10785"/>
                <a:gd name="connsiteY2726" fmla="*/ 8171 h 10000"/>
                <a:gd name="connsiteX2727" fmla="*/ 1525 w 10785"/>
                <a:gd name="connsiteY2727" fmla="*/ 8162 h 10000"/>
                <a:gd name="connsiteX2728" fmla="*/ 1539 w 10785"/>
                <a:gd name="connsiteY2728" fmla="*/ 8145 h 10000"/>
                <a:gd name="connsiteX2729" fmla="*/ 1558 w 10785"/>
                <a:gd name="connsiteY2729" fmla="*/ 8145 h 10000"/>
                <a:gd name="connsiteX2730" fmla="*/ 1562 w 10785"/>
                <a:gd name="connsiteY2730" fmla="*/ 8188 h 10000"/>
                <a:gd name="connsiteX2731" fmla="*/ 1585 w 10785"/>
                <a:gd name="connsiteY2731" fmla="*/ 8171 h 10000"/>
                <a:gd name="connsiteX2732" fmla="*/ 1590 w 10785"/>
                <a:gd name="connsiteY2732" fmla="*/ 8188 h 10000"/>
                <a:gd name="connsiteX2733" fmla="*/ 1599 w 10785"/>
                <a:gd name="connsiteY2733" fmla="*/ 8171 h 10000"/>
                <a:gd name="connsiteX2734" fmla="*/ 1599 w 10785"/>
                <a:gd name="connsiteY2734" fmla="*/ 8162 h 10000"/>
                <a:gd name="connsiteX2735" fmla="*/ 1604 w 10785"/>
                <a:gd name="connsiteY2735" fmla="*/ 8137 h 10000"/>
                <a:gd name="connsiteX2736" fmla="*/ 1618 w 10785"/>
                <a:gd name="connsiteY2736" fmla="*/ 8145 h 10000"/>
                <a:gd name="connsiteX2737" fmla="*/ 1627 w 10785"/>
                <a:gd name="connsiteY2737" fmla="*/ 8137 h 10000"/>
                <a:gd name="connsiteX2738" fmla="*/ 1631 w 10785"/>
                <a:gd name="connsiteY2738" fmla="*/ 8137 h 10000"/>
                <a:gd name="connsiteX2739" fmla="*/ 1636 w 10785"/>
                <a:gd name="connsiteY2739" fmla="*/ 8171 h 10000"/>
                <a:gd name="connsiteX2740" fmla="*/ 1645 w 10785"/>
                <a:gd name="connsiteY2740" fmla="*/ 8188 h 10000"/>
                <a:gd name="connsiteX2741" fmla="*/ 1664 w 10785"/>
                <a:gd name="connsiteY2741" fmla="*/ 8171 h 10000"/>
                <a:gd name="connsiteX2742" fmla="*/ 1673 w 10785"/>
                <a:gd name="connsiteY2742" fmla="*/ 8188 h 10000"/>
                <a:gd name="connsiteX2743" fmla="*/ 1691 w 10785"/>
                <a:gd name="connsiteY2743" fmla="*/ 8171 h 10000"/>
                <a:gd name="connsiteX2744" fmla="*/ 1705 w 10785"/>
                <a:gd name="connsiteY2744" fmla="*/ 8171 h 10000"/>
                <a:gd name="connsiteX2745" fmla="*/ 1719 w 10785"/>
                <a:gd name="connsiteY2745" fmla="*/ 8197 h 10000"/>
                <a:gd name="connsiteX2746" fmla="*/ 1724 w 10785"/>
                <a:gd name="connsiteY2746" fmla="*/ 8231 h 10000"/>
                <a:gd name="connsiteX2747" fmla="*/ 1751 w 10785"/>
                <a:gd name="connsiteY2747" fmla="*/ 8256 h 10000"/>
                <a:gd name="connsiteX2748" fmla="*/ 1751 w 10785"/>
                <a:gd name="connsiteY2748" fmla="*/ 8274 h 10000"/>
                <a:gd name="connsiteX2749" fmla="*/ 1760 w 10785"/>
                <a:gd name="connsiteY2749" fmla="*/ 8282 h 10000"/>
                <a:gd name="connsiteX2750" fmla="*/ 1770 w 10785"/>
                <a:gd name="connsiteY2750" fmla="*/ 8325 h 10000"/>
                <a:gd name="connsiteX2751" fmla="*/ 1770 w 10785"/>
                <a:gd name="connsiteY2751" fmla="*/ 8350 h 10000"/>
                <a:gd name="connsiteX2752" fmla="*/ 1779 w 10785"/>
                <a:gd name="connsiteY2752" fmla="*/ 8368 h 10000"/>
                <a:gd name="connsiteX2753" fmla="*/ 1783 w 10785"/>
                <a:gd name="connsiteY2753" fmla="*/ 8359 h 10000"/>
                <a:gd name="connsiteX2754" fmla="*/ 1783 w 10785"/>
                <a:gd name="connsiteY2754" fmla="*/ 8308 h 10000"/>
                <a:gd name="connsiteX2755" fmla="*/ 1779 w 10785"/>
                <a:gd name="connsiteY2755" fmla="*/ 8299 h 10000"/>
                <a:gd name="connsiteX2756" fmla="*/ 1783 w 10785"/>
                <a:gd name="connsiteY2756" fmla="*/ 8282 h 10000"/>
                <a:gd name="connsiteX2757" fmla="*/ 1797 w 10785"/>
                <a:gd name="connsiteY2757" fmla="*/ 8274 h 10000"/>
                <a:gd name="connsiteX2758" fmla="*/ 1797 w 10785"/>
                <a:gd name="connsiteY2758" fmla="*/ 8299 h 10000"/>
                <a:gd name="connsiteX2759" fmla="*/ 1806 w 10785"/>
                <a:gd name="connsiteY2759" fmla="*/ 8308 h 10000"/>
                <a:gd name="connsiteX2760" fmla="*/ 1811 w 10785"/>
                <a:gd name="connsiteY2760" fmla="*/ 8325 h 10000"/>
                <a:gd name="connsiteX2761" fmla="*/ 1820 w 10785"/>
                <a:gd name="connsiteY2761" fmla="*/ 8333 h 10000"/>
                <a:gd name="connsiteX2762" fmla="*/ 1853 w 10785"/>
                <a:gd name="connsiteY2762" fmla="*/ 8359 h 10000"/>
                <a:gd name="connsiteX2763" fmla="*/ 1866 w 10785"/>
                <a:gd name="connsiteY2763" fmla="*/ 8359 h 10000"/>
                <a:gd name="connsiteX2764" fmla="*/ 1885 w 10785"/>
                <a:gd name="connsiteY2764" fmla="*/ 8325 h 10000"/>
                <a:gd name="connsiteX2765" fmla="*/ 1885 w 10785"/>
                <a:gd name="connsiteY2765" fmla="*/ 8308 h 10000"/>
                <a:gd name="connsiteX2766" fmla="*/ 1894 w 10785"/>
                <a:gd name="connsiteY2766" fmla="*/ 8299 h 10000"/>
                <a:gd name="connsiteX2767" fmla="*/ 1899 w 10785"/>
                <a:gd name="connsiteY2767" fmla="*/ 8282 h 10000"/>
                <a:gd name="connsiteX2768" fmla="*/ 1912 w 10785"/>
                <a:gd name="connsiteY2768" fmla="*/ 8282 h 10000"/>
                <a:gd name="connsiteX2769" fmla="*/ 1917 w 10785"/>
                <a:gd name="connsiteY2769" fmla="*/ 8299 h 10000"/>
                <a:gd name="connsiteX2770" fmla="*/ 1917 w 10785"/>
                <a:gd name="connsiteY2770" fmla="*/ 8274 h 10000"/>
                <a:gd name="connsiteX2771" fmla="*/ 1940 w 10785"/>
                <a:gd name="connsiteY2771" fmla="*/ 8282 h 10000"/>
                <a:gd name="connsiteX2772" fmla="*/ 1945 w 10785"/>
                <a:gd name="connsiteY2772" fmla="*/ 8274 h 10000"/>
                <a:gd name="connsiteX2773" fmla="*/ 1972 w 10785"/>
                <a:gd name="connsiteY2773" fmla="*/ 8308 h 10000"/>
                <a:gd name="connsiteX2774" fmla="*/ 1986 w 10785"/>
                <a:gd name="connsiteY2774" fmla="*/ 8282 h 10000"/>
                <a:gd name="connsiteX2775" fmla="*/ 1991 w 10785"/>
                <a:gd name="connsiteY2775" fmla="*/ 8274 h 10000"/>
                <a:gd name="connsiteX2776" fmla="*/ 2014 w 10785"/>
                <a:gd name="connsiteY2776" fmla="*/ 8274 h 10000"/>
                <a:gd name="connsiteX2777" fmla="*/ 2018 w 10785"/>
                <a:gd name="connsiteY2777" fmla="*/ 8256 h 10000"/>
                <a:gd name="connsiteX2778" fmla="*/ 2041 w 10785"/>
                <a:gd name="connsiteY2778" fmla="*/ 8274 h 10000"/>
                <a:gd name="connsiteX2779" fmla="*/ 2046 w 10785"/>
                <a:gd name="connsiteY2779" fmla="*/ 8282 h 10000"/>
                <a:gd name="connsiteX2780" fmla="*/ 2046 w 10785"/>
                <a:gd name="connsiteY2780" fmla="*/ 8325 h 10000"/>
                <a:gd name="connsiteX2781" fmla="*/ 2060 w 10785"/>
                <a:gd name="connsiteY2781" fmla="*/ 8350 h 10000"/>
                <a:gd name="connsiteX2782" fmla="*/ 2078 w 10785"/>
                <a:gd name="connsiteY2782" fmla="*/ 8350 h 10000"/>
                <a:gd name="connsiteX2783" fmla="*/ 2092 w 10785"/>
                <a:gd name="connsiteY2783" fmla="*/ 8350 h 10000"/>
                <a:gd name="connsiteX2784" fmla="*/ 2092 w 10785"/>
                <a:gd name="connsiteY2784" fmla="*/ 8350 h 10000"/>
                <a:gd name="connsiteX2785" fmla="*/ 2101 w 10785"/>
                <a:gd name="connsiteY2785" fmla="*/ 8368 h 10000"/>
                <a:gd name="connsiteX2786" fmla="*/ 2120 w 10785"/>
                <a:gd name="connsiteY2786" fmla="*/ 8368 h 10000"/>
                <a:gd name="connsiteX2787" fmla="*/ 2124 w 10785"/>
                <a:gd name="connsiteY2787" fmla="*/ 8359 h 10000"/>
                <a:gd name="connsiteX2788" fmla="*/ 2138 w 10785"/>
                <a:gd name="connsiteY2788" fmla="*/ 8325 h 10000"/>
                <a:gd name="connsiteX2789" fmla="*/ 2147 w 10785"/>
                <a:gd name="connsiteY2789" fmla="*/ 8325 h 10000"/>
                <a:gd name="connsiteX2790" fmla="*/ 2161 w 10785"/>
                <a:gd name="connsiteY2790" fmla="*/ 8350 h 10000"/>
                <a:gd name="connsiteX2791" fmla="*/ 2198 w 10785"/>
                <a:gd name="connsiteY2791" fmla="*/ 8350 h 10000"/>
                <a:gd name="connsiteX2792" fmla="*/ 2207 w 10785"/>
                <a:gd name="connsiteY2792" fmla="*/ 8333 h 10000"/>
                <a:gd name="connsiteX2793" fmla="*/ 2226 w 10785"/>
                <a:gd name="connsiteY2793" fmla="*/ 8325 h 10000"/>
                <a:gd name="connsiteX2794" fmla="*/ 2249 w 10785"/>
                <a:gd name="connsiteY2794" fmla="*/ 8222 h 10000"/>
                <a:gd name="connsiteX2795" fmla="*/ 2235 w 10785"/>
                <a:gd name="connsiteY2795" fmla="*/ 8197 h 10000"/>
                <a:gd name="connsiteX2796" fmla="*/ 2198 w 10785"/>
                <a:gd name="connsiteY2796" fmla="*/ 8197 h 10000"/>
                <a:gd name="connsiteX2797" fmla="*/ 2189 w 10785"/>
                <a:gd name="connsiteY2797" fmla="*/ 8171 h 10000"/>
                <a:gd name="connsiteX2798" fmla="*/ 2161 w 10785"/>
                <a:gd name="connsiteY2798" fmla="*/ 8145 h 10000"/>
                <a:gd name="connsiteX2799" fmla="*/ 2161 w 10785"/>
                <a:gd name="connsiteY2799" fmla="*/ 8137 h 10000"/>
                <a:gd name="connsiteX2800" fmla="*/ 2152 w 10785"/>
                <a:gd name="connsiteY2800" fmla="*/ 8120 h 10000"/>
                <a:gd name="connsiteX2801" fmla="*/ 2138 w 10785"/>
                <a:gd name="connsiteY2801" fmla="*/ 8111 h 10000"/>
                <a:gd name="connsiteX2802" fmla="*/ 2138 w 10785"/>
                <a:gd name="connsiteY2802" fmla="*/ 8094 h 10000"/>
                <a:gd name="connsiteX2803" fmla="*/ 2147 w 10785"/>
                <a:gd name="connsiteY2803" fmla="*/ 8085 h 10000"/>
                <a:gd name="connsiteX2804" fmla="*/ 2161 w 10785"/>
                <a:gd name="connsiteY2804" fmla="*/ 8060 h 10000"/>
                <a:gd name="connsiteX2805" fmla="*/ 2198 w 10785"/>
                <a:gd name="connsiteY2805" fmla="*/ 8034 h 10000"/>
                <a:gd name="connsiteX2806" fmla="*/ 2198 w 10785"/>
                <a:gd name="connsiteY2806" fmla="*/ 8026 h 10000"/>
                <a:gd name="connsiteX2807" fmla="*/ 2198 w 10785"/>
                <a:gd name="connsiteY2807" fmla="*/ 8000 h 10000"/>
                <a:gd name="connsiteX2808" fmla="*/ 2180 w 10785"/>
                <a:gd name="connsiteY2808" fmla="*/ 7940 h 10000"/>
                <a:gd name="connsiteX2809" fmla="*/ 2189 w 10785"/>
                <a:gd name="connsiteY2809" fmla="*/ 7940 h 10000"/>
                <a:gd name="connsiteX2810" fmla="*/ 2198 w 10785"/>
                <a:gd name="connsiteY2810" fmla="*/ 7923 h 10000"/>
                <a:gd name="connsiteX2811" fmla="*/ 2198 w 10785"/>
                <a:gd name="connsiteY2811" fmla="*/ 7897 h 10000"/>
                <a:gd name="connsiteX2812" fmla="*/ 2207 w 10785"/>
                <a:gd name="connsiteY2812" fmla="*/ 7889 h 10000"/>
                <a:gd name="connsiteX2813" fmla="*/ 2221 w 10785"/>
                <a:gd name="connsiteY2813" fmla="*/ 7889 h 10000"/>
                <a:gd name="connsiteX2814" fmla="*/ 2226 w 10785"/>
                <a:gd name="connsiteY2814" fmla="*/ 7897 h 10000"/>
                <a:gd name="connsiteX2815" fmla="*/ 2235 w 10785"/>
                <a:gd name="connsiteY2815" fmla="*/ 7889 h 10000"/>
                <a:gd name="connsiteX2816" fmla="*/ 2249 w 10785"/>
                <a:gd name="connsiteY2816" fmla="*/ 7897 h 10000"/>
                <a:gd name="connsiteX2817" fmla="*/ 2267 w 10785"/>
                <a:gd name="connsiteY2817" fmla="*/ 7897 h 10000"/>
                <a:gd name="connsiteX2818" fmla="*/ 2272 w 10785"/>
                <a:gd name="connsiteY2818" fmla="*/ 7889 h 10000"/>
                <a:gd name="connsiteX2819" fmla="*/ 2281 w 10785"/>
                <a:gd name="connsiteY2819" fmla="*/ 7872 h 10000"/>
                <a:gd name="connsiteX2820" fmla="*/ 2272 w 10785"/>
                <a:gd name="connsiteY2820" fmla="*/ 7846 h 10000"/>
                <a:gd name="connsiteX2821" fmla="*/ 2253 w 10785"/>
                <a:gd name="connsiteY2821" fmla="*/ 7838 h 10000"/>
                <a:gd name="connsiteX2822" fmla="*/ 2221 w 10785"/>
                <a:gd name="connsiteY2822" fmla="*/ 7821 h 10000"/>
                <a:gd name="connsiteX2823" fmla="*/ 2212 w 10785"/>
                <a:gd name="connsiteY2823" fmla="*/ 7812 h 10000"/>
                <a:gd name="connsiteX2824" fmla="*/ 2212 w 10785"/>
                <a:gd name="connsiteY2824" fmla="*/ 7803 h 10000"/>
                <a:gd name="connsiteX2825" fmla="*/ 2221 w 10785"/>
                <a:gd name="connsiteY2825" fmla="*/ 7803 h 10000"/>
                <a:gd name="connsiteX2826" fmla="*/ 2235 w 10785"/>
                <a:gd name="connsiteY2826" fmla="*/ 7786 h 10000"/>
                <a:gd name="connsiteX2827" fmla="*/ 2240 w 10785"/>
                <a:gd name="connsiteY2827" fmla="*/ 7778 h 10000"/>
                <a:gd name="connsiteX2828" fmla="*/ 2226 w 10785"/>
                <a:gd name="connsiteY2828" fmla="*/ 7761 h 10000"/>
                <a:gd name="connsiteX2829" fmla="*/ 2221 w 10785"/>
                <a:gd name="connsiteY2829" fmla="*/ 7778 h 10000"/>
                <a:gd name="connsiteX2830" fmla="*/ 2198 w 10785"/>
                <a:gd name="connsiteY2830" fmla="*/ 7778 h 10000"/>
                <a:gd name="connsiteX2831" fmla="*/ 2198 w 10785"/>
                <a:gd name="connsiteY2831" fmla="*/ 7752 h 10000"/>
                <a:gd name="connsiteX2832" fmla="*/ 2207 w 10785"/>
                <a:gd name="connsiteY2832" fmla="*/ 7735 h 10000"/>
                <a:gd name="connsiteX2833" fmla="*/ 2212 w 10785"/>
                <a:gd name="connsiteY2833" fmla="*/ 7726 h 10000"/>
                <a:gd name="connsiteX2834" fmla="*/ 2198 w 10785"/>
                <a:gd name="connsiteY2834" fmla="*/ 7692 h 10000"/>
                <a:gd name="connsiteX2835" fmla="*/ 2221 w 10785"/>
                <a:gd name="connsiteY2835" fmla="*/ 7692 h 10000"/>
                <a:gd name="connsiteX2836" fmla="*/ 2221 w 10785"/>
                <a:gd name="connsiteY2836" fmla="*/ 7675 h 10000"/>
                <a:gd name="connsiteX2837" fmla="*/ 2235 w 10785"/>
                <a:gd name="connsiteY2837" fmla="*/ 7675 h 10000"/>
                <a:gd name="connsiteX2838" fmla="*/ 2240 w 10785"/>
                <a:gd name="connsiteY2838" fmla="*/ 7692 h 10000"/>
                <a:gd name="connsiteX2839" fmla="*/ 2249 w 10785"/>
                <a:gd name="connsiteY2839" fmla="*/ 7692 h 10000"/>
                <a:gd name="connsiteX2840" fmla="*/ 2258 w 10785"/>
                <a:gd name="connsiteY2840" fmla="*/ 7692 h 10000"/>
                <a:gd name="connsiteX2841" fmla="*/ 2267 w 10785"/>
                <a:gd name="connsiteY2841" fmla="*/ 7692 h 10000"/>
                <a:gd name="connsiteX2842" fmla="*/ 2295 w 10785"/>
                <a:gd name="connsiteY2842" fmla="*/ 7692 h 10000"/>
                <a:gd name="connsiteX2843" fmla="*/ 2300 w 10785"/>
                <a:gd name="connsiteY2843" fmla="*/ 7701 h 10000"/>
                <a:gd name="connsiteX2844" fmla="*/ 2313 w 10785"/>
                <a:gd name="connsiteY2844" fmla="*/ 7675 h 10000"/>
                <a:gd name="connsiteX2845" fmla="*/ 2323 w 10785"/>
                <a:gd name="connsiteY2845" fmla="*/ 7675 h 10000"/>
                <a:gd name="connsiteX2846" fmla="*/ 2341 w 10785"/>
                <a:gd name="connsiteY2846" fmla="*/ 7675 h 10000"/>
                <a:gd name="connsiteX2847" fmla="*/ 2346 w 10785"/>
                <a:gd name="connsiteY2847" fmla="*/ 7667 h 10000"/>
                <a:gd name="connsiteX2848" fmla="*/ 2359 w 10785"/>
                <a:gd name="connsiteY2848" fmla="*/ 7650 h 10000"/>
                <a:gd name="connsiteX2849" fmla="*/ 2373 w 10785"/>
                <a:gd name="connsiteY2849" fmla="*/ 7624 h 10000"/>
                <a:gd name="connsiteX2850" fmla="*/ 2382 w 10785"/>
                <a:gd name="connsiteY2850" fmla="*/ 7641 h 10000"/>
                <a:gd name="connsiteX2851" fmla="*/ 2396 w 10785"/>
                <a:gd name="connsiteY2851" fmla="*/ 7650 h 10000"/>
                <a:gd name="connsiteX2852" fmla="*/ 2401 w 10785"/>
                <a:gd name="connsiteY2852" fmla="*/ 7650 h 10000"/>
                <a:gd name="connsiteX2853" fmla="*/ 2401 w 10785"/>
                <a:gd name="connsiteY2853" fmla="*/ 7624 h 10000"/>
                <a:gd name="connsiteX2854" fmla="*/ 2419 w 10785"/>
                <a:gd name="connsiteY2854" fmla="*/ 7624 h 10000"/>
                <a:gd name="connsiteX2855" fmla="*/ 2433 w 10785"/>
                <a:gd name="connsiteY2855" fmla="*/ 7615 h 10000"/>
                <a:gd name="connsiteX2856" fmla="*/ 2442 w 10785"/>
                <a:gd name="connsiteY2856" fmla="*/ 7615 h 10000"/>
                <a:gd name="connsiteX2857" fmla="*/ 2447 w 10785"/>
                <a:gd name="connsiteY2857" fmla="*/ 7598 h 10000"/>
                <a:gd name="connsiteX2858" fmla="*/ 2461 w 10785"/>
                <a:gd name="connsiteY2858" fmla="*/ 7598 h 10000"/>
                <a:gd name="connsiteX2859" fmla="*/ 2465 w 10785"/>
                <a:gd name="connsiteY2859" fmla="*/ 7615 h 10000"/>
                <a:gd name="connsiteX2860" fmla="*/ 2479 w 10785"/>
                <a:gd name="connsiteY2860" fmla="*/ 7564 h 10000"/>
                <a:gd name="connsiteX2861" fmla="*/ 2488 w 10785"/>
                <a:gd name="connsiteY2861" fmla="*/ 7556 h 10000"/>
                <a:gd name="connsiteX2862" fmla="*/ 2493 w 10785"/>
                <a:gd name="connsiteY2862" fmla="*/ 7556 h 10000"/>
                <a:gd name="connsiteX2863" fmla="*/ 2507 w 10785"/>
                <a:gd name="connsiteY2863" fmla="*/ 7556 h 10000"/>
                <a:gd name="connsiteX2864" fmla="*/ 2530 w 10785"/>
                <a:gd name="connsiteY2864" fmla="*/ 7538 h 10000"/>
                <a:gd name="connsiteX2865" fmla="*/ 2530 w 10785"/>
                <a:gd name="connsiteY2865" fmla="*/ 7556 h 10000"/>
                <a:gd name="connsiteX2866" fmla="*/ 2641 w 10785"/>
                <a:gd name="connsiteY2866" fmla="*/ 7504 h 10000"/>
                <a:gd name="connsiteX2867" fmla="*/ 2654 w 10785"/>
                <a:gd name="connsiteY2867" fmla="*/ 7487 h 10000"/>
                <a:gd name="connsiteX2868" fmla="*/ 2664 w 10785"/>
                <a:gd name="connsiteY2868" fmla="*/ 7487 h 10000"/>
                <a:gd name="connsiteX2869" fmla="*/ 2668 w 10785"/>
                <a:gd name="connsiteY2869" fmla="*/ 7479 h 10000"/>
                <a:gd name="connsiteX2870" fmla="*/ 2673 w 10785"/>
                <a:gd name="connsiteY2870" fmla="*/ 7462 h 10000"/>
                <a:gd name="connsiteX2871" fmla="*/ 2673 w 10785"/>
                <a:gd name="connsiteY2871" fmla="*/ 7427 h 10000"/>
                <a:gd name="connsiteX2872" fmla="*/ 2687 w 10785"/>
                <a:gd name="connsiteY2872" fmla="*/ 7436 h 10000"/>
                <a:gd name="connsiteX2873" fmla="*/ 2696 w 10785"/>
                <a:gd name="connsiteY2873" fmla="*/ 7427 h 10000"/>
                <a:gd name="connsiteX2874" fmla="*/ 2700 w 10785"/>
                <a:gd name="connsiteY2874" fmla="*/ 7419 h 10000"/>
                <a:gd name="connsiteX2875" fmla="*/ 2710 w 10785"/>
                <a:gd name="connsiteY2875" fmla="*/ 7402 h 10000"/>
                <a:gd name="connsiteX2876" fmla="*/ 2724 w 10785"/>
                <a:gd name="connsiteY2876" fmla="*/ 7402 h 10000"/>
                <a:gd name="connsiteX2877" fmla="*/ 2724 w 10785"/>
                <a:gd name="connsiteY2877" fmla="*/ 7393 h 10000"/>
                <a:gd name="connsiteX2878" fmla="*/ 2737 w 10785"/>
                <a:gd name="connsiteY2878" fmla="*/ 7393 h 10000"/>
                <a:gd name="connsiteX2879" fmla="*/ 2742 w 10785"/>
                <a:gd name="connsiteY2879" fmla="*/ 7402 h 10000"/>
                <a:gd name="connsiteX2880" fmla="*/ 2747 w 10785"/>
                <a:gd name="connsiteY2880" fmla="*/ 7402 h 10000"/>
                <a:gd name="connsiteX2881" fmla="*/ 2760 w 10785"/>
                <a:gd name="connsiteY2881" fmla="*/ 7402 h 10000"/>
                <a:gd name="connsiteX2882" fmla="*/ 2770 w 10785"/>
                <a:gd name="connsiteY2882" fmla="*/ 7402 h 10000"/>
                <a:gd name="connsiteX2883" fmla="*/ 2774 w 10785"/>
                <a:gd name="connsiteY2883" fmla="*/ 7402 h 10000"/>
                <a:gd name="connsiteX2884" fmla="*/ 2783 w 10785"/>
                <a:gd name="connsiteY2884" fmla="*/ 7419 h 10000"/>
                <a:gd name="connsiteX2885" fmla="*/ 2802 w 10785"/>
                <a:gd name="connsiteY2885" fmla="*/ 7436 h 10000"/>
                <a:gd name="connsiteX2886" fmla="*/ 2816 w 10785"/>
                <a:gd name="connsiteY2886" fmla="*/ 7419 h 10000"/>
                <a:gd name="connsiteX2887" fmla="*/ 2834 w 10785"/>
                <a:gd name="connsiteY2887" fmla="*/ 7419 h 10000"/>
                <a:gd name="connsiteX2888" fmla="*/ 2843 w 10785"/>
                <a:gd name="connsiteY2888" fmla="*/ 7419 h 10000"/>
                <a:gd name="connsiteX2889" fmla="*/ 2848 w 10785"/>
                <a:gd name="connsiteY2889" fmla="*/ 7436 h 10000"/>
                <a:gd name="connsiteX2890" fmla="*/ 2857 w 10785"/>
                <a:gd name="connsiteY2890" fmla="*/ 7453 h 10000"/>
                <a:gd name="connsiteX2891" fmla="*/ 2857 w 10785"/>
                <a:gd name="connsiteY2891" fmla="*/ 7504 h 10000"/>
                <a:gd name="connsiteX2892" fmla="*/ 2862 w 10785"/>
                <a:gd name="connsiteY2892" fmla="*/ 7530 h 10000"/>
                <a:gd name="connsiteX2893" fmla="*/ 2876 w 10785"/>
                <a:gd name="connsiteY2893" fmla="*/ 7538 h 10000"/>
                <a:gd name="connsiteX2894" fmla="*/ 2871 w 10785"/>
                <a:gd name="connsiteY2894" fmla="*/ 7564 h 10000"/>
                <a:gd name="connsiteX2895" fmla="*/ 2871 w 10785"/>
                <a:gd name="connsiteY2895" fmla="*/ 7598 h 10000"/>
                <a:gd name="connsiteX2896" fmla="*/ 2857 w 10785"/>
                <a:gd name="connsiteY2896" fmla="*/ 7624 h 10000"/>
                <a:gd name="connsiteX2897" fmla="*/ 2862 w 10785"/>
                <a:gd name="connsiteY2897" fmla="*/ 7641 h 10000"/>
                <a:gd name="connsiteX2898" fmla="*/ 2871 w 10785"/>
                <a:gd name="connsiteY2898" fmla="*/ 7667 h 10000"/>
                <a:gd name="connsiteX2899" fmla="*/ 2880 w 10785"/>
                <a:gd name="connsiteY2899" fmla="*/ 7650 h 10000"/>
                <a:gd name="connsiteX2900" fmla="*/ 2894 w 10785"/>
                <a:gd name="connsiteY2900" fmla="*/ 7667 h 10000"/>
                <a:gd name="connsiteX2901" fmla="*/ 2903 w 10785"/>
                <a:gd name="connsiteY2901" fmla="*/ 7667 h 10000"/>
                <a:gd name="connsiteX2902" fmla="*/ 2908 w 10785"/>
                <a:gd name="connsiteY2902" fmla="*/ 7641 h 10000"/>
                <a:gd name="connsiteX2903" fmla="*/ 2917 w 10785"/>
                <a:gd name="connsiteY2903" fmla="*/ 7641 h 10000"/>
                <a:gd name="connsiteX2904" fmla="*/ 2922 w 10785"/>
                <a:gd name="connsiteY2904" fmla="*/ 7641 h 10000"/>
                <a:gd name="connsiteX2905" fmla="*/ 2931 w 10785"/>
                <a:gd name="connsiteY2905" fmla="*/ 7615 h 10000"/>
                <a:gd name="connsiteX2906" fmla="*/ 2935 w 10785"/>
                <a:gd name="connsiteY2906" fmla="*/ 7615 h 10000"/>
                <a:gd name="connsiteX2907" fmla="*/ 2945 w 10785"/>
                <a:gd name="connsiteY2907" fmla="*/ 7650 h 10000"/>
                <a:gd name="connsiteX2908" fmla="*/ 2949 w 10785"/>
                <a:gd name="connsiteY2908" fmla="*/ 7667 h 10000"/>
                <a:gd name="connsiteX2909" fmla="*/ 2949 w 10785"/>
                <a:gd name="connsiteY2909" fmla="*/ 7675 h 10000"/>
                <a:gd name="connsiteX2910" fmla="*/ 2945 w 10785"/>
                <a:gd name="connsiteY2910" fmla="*/ 7692 h 10000"/>
                <a:gd name="connsiteX2911" fmla="*/ 2963 w 10785"/>
                <a:gd name="connsiteY2911" fmla="*/ 7701 h 10000"/>
                <a:gd name="connsiteX2912" fmla="*/ 2963 w 10785"/>
                <a:gd name="connsiteY2912" fmla="*/ 7675 h 10000"/>
                <a:gd name="connsiteX2913" fmla="*/ 2954 w 10785"/>
                <a:gd name="connsiteY2913" fmla="*/ 7667 h 10000"/>
                <a:gd name="connsiteX2914" fmla="*/ 2963 w 10785"/>
                <a:gd name="connsiteY2914" fmla="*/ 7667 h 10000"/>
                <a:gd name="connsiteX2915" fmla="*/ 2982 w 10785"/>
                <a:gd name="connsiteY2915" fmla="*/ 7667 h 10000"/>
                <a:gd name="connsiteX2916" fmla="*/ 2991 w 10785"/>
                <a:gd name="connsiteY2916" fmla="*/ 7675 h 10000"/>
                <a:gd name="connsiteX2917" fmla="*/ 2995 w 10785"/>
                <a:gd name="connsiteY2917" fmla="*/ 7692 h 10000"/>
                <a:gd name="connsiteX2918" fmla="*/ 3009 w 10785"/>
                <a:gd name="connsiteY2918" fmla="*/ 7701 h 10000"/>
                <a:gd name="connsiteX2919" fmla="*/ 3018 w 10785"/>
                <a:gd name="connsiteY2919" fmla="*/ 7701 h 10000"/>
                <a:gd name="connsiteX2920" fmla="*/ 3023 w 10785"/>
                <a:gd name="connsiteY2920" fmla="*/ 7692 h 10000"/>
                <a:gd name="connsiteX2921" fmla="*/ 3028 w 10785"/>
                <a:gd name="connsiteY2921" fmla="*/ 7675 h 10000"/>
                <a:gd name="connsiteX2922" fmla="*/ 3037 w 10785"/>
                <a:gd name="connsiteY2922" fmla="*/ 7692 h 10000"/>
                <a:gd name="connsiteX2923" fmla="*/ 3028 w 10785"/>
                <a:gd name="connsiteY2923" fmla="*/ 7709 h 10000"/>
                <a:gd name="connsiteX2924" fmla="*/ 3023 w 10785"/>
                <a:gd name="connsiteY2924" fmla="*/ 7709 h 10000"/>
                <a:gd name="connsiteX2925" fmla="*/ 3018 w 10785"/>
                <a:gd name="connsiteY2925" fmla="*/ 7726 h 10000"/>
                <a:gd name="connsiteX2926" fmla="*/ 3009 w 10785"/>
                <a:gd name="connsiteY2926" fmla="*/ 7735 h 10000"/>
                <a:gd name="connsiteX2927" fmla="*/ 3009 w 10785"/>
                <a:gd name="connsiteY2927" fmla="*/ 7761 h 10000"/>
                <a:gd name="connsiteX2928" fmla="*/ 3009 w 10785"/>
                <a:gd name="connsiteY2928" fmla="*/ 7778 h 10000"/>
                <a:gd name="connsiteX2929" fmla="*/ 3018 w 10785"/>
                <a:gd name="connsiteY2929" fmla="*/ 7786 h 10000"/>
                <a:gd name="connsiteX2930" fmla="*/ 3023 w 10785"/>
                <a:gd name="connsiteY2930" fmla="*/ 7786 h 10000"/>
                <a:gd name="connsiteX2931" fmla="*/ 3028 w 10785"/>
                <a:gd name="connsiteY2931" fmla="*/ 7778 h 10000"/>
                <a:gd name="connsiteX2932" fmla="*/ 3051 w 10785"/>
                <a:gd name="connsiteY2932" fmla="*/ 7761 h 10000"/>
                <a:gd name="connsiteX2933" fmla="*/ 3055 w 10785"/>
                <a:gd name="connsiteY2933" fmla="*/ 7778 h 10000"/>
                <a:gd name="connsiteX2934" fmla="*/ 3065 w 10785"/>
                <a:gd name="connsiteY2934" fmla="*/ 7761 h 10000"/>
                <a:gd name="connsiteX2935" fmla="*/ 3069 w 10785"/>
                <a:gd name="connsiteY2935" fmla="*/ 7786 h 10000"/>
                <a:gd name="connsiteX2936" fmla="*/ 3083 w 10785"/>
                <a:gd name="connsiteY2936" fmla="*/ 7786 h 10000"/>
                <a:gd name="connsiteX2937" fmla="*/ 3078 w 10785"/>
                <a:gd name="connsiteY2937" fmla="*/ 7761 h 10000"/>
                <a:gd name="connsiteX2938" fmla="*/ 3083 w 10785"/>
                <a:gd name="connsiteY2938" fmla="*/ 7752 h 10000"/>
                <a:gd name="connsiteX2939" fmla="*/ 3097 w 10785"/>
                <a:gd name="connsiteY2939" fmla="*/ 7752 h 10000"/>
                <a:gd name="connsiteX2940" fmla="*/ 3111 w 10785"/>
                <a:gd name="connsiteY2940" fmla="*/ 7726 h 10000"/>
                <a:gd name="connsiteX2941" fmla="*/ 3124 w 10785"/>
                <a:gd name="connsiteY2941" fmla="*/ 7709 h 10000"/>
                <a:gd name="connsiteX2942" fmla="*/ 3143 w 10785"/>
                <a:gd name="connsiteY2942" fmla="*/ 7692 h 10000"/>
                <a:gd name="connsiteX2943" fmla="*/ 3152 w 10785"/>
                <a:gd name="connsiteY2943" fmla="*/ 7667 h 10000"/>
                <a:gd name="connsiteX2944" fmla="*/ 3157 w 10785"/>
                <a:gd name="connsiteY2944" fmla="*/ 7650 h 10000"/>
                <a:gd name="connsiteX2945" fmla="*/ 3161 w 10785"/>
                <a:gd name="connsiteY2945" fmla="*/ 7650 h 10000"/>
                <a:gd name="connsiteX2946" fmla="*/ 3189 w 10785"/>
                <a:gd name="connsiteY2946" fmla="*/ 7641 h 10000"/>
                <a:gd name="connsiteX2947" fmla="*/ 3198 w 10785"/>
                <a:gd name="connsiteY2947" fmla="*/ 7624 h 10000"/>
                <a:gd name="connsiteX2948" fmla="*/ 3217 w 10785"/>
                <a:gd name="connsiteY2948" fmla="*/ 7615 h 10000"/>
                <a:gd name="connsiteX2949" fmla="*/ 3235 w 10785"/>
                <a:gd name="connsiteY2949" fmla="*/ 7598 h 10000"/>
                <a:gd name="connsiteX2950" fmla="*/ 3235 w 10785"/>
                <a:gd name="connsiteY2950" fmla="*/ 7615 h 10000"/>
                <a:gd name="connsiteX2951" fmla="*/ 3235 w 10785"/>
                <a:gd name="connsiteY2951" fmla="*/ 7641 h 10000"/>
                <a:gd name="connsiteX2952" fmla="*/ 3235 w 10785"/>
                <a:gd name="connsiteY2952" fmla="*/ 7650 h 10000"/>
                <a:gd name="connsiteX2953" fmla="*/ 3226 w 10785"/>
                <a:gd name="connsiteY2953" fmla="*/ 7650 h 10000"/>
                <a:gd name="connsiteX2954" fmla="*/ 3217 w 10785"/>
                <a:gd name="connsiteY2954" fmla="*/ 7650 h 10000"/>
                <a:gd name="connsiteX2955" fmla="*/ 3212 w 10785"/>
                <a:gd name="connsiteY2955" fmla="*/ 7675 h 10000"/>
                <a:gd name="connsiteX2956" fmla="*/ 3212 w 10785"/>
                <a:gd name="connsiteY2956"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307 w 10785"/>
                <a:gd name="connsiteY731" fmla="*/ 4899 h 10000"/>
                <a:gd name="connsiteX732" fmla="*/ 10691 w 10785"/>
                <a:gd name="connsiteY732" fmla="*/ 5255 h 10000"/>
                <a:gd name="connsiteX733" fmla="*/ 10619 w 10785"/>
                <a:gd name="connsiteY733" fmla="*/ 4708 h 10000"/>
                <a:gd name="connsiteX734" fmla="*/ 10785 w 10785"/>
                <a:gd name="connsiteY734" fmla="*/ 4708 h 10000"/>
                <a:gd name="connsiteX735" fmla="*/ 10689 w 10785"/>
                <a:gd name="connsiteY735" fmla="*/ 4467 h 10000"/>
                <a:gd name="connsiteX736" fmla="*/ 10354 w 10785"/>
                <a:gd name="connsiteY736" fmla="*/ 4302 h 10000"/>
                <a:gd name="connsiteX737" fmla="*/ 9912 w 10785"/>
                <a:gd name="connsiteY737" fmla="*/ 3675 h 10000"/>
                <a:gd name="connsiteX738" fmla="*/ 9903 w 10785"/>
                <a:gd name="connsiteY738" fmla="*/ 3667 h 10000"/>
                <a:gd name="connsiteX739" fmla="*/ 9894 w 10785"/>
                <a:gd name="connsiteY739" fmla="*/ 3641 h 10000"/>
                <a:gd name="connsiteX740" fmla="*/ 9889 w 10785"/>
                <a:gd name="connsiteY740" fmla="*/ 3650 h 10000"/>
                <a:gd name="connsiteX741" fmla="*/ 9848 w 10785"/>
                <a:gd name="connsiteY741" fmla="*/ 3598 h 10000"/>
                <a:gd name="connsiteX742" fmla="*/ 9829 w 10785"/>
                <a:gd name="connsiteY742" fmla="*/ 3581 h 10000"/>
                <a:gd name="connsiteX743" fmla="*/ 9820 w 10785"/>
                <a:gd name="connsiteY743" fmla="*/ 3581 h 10000"/>
                <a:gd name="connsiteX744" fmla="*/ 9793 w 10785"/>
                <a:gd name="connsiteY744" fmla="*/ 3556 h 10000"/>
                <a:gd name="connsiteX745" fmla="*/ 9779 w 10785"/>
                <a:gd name="connsiteY745" fmla="*/ 3556 h 10000"/>
                <a:gd name="connsiteX746" fmla="*/ 9747 w 10785"/>
                <a:gd name="connsiteY746" fmla="*/ 3487 h 10000"/>
                <a:gd name="connsiteX747" fmla="*/ 9668 w 10785"/>
                <a:gd name="connsiteY747" fmla="*/ 3479 h 10000"/>
                <a:gd name="connsiteX748" fmla="*/ 9659 w 10785"/>
                <a:gd name="connsiteY748" fmla="*/ 3487 h 10000"/>
                <a:gd name="connsiteX749" fmla="*/ 9645 w 10785"/>
                <a:gd name="connsiteY749" fmla="*/ 3504 h 10000"/>
                <a:gd name="connsiteX750" fmla="*/ 9631 w 10785"/>
                <a:gd name="connsiteY750" fmla="*/ 3487 h 10000"/>
                <a:gd name="connsiteX751" fmla="*/ 9613 w 10785"/>
                <a:gd name="connsiteY751" fmla="*/ 3479 h 10000"/>
                <a:gd name="connsiteX752" fmla="*/ 9599 w 10785"/>
                <a:gd name="connsiteY752" fmla="*/ 3479 h 10000"/>
                <a:gd name="connsiteX753" fmla="*/ 9571 w 10785"/>
                <a:gd name="connsiteY753" fmla="*/ 3479 h 10000"/>
                <a:gd name="connsiteX754" fmla="*/ 9562 w 10785"/>
                <a:gd name="connsiteY754" fmla="*/ 3487 h 10000"/>
                <a:gd name="connsiteX755" fmla="*/ 9539 w 10785"/>
                <a:gd name="connsiteY755" fmla="*/ 3487 h 10000"/>
                <a:gd name="connsiteX756" fmla="*/ 9507 w 10785"/>
                <a:gd name="connsiteY756" fmla="*/ 3453 h 10000"/>
                <a:gd name="connsiteX757" fmla="*/ 9498 w 10785"/>
                <a:gd name="connsiteY757" fmla="*/ 3453 h 10000"/>
                <a:gd name="connsiteX758" fmla="*/ 9387 w 10785"/>
                <a:gd name="connsiteY758" fmla="*/ 3419 h 10000"/>
                <a:gd name="connsiteX759" fmla="*/ 9373 w 10785"/>
                <a:gd name="connsiteY759" fmla="*/ 3427 h 10000"/>
                <a:gd name="connsiteX760" fmla="*/ 9373 w 10785"/>
                <a:gd name="connsiteY760" fmla="*/ 3462 h 10000"/>
                <a:gd name="connsiteX761" fmla="*/ 9378 w 10785"/>
                <a:gd name="connsiteY761" fmla="*/ 3479 h 10000"/>
                <a:gd name="connsiteX762" fmla="*/ 9378 w 10785"/>
                <a:gd name="connsiteY762" fmla="*/ 3530 h 10000"/>
                <a:gd name="connsiteX763" fmla="*/ 9355 w 10785"/>
                <a:gd name="connsiteY763" fmla="*/ 3538 h 10000"/>
                <a:gd name="connsiteX764" fmla="*/ 9355 w 10785"/>
                <a:gd name="connsiteY764" fmla="*/ 3581 h 10000"/>
                <a:gd name="connsiteX765" fmla="*/ 9387 w 10785"/>
                <a:gd name="connsiteY765" fmla="*/ 3590 h 10000"/>
                <a:gd name="connsiteX766" fmla="*/ 9401 w 10785"/>
                <a:gd name="connsiteY766" fmla="*/ 3667 h 10000"/>
                <a:gd name="connsiteX767" fmla="*/ 9406 w 10785"/>
                <a:gd name="connsiteY767" fmla="*/ 3675 h 10000"/>
                <a:gd name="connsiteX768" fmla="*/ 9406 w 10785"/>
                <a:gd name="connsiteY768" fmla="*/ 3701 h 10000"/>
                <a:gd name="connsiteX769" fmla="*/ 9415 w 10785"/>
                <a:gd name="connsiteY769" fmla="*/ 3752 h 10000"/>
                <a:gd name="connsiteX770" fmla="*/ 9373 w 10785"/>
                <a:gd name="connsiteY770" fmla="*/ 3838 h 10000"/>
                <a:gd name="connsiteX771" fmla="*/ 9355 w 10785"/>
                <a:gd name="connsiteY771" fmla="*/ 3863 h 10000"/>
                <a:gd name="connsiteX772" fmla="*/ 9327 w 10785"/>
                <a:gd name="connsiteY772" fmla="*/ 3863 h 10000"/>
                <a:gd name="connsiteX773" fmla="*/ 9313 w 10785"/>
                <a:gd name="connsiteY773" fmla="*/ 3846 h 10000"/>
                <a:gd name="connsiteX774" fmla="*/ 9300 w 10785"/>
                <a:gd name="connsiteY774" fmla="*/ 3778 h 10000"/>
                <a:gd name="connsiteX775" fmla="*/ 9281 w 10785"/>
                <a:gd name="connsiteY775" fmla="*/ 3752 h 10000"/>
                <a:gd name="connsiteX776" fmla="*/ 9281 w 10785"/>
                <a:gd name="connsiteY776" fmla="*/ 3735 h 10000"/>
                <a:gd name="connsiteX777" fmla="*/ 9267 w 10785"/>
                <a:gd name="connsiteY777" fmla="*/ 3726 h 10000"/>
                <a:gd name="connsiteX778" fmla="*/ 9240 w 10785"/>
                <a:gd name="connsiteY778" fmla="*/ 3726 h 10000"/>
                <a:gd name="connsiteX779" fmla="*/ 9230 w 10785"/>
                <a:gd name="connsiteY779" fmla="*/ 3718 h 10000"/>
                <a:gd name="connsiteX780" fmla="*/ 9226 w 10785"/>
                <a:gd name="connsiteY780" fmla="*/ 3590 h 10000"/>
                <a:gd name="connsiteX781" fmla="*/ 9207 w 10785"/>
                <a:gd name="connsiteY781" fmla="*/ 3581 h 10000"/>
                <a:gd name="connsiteX782" fmla="*/ 9207 w 10785"/>
                <a:gd name="connsiteY782" fmla="*/ 3556 h 10000"/>
                <a:gd name="connsiteX783" fmla="*/ 9217 w 10785"/>
                <a:gd name="connsiteY783" fmla="*/ 3538 h 10000"/>
                <a:gd name="connsiteX784" fmla="*/ 9212 w 10785"/>
                <a:gd name="connsiteY784" fmla="*/ 3538 h 10000"/>
                <a:gd name="connsiteX785" fmla="*/ 9198 w 10785"/>
                <a:gd name="connsiteY785" fmla="*/ 3513 h 10000"/>
                <a:gd name="connsiteX786" fmla="*/ 9194 w 10785"/>
                <a:gd name="connsiteY786" fmla="*/ 3530 h 10000"/>
                <a:gd name="connsiteX787" fmla="*/ 9143 w 10785"/>
                <a:gd name="connsiteY787" fmla="*/ 3615 h 10000"/>
                <a:gd name="connsiteX788" fmla="*/ 9138 w 10785"/>
                <a:gd name="connsiteY788" fmla="*/ 3615 h 10000"/>
                <a:gd name="connsiteX789" fmla="*/ 9134 w 10785"/>
                <a:gd name="connsiteY789" fmla="*/ 3615 h 10000"/>
                <a:gd name="connsiteX790" fmla="*/ 9106 w 10785"/>
                <a:gd name="connsiteY790" fmla="*/ 3615 h 10000"/>
                <a:gd name="connsiteX791" fmla="*/ 9078 w 10785"/>
                <a:gd name="connsiteY791" fmla="*/ 3590 h 10000"/>
                <a:gd name="connsiteX792" fmla="*/ 9037 w 10785"/>
                <a:gd name="connsiteY792" fmla="*/ 3581 h 10000"/>
                <a:gd name="connsiteX793" fmla="*/ 9023 w 10785"/>
                <a:gd name="connsiteY793" fmla="*/ 3590 h 10000"/>
                <a:gd name="connsiteX794" fmla="*/ 9018 w 10785"/>
                <a:gd name="connsiteY794" fmla="*/ 3590 h 10000"/>
                <a:gd name="connsiteX795" fmla="*/ 9018 w 10785"/>
                <a:gd name="connsiteY795" fmla="*/ 3590 h 10000"/>
                <a:gd name="connsiteX796" fmla="*/ 8991 w 10785"/>
                <a:gd name="connsiteY796" fmla="*/ 3590 h 10000"/>
                <a:gd name="connsiteX797" fmla="*/ 8972 w 10785"/>
                <a:gd name="connsiteY797" fmla="*/ 3581 h 10000"/>
                <a:gd name="connsiteX798" fmla="*/ 8959 w 10785"/>
                <a:gd name="connsiteY798" fmla="*/ 3513 h 10000"/>
                <a:gd name="connsiteX799" fmla="*/ 8931 w 10785"/>
                <a:gd name="connsiteY799" fmla="*/ 3538 h 10000"/>
                <a:gd name="connsiteX800" fmla="*/ 8889 w 10785"/>
                <a:gd name="connsiteY800" fmla="*/ 3538 h 10000"/>
                <a:gd name="connsiteX801" fmla="*/ 8871 w 10785"/>
                <a:gd name="connsiteY801" fmla="*/ 3556 h 10000"/>
                <a:gd name="connsiteX802" fmla="*/ 8857 w 10785"/>
                <a:gd name="connsiteY802" fmla="*/ 3538 h 10000"/>
                <a:gd name="connsiteX803" fmla="*/ 8843 w 10785"/>
                <a:gd name="connsiteY803" fmla="*/ 3538 h 10000"/>
                <a:gd name="connsiteX804" fmla="*/ 8839 w 10785"/>
                <a:gd name="connsiteY804" fmla="*/ 3556 h 10000"/>
                <a:gd name="connsiteX805" fmla="*/ 8839 w 10785"/>
                <a:gd name="connsiteY805" fmla="*/ 3581 h 10000"/>
                <a:gd name="connsiteX806" fmla="*/ 8825 w 10785"/>
                <a:gd name="connsiteY806" fmla="*/ 3564 h 10000"/>
                <a:gd name="connsiteX807" fmla="*/ 8825 w 10785"/>
                <a:gd name="connsiteY807" fmla="*/ 3615 h 10000"/>
                <a:gd name="connsiteX808" fmla="*/ 8802 w 10785"/>
                <a:gd name="connsiteY808" fmla="*/ 3598 h 10000"/>
                <a:gd name="connsiteX809" fmla="*/ 8797 w 10785"/>
                <a:gd name="connsiteY809" fmla="*/ 3641 h 10000"/>
                <a:gd name="connsiteX810" fmla="*/ 8783 w 10785"/>
                <a:gd name="connsiteY810" fmla="*/ 3667 h 10000"/>
                <a:gd name="connsiteX811" fmla="*/ 8779 w 10785"/>
                <a:gd name="connsiteY811" fmla="*/ 3650 h 10000"/>
                <a:gd name="connsiteX812" fmla="*/ 8779 w 10785"/>
                <a:gd name="connsiteY812" fmla="*/ 3615 h 10000"/>
                <a:gd name="connsiteX813" fmla="*/ 8770 w 10785"/>
                <a:gd name="connsiteY813" fmla="*/ 3590 h 10000"/>
                <a:gd name="connsiteX814" fmla="*/ 8765 w 10785"/>
                <a:gd name="connsiteY814" fmla="*/ 3598 h 10000"/>
                <a:gd name="connsiteX815" fmla="*/ 8756 w 10785"/>
                <a:gd name="connsiteY815" fmla="*/ 3590 h 10000"/>
                <a:gd name="connsiteX816" fmla="*/ 8737 w 10785"/>
                <a:gd name="connsiteY816" fmla="*/ 3556 h 10000"/>
                <a:gd name="connsiteX817" fmla="*/ 8724 w 10785"/>
                <a:gd name="connsiteY817" fmla="*/ 3538 h 10000"/>
                <a:gd name="connsiteX818" fmla="*/ 8696 w 10785"/>
                <a:gd name="connsiteY818" fmla="*/ 3538 h 10000"/>
                <a:gd name="connsiteX819" fmla="*/ 8691 w 10785"/>
                <a:gd name="connsiteY819" fmla="*/ 3513 h 10000"/>
                <a:gd name="connsiteX820" fmla="*/ 8668 w 10785"/>
                <a:gd name="connsiteY820" fmla="*/ 3504 h 10000"/>
                <a:gd name="connsiteX821" fmla="*/ 8668 w 10785"/>
                <a:gd name="connsiteY821" fmla="*/ 3487 h 10000"/>
                <a:gd name="connsiteX822" fmla="*/ 8691 w 10785"/>
                <a:gd name="connsiteY822" fmla="*/ 3350 h 10000"/>
                <a:gd name="connsiteX823" fmla="*/ 8691 w 10785"/>
                <a:gd name="connsiteY823" fmla="*/ 3291 h 10000"/>
                <a:gd name="connsiteX824" fmla="*/ 8677 w 10785"/>
                <a:gd name="connsiteY824" fmla="*/ 3239 h 10000"/>
                <a:gd name="connsiteX825" fmla="*/ 8677 w 10785"/>
                <a:gd name="connsiteY825" fmla="*/ 3231 h 10000"/>
                <a:gd name="connsiteX826" fmla="*/ 8636 w 10785"/>
                <a:gd name="connsiteY826" fmla="*/ 3128 h 10000"/>
                <a:gd name="connsiteX827" fmla="*/ 8622 w 10785"/>
                <a:gd name="connsiteY827" fmla="*/ 3120 h 10000"/>
                <a:gd name="connsiteX828" fmla="*/ 8618 w 10785"/>
                <a:gd name="connsiteY828" fmla="*/ 3094 h 10000"/>
                <a:gd name="connsiteX829" fmla="*/ 8594 w 10785"/>
                <a:gd name="connsiteY829" fmla="*/ 3077 h 10000"/>
                <a:gd name="connsiteX830" fmla="*/ 8548 w 10785"/>
                <a:gd name="connsiteY830" fmla="*/ 3077 h 10000"/>
                <a:gd name="connsiteX831" fmla="*/ 8535 w 10785"/>
                <a:gd name="connsiteY831" fmla="*/ 3068 h 10000"/>
                <a:gd name="connsiteX832" fmla="*/ 8429 w 10785"/>
                <a:gd name="connsiteY832" fmla="*/ 3077 h 10000"/>
                <a:gd name="connsiteX833" fmla="*/ 8424 w 10785"/>
                <a:gd name="connsiteY833" fmla="*/ 3077 h 10000"/>
                <a:gd name="connsiteX834" fmla="*/ 8396 w 10785"/>
                <a:gd name="connsiteY834" fmla="*/ 3077 h 10000"/>
                <a:gd name="connsiteX835" fmla="*/ 8387 w 10785"/>
                <a:gd name="connsiteY835" fmla="*/ 3094 h 10000"/>
                <a:gd name="connsiteX836" fmla="*/ 8378 w 10785"/>
                <a:gd name="connsiteY836" fmla="*/ 3094 h 10000"/>
                <a:gd name="connsiteX837" fmla="*/ 8341 w 10785"/>
                <a:gd name="connsiteY837" fmla="*/ 3077 h 10000"/>
                <a:gd name="connsiteX838" fmla="*/ 8336 w 10785"/>
                <a:gd name="connsiteY838" fmla="*/ 3077 h 10000"/>
                <a:gd name="connsiteX839" fmla="*/ 8327 w 10785"/>
                <a:gd name="connsiteY839" fmla="*/ 3103 h 10000"/>
                <a:gd name="connsiteX840" fmla="*/ 8309 w 10785"/>
                <a:gd name="connsiteY840" fmla="*/ 3120 h 10000"/>
                <a:gd name="connsiteX841" fmla="*/ 8304 w 10785"/>
                <a:gd name="connsiteY841" fmla="*/ 3103 h 10000"/>
                <a:gd name="connsiteX842" fmla="*/ 8276 w 10785"/>
                <a:gd name="connsiteY842" fmla="*/ 3103 h 10000"/>
                <a:gd name="connsiteX843" fmla="*/ 8267 w 10785"/>
                <a:gd name="connsiteY843" fmla="*/ 3120 h 10000"/>
                <a:gd name="connsiteX844" fmla="*/ 8253 w 10785"/>
                <a:gd name="connsiteY844" fmla="*/ 3103 h 10000"/>
                <a:gd name="connsiteX845" fmla="*/ 8230 w 10785"/>
                <a:gd name="connsiteY845" fmla="*/ 3128 h 10000"/>
                <a:gd name="connsiteX846" fmla="*/ 8217 w 10785"/>
                <a:gd name="connsiteY846" fmla="*/ 3128 h 10000"/>
                <a:gd name="connsiteX847" fmla="*/ 8203 w 10785"/>
                <a:gd name="connsiteY847" fmla="*/ 3154 h 10000"/>
                <a:gd name="connsiteX848" fmla="*/ 8175 w 10785"/>
                <a:gd name="connsiteY848" fmla="*/ 3094 h 10000"/>
                <a:gd name="connsiteX849" fmla="*/ 8161 w 10785"/>
                <a:gd name="connsiteY849" fmla="*/ 3094 h 10000"/>
                <a:gd name="connsiteX850" fmla="*/ 8157 w 10785"/>
                <a:gd name="connsiteY850" fmla="*/ 3077 h 10000"/>
                <a:gd name="connsiteX851" fmla="*/ 8180 w 10785"/>
                <a:gd name="connsiteY851" fmla="*/ 3068 h 10000"/>
                <a:gd name="connsiteX852" fmla="*/ 8189 w 10785"/>
                <a:gd name="connsiteY852" fmla="*/ 3043 h 10000"/>
                <a:gd name="connsiteX853" fmla="*/ 8189 w 10785"/>
                <a:gd name="connsiteY853" fmla="*/ 3017 h 10000"/>
                <a:gd name="connsiteX854" fmla="*/ 8147 w 10785"/>
                <a:gd name="connsiteY854" fmla="*/ 2940 h 10000"/>
                <a:gd name="connsiteX855" fmla="*/ 8143 w 10785"/>
                <a:gd name="connsiteY855" fmla="*/ 2915 h 10000"/>
                <a:gd name="connsiteX856" fmla="*/ 8143 w 10785"/>
                <a:gd name="connsiteY856" fmla="*/ 2906 h 10000"/>
                <a:gd name="connsiteX857" fmla="*/ 8097 w 10785"/>
                <a:gd name="connsiteY857" fmla="*/ 2932 h 10000"/>
                <a:gd name="connsiteX858" fmla="*/ 8083 w 10785"/>
                <a:gd name="connsiteY858" fmla="*/ 2932 h 10000"/>
                <a:gd name="connsiteX859" fmla="*/ 8074 w 10785"/>
                <a:gd name="connsiteY859" fmla="*/ 2906 h 10000"/>
                <a:gd name="connsiteX860" fmla="*/ 8074 w 10785"/>
                <a:gd name="connsiteY860" fmla="*/ 2897 h 10000"/>
                <a:gd name="connsiteX861" fmla="*/ 8055 w 10785"/>
                <a:gd name="connsiteY861" fmla="*/ 2872 h 10000"/>
                <a:gd name="connsiteX862" fmla="*/ 8046 w 10785"/>
                <a:gd name="connsiteY862" fmla="*/ 2829 h 10000"/>
                <a:gd name="connsiteX863" fmla="*/ 8041 w 10785"/>
                <a:gd name="connsiteY863" fmla="*/ 2829 h 10000"/>
                <a:gd name="connsiteX864" fmla="*/ 8023 w 10785"/>
                <a:gd name="connsiteY864" fmla="*/ 2803 h 10000"/>
                <a:gd name="connsiteX865" fmla="*/ 8014 w 10785"/>
                <a:gd name="connsiteY865" fmla="*/ 2829 h 10000"/>
                <a:gd name="connsiteX866" fmla="*/ 8000 w 10785"/>
                <a:gd name="connsiteY866" fmla="*/ 2829 h 10000"/>
                <a:gd name="connsiteX867" fmla="*/ 7995 w 10785"/>
                <a:gd name="connsiteY867" fmla="*/ 2821 h 10000"/>
                <a:gd name="connsiteX868" fmla="*/ 7972 w 10785"/>
                <a:gd name="connsiteY868" fmla="*/ 2803 h 10000"/>
                <a:gd name="connsiteX869" fmla="*/ 7968 w 10785"/>
                <a:gd name="connsiteY869" fmla="*/ 2821 h 10000"/>
                <a:gd name="connsiteX870" fmla="*/ 7968 w 10785"/>
                <a:gd name="connsiteY870" fmla="*/ 2803 h 10000"/>
                <a:gd name="connsiteX871" fmla="*/ 7995 w 10785"/>
                <a:gd name="connsiteY871" fmla="*/ 2735 h 10000"/>
                <a:gd name="connsiteX872" fmla="*/ 8000 w 10785"/>
                <a:gd name="connsiteY872" fmla="*/ 2735 h 10000"/>
                <a:gd name="connsiteX873" fmla="*/ 8014 w 10785"/>
                <a:gd name="connsiteY873" fmla="*/ 2744 h 10000"/>
                <a:gd name="connsiteX874" fmla="*/ 8023 w 10785"/>
                <a:gd name="connsiteY874" fmla="*/ 2769 h 10000"/>
                <a:gd name="connsiteX875" fmla="*/ 8032 w 10785"/>
                <a:gd name="connsiteY875" fmla="*/ 2744 h 10000"/>
                <a:gd name="connsiteX876" fmla="*/ 8032 w 10785"/>
                <a:gd name="connsiteY876" fmla="*/ 2709 h 10000"/>
                <a:gd name="connsiteX877" fmla="*/ 8023 w 10785"/>
                <a:gd name="connsiteY877" fmla="*/ 2632 h 10000"/>
                <a:gd name="connsiteX878" fmla="*/ 7986 w 10785"/>
                <a:gd name="connsiteY878" fmla="*/ 2581 h 10000"/>
                <a:gd name="connsiteX879" fmla="*/ 7968 w 10785"/>
                <a:gd name="connsiteY879" fmla="*/ 2581 h 10000"/>
                <a:gd name="connsiteX880" fmla="*/ 7963 w 10785"/>
                <a:gd name="connsiteY880" fmla="*/ 2556 h 10000"/>
                <a:gd name="connsiteX881" fmla="*/ 7935 w 10785"/>
                <a:gd name="connsiteY881" fmla="*/ 2547 h 10000"/>
                <a:gd name="connsiteX882" fmla="*/ 7912 w 10785"/>
                <a:gd name="connsiteY882" fmla="*/ 2547 h 10000"/>
                <a:gd name="connsiteX883" fmla="*/ 7912 w 10785"/>
                <a:gd name="connsiteY883" fmla="*/ 2556 h 10000"/>
                <a:gd name="connsiteX884" fmla="*/ 7908 w 10785"/>
                <a:gd name="connsiteY884" fmla="*/ 2547 h 10000"/>
                <a:gd name="connsiteX885" fmla="*/ 7862 w 10785"/>
                <a:gd name="connsiteY885" fmla="*/ 2547 h 10000"/>
                <a:gd name="connsiteX886" fmla="*/ 7848 w 10785"/>
                <a:gd name="connsiteY886" fmla="*/ 2556 h 10000"/>
                <a:gd name="connsiteX887" fmla="*/ 7820 w 10785"/>
                <a:gd name="connsiteY887" fmla="*/ 2547 h 10000"/>
                <a:gd name="connsiteX888" fmla="*/ 7806 w 10785"/>
                <a:gd name="connsiteY888" fmla="*/ 2513 h 10000"/>
                <a:gd name="connsiteX889" fmla="*/ 7788 w 10785"/>
                <a:gd name="connsiteY889" fmla="*/ 2513 h 10000"/>
                <a:gd name="connsiteX890" fmla="*/ 7760 w 10785"/>
                <a:gd name="connsiteY890" fmla="*/ 2470 h 10000"/>
                <a:gd name="connsiteX891" fmla="*/ 7751 w 10785"/>
                <a:gd name="connsiteY891" fmla="*/ 2470 h 10000"/>
                <a:gd name="connsiteX892" fmla="*/ 7705 w 10785"/>
                <a:gd name="connsiteY892" fmla="*/ 2462 h 10000"/>
                <a:gd name="connsiteX893" fmla="*/ 7673 w 10785"/>
                <a:gd name="connsiteY893" fmla="*/ 2419 h 10000"/>
                <a:gd name="connsiteX894" fmla="*/ 7627 w 10785"/>
                <a:gd name="connsiteY894" fmla="*/ 2419 h 10000"/>
                <a:gd name="connsiteX895" fmla="*/ 7613 w 10785"/>
                <a:gd name="connsiteY895" fmla="*/ 2410 h 10000"/>
                <a:gd name="connsiteX896" fmla="*/ 7493 w 10785"/>
                <a:gd name="connsiteY896" fmla="*/ 2393 h 10000"/>
                <a:gd name="connsiteX897" fmla="*/ 7479 w 10785"/>
                <a:gd name="connsiteY897" fmla="*/ 2385 h 10000"/>
                <a:gd name="connsiteX898" fmla="*/ 7479 w 10785"/>
                <a:gd name="connsiteY898" fmla="*/ 2376 h 10000"/>
                <a:gd name="connsiteX899" fmla="*/ 7465 w 10785"/>
                <a:gd name="connsiteY899" fmla="*/ 2359 h 10000"/>
                <a:gd name="connsiteX900" fmla="*/ 7447 w 10785"/>
                <a:gd name="connsiteY900" fmla="*/ 2350 h 10000"/>
                <a:gd name="connsiteX901" fmla="*/ 7433 w 10785"/>
                <a:gd name="connsiteY901" fmla="*/ 2376 h 10000"/>
                <a:gd name="connsiteX902" fmla="*/ 7433 w 10785"/>
                <a:gd name="connsiteY902" fmla="*/ 2385 h 10000"/>
                <a:gd name="connsiteX903" fmla="*/ 7447 w 10785"/>
                <a:gd name="connsiteY903" fmla="*/ 2410 h 10000"/>
                <a:gd name="connsiteX904" fmla="*/ 7447 w 10785"/>
                <a:gd name="connsiteY904" fmla="*/ 2436 h 10000"/>
                <a:gd name="connsiteX905" fmla="*/ 7452 w 10785"/>
                <a:gd name="connsiteY905" fmla="*/ 2462 h 10000"/>
                <a:gd name="connsiteX906" fmla="*/ 7447 w 10785"/>
                <a:gd name="connsiteY906" fmla="*/ 2470 h 10000"/>
                <a:gd name="connsiteX907" fmla="*/ 7424 w 10785"/>
                <a:gd name="connsiteY907" fmla="*/ 2513 h 10000"/>
                <a:gd name="connsiteX908" fmla="*/ 7419 w 10785"/>
                <a:gd name="connsiteY908" fmla="*/ 2556 h 10000"/>
                <a:gd name="connsiteX909" fmla="*/ 7406 w 10785"/>
                <a:gd name="connsiteY909" fmla="*/ 2624 h 10000"/>
                <a:gd name="connsiteX910" fmla="*/ 7392 w 10785"/>
                <a:gd name="connsiteY910" fmla="*/ 2624 h 10000"/>
                <a:gd name="connsiteX911" fmla="*/ 7373 w 10785"/>
                <a:gd name="connsiteY911" fmla="*/ 2650 h 10000"/>
                <a:gd name="connsiteX912" fmla="*/ 7364 w 10785"/>
                <a:gd name="connsiteY912" fmla="*/ 2684 h 10000"/>
                <a:gd name="connsiteX913" fmla="*/ 7364 w 10785"/>
                <a:gd name="connsiteY913" fmla="*/ 2692 h 10000"/>
                <a:gd name="connsiteX914" fmla="*/ 7373 w 10785"/>
                <a:gd name="connsiteY914" fmla="*/ 2718 h 10000"/>
                <a:gd name="connsiteX915" fmla="*/ 7373 w 10785"/>
                <a:gd name="connsiteY915" fmla="*/ 2744 h 10000"/>
                <a:gd name="connsiteX916" fmla="*/ 7359 w 10785"/>
                <a:gd name="connsiteY916" fmla="*/ 2744 h 10000"/>
                <a:gd name="connsiteX917" fmla="*/ 7359 w 10785"/>
                <a:gd name="connsiteY917" fmla="*/ 2795 h 10000"/>
                <a:gd name="connsiteX918" fmla="*/ 7364 w 10785"/>
                <a:gd name="connsiteY918" fmla="*/ 2821 h 10000"/>
                <a:gd name="connsiteX919" fmla="*/ 7378 w 10785"/>
                <a:gd name="connsiteY919" fmla="*/ 2846 h 10000"/>
                <a:gd name="connsiteX920" fmla="*/ 7378 w 10785"/>
                <a:gd name="connsiteY920" fmla="*/ 2855 h 10000"/>
                <a:gd name="connsiteX921" fmla="*/ 7378 w 10785"/>
                <a:gd name="connsiteY921" fmla="*/ 2880 h 10000"/>
                <a:gd name="connsiteX922" fmla="*/ 7378 w 10785"/>
                <a:gd name="connsiteY922" fmla="*/ 2906 h 10000"/>
                <a:gd name="connsiteX923" fmla="*/ 7364 w 10785"/>
                <a:gd name="connsiteY923" fmla="*/ 2906 h 10000"/>
                <a:gd name="connsiteX924" fmla="*/ 7346 w 10785"/>
                <a:gd name="connsiteY924" fmla="*/ 2880 h 10000"/>
                <a:gd name="connsiteX925" fmla="*/ 7332 w 10785"/>
                <a:gd name="connsiteY925" fmla="*/ 2915 h 10000"/>
                <a:gd name="connsiteX926" fmla="*/ 7318 w 10785"/>
                <a:gd name="connsiteY926" fmla="*/ 2906 h 10000"/>
                <a:gd name="connsiteX927" fmla="*/ 7313 w 10785"/>
                <a:gd name="connsiteY927" fmla="*/ 2915 h 10000"/>
                <a:gd name="connsiteX928" fmla="*/ 7313 w 10785"/>
                <a:gd name="connsiteY928" fmla="*/ 2906 h 10000"/>
                <a:gd name="connsiteX929" fmla="*/ 7286 w 10785"/>
                <a:gd name="connsiteY929" fmla="*/ 2940 h 10000"/>
                <a:gd name="connsiteX930" fmla="*/ 7276 w 10785"/>
                <a:gd name="connsiteY930" fmla="*/ 2966 h 10000"/>
                <a:gd name="connsiteX931" fmla="*/ 7272 w 10785"/>
                <a:gd name="connsiteY931" fmla="*/ 2983 h 10000"/>
                <a:gd name="connsiteX932" fmla="*/ 7267 w 10785"/>
                <a:gd name="connsiteY932" fmla="*/ 3009 h 10000"/>
                <a:gd name="connsiteX933" fmla="*/ 7253 w 10785"/>
                <a:gd name="connsiteY933" fmla="*/ 3009 h 10000"/>
                <a:gd name="connsiteX934" fmla="*/ 7244 w 10785"/>
                <a:gd name="connsiteY934" fmla="*/ 3017 h 10000"/>
                <a:gd name="connsiteX935" fmla="*/ 7240 w 10785"/>
                <a:gd name="connsiteY935" fmla="*/ 3009 h 10000"/>
                <a:gd name="connsiteX936" fmla="*/ 7230 w 10785"/>
                <a:gd name="connsiteY936" fmla="*/ 2991 h 10000"/>
                <a:gd name="connsiteX937" fmla="*/ 7226 w 10785"/>
                <a:gd name="connsiteY937" fmla="*/ 2983 h 10000"/>
                <a:gd name="connsiteX938" fmla="*/ 7226 w 10785"/>
                <a:gd name="connsiteY938" fmla="*/ 2966 h 10000"/>
                <a:gd name="connsiteX939" fmla="*/ 7212 w 10785"/>
                <a:gd name="connsiteY939" fmla="*/ 2957 h 10000"/>
                <a:gd name="connsiteX940" fmla="*/ 7212 w 10785"/>
                <a:gd name="connsiteY940" fmla="*/ 2932 h 10000"/>
                <a:gd name="connsiteX941" fmla="*/ 7198 w 10785"/>
                <a:gd name="connsiteY941" fmla="*/ 2915 h 10000"/>
                <a:gd name="connsiteX942" fmla="*/ 7194 w 10785"/>
                <a:gd name="connsiteY942" fmla="*/ 2915 h 10000"/>
                <a:gd name="connsiteX943" fmla="*/ 7157 w 10785"/>
                <a:gd name="connsiteY943" fmla="*/ 2880 h 10000"/>
                <a:gd name="connsiteX944" fmla="*/ 7138 w 10785"/>
                <a:gd name="connsiteY944" fmla="*/ 2880 h 10000"/>
                <a:gd name="connsiteX945" fmla="*/ 7120 w 10785"/>
                <a:gd name="connsiteY945" fmla="*/ 2872 h 10000"/>
                <a:gd name="connsiteX946" fmla="*/ 7111 w 10785"/>
                <a:gd name="connsiteY946" fmla="*/ 2846 h 10000"/>
                <a:gd name="connsiteX947" fmla="*/ 7106 w 10785"/>
                <a:gd name="connsiteY947" fmla="*/ 2846 h 10000"/>
                <a:gd name="connsiteX948" fmla="*/ 7092 w 10785"/>
                <a:gd name="connsiteY948" fmla="*/ 2829 h 10000"/>
                <a:gd name="connsiteX949" fmla="*/ 7051 w 10785"/>
                <a:gd name="connsiteY949" fmla="*/ 2829 h 10000"/>
                <a:gd name="connsiteX950" fmla="*/ 7037 w 10785"/>
                <a:gd name="connsiteY950" fmla="*/ 2880 h 10000"/>
                <a:gd name="connsiteX951" fmla="*/ 7037 w 10785"/>
                <a:gd name="connsiteY951" fmla="*/ 2906 h 10000"/>
                <a:gd name="connsiteX952" fmla="*/ 7037 w 10785"/>
                <a:gd name="connsiteY952" fmla="*/ 2932 h 10000"/>
                <a:gd name="connsiteX953" fmla="*/ 7037 w 10785"/>
                <a:gd name="connsiteY953" fmla="*/ 2940 h 10000"/>
                <a:gd name="connsiteX954" fmla="*/ 7023 w 10785"/>
                <a:gd name="connsiteY954" fmla="*/ 2906 h 10000"/>
                <a:gd name="connsiteX955" fmla="*/ 7023 w 10785"/>
                <a:gd name="connsiteY955" fmla="*/ 2915 h 10000"/>
                <a:gd name="connsiteX956" fmla="*/ 6991 w 10785"/>
                <a:gd name="connsiteY956" fmla="*/ 2906 h 10000"/>
                <a:gd name="connsiteX957" fmla="*/ 6977 w 10785"/>
                <a:gd name="connsiteY957" fmla="*/ 2915 h 10000"/>
                <a:gd name="connsiteX958" fmla="*/ 6963 w 10785"/>
                <a:gd name="connsiteY958" fmla="*/ 2915 h 10000"/>
                <a:gd name="connsiteX959" fmla="*/ 6949 w 10785"/>
                <a:gd name="connsiteY959" fmla="*/ 2872 h 10000"/>
                <a:gd name="connsiteX960" fmla="*/ 6935 w 10785"/>
                <a:gd name="connsiteY960" fmla="*/ 2855 h 10000"/>
                <a:gd name="connsiteX961" fmla="*/ 6922 w 10785"/>
                <a:gd name="connsiteY961" fmla="*/ 2803 h 10000"/>
                <a:gd name="connsiteX962" fmla="*/ 6917 w 10785"/>
                <a:gd name="connsiteY962" fmla="*/ 2786 h 10000"/>
                <a:gd name="connsiteX963" fmla="*/ 6903 w 10785"/>
                <a:gd name="connsiteY963" fmla="*/ 2709 h 10000"/>
                <a:gd name="connsiteX964" fmla="*/ 6903 w 10785"/>
                <a:gd name="connsiteY964" fmla="*/ 2692 h 10000"/>
                <a:gd name="connsiteX965" fmla="*/ 6899 w 10785"/>
                <a:gd name="connsiteY965" fmla="*/ 2709 h 10000"/>
                <a:gd name="connsiteX966" fmla="*/ 6857 w 10785"/>
                <a:gd name="connsiteY966" fmla="*/ 2872 h 10000"/>
                <a:gd name="connsiteX967" fmla="*/ 6857 w 10785"/>
                <a:gd name="connsiteY967" fmla="*/ 3009 h 10000"/>
                <a:gd name="connsiteX968" fmla="*/ 6848 w 10785"/>
                <a:gd name="connsiteY968" fmla="*/ 3017 h 10000"/>
                <a:gd name="connsiteX969" fmla="*/ 6839 w 10785"/>
                <a:gd name="connsiteY969" fmla="*/ 3068 h 10000"/>
                <a:gd name="connsiteX970" fmla="*/ 6829 w 10785"/>
                <a:gd name="connsiteY970" fmla="*/ 3077 h 10000"/>
                <a:gd name="connsiteX971" fmla="*/ 6829 w 10785"/>
                <a:gd name="connsiteY971" fmla="*/ 3128 h 10000"/>
                <a:gd name="connsiteX972" fmla="*/ 6816 w 10785"/>
                <a:gd name="connsiteY972" fmla="*/ 3154 h 10000"/>
                <a:gd name="connsiteX973" fmla="*/ 6811 w 10785"/>
                <a:gd name="connsiteY973" fmla="*/ 3179 h 10000"/>
                <a:gd name="connsiteX974" fmla="*/ 6797 w 10785"/>
                <a:gd name="connsiteY974" fmla="*/ 3171 h 10000"/>
                <a:gd name="connsiteX975" fmla="*/ 6783 w 10785"/>
                <a:gd name="connsiteY975" fmla="*/ 3103 h 10000"/>
                <a:gd name="connsiteX976" fmla="*/ 6779 w 10785"/>
                <a:gd name="connsiteY976" fmla="*/ 3094 h 10000"/>
                <a:gd name="connsiteX977" fmla="*/ 6779 w 10785"/>
                <a:gd name="connsiteY977" fmla="*/ 3120 h 10000"/>
                <a:gd name="connsiteX978" fmla="*/ 6770 w 10785"/>
                <a:gd name="connsiteY978" fmla="*/ 3128 h 10000"/>
                <a:gd name="connsiteX979" fmla="*/ 6765 w 10785"/>
                <a:gd name="connsiteY979" fmla="*/ 3103 h 10000"/>
                <a:gd name="connsiteX980" fmla="*/ 6756 w 10785"/>
                <a:gd name="connsiteY980" fmla="*/ 3103 h 10000"/>
                <a:gd name="connsiteX981" fmla="*/ 6742 w 10785"/>
                <a:gd name="connsiteY981" fmla="*/ 3103 h 10000"/>
                <a:gd name="connsiteX982" fmla="*/ 6737 w 10785"/>
                <a:gd name="connsiteY982" fmla="*/ 3077 h 10000"/>
                <a:gd name="connsiteX983" fmla="*/ 6737 w 10785"/>
                <a:gd name="connsiteY983" fmla="*/ 3068 h 10000"/>
                <a:gd name="connsiteX984" fmla="*/ 6728 w 10785"/>
                <a:gd name="connsiteY984" fmla="*/ 3043 h 10000"/>
                <a:gd name="connsiteX985" fmla="*/ 6724 w 10785"/>
                <a:gd name="connsiteY985" fmla="*/ 3051 h 10000"/>
                <a:gd name="connsiteX986" fmla="*/ 6714 w 10785"/>
                <a:gd name="connsiteY986" fmla="*/ 3043 h 10000"/>
                <a:gd name="connsiteX987" fmla="*/ 6710 w 10785"/>
                <a:gd name="connsiteY987" fmla="*/ 3034 h 10000"/>
                <a:gd name="connsiteX988" fmla="*/ 6705 w 10785"/>
                <a:gd name="connsiteY988" fmla="*/ 2983 h 10000"/>
                <a:gd name="connsiteX989" fmla="*/ 6696 w 10785"/>
                <a:gd name="connsiteY989" fmla="*/ 2966 h 10000"/>
                <a:gd name="connsiteX990" fmla="*/ 6691 w 10785"/>
                <a:gd name="connsiteY990" fmla="*/ 2983 h 10000"/>
                <a:gd name="connsiteX991" fmla="*/ 6677 w 10785"/>
                <a:gd name="connsiteY991" fmla="*/ 2897 h 10000"/>
                <a:gd name="connsiteX992" fmla="*/ 6677 w 10785"/>
                <a:gd name="connsiteY992" fmla="*/ 2897 h 10000"/>
                <a:gd name="connsiteX993" fmla="*/ 6677 w 10785"/>
                <a:gd name="connsiteY993" fmla="*/ 2872 h 10000"/>
                <a:gd name="connsiteX994" fmla="*/ 6668 w 10785"/>
                <a:gd name="connsiteY994" fmla="*/ 2821 h 10000"/>
                <a:gd name="connsiteX995" fmla="*/ 6664 w 10785"/>
                <a:gd name="connsiteY995" fmla="*/ 2829 h 10000"/>
                <a:gd name="connsiteX996" fmla="*/ 6654 w 10785"/>
                <a:gd name="connsiteY996" fmla="*/ 2846 h 10000"/>
                <a:gd name="connsiteX997" fmla="*/ 6650 w 10785"/>
                <a:gd name="connsiteY997" fmla="*/ 2829 h 10000"/>
                <a:gd name="connsiteX998" fmla="*/ 6650 w 10785"/>
                <a:gd name="connsiteY998" fmla="*/ 2803 h 10000"/>
                <a:gd name="connsiteX999" fmla="*/ 6650 w 10785"/>
                <a:gd name="connsiteY999" fmla="*/ 2795 h 10000"/>
                <a:gd name="connsiteX1000" fmla="*/ 6641 w 10785"/>
                <a:gd name="connsiteY1000" fmla="*/ 2786 h 10000"/>
                <a:gd name="connsiteX1001" fmla="*/ 6636 w 10785"/>
                <a:gd name="connsiteY1001" fmla="*/ 2735 h 10000"/>
                <a:gd name="connsiteX1002" fmla="*/ 6664 w 10785"/>
                <a:gd name="connsiteY1002" fmla="*/ 2667 h 10000"/>
                <a:gd name="connsiteX1003" fmla="*/ 6668 w 10785"/>
                <a:gd name="connsiteY1003" fmla="*/ 2684 h 10000"/>
                <a:gd name="connsiteX1004" fmla="*/ 6677 w 10785"/>
                <a:gd name="connsiteY1004" fmla="*/ 2667 h 10000"/>
                <a:gd name="connsiteX1005" fmla="*/ 6668 w 10785"/>
                <a:gd name="connsiteY1005" fmla="*/ 2667 h 10000"/>
                <a:gd name="connsiteX1006" fmla="*/ 6668 w 10785"/>
                <a:gd name="connsiteY1006" fmla="*/ 2650 h 10000"/>
                <a:gd name="connsiteX1007" fmla="*/ 6682 w 10785"/>
                <a:gd name="connsiteY1007" fmla="*/ 2650 h 10000"/>
                <a:gd name="connsiteX1008" fmla="*/ 6691 w 10785"/>
                <a:gd name="connsiteY1008" fmla="*/ 2624 h 10000"/>
                <a:gd name="connsiteX1009" fmla="*/ 6682 w 10785"/>
                <a:gd name="connsiteY1009" fmla="*/ 2632 h 10000"/>
                <a:gd name="connsiteX1010" fmla="*/ 6682 w 10785"/>
                <a:gd name="connsiteY1010" fmla="*/ 2624 h 10000"/>
                <a:gd name="connsiteX1011" fmla="*/ 6691 w 10785"/>
                <a:gd name="connsiteY1011" fmla="*/ 2607 h 10000"/>
                <a:gd name="connsiteX1012" fmla="*/ 6691 w 10785"/>
                <a:gd name="connsiteY1012" fmla="*/ 2598 h 10000"/>
                <a:gd name="connsiteX1013" fmla="*/ 6691 w 10785"/>
                <a:gd name="connsiteY1013" fmla="*/ 2581 h 10000"/>
                <a:gd name="connsiteX1014" fmla="*/ 6696 w 10785"/>
                <a:gd name="connsiteY1014" fmla="*/ 2530 h 10000"/>
                <a:gd name="connsiteX1015" fmla="*/ 6677 w 10785"/>
                <a:gd name="connsiteY1015" fmla="*/ 2513 h 10000"/>
                <a:gd name="connsiteX1016" fmla="*/ 6677 w 10785"/>
                <a:gd name="connsiteY1016" fmla="*/ 2496 h 10000"/>
                <a:gd name="connsiteX1017" fmla="*/ 6682 w 10785"/>
                <a:gd name="connsiteY1017" fmla="*/ 2470 h 10000"/>
                <a:gd name="connsiteX1018" fmla="*/ 6668 w 10785"/>
                <a:gd name="connsiteY1018" fmla="*/ 2462 h 10000"/>
                <a:gd name="connsiteX1019" fmla="*/ 6677 w 10785"/>
                <a:gd name="connsiteY1019" fmla="*/ 2436 h 10000"/>
                <a:gd name="connsiteX1020" fmla="*/ 6682 w 10785"/>
                <a:gd name="connsiteY1020" fmla="*/ 2419 h 10000"/>
                <a:gd name="connsiteX1021" fmla="*/ 6682 w 10785"/>
                <a:gd name="connsiteY1021" fmla="*/ 2393 h 10000"/>
                <a:gd name="connsiteX1022" fmla="*/ 6682 w 10785"/>
                <a:gd name="connsiteY1022" fmla="*/ 2385 h 10000"/>
                <a:gd name="connsiteX1023" fmla="*/ 6682 w 10785"/>
                <a:gd name="connsiteY1023" fmla="*/ 2385 h 10000"/>
                <a:gd name="connsiteX1024" fmla="*/ 6677 w 10785"/>
                <a:gd name="connsiteY1024" fmla="*/ 2376 h 10000"/>
                <a:gd name="connsiteX1025" fmla="*/ 6682 w 10785"/>
                <a:gd name="connsiteY1025" fmla="*/ 2359 h 10000"/>
                <a:gd name="connsiteX1026" fmla="*/ 6677 w 10785"/>
                <a:gd name="connsiteY1026" fmla="*/ 2333 h 10000"/>
                <a:gd name="connsiteX1027" fmla="*/ 6691 w 10785"/>
                <a:gd name="connsiteY1027" fmla="*/ 2333 h 10000"/>
                <a:gd name="connsiteX1028" fmla="*/ 6691 w 10785"/>
                <a:gd name="connsiteY1028" fmla="*/ 2325 h 10000"/>
                <a:gd name="connsiteX1029" fmla="*/ 6691 w 10785"/>
                <a:gd name="connsiteY1029" fmla="*/ 2308 h 10000"/>
                <a:gd name="connsiteX1030" fmla="*/ 6691 w 10785"/>
                <a:gd name="connsiteY1030" fmla="*/ 2299 h 10000"/>
                <a:gd name="connsiteX1031" fmla="*/ 6691 w 10785"/>
                <a:gd name="connsiteY1031" fmla="*/ 2282 h 10000"/>
                <a:gd name="connsiteX1032" fmla="*/ 6691 w 10785"/>
                <a:gd name="connsiteY1032" fmla="*/ 2274 h 10000"/>
                <a:gd name="connsiteX1033" fmla="*/ 6668 w 10785"/>
                <a:gd name="connsiteY1033" fmla="*/ 2248 h 10000"/>
                <a:gd name="connsiteX1034" fmla="*/ 6664 w 10785"/>
                <a:gd name="connsiteY1034" fmla="*/ 2222 h 10000"/>
                <a:gd name="connsiteX1035" fmla="*/ 6654 w 10785"/>
                <a:gd name="connsiteY1035" fmla="*/ 2214 h 10000"/>
                <a:gd name="connsiteX1036" fmla="*/ 6654 w 10785"/>
                <a:gd name="connsiteY1036" fmla="*/ 2188 h 10000"/>
                <a:gd name="connsiteX1037" fmla="*/ 6622 w 10785"/>
                <a:gd name="connsiteY1037" fmla="*/ 2162 h 10000"/>
                <a:gd name="connsiteX1038" fmla="*/ 6631 w 10785"/>
                <a:gd name="connsiteY1038" fmla="*/ 2145 h 10000"/>
                <a:gd name="connsiteX1039" fmla="*/ 6622 w 10785"/>
                <a:gd name="connsiteY1039" fmla="*/ 2120 h 10000"/>
                <a:gd name="connsiteX1040" fmla="*/ 6608 w 10785"/>
                <a:gd name="connsiteY1040" fmla="*/ 2120 h 10000"/>
                <a:gd name="connsiteX1041" fmla="*/ 6604 w 10785"/>
                <a:gd name="connsiteY1041" fmla="*/ 2111 h 10000"/>
                <a:gd name="connsiteX1042" fmla="*/ 6608 w 10785"/>
                <a:gd name="connsiteY1042" fmla="*/ 2111 h 10000"/>
                <a:gd name="connsiteX1043" fmla="*/ 6604 w 10785"/>
                <a:gd name="connsiteY1043" fmla="*/ 2085 h 10000"/>
                <a:gd name="connsiteX1044" fmla="*/ 6581 w 10785"/>
                <a:gd name="connsiteY1044" fmla="*/ 2077 h 10000"/>
                <a:gd name="connsiteX1045" fmla="*/ 6571 w 10785"/>
                <a:gd name="connsiteY1045" fmla="*/ 2085 h 10000"/>
                <a:gd name="connsiteX1046" fmla="*/ 6548 w 10785"/>
                <a:gd name="connsiteY1046" fmla="*/ 2077 h 10000"/>
                <a:gd name="connsiteX1047" fmla="*/ 6530 w 10785"/>
                <a:gd name="connsiteY1047" fmla="*/ 2060 h 10000"/>
                <a:gd name="connsiteX1048" fmla="*/ 6521 w 10785"/>
                <a:gd name="connsiteY1048" fmla="*/ 2060 h 10000"/>
                <a:gd name="connsiteX1049" fmla="*/ 6521 w 10785"/>
                <a:gd name="connsiteY1049" fmla="*/ 2085 h 10000"/>
                <a:gd name="connsiteX1050" fmla="*/ 6516 w 10785"/>
                <a:gd name="connsiteY1050" fmla="*/ 2085 h 10000"/>
                <a:gd name="connsiteX1051" fmla="*/ 6502 w 10785"/>
                <a:gd name="connsiteY1051" fmla="*/ 2111 h 10000"/>
                <a:gd name="connsiteX1052" fmla="*/ 6498 w 10785"/>
                <a:gd name="connsiteY1052" fmla="*/ 2111 h 10000"/>
                <a:gd name="connsiteX1053" fmla="*/ 6498 w 10785"/>
                <a:gd name="connsiteY1053" fmla="*/ 2103 h 10000"/>
                <a:gd name="connsiteX1054" fmla="*/ 6475 w 10785"/>
                <a:gd name="connsiteY1054" fmla="*/ 2051 h 10000"/>
                <a:gd name="connsiteX1055" fmla="*/ 6470 w 10785"/>
                <a:gd name="connsiteY1055" fmla="*/ 2060 h 10000"/>
                <a:gd name="connsiteX1056" fmla="*/ 6456 w 10785"/>
                <a:gd name="connsiteY1056" fmla="*/ 2051 h 10000"/>
                <a:gd name="connsiteX1057" fmla="*/ 6447 w 10785"/>
                <a:gd name="connsiteY1057" fmla="*/ 2051 h 10000"/>
                <a:gd name="connsiteX1058" fmla="*/ 6433 w 10785"/>
                <a:gd name="connsiteY1058" fmla="*/ 2026 h 10000"/>
                <a:gd name="connsiteX1059" fmla="*/ 6433 w 10785"/>
                <a:gd name="connsiteY1059" fmla="*/ 2034 h 10000"/>
                <a:gd name="connsiteX1060" fmla="*/ 6429 w 10785"/>
                <a:gd name="connsiteY1060" fmla="*/ 2026 h 10000"/>
                <a:gd name="connsiteX1061" fmla="*/ 6424 w 10785"/>
                <a:gd name="connsiteY1061" fmla="*/ 2034 h 10000"/>
                <a:gd name="connsiteX1062" fmla="*/ 6410 w 10785"/>
                <a:gd name="connsiteY1062" fmla="*/ 2026 h 10000"/>
                <a:gd name="connsiteX1063" fmla="*/ 6410 w 10785"/>
                <a:gd name="connsiteY1063" fmla="*/ 1991 h 10000"/>
                <a:gd name="connsiteX1064" fmla="*/ 6401 w 10785"/>
                <a:gd name="connsiteY1064" fmla="*/ 1991 h 10000"/>
                <a:gd name="connsiteX1065" fmla="*/ 6396 w 10785"/>
                <a:gd name="connsiteY1065" fmla="*/ 2000 h 10000"/>
                <a:gd name="connsiteX1066" fmla="*/ 6382 w 10785"/>
                <a:gd name="connsiteY1066" fmla="*/ 1966 h 10000"/>
                <a:gd name="connsiteX1067" fmla="*/ 6373 w 10785"/>
                <a:gd name="connsiteY1067" fmla="*/ 1974 h 10000"/>
                <a:gd name="connsiteX1068" fmla="*/ 6369 w 10785"/>
                <a:gd name="connsiteY1068" fmla="*/ 1966 h 10000"/>
                <a:gd name="connsiteX1069" fmla="*/ 6341 w 10785"/>
                <a:gd name="connsiteY1069" fmla="*/ 1949 h 10000"/>
                <a:gd name="connsiteX1070" fmla="*/ 6327 w 10785"/>
                <a:gd name="connsiteY1070" fmla="*/ 1923 h 10000"/>
                <a:gd name="connsiteX1071" fmla="*/ 6323 w 10785"/>
                <a:gd name="connsiteY1071" fmla="*/ 1923 h 10000"/>
                <a:gd name="connsiteX1072" fmla="*/ 6323 w 10785"/>
                <a:gd name="connsiteY1072" fmla="*/ 1966 h 10000"/>
                <a:gd name="connsiteX1073" fmla="*/ 6323 w 10785"/>
                <a:gd name="connsiteY1073" fmla="*/ 1991 h 10000"/>
                <a:gd name="connsiteX1074" fmla="*/ 6313 w 10785"/>
                <a:gd name="connsiteY1074" fmla="*/ 1991 h 10000"/>
                <a:gd name="connsiteX1075" fmla="*/ 6300 w 10785"/>
                <a:gd name="connsiteY1075" fmla="*/ 1991 h 10000"/>
                <a:gd name="connsiteX1076" fmla="*/ 6290 w 10785"/>
                <a:gd name="connsiteY1076" fmla="*/ 1949 h 10000"/>
                <a:gd name="connsiteX1077" fmla="*/ 6276 w 10785"/>
                <a:gd name="connsiteY1077" fmla="*/ 2103 h 10000"/>
                <a:gd name="connsiteX1078" fmla="*/ 6281 w 10785"/>
                <a:gd name="connsiteY1078" fmla="*/ 2103 h 10000"/>
                <a:gd name="connsiteX1079" fmla="*/ 6276 w 10785"/>
                <a:gd name="connsiteY1079" fmla="*/ 2111 h 10000"/>
                <a:gd name="connsiteX1080" fmla="*/ 6276 w 10785"/>
                <a:gd name="connsiteY1080" fmla="*/ 2120 h 10000"/>
                <a:gd name="connsiteX1081" fmla="*/ 6295 w 10785"/>
                <a:gd name="connsiteY1081" fmla="*/ 2239 h 10000"/>
                <a:gd name="connsiteX1082" fmla="*/ 6290 w 10785"/>
                <a:gd name="connsiteY1082" fmla="*/ 2248 h 10000"/>
                <a:gd name="connsiteX1083" fmla="*/ 6281 w 10785"/>
                <a:gd name="connsiteY1083" fmla="*/ 2274 h 10000"/>
                <a:gd name="connsiteX1084" fmla="*/ 6249 w 10785"/>
                <a:gd name="connsiteY1084" fmla="*/ 2274 h 10000"/>
                <a:gd name="connsiteX1085" fmla="*/ 6226 w 10785"/>
                <a:gd name="connsiteY1085" fmla="*/ 2308 h 10000"/>
                <a:gd name="connsiteX1086" fmla="*/ 6221 w 10785"/>
                <a:gd name="connsiteY1086" fmla="*/ 2299 h 10000"/>
                <a:gd name="connsiteX1087" fmla="*/ 6221 w 10785"/>
                <a:gd name="connsiteY1087" fmla="*/ 2308 h 10000"/>
                <a:gd name="connsiteX1088" fmla="*/ 6217 w 10785"/>
                <a:gd name="connsiteY1088" fmla="*/ 2299 h 10000"/>
                <a:gd name="connsiteX1089" fmla="*/ 6194 w 10785"/>
                <a:gd name="connsiteY1089" fmla="*/ 2308 h 10000"/>
                <a:gd name="connsiteX1090" fmla="*/ 6180 w 10785"/>
                <a:gd name="connsiteY1090" fmla="*/ 2299 h 10000"/>
                <a:gd name="connsiteX1091" fmla="*/ 6143 w 10785"/>
                <a:gd name="connsiteY1091" fmla="*/ 2308 h 10000"/>
                <a:gd name="connsiteX1092" fmla="*/ 6134 w 10785"/>
                <a:gd name="connsiteY1092" fmla="*/ 2325 h 10000"/>
                <a:gd name="connsiteX1093" fmla="*/ 6115 w 10785"/>
                <a:gd name="connsiteY1093" fmla="*/ 2282 h 10000"/>
                <a:gd name="connsiteX1094" fmla="*/ 6069 w 10785"/>
                <a:gd name="connsiteY1094" fmla="*/ 2274 h 10000"/>
                <a:gd name="connsiteX1095" fmla="*/ 6069 w 10785"/>
                <a:gd name="connsiteY1095" fmla="*/ 2282 h 10000"/>
                <a:gd name="connsiteX1096" fmla="*/ 6060 w 10785"/>
                <a:gd name="connsiteY1096" fmla="*/ 2299 h 10000"/>
                <a:gd name="connsiteX1097" fmla="*/ 5972 w 10785"/>
                <a:gd name="connsiteY1097" fmla="*/ 2214 h 10000"/>
                <a:gd name="connsiteX1098" fmla="*/ 5968 w 10785"/>
                <a:gd name="connsiteY1098" fmla="*/ 2197 h 10000"/>
                <a:gd name="connsiteX1099" fmla="*/ 5968 w 10785"/>
                <a:gd name="connsiteY1099" fmla="*/ 2171 h 10000"/>
                <a:gd name="connsiteX1100" fmla="*/ 5968 w 10785"/>
                <a:gd name="connsiteY1100" fmla="*/ 2162 h 10000"/>
                <a:gd name="connsiteX1101" fmla="*/ 5968 w 10785"/>
                <a:gd name="connsiteY1101" fmla="*/ 2120 h 10000"/>
                <a:gd name="connsiteX1102" fmla="*/ 5968 w 10785"/>
                <a:gd name="connsiteY1102" fmla="*/ 2111 h 10000"/>
                <a:gd name="connsiteX1103" fmla="*/ 5972 w 10785"/>
                <a:gd name="connsiteY1103" fmla="*/ 2103 h 10000"/>
                <a:gd name="connsiteX1104" fmla="*/ 5986 w 10785"/>
                <a:gd name="connsiteY1104" fmla="*/ 2103 h 10000"/>
                <a:gd name="connsiteX1105" fmla="*/ 5986 w 10785"/>
                <a:gd name="connsiteY1105" fmla="*/ 2085 h 10000"/>
                <a:gd name="connsiteX1106" fmla="*/ 5995 w 10785"/>
                <a:gd name="connsiteY1106" fmla="*/ 2085 h 10000"/>
                <a:gd name="connsiteX1107" fmla="*/ 5995 w 10785"/>
                <a:gd name="connsiteY1107" fmla="*/ 2077 h 10000"/>
                <a:gd name="connsiteX1108" fmla="*/ 5986 w 10785"/>
                <a:gd name="connsiteY1108" fmla="*/ 2060 h 10000"/>
                <a:gd name="connsiteX1109" fmla="*/ 5954 w 10785"/>
                <a:gd name="connsiteY1109" fmla="*/ 2060 h 10000"/>
                <a:gd name="connsiteX1110" fmla="*/ 5940 w 10785"/>
                <a:gd name="connsiteY1110" fmla="*/ 2051 h 10000"/>
                <a:gd name="connsiteX1111" fmla="*/ 5922 w 10785"/>
                <a:gd name="connsiteY1111" fmla="*/ 2060 h 10000"/>
                <a:gd name="connsiteX1112" fmla="*/ 5885 w 10785"/>
                <a:gd name="connsiteY1112" fmla="*/ 2051 h 10000"/>
                <a:gd name="connsiteX1113" fmla="*/ 5876 w 10785"/>
                <a:gd name="connsiteY1113" fmla="*/ 2026 h 10000"/>
                <a:gd name="connsiteX1114" fmla="*/ 5862 w 10785"/>
                <a:gd name="connsiteY1114" fmla="*/ 2026 h 10000"/>
                <a:gd name="connsiteX1115" fmla="*/ 5848 w 10785"/>
                <a:gd name="connsiteY1115" fmla="*/ 2026 h 10000"/>
                <a:gd name="connsiteX1116" fmla="*/ 5825 w 10785"/>
                <a:gd name="connsiteY1116" fmla="*/ 2026 h 10000"/>
                <a:gd name="connsiteX1117" fmla="*/ 5788 w 10785"/>
                <a:gd name="connsiteY1117" fmla="*/ 1991 h 10000"/>
                <a:gd name="connsiteX1118" fmla="*/ 5760 w 10785"/>
                <a:gd name="connsiteY1118" fmla="*/ 2000 h 10000"/>
                <a:gd name="connsiteX1119" fmla="*/ 5760 w 10785"/>
                <a:gd name="connsiteY1119" fmla="*/ 2026 h 10000"/>
                <a:gd name="connsiteX1120" fmla="*/ 5714 w 10785"/>
                <a:gd name="connsiteY1120" fmla="*/ 2051 h 10000"/>
                <a:gd name="connsiteX1121" fmla="*/ 5687 w 10785"/>
                <a:gd name="connsiteY1121" fmla="*/ 2034 h 10000"/>
                <a:gd name="connsiteX1122" fmla="*/ 5645 w 10785"/>
                <a:gd name="connsiteY1122" fmla="*/ 2077 h 10000"/>
                <a:gd name="connsiteX1123" fmla="*/ 5664 w 10785"/>
                <a:gd name="connsiteY1123" fmla="*/ 2120 h 10000"/>
                <a:gd name="connsiteX1124" fmla="*/ 5664 w 10785"/>
                <a:gd name="connsiteY1124" fmla="*/ 2162 h 10000"/>
                <a:gd name="connsiteX1125" fmla="*/ 5631 w 10785"/>
                <a:gd name="connsiteY1125" fmla="*/ 2197 h 10000"/>
                <a:gd name="connsiteX1126" fmla="*/ 5618 w 10785"/>
                <a:gd name="connsiteY1126" fmla="*/ 2188 h 10000"/>
                <a:gd name="connsiteX1127" fmla="*/ 5618 w 10785"/>
                <a:gd name="connsiteY1127" fmla="*/ 2171 h 10000"/>
                <a:gd name="connsiteX1128" fmla="*/ 5641 w 10785"/>
                <a:gd name="connsiteY1128" fmla="*/ 2171 h 10000"/>
                <a:gd name="connsiteX1129" fmla="*/ 5641 w 10785"/>
                <a:gd name="connsiteY1129" fmla="*/ 2162 h 10000"/>
                <a:gd name="connsiteX1130" fmla="*/ 5627 w 10785"/>
                <a:gd name="connsiteY1130" fmla="*/ 2145 h 10000"/>
                <a:gd name="connsiteX1131" fmla="*/ 5627 w 10785"/>
                <a:gd name="connsiteY1131" fmla="*/ 2120 h 10000"/>
                <a:gd name="connsiteX1132" fmla="*/ 5618 w 10785"/>
                <a:gd name="connsiteY1132" fmla="*/ 2111 h 10000"/>
                <a:gd name="connsiteX1133" fmla="*/ 5631 w 10785"/>
                <a:gd name="connsiteY1133" fmla="*/ 2051 h 10000"/>
                <a:gd name="connsiteX1134" fmla="*/ 5631 w 10785"/>
                <a:gd name="connsiteY1134" fmla="*/ 2026 h 10000"/>
                <a:gd name="connsiteX1135" fmla="*/ 5627 w 10785"/>
                <a:gd name="connsiteY1135" fmla="*/ 1991 h 10000"/>
                <a:gd name="connsiteX1136" fmla="*/ 5618 w 10785"/>
                <a:gd name="connsiteY1136" fmla="*/ 1974 h 10000"/>
                <a:gd name="connsiteX1137" fmla="*/ 5618 w 10785"/>
                <a:gd name="connsiteY1137" fmla="*/ 1940 h 10000"/>
                <a:gd name="connsiteX1138" fmla="*/ 5594 w 10785"/>
                <a:gd name="connsiteY1138" fmla="*/ 1855 h 10000"/>
                <a:gd name="connsiteX1139" fmla="*/ 5599 w 10785"/>
                <a:gd name="connsiteY1139" fmla="*/ 1915 h 10000"/>
                <a:gd name="connsiteX1140" fmla="*/ 5599 w 10785"/>
                <a:gd name="connsiteY1140" fmla="*/ 1949 h 10000"/>
                <a:gd name="connsiteX1141" fmla="*/ 5594 w 10785"/>
                <a:gd name="connsiteY1141" fmla="*/ 1991 h 10000"/>
                <a:gd name="connsiteX1142" fmla="*/ 5571 w 10785"/>
                <a:gd name="connsiteY1142" fmla="*/ 2000 h 10000"/>
                <a:gd name="connsiteX1143" fmla="*/ 5530 w 10785"/>
                <a:gd name="connsiteY1143" fmla="*/ 1991 h 10000"/>
                <a:gd name="connsiteX1144" fmla="*/ 5525 w 10785"/>
                <a:gd name="connsiteY1144" fmla="*/ 2000 h 10000"/>
                <a:gd name="connsiteX1145" fmla="*/ 5521 w 10785"/>
                <a:gd name="connsiteY1145" fmla="*/ 1991 h 10000"/>
                <a:gd name="connsiteX1146" fmla="*/ 5498 w 10785"/>
                <a:gd name="connsiteY1146" fmla="*/ 1949 h 10000"/>
                <a:gd name="connsiteX1147" fmla="*/ 5493 w 10785"/>
                <a:gd name="connsiteY1147" fmla="*/ 1889 h 10000"/>
                <a:gd name="connsiteX1148" fmla="*/ 5493 w 10785"/>
                <a:gd name="connsiteY1148" fmla="*/ 1863 h 10000"/>
                <a:gd name="connsiteX1149" fmla="*/ 5498 w 10785"/>
                <a:gd name="connsiteY1149" fmla="*/ 1889 h 10000"/>
                <a:gd name="connsiteX1150" fmla="*/ 5512 w 10785"/>
                <a:gd name="connsiteY1150" fmla="*/ 1855 h 10000"/>
                <a:gd name="connsiteX1151" fmla="*/ 5512 w 10785"/>
                <a:gd name="connsiteY1151" fmla="*/ 1838 h 10000"/>
                <a:gd name="connsiteX1152" fmla="*/ 5479 w 10785"/>
                <a:gd name="connsiteY1152" fmla="*/ 1855 h 10000"/>
                <a:gd name="connsiteX1153" fmla="*/ 5470 w 10785"/>
                <a:gd name="connsiteY1153" fmla="*/ 1872 h 10000"/>
                <a:gd name="connsiteX1154" fmla="*/ 5470 w 10785"/>
                <a:gd name="connsiteY1154" fmla="*/ 1889 h 10000"/>
                <a:gd name="connsiteX1155" fmla="*/ 5465 w 10785"/>
                <a:gd name="connsiteY1155" fmla="*/ 1897 h 10000"/>
                <a:gd name="connsiteX1156" fmla="*/ 5456 w 10785"/>
                <a:gd name="connsiteY1156" fmla="*/ 1872 h 10000"/>
                <a:gd name="connsiteX1157" fmla="*/ 5447 w 10785"/>
                <a:gd name="connsiteY1157" fmla="*/ 1872 h 10000"/>
                <a:gd name="connsiteX1158" fmla="*/ 5433 w 10785"/>
                <a:gd name="connsiteY1158" fmla="*/ 1855 h 10000"/>
                <a:gd name="connsiteX1159" fmla="*/ 5396 w 10785"/>
                <a:gd name="connsiteY1159" fmla="*/ 1863 h 10000"/>
                <a:gd name="connsiteX1160" fmla="*/ 5396 w 10785"/>
                <a:gd name="connsiteY1160" fmla="*/ 1897 h 10000"/>
                <a:gd name="connsiteX1161" fmla="*/ 5378 w 10785"/>
                <a:gd name="connsiteY1161" fmla="*/ 1949 h 10000"/>
                <a:gd name="connsiteX1162" fmla="*/ 5378 w 10785"/>
                <a:gd name="connsiteY1162" fmla="*/ 1966 h 10000"/>
                <a:gd name="connsiteX1163" fmla="*/ 5392 w 10785"/>
                <a:gd name="connsiteY1163" fmla="*/ 2026 h 10000"/>
                <a:gd name="connsiteX1164" fmla="*/ 5396 w 10785"/>
                <a:gd name="connsiteY1164" fmla="*/ 2026 h 10000"/>
                <a:gd name="connsiteX1165" fmla="*/ 5392 w 10785"/>
                <a:gd name="connsiteY1165" fmla="*/ 2009 h 10000"/>
                <a:gd name="connsiteX1166" fmla="*/ 5392 w 10785"/>
                <a:gd name="connsiteY1166" fmla="*/ 2000 h 10000"/>
                <a:gd name="connsiteX1167" fmla="*/ 5396 w 10785"/>
                <a:gd name="connsiteY1167" fmla="*/ 2009 h 10000"/>
                <a:gd name="connsiteX1168" fmla="*/ 5424 w 10785"/>
                <a:gd name="connsiteY1168" fmla="*/ 2009 h 10000"/>
                <a:gd name="connsiteX1169" fmla="*/ 5433 w 10785"/>
                <a:gd name="connsiteY1169" fmla="*/ 1991 h 10000"/>
                <a:gd name="connsiteX1170" fmla="*/ 5447 w 10785"/>
                <a:gd name="connsiteY1170" fmla="*/ 1974 h 10000"/>
                <a:gd name="connsiteX1171" fmla="*/ 5452 w 10785"/>
                <a:gd name="connsiteY1171" fmla="*/ 1966 h 10000"/>
                <a:gd name="connsiteX1172" fmla="*/ 5456 w 10785"/>
                <a:gd name="connsiteY1172" fmla="*/ 1966 h 10000"/>
                <a:gd name="connsiteX1173" fmla="*/ 5465 w 10785"/>
                <a:gd name="connsiteY1173" fmla="*/ 2009 h 10000"/>
                <a:gd name="connsiteX1174" fmla="*/ 5433 w 10785"/>
                <a:gd name="connsiteY1174" fmla="*/ 2034 h 10000"/>
                <a:gd name="connsiteX1175" fmla="*/ 5424 w 10785"/>
                <a:gd name="connsiteY1175" fmla="*/ 2060 h 10000"/>
                <a:gd name="connsiteX1176" fmla="*/ 5419 w 10785"/>
                <a:gd name="connsiteY1176" fmla="*/ 2060 h 10000"/>
                <a:gd name="connsiteX1177" fmla="*/ 5392 w 10785"/>
                <a:gd name="connsiteY1177" fmla="*/ 2111 h 10000"/>
                <a:gd name="connsiteX1178" fmla="*/ 5378 w 10785"/>
                <a:gd name="connsiteY1178" fmla="*/ 2111 h 10000"/>
                <a:gd name="connsiteX1179" fmla="*/ 5350 w 10785"/>
                <a:gd name="connsiteY1179" fmla="*/ 2060 h 10000"/>
                <a:gd name="connsiteX1180" fmla="*/ 5373 w 10785"/>
                <a:gd name="connsiteY1180" fmla="*/ 2111 h 10000"/>
                <a:gd name="connsiteX1181" fmla="*/ 5364 w 10785"/>
                <a:gd name="connsiteY1181" fmla="*/ 2111 h 10000"/>
                <a:gd name="connsiteX1182" fmla="*/ 5359 w 10785"/>
                <a:gd name="connsiteY1182" fmla="*/ 2103 h 10000"/>
                <a:gd name="connsiteX1183" fmla="*/ 5359 w 10785"/>
                <a:gd name="connsiteY1183" fmla="*/ 2120 h 10000"/>
                <a:gd name="connsiteX1184" fmla="*/ 5359 w 10785"/>
                <a:gd name="connsiteY1184" fmla="*/ 2137 h 10000"/>
                <a:gd name="connsiteX1185" fmla="*/ 5313 w 10785"/>
                <a:gd name="connsiteY1185" fmla="*/ 2162 h 10000"/>
                <a:gd name="connsiteX1186" fmla="*/ 5300 w 10785"/>
                <a:gd name="connsiteY1186" fmla="*/ 2162 h 10000"/>
                <a:gd name="connsiteX1187" fmla="*/ 5300 w 10785"/>
                <a:gd name="connsiteY1187" fmla="*/ 2171 h 10000"/>
                <a:gd name="connsiteX1188" fmla="*/ 5300 w 10785"/>
                <a:gd name="connsiteY1188" fmla="*/ 2197 h 10000"/>
                <a:gd name="connsiteX1189" fmla="*/ 5276 w 10785"/>
                <a:gd name="connsiteY1189" fmla="*/ 2188 h 10000"/>
                <a:gd name="connsiteX1190" fmla="*/ 5249 w 10785"/>
                <a:gd name="connsiteY1190" fmla="*/ 2222 h 10000"/>
                <a:gd name="connsiteX1191" fmla="*/ 5249 w 10785"/>
                <a:gd name="connsiteY1191" fmla="*/ 2222 h 10000"/>
                <a:gd name="connsiteX1192" fmla="*/ 5217 w 10785"/>
                <a:gd name="connsiteY1192" fmla="*/ 2214 h 10000"/>
                <a:gd name="connsiteX1193" fmla="*/ 5203 w 10785"/>
                <a:gd name="connsiteY1193" fmla="*/ 2239 h 10000"/>
                <a:gd name="connsiteX1194" fmla="*/ 5171 w 10785"/>
                <a:gd name="connsiteY1194" fmla="*/ 2214 h 10000"/>
                <a:gd name="connsiteX1195" fmla="*/ 5157 w 10785"/>
                <a:gd name="connsiteY1195" fmla="*/ 2239 h 10000"/>
                <a:gd name="connsiteX1196" fmla="*/ 5166 w 10785"/>
                <a:gd name="connsiteY1196" fmla="*/ 2256 h 10000"/>
                <a:gd name="connsiteX1197" fmla="*/ 5171 w 10785"/>
                <a:gd name="connsiteY1197" fmla="*/ 2308 h 10000"/>
                <a:gd name="connsiteX1198" fmla="*/ 5212 w 10785"/>
                <a:gd name="connsiteY1198" fmla="*/ 2350 h 10000"/>
                <a:gd name="connsiteX1199" fmla="*/ 5203 w 10785"/>
                <a:gd name="connsiteY1199" fmla="*/ 2350 h 10000"/>
                <a:gd name="connsiteX1200" fmla="*/ 5166 w 10785"/>
                <a:gd name="connsiteY1200" fmla="*/ 2325 h 10000"/>
                <a:gd name="connsiteX1201" fmla="*/ 5152 w 10785"/>
                <a:gd name="connsiteY1201" fmla="*/ 2308 h 10000"/>
                <a:gd name="connsiteX1202" fmla="*/ 5143 w 10785"/>
                <a:gd name="connsiteY1202" fmla="*/ 2333 h 10000"/>
                <a:gd name="connsiteX1203" fmla="*/ 5138 w 10785"/>
                <a:gd name="connsiteY1203" fmla="*/ 2333 h 10000"/>
                <a:gd name="connsiteX1204" fmla="*/ 5124 w 10785"/>
                <a:gd name="connsiteY1204" fmla="*/ 2376 h 10000"/>
                <a:gd name="connsiteX1205" fmla="*/ 5115 w 10785"/>
                <a:gd name="connsiteY1205" fmla="*/ 2385 h 10000"/>
                <a:gd name="connsiteX1206" fmla="*/ 5106 w 10785"/>
                <a:gd name="connsiteY1206" fmla="*/ 2385 h 10000"/>
                <a:gd name="connsiteX1207" fmla="*/ 5055 w 10785"/>
                <a:gd name="connsiteY1207" fmla="*/ 2470 h 10000"/>
                <a:gd name="connsiteX1208" fmla="*/ 5065 w 10785"/>
                <a:gd name="connsiteY1208" fmla="*/ 2462 h 10000"/>
                <a:gd name="connsiteX1209" fmla="*/ 5055 w 10785"/>
                <a:gd name="connsiteY1209" fmla="*/ 2444 h 10000"/>
                <a:gd name="connsiteX1210" fmla="*/ 5041 w 10785"/>
                <a:gd name="connsiteY1210" fmla="*/ 2462 h 10000"/>
                <a:gd name="connsiteX1211" fmla="*/ 5037 w 10785"/>
                <a:gd name="connsiteY1211" fmla="*/ 2470 h 10000"/>
                <a:gd name="connsiteX1212" fmla="*/ 5032 w 10785"/>
                <a:gd name="connsiteY1212" fmla="*/ 2470 h 10000"/>
                <a:gd name="connsiteX1213" fmla="*/ 5032 w 10785"/>
                <a:gd name="connsiteY1213" fmla="*/ 2444 h 10000"/>
                <a:gd name="connsiteX1214" fmla="*/ 5055 w 10785"/>
                <a:gd name="connsiteY1214" fmla="*/ 2410 h 10000"/>
                <a:gd name="connsiteX1215" fmla="*/ 5065 w 10785"/>
                <a:gd name="connsiteY1215" fmla="*/ 2393 h 10000"/>
                <a:gd name="connsiteX1216" fmla="*/ 5069 w 10785"/>
                <a:gd name="connsiteY1216" fmla="*/ 2385 h 10000"/>
                <a:gd name="connsiteX1217" fmla="*/ 5083 w 10785"/>
                <a:gd name="connsiteY1217" fmla="*/ 2376 h 10000"/>
                <a:gd name="connsiteX1218" fmla="*/ 5097 w 10785"/>
                <a:gd name="connsiteY1218" fmla="*/ 2376 h 10000"/>
                <a:gd name="connsiteX1219" fmla="*/ 5124 w 10785"/>
                <a:gd name="connsiteY1219" fmla="*/ 2325 h 10000"/>
                <a:gd name="connsiteX1220" fmla="*/ 5143 w 10785"/>
                <a:gd name="connsiteY1220" fmla="*/ 2248 h 10000"/>
                <a:gd name="connsiteX1221" fmla="*/ 5152 w 10785"/>
                <a:gd name="connsiteY1221" fmla="*/ 2239 h 10000"/>
                <a:gd name="connsiteX1222" fmla="*/ 5166 w 10785"/>
                <a:gd name="connsiteY1222" fmla="*/ 2162 h 10000"/>
                <a:gd name="connsiteX1223" fmla="*/ 5171 w 10785"/>
                <a:gd name="connsiteY1223" fmla="*/ 2171 h 10000"/>
                <a:gd name="connsiteX1224" fmla="*/ 5198 w 10785"/>
                <a:gd name="connsiteY1224" fmla="*/ 2145 h 10000"/>
                <a:gd name="connsiteX1225" fmla="*/ 5203 w 10785"/>
                <a:gd name="connsiteY1225" fmla="*/ 2111 h 10000"/>
                <a:gd name="connsiteX1226" fmla="*/ 5217 w 10785"/>
                <a:gd name="connsiteY1226" fmla="*/ 2060 h 10000"/>
                <a:gd name="connsiteX1227" fmla="*/ 5226 w 10785"/>
                <a:gd name="connsiteY1227" fmla="*/ 2026 h 10000"/>
                <a:gd name="connsiteX1228" fmla="*/ 5286 w 10785"/>
                <a:gd name="connsiteY1228" fmla="*/ 2026 h 10000"/>
                <a:gd name="connsiteX1229" fmla="*/ 5290 w 10785"/>
                <a:gd name="connsiteY1229" fmla="*/ 2034 h 10000"/>
                <a:gd name="connsiteX1230" fmla="*/ 5323 w 10785"/>
                <a:gd name="connsiteY1230" fmla="*/ 1923 h 10000"/>
                <a:gd name="connsiteX1231" fmla="*/ 5323 w 10785"/>
                <a:gd name="connsiteY1231" fmla="*/ 1889 h 10000"/>
                <a:gd name="connsiteX1232" fmla="*/ 5359 w 10785"/>
                <a:gd name="connsiteY1232" fmla="*/ 1829 h 10000"/>
                <a:gd name="connsiteX1233" fmla="*/ 5378 w 10785"/>
                <a:gd name="connsiteY1233" fmla="*/ 1812 h 10000"/>
                <a:gd name="connsiteX1234" fmla="*/ 5406 w 10785"/>
                <a:gd name="connsiteY1234" fmla="*/ 1752 h 10000"/>
                <a:gd name="connsiteX1235" fmla="*/ 5410 w 10785"/>
                <a:gd name="connsiteY1235" fmla="*/ 1718 h 10000"/>
                <a:gd name="connsiteX1236" fmla="*/ 5438 w 10785"/>
                <a:gd name="connsiteY1236" fmla="*/ 1667 h 10000"/>
                <a:gd name="connsiteX1237" fmla="*/ 5438 w 10785"/>
                <a:gd name="connsiteY1237" fmla="*/ 1650 h 10000"/>
                <a:gd name="connsiteX1238" fmla="*/ 5438 w 10785"/>
                <a:gd name="connsiteY1238" fmla="*/ 1641 h 10000"/>
                <a:gd name="connsiteX1239" fmla="*/ 5452 w 10785"/>
                <a:gd name="connsiteY1239" fmla="*/ 1641 h 10000"/>
                <a:gd name="connsiteX1240" fmla="*/ 5456 w 10785"/>
                <a:gd name="connsiteY1240" fmla="*/ 1615 h 10000"/>
                <a:gd name="connsiteX1241" fmla="*/ 5456 w 10785"/>
                <a:gd name="connsiteY1241" fmla="*/ 1615 h 10000"/>
                <a:gd name="connsiteX1242" fmla="*/ 5465 w 10785"/>
                <a:gd name="connsiteY1242" fmla="*/ 1598 h 10000"/>
                <a:gd name="connsiteX1243" fmla="*/ 5465 w 10785"/>
                <a:gd name="connsiteY1243" fmla="*/ 1615 h 10000"/>
                <a:gd name="connsiteX1244" fmla="*/ 5479 w 10785"/>
                <a:gd name="connsiteY1244" fmla="*/ 1598 h 10000"/>
                <a:gd name="connsiteX1245" fmla="*/ 5484 w 10785"/>
                <a:gd name="connsiteY1245" fmla="*/ 1581 h 10000"/>
                <a:gd name="connsiteX1246" fmla="*/ 5493 w 10785"/>
                <a:gd name="connsiteY1246" fmla="*/ 1581 h 10000"/>
                <a:gd name="connsiteX1247" fmla="*/ 5512 w 10785"/>
                <a:gd name="connsiteY1247" fmla="*/ 1538 h 10000"/>
                <a:gd name="connsiteX1248" fmla="*/ 5530 w 10785"/>
                <a:gd name="connsiteY1248" fmla="*/ 1564 h 10000"/>
                <a:gd name="connsiteX1249" fmla="*/ 5530 w 10785"/>
                <a:gd name="connsiteY1249" fmla="*/ 1538 h 10000"/>
                <a:gd name="connsiteX1250" fmla="*/ 5539 w 10785"/>
                <a:gd name="connsiteY1250" fmla="*/ 1530 h 10000"/>
                <a:gd name="connsiteX1251" fmla="*/ 5530 w 10785"/>
                <a:gd name="connsiteY1251" fmla="*/ 1504 h 10000"/>
                <a:gd name="connsiteX1252" fmla="*/ 5567 w 10785"/>
                <a:gd name="connsiteY1252" fmla="*/ 1479 h 10000"/>
                <a:gd name="connsiteX1253" fmla="*/ 5553 w 10785"/>
                <a:gd name="connsiteY1253" fmla="*/ 1479 h 10000"/>
                <a:gd name="connsiteX1254" fmla="*/ 5553 w 10785"/>
                <a:gd name="connsiteY1254" fmla="*/ 1453 h 10000"/>
                <a:gd name="connsiteX1255" fmla="*/ 5581 w 10785"/>
                <a:gd name="connsiteY1255" fmla="*/ 1444 h 10000"/>
                <a:gd name="connsiteX1256" fmla="*/ 5581 w 10785"/>
                <a:gd name="connsiteY1256" fmla="*/ 1453 h 10000"/>
                <a:gd name="connsiteX1257" fmla="*/ 5585 w 10785"/>
                <a:gd name="connsiteY1257" fmla="*/ 1444 h 10000"/>
                <a:gd name="connsiteX1258" fmla="*/ 5594 w 10785"/>
                <a:gd name="connsiteY1258" fmla="*/ 1427 h 10000"/>
                <a:gd name="connsiteX1259" fmla="*/ 5599 w 10785"/>
                <a:gd name="connsiteY1259" fmla="*/ 1419 h 10000"/>
                <a:gd name="connsiteX1260" fmla="*/ 5594 w 10785"/>
                <a:gd name="connsiteY1260" fmla="*/ 1402 h 10000"/>
                <a:gd name="connsiteX1261" fmla="*/ 5604 w 10785"/>
                <a:gd name="connsiteY1261" fmla="*/ 1393 h 10000"/>
                <a:gd name="connsiteX1262" fmla="*/ 5618 w 10785"/>
                <a:gd name="connsiteY1262" fmla="*/ 1393 h 10000"/>
                <a:gd name="connsiteX1263" fmla="*/ 5627 w 10785"/>
                <a:gd name="connsiteY1263" fmla="*/ 1368 h 10000"/>
                <a:gd name="connsiteX1264" fmla="*/ 5627 w 10785"/>
                <a:gd name="connsiteY1264" fmla="*/ 1325 h 10000"/>
                <a:gd name="connsiteX1265" fmla="*/ 5645 w 10785"/>
                <a:gd name="connsiteY1265" fmla="*/ 1291 h 10000"/>
                <a:gd name="connsiteX1266" fmla="*/ 5645 w 10785"/>
                <a:gd name="connsiteY1266" fmla="*/ 1282 h 10000"/>
                <a:gd name="connsiteX1267" fmla="*/ 5654 w 10785"/>
                <a:gd name="connsiteY1267" fmla="*/ 1265 h 10000"/>
                <a:gd name="connsiteX1268" fmla="*/ 5654 w 10785"/>
                <a:gd name="connsiteY1268" fmla="*/ 1214 h 10000"/>
                <a:gd name="connsiteX1269" fmla="*/ 5654 w 10785"/>
                <a:gd name="connsiteY1269" fmla="*/ 1214 h 10000"/>
                <a:gd name="connsiteX1270" fmla="*/ 5645 w 10785"/>
                <a:gd name="connsiteY1270" fmla="*/ 1197 h 10000"/>
                <a:gd name="connsiteX1271" fmla="*/ 5659 w 10785"/>
                <a:gd name="connsiteY1271" fmla="*/ 1197 h 10000"/>
                <a:gd name="connsiteX1272" fmla="*/ 5654 w 10785"/>
                <a:gd name="connsiteY1272" fmla="*/ 1154 h 10000"/>
                <a:gd name="connsiteX1273" fmla="*/ 5641 w 10785"/>
                <a:gd name="connsiteY1273" fmla="*/ 1154 h 10000"/>
                <a:gd name="connsiteX1274" fmla="*/ 5627 w 10785"/>
                <a:gd name="connsiteY1274" fmla="*/ 1128 h 10000"/>
                <a:gd name="connsiteX1275" fmla="*/ 5618 w 10785"/>
                <a:gd name="connsiteY1275" fmla="*/ 1094 h 10000"/>
                <a:gd name="connsiteX1276" fmla="*/ 5613 w 10785"/>
                <a:gd name="connsiteY1276" fmla="*/ 1094 h 10000"/>
                <a:gd name="connsiteX1277" fmla="*/ 5604 w 10785"/>
                <a:gd name="connsiteY1277" fmla="*/ 1120 h 10000"/>
                <a:gd name="connsiteX1278" fmla="*/ 5604 w 10785"/>
                <a:gd name="connsiteY1278" fmla="*/ 1128 h 10000"/>
                <a:gd name="connsiteX1279" fmla="*/ 5599 w 10785"/>
                <a:gd name="connsiteY1279" fmla="*/ 1103 h 10000"/>
                <a:gd name="connsiteX1280" fmla="*/ 5599 w 10785"/>
                <a:gd name="connsiteY1280" fmla="*/ 1103 h 10000"/>
                <a:gd name="connsiteX1281" fmla="*/ 5594 w 10785"/>
                <a:gd name="connsiteY1281" fmla="*/ 1068 h 10000"/>
                <a:gd name="connsiteX1282" fmla="*/ 5594 w 10785"/>
                <a:gd name="connsiteY1282" fmla="*/ 1060 h 10000"/>
                <a:gd name="connsiteX1283" fmla="*/ 5581 w 10785"/>
                <a:gd name="connsiteY1283" fmla="*/ 1034 h 10000"/>
                <a:gd name="connsiteX1284" fmla="*/ 5571 w 10785"/>
                <a:gd name="connsiteY1284" fmla="*/ 1009 h 10000"/>
                <a:gd name="connsiteX1285" fmla="*/ 5571 w 10785"/>
                <a:gd name="connsiteY1285" fmla="*/ 991 h 10000"/>
                <a:gd name="connsiteX1286" fmla="*/ 5585 w 10785"/>
                <a:gd name="connsiteY1286" fmla="*/ 1009 h 10000"/>
                <a:gd name="connsiteX1287" fmla="*/ 5604 w 10785"/>
                <a:gd name="connsiteY1287" fmla="*/ 1043 h 10000"/>
                <a:gd name="connsiteX1288" fmla="*/ 5641 w 10785"/>
                <a:gd name="connsiteY1288" fmla="*/ 1094 h 10000"/>
                <a:gd name="connsiteX1289" fmla="*/ 5631 w 10785"/>
                <a:gd name="connsiteY1289" fmla="*/ 1128 h 10000"/>
                <a:gd name="connsiteX1290" fmla="*/ 5641 w 10785"/>
                <a:gd name="connsiteY1290" fmla="*/ 1128 h 10000"/>
                <a:gd name="connsiteX1291" fmla="*/ 5659 w 10785"/>
                <a:gd name="connsiteY1291" fmla="*/ 1017 h 10000"/>
                <a:gd name="connsiteX1292" fmla="*/ 5659 w 10785"/>
                <a:gd name="connsiteY1292" fmla="*/ 983 h 10000"/>
                <a:gd name="connsiteX1293" fmla="*/ 5659 w 10785"/>
                <a:gd name="connsiteY1293" fmla="*/ 957 h 10000"/>
                <a:gd name="connsiteX1294" fmla="*/ 5654 w 10785"/>
                <a:gd name="connsiteY1294" fmla="*/ 966 h 10000"/>
                <a:gd name="connsiteX1295" fmla="*/ 5641 w 10785"/>
                <a:gd name="connsiteY1295" fmla="*/ 957 h 10000"/>
                <a:gd name="connsiteX1296" fmla="*/ 5631 w 10785"/>
                <a:gd name="connsiteY1296" fmla="*/ 897 h 10000"/>
                <a:gd name="connsiteX1297" fmla="*/ 5641 w 10785"/>
                <a:gd name="connsiteY1297" fmla="*/ 872 h 10000"/>
                <a:gd name="connsiteX1298" fmla="*/ 5618 w 10785"/>
                <a:gd name="connsiteY1298" fmla="*/ 803 h 10000"/>
                <a:gd name="connsiteX1299" fmla="*/ 5604 w 10785"/>
                <a:gd name="connsiteY1299" fmla="*/ 821 h 10000"/>
                <a:gd name="connsiteX1300" fmla="*/ 5613 w 10785"/>
                <a:gd name="connsiteY1300" fmla="*/ 846 h 10000"/>
                <a:gd name="connsiteX1301" fmla="*/ 5604 w 10785"/>
                <a:gd name="connsiteY1301" fmla="*/ 855 h 10000"/>
                <a:gd name="connsiteX1302" fmla="*/ 5599 w 10785"/>
                <a:gd name="connsiteY1302" fmla="*/ 880 h 10000"/>
                <a:gd name="connsiteX1303" fmla="*/ 5594 w 10785"/>
                <a:gd name="connsiteY1303" fmla="*/ 880 h 10000"/>
                <a:gd name="connsiteX1304" fmla="*/ 5585 w 10785"/>
                <a:gd name="connsiteY1304" fmla="*/ 829 h 10000"/>
                <a:gd name="connsiteX1305" fmla="*/ 5571 w 10785"/>
                <a:gd name="connsiteY1305" fmla="*/ 803 h 10000"/>
                <a:gd name="connsiteX1306" fmla="*/ 5585 w 10785"/>
                <a:gd name="connsiteY1306" fmla="*/ 795 h 10000"/>
                <a:gd name="connsiteX1307" fmla="*/ 5585 w 10785"/>
                <a:gd name="connsiteY1307" fmla="*/ 761 h 10000"/>
                <a:gd name="connsiteX1308" fmla="*/ 5558 w 10785"/>
                <a:gd name="connsiteY1308" fmla="*/ 709 h 10000"/>
                <a:gd name="connsiteX1309" fmla="*/ 5544 w 10785"/>
                <a:gd name="connsiteY1309" fmla="*/ 709 h 10000"/>
                <a:gd name="connsiteX1310" fmla="*/ 5544 w 10785"/>
                <a:gd name="connsiteY1310" fmla="*/ 684 h 10000"/>
                <a:gd name="connsiteX1311" fmla="*/ 5525 w 10785"/>
                <a:gd name="connsiteY1311" fmla="*/ 632 h 10000"/>
                <a:gd name="connsiteX1312" fmla="*/ 5507 w 10785"/>
                <a:gd name="connsiteY1312" fmla="*/ 607 h 10000"/>
                <a:gd name="connsiteX1313" fmla="*/ 5512 w 10785"/>
                <a:gd name="connsiteY1313" fmla="*/ 598 h 10000"/>
                <a:gd name="connsiteX1314" fmla="*/ 5507 w 10785"/>
                <a:gd name="connsiteY1314" fmla="*/ 581 h 10000"/>
                <a:gd name="connsiteX1315" fmla="*/ 5493 w 10785"/>
                <a:gd name="connsiteY1315" fmla="*/ 573 h 10000"/>
                <a:gd name="connsiteX1316" fmla="*/ 5484 w 10785"/>
                <a:gd name="connsiteY1316" fmla="*/ 581 h 10000"/>
                <a:gd name="connsiteX1317" fmla="*/ 5484 w 10785"/>
                <a:gd name="connsiteY1317" fmla="*/ 573 h 10000"/>
                <a:gd name="connsiteX1318" fmla="*/ 5484 w 10785"/>
                <a:gd name="connsiteY1318" fmla="*/ 547 h 10000"/>
                <a:gd name="connsiteX1319" fmla="*/ 5465 w 10785"/>
                <a:gd name="connsiteY1319" fmla="*/ 556 h 10000"/>
                <a:gd name="connsiteX1320" fmla="*/ 5433 w 10785"/>
                <a:gd name="connsiteY1320" fmla="*/ 547 h 10000"/>
                <a:gd name="connsiteX1321" fmla="*/ 5410 w 10785"/>
                <a:gd name="connsiteY1321" fmla="*/ 573 h 10000"/>
                <a:gd name="connsiteX1322" fmla="*/ 5406 w 10785"/>
                <a:gd name="connsiteY1322" fmla="*/ 573 h 10000"/>
                <a:gd name="connsiteX1323" fmla="*/ 5392 w 10785"/>
                <a:gd name="connsiteY1323" fmla="*/ 573 h 10000"/>
                <a:gd name="connsiteX1324" fmla="*/ 5364 w 10785"/>
                <a:gd name="connsiteY1324" fmla="*/ 530 h 10000"/>
                <a:gd name="connsiteX1325" fmla="*/ 5350 w 10785"/>
                <a:gd name="connsiteY1325" fmla="*/ 556 h 10000"/>
                <a:gd name="connsiteX1326" fmla="*/ 5346 w 10785"/>
                <a:gd name="connsiteY1326" fmla="*/ 556 h 10000"/>
                <a:gd name="connsiteX1327" fmla="*/ 5313 w 10785"/>
                <a:gd name="connsiteY1327" fmla="*/ 573 h 10000"/>
                <a:gd name="connsiteX1328" fmla="*/ 5304 w 10785"/>
                <a:gd name="connsiteY1328" fmla="*/ 556 h 10000"/>
                <a:gd name="connsiteX1329" fmla="*/ 5290 w 10785"/>
                <a:gd name="connsiteY1329" fmla="*/ 573 h 10000"/>
                <a:gd name="connsiteX1330" fmla="*/ 5290 w 10785"/>
                <a:gd name="connsiteY1330" fmla="*/ 556 h 10000"/>
                <a:gd name="connsiteX1331" fmla="*/ 5300 w 10785"/>
                <a:gd name="connsiteY1331" fmla="*/ 547 h 10000"/>
                <a:gd name="connsiteX1332" fmla="*/ 5300 w 10785"/>
                <a:gd name="connsiteY1332" fmla="*/ 530 h 10000"/>
                <a:gd name="connsiteX1333" fmla="*/ 5290 w 10785"/>
                <a:gd name="connsiteY1333" fmla="*/ 530 h 10000"/>
                <a:gd name="connsiteX1334" fmla="*/ 5286 w 10785"/>
                <a:gd name="connsiteY1334" fmla="*/ 547 h 10000"/>
                <a:gd name="connsiteX1335" fmla="*/ 5272 w 10785"/>
                <a:gd name="connsiteY1335" fmla="*/ 556 h 10000"/>
                <a:gd name="connsiteX1336" fmla="*/ 5272 w 10785"/>
                <a:gd name="connsiteY1336" fmla="*/ 598 h 10000"/>
                <a:gd name="connsiteX1337" fmla="*/ 5276 w 10785"/>
                <a:gd name="connsiteY1337" fmla="*/ 581 h 10000"/>
                <a:gd name="connsiteX1338" fmla="*/ 5272 w 10785"/>
                <a:gd name="connsiteY1338" fmla="*/ 607 h 10000"/>
                <a:gd name="connsiteX1339" fmla="*/ 5263 w 10785"/>
                <a:gd name="connsiteY1339" fmla="*/ 607 h 10000"/>
                <a:gd name="connsiteX1340" fmla="*/ 5263 w 10785"/>
                <a:gd name="connsiteY1340" fmla="*/ 632 h 10000"/>
                <a:gd name="connsiteX1341" fmla="*/ 5258 w 10785"/>
                <a:gd name="connsiteY1341" fmla="*/ 658 h 10000"/>
                <a:gd name="connsiteX1342" fmla="*/ 5244 w 10785"/>
                <a:gd name="connsiteY1342" fmla="*/ 667 h 10000"/>
                <a:gd name="connsiteX1343" fmla="*/ 5240 w 10785"/>
                <a:gd name="connsiteY1343" fmla="*/ 658 h 10000"/>
                <a:gd name="connsiteX1344" fmla="*/ 5240 w 10785"/>
                <a:gd name="connsiteY1344" fmla="*/ 684 h 10000"/>
                <a:gd name="connsiteX1345" fmla="*/ 5212 w 10785"/>
                <a:gd name="connsiteY1345" fmla="*/ 684 h 10000"/>
                <a:gd name="connsiteX1346" fmla="*/ 5198 w 10785"/>
                <a:gd name="connsiteY1346" fmla="*/ 692 h 10000"/>
                <a:gd name="connsiteX1347" fmla="*/ 5184 w 10785"/>
                <a:gd name="connsiteY1347" fmla="*/ 684 h 10000"/>
                <a:gd name="connsiteX1348" fmla="*/ 5157 w 10785"/>
                <a:gd name="connsiteY1348" fmla="*/ 684 h 10000"/>
                <a:gd name="connsiteX1349" fmla="*/ 5157 w 10785"/>
                <a:gd name="connsiteY1349" fmla="*/ 667 h 10000"/>
                <a:gd name="connsiteX1350" fmla="*/ 5157 w 10785"/>
                <a:gd name="connsiteY1350" fmla="*/ 667 h 10000"/>
                <a:gd name="connsiteX1351" fmla="*/ 5180 w 10785"/>
                <a:gd name="connsiteY1351" fmla="*/ 650 h 10000"/>
                <a:gd name="connsiteX1352" fmla="*/ 5184 w 10785"/>
                <a:gd name="connsiteY1352" fmla="*/ 658 h 10000"/>
                <a:gd name="connsiteX1353" fmla="*/ 5203 w 10785"/>
                <a:gd name="connsiteY1353" fmla="*/ 547 h 10000"/>
                <a:gd name="connsiteX1354" fmla="*/ 5226 w 10785"/>
                <a:gd name="connsiteY1354" fmla="*/ 530 h 10000"/>
                <a:gd name="connsiteX1355" fmla="*/ 5230 w 10785"/>
                <a:gd name="connsiteY1355" fmla="*/ 487 h 10000"/>
                <a:gd name="connsiteX1356" fmla="*/ 5230 w 10785"/>
                <a:gd name="connsiteY1356" fmla="*/ 487 h 10000"/>
                <a:gd name="connsiteX1357" fmla="*/ 5226 w 10785"/>
                <a:gd name="connsiteY1357" fmla="*/ 462 h 10000"/>
                <a:gd name="connsiteX1358" fmla="*/ 5226 w 10785"/>
                <a:gd name="connsiteY1358" fmla="*/ 462 h 10000"/>
                <a:gd name="connsiteX1359" fmla="*/ 5240 w 10785"/>
                <a:gd name="connsiteY1359" fmla="*/ 462 h 10000"/>
                <a:gd name="connsiteX1360" fmla="*/ 5240 w 10785"/>
                <a:gd name="connsiteY1360" fmla="*/ 444 h 10000"/>
                <a:gd name="connsiteX1361" fmla="*/ 5230 w 10785"/>
                <a:gd name="connsiteY1361" fmla="*/ 436 h 10000"/>
                <a:gd name="connsiteX1362" fmla="*/ 5230 w 10785"/>
                <a:gd name="connsiteY1362" fmla="*/ 419 h 10000"/>
                <a:gd name="connsiteX1363" fmla="*/ 5230 w 10785"/>
                <a:gd name="connsiteY1363" fmla="*/ 410 h 10000"/>
                <a:gd name="connsiteX1364" fmla="*/ 5198 w 10785"/>
                <a:gd name="connsiteY1364" fmla="*/ 402 h 10000"/>
                <a:gd name="connsiteX1365" fmla="*/ 5189 w 10785"/>
                <a:gd name="connsiteY1365" fmla="*/ 402 h 10000"/>
                <a:gd name="connsiteX1366" fmla="*/ 5184 w 10785"/>
                <a:gd name="connsiteY1366" fmla="*/ 376 h 10000"/>
                <a:gd name="connsiteX1367" fmla="*/ 5180 w 10785"/>
                <a:gd name="connsiteY1367" fmla="*/ 376 h 10000"/>
                <a:gd name="connsiteX1368" fmla="*/ 5166 w 10785"/>
                <a:gd name="connsiteY1368" fmla="*/ 376 h 10000"/>
                <a:gd name="connsiteX1369" fmla="*/ 5157 w 10785"/>
                <a:gd name="connsiteY1369" fmla="*/ 385 h 10000"/>
                <a:gd name="connsiteX1370" fmla="*/ 5152 w 10785"/>
                <a:gd name="connsiteY1370" fmla="*/ 376 h 10000"/>
                <a:gd name="connsiteX1371" fmla="*/ 5129 w 10785"/>
                <a:gd name="connsiteY1371" fmla="*/ 385 h 10000"/>
                <a:gd name="connsiteX1372" fmla="*/ 5129 w 10785"/>
                <a:gd name="connsiteY1372" fmla="*/ 350 h 10000"/>
                <a:gd name="connsiteX1373" fmla="*/ 5129 w 10785"/>
                <a:gd name="connsiteY1373" fmla="*/ 325 h 10000"/>
                <a:gd name="connsiteX1374" fmla="*/ 5124 w 10785"/>
                <a:gd name="connsiteY1374" fmla="*/ 359 h 10000"/>
                <a:gd name="connsiteX1375" fmla="*/ 5106 w 10785"/>
                <a:gd name="connsiteY1375" fmla="*/ 359 h 10000"/>
                <a:gd name="connsiteX1376" fmla="*/ 5037 w 10785"/>
                <a:gd name="connsiteY1376" fmla="*/ 419 h 10000"/>
                <a:gd name="connsiteX1377" fmla="*/ 5051 w 10785"/>
                <a:gd name="connsiteY1377" fmla="*/ 385 h 10000"/>
                <a:gd name="connsiteX1378" fmla="*/ 5055 w 10785"/>
                <a:gd name="connsiteY1378" fmla="*/ 376 h 10000"/>
                <a:gd name="connsiteX1379" fmla="*/ 5092 w 10785"/>
                <a:gd name="connsiteY1379" fmla="*/ 282 h 10000"/>
                <a:gd name="connsiteX1380" fmla="*/ 5106 w 10785"/>
                <a:gd name="connsiteY1380" fmla="*/ 265 h 10000"/>
                <a:gd name="connsiteX1381" fmla="*/ 5115 w 10785"/>
                <a:gd name="connsiteY1381" fmla="*/ 265 h 10000"/>
                <a:gd name="connsiteX1382" fmla="*/ 5124 w 10785"/>
                <a:gd name="connsiteY1382" fmla="*/ 222 h 10000"/>
                <a:gd name="connsiteX1383" fmla="*/ 5124 w 10785"/>
                <a:gd name="connsiteY1383" fmla="*/ 214 h 10000"/>
                <a:gd name="connsiteX1384" fmla="*/ 5143 w 10785"/>
                <a:gd name="connsiteY1384" fmla="*/ 197 h 10000"/>
                <a:gd name="connsiteX1385" fmla="*/ 5152 w 10785"/>
                <a:gd name="connsiteY1385" fmla="*/ 214 h 10000"/>
                <a:gd name="connsiteX1386" fmla="*/ 5143 w 10785"/>
                <a:gd name="connsiteY1386" fmla="*/ 188 h 10000"/>
                <a:gd name="connsiteX1387" fmla="*/ 5129 w 10785"/>
                <a:gd name="connsiteY1387" fmla="*/ 103 h 10000"/>
                <a:gd name="connsiteX1388" fmla="*/ 5115 w 10785"/>
                <a:gd name="connsiteY1388" fmla="*/ 85 h 10000"/>
                <a:gd name="connsiteX1389" fmla="*/ 5111 w 10785"/>
                <a:gd name="connsiteY1389" fmla="*/ 111 h 10000"/>
                <a:gd name="connsiteX1390" fmla="*/ 5092 w 10785"/>
                <a:gd name="connsiteY1390" fmla="*/ 103 h 10000"/>
                <a:gd name="connsiteX1391" fmla="*/ 5069 w 10785"/>
                <a:gd name="connsiteY1391" fmla="*/ 77 h 10000"/>
                <a:gd name="connsiteX1392" fmla="*/ 5051 w 10785"/>
                <a:gd name="connsiteY1392" fmla="*/ 26 h 10000"/>
                <a:gd name="connsiteX1393" fmla="*/ 5041 w 10785"/>
                <a:gd name="connsiteY1393" fmla="*/ 34 h 10000"/>
                <a:gd name="connsiteX1394" fmla="*/ 5037 w 10785"/>
                <a:gd name="connsiteY1394" fmla="*/ 34 h 10000"/>
                <a:gd name="connsiteX1395" fmla="*/ 5037 w 10785"/>
                <a:gd name="connsiteY1395" fmla="*/ 26 h 10000"/>
                <a:gd name="connsiteX1396" fmla="*/ 5037 w 10785"/>
                <a:gd name="connsiteY1396" fmla="*/ 9 h 10000"/>
                <a:gd name="connsiteX1397" fmla="*/ 5023 w 10785"/>
                <a:gd name="connsiteY1397" fmla="*/ 0 h 10000"/>
                <a:gd name="connsiteX1398" fmla="*/ 5009 w 10785"/>
                <a:gd name="connsiteY1398" fmla="*/ 9 h 10000"/>
                <a:gd name="connsiteX1399" fmla="*/ 4995 w 10785"/>
                <a:gd name="connsiteY1399" fmla="*/ 34 h 10000"/>
                <a:gd name="connsiteX1400" fmla="*/ 4991 w 10785"/>
                <a:gd name="connsiteY1400" fmla="*/ 60 h 10000"/>
                <a:gd name="connsiteX1401" fmla="*/ 4982 w 10785"/>
                <a:gd name="connsiteY1401" fmla="*/ 60 h 10000"/>
                <a:gd name="connsiteX1402" fmla="*/ 4949 w 10785"/>
                <a:gd name="connsiteY1402" fmla="*/ 51 h 10000"/>
                <a:gd name="connsiteX1403" fmla="*/ 4949 w 10785"/>
                <a:gd name="connsiteY1403" fmla="*/ 85 h 10000"/>
                <a:gd name="connsiteX1404" fmla="*/ 4903 w 10785"/>
                <a:gd name="connsiteY1404" fmla="*/ 197 h 10000"/>
                <a:gd name="connsiteX1405" fmla="*/ 4899 w 10785"/>
                <a:gd name="connsiteY1405" fmla="*/ 239 h 10000"/>
                <a:gd name="connsiteX1406" fmla="*/ 4871 w 10785"/>
                <a:gd name="connsiteY1406" fmla="*/ 274 h 10000"/>
                <a:gd name="connsiteX1407" fmla="*/ 4871 w 10785"/>
                <a:gd name="connsiteY1407" fmla="*/ 282 h 10000"/>
                <a:gd name="connsiteX1408" fmla="*/ 4834 w 10785"/>
                <a:gd name="connsiteY1408" fmla="*/ 376 h 10000"/>
                <a:gd name="connsiteX1409" fmla="*/ 4829 w 10785"/>
                <a:gd name="connsiteY1409" fmla="*/ 402 h 10000"/>
                <a:gd name="connsiteX1410" fmla="*/ 4834 w 10785"/>
                <a:gd name="connsiteY1410" fmla="*/ 410 h 10000"/>
                <a:gd name="connsiteX1411" fmla="*/ 4829 w 10785"/>
                <a:gd name="connsiteY1411" fmla="*/ 436 h 10000"/>
                <a:gd name="connsiteX1412" fmla="*/ 4825 w 10785"/>
                <a:gd name="connsiteY1412" fmla="*/ 436 h 10000"/>
                <a:gd name="connsiteX1413" fmla="*/ 4825 w 10785"/>
                <a:gd name="connsiteY1413" fmla="*/ 444 h 10000"/>
                <a:gd name="connsiteX1414" fmla="*/ 4811 w 10785"/>
                <a:gd name="connsiteY1414" fmla="*/ 496 h 10000"/>
                <a:gd name="connsiteX1415" fmla="*/ 4811 w 10785"/>
                <a:gd name="connsiteY1415" fmla="*/ 496 h 10000"/>
                <a:gd name="connsiteX1416" fmla="*/ 4811 w 10785"/>
                <a:gd name="connsiteY1416" fmla="*/ 521 h 10000"/>
                <a:gd name="connsiteX1417" fmla="*/ 4816 w 10785"/>
                <a:gd name="connsiteY1417" fmla="*/ 530 h 10000"/>
                <a:gd name="connsiteX1418" fmla="*/ 4834 w 10785"/>
                <a:gd name="connsiteY1418" fmla="*/ 547 h 10000"/>
                <a:gd name="connsiteX1419" fmla="*/ 4834 w 10785"/>
                <a:gd name="connsiteY1419" fmla="*/ 581 h 10000"/>
                <a:gd name="connsiteX1420" fmla="*/ 4843 w 10785"/>
                <a:gd name="connsiteY1420" fmla="*/ 581 h 10000"/>
                <a:gd name="connsiteX1421" fmla="*/ 4843 w 10785"/>
                <a:gd name="connsiteY1421" fmla="*/ 598 h 10000"/>
                <a:gd name="connsiteX1422" fmla="*/ 4829 w 10785"/>
                <a:gd name="connsiteY1422" fmla="*/ 598 h 10000"/>
                <a:gd name="connsiteX1423" fmla="*/ 4829 w 10785"/>
                <a:gd name="connsiteY1423" fmla="*/ 573 h 10000"/>
                <a:gd name="connsiteX1424" fmla="*/ 4829 w 10785"/>
                <a:gd name="connsiteY1424" fmla="*/ 632 h 10000"/>
                <a:gd name="connsiteX1425" fmla="*/ 4829 w 10785"/>
                <a:gd name="connsiteY1425" fmla="*/ 632 h 10000"/>
                <a:gd name="connsiteX1426" fmla="*/ 4829 w 10785"/>
                <a:gd name="connsiteY1426" fmla="*/ 650 h 10000"/>
                <a:gd name="connsiteX1427" fmla="*/ 4774 w 10785"/>
                <a:gd name="connsiteY1427" fmla="*/ 684 h 10000"/>
                <a:gd name="connsiteX1428" fmla="*/ 4756 w 10785"/>
                <a:gd name="connsiteY1428" fmla="*/ 684 h 10000"/>
                <a:gd name="connsiteX1429" fmla="*/ 4737 w 10785"/>
                <a:gd name="connsiteY1429" fmla="*/ 692 h 10000"/>
                <a:gd name="connsiteX1430" fmla="*/ 4677 w 10785"/>
                <a:gd name="connsiteY1430" fmla="*/ 667 h 10000"/>
                <a:gd name="connsiteX1431" fmla="*/ 4682 w 10785"/>
                <a:gd name="connsiteY1431" fmla="*/ 692 h 10000"/>
                <a:gd name="connsiteX1432" fmla="*/ 4682 w 10785"/>
                <a:gd name="connsiteY1432" fmla="*/ 709 h 10000"/>
                <a:gd name="connsiteX1433" fmla="*/ 4691 w 10785"/>
                <a:gd name="connsiteY1433" fmla="*/ 718 h 10000"/>
                <a:gd name="connsiteX1434" fmla="*/ 4691 w 10785"/>
                <a:gd name="connsiteY1434" fmla="*/ 744 h 10000"/>
                <a:gd name="connsiteX1435" fmla="*/ 4700 w 10785"/>
                <a:gd name="connsiteY1435" fmla="*/ 744 h 10000"/>
                <a:gd name="connsiteX1436" fmla="*/ 4714 w 10785"/>
                <a:gd name="connsiteY1436" fmla="*/ 769 h 10000"/>
                <a:gd name="connsiteX1437" fmla="*/ 4710 w 10785"/>
                <a:gd name="connsiteY1437" fmla="*/ 786 h 10000"/>
                <a:gd name="connsiteX1438" fmla="*/ 4737 w 10785"/>
                <a:gd name="connsiteY1438" fmla="*/ 786 h 10000"/>
                <a:gd name="connsiteX1439" fmla="*/ 4742 w 10785"/>
                <a:gd name="connsiteY1439" fmla="*/ 795 h 10000"/>
                <a:gd name="connsiteX1440" fmla="*/ 4742 w 10785"/>
                <a:gd name="connsiteY1440" fmla="*/ 803 h 10000"/>
                <a:gd name="connsiteX1441" fmla="*/ 4737 w 10785"/>
                <a:gd name="connsiteY1441" fmla="*/ 846 h 10000"/>
                <a:gd name="connsiteX1442" fmla="*/ 4737 w 10785"/>
                <a:gd name="connsiteY1442" fmla="*/ 880 h 10000"/>
                <a:gd name="connsiteX1443" fmla="*/ 4737 w 10785"/>
                <a:gd name="connsiteY1443" fmla="*/ 906 h 10000"/>
                <a:gd name="connsiteX1444" fmla="*/ 4724 w 10785"/>
                <a:gd name="connsiteY1444" fmla="*/ 897 h 10000"/>
                <a:gd name="connsiteX1445" fmla="*/ 4724 w 10785"/>
                <a:gd name="connsiteY1445" fmla="*/ 872 h 10000"/>
                <a:gd name="connsiteX1446" fmla="*/ 4714 w 10785"/>
                <a:gd name="connsiteY1446" fmla="*/ 855 h 10000"/>
                <a:gd name="connsiteX1447" fmla="*/ 4691 w 10785"/>
                <a:gd name="connsiteY1447" fmla="*/ 846 h 10000"/>
                <a:gd name="connsiteX1448" fmla="*/ 4691 w 10785"/>
                <a:gd name="connsiteY1448" fmla="*/ 846 h 10000"/>
                <a:gd name="connsiteX1449" fmla="*/ 4696 w 10785"/>
                <a:gd name="connsiteY1449" fmla="*/ 821 h 10000"/>
                <a:gd name="connsiteX1450" fmla="*/ 4691 w 10785"/>
                <a:gd name="connsiteY1450" fmla="*/ 803 h 10000"/>
                <a:gd name="connsiteX1451" fmla="*/ 4668 w 10785"/>
                <a:gd name="connsiteY1451" fmla="*/ 821 h 10000"/>
                <a:gd name="connsiteX1452" fmla="*/ 4668 w 10785"/>
                <a:gd name="connsiteY1452" fmla="*/ 786 h 10000"/>
                <a:gd name="connsiteX1453" fmla="*/ 4664 w 10785"/>
                <a:gd name="connsiteY1453" fmla="*/ 786 h 10000"/>
                <a:gd name="connsiteX1454" fmla="*/ 4622 w 10785"/>
                <a:gd name="connsiteY1454" fmla="*/ 846 h 10000"/>
                <a:gd name="connsiteX1455" fmla="*/ 4627 w 10785"/>
                <a:gd name="connsiteY1455" fmla="*/ 872 h 10000"/>
                <a:gd name="connsiteX1456" fmla="*/ 4622 w 10785"/>
                <a:gd name="connsiteY1456" fmla="*/ 880 h 10000"/>
                <a:gd name="connsiteX1457" fmla="*/ 4622 w 10785"/>
                <a:gd name="connsiteY1457" fmla="*/ 880 h 10000"/>
                <a:gd name="connsiteX1458" fmla="*/ 4618 w 10785"/>
                <a:gd name="connsiteY1458" fmla="*/ 872 h 10000"/>
                <a:gd name="connsiteX1459" fmla="*/ 4604 w 10785"/>
                <a:gd name="connsiteY1459" fmla="*/ 880 h 10000"/>
                <a:gd name="connsiteX1460" fmla="*/ 4594 w 10785"/>
                <a:gd name="connsiteY1460" fmla="*/ 906 h 10000"/>
                <a:gd name="connsiteX1461" fmla="*/ 4604 w 10785"/>
                <a:gd name="connsiteY1461" fmla="*/ 906 h 10000"/>
                <a:gd name="connsiteX1462" fmla="*/ 4608 w 10785"/>
                <a:gd name="connsiteY1462" fmla="*/ 906 h 10000"/>
                <a:gd name="connsiteX1463" fmla="*/ 4608 w 10785"/>
                <a:gd name="connsiteY1463" fmla="*/ 932 h 10000"/>
                <a:gd name="connsiteX1464" fmla="*/ 4604 w 10785"/>
                <a:gd name="connsiteY1464" fmla="*/ 932 h 10000"/>
                <a:gd name="connsiteX1465" fmla="*/ 4590 w 10785"/>
                <a:gd name="connsiteY1465" fmla="*/ 932 h 10000"/>
                <a:gd name="connsiteX1466" fmla="*/ 4567 w 10785"/>
                <a:gd name="connsiteY1466" fmla="*/ 957 h 10000"/>
                <a:gd name="connsiteX1467" fmla="*/ 4567 w 10785"/>
                <a:gd name="connsiteY1467" fmla="*/ 932 h 10000"/>
                <a:gd name="connsiteX1468" fmla="*/ 4567 w 10785"/>
                <a:gd name="connsiteY1468" fmla="*/ 923 h 10000"/>
                <a:gd name="connsiteX1469" fmla="*/ 4562 w 10785"/>
                <a:gd name="connsiteY1469" fmla="*/ 932 h 10000"/>
                <a:gd name="connsiteX1470" fmla="*/ 4548 w 10785"/>
                <a:gd name="connsiteY1470" fmla="*/ 957 h 10000"/>
                <a:gd name="connsiteX1471" fmla="*/ 4544 w 10785"/>
                <a:gd name="connsiteY1471" fmla="*/ 957 h 10000"/>
                <a:gd name="connsiteX1472" fmla="*/ 4521 w 10785"/>
                <a:gd name="connsiteY1472" fmla="*/ 983 h 10000"/>
                <a:gd name="connsiteX1473" fmla="*/ 4521 w 10785"/>
                <a:gd name="connsiteY1473" fmla="*/ 983 h 10000"/>
                <a:gd name="connsiteX1474" fmla="*/ 4530 w 10785"/>
                <a:gd name="connsiteY1474" fmla="*/ 957 h 10000"/>
                <a:gd name="connsiteX1475" fmla="*/ 4535 w 10785"/>
                <a:gd name="connsiteY1475" fmla="*/ 932 h 10000"/>
                <a:gd name="connsiteX1476" fmla="*/ 4521 w 10785"/>
                <a:gd name="connsiteY1476" fmla="*/ 932 h 10000"/>
                <a:gd name="connsiteX1477" fmla="*/ 4516 w 10785"/>
                <a:gd name="connsiteY1477" fmla="*/ 923 h 10000"/>
                <a:gd name="connsiteX1478" fmla="*/ 4516 w 10785"/>
                <a:gd name="connsiteY1478" fmla="*/ 932 h 10000"/>
                <a:gd name="connsiteX1479" fmla="*/ 4488 w 10785"/>
                <a:gd name="connsiteY1479" fmla="*/ 940 h 10000"/>
                <a:gd name="connsiteX1480" fmla="*/ 4484 w 10785"/>
                <a:gd name="connsiteY1480" fmla="*/ 983 h 10000"/>
                <a:gd name="connsiteX1481" fmla="*/ 4470 w 10785"/>
                <a:gd name="connsiteY1481" fmla="*/ 983 h 10000"/>
                <a:gd name="connsiteX1482" fmla="*/ 4470 w 10785"/>
                <a:gd name="connsiteY1482" fmla="*/ 966 h 10000"/>
                <a:gd name="connsiteX1483" fmla="*/ 4488 w 10785"/>
                <a:gd name="connsiteY1483" fmla="*/ 923 h 10000"/>
                <a:gd name="connsiteX1484" fmla="*/ 4493 w 10785"/>
                <a:gd name="connsiteY1484" fmla="*/ 880 h 10000"/>
                <a:gd name="connsiteX1485" fmla="*/ 4475 w 10785"/>
                <a:gd name="connsiteY1485" fmla="*/ 846 h 10000"/>
                <a:gd name="connsiteX1486" fmla="*/ 4442 w 10785"/>
                <a:gd name="connsiteY1486" fmla="*/ 855 h 10000"/>
                <a:gd name="connsiteX1487" fmla="*/ 4433 w 10785"/>
                <a:gd name="connsiteY1487" fmla="*/ 855 h 10000"/>
                <a:gd name="connsiteX1488" fmla="*/ 4433 w 10785"/>
                <a:gd name="connsiteY1488" fmla="*/ 880 h 10000"/>
                <a:gd name="connsiteX1489" fmla="*/ 4401 w 10785"/>
                <a:gd name="connsiteY1489" fmla="*/ 855 h 10000"/>
                <a:gd name="connsiteX1490" fmla="*/ 4396 w 10785"/>
                <a:gd name="connsiteY1490" fmla="*/ 872 h 10000"/>
                <a:gd name="connsiteX1491" fmla="*/ 4382 w 10785"/>
                <a:gd name="connsiteY1491" fmla="*/ 897 h 10000"/>
                <a:gd name="connsiteX1492" fmla="*/ 4373 w 10785"/>
                <a:gd name="connsiteY1492" fmla="*/ 872 h 10000"/>
                <a:gd name="connsiteX1493" fmla="*/ 4341 w 10785"/>
                <a:gd name="connsiteY1493" fmla="*/ 872 h 10000"/>
                <a:gd name="connsiteX1494" fmla="*/ 4336 w 10785"/>
                <a:gd name="connsiteY1494" fmla="*/ 880 h 10000"/>
                <a:gd name="connsiteX1495" fmla="*/ 4346 w 10785"/>
                <a:gd name="connsiteY1495" fmla="*/ 897 h 10000"/>
                <a:gd name="connsiteX1496" fmla="*/ 4346 w 10785"/>
                <a:gd name="connsiteY1496" fmla="*/ 897 h 10000"/>
                <a:gd name="connsiteX1497" fmla="*/ 4313 w 10785"/>
                <a:gd name="connsiteY1497" fmla="*/ 906 h 10000"/>
                <a:gd name="connsiteX1498" fmla="*/ 4313 w 10785"/>
                <a:gd name="connsiteY1498" fmla="*/ 906 h 10000"/>
                <a:gd name="connsiteX1499" fmla="*/ 4313 w 10785"/>
                <a:gd name="connsiteY1499" fmla="*/ 880 h 10000"/>
                <a:gd name="connsiteX1500" fmla="*/ 4309 w 10785"/>
                <a:gd name="connsiteY1500" fmla="*/ 897 h 10000"/>
                <a:gd name="connsiteX1501" fmla="*/ 4295 w 10785"/>
                <a:gd name="connsiteY1501" fmla="*/ 923 h 10000"/>
                <a:gd name="connsiteX1502" fmla="*/ 4286 w 10785"/>
                <a:gd name="connsiteY1502" fmla="*/ 897 h 10000"/>
                <a:gd name="connsiteX1503" fmla="*/ 4281 w 10785"/>
                <a:gd name="connsiteY1503" fmla="*/ 906 h 10000"/>
                <a:gd name="connsiteX1504" fmla="*/ 4281 w 10785"/>
                <a:gd name="connsiteY1504" fmla="*/ 940 h 10000"/>
                <a:gd name="connsiteX1505" fmla="*/ 4286 w 10785"/>
                <a:gd name="connsiteY1505" fmla="*/ 957 h 10000"/>
                <a:gd name="connsiteX1506" fmla="*/ 4309 w 10785"/>
                <a:gd name="connsiteY1506" fmla="*/ 932 h 10000"/>
                <a:gd name="connsiteX1507" fmla="*/ 4313 w 10785"/>
                <a:gd name="connsiteY1507" fmla="*/ 957 h 10000"/>
                <a:gd name="connsiteX1508" fmla="*/ 4313 w 10785"/>
                <a:gd name="connsiteY1508" fmla="*/ 966 h 10000"/>
                <a:gd name="connsiteX1509" fmla="*/ 4323 w 10785"/>
                <a:gd name="connsiteY1509" fmla="*/ 966 h 10000"/>
                <a:gd name="connsiteX1510" fmla="*/ 4323 w 10785"/>
                <a:gd name="connsiteY1510" fmla="*/ 940 h 10000"/>
                <a:gd name="connsiteX1511" fmla="*/ 4327 w 10785"/>
                <a:gd name="connsiteY1511" fmla="*/ 940 h 10000"/>
                <a:gd name="connsiteX1512" fmla="*/ 4327 w 10785"/>
                <a:gd name="connsiteY1512" fmla="*/ 957 h 10000"/>
                <a:gd name="connsiteX1513" fmla="*/ 4327 w 10785"/>
                <a:gd name="connsiteY1513" fmla="*/ 966 h 10000"/>
                <a:gd name="connsiteX1514" fmla="*/ 4323 w 10785"/>
                <a:gd name="connsiteY1514" fmla="*/ 991 h 10000"/>
                <a:gd name="connsiteX1515" fmla="*/ 4207 w 10785"/>
                <a:gd name="connsiteY1515" fmla="*/ 1060 h 10000"/>
                <a:gd name="connsiteX1516" fmla="*/ 4207 w 10785"/>
                <a:gd name="connsiteY1516" fmla="*/ 1060 h 10000"/>
                <a:gd name="connsiteX1517" fmla="*/ 4203 w 10785"/>
                <a:gd name="connsiteY1517" fmla="*/ 1068 h 10000"/>
                <a:gd name="connsiteX1518" fmla="*/ 4203 w 10785"/>
                <a:gd name="connsiteY1518" fmla="*/ 1094 h 10000"/>
                <a:gd name="connsiteX1519" fmla="*/ 4203 w 10785"/>
                <a:gd name="connsiteY1519" fmla="*/ 1094 h 10000"/>
                <a:gd name="connsiteX1520" fmla="*/ 4189 w 10785"/>
                <a:gd name="connsiteY1520" fmla="*/ 1094 h 10000"/>
                <a:gd name="connsiteX1521" fmla="*/ 4166 w 10785"/>
                <a:gd name="connsiteY1521" fmla="*/ 1103 h 10000"/>
                <a:gd name="connsiteX1522" fmla="*/ 4152 w 10785"/>
                <a:gd name="connsiteY1522" fmla="*/ 1094 h 10000"/>
                <a:gd name="connsiteX1523" fmla="*/ 4134 w 10785"/>
                <a:gd name="connsiteY1523" fmla="*/ 1120 h 10000"/>
                <a:gd name="connsiteX1524" fmla="*/ 4106 w 10785"/>
                <a:gd name="connsiteY1524" fmla="*/ 1120 h 10000"/>
                <a:gd name="connsiteX1525" fmla="*/ 4092 w 10785"/>
                <a:gd name="connsiteY1525" fmla="*/ 1154 h 10000"/>
                <a:gd name="connsiteX1526" fmla="*/ 4106 w 10785"/>
                <a:gd name="connsiteY1526" fmla="*/ 1171 h 10000"/>
                <a:gd name="connsiteX1527" fmla="*/ 4078 w 10785"/>
                <a:gd name="connsiteY1527" fmla="*/ 1179 h 10000"/>
                <a:gd name="connsiteX1528" fmla="*/ 4065 w 10785"/>
                <a:gd name="connsiteY1528" fmla="*/ 1205 h 10000"/>
                <a:gd name="connsiteX1529" fmla="*/ 4046 w 10785"/>
                <a:gd name="connsiteY1529" fmla="*/ 1179 h 10000"/>
                <a:gd name="connsiteX1530" fmla="*/ 4041 w 10785"/>
                <a:gd name="connsiteY1530" fmla="*/ 1197 h 10000"/>
                <a:gd name="connsiteX1531" fmla="*/ 4028 w 10785"/>
                <a:gd name="connsiteY1531" fmla="*/ 1205 h 10000"/>
                <a:gd name="connsiteX1532" fmla="*/ 4028 w 10785"/>
                <a:gd name="connsiteY1532" fmla="*/ 1205 h 10000"/>
                <a:gd name="connsiteX1533" fmla="*/ 4032 w 10785"/>
                <a:gd name="connsiteY1533" fmla="*/ 1205 h 10000"/>
                <a:gd name="connsiteX1534" fmla="*/ 4032 w 10785"/>
                <a:gd name="connsiteY1534" fmla="*/ 1231 h 10000"/>
                <a:gd name="connsiteX1535" fmla="*/ 4014 w 10785"/>
                <a:gd name="connsiteY1535" fmla="*/ 1239 h 10000"/>
                <a:gd name="connsiteX1536" fmla="*/ 4014 w 10785"/>
                <a:gd name="connsiteY1536" fmla="*/ 1256 h 10000"/>
                <a:gd name="connsiteX1537" fmla="*/ 4000 w 10785"/>
                <a:gd name="connsiteY1537" fmla="*/ 1265 h 10000"/>
                <a:gd name="connsiteX1538" fmla="*/ 3986 w 10785"/>
                <a:gd name="connsiteY1538" fmla="*/ 1308 h 10000"/>
                <a:gd name="connsiteX1539" fmla="*/ 3972 w 10785"/>
                <a:gd name="connsiteY1539" fmla="*/ 1316 h 10000"/>
                <a:gd name="connsiteX1540" fmla="*/ 3972 w 10785"/>
                <a:gd name="connsiteY1540" fmla="*/ 1325 h 10000"/>
                <a:gd name="connsiteX1541" fmla="*/ 3972 w 10785"/>
                <a:gd name="connsiteY1541" fmla="*/ 1342 h 10000"/>
                <a:gd name="connsiteX1542" fmla="*/ 3968 w 10785"/>
                <a:gd name="connsiteY1542" fmla="*/ 1350 h 10000"/>
                <a:gd name="connsiteX1543" fmla="*/ 3954 w 10785"/>
                <a:gd name="connsiteY1543" fmla="*/ 1368 h 10000"/>
                <a:gd name="connsiteX1544" fmla="*/ 3945 w 10785"/>
                <a:gd name="connsiteY1544" fmla="*/ 1350 h 10000"/>
                <a:gd name="connsiteX1545" fmla="*/ 3908 w 10785"/>
                <a:gd name="connsiteY1545" fmla="*/ 1342 h 10000"/>
                <a:gd name="connsiteX1546" fmla="*/ 3894 w 10785"/>
                <a:gd name="connsiteY1546" fmla="*/ 1368 h 10000"/>
                <a:gd name="connsiteX1547" fmla="*/ 3922 w 10785"/>
                <a:gd name="connsiteY1547" fmla="*/ 1393 h 10000"/>
                <a:gd name="connsiteX1548" fmla="*/ 3945 w 10785"/>
                <a:gd name="connsiteY1548" fmla="*/ 1393 h 10000"/>
                <a:gd name="connsiteX1549" fmla="*/ 3940 w 10785"/>
                <a:gd name="connsiteY1549" fmla="*/ 1419 h 10000"/>
                <a:gd name="connsiteX1550" fmla="*/ 3931 w 10785"/>
                <a:gd name="connsiteY1550" fmla="*/ 1427 h 10000"/>
                <a:gd name="connsiteX1551" fmla="*/ 3926 w 10785"/>
                <a:gd name="connsiteY1551" fmla="*/ 1427 h 10000"/>
                <a:gd name="connsiteX1552" fmla="*/ 3922 w 10785"/>
                <a:gd name="connsiteY1552" fmla="*/ 1419 h 10000"/>
                <a:gd name="connsiteX1553" fmla="*/ 3912 w 10785"/>
                <a:gd name="connsiteY1553" fmla="*/ 1427 h 10000"/>
                <a:gd name="connsiteX1554" fmla="*/ 3912 w 10785"/>
                <a:gd name="connsiteY1554" fmla="*/ 1444 h 10000"/>
                <a:gd name="connsiteX1555" fmla="*/ 3894 w 10785"/>
                <a:gd name="connsiteY1555" fmla="*/ 1513 h 10000"/>
                <a:gd name="connsiteX1556" fmla="*/ 3885 w 10785"/>
                <a:gd name="connsiteY1556" fmla="*/ 1513 h 10000"/>
                <a:gd name="connsiteX1557" fmla="*/ 3880 w 10785"/>
                <a:gd name="connsiteY1557" fmla="*/ 1538 h 10000"/>
                <a:gd name="connsiteX1558" fmla="*/ 3885 w 10785"/>
                <a:gd name="connsiteY1558" fmla="*/ 1564 h 10000"/>
                <a:gd name="connsiteX1559" fmla="*/ 3880 w 10785"/>
                <a:gd name="connsiteY1559" fmla="*/ 1581 h 10000"/>
                <a:gd name="connsiteX1560" fmla="*/ 3871 w 10785"/>
                <a:gd name="connsiteY1560" fmla="*/ 1538 h 10000"/>
                <a:gd name="connsiteX1561" fmla="*/ 3853 w 10785"/>
                <a:gd name="connsiteY1561" fmla="*/ 1530 h 10000"/>
                <a:gd name="connsiteX1562" fmla="*/ 3853 w 10785"/>
                <a:gd name="connsiteY1562" fmla="*/ 1504 h 10000"/>
                <a:gd name="connsiteX1563" fmla="*/ 3834 w 10785"/>
                <a:gd name="connsiteY1563" fmla="*/ 1487 h 10000"/>
                <a:gd name="connsiteX1564" fmla="*/ 3834 w 10785"/>
                <a:gd name="connsiteY1564" fmla="*/ 1487 h 10000"/>
                <a:gd name="connsiteX1565" fmla="*/ 3839 w 10785"/>
                <a:gd name="connsiteY1565" fmla="*/ 1513 h 10000"/>
                <a:gd name="connsiteX1566" fmla="*/ 3820 w 10785"/>
                <a:gd name="connsiteY1566" fmla="*/ 1538 h 10000"/>
                <a:gd name="connsiteX1567" fmla="*/ 3820 w 10785"/>
                <a:gd name="connsiteY1567" fmla="*/ 1556 h 10000"/>
                <a:gd name="connsiteX1568" fmla="*/ 3820 w 10785"/>
                <a:gd name="connsiteY1568" fmla="*/ 1564 h 10000"/>
                <a:gd name="connsiteX1569" fmla="*/ 3820 w 10785"/>
                <a:gd name="connsiteY1569" fmla="*/ 1581 h 10000"/>
                <a:gd name="connsiteX1570" fmla="*/ 3853 w 10785"/>
                <a:gd name="connsiteY1570" fmla="*/ 1581 h 10000"/>
                <a:gd name="connsiteX1571" fmla="*/ 3857 w 10785"/>
                <a:gd name="connsiteY1571" fmla="*/ 1598 h 10000"/>
                <a:gd name="connsiteX1572" fmla="*/ 3880 w 10785"/>
                <a:gd name="connsiteY1572" fmla="*/ 1615 h 10000"/>
                <a:gd name="connsiteX1573" fmla="*/ 3871 w 10785"/>
                <a:gd name="connsiteY1573" fmla="*/ 1615 h 10000"/>
                <a:gd name="connsiteX1574" fmla="*/ 3871 w 10785"/>
                <a:gd name="connsiteY1574" fmla="*/ 1641 h 10000"/>
                <a:gd name="connsiteX1575" fmla="*/ 3880 w 10785"/>
                <a:gd name="connsiteY1575" fmla="*/ 1641 h 10000"/>
                <a:gd name="connsiteX1576" fmla="*/ 3871 w 10785"/>
                <a:gd name="connsiteY1576" fmla="*/ 1650 h 10000"/>
                <a:gd name="connsiteX1577" fmla="*/ 3857 w 10785"/>
                <a:gd name="connsiteY1577" fmla="*/ 1650 h 10000"/>
                <a:gd name="connsiteX1578" fmla="*/ 3853 w 10785"/>
                <a:gd name="connsiteY1578" fmla="*/ 1650 h 10000"/>
                <a:gd name="connsiteX1579" fmla="*/ 3839 w 10785"/>
                <a:gd name="connsiteY1579" fmla="*/ 1667 h 10000"/>
                <a:gd name="connsiteX1580" fmla="*/ 3848 w 10785"/>
                <a:gd name="connsiteY1580" fmla="*/ 1692 h 10000"/>
                <a:gd name="connsiteX1581" fmla="*/ 3834 w 10785"/>
                <a:gd name="connsiteY1581" fmla="*/ 1692 h 10000"/>
                <a:gd name="connsiteX1582" fmla="*/ 3825 w 10785"/>
                <a:gd name="connsiteY1582" fmla="*/ 1692 h 10000"/>
                <a:gd name="connsiteX1583" fmla="*/ 3825 w 10785"/>
                <a:gd name="connsiteY1583" fmla="*/ 1718 h 10000"/>
                <a:gd name="connsiteX1584" fmla="*/ 3839 w 10785"/>
                <a:gd name="connsiteY1584" fmla="*/ 1726 h 10000"/>
                <a:gd name="connsiteX1585" fmla="*/ 3880 w 10785"/>
                <a:gd name="connsiteY1585" fmla="*/ 1752 h 10000"/>
                <a:gd name="connsiteX1586" fmla="*/ 3894 w 10785"/>
                <a:gd name="connsiteY1586" fmla="*/ 1829 h 10000"/>
                <a:gd name="connsiteX1587" fmla="*/ 3899 w 10785"/>
                <a:gd name="connsiteY1587" fmla="*/ 1838 h 10000"/>
                <a:gd name="connsiteX1588" fmla="*/ 3894 w 10785"/>
                <a:gd name="connsiteY1588" fmla="*/ 1855 h 10000"/>
                <a:gd name="connsiteX1589" fmla="*/ 3880 w 10785"/>
                <a:gd name="connsiteY1589" fmla="*/ 1838 h 10000"/>
                <a:gd name="connsiteX1590" fmla="*/ 3880 w 10785"/>
                <a:gd name="connsiteY1590" fmla="*/ 1855 h 10000"/>
                <a:gd name="connsiteX1591" fmla="*/ 3880 w 10785"/>
                <a:gd name="connsiteY1591" fmla="*/ 1863 h 10000"/>
                <a:gd name="connsiteX1592" fmla="*/ 3871 w 10785"/>
                <a:gd name="connsiteY1592" fmla="*/ 1872 h 10000"/>
                <a:gd name="connsiteX1593" fmla="*/ 3880 w 10785"/>
                <a:gd name="connsiteY1593" fmla="*/ 1889 h 10000"/>
                <a:gd name="connsiteX1594" fmla="*/ 3885 w 10785"/>
                <a:gd name="connsiteY1594" fmla="*/ 1889 h 10000"/>
                <a:gd name="connsiteX1595" fmla="*/ 3880 w 10785"/>
                <a:gd name="connsiteY1595" fmla="*/ 1897 h 10000"/>
                <a:gd name="connsiteX1596" fmla="*/ 3871 w 10785"/>
                <a:gd name="connsiteY1596" fmla="*/ 1915 h 10000"/>
                <a:gd name="connsiteX1597" fmla="*/ 3848 w 10785"/>
                <a:gd name="connsiteY1597" fmla="*/ 1923 h 10000"/>
                <a:gd name="connsiteX1598" fmla="*/ 3825 w 10785"/>
                <a:gd name="connsiteY1598" fmla="*/ 1940 h 10000"/>
                <a:gd name="connsiteX1599" fmla="*/ 3811 w 10785"/>
                <a:gd name="connsiteY1599" fmla="*/ 1940 h 10000"/>
                <a:gd name="connsiteX1600" fmla="*/ 3806 w 10785"/>
                <a:gd name="connsiteY1600" fmla="*/ 1949 h 10000"/>
                <a:gd name="connsiteX1601" fmla="*/ 3797 w 10785"/>
                <a:gd name="connsiteY1601" fmla="*/ 1966 h 10000"/>
                <a:gd name="connsiteX1602" fmla="*/ 3788 w 10785"/>
                <a:gd name="connsiteY1602" fmla="*/ 1991 h 10000"/>
                <a:gd name="connsiteX1603" fmla="*/ 3765 w 10785"/>
                <a:gd name="connsiteY1603" fmla="*/ 1974 h 10000"/>
                <a:gd name="connsiteX1604" fmla="*/ 3760 w 10785"/>
                <a:gd name="connsiteY1604" fmla="*/ 1966 h 10000"/>
                <a:gd name="connsiteX1605" fmla="*/ 3760 w 10785"/>
                <a:gd name="connsiteY1605" fmla="*/ 1966 h 10000"/>
                <a:gd name="connsiteX1606" fmla="*/ 3631 w 10785"/>
                <a:gd name="connsiteY1606" fmla="*/ 2009 h 10000"/>
                <a:gd name="connsiteX1607" fmla="*/ 3618 w 10785"/>
                <a:gd name="connsiteY1607" fmla="*/ 2000 h 10000"/>
                <a:gd name="connsiteX1608" fmla="*/ 3599 w 10785"/>
                <a:gd name="connsiteY1608" fmla="*/ 2009 h 10000"/>
                <a:gd name="connsiteX1609" fmla="*/ 3571 w 10785"/>
                <a:gd name="connsiteY1609" fmla="*/ 2000 h 10000"/>
                <a:gd name="connsiteX1610" fmla="*/ 3530 w 10785"/>
                <a:gd name="connsiteY1610" fmla="*/ 2026 h 10000"/>
                <a:gd name="connsiteX1611" fmla="*/ 3530 w 10785"/>
                <a:gd name="connsiteY1611" fmla="*/ 2034 h 10000"/>
                <a:gd name="connsiteX1612" fmla="*/ 3525 w 10785"/>
                <a:gd name="connsiteY1612" fmla="*/ 2051 h 10000"/>
                <a:gd name="connsiteX1613" fmla="*/ 3512 w 10785"/>
                <a:gd name="connsiteY1613" fmla="*/ 2034 h 10000"/>
                <a:gd name="connsiteX1614" fmla="*/ 3507 w 10785"/>
                <a:gd name="connsiteY1614" fmla="*/ 2034 h 10000"/>
                <a:gd name="connsiteX1615" fmla="*/ 3498 w 10785"/>
                <a:gd name="connsiteY1615" fmla="*/ 2051 h 10000"/>
                <a:gd name="connsiteX1616" fmla="*/ 3484 w 10785"/>
                <a:gd name="connsiteY1616" fmla="*/ 2060 h 10000"/>
                <a:gd name="connsiteX1617" fmla="*/ 3484 w 10785"/>
                <a:gd name="connsiteY1617" fmla="*/ 2085 h 10000"/>
                <a:gd name="connsiteX1618" fmla="*/ 3484 w 10785"/>
                <a:gd name="connsiteY1618" fmla="*/ 2103 h 10000"/>
                <a:gd name="connsiteX1619" fmla="*/ 3493 w 10785"/>
                <a:gd name="connsiteY1619" fmla="*/ 2103 h 10000"/>
                <a:gd name="connsiteX1620" fmla="*/ 3493 w 10785"/>
                <a:gd name="connsiteY1620" fmla="*/ 2085 h 10000"/>
                <a:gd name="connsiteX1621" fmla="*/ 3498 w 10785"/>
                <a:gd name="connsiteY1621" fmla="*/ 2085 h 10000"/>
                <a:gd name="connsiteX1622" fmla="*/ 3498 w 10785"/>
                <a:gd name="connsiteY1622" fmla="*/ 2111 h 10000"/>
                <a:gd name="connsiteX1623" fmla="*/ 3484 w 10785"/>
                <a:gd name="connsiteY1623" fmla="*/ 2120 h 10000"/>
                <a:gd name="connsiteX1624" fmla="*/ 3484 w 10785"/>
                <a:gd name="connsiteY1624" fmla="*/ 2145 h 10000"/>
                <a:gd name="connsiteX1625" fmla="*/ 3470 w 10785"/>
                <a:gd name="connsiteY1625" fmla="*/ 2137 h 10000"/>
                <a:gd name="connsiteX1626" fmla="*/ 3465 w 10785"/>
                <a:gd name="connsiteY1626" fmla="*/ 2145 h 10000"/>
                <a:gd name="connsiteX1627" fmla="*/ 3470 w 10785"/>
                <a:gd name="connsiteY1627" fmla="*/ 2171 h 10000"/>
                <a:gd name="connsiteX1628" fmla="*/ 3484 w 10785"/>
                <a:gd name="connsiteY1628" fmla="*/ 2171 h 10000"/>
                <a:gd name="connsiteX1629" fmla="*/ 3484 w 10785"/>
                <a:gd name="connsiteY1629" fmla="*/ 2197 h 10000"/>
                <a:gd name="connsiteX1630" fmla="*/ 3465 w 10785"/>
                <a:gd name="connsiteY1630" fmla="*/ 2214 h 10000"/>
                <a:gd name="connsiteX1631" fmla="*/ 3493 w 10785"/>
                <a:gd name="connsiteY1631" fmla="*/ 2248 h 10000"/>
                <a:gd name="connsiteX1632" fmla="*/ 3484 w 10785"/>
                <a:gd name="connsiteY1632" fmla="*/ 2256 h 10000"/>
                <a:gd name="connsiteX1633" fmla="*/ 3498 w 10785"/>
                <a:gd name="connsiteY1633" fmla="*/ 2274 h 10000"/>
                <a:gd name="connsiteX1634" fmla="*/ 3498 w 10785"/>
                <a:gd name="connsiteY1634" fmla="*/ 2256 h 10000"/>
                <a:gd name="connsiteX1635" fmla="*/ 3507 w 10785"/>
                <a:gd name="connsiteY1635" fmla="*/ 2308 h 10000"/>
                <a:gd name="connsiteX1636" fmla="*/ 3512 w 10785"/>
                <a:gd name="connsiteY1636" fmla="*/ 2325 h 10000"/>
                <a:gd name="connsiteX1637" fmla="*/ 3507 w 10785"/>
                <a:gd name="connsiteY1637" fmla="*/ 2333 h 10000"/>
                <a:gd name="connsiteX1638" fmla="*/ 3507 w 10785"/>
                <a:gd name="connsiteY1638" fmla="*/ 2359 h 10000"/>
                <a:gd name="connsiteX1639" fmla="*/ 3507 w 10785"/>
                <a:gd name="connsiteY1639" fmla="*/ 2376 h 10000"/>
                <a:gd name="connsiteX1640" fmla="*/ 3498 w 10785"/>
                <a:gd name="connsiteY1640" fmla="*/ 2410 h 10000"/>
                <a:gd name="connsiteX1641" fmla="*/ 3498 w 10785"/>
                <a:gd name="connsiteY1641" fmla="*/ 2436 h 10000"/>
                <a:gd name="connsiteX1642" fmla="*/ 3507 w 10785"/>
                <a:gd name="connsiteY1642" fmla="*/ 2462 h 10000"/>
                <a:gd name="connsiteX1643" fmla="*/ 3507 w 10785"/>
                <a:gd name="connsiteY1643" fmla="*/ 2496 h 10000"/>
                <a:gd name="connsiteX1644" fmla="*/ 3512 w 10785"/>
                <a:gd name="connsiteY1644" fmla="*/ 2521 h 10000"/>
                <a:gd name="connsiteX1645" fmla="*/ 3525 w 10785"/>
                <a:gd name="connsiteY1645" fmla="*/ 2556 h 10000"/>
                <a:gd name="connsiteX1646" fmla="*/ 3571 w 10785"/>
                <a:gd name="connsiteY1646" fmla="*/ 2573 h 10000"/>
                <a:gd name="connsiteX1647" fmla="*/ 3590 w 10785"/>
                <a:gd name="connsiteY1647" fmla="*/ 2598 h 10000"/>
                <a:gd name="connsiteX1648" fmla="*/ 3599 w 10785"/>
                <a:gd name="connsiteY1648" fmla="*/ 2598 h 10000"/>
                <a:gd name="connsiteX1649" fmla="*/ 3604 w 10785"/>
                <a:gd name="connsiteY1649" fmla="*/ 2632 h 10000"/>
                <a:gd name="connsiteX1650" fmla="*/ 3599 w 10785"/>
                <a:gd name="connsiteY1650" fmla="*/ 2658 h 10000"/>
                <a:gd name="connsiteX1651" fmla="*/ 3590 w 10785"/>
                <a:gd name="connsiteY1651" fmla="*/ 2667 h 10000"/>
                <a:gd name="connsiteX1652" fmla="*/ 3604 w 10785"/>
                <a:gd name="connsiteY1652" fmla="*/ 2667 h 10000"/>
                <a:gd name="connsiteX1653" fmla="*/ 3613 w 10785"/>
                <a:gd name="connsiteY1653" fmla="*/ 2692 h 10000"/>
                <a:gd name="connsiteX1654" fmla="*/ 3627 w 10785"/>
                <a:gd name="connsiteY1654" fmla="*/ 2735 h 10000"/>
                <a:gd name="connsiteX1655" fmla="*/ 3631 w 10785"/>
                <a:gd name="connsiteY1655" fmla="*/ 2744 h 10000"/>
                <a:gd name="connsiteX1656" fmla="*/ 3659 w 10785"/>
                <a:gd name="connsiteY1656" fmla="*/ 2761 h 10000"/>
                <a:gd name="connsiteX1657" fmla="*/ 3673 w 10785"/>
                <a:gd name="connsiteY1657" fmla="*/ 2769 h 10000"/>
                <a:gd name="connsiteX1658" fmla="*/ 3673 w 10785"/>
                <a:gd name="connsiteY1658" fmla="*/ 2761 h 10000"/>
                <a:gd name="connsiteX1659" fmla="*/ 3687 w 10785"/>
                <a:gd name="connsiteY1659" fmla="*/ 2829 h 10000"/>
                <a:gd name="connsiteX1660" fmla="*/ 3677 w 10785"/>
                <a:gd name="connsiteY1660" fmla="*/ 2897 h 10000"/>
                <a:gd name="connsiteX1661" fmla="*/ 3673 w 10785"/>
                <a:gd name="connsiteY1661" fmla="*/ 2915 h 10000"/>
                <a:gd name="connsiteX1662" fmla="*/ 3664 w 10785"/>
                <a:gd name="connsiteY1662" fmla="*/ 2957 h 10000"/>
                <a:gd name="connsiteX1663" fmla="*/ 3659 w 10785"/>
                <a:gd name="connsiteY1663" fmla="*/ 2983 h 10000"/>
                <a:gd name="connsiteX1664" fmla="*/ 3664 w 10785"/>
                <a:gd name="connsiteY1664" fmla="*/ 3017 h 10000"/>
                <a:gd name="connsiteX1665" fmla="*/ 3659 w 10785"/>
                <a:gd name="connsiteY1665" fmla="*/ 3043 h 10000"/>
                <a:gd name="connsiteX1666" fmla="*/ 3677 w 10785"/>
                <a:gd name="connsiteY1666" fmla="*/ 3094 h 10000"/>
                <a:gd name="connsiteX1667" fmla="*/ 3691 w 10785"/>
                <a:gd name="connsiteY1667" fmla="*/ 3282 h 10000"/>
                <a:gd name="connsiteX1668" fmla="*/ 3691 w 10785"/>
                <a:gd name="connsiteY1668" fmla="*/ 3308 h 10000"/>
                <a:gd name="connsiteX1669" fmla="*/ 3677 w 10785"/>
                <a:gd name="connsiteY1669" fmla="*/ 3342 h 10000"/>
                <a:gd name="connsiteX1670" fmla="*/ 3664 w 10785"/>
                <a:gd name="connsiteY1670" fmla="*/ 3342 h 10000"/>
                <a:gd name="connsiteX1671" fmla="*/ 3650 w 10785"/>
                <a:gd name="connsiteY1671" fmla="*/ 3342 h 10000"/>
                <a:gd name="connsiteX1672" fmla="*/ 3650 w 10785"/>
                <a:gd name="connsiteY1672" fmla="*/ 3350 h 10000"/>
                <a:gd name="connsiteX1673" fmla="*/ 3659 w 10785"/>
                <a:gd name="connsiteY1673" fmla="*/ 3402 h 10000"/>
                <a:gd name="connsiteX1674" fmla="*/ 3659 w 10785"/>
                <a:gd name="connsiteY1674" fmla="*/ 3419 h 10000"/>
                <a:gd name="connsiteX1675" fmla="*/ 3631 w 10785"/>
                <a:gd name="connsiteY1675" fmla="*/ 3402 h 10000"/>
                <a:gd name="connsiteX1676" fmla="*/ 3604 w 10785"/>
                <a:gd name="connsiteY1676" fmla="*/ 3393 h 10000"/>
                <a:gd name="connsiteX1677" fmla="*/ 3599 w 10785"/>
                <a:gd name="connsiteY1677" fmla="*/ 3368 h 10000"/>
                <a:gd name="connsiteX1678" fmla="*/ 3590 w 10785"/>
                <a:gd name="connsiteY1678" fmla="*/ 3239 h 10000"/>
                <a:gd name="connsiteX1679" fmla="*/ 3599 w 10785"/>
                <a:gd name="connsiteY1679" fmla="*/ 3179 h 10000"/>
                <a:gd name="connsiteX1680" fmla="*/ 3599 w 10785"/>
                <a:gd name="connsiteY1680" fmla="*/ 3171 h 10000"/>
                <a:gd name="connsiteX1681" fmla="*/ 3599 w 10785"/>
                <a:gd name="connsiteY1681" fmla="*/ 3009 h 10000"/>
                <a:gd name="connsiteX1682" fmla="*/ 3604 w 10785"/>
                <a:gd name="connsiteY1682" fmla="*/ 2983 h 10000"/>
                <a:gd name="connsiteX1683" fmla="*/ 3645 w 10785"/>
                <a:gd name="connsiteY1683" fmla="*/ 2932 h 10000"/>
                <a:gd name="connsiteX1684" fmla="*/ 3650 w 10785"/>
                <a:gd name="connsiteY1684" fmla="*/ 2872 h 10000"/>
                <a:gd name="connsiteX1685" fmla="*/ 3659 w 10785"/>
                <a:gd name="connsiteY1685" fmla="*/ 2855 h 10000"/>
                <a:gd name="connsiteX1686" fmla="*/ 3659 w 10785"/>
                <a:gd name="connsiteY1686" fmla="*/ 2821 h 10000"/>
                <a:gd name="connsiteX1687" fmla="*/ 3631 w 10785"/>
                <a:gd name="connsiteY1687" fmla="*/ 2795 h 10000"/>
                <a:gd name="connsiteX1688" fmla="*/ 3567 w 10785"/>
                <a:gd name="connsiteY1688" fmla="*/ 2821 h 10000"/>
                <a:gd name="connsiteX1689" fmla="*/ 3544 w 10785"/>
                <a:gd name="connsiteY1689" fmla="*/ 2795 h 10000"/>
                <a:gd name="connsiteX1690" fmla="*/ 3530 w 10785"/>
                <a:gd name="connsiteY1690" fmla="*/ 2769 h 10000"/>
                <a:gd name="connsiteX1691" fmla="*/ 3530 w 10785"/>
                <a:gd name="connsiteY1691" fmla="*/ 2786 h 10000"/>
                <a:gd name="connsiteX1692" fmla="*/ 3498 w 10785"/>
                <a:gd name="connsiteY1692" fmla="*/ 2692 h 10000"/>
                <a:gd name="connsiteX1693" fmla="*/ 3498 w 10785"/>
                <a:gd name="connsiteY1693" fmla="*/ 2667 h 10000"/>
                <a:gd name="connsiteX1694" fmla="*/ 3442 w 10785"/>
                <a:gd name="connsiteY1694" fmla="*/ 2607 h 10000"/>
                <a:gd name="connsiteX1695" fmla="*/ 3433 w 10785"/>
                <a:gd name="connsiteY1695" fmla="*/ 2581 h 10000"/>
                <a:gd name="connsiteX1696" fmla="*/ 3396 w 10785"/>
                <a:gd name="connsiteY1696" fmla="*/ 2556 h 10000"/>
                <a:gd name="connsiteX1697" fmla="*/ 3318 w 10785"/>
                <a:gd name="connsiteY1697" fmla="*/ 2556 h 10000"/>
                <a:gd name="connsiteX1698" fmla="*/ 3304 w 10785"/>
                <a:gd name="connsiteY1698" fmla="*/ 2607 h 10000"/>
                <a:gd name="connsiteX1699" fmla="*/ 3276 w 10785"/>
                <a:gd name="connsiteY1699" fmla="*/ 2632 h 10000"/>
                <a:gd name="connsiteX1700" fmla="*/ 3272 w 10785"/>
                <a:gd name="connsiteY1700" fmla="*/ 2667 h 10000"/>
                <a:gd name="connsiteX1701" fmla="*/ 3304 w 10785"/>
                <a:gd name="connsiteY1701" fmla="*/ 2667 h 10000"/>
                <a:gd name="connsiteX1702" fmla="*/ 3323 w 10785"/>
                <a:gd name="connsiteY1702" fmla="*/ 2692 h 10000"/>
                <a:gd name="connsiteX1703" fmla="*/ 3318 w 10785"/>
                <a:gd name="connsiteY1703" fmla="*/ 2735 h 10000"/>
                <a:gd name="connsiteX1704" fmla="*/ 3304 w 10785"/>
                <a:gd name="connsiteY1704" fmla="*/ 2761 h 10000"/>
                <a:gd name="connsiteX1705" fmla="*/ 3276 w 10785"/>
                <a:gd name="connsiteY1705" fmla="*/ 2769 h 10000"/>
                <a:gd name="connsiteX1706" fmla="*/ 3263 w 10785"/>
                <a:gd name="connsiteY1706" fmla="*/ 2795 h 10000"/>
                <a:gd name="connsiteX1707" fmla="*/ 3235 w 10785"/>
                <a:gd name="connsiteY1707" fmla="*/ 2803 h 10000"/>
                <a:gd name="connsiteX1708" fmla="*/ 3235 w 10785"/>
                <a:gd name="connsiteY1708" fmla="*/ 2786 h 10000"/>
                <a:gd name="connsiteX1709" fmla="*/ 3212 w 10785"/>
                <a:gd name="connsiteY1709" fmla="*/ 2709 h 10000"/>
                <a:gd name="connsiteX1710" fmla="*/ 3198 w 10785"/>
                <a:gd name="connsiteY1710" fmla="*/ 2709 h 10000"/>
                <a:gd name="connsiteX1711" fmla="*/ 3184 w 10785"/>
                <a:gd name="connsiteY1711" fmla="*/ 2735 h 10000"/>
                <a:gd name="connsiteX1712" fmla="*/ 3189 w 10785"/>
                <a:gd name="connsiteY1712" fmla="*/ 2761 h 10000"/>
                <a:gd name="connsiteX1713" fmla="*/ 3203 w 10785"/>
                <a:gd name="connsiteY1713" fmla="*/ 2855 h 10000"/>
                <a:gd name="connsiteX1714" fmla="*/ 3212 w 10785"/>
                <a:gd name="connsiteY1714" fmla="*/ 2872 h 10000"/>
                <a:gd name="connsiteX1715" fmla="*/ 3235 w 10785"/>
                <a:gd name="connsiteY1715" fmla="*/ 2906 h 10000"/>
                <a:gd name="connsiteX1716" fmla="*/ 3258 w 10785"/>
                <a:gd name="connsiteY1716" fmla="*/ 2915 h 10000"/>
                <a:gd name="connsiteX1717" fmla="*/ 3272 w 10785"/>
                <a:gd name="connsiteY1717" fmla="*/ 2957 h 10000"/>
                <a:gd name="connsiteX1718" fmla="*/ 3276 w 10785"/>
                <a:gd name="connsiteY1718" fmla="*/ 2957 h 10000"/>
                <a:gd name="connsiteX1719" fmla="*/ 3286 w 10785"/>
                <a:gd name="connsiteY1719" fmla="*/ 2966 h 10000"/>
                <a:gd name="connsiteX1720" fmla="*/ 3300 w 10785"/>
                <a:gd name="connsiteY1720" fmla="*/ 2957 h 10000"/>
                <a:gd name="connsiteX1721" fmla="*/ 3309 w 10785"/>
                <a:gd name="connsiteY1721" fmla="*/ 2932 h 10000"/>
                <a:gd name="connsiteX1722" fmla="*/ 3304 w 10785"/>
                <a:gd name="connsiteY1722" fmla="*/ 2966 h 10000"/>
                <a:gd name="connsiteX1723" fmla="*/ 3309 w 10785"/>
                <a:gd name="connsiteY1723" fmla="*/ 2983 h 10000"/>
                <a:gd name="connsiteX1724" fmla="*/ 3323 w 10785"/>
                <a:gd name="connsiteY1724" fmla="*/ 2966 h 10000"/>
                <a:gd name="connsiteX1725" fmla="*/ 3323 w 10785"/>
                <a:gd name="connsiteY1725" fmla="*/ 3043 h 10000"/>
                <a:gd name="connsiteX1726" fmla="*/ 3346 w 10785"/>
                <a:gd name="connsiteY1726" fmla="*/ 3068 h 10000"/>
                <a:gd name="connsiteX1727" fmla="*/ 3346 w 10785"/>
                <a:gd name="connsiteY1727" fmla="*/ 3094 h 10000"/>
                <a:gd name="connsiteX1728" fmla="*/ 3323 w 10785"/>
                <a:gd name="connsiteY1728" fmla="*/ 3094 h 10000"/>
                <a:gd name="connsiteX1729" fmla="*/ 3309 w 10785"/>
                <a:gd name="connsiteY1729" fmla="*/ 3077 h 10000"/>
                <a:gd name="connsiteX1730" fmla="*/ 3304 w 10785"/>
                <a:gd name="connsiteY1730" fmla="*/ 3051 h 10000"/>
                <a:gd name="connsiteX1731" fmla="*/ 3300 w 10785"/>
                <a:gd name="connsiteY1731" fmla="*/ 3043 h 10000"/>
                <a:gd name="connsiteX1732" fmla="*/ 3286 w 10785"/>
                <a:gd name="connsiteY1732" fmla="*/ 3017 h 10000"/>
                <a:gd name="connsiteX1733" fmla="*/ 3152 w 10785"/>
                <a:gd name="connsiteY1733" fmla="*/ 2966 h 10000"/>
                <a:gd name="connsiteX1734" fmla="*/ 3129 w 10785"/>
                <a:gd name="connsiteY1734" fmla="*/ 2915 h 10000"/>
                <a:gd name="connsiteX1735" fmla="*/ 3129 w 10785"/>
                <a:gd name="connsiteY1735" fmla="*/ 2906 h 10000"/>
                <a:gd name="connsiteX1736" fmla="*/ 3152 w 10785"/>
                <a:gd name="connsiteY1736" fmla="*/ 2906 h 10000"/>
                <a:gd name="connsiteX1737" fmla="*/ 3152 w 10785"/>
                <a:gd name="connsiteY1737" fmla="*/ 2846 h 10000"/>
                <a:gd name="connsiteX1738" fmla="*/ 3138 w 10785"/>
                <a:gd name="connsiteY1738" fmla="*/ 2795 h 10000"/>
                <a:gd name="connsiteX1739" fmla="*/ 3138 w 10785"/>
                <a:gd name="connsiteY1739" fmla="*/ 2769 h 10000"/>
                <a:gd name="connsiteX1740" fmla="*/ 3143 w 10785"/>
                <a:gd name="connsiteY1740" fmla="*/ 2718 h 10000"/>
                <a:gd name="connsiteX1741" fmla="*/ 3129 w 10785"/>
                <a:gd name="connsiteY1741" fmla="*/ 2692 h 10000"/>
                <a:gd name="connsiteX1742" fmla="*/ 3143 w 10785"/>
                <a:gd name="connsiteY1742" fmla="*/ 2667 h 10000"/>
                <a:gd name="connsiteX1743" fmla="*/ 3157 w 10785"/>
                <a:gd name="connsiteY1743" fmla="*/ 2581 h 10000"/>
                <a:gd name="connsiteX1744" fmla="*/ 3143 w 10785"/>
                <a:gd name="connsiteY1744" fmla="*/ 2496 h 10000"/>
                <a:gd name="connsiteX1745" fmla="*/ 3157 w 10785"/>
                <a:gd name="connsiteY1745" fmla="*/ 2487 h 10000"/>
                <a:gd name="connsiteX1746" fmla="*/ 3143 w 10785"/>
                <a:gd name="connsiteY1746" fmla="*/ 2444 h 10000"/>
                <a:gd name="connsiteX1747" fmla="*/ 3143 w 10785"/>
                <a:gd name="connsiteY1747" fmla="*/ 2419 h 10000"/>
                <a:gd name="connsiteX1748" fmla="*/ 3143 w 10785"/>
                <a:gd name="connsiteY1748" fmla="*/ 2410 h 10000"/>
                <a:gd name="connsiteX1749" fmla="*/ 3124 w 10785"/>
                <a:gd name="connsiteY1749" fmla="*/ 2376 h 10000"/>
                <a:gd name="connsiteX1750" fmla="*/ 3115 w 10785"/>
                <a:gd name="connsiteY1750" fmla="*/ 2350 h 10000"/>
                <a:gd name="connsiteX1751" fmla="*/ 3101 w 10785"/>
                <a:gd name="connsiteY1751" fmla="*/ 2359 h 10000"/>
                <a:gd name="connsiteX1752" fmla="*/ 3115 w 10785"/>
                <a:gd name="connsiteY1752" fmla="*/ 2581 h 10000"/>
                <a:gd name="connsiteX1753" fmla="*/ 3111 w 10785"/>
                <a:gd name="connsiteY1753" fmla="*/ 2624 h 10000"/>
                <a:gd name="connsiteX1754" fmla="*/ 3009 w 10785"/>
                <a:gd name="connsiteY1754" fmla="*/ 2761 h 10000"/>
                <a:gd name="connsiteX1755" fmla="*/ 3009 w 10785"/>
                <a:gd name="connsiteY1755" fmla="*/ 2803 h 10000"/>
                <a:gd name="connsiteX1756" fmla="*/ 3005 w 10785"/>
                <a:gd name="connsiteY1756" fmla="*/ 2829 h 10000"/>
                <a:gd name="connsiteX1757" fmla="*/ 2982 w 10785"/>
                <a:gd name="connsiteY1757" fmla="*/ 2872 h 10000"/>
                <a:gd name="connsiteX1758" fmla="*/ 2982 w 10785"/>
                <a:gd name="connsiteY1758" fmla="*/ 2880 h 10000"/>
                <a:gd name="connsiteX1759" fmla="*/ 3037 w 10785"/>
                <a:gd name="connsiteY1759" fmla="*/ 3034 h 10000"/>
                <a:gd name="connsiteX1760" fmla="*/ 3041 w 10785"/>
                <a:gd name="connsiteY1760" fmla="*/ 3103 h 10000"/>
                <a:gd name="connsiteX1761" fmla="*/ 3069 w 10785"/>
                <a:gd name="connsiteY1761" fmla="*/ 3188 h 10000"/>
                <a:gd name="connsiteX1762" fmla="*/ 3055 w 10785"/>
                <a:gd name="connsiteY1762" fmla="*/ 3325 h 10000"/>
                <a:gd name="connsiteX1763" fmla="*/ 3037 w 10785"/>
                <a:gd name="connsiteY1763" fmla="*/ 3368 h 10000"/>
                <a:gd name="connsiteX1764" fmla="*/ 3037 w 10785"/>
                <a:gd name="connsiteY1764" fmla="*/ 3444 h 10000"/>
                <a:gd name="connsiteX1765" fmla="*/ 3028 w 10785"/>
                <a:gd name="connsiteY1765" fmla="*/ 3453 h 10000"/>
                <a:gd name="connsiteX1766" fmla="*/ 3023 w 10785"/>
                <a:gd name="connsiteY1766" fmla="*/ 3530 h 10000"/>
                <a:gd name="connsiteX1767" fmla="*/ 3051 w 10785"/>
                <a:gd name="connsiteY1767" fmla="*/ 3624 h 10000"/>
                <a:gd name="connsiteX1768" fmla="*/ 3037 w 10785"/>
                <a:gd name="connsiteY1768" fmla="*/ 3718 h 10000"/>
                <a:gd name="connsiteX1769" fmla="*/ 3041 w 10785"/>
                <a:gd name="connsiteY1769" fmla="*/ 3752 h 10000"/>
                <a:gd name="connsiteX1770" fmla="*/ 3055 w 10785"/>
                <a:gd name="connsiteY1770" fmla="*/ 3761 h 10000"/>
                <a:gd name="connsiteX1771" fmla="*/ 3078 w 10785"/>
                <a:gd name="connsiteY1771" fmla="*/ 3752 h 10000"/>
                <a:gd name="connsiteX1772" fmla="*/ 3092 w 10785"/>
                <a:gd name="connsiteY1772" fmla="*/ 3752 h 10000"/>
                <a:gd name="connsiteX1773" fmla="*/ 3129 w 10785"/>
                <a:gd name="connsiteY1773" fmla="*/ 3761 h 10000"/>
                <a:gd name="connsiteX1774" fmla="*/ 3129 w 10785"/>
                <a:gd name="connsiteY1774" fmla="*/ 3735 h 10000"/>
                <a:gd name="connsiteX1775" fmla="*/ 3157 w 10785"/>
                <a:gd name="connsiteY1775" fmla="*/ 3718 h 10000"/>
                <a:gd name="connsiteX1776" fmla="*/ 3184 w 10785"/>
                <a:gd name="connsiteY1776" fmla="*/ 3718 h 10000"/>
                <a:gd name="connsiteX1777" fmla="*/ 3290 w 10785"/>
                <a:gd name="connsiteY1777" fmla="*/ 3838 h 10000"/>
                <a:gd name="connsiteX1778" fmla="*/ 3300 w 10785"/>
                <a:gd name="connsiteY1778" fmla="*/ 3846 h 10000"/>
                <a:gd name="connsiteX1779" fmla="*/ 3300 w 10785"/>
                <a:gd name="connsiteY1779" fmla="*/ 3915 h 10000"/>
                <a:gd name="connsiteX1780" fmla="*/ 3318 w 10785"/>
                <a:gd name="connsiteY1780" fmla="*/ 4000 h 10000"/>
                <a:gd name="connsiteX1781" fmla="*/ 3323 w 10785"/>
                <a:gd name="connsiteY1781" fmla="*/ 4000 h 10000"/>
                <a:gd name="connsiteX1782" fmla="*/ 3323 w 10785"/>
                <a:gd name="connsiteY1782" fmla="*/ 4034 h 10000"/>
                <a:gd name="connsiteX1783" fmla="*/ 3318 w 10785"/>
                <a:gd name="connsiteY1783" fmla="*/ 4051 h 10000"/>
                <a:gd name="connsiteX1784" fmla="*/ 3300 w 10785"/>
                <a:gd name="connsiteY1784" fmla="*/ 4051 h 10000"/>
                <a:gd name="connsiteX1785" fmla="*/ 3290 w 10785"/>
                <a:gd name="connsiteY1785" fmla="*/ 4077 h 10000"/>
                <a:gd name="connsiteX1786" fmla="*/ 3286 w 10785"/>
                <a:gd name="connsiteY1786" fmla="*/ 4103 h 10000"/>
                <a:gd name="connsiteX1787" fmla="*/ 3286 w 10785"/>
                <a:gd name="connsiteY1787" fmla="*/ 4197 h 10000"/>
                <a:gd name="connsiteX1788" fmla="*/ 3290 w 10785"/>
                <a:gd name="connsiteY1788" fmla="*/ 4214 h 10000"/>
                <a:gd name="connsiteX1789" fmla="*/ 3304 w 10785"/>
                <a:gd name="connsiteY1789" fmla="*/ 4214 h 10000"/>
                <a:gd name="connsiteX1790" fmla="*/ 3323 w 10785"/>
                <a:gd name="connsiteY1790" fmla="*/ 4239 h 10000"/>
                <a:gd name="connsiteX1791" fmla="*/ 3350 w 10785"/>
                <a:gd name="connsiteY1791" fmla="*/ 4222 h 10000"/>
                <a:gd name="connsiteX1792" fmla="*/ 3369 w 10785"/>
                <a:gd name="connsiteY1792" fmla="*/ 4256 h 10000"/>
                <a:gd name="connsiteX1793" fmla="*/ 3369 w 10785"/>
                <a:gd name="connsiteY1793" fmla="*/ 4256 h 10000"/>
                <a:gd name="connsiteX1794" fmla="*/ 3336 w 10785"/>
                <a:gd name="connsiteY1794" fmla="*/ 4274 h 10000"/>
                <a:gd name="connsiteX1795" fmla="*/ 3323 w 10785"/>
                <a:gd name="connsiteY1795" fmla="*/ 4274 h 10000"/>
                <a:gd name="connsiteX1796" fmla="*/ 3290 w 10785"/>
                <a:gd name="connsiteY1796" fmla="*/ 4274 h 10000"/>
                <a:gd name="connsiteX1797" fmla="*/ 3286 w 10785"/>
                <a:gd name="connsiteY1797" fmla="*/ 4239 h 10000"/>
                <a:gd name="connsiteX1798" fmla="*/ 3263 w 10785"/>
                <a:gd name="connsiteY1798" fmla="*/ 4214 h 10000"/>
                <a:gd name="connsiteX1799" fmla="*/ 3258 w 10785"/>
                <a:gd name="connsiteY1799" fmla="*/ 4188 h 10000"/>
                <a:gd name="connsiteX1800" fmla="*/ 3263 w 10785"/>
                <a:gd name="connsiteY1800" fmla="*/ 4171 h 10000"/>
                <a:gd name="connsiteX1801" fmla="*/ 3263 w 10785"/>
                <a:gd name="connsiteY1801" fmla="*/ 4103 h 10000"/>
                <a:gd name="connsiteX1802" fmla="*/ 3276 w 10785"/>
                <a:gd name="connsiteY1802" fmla="*/ 4060 h 10000"/>
                <a:gd name="connsiteX1803" fmla="*/ 3272 w 10785"/>
                <a:gd name="connsiteY1803" fmla="*/ 4051 h 10000"/>
                <a:gd name="connsiteX1804" fmla="*/ 3263 w 10785"/>
                <a:gd name="connsiteY1804" fmla="*/ 4051 h 10000"/>
                <a:gd name="connsiteX1805" fmla="*/ 3263 w 10785"/>
                <a:gd name="connsiteY1805" fmla="*/ 4034 h 10000"/>
                <a:gd name="connsiteX1806" fmla="*/ 3263 w 10785"/>
                <a:gd name="connsiteY1806" fmla="*/ 4000 h 10000"/>
                <a:gd name="connsiteX1807" fmla="*/ 3272 w 10785"/>
                <a:gd name="connsiteY1807" fmla="*/ 4000 h 10000"/>
                <a:gd name="connsiteX1808" fmla="*/ 3272 w 10785"/>
                <a:gd name="connsiteY1808" fmla="*/ 3974 h 10000"/>
                <a:gd name="connsiteX1809" fmla="*/ 3272 w 10785"/>
                <a:gd name="connsiteY1809" fmla="*/ 3966 h 10000"/>
                <a:gd name="connsiteX1810" fmla="*/ 3272 w 10785"/>
                <a:gd name="connsiteY1810" fmla="*/ 3949 h 10000"/>
                <a:gd name="connsiteX1811" fmla="*/ 3258 w 10785"/>
                <a:gd name="connsiteY1811" fmla="*/ 3923 h 10000"/>
                <a:gd name="connsiteX1812" fmla="*/ 3249 w 10785"/>
                <a:gd name="connsiteY1812" fmla="*/ 3915 h 10000"/>
                <a:gd name="connsiteX1813" fmla="*/ 3244 w 10785"/>
                <a:gd name="connsiteY1813" fmla="*/ 3897 h 10000"/>
                <a:gd name="connsiteX1814" fmla="*/ 3230 w 10785"/>
                <a:gd name="connsiteY1814" fmla="*/ 3889 h 10000"/>
                <a:gd name="connsiteX1815" fmla="*/ 3230 w 10785"/>
                <a:gd name="connsiteY1815" fmla="*/ 3863 h 10000"/>
                <a:gd name="connsiteX1816" fmla="*/ 3230 w 10785"/>
                <a:gd name="connsiteY1816" fmla="*/ 3838 h 10000"/>
                <a:gd name="connsiteX1817" fmla="*/ 3226 w 10785"/>
                <a:gd name="connsiteY1817" fmla="*/ 3803 h 10000"/>
                <a:gd name="connsiteX1818" fmla="*/ 3138 w 10785"/>
                <a:gd name="connsiteY1818" fmla="*/ 3838 h 10000"/>
                <a:gd name="connsiteX1819" fmla="*/ 3078 w 10785"/>
                <a:gd name="connsiteY1819" fmla="*/ 3889 h 10000"/>
                <a:gd name="connsiteX1820" fmla="*/ 3078 w 10785"/>
                <a:gd name="connsiteY1820" fmla="*/ 3940 h 10000"/>
                <a:gd name="connsiteX1821" fmla="*/ 3069 w 10785"/>
                <a:gd name="connsiteY1821" fmla="*/ 3983 h 10000"/>
                <a:gd name="connsiteX1822" fmla="*/ 3069 w 10785"/>
                <a:gd name="connsiteY1822" fmla="*/ 4009 h 10000"/>
                <a:gd name="connsiteX1823" fmla="*/ 3078 w 10785"/>
                <a:gd name="connsiteY1823" fmla="*/ 4026 h 10000"/>
                <a:gd name="connsiteX1824" fmla="*/ 3083 w 10785"/>
                <a:gd name="connsiteY1824" fmla="*/ 4034 h 10000"/>
                <a:gd name="connsiteX1825" fmla="*/ 3092 w 10785"/>
                <a:gd name="connsiteY1825" fmla="*/ 4060 h 10000"/>
                <a:gd name="connsiteX1826" fmla="*/ 3092 w 10785"/>
                <a:gd name="connsiteY1826" fmla="*/ 4077 h 10000"/>
                <a:gd name="connsiteX1827" fmla="*/ 3097 w 10785"/>
                <a:gd name="connsiteY1827" fmla="*/ 4103 h 10000"/>
                <a:gd name="connsiteX1828" fmla="*/ 3101 w 10785"/>
                <a:gd name="connsiteY1828" fmla="*/ 4162 h 10000"/>
                <a:gd name="connsiteX1829" fmla="*/ 3097 w 10785"/>
                <a:gd name="connsiteY1829" fmla="*/ 4222 h 10000"/>
                <a:gd name="connsiteX1830" fmla="*/ 3041 w 10785"/>
                <a:gd name="connsiteY1830" fmla="*/ 4325 h 10000"/>
                <a:gd name="connsiteX1831" fmla="*/ 3037 w 10785"/>
                <a:gd name="connsiteY1831" fmla="*/ 4419 h 10000"/>
                <a:gd name="connsiteX1832" fmla="*/ 3018 w 10785"/>
                <a:gd name="connsiteY1832" fmla="*/ 4470 h 10000"/>
                <a:gd name="connsiteX1833" fmla="*/ 2991 w 10785"/>
                <a:gd name="connsiteY1833" fmla="*/ 4513 h 10000"/>
                <a:gd name="connsiteX1834" fmla="*/ 2977 w 10785"/>
                <a:gd name="connsiteY1834" fmla="*/ 4530 h 10000"/>
                <a:gd name="connsiteX1835" fmla="*/ 2945 w 10785"/>
                <a:gd name="connsiteY1835" fmla="*/ 4556 h 10000"/>
                <a:gd name="connsiteX1836" fmla="*/ 2935 w 10785"/>
                <a:gd name="connsiteY1836" fmla="*/ 4581 h 10000"/>
                <a:gd name="connsiteX1837" fmla="*/ 2949 w 10785"/>
                <a:gd name="connsiteY1837" fmla="*/ 4624 h 10000"/>
                <a:gd name="connsiteX1838" fmla="*/ 2945 w 10785"/>
                <a:gd name="connsiteY1838" fmla="*/ 4658 h 10000"/>
                <a:gd name="connsiteX1839" fmla="*/ 2922 w 10785"/>
                <a:gd name="connsiteY1839" fmla="*/ 4667 h 10000"/>
                <a:gd name="connsiteX1840" fmla="*/ 2876 w 10785"/>
                <a:gd name="connsiteY1840" fmla="*/ 4632 h 10000"/>
                <a:gd name="connsiteX1841" fmla="*/ 2857 w 10785"/>
                <a:gd name="connsiteY1841" fmla="*/ 4632 h 10000"/>
                <a:gd name="connsiteX1842" fmla="*/ 2820 w 10785"/>
                <a:gd name="connsiteY1842" fmla="*/ 4641 h 10000"/>
                <a:gd name="connsiteX1843" fmla="*/ 2797 w 10785"/>
                <a:gd name="connsiteY1843" fmla="*/ 4632 h 10000"/>
                <a:gd name="connsiteX1844" fmla="*/ 2788 w 10785"/>
                <a:gd name="connsiteY1844" fmla="*/ 4624 h 10000"/>
                <a:gd name="connsiteX1845" fmla="*/ 2788 w 10785"/>
                <a:gd name="connsiteY1845" fmla="*/ 4598 h 10000"/>
                <a:gd name="connsiteX1846" fmla="*/ 2797 w 10785"/>
                <a:gd name="connsiteY1846" fmla="*/ 4581 h 10000"/>
                <a:gd name="connsiteX1847" fmla="*/ 2788 w 10785"/>
                <a:gd name="connsiteY1847" fmla="*/ 4530 h 10000"/>
                <a:gd name="connsiteX1848" fmla="*/ 2774 w 10785"/>
                <a:gd name="connsiteY1848" fmla="*/ 4530 h 10000"/>
                <a:gd name="connsiteX1849" fmla="*/ 2770 w 10785"/>
                <a:gd name="connsiteY1849" fmla="*/ 4513 h 10000"/>
                <a:gd name="connsiteX1850" fmla="*/ 2774 w 10785"/>
                <a:gd name="connsiteY1850" fmla="*/ 4513 h 10000"/>
                <a:gd name="connsiteX1851" fmla="*/ 2788 w 10785"/>
                <a:gd name="connsiteY1851" fmla="*/ 4496 h 10000"/>
                <a:gd name="connsiteX1852" fmla="*/ 2802 w 10785"/>
                <a:gd name="connsiteY1852" fmla="*/ 4513 h 10000"/>
                <a:gd name="connsiteX1853" fmla="*/ 2811 w 10785"/>
                <a:gd name="connsiteY1853" fmla="*/ 4530 h 10000"/>
                <a:gd name="connsiteX1854" fmla="*/ 2820 w 10785"/>
                <a:gd name="connsiteY1854" fmla="*/ 4521 h 10000"/>
                <a:gd name="connsiteX1855" fmla="*/ 2829 w 10785"/>
                <a:gd name="connsiteY1855" fmla="*/ 4513 h 10000"/>
                <a:gd name="connsiteX1856" fmla="*/ 2843 w 10785"/>
                <a:gd name="connsiteY1856" fmla="*/ 4513 h 10000"/>
                <a:gd name="connsiteX1857" fmla="*/ 2848 w 10785"/>
                <a:gd name="connsiteY1857" fmla="*/ 4470 h 10000"/>
                <a:gd name="connsiteX1858" fmla="*/ 2862 w 10785"/>
                <a:gd name="connsiteY1858" fmla="*/ 4487 h 10000"/>
                <a:gd name="connsiteX1859" fmla="*/ 2876 w 10785"/>
                <a:gd name="connsiteY1859" fmla="*/ 4470 h 10000"/>
                <a:gd name="connsiteX1860" fmla="*/ 2880 w 10785"/>
                <a:gd name="connsiteY1860" fmla="*/ 4462 h 10000"/>
                <a:gd name="connsiteX1861" fmla="*/ 2889 w 10785"/>
                <a:gd name="connsiteY1861" fmla="*/ 4444 h 10000"/>
                <a:gd name="connsiteX1862" fmla="*/ 2894 w 10785"/>
                <a:gd name="connsiteY1862" fmla="*/ 4462 h 10000"/>
                <a:gd name="connsiteX1863" fmla="*/ 2917 w 10785"/>
                <a:gd name="connsiteY1863" fmla="*/ 4444 h 10000"/>
                <a:gd name="connsiteX1864" fmla="*/ 2922 w 10785"/>
                <a:gd name="connsiteY1864" fmla="*/ 4436 h 10000"/>
                <a:gd name="connsiteX1865" fmla="*/ 2917 w 10785"/>
                <a:gd name="connsiteY1865" fmla="*/ 4410 h 10000"/>
                <a:gd name="connsiteX1866" fmla="*/ 2894 w 10785"/>
                <a:gd name="connsiteY1866" fmla="*/ 4410 h 10000"/>
                <a:gd name="connsiteX1867" fmla="*/ 2889 w 10785"/>
                <a:gd name="connsiteY1867" fmla="*/ 4419 h 10000"/>
                <a:gd name="connsiteX1868" fmla="*/ 2876 w 10785"/>
                <a:gd name="connsiteY1868" fmla="*/ 4410 h 10000"/>
                <a:gd name="connsiteX1869" fmla="*/ 2880 w 10785"/>
                <a:gd name="connsiteY1869" fmla="*/ 4376 h 10000"/>
                <a:gd name="connsiteX1870" fmla="*/ 2903 w 10785"/>
                <a:gd name="connsiteY1870" fmla="*/ 4393 h 10000"/>
                <a:gd name="connsiteX1871" fmla="*/ 2931 w 10785"/>
                <a:gd name="connsiteY1871" fmla="*/ 4393 h 10000"/>
                <a:gd name="connsiteX1872" fmla="*/ 2931 w 10785"/>
                <a:gd name="connsiteY1872" fmla="*/ 4385 h 10000"/>
                <a:gd name="connsiteX1873" fmla="*/ 2931 w 10785"/>
                <a:gd name="connsiteY1873" fmla="*/ 4350 h 10000"/>
                <a:gd name="connsiteX1874" fmla="*/ 2945 w 10785"/>
                <a:gd name="connsiteY1874" fmla="*/ 4350 h 10000"/>
                <a:gd name="connsiteX1875" fmla="*/ 2949 w 10785"/>
                <a:gd name="connsiteY1875" fmla="*/ 4325 h 10000"/>
                <a:gd name="connsiteX1876" fmla="*/ 2963 w 10785"/>
                <a:gd name="connsiteY1876" fmla="*/ 4256 h 10000"/>
                <a:gd name="connsiteX1877" fmla="*/ 2982 w 10785"/>
                <a:gd name="connsiteY1877" fmla="*/ 4239 h 10000"/>
                <a:gd name="connsiteX1878" fmla="*/ 2991 w 10785"/>
                <a:gd name="connsiteY1878" fmla="*/ 4214 h 10000"/>
                <a:gd name="connsiteX1879" fmla="*/ 2991 w 10785"/>
                <a:gd name="connsiteY1879" fmla="*/ 4197 h 10000"/>
                <a:gd name="connsiteX1880" fmla="*/ 2995 w 10785"/>
                <a:gd name="connsiteY1880" fmla="*/ 4171 h 10000"/>
                <a:gd name="connsiteX1881" fmla="*/ 2991 w 10785"/>
                <a:gd name="connsiteY1881" fmla="*/ 4077 h 10000"/>
                <a:gd name="connsiteX1882" fmla="*/ 2995 w 10785"/>
                <a:gd name="connsiteY1882" fmla="*/ 4034 h 10000"/>
                <a:gd name="connsiteX1883" fmla="*/ 3018 w 10785"/>
                <a:gd name="connsiteY1883" fmla="*/ 3983 h 10000"/>
                <a:gd name="connsiteX1884" fmla="*/ 3018 w 10785"/>
                <a:gd name="connsiteY1884" fmla="*/ 3915 h 10000"/>
                <a:gd name="connsiteX1885" fmla="*/ 2949 w 10785"/>
                <a:gd name="connsiteY1885" fmla="*/ 3778 h 10000"/>
                <a:gd name="connsiteX1886" fmla="*/ 2954 w 10785"/>
                <a:gd name="connsiteY1886" fmla="*/ 3675 h 10000"/>
                <a:gd name="connsiteX1887" fmla="*/ 2954 w 10785"/>
                <a:gd name="connsiteY1887" fmla="*/ 3650 h 10000"/>
                <a:gd name="connsiteX1888" fmla="*/ 2963 w 10785"/>
                <a:gd name="connsiteY1888" fmla="*/ 3624 h 10000"/>
                <a:gd name="connsiteX1889" fmla="*/ 2954 w 10785"/>
                <a:gd name="connsiteY1889" fmla="*/ 3564 h 10000"/>
                <a:gd name="connsiteX1890" fmla="*/ 2963 w 10785"/>
                <a:gd name="connsiteY1890" fmla="*/ 3538 h 10000"/>
                <a:gd name="connsiteX1891" fmla="*/ 2963 w 10785"/>
                <a:gd name="connsiteY1891" fmla="*/ 3487 h 10000"/>
                <a:gd name="connsiteX1892" fmla="*/ 2963 w 10785"/>
                <a:gd name="connsiteY1892" fmla="*/ 3479 h 10000"/>
                <a:gd name="connsiteX1893" fmla="*/ 2963 w 10785"/>
                <a:gd name="connsiteY1893" fmla="*/ 3462 h 10000"/>
                <a:gd name="connsiteX1894" fmla="*/ 2954 w 10785"/>
                <a:gd name="connsiteY1894" fmla="*/ 3453 h 10000"/>
                <a:gd name="connsiteX1895" fmla="*/ 2954 w 10785"/>
                <a:gd name="connsiteY1895" fmla="*/ 3444 h 10000"/>
                <a:gd name="connsiteX1896" fmla="*/ 2954 w 10785"/>
                <a:gd name="connsiteY1896" fmla="*/ 3402 h 10000"/>
                <a:gd name="connsiteX1897" fmla="*/ 2954 w 10785"/>
                <a:gd name="connsiteY1897" fmla="*/ 3393 h 10000"/>
                <a:gd name="connsiteX1898" fmla="*/ 2949 w 10785"/>
                <a:gd name="connsiteY1898" fmla="*/ 3376 h 10000"/>
                <a:gd name="connsiteX1899" fmla="*/ 2949 w 10785"/>
                <a:gd name="connsiteY1899" fmla="*/ 3342 h 10000"/>
                <a:gd name="connsiteX1900" fmla="*/ 2949 w 10785"/>
                <a:gd name="connsiteY1900" fmla="*/ 3316 h 10000"/>
                <a:gd name="connsiteX1901" fmla="*/ 2968 w 10785"/>
                <a:gd name="connsiteY1901" fmla="*/ 3291 h 10000"/>
                <a:gd name="connsiteX1902" fmla="*/ 2963 w 10785"/>
                <a:gd name="connsiteY1902" fmla="*/ 3205 h 10000"/>
                <a:gd name="connsiteX1903" fmla="*/ 2968 w 10785"/>
                <a:gd name="connsiteY1903" fmla="*/ 3171 h 10000"/>
                <a:gd name="connsiteX1904" fmla="*/ 2968 w 10785"/>
                <a:gd name="connsiteY1904" fmla="*/ 3128 h 10000"/>
                <a:gd name="connsiteX1905" fmla="*/ 2954 w 10785"/>
                <a:gd name="connsiteY1905" fmla="*/ 3051 h 10000"/>
                <a:gd name="connsiteX1906" fmla="*/ 2954 w 10785"/>
                <a:gd name="connsiteY1906" fmla="*/ 3009 h 10000"/>
                <a:gd name="connsiteX1907" fmla="*/ 2922 w 10785"/>
                <a:gd name="connsiteY1907" fmla="*/ 2940 h 10000"/>
                <a:gd name="connsiteX1908" fmla="*/ 2903 w 10785"/>
                <a:gd name="connsiteY1908" fmla="*/ 2880 h 10000"/>
                <a:gd name="connsiteX1909" fmla="*/ 2903 w 10785"/>
                <a:gd name="connsiteY1909" fmla="*/ 2855 h 10000"/>
                <a:gd name="connsiteX1910" fmla="*/ 2908 w 10785"/>
                <a:gd name="connsiteY1910" fmla="*/ 2846 h 10000"/>
                <a:gd name="connsiteX1911" fmla="*/ 2931 w 10785"/>
                <a:gd name="connsiteY1911" fmla="*/ 2821 h 10000"/>
                <a:gd name="connsiteX1912" fmla="*/ 2931 w 10785"/>
                <a:gd name="connsiteY1912" fmla="*/ 2803 h 10000"/>
                <a:gd name="connsiteX1913" fmla="*/ 2935 w 10785"/>
                <a:gd name="connsiteY1913" fmla="*/ 2786 h 10000"/>
                <a:gd name="connsiteX1914" fmla="*/ 2935 w 10785"/>
                <a:gd name="connsiteY1914" fmla="*/ 2744 h 10000"/>
                <a:gd name="connsiteX1915" fmla="*/ 2963 w 10785"/>
                <a:gd name="connsiteY1915" fmla="*/ 2607 h 10000"/>
                <a:gd name="connsiteX1916" fmla="*/ 2963 w 10785"/>
                <a:gd name="connsiteY1916" fmla="*/ 2419 h 10000"/>
                <a:gd name="connsiteX1917" fmla="*/ 2954 w 10785"/>
                <a:gd name="connsiteY1917" fmla="*/ 2410 h 10000"/>
                <a:gd name="connsiteX1918" fmla="*/ 2963 w 10785"/>
                <a:gd name="connsiteY1918" fmla="*/ 2393 h 10000"/>
                <a:gd name="connsiteX1919" fmla="*/ 2908 w 10785"/>
                <a:gd name="connsiteY1919" fmla="*/ 2359 h 10000"/>
                <a:gd name="connsiteX1920" fmla="*/ 2889 w 10785"/>
                <a:gd name="connsiteY1920" fmla="*/ 2325 h 10000"/>
                <a:gd name="connsiteX1921" fmla="*/ 2788 w 10785"/>
                <a:gd name="connsiteY1921" fmla="*/ 2333 h 10000"/>
                <a:gd name="connsiteX1922" fmla="*/ 2774 w 10785"/>
                <a:gd name="connsiteY1922" fmla="*/ 2325 h 10000"/>
                <a:gd name="connsiteX1923" fmla="*/ 2783 w 10785"/>
                <a:gd name="connsiteY1923" fmla="*/ 2308 h 10000"/>
                <a:gd name="connsiteX1924" fmla="*/ 2747 w 10785"/>
                <a:gd name="connsiteY1924" fmla="*/ 2308 h 10000"/>
                <a:gd name="connsiteX1925" fmla="*/ 2742 w 10785"/>
                <a:gd name="connsiteY1925" fmla="*/ 2333 h 10000"/>
                <a:gd name="connsiteX1926" fmla="*/ 2682 w 10785"/>
                <a:gd name="connsiteY1926" fmla="*/ 2769 h 10000"/>
                <a:gd name="connsiteX1927" fmla="*/ 2613 w 10785"/>
                <a:gd name="connsiteY1927" fmla="*/ 2940 h 10000"/>
                <a:gd name="connsiteX1928" fmla="*/ 2581 w 10785"/>
                <a:gd name="connsiteY1928" fmla="*/ 2966 h 10000"/>
                <a:gd name="connsiteX1929" fmla="*/ 2576 w 10785"/>
                <a:gd name="connsiteY1929" fmla="*/ 3051 h 10000"/>
                <a:gd name="connsiteX1930" fmla="*/ 2581 w 10785"/>
                <a:gd name="connsiteY1930" fmla="*/ 3051 h 10000"/>
                <a:gd name="connsiteX1931" fmla="*/ 2594 w 10785"/>
                <a:gd name="connsiteY1931" fmla="*/ 3017 h 10000"/>
                <a:gd name="connsiteX1932" fmla="*/ 2594 w 10785"/>
                <a:gd name="connsiteY1932" fmla="*/ 3034 h 10000"/>
                <a:gd name="connsiteX1933" fmla="*/ 2594 w 10785"/>
                <a:gd name="connsiteY1933" fmla="*/ 3051 h 10000"/>
                <a:gd name="connsiteX1934" fmla="*/ 2590 w 10785"/>
                <a:gd name="connsiteY1934" fmla="*/ 3077 h 10000"/>
                <a:gd name="connsiteX1935" fmla="*/ 2567 w 10785"/>
                <a:gd name="connsiteY1935" fmla="*/ 3103 h 10000"/>
                <a:gd name="connsiteX1936" fmla="*/ 2562 w 10785"/>
                <a:gd name="connsiteY1936" fmla="*/ 3145 h 10000"/>
                <a:gd name="connsiteX1937" fmla="*/ 2567 w 10785"/>
                <a:gd name="connsiteY1937" fmla="*/ 3179 h 10000"/>
                <a:gd name="connsiteX1938" fmla="*/ 2590 w 10785"/>
                <a:gd name="connsiteY1938" fmla="*/ 3171 h 10000"/>
                <a:gd name="connsiteX1939" fmla="*/ 2594 w 10785"/>
                <a:gd name="connsiteY1939" fmla="*/ 3145 h 10000"/>
                <a:gd name="connsiteX1940" fmla="*/ 2613 w 10785"/>
                <a:gd name="connsiteY1940" fmla="*/ 3154 h 10000"/>
                <a:gd name="connsiteX1941" fmla="*/ 2622 w 10785"/>
                <a:gd name="connsiteY1941" fmla="*/ 3179 h 10000"/>
                <a:gd name="connsiteX1942" fmla="*/ 2613 w 10785"/>
                <a:gd name="connsiteY1942" fmla="*/ 3214 h 10000"/>
                <a:gd name="connsiteX1943" fmla="*/ 2613 w 10785"/>
                <a:gd name="connsiteY1943" fmla="*/ 3308 h 10000"/>
                <a:gd name="connsiteX1944" fmla="*/ 2608 w 10785"/>
                <a:gd name="connsiteY1944" fmla="*/ 3325 h 10000"/>
                <a:gd name="connsiteX1945" fmla="*/ 2608 w 10785"/>
                <a:gd name="connsiteY1945" fmla="*/ 3376 h 10000"/>
                <a:gd name="connsiteX1946" fmla="*/ 2613 w 10785"/>
                <a:gd name="connsiteY1946" fmla="*/ 3419 h 10000"/>
                <a:gd name="connsiteX1947" fmla="*/ 2608 w 10785"/>
                <a:gd name="connsiteY1947" fmla="*/ 3444 h 10000"/>
                <a:gd name="connsiteX1948" fmla="*/ 2594 w 10785"/>
                <a:gd name="connsiteY1948" fmla="*/ 3444 h 10000"/>
                <a:gd name="connsiteX1949" fmla="*/ 2590 w 10785"/>
                <a:gd name="connsiteY1949" fmla="*/ 3427 h 10000"/>
                <a:gd name="connsiteX1950" fmla="*/ 2581 w 10785"/>
                <a:gd name="connsiteY1950" fmla="*/ 3564 h 10000"/>
                <a:gd name="connsiteX1951" fmla="*/ 2594 w 10785"/>
                <a:gd name="connsiteY1951" fmla="*/ 3598 h 10000"/>
                <a:gd name="connsiteX1952" fmla="*/ 2594 w 10785"/>
                <a:gd name="connsiteY1952" fmla="*/ 3581 h 10000"/>
                <a:gd name="connsiteX1953" fmla="*/ 2608 w 10785"/>
                <a:gd name="connsiteY1953" fmla="*/ 3556 h 10000"/>
                <a:gd name="connsiteX1954" fmla="*/ 2650 w 10785"/>
                <a:gd name="connsiteY1954" fmla="*/ 3615 h 10000"/>
                <a:gd name="connsiteX1955" fmla="*/ 2664 w 10785"/>
                <a:gd name="connsiteY1955" fmla="*/ 3615 h 10000"/>
                <a:gd name="connsiteX1956" fmla="*/ 2668 w 10785"/>
                <a:gd name="connsiteY1956" fmla="*/ 3615 h 10000"/>
                <a:gd name="connsiteX1957" fmla="*/ 2664 w 10785"/>
                <a:gd name="connsiteY1957" fmla="*/ 3667 h 10000"/>
                <a:gd name="connsiteX1958" fmla="*/ 2687 w 10785"/>
                <a:gd name="connsiteY1958" fmla="*/ 3786 h 10000"/>
                <a:gd name="connsiteX1959" fmla="*/ 2710 w 10785"/>
                <a:gd name="connsiteY1959" fmla="*/ 3812 h 10000"/>
                <a:gd name="connsiteX1960" fmla="*/ 2724 w 10785"/>
                <a:gd name="connsiteY1960" fmla="*/ 3812 h 10000"/>
                <a:gd name="connsiteX1961" fmla="*/ 2724 w 10785"/>
                <a:gd name="connsiteY1961" fmla="*/ 3829 h 10000"/>
                <a:gd name="connsiteX1962" fmla="*/ 2737 w 10785"/>
                <a:gd name="connsiteY1962" fmla="*/ 3838 h 10000"/>
                <a:gd name="connsiteX1963" fmla="*/ 2714 w 10785"/>
                <a:gd name="connsiteY1963" fmla="*/ 3872 h 10000"/>
                <a:gd name="connsiteX1964" fmla="*/ 2696 w 10785"/>
                <a:gd name="connsiteY1964" fmla="*/ 4026 h 10000"/>
                <a:gd name="connsiteX1965" fmla="*/ 2673 w 10785"/>
                <a:gd name="connsiteY1965" fmla="*/ 4051 h 10000"/>
                <a:gd name="connsiteX1966" fmla="*/ 2668 w 10785"/>
                <a:gd name="connsiteY1966" fmla="*/ 4034 h 10000"/>
                <a:gd name="connsiteX1967" fmla="*/ 2673 w 10785"/>
                <a:gd name="connsiteY1967" fmla="*/ 4000 h 10000"/>
                <a:gd name="connsiteX1968" fmla="*/ 2664 w 10785"/>
                <a:gd name="connsiteY1968" fmla="*/ 3974 h 10000"/>
                <a:gd name="connsiteX1969" fmla="*/ 2636 w 10785"/>
                <a:gd name="connsiteY1969" fmla="*/ 3949 h 10000"/>
                <a:gd name="connsiteX1970" fmla="*/ 2581 w 10785"/>
                <a:gd name="connsiteY1970" fmla="*/ 3838 h 10000"/>
                <a:gd name="connsiteX1971" fmla="*/ 2562 w 10785"/>
                <a:gd name="connsiteY1971" fmla="*/ 3829 h 10000"/>
                <a:gd name="connsiteX1972" fmla="*/ 2535 w 10785"/>
                <a:gd name="connsiteY1972" fmla="*/ 3778 h 10000"/>
                <a:gd name="connsiteX1973" fmla="*/ 2502 w 10785"/>
                <a:gd name="connsiteY1973" fmla="*/ 3761 h 10000"/>
                <a:gd name="connsiteX1974" fmla="*/ 2502 w 10785"/>
                <a:gd name="connsiteY1974" fmla="*/ 3735 h 10000"/>
                <a:gd name="connsiteX1975" fmla="*/ 2516 w 10785"/>
                <a:gd name="connsiteY1975" fmla="*/ 3735 h 10000"/>
                <a:gd name="connsiteX1976" fmla="*/ 2507 w 10785"/>
                <a:gd name="connsiteY1976" fmla="*/ 3726 h 10000"/>
                <a:gd name="connsiteX1977" fmla="*/ 2488 w 10785"/>
                <a:gd name="connsiteY1977" fmla="*/ 3726 h 10000"/>
                <a:gd name="connsiteX1978" fmla="*/ 2461 w 10785"/>
                <a:gd name="connsiteY1978" fmla="*/ 3692 h 10000"/>
                <a:gd name="connsiteX1979" fmla="*/ 2442 w 10785"/>
                <a:gd name="connsiteY1979" fmla="*/ 3675 h 10000"/>
                <a:gd name="connsiteX1980" fmla="*/ 2406 w 10785"/>
                <a:gd name="connsiteY1980" fmla="*/ 3598 h 10000"/>
                <a:gd name="connsiteX1981" fmla="*/ 2346 w 10785"/>
                <a:gd name="connsiteY1981" fmla="*/ 3564 h 10000"/>
                <a:gd name="connsiteX1982" fmla="*/ 2341 w 10785"/>
                <a:gd name="connsiteY1982" fmla="*/ 3564 h 10000"/>
                <a:gd name="connsiteX1983" fmla="*/ 2313 w 10785"/>
                <a:gd name="connsiteY1983" fmla="*/ 3530 h 10000"/>
                <a:gd name="connsiteX1984" fmla="*/ 2235 w 10785"/>
                <a:gd name="connsiteY1984" fmla="*/ 3530 h 10000"/>
                <a:gd name="connsiteX1985" fmla="*/ 2226 w 10785"/>
                <a:gd name="connsiteY1985" fmla="*/ 3513 h 10000"/>
                <a:gd name="connsiteX1986" fmla="*/ 2207 w 10785"/>
                <a:gd name="connsiteY1986" fmla="*/ 3504 h 10000"/>
                <a:gd name="connsiteX1987" fmla="*/ 2194 w 10785"/>
                <a:gd name="connsiteY1987" fmla="*/ 3504 h 10000"/>
                <a:gd name="connsiteX1988" fmla="*/ 2189 w 10785"/>
                <a:gd name="connsiteY1988" fmla="*/ 3504 h 10000"/>
                <a:gd name="connsiteX1989" fmla="*/ 2189 w 10785"/>
                <a:gd name="connsiteY1989" fmla="*/ 3530 h 10000"/>
                <a:gd name="connsiteX1990" fmla="*/ 2180 w 10785"/>
                <a:gd name="connsiteY1990" fmla="*/ 3538 h 10000"/>
                <a:gd name="connsiteX1991" fmla="*/ 2152 w 10785"/>
                <a:gd name="connsiteY1991" fmla="*/ 3581 h 10000"/>
                <a:gd name="connsiteX1992" fmla="*/ 2161 w 10785"/>
                <a:gd name="connsiteY1992" fmla="*/ 3598 h 10000"/>
                <a:gd name="connsiteX1993" fmla="*/ 2194 w 10785"/>
                <a:gd name="connsiteY1993" fmla="*/ 3752 h 10000"/>
                <a:gd name="connsiteX1994" fmla="*/ 2194 w 10785"/>
                <a:gd name="connsiteY1994" fmla="*/ 3735 h 10000"/>
                <a:gd name="connsiteX1995" fmla="*/ 2198 w 10785"/>
                <a:gd name="connsiteY1995" fmla="*/ 3735 h 10000"/>
                <a:gd name="connsiteX1996" fmla="*/ 2189 w 10785"/>
                <a:gd name="connsiteY1996" fmla="*/ 3838 h 10000"/>
                <a:gd name="connsiteX1997" fmla="*/ 2166 w 10785"/>
                <a:gd name="connsiteY1997" fmla="*/ 3889 h 10000"/>
                <a:gd name="connsiteX1998" fmla="*/ 2124 w 10785"/>
                <a:gd name="connsiteY1998" fmla="*/ 3889 h 10000"/>
                <a:gd name="connsiteX1999" fmla="*/ 2124 w 10785"/>
                <a:gd name="connsiteY1999" fmla="*/ 3923 h 10000"/>
                <a:gd name="connsiteX2000" fmla="*/ 2134 w 10785"/>
                <a:gd name="connsiteY2000" fmla="*/ 3940 h 10000"/>
                <a:gd name="connsiteX2001" fmla="*/ 2134 w 10785"/>
                <a:gd name="connsiteY2001" fmla="*/ 3966 h 10000"/>
                <a:gd name="connsiteX2002" fmla="*/ 2120 w 10785"/>
                <a:gd name="connsiteY2002" fmla="*/ 4000 h 10000"/>
                <a:gd name="connsiteX2003" fmla="*/ 2106 w 10785"/>
                <a:gd name="connsiteY2003" fmla="*/ 4009 h 10000"/>
                <a:gd name="connsiteX2004" fmla="*/ 2088 w 10785"/>
                <a:gd name="connsiteY2004" fmla="*/ 4000 h 10000"/>
                <a:gd name="connsiteX2005" fmla="*/ 2074 w 10785"/>
                <a:gd name="connsiteY2005" fmla="*/ 3974 h 10000"/>
                <a:gd name="connsiteX2006" fmla="*/ 2074 w 10785"/>
                <a:gd name="connsiteY2006" fmla="*/ 3940 h 10000"/>
                <a:gd name="connsiteX2007" fmla="*/ 2078 w 10785"/>
                <a:gd name="connsiteY2007" fmla="*/ 3915 h 10000"/>
                <a:gd name="connsiteX2008" fmla="*/ 2088 w 10785"/>
                <a:gd name="connsiteY2008" fmla="*/ 3889 h 10000"/>
                <a:gd name="connsiteX2009" fmla="*/ 2101 w 10785"/>
                <a:gd name="connsiteY2009" fmla="*/ 3872 h 10000"/>
                <a:gd name="connsiteX2010" fmla="*/ 2074 w 10785"/>
                <a:gd name="connsiteY2010" fmla="*/ 3812 h 10000"/>
                <a:gd name="connsiteX2011" fmla="*/ 2074 w 10785"/>
                <a:gd name="connsiteY2011" fmla="*/ 3786 h 10000"/>
                <a:gd name="connsiteX2012" fmla="*/ 2060 w 10785"/>
                <a:gd name="connsiteY2012" fmla="*/ 3786 h 10000"/>
                <a:gd name="connsiteX2013" fmla="*/ 2014 w 10785"/>
                <a:gd name="connsiteY2013" fmla="*/ 3829 h 10000"/>
                <a:gd name="connsiteX2014" fmla="*/ 2000 w 10785"/>
                <a:gd name="connsiteY2014" fmla="*/ 3863 h 10000"/>
                <a:gd name="connsiteX2015" fmla="*/ 1986 w 10785"/>
                <a:gd name="connsiteY2015" fmla="*/ 3872 h 10000"/>
                <a:gd name="connsiteX2016" fmla="*/ 1959 w 10785"/>
                <a:gd name="connsiteY2016" fmla="*/ 3940 h 10000"/>
                <a:gd name="connsiteX2017" fmla="*/ 1945 w 10785"/>
                <a:gd name="connsiteY2017" fmla="*/ 3949 h 10000"/>
                <a:gd name="connsiteX2018" fmla="*/ 1940 w 10785"/>
                <a:gd name="connsiteY2018" fmla="*/ 3923 h 10000"/>
                <a:gd name="connsiteX2019" fmla="*/ 1917 w 10785"/>
                <a:gd name="connsiteY2019" fmla="*/ 3915 h 10000"/>
                <a:gd name="connsiteX2020" fmla="*/ 1899 w 10785"/>
                <a:gd name="connsiteY2020" fmla="*/ 3923 h 10000"/>
                <a:gd name="connsiteX2021" fmla="*/ 1880 w 10785"/>
                <a:gd name="connsiteY2021" fmla="*/ 3915 h 10000"/>
                <a:gd name="connsiteX2022" fmla="*/ 1853 w 10785"/>
                <a:gd name="connsiteY2022" fmla="*/ 3940 h 10000"/>
                <a:gd name="connsiteX2023" fmla="*/ 1839 w 10785"/>
                <a:gd name="connsiteY2023" fmla="*/ 3940 h 10000"/>
                <a:gd name="connsiteX2024" fmla="*/ 1806 w 10785"/>
                <a:gd name="connsiteY2024" fmla="*/ 3983 h 10000"/>
                <a:gd name="connsiteX2025" fmla="*/ 1806 w 10785"/>
                <a:gd name="connsiteY2025" fmla="*/ 4000 h 10000"/>
                <a:gd name="connsiteX2026" fmla="*/ 1797 w 10785"/>
                <a:gd name="connsiteY2026" fmla="*/ 4077 h 10000"/>
                <a:gd name="connsiteX2027" fmla="*/ 1783 w 10785"/>
                <a:gd name="connsiteY2027" fmla="*/ 4077 h 10000"/>
                <a:gd name="connsiteX2028" fmla="*/ 1779 w 10785"/>
                <a:gd name="connsiteY2028" fmla="*/ 4051 h 10000"/>
                <a:gd name="connsiteX2029" fmla="*/ 1765 w 10785"/>
                <a:gd name="connsiteY2029" fmla="*/ 4026 h 10000"/>
                <a:gd name="connsiteX2030" fmla="*/ 1751 w 10785"/>
                <a:gd name="connsiteY2030" fmla="*/ 4051 h 10000"/>
                <a:gd name="connsiteX2031" fmla="*/ 1737 w 10785"/>
                <a:gd name="connsiteY2031" fmla="*/ 4009 h 10000"/>
                <a:gd name="connsiteX2032" fmla="*/ 1737 w 10785"/>
                <a:gd name="connsiteY2032" fmla="*/ 3966 h 10000"/>
                <a:gd name="connsiteX2033" fmla="*/ 1733 w 10785"/>
                <a:gd name="connsiteY2033" fmla="*/ 3940 h 10000"/>
                <a:gd name="connsiteX2034" fmla="*/ 1733 w 10785"/>
                <a:gd name="connsiteY2034" fmla="*/ 3923 h 10000"/>
                <a:gd name="connsiteX2035" fmla="*/ 1747 w 10785"/>
                <a:gd name="connsiteY2035" fmla="*/ 3889 h 10000"/>
                <a:gd name="connsiteX2036" fmla="*/ 1747 w 10785"/>
                <a:gd name="connsiteY2036" fmla="*/ 3863 h 10000"/>
                <a:gd name="connsiteX2037" fmla="*/ 1737 w 10785"/>
                <a:gd name="connsiteY2037" fmla="*/ 3838 h 10000"/>
                <a:gd name="connsiteX2038" fmla="*/ 1733 w 10785"/>
                <a:gd name="connsiteY2038" fmla="*/ 3829 h 10000"/>
                <a:gd name="connsiteX2039" fmla="*/ 1733 w 10785"/>
                <a:gd name="connsiteY2039" fmla="*/ 3846 h 10000"/>
                <a:gd name="connsiteX2040" fmla="*/ 1724 w 10785"/>
                <a:gd name="connsiteY2040" fmla="*/ 3846 h 10000"/>
                <a:gd name="connsiteX2041" fmla="*/ 1724 w 10785"/>
                <a:gd name="connsiteY2041" fmla="*/ 3829 h 10000"/>
                <a:gd name="connsiteX2042" fmla="*/ 1737 w 10785"/>
                <a:gd name="connsiteY2042" fmla="*/ 3812 h 10000"/>
                <a:gd name="connsiteX2043" fmla="*/ 1765 w 10785"/>
                <a:gd name="connsiteY2043" fmla="*/ 3812 h 10000"/>
                <a:gd name="connsiteX2044" fmla="*/ 1779 w 10785"/>
                <a:gd name="connsiteY2044" fmla="*/ 3786 h 10000"/>
                <a:gd name="connsiteX2045" fmla="*/ 1779 w 10785"/>
                <a:gd name="connsiteY2045" fmla="*/ 3786 h 10000"/>
                <a:gd name="connsiteX2046" fmla="*/ 1751 w 10785"/>
                <a:gd name="connsiteY2046" fmla="*/ 3803 h 10000"/>
                <a:gd name="connsiteX2047" fmla="*/ 1747 w 10785"/>
                <a:gd name="connsiteY2047" fmla="*/ 3803 h 10000"/>
                <a:gd name="connsiteX2048" fmla="*/ 1724 w 10785"/>
                <a:gd name="connsiteY2048" fmla="*/ 3803 h 10000"/>
                <a:gd name="connsiteX2049" fmla="*/ 1700 w 10785"/>
                <a:gd name="connsiteY2049" fmla="*/ 3829 h 10000"/>
                <a:gd name="connsiteX2050" fmla="*/ 1705 w 10785"/>
                <a:gd name="connsiteY2050" fmla="*/ 3846 h 10000"/>
                <a:gd name="connsiteX2051" fmla="*/ 1691 w 10785"/>
                <a:gd name="connsiteY2051" fmla="*/ 3846 h 10000"/>
                <a:gd name="connsiteX2052" fmla="*/ 1691 w 10785"/>
                <a:gd name="connsiteY2052" fmla="*/ 3863 h 10000"/>
                <a:gd name="connsiteX2053" fmla="*/ 1691 w 10785"/>
                <a:gd name="connsiteY2053" fmla="*/ 3915 h 10000"/>
                <a:gd name="connsiteX2054" fmla="*/ 1677 w 10785"/>
                <a:gd name="connsiteY2054" fmla="*/ 3923 h 10000"/>
                <a:gd name="connsiteX2055" fmla="*/ 1673 w 10785"/>
                <a:gd name="connsiteY2055" fmla="*/ 3915 h 10000"/>
                <a:gd name="connsiteX2056" fmla="*/ 1664 w 10785"/>
                <a:gd name="connsiteY2056" fmla="*/ 3889 h 10000"/>
                <a:gd name="connsiteX2057" fmla="*/ 1673 w 10785"/>
                <a:gd name="connsiteY2057" fmla="*/ 3872 h 10000"/>
                <a:gd name="connsiteX2058" fmla="*/ 1664 w 10785"/>
                <a:gd name="connsiteY2058" fmla="*/ 3872 h 10000"/>
                <a:gd name="connsiteX2059" fmla="*/ 1636 w 10785"/>
                <a:gd name="connsiteY2059" fmla="*/ 3923 h 10000"/>
                <a:gd name="connsiteX2060" fmla="*/ 1645 w 10785"/>
                <a:gd name="connsiteY2060" fmla="*/ 3923 h 10000"/>
                <a:gd name="connsiteX2061" fmla="*/ 1650 w 10785"/>
                <a:gd name="connsiteY2061" fmla="*/ 3949 h 10000"/>
                <a:gd name="connsiteX2062" fmla="*/ 1650 w 10785"/>
                <a:gd name="connsiteY2062" fmla="*/ 3983 h 10000"/>
                <a:gd name="connsiteX2063" fmla="*/ 1636 w 10785"/>
                <a:gd name="connsiteY2063" fmla="*/ 4000 h 10000"/>
                <a:gd name="connsiteX2064" fmla="*/ 1631 w 10785"/>
                <a:gd name="connsiteY2064" fmla="*/ 4009 h 10000"/>
                <a:gd name="connsiteX2065" fmla="*/ 1618 w 10785"/>
                <a:gd name="connsiteY2065" fmla="*/ 3949 h 10000"/>
                <a:gd name="connsiteX2066" fmla="*/ 1585 w 10785"/>
                <a:gd name="connsiteY2066" fmla="*/ 3966 h 10000"/>
                <a:gd name="connsiteX2067" fmla="*/ 1590 w 10785"/>
                <a:gd name="connsiteY2067" fmla="*/ 3974 h 10000"/>
                <a:gd name="connsiteX2068" fmla="*/ 1544 w 10785"/>
                <a:gd name="connsiteY2068" fmla="*/ 4009 h 10000"/>
                <a:gd name="connsiteX2069" fmla="*/ 1539 w 10785"/>
                <a:gd name="connsiteY2069" fmla="*/ 4009 h 10000"/>
                <a:gd name="connsiteX2070" fmla="*/ 1410 w 10785"/>
                <a:gd name="connsiteY2070" fmla="*/ 4188 h 10000"/>
                <a:gd name="connsiteX2071" fmla="*/ 1406 w 10785"/>
                <a:gd name="connsiteY2071" fmla="*/ 4171 h 10000"/>
                <a:gd name="connsiteX2072" fmla="*/ 1396 w 10785"/>
                <a:gd name="connsiteY2072" fmla="*/ 4214 h 10000"/>
                <a:gd name="connsiteX2073" fmla="*/ 1406 w 10785"/>
                <a:gd name="connsiteY2073" fmla="*/ 4222 h 10000"/>
                <a:gd name="connsiteX2074" fmla="*/ 1392 w 10785"/>
                <a:gd name="connsiteY2074" fmla="*/ 4239 h 10000"/>
                <a:gd name="connsiteX2075" fmla="*/ 1369 w 10785"/>
                <a:gd name="connsiteY2075" fmla="*/ 4248 h 10000"/>
                <a:gd name="connsiteX2076" fmla="*/ 1355 w 10785"/>
                <a:gd name="connsiteY2076" fmla="*/ 4256 h 10000"/>
                <a:gd name="connsiteX2077" fmla="*/ 1350 w 10785"/>
                <a:gd name="connsiteY2077" fmla="*/ 4248 h 10000"/>
                <a:gd name="connsiteX2078" fmla="*/ 1332 w 10785"/>
                <a:gd name="connsiteY2078" fmla="*/ 4376 h 10000"/>
                <a:gd name="connsiteX2079" fmla="*/ 1332 w 10785"/>
                <a:gd name="connsiteY2079" fmla="*/ 4436 h 10000"/>
                <a:gd name="connsiteX2080" fmla="*/ 1323 w 10785"/>
                <a:gd name="connsiteY2080" fmla="*/ 4462 h 10000"/>
                <a:gd name="connsiteX2081" fmla="*/ 1304 w 10785"/>
                <a:gd name="connsiteY2081" fmla="*/ 4487 h 10000"/>
                <a:gd name="connsiteX2082" fmla="*/ 1290 w 10785"/>
                <a:gd name="connsiteY2082" fmla="*/ 4470 h 10000"/>
                <a:gd name="connsiteX2083" fmla="*/ 1263 w 10785"/>
                <a:gd name="connsiteY2083" fmla="*/ 4496 h 10000"/>
                <a:gd name="connsiteX2084" fmla="*/ 1258 w 10785"/>
                <a:gd name="connsiteY2084" fmla="*/ 4547 h 10000"/>
                <a:gd name="connsiteX2085" fmla="*/ 1249 w 10785"/>
                <a:gd name="connsiteY2085" fmla="*/ 4487 h 10000"/>
                <a:gd name="connsiteX2086" fmla="*/ 1235 w 10785"/>
                <a:gd name="connsiteY2086" fmla="*/ 4496 h 10000"/>
                <a:gd name="connsiteX2087" fmla="*/ 1221 w 10785"/>
                <a:gd name="connsiteY2087" fmla="*/ 4496 h 10000"/>
                <a:gd name="connsiteX2088" fmla="*/ 1217 w 10785"/>
                <a:gd name="connsiteY2088" fmla="*/ 4487 h 10000"/>
                <a:gd name="connsiteX2089" fmla="*/ 1198 w 10785"/>
                <a:gd name="connsiteY2089" fmla="*/ 4410 h 10000"/>
                <a:gd name="connsiteX2090" fmla="*/ 1157 w 10785"/>
                <a:gd name="connsiteY2090" fmla="*/ 4333 h 10000"/>
                <a:gd name="connsiteX2091" fmla="*/ 1147 w 10785"/>
                <a:gd name="connsiteY2091" fmla="*/ 4299 h 10000"/>
                <a:gd name="connsiteX2092" fmla="*/ 1147 w 10785"/>
                <a:gd name="connsiteY2092" fmla="*/ 4274 h 10000"/>
                <a:gd name="connsiteX2093" fmla="*/ 1161 w 10785"/>
                <a:gd name="connsiteY2093" fmla="*/ 4256 h 10000"/>
                <a:gd name="connsiteX2094" fmla="*/ 1171 w 10785"/>
                <a:gd name="connsiteY2094" fmla="*/ 4248 h 10000"/>
                <a:gd name="connsiteX2095" fmla="*/ 1175 w 10785"/>
                <a:gd name="connsiteY2095" fmla="*/ 4214 h 10000"/>
                <a:gd name="connsiteX2096" fmla="*/ 1263 w 10785"/>
                <a:gd name="connsiteY2096" fmla="*/ 4171 h 10000"/>
                <a:gd name="connsiteX2097" fmla="*/ 1249 w 10785"/>
                <a:gd name="connsiteY2097" fmla="*/ 4137 h 10000"/>
                <a:gd name="connsiteX2098" fmla="*/ 1244 w 10785"/>
                <a:gd name="connsiteY2098" fmla="*/ 4060 h 10000"/>
                <a:gd name="connsiteX2099" fmla="*/ 1230 w 10785"/>
                <a:gd name="connsiteY2099" fmla="*/ 4077 h 10000"/>
                <a:gd name="connsiteX2100" fmla="*/ 1221 w 10785"/>
                <a:gd name="connsiteY2100" fmla="*/ 4026 h 10000"/>
                <a:gd name="connsiteX2101" fmla="*/ 1217 w 10785"/>
                <a:gd name="connsiteY2101" fmla="*/ 4026 h 10000"/>
                <a:gd name="connsiteX2102" fmla="*/ 1212 w 10785"/>
                <a:gd name="connsiteY2102" fmla="*/ 3983 h 10000"/>
                <a:gd name="connsiteX2103" fmla="*/ 1203 w 10785"/>
                <a:gd name="connsiteY2103" fmla="*/ 3966 h 10000"/>
                <a:gd name="connsiteX2104" fmla="*/ 1171 w 10785"/>
                <a:gd name="connsiteY2104" fmla="*/ 3949 h 10000"/>
                <a:gd name="connsiteX2105" fmla="*/ 1111 w 10785"/>
                <a:gd name="connsiteY2105" fmla="*/ 3940 h 10000"/>
                <a:gd name="connsiteX2106" fmla="*/ 1097 w 10785"/>
                <a:gd name="connsiteY2106" fmla="*/ 3949 h 10000"/>
                <a:gd name="connsiteX2107" fmla="*/ 1037 w 10785"/>
                <a:gd name="connsiteY2107" fmla="*/ 3897 h 10000"/>
                <a:gd name="connsiteX2108" fmla="*/ 1041 w 10785"/>
                <a:gd name="connsiteY2108" fmla="*/ 3923 h 10000"/>
                <a:gd name="connsiteX2109" fmla="*/ 1097 w 10785"/>
                <a:gd name="connsiteY2109" fmla="*/ 4009 h 10000"/>
                <a:gd name="connsiteX2110" fmla="*/ 1097 w 10785"/>
                <a:gd name="connsiteY2110" fmla="*/ 4120 h 10000"/>
                <a:gd name="connsiteX2111" fmla="*/ 1097 w 10785"/>
                <a:gd name="connsiteY2111" fmla="*/ 4162 h 10000"/>
                <a:gd name="connsiteX2112" fmla="*/ 1097 w 10785"/>
                <a:gd name="connsiteY2112" fmla="*/ 4197 h 10000"/>
                <a:gd name="connsiteX2113" fmla="*/ 1074 w 10785"/>
                <a:gd name="connsiteY2113" fmla="*/ 4333 h 10000"/>
                <a:gd name="connsiteX2114" fmla="*/ 1074 w 10785"/>
                <a:gd name="connsiteY2114" fmla="*/ 4376 h 10000"/>
                <a:gd name="connsiteX2115" fmla="*/ 1083 w 10785"/>
                <a:gd name="connsiteY2115" fmla="*/ 4385 h 10000"/>
                <a:gd name="connsiteX2116" fmla="*/ 1097 w 10785"/>
                <a:gd name="connsiteY2116" fmla="*/ 4385 h 10000"/>
                <a:gd name="connsiteX2117" fmla="*/ 1111 w 10785"/>
                <a:gd name="connsiteY2117" fmla="*/ 4410 h 10000"/>
                <a:gd name="connsiteX2118" fmla="*/ 1124 w 10785"/>
                <a:gd name="connsiteY2118" fmla="*/ 4444 h 10000"/>
                <a:gd name="connsiteX2119" fmla="*/ 1124 w 10785"/>
                <a:gd name="connsiteY2119" fmla="*/ 4470 h 10000"/>
                <a:gd name="connsiteX2120" fmla="*/ 1115 w 10785"/>
                <a:gd name="connsiteY2120" fmla="*/ 4513 h 10000"/>
                <a:gd name="connsiteX2121" fmla="*/ 1115 w 10785"/>
                <a:gd name="connsiteY2121" fmla="*/ 4530 h 10000"/>
                <a:gd name="connsiteX2122" fmla="*/ 1115 w 10785"/>
                <a:gd name="connsiteY2122" fmla="*/ 4573 h 10000"/>
                <a:gd name="connsiteX2123" fmla="*/ 1101 w 10785"/>
                <a:gd name="connsiteY2123" fmla="*/ 4607 h 10000"/>
                <a:gd name="connsiteX2124" fmla="*/ 1097 w 10785"/>
                <a:gd name="connsiteY2124" fmla="*/ 4658 h 10000"/>
                <a:gd name="connsiteX2125" fmla="*/ 1101 w 10785"/>
                <a:gd name="connsiteY2125" fmla="*/ 4692 h 10000"/>
                <a:gd name="connsiteX2126" fmla="*/ 1097 w 10785"/>
                <a:gd name="connsiteY2126" fmla="*/ 4778 h 10000"/>
                <a:gd name="connsiteX2127" fmla="*/ 1083 w 10785"/>
                <a:gd name="connsiteY2127" fmla="*/ 4744 h 10000"/>
                <a:gd name="connsiteX2128" fmla="*/ 1083 w 10785"/>
                <a:gd name="connsiteY2128" fmla="*/ 4718 h 10000"/>
                <a:gd name="connsiteX2129" fmla="*/ 1074 w 10785"/>
                <a:gd name="connsiteY2129" fmla="*/ 4692 h 10000"/>
                <a:gd name="connsiteX2130" fmla="*/ 1065 w 10785"/>
                <a:gd name="connsiteY2130" fmla="*/ 4692 h 10000"/>
                <a:gd name="connsiteX2131" fmla="*/ 1051 w 10785"/>
                <a:gd name="connsiteY2131" fmla="*/ 4718 h 10000"/>
                <a:gd name="connsiteX2132" fmla="*/ 1055 w 10785"/>
                <a:gd name="connsiteY2132" fmla="*/ 4692 h 10000"/>
                <a:gd name="connsiteX2133" fmla="*/ 1055 w 10785"/>
                <a:gd name="connsiteY2133" fmla="*/ 4667 h 10000"/>
                <a:gd name="connsiteX2134" fmla="*/ 1028 w 10785"/>
                <a:gd name="connsiteY2134" fmla="*/ 4624 h 10000"/>
                <a:gd name="connsiteX2135" fmla="*/ 1005 w 10785"/>
                <a:gd name="connsiteY2135" fmla="*/ 4624 h 10000"/>
                <a:gd name="connsiteX2136" fmla="*/ 977 w 10785"/>
                <a:gd name="connsiteY2136" fmla="*/ 4581 h 10000"/>
                <a:gd name="connsiteX2137" fmla="*/ 963 w 10785"/>
                <a:gd name="connsiteY2137" fmla="*/ 4607 h 10000"/>
                <a:gd name="connsiteX2138" fmla="*/ 963 w 10785"/>
                <a:gd name="connsiteY2138" fmla="*/ 4632 h 10000"/>
                <a:gd name="connsiteX2139" fmla="*/ 917 w 10785"/>
                <a:gd name="connsiteY2139" fmla="*/ 4718 h 10000"/>
                <a:gd name="connsiteX2140" fmla="*/ 889 w 10785"/>
                <a:gd name="connsiteY2140" fmla="*/ 4744 h 10000"/>
                <a:gd name="connsiteX2141" fmla="*/ 880 w 10785"/>
                <a:gd name="connsiteY2141" fmla="*/ 4744 h 10000"/>
                <a:gd name="connsiteX2142" fmla="*/ 862 w 10785"/>
                <a:gd name="connsiteY2142" fmla="*/ 4769 h 10000"/>
                <a:gd name="connsiteX2143" fmla="*/ 857 w 10785"/>
                <a:gd name="connsiteY2143" fmla="*/ 4795 h 10000"/>
                <a:gd name="connsiteX2144" fmla="*/ 829 w 10785"/>
                <a:gd name="connsiteY2144" fmla="*/ 4846 h 10000"/>
                <a:gd name="connsiteX2145" fmla="*/ 816 w 10785"/>
                <a:gd name="connsiteY2145" fmla="*/ 4855 h 10000"/>
                <a:gd name="connsiteX2146" fmla="*/ 816 w 10785"/>
                <a:gd name="connsiteY2146" fmla="*/ 4940 h 10000"/>
                <a:gd name="connsiteX2147" fmla="*/ 880 w 10785"/>
                <a:gd name="connsiteY2147" fmla="*/ 5179 h 10000"/>
                <a:gd name="connsiteX2148" fmla="*/ 880 w 10785"/>
                <a:gd name="connsiteY2148" fmla="*/ 5188 h 10000"/>
                <a:gd name="connsiteX2149" fmla="*/ 862 w 10785"/>
                <a:gd name="connsiteY2149" fmla="*/ 5171 h 10000"/>
                <a:gd name="connsiteX2150" fmla="*/ 857 w 10785"/>
                <a:gd name="connsiteY2150" fmla="*/ 5171 h 10000"/>
                <a:gd name="connsiteX2151" fmla="*/ 820 w 10785"/>
                <a:gd name="connsiteY2151" fmla="*/ 5145 h 10000"/>
                <a:gd name="connsiteX2152" fmla="*/ 820 w 10785"/>
                <a:gd name="connsiteY2152" fmla="*/ 5154 h 10000"/>
                <a:gd name="connsiteX2153" fmla="*/ 816 w 10785"/>
                <a:gd name="connsiteY2153" fmla="*/ 5171 h 10000"/>
                <a:gd name="connsiteX2154" fmla="*/ 783 w 10785"/>
                <a:gd name="connsiteY2154" fmla="*/ 5145 h 10000"/>
                <a:gd name="connsiteX2155" fmla="*/ 756 w 10785"/>
                <a:gd name="connsiteY2155" fmla="*/ 5103 h 10000"/>
                <a:gd name="connsiteX2156" fmla="*/ 742 w 10785"/>
                <a:gd name="connsiteY2156" fmla="*/ 5103 h 10000"/>
                <a:gd name="connsiteX2157" fmla="*/ 728 w 10785"/>
                <a:gd name="connsiteY2157" fmla="*/ 5094 h 10000"/>
                <a:gd name="connsiteX2158" fmla="*/ 710 w 10785"/>
                <a:gd name="connsiteY2158" fmla="*/ 5120 h 10000"/>
                <a:gd name="connsiteX2159" fmla="*/ 700 w 10785"/>
                <a:gd name="connsiteY2159" fmla="*/ 5145 h 10000"/>
                <a:gd name="connsiteX2160" fmla="*/ 696 w 10785"/>
                <a:gd name="connsiteY2160" fmla="*/ 5103 h 10000"/>
                <a:gd name="connsiteX2161" fmla="*/ 714 w 10785"/>
                <a:gd name="connsiteY2161" fmla="*/ 5077 h 10000"/>
                <a:gd name="connsiteX2162" fmla="*/ 682 w 10785"/>
                <a:gd name="connsiteY2162" fmla="*/ 5068 h 10000"/>
                <a:gd name="connsiteX2163" fmla="*/ 673 w 10785"/>
                <a:gd name="connsiteY2163" fmla="*/ 5034 h 10000"/>
                <a:gd name="connsiteX2164" fmla="*/ 636 w 10785"/>
                <a:gd name="connsiteY2164" fmla="*/ 4991 h 10000"/>
                <a:gd name="connsiteX2165" fmla="*/ 622 w 10785"/>
                <a:gd name="connsiteY2165" fmla="*/ 4983 h 10000"/>
                <a:gd name="connsiteX2166" fmla="*/ 622 w 10785"/>
                <a:gd name="connsiteY2166" fmla="*/ 5034 h 10000"/>
                <a:gd name="connsiteX2167" fmla="*/ 608 w 10785"/>
                <a:gd name="connsiteY2167" fmla="*/ 5051 h 10000"/>
                <a:gd name="connsiteX2168" fmla="*/ 594 w 10785"/>
                <a:gd name="connsiteY2168" fmla="*/ 5068 h 10000"/>
                <a:gd name="connsiteX2169" fmla="*/ 608 w 10785"/>
                <a:gd name="connsiteY2169" fmla="*/ 5120 h 10000"/>
                <a:gd name="connsiteX2170" fmla="*/ 613 w 10785"/>
                <a:gd name="connsiteY2170" fmla="*/ 5128 h 10000"/>
                <a:gd name="connsiteX2171" fmla="*/ 627 w 10785"/>
                <a:gd name="connsiteY2171" fmla="*/ 5179 h 10000"/>
                <a:gd name="connsiteX2172" fmla="*/ 650 w 10785"/>
                <a:gd name="connsiteY2172" fmla="*/ 5214 h 10000"/>
                <a:gd name="connsiteX2173" fmla="*/ 687 w 10785"/>
                <a:gd name="connsiteY2173" fmla="*/ 5188 h 10000"/>
                <a:gd name="connsiteX2174" fmla="*/ 700 w 10785"/>
                <a:gd name="connsiteY2174" fmla="*/ 5325 h 10000"/>
                <a:gd name="connsiteX2175" fmla="*/ 710 w 10785"/>
                <a:gd name="connsiteY2175" fmla="*/ 5350 h 10000"/>
                <a:gd name="connsiteX2176" fmla="*/ 687 w 10785"/>
                <a:gd name="connsiteY2176" fmla="*/ 5325 h 10000"/>
                <a:gd name="connsiteX2177" fmla="*/ 668 w 10785"/>
                <a:gd name="connsiteY2177" fmla="*/ 5350 h 10000"/>
                <a:gd name="connsiteX2178" fmla="*/ 668 w 10785"/>
                <a:gd name="connsiteY2178" fmla="*/ 5368 h 10000"/>
                <a:gd name="connsiteX2179" fmla="*/ 668 w 10785"/>
                <a:gd name="connsiteY2179" fmla="*/ 5376 h 10000"/>
                <a:gd name="connsiteX2180" fmla="*/ 581 w 10785"/>
                <a:gd name="connsiteY2180" fmla="*/ 5316 h 10000"/>
                <a:gd name="connsiteX2181" fmla="*/ 567 w 10785"/>
                <a:gd name="connsiteY2181" fmla="*/ 5265 h 10000"/>
                <a:gd name="connsiteX2182" fmla="*/ 562 w 10785"/>
                <a:gd name="connsiteY2182" fmla="*/ 5256 h 10000"/>
                <a:gd name="connsiteX2183" fmla="*/ 548 w 10785"/>
                <a:gd name="connsiteY2183" fmla="*/ 5231 h 10000"/>
                <a:gd name="connsiteX2184" fmla="*/ 535 w 10785"/>
                <a:gd name="connsiteY2184" fmla="*/ 5214 h 10000"/>
                <a:gd name="connsiteX2185" fmla="*/ 525 w 10785"/>
                <a:gd name="connsiteY2185" fmla="*/ 5231 h 10000"/>
                <a:gd name="connsiteX2186" fmla="*/ 521 w 10785"/>
                <a:gd name="connsiteY2186" fmla="*/ 5231 h 10000"/>
                <a:gd name="connsiteX2187" fmla="*/ 493 w 10785"/>
                <a:gd name="connsiteY2187" fmla="*/ 5205 h 10000"/>
                <a:gd name="connsiteX2188" fmla="*/ 488 w 10785"/>
                <a:gd name="connsiteY2188" fmla="*/ 5179 h 10000"/>
                <a:gd name="connsiteX2189" fmla="*/ 475 w 10785"/>
                <a:gd name="connsiteY2189" fmla="*/ 5188 h 10000"/>
                <a:gd name="connsiteX2190" fmla="*/ 475 w 10785"/>
                <a:gd name="connsiteY2190" fmla="*/ 5171 h 10000"/>
                <a:gd name="connsiteX2191" fmla="*/ 488 w 10785"/>
                <a:gd name="connsiteY2191" fmla="*/ 5154 h 10000"/>
                <a:gd name="connsiteX2192" fmla="*/ 488 w 10785"/>
                <a:gd name="connsiteY2192" fmla="*/ 5068 h 10000"/>
                <a:gd name="connsiteX2193" fmla="*/ 475 w 10785"/>
                <a:gd name="connsiteY2193" fmla="*/ 5051 h 10000"/>
                <a:gd name="connsiteX2194" fmla="*/ 475 w 10785"/>
                <a:gd name="connsiteY2194" fmla="*/ 5017 h 10000"/>
                <a:gd name="connsiteX2195" fmla="*/ 452 w 10785"/>
                <a:gd name="connsiteY2195" fmla="*/ 4932 h 10000"/>
                <a:gd name="connsiteX2196" fmla="*/ 461 w 10785"/>
                <a:gd name="connsiteY2196" fmla="*/ 4915 h 10000"/>
                <a:gd name="connsiteX2197" fmla="*/ 475 w 10785"/>
                <a:gd name="connsiteY2197" fmla="*/ 4906 h 10000"/>
                <a:gd name="connsiteX2198" fmla="*/ 479 w 10785"/>
                <a:gd name="connsiteY2198" fmla="*/ 4803 h 10000"/>
                <a:gd name="connsiteX2199" fmla="*/ 479 w 10785"/>
                <a:gd name="connsiteY2199" fmla="*/ 4778 h 10000"/>
                <a:gd name="connsiteX2200" fmla="*/ 475 w 10785"/>
                <a:gd name="connsiteY2200" fmla="*/ 4761 h 10000"/>
                <a:gd name="connsiteX2201" fmla="*/ 465 w 10785"/>
                <a:gd name="connsiteY2201" fmla="*/ 4718 h 10000"/>
                <a:gd name="connsiteX2202" fmla="*/ 461 w 10785"/>
                <a:gd name="connsiteY2202" fmla="*/ 4709 h 10000"/>
                <a:gd name="connsiteX2203" fmla="*/ 442 w 10785"/>
                <a:gd name="connsiteY2203" fmla="*/ 4692 h 10000"/>
                <a:gd name="connsiteX2204" fmla="*/ 433 w 10785"/>
                <a:gd name="connsiteY2204" fmla="*/ 4667 h 10000"/>
                <a:gd name="connsiteX2205" fmla="*/ 419 w 10785"/>
                <a:gd name="connsiteY2205" fmla="*/ 4667 h 10000"/>
                <a:gd name="connsiteX2206" fmla="*/ 401 w 10785"/>
                <a:gd name="connsiteY2206" fmla="*/ 4658 h 10000"/>
                <a:gd name="connsiteX2207" fmla="*/ 401 w 10785"/>
                <a:gd name="connsiteY2207" fmla="*/ 4624 h 10000"/>
                <a:gd name="connsiteX2208" fmla="*/ 401 w 10785"/>
                <a:gd name="connsiteY2208" fmla="*/ 4607 h 10000"/>
                <a:gd name="connsiteX2209" fmla="*/ 378 w 10785"/>
                <a:gd name="connsiteY2209" fmla="*/ 4607 h 10000"/>
                <a:gd name="connsiteX2210" fmla="*/ 341 w 10785"/>
                <a:gd name="connsiteY2210" fmla="*/ 4530 h 10000"/>
                <a:gd name="connsiteX2211" fmla="*/ 346 w 10785"/>
                <a:gd name="connsiteY2211" fmla="*/ 4521 h 10000"/>
                <a:gd name="connsiteX2212" fmla="*/ 332 w 10785"/>
                <a:gd name="connsiteY2212" fmla="*/ 4487 h 10000"/>
                <a:gd name="connsiteX2213" fmla="*/ 327 w 10785"/>
                <a:gd name="connsiteY2213" fmla="*/ 4462 h 10000"/>
                <a:gd name="connsiteX2214" fmla="*/ 313 w 10785"/>
                <a:gd name="connsiteY2214" fmla="*/ 4436 h 10000"/>
                <a:gd name="connsiteX2215" fmla="*/ 300 w 10785"/>
                <a:gd name="connsiteY2215" fmla="*/ 4419 h 10000"/>
                <a:gd name="connsiteX2216" fmla="*/ 309 w 10785"/>
                <a:gd name="connsiteY2216" fmla="*/ 4393 h 10000"/>
                <a:gd name="connsiteX2217" fmla="*/ 332 w 10785"/>
                <a:gd name="connsiteY2217" fmla="*/ 4385 h 10000"/>
                <a:gd name="connsiteX2218" fmla="*/ 355 w 10785"/>
                <a:gd name="connsiteY2218" fmla="*/ 4419 h 10000"/>
                <a:gd name="connsiteX2219" fmla="*/ 355 w 10785"/>
                <a:gd name="connsiteY2219" fmla="*/ 4444 h 10000"/>
                <a:gd name="connsiteX2220" fmla="*/ 369 w 10785"/>
                <a:gd name="connsiteY2220" fmla="*/ 4470 h 10000"/>
                <a:gd name="connsiteX2221" fmla="*/ 401 w 10785"/>
                <a:gd name="connsiteY2221" fmla="*/ 4521 h 10000"/>
                <a:gd name="connsiteX2222" fmla="*/ 406 w 10785"/>
                <a:gd name="connsiteY2222" fmla="*/ 4513 h 10000"/>
                <a:gd name="connsiteX2223" fmla="*/ 406 w 10785"/>
                <a:gd name="connsiteY2223" fmla="*/ 4496 h 10000"/>
                <a:gd name="connsiteX2224" fmla="*/ 419 w 10785"/>
                <a:gd name="connsiteY2224" fmla="*/ 4521 h 10000"/>
                <a:gd name="connsiteX2225" fmla="*/ 429 w 10785"/>
                <a:gd name="connsiteY2225" fmla="*/ 4530 h 10000"/>
                <a:gd name="connsiteX2226" fmla="*/ 433 w 10785"/>
                <a:gd name="connsiteY2226" fmla="*/ 4521 h 10000"/>
                <a:gd name="connsiteX2227" fmla="*/ 442 w 10785"/>
                <a:gd name="connsiteY2227" fmla="*/ 4530 h 10000"/>
                <a:gd name="connsiteX2228" fmla="*/ 447 w 10785"/>
                <a:gd name="connsiteY2228" fmla="*/ 4521 h 10000"/>
                <a:gd name="connsiteX2229" fmla="*/ 452 w 10785"/>
                <a:gd name="connsiteY2229" fmla="*/ 4521 h 10000"/>
                <a:gd name="connsiteX2230" fmla="*/ 461 w 10785"/>
                <a:gd name="connsiteY2230" fmla="*/ 4573 h 10000"/>
                <a:gd name="connsiteX2231" fmla="*/ 479 w 10785"/>
                <a:gd name="connsiteY2231" fmla="*/ 4556 h 10000"/>
                <a:gd name="connsiteX2232" fmla="*/ 502 w 10785"/>
                <a:gd name="connsiteY2232" fmla="*/ 4573 h 10000"/>
                <a:gd name="connsiteX2233" fmla="*/ 507 w 10785"/>
                <a:gd name="connsiteY2233" fmla="*/ 4598 h 10000"/>
                <a:gd name="connsiteX2234" fmla="*/ 525 w 10785"/>
                <a:gd name="connsiteY2234" fmla="*/ 4598 h 10000"/>
                <a:gd name="connsiteX2235" fmla="*/ 535 w 10785"/>
                <a:gd name="connsiteY2235" fmla="*/ 4624 h 10000"/>
                <a:gd name="connsiteX2236" fmla="*/ 594 w 10785"/>
                <a:gd name="connsiteY2236" fmla="*/ 4658 h 10000"/>
                <a:gd name="connsiteX2237" fmla="*/ 627 w 10785"/>
                <a:gd name="connsiteY2237" fmla="*/ 4658 h 10000"/>
                <a:gd name="connsiteX2238" fmla="*/ 654 w 10785"/>
                <a:gd name="connsiteY2238" fmla="*/ 4684 h 10000"/>
                <a:gd name="connsiteX2239" fmla="*/ 668 w 10785"/>
                <a:gd name="connsiteY2239" fmla="*/ 4709 h 10000"/>
                <a:gd name="connsiteX2240" fmla="*/ 747 w 10785"/>
                <a:gd name="connsiteY2240" fmla="*/ 4718 h 10000"/>
                <a:gd name="connsiteX2241" fmla="*/ 760 w 10785"/>
                <a:gd name="connsiteY2241" fmla="*/ 4709 h 10000"/>
                <a:gd name="connsiteX2242" fmla="*/ 774 w 10785"/>
                <a:gd name="connsiteY2242" fmla="*/ 4692 h 10000"/>
                <a:gd name="connsiteX2243" fmla="*/ 829 w 10785"/>
                <a:gd name="connsiteY2243" fmla="*/ 4658 h 10000"/>
                <a:gd name="connsiteX2244" fmla="*/ 903 w 10785"/>
                <a:gd name="connsiteY2244" fmla="*/ 4496 h 10000"/>
                <a:gd name="connsiteX2245" fmla="*/ 917 w 10785"/>
                <a:gd name="connsiteY2245" fmla="*/ 4385 h 10000"/>
                <a:gd name="connsiteX2246" fmla="*/ 903 w 10785"/>
                <a:gd name="connsiteY2246" fmla="*/ 4376 h 10000"/>
                <a:gd name="connsiteX2247" fmla="*/ 903 w 10785"/>
                <a:gd name="connsiteY2247" fmla="*/ 4376 h 10000"/>
                <a:gd name="connsiteX2248" fmla="*/ 889 w 10785"/>
                <a:gd name="connsiteY2248" fmla="*/ 4239 h 10000"/>
                <a:gd name="connsiteX2249" fmla="*/ 880 w 10785"/>
                <a:gd name="connsiteY2249" fmla="*/ 4214 h 10000"/>
                <a:gd name="connsiteX2250" fmla="*/ 862 w 10785"/>
                <a:gd name="connsiteY2250" fmla="*/ 4188 h 10000"/>
                <a:gd name="connsiteX2251" fmla="*/ 857 w 10785"/>
                <a:gd name="connsiteY2251" fmla="*/ 4197 h 10000"/>
                <a:gd name="connsiteX2252" fmla="*/ 848 w 10785"/>
                <a:gd name="connsiteY2252" fmla="*/ 4188 h 10000"/>
                <a:gd name="connsiteX2253" fmla="*/ 848 w 10785"/>
                <a:gd name="connsiteY2253" fmla="*/ 4162 h 10000"/>
                <a:gd name="connsiteX2254" fmla="*/ 829 w 10785"/>
                <a:gd name="connsiteY2254" fmla="*/ 4120 h 10000"/>
                <a:gd name="connsiteX2255" fmla="*/ 820 w 10785"/>
                <a:gd name="connsiteY2255" fmla="*/ 4103 h 10000"/>
                <a:gd name="connsiteX2256" fmla="*/ 806 w 10785"/>
                <a:gd name="connsiteY2256" fmla="*/ 4077 h 10000"/>
                <a:gd name="connsiteX2257" fmla="*/ 816 w 10785"/>
                <a:gd name="connsiteY2257" fmla="*/ 4111 h 10000"/>
                <a:gd name="connsiteX2258" fmla="*/ 802 w 10785"/>
                <a:gd name="connsiteY2258" fmla="*/ 4111 h 10000"/>
                <a:gd name="connsiteX2259" fmla="*/ 770 w 10785"/>
                <a:gd name="connsiteY2259" fmla="*/ 4060 h 10000"/>
                <a:gd name="connsiteX2260" fmla="*/ 760 w 10785"/>
                <a:gd name="connsiteY2260" fmla="*/ 4077 h 10000"/>
                <a:gd name="connsiteX2261" fmla="*/ 760 w 10785"/>
                <a:gd name="connsiteY2261" fmla="*/ 4060 h 10000"/>
                <a:gd name="connsiteX2262" fmla="*/ 756 w 10785"/>
                <a:gd name="connsiteY2262" fmla="*/ 4034 h 10000"/>
                <a:gd name="connsiteX2263" fmla="*/ 742 w 10785"/>
                <a:gd name="connsiteY2263" fmla="*/ 4000 h 10000"/>
                <a:gd name="connsiteX2264" fmla="*/ 747 w 10785"/>
                <a:gd name="connsiteY2264" fmla="*/ 4034 h 10000"/>
                <a:gd name="connsiteX2265" fmla="*/ 724 w 10785"/>
                <a:gd name="connsiteY2265" fmla="*/ 4026 h 10000"/>
                <a:gd name="connsiteX2266" fmla="*/ 714 w 10785"/>
                <a:gd name="connsiteY2266" fmla="*/ 4000 h 10000"/>
                <a:gd name="connsiteX2267" fmla="*/ 714 w 10785"/>
                <a:gd name="connsiteY2267" fmla="*/ 3983 h 10000"/>
                <a:gd name="connsiteX2268" fmla="*/ 553 w 10785"/>
                <a:gd name="connsiteY2268" fmla="*/ 3726 h 10000"/>
                <a:gd name="connsiteX2269" fmla="*/ 507 w 10785"/>
                <a:gd name="connsiteY2269" fmla="*/ 3718 h 10000"/>
                <a:gd name="connsiteX2270" fmla="*/ 516 w 10785"/>
                <a:gd name="connsiteY2270" fmla="*/ 3726 h 10000"/>
                <a:gd name="connsiteX2271" fmla="*/ 507 w 10785"/>
                <a:gd name="connsiteY2271" fmla="*/ 3735 h 10000"/>
                <a:gd name="connsiteX2272" fmla="*/ 502 w 10785"/>
                <a:gd name="connsiteY2272" fmla="*/ 3735 h 10000"/>
                <a:gd name="connsiteX2273" fmla="*/ 419 w 10785"/>
                <a:gd name="connsiteY2273" fmla="*/ 3675 h 10000"/>
                <a:gd name="connsiteX2274" fmla="*/ 419 w 10785"/>
                <a:gd name="connsiteY2274" fmla="*/ 3692 h 10000"/>
                <a:gd name="connsiteX2275" fmla="*/ 401 w 10785"/>
                <a:gd name="connsiteY2275" fmla="*/ 3701 h 10000"/>
                <a:gd name="connsiteX2276" fmla="*/ 387 w 10785"/>
                <a:gd name="connsiteY2276" fmla="*/ 3718 h 10000"/>
                <a:gd name="connsiteX2277" fmla="*/ 387 w 10785"/>
                <a:gd name="connsiteY2277" fmla="*/ 3692 h 10000"/>
                <a:gd name="connsiteX2278" fmla="*/ 378 w 10785"/>
                <a:gd name="connsiteY2278" fmla="*/ 3675 h 10000"/>
                <a:gd name="connsiteX2279" fmla="*/ 378 w 10785"/>
                <a:gd name="connsiteY2279" fmla="*/ 3650 h 10000"/>
                <a:gd name="connsiteX2280" fmla="*/ 378 w 10785"/>
                <a:gd name="connsiteY2280" fmla="*/ 3650 h 10000"/>
                <a:gd name="connsiteX2281" fmla="*/ 355 w 10785"/>
                <a:gd name="connsiteY2281" fmla="*/ 3675 h 10000"/>
                <a:gd name="connsiteX2282" fmla="*/ 359 w 10785"/>
                <a:gd name="connsiteY2282" fmla="*/ 3641 h 10000"/>
                <a:gd name="connsiteX2283" fmla="*/ 346 w 10785"/>
                <a:gd name="connsiteY2283" fmla="*/ 3650 h 10000"/>
                <a:gd name="connsiteX2284" fmla="*/ 355 w 10785"/>
                <a:gd name="connsiteY2284" fmla="*/ 3624 h 10000"/>
                <a:gd name="connsiteX2285" fmla="*/ 346 w 10785"/>
                <a:gd name="connsiteY2285" fmla="*/ 3624 h 10000"/>
                <a:gd name="connsiteX2286" fmla="*/ 341 w 10785"/>
                <a:gd name="connsiteY2286" fmla="*/ 3624 h 10000"/>
                <a:gd name="connsiteX2287" fmla="*/ 318 w 10785"/>
                <a:gd name="connsiteY2287" fmla="*/ 3641 h 10000"/>
                <a:gd name="connsiteX2288" fmla="*/ 327 w 10785"/>
                <a:gd name="connsiteY2288" fmla="*/ 3624 h 10000"/>
                <a:gd name="connsiteX2289" fmla="*/ 318 w 10785"/>
                <a:gd name="connsiteY2289" fmla="*/ 3615 h 10000"/>
                <a:gd name="connsiteX2290" fmla="*/ 318 w 10785"/>
                <a:gd name="connsiteY2290" fmla="*/ 3598 h 10000"/>
                <a:gd name="connsiteX2291" fmla="*/ 300 w 10785"/>
                <a:gd name="connsiteY2291" fmla="*/ 3598 h 10000"/>
                <a:gd name="connsiteX2292" fmla="*/ 309 w 10785"/>
                <a:gd name="connsiteY2292" fmla="*/ 3538 h 10000"/>
                <a:gd name="connsiteX2293" fmla="*/ 313 w 10785"/>
                <a:gd name="connsiteY2293" fmla="*/ 3564 h 10000"/>
                <a:gd name="connsiteX2294" fmla="*/ 318 w 10785"/>
                <a:gd name="connsiteY2294" fmla="*/ 3581 h 10000"/>
                <a:gd name="connsiteX2295" fmla="*/ 327 w 10785"/>
                <a:gd name="connsiteY2295" fmla="*/ 3564 h 10000"/>
                <a:gd name="connsiteX2296" fmla="*/ 332 w 10785"/>
                <a:gd name="connsiteY2296" fmla="*/ 3590 h 10000"/>
                <a:gd name="connsiteX2297" fmla="*/ 346 w 10785"/>
                <a:gd name="connsiteY2297" fmla="*/ 3590 h 10000"/>
                <a:gd name="connsiteX2298" fmla="*/ 355 w 10785"/>
                <a:gd name="connsiteY2298" fmla="*/ 3590 h 10000"/>
                <a:gd name="connsiteX2299" fmla="*/ 369 w 10785"/>
                <a:gd name="connsiteY2299" fmla="*/ 3556 h 10000"/>
                <a:gd name="connsiteX2300" fmla="*/ 369 w 10785"/>
                <a:gd name="connsiteY2300" fmla="*/ 3538 h 10000"/>
                <a:gd name="connsiteX2301" fmla="*/ 346 w 10785"/>
                <a:gd name="connsiteY2301" fmla="*/ 3513 h 10000"/>
                <a:gd name="connsiteX2302" fmla="*/ 341 w 10785"/>
                <a:gd name="connsiteY2302" fmla="*/ 3530 h 10000"/>
                <a:gd name="connsiteX2303" fmla="*/ 327 w 10785"/>
                <a:gd name="connsiteY2303" fmla="*/ 3513 h 10000"/>
                <a:gd name="connsiteX2304" fmla="*/ 327 w 10785"/>
                <a:gd name="connsiteY2304" fmla="*/ 3504 h 10000"/>
                <a:gd name="connsiteX2305" fmla="*/ 295 w 10785"/>
                <a:gd name="connsiteY2305" fmla="*/ 3462 h 10000"/>
                <a:gd name="connsiteX2306" fmla="*/ 300 w 10785"/>
                <a:gd name="connsiteY2306" fmla="*/ 3479 h 10000"/>
                <a:gd name="connsiteX2307" fmla="*/ 295 w 10785"/>
                <a:gd name="connsiteY2307" fmla="*/ 3513 h 10000"/>
                <a:gd name="connsiteX2308" fmla="*/ 286 w 10785"/>
                <a:gd name="connsiteY2308" fmla="*/ 3513 h 10000"/>
                <a:gd name="connsiteX2309" fmla="*/ 281 w 10785"/>
                <a:gd name="connsiteY2309" fmla="*/ 3513 h 10000"/>
                <a:gd name="connsiteX2310" fmla="*/ 281 w 10785"/>
                <a:gd name="connsiteY2310" fmla="*/ 3530 h 10000"/>
                <a:gd name="connsiteX2311" fmla="*/ 281 w 10785"/>
                <a:gd name="connsiteY2311" fmla="*/ 3556 h 10000"/>
                <a:gd name="connsiteX2312" fmla="*/ 272 w 10785"/>
                <a:gd name="connsiteY2312" fmla="*/ 3564 h 10000"/>
                <a:gd name="connsiteX2313" fmla="*/ 267 w 10785"/>
                <a:gd name="connsiteY2313" fmla="*/ 3564 h 10000"/>
                <a:gd name="connsiteX2314" fmla="*/ 253 w 10785"/>
                <a:gd name="connsiteY2314" fmla="*/ 3538 h 10000"/>
                <a:gd name="connsiteX2315" fmla="*/ 226 w 10785"/>
                <a:gd name="connsiteY2315" fmla="*/ 3513 h 10000"/>
                <a:gd name="connsiteX2316" fmla="*/ 226 w 10785"/>
                <a:gd name="connsiteY2316" fmla="*/ 3530 h 10000"/>
                <a:gd name="connsiteX2317" fmla="*/ 226 w 10785"/>
                <a:gd name="connsiteY2317" fmla="*/ 3530 h 10000"/>
                <a:gd name="connsiteX2318" fmla="*/ 226 w 10785"/>
                <a:gd name="connsiteY2318" fmla="*/ 3530 h 10000"/>
                <a:gd name="connsiteX2319" fmla="*/ 226 w 10785"/>
                <a:gd name="connsiteY2319" fmla="*/ 3556 h 10000"/>
                <a:gd name="connsiteX2320" fmla="*/ 221 w 10785"/>
                <a:gd name="connsiteY2320" fmla="*/ 3598 h 10000"/>
                <a:gd name="connsiteX2321" fmla="*/ 207 w 10785"/>
                <a:gd name="connsiteY2321" fmla="*/ 3598 h 10000"/>
                <a:gd name="connsiteX2322" fmla="*/ 180 w 10785"/>
                <a:gd name="connsiteY2322" fmla="*/ 3581 h 10000"/>
                <a:gd name="connsiteX2323" fmla="*/ 171 w 10785"/>
                <a:gd name="connsiteY2323" fmla="*/ 3641 h 10000"/>
                <a:gd name="connsiteX2324" fmla="*/ 166 w 10785"/>
                <a:gd name="connsiteY2324" fmla="*/ 3650 h 10000"/>
                <a:gd name="connsiteX2325" fmla="*/ 124 w 10785"/>
                <a:gd name="connsiteY2325" fmla="*/ 3701 h 10000"/>
                <a:gd name="connsiteX2326" fmla="*/ 124 w 10785"/>
                <a:gd name="connsiteY2326" fmla="*/ 3718 h 10000"/>
                <a:gd name="connsiteX2327" fmla="*/ 120 w 10785"/>
                <a:gd name="connsiteY2327" fmla="*/ 3735 h 10000"/>
                <a:gd name="connsiteX2328" fmla="*/ 120 w 10785"/>
                <a:gd name="connsiteY2328" fmla="*/ 3735 h 10000"/>
                <a:gd name="connsiteX2329" fmla="*/ 111 w 10785"/>
                <a:gd name="connsiteY2329" fmla="*/ 3761 h 10000"/>
                <a:gd name="connsiteX2330" fmla="*/ 106 w 10785"/>
                <a:gd name="connsiteY2330" fmla="*/ 3761 h 10000"/>
                <a:gd name="connsiteX2331" fmla="*/ 106 w 10785"/>
                <a:gd name="connsiteY2331" fmla="*/ 3761 h 10000"/>
                <a:gd name="connsiteX2332" fmla="*/ 74 w 10785"/>
                <a:gd name="connsiteY2332" fmla="*/ 3829 h 10000"/>
                <a:gd name="connsiteX2333" fmla="*/ 78 w 10785"/>
                <a:gd name="connsiteY2333" fmla="*/ 3838 h 10000"/>
                <a:gd name="connsiteX2334" fmla="*/ 88 w 10785"/>
                <a:gd name="connsiteY2334" fmla="*/ 3846 h 10000"/>
                <a:gd name="connsiteX2335" fmla="*/ 65 w 10785"/>
                <a:gd name="connsiteY2335" fmla="*/ 3923 h 10000"/>
                <a:gd name="connsiteX2336" fmla="*/ 78 w 10785"/>
                <a:gd name="connsiteY2336" fmla="*/ 4026 h 10000"/>
                <a:gd name="connsiteX2337" fmla="*/ 88 w 10785"/>
                <a:gd name="connsiteY2337" fmla="*/ 4051 h 10000"/>
                <a:gd name="connsiteX2338" fmla="*/ 92 w 10785"/>
                <a:gd name="connsiteY2338" fmla="*/ 4060 h 10000"/>
                <a:gd name="connsiteX2339" fmla="*/ 111 w 10785"/>
                <a:gd name="connsiteY2339" fmla="*/ 4060 h 10000"/>
                <a:gd name="connsiteX2340" fmla="*/ 124 w 10785"/>
                <a:gd name="connsiteY2340" fmla="*/ 4085 h 10000"/>
                <a:gd name="connsiteX2341" fmla="*/ 166 w 10785"/>
                <a:gd name="connsiteY2341" fmla="*/ 4197 h 10000"/>
                <a:gd name="connsiteX2342" fmla="*/ 166 w 10785"/>
                <a:gd name="connsiteY2342" fmla="*/ 4248 h 10000"/>
                <a:gd name="connsiteX2343" fmla="*/ 120 w 10785"/>
                <a:gd name="connsiteY2343" fmla="*/ 4462 h 10000"/>
                <a:gd name="connsiteX2344" fmla="*/ 120 w 10785"/>
                <a:gd name="connsiteY2344" fmla="*/ 4513 h 10000"/>
                <a:gd name="connsiteX2345" fmla="*/ 180 w 10785"/>
                <a:gd name="connsiteY2345" fmla="*/ 4829 h 10000"/>
                <a:gd name="connsiteX2346" fmla="*/ 161 w 10785"/>
                <a:gd name="connsiteY2346" fmla="*/ 4855 h 10000"/>
                <a:gd name="connsiteX2347" fmla="*/ 152 w 10785"/>
                <a:gd name="connsiteY2347" fmla="*/ 4940 h 10000"/>
                <a:gd name="connsiteX2348" fmla="*/ 161 w 10785"/>
                <a:gd name="connsiteY2348" fmla="*/ 4966 h 10000"/>
                <a:gd name="connsiteX2349" fmla="*/ 161 w 10785"/>
                <a:gd name="connsiteY2349" fmla="*/ 5009 h 10000"/>
                <a:gd name="connsiteX2350" fmla="*/ 152 w 10785"/>
                <a:gd name="connsiteY2350" fmla="*/ 5034 h 10000"/>
                <a:gd name="connsiteX2351" fmla="*/ 152 w 10785"/>
                <a:gd name="connsiteY2351" fmla="*/ 5077 h 10000"/>
                <a:gd name="connsiteX2352" fmla="*/ 171 w 10785"/>
                <a:gd name="connsiteY2352" fmla="*/ 5094 h 10000"/>
                <a:gd name="connsiteX2353" fmla="*/ 180 w 10785"/>
                <a:gd name="connsiteY2353" fmla="*/ 5128 h 10000"/>
                <a:gd name="connsiteX2354" fmla="*/ 180 w 10785"/>
                <a:gd name="connsiteY2354" fmla="*/ 5171 h 10000"/>
                <a:gd name="connsiteX2355" fmla="*/ 184 w 10785"/>
                <a:gd name="connsiteY2355" fmla="*/ 5205 h 10000"/>
                <a:gd name="connsiteX2356" fmla="*/ 207 w 10785"/>
                <a:gd name="connsiteY2356" fmla="*/ 5239 h 10000"/>
                <a:gd name="connsiteX2357" fmla="*/ 207 w 10785"/>
                <a:gd name="connsiteY2357" fmla="*/ 5282 h 10000"/>
                <a:gd name="connsiteX2358" fmla="*/ 180 w 10785"/>
                <a:gd name="connsiteY2358" fmla="*/ 5393 h 10000"/>
                <a:gd name="connsiteX2359" fmla="*/ 194 w 10785"/>
                <a:gd name="connsiteY2359" fmla="*/ 5427 h 10000"/>
                <a:gd name="connsiteX2360" fmla="*/ 198 w 10785"/>
                <a:gd name="connsiteY2360" fmla="*/ 5462 h 10000"/>
                <a:gd name="connsiteX2361" fmla="*/ 235 w 10785"/>
                <a:gd name="connsiteY2361" fmla="*/ 5513 h 10000"/>
                <a:gd name="connsiteX2362" fmla="*/ 240 w 10785"/>
                <a:gd name="connsiteY2362" fmla="*/ 5556 h 10000"/>
                <a:gd name="connsiteX2363" fmla="*/ 253 w 10785"/>
                <a:gd name="connsiteY2363" fmla="*/ 5590 h 10000"/>
                <a:gd name="connsiteX2364" fmla="*/ 258 w 10785"/>
                <a:gd name="connsiteY2364" fmla="*/ 5573 h 10000"/>
                <a:gd name="connsiteX2365" fmla="*/ 258 w 10785"/>
                <a:gd name="connsiteY2365" fmla="*/ 5667 h 10000"/>
                <a:gd name="connsiteX2366" fmla="*/ 14 w 10785"/>
                <a:gd name="connsiteY2366" fmla="*/ 6214 h 10000"/>
                <a:gd name="connsiteX2367" fmla="*/ 14 w 10785"/>
                <a:gd name="connsiteY2367" fmla="*/ 6214 h 10000"/>
                <a:gd name="connsiteX2368" fmla="*/ 37 w 10785"/>
                <a:gd name="connsiteY2368" fmla="*/ 6214 h 10000"/>
                <a:gd name="connsiteX2369" fmla="*/ 51 w 10785"/>
                <a:gd name="connsiteY2369" fmla="*/ 6188 h 10000"/>
                <a:gd name="connsiteX2370" fmla="*/ 78 w 10785"/>
                <a:gd name="connsiteY2370" fmla="*/ 6162 h 10000"/>
                <a:gd name="connsiteX2371" fmla="*/ 78 w 10785"/>
                <a:gd name="connsiteY2371" fmla="*/ 6188 h 10000"/>
                <a:gd name="connsiteX2372" fmla="*/ 74 w 10785"/>
                <a:gd name="connsiteY2372" fmla="*/ 6197 h 10000"/>
                <a:gd name="connsiteX2373" fmla="*/ 74 w 10785"/>
                <a:gd name="connsiteY2373" fmla="*/ 6231 h 10000"/>
                <a:gd name="connsiteX2374" fmla="*/ 74 w 10785"/>
                <a:gd name="connsiteY2374" fmla="*/ 6214 h 10000"/>
                <a:gd name="connsiteX2375" fmla="*/ 65 w 10785"/>
                <a:gd name="connsiteY2375" fmla="*/ 6214 h 10000"/>
                <a:gd name="connsiteX2376" fmla="*/ 65 w 10785"/>
                <a:gd name="connsiteY2376" fmla="*/ 6248 h 10000"/>
                <a:gd name="connsiteX2377" fmla="*/ 74 w 10785"/>
                <a:gd name="connsiteY2377" fmla="*/ 6256 h 10000"/>
                <a:gd name="connsiteX2378" fmla="*/ 78 w 10785"/>
                <a:gd name="connsiteY2378" fmla="*/ 6256 h 10000"/>
                <a:gd name="connsiteX2379" fmla="*/ 106 w 10785"/>
                <a:gd name="connsiteY2379" fmla="*/ 6308 h 10000"/>
                <a:gd name="connsiteX2380" fmla="*/ 138 w 10785"/>
                <a:gd name="connsiteY2380" fmla="*/ 6299 h 10000"/>
                <a:gd name="connsiteX2381" fmla="*/ 152 w 10785"/>
                <a:gd name="connsiteY2381" fmla="*/ 6299 h 10000"/>
                <a:gd name="connsiteX2382" fmla="*/ 166 w 10785"/>
                <a:gd name="connsiteY2382" fmla="*/ 6325 h 10000"/>
                <a:gd name="connsiteX2383" fmla="*/ 166 w 10785"/>
                <a:gd name="connsiteY2383" fmla="*/ 6333 h 10000"/>
                <a:gd name="connsiteX2384" fmla="*/ 171 w 10785"/>
                <a:gd name="connsiteY2384" fmla="*/ 6350 h 10000"/>
                <a:gd name="connsiteX2385" fmla="*/ 180 w 10785"/>
                <a:gd name="connsiteY2385" fmla="*/ 6350 h 10000"/>
                <a:gd name="connsiteX2386" fmla="*/ 180 w 10785"/>
                <a:gd name="connsiteY2386" fmla="*/ 6359 h 10000"/>
                <a:gd name="connsiteX2387" fmla="*/ 171 w 10785"/>
                <a:gd name="connsiteY2387" fmla="*/ 6368 h 10000"/>
                <a:gd name="connsiteX2388" fmla="*/ 106 w 10785"/>
                <a:gd name="connsiteY2388" fmla="*/ 6350 h 10000"/>
                <a:gd name="connsiteX2389" fmla="*/ 101 w 10785"/>
                <a:gd name="connsiteY2389" fmla="*/ 6359 h 10000"/>
                <a:gd name="connsiteX2390" fmla="*/ 101 w 10785"/>
                <a:gd name="connsiteY2390" fmla="*/ 6385 h 10000"/>
                <a:gd name="connsiteX2391" fmla="*/ 78 w 10785"/>
                <a:gd name="connsiteY2391" fmla="*/ 6393 h 10000"/>
                <a:gd name="connsiteX2392" fmla="*/ 74 w 10785"/>
                <a:gd name="connsiteY2392" fmla="*/ 6385 h 10000"/>
                <a:gd name="connsiteX2393" fmla="*/ 65 w 10785"/>
                <a:gd name="connsiteY2393" fmla="*/ 6393 h 10000"/>
                <a:gd name="connsiteX2394" fmla="*/ 60 w 10785"/>
                <a:gd name="connsiteY2394" fmla="*/ 6419 h 10000"/>
                <a:gd name="connsiteX2395" fmla="*/ 51 w 10785"/>
                <a:gd name="connsiteY2395" fmla="*/ 6419 h 10000"/>
                <a:gd name="connsiteX2396" fmla="*/ 46 w 10785"/>
                <a:gd name="connsiteY2396" fmla="*/ 6410 h 10000"/>
                <a:gd name="connsiteX2397" fmla="*/ 37 w 10785"/>
                <a:gd name="connsiteY2397" fmla="*/ 6393 h 10000"/>
                <a:gd name="connsiteX2398" fmla="*/ 32 w 10785"/>
                <a:gd name="connsiteY2398" fmla="*/ 6419 h 10000"/>
                <a:gd name="connsiteX2399" fmla="*/ 37 w 10785"/>
                <a:gd name="connsiteY2399" fmla="*/ 6462 h 10000"/>
                <a:gd name="connsiteX2400" fmla="*/ 46 w 10785"/>
                <a:gd name="connsiteY2400" fmla="*/ 6462 h 10000"/>
                <a:gd name="connsiteX2401" fmla="*/ 51 w 10785"/>
                <a:gd name="connsiteY2401" fmla="*/ 6470 h 10000"/>
                <a:gd name="connsiteX2402" fmla="*/ 51 w 10785"/>
                <a:gd name="connsiteY2402" fmla="*/ 6496 h 10000"/>
                <a:gd name="connsiteX2403" fmla="*/ 51 w 10785"/>
                <a:gd name="connsiteY2403" fmla="*/ 6504 h 10000"/>
                <a:gd name="connsiteX2404" fmla="*/ 37 w 10785"/>
                <a:gd name="connsiteY2404" fmla="*/ 6530 h 10000"/>
                <a:gd name="connsiteX2405" fmla="*/ 18 w 10785"/>
                <a:gd name="connsiteY2405" fmla="*/ 6598 h 10000"/>
                <a:gd name="connsiteX2406" fmla="*/ 28 w 10785"/>
                <a:gd name="connsiteY2406" fmla="*/ 6632 h 10000"/>
                <a:gd name="connsiteX2407" fmla="*/ 18 w 10785"/>
                <a:gd name="connsiteY2407" fmla="*/ 6667 h 10000"/>
                <a:gd name="connsiteX2408" fmla="*/ 28 w 10785"/>
                <a:gd name="connsiteY2408" fmla="*/ 6692 h 10000"/>
                <a:gd name="connsiteX2409" fmla="*/ 28 w 10785"/>
                <a:gd name="connsiteY2409" fmla="*/ 6709 h 10000"/>
                <a:gd name="connsiteX2410" fmla="*/ 18 w 10785"/>
                <a:gd name="connsiteY2410" fmla="*/ 6718 h 10000"/>
                <a:gd name="connsiteX2411" fmla="*/ 5 w 10785"/>
                <a:gd name="connsiteY2411" fmla="*/ 6744 h 10000"/>
                <a:gd name="connsiteX2412" fmla="*/ 0 w 10785"/>
                <a:gd name="connsiteY2412" fmla="*/ 6769 h 10000"/>
                <a:gd name="connsiteX2413" fmla="*/ 5 w 10785"/>
                <a:gd name="connsiteY2413" fmla="*/ 6778 h 10000"/>
                <a:gd name="connsiteX2414" fmla="*/ 32 w 10785"/>
                <a:gd name="connsiteY2414" fmla="*/ 6778 h 10000"/>
                <a:gd name="connsiteX2415" fmla="*/ 46 w 10785"/>
                <a:gd name="connsiteY2415" fmla="*/ 6821 h 10000"/>
                <a:gd name="connsiteX2416" fmla="*/ 46 w 10785"/>
                <a:gd name="connsiteY2416" fmla="*/ 6855 h 10000"/>
                <a:gd name="connsiteX2417" fmla="*/ 32 w 10785"/>
                <a:gd name="connsiteY2417" fmla="*/ 6855 h 10000"/>
                <a:gd name="connsiteX2418" fmla="*/ 14 w 10785"/>
                <a:gd name="connsiteY2418" fmla="*/ 6821 h 10000"/>
                <a:gd name="connsiteX2419" fmla="*/ 14 w 10785"/>
                <a:gd name="connsiteY2419" fmla="*/ 6846 h 10000"/>
                <a:gd name="connsiteX2420" fmla="*/ 0 w 10785"/>
                <a:gd name="connsiteY2420" fmla="*/ 6897 h 10000"/>
                <a:gd name="connsiteX2421" fmla="*/ 0 w 10785"/>
                <a:gd name="connsiteY2421" fmla="*/ 6915 h 10000"/>
                <a:gd name="connsiteX2422" fmla="*/ 5 w 10785"/>
                <a:gd name="connsiteY2422" fmla="*/ 6932 h 10000"/>
                <a:gd name="connsiteX2423" fmla="*/ 14 w 10785"/>
                <a:gd name="connsiteY2423" fmla="*/ 6940 h 10000"/>
                <a:gd name="connsiteX2424" fmla="*/ 18 w 10785"/>
                <a:gd name="connsiteY2424" fmla="*/ 6957 h 10000"/>
                <a:gd name="connsiteX2425" fmla="*/ 28 w 10785"/>
                <a:gd name="connsiteY2425" fmla="*/ 6966 h 10000"/>
                <a:gd name="connsiteX2426" fmla="*/ 28 w 10785"/>
                <a:gd name="connsiteY2426" fmla="*/ 6983 h 10000"/>
                <a:gd name="connsiteX2427" fmla="*/ 18 w 10785"/>
                <a:gd name="connsiteY2427" fmla="*/ 7051 h 10000"/>
                <a:gd name="connsiteX2428" fmla="*/ 28 w 10785"/>
                <a:gd name="connsiteY2428" fmla="*/ 7068 h 10000"/>
                <a:gd name="connsiteX2429" fmla="*/ 32 w 10785"/>
                <a:gd name="connsiteY2429" fmla="*/ 7068 h 10000"/>
                <a:gd name="connsiteX2430" fmla="*/ 32 w 10785"/>
                <a:gd name="connsiteY2430" fmla="*/ 7094 h 10000"/>
                <a:gd name="connsiteX2431" fmla="*/ 60 w 10785"/>
                <a:gd name="connsiteY2431" fmla="*/ 7162 h 10000"/>
                <a:gd name="connsiteX2432" fmla="*/ 60 w 10785"/>
                <a:gd name="connsiteY2432" fmla="*/ 7231 h 10000"/>
                <a:gd name="connsiteX2433" fmla="*/ 60 w 10785"/>
                <a:gd name="connsiteY2433" fmla="*/ 7239 h 10000"/>
                <a:gd name="connsiteX2434" fmla="*/ 78 w 10785"/>
                <a:gd name="connsiteY2434" fmla="*/ 7239 h 10000"/>
                <a:gd name="connsiteX2435" fmla="*/ 88 w 10785"/>
                <a:gd name="connsiteY2435" fmla="*/ 7239 h 10000"/>
                <a:gd name="connsiteX2436" fmla="*/ 92 w 10785"/>
                <a:gd name="connsiteY2436" fmla="*/ 7256 h 10000"/>
                <a:gd name="connsiteX2437" fmla="*/ 111 w 10785"/>
                <a:gd name="connsiteY2437" fmla="*/ 7256 h 10000"/>
                <a:gd name="connsiteX2438" fmla="*/ 120 w 10785"/>
                <a:gd name="connsiteY2438" fmla="*/ 7256 h 10000"/>
                <a:gd name="connsiteX2439" fmla="*/ 134 w 10785"/>
                <a:gd name="connsiteY2439" fmla="*/ 7282 h 10000"/>
                <a:gd name="connsiteX2440" fmla="*/ 134 w 10785"/>
                <a:gd name="connsiteY2440" fmla="*/ 7316 h 10000"/>
                <a:gd name="connsiteX2441" fmla="*/ 152 w 10785"/>
                <a:gd name="connsiteY2441" fmla="*/ 7299 h 10000"/>
                <a:gd name="connsiteX2442" fmla="*/ 161 w 10785"/>
                <a:gd name="connsiteY2442" fmla="*/ 7299 h 10000"/>
                <a:gd name="connsiteX2443" fmla="*/ 166 w 10785"/>
                <a:gd name="connsiteY2443" fmla="*/ 7291 h 10000"/>
                <a:gd name="connsiteX2444" fmla="*/ 194 w 10785"/>
                <a:gd name="connsiteY2444" fmla="*/ 7291 h 10000"/>
                <a:gd name="connsiteX2445" fmla="*/ 207 w 10785"/>
                <a:gd name="connsiteY2445" fmla="*/ 7299 h 10000"/>
                <a:gd name="connsiteX2446" fmla="*/ 221 w 10785"/>
                <a:gd name="connsiteY2446" fmla="*/ 7342 h 10000"/>
                <a:gd name="connsiteX2447" fmla="*/ 235 w 10785"/>
                <a:gd name="connsiteY2447" fmla="*/ 7342 h 10000"/>
                <a:gd name="connsiteX2448" fmla="*/ 235 w 10785"/>
                <a:gd name="connsiteY2448" fmla="*/ 7368 h 10000"/>
                <a:gd name="connsiteX2449" fmla="*/ 226 w 10785"/>
                <a:gd name="connsiteY2449" fmla="*/ 7393 h 10000"/>
                <a:gd name="connsiteX2450" fmla="*/ 226 w 10785"/>
                <a:gd name="connsiteY2450" fmla="*/ 7402 h 10000"/>
                <a:gd name="connsiteX2451" fmla="*/ 235 w 10785"/>
                <a:gd name="connsiteY2451" fmla="*/ 7419 h 10000"/>
                <a:gd name="connsiteX2452" fmla="*/ 240 w 10785"/>
                <a:gd name="connsiteY2452" fmla="*/ 7436 h 10000"/>
                <a:gd name="connsiteX2453" fmla="*/ 235 w 10785"/>
                <a:gd name="connsiteY2453" fmla="*/ 7462 h 10000"/>
                <a:gd name="connsiteX2454" fmla="*/ 226 w 10785"/>
                <a:gd name="connsiteY2454" fmla="*/ 7479 h 10000"/>
                <a:gd name="connsiteX2455" fmla="*/ 226 w 10785"/>
                <a:gd name="connsiteY2455" fmla="*/ 7504 h 10000"/>
                <a:gd name="connsiteX2456" fmla="*/ 226 w 10785"/>
                <a:gd name="connsiteY2456" fmla="*/ 7513 h 10000"/>
                <a:gd name="connsiteX2457" fmla="*/ 240 w 10785"/>
                <a:gd name="connsiteY2457" fmla="*/ 7538 h 10000"/>
                <a:gd name="connsiteX2458" fmla="*/ 267 w 10785"/>
                <a:gd name="connsiteY2458" fmla="*/ 7641 h 10000"/>
                <a:gd name="connsiteX2459" fmla="*/ 281 w 10785"/>
                <a:gd name="connsiteY2459" fmla="*/ 7667 h 10000"/>
                <a:gd name="connsiteX2460" fmla="*/ 286 w 10785"/>
                <a:gd name="connsiteY2460" fmla="*/ 7675 h 10000"/>
                <a:gd name="connsiteX2461" fmla="*/ 286 w 10785"/>
                <a:gd name="connsiteY2461" fmla="*/ 7692 h 10000"/>
                <a:gd name="connsiteX2462" fmla="*/ 286 w 10785"/>
                <a:gd name="connsiteY2462" fmla="*/ 7709 h 10000"/>
                <a:gd name="connsiteX2463" fmla="*/ 295 w 10785"/>
                <a:gd name="connsiteY2463" fmla="*/ 7726 h 10000"/>
                <a:gd name="connsiteX2464" fmla="*/ 318 w 10785"/>
                <a:gd name="connsiteY2464" fmla="*/ 7709 h 10000"/>
                <a:gd name="connsiteX2465" fmla="*/ 327 w 10785"/>
                <a:gd name="connsiteY2465" fmla="*/ 7726 h 10000"/>
                <a:gd name="connsiteX2466" fmla="*/ 341 w 10785"/>
                <a:gd name="connsiteY2466" fmla="*/ 7735 h 10000"/>
                <a:gd name="connsiteX2467" fmla="*/ 332 w 10785"/>
                <a:gd name="connsiteY2467" fmla="*/ 7752 h 10000"/>
                <a:gd name="connsiteX2468" fmla="*/ 341 w 10785"/>
                <a:gd name="connsiteY2468" fmla="*/ 7761 h 10000"/>
                <a:gd name="connsiteX2469" fmla="*/ 355 w 10785"/>
                <a:gd name="connsiteY2469" fmla="*/ 7761 h 10000"/>
                <a:gd name="connsiteX2470" fmla="*/ 355 w 10785"/>
                <a:gd name="connsiteY2470" fmla="*/ 7803 h 10000"/>
                <a:gd name="connsiteX2471" fmla="*/ 313 w 10785"/>
                <a:gd name="connsiteY2471" fmla="*/ 7846 h 10000"/>
                <a:gd name="connsiteX2472" fmla="*/ 295 w 10785"/>
                <a:gd name="connsiteY2472" fmla="*/ 7846 h 10000"/>
                <a:gd name="connsiteX2473" fmla="*/ 281 w 10785"/>
                <a:gd name="connsiteY2473" fmla="*/ 7821 h 10000"/>
                <a:gd name="connsiteX2474" fmla="*/ 272 w 10785"/>
                <a:gd name="connsiteY2474" fmla="*/ 7821 h 10000"/>
                <a:gd name="connsiteX2475" fmla="*/ 267 w 10785"/>
                <a:gd name="connsiteY2475" fmla="*/ 7838 h 10000"/>
                <a:gd name="connsiteX2476" fmla="*/ 258 w 10785"/>
                <a:gd name="connsiteY2476" fmla="*/ 7846 h 10000"/>
                <a:gd name="connsiteX2477" fmla="*/ 253 w 10785"/>
                <a:gd name="connsiteY2477" fmla="*/ 7863 h 10000"/>
                <a:gd name="connsiteX2478" fmla="*/ 253 w 10785"/>
                <a:gd name="connsiteY2478" fmla="*/ 7872 h 10000"/>
                <a:gd name="connsiteX2479" fmla="*/ 267 w 10785"/>
                <a:gd name="connsiteY2479" fmla="*/ 7897 h 10000"/>
                <a:gd name="connsiteX2480" fmla="*/ 272 w 10785"/>
                <a:gd name="connsiteY2480" fmla="*/ 7915 h 10000"/>
                <a:gd name="connsiteX2481" fmla="*/ 267 w 10785"/>
                <a:gd name="connsiteY2481" fmla="*/ 7940 h 10000"/>
                <a:gd name="connsiteX2482" fmla="*/ 272 w 10785"/>
                <a:gd name="connsiteY2482" fmla="*/ 7949 h 10000"/>
                <a:gd name="connsiteX2483" fmla="*/ 272 w 10785"/>
                <a:gd name="connsiteY2483" fmla="*/ 7957 h 10000"/>
                <a:gd name="connsiteX2484" fmla="*/ 281 w 10785"/>
                <a:gd name="connsiteY2484" fmla="*/ 7974 h 10000"/>
                <a:gd name="connsiteX2485" fmla="*/ 286 w 10785"/>
                <a:gd name="connsiteY2485" fmla="*/ 7983 h 10000"/>
                <a:gd name="connsiteX2486" fmla="*/ 281 w 10785"/>
                <a:gd name="connsiteY2486" fmla="*/ 8009 h 10000"/>
                <a:gd name="connsiteX2487" fmla="*/ 286 w 10785"/>
                <a:gd name="connsiteY2487" fmla="*/ 8060 h 10000"/>
                <a:gd name="connsiteX2488" fmla="*/ 286 w 10785"/>
                <a:gd name="connsiteY2488" fmla="*/ 8060 h 10000"/>
                <a:gd name="connsiteX2489" fmla="*/ 295 w 10785"/>
                <a:gd name="connsiteY2489" fmla="*/ 8077 h 10000"/>
                <a:gd name="connsiteX2490" fmla="*/ 309 w 10785"/>
                <a:gd name="connsiteY2490" fmla="*/ 8077 h 10000"/>
                <a:gd name="connsiteX2491" fmla="*/ 313 w 10785"/>
                <a:gd name="connsiteY2491" fmla="*/ 8060 h 10000"/>
                <a:gd name="connsiteX2492" fmla="*/ 318 w 10785"/>
                <a:gd name="connsiteY2492" fmla="*/ 8051 h 10000"/>
                <a:gd name="connsiteX2493" fmla="*/ 318 w 10785"/>
                <a:gd name="connsiteY2493" fmla="*/ 8034 h 10000"/>
                <a:gd name="connsiteX2494" fmla="*/ 332 w 10785"/>
                <a:gd name="connsiteY2494" fmla="*/ 8026 h 10000"/>
                <a:gd name="connsiteX2495" fmla="*/ 359 w 10785"/>
                <a:gd name="connsiteY2495" fmla="*/ 8034 h 10000"/>
                <a:gd name="connsiteX2496" fmla="*/ 378 w 10785"/>
                <a:gd name="connsiteY2496" fmla="*/ 8026 h 10000"/>
                <a:gd name="connsiteX2497" fmla="*/ 401 w 10785"/>
                <a:gd name="connsiteY2497" fmla="*/ 8026 h 10000"/>
                <a:gd name="connsiteX2498" fmla="*/ 419 w 10785"/>
                <a:gd name="connsiteY2498" fmla="*/ 8009 h 10000"/>
                <a:gd name="connsiteX2499" fmla="*/ 433 w 10785"/>
                <a:gd name="connsiteY2499" fmla="*/ 8034 h 10000"/>
                <a:gd name="connsiteX2500" fmla="*/ 442 w 10785"/>
                <a:gd name="connsiteY2500" fmla="*/ 8060 h 10000"/>
                <a:gd name="connsiteX2501" fmla="*/ 442 w 10785"/>
                <a:gd name="connsiteY2501" fmla="*/ 8077 h 10000"/>
                <a:gd name="connsiteX2502" fmla="*/ 461 w 10785"/>
                <a:gd name="connsiteY2502" fmla="*/ 8111 h 10000"/>
                <a:gd name="connsiteX2503" fmla="*/ 461 w 10785"/>
                <a:gd name="connsiteY2503" fmla="*/ 8137 h 10000"/>
                <a:gd name="connsiteX2504" fmla="*/ 447 w 10785"/>
                <a:gd name="connsiteY2504" fmla="*/ 8145 h 10000"/>
                <a:gd name="connsiteX2505" fmla="*/ 442 w 10785"/>
                <a:gd name="connsiteY2505" fmla="*/ 8145 h 10000"/>
                <a:gd name="connsiteX2506" fmla="*/ 442 w 10785"/>
                <a:gd name="connsiteY2506" fmla="*/ 8162 h 10000"/>
                <a:gd name="connsiteX2507" fmla="*/ 442 w 10785"/>
                <a:gd name="connsiteY2507" fmla="*/ 8171 h 10000"/>
                <a:gd name="connsiteX2508" fmla="*/ 447 w 10785"/>
                <a:gd name="connsiteY2508" fmla="*/ 8214 h 10000"/>
                <a:gd name="connsiteX2509" fmla="*/ 465 w 10785"/>
                <a:gd name="connsiteY2509" fmla="*/ 8231 h 10000"/>
                <a:gd name="connsiteX2510" fmla="*/ 488 w 10785"/>
                <a:gd name="connsiteY2510" fmla="*/ 8231 h 10000"/>
                <a:gd name="connsiteX2511" fmla="*/ 493 w 10785"/>
                <a:gd name="connsiteY2511" fmla="*/ 8231 h 10000"/>
                <a:gd name="connsiteX2512" fmla="*/ 502 w 10785"/>
                <a:gd name="connsiteY2512" fmla="*/ 8231 h 10000"/>
                <a:gd name="connsiteX2513" fmla="*/ 507 w 10785"/>
                <a:gd name="connsiteY2513" fmla="*/ 8248 h 10000"/>
                <a:gd name="connsiteX2514" fmla="*/ 521 w 10785"/>
                <a:gd name="connsiteY2514" fmla="*/ 8274 h 10000"/>
                <a:gd name="connsiteX2515" fmla="*/ 525 w 10785"/>
                <a:gd name="connsiteY2515" fmla="*/ 8333 h 10000"/>
                <a:gd name="connsiteX2516" fmla="*/ 525 w 10785"/>
                <a:gd name="connsiteY2516" fmla="*/ 8359 h 10000"/>
                <a:gd name="connsiteX2517" fmla="*/ 525 w 10785"/>
                <a:gd name="connsiteY2517" fmla="*/ 8368 h 10000"/>
                <a:gd name="connsiteX2518" fmla="*/ 548 w 10785"/>
                <a:gd name="connsiteY2518" fmla="*/ 8393 h 10000"/>
                <a:gd name="connsiteX2519" fmla="*/ 553 w 10785"/>
                <a:gd name="connsiteY2519" fmla="*/ 8385 h 10000"/>
                <a:gd name="connsiteX2520" fmla="*/ 562 w 10785"/>
                <a:gd name="connsiteY2520" fmla="*/ 8385 h 10000"/>
                <a:gd name="connsiteX2521" fmla="*/ 576 w 10785"/>
                <a:gd name="connsiteY2521" fmla="*/ 8385 h 10000"/>
                <a:gd name="connsiteX2522" fmla="*/ 585 w 10785"/>
                <a:gd name="connsiteY2522" fmla="*/ 8410 h 10000"/>
                <a:gd name="connsiteX2523" fmla="*/ 594 w 10785"/>
                <a:gd name="connsiteY2523" fmla="*/ 8410 h 10000"/>
                <a:gd name="connsiteX2524" fmla="*/ 608 w 10785"/>
                <a:gd name="connsiteY2524" fmla="*/ 8410 h 10000"/>
                <a:gd name="connsiteX2525" fmla="*/ 654 w 10785"/>
                <a:gd name="connsiteY2525" fmla="*/ 8385 h 10000"/>
                <a:gd name="connsiteX2526" fmla="*/ 659 w 10785"/>
                <a:gd name="connsiteY2526" fmla="*/ 8385 h 10000"/>
                <a:gd name="connsiteX2527" fmla="*/ 696 w 10785"/>
                <a:gd name="connsiteY2527" fmla="*/ 8470 h 10000"/>
                <a:gd name="connsiteX2528" fmla="*/ 700 w 10785"/>
                <a:gd name="connsiteY2528" fmla="*/ 8470 h 10000"/>
                <a:gd name="connsiteX2529" fmla="*/ 710 w 10785"/>
                <a:gd name="connsiteY2529" fmla="*/ 8462 h 10000"/>
                <a:gd name="connsiteX2530" fmla="*/ 714 w 10785"/>
                <a:gd name="connsiteY2530" fmla="*/ 8462 h 10000"/>
                <a:gd name="connsiteX2531" fmla="*/ 724 w 10785"/>
                <a:gd name="connsiteY2531" fmla="*/ 8470 h 10000"/>
                <a:gd name="connsiteX2532" fmla="*/ 733 w 10785"/>
                <a:gd name="connsiteY2532" fmla="*/ 8470 h 10000"/>
                <a:gd name="connsiteX2533" fmla="*/ 742 w 10785"/>
                <a:gd name="connsiteY2533" fmla="*/ 8487 h 10000"/>
                <a:gd name="connsiteX2534" fmla="*/ 747 w 10785"/>
                <a:gd name="connsiteY2534" fmla="*/ 8496 h 10000"/>
                <a:gd name="connsiteX2535" fmla="*/ 770 w 10785"/>
                <a:gd name="connsiteY2535" fmla="*/ 8496 h 10000"/>
                <a:gd name="connsiteX2536" fmla="*/ 783 w 10785"/>
                <a:gd name="connsiteY2536" fmla="*/ 8521 h 10000"/>
                <a:gd name="connsiteX2537" fmla="*/ 797 w 10785"/>
                <a:gd name="connsiteY2537" fmla="*/ 8521 h 10000"/>
                <a:gd name="connsiteX2538" fmla="*/ 806 w 10785"/>
                <a:gd name="connsiteY2538" fmla="*/ 8530 h 10000"/>
                <a:gd name="connsiteX2539" fmla="*/ 829 w 10785"/>
                <a:gd name="connsiteY2539" fmla="*/ 8547 h 10000"/>
                <a:gd name="connsiteX2540" fmla="*/ 834 w 10785"/>
                <a:gd name="connsiteY2540" fmla="*/ 8556 h 10000"/>
                <a:gd name="connsiteX2541" fmla="*/ 829 w 10785"/>
                <a:gd name="connsiteY2541" fmla="*/ 8556 h 10000"/>
                <a:gd name="connsiteX2542" fmla="*/ 834 w 10785"/>
                <a:gd name="connsiteY2542" fmla="*/ 8607 h 10000"/>
                <a:gd name="connsiteX2543" fmla="*/ 829 w 10785"/>
                <a:gd name="connsiteY2543" fmla="*/ 8641 h 10000"/>
                <a:gd name="connsiteX2544" fmla="*/ 806 w 10785"/>
                <a:gd name="connsiteY2544" fmla="*/ 8658 h 10000"/>
                <a:gd name="connsiteX2545" fmla="*/ 816 w 10785"/>
                <a:gd name="connsiteY2545" fmla="*/ 8667 h 10000"/>
                <a:gd name="connsiteX2546" fmla="*/ 820 w 10785"/>
                <a:gd name="connsiteY2546" fmla="*/ 8667 h 10000"/>
                <a:gd name="connsiteX2547" fmla="*/ 829 w 10785"/>
                <a:gd name="connsiteY2547" fmla="*/ 8684 h 10000"/>
                <a:gd name="connsiteX2548" fmla="*/ 806 w 10785"/>
                <a:gd name="connsiteY2548" fmla="*/ 8692 h 10000"/>
                <a:gd name="connsiteX2549" fmla="*/ 802 w 10785"/>
                <a:gd name="connsiteY2549" fmla="*/ 8709 h 10000"/>
                <a:gd name="connsiteX2550" fmla="*/ 802 w 10785"/>
                <a:gd name="connsiteY2550" fmla="*/ 8735 h 10000"/>
                <a:gd name="connsiteX2551" fmla="*/ 806 w 10785"/>
                <a:gd name="connsiteY2551" fmla="*/ 8744 h 10000"/>
                <a:gd name="connsiteX2552" fmla="*/ 816 w 10785"/>
                <a:gd name="connsiteY2552" fmla="*/ 8752 h 10000"/>
                <a:gd name="connsiteX2553" fmla="*/ 806 w 10785"/>
                <a:gd name="connsiteY2553" fmla="*/ 8778 h 10000"/>
                <a:gd name="connsiteX2554" fmla="*/ 820 w 10785"/>
                <a:gd name="connsiteY2554" fmla="*/ 8778 h 10000"/>
                <a:gd name="connsiteX2555" fmla="*/ 806 w 10785"/>
                <a:gd name="connsiteY2555" fmla="*/ 8880 h 10000"/>
                <a:gd name="connsiteX2556" fmla="*/ 797 w 10785"/>
                <a:gd name="connsiteY2556" fmla="*/ 8880 h 10000"/>
                <a:gd name="connsiteX2557" fmla="*/ 783 w 10785"/>
                <a:gd name="connsiteY2557" fmla="*/ 8872 h 10000"/>
                <a:gd name="connsiteX2558" fmla="*/ 770 w 10785"/>
                <a:gd name="connsiteY2558" fmla="*/ 8880 h 10000"/>
                <a:gd name="connsiteX2559" fmla="*/ 756 w 10785"/>
                <a:gd name="connsiteY2559" fmla="*/ 8855 h 10000"/>
                <a:gd name="connsiteX2560" fmla="*/ 733 w 10785"/>
                <a:gd name="connsiteY2560" fmla="*/ 8906 h 10000"/>
                <a:gd name="connsiteX2561" fmla="*/ 714 w 10785"/>
                <a:gd name="connsiteY2561" fmla="*/ 8915 h 10000"/>
                <a:gd name="connsiteX2562" fmla="*/ 710 w 10785"/>
                <a:gd name="connsiteY2562" fmla="*/ 8940 h 10000"/>
                <a:gd name="connsiteX2563" fmla="*/ 710 w 10785"/>
                <a:gd name="connsiteY2563" fmla="*/ 9009 h 10000"/>
                <a:gd name="connsiteX2564" fmla="*/ 728 w 10785"/>
                <a:gd name="connsiteY2564" fmla="*/ 8991 h 10000"/>
                <a:gd name="connsiteX2565" fmla="*/ 733 w 10785"/>
                <a:gd name="connsiteY2565" fmla="*/ 8991 h 10000"/>
                <a:gd name="connsiteX2566" fmla="*/ 747 w 10785"/>
                <a:gd name="connsiteY2566" fmla="*/ 8983 h 10000"/>
                <a:gd name="connsiteX2567" fmla="*/ 760 w 10785"/>
                <a:gd name="connsiteY2567" fmla="*/ 8983 h 10000"/>
                <a:gd name="connsiteX2568" fmla="*/ 770 w 10785"/>
                <a:gd name="connsiteY2568" fmla="*/ 8983 h 10000"/>
                <a:gd name="connsiteX2569" fmla="*/ 770 w 10785"/>
                <a:gd name="connsiteY2569" fmla="*/ 8991 h 10000"/>
                <a:gd name="connsiteX2570" fmla="*/ 783 w 10785"/>
                <a:gd name="connsiteY2570" fmla="*/ 8991 h 10000"/>
                <a:gd name="connsiteX2571" fmla="*/ 783 w 10785"/>
                <a:gd name="connsiteY2571" fmla="*/ 9009 h 10000"/>
                <a:gd name="connsiteX2572" fmla="*/ 783 w 10785"/>
                <a:gd name="connsiteY2572" fmla="*/ 9017 h 10000"/>
                <a:gd name="connsiteX2573" fmla="*/ 770 w 10785"/>
                <a:gd name="connsiteY2573" fmla="*/ 9017 h 10000"/>
                <a:gd name="connsiteX2574" fmla="*/ 724 w 10785"/>
                <a:gd name="connsiteY2574" fmla="*/ 9051 h 10000"/>
                <a:gd name="connsiteX2575" fmla="*/ 724 w 10785"/>
                <a:gd name="connsiteY2575" fmla="*/ 9068 h 10000"/>
                <a:gd name="connsiteX2576" fmla="*/ 728 w 10785"/>
                <a:gd name="connsiteY2576" fmla="*/ 9077 h 10000"/>
                <a:gd name="connsiteX2577" fmla="*/ 724 w 10785"/>
                <a:gd name="connsiteY2577" fmla="*/ 9077 h 10000"/>
                <a:gd name="connsiteX2578" fmla="*/ 710 w 10785"/>
                <a:gd name="connsiteY2578" fmla="*/ 9077 h 10000"/>
                <a:gd name="connsiteX2579" fmla="*/ 682 w 10785"/>
                <a:gd name="connsiteY2579" fmla="*/ 9077 h 10000"/>
                <a:gd name="connsiteX2580" fmla="*/ 673 w 10785"/>
                <a:gd name="connsiteY2580" fmla="*/ 9103 h 10000"/>
                <a:gd name="connsiteX2581" fmla="*/ 687 w 10785"/>
                <a:gd name="connsiteY2581" fmla="*/ 9128 h 10000"/>
                <a:gd name="connsiteX2582" fmla="*/ 700 w 10785"/>
                <a:gd name="connsiteY2582" fmla="*/ 9128 h 10000"/>
                <a:gd name="connsiteX2583" fmla="*/ 728 w 10785"/>
                <a:gd name="connsiteY2583" fmla="*/ 9179 h 10000"/>
                <a:gd name="connsiteX2584" fmla="*/ 724 w 10785"/>
                <a:gd name="connsiteY2584" fmla="*/ 9188 h 10000"/>
                <a:gd name="connsiteX2585" fmla="*/ 710 w 10785"/>
                <a:gd name="connsiteY2585" fmla="*/ 9179 h 10000"/>
                <a:gd name="connsiteX2586" fmla="*/ 700 w 10785"/>
                <a:gd name="connsiteY2586" fmla="*/ 9205 h 10000"/>
                <a:gd name="connsiteX2587" fmla="*/ 696 w 10785"/>
                <a:gd name="connsiteY2587" fmla="*/ 9205 h 10000"/>
                <a:gd name="connsiteX2588" fmla="*/ 654 w 10785"/>
                <a:gd name="connsiteY2588" fmla="*/ 9299 h 10000"/>
                <a:gd name="connsiteX2589" fmla="*/ 622 w 10785"/>
                <a:gd name="connsiteY2589" fmla="*/ 9299 h 10000"/>
                <a:gd name="connsiteX2590" fmla="*/ 613 w 10785"/>
                <a:gd name="connsiteY2590" fmla="*/ 9316 h 10000"/>
                <a:gd name="connsiteX2591" fmla="*/ 613 w 10785"/>
                <a:gd name="connsiteY2591" fmla="*/ 9325 h 10000"/>
                <a:gd name="connsiteX2592" fmla="*/ 608 w 10785"/>
                <a:gd name="connsiteY2592" fmla="*/ 9342 h 10000"/>
                <a:gd name="connsiteX2593" fmla="*/ 636 w 10785"/>
                <a:gd name="connsiteY2593" fmla="*/ 9376 h 10000"/>
                <a:gd name="connsiteX2594" fmla="*/ 641 w 10785"/>
                <a:gd name="connsiteY2594" fmla="*/ 9402 h 10000"/>
                <a:gd name="connsiteX2595" fmla="*/ 654 w 10785"/>
                <a:gd name="connsiteY2595" fmla="*/ 9427 h 10000"/>
                <a:gd name="connsiteX2596" fmla="*/ 668 w 10785"/>
                <a:gd name="connsiteY2596" fmla="*/ 9427 h 10000"/>
                <a:gd name="connsiteX2597" fmla="*/ 668 w 10785"/>
                <a:gd name="connsiteY2597" fmla="*/ 9427 h 10000"/>
                <a:gd name="connsiteX2598" fmla="*/ 774 w 10785"/>
                <a:gd name="connsiteY2598" fmla="*/ 9547 h 10000"/>
                <a:gd name="connsiteX2599" fmla="*/ 797 w 10785"/>
                <a:gd name="connsiteY2599" fmla="*/ 9598 h 10000"/>
                <a:gd name="connsiteX2600" fmla="*/ 802 w 10785"/>
                <a:gd name="connsiteY2600" fmla="*/ 9598 h 10000"/>
                <a:gd name="connsiteX2601" fmla="*/ 816 w 10785"/>
                <a:gd name="connsiteY2601" fmla="*/ 9624 h 10000"/>
                <a:gd name="connsiteX2602" fmla="*/ 843 w 10785"/>
                <a:gd name="connsiteY2602" fmla="*/ 9615 h 10000"/>
                <a:gd name="connsiteX2603" fmla="*/ 857 w 10785"/>
                <a:gd name="connsiteY2603" fmla="*/ 9624 h 10000"/>
                <a:gd name="connsiteX2604" fmla="*/ 862 w 10785"/>
                <a:gd name="connsiteY2604" fmla="*/ 9615 h 10000"/>
                <a:gd name="connsiteX2605" fmla="*/ 880 w 10785"/>
                <a:gd name="connsiteY2605" fmla="*/ 9624 h 10000"/>
                <a:gd name="connsiteX2606" fmla="*/ 889 w 10785"/>
                <a:gd name="connsiteY2606" fmla="*/ 9641 h 10000"/>
                <a:gd name="connsiteX2607" fmla="*/ 935 w 10785"/>
                <a:gd name="connsiteY2607" fmla="*/ 9675 h 10000"/>
                <a:gd name="connsiteX2608" fmla="*/ 977 w 10785"/>
                <a:gd name="connsiteY2608" fmla="*/ 9667 h 10000"/>
                <a:gd name="connsiteX2609" fmla="*/ 995 w 10785"/>
                <a:gd name="connsiteY2609" fmla="*/ 9675 h 10000"/>
                <a:gd name="connsiteX2610" fmla="*/ 1014 w 10785"/>
                <a:gd name="connsiteY2610" fmla="*/ 9675 h 10000"/>
                <a:gd name="connsiteX2611" fmla="*/ 1069 w 10785"/>
                <a:gd name="connsiteY2611" fmla="*/ 9752 h 10000"/>
                <a:gd name="connsiteX2612" fmla="*/ 1074 w 10785"/>
                <a:gd name="connsiteY2612" fmla="*/ 9761 h 10000"/>
                <a:gd name="connsiteX2613" fmla="*/ 1083 w 10785"/>
                <a:gd name="connsiteY2613" fmla="*/ 9778 h 10000"/>
                <a:gd name="connsiteX2614" fmla="*/ 1115 w 10785"/>
                <a:gd name="connsiteY2614" fmla="*/ 9752 h 10000"/>
                <a:gd name="connsiteX2615" fmla="*/ 1129 w 10785"/>
                <a:gd name="connsiteY2615" fmla="*/ 9752 h 10000"/>
                <a:gd name="connsiteX2616" fmla="*/ 1138 w 10785"/>
                <a:gd name="connsiteY2616" fmla="*/ 9761 h 10000"/>
                <a:gd name="connsiteX2617" fmla="*/ 1143 w 10785"/>
                <a:gd name="connsiteY2617" fmla="*/ 9752 h 10000"/>
                <a:gd name="connsiteX2618" fmla="*/ 1161 w 10785"/>
                <a:gd name="connsiteY2618" fmla="*/ 9761 h 10000"/>
                <a:gd name="connsiteX2619" fmla="*/ 1171 w 10785"/>
                <a:gd name="connsiteY2619" fmla="*/ 9778 h 10000"/>
                <a:gd name="connsiteX2620" fmla="*/ 1175 w 10785"/>
                <a:gd name="connsiteY2620" fmla="*/ 9778 h 10000"/>
                <a:gd name="connsiteX2621" fmla="*/ 1189 w 10785"/>
                <a:gd name="connsiteY2621" fmla="*/ 9778 h 10000"/>
                <a:gd name="connsiteX2622" fmla="*/ 1198 w 10785"/>
                <a:gd name="connsiteY2622" fmla="*/ 9786 h 10000"/>
                <a:gd name="connsiteX2623" fmla="*/ 1203 w 10785"/>
                <a:gd name="connsiteY2623" fmla="*/ 9803 h 10000"/>
                <a:gd name="connsiteX2624" fmla="*/ 1198 w 10785"/>
                <a:gd name="connsiteY2624" fmla="*/ 9838 h 10000"/>
                <a:gd name="connsiteX2625" fmla="*/ 1212 w 10785"/>
                <a:gd name="connsiteY2625" fmla="*/ 9863 h 10000"/>
                <a:gd name="connsiteX2626" fmla="*/ 1230 w 10785"/>
                <a:gd name="connsiteY2626" fmla="*/ 9872 h 10000"/>
                <a:gd name="connsiteX2627" fmla="*/ 1249 w 10785"/>
                <a:gd name="connsiteY2627" fmla="*/ 9897 h 10000"/>
                <a:gd name="connsiteX2628" fmla="*/ 1263 w 10785"/>
                <a:gd name="connsiteY2628" fmla="*/ 9897 h 10000"/>
                <a:gd name="connsiteX2629" fmla="*/ 1276 w 10785"/>
                <a:gd name="connsiteY2629" fmla="*/ 9923 h 10000"/>
                <a:gd name="connsiteX2630" fmla="*/ 1281 w 10785"/>
                <a:gd name="connsiteY2630" fmla="*/ 9949 h 10000"/>
                <a:gd name="connsiteX2631" fmla="*/ 1290 w 10785"/>
                <a:gd name="connsiteY2631" fmla="*/ 9949 h 10000"/>
                <a:gd name="connsiteX2632" fmla="*/ 1295 w 10785"/>
                <a:gd name="connsiteY2632" fmla="*/ 10000 h 10000"/>
                <a:gd name="connsiteX2633" fmla="*/ 1332 w 10785"/>
                <a:gd name="connsiteY2633" fmla="*/ 10000 h 10000"/>
                <a:gd name="connsiteX2634" fmla="*/ 1336 w 10785"/>
                <a:gd name="connsiteY2634" fmla="*/ 10000 h 10000"/>
                <a:gd name="connsiteX2635" fmla="*/ 1346 w 10785"/>
                <a:gd name="connsiteY2635" fmla="*/ 9983 h 10000"/>
                <a:gd name="connsiteX2636" fmla="*/ 1350 w 10785"/>
                <a:gd name="connsiteY2636" fmla="*/ 9949 h 10000"/>
                <a:gd name="connsiteX2637" fmla="*/ 1369 w 10785"/>
                <a:gd name="connsiteY2637" fmla="*/ 9940 h 10000"/>
                <a:gd name="connsiteX2638" fmla="*/ 1378 w 10785"/>
                <a:gd name="connsiteY2638" fmla="*/ 9897 h 10000"/>
                <a:gd name="connsiteX2639" fmla="*/ 1369 w 10785"/>
                <a:gd name="connsiteY2639" fmla="*/ 9889 h 10000"/>
                <a:gd name="connsiteX2640" fmla="*/ 1318 w 10785"/>
                <a:gd name="connsiteY2640" fmla="*/ 9701 h 10000"/>
                <a:gd name="connsiteX2641" fmla="*/ 1318 w 10785"/>
                <a:gd name="connsiteY2641" fmla="*/ 9650 h 10000"/>
                <a:gd name="connsiteX2642" fmla="*/ 1323 w 10785"/>
                <a:gd name="connsiteY2642" fmla="*/ 9590 h 10000"/>
                <a:gd name="connsiteX2643" fmla="*/ 1323 w 10785"/>
                <a:gd name="connsiteY2643" fmla="*/ 9564 h 10000"/>
                <a:gd name="connsiteX2644" fmla="*/ 1309 w 10785"/>
                <a:gd name="connsiteY2644" fmla="*/ 9598 h 10000"/>
                <a:gd name="connsiteX2645" fmla="*/ 1309 w 10785"/>
                <a:gd name="connsiteY2645" fmla="*/ 9590 h 10000"/>
                <a:gd name="connsiteX2646" fmla="*/ 1304 w 10785"/>
                <a:gd name="connsiteY2646" fmla="*/ 9547 h 10000"/>
                <a:gd name="connsiteX2647" fmla="*/ 1276 w 10785"/>
                <a:gd name="connsiteY2647" fmla="*/ 9479 h 10000"/>
                <a:gd name="connsiteX2648" fmla="*/ 1263 w 10785"/>
                <a:gd name="connsiteY2648" fmla="*/ 9479 h 10000"/>
                <a:gd name="connsiteX2649" fmla="*/ 1263 w 10785"/>
                <a:gd name="connsiteY2649" fmla="*/ 9453 h 10000"/>
                <a:gd name="connsiteX2650" fmla="*/ 1272 w 10785"/>
                <a:gd name="connsiteY2650" fmla="*/ 9410 h 10000"/>
                <a:gd name="connsiteX2651" fmla="*/ 1272 w 10785"/>
                <a:gd name="connsiteY2651" fmla="*/ 9393 h 10000"/>
                <a:gd name="connsiteX2652" fmla="*/ 1281 w 10785"/>
                <a:gd name="connsiteY2652" fmla="*/ 9368 h 10000"/>
                <a:gd name="connsiteX2653" fmla="*/ 1281 w 10785"/>
                <a:gd name="connsiteY2653" fmla="*/ 9368 h 10000"/>
                <a:gd name="connsiteX2654" fmla="*/ 1290 w 10785"/>
                <a:gd name="connsiteY2654" fmla="*/ 9368 h 10000"/>
                <a:gd name="connsiteX2655" fmla="*/ 1290 w 10785"/>
                <a:gd name="connsiteY2655" fmla="*/ 9342 h 10000"/>
                <a:gd name="connsiteX2656" fmla="*/ 1304 w 10785"/>
                <a:gd name="connsiteY2656" fmla="*/ 9325 h 10000"/>
                <a:gd name="connsiteX2657" fmla="*/ 1309 w 10785"/>
                <a:gd name="connsiteY2657" fmla="*/ 9239 h 10000"/>
                <a:gd name="connsiteX2658" fmla="*/ 1318 w 10785"/>
                <a:gd name="connsiteY2658" fmla="*/ 9256 h 10000"/>
                <a:gd name="connsiteX2659" fmla="*/ 1323 w 10785"/>
                <a:gd name="connsiteY2659" fmla="*/ 9179 h 10000"/>
                <a:gd name="connsiteX2660" fmla="*/ 1309 w 10785"/>
                <a:gd name="connsiteY2660" fmla="*/ 9145 h 10000"/>
                <a:gd name="connsiteX2661" fmla="*/ 1336 w 10785"/>
                <a:gd name="connsiteY2661" fmla="*/ 9154 h 10000"/>
                <a:gd name="connsiteX2662" fmla="*/ 1336 w 10785"/>
                <a:gd name="connsiteY2662" fmla="*/ 9162 h 10000"/>
                <a:gd name="connsiteX2663" fmla="*/ 1350 w 10785"/>
                <a:gd name="connsiteY2663" fmla="*/ 9231 h 10000"/>
                <a:gd name="connsiteX2664" fmla="*/ 1355 w 10785"/>
                <a:gd name="connsiteY2664" fmla="*/ 9231 h 10000"/>
                <a:gd name="connsiteX2665" fmla="*/ 1364 w 10785"/>
                <a:gd name="connsiteY2665" fmla="*/ 9214 h 10000"/>
                <a:gd name="connsiteX2666" fmla="*/ 1369 w 10785"/>
                <a:gd name="connsiteY2666" fmla="*/ 9214 h 10000"/>
                <a:gd name="connsiteX2667" fmla="*/ 1382 w 10785"/>
                <a:gd name="connsiteY2667" fmla="*/ 9154 h 10000"/>
                <a:gd name="connsiteX2668" fmla="*/ 1396 w 10785"/>
                <a:gd name="connsiteY2668" fmla="*/ 9154 h 10000"/>
                <a:gd name="connsiteX2669" fmla="*/ 1382 w 10785"/>
                <a:gd name="connsiteY2669" fmla="*/ 9145 h 10000"/>
                <a:gd name="connsiteX2670" fmla="*/ 1382 w 10785"/>
                <a:gd name="connsiteY2670" fmla="*/ 9128 h 10000"/>
                <a:gd name="connsiteX2671" fmla="*/ 1369 w 10785"/>
                <a:gd name="connsiteY2671" fmla="*/ 9128 h 10000"/>
                <a:gd name="connsiteX2672" fmla="*/ 1364 w 10785"/>
                <a:gd name="connsiteY2672" fmla="*/ 9128 h 10000"/>
                <a:gd name="connsiteX2673" fmla="*/ 1355 w 10785"/>
                <a:gd name="connsiteY2673" fmla="*/ 9120 h 10000"/>
                <a:gd name="connsiteX2674" fmla="*/ 1350 w 10785"/>
                <a:gd name="connsiteY2674" fmla="*/ 9103 h 10000"/>
                <a:gd name="connsiteX2675" fmla="*/ 1355 w 10785"/>
                <a:gd name="connsiteY2675" fmla="*/ 9094 h 10000"/>
                <a:gd name="connsiteX2676" fmla="*/ 1355 w 10785"/>
                <a:gd name="connsiteY2676" fmla="*/ 9068 h 10000"/>
                <a:gd name="connsiteX2677" fmla="*/ 1369 w 10785"/>
                <a:gd name="connsiteY2677" fmla="*/ 9068 h 10000"/>
                <a:gd name="connsiteX2678" fmla="*/ 1378 w 10785"/>
                <a:gd name="connsiteY2678" fmla="*/ 9077 h 10000"/>
                <a:gd name="connsiteX2679" fmla="*/ 1396 w 10785"/>
                <a:gd name="connsiteY2679" fmla="*/ 9068 h 10000"/>
                <a:gd name="connsiteX2680" fmla="*/ 1382 w 10785"/>
                <a:gd name="connsiteY2680" fmla="*/ 8940 h 10000"/>
                <a:gd name="connsiteX2681" fmla="*/ 1378 w 10785"/>
                <a:gd name="connsiteY2681" fmla="*/ 8940 h 10000"/>
                <a:gd name="connsiteX2682" fmla="*/ 1364 w 10785"/>
                <a:gd name="connsiteY2682" fmla="*/ 8889 h 10000"/>
                <a:gd name="connsiteX2683" fmla="*/ 1355 w 10785"/>
                <a:gd name="connsiteY2683" fmla="*/ 8880 h 10000"/>
                <a:gd name="connsiteX2684" fmla="*/ 1323 w 10785"/>
                <a:gd name="connsiteY2684" fmla="*/ 8880 h 10000"/>
                <a:gd name="connsiteX2685" fmla="*/ 1309 w 10785"/>
                <a:gd name="connsiteY2685" fmla="*/ 8880 h 10000"/>
                <a:gd name="connsiteX2686" fmla="*/ 1309 w 10785"/>
                <a:gd name="connsiteY2686" fmla="*/ 8889 h 10000"/>
                <a:gd name="connsiteX2687" fmla="*/ 1295 w 10785"/>
                <a:gd name="connsiteY2687" fmla="*/ 8872 h 10000"/>
                <a:gd name="connsiteX2688" fmla="*/ 1290 w 10785"/>
                <a:gd name="connsiteY2688" fmla="*/ 8855 h 10000"/>
                <a:gd name="connsiteX2689" fmla="*/ 1290 w 10785"/>
                <a:gd name="connsiteY2689" fmla="*/ 8829 h 10000"/>
                <a:gd name="connsiteX2690" fmla="*/ 1290 w 10785"/>
                <a:gd name="connsiteY2690" fmla="*/ 8821 h 10000"/>
                <a:gd name="connsiteX2691" fmla="*/ 1290 w 10785"/>
                <a:gd name="connsiteY2691" fmla="*/ 8803 h 10000"/>
                <a:gd name="connsiteX2692" fmla="*/ 1281 w 10785"/>
                <a:gd name="connsiteY2692" fmla="*/ 8795 h 10000"/>
                <a:gd name="connsiteX2693" fmla="*/ 1249 w 10785"/>
                <a:gd name="connsiteY2693" fmla="*/ 8769 h 10000"/>
                <a:gd name="connsiteX2694" fmla="*/ 1263 w 10785"/>
                <a:gd name="connsiteY2694" fmla="*/ 8667 h 10000"/>
                <a:gd name="connsiteX2695" fmla="*/ 1281 w 10785"/>
                <a:gd name="connsiteY2695" fmla="*/ 8658 h 10000"/>
                <a:gd name="connsiteX2696" fmla="*/ 1290 w 10785"/>
                <a:gd name="connsiteY2696" fmla="*/ 8632 h 10000"/>
                <a:gd name="connsiteX2697" fmla="*/ 1281 w 10785"/>
                <a:gd name="connsiteY2697" fmla="*/ 8615 h 10000"/>
                <a:gd name="connsiteX2698" fmla="*/ 1272 w 10785"/>
                <a:gd name="connsiteY2698" fmla="*/ 8598 h 10000"/>
                <a:gd name="connsiteX2699" fmla="*/ 1281 w 10785"/>
                <a:gd name="connsiteY2699" fmla="*/ 8496 h 10000"/>
                <a:gd name="connsiteX2700" fmla="*/ 1295 w 10785"/>
                <a:gd name="connsiteY2700" fmla="*/ 8470 h 10000"/>
                <a:gd name="connsiteX2701" fmla="*/ 1304 w 10785"/>
                <a:gd name="connsiteY2701" fmla="*/ 8462 h 10000"/>
                <a:gd name="connsiteX2702" fmla="*/ 1304 w 10785"/>
                <a:gd name="connsiteY2702" fmla="*/ 8444 h 10000"/>
                <a:gd name="connsiteX2703" fmla="*/ 1304 w 10785"/>
                <a:gd name="connsiteY2703" fmla="*/ 8419 h 10000"/>
                <a:gd name="connsiteX2704" fmla="*/ 1304 w 10785"/>
                <a:gd name="connsiteY2704" fmla="*/ 8410 h 10000"/>
                <a:gd name="connsiteX2705" fmla="*/ 1309 w 10785"/>
                <a:gd name="connsiteY2705" fmla="*/ 8393 h 10000"/>
                <a:gd name="connsiteX2706" fmla="*/ 1318 w 10785"/>
                <a:gd name="connsiteY2706" fmla="*/ 8385 h 10000"/>
                <a:gd name="connsiteX2707" fmla="*/ 1323 w 10785"/>
                <a:gd name="connsiteY2707" fmla="*/ 8385 h 10000"/>
                <a:gd name="connsiteX2708" fmla="*/ 1332 w 10785"/>
                <a:gd name="connsiteY2708" fmla="*/ 8410 h 10000"/>
                <a:gd name="connsiteX2709" fmla="*/ 1346 w 10785"/>
                <a:gd name="connsiteY2709" fmla="*/ 8419 h 10000"/>
                <a:gd name="connsiteX2710" fmla="*/ 1364 w 10785"/>
                <a:gd name="connsiteY2710" fmla="*/ 8504 h 10000"/>
                <a:gd name="connsiteX2711" fmla="*/ 1369 w 10785"/>
                <a:gd name="connsiteY2711" fmla="*/ 8521 h 10000"/>
                <a:gd name="connsiteX2712" fmla="*/ 1406 w 10785"/>
                <a:gd name="connsiteY2712" fmla="*/ 8470 h 10000"/>
                <a:gd name="connsiteX2713" fmla="*/ 1382 w 10785"/>
                <a:gd name="connsiteY2713" fmla="*/ 8359 h 10000"/>
                <a:gd name="connsiteX2714" fmla="*/ 1392 w 10785"/>
                <a:gd name="connsiteY2714" fmla="*/ 8359 h 10000"/>
                <a:gd name="connsiteX2715" fmla="*/ 1438 w 10785"/>
                <a:gd name="connsiteY2715" fmla="*/ 8308 h 10000"/>
                <a:gd name="connsiteX2716" fmla="*/ 1442 w 10785"/>
                <a:gd name="connsiteY2716" fmla="*/ 8299 h 10000"/>
                <a:gd name="connsiteX2717" fmla="*/ 1442 w 10785"/>
                <a:gd name="connsiteY2717" fmla="*/ 8256 h 10000"/>
                <a:gd name="connsiteX2718" fmla="*/ 1452 w 10785"/>
                <a:gd name="connsiteY2718" fmla="*/ 8256 h 10000"/>
                <a:gd name="connsiteX2719" fmla="*/ 1456 w 10785"/>
                <a:gd name="connsiteY2719" fmla="*/ 8256 h 10000"/>
                <a:gd name="connsiteX2720" fmla="*/ 1470 w 10785"/>
                <a:gd name="connsiteY2720" fmla="*/ 8248 h 10000"/>
                <a:gd name="connsiteX2721" fmla="*/ 1479 w 10785"/>
                <a:gd name="connsiteY2721" fmla="*/ 8231 h 10000"/>
                <a:gd name="connsiteX2722" fmla="*/ 1493 w 10785"/>
                <a:gd name="connsiteY2722" fmla="*/ 8222 h 10000"/>
                <a:gd name="connsiteX2723" fmla="*/ 1498 w 10785"/>
                <a:gd name="connsiteY2723" fmla="*/ 8214 h 10000"/>
                <a:gd name="connsiteX2724" fmla="*/ 1502 w 10785"/>
                <a:gd name="connsiteY2724" fmla="*/ 8197 h 10000"/>
                <a:gd name="connsiteX2725" fmla="*/ 1512 w 10785"/>
                <a:gd name="connsiteY2725" fmla="*/ 8188 h 10000"/>
                <a:gd name="connsiteX2726" fmla="*/ 1516 w 10785"/>
                <a:gd name="connsiteY2726" fmla="*/ 8171 h 10000"/>
                <a:gd name="connsiteX2727" fmla="*/ 1525 w 10785"/>
                <a:gd name="connsiteY2727" fmla="*/ 8162 h 10000"/>
                <a:gd name="connsiteX2728" fmla="*/ 1539 w 10785"/>
                <a:gd name="connsiteY2728" fmla="*/ 8145 h 10000"/>
                <a:gd name="connsiteX2729" fmla="*/ 1558 w 10785"/>
                <a:gd name="connsiteY2729" fmla="*/ 8145 h 10000"/>
                <a:gd name="connsiteX2730" fmla="*/ 1562 w 10785"/>
                <a:gd name="connsiteY2730" fmla="*/ 8188 h 10000"/>
                <a:gd name="connsiteX2731" fmla="*/ 1585 w 10785"/>
                <a:gd name="connsiteY2731" fmla="*/ 8171 h 10000"/>
                <a:gd name="connsiteX2732" fmla="*/ 1590 w 10785"/>
                <a:gd name="connsiteY2732" fmla="*/ 8188 h 10000"/>
                <a:gd name="connsiteX2733" fmla="*/ 1599 w 10785"/>
                <a:gd name="connsiteY2733" fmla="*/ 8171 h 10000"/>
                <a:gd name="connsiteX2734" fmla="*/ 1599 w 10785"/>
                <a:gd name="connsiteY2734" fmla="*/ 8162 h 10000"/>
                <a:gd name="connsiteX2735" fmla="*/ 1604 w 10785"/>
                <a:gd name="connsiteY2735" fmla="*/ 8137 h 10000"/>
                <a:gd name="connsiteX2736" fmla="*/ 1618 w 10785"/>
                <a:gd name="connsiteY2736" fmla="*/ 8145 h 10000"/>
                <a:gd name="connsiteX2737" fmla="*/ 1627 w 10785"/>
                <a:gd name="connsiteY2737" fmla="*/ 8137 h 10000"/>
                <a:gd name="connsiteX2738" fmla="*/ 1631 w 10785"/>
                <a:gd name="connsiteY2738" fmla="*/ 8137 h 10000"/>
                <a:gd name="connsiteX2739" fmla="*/ 1636 w 10785"/>
                <a:gd name="connsiteY2739" fmla="*/ 8171 h 10000"/>
                <a:gd name="connsiteX2740" fmla="*/ 1645 w 10785"/>
                <a:gd name="connsiteY2740" fmla="*/ 8188 h 10000"/>
                <a:gd name="connsiteX2741" fmla="*/ 1664 w 10785"/>
                <a:gd name="connsiteY2741" fmla="*/ 8171 h 10000"/>
                <a:gd name="connsiteX2742" fmla="*/ 1673 w 10785"/>
                <a:gd name="connsiteY2742" fmla="*/ 8188 h 10000"/>
                <a:gd name="connsiteX2743" fmla="*/ 1691 w 10785"/>
                <a:gd name="connsiteY2743" fmla="*/ 8171 h 10000"/>
                <a:gd name="connsiteX2744" fmla="*/ 1705 w 10785"/>
                <a:gd name="connsiteY2744" fmla="*/ 8171 h 10000"/>
                <a:gd name="connsiteX2745" fmla="*/ 1719 w 10785"/>
                <a:gd name="connsiteY2745" fmla="*/ 8197 h 10000"/>
                <a:gd name="connsiteX2746" fmla="*/ 1724 w 10785"/>
                <a:gd name="connsiteY2746" fmla="*/ 8231 h 10000"/>
                <a:gd name="connsiteX2747" fmla="*/ 1751 w 10785"/>
                <a:gd name="connsiteY2747" fmla="*/ 8256 h 10000"/>
                <a:gd name="connsiteX2748" fmla="*/ 1751 w 10785"/>
                <a:gd name="connsiteY2748" fmla="*/ 8274 h 10000"/>
                <a:gd name="connsiteX2749" fmla="*/ 1760 w 10785"/>
                <a:gd name="connsiteY2749" fmla="*/ 8282 h 10000"/>
                <a:gd name="connsiteX2750" fmla="*/ 1770 w 10785"/>
                <a:gd name="connsiteY2750" fmla="*/ 8325 h 10000"/>
                <a:gd name="connsiteX2751" fmla="*/ 1770 w 10785"/>
                <a:gd name="connsiteY2751" fmla="*/ 8350 h 10000"/>
                <a:gd name="connsiteX2752" fmla="*/ 1779 w 10785"/>
                <a:gd name="connsiteY2752" fmla="*/ 8368 h 10000"/>
                <a:gd name="connsiteX2753" fmla="*/ 1783 w 10785"/>
                <a:gd name="connsiteY2753" fmla="*/ 8359 h 10000"/>
                <a:gd name="connsiteX2754" fmla="*/ 1783 w 10785"/>
                <a:gd name="connsiteY2754" fmla="*/ 8308 h 10000"/>
                <a:gd name="connsiteX2755" fmla="*/ 1779 w 10785"/>
                <a:gd name="connsiteY2755" fmla="*/ 8299 h 10000"/>
                <a:gd name="connsiteX2756" fmla="*/ 1783 w 10785"/>
                <a:gd name="connsiteY2756" fmla="*/ 8282 h 10000"/>
                <a:gd name="connsiteX2757" fmla="*/ 1797 w 10785"/>
                <a:gd name="connsiteY2757" fmla="*/ 8274 h 10000"/>
                <a:gd name="connsiteX2758" fmla="*/ 1797 w 10785"/>
                <a:gd name="connsiteY2758" fmla="*/ 8299 h 10000"/>
                <a:gd name="connsiteX2759" fmla="*/ 1806 w 10785"/>
                <a:gd name="connsiteY2759" fmla="*/ 8308 h 10000"/>
                <a:gd name="connsiteX2760" fmla="*/ 1811 w 10785"/>
                <a:gd name="connsiteY2760" fmla="*/ 8325 h 10000"/>
                <a:gd name="connsiteX2761" fmla="*/ 1820 w 10785"/>
                <a:gd name="connsiteY2761" fmla="*/ 8333 h 10000"/>
                <a:gd name="connsiteX2762" fmla="*/ 1853 w 10785"/>
                <a:gd name="connsiteY2762" fmla="*/ 8359 h 10000"/>
                <a:gd name="connsiteX2763" fmla="*/ 1866 w 10785"/>
                <a:gd name="connsiteY2763" fmla="*/ 8359 h 10000"/>
                <a:gd name="connsiteX2764" fmla="*/ 1885 w 10785"/>
                <a:gd name="connsiteY2764" fmla="*/ 8325 h 10000"/>
                <a:gd name="connsiteX2765" fmla="*/ 1885 w 10785"/>
                <a:gd name="connsiteY2765" fmla="*/ 8308 h 10000"/>
                <a:gd name="connsiteX2766" fmla="*/ 1894 w 10785"/>
                <a:gd name="connsiteY2766" fmla="*/ 8299 h 10000"/>
                <a:gd name="connsiteX2767" fmla="*/ 1899 w 10785"/>
                <a:gd name="connsiteY2767" fmla="*/ 8282 h 10000"/>
                <a:gd name="connsiteX2768" fmla="*/ 1912 w 10785"/>
                <a:gd name="connsiteY2768" fmla="*/ 8282 h 10000"/>
                <a:gd name="connsiteX2769" fmla="*/ 1917 w 10785"/>
                <a:gd name="connsiteY2769" fmla="*/ 8299 h 10000"/>
                <a:gd name="connsiteX2770" fmla="*/ 1917 w 10785"/>
                <a:gd name="connsiteY2770" fmla="*/ 8274 h 10000"/>
                <a:gd name="connsiteX2771" fmla="*/ 1940 w 10785"/>
                <a:gd name="connsiteY2771" fmla="*/ 8282 h 10000"/>
                <a:gd name="connsiteX2772" fmla="*/ 1945 w 10785"/>
                <a:gd name="connsiteY2772" fmla="*/ 8274 h 10000"/>
                <a:gd name="connsiteX2773" fmla="*/ 1972 w 10785"/>
                <a:gd name="connsiteY2773" fmla="*/ 8308 h 10000"/>
                <a:gd name="connsiteX2774" fmla="*/ 1986 w 10785"/>
                <a:gd name="connsiteY2774" fmla="*/ 8282 h 10000"/>
                <a:gd name="connsiteX2775" fmla="*/ 1991 w 10785"/>
                <a:gd name="connsiteY2775" fmla="*/ 8274 h 10000"/>
                <a:gd name="connsiteX2776" fmla="*/ 2014 w 10785"/>
                <a:gd name="connsiteY2776" fmla="*/ 8274 h 10000"/>
                <a:gd name="connsiteX2777" fmla="*/ 2018 w 10785"/>
                <a:gd name="connsiteY2777" fmla="*/ 8256 h 10000"/>
                <a:gd name="connsiteX2778" fmla="*/ 2041 w 10785"/>
                <a:gd name="connsiteY2778" fmla="*/ 8274 h 10000"/>
                <a:gd name="connsiteX2779" fmla="*/ 2046 w 10785"/>
                <a:gd name="connsiteY2779" fmla="*/ 8282 h 10000"/>
                <a:gd name="connsiteX2780" fmla="*/ 2046 w 10785"/>
                <a:gd name="connsiteY2780" fmla="*/ 8325 h 10000"/>
                <a:gd name="connsiteX2781" fmla="*/ 2060 w 10785"/>
                <a:gd name="connsiteY2781" fmla="*/ 8350 h 10000"/>
                <a:gd name="connsiteX2782" fmla="*/ 2078 w 10785"/>
                <a:gd name="connsiteY2782" fmla="*/ 8350 h 10000"/>
                <a:gd name="connsiteX2783" fmla="*/ 2092 w 10785"/>
                <a:gd name="connsiteY2783" fmla="*/ 8350 h 10000"/>
                <a:gd name="connsiteX2784" fmla="*/ 2092 w 10785"/>
                <a:gd name="connsiteY2784" fmla="*/ 8350 h 10000"/>
                <a:gd name="connsiteX2785" fmla="*/ 2101 w 10785"/>
                <a:gd name="connsiteY2785" fmla="*/ 8368 h 10000"/>
                <a:gd name="connsiteX2786" fmla="*/ 2120 w 10785"/>
                <a:gd name="connsiteY2786" fmla="*/ 8368 h 10000"/>
                <a:gd name="connsiteX2787" fmla="*/ 2124 w 10785"/>
                <a:gd name="connsiteY2787" fmla="*/ 8359 h 10000"/>
                <a:gd name="connsiteX2788" fmla="*/ 2138 w 10785"/>
                <a:gd name="connsiteY2788" fmla="*/ 8325 h 10000"/>
                <a:gd name="connsiteX2789" fmla="*/ 2147 w 10785"/>
                <a:gd name="connsiteY2789" fmla="*/ 8325 h 10000"/>
                <a:gd name="connsiteX2790" fmla="*/ 2161 w 10785"/>
                <a:gd name="connsiteY2790" fmla="*/ 8350 h 10000"/>
                <a:gd name="connsiteX2791" fmla="*/ 2198 w 10785"/>
                <a:gd name="connsiteY2791" fmla="*/ 8350 h 10000"/>
                <a:gd name="connsiteX2792" fmla="*/ 2207 w 10785"/>
                <a:gd name="connsiteY2792" fmla="*/ 8333 h 10000"/>
                <a:gd name="connsiteX2793" fmla="*/ 2226 w 10785"/>
                <a:gd name="connsiteY2793" fmla="*/ 8325 h 10000"/>
                <a:gd name="connsiteX2794" fmla="*/ 2249 w 10785"/>
                <a:gd name="connsiteY2794" fmla="*/ 8222 h 10000"/>
                <a:gd name="connsiteX2795" fmla="*/ 2235 w 10785"/>
                <a:gd name="connsiteY2795" fmla="*/ 8197 h 10000"/>
                <a:gd name="connsiteX2796" fmla="*/ 2198 w 10785"/>
                <a:gd name="connsiteY2796" fmla="*/ 8197 h 10000"/>
                <a:gd name="connsiteX2797" fmla="*/ 2189 w 10785"/>
                <a:gd name="connsiteY2797" fmla="*/ 8171 h 10000"/>
                <a:gd name="connsiteX2798" fmla="*/ 2161 w 10785"/>
                <a:gd name="connsiteY2798" fmla="*/ 8145 h 10000"/>
                <a:gd name="connsiteX2799" fmla="*/ 2161 w 10785"/>
                <a:gd name="connsiteY2799" fmla="*/ 8137 h 10000"/>
                <a:gd name="connsiteX2800" fmla="*/ 2152 w 10785"/>
                <a:gd name="connsiteY2800" fmla="*/ 8120 h 10000"/>
                <a:gd name="connsiteX2801" fmla="*/ 2138 w 10785"/>
                <a:gd name="connsiteY2801" fmla="*/ 8111 h 10000"/>
                <a:gd name="connsiteX2802" fmla="*/ 2138 w 10785"/>
                <a:gd name="connsiteY2802" fmla="*/ 8094 h 10000"/>
                <a:gd name="connsiteX2803" fmla="*/ 2147 w 10785"/>
                <a:gd name="connsiteY2803" fmla="*/ 8085 h 10000"/>
                <a:gd name="connsiteX2804" fmla="*/ 2161 w 10785"/>
                <a:gd name="connsiteY2804" fmla="*/ 8060 h 10000"/>
                <a:gd name="connsiteX2805" fmla="*/ 2198 w 10785"/>
                <a:gd name="connsiteY2805" fmla="*/ 8034 h 10000"/>
                <a:gd name="connsiteX2806" fmla="*/ 2198 w 10785"/>
                <a:gd name="connsiteY2806" fmla="*/ 8026 h 10000"/>
                <a:gd name="connsiteX2807" fmla="*/ 2198 w 10785"/>
                <a:gd name="connsiteY2807" fmla="*/ 8000 h 10000"/>
                <a:gd name="connsiteX2808" fmla="*/ 2180 w 10785"/>
                <a:gd name="connsiteY2808" fmla="*/ 7940 h 10000"/>
                <a:gd name="connsiteX2809" fmla="*/ 2189 w 10785"/>
                <a:gd name="connsiteY2809" fmla="*/ 7940 h 10000"/>
                <a:gd name="connsiteX2810" fmla="*/ 2198 w 10785"/>
                <a:gd name="connsiteY2810" fmla="*/ 7923 h 10000"/>
                <a:gd name="connsiteX2811" fmla="*/ 2198 w 10785"/>
                <a:gd name="connsiteY2811" fmla="*/ 7897 h 10000"/>
                <a:gd name="connsiteX2812" fmla="*/ 2207 w 10785"/>
                <a:gd name="connsiteY2812" fmla="*/ 7889 h 10000"/>
                <a:gd name="connsiteX2813" fmla="*/ 2221 w 10785"/>
                <a:gd name="connsiteY2813" fmla="*/ 7889 h 10000"/>
                <a:gd name="connsiteX2814" fmla="*/ 2226 w 10785"/>
                <a:gd name="connsiteY2814" fmla="*/ 7897 h 10000"/>
                <a:gd name="connsiteX2815" fmla="*/ 2235 w 10785"/>
                <a:gd name="connsiteY2815" fmla="*/ 7889 h 10000"/>
                <a:gd name="connsiteX2816" fmla="*/ 2249 w 10785"/>
                <a:gd name="connsiteY2816" fmla="*/ 7897 h 10000"/>
                <a:gd name="connsiteX2817" fmla="*/ 2267 w 10785"/>
                <a:gd name="connsiteY2817" fmla="*/ 7897 h 10000"/>
                <a:gd name="connsiteX2818" fmla="*/ 2272 w 10785"/>
                <a:gd name="connsiteY2818" fmla="*/ 7889 h 10000"/>
                <a:gd name="connsiteX2819" fmla="*/ 2281 w 10785"/>
                <a:gd name="connsiteY2819" fmla="*/ 7872 h 10000"/>
                <a:gd name="connsiteX2820" fmla="*/ 2272 w 10785"/>
                <a:gd name="connsiteY2820" fmla="*/ 7846 h 10000"/>
                <a:gd name="connsiteX2821" fmla="*/ 2253 w 10785"/>
                <a:gd name="connsiteY2821" fmla="*/ 7838 h 10000"/>
                <a:gd name="connsiteX2822" fmla="*/ 2221 w 10785"/>
                <a:gd name="connsiteY2822" fmla="*/ 7821 h 10000"/>
                <a:gd name="connsiteX2823" fmla="*/ 2212 w 10785"/>
                <a:gd name="connsiteY2823" fmla="*/ 7812 h 10000"/>
                <a:gd name="connsiteX2824" fmla="*/ 2212 w 10785"/>
                <a:gd name="connsiteY2824" fmla="*/ 7803 h 10000"/>
                <a:gd name="connsiteX2825" fmla="*/ 2221 w 10785"/>
                <a:gd name="connsiteY2825" fmla="*/ 7803 h 10000"/>
                <a:gd name="connsiteX2826" fmla="*/ 2235 w 10785"/>
                <a:gd name="connsiteY2826" fmla="*/ 7786 h 10000"/>
                <a:gd name="connsiteX2827" fmla="*/ 2240 w 10785"/>
                <a:gd name="connsiteY2827" fmla="*/ 7778 h 10000"/>
                <a:gd name="connsiteX2828" fmla="*/ 2226 w 10785"/>
                <a:gd name="connsiteY2828" fmla="*/ 7761 h 10000"/>
                <a:gd name="connsiteX2829" fmla="*/ 2221 w 10785"/>
                <a:gd name="connsiteY2829" fmla="*/ 7778 h 10000"/>
                <a:gd name="connsiteX2830" fmla="*/ 2198 w 10785"/>
                <a:gd name="connsiteY2830" fmla="*/ 7778 h 10000"/>
                <a:gd name="connsiteX2831" fmla="*/ 2198 w 10785"/>
                <a:gd name="connsiteY2831" fmla="*/ 7752 h 10000"/>
                <a:gd name="connsiteX2832" fmla="*/ 2207 w 10785"/>
                <a:gd name="connsiteY2832" fmla="*/ 7735 h 10000"/>
                <a:gd name="connsiteX2833" fmla="*/ 2212 w 10785"/>
                <a:gd name="connsiteY2833" fmla="*/ 7726 h 10000"/>
                <a:gd name="connsiteX2834" fmla="*/ 2198 w 10785"/>
                <a:gd name="connsiteY2834" fmla="*/ 7692 h 10000"/>
                <a:gd name="connsiteX2835" fmla="*/ 2221 w 10785"/>
                <a:gd name="connsiteY2835" fmla="*/ 7692 h 10000"/>
                <a:gd name="connsiteX2836" fmla="*/ 2221 w 10785"/>
                <a:gd name="connsiteY2836" fmla="*/ 7675 h 10000"/>
                <a:gd name="connsiteX2837" fmla="*/ 2235 w 10785"/>
                <a:gd name="connsiteY2837" fmla="*/ 7675 h 10000"/>
                <a:gd name="connsiteX2838" fmla="*/ 2240 w 10785"/>
                <a:gd name="connsiteY2838" fmla="*/ 7692 h 10000"/>
                <a:gd name="connsiteX2839" fmla="*/ 2249 w 10785"/>
                <a:gd name="connsiteY2839" fmla="*/ 7692 h 10000"/>
                <a:gd name="connsiteX2840" fmla="*/ 2258 w 10785"/>
                <a:gd name="connsiteY2840" fmla="*/ 7692 h 10000"/>
                <a:gd name="connsiteX2841" fmla="*/ 2267 w 10785"/>
                <a:gd name="connsiteY2841" fmla="*/ 7692 h 10000"/>
                <a:gd name="connsiteX2842" fmla="*/ 2295 w 10785"/>
                <a:gd name="connsiteY2842" fmla="*/ 7692 h 10000"/>
                <a:gd name="connsiteX2843" fmla="*/ 2300 w 10785"/>
                <a:gd name="connsiteY2843" fmla="*/ 7701 h 10000"/>
                <a:gd name="connsiteX2844" fmla="*/ 2313 w 10785"/>
                <a:gd name="connsiteY2844" fmla="*/ 7675 h 10000"/>
                <a:gd name="connsiteX2845" fmla="*/ 2323 w 10785"/>
                <a:gd name="connsiteY2845" fmla="*/ 7675 h 10000"/>
                <a:gd name="connsiteX2846" fmla="*/ 2341 w 10785"/>
                <a:gd name="connsiteY2846" fmla="*/ 7675 h 10000"/>
                <a:gd name="connsiteX2847" fmla="*/ 2346 w 10785"/>
                <a:gd name="connsiteY2847" fmla="*/ 7667 h 10000"/>
                <a:gd name="connsiteX2848" fmla="*/ 2359 w 10785"/>
                <a:gd name="connsiteY2848" fmla="*/ 7650 h 10000"/>
                <a:gd name="connsiteX2849" fmla="*/ 2373 w 10785"/>
                <a:gd name="connsiteY2849" fmla="*/ 7624 h 10000"/>
                <a:gd name="connsiteX2850" fmla="*/ 2382 w 10785"/>
                <a:gd name="connsiteY2850" fmla="*/ 7641 h 10000"/>
                <a:gd name="connsiteX2851" fmla="*/ 2396 w 10785"/>
                <a:gd name="connsiteY2851" fmla="*/ 7650 h 10000"/>
                <a:gd name="connsiteX2852" fmla="*/ 2401 w 10785"/>
                <a:gd name="connsiteY2852" fmla="*/ 7650 h 10000"/>
                <a:gd name="connsiteX2853" fmla="*/ 2401 w 10785"/>
                <a:gd name="connsiteY2853" fmla="*/ 7624 h 10000"/>
                <a:gd name="connsiteX2854" fmla="*/ 2419 w 10785"/>
                <a:gd name="connsiteY2854" fmla="*/ 7624 h 10000"/>
                <a:gd name="connsiteX2855" fmla="*/ 2433 w 10785"/>
                <a:gd name="connsiteY2855" fmla="*/ 7615 h 10000"/>
                <a:gd name="connsiteX2856" fmla="*/ 2442 w 10785"/>
                <a:gd name="connsiteY2856" fmla="*/ 7615 h 10000"/>
                <a:gd name="connsiteX2857" fmla="*/ 2447 w 10785"/>
                <a:gd name="connsiteY2857" fmla="*/ 7598 h 10000"/>
                <a:gd name="connsiteX2858" fmla="*/ 2461 w 10785"/>
                <a:gd name="connsiteY2858" fmla="*/ 7598 h 10000"/>
                <a:gd name="connsiteX2859" fmla="*/ 2465 w 10785"/>
                <a:gd name="connsiteY2859" fmla="*/ 7615 h 10000"/>
                <a:gd name="connsiteX2860" fmla="*/ 2479 w 10785"/>
                <a:gd name="connsiteY2860" fmla="*/ 7564 h 10000"/>
                <a:gd name="connsiteX2861" fmla="*/ 2488 w 10785"/>
                <a:gd name="connsiteY2861" fmla="*/ 7556 h 10000"/>
                <a:gd name="connsiteX2862" fmla="*/ 2493 w 10785"/>
                <a:gd name="connsiteY2862" fmla="*/ 7556 h 10000"/>
                <a:gd name="connsiteX2863" fmla="*/ 2507 w 10785"/>
                <a:gd name="connsiteY2863" fmla="*/ 7556 h 10000"/>
                <a:gd name="connsiteX2864" fmla="*/ 2530 w 10785"/>
                <a:gd name="connsiteY2864" fmla="*/ 7538 h 10000"/>
                <a:gd name="connsiteX2865" fmla="*/ 2530 w 10785"/>
                <a:gd name="connsiteY2865" fmla="*/ 7556 h 10000"/>
                <a:gd name="connsiteX2866" fmla="*/ 2641 w 10785"/>
                <a:gd name="connsiteY2866" fmla="*/ 7504 h 10000"/>
                <a:gd name="connsiteX2867" fmla="*/ 2654 w 10785"/>
                <a:gd name="connsiteY2867" fmla="*/ 7487 h 10000"/>
                <a:gd name="connsiteX2868" fmla="*/ 2664 w 10785"/>
                <a:gd name="connsiteY2868" fmla="*/ 7487 h 10000"/>
                <a:gd name="connsiteX2869" fmla="*/ 2668 w 10785"/>
                <a:gd name="connsiteY2869" fmla="*/ 7479 h 10000"/>
                <a:gd name="connsiteX2870" fmla="*/ 2673 w 10785"/>
                <a:gd name="connsiteY2870" fmla="*/ 7462 h 10000"/>
                <a:gd name="connsiteX2871" fmla="*/ 2673 w 10785"/>
                <a:gd name="connsiteY2871" fmla="*/ 7427 h 10000"/>
                <a:gd name="connsiteX2872" fmla="*/ 2687 w 10785"/>
                <a:gd name="connsiteY2872" fmla="*/ 7436 h 10000"/>
                <a:gd name="connsiteX2873" fmla="*/ 2696 w 10785"/>
                <a:gd name="connsiteY2873" fmla="*/ 7427 h 10000"/>
                <a:gd name="connsiteX2874" fmla="*/ 2700 w 10785"/>
                <a:gd name="connsiteY2874" fmla="*/ 7419 h 10000"/>
                <a:gd name="connsiteX2875" fmla="*/ 2710 w 10785"/>
                <a:gd name="connsiteY2875" fmla="*/ 7402 h 10000"/>
                <a:gd name="connsiteX2876" fmla="*/ 2724 w 10785"/>
                <a:gd name="connsiteY2876" fmla="*/ 7402 h 10000"/>
                <a:gd name="connsiteX2877" fmla="*/ 2724 w 10785"/>
                <a:gd name="connsiteY2877" fmla="*/ 7393 h 10000"/>
                <a:gd name="connsiteX2878" fmla="*/ 2737 w 10785"/>
                <a:gd name="connsiteY2878" fmla="*/ 7393 h 10000"/>
                <a:gd name="connsiteX2879" fmla="*/ 2742 w 10785"/>
                <a:gd name="connsiteY2879" fmla="*/ 7402 h 10000"/>
                <a:gd name="connsiteX2880" fmla="*/ 2747 w 10785"/>
                <a:gd name="connsiteY2880" fmla="*/ 7402 h 10000"/>
                <a:gd name="connsiteX2881" fmla="*/ 2760 w 10785"/>
                <a:gd name="connsiteY2881" fmla="*/ 7402 h 10000"/>
                <a:gd name="connsiteX2882" fmla="*/ 2770 w 10785"/>
                <a:gd name="connsiteY2882" fmla="*/ 7402 h 10000"/>
                <a:gd name="connsiteX2883" fmla="*/ 2774 w 10785"/>
                <a:gd name="connsiteY2883" fmla="*/ 7402 h 10000"/>
                <a:gd name="connsiteX2884" fmla="*/ 2783 w 10785"/>
                <a:gd name="connsiteY2884" fmla="*/ 7419 h 10000"/>
                <a:gd name="connsiteX2885" fmla="*/ 2802 w 10785"/>
                <a:gd name="connsiteY2885" fmla="*/ 7436 h 10000"/>
                <a:gd name="connsiteX2886" fmla="*/ 2816 w 10785"/>
                <a:gd name="connsiteY2886" fmla="*/ 7419 h 10000"/>
                <a:gd name="connsiteX2887" fmla="*/ 2834 w 10785"/>
                <a:gd name="connsiteY2887" fmla="*/ 7419 h 10000"/>
                <a:gd name="connsiteX2888" fmla="*/ 2843 w 10785"/>
                <a:gd name="connsiteY2888" fmla="*/ 7419 h 10000"/>
                <a:gd name="connsiteX2889" fmla="*/ 2848 w 10785"/>
                <a:gd name="connsiteY2889" fmla="*/ 7436 h 10000"/>
                <a:gd name="connsiteX2890" fmla="*/ 2857 w 10785"/>
                <a:gd name="connsiteY2890" fmla="*/ 7453 h 10000"/>
                <a:gd name="connsiteX2891" fmla="*/ 2857 w 10785"/>
                <a:gd name="connsiteY2891" fmla="*/ 7504 h 10000"/>
                <a:gd name="connsiteX2892" fmla="*/ 2862 w 10785"/>
                <a:gd name="connsiteY2892" fmla="*/ 7530 h 10000"/>
                <a:gd name="connsiteX2893" fmla="*/ 2876 w 10785"/>
                <a:gd name="connsiteY2893" fmla="*/ 7538 h 10000"/>
                <a:gd name="connsiteX2894" fmla="*/ 2871 w 10785"/>
                <a:gd name="connsiteY2894" fmla="*/ 7564 h 10000"/>
                <a:gd name="connsiteX2895" fmla="*/ 2871 w 10785"/>
                <a:gd name="connsiteY2895" fmla="*/ 7598 h 10000"/>
                <a:gd name="connsiteX2896" fmla="*/ 2857 w 10785"/>
                <a:gd name="connsiteY2896" fmla="*/ 7624 h 10000"/>
                <a:gd name="connsiteX2897" fmla="*/ 2862 w 10785"/>
                <a:gd name="connsiteY2897" fmla="*/ 7641 h 10000"/>
                <a:gd name="connsiteX2898" fmla="*/ 2871 w 10785"/>
                <a:gd name="connsiteY2898" fmla="*/ 7667 h 10000"/>
                <a:gd name="connsiteX2899" fmla="*/ 2880 w 10785"/>
                <a:gd name="connsiteY2899" fmla="*/ 7650 h 10000"/>
                <a:gd name="connsiteX2900" fmla="*/ 2894 w 10785"/>
                <a:gd name="connsiteY2900" fmla="*/ 7667 h 10000"/>
                <a:gd name="connsiteX2901" fmla="*/ 2903 w 10785"/>
                <a:gd name="connsiteY2901" fmla="*/ 7667 h 10000"/>
                <a:gd name="connsiteX2902" fmla="*/ 2908 w 10785"/>
                <a:gd name="connsiteY2902" fmla="*/ 7641 h 10000"/>
                <a:gd name="connsiteX2903" fmla="*/ 2917 w 10785"/>
                <a:gd name="connsiteY2903" fmla="*/ 7641 h 10000"/>
                <a:gd name="connsiteX2904" fmla="*/ 2922 w 10785"/>
                <a:gd name="connsiteY2904" fmla="*/ 7641 h 10000"/>
                <a:gd name="connsiteX2905" fmla="*/ 2931 w 10785"/>
                <a:gd name="connsiteY2905" fmla="*/ 7615 h 10000"/>
                <a:gd name="connsiteX2906" fmla="*/ 2935 w 10785"/>
                <a:gd name="connsiteY2906" fmla="*/ 7615 h 10000"/>
                <a:gd name="connsiteX2907" fmla="*/ 2945 w 10785"/>
                <a:gd name="connsiteY2907" fmla="*/ 7650 h 10000"/>
                <a:gd name="connsiteX2908" fmla="*/ 2949 w 10785"/>
                <a:gd name="connsiteY2908" fmla="*/ 7667 h 10000"/>
                <a:gd name="connsiteX2909" fmla="*/ 2949 w 10785"/>
                <a:gd name="connsiteY2909" fmla="*/ 7675 h 10000"/>
                <a:gd name="connsiteX2910" fmla="*/ 2945 w 10785"/>
                <a:gd name="connsiteY2910" fmla="*/ 7692 h 10000"/>
                <a:gd name="connsiteX2911" fmla="*/ 2963 w 10785"/>
                <a:gd name="connsiteY2911" fmla="*/ 7701 h 10000"/>
                <a:gd name="connsiteX2912" fmla="*/ 2963 w 10785"/>
                <a:gd name="connsiteY2912" fmla="*/ 7675 h 10000"/>
                <a:gd name="connsiteX2913" fmla="*/ 2954 w 10785"/>
                <a:gd name="connsiteY2913" fmla="*/ 7667 h 10000"/>
                <a:gd name="connsiteX2914" fmla="*/ 2963 w 10785"/>
                <a:gd name="connsiteY2914" fmla="*/ 7667 h 10000"/>
                <a:gd name="connsiteX2915" fmla="*/ 2982 w 10785"/>
                <a:gd name="connsiteY2915" fmla="*/ 7667 h 10000"/>
                <a:gd name="connsiteX2916" fmla="*/ 2991 w 10785"/>
                <a:gd name="connsiteY2916" fmla="*/ 7675 h 10000"/>
                <a:gd name="connsiteX2917" fmla="*/ 2995 w 10785"/>
                <a:gd name="connsiteY2917" fmla="*/ 7692 h 10000"/>
                <a:gd name="connsiteX2918" fmla="*/ 3009 w 10785"/>
                <a:gd name="connsiteY2918" fmla="*/ 7701 h 10000"/>
                <a:gd name="connsiteX2919" fmla="*/ 3018 w 10785"/>
                <a:gd name="connsiteY2919" fmla="*/ 7701 h 10000"/>
                <a:gd name="connsiteX2920" fmla="*/ 3023 w 10785"/>
                <a:gd name="connsiteY2920" fmla="*/ 7692 h 10000"/>
                <a:gd name="connsiteX2921" fmla="*/ 3028 w 10785"/>
                <a:gd name="connsiteY2921" fmla="*/ 7675 h 10000"/>
                <a:gd name="connsiteX2922" fmla="*/ 3037 w 10785"/>
                <a:gd name="connsiteY2922" fmla="*/ 7692 h 10000"/>
                <a:gd name="connsiteX2923" fmla="*/ 3028 w 10785"/>
                <a:gd name="connsiteY2923" fmla="*/ 7709 h 10000"/>
                <a:gd name="connsiteX2924" fmla="*/ 3023 w 10785"/>
                <a:gd name="connsiteY2924" fmla="*/ 7709 h 10000"/>
                <a:gd name="connsiteX2925" fmla="*/ 3018 w 10785"/>
                <a:gd name="connsiteY2925" fmla="*/ 7726 h 10000"/>
                <a:gd name="connsiteX2926" fmla="*/ 3009 w 10785"/>
                <a:gd name="connsiteY2926" fmla="*/ 7735 h 10000"/>
                <a:gd name="connsiteX2927" fmla="*/ 3009 w 10785"/>
                <a:gd name="connsiteY2927" fmla="*/ 7761 h 10000"/>
                <a:gd name="connsiteX2928" fmla="*/ 3009 w 10785"/>
                <a:gd name="connsiteY2928" fmla="*/ 7778 h 10000"/>
                <a:gd name="connsiteX2929" fmla="*/ 3018 w 10785"/>
                <a:gd name="connsiteY2929" fmla="*/ 7786 h 10000"/>
                <a:gd name="connsiteX2930" fmla="*/ 3023 w 10785"/>
                <a:gd name="connsiteY2930" fmla="*/ 7786 h 10000"/>
                <a:gd name="connsiteX2931" fmla="*/ 3028 w 10785"/>
                <a:gd name="connsiteY2931" fmla="*/ 7778 h 10000"/>
                <a:gd name="connsiteX2932" fmla="*/ 3051 w 10785"/>
                <a:gd name="connsiteY2932" fmla="*/ 7761 h 10000"/>
                <a:gd name="connsiteX2933" fmla="*/ 3055 w 10785"/>
                <a:gd name="connsiteY2933" fmla="*/ 7778 h 10000"/>
                <a:gd name="connsiteX2934" fmla="*/ 3065 w 10785"/>
                <a:gd name="connsiteY2934" fmla="*/ 7761 h 10000"/>
                <a:gd name="connsiteX2935" fmla="*/ 3069 w 10785"/>
                <a:gd name="connsiteY2935" fmla="*/ 7786 h 10000"/>
                <a:gd name="connsiteX2936" fmla="*/ 3083 w 10785"/>
                <a:gd name="connsiteY2936" fmla="*/ 7786 h 10000"/>
                <a:gd name="connsiteX2937" fmla="*/ 3078 w 10785"/>
                <a:gd name="connsiteY2937" fmla="*/ 7761 h 10000"/>
                <a:gd name="connsiteX2938" fmla="*/ 3083 w 10785"/>
                <a:gd name="connsiteY2938" fmla="*/ 7752 h 10000"/>
                <a:gd name="connsiteX2939" fmla="*/ 3097 w 10785"/>
                <a:gd name="connsiteY2939" fmla="*/ 7752 h 10000"/>
                <a:gd name="connsiteX2940" fmla="*/ 3111 w 10785"/>
                <a:gd name="connsiteY2940" fmla="*/ 7726 h 10000"/>
                <a:gd name="connsiteX2941" fmla="*/ 3124 w 10785"/>
                <a:gd name="connsiteY2941" fmla="*/ 7709 h 10000"/>
                <a:gd name="connsiteX2942" fmla="*/ 3143 w 10785"/>
                <a:gd name="connsiteY2942" fmla="*/ 7692 h 10000"/>
                <a:gd name="connsiteX2943" fmla="*/ 3152 w 10785"/>
                <a:gd name="connsiteY2943" fmla="*/ 7667 h 10000"/>
                <a:gd name="connsiteX2944" fmla="*/ 3157 w 10785"/>
                <a:gd name="connsiteY2944" fmla="*/ 7650 h 10000"/>
                <a:gd name="connsiteX2945" fmla="*/ 3161 w 10785"/>
                <a:gd name="connsiteY2945" fmla="*/ 7650 h 10000"/>
                <a:gd name="connsiteX2946" fmla="*/ 3189 w 10785"/>
                <a:gd name="connsiteY2946" fmla="*/ 7641 h 10000"/>
                <a:gd name="connsiteX2947" fmla="*/ 3198 w 10785"/>
                <a:gd name="connsiteY2947" fmla="*/ 7624 h 10000"/>
                <a:gd name="connsiteX2948" fmla="*/ 3217 w 10785"/>
                <a:gd name="connsiteY2948" fmla="*/ 7615 h 10000"/>
                <a:gd name="connsiteX2949" fmla="*/ 3235 w 10785"/>
                <a:gd name="connsiteY2949" fmla="*/ 7598 h 10000"/>
                <a:gd name="connsiteX2950" fmla="*/ 3235 w 10785"/>
                <a:gd name="connsiteY2950" fmla="*/ 7615 h 10000"/>
                <a:gd name="connsiteX2951" fmla="*/ 3235 w 10785"/>
                <a:gd name="connsiteY2951" fmla="*/ 7641 h 10000"/>
                <a:gd name="connsiteX2952" fmla="*/ 3235 w 10785"/>
                <a:gd name="connsiteY2952" fmla="*/ 7650 h 10000"/>
                <a:gd name="connsiteX2953" fmla="*/ 3226 w 10785"/>
                <a:gd name="connsiteY2953" fmla="*/ 7650 h 10000"/>
                <a:gd name="connsiteX2954" fmla="*/ 3217 w 10785"/>
                <a:gd name="connsiteY2954" fmla="*/ 7650 h 10000"/>
                <a:gd name="connsiteX2955" fmla="*/ 3212 w 10785"/>
                <a:gd name="connsiteY2955" fmla="*/ 7675 h 10000"/>
                <a:gd name="connsiteX2956" fmla="*/ 3212 w 10785"/>
                <a:gd name="connsiteY2956"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307 w 10785"/>
                <a:gd name="connsiteY731" fmla="*/ 4899 h 10000"/>
                <a:gd name="connsiteX732" fmla="*/ 10691 w 10785"/>
                <a:gd name="connsiteY732" fmla="*/ 5255 h 10000"/>
                <a:gd name="connsiteX733" fmla="*/ 10619 w 10785"/>
                <a:gd name="connsiteY733" fmla="*/ 4708 h 10000"/>
                <a:gd name="connsiteX734" fmla="*/ 10785 w 10785"/>
                <a:gd name="connsiteY734" fmla="*/ 4708 h 10000"/>
                <a:gd name="connsiteX735" fmla="*/ 10689 w 10785"/>
                <a:gd name="connsiteY735" fmla="*/ 4467 h 10000"/>
                <a:gd name="connsiteX736" fmla="*/ 10354 w 10785"/>
                <a:gd name="connsiteY736" fmla="*/ 4302 h 10000"/>
                <a:gd name="connsiteX737" fmla="*/ 9912 w 10785"/>
                <a:gd name="connsiteY737" fmla="*/ 3675 h 10000"/>
                <a:gd name="connsiteX738" fmla="*/ 9903 w 10785"/>
                <a:gd name="connsiteY738" fmla="*/ 3667 h 10000"/>
                <a:gd name="connsiteX739" fmla="*/ 9894 w 10785"/>
                <a:gd name="connsiteY739" fmla="*/ 3641 h 10000"/>
                <a:gd name="connsiteX740" fmla="*/ 9889 w 10785"/>
                <a:gd name="connsiteY740" fmla="*/ 3650 h 10000"/>
                <a:gd name="connsiteX741" fmla="*/ 9848 w 10785"/>
                <a:gd name="connsiteY741" fmla="*/ 3598 h 10000"/>
                <a:gd name="connsiteX742" fmla="*/ 9829 w 10785"/>
                <a:gd name="connsiteY742" fmla="*/ 3581 h 10000"/>
                <a:gd name="connsiteX743" fmla="*/ 9820 w 10785"/>
                <a:gd name="connsiteY743" fmla="*/ 3581 h 10000"/>
                <a:gd name="connsiteX744" fmla="*/ 9793 w 10785"/>
                <a:gd name="connsiteY744" fmla="*/ 3556 h 10000"/>
                <a:gd name="connsiteX745" fmla="*/ 9779 w 10785"/>
                <a:gd name="connsiteY745" fmla="*/ 3556 h 10000"/>
                <a:gd name="connsiteX746" fmla="*/ 9747 w 10785"/>
                <a:gd name="connsiteY746" fmla="*/ 3487 h 10000"/>
                <a:gd name="connsiteX747" fmla="*/ 9668 w 10785"/>
                <a:gd name="connsiteY747" fmla="*/ 3479 h 10000"/>
                <a:gd name="connsiteX748" fmla="*/ 9659 w 10785"/>
                <a:gd name="connsiteY748" fmla="*/ 3487 h 10000"/>
                <a:gd name="connsiteX749" fmla="*/ 9645 w 10785"/>
                <a:gd name="connsiteY749" fmla="*/ 3504 h 10000"/>
                <a:gd name="connsiteX750" fmla="*/ 9631 w 10785"/>
                <a:gd name="connsiteY750" fmla="*/ 3487 h 10000"/>
                <a:gd name="connsiteX751" fmla="*/ 9613 w 10785"/>
                <a:gd name="connsiteY751" fmla="*/ 3479 h 10000"/>
                <a:gd name="connsiteX752" fmla="*/ 9599 w 10785"/>
                <a:gd name="connsiteY752" fmla="*/ 3479 h 10000"/>
                <a:gd name="connsiteX753" fmla="*/ 9571 w 10785"/>
                <a:gd name="connsiteY753" fmla="*/ 3479 h 10000"/>
                <a:gd name="connsiteX754" fmla="*/ 9562 w 10785"/>
                <a:gd name="connsiteY754" fmla="*/ 3487 h 10000"/>
                <a:gd name="connsiteX755" fmla="*/ 9539 w 10785"/>
                <a:gd name="connsiteY755" fmla="*/ 3487 h 10000"/>
                <a:gd name="connsiteX756" fmla="*/ 9507 w 10785"/>
                <a:gd name="connsiteY756" fmla="*/ 3453 h 10000"/>
                <a:gd name="connsiteX757" fmla="*/ 9498 w 10785"/>
                <a:gd name="connsiteY757" fmla="*/ 3453 h 10000"/>
                <a:gd name="connsiteX758" fmla="*/ 9387 w 10785"/>
                <a:gd name="connsiteY758" fmla="*/ 3419 h 10000"/>
                <a:gd name="connsiteX759" fmla="*/ 9373 w 10785"/>
                <a:gd name="connsiteY759" fmla="*/ 3427 h 10000"/>
                <a:gd name="connsiteX760" fmla="*/ 9373 w 10785"/>
                <a:gd name="connsiteY760" fmla="*/ 3462 h 10000"/>
                <a:gd name="connsiteX761" fmla="*/ 9378 w 10785"/>
                <a:gd name="connsiteY761" fmla="*/ 3479 h 10000"/>
                <a:gd name="connsiteX762" fmla="*/ 9378 w 10785"/>
                <a:gd name="connsiteY762" fmla="*/ 3530 h 10000"/>
                <a:gd name="connsiteX763" fmla="*/ 9355 w 10785"/>
                <a:gd name="connsiteY763" fmla="*/ 3538 h 10000"/>
                <a:gd name="connsiteX764" fmla="*/ 9355 w 10785"/>
                <a:gd name="connsiteY764" fmla="*/ 3581 h 10000"/>
                <a:gd name="connsiteX765" fmla="*/ 9387 w 10785"/>
                <a:gd name="connsiteY765" fmla="*/ 3590 h 10000"/>
                <a:gd name="connsiteX766" fmla="*/ 9401 w 10785"/>
                <a:gd name="connsiteY766" fmla="*/ 3667 h 10000"/>
                <a:gd name="connsiteX767" fmla="*/ 9406 w 10785"/>
                <a:gd name="connsiteY767" fmla="*/ 3675 h 10000"/>
                <a:gd name="connsiteX768" fmla="*/ 9406 w 10785"/>
                <a:gd name="connsiteY768" fmla="*/ 3701 h 10000"/>
                <a:gd name="connsiteX769" fmla="*/ 9415 w 10785"/>
                <a:gd name="connsiteY769" fmla="*/ 3752 h 10000"/>
                <a:gd name="connsiteX770" fmla="*/ 9373 w 10785"/>
                <a:gd name="connsiteY770" fmla="*/ 3838 h 10000"/>
                <a:gd name="connsiteX771" fmla="*/ 9355 w 10785"/>
                <a:gd name="connsiteY771" fmla="*/ 3863 h 10000"/>
                <a:gd name="connsiteX772" fmla="*/ 9327 w 10785"/>
                <a:gd name="connsiteY772" fmla="*/ 3863 h 10000"/>
                <a:gd name="connsiteX773" fmla="*/ 9313 w 10785"/>
                <a:gd name="connsiteY773" fmla="*/ 3846 h 10000"/>
                <a:gd name="connsiteX774" fmla="*/ 9300 w 10785"/>
                <a:gd name="connsiteY774" fmla="*/ 3778 h 10000"/>
                <a:gd name="connsiteX775" fmla="*/ 9281 w 10785"/>
                <a:gd name="connsiteY775" fmla="*/ 3752 h 10000"/>
                <a:gd name="connsiteX776" fmla="*/ 9281 w 10785"/>
                <a:gd name="connsiteY776" fmla="*/ 3735 h 10000"/>
                <a:gd name="connsiteX777" fmla="*/ 9267 w 10785"/>
                <a:gd name="connsiteY777" fmla="*/ 3726 h 10000"/>
                <a:gd name="connsiteX778" fmla="*/ 9240 w 10785"/>
                <a:gd name="connsiteY778" fmla="*/ 3726 h 10000"/>
                <a:gd name="connsiteX779" fmla="*/ 9230 w 10785"/>
                <a:gd name="connsiteY779" fmla="*/ 3718 h 10000"/>
                <a:gd name="connsiteX780" fmla="*/ 9226 w 10785"/>
                <a:gd name="connsiteY780" fmla="*/ 3590 h 10000"/>
                <a:gd name="connsiteX781" fmla="*/ 9207 w 10785"/>
                <a:gd name="connsiteY781" fmla="*/ 3581 h 10000"/>
                <a:gd name="connsiteX782" fmla="*/ 9207 w 10785"/>
                <a:gd name="connsiteY782" fmla="*/ 3556 h 10000"/>
                <a:gd name="connsiteX783" fmla="*/ 9217 w 10785"/>
                <a:gd name="connsiteY783" fmla="*/ 3538 h 10000"/>
                <a:gd name="connsiteX784" fmla="*/ 9212 w 10785"/>
                <a:gd name="connsiteY784" fmla="*/ 3538 h 10000"/>
                <a:gd name="connsiteX785" fmla="*/ 9198 w 10785"/>
                <a:gd name="connsiteY785" fmla="*/ 3513 h 10000"/>
                <a:gd name="connsiteX786" fmla="*/ 9194 w 10785"/>
                <a:gd name="connsiteY786" fmla="*/ 3530 h 10000"/>
                <a:gd name="connsiteX787" fmla="*/ 9143 w 10785"/>
                <a:gd name="connsiteY787" fmla="*/ 3615 h 10000"/>
                <a:gd name="connsiteX788" fmla="*/ 9138 w 10785"/>
                <a:gd name="connsiteY788" fmla="*/ 3615 h 10000"/>
                <a:gd name="connsiteX789" fmla="*/ 9134 w 10785"/>
                <a:gd name="connsiteY789" fmla="*/ 3615 h 10000"/>
                <a:gd name="connsiteX790" fmla="*/ 9106 w 10785"/>
                <a:gd name="connsiteY790" fmla="*/ 3615 h 10000"/>
                <a:gd name="connsiteX791" fmla="*/ 9078 w 10785"/>
                <a:gd name="connsiteY791" fmla="*/ 3590 h 10000"/>
                <a:gd name="connsiteX792" fmla="*/ 9037 w 10785"/>
                <a:gd name="connsiteY792" fmla="*/ 3581 h 10000"/>
                <a:gd name="connsiteX793" fmla="*/ 9023 w 10785"/>
                <a:gd name="connsiteY793" fmla="*/ 3590 h 10000"/>
                <a:gd name="connsiteX794" fmla="*/ 9018 w 10785"/>
                <a:gd name="connsiteY794" fmla="*/ 3590 h 10000"/>
                <a:gd name="connsiteX795" fmla="*/ 9018 w 10785"/>
                <a:gd name="connsiteY795" fmla="*/ 3590 h 10000"/>
                <a:gd name="connsiteX796" fmla="*/ 8991 w 10785"/>
                <a:gd name="connsiteY796" fmla="*/ 3590 h 10000"/>
                <a:gd name="connsiteX797" fmla="*/ 8972 w 10785"/>
                <a:gd name="connsiteY797" fmla="*/ 3581 h 10000"/>
                <a:gd name="connsiteX798" fmla="*/ 8959 w 10785"/>
                <a:gd name="connsiteY798" fmla="*/ 3513 h 10000"/>
                <a:gd name="connsiteX799" fmla="*/ 8931 w 10785"/>
                <a:gd name="connsiteY799" fmla="*/ 3538 h 10000"/>
                <a:gd name="connsiteX800" fmla="*/ 8889 w 10785"/>
                <a:gd name="connsiteY800" fmla="*/ 3538 h 10000"/>
                <a:gd name="connsiteX801" fmla="*/ 8871 w 10785"/>
                <a:gd name="connsiteY801" fmla="*/ 3556 h 10000"/>
                <a:gd name="connsiteX802" fmla="*/ 8857 w 10785"/>
                <a:gd name="connsiteY802" fmla="*/ 3538 h 10000"/>
                <a:gd name="connsiteX803" fmla="*/ 8843 w 10785"/>
                <a:gd name="connsiteY803" fmla="*/ 3538 h 10000"/>
                <a:gd name="connsiteX804" fmla="*/ 8839 w 10785"/>
                <a:gd name="connsiteY804" fmla="*/ 3556 h 10000"/>
                <a:gd name="connsiteX805" fmla="*/ 8839 w 10785"/>
                <a:gd name="connsiteY805" fmla="*/ 3581 h 10000"/>
                <a:gd name="connsiteX806" fmla="*/ 8825 w 10785"/>
                <a:gd name="connsiteY806" fmla="*/ 3564 h 10000"/>
                <a:gd name="connsiteX807" fmla="*/ 8825 w 10785"/>
                <a:gd name="connsiteY807" fmla="*/ 3615 h 10000"/>
                <a:gd name="connsiteX808" fmla="*/ 8802 w 10785"/>
                <a:gd name="connsiteY808" fmla="*/ 3598 h 10000"/>
                <a:gd name="connsiteX809" fmla="*/ 8797 w 10785"/>
                <a:gd name="connsiteY809" fmla="*/ 3641 h 10000"/>
                <a:gd name="connsiteX810" fmla="*/ 8783 w 10785"/>
                <a:gd name="connsiteY810" fmla="*/ 3667 h 10000"/>
                <a:gd name="connsiteX811" fmla="*/ 8779 w 10785"/>
                <a:gd name="connsiteY811" fmla="*/ 3650 h 10000"/>
                <a:gd name="connsiteX812" fmla="*/ 8779 w 10785"/>
                <a:gd name="connsiteY812" fmla="*/ 3615 h 10000"/>
                <a:gd name="connsiteX813" fmla="*/ 8770 w 10785"/>
                <a:gd name="connsiteY813" fmla="*/ 3590 h 10000"/>
                <a:gd name="connsiteX814" fmla="*/ 8765 w 10785"/>
                <a:gd name="connsiteY814" fmla="*/ 3598 h 10000"/>
                <a:gd name="connsiteX815" fmla="*/ 8756 w 10785"/>
                <a:gd name="connsiteY815" fmla="*/ 3590 h 10000"/>
                <a:gd name="connsiteX816" fmla="*/ 8737 w 10785"/>
                <a:gd name="connsiteY816" fmla="*/ 3556 h 10000"/>
                <a:gd name="connsiteX817" fmla="*/ 8724 w 10785"/>
                <a:gd name="connsiteY817" fmla="*/ 3538 h 10000"/>
                <a:gd name="connsiteX818" fmla="*/ 8696 w 10785"/>
                <a:gd name="connsiteY818" fmla="*/ 3538 h 10000"/>
                <a:gd name="connsiteX819" fmla="*/ 8691 w 10785"/>
                <a:gd name="connsiteY819" fmla="*/ 3513 h 10000"/>
                <a:gd name="connsiteX820" fmla="*/ 8668 w 10785"/>
                <a:gd name="connsiteY820" fmla="*/ 3504 h 10000"/>
                <a:gd name="connsiteX821" fmla="*/ 8668 w 10785"/>
                <a:gd name="connsiteY821" fmla="*/ 3487 h 10000"/>
                <a:gd name="connsiteX822" fmla="*/ 8691 w 10785"/>
                <a:gd name="connsiteY822" fmla="*/ 3350 h 10000"/>
                <a:gd name="connsiteX823" fmla="*/ 8691 w 10785"/>
                <a:gd name="connsiteY823" fmla="*/ 3291 h 10000"/>
                <a:gd name="connsiteX824" fmla="*/ 8677 w 10785"/>
                <a:gd name="connsiteY824" fmla="*/ 3239 h 10000"/>
                <a:gd name="connsiteX825" fmla="*/ 8677 w 10785"/>
                <a:gd name="connsiteY825" fmla="*/ 3231 h 10000"/>
                <a:gd name="connsiteX826" fmla="*/ 8636 w 10785"/>
                <a:gd name="connsiteY826" fmla="*/ 3128 h 10000"/>
                <a:gd name="connsiteX827" fmla="*/ 8622 w 10785"/>
                <a:gd name="connsiteY827" fmla="*/ 3120 h 10000"/>
                <a:gd name="connsiteX828" fmla="*/ 8618 w 10785"/>
                <a:gd name="connsiteY828" fmla="*/ 3094 h 10000"/>
                <a:gd name="connsiteX829" fmla="*/ 8594 w 10785"/>
                <a:gd name="connsiteY829" fmla="*/ 3077 h 10000"/>
                <a:gd name="connsiteX830" fmla="*/ 8548 w 10785"/>
                <a:gd name="connsiteY830" fmla="*/ 3077 h 10000"/>
                <a:gd name="connsiteX831" fmla="*/ 8535 w 10785"/>
                <a:gd name="connsiteY831" fmla="*/ 3068 h 10000"/>
                <a:gd name="connsiteX832" fmla="*/ 8429 w 10785"/>
                <a:gd name="connsiteY832" fmla="*/ 3077 h 10000"/>
                <a:gd name="connsiteX833" fmla="*/ 8424 w 10785"/>
                <a:gd name="connsiteY833" fmla="*/ 3077 h 10000"/>
                <a:gd name="connsiteX834" fmla="*/ 8396 w 10785"/>
                <a:gd name="connsiteY834" fmla="*/ 3077 h 10000"/>
                <a:gd name="connsiteX835" fmla="*/ 8387 w 10785"/>
                <a:gd name="connsiteY835" fmla="*/ 3094 h 10000"/>
                <a:gd name="connsiteX836" fmla="*/ 8378 w 10785"/>
                <a:gd name="connsiteY836" fmla="*/ 3094 h 10000"/>
                <a:gd name="connsiteX837" fmla="*/ 8341 w 10785"/>
                <a:gd name="connsiteY837" fmla="*/ 3077 h 10000"/>
                <a:gd name="connsiteX838" fmla="*/ 8336 w 10785"/>
                <a:gd name="connsiteY838" fmla="*/ 3077 h 10000"/>
                <a:gd name="connsiteX839" fmla="*/ 8327 w 10785"/>
                <a:gd name="connsiteY839" fmla="*/ 3103 h 10000"/>
                <a:gd name="connsiteX840" fmla="*/ 8309 w 10785"/>
                <a:gd name="connsiteY840" fmla="*/ 3120 h 10000"/>
                <a:gd name="connsiteX841" fmla="*/ 8304 w 10785"/>
                <a:gd name="connsiteY841" fmla="*/ 3103 h 10000"/>
                <a:gd name="connsiteX842" fmla="*/ 8276 w 10785"/>
                <a:gd name="connsiteY842" fmla="*/ 3103 h 10000"/>
                <a:gd name="connsiteX843" fmla="*/ 8267 w 10785"/>
                <a:gd name="connsiteY843" fmla="*/ 3120 h 10000"/>
                <a:gd name="connsiteX844" fmla="*/ 8253 w 10785"/>
                <a:gd name="connsiteY844" fmla="*/ 3103 h 10000"/>
                <a:gd name="connsiteX845" fmla="*/ 8230 w 10785"/>
                <a:gd name="connsiteY845" fmla="*/ 3128 h 10000"/>
                <a:gd name="connsiteX846" fmla="*/ 8217 w 10785"/>
                <a:gd name="connsiteY846" fmla="*/ 3128 h 10000"/>
                <a:gd name="connsiteX847" fmla="*/ 8203 w 10785"/>
                <a:gd name="connsiteY847" fmla="*/ 3154 h 10000"/>
                <a:gd name="connsiteX848" fmla="*/ 8175 w 10785"/>
                <a:gd name="connsiteY848" fmla="*/ 3094 h 10000"/>
                <a:gd name="connsiteX849" fmla="*/ 8161 w 10785"/>
                <a:gd name="connsiteY849" fmla="*/ 3094 h 10000"/>
                <a:gd name="connsiteX850" fmla="*/ 8157 w 10785"/>
                <a:gd name="connsiteY850" fmla="*/ 3077 h 10000"/>
                <a:gd name="connsiteX851" fmla="*/ 8180 w 10785"/>
                <a:gd name="connsiteY851" fmla="*/ 3068 h 10000"/>
                <a:gd name="connsiteX852" fmla="*/ 8189 w 10785"/>
                <a:gd name="connsiteY852" fmla="*/ 3043 h 10000"/>
                <a:gd name="connsiteX853" fmla="*/ 8189 w 10785"/>
                <a:gd name="connsiteY853" fmla="*/ 3017 h 10000"/>
                <a:gd name="connsiteX854" fmla="*/ 8147 w 10785"/>
                <a:gd name="connsiteY854" fmla="*/ 2940 h 10000"/>
                <a:gd name="connsiteX855" fmla="*/ 8143 w 10785"/>
                <a:gd name="connsiteY855" fmla="*/ 2915 h 10000"/>
                <a:gd name="connsiteX856" fmla="*/ 8143 w 10785"/>
                <a:gd name="connsiteY856" fmla="*/ 2906 h 10000"/>
                <a:gd name="connsiteX857" fmla="*/ 8097 w 10785"/>
                <a:gd name="connsiteY857" fmla="*/ 2932 h 10000"/>
                <a:gd name="connsiteX858" fmla="*/ 8083 w 10785"/>
                <a:gd name="connsiteY858" fmla="*/ 2932 h 10000"/>
                <a:gd name="connsiteX859" fmla="*/ 8074 w 10785"/>
                <a:gd name="connsiteY859" fmla="*/ 2906 h 10000"/>
                <a:gd name="connsiteX860" fmla="*/ 8074 w 10785"/>
                <a:gd name="connsiteY860" fmla="*/ 2897 h 10000"/>
                <a:gd name="connsiteX861" fmla="*/ 8055 w 10785"/>
                <a:gd name="connsiteY861" fmla="*/ 2872 h 10000"/>
                <a:gd name="connsiteX862" fmla="*/ 8046 w 10785"/>
                <a:gd name="connsiteY862" fmla="*/ 2829 h 10000"/>
                <a:gd name="connsiteX863" fmla="*/ 8041 w 10785"/>
                <a:gd name="connsiteY863" fmla="*/ 2829 h 10000"/>
                <a:gd name="connsiteX864" fmla="*/ 8023 w 10785"/>
                <a:gd name="connsiteY864" fmla="*/ 2803 h 10000"/>
                <a:gd name="connsiteX865" fmla="*/ 8014 w 10785"/>
                <a:gd name="connsiteY865" fmla="*/ 2829 h 10000"/>
                <a:gd name="connsiteX866" fmla="*/ 8000 w 10785"/>
                <a:gd name="connsiteY866" fmla="*/ 2829 h 10000"/>
                <a:gd name="connsiteX867" fmla="*/ 7995 w 10785"/>
                <a:gd name="connsiteY867" fmla="*/ 2821 h 10000"/>
                <a:gd name="connsiteX868" fmla="*/ 7972 w 10785"/>
                <a:gd name="connsiteY868" fmla="*/ 2803 h 10000"/>
                <a:gd name="connsiteX869" fmla="*/ 7968 w 10785"/>
                <a:gd name="connsiteY869" fmla="*/ 2821 h 10000"/>
                <a:gd name="connsiteX870" fmla="*/ 7968 w 10785"/>
                <a:gd name="connsiteY870" fmla="*/ 2803 h 10000"/>
                <a:gd name="connsiteX871" fmla="*/ 7995 w 10785"/>
                <a:gd name="connsiteY871" fmla="*/ 2735 h 10000"/>
                <a:gd name="connsiteX872" fmla="*/ 8000 w 10785"/>
                <a:gd name="connsiteY872" fmla="*/ 2735 h 10000"/>
                <a:gd name="connsiteX873" fmla="*/ 8014 w 10785"/>
                <a:gd name="connsiteY873" fmla="*/ 2744 h 10000"/>
                <a:gd name="connsiteX874" fmla="*/ 8023 w 10785"/>
                <a:gd name="connsiteY874" fmla="*/ 2769 h 10000"/>
                <a:gd name="connsiteX875" fmla="*/ 8032 w 10785"/>
                <a:gd name="connsiteY875" fmla="*/ 2744 h 10000"/>
                <a:gd name="connsiteX876" fmla="*/ 8032 w 10785"/>
                <a:gd name="connsiteY876" fmla="*/ 2709 h 10000"/>
                <a:gd name="connsiteX877" fmla="*/ 8023 w 10785"/>
                <a:gd name="connsiteY877" fmla="*/ 2632 h 10000"/>
                <a:gd name="connsiteX878" fmla="*/ 7986 w 10785"/>
                <a:gd name="connsiteY878" fmla="*/ 2581 h 10000"/>
                <a:gd name="connsiteX879" fmla="*/ 7968 w 10785"/>
                <a:gd name="connsiteY879" fmla="*/ 2581 h 10000"/>
                <a:gd name="connsiteX880" fmla="*/ 7963 w 10785"/>
                <a:gd name="connsiteY880" fmla="*/ 2556 h 10000"/>
                <a:gd name="connsiteX881" fmla="*/ 7935 w 10785"/>
                <a:gd name="connsiteY881" fmla="*/ 2547 h 10000"/>
                <a:gd name="connsiteX882" fmla="*/ 7912 w 10785"/>
                <a:gd name="connsiteY882" fmla="*/ 2547 h 10000"/>
                <a:gd name="connsiteX883" fmla="*/ 7912 w 10785"/>
                <a:gd name="connsiteY883" fmla="*/ 2556 h 10000"/>
                <a:gd name="connsiteX884" fmla="*/ 7908 w 10785"/>
                <a:gd name="connsiteY884" fmla="*/ 2547 h 10000"/>
                <a:gd name="connsiteX885" fmla="*/ 7862 w 10785"/>
                <a:gd name="connsiteY885" fmla="*/ 2547 h 10000"/>
                <a:gd name="connsiteX886" fmla="*/ 7848 w 10785"/>
                <a:gd name="connsiteY886" fmla="*/ 2556 h 10000"/>
                <a:gd name="connsiteX887" fmla="*/ 7820 w 10785"/>
                <a:gd name="connsiteY887" fmla="*/ 2547 h 10000"/>
                <a:gd name="connsiteX888" fmla="*/ 7806 w 10785"/>
                <a:gd name="connsiteY888" fmla="*/ 2513 h 10000"/>
                <a:gd name="connsiteX889" fmla="*/ 7788 w 10785"/>
                <a:gd name="connsiteY889" fmla="*/ 2513 h 10000"/>
                <a:gd name="connsiteX890" fmla="*/ 7760 w 10785"/>
                <a:gd name="connsiteY890" fmla="*/ 2470 h 10000"/>
                <a:gd name="connsiteX891" fmla="*/ 7751 w 10785"/>
                <a:gd name="connsiteY891" fmla="*/ 2470 h 10000"/>
                <a:gd name="connsiteX892" fmla="*/ 7705 w 10785"/>
                <a:gd name="connsiteY892" fmla="*/ 2462 h 10000"/>
                <a:gd name="connsiteX893" fmla="*/ 7673 w 10785"/>
                <a:gd name="connsiteY893" fmla="*/ 2419 h 10000"/>
                <a:gd name="connsiteX894" fmla="*/ 7627 w 10785"/>
                <a:gd name="connsiteY894" fmla="*/ 2419 h 10000"/>
                <a:gd name="connsiteX895" fmla="*/ 7613 w 10785"/>
                <a:gd name="connsiteY895" fmla="*/ 2410 h 10000"/>
                <a:gd name="connsiteX896" fmla="*/ 7493 w 10785"/>
                <a:gd name="connsiteY896" fmla="*/ 2393 h 10000"/>
                <a:gd name="connsiteX897" fmla="*/ 7479 w 10785"/>
                <a:gd name="connsiteY897" fmla="*/ 2385 h 10000"/>
                <a:gd name="connsiteX898" fmla="*/ 7479 w 10785"/>
                <a:gd name="connsiteY898" fmla="*/ 2376 h 10000"/>
                <a:gd name="connsiteX899" fmla="*/ 7465 w 10785"/>
                <a:gd name="connsiteY899" fmla="*/ 2359 h 10000"/>
                <a:gd name="connsiteX900" fmla="*/ 7447 w 10785"/>
                <a:gd name="connsiteY900" fmla="*/ 2350 h 10000"/>
                <a:gd name="connsiteX901" fmla="*/ 7433 w 10785"/>
                <a:gd name="connsiteY901" fmla="*/ 2376 h 10000"/>
                <a:gd name="connsiteX902" fmla="*/ 7433 w 10785"/>
                <a:gd name="connsiteY902" fmla="*/ 2385 h 10000"/>
                <a:gd name="connsiteX903" fmla="*/ 7447 w 10785"/>
                <a:gd name="connsiteY903" fmla="*/ 2410 h 10000"/>
                <a:gd name="connsiteX904" fmla="*/ 7447 w 10785"/>
                <a:gd name="connsiteY904" fmla="*/ 2436 h 10000"/>
                <a:gd name="connsiteX905" fmla="*/ 7452 w 10785"/>
                <a:gd name="connsiteY905" fmla="*/ 2462 h 10000"/>
                <a:gd name="connsiteX906" fmla="*/ 7447 w 10785"/>
                <a:gd name="connsiteY906" fmla="*/ 2470 h 10000"/>
                <a:gd name="connsiteX907" fmla="*/ 7424 w 10785"/>
                <a:gd name="connsiteY907" fmla="*/ 2513 h 10000"/>
                <a:gd name="connsiteX908" fmla="*/ 7419 w 10785"/>
                <a:gd name="connsiteY908" fmla="*/ 2556 h 10000"/>
                <a:gd name="connsiteX909" fmla="*/ 7406 w 10785"/>
                <a:gd name="connsiteY909" fmla="*/ 2624 h 10000"/>
                <a:gd name="connsiteX910" fmla="*/ 7392 w 10785"/>
                <a:gd name="connsiteY910" fmla="*/ 2624 h 10000"/>
                <a:gd name="connsiteX911" fmla="*/ 7373 w 10785"/>
                <a:gd name="connsiteY911" fmla="*/ 2650 h 10000"/>
                <a:gd name="connsiteX912" fmla="*/ 7364 w 10785"/>
                <a:gd name="connsiteY912" fmla="*/ 2684 h 10000"/>
                <a:gd name="connsiteX913" fmla="*/ 7364 w 10785"/>
                <a:gd name="connsiteY913" fmla="*/ 2692 h 10000"/>
                <a:gd name="connsiteX914" fmla="*/ 7373 w 10785"/>
                <a:gd name="connsiteY914" fmla="*/ 2718 h 10000"/>
                <a:gd name="connsiteX915" fmla="*/ 7373 w 10785"/>
                <a:gd name="connsiteY915" fmla="*/ 2744 h 10000"/>
                <a:gd name="connsiteX916" fmla="*/ 7359 w 10785"/>
                <a:gd name="connsiteY916" fmla="*/ 2744 h 10000"/>
                <a:gd name="connsiteX917" fmla="*/ 7359 w 10785"/>
                <a:gd name="connsiteY917" fmla="*/ 2795 h 10000"/>
                <a:gd name="connsiteX918" fmla="*/ 7364 w 10785"/>
                <a:gd name="connsiteY918" fmla="*/ 2821 h 10000"/>
                <a:gd name="connsiteX919" fmla="*/ 7378 w 10785"/>
                <a:gd name="connsiteY919" fmla="*/ 2846 h 10000"/>
                <a:gd name="connsiteX920" fmla="*/ 7378 w 10785"/>
                <a:gd name="connsiteY920" fmla="*/ 2855 h 10000"/>
                <a:gd name="connsiteX921" fmla="*/ 7378 w 10785"/>
                <a:gd name="connsiteY921" fmla="*/ 2880 h 10000"/>
                <a:gd name="connsiteX922" fmla="*/ 7378 w 10785"/>
                <a:gd name="connsiteY922" fmla="*/ 2906 h 10000"/>
                <a:gd name="connsiteX923" fmla="*/ 7364 w 10785"/>
                <a:gd name="connsiteY923" fmla="*/ 2906 h 10000"/>
                <a:gd name="connsiteX924" fmla="*/ 7346 w 10785"/>
                <a:gd name="connsiteY924" fmla="*/ 2880 h 10000"/>
                <a:gd name="connsiteX925" fmla="*/ 7332 w 10785"/>
                <a:gd name="connsiteY925" fmla="*/ 2915 h 10000"/>
                <a:gd name="connsiteX926" fmla="*/ 7318 w 10785"/>
                <a:gd name="connsiteY926" fmla="*/ 2906 h 10000"/>
                <a:gd name="connsiteX927" fmla="*/ 7313 w 10785"/>
                <a:gd name="connsiteY927" fmla="*/ 2915 h 10000"/>
                <a:gd name="connsiteX928" fmla="*/ 7313 w 10785"/>
                <a:gd name="connsiteY928" fmla="*/ 2906 h 10000"/>
                <a:gd name="connsiteX929" fmla="*/ 7286 w 10785"/>
                <a:gd name="connsiteY929" fmla="*/ 2940 h 10000"/>
                <a:gd name="connsiteX930" fmla="*/ 7276 w 10785"/>
                <a:gd name="connsiteY930" fmla="*/ 2966 h 10000"/>
                <a:gd name="connsiteX931" fmla="*/ 7272 w 10785"/>
                <a:gd name="connsiteY931" fmla="*/ 2983 h 10000"/>
                <a:gd name="connsiteX932" fmla="*/ 7267 w 10785"/>
                <a:gd name="connsiteY932" fmla="*/ 3009 h 10000"/>
                <a:gd name="connsiteX933" fmla="*/ 7253 w 10785"/>
                <a:gd name="connsiteY933" fmla="*/ 3009 h 10000"/>
                <a:gd name="connsiteX934" fmla="*/ 7244 w 10785"/>
                <a:gd name="connsiteY934" fmla="*/ 3017 h 10000"/>
                <a:gd name="connsiteX935" fmla="*/ 7240 w 10785"/>
                <a:gd name="connsiteY935" fmla="*/ 3009 h 10000"/>
                <a:gd name="connsiteX936" fmla="*/ 7230 w 10785"/>
                <a:gd name="connsiteY936" fmla="*/ 2991 h 10000"/>
                <a:gd name="connsiteX937" fmla="*/ 7226 w 10785"/>
                <a:gd name="connsiteY937" fmla="*/ 2983 h 10000"/>
                <a:gd name="connsiteX938" fmla="*/ 7226 w 10785"/>
                <a:gd name="connsiteY938" fmla="*/ 2966 h 10000"/>
                <a:gd name="connsiteX939" fmla="*/ 7212 w 10785"/>
                <a:gd name="connsiteY939" fmla="*/ 2957 h 10000"/>
                <a:gd name="connsiteX940" fmla="*/ 7212 w 10785"/>
                <a:gd name="connsiteY940" fmla="*/ 2932 h 10000"/>
                <a:gd name="connsiteX941" fmla="*/ 7198 w 10785"/>
                <a:gd name="connsiteY941" fmla="*/ 2915 h 10000"/>
                <a:gd name="connsiteX942" fmla="*/ 7194 w 10785"/>
                <a:gd name="connsiteY942" fmla="*/ 2915 h 10000"/>
                <a:gd name="connsiteX943" fmla="*/ 7157 w 10785"/>
                <a:gd name="connsiteY943" fmla="*/ 2880 h 10000"/>
                <a:gd name="connsiteX944" fmla="*/ 7138 w 10785"/>
                <a:gd name="connsiteY944" fmla="*/ 2880 h 10000"/>
                <a:gd name="connsiteX945" fmla="*/ 7120 w 10785"/>
                <a:gd name="connsiteY945" fmla="*/ 2872 h 10000"/>
                <a:gd name="connsiteX946" fmla="*/ 7111 w 10785"/>
                <a:gd name="connsiteY946" fmla="*/ 2846 h 10000"/>
                <a:gd name="connsiteX947" fmla="*/ 7106 w 10785"/>
                <a:gd name="connsiteY947" fmla="*/ 2846 h 10000"/>
                <a:gd name="connsiteX948" fmla="*/ 7092 w 10785"/>
                <a:gd name="connsiteY948" fmla="*/ 2829 h 10000"/>
                <a:gd name="connsiteX949" fmla="*/ 7051 w 10785"/>
                <a:gd name="connsiteY949" fmla="*/ 2829 h 10000"/>
                <a:gd name="connsiteX950" fmla="*/ 7037 w 10785"/>
                <a:gd name="connsiteY950" fmla="*/ 2880 h 10000"/>
                <a:gd name="connsiteX951" fmla="*/ 7037 w 10785"/>
                <a:gd name="connsiteY951" fmla="*/ 2906 h 10000"/>
                <a:gd name="connsiteX952" fmla="*/ 7037 w 10785"/>
                <a:gd name="connsiteY952" fmla="*/ 2932 h 10000"/>
                <a:gd name="connsiteX953" fmla="*/ 7037 w 10785"/>
                <a:gd name="connsiteY953" fmla="*/ 2940 h 10000"/>
                <a:gd name="connsiteX954" fmla="*/ 7023 w 10785"/>
                <a:gd name="connsiteY954" fmla="*/ 2906 h 10000"/>
                <a:gd name="connsiteX955" fmla="*/ 7023 w 10785"/>
                <a:gd name="connsiteY955" fmla="*/ 2915 h 10000"/>
                <a:gd name="connsiteX956" fmla="*/ 6991 w 10785"/>
                <a:gd name="connsiteY956" fmla="*/ 2906 h 10000"/>
                <a:gd name="connsiteX957" fmla="*/ 6977 w 10785"/>
                <a:gd name="connsiteY957" fmla="*/ 2915 h 10000"/>
                <a:gd name="connsiteX958" fmla="*/ 6963 w 10785"/>
                <a:gd name="connsiteY958" fmla="*/ 2915 h 10000"/>
                <a:gd name="connsiteX959" fmla="*/ 6949 w 10785"/>
                <a:gd name="connsiteY959" fmla="*/ 2872 h 10000"/>
                <a:gd name="connsiteX960" fmla="*/ 6935 w 10785"/>
                <a:gd name="connsiteY960" fmla="*/ 2855 h 10000"/>
                <a:gd name="connsiteX961" fmla="*/ 6922 w 10785"/>
                <a:gd name="connsiteY961" fmla="*/ 2803 h 10000"/>
                <a:gd name="connsiteX962" fmla="*/ 6917 w 10785"/>
                <a:gd name="connsiteY962" fmla="*/ 2786 h 10000"/>
                <a:gd name="connsiteX963" fmla="*/ 6903 w 10785"/>
                <a:gd name="connsiteY963" fmla="*/ 2709 h 10000"/>
                <a:gd name="connsiteX964" fmla="*/ 6903 w 10785"/>
                <a:gd name="connsiteY964" fmla="*/ 2692 h 10000"/>
                <a:gd name="connsiteX965" fmla="*/ 6899 w 10785"/>
                <a:gd name="connsiteY965" fmla="*/ 2709 h 10000"/>
                <a:gd name="connsiteX966" fmla="*/ 6857 w 10785"/>
                <a:gd name="connsiteY966" fmla="*/ 2872 h 10000"/>
                <a:gd name="connsiteX967" fmla="*/ 6857 w 10785"/>
                <a:gd name="connsiteY967" fmla="*/ 3009 h 10000"/>
                <a:gd name="connsiteX968" fmla="*/ 6848 w 10785"/>
                <a:gd name="connsiteY968" fmla="*/ 3017 h 10000"/>
                <a:gd name="connsiteX969" fmla="*/ 6839 w 10785"/>
                <a:gd name="connsiteY969" fmla="*/ 3068 h 10000"/>
                <a:gd name="connsiteX970" fmla="*/ 6829 w 10785"/>
                <a:gd name="connsiteY970" fmla="*/ 3077 h 10000"/>
                <a:gd name="connsiteX971" fmla="*/ 6829 w 10785"/>
                <a:gd name="connsiteY971" fmla="*/ 3128 h 10000"/>
                <a:gd name="connsiteX972" fmla="*/ 6816 w 10785"/>
                <a:gd name="connsiteY972" fmla="*/ 3154 h 10000"/>
                <a:gd name="connsiteX973" fmla="*/ 6811 w 10785"/>
                <a:gd name="connsiteY973" fmla="*/ 3179 h 10000"/>
                <a:gd name="connsiteX974" fmla="*/ 6797 w 10785"/>
                <a:gd name="connsiteY974" fmla="*/ 3171 h 10000"/>
                <a:gd name="connsiteX975" fmla="*/ 6783 w 10785"/>
                <a:gd name="connsiteY975" fmla="*/ 3103 h 10000"/>
                <a:gd name="connsiteX976" fmla="*/ 6779 w 10785"/>
                <a:gd name="connsiteY976" fmla="*/ 3094 h 10000"/>
                <a:gd name="connsiteX977" fmla="*/ 6779 w 10785"/>
                <a:gd name="connsiteY977" fmla="*/ 3120 h 10000"/>
                <a:gd name="connsiteX978" fmla="*/ 6770 w 10785"/>
                <a:gd name="connsiteY978" fmla="*/ 3128 h 10000"/>
                <a:gd name="connsiteX979" fmla="*/ 6765 w 10785"/>
                <a:gd name="connsiteY979" fmla="*/ 3103 h 10000"/>
                <a:gd name="connsiteX980" fmla="*/ 6756 w 10785"/>
                <a:gd name="connsiteY980" fmla="*/ 3103 h 10000"/>
                <a:gd name="connsiteX981" fmla="*/ 6742 w 10785"/>
                <a:gd name="connsiteY981" fmla="*/ 3103 h 10000"/>
                <a:gd name="connsiteX982" fmla="*/ 6737 w 10785"/>
                <a:gd name="connsiteY982" fmla="*/ 3077 h 10000"/>
                <a:gd name="connsiteX983" fmla="*/ 6737 w 10785"/>
                <a:gd name="connsiteY983" fmla="*/ 3068 h 10000"/>
                <a:gd name="connsiteX984" fmla="*/ 6728 w 10785"/>
                <a:gd name="connsiteY984" fmla="*/ 3043 h 10000"/>
                <a:gd name="connsiteX985" fmla="*/ 6724 w 10785"/>
                <a:gd name="connsiteY985" fmla="*/ 3051 h 10000"/>
                <a:gd name="connsiteX986" fmla="*/ 6714 w 10785"/>
                <a:gd name="connsiteY986" fmla="*/ 3043 h 10000"/>
                <a:gd name="connsiteX987" fmla="*/ 6710 w 10785"/>
                <a:gd name="connsiteY987" fmla="*/ 3034 h 10000"/>
                <a:gd name="connsiteX988" fmla="*/ 6705 w 10785"/>
                <a:gd name="connsiteY988" fmla="*/ 2983 h 10000"/>
                <a:gd name="connsiteX989" fmla="*/ 6696 w 10785"/>
                <a:gd name="connsiteY989" fmla="*/ 2966 h 10000"/>
                <a:gd name="connsiteX990" fmla="*/ 6691 w 10785"/>
                <a:gd name="connsiteY990" fmla="*/ 2983 h 10000"/>
                <a:gd name="connsiteX991" fmla="*/ 6677 w 10785"/>
                <a:gd name="connsiteY991" fmla="*/ 2897 h 10000"/>
                <a:gd name="connsiteX992" fmla="*/ 6677 w 10785"/>
                <a:gd name="connsiteY992" fmla="*/ 2897 h 10000"/>
                <a:gd name="connsiteX993" fmla="*/ 6677 w 10785"/>
                <a:gd name="connsiteY993" fmla="*/ 2872 h 10000"/>
                <a:gd name="connsiteX994" fmla="*/ 6668 w 10785"/>
                <a:gd name="connsiteY994" fmla="*/ 2821 h 10000"/>
                <a:gd name="connsiteX995" fmla="*/ 6664 w 10785"/>
                <a:gd name="connsiteY995" fmla="*/ 2829 h 10000"/>
                <a:gd name="connsiteX996" fmla="*/ 6654 w 10785"/>
                <a:gd name="connsiteY996" fmla="*/ 2846 h 10000"/>
                <a:gd name="connsiteX997" fmla="*/ 6650 w 10785"/>
                <a:gd name="connsiteY997" fmla="*/ 2829 h 10000"/>
                <a:gd name="connsiteX998" fmla="*/ 6650 w 10785"/>
                <a:gd name="connsiteY998" fmla="*/ 2803 h 10000"/>
                <a:gd name="connsiteX999" fmla="*/ 6650 w 10785"/>
                <a:gd name="connsiteY999" fmla="*/ 2795 h 10000"/>
                <a:gd name="connsiteX1000" fmla="*/ 6641 w 10785"/>
                <a:gd name="connsiteY1000" fmla="*/ 2786 h 10000"/>
                <a:gd name="connsiteX1001" fmla="*/ 6636 w 10785"/>
                <a:gd name="connsiteY1001" fmla="*/ 2735 h 10000"/>
                <a:gd name="connsiteX1002" fmla="*/ 6664 w 10785"/>
                <a:gd name="connsiteY1002" fmla="*/ 2667 h 10000"/>
                <a:gd name="connsiteX1003" fmla="*/ 6668 w 10785"/>
                <a:gd name="connsiteY1003" fmla="*/ 2684 h 10000"/>
                <a:gd name="connsiteX1004" fmla="*/ 6677 w 10785"/>
                <a:gd name="connsiteY1004" fmla="*/ 2667 h 10000"/>
                <a:gd name="connsiteX1005" fmla="*/ 6668 w 10785"/>
                <a:gd name="connsiteY1005" fmla="*/ 2667 h 10000"/>
                <a:gd name="connsiteX1006" fmla="*/ 6668 w 10785"/>
                <a:gd name="connsiteY1006" fmla="*/ 2650 h 10000"/>
                <a:gd name="connsiteX1007" fmla="*/ 6682 w 10785"/>
                <a:gd name="connsiteY1007" fmla="*/ 2650 h 10000"/>
                <a:gd name="connsiteX1008" fmla="*/ 6691 w 10785"/>
                <a:gd name="connsiteY1008" fmla="*/ 2624 h 10000"/>
                <a:gd name="connsiteX1009" fmla="*/ 6682 w 10785"/>
                <a:gd name="connsiteY1009" fmla="*/ 2632 h 10000"/>
                <a:gd name="connsiteX1010" fmla="*/ 6682 w 10785"/>
                <a:gd name="connsiteY1010" fmla="*/ 2624 h 10000"/>
                <a:gd name="connsiteX1011" fmla="*/ 6691 w 10785"/>
                <a:gd name="connsiteY1011" fmla="*/ 2607 h 10000"/>
                <a:gd name="connsiteX1012" fmla="*/ 6691 w 10785"/>
                <a:gd name="connsiteY1012" fmla="*/ 2598 h 10000"/>
                <a:gd name="connsiteX1013" fmla="*/ 6691 w 10785"/>
                <a:gd name="connsiteY1013" fmla="*/ 2581 h 10000"/>
                <a:gd name="connsiteX1014" fmla="*/ 6696 w 10785"/>
                <a:gd name="connsiteY1014" fmla="*/ 2530 h 10000"/>
                <a:gd name="connsiteX1015" fmla="*/ 6677 w 10785"/>
                <a:gd name="connsiteY1015" fmla="*/ 2513 h 10000"/>
                <a:gd name="connsiteX1016" fmla="*/ 6677 w 10785"/>
                <a:gd name="connsiteY1016" fmla="*/ 2496 h 10000"/>
                <a:gd name="connsiteX1017" fmla="*/ 6682 w 10785"/>
                <a:gd name="connsiteY1017" fmla="*/ 2470 h 10000"/>
                <a:gd name="connsiteX1018" fmla="*/ 6668 w 10785"/>
                <a:gd name="connsiteY1018" fmla="*/ 2462 h 10000"/>
                <a:gd name="connsiteX1019" fmla="*/ 6677 w 10785"/>
                <a:gd name="connsiteY1019" fmla="*/ 2436 h 10000"/>
                <a:gd name="connsiteX1020" fmla="*/ 6682 w 10785"/>
                <a:gd name="connsiteY1020" fmla="*/ 2419 h 10000"/>
                <a:gd name="connsiteX1021" fmla="*/ 6682 w 10785"/>
                <a:gd name="connsiteY1021" fmla="*/ 2393 h 10000"/>
                <a:gd name="connsiteX1022" fmla="*/ 6682 w 10785"/>
                <a:gd name="connsiteY1022" fmla="*/ 2385 h 10000"/>
                <a:gd name="connsiteX1023" fmla="*/ 6682 w 10785"/>
                <a:gd name="connsiteY1023" fmla="*/ 2385 h 10000"/>
                <a:gd name="connsiteX1024" fmla="*/ 6677 w 10785"/>
                <a:gd name="connsiteY1024" fmla="*/ 2376 h 10000"/>
                <a:gd name="connsiteX1025" fmla="*/ 6682 w 10785"/>
                <a:gd name="connsiteY1025" fmla="*/ 2359 h 10000"/>
                <a:gd name="connsiteX1026" fmla="*/ 6677 w 10785"/>
                <a:gd name="connsiteY1026" fmla="*/ 2333 h 10000"/>
                <a:gd name="connsiteX1027" fmla="*/ 6691 w 10785"/>
                <a:gd name="connsiteY1027" fmla="*/ 2333 h 10000"/>
                <a:gd name="connsiteX1028" fmla="*/ 6691 w 10785"/>
                <a:gd name="connsiteY1028" fmla="*/ 2325 h 10000"/>
                <a:gd name="connsiteX1029" fmla="*/ 6691 w 10785"/>
                <a:gd name="connsiteY1029" fmla="*/ 2308 h 10000"/>
                <a:gd name="connsiteX1030" fmla="*/ 6691 w 10785"/>
                <a:gd name="connsiteY1030" fmla="*/ 2299 h 10000"/>
                <a:gd name="connsiteX1031" fmla="*/ 6691 w 10785"/>
                <a:gd name="connsiteY1031" fmla="*/ 2282 h 10000"/>
                <a:gd name="connsiteX1032" fmla="*/ 6691 w 10785"/>
                <a:gd name="connsiteY1032" fmla="*/ 2274 h 10000"/>
                <a:gd name="connsiteX1033" fmla="*/ 6668 w 10785"/>
                <a:gd name="connsiteY1033" fmla="*/ 2248 h 10000"/>
                <a:gd name="connsiteX1034" fmla="*/ 6664 w 10785"/>
                <a:gd name="connsiteY1034" fmla="*/ 2222 h 10000"/>
                <a:gd name="connsiteX1035" fmla="*/ 6654 w 10785"/>
                <a:gd name="connsiteY1035" fmla="*/ 2214 h 10000"/>
                <a:gd name="connsiteX1036" fmla="*/ 6654 w 10785"/>
                <a:gd name="connsiteY1036" fmla="*/ 2188 h 10000"/>
                <a:gd name="connsiteX1037" fmla="*/ 6622 w 10785"/>
                <a:gd name="connsiteY1037" fmla="*/ 2162 h 10000"/>
                <a:gd name="connsiteX1038" fmla="*/ 6631 w 10785"/>
                <a:gd name="connsiteY1038" fmla="*/ 2145 h 10000"/>
                <a:gd name="connsiteX1039" fmla="*/ 6622 w 10785"/>
                <a:gd name="connsiteY1039" fmla="*/ 2120 h 10000"/>
                <a:gd name="connsiteX1040" fmla="*/ 6608 w 10785"/>
                <a:gd name="connsiteY1040" fmla="*/ 2120 h 10000"/>
                <a:gd name="connsiteX1041" fmla="*/ 6604 w 10785"/>
                <a:gd name="connsiteY1041" fmla="*/ 2111 h 10000"/>
                <a:gd name="connsiteX1042" fmla="*/ 6608 w 10785"/>
                <a:gd name="connsiteY1042" fmla="*/ 2111 h 10000"/>
                <a:gd name="connsiteX1043" fmla="*/ 6604 w 10785"/>
                <a:gd name="connsiteY1043" fmla="*/ 2085 h 10000"/>
                <a:gd name="connsiteX1044" fmla="*/ 6581 w 10785"/>
                <a:gd name="connsiteY1044" fmla="*/ 2077 h 10000"/>
                <a:gd name="connsiteX1045" fmla="*/ 6571 w 10785"/>
                <a:gd name="connsiteY1045" fmla="*/ 2085 h 10000"/>
                <a:gd name="connsiteX1046" fmla="*/ 6548 w 10785"/>
                <a:gd name="connsiteY1046" fmla="*/ 2077 h 10000"/>
                <a:gd name="connsiteX1047" fmla="*/ 6530 w 10785"/>
                <a:gd name="connsiteY1047" fmla="*/ 2060 h 10000"/>
                <a:gd name="connsiteX1048" fmla="*/ 6521 w 10785"/>
                <a:gd name="connsiteY1048" fmla="*/ 2060 h 10000"/>
                <a:gd name="connsiteX1049" fmla="*/ 6521 w 10785"/>
                <a:gd name="connsiteY1049" fmla="*/ 2085 h 10000"/>
                <a:gd name="connsiteX1050" fmla="*/ 6516 w 10785"/>
                <a:gd name="connsiteY1050" fmla="*/ 2085 h 10000"/>
                <a:gd name="connsiteX1051" fmla="*/ 6502 w 10785"/>
                <a:gd name="connsiteY1051" fmla="*/ 2111 h 10000"/>
                <a:gd name="connsiteX1052" fmla="*/ 6498 w 10785"/>
                <a:gd name="connsiteY1052" fmla="*/ 2111 h 10000"/>
                <a:gd name="connsiteX1053" fmla="*/ 6498 w 10785"/>
                <a:gd name="connsiteY1053" fmla="*/ 2103 h 10000"/>
                <a:gd name="connsiteX1054" fmla="*/ 6475 w 10785"/>
                <a:gd name="connsiteY1054" fmla="*/ 2051 h 10000"/>
                <a:gd name="connsiteX1055" fmla="*/ 6470 w 10785"/>
                <a:gd name="connsiteY1055" fmla="*/ 2060 h 10000"/>
                <a:gd name="connsiteX1056" fmla="*/ 6456 w 10785"/>
                <a:gd name="connsiteY1056" fmla="*/ 2051 h 10000"/>
                <a:gd name="connsiteX1057" fmla="*/ 6447 w 10785"/>
                <a:gd name="connsiteY1057" fmla="*/ 2051 h 10000"/>
                <a:gd name="connsiteX1058" fmla="*/ 6433 w 10785"/>
                <a:gd name="connsiteY1058" fmla="*/ 2026 h 10000"/>
                <a:gd name="connsiteX1059" fmla="*/ 6433 w 10785"/>
                <a:gd name="connsiteY1059" fmla="*/ 2034 h 10000"/>
                <a:gd name="connsiteX1060" fmla="*/ 6429 w 10785"/>
                <a:gd name="connsiteY1060" fmla="*/ 2026 h 10000"/>
                <a:gd name="connsiteX1061" fmla="*/ 6424 w 10785"/>
                <a:gd name="connsiteY1061" fmla="*/ 2034 h 10000"/>
                <a:gd name="connsiteX1062" fmla="*/ 6410 w 10785"/>
                <a:gd name="connsiteY1062" fmla="*/ 2026 h 10000"/>
                <a:gd name="connsiteX1063" fmla="*/ 6410 w 10785"/>
                <a:gd name="connsiteY1063" fmla="*/ 1991 h 10000"/>
                <a:gd name="connsiteX1064" fmla="*/ 6401 w 10785"/>
                <a:gd name="connsiteY1064" fmla="*/ 1991 h 10000"/>
                <a:gd name="connsiteX1065" fmla="*/ 6396 w 10785"/>
                <a:gd name="connsiteY1065" fmla="*/ 2000 h 10000"/>
                <a:gd name="connsiteX1066" fmla="*/ 6382 w 10785"/>
                <a:gd name="connsiteY1066" fmla="*/ 1966 h 10000"/>
                <a:gd name="connsiteX1067" fmla="*/ 6373 w 10785"/>
                <a:gd name="connsiteY1067" fmla="*/ 1974 h 10000"/>
                <a:gd name="connsiteX1068" fmla="*/ 6369 w 10785"/>
                <a:gd name="connsiteY1068" fmla="*/ 1966 h 10000"/>
                <a:gd name="connsiteX1069" fmla="*/ 6341 w 10785"/>
                <a:gd name="connsiteY1069" fmla="*/ 1949 h 10000"/>
                <a:gd name="connsiteX1070" fmla="*/ 6327 w 10785"/>
                <a:gd name="connsiteY1070" fmla="*/ 1923 h 10000"/>
                <a:gd name="connsiteX1071" fmla="*/ 6323 w 10785"/>
                <a:gd name="connsiteY1071" fmla="*/ 1923 h 10000"/>
                <a:gd name="connsiteX1072" fmla="*/ 6323 w 10785"/>
                <a:gd name="connsiteY1072" fmla="*/ 1966 h 10000"/>
                <a:gd name="connsiteX1073" fmla="*/ 6323 w 10785"/>
                <a:gd name="connsiteY1073" fmla="*/ 1991 h 10000"/>
                <a:gd name="connsiteX1074" fmla="*/ 6313 w 10785"/>
                <a:gd name="connsiteY1074" fmla="*/ 1991 h 10000"/>
                <a:gd name="connsiteX1075" fmla="*/ 6300 w 10785"/>
                <a:gd name="connsiteY1075" fmla="*/ 1991 h 10000"/>
                <a:gd name="connsiteX1076" fmla="*/ 6290 w 10785"/>
                <a:gd name="connsiteY1076" fmla="*/ 1949 h 10000"/>
                <a:gd name="connsiteX1077" fmla="*/ 6276 w 10785"/>
                <a:gd name="connsiteY1077" fmla="*/ 2103 h 10000"/>
                <a:gd name="connsiteX1078" fmla="*/ 6281 w 10785"/>
                <a:gd name="connsiteY1078" fmla="*/ 2103 h 10000"/>
                <a:gd name="connsiteX1079" fmla="*/ 6276 w 10785"/>
                <a:gd name="connsiteY1079" fmla="*/ 2111 h 10000"/>
                <a:gd name="connsiteX1080" fmla="*/ 6276 w 10785"/>
                <a:gd name="connsiteY1080" fmla="*/ 2120 h 10000"/>
                <a:gd name="connsiteX1081" fmla="*/ 6295 w 10785"/>
                <a:gd name="connsiteY1081" fmla="*/ 2239 h 10000"/>
                <a:gd name="connsiteX1082" fmla="*/ 6290 w 10785"/>
                <a:gd name="connsiteY1082" fmla="*/ 2248 h 10000"/>
                <a:gd name="connsiteX1083" fmla="*/ 6281 w 10785"/>
                <a:gd name="connsiteY1083" fmla="*/ 2274 h 10000"/>
                <a:gd name="connsiteX1084" fmla="*/ 6249 w 10785"/>
                <a:gd name="connsiteY1084" fmla="*/ 2274 h 10000"/>
                <a:gd name="connsiteX1085" fmla="*/ 6226 w 10785"/>
                <a:gd name="connsiteY1085" fmla="*/ 2308 h 10000"/>
                <a:gd name="connsiteX1086" fmla="*/ 6221 w 10785"/>
                <a:gd name="connsiteY1086" fmla="*/ 2299 h 10000"/>
                <a:gd name="connsiteX1087" fmla="*/ 6221 w 10785"/>
                <a:gd name="connsiteY1087" fmla="*/ 2308 h 10000"/>
                <a:gd name="connsiteX1088" fmla="*/ 6217 w 10785"/>
                <a:gd name="connsiteY1088" fmla="*/ 2299 h 10000"/>
                <a:gd name="connsiteX1089" fmla="*/ 6194 w 10785"/>
                <a:gd name="connsiteY1089" fmla="*/ 2308 h 10000"/>
                <a:gd name="connsiteX1090" fmla="*/ 6180 w 10785"/>
                <a:gd name="connsiteY1090" fmla="*/ 2299 h 10000"/>
                <a:gd name="connsiteX1091" fmla="*/ 6143 w 10785"/>
                <a:gd name="connsiteY1091" fmla="*/ 2308 h 10000"/>
                <a:gd name="connsiteX1092" fmla="*/ 6134 w 10785"/>
                <a:gd name="connsiteY1092" fmla="*/ 2325 h 10000"/>
                <a:gd name="connsiteX1093" fmla="*/ 6115 w 10785"/>
                <a:gd name="connsiteY1093" fmla="*/ 2282 h 10000"/>
                <a:gd name="connsiteX1094" fmla="*/ 6069 w 10785"/>
                <a:gd name="connsiteY1094" fmla="*/ 2274 h 10000"/>
                <a:gd name="connsiteX1095" fmla="*/ 6069 w 10785"/>
                <a:gd name="connsiteY1095" fmla="*/ 2282 h 10000"/>
                <a:gd name="connsiteX1096" fmla="*/ 6060 w 10785"/>
                <a:gd name="connsiteY1096" fmla="*/ 2299 h 10000"/>
                <a:gd name="connsiteX1097" fmla="*/ 5972 w 10785"/>
                <a:gd name="connsiteY1097" fmla="*/ 2214 h 10000"/>
                <a:gd name="connsiteX1098" fmla="*/ 5968 w 10785"/>
                <a:gd name="connsiteY1098" fmla="*/ 2197 h 10000"/>
                <a:gd name="connsiteX1099" fmla="*/ 5968 w 10785"/>
                <a:gd name="connsiteY1099" fmla="*/ 2171 h 10000"/>
                <a:gd name="connsiteX1100" fmla="*/ 5968 w 10785"/>
                <a:gd name="connsiteY1100" fmla="*/ 2162 h 10000"/>
                <a:gd name="connsiteX1101" fmla="*/ 5968 w 10785"/>
                <a:gd name="connsiteY1101" fmla="*/ 2120 h 10000"/>
                <a:gd name="connsiteX1102" fmla="*/ 5968 w 10785"/>
                <a:gd name="connsiteY1102" fmla="*/ 2111 h 10000"/>
                <a:gd name="connsiteX1103" fmla="*/ 5972 w 10785"/>
                <a:gd name="connsiteY1103" fmla="*/ 2103 h 10000"/>
                <a:gd name="connsiteX1104" fmla="*/ 5986 w 10785"/>
                <a:gd name="connsiteY1104" fmla="*/ 2103 h 10000"/>
                <a:gd name="connsiteX1105" fmla="*/ 5986 w 10785"/>
                <a:gd name="connsiteY1105" fmla="*/ 2085 h 10000"/>
                <a:gd name="connsiteX1106" fmla="*/ 5995 w 10785"/>
                <a:gd name="connsiteY1106" fmla="*/ 2085 h 10000"/>
                <a:gd name="connsiteX1107" fmla="*/ 5995 w 10785"/>
                <a:gd name="connsiteY1107" fmla="*/ 2077 h 10000"/>
                <a:gd name="connsiteX1108" fmla="*/ 5986 w 10785"/>
                <a:gd name="connsiteY1108" fmla="*/ 2060 h 10000"/>
                <a:gd name="connsiteX1109" fmla="*/ 5954 w 10785"/>
                <a:gd name="connsiteY1109" fmla="*/ 2060 h 10000"/>
                <a:gd name="connsiteX1110" fmla="*/ 5940 w 10785"/>
                <a:gd name="connsiteY1110" fmla="*/ 2051 h 10000"/>
                <a:gd name="connsiteX1111" fmla="*/ 5922 w 10785"/>
                <a:gd name="connsiteY1111" fmla="*/ 2060 h 10000"/>
                <a:gd name="connsiteX1112" fmla="*/ 5885 w 10785"/>
                <a:gd name="connsiteY1112" fmla="*/ 2051 h 10000"/>
                <a:gd name="connsiteX1113" fmla="*/ 5876 w 10785"/>
                <a:gd name="connsiteY1113" fmla="*/ 2026 h 10000"/>
                <a:gd name="connsiteX1114" fmla="*/ 5862 w 10785"/>
                <a:gd name="connsiteY1114" fmla="*/ 2026 h 10000"/>
                <a:gd name="connsiteX1115" fmla="*/ 5848 w 10785"/>
                <a:gd name="connsiteY1115" fmla="*/ 2026 h 10000"/>
                <a:gd name="connsiteX1116" fmla="*/ 5825 w 10785"/>
                <a:gd name="connsiteY1116" fmla="*/ 2026 h 10000"/>
                <a:gd name="connsiteX1117" fmla="*/ 5788 w 10785"/>
                <a:gd name="connsiteY1117" fmla="*/ 1991 h 10000"/>
                <a:gd name="connsiteX1118" fmla="*/ 5760 w 10785"/>
                <a:gd name="connsiteY1118" fmla="*/ 2000 h 10000"/>
                <a:gd name="connsiteX1119" fmla="*/ 5760 w 10785"/>
                <a:gd name="connsiteY1119" fmla="*/ 2026 h 10000"/>
                <a:gd name="connsiteX1120" fmla="*/ 5714 w 10785"/>
                <a:gd name="connsiteY1120" fmla="*/ 2051 h 10000"/>
                <a:gd name="connsiteX1121" fmla="*/ 5687 w 10785"/>
                <a:gd name="connsiteY1121" fmla="*/ 2034 h 10000"/>
                <a:gd name="connsiteX1122" fmla="*/ 5645 w 10785"/>
                <a:gd name="connsiteY1122" fmla="*/ 2077 h 10000"/>
                <a:gd name="connsiteX1123" fmla="*/ 5664 w 10785"/>
                <a:gd name="connsiteY1123" fmla="*/ 2120 h 10000"/>
                <a:gd name="connsiteX1124" fmla="*/ 5664 w 10785"/>
                <a:gd name="connsiteY1124" fmla="*/ 2162 h 10000"/>
                <a:gd name="connsiteX1125" fmla="*/ 5631 w 10785"/>
                <a:gd name="connsiteY1125" fmla="*/ 2197 h 10000"/>
                <a:gd name="connsiteX1126" fmla="*/ 5618 w 10785"/>
                <a:gd name="connsiteY1126" fmla="*/ 2188 h 10000"/>
                <a:gd name="connsiteX1127" fmla="*/ 5618 w 10785"/>
                <a:gd name="connsiteY1127" fmla="*/ 2171 h 10000"/>
                <a:gd name="connsiteX1128" fmla="*/ 5641 w 10785"/>
                <a:gd name="connsiteY1128" fmla="*/ 2171 h 10000"/>
                <a:gd name="connsiteX1129" fmla="*/ 5641 w 10785"/>
                <a:gd name="connsiteY1129" fmla="*/ 2162 h 10000"/>
                <a:gd name="connsiteX1130" fmla="*/ 5627 w 10785"/>
                <a:gd name="connsiteY1130" fmla="*/ 2145 h 10000"/>
                <a:gd name="connsiteX1131" fmla="*/ 5627 w 10785"/>
                <a:gd name="connsiteY1131" fmla="*/ 2120 h 10000"/>
                <a:gd name="connsiteX1132" fmla="*/ 5618 w 10785"/>
                <a:gd name="connsiteY1132" fmla="*/ 2111 h 10000"/>
                <a:gd name="connsiteX1133" fmla="*/ 5631 w 10785"/>
                <a:gd name="connsiteY1133" fmla="*/ 2051 h 10000"/>
                <a:gd name="connsiteX1134" fmla="*/ 5631 w 10785"/>
                <a:gd name="connsiteY1134" fmla="*/ 2026 h 10000"/>
                <a:gd name="connsiteX1135" fmla="*/ 5627 w 10785"/>
                <a:gd name="connsiteY1135" fmla="*/ 1991 h 10000"/>
                <a:gd name="connsiteX1136" fmla="*/ 5618 w 10785"/>
                <a:gd name="connsiteY1136" fmla="*/ 1974 h 10000"/>
                <a:gd name="connsiteX1137" fmla="*/ 5618 w 10785"/>
                <a:gd name="connsiteY1137" fmla="*/ 1940 h 10000"/>
                <a:gd name="connsiteX1138" fmla="*/ 5594 w 10785"/>
                <a:gd name="connsiteY1138" fmla="*/ 1855 h 10000"/>
                <a:gd name="connsiteX1139" fmla="*/ 5599 w 10785"/>
                <a:gd name="connsiteY1139" fmla="*/ 1915 h 10000"/>
                <a:gd name="connsiteX1140" fmla="*/ 5599 w 10785"/>
                <a:gd name="connsiteY1140" fmla="*/ 1949 h 10000"/>
                <a:gd name="connsiteX1141" fmla="*/ 5594 w 10785"/>
                <a:gd name="connsiteY1141" fmla="*/ 1991 h 10000"/>
                <a:gd name="connsiteX1142" fmla="*/ 5571 w 10785"/>
                <a:gd name="connsiteY1142" fmla="*/ 2000 h 10000"/>
                <a:gd name="connsiteX1143" fmla="*/ 5530 w 10785"/>
                <a:gd name="connsiteY1143" fmla="*/ 1991 h 10000"/>
                <a:gd name="connsiteX1144" fmla="*/ 5525 w 10785"/>
                <a:gd name="connsiteY1144" fmla="*/ 2000 h 10000"/>
                <a:gd name="connsiteX1145" fmla="*/ 5521 w 10785"/>
                <a:gd name="connsiteY1145" fmla="*/ 1991 h 10000"/>
                <a:gd name="connsiteX1146" fmla="*/ 5498 w 10785"/>
                <a:gd name="connsiteY1146" fmla="*/ 1949 h 10000"/>
                <a:gd name="connsiteX1147" fmla="*/ 5493 w 10785"/>
                <a:gd name="connsiteY1147" fmla="*/ 1889 h 10000"/>
                <a:gd name="connsiteX1148" fmla="*/ 5493 w 10785"/>
                <a:gd name="connsiteY1148" fmla="*/ 1863 h 10000"/>
                <a:gd name="connsiteX1149" fmla="*/ 5498 w 10785"/>
                <a:gd name="connsiteY1149" fmla="*/ 1889 h 10000"/>
                <a:gd name="connsiteX1150" fmla="*/ 5512 w 10785"/>
                <a:gd name="connsiteY1150" fmla="*/ 1855 h 10000"/>
                <a:gd name="connsiteX1151" fmla="*/ 5512 w 10785"/>
                <a:gd name="connsiteY1151" fmla="*/ 1838 h 10000"/>
                <a:gd name="connsiteX1152" fmla="*/ 5479 w 10785"/>
                <a:gd name="connsiteY1152" fmla="*/ 1855 h 10000"/>
                <a:gd name="connsiteX1153" fmla="*/ 5470 w 10785"/>
                <a:gd name="connsiteY1153" fmla="*/ 1872 h 10000"/>
                <a:gd name="connsiteX1154" fmla="*/ 5470 w 10785"/>
                <a:gd name="connsiteY1154" fmla="*/ 1889 h 10000"/>
                <a:gd name="connsiteX1155" fmla="*/ 5465 w 10785"/>
                <a:gd name="connsiteY1155" fmla="*/ 1897 h 10000"/>
                <a:gd name="connsiteX1156" fmla="*/ 5456 w 10785"/>
                <a:gd name="connsiteY1156" fmla="*/ 1872 h 10000"/>
                <a:gd name="connsiteX1157" fmla="*/ 5447 w 10785"/>
                <a:gd name="connsiteY1157" fmla="*/ 1872 h 10000"/>
                <a:gd name="connsiteX1158" fmla="*/ 5433 w 10785"/>
                <a:gd name="connsiteY1158" fmla="*/ 1855 h 10000"/>
                <a:gd name="connsiteX1159" fmla="*/ 5396 w 10785"/>
                <a:gd name="connsiteY1159" fmla="*/ 1863 h 10000"/>
                <a:gd name="connsiteX1160" fmla="*/ 5396 w 10785"/>
                <a:gd name="connsiteY1160" fmla="*/ 1897 h 10000"/>
                <a:gd name="connsiteX1161" fmla="*/ 5378 w 10785"/>
                <a:gd name="connsiteY1161" fmla="*/ 1949 h 10000"/>
                <a:gd name="connsiteX1162" fmla="*/ 5378 w 10785"/>
                <a:gd name="connsiteY1162" fmla="*/ 1966 h 10000"/>
                <a:gd name="connsiteX1163" fmla="*/ 5392 w 10785"/>
                <a:gd name="connsiteY1163" fmla="*/ 2026 h 10000"/>
                <a:gd name="connsiteX1164" fmla="*/ 5396 w 10785"/>
                <a:gd name="connsiteY1164" fmla="*/ 2026 h 10000"/>
                <a:gd name="connsiteX1165" fmla="*/ 5392 w 10785"/>
                <a:gd name="connsiteY1165" fmla="*/ 2009 h 10000"/>
                <a:gd name="connsiteX1166" fmla="*/ 5392 w 10785"/>
                <a:gd name="connsiteY1166" fmla="*/ 2000 h 10000"/>
                <a:gd name="connsiteX1167" fmla="*/ 5396 w 10785"/>
                <a:gd name="connsiteY1167" fmla="*/ 2009 h 10000"/>
                <a:gd name="connsiteX1168" fmla="*/ 5424 w 10785"/>
                <a:gd name="connsiteY1168" fmla="*/ 2009 h 10000"/>
                <a:gd name="connsiteX1169" fmla="*/ 5433 w 10785"/>
                <a:gd name="connsiteY1169" fmla="*/ 1991 h 10000"/>
                <a:gd name="connsiteX1170" fmla="*/ 5447 w 10785"/>
                <a:gd name="connsiteY1170" fmla="*/ 1974 h 10000"/>
                <a:gd name="connsiteX1171" fmla="*/ 5452 w 10785"/>
                <a:gd name="connsiteY1171" fmla="*/ 1966 h 10000"/>
                <a:gd name="connsiteX1172" fmla="*/ 5456 w 10785"/>
                <a:gd name="connsiteY1172" fmla="*/ 1966 h 10000"/>
                <a:gd name="connsiteX1173" fmla="*/ 5465 w 10785"/>
                <a:gd name="connsiteY1173" fmla="*/ 2009 h 10000"/>
                <a:gd name="connsiteX1174" fmla="*/ 5433 w 10785"/>
                <a:gd name="connsiteY1174" fmla="*/ 2034 h 10000"/>
                <a:gd name="connsiteX1175" fmla="*/ 5424 w 10785"/>
                <a:gd name="connsiteY1175" fmla="*/ 2060 h 10000"/>
                <a:gd name="connsiteX1176" fmla="*/ 5419 w 10785"/>
                <a:gd name="connsiteY1176" fmla="*/ 2060 h 10000"/>
                <a:gd name="connsiteX1177" fmla="*/ 5392 w 10785"/>
                <a:gd name="connsiteY1177" fmla="*/ 2111 h 10000"/>
                <a:gd name="connsiteX1178" fmla="*/ 5378 w 10785"/>
                <a:gd name="connsiteY1178" fmla="*/ 2111 h 10000"/>
                <a:gd name="connsiteX1179" fmla="*/ 5350 w 10785"/>
                <a:gd name="connsiteY1179" fmla="*/ 2060 h 10000"/>
                <a:gd name="connsiteX1180" fmla="*/ 5373 w 10785"/>
                <a:gd name="connsiteY1180" fmla="*/ 2111 h 10000"/>
                <a:gd name="connsiteX1181" fmla="*/ 5364 w 10785"/>
                <a:gd name="connsiteY1181" fmla="*/ 2111 h 10000"/>
                <a:gd name="connsiteX1182" fmla="*/ 5359 w 10785"/>
                <a:gd name="connsiteY1182" fmla="*/ 2103 h 10000"/>
                <a:gd name="connsiteX1183" fmla="*/ 5359 w 10785"/>
                <a:gd name="connsiteY1183" fmla="*/ 2120 h 10000"/>
                <a:gd name="connsiteX1184" fmla="*/ 5359 w 10785"/>
                <a:gd name="connsiteY1184" fmla="*/ 2137 h 10000"/>
                <a:gd name="connsiteX1185" fmla="*/ 5313 w 10785"/>
                <a:gd name="connsiteY1185" fmla="*/ 2162 h 10000"/>
                <a:gd name="connsiteX1186" fmla="*/ 5300 w 10785"/>
                <a:gd name="connsiteY1186" fmla="*/ 2162 h 10000"/>
                <a:gd name="connsiteX1187" fmla="*/ 5300 w 10785"/>
                <a:gd name="connsiteY1187" fmla="*/ 2171 h 10000"/>
                <a:gd name="connsiteX1188" fmla="*/ 5300 w 10785"/>
                <a:gd name="connsiteY1188" fmla="*/ 2197 h 10000"/>
                <a:gd name="connsiteX1189" fmla="*/ 5276 w 10785"/>
                <a:gd name="connsiteY1189" fmla="*/ 2188 h 10000"/>
                <a:gd name="connsiteX1190" fmla="*/ 5249 w 10785"/>
                <a:gd name="connsiteY1190" fmla="*/ 2222 h 10000"/>
                <a:gd name="connsiteX1191" fmla="*/ 5249 w 10785"/>
                <a:gd name="connsiteY1191" fmla="*/ 2222 h 10000"/>
                <a:gd name="connsiteX1192" fmla="*/ 5217 w 10785"/>
                <a:gd name="connsiteY1192" fmla="*/ 2214 h 10000"/>
                <a:gd name="connsiteX1193" fmla="*/ 5203 w 10785"/>
                <a:gd name="connsiteY1193" fmla="*/ 2239 h 10000"/>
                <a:gd name="connsiteX1194" fmla="*/ 5171 w 10785"/>
                <a:gd name="connsiteY1194" fmla="*/ 2214 h 10000"/>
                <a:gd name="connsiteX1195" fmla="*/ 5157 w 10785"/>
                <a:gd name="connsiteY1195" fmla="*/ 2239 h 10000"/>
                <a:gd name="connsiteX1196" fmla="*/ 5166 w 10785"/>
                <a:gd name="connsiteY1196" fmla="*/ 2256 h 10000"/>
                <a:gd name="connsiteX1197" fmla="*/ 5171 w 10785"/>
                <a:gd name="connsiteY1197" fmla="*/ 2308 h 10000"/>
                <a:gd name="connsiteX1198" fmla="*/ 5212 w 10785"/>
                <a:gd name="connsiteY1198" fmla="*/ 2350 h 10000"/>
                <a:gd name="connsiteX1199" fmla="*/ 5203 w 10785"/>
                <a:gd name="connsiteY1199" fmla="*/ 2350 h 10000"/>
                <a:gd name="connsiteX1200" fmla="*/ 5166 w 10785"/>
                <a:gd name="connsiteY1200" fmla="*/ 2325 h 10000"/>
                <a:gd name="connsiteX1201" fmla="*/ 5152 w 10785"/>
                <a:gd name="connsiteY1201" fmla="*/ 2308 h 10000"/>
                <a:gd name="connsiteX1202" fmla="*/ 5143 w 10785"/>
                <a:gd name="connsiteY1202" fmla="*/ 2333 h 10000"/>
                <a:gd name="connsiteX1203" fmla="*/ 5138 w 10785"/>
                <a:gd name="connsiteY1203" fmla="*/ 2333 h 10000"/>
                <a:gd name="connsiteX1204" fmla="*/ 5124 w 10785"/>
                <a:gd name="connsiteY1204" fmla="*/ 2376 h 10000"/>
                <a:gd name="connsiteX1205" fmla="*/ 5115 w 10785"/>
                <a:gd name="connsiteY1205" fmla="*/ 2385 h 10000"/>
                <a:gd name="connsiteX1206" fmla="*/ 5106 w 10785"/>
                <a:gd name="connsiteY1206" fmla="*/ 2385 h 10000"/>
                <a:gd name="connsiteX1207" fmla="*/ 5055 w 10785"/>
                <a:gd name="connsiteY1207" fmla="*/ 2470 h 10000"/>
                <a:gd name="connsiteX1208" fmla="*/ 5065 w 10785"/>
                <a:gd name="connsiteY1208" fmla="*/ 2462 h 10000"/>
                <a:gd name="connsiteX1209" fmla="*/ 5055 w 10785"/>
                <a:gd name="connsiteY1209" fmla="*/ 2444 h 10000"/>
                <a:gd name="connsiteX1210" fmla="*/ 5041 w 10785"/>
                <a:gd name="connsiteY1210" fmla="*/ 2462 h 10000"/>
                <a:gd name="connsiteX1211" fmla="*/ 5037 w 10785"/>
                <a:gd name="connsiteY1211" fmla="*/ 2470 h 10000"/>
                <a:gd name="connsiteX1212" fmla="*/ 5032 w 10785"/>
                <a:gd name="connsiteY1212" fmla="*/ 2470 h 10000"/>
                <a:gd name="connsiteX1213" fmla="*/ 5032 w 10785"/>
                <a:gd name="connsiteY1213" fmla="*/ 2444 h 10000"/>
                <a:gd name="connsiteX1214" fmla="*/ 5055 w 10785"/>
                <a:gd name="connsiteY1214" fmla="*/ 2410 h 10000"/>
                <a:gd name="connsiteX1215" fmla="*/ 5065 w 10785"/>
                <a:gd name="connsiteY1215" fmla="*/ 2393 h 10000"/>
                <a:gd name="connsiteX1216" fmla="*/ 5069 w 10785"/>
                <a:gd name="connsiteY1216" fmla="*/ 2385 h 10000"/>
                <a:gd name="connsiteX1217" fmla="*/ 5083 w 10785"/>
                <a:gd name="connsiteY1217" fmla="*/ 2376 h 10000"/>
                <a:gd name="connsiteX1218" fmla="*/ 5097 w 10785"/>
                <a:gd name="connsiteY1218" fmla="*/ 2376 h 10000"/>
                <a:gd name="connsiteX1219" fmla="*/ 5124 w 10785"/>
                <a:gd name="connsiteY1219" fmla="*/ 2325 h 10000"/>
                <a:gd name="connsiteX1220" fmla="*/ 5143 w 10785"/>
                <a:gd name="connsiteY1220" fmla="*/ 2248 h 10000"/>
                <a:gd name="connsiteX1221" fmla="*/ 5152 w 10785"/>
                <a:gd name="connsiteY1221" fmla="*/ 2239 h 10000"/>
                <a:gd name="connsiteX1222" fmla="*/ 5166 w 10785"/>
                <a:gd name="connsiteY1222" fmla="*/ 2162 h 10000"/>
                <a:gd name="connsiteX1223" fmla="*/ 5171 w 10785"/>
                <a:gd name="connsiteY1223" fmla="*/ 2171 h 10000"/>
                <a:gd name="connsiteX1224" fmla="*/ 5198 w 10785"/>
                <a:gd name="connsiteY1224" fmla="*/ 2145 h 10000"/>
                <a:gd name="connsiteX1225" fmla="*/ 5203 w 10785"/>
                <a:gd name="connsiteY1225" fmla="*/ 2111 h 10000"/>
                <a:gd name="connsiteX1226" fmla="*/ 5217 w 10785"/>
                <a:gd name="connsiteY1226" fmla="*/ 2060 h 10000"/>
                <a:gd name="connsiteX1227" fmla="*/ 5226 w 10785"/>
                <a:gd name="connsiteY1227" fmla="*/ 2026 h 10000"/>
                <a:gd name="connsiteX1228" fmla="*/ 5286 w 10785"/>
                <a:gd name="connsiteY1228" fmla="*/ 2026 h 10000"/>
                <a:gd name="connsiteX1229" fmla="*/ 5290 w 10785"/>
                <a:gd name="connsiteY1229" fmla="*/ 2034 h 10000"/>
                <a:gd name="connsiteX1230" fmla="*/ 5323 w 10785"/>
                <a:gd name="connsiteY1230" fmla="*/ 1923 h 10000"/>
                <a:gd name="connsiteX1231" fmla="*/ 5323 w 10785"/>
                <a:gd name="connsiteY1231" fmla="*/ 1889 h 10000"/>
                <a:gd name="connsiteX1232" fmla="*/ 5359 w 10785"/>
                <a:gd name="connsiteY1232" fmla="*/ 1829 h 10000"/>
                <a:gd name="connsiteX1233" fmla="*/ 5378 w 10785"/>
                <a:gd name="connsiteY1233" fmla="*/ 1812 h 10000"/>
                <a:gd name="connsiteX1234" fmla="*/ 5406 w 10785"/>
                <a:gd name="connsiteY1234" fmla="*/ 1752 h 10000"/>
                <a:gd name="connsiteX1235" fmla="*/ 5410 w 10785"/>
                <a:gd name="connsiteY1235" fmla="*/ 1718 h 10000"/>
                <a:gd name="connsiteX1236" fmla="*/ 5438 w 10785"/>
                <a:gd name="connsiteY1236" fmla="*/ 1667 h 10000"/>
                <a:gd name="connsiteX1237" fmla="*/ 5438 w 10785"/>
                <a:gd name="connsiteY1237" fmla="*/ 1650 h 10000"/>
                <a:gd name="connsiteX1238" fmla="*/ 5438 w 10785"/>
                <a:gd name="connsiteY1238" fmla="*/ 1641 h 10000"/>
                <a:gd name="connsiteX1239" fmla="*/ 5452 w 10785"/>
                <a:gd name="connsiteY1239" fmla="*/ 1641 h 10000"/>
                <a:gd name="connsiteX1240" fmla="*/ 5456 w 10785"/>
                <a:gd name="connsiteY1240" fmla="*/ 1615 h 10000"/>
                <a:gd name="connsiteX1241" fmla="*/ 5456 w 10785"/>
                <a:gd name="connsiteY1241" fmla="*/ 1615 h 10000"/>
                <a:gd name="connsiteX1242" fmla="*/ 5465 w 10785"/>
                <a:gd name="connsiteY1242" fmla="*/ 1598 h 10000"/>
                <a:gd name="connsiteX1243" fmla="*/ 5465 w 10785"/>
                <a:gd name="connsiteY1243" fmla="*/ 1615 h 10000"/>
                <a:gd name="connsiteX1244" fmla="*/ 5479 w 10785"/>
                <a:gd name="connsiteY1244" fmla="*/ 1598 h 10000"/>
                <a:gd name="connsiteX1245" fmla="*/ 5484 w 10785"/>
                <a:gd name="connsiteY1245" fmla="*/ 1581 h 10000"/>
                <a:gd name="connsiteX1246" fmla="*/ 5493 w 10785"/>
                <a:gd name="connsiteY1246" fmla="*/ 1581 h 10000"/>
                <a:gd name="connsiteX1247" fmla="*/ 5512 w 10785"/>
                <a:gd name="connsiteY1247" fmla="*/ 1538 h 10000"/>
                <a:gd name="connsiteX1248" fmla="*/ 5530 w 10785"/>
                <a:gd name="connsiteY1248" fmla="*/ 1564 h 10000"/>
                <a:gd name="connsiteX1249" fmla="*/ 5530 w 10785"/>
                <a:gd name="connsiteY1249" fmla="*/ 1538 h 10000"/>
                <a:gd name="connsiteX1250" fmla="*/ 5539 w 10785"/>
                <a:gd name="connsiteY1250" fmla="*/ 1530 h 10000"/>
                <a:gd name="connsiteX1251" fmla="*/ 5530 w 10785"/>
                <a:gd name="connsiteY1251" fmla="*/ 1504 h 10000"/>
                <a:gd name="connsiteX1252" fmla="*/ 5567 w 10785"/>
                <a:gd name="connsiteY1252" fmla="*/ 1479 h 10000"/>
                <a:gd name="connsiteX1253" fmla="*/ 5553 w 10785"/>
                <a:gd name="connsiteY1253" fmla="*/ 1479 h 10000"/>
                <a:gd name="connsiteX1254" fmla="*/ 5553 w 10785"/>
                <a:gd name="connsiteY1254" fmla="*/ 1453 h 10000"/>
                <a:gd name="connsiteX1255" fmla="*/ 5581 w 10785"/>
                <a:gd name="connsiteY1255" fmla="*/ 1444 h 10000"/>
                <a:gd name="connsiteX1256" fmla="*/ 5581 w 10785"/>
                <a:gd name="connsiteY1256" fmla="*/ 1453 h 10000"/>
                <a:gd name="connsiteX1257" fmla="*/ 5585 w 10785"/>
                <a:gd name="connsiteY1257" fmla="*/ 1444 h 10000"/>
                <a:gd name="connsiteX1258" fmla="*/ 5594 w 10785"/>
                <a:gd name="connsiteY1258" fmla="*/ 1427 h 10000"/>
                <a:gd name="connsiteX1259" fmla="*/ 5599 w 10785"/>
                <a:gd name="connsiteY1259" fmla="*/ 1419 h 10000"/>
                <a:gd name="connsiteX1260" fmla="*/ 5594 w 10785"/>
                <a:gd name="connsiteY1260" fmla="*/ 1402 h 10000"/>
                <a:gd name="connsiteX1261" fmla="*/ 5604 w 10785"/>
                <a:gd name="connsiteY1261" fmla="*/ 1393 h 10000"/>
                <a:gd name="connsiteX1262" fmla="*/ 5618 w 10785"/>
                <a:gd name="connsiteY1262" fmla="*/ 1393 h 10000"/>
                <a:gd name="connsiteX1263" fmla="*/ 5627 w 10785"/>
                <a:gd name="connsiteY1263" fmla="*/ 1368 h 10000"/>
                <a:gd name="connsiteX1264" fmla="*/ 5627 w 10785"/>
                <a:gd name="connsiteY1264" fmla="*/ 1325 h 10000"/>
                <a:gd name="connsiteX1265" fmla="*/ 5645 w 10785"/>
                <a:gd name="connsiteY1265" fmla="*/ 1291 h 10000"/>
                <a:gd name="connsiteX1266" fmla="*/ 5645 w 10785"/>
                <a:gd name="connsiteY1266" fmla="*/ 1282 h 10000"/>
                <a:gd name="connsiteX1267" fmla="*/ 5654 w 10785"/>
                <a:gd name="connsiteY1267" fmla="*/ 1265 h 10000"/>
                <a:gd name="connsiteX1268" fmla="*/ 5654 w 10785"/>
                <a:gd name="connsiteY1268" fmla="*/ 1214 h 10000"/>
                <a:gd name="connsiteX1269" fmla="*/ 5654 w 10785"/>
                <a:gd name="connsiteY1269" fmla="*/ 1214 h 10000"/>
                <a:gd name="connsiteX1270" fmla="*/ 5645 w 10785"/>
                <a:gd name="connsiteY1270" fmla="*/ 1197 h 10000"/>
                <a:gd name="connsiteX1271" fmla="*/ 5659 w 10785"/>
                <a:gd name="connsiteY1271" fmla="*/ 1197 h 10000"/>
                <a:gd name="connsiteX1272" fmla="*/ 5654 w 10785"/>
                <a:gd name="connsiteY1272" fmla="*/ 1154 h 10000"/>
                <a:gd name="connsiteX1273" fmla="*/ 5641 w 10785"/>
                <a:gd name="connsiteY1273" fmla="*/ 1154 h 10000"/>
                <a:gd name="connsiteX1274" fmla="*/ 5627 w 10785"/>
                <a:gd name="connsiteY1274" fmla="*/ 1128 h 10000"/>
                <a:gd name="connsiteX1275" fmla="*/ 5618 w 10785"/>
                <a:gd name="connsiteY1275" fmla="*/ 1094 h 10000"/>
                <a:gd name="connsiteX1276" fmla="*/ 5613 w 10785"/>
                <a:gd name="connsiteY1276" fmla="*/ 1094 h 10000"/>
                <a:gd name="connsiteX1277" fmla="*/ 5604 w 10785"/>
                <a:gd name="connsiteY1277" fmla="*/ 1120 h 10000"/>
                <a:gd name="connsiteX1278" fmla="*/ 5604 w 10785"/>
                <a:gd name="connsiteY1278" fmla="*/ 1128 h 10000"/>
                <a:gd name="connsiteX1279" fmla="*/ 5599 w 10785"/>
                <a:gd name="connsiteY1279" fmla="*/ 1103 h 10000"/>
                <a:gd name="connsiteX1280" fmla="*/ 5599 w 10785"/>
                <a:gd name="connsiteY1280" fmla="*/ 1103 h 10000"/>
                <a:gd name="connsiteX1281" fmla="*/ 5594 w 10785"/>
                <a:gd name="connsiteY1281" fmla="*/ 1068 h 10000"/>
                <a:gd name="connsiteX1282" fmla="*/ 5594 w 10785"/>
                <a:gd name="connsiteY1282" fmla="*/ 1060 h 10000"/>
                <a:gd name="connsiteX1283" fmla="*/ 5581 w 10785"/>
                <a:gd name="connsiteY1283" fmla="*/ 1034 h 10000"/>
                <a:gd name="connsiteX1284" fmla="*/ 5571 w 10785"/>
                <a:gd name="connsiteY1284" fmla="*/ 1009 h 10000"/>
                <a:gd name="connsiteX1285" fmla="*/ 5571 w 10785"/>
                <a:gd name="connsiteY1285" fmla="*/ 991 h 10000"/>
                <a:gd name="connsiteX1286" fmla="*/ 5585 w 10785"/>
                <a:gd name="connsiteY1286" fmla="*/ 1009 h 10000"/>
                <a:gd name="connsiteX1287" fmla="*/ 5604 w 10785"/>
                <a:gd name="connsiteY1287" fmla="*/ 1043 h 10000"/>
                <a:gd name="connsiteX1288" fmla="*/ 5641 w 10785"/>
                <a:gd name="connsiteY1288" fmla="*/ 1094 h 10000"/>
                <a:gd name="connsiteX1289" fmla="*/ 5631 w 10785"/>
                <a:gd name="connsiteY1289" fmla="*/ 1128 h 10000"/>
                <a:gd name="connsiteX1290" fmla="*/ 5641 w 10785"/>
                <a:gd name="connsiteY1290" fmla="*/ 1128 h 10000"/>
                <a:gd name="connsiteX1291" fmla="*/ 5659 w 10785"/>
                <a:gd name="connsiteY1291" fmla="*/ 1017 h 10000"/>
                <a:gd name="connsiteX1292" fmla="*/ 5659 w 10785"/>
                <a:gd name="connsiteY1292" fmla="*/ 983 h 10000"/>
                <a:gd name="connsiteX1293" fmla="*/ 5659 w 10785"/>
                <a:gd name="connsiteY1293" fmla="*/ 957 h 10000"/>
                <a:gd name="connsiteX1294" fmla="*/ 5654 w 10785"/>
                <a:gd name="connsiteY1294" fmla="*/ 966 h 10000"/>
                <a:gd name="connsiteX1295" fmla="*/ 5641 w 10785"/>
                <a:gd name="connsiteY1295" fmla="*/ 957 h 10000"/>
                <a:gd name="connsiteX1296" fmla="*/ 5631 w 10785"/>
                <a:gd name="connsiteY1296" fmla="*/ 897 h 10000"/>
                <a:gd name="connsiteX1297" fmla="*/ 5641 w 10785"/>
                <a:gd name="connsiteY1297" fmla="*/ 872 h 10000"/>
                <a:gd name="connsiteX1298" fmla="*/ 5618 w 10785"/>
                <a:gd name="connsiteY1298" fmla="*/ 803 h 10000"/>
                <a:gd name="connsiteX1299" fmla="*/ 5604 w 10785"/>
                <a:gd name="connsiteY1299" fmla="*/ 821 h 10000"/>
                <a:gd name="connsiteX1300" fmla="*/ 5613 w 10785"/>
                <a:gd name="connsiteY1300" fmla="*/ 846 h 10000"/>
                <a:gd name="connsiteX1301" fmla="*/ 5604 w 10785"/>
                <a:gd name="connsiteY1301" fmla="*/ 855 h 10000"/>
                <a:gd name="connsiteX1302" fmla="*/ 5599 w 10785"/>
                <a:gd name="connsiteY1302" fmla="*/ 880 h 10000"/>
                <a:gd name="connsiteX1303" fmla="*/ 5594 w 10785"/>
                <a:gd name="connsiteY1303" fmla="*/ 880 h 10000"/>
                <a:gd name="connsiteX1304" fmla="*/ 5585 w 10785"/>
                <a:gd name="connsiteY1304" fmla="*/ 829 h 10000"/>
                <a:gd name="connsiteX1305" fmla="*/ 5571 w 10785"/>
                <a:gd name="connsiteY1305" fmla="*/ 803 h 10000"/>
                <a:gd name="connsiteX1306" fmla="*/ 5585 w 10785"/>
                <a:gd name="connsiteY1306" fmla="*/ 795 h 10000"/>
                <a:gd name="connsiteX1307" fmla="*/ 5585 w 10785"/>
                <a:gd name="connsiteY1307" fmla="*/ 761 h 10000"/>
                <a:gd name="connsiteX1308" fmla="*/ 5558 w 10785"/>
                <a:gd name="connsiteY1308" fmla="*/ 709 h 10000"/>
                <a:gd name="connsiteX1309" fmla="*/ 5544 w 10785"/>
                <a:gd name="connsiteY1309" fmla="*/ 709 h 10000"/>
                <a:gd name="connsiteX1310" fmla="*/ 5544 w 10785"/>
                <a:gd name="connsiteY1310" fmla="*/ 684 h 10000"/>
                <a:gd name="connsiteX1311" fmla="*/ 5525 w 10785"/>
                <a:gd name="connsiteY1311" fmla="*/ 632 h 10000"/>
                <a:gd name="connsiteX1312" fmla="*/ 5507 w 10785"/>
                <a:gd name="connsiteY1312" fmla="*/ 607 h 10000"/>
                <a:gd name="connsiteX1313" fmla="*/ 5512 w 10785"/>
                <a:gd name="connsiteY1313" fmla="*/ 598 h 10000"/>
                <a:gd name="connsiteX1314" fmla="*/ 5507 w 10785"/>
                <a:gd name="connsiteY1314" fmla="*/ 581 h 10000"/>
                <a:gd name="connsiteX1315" fmla="*/ 5493 w 10785"/>
                <a:gd name="connsiteY1315" fmla="*/ 573 h 10000"/>
                <a:gd name="connsiteX1316" fmla="*/ 5484 w 10785"/>
                <a:gd name="connsiteY1316" fmla="*/ 581 h 10000"/>
                <a:gd name="connsiteX1317" fmla="*/ 5484 w 10785"/>
                <a:gd name="connsiteY1317" fmla="*/ 573 h 10000"/>
                <a:gd name="connsiteX1318" fmla="*/ 5484 w 10785"/>
                <a:gd name="connsiteY1318" fmla="*/ 547 h 10000"/>
                <a:gd name="connsiteX1319" fmla="*/ 5465 w 10785"/>
                <a:gd name="connsiteY1319" fmla="*/ 556 h 10000"/>
                <a:gd name="connsiteX1320" fmla="*/ 5433 w 10785"/>
                <a:gd name="connsiteY1320" fmla="*/ 547 h 10000"/>
                <a:gd name="connsiteX1321" fmla="*/ 5410 w 10785"/>
                <a:gd name="connsiteY1321" fmla="*/ 573 h 10000"/>
                <a:gd name="connsiteX1322" fmla="*/ 5406 w 10785"/>
                <a:gd name="connsiteY1322" fmla="*/ 573 h 10000"/>
                <a:gd name="connsiteX1323" fmla="*/ 5392 w 10785"/>
                <a:gd name="connsiteY1323" fmla="*/ 573 h 10000"/>
                <a:gd name="connsiteX1324" fmla="*/ 5364 w 10785"/>
                <a:gd name="connsiteY1324" fmla="*/ 530 h 10000"/>
                <a:gd name="connsiteX1325" fmla="*/ 5350 w 10785"/>
                <a:gd name="connsiteY1325" fmla="*/ 556 h 10000"/>
                <a:gd name="connsiteX1326" fmla="*/ 5346 w 10785"/>
                <a:gd name="connsiteY1326" fmla="*/ 556 h 10000"/>
                <a:gd name="connsiteX1327" fmla="*/ 5313 w 10785"/>
                <a:gd name="connsiteY1327" fmla="*/ 573 h 10000"/>
                <a:gd name="connsiteX1328" fmla="*/ 5304 w 10785"/>
                <a:gd name="connsiteY1328" fmla="*/ 556 h 10000"/>
                <a:gd name="connsiteX1329" fmla="*/ 5290 w 10785"/>
                <a:gd name="connsiteY1329" fmla="*/ 573 h 10000"/>
                <a:gd name="connsiteX1330" fmla="*/ 5290 w 10785"/>
                <a:gd name="connsiteY1330" fmla="*/ 556 h 10000"/>
                <a:gd name="connsiteX1331" fmla="*/ 5300 w 10785"/>
                <a:gd name="connsiteY1331" fmla="*/ 547 h 10000"/>
                <a:gd name="connsiteX1332" fmla="*/ 5300 w 10785"/>
                <a:gd name="connsiteY1332" fmla="*/ 530 h 10000"/>
                <a:gd name="connsiteX1333" fmla="*/ 5290 w 10785"/>
                <a:gd name="connsiteY1333" fmla="*/ 530 h 10000"/>
                <a:gd name="connsiteX1334" fmla="*/ 5286 w 10785"/>
                <a:gd name="connsiteY1334" fmla="*/ 547 h 10000"/>
                <a:gd name="connsiteX1335" fmla="*/ 5272 w 10785"/>
                <a:gd name="connsiteY1335" fmla="*/ 556 h 10000"/>
                <a:gd name="connsiteX1336" fmla="*/ 5272 w 10785"/>
                <a:gd name="connsiteY1336" fmla="*/ 598 h 10000"/>
                <a:gd name="connsiteX1337" fmla="*/ 5276 w 10785"/>
                <a:gd name="connsiteY1337" fmla="*/ 581 h 10000"/>
                <a:gd name="connsiteX1338" fmla="*/ 5272 w 10785"/>
                <a:gd name="connsiteY1338" fmla="*/ 607 h 10000"/>
                <a:gd name="connsiteX1339" fmla="*/ 5263 w 10785"/>
                <a:gd name="connsiteY1339" fmla="*/ 607 h 10000"/>
                <a:gd name="connsiteX1340" fmla="*/ 5263 w 10785"/>
                <a:gd name="connsiteY1340" fmla="*/ 632 h 10000"/>
                <a:gd name="connsiteX1341" fmla="*/ 5258 w 10785"/>
                <a:gd name="connsiteY1341" fmla="*/ 658 h 10000"/>
                <a:gd name="connsiteX1342" fmla="*/ 5244 w 10785"/>
                <a:gd name="connsiteY1342" fmla="*/ 667 h 10000"/>
                <a:gd name="connsiteX1343" fmla="*/ 5240 w 10785"/>
                <a:gd name="connsiteY1343" fmla="*/ 658 h 10000"/>
                <a:gd name="connsiteX1344" fmla="*/ 5240 w 10785"/>
                <a:gd name="connsiteY1344" fmla="*/ 684 h 10000"/>
                <a:gd name="connsiteX1345" fmla="*/ 5212 w 10785"/>
                <a:gd name="connsiteY1345" fmla="*/ 684 h 10000"/>
                <a:gd name="connsiteX1346" fmla="*/ 5198 w 10785"/>
                <a:gd name="connsiteY1346" fmla="*/ 692 h 10000"/>
                <a:gd name="connsiteX1347" fmla="*/ 5184 w 10785"/>
                <a:gd name="connsiteY1347" fmla="*/ 684 h 10000"/>
                <a:gd name="connsiteX1348" fmla="*/ 5157 w 10785"/>
                <a:gd name="connsiteY1348" fmla="*/ 684 h 10000"/>
                <a:gd name="connsiteX1349" fmla="*/ 5157 w 10785"/>
                <a:gd name="connsiteY1349" fmla="*/ 667 h 10000"/>
                <a:gd name="connsiteX1350" fmla="*/ 5157 w 10785"/>
                <a:gd name="connsiteY1350" fmla="*/ 667 h 10000"/>
                <a:gd name="connsiteX1351" fmla="*/ 5180 w 10785"/>
                <a:gd name="connsiteY1351" fmla="*/ 650 h 10000"/>
                <a:gd name="connsiteX1352" fmla="*/ 5184 w 10785"/>
                <a:gd name="connsiteY1352" fmla="*/ 658 h 10000"/>
                <a:gd name="connsiteX1353" fmla="*/ 5203 w 10785"/>
                <a:gd name="connsiteY1353" fmla="*/ 547 h 10000"/>
                <a:gd name="connsiteX1354" fmla="*/ 5226 w 10785"/>
                <a:gd name="connsiteY1354" fmla="*/ 530 h 10000"/>
                <a:gd name="connsiteX1355" fmla="*/ 5230 w 10785"/>
                <a:gd name="connsiteY1355" fmla="*/ 487 h 10000"/>
                <a:gd name="connsiteX1356" fmla="*/ 5230 w 10785"/>
                <a:gd name="connsiteY1356" fmla="*/ 487 h 10000"/>
                <a:gd name="connsiteX1357" fmla="*/ 5226 w 10785"/>
                <a:gd name="connsiteY1357" fmla="*/ 462 h 10000"/>
                <a:gd name="connsiteX1358" fmla="*/ 5226 w 10785"/>
                <a:gd name="connsiteY1358" fmla="*/ 462 h 10000"/>
                <a:gd name="connsiteX1359" fmla="*/ 5240 w 10785"/>
                <a:gd name="connsiteY1359" fmla="*/ 462 h 10000"/>
                <a:gd name="connsiteX1360" fmla="*/ 5240 w 10785"/>
                <a:gd name="connsiteY1360" fmla="*/ 444 h 10000"/>
                <a:gd name="connsiteX1361" fmla="*/ 5230 w 10785"/>
                <a:gd name="connsiteY1361" fmla="*/ 436 h 10000"/>
                <a:gd name="connsiteX1362" fmla="*/ 5230 w 10785"/>
                <a:gd name="connsiteY1362" fmla="*/ 419 h 10000"/>
                <a:gd name="connsiteX1363" fmla="*/ 5230 w 10785"/>
                <a:gd name="connsiteY1363" fmla="*/ 410 h 10000"/>
                <a:gd name="connsiteX1364" fmla="*/ 5198 w 10785"/>
                <a:gd name="connsiteY1364" fmla="*/ 402 h 10000"/>
                <a:gd name="connsiteX1365" fmla="*/ 5189 w 10785"/>
                <a:gd name="connsiteY1365" fmla="*/ 402 h 10000"/>
                <a:gd name="connsiteX1366" fmla="*/ 5184 w 10785"/>
                <a:gd name="connsiteY1366" fmla="*/ 376 h 10000"/>
                <a:gd name="connsiteX1367" fmla="*/ 5180 w 10785"/>
                <a:gd name="connsiteY1367" fmla="*/ 376 h 10000"/>
                <a:gd name="connsiteX1368" fmla="*/ 5166 w 10785"/>
                <a:gd name="connsiteY1368" fmla="*/ 376 h 10000"/>
                <a:gd name="connsiteX1369" fmla="*/ 5157 w 10785"/>
                <a:gd name="connsiteY1369" fmla="*/ 385 h 10000"/>
                <a:gd name="connsiteX1370" fmla="*/ 5152 w 10785"/>
                <a:gd name="connsiteY1370" fmla="*/ 376 h 10000"/>
                <a:gd name="connsiteX1371" fmla="*/ 5129 w 10785"/>
                <a:gd name="connsiteY1371" fmla="*/ 385 h 10000"/>
                <a:gd name="connsiteX1372" fmla="*/ 5129 w 10785"/>
                <a:gd name="connsiteY1372" fmla="*/ 350 h 10000"/>
                <a:gd name="connsiteX1373" fmla="*/ 5129 w 10785"/>
                <a:gd name="connsiteY1373" fmla="*/ 325 h 10000"/>
                <a:gd name="connsiteX1374" fmla="*/ 5124 w 10785"/>
                <a:gd name="connsiteY1374" fmla="*/ 359 h 10000"/>
                <a:gd name="connsiteX1375" fmla="*/ 5106 w 10785"/>
                <a:gd name="connsiteY1375" fmla="*/ 359 h 10000"/>
                <a:gd name="connsiteX1376" fmla="*/ 5037 w 10785"/>
                <a:gd name="connsiteY1376" fmla="*/ 419 h 10000"/>
                <a:gd name="connsiteX1377" fmla="*/ 5051 w 10785"/>
                <a:gd name="connsiteY1377" fmla="*/ 385 h 10000"/>
                <a:gd name="connsiteX1378" fmla="*/ 5055 w 10785"/>
                <a:gd name="connsiteY1378" fmla="*/ 376 h 10000"/>
                <a:gd name="connsiteX1379" fmla="*/ 5092 w 10785"/>
                <a:gd name="connsiteY1379" fmla="*/ 282 h 10000"/>
                <a:gd name="connsiteX1380" fmla="*/ 5106 w 10785"/>
                <a:gd name="connsiteY1380" fmla="*/ 265 h 10000"/>
                <a:gd name="connsiteX1381" fmla="*/ 5115 w 10785"/>
                <a:gd name="connsiteY1381" fmla="*/ 265 h 10000"/>
                <a:gd name="connsiteX1382" fmla="*/ 5124 w 10785"/>
                <a:gd name="connsiteY1382" fmla="*/ 222 h 10000"/>
                <a:gd name="connsiteX1383" fmla="*/ 5124 w 10785"/>
                <a:gd name="connsiteY1383" fmla="*/ 214 h 10000"/>
                <a:gd name="connsiteX1384" fmla="*/ 5143 w 10785"/>
                <a:gd name="connsiteY1384" fmla="*/ 197 h 10000"/>
                <a:gd name="connsiteX1385" fmla="*/ 5152 w 10785"/>
                <a:gd name="connsiteY1385" fmla="*/ 214 h 10000"/>
                <a:gd name="connsiteX1386" fmla="*/ 5143 w 10785"/>
                <a:gd name="connsiteY1386" fmla="*/ 188 h 10000"/>
                <a:gd name="connsiteX1387" fmla="*/ 5129 w 10785"/>
                <a:gd name="connsiteY1387" fmla="*/ 103 h 10000"/>
                <a:gd name="connsiteX1388" fmla="*/ 5115 w 10785"/>
                <a:gd name="connsiteY1388" fmla="*/ 85 h 10000"/>
                <a:gd name="connsiteX1389" fmla="*/ 5111 w 10785"/>
                <a:gd name="connsiteY1389" fmla="*/ 111 h 10000"/>
                <a:gd name="connsiteX1390" fmla="*/ 5092 w 10785"/>
                <a:gd name="connsiteY1390" fmla="*/ 103 h 10000"/>
                <a:gd name="connsiteX1391" fmla="*/ 5069 w 10785"/>
                <a:gd name="connsiteY1391" fmla="*/ 77 h 10000"/>
                <a:gd name="connsiteX1392" fmla="*/ 5051 w 10785"/>
                <a:gd name="connsiteY1392" fmla="*/ 26 h 10000"/>
                <a:gd name="connsiteX1393" fmla="*/ 5041 w 10785"/>
                <a:gd name="connsiteY1393" fmla="*/ 34 h 10000"/>
                <a:gd name="connsiteX1394" fmla="*/ 5037 w 10785"/>
                <a:gd name="connsiteY1394" fmla="*/ 34 h 10000"/>
                <a:gd name="connsiteX1395" fmla="*/ 5037 w 10785"/>
                <a:gd name="connsiteY1395" fmla="*/ 26 h 10000"/>
                <a:gd name="connsiteX1396" fmla="*/ 5037 w 10785"/>
                <a:gd name="connsiteY1396" fmla="*/ 9 h 10000"/>
                <a:gd name="connsiteX1397" fmla="*/ 5023 w 10785"/>
                <a:gd name="connsiteY1397" fmla="*/ 0 h 10000"/>
                <a:gd name="connsiteX1398" fmla="*/ 5009 w 10785"/>
                <a:gd name="connsiteY1398" fmla="*/ 9 h 10000"/>
                <a:gd name="connsiteX1399" fmla="*/ 4995 w 10785"/>
                <a:gd name="connsiteY1399" fmla="*/ 34 h 10000"/>
                <a:gd name="connsiteX1400" fmla="*/ 4991 w 10785"/>
                <a:gd name="connsiteY1400" fmla="*/ 60 h 10000"/>
                <a:gd name="connsiteX1401" fmla="*/ 4982 w 10785"/>
                <a:gd name="connsiteY1401" fmla="*/ 60 h 10000"/>
                <a:gd name="connsiteX1402" fmla="*/ 4949 w 10785"/>
                <a:gd name="connsiteY1402" fmla="*/ 51 h 10000"/>
                <a:gd name="connsiteX1403" fmla="*/ 4949 w 10785"/>
                <a:gd name="connsiteY1403" fmla="*/ 85 h 10000"/>
                <a:gd name="connsiteX1404" fmla="*/ 4903 w 10785"/>
                <a:gd name="connsiteY1404" fmla="*/ 197 h 10000"/>
                <a:gd name="connsiteX1405" fmla="*/ 4899 w 10785"/>
                <a:gd name="connsiteY1405" fmla="*/ 239 h 10000"/>
                <a:gd name="connsiteX1406" fmla="*/ 4871 w 10785"/>
                <a:gd name="connsiteY1406" fmla="*/ 274 h 10000"/>
                <a:gd name="connsiteX1407" fmla="*/ 4871 w 10785"/>
                <a:gd name="connsiteY1407" fmla="*/ 282 h 10000"/>
                <a:gd name="connsiteX1408" fmla="*/ 4834 w 10785"/>
                <a:gd name="connsiteY1408" fmla="*/ 376 h 10000"/>
                <a:gd name="connsiteX1409" fmla="*/ 4829 w 10785"/>
                <a:gd name="connsiteY1409" fmla="*/ 402 h 10000"/>
                <a:gd name="connsiteX1410" fmla="*/ 4834 w 10785"/>
                <a:gd name="connsiteY1410" fmla="*/ 410 h 10000"/>
                <a:gd name="connsiteX1411" fmla="*/ 4829 w 10785"/>
                <a:gd name="connsiteY1411" fmla="*/ 436 h 10000"/>
                <a:gd name="connsiteX1412" fmla="*/ 4825 w 10785"/>
                <a:gd name="connsiteY1412" fmla="*/ 436 h 10000"/>
                <a:gd name="connsiteX1413" fmla="*/ 4825 w 10785"/>
                <a:gd name="connsiteY1413" fmla="*/ 444 h 10000"/>
                <a:gd name="connsiteX1414" fmla="*/ 4811 w 10785"/>
                <a:gd name="connsiteY1414" fmla="*/ 496 h 10000"/>
                <a:gd name="connsiteX1415" fmla="*/ 4811 w 10785"/>
                <a:gd name="connsiteY1415" fmla="*/ 496 h 10000"/>
                <a:gd name="connsiteX1416" fmla="*/ 4811 w 10785"/>
                <a:gd name="connsiteY1416" fmla="*/ 521 h 10000"/>
                <a:gd name="connsiteX1417" fmla="*/ 4816 w 10785"/>
                <a:gd name="connsiteY1417" fmla="*/ 530 h 10000"/>
                <a:gd name="connsiteX1418" fmla="*/ 4834 w 10785"/>
                <a:gd name="connsiteY1418" fmla="*/ 547 h 10000"/>
                <a:gd name="connsiteX1419" fmla="*/ 4834 w 10785"/>
                <a:gd name="connsiteY1419" fmla="*/ 581 h 10000"/>
                <a:gd name="connsiteX1420" fmla="*/ 4843 w 10785"/>
                <a:gd name="connsiteY1420" fmla="*/ 581 h 10000"/>
                <a:gd name="connsiteX1421" fmla="*/ 4843 w 10785"/>
                <a:gd name="connsiteY1421" fmla="*/ 598 h 10000"/>
                <a:gd name="connsiteX1422" fmla="*/ 4829 w 10785"/>
                <a:gd name="connsiteY1422" fmla="*/ 598 h 10000"/>
                <a:gd name="connsiteX1423" fmla="*/ 4829 w 10785"/>
                <a:gd name="connsiteY1423" fmla="*/ 573 h 10000"/>
                <a:gd name="connsiteX1424" fmla="*/ 4829 w 10785"/>
                <a:gd name="connsiteY1424" fmla="*/ 632 h 10000"/>
                <a:gd name="connsiteX1425" fmla="*/ 4829 w 10785"/>
                <a:gd name="connsiteY1425" fmla="*/ 632 h 10000"/>
                <a:gd name="connsiteX1426" fmla="*/ 4829 w 10785"/>
                <a:gd name="connsiteY1426" fmla="*/ 650 h 10000"/>
                <a:gd name="connsiteX1427" fmla="*/ 4774 w 10785"/>
                <a:gd name="connsiteY1427" fmla="*/ 684 h 10000"/>
                <a:gd name="connsiteX1428" fmla="*/ 4756 w 10785"/>
                <a:gd name="connsiteY1428" fmla="*/ 684 h 10000"/>
                <a:gd name="connsiteX1429" fmla="*/ 4737 w 10785"/>
                <a:gd name="connsiteY1429" fmla="*/ 692 h 10000"/>
                <a:gd name="connsiteX1430" fmla="*/ 4677 w 10785"/>
                <a:gd name="connsiteY1430" fmla="*/ 667 h 10000"/>
                <a:gd name="connsiteX1431" fmla="*/ 4682 w 10785"/>
                <a:gd name="connsiteY1431" fmla="*/ 692 h 10000"/>
                <a:gd name="connsiteX1432" fmla="*/ 4682 w 10785"/>
                <a:gd name="connsiteY1432" fmla="*/ 709 h 10000"/>
                <a:gd name="connsiteX1433" fmla="*/ 4691 w 10785"/>
                <a:gd name="connsiteY1433" fmla="*/ 718 h 10000"/>
                <a:gd name="connsiteX1434" fmla="*/ 4691 w 10785"/>
                <a:gd name="connsiteY1434" fmla="*/ 744 h 10000"/>
                <a:gd name="connsiteX1435" fmla="*/ 4700 w 10785"/>
                <a:gd name="connsiteY1435" fmla="*/ 744 h 10000"/>
                <a:gd name="connsiteX1436" fmla="*/ 4714 w 10785"/>
                <a:gd name="connsiteY1436" fmla="*/ 769 h 10000"/>
                <a:gd name="connsiteX1437" fmla="*/ 4710 w 10785"/>
                <a:gd name="connsiteY1437" fmla="*/ 786 h 10000"/>
                <a:gd name="connsiteX1438" fmla="*/ 4737 w 10785"/>
                <a:gd name="connsiteY1438" fmla="*/ 786 h 10000"/>
                <a:gd name="connsiteX1439" fmla="*/ 4742 w 10785"/>
                <a:gd name="connsiteY1439" fmla="*/ 795 h 10000"/>
                <a:gd name="connsiteX1440" fmla="*/ 4742 w 10785"/>
                <a:gd name="connsiteY1440" fmla="*/ 803 h 10000"/>
                <a:gd name="connsiteX1441" fmla="*/ 4737 w 10785"/>
                <a:gd name="connsiteY1441" fmla="*/ 846 h 10000"/>
                <a:gd name="connsiteX1442" fmla="*/ 4737 w 10785"/>
                <a:gd name="connsiteY1442" fmla="*/ 880 h 10000"/>
                <a:gd name="connsiteX1443" fmla="*/ 4737 w 10785"/>
                <a:gd name="connsiteY1443" fmla="*/ 906 h 10000"/>
                <a:gd name="connsiteX1444" fmla="*/ 4724 w 10785"/>
                <a:gd name="connsiteY1444" fmla="*/ 897 h 10000"/>
                <a:gd name="connsiteX1445" fmla="*/ 4724 w 10785"/>
                <a:gd name="connsiteY1445" fmla="*/ 872 h 10000"/>
                <a:gd name="connsiteX1446" fmla="*/ 4714 w 10785"/>
                <a:gd name="connsiteY1446" fmla="*/ 855 h 10000"/>
                <a:gd name="connsiteX1447" fmla="*/ 4691 w 10785"/>
                <a:gd name="connsiteY1447" fmla="*/ 846 h 10000"/>
                <a:gd name="connsiteX1448" fmla="*/ 4691 w 10785"/>
                <a:gd name="connsiteY1448" fmla="*/ 846 h 10000"/>
                <a:gd name="connsiteX1449" fmla="*/ 4696 w 10785"/>
                <a:gd name="connsiteY1449" fmla="*/ 821 h 10000"/>
                <a:gd name="connsiteX1450" fmla="*/ 4691 w 10785"/>
                <a:gd name="connsiteY1450" fmla="*/ 803 h 10000"/>
                <a:gd name="connsiteX1451" fmla="*/ 4668 w 10785"/>
                <a:gd name="connsiteY1451" fmla="*/ 821 h 10000"/>
                <a:gd name="connsiteX1452" fmla="*/ 4668 w 10785"/>
                <a:gd name="connsiteY1452" fmla="*/ 786 h 10000"/>
                <a:gd name="connsiteX1453" fmla="*/ 4664 w 10785"/>
                <a:gd name="connsiteY1453" fmla="*/ 786 h 10000"/>
                <a:gd name="connsiteX1454" fmla="*/ 4622 w 10785"/>
                <a:gd name="connsiteY1454" fmla="*/ 846 h 10000"/>
                <a:gd name="connsiteX1455" fmla="*/ 4627 w 10785"/>
                <a:gd name="connsiteY1455" fmla="*/ 872 h 10000"/>
                <a:gd name="connsiteX1456" fmla="*/ 4622 w 10785"/>
                <a:gd name="connsiteY1456" fmla="*/ 880 h 10000"/>
                <a:gd name="connsiteX1457" fmla="*/ 4622 w 10785"/>
                <a:gd name="connsiteY1457" fmla="*/ 880 h 10000"/>
                <a:gd name="connsiteX1458" fmla="*/ 4618 w 10785"/>
                <a:gd name="connsiteY1458" fmla="*/ 872 h 10000"/>
                <a:gd name="connsiteX1459" fmla="*/ 4604 w 10785"/>
                <a:gd name="connsiteY1459" fmla="*/ 880 h 10000"/>
                <a:gd name="connsiteX1460" fmla="*/ 4594 w 10785"/>
                <a:gd name="connsiteY1460" fmla="*/ 906 h 10000"/>
                <a:gd name="connsiteX1461" fmla="*/ 4604 w 10785"/>
                <a:gd name="connsiteY1461" fmla="*/ 906 h 10000"/>
                <a:gd name="connsiteX1462" fmla="*/ 4608 w 10785"/>
                <a:gd name="connsiteY1462" fmla="*/ 906 h 10000"/>
                <a:gd name="connsiteX1463" fmla="*/ 4608 w 10785"/>
                <a:gd name="connsiteY1463" fmla="*/ 932 h 10000"/>
                <a:gd name="connsiteX1464" fmla="*/ 4604 w 10785"/>
                <a:gd name="connsiteY1464" fmla="*/ 932 h 10000"/>
                <a:gd name="connsiteX1465" fmla="*/ 4590 w 10785"/>
                <a:gd name="connsiteY1465" fmla="*/ 932 h 10000"/>
                <a:gd name="connsiteX1466" fmla="*/ 4567 w 10785"/>
                <a:gd name="connsiteY1466" fmla="*/ 957 h 10000"/>
                <a:gd name="connsiteX1467" fmla="*/ 4567 w 10785"/>
                <a:gd name="connsiteY1467" fmla="*/ 932 h 10000"/>
                <a:gd name="connsiteX1468" fmla="*/ 4567 w 10785"/>
                <a:gd name="connsiteY1468" fmla="*/ 923 h 10000"/>
                <a:gd name="connsiteX1469" fmla="*/ 4562 w 10785"/>
                <a:gd name="connsiteY1469" fmla="*/ 932 h 10000"/>
                <a:gd name="connsiteX1470" fmla="*/ 4548 w 10785"/>
                <a:gd name="connsiteY1470" fmla="*/ 957 h 10000"/>
                <a:gd name="connsiteX1471" fmla="*/ 4544 w 10785"/>
                <a:gd name="connsiteY1471" fmla="*/ 957 h 10000"/>
                <a:gd name="connsiteX1472" fmla="*/ 4521 w 10785"/>
                <a:gd name="connsiteY1472" fmla="*/ 983 h 10000"/>
                <a:gd name="connsiteX1473" fmla="*/ 4521 w 10785"/>
                <a:gd name="connsiteY1473" fmla="*/ 983 h 10000"/>
                <a:gd name="connsiteX1474" fmla="*/ 4530 w 10785"/>
                <a:gd name="connsiteY1474" fmla="*/ 957 h 10000"/>
                <a:gd name="connsiteX1475" fmla="*/ 4535 w 10785"/>
                <a:gd name="connsiteY1475" fmla="*/ 932 h 10000"/>
                <a:gd name="connsiteX1476" fmla="*/ 4521 w 10785"/>
                <a:gd name="connsiteY1476" fmla="*/ 932 h 10000"/>
                <a:gd name="connsiteX1477" fmla="*/ 4516 w 10785"/>
                <a:gd name="connsiteY1477" fmla="*/ 923 h 10000"/>
                <a:gd name="connsiteX1478" fmla="*/ 4516 w 10785"/>
                <a:gd name="connsiteY1478" fmla="*/ 932 h 10000"/>
                <a:gd name="connsiteX1479" fmla="*/ 4488 w 10785"/>
                <a:gd name="connsiteY1479" fmla="*/ 940 h 10000"/>
                <a:gd name="connsiteX1480" fmla="*/ 4484 w 10785"/>
                <a:gd name="connsiteY1480" fmla="*/ 983 h 10000"/>
                <a:gd name="connsiteX1481" fmla="*/ 4470 w 10785"/>
                <a:gd name="connsiteY1481" fmla="*/ 983 h 10000"/>
                <a:gd name="connsiteX1482" fmla="*/ 4470 w 10785"/>
                <a:gd name="connsiteY1482" fmla="*/ 966 h 10000"/>
                <a:gd name="connsiteX1483" fmla="*/ 4488 w 10785"/>
                <a:gd name="connsiteY1483" fmla="*/ 923 h 10000"/>
                <a:gd name="connsiteX1484" fmla="*/ 4493 w 10785"/>
                <a:gd name="connsiteY1484" fmla="*/ 880 h 10000"/>
                <a:gd name="connsiteX1485" fmla="*/ 4475 w 10785"/>
                <a:gd name="connsiteY1485" fmla="*/ 846 h 10000"/>
                <a:gd name="connsiteX1486" fmla="*/ 4442 w 10785"/>
                <a:gd name="connsiteY1486" fmla="*/ 855 h 10000"/>
                <a:gd name="connsiteX1487" fmla="*/ 4433 w 10785"/>
                <a:gd name="connsiteY1487" fmla="*/ 855 h 10000"/>
                <a:gd name="connsiteX1488" fmla="*/ 4433 w 10785"/>
                <a:gd name="connsiteY1488" fmla="*/ 880 h 10000"/>
                <a:gd name="connsiteX1489" fmla="*/ 4401 w 10785"/>
                <a:gd name="connsiteY1489" fmla="*/ 855 h 10000"/>
                <a:gd name="connsiteX1490" fmla="*/ 4396 w 10785"/>
                <a:gd name="connsiteY1490" fmla="*/ 872 h 10000"/>
                <a:gd name="connsiteX1491" fmla="*/ 4382 w 10785"/>
                <a:gd name="connsiteY1491" fmla="*/ 897 h 10000"/>
                <a:gd name="connsiteX1492" fmla="*/ 4373 w 10785"/>
                <a:gd name="connsiteY1492" fmla="*/ 872 h 10000"/>
                <a:gd name="connsiteX1493" fmla="*/ 4341 w 10785"/>
                <a:gd name="connsiteY1493" fmla="*/ 872 h 10000"/>
                <a:gd name="connsiteX1494" fmla="*/ 4336 w 10785"/>
                <a:gd name="connsiteY1494" fmla="*/ 880 h 10000"/>
                <a:gd name="connsiteX1495" fmla="*/ 4346 w 10785"/>
                <a:gd name="connsiteY1495" fmla="*/ 897 h 10000"/>
                <a:gd name="connsiteX1496" fmla="*/ 4346 w 10785"/>
                <a:gd name="connsiteY1496" fmla="*/ 897 h 10000"/>
                <a:gd name="connsiteX1497" fmla="*/ 4313 w 10785"/>
                <a:gd name="connsiteY1497" fmla="*/ 906 h 10000"/>
                <a:gd name="connsiteX1498" fmla="*/ 4313 w 10785"/>
                <a:gd name="connsiteY1498" fmla="*/ 906 h 10000"/>
                <a:gd name="connsiteX1499" fmla="*/ 4313 w 10785"/>
                <a:gd name="connsiteY1499" fmla="*/ 880 h 10000"/>
                <a:gd name="connsiteX1500" fmla="*/ 4309 w 10785"/>
                <a:gd name="connsiteY1500" fmla="*/ 897 h 10000"/>
                <a:gd name="connsiteX1501" fmla="*/ 4295 w 10785"/>
                <a:gd name="connsiteY1501" fmla="*/ 923 h 10000"/>
                <a:gd name="connsiteX1502" fmla="*/ 4286 w 10785"/>
                <a:gd name="connsiteY1502" fmla="*/ 897 h 10000"/>
                <a:gd name="connsiteX1503" fmla="*/ 4281 w 10785"/>
                <a:gd name="connsiteY1503" fmla="*/ 906 h 10000"/>
                <a:gd name="connsiteX1504" fmla="*/ 4281 w 10785"/>
                <a:gd name="connsiteY1504" fmla="*/ 940 h 10000"/>
                <a:gd name="connsiteX1505" fmla="*/ 4286 w 10785"/>
                <a:gd name="connsiteY1505" fmla="*/ 957 h 10000"/>
                <a:gd name="connsiteX1506" fmla="*/ 4309 w 10785"/>
                <a:gd name="connsiteY1506" fmla="*/ 932 h 10000"/>
                <a:gd name="connsiteX1507" fmla="*/ 4313 w 10785"/>
                <a:gd name="connsiteY1507" fmla="*/ 957 h 10000"/>
                <a:gd name="connsiteX1508" fmla="*/ 4313 w 10785"/>
                <a:gd name="connsiteY1508" fmla="*/ 966 h 10000"/>
                <a:gd name="connsiteX1509" fmla="*/ 4323 w 10785"/>
                <a:gd name="connsiteY1509" fmla="*/ 966 h 10000"/>
                <a:gd name="connsiteX1510" fmla="*/ 4323 w 10785"/>
                <a:gd name="connsiteY1510" fmla="*/ 940 h 10000"/>
                <a:gd name="connsiteX1511" fmla="*/ 4327 w 10785"/>
                <a:gd name="connsiteY1511" fmla="*/ 940 h 10000"/>
                <a:gd name="connsiteX1512" fmla="*/ 4327 w 10785"/>
                <a:gd name="connsiteY1512" fmla="*/ 957 h 10000"/>
                <a:gd name="connsiteX1513" fmla="*/ 4327 w 10785"/>
                <a:gd name="connsiteY1513" fmla="*/ 966 h 10000"/>
                <a:gd name="connsiteX1514" fmla="*/ 4323 w 10785"/>
                <a:gd name="connsiteY1514" fmla="*/ 991 h 10000"/>
                <a:gd name="connsiteX1515" fmla="*/ 4207 w 10785"/>
                <a:gd name="connsiteY1515" fmla="*/ 1060 h 10000"/>
                <a:gd name="connsiteX1516" fmla="*/ 4207 w 10785"/>
                <a:gd name="connsiteY1516" fmla="*/ 1060 h 10000"/>
                <a:gd name="connsiteX1517" fmla="*/ 4203 w 10785"/>
                <a:gd name="connsiteY1517" fmla="*/ 1068 h 10000"/>
                <a:gd name="connsiteX1518" fmla="*/ 4203 w 10785"/>
                <a:gd name="connsiteY1518" fmla="*/ 1094 h 10000"/>
                <a:gd name="connsiteX1519" fmla="*/ 4203 w 10785"/>
                <a:gd name="connsiteY1519" fmla="*/ 1094 h 10000"/>
                <a:gd name="connsiteX1520" fmla="*/ 4189 w 10785"/>
                <a:gd name="connsiteY1520" fmla="*/ 1094 h 10000"/>
                <a:gd name="connsiteX1521" fmla="*/ 4166 w 10785"/>
                <a:gd name="connsiteY1521" fmla="*/ 1103 h 10000"/>
                <a:gd name="connsiteX1522" fmla="*/ 4152 w 10785"/>
                <a:gd name="connsiteY1522" fmla="*/ 1094 h 10000"/>
                <a:gd name="connsiteX1523" fmla="*/ 4134 w 10785"/>
                <a:gd name="connsiteY1523" fmla="*/ 1120 h 10000"/>
                <a:gd name="connsiteX1524" fmla="*/ 4106 w 10785"/>
                <a:gd name="connsiteY1524" fmla="*/ 1120 h 10000"/>
                <a:gd name="connsiteX1525" fmla="*/ 4092 w 10785"/>
                <a:gd name="connsiteY1525" fmla="*/ 1154 h 10000"/>
                <a:gd name="connsiteX1526" fmla="*/ 4106 w 10785"/>
                <a:gd name="connsiteY1526" fmla="*/ 1171 h 10000"/>
                <a:gd name="connsiteX1527" fmla="*/ 4078 w 10785"/>
                <a:gd name="connsiteY1527" fmla="*/ 1179 h 10000"/>
                <a:gd name="connsiteX1528" fmla="*/ 4065 w 10785"/>
                <a:gd name="connsiteY1528" fmla="*/ 1205 h 10000"/>
                <a:gd name="connsiteX1529" fmla="*/ 4046 w 10785"/>
                <a:gd name="connsiteY1529" fmla="*/ 1179 h 10000"/>
                <a:gd name="connsiteX1530" fmla="*/ 4041 w 10785"/>
                <a:gd name="connsiteY1530" fmla="*/ 1197 h 10000"/>
                <a:gd name="connsiteX1531" fmla="*/ 4028 w 10785"/>
                <a:gd name="connsiteY1531" fmla="*/ 1205 h 10000"/>
                <a:gd name="connsiteX1532" fmla="*/ 4028 w 10785"/>
                <a:gd name="connsiteY1532" fmla="*/ 1205 h 10000"/>
                <a:gd name="connsiteX1533" fmla="*/ 4032 w 10785"/>
                <a:gd name="connsiteY1533" fmla="*/ 1205 h 10000"/>
                <a:gd name="connsiteX1534" fmla="*/ 4032 w 10785"/>
                <a:gd name="connsiteY1534" fmla="*/ 1231 h 10000"/>
                <a:gd name="connsiteX1535" fmla="*/ 4014 w 10785"/>
                <a:gd name="connsiteY1535" fmla="*/ 1239 h 10000"/>
                <a:gd name="connsiteX1536" fmla="*/ 4014 w 10785"/>
                <a:gd name="connsiteY1536" fmla="*/ 1256 h 10000"/>
                <a:gd name="connsiteX1537" fmla="*/ 4000 w 10785"/>
                <a:gd name="connsiteY1537" fmla="*/ 1265 h 10000"/>
                <a:gd name="connsiteX1538" fmla="*/ 3986 w 10785"/>
                <a:gd name="connsiteY1538" fmla="*/ 1308 h 10000"/>
                <a:gd name="connsiteX1539" fmla="*/ 3972 w 10785"/>
                <a:gd name="connsiteY1539" fmla="*/ 1316 h 10000"/>
                <a:gd name="connsiteX1540" fmla="*/ 3972 w 10785"/>
                <a:gd name="connsiteY1540" fmla="*/ 1325 h 10000"/>
                <a:gd name="connsiteX1541" fmla="*/ 3972 w 10785"/>
                <a:gd name="connsiteY1541" fmla="*/ 1342 h 10000"/>
                <a:gd name="connsiteX1542" fmla="*/ 3968 w 10785"/>
                <a:gd name="connsiteY1542" fmla="*/ 1350 h 10000"/>
                <a:gd name="connsiteX1543" fmla="*/ 3954 w 10785"/>
                <a:gd name="connsiteY1543" fmla="*/ 1368 h 10000"/>
                <a:gd name="connsiteX1544" fmla="*/ 3945 w 10785"/>
                <a:gd name="connsiteY1544" fmla="*/ 1350 h 10000"/>
                <a:gd name="connsiteX1545" fmla="*/ 3908 w 10785"/>
                <a:gd name="connsiteY1545" fmla="*/ 1342 h 10000"/>
                <a:gd name="connsiteX1546" fmla="*/ 3894 w 10785"/>
                <a:gd name="connsiteY1546" fmla="*/ 1368 h 10000"/>
                <a:gd name="connsiteX1547" fmla="*/ 3922 w 10785"/>
                <a:gd name="connsiteY1547" fmla="*/ 1393 h 10000"/>
                <a:gd name="connsiteX1548" fmla="*/ 3945 w 10785"/>
                <a:gd name="connsiteY1548" fmla="*/ 1393 h 10000"/>
                <a:gd name="connsiteX1549" fmla="*/ 3940 w 10785"/>
                <a:gd name="connsiteY1549" fmla="*/ 1419 h 10000"/>
                <a:gd name="connsiteX1550" fmla="*/ 3931 w 10785"/>
                <a:gd name="connsiteY1550" fmla="*/ 1427 h 10000"/>
                <a:gd name="connsiteX1551" fmla="*/ 3926 w 10785"/>
                <a:gd name="connsiteY1551" fmla="*/ 1427 h 10000"/>
                <a:gd name="connsiteX1552" fmla="*/ 3922 w 10785"/>
                <a:gd name="connsiteY1552" fmla="*/ 1419 h 10000"/>
                <a:gd name="connsiteX1553" fmla="*/ 3912 w 10785"/>
                <a:gd name="connsiteY1553" fmla="*/ 1427 h 10000"/>
                <a:gd name="connsiteX1554" fmla="*/ 3912 w 10785"/>
                <a:gd name="connsiteY1554" fmla="*/ 1444 h 10000"/>
                <a:gd name="connsiteX1555" fmla="*/ 3894 w 10785"/>
                <a:gd name="connsiteY1555" fmla="*/ 1513 h 10000"/>
                <a:gd name="connsiteX1556" fmla="*/ 3885 w 10785"/>
                <a:gd name="connsiteY1556" fmla="*/ 1513 h 10000"/>
                <a:gd name="connsiteX1557" fmla="*/ 3880 w 10785"/>
                <a:gd name="connsiteY1557" fmla="*/ 1538 h 10000"/>
                <a:gd name="connsiteX1558" fmla="*/ 3885 w 10785"/>
                <a:gd name="connsiteY1558" fmla="*/ 1564 h 10000"/>
                <a:gd name="connsiteX1559" fmla="*/ 3880 w 10785"/>
                <a:gd name="connsiteY1559" fmla="*/ 1581 h 10000"/>
                <a:gd name="connsiteX1560" fmla="*/ 3871 w 10785"/>
                <a:gd name="connsiteY1560" fmla="*/ 1538 h 10000"/>
                <a:gd name="connsiteX1561" fmla="*/ 3853 w 10785"/>
                <a:gd name="connsiteY1561" fmla="*/ 1530 h 10000"/>
                <a:gd name="connsiteX1562" fmla="*/ 3853 w 10785"/>
                <a:gd name="connsiteY1562" fmla="*/ 1504 h 10000"/>
                <a:gd name="connsiteX1563" fmla="*/ 3834 w 10785"/>
                <a:gd name="connsiteY1563" fmla="*/ 1487 h 10000"/>
                <a:gd name="connsiteX1564" fmla="*/ 3834 w 10785"/>
                <a:gd name="connsiteY1564" fmla="*/ 1487 h 10000"/>
                <a:gd name="connsiteX1565" fmla="*/ 3839 w 10785"/>
                <a:gd name="connsiteY1565" fmla="*/ 1513 h 10000"/>
                <a:gd name="connsiteX1566" fmla="*/ 3820 w 10785"/>
                <a:gd name="connsiteY1566" fmla="*/ 1538 h 10000"/>
                <a:gd name="connsiteX1567" fmla="*/ 3820 w 10785"/>
                <a:gd name="connsiteY1567" fmla="*/ 1556 h 10000"/>
                <a:gd name="connsiteX1568" fmla="*/ 3820 w 10785"/>
                <a:gd name="connsiteY1568" fmla="*/ 1564 h 10000"/>
                <a:gd name="connsiteX1569" fmla="*/ 3820 w 10785"/>
                <a:gd name="connsiteY1569" fmla="*/ 1581 h 10000"/>
                <a:gd name="connsiteX1570" fmla="*/ 3853 w 10785"/>
                <a:gd name="connsiteY1570" fmla="*/ 1581 h 10000"/>
                <a:gd name="connsiteX1571" fmla="*/ 3857 w 10785"/>
                <a:gd name="connsiteY1571" fmla="*/ 1598 h 10000"/>
                <a:gd name="connsiteX1572" fmla="*/ 3880 w 10785"/>
                <a:gd name="connsiteY1572" fmla="*/ 1615 h 10000"/>
                <a:gd name="connsiteX1573" fmla="*/ 3871 w 10785"/>
                <a:gd name="connsiteY1573" fmla="*/ 1615 h 10000"/>
                <a:gd name="connsiteX1574" fmla="*/ 3871 w 10785"/>
                <a:gd name="connsiteY1574" fmla="*/ 1641 h 10000"/>
                <a:gd name="connsiteX1575" fmla="*/ 3880 w 10785"/>
                <a:gd name="connsiteY1575" fmla="*/ 1641 h 10000"/>
                <a:gd name="connsiteX1576" fmla="*/ 3871 w 10785"/>
                <a:gd name="connsiteY1576" fmla="*/ 1650 h 10000"/>
                <a:gd name="connsiteX1577" fmla="*/ 3857 w 10785"/>
                <a:gd name="connsiteY1577" fmla="*/ 1650 h 10000"/>
                <a:gd name="connsiteX1578" fmla="*/ 3853 w 10785"/>
                <a:gd name="connsiteY1578" fmla="*/ 1650 h 10000"/>
                <a:gd name="connsiteX1579" fmla="*/ 3839 w 10785"/>
                <a:gd name="connsiteY1579" fmla="*/ 1667 h 10000"/>
                <a:gd name="connsiteX1580" fmla="*/ 3848 w 10785"/>
                <a:gd name="connsiteY1580" fmla="*/ 1692 h 10000"/>
                <a:gd name="connsiteX1581" fmla="*/ 3834 w 10785"/>
                <a:gd name="connsiteY1581" fmla="*/ 1692 h 10000"/>
                <a:gd name="connsiteX1582" fmla="*/ 3825 w 10785"/>
                <a:gd name="connsiteY1582" fmla="*/ 1692 h 10000"/>
                <a:gd name="connsiteX1583" fmla="*/ 3825 w 10785"/>
                <a:gd name="connsiteY1583" fmla="*/ 1718 h 10000"/>
                <a:gd name="connsiteX1584" fmla="*/ 3839 w 10785"/>
                <a:gd name="connsiteY1584" fmla="*/ 1726 h 10000"/>
                <a:gd name="connsiteX1585" fmla="*/ 3880 w 10785"/>
                <a:gd name="connsiteY1585" fmla="*/ 1752 h 10000"/>
                <a:gd name="connsiteX1586" fmla="*/ 3894 w 10785"/>
                <a:gd name="connsiteY1586" fmla="*/ 1829 h 10000"/>
                <a:gd name="connsiteX1587" fmla="*/ 3899 w 10785"/>
                <a:gd name="connsiteY1587" fmla="*/ 1838 h 10000"/>
                <a:gd name="connsiteX1588" fmla="*/ 3894 w 10785"/>
                <a:gd name="connsiteY1588" fmla="*/ 1855 h 10000"/>
                <a:gd name="connsiteX1589" fmla="*/ 3880 w 10785"/>
                <a:gd name="connsiteY1589" fmla="*/ 1838 h 10000"/>
                <a:gd name="connsiteX1590" fmla="*/ 3880 w 10785"/>
                <a:gd name="connsiteY1590" fmla="*/ 1855 h 10000"/>
                <a:gd name="connsiteX1591" fmla="*/ 3880 w 10785"/>
                <a:gd name="connsiteY1591" fmla="*/ 1863 h 10000"/>
                <a:gd name="connsiteX1592" fmla="*/ 3871 w 10785"/>
                <a:gd name="connsiteY1592" fmla="*/ 1872 h 10000"/>
                <a:gd name="connsiteX1593" fmla="*/ 3880 w 10785"/>
                <a:gd name="connsiteY1593" fmla="*/ 1889 h 10000"/>
                <a:gd name="connsiteX1594" fmla="*/ 3885 w 10785"/>
                <a:gd name="connsiteY1594" fmla="*/ 1889 h 10000"/>
                <a:gd name="connsiteX1595" fmla="*/ 3880 w 10785"/>
                <a:gd name="connsiteY1595" fmla="*/ 1897 h 10000"/>
                <a:gd name="connsiteX1596" fmla="*/ 3871 w 10785"/>
                <a:gd name="connsiteY1596" fmla="*/ 1915 h 10000"/>
                <a:gd name="connsiteX1597" fmla="*/ 3848 w 10785"/>
                <a:gd name="connsiteY1597" fmla="*/ 1923 h 10000"/>
                <a:gd name="connsiteX1598" fmla="*/ 3825 w 10785"/>
                <a:gd name="connsiteY1598" fmla="*/ 1940 h 10000"/>
                <a:gd name="connsiteX1599" fmla="*/ 3811 w 10785"/>
                <a:gd name="connsiteY1599" fmla="*/ 1940 h 10000"/>
                <a:gd name="connsiteX1600" fmla="*/ 3806 w 10785"/>
                <a:gd name="connsiteY1600" fmla="*/ 1949 h 10000"/>
                <a:gd name="connsiteX1601" fmla="*/ 3797 w 10785"/>
                <a:gd name="connsiteY1601" fmla="*/ 1966 h 10000"/>
                <a:gd name="connsiteX1602" fmla="*/ 3788 w 10785"/>
                <a:gd name="connsiteY1602" fmla="*/ 1991 h 10000"/>
                <a:gd name="connsiteX1603" fmla="*/ 3765 w 10785"/>
                <a:gd name="connsiteY1603" fmla="*/ 1974 h 10000"/>
                <a:gd name="connsiteX1604" fmla="*/ 3760 w 10785"/>
                <a:gd name="connsiteY1604" fmla="*/ 1966 h 10000"/>
                <a:gd name="connsiteX1605" fmla="*/ 3760 w 10785"/>
                <a:gd name="connsiteY1605" fmla="*/ 1966 h 10000"/>
                <a:gd name="connsiteX1606" fmla="*/ 3631 w 10785"/>
                <a:gd name="connsiteY1606" fmla="*/ 2009 h 10000"/>
                <a:gd name="connsiteX1607" fmla="*/ 3618 w 10785"/>
                <a:gd name="connsiteY1607" fmla="*/ 2000 h 10000"/>
                <a:gd name="connsiteX1608" fmla="*/ 3599 w 10785"/>
                <a:gd name="connsiteY1608" fmla="*/ 2009 h 10000"/>
                <a:gd name="connsiteX1609" fmla="*/ 3571 w 10785"/>
                <a:gd name="connsiteY1609" fmla="*/ 2000 h 10000"/>
                <a:gd name="connsiteX1610" fmla="*/ 3530 w 10785"/>
                <a:gd name="connsiteY1610" fmla="*/ 2026 h 10000"/>
                <a:gd name="connsiteX1611" fmla="*/ 3530 w 10785"/>
                <a:gd name="connsiteY1611" fmla="*/ 2034 h 10000"/>
                <a:gd name="connsiteX1612" fmla="*/ 3525 w 10785"/>
                <a:gd name="connsiteY1612" fmla="*/ 2051 h 10000"/>
                <a:gd name="connsiteX1613" fmla="*/ 3512 w 10785"/>
                <a:gd name="connsiteY1613" fmla="*/ 2034 h 10000"/>
                <a:gd name="connsiteX1614" fmla="*/ 3507 w 10785"/>
                <a:gd name="connsiteY1614" fmla="*/ 2034 h 10000"/>
                <a:gd name="connsiteX1615" fmla="*/ 3498 w 10785"/>
                <a:gd name="connsiteY1615" fmla="*/ 2051 h 10000"/>
                <a:gd name="connsiteX1616" fmla="*/ 3484 w 10785"/>
                <a:gd name="connsiteY1616" fmla="*/ 2060 h 10000"/>
                <a:gd name="connsiteX1617" fmla="*/ 3484 w 10785"/>
                <a:gd name="connsiteY1617" fmla="*/ 2085 h 10000"/>
                <a:gd name="connsiteX1618" fmla="*/ 3484 w 10785"/>
                <a:gd name="connsiteY1618" fmla="*/ 2103 h 10000"/>
                <a:gd name="connsiteX1619" fmla="*/ 3493 w 10785"/>
                <a:gd name="connsiteY1619" fmla="*/ 2103 h 10000"/>
                <a:gd name="connsiteX1620" fmla="*/ 3493 w 10785"/>
                <a:gd name="connsiteY1620" fmla="*/ 2085 h 10000"/>
                <a:gd name="connsiteX1621" fmla="*/ 3498 w 10785"/>
                <a:gd name="connsiteY1621" fmla="*/ 2085 h 10000"/>
                <a:gd name="connsiteX1622" fmla="*/ 3498 w 10785"/>
                <a:gd name="connsiteY1622" fmla="*/ 2111 h 10000"/>
                <a:gd name="connsiteX1623" fmla="*/ 3484 w 10785"/>
                <a:gd name="connsiteY1623" fmla="*/ 2120 h 10000"/>
                <a:gd name="connsiteX1624" fmla="*/ 3484 w 10785"/>
                <a:gd name="connsiteY1624" fmla="*/ 2145 h 10000"/>
                <a:gd name="connsiteX1625" fmla="*/ 3470 w 10785"/>
                <a:gd name="connsiteY1625" fmla="*/ 2137 h 10000"/>
                <a:gd name="connsiteX1626" fmla="*/ 3465 w 10785"/>
                <a:gd name="connsiteY1626" fmla="*/ 2145 h 10000"/>
                <a:gd name="connsiteX1627" fmla="*/ 3470 w 10785"/>
                <a:gd name="connsiteY1627" fmla="*/ 2171 h 10000"/>
                <a:gd name="connsiteX1628" fmla="*/ 3484 w 10785"/>
                <a:gd name="connsiteY1628" fmla="*/ 2171 h 10000"/>
                <a:gd name="connsiteX1629" fmla="*/ 3484 w 10785"/>
                <a:gd name="connsiteY1629" fmla="*/ 2197 h 10000"/>
                <a:gd name="connsiteX1630" fmla="*/ 3465 w 10785"/>
                <a:gd name="connsiteY1630" fmla="*/ 2214 h 10000"/>
                <a:gd name="connsiteX1631" fmla="*/ 3493 w 10785"/>
                <a:gd name="connsiteY1631" fmla="*/ 2248 h 10000"/>
                <a:gd name="connsiteX1632" fmla="*/ 3484 w 10785"/>
                <a:gd name="connsiteY1632" fmla="*/ 2256 h 10000"/>
                <a:gd name="connsiteX1633" fmla="*/ 3498 w 10785"/>
                <a:gd name="connsiteY1633" fmla="*/ 2274 h 10000"/>
                <a:gd name="connsiteX1634" fmla="*/ 3498 w 10785"/>
                <a:gd name="connsiteY1634" fmla="*/ 2256 h 10000"/>
                <a:gd name="connsiteX1635" fmla="*/ 3507 w 10785"/>
                <a:gd name="connsiteY1635" fmla="*/ 2308 h 10000"/>
                <a:gd name="connsiteX1636" fmla="*/ 3512 w 10785"/>
                <a:gd name="connsiteY1636" fmla="*/ 2325 h 10000"/>
                <a:gd name="connsiteX1637" fmla="*/ 3507 w 10785"/>
                <a:gd name="connsiteY1637" fmla="*/ 2333 h 10000"/>
                <a:gd name="connsiteX1638" fmla="*/ 3507 w 10785"/>
                <a:gd name="connsiteY1638" fmla="*/ 2359 h 10000"/>
                <a:gd name="connsiteX1639" fmla="*/ 3507 w 10785"/>
                <a:gd name="connsiteY1639" fmla="*/ 2376 h 10000"/>
                <a:gd name="connsiteX1640" fmla="*/ 3498 w 10785"/>
                <a:gd name="connsiteY1640" fmla="*/ 2410 h 10000"/>
                <a:gd name="connsiteX1641" fmla="*/ 3498 w 10785"/>
                <a:gd name="connsiteY1641" fmla="*/ 2436 h 10000"/>
                <a:gd name="connsiteX1642" fmla="*/ 3507 w 10785"/>
                <a:gd name="connsiteY1642" fmla="*/ 2462 h 10000"/>
                <a:gd name="connsiteX1643" fmla="*/ 3507 w 10785"/>
                <a:gd name="connsiteY1643" fmla="*/ 2496 h 10000"/>
                <a:gd name="connsiteX1644" fmla="*/ 3512 w 10785"/>
                <a:gd name="connsiteY1644" fmla="*/ 2521 h 10000"/>
                <a:gd name="connsiteX1645" fmla="*/ 3525 w 10785"/>
                <a:gd name="connsiteY1645" fmla="*/ 2556 h 10000"/>
                <a:gd name="connsiteX1646" fmla="*/ 3571 w 10785"/>
                <a:gd name="connsiteY1646" fmla="*/ 2573 h 10000"/>
                <a:gd name="connsiteX1647" fmla="*/ 3590 w 10785"/>
                <a:gd name="connsiteY1647" fmla="*/ 2598 h 10000"/>
                <a:gd name="connsiteX1648" fmla="*/ 3599 w 10785"/>
                <a:gd name="connsiteY1648" fmla="*/ 2598 h 10000"/>
                <a:gd name="connsiteX1649" fmla="*/ 3604 w 10785"/>
                <a:gd name="connsiteY1649" fmla="*/ 2632 h 10000"/>
                <a:gd name="connsiteX1650" fmla="*/ 3599 w 10785"/>
                <a:gd name="connsiteY1650" fmla="*/ 2658 h 10000"/>
                <a:gd name="connsiteX1651" fmla="*/ 3590 w 10785"/>
                <a:gd name="connsiteY1651" fmla="*/ 2667 h 10000"/>
                <a:gd name="connsiteX1652" fmla="*/ 3604 w 10785"/>
                <a:gd name="connsiteY1652" fmla="*/ 2667 h 10000"/>
                <a:gd name="connsiteX1653" fmla="*/ 3613 w 10785"/>
                <a:gd name="connsiteY1653" fmla="*/ 2692 h 10000"/>
                <a:gd name="connsiteX1654" fmla="*/ 3627 w 10785"/>
                <a:gd name="connsiteY1654" fmla="*/ 2735 h 10000"/>
                <a:gd name="connsiteX1655" fmla="*/ 3631 w 10785"/>
                <a:gd name="connsiteY1655" fmla="*/ 2744 h 10000"/>
                <a:gd name="connsiteX1656" fmla="*/ 3659 w 10785"/>
                <a:gd name="connsiteY1656" fmla="*/ 2761 h 10000"/>
                <a:gd name="connsiteX1657" fmla="*/ 3673 w 10785"/>
                <a:gd name="connsiteY1657" fmla="*/ 2769 h 10000"/>
                <a:gd name="connsiteX1658" fmla="*/ 3673 w 10785"/>
                <a:gd name="connsiteY1658" fmla="*/ 2761 h 10000"/>
                <a:gd name="connsiteX1659" fmla="*/ 3687 w 10785"/>
                <a:gd name="connsiteY1659" fmla="*/ 2829 h 10000"/>
                <a:gd name="connsiteX1660" fmla="*/ 3677 w 10785"/>
                <a:gd name="connsiteY1660" fmla="*/ 2897 h 10000"/>
                <a:gd name="connsiteX1661" fmla="*/ 3673 w 10785"/>
                <a:gd name="connsiteY1661" fmla="*/ 2915 h 10000"/>
                <a:gd name="connsiteX1662" fmla="*/ 3664 w 10785"/>
                <a:gd name="connsiteY1662" fmla="*/ 2957 h 10000"/>
                <a:gd name="connsiteX1663" fmla="*/ 3659 w 10785"/>
                <a:gd name="connsiteY1663" fmla="*/ 2983 h 10000"/>
                <a:gd name="connsiteX1664" fmla="*/ 3664 w 10785"/>
                <a:gd name="connsiteY1664" fmla="*/ 3017 h 10000"/>
                <a:gd name="connsiteX1665" fmla="*/ 3659 w 10785"/>
                <a:gd name="connsiteY1665" fmla="*/ 3043 h 10000"/>
                <a:gd name="connsiteX1666" fmla="*/ 3677 w 10785"/>
                <a:gd name="connsiteY1666" fmla="*/ 3094 h 10000"/>
                <a:gd name="connsiteX1667" fmla="*/ 3691 w 10785"/>
                <a:gd name="connsiteY1667" fmla="*/ 3282 h 10000"/>
                <a:gd name="connsiteX1668" fmla="*/ 3691 w 10785"/>
                <a:gd name="connsiteY1668" fmla="*/ 3308 h 10000"/>
                <a:gd name="connsiteX1669" fmla="*/ 3677 w 10785"/>
                <a:gd name="connsiteY1669" fmla="*/ 3342 h 10000"/>
                <a:gd name="connsiteX1670" fmla="*/ 3664 w 10785"/>
                <a:gd name="connsiteY1670" fmla="*/ 3342 h 10000"/>
                <a:gd name="connsiteX1671" fmla="*/ 3650 w 10785"/>
                <a:gd name="connsiteY1671" fmla="*/ 3342 h 10000"/>
                <a:gd name="connsiteX1672" fmla="*/ 3650 w 10785"/>
                <a:gd name="connsiteY1672" fmla="*/ 3350 h 10000"/>
                <a:gd name="connsiteX1673" fmla="*/ 3659 w 10785"/>
                <a:gd name="connsiteY1673" fmla="*/ 3402 h 10000"/>
                <a:gd name="connsiteX1674" fmla="*/ 3659 w 10785"/>
                <a:gd name="connsiteY1674" fmla="*/ 3419 h 10000"/>
                <a:gd name="connsiteX1675" fmla="*/ 3631 w 10785"/>
                <a:gd name="connsiteY1675" fmla="*/ 3402 h 10000"/>
                <a:gd name="connsiteX1676" fmla="*/ 3604 w 10785"/>
                <a:gd name="connsiteY1676" fmla="*/ 3393 h 10000"/>
                <a:gd name="connsiteX1677" fmla="*/ 3599 w 10785"/>
                <a:gd name="connsiteY1677" fmla="*/ 3368 h 10000"/>
                <a:gd name="connsiteX1678" fmla="*/ 3590 w 10785"/>
                <a:gd name="connsiteY1678" fmla="*/ 3239 h 10000"/>
                <a:gd name="connsiteX1679" fmla="*/ 3599 w 10785"/>
                <a:gd name="connsiteY1679" fmla="*/ 3179 h 10000"/>
                <a:gd name="connsiteX1680" fmla="*/ 3599 w 10785"/>
                <a:gd name="connsiteY1680" fmla="*/ 3171 h 10000"/>
                <a:gd name="connsiteX1681" fmla="*/ 3599 w 10785"/>
                <a:gd name="connsiteY1681" fmla="*/ 3009 h 10000"/>
                <a:gd name="connsiteX1682" fmla="*/ 3604 w 10785"/>
                <a:gd name="connsiteY1682" fmla="*/ 2983 h 10000"/>
                <a:gd name="connsiteX1683" fmla="*/ 3645 w 10785"/>
                <a:gd name="connsiteY1683" fmla="*/ 2932 h 10000"/>
                <a:gd name="connsiteX1684" fmla="*/ 3650 w 10785"/>
                <a:gd name="connsiteY1684" fmla="*/ 2872 h 10000"/>
                <a:gd name="connsiteX1685" fmla="*/ 3659 w 10785"/>
                <a:gd name="connsiteY1685" fmla="*/ 2855 h 10000"/>
                <a:gd name="connsiteX1686" fmla="*/ 3659 w 10785"/>
                <a:gd name="connsiteY1686" fmla="*/ 2821 h 10000"/>
                <a:gd name="connsiteX1687" fmla="*/ 3631 w 10785"/>
                <a:gd name="connsiteY1687" fmla="*/ 2795 h 10000"/>
                <a:gd name="connsiteX1688" fmla="*/ 3567 w 10785"/>
                <a:gd name="connsiteY1688" fmla="*/ 2821 h 10000"/>
                <a:gd name="connsiteX1689" fmla="*/ 3544 w 10785"/>
                <a:gd name="connsiteY1689" fmla="*/ 2795 h 10000"/>
                <a:gd name="connsiteX1690" fmla="*/ 3530 w 10785"/>
                <a:gd name="connsiteY1690" fmla="*/ 2769 h 10000"/>
                <a:gd name="connsiteX1691" fmla="*/ 3530 w 10785"/>
                <a:gd name="connsiteY1691" fmla="*/ 2786 h 10000"/>
                <a:gd name="connsiteX1692" fmla="*/ 3498 w 10785"/>
                <a:gd name="connsiteY1692" fmla="*/ 2692 h 10000"/>
                <a:gd name="connsiteX1693" fmla="*/ 3498 w 10785"/>
                <a:gd name="connsiteY1693" fmla="*/ 2667 h 10000"/>
                <a:gd name="connsiteX1694" fmla="*/ 3442 w 10785"/>
                <a:gd name="connsiteY1694" fmla="*/ 2607 h 10000"/>
                <a:gd name="connsiteX1695" fmla="*/ 3433 w 10785"/>
                <a:gd name="connsiteY1695" fmla="*/ 2581 h 10000"/>
                <a:gd name="connsiteX1696" fmla="*/ 3396 w 10785"/>
                <a:gd name="connsiteY1696" fmla="*/ 2556 h 10000"/>
                <a:gd name="connsiteX1697" fmla="*/ 3318 w 10785"/>
                <a:gd name="connsiteY1697" fmla="*/ 2556 h 10000"/>
                <a:gd name="connsiteX1698" fmla="*/ 3304 w 10785"/>
                <a:gd name="connsiteY1698" fmla="*/ 2607 h 10000"/>
                <a:gd name="connsiteX1699" fmla="*/ 3276 w 10785"/>
                <a:gd name="connsiteY1699" fmla="*/ 2632 h 10000"/>
                <a:gd name="connsiteX1700" fmla="*/ 3272 w 10785"/>
                <a:gd name="connsiteY1700" fmla="*/ 2667 h 10000"/>
                <a:gd name="connsiteX1701" fmla="*/ 3304 w 10785"/>
                <a:gd name="connsiteY1701" fmla="*/ 2667 h 10000"/>
                <a:gd name="connsiteX1702" fmla="*/ 3323 w 10785"/>
                <a:gd name="connsiteY1702" fmla="*/ 2692 h 10000"/>
                <a:gd name="connsiteX1703" fmla="*/ 3318 w 10785"/>
                <a:gd name="connsiteY1703" fmla="*/ 2735 h 10000"/>
                <a:gd name="connsiteX1704" fmla="*/ 3304 w 10785"/>
                <a:gd name="connsiteY1704" fmla="*/ 2761 h 10000"/>
                <a:gd name="connsiteX1705" fmla="*/ 3276 w 10785"/>
                <a:gd name="connsiteY1705" fmla="*/ 2769 h 10000"/>
                <a:gd name="connsiteX1706" fmla="*/ 3263 w 10785"/>
                <a:gd name="connsiteY1706" fmla="*/ 2795 h 10000"/>
                <a:gd name="connsiteX1707" fmla="*/ 3235 w 10785"/>
                <a:gd name="connsiteY1707" fmla="*/ 2803 h 10000"/>
                <a:gd name="connsiteX1708" fmla="*/ 3235 w 10785"/>
                <a:gd name="connsiteY1708" fmla="*/ 2786 h 10000"/>
                <a:gd name="connsiteX1709" fmla="*/ 3212 w 10785"/>
                <a:gd name="connsiteY1709" fmla="*/ 2709 h 10000"/>
                <a:gd name="connsiteX1710" fmla="*/ 3198 w 10785"/>
                <a:gd name="connsiteY1710" fmla="*/ 2709 h 10000"/>
                <a:gd name="connsiteX1711" fmla="*/ 3184 w 10785"/>
                <a:gd name="connsiteY1711" fmla="*/ 2735 h 10000"/>
                <a:gd name="connsiteX1712" fmla="*/ 3189 w 10785"/>
                <a:gd name="connsiteY1712" fmla="*/ 2761 h 10000"/>
                <a:gd name="connsiteX1713" fmla="*/ 3203 w 10785"/>
                <a:gd name="connsiteY1713" fmla="*/ 2855 h 10000"/>
                <a:gd name="connsiteX1714" fmla="*/ 3212 w 10785"/>
                <a:gd name="connsiteY1714" fmla="*/ 2872 h 10000"/>
                <a:gd name="connsiteX1715" fmla="*/ 3235 w 10785"/>
                <a:gd name="connsiteY1715" fmla="*/ 2906 h 10000"/>
                <a:gd name="connsiteX1716" fmla="*/ 3258 w 10785"/>
                <a:gd name="connsiteY1716" fmla="*/ 2915 h 10000"/>
                <a:gd name="connsiteX1717" fmla="*/ 3272 w 10785"/>
                <a:gd name="connsiteY1717" fmla="*/ 2957 h 10000"/>
                <a:gd name="connsiteX1718" fmla="*/ 3276 w 10785"/>
                <a:gd name="connsiteY1718" fmla="*/ 2957 h 10000"/>
                <a:gd name="connsiteX1719" fmla="*/ 3286 w 10785"/>
                <a:gd name="connsiteY1719" fmla="*/ 2966 h 10000"/>
                <a:gd name="connsiteX1720" fmla="*/ 3300 w 10785"/>
                <a:gd name="connsiteY1720" fmla="*/ 2957 h 10000"/>
                <a:gd name="connsiteX1721" fmla="*/ 3309 w 10785"/>
                <a:gd name="connsiteY1721" fmla="*/ 2932 h 10000"/>
                <a:gd name="connsiteX1722" fmla="*/ 3304 w 10785"/>
                <a:gd name="connsiteY1722" fmla="*/ 2966 h 10000"/>
                <a:gd name="connsiteX1723" fmla="*/ 3309 w 10785"/>
                <a:gd name="connsiteY1723" fmla="*/ 2983 h 10000"/>
                <a:gd name="connsiteX1724" fmla="*/ 3323 w 10785"/>
                <a:gd name="connsiteY1724" fmla="*/ 2966 h 10000"/>
                <a:gd name="connsiteX1725" fmla="*/ 3323 w 10785"/>
                <a:gd name="connsiteY1725" fmla="*/ 3043 h 10000"/>
                <a:gd name="connsiteX1726" fmla="*/ 3346 w 10785"/>
                <a:gd name="connsiteY1726" fmla="*/ 3068 h 10000"/>
                <a:gd name="connsiteX1727" fmla="*/ 3346 w 10785"/>
                <a:gd name="connsiteY1727" fmla="*/ 3094 h 10000"/>
                <a:gd name="connsiteX1728" fmla="*/ 3323 w 10785"/>
                <a:gd name="connsiteY1728" fmla="*/ 3094 h 10000"/>
                <a:gd name="connsiteX1729" fmla="*/ 3309 w 10785"/>
                <a:gd name="connsiteY1729" fmla="*/ 3077 h 10000"/>
                <a:gd name="connsiteX1730" fmla="*/ 3304 w 10785"/>
                <a:gd name="connsiteY1730" fmla="*/ 3051 h 10000"/>
                <a:gd name="connsiteX1731" fmla="*/ 3300 w 10785"/>
                <a:gd name="connsiteY1731" fmla="*/ 3043 h 10000"/>
                <a:gd name="connsiteX1732" fmla="*/ 3286 w 10785"/>
                <a:gd name="connsiteY1732" fmla="*/ 3017 h 10000"/>
                <a:gd name="connsiteX1733" fmla="*/ 3152 w 10785"/>
                <a:gd name="connsiteY1733" fmla="*/ 2966 h 10000"/>
                <a:gd name="connsiteX1734" fmla="*/ 3129 w 10785"/>
                <a:gd name="connsiteY1734" fmla="*/ 2915 h 10000"/>
                <a:gd name="connsiteX1735" fmla="*/ 3129 w 10785"/>
                <a:gd name="connsiteY1735" fmla="*/ 2906 h 10000"/>
                <a:gd name="connsiteX1736" fmla="*/ 3152 w 10785"/>
                <a:gd name="connsiteY1736" fmla="*/ 2906 h 10000"/>
                <a:gd name="connsiteX1737" fmla="*/ 3152 w 10785"/>
                <a:gd name="connsiteY1737" fmla="*/ 2846 h 10000"/>
                <a:gd name="connsiteX1738" fmla="*/ 3138 w 10785"/>
                <a:gd name="connsiteY1738" fmla="*/ 2795 h 10000"/>
                <a:gd name="connsiteX1739" fmla="*/ 3138 w 10785"/>
                <a:gd name="connsiteY1739" fmla="*/ 2769 h 10000"/>
                <a:gd name="connsiteX1740" fmla="*/ 3143 w 10785"/>
                <a:gd name="connsiteY1740" fmla="*/ 2718 h 10000"/>
                <a:gd name="connsiteX1741" fmla="*/ 3129 w 10785"/>
                <a:gd name="connsiteY1741" fmla="*/ 2692 h 10000"/>
                <a:gd name="connsiteX1742" fmla="*/ 3143 w 10785"/>
                <a:gd name="connsiteY1742" fmla="*/ 2667 h 10000"/>
                <a:gd name="connsiteX1743" fmla="*/ 3157 w 10785"/>
                <a:gd name="connsiteY1743" fmla="*/ 2581 h 10000"/>
                <a:gd name="connsiteX1744" fmla="*/ 3143 w 10785"/>
                <a:gd name="connsiteY1744" fmla="*/ 2496 h 10000"/>
                <a:gd name="connsiteX1745" fmla="*/ 3157 w 10785"/>
                <a:gd name="connsiteY1745" fmla="*/ 2487 h 10000"/>
                <a:gd name="connsiteX1746" fmla="*/ 3143 w 10785"/>
                <a:gd name="connsiteY1746" fmla="*/ 2444 h 10000"/>
                <a:gd name="connsiteX1747" fmla="*/ 3143 w 10785"/>
                <a:gd name="connsiteY1747" fmla="*/ 2419 h 10000"/>
                <a:gd name="connsiteX1748" fmla="*/ 3143 w 10785"/>
                <a:gd name="connsiteY1748" fmla="*/ 2410 h 10000"/>
                <a:gd name="connsiteX1749" fmla="*/ 3124 w 10785"/>
                <a:gd name="connsiteY1749" fmla="*/ 2376 h 10000"/>
                <a:gd name="connsiteX1750" fmla="*/ 3115 w 10785"/>
                <a:gd name="connsiteY1750" fmla="*/ 2350 h 10000"/>
                <a:gd name="connsiteX1751" fmla="*/ 3101 w 10785"/>
                <a:gd name="connsiteY1751" fmla="*/ 2359 h 10000"/>
                <a:gd name="connsiteX1752" fmla="*/ 3115 w 10785"/>
                <a:gd name="connsiteY1752" fmla="*/ 2581 h 10000"/>
                <a:gd name="connsiteX1753" fmla="*/ 3111 w 10785"/>
                <a:gd name="connsiteY1753" fmla="*/ 2624 h 10000"/>
                <a:gd name="connsiteX1754" fmla="*/ 3009 w 10785"/>
                <a:gd name="connsiteY1754" fmla="*/ 2761 h 10000"/>
                <a:gd name="connsiteX1755" fmla="*/ 3009 w 10785"/>
                <a:gd name="connsiteY1755" fmla="*/ 2803 h 10000"/>
                <a:gd name="connsiteX1756" fmla="*/ 3005 w 10785"/>
                <a:gd name="connsiteY1756" fmla="*/ 2829 h 10000"/>
                <a:gd name="connsiteX1757" fmla="*/ 2982 w 10785"/>
                <a:gd name="connsiteY1757" fmla="*/ 2872 h 10000"/>
                <a:gd name="connsiteX1758" fmla="*/ 2982 w 10785"/>
                <a:gd name="connsiteY1758" fmla="*/ 2880 h 10000"/>
                <a:gd name="connsiteX1759" fmla="*/ 3037 w 10785"/>
                <a:gd name="connsiteY1759" fmla="*/ 3034 h 10000"/>
                <a:gd name="connsiteX1760" fmla="*/ 3041 w 10785"/>
                <a:gd name="connsiteY1760" fmla="*/ 3103 h 10000"/>
                <a:gd name="connsiteX1761" fmla="*/ 3069 w 10785"/>
                <a:gd name="connsiteY1761" fmla="*/ 3188 h 10000"/>
                <a:gd name="connsiteX1762" fmla="*/ 3055 w 10785"/>
                <a:gd name="connsiteY1762" fmla="*/ 3325 h 10000"/>
                <a:gd name="connsiteX1763" fmla="*/ 3037 w 10785"/>
                <a:gd name="connsiteY1763" fmla="*/ 3368 h 10000"/>
                <a:gd name="connsiteX1764" fmla="*/ 3037 w 10785"/>
                <a:gd name="connsiteY1764" fmla="*/ 3444 h 10000"/>
                <a:gd name="connsiteX1765" fmla="*/ 3028 w 10785"/>
                <a:gd name="connsiteY1765" fmla="*/ 3453 h 10000"/>
                <a:gd name="connsiteX1766" fmla="*/ 3023 w 10785"/>
                <a:gd name="connsiteY1766" fmla="*/ 3530 h 10000"/>
                <a:gd name="connsiteX1767" fmla="*/ 3051 w 10785"/>
                <a:gd name="connsiteY1767" fmla="*/ 3624 h 10000"/>
                <a:gd name="connsiteX1768" fmla="*/ 3037 w 10785"/>
                <a:gd name="connsiteY1768" fmla="*/ 3718 h 10000"/>
                <a:gd name="connsiteX1769" fmla="*/ 3041 w 10785"/>
                <a:gd name="connsiteY1769" fmla="*/ 3752 h 10000"/>
                <a:gd name="connsiteX1770" fmla="*/ 3055 w 10785"/>
                <a:gd name="connsiteY1770" fmla="*/ 3761 h 10000"/>
                <a:gd name="connsiteX1771" fmla="*/ 3078 w 10785"/>
                <a:gd name="connsiteY1771" fmla="*/ 3752 h 10000"/>
                <a:gd name="connsiteX1772" fmla="*/ 3092 w 10785"/>
                <a:gd name="connsiteY1772" fmla="*/ 3752 h 10000"/>
                <a:gd name="connsiteX1773" fmla="*/ 3129 w 10785"/>
                <a:gd name="connsiteY1773" fmla="*/ 3761 h 10000"/>
                <a:gd name="connsiteX1774" fmla="*/ 3129 w 10785"/>
                <a:gd name="connsiteY1774" fmla="*/ 3735 h 10000"/>
                <a:gd name="connsiteX1775" fmla="*/ 3157 w 10785"/>
                <a:gd name="connsiteY1775" fmla="*/ 3718 h 10000"/>
                <a:gd name="connsiteX1776" fmla="*/ 3184 w 10785"/>
                <a:gd name="connsiteY1776" fmla="*/ 3718 h 10000"/>
                <a:gd name="connsiteX1777" fmla="*/ 3290 w 10785"/>
                <a:gd name="connsiteY1777" fmla="*/ 3838 h 10000"/>
                <a:gd name="connsiteX1778" fmla="*/ 3300 w 10785"/>
                <a:gd name="connsiteY1778" fmla="*/ 3846 h 10000"/>
                <a:gd name="connsiteX1779" fmla="*/ 3300 w 10785"/>
                <a:gd name="connsiteY1779" fmla="*/ 3915 h 10000"/>
                <a:gd name="connsiteX1780" fmla="*/ 3318 w 10785"/>
                <a:gd name="connsiteY1780" fmla="*/ 4000 h 10000"/>
                <a:gd name="connsiteX1781" fmla="*/ 3323 w 10785"/>
                <a:gd name="connsiteY1781" fmla="*/ 4000 h 10000"/>
                <a:gd name="connsiteX1782" fmla="*/ 3323 w 10785"/>
                <a:gd name="connsiteY1782" fmla="*/ 4034 h 10000"/>
                <a:gd name="connsiteX1783" fmla="*/ 3318 w 10785"/>
                <a:gd name="connsiteY1783" fmla="*/ 4051 h 10000"/>
                <a:gd name="connsiteX1784" fmla="*/ 3300 w 10785"/>
                <a:gd name="connsiteY1784" fmla="*/ 4051 h 10000"/>
                <a:gd name="connsiteX1785" fmla="*/ 3290 w 10785"/>
                <a:gd name="connsiteY1785" fmla="*/ 4077 h 10000"/>
                <a:gd name="connsiteX1786" fmla="*/ 3286 w 10785"/>
                <a:gd name="connsiteY1786" fmla="*/ 4103 h 10000"/>
                <a:gd name="connsiteX1787" fmla="*/ 3286 w 10785"/>
                <a:gd name="connsiteY1787" fmla="*/ 4197 h 10000"/>
                <a:gd name="connsiteX1788" fmla="*/ 3290 w 10785"/>
                <a:gd name="connsiteY1788" fmla="*/ 4214 h 10000"/>
                <a:gd name="connsiteX1789" fmla="*/ 3304 w 10785"/>
                <a:gd name="connsiteY1789" fmla="*/ 4214 h 10000"/>
                <a:gd name="connsiteX1790" fmla="*/ 3323 w 10785"/>
                <a:gd name="connsiteY1790" fmla="*/ 4239 h 10000"/>
                <a:gd name="connsiteX1791" fmla="*/ 3350 w 10785"/>
                <a:gd name="connsiteY1791" fmla="*/ 4222 h 10000"/>
                <a:gd name="connsiteX1792" fmla="*/ 3369 w 10785"/>
                <a:gd name="connsiteY1792" fmla="*/ 4256 h 10000"/>
                <a:gd name="connsiteX1793" fmla="*/ 3369 w 10785"/>
                <a:gd name="connsiteY1793" fmla="*/ 4256 h 10000"/>
                <a:gd name="connsiteX1794" fmla="*/ 3336 w 10785"/>
                <a:gd name="connsiteY1794" fmla="*/ 4274 h 10000"/>
                <a:gd name="connsiteX1795" fmla="*/ 3323 w 10785"/>
                <a:gd name="connsiteY1795" fmla="*/ 4274 h 10000"/>
                <a:gd name="connsiteX1796" fmla="*/ 3290 w 10785"/>
                <a:gd name="connsiteY1796" fmla="*/ 4274 h 10000"/>
                <a:gd name="connsiteX1797" fmla="*/ 3286 w 10785"/>
                <a:gd name="connsiteY1797" fmla="*/ 4239 h 10000"/>
                <a:gd name="connsiteX1798" fmla="*/ 3263 w 10785"/>
                <a:gd name="connsiteY1798" fmla="*/ 4214 h 10000"/>
                <a:gd name="connsiteX1799" fmla="*/ 3258 w 10785"/>
                <a:gd name="connsiteY1799" fmla="*/ 4188 h 10000"/>
                <a:gd name="connsiteX1800" fmla="*/ 3263 w 10785"/>
                <a:gd name="connsiteY1800" fmla="*/ 4171 h 10000"/>
                <a:gd name="connsiteX1801" fmla="*/ 3263 w 10785"/>
                <a:gd name="connsiteY1801" fmla="*/ 4103 h 10000"/>
                <a:gd name="connsiteX1802" fmla="*/ 3276 w 10785"/>
                <a:gd name="connsiteY1802" fmla="*/ 4060 h 10000"/>
                <a:gd name="connsiteX1803" fmla="*/ 3272 w 10785"/>
                <a:gd name="connsiteY1803" fmla="*/ 4051 h 10000"/>
                <a:gd name="connsiteX1804" fmla="*/ 3263 w 10785"/>
                <a:gd name="connsiteY1804" fmla="*/ 4051 h 10000"/>
                <a:gd name="connsiteX1805" fmla="*/ 3263 w 10785"/>
                <a:gd name="connsiteY1805" fmla="*/ 4034 h 10000"/>
                <a:gd name="connsiteX1806" fmla="*/ 3263 w 10785"/>
                <a:gd name="connsiteY1806" fmla="*/ 4000 h 10000"/>
                <a:gd name="connsiteX1807" fmla="*/ 3272 w 10785"/>
                <a:gd name="connsiteY1807" fmla="*/ 4000 h 10000"/>
                <a:gd name="connsiteX1808" fmla="*/ 3272 w 10785"/>
                <a:gd name="connsiteY1808" fmla="*/ 3974 h 10000"/>
                <a:gd name="connsiteX1809" fmla="*/ 3272 w 10785"/>
                <a:gd name="connsiteY1809" fmla="*/ 3966 h 10000"/>
                <a:gd name="connsiteX1810" fmla="*/ 3272 w 10785"/>
                <a:gd name="connsiteY1810" fmla="*/ 3949 h 10000"/>
                <a:gd name="connsiteX1811" fmla="*/ 3258 w 10785"/>
                <a:gd name="connsiteY1811" fmla="*/ 3923 h 10000"/>
                <a:gd name="connsiteX1812" fmla="*/ 3249 w 10785"/>
                <a:gd name="connsiteY1812" fmla="*/ 3915 h 10000"/>
                <a:gd name="connsiteX1813" fmla="*/ 3244 w 10785"/>
                <a:gd name="connsiteY1813" fmla="*/ 3897 h 10000"/>
                <a:gd name="connsiteX1814" fmla="*/ 3230 w 10785"/>
                <a:gd name="connsiteY1814" fmla="*/ 3889 h 10000"/>
                <a:gd name="connsiteX1815" fmla="*/ 3230 w 10785"/>
                <a:gd name="connsiteY1815" fmla="*/ 3863 h 10000"/>
                <a:gd name="connsiteX1816" fmla="*/ 3230 w 10785"/>
                <a:gd name="connsiteY1816" fmla="*/ 3838 h 10000"/>
                <a:gd name="connsiteX1817" fmla="*/ 3226 w 10785"/>
                <a:gd name="connsiteY1817" fmla="*/ 3803 h 10000"/>
                <a:gd name="connsiteX1818" fmla="*/ 3138 w 10785"/>
                <a:gd name="connsiteY1818" fmla="*/ 3838 h 10000"/>
                <a:gd name="connsiteX1819" fmla="*/ 3078 w 10785"/>
                <a:gd name="connsiteY1819" fmla="*/ 3889 h 10000"/>
                <a:gd name="connsiteX1820" fmla="*/ 3078 w 10785"/>
                <a:gd name="connsiteY1820" fmla="*/ 3940 h 10000"/>
                <a:gd name="connsiteX1821" fmla="*/ 3069 w 10785"/>
                <a:gd name="connsiteY1821" fmla="*/ 3983 h 10000"/>
                <a:gd name="connsiteX1822" fmla="*/ 3069 w 10785"/>
                <a:gd name="connsiteY1822" fmla="*/ 4009 h 10000"/>
                <a:gd name="connsiteX1823" fmla="*/ 3078 w 10785"/>
                <a:gd name="connsiteY1823" fmla="*/ 4026 h 10000"/>
                <a:gd name="connsiteX1824" fmla="*/ 3083 w 10785"/>
                <a:gd name="connsiteY1824" fmla="*/ 4034 h 10000"/>
                <a:gd name="connsiteX1825" fmla="*/ 3092 w 10785"/>
                <a:gd name="connsiteY1825" fmla="*/ 4060 h 10000"/>
                <a:gd name="connsiteX1826" fmla="*/ 3092 w 10785"/>
                <a:gd name="connsiteY1826" fmla="*/ 4077 h 10000"/>
                <a:gd name="connsiteX1827" fmla="*/ 3097 w 10785"/>
                <a:gd name="connsiteY1827" fmla="*/ 4103 h 10000"/>
                <a:gd name="connsiteX1828" fmla="*/ 3101 w 10785"/>
                <a:gd name="connsiteY1828" fmla="*/ 4162 h 10000"/>
                <a:gd name="connsiteX1829" fmla="*/ 3097 w 10785"/>
                <a:gd name="connsiteY1829" fmla="*/ 4222 h 10000"/>
                <a:gd name="connsiteX1830" fmla="*/ 3041 w 10785"/>
                <a:gd name="connsiteY1830" fmla="*/ 4325 h 10000"/>
                <a:gd name="connsiteX1831" fmla="*/ 3037 w 10785"/>
                <a:gd name="connsiteY1831" fmla="*/ 4419 h 10000"/>
                <a:gd name="connsiteX1832" fmla="*/ 3018 w 10785"/>
                <a:gd name="connsiteY1832" fmla="*/ 4470 h 10000"/>
                <a:gd name="connsiteX1833" fmla="*/ 2991 w 10785"/>
                <a:gd name="connsiteY1833" fmla="*/ 4513 h 10000"/>
                <a:gd name="connsiteX1834" fmla="*/ 2977 w 10785"/>
                <a:gd name="connsiteY1834" fmla="*/ 4530 h 10000"/>
                <a:gd name="connsiteX1835" fmla="*/ 2945 w 10785"/>
                <a:gd name="connsiteY1835" fmla="*/ 4556 h 10000"/>
                <a:gd name="connsiteX1836" fmla="*/ 2935 w 10785"/>
                <a:gd name="connsiteY1836" fmla="*/ 4581 h 10000"/>
                <a:gd name="connsiteX1837" fmla="*/ 2949 w 10785"/>
                <a:gd name="connsiteY1837" fmla="*/ 4624 h 10000"/>
                <a:gd name="connsiteX1838" fmla="*/ 2945 w 10785"/>
                <a:gd name="connsiteY1838" fmla="*/ 4658 h 10000"/>
                <a:gd name="connsiteX1839" fmla="*/ 2922 w 10785"/>
                <a:gd name="connsiteY1839" fmla="*/ 4667 h 10000"/>
                <a:gd name="connsiteX1840" fmla="*/ 2876 w 10785"/>
                <a:gd name="connsiteY1840" fmla="*/ 4632 h 10000"/>
                <a:gd name="connsiteX1841" fmla="*/ 2857 w 10785"/>
                <a:gd name="connsiteY1841" fmla="*/ 4632 h 10000"/>
                <a:gd name="connsiteX1842" fmla="*/ 2820 w 10785"/>
                <a:gd name="connsiteY1842" fmla="*/ 4641 h 10000"/>
                <a:gd name="connsiteX1843" fmla="*/ 2797 w 10785"/>
                <a:gd name="connsiteY1843" fmla="*/ 4632 h 10000"/>
                <a:gd name="connsiteX1844" fmla="*/ 2788 w 10785"/>
                <a:gd name="connsiteY1844" fmla="*/ 4624 h 10000"/>
                <a:gd name="connsiteX1845" fmla="*/ 2788 w 10785"/>
                <a:gd name="connsiteY1845" fmla="*/ 4598 h 10000"/>
                <a:gd name="connsiteX1846" fmla="*/ 2797 w 10785"/>
                <a:gd name="connsiteY1846" fmla="*/ 4581 h 10000"/>
                <a:gd name="connsiteX1847" fmla="*/ 2788 w 10785"/>
                <a:gd name="connsiteY1847" fmla="*/ 4530 h 10000"/>
                <a:gd name="connsiteX1848" fmla="*/ 2774 w 10785"/>
                <a:gd name="connsiteY1848" fmla="*/ 4530 h 10000"/>
                <a:gd name="connsiteX1849" fmla="*/ 2770 w 10785"/>
                <a:gd name="connsiteY1849" fmla="*/ 4513 h 10000"/>
                <a:gd name="connsiteX1850" fmla="*/ 2774 w 10785"/>
                <a:gd name="connsiteY1850" fmla="*/ 4513 h 10000"/>
                <a:gd name="connsiteX1851" fmla="*/ 2788 w 10785"/>
                <a:gd name="connsiteY1851" fmla="*/ 4496 h 10000"/>
                <a:gd name="connsiteX1852" fmla="*/ 2802 w 10785"/>
                <a:gd name="connsiteY1852" fmla="*/ 4513 h 10000"/>
                <a:gd name="connsiteX1853" fmla="*/ 2811 w 10785"/>
                <a:gd name="connsiteY1853" fmla="*/ 4530 h 10000"/>
                <a:gd name="connsiteX1854" fmla="*/ 2820 w 10785"/>
                <a:gd name="connsiteY1854" fmla="*/ 4521 h 10000"/>
                <a:gd name="connsiteX1855" fmla="*/ 2829 w 10785"/>
                <a:gd name="connsiteY1855" fmla="*/ 4513 h 10000"/>
                <a:gd name="connsiteX1856" fmla="*/ 2843 w 10785"/>
                <a:gd name="connsiteY1856" fmla="*/ 4513 h 10000"/>
                <a:gd name="connsiteX1857" fmla="*/ 2848 w 10785"/>
                <a:gd name="connsiteY1857" fmla="*/ 4470 h 10000"/>
                <a:gd name="connsiteX1858" fmla="*/ 2862 w 10785"/>
                <a:gd name="connsiteY1858" fmla="*/ 4487 h 10000"/>
                <a:gd name="connsiteX1859" fmla="*/ 2876 w 10785"/>
                <a:gd name="connsiteY1859" fmla="*/ 4470 h 10000"/>
                <a:gd name="connsiteX1860" fmla="*/ 2880 w 10785"/>
                <a:gd name="connsiteY1860" fmla="*/ 4462 h 10000"/>
                <a:gd name="connsiteX1861" fmla="*/ 2889 w 10785"/>
                <a:gd name="connsiteY1861" fmla="*/ 4444 h 10000"/>
                <a:gd name="connsiteX1862" fmla="*/ 2894 w 10785"/>
                <a:gd name="connsiteY1862" fmla="*/ 4462 h 10000"/>
                <a:gd name="connsiteX1863" fmla="*/ 2917 w 10785"/>
                <a:gd name="connsiteY1863" fmla="*/ 4444 h 10000"/>
                <a:gd name="connsiteX1864" fmla="*/ 2922 w 10785"/>
                <a:gd name="connsiteY1864" fmla="*/ 4436 h 10000"/>
                <a:gd name="connsiteX1865" fmla="*/ 2917 w 10785"/>
                <a:gd name="connsiteY1865" fmla="*/ 4410 h 10000"/>
                <a:gd name="connsiteX1866" fmla="*/ 2894 w 10785"/>
                <a:gd name="connsiteY1866" fmla="*/ 4410 h 10000"/>
                <a:gd name="connsiteX1867" fmla="*/ 2889 w 10785"/>
                <a:gd name="connsiteY1867" fmla="*/ 4419 h 10000"/>
                <a:gd name="connsiteX1868" fmla="*/ 2876 w 10785"/>
                <a:gd name="connsiteY1868" fmla="*/ 4410 h 10000"/>
                <a:gd name="connsiteX1869" fmla="*/ 2880 w 10785"/>
                <a:gd name="connsiteY1869" fmla="*/ 4376 h 10000"/>
                <a:gd name="connsiteX1870" fmla="*/ 2903 w 10785"/>
                <a:gd name="connsiteY1870" fmla="*/ 4393 h 10000"/>
                <a:gd name="connsiteX1871" fmla="*/ 2931 w 10785"/>
                <a:gd name="connsiteY1871" fmla="*/ 4393 h 10000"/>
                <a:gd name="connsiteX1872" fmla="*/ 2931 w 10785"/>
                <a:gd name="connsiteY1872" fmla="*/ 4385 h 10000"/>
                <a:gd name="connsiteX1873" fmla="*/ 2931 w 10785"/>
                <a:gd name="connsiteY1873" fmla="*/ 4350 h 10000"/>
                <a:gd name="connsiteX1874" fmla="*/ 2945 w 10785"/>
                <a:gd name="connsiteY1874" fmla="*/ 4350 h 10000"/>
                <a:gd name="connsiteX1875" fmla="*/ 2949 w 10785"/>
                <a:gd name="connsiteY1875" fmla="*/ 4325 h 10000"/>
                <a:gd name="connsiteX1876" fmla="*/ 2963 w 10785"/>
                <a:gd name="connsiteY1876" fmla="*/ 4256 h 10000"/>
                <a:gd name="connsiteX1877" fmla="*/ 2982 w 10785"/>
                <a:gd name="connsiteY1877" fmla="*/ 4239 h 10000"/>
                <a:gd name="connsiteX1878" fmla="*/ 2991 w 10785"/>
                <a:gd name="connsiteY1878" fmla="*/ 4214 h 10000"/>
                <a:gd name="connsiteX1879" fmla="*/ 2991 w 10785"/>
                <a:gd name="connsiteY1879" fmla="*/ 4197 h 10000"/>
                <a:gd name="connsiteX1880" fmla="*/ 2995 w 10785"/>
                <a:gd name="connsiteY1880" fmla="*/ 4171 h 10000"/>
                <a:gd name="connsiteX1881" fmla="*/ 2991 w 10785"/>
                <a:gd name="connsiteY1881" fmla="*/ 4077 h 10000"/>
                <a:gd name="connsiteX1882" fmla="*/ 2995 w 10785"/>
                <a:gd name="connsiteY1882" fmla="*/ 4034 h 10000"/>
                <a:gd name="connsiteX1883" fmla="*/ 3018 w 10785"/>
                <a:gd name="connsiteY1883" fmla="*/ 3983 h 10000"/>
                <a:gd name="connsiteX1884" fmla="*/ 3018 w 10785"/>
                <a:gd name="connsiteY1884" fmla="*/ 3915 h 10000"/>
                <a:gd name="connsiteX1885" fmla="*/ 2949 w 10785"/>
                <a:gd name="connsiteY1885" fmla="*/ 3778 h 10000"/>
                <a:gd name="connsiteX1886" fmla="*/ 2954 w 10785"/>
                <a:gd name="connsiteY1886" fmla="*/ 3675 h 10000"/>
                <a:gd name="connsiteX1887" fmla="*/ 2954 w 10785"/>
                <a:gd name="connsiteY1887" fmla="*/ 3650 h 10000"/>
                <a:gd name="connsiteX1888" fmla="*/ 2963 w 10785"/>
                <a:gd name="connsiteY1888" fmla="*/ 3624 h 10000"/>
                <a:gd name="connsiteX1889" fmla="*/ 2954 w 10785"/>
                <a:gd name="connsiteY1889" fmla="*/ 3564 h 10000"/>
                <a:gd name="connsiteX1890" fmla="*/ 2963 w 10785"/>
                <a:gd name="connsiteY1890" fmla="*/ 3538 h 10000"/>
                <a:gd name="connsiteX1891" fmla="*/ 2963 w 10785"/>
                <a:gd name="connsiteY1891" fmla="*/ 3487 h 10000"/>
                <a:gd name="connsiteX1892" fmla="*/ 2963 w 10785"/>
                <a:gd name="connsiteY1892" fmla="*/ 3479 h 10000"/>
                <a:gd name="connsiteX1893" fmla="*/ 2963 w 10785"/>
                <a:gd name="connsiteY1893" fmla="*/ 3462 h 10000"/>
                <a:gd name="connsiteX1894" fmla="*/ 2954 w 10785"/>
                <a:gd name="connsiteY1894" fmla="*/ 3453 h 10000"/>
                <a:gd name="connsiteX1895" fmla="*/ 2954 w 10785"/>
                <a:gd name="connsiteY1895" fmla="*/ 3444 h 10000"/>
                <a:gd name="connsiteX1896" fmla="*/ 2954 w 10785"/>
                <a:gd name="connsiteY1896" fmla="*/ 3402 h 10000"/>
                <a:gd name="connsiteX1897" fmla="*/ 2954 w 10785"/>
                <a:gd name="connsiteY1897" fmla="*/ 3393 h 10000"/>
                <a:gd name="connsiteX1898" fmla="*/ 2949 w 10785"/>
                <a:gd name="connsiteY1898" fmla="*/ 3376 h 10000"/>
                <a:gd name="connsiteX1899" fmla="*/ 2949 w 10785"/>
                <a:gd name="connsiteY1899" fmla="*/ 3342 h 10000"/>
                <a:gd name="connsiteX1900" fmla="*/ 2949 w 10785"/>
                <a:gd name="connsiteY1900" fmla="*/ 3316 h 10000"/>
                <a:gd name="connsiteX1901" fmla="*/ 2968 w 10785"/>
                <a:gd name="connsiteY1901" fmla="*/ 3291 h 10000"/>
                <a:gd name="connsiteX1902" fmla="*/ 2963 w 10785"/>
                <a:gd name="connsiteY1902" fmla="*/ 3205 h 10000"/>
                <a:gd name="connsiteX1903" fmla="*/ 2968 w 10785"/>
                <a:gd name="connsiteY1903" fmla="*/ 3171 h 10000"/>
                <a:gd name="connsiteX1904" fmla="*/ 2968 w 10785"/>
                <a:gd name="connsiteY1904" fmla="*/ 3128 h 10000"/>
                <a:gd name="connsiteX1905" fmla="*/ 2954 w 10785"/>
                <a:gd name="connsiteY1905" fmla="*/ 3051 h 10000"/>
                <a:gd name="connsiteX1906" fmla="*/ 2954 w 10785"/>
                <a:gd name="connsiteY1906" fmla="*/ 3009 h 10000"/>
                <a:gd name="connsiteX1907" fmla="*/ 2922 w 10785"/>
                <a:gd name="connsiteY1907" fmla="*/ 2940 h 10000"/>
                <a:gd name="connsiteX1908" fmla="*/ 2903 w 10785"/>
                <a:gd name="connsiteY1908" fmla="*/ 2880 h 10000"/>
                <a:gd name="connsiteX1909" fmla="*/ 2903 w 10785"/>
                <a:gd name="connsiteY1909" fmla="*/ 2855 h 10000"/>
                <a:gd name="connsiteX1910" fmla="*/ 2908 w 10785"/>
                <a:gd name="connsiteY1910" fmla="*/ 2846 h 10000"/>
                <a:gd name="connsiteX1911" fmla="*/ 2931 w 10785"/>
                <a:gd name="connsiteY1911" fmla="*/ 2821 h 10000"/>
                <a:gd name="connsiteX1912" fmla="*/ 2931 w 10785"/>
                <a:gd name="connsiteY1912" fmla="*/ 2803 h 10000"/>
                <a:gd name="connsiteX1913" fmla="*/ 2935 w 10785"/>
                <a:gd name="connsiteY1913" fmla="*/ 2786 h 10000"/>
                <a:gd name="connsiteX1914" fmla="*/ 2935 w 10785"/>
                <a:gd name="connsiteY1914" fmla="*/ 2744 h 10000"/>
                <a:gd name="connsiteX1915" fmla="*/ 2963 w 10785"/>
                <a:gd name="connsiteY1915" fmla="*/ 2607 h 10000"/>
                <a:gd name="connsiteX1916" fmla="*/ 2963 w 10785"/>
                <a:gd name="connsiteY1916" fmla="*/ 2419 h 10000"/>
                <a:gd name="connsiteX1917" fmla="*/ 2954 w 10785"/>
                <a:gd name="connsiteY1917" fmla="*/ 2410 h 10000"/>
                <a:gd name="connsiteX1918" fmla="*/ 2963 w 10785"/>
                <a:gd name="connsiteY1918" fmla="*/ 2393 h 10000"/>
                <a:gd name="connsiteX1919" fmla="*/ 2908 w 10785"/>
                <a:gd name="connsiteY1919" fmla="*/ 2359 h 10000"/>
                <a:gd name="connsiteX1920" fmla="*/ 2889 w 10785"/>
                <a:gd name="connsiteY1920" fmla="*/ 2325 h 10000"/>
                <a:gd name="connsiteX1921" fmla="*/ 2788 w 10785"/>
                <a:gd name="connsiteY1921" fmla="*/ 2333 h 10000"/>
                <a:gd name="connsiteX1922" fmla="*/ 2774 w 10785"/>
                <a:gd name="connsiteY1922" fmla="*/ 2325 h 10000"/>
                <a:gd name="connsiteX1923" fmla="*/ 2783 w 10785"/>
                <a:gd name="connsiteY1923" fmla="*/ 2308 h 10000"/>
                <a:gd name="connsiteX1924" fmla="*/ 2747 w 10785"/>
                <a:gd name="connsiteY1924" fmla="*/ 2308 h 10000"/>
                <a:gd name="connsiteX1925" fmla="*/ 2742 w 10785"/>
                <a:gd name="connsiteY1925" fmla="*/ 2333 h 10000"/>
                <a:gd name="connsiteX1926" fmla="*/ 2682 w 10785"/>
                <a:gd name="connsiteY1926" fmla="*/ 2769 h 10000"/>
                <a:gd name="connsiteX1927" fmla="*/ 2613 w 10785"/>
                <a:gd name="connsiteY1927" fmla="*/ 2940 h 10000"/>
                <a:gd name="connsiteX1928" fmla="*/ 2581 w 10785"/>
                <a:gd name="connsiteY1928" fmla="*/ 2966 h 10000"/>
                <a:gd name="connsiteX1929" fmla="*/ 2576 w 10785"/>
                <a:gd name="connsiteY1929" fmla="*/ 3051 h 10000"/>
                <a:gd name="connsiteX1930" fmla="*/ 2581 w 10785"/>
                <a:gd name="connsiteY1930" fmla="*/ 3051 h 10000"/>
                <a:gd name="connsiteX1931" fmla="*/ 2594 w 10785"/>
                <a:gd name="connsiteY1931" fmla="*/ 3017 h 10000"/>
                <a:gd name="connsiteX1932" fmla="*/ 2594 w 10785"/>
                <a:gd name="connsiteY1932" fmla="*/ 3034 h 10000"/>
                <a:gd name="connsiteX1933" fmla="*/ 2594 w 10785"/>
                <a:gd name="connsiteY1933" fmla="*/ 3051 h 10000"/>
                <a:gd name="connsiteX1934" fmla="*/ 2590 w 10785"/>
                <a:gd name="connsiteY1934" fmla="*/ 3077 h 10000"/>
                <a:gd name="connsiteX1935" fmla="*/ 2567 w 10785"/>
                <a:gd name="connsiteY1935" fmla="*/ 3103 h 10000"/>
                <a:gd name="connsiteX1936" fmla="*/ 2562 w 10785"/>
                <a:gd name="connsiteY1936" fmla="*/ 3145 h 10000"/>
                <a:gd name="connsiteX1937" fmla="*/ 2567 w 10785"/>
                <a:gd name="connsiteY1937" fmla="*/ 3179 h 10000"/>
                <a:gd name="connsiteX1938" fmla="*/ 2590 w 10785"/>
                <a:gd name="connsiteY1938" fmla="*/ 3171 h 10000"/>
                <a:gd name="connsiteX1939" fmla="*/ 2594 w 10785"/>
                <a:gd name="connsiteY1939" fmla="*/ 3145 h 10000"/>
                <a:gd name="connsiteX1940" fmla="*/ 2613 w 10785"/>
                <a:gd name="connsiteY1940" fmla="*/ 3154 h 10000"/>
                <a:gd name="connsiteX1941" fmla="*/ 2622 w 10785"/>
                <a:gd name="connsiteY1941" fmla="*/ 3179 h 10000"/>
                <a:gd name="connsiteX1942" fmla="*/ 2613 w 10785"/>
                <a:gd name="connsiteY1942" fmla="*/ 3214 h 10000"/>
                <a:gd name="connsiteX1943" fmla="*/ 2613 w 10785"/>
                <a:gd name="connsiteY1943" fmla="*/ 3308 h 10000"/>
                <a:gd name="connsiteX1944" fmla="*/ 2608 w 10785"/>
                <a:gd name="connsiteY1944" fmla="*/ 3325 h 10000"/>
                <a:gd name="connsiteX1945" fmla="*/ 2608 w 10785"/>
                <a:gd name="connsiteY1945" fmla="*/ 3376 h 10000"/>
                <a:gd name="connsiteX1946" fmla="*/ 2613 w 10785"/>
                <a:gd name="connsiteY1946" fmla="*/ 3419 h 10000"/>
                <a:gd name="connsiteX1947" fmla="*/ 2608 w 10785"/>
                <a:gd name="connsiteY1947" fmla="*/ 3444 h 10000"/>
                <a:gd name="connsiteX1948" fmla="*/ 2594 w 10785"/>
                <a:gd name="connsiteY1948" fmla="*/ 3444 h 10000"/>
                <a:gd name="connsiteX1949" fmla="*/ 2590 w 10785"/>
                <a:gd name="connsiteY1949" fmla="*/ 3427 h 10000"/>
                <a:gd name="connsiteX1950" fmla="*/ 2581 w 10785"/>
                <a:gd name="connsiteY1950" fmla="*/ 3564 h 10000"/>
                <a:gd name="connsiteX1951" fmla="*/ 2594 w 10785"/>
                <a:gd name="connsiteY1951" fmla="*/ 3598 h 10000"/>
                <a:gd name="connsiteX1952" fmla="*/ 2594 w 10785"/>
                <a:gd name="connsiteY1952" fmla="*/ 3581 h 10000"/>
                <a:gd name="connsiteX1953" fmla="*/ 2608 w 10785"/>
                <a:gd name="connsiteY1953" fmla="*/ 3556 h 10000"/>
                <a:gd name="connsiteX1954" fmla="*/ 2650 w 10785"/>
                <a:gd name="connsiteY1954" fmla="*/ 3615 h 10000"/>
                <a:gd name="connsiteX1955" fmla="*/ 2664 w 10785"/>
                <a:gd name="connsiteY1955" fmla="*/ 3615 h 10000"/>
                <a:gd name="connsiteX1956" fmla="*/ 2668 w 10785"/>
                <a:gd name="connsiteY1956" fmla="*/ 3615 h 10000"/>
                <a:gd name="connsiteX1957" fmla="*/ 2664 w 10785"/>
                <a:gd name="connsiteY1957" fmla="*/ 3667 h 10000"/>
                <a:gd name="connsiteX1958" fmla="*/ 2687 w 10785"/>
                <a:gd name="connsiteY1958" fmla="*/ 3786 h 10000"/>
                <a:gd name="connsiteX1959" fmla="*/ 2710 w 10785"/>
                <a:gd name="connsiteY1959" fmla="*/ 3812 h 10000"/>
                <a:gd name="connsiteX1960" fmla="*/ 2724 w 10785"/>
                <a:gd name="connsiteY1960" fmla="*/ 3812 h 10000"/>
                <a:gd name="connsiteX1961" fmla="*/ 2724 w 10785"/>
                <a:gd name="connsiteY1961" fmla="*/ 3829 h 10000"/>
                <a:gd name="connsiteX1962" fmla="*/ 2737 w 10785"/>
                <a:gd name="connsiteY1962" fmla="*/ 3838 h 10000"/>
                <a:gd name="connsiteX1963" fmla="*/ 2714 w 10785"/>
                <a:gd name="connsiteY1963" fmla="*/ 3872 h 10000"/>
                <a:gd name="connsiteX1964" fmla="*/ 2696 w 10785"/>
                <a:gd name="connsiteY1964" fmla="*/ 4026 h 10000"/>
                <a:gd name="connsiteX1965" fmla="*/ 2673 w 10785"/>
                <a:gd name="connsiteY1965" fmla="*/ 4051 h 10000"/>
                <a:gd name="connsiteX1966" fmla="*/ 2668 w 10785"/>
                <a:gd name="connsiteY1966" fmla="*/ 4034 h 10000"/>
                <a:gd name="connsiteX1967" fmla="*/ 2673 w 10785"/>
                <a:gd name="connsiteY1967" fmla="*/ 4000 h 10000"/>
                <a:gd name="connsiteX1968" fmla="*/ 2664 w 10785"/>
                <a:gd name="connsiteY1968" fmla="*/ 3974 h 10000"/>
                <a:gd name="connsiteX1969" fmla="*/ 2636 w 10785"/>
                <a:gd name="connsiteY1969" fmla="*/ 3949 h 10000"/>
                <a:gd name="connsiteX1970" fmla="*/ 2581 w 10785"/>
                <a:gd name="connsiteY1970" fmla="*/ 3838 h 10000"/>
                <a:gd name="connsiteX1971" fmla="*/ 2562 w 10785"/>
                <a:gd name="connsiteY1971" fmla="*/ 3829 h 10000"/>
                <a:gd name="connsiteX1972" fmla="*/ 2535 w 10785"/>
                <a:gd name="connsiteY1972" fmla="*/ 3778 h 10000"/>
                <a:gd name="connsiteX1973" fmla="*/ 2502 w 10785"/>
                <a:gd name="connsiteY1973" fmla="*/ 3761 h 10000"/>
                <a:gd name="connsiteX1974" fmla="*/ 2502 w 10785"/>
                <a:gd name="connsiteY1974" fmla="*/ 3735 h 10000"/>
                <a:gd name="connsiteX1975" fmla="*/ 2516 w 10785"/>
                <a:gd name="connsiteY1975" fmla="*/ 3735 h 10000"/>
                <a:gd name="connsiteX1976" fmla="*/ 2507 w 10785"/>
                <a:gd name="connsiteY1976" fmla="*/ 3726 h 10000"/>
                <a:gd name="connsiteX1977" fmla="*/ 2488 w 10785"/>
                <a:gd name="connsiteY1977" fmla="*/ 3726 h 10000"/>
                <a:gd name="connsiteX1978" fmla="*/ 2461 w 10785"/>
                <a:gd name="connsiteY1978" fmla="*/ 3692 h 10000"/>
                <a:gd name="connsiteX1979" fmla="*/ 2442 w 10785"/>
                <a:gd name="connsiteY1979" fmla="*/ 3675 h 10000"/>
                <a:gd name="connsiteX1980" fmla="*/ 2406 w 10785"/>
                <a:gd name="connsiteY1980" fmla="*/ 3598 h 10000"/>
                <a:gd name="connsiteX1981" fmla="*/ 2346 w 10785"/>
                <a:gd name="connsiteY1981" fmla="*/ 3564 h 10000"/>
                <a:gd name="connsiteX1982" fmla="*/ 2341 w 10785"/>
                <a:gd name="connsiteY1982" fmla="*/ 3564 h 10000"/>
                <a:gd name="connsiteX1983" fmla="*/ 2313 w 10785"/>
                <a:gd name="connsiteY1983" fmla="*/ 3530 h 10000"/>
                <a:gd name="connsiteX1984" fmla="*/ 2235 w 10785"/>
                <a:gd name="connsiteY1984" fmla="*/ 3530 h 10000"/>
                <a:gd name="connsiteX1985" fmla="*/ 2226 w 10785"/>
                <a:gd name="connsiteY1985" fmla="*/ 3513 h 10000"/>
                <a:gd name="connsiteX1986" fmla="*/ 2207 w 10785"/>
                <a:gd name="connsiteY1986" fmla="*/ 3504 h 10000"/>
                <a:gd name="connsiteX1987" fmla="*/ 2194 w 10785"/>
                <a:gd name="connsiteY1987" fmla="*/ 3504 h 10000"/>
                <a:gd name="connsiteX1988" fmla="*/ 2189 w 10785"/>
                <a:gd name="connsiteY1988" fmla="*/ 3504 h 10000"/>
                <a:gd name="connsiteX1989" fmla="*/ 2189 w 10785"/>
                <a:gd name="connsiteY1989" fmla="*/ 3530 h 10000"/>
                <a:gd name="connsiteX1990" fmla="*/ 2180 w 10785"/>
                <a:gd name="connsiteY1990" fmla="*/ 3538 h 10000"/>
                <a:gd name="connsiteX1991" fmla="*/ 2152 w 10785"/>
                <a:gd name="connsiteY1991" fmla="*/ 3581 h 10000"/>
                <a:gd name="connsiteX1992" fmla="*/ 2161 w 10785"/>
                <a:gd name="connsiteY1992" fmla="*/ 3598 h 10000"/>
                <a:gd name="connsiteX1993" fmla="*/ 2194 w 10785"/>
                <a:gd name="connsiteY1993" fmla="*/ 3752 h 10000"/>
                <a:gd name="connsiteX1994" fmla="*/ 2194 w 10785"/>
                <a:gd name="connsiteY1994" fmla="*/ 3735 h 10000"/>
                <a:gd name="connsiteX1995" fmla="*/ 2198 w 10785"/>
                <a:gd name="connsiteY1995" fmla="*/ 3735 h 10000"/>
                <a:gd name="connsiteX1996" fmla="*/ 2189 w 10785"/>
                <a:gd name="connsiteY1996" fmla="*/ 3838 h 10000"/>
                <a:gd name="connsiteX1997" fmla="*/ 2166 w 10785"/>
                <a:gd name="connsiteY1997" fmla="*/ 3889 h 10000"/>
                <a:gd name="connsiteX1998" fmla="*/ 2124 w 10785"/>
                <a:gd name="connsiteY1998" fmla="*/ 3889 h 10000"/>
                <a:gd name="connsiteX1999" fmla="*/ 2124 w 10785"/>
                <a:gd name="connsiteY1999" fmla="*/ 3923 h 10000"/>
                <a:gd name="connsiteX2000" fmla="*/ 2134 w 10785"/>
                <a:gd name="connsiteY2000" fmla="*/ 3940 h 10000"/>
                <a:gd name="connsiteX2001" fmla="*/ 2134 w 10785"/>
                <a:gd name="connsiteY2001" fmla="*/ 3966 h 10000"/>
                <a:gd name="connsiteX2002" fmla="*/ 2120 w 10785"/>
                <a:gd name="connsiteY2002" fmla="*/ 4000 h 10000"/>
                <a:gd name="connsiteX2003" fmla="*/ 2106 w 10785"/>
                <a:gd name="connsiteY2003" fmla="*/ 4009 h 10000"/>
                <a:gd name="connsiteX2004" fmla="*/ 2088 w 10785"/>
                <a:gd name="connsiteY2004" fmla="*/ 4000 h 10000"/>
                <a:gd name="connsiteX2005" fmla="*/ 2074 w 10785"/>
                <a:gd name="connsiteY2005" fmla="*/ 3974 h 10000"/>
                <a:gd name="connsiteX2006" fmla="*/ 2074 w 10785"/>
                <a:gd name="connsiteY2006" fmla="*/ 3940 h 10000"/>
                <a:gd name="connsiteX2007" fmla="*/ 2078 w 10785"/>
                <a:gd name="connsiteY2007" fmla="*/ 3915 h 10000"/>
                <a:gd name="connsiteX2008" fmla="*/ 2088 w 10785"/>
                <a:gd name="connsiteY2008" fmla="*/ 3889 h 10000"/>
                <a:gd name="connsiteX2009" fmla="*/ 2101 w 10785"/>
                <a:gd name="connsiteY2009" fmla="*/ 3872 h 10000"/>
                <a:gd name="connsiteX2010" fmla="*/ 2074 w 10785"/>
                <a:gd name="connsiteY2010" fmla="*/ 3812 h 10000"/>
                <a:gd name="connsiteX2011" fmla="*/ 2074 w 10785"/>
                <a:gd name="connsiteY2011" fmla="*/ 3786 h 10000"/>
                <a:gd name="connsiteX2012" fmla="*/ 2060 w 10785"/>
                <a:gd name="connsiteY2012" fmla="*/ 3786 h 10000"/>
                <a:gd name="connsiteX2013" fmla="*/ 2014 w 10785"/>
                <a:gd name="connsiteY2013" fmla="*/ 3829 h 10000"/>
                <a:gd name="connsiteX2014" fmla="*/ 2000 w 10785"/>
                <a:gd name="connsiteY2014" fmla="*/ 3863 h 10000"/>
                <a:gd name="connsiteX2015" fmla="*/ 1986 w 10785"/>
                <a:gd name="connsiteY2015" fmla="*/ 3872 h 10000"/>
                <a:gd name="connsiteX2016" fmla="*/ 1959 w 10785"/>
                <a:gd name="connsiteY2016" fmla="*/ 3940 h 10000"/>
                <a:gd name="connsiteX2017" fmla="*/ 1945 w 10785"/>
                <a:gd name="connsiteY2017" fmla="*/ 3949 h 10000"/>
                <a:gd name="connsiteX2018" fmla="*/ 1940 w 10785"/>
                <a:gd name="connsiteY2018" fmla="*/ 3923 h 10000"/>
                <a:gd name="connsiteX2019" fmla="*/ 1917 w 10785"/>
                <a:gd name="connsiteY2019" fmla="*/ 3915 h 10000"/>
                <a:gd name="connsiteX2020" fmla="*/ 1899 w 10785"/>
                <a:gd name="connsiteY2020" fmla="*/ 3923 h 10000"/>
                <a:gd name="connsiteX2021" fmla="*/ 1880 w 10785"/>
                <a:gd name="connsiteY2021" fmla="*/ 3915 h 10000"/>
                <a:gd name="connsiteX2022" fmla="*/ 1853 w 10785"/>
                <a:gd name="connsiteY2022" fmla="*/ 3940 h 10000"/>
                <a:gd name="connsiteX2023" fmla="*/ 1839 w 10785"/>
                <a:gd name="connsiteY2023" fmla="*/ 3940 h 10000"/>
                <a:gd name="connsiteX2024" fmla="*/ 1806 w 10785"/>
                <a:gd name="connsiteY2024" fmla="*/ 3983 h 10000"/>
                <a:gd name="connsiteX2025" fmla="*/ 1806 w 10785"/>
                <a:gd name="connsiteY2025" fmla="*/ 4000 h 10000"/>
                <a:gd name="connsiteX2026" fmla="*/ 1797 w 10785"/>
                <a:gd name="connsiteY2026" fmla="*/ 4077 h 10000"/>
                <a:gd name="connsiteX2027" fmla="*/ 1783 w 10785"/>
                <a:gd name="connsiteY2027" fmla="*/ 4077 h 10000"/>
                <a:gd name="connsiteX2028" fmla="*/ 1779 w 10785"/>
                <a:gd name="connsiteY2028" fmla="*/ 4051 h 10000"/>
                <a:gd name="connsiteX2029" fmla="*/ 1765 w 10785"/>
                <a:gd name="connsiteY2029" fmla="*/ 4026 h 10000"/>
                <a:gd name="connsiteX2030" fmla="*/ 1751 w 10785"/>
                <a:gd name="connsiteY2030" fmla="*/ 4051 h 10000"/>
                <a:gd name="connsiteX2031" fmla="*/ 1737 w 10785"/>
                <a:gd name="connsiteY2031" fmla="*/ 4009 h 10000"/>
                <a:gd name="connsiteX2032" fmla="*/ 1737 w 10785"/>
                <a:gd name="connsiteY2032" fmla="*/ 3966 h 10000"/>
                <a:gd name="connsiteX2033" fmla="*/ 1733 w 10785"/>
                <a:gd name="connsiteY2033" fmla="*/ 3940 h 10000"/>
                <a:gd name="connsiteX2034" fmla="*/ 1733 w 10785"/>
                <a:gd name="connsiteY2034" fmla="*/ 3923 h 10000"/>
                <a:gd name="connsiteX2035" fmla="*/ 1747 w 10785"/>
                <a:gd name="connsiteY2035" fmla="*/ 3889 h 10000"/>
                <a:gd name="connsiteX2036" fmla="*/ 1747 w 10785"/>
                <a:gd name="connsiteY2036" fmla="*/ 3863 h 10000"/>
                <a:gd name="connsiteX2037" fmla="*/ 1737 w 10785"/>
                <a:gd name="connsiteY2037" fmla="*/ 3838 h 10000"/>
                <a:gd name="connsiteX2038" fmla="*/ 1733 w 10785"/>
                <a:gd name="connsiteY2038" fmla="*/ 3829 h 10000"/>
                <a:gd name="connsiteX2039" fmla="*/ 1733 w 10785"/>
                <a:gd name="connsiteY2039" fmla="*/ 3846 h 10000"/>
                <a:gd name="connsiteX2040" fmla="*/ 1724 w 10785"/>
                <a:gd name="connsiteY2040" fmla="*/ 3846 h 10000"/>
                <a:gd name="connsiteX2041" fmla="*/ 1724 w 10785"/>
                <a:gd name="connsiteY2041" fmla="*/ 3829 h 10000"/>
                <a:gd name="connsiteX2042" fmla="*/ 1737 w 10785"/>
                <a:gd name="connsiteY2042" fmla="*/ 3812 h 10000"/>
                <a:gd name="connsiteX2043" fmla="*/ 1765 w 10785"/>
                <a:gd name="connsiteY2043" fmla="*/ 3812 h 10000"/>
                <a:gd name="connsiteX2044" fmla="*/ 1779 w 10785"/>
                <a:gd name="connsiteY2044" fmla="*/ 3786 h 10000"/>
                <a:gd name="connsiteX2045" fmla="*/ 1779 w 10785"/>
                <a:gd name="connsiteY2045" fmla="*/ 3786 h 10000"/>
                <a:gd name="connsiteX2046" fmla="*/ 1751 w 10785"/>
                <a:gd name="connsiteY2046" fmla="*/ 3803 h 10000"/>
                <a:gd name="connsiteX2047" fmla="*/ 1747 w 10785"/>
                <a:gd name="connsiteY2047" fmla="*/ 3803 h 10000"/>
                <a:gd name="connsiteX2048" fmla="*/ 1724 w 10785"/>
                <a:gd name="connsiteY2048" fmla="*/ 3803 h 10000"/>
                <a:gd name="connsiteX2049" fmla="*/ 1700 w 10785"/>
                <a:gd name="connsiteY2049" fmla="*/ 3829 h 10000"/>
                <a:gd name="connsiteX2050" fmla="*/ 1705 w 10785"/>
                <a:gd name="connsiteY2050" fmla="*/ 3846 h 10000"/>
                <a:gd name="connsiteX2051" fmla="*/ 1691 w 10785"/>
                <a:gd name="connsiteY2051" fmla="*/ 3846 h 10000"/>
                <a:gd name="connsiteX2052" fmla="*/ 1691 w 10785"/>
                <a:gd name="connsiteY2052" fmla="*/ 3863 h 10000"/>
                <a:gd name="connsiteX2053" fmla="*/ 1691 w 10785"/>
                <a:gd name="connsiteY2053" fmla="*/ 3915 h 10000"/>
                <a:gd name="connsiteX2054" fmla="*/ 1677 w 10785"/>
                <a:gd name="connsiteY2054" fmla="*/ 3923 h 10000"/>
                <a:gd name="connsiteX2055" fmla="*/ 1673 w 10785"/>
                <a:gd name="connsiteY2055" fmla="*/ 3915 h 10000"/>
                <a:gd name="connsiteX2056" fmla="*/ 1664 w 10785"/>
                <a:gd name="connsiteY2056" fmla="*/ 3889 h 10000"/>
                <a:gd name="connsiteX2057" fmla="*/ 1673 w 10785"/>
                <a:gd name="connsiteY2057" fmla="*/ 3872 h 10000"/>
                <a:gd name="connsiteX2058" fmla="*/ 1664 w 10785"/>
                <a:gd name="connsiteY2058" fmla="*/ 3872 h 10000"/>
                <a:gd name="connsiteX2059" fmla="*/ 1636 w 10785"/>
                <a:gd name="connsiteY2059" fmla="*/ 3923 h 10000"/>
                <a:gd name="connsiteX2060" fmla="*/ 1645 w 10785"/>
                <a:gd name="connsiteY2060" fmla="*/ 3923 h 10000"/>
                <a:gd name="connsiteX2061" fmla="*/ 1650 w 10785"/>
                <a:gd name="connsiteY2061" fmla="*/ 3949 h 10000"/>
                <a:gd name="connsiteX2062" fmla="*/ 1650 w 10785"/>
                <a:gd name="connsiteY2062" fmla="*/ 3983 h 10000"/>
                <a:gd name="connsiteX2063" fmla="*/ 1636 w 10785"/>
                <a:gd name="connsiteY2063" fmla="*/ 4000 h 10000"/>
                <a:gd name="connsiteX2064" fmla="*/ 1631 w 10785"/>
                <a:gd name="connsiteY2064" fmla="*/ 4009 h 10000"/>
                <a:gd name="connsiteX2065" fmla="*/ 1618 w 10785"/>
                <a:gd name="connsiteY2065" fmla="*/ 3949 h 10000"/>
                <a:gd name="connsiteX2066" fmla="*/ 1585 w 10785"/>
                <a:gd name="connsiteY2066" fmla="*/ 3966 h 10000"/>
                <a:gd name="connsiteX2067" fmla="*/ 1590 w 10785"/>
                <a:gd name="connsiteY2067" fmla="*/ 3974 h 10000"/>
                <a:gd name="connsiteX2068" fmla="*/ 1544 w 10785"/>
                <a:gd name="connsiteY2068" fmla="*/ 4009 h 10000"/>
                <a:gd name="connsiteX2069" fmla="*/ 1539 w 10785"/>
                <a:gd name="connsiteY2069" fmla="*/ 4009 h 10000"/>
                <a:gd name="connsiteX2070" fmla="*/ 1410 w 10785"/>
                <a:gd name="connsiteY2070" fmla="*/ 4188 h 10000"/>
                <a:gd name="connsiteX2071" fmla="*/ 1406 w 10785"/>
                <a:gd name="connsiteY2071" fmla="*/ 4171 h 10000"/>
                <a:gd name="connsiteX2072" fmla="*/ 1396 w 10785"/>
                <a:gd name="connsiteY2072" fmla="*/ 4214 h 10000"/>
                <a:gd name="connsiteX2073" fmla="*/ 1406 w 10785"/>
                <a:gd name="connsiteY2073" fmla="*/ 4222 h 10000"/>
                <a:gd name="connsiteX2074" fmla="*/ 1392 w 10785"/>
                <a:gd name="connsiteY2074" fmla="*/ 4239 h 10000"/>
                <a:gd name="connsiteX2075" fmla="*/ 1369 w 10785"/>
                <a:gd name="connsiteY2075" fmla="*/ 4248 h 10000"/>
                <a:gd name="connsiteX2076" fmla="*/ 1355 w 10785"/>
                <a:gd name="connsiteY2076" fmla="*/ 4256 h 10000"/>
                <a:gd name="connsiteX2077" fmla="*/ 1350 w 10785"/>
                <a:gd name="connsiteY2077" fmla="*/ 4248 h 10000"/>
                <a:gd name="connsiteX2078" fmla="*/ 1332 w 10785"/>
                <a:gd name="connsiteY2078" fmla="*/ 4376 h 10000"/>
                <a:gd name="connsiteX2079" fmla="*/ 1332 w 10785"/>
                <a:gd name="connsiteY2079" fmla="*/ 4436 h 10000"/>
                <a:gd name="connsiteX2080" fmla="*/ 1323 w 10785"/>
                <a:gd name="connsiteY2080" fmla="*/ 4462 h 10000"/>
                <a:gd name="connsiteX2081" fmla="*/ 1304 w 10785"/>
                <a:gd name="connsiteY2081" fmla="*/ 4487 h 10000"/>
                <a:gd name="connsiteX2082" fmla="*/ 1290 w 10785"/>
                <a:gd name="connsiteY2082" fmla="*/ 4470 h 10000"/>
                <a:gd name="connsiteX2083" fmla="*/ 1263 w 10785"/>
                <a:gd name="connsiteY2083" fmla="*/ 4496 h 10000"/>
                <a:gd name="connsiteX2084" fmla="*/ 1258 w 10785"/>
                <a:gd name="connsiteY2084" fmla="*/ 4547 h 10000"/>
                <a:gd name="connsiteX2085" fmla="*/ 1249 w 10785"/>
                <a:gd name="connsiteY2085" fmla="*/ 4487 h 10000"/>
                <a:gd name="connsiteX2086" fmla="*/ 1235 w 10785"/>
                <a:gd name="connsiteY2086" fmla="*/ 4496 h 10000"/>
                <a:gd name="connsiteX2087" fmla="*/ 1221 w 10785"/>
                <a:gd name="connsiteY2087" fmla="*/ 4496 h 10000"/>
                <a:gd name="connsiteX2088" fmla="*/ 1217 w 10785"/>
                <a:gd name="connsiteY2088" fmla="*/ 4487 h 10000"/>
                <a:gd name="connsiteX2089" fmla="*/ 1198 w 10785"/>
                <a:gd name="connsiteY2089" fmla="*/ 4410 h 10000"/>
                <a:gd name="connsiteX2090" fmla="*/ 1157 w 10785"/>
                <a:gd name="connsiteY2090" fmla="*/ 4333 h 10000"/>
                <a:gd name="connsiteX2091" fmla="*/ 1147 w 10785"/>
                <a:gd name="connsiteY2091" fmla="*/ 4299 h 10000"/>
                <a:gd name="connsiteX2092" fmla="*/ 1147 w 10785"/>
                <a:gd name="connsiteY2092" fmla="*/ 4274 h 10000"/>
                <a:gd name="connsiteX2093" fmla="*/ 1161 w 10785"/>
                <a:gd name="connsiteY2093" fmla="*/ 4256 h 10000"/>
                <a:gd name="connsiteX2094" fmla="*/ 1171 w 10785"/>
                <a:gd name="connsiteY2094" fmla="*/ 4248 h 10000"/>
                <a:gd name="connsiteX2095" fmla="*/ 1175 w 10785"/>
                <a:gd name="connsiteY2095" fmla="*/ 4214 h 10000"/>
                <a:gd name="connsiteX2096" fmla="*/ 1263 w 10785"/>
                <a:gd name="connsiteY2096" fmla="*/ 4171 h 10000"/>
                <a:gd name="connsiteX2097" fmla="*/ 1249 w 10785"/>
                <a:gd name="connsiteY2097" fmla="*/ 4137 h 10000"/>
                <a:gd name="connsiteX2098" fmla="*/ 1244 w 10785"/>
                <a:gd name="connsiteY2098" fmla="*/ 4060 h 10000"/>
                <a:gd name="connsiteX2099" fmla="*/ 1230 w 10785"/>
                <a:gd name="connsiteY2099" fmla="*/ 4077 h 10000"/>
                <a:gd name="connsiteX2100" fmla="*/ 1221 w 10785"/>
                <a:gd name="connsiteY2100" fmla="*/ 4026 h 10000"/>
                <a:gd name="connsiteX2101" fmla="*/ 1217 w 10785"/>
                <a:gd name="connsiteY2101" fmla="*/ 4026 h 10000"/>
                <a:gd name="connsiteX2102" fmla="*/ 1212 w 10785"/>
                <a:gd name="connsiteY2102" fmla="*/ 3983 h 10000"/>
                <a:gd name="connsiteX2103" fmla="*/ 1203 w 10785"/>
                <a:gd name="connsiteY2103" fmla="*/ 3966 h 10000"/>
                <a:gd name="connsiteX2104" fmla="*/ 1171 w 10785"/>
                <a:gd name="connsiteY2104" fmla="*/ 3949 h 10000"/>
                <a:gd name="connsiteX2105" fmla="*/ 1111 w 10785"/>
                <a:gd name="connsiteY2105" fmla="*/ 3940 h 10000"/>
                <a:gd name="connsiteX2106" fmla="*/ 1097 w 10785"/>
                <a:gd name="connsiteY2106" fmla="*/ 3949 h 10000"/>
                <a:gd name="connsiteX2107" fmla="*/ 1037 w 10785"/>
                <a:gd name="connsiteY2107" fmla="*/ 3897 h 10000"/>
                <a:gd name="connsiteX2108" fmla="*/ 1041 w 10785"/>
                <a:gd name="connsiteY2108" fmla="*/ 3923 h 10000"/>
                <a:gd name="connsiteX2109" fmla="*/ 1097 w 10785"/>
                <a:gd name="connsiteY2109" fmla="*/ 4009 h 10000"/>
                <a:gd name="connsiteX2110" fmla="*/ 1097 w 10785"/>
                <a:gd name="connsiteY2110" fmla="*/ 4120 h 10000"/>
                <a:gd name="connsiteX2111" fmla="*/ 1097 w 10785"/>
                <a:gd name="connsiteY2111" fmla="*/ 4162 h 10000"/>
                <a:gd name="connsiteX2112" fmla="*/ 1097 w 10785"/>
                <a:gd name="connsiteY2112" fmla="*/ 4197 h 10000"/>
                <a:gd name="connsiteX2113" fmla="*/ 1074 w 10785"/>
                <a:gd name="connsiteY2113" fmla="*/ 4333 h 10000"/>
                <a:gd name="connsiteX2114" fmla="*/ 1074 w 10785"/>
                <a:gd name="connsiteY2114" fmla="*/ 4376 h 10000"/>
                <a:gd name="connsiteX2115" fmla="*/ 1083 w 10785"/>
                <a:gd name="connsiteY2115" fmla="*/ 4385 h 10000"/>
                <a:gd name="connsiteX2116" fmla="*/ 1097 w 10785"/>
                <a:gd name="connsiteY2116" fmla="*/ 4385 h 10000"/>
                <a:gd name="connsiteX2117" fmla="*/ 1111 w 10785"/>
                <a:gd name="connsiteY2117" fmla="*/ 4410 h 10000"/>
                <a:gd name="connsiteX2118" fmla="*/ 1124 w 10785"/>
                <a:gd name="connsiteY2118" fmla="*/ 4444 h 10000"/>
                <a:gd name="connsiteX2119" fmla="*/ 1124 w 10785"/>
                <a:gd name="connsiteY2119" fmla="*/ 4470 h 10000"/>
                <a:gd name="connsiteX2120" fmla="*/ 1115 w 10785"/>
                <a:gd name="connsiteY2120" fmla="*/ 4513 h 10000"/>
                <a:gd name="connsiteX2121" fmla="*/ 1115 w 10785"/>
                <a:gd name="connsiteY2121" fmla="*/ 4530 h 10000"/>
                <a:gd name="connsiteX2122" fmla="*/ 1115 w 10785"/>
                <a:gd name="connsiteY2122" fmla="*/ 4573 h 10000"/>
                <a:gd name="connsiteX2123" fmla="*/ 1101 w 10785"/>
                <a:gd name="connsiteY2123" fmla="*/ 4607 h 10000"/>
                <a:gd name="connsiteX2124" fmla="*/ 1097 w 10785"/>
                <a:gd name="connsiteY2124" fmla="*/ 4658 h 10000"/>
                <a:gd name="connsiteX2125" fmla="*/ 1101 w 10785"/>
                <a:gd name="connsiteY2125" fmla="*/ 4692 h 10000"/>
                <a:gd name="connsiteX2126" fmla="*/ 1097 w 10785"/>
                <a:gd name="connsiteY2126" fmla="*/ 4778 h 10000"/>
                <a:gd name="connsiteX2127" fmla="*/ 1083 w 10785"/>
                <a:gd name="connsiteY2127" fmla="*/ 4744 h 10000"/>
                <a:gd name="connsiteX2128" fmla="*/ 1083 w 10785"/>
                <a:gd name="connsiteY2128" fmla="*/ 4718 h 10000"/>
                <a:gd name="connsiteX2129" fmla="*/ 1074 w 10785"/>
                <a:gd name="connsiteY2129" fmla="*/ 4692 h 10000"/>
                <a:gd name="connsiteX2130" fmla="*/ 1065 w 10785"/>
                <a:gd name="connsiteY2130" fmla="*/ 4692 h 10000"/>
                <a:gd name="connsiteX2131" fmla="*/ 1051 w 10785"/>
                <a:gd name="connsiteY2131" fmla="*/ 4718 h 10000"/>
                <a:gd name="connsiteX2132" fmla="*/ 1055 w 10785"/>
                <a:gd name="connsiteY2132" fmla="*/ 4692 h 10000"/>
                <a:gd name="connsiteX2133" fmla="*/ 1055 w 10785"/>
                <a:gd name="connsiteY2133" fmla="*/ 4667 h 10000"/>
                <a:gd name="connsiteX2134" fmla="*/ 1028 w 10785"/>
                <a:gd name="connsiteY2134" fmla="*/ 4624 h 10000"/>
                <a:gd name="connsiteX2135" fmla="*/ 1005 w 10785"/>
                <a:gd name="connsiteY2135" fmla="*/ 4624 h 10000"/>
                <a:gd name="connsiteX2136" fmla="*/ 977 w 10785"/>
                <a:gd name="connsiteY2136" fmla="*/ 4581 h 10000"/>
                <a:gd name="connsiteX2137" fmla="*/ 963 w 10785"/>
                <a:gd name="connsiteY2137" fmla="*/ 4607 h 10000"/>
                <a:gd name="connsiteX2138" fmla="*/ 963 w 10785"/>
                <a:gd name="connsiteY2138" fmla="*/ 4632 h 10000"/>
                <a:gd name="connsiteX2139" fmla="*/ 917 w 10785"/>
                <a:gd name="connsiteY2139" fmla="*/ 4718 h 10000"/>
                <a:gd name="connsiteX2140" fmla="*/ 889 w 10785"/>
                <a:gd name="connsiteY2140" fmla="*/ 4744 h 10000"/>
                <a:gd name="connsiteX2141" fmla="*/ 880 w 10785"/>
                <a:gd name="connsiteY2141" fmla="*/ 4744 h 10000"/>
                <a:gd name="connsiteX2142" fmla="*/ 862 w 10785"/>
                <a:gd name="connsiteY2142" fmla="*/ 4769 h 10000"/>
                <a:gd name="connsiteX2143" fmla="*/ 857 w 10785"/>
                <a:gd name="connsiteY2143" fmla="*/ 4795 h 10000"/>
                <a:gd name="connsiteX2144" fmla="*/ 829 w 10785"/>
                <a:gd name="connsiteY2144" fmla="*/ 4846 h 10000"/>
                <a:gd name="connsiteX2145" fmla="*/ 816 w 10785"/>
                <a:gd name="connsiteY2145" fmla="*/ 4855 h 10000"/>
                <a:gd name="connsiteX2146" fmla="*/ 816 w 10785"/>
                <a:gd name="connsiteY2146" fmla="*/ 4940 h 10000"/>
                <a:gd name="connsiteX2147" fmla="*/ 880 w 10785"/>
                <a:gd name="connsiteY2147" fmla="*/ 5179 h 10000"/>
                <a:gd name="connsiteX2148" fmla="*/ 880 w 10785"/>
                <a:gd name="connsiteY2148" fmla="*/ 5188 h 10000"/>
                <a:gd name="connsiteX2149" fmla="*/ 862 w 10785"/>
                <a:gd name="connsiteY2149" fmla="*/ 5171 h 10000"/>
                <a:gd name="connsiteX2150" fmla="*/ 857 w 10785"/>
                <a:gd name="connsiteY2150" fmla="*/ 5171 h 10000"/>
                <a:gd name="connsiteX2151" fmla="*/ 820 w 10785"/>
                <a:gd name="connsiteY2151" fmla="*/ 5145 h 10000"/>
                <a:gd name="connsiteX2152" fmla="*/ 820 w 10785"/>
                <a:gd name="connsiteY2152" fmla="*/ 5154 h 10000"/>
                <a:gd name="connsiteX2153" fmla="*/ 816 w 10785"/>
                <a:gd name="connsiteY2153" fmla="*/ 5171 h 10000"/>
                <a:gd name="connsiteX2154" fmla="*/ 783 w 10785"/>
                <a:gd name="connsiteY2154" fmla="*/ 5145 h 10000"/>
                <a:gd name="connsiteX2155" fmla="*/ 756 w 10785"/>
                <a:gd name="connsiteY2155" fmla="*/ 5103 h 10000"/>
                <a:gd name="connsiteX2156" fmla="*/ 742 w 10785"/>
                <a:gd name="connsiteY2156" fmla="*/ 5103 h 10000"/>
                <a:gd name="connsiteX2157" fmla="*/ 728 w 10785"/>
                <a:gd name="connsiteY2157" fmla="*/ 5094 h 10000"/>
                <a:gd name="connsiteX2158" fmla="*/ 710 w 10785"/>
                <a:gd name="connsiteY2158" fmla="*/ 5120 h 10000"/>
                <a:gd name="connsiteX2159" fmla="*/ 700 w 10785"/>
                <a:gd name="connsiteY2159" fmla="*/ 5145 h 10000"/>
                <a:gd name="connsiteX2160" fmla="*/ 696 w 10785"/>
                <a:gd name="connsiteY2160" fmla="*/ 5103 h 10000"/>
                <a:gd name="connsiteX2161" fmla="*/ 714 w 10785"/>
                <a:gd name="connsiteY2161" fmla="*/ 5077 h 10000"/>
                <a:gd name="connsiteX2162" fmla="*/ 682 w 10785"/>
                <a:gd name="connsiteY2162" fmla="*/ 5068 h 10000"/>
                <a:gd name="connsiteX2163" fmla="*/ 673 w 10785"/>
                <a:gd name="connsiteY2163" fmla="*/ 5034 h 10000"/>
                <a:gd name="connsiteX2164" fmla="*/ 636 w 10785"/>
                <a:gd name="connsiteY2164" fmla="*/ 4991 h 10000"/>
                <a:gd name="connsiteX2165" fmla="*/ 622 w 10785"/>
                <a:gd name="connsiteY2165" fmla="*/ 4983 h 10000"/>
                <a:gd name="connsiteX2166" fmla="*/ 622 w 10785"/>
                <a:gd name="connsiteY2166" fmla="*/ 5034 h 10000"/>
                <a:gd name="connsiteX2167" fmla="*/ 608 w 10785"/>
                <a:gd name="connsiteY2167" fmla="*/ 5051 h 10000"/>
                <a:gd name="connsiteX2168" fmla="*/ 594 w 10785"/>
                <a:gd name="connsiteY2168" fmla="*/ 5068 h 10000"/>
                <a:gd name="connsiteX2169" fmla="*/ 608 w 10785"/>
                <a:gd name="connsiteY2169" fmla="*/ 5120 h 10000"/>
                <a:gd name="connsiteX2170" fmla="*/ 613 w 10785"/>
                <a:gd name="connsiteY2170" fmla="*/ 5128 h 10000"/>
                <a:gd name="connsiteX2171" fmla="*/ 627 w 10785"/>
                <a:gd name="connsiteY2171" fmla="*/ 5179 h 10000"/>
                <a:gd name="connsiteX2172" fmla="*/ 650 w 10785"/>
                <a:gd name="connsiteY2172" fmla="*/ 5214 h 10000"/>
                <a:gd name="connsiteX2173" fmla="*/ 687 w 10785"/>
                <a:gd name="connsiteY2173" fmla="*/ 5188 h 10000"/>
                <a:gd name="connsiteX2174" fmla="*/ 700 w 10785"/>
                <a:gd name="connsiteY2174" fmla="*/ 5325 h 10000"/>
                <a:gd name="connsiteX2175" fmla="*/ 710 w 10785"/>
                <a:gd name="connsiteY2175" fmla="*/ 5350 h 10000"/>
                <a:gd name="connsiteX2176" fmla="*/ 687 w 10785"/>
                <a:gd name="connsiteY2176" fmla="*/ 5325 h 10000"/>
                <a:gd name="connsiteX2177" fmla="*/ 668 w 10785"/>
                <a:gd name="connsiteY2177" fmla="*/ 5350 h 10000"/>
                <a:gd name="connsiteX2178" fmla="*/ 668 w 10785"/>
                <a:gd name="connsiteY2178" fmla="*/ 5368 h 10000"/>
                <a:gd name="connsiteX2179" fmla="*/ 668 w 10785"/>
                <a:gd name="connsiteY2179" fmla="*/ 5376 h 10000"/>
                <a:gd name="connsiteX2180" fmla="*/ 581 w 10785"/>
                <a:gd name="connsiteY2180" fmla="*/ 5316 h 10000"/>
                <a:gd name="connsiteX2181" fmla="*/ 567 w 10785"/>
                <a:gd name="connsiteY2181" fmla="*/ 5265 h 10000"/>
                <a:gd name="connsiteX2182" fmla="*/ 562 w 10785"/>
                <a:gd name="connsiteY2182" fmla="*/ 5256 h 10000"/>
                <a:gd name="connsiteX2183" fmla="*/ 548 w 10785"/>
                <a:gd name="connsiteY2183" fmla="*/ 5231 h 10000"/>
                <a:gd name="connsiteX2184" fmla="*/ 535 w 10785"/>
                <a:gd name="connsiteY2184" fmla="*/ 5214 h 10000"/>
                <a:gd name="connsiteX2185" fmla="*/ 525 w 10785"/>
                <a:gd name="connsiteY2185" fmla="*/ 5231 h 10000"/>
                <a:gd name="connsiteX2186" fmla="*/ 521 w 10785"/>
                <a:gd name="connsiteY2186" fmla="*/ 5231 h 10000"/>
                <a:gd name="connsiteX2187" fmla="*/ 493 w 10785"/>
                <a:gd name="connsiteY2187" fmla="*/ 5205 h 10000"/>
                <a:gd name="connsiteX2188" fmla="*/ 488 w 10785"/>
                <a:gd name="connsiteY2188" fmla="*/ 5179 h 10000"/>
                <a:gd name="connsiteX2189" fmla="*/ 475 w 10785"/>
                <a:gd name="connsiteY2189" fmla="*/ 5188 h 10000"/>
                <a:gd name="connsiteX2190" fmla="*/ 475 w 10785"/>
                <a:gd name="connsiteY2190" fmla="*/ 5171 h 10000"/>
                <a:gd name="connsiteX2191" fmla="*/ 488 w 10785"/>
                <a:gd name="connsiteY2191" fmla="*/ 5154 h 10000"/>
                <a:gd name="connsiteX2192" fmla="*/ 488 w 10785"/>
                <a:gd name="connsiteY2192" fmla="*/ 5068 h 10000"/>
                <a:gd name="connsiteX2193" fmla="*/ 475 w 10785"/>
                <a:gd name="connsiteY2193" fmla="*/ 5051 h 10000"/>
                <a:gd name="connsiteX2194" fmla="*/ 475 w 10785"/>
                <a:gd name="connsiteY2194" fmla="*/ 5017 h 10000"/>
                <a:gd name="connsiteX2195" fmla="*/ 452 w 10785"/>
                <a:gd name="connsiteY2195" fmla="*/ 4932 h 10000"/>
                <a:gd name="connsiteX2196" fmla="*/ 461 w 10785"/>
                <a:gd name="connsiteY2196" fmla="*/ 4915 h 10000"/>
                <a:gd name="connsiteX2197" fmla="*/ 475 w 10785"/>
                <a:gd name="connsiteY2197" fmla="*/ 4906 h 10000"/>
                <a:gd name="connsiteX2198" fmla="*/ 479 w 10785"/>
                <a:gd name="connsiteY2198" fmla="*/ 4803 h 10000"/>
                <a:gd name="connsiteX2199" fmla="*/ 479 w 10785"/>
                <a:gd name="connsiteY2199" fmla="*/ 4778 h 10000"/>
                <a:gd name="connsiteX2200" fmla="*/ 475 w 10785"/>
                <a:gd name="connsiteY2200" fmla="*/ 4761 h 10000"/>
                <a:gd name="connsiteX2201" fmla="*/ 465 w 10785"/>
                <a:gd name="connsiteY2201" fmla="*/ 4718 h 10000"/>
                <a:gd name="connsiteX2202" fmla="*/ 461 w 10785"/>
                <a:gd name="connsiteY2202" fmla="*/ 4709 h 10000"/>
                <a:gd name="connsiteX2203" fmla="*/ 442 w 10785"/>
                <a:gd name="connsiteY2203" fmla="*/ 4692 h 10000"/>
                <a:gd name="connsiteX2204" fmla="*/ 433 w 10785"/>
                <a:gd name="connsiteY2204" fmla="*/ 4667 h 10000"/>
                <a:gd name="connsiteX2205" fmla="*/ 419 w 10785"/>
                <a:gd name="connsiteY2205" fmla="*/ 4667 h 10000"/>
                <a:gd name="connsiteX2206" fmla="*/ 401 w 10785"/>
                <a:gd name="connsiteY2206" fmla="*/ 4658 h 10000"/>
                <a:gd name="connsiteX2207" fmla="*/ 401 w 10785"/>
                <a:gd name="connsiteY2207" fmla="*/ 4624 h 10000"/>
                <a:gd name="connsiteX2208" fmla="*/ 401 w 10785"/>
                <a:gd name="connsiteY2208" fmla="*/ 4607 h 10000"/>
                <a:gd name="connsiteX2209" fmla="*/ 378 w 10785"/>
                <a:gd name="connsiteY2209" fmla="*/ 4607 h 10000"/>
                <a:gd name="connsiteX2210" fmla="*/ 341 w 10785"/>
                <a:gd name="connsiteY2210" fmla="*/ 4530 h 10000"/>
                <a:gd name="connsiteX2211" fmla="*/ 346 w 10785"/>
                <a:gd name="connsiteY2211" fmla="*/ 4521 h 10000"/>
                <a:gd name="connsiteX2212" fmla="*/ 332 w 10785"/>
                <a:gd name="connsiteY2212" fmla="*/ 4487 h 10000"/>
                <a:gd name="connsiteX2213" fmla="*/ 327 w 10785"/>
                <a:gd name="connsiteY2213" fmla="*/ 4462 h 10000"/>
                <a:gd name="connsiteX2214" fmla="*/ 313 w 10785"/>
                <a:gd name="connsiteY2214" fmla="*/ 4436 h 10000"/>
                <a:gd name="connsiteX2215" fmla="*/ 300 w 10785"/>
                <a:gd name="connsiteY2215" fmla="*/ 4419 h 10000"/>
                <a:gd name="connsiteX2216" fmla="*/ 309 w 10785"/>
                <a:gd name="connsiteY2216" fmla="*/ 4393 h 10000"/>
                <a:gd name="connsiteX2217" fmla="*/ 332 w 10785"/>
                <a:gd name="connsiteY2217" fmla="*/ 4385 h 10000"/>
                <a:gd name="connsiteX2218" fmla="*/ 355 w 10785"/>
                <a:gd name="connsiteY2218" fmla="*/ 4419 h 10000"/>
                <a:gd name="connsiteX2219" fmla="*/ 355 w 10785"/>
                <a:gd name="connsiteY2219" fmla="*/ 4444 h 10000"/>
                <a:gd name="connsiteX2220" fmla="*/ 369 w 10785"/>
                <a:gd name="connsiteY2220" fmla="*/ 4470 h 10000"/>
                <a:gd name="connsiteX2221" fmla="*/ 401 w 10785"/>
                <a:gd name="connsiteY2221" fmla="*/ 4521 h 10000"/>
                <a:gd name="connsiteX2222" fmla="*/ 406 w 10785"/>
                <a:gd name="connsiteY2222" fmla="*/ 4513 h 10000"/>
                <a:gd name="connsiteX2223" fmla="*/ 406 w 10785"/>
                <a:gd name="connsiteY2223" fmla="*/ 4496 h 10000"/>
                <a:gd name="connsiteX2224" fmla="*/ 419 w 10785"/>
                <a:gd name="connsiteY2224" fmla="*/ 4521 h 10000"/>
                <a:gd name="connsiteX2225" fmla="*/ 429 w 10785"/>
                <a:gd name="connsiteY2225" fmla="*/ 4530 h 10000"/>
                <a:gd name="connsiteX2226" fmla="*/ 433 w 10785"/>
                <a:gd name="connsiteY2226" fmla="*/ 4521 h 10000"/>
                <a:gd name="connsiteX2227" fmla="*/ 442 w 10785"/>
                <a:gd name="connsiteY2227" fmla="*/ 4530 h 10000"/>
                <a:gd name="connsiteX2228" fmla="*/ 447 w 10785"/>
                <a:gd name="connsiteY2228" fmla="*/ 4521 h 10000"/>
                <a:gd name="connsiteX2229" fmla="*/ 452 w 10785"/>
                <a:gd name="connsiteY2229" fmla="*/ 4521 h 10000"/>
                <a:gd name="connsiteX2230" fmla="*/ 461 w 10785"/>
                <a:gd name="connsiteY2230" fmla="*/ 4573 h 10000"/>
                <a:gd name="connsiteX2231" fmla="*/ 479 w 10785"/>
                <a:gd name="connsiteY2231" fmla="*/ 4556 h 10000"/>
                <a:gd name="connsiteX2232" fmla="*/ 502 w 10785"/>
                <a:gd name="connsiteY2232" fmla="*/ 4573 h 10000"/>
                <a:gd name="connsiteX2233" fmla="*/ 507 w 10785"/>
                <a:gd name="connsiteY2233" fmla="*/ 4598 h 10000"/>
                <a:gd name="connsiteX2234" fmla="*/ 525 w 10785"/>
                <a:gd name="connsiteY2234" fmla="*/ 4598 h 10000"/>
                <a:gd name="connsiteX2235" fmla="*/ 535 w 10785"/>
                <a:gd name="connsiteY2235" fmla="*/ 4624 h 10000"/>
                <a:gd name="connsiteX2236" fmla="*/ 594 w 10785"/>
                <a:gd name="connsiteY2236" fmla="*/ 4658 h 10000"/>
                <a:gd name="connsiteX2237" fmla="*/ 627 w 10785"/>
                <a:gd name="connsiteY2237" fmla="*/ 4658 h 10000"/>
                <a:gd name="connsiteX2238" fmla="*/ 654 w 10785"/>
                <a:gd name="connsiteY2238" fmla="*/ 4684 h 10000"/>
                <a:gd name="connsiteX2239" fmla="*/ 668 w 10785"/>
                <a:gd name="connsiteY2239" fmla="*/ 4709 h 10000"/>
                <a:gd name="connsiteX2240" fmla="*/ 747 w 10785"/>
                <a:gd name="connsiteY2240" fmla="*/ 4718 h 10000"/>
                <a:gd name="connsiteX2241" fmla="*/ 760 w 10785"/>
                <a:gd name="connsiteY2241" fmla="*/ 4709 h 10000"/>
                <a:gd name="connsiteX2242" fmla="*/ 774 w 10785"/>
                <a:gd name="connsiteY2242" fmla="*/ 4692 h 10000"/>
                <a:gd name="connsiteX2243" fmla="*/ 829 w 10785"/>
                <a:gd name="connsiteY2243" fmla="*/ 4658 h 10000"/>
                <a:gd name="connsiteX2244" fmla="*/ 903 w 10785"/>
                <a:gd name="connsiteY2244" fmla="*/ 4496 h 10000"/>
                <a:gd name="connsiteX2245" fmla="*/ 917 w 10785"/>
                <a:gd name="connsiteY2245" fmla="*/ 4385 h 10000"/>
                <a:gd name="connsiteX2246" fmla="*/ 903 w 10785"/>
                <a:gd name="connsiteY2246" fmla="*/ 4376 h 10000"/>
                <a:gd name="connsiteX2247" fmla="*/ 903 w 10785"/>
                <a:gd name="connsiteY2247" fmla="*/ 4376 h 10000"/>
                <a:gd name="connsiteX2248" fmla="*/ 889 w 10785"/>
                <a:gd name="connsiteY2248" fmla="*/ 4239 h 10000"/>
                <a:gd name="connsiteX2249" fmla="*/ 880 w 10785"/>
                <a:gd name="connsiteY2249" fmla="*/ 4214 h 10000"/>
                <a:gd name="connsiteX2250" fmla="*/ 862 w 10785"/>
                <a:gd name="connsiteY2250" fmla="*/ 4188 h 10000"/>
                <a:gd name="connsiteX2251" fmla="*/ 857 w 10785"/>
                <a:gd name="connsiteY2251" fmla="*/ 4197 h 10000"/>
                <a:gd name="connsiteX2252" fmla="*/ 848 w 10785"/>
                <a:gd name="connsiteY2252" fmla="*/ 4188 h 10000"/>
                <a:gd name="connsiteX2253" fmla="*/ 848 w 10785"/>
                <a:gd name="connsiteY2253" fmla="*/ 4162 h 10000"/>
                <a:gd name="connsiteX2254" fmla="*/ 829 w 10785"/>
                <a:gd name="connsiteY2254" fmla="*/ 4120 h 10000"/>
                <a:gd name="connsiteX2255" fmla="*/ 820 w 10785"/>
                <a:gd name="connsiteY2255" fmla="*/ 4103 h 10000"/>
                <a:gd name="connsiteX2256" fmla="*/ 806 w 10785"/>
                <a:gd name="connsiteY2256" fmla="*/ 4077 h 10000"/>
                <a:gd name="connsiteX2257" fmla="*/ 816 w 10785"/>
                <a:gd name="connsiteY2257" fmla="*/ 4111 h 10000"/>
                <a:gd name="connsiteX2258" fmla="*/ 802 w 10785"/>
                <a:gd name="connsiteY2258" fmla="*/ 4111 h 10000"/>
                <a:gd name="connsiteX2259" fmla="*/ 770 w 10785"/>
                <a:gd name="connsiteY2259" fmla="*/ 4060 h 10000"/>
                <a:gd name="connsiteX2260" fmla="*/ 760 w 10785"/>
                <a:gd name="connsiteY2260" fmla="*/ 4077 h 10000"/>
                <a:gd name="connsiteX2261" fmla="*/ 760 w 10785"/>
                <a:gd name="connsiteY2261" fmla="*/ 4060 h 10000"/>
                <a:gd name="connsiteX2262" fmla="*/ 756 w 10785"/>
                <a:gd name="connsiteY2262" fmla="*/ 4034 h 10000"/>
                <a:gd name="connsiteX2263" fmla="*/ 742 w 10785"/>
                <a:gd name="connsiteY2263" fmla="*/ 4000 h 10000"/>
                <a:gd name="connsiteX2264" fmla="*/ 747 w 10785"/>
                <a:gd name="connsiteY2264" fmla="*/ 4034 h 10000"/>
                <a:gd name="connsiteX2265" fmla="*/ 724 w 10785"/>
                <a:gd name="connsiteY2265" fmla="*/ 4026 h 10000"/>
                <a:gd name="connsiteX2266" fmla="*/ 714 w 10785"/>
                <a:gd name="connsiteY2266" fmla="*/ 4000 h 10000"/>
                <a:gd name="connsiteX2267" fmla="*/ 714 w 10785"/>
                <a:gd name="connsiteY2267" fmla="*/ 3983 h 10000"/>
                <a:gd name="connsiteX2268" fmla="*/ 553 w 10785"/>
                <a:gd name="connsiteY2268" fmla="*/ 3726 h 10000"/>
                <a:gd name="connsiteX2269" fmla="*/ 507 w 10785"/>
                <a:gd name="connsiteY2269" fmla="*/ 3718 h 10000"/>
                <a:gd name="connsiteX2270" fmla="*/ 516 w 10785"/>
                <a:gd name="connsiteY2270" fmla="*/ 3726 h 10000"/>
                <a:gd name="connsiteX2271" fmla="*/ 507 w 10785"/>
                <a:gd name="connsiteY2271" fmla="*/ 3735 h 10000"/>
                <a:gd name="connsiteX2272" fmla="*/ 502 w 10785"/>
                <a:gd name="connsiteY2272" fmla="*/ 3735 h 10000"/>
                <a:gd name="connsiteX2273" fmla="*/ 419 w 10785"/>
                <a:gd name="connsiteY2273" fmla="*/ 3675 h 10000"/>
                <a:gd name="connsiteX2274" fmla="*/ 419 w 10785"/>
                <a:gd name="connsiteY2274" fmla="*/ 3692 h 10000"/>
                <a:gd name="connsiteX2275" fmla="*/ 401 w 10785"/>
                <a:gd name="connsiteY2275" fmla="*/ 3701 h 10000"/>
                <a:gd name="connsiteX2276" fmla="*/ 387 w 10785"/>
                <a:gd name="connsiteY2276" fmla="*/ 3718 h 10000"/>
                <a:gd name="connsiteX2277" fmla="*/ 387 w 10785"/>
                <a:gd name="connsiteY2277" fmla="*/ 3692 h 10000"/>
                <a:gd name="connsiteX2278" fmla="*/ 378 w 10785"/>
                <a:gd name="connsiteY2278" fmla="*/ 3675 h 10000"/>
                <a:gd name="connsiteX2279" fmla="*/ 378 w 10785"/>
                <a:gd name="connsiteY2279" fmla="*/ 3650 h 10000"/>
                <a:gd name="connsiteX2280" fmla="*/ 378 w 10785"/>
                <a:gd name="connsiteY2280" fmla="*/ 3650 h 10000"/>
                <a:gd name="connsiteX2281" fmla="*/ 355 w 10785"/>
                <a:gd name="connsiteY2281" fmla="*/ 3675 h 10000"/>
                <a:gd name="connsiteX2282" fmla="*/ 359 w 10785"/>
                <a:gd name="connsiteY2282" fmla="*/ 3641 h 10000"/>
                <a:gd name="connsiteX2283" fmla="*/ 346 w 10785"/>
                <a:gd name="connsiteY2283" fmla="*/ 3650 h 10000"/>
                <a:gd name="connsiteX2284" fmla="*/ 355 w 10785"/>
                <a:gd name="connsiteY2284" fmla="*/ 3624 h 10000"/>
                <a:gd name="connsiteX2285" fmla="*/ 346 w 10785"/>
                <a:gd name="connsiteY2285" fmla="*/ 3624 h 10000"/>
                <a:gd name="connsiteX2286" fmla="*/ 341 w 10785"/>
                <a:gd name="connsiteY2286" fmla="*/ 3624 h 10000"/>
                <a:gd name="connsiteX2287" fmla="*/ 318 w 10785"/>
                <a:gd name="connsiteY2287" fmla="*/ 3641 h 10000"/>
                <a:gd name="connsiteX2288" fmla="*/ 327 w 10785"/>
                <a:gd name="connsiteY2288" fmla="*/ 3624 h 10000"/>
                <a:gd name="connsiteX2289" fmla="*/ 318 w 10785"/>
                <a:gd name="connsiteY2289" fmla="*/ 3615 h 10000"/>
                <a:gd name="connsiteX2290" fmla="*/ 318 w 10785"/>
                <a:gd name="connsiteY2290" fmla="*/ 3598 h 10000"/>
                <a:gd name="connsiteX2291" fmla="*/ 300 w 10785"/>
                <a:gd name="connsiteY2291" fmla="*/ 3598 h 10000"/>
                <a:gd name="connsiteX2292" fmla="*/ 309 w 10785"/>
                <a:gd name="connsiteY2292" fmla="*/ 3538 h 10000"/>
                <a:gd name="connsiteX2293" fmla="*/ 313 w 10785"/>
                <a:gd name="connsiteY2293" fmla="*/ 3564 h 10000"/>
                <a:gd name="connsiteX2294" fmla="*/ 318 w 10785"/>
                <a:gd name="connsiteY2294" fmla="*/ 3581 h 10000"/>
                <a:gd name="connsiteX2295" fmla="*/ 327 w 10785"/>
                <a:gd name="connsiteY2295" fmla="*/ 3564 h 10000"/>
                <a:gd name="connsiteX2296" fmla="*/ 332 w 10785"/>
                <a:gd name="connsiteY2296" fmla="*/ 3590 h 10000"/>
                <a:gd name="connsiteX2297" fmla="*/ 346 w 10785"/>
                <a:gd name="connsiteY2297" fmla="*/ 3590 h 10000"/>
                <a:gd name="connsiteX2298" fmla="*/ 355 w 10785"/>
                <a:gd name="connsiteY2298" fmla="*/ 3590 h 10000"/>
                <a:gd name="connsiteX2299" fmla="*/ 369 w 10785"/>
                <a:gd name="connsiteY2299" fmla="*/ 3556 h 10000"/>
                <a:gd name="connsiteX2300" fmla="*/ 369 w 10785"/>
                <a:gd name="connsiteY2300" fmla="*/ 3538 h 10000"/>
                <a:gd name="connsiteX2301" fmla="*/ 346 w 10785"/>
                <a:gd name="connsiteY2301" fmla="*/ 3513 h 10000"/>
                <a:gd name="connsiteX2302" fmla="*/ 341 w 10785"/>
                <a:gd name="connsiteY2302" fmla="*/ 3530 h 10000"/>
                <a:gd name="connsiteX2303" fmla="*/ 327 w 10785"/>
                <a:gd name="connsiteY2303" fmla="*/ 3513 h 10000"/>
                <a:gd name="connsiteX2304" fmla="*/ 327 w 10785"/>
                <a:gd name="connsiteY2304" fmla="*/ 3504 h 10000"/>
                <a:gd name="connsiteX2305" fmla="*/ 295 w 10785"/>
                <a:gd name="connsiteY2305" fmla="*/ 3462 h 10000"/>
                <a:gd name="connsiteX2306" fmla="*/ 300 w 10785"/>
                <a:gd name="connsiteY2306" fmla="*/ 3479 h 10000"/>
                <a:gd name="connsiteX2307" fmla="*/ 295 w 10785"/>
                <a:gd name="connsiteY2307" fmla="*/ 3513 h 10000"/>
                <a:gd name="connsiteX2308" fmla="*/ 286 w 10785"/>
                <a:gd name="connsiteY2308" fmla="*/ 3513 h 10000"/>
                <a:gd name="connsiteX2309" fmla="*/ 281 w 10785"/>
                <a:gd name="connsiteY2309" fmla="*/ 3513 h 10000"/>
                <a:gd name="connsiteX2310" fmla="*/ 281 w 10785"/>
                <a:gd name="connsiteY2310" fmla="*/ 3530 h 10000"/>
                <a:gd name="connsiteX2311" fmla="*/ 281 w 10785"/>
                <a:gd name="connsiteY2311" fmla="*/ 3556 h 10000"/>
                <a:gd name="connsiteX2312" fmla="*/ 272 w 10785"/>
                <a:gd name="connsiteY2312" fmla="*/ 3564 h 10000"/>
                <a:gd name="connsiteX2313" fmla="*/ 267 w 10785"/>
                <a:gd name="connsiteY2313" fmla="*/ 3564 h 10000"/>
                <a:gd name="connsiteX2314" fmla="*/ 253 w 10785"/>
                <a:gd name="connsiteY2314" fmla="*/ 3538 h 10000"/>
                <a:gd name="connsiteX2315" fmla="*/ 226 w 10785"/>
                <a:gd name="connsiteY2315" fmla="*/ 3513 h 10000"/>
                <a:gd name="connsiteX2316" fmla="*/ 226 w 10785"/>
                <a:gd name="connsiteY2316" fmla="*/ 3530 h 10000"/>
                <a:gd name="connsiteX2317" fmla="*/ 226 w 10785"/>
                <a:gd name="connsiteY2317" fmla="*/ 3530 h 10000"/>
                <a:gd name="connsiteX2318" fmla="*/ 226 w 10785"/>
                <a:gd name="connsiteY2318" fmla="*/ 3530 h 10000"/>
                <a:gd name="connsiteX2319" fmla="*/ 226 w 10785"/>
                <a:gd name="connsiteY2319" fmla="*/ 3556 h 10000"/>
                <a:gd name="connsiteX2320" fmla="*/ 221 w 10785"/>
                <a:gd name="connsiteY2320" fmla="*/ 3598 h 10000"/>
                <a:gd name="connsiteX2321" fmla="*/ 207 w 10785"/>
                <a:gd name="connsiteY2321" fmla="*/ 3598 h 10000"/>
                <a:gd name="connsiteX2322" fmla="*/ 180 w 10785"/>
                <a:gd name="connsiteY2322" fmla="*/ 3581 h 10000"/>
                <a:gd name="connsiteX2323" fmla="*/ 171 w 10785"/>
                <a:gd name="connsiteY2323" fmla="*/ 3641 h 10000"/>
                <a:gd name="connsiteX2324" fmla="*/ 166 w 10785"/>
                <a:gd name="connsiteY2324" fmla="*/ 3650 h 10000"/>
                <a:gd name="connsiteX2325" fmla="*/ 124 w 10785"/>
                <a:gd name="connsiteY2325" fmla="*/ 3701 h 10000"/>
                <a:gd name="connsiteX2326" fmla="*/ 124 w 10785"/>
                <a:gd name="connsiteY2326" fmla="*/ 3718 h 10000"/>
                <a:gd name="connsiteX2327" fmla="*/ 120 w 10785"/>
                <a:gd name="connsiteY2327" fmla="*/ 3735 h 10000"/>
                <a:gd name="connsiteX2328" fmla="*/ 120 w 10785"/>
                <a:gd name="connsiteY2328" fmla="*/ 3735 h 10000"/>
                <a:gd name="connsiteX2329" fmla="*/ 111 w 10785"/>
                <a:gd name="connsiteY2329" fmla="*/ 3761 h 10000"/>
                <a:gd name="connsiteX2330" fmla="*/ 106 w 10785"/>
                <a:gd name="connsiteY2330" fmla="*/ 3761 h 10000"/>
                <a:gd name="connsiteX2331" fmla="*/ 106 w 10785"/>
                <a:gd name="connsiteY2331" fmla="*/ 3761 h 10000"/>
                <a:gd name="connsiteX2332" fmla="*/ 74 w 10785"/>
                <a:gd name="connsiteY2332" fmla="*/ 3829 h 10000"/>
                <a:gd name="connsiteX2333" fmla="*/ 78 w 10785"/>
                <a:gd name="connsiteY2333" fmla="*/ 3838 h 10000"/>
                <a:gd name="connsiteX2334" fmla="*/ 88 w 10785"/>
                <a:gd name="connsiteY2334" fmla="*/ 3846 h 10000"/>
                <a:gd name="connsiteX2335" fmla="*/ 65 w 10785"/>
                <a:gd name="connsiteY2335" fmla="*/ 3923 h 10000"/>
                <a:gd name="connsiteX2336" fmla="*/ 78 w 10785"/>
                <a:gd name="connsiteY2336" fmla="*/ 4026 h 10000"/>
                <a:gd name="connsiteX2337" fmla="*/ 88 w 10785"/>
                <a:gd name="connsiteY2337" fmla="*/ 4051 h 10000"/>
                <a:gd name="connsiteX2338" fmla="*/ 92 w 10785"/>
                <a:gd name="connsiteY2338" fmla="*/ 4060 h 10000"/>
                <a:gd name="connsiteX2339" fmla="*/ 111 w 10785"/>
                <a:gd name="connsiteY2339" fmla="*/ 4060 h 10000"/>
                <a:gd name="connsiteX2340" fmla="*/ 124 w 10785"/>
                <a:gd name="connsiteY2340" fmla="*/ 4085 h 10000"/>
                <a:gd name="connsiteX2341" fmla="*/ 166 w 10785"/>
                <a:gd name="connsiteY2341" fmla="*/ 4197 h 10000"/>
                <a:gd name="connsiteX2342" fmla="*/ 166 w 10785"/>
                <a:gd name="connsiteY2342" fmla="*/ 4248 h 10000"/>
                <a:gd name="connsiteX2343" fmla="*/ 120 w 10785"/>
                <a:gd name="connsiteY2343" fmla="*/ 4462 h 10000"/>
                <a:gd name="connsiteX2344" fmla="*/ 120 w 10785"/>
                <a:gd name="connsiteY2344" fmla="*/ 4513 h 10000"/>
                <a:gd name="connsiteX2345" fmla="*/ 180 w 10785"/>
                <a:gd name="connsiteY2345" fmla="*/ 4829 h 10000"/>
                <a:gd name="connsiteX2346" fmla="*/ 161 w 10785"/>
                <a:gd name="connsiteY2346" fmla="*/ 4855 h 10000"/>
                <a:gd name="connsiteX2347" fmla="*/ 152 w 10785"/>
                <a:gd name="connsiteY2347" fmla="*/ 4940 h 10000"/>
                <a:gd name="connsiteX2348" fmla="*/ 161 w 10785"/>
                <a:gd name="connsiteY2348" fmla="*/ 4966 h 10000"/>
                <a:gd name="connsiteX2349" fmla="*/ 161 w 10785"/>
                <a:gd name="connsiteY2349" fmla="*/ 5009 h 10000"/>
                <a:gd name="connsiteX2350" fmla="*/ 152 w 10785"/>
                <a:gd name="connsiteY2350" fmla="*/ 5034 h 10000"/>
                <a:gd name="connsiteX2351" fmla="*/ 152 w 10785"/>
                <a:gd name="connsiteY2351" fmla="*/ 5077 h 10000"/>
                <a:gd name="connsiteX2352" fmla="*/ 171 w 10785"/>
                <a:gd name="connsiteY2352" fmla="*/ 5094 h 10000"/>
                <a:gd name="connsiteX2353" fmla="*/ 180 w 10785"/>
                <a:gd name="connsiteY2353" fmla="*/ 5128 h 10000"/>
                <a:gd name="connsiteX2354" fmla="*/ 180 w 10785"/>
                <a:gd name="connsiteY2354" fmla="*/ 5171 h 10000"/>
                <a:gd name="connsiteX2355" fmla="*/ 184 w 10785"/>
                <a:gd name="connsiteY2355" fmla="*/ 5205 h 10000"/>
                <a:gd name="connsiteX2356" fmla="*/ 207 w 10785"/>
                <a:gd name="connsiteY2356" fmla="*/ 5239 h 10000"/>
                <a:gd name="connsiteX2357" fmla="*/ 207 w 10785"/>
                <a:gd name="connsiteY2357" fmla="*/ 5282 h 10000"/>
                <a:gd name="connsiteX2358" fmla="*/ 180 w 10785"/>
                <a:gd name="connsiteY2358" fmla="*/ 5393 h 10000"/>
                <a:gd name="connsiteX2359" fmla="*/ 194 w 10785"/>
                <a:gd name="connsiteY2359" fmla="*/ 5427 h 10000"/>
                <a:gd name="connsiteX2360" fmla="*/ 198 w 10785"/>
                <a:gd name="connsiteY2360" fmla="*/ 5462 h 10000"/>
                <a:gd name="connsiteX2361" fmla="*/ 235 w 10785"/>
                <a:gd name="connsiteY2361" fmla="*/ 5513 h 10000"/>
                <a:gd name="connsiteX2362" fmla="*/ 240 w 10785"/>
                <a:gd name="connsiteY2362" fmla="*/ 5556 h 10000"/>
                <a:gd name="connsiteX2363" fmla="*/ 253 w 10785"/>
                <a:gd name="connsiteY2363" fmla="*/ 5590 h 10000"/>
                <a:gd name="connsiteX2364" fmla="*/ 258 w 10785"/>
                <a:gd name="connsiteY2364" fmla="*/ 5573 h 10000"/>
                <a:gd name="connsiteX2365" fmla="*/ 258 w 10785"/>
                <a:gd name="connsiteY2365" fmla="*/ 5667 h 10000"/>
                <a:gd name="connsiteX2366" fmla="*/ 14 w 10785"/>
                <a:gd name="connsiteY2366" fmla="*/ 6214 h 10000"/>
                <a:gd name="connsiteX2367" fmla="*/ 14 w 10785"/>
                <a:gd name="connsiteY2367" fmla="*/ 6214 h 10000"/>
                <a:gd name="connsiteX2368" fmla="*/ 37 w 10785"/>
                <a:gd name="connsiteY2368" fmla="*/ 6214 h 10000"/>
                <a:gd name="connsiteX2369" fmla="*/ 51 w 10785"/>
                <a:gd name="connsiteY2369" fmla="*/ 6188 h 10000"/>
                <a:gd name="connsiteX2370" fmla="*/ 78 w 10785"/>
                <a:gd name="connsiteY2370" fmla="*/ 6162 h 10000"/>
                <a:gd name="connsiteX2371" fmla="*/ 78 w 10785"/>
                <a:gd name="connsiteY2371" fmla="*/ 6188 h 10000"/>
                <a:gd name="connsiteX2372" fmla="*/ 74 w 10785"/>
                <a:gd name="connsiteY2372" fmla="*/ 6197 h 10000"/>
                <a:gd name="connsiteX2373" fmla="*/ 74 w 10785"/>
                <a:gd name="connsiteY2373" fmla="*/ 6231 h 10000"/>
                <a:gd name="connsiteX2374" fmla="*/ 74 w 10785"/>
                <a:gd name="connsiteY2374" fmla="*/ 6214 h 10000"/>
                <a:gd name="connsiteX2375" fmla="*/ 65 w 10785"/>
                <a:gd name="connsiteY2375" fmla="*/ 6214 h 10000"/>
                <a:gd name="connsiteX2376" fmla="*/ 65 w 10785"/>
                <a:gd name="connsiteY2376" fmla="*/ 6248 h 10000"/>
                <a:gd name="connsiteX2377" fmla="*/ 74 w 10785"/>
                <a:gd name="connsiteY2377" fmla="*/ 6256 h 10000"/>
                <a:gd name="connsiteX2378" fmla="*/ 78 w 10785"/>
                <a:gd name="connsiteY2378" fmla="*/ 6256 h 10000"/>
                <a:gd name="connsiteX2379" fmla="*/ 106 w 10785"/>
                <a:gd name="connsiteY2379" fmla="*/ 6308 h 10000"/>
                <a:gd name="connsiteX2380" fmla="*/ 138 w 10785"/>
                <a:gd name="connsiteY2380" fmla="*/ 6299 h 10000"/>
                <a:gd name="connsiteX2381" fmla="*/ 152 w 10785"/>
                <a:gd name="connsiteY2381" fmla="*/ 6299 h 10000"/>
                <a:gd name="connsiteX2382" fmla="*/ 166 w 10785"/>
                <a:gd name="connsiteY2382" fmla="*/ 6325 h 10000"/>
                <a:gd name="connsiteX2383" fmla="*/ 166 w 10785"/>
                <a:gd name="connsiteY2383" fmla="*/ 6333 h 10000"/>
                <a:gd name="connsiteX2384" fmla="*/ 171 w 10785"/>
                <a:gd name="connsiteY2384" fmla="*/ 6350 h 10000"/>
                <a:gd name="connsiteX2385" fmla="*/ 180 w 10785"/>
                <a:gd name="connsiteY2385" fmla="*/ 6350 h 10000"/>
                <a:gd name="connsiteX2386" fmla="*/ 180 w 10785"/>
                <a:gd name="connsiteY2386" fmla="*/ 6359 h 10000"/>
                <a:gd name="connsiteX2387" fmla="*/ 171 w 10785"/>
                <a:gd name="connsiteY2387" fmla="*/ 6368 h 10000"/>
                <a:gd name="connsiteX2388" fmla="*/ 106 w 10785"/>
                <a:gd name="connsiteY2388" fmla="*/ 6350 h 10000"/>
                <a:gd name="connsiteX2389" fmla="*/ 101 w 10785"/>
                <a:gd name="connsiteY2389" fmla="*/ 6359 h 10000"/>
                <a:gd name="connsiteX2390" fmla="*/ 101 w 10785"/>
                <a:gd name="connsiteY2390" fmla="*/ 6385 h 10000"/>
                <a:gd name="connsiteX2391" fmla="*/ 78 w 10785"/>
                <a:gd name="connsiteY2391" fmla="*/ 6393 h 10000"/>
                <a:gd name="connsiteX2392" fmla="*/ 74 w 10785"/>
                <a:gd name="connsiteY2392" fmla="*/ 6385 h 10000"/>
                <a:gd name="connsiteX2393" fmla="*/ 65 w 10785"/>
                <a:gd name="connsiteY2393" fmla="*/ 6393 h 10000"/>
                <a:gd name="connsiteX2394" fmla="*/ 60 w 10785"/>
                <a:gd name="connsiteY2394" fmla="*/ 6419 h 10000"/>
                <a:gd name="connsiteX2395" fmla="*/ 51 w 10785"/>
                <a:gd name="connsiteY2395" fmla="*/ 6419 h 10000"/>
                <a:gd name="connsiteX2396" fmla="*/ 46 w 10785"/>
                <a:gd name="connsiteY2396" fmla="*/ 6410 h 10000"/>
                <a:gd name="connsiteX2397" fmla="*/ 37 w 10785"/>
                <a:gd name="connsiteY2397" fmla="*/ 6393 h 10000"/>
                <a:gd name="connsiteX2398" fmla="*/ 32 w 10785"/>
                <a:gd name="connsiteY2398" fmla="*/ 6419 h 10000"/>
                <a:gd name="connsiteX2399" fmla="*/ 37 w 10785"/>
                <a:gd name="connsiteY2399" fmla="*/ 6462 h 10000"/>
                <a:gd name="connsiteX2400" fmla="*/ 46 w 10785"/>
                <a:gd name="connsiteY2400" fmla="*/ 6462 h 10000"/>
                <a:gd name="connsiteX2401" fmla="*/ 51 w 10785"/>
                <a:gd name="connsiteY2401" fmla="*/ 6470 h 10000"/>
                <a:gd name="connsiteX2402" fmla="*/ 51 w 10785"/>
                <a:gd name="connsiteY2402" fmla="*/ 6496 h 10000"/>
                <a:gd name="connsiteX2403" fmla="*/ 51 w 10785"/>
                <a:gd name="connsiteY2403" fmla="*/ 6504 h 10000"/>
                <a:gd name="connsiteX2404" fmla="*/ 37 w 10785"/>
                <a:gd name="connsiteY2404" fmla="*/ 6530 h 10000"/>
                <a:gd name="connsiteX2405" fmla="*/ 18 w 10785"/>
                <a:gd name="connsiteY2405" fmla="*/ 6598 h 10000"/>
                <a:gd name="connsiteX2406" fmla="*/ 28 w 10785"/>
                <a:gd name="connsiteY2406" fmla="*/ 6632 h 10000"/>
                <a:gd name="connsiteX2407" fmla="*/ 18 w 10785"/>
                <a:gd name="connsiteY2407" fmla="*/ 6667 h 10000"/>
                <a:gd name="connsiteX2408" fmla="*/ 28 w 10785"/>
                <a:gd name="connsiteY2408" fmla="*/ 6692 h 10000"/>
                <a:gd name="connsiteX2409" fmla="*/ 28 w 10785"/>
                <a:gd name="connsiteY2409" fmla="*/ 6709 h 10000"/>
                <a:gd name="connsiteX2410" fmla="*/ 18 w 10785"/>
                <a:gd name="connsiteY2410" fmla="*/ 6718 h 10000"/>
                <a:gd name="connsiteX2411" fmla="*/ 5 w 10785"/>
                <a:gd name="connsiteY2411" fmla="*/ 6744 h 10000"/>
                <a:gd name="connsiteX2412" fmla="*/ 0 w 10785"/>
                <a:gd name="connsiteY2412" fmla="*/ 6769 h 10000"/>
                <a:gd name="connsiteX2413" fmla="*/ 5 w 10785"/>
                <a:gd name="connsiteY2413" fmla="*/ 6778 h 10000"/>
                <a:gd name="connsiteX2414" fmla="*/ 32 w 10785"/>
                <a:gd name="connsiteY2414" fmla="*/ 6778 h 10000"/>
                <a:gd name="connsiteX2415" fmla="*/ 46 w 10785"/>
                <a:gd name="connsiteY2415" fmla="*/ 6821 h 10000"/>
                <a:gd name="connsiteX2416" fmla="*/ 46 w 10785"/>
                <a:gd name="connsiteY2416" fmla="*/ 6855 h 10000"/>
                <a:gd name="connsiteX2417" fmla="*/ 32 w 10785"/>
                <a:gd name="connsiteY2417" fmla="*/ 6855 h 10000"/>
                <a:gd name="connsiteX2418" fmla="*/ 14 w 10785"/>
                <a:gd name="connsiteY2418" fmla="*/ 6821 h 10000"/>
                <a:gd name="connsiteX2419" fmla="*/ 14 w 10785"/>
                <a:gd name="connsiteY2419" fmla="*/ 6846 h 10000"/>
                <a:gd name="connsiteX2420" fmla="*/ 0 w 10785"/>
                <a:gd name="connsiteY2420" fmla="*/ 6897 h 10000"/>
                <a:gd name="connsiteX2421" fmla="*/ 0 w 10785"/>
                <a:gd name="connsiteY2421" fmla="*/ 6915 h 10000"/>
                <a:gd name="connsiteX2422" fmla="*/ 5 w 10785"/>
                <a:gd name="connsiteY2422" fmla="*/ 6932 h 10000"/>
                <a:gd name="connsiteX2423" fmla="*/ 14 w 10785"/>
                <a:gd name="connsiteY2423" fmla="*/ 6940 h 10000"/>
                <a:gd name="connsiteX2424" fmla="*/ 18 w 10785"/>
                <a:gd name="connsiteY2424" fmla="*/ 6957 h 10000"/>
                <a:gd name="connsiteX2425" fmla="*/ 28 w 10785"/>
                <a:gd name="connsiteY2425" fmla="*/ 6966 h 10000"/>
                <a:gd name="connsiteX2426" fmla="*/ 28 w 10785"/>
                <a:gd name="connsiteY2426" fmla="*/ 6983 h 10000"/>
                <a:gd name="connsiteX2427" fmla="*/ 18 w 10785"/>
                <a:gd name="connsiteY2427" fmla="*/ 7051 h 10000"/>
                <a:gd name="connsiteX2428" fmla="*/ 28 w 10785"/>
                <a:gd name="connsiteY2428" fmla="*/ 7068 h 10000"/>
                <a:gd name="connsiteX2429" fmla="*/ 32 w 10785"/>
                <a:gd name="connsiteY2429" fmla="*/ 7068 h 10000"/>
                <a:gd name="connsiteX2430" fmla="*/ 32 w 10785"/>
                <a:gd name="connsiteY2430" fmla="*/ 7094 h 10000"/>
                <a:gd name="connsiteX2431" fmla="*/ 60 w 10785"/>
                <a:gd name="connsiteY2431" fmla="*/ 7162 h 10000"/>
                <a:gd name="connsiteX2432" fmla="*/ 60 w 10785"/>
                <a:gd name="connsiteY2432" fmla="*/ 7231 h 10000"/>
                <a:gd name="connsiteX2433" fmla="*/ 60 w 10785"/>
                <a:gd name="connsiteY2433" fmla="*/ 7239 h 10000"/>
                <a:gd name="connsiteX2434" fmla="*/ 78 w 10785"/>
                <a:gd name="connsiteY2434" fmla="*/ 7239 h 10000"/>
                <a:gd name="connsiteX2435" fmla="*/ 88 w 10785"/>
                <a:gd name="connsiteY2435" fmla="*/ 7239 h 10000"/>
                <a:gd name="connsiteX2436" fmla="*/ 92 w 10785"/>
                <a:gd name="connsiteY2436" fmla="*/ 7256 h 10000"/>
                <a:gd name="connsiteX2437" fmla="*/ 111 w 10785"/>
                <a:gd name="connsiteY2437" fmla="*/ 7256 h 10000"/>
                <a:gd name="connsiteX2438" fmla="*/ 120 w 10785"/>
                <a:gd name="connsiteY2438" fmla="*/ 7256 h 10000"/>
                <a:gd name="connsiteX2439" fmla="*/ 134 w 10785"/>
                <a:gd name="connsiteY2439" fmla="*/ 7282 h 10000"/>
                <a:gd name="connsiteX2440" fmla="*/ 134 w 10785"/>
                <a:gd name="connsiteY2440" fmla="*/ 7316 h 10000"/>
                <a:gd name="connsiteX2441" fmla="*/ 152 w 10785"/>
                <a:gd name="connsiteY2441" fmla="*/ 7299 h 10000"/>
                <a:gd name="connsiteX2442" fmla="*/ 161 w 10785"/>
                <a:gd name="connsiteY2442" fmla="*/ 7299 h 10000"/>
                <a:gd name="connsiteX2443" fmla="*/ 166 w 10785"/>
                <a:gd name="connsiteY2443" fmla="*/ 7291 h 10000"/>
                <a:gd name="connsiteX2444" fmla="*/ 194 w 10785"/>
                <a:gd name="connsiteY2444" fmla="*/ 7291 h 10000"/>
                <a:gd name="connsiteX2445" fmla="*/ 207 w 10785"/>
                <a:gd name="connsiteY2445" fmla="*/ 7299 h 10000"/>
                <a:gd name="connsiteX2446" fmla="*/ 221 w 10785"/>
                <a:gd name="connsiteY2446" fmla="*/ 7342 h 10000"/>
                <a:gd name="connsiteX2447" fmla="*/ 235 w 10785"/>
                <a:gd name="connsiteY2447" fmla="*/ 7342 h 10000"/>
                <a:gd name="connsiteX2448" fmla="*/ 235 w 10785"/>
                <a:gd name="connsiteY2448" fmla="*/ 7368 h 10000"/>
                <a:gd name="connsiteX2449" fmla="*/ 226 w 10785"/>
                <a:gd name="connsiteY2449" fmla="*/ 7393 h 10000"/>
                <a:gd name="connsiteX2450" fmla="*/ 226 w 10785"/>
                <a:gd name="connsiteY2450" fmla="*/ 7402 h 10000"/>
                <a:gd name="connsiteX2451" fmla="*/ 235 w 10785"/>
                <a:gd name="connsiteY2451" fmla="*/ 7419 h 10000"/>
                <a:gd name="connsiteX2452" fmla="*/ 240 w 10785"/>
                <a:gd name="connsiteY2452" fmla="*/ 7436 h 10000"/>
                <a:gd name="connsiteX2453" fmla="*/ 235 w 10785"/>
                <a:gd name="connsiteY2453" fmla="*/ 7462 h 10000"/>
                <a:gd name="connsiteX2454" fmla="*/ 226 w 10785"/>
                <a:gd name="connsiteY2454" fmla="*/ 7479 h 10000"/>
                <a:gd name="connsiteX2455" fmla="*/ 226 w 10785"/>
                <a:gd name="connsiteY2455" fmla="*/ 7504 h 10000"/>
                <a:gd name="connsiteX2456" fmla="*/ 226 w 10785"/>
                <a:gd name="connsiteY2456" fmla="*/ 7513 h 10000"/>
                <a:gd name="connsiteX2457" fmla="*/ 240 w 10785"/>
                <a:gd name="connsiteY2457" fmla="*/ 7538 h 10000"/>
                <a:gd name="connsiteX2458" fmla="*/ 267 w 10785"/>
                <a:gd name="connsiteY2458" fmla="*/ 7641 h 10000"/>
                <a:gd name="connsiteX2459" fmla="*/ 281 w 10785"/>
                <a:gd name="connsiteY2459" fmla="*/ 7667 h 10000"/>
                <a:gd name="connsiteX2460" fmla="*/ 286 w 10785"/>
                <a:gd name="connsiteY2460" fmla="*/ 7675 h 10000"/>
                <a:gd name="connsiteX2461" fmla="*/ 286 w 10785"/>
                <a:gd name="connsiteY2461" fmla="*/ 7692 h 10000"/>
                <a:gd name="connsiteX2462" fmla="*/ 286 w 10785"/>
                <a:gd name="connsiteY2462" fmla="*/ 7709 h 10000"/>
                <a:gd name="connsiteX2463" fmla="*/ 295 w 10785"/>
                <a:gd name="connsiteY2463" fmla="*/ 7726 h 10000"/>
                <a:gd name="connsiteX2464" fmla="*/ 318 w 10785"/>
                <a:gd name="connsiteY2464" fmla="*/ 7709 h 10000"/>
                <a:gd name="connsiteX2465" fmla="*/ 327 w 10785"/>
                <a:gd name="connsiteY2465" fmla="*/ 7726 h 10000"/>
                <a:gd name="connsiteX2466" fmla="*/ 341 w 10785"/>
                <a:gd name="connsiteY2466" fmla="*/ 7735 h 10000"/>
                <a:gd name="connsiteX2467" fmla="*/ 332 w 10785"/>
                <a:gd name="connsiteY2467" fmla="*/ 7752 h 10000"/>
                <a:gd name="connsiteX2468" fmla="*/ 341 w 10785"/>
                <a:gd name="connsiteY2468" fmla="*/ 7761 h 10000"/>
                <a:gd name="connsiteX2469" fmla="*/ 355 w 10785"/>
                <a:gd name="connsiteY2469" fmla="*/ 7761 h 10000"/>
                <a:gd name="connsiteX2470" fmla="*/ 355 w 10785"/>
                <a:gd name="connsiteY2470" fmla="*/ 7803 h 10000"/>
                <a:gd name="connsiteX2471" fmla="*/ 313 w 10785"/>
                <a:gd name="connsiteY2471" fmla="*/ 7846 h 10000"/>
                <a:gd name="connsiteX2472" fmla="*/ 295 w 10785"/>
                <a:gd name="connsiteY2472" fmla="*/ 7846 h 10000"/>
                <a:gd name="connsiteX2473" fmla="*/ 281 w 10785"/>
                <a:gd name="connsiteY2473" fmla="*/ 7821 h 10000"/>
                <a:gd name="connsiteX2474" fmla="*/ 272 w 10785"/>
                <a:gd name="connsiteY2474" fmla="*/ 7821 h 10000"/>
                <a:gd name="connsiteX2475" fmla="*/ 267 w 10785"/>
                <a:gd name="connsiteY2475" fmla="*/ 7838 h 10000"/>
                <a:gd name="connsiteX2476" fmla="*/ 258 w 10785"/>
                <a:gd name="connsiteY2476" fmla="*/ 7846 h 10000"/>
                <a:gd name="connsiteX2477" fmla="*/ 253 w 10785"/>
                <a:gd name="connsiteY2477" fmla="*/ 7863 h 10000"/>
                <a:gd name="connsiteX2478" fmla="*/ 253 w 10785"/>
                <a:gd name="connsiteY2478" fmla="*/ 7872 h 10000"/>
                <a:gd name="connsiteX2479" fmla="*/ 267 w 10785"/>
                <a:gd name="connsiteY2479" fmla="*/ 7897 h 10000"/>
                <a:gd name="connsiteX2480" fmla="*/ 272 w 10785"/>
                <a:gd name="connsiteY2480" fmla="*/ 7915 h 10000"/>
                <a:gd name="connsiteX2481" fmla="*/ 267 w 10785"/>
                <a:gd name="connsiteY2481" fmla="*/ 7940 h 10000"/>
                <a:gd name="connsiteX2482" fmla="*/ 272 w 10785"/>
                <a:gd name="connsiteY2482" fmla="*/ 7949 h 10000"/>
                <a:gd name="connsiteX2483" fmla="*/ 272 w 10785"/>
                <a:gd name="connsiteY2483" fmla="*/ 7957 h 10000"/>
                <a:gd name="connsiteX2484" fmla="*/ 281 w 10785"/>
                <a:gd name="connsiteY2484" fmla="*/ 7974 h 10000"/>
                <a:gd name="connsiteX2485" fmla="*/ 286 w 10785"/>
                <a:gd name="connsiteY2485" fmla="*/ 7983 h 10000"/>
                <a:gd name="connsiteX2486" fmla="*/ 281 w 10785"/>
                <a:gd name="connsiteY2486" fmla="*/ 8009 h 10000"/>
                <a:gd name="connsiteX2487" fmla="*/ 286 w 10785"/>
                <a:gd name="connsiteY2487" fmla="*/ 8060 h 10000"/>
                <a:gd name="connsiteX2488" fmla="*/ 286 w 10785"/>
                <a:gd name="connsiteY2488" fmla="*/ 8060 h 10000"/>
                <a:gd name="connsiteX2489" fmla="*/ 295 w 10785"/>
                <a:gd name="connsiteY2489" fmla="*/ 8077 h 10000"/>
                <a:gd name="connsiteX2490" fmla="*/ 309 w 10785"/>
                <a:gd name="connsiteY2490" fmla="*/ 8077 h 10000"/>
                <a:gd name="connsiteX2491" fmla="*/ 313 w 10785"/>
                <a:gd name="connsiteY2491" fmla="*/ 8060 h 10000"/>
                <a:gd name="connsiteX2492" fmla="*/ 318 w 10785"/>
                <a:gd name="connsiteY2492" fmla="*/ 8051 h 10000"/>
                <a:gd name="connsiteX2493" fmla="*/ 318 w 10785"/>
                <a:gd name="connsiteY2493" fmla="*/ 8034 h 10000"/>
                <a:gd name="connsiteX2494" fmla="*/ 332 w 10785"/>
                <a:gd name="connsiteY2494" fmla="*/ 8026 h 10000"/>
                <a:gd name="connsiteX2495" fmla="*/ 359 w 10785"/>
                <a:gd name="connsiteY2495" fmla="*/ 8034 h 10000"/>
                <a:gd name="connsiteX2496" fmla="*/ 378 w 10785"/>
                <a:gd name="connsiteY2496" fmla="*/ 8026 h 10000"/>
                <a:gd name="connsiteX2497" fmla="*/ 401 w 10785"/>
                <a:gd name="connsiteY2497" fmla="*/ 8026 h 10000"/>
                <a:gd name="connsiteX2498" fmla="*/ 419 w 10785"/>
                <a:gd name="connsiteY2498" fmla="*/ 8009 h 10000"/>
                <a:gd name="connsiteX2499" fmla="*/ 433 w 10785"/>
                <a:gd name="connsiteY2499" fmla="*/ 8034 h 10000"/>
                <a:gd name="connsiteX2500" fmla="*/ 442 w 10785"/>
                <a:gd name="connsiteY2500" fmla="*/ 8060 h 10000"/>
                <a:gd name="connsiteX2501" fmla="*/ 442 w 10785"/>
                <a:gd name="connsiteY2501" fmla="*/ 8077 h 10000"/>
                <a:gd name="connsiteX2502" fmla="*/ 461 w 10785"/>
                <a:gd name="connsiteY2502" fmla="*/ 8111 h 10000"/>
                <a:gd name="connsiteX2503" fmla="*/ 461 w 10785"/>
                <a:gd name="connsiteY2503" fmla="*/ 8137 h 10000"/>
                <a:gd name="connsiteX2504" fmla="*/ 447 w 10785"/>
                <a:gd name="connsiteY2504" fmla="*/ 8145 h 10000"/>
                <a:gd name="connsiteX2505" fmla="*/ 442 w 10785"/>
                <a:gd name="connsiteY2505" fmla="*/ 8145 h 10000"/>
                <a:gd name="connsiteX2506" fmla="*/ 442 w 10785"/>
                <a:gd name="connsiteY2506" fmla="*/ 8162 h 10000"/>
                <a:gd name="connsiteX2507" fmla="*/ 442 w 10785"/>
                <a:gd name="connsiteY2507" fmla="*/ 8171 h 10000"/>
                <a:gd name="connsiteX2508" fmla="*/ 447 w 10785"/>
                <a:gd name="connsiteY2508" fmla="*/ 8214 h 10000"/>
                <a:gd name="connsiteX2509" fmla="*/ 465 w 10785"/>
                <a:gd name="connsiteY2509" fmla="*/ 8231 h 10000"/>
                <a:gd name="connsiteX2510" fmla="*/ 488 w 10785"/>
                <a:gd name="connsiteY2510" fmla="*/ 8231 h 10000"/>
                <a:gd name="connsiteX2511" fmla="*/ 493 w 10785"/>
                <a:gd name="connsiteY2511" fmla="*/ 8231 h 10000"/>
                <a:gd name="connsiteX2512" fmla="*/ 502 w 10785"/>
                <a:gd name="connsiteY2512" fmla="*/ 8231 h 10000"/>
                <a:gd name="connsiteX2513" fmla="*/ 507 w 10785"/>
                <a:gd name="connsiteY2513" fmla="*/ 8248 h 10000"/>
                <a:gd name="connsiteX2514" fmla="*/ 521 w 10785"/>
                <a:gd name="connsiteY2514" fmla="*/ 8274 h 10000"/>
                <a:gd name="connsiteX2515" fmla="*/ 525 w 10785"/>
                <a:gd name="connsiteY2515" fmla="*/ 8333 h 10000"/>
                <a:gd name="connsiteX2516" fmla="*/ 525 w 10785"/>
                <a:gd name="connsiteY2516" fmla="*/ 8359 h 10000"/>
                <a:gd name="connsiteX2517" fmla="*/ 525 w 10785"/>
                <a:gd name="connsiteY2517" fmla="*/ 8368 h 10000"/>
                <a:gd name="connsiteX2518" fmla="*/ 548 w 10785"/>
                <a:gd name="connsiteY2518" fmla="*/ 8393 h 10000"/>
                <a:gd name="connsiteX2519" fmla="*/ 553 w 10785"/>
                <a:gd name="connsiteY2519" fmla="*/ 8385 h 10000"/>
                <a:gd name="connsiteX2520" fmla="*/ 562 w 10785"/>
                <a:gd name="connsiteY2520" fmla="*/ 8385 h 10000"/>
                <a:gd name="connsiteX2521" fmla="*/ 576 w 10785"/>
                <a:gd name="connsiteY2521" fmla="*/ 8385 h 10000"/>
                <a:gd name="connsiteX2522" fmla="*/ 585 w 10785"/>
                <a:gd name="connsiteY2522" fmla="*/ 8410 h 10000"/>
                <a:gd name="connsiteX2523" fmla="*/ 594 w 10785"/>
                <a:gd name="connsiteY2523" fmla="*/ 8410 h 10000"/>
                <a:gd name="connsiteX2524" fmla="*/ 608 w 10785"/>
                <a:gd name="connsiteY2524" fmla="*/ 8410 h 10000"/>
                <a:gd name="connsiteX2525" fmla="*/ 654 w 10785"/>
                <a:gd name="connsiteY2525" fmla="*/ 8385 h 10000"/>
                <a:gd name="connsiteX2526" fmla="*/ 659 w 10785"/>
                <a:gd name="connsiteY2526" fmla="*/ 8385 h 10000"/>
                <a:gd name="connsiteX2527" fmla="*/ 696 w 10785"/>
                <a:gd name="connsiteY2527" fmla="*/ 8470 h 10000"/>
                <a:gd name="connsiteX2528" fmla="*/ 700 w 10785"/>
                <a:gd name="connsiteY2528" fmla="*/ 8470 h 10000"/>
                <a:gd name="connsiteX2529" fmla="*/ 710 w 10785"/>
                <a:gd name="connsiteY2529" fmla="*/ 8462 h 10000"/>
                <a:gd name="connsiteX2530" fmla="*/ 714 w 10785"/>
                <a:gd name="connsiteY2530" fmla="*/ 8462 h 10000"/>
                <a:gd name="connsiteX2531" fmla="*/ 724 w 10785"/>
                <a:gd name="connsiteY2531" fmla="*/ 8470 h 10000"/>
                <a:gd name="connsiteX2532" fmla="*/ 733 w 10785"/>
                <a:gd name="connsiteY2532" fmla="*/ 8470 h 10000"/>
                <a:gd name="connsiteX2533" fmla="*/ 742 w 10785"/>
                <a:gd name="connsiteY2533" fmla="*/ 8487 h 10000"/>
                <a:gd name="connsiteX2534" fmla="*/ 747 w 10785"/>
                <a:gd name="connsiteY2534" fmla="*/ 8496 h 10000"/>
                <a:gd name="connsiteX2535" fmla="*/ 770 w 10785"/>
                <a:gd name="connsiteY2535" fmla="*/ 8496 h 10000"/>
                <a:gd name="connsiteX2536" fmla="*/ 783 w 10785"/>
                <a:gd name="connsiteY2536" fmla="*/ 8521 h 10000"/>
                <a:gd name="connsiteX2537" fmla="*/ 797 w 10785"/>
                <a:gd name="connsiteY2537" fmla="*/ 8521 h 10000"/>
                <a:gd name="connsiteX2538" fmla="*/ 806 w 10785"/>
                <a:gd name="connsiteY2538" fmla="*/ 8530 h 10000"/>
                <a:gd name="connsiteX2539" fmla="*/ 829 w 10785"/>
                <a:gd name="connsiteY2539" fmla="*/ 8547 h 10000"/>
                <a:gd name="connsiteX2540" fmla="*/ 834 w 10785"/>
                <a:gd name="connsiteY2540" fmla="*/ 8556 h 10000"/>
                <a:gd name="connsiteX2541" fmla="*/ 829 w 10785"/>
                <a:gd name="connsiteY2541" fmla="*/ 8556 h 10000"/>
                <a:gd name="connsiteX2542" fmla="*/ 834 w 10785"/>
                <a:gd name="connsiteY2542" fmla="*/ 8607 h 10000"/>
                <a:gd name="connsiteX2543" fmla="*/ 829 w 10785"/>
                <a:gd name="connsiteY2543" fmla="*/ 8641 h 10000"/>
                <a:gd name="connsiteX2544" fmla="*/ 806 w 10785"/>
                <a:gd name="connsiteY2544" fmla="*/ 8658 h 10000"/>
                <a:gd name="connsiteX2545" fmla="*/ 816 w 10785"/>
                <a:gd name="connsiteY2545" fmla="*/ 8667 h 10000"/>
                <a:gd name="connsiteX2546" fmla="*/ 820 w 10785"/>
                <a:gd name="connsiteY2546" fmla="*/ 8667 h 10000"/>
                <a:gd name="connsiteX2547" fmla="*/ 829 w 10785"/>
                <a:gd name="connsiteY2547" fmla="*/ 8684 h 10000"/>
                <a:gd name="connsiteX2548" fmla="*/ 806 w 10785"/>
                <a:gd name="connsiteY2548" fmla="*/ 8692 h 10000"/>
                <a:gd name="connsiteX2549" fmla="*/ 802 w 10785"/>
                <a:gd name="connsiteY2549" fmla="*/ 8709 h 10000"/>
                <a:gd name="connsiteX2550" fmla="*/ 802 w 10785"/>
                <a:gd name="connsiteY2550" fmla="*/ 8735 h 10000"/>
                <a:gd name="connsiteX2551" fmla="*/ 806 w 10785"/>
                <a:gd name="connsiteY2551" fmla="*/ 8744 h 10000"/>
                <a:gd name="connsiteX2552" fmla="*/ 816 w 10785"/>
                <a:gd name="connsiteY2552" fmla="*/ 8752 h 10000"/>
                <a:gd name="connsiteX2553" fmla="*/ 806 w 10785"/>
                <a:gd name="connsiteY2553" fmla="*/ 8778 h 10000"/>
                <a:gd name="connsiteX2554" fmla="*/ 820 w 10785"/>
                <a:gd name="connsiteY2554" fmla="*/ 8778 h 10000"/>
                <a:gd name="connsiteX2555" fmla="*/ 806 w 10785"/>
                <a:gd name="connsiteY2555" fmla="*/ 8880 h 10000"/>
                <a:gd name="connsiteX2556" fmla="*/ 797 w 10785"/>
                <a:gd name="connsiteY2556" fmla="*/ 8880 h 10000"/>
                <a:gd name="connsiteX2557" fmla="*/ 783 w 10785"/>
                <a:gd name="connsiteY2557" fmla="*/ 8872 h 10000"/>
                <a:gd name="connsiteX2558" fmla="*/ 770 w 10785"/>
                <a:gd name="connsiteY2558" fmla="*/ 8880 h 10000"/>
                <a:gd name="connsiteX2559" fmla="*/ 756 w 10785"/>
                <a:gd name="connsiteY2559" fmla="*/ 8855 h 10000"/>
                <a:gd name="connsiteX2560" fmla="*/ 733 w 10785"/>
                <a:gd name="connsiteY2560" fmla="*/ 8906 h 10000"/>
                <a:gd name="connsiteX2561" fmla="*/ 714 w 10785"/>
                <a:gd name="connsiteY2561" fmla="*/ 8915 h 10000"/>
                <a:gd name="connsiteX2562" fmla="*/ 710 w 10785"/>
                <a:gd name="connsiteY2562" fmla="*/ 8940 h 10000"/>
                <a:gd name="connsiteX2563" fmla="*/ 710 w 10785"/>
                <a:gd name="connsiteY2563" fmla="*/ 9009 h 10000"/>
                <a:gd name="connsiteX2564" fmla="*/ 728 w 10785"/>
                <a:gd name="connsiteY2564" fmla="*/ 8991 h 10000"/>
                <a:gd name="connsiteX2565" fmla="*/ 733 w 10785"/>
                <a:gd name="connsiteY2565" fmla="*/ 8991 h 10000"/>
                <a:gd name="connsiteX2566" fmla="*/ 747 w 10785"/>
                <a:gd name="connsiteY2566" fmla="*/ 8983 h 10000"/>
                <a:gd name="connsiteX2567" fmla="*/ 760 w 10785"/>
                <a:gd name="connsiteY2567" fmla="*/ 8983 h 10000"/>
                <a:gd name="connsiteX2568" fmla="*/ 770 w 10785"/>
                <a:gd name="connsiteY2568" fmla="*/ 8983 h 10000"/>
                <a:gd name="connsiteX2569" fmla="*/ 770 w 10785"/>
                <a:gd name="connsiteY2569" fmla="*/ 8991 h 10000"/>
                <a:gd name="connsiteX2570" fmla="*/ 783 w 10785"/>
                <a:gd name="connsiteY2570" fmla="*/ 8991 h 10000"/>
                <a:gd name="connsiteX2571" fmla="*/ 783 w 10785"/>
                <a:gd name="connsiteY2571" fmla="*/ 9009 h 10000"/>
                <a:gd name="connsiteX2572" fmla="*/ 783 w 10785"/>
                <a:gd name="connsiteY2572" fmla="*/ 9017 h 10000"/>
                <a:gd name="connsiteX2573" fmla="*/ 770 w 10785"/>
                <a:gd name="connsiteY2573" fmla="*/ 9017 h 10000"/>
                <a:gd name="connsiteX2574" fmla="*/ 724 w 10785"/>
                <a:gd name="connsiteY2574" fmla="*/ 9051 h 10000"/>
                <a:gd name="connsiteX2575" fmla="*/ 724 w 10785"/>
                <a:gd name="connsiteY2575" fmla="*/ 9068 h 10000"/>
                <a:gd name="connsiteX2576" fmla="*/ 728 w 10785"/>
                <a:gd name="connsiteY2576" fmla="*/ 9077 h 10000"/>
                <a:gd name="connsiteX2577" fmla="*/ 724 w 10785"/>
                <a:gd name="connsiteY2577" fmla="*/ 9077 h 10000"/>
                <a:gd name="connsiteX2578" fmla="*/ 710 w 10785"/>
                <a:gd name="connsiteY2578" fmla="*/ 9077 h 10000"/>
                <a:gd name="connsiteX2579" fmla="*/ 682 w 10785"/>
                <a:gd name="connsiteY2579" fmla="*/ 9077 h 10000"/>
                <a:gd name="connsiteX2580" fmla="*/ 673 w 10785"/>
                <a:gd name="connsiteY2580" fmla="*/ 9103 h 10000"/>
                <a:gd name="connsiteX2581" fmla="*/ 687 w 10785"/>
                <a:gd name="connsiteY2581" fmla="*/ 9128 h 10000"/>
                <a:gd name="connsiteX2582" fmla="*/ 700 w 10785"/>
                <a:gd name="connsiteY2582" fmla="*/ 9128 h 10000"/>
                <a:gd name="connsiteX2583" fmla="*/ 728 w 10785"/>
                <a:gd name="connsiteY2583" fmla="*/ 9179 h 10000"/>
                <a:gd name="connsiteX2584" fmla="*/ 724 w 10785"/>
                <a:gd name="connsiteY2584" fmla="*/ 9188 h 10000"/>
                <a:gd name="connsiteX2585" fmla="*/ 710 w 10785"/>
                <a:gd name="connsiteY2585" fmla="*/ 9179 h 10000"/>
                <a:gd name="connsiteX2586" fmla="*/ 700 w 10785"/>
                <a:gd name="connsiteY2586" fmla="*/ 9205 h 10000"/>
                <a:gd name="connsiteX2587" fmla="*/ 696 w 10785"/>
                <a:gd name="connsiteY2587" fmla="*/ 9205 h 10000"/>
                <a:gd name="connsiteX2588" fmla="*/ 654 w 10785"/>
                <a:gd name="connsiteY2588" fmla="*/ 9299 h 10000"/>
                <a:gd name="connsiteX2589" fmla="*/ 622 w 10785"/>
                <a:gd name="connsiteY2589" fmla="*/ 9299 h 10000"/>
                <a:gd name="connsiteX2590" fmla="*/ 613 w 10785"/>
                <a:gd name="connsiteY2590" fmla="*/ 9316 h 10000"/>
                <a:gd name="connsiteX2591" fmla="*/ 613 w 10785"/>
                <a:gd name="connsiteY2591" fmla="*/ 9325 h 10000"/>
                <a:gd name="connsiteX2592" fmla="*/ 608 w 10785"/>
                <a:gd name="connsiteY2592" fmla="*/ 9342 h 10000"/>
                <a:gd name="connsiteX2593" fmla="*/ 636 w 10785"/>
                <a:gd name="connsiteY2593" fmla="*/ 9376 h 10000"/>
                <a:gd name="connsiteX2594" fmla="*/ 641 w 10785"/>
                <a:gd name="connsiteY2594" fmla="*/ 9402 h 10000"/>
                <a:gd name="connsiteX2595" fmla="*/ 654 w 10785"/>
                <a:gd name="connsiteY2595" fmla="*/ 9427 h 10000"/>
                <a:gd name="connsiteX2596" fmla="*/ 668 w 10785"/>
                <a:gd name="connsiteY2596" fmla="*/ 9427 h 10000"/>
                <a:gd name="connsiteX2597" fmla="*/ 668 w 10785"/>
                <a:gd name="connsiteY2597" fmla="*/ 9427 h 10000"/>
                <a:gd name="connsiteX2598" fmla="*/ 774 w 10785"/>
                <a:gd name="connsiteY2598" fmla="*/ 9547 h 10000"/>
                <a:gd name="connsiteX2599" fmla="*/ 797 w 10785"/>
                <a:gd name="connsiteY2599" fmla="*/ 9598 h 10000"/>
                <a:gd name="connsiteX2600" fmla="*/ 802 w 10785"/>
                <a:gd name="connsiteY2600" fmla="*/ 9598 h 10000"/>
                <a:gd name="connsiteX2601" fmla="*/ 816 w 10785"/>
                <a:gd name="connsiteY2601" fmla="*/ 9624 h 10000"/>
                <a:gd name="connsiteX2602" fmla="*/ 843 w 10785"/>
                <a:gd name="connsiteY2602" fmla="*/ 9615 h 10000"/>
                <a:gd name="connsiteX2603" fmla="*/ 857 w 10785"/>
                <a:gd name="connsiteY2603" fmla="*/ 9624 h 10000"/>
                <a:gd name="connsiteX2604" fmla="*/ 862 w 10785"/>
                <a:gd name="connsiteY2604" fmla="*/ 9615 h 10000"/>
                <a:gd name="connsiteX2605" fmla="*/ 880 w 10785"/>
                <a:gd name="connsiteY2605" fmla="*/ 9624 h 10000"/>
                <a:gd name="connsiteX2606" fmla="*/ 889 w 10785"/>
                <a:gd name="connsiteY2606" fmla="*/ 9641 h 10000"/>
                <a:gd name="connsiteX2607" fmla="*/ 935 w 10785"/>
                <a:gd name="connsiteY2607" fmla="*/ 9675 h 10000"/>
                <a:gd name="connsiteX2608" fmla="*/ 977 w 10785"/>
                <a:gd name="connsiteY2608" fmla="*/ 9667 h 10000"/>
                <a:gd name="connsiteX2609" fmla="*/ 995 w 10785"/>
                <a:gd name="connsiteY2609" fmla="*/ 9675 h 10000"/>
                <a:gd name="connsiteX2610" fmla="*/ 1014 w 10785"/>
                <a:gd name="connsiteY2610" fmla="*/ 9675 h 10000"/>
                <a:gd name="connsiteX2611" fmla="*/ 1069 w 10785"/>
                <a:gd name="connsiteY2611" fmla="*/ 9752 h 10000"/>
                <a:gd name="connsiteX2612" fmla="*/ 1074 w 10785"/>
                <a:gd name="connsiteY2612" fmla="*/ 9761 h 10000"/>
                <a:gd name="connsiteX2613" fmla="*/ 1083 w 10785"/>
                <a:gd name="connsiteY2613" fmla="*/ 9778 h 10000"/>
                <a:gd name="connsiteX2614" fmla="*/ 1115 w 10785"/>
                <a:gd name="connsiteY2614" fmla="*/ 9752 h 10000"/>
                <a:gd name="connsiteX2615" fmla="*/ 1129 w 10785"/>
                <a:gd name="connsiteY2615" fmla="*/ 9752 h 10000"/>
                <a:gd name="connsiteX2616" fmla="*/ 1138 w 10785"/>
                <a:gd name="connsiteY2616" fmla="*/ 9761 h 10000"/>
                <a:gd name="connsiteX2617" fmla="*/ 1143 w 10785"/>
                <a:gd name="connsiteY2617" fmla="*/ 9752 h 10000"/>
                <a:gd name="connsiteX2618" fmla="*/ 1161 w 10785"/>
                <a:gd name="connsiteY2618" fmla="*/ 9761 h 10000"/>
                <a:gd name="connsiteX2619" fmla="*/ 1171 w 10785"/>
                <a:gd name="connsiteY2619" fmla="*/ 9778 h 10000"/>
                <a:gd name="connsiteX2620" fmla="*/ 1175 w 10785"/>
                <a:gd name="connsiteY2620" fmla="*/ 9778 h 10000"/>
                <a:gd name="connsiteX2621" fmla="*/ 1189 w 10785"/>
                <a:gd name="connsiteY2621" fmla="*/ 9778 h 10000"/>
                <a:gd name="connsiteX2622" fmla="*/ 1198 w 10785"/>
                <a:gd name="connsiteY2622" fmla="*/ 9786 h 10000"/>
                <a:gd name="connsiteX2623" fmla="*/ 1203 w 10785"/>
                <a:gd name="connsiteY2623" fmla="*/ 9803 h 10000"/>
                <a:gd name="connsiteX2624" fmla="*/ 1198 w 10785"/>
                <a:gd name="connsiteY2624" fmla="*/ 9838 h 10000"/>
                <a:gd name="connsiteX2625" fmla="*/ 1212 w 10785"/>
                <a:gd name="connsiteY2625" fmla="*/ 9863 h 10000"/>
                <a:gd name="connsiteX2626" fmla="*/ 1230 w 10785"/>
                <a:gd name="connsiteY2626" fmla="*/ 9872 h 10000"/>
                <a:gd name="connsiteX2627" fmla="*/ 1249 w 10785"/>
                <a:gd name="connsiteY2627" fmla="*/ 9897 h 10000"/>
                <a:gd name="connsiteX2628" fmla="*/ 1263 w 10785"/>
                <a:gd name="connsiteY2628" fmla="*/ 9897 h 10000"/>
                <a:gd name="connsiteX2629" fmla="*/ 1276 w 10785"/>
                <a:gd name="connsiteY2629" fmla="*/ 9923 h 10000"/>
                <a:gd name="connsiteX2630" fmla="*/ 1281 w 10785"/>
                <a:gd name="connsiteY2630" fmla="*/ 9949 h 10000"/>
                <a:gd name="connsiteX2631" fmla="*/ 1290 w 10785"/>
                <a:gd name="connsiteY2631" fmla="*/ 9949 h 10000"/>
                <a:gd name="connsiteX2632" fmla="*/ 1295 w 10785"/>
                <a:gd name="connsiteY2632" fmla="*/ 10000 h 10000"/>
                <a:gd name="connsiteX2633" fmla="*/ 1332 w 10785"/>
                <a:gd name="connsiteY2633" fmla="*/ 10000 h 10000"/>
                <a:gd name="connsiteX2634" fmla="*/ 1336 w 10785"/>
                <a:gd name="connsiteY2634" fmla="*/ 10000 h 10000"/>
                <a:gd name="connsiteX2635" fmla="*/ 1346 w 10785"/>
                <a:gd name="connsiteY2635" fmla="*/ 9983 h 10000"/>
                <a:gd name="connsiteX2636" fmla="*/ 1350 w 10785"/>
                <a:gd name="connsiteY2636" fmla="*/ 9949 h 10000"/>
                <a:gd name="connsiteX2637" fmla="*/ 1369 w 10785"/>
                <a:gd name="connsiteY2637" fmla="*/ 9940 h 10000"/>
                <a:gd name="connsiteX2638" fmla="*/ 1378 w 10785"/>
                <a:gd name="connsiteY2638" fmla="*/ 9897 h 10000"/>
                <a:gd name="connsiteX2639" fmla="*/ 1369 w 10785"/>
                <a:gd name="connsiteY2639" fmla="*/ 9889 h 10000"/>
                <a:gd name="connsiteX2640" fmla="*/ 1318 w 10785"/>
                <a:gd name="connsiteY2640" fmla="*/ 9701 h 10000"/>
                <a:gd name="connsiteX2641" fmla="*/ 1318 w 10785"/>
                <a:gd name="connsiteY2641" fmla="*/ 9650 h 10000"/>
                <a:gd name="connsiteX2642" fmla="*/ 1323 w 10785"/>
                <a:gd name="connsiteY2642" fmla="*/ 9590 h 10000"/>
                <a:gd name="connsiteX2643" fmla="*/ 1323 w 10785"/>
                <a:gd name="connsiteY2643" fmla="*/ 9564 h 10000"/>
                <a:gd name="connsiteX2644" fmla="*/ 1309 w 10785"/>
                <a:gd name="connsiteY2644" fmla="*/ 9598 h 10000"/>
                <a:gd name="connsiteX2645" fmla="*/ 1309 w 10785"/>
                <a:gd name="connsiteY2645" fmla="*/ 9590 h 10000"/>
                <a:gd name="connsiteX2646" fmla="*/ 1304 w 10785"/>
                <a:gd name="connsiteY2646" fmla="*/ 9547 h 10000"/>
                <a:gd name="connsiteX2647" fmla="*/ 1276 w 10785"/>
                <a:gd name="connsiteY2647" fmla="*/ 9479 h 10000"/>
                <a:gd name="connsiteX2648" fmla="*/ 1263 w 10785"/>
                <a:gd name="connsiteY2648" fmla="*/ 9479 h 10000"/>
                <a:gd name="connsiteX2649" fmla="*/ 1263 w 10785"/>
                <a:gd name="connsiteY2649" fmla="*/ 9453 h 10000"/>
                <a:gd name="connsiteX2650" fmla="*/ 1272 w 10785"/>
                <a:gd name="connsiteY2650" fmla="*/ 9410 h 10000"/>
                <a:gd name="connsiteX2651" fmla="*/ 1272 w 10785"/>
                <a:gd name="connsiteY2651" fmla="*/ 9393 h 10000"/>
                <a:gd name="connsiteX2652" fmla="*/ 1281 w 10785"/>
                <a:gd name="connsiteY2652" fmla="*/ 9368 h 10000"/>
                <a:gd name="connsiteX2653" fmla="*/ 1281 w 10785"/>
                <a:gd name="connsiteY2653" fmla="*/ 9368 h 10000"/>
                <a:gd name="connsiteX2654" fmla="*/ 1290 w 10785"/>
                <a:gd name="connsiteY2654" fmla="*/ 9368 h 10000"/>
                <a:gd name="connsiteX2655" fmla="*/ 1290 w 10785"/>
                <a:gd name="connsiteY2655" fmla="*/ 9342 h 10000"/>
                <a:gd name="connsiteX2656" fmla="*/ 1304 w 10785"/>
                <a:gd name="connsiteY2656" fmla="*/ 9325 h 10000"/>
                <a:gd name="connsiteX2657" fmla="*/ 1309 w 10785"/>
                <a:gd name="connsiteY2657" fmla="*/ 9239 h 10000"/>
                <a:gd name="connsiteX2658" fmla="*/ 1318 w 10785"/>
                <a:gd name="connsiteY2658" fmla="*/ 9256 h 10000"/>
                <a:gd name="connsiteX2659" fmla="*/ 1323 w 10785"/>
                <a:gd name="connsiteY2659" fmla="*/ 9179 h 10000"/>
                <a:gd name="connsiteX2660" fmla="*/ 1309 w 10785"/>
                <a:gd name="connsiteY2660" fmla="*/ 9145 h 10000"/>
                <a:gd name="connsiteX2661" fmla="*/ 1336 w 10785"/>
                <a:gd name="connsiteY2661" fmla="*/ 9154 h 10000"/>
                <a:gd name="connsiteX2662" fmla="*/ 1336 w 10785"/>
                <a:gd name="connsiteY2662" fmla="*/ 9162 h 10000"/>
                <a:gd name="connsiteX2663" fmla="*/ 1350 w 10785"/>
                <a:gd name="connsiteY2663" fmla="*/ 9231 h 10000"/>
                <a:gd name="connsiteX2664" fmla="*/ 1355 w 10785"/>
                <a:gd name="connsiteY2664" fmla="*/ 9231 h 10000"/>
                <a:gd name="connsiteX2665" fmla="*/ 1364 w 10785"/>
                <a:gd name="connsiteY2665" fmla="*/ 9214 h 10000"/>
                <a:gd name="connsiteX2666" fmla="*/ 1369 w 10785"/>
                <a:gd name="connsiteY2666" fmla="*/ 9214 h 10000"/>
                <a:gd name="connsiteX2667" fmla="*/ 1382 w 10785"/>
                <a:gd name="connsiteY2667" fmla="*/ 9154 h 10000"/>
                <a:gd name="connsiteX2668" fmla="*/ 1396 w 10785"/>
                <a:gd name="connsiteY2668" fmla="*/ 9154 h 10000"/>
                <a:gd name="connsiteX2669" fmla="*/ 1382 w 10785"/>
                <a:gd name="connsiteY2669" fmla="*/ 9145 h 10000"/>
                <a:gd name="connsiteX2670" fmla="*/ 1382 w 10785"/>
                <a:gd name="connsiteY2670" fmla="*/ 9128 h 10000"/>
                <a:gd name="connsiteX2671" fmla="*/ 1369 w 10785"/>
                <a:gd name="connsiteY2671" fmla="*/ 9128 h 10000"/>
                <a:gd name="connsiteX2672" fmla="*/ 1364 w 10785"/>
                <a:gd name="connsiteY2672" fmla="*/ 9128 h 10000"/>
                <a:gd name="connsiteX2673" fmla="*/ 1355 w 10785"/>
                <a:gd name="connsiteY2673" fmla="*/ 9120 h 10000"/>
                <a:gd name="connsiteX2674" fmla="*/ 1350 w 10785"/>
                <a:gd name="connsiteY2674" fmla="*/ 9103 h 10000"/>
                <a:gd name="connsiteX2675" fmla="*/ 1355 w 10785"/>
                <a:gd name="connsiteY2675" fmla="*/ 9094 h 10000"/>
                <a:gd name="connsiteX2676" fmla="*/ 1355 w 10785"/>
                <a:gd name="connsiteY2676" fmla="*/ 9068 h 10000"/>
                <a:gd name="connsiteX2677" fmla="*/ 1369 w 10785"/>
                <a:gd name="connsiteY2677" fmla="*/ 9068 h 10000"/>
                <a:gd name="connsiteX2678" fmla="*/ 1378 w 10785"/>
                <a:gd name="connsiteY2678" fmla="*/ 9077 h 10000"/>
                <a:gd name="connsiteX2679" fmla="*/ 1396 w 10785"/>
                <a:gd name="connsiteY2679" fmla="*/ 9068 h 10000"/>
                <a:gd name="connsiteX2680" fmla="*/ 1382 w 10785"/>
                <a:gd name="connsiteY2680" fmla="*/ 8940 h 10000"/>
                <a:gd name="connsiteX2681" fmla="*/ 1378 w 10785"/>
                <a:gd name="connsiteY2681" fmla="*/ 8940 h 10000"/>
                <a:gd name="connsiteX2682" fmla="*/ 1364 w 10785"/>
                <a:gd name="connsiteY2682" fmla="*/ 8889 h 10000"/>
                <a:gd name="connsiteX2683" fmla="*/ 1355 w 10785"/>
                <a:gd name="connsiteY2683" fmla="*/ 8880 h 10000"/>
                <a:gd name="connsiteX2684" fmla="*/ 1323 w 10785"/>
                <a:gd name="connsiteY2684" fmla="*/ 8880 h 10000"/>
                <a:gd name="connsiteX2685" fmla="*/ 1309 w 10785"/>
                <a:gd name="connsiteY2685" fmla="*/ 8880 h 10000"/>
                <a:gd name="connsiteX2686" fmla="*/ 1309 w 10785"/>
                <a:gd name="connsiteY2686" fmla="*/ 8889 h 10000"/>
                <a:gd name="connsiteX2687" fmla="*/ 1295 w 10785"/>
                <a:gd name="connsiteY2687" fmla="*/ 8872 h 10000"/>
                <a:gd name="connsiteX2688" fmla="*/ 1290 w 10785"/>
                <a:gd name="connsiteY2688" fmla="*/ 8855 h 10000"/>
                <a:gd name="connsiteX2689" fmla="*/ 1290 w 10785"/>
                <a:gd name="connsiteY2689" fmla="*/ 8829 h 10000"/>
                <a:gd name="connsiteX2690" fmla="*/ 1290 w 10785"/>
                <a:gd name="connsiteY2690" fmla="*/ 8821 h 10000"/>
                <a:gd name="connsiteX2691" fmla="*/ 1290 w 10785"/>
                <a:gd name="connsiteY2691" fmla="*/ 8803 h 10000"/>
                <a:gd name="connsiteX2692" fmla="*/ 1281 w 10785"/>
                <a:gd name="connsiteY2692" fmla="*/ 8795 h 10000"/>
                <a:gd name="connsiteX2693" fmla="*/ 1249 w 10785"/>
                <a:gd name="connsiteY2693" fmla="*/ 8769 h 10000"/>
                <a:gd name="connsiteX2694" fmla="*/ 1263 w 10785"/>
                <a:gd name="connsiteY2694" fmla="*/ 8667 h 10000"/>
                <a:gd name="connsiteX2695" fmla="*/ 1281 w 10785"/>
                <a:gd name="connsiteY2695" fmla="*/ 8658 h 10000"/>
                <a:gd name="connsiteX2696" fmla="*/ 1290 w 10785"/>
                <a:gd name="connsiteY2696" fmla="*/ 8632 h 10000"/>
                <a:gd name="connsiteX2697" fmla="*/ 1281 w 10785"/>
                <a:gd name="connsiteY2697" fmla="*/ 8615 h 10000"/>
                <a:gd name="connsiteX2698" fmla="*/ 1272 w 10785"/>
                <a:gd name="connsiteY2698" fmla="*/ 8598 h 10000"/>
                <a:gd name="connsiteX2699" fmla="*/ 1281 w 10785"/>
                <a:gd name="connsiteY2699" fmla="*/ 8496 h 10000"/>
                <a:gd name="connsiteX2700" fmla="*/ 1295 w 10785"/>
                <a:gd name="connsiteY2700" fmla="*/ 8470 h 10000"/>
                <a:gd name="connsiteX2701" fmla="*/ 1304 w 10785"/>
                <a:gd name="connsiteY2701" fmla="*/ 8462 h 10000"/>
                <a:gd name="connsiteX2702" fmla="*/ 1304 w 10785"/>
                <a:gd name="connsiteY2702" fmla="*/ 8444 h 10000"/>
                <a:gd name="connsiteX2703" fmla="*/ 1304 w 10785"/>
                <a:gd name="connsiteY2703" fmla="*/ 8419 h 10000"/>
                <a:gd name="connsiteX2704" fmla="*/ 1304 w 10785"/>
                <a:gd name="connsiteY2704" fmla="*/ 8410 h 10000"/>
                <a:gd name="connsiteX2705" fmla="*/ 1309 w 10785"/>
                <a:gd name="connsiteY2705" fmla="*/ 8393 h 10000"/>
                <a:gd name="connsiteX2706" fmla="*/ 1318 w 10785"/>
                <a:gd name="connsiteY2706" fmla="*/ 8385 h 10000"/>
                <a:gd name="connsiteX2707" fmla="*/ 1323 w 10785"/>
                <a:gd name="connsiteY2707" fmla="*/ 8385 h 10000"/>
                <a:gd name="connsiteX2708" fmla="*/ 1332 w 10785"/>
                <a:gd name="connsiteY2708" fmla="*/ 8410 h 10000"/>
                <a:gd name="connsiteX2709" fmla="*/ 1346 w 10785"/>
                <a:gd name="connsiteY2709" fmla="*/ 8419 h 10000"/>
                <a:gd name="connsiteX2710" fmla="*/ 1364 w 10785"/>
                <a:gd name="connsiteY2710" fmla="*/ 8504 h 10000"/>
                <a:gd name="connsiteX2711" fmla="*/ 1369 w 10785"/>
                <a:gd name="connsiteY2711" fmla="*/ 8521 h 10000"/>
                <a:gd name="connsiteX2712" fmla="*/ 1406 w 10785"/>
                <a:gd name="connsiteY2712" fmla="*/ 8470 h 10000"/>
                <a:gd name="connsiteX2713" fmla="*/ 1382 w 10785"/>
                <a:gd name="connsiteY2713" fmla="*/ 8359 h 10000"/>
                <a:gd name="connsiteX2714" fmla="*/ 1392 w 10785"/>
                <a:gd name="connsiteY2714" fmla="*/ 8359 h 10000"/>
                <a:gd name="connsiteX2715" fmla="*/ 1438 w 10785"/>
                <a:gd name="connsiteY2715" fmla="*/ 8308 h 10000"/>
                <a:gd name="connsiteX2716" fmla="*/ 1442 w 10785"/>
                <a:gd name="connsiteY2716" fmla="*/ 8299 h 10000"/>
                <a:gd name="connsiteX2717" fmla="*/ 1442 w 10785"/>
                <a:gd name="connsiteY2717" fmla="*/ 8256 h 10000"/>
                <a:gd name="connsiteX2718" fmla="*/ 1452 w 10785"/>
                <a:gd name="connsiteY2718" fmla="*/ 8256 h 10000"/>
                <a:gd name="connsiteX2719" fmla="*/ 1456 w 10785"/>
                <a:gd name="connsiteY2719" fmla="*/ 8256 h 10000"/>
                <a:gd name="connsiteX2720" fmla="*/ 1470 w 10785"/>
                <a:gd name="connsiteY2720" fmla="*/ 8248 h 10000"/>
                <a:gd name="connsiteX2721" fmla="*/ 1479 w 10785"/>
                <a:gd name="connsiteY2721" fmla="*/ 8231 h 10000"/>
                <a:gd name="connsiteX2722" fmla="*/ 1493 w 10785"/>
                <a:gd name="connsiteY2722" fmla="*/ 8222 h 10000"/>
                <a:gd name="connsiteX2723" fmla="*/ 1498 w 10785"/>
                <a:gd name="connsiteY2723" fmla="*/ 8214 h 10000"/>
                <a:gd name="connsiteX2724" fmla="*/ 1502 w 10785"/>
                <a:gd name="connsiteY2724" fmla="*/ 8197 h 10000"/>
                <a:gd name="connsiteX2725" fmla="*/ 1512 w 10785"/>
                <a:gd name="connsiteY2725" fmla="*/ 8188 h 10000"/>
                <a:gd name="connsiteX2726" fmla="*/ 1516 w 10785"/>
                <a:gd name="connsiteY2726" fmla="*/ 8171 h 10000"/>
                <a:gd name="connsiteX2727" fmla="*/ 1525 w 10785"/>
                <a:gd name="connsiteY2727" fmla="*/ 8162 h 10000"/>
                <a:gd name="connsiteX2728" fmla="*/ 1539 w 10785"/>
                <a:gd name="connsiteY2728" fmla="*/ 8145 h 10000"/>
                <a:gd name="connsiteX2729" fmla="*/ 1558 w 10785"/>
                <a:gd name="connsiteY2729" fmla="*/ 8145 h 10000"/>
                <a:gd name="connsiteX2730" fmla="*/ 1562 w 10785"/>
                <a:gd name="connsiteY2730" fmla="*/ 8188 h 10000"/>
                <a:gd name="connsiteX2731" fmla="*/ 1585 w 10785"/>
                <a:gd name="connsiteY2731" fmla="*/ 8171 h 10000"/>
                <a:gd name="connsiteX2732" fmla="*/ 1590 w 10785"/>
                <a:gd name="connsiteY2732" fmla="*/ 8188 h 10000"/>
                <a:gd name="connsiteX2733" fmla="*/ 1599 w 10785"/>
                <a:gd name="connsiteY2733" fmla="*/ 8171 h 10000"/>
                <a:gd name="connsiteX2734" fmla="*/ 1599 w 10785"/>
                <a:gd name="connsiteY2734" fmla="*/ 8162 h 10000"/>
                <a:gd name="connsiteX2735" fmla="*/ 1604 w 10785"/>
                <a:gd name="connsiteY2735" fmla="*/ 8137 h 10000"/>
                <a:gd name="connsiteX2736" fmla="*/ 1618 w 10785"/>
                <a:gd name="connsiteY2736" fmla="*/ 8145 h 10000"/>
                <a:gd name="connsiteX2737" fmla="*/ 1627 w 10785"/>
                <a:gd name="connsiteY2737" fmla="*/ 8137 h 10000"/>
                <a:gd name="connsiteX2738" fmla="*/ 1631 w 10785"/>
                <a:gd name="connsiteY2738" fmla="*/ 8137 h 10000"/>
                <a:gd name="connsiteX2739" fmla="*/ 1636 w 10785"/>
                <a:gd name="connsiteY2739" fmla="*/ 8171 h 10000"/>
                <a:gd name="connsiteX2740" fmla="*/ 1645 w 10785"/>
                <a:gd name="connsiteY2740" fmla="*/ 8188 h 10000"/>
                <a:gd name="connsiteX2741" fmla="*/ 1664 w 10785"/>
                <a:gd name="connsiteY2741" fmla="*/ 8171 h 10000"/>
                <a:gd name="connsiteX2742" fmla="*/ 1673 w 10785"/>
                <a:gd name="connsiteY2742" fmla="*/ 8188 h 10000"/>
                <a:gd name="connsiteX2743" fmla="*/ 1691 w 10785"/>
                <a:gd name="connsiteY2743" fmla="*/ 8171 h 10000"/>
                <a:gd name="connsiteX2744" fmla="*/ 1705 w 10785"/>
                <a:gd name="connsiteY2744" fmla="*/ 8171 h 10000"/>
                <a:gd name="connsiteX2745" fmla="*/ 1719 w 10785"/>
                <a:gd name="connsiteY2745" fmla="*/ 8197 h 10000"/>
                <a:gd name="connsiteX2746" fmla="*/ 1724 w 10785"/>
                <a:gd name="connsiteY2746" fmla="*/ 8231 h 10000"/>
                <a:gd name="connsiteX2747" fmla="*/ 1751 w 10785"/>
                <a:gd name="connsiteY2747" fmla="*/ 8256 h 10000"/>
                <a:gd name="connsiteX2748" fmla="*/ 1751 w 10785"/>
                <a:gd name="connsiteY2748" fmla="*/ 8274 h 10000"/>
                <a:gd name="connsiteX2749" fmla="*/ 1760 w 10785"/>
                <a:gd name="connsiteY2749" fmla="*/ 8282 h 10000"/>
                <a:gd name="connsiteX2750" fmla="*/ 1770 w 10785"/>
                <a:gd name="connsiteY2750" fmla="*/ 8325 h 10000"/>
                <a:gd name="connsiteX2751" fmla="*/ 1770 w 10785"/>
                <a:gd name="connsiteY2751" fmla="*/ 8350 h 10000"/>
                <a:gd name="connsiteX2752" fmla="*/ 1779 w 10785"/>
                <a:gd name="connsiteY2752" fmla="*/ 8368 h 10000"/>
                <a:gd name="connsiteX2753" fmla="*/ 1783 w 10785"/>
                <a:gd name="connsiteY2753" fmla="*/ 8359 h 10000"/>
                <a:gd name="connsiteX2754" fmla="*/ 1783 w 10785"/>
                <a:gd name="connsiteY2754" fmla="*/ 8308 h 10000"/>
                <a:gd name="connsiteX2755" fmla="*/ 1779 w 10785"/>
                <a:gd name="connsiteY2755" fmla="*/ 8299 h 10000"/>
                <a:gd name="connsiteX2756" fmla="*/ 1783 w 10785"/>
                <a:gd name="connsiteY2756" fmla="*/ 8282 h 10000"/>
                <a:gd name="connsiteX2757" fmla="*/ 1797 w 10785"/>
                <a:gd name="connsiteY2757" fmla="*/ 8274 h 10000"/>
                <a:gd name="connsiteX2758" fmla="*/ 1797 w 10785"/>
                <a:gd name="connsiteY2758" fmla="*/ 8299 h 10000"/>
                <a:gd name="connsiteX2759" fmla="*/ 1806 w 10785"/>
                <a:gd name="connsiteY2759" fmla="*/ 8308 h 10000"/>
                <a:gd name="connsiteX2760" fmla="*/ 1811 w 10785"/>
                <a:gd name="connsiteY2760" fmla="*/ 8325 h 10000"/>
                <a:gd name="connsiteX2761" fmla="*/ 1820 w 10785"/>
                <a:gd name="connsiteY2761" fmla="*/ 8333 h 10000"/>
                <a:gd name="connsiteX2762" fmla="*/ 1853 w 10785"/>
                <a:gd name="connsiteY2762" fmla="*/ 8359 h 10000"/>
                <a:gd name="connsiteX2763" fmla="*/ 1866 w 10785"/>
                <a:gd name="connsiteY2763" fmla="*/ 8359 h 10000"/>
                <a:gd name="connsiteX2764" fmla="*/ 1885 w 10785"/>
                <a:gd name="connsiteY2764" fmla="*/ 8325 h 10000"/>
                <a:gd name="connsiteX2765" fmla="*/ 1885 w 10785"/>
                <a:gd name="connsiteY2765" fmla="*/ 8308 h 10000"/>
                <a:gd name="connsiteX2766" fmla="*/ 1894 w 10785"/>
                <a:gd name="connsiteY2766" fmla="*/ 8299 h 10000"/>
                <a:gd name="connsiteX2767" fmla="*/ 1899 w 10785"/>
                <a:gd name="connsiteY2767" fmla="*/ 8282 h 10000"/>
                <a:gd name="connsiteX2768" fmla="*/ 1912 w 10785"/>
                <a:gd name="connsiteY2768" fmla="*/ 8282 h 10000"/>
                <a:gd name="connsiteX2769" fmla="*/ 1917 w 10785"/>
                <a:gd name="connsiteY2769" fmla="*/ 8299 h 10000"/>
                <a:gd name="connsiteX2770" fmla="*/ 1917 w 10785"/>
                <a:gd name="connsiteY2770" fmla="*/ 8274 h 10000"/>
                <a:gd name="connsiteX2771" fmla="*/ 1940 w 10785"/>
                <a:gd name="connsiteY2771" fmla="*/ 8282 h 10000"/>
                <a:gd name="connsiteX2772" fmla="*/ 1945 w 10785"/>
                <a:gd name="connsiteY2772" fmla="*/ 8274 h 10000"/>
                <a:gd name="connsiteX2773" fmla="*/ 1972 w 10785"/>
                <a:gd name="connsiteY2773" fmla="*/ 8308 h 10000"/>
                <a:gd name="connsiteX2774" fmla="*/ 1986 w 10785"/>
                <a:gd name="connsiteY2774" fmla="*/ 8282 h 10000"/>
                <a:gd name="connsiteX2775" fmla="*/ 1991 w 10785"/>
                <a:gd name="connsiteY2775" fmla="*/ 8274 h 10000"/>
                <a:gd name="connsiteX2776" fmla="*/ 2014 w 10785"/>
                <a:gd name="connsiteY2776" fmla="*/ 8274 h 10000"/>
                <a:gd name="connsiteX2777" fmla="*/ 2018 w 10785"/>
                <a:gd name="connsiteY2777" fmla="*/ 8256 h 10000"/>
                <a:gd name="connsiteX2778" fmla="*/ 2041 w 10785"/>
                <a:gd name="connsiteY2778" fmla="*/ 8274 h 10000"/>
                <a:gd name="connsiteX2779" fmla="*/ 2046 w 10785"/>
                <a:gd name="connsiteY2779" fmla="*/ 8282 h 10000"/>
                <a:gd name="connsiteX2780" fmla="*/ 2046 w 10785"/>
                <a:gd name="connsiteY2780" fmla="*/ 8325 h 10000"/>
                <a:gd name="connsiteX2781" fmla="*/ 2060 w 10785"/>
                <a:gd name="connsiteY2781" fmla="*/ 8350 h 10000"/>
                <a:gd name="connsiteX2782" fmla="*/ 2078 w 10785"/>
                <a:gd name="connsiteY2782" fmla="*/ 8350 h 10000"/>
                <a:gd name="connsiteX2783" fmla="*/ 2092 w 10785"/>
                <a:gd name="connsiteY2783" fmla="*/ 8350 h 10000"/>
                <a:gd name="connsiteX2784" fmla="*/ 2092 w 10785"/>
                <a:gd name="connsiteY2784" fmla="*/ 8350 h 10000"/>
                <a:gd name="connsiteX2785" fmla="*/ 2101 w 10785"/>
                <a:gd name="connsiteY2785" fmla="*/ 8368 h 10000"/>
                <a:gd name="connsiteX2786" fmla="*/ 2120 w 10785"/>
                <a:gd name="connsiteY2786" fmla="*/ 8368 h 10000"/>
                <a:gd name="connsiteX2787" fmla="*/ 2124 w 10785"/>
                <a:gd name="connsiteY2787" fmla="*/ 8359 h 10000"/>
                <a:gd name="connsiteX2788" fmla="*/ 2138 w 10785"/>
                <a:gd name="connsiteY2788" fmla="*/ 8325 h 10000"/>
                <a:gd name="connsiteX2789" fmla="*/ 2147 w 10785"/>
                <a:gd name="connsiteY2789" fmla="*/ 8325 h 10000"/>
                <a:gd name="connsiteX2790" fmla="*/ 2161 w 10785"/>
                <a:gd name="connsiteY2790" fmla="*/ 8350 h 10000"/>
                <a:gd name="connsiteX2791" fmla="*/ 2198 w 10785"/>
                <a:gd name="connsiteY2791" fmla="*/ 8350 h 10000"/>
                <a:gd name="connsiteX2792" fmla="*/ 2207 w 10785"/>
                <a:gd name="connsiteY2792" fmla="*/ 8333 h 10000"/>
                <a:gd name="connsiteX2793" fmla="*/ 2226 w 10785"/>
                <a:gd name="connsiteY2793" fmla="*/ 8325 h 10000"/>
                <a:gd name="connsiteX2794" fmla="*/ 2249 w 10785"/>
                <a:gd name="connsiteY2794" fmla="*/ 8222 h 10000"/>
                <a:gd name="connsiteX2795" fmla="*/ 2235 w 10785"/>
                <a:gd name="connsiteY2795" fmla="*/ 8197 h 10000"/>
                <a:gd name="connsiteX2796" fmla="*/ 2198 w 10785"/>
                <a:gd name="connsiteY2796" fmla="*/ 8197 h 10000"/>
                <a:gd name="connsiteX2797" fmla="*/ 2189 w 10785"/>
                <a:gd name="connsiteY2797" fmla="*/ 8171 h 10000"/>
                <a:gd name="connsiteX2798" fmla="*/ 2161 w 10785"/>
                <a:gd name="connsiteY2798" fmla="*/ 8145 h 10000"/>
                <a:gd name="connsiteX2799" fmla="*/ 2161 w 10785"/>
                <a:gd name="connsiteY2799" fmla="*/ 8137 h 10000"/>
                <a:gd name="connsiteX2800" fmla="*/ 2152 w 10785"/>
                <a:gd name="connsiteY2800" fmla="*/ 8120 h 10000"/>
                <a:gd name="connsiteX2801" fmla="*/ 2138 w 10785"/>
                <a:gd name="connsiteY2801" fmla="*/ 8111 h 10000"/>
                <a:gd name="connsiteX2802" fmla="*/ 2138 w 10785"/>
                <a:gd name="connsiteY2802" fmla="*/ 8094 h 10000"/>
                <a:gd name="connsiteX2803" fmla="*/ 2147 w 10785"/>
                <a:gd name="connsiteY2803" fmla="*/ 8085 h 10000"/>
                <a:gd name="connsiteX2804" fmla="*/ 2161 w 10785"/>
                <a:gd name="connsiteY2804" fmla="*/ 8060 h 10000"/>
                <a:gd name="connsiteX2805" fmla="*/ 2198 w 10785"/>
                <a:gd name="connsiteY2805" fmla="*/ 8034 h 10000"/>
                <a:gd name="connsiteX2806" fmla="*/ 2198 w 10785"/>
                <a:gd name="connsiteY2806" fmla="*/ 8026 h 10000"/>
                <a:gd name="connsiteX2807" fmla="*/ 2198 w 10785"/>
                <a:gd name="connsiteY2807" fmla="*/ 8000 h 10000"/>
                <a:gd name="connsiteX2808" fmla="*/ 2180 w 10785"/>
                <a:gd name="connsiteY2808" fmla="*/ 7940 h 10000"/>
                <a:gd name="connsiteX2809" fmla="*/ 2189 w 10785"/>
                <a:gd name="connsiteY2809" fmla="*/ 7940 h 10000"/>
                <a:gd name="connsiteX2810" fmla="*/ 2198 w 10785"/>
                <a:gd name="connsiteY2810" fmla="*/ 7923 h 10000"/>
                <a:gd name="connsiteX2811" fmla="*/ 2198 w 10785"/>
                <a:gd name="connsiteY2811" fmla="*/ 7897 h 10000"/>
                <a:gd name="connsiteX2812" fmla="*/ 2207 w 10785"/>
                <a:gd name="connsiteY2812" fmla="*/ 7889 h 10000"/>
                <a:gd name="connsiteX2813" fmla="*/ 2221 w 10785"/>
                <a:gd name="connsiteY2813" fmla="*/ 7889 h 10000"/>
                <a:gd name="connsiteX2814" fmla="*/ 2226 w 10785"/>
                <a:gd name="connsiteY2814" fmla="*/ 7897 h 10000"/>
                <a:gd name="connsiteX2815" fmla="*/ 2235 w 10785"/>
                <a:gd name="connsiteY2815" fmla="*/ 7889 h 10000"/>
                <a:gd name="connsiteX2816" fmla="*/ 2249 w 10785"/>
                <a:gd name="connsiteY2816" fmla="*/ 7897 h 10000"/>
                <a:gd name="connsiteX2817" fmla="*/ 2267 w 10785"/>
                <a:gd name="connsiteY2817" fmla="*/ 7897 h 10000"/>
                <a:gd name="connsiteX2818" fmla="*/ 2272 w 10785"/>
                <a:gd name="connsiteY2818" fmla="*/ 7889 h 10000"/>
                <a:gd name="connsiteX2819" fmla="*/ 2281 w 10785"/>
                <a:gd name="connsiteY2819" fmla="*/ 7872 h 10000"/>
                <a:gd name="connsiteX2820" fmla="*/ 2272 w 10785"/>
                <a:gd name="connsiteY2820" fmla="*/ 7846 h 10000"/>
                <a:gd name="connsiteX2821" fmla="*/ 2253 w 10785"/>
                <a:gd name="connsiteY2821" fmla="*/ 7838 h 10000"/>
                <a:gd name="connsiteX2822" fmla="*/ 2221 w 10785"/>
                <a:gd name="connsiteY2822" fmla="*/ 7821 h 10000"/>
                <a:gd name="connsiteX2823" fmla="*/ 2212 w 10785"/>
                <a:gd name="connsiteY2823" fmla="*/ 7812 h 10000"/>
                <a:gd name="connsiteX2824" fmla="*/ 2212 w 10785"/>
                <a:gd name="connsiteY2824" fmla="*/ 7803 h 10000"/>
                <a:gd name="connsiteX2825" fmla="*/ 2221 w 10785"/>
                <a:gd name="connsiteY2825" fmla="*/ 7803 h 10000"/>
                <a:gd name="connsiteX2826" fmla="*/ 2235 w 10785"/>
                <a:gd name="connsiteY2826" fmla="*/ 7786 h 10000"/>
                <a:gd name="connsiteX2827" fmla="*/ 2240 w 10785"/>
                <a:gd name="connsiteY2827" fmla="*/ 7778 h 10000"/>
                <a:gd name="connsiteX2828" fmla="*/ 2226 w 10785"/>
                <a:gd name="connsiteY2828" fmla="*/ 7761 h 10000"/>
                <a:gd name="connsiteX2829" fmla="*/ 2221 w 10785"/>
                <a:gd name="connsiteY2829" fmla="*/ 7778 h 10000"/>
                <a:gd name="connsiteX2830" fmla="*/ 2198 w 10785"/>
                <a:gd name="connsiteY2830" fmla="*/ 7778 h 10000"/>
                <a:gd name="connsiteX2831" fmla="*/ 2198 w 10785"/>
                <a:gd name="connsiteY2831" fmla="*/ 7752 h 10000"/>
                <a:gd name="connsiteX2832" fmla="*/ 2207 w 10785"/>
                <a:gd name="connsiteY2832" fmla="*/ 7735 h 10000"/>
                <a:gd name="connsiteX2833" fmla="*/ 2212 w 10785"/>
                <a:gd name="connsiteY2833" fmla="*/ 7726 h 10000"/>
                <a:gd name="connsiteX2834" fmla="*/ 2198 w 10785"/>
                <a:gd name="connsiteY2834" fmla="*/ 7692 h 10000"/>
                <a:gd name="connsiteX2835" fmla="*/ 2221 w 10785"/>
                <a:gd name="connsiteY2835" fmla="*/ 7692 h 10000"/>
                <a:gd name="connsiteX2836" fmla="*/ 2221 w 10785"/>
                <a:gd name="connsiteY2836" fmla="*/ 7675 h 10000"/>
                <a:gd name="connsiteX2837" fmla="*/ 2235 w 10785"/>
                <a:gd name="connsiteY2837" fmla="*/ 7675 h 10000"/>
                <a:gd name="connsiteX2838" fmla="*/ 2240 w 10785"/>
                <a:gd name="connsiteY2838" fmla="*/ 7692 h 10000"/>
                <a:gd name="connsiteX2839" fmla="*/ 2249 w 10785"/>
                <a:gd name="connsiteY2839" fmla="*/ 7692 h 10000"/>
                <a:gd name="connsiteX2840" fmla="*/ 2258 w 10785"/>
                <a:gd name="connsiteY2840" fmla="*/ 7692 h 10000"/>
                <a:gd name="connsiteX2841" fmla="*/ 2267 w 10785"/>
                <a:gd name="connsiteY2841" fmla="*/ 7692 h 10000"/>
                <a:gd name="connsiteX2842" fmla="*/ 2295 w 10785"/>
                <a:gd name="connsiteY2842" fmla="*/ 7692 h 10000"/>
                <a:gd name="connsiteX2843" fmla="*/ 2300 w 10785"/>
                <a:gd name="connsiteY2843" fmla="*/ 7701 h 10000"/>
                <a:gd name="connsiteX2844" fmla="*/ 2313 w 10785"/>
                <a:gd name="connsiteY2844" fmla="*/ 7675 h 10000"/>
                <a:gd name="connsiteX2845" fmla="*/ 2323 w 10785"/>
                <a:gd name="connsiteY2845" fmla="*/ 7675 h 10000"/>
                <a:gd name="connsiteX2846" fmla="*/ 2341 w 10785"/>
                <a:gd name="connsiteY2846" fmla="*/ 7675 h 10000"/>
                <a:gd name="connsiteX2847" fmla="*/ 2346 w 10785"/>
                <a:gd name="connsiteY2847" fmla="*/ 7667 h 10000"/>
                <a:gd name="connsiteX2848" fmla="*/ 2359 w 10785"/>
                <a:gd name="connsiteY2848" fmla="*/ 7650 h 10000"/>
                <a:gd name="connsiteX2849" fmla="*/ 2373 w 10785"/>
                <a:gd name="connsiteY2849" fmla="*/ 7624 h 10000"/>
                <a:gd name="connsiteX2850" fmla="*/ 2382 w 10785"/>
                <a:gd name="connsiteY2850" fmla="*/ 7641 h 10000"/>
                <a:gd name="connsiteX2851" fmla="*/ 2396 w 10785"/>
                <a:gd name="connsiteY2851" fmla="*/ 7650 h 10000"/>
                <a:gd name="connsiteX2852" fmla="*/ 2401 w 10785"/>
                <a:gd name="connsiteY2852" fmla="*/ 7650 h 10000"/>
                <a:gd name="connsiteX2853" fmla="*/ 2401 w 10785"/>
                <a:gd name="connsiteY2853" fmla="*/ 7624 h 10000"/>
                <a:gd name="connsiteX2854" fmla="*/ 2419 w 10785"/>
                <a:gd name="connsiteY2854" fmla="*/ 7624 h 10000"/>
                <a:gd name="connsiteX2855" fmla="*/ 2433 w 10785"/>
                <a:gd name="connsiteY2855" fmla="*/ 7615 h 10000"/>
                <a:gd name="connsiteX2856" fmla="*/ 2442 w 10785"/>
                <a:gd name="connsiteY2856" fmla="*/ 7615 h 10000"/>
                <a:gd name="connsiteX2857" fmla="*/ 2447 w 10785"/>
                <a:gd name="connsiteY2857" fmla="*/ 7598 h 10000"/>
                <a:gd name="connsiteX2858" fmla="*/ 2461 w 10785"/>
                <a:gd name="connsiteY2858" fmla="*/ 7598 h 10000"/>
                <a:gd name="connsiteX2859" fmla="*/ 2465 w 10785"/>
                <a:gd name="connsiteY2859" fmla="*/ 7615 h 10000"/>
                <a:gd name="connsiteX2860" fmla="*/ 2479 w 10785"/>
                <a:gd name="connsiteY2860" fmla="*/ 7564 h 10000"/>
                <a:gd name="connsiteX2861" fmla="*/ 2488 w 10785"/>
                <a:gd name="connsiteY2861" fmla="*/ 7556 h 10000"/>
                <a:gd name="connsiteX2862" fmla="*/ 2493 w 10785"/>
                <a:gd name="connsiteY2862" fmla="*/ 7556 h 10000"/>
                <a:gd name="connsiteX2863" fmla="*/ 2507 w 10785"/>
                <a:gd name="connsiteY2863" fmla="*/ 7556 h 10000"/>
                <a:gd name="connsiteX2864" fmla="*/ 2530 w 10785"/>
                <a:gd name="connsiteY2864" fmla="*/ 7538 h 10000"/>
                <a:gd name="connsiteX2865" fmla="*/ 2530 w 10785"/>
                <a:gd name="connsiteY2865" fmla="*/ 7556 h 10000"/>
                <a:gd name="connsiteX2866" fmla="*/ 2641 w 10785"/>
                <a:gd name="connsiteY2866" fmla="*/ 7504 h 10000"/>
                <a:gd name="connsiteX2867" fmla="*/ 2654 w 10785"/>
                <a:gd name="connsiteY2867" fmla="*/ 7487 h 10000"/>
                <a:gd name="connsiteX2868" fmla="*/ 2664 w 10785"/>
                <a:gd name="connsiteY2868" fmla="*/ 7487 h 10000"/>
                <a:gd name="connsiteX2869" fmla="*/ 2668 w 10785"/>
                <a:gd name="connsiteY2869" fmla="*/ 7479 h 10000"/>
                <a:gd name="connsiteX2870" fmla="*/ 2673 w 10785"/>
                <a:gd name="connsiteY2870" fmla="*/ 7462 h 10000"/>
                <a:gd name="connsiteX2871" fmla="*/ 2673 w 10785"/>
                <a:gd name="connsiteY2871" fmla="*/ 7427 h 10000"/>
                <a:gd name="connsiteX2872" fmla="*/ 2687 w 10785"/>
                <a:gd name="connsiteY2872" fmla="*/ 7436 h 10000"/>
                <a:gd name="connsiteX2873" fmla="*/ 2696 w 10785"/>
                <a:gd name="connsiteY2873" fmla="*/ 7427 h 10000"/>
                <a:gd name="connsiteX2874" fmla="*/ 2700 w 10785"/>
                <a:gd name="connsiteY2874" fmla="*/ 7419 h 10000"/>
                <a:gd name="connsiteX2875" fmla="*/ 2710 w 10785"/>
                <a:gd name="connsiteY2875" fmla="*/ 7402 h 10000"/>
                <a:gd name="connsiteX2876" fmla="*/ 2724 w 10785"/>
                <a:gd name="connsiteY2876" fmla="*/ 7402 h 10000"/>
                <a:gd name="connsiteX2877" fmla="*/ 2724 w 10785"/>
                <a:gd name="connsiteY2877" fmla="*/ 7393 h 10000"/>
                <a:gd name="connsiteX2878" fmla="*/ 2737 w 10785"/>
                <a:gd name="connsiteY2878" fmla="*/ 7393 h 10000"/>
                <a:gd name="connsiteX2879" fmla="*/ 2742 w 10785"/>
                <a:gd name="connsiteY2879" fmla="*/ 7402 h 10000"/>
                <a:gd name="connsiteX2880" fmla="*/ 2747 w 10785"/>
                <a:gd name="connsiteY2880" fmla="*/ 7402 h 10000"/>
                <a:gd name="connsiteX2881" fmla="*/ 2760 w 10785"/>
                <a:gd name="connsiteY2881" fmla="*/ 7402 h 10000"/>
                <a:gd name="connsiteX2882" fmla="*/ 2770 w 10785"/>
                <a:gd name="connsiteY2882" fmla="*/ 7402 h 10000"/>
                <a:gd name="connsiteX2883" fmla="*/ 2774 w 10785"/>
                <a:gd name="connsiteY2883" fmla="*/ 7402 h 10000"/>
                <a:gd name="connsiteX2884" fmla="*/ 2783 w 10785"/>
                <a:gd name="connsiteY2884" fmla="*/ 7419 h 10000"/>
                <a:gd name="connsiteX2885" fmla="*/ 2802 w 10785"/>
                <a:gd name="connsiteY2885" fmla="*/ 7436 h 10000"/>
                <a:gd name="connsiteX2886" fmla="*/ 2816 w 10785"/>
                <a:gd name="connsiteY2886" fmla="*/ 7419 h 10000"/>
                <a:gd name="connsiteX2887" fmla="*/ 2834 w 10785"/>
                <a:gd name="connsiteY2887" fmla="*/ 7419 h 10000"/>
                <a:gd name="connsiteX2888" fmla="*/ 2843 w 10785"/>
                <a:gd name="connsiteY2888" fmla="*/ 7419 h 10000"/>
                <a:gd name="connsiteX2889" fmla="*/ 2848 w 10785"/>
                <a:gd name="connsiteY2889" fmla="*/ 7436 h 10000"/>
                <a:gd name="connsiteX2890" fmla="*/ 2857 w 10785"/>
                <a:gd name="connsiteY2890" fmla="*/ 7453 h 10000"/>
                <a:gd name="connsiteX2891" fmla="*/ 2857 w 10785"/>
                <a:gd name="connsiteY2891" fmla="*/ 7504 h 10000"/>
                <a:gd name="connsiteX2892" fmla="*/ 2862 w 10785"/>
                <a:gd name="connsiteY2892" fmla="*/ 7530 h 10000"/>
                <a:gd name="connsiteX2893" fmla="*/ 2876 w 10785"/>
                <a:gd name="connsiteY2893" fmla="*/ 7538 h 10000"/>
                <a:gd name="connsiteX2894" fmla="*/ 2871 w 10785"/>
                <a:gd name="connsiteY2894" fmla="*/ 7564 h 10000"/>
                <a:gd name="connsiteX2895" fmla="*/ 2871 w 10785"/>
                <a:gd name="connsiteY2895" fmla="*/ 7598 h 10000"/>
                <a:gd name="connsiteX2896" fmla="*/ 2857 w 10785"/>
                <a:gd name="connsiteY2896" fmla="*/ 7624 h 10000"/>
                <a:gd name="connsiteX2897" fmla="*/ 2862 w 10785"/>
                <a:gd name="connsiteY2897" fmla="*/ 7641 h 10000"/>
                <a:gd name="connsiteX2898" fmla="*/ 2871 w 10785"/>
                <a:gd name="connsiteY2898" fmla="*/ 7667 h 10000"/>
                <a:gd name="connsiteX2899" fmla="*/ 2880 w 10785"/>
                <a:gd name="connsiteY2899" fmla="*/ 7650 h 10000"/>
                <a:gd name="connsiteX2900" fmla="*/ 2894 w 10785"/>
                <a:gd name="connsiteY2900" fmla="*/ 7667 h 10000"/>
                <a:gd name="connsiteX2901" fmla="*/ 2903 w 10785"/>
                <a:gd name="connsiteY2901" fmla="*/ 7667 h 10000"/>
                <a:gd name="connsiteX2902" fmla="*/ 2908 w 10785"/>
                <a:gd name="connsiteY2902" fmla="*/ 7641 h 10000"/>
                <a:gd name="connsiteX2903" fmla="*/ 2917 w 10785"/>
                <a:gd name="connsiteY2903" fmla="*/ 7641 h 10000"/>
                <a:gd name="connsiteX2904" fmla="*/ 2922 w 10785"/>
                <a:gd name="connsiteY2904" fmla="*/ 7641 h 10000"/>
                <a:gd name="connsiteX2905" fmla="*/ 2931 w 10785"/>
                <a:gd name="connsiteY2905" fmla="*/ 7615 h 10000"/>
                <a:gd name="connsiteX2906" fmla="*/ 2935 w 10785"/>
                <a:gd name="connsiteY2906" fmla="*/ 7615 h 10000"/>
                <a:gd name="connsiteX2907" fmla="*/ 2945 w 10785"/>
                <a:gd name="connsiteY2907" fmla="*/ 7650 h 10000"/>
                <a:gd name="connsiteX2908" fmla="*/ 2949 w 10785"/>
                <a:gd name="connsiteY2908" fmla="*/ 7667 h 10000"/>
                <a:gd name="connsiteX2909" fmla="*/ 2949 w 10785"/>
                <a:gd name="connsiteY2909" fmla="*/ 7675 h 10000"/>
                <a:gd name="connsiteX2910" fmla="*/ 2945 w 10785"/>
                <a:gd name="connsiteY2910" fmla="*/ 7692 h 10000"/>
                <a:gd name="connsiteX2911" fmla="*/ 2963 w 10785"/>
                <a:gd name="connsiteY2911" fmla="*/ 7701 h 10000"/>
                <a:gd name="connsiteX2912" fmla="*/ 2963 w 10785"/>
                <a:gd name="connsiteY2912" fmla="*/ 7675 h 10000"/>
                <a:gd name="connsiteX2913" fmla="*/ 2954 w 10785"/>
                <a:gd name="connsiteY2913" fmla="*/ 7667 h 10000"/>
                <a:gd name="connsiteX2914" fmla="*/ 2963 w 10785"/>
                <a:gd name="connsiteY2914" fmla="*/ 7667 h 10000"/>
                <a:gd name="connsiteX2915" fmla="*/ 2982 w 10785"/>
                <a:gd name="connsiteY2915" fmla="*/ 7667 h 10000"/>
                <a:gd name="connsiteX2916" fmla="*/ 2991 w 10785"/>
                <a:gd name="connsiteY2916" fmla="*/ 7675 h 10000"/>
                <a:gd name="connsiteX2917" fmla="*/ 2995 w 10785"/>
                <a:gd name="connsiteY2917" fmla="*/ 7692 h 10000"/>
                <a:gd name="connsiteX2918" fmla="*/ 3009 w 10785"/>
                <a:gd name="connsiteY2918" fmla="*/ 7701 h 10000"/>
                <a:gd name="connsiteX2919" fmla="*/ 3018 w 10785"/>
                <a:gd name="connsiteY2919" fmla="*/ 7701 h 10000"/>
                <a:gd name="connsiteX2920" fmla="*/ 3023 w 10785"/>
                <a:gd name="connsiteY2920" fmla="*/ 7692 h 10000"/>
                <a:gd name="connsiteX2921" fmla="*/ 3028 w 10785"/>
                <a:gd name="connsiteY2921" fmla="*/ 7675 h 10000"/>
                <a:gd name="connsiteX2922" fmla="*/ 3037 w 10785"/>
                <a:gd name="connsiteY2922" fmla="*/ 7692 h 10000"/>
                <a:gd name="connsiteX2923" fmla="*/ 3028 w 10785"/>
                <a:gd name="connsiteY2923" fmla="*/ 7709 h 10000"/>
                <a:gd name="connsiteX2924" fmla="*/ 3023 w 10785"/>
                <a:gd name="connsiteY2924" fmla="*/ 7709 h 10000"/>
                <a:gd name="connsiteX2925" fmla="*/ 3018 w 10785"/>
                <a:gd name="connsiteY2925" fmla="*/ 7726 h 10000"/>
                <a:gd name="connsiteX2926" fmla="*/ 3009 w 10785"/>
                <a:gd name="connsiteY2926" fmla="*/ 7735 h 10000"/>
                <a:gd name="connsiteX2927" fmla="*/ 3009 w 10785"/>
                <a:gd name="connsiteY2927" fmla="*/ 7761 h 10000"/>
                <a:gd name="connsiteX2928" fmla="*/ 3009 w 10785"/>
                <a:gd name="connsiteY2928" fmla="*/ 7778 h 10000"/>
                <a:gd name="connsiteX2929" fmla="*/ 3018 w 10785"/>
                <a:gd name="connsiteY2929" fmla="*/ 7786 h 10000"/>
                <a:gd name="connsiteX2930" fmla="*/ 3023 w 10785"/>
                <a:gd name="connsiteY2930" fmla="*/ 7786 h 10000"/>
                <a:gd name="connsiteX2931" fmla="*/ 3028 w 10785"/>
                <a:gd name="connsiteY2931" fmla="*/ 7778 h 10000"/>
                <a:gd name="connsiteX2932" fmla="*/ 3051 w 10785"/>
                <a:gd name="connsiteY2932" fmla="*/ 7761 h 10000"/>
                <a:gd name="connsiteX2933" fmla="*/ 3055 w 10785"/>
                <a:gd name="connsiteY2933" fmla="*/ 7778 h 10000"/>
                <a:gd name="connsiteX2934" fmla="*/ 3065 w 10785"/>
                <a:gd name="connsiteY2934" fmla="*/ 7761 h 10000"/>
                <a:gd name="connsiteX2935" fmla="*/ 3069 w 10785"/>
                <a:gd name="connsiteY2935" fmla="*/ 7786 h 10000"/>
                <a:gd name="connsiteX2936" fmla="*/ 3083 w 10785"/>
                <a:gd name="connsiteY2936" fmla="*/ 7786 h 10000"/>
                <a:gd name="connsiteX2937" fmla="*/ 3078 w 10785"/>
                <a:gd name="connsiteY2937" fmla="*/ 7761 h 10000"/>
                <a:gd name="connsiteX2938" fmla="*/ 3083 w 10785"/>
                <a:gd name="connsiteY2938" fmla="*/ 7752 h 10000"/>
                <a:gd name="connsiteX2939" fmla="*/ 3097 w 10785"/>
                <a:gd name="connsiteY2939" fmla="*/ 7752 h 10000"/>
                <a:gd name="connsiteX2940" fmla="*/ 3111 w 10785"/>
                <a:gd name="connsiteY2940" fmla="*/ 7726 h 10000"/>
                <a:gd name="connsiteX2941" fmla="*/ 3124 w 10785"/>
                <a:gd name="connsiteY2941" fmla="*/ 7709 h 10000"/>
                <a:gd name="connsiteX2942" fmla="*/ 3143 w 10785"/>
                <a:gd name="connsiteY2942" fmla="*/ 7692 h 10000"/>
                <a:gd name="connsiteX2943" fmla="*/ 3152 w 10785"/>
                <a:gd name="connsiteY2943" fmla="*/ 7667 h 10000"/>
                <a:gd name="connsiteX2944" fmla="*/ 3157 w 10785"/>
                <a:gd name="connsiteY2944" fmla="*/ 7650 h 10000"/>
                <a:gd name="connsiteX2945" fmla="*/ 3161 w 10785"/>
                <a:gd name="connsiteY2945" fmla="*/ 7650 h 10000"/>
                <a:gd name="connsiteX2946" fmla="*/ 3189 w 10785"/>
                <a:gd name="connsiteY2946" fmla="*/ 7641 h 10000"/>
                <a:gd name="connsiteX2947" fmla="*/ 3198 w 10785"/>
                <a:gd name="connsiteY2947" fmla="*/ 7624 h 10000"/>
                <a:gd name="connsiteX2948" fmla="*/ 3217 w 10785"/>
                <a:gd name="connsiteY2948" fmla="*/ 7615 h 10000"/>
                <a:gd name="connsiteX2949" fmla="*/ 3235 w 10785"/>
                <a:gd name="connsiteY2949" fmla="*/ 7598 h 10000"/>
                <a:gd name="connsiteX2950" fmla="*/ 3235 w 10785"/>
                <a:gd name="connsiteY2950" fmla="*/ 7615 h 10000"/>
                <a:gd name="connsiteX2951" fmla="*/ 3235 w 10785"/>
                <a:gd name="connsiteY2951" fmla="*/ 7641 h 10000"/>
                <a:gd name="connsiteX2952" fmla="*/ 3235 w 10785"/>
                <a:gd name="connsiteY2952" fmla="*/ 7650 h 10000"/>
                <a:gd name="connsiteX2953" fmla="*/ 3226 w 10785"/>
                <a:gd name="connsiteY2953" fmla="*/ 7650 h 10000"/>
                <a:gd name="connsiteX2954" fmla="*/ 3217 w 10785"/>
                <a:gd name="connsiteY2954" fmla="*/ 7650 h 10000"/>
                <a:gd name="connsiteX2955" fmla="*/ 3212 w 10785"/>
                <a:gd name="connsiteY2955" fmla="*/ 7675 h 10000"/>
                <a:gd name="connsiteX2956" fmla="*/ 3212 w 10785"/>
                <a:gd name="connsiteY2956"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334 w 10785"/>
                <a:gd name="connsiteY731" fmla="*/ 4810 h 10000"/>
                <a:gd name="connsiteX732" fmla="*/ 10691 w 10785"/>
                <a:gd name="connsiteY732" fmla="*/ 5255 h 10000"/>
                <a:gd name="connsiteX733" fmla="*/ 10619 w 10785"/>
                <a:gd name="connsiteY733" fmla="*/ 4708 h 10000"/>
                <a:gd name="connsiteX734" fmla="*/ 10785 w 10785"/>
                <a:gd name="connsiteY734" fmla="*/ 4708 h 10000"/>
                <a:gd name="connsiteX735" fmla="*/ 10689 w 10785"/>
                <a:gd name="connsiteY735" fmla="*/ 4467 h 10000"/>
                <a:gd name="connsiteX736" fmla="*/ 10354 w 10785"/>
                <a:gd name="connsiteY736" fmla="*/ 4302 h 10000"/>
                <a:gd name="connsiteX737" fmla="*/ 9912 w 10785"/>
                <a:gd name="connsiteY737" fmla="*/ 3675 h 10000"/>
                <a:gd name="connsiteX738" fmla="*/ 9903 w 10785"/>
                <a:gd name="connsiteY738" fmla="*/ 3667 h 10000"/>
                <a:gd name="connsiteX739" fmla="*/ 9894 w 10785"/>
                <a:gd name="connsiteY739" fmla="*/ 3641 h 10000"/>
                <a:gd name="connsiteX740" fmla="*/ 9889 w 10785"/>
                <a:gd name="connsiteY740" fmla="*/ 3650 h 10000"/>
                <a:gd name="connsiteX741" fmla="*/ 9848 w 10785"/>
                <a:gd name="connsiteY741" fmla="*/ 3598 h 10000"/>
                <a:gd name="connsiteX742" fmla="*/ 9829 w 10785"/>
                <a:gd name="connsiteY742" fmla="*/ 3581 h 10000"/>
                <a:gd name="connsiteX743" fmla="*/ 9820 w 10785"/>
                <a:gd name="connsiteY743" fmla="*/ 3581 h 10000"/>
                <a:gd name="connsiteX744" fmla="*/ 9793 w 10785"/>
                <a:gd name="connsiteY744" fmla="*/ 3556 h 10000"/>
                <a:gd name="connsiteX745" fmla="*/ 9779 w 10785"/>
                <a:gd name="connsiteY745" fmla="*/ 3556 h 10000"/>
                <a:gd name="connsiteX746" fmla="*/ 9747 w 10785"/>
                <a:gd name="connsiteY746" fmla="*/ 3487 h 10000"/>
                <a:gd name="connsiteX747" fmla="*/ 9668 w 10785"/>
                <a:gd name="connsiteY747" fmla="*/ 3479 h 10000"/>
                <a:gd name="connsiteX748" fmla="*/ 9659 w 10785"/>
                <a:gd name="connsiteY748" fmla="*/ 3487 h 10000"/>
                <a:gd name="connsiteX749" fmla="*/ 9645 w 10785"/>
                <a:gd name="connsiteY749" fmla="*/ 3504 h 10000"/>
                <a:gd name="connsiteX750" fmla="*/ 9631 w 10785"/>
                <a:gd name="connsiteY750" fmla="*/ 3487 h 10000"/>
                <a:gd name="connsiteX751" fmla="*/ 9613 w 10785"/>
                <a:gd name="connsiteY751" fmla="*/ 3479 h 10000"/>
                <a:gd name="connsiteX752" fmla="*/ 9599 w 10785"/>
                <a:gd name="connsiteY752" fmla="*/ 3479 h 10000"/>
                <a:gd name="connsiteX753" fmla="*/ 9571 w 10785"/>
                <a:gd name="connsiteY753" fmla="*/ 3479 h 10000"/>
                <a:gd name="connsiteX754" fmla="*/ 9562 w 10785"/>
                <a:gd name="connsiteY754" fmla="*/ 3487 h 10000"/>
                <a:gd name="connsiteX755" fmla="*/ 9539 w 10785"/>
                <a:gd name="connsiteY755" fmla="*/ 3487 h 10000"/>
                <a:gd name="connsiteX756" fmla="*/ 9507 w 10785"/>
                <a:gd name="connsiteY756" fmla="*/ 3453 h 10000"/>
                <a:gd name="connsiteX757" fmla="*/ 9498 w 10785"/>
                <a:gd name="connsiteY757" fmla="*/ 3453 h 10000"/>
                <a:gd name="connsiteX758" fmla="*/ 9387 w 10785"/>
                <a:gd name="connsiteY758" fmla="*/ 3419 h 10000"/>
                <a:gd name="connsiteX759" fmla="*/ 9373 w 10785"/>
                <a:gd name="connsiteY759" fmla="*/ 3427 h 10000"/>
                <a:gd name="connsiteX760" fmla="*/ 9373 w 10785"/>
                <a:gd name="connsiteY760" fmla="*/ 3462 h 10000"/>
                <a:gd name="connsiteX761" fmla="*/ 9378 w 10785"/>
                <a:gd name="connsiteY761" fmla="*/ 3479 h 10000"/>
                <a:gd name="connsiteX762" fmla="*/ 9378 w 10785"/>
                <a:gd name="connsiteY762" fmla="*/ 3530 h 10000"/>
                <a:gd name="connsiteX763" fmla="*/ 9355 w 10785"/>
                <a:gd name="connsiteY763" fmla="*/ 3538 h 10000"/>
                <a:gd name="connsiteX764" fmla="*/ 9355 w 10785"/>
                <a:gd name="connsiteY764" fmla="*/ 3581 h 10000"/>
                <a:gd name="connsiteX765" fmla="*/ 9387 w 10785"/>
                <a:gd name="connsiteY765" fmla="*/ 3590 h 10000"/>
                <a:gd name="connsiteX766" fmla="*/ 9401 w 10785"/>
                <a:gd name="connsiteY766" fmla="*/ 3667 h 10000"/>
                <a:gd name="connsiteX767" fmla="*/ 9406 w 10785"/>
                <a:gd name="connsiteY767" fmla="*/ 3675 h 10000"/>
                <a:gd name="connsiteX768" fmla="*/ 9406 w 10785"/>
                <a:gd name="connsiteY768" fmla="*/ 3701 h 10000"/>
                <a:gd name="connsiteX769" fmla="*/ 9415 w 10785"/>
                <a:gd name="connsiteY769" fmla="*/ 3752 h 10000"/>
                <a:gd name="connsiteX770" fmla="*/ 9373 w 10785"/>
                <a:gd name="connsiteY770" fmla="*/ 3838 h 10000"/>
                <a:gd name="connsiteX771" fmla="*/ 9355 w 10785"/>
                <a:gd name="connsiteY771" fmla="*/ 3863 h 10000"/>
                <a:gd name="connsiteX772" fmla="*/ 9327 w 10785"/>
                <a:gd name="connsiteY772" fmla="*/ 3863 h 10000"/>
                <a:gd name="connsiteX773" fmla="*/ 9313 w 10785"/>
                <a:gd name="connsiteY773" fmla="*/ 3846 h 10000"/>
                <a:gd name="connsiteX774" fmla="*/ 9300 w 10785"/>
                <a:gd name="connsiteY774" fmla="*/ 3778 h 10000"/>
                <a:gd name="connsiteX775" fmla="*/ 9281 w 10785"/>
                <a:gd name="connsiteY775" fmla="*/ 3752 h 10000"/>
                <a:gd name="connsiteX776" fmla="*/ 9281 w 10785"/>
                <a:gd name="connsiteY776" fmla="*/ 3735 h 10000"/>
                <a:gd name="connsiteX777" fmla="*/ 9267 w 10785"/>
                <a:gd name="connsiteY777" fmla="*/ 3726 h 10000"/>
                <a:gd name="connsiteX778" fmla="*/ 9240 w 10785"/>
                <a:gd name="connsiteY778" fmla="*/ 3726 h 10000"/>
                <a:gd name="connsiteX779" fmla="*/ 9230 w 10785"/>
                <a:gd name="connsiteY779" fmla="*/ 3718 h 10000"/>
                <a:gd name="connsiteX780" fmla="*/ 9226 w 10785"/>
                <a:gd name="connsiteY780" fmla="*/ 3590 h 10000"/>
                <a:gd name="connsiteX781" fmla="*/ 9207 w 10785"/>
                <a:gd name="connsiteY781" fmla="*/ 3581 h 10000"/>
                <a:gd name="connsiteX782" fmla="*/ 9207 w 10785"/>
                <a:gd name="connsiteY782" fmla="*/ 3556 h 10000"/>
                <a:gd name="connsiteX783" fmla="*/ 9217 w 10785"/>
                <a:gd name="connsiteY783" fmla="*/ 3538 h 10000"/>
                <a:gd name="connsiteX784" fmla="*/ 9212 w 10785"/>
                <a:gd name="connsiteY784" fmla="*/ 3538 h 10000"/>
                <a:gd name="connsiteX785" fmla="*/ 9198 w 10785"/>
                <a:gd name="connsiteY785" fmla="*/ 3513 h 10000"/>
                <a:gd name="connsiteX786" fmla="*/ 9194 w 10785"/>
                <a:gd name="connsiteY786" fmla="*/ 3530 h 10000"/>
                <a:gd name="connsiteX787" fmla="*/ 9143 w 10785"/>
                <a:gd name="connsiteY787" fmla="*/ 3615 h 10000"/>
                <a:gd name="connsiteX788" fmla="*/ 9138 w 10785"/>
                <a:gd name="connsiteY788" fmla="*/ 3615 h 10000"/>
                <a:gd name="connsiteX789" fmla="*/ 9134 w 10785"/>
                <a:gd name="connsiteY789" fmla="*/ 3615 h 10000"/>
                <a:gd name="connsiteX790" fmla="*/ 9106 w 10785"/>
                <a:gd name="connsiteY790" fmla="*/ 3615 h 10000"/>
                <a:gd name="connsiteX791" fmla="*/ 9078 w 10785"/>
                <a:gd name="connsiteY791" fmla="*/ 3590 h 10000"/>
                <a:gd name="connsiteX792" fmla="*/ 9037 w 10785"/>
                <a:gd name="connsiteY792" fmla="*/ 3581 h 10000"/>
                <a:gd name="connsiteX793" fmla="*/ 9023 w 10785"/>
                <a:gd name="connsiteY793" fmla="*/ 3590 h 10000"/>
                <a:gd name="connsiteX794" fmla="*/ 9018 w 10785"/>
                <a:gd name="connsiteY794" fmla="*/ 3590 h 10000"/>
                <a:gd name="connsiteX795" fmla="*/ 9018 w 10785"/>
                <a:gd name="connsiteY795" fmla="*/ 3590 h 10000"/>
                <a:gd name="connsiteX796" fmla="*/ 8991 w 10785"/>
                <a:gd name="connsiteY796" fmla="*/ 3590 h 10000"/>
                <a:gd name="connsiteX797" fmla="*/ 8972 w 10785"/>
                <a:gd name="connsiteY797" fmla="*/ 3581 h 10000"/>
                <a:gd name="connsiteX798" fmla="*/ 8959 w 10785"/>
                <a:gd name="connsiteY798" fmla="*/ 3513 h 10000"/>
                <a:gd name="connsiteX799" fmla="*/ 8931 w 10785"/>
                <a:gd name="connsiteY799" fmla="*/ 3538 h 10000"/>
                <a:gd name="connsiteX800" fmla="*/ 8889 w 10785"/>
                <a:gd name="connsiteY800" fmla="*/ 3538 h 10000"/>
                <a:gd name="connsiteX801" fmla="*/ 8871 w 10785"/>
                <a:gd name="connsiteY801" fmla="*/ 3556 h 10000"/>
                <a:gd name="connsiteX802" fmla="*/ 8857 w 10785"/>
                <a:gd name="connsiteY802" fmla="*/ 3538 h 10000"/>
                <a:gd name="connsiteX803" fmla="*/ 8843 w 10785"/>
                <a:gd name="connsiteY803" fmla="*/ 3538 h 10000"/>
                <a:gd name="connsiteX804" fmla="*/ 8839 w 10785"/>
                <a:gd name="connsiteY804" fmla="*/ 3556 h 10000"/>
                <a:gd name="connsiteX805" fmla="*/ 8839 w 10785"/>
                <a:gd name="connsiteY805" fmla="*/ 3581 h 10000"/>
                <a:gd name="connsiteX806" fmla="*/ 8825 w 10785"/>
                <a:gd name="connsiteY806" fmla="*/ 3564 h 10000"/>
                <a:gd name="connsiteX807" fmla="*/ 8825 w 10785"/>
                <a:gd name="connsiteY807" fmla="*/ 3615 h 10000"/>
                <a:gd name="connsiteX808" fmla="*/ 8802 w 10785"/>
                <a:gd name="connsiteY808" fmla="*/ 3598 h 10000"/>
                <a:gd name="connsiteX809" fmla="*/ 8797 w 10785"/>
                <a:gd name="connsiteY809" fmla="*/ 3641 h 10000"/>
                <a:gd name="connsiteX810" fmla="*/ 8783 w 10785"/>
                <a:gd name="connsiteY810" fmla="*/ 3667 h 10000"/>
                <a:gd name="connsiteX811" fmla="*/ 8779 w 10785"/>
                <a:gd name="connsiteY811" fmla="*/ 3650 h 10000"/>
                <a:gd name="connsiteX812" fmla="*/ 8779 w 10785"/>
                <a:gd name="connsiteY812" fmla="*/ 3615 h 10000"/>
                <a:gd name="connsiteX813" fmla="*/ 8770 w 10785"/>
                <a:gd name="connsiteY813" fmla="*/ 3590 h 10000"/>
                <a:gd name="connsiteX814" fmla="*/ 8765 w 10785"/>
                <a:gd name="connsiteY814" fmla="*/ 3598 h 10000"/>
                <a:gd name="connsiteX815" fmla="*/ 8756 w 10785"/>
                <a:gd name="connsiteY815" fmla="*/ 3590 h 10000"/>
                <a:gd name="connsiteX816" fmla="*/ 8737 w 10785"/>
                <a:gd name="connsiteY816" fmla="*/ 3556 h 10000"/>
                <a:gd name="connsiteX817" fmla="*/ 8724 w 10785"/>
                <a:gd name="connsiteY817" fmla="*/ 3538 h 10000"/>
                <a:gd name="connsiteX818" fmla="*/ 8696 w 10785"/>
                <a:gd name="connsiteY818" fmla="*/ 3538 h 10000"/>
                <a:gd name="connsiteX819" fmla="*/ 8691 w 10785"/>
                <a:gd name="connsiteY819" fmla="*/ 3513 h 10000"/>
                <a:gd name="connsiteX820" fmla="*/ 8668 w 10785"/>
                <a:gd name="connsiteY820" fmla="*/ 3504 h 10000"/>
                <a:gd name="connsiteX821" fmla="*/ 8668 w 10785"/>
                <a:gd name="connsiteY821" fmla="*/ 3487 h 10000"/>
                <a:gd name="connsiteX822" fmla="*/ 8691 w 10785"/>
                <a:gd name="connsiteY822" fmla="*/ 3350 h 10000"/>
                <a:gd name="connsiteX823" fmla="*/ 8691 w 10785"/>
                <a:gd name="connsiteY823" fmla="*/ 3291 h 10000"/>
                <a:gd name="connsiteX824" fmla="*/ 8677 w 10785"/>
                <a:gd name="connsiteY824" fmla="*/ 3239 h 10000"/>
                <a:gd name="connsiteX825" fmla="*/ 8677 w 10785"/>
                <a:gd name="connsiteY825" fmla="*/ 3231 h 10000"/>
                <a:gd name="connsiteX826" fmla="*/ 8636 w 10785"/>
                <a:gd name="connsiteY826" fmla="*/ 3128 h 10000"/>
                <a:gd name="connsiteX827" fmla="*/ 8622 w 10785"/>
                <a:gd name="connsiteY827" fmla="*/ 3120 h 10000"/>
                <a:gd name="connsiteX828" fmla="*/ 8618 w 10785"/>
                <a:gd name="connsiteY828" fmla="*/ 3094 h 10000"/>
                <a:gd name="connsiteX829" fmla="*/ 8594 w 10785"/>
                <a:gd name="connsiteY829" fmla="*/ 3077 h 10000"/>
                <a:gd name="connsiteX830" fmla="*/ 8548 w 10785"/>
                <a:gd name="connsiteY830" fmla="*/ 3077 h 10000"/>
                <a:gd name="connsiteX831" fmla="*/ 8535 w 10785"/>
                <a:gd name="connsiteY831" fmla="*/ 3068 h 10000"/>
                <a:gd name="connsiteX832" fmla="*/ 8429 w 10785"/>
                <a:gd name="connsiteY832" fmla="*/ 3077 h 10000"/>
                <a:gd name="connsiteX833" fmla="*/ 8424 w 10785"/>
                <a:gd name="connsiteY833" fmla="*/ 3077 h 10000"/>
                <a:gd name="connsiteX834" fmla="*/ 8396 w 10785"/>
                <a:gd name="connsiteY834" fmla="*/ 3077 h 10000"/>
                <a:gd name="connsiteX835" fmla="*/ 8387 w 10785"/>
                <a:gd name="connsiteY835" fmla="*/ 3094 h 10000"/>
                <a:gd name="connsiteX836" fmla="*/ 8378 w 10785"/>
                <a:gd name="connsiteY836" fmla="*/ 3094 h 10000"/>
                <a:gd name="connsiteX837" fmla="*/ 8341 w 10785"/>
                <a:gd name="connsiteY837" fmla="*/ 3077 h 10000"/>
                <a:gd name="connsiteX838" fmla="*/ 8336 w 10785"/>
                <a:gd name="connsiteY838" fmla="*/ 3077 h 10000"/>
                <a:gd name="connsiteX839" fmla="*/ 8327 w 10785"/>
                <a:gd name="connsiteY839" fmla="*/ 3103 h 10000"/>
                <a:gd name="connsiteX840" fmla="*/ 8309 w 10785"/>
                <a:gd name="connsiteY840" fmla="*/ 3120 h 10000"/>
                <a:gd name="connsiteX841" fmla="*/ 8304 w 10785"/>
                <a:gd name="connsiteY841" fmla="*/ 3103 h 10000"/>
                <a:gd name="connsiteX842" fmla="*/ 8276 w 10785"/>
                <a:gd name="connsiteY842" fmla="*/ 3103 h 10000"/>
                <a:gd name="connsiteX843" fmla="*/ 8267 w 10785"/>
                <a:gd name="connsiteY843" fmla="*/ 3120 h 10000"/>
                <a:gd name="connsiteX844" fmla="*/ 8253 w 10785"/>
                <a:gd name="connsiteY844" fmla="*/ 3103 h 10000"/>
                <a:gd name="connsiteX845" fmla="*/ 8230 w 10785"/>
                <a:gd name="connsiteY845" fmla="*/ 3128 h 10000"/>
                <a:gd name="connsiteX846" fmla="*/ 8217 w 10785"/>
                <a:gd name="connsiteY846" fmla="*/ 3128 h 10000"/>
                <a:gd name="connsiteX847" fmla="*/ 8203 w 10785"/>
                <a:gd name="connsiteY847" fmla="*/ 3154 h 10000"/>
                <a:gd name="connsiteX848" fmla="*/ 8175 w 10785"/>
                <a:gd name="connsiteY848" fmla="*/ 3094 h 10000"/>
                <a:gd name="connsiteX849" fmla="*/ 8161 w 10785"/>
                <a:gd name="connsiteY849" fmla="*/ 3094 h 10000"/>
                <a:gd name="connsiteX850" fmla="*/ 8157 w 10785"/>
                <a:gd name="connsiteY850" fmla="*/ 3077 h 10000"/>
                <a:gd name="connsiteX851" fmla="*/ 8180 w 10785"/>
                <a:gd name="connsiteY851" fmla="*/ 3068 h 10000"/>
                <a:gd name="connsiteX852" fmla="*/ 8189 w 10785"/>
                <a:gd name="connsiteY852" fmla="*/ 3043 h 10000"/>
                <a:gd name="connsiteX853" fmla="*/ 8189 w 10785"/>
                <a:gd name="connsiteY853" fmla="*/ 3017 h 10000"/>
                <a:gd name="connsiteX854" fmla="*/ 8147 w 10785"/>
                <a:gd name="connsiteY854" fmla="*/ 2940 h 10000"/>
                <a:gd name="connsiteX855" fmla="*/ 8143 w 10785"/>
                <a:gd name="connsiteY855" fmla="*/ 2915 h 10000"/>
                <a:gd name="connsiteX856" fmla="*/ 8143 w 10785"/>
                <a:gd name="connsiteY856" fmla="*/ 2906 h 10000"/>
                <a:gd name="connsiteX857" fmla="*/ 8097 w 10785"/>
                <a:gd name="connsiteY857" fmla="*/ 2932 h 10000"/>
                <a:gd name="connsiteX858" fmla="*/ 8083 w 10785"/>
                <a:gd name="connsiteY858" fmla="*/ 2932 h 10000"/>
                <a:gd name="connsiteX859" fmla="*/ 8074 w 10785"/>
                <a:gd name="connsiteY859" fmla="*/ 2906 h 10000"/>
                <a:gd name="connsiteX860" fmla="*/ 8074 w 10785"/>
                <a:gd name="connsiteY860" fmla="*/ 2897 h 10000"/>
                <a:gd name="connsiteX861" fmla="*/ 8055 w 10785"/>
                <a:gd name="connsiteY861" fmla="*/ 2872 h 10000"/>
                <a:gd name="connsiteX862" fmla="*/ 8046 w 10785"/>
                <a:gd name="connsiteY862" fmla="*/ 2829 h 10000"/>
                <a:gd name="connsiteX863" fmla="*/ 8041 w 10785"/>
                <a:gd name="connsiteY863" fmla="*/ 2829 h 10000"/>
                <a:gd name="connsiteX864" fmla="*/ 8023 w 10785"/>
                <a:gd name="connsiteY864" fmla="*/ 2803 h 10000"/>
                <a:gd name="connsiteX865" fmla="*/ 8014 w 10785"/>
                <a:gd name="connsiteY865" fmla="*/ 2829 h 10000"/>
                <a:gd name="connsiteX866" fmla="*/ 8000 w 10785"/>
                <a:gd name="connsiteY866" fmla="*/ 2829 h 10000"/>
                <a:gd name="connsiteX867" fmla="*/ 7995 w 10785"/>
                <a:gd name="connsiteY867" fmla="*/ 2821 h 10000"/>
                <a:gd name="connsiteX868" fmla="*/ 7972 w 10785"/>
                <a:gd name="connsiteY868" fmla="*/ 2803 h 10000"/>
                <a:gd name="connsiteX869" fmla="*/ 7968 w 10785"/>
                <a:gd name="connsiteY869" fmla="*/ 2821 h 10000"/>
                <a:gd name="connsiteX870" fmla="*/ 7968 w 10785"/>
                <a:gd name="connsiteY870" fmla="*/ 2803 h 10000"/>
                <a:gd name="connsiteX871" fmla="*/ 7995 w 10785"/>
                <a:gd name="connsiteY871" fmla="*/ 2735 h 10000"/>
                <a:gd name="connsiteX872" fmla="*/ 8000 w 10785"/>
                <a:gd name="connsiteY872" fmla="*/ 2735 h 10000"/>
                <a:gd name="connsiteX873" fmla="*/ 8014 w 10785"/>
                <a:gd name="connsiteY873" fmla="*/ 2744 h 10000"/>
                <a:gd name="connsiteX874" fmla="*/ 8023 w 10785"/>
                <a:gd name="connsiteY874" fmla="*/ 2769 h 10000"/>
                <a:gd name="connsiteX875" fmla="*/ 8032 w 10785"/>
                <a:gd name="connsiteY875" fmla="*/ 2744 h 10000"/>
                <a:gd name="connsiteX876" fmla="*/ 8032 w 10785"/>
                <a:gd name="connsiteY876" fmla="*/ 2709 h 10000"/>
                <a:gd name="connsiteX877" fmla="*/ 8023 w 10785"/>
                <a:gd name="connsiteY877" fmla="*/ 2632 h 10000"/>
                <a:gd name="connsiteX878" fmla="*/ 7986 w 10785"/>
                <a:gd name="connsiteY878" fmla="*/ 2581 h 10000"/>
                <a:gd name="connsiteX879" fmla="*/ 7968 w 10785"/>
                <a:gd name="connsiteY879" fmla="*/ 2581 h 10000"/>
                <a:gd name="connsiteX880" fmla="*/ 7963 w 10785"/>
                <a:gd name="connsiteY880" fmla="*/ 2556 h 10000"/>
                <a:gd name="connsiteX881" fmla="*/ 7935 w 10785"/>
                <a:gd name="connsiteY881" fmla="*/ 2547 h 10000"/>
                <a:gd name="connsiteX882" fmla="*/ 7912 w 10785"/>
                <a:gd name="connsiteY882" fmla="*/ 2547 h 10000"/>
                <a:gd name="connsiteX883" fmla="*/ 7912 w 10785"/>
                <a:gd name="connsiteY883" fmla="*/ 2556 h 10000"/>
                <a:gd name="connsiteX884" fmla="*/ 7908 w 10785"/>
                <a:gd name="connsiteY884" fmla="*/ 2547 h 10000"/>
                <a:gd name="connsiteX885" fmla="*/ 7862 w 10785"/>
                <a:gd name="connsiteY885" fmla="*/ 2547 h 10000"/>
                <a:gd name="connsiteX886" fmla="*/ 7848 w 10785"/>
                <a:gd name="connsiteY886" fmla="*/ 2556 h 10000"/>
                <a:gd name="connsiteX887" fmla="*/ 7820 w 10785"/>
                <a:gd name="connsiteY887" fmla="*/ 2547 h 10000"/>
                <a:gd name="connsiteX888" fmla="*/ 7806 w 10785"/>
                <a:gd name="connsiteY888" fmla="*/ 2513 h 10000"/>
                <a:gd name="connsiteX889" fmla="*/ 7788 w 10785"/>
                <a:gd name="connsiteY889" fmla="*/ 2513 h 10000"/>
                <a:gd name="connsiteX890" fmla="*/ 7760 w 10785"/>
                <a:gd name="connsiteY890" fmla="*/ 2470 h 10000"/>
                <a:gd name="connsiteX891" fmla="*/ 7751 w 10785"/>
                <a:gd name="connsiteY891" fmla="*/ 2470 h 10000"/>
                <a:gd name="connsiteX892" fmla="*/ 7705 w 10785"/>
                <a:gd name="connsiteY892" fmla="*/ 2462 h 10000"/>
                <a:gd name="connsiteX893" fmla="*/ 7673 w 10785"/>
                <a:gd name="connsiteY893" fmla="*/ 2419 h 10000"/>
                <a:gd name="connsiteX894" fmla="*/ 7627 w 10785"/>
                <a:gd name="connsiteY894" fmla="*/ 2419 h 10000"/>
                <a:gd name="connsiteX895" fmla="*/ 7613 w 10785"/>
                <a:gd name="connsiteY895" fmla="*/ 2410 h 10000"/>
                <a:gd name="connsiteX896" fmla="*/ 7493 w 10785"/>
                <a:gd name="connsiteY896" fmla="*/ 2393 h 10000"/>
                <a:gd name="connsiteX897" fmla="*/ 7479 w 10785"/>
                <a:gd name="connsiteY897" fmla="*/ 2385 h 10000"/>
                <a:gd name="connsiteX898" fmla="*/ 7479 w 10785"/>
                <a:gd name="connsiteY898" fmla="*/ 2376 h 10000"/>
                <a:gd name="connsiteX899" fmla="*/ 7465 w 10785"/>
                <a:gd name="connsiteY899" fmla="*/ 2359 h 10000"/>
                <a:gd name="connsiteX900" fmla="*/ 7447 w 10785"/>
                <a:gd name="connsiteY900" fmla="*/ 2350 h 10000"/>
                <a:gd name="connsiteX901" fmla="*/ 7433 w 10785"/>
                <a:gd name="connsiteY901" fmla="*/ 2376 h 10000"/>
                <a:gd name="connsiteX902" fmla="*/ 7433 w 10785"/>
                <a:gd name="connsiteY902" fmla="*/ 2385 h 10000"/>
                <a:gd name="connsiteX903" fmla="*/ 7447 w 10785"/>
                <a:gd name="connsiteY903" fmla="*/ 2410 h 10000"/>
                <a:gd name="connsiteX904" fmla="*/ 7447 w 10785"/>
                <a:gd name="connsiteY904" fmla="*/ 2436 h 10000"/>
                <a:gd name="connsiteX905" fmla="*/ 7452 w 10785"/>
                <a:gd name="connsiteY905" fmla="*/ 2462 h 10000"/>
                <a:gd name="connsiteX906" fmla="*/ 7447 w 10785"/>
                <a:gd name="connsiteY906" fmla="*/ 2470 h 10000"/>
                <a:gd name="connsiteX907" fmla="*/ 7424 w 10785"/>
                <a:gd name="connsiteY907" fmla="*/ 2513 h 10000"/>
                <a:gd name="connsiteX908" fmla="*/ 7419 w 10785"/>
                <a:gd name="connsiteY908" fmla="*/ 2556 h 10000"/>
                <a:gd name="connsiteX909" fmla="*/ 7406 w 10785"/>
                <a:gd name="connsiteY909" fmla="*/ 2624 h 10000"/>
                <a:gd name="connsiteX910" fmla="*/ 7392 w 10785"/>
                <a:gd name="connsiteY910" fmla="*/ 2624 h 10000"/>
                <a:gd name="connsiteX911" fmla="*/ 7373 w 10785"/>
                <a:gd name="connsiteY911" fmla="*/ 2650 h 10000"/>
                <a:gd name="connsiteX912" fmla="*/ 7364 w 10785"/>
                <a:gd name="connsiteY912" fmla="*/ 2684 h 10000"/>
                <a:gd name="connsiteX913" fmla="*/ 7364 w 10785"/>
                <a:gd name="connsiteY913" fmla="*/ 2692 h 10000"/>
                <a:gd name="connsiteX914" fmla="*/ 7373 w 10785"/>
                <a:gd name="connsiteY914" fmla="*/ 2718 h 10000"/>
                <a:gd name="connsiteX915" fmla="*/ 7373 w 10785"/>
                <a:gd name="connsiteY915" fmla="*/ 2744 h 10000"/>
                <a:gd name="connsiteX916" fmla="*/ 7359 w 10785"/>
                <a:gd name="connsiteY916" fmla="*/ 2744 h 10000"/>
                <a:gd name="connsiteX917" fmla="*/ 7359 w 10785"/>
                <a:gd name="connsiteY917" fmla="*/ 2795 h 10000"/>
                <a:gd name="connsiteX918" fmla="*/ 7364 w 10785"/>
                <a:gd name="connsiteY918" fmla="*/ 2821 h 10000"/>
                <a:gd name="connsiteX919" fmla="*/ 7378 w 10785"/>
                <a:gd name="connsiteY919" fmla="*/ 2846 h 10000"/>
                <a:gd name="connsiteX920" fmla="*/ 7378 w 10785"/>
                <a:gd name="connsiteY920" fmla="*/ 2855 h 10000"/>
                <a:gd name="connsiteX921" fmla="*/ 7378 w 10785"/>
                <a:gd name="connsiteY921" fmla="*/ 2880 h 10000"/>
                <a:gd name="connsiteX922" fmla="*/ 7378 w 10785"/>
                <a:gd name="connsiteY922" fmla="*/ 2906 h 10000"/>
                <a:gd name="connsiteX923" fmla="*/ 7364 w 10785"/>
                <a:gd name="connsiteY923" fmla="*/ 2906 h 10000"/>
                <a:gd name="connsiteX924" fmla="*/ 7346 w 10785"/>
                <a:gd name="connsiteY924" fmla="*/ 2880 h 10000"/>
                <a:gd name="connsiteX925" fmla="*/ 7332 w 10785"/>
                <a:gd name="connsiteY925" fmla="*/ 2915 h 10000"/>
                <a:gd name="connsiteX926" fmla="*/ 7318 w 10785"/>
                <a:gd name="connsiteY926" fmla="*/ 2906 h 10000"/>
                <a:gd name="connsiteX927" fmla="*/ 7313 w 10785"/>
                <a:gd name="connsiteY927" fmla="*/ 2915 h 10000"/>
                <a:gd name="connsiteX928" fmla="*/ 7313 w 10785"/>
                <a:gd name="connsiteY928" fmla="*/ 2906 h 10000"/>
                <a:gd name="connsiteX929" fmla="*/ 7286 w 10785"/>
                <a:gd name="connsiteY929" fmla="*/ 2940 h 10000"/>
                <a:gd name="connsiteX930" fmla="*/ 7276 w 10785"/>
                <a:gd name="connsiteY930" fmla="*/ 2966 h 10000"/>
                <a:gd name="connsiteX931" fmla="*/ 7272 w 10785"/>
                <a:gd name="connsiteY931" fmla="*/ 2983 h 10000"/>
                <a:gd name="connsiteX932" fmla="*/ 7267 w 10785"/>
                <a:gd name="connsiteY932" fmla="*/ 3009 h 10000"/>
                <a:gd name="connsiteX933" fmla="*/ 7253 w 10785"/>
                <a:gd name="connsiteY933" fmla="*/ 3009 h 10000"/>
                <a:gd name="connsiteX934" fmla="*/ 7244 w 10785"/>
                <a:gd name="connsiteY934" fmla="*/ 3017 h 10000"/>
                <a:gd name="connsiteX935" fmla="*/ 7240 w 10785"/>
                <a:gd name="connsiteY935" fmla="*/ 3009 h 10000"/>
                <a:gd name="connsiteX936" fmla="*/ 7230 w 10785"/>
                <a:gd name="connsiteY936" fmla="*/ 2991 h 10000"/>
                <a:gd name="connsiteX937" fmla="*/ 7226 w 10785"/>
                <a:gd name="connsiteY937" fmla="*/ 2983 h 10000"/>
                <a:gd name="connsiteX938" fmla="*/ 7226 w 10785"/>
                <a:gd name="connsiteY938" fmla="*/ 2966 h 10000"/>
                <a:gd name="connsiteX939" fmla="*/ 7212 w 10785"/>
                <a:gd name="connsiteY939" fmla="*/ 2957 h 10000"/>
                <a:gd name="connsiteX940" fmla="*/ 7212 w 10785"/>
                <a:gd name="connsiteY940" fmla="*/ 2932 h 10000"/>
                <a:gd name="connsiteX941" fmla="*/ 7198 w 10785"/>
                <a:gd name="connsiteY941" fmla="*/ 2915 h 10000"/>
                <a:gd name="connsiteX942" fmla="*/ 7194 w 10785"/>
                <a:gd name="connsiteY942" fmla="*/ 2915 h 10000"/>
                <a:gd name="connsiteX943" fmla="*/ 7157 w 10785"/>
                <a:gd name="connsiteY943" fmla="*/ 2880 h 10000"/>
                <a:gd name="connsiteX944" fmla="*/ 7138 w 10785"/>
                <a:gd name="connsiteY944" fmla="*/ 2880 h 10000"/>
                <a:gd name="connsiteX945" fmla="*/ 7120 w 10785"/>
                <a:gd name="connsiteY945" fmla="*/ 2872 h 10000"/>
                <a:gd name="connsiteX946" fmla="*/ 7111 w 10785"/>
                <a:gd name="connsiteY946" fmla="*/ 2846 h 10000"/>
                <a:gd name="connsiteX947" fmla="*/ 7106 w 10785"/>
                <a:gd name="connsiteY947" fmla="*/ 2846 h 10000"/>
                <a:gd name="connsiteX948" fmla="*/ 7092 w 10785"/>
                <a:gd name="connsiteY948" fmla="*/ 2829 h 10000"/>
                <a:gd name="connsiteX949" fmla="*/ 7051 w 10785"/>
                <a:gd name="connsiteY949" fmla="*/ 2829 h 10000"/>
                <a:gd name="connsiteX950" fmla="*/ 7037 w 10785"/>
                <a:gd name="connsiteY950" fmla="*/ 2880 h 10000"/>
                <a:gd name="connsiteX951" fmla="*/ 7037 w 10785"/>
                <a:gd name="connsiteY951" fmla="*/ 2906 h 10000"/>
                <a:gd name="connsiteX952" fmla="*/ 7037 w 10785"/>
                <a:gd name="connsiteY952" fmla="*/ 2932 h 10000"/>
                <a:gd name="connsiteX953" fmla="*/ 7037 w 10785"/>
                <a:gd name="connsiteY953" fmla="*/ 2940 h 10000"/>
                <a:gd name="connsiteX954" fmla="*/ 7023 w 10785"/>
                <a:gd name="connsiteY954" fmla="*/ 2906 h 10000"/>
                <a:gd name="connsiteX955" fmla="*/ 7023 w 10785"/>
                <a:gd name="connsiteY955" fmla="*/ 2915 h 10000"/>
                <a:gd name="connsiteX956" fmla="*/ 6991 w 10785"/>
                <a:gd name="connsiteY956" fmla="*/ 2906 h 10000"/>
                <a:gd name="connsiteX957" fmla="*/ 6977 w 10785"/>
                <a:gd name="connsiteY957" fmla="*/ 2915 h 10000"/>
                <a:gd name="connsiteX958" fmla="*/ 6963 w 10785"/>
                <a:gd name="connsiteY958" fmla="*/ 2915 h 10000"/>
                <a:gd name="connsiteX959" fmla="*/ 6949 w 10785"/>
                <a:gd name="connsiteY959" fmla="*/ 2872 h 10000"/>
                <a:gd name="connsiteX960" fmla="*/ 6935 w 10785"/>
                <a:gd name="connsiteY960" fmla="*/ 2855 h 10000"/>
                <a:gd name="connsiteX961" fmla="*/ 6922 w 10785"/>
                <a:gd name="connsiteY961" fmla="*/ 2803 h 10000"/>
                <a:gd name="connsiteX962" fmla="*/ 6917 w 10785"/>
                <a:gd name="connsiteY962" fmla="*/ 2786 h 10000"/>
                <a:gd name="connsiteX963" fmla="*/ 6903 w 10785"/>
                <a:gd name="connsiteY963" fmla="*/ 2709 h 10000"/>
                <a:gd name="connsiteX964" fmla="*/ 6903 w 10785"/>
                <a:gd name="connsiteY964" fmla="*/ 2692 h 10000"/>
                <a:gd name="connsiteX965" fmla="*/ 6899 w 10785"/>
                <a:gd name="connsiteY965" fmla="*/ 2709 h 10000"/>
                <a:gd name="connsiteX966" fmla="*/ 6857 w 10785"/>
                <a:gd name="connsiteY966" fmla="*/ 2872 h 10000"/>
                <a:gd name="connsiteX967" fmla="*/ 6857 w 10785"/>
                <a:gd name="connsiteY967" fmla="*/ 3009 h 10000"/>
                <a:gd name="connsiteX968" fmla="*/ 6848 w 10785"/>
                <a:gd name="connsiteY968" fmla="*/ 3017 h 10000"/>
                <a:gd name="connsiteX969" fmla="*/ 6839 w 10785"/>
                <a:gd name="connsiteY969" fmla="*/ 3068 h 10000"/>
                <a:gd name="connsiteX970" fmla="*/ 6829 w 10785"/>
                <a:gd name="connsiteY970" fmla="*/ 3077 h 10000"/>
                <a:gd name="connsiteX971" fmla="*/ 6829 w 10785"/>
                <a:gd name="connsiteY971" fmla="*/ 3128 h 10000"/>
                <a:gd name="connsiteX972" fmla="*/ 6816 w 10785"/>
                <a:gd name="connsiteY972" fmla="*/ 3154 h 10000"/>
                <a:gd name="connsiteX973" fmla="*/ 6811 w 10785"/>
                <a:gd name="connsiteY973" fmla="*/ 3179 h 10000"/>
                <a:gd name="connsiteX974" fmla="*/ 6797 w 10785"/>
                <a:gd name="connsiteY974" fmla="*/ 3171 h 10000"/>
                <a:gd name="connsiteX975" fmla="*/ 6783 w 10785"/>
                <a:gd name="connsiteY975" fmla="*/ 3103 h 10000"/>
                <a:gd name="connsiteX976" fmla="*/ 6779 w 10785"/>
                <a:gd name="connsiteY976" fmla="*/ 3094 h 10000"/>
                <a:gd name="connsiteX977" fmla="*/ 6779 w 10785"/>
                <a:gd name="connsiteY977" fmla="*/ 3120 h 10000"/>
                <a:gd name="connsiteX978" fmla="*/ 6770 w 10785"/>
                <a:gd name="connsiteY978" fmla="*/ 3128 h 10000"/>
                <a:gd name="connsiteX979" fmla="*/ 6765 w 10785"/>
                <a:gd name="connsiteY979" fmla="*/ 3103 h 10000"/>
                <a:gd name="connsiteX980" fmla="*/ 6756 w 10785"/>
                <a:gd name="connsiteY980" fmla="*/ 3103 h 10000"/>
                <a:gd name="connsiteX981" fmla="*/ 6742 w 10785"/>
                <a:gd name="connsiteY981" fmla="*/ 3103 h 10000"/>
                <a:gd name="connsiteX982" fmla="*/ 6737 w 10785"/>
                <a:gd name="connsiteY982" fmla="*/ 3077 h 10000"/>
                <a:gd name="connsiteX983" fmla="*/ 6737 w 10785"/>
                <a:gd name="connsiteY983" fmla="*/ 3068 h 10000"/>
                <a:gd name="connsiteX984" fmla="*/ 6728 w 10785"/>
                <a:gd name="connsiteY984" fmla="*/ 3043 h 10000"/>
                <a:gd name="connsiteX985" fmla="*/ 6724 w 10785"/>
                <a:gd name="connsiteY985" fmla="*/ 3051 h 10000"/>
                <a:gd name="connsiteX986" fmla="*/ 6714 w 10785"/>
                <a:gd name="connsiteY986" fmla="*/ 3043 h 10000"/>
                <a:gd name="connsiteX987" fmla="*/ 6710 w 10785"/>
                <a:gd name="connsiteY987" fmla="*/ 3034 h 10000"/>
                <a:gd name="connsiteX988" fmla="*/ 6705 w 10785"/>
                <a:gd name="connsiteY988" fmla="*/ 2983 h 10000"/>
                <a:gd name="connsiteX989" fmla="*/ 6696 w 10785"/>
                <a:gd name="connsiteY989" fmla="*/ 2966 h 10000"/>
                <a:gd name="connsiteX990" fmla="*/ 6691 w 10785"/>
                <a:gd name="connsiteY990" fmla="*/ 2983 h 10000"/>
                <a:gd name="connsiteX991" fmla="*/ 6677 w 10785"/>
                <a:gd name="connsiteY991" fmla="*/ 2897 h 10000"/>
                <a:gd name="connsiteX992" fmla="*/ 6677 w 10785"/>
                <a:gd name="connsiteY992" fmla="*/ 2897 h 10000"/>
                <a:gd name="connsiteX993" fmla="*/ 6677 w 10785"/>
                <a:gd name="connsiteY993" fmla="*/ 2872 h 10000"/>
                <a:gd name="connsiteX994" fmla="*/ 6668 w 10785"/>
                <a:gd name="connsiteY994" fmla="*/ 2821 h 10000"/>
                <a:gd name="connsiteX995" fmla="*/ 6664 w 10785"/>
                <a:gd name="connsiteY995" fmla="*/ 2829 h 10000"/>
                <a:gd name="connsiteX996" fmla="*/ 6654 w 10785"/>
                <a:gd name="connsiteY996" fmla="*/ 2846 h 10000"/>
                <a:gd name="connsiteX997" fmla="*/ 6650 w 10785"/>
                <a:gd name="connsiteY997" fmla="*/ 2829 h 10000"/>
                <a:gd name="connsiteX998" fmla="*/ 6650 w 10785"/>
                <a:gd name="connsiteY998" fmla="*/ 2803 h 10000"/>
                <a:gd name="connsiteX999" fmla="*/ 6650 w 10785"/>
                <a:gd name="connsiteY999" fmla="*/ 2795 h 10000"/>
                <a:gd name="connsiteX1000" fmla="*/ 6641 w 10785"/>
                <a:gd name="connsiteY1000" fmla="*/ 2786 h 10000"/>
                <a:gd name="connsiteX1001" fmla="*/ 6636 w 10785"/>
                <a:gd name="connsiteY1001" fmla="*/ 2735 h 10000"/>
                <a:gd name="connsiteX1002" fmla="*/ 6664 w 10785"/>
                <a:gd name="connsiteY1002" fmla="*/ 2667 h 10000"/>
                <a:gd name="connsiteX1003" fmla="*/ 6668 w 10785"/>
                <a:gd name="connsiteY1003" fmla="*/ 2684 h 10000"/>
                <a:gd name="connsiteX1004" fmla="*/ 6677 w 10785"/>
                <a:gd name="connsiteY1004" fmla="*/ 2667 h 10000"/>
                <a:gd name="connsiteX1005" fmla="*/ 6668 w 10785"/>
                <a:gd name="connsiteY1005" fmla="*/ 2667 h 10000"/>
                <a:gd name="connsiteX1006" fmla="*/ 6668 w 10785"/>
                <a:gd name="connsiteY1006" fmla="*/ 2650 h 10000"/>
                <a:gd name="connsiteX1007" fmla="*/ 6682 w 10785"/>
                <a:gd name="connsiteY1007" fmla="*/ 2650 h 10000"/>
                <a:gd name="connsiteX1008" fmla="*/ 6691 w 10785"/>
                <a:gd name="connsiteY1008" fmla="*/ 2624 h 10000"/>
                <a:gd name="connsiteX1009" fmla="*/ 6682 w 10785"/>
                <a:gd name="connsiteY1009" fmla="*/ 2632 h 10000"/>
                <a:gd name="connsiteX1010" fmla="*/ 6682 w 10785"/>
                <a:gd name="connsiteY1010" fmla="*/ 2624 h 10000"/>
                <a:gd name="connsiteX1011" fmla="*/ 6691 w 10785"/>
                <a:gd name="connsiteY1011" fmla="*/ 2607 h 10000"/>
                <a:gd name="connsiteX1012" fmla="*/ 6691 w 10785"/>
                <a:gd name="connsiteY1012" fmla="*/ 2598 h 10000"/>
                <a:gd name="connsiteX1013" fmla="*/ 6691 w 10785"/>
                <a:gd name="connsiteY1013" fmla="*/ 2581 h 10000"/>
                <a:gd name="connsiteX1014" fmla="*/ 6696 w 10785"/>
                <a:gd name="connsiteY1014" fmla="*/ 2530 h 10000"/>
                <a:gd name="connsiteX1015" fmla="*/ 6677 w 10785"/>
                <a:gd name="connsiteY1015" fmla="*/ 2513 h 10000"/>
                <a:gd name="connsiteX1016" fmla="*/ 6677 w 10785"/>
                <a:gd name="connsiteY1016" fmla="*/ 2496 h 10000"/>
                <a:gd name="connsiteX1017" fmla="*/ 6682 w 10785"/>
                <a:gd name="connsiteY1017" fmla="*/ 2470 h 10000"/>
                <a:gd name="connsiteX1018" fmla="*/ 6668 w 10785"/>
                <a:gd name="connsiteY1018" fmla="*/ 2462 h 10000"/>
                <a:gd name="connsiteX1019" fmla="*/ 6677 w 10785"/>
                <a:gd name="connsiteY1019" fmla="*/ 2436 h 10000"/>
                <a:gd name="connsiteX1020" fmla="*/ 6682 w 10785"/>
                <a:gd name="connsiteY1020" fmla="*/ 2419 h 10000"/>
                <a:gd name="connsiteX1021" fmla="*/ 6682 w 10785"/>
                <a:gd name="connsiteY1021" fmla="*/ 2393 h 10000"/>
                <a:gd name="connsiteX1022" fmla="*/ 6682 w 10785"/>
                <a:gd name="connsiteY1022" fmla="*/ 2385 h 10000"/>
                <a:gd name="connsiteX1023" fmla="*/ 6682 w 10785"/>
                <a:gd name="connsiteY1023" fmla="*/ 2385 h 10000"/>
                <a:gd name="connsiteX1024" fmla="*/ 6677 w 10785"/>
                <a:gd name="connsiteY1024" fmla="*/ 2376 h 10000"/>
                <a:gd name="connsiteX1025" fmla="*/ 6682 w 10785"/>
                <a:gd name="connsiteY1025" fmla="*/ 2359 h 10000"/>
                <a:gd name="connsiteX1026" fmla="*/ 6677 w 10785"/>
                <a:gd name="connsiteY1026" fmla="*/ 2333 h 10000"/>
                <a:gd name="connsiteX1027" fmla="*/ 6691 w 10785"/>
                <a:gd name="connsiteY1027" fmla="*/ 2333 h 10000"/>
                <a:gd name="connsiteX1028" fmla="*/ 6691 w 10785"/>
                <a:gd name="connsiteY1028" fmla="*/ 2325 h 10000"/>
                <a:gd name="connsiteX1029" fmla="*/ 6691 w 10785"/>
                <a:gd name="connsiteY1029" fmla="*/ 2308 h 10000"/>
                <a:gd name="connsiteX1030" fmla="*/ 6691 w 10785"/>
                <a:gd name="connsiteY1030" fmla="*/ 2299 h 10000"/>
                <a:gd name="connsiteX1031" fmla="*/ 6691 w 10785"/>
                <a:gd name="connsiteY1031" fmla="*/ 2282 h 10000"/>
                <a:gd name="connsiteX1032" fmla="*/ 6691 w 10785"/>
                <a:gd name="connsiteY1032" fmla="*/ 2274 h 10000"/>
                <a:gd name="connsiteX1033" fmla="*/ 6668 w 10785"/>
                <a:gd name="connsiteY1033" fmla="*/ 2248 h 10000"/>
                <a:gd name="connsiteX1034" fmla="*/ 6664 w 10785"/>
                <a:gd name="connsiteY1034" fmla="*/ 2222 h 10000"/>
                <a:gd name="connsiteX1035" fmla="*/ 6654 w 10785"/>
                <a:gd name="connsiteY1035" fmla="*/ 2214 h 10000"/>
                <a:gd name="connsiteX1036" fmla="*/ 6654 w 10785"/>
                <a:gd name="connsiteY1036" fmla="*/ 2188 h 10000"/>
                <a:gd name="connsiteX1037" fmla="*/ 6622 w 10785"/>
                <a:gd name="connsiteY1037" fmla="*/ 2162 h 10000"/>
                <a:gd name="connsiteX1038" fmla="*/ 6631 w 10785"/>
                <a:gd name="connsiteY1038" fmla="*/ 2145 h 10000"/>
                <a:gd name="connsiteX1039" fmla="*/ 6622 w 10785"/>
                <a:gd name="connsiteY1039" fmla="*/ 2120 h 10000"/>
                <a:gd name="connsiteX1040" fmla="*/ 6608 w 10785"/>
                <a:gd name="connsiteY1040" fmla="*/ 2120 h 10000"/>
                <a:gd name="connsiteX1041" fmla="*/ 6604 w 10785"/>
                <a:gd name="connsiteY1041" fmla="*/ 2111 h 10000"/>
                <a:gd name="connsiteX1042" fmla="*/ 6608 w 10785"/>
                <a:gd name="connsiteY1042" fmla="*/ 2111 h 10000"/>
                <a:gd name="connsiteX1043" fmla="*/ 6604 w 10785"/>
                <a:gd name="connsiteY1043" fmla="*/ 2085 h 10000"/>
                <a:gd name="connsiteX1044" fmla="*/ 6581 w 10785"/>
                <a:gd name="connsiteY1044" fmla="*/ 2077 h 10000"/>
                <a:gd name="connsiteX1045" fmla="*/ 6571 w 10785"/>
                <a:gd name="connsiteY1045" fmla="*/ 2085 h 10000"/>
                <a:gd name="connsiteX1046" fmla="*/ 6548 w 10785"/>
                <a:gd name="connsiteY1046" fmla="*/ 2077 h 10000"/>
                <a:gd name="connsiteX1047" fmla="*/ 6530 w 10785"/>
                <a:gd name="connsiteY1047" fmla="*/ 2060 h 10000"/>
                <a:gd name="connsiteX1048" fmla="*/ 6521 w 10785"/>
                <a:gd name="connsiteY1048" fmla="*/ 2060 h 10000"/>
                <a:gd name="connsiteX1049" fmla="*/ 6521 w 10785"/>
                <a:gd name="connsiteY1049" fmla="*/ 2085 h 10000"/>
                <a:gd name="connsiteX1050" fmla="*/ 6516 w 10785"/>
                <a:gd name="connsiteY1050" fmla="*/ 2085 h 10000"/>
                <a:gd name="connsiteX1051" fmla="*/ 6502 w 10785"/>
                <a:gd name="connsiteY1051" fmla="*/ 2111 h 10000"/>
                <a:gd name="connsiteX1052" fmla="*/ 6498 w 10785"/>
                <a:gd name="connsiteY1052" fmla="*/ 2111 h 10000"/>
                <a:gd name="connsiteX1053" fmla="*/ 6498 w 10785"/>
                <a:gd name="connsiteY1053" fmla="*/ 2103 h 10000"/>
                <a:gd name="connsiteX1054" fmla="*/ 6475 w 10785"/>
                <a:gd name="connsiteY1054" fmla="*/ 2051 h 10000"/>
                <a:gd name="connsiteX1055" fmla="*/ 6470 w 10785"/>
                <a:gd name="connsiteY1055" fmla="*/ 2060 h 10000"/>
                <a:gd name="connsiteX1056" fmla="*/ 6456 w 10785"/>
                <a:gd name="connsiteY1056" fmla="*/ 2051 h 10000"/>
                <a:gd name="connsiteX1057" fmla="*/ 6447 w 10785"/>
                <a:gd name="connsiteY1057" fmla="*/ 2051 h 10000"/>
                <a:gd name="connsiteX1058" fmla="*/ 6433 w 10785"/>
                <a:gd name="connsiteY1058" fmla="*/ 2026 h 10000"/>
                <a:gd name="connsiteX1059" fmla="*/ 6433 w 10785"/>
                <a:gd name="connsiteY1059" fmla="*/ 2034 h 10000"/>
                <a:gd name="connsiteX1060" fmla="*/ 6429 w 10785"/>
                <a:gd name="connsiteY1060" fmla="*/ 2026 h 10000"/>
                <a:gd name="connsiteX1061" fmla="*/ 6424 w 10785"/>
                <a:gd name="connsiteY1061" fmla="*/ 2034 h 10000"/>
                <a:gd name="connsiteX1062" fmla="*/ 6410 w 10785"/>
                <a:gd name="connsiteY1062" fmla="*/ 2026 h 10000"/>
                <a:gd name="connsiteX1063" fmla="*/ 6410 w 10785"/>
                <a:gd name="connsiteY1063" fmla="*/ 1991 h 10000"/>
                <a:gd name="connsiteX1064" fmla="*/ 6401 w 10785"/>
                <a:gd name="connsiteY1064" fmla="*/ 1991 h 10000"/>
                <a:gd name="connsiteX1065" fmla="*/ 6396 w 10785"/>
                <a:gd name="connsiteY1065" fmla="*/ 2000 h 10000"/>
                <a:gd name="connsiteX1066" fmla="*/ 6382 w 10785"/>
                <a:gd name="connsiteY1066" fmla="*/ 1966 h 10000"/>
                <a:gd name="connsiteX1067" fmla="*/ 6373 w 10785"/>
                <a:gd name="connsiteY1067" fmla="*/ 1974 h 10000"/>
                <a:gd name="connsiteX1068" fmla="*/ 6369 w 10785"/>
                <a:gd name="connsiteY1068" fmla="*/ 1966 h 10000"/>
                <a:gd name="connsiteX1069" fmla="*/ 6341 w 10785"/>
                <a:gd name="connsiteY1069" fmla="*/ 1949 h 10000"/>
                <a:gd name="connsiteX1070" fmla="*/ 6327 w 10785"/>
                <a:gd name="connsiteY1070" fmla="*/ 1923 h 10000"/>
                <a:gd name="connsiteX1071" fmla="*/ 6323 w 10785"/>
                <a:gd name="connsiteY1071" fmla="*/ 1923 h 10000"/>
                <a:gd name="connsiteX1072" fmla="*/ 6323 w 10785"/>
                <a:gd name="connsiteY1072" fmla="*/ 1966 h 10000"/>
                <a:gd name="connsiteX1073" fmla="*/ 6323 w 10785"/>
                <a:gd name="connsiteY1073" fmla="*/ 1991 h 10000"/>
                <a:gd name="connsiteX1074" fmla="*/ 6313 w 10785"/>
                <a:gd name="connsiteY1074" fmla="*/ 1991 h 10000"/>
                <a:gd name="connsiteX1075" fmla="*/ 6300 w 10785"/>
                <a:gd name="connsiteY1075" fmla="*/ 1991 h 10000"/>
                <a:gd name="connsiteX1076" fmla="*/ 6290 w 10785"/>
                <a:gd name="connsiteY1076" fmla="*/ 1949 h 10000"/>
                <a:gd name="connsiteX1077" fmla="*/ 6276 w 10785"/>
                <a:gd name="connsiteY1077" fmla="*/ 2103 h 10000"/>
                <a:gd name="connsiteX1078" fmla="*/ 6281 w 10785"/>
                <a:gd name="connsiteY1078" fmla="*/ 2103 h 10000"/>
                <a:gd name="connsiteX1079" fmla="*/ 6276 w 10785"/>
                <a:gd name="connsiteY1079" fmla="*/ 2111 h 10000"/>
                <a:gd name="connsiteX1080" fmla="*/ 6276 w 10785"/>
                <a:gd name="connsiteY1080" fmla="*/ 2120 h 10000"/>
                <a:gd name="connsiteX1081" fmla="*/ 6295 w 10785"/>
                <a:gd name="connsiteY1081" fmla="*/ 2239 h 10000"/>
                <a:gd name="connsiteX1082" fmla="*/ 6290 w 10785"/>
                <a:gd name="connsiteY1082" fmla="*/ 2248 h 10000"/>
                <a:gd name="connsiteX1083" fmla="*/ 6281 w 10785"/>
                <a:gd name="connsiteY1083" fmla="*/ 2274 h 10000"/>
                <a:gd name="connsiteX1084" fmla="*/ 6249 w 10785"/>
                <a:gd name="connsiteY1084" fmla="*/ 2274 h 10000"/>
                <a:gd name="connsiteX1085" fmla="*/ 6226 w 10785"/>
                <a:gd name="connsiteY1085" fmla="*/ 2308 h 10000"/>
                <a:gd name="connsiteX1086" fmla="*/ 6221 w 10785"/>
                <a:gd name="connsiteY1086" fmla="*/ 2299 h 10000"/>
                <a:gd name="connsiteX1087" fmla="*/ 6221 w 10785"/>
                <a:gd name="connsiteY1087" fmla="*/ 2308 h 10000"/>
                <a:gd name="connsiteX1088" fmla="*/ 6217 w 10785"/>
                <a:gd name="connsiteY1088" fmla="*/ 2299 h 10000"/>
                <a:gd name="connsiteX1089" fmla="*/ 6194 w 10785"/>
                <a:gd name="connsiteY1089" fmla="*/ 2308 h 10000"/>
                <a:gd name="connsiteX1090" fmla="*/ 6180 w 10785"/>
                <a:gd name="connsiteY1090" fmla="*/ 2299 h 10000"/>
                <a:gd name="connsiteX1091" fmla="*/ 6143 w 10785"/>
                <a:gd name="connsiteY1091" fmla="*/ 2308 h 10000"/>
                <a:gd name="connsiteX1092" fmla="*/ 6134 w 10785"/>
                <a:gd name="connsiteY1092" fmla="*/ 2325 h 10000"/>
                <a:gd name="connsiteX1093" fmla="*/ 6115 w 10785"/>
                <a:gd name="connsiteY1093" fmla="*/ 2282 h 10000"/>
                <a:gd name="connsiteX1094" fmla="*/ 6069 w 10785"/>
                <a:gd name="connsiteY1094" fmla="*/ 2274 h 10000"/>
                <a:gd name="connsiteX1095" fmla="*/ 6069 w 10785"/>
                <a:gd name="connsiteY1095" fmla="*/ 2282 h 10000"/>
                <a:gd name="connsiteX1096" fmla="*/ 6060 w 10785"/>
                <a:gd name="connsiteY1096" fmla="*/ 2299 h 10000"/>
                <a:gd name="connsiteX1097" fmla="*/ 5972 w 10785"/>
                <a:gd name="connsiteY1097" fmla="*/ 2214 h 10000"/>
                <a:gd name="connsiteX1098" fmla="*/ 5968 w 10785"/>
                <a:gd name="connsiteY1098" fmla="*/ 2197 h 10000"/>
                <a:gd name="connsiteX1099" fmla="*/ 5968 w 10785"/>
                <a:gd name="connsiteY1099" fmla="*/ 2171 h 10000"/>
                <a:gd name="connsiteX1100" fmla="*/ 5968 w 10785"/>
                <a:gd name="connsiteY1100" fmla="*/ 2162 h 10000"/>
                <a:gd name="connsiteX1101" fmla="*/ 5968 w 10785"/>
                <a:gd name="connsiteY1101" fmla="*/ 2120 h 10000"/>
                <a:gd name="connsiteX1102" fmla="*/ 5968 w 10785"/>
                <a:gd name="connsiteY1102" fmla="*/ 2111 h 10000"/>
                <a:gd name="connsiteX1103" fmla="*/ 5972 w 10785"/>
                <a:gd name="connsiteY1103" fmla="*/ 2103 h 10000"/>
                <a:gd name="connsiteX1104" fmla="*/ 5986 w 10785"/>
                <a:gd name="connsiteY1104" fmla="*/ 2103 h 10000"/>
                <a:gd name="connsiteX1105" fmla="*/ 5986 w 10785"/>
                <a:gd name="connsiteY1105" fmla="*/ 2085 h 10000"/>
                <a:gd name="connsiteX1106" fmla="*/ 5995 w 10785"/>
                <a:gd name="connsiteY1106" fmla="*/ 2085 h 10000"/>
                <a:gd name="connsiteX1107" fmla="*/ 5995 w 10785"/>
                <a:gd name="connsiteY1107" fmla="*/ 2077 h 10000"/>
                <a:gd name="connsiteX1108" fmla="*/ 5986 w 10785"/>
                <a:gd name="connsiteY1108" fmla="*/ 2060 h 10000"/>
                <a:gd name="connsiteX1109" fmla="*/ 5954 w 10785"/>
                <a:gd name="connsiteY1109" fmla="*/ 2060 h 10000"/>
                <a:gd name="connsiteX1110" fmla="*/ 5940 w 10785"/>
                <a:gd name="connsiteY1110" fmla="*/ 2051 h 10000"/>
                <a:gd name="connsiteX1111" fmla="*/ 5922 w 10785"/>
                <a:gd name="connsiteY1111" fmla="*/ 2060 h 10000"/>
                <a:gd name="connsiteX1112" fmla="*/ 5885 w 10785"/>
                <a:gd name="connsiteY1112" fmla="*/ 2051 h 10000"/>
                <a:gd name="connsiteX1113" fmla="*/ 5876 w 10785"/>
                <a:gd name="connsiteY1113" fmla="*/ 2026 h 10000"/>
                <a:gd name="connsiteX1114" fmla="*/ 5862 w 10785"/>
                <a:gd name="connsiteY1114" fmla="*/ 2026 h 10000"/>
                <a:gd name="connsiteX1115" fmla="*/ 5848 w 10785"/>
                <a:gd name="connsiteY1115" fmla="*/ 2026 h 10000"/>
                <a:gd name="connsiteX1116" fmla="*/ 5825 w 10785"/>
                <a:gd name="connsiteY1116" fmla="*/ 2026 h 10000"/>
                <a:gd name="connsiteX1117" fmla="*/ 5788 w 10785"/>
                <a:gd name="connsiteY1117" fmla="*/ 1991 h 10000"/>
                <a:gd name="connsiteX1118" fmla="*/ 5760 w 10785"/>
                <a:gd name="connsiteY1118" fmla="*/ 2000 h 10000"/>
                <a:gd name="connsiteX1119" fmla="*/ 5760 w 10785"/>
                <a:gd name="connsiteY1119" fmla="*/ 2026 h 10000"/>
                <a:gd name="connsiteX1120" fmla="*/ 5714 w 10785"/>
                <a:gd name="connsiteY1120" fmla="*/ 2051 h 10000"/>
                <a:gd name="connsiteX1121" fmla="*/ 5687 w 10785"/>
                <a:gd name="connsiteY1121" fmla="*/ 2034 h 10000"/>
                <a:gd name="connsiteX1122" fmla="*/ 5645 w 10785"/>
                <a:gd name="connsiteY1122" fmla="*/ 2077 h 10000"/>
                <a:gd name="connsiteX1123" fmla="*/ 5664 w 10785"/>
                <a:gd name="connsiteY1123" fmla="*/ 2120 h 10000"/>
                <a:gd name="connsiteX1124" fmla="*/ 5664 w 10785"/>
                <a:gd name="connsiteY1124" fmla="*/ 2162 h 10000"/>
                <a:gd name="connsiteX1125" fmla="*/ 5631 w 10785"/>
                <a:gd name="connsiteY1125" fmla="*/ 2197 h 10000"/>
                <a:gd name="connsiteX1126" fmla="*/ 5618 w 10785"/>
                <a:gd name="connsiteY1126" fmla="*/ 2188 h 10000"/>
                <a:gd name="connsiteX1127" fmla="*/ 5618 w 10785"/>
                <a:gd name="connsiteY1127" fmla="*/ 2171 h 10000"/>
                <a:gd name="connsiteX1128" fmla="*/ 5641 w 10785"/>
                <a:gd name="connsiteY1128" fmla="*/ 2171 h 10000"/>
                <a:gd name="connsiteX1129" fmla="*/ 5641 w 10785"/>
                <a:gd name="connsiteY1129" fmla="*/ 2162 h 10000"/>
                <a:gd name="connsiteX1130" fmla="*/ 5627 w 10785"/>
                <a:gd name="connsiteY1130" fmla="*/ 2145 h 10000"/>
                <a:gd name="connsiteX1131" fmla="*/ 5627 w 10785"/>
                <a:gd name="connsiteY1131" fmla="*/ 2120 h 10000"/>
                <a:gd name="connsiteX1132" fmla="*/ 5618 w 10785"/>
                <a:gd name="connsiteY1132" fmla="*/ 2111 h 10000"/>
                <a:gd name="connsiteX1133" fmla="*/ 5631 w 10785"/>
                <a:gd name="connsiteY1133" fmla="*/ 2051 h 10000"/>
                <a:gd name="connsiteX1134" fmla="*/ 5631 w 10785"/>
                <a:gd name="connsiteY1134" fmla="*/ 2026 h 10000"/>
                <a:gd name="connsiteX1135" fmla="*/ 5627 w 10785"/>
                <a:gd name="connsiteY1135" fmla="*/ 1991 h 10000"/>
                <a:gd name="connsiteX1136" fmla="*/ 5618 w 10785"/>
                <a:gd name="connsiteY1136" fmla="*/ 1974 h 10000"/>
                <a:gd name="connsiteX1137" fmla="*/ 5618 w 10785"/>
                <a:gd name="connsiteY1137" fmla="*/ 1940 h 10000"/>
                <a:gd name="connsiteX1138" fmla="*/ 5594 w 10785"/>
                <a:gd name="connsiteY1138" fmla="*/ 1855 h 10000"/>
                <a:gd name="connsiteX1139" fmla="*/ 5599 w 10785"/>
                <a:gd name="connsiteY1139" fmla="*/ 1915 h 10000"/>
                <a:gd name="connsiteX1140" fmla="*/ 5599 w 10785"/>
                <a:gd name="connsiteY1140" fmla="*/ 1949 h 10000"/>
                <a:gd name="connsiteX1141" fmla="*/ 5594 w 10785"/>
                <a:gd name="connsiteY1141" fmla="*/ 1991 h 10000"/>
                <a:gd name="connsiteX1142" fmla="*/ 5571 w 10785"/>
                <a:gd name="connsiteY1142" fmla="*/ 2000 h 10000"/>
                <a:gd name="connsiteX1143" fmla="*/ 5530 w 10785"/>
                <a:gd name="connsiteY1143" fmla="*/ 1991 h 10000"/>
                <a:gd name="connsiteX1144" fmla="*/ 5525 w 10785"/>
                <a:gd name="connsiteY1144" fmla="*/ 2000 h 10000"/>
                <a:gd name="connsiteX1145" fmla="*/ 5521 w 10785"/>
                <a:gd name="connsiteY1145" fmla="*/ 1991 h 10000"/>
                <a:gd name="connsiteX1146" fmla="*/ 5498 w 10785"/>
                <a:gd name="connsiteY1146" fmla="*/ 1949 h 10000"/>
                <a:gd name="connsiteX1147" fmla="*/ 5493 w 10785"/>
                <a:gd name="connsiteY1147" fmla="*/ 1889 h 10000"/>
                <a:gd name="connsiteX1148" fmla="*/ 5493 w 10785"/>
                <a:gd name="connsiteY1148" fmla="*/ 1863 h 10000"/>
                <a:gd name="connsiteX1149" fmla="*/ 5498 w 10785"/>
                <a:gd name="connsiteY1149" fmla="*/ 1889 h 10000"/>
                <a:gd name="connsiteX1150" fmla="*/ 5512 w 10785"/>
                <a:gd name="connsiteY1150" fmla="*/ 1855 h 10000"/>
                <a:gd name="connsiteX1151" fmla="*/ 5512 w 10785"/>
                <a:gd name="connsiteY1151" fmla="*/ 1838 h 10000"/>
                <a:gd name="connsiteX1152" fmla="*/ 5479 w 10785"/>
                <a:gd name="connsiteY1152" fmla="*/ 1855 h 10000"/>
                <a:gd name="connsiteX1153" fmla="*/ 5470 w 10785"/>
                <a:gd name="connsiteY1153" fmla="*/ 1872 h 10000"/>
                <a:gd name="connsiteX1154" fmla="*/ 5470 w 10785"/>
                <a:gd name="connsiteY1154" fmla="*/ 1889 h 10000"/>
                <a:gd name="connsiteX1155" fmla="*/ 5465 w 10785"/>
                <a:gd name="connsiteY1155" fmla="*/ 1897 h 10000"/>
                <a:gd name="connsiteX1156" fmla="*/ 5456 w 10785"/>
                <a:gd name="connsiteY1156" fmla="*/ 1872 h 10000"/>
                <a:gd name="connsiteX1157" fmla="*/ 5447 w 10785"/>
                <a:gd name="connsiteY1157" fmla="*/ 1872 h 10000"/>
                <a:gd name="connsiteX1158" fmla="*/ 5433 w 10785"/>
                <a:gd name="connsiteY1158" fmla="*/ 1855 h 10000"/>
                <a:gd name="connsiteX1159" fmla="*/ 5396 w 10785"/>
                <a:gd name="connsiteY1159" fmla="*/ 1863 h 10000"/>
                <a:gd name="connsiteX1160" fmla="*/ 5396 w 10785"/>
                <a:gd name="connsiteY1160" fmla="*/ 1897 h 10000"/>
                <a:gd name="connsiteX1161" fmla="*/ 5378 w 10785"/>
                <a:gd name="connsiteY1161" fmla="*/ 1949 h 10000"/>
                <a:gd name="connsiteX1162" fmla="*/ 5378 w 10785"/>
                <a:gd name="connsiteY1162" fmla="*/ 1966 h 10000"/>
                <a:gd name="connsiteX1163" fmla="*/ 5392 w 10785"/>
                <a:gd name="connsiteY1163" fmla="*/ 2026 h 10000"/>
                <a:gd name="connsiteX1164" fmla="*/ 5396 w 10785"/>
                <a:gd name="connsiteY1164" fmla="*/ 2026 h 10000"/>
                <a:gd name="connsiteX1165" fmla="*/ 5392 w 10785"/>
                <a:gd name="connsiteY1165" fmla="*/ 2009 h 10000"/>
                <a:gd name="connsiteX1166" fmla="*/ 5392 w 10785"/>
                <a:gd name="connsiteY1166" fmla="*/ 2000 h 10000"/>
                <a:gd name="connsiteX1167" fmla="*/ 5396 w 10785"/>
                <a:gd name="connsiteY1167" fmla="*/ 2009 h 10000"/>
                <a:gd name="connsiteX1168" fmla="*/ 5424 w 10785"/>
                <a:gd name="connsiteY1168" fmla="*/ 2009 h 10000"/>
                <a:gd name="connsiteX1169" fmla="*/ 5433 w 10785"/>
                <a:gd name="connsiteY1169" fmla="*/ 1991 h 10000"/>
                <a:gd name="connsiteX1170" fmla="*/ 5447 w 10785"/>
                <a:gd name="connsiteY1170" fmla="*/ 1974 h 10000"/>
                <a:gd name="connsiteX1171" fmla="*/ 5452 w 10785"/>
                <a:gd name="connsiteY1171" fmla="*/ 1966 h 10000"/>
                <a:gd name="connsiteX1172" fmla="*/ 5456 w 10785"/>
                <a:gd name="connsiteY1172" fmla="*/ 1966 h 10000"/>
                <a:gd name="connsiteX1173" fmla="*/ 5465 w 10785"/>
                <a:gd name="connsiteY1173" fmla="*/ 2009 h 10000"/>
                <a:gd name="connsiteX1174" fmla="*/ 5433 w 10785"/>
                <a:gd name="connsiteY1174" fmla="*/ 2034 h 10000"/>
                <a:gd name="connsiteX1175" fmla="*/ 5424 w 10785"/>
                <a:gd name="connsiteY1175" fmla="*/ 2060 h 10000"/>
                <a:gd name="connsiteX1176" fmla="*/ 5419 w 10785"/>
                <a:gd name="connsiteY1176" fmla="*/ 2060 h 10000"/>
                <a:gd name="connsiteX1177" fmla="*/ 5392 w 10785"/>
                <a:gd name="connsiteY1177" fmla="*/ 2111 h 10000"/>
                <a:gd name="connsiteX1178" fmla="*/ 5378 w 10785"/>
                <a:gd name="connsiteY1178" fmla="*/ 2111 h 10000"/>
                <a:gd name="connsiteX1179" fmla="*/ 5350 w 10785"/>
                <a:gd name="connsiteY1179" fmla="*/ 2060 h 10000"/>
                <a:gd name="connsiteX1180" fmla="*/ 5373 w 10785"/>
                <a:gd name="connsiteY1180" fmla="*/ 2111 h 10000"/>
                <a:gd name="connsiteX1181" fmla="*/ 5364 w 10785"/>
                <a:gd name="connsiteY1181" fmla="*/ 2111 h 10000"/>
                <a:gd name="connsiteX1182" fmla="*/ 5359 w 10785"/>
                <a:gd name="connsiteY1182" fmla="*/ 2103 h 10000"/>
                <a:gd name="connsiteX1183" fmla="*/ 5359 w 10785"/>
                <a:gd name="connsiteY1183" fmla="*/ 2120 h 10000"/>
                <a:gd name="connsiteX1184" fmla="*/ 5359 w 10785"/>
                <a:gd name="connsiteY1184" fmla="*/ 2137 h 10000"/>
                <a:gd name="connsiteX1185" fmla="*/ 5313 w 10785"/>
                <a:gd name="connsiteY1185" fmla="*/ 2162 h 10000"/>
                <a:gd name="connsiteX1186" fmla="*/ 5300 w 10785"/>
                <a:gd name="connsiteY1186" fmla="*/ 2162 h 10000"/>
                <a:gd name="connsiteX1187" fmla="*/ 5300 w 10785"/>
                <a:gd name="connsiteY1187" fmla="*/ 2171 h 10000"/>
                <a:gd name="connsiteX1188" fmla="*/ 5300 w 10785"/>
                <a:gd name="connsiteY1188" fmla="*/ 2197 h 10000"/>
                <a:gd name="connsiteX1189" fmla="*/ 5276 w 10785"/>
                <a:gd name="connsiteY1189" fmla="*/ 2188 h 10000"/>
                <a:gd name="connsiteX1190" fmla="*/ 5249 w 10785"/>
                <a:gd name="connsiteY1190" fmla="*/ 2222 h 10000"/>
                <a:gd name="connsiteX1191" fmla="*/ 5249 w 10785"/>
                <a:gd name="connsiteY1191" fmla="*/ 2222 h 10000"/>
                <a:gd name="connsiteX1192" fmla="*/ 5217 w 10785"/>
                <a:gd name="connsiteY1192" fmla="*/ 2214 h 10000"/>
                <a:gd name="connsiteX1193" fmla="*/ 5203 w 10785"/>
                <a:gd name="connsiteY1193" fmla="*/ 2239 h 10000"/>
                <a:gd name="connsiteX1194" fmla="*/ 5171 w 10785"/>
                <a:gd name="connsiteY1194" fmla="*/ 2214 h 10000"/>
                <a:gd name="connsiteX1195" fmla="*/ 5157 w 10785"/>
                <a:gd name="connsiteY1195" fmla="*/ 2239 h 10000"/>
                <a:gd name="connsiteX1196" fmla="*/ 5166 w 10785"/>
                <a:gd name="connsiteY1196" fmla="*/ 2256 h 10000"/>
                <a:gd name="connsiteX1197" fmla="*/ 5171 w 10785"/>
                <a:gd name="connsiteY1197" fmla="*/ 2308 h 10000"/>
                <a:gd name="connsiteX1198" fmla="*/ 5212 w 10785"/>
                <a:gd name="connsiteY1198" fmla="*/ 2350 h 10000"/>
                <a:gd name="connsiteX1199" fmla="*/ 5203 w 10785"/>
                <a:gd name="connsiteY1199" fmla="*/ 2350 h 10000"/>
                <a:gd name="connsiteX1200" fmla="*/ 5166 w 10785"/>
                <a:gd name="connsiteY1200" fmla="*/ 2325 h 10000"/>
                <a:gd name="connsiteX1201" fmla="*/ 5152 w 10785"/>
                <a:gd name="connsiteY1201" fmla="*/ 2308 h 10000"/>
                <a:gd name="connsiteX1202" fmla="*/ 5143 w 10785"/>
                <a:gd name="connsiteY1202" fmla="*/ 2333 h 10000"/>
                <a:gd name="connsiteX1203" fmla="*/ 5138 w 10785"/>
                <a:gd name="connsiteY1203" fmla="*/ 2333 h 10000"/>
                <a:gd name="connsiteX1204" fmla="*/ 5124 w 10785"/>
                <a:gd name="connsiteY1204" fmla="*/ 2376 h 10000"/>
                <a:gd name="connsiteX1205" fmla="*/ 5115 w 10785"/>
                <a:gd name="connsiteY1205" fmla="*/ 2385 h 10000"/>
                <a:gd name="connsiteX1206" fmla="*/ 5106 w 10785"/>
                <a:gd name="connsiteY1206" fmla="*/ 2385 h 10000"/>
                <a:gd name="connsiteX1207" fmla="*/ 5055 w 10785"/>
                <a:gd name="connsiteY1207" fmla="*/ 2470 h 10000"/>
                <a:gd name="connsiteX1208" fmla="*/ 5065 w 10785"/>
                <a:gd name="connsiteY1208" fmla="*/ 2462 h 10000"/>
                <a:gd name="connsiteX1209" fmla="*/ 5055 w 10785"/>
                <a:gd name="connsiteY1209" fmla="*/ 2444 h 10000"/>
                <a:gd name="connsiteX1210" fmla="*/ 5041 w 10785"/>
                <a:gd name="connsiteY1210" fmla="*/ 2462 h 10000"/>
                <a:gd name="connsiteX1211" fmla="*/ 5037 w 10785"/>
                <a:gd name="connsiteY1211" fmla="*/ 2470 h 10000"/>
                <a:gd name="connsiteX1212" fmla="*/ 5032 w 10785"/>
                <a:gd name="connsiteY1212" fmla="*/ 2470 h 10000"/>
                <a:gd name="connsiteX1213" fmla="*/ 5032 w 10785"/>
                <a:gd name="connsiteY1213" fmla="*/ 2444 h 10000"/>
                <a:gd name="connsiteX1214" fmla="*/ 5055 w 10785"/>
                <a:gd name="connsiteY1214" fmla="*/ 2410 h 10000"/>
                <a:gd name="connsiteX1215" fmla="*/ 5065 w 10785"/>
                <a:gd name="connsiteY1215" fmla="*/ 2393 h 10000"/>
                <a:gd name="connsiteX1216" fmla="*/ 5069 w 10785"/>
                <a:gd name="connsiteY1216" fmla="*/ 2385 h 10000"/>
                <a:gd name="connsiteX1217" fmla="*/ 5083 w 10785"/>
                <a:gd name="connsiteY1217" fmla="*/ 2376 h 10000"/>
                <a:gd name="connsiteX1218" fmla="*/ 5097 w 10785"/>
                <a:gd name="connsiteY1218" fmla="*/ 2376 h 10000"/>
                <a:gd name="connsiteX1219" fmla="*/ 5124 w 10785"/>
                <a:gd name="connsiteY1219" fmla="*/ 2325 h 10000"/>
                <a:gd name="connsiteX1220" fmla="*/ 5143 w 10785"/>
                <a:gd name="connsiteY1220" fmla="*/ 2248 h 10000"/>
                <a:gd name="connsiteX1221" fmla="*/ 5152 w 10785"/>
                <a:gd name="connsiteY1221" fmla="*/ 2239 h 10000"/>
                <a:gd name="connsiteX1222" fmla="*/ 5166 w 10785"/>
                <a:gd name="connsiteY1222" fmla="*/ 2162 h 10000"/>
                <a:gd name="connsiteX1223" fmla="*/ 5171 w 10785"/>
                <a:gd name="connsiteY1223" fmla="*/ 2171 h 10000"/>
                <a:gd name="connsiteX1224" fmla="*/ 5198 w 10785"/>
                <a:gd name="connsiteY1224" fmla="*/ 2145 h 10000"/>
                <a:gd name="connsiteX1225" fmla="*/ 5203 w 10785"/>
                <a:gd name="connsiteY1225" fmla="*/ 2111 h 10000"/>
                <a:gd name="connsiteX1226" fmla="*/ 5217 w 10785"/>
                <a:gd name="connsiteY1226" fmla="*/ 2060 h 10000"/>
                <a:gd name="connsiteX1227" fmla="*/ 5226 w 10785"/>
                <a:gd name="connsiteY1227" fmla="*/ 2026 h 10000"/>
                <a:gd name="connsiteX1228" fmla="*/ 5286 w 10785"/>
                <a:gd name="connsiteY1228" fmla="*/ 2026 h 10000"/>
                <a:gd name="connsiteX1229" fmla="*/ 5290 w 10785"/>
                <a:gd name="connsiteY1229" fmla="*/ 2034 h 10000"/>
                <a:gd name="connsiteX1230" fmla="*/ 5323 w 10785"/>
                <a:gd name="connsiteY1230" fmla="*/ 1923 h 10000"/>
                <a:gd name="connsiteX1231" fmla="*/ 5323 w 10785"/>
                <a:gd name="connsiteY1231" fmla="*/ 1889 h 10000"/>
                <a:gd name="connsiteX1232" fmla="*/ 5359 w 10785"/>
                <a:gd name="connsiteY1232" fmla="*/ 1829 h 10000"/>
                <a:gd name="connsiteX1233" fmla="*/ 5378 w 10785"/>
                <a:gd name="connsiteY1233" fmla="*/ 1812 h 10000"/>
                <a:gd name="connsiteX1234" fmla="*/ 5406 w 10785"/>
                <a:gd name="connsiteY1234" fmla="*/ 1752 h 10000"/>
                <a:gd name="connsiteX1235" fmla="*/ 5410 w 10785"/>
                <a:gd name="connsiteY1235" fmla="*/ 1718 h 10000"/>
                <a:gd name="connsiteX1236" fmla="*/ 5438 w 10785"/>
                <a:gd name="connsiteY1236" fmla="*/ 1667 h 10000"/>
                <a:gd name="connsiteX1237" fmla="*/ 5438 w 10785"/>
                <a:gd name="connsiteY1237" fmla="*/ 1650 h 10000"/>
                <a:gd name="connsiteX1238" fmla="*/ 5438 w 10785"/>
                <a:gd name="connsiteY1238" fmla="*/ 1641 h 10000"/>
                <a:gd name="connsiteX1239" fmla="*/ 5452 w 10785"/>
                <a:gd name="connsiteY1239" fmla="*/ 1641 h 10000"/>
                <a:gd name="connsiteX1240" fmla="*/ 5456 w 10785"/>
                <a:gd name="connsiteY1240" fmla="*/ 1615 h 10000"/>
                <a:gd name="connsiteX1241" fmla="*/ 5456 w 10785"/>
                <a:gd name="connsiteY1241" fmla="*/ 1615 h 10000"/>
                <a:gd name="connsiteX1242" fmla="*/ 5465 w 10785"/>
                <a:gd name="connsiteY1242" fmla="*/ 1598 h 10000"/>
                <a:gd name="connsiteX1243" fmla="*/ 5465 w 10785"/>
                <a:gd name="connsiteY1243" fmla="*/ 1615 h 10000"/>
                <a:gd name="connsiteX1244" fmla="*/ 5479 w 10785"/>
                <a:gd name="connsiteY1244" fmla="*/ 1598 h 10000"/>
                <a:gd name="connsiteX1245" fmla="*/ 5484 w 10785"/>
                <a:gd name="connsiteY1245" fmla="*/ 1581 h 10000"/>
                <a:gd name="connsiteX1246" fmla="*/ 5493 w 10785"/>
                <a:gd name="connsiteY1246" fmla="*/ 1581 h 10000"/>
                <a:gd name="connsiteX1247" fmla="*/ 5512 w 10785"/>
                <a:gd name="connsiteY1247" fmla="*/ 1538 h 10000"/>
                <a:gd name="connsiteX1248" fmla="*/ 5530 w 10785"/>
                <a:gd name="connsiteY1248" fmla="*/ 1564 h 10000"/>
                <a:gd name="connsiteX1249" fmla="*/ 5530 w 10785"/>
                <a:gd name="connsiteY1249" fmla="*/ 1538 h 10000"/>
                <a:gd name="connsiteX1250" fmla="*/ 5539 w 10785"/>
                <a:gd name="connsiteY1250" fmla="*/ 1530 h 10000"/>
                <a:gd name="connsiteX1251" fmla="*/ 5530 w 10785"/>
                <a:gd name="connsiteY1251" fmla="*/ 1504 h 10000"/>
                <a:gd name="connsiteX1252" fmla="*/ 5567 w 10785"/>
                <a:gd name="connsiteY1252" fmla="*/ 1479 h 10000"/>
                <a:gd name="connsiteX1253" fmla="*/ 5553 w 10785"/>
                <a:gd name="connsiteY1253" fmla="*/ 1479 h 10000"/>
                <a:gd name="connsiteX1254" fmla="*/ 5553 w 10785"/>
                <a:gd name="connsiteY1254" fmla="*/ 1453 h 10000"/>
                <a:gd name="connsiteX1255" fmla="*/ 5581 w 10785"/>
                <a:gd name="connsiteY1255" fmla="*/ 1444 h 10000"/>
                <a:gd name="connsiteX1256" fmla="*/ 5581 w 10785"/>
                <a:gd name="connsiteY1256" fmla="*/ 1453 h 10000"/>
                <a:gd name="connsiteX1257" fmla="*/ 5585 w 10785"/>
                <a:gd name="connsiteY1257" fmla="*/ 1444 h 10000"/>
                <a:gd name="connsiteX1258" fmla="*/ 5594 w 10785"/>
                <a:gd name="connsiteY1258" fmla="*/ 1427 h 10000"/>
                <a:gd name="connsiteX1259" fmla="*/ 5599 w 10785"/>
                <a:gd name="connsiteY1259" fmla="*/ 1419 h 10000"/>
                <a:gd name="connsiteX1260" fmla="*/ 5594 w 10785"/>
                <a:gd name="connsiteY1260" fmla="*/ 1402 h 10000"/>
                <a:gd name="connsiteX1261" fmla="*/ 5604 w 10785"/>
                <a:gd name="connsiteY1261" fmla="*/ 1393 h 10000"/>
                <a:gd name="connsiteX1262" fmla="*/ 5618 w 10785"/>
                <a:gd name="connsiteY1262" fmla="*/ 1393 h 10000"/>
                <a:gd name="connsiteX1263" fmla="*/ 5627 w 10785"/>
                <a:gd name="connsiteY1263" fmla="*/ 1368 h 10000"/>
                <a:gd name="connsiteX1264" fmla="*/ 5627 w 10785"/>
                <a:gd name="connsiteY1264" fmla="*/ 1325 h 10000"/>
                <a:gd name="connsiteX1265" fmla="*/ 5645 w 10785"/>
                <a:gd name="connsiteY1265" fmla="*/ 1291 h 10000"/>
                <a:gd name="connsiteX1266" fmla="*/ 5645 w 10785"/>
                <a:gd name="connsiteY1266" fmla="*/ 1282 h 10000"/>
                <a:gd name="connsiteX1267" fmla="*/ 5654 w 10785"/>
                <a:gd name="connsiteY1267" fmla="*/ 1265 h 10000"/>
                <a:gd name="connsiteX1268" fmla="*/ 5654 w 10785"/>
                <a:gd name="connsiteY1268" fmla="*/ 1214 h 10000"/>
                <a:gd name="connsiteX1269" fmla="*/ 5654 w 10785"/>
                <a:gd name="connsiteY1269" fmla="*/ 1214 h 10000"/>
                <a:gd name="connsiteX1270" fmla="*/ 5645 w 10785"/>
                <a:gd name="connsiteY1270" fmla="*/ 1197 h 10000"/>
                <a:gd name="connsiteX1271" fmla="*/ 5659 w 10785"/>
                <a:gd name="connsiteY1271" fmla="*/ 1197 h 10000"/>
                <a:gd name="connsiteX1272" fmla="*/ 5654 w 10785"/>
                <a:gd name="connsiteY1272" fmla="*/ 1154 h 10000"/>
                <a:gd name="connsiteX1273" fmla="*/ 5641 w 10785"/>
                <a:gd name="connsiteY1273" fmla="*/ 1154 h 10000"/>
                <a:gd name="connsiteX1274" fmla="*/ 5627 w 10785"/>
                <a:gd name="connsiteY1274" fmla="*/ 1128 h 10000"/>
                <a:gd name="connsiteX1275" fmla="*/ 5618 w 10785"/>
                <a:gd name="connsiteY1275" fmla="*/ 1094 h 10000"/>
                <a:gd name="connsiteX1276" fmla="*/ 5613 w 10785"/>
                <a:gd name="connsiteY1276" fmla="*/ 1094 h 10000"/>
                <a:gd name="connsiteX1277" fmla="*/ 5604 w 10785"/>
                <a:gd name="connsiteY1277" fmla="*/ 1120 h 10000"/>
                <a:gd name="connsiteX1278" fmla="*/ 5604 w 10785"/>
                <a:gd name="connsiteY1278" fmla="*/ 1128 h 10000"/>
                <a:gd name="connsiteX1279" fmla="*/ 5599 w 10785"/>
                <a:gd name="connsiteY1279" fmla="*/ 1103 h 10000"/>
                <a:gd name="connsiteX1280" fmla="*/ 5599 w 10785"/>
                <a:gd name="connsiteY1280" fmla="*/ 1103 h 10000"/>
                <a:gd name="connsiteX1281" fmla="*/ 5594 w 10785"/>
                <a:gd name="connsiteY1281" fmla="*/ 1068 h 10000"/>
                <a:gd name="connsiteX1282" fmla="*/ 5594 w 10785"/>
                <a:gd name="connsiteY1282" fmla="*/ 1060 h 10000"/>
                <a:gd name="connsiteX1283" fmla="*/ 5581 w 10785"/>
                <a:gd name="connsiteY1283" fmla="*/ 1034 h 10000"/>
                <a:gd name="connsiteX1284" fmla="*/ 5571 w 10785"/>
                <a:gd name="connsiteY1284" fmla="*/ 1009 h 10000"/>
                <a:gd name="connsiteX1285" fmla="*/ 5571 w 10785"/>
                <a:gd name="connsiteY1285" fmla="*/ 991 h 10000"/>
                <a:gd name="connsiteX1286" fmla="*/ 5585 w 10785"/>
                <a:gd name="connsiteY1286" fmla="*/ 1009 h 10000"/>
                <a:gd name="connsiteX1287" fmla="*/ 5604 w 10785"/>
                <a:gd name="connsiteY1287" fmla="*/ 1043 h 10000"/>
                <a:gd name="connsiteX1288" fmla="*/ 5641 w 10785"/>
                <a:gd name="connsiteY1288" fmla="*/ 1094 h 10000"/>
                <a:gd name="connsiteX1289" fmla="*/ 5631 w 10785"/>
                <a:gd name="connsiteY1289" fmla="*/ 1128 h 10000"/>
                <a:gd name="connsiteX1290" fmla="*/ 5641 w 10785"/>
                <a:gd name="connsiteY1290" fmla="*/ 1128 h 10000"/>
                <a:gd name="connsiteX1291" fmla="*/ 5659 w 10785"/>
                <a:gd name="connsiteY1291" fmla="*/ 1017 h 10000"/>
                <a:gd name="connsiteX1292" fmla="*/ 5659 w 10785"/>
                <a:gd name="connsiteY1292" fmla="*/ 983 h 10000"/>
                <a:gd name="connsiteX1293" fmla="*/ 5659 w 10785"/>
                <a:gd name="connsiteY1293" fmla="*/ 957 h 10000"/>
                <a:gd name="connsiteX1294" fmla="*/ 5654 w 10785"/>
                <a:gd name="connsiteY1294" fmla="*/ 966 h 10000"/>
                <a:gd name="connsiteX1295" fmla="*/ 5641 w 10785"/>
                <a:gd name="connsiteY1295" fmla="*/ 957 h 10000"/>
                <a:gd name="connsiteX1296" fmla="*/ 5631 w 10785"/>
                <a:gd name="connsiteY1296" fmla="*/ 897 h 10000"/>
                <a:gd name="connsiteX1297" fmla="*/ 5641 w 10785"/>
                <a:gd name="connsiteY1297" fmla="*/ 872 h 10000"/>
                <a:gd name="connsiteX1298" fmla="*/ 5618 w 10785"/>
                <a:gd name="connsiteY1298" fmla="*/ 803 h 10000"/>
                <a:gd name="connsiteX1299" fmla="*/ 5604 w 10785"/>
                <a:gd name="connsiteY1299" fmla="*/ 821 h 10000"/>
                <a:gd name="connsiteX1300" fmla="*/ 5613 w 10785"/>
                <a:gd name="connsiteY1300" fmla="*/ 846 h 10000"/>
                <a:gd name="connsiteX1301" fmla="*/ 5604 w 10785"/>
                <a:gd name="connsiteY1301" fmla="*/ 855 h 10000"/>
                <a:gd name="connsiteX1302" fmla="*/ 5599 w 10785"/>
                <a:gd name="connsiteY1302" fmla="*/ 880 h 10000"/>
                <a:gd name="connsiteX1303" fmla="*/ 5594 w 10785"/>
                <a:gd name="connsiteY1303" fmla="*/ 880 h 10000"/>
                <a:gd name="connsiteX1304" fmla="*/ 5585 w 10785"/>
                <a:gd name="connsiteY1304" fmla="*/ 829 h 10000"/>
                <a:gd name="connsiteX1305" fmla="*/ 5571 w 10785"/>
                <a:gd name="connsiteY1305" fmla="*/ 803 h 10000"/>
                <a:gd name="connsiteX1306" fmla="*/ 5585 w 10785"/>
                <a:gd name="connsiteY1306" fmla="*/ 795 h 10000"/>
                <a:gd name="connsiteX1307" fmla="*/ 5585 w 10785"/>
                <a:gd name="connsiteY1307" fmla="*/ 761 h 10000"/>
                <a:gd name="connsiteX1308" fmla="*/ 5558 w 10785"/>
                <a:gd name="connsiteY1308" fmla="*/ 709 h 10000"/>
                <a:gd name="connsiteX1309" fmla="*/ 5544 w 10785"/>
                <a:gd name="connsiteY1309" fmla="*/ 709 h 10000"/>
                <a:gd name="connsiteX1310" fmla="*/ 5544 w 10785"/>
                <a:gd name="connsiteY1310" fmla="*/ 684 h 10000"/>
                <a:gd name="connsiteX1311" fmla="*/ 5525 w 10785"/>
                <a:gd name="connsiteY1311" fmla="*/ 632 h 10000"/>
                <a:gd name="connsiteX1312" fmla="*/ 5507 w 10785"/>
                <a:gd name="connsiteY1312" fmla="*/ 607 h 10000"/>
                <a:gd name="connsiteX1313" fmla="*/ 5512 w 10785"/>
                <a:gd name="connsiteY1313" fmla="*/ 598 h 10000"/>
                <a:gd name="connsiteX1314" fmla="*/ 5507 w 10785"/>
                <a:gd name="connsiteY1314" fmla="*/ 581 h 10000"/>
                <a:gd name="connsiteX1315" fmla="*/ 5493 w 10785"/>
                <a:gd name="connsiteY1315" fmla="*/ 573 h 10000"/>
                <a:gd name="connsiteX1316" fmla="*/ 5484 w 10785"/>
                <a:gd name="connsiteY1316" fmla="*/ 581 h 10000"/>
                <a:gd name="connsiteX1317" fmla="*/ 5484 w 10785"/>
                <a:gd name="connsiteY1317" fmla="*/ 573 h 10000"/>
                <a:gd name="connsiteX1318" fmla="*/ 5484 w 10785"/>
                <a:gd name="connsiteY1318" fmla="*/ 547 h 10000"/>
                <a:gd name="connsiteX1319" fmla="*/ 5465 w 10785"/>
                <a:gd name="connsiteY1319" fmla="*/ 556 h 10000"/>
                <a:gd name="connsiteX1320" fmla="*/ 5433 w 10785"/>
                <a:gd name="connsiteY1320" fmla="*/ 547 h 10000"/>
                <a:gd name="connsiteX1321" fmla="*/ 5410 w 10785"/>
                <a:gd name="connsiteY1321" fmla="*/ 573 h 10000"/>
                <a:gd name="connsiteX1322" fmla="*/ 5406 w 10785"/>
                <a:gd name="connsiteY1322" fmla="*/ 573 h 10000"/>
                <a:gd name="connsiteX1323" fmla="*/ 5392 w 10785"/>
                <a:gd name="connsiteY1323" fmla="*/ 573 h 10000"/>
                <a:gd name="connsiteX1324" fmla="*/ 5364 w 10785"/>
                <a:gd name="connsiteY1324" fmla="*/ 530 h 10000"/>
                <a:gd name="connsiteX1325" fmla="*/ 5350 w 10785"/>
                <a:gd name="connsiteY1325" fmla="*/ 556 h 10000"/>
                <a:gd name="connsiteX1326" fmla="*/ 5346 w 10785"/>
                <a:gd name="connsiteY1326" fmla="*/ 556 h 10000"/>
                <a:gd name="connsiteX1327" fmla="*/ 5313 w 10785"/>
                <a:gd name="connsiteY1327" fmla="*/ 573 h 10000"/>
                <a:gd name="connsiteX1328" fmla="*/ 5304 w 10785"/>
                <a:gd name="connsiteY1328" fmla="*/ 556 h 10000"/>
                <a:gd name="connsiteX1329" fmla="*/ 5290 w 10785"/>
                <a:gd name="connsiteY1329" fmla="*/ 573 h 10000"/>
                <a:gd name="connsiteX1330" fmla="*/ 5290 w 10785"/>
                <a:gd name="connsiteY1330" fmla="*/ 556 h 10000"/>
                <a:gd name="connsiteX1331" fmla="*/ 5300 w 10785"/>
                <a:gd name="connsiteY1331" fmla="*/ 547 h 10000"/>
                <a:gd name="connsiteX1332" fmla="*/ 5300 w 10785"/>
                <a:gd name="connsiteY1332" fmla="*/ 530 h 10000"/>
                <a:gd name="connsiteX1333" fmla="*/ 5290 w 10785"/>
                <a:gd name="connsiteY1333" fmla="*/ 530 h 10000"/>
                <a:gd name="connsiteX1334" fmla="*/ 5286 w 10785"/>
                <a:gd name="connsiteY1334" fmla="*/ 547 h 10000"/>
                <a:gd name="connsiteX1335" fmla="*/ 5272 w 10785"/>
                <a:gd name="connsiteY1335" fmla="*/ 556 h 10000"/>
                <a:gd name="connsiteX1336" fmla="*/ 5272 w 10785"/>
                <a:gd name="connsiteY1336" fmla="*/ 598 h 10000"/>
                <a:gd name="connsiteX1337" fmla="*/ 5276 w 10785"/>
                <a:gd name="connsiteY1337" fmla="*/ 581 h 10000"/>
                <a:gd name="connsiteX1338" fmla="*/ 5272 w 10785"/>
                <a:gd name="connsiteY1338" fmla="*/ 607 h 10000"/>
                <a:gd name="connsiteX1339" fmla="*/ 5263 w 10785"/>
                <a:gd name="connsiteY1339" fmla="*/ 607 h 10000"/>
                <a:gd name="connsiteX1340" fmla="*/ 5263 w 10785"/>
                <a:gd name="connsiteY1340" fmla="*/ 632 h 10000"/>
                <a:gd name="connsiteX1341" fmla="*/ 5258 w 10785"/>
                <a:gd name="connsiteY1341" fmla="*/ 658 h 10000"/>
                <a:gd name="connsiteX1342" fmla="*/ 5244 w 10785"/>
                <a:gd name="connsiteY1342" fmla="*/ 667 h 10000"/>
                <a:gd name="connsiteX1343" fmla="*/ 5240 w 10785"/>
                <a:gd name="connsiteY1343" fmla="*/ 658 h 10000"/>
                <a:gd name="connsiteX1344" fmla="*/ 5240 w 10785"/>
                <a:gd name="connsiteY1344" fmla="*/ 684 h 10000"/>
                <a:gd name="connsiteX1345" fmla="*/ 5212 w 10785"/>
                <a:gd name="connsiteY1345" fmla="*/ 684 h 10000"/>
                <a:gd name="connsiteX1346" fmla="*/ 5198 w 10785"/>
                <a:gd name="connsiteY1346" fmla="*/ 692 h 10000"/>
                <a:gd name="connsiteX1347" fmla="*/ 5184 w 10785"/>
                <a:gd name="connsiteY1347" fmla="*/ 684 h 10000"/>
                <a:gd name="connsiteX1348" fmla="*/ 5157 w 10785"/>
                <a:gd name="connsiteY1348" fmla="*/ 684 h 10000"/>
                <a:gd name="connsiteX1349" fmla="*/ 5157 w 10785"/>
                <a:gd name="connsiteY1349" fmla="*/ 667 h 10000"/>
                <a:gd name="connsiteX1350" fmla="*/ 5157 w 10785"/>
                <a:gd name="connsiteY1350" fmla="*/ 667 h 10000"/>
                <a:gd name="connsiteX1351" fmla="*/ 5180 w 10785"/>
                <a:gd name="connsiteY1351" fmla="*/ 650 h 10000"/>
                <a:gd name="connsiteX1352" fmla="*/ 5184 w 10785"/>
                <a:gd name="connsiteY1352" fmla="*/ 658 h 10000"/>
                <a:gd name="connsiteX1353" fmla="*/ 5203 w 10785"/>
                <a:gd name="connsiteY1353" fmla="*/ 547 h 10000"/>
                <a:gd name="connsiteX1354" fmla="*/ 5226 w 10785"/>
                <a:gd name="connsiteY1354" fmla="*/ 530 h 10000"/>
                <a:gd name="connsiteX1355" fmla="*/ 5230 w 10785"/>
                <a:gd name="connsiteY1355" fmla="*/ 487 h 10000"/>
                <a:gd name="connsiteX1356" fmla="*/ 5230 w 10785"/>
                <a:gd name="connsiteY1356" fmla="*/ 487 h 10000"/>
                <a:gd name="connsiteX1357" fmla="*/ 5226 w 10785"/>
                <a:gd name="connsiteY1357" fmla="*/ 462 h 10000"/>
                <a:gd name="connsiteX1358" fmla="*/ 5226 w 10785"/>
                <a:gd name="connsiteY1358" fmla="*/ 462 h 10000"/>
                <a:gd name="connsiteX1359" fmla="*/ 5240 w 10785"/>
                <a:gd name="connsiteY1359" fmla="*/ 462 h 10000"/>
                <a:gd name="connsiteX1360" fmla="*/ 5240 w 10785"/>
                <a:gd name="connsiteY1360" fmla="*/ 444 h 10000"/>
                <a:gd name="connsiteX1361" fmla="*/ 5230 w 10785"/>
                <a:gd name="connsiteY1361" fmla="*/ 436 h 10000"/>
                <a:gd name="connsiteX1362" fmla="*/ 5230 w 10785"/>
                <a:gd name="connsiteY1362" fmla="*/ 419 h 10000"/>
                <a:gd name="connsiteX1363" fmla="*/ 5230 w 10785"/>
                <a:gd name="connsiteY1363" fmla="*/ 410 h 10000"/>
                <a:gd name="connsiteX1364" fmla="*/ 5198 w 10785"/>
                <a:gd name="connsiteY1364" fmla="*/ 402 h 10000"/>
                <a:gd name="connsiteX1365" fmla="*/ 5189 w 10785"/>
                <a:gd name="connsiteY1365" fmla="*/ 402 h 10000"/>
                <a:gd name="connsiteX1366" fmla="*/ 5184 w 10785"/>
                <a:gd name="connsiteY1366" fmla="*/ 376 h 10000"/>
                <a:gd name="connsiteX1367" fmla="*/ 5180 w 10785"/>
                <a:gd name="connsiteY1367" fmla="*/ 376 h 10000"/>
                <a:gd name="connsiteX1368" fmla="*/ 5166 w 10785"/>
                <a:gd name="connsiteY1368" fmla="*/ 376 h 10000"/>
                <a:gd name="connsiteX1369" fmla="*/ 5157 w 10785"/>
                <a:gd name="connsiteY1369" fmla="*/ 385 h 10000"/>
                <a:gd name="connsiteX1370" fmla="*/ 5152 w 10785"/>
                <a:gd name="connsiteY1370" fmla="*/ 376 h 10000"/>
                <a:gd name="connsiteX1371" fmla="*/ 5129 w 10785"/>
                <a:gd name="connsiteY1371" fmla="*/ 385 h 10000"/>
                <a:gd name="connsiteX1372" fmla="*/ 5129 w 10785"/>
                <a:gd name="connsiteY1372" fmla="*/ 350 h 10000"/>
                <a:gd name="connsiteX1373" fmla="*/ 5129 w 10785"/>
                <a:gd name="connsiteY1373" fmla="*/ 325 h 10000"/>
                <a:gd name="connsiteX1374" fmla="*/ 5124 w 10785"/>
                <a:gd name="connsiteY1374" fmla="*/ 359 h 10000"/>
                <a:gd name="connsiteX1375" fmla="*/ 5106 w 10785"/>
                <a:gd name="connsiteY1375" fmla="*/ 359 h 10000"/>
                <a:gd name="connsiteX1376" fmla="*/ 5037 w 10785"/>
                <a:gd name="connsiteY1376" fmla="*/ 419 h 10000"/>
                <a:gd name="connsiteX1377" fmla="*/ 5051 w 10785"/>
                <a:gd name="connsiteY1377" fmla="*/ 385 h 10000"/>
                <a:gd name="connsiteX1378" fmla="*/ 5055 w 10785"/>
                <a:gd name="connsiteY1378" fmla="*/ 376 h 10000"/>
                <a:gd name="connsiteX1379" fmla="*/ 5092 w 10785"/>
                <a:gd name="connsiteY1379" fmla="*/ 282 h 10000"/>
                <a:gd name="connsiteX1380" fmla="*/ 5106 w 10785"/>
                <a:gd name="connsiteY1380" fmla="*/ 265 h 10000"/>
                <a:gd name="connsiteX1381" fmla="*/ 5115 w 10785"/>
                <a:gd name="connsiteY1381" fmla="*/ 265 h 10000"/>
                <a:gd name="connsiteX1382" fmla="*/ 5124 w 10785"/>
                <a:gd name="connsiteY1382" fmla="*/ 222 h 10000"/>
                <a:gd name="connsiteX1383" fmla="*/ 5124 w 10785"/>
                <a:gd name="connsiteY1383" fmla="*/ 214 h 10000"/>
                <a:gd name="connsiteX1384" fmla="*/ 5143 w 10785"/>
                <a:gd name="connsiteY1384" fmla="*/ 197 h 10000"/>
                <a:gd name="connsiteX1385" fmla="*/ 5152 w 10785"/>
                <a:gd name="connsiteY1385" fmla="*/ 214 h 10000"/>
                <a:gd name="connsiteX1386" fmla="*/ 5143 w 10785"/>
                <a:gd name="connsiteY1386" fmla="*/ 188 h 10000"/>
                <a:gd name="connsiteX1387" fmla="*/ 5129 w 10785"/>
                <a:gd name="connsiteY1387" fmla="*/ 103 h 10000"/>
                <a:gd name="connsiteX1388" fmla="*/ 5115 w 10785"/>
                <a:gd name="connsiteY1388" fmla="*/ 85 h 10000"/>
                <a:gd name="connsiteX1389" fmla="*/ 5111 w 10785"/>
                <a:gd name="connsiteY1389" fmla="*/ 111 h 10000"/>
                <a:gd name="connsiteX1390" fmla="*/ 5092 w 10785"/>
                <a:gd name="connsiteY1390" fmla="*/ 103 h 10000"/>
                <a:gd name="connsiteX1391" fmla="*/ 5069 w 10785"/>
                <a:gd name="connsiteY1391" fmla="*/ 77 h 10000"/>
                <a:gd name="connsiteX1392" fmla="*/ 5051 w 10785"/>
                <a:gd name="connsiteY1392" fmla="*/ 26 h 10000"/>
                <a:gd name="connsiteX1393" fmla="*/ 5041 w 10785"/>
                <a:gd name="connsiteY1393" fmla="*/ 34 h 10000"/>
                <a:gd name="connsiteX1394" fmla="*/ 5037 w 10785"/>
                <a:gd name="connsiteY1394" fmla="*/ 34 h 10000"/>
                <a:gd name="connsiteX1395" fmla="*/ 5037 w 10785"/>
                <a:gd name="connsiteY1395" fmla="*/ 26 h 10000"/>
                <a:gd name="connsiteX1396" fmla="*/ 5037 w 10785"/>
                <a:gd name="connsiteY1396" fmla="*/ 9 h 10000"/>
                <a:gd name="connsiteX1397" fmla="*/ 5023 w 10785"/>
                <a:gd name="connsiteY1397" fmla="*/ 0 h 10000"/>
                <a:gd name="connsiteX1398" fmla="*/ 5009 w 10785"/>
                <a:gd name="connsiteY1398" fmla="*/ 9 h 10000"/>
                <a:gd name="connsiteX1399" fmla="*/ 4995 w 10785"/>
                <a:gd name="connsiteY1399" fmla="*/ 34 h 10000"/>
                <a:gd name="connsiteX1400" fmla="*/ 4991 w 10785"/>
                <a:gd name="connsiteY1400" fmla="*/ 60 h 10000"/>
                <a:gd name="connsiteX1401" fmla="*/ 4982 w 10785"/>
                <a:gd name="connsiteY1401" fmla="*/ 60 h 10000"/>
                <a:gd name="connsiteX1402" fmla="*/ 4949 w 10785"/>
                <a:gd name="connsiteY1402" fmla="*/ 51 h 10000"/>
                <a:gd name="connsiteX1403" fmla="*/ 4949 w 10785"/>
                <a:gd name="connsiteY1403" fmla="*/ 85 h 10000"/>
                <a:gd name="connsiteX1404" fmla="*/ 4903 w 10785"/>
                <a:gd name="connsiteY1404" fmla="*/ 197 h 10000"/>
                <a:gd name="connsiteX1405" fmla="*/ 4899 w 10785"/>
                <a:gd name="connsiteY1405" fmla="*/ 239 h 10000"/>
                <a:gd name="connsiteX1406" fmla="*/ 4871 w 10785"/>
                <a:gd name="connsiteY1406" fmla="*/ 274 h 10000"/>
                <a:gd name="connsiteX1407" fmla="*/ 4871 w 10785"/>
                <a:gd name="connsiteY1407" fmla="*/ 282 h 10000"/>
                <a:gd name="connsiteX1408" fmla="*/ 4834 w 10785"/>
                <a:gd name="connsiteY1408" fmla="*/ 376 h 10000"/>
                <a:gd name="connsiteX1409" fmla="*/ 4829 w 10785"/>
                <a:gd name="connsiteY1409" fmla="*/ 402 h 10000"/>
                <a:gd name="connsiteX1410" fmla="*/ 4834 w 10785"/>
                <a:gd name="connsiteY1410" fmla="*/ 410 h 10000"/>
                <a:gd name="connsiteX1411" fmla="*/ 4829 w 10785"/>
                <a:gd name="connsiteY1411" fmla="*/ 436 h 10000"/>
                <a:gd name="connsiteX1412" fmla="*/ 4825 w 10785"/>
                <a:gd name="connsiteY1412" fmla="*/ 436 h 10000"/>
                <a:gd name="connsiteX1413" fmla="*/ 4825 w 10785"/>
                <a:gd name="connsiteY1413" fmla="*/ 444 h 10000"/>
                <a:gd name="connsiteX1414" fmla="*/ 4811 w 10785"/>
                <a:gd name="connsiteY1414" fmla="*/ 496 h 10000"/>
                <a:gd name="connsiteX1415" fmla="*/ 4811 w 10785"/>
                <a:gd name="connsiteY1415" fmla="*/ 496 h 10000"/>
                <a:gd name="connsiteX1416" fmla="*/ 4811 w 10785"/>
                <a:gd name="connsiteY1416" fmla="*/ 521 h 10000"/>
                <a:gd name="connsiteX1417" fmla="*/ 4816 w 10785"/>
                <a:gd name="connsiteY1417" fmla="*/ 530 h 10000"/>
                <a:gd name="connsiteX1418" fmla="*/ 4834 w 10785"/>
                <a:gd name="connsiteY1418" fmla="*/ 547 h 10000"/>
                <a:gd name="connsiteX1419" fmla="*/ 4834 w 10785"/>
                <a:gd name="connsiteY1419" fmla="*/ 581 h 10000"/>
                <a:gd name="connsiteX1420" fmla="*/ 4843 w 10785"/>
                <a:gd name="connsiteY1420" fmla="*/ 581 h 10000"/>
                <a:gd name="connsiteX1421" fmla="*/ 4843 w 10785"/>
                <a:gd name="connsiteY1421" fmla="*/ 598 h 10000"/>
                <a:gd name="connsiteX1422" fmla="*/ 4829 w 10785"/>
                <a:gd name="connsiteY1422" fmla="*/ 598 h 10000"/>
                <a:gd name="connsiteX1423" fmla="*/ 4829 w 10785"/>
                <a:gd name="connsiteY1423" fmla="*/ 573 h 10000"/>
                <a:gd name="connsiteX1424" fmla="*/ 4829 w 10785"/>
                <a:gd name="connsiteY1424" fmla="*/ 632 h 10000"/>
                <a:gd name="connsiteX1425" fmla="*/ 4829 w 10785"/>
                <a:gd name="connsiteY1425" fmla="*/ 632 h 10000"/>
                <a:gd name="connsiteX1426" fmla="*/ 4829 w 10785"/>
                <a:gd name="connsiteY1426" fmla="*/ 650 h 10000"/>
                <a:gd name="connsiteX1427" fmla="*/ 4774 w 10785"/>
                <a:gd name="connsiteY1427" fmla="*/ 684 h 10000"/>
                <a:gd name="connsiteX1428" fmla="*/ 4756 w 10785"/>
                <a:gd name="connsiteY1428" fmla="*/ 684 h 10000"/>
                <a:gd name="connsiteX1429" fmla="*/ 4737 w 10785"/>
                <a:gd name="connsiteY1429" fmla="*/ 692 h 10000"/>
                <a:gd name="connsiteX1430" fmla="*/ 4677 w 10785"/>
                <a:gd name="connsiteY1430" fmla="*/ 667 h 10000"/>
                <a:gd name="connsiteX1431" fmla="*/ 4682 w 10785"/>
                <a:gd name="connsiteY1431" fmla="*/ 692 h 10000"/>
                <a:gd name="connsiteX1432" fmla="*/ 4682 w 10785"/>
                <a:gd name="connsiteY1432" fmla="*/ 709 h 10000"/>
                <a:gd name="connsiteX1433" fmla="*/ 4691 w 10785"/>
                <a:gd name="connsiteY1433" fmla="*/ 718 h 10000"/>
                <a:gd name="connsiteX1434" fmla="*/ 4691 w 10785"/>
                <a:gd name="connsiteY1434" fmla="*/ 744 h 10000"/>
                <a:gd name="connsiteX1435" fmla="*/ 4700 w 10785"/>
                <a:gd name="connsiteY1435" fmla="*/ 744 h 10000"/>
                <a:gd name="connsiteX1436" fmla="*/ 4714 w 10785"/>
                <a:gd name="connsiteY1436" fmla="*/ 769 h 10000"/>
                <a:gd name="connsiteX1437" fmla="*/ 4710 w 10785"/>
                <a:gd name="connsiteY1437" fmla="*/ 786 h 10000"/>
                <a:gd name="connsiteX1438" fmla="*/ 4737 w 10785"/>
                <a:gd name="connsiteY1438" fmla="*/ 786 h 10000"/>
                <a:gd name="connsiteX1439" fmla="*/ 4742 w 10785"/>
                <a:gd name="connsiteY1439" fmla="*/ 795 h 10000"/>
                <a:gd name="connsiteX1440" fmla="*/ 4742 w 10785"/>
                <a:gd name="connsiteY1440" fmla="*/ 803 h 10000"/>
                <a:gd name="connsiteX1441" fmla="*/ 4737 w 10785"/>
                <a:gd name="connsiteY1441" fmla="*/ 846 h 10000"/>
                <a:gd name="connsiteX1442" fmla="*/ 4737 w 10785"/>
                <a:gd name="connsiteY1442" fmla="*/ 880 h 10000"/>
                <a:gd name="connsiteX1443" fmla="*/ 4737 w 10785"/>
                <a:gd name="connsiteY1443" fmla="*/ 906 h 10000"/>
                <a:gd name="connsiteX1444" fmla="*/ 4724 w 10785"/>
                <a:gd name="connsiteY1444" fmla="*/ 897 h 10000"/>
                <a:gd name="connsiteX1445" fmla="*/ 4724 w 10785"/>
                <a:gd name="connsiteY1445" fmla="*/ 872 h 10000"/>
                <a:gd name="connsiteX1446" fmla="*/ 4714 w 10785"/>
                <a:gd name="connsiteY1446" fmla="*/ 855 h 10000"/>
                <a:gd name="connsiteX1447" fmla="*/ 4691 w 10785"/>
                <a:gd name="connsiteY1447" fmla="*/ 846 h 10000"/>
                <a:gd name="connsiteX1448" fmla="*/ 4691 w 10785"/>
                <a:gd name="connsiteY1448" fmla="*/ 846 h 10000"/>
                <a:gd name="connsiteX1449" fmla="*/ 4696 w 10785"/>
                <a:gd name="connsiteY1449" fmla="*/ 821 h 10000"/>
                <a:gd name="connsiteX1450" fmla="*/ 4691 w 10785"/>
                <a:gd name="connsiteY1450" fmla="*/ 803 h 10000"/>
                <a:gd name="connsiteX1451" fmla="*/ 4668 w 10785"/>
                <a:gd name="connsiteY1451" fmla="*/ 821 h 10000"/>
                <a:gd name="connsiteX1452" fmla="*/ 4668 w 10785"/>
                <a:gd name="connsiteY1452" fmla="*/ 786 h 10000"/>
                <a:gd name="connsiteX1453" fmla="*/ 4664 w 10785"/>
                <a:gd name="connsiteY1453" fmla="*/ 786 h 10000"/>
                <a:gd name="connsiteX1454" fmla="*/ 4622 w 10785"/>
                <a:gd name="connsiteY1454" fmla="*/ 846 h 10000"/>
                <a:gd name="connsiteX1455" fmla="*/ 4627 w 10785"/>
                <a:gd name="connsiteY1455" fmla="*/ 872 h 10000"/>
                <a:gd name="connsiteX1456" fmla="*/ 4622 w 10785"/>
                <a:gd name="connsiteY1456" fmla="*/ 880 h 10000"/>
                <a:gd name="connsiteX1457" fmla="*/ 4622 w 10785"/>
                <a:gd name="connsiteY1457" fmla="*/ 880 h 10000"/>
                <a:gd name="connsiteX1458" fmla="*/ 4618 w 10785"/>
                <a:gd name="connsiteY1458" fmla="*/ 872 h 10000"/>
                <a:gd name="connsiteX1459" fmla="*/ 4604 w 10785"/>
                <a:gd name="connsiteY1459" fmla="*/ 880 h 10000"/>
                <a:gd name="connsiteX1460" fmla="*/ 4594 w 10785"/>
                <a:gd name="connsiteY1460" fmla="*/ 906 h 10000"/>
                <a:gd name="connsiteX1461" fmla="*/ 4604 w 10785"/>
                <a:gd name="connsiteY1461" fmla="*/ 906 h 10000"/>
                <a:gd name="connsiteX1462" fmla="*/ 4608 w 10785"/>
                <a:gd name="connsiteY1462" fmla="*/ 906 h 10000"/>
                <a:gd name="connsiteX1463" fmla="*/ 4608 w 10785"/>
                <a:gd name="connsiteY1463" fmla="*/ 932 h 10000"/>
                <a:gd name="connsiteX1464" fmla="*/ 4604 w 10785"/>
                <a:gd name="connsiteY1464" fmla="*/ 932 h 10000"/>
                <a:gd name="connsiteX1465" fmla="*/ 4590 w 10785"/>
                <a:gd name="connsiteY1465" fmla="*/ 932 h 10000"/>
                <a:gd name="connsiteX1466" fmla="*/ 4567 w 10785"/>
                <a:gd name="connsiteY1466" fmla="*/ 957 h 10000"/>
                <a:gd name="connsiteX1467" fmla="*/ 4567 w 10785"/>
                <a:gd name="connsiteY1467" fmla="*/ 932 h 10000"/>
                <a:gd name="connsiteX1468" fmla="*/ 4567 w 10785"/>
                <a:gd name="connsiteY1468" fmla="*/ 923 h 10000"/>
                <a:gd name="connsiteX1469" fmla="*/ 4562 w 10785"/>
                <a:gd name="connsiteY1469" fmla="*/ 932 h 10000"/>
                <a:gd name="connsiteX1470" fmla="*/ 4548 w 10785"/>
                <a:gd name="connsiteY1470" fmla="*/ 957 h 10000"/>
                <a:gd name="connsiteX1471" fmla="*/ 4544 w 10785"/>
                <a:gd name="connsiteY1471" fmla="*/ 957 h 10000"/>
                <a:gd name="connsiteX1472" fmla="*/ 4521 w 10785"/>
                <a:gd name="connsiteY1472" fmla="*/ 983 h 10000"/>
                <a:gd name="connsiteX1473" fmla="*/ 4521 w 10785"/>
                <a:gd name="connsiteY1473" fmla="*/ 983 h 10000"/>
                <a:gd name="connsiteX1474" fmla="*/ 4530 w 10785"/>
                <a:gd name="connsiteY1474" fmla="*/ 957 h 10000"/>
                <a:gd name="connsiteX1475" fmla="*/ 4535 w 10785"/>
                <a:gd name="connsiteY1475" fmla="*/ 932 h 10000"/>
                <a:gd name="connsiteX1476" fmla="*/ 4521 w 10785"/>
                <a:gd name="connsiteY1476" fmla="*/ 932 h 10000"/>
                <a:gd name="connsiteX1477" fmla="*/ 4516 w 10785"/>
                <a:gd name="connsiteY1477" fmla="*/ 923 h 10000"/>
                <a:gd name="connsiteX1478" fmla="*/ 4516 w 10785"/>
                <a:gd name="connsiteY1478" fmla="*/ 932 h 10000"/>
                <a:gd name="connsiteX1479" fmla="*/ 4488 w 10785"/>
                <a:gd name="connsiteY1479" fmla="*/ 940 h 10000"/>
                <a:gd name="connsiteX1480" fmla="*/ 4484 w 10785"/>
                <a:gd name="connsiteY1480" fmla="*/ 983 h 10000"/>
                <a:gd name="connsiteX1481" fmla="*/ 4470 w 10785"/>
                <a:gd name="connsiteY1481" fmla="*/ 983 h 10000"/>
                <a:gd name="connsiteX1482" fmla="*/ 4470 w 10785"/>
                <a:gd name="connsiteY1482" fmla="*/ 966 h 10000"/>
                <a:gd name="connsiteX1483" fmla="*/ 4488 w 10785"/>
                <a:gd name="connsiteY1483" fmla="*/ 923 h 10000"/>
                <a:gd name="connsiteX1484" fmla="*/ 4493 w 10785"/>
                <a:gd name="connsiteY1484" fmla="*/ 880 h 10000"/>
                <a:gd name="connsiteX1485" fmla="*/ 4475 w 10785"/>
                <a:gd name="connsiteY1485" fmla="*/ 846 h 10000"/>
                <a:gd name="connsiteX1486" fmla="*/ 4442 w 10785"/>
                <a:gd name="connsiteY1486" fmla="*/ 855 h 10000"/>
                <a:gd name="connsiteX1487" fmla="*/ 4433 w 10785"/>
                <a:gd name="connsiteY1487" fmla="*/ 855 h 10000"/>
                <a:gd name="connsiteX1488" fmla="*/ 4433 w 10785"/>
                <a:gd name="connsiteY1488" fmla="*/ 880 h 10000"/>
                <a:gd name="connsiteX1489" fmla="*/ 4401 w 10785"/>
                <a:gd name="connsiteY1489" fmla="*/ 855 h 10000"/>
                <a:gd name="connsiteX1490" fmla="*/ 4396 w 10785"/>
                <a:gd name="connsiteY1490" fmla="*/ 872 h 10000"/>
                <a:gd name="connsiteX1491" fmla="*/ 4382 w 10785"/>
                <a:gd name="connsiteY1491" fmla="*/ 897 h 10000"/>
                <a:gd name="connsiteX1492" fmla="*/ 4373 w 10785"/>
                <a:gd name="connsiteY1492" fmla="*/ 872 h 10000"/>
                <a:gd name="connsiteX1493" fmla="*/ 4341 w 10785"/>
                <a:gd name="connsiteY1493" fmla="*/ 872 h 10000"/>
                <a:gd name="connsiteX1494" fmla="*/ 4336 w 10785"/>
                <a:gd name="connsiteY1494" fmla="*/ 880 h 10000"/>
                <a:gd name="connsiteX1495" fmla="*/ 4346 w 10785"/>
                <a:gd name="connsiteY1495" fmla="*/ 897 h 10000"/>
                <a:gd name="connsiteX1496" fmla="*/ 4346 w 10785"/>
                <a:gd name="connsiteY1496" fmla="*/ 897 h 10000"/>
                <a:gd name="connsiteX1497" fmla="*/ 4313 w 10785"/>
                <a:gd name="connsiteY1497" fmla="*/ 906 h 10000"/>
                <a:gd name="connsiteX1498" fmla="*/ 4313 w 10785"/>
                <a:gd name="connsiteY1498" fmla="*/ 906 h 10000"/>
                <a:gd name="connsiteX1499" fmla="*/ 4313 w 10785"/>
                <a:gd name="connsiteY1499" fmla="*/ 880 h 10000"/>
                <a:gd name="connsiteX1500" fmla="*/ 4309 w 10785"/>
                <a:gd name="connsiteY1500" fmla="*/ 897 h 10000"/>
                <a:gd name="connsiteX1501" fmla="*/ 4295 w 10785"/>
                <a:gd name="connsiteY1501" fmla="*/ 923 h 10000"/>
                <a:gd name="connsiteX1502" fmla="*/ 4286 w 10785"/>
                <a:gd name="connsiteY1502" fmla="*/ 897 h 10000"/>
                <a:gd name="connsiteX1503" fmla="*/ 4281 w 10785"/>
                <a:gd name="connsiteY1503" fmla="*/ 906 h 10000"/>
                <a:gd name="connsiteX1504" fmla="*/ 4281 w 10785"/>
                <a:gd name="connsiteY1504" fmla="*/ 940 h 10000"/>
                <a:gd name="connsiteX1505" fmla="*/ 4286 w 10785"/>
                <a:gd name="connsiteY1505" fmla="*/ 957 h 10000"/>
                <a:gd name="connsiteX1506" fmla="*/ 4309 w 10785"/>
                <a:gd name="connsiteY1506" fmla="*/ 932 h 10000"/>
                <a:gd name="connsiteX1507" fmla="*/ 4313 w 10785"/>
                <a:gd name="connsiteY1507" fmla="*/ 957 h 10000"/>
                <a:gd name="connsiteX1508" fmla="*/ 4313 w 10785"/>
                <a:gd name="connsiteY1508" fmla="*/ 966 h 10000"/>
                <a:gd name="connsiteX1509" fmla="*/ 4323 w 10785"/>
                <a:gd name="connsiteY1509" fmla="*/ 966 h 10000"/>
                <a:gd name="connsiteX1510" fmla="*/ 4323 w 10785"/>
                <a:gd name="connsiteY1510" fmla="*/ 940 h 10000"/>
                <a:gd name="connsiteX1511" fmla="*/ 4327 w 10785"/>
                <a:gd name="connsiteY1511" fmla="*/ 940 h 10000"/>
                <a:gd name="connsiteX1512" fmla="*/ 4327 w 10785"/>
                <a:gd name="connsiteY1512" fmla="*/ 957 h 10000"/>
                <a:gd name="connsiteX1513" fmla="*/ 4327 w 10785"/>
                <a:gd name="connsiteY1513" fmla="*/ 966 h 10000"/>
                <a:gd name="connsiteX1514" fmla="*/ 4323 w 10785"/>
                <a:gd name="connsiteY1514" fmla="*/ 991 h 10000"/>
                <a:gd name="connsiteX1515" fmla="*/ 4207 w 10785"/>
                <a:gd name="connsiteY1515" fmla="*/ 1060 h 10000"/>
                <a:gd name="connsiteX1516" fmla="*/ 4207 w 10785"/>
                <a:gd name="connsiteY1516" fmla="*/ 1060 h 10000"/>
                <a:gd name="connsiteX1517" fmla="*/ 4203 w 10785"/>
                <a:gd name="connsiteY1517" fmla="*/ 1068 h 10000"/>
                <a:gd name="connsiteX1518" fmla="*/ 4203 w 10785"/>
                <a:gd name="connsiteY1518" fmla="*/ 1094 h 10000"/>
                <a:gd name="connsiteX1519" fmla="*/ 4203 w 10785"/>
                <a:gd name="connsiteY1519" fmla="*/ 1094 h 10000"/>
                <a:gd name="connsiteX1520" fmla="*/ 4189 w 10785"/>
                <a:gd name="connsiteY1520" fmla="*/ 1094 h 10000"/>
                <a:gd name="connsiteX1521" fmla="*/ 4166 w 10785"/>
                <a:gd name="connsiteY1521" fmla="*/ 1103 h 10000"/>
                <a:gd name="connsiteX1522" fmla="*/ 4152 w 10785"/>
                <a:gd name="connsiteY1522" fmla="*/ 1094 h 10000"/>
                <a:gd name="connsiteX1523" fmla="*/ 4134 w 10785"/>
                <a:gd name="connsiteY1523" fmla="*/ 1120 h 10000"/>
                <a:gd name="connsiteX1524" fmla="*/ 4106 w 10785"/>
                <a:gd name="connsiteY1524" fmla="*/ 1120 h 10000"/>
                <a:gd name="connsiteX1525" fmla="*/ 4092 w 10785"/>
                <a:gd name="connsiteY1525" fmla="*/ 1154 h 10000"/>
                <a:gd name="connsiteX1526" fmla="*/ 4106 w 10785"/>
                <a:gd name="connsiteY1526" fmla="*/ 1171 h 10000"/>
                <a:gd name="connsiteX1527" fmla="*/ 4078 w 10785"/>
                <a:gd name="connsiteY1527" fmla="*/ 1179 h 10000"/>
                <a:gd name="connsiteX1528" fmla="*/ 4065 w 10785"/>
                <a:gd name="connsiteY1528" fmla="*/ 1205 h 10000"/>
                <a:gd name="connsiteX1529" fmla="*/ 4046 w 10785"/>
                <a:gd name="connsiteY1529" fmla="*/ 1179 h 10000"/>
                <a:gd name="connsiteX1530" fmla="*/ 4041 w 10785"/>
                <a:gd name="connsiteY1530" fmla="*/ 1197 h 10000"/>
                <a:gd name="connsiteX1531" fmla="*/ 4028 w 10785"/>
                <a:gd name="connsiteY1531" fmla="*/ 1205 h 10000"/>
                <a:gd name="connsiteX1532" fmla="*/ 4028 w 10785"/>
                <a:gd name="connsiteY1532" fmla="*/ 1205 h 10000"/>
                <a:gd name="connsiteX1533" fmla="*/ 4032 w 10785"/>
                <a:gd name="connsiteY1533" fmla="*/ 1205 h 10000"/>
                <a:gd name="connsiteX1534" fmla="*/ 4032 w 10785"/>
                <a:gd name="connsiteY1534" fmla="*/ 1231 h 10000"/>
                <a:gd name="connsiteX1535" fmla="*/ 4014 w 10785"/>
                <a:gd name="connsiteY1535" fmla="*/ 1239 h 10000"/>
                <a:gd name="connsiteX1536" fmla="*/ 4014 w 10785"/>
                <a:gd name="connsiteY1536" fmla="*/ 1256 h 10000"/>
                <a:gd name="connsiteX1537" fmla="*/ 4000 w 10785"/>
                <a:gd name="connsiteY1537" fmla="*/ 1265 h 10000"/>
                <a:gd name="connsiteX1538" fmla="*/ 3986 w 10785"/>
                <a:gd name="connsiteY1538" fmla="*/ 1308 h 10000"/>
                <a:gd name="connsiteX1539" fmla="*/ 3972 w 10785"/>
                <a:gd name="connsiteY1539" fmla="*/ 1316 h 10000"/>
                <a:gd name="connsiteX1540" fmla="*/ 3972 w 10785"/>
                <a:gd name="connsiteY1540" fmla="*/ 1325 h 10000"/>
                <a:gd name="connsiteX1541" fmla="*/ 3972 w 10785"/>
                <a:gd name="connsiteY1541" fmla="*/ 1342 h 10000"/>
                <a:gd name="connsiteX1542" fmla="*/ 3968 w 10785"/>
                <a:gd name="connsiteY1542" fmla="*/ 1350 h 10000"/>
                <a:gd name="connsiteX1543" fmla="*/ 3954 w 10785"/>
                <a:gd name="connsiteY1543" fmla="*/ 1368 h 10000"/>
                <a:gd name="connsiteX1544" fmla="*/ 3945 w 10785"/>
                <a:gd name="connsiteY1544" fmla="*/ 1350 h 10000"/>
                <a:gd name="connsiteX1545" fmla="*/ 3908 w 10785"/>
                <a:gd name="connsiteY1545" fmla="*/ 1342 h 10000"/>
                <a:gd name="connsiteX1546" fmla="*/ 3894 w 10785"/>
                <a:gd name="connsiteY1546" fmla="*/ 1368 h 10000"/>
                <a:gd name="connsiteX1547" fmla="*/ 3922 w 10785"/>
                <a:gd name="connsiteY1547" fmla="*/ 1393 h 10000"/>
                <a:gd name="connsiteX1548" fmla="*/ 3945 w 10785"/>
                <a:gd name="connsiteY1548" fmla="*/ 1393 h 10000"/>
                <a:gd name="connsiteX1549" fmla="*/ 3940 w 10785"/>
                <a:gd name="connsiteY1549" fmla="*/ 1419 h 10000"/>
                <a:gd name="connsiteX1550" fmla="*/ 3931 w 10785"/>
                <a:gd name="connsiteY1550" fmla="*/ 1427 h 10000"/>
                <a:gd name="connsiteX1551" fmla="*/ 3926 w 10785"/>
                <a:gd name="connsiteY1551" fmla="*/ 1427 h 10000"/>
                <a:gd name="connsiteX1552" fmla="*/ 3922 w 10785"/>
                <a:gd name="connsiteY1552" fmla="*/ 1419 h 10000"/>
                <a:gd name="connsiteX1553" fmla="*/ 3912 w 10785"/>
                <a:gd name="connsiteY1553" fmla="*/ 1427 h 10000"/>
                <a:gd name="connsiteX1554" fmla="*/ 3912 w 10785"/>
                <a:gd name="connsiteY1554" fmla="*/ 1444 h 10000"/>
                <a:gd name="connsiteX1555" fmla="*/ 3894 w 10785"/>
                <a:gd name="connsiteY1555" fmla="*/ 1513 h 10000"/>
                <a:gd name="connsiteX1556" fmla="*/ 3885 w 10785"/>
                <a:gd name="connsiteY1556" fmla="*/ 1513 h 10000"/>
                <a:gd name="connsiteX1557" fmla="*/ 3880 w 10785"/>
                <a:gd name="connsiteY1557" fmla="*/ 1538 h 10000"/>
                <a:gd name="connsiteX1558" fmla="*/ 3885 w 10785"/>
                <a:gd name="connsiteY1558" fmla="*/ 1564 h 10000"/>
                <a:gd name="connsiteX1559" fmla="*/ 3880 w 10785"/>
                <a:gd name="connsiteY1559" fmla="*/ 1581 h 10000"/>
                <a:gd name="connsiteX1560" fmla="*/ 3871 w 10785"/>
                <a:gd name="connsiteY1560" fmla="*/ 1538 h 10000"/>
                <a:gd name="connsiteX1561" fmla="*/ 3853 w 10785"/>
                <a:gd name="connsiteY1561" fmla="*/ 1530 h 10000"/>
                <a:gd name="connsiteX1562" fmla="*/ 3853 w 10785"/>
                <a:gd name="connsiteY1562" fmla="*/ 1504 h 10000"/>
                <a:gd name="connsiteX1563" fmla="*/ 3834 w 10785"/>
                <a:gd name="connsiteY1563" fmla="*/ 1487 h 10000"/>
                <a:gd name="connsiteX1564" fmla="*/ 3834 w 10785"/>
                <a:gd name="connsiteY1564" fmla="*/ 1487 h 10000"/>
                <a:gd name="connsiteX1565" fmla="*/ 3839 w 10785"/>
                <a:gd name="connsiteY1565" fmla="*/ 1513 h 10000"/>
                <a:gd name="connsiteX1566" fmla="*/ 3820 w 10785"/>
                <a:gd name="connsiteY1566" fmla="*/ 1538 h 10000"/>
                <a:gd name="connsiteX1567" fmla="*/ 3820 w 10785"/>
                <a:gd name="connsiteY1567" fmla="*/ 1556 h 10000"/>
                <a:gd name="connsiteX1568" fmla="*/ 3820 w 10785"/>
                <a:gd name="connsiteY1568" fmla="*/ 1564 h 10000"/>
                <a:gd name="connsiteX1569" fmla="*/ 3820 w 10785"/>
                <a:gd name="connsiteY1569" fmla="*/ 1581 h 10000"/>
                <a:gd name="connsiteX1570" fmla="*/ 3853 w 10785"/>
                <a:gd name="connsiteY1570" fmla="*/ 1581 h 10000"/>
                <a:gd name="connsiteX1571" fmla="*/ 3857 w 10785"/>
                <a:gd name="connsiteY1571" fmla="*/ 1598 h 10000"/>
                <a:gd name="connsiteX1572" fmla="*/ 3880 w 10785"/>
                <a:gd name="connsiteY1572" fmla="*/ 1615 h 10000"/>
                <a:gd name="connsiteX1573" fmla="*/ 3871 w 10785"/>
                <a:gd name="connsiteY1573" fmla="*/ 1615 h 10000"/>
                <a:gd name="connsiteX1574" fmla="*/ 3871 w 10785"/>
                <a:gd name="connsiteY1574" fmla="*/ 1641 h 10000"/>
                <a:gd name="connsiteX1575" fmla="*/ 3880 w 10785"/>
                <a:gd name="connsiteY1575" fmla="*/ 1641 h 10000"/>
                <a:gd name="connsiteX1576" fmla="*/ 3871 w 10785"/>
                <a:gd name="connsiteY1576" fmla="*/ 1650 h 10000"/>
                <a:gd name="connsiteX1577" fmla="*/ 3857 w 10785"/>
                <a:gd name="connsiteY1577" fmla="*/ 1650 h 10000"/>
                <a:gd name="connsiteX1578" fmla="*/ 3853 w 10785"/>
                <a:gd name="connsiteY1578" fmla="*/ 1650 h 10000"/>
                <a:gd name="connsiteX1579" fmla="*/ 3839 w 10785"/>
                <a:gd name="connsiteY1579" fmla="*/ 1667 h 10000"/>
                <a:gd name="connsiteX1580" fmla="*/ 3848 w 10785"/>
                <a:gd name="connsiteY1580" fmla="*/ 1692 h 10000"/>
                <a:gd name="connsiteX1581" fmla="*/ 3834 w 10785"/>
                <a:gd name="connsiteY1581" fmla="*/ 1692 h 10000"/>
                <a:gd name="connsiteX1582" fmla="*/ 3825 w 10785"/>
                <a:gd name="connsiteY1582" fmla="*/ 1692 h 10000"/>
                <a:gd name="connsiteX1583" fmla="*/ 3825 w 10785"/>
                <a:gd name="connsiteY1583" fmla="*/ 1718 h 10000"/>
                <a:gd name="connsiteX1584" fmla="*/ 3839 w 10785"/>
                <a:gd name="connsiteY1584" fmla="*/ 1726 h 10000"/>
                <a:gd name="connsiteX1585" fmla="*/ 3880 w 10785"/>
                <a:gd name="connsiteY1585" fmla="*/ 1752 h 10000"/>
                <a:gd name="connsiteX1586" fmla="*/ 3894 w 10785"/>
                <a:gd name="connsiteY1586" fmla="*/ 1829 h 10000"/>
                <a:gd name="connsiteX1587" fmla="*/ 3899 w 10785"/>
                <a:gd name="connsiteY1587" fmla="*/ 1838 h 10000"/>
                <a:gd name="connsiteX1588" fmla="*/ 3894 w 10785"/>
                <a:gd name="connsiteY1588" fmla="*/ 1855 h 10000"/>
                <a:gd name="connsiteX1589" fmla="*/ 3880 w 10785"/>
                <a:gd name="connsiteY1589" fmla="*/ 1838 h 10000"/>
                <a:gd name="connsiteX1590" fmla="*/ 3880 w 10785"/>
                <a:gd name="connsiteY1590" fmla="*/ 1855 h 10000"/>
                <a:gd name="connsiteX1591" fmla="*/ 3880 w 10785"/>
                <a:gd name="connsiteY1591" fmla="*/ 1863 h 10000"/>
                <a:gd name="connsiteX1592" fmla="*/ 3871 w 10785"/>
                <a:gd name="connsiteY1592" fmla="*/ 1872 h 10000"/>
                <a:gd name="connsiteX1593" fmla="*/ 3880 w 10785"/>
                <a:gd name="connsiteY1593" fmla="*/ 1889 h 10000"/>
                <a:gd name="connsiteX1594" fmla="*/ 3885 w 10785"/>
                <a:gd name="connsiteY1594" fmla="*/ 1889 h 10000"/>
                <a:gd name="connsiteX1595" fmla="*/ 3880 w 10785"/>
                <a:gd name="connsiteY1595" fmla="*/ 1897 h 10000"/>
                <a:gd name="connsiteX1596" fmla="*/ 3871 w 10785"/>
                <a:gd name="connsiteY1596" fmla="*/ 1915 h 10000"/>
                <a:gd name="connsiteX1597" fmla="*/ 3848 w 10785"/>
                <a:gd name="connsiteY1597" fmla="*/ 1923 h 10000"/>
                <a:gd name="connsiteX1598" fmla="*/ 3825 w 10785"/>
                <a:gd name="connsiteY1598" fmla="*/ 1940 h 10000"/>
                <a:gd name="connsiteX1599" fmla="*/ 3811 w 10785"/>
                <a:gd name="connsiteY1599" fmla="*/ 1940 h 10000"/>
                <a:gd name="connsiteX1600" fmla="*/ 3806 w 10785"/>
                <a:gd name="connsiteY1600" fmla="*/ 1949 h 10000"/>
                <a:gd name="connsiteX1601" fmla="*/ 3797 w 10785"/>
                <a:gd name="connsiteY1601" fmla="*/ 1966 h 10000"/>
                <a:gd name="connsiteX1602" fmla="*/ 3788 w 10785"/>
                <a:gd name="connsiteY1602" fmla="*/ 1991 h 10000"/>
                <a:gd name="connsiteX1603" fmla="*/ 3765 w 10785"/>
                <a:gd name="connsiteY1603" fmla="*/ 1974 h 10000"/>
                <a:gd name="connsiteX1604" fmla="*/ 3760 w 10785"/>
                <a:gd name="connsiteY1604" fmla="*/ 1966 h 10000"/>
                <a:gd name="connsiteX1605" fmla="*/ 3760 w 10785"/>
                <a:gd name="connsiteY1605" fmla="*/ 1966 h 10000"/>
                <a:gd name="connsiteX1606" fmla="*/ 3631 w 10785"/>
                <a:gd name="connsiteY1606" fmla="*/ 2009 h 10000"/>
                <a:gd name="connsiteX1607" fmla="*/ 3618 w 10785"/>
                <a:gd name="connsiteY1607" fmla="*/ 2000 h 10000"/>
                <a:gd name="connsiteX1608" fmla="*/ 3599 w 10785"/>
                <a:gd name="connsiteY1608" fmla="*/ 2009 h 10000"/>
                <a:gd name="connsiteX1609" fmla="*/ 3571 w 10785"/>
                <a:gd name="connsiteY1609" fmla="*/ 2000 h 10000"/>
                <a:gd name="connsiteX1610" fmla="*/ 3530 w 10785"/>
                <a:gd name="connsiteY1610" fmla="*/ 2026 h 10000"/>
                <a:gd name="connsiteX1611" fmla="*/ 3530 w 10785"/>
                <a:gd name="connsiteY1611" fmla="*/ 2034 h 10000"/>
                <a:gd name="connsiteX1612" fmla="*/ 3525 w 10785"/>
                <a:gd name="connsiteY1612" fmla="*/ 2051 h 10000"/>
                <a:gd name="connsiteX1613" fmla="*/ 3512 w 10785"/>
                <a:gd name="connsiteY1613" fmla="*/ 2034 h 10000"/>
                <a:gd name="connsiteX1614" fmla="*/ 3507 w 10785"/>
                <a:gd name="connsiteY1614" fmla="*/ 2034 h 10000"/>
                <a:gd name="connsiteX1615" fmla="*/ 3498 w 10785"/>
                <a:gd name="connsiteY1615" fmla="*/ 2051 h 10000"/>
                <a:gd name="connsiteX1616" fmla="*/ 3484 w 10785"/>
                <a:gd name="connsiteY1616" fmla="*/ 2060 h 10000"/>
                <a:gd name="connsiteX1617" fmla="*/ 3484 w 10785"/>
                <a:gd name="connsiteY1617" fmla="*/ 2085 h 10000"/>
                <a:gd name="connsiteX1618" fmla="*/ 3484 w 10785"/>
                <a:gd name="connsiteY1618" fmla="*/ 2103 h 10000"/>
                <a:gd name="connsiteX1619" fmla="*/ 3493 w 10785"/>
                <a:gd name="connsiteY1619" fmla="*/ 2103 h 10000"/>
                <a:gd name="connsiteX1620" fmla="*/ 3493 w 10785"/>
                <a:gd name="connsiteY1620" fmla="*/ 2085 h 10000"/>
                <a:gd name="connsiteX1621" fmla="*/ 3498 w 10785"/>
                <a:gd name="connsiteY1621" fmla="*/ 2085 h 10000"/>
                <a:gd name="connsiteX1622" fmla="*/ 3498 w 10785"/>
                <a:gd name="connsiteY1622" fmla="*/ 2111 h 10000"/>
                <a:gd name="connsiteX1623" fmla="*/ 3484 w 10785"/>
                <a:gd name="connsiteY1623" fmla="*/ 2120 h 10000"/>
                <a:gd name="connsiteX1624" fmla="*/ 3484 w 10785"/>
                <a:gd name="connsiteY1624" fmla="*/ 2145 h 10000"/>
                <a:gd name="connsiteX1625" fmla="*/ 3470 w 10785"/>
                <a:gd name="connsiteY1625" fmla="*/ 2137 h 10000"/>
                <a:gd name="connsiteX1626" fmla="*/ 3465 w 10785"/>
                <a:gd name="connsiteY1626" fmla="*/ 2145 h 10000"/>
                <a:gd name="connsiteX1627" fmla="*/ 3470 w 10785"/>
                <a:gd name="connsiteY1627" fmla="*/ 2171 h 10000"/>
                <a:gd name="connsiteX1628" fmla="*/ 3484 w 10785"/>
                <a:gd name="connsiteY1628" fmla="*/ 2171 h 10000"/>
                <a:gd name="connsiteX1629" fmla="*/ 3484 w 10785"/>
                <a:gd name="connsiteY1629" fmla="*/ 2197 h 10000"/>
                <a:gd name="connsiteX1630" fmla="*/ 3465 w 10785"/>
                <a:gd name="connsiteY1630" fmla="*/ 2214 h 10000"/>
                <a:gd name="connsiteX1631" fmla="*/ 3493 w 10785"/>
                <a:gd name="connsiteY1631" fmla="*/ 2248 h 10000"/>
                <a:gd name="connsiteX1632" fmla="*/ 3484 w 10785"/>
                <a:gd name="connsiteY1632" fmla="*/ 2256 h 10000"/>
                <a:gd name="connsiteX1633" fmla="*/ 3498 w 10785"/>
                <a:gd name="connsiteY1633" fmla="*/ 2274 h 10000"/>
                <a:gd name="connsiteX1634" fmla="*/ 3498 w 10785"/>
                <a:gd name="connsiteY1634" fmla="*/ 2256 h 10000"/>
                <a:gd name="connsiteX1635" fmla="*/ 3507 w 10785"/>
                <a:gd name="connsiteY1635" fmla="*/ 2308 h 10000"/>
                <a:gd name="connsiteX1636" fmla="*/ 3512 w 10785"/>
                <a:gd name="connsiteY1636" fmla="*/ 2325 h 10000"/>
                <a:gd name="connsiteX1637" fmla="*/ 3507 w 10785"/>
                <a:gd name="connsiteY1637" fmla="*/ 2333 h 10000"/>
                <a:gd name="connsiteX1638" fmla="*/ 3507 w 10785"/>
                <a:gd name="connsiteY1638" fmla="*/ 2359 h 10000"/>
                <a:gd name="connsiteX1639" fmla="*/ 3507 w 10785"/>
                <a:gd name="connsiteY1639" fmla="*/ 2376 h 10000"/>
                <a:gd name="connsiteX1640" fmla="*/ 3498 w 10785"/>
                <a:gd name="connsiteY1640" fmla="*/ 2410 h 10000"/>
                <a:gd name="connsiteX1641" fmla="*/ 3498 w 10785"/>
                <a:gd name="connsiteY1641" fmla="*/ 2436 h 10000"/>
                <a:gd name="connsiteX1642" fmla="*/ 3507 w 10785"/>
                <a:gd name="connsiteY1642" fmla="*/ 2462 h 10000"/>
                <a:gd name="connsiteX1643" fmla="*/ 3507 w 10785"/>
                <a:gd name="connsiteY1643" fmla="*/ 2496 h 10000"/>
                <a:gd name="connsiteX1644" fmla="*/ 3512 w 10785"/>
                <a:gd name="connsiteY1644" fmla="*/ 2521 h 10000"/>
                <a:gd name="connsiteX1645" fmla="*/ 3525 w 10785"/>
                <a:gd name="connsiteY1645" fmla="*/ 2556 h 10000"/>
                <a:gd name="connsiteX1646" fmla="*/ 3571 w 10785"/>
                <a:gd name="connsiteY1646" fmla="*/ 2573 h 10000"/>
                <a:gd name="connsiteX1647" fmla="*/ 3590 w 10785"/>
                <a:gd name="connsiteY1647" fmla="*/ 2598 h 10000"/>
                <a:gd name="connsiteX1648" fmla="*/ 3599 w 10785"/>
                <a:gd name="connsiteY1648" fmla="*/ 2598 h 10000"/>
                <a:gd name="connsiteX1649" fmla="*/ 3604 w 10785"/>
                <a:gd name="connsiteY1649" fmla="*/ 2632 h 10000"/>
                <a:gd name="connsiteX1650" fmla="*/ 3599 w 10785"/>
                <a:gd name="connsiteY1650" fmla="*/ 2658 h 10000"/>
                <a:gd name="connsiteX1651" fmla="*/ 3590 w 10785"/>
                <a:gd name="connsiteY1651" fmla="*/ 2667 h 10000"/>
                <a:gd name="connsiteX1652" fmla="*/ 3604 w 10785"/>
                <a:gd name="connsiteY1652" fmla="*/ 2667 h 10000"/>
                <a:gd name="connsiteX1653" fmla="*/ 3613 w 10785"/>
                <a:gd name="connsiteY1653" fmla="*/ 2692 h 10000"/>
                <a:gd name="connsiteX1654" fmla="*/ 3627 w 10785"/>
                <a:gd name="connsiteY1654" fmla="*/ 2735 h 10000"/>
                <a:gd name="connsiteX1655" fmla="*/ 3631 w 10785"/>
                <a:gd name="connsiteY1655" fmla="*/ 2744 h 10000"/>
                <a:gd name="connsiteX1656" fmla="*/ 3659 w 10785"/>
                <a:gd name="connsiteY1656" fmla="*/ 2761 h 10000"/>
                <a:gd name="connsiteX1657" fmla="*/ 3673 w 10785"/>
                <a:gd name="connsiteY1657" fmla="*/ 2769 h 10000"/>
                <a:gd name="connsiteX1658" fmla="*/ 3673 w 10785"/>
                <a:gd name="connsiteY1658" fmla="*/ 2761 h 10000"/>
                <a:gd name="connsiteX1659" fmla="*/ 3687 w 10785"/>
                <a:gd name="connsiteY1659" fmla="*/ 2829 h 10000"/>
                <a:gd name="connsiteX1660" fmla="*/ 3677 w 10785"/>
                <a:gd name="connsiteY1660" fmla="*/ 2897 h 10000"/>
                <a:gd name="connsiteX1661" fmla="*/ 3673 w 10785"/>
                <a:gd name="connsiteY1661" fmla="*/ 2915 h 10000"/>
                <a:gd name="connsiteX1662" fmla="*/ 3664 w 10785"/>
                <a:gd name="connsiteY1662" fmla="*/ 2957 h 10000"/>
                <a:gd name="connsiteX1663" fmla="*/ 3659 w 10785"/>
                <a:gd name="connsiteY1663" fmla="*/ 2983 h 10000"/>
                <a:gd name="connsiteX1664" fmla="*/ 3664 w 10785"/>
                <a:gd name="connsiteY1664" fmla="*/ 3017 h 10000"/>
                <a:gd name="connsiteX1665" fmla="*/ 3659 w 10785"/>
                <a:gd name="connsiteY1665" fmla="*/ 3043 h 10000"/>
                <a:gd name="connsiteX1666" fmla="*/ 3677 w 10785"/>
                <a:gd name="connsiteY1666" fmla="*/ 3094 h 10000"/>
                <a:gd name="connsiteX1667" fmla="*/ 3691 w 10785"/>
                <a:gd name="connsiteY1667" fmla="*/ 3282 h 10000"/>
                <a:gd name="connsiteX1668" fmla="*/ 3691 w 10785"/>
                <a:gd name="connsiteY1668" fmla="*/ 3308 h 10000"/>
                <a:gd name="connsiteX1669" fmla="*/ 3677 w 10785"/>
                <a:gd name="connsiteY1669" fmla="*/ 3342 h 10000"/>
                <a:gd name="connsiteX1670" fmla="*/ 3664 w 10785"/>
                <a:gd name="connsiteY1670" fmla="*/ 3342 h 10000"/>
                <a:gd name="connsiteX1671" fmla="*/ 3650 w 10785"/>
                <a:gd name="connsiteY1671" fmla="*/ 3342 h 10000"/>
                <a:gd name="connsiteX1672" fmla="*/ 3650 w 10785"/>
                <a:gd name="connsiteY1672" fmla="*/ 3350 h 10000"/>
                <a:gd name="connsiteX1673" fmla="*/ 3659 w 10785"/>
                <a:gd name="connsiteY1673" fmla="*/ 3402 h 10000"/>
                <a:gd name="connsiteX1674" fmla="*/ 3659 w 10785"/>
                <a:gd name="connsiteY1674" fmla="*/ 3419 h 10000"/>
                <a:gd name="connsiteX1675" fmla="*/ 3631 w 10785"/>
                <a:gd name="connsiteY1675" fmla="*/ 3402 h 10000"/>
                <a:gd name="connsiteX1676" fmla="*/ 3604 w 10785"/>
                <a:gd name="connsiteY1676" fmla="*/ 3393 h 10000"/>
                <a:gd name="connsiteX1677" fmla="*/ 3599 w 10785"/>
                <a:gd name="connsiteY1677" fmla="*/ 3368 h 10000"/>
                <a:gd name="connsiteX1678" fmla="*/ 3590 w 10785"/>
                <a:gd name="connsiteY1678" fmla="*/ 3239 h 10000"/>
                <a:gd name="connsiteX1679" fmla="*/ 3599 w 10785"/>
                <a:gd name="connsiteY1679" fmla="*/ 3179 h 10000"/>
                <a:gd name="connsiteX1680" fmla="*/ 3599 w 10785"/>
                <a:gd name="connsiteY1680" fmla="*/ 3171 h 10000"/>
                <a:gd name="connsiteX1681" fmla="*/ 3599 w 10785"/>
                <a:gd name="connsiteY1681" fmla="*/ 3009 h 10000"/>
                <a:gd name="connsiteX1682" fmla="*/ 3604 w 10785"/>
                <a:gd name="connsiteY1682" fmla="*/ 2983 h 10000"/>
                <a:gd name="connsiteX1683" fmla="*/ 3645 w 10785"/>
                <a:gd name="connsiteY1683" fmla="*/ 2932 h 10000"/>
                <a:gd name="connsiteX1684" fmla="*/ 3650 w 10785"/>
                <a:gd name="connsiteY1684" fmla="*/ 2872 h 10000"/>
                <a:gd name="connsiteX1685" fmla="*/ 3659 w 10785"/>
                <a:gd name="connsiteY1685" fmla="*/ 2855 h 10000"/>
                <a:gd name="connsiteX1686" fmla="*/ 3659 w 10785"/>
                <a:gd name="connsiteY1686" fmla="*/ 2821 h 10000"/>
                <a:gd name="connsiteX1687" fmla="*/ 3631 w 10785"/>
                <a:gd name="connsiteY1687" fmla="*/ 2795 h 10000"/>
                <a:gd name="connsiteX1688" fmla="*/ 3567 w 10785"/>
                <a:gd name="connsiteY1688" fmla="*/ 2821 h 10000"/>
                <a:gd name="connsiteX1689" fmla="*/ 3544 w 10785"/>
                <a:gd name="connsiteY1689" fmla="*/ 2795 h 10000"/>
                <a:gd name="connsiteX1690" fmla="*/ 3530 w 10785"/>
                <a:gd name="connsiteY1690" fmla="*/ 2769 h 10000"/>
                <a:gd name="connsiteX1691" fmla="*/ 3530 w 10785"/>
                <a:gd name="connsiteY1691" fmla="*/ 2786 h 10000"/>
                <a:gd name="connsiteX1692" fmla="*/ 3498 w 10785"/>
                <a:gd name="connsiteY1692" fmla="*/ 2692 h 10000"/>
                <a:gd name="connsiteX1693" fmla="*/ 3498 w 10785"/>
                <a:gd name="connsiteY1693" fmla="*/ 2667 h 10000"/>
                <a:gd name="connsiteX1694" fmla="*/ 3442 w 10785"/>
                <a:gd name="connsiteY1694" fmla="*/ 2607 h 10000"/>
                <a:gd name="connsiteX1695" fmla="*/ 3433 w 10785"/>
                <a:gd name="connsiteY1695" fmla="*/ 2581 h 10000"/>
                <a:gd name="connsiteX1696" fmla="*/ 3396 w 10785"/>
                <a:gd name="connsiteY1696" fmla="*/ 2556 h 10000"/>
                <a:gd name="connsiteX1697" fmla="*/ 3318 w 10785"/>
                <a:gd name="connsiteY1697" fmla="*/ 2556 h 10000"/>
                <a:gd name="connsiteX1698" fmla="*/ 3304 w 10785"/>
                <a:gd name="connsiteY1698" fmla="*/ 2607 h 10000"/>
                <a:gd name="connsiteX1699" fmla="*/ 3276 w 10785"/>
                <a:gd name="connsiteY1699" fmla="*/ 2632 h 10000"/>
                <a:gd name="connsiteX1700" fmla="*/ 3272 w 10785"/>
                <a:gd name="connsiteY1700" fmla="*/ 2667 h 10000"/>
                <a:gd name="connsiteX1701" fmla="*/ 3304 w 10785"/>
                <a:gd name="connsiteY1701" fmla="*/ 2667 h 10000"/>
                <a:gd name="connsiteX1702" fmla="*/ 3323 w 10785"/>
                <a:gd name="connsiteY1702" fmla="*/ 2692 h 10000"/>
                <a:gd name="connsiteX1703" fmla="*/ 3318 w 10785"/>
                <a:gd name="connsiteY1703" fmla="*/ 2735 h 10000"/>
                <a:gd name="connsiteX1704" fmla="*/ 3304 w 10785"/>
                <a:gd name="connsiteY1704" fmla="*/ 2761 h 10000"/>
                <a:gd name="connsiteX1705" fmla="*/ 3276 w 10785"/>
                <a:gd name="connsiteY1705" fmla="*/ 2769 h 10000"/>
                <a:gd name="connsiteX1706" fmla="*/ 3263 w 10785"/>
                <a:gd name="connsiteY1706" fmla="*/ 2795 h 10000"/>
                <a:gd name="connsiteX1707" fmla="*/ 3235 w 10785"/>
                <a:gd name="connsiteY1707" fmla="*/ 2803 h 10000"/>
                <a:gd name="connsiteX1708" fmla="*/ 3235 w 10785"/>
                <a:gd name="connsiteY1708" fmla="*/ 2786 h 10000"/>
                <a:gd name="connsiteX1709" fmla="*/ 3212 w 10785"/>
                <a:gd name="connsiteY1709" fmla="*/ 2709 h 10000"/>
                <a:gd name="connsiteX1710" fmla="*/ 3198 w 10785"/>
                <a:gd name="connsiteY1710" fmla="*/ 2709 h 10000"/>
                <a:gd name="connsiteX1711" fmla="*/ 3184 w 10785"/>
                <a:gd name="connsiteY1711" fmla="*/ 2735 h 10000"/>
                <a:gd name="connsiteX1712" fmla="*/ 3189 w 10785"/>
                <a:gd name="connsiteY1712" fmla="*/ 2761 h 10000"/>
                <a:gd name="connsiteX1713" fmla="*/ 3203 w 10785"/>
                <a:gd name="connsiteY1713" fmla="*/ 2855 h 10000"/>
                <a:gd name="connsiteX1714" fmla="*/ 3212 w 10785"/>
                <a:gd name="connsiteY1714" fmla="*/ 2872 h 10000"/>
                <a:gd name="connsiteX1715" fmla="*/ 3235 w 10785"/>
                <a:gd name="connsiteY1715" fmla="*/ 2906 h 10000"/>
                <a:gd name="connsiteX1716" fmla="*/ 3258 w 10785"/>
                <a:gd name="connsiteY1716" fmla="*/ 2915 h 10000"/>
                <a:gd name="connsiteX1717" fmla="*/ 3272 w 10785"/>
                <a:gd name="connsiteY1717" fmla="*/ 2957 h 10000"/>
                <a:gd name="connsiteX1718" fmla="*/ 3276 w 10785"/>
                <a:gd name="connsiteY1718" fmla="*/ 2957 h 10000"/>
                <a:gd name="connsiteX1719" fmla="*/ 3286 w 10785"/>
                <a:gd name="connsiteY1719" fmla="*/ 2966 h 10000"/>
                <a:gd name="connsiteX1720" fmla="*/ 3300 w 10785"/>
                <a:gd name="connsiteY1720" fmla="*/ 2957 h 10000"/>
                <a:gd name="connsiteX1721" fmla="*/ 3309 w 10785"/>
                <a:gd name="connsiteY1721" fmla="*/ 2932 h 10000"/>
                <a:gd name="connsiteX1722" fmla="*/ 3304 w 10785"/>
                <a:gd name="connsiteY1722" fmla="*/ 2966 h 10000"/>
                <a:gd name="connsiteX1723" fmla="*/ 3309 w 10785"/>
                <a:gd name="connsiteY1723" fmla="*/ 2983 h 10000"/>
                <a:gd name="connsiteX1724" fmla="*/ 3323 w 10785"/>
                <a:gd name="connsiteY1724" fmla="*/ 2966 h 10000"/>
                <a:gd name="connsiteX1725" fmla="*/ 3323 w 10785"/>
                <a:gd name="connsiteY1725" fmla="*/ 3043 h 10000"/>
                <a:gd name="connsiteX1726" fmla="*/ 3346 w 10785"/>
                <a:gd name="connsiteY1726" fmla="*/ 3068 h 10000"/>
                <a:gd name="connsiteX1727" fmla="*/ 3346 w 10785"/>
                <a:gd name="connsiteY1727" fmla="*/ 3094 h 10000"/>
                <a:gd name="connsiteX1728" fmla="*/ 3323 w 10785"/>
                <a:gd name="connsiteY1728" fmla="*/ 3094 h 10000"/>
                <a:gd name="connsiteX1729" fmla="*/ 3309 w 10785"/>
                <a:gd name="connsiteY1729" fmla="*/ 3077 h 10000"/>
                <a:gd name="connsiteX1730" fmla="*/ 3304 w 10785"/>
                <a:gd name="connsiteY1730" fmla="*/ 3051 h 10000"/>
                <a:gd name="connsiteX1731" fmla="*/ 3300 w 10785"/>
                <a:gd name="connsiteY1731" fmla="*/ 3043 h 10000"/>
                <a:gd name="connsiteX1732" fmla="*/ 3286 w 10785"/>
                <a:gd name="connsiteY1732" fmla="*/ 3017 h 10000"/>
                <a:gd name="connsiteX1733" fmla="*/ 3152 w 10785"/>
                <a:gd name="connsiteY1733" fmla="*/ 2966 h 10000"/>
                <a:gd name="connsiteX1734" fmla="*/ 3129 w 10785"/>
                <a:gd name="connsiteY1734" fmla="*/ 2915 h 10000"/>
                <a:gd name="connsiteX1735" fmla="*/ 3129 w 10785"/>
                <a:gd name="connsiteY1735" fmla="*/ 2906 h 10000"/>
                <a:gd name="connsiteX1736" fmla="*/ 3152 w 10785"/>
                <a:gd name="connsiteY1736" fmla="*/ 2906 h 10000"/>
                <a:gd name="connsiteX1737" fmla="*/ 3152 w 10785"/>
                <a:gd name="connsiteY1737" fmla="*/ 2846 h 10000"/>
                <a:gd name="connsiteX1738" fmla="*/ 3138 w 10785"/>
                <a:gd name="connsiteY1738" fmla="*/ 2795 h 10000"/>
                <a:gd name="connsiteX1739" fmla="*/ 3138 w 10785"/>
                <a:gd name="connsiteY1739" fmla="*/ 2769 h 10000"/>
                <a:gd name="connsiteX1740" fmla="*/ 3143 w 10785"/>
                <a:gd name="connsiteY1740" fmla="*/ 2718 h 10000"/>
                <a:gd name="connsiteX1741" fmla="*/ 3129 w 10785"/>
                <a:gd name="connsiteY1741" fmla="*/ 2692 h 10000"/>
                <a:gd name="connsiteX1742" fmla="*/ 3143 w 10785"/>
                <a:gd name="connsiteY1742" fmla="*/ 2667 h 10000"/>
                <a:gd name="connsiteX1743" fmla="*/ 3157 w 10785"/>
                <a:gd name="connsiteY1743" fmla="*/ 2581 h 10000"/>
                <a:gd name="connsiteX1744" fmla="*/ 3143 w 10785"/>
                <a:gd name="connsiteY1744" fmla="*/ 2496 h 10000"/>
                <a:gd name="connsiteX1745" fmla="*/ 3157 w 10785"/>
                <a:gd name="connsiteY1745" fmla="*/ 2487 h 10000"/>
                <a:gd name="connsiteX1746" fmla="*/ 3143 w 10785"/>
                <a:gd name="connsiteY1746" fmla="*/ 2444 h 10000"/>
                <a:gd name="connsiteX1747" fmla="*/ 3143 w 10785"/>
                <a:gd name="connsiteY1747" fmla="*/ 2419 h 10000"/>
                <a:gd name="connsiteX1748" fmla="*/ 3143 w 10785"/>
                <a:gd name="connsiteY1748" fmla="*/ 2410 h 10000"/>
                <a:gd name="connsiteX1749" fmla="*/ 3124 w 10785"/>
                <a:gd name="connsiteY1749" fmla="*/ 2376 h 10000"/>
                <a:gd name="connsiteX1750" fmla="*/ 3115 w 10785"/>
                <a:gd name="connsiteY1750" fmla="*/ 2350 h 10000"/>
                <a:gd name="connsiteX1751" fmla="*/ 3101 w 10785"/>
                <a:gd name="connsiteY1751" fmla="*/ 2359 h 10000"/>
                <a:gd name="connsiteX1752" fmla="*/ 3115 w 10785"/>
                <a:gd name="connsiteY1752" fmla="*/ 2581 h 10000"/>
                <a:gd name="connsiteX1753" fmla="*/ 3111 w 10785"/>
                <a:gd name="connsiteY1753" fmla="*/ 2624 h 10000"/>
                <a:gd name="connsiteX1754" fmla="*/ 3009 w 10785"/>
                <a:gd name="connsiteY1754" fmla="*/ 2761 h 10000"/>
                <a:gd name="connsiteX1755" fmla="*/ 3009 w 10785"/>
                <a:gd name="connsiteY1755" fmla="*/ 2803 h 10000"/>
                <a:gd name="connsiteX1756" fmla="*/ 3005 w 10785"/>
                <a:gd name="connsiteY1756" fmla="*/ 2829 h 10000"/>
                <a:gd name="connsiteX1757" fmla="*/ 2982 w 10785"/>
                <a:gd name="connsiteY1757" fmla="*/ 2872 h 10000"/>
                <a:gd name="connsiteX1758" fmla="*/ 2982 w 10785"/>
                <a:gd name="connsiteY1758" fmla="*/ 2880 h 10000"/>
                <a:gd name="connsiteX1759" fmla="*/ 3037 w 10785"/>
                <a:gd name="connsiteY1759" fmla="*/ 3034 h 10000"/>
                <a:gd name="connsiteX1760" fmla="*/ 3041 w 10785"/>
                <a:gd name="connsiteY1760" fmla="*/ 3103 h 10000"/>
                <a:gd name="connsiteX1761" fmla="*/ 3069 w 10785"/>
                <a:gd name="connsiteY1761" fmla="*/ 3188 h 10000"/>
                <a:gd name="connsiteX1762" fmla="*/ 3055 w 10785"/>
                <a:gd name="connsiteY1762" fmla="*/ 3325 h 10000"/>
                <a:gd name="connsiteX1763" fmla="*/ 3037 w 10785"/>
                <a:gd name="connsiteY1763" fmla="*/ 3368 h 10000"/>
                <a:gd name="connsiteX1764" fmla="*/ 3037 w 10785"/>
                <a:gd name="connsiteY1764" fmla="*/ 3444 h 10000"/>
                <a:gd name="connsiteX1765" fmla="*/ 3028 w 10785"/>
                <a:gd name="connsiteY1765" fmla="*/ 3453 h 10000"/>
                <a:gd name="connsiteX1766" fmla="*/ 3023 w 10785"/>
                <a:gd name="connsiteY1766" fmla="*/ 3530 h 10000"/>
                <a:gd name="connsiteX1767" fmla="*/ 3051 w 10785"/>
                <a:gd name="connsiteY1767" fmla="*/ 3624 h 10000"/>
                <a:gd name="connsiteX1768" fmla="*/ 3037 w 10785"/>
                <a:gd name="connsiteY1768" fmla="*/ 3718 h 10000"/>
                <a:gd name="connsiteX1769" fmla="*/ 3041 w 10785"/>
                <a:gd name="connsiteY1769" fmla="*/ 3752 h 10000"/>
                <a:gd name="connsiteX1770" fmla="*/ 3055 w 10785"/>
                <a:gd name="connsiteY1770" fmla="*/ 3761 h 10000"/>
                <a:gd name="connsiteX1771" fmla="*/ 3078 w 10785"/>
                <a:gd name="connsiteY1771" fmla="*/ 3752 h 10000"/>
                <a:gd name="connsiteX1772" fmla="*/ 3092 w 10785"/>
                <a:gd name="connsiteY1772" fmla="*/ 3752 h 10000"/>
                <a:gd name="connsiteX1773" fmla="*/ 3129 w 10785"/>
                <a:gd name="connsiteY1773" fmla="*/ 3761 h 10000"/>
                <a:gd name="connsiteX1774" fmla="*/ 3129 w 10785"/>
                <a:gd name="connsiteY1774" fmla="*/ 3735 h 10000"/>
                <a:gd name="connsiteX1775" fmla="*/ 3157 w 10785"/>
                <a:gd name="connsiteY1775" fmla="*/ 3718 h 10000"/>
                <a:gd name="connsiteX1776" fmla="*/ 3184 w 10785"/>
                <a:gd name="connsiteY1776" fmla="*/ 3718 h 10000"/>
                <a:gd name="connsiteX1777" fmla="*/ 3290 w 10785"/>
                <a:gd name="connsiteY1777" fmla="*/ 3838 h 10000"/>
                <a:gd name="connsiteX1778" fmla="*/ 3300 w 10785"/>
                <a:gd name="connsiteY1778" fmla="*/ 3846 h 10000"/>
                <a:gd name="connsiteX1779" fmla="*/ 3300 w 10785"/>
                <a:gd name="connsiteY1779" fmla="*/ 3915 h 10000"/>
                <a:gd name="connsiteX1780" fmla="*/ 3318 w 10785"/>
                <a:gd name="connsiteY1780" fmla="*/ 4000 h 10000"/>
                <a:gd name="connsiteX1781" fmla="*/ 3323 w 10785"/>
                <a:gd name="connsiteY1781" fmla="*/ 4000 h 10000"/>
                <a:gd name="connsiteX1782" fmla="*/ 3323 w 10785"/>
                <a:gd name="connsiteY1782" fmla="*/ 4034 h 10000"/>
                <a:gd name="connsiteX1783" fmla="*/ 3318 w 10785"/>
                <a:gd name="connsiteY1783" fmla="*/ 4051 h 10000"/>
                <a:gd name="connsiteX1784" fmla="*/ 3300 w 10785"/>
                <a:gd name="connsiteY1784" fmla="*/ 4051 h 10000"/>
                <a:gd name="connsiteX1785" fmla="*/ 3290 w 10785"/>
                <a:gd name="connsiteY1785" fmla="*/ 4077 h 10000"/>
                <a:gd name="connsiteX1786" fmla="*/ 3286 w 10785"/>
                <a:gd name="connsiteY1786" fmla="*/ 4103 h 10000"/>
                <a:gd name="connsiteX1787" fmla="*/ 3286 w 10785"/>
                <a:gd name="connsiteY1787" fmla="*/ 4197 h 10000"/>
                <a:gd name="connsiteX1788" fmla="*/ 3290 w 10785"/>
                <a:gd name="connsiteY1788" fmla="*/ 4214 h 10000"/>
                <a:gd name="connsiteX1789" fmla="*/ 3304 w 10785"/>
                <a:gd name="connsiteY1789" fmla="*/ 4214 h 10000"/>
                <a:gd name="connsiteX1790" fmla="*/ 3323 w 10785"/>
                <a:gd name="connsiteY1790" fmla="*/ 4239 h 10000"/>
                <a:gd name="connsiteX1791" fmla="*/ 3350 w 10785"/>
                <a:gd name="connsiteY1791" fmla="*/ 4222 h 10000"/>
                <a:gd name="connsiteX1792" fmla="*/ 3369 w 10785"/>
                <a:gd name="connsiteY1792" fmla="*/ 4256 h 10000"/>
                <a:gd name="connsiteX1793" fmla="*/ 3369 w 10785"/>
                <a:gd name="connsiteY1793" fmla="*/ 4256 h 10000"/>
                <a:gd name="connsiteX1794" fmla="*/ 3336 w 10785"/>
                <a:gd name="connsiteY1794" fmla="*/ 4274 h 10000"/>
                <a:gd name="connsiteX1795" fmla="*/ 3323 w 10785"/>
                <a:gd name="connsiteY1795" fmla="*/ 4274 h 10000"/>
                <a:gd name="connsiteX1796" fmla="*/ 3290 w 10785"/>
                <a:gd name="connsiteY1796" fmla="*/ 4274 h 10000"/>
                <a:gd name="connsiteX1797" fmla="*/ 3286 w 10785"/>
                <a:gd name="connsiteY1797" fmla="*/ 4239 h 10000"/>
                <a:gd name="connsiteX1798" fmla="*/ 3263 w 10785"/>
                <a:gd name="connsiteY1798" fmla="*/ 4214 h 10000"/>
                <a:gd name="connsiteX1799" fmla="*/ 3258 w 10785"/>
                <a:gd name="connsiteY1799" fmla="*/ 4188 h 10000"/>
                <a:gd name="connsiteX1800" fmla="*/ 3263 w 10785"/>
                <a:gd name="connsiteY1800" fmla="*/ 4171 h 10000"/>
                <a:gd name="connsiteX1801" fmla="*/ 3263 w 10785"/>
                <a:gd name="connsiteY1801" fmla="*/ 4103 h 10000"/>
                <a:gd name="connsiteX1802" fmla="*/ 3276 w 10785"/>
                <a:gd name="connsiteY1802" fmla="*/ 4060 h 10000"/>
                <a:gd name="connsiteX1803" fmla="*/ 3272 w 10785"/>
                <a:gd name="connsiteY1803" fmla="*/ 4051 h 10000"/>
                <a:gd name="connsiteX1804" fmla="*/ 3263 w 10785"/>
                <a:gd name="connsiteY1804" fmla="*/ 4051 h 10000"/>
                <a:gd name="connsiteX1805" fmla="*/ 3263 w 10785"/>
                <a:gd name="connsiteY1805" fmla="*/ 4034 h 10000"/>
                <a:gd name="connsiteX1806" fmla="*/ 3263 w 10785"/>
                <a:gd name="connsiteY1806" fmla="*/ 4000 h 10000"/>
                <a:gd name="connsiteX1807" fmla="*/ 3272 w 10785"/>
                <a:gd name="connsiteY1807" fmla="*/ 4000 h 10000"/>
                <a:gd name="connsiteX1808" fmla="*/ 3272 w 10785"/>
                <a:gd name="connsiteY1808" fmla="*/ 3974 h 10000"/>
                <a:gd name="connsiteX1809" fmla="*/ 3272 w 10785"/>
                <a:gd name="connsiteY1809" fmla="*/ 3966 h 10000"/>
                <a:gd name="connsiteX1810" fmla="*/ 3272 w 10785"/>
                <a:gd name="connsiteY1810" fmla="*/ 3949 h 10000"/>
                <a:gd name="connsiteX1811" fmla="*/ 3258 w 10785"/>
                <a:gd name="connsiteY1811" fmla="*/ 3923 h 10000"/>
                <a:gd name="connsiteX1812" fmla="*/ 3249 w 10785"/>
                <a:gd name="connsiteY1812" fmla="*/ 3915 h 10000"/>
                <a:gd name="connsiteX1813" fmla="*/ 3244 w 10785"/>
                <a:gd name="connsiteY1813" fmla="*/ 3897 h 10000"/>
                <a:gd name="connsiteX1814" fmla="*/ 3230 w 10785"/>
                <a:gd name="connsiteY1814" fmla="*/ 3889 h 10000"/>
                <a:gd name="connsiteX1815" fmla="*/ 3230 w 10785"/>
                <a:gd name="connsiteY1815" fmla="*/ 3863 h 10000"/>
                <a:gd name="connsiteX1816" fmla="*/ 3230 w 10785"/>
                <a:gd name="connsiteY1816" fmla="*/ 3838 h 10000"/>
                <a:gd name="connsiteX1817" fmla="*/ 3226 w 10785"/>
                <a:gd name="connsiteY1817" fmla="*/ 3803 h 10000"/>
                <a:gd name="connsiteX1818" fmla="*/ 3138 w 10785"/>
                <a:gd name="connsiteY1818" fmla="*/ 3838 h 10000"/>
                <a:gd name="connsiteX1819" fmla="*/ 3078 w 10785"/>
                <a:gd name="connsiteY1819" fmla="*/ 3889 h 10000"/>
                <a:gd name="connsiteX1820" fmla="*/ 3078 w 10785"/>
                <a:gd name="connsiteY1820" fmla="*/ 3940 h 10000"/>
                <a:gd name="connsiteX1821" fmla="*/ 3069 w 10785"/>
                <a:gd name="connsiteY1821" fmla="*/ 3983 h 10000"/>
                <a:gd name="connsiteX1822" fmla="*/ 3069 w 10785"/>
                <a:gd name="connsiteY1822" fmla="*/ 4009 h 10000"/>
                <a:gd name="connsiteX1823" fmla="*/ 3078 w 10785"/>
                <a:gd name="connsiteY1823" fmla="*/ 4026 h 10000"/>
                <a:gd name="connsiteX1824" fmla="*/ 3083 w 10785"/>
                <a:gd name="connsiteY1824" fmla="*/ 4034 h 10000"/>
                <a:gd name="connsiteX1825" fmla="*/ 3092 w 10785"/>
                <a:gd name="connsiteY1825" fmla="*/ 4060 h 10000"/>
                <a:gd name="connsiteX1826" fmla="*/ 3092 w 10785"/>
                <a:gd name="connsiteY1826" fmla="*/ 4077 h 10000"/>
                <a:gd name="connsiteX1827" fmla="*/ 3097 w 10785"/>
                <a:gd name="connsiteY1827" fmla="*/ 4103 h 10000"/>
                <a:gd name="connsiteX1828" fmla="*/ 3101 w 10785"/>
                <a:gd name="connsiteY1828" fmla="*/ 4162 h 10000"/>
                <a:gd name="connsiteX1829" fmla="*/ 3097 w 10785"/>
                <a:gd name="connsiteY1829" fmla="*/ 4222 h 10000"/>
                <a:gd name="connsiteX1830" fmla="*/ 3041 w 10785"/>
                <a:gd name="connsiteY1830" fmla="*/ 4325 h 10000"/>
                <a:gd name="connsiteX1831" fmla="*/ 3037 w 10785"/>
                <a:gd name="connsiteY1831" fmla="*/ 4419 h 10000"/>
                <a:gd name="connsiteX1832" fmla="*/ 3018 w 10785"/>
                <a:gd name="connsiteY1832" fmla="*/ 4470 h 10000"/>
                <a:gd name="connsiteX1833" fmla="*/ 2991 w 10785"/>
                <a:gd name="connsiteY1833" fmla="*/ 4513 h 10000"/>
                <a:gd name="connsiteX1834" fmla="*/ 2977 w 10785"/>
                <a:gd name="connsiteY1834" fmla="*/ 4530 h 10000"/>
                <a:gd name="connsiteX1835" fmla="*/ 2945 w 10785"/>
                <a:gd name="connsiteY1835" fmla="*/ 4556 h 10000"/>
                <a:gd name="connsiteX1836" fmla="*/ 2935 w 10785"/>
                <a:gd name="connsiteY1836" fmla="*/ 4581 h 10000"/>
                <a:gd name="connsiteX1837" fmla="*/ 2949 w 10785"/>
                <a:gd name="connsiteY1837" fmla="*/ 4624 h 10000"/>
                <a:gd name="connsiteX1838" fmla="*/ 2945 w 10785"/>
                <a:gd name="connsiteY1838" fmla="*/ 4658 h 10000"/>
                <a:gd name="connsiteX1839" fmla="*/ 2922 w 10785"/>
                <a:gd name="connsiteY1839" fmla="*/ 4667 h 10000"/>
                <a:gd name="connsiteX1840" fmla="*/ 2876 w 10785"/>
                <a:gd name="connsiteY1840" fmla="*/ 4632 h 10000"/>
                <a:gd name="connsiteX1841" fmla="*/ 2857 w 10785"/>
                <a:gd name="connsiteY1841" fmla="*/ 4632 h 10000"/>
                <a:gd name="connsiteX1842" fmla="*/ 2820 w 10785"/>
                <a:gd name="connsiteY1842" fmla="*/ 4641 h 10000"/>
                <a:gd name="connsiteX1843" fmla="*/ 2797 w 10785"/>
                <a:gd name="connsiteY1843" fmla="*/ 4632 h 10000"/>
                <a:gd name="connsiteX1844" fmla="*/ 2788 w 10785"/>
                <a:gd name="connsiteY1844" fmla="*/ 4624 h 10000"/>
                <a:gd name="connsiteX1845" fmla="*/ 2788 w 10785"/>
                <a:gd name="connsiteY1845" fmla="*/ 4598 h 10000"/>
                <a:gd name="connsiteX1846" fmla="*/ 2797 w 10785"/>
                <a:gd name="connsiteY1846" fmla="*/ 4581 h 10000"/>
                <a:gd name="connsiteX1847" fmla="*/ 2788 w 10785"/>
                <a:gd name="connsiteY1847" fmla="*/ 4530 h 10000"/>
                <a:gd name="connsiteX1848" fmla="*/ 2774 w 10785"/>
                <a:gd name="connsiteY1848" fmla="*/ 4530 h 10000"/>
                <a:gd name="connsiteX1849" fmla="*/ 2770 w 10785"/>
                <a:gd name="connsiteY1849" fmla="*/ 4513 h 10000"/>
                <a:gd name="connsiteX1850" fmla="*/ 2774 w 10785"/>
                <a:gd name="connsiteY1850" fmla="*/ 4513 h 10000"/>
                <a:gd name="connsiteX1851" fmla="*/ 2788 w 10785"/>
                <a:gd name="connsiteY1851" fmla="*/ 4496 h 10000"/>
                <a:gd name="connsiteX1852" fmla="*/ 2802 w 10785"/>
                <a:gd name="connsiteY1852" fmla="*/ 4513 h 10000"/>
                <a:gd name="connsiteX1853" fmla="*/ 2811 w 10785"/>
                <a:gd name="connsiteY1853" fmla="*/ 4530 h 10000"/>
                <a:gd name="connsiteX1854" fmla="*/ 2820 w 10785"/>
                <a:gd name="connsiteY1854" fmla="*/ 4521 h 10000"/>
                <a:gd name="connsiteX1855" fmla="*/ 2829 w 10785"/>
                <a:gd name="connsiteY1855" fmla="*/ 4513 h 10000"/>
                <a:gd name="connsiteX1856" fmla="*/ 2843 w 10785"/>
                <a:gd name="connsiteY1856" fmla="*/ 4513 h 10000"/>
                <a:gd name="connsiteX1857" fmla="*/ 2848 w 10785"/>
                <a:gd name="connsiteY1857" fmla="*/ 4470 h 10000"/>
                <a:gd name="connsiteX1858" fmla="*/ 2862 w 10785"/>
                <a:gd name="connsiteY1858" fmla="*/ 4487 h 10000"/>
                <a:gd name="connsiteX1859" fmla="*/ 2876 w 10785"/>
                <a:gd name="connsiteY1859" fmla="*/ 4470 h 10000"/>
                <a:gd name="connsiteX1860" fmla="*/ 2880 w 10785"/>
                <a:gd name="connsiteY1860" fmla="*/ 4462 h 10000"/>
                <a:gd name="connsiteX1861" fmla="*/ 2889 w 10785"/>
                <a:gd name="connsiteY1861" fmla="*/ 4444 h 10000"/>
                <a:gd name="connsiteX1862" fmla="*/ 2894 w 10785"/>
                <a:gd name="connsiteY1862" fmla="*/ 4462 h 10000"/>
                <a:gd name="connsiteX1863" fmla="*/ 2917 w 10785"/>
                <a:gd name="connsiteY1863" fmla="*/ 4444 h 10000"/>
                <a:gd name="connsiteX1864" fmla="*/ 2922 w 10785"/>
                <a:gd name="connsiteY1864" fmla="*/ 4436 h 10000"/>
                <a:gd name="connsiteX1865" fmla="*/ 2917 w 10785"/>
                <a:gd name="connsiteY1865" fmla="*/ 4410 h 10000"/>
                <a:gd name="connsiteX1866" fmla="*/ 2894 w 10785"/>
                <a:gd name="connsiteY1866" fmla="*/ 4410 h 10000"/>
                <a:gd name="connsiteX1867" fmla="*/ 2889 w 10785"/>
                <a:gd name="connsiteY1867" fmla="*/ 4419 h 10000"/>
                <a:gd name="connsiteX1868" fmla="*/ 2876 w 10785"/>
                <a:gd name="connsiteY1868" fmla="*/ 4410 h 10000"/>
                <a:gd name="connsiteX1869" fmla="*/ 2880 w 10785"/>
                <a:gd name="connsiteY1869" fmla="*/ 4376 h 10000"/>
                <a:gd name="connsiteX1870" fmla="*/ 2903 w 10785"/>
                <a:gd name="connsiteY1870" fmla="*/ 4393 h 10000"/>
                <a:gd name="connsiteX1871" fmla="*/ 2931 w 10785"/>
                <a:gd name="connsiteY1871" fmla="*/ 4393 h 10000"/>
                <a:gd name="connsiteX1872" fmla="*/ 2931 w 10785"/>
                <a:gd name="connsiteY1872" fmla="*/ 4385 h 10000"/>
                <a:gd name="connsiteX1873" fmla="*/ 2931 w 10785"/>
                <a:gd name="connsiteY1873" fmla="*/ 4350 h 10000"/>
                <a:gd name="connsiteX1874" fmla="*/ 2945 w 10785"/>
                <a:gd name="connsiteY1874" fmla="*/ 4350 h 10000"/>
                <a:gd name="connsiteX1875" fmla="*/ 2949 w 10785"/>
                <a:gd name="connsiteY1875" fmla="*/ 4325 h 10000"/>
                <a:gd name="connsiteX1876" fmla="*/ 2963 w 10785"/>
                <a:gd name="connsiteY1876" fmla="*/ 4256 h 10000"/>
                <a:gd name="connsiteX1877" fmla="*/ 2982 w 10785"/>
                <a:gd name="connsiteY1877" fmla="*/ 4239 h 10000"/>
                <a:gd name="connsiteX1878" fmla="*/ 2991 w 10785"/>
                <a:gd name="connsiteY1878" fmla="*/ 4214 h 10000"/>
                <a:gd name="connsiteX1879" fmla="*/ 2991 w 10785"/>
                <a:gd name="connsiteY1879" fmla="*/ 4197 h 10000"/>
                <a:gd name="connsiteX1880" fmla="*/ 2995 w 10785"/>
                <a:gd name="connsiteY1880" fmla="*/ 4171 h 10000"/>
                <a:gd name="connsiteX1881" fmla="*/ 2991 w 10785"/>
                <a:gd name="connsiteY1881" fmla="*/ 4077 h 10000"/>
                <a:gd name="connsiteX1882" fmla="*/ 2995 w 10785"/>
                <a:gd name="connsiteY1882" fmla="*/ 4034 h 10000"/>
                <a:gd name="connsiteX1883" fmla="*/ 3018 w 10785"/>
                <a:gd name="connsiteY1883" fmla="*/ 3983 h 10000"/>
                <a:gd name="connsiteX1884" fmla="*/ 3018 w 10785"/>
                <a:gd name="connsiteY1884" fmla="*/ 3915 h 10000"/>
                <a:gd name="connsiteX1885" fmla="*/ 2949 w 10785"/>
                <a:gd name="connsiteY1885" fmla="*/ 3778 h 10000"/>
                <a:gd name="connsiteX1886" fmla="*/ 2954 w 10785"/>
                <a:gd name="connsiteY1886" fmla="*/ 3675 h 10000"/>
                <a:gd name="connsiteX1887" fmla="*/ 2954 w 10785"/>
                <a:gd name="connsiteY1887" fmla="*/ 3650 h 10000"/>
                <a:gd name="connsiteX1888" fmla="*/ 2963 w 10785"/>
                <a:gd name="connsiteY1888" fmla="*/ 3624 h 10000"/>
                <a:gd name="connsiteX1889" fmla="*/ 2954 w 10785"/>
                <a:gd name="connsiteY1889" fmla="*/ 3564 h 10000"/>
                <a:gd name="connsiteX1890" fmla="*/ 2963 w 10785"/>
                <a:gd name="connsiteY1890" fmla="*/ 3538 h 10000"/>
                <a:gd name="connsiteX1891" fmla="*/ 2963 w 10785"/>
                <a:gd name="connsiteY1891" fmla="*/ 3487 h 10000"/>
                <a:gd name="connsiteX1892" fmla="*/ 2963 w 10785"/>
                <a:gd name="connsiteY1892" fmla="*/ 3479 h 10000"/>
                <a:gd name="connsiteX1893" fmla="*/ 2963 w 10785"/>
                <a:gd name="connsiteY1893" fmla="*/ 3462 h 10000"/>
                <a:gd name="connsiteX1894" fmla="*/ 2954 w 10785"/>
                <a:gd name="connsiteY1894" fmla="*/ 3453 h 10000"/>
                <a:gd name="connsiteX1895" fmla="*/ 2954 w 10785"/>
                <a:gd name="connsiteY1895" fmla="*/ 3444 h 10000"/>
                <a:gd name="connsiteX1896" fmla="*/ 2954 w 10785"/>
                <a:gd name="connsiteY1896" fmla="*/ 3402 h 10000"/>
                <a:gd name="connsiteX1897" fmla="*/ 2954 w 10785"/>
                <a:gd name="connsiteY1897" fmla="*/ 3393 h 10000"/>
                <a:gd name="connsiteX1898" fmla="*/ 2949 w 10785"/>
                <a:gd name="connsiteY1898" fmla="*/ 3376 h 10000"/>
                <a:gd name="connsiteX1899" fmla="*/ 2949 w 10785"/>
                <a:gd name="connsiteY1899" fmla="*/ 3342 h 10000"/>
                <a:gd name="connsiteX1900" fmla="*/ 2949 w 10785"/>
                <a:gd name="connsiteY1900" fmla="*/ 3316 h 10000"/>
                <a:gd name="connsiteX1901" fmla="*/ 2968 w 10785"/>
                <a:gd name="connsiteY1901" fmla="*/ 3291 h 10000"/>
                <a:gd name="connsiteX1902" fmla="*/ 2963 w 10785"/>
                <a:gd name="connsiteY1902" fmla="*/ 3205 h 10000"/>
                <a:gd name="connsiteX1903" fmla="*/ 2968 w 10785"/>
                <a:gd name="connsiteY1903" fmla="*/ 3171 h 10000"/>
                <a:gd name="connsiteX1904" fmla="*/ 2968 w 10785"/>
                <a:gd name="connsiteY1904" fmla="*/ 3128 h 10000"/>
                <a:gd name="connsiteX1905" fmla="*/ 2954 w 10785"/>
                <a:gd name="connsiteY1905" fmla="*/ 3051 h 10000"/>
                <a:gd name="connsiteX1906" fmla="*/ 2954 w 10785"/>
                <a:gd name="connsiteY1906" fmla="*/ 3009 h 10000"/>
                <a:gd name="connsiteX1907" fmla="*/ 2922 w 10785"/>
                <a:gd name="connsiteY1907" fmla="*/ 2940 h 10000"/>
                <a:gd name="connsiteX1908" fmla="*/ 2903 w 10785"/>
                <a:gd name="connsiteY1908" fmla="*/ 2880 h 10000"/>
                <a:gd name="connsiteX1909" fmla="*/ 2903 w 10785"/>
                <a:gd name="connsiteY1909" fmla="*/ 2855 h 10000"/>
                <a:gd name="connsiteX1910" fmla="*/ 2908 w 10785"/>
                <a:gd name="connsiteY1910" fmla="*/ 2846 h 10000"/>
                <a:gd name="connsiteX1911" fmla="*/ 2931 w 10785"/>
                <a:gd name="connsiteY1911" fmla="*/ 2821 h 10000"/>
                <a:gd name="connsiteX1912" fmla="*/ 2931 w 10785"/>
                <a:gd name="connsiteY1912" fmla="*/ 2803 h 10000"/>
                <a:gd name="connsiteX1913" fmla="*/ 2935 w 10785"/>
                <a:gd name="connsiteY1913" fmla="*/ 2786 h 10000"/>
                <a:gd name="connsiteX1914" fmla="*/ 2935 w 10785"/>
                <a:gd name="connsiteY1914" fmla="*/ 2744 h 10000"/>
                <a:gd name="connsiteX1915" fmla="*/ 2963 w 10785"/>
                <a:gd name="connsiteY1915" fmla="*/ 2607 h 10000"/>
                <a:gd name="connsiteX1916" fmla="*/ 2963 w 10785"/>
                <a:gd name="connsiteY1916" fmla="*/ 2419 h 10000"/>
                <a:gd name="connsiteX1917" fmla="*/ 2954 w 10785"/>
                <a:gd name="connsiteY1917" fmla="*/ 2410 h 10000"/>
                <a:gd name="connsiteX1918" fmla="*/ 2963 w 10785"/>
                <a:gd name="connsiteY1918" fmla="*/ 2393 h 10000"/>
                <a:gd name="connsiteX1919" fmla="*/ 2908 w 10785"/>
                <a:gd name="connsiteY1919" fmla="*/ 2359 h 10000"/>
                <a:gd name="connsiteX1920" fmla="*/ 2889 w 10785"/>
                <a:gd name="connsiteY1920" fmla="*/ 2325 h 10000"/>
                <a:gd name="connsiteX1921" fmla="*/ 2788 w 10785"/>
                <a:gd name="connsiteY1921" fmla="*/ 2333 h 10000"/>
                <a:gd name="connsiteX1922" fmla="*/ 2774 w 10785"/>
                <a:gd name="connsiteY1922" fmla="*/ 2325 h 10000"/>
                <a:gd name="connsiteX1923" fmla="*/ 2783 w 10785"/>
                <a:gd name="connsiteY1923" fmla="*/ 2308 h 10000"/>
                <a:gd name="connsiteX1924" fmla="*/ 2747 w 10785"/>
                <a:gd name="connsiteY1924" fmla="*/ 2308 h 10000"/>
                <a:gd name="connsiteX1925" fmla="*/ 2742 w 10785"/>
                <a:gd name="connsiteY1925" fmla="*/ 2333 h 10000"/>
                <a:gd name="connsiteX1926" fmla="*/ 2682 w 10785"/>
                <a:gd name="connsiteY1926" fmla="*/ 2769 h 10000"/>
                <a:gd name="connsiteX1927" fmla="*/ 2613 w 10785"/>
                <a:gd name="connsiteY1927" fmla="*/ 2940 h 10000"/>
                <a:gd name="connsiteX1928" fmla="*/ 2581 w 10785"/>
                <a:gd name="connsiteY1928" fmla="*/ 2966 h 10000"/>
                <a:gd name="connsiteX1929" fmla="*/ 2576 w 10785"/>
                <a:gd name="connsiteY1929" fmla="*/ 3051 h 10000"/>
                <a:gd name="connsiteX1930" fmla="*/ 2581 w 10785"/>
                <a:gd name="connsiteY1930" fmla="*/ 3051 h 10000"/>
                <a:gd name="connsiteX1931" fmla="*/ 2594 w 10785"/>
                <a:gd name="connsiteY1931" fmla="*/ 3017 h 10000"/>
                <a:gd name="connsiteX1932" fmla="*/ 2594 w 10785"/>
                <a:gd name="connsiteY1932" fmla="*/ 3034 h 10000"/>
                <a:gd name="connsiteX1933" fmla="*/ 2594 w 10785"/>
                <a:gd name="connsiteY1933" fmla="*/ 3051 h 10000"/>
                <a:gd name="connsiteX1934" fmla="*/ 2590 w 10785"/>
                <a:gd name="connsiteY1934" fmla="*/ 3077 h 10000"/>
                <a:gd name="connsiteX1935" fmla="*/ 2567 w 10785"/>
                <a:gd name="connsiteY1935" fmla="*/ 3103 h 10000"/>
                <a:gd name="connsiteX1936" fmla="*/ 2562 w 10785"/>
                <a:gd name="connsiteY1936" fmla="*/ 3145 h 10000"/>
                <a:gd name="connsiteX1937" fmla="*/ 2567 w 10785"/>
                <a:gd name="connsiteY1937" fmla="*/ 3179 h 10000"/>
                <a:gd name="connsiteX1938" fmla="*/ 2590 w 10785"/>
                <a:gd name="connsiteY1938" fmla="*/ 3171 h 10000"/>
                <a:gd name="connsiteX1939" fmla="*/ 2594 w 10785"/>
                <a:gd name="connsiteY1939" fmla="*/ 3145 h 10000"/>
                <a:gd name="connsiteX1940" fmla="*/ 2613 w 10785"/>
                <a:gd name="connsiteY1940" fmla="*/ 3154 h 10000"/>
                <a:gd name="connsiteX1941" fmla="*/ 2622 w 10785"/>
                <a:gd name="connsiteY1941" fmla="*/ 3179 h 10000"/>
                <a:gd name="connsiteX1942" fmla="*/ 2613 w 10785"/>
                <a:gd name="connsiteY1942" fmla="*/ 3214 h 10000"/>
                <a:gd name="connsiteX1943" fmla="*/ 2613 w 10785"/>
                <a:gd name="connsiteY1943" fmla="*/ 3308 h 10000"/>
                <a:gd name="connsiteX1944" fmla="*/ 2608 w 10785"/>
                <a:gd name="connsiteY1944" fmla="*/ 3325 h 10000"/>
                <a:gd name="connsiteX1945" fmla="*/ 2608 w 10785"/>
                <a:gd name="connsiteY1945" fmla="*/ 3376 h 10000"/>
                <a:gd name="connsiteX1946" fmla="*/ 2613 w 10785"/>
                <a:gd name="connsiteY1946" fmla="*/ 3419 h 10000"/>
                <a:gd name="connsiteX1947" fmla="*/ 2608 w 10785"/>
                <a:gd name="connsiteY1947" fmla="*/ 3444 h 10000"/>
                <a:gd name="connsiteX1948" fmla="*/ 2594 w 10785"/>
                <a:gd name="connsiteY1948" fmla="*/ 3444 h 10000"/>
                <a:gd name="connsiteX1949" fmla="*/ 2590 w 10785"/>
                <a:gd name="connsiteY1949" fmla="*/ 3427 h 10000"/>
                <a:gd name="connsiteX1950" fmla="*/ 2581 w 10785"/>
                <a:gd name="connsiteY1950" fmla="*/ 3564 h 10000"/>
                <a:gd name="connsiteX1951" fmla="*/ 2594 w 10785"/>
                <a:gd name="connsiteY1951" fmla="*/ 3598 h 10000"/>
                <a:gd name="connsiteX1952" fmla="*/ 2594 w 10785"/>
                <a:gd name="connsiteY1952" fmla="*/ 3581 h 10000"/>
                <a:gd name="connsiteX1953" fmla="*/ 2608 w 10785"/>
                <a:gd name="connsiteY1953" fmla="*/ 3556 h 10000"/>
                <a:gd name="connsiteX1954" fmla="*/ 2650 w 10785"/>
                <a:gd name="connsiteY1954" fmla="*/ 3615 h 10000"/>
                <a:gd name="connsiteX1955" fmla="*/ 2664 w 10785"/>
                <a:gd name="connsiteY1955" fmla="*/ 3615 h 10000"/>
                <a:gd name="connsiteX1956" fmla="*/ 2668 w 10785"/>
                <a:gd name="connsiteY1956" fmla="*/ 3615 h 10000"/>
                <a:gd name="connsiteX1957" fmla="*/ 2664 w 10785"/>
                <a:gd name="connsiteY1957" fmla="*/ 3667 h 10000"/>
                <a:gd name="connsiteX1958" fmla="*/ 2687 w 10785"/>
                <a:gd name="connsiteY1958" fmla="*/ 3786 h 10000"/>
                <a:gd name="connsiteX1959" fmla="*/ 2710 w 10785"/>
                <a:gd name="connsiteY1959" fmla="*/ 3812 h 10000"/>
                <a:gd name="connsiteX1960" fmla="*/ 2724 w 10785"/>
                <a:gd name="connsiteY1960" fmla="*/ 3812 h 10000"/>
                <a:gd name="connsiteX1961" fmla="*/ 2724 w 10785"/>
                <a:gd name="connsiteY1961" fmla="*/ 3829 h 10000"/>
                <a:gd name="connsiteX1962" fmla="*/ 2737 w 10785"/>
                <a:gd name="connsiteY1962" fmla="*/ 3838 h 10000"/>
                <a:gd name="connsiteX1963" fmla="*/ 2714 w 10785"/>
                <a:gd name="connsiteY1963" fmla="*/ 3872 h 10000"/>
                <a:gd name="connsiteX1964" fmla="*/ 2696 w 10785"/>
                <a:gd name="connsiteY1964" fmla="*/ 4026 h 10000"/>
                <a:gd name="connsiteX1965" fmla="*/ 2673 w 10785"/>
                <a:gd name="connsiteY1965" fmla="*/ 4051 h 10000"/>
                <a:gd name="connsiteX1966" fmla="*/ 2668 w 10785"/>
                <a:gd name="connsiteY1966" fmla="*/ 4034 h 10000"/>
                <a:gd name="connsiteX1967" fmla="*/ 2673 w 10785"/>
                <a:gd name="connsiteY1967" fmla="*/ 4000 h 10000"/>
                <a:gd name="connsiteX1968" fmla="*/ 2664 w 10785"/>
                <a:gd name="connsiteY1968" fmla="*/ 3974 h 10000"/>
                <a:gd name="connsiteX1969" fmla="*/ 2636 w 10785"/>
                <a:gd name="connsiteY1969" fmla="*/ 3949 h 10000"/>
                <a:gd name="connsiteX1970" fmla="*/ 2581 w 10785"/>
                <a:gd name="connsiteY1970" fmla="*/ 3838 h 10000"/>
                <a:gd name="connsiteX1971" fmla="*/ 2562 w 10785"/>
                <a:gd name="connsiteY1971" fmla="*/ 3829 h 10000"/>
                <a:gd name="connsiteX1972" fmla="*/ 2535 w 10785"/>
                <a:gd name="connsiteY1972" fmla="*/ 3778 h 10000"/>
                <a:gd name="connsiteX1973" fmla="*/ 2502 w 10785"/>
                <a:gd name="connsiteY1973" fmla="*/ 3761 h 10000"/>
                <a:gd name="connsiteX1974" fmla="*/ 2502 w 10785"/>
                <a:gd name="connsiteY1974" fmla="*/ 3735 h 10000"/>
                <a:gd name="connsiteX1975" fmla="*/ 2516 w 10785"/>
                <a:gd name="connsiteY1975" fmla="*/ 3735 h 10000"/>
                <a:gd name="connsiteX1976" fmla="*/ 2507 w 10785"/>
                <a:gd name="connsiteY1976" fmla="*/ 3726 h 10000"/>
                <a:gd name="connsiteX1977" fmla="*/ 2488 w 10785"/>
                <a:gd name="connsiteY1977" fmla="*/ 3726 h 10000"/>
                <a:gd name="connsiteX1978" fmla="*/ 2461 w 10785"/>
                <a:gd name="connsiteY1978" fmla="*/ 3692 h 10000"/>
                <a:gd name="connsiteX1979" fmla="*/ 2442 w 10785"/>
                <a:gd name="connsiteY1979" fmla="*/ 3675 h 10000"/>
                <a:gd name="connsiteX1980" fmla="*/ 2406 w 10785"/>
                <a:gd name="connsiteY1980" fmla="*/ 3598 h 10000"/>
                <a:gd name="connsiteX1981" fmla="*/ 2346 w 10785"/>
                <a:gd name="connsiteY1981" fmla="*/ 3564 h 10000"/>
                <a:gd name="connsiteX1982" fmla="*/ 2341 w 10785"/>
                <a:gd name="connsiteY1982" fmla="*/ 3564 h 10000"/>
                <a:gd name="connsiteX1983" fmla="*/ 2313 w 10785"/>
                <a:gd name="connsiteY1983" fmla="*/ 3530 h 10000"/>
                <a:gd name="connsiteX1984" fmla="*/ 2235 w 10785"/>
                <a:gd name="connsiteY1984" fmla="*/ 3530 h 10000"/>
                <a:gd name="connsiteX1985" fmla="*/ 2226 w 10785"/>
                <a:gd name="connsiteY1985" fmla="*/ 3513 h 10000"/>
                <a:gd name="connsiteX1986" fmla="*/ 2207 w 10785"/>
                <a:gd name="connsiteY1986" fmla="*/ 3504 h 10000"/>
                <a:gd name="connsiteX1987" fmla="*/ 2194 w 10785"/>
                <a:gd name="connsiteY1987" fmla="*/ 3504 h 10000"/>
                <a:gd name="connsiteX1988" fmla="*/ 2189 w 10785"/>
                <a:gd name="connsiteY1988" fmla="*/ 3504 h 10000"/>
                <a:gd name="connsiteX1989" fmla="*/ 2189 w 10785"/>
                <a:gd name="connsiteY1989" fmla="*/ 3530 h 10000"/>
                <a:gd name="connsiteX1990" fmla="*/ 2180 w 10785"/>
                <a:gd name="connsiteY1990" fmla="*/ 3538 h 10000"/>
                <a:gd name="connsiteX1991" fmla="*/ 2152 w 10785"/>
                <a:gd name="connsiteY1991" fmla="*/ 3581 h 10000"/>
                <a:gd name="connsiteX1992" fmla="*/ 2161 w 10785"/>
                <a:gd name="connsiteY1992" fmla="*/ 3598 h 10000"/>
                <a:gd name="connsiteX1993" fmla="*/ 2194 w 10785"/>
                <a:gd name="connsiteY1993" fmla="*/ 3752 h 10000"/>
                <a:gd name="connsiteX1994" fmla="*/ 2194 w 10785"/>
                <a:gd name="connsiteY1994" fmla="*/ 3735 h 10000"/>
                <a:gd name="connsiteX1995" fmla="*/ 2198 w 10785"/>
                <a:gd name="connsiteY1995" fmla="*/ 3735 h 10000"/>
                <a:gd name="connsiteX1996" fmla="*/ 2189 w 10785"/>
                <a:gd name="connsiteY1996" fmla="*/ 3838 h 10000"/>
                <a:gd name="connsiteX1997" fmla="*/ 2166 w 10785"/>
                <a:gd name="connsiteY1997" fmla="*/ 3889 h 10000"/>
                <a:gd name="connsiteX1998" fmla="*/ 2124 w 10785"/>
                <a:gd name="connsiteY1998" fmla="*/ 3889 h 10000"/>
                <a:gd name="connsiteX1999" fmla="*/ 2124 w 10785"/>
                <a:gd name="connsiteY1999" fmla="*/ 3923 h 10000"/>
                <a:gd name="connsiteX2000" fmla="*/ 2134 w 10785"/>
                <a:gd name="connsiteY2000" fmla="*/ 3940 h 10000"/>
                <a:gd name="connsiteX2001" fmla="*/ 2134 w 10785"/>
                <a:gd name="connsiteY2001" fmla="*/ 3966 h 10000"/>
                <a:gd name="connsiteX2002" fmla="*/ 2120 w 10785"/>
                <a:gd name="connsiteY2002" fmla="*/ 4000 h 10000"/>
                <a:gd name="connsiteX2003" fmla="*/ 2106 w 10785"/>
                <a:gd name="connsiteY2003" fmla="*/ 4009 h 10000"/>
                <a:gd name="connsiteX2004" fmla="*/ 2088 w 10785"/>
                <a:gd name="connsiteY2004" fmla="*/ 4000 h 10000"/>
                <a:gd name="connsiteX2005" fmla="*/ 2074 w 10785"/>
                <a:gd name="connsiteY2005" fmla="*/ 3974 h 10000"/>
                <a:gd name="connsiteX2006" fmla="*/ 2074 w 10785"/>
                <a:gd name="connsiteY2006" fmla="*/ 3940 h 10000"/>
                <a:gd name="connsiteX2007" fmla="*/ 2078 w 10785"/>
                <a:gd name="connsiteY2007" fmla="*/ 3915 h 10000"/>
                <a:gd name="connsiteX2008" fmla="*/ 2088 w 10785"/>
                <a:gd name="connsiteY2008" fmla="*/ 3889 h 10000"/>
                <a:gd name="connsiteX2009" fmla="*/ 2101 w 10785"/>
                <a:gd name="connsiteY2009" fmla="*/ 3872 h 10000"/>
                <a:gd name="connsiteX2010" fmla="*/ 2074 w 10785"/>
                <a:gd name="connsiteY2010" fmla="*/ 3812 h 10000"/>
                <a:gd name="connsiteX2011" fmla="*/ 2074 w 10785"/>
                <a:gd name="connsiteY2011" fmla="*/ 3786 h 10000"/>
                <a:gd name="connsiteX2012" fmla="*/ 2060 w 10785"/>
                <a:gd name="connsiteY2012" fmla="*/ 3786 h 10000"/>
                <a:gd name="connsiteX2013" fmla="*/ 2014 w 10785"/>
                <a:gd name="connsiteY2013" fmla="*/ 3829 h 10000"/>
                <a:gd name="connsiteX2014" fmla="*/ 2000 w 10785"/>
                <a:gd name="connsiteY2014" fmla="*/ 3863 h 10000"/>
                <a:gd name="connsiteX2015" fmla="*/ 1986 w 10785"/>
                <a:gd name="connsiteY2015" fmla="*/ 3872 h 10000"/>
                <a:gd name="connsiteX2016" fmla="*/ 1959 w 10785"/>
                <a:gd name="connsiteY2016" fmla="*/ 3940 h 10000"/>
                <a:gd name="connsiteX2017" fmla="*/ 1945 w 10785"/>
                <a:gd name="connsiteY2017" fmla="*/ 3949 h 10000"/>
                <a:gd name="connsiteX2018" fmla="*/ 1940 w 10785"/>
                <a:gd name="connsiteY2018" fmla="*/ 3923 h 10000"/>
                <a:gd name="connsiteX2019" fmla="*/ 1917 w 10785"/>
                <a:gd name="connsiteY2019" fmla="*/ 3915 h 10000"/>
                <a:gd name="connsiteX2020" fmla="*/ 1899 w 10785"/>
                <a:gd name="connsiteY2020" fmla="*/ 3923 h 10000"/>
                <a:gd name="connsiteX2021" fmla="*/ 1880 w 10785"/>
                <a:gd name="connsiteY2021" fmla="*/ 3915 h 10000"/>
                <a:gd name="connsiteX2022" fmla="*/ 1853 w 10785"/>
                <a:gd name="connsiteY2022" fmla="*/ 3940 h 10000"/>
                <a:gd name="connsiteX2023" fmla="*/ 1839 w 10785"/>
                <a:gd name="connsiteY2023" fmla="*/ 3940 h 10000"/>
                <a:gd name="connsiteX2024" fmla="*/ 1806 w 10785"/>
                <a:gd name="connsiteY2024" fmla="*/ 3983 h 10000"/>
                <a:gd name="connsiteX2025" fmla="*/ 1806 w 10785"/>
                <a:gd name="connsiteY2025" fmla="*/ 4000 h 10000"/>
                <a:gd name="connsiteX2026" fmla="*/ 1797 w 10785"/>
                <a:gd name="connsiteY2026" fmla="*/ 4077 h 10000"/>
                <a:gd name="connsiteX2027" fmla="*/ 1783 w 10785"/>
                <a:gd name="connsiteY2027" fmla="*/ 4077 h 10000"/>
                <a:gd name="connsiteX2028" fmla="*/ 1779 w 10785"/>
                <a:gd name="connsiteY2028" fmla="*/ 4051 h 10000"/>
                <a:gd name="connsiteX2029" fmla="*/ 1765 w 10785"/>
                <a:gd name="connsiteY2029" fmla="*/ 4026 h 10000"/>
                <a:gd name="connsiteX2030" fmla="*/ 1751 w 10785"/>
                <a:gd name="connsiteY2030" fmla="*/ 4051 h 10000"/>
                <a:gd name="connsiteX2031" fmla="*/ 1737 w 10785"/>
                <a:gd name="connsiteY2031" fmla="*/ 4009 h 10000"/>
                <a:gd name="connsiteX2032" fmla="*/ 1737 w 10785"/>
                <a:gd name="connsiteY2032" fmla="*/ 3966 h 10000"/>
                <a:gd name="connsiteX2033" fmla="*/ 1733 w 10785"/>
                <a:gd name="connsiteY2033" fmla="*/ 3940 h 10000"/>
                <a:gd name="connsiteX2034" fmla="*/ 1733 w 10785"/>
                <a:gd name="connsiteY2034" fmla="*/ 3923 h 10000"/>
                <a:gd name="connsiteX2035" fmla="*/ 1747 w 10785"/>
                <a:gd name="connsiteY2035" fmla="*/ 3889 h 10000"/>
                <a:gd name="connsiteX2036" fmla="*/ 1747 w 10785"/>
                <a:gd name="connsiteY2036" fmla="*/ 3863 h 10000"/>
                <a:gd name="connsiteX2037" fmla="*/ 1737 w 10785"/>
                <a:gd name="connsiteY2037" fmla="*/ 3838 h 10000"/>
                <a:gd name="connsiteX2038" fmla="*/ 1733 w 10785"/>
                <a:gd name="connsiteY2038" fmla="*/ 3829 h 10000"/>
                <a:gd name="connsiteX2039" fmla="*/ 1733 w 10785"/>
                <a:gd name="connsiteY2039" fmla="*/ 3846 h 10000"/>
                <a:gd name="connsiteX2040" fmla="*/ 1724 w 10785"/>
                <a:gd name="connsiteY2040" fmla="*/ 3846 h 10000"/>
                <a:gd name="connsiteX2041" fmla="*/ 1724 w 10785"/>
                <a:gd name="connsiteY2041" fmla="*/ 3829 h 10000"/>
                <a:gd name="connsiteX2042" fmla="*/ 1737 w 10785"/>
                <a:gd name="connsiteY2042" fmla="*/ 3812 h 10000"/>
                <a:gd name="connsiteX2043" fmla="*/ 1765 w 10785"/>
                <a:gd name="connsiteY2043" fmla="*/ 3812 h 10000"/>
                <a:gd name="connsiteX2044" fmla="*/ 1779 w 10785"/>
                <a:gd name="connsiteY2044" fmla="*/ 3786 h 10000"/>
                <a:gd name="connsiteX2045" fmla="*/ 1779 w 10785"/>
                <a:gd name="connsiteY2045" fmla="*/ 3786 h 10000"/>
                <a:gd name="connsiteX2046" fmla="*/ 1751 w 10785"/>
                <a:gd name="connsiteY2046" fmla="*/ 3803 h 10000"/>
                <a:gd name="connsiteX2047" fmla="*/ 1747 w 10785"/>
                <a:gd name="connsiteY2047" fmla="*/ 3803 h 10000"/>
                <a:gd name="connsiteX2048" fmla="*/ 1724 w 10785"/>
                <a:gd name="connsiteY2048" fmla="*/ 3803 h 10000"/>
                <a:gd name="connsiteX2049" fmla="*/ 1700 w 10785"/>
                <a:gd name="connsiteY2049" fmla="*/ 3829 h 10000"/>
                <a:gd name="connsiteX2050" fmla="*/ 1705 w 10785"/>
                <a:gd name="connsiteY2050" fmla="*/ 3846 h 10000"/>
                <a:gd name="connsiteX2051" fmla="*/ 1691 w 10785"/>
                <a:gd name="connsiteY2051" fmla="*/ 3846 h 10000"/>
                <a:gd name="connsiteX2052" fmla="*/ 1691 w 10785"/>
                <a:gd name="connsiteY2052" fmla="*/ 3863 h 10000"/>
                <a:gd name="connsiteX2053" fmla="*/ 1691 w 10785"/>
                <a:gd name="connsiteY2053" fmla="*/ 3915 h 10000"/>
                <a:gd name="connsiteX2054" fmla="*/ 1677 w 10785"/>
                <a:gd name="connsiteY2054" fmla="*/ 3923 h 10000"/>
                <a:gd name="connsiteX2055" fmla="*/ 1673 w 10785"/>
                <a:gd name="connsiteY2055" fmla="*/ 3915 h 10000"/>
                <a:gd name="connsiteX2056" fmla="*/ 1664 w 10785"/>
                <a:gd name="connsiteY2056" fmla="*/ 3889 h 10000"/>
                <a:gd name="connsiteX2057" fmla="*/ 1673 w 10785"/>
                <a:gd name="connsiteY2057" fmla="*/ 3872 h 10000"/>
                <a:gd name="connsiteX2058" fmla="*/ 1664 w 10785"/>
                <a:gd name="connsiteY2058" fmla="*/ 3872 h 10000"/>
                <a:gd name="connsiteX2059" fmla="*/ 1636 w 10785"/>
                <a:gd name="connsiteY2059" fmla="*/ 3923 h 10000"/>
                <a:gd name="connsiteX2060" fmla="*/ 1645 w 10785"/>
                <a:gd name="connsiteY2060" fmla="*/ 3923 h 10000"/>
                <a:gd name="connsiteX2061" fmla="*/ 1650 w 10785"/>
                <a:gd name="connsiteY2061" fmla="*/ 3949 h 10000"/>
                <a:gd name="connsiteX2062" fmla="*/ 1650 w 10785"/>
                <a:gd name="connsiteY2062" fmla="*/ 3983 h 10000"/>
                <a:gd name="connsiteX2063" fmla="*/ 1636 w 10785"/>
                <a:gd name="connsiteY2063" fmla="*/ 4000 h 10000"/>
                <a:gd name="connsiteX2064" fmla="*/ 1631 w 10785"/>
                <a:gd name="connsiteY2064" fmla="*/ 4009 h 10000"/>
                <a:gd name="connsiteX2065" fmla="*/ 1618 w 10785"/>
                <a:gd name="connsiteY2065" fmla="*/ 3949 h 10000"/>
                <a:gd name="connsiteX2066" fmla="*/ 1585 w 10785"/>
                <a:gd name="connsiteY2066" fmla="*/ 3966 h 10000"/>
                <a:gd name="connsiteX2067" fmla="*/ 1590 w 10785"/>
                <a:gd name="connsiteY2067" fmla="*/ 3974 h 10000"/>
                <a:gd name="connsiteX2068" fmla="*/ 1544 w 10785"/>
                <a:gd name="connsiteY2068" fmla="*/ 4009 h 10000"/>
                <a:gd name="connsiteX2069" fmla="*/ 1539 w 10785"/>
                <a:gd name="connsiteY2069" fmla="*/ 4009 h 10000"/>
                <a:gd name="connsiteX2070" fmla="*/ 1410 w 10785"/>
                <a:gd name="connsiteY2070" fmla="*/ 4188 h 10000"/>
                <a:gd name="connsiteX2071" fmla="*/ 1406 w 10785"/>
                <a:gd name="connsiteY2071" fmla="*/ 4171 h 10000"/>
                <a:gd name="connsiteX2072" fmla="*/ 1396 w 10785"/>
                <a:gd name="connsiteY2072" fmla="*/ 4214 h 10000"/>
                <a:gd name="connsiteX2073" fmla="*/ 1406 w 10785"/>
                <a:gd name="connsiteY2073" fmla="*/ 4222 h 10000"/>
                <a:gd name="connsiteX2074" fmla="*/ 1392 w 10785"/>
                <a:gd name="connsiteY2074" fmla="*/ 4239 h 10000"/>
                <a:gd name="connsiteX2075" fmla="*/ 1369 w 10785"/>
                <a:gd name="connsiteY2075" fmla="*/ 4248 h 10000"/>
                <a:gd name="connsiteX2076" fmla="*/ 1355 w 10785"/>
                <a:gd name="connsiteY2076" fmla="*/ 4256 h 10000"/>
                <a:gd name="connsiteX2077" fmla="*/ 1350 w 10785"/>
                <a:gd name="connsiteY2077" fmla="*/ 4248 h 10000"/>
                <a:gd name="connsiteX2078" fmla="*/ 1332 w 10785"/>
                <a:gd name="connsiteY2078" fmla="*/ 4376 h 10000"/>
                <a:gd name="connsiteX2079" fmla="*/ 1332 w 10785"/>
                <a:gd name="connsiteY2079" fmla="*/ 4436 h 10000"/>
                <a:gd name="connsiteX2080" fmla="*/ 1323 w 10785"/>
                <a:gd name="connsiteY2080" fmla="*/ 4462 h 10000"/>
                <a:gd name="connsiteX2081" fmla="*/ 1304 w 10785"/>
                <a:gd name="connsiteY2081" fmla="*/ 4487 h 10000"/>
                <a:gd name="connsiteX2082" fmla="*/ 1290 w 10785"/>
                <a:gd name="connsiteY2082" fmla="*/ 4470 h 10000"/>
                <a:gd name="connsiteX2083" fmla="*/ 1263 w 10785"/>
                <a:gd name="connsiteY2083" fmla="*/ 4496 h 10000"/>
                <a:gd name="connsiteX2084" fmla="*/ 1258 w 10785"/>
                <a:gd name="connsiteY2084" fmla="*/ 4547 h 10000"/>
                <a:gd name="connsiteX2085" fmla="*/ 1249 w 10785"/>
                <a:gd name="connsiteY2085" fmla="*/ 4487 h 10000"/>
                <a:gd name="connsiteX2086" fmla="*/ 1235 w 10785"/>
                <a:gd name="connsiteY2086" fmla="*/ 4496 h 10000"/>
                <a:gd name="connsiteX2087" fmla="*/ 1221 w 10785"/>
                <a:gd name="connsiteY2087" fmla="*/ 4496 h 10000"/>
                <a:gd name="connsiteX2088" fmla="*/ 1217 w 10785"/>
                <a:gd name="connsiteY2088" fmla="*/ 4487 h 10000"/>
                <a:gd name="connsiteX2089" fmla="*/ 1198 w 10785"/>
                <a:gd name="connsiteY2089" fmla="*/ 4410 h 10000"/>
                <a:gd name="connsiteX2090" fmla="*/ 1157 w 10785"/>
                <a:gd name="connsiteY2090" fmla="*/ 4333 h 10000"/>
                <a:gd name="connsiteX2091" fmla="*/ 1147 w 10785"/>
                <a:gd name="connsiteY2091" fmla="*/ 4299 h 10000"/>
                <a:gd name="connsiteX2092" fmla="*/ 1147 w 10785"/>
                <a:gd name="connsiteY2092" fmla="*/ 4274 h 10000"/>
                <a:gd name="connsiteX2093" fmla="*/ 1161 w 10785"/>
                <a:gd name="connsiteY2093" fmla="*/ 4256 h 10000"/>
                <a:gd name="connsiteX2094" fmla="*/ 1171 w 10785"/>
                <a:gd name="connsiteY2094" fmla="*/ 4248 h 10000"/>
                <a:gd name="connsiteX2095" fmla="*/ 1175 w 10785"/>
                <a:gd name="connsiteY2095" fmla="*/ 4214 h 10000"/>
                <a:gd name="connsiteX2096" fmla="*/ 1263 w 10785"/>
                <a:gd name="connsiteY2096" fmla="*/ 4171 h 10000"/>
                <a:gd name="connsiteX2097" fmla="*/ 1249 w 10785"/>
                <a:gd name="connsiteY2097" fmla="*/ 4137 h 10000"/>
                <a:gd name="connsiteX2098" fmla="*/ 1244 w 10785"/>
                <a:gd name="connsiteY2098" fmla="*/ 4060 h 10000"/>
                <a:gd name="connsiteX2099" fmla="*/ 1230 w 10785"/>
                <a:gd name="connsiteY2099" fmla="*/ 4077 h 10000"/>
                <a:gd name="connsiteX2100" fmla="*/ 1221 w 10785"/>
                <a:gd name="connsiteY2100" fmla="*/ 4026 h 10000"/>
                <a:gd name="connsiteX2101" fmla="*/ 1217 w 10785"/>
                <a:gd name="connsiteY2101" fmla="*/ 4026 h 10000"/>
                <a:gd name="connsiteX2102" fmla="*/ 1212 w 10785"/>
                <a:gd name="connsiteY2102" fmla="*/ 3983 h 10000"/>
                <a:gd name="connsiteX2103" fmla="*/ 1203 w 10785"/>
                <a:gd name="connsiteY2103" fmla="*/ 3966 h 10000"/>
                <a:gd name="connsiteX2104" fmla="*/ 1171 w 10785"/>
                <a:gd name="connsiteY2104" fmla="*/ 3949 h 10000"/>
                <a:gd name="connsiteX2105" fmla="*/ 1111 w 10785"/>
                <a:gd name="connsiteY2105" fmla="*/ 3940 h 10000"/>
                <a:gd name="connsiteX2106" fmla="*/ 1097 w 10785"/>
                <a:gd name="connsiteY2106" fmla="*/ 3949 h 10000"/>
                <a:gd name="connsiteX2107" fmla="*/ 1037 w 10785"/>
                <a:gd name="connsiteY2107" fmla="*/ 3897 h 10000"/>
                <a:gd name="connsiteX2108" fmla="*/ 1041 w 10785"/>
                <a:gd name="connsiteY2108" fmla="*/ 3923 h 10000"/>
                <a:gd name="connsiteX2109" fmla="*/ 1097 w 10785"/>
                <a:gd name="connsiteY2109" fmla="*/ 4009 h 10000"/>
                <a:gd name="connsiteX2110" fmla="*/ 1097 w 10785"/>
                <a:gd name="connsiteY2110" fmla="*/ 4120 h 10000"/>
                <a:gd name="connsiteX2111" fmla="*/ 1097 w 10785"/>
                <a:gd name="connsiteY2111" fmla="*/ 4162 h 10000"/>
                <a:gd name="connsiteX2112" fmla="*/ 1097 w 10785"/>
                <a:gd name="connsiteY2112" fmla="*/ 4197 h 10000"/>
                <a:gd name="connsiteX2113" fmla="*/ 1074 w 10785"/>
                <a:gd name="connsiteY2113" fmla="*/ 4333 h 10000"/>
                <a:gd name="connsiteX2114" fmla="*/ 1074 w 10785"/>
                <a:gd name="connsiteY2114" fmla="*/ 4376 h 10000"/>
                <a:gd name="connsiteX2115" fmla="*/ 1083 w 10785"/>
                <a:gd name="connsiteY2115" fmla="*/ 4385 h 10000"/>
                <a:gd name="connsiteX2116" fmla="*/ 1097 w 10785"/>
                <a:gd name="connsiteY2116" fmla="*/ 4385 h 10000"/>
                <a:gd name="connsiteX2117" fmla="*/ 1111 w 10785"/>
                <a:gd name="connsiteY2117" fmla="*/ 4410 h 10000"/>
                <a:gd name="connsiteX2118" fmla="*/ 1124 w 10785"/>
                <a:gd name="connsiteY2118" fmla="*/ 4444 h 10000"/>
                <a:gd name="connsiteX2119" fmla="*/ 1124 w 10785"/>
                <a:gd name="connsiteY2119" fmla="*/ 4470 h 10000"/>
                <a:gd name="connsiteX2120" fmla="*/ 1115 w 10785"/>
                <a:gd name="connsiteY2120" fmla="*/ 4513 h 10000"/>
                <a:gd name="connsiteX2121" fmla="*/ 1115 w 10785"/>
                <a:gd name="connsiteY2121" fmla="*/ 4530 h 10000"/>
                <a:gd name="connsiteX2122" fmla="*/ 1115 w 10785"/>
                <a:gd name="connsiteY2122" fmla="*/ 4573 h 10000"/>
                <a:gd name="connsiteX2123" fmla="*/ 1101 w 10785"/>
                <a:gd name="connsiteY2123" fmla="*/ 4607 h 10000"/>
                <a:gd name="connsiteX2124" fmla="*/ 1097 w 10785"/>
                <a:gd name="connsiteY2124" fmla="*/ 4658 h 10000"/>
                <a:gd name="connsiteX2125" fmla="*/ 1101 w 10785"/>
                <a:gd name="connsiteY2125" fmla="*/ 4692 h 10000"/>
                <a:gd name="connsiteX2126" fmla="*/ 1097 w 10785"/>
                <a:gd name="connsiteY2126" fmla="*/ 4778 h 10000"/>
                <a:gd name="connsiteX2127" fmla="*/ 1083 w 10785"/>
                <a:gd name="connsiteY2127" fmla="*/ 4744 h 10000"/>
                <a:gd name="connsiteX2128" fmla="*/ 1083 w 10785"/>
                <a:gd name="connsiteY2128" fmla="*/ 4718 h 10000"/>
                <a:gd name="connsiteX2129" fmla="*/ 1074 w 10785"/>
                <a:gd name="connsiteY2129" fmla="*/ 4692 h 10000"/>
                <a:gd name="connsiteX2130" fmla="*/ 1065 w 10785"/>
                <a:gd name="connsiteY2130" fmla="*/ 4692 h 10000"/>
                <a:gd name="connsiteX2131" fmla="*/ 1051 w 10785"/>
                <a:gd name="connsiteY2131" fmla="*/ 4718 h 10000"/>
                <a:gd name="connsiteX2132" fmla="*/ 1055 w 10785"/>
                <a:gd name="connsiteY2132" fmla="*/ 4692 h 10000"/>
                <a:gd name="connsiteX2133" fmla="*/ 1055 w 10785"/>
                <a:gd name="connsiteY2133" fmla="*/ 4667 h 10000"/>
                <a:gd name="connsiteX2134" fmla="*/ 1028 w 10785"/>
                <a:gd name="connsiteY2134" fmla="*/ 4624 h 10000"/>
                <a:gd name="connsiteX2135" fmla="*/ 1005 w 10785"/>
                <a:gd name="connsiteY2135" fmla="*/ 4624 h 10000"/>
                <a:gd name="connsiteX2136" fmla="*/ 977 w 10785"/>
                <a:gd name="connsiteY2136" fmla="*/ 4581 h 10000"/>
                <a:gd name="connsiteX2137" fmla="*/ 963 w 10785"/>
                <a:gd name="connsiteY2137" fmla="*/ 4607 h 10000"/>
                <a:gd name="connsiteX2138" fmla="*/ 963 w 10785"/>
                <a:gd name="connsiteY2138" fmla="*/ 4632 h 10000"/>
                <a:gd name="connsiteX2139" fmla="*/ 917 w 10785"/>
                <a:gd name="connsiteY2139" fmla="*/ 4718 h 10000"/>
                <a:gd name="connsiteX2140" fmla="*/ 889 w 10785"/>
                <a:gd name="connsiteY2140" fmla="*/ 4744 h 10000"/>
                <a:gd name="connsiteX2141" fmla="*/ 880 w 10785"/>
                <a:gd name="connsiteY2141" fmla="*/ 4744 h 10000"/>
                <a:gd name="connsiteX2142" fmla="*/ 862 w 10785"/>
                <a:gd name="connsiteY2142" fmla="*/ 4769 h 10000"/>
                <a:gd name="connsiteX2143" fmla="*/ 857 w 10785"/>
                <a:gd name="connsiteY2143" fmla="*/ 4795 h 10000"/>
                <a:gd name="connsiteX2144" fmla="*/ 829 w 10785"/>
                <a:gd name="connsiteY2144" fmla="*/ 4846 h 10000"/>
                <a:gd name="connsiteX2145" fmla="*/ 816 w 10785"/>
                <a:gd name="connsiteY2145" fmla="*/ 4855 h 10000"/>
                <a:gd name="connsiteX2146" fmla="*/ 816 w 10785"/>
                <a:gd name="connsiteY2146" fmla="*/ 4940 h 10000"/>
                <a:gd name="connsiteX2147" fmla="*/ 880 w 10785"/>
                <a:gd name="connsiteY2147" fmla="*/ 5179 h 10000"/>
                <a:gd name="connsiteX2148" fmla="*/ 880 w 10785"/>
                <a:gd name="connsiteY2148" fmla="*/ 5188 h 10000"/>
                <a:gd name="connsiteX2149" fmla="*/ 862 w 10785"/>
                <a:gd name="connsiteY2149" fmla="*/ 5171 h 10000"/>
                <a:gd name="connsiteX2150" fmla="*/ 857 w 10785"/>
                <a:gd name="connsiteY2150" fmla="*/ 5171 h 10000"/>
                <a:gd name="connsiteX2151" fmla="*/ 820 w 10785"/>
                <a:gd name="connsiteY2151" fmla="*/ 5145 h 10000"/>
                <a:gd name="connsiteX2152" fmla="*/ 820 w 10785"/>
                <a:gd name="connsiteY2152" fmla="*/ 5154 h 10000"/>
                <a:gd name="connsiteX2153" fmla="*/ 816 w 10785"/>
                <a:gd name="connsiteY2153" fmla="*/ 5171 h 10000"/>
                <a:gd name="connsiteX2154" fmla="*/ 783 w 10785"/>
                <a:gd name="connsiteY2154" fmla="*/ 5145 h 10000"/>
                <a:gd name="connsiteX2155" fmla="*/ 756 w 10785"/>
                <a:gd name="connsiteY2155" fmla="*/ 5103 h 10000"/>
                <a:gd name="connsiteX2156" fmla="*/ 742 w 10785"/>
                <a:gd name="connsiteY2156" fmla="*/ 5103 h 10000"/>
                <a:gd name="connsiteX2157" fmla="*/ 728 w 10785"/>
                <a:gd name="connsiteY2157" fmla="*/ 5094 h 10000"/>
                <a:gd name="connsiteX2158" fmla="*/ 710 w 10785"/>
                <a:gd name="connsiteY2158" fmla="*/ 5120 h 10000"/>
                <a:gd name="connsiteX2159" fmla="*/ 700 w 10785"/>
                <a:gd name="connsiteY2159" fmla="*/ 5145 h 10000"/>
                <a:gd name="connsiteX2160" fmla="*/ 696 w 10785"/>
                <a:gd name="connsiteY2160" fmla="*/ 5103 h 10000"/>
                <a:gd name="connsiteX2161" fmla="*/ 714 w 10785"/>
                <a:gd name="connsiteY2161" fmla="*/ 5077 h 10000"/>
                <a:gd name="connsiteX2162" fmla="*/ 682 w 10785"/>
                <a:gd name="connsiteY2162" fmla="*/ 5068 h 10000"/>
                <a:gd name="connsiteX2163" fmla="*/ 673 w 10785"/>
                <a:gd name="connsiteY2163" fmla="*/ 5034 h 10000"/>
                <a:gd name="connsiteX2164" fmla="*/ 636 w 10785"/>
                <a:gd name="connsiteY2164" fmla="*/ 4991 h 10000"/>
                <a:gd name="connsiteX2165" fmla="*/ 622 w 10785"/>
                <a:gd name="connsiteY2165" fmla="*/ 4983 h 10000"/>
                <a:gd name="connsiteX2166" fmla="*/ 622 w 10785"/>
                <a:gd name="connsiteY2166" fmla="*/ 5034 h 10000"/>
                <a:gd name="connsiteX2167" fmla="*/ 608 w 10785"/>
                <a:gd name="connsiteY2167" fmla="*/ 5051 h 10000"/>
                <a:gd name="connsiteX2168" fmla="*/ 594 w 10785"/>
                <a:gd name="connsiteY2168" fmla="*/ 5068 h 10000"/>
                <a:gd name="connsiteX2169" fmla="*/ 608 w 10785"/>
                <a:gd name="connsiteY2169" fmla="*/ 5120 h 10000"/>
                <a:gd name="connsiteX2170" fmla="*/ 613 w 10785"/>
                <a:gd name="connsiteY2170" fmla="*/ 5128 h 10000"/>
                <a:gd name="connsiteX2171" fmla="*/ 627 w 10785"/>
                <a:gd name="connsiteY2171" fmla="*/ 5179 h 10000"/>
                <a:gd name="connsiteX2172" fmla="*/ 650 w 10785"/>
                <a:gd name="connsiteY2172" fmla="*/ 5214 h 10000"/>
                <a:gd name="connsiteX2173" fmla="*/ 687 w 10785"/>
                <a:gd name="connsiteY2173" fmla="*/ 5188 h 10000"/>
                <a:gd name="connsiteX2174" fmla="*/ 700 w 10785"/>
                <a:gd name="connsiteY2174" fmla="*/ 5325 h 10000"/>
                <a:gd name="connsiteX2175" fmla="*/ 710 w 10785"/>
                <a:gd name="connsiteY2175" fmla="*/ 5350 h 10000"/>
                <a:gd name="connsiteX2176" fmla="*/ 687 w 10785"/>
                <a:gd name="connsiteY2176" fmla="*/ 5325 h 10000"/>
                <a:gd name="connsiteX2177" fmla="*/ 668 w 10785"/>
                <a:gd name="connsiteY2177" fmla="*/ 5350 h 10000"/>
                <a:gd name="connsiteX2178" fmla="*/ 668 w 10785"/>
                <a:gd name="connsiteY2178" fmla="*/ 5368 h 10000"/>
                <a:gd name="connsiteX2179" fmla="*/ 668 w 10785"/>
                <a:gd name="connsiteY2179" fmla="*/ 5376 h 10000"/>
                <a:gd name="connsiteX2180" fmla="*/ 581 w 10785"/>
                <a:gd name="connsiteY2180" fmla="*/ 5316 h 10000"/>
                <a:gd name="connsiteX2181" fmla="*/ 567 w 10785"/>
                <a:gd name="connsiteY2181" fmla="*/ 5265 h 10000"/>
                <a:gd name="connsiteX2182" fmla="*/ 562 w 10785"/>
                <a:gd name="connsiteY2182" fmla="*/ 5256 h 10000"/>
                <a:gd name="connsiteX2183" fmla="*/ 548 w 10785"/>
                <a:gd name="connsiteY2183" fmla="*/ 5231 h 10000"/>
                <a:gd name="connsiteX2184" fmla="*/ 535 w 10785"/>
                <a:gd name="connsiteY2184" fmla="*/ 5214 h 10000"/>
                <a:gd name="connsiteX2185" fmla="*/ 525 w 10785"/>
                <a:gd name="connsiteY2185" fmla="*/ 5231 h 10000"/>
                <a:gd name="connsiteX2186" fmla="*/ 521 w 10785"/>
                <a:gd name="connsiteY2186" fmla="*/ 5231 h 10000"/>
                <a:gd name="connsiteX2187" fmla="*/ 493 w 10785"/>
                <a:gd name="connsiteY2187" fmla="*/ 5205 h 10000"/>
                <a:gd name="connsiteX2188" fmla="*/ 488 w 10785"/>
                <a:gd name="connsiteY2188" fmla="*/ 5179 h 10000"/>
                <a:gd name="connsiteX2189" fmla="*/ 475 w 10785"/>
                <a:gd name="connsiteY2189" fmla="*/ 5188 h 10000"/>
                <a:gd name="connsiteX2190" fmla="*/ 475 w 10785"/>
                <a:gd name="connsiteY2190" fmla="*/ 5171 h 10000"/>
                <a:gd name="connsiteX2191" fmla="*/ 488 w 10785"/>
                <a:gd name="connsiteY2191" fmla="*/ 5154 h 10000"/>
                <a:gd name="connsiteX2192" fmla="*/ 488 w 10785"/>
                <a:gd name="connsiteY2192" fmla="*/ 5068 h 10000"/>
                <a:gd name="connsiteX2193" fmla="*/ 475 w 10785"/>
                <a:gd name="connsiteY2193" fmla="*/ 5051 h 10000"/>
                <a:gd name="connsiteX2194" fmla="*/ 475 w 10785"/>
                <a:gd name="connsiteY2194" fmla="*/ 5017 h 10000"/>
                <a:gd name="connsiteX2195" fmla="*/ 452 w 10785"/>
                <a:gd name="connsiteY2195" fmla="*/ 4932 h 10000"/>
                <a:gd name="connsiteX2196" fmla="*/ 461 w 10785"/>
                <a:gd name="connsiteY2196" fmla="*/ 4915 h 10000"/>
                <a:gd name="connsiteX2197" fmla="*/ 475 w 10785"/>
                <a:gd name="connsiteY2197" fmla="*/ 4906 h 10000"/>
                <a:gd name="connsiteX2198" fmla="*/ 479 w 10785"/>
                <a:gd name="connsiteY2198" fmla="*/ 4803 h 10000"/>
                <a:gd name="connsiteX2199" fmla="*/ 479 w 10785"/>
                <a:gd name="connsiteY2199" fmla="*/ 4778 h 10000"/>
                <a:gd name="connsiteX2200" fmla="*/ 475 w 10785"/>
                <a:gd name="connsiteY2200" fmla="*/ 4761 h 10000"/>
                <a:gd name="connsiteX2201" fmla="*/ 465 w 10785"/>
                <a:gd name="connsiteY2201" fmla="*/ 4718 h 10000"/>
                <a:gd name="connsiteX2202" fmla="*/ 461 w 10785"/>
                <a:gd name="connsiteY2202" fmla="*/ 4709 h 10000"/>
                <a:gd name="connsiteX2203" fmla="*/ 442 w 10785"/>
                <a:gd name="connsiteY2203" fmla="*/ 4692 h 10000"/>
                <a:gd name="connsiteX2204" fmla="*/ 433 w 10785"/>
                <a:gd name="connsiteY2204" fmla="*/ 4667 h 10000"/>
                <a:gd name="connsiteX2205" fmla="*/ 419 w 10785"/>
                <a:gd name="connsiteY2205" fmla="*/ 4667 h 10000"/>
                <a:gd name="connsiteX2206" fmla="*/ 401 w 10785"/>
                <a:gd name="connsiteY2206" fmla="*/ 4658 h 10000"/>
                <a:gd name="connsiteX2207" fmla="*/ 401 w 10785"/>
                <a:gd name="connsiteY2207" fmla="*/ 4624 h 10000"/>
                <a:gd name="connsiteX2208" fmla="*/ 401 w 10785"/>
                <a:gd name="connsiteY2208" fmla="*/ 4607 h 10000"/>
                <a:gd name="connsiteX2209" fmla="*/ 378 w 10785"/>
                <a:gd name="connsiteY2209" fmla="*/ 4607 h 10000"/>
                <a:gd name="connsiteX2210" fmla="*/ 341 w 10785"/>
                <a:gd name="connsiteY2210" fmla="*/ 4530 h 10000"/>
                <a:gd name="connsiteX2211" fmla="*/ 346 w 10785"/>
                <a:gd name="connsiteY2211" fmla="*/ 4521 h 10000"/>
                <a:gd name="connsiteX2212" fmla="*/ 332 w 10785"/>
                <a:gd name="connsiteY2212" fmla="*/ 4487 h 10000"/>
                <a:gd name="connsiteX2213" fmla="*/ 327 w 10785"/>
                <a:gd name="connsiteY2213" fmla="*/ 4462 h 10000"/>
                <a:gd name="connsiteX2214" fmla="*/ 313 w 10785"/>
                <a:gd name="connsiteY2214" fmla="*/ 4436 h 10000"/>
                <a:gd name="connsiteX2215" fmla="*/ 300 w 10785"/>
                <a:gd name="connsiteY2215" fmla="*/ 4419 h 10000"/>
                <a:gd name="connsiteX2216" fmla="*/ 309 w 10785"/>
                <a:gd name="connsiteY2216" fmla="*/ 4393 h 10000"/>
                <a:gd name="connsiteX2217" fmla="*/ 332 w 10785"/>
                <a:gd name="connsiteY2217" fmla="*/ 4385 h 10000"/>
                <a:gd name="connsiteX2218" fmla="*/ 355 w 10785"/>
                <a:gd name="connsiteY2218" fmla="*/ 4419 h 10000"/>
                <a:gd name="connsiteX2219" fmla="*/ 355 w 10785"/>
                <a:gd name="connsiteY2219" fmla="*/ 4444 h 10000"/>
                <a:gd name="connsiteX2220" fmla="*/ 369 w 10785"/>
                <a:gd name="connsiteY2220" fmla="*/ 4470 h 10000"/>
                <a:gd name="connsiteX2221" fmla="*/ 401 w 10785"/>
                <a:gd name="connsiteY2221" fmla="*/ 4521 h 10000"/>
                <a:gd name="connsiteX2222" fmla="*/ 406 w 10785"/>
                <a:gd name="connsiteY2222" fmla="*/ 4513 h 10000"/>
                <a:gd name="connsiteX2223" fmla="*/ 406 w 10785"/>
                <a:gd name="connsiteY2223" fmla="*/ 4496 h 10000"/>
                <a:gd name="connsiteX2224" fmla="*/ 419 w 10785"/>
                <a:gd name="connsiteY2224" fmla="*/ 4521 h 10000"/>
                <a:gd name="connsiteX2225" fmla="*/ 429 w 10785"/>
                <a:gd name="connsiteY2225" fmla="*/ 4530 h 10000"/>
                <a:gd name="connsiteX2226" fmla="*/ 433 w 10785"/>
                <a:gd name="connsiteY2226" fmla="*/ 4521 h 10000"/>
                <a:gd name="connsiteX2227" fmla="*/ 442 w 10785"/>
                <a:gd name="connsiteY2227" fmla="*/ 4530 h 10000"/>
                <a:gd name="connsiteX2228" fmla="*/ 447 w 10785"/>
                <a:gd name="connsiteY2228" fmla="*/ 4521 h 10000"/>
                <a:gd name="connsiteX2229" fmla="*/ 452 w 10785"/>
                <a:gd name="connsiteY2229" fmla="*/ 4521 h 10000"/>
                <a:gd name="connsiteX2230" fmla="*/ 461 w 10785"/>
                <a:gd name="connsiteY2230" fmla="*/ 4573 h 10000"/>
                <a:gd name="connsiteX2231" fmla="*/ 479 w 10785"/>
                <a:gd name="connsiteY2231" fmla="*/ 4556 h 10000"/>
                <a:gd name="connsiteX2232" fmla="*/ 502 w 10785"/>
                <a:gd name="connsiteY2232" fmla="*/ 4573 h 10000"/>
                <a:gd name="connsiteX2233" fmla="*/ 507 w 10785"/>
                <a:gd name="connsiteY2233" fmla="*/ 4598 h 10000"/>
                <a:gd name="connsiteX2234" fmla="*/ 525 w 10785"/>
                <a:gd name="connsiteY2234" fmla="*/ 4598 h 10000"/>
                <a:gd name="connsiteX2235" fmla="*/ 535 w 10785"/>
                <a:gd name="connsiteY2235" fmla="*/ 4624 h 10000"/>
                <a:gd name="connsiteX2236" fmla="*/ 594 w 10785"/>
                <a:gd name="connsiteY2236" fmla="*/ 4658 h 10000"/>
                <a:gd name="connsiteX2237" fmla="*/ 627 w 10785"/>
                <a:gd name="connsiteY2237" fmla="*/ 4658 h 10000"/>
                <a:gd name="connsiteX2238" fmla="*/ 654 w 10785"/>
                <a:gd name="connsiteY2238" fmla="*/ 4684 h 10000"/>
                <a:gd name="connsiteX2239" fmla="*/ 668 w 10785"/>
                <a:gd name="connsiteY2239" fmla="*/ 4709 h 10000"/>
                <a:gd name="connsiteX2240" fmla="*/ 747 w 10785"/>
                <a:gd name="connsiteY2240" fmla="*/ 4718 h 10000"/>
                <a:gd name="connsiteX2241" fmla="*/ 760 w 10785"/>
                <a:gd name="connsiteY2241" fmla="*/ 4709 h 10000"/>
                <a:gd name="connsiteX2242" fmla="*/ 774 w 10785"/>
                <a:gd name="connsiteY2242" fmla="*/ 4692 h 10000"/>
                <a:gd name="connsiteX2243" fmla="*/ 829 w 10785"/>
                <a:gd name="connsiteY2243" fmla="*/ 4658 h 10000"/>
                <a:gd name="connsiteX2244" fmla="*/ 903 w 10785"/>
                <a:gd name="connsiteY2244" fmla="*/ 4496 h 10000"/>
                <a:gd name="connsiteX2245" fmla="*/ 917 w 10785"/>
                <a:gd name="connsiteY2245" fmla="*/ 4385 h 10000"/>
                <a:gd name="connsiteX2246" fmla="*/ 903 w 10785"/>
                <a:gd name="connsiteY2246" fmla="*/ 4376 h 10000"/>
                <a:gd name="connsiteX2247" fmla="*/ 903 w 10785"/>
                <a:gd name="connsiteY2247" fmla="*/ 4376 h 10000"/>
                <a:gd name="connsiteX2248" fmla="*/ 889 w 10785"/>
                <a:gd name="connsiteY2248" fmla="*/ 4239 h 10000"/>
                <a:gd name="connsiteX2249" fmla="*/ 880 w 10785"/>
                <a:gd name="connsiteY2249" fmla="*/ 4214 h 10000"/>
                <a:gd name="connsiteX2250" fmla="*/ 862 w 10785"/>
                <a:gd name="connsiteY2250" fmla="*/ 4188 h 10000"/>
                <a:gd name="connsiteX2251" fmla="*/ 857 w 10785"/>
                <a:gd name="connsiteY2251" fmla="*/ 4197 h 10000"/>
                <a:gd name="connsiteX2252" fmla="*/ 848 w 10785"/>
                <a:gd name="connsiteY2252" fmla="*/ 4188 h 10000"/>
                <a:gd name="connsiteX2253" fmla="*/ 848 w 10785"/>
                <a:gd name="connsiteY2253" fmla="*/ 4162 h 10000"/>
                <a:gd name="connsiteX2254" fmla="*/ 829 w 10785"/>
                <a:gd name="connsiteY2254" fmla="*/ 4120 h 10000"/>
                <a:gd name="connsiteX2255" fmla="*/ 820 w 10785"/>
                <a:gd name="connsiteY2255" fmla="*/ 4103 h 10000"/>
                <a:gd name="connsiteX2256" fmla="*/ 806 w 10785"/>
                <a:gd name="connsiteY2256" fmla="*/ 4077 h 10000"/>
                <a:gd name="connsiteX2257" fmla="*/ 816 w 10785"/>
                <a:gd name="connsiteY2257" fmla="*/ 4111 h 10000"/>
                <a:gd name="connsiteX2258" fmla="*/ 802 w 10785"/>
                <a:gd name="connsiteY2258" fmla="*/ 4111 h 10000"/>
                <a:gd name="connsiteX2259" fmla="*/ 770 w 10785"/>
                <a:gd name="connsiteY2259" fmla="*/ 4060 h 10000"/>
                <a:gd name="connsiteX2260" fmla="*/ 760 w 10785"/>
                <a:gd name="connsiteY2260" fmla="*/ 4077 h 10000"/>
                <a:gd name="connsiteX2261" fmla="*/ 760 w 10785"/>
                <a:gd name="connsiteY2261" fmla="*/ 4060 h 10000"/>
                <a:gd name="connsiteX2262" fmla="*/ 756 w 10785"/>
                <a:gd name="connsiteY2262" fmla="*/ 4034 h 10000"/>
                <a:gd name="connsiteX2263" fmla="*/ 742 w 10785"/>
                <a:gd name="connsiteY2263" fmla="*/ 4000 h 10000"/>
                <a:gd name="connsiteX2264" fmla="*/ 747 w 10785"/>
                <a:gd name="connsiteY2264" fmla="*/ 4034 h 10000"/>
                <a:gd name="connsiteX2265" fmla="*/ 724 w 10785"/>
                <a:gd name="connsiteY2265" fmla="*/ 4026 h 10000"/>
                <a:gd name="connsiteX2266" fmla="*/ 714 w 10785"/>
                <a:gd name="connsiteY2266" fmla="*/ 4000 h 10000"/>
                <a:gd name="connsiteX2267" fmla="*/ 714 w 10785"/>
                <a:gd name="connsiteY2267" fmla="*/ 3983 h 10000"/>
                <a:gd name="connsiteX2268" fmla="*/ 553 w 10785"/>
                <a:gd name="connsiteY2268" fmla="*/ 3726 h 10000"/>
                <a:gd name="connsiteX2269" fmla="*/ 507 w 10785"/>
                <a:gd name="connsiteY2269" fmla="*/ 3718 h 10000"/>
                <a:gd name="connsiteX2270" fmla="*/ 516 w 10785"/>
                <a:gd name="connsiteY2270" fmla="*/ 3726 h 10000"/>
                <a:gd name="connsiteX2271" fmla="*/ 507 w 10785"/>
                <a:gd name="connsiteY2271" fmla="*/ 3735 h 10000"/>
                <a:gd name="connsiteX2272" fmla="*/ 502 w 10785"/>
                <a:gd name="connsiteY2272" fmla="*/ 3735 h 10000"/>
                <a:gd name="connsiteX2273" fmla="*/ 419 w 10785"/>
                <a:gd name="connsiteY2273" fmla="*/ 3675 h 10000"/>
                <a:gd name="connsiteX2274" fmla="*/ 419 w 10785"/>
                <a:gd name="connsiteY2274" fmla="*/ 3692 h 10000"/>
                <a:gd name="connsiteX2275" fmla="*/ 401 w 10785"/>
                <a:gd name="connsiteY2275" fmla="*/ 3701 h 10000"/>
                <a:gd name="connsiteX2276" fmla="*/ 387 w 10785"/>
                <a:gd name="connsiteY2276" fmla="*/ 3718 h 10000"/>
                <a:gd name="connsiteX2277" fmla="*/ 387 w 10785"/>
                <a:gd name="connsiteY2277" fmla="*/ 3692 h 10000"/>
                <a:gd name="connsiteX2278" fmla="*/ 378 w 10785"/>
                <a:gd name="connsiteY2278" fmla="*/ 3675 h 10000"/>
                <a:gd name="connsiteX2279" fmla="*/ 378 w 10785"/>
                <a:gd name="connsiteY2279" fmla="*/ 3650 h 10000"/>
                <a:gd name="connsiteX2280" fmla="*/ 378 w 10785"/>
                <a:gd name="connsiteY2280" fmla="*/ 3650 h 10000"/>
                <a:gd name="connsiteX2281" fmla="*/ 355 w 10785"/>
                <a:gd name="connsiteY2281" fmla="*/ 3675 h 10000"/>
                <a:gd name="connsiteX2282" fmla="*/ 359 w 10785"/>
                <a:gd name="connsiteY2282" fmla="*/ 3641 h 10000"/>
                <a:gd name="connsiteX2283" fmla="*/ 346 w 10785"/>
                <a:gd name="connsiteY2283" fmla="*/ 3650 h 10000"/>
                <a:gd name="connsiteX2284" fmla="*/ 355 w 10785"/>
                <a:gd name="connsiteY2284" fmla="*/ 3624 h 10000"/>
                <a:gd name="connsiteX2285" fmla="*/ 346 w 10785"/>
                <a:gd name="connsiteY2285" fmla="*/ 3624 h 10000"/>
                <a:gd name="connsiteX2286" fmla="*/ 341 w 10785"/>
                <a:gd name="connsiteY2286" fmla="*/ 3624 h 10000"/>
                <a:gd name="connsiteX2287" fmla="*/ 318 w 10785"/>
                <a:gd name="connsiteY2287" fmla="*/ 3641 h 10000"/>
                <a:gd name="connsiteX2288" fmla="*/ 327 w 10785"/>
                <a:gd name="connsiteY2288" fmla="*/ 3624 h 10000"/>
                <a:gd name="connsiteX2289" fmla="*/ 318 w 10785"/>
                <a:gd name="connsiteY2289" fmla="*/ 3615 h 10000"/>
                <a:gd name="connsiteX2290" fmla="*/ 318 w 10785"/>
                <a:gd name="connsiteY2290" fmla="*/ 3598 h 10000"/>
                <a:gd name="connsiteX2291" fmla="*/ 300 w 10785"/>
                <a:gd name="connsiteY2291" fmla="*/ 3598 h 10000"/>
                <a:gd name="connsiteX2292" fmla="*/ 309 w 10785"/>
                <a:gd name="connsiteY2292" fmla="*/ 3538 h 10000"/>
                <a:gd name="connsiteX2293" fmla="*/ 313 w 10785"/>
                <a:gd name="connsiteY2293" fmla="*/ 3564 h 10000"/>
                <a:gd name="connsiteX2294" fmla="*/ 318 w 10785"/>
                <a:gd name="connsiteY2294" fmla="*/ 3581 h 10000"/>
                <a:gd name="connsiteX2295" fmla="*/ 327 w 10785"/>
                <a:gd name="connsiteY2295" fmla="*/ 3564 h 10000"/>
                <a:gd name="connsiteX2296" fmla="*/ 332 w 10785"/>
                <a:gd name="connsiteY2296" fmla="*/ 3590 h 10000"/>
                <a:gd name="connsiteX2297" fmla="*/ 346 w 10785"/>
                <a:gd name="connsiteY2297" fmla="*/ 3590 h 10000"/>
                <a:gd name="connsiteX2298" fmla="*/ 355 w 10785"/>
                <a:gd name="connsiteY2298" fmla="*/ 3590 h 10000"/>
                <a:gd name="connsiteX2299" fmla="*/ 369 w 10785"/>
                <a:gd name="connsiteY2299" fmla="*/ 3556 h 10000"/>
                <a:gd name="connsiteX2300" fmla="*/ 369 w 10785"/>
                <a:gd name="connsiteY2300" fmla="*/ 3538 h 10000"/>
                <a:gd name="connsiteX2301" fmla="*/ 346 w 10785"/>
                <a:gd name="connsiteY2301" fmla="*/ 3513 h 10000"/>
                <a:gd name="connsiteX2302" fmla="*/ 341 w 10785"/>
                <a:gd name="connsiteY2302" fmla="*/ 3530 h 10000"/>
                <a:gd name="connsiteX2303" fmla="*/ 327 w 10785"/>
                <a:gd name="connsiteY2303" fmla="*/ 3513 h 10000"/>
                <a:gd name="connsiteX2304" fmla="*/ 327 w 10785"/>
                <a:gd name="connsiteY2304" fmla="*/ 3504 h 10000"/>
                <a:gd name="connsiteX2305" fmla="*/ 295 w 10785"/>
                <a:gd name="connsiteY2305" fmla="*/ 3462 h 10000"/>
                <a:gd name="connsiteX2306" fmla="*/ 300 w 10785"/>
                <a:gd name="connsiteY2306" fmla="*/ 3479 h 10000"/>
                <a:gd name="connsiteX2307" fmla="*/ 295 w 10785"/>
                <a:gd name="connsiteY2307" fmla="*/ 3513 h 10000"/>
                <a:gd name="connsiteX2308" fmla="*/ 286 w 10785"/>
                <a:gd name="connsiteY2308" fmla="*/ 3513 h 10000"/>
                <a:gd name="connsiteX2309" fmla="*/ 281 w 10785"/>
                <a:gd name="connsiteY2309" fmla="*/ 3513 h 10000"/>
                <a:gd name="connsiteX2310" fmla="*/ 281 w 10785"/>
                <a:gd name="connsiteY2310" fmla="*/ 3530 h 10000"/>
                <a:gd name="connsiteX2311" fmla="*/ 281 w 10785"/>
                <a:gd name="connsiteY2311" fmla="*/ 3556 h 10000"/>
                <a:gd name="connsiteX2312" fmla="*/ 272 w 10785"/>
                <a:gd name="connsiteY2312" fmla="*/ 3564 h 10000"/>
                <a:gd name="connsiteX2313" fmla="*/ 267 w 10785"/>
                <a:gd name="connsiteY2313" fmla="*/ 3564 h 10000"/>
                <a:gd name="connsiteX2314" fmla="*/ 253 w 10785"/>
                <a:gd name="connsiteY2314" fmla="*/ 3538 h 10000"/>
                <a:gd name="connsiteX2315" fmla="*/ 226 w 10785"/>
                <a:gd name="connsiteY2315" fmla="*/ 3513 h 10000"/>
                <a:gd name="connsiteX2316" fmla="*/ 226 w 10785"/>
                <a:gd name="connsiteY2316" fmla="*/ 3530 h 10000"/>
                <a:gd name="connsiteX2317" fmla="*/ 226 w 10785"/>
                <a:gd name="connsiteY2317" fmla="*/ 3530 h 10000"/>
                <a:gd name="connsiteX2318" fmla="*/ 226 w 10785"/>
                <a:gd name="connsiteY2318" fmla="*/ 3530 h 10000"/>
                <a:gd name="connsiteX2319" fmla="*/ 226 w 10785"/>
                <a:gd name="connsiteY2319" fmla="*/ 3556 h 10000"/>
                <a:gd name="connsiteX2320" fmla="*/ 221 w 10785"/>
                <a:gd name="connsiteY2320" fmla="*/ 3598 h 10000"/>
                <a:gd name="connsiteX2321" fmla="*/ 207 w 10785"/>
                <a:gd name="connsiteY2321" fmla="*/ 3598 h 10000"/>
                <a:gd name="connsiteX2322" fmla="*/ 180 w 10785"/>
                <a:gd name="connsiteY2322" fmla="*/ 3581 h 10000"/>
                <a:gd name="connsiteX2323" fmla="*/ 171 w 10785"/>
                <a:gd name="connsiteY2323" fmla="*/ 3641 h 10000"/>
                <a:gd name="connsiteX2324" fmla="*/ 166 w 10785"/>
                <a:gd name="connsiteY2324" fmla="*/ 3650 h 10000"/>
                <a:gd name="connsiteX2325" fmla="*/ 124 w 10785"/>
                <a:gd name="connsiteY2325" fmla="*/ 3701 h 10000"/>
                <a:gd name="connsiteX2326" fmla="*/ 124 w 10785"/>
                <a:gd name="connsiteY2326" fmla="*/ 3718 h 10000"/>
                <a:gd name="connsiteX2327" fmla="*/ 120 w 10785"/>
                <a:gd name="connsiteY2327" fmla="*/ 3735 h 10000"/>
                <a:gd name="connsiteX2328" fmla="*/ 120 w 10785"/>
                <a:gd name="connsiteY2328" fmla="*/ 3735 h 10000"/>
                <a:gd name="connsiteX2329" fmla="*/ 111 w 10785"/>
                <a:gd name="connsiteY2329" fmla="*/ 3761 h 10000"/>
                <a:gd name="connsiteX2330" fmla="*/ 106 w 10785"/>
                <a:gd name="connsiteY2330" fmla="*/ 3761 h 10000"/>
                <a:gd name="connsiteX2331" fmla="*/ 106 w 10785"/>
                <a:gd name="connsiteY2331" fmla="*/ 3761 h 10000"/>
                <a:gd name="connsiteX2332" fmla="*/ 74 w 10785"/>
                <a:gd name="connsiteY2332" fmla="*/ 3829 h 10000"/>
                <a:gd name="connsiteX2333" fmla="*/ 78 w 10785"/>
                <a:gd name="connsiteY2333" fmla="*/ 3838 h 10000"/>
                <a:gd name="connsiteX2334" fmla="*/ 88 w 10785"/>
                <a:gd name="connsiteY2334" fmla="*/ 3846 h 10000"/>
                <a:gd name="connsiteX2335" fmla="*/ 65 w 10785"/>
                <a:gd name="connsiteY2335" fmla="*/ 3923 h 10000"/>
                <a:gd name="connsiteX2336" fmla="*/ 78 w 10785"/>
                <a:gd name="connsiteY2336" fmla="*/ 4026 h 10000"/>
                <a:gd name="connsiteX2337" fmla="*/ 88 w 10785"/>
                <a:gd name="connsiteY2337" fmla="*/ 4051 h 10000"/>
                <a:gd name="connsiteX2338" fmla="*/ 92 w 10785"/>
                <a:gd name="connsiteY2338" fmla="*/ 4060 h 10000"/>
                <a:gd name="connsiteX2339" fmla="*/ 111 w 10785"/>
                <a:gd name="connsiteY2339" fmla="*/ 4060 h 10000"/>
                <a:gd name="connsiteX2340" fmla="*/ 124 w 10785"/>
                <a:gd name="connsiteY2340" fmla="*/ 4085 h 10000"/>
                <a:gd name="connsiteX2341" fmla="*/ 166 w 10785"/>
                <a:gd name="connsiteY2341" fmla="*/ 4197 h 10000"/>
                <a:gd name="connsiteX2342" fmla="*/ 166 w 10785"/>
                <a:gd name="connsiteY2342" fmla="*/ 4248 h 10000"/>
                <a:gd name="connsiteX2343" fmla="*/ 120 w 10785"/>
                <a:gd name="connsiteY2343" fmla="*/ 4462 h 10000"/>
                <a:gd name="connsiteX2344" fmla="*/ 120 w 10785"/>
                <a:gd name="connsiteY2344" fmla="*/ 4513 h 10000"/>
                <a:gd name="connsiteX2345" fmla="*/ 180 w 10785"/>
                <a:gd name="connsiteY2345" fmla="*/ 4829 h 10000"/>
                <a:gd name="connsiteX2346" fmla="*/ 161 w 10785"/>
                <a:gd name="connsiteY2346" fmla="*/ 4855 h 10000"/>
                <a:gd name="connsiteX2347" fmla="*/ 152 w 10785"/>
                <a:gd name="connsiteY2347" fmla="*/ 4940 h 10000"/>
                <a:gd name="connsiteX2348" fmla="*/ 161 w 10785"/>
                <a:gd name="connsiteY2348" fmla="*/ 4966 h 10000"/>
                <a:gd name="connsiteX2349" fmla="*/ 161 w 10785"/>
                <a:gd name="connsiteY2349" fmla="*/ 5009 h 10000"/>
                <a:gd name="connsiteX2350" fmla="*/ 152 w 10785"/>
                <a:gd name="connsiteY2350" fmla="*/ 5034 h 10000"/>
                <a:gd name="connsiteX2351" fmla="*/ 152 w 10785"/>
                <a:gd name="connsiteY2351" fmla="*/ 5077 h 10000"/>
                <a:gd name="connsiteX2352" fmla="*/ 171 w 10785"/>
                <a:gd name="connsiteY2352" fmla="*/ 5094 h 10000"/>
                <a:gd name="connsiteX2353" fmla="*/ 180 w 10785"/>
                <a:gd name="connsiteY2353" fmla="*/ 5128 h 10000"/>
                <a:gd name="connsiteX2354" fmla="*/ 180 w 10785"/>
                <a:gd name="connsiteY2354" fmla="*/ 5171 h 10000"/>
                <a:gd name="connsiteX2355" fmla="*/ 184 w 10785"/>
                <a:gd name="connsiteY2355" fmla="*/ 5205 h 10000"/>
                <a:gd name="connsiteX2356" fmla="*/ 207 w 10785"/>
                <a:gd name="connsiteY2356" fmla="*/ 5239 h 10000"/>
                <a:gd name="connsiteX2357" fmla="*/ 207 w 10785"/>
                <a:gd name="connsiteY2357" fmla="*/ 5282 h 10000"/>
                <a:gd name="connsiteX2358" fmla="*/ 180 w 10785"/>
                <a:gd name="connsiteY2358" fmla="*/ 5393 h 10000"/>
                <a:gd name="connsiteX2359" fmla="*/ 194 w 10785"/>
                <a:gd name="connsiteY2359" fmla="*/ 5427 h 10000"/>
                <a:gd name="connsiteX2360" fmla="*/ 198 w 10785"/>
                <a:gd name="connsiteY2360" fmla="*/ 5462 h 10000"/>
                <a:gd name="connsiteX2361" fmla="*/ 235 w 10785"/>
                <a:gd name="connsiteY2361" fmla="*/ 5513 h 10000"/>
                <a:gd name="connsiteX2362" fmla="*/ 240 w 10785"/>
                <a:gd name="connsiteY2362" fmla="*/ 5556 h 10000"/>
                <a:gd name="connsiteX2363" fmla="*/ 253 w 10785"/>
                <a:gd name="connsiteY2363" fmla="*/ 5590 h 10000"/>
                <a:gd name="connsiteX2364" fmla="*/ 258 w 10785"/>
                <a:gd name="connsiteY2364" fmla="*/ 5573 h 10000"/>
                <a:gd name="connsiteX2365" fmla="*/ 258 w 10785"/>
                <a:gd name="connsiteY2365" fmla="*/ 5667 h 10000"/>
                <a:gd name="connsiteX2366" fmla="*/ 14 w 10785"/>
                <a:gd name="connsiteY2366" fmla="*/ 6214 h 10000"/>
                <a:gd name="connsiteX2367" fmla="*/ 14 w 10785"/>
                <a:gd name="connsiteY2367" fmla="*/ 6214 h 10000"/>
                <a:gd name="connsiteX2368" fmla="*/ 37 w 10785"/>
                <a:gd name="connsiteY2368" fmla="*/ 6214 h 10000"/>
                <a:gd name="connsiteX2369" fmla="*/ 51 w 10785"/>
                <a:gd name="connsiteY2369" fmla="*/ 6188 h 10000"/>
                <a:gd name="connsiteX2370" fmla="*/ 78 w 10785"/>
                <a:gd name="connsiteY2370" fmla="*/ 6162 h 10000"/>
                <a:gd name="connsiteX2371" fmla="*/ 78 w 10785"/>
                <a:gd name="connsiteY2371" fmla="*/ 6188 h 10000"/>
                <a:gd name="connsiteX2372" fmla="*/ 74 w 10785"/>
                <a:gd name="connsiteY2372" fmla="*/ 6197 h 10000"/>
                <a:gd name="connsiteX2373" fmla="*/ 74 w 10785"/>
                <a:gd name="connsiteY2373" fmla="*/ 6231 h 10000"/>
                <a:gd name="connsiteX2374" fmla="*/ 74 w 10785"/>
                <a:gd name="connsiteY2374" fmla="*/ 6214 h 10000"/>
                <a:gd name="connsiteX2375" fmla="*/ 65 w 10785"/>
                <a:gd name="connsiteY2375" fmla="*/ 6214 h 10000"/>
                <a:gd name="connsiteX2376" fmla="*/ 65 w 10785"/>
                <a:gd name="connsiteY2376" fmla="*/ 6248 h 10000"/>
                <a:gd name="connsiteX2377" fmla="*/ 74 w 10785"/>
                <a:gd name="connsiteY2377" fmla="*/ 6256 h 10000"/>
                <a:gd name="connsiteX2378" fmla="*/ 78 w 10785"/>
                <a:gd name="connsiteY2378" fmla="*/ 6256 h 10000"/>
                <a:gd name="connsiteX2379" fmla="*/ 106 w 10785"/>
                <a:gd name="connsiteY2379" fmla="*/ 6308 h 10000"/>
                <a:gd name="connsiteX2380" fmla="*/ 138 w 10785"/>
                <a:gd name="connsiteY2380" fmla="*/ 6299 h 10000"/>
                <a:gd name="connsiteX2381" fmla="*/ 152 w 10785"/>
                <a:gd name="connsiteY2381" fmla="*/ 6299 h 10000"/>
                <a:gd name="connsiteX2382" fmla="*/ 166 w 10785"/>
                <a:gd name="connsiteY2382" fmla="*/ 6325 h 10000"/>
                <a:gd name="connsiteX2383" fmla="*/ 166 w 10785"/>
                <a:gd name="connsiteY2383" fmla="*/ 6333 h 10000"/>
                <a:gd name="connsiteX2384" fmla="*/ 171 w 10785"/>
                <a:gd name="connsiteY2384" fmla="*/ 6350 h 10000"/>
                <a:gd name="connsiteX2385" fmla="*/ 180 w 10785"/>
                <a:gd name="connsiteY2385" fmla="*/ 6350 h 10000"/>
                <a:gd name="connsiteX2386" fmla="*/ 180 w 10785"/>
                <a:gd name="connsiteY2386" fmla="*/ 6359 h 10000"/>
                <a:gd name="connsiteX2387" fmla="*/ 171 w 10785"/>
                <a:gd name="connsiteY2387" fmla="*/ 6368 h 10000"/>
                <a:gd name="connsiteX2388" fmla="*/ 106 w 10785"/>
                <a:gd name="connsiteY2388" fmla="*/ 6350 h 10000"/>
                <a:gd name="connsiteX2389" fmla="*/ 101 w 10785"/>
                <a:gd name="connsiteY2389" fmla="*/ 6359 h 10000"/>
                <a:gd name="connsiteX2390" fmla="*/ 101 w 10785"/>
                <a:gd name="connsiteY2390" fmla="*/ 6385 h 10000"/>
                <a:gd name="connsiteX2391" fmla="*/ 78 w 10785"/>
                <a:gd name="connsiteY2391" fmla="*/ 6393 h 10000"/>
                <a:gd name="connsiteX2392" fmla="*/ 74 w 10785"/>
                <a:gd name="connsiteY2392" fmla="*/ 6385 h 10000"/>
                <a:gd name="connsiteX2393" fmla="*/ 65 w 10785"/>
                <a:gd name="connsiteY2393" fmla="*/ 6393 h 10000"/>
                <a:gd name="connsiteX2394" fmla="*/ 60 w 10785"/>
                <a:gd name="connsiteY2394" fmla="*/ 6419 h 10000"/>
                <a:gd name="connsiteX2395" fmla="*/ 51 w 10785"/>
                <a:gd name="connsiteY2395" fmla="*/ 6419 h 10000"/>
                <a:gd name="connsiteX2396" fmla="*/ 46 w 10785"/>
                <a:gd name="connsiteY2396" fmla="*/ 6410 h 10000"/>
                <a:gd name="connsiteX2397" fmla="*/ 37 w 10785"/>
                <a:gd name="connsiteY2397" fmla="*/ 6393 h 10000"/>
                <a:gd name="connsiteX2398" fmla="*/ 32 w 10785"/>
                <a:gd name="connsiteY2398" fmla="*/ 6419 h 10000"/>
                <a:gd name="connsiteX2399" fmla="*/ 37 w 10785"/>
                <a:gd name="connsiteY2399" fmla="*/ 6462 h 10000"/>
                <a:gd name="connsiteX2400" fmla="*/ 46 w 10785"/>
                <a:gd name="connsiteY2400" fmla="*/ 6462 h 10000"/>
                <a:gd name="connsiteX2401" fmla="*/ 51 w 10785"/>
                <a:gd name="connsiteY2401" fmla="*/ 6470 h 10000"/>
                <a:gd name="connsiteX2402" fmla="*/ 51 w 10785"/>
                <a:gd name="connsiteY2402" fmla="*/ 6496 h 10000"/>
                <a:gd name="connsiteX2403" fmla="*/ 51 w 10785"/>
                <a:gd name="connsiteY2403" fmla="*/ 6504 h 10000"/>
                <a:gd name="connsiteX2404" fmla="*/ 37 w 10785"/>
                <a:gd name="connsiteY2404" fmla="*/ 6530 h 10000"/>
                <a:gd name="connsiteX2405" fmla="*/ 18 w 10785"/>
                <a:gd name="connsiteY2405" fmla="*/ 6598 h 10000"/>
                <a:gd name="connsiteX2406" fmla="*/ 28 w 10785"/>
                <a:gd name="connsiteY2406" fmla="*/ 6632 h 10000"/>
                <a:gd name="connsiteX2407" fmla="*/ 18 w 10785"/>
                <a:gd name="connsiteY2407" fmla="*/ 6667 h 10000"/>
                <a:gd name="connsiteX2408" fmla="*/ 28 w 10785"/>
                <a:gd name="connsiteY2408" fmla="*/ 6692 h 10000"/>
                <a:gd name="connsiteX2409" fmla="*/ 28 w 10785"/>
                <a:gd name="connsiteY2409" fmla="*/ 6709 h 10000"/>
                <a:gd name="connsiteX2410" fmla="*/ 18 w 10785"/>
                <a:gd name="connsiteY2410" fmla="*/ 6718 h 10000"/>
                <a:gd name="connsiteX2411" fmla="*/ 5 w 10785"/>
                <a:gd name="connsiteY2411" fmla="*/ 6744 h 10000"/>
                <a:gd name="connsiteX2412" fmla="*/ 0 w 10785"/>
                <a:gd name="connsiteY2412" fmla="*/ 6769 h 10000"/>
                <a:gd name="connsiteX2413" fmla="*/ 5 w 10785"/>
                <a:gd name="connsiteY2413" fmla="*/ 6778 h 10000"/>
                <a:gd name="connsiteX2414" fmla="*/ 32 w 10785"/>
                <a:gd name="connsiteY2414" fmla="*/ 6778 h 10000"/>
                <a:gd name="connsiteX2415" fmla="*/ 46 w 10785"/>
                <a:gd name="connsiteY2415" fmla="*/ 6821 h 10000"/>
                <a:gd name="connsiteX2416" fmla="*/ 46 w 10785"/>
                <a:gd name="connsiteY2416" fmla="*/ 6855 h 10000"/>
                <a:gd name="connsiteX2417" fmla="*/ 32 w 10785"/>
                <a:gd name="connsiteY2417" fmla="*/ 6855 h 10000"/>
                <a:gd name="connsiteX2418" fmla="*/ 14 w 10785"/>
                <a:gd name="connsiteY2418" fmla="*/ 6821 h 10000"/>
                <a:gd name="connsiteX2419" fmla="*/ 14 w 10785"/>
                <a:gd name="connsiteY2419" fmla="*/ 6846 h 10000"/>
                <a:gd name="connsiteX2420" fmla="*/ 0 w 10785"/>
                <a:gd name="connsiteY2420" fmla="*/ 6897 h 10000"/>
                <a:gd name="connsiteX2421" fmla="*/ 0 w 10785"/>
                <a:gd name="connsiteY2421" fmla="*/ 6915 h 10000"/>
                <a:gd name="connsiteX2422" fmla="*/ 5 w 10785"/>
                <a:gd name="connsiteY2422" fmla="*/ 6932 h 10000"/>
                <a:gd name="connsiteX2423" fmla="*/ 14 w 10785"/>
                <a:gd name="connsiteY2423" fmla="*/ 6940 h 10000"/>
                <a:gd name="connsiteX2424" fmla="*/ 18 w 10785"/>
                <a:gd name="connsiteY2424" fmla="*/ 6957 h 10000"/>
                <a:gd name="connsiteX2425" fmla="*/ 28 w 10785"/>
                <a:gd name="connsiteY2425" fmla="*/ 6966 h 10000"/>
                <a:gd name="connsiteX2426" fmla="*/ 28 w 10785"/>
                <a:gd name="connsiteY2426" fmla="*/ 6983 h 10000"/>
                <a:gd name="connsiteX2427" fmla="*/ 18 w 10785"/>
                <a:gd name="connsiteY2427" fmla="*/ 7051 h 10000"/>
                <a:gd name="connsiteX2428" fmla="*/ 28 w 10785"/>
                <a:gd name="connsiteY2428" fmla="*/ 7068 h 10000"/>
                <a:gd name="connsiteX2429" fmla="*/ 32 w 10785"/>
                <a:gd name="connsiteY2429" fmla="*/ 7068 h 10000"/>
                <a:gd name="connsiteX2430" fmla="*/ 32 w 10785"/>
                <a:gd name="connsiteY2430" fmla="*/ 7094 h 10000"/>
                <a:gd name="connsiteX2431" fmla="*/ 60 w 10785"/>
                <a:gd name="connsiteY2431" fmla="*/ 7162 h 10000"/>
                <a:gd name="connsiteX2432" fmla="*/ 60 w 10785"/>
                <a:gd name="connsiteY2432" fmla="*/ 7231 h 10000"/>
                <a:gd name="connsiteX2433" fmla="*/ 60 w 10785"/>
                <a:gd name="connsiteY2433" fmla="*/ 7239 h 10000"/>
                <a:gd name="connsiteX2434" fmla="*/ 78 w 10785"/>
                <a:gd name="connsiteY2434" fmla="*/ 7239 h 10000"/>
                <a:gd name="connsiteX2435" fmla="*/ 88 w 10785"/>
                <a:gd name="connsiteY2435" fmla="*/ 7239 h 10000"/>
                <a:gd name="connsiteX2436" fmla="*/ 92 w 10785"/>
                <a:gd name="connsiteY2436" fmla="*/ 7256 h 10000"/>
                <a:gd name="connsiteX2437" fmla="*/ 111 w 10785"/>
                <a:gd name="connsiteY2437" fmla="*/ 7256 h 10000"/>
                <a:gd name="connsiteX2438" fmla="*/ 120 w 10785"/>
                <a:gd name="connsiteY2438" fmla="*/ 7256 h 10000"/>
                <a:gd name="connsiteX2439" fmla="*/ 134 w 10785"/>
                <a:gd name="connsiteY2439" fmla="*/ 7282 h 10000"/>
                <a:gd name="connsiteX2440" fmla="*/ 134 w 10785"/>
                <a:gd name="connsiteY2440" fmla="*/ 7316 h 10000"/>
                <a:gd name="connsiteX2441" fmla="*/ 152 w 10785"/>
                <a:gd name="connsiteY2441" fmla="*/ 7299 h 10000"/>
                <a:gd name="connsiteX2442" fmla="*/ 161 w 10785"/>
                <a:gd name="connsiteY2442" fmla="*/ 7299 h 10000"/>
                <a:gd name="connsiteX2443" fmla="*/ 166 w 10785"/>
                <a:gd name="connsiteY2443" fmla="*/ 7291 h 10000"/>
                <a:gd name="connsiteX2444" fmla="*/ 194 w 10785"/>
                <a:gd name="connsiteY2444" fmla="*/ 7291 h 10000"/>
                <a:gd name="connsiteX2445" fmla="*/ 207 w 10785"/>
                <a:gd name="connsiteY2445" fmla="*/ 7299 h 10000"/>
                <a:gd name="connsiteX2446" fmla="*/ 221 w 10785"/>
                <a:gd name="connsiteY2446" fmla="*/ 7342 h 10000"/>
                <a:gd name="connsiteX2447" fmla="*/ 235 w 10785"/>
                <a:gd name="connsiteY2447" fmla="*/ 7342 h 10000"/>
                <a:gd name="connsiteX2448" fmla="*/ 235 w 10785"/>
                <a:gd name="connsiteY2448" fmla="*/ 7368 h 10000"/>
                <a:gd name="connsiteX2449" fmla="*/ 226 w 10785"/>
                <a:gd name="connsiteY2449" fmla="*/ 7393 h 10000"/>
                <a:gd name="connsiteX2450" fmla="*/ 226 w 10785"/>
                <a:gd name="connsiteY2450" fmla="*/ 7402 h 10000"/>
                <a:gd name="connsiteX2451" fmla="*/ 235 w 10785"/>
                <a:gd name="connsiteY2451" fmla="*/ 7419 h 10000"/>
                <a:gd name="connsiteX2452" fmla="*/ 240 w 10785"/>
                <a:gd name="connsiteY2452" fmla="*/ 7436 h 10000"/>
                <a:gd name="connsiteX2453" fmla="*/ 235 w 10785"/>
                <a:gd name="connsiteY2453" fmla="*/ 7462 h 10000"/>
                <a:gd name="connsiteX2454" fmla="*/ 226 w 10785"/>
                <a:gd name="connsiteY2454" fmla="*/ 7479 h 10000"/>
                <a:gd name="connsiteX2455" fmla="*/ 226 w 10785"/>
                <a:gd name="connsiteY2455" fmla="*/ 7504 h 10000"/>
                <a:gd name="connsiteX2456" fmla="*/ 226 w 10785"/>
                <a:gd name="connsiteY2456" fmla="*/ 7513 h 10000"/>
                <a:gd name="connsiteX2457" fmla="*/ 240 w 10785"/>
                <a:gd name="connsiteY2457" fmla="*/ 7538 h 10000"/>
                <a:gd name="connsiteX2458" fmla="*/ 267 w 10785"/>
                <a:gd name="connsiteY2458" fmla="*/ 7641 h 10000"/>
                <a:gd name="connsiteX2459" fmla="*/ 281 w 10785"/>
                <a:gd name="connsiteY2459" fmla="*/ 7667 h 10000"/>
                <a:gd name="connsiteX2460" fmla="*/ 286 w 10785"/>
                <a:gd name="connsiteY2460" fmla="*/ 7675 h 10000"/>
                <a:gd name="connsiteX2461" fmla="*/ 286 w 10785"/>
                <a:gd name="connsiteY2461" fmla="*/ 7692 h 10000"/>
                <a:gd name="connsiteX2462" fmla="*/ 286 w 10785"/>
                <a:gd name="connsiteY2462" fmla="*/ 7709 h 10000"/>
                <a:gd name="connsiteX2463" fmla="*/ 295 w 10785"/>
                <a:gd name="connsiteY2463" fmla="*/ 7726 h 10000"/>
                <a:gd name="connsiteX2464" fmla="*/ 318 w 10785"/>
                <a:gd name="connsiteY2464" fmla="*/ 7709 h 10000"/>
                <a:gd name="connsiteX2465" fmla="*/ 327 w 10785"/>
                <a:gd name="connsiteY2465" fmla="*/ 7726 h 10000"/>
                <a:gd name="connsiteX2466" fmla="*/ 341 w 10785"/>
                <a:gd name="connsiteY2466" fmla="*/ 7735 h 10000"/>
                <a:gd name="connsiteX2467" fmla="*/ 332 w 10785"/>
                <a:gd name="connsiteY2467" fmla="*/ 7752 h 10000"/>
                <a:gd name="connsiteX2468" fmla="*/ 341 w 10785"/>
                <a:gd name="connsiteY2468" fmla="*/ 7761 h 10000"/>
                <a:gd name="connsiteX2469" fmla="*/ 355 w 10785"/>
                <a:gd name="connsiteY2469" fmla="*/ 7761 h 10000"/>
                <a:gd name="connsiteX2470" fmla="*/ 355 w 10785"/>
                <a:gd name="connsiteY2470" fmla="*/ 7803 h 10000"/>
                <a:gd name="connsiteX2471" fmla="*/ 313 w 10785"/>
                <a:gd name="connsiteY2471" fmla="*/ 7846 h 10000"/>
                <a:gd name="connsiteX2472" fmla="*/ 295 w 10785"/>
                <a:gd name="connsiteY2472" fmla="*/ 7846 h 10000"/>
                <a:gd name="connsiteX2473" fmla="*/ 281 w 10785"/>
                <a:gd name="connsiteY2473" fmla="*/ 7821 h 10000"/>
                <a:gd name="connsiteX2474" fmla="*/ 272 w 10785"/>
                <a:gd name="connsiteY2474" fmla="*/ 7821 h 10000"/>
                <a:gd name="connsiteX2475" fmla="*/ 267 w 10785"/>
                <a:gd name="connsiteY2475" fmla="*/ 7838 h 10000"/>
                <a:gd name="connsiteX2476" fmla="*/ 258 w 10785"/>
                <a:gd name="connsiteY2476" fmla="*/ 7846 h 10000"/>
                <a:gd name="connsiteX2477" fmla="*/ 253 w 10785"/>
                <a:gd name="connsiteY2477" fmla="*/ 7863 h 10000"/>
                <a:gd name="connsiteX2478" fmla="*/ 253 w 10785"/>
                <a:gd name="connsiteY2478" fmla="*/ 7872 h 10000"/>
                <a:gd name="connsiteX2479" fmla="*/ 267 w 10785"/>
                <a:gd name="connsiteY2479" fmla="*/ 7897 h 10000"/>
                <a:gd name="connsiteX2480" fmla="*/ 272 w 10785"/>
                <a:gd name="connsiteY2480" fmla="*/ 7915 h 10000"/>
                <a:gd name="connsiteX2481" fmla="*/ 267 w 10785"/>
                <a:gd name="connsiteY2481" fmla="*/ 7940 h 10000"/>
                <a:gd name="connsiteX2482" fmla="*/ 272 w 10785"/>
                <a:gd name="connsiteY2482" fmla="*/ 7949 h 10000"/>
                <a:gd name="connsiteX2483" fmla="*/ 272 w 10785"/>
                <a:gd name="connsiteY2483" fmla="*/ 7957 h 10000"/>
                <a:gd name="connsiteX2484" fmla="*/ 281 w 10785"/>
                <a:gd name="connsiteY2484" fmla="*/ 7974 h 10000"/>
                <a:gd name="connsiteX2485" fmla="*/ 286 w 10785"/>
                <a:gd name="connsiteY2485" fmla="*/ 7983 h 10000"/>
                <a:gd name="connsiteX2486" fmla="*/ 281 w 10785"/>
                <a:gd name="connsiteY2486" fmla="*/ 8009 h 10000"/>
                <a:gd name="connsiteX2487" fmla="*/ 286 w 10785"/>
                <a:gd name="connsiteY2487" fmla="*/ 8060 h 10000"/>
                <a:gd name="connsiteX2488" fmla="*/ 286 w 10785"/>
                <a:gd name="connsiteY2488" fmla="*/ 8060 h 10000"/>
                <a:gd name="connsiteX2489" fmla="*/ 295 w 10785"/>
                <a:gd name="connsiteY2489" fmla="*/ 8077 h 10000"/>
                <a:gd name="connsiteX2490" fmla="*/ 309 w 10785"/>
                <a:gd name="connsiteY2490" fmla="*/ 8077 h 10000"/>
                <a:gd name="connsiteX2491" fmla="*/ 313 w 10785"/>
                <a:gd name="connsiteY2491" fmla="*/ 8060 h 10000"/>
                <a:gd name="connsiteX2492" fmla="*/ 318 w 10785"/>
                <a:gd name="connsiteY2492" fmla="*/ 8051 h 10000"/>
                <a:gd name="connsiteX2493" fmla="*/ 318 w 10785"/>
                <a:gd name="connsiteY2493" fmla="*/ 8034 h 10000"/>
                <a:gd name="connsiteX2494" fmla="*/ 332 w 10785"/>
                <a:gd name="connsiteY2494" fmla="*/ 8026 h 10000"/>
                <a:gd name="connsiteX2495" fmla="*/ 359 w 10785"/>
                <a:gd name="connsiteY2495" fmla="*/ 8034 h 10000"/>
                <a:gd name="connsiteX2496" fmla="*/ 378 w 10785"/>
                <a:gd name="connsiteY2496" fmla="*/ 8026 h 10000"/>
                <a:gd name="connsiteX2497" fmla="*/ 401 w 10785"/>
                <a:gd name="connsiteY2497" fmla="*/ 8026 h 10000"/>
                <a:gd name="connsiteX2498" fmla="*/ 419 w 10785"/>
                <a:gd name="connsiteY2498" fmla="*/ 8009 h 10000"/>
                <a:gd name="connsiteX2499" fmla="*/ 433 w 10785"/>
                <a:gd name="connsiteY2499" fmla="*/ 8034 h 10000"/>
                <a:gd name="connsiteX2500" fmla="*/ 442 w 10785"/>
                <a:gd name="connsiteY2500" fmla="*/ 8060 h 10000"/>
                <a:gd name="connsiteX2501" fmla="*/ 442 w 10785"/>
                <a:gd name="connsiteY2501" fmla="*/ 8077 h 10000"/>
                <a:gd name="connsiteX2502" fmla="*/ 461 w 10785"/>
                <a:gd name="connsiteY2502" fmla="*/ 8111 h 10000"/>
                <a:gd name="connsiteX2503" fmla="*/ 461 w 10785"/>
                <a:gd name="connsiteY2503" fmla="*/ 8137 h 10000"/>
                <a:gd name="connsiteX2504" fmla="*/ 447 w 10785"/>
                <a:gd name="connsiteY2504" fmla="*/ 8145 h 10000"/>
                <a:gd name="connsiteX2505" fmla="*/ 442 w 10785"/>
                <a:gd name="connsiteY2505" fmla="*/ 8145 h 10000"/>
                <a:gd name="connsiteX2506" fmla="*/ 442 w 10785"/>
                <a:gd name="connsiteY2506" fmla="*/ 8162 h 10000"/>
                <a:gd name="connsiteX2507" fmla="*/ 442 w 10785"/>
                <a:gd name="connsiteY2507" fmla="*/ 8171 h 10000"/>
                <a:gd name="connsiteX2508" fmla="*/ 447 w 10785"/>
                <a:gd name="connsiteY2508" fmla="*/ 8214 h 10000"/>
                <a:gd name="connsiteX2509" fmla="*/ 465 w 10785"/>
                <a:gd name="connsiteY2509" fmla="*/ 8231 h 10000"/>
                <a:gd name="connsiteX2510" fmla="*/ 488 w 10785"/>
                <a:gd name="connsiteY2510" fmla="*/ 8231 h 10000"/>
                <a:gd name="connsiteX2511" fmla="*/ 493 w 10785"/>
                <a:gd name="connsiteY2511" fmla="*/ 8231 h 10000"/>
                <a:gd name="connsiteX2512" fmla="*/ 502 w 10785"/>
                <a:gd name="connsiteY2512" fmla="*/ 8231 h 10000"/>
                <a:gd name="connsiteX2513" fmla="*/ 507 w 10785"/>
                <a:gd name="connsiteY2513" fmla="*/ 8248 h 10000"/>
                <a:gd name="connsiteX2514" fmla="*/ 521 w 10785"/>
                <a:gd name="connsiteY2514" fmla="*/ 8274 h 10000"/>
                <a:gd name="connsiteX2515" fmla="*/ 525 w 10785"/>
                <a:gd name="connsiteY2515" fmla="*/ 8333 h 10000"/>
                <a:gd name="connsiteX2516" fmla="*/ 525 w 10785"/>
                <a:gd name="connsiteY2516" fmla="*/ 8359 h 10000"/>
                <a:gd name="connsiteX2517" fmla="*/ 525 w 10785"/>
                <a:gd name="connsiteY2517" fmla="*/ 8368 h 10000"/>
                <a:gd name="connsiteX2518" fmla="*/ 548 w 10785"/>
                <a:gd name="connsiteY2518" fmla="*/ 8393 h 10000"/>
                <a:gd name="connsiteX2519" fmla="*/ 553 w 10785"/>
                <a:gd name="connsiteY2519" fmla="*/ 8385 h 10000"/>
                <a:gd name="connsiteX2520" fmla="*/ 562 w 10785"/>
                <a:gd name="connsiteY2520" fmla="*/ 8385 h 10000"/>
                <a:gd name="connsiteX2521" fmla="*/ 576 w 10785"/>
                <a:gd name="connsiteY2521" fmla="*/ 8385 h 10000"/>
                <a:gd name="connsiteX2522" fmla="*/ 585 w 10785"/>
                <a:gd name="connsiteY2522" fmla="*/ 8410 h 10000"/>
                <a:gd name="connsiteX2523" fmla="*/ 594 w 10785"/>
                <a:gd name="connsiteY2523" fmla="*/ 8410 h 10000"/>
                <a:gd name="connsiteX2524" fmla="*/ 608 w 10785"/>
                <a:gd name="connsiteY2524" fmla="*/ 8410 h 10000"/>
                <a:gd name="connsiteX2525" fmla="*/ 654 w 10785"/>
                <a:gd name="connsiteY2525" fmla="*/ 8385 h 10000"/>
                <a:gd name="connsiteX2526" fmla="*/ 659 w 10785"/>
                <a:gd name="connsiteY2526" fmla="*/ 8385 h 10000"/>
                <a:gd name="connsiteX2527" fmla="*/ 696 w 10785"/>
                <a:gd name="connsiteY2527" fmla="*/ 8470 h 10000"/>
                <a:gd name="connsiteX2528" fmla="*/ 700 w 10785"/>
                <a:gd name="connsiteY2528" fmla="*/ 8470 h 10000"/>
                <a:gd name="connsiteX2529" fmla="*/ 710 w 10785"/>
                <a:gd name="connsiteY2529" fmla="*/ 8462 h 10000"/>
                <a:gd name="connsiteX2530" fmla="*/ 714 w 10785"/>
                <a:gd name="connsiteY2530" fmla="*/ 8462 h 10000"/>
                <a:gd name="connsiteX2531" fmla="*/ 724 w 10785"/>
                <a:gd name="connsiteY2531" fmla="*/ 8470 h 10000"/>
                <a:gd name="connsiteX2532" fmla="*/ 733 w 10785"/>
                <a:gd name="connsiteY2532" fmla="*/ 8470 h 10000"/>
                <a:gd name="connsiteX2533" fmla="*/ 742 w 10785"/>
                <a:gd name="connsiteY2533" fmla="*/ 8487 h 10000"/>
                <a:gd name="connsiteX2534" fmla="*/ 747 w 10785"/>
                <a:gd name="connsiteY2534" fmla="*/ 8496 h 10000"/>
                <a:gd name="connsiteX2535" fmla="*/ 770 w 10785"/>
                <a:gd name="connsiteY2535" fmla="*/ 8496 h 10000"/>
                <a:gd name="connsiteX2536" fmla="*/ 783 w 10785"/>
                <a:gd name="connsiteY2536" fmla="*/ 8521 h 10000"/>
                <a:gd name="connsiteX2537" fmla="*/ 797 w 10785"/>
                <a:gd name="connsiteY2537" fmla="*/ 8521 h 10000"/>
                <a:gd name="connsiteX2538" fmla="*/ 806 w 10785"/>
                <a:gd name="connsiteY2538" fmla="*/ 8530 h 10000"/>
                <a:gd name="connsiteX2539" fmla="*/ 829 w 10785"/>
                <a:gd name="connsiteY2539" fmla="*/ 8547 h 10000"/>
                <a:gd name="connsiteX2540" fmla="*/ 834 w 10785"/>
                <a:gd name="connsiteY2540" fmla="*/ 8556 h 10000"/>
                <a:gd name="connsiteX2541" fmla="*/ 829 w 10785"/>
                <a:gd name="connsiteY2541" fmla="*/ 8556 h 10000"/>
                <a:gd name="connsiteX2542" fmla="*/ 834 w 10785"/>
                <a:gd name="connsiteY2542" fmla="*/ 8607 h 10000"/>
                <a:gd name="connsiteX2543" fmla="*/ 829 w 10785"/>
                <a:gd name="connsiteY2543" fmla="*/ 8641 h 10000"/>
                <a:gd name="connsiteX2544" fmla="*/ 806 w 10785"/>
                <a:gd name="connsiteY2544" fmla="*/ 8658 h 10000"/>
                <a:gd name="connsiteX2545" fmla="*/ 816 w 10785"/>
                <a:gd name="connsiteY2545" fmla="*/ 8667 h 10000"/>
                <a:gd name="connsiteX2546" fmla="*/ 820 w 10785"/>
                <a:gd name="connsiteY2546" fmla="*/ 8667 h 10000"/>
                <a:gd name="connsiteX2547" fmla="*/ 829 w 10785"/>
                <a:gd name="connsiteY2547" fmla="*/ 8684 h 10000"/>
                <a:gd name="connsiteX2548" fmla="*/ 806 w 10785"/>
                <a:gd name="connsiteY2548" fmla="*/ 8692 h 10000"/>
                <a:gd name="connsiteX2549" fmla="*/ 802 w 10785"/>
                <a:gd name="connsiteY2549" fmla="*/ 8709 h 10000"/>
                <a:gd name="connsiteX2550" fmla="*/ 802 w 10785"/>
                <a:gd name="connsiteY2550" fmla="*/ 8735 h 10000"/>
                <a:gd name="connsiteX2551" fmla="*/ 806 w 10785"/>
                <a:gd name="connsiteY2551" fmla="*/ 8744 h 10000"/>
                <a:gd name="connsiteX2552" fmla="*/ 816 w 10785"/>
                <a:gd name="connsiteY2552" fmla="*/ 8752 h 10000"/>
                <a:gd name="connsiteX2553" fmla="*/ 806 w 10785"/>
                <a:gd name="connsiteY2553" fmla="*/ 8778 h 10000"/>
                <a:gd name="connsiteX2554" fmla="*/ 820 w 10785"/>
                <a:gd name="connsiteY2554" fmla="*/ 8778 h 10000"/>
                <a:gd name="connsiteX2555" fmla="*/ 806 w 10785"/>
                <a:gd name="connsiteY2555" fmla="*/ 8880 h 10000"/>
                <a:gd name="connsiteX2556" fmla="*/ 797 w 10785"/>
                <a:gd name="connsiteY2556" fmla="*/ 8880 h 10000"/>
                <a:gd name="connsiteX2557" fmla="*/ 783 w 10785"/>
                <a:gd name="connsiteY2557" fmla="*/ 8872 h 10000"/>
                <a:gd name="connsiteX2558" fmla="*/ 770 w 10785"/>
                <a:gd name="connsiteY2558" fmla="*/ 8880 h 10000"/>
                <a:gd name="connsiteX2559" fmla="*/ 756 w 10785"/>
                <a:gd name="connsiteY2559" fmla="*/ 8855 h 10000"/>
                <a:gd name="connsiteX2560" fmla="*/ 733 w 10785"/>
                <a:gd name="connsiteY2560" fmla="*/ 8906 h 10000"/>
                <a:gd name="connsiteX2561" fmla="*/ 714 w 10785"/>
                <a:gd name="connsiteY2561" fmla="*/ 8915 h 10000"/>
                <a:gd name="connsiteX2562" fmla="*/ 710 w 10785"/>
                <a:gd name="connsiteY2562" fmla="*/ 8940 h 10000"/>
                <a:gd name="connsiteX2563" fmla="*/ 710 w 10785"/>
                <a:gd name="connsiteY2563" fmla="*/ 9009 h 10000"/>
                <a:gd name="connsiteX2564" fmla="*/ 728 w 10785"/>
                <a:gd name="connsiteY2564" fmla="*/ 8991 h 10000"/>
                <a:gd name="connsiteX2565" fmla="*/ 733 w 10785"/>
                <a:gd name="connsiteY2565" fmla="*/ 8991 h 10000"/>
                <a:gd name="connsiteX2566" fmla="*/ 747 w 10785"/>
                <a:gd name="connsiteY2566" fmla="*/ 8983 h 10000"/>
                <a:gd name="connsiteX2567" fmla="*/ 760 w 10785"/>
                <a:gd name="connsiteY2567" fmla="*/ 8983 h 10000"/>
                <a:gd name="connsiteX2568" fmla="*/ 770 w 10785"/>
                <a:gd name="connsiteY2568" fmla="*/ 8983 h 10000"/>
                <a:gd name="connsiteX2569" fmla="*/ 770 w 10785"/>
                <a:gd name="connsiteY2569" fmla="*/ 8991 h 10000"/>
                <a:gd name="connsiteX2570" fmla="*/ 783 w 10785"/>
                <a:gd name="connsiteY2570" fmla="*/ 8991 h 10000"/>
                <a:gd name="connsiteX2571" fmla="*/ 783 w 10785"/>
                <a:gd name="connsiteY2571" fmla="*/ 9009 h 10000"/>
                <a:gd name="connsiteX2572" fmla="*/ 783 w 10785"/>
                <a:gd name="connsiteY2572" fmla="*/ 9017 h 10000"/>
                <a:gd name="connsiteX2573" fmla="*/ 770 w 10785"/>
                <a:gd name="connsiteY2573" fmla="*/ 9017 h 10000"/>
                <a:gd name="connsiteX2574" fmla="*/ 724 w 10785"/>
                <a:gd name="connsiteY2574" fmla="*/ 9051 h 10000"/>
                <a:gd name="connsiteX2575" fmla="*/ 724 w 10785"/>
                <a:gd name="connsiteY2575" fmla="*/ 9068 h 10000"/>
                <a:gd name="connsiteX2576" fmla="*/ 728 w 10785"/>
                <a:gd name="connsiteY2576" fmla="*/ 9077 h 10000"/>
                <a:gd name="connsiteX2577" fmla="*/ 724 w 10785"/>
                <a:gd name="connsiteY2577" fmla="*/ 9077 h 10000"/>
                <a:gd name="connsiteX2578" fmla="*/ 710 w 10785"/>
                <a:gd name="connsiteY2578" fmla="*/ 9077 h 10000"/>
                <a:gd name="connsiteX2579" fmla="*/ 682 w 10785"/>
                <a:gd name="connsiteY2579" fmla="*/ 9077 h 10000"/>
                <a:gd name="connsiteX2580" fmla="*/ 673 w 10785"/>
                <a:gd name="connsiteY2580" fmla="*/ 9103 h 10000"/>
                <a:gd name="connsiteX2581" fmla="*/ 687 w 10785"/>
                <a:gd name="connsiteY2581" fmla="*/ 9128 h 10000"/>
                <a:gd name="connsiteX2582" fmla="*/ 700 w 10785"/>
                <a:gd name="connsiteY2582" fmla="*/ 9128 h 10000"/>
                <a:gd name="connsiteX2583" fmla="*/ 728 w 10785"/>
                <a:gd name="connsiteY2583" fmla="*/ 9179 h 10000"/>
                <a:gd name="connsiteX2584" fmla="*/ 724 w 10785"/>
                <a:gd name="connsiteY2584" fmla="*/ 9188 h 10000"/>
                <a:gd name="connsiteX2585" fmla="*/ 710 w 10785"/>
                <a:gd name="connsiteY2585" fmla="*/ 9179 h 10000"/>
                <a:gd name="connsiteX2586" fmla="*/ 700 w 10785"/>
                <a:gd name="connsiteY2586" fmla="*/ 9205 h 10000"/>
                <a:gd name="connsiteX2587" fmla="*/ 696 w 10785"/>
                <a:gd name="connsiteY2587" fmla="*/ 9205 h 10000"/>
                <a:gd name="connsiteX2588" fmla="*/ 654 w 10785"/>
                <a:gd name="connsiteY2588" fmla="*/ 9299 h 10000"/>
                <a:gd name="connsiteX2589" fmla="*/ 622 w 10785"/>
                <a:gd name="connsiteY2589" fmla="*/ 9299 h 10000"/>
                <a:gd name="connsiteX2590" fmla="*/ 613 w 10785"/>
                <a:gd name="connsiteY2590" fmla="*/ 9316 h 10000"/>
                <a:gd name="connsiteX2591" fmla="*/ 613 w 10785"/>
                <a:gd name="connsiteY2591" fmla="*/ 9325 h 10000"/>
                <a:gd name="connsiteX2592" fmla="*/ 608 w 10785"/>
                <a:gd name="connsiteY2592" fmla="*/ 9342 h 10000"/>
                <a:gd name="connsiteX2593" fmla="*/ 636 w 10785"/>
                <a:gd name="connsiteY2593" fmla="*/ 9376 h 10000"/>
                <a:gd name="connsiteX2594" fmla="*/ 641 w 10785"/>
                <a:gd name="connsiteY2594" fmla="*/ 9402 h 10000"/>
                <a:gd name="connsiteX2595" fmla="*/ 654 w 10785"/>
                <a:gd name="connsiteY2595" fmla="*/ 9427 h 10000"/>
                <a:gd name="connsiteX2596" fmla="*/ 668 w 10785"/>
                <a:gd name="connsiteY2596" fmla="*/ 9427 h 10000"/>
                <a:gd name="connsiteX2597" fmla="*/ 668 w 10785"/>
                <a:gd name="connsiteY2597" fmla="*/ 9427 h 10000"/>
                <a:gd name="connsiteX2598" fmla="*/ 774 w 10785"/>
                <a:gd name="connsiteY2598" fmla="*/ 9547 h 10000"/>
                <a:gd name="connsiteX2599" fmla="*/ 797 w 10785"/>
                <a:gd name="connsiteY2599" fmla="*/ 9598 h 10000"/>
                <a:gd name="connsiteX2600" fmla="*/ 802 w 10785"/>
                <a:gd name="connsiteY2600" fmla="*/ 9598 h 10000"/>
                <a:gd name="connsiteX2601" fmla="*/ 816 w 10785"/>
                <a:gd name="connsiteY2601" fmla="*/ 9624 h 10000"/>
                <a:gd name="connsiteX2602" fmla="*/ 843 w 10785"/>
                <a:gd name="connsiteY2602" fmla="*/ 9615 h 10000"/>
                <a:gd name="connsiteX2603" fmla="*/ 857 w 10785"/>
                <a:gd name="connsiteY2603" fmla="*/ 9624 h 10000"/>
                <a:gd name="connsiteX2604" fmla="*/ 862 w 10785"/>
                <a:gd name="connsiteY2604" fmla="*/ 9615 h 10000"/>
                <a:gd name="connsiteX2605" fmla="*/ 880 w 10785"/>
                <a:gd name="connsiteY2605" fmla="*/ 9624 h 10000"/>
                <a:gd name="connsiteX2606" fmla="*/ 889 w 10785"/>
                <a:gd name="connsiteY2606" fmla="*/ 9641 h 10000"/>
                <a:gd name="connsiteX2607" fmla="*/ 935 w 10785"/>
                <a:gd name="connsiteY2607" fmla="*/ 9675 h 10000"/>
                <a:gd name="connsiteX2608" fmla="*/ 977 w 10785"/>
                <a:gd name="connsiteY2608" fmla="*/ 9667 h 10000"/>
                <a:gd name="connsiteX2609" fmla="*/ 995 w 10785"/>
                <a:gd name="connsiteY2609" fmla="*/ 9675 h 10000"/>
                <a:gd name="connsiteX2610" fmla="*/ 1014 w 10785"/>
                <a:gd name="connsiteY2610" fmla="*/ 9675 h 10000"/>
                <a:gd name="connsiteX2611" fmla="*/ 1069 w 10785"/>
                <a:gd name="connsiteY2611" fmla="*/ 9752 h 10000"/>
                <a:gd name="connsiteX2612" fmla="*/ 1074 w 10785"/>
                <a:gd name="connsiteY2612" fmla="*/ 9761 h 10000"/>
                <a:gd name="connsiteX2613" fmla="*/ 1083 w 10785"/>
                <a:gd name="connsiteY2613" fmla="*/ 9778 h 10000"/>
                <a:gd name="connsiteX2614" fmla="*/ 1115 w 10785"/>
                <a:gd name="connsiteY2614" fmla="*/ 9752 h 10000"/>
                <a:gd name="connsiteX2615" fmla="*/ 1129 w 10785"/>
                <a:gd name="connsiteY2615" fmla="*/ 9752 h 10000"/>
                <a:gd name="connsiteX2616" fmla="*/ 1138 w 10785"/>
                <a:gd name="connsiteY2616" fmla="*/ 9761 h 10000"/>
                <a:gd name="connsiteX2617" fmla="*/ 1143 w 10785"/>
                <a:gd name="connsiteY2617" fmla="*/ 9752 h 10000"/>
                <a:gd name="connsiteX2618" fmla="*/ 1161 w 10785"/>
                <a:gd name="connsiteY2618" fmla="*/ 9761 h 10000"/>
                <a:gd name="connsiteX2619" fmla="*/ 1171 w 10785"/>
                <a:gd name="connsiteY2619" fmla="*/ 9778 h 10000"/>
                <a:gd name="connsiteX2620" fmla="*/ 1175 w 10785"/>
                <a:gd name="connsiteY2620" fmla="*/ 9778 h 10000"/>
                <a:gd name="connsiteX2621" fmla="*/ 1189 w 10785"/>
                <a:gd name="connsiteY2621" fmla="*/ 9778 h 10000"/>
                <a:gd name="connsiteX2622" fmla="*/ 1198 w 10785"/>
                <a:gd name="connsiteY2622" fmla="*/ 9786 h 10000"/>
                <a:gd name="connsiteX2623" fmla="*/ 1203 w 10785"/>
                <a:gd name="connsiteY2623" fmla="*/ 9803 h 10000"/>
                <a:gd name="connsiteX2624" fmla="*/ 1198 w 10785"/>
                <a:gd name="connsiteY2624" fmla="*/ 9838 h 10000"/>
                <a:gd name="connsiteX2625" fmla="*/ 1212 w 10785"/>
                <a:gd name="connsiteY2625" fmla="*/ 9863 h 10000"/>
                <a:gd name="connsiteX2626" fmla="*/ 1230 w 10785"/>
                <a:gd name="connsiteY2626" fmla="*/ 9872 h 10000"/>
                <a:gd name="connsiteX2627" fmla="*/ 1249 w 10785"/>
                <a:gd name="connsiteY2627" fmla="*/ 9897 h 10000"/>
                <a:gd name="connsiteX2628" fmla="*/ 1263 w 10785"/>
                <a:gd name="connsiteY2628" fmla="*/ 9897 h 10000"/>
                <a:gd name="connsiteX2629" fmla="*/ 1276 w 10785"/>
                <a:gd name="connsiteY2629" fmla="*/ 9923 h 10000"/>
                <a:gd name="connsiteX2630" fmla="*/ 1281 w 10785"/>
                <a:gd name="connsiteY2630" fmla="*/ 9949 h 10000"/>
                <a:gd name="connsiteX2631" fmla="*/ 1290 w 10785"/>
                <a:gd name="connsiteY2631" fmla="*/ 9949 h 10000"/>
                <a:gd name="connsiteX2632" fmla="*/ 1295 w 10785"/>
                <a:gd name="connsiteY2632" fmla="*/ 10000 h 10000"/>
                <a:gd name="connsiteX2633" fmla="*/ 1332 w 10785"/>
                <a:gd name="connsiteY2633" fmla="*/ 10000 h 10000"/>
                <a:gd name="connsiteX2634" fmla="*/ 1336 w 10785"/>
                <a:gd name="connsiteY2634" fmla="*/ 10000 h 10000"/>
                <a:gd name="connsiteX2635" fmla="*/ 1346 w 10785"/>
                <a:gd name="connsiteY2635" fmla="*/ 9983 h 10000"/>
                <a:gd name="connsiteX2636" fmla="*/ 1350 w 10785"/>
                <a:gd name="connsiteY2636" fmla="*/ 9949 h 10000"/>
                <a:gd name="connsiteX2637" fmla="*/ 1369 w 10785"/>
                <a:gd name="connsiteY2637" fmla="*/ 9940 h 10000"/>
                <a:gd name="connsiteX2638" fmla="*/ 1378 w 10785"/>
                <a:gd name="connsiteY2638" fmla="*/ 9897 h 10000"/>
                <a:gd name="connsiteX2639" fmla="*/ 1369 w 10785"/>
                <a:gd name="connsiteY2639" fmla="*/ 9889 h 10000"/>
                <a:gd name="connsiteX2640" fmla="*/ 1318 w 10785"/>
                <a:gd name="connsiteY2640" fmla="*/ 9701 h 10000"/>
                <a:gd name="connsiteX2641" fmla="*/ 1318 w 10785"/>
                <a:gd name="connsiteY2641" fmla="*/ 9650 h 10000"/>
                <a:gd name="connsiteX2642" fmla="*/ 1323 w 10785"/>
                <a:gd name="connsiteY2642" fmla="*/ 9590 h 10000"/>
                <a:gd name="connsiteX2643" fmla="*/ 1323 w 10785"/>
                <a:gd name="connsiteY2643" fmla="*/ 9564 h 10000"/>
                <a:gd name="connsiteX2644" fmla="*/ 1309 w 10785"/>
                <a:gd name="connsiteY2644" fmla="*/ 9598 h 10000"/>
                <a:gd name="connsiteX2645" fmla="*/ 1309 w 10785"/>
                <a:gd name="connsiteY2645" fmla="*/ 9590 h 10000"/>
                <a:gd name="connsiteX2646" fmla="*/ 1304 w 10785"/>
                <a:gd name="connsiteY2646" fmla="*/ 9547 h 10000"/>
                <a:gd name="connsiteX2647" fmla="*/ 1276 w 10785"/>
                <a:gd name="connsiteY2647" fmla="*/ 9479 h 10000"/>
                <a:gd name="connsiteX2648" fmla="*/ 1263 w 10785"/>
                <a:gd name="connsiteY2648" fmla="*/ 9479 h 10000"/>
                <a:gd name="connsiteX2649" fmla="*/ 1263 w 10785"/>
                <a:gd name="connsiteY2649" fmla="*/ 9453 h 10000"/>
                <a:gd name="connsiteX2650" fmla="*/ 1272 w 10785"/>
                <a:gd name="connsiteY2650" fmla="*/ 9410 h 10000"/>
                <a:gd name="connsiteX2651" fmla="*/ 1272 w 10785"/>
                <a:gd name="connsiteY2651" fmla="*/ 9393 h 10000"/>
                <a:gd name="connsiteX2652" fmla="*/ 1281 w 10785"/>
                <a:gd name="connsiteY2652" fmla="*/ 9368 h 10000"/>
                <a:gd name="connsiteX2653" fmla="*/ 1281 w 10785"/>
                <a:gd name="connsiteY2653" fmla="*/ 9368 h 10000"/>
                <a:gd name="connsiteX2654" fmla="*/ 1290 w 10785"/>
                <a:gd name="connsiteY2654" fmla="*/ 9368 h 10000"/>
                <a:gd name="connsiteX2655" fmla="*/ 1290 w 10785"/>
                <a:gd name="connsiteY2655" fmla="*/ 9342 h 10000"/>
                <a:gd name="connsiteX2656" fmla="*/ 1304 w 10785"/>
                <a:gd name="connsiteY2656" fmla="*/ 9325 h 10000"/>
                <a:gd name="connsiteX2657" fmla="*/ 1309 w 10785"/>
                <a:gd name="connsiteY2657" fmla="*/ 9239 h 10000"/>
                <a:gd name="connsiteX2658" fmla="*/ 1318 w 10785"/>
                <a:gd name="connsiteY2658" fmla="*/ 9256 h 10000"/>
                <a:gd name="connsiteX2659" fmla="*/ 1323 w 10785"/>
                <a:gd name="connsiteY2659" fmla="*/ 9179 h 10000"/>
                <a:gd name="connsiteX2660" fmla="*/ 1309 w 10785"/>
                <a:gd name="connsiteY2660" fmla="*/ 9145 h 10000"/>
                <a:gd name="connsiteX2661" fmla="*/ 1336 w 10785"/>
                <a:gd name="connsiteY2661" fmla="*/ 9154 h 10000"/>
                <a:gd name="connsiteX2662" fmla="*/ 1336 w 10785"/>
                <a:gd name="connsiteY2662" fmla="*/ 9162 h 10000"/>
                <a:gd name="connsiteX2663" fmla="*/ 1350 w 10785"/>
                <a:gd name="connsiteY2663" fmla="*/ 9231 h 10000"/>
                <a:gd name="connsiteX2664" fmla="*/ 1355 w 10785"/>
                <a:gd name="connsiteY2664" fmla="*/ 9231 h 10000"/>
                <a:gd name="connsiteX2665" fmla="*/ 1364 w 10785"/>
                <a:gd name="connsiteY2665" fmla="*/ 9214 h 10000"/>
                <a:gd name="connsiteX2666" fmla="*/ 1369 w 10785"/>
                <a:gd name="connsiteY2666" fmla="*/ 9214 h 10000"/>
                <a:gd name="connsiteX2667" fmla="*/ 1382 w 10785"/>
                <a:gd name="connsiteY2667" fmla="*/ 9154 h 10000"/>
                <a:gd name="connsiteX2668" fmla="*/ 1396 w 10785"/>
                <a:gd name="connsiteY2668" fmla="*/ 9154 h 10000"/>
                <a:gd name="connsiteX2669" fmla="*/ 1382 w 10785"/>
                <a:gd name="connsiteY2669" fmla="*/ 9145 h 10000"/>
                <a:gd name="connsiteX2670" fmla="*/ 1382 w 10785"/>
                <a:gd name="connsiteY2670" fmla="*/ 9128 h 10000"/>
                <a:gd name="connsiteX2671" fmla="*/ 1369 w 10785"/>
                <a:gd name="connsiteY2671" fmla="*/ 9128 h 10000"/>
                <a:gd name="connsiteX2672" fmla="*/ 1364 w 10785"/>
                <a:gd name="connsiteY2672" fmla="*/ 9128 h 10000"/>
                <a:gd name="connsiteX2673" fmla="*/ 1355 w 10785"/>
                <a:gd name="connsiteY2673" fmla="*/ 9120 h 10000"/>
                <a:gd name="connsiteX2674" fmla="*/ 1350 w 10785"/>
                <a:gd name="connsiteY2674" fmla="*/ 9103 h 10000"/>
                <a:gd name="connsiteX2675" fmla="*/ 1355 w 10785"/>
                <a:gd name="connsiteY2675" fmla="*/ 9094 h 10000"/>
                <a:gd name="connsiteX2676" fmla="*/ 1355 w 10785"/>
                <a:gd name="connsiteY2676" fmla="*/ 9068 h 10000"/>
                <a:gd name="connsiteX2677" fmla="*/ 1369 w 10785"/>
                <a:gd name="connsiteY2677" fmla="*/ 9068 h 10000"/>
                <a:gd name="connsiteX2678" fmla="*/ 1378 w 10785"/>
                <a:gd name="connsiteY2678" fmla="*/ 9077 h 10000"/>
                <a:gd name="connsiteX2679" fmla="*/ 1396 w 10785"/>
                <a:gd name="connsiteY2679" fmla="*/ 9068 h 10000"/>
                <a:gd name="connsiteX2680" fmla="*/ 1382 w 10785"/>
                <a:gd name="connsiteY2680" fmla="*/ 8940 h 10000"/>
                <a:gd name="connsiteX2681" fmla="*/ 1378 w 10785"/>
                <a:gd name="connsiteY2681" fmla="*/ 8940 h 10000"/>
                <a:gd name="connsiteX2682" fmla="*/ 1364 w 10785"/>
                <a:gd name="connsiteY2682" fmla="*/ 8889 h 10000"/>
                <a:gd name="connsiteX2683" fmla="*/ 1355 w 10785"/>
                <a:gd name="connsiteY2683" fmla="*/ 8880 h 10000"/>
                <a:gd name="connsiteX2684" fmla="*/ 1323 w 10785"/>
                <a:gd name="connsiteY2684" fmla="*/ 8880 h 10000"/>
                <a:gd name="connsiteX2685" fmla="*/ 1309 w 10785"/>
                <a:gd name="connsiteY2685" fmla="*/ 8880 h 10000"/>
                <a:gd name="connsiteX2686" fmla="*/ 1309 w 10785"/>
                <a:gd name="connsiteY2686" fmla="*/ 8889 h 10000"/>
                <a:gd name="connsiteX2687" fmla="*/ 1295 w 10785"/>
                <a:gd name="connsiteY2687" fmla="*/ 8872 h 10000"/>
                <a:gd name="connsiteX2688" fmla="*/ 1290 w 10785"/>
                <a:gd name="connsiteY2688" fmla="*/ 8855 h 10000"/>
                <a:gd name="connsiteX2689" fmla="*/ 1290 w 10785"/>
                <a:gd name="connsiteY2689" fmla="*/ 8829 h 10000"/>
                <a:gd name="connsiteX2690" fmla="*/ 1290 w 10785"/>
                <a:gd name="connsiteY2690" fmla="*/ 8821 h 10000"/>
                <a:gd name="connsiteX2691" fmla="*/ 1290 w 10785"/>
                <a:gd name="connsiteY2691" fmla="*/ 8803 h 10000"/>
                <a:gd name="connsiteX2692" fmla="*/ 1281 w 10785"/>
                <a:gd name="connsiteY2692" fmla="*/ 8795 h 10000"/>
                <a:gd name="connsiteX2693" fmla="*/ 1249 w 10785"/>
                <a:gd name="connsiteY2693" fmla="*/ 8769 h 10000"/>
                <a:gd name="connsiteX2694" fmla="*/ 1263 w 10785"/>
                <a:gd name="connsiteY2694" fmla="*/ 8667 h 10000"/>
                <a:gd name="connsiteX2695" fmla="*/ 1281 w 10785"/>
                <a:gd name="connsiteY2695" fmla="*/ 8658 h 10000"/>
                <a:gd name="connsiteX2696" fmla="*/ 1290 w 10785"/>
                <a:gd name="connsiteY2696" fmla="*/ 8632 h 10000"/>
                <a:gd name="connsiteX2697" fmla="*/ 1281 w 10785"/>
                <a:gd name="connsiteY2697" fmla="*/ 8615 h 10000"/>
                <a:gd name="connsiteX2698" fmla="*/ 1272 w 10785"/>
                <a:gd name="connsiteY2698" fmla="*/ 8598 h 10000"/>
                <a:gd name="connsiteX2699" fmla="*/ 1281 w 10785"/>
                <a:gd name="connsiteY2699" fmla="*/ 8496 h 10000"/>
                <a:gd name="connsiteX2700" fmla="*/ 1295 w 10785"/>
                <a:gd name="connsiteY2700" fmla="*/ 8470 h 10000"/>
                <a:gd name="connsiteX2701" fmla="*/ 1304 w 10785"/>
                <a:gd name="connsiteY2701" fmla="*/ 8462 h 10000"/>
                <a:gd name="connsiteX2702" fmla="*/ 1304 w 10785"/>
                <a:gd name="connsiteY2702" fmla="*/ 8444 h 10000"/>
                <a:gd name="connsiteX2703" fmla="*/ 1304 w 10785"/>
                <a:gd name="connsiteY2703" fmla="*/ 8419 h 10000"/>
                <a:gd name="connsiteX2704" fmla="*/ 1304 w 10785"/>
                <a:gd name="connsiteY2704" fmla="*/ 8410 h 10000"/>
                <a:gd name="connsiteX2705" fmla="*/ 1309 w 10785"/>
                <a:gd name="connsiteY2705" fmla="*/ 8393 h 10000"/>
                <a:gd name="connsiteX2706" fmla="*/ 1318 w 10785"/>
                <a:gd name="connsiteY2706" fmla="*/ 8385 h 10000"/>
                <a:gd name="connsiteX2707" fmla="*/ 1323 w 10785"/>
                <a:gd name="connsiteY2707" fmla="*/ 8385 h 10000"/>
                <a:gd name="connsiteX2708" fmla="*/ 1332 w 10785"/>
                <a:gd name="connsiteY2708" fmla="*/ 8410 h 10000"/>
                <a:gd name="connsiteX2709" fmla="*/ 1346 w 10785"/>
                <a:gd name="connsiteY2709" fmla="*/ 8419 h 10000"/>
                <a:gd name="connsiteX2710" fmla="*/ 1364 w 10785"/>
                <a:gd name="connsiteY2710" fmla="*/ 8504 h 10000"/>
                <a:gd name="connsiteX2711" fmla="*/ 1369 w 10785"/>
                <a:gd name="connsiteY2711" fmla="*/ 8521 h 10000"/>
                <a:gd name="connsiteX2712" fmla="*/ 1406 w 10785"/>
                <a:gd name="connsiteY2712" fmla="*/ 8470 h 10000"/>
                <a:gd name="connsiteX2713" fmla="*/ 1382 w 10785"/>
                <a:gd name="connsiteY2713" fmla="*/ 8359 h 10000"/>
                <a:gd name="connsiteX2714" fmla="*/ 1392 w 10785"/>
                <a:gd name="connsiteY2714" fmla="*/ 8359 h 10000"/>
                <a:gd name="connsiteX2715" fmla="*/ 1438 w 10785"/>
                <a:gd name="connsiteY2715" fmla="*/ 8308 h 10000"/>
                <a:gd name="connsiteX2716" fmla="*/ 1442 w 10785"/>
                <a:gd name="connsiteY2716" fmla="*/ 8299 h 10000"/>
                <a:gd name="connsiteX2717" fmla="*/ 1442 w 10785"/>
                <a:gd name="connsiteY2717" fmla="*/ 8256 h 10000"/>
                <a:gd name="connsiteX2718" fmla="*/ 1452 w 10785"/>
                <a:gd name="connsiteY2718" fmla="*/ 8256 h 10000"/>
                <a:gd name="connsiteX2719" fmla="*/ 1456 w 10785"/>
                <a:gd name="connsiteY2719" fmla="*/ 8256 h 10000"/>
                <a:gd name="connsiteX2720" fmla="*/ 1470 w 10785"/>
                <a:gd name="connsiteY2720" fmla="*/ 8248 h 10000"/>
                <a:gd name="connsiteX2721" fmla="*/ 1479 w 10785"/>
                <a:gd name="connsiteY2721" fmla="*/ 8231 h 10000"/>
                <a:gd name="connsiteX2722" fmla="*/ 1493 w 10785"/>
                <a:gd name="connsiteY2722" fmla="*/ 8222 h 10000"/>
                <a:gd name="connsiteX2723" fmla="*/ 1498 w 10785"/>
                <a:gd name="connsiteY2723" fmla="*/ 8214 h 10000"/>
                <a:gd name="connsiteX2724" fmla="*/ 1502 w 10785"/>
                <a:gd name="connsiteY2724" fmla="*/ 8197 h 10000"/>
                <a:gd name="connsiteX2725" fmla="*/ 1512 w 10785"/>
                <a:gd name="connsiteY2725" fmla="*/ 8188 h 10000"/>
                <a:gd name="connsiteX2726" fmla="*/ 1516 w 10785"/>
                <a:gd name="connsiteY2726" fmla="*/ 8171 h 10000"/>
                <a:gd name="connsiteX2727" fmla="*/ 1525 w 10785"/>
                <a:gd name="connsiteY2727" fmla="*/ 8162 h 10000"/>
                <a:gd name="connsiteX2728" fmla="*/ 1539 w 10785"/>
                <a:gd name="connsiteY2728" fmla="*/ 8145 h 10000"/>
                <a:gd name="connsiteX2729" fmla="*/ 1558 w 10785"/>
                <a:gd name="connsiteY2729" fmla="*/ 8145 h 10000"/>
                <a:gd name="connsiteX2730" fmla="*/ 1562 w 10785"/>
                <a:gd name="connsiteY2730" fmla="*/ 8188 h 10000"/>
                <a:gd name="connsiteX2731" fmla="*/ 1585 w 10785"/>
                <a:gd name="connsiteY2731" fmla="*/ 8171 h 10000"/>
                <a:gd name="connsiteX2732" fmla="*/ 1590 w 10785"/>
                <a:gd name="connsiteY2732" fmla="*/ 8188 h 10000"/>
                <a:gd name="connsiteX2733" fmla="*/ 1599 w 10785"/>
                <a:gd name="connsiteY2733" fmla="*/ 8171 h 10000"/>
                <a:gd name="connsiteX2734" fmla="*/ 1599 w 10785"/>
                <a:gd name="connsiteY2734" fmla="*/ 8162 h 10000"/>
                <a:gd name="connsiteX2735" fmla="*/ 1604 w 10785"/>
                <a:gd name="connsiteY2735" fmla="*/ 8137 h 10000"/>
                <a:gd name="connsiteX2736" fmla="*/ 1618 w 10785"/>
                <a:gd name="connsiteY2736" fmla="*/ 8145 h 10000"/>
                <a:gd name="connsiteX2737" fmla="*/ 1627 w 10785"/>
                <a:gd name="connsiteY2737" fmla="*/ 8137 h 10000"/>
                <a:gd name="connsiteX2738" fmla="*/ 1631 w 10785"/>
                <a:gd name="connsiteY2738" fmla="*/ 8137 h 10000"/>
                <a:gd name="connsiteX2739" fmla="*/ 1636 w 10785"/>
                <a:gd name="connsiteY2739" fmla="*/ 8171 h 10000"/>
                <a:gd name="connsiteX2740" fmla="*/ 1645 w 10785"/>
                <a:gd name="connsiteY2740" fmla="*/ 8188 h 10000"/>
                <a:gd name="connsiteX2741" fmla="*/ 1664 w 10785"/>
                <a:gd name="connsiteY2741" fmla="*/ 8171 h 10000"/>
                <a:gd name="connsiteX2742" fmla="*/ 1673 w 10785"/>
                <a:gd name="connsiteY2742" fmla="*/ 8188 h 10000"/>
                <a:gd name="connsiteX2743" fmla="*/ 1691 w 10785"/>
                <a:gd name="connsiteY2743" fmla="*/ 8171 h 10000"/>
                <a:gd name="connsiteX2744" fmla="*/ 1705 w 10785"/>
                <a:gd name="connsiteY2744" fmla="*/ 8171 h 10000"/>
                <a:gd name="connsiteX2745" fmla="*/ 1719 w 10785"/>
                <a:gd name="connsiteY2745" fmla="*/ 8197 h 10000"/>
                <a:gd name="connsiteX2746" fmla="*/ 1724 w 10785"/>
                <a:gd name="connsiteY2746" fmla="*/ 8231 h 10000"/>
                <a:gd name="connsiteX2747" fmla="*/ 1751 w 10785"/>
                <a:gd name="connsiteY2747" fmla="*/ 8256 h 10000"/>
                <a:gd name="connsiteX2748" fmla="*/ 1751 w 10785"/>
                <a:gd name="connsiteY2748" fmla="*/ 8274 h 10000"/>
                <a:gd name="connsiteX2749" fmla="*/ 1760 w 10785"/>
                <a:gd name="connsiteY2749" fmla="*/ 8282 h 10000"/>
                <a:gd name="connsiteX2750" fmla="*/ 1770 w 10785"/>
                <a:gd name="connsiteY2750" fmla="*/ 8325 h 10000"/>
                <a:gd name="connsiteX2751" fmla="*/ 1770 w 10785"/>
                <a:gd name="connsiteY2751" fmla="*/ 8350 h 10000"/>
                <a:gd name="connsiteX2752" fmla="*/ 1779 w 10785"/>
                <a:gd name="connsiteY2752" fmla="*/ 8368 h 10000"/>
                <a:gd name="connsiteX2753" fmla="*/ 1783 w 10785"/>
                <a:gd name="connsiteY2753" fmla="*/ 8359 h 10000"/>
                <a:gd name="connsiteX2754" fmla="*/ 1783 w 10785"/>
                <a:gd name="connsiteY2754" fmla="*/ 8308 h 10000"/>
                <a:gd name="connsiteX2755" fmla="*/ 1779 w 10785"/>
                <a:gd name="connsiteY2755" fmla="*/ 8299 h 10000"/>
                <a:gd name="connsiteX2756" fmla="*/ 1783 w 10785"/>
                <a:gd name="connsiteY2756" fmla="*/ 8282 h 10000"/>
                <a:gd name="connsiteX2757" fmla="*/ 1797 w 10785"/>
                <a:gd name="connsiteY2757" fmla="*/ 8274 h 10000"/>
                <a:gd name="connsiteX2758" fmla="*/ 1797 w 10785"/>
                <a:gd name="connsiteY2758" fmla="*/ 8299 h 10000"/>
                <a:gd name="connsiteX2759" fmla="*/ 1806 w 10785"/>
                <a:gd name="connsiteY2759" fmla="*/ 8308 h 10000"/>
                <a:gd name="connsiteX2760" fmla="*/ 1811 w 10785"/>
                <a:gd name="connsiteY2760" fmla="*/ 8325 h 10000"/>
                <a:gd name="connsiteX2761" fmla="*/ 1820 w 10785"/>
                <a:gd name="connsiteY2761" fmla="*/ 8333 h 10000"/>
                <a:gd name="connsiteX2762" fmla="*/ 1853 w 10785"/>
                <a:gd name="connsiteY2762" fmla="*/ 8359 h 10000"/>
                <a:gd name="connsiteX2763" fmla="*/ 1866 w 10785"/>
                <a:gd name="connsiteY2763" fmla="*/ 8359 h 10000"/>
                <a:gd name="connsiteX2764" fmla="*/ 1885 w 10785"/>
                <a:gd name="connsiteY2764" fmla="*/ 8325 h 10000"/>
                <a:gd name="connsiteX2765" fmla="*/ 1885 w 10785"/>
                <a:gd name="connsiteY2765" fmla="*/ 8308 h 10000"/>
                <a:gd name="connsiteX2766" fmla="*/ 1894 w 10785"/>
                <a:gd name="connsiteY2766" fmla="*/ 8299 h 10000"/>
                <a:gd name="connsiteX2767" fmla="*/ 1899 w 10785"/>
                <a:gd name="connsiteY2767" fmla="*/ 8282 h 10000"/>
                <a:gd name="connsiteX2768" fmla="*/ 1912 w 10785"/>
                <a:gd name="connsiteY2768" fmla="*/ 8282 h 10000"/>
                <a:gd name="connsiteX2769" fmla="*/ 1917 w 10785"/>
                <a:gd name="connsiteY2769" fmla="*/ 8299 h 10000"/>
                <a:gd name="connsiteX2770" fmla="*/ 1917 w 10785"/>
                <a:gd name="connsiteY2770" fmla="*/ 8274 h 10000"/>
                <a:gd name="connsiteX2771" fmla="*/ 1940 w 10785"/>
                <a:gd name="connsiteY2771" fmla="*/ 8282 h 10000"/>
                <a:gd name="connsiteX2772" fmla="*/ 1945 w 10785"/>
                <a:gd name="connsiteY2772" fmla="*/ 8274 h 10000"/>
                <a:gd name="connsiteX2773" fmla="*/ 1972 w 10785"/>
                <a:gd name="connsiteY2773" fmla="*/ 8308 h 10000"/>
                <a:gd name="connsiteX2774" fmla="*/ 1986 w 10785"/>
                <a:gd name="connsiteY2774" fmla="*/ 8282 h 10000"/>
                <a:gd name="connsiteX2775" fmla="*/ 1991 w 10785"/>
                <a:gd name="connsiteY2775" fmla="*/ 8274 h 10000"/>
                <a:gd name="connsiteX2776" fmla="*/ 2014 w 10785"/>
                <a:gd name="connsiteY2776" fmla="*/ 8274 h 10000"/>
                <a:gd name="connsiteX2777" fmla="*/ 2018 w 10785"/>
                <a:gd name="connsiteY2777" fmla="*/ 8256 h 10000"/>
                <a:gd name="connsiteX2778" fmla="*/ 2041 w 10785"/>
                <a:gd name="connsiteY2778" fmla="*/ 8274 h 10000"/>
                <a:gd name="connsiteX2779" fmla="*/ 2046 w 10785"/>
                <a:gd name="connsiteY2779" fmla="*/ 8282 h 10000"/>
                <a:gd name="connsiteX2780" fmla="*/ 2046 w 10785"/>
                <a:gd name="connsiteY2780" fmla="*/ 8325 h 10000"/>
                <a:gd name="connsiteX2781" fmla="*/ 2060 w 10785"/>
                <a:gd name="connsiteY2781" fmla="*/ 8350 h 10000"/>
                <a:gd name="connsiteX2782" fmla="*/ 2078 w 10785"/>
                <a:gd name="connsiteY2782" fmla="*/ 8350 h 10000"/>
                <a:gd name="connsiteX2783" fmla="*/ 2092 w 10785"/>
                <a:gd name="connsiteY2783" fmla="*/ 8350 h 10000"/>
                <a:gd name="connsiteX2784" fmla="*/ 2092 w 10785"/>
                <a:gd name="connsiteY2784" fmla="*/ 8350 h 10000"/>
                <a:gd name="connsiteX2785" fmla="*/ 2101 w 10785"/>
                <a:gd name="connsiteY2785" fmla="*/ 8368 h 10000"/>
                <a:gd name="connsiteX2786" fmla="*/ 2120 w 10785"/>
                <a:gd name="connsiteY2786" fmla="*/ 8368 h 10000"/>
                <a:gd name="connsiteX2787" fmla="*/ 2124 w 10785"/>
                <a:gd name="connsiteY2787" fmla="*/ 8359 h 10000"/>
                <a:gd name="connsiteX2788" fmla="*/ 2138 w 10785"/>
                <a:gd name="connsiteY2788" fmla="*/ 8325 h 10000"/>
                <a:gd name="connsiteX2789" fmla="*/ 2147 w 10785"/>
                <a:gd name="connsiteY2789" fmla="*/ 8325 h 10000"/>
                <a:gd name="connsiteX2790" fmla="*/ 2161 w 10785"/>
                <a:gd name="connsiteY2790" fmla="*/ 8350 h 10000"/>
                <a:gd name="connsiteX2791" fmla="*/ 2198 w 10785"/>
                <a:gd name="connsiteY2791" fmla="*/ 8350 h 10000"/>
                <a:gd name="connsiteX2792" fmla="*/ 2207 w 10785"/>
                <a:gd name="connsiteY2792" fmla="*/ 8333 h 10000"/>
                <a:gd name="connsiteX2793" fmla="*/ 2226 w 10785"/>
                <a:gd name="connsiteY2793" fmla="*/ 8325 h 10000"/>
                <a:gd name="connsiteX2794" fmla="*/ 2249 w 10785"/>
                <a:gd name="connsiteY2794" fmla="*/ 8222 h 10000"/>
                <a:gd name="connsiteX2795" fmla="*/ 2235 w 10785"/>
                <a:gd name="connsiteY2795" fmla="*/ 8197 h 10000"/>
                <a:gd name="connsiteX2796" fmla="*/ 2198 w 10785"/>
                <a:gd name="connsiteY2796" fmla="*/ 8197 h 10000"/>
                <a:gd name="connsiteX2797" fmla="*/ 2189 w 10785"/>
                <a:gd name="connsiteY2797" fmla="*/ 8171 h 10000"/>
                <a:gd name="connsiteX2798" fmla="*/ 2161 w 10785"/>
                <a:gd name="connsiteY2798" fmla="*/ 8145 h 10000"/>
                <a:gd name="connsiteX2799" fmla="*/ 2161 w 10785"/>
                <a:gd name="connsiteY2799" fmla="*/ 8137 h 10000"/>
                <a:gd name="connsiteX2800" fmla="*/ 2152 w 10785"/>
                <a:gd name="connsiteY2800" fmla="*/ 8120 h 10000"/>
                <a:gd name="connsiteX2801" fmla="*/ 2138 w 10785"/>
                <a:gd name="connsiteY2801" fmla="*/ 8111 h 10000"/>
                <a:gd name="connsiteX2802" fmla="*/ 2138 w 10785"/>
                <a:gd name="connsiteY2802" fmla="*/ 8094 h 10000"/>
                <a:gd name="connsiteX2803" fmla="*/ 2147 w 10785"/>
                <a:gd name="connsiteY2803" fmla="*/ 8085 h 10000"/>
                <a:gd name="connsiteX2804" fmla="*/ 2161 w 10785"/>
                <a:gd name="connsiteY2804" fmla="*/ 8060 h 10000"/>
                <a:gd name="connsiteX2805" fmla="*/ 2198 w 10785"/>
                <a:gd name="connsiteY2805" fmla="*/ 8034 h 10000"/>
                <a:gd name="connsiteX2806" fmla="*/ 2198 w 10785"/>
                <a:gd name="connsiteY2806" fmla="*/ 8026 h 10000"/>
                <a:gd name="connsiteX2807" fmla="*/ 2198 w 10785"/>
                <a:gd name="connsiteY2807" fmla="*/ 8000 h 10000"/>
                <a:gd name="connsiteX2808" fmla="*/ 2180 w 10785"/>
                <a:gd name="connsiteY2808" fmla="*/ 7940 h 10000"/>
                <a:gd name="connsiteX2809" fmla="*/ 2189 w 10785"/>
                <a:gd name="connsiteY2809" fmla="*/ 7940 h 10000"/>
                <a:gd name="connsiteX2810" fmla="*/ 2198 w 10785"/>
                <a:gd name="connsiteY2810" fmla="*/ 7923 h 10000"/>
                <a:gd name="connsiteX2811" fmla="*/ 2198 w 10785"/>
                <a:gd name="connsiteY2811" fmla="*/ 7897 h 10000"/>
                <a:gd name="connsiteX2812" fmla="*/ 2207 w 10785"/>
                <a:gd name="connsiteY2812" fmla="*/ 7889 h 10000"/>
                <a:gd name="connsiteX2813" fmla="*/ 2221 w 10785"/>
                <a:gd name="connsiteY2813" fmla="*/ 7889 h 10000"/>
                <a:gd name="connsiteX2814" fmla="*/ 2226 w 10785"/>
                <a:gd name="connsiteY2814" fmla="*/ 7897 h 10000"/>
                <a:gd name="connsiteX2815" fmla="*/ 2235 w 10785"/>
                <a:gd name="connsiteY2815" fmla="*/ 7889 h 10000"/>
                <a:gd name="connsiteX2816" fmla="*/ 2249 w 10785"/>
                <a:gd name="connsiteY2816" fmla="*/ 7897 h 10000"/>
                <a:gd name="connsiteX2817" fmla="*/ 2267 w 10785"/>
                <a:gd name="connsiteY2817" fmla="*/ 7897 h 10000"/>
                <a:gd name="connsiteX2818" fmla="*/ 2272 w 10785"/>
                <a:gd name="connsiteY2818" fmla="*/ 7889 h 10000"/>
                <a:gd name="connsiteX2819" fmla="*/ 2281 w 10785"/>
                <a:gd name="connsiteY2819" fmla="*/ 7872 h 10000"/>
                <a:gd name="connsiteX2820" fmla="*/ 2272 w 10785"/>
                <a:gd name="connsiteY2820" fmla="*/ 7846 h 10000"/>
                <a:gd name="connsiteX2821" fmla="*/ 2253 w 10785"/>
                <a:gd name="connsiteY2821" fmla="*/ 7838 h 10000"/>
                <a:gd name="connsiteX2822" fmla="*/ 2221 w 10785"/>
                <a:gd name="connsiteY2822" fmla="*/ 7821 h 10000"/>
                <a:gd name="connsiteX2823" fmla="*/ 2212 w 10785"/>
                <a:gd name="connsiteY2823" fmla="*/ 7812 h 10000"/>
                <a:gd name="connsiteX2824" fmla="*/ 2212 w 10785"/>
                <a:gd name="connsiteY2824" fmla="*/ 7803 h 10000"/>
                <a:gd name="connsiteX2825" fmla="*/ 2221 w 10785"/>
                <a:gd name="connsiteY2825" fmla="*/ 7803 h 10000"/>
                <a:gd name="connsiteX2826" fmla="*/ 2235 w 10785"/>
                <a:gd name="connsiteY2826" fmla="*/ 7786 h 10000"/>
                <a:gd name="connsiteX2827" fmla="*/ 2240 w 10785"/>
                <a:gd name="connsiteY2827" fmla="*/ 7778 h 10000"/>
                <a:gd name="connsiteX2828" fmla="*/ 2226 w 10785"/>
                <a:gd name="connsiteY2828" fmla="*/ 7761 h 10000"/>
                <a:gd name="connsiteX2829" fmla="*/ 2221 w 10785"/>
                <a:gd name="connsiteY2829" fmla="*/ 7778 h 10000"/>
                <a:gd name="connsiteX2830" fmla="*/ 2198 w 10785"/>
                <a:gd name="connsiteY2830" fmla="*/ 7778 h 10000"/>
                <a:gd name="connsiteX2831" fmla="*/ 2198 w 10785"/>
                <a:gd name="connsiteY2831" fmla="*/ 7752 h 10000"/>
                <a:gd name="connsiteX2832" fmla="*/ 2207 w 10785"/>
                <a:gd name="connsiteY2832" fmla="*/ 7735 h 10000"/>
                <a:gd name="connsiteX2833" fmla="*/ 2212 w 10785"/>
                <a:gd name="connsiteY2833" fmla="*/ 7726 h 10000"/>
                <a:gd name="connsiteX2834" fmla="*/ 2198 w 10785"/>
                <a:gd name="connsiteY2834" fmla="*/ 7692 h 10000"/>
                <a:gd name="connsiteX2835" fmla="*/ 2221 w 10785"/>
                <a:gd name="connsiteY2835" fmla="*/ 7692 h 10000"/>
                <a:gd name="connsiteX2836" fmla="*/ 2221 w 10785"/>
                <a:gd name="connsiteY2836" fmla="*/ 7675 h 10000"/>
                <a:gd name="connsiteX2837" fmla="*/ 2235 w 10785"/>
                <a:gd name="connsiteY2837" fmla="*/ 7675 h 10000"/>
                <a:gd name="connsiteX2838" fmla="*/ 2240 w 10785"/>
                <a:gd name="connsiteY2838" fmla="*/ 7692 h 10000"/>
                <a:gd name="connsiteX2839" fmla="*/ 2249 w 10785"/>
                <a:gd name="connsiteY2839" fmla="*/ 7692 h 10000"/>
                <a:gd name="connsiteX2840" fmla="*/ 2258 w 10785"/>
                <a:gd name="connsiteY2840" fmla="*/ 7692 h 10000"/>
                <a:gd name="connsiteX2841" fmla="*/ 2267 w 10785"/>
                <a:gd name="connsiteY2841" fmla="*/ 7692 h 10000"/>
                <a:gd name="connsiteX2842" fmla="*/ 2295 w 10785"/>
                <a:gd name="connsiteY2842" fmla="*/ 7692 h 10000"/>
                <a:gd name="connsiteX2843" fmla="*/ 2300 w 10785"/>
                <a:gd name="connsiteY2843" fmla="*/ 7701 h 10000"/>
                <a:gd name="connsiteX2844" fmla="*/ 2313 w 10785"/>
                <a:gd name="connsiteY2844" fmla="*/ 7675 h 10000"/>
                <a:gd name="connsiteX2845" fmla="*/ 2323 w 10785"/>
                <a:gd name="connsiteY2845" fmla="*/ 7675 h 10000"/>
                <a:gd name="connsiteX2846" fmla="*/ 2341 w 10785"/>
                <a:gd name="connsiteY2846" fmla="*/ 7675 h 10000"/>
                <a:gd name="connsiteX2847" fmla="*/ 2346 w 10785"/>
                <a:gd name="connsiteY2847" fmla="*/ 7667 h 10000"/>
                <a:gd name="connsiteX2848" fmla="*/ 2359 w 10785"/>
                <a:gd name="connsiteY2848" fmla="*/ 7650 h 10000"/>
                <a:gd name="connsiteX2849" fmla="*/ 2373 w 10785"/>
                <a:gd name="connsiteY2849" fmla="*/ 7624 h 10000"/>
                <a:gd name="connsiteX2850" fmla="*/ 2382 w 10785"/>
                <a:gd name="connsiteY2850" fmla="*/ 7641 h 10000"/>
                <a:gd name="connsiteX2851" fmla="*/ 2396 w 10785"/>
                <a:gd name="connsiteY2851" fmla="*/ 7650 h 10000"/>
                <a:gd name="connsiteX2852" fmla="*/ 2401 w 10785"/>
                <a:gd name="connsiteY2852" fmla="*/ 7650 h 10000"/>
                <a:gd name="connsiteX2853" fmla="*/ 2401 w 10785"/>
                <a:gd name="connsiteY2853" fmla="*/ 7624 h 10000"/>
                <a:gd name="connsiteX2854" fmla="*/ 2419 w 10785"/>
                <a:gd name="connsiteY2854" fmla="*/ 7624 h 10000"/>
                <a:gd name="connsiteX2855" fmla="*/ 2433 w 10785"/>
                <a:gd name="connsiteY2855" fmla="*/ 7615 h 10000"/>
                <a:gd name="connsiteX2856" fmla="*/ 2442 w 10785"/>
                <a:gd name="connsiteY2856" fmla="*/ 7615 h 10000"/>
                <a:gd name="connsiteX2857" fmla="*/ 2447 w 10785"/>
                <a:gd name="connsiteY2857" fmla="*/ 7598 h 10000"/>
                <a:gd name="connsiteX2858" fmla="*/ 2461 w 10785"/>
                <a:gd name="connsiteY2858" fmla="*/ 7598 h 10000"/>
                <a:gd name="connsiteX2859" fmla="*/ 2465 w 10785"/>
                <a:gd name="connsiteY2859" fmla="*/ 7615 h 10000"/>
                <a:gd name="connsiteX2860" fmla="*/ 2479 w 10785"/>
                <a:gd name="connsiteY2860" fmla="*/ 7564 h 10000"/>
                <a:gd name="connsiteX2861" fmla="*/ 2488 w 10785"/>
                <a:gd name="connsiteY2861" fmla="*/ 7556 h 10000"/>
                <a:gd name="connsiteX2862" fmla="*/ 2493 w 10785"/>
                <a:gd name="connsiteY2862" fmla="*/ 7556 h 10000"/>
                <a:gd name="connsiteX2863" fmla="*/ 2507 w 10785"/>
                <a:gd name="connsiteY2863" fmla="*/ 7556 h 10000"/>
                <a:gd name="connsiteX2864" fmla="*/ 2530 w 10785"/>
                <a:gd name="connsiteY2864" fmla="*/ 7538 h 10000"/>
                <a:gd name="connsiteX2865" fmla="*/ 2530 w 10785"/>
                <a:gd name="connsiteY2865" fmla="*/ 7556 h 10000"/>
                <a:gd name="connsiteX2866" fmla="*/ 2641 w 10785"/>
                <a:gd name="connsiteY2866" fmla="*/ 7504 h 10000"/>
                <a:gd name="connsiteX2867" fmla="*/ 2654 w 10785"/>
                <a:gd name="connsiteY2867" fmla="*/ 7487 h 10000"/>
                <a:gd name="connsiteX2868" fmla="*/ 2664 w 10785"/>
                <a:gd name="connsiteY2868" fmla="*/ 7487 h 10000"/>
                <a:gd name="connsiteX2869" fmla="*/ 2668 w 10785"/>
                <a:gd name="connsiteY2869" fmla="*/ 7479 h 10000"/>
                <a:gd name="connsiteX2870" fmla="*/ 2673 w 10785"/>
                <a:gd name="connsiteY2870" fmla="*/ 7462 h 10000"/>
                <a:gd name="connsiteX2871" fmla="*/ 2673 w 10785"/>
                <a:gd name="connsiteY2871" fmla="*/ 7427 h 10000"/>
                <a:gd name="connsiteX2872" fmla="*/ 2687 w 10785"/>
                <a:gd name="connsiteY2872" fmla="*/ 7436 h 10000"/>
                <a:gd name="connsiteX2873" fmla="*/ 2696 w 10785"/>
                <a:gd name="connsiteY2873" fmla="*/ 7427 h 10000"/>
                <a:gd name="connsiteX2874" fmla="*/ 2700 w 10785"/>
                <a:gd name="connsiteY2874" fmla="*/ 7419 h 10000"/>
                <a:gd name="connsiteX2875" fmla="*/ 2710 w 10785"/>
                <a:gd name="connsiteY2875" fmla="*/ 7402 h 10000"/>
                <a:gd name="connsiteX2876" fmla="*/ 2724 w 10785"/>
                <a:gd name="connsiteY2876" fmla="*/ 7402 h 10000"/>
                <a:gd name="connsiteX2877" fmla="*/ 2724 w 10785"/>
                <a:gd name="connsiteY2877" fmla="*/ 7393 h 10000"/>
                <a:gd name="connsiteX2878" fmla="*/ 2737 w 10785"/>
                <a:gd name="connsiteY2878" fmla="*/ 7393 h 10000"/>
                <a:gd name="connsiteX2879" fmla="*/ 2742 w 10785"/>
                <a:gd name="connsiteY2879" fmla="*/ 7402 h 10000"/>
                <a:gd name="connsiteX2880" fmla="*/ 2747 w 10785"/>
                <a:gd name="connsiteY2880" fmla="*/ 7402 h 10000"/>
                <a:gd name="connsiteX2881" fmla="*/ 2760 w 10785"/>
                <a:gd name="connsiteY2881" fmla="*/ 7402 h 10000"/>
                <a:gd name="connsiteX2882" fmla="*/ 2770 w 10785"/>
                <a:gd name="connsiteY2882" fmla="*/ 7402 h 10000"/>
                <a:gd name="connsiteX2883" fmla="*/ 2774 w 10785"/>
                <a:gd name="connsiteY2883" fmla="*/ 7402 h 10000"/>
                <a:gd name="connsiteX2884" fmla="*/ 2783 w 10785"/>
                <a:gd name="connsiteY2884" fmla="*/ 7419 h 10000"/>
                <a:gd name="connsiteX2885" fmla="*/ 2802 w 10785"/>
                <a:gd name="connsiteY2885" fmla="*/ 7436 h 10000"/>
                <a:gd name="connsiteX2886" fmla="*/ 2816 w 10785"/>
                <a:gd name="connsiteY2886" fmla="*/ 7419 h 10000"/>
                <a:gd name="connsiteX2887" fmla="*/ 2834 w 10785"/>
                <a:gd name="connsiteY2887" fmla="*/ 7419 h 10000"/>
                <a:gd name="connsiteX2888" fmla="*/ 2843 w 10785"/>
                <a:gd name="connsiteY2888" fmla="*/ 7419 h 10000"/>
                <a:gd name="connsiteX2889" fmla="*/ 2848 w 10785"/>
                <a:gd name="connsiteY2889" fmla="*/ 7436 h 10000"/>
                <a:gd name="connsiteX2890" fmla="*/ 2857 w 10785"/>
                <a:gd name="connsiteY2890" fmla="*/ 7453 h 10000"/>
                <a:gd name="connsiteX2891" fmla="*/ 2857 w 10785"/>
                <a:gd name="connsiteY2891" fmla="*/ 7504 h 10000"/>
                <a:gd name="connsiteX2892" fmla="*/ 2862 w 10785"/>
                <a:gd name="connsiteY2892" fmla="*/ 7530 h 10000"/>
                <a:gd name="connsiteX2893" fmla="*/ 2876 w 10785"/>
                <a:gd name="connsiteY2893" fmla="*/ 7538 h 10000"/>
                <a:gd name="connsiteX2894" fmla="*/ 2871 w 10785"/>
                <a:gd name="connsiteY2894" fmla="*/ 7564 h 10000"/>
                <a:gd name="connsiteX2895" fmla="*/ 2871 w 10785"/>
                <a:gd name="connsiteY2895" fmla="*/ 7598 h 10000"/>
                <a:gd name="connsiteX2896" fmla="*/ 2857 w 10785"/>
                <a:gd name="connsiteY2896" fmla="*/ 7624 h 10000"/>
                <a:gd name="connsiteX2897" fmla="*/ 2862 w 10785"/>
                <a:gd name="connsiteY2897" fmla="*/ 7641 h 10000"/>
                <a:gd name="connsiteX2898" fmla="*/ 2871 w 10785"/>
                <a:gd name="connsiteY2898" fmla="*/ 7667 h 10000"/>
                <a:gd name="connsiteX2899" fmla="*/ 2880 w 10785"/>
                <a:gd name="connsiteY2899" fmla="*/ 7650 h 10000"/>
                <a:gd name="connsiteX2900" fmla="*/ 2894 w 10785"/>
                <a:gd name="connsiteY2900" fmla="*/ 7667 h 10000"/>
                <a:gd name="connsiteX2901" fmla="*/ 2903 w 10785"/>
                <a:gd name="connsiteY2901" fmla="*/ 7667 h 10000"/>
                <a:gd name="connsiteX2902" fmla="*/ 2908 w 10785"/>
                <a:gd name="connsiteY2902" fmla="*/ 7641 h 10000"/>
                <a:gd name="connsiteX2903" fmla="*/ 2917 w 10785"/>
                <a:gd name="connsiteY2903" fmla="*/ 7641 h 10000"/>
                <a:gd name="connsiteX2904" fmla="*/ 2922 w 10785"/>
                <a:gd name="connsiteY2904" fmla="*/ 7641 h 10000"/>
                <a:gd name="connsiteX2905" fmla="*/ 2931 w 10785"/>
                <a:gd name="connsiteY2905" fmla="*/ 7615 h 10000"/>
                <a:gd name="connsiteX2906" fmla="*/ 2935 w 10785"/>
                <a:gd name="connsiteY2906" fmla="*/ 7615 h 10000"/>
                <a:gd name="connsiteX2907" fmla="*/ 2945 w 10785"/>
                <a:gd name="connsiteY2907" fmla="*/ 7650 h 10000"/>
                <a:gd name="connsiteX2908" fmla="*/ 2949 w 10785"/>
                <a:gd name="connsiteY2908" fmla="*/ 7667 h 10000"/>
                <a:gd name="connsiteX2909" fmla="*/ 2949 w 10785"/>
                <a:gd name="connsiteY2909" fmla="*/ 7675 h 10000"/>
                <a:gd name="connsiteX2910" fmla="*/ 2945 w 10785"/>
                <a:gd name="connsiteY2910" fmla="*/ 7692 h 10000"/>
                <a:gd name="connsiteX2911" fmla="*/ 2963 w 10785"/>
                <a:gd name="connsiteY2911" fmla="*/ 7701 h 10000"/>
                <a:gd name="connsiteX2912" fmla="*/ 2963 w 10785"/>
                <a:gd name="connsiteY2912" fmla="*/ 7675 h 10000"/>
                <a:gd name="connsiteX2913" fmla="*/ 2954 w 10785"/>
                <a:gd name="connsiteY2913" fmla="*/ 7667 h 10000"/>
                <a:gd name="connsiteX2914" fmla="*/ 2963 w 10785"/>
                <a:gd name="connsiteY2914" fmla="*/ 7667 h 10000"/>
                <a:gd name="connsiteX2915" fmla="*/ 2982 w 10785"/>
                <a:gd name="connsiteY2915" fmla="*/ 7667 h 10000"/>
                <a:gd name="connsiteX2916" fmla="*/ 2991 w 10785"/>
                <a:gd name="connsiteY2916" fmla="*/ 7675 h 10000"/>
                <a:gd name="connsiteX2917" fmla="*/ 2995 w 10785"/>
                <a:gd name="connsiteY2917" fmla="*/ 7692 h 10000"/>
                <a:gd name="connsiteX2918" fmla="*/ 3009 w 10785"/>
                <a:gd name="connsiteY2918" fmla="*/ 7701 h 10000"/>
                <a:gd name="connsiteX2919" fmla="*/ 3018 w 10785"/>
                <a:gd name="connsiteY2919" fmla="*/ 7701 h 10000"/>
                <a:gd name="connsiteX2920" fmla="*/ 3023 w 10785"/>
                <a:gd name="connsiteY2920" fmla="*/ 7692 h 10000"/>
                <a:gd name="connsiteX2921" fmla="*/ 3028 w 10785"/>
                <a:gd name="connsiteY2921" fmla="*/ 7675 h 10000"/>
                <a:gd name="connsiteX2922" fmla="*/ 3037 w 10785"/>
                <a:gd name="connsiteY2922" fmla="*/ 7692 h 10000"/>
                <a:gd name="connsiteX2923" fmla="*/ 3028 w 10785"/>
                <a:gd name="connsiteY2923" fmla="*/ 7709 h 10000"/>
                <a:gd name="connsiteX2924" fmla="*/ 3023 w 10785"/>
                <a:gd name="connsiteY2924" fmla="*/ 7709 h 10000"/>
                <a:gd name="connsiteX2925" fmla="*/ 3018 w 10785"/>
                <a:gd name="connsiteY2925" fmla="*/ 7726 h 10000"/>
                <a:gd name="connsiteX2926" fmla="*/ 3009 w 10785"/>
                <a:gd name="connsiteY2926" fmla="*/ 7735 h 10000"/>
                <a:gd name="connsiteX2927" fmla="*/ 3009 w 10785"/>
                <a:gd name="connsiteY2927" fmla="*/ 7761 h 10000"/>
                <a:gd name="connsiteX2928" fmla="*/ 3009 w 10785"/>
                <a:gd name="connsiteY2928" fmla="*/ 7778 h 10000"/>
                <a:gd name="connsiteX2929" fmla="*/ 3018 w 10785"/>
                <a:gd name="connsiteY2929" fmla="*/ 7786 h 10000"/>
                <a:gd name="connsiteX2930" fmla="*/ 3023 w 10785"/>
                <a:gd name="connsiteY2930" fmla="*/ 7786 h 10000"/>
                <a:gd name="connsiteX2931" fmla="*/ 3028 w 10785"/>
                <a:gd name="connsiteY2931" fmla="*/ 7778 h 10000"/>
                <a:gd name="connsiteX2932" fmla="*/ 3051 w 10785"/>
                <a:gd name="connsiteY2932" fmla="*/ 7761 h 10000"/>
                <a:gd name="connsiteX2933" fmla="*/ 3055 w 10785"/>
                <a:gd name="connsiteY2933" fmla="*/ 7778 h 10000"/>
                <a:gd name="connsiteX2934" fmla="*/ 3065 w 10785"/>
                <a:gd name="connsiteY2934" fmla="*/ 7761 h 10000"/>
                <a:gd name="connsiteX2935" fmla="*/ 3069 w 10785"/>
                <a:gd name="connsiteY2935" fmla="*/ 7786 h 10000"/>
                <a:gd name="connsiteX2936" fmla="*/ 3083 w 10785"/>
                <a:gd name="connsiteY2936" fmla="*/ 7786 h 10000"/>
                <a:gd name="connsiteX2937" fmla="*/ 3078 w 10785"/>
                <a:gd name="connsiteY2937" fmla="*/ 7761 h 10000"/>
                <a:gd name="connsiteX2938" fmla="*/ 3083 w 10785"/>
                <a:gd name="connsiteY2938" fmla="*/ 7752 h 10000"/>
                <a:gd name="connsiteX2939" fmla="*/ 3097 w 10785"/>
                <a:gd name="connsiteY2939" fmla="*/ 7752 h 10000"/>
                <a:gd name="connsiteX2940" fmla="*/ 3111 w 10785"/>
                <a:gd name="connsiteY2940" fmla="*/ 7726 h 10000"/>
                <a:gd name="connsiteX2941" fmla="*/ 3124 w 10785"/>
                <a:gd name="connsiteY2941" fmla="*/ 7709 h 10000"/>
                <a:gd name="connsiteX2942" fmla="*/ 3143 w 10785"/>
                <a:gd name="connsiteY2942" fmla="*/ 7692 h 10000"/>
                <a:gd name="connsiteX2943" fmla="*/ 3152 w 10785"/>
                <a:gd name="connsiteY2943" fmla="*/ 7667 h 10000"/>
                <a:gd name="connsiteX2944" fmla="*/ 3157 w 10785"/>
                <a:gd name="connsiteY2944" fmla="*/ 7650 h 10000"/>
                <a:gd name="connsiteX2945" fmla="*/ 3161 w 10785"/>
                <a:gd name="connsiteY2945" fmla="*/ 7650 h 10000"/>
                <a:gd name="connsiteX2946" fmla="*/ 3189 w 10785"/>
                <a:gd name="connsiteY2946" fmla="*/ 7641 h 10000"/>
                <a:gd name="connsiteX2947" fmla="*/ 3198 w 10785"/>
                <a:gd name="connsiteY2947" fmla="*/ 7624 h 10000"/>
                <a:gd name="connsiteX2948" fmla="*/ 3217 w 10785"/>
                <a:gd name="connsiteY2948" fmla="*/ 7615 h 10000"/>
                <a:gd name="connsiteX2949" fmla="*/ 3235 w 10785"/>
                <a:gd name="connsiteY2949" fmla="*/ 7598 h 10000"/>
                <a:gd name="connsiteX2950" fmla="*/ 3235 w 10785"/>
                <a:gd name="connsiteY2950" fmla="*/ 7615 h 10000"/>
                <a:gd name="connsiteX2951" fmla="*/ 3235 w 10785"/>
                <a:gd name="connsiteY2951" fmla="*/ 7641 h 10000"/>
                <a:gd name="connsiteX2952" fmla="*/ 3235 w 10785"/>
                <a:gd name="connsiteY2952" fmla="*/ 7650 h 10000"/>
                <a:gd name="connsiteX2953" fmla="*/ 3226 w 10785"/>
                <a:gd name="connsiteY2953" fmla="*/ 7650 h 10000"/>
                <a:gd name="connsiteX2954" fmla="*/ 3217 w 10785"/>
                <a:gd name="connsiteY2954" fmla="*/ 7650 h 10000"/>
                <a:gd name="connsiteX2955" fmla="*/ 3212 w 10785"/>
                <a:gd name="connsiteY2955" fmla="*/ 7675 h 10000"/>
                <a:gd name="connsiteX2956" fmla="*/ 3212 w 10785"/>
                <a:gd name="connsiteY2956"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334 w 10785"/>
                <a:gd name="connsiteY731" fmla="*/ 4810 h 10000"/>
                <a:gd name="connsiteX732" fmla="*/ 10691 w 10785"/>
                <a:gd name="connsiteY732" fmla="*/ 5255 h 10000"/>
                <a:gd name="connsiteX733" fmla="*/ 10619 w 10785"/>
                <a:gd name="connsiteY733" fmla="*/ 4708 h 10000"/>
                <a:gd name="connsiteX734" fmla="*/ 10785 w 10785"/>
                <a:gd name="connsiteY734" fmla="*/ 4708 h 10000"/>
                <a:gd name="connsiteX735" fmla="*/ 10689 w 10785"/>
                <a:gd name="connsiteY735" fmla="*/ 4467 h 10000"/>
                <a:gd name="connsiteX736" fmla="*/ 10354 w 10785"/>
                <a:gd name="connsiteY736" fmla="*/ 4302 h 10000"/>
                <a:gd name="connsiteX737" fmla="*/ 9912 w 10785"/>
                <a:gd name="connsiteY737" fmla="*/ 3675 h 10000"/>
                <a:gd name="connsiteX738" fmla="*/ 9903 w 10785"/>
                <a:gd name="connsiteY738" fmla="*/ 3667 h 10000"/>
                <a:gd name="connsiteX739" fmla="*/ 9894 w 10785"/>
                <a:gd name="connsiteY739" fmla="*/ 3641 h 10000"/>
                <a:gd name="connsiteX740" fmla="*/ 9889 w 10785"/>
                <a:gd name="connsiteY740" fmla="*/ 3650 h 10000"/>
                <a:gd name="connsiteX741" fmla="*/ 9848 w 10785"/>
                <a:gd name="connsiteY741" fmla="*/ 3598 h 10000"/>
                <a:gd name="connsiteX742" fmla="*/ 9829 w 10785"/>
                <a:gd name="connsiteY742" fmla="*/ 3581 h 10000"/>
                <a:gd name="connsiteX743" fmla="*/ 9820 w 10785"/>
                <a:gd name="connsiteY743" fmla="*/ 3581 h 10000"/>
                <a:gd name="connsiteX744" fmla="*/ 9793 w 10785"/>
                <a:gd name="connsiteY744" fmla="*/ 3556 h 10000"/>
                <a:gd name="connsiteX745" fmla="*/ 9779 w 10785"/>
                <a:gd name="connsiteY745" fmla="*/ 3556 h 10000"/>
                <a:gd name="connsiteX746" fmla="*/ 9747 w 10785"/>
                <a:gd name="connsiteY746" fmla="*/ 3487 h 10000"/>
                <a:gd name="connsiteX747" fmla="*/ 9668 w 10785"/>
                <a:gd name="connsiteY747" fmla="*/ 3479 h 10000"/>
                <a:gd name="connsiteX748" fmla="*/ 9659 w 10785"/>
                <a:gd name="connsiteY748" fmla="*/ 3487 h 10000"/>
                <a:gd name="connsiteX749" fmla="*/ 9645 w 10785"/>
                <a:gd name="connsiteY749" fmla="*/ 3504 h 10000"/>
                <a:gd name="connsiteX750" fmla="*/ 9631 w 10785"/>
                <a:gd name="connsiteY750" fmla="*/ 3487 h 10000"/>
                <a:gd name="connsiteX751" fmla="*/ 9613 w 10785"/>
                <a:gd name="connsiteY751" fmla="*/ 3479 h 10000"/>
                <a:gd name="connsiteX752" fmla="*/ 9599 w 10785"/>
                <a:gd name="connsiteY752" fmla="*/ 3479 h 10000"/>
                <a:gd name="connsiteX753" fmla="*/ 9571 w 10785"/>
                <a:gd name="connsiteY753" fmla="*/ 3479 h 10000"/>
                <a:gd name="connsiteX754" fmla="*/ 9562 w 10785"/>
                <a:gd name="connsiteY754" fmla="*/ 3487 h 10000"/>
                <a:gd name="connsiteX755" fmla="*/ 9539 w 10785"/>
                <a:gd name="connsiteY755" fmla="*/ 3487 h 10000"/>
                <a:gd name="connsiteX756" fmla="*/ 9507 w 10785"/>
                <a:gd name="connsiteY756" fmla="*/ 3453 h 10000"/>
                <a:gd name="connsiteX757" fmla="*/ 9498 w 10785"/>
                <a:gd name="connsiteY757" fmla="*/ 3453 h 10000"/>
                <a:gd name="connsiteX758" fmla="*/ 9387 w 10785"/>
                <a:gd name="connsiteY758" fmla="*/ 3419 h 10000"/>
                <a:gd name="connsiteX759" fmla="*/ 9373 w 10785"/>
                <a:gd name="connsiteY759" fmla="*/ 3427 h 10000"/>
                <a:gd name="connsiteX760" fmla="*/ 9373 w 10785"/>
                <a:gd name="connsiteY760" fmla="*/ 3462 h 10000"/>
                <a:gd name="connsiteX761" fmla="*/ 9378 w 10785"/>
                <a:gd name="connsiteY761" fmla="*/ 3479 h 10000"/>
                <a:gd name="connsiteX762" fmla="*/ 9378 w 10785"/>
                <a:gd name="connsiteY762" fmla="*/ 3530 h 10000"/>
                <a:gd name="connsiteX763" fmla="*/ 9355 w 10785"/>
                <a:gd name="connsiteY763" fmla="*/ 3538 h 10000"/>
                <a:gd name="connsiteX764" fmla="*/ 9355 w 10785"/>
                <a:gd name="connsiteY764" fmla="*/ 3581 h 10000"/>
                <a:gd name="connsiteX765" fmla="*/ 9387 w 10785"/>
                <a:gd name="connsiteY765" fmla="*/ 3590 h 10000"/>
                <a:gd name="connsiteX766" fmla="*/ 9401 w 10785"/>
                <a:gd name="connsiteY766" fmla="*/ 3667 h 10000"/>
                <a:gd name="connsiteX767" fmla="*/ 9406 w 10785"/>
                <a:gd name="connsiteY767" fmla="*/ 3675 h 10000"/>
                <a:gd name="connsiteX768" fmla="*/ 9406 w 10785"/>
                <a:gd name="connsiteY768" fmla="*/ 3701 h 10000"/>
                <a:gd name="connsiteX769" fmla="*/ 9415 w 10785"/>
                <a:gd name="connsiteY769" fmla="*/ 3752 h 10000"/>
                <a:gd name="connsiteX770" fmla="*/ 9373 w 10785"/>
                <a:gd name="connsiteY770" fmla="*/ 3838 h 10000"/>
                <a:gd name="connsiteX771" fmla="*/ 9355 w 10785"/>
                <a:gd name="connsiteY771" fmla="*/ 3863 h 10000"/>
                <a:gd name="connsiteX772" fmla="*/ 9327 w 10785"/>
                <a:gd name="connsiteY772" fmla="*/ 3863 h 10000"/>
                <a:gd name="connsiteX773" fmla="*/ 9313 w 10785"/>
                <a:gd name="connsiteY773" fmla="*/ 3846 h 10000"/>
                <a:gd name="connsiteX774" fmla="*/ 9300 w 10785"/>
                <a:gd name="connsiteY774" fmla="*/ 3778 h 10000"/>
                <a:gd name="connsiteX775" fmla="*/ 9281 w 10785"/>
                <a:gd name="connsiteY775" fmla="*/ 3752 h 10000"/>
                <a:gd name="connsiteX776" fmla="*/ 9281 w 10785"/>
                <a:gd name="connsiteY776" fmla="*/ 3735 h 10000"/>
                <a:gd name="connsiteX777" fmla="*/ 9267 w 10785"/>
                <a:gd name="connsiteY777" fmla="*/ 3726 h 10000"/>
                <a:gd name="connsiteX778" fmla="*/ 9240 w 10785"/>
                <a:gd name="connsiteY778" fmla="*/ 3726 h 10000"/>
                <a:gd name="connsiteX779" fmla="*/ 9230 w 10785"/>
                <a:gd name="connsiteY779" fmla="*/ 3718 h 10000"/>
                <a:gd name="connsiteX780" fmla="*/ 9226 w 10785"/>
                <a:gd name="connsiteY780" fmla="*/ 3590 h 10000"/>
                <a:gd name="connsiteX781" fmla="*/ 9207 w 10785"/>
                <a:gd name="connsiteY781" fmla="*/ 3581 h 10000"/>
                <a:gd name="connsiteX782" fmla="*/ 9207 w 10785"/>
                <a:gd name="connsiteY782" fmla="*/ 3556 h 10000"/>
                <a:gd name="connsiteX783" fmla="*/ 9217 w 10785"/>
                <a:gd name="connsiteY783" fmla="*/ 3538 h 10000"/>
                <a:gd name="connsiteX784" fmla="*/ 9212 w 10785"/>
                <a:gd name="connsiteY784" fmla="*/ 3538 h 10000"/>
                <a:gd name="connsiteX785" fmla="*/ 9198 w 10785"/>
                <a:gd name="connsiteY785" fmla="*/ 3513 h 10000"/>
                <a:gd name="connsiteX786" fmla="*/ 9194 w 10785"/>
                <a:gd name="connsiteY786" fmla="*/ 3530 h 10000"/>
                <a:gd name="connsiteX787" fmla="*/ 9143 w 10785"/>
                <a:gd name="connsiteY787" fmla="*/ 3615 h 10000"/>
                <a:gd name="connsiteX788" fmla="*/ 9138 w 10785"/>
                <a:gd name="connsiteY788" fmla="*/ 3615 h 10000"/>
                <a:gd name="connsiteX789" fmla="*/ 9134 w 10785"/>
                <a:gd name="connsiteY789" fmla="*/ 3615 h 10000"/>
                <a:gd name="connsiteX790" fmla="*/ 9106 w 10785"/>
                <a:gd name="connsiteY790" fmla="*/ 3615 h 10000"/>
                <a:gd name="connsiteX791" fmla="*/ 9078 w 10785"/>
                <a:gd name="connsiteY791" fmla="*/ 3590 h 10000"/>
                <a:gd name="connsiteX792" fmla="*/ 9037 w 10785"/>
                <a:gd name="connsiteY792" fmla="*/ 3581 h 10000"/>
                <a:gd name="connsiteX793" fmla="*/ 9023 w 10785"/>
                <a:gd name="connsiteY793" fmla="*/ 3590 h 10000"/>
                <a:gd name="connsiteX794" fmla="*/ 9018 w 10785"/>
                <a:gd name="connsiteY794" fmla="*/ 3590 h 10000"/>
                <a:gd name="connsiteX795" fmla="*/ 9018 w 10785"/>
                <a:gd name="connsiteY795" fmla="*/ 3590 h 10000"/>
                <a:gd name="connsiteX796" fmla="*/ 8991 w 10785"/>
                <a:gd name="connsiteY796" fmla="*/ 3590 h 10000"/>
                <a:gd name="connsiteX797" fmla="*/ 8972 w 10785"/>
                <a:gd name="connsiteY797" fmla="*/ 3581 h 10000"/>
                <a:gd name="connsiteX798" fmla="*/ 8959 w 10785"/>
                <a:gd name="connsiteY798" fmla="*/ 3513 h 10000"/>
                <a:gd name="connsiteX799" fmla="*/ 8931 w 10785"/>
                <a:gd name="connsiteY799" fmla="*/ 3538 h 10000"/>
                <a:gd name="connsiteX800" fmla="*/ 8889 w 10785"/>
                <a:gd name="connsiteY800" fmla="*/ 3538 h 10000"/>
                <a:gd name="connsiteX801" fmla="*/ 8871 w 10785"/>
                <a:gd name="connsiteY801" fmla="*/ 3556 h 10000"/>
                <a:gd name="connsiteX802" fmla="*/ 8857 w 10785"/>
                <a:gd name="connsiteY802" fmla="*/ 3538 h 10000"/>
                <a:gd name="connsiteX803" fmla="*/ 8843 w 10785"/>
                <a:gd name="connsiteY803" fmla="*/ 3538 h 10000"/>
                <a:gd name="connsiteX804" fmla="*/ 8839 w 10785"/>
                <a:gd name="connsiteY804" fmla="*/ 3556 h 10000"/>
                <a:gd name="connsiteX805" fmla="*/ 8839 w 10785"/>
                <a:gd name="connsiteY805" fmla="*/ 3581 h 10000"/>
                <a:gd name="connsiteX806" fmla="*/ 8825 w 10785"/>
                <a:gd name="connsiteY806" fmla="*/ 3564 h 10000"/>
                <a:gd name="connsiteX807" fmla="*/ 8825 w 10785"/>
                <a:gd name="connsiteY807" fmla="*/ 3615 h 10000"/>
                <a:gd name="connsiteX808" fmla="*/ 8802 w 10785"/>
                <a:gd name="connsiteY808" fmla="*/ 3598 h 10000"/>
                <a:gd name="connsiteX809" fmla="*/ 8797 w 10785"/>
                <a:gd name="connsiteY809" fmla="*/ 3641 h 10000"/>
                <a:gd name="connsiteX810" fmla="*/ 8783 w 10785"/>
                <a:gd name="connsiteY810" fmla="*/ 3667 h 10000"/>
                <a:gd name="connsiteX811" fmla="*/ 8779 w 10785"/>
                <a:gd name="connsiteY811" fmla="*/ 3650 h 10000"/>
                <a:gd name="connsiteX812" fmla="*/ 8779 w 10785"/>
                <a:gd name="connsiteY812" fmla="*/ 3615 h 10000"/>
                <a:gd name="connsiteX813" fmla="*/ 8770 w 10785"/>
                <a:gd name="connsiteY813" fmla="*/ 3590 h 10000"/>
                <a:gd name="connsiteX814" fmla="*/ 8765 w 10785"/>
                <a:gd name="connsiteY814" fmla="*/ 3598 h 10000"/>
                <a:gd name="connsiteX815" fmla="*/ 8756 w 10785"/>
                <a:gd name="connsiteY815" fmla="*/ 3590 h 10000"/>
                <a:gd name="connsiteX816" fmla="*/ 8737 w 10785"/>
                <a:gd name="connsiteY816" fmla="*/ 3556 h 10000"/>
                <a:gd name="connsiteX817" fmla="*/ 8724 w 10785"/>
                <a:gd name="connsiteY817" fmla="*/ 3538 h 10000"/>
                <a:gd name="connsiteX818" fmla="*/ 8696 w 10785"/>
                <a:gd name="connsiteY818" fmla="*/ 3538 h 10000"/>
                <a:gd name="connsiteX819" fmla="*/ 8691 w 10785"/>
                <a:gd name="connsiteY819" fmla="*/ 3513 h 10000"/>
                <a:gd name="connsiteX820" fmla="*/ 8668 w 10785"/>
                <a:gd name="connsiteY820" fmla="*/ 3504 h 10000"/>
                <a:gd name="connsiteX821" fmla="*/ 8668 w 10785"/>
                <a:gd name="connsiteY821" fmla="*/ 3487 h 10000"/>
                <a:gd name="connsiteX822" fmla="*/ 8691 w 10785"/>
                <a:gd name="connsiteY822" fmla="*/ 3350 h 10000"/>
                <a:gd name="connsiteX823" fmla="*/ 8691 w 10785"/>
                <a:gd name="connsiteY823" fmla="*/ 3291 h 10000"/>
                <a:gd name="connsiteX824" fmla="*/ 8677 w 10785"/>
                <a:gd name="connsiteY824" fmla="*/ 3239 h 10000"/>
                <a:gd name="connsiteX825" fmla="*/ 8677 w 10785"/>
                <a:gd name="connsiteY825" fmla="*/ 3231 h 10000"/>
                <a:gd name="connsiteX826" fmla="*/ 8636 w 10785"/>
                <a:gd name="connsiteY826" fmla="*/ 3128 h 10000"/>
                <a:gd name="connsiteX827" fmla="*/ 8622 w 10785"/>
                <a:gd name="connsiteY827" fmla="*/ 3120 h 10000"/>
                <a:gd name="connsiteX828" fmla="*/ 8618 w 10785"/>
                <a:gd name="connsiteY828" fmla="*/ 3094 h 10000"/>
                <a:gd name="connsiteX829" fmla="*/ 8594 w 10785"/>
                <a:gd name="connsiteY829" fmla="*/ 3077 h 10000"/>
                <a:gd name="connsiteX830" fmla="*/ 8548 w 10785"/>
                <a:gd name="connsiteY830" fmla="*/ 3077 h 10000"/>
                <a:gd name="connsiteX831" fmla="*/ 8535 w 10785"/>
                <a:gd name="connsiteY831" fmla="*/ 3068 h 10000"/>
                <a:gd name="connsiteX832" fmla="*/ 8429 w 10785"/>
                <a:gd name="connsiteY832" fmla="*/ 3077 h 10000"/>
                <a:gd name="connsiteX833" fmla="*/ 8424 w 10785"/>
                <a:gd name="connsiteY833" fmla="*/ 3077 h 10000"/>
                <a:gd name="connsiteX834" fmla="*/ 8396 w 10785"/>
                <a:gd name="connsiteY834" fmla="*/ 3077 h 10000"/>
                <a:gd name="connsiteX835" fmla="*/ 8387 w 10785"/>
                <a:gd name="connsiteY835" fmla="*/ 3094 h 10000"/>
                <a:gd name="connsiteX836" fmla="*/ 8378 w 10785"/>
                <a:gd name="connsiteY836" fmla="*/ 3094 h 10000"/>
                <a:gd name="connsiteX837" fmla="*/ 8341 w 10785"/>
                <a:gd name="connsiteY837" fmla="*/ 3077 h 10000"/>
                <a:gd name="connsiteX838" fmla="*/ 8336 w 10785"/>
                <a:gd name="connsiteY838" fmla="*/ 3077 h 10000"/>
                <a:gd name="connsiteX839" fmla="*/ 8327 w 10785"/>
                <a:gd name="connsiteY839" fmla="*/ 3103 h 10000"/>
                <a:gd name="connsiteX840" fmla="*/ 8309 w 10785"/>
                <a:gd name="connsiteY840" fmla="*/ 3120 h 10000"/>
                <a:gd name="connsiteX841" fmla="*/ 8304 w 10785"/>
                <a:gd name="connsiteY841" fmla="*/ 3103 h 10000"/>
                <a:gd name="connsiteX842" fmla="*/ 8276 w 10785"/>
                <a:gd name="connsiteY842" fmla="*/ 3103 h 10000"/>
                <a:gd name="connsiteX843" fmla="*/ 8267 w 10785"/>
                <a:gd name="connsiteY843" fmla="*/ 3120 h 10000"/>
                <a:gd name="connsiteX844" fmla="*/ 8253 w 10785"/>
                <a:gd name="connsiteY844" fmla="*/ 3103 h 10000"/>
                <a:gd name="connsiteX845" fmla="*/ 8230 w 10785"/>
                <a:gd name="connsiteY845" fmla="*/ 3128 h 10000"/>
                <a:gd name="connsiteX846" fmla="*/ 8217 w 10785"/>
                <a:gd name="connsiteY846" fmla="*/ 3128 h 10000"/>
                <a:gd name="connsiteX847" fmla="*/ 8203 w 10785"/>
                <a:gd name="connsiteY847" fmla="*/ 3154 h 10000"/>
                <a:gd name="connsiteX848" fmla="*/ 8175 w 10785"/>
                <a:gd name="connsiteY848" fmla="*/ 3094 h 10000"/>
                <a:gd name="connsiteX849" fmla="*/ 8161 w 10785"/>
                <a:gd name="connsiteY849" fmla="*/ 3094 h 10000"/>
                <a:gd name="connsiteX850" fmla="*/ 8157 w 10785"/>
                <a:gd name="connsiteY850" fmla="*/ 3077 h 10000"/>
                <a:gd name="connsiteX851" fmla="*/ 8180 w 10785"/>
                <a:gd name="connsiteY851" fmla="*/ 3068 h 10000"/>
                <a:gd name="connsiteX852" fmla="*/ 8189 w 10785"/>
                <a:gd name="connsiteY852" fmla="*/ 3043 h 10000"/>
                <a:gd name="connsiteX853" fmla="*/ 8189 w 10785"/>
                <a:gd name="connsiteY853" fmla="*/ 3017 h 10000"/>
                <a:gd name="connsiteX854" fmla="*/ 8147 w 10785"/>
                <a:gd name="connsiteY854" fmla="*/ 2940 h 10000"/>
                <a:gd name="connsiteX855" fmla="*/ 8143 w 10785"/>
                <a:gd name="connsiteY855" fmla="*/ 2915 h 10000"/>
                <a:gd name="connsiteX856" fmla="*/ 8143 w 10785"/>
                <a:gd name="connsiteY856" fmla="*/ 2906 h 10000"/>
                <a:gd name="connsiteX857" fmla="*/ 8097 w 10785"/>
                <a:gd name="connsiteY857" fmla="*/ 2932 h 10000"/>
                <a:gd name="connsiteX858" fmla="*/ 8083 w 10785"/>
                <a:gd name="connsiteY858" fmla="*/ 2932 h 10000"/>
                <a:gd name="connsiteX859" fmla="*/ 8074 w 10785"/>
                <a:gd name="connsiteY859" fmla="*/ 2906 h 10000"/>
                <a:gd name="connsiteX860" fmla="*/ 8074 w 10785"/>
                <a:gd name="connsiteY860" fmla="*/ 2897 h 10000"/>
                <a:gd name="connsiteX861" fmla="*/ 8055 w 10785"/>
                <a:gd name="connsiteY861" fmla="*/ 2872 h 10000"/>
                <a:gd name="connsiteX862" fmla="*/ 8046 w 10785"/>
                <a:gd name="connsiteY862" fmla="*/ 2829 h 10000"/>
                <a:gd name="connsiteX863" fmla="*/ 8041 w 10785"/>
                <a:gd name="connsiteY863" fmla="*/ 2829 h 10000"/>
                <a:gd name="connsiteX864" fmla="*/ 8023 w 10785"/>
                <a:gd name="connsiteY864" fmla="*/ 2803 h 10000"/>
                <a:gd name="connsiteX865" fmla="*/ 8014 w 10785"/>
                <a:gd name="connsiteY865" fmla="*/ 2829 h 10000"/>
                <a:gd name="connsiteX866" fmla="*/ 8000 w 10785"/>
                <a:gd name="connsiteY866" fmla="*/ 2829 h 10000"/>
                <a:gd name="connsiteX867" fmla="*/ 7995 w 10785"/>
                <a:gd name="connsiteY867" fmla="*/ 2821 h 10000"/>
                <a:gd name="connsiteX868" fmla="*/ 7972 w 10785"/>
                <a:gd name="connsiteY868" fmla="*/ 2803 h 10000"/>
                <a:gd name="connsiteX869" fmla="*/ 7968 w 10785"/>
                <a:gd name="connsiteY869" fmla="*/ 2821 h 10000"/>
                <a:gd name="connsiteX870" fmla="*/ 7968 w 10785"/>
                <a:gd name="connsiteY870" fmla="*/ 2803 h 10000"/>
                <a:gd name="connsiteX871" fmla="*/ 7995 w 10785"/>
                <a:gd name="connsiteY871" fmla="*/ 2735 h 10000"/>
                <a:gd name="connsiteX872" fmla="*/ 8000 w 10785"/>
                <a:gd name="connsiteY872" fmla="*/ 2735 h 10000"/>
                <a:gd name="connsiteX873" fmla="*/ 8014 w 10785"/>
                <a:gd name="connsiteY873" fmla="*/ 2744 h 10000"/>
                <a:gd name="connsiteX874" fmla="*/ 8023 w 10785"/>
                <a:gd name="connsiteY874" fmla="*/ 2769 h 10000"/>
                <a:gd name="connsiteX875" fmla="*/ 8032 w 10785"/>
                <a:gd name="connsiteY875" fmla="*/ 2744 h 10000"/>
                <a:gd name="connsiteX876" fmla="*/ 8032 w 10785"/>
                <a:gd name="connsiteY876" fmla="*/ 2709 h 10000"/>
                <a:gd name="connsiteX877" fmla="*/ 8023 w 10785"/>
                <a:gd name="connsiteY877" fmla="*/ 2632 h 10000"/>
                <a:gd name="connsiteX878" fmla="*/ 7986 w 10785"/>
                <a:gd name="connsiteY878" fmla="*/ 2581 h 10000"/>
                <a:gd name="connsiteX879" fmla="*/ 7968 w 10785"/>
                <a:gd name="connsiteY879" fmla="*/ 2581 h 10000"/>
                <a:gd name="connsiteX880" fmla="*/ 7963 w 10785"/>
                <a:gd name="connsiteY880" fmla="*/ 2556 h 10000"/>
                <a:gd name="connsiteX881" fmla="*/ 7935 w 10785"/>
                <a:gd name="connsiteY881" fmla="*/ 2547 h 10000"/>
                <a:gd name="connsiteX882" fmla="*/ 7912 w 10785"/>
                <a:gd name="connsiteY882" fmla="*/ 2547 h 10000"/>
                <a:gd name="connsiteX883" fmla="*/ 7912 w 10785"/>
                <a:gd name="connsiteY883" fmla="*/ 2556 h 10000"/>
                <a:gd name="connsiteX884" fmla="*/ 7908 w 10785"/>
                <a:gd name="connsiteY884" fmla="*/ 2547 h 10000"/>
                <a:gd name="connsiteX885" fmla="*/ 7862 w 10785"/>
                <a:gd name="connsiteY885" fmla="*/ 2547 h 10000"/>
                <a:gd name="connsiteX886" fmla="*/ 7848 w 10785"/>
                <a:gd name="connsiteY886" fmla="*/ 2556 h 10000"/>
                <a:gd name="connsiteX887" fmla="*/ 7820 w 10785"/>
                <a:gd name="connsiteY887" fmla="*/ 2547 h 10000"/>
                <a:gd name="connsiteX888" fmla="*/ 7806 w 10785"/>
                <a:gd name="connsiteY888" fmla="*/ 2513 h 10000"/>
                <a:gd name="connsiteX889" fmla="*/ 7788 w 10785"/>
                <a:gd name="connsiteY889" fmla="*/ 2513 h 10000"/>
                <a:gd name="connsiteX890" fmla="*/ 7760 w 10785"/>
                <a:gd name="connsiteY890" fmla="*/ 2470 h 10000"/>
                <a:gd name="connsiteX891" fmla="*/ 7751 w 10785"/>
                <a:gd name="connsiteY891" fmla="*/ 2470 h 10000"/>
                <a:gd name="connsiteX892" fmla="*/ 7705 w 10785"/>
                <a:gd name="connsiteY892" fmla="*/ 2462 h 10000"/>
                <a:gd name="connsiteX893" fmla="*/ 7673 w 10785"/>
                <a:gd name="connsiteY893" fmla="*/ 2419 h 10000"/>
                <a:gd name="connsiteX894" fmla="*/ 7627 w 10785"/>
                <a:gd name="connsiteY894" fmla="*/ 2419 h 10000"/>
                <a:gd name="connsiteX895" fmla="*/ 7613 w 10785"/>
                <a:gd name="connsiteY895" fmla="*/ 2410 h 10000"/>
                <a:gd name="connsiteX896" fmla="*/ 7493 w 10785"/>
                <a:gd name="connsiteY896" fmla="*/ 2393 h 10000"/>
                <a:gd name="connsiteX897" fmla="*/ 7479 w 10785"/>
                <a:gd name="connsiteY897" fmla="*/ 2385 h 10000"/>
                <a:gd name="connsiteX898" fmla="*/ 7479 w 10785"/>
                <a:gd name="connsiteY898" fmla="*/ 2376 h 10000"/>
                <a:gd name="connsiteX899" fmla="*/ 7465 w 10785"/>
                <a:gd name="connsiteY899" fmla="*/ 2359 h 10000"/>
                <a:gd name="connsiteX900" fmla="*/ 7447 w 10785"/>
                <a:gd name="connsiteY900" fmla="*/ 2350 h 10000"/>
                <a:gd name="connsiteX901" fmla="*/ 7433 w 10785"/>
                <a:gd name="connsiteY901" fmla="*/ 2376 h 10000"/>
                <a:gd name="connsiteX902" fmla="*/ 7433 w 10785"/>
                <a:gd name="connsiteY902" fmla="*/ 2385 h 10000"/>
                <a:gd name="connsiteX903" fmla="*/ 7447 w 10785"/>
                <a:gd name="connsiteY903" fmla="*/ 2410 h 10000"/>
                <a:gd name="connsiteX904" fmla="*/ 7447 w 10785"/>
                <a:gd name="connsiteY904" fmla="*/ 2436 h 10000"/>
                <a:gd name="connsiteX905" fmla="*/ 7452 w 10785"/>
                <a:gd name="connsiteY905" fmla="*/ 2462 h 10000"/>
                <a:gd name="connsiteX906" fmla="*/ 7447 w 10785"/>
                <a:gd name="connsiteY906" fmla="*/ 2470 h 10000"/>
                <a:gd name="connsiteX907" fmla="*/ 7424 w 10785"/>
                <a:gd name="connsiteY907" fmla="*/ 2513 h 10000"/>
                <a:gd name="connsiteX908" fmla="*/ 7419 w 10785"/>
                <a:gd name="connsiteY908" fmla="*/ 2556 h 10000"/>
                <a:gd name="connsiteX909" fmla="*/ 7406 w 10785"/>
                <a:gd name="connsiteY909" fmla="*/ 2624 h 10000"/>
                <a:gd name="connsiteX910" fmla="*/ 7392 w 10785"/>
                <a:gd name="connsiteY910" fmla="*/ 2624 h 10000"/>
                <a:gd name="connsiteX911" fmla="*/ 7373 w 10785"/>
                <a:gd name="connsiteY911" fmla="*/ 2650 h 10000"/>
                <a:gd name="connsiteX912" fmla="*/ 7364 w 10785"/>
                <a:gd name="connsiteY912" fmla="*/ 2684 h 10000"/>
                <a:gd name="connsiteX913" fmla="*/ 7364 w 10785"/>
                <a:gd name="connsiteY913" fmla="*/ 2692 h 10000"/>
                <a:gd name="connsiteX914" fmla="*/ 7373 w 10785"/>
                <a:gd name="connsiteY914" fmla="*/ 2718 h 10000"/>
                <a:gd name="connsiteX915" fmla="*/ 7373 w 10785"/>
                <a:gd name="connsiteY915" fmla="*/ 2744 h 10000"/>
                <a:gd name="connsiteX916" fmla="*/ 7359 w 10785"/>
                <a:gd name="connsiteY916" fmla="*/ 2744 h 10000"/>
                <a:gd name="connsiteX917" fmla="*/ 7359 w 10785"/>
                <a:gd name="connsiteY917" fmla="*/ 2795 h 10000"/>
                <a:gd name="connsiteX918" fmla="*/ 7364 w 10785"/>
                <a:gd name="connsiteY918" fmla="*/ 2821 h 10000"/>
                <a:gd name="connsiteX919" fmla="*/ 7378 w 10785"/>
                <a:gd name="connsiteY919" fmla="*/ 2846 h 10000"/>
                <a:gd name="connsiteX920" fmla="*/ 7378 w 10785"/>
                <a:gd name="connsiteY920" fmla="*/ 2855 h 10000"/>
                <a:gd name="connsiteX921" fmla="*/ 7378 w 10785"/>
                <a:gd name="connsiteY921" fmla="*/ 2880 h 10000"/>
                <a:gd name="connsiteX922" fmla="*/ 7378 w 10785"/>
                <a:gd name="connsiteY922" fmla="*/ 2906 h 10000"/>
                <a:gd name="connsiteX923" fmla="*/ 7364 w 10785"/>
                <a:gd name="connsiteY923" fmla="*/ 2906 h 10000"/>
                <a:gd name="connsiteX924" fmla="*/ 7346 w 10785"/>
                <a:gd name="connsiteY924" fmla="*/ 2880 h 10000"/>
                <a:gd name="connsiteX925" fmla="*/ 7332 w 10785"/>
                <a:gd name="connsiteY925" fmla="*/ 2915 h 10000"/>
                <a:gd name="connsiteX926" fmla="*/ 7318 w 10785"/>
                <a:gd name="connsiteY926" fmla="*/ 2906 h 10000"/>
                <a:gd name="connsiteX927" fmla="*/ 7313 w 10785"/>
                <a:gd name="connsiteY927" fmla="*/ 2915 h 10000"/>
                <a:gd name="connsiteX928" fmla="*/ 7313 w 10785"/>
                <a:gd name="connsiteY928" fmla="*/ 2906 h 10000"/>
                <a:gd name="connsiteX929" fmla="*/ 7286 w 10785"/>
                <a:gd name="connsiteY929" fmla="*/ 2940 h 10000"/>
                <a:gd name="connsiteX930" fmla="*/ 7276 w 10785"/>
                <a:gd name="connsiteY930" fmla="*/ 2966 h 10000"/>
                <a:gd name="connsiteX931" fmla="*/ 7272 w 10785"/>
                <a:gd name="connsiteY931" fmla="*/ 2983 h 10000"/>
                <a:gd name="connsiteX932" fmla="*/ 7267 w 10785"/>
                <a:gd name="connsiteY932" fmla="*/ 3009 h 10000"/>
                <a:gd name="connsiteX933" fmla="*/ 7253 w 10785"/>
                <a:gd name="connsiteY933" fmla="*/ 3009 h 10000"/>
                <a:gd name="connsiteX934" fmla="*/ 7244 w 10785"/>
                <a:gd name="connsiteY934" fmla="*/ 3017 h 10000"/>
                <a:gd name="connsiteX935" fmla="*/ 7240 w 10785"/>
                <a:gd name="connsiteY935" fmla="*/ 3009 h 10000"/>
                <a:gd name="connsiteX936" fmla="*/ 7230 w 10785"/>
                <a:gd name="connsiteY936" fmla="*/ 2991 h 10000"/>
                <a:gd name="connsiteX937" fmla="*/ 7226 w 10785"/>
                <a:gd name="connsiteY937" fmla="*/ 2983 h 10000"/>
                <a:gd name="connsiteX938" fmla="*/ 7226 w 10785"/>
                <a:gd name="connsiteY938" fmla="*/ 2966 h 10000"/>
                <a:gd name="connsiteX939" fmla="*/ 7212 w 10785"/>
                <a:gd name="connsiteY939" fmla="*/ 2957 h 10000"/>
                <a:gd name="connsiteX940" fmla="*/ 7212 w 10785"/>
                <a:gd name="connsiteY940" fmla="*/ 2932 h 10000"/>
                <a:gd name="connsiteX941" fmla="*/ 7198 w 10785"/>
                <a:gd name="connsiteY941" fmla="*/ 2915 h 10000"/>
                <a:gd name="connsiteX942" fmla="*/ 7194 w 10785"/>
                <a:gd name="connsiteY942" fmla="*/ 2915 h 10000"/>
                <a:gd name="connsiteX943" fmla="*/ 7157 w 10785"/>
                <a:gd name="connsiteY943" fmla="*/ 2880 h 10000"/>
                <a:gd name="connsiteX944" fmla="*/ 7138 w 10785"/>
                <a:gd name="connsiteY944" fmla="*/ 2880 h 10000"/>
                <a:gd name="connsiteX945" fmla="*/ 7120 w 10785"/>
                <a:gd name="connsiteY945" fmla="*/ 2872 h 10000"/>
                <a:gd name="connsiteX946" fmla="*/ 7111 w 10785"/>
                <a:gd name="connsiteY946" fmla="*/ 2846 h 10000"/>
                <a:gd name="connsiteX947" fmla="*/ 7106 w 10785"/>
                <a:gd name="connsiteY947" fmla="*/ 2846 h 10000"/>
                <a:gd name="connsiteX948" fmla="*/ 7092 w 10785"/>
                <a:gd name="connsiteY948" fmla="*/ 2829 h 10000"/>
                <a:gd name="connsiteX949" fmla="*/ 7051 w 10785"/>
                <a:gd name="connsiteY949" fmla="*/ 2829 h 10000"/>
                <a:gd name="connsiteX950" fmla="*/ 7037 w 10785"/>
                <a:gd name="connsiteY950" fmla="*/ 2880 h 10000"/>
                <a:gd name="connsiteX951" fmla="*/ 7037 w 10785"/>
                <a:gd name="connsiteY951" fmla="*/ 2906 h 10000"/>
                <a:gd name="connsiteX952" fmla="*/ 7037 w 10785"/>
                <a:gd name="connsiteY952" fmla="*/ 2932 h 10000"/>
                <a:gd name="connsiteX953" fmla="*/ 7037 w 10785"/>
                <a:gd name="connsiteY953" fmla="*/ 2940 h 10000"/>
                <a:gd name="connsiteX954" fmla="*/ 7023 w 10785"/>
                <a:gd name="connsiteY954" fmla="*/ 2906 h 10000"/>
                <a:gd name="connsiteX955" fmla="*/ 7023 w 10785"/>
                <a:gd name="connsiteY955" fmla="*/ 2915 h 10000"/>
                <a:gd name="connsiteX956" fmla="*/ 6991 w 10785"/>
                <a:gd name="connsiteY956" fmla="*/ 2906 h 10000"/>
                <a:gd name="connsiteX957" fmla="*/ 6977 w 10785"/>
                <a:gd name="connsiteY957" fmla="*/ 2915 h 10000"/>
                <a:gd name="connsiteX958" fmla="*/ 6963 w 10785"/>
                <a:gd name="connsiteY958" fmla="*/ 2915 h 10000"/>
                <a:gd name="connsiteX959" fmla="*/ 6949 w 10785"/>
                <a:gd name="connsiteY959" fmla="*/ 2872 h 10000"/>
                <a:gd name="connsiteX960" fmla="*/ 6935 w 10785"/>
                <a:gd name="connsiteY960" fmla="*/ 2855 h 10000"/>
                <a:gd name="connsiteX961" fmla="*/ 6922 w 10785"/>
                <a:gd name="connsiteY961" fmla="*/ 2803 h 10000"/>
                <a:gd name="connsiteX962" fmla="*/ 6917 w 10785"/>
                <a:gd name="connsiteY962" fmla="*/ 2786 h 10000"/>
                <a:gd name="connsiteX963" fmla="*/ 6903 w 10785"/>
                <a:gd name="connsiteY963" fmla="*/ 2709 h 10000"/>
                <a:gd name="connsiteX964" fmla="*/ 6903 w 10785"/>
                <a:gd name="connsiteY964" fmla="*/ 2692 h 10000"/>
                <a:gd name="connsiteX965" fmla="*/ 6899 w 10785"/>
                <a:gd name="connsiteY965" fmla="*/ 2709 h 10000"/>
                <a:gd name="connsiteX966" fmla="*/ 6857 w 10785"/>
                <a:gd name="connsiteY966" fmla="*/ 2872 h 10000"/>
                <a:gd name="connsiteX967" fmla="*/ 6857 w 10785"/>
                <a:gd name="connsiteY967" fmla="*/ 3009 h 10000"/>
                <a:gd name="connsiteX968" fmla="*/ 6848 w 10785"/>
                <a:gd name="connsiteY968" fmla="*/ 3017 h 10000"/>
                <a:gd name="connsiteX969" fmla="*/ 6839 w 10785"/>
                <a:gd name="connsiteY969" fmla="*/ 3068 h 10000"/>
                <a:gd name="connsiteX970" fmla="*/ 6829 w 10785"/>
                <a:gd name="connsiteY970" fmla="*/ 3077 h 10000"/>
                <a:gd name="connsiteX971" fmla="*/ 6829 w 10785"/>
                <a:gd name="connsiteY971" fmla="*/ 3128 h 10000"/>
                <a:gd name="connsiteX972" fmla="*/ 6816 w 10785"/>
                <a:gd name="connsiteY972" fmla="*/ 3154 h 10000"/>
                <a:gd name="connsiteX973" fmla="*/ 6811 w 10785"/>
                <a:gd name="connsiteY973" fmla="*/ 3179 h 10000"/>
                <a:gd name="connsiteX974" fmla="*/ 6797 w 10785"/>
                <a:gd name="connsiteY974" fmla="*/ 3171 h 10000"/>
                <a:gd name="connsiteX975" fmla="*/ 6783 w 10785"/>
                <a:gd name="connsiteY975" fmla="*/ 3103 h 10000"/>
                <a:gd name="connsiteX976" fmla="*/ 6779 w 10785"/>
                <a:gd name="connsiteY976" fmla="*/ 3094 h 10000"/>
                <a:gd name="connsiteX977" fmla="*/ 6779 w 10785"/>
                <a:gd name="connsiteY977" fmla="*/ 3120 h 10000"/>
                <a:gd name="connsiteX978" fmla="*/ 6770 w 10785"/>
                <a:gd name="connsiteY978" fmla="*/ 3128 h 10000"/>
                <a:gd name="connsiteX979" fmla="*/ 6765 w 10785"/>
                <a:gd name="connsiteY979" fmla="*/ 3103 h 10000"/>
                <a:gd name="connsiteX980" fmla="*/ 6756 w 10785"/>
                <a:gd name="connsiteY980" fmla="*/ 3103 h 10000"/>
                <a:gd name="connsiteX981" fmla="*/ 6742 w 10785"/>
                <a:gd name="connsiteY981" fmla="*/ 3103 h 10000"/>
                <a:gd name="connsiteX982" fmla="*/ 6737 w 10785"/>
                <a:gd name="connsiteY982" fmla="*/ 3077 h 10000"/>
                <a:gd name="connsiteX983" fmla="*/ 6737 w 10785"/>
                <a:gd name="connsiteY983" fmla="*/ 3068 h 10000"/>
                <a:gd name="connsiteX984" fmla="*/ 6728 w 10785"/>
                <a:gd name="connsiteY984" fmla="*/ 3043 h 10000"/>
                <a:gd name="connsiteX985" fmla="*/ 6724 w 10785"/>
                <a:gd name="connsiteY985" fmla="*/ 3051 h 10000"/>
                <a:gd name="connsiteX986" fmla="*/ 6714 w 10785"/>
                <a:gd name="connsiteY986" fmla="*/ 3043 h 10000"/>
                <a:gd name="connsiteX987" fmla="*/ 6710 w 10785"/>
                <a:gd name="connsiteY987" fmla="*/ 3034 h 10000"/>
                <a:gd name="connsiteX988" fmla="*/ 6705 w 10785"/>
                <a:gd name="connsiteY988" fmla="*/ 2983 h 10000"/>
                <a:gd name="connsiteX989" fmla="*/ 6696 w 10785"/>
                <a:gd name="connsiteY989" fmla="*/ 2966 h 10000"/>
                <a:gd name="connsiteX990" fmla="*/ 6691 w 10785"/>
                <a:gd name="connsiteY990" fmla="*/ 2983 h 10000"/>
                <a:gd name="connsiteX991" fmla="*/ 6677 w 10785"/>
                <a:gd name="connsiteY991" fmla="*/ 2897 h 10000"/>
                <a:gd name="connsiteX992" fmla="*/ 6677 w 10785"/>
                <a:gd name="connsiteY992" fmla="*/ 2897 h 10000"/>
                <a:gd name="connsiteX993" fmla="*/ 6677 w 10785"/>
                <a:gd name="connsiteY993" fmla="*/ 2872 h 10000"/>
                <a:gd name="connsiteX994" fmla="*/ 6668 w 10785"/>
                <a:gd name="connsiteY994" fmla="*/ 2821 h 10000"/>
                <a:gd name="connsiteX995" fmla="*/ 6664 w 10785"/>
                <a:gd name="connsiteY995" fmla="*/ 2829 h 10000"/>
                <a:gd name="connsiteX996" fmla="*/ 6654 w 10785"/>
                <a:gd name="connsiteY996" fmla="*/ 2846 h 10000"/>
                <a:gd name="connsiteX997" fmla="*/ 6650 w 10785"/>
                <a:gd name="connsiteY997" fmla="*/ 2829 h 10000"/>
                <a:gd name="connsiteX998" fmla="*/ 6650 w 10785"/>
                <a:gd name="connsiteY998" fmla="*/ 2803 h 10000"/>
                <a:gd name="connsiteX999" fmla="*/ 6650 w 10785"/>
                <a:gd name="connsiteY999" fmla="*/ 2795 h 10000"/>
                <a:gd name="connsiteX1000" fmla="*/ 6641 w 10785"/>
                <a:gd name="connsiteY1000" fmla="*/ 2786 h 10000"/>
                <a:gd name="connsiteX1001" fmla="*/ 6636 w 10785"/>
                <a:gd name="connsiteY1001" fmla="*/ 2735 h 10000"/>
                <a:gd name="connsiteX1002" fmla="*/ 6664 w 10785"/>
                <a:gd name="connsiteY1002" fmla="*/ 2667 h 10000"/>
                <a:gd name="connsiteX1003" fmla="*/ 6668 w 10785"/>
                <a:gd name="connsiteY1003" fmla="*/ 2684 h 10000"/>
                <a:gd name="connsiteX1004" fmla="*/ 6677 w 10785"/>
                <a:gd name="connsiteY1004" fmla="*/ 2667 h 10000"/>
                <a:gd name="connsiteX1005" fmla="*/ 6668 w 10785"/>
                <a:gd name="connsiteY1005" fmla="*/ 2667 h 10000"/>
                <a:gd name="connsiteX1006" fmla="*/ 6668 w 10785"/>
                <a:gd name="connsiteY1006" fmla="*/ 2650 h 10000"/>
                <a:gd name="connsiteX1007" fmla="*/ 6682 w 10785"/>
                <a:gd name="connsiteY1007" fmla="*/ 2650 h 10000"/>
                <a:gd name="connsiteX1008" fmla="*/ 6691 w 10785"/>
                <a:gd name="connsiteY1008" fmla="*/ 2624 h 10000"/>
                <a:gd name="connsiteX1009" fmla="*/ 6682 w 10785"/>
                <a:gd name="connsiteY1009" fmla="*/ 2632 h 10000"/>
                <a:gd name="connsiteX1010" fmla="*/ 6682 w 10785"/>
                <a:gd name="connsiteY1010" fmla="*/ 2624 h 10000"/>
                <a:gd name="connsiteX1011" fmla="*/ 6691 w 10785"/>
                <a:gd name="connsiteY1011" fmla="*/ 2607 h 10000"/>
                <a:gd name="connsiteX1012" fmla="*/ 6691 w 10785"/>
                <a:gd name="connsiteY1012" fmla="*/ 2598 h 10000"/>
                <a:gd name="connsiteX1013" fmla="*/ 6691 w 10785"/>
                <a:gd name="connsiteY1013" fmla="*/ 2581 h 10000"/>
                <a:gd name="connsiteX1014" fmla="*/ 6696 w 10785"/>
                <a:gd name="connsiteY1014" fmla="*/ 2530 h 10000"/>
                <a:gd name="connsiteX1015" fmla="*/ 6677 w 10785"/>
                <a:gd name="connsiteY1015" fmla="*/ 2513 h 10000"/>
                <a:gd name="connsiteX1016" fmla="*/ 6677 w 10785"/>
                <a:gd name="connsiteY1016" fmla="*/ 2496 h 10000"/>
                <a:gd name="connsiteX1017" fmla="*/ 6682 w 10785"/>
                <a:gd name="connsiteY1017" fmla="*/ 2470 h 10000"/>
                <a:gd name="connsiteX1018" fmla="*/ 6668 w 10785"/>
                <a:gd name="connsiteY1018" fmla="*/ 2462 h 10000"/>
                <a:gd name="connsiteX1019" fmla="*/ 6677 w 10785"/>
                <a:gd name="connsiteY1019" fmla="*/ 2436 h 10000"/>
                <a:gd name="connsiteX1020" fmla="*/ 6682 w 10785"/>
                <a:gd name="connsiteY1020" fmla="*/ 2419 h 10000"/>
                <a:gd name="connsiteX1021" fmla="*/ 6682 w 10785"/>
                <a:gd name="connsiteY1021" fmla="*/ 2393 h 10000"/>
                <a:gd name="connsiteX1022" fmla="*/ 6682 w 10785"/>
                <a:gd name="connsiteY1022" fmla="*/ 2385 h 10000"/>
                <a:gd name="connsiteX1023" fmla="*/ 6682 w 10785"/>
                <a:gd name="connsiteY1023" fmla="*/ 2385 h 10000"/>
                <a:gd name="connsiteX1024" fmla="*/ 6677 w 10785"/>
                <a:gd name="connsiteY1024" fmla="*/ 2376 h 10000"/>
                <a:gd name="connsiteX1025" fmla="*/ 6682 w 10785"/>
                <a:gd name="connsiteY1025" fmla="*/ 2359 h 10000"/>
                <a:gd name="connsiteX1026" fmla="*/ 6677 w 10785"/>
                <a:gd name="connsiteY1026" fmla="*/ 2333 h 10000"/>
                <a:gd name="connsiteX1027" fmla="*/ 6691 w 10785"/>
                <a:gd name="connsiteY1027" fmla="*/ 2333 h 10000"/>
                <a:gd name="connsiteX1028" fmla="*/ 6691 w 10785"/>
                <a:gd name="connsiteY1028" fmla="*/ 2325 h 10000"/>
                <a:gd name="connsiteX1029" fmla="*/ 6691 w 10785"/>
                <a:gd name="connsiteY1029" fmla="*/ 2308 h 10000"/>
                <a:gd name="connsiteX1030" fmla="*/ 6691 w 10785"/>
                <a:gd name="connsiteY1030" fmla="*/ 2299 h 10000"/>
                <a:gd name="connsiteX1031" fmla="*/ 6691 w 10785"/>
                <a:gd name="connsiteY1031" fmla="*/ 2282 h 10000"/>
                <a:gd name="connsiteX1032" fmla="*/ 6691 w 10785"/>
                <a:gd name="connsiteY1032" fmla="*/ 2274 h 10000"/>
                <a:gd name="connsiteX1033" fmla="*/ 6668 w 10785"/>
                <a:gd name="connsiteY1033" fmla="*/ 2248 h 10000"/>
                <a:gd name="connsiteX1034" fmla="*/ 6664 w 10785"/>
                <a:gd name="connsiteY1034" fmla="*/ 2222 h 10000"/>
                <a:gd name="connsiteX1035" fmla="*/ 6654 w 10785"/>
                <a:gd name="connsiteY1035" fmla="*/ 2214 h 10000"/>
                <a:gd name="connsiteX1036" fmla="*/ 6654 w 10785"/>
                <a:gd name="connsiteY1036" fmla="*/ 2188 h 10000"/>
                <a:gd name="connsiteX1037" fmla="*/ 6622 w 10785"/>
                <a:gd name="connsiteY1037" fmla="*/ 2162 h 10000"/>
                <a:gd name="connsiteX1038" fmla="*/ 6631 w 10785"/>
                <a:gd name="connsiteY1038" fmla="*/ 2145 h 10000"/>
                <a:gd name="connsiteX1039" fmla="*/ 6622 w 10785"/>
                <a:gd name="connsiteY1039" fmla="*/ 2120 h 10000"/>
                <a:gd name="connsiteX1040" fmla="*/ 6608 w 10785"/>
                <a:gd name="connsiteY1040" fmla="*/ 2120 h 10000"/>
                <a:gd name="connsiteX1041" fmla="*/ 6604 w 10785"/>
                <a:gd name="connsiteY1041" fmla="*/ 2111 h 10000"/>
                <a:gd name="connsiteX1042" fmla="*/ 6608 w 10785"/>
                <a:gd name="connsiteY1042" fmla="*/ 2111 h 10000"/>
                <a:gd name="connsiteX1043" fmla="*/ 6604 w 10785"/>
                <a:gd name="connsiteY1043" fmla="*/ 2085 h 10000"/>
                <a:gd name="connsiteX1044" fmla="*/ 6581 w 10785"/>
                <a:gd name="connsiteY1044" fmla="*/ 2077 h 10000"/>
                <a:gd name="connsiteX1045" fmla="*/ 6571 w 10785"/>
                <a:gd name="connsiteY1045" fmla="*/ 2085 h 10000"/>
                <a:gd name="connsiteX1046" fmla="*/ 6548 w 10785"/>
                <a:gd name="connsiteY1046" fmla="*/ 2077 h 10000"/>
                <a:gd name="connsiteX1047" fmla="*/ 6530 w 10785"/>
                <a:gd name="connsiteY1047" fmla="*/ 2060 h 10000"/>
                <a:gd name="connsiteX1048" fmla="*/ 6521 w 10785"/>
                <a:gd name="connsiteY1048" fmla="*/ 2060 h 10000"/>
                <a:gd name="connsiteX1049" fmla="*/ 6521 w 10785"/>
                <a:gd name="connsiteY1049" fmla="*/ 2085 h 10000"/>
                <a:gd name="connsiteX1050" fmla="*/ 6516 w 10785"/>
                <a:gd name="connsiteY1050" fmla="*/ 2085 h 10000"/>
                <a:gd name="connsiteX1051" fmla="*/ 6502 w 10785"/>
                <a:gd name="connsiteY1051" fmla="*/ 2111 h 10000"/>
                <a:gd name="connsiteX1052" fmla="*/ 6498 w 10785"/>
                <a:gd name="connsiteY1052" fmla="*/ 2111 h 10000"/>
                <a:gd name="connsiteX1053" fmla="*/ 6498 w 10785"/>
                <a:gd name="connsiteY1053" fmla="*/ 2103 h 10000"/>
                <a:gd name="connsiteX1054" fmla="*/ 6475 w 10785"/>
                <a:gd name="connsiteY1054" fmla="*/ 2051 h 10000"/>
                <a:gd name="connsiteX1055" fmla="*/ 6470 w 10785"/>
                <a:gd name="connsiteY1055" fmla="*/ 2060 h 10000"/>
                <a:gd name="connsiteX1056" fmla="*/ 6456 w 10785"/>
                <a:gd name="connsiteY1056" fmla="*/ 2051 h 10000"/>
                <a:gd name="connsiteX1057" fmla="*/ 6447 w 10785"/>
                <a:gd name="connsiteY1057" fmla="*/ 2051 h 10000"/>
                <a:gd name="connsiteX1058" fmla="*/ 6433 w 10785"/>
                <a:gd name="connsiteY1058" fmla="*/ 2026 h 10000"/>
                <a:gd name="connsiteX1059" fmla="*/ 6433 w 10785"/>
                <a:gd name="connsiteY1059" fmla="*/ 2034 h 10000"/>
                <a:gd name="connsiteX1060" fmla="*/ 6429 w 10785"/>
                <a:gd name="connsiteY1060" fmla="*/ 2026 h 10000"/>
                <a:gd name="connsiteX1061" fmla="*/ 6424 w 10785"/>
                <a:gd name="connsiteY1061" fmla="*/ 2034 h 10000"/>
                <a:gd name="connsiteX1062" fmla="*/ 6410 w 10785"/>
                <a:gd name="connsiteY1062" fmla="*/ 2026 h 10000"/>
                <a:gd name="connsiteX1063" fmla="*/ 6410 w 10785"/>
                <a:gd name="connsiteY1063" fmla="*/ 1991 h 10000"/>
                <a:gd name="connsiteX1064" fmla="*/ 6401 w 10785"/>
                <a:gd name="connsiteY1064" fmla="*/ 1991 h 10000"/>
                <a:gd name="connsiteX1065" fmla="*/ 6396 w 10785"/>
                <a:gd name="connsiteY1065" fmla="*/ 2000 h 10000"/>
                <a:gd name="connsiteX1066" fmla="*/ 6382 w 10785"/>
                <a:gd name="connsiteY1066" fmla="*/ 1966 h 10000"/>
                <a:gd name="connsiteX1067" fmla="*/ 6373 w 10785"/>
                <a:gd name="connsiteY1067" fmla="*/ 1974 h 10000"/>
                <a:gd name="connsiteX1068" fmla="*/ 6369 w 10785"/>
                <a:gd name="connsiteY1068" fmla="*/ 1966 h 10000"/>
                <a:gd name="connsiteX1069" fmla="*/ 6341 w 10785"/>
                <a:gd name="connsiteY1069" fmla="*/ 1949 h 10000"/>
                <a:gd name="connsiteX1070" fmla="*/ 6327 w 10785"/>
                <a:gd name="connsiteY1070" fmla="*/ 1923 h 10000"/>
                <a:gd name="connsiteX1071" fmla="*/ 6323 w 10785"/>
                <a:gd name="connsiteY1071" fmla="*/ 1923 h 10000"/>
                <a:gd name="connsiteX1072" fmla="*/ 6323 w 10785"/>
                <a:gd name="connsiteY1072" fmla="*/ 1966 h 10000"/>
                <a:gd name="connsiteX1073" fmla="*/ 6323 w 10785"/>
                <a:gd name="connsiteY1073" fmla="*/ 1991 h 10000"/>
                <a:gd name="connsiteX1074" fmla="*/ 6313 w 10785"/>
                <a:gd name="connsiteY1074" fmla="*/ 1991 h 10000"/>
                <a:gd name="connsiteX1075" fmla="*/ 6300 w 10785"/>
                <a:gd name="connsiteY1075" fmla="*/ 1991 h 10000"/>
                <a:gd name="connsiteX1076" fmla="*/ 6290 w 10785"/>
                <a:gd name="connsiteY1076" fmla="*/ 1949 h 10000"/>
                <a:gd name="connsiteX1077" fmla="*/ 6276 w 10785"/>
                <a:gd name="connsiteY1077" fmla="*/ 2103 h 10000"/>
                <a:gd name="connsiteX1078" fmla="*/ 6281 w 10785"/>
                <a:gd name="connsiteY1078" fmla="*/ 2103 h 10000"/>
                <a:gd name="connsiteX1079" fmla="*/ 6276 w 10785"/>
                <a:gd name="connsiteY1079" fmla="*/ 2111 h 10000"/>
                <a:gd name="connsiteX1080" fmla="*/ 6276 w 10785"/>
                <a:gd name="connsiteY1080" fmla="*/ 2120 h 10000"/>
                <a:gd name="connsiteX1081" fmla="*/ 6295 w 10785"/>
                <a:gd name="connsiteY1081" fmla="*/ 2239 h 10000"/>
                <a:gd name="connsiteX1082" fmla="*/ 6290 w 10785"/>
                <a:gd name="connsiteY1082" fmla="*/ 2248 h 10000"/>
                <a:gd name="connsiteX1083" fmla="*/ 6281 w 10785"/>
                <a:gd name="connsiteY1083" fmla="*/ 2274 h 10000"/>
                <a:gd name="connsiteX1084" fmla="*/ 6249 w 10785"/>
                <a:gd name="connsiteY1084" fmla="*/ 2274 h 10000"/>
                <a:gd name="connsiteX1085" fmla="*/ 6226 w 10785"/>
                <a:gd name="connsiteY1085" fmla="*/ 2308 h 10000"/>
                <a:gd name="connsiteX1086" fmla="*/ 6221 w 10785"/>
                <a:gd name="connsiteY1086" fmla="*/ 2299 h 10000"/>
                <a:gd name="connsiteX1087" fmla="*/ 6221 w 10785"/>
                <a:gd name="connsiteY1087" fmla="*/ 2308 h 10000"/>
                <a:gd name="connsiteX1088" fmla="*/ 6217 w 10785"/>
                <a:gd name="connsiteY1088" fmla="*/ 2299 h 10000"/>
                <a:gd name="connsiteX1089" fmla="*/ 6194 w 10785"/>
                <a:gd name="connsiteY1089" fmla="*/ 2308 h 10000"/>
                <a:gd name="connsiteX1090" fmla="*/ 6180 w 10785"/>
                <a:gd name="connsiteY1090" fmla="*/ 2299 h 10000"/>
                <a:gd name="connsiteX1091" fmla="*/ 6143 w 10785"/>
                <a:gd name="connsiteY1091" fmla="*/ 2308 h 10000"/>
                <a:gd name="connsiteX1092" fmla="*/ 6134 w 10785"/>
                <a:gd name="connsiteY1092" fmla="*/ 2325 h 10000"/>
                <a:gd name="connsiteX1093" fmla="*/ 6115 w 10785"/>
                <a:gd name="connsiteY1093" fmla="*/ 2282 h 10000"/>
                <a:gd name="connsiteX1094" fmla="*/ 6069 w 10785"/>
                <a:gd name="connsiteY1094" fmla="*/ 2274 h 10000"/>
                <a:gd name="connsiteX1095" fmla="*/ 6069 w 10785"/>
                <a:gd name="connsiteY1095" fmla="*/ 2282 h 10000"/>
                <a:gd name="connsiteX1096" fmla="*/ 6060 w 10785"/>
                <a:gd name="connsiteY1096" fmla="*/ 2299 h 10000"/>
                <a:gd name="connsiteX1097" fmla="*/ 5972 w 10785"/>
                <a:gd name="connsiteY1097" fmla="*/ 2214 h 10000"/>
                <a:gd name="connsiteX1098" fmla="*/ 5968 w 10785"/>
                <a:gd name="connsiteY1098" fmla="*/ 2197 h 10000"/>
                <a:gd name="connsiteX1099" fmla="*/ 5968 w 10785"/>
                <a:gd name="connsiteY1099" fmla="*/ 2171 h 10000"/>
                <a:gd name="connsiteX1100" fmla="*/ 5968 w 10785"/>
                <a:gd name="connsiteY1100" fmla="*/ 2162 h 10000"/>
                <a:gd name="connsiteX1101" fmla="*/ 5968 w 10785"/>
                <a:gd name="connsiteY1101" fmla="*/ 2120 h 10000"/>
                <a:gd name="connsiteX1102" fmla="*/ 5968 w 10785"/>
                <a:gd name="connsiteY1102" fmla="*/ 2111 h 10000"/>
                <a:gd name="connsiteX1103" fmla="*/ 5972 w 10785"/>
                <a:gd name="connsiteY1103" fmla="*/ 2103 h 10000"/>
                <a:gd name="connsiteX1104" fmla="*/ 5986 w 10785"/>
                <a:gd name="connsiteY1104" fmla="*/ 2103 h 10000"/>
                <a:gd name="connsiteX1105" fmla="*/ 5986 w 10785"/>
                <a:gd name="connsiteY1105" fmla="*/ 2085 h 10000"/>
                <a:gd name="connsiteX1106" fmla="*/ 5995 w 10785"/>
                <a:gd name="connsiteY1106" fmla="*/ 2085 h 10000"/>
                <a:gd name="connsiteX1107" fmla="*/ 5995 w 10785"/>
                <a:gd name="connsiteY1107" fmla="*/ 2077 h 10000"/>
                <a:gd name="connsiteX1108" fmla="*/ 5986 w 10785"/>
                <a:gd name="connsiteY1108" fmla="*/ 2060 h 10000"/>
                <a:gd name="connsiteX1109" fmla="*/ 5954 w 10785"/>
                <a:gd name="connsiteY1109" fmla="*/ 2060 h 10000"/>
                <a:gd name="connsiteX1110" fmla="*/ 5940 w 10785"/>
                <a:gd name="connsiteY1110" fmla="*/ 2051 h 10000"/>
                <a:gd name="connsiteX1111" fmla="*/ 5922 w 10785"/>
                <a:gd name="connsiteY1111" fmla="*/ 2060 h 10000"/>
                <a:gd name="connsiteX1112" fmla="*/ 5885 w 10785"/>
                <a:gd name="connsiteY1112" fmla="*/ 2051 h 10000"/>
                <a:gd name="connsiteX1113" fmla="*/ 5876 w 10785"/>
                <a:gd name="connsiteY1113" fmla="*/ 2026 h 10000"/>
                <a:gd name="connsiteX1114" fmla="*/ 5862 w 10785"/>
                <a:gd name="connsiteY1114" fmla="*/ 2026 h 10000"/>
                <a:gd name="connsiteX1115" fmla="*/ 5848 w 10785"/>
                <a:gd name="connsiteY1115" fmla="*/ 2026 h 10000"/>
                <a:gd name="connsiteX1116" fmla="*/ 5825 w 10785"/>
                <a:gd name="connsiteY1116" fmla="*/ 2026 h 10000"/>
                <a:gd name="connsiteX1117" fmla="*/ 5788 w 10785"/>
                <a:gd name="connsiteY1117" fmla="*/ 1991 h 10000"/>
                <a:gd name="connsiteX1118" fmla="*/ 5760 w 10785"/>
                <a:gd name="connsiteY1118" fmla="*/ 2000 h 10000"/>
                <a:gd name="connsiteX1119" fmla="*/ 5760 w 10785"/>
                <a:gd name="connsiteY1119" fmla="*/ 2026 h 10000"/>
                <a:gd name="connsiteX1120" fmla="*/ 5714 w 10785"/>
                <a:gd name="connsiteY1120" fmla="*/ 2051 h 10000"/>
                <a:gd name="connsiteX1121" fmla="*/ 5687 w 10785"/>
                <a:gd name="connsiteY1121" fmla="*/ 2034 h 10000"/>
                <a:gd name="connsiteX1122" fmla="*/ 5645 w 10785"/>
                <a:gd name="connsiteY1122" fmla="*/ 2077 h 10000"/>
                <a:gd name="connsiteX1123" fmla="*/ 5664 w 10785"/>
                <a:gd name="connsiteY1123" fmla="*/ 2120 h 10000"/>
                <a:gd name="connsiteX1124" fmla="*/ 5664 w 10785"/>
                <a:gd name="connsiteY1124" fmla="*/ 2162 h 10000"/>
                <a:gd name="connsiteX1125" fmla="*/ 5631 w 10785"/>
                <a:gd name="connsiteY1125" fmla="*/ 2197 h 10000"/>
                <a:gd name="connsiteX1126" fmla="*/ 5618 w 10785"/>
                <a:gd name="connsiteY1126" fmla="*/ 2188 h 10000"/>
                <a:gd name="connsiteX1127" fmla="*/ 5618 w 10785"/>
                <a:gd name="connsiteY1127" fmla="*/ 2171 h 10000"/>
                <a:gd name="connsiteX1128" fmla="*/ 5641 w 10785"/>
                <a:gd name="connsiteY1128" fmla="*/ 2171 h 10000"/>
                <a:gd name="connsiteX1129" fmla="*/ 5641 w 10785"/>
                <a:gd name="connsiteY1129" fmla="*/ 2162 h 10000"/>
                <a:gd name="connsiteX1130" fmla="*/ 5627 w 10785"/>
                <a:gd name="connsiteY1130" fmla="*/ 2145 h 10000"/>
                <a:gd name="connsiteX1131" fmla="*/ 5627 w 10785"/>
                <a:gd name="connsiteY1131" fmla="*/ 2120 h 10000"/>
                <a:gd name="connsiteX1132" fmla="*/ 5618 w 10785"/>
                <a:gd name="connsiteY1132" fmla="*/ 2111 h 10000"/>
                <a:gd name="connsiteX1133" fmla="*/ 5631 w 10785"/>
                <a:gd name="connsiteY1133" fmla="*/ 2051 h 10000"/>
                <a:gd name="connsiteX1134" fmla="*/ 5631 w 10785"/>
                <a:gd name="connsiteY1134" fmla="*/ 2026 h 10000"/>
                <a:gd name="connsiteX1135" fmla="*/ 5627 w 10785"/>
                <a:gd name="connsiteY1135" fmla="*/ 1991 h 10000"/>
                <a:gd name="connsiteX1136" fmla="*/ 5618 w 10785"/>
                <a:gd name="connsiteY1136" fmla="*/ 1974 h 10000"/>
                <a:gd name="connsiteX1137" fmla="*/ 5618 w 10785"/>
                <a:gd name="connsiteY1137" fmla="*/ 1940 h 10000"/>
                <a:gd name="connsiteX1138" fmla="*/ 5594 w 10785"/>
                <a:gd name="connsiteY1138" fmla="*/ 1855 h 10000"/>
                <a:gd name="connsiteX1139" fmla="*/ 5599 w 10785"/>
                <a:gd name="connsiteY1139" fmla="*/ 1915 h 10000"/>
                <a:gd name="connsiteX1140" fmla="*/ 5599 w 10785"/>
                <a:gd name="connsiteY1140" fmla="*/ 1949 h 10000"/>
                <a:gd name="connsiteX1141" fmla="*/ 5594 w 10785"/>
                <a:gd name="connsiteY1141" fmla="*/ 1991 h 10000"/>
                <a:gd name="connsiteX1142" fmla="*/ 5571 w 10785"/>
                <a:gd name="connsiteY1142" fmla="*/ 2000 h 10000"/>
                <a:gd name="connsiteX1143" fmla="*/ 5530 w 10785"/>
                <a:gd name="connsiteY1143" fmla="*/ 1991 h 10000"/>
                <a:gd name="connsiteX1144" fmla="*/ 5525 w 10785"/>
                <a:gd name="connsiteY1144" fmla="*/ 2000 h 10000"/>
                <a:gd name="connsiteX1145" fmla="*/ 5521 w 10785"/>
                <a:gd name="connsiteY1145" fmla="*/ 1991 h 10000"/>
                <a:gd name="connsiteX1146" fmla="*/ 5498 w 10785"/>
                <a:gd name="connsiteY1146" fmla="*/ 1949 h 10000"/>
                <a:gd name="connsiteX1147" fmla="*/ 5493 w 10785"/>
                <a:gd name="connsiteY1147" fmla="*/ 1889 h 10000"/>
                <a:gd name="connsiteX1148" fmla="*/ 5493 w 10785"/>
                <a:gd name="connsiteY1148" fmla="*/ 1863 h 10000"/>
                <a:gd name="connsiteX1149" fmla="*/ 5498 w 10785"/>
                <a:gd name="connsiteY1149" fmla="*/ 1889 h 10000"/>
                <a:gd name="connsiteX1150" fmla="*/ 5512 w 10785"/>
                <a:gd name="connsiteY1150" fmla="*/ 1855 h 10000"/>
                <a:gd name="connsiteX1151" fmla="*/ 5512 w 10785"/>
                <a:gd name="connsiteY1151" fmla="*/ 1838 h 10000"/>
                <a:gd name="connsiteX1152" fmla="*/ 5479 w 10785"/>
                <a:gd name="connsiteY1152" fmla="*/ 1855 h 10000"/>
                <a:gd name="connsiteX1153" fmla="*/ 5470 w 10785"/>
                <a:gd name="connsiteY1153" fmla="*/ 1872 h 10000"/>
                <a:gd name="connsiteX1154" fmla="*/ 5470 w 10785"/>
                <a:gd name="connsiteY1154" fmla="*/ 1889 h 10000"/>
                <a:gd name="connsiteX1155" fmla="*/ 5465 w 10785"/>
                <a:gd name="connsiteY1155" fmla="*/ 1897 h 10000"/>
                <a:gd name="connsiteX1156" fmla="*/ 5456 w 10785"/>
                <a:gd name="connsiteY1156" fmla="*/ 1872 h 10000"/>
                <a:gd name="connsiteX1157" fmla="*/ 5447 w 10785"/>
                <a:gd name="connsiteY1157" fmla="*/ 1872 h 10000"/>
                <a:gd name="connsiteX1158" fmla="*/ 5433 w 10785"/>
                <a:gd name="connsiteY1158" fmla="*/ 1855 h 10000"/>
                <a:gd name="connsiteX1159" fmla="*/ 5396 w 10785"/>
                <a:gd name="connsiteY1159" fmla="*/ 1863 h 10000"/>
                <a:gd name="connsiteX1160" fmla="*/ 5396 w 10785"/>
                <a:gd name="connsiteY1160" fmla="*/ 1897 h 10000"/>
                <a:gd name="connsiteX1161" fmla="*/ 5378 w 10785"/>
                <a:gd name="connsiteY1161" fmla="*/ 1949 h 10000"/>
                <a:gd name="connsiteX1162" fmla="*/ 5378 w 10785"/>
                <a:gd name="connsiteY1162" fmla="*/ 1966 h 10000"/>
                <a:gd name="connsiteX1163" fmla="*/ 5392 w 10785"/>
                <a:gd name="connsiteY1163" fmla="*/ 2026 h 10000"/>
                <a:gd name="connsiteX1164" fmla="*/ 5396 w 10785"/>
                <a:gd name="connsiteY1164" fmla="*/ 2026 h 10000"/>
                <a:gd name="connsiteX1165" fmla="*/ 5392 w 10785"/>
                <a:gd name="connsiteY1165" fmla="*/ 2009 h 10000"/>
                <a:gd name="connsiteX1166" fmla="*/ 5392 w 10785"/>
                <a:gd name="connsiteY1166" fmla="*/ 2000 h 10000"/>
                <a:gd name="connsiteX1167" fmla="*/ 5396 w 10785"/>
                <a:gd name="connsiteY1167" fmla="*/ 2009 h 10000"/>
                <a:gd name="connsiteX1168" fmla="*/ 5424 w 10785"/>
                <a:gd name="connsiteY1168" fmla="*/ 2009 h 10000"/>
                <a:gd name="connsiteX1169" fmla="*/ 5433 w 10785"/>
                <a:gd name="connsiteY1169" fmla="*/ 1991 h 10000"/>
                <a:gd name="connsiteX1170" fmla="*/ 5447 w 10785"/>
                <a:gd name="connsiteY1170" fmla="*/ 1974 h 10000"/>
                <a:gd name="connsiteX1171" fmla="*/ 5452 w 10785"/>
                <a:gd name="connsiteY1171" fmla="*/ 1966 h 10000"/>
                <a:gd name="connsiteX1172" fmla="*/ 5456 w 10785"/>
                <a:gd name="connsiteY1172" fmla="*/ 1966 h 10000"/>
                <a:gd name="connsiteX1173" fmla="*/ 5465 w 10785"/>
                <a:gd name="connsiteY1173" fmla="*/ 2009 h 10000"/>
                <a:gd name="connsiteX1174" fmla="*/ 5433 w 10785"/>
                <a:gd name="connsiteY1174" fmla="*/ 2034 h 10000"/>
                <a:gd name="connsiteX1175" fmla="*/ 5424 w 10785"/>
                <a:gd name="connsiteY1175" fmla="*/ 2060 h 10000"/>
                <a:gd name="connsiteX1176" fmla="*/ 5419 w 10785"/>
                <a:gd name="connsiteY1176" fmla="*/ 2060 h 10000"/>
                <a:gd name="connsiteX1177" fmla="*/ 5392 w 10785"/>
                <a:gd name="connsiteY1177" fmla="*/ 2111 h 10000"/>
                <a:gd name="connsiteX1178" fmla="*/ 5378 w 10785"/>
                <a:gd name="connsiteY1178" fmla="*/ 2111 h 10000"/>
                <a:gd name="connsiteX1179" fmla="*/ 5350 w 10785"/>
                <a:gd name="connsiteY1179" fmla="*/ 2060 h 10000"/>
                <a:gd name="connsiteX1180" fmla="*/ 5373 w 10785"/>
                <a:gd name="connsiteY1180" fmla="*/ 2111 h 10000"/>
                <a:gd name="connsiteX1181" fmla="*/ 5364 w 10785"/>
                <a:gd name="connsiteY1181" fmla="*/ 2111 h 10000"/>
                <a:gd name="connsiteX1182" fmla="*/ 5359 w 10785"/>
                <a:gd name="connsiteY1182" fmla="*/ 2103 h 10000"/>
                <a:gd name="connsiteX1183" fmla="*/ 5359 w 10785"/>
                <a:gd name="connsiteY1183" fmla="*/ 2120 h 10000"/>
                <a:gd name="connsiteX1184" fmla="*/ 5359 w 10785"/>
                <a:gd name="connsiteY1184" fmla="*/ 2137 h 10000"/>
                <a:gd name="connsiteX1185" fmla="*/ 5313 w 10785"/>
                <a:gd name="connsiteY1185" fmla="*/ 2162 h 10000"/>
                <a:gd name="connsiteX1186" fmla="*/ 5300 w 10785"/>
                <a:gd name="connsiteY1186" fmla="*/ 2162 h 10000"/>
                <a:gd name="connsiteX1187" fmla="*/ 5300 w 10785"/>
                <a:gd name="connsiteY1187" fmla="*/ 2171 h 10000"/>
                <a:gd name="connsiteX1188" fmla="*/ 5300 w 10785"/>
                <a:gd name="connsiteY1188" fmla="*/ 2197 h 10000"/>
                <a:gd name="connsiteX1189" fmla="*/ 5276 w 10785"/>
                <a:gd name="connsiteY1189" fmla="*/ 2188 h 10000"/>
                <a:gd name="connsiteX1190" fmla="*/ 5249 w 10785"/>
                <a:gd name="connsiteY1190" fmla="*/ 2222 h 10000"/>
                <a:gd name="connsiteX1191" fmla="*/ 5249 w 10785"/>
                <a:gd name="connsiteY1191" fmla="*/ 2222 h 10000"/>
                <a:gd name="connsiteX1192" fmla="*/ 5217 w 10785"/>
                <a:gd name="connsiteY1192" fmla="*/ 2214 h 10000"/>
                <a:gd name="connsiteX1193" fmla="*/ 5203 w 10785"/>
                <a:gd name="connsiteY1193" fmla="*/ 2239 h 10000"/>
                <a:gd name="connsiteX1194" fmla="*/ 5171 w 10785"/>
                <a:gd name="connsiteY1194" fmla="*/ 2214 h 10000"/>
                <a:gd name="connsiteX1195" fmla="*/ 5157 w 10785"/>
                <a:gd name="connsiteY1195" fmla="*/ 2239 h 10000"/>
                <a:gd name="connsiteX1196" fmla="*/ 5166 w 10785"/>
                <a:gd name="connsiteY1196" fmla="*/ 2256 h 10000"/>
                <a:gd name="connsiteX1197" fmla="*/ 5171 w 10785"/>
                <a:gd name="connsiteY1197" fmla="*/ 2308 h 10000"/>
                <a:gd name="connsiteX1198" fmla="*/ 5212 w 10785"/>
                <a:gd name="connsiteY1198" fmla="*/ 2350 h 10000"/>
                <a:gd name="connsiteX1199" fmla="*/ 5203 w 10785"/>
                <a:gd name="connsiteY1199" fmla="*/ 2350 h 10000"/>
                <a:gd name="connsiteX1200" fmla="*/ 5166 w 10785"/>
                <a:gd name="connsiteY1200" fmla="*/ 2325 h 10000"/>
                <a:gd name="connsiteX1201" fmla="*/ 5152 w 10785"/>
                <a:gd name="connsiteY1201" fmla="*/ 2308 h 10000"/>
                <a:gd name="connsiteX1202" fmla="*/ 5143 w 10785"/>
                <a:gd name="connsiteY1202" fmla="*/ 2333 h 10000"/>
                <a:gd name="connsiteX1203" fmla="*/ 5138 w 10785"/>
                <a:gd name="connsiteY1203" fmla="*/ 2333 h 10000"/>
                <a:gd name="connsiteX1204" fmla="*/ 5124 w 10785"/>
                <a:gd name="connsiteY1204" fmla="*/ 2376 h 10000"/>
                <a:gd name="connsiteX1205" fmla="*/ 5115 w 10785"/>
                <a:gd name="connsiteY1205" fmla="*/ 2385 h 10000"/>
                <a:gd name="connsiteX1206" fmla="*/ 5106 w 10785"/>
                <a:gd name="connsiteY1206" fmla="*/ 2385 h 10000"/>
                <a:gd name="connsiteX1207" fmla="*/ 5055 w 10785"/>
                <a:gd name="connsiteY1207" fmla="*/ 2470 h 10000"/>
                <a:gd name="connsiteX1208" fmla="*/ 5065 w 10785"/>
                <a:gd name="connsiteY1208" fmla="*/ 2462 h 10000"/>
                <a:gd name="connsiteX1209" fmla="*/ 5055 w 10785"/>
                <a:gd name="connsiteY1209" fmla="*/ 2444 h 10000"/>
                <a:gd name="connsiteX1210" fmla="*/ 5041 w 10785"/>
                <a:gd name="connsiteY1210" fmla="*/ 2462 h 10000"/>
                <a:gd name="connsiteX1211" fmla="*/ 5037 w 10785"/>
                <a:gd name="connsiteY1211" fmla="*/ 2470 h 10000"/>
                <a:gd name="connsiteX1212" fmla="*/ 5032 w 10785"/>
                <a:gd name="connsiteY1212" fmla="*/ 2470 h 10000"/>
                <a:gd name="connsiteX1213" fmla="*/ 5032 w 10785"/>
                <a:gd name="connsiteY1213" fmla="*/ 2444 h 10000"/>
                <a:gd name="connsiteX1214" fmla="*/ 5055 w 10785"/>
                <a:gd name="connsiteY1214" fmla="*/ 2410 h 10000"/>
                <a:gd name="connsiteX1215" fmla="*/ 5065 w 10785"/>
                <a:gd name="connsiteY1215" fmla="*/ 2393 h 10000"/>
                <a:gd name="connsiteX1216" fmla="*/ 5069 w 10785"/>
                <a:gd name="connsiteY1216" fmla="*/ 2385 h 10000"/>
                <a:gd name="connsiteX1217" fmla="*/ 5083 w 10785"/>
                <a:gd name="connsiteY1217" fmla="*/ 2376 h 10000"/>
                <a:gd name="connsiteX1218" fmla="*/ 5097 w 10785"/>
                <a:gd name="connsiteY1218" fmla="*/ 2376 h 10000"/>
                <a:gd name="connsiteX1219" fmla="*/ 5124 w 10785"/>
                <a:gd name="connsiteY1219" fmla="*/ 2325 h 10000"/>
                <a:gd name="connsiteX1220" fmla="*/ 5143 w 10785"/>
                <a:gd name="connsiteY1220" fmla="*/ 2248 h 10000"/>
                <a:gd name="connsiteX1221" fmla="*/ 5152 w 10785"/>
                <a:gd name="connsiteY1221" fmla="*/ 2239 h 10000"/>
                <a:gd name="connsiteX1222" fmla="*/ 5166 w 10785"/>
                <a:gd name="connsiteY1222" fmla="*/ 2162 h 10000"/>
                <a:gd name="connsiteX1223" fmla="*/ 5171 w 10785"/>
                <a:gd name="connsiteY1223" fmla="*/ 2171 h 10000"/>
                <a:gd name="connsiteX1224" fmla="*/ 5198 w 10785"/>
                <a:gd name="connsiteY1224" fmla="*/ 2145 h 10000"/>
                <a:gd name="connsiteX1225" fmla="*/ 5203 w 10785"/>
                <a:gd name="connsiteY1225" fmla="*/ 2111 h 10000"/>
                <a:gd name="connsiteX1226" fmla="*/ 5217 w 10785"/>
                <a:gd name="connsiteY1226" fmla="*/ 2060 h 10000"/>
                <a:gd name="connsiteX1227" fmla="*/ 5226 w 10785"/>
                <a:gd name="connsiteY1227" fmla="*/ 2026 h 10000"/>
                <a:gd name="connsiteX1228" fmla="*/ 5286 w 10785"/>
                <a:gd name="connsiteY1228" fmla="*/ 2026 h 10000"/>
                <a:gd name="connsiteX1229" fmla="*/ 5290 w 10785"/>
                <a:gd name="connsiteY1229" fmla="*/ 2034 h 10000"/>
                <a:gd name="connsiteX1230" fmla="*/ 5323 w 10785"/>
                <a:gd name="connsiteY1230" fmla="*/ 1923 h 10000"/>
                <a:gd name="connsiteX1231" fmla="*/ 5323 w 10785"/>
                <a:gd name="connsiteY1231" fmla="*/ 1889 h 10000"/>
                <a:gd name="connsiteX1232" fmla="*/ 5359 w 10785"/>
                <a:gd name="connsiteY1232" fmla="*/ 1829 h 10000"/>
                <a:gd name="connsiteX1233" fmla="*/ 5378 w 10785"/>
                <a:gd name="connsiteY1233" fmla="*/ 1812 h 10000"/>
                <a:gd name="connsiteX1234" fmla="*/ 5406 w 10785"/>
                <a:gd name="connsiteY1234" fmla="*/ 1752 h 10000"/>
                <a:gd name="connsiteX1235" fmla="*/ 5410 w 10785"/>
                <a:gd name="connsiteY1235" fmla="*/ 1718 h 10000"/>
                <a:gd name="connsiteX1236" fmla="*/ 5438 w 10785"/>
                <a:gd name="connsiteY1236" fmla="*/ 1667 h 10000"/>
                <a:gd name="connsiteX1237" fmla="*/ 5438 w 10785"/>
                <a:gd name="connsiteY1237" fmla="*/ 1650 h 10000"/>
                <a:gd name="connsiteX1238" fmla="*/ 5438 w 10785"/>
                <a:gd name="connsiteY1238" fmla="*/ 1641 h 10000"/>
                <a:gd name="connsiteX1239" fmla="*/ 5452 w 10785"/>
                <a:gd name="connsiteY1239" fmla="*/ 1641 h 10000"/>
                <a:gd name="connsiteX1240" fmla="*/ 5456 w 10785"/>
                <a:gd name="connsiteY1240" fmla="*/ 1615 h 10000"/>
                <a:gd name="connsiteX1241" fmla="*/ 5456 w 10785"/>
                <a:gd name="connsiteY1241" fmla="*/ 1615 h 10000"/>
                <a:gd name="connsiteX1242" fmla="*/ 5465 w 10785"/>
                <a:gd name="connsiteY1242" fmla="*/ 1598 h 10000"/>
                <a:gd name="connsiteX1243" fmla="*/ 5465 w 10785"/>
                <a:gd name="connsiteY1243" fmla="*/ 1615 h 10000"/>
                <a:gd name="connsiteX1244" fmla="*/ 5479 w 10785"/>
                <a:gd name="connsiteY1244" fmla="*/ 1598 h 10000"/>
                <a:gd name="connsiteX1245" fmla="*/ 5484 w 10785"/>
                <a:gd name="connsiteY1245" fmla="*/ 1581 h 10000"/>
                <a:gd name="connsiteX1246" fmla="*/ 5493 w 10785"/>
                <a:gd name="connsiteY1246" fmla="*/ 1581 h 10000"/>
                <a:gd name="connsiteX1247" fmla="*/ 5512 w 10785"/>
                <a:gd name="connsiteY1247" fmla="*/ 1538 h 10000"/>
                <a:gd name="connsiteX1248" fmla="*/ 5530 w 10785"/>
                <a:gd name="connsiteY1248" fmla="*/ 1564 h 10000"/>
                <a:gd name="connsiteX1249" fmla="*/ 5530 w 10785"/>
                <a:gd name="connsiteY1249" fmla="*/ 1538 h 10000"/>
                <a:gd name="connsiteX1250" fmla="*/ 5539 w 10785"/>
                <a:gd name="connsiteY1250" fmla="*/ 1530 h 10000"/>
                <a:gd name="connsiteX1251" fmla="*/ 5530 w 10785"/>
                <a:gd name="connsiteY1251" fmla="*/ 1504 h 10000"/>
                <a:gd name="connsiteX1252" fmla="*/ 5567 w 10785"/>
                <a:gd name="connsiteY1252" fmla="*/ 1479 h 10000"/>
                <a:gd name="connsiteX1253" fmla="*/ 5553 w 10785"/>
                <a:gd name="connsiteY1253" fmla="*/ 1479 h 10000"/>
                <a:gd name="connsiteX1254" fmla="*/ 5553 w 10785"/>
                <a:gd name="connsiteY1254" fmla="*/ 1453 h 10000"/>
                <a:gd name="connsiteX1255" fmla="*/ 5581 w 10785"/>
                <a:gd name="connsiteY1255" fmla="*/ 1444 h 10000"/>
                <a:gd name="connsiteX1256" fmla="*/ 5581 w 10785"/>
                <a:gd name="connsiteY1256" fmla="*/ 1453 h 10000"/>
                <a:gd name="connsiteX1257" fmla="*/ 5585 w 10785"/>
                <a:gd name="connsiteY1257" fmla="*/ 1444 h 10000"/>
                <a:gd name="connsiteX1258" fmla="*/ 5594 w 10785"/>
                <a:gd name="connsiteY1258" fmla="*/ 1427 h 10000"/>
                <a:gd name="connsiteX1259" fmla="*/ 5599 w 10785"/>
                <a:gd name="connsiteY1259" fmla="*/ 1419 h 10000"/>
                <a:gd name="connsiteX1260" fmla="*/ 5594 w 10785"/>
                <a:gd name="connsiteY1260" fmla="*/ 1402 h 10000"/>
                <a:gd name="connsiteX1261" fmla="*/ 5604 w 10785"/>
                <a:gd name="connsiteY1261" fmla="*/ 1393 h 10000"/>
                <a:gd name="connsiteX1262" fmla="*/ 5618 w 10785"/>
                <a:gd name="connsiteY1262" fmla="*/ 1393 h 10000"/>
                <a:gd name="connsiteX1263" fmla="*/ 5627 w 10785"/>
                <a:gd name="connsiteY1263" fmla="*/ 1368 h 10000"/>
                <a:gd name="connsiteX1264" fmla="*/ 5627 w 10785"/>
                <a:gd name="connsiteY1264" fmla="*/ 1325 h 10000"/>
                <a:gd name="connsiteX1265" fmla="*/ 5645 w 10785"/>
                <a:gd name="connsiteY1265" fmla="*/ 1291 h 10000"/>
                <a:gd name="connsiteX1266" fmla="*/ 5645 w 10785"/>
                <a:gd name="connsiteY1266" fmla="*/ 1282 h 10000"/>
                <a:gd name="connsiteX1267" fmla="*/ 5654 w 10785"/>
                <a:gd name="connsiteY1267" fmla="*/ 1265 h 10000"/>
                <a:gd name="connsiteX1268" fmla="*/ 5654 w 10785"/>
                <a:gd name="connsiteY1268" fmla="*/ 1214 h 10000"/>
                <a:gd name="connsiteX1269" fmla="*/ 5654 w 10785"/>
                <a:gd name="connsiteY1269" fmla="*/ 1214 h 10000"/>
                <a:gd name="connsiteX1270" fmla="*/ 5645 w 10785"/>
                <a:gd name="connsiteY1270" fmla="*/ 1197 h 10000"/>
                <a:gd name="connsiteX1271" fmla="*/ 5659 w 10785"/>
                <a:gd name="connsiteY1271" fmla="*/ 1197 h 10000"/>
                <a:gd name="connsiteX1272" fmla="*/ 5654 w 10785"/>
                <a:gd name="connsiteY1272" fmla="*/ 1154 h 10000"/>
                <a:gd name="connsiteX1273" fmla="*/ 5641 w 10785"/>
                <a:gd name="connsiteY1273" fmla="*/ 1154 h 10000"/>
                <a:gd name="connsiteX1274" fmla="*/ 5627 w 10785"/>
                <a:gd name="connsiteY1274" fmla="*/ 1128 h 10000"/>
                <a:gd name="connsiteX1275" fmla="*/ 5618 w 10785"/>
                <a:gd name="connsiteY1275" fmla="*/ 1094 h 10000"/>
                <a:gd name="connsiteX1276" fmla="*/ 5613 w 10785"/>
                <a:gd name="connsiteY1276" fmla="*/ 1094 h 10000"/>
                <a:gd name="connsiteX1277" fmla="*/ 5604 w 10785"/>
                <a:gd name="connsiteY1277" fmla="*/ 1120 h 10000"/>
                <a:gd name="connsiteX1278" fmla="*/ 5604 w 10785"/>
                <a:gd name="connsiteY1278" fmla="*/ 1128 h 10000"/>
                <a:gd name="connsiteX1279" fmla="*/ 5599 w 10785"/>
                <a:gd name="connsiteY1279" fmla="*/ 1103 h 10000"/>
                <a:gd name="connsiteX1280" fmla="*/ 5599 w 10785"/>
                <a:gd name="connsiteY1280" fmla="*/ 1103 h 10000"/>
                <a:gd name="connsiteX1281" fmla="*/ 5594 w 10785"/>
                <a:gd name="connsiteY1281" fmla="*/ 1068 h 10000"/>
                <a:gd name="connsiteX1282" fmla="*/ 5594 w 10785"/>
                <a:gd name="connsiteY1282" fmla="*/ 1060 h 10000"/>
                <a:gd name="connsiteX1283" fmla="*/ 5581 w 10785"/>
                <a:gd name="connsiteY1283" fmla="*/ 1034 h 10000"/>
                <a:gd name="connsiteX1284" fmla="*/ 5571 w 10785"/>
                <a:gd name="connsiteY1284" fmla="*/ 1009 h 10000"/>
                <a:gd name="connsiteX1285" fmla="*/ 5571 w 10785"/>
                <a:gd name="connsiteY1285" fmla="*/ 991 h 10000"/>
                <a:gd name="connsiteX1286" fmla="*/ 5585 w 10785"/>
                <a:gd name="connsiteY1286" fmla="*/ 1009 h 10000"/>
                <a:gd name="connsiteX1287" fmla="*/ 5604 w 10785"/>
                <a:gd name="connsiteY1287" fmla="*/ 1043 h 10000"/>
                <a:gd name="connsiteX1288" fmla="*/ 5641 w 10785"/>
                <a:gd name="connsiteY1288" fmla="*/ 1094 h 10000"/>
                <a:gd name="connsiteX1289" fmla="*/ 5631 w 10785"/>
                <a:gd name="connsiteY1289" fmla="*/ 1128 h 10000"/>
                <a:gd name="connsiteX1290" fmla="*/ 5641 w 10785"/>
                <a:gd name="connsiteY1290" fmla="*/ 1128 h 10000"/>
                <a:gd name="connsiteX1291" fmla="*/ 5659 w 10785"/>
                <a:gd name="connsiteY1291" fmla="*/ 1017 h 10000"/>
                <a:gd name="connsiteX1292" fmla="*/ 5659 w 10785"/>
                <a:gd name="connsiteY1292" fmla="*/ 983 h 10000"/>
                <a:gd name="connsiteX1293" fmla="*/ 5659 w 10785"/>
                <a:gd name="connsiteY1293" fmla="*/ 957 h 10000"/>
                <a:gd name="connsiteX1294" fmla="*/ 5654 w 10785"/>
                <a:gd name="connsiteY1294" fmla="*/ 966 h 10000"/>
                <a:gd name="connsiteX1295" fmla="*/ 5641 w 10785"/>
                <a:gd name="connsiteY1295" fmla="*/ 957 h 10000"/>
                <a:gd name="connsiteX1296" fmla="*/ 5631 w 10785"/>
                <a:gd name="connsiteY1296" fmla="*/ 897 h 10000"/>
                <a:gd name="connsiteX1297" fmla="*/ 5641 w 10785"/>
                <a:gd name="connsiteY1297" fmla="*/ 872 h 10000"/>
                <a:gd name="connsiteX1298" fmla="*/ 5618 w 10785"/>
                <a:gd name="connsiteY1298" fmla="*/ 803 h 10000"/>
                <a:gd name="connsiteX1299" fmla="*/ 5604 w 10785"/>
                <a:gd name="connsiteY1299" fmla="*/ 821 h 10000"/>
                <a:gd name="connsiteX1300" fmla="*/ 5613 w 10785"/>
                <a:gd name="connsiteY1300" fmla="*/ 846 h 10000"/>
                <a:gd name="connsiteX1301" fmla="*/ 5604 w 10785"/>
                <a:gd name="connsiteY1301" fmla="*/ 855 h 10000"/>
                <a:gd name="connsiteX1302" fmla="*/ 5599 w 10785"/>
                <a:gd name="connsiteY1302" fmla="*/ 880 h 10000"/>
                <a:gd name="connsiteX1303" fmla="*/ 5594 w 10785"/>
                <a:gd name="connsiteY1303" fmla="*/ 880 h 10000"/>
                <a:gd name="connsiteX1304" fmla="*/ 5585 w 10785"/>
                <a:gd name="connsiteY1304" fmla="*/ 829 h 10000"/>
                <a:gd name="connsiteX1305" fmla="*/ 5571 w 10785"/>
                <a:gd name="connsiteY1305" fmla="*/ 803 h 10000"/>
                <a:gd name="connsiteX1306" fmla="*/ 5585 w 10785"/>
                <a:gd name="connsiteY1306" fmla="*/ 795 h 10000"/>
                <a:gd name="connsiteX1307" fmla="*/ 5585 w 10785"/>
                <a:gd name="connsiteY1307" fmla="*/ 761 h 10000"/>
                <a:gd name="connsiteX1308" fmla="*/ 5558 w 10785"/>
                <a:gd name="connsiteY1308" fmla="*/ 709 h 10000"/>
                <a:gd name="connsiteX1309" fmla="*/ 5544 w 10785"/>
                <a:gd name="connsiteY1309" fmla="*/ 709 h 10000"/>
                <a:gd name="connsiteX1310" fmla="*/ 5544 w 10785"/>
                <a:gd name="connsiteY1310" fmla="*/ 684 h 10000"/>
                <a:gd name="connsiteX1311" fmla="*/ 5525 w 10785"/>
                <a:gd name="connsiteY1311" fmla="*/ 632 h 10000"/>
                <a:gd name="connsiteX1312" fmla="*/ 5507 w 10785"/>
                <a:gd name="connsiteY1312" fmla="*/ 607 h 10000"/>
                <a:gd name="connsiteX1313" fmla="*/ 5512 w 10785"/>
                <a:gd name="connsiteY1313" fmla="*/ 598 h 10000"/>
                <a:gd name="connsiteX1314" fmla="*/ 5507 w 10785"/>
                <a:gd name="connsiteY1314" fmla="*/ 581 h 10000"/>
                <a:gd name="connsiteX1315" fmla="*/ 5493 w 10785"/>
                <a:gd name="connsiteY1315" fmla="*/ 573 h 10000"/>
                <a:gd name="connsiteX1316" fmla="*/ 5484 w 10785"/>
                <a:gd name="connsiteY1316" fmla="*/ 581 h 10000"/>
                <a:gd name="connsiteX1317" fmla="*/ 5484 w 10785"/>
                <a:gd name="connsiteY1317" fmla="*/ 573 h 10000"/>
                <a:gd name="connsiteX1318" fmla="*/ 5484 w 10785"/>
                <a:gd name="connsiteY1318" fmla="*/ 547 h 10000"/>
                <a:gd name="connsiteX1319" fmla="*/ 5465 w 10785"/>
                <a:gd name="connsiteY1319" fmla="*/ 556 h 10000"/>
                <a:gd name="connsiteX1320" fmla="*/ 5433 w 10785"/>
                <a:gd name="connsiteY1320" fmla="*/ 547 h 10000"/>
                <a:gd name="connsiteX1321" fmla="*/ 5410 w 10785"/>
                <a:gd name="connsiteY1321" fmla="*/ 573 h 10000"/>
                <a:gd name="connsiteX1322" fmla="*/ 5406 w 10785"/>
                <a:gd name="connsiteY1322" fmla="*/ 573 h 10000"/>
                <a:gd name="connsiteX1323" fmla="*/ 5392 w 10785"/>
                <a:gd name="connsiteY1323" fmla="*/ 573 h 10000"/>
                <a:gd name="connsiteX1324" fmla="*/ 5364 w 10785"/>
                <a:gd name="connsiteY1324" fmla="*/ 530 h 10000"/>
                <a:gd name="connsiteX1325" fmla="*/ 5350 w 10785"/>
                <a:gd name="connsiteY1325" fmla="*/ 556 h 10000"/>
                <a:gd name="connsiteX1326" fmla="*/ 5346 w 10785"/>
                <a:gd name="connsiteY1326" fmla="*/ 556 h 10000"/>
                <a:gd name="connsiteX1327" fmla="*/ 5313 w 10785"/>
                <a:gd name="connsiteY1327" fmla="*/ 573 h 10000"/>
                <a:gd name="connsiteX1328" fmla="*/ 5304 w 10785"/>
                <a:gd name="connsiteY1328" fmla="*/ 556 h 10000"/>
                <a:gd name="connsiteX1329" fmla="*/ 5290 w 10785"/>
                <a:gd name="connsiteY1329" fmla="*/ 573 h 10000"/>
                <a:gd name="connsiteX1330" fmla="*/ 5290 w 10785"/>
                <a:gd name="connsiteY1330" fmla="*/ 556 h 10000"/>
                <a:gd name="connsiteX1331" fmla="*/ 5300 w 10785"/>
                <a:gd name="connsiteY1331" fmla="*/ 547 h 10000"/>
                <a:gd name="connsiteX1332" fmla="*/ 5300 w 10785"/>
                <a:gd name="connsiteY1332" fmla="*/ 530 h 10000"/>
                <a:gd name="connsiteX1333" fmla="*/ 5290 w 10785"/>
                <a:gd name="connsiteY1333" fmla="*/ 530 h 10000"/>
                <a:gd name="connsiteX1334" fmla="*/ 5286 w 10785"/>
                <a:gd name="connsiteY1334" fmla="*/ 547 h 10000"/>
                <a:gd name="connsiteX1335" fmla="*/ 5272 w 10785"/>
                <a:gd name="connsiteY1335" fmla="*/ 556 h 10000"/>
                <a:gd name="connsiteX1336" fmla="*/ 5272 w 10785"/>
                <a:gd name="connsiteY1336" fmla="*/ 598 h 10000"/>
                <a:gd name="connsiteX1337" fmla="*/ 5276 w 10785"/>
                <a:gd name="connsiteY1337" fmla="*/ 581 h 10000"/>
                <a:gd name="connsiteX1338" fmla="*/ 5272 w 10785"/>
                <a:gd name="connsiteY1338" fmla="*/ 607 h 10000"/>
                <a:gd name="connsiteX1339" fmla="*/ 5263 w 10785"/>
                <a:gd name="connsiteY1339" fmla="*/ 607 h 10000"/>
                <a:gd name="connsiteX1340" fmla="*/ 5263 w 10785"/>
                <a:gd name="connsiteY1340" fmla="*/ 632 h 10000"/>
                <a:gd name="connsiteX1341" fmla="*/ 5258 w 10785"/>
                <a:gd name="connsiteY1341" fmla="*/ 658 h 10000"/>
                <a:gd name="connsiteX1342" fmla="*/ 5244 w 10785"/>
                <a:gd name="connsiteY1342" fmla="*/ 667 h 10000"/>
                <a:gd name="connsiteX1343" fmla="*/ 5240 w 10785"/>
                <a:gd name="connsiteY1343" fmla="*/ 658 h 10000"/>
                <a:gd name="connsiteX1344" fmla="*/ 5240 w 10785"/>
                <a:gd name="connsiteY1344" fmla="*/ 684 h 10000"/>
                <a:gd name="connsiteX1345" fmla="*/ 5212 w 10785"/>
                <a:gd name="connsiteY1345" fmla="*/ 684 h 10000"/>
                <a:gd name="connsiteX1346" fmla="*/ 5198 w 10785"/>
                <a:gd name="connsiteY1346" fmla="*/ 692 h 10000"/>
                <a:gd name="connsiteX1347" fmla="*/ 5184 w 10785"/>
                <a:gd name="connsiteY1347" fmla="*/ 684 h 10000"/>
                <a:gd name="connsiteX1348" fmla="*/ 5157 w 10785"/>
                <a:gd name="connsiteY1348" fmla="*/ 684 h 10000"/>
                <a:gd name="connsiteX1349" fmla="*/ 5157 w 10785"/>
                <a:gd name="connsiteY1349" fmla="*/ 667 h 10000"/>
                <a:gd name="connsiteX1350" fmla="*/ 5157 w 10785"/>
                <a:gd name="connsiteY1350" fmla="*/ 667 h 10000"/>
                <a:gd name="connsiteX1351" fmla="*/ 5180 w 10785"/>
                <a:gd name="connsiteY1351" fmla="*/ 650 h 10000"/>
                <a:gd name="connsiteX1352" fmla="*/ 5184 w 10785"/>
                <a:gd name="connsiteY1352" fmla="*/ 658 h 10000"/>
                <a:gd name="connsiteX1353" fmla="*/ 5203 w 10785"/>
                <a:gd name="connsiteY1353" fmla="*/ 547 h 10000"/>
                <a:gd name="connsiteX1354" fmla="*/ 5226 w 10785"/>
                <a:gd name="connsiteY1354" fmla="*/ 530 h 10000"/>
                <a:gd name="connsiteX1355" fmla="*/ 5230 w 10785"/>
                <a:gd name="connsiteY1355" fmla="*/ 487 h 10000"/>
                <a:gd name="connsiteX1356" fmla="*/ 5230 w 10785"/>
                <a:gd name="connsiteY1356" fmla="*/ 487 h 10000"/>
                <a:gd name="connsiteX1357" fmla="*/ 5226 w 10785"/>
                <a:gd name="connsiteY1357" fmla="*/ 462 h 10000"/>
                <a:gd name="connsiteX1358" fmla="*/ 5226 w 10785"/>
                <a:gd name="connsiteY1358" fmla="*/ 462 h 10000"/>
                <a:gd name="connsiteX1359" fmla="*/ 5240 w 10785"/>
                <a:gd name="connsiteY1359" fmla="*/ 462 h 10000"/>
                <a:gd name="connsiteX1360" fmla="*/ 5240 w 10785"/>
                <a:gd name="connsiteY1360" fmla="*/ 444 h 10000"/>
                <a:gd name="connsiteX1361" fmla="*/ 5230 w 10785"/>
                <a:gd name="connsiteY1361" fmla="*/ 436 h 10000"/>
                <a:gd name="connsiteX1362" fmla="*/ 5230 w 10785"/>
                <a:gd name="connsiteY1362" fmla="*/ 419 h 10000"/>
                <a:gd name="connsiteX1363" fmla="*/ 5230 w 10785"/>
                <a:gd name="connsiteY1363" fmla="*/ 410 h 10000"/>
                <a:gd name="connsiteX1364" fmla="*/ 5198 w 10785"/>
                <a:gd name="connsiteY1364" fmla="*/ 402 h 10000"/>
                <a:gd name="connsiteX1365" fmla="*/ 5189 w 10785"/>
                <a:gd name="connsiteY1365" fmla="*/ 402 h 10000"/>
                <a:gd name="connsiteX1366" fmla="*/ 5184 w 10785"/>
                <a:gd name="connsiteY1366" fmla="*/ 376 h 10000"/>
                <a:gd name="connsiteX1367" fmla="*/ 5180 w 10785"/>
                <a:gd name="connsiteY1367" fmla="*/ 376 h 10000"/>
                <a:gd name="connsiteX1368" fmla="*/ 5166 w 10785"/>
                <a:gd name="connsiteY1368" fmla="*/ 376 h 10000"/>
                <a:gd name="connsiteX1369" fmla="*/ 5157 w 10785"/>
                <a:gd name="connsiteY1369" fmla="*/ 385 h 10000"/>
                <a:gd name="connsiteX1370" fmla="*/ 5152 w 10785"/>
                <a:gd name="connsiteY1370" fmla="*/ 376 h 10000"/>
                <a:gd name="connsiteX1371" fmla="*/ 5129 w 10785"/>
                <a:gd name="connsiteY1371" fmla="*/ 385 h 10000"/>
                <a:gd name="connsiteX1372" fmla="*/ 5129 w 10785"/>
                <a:gd name="connsiteY1372" fmla="*/ 350 h 10000"/>
                <a:gd name="connsiteX1373" fmla="*/ 5129 w 10785"/>
                <a:gd name="connsiteY1373" fmla="*/ 325 h 10000"/>
                <a:gd name="connsiteX1374" fmla="*/ 5124 w 10785"/>
                <a:gd name="connsiteY1374" fmla="*/ 359 h 10000"/>
                <a:gd name="connsiteX1375" fmla="*/ 5106 w 10785"/>
                <a:gd name="connsiteY1375" fmla="*/ 359 h 10000"/>
                <a:gd name="connsiteX1376" fmla="*/ 5037 w 10785"/>
                <a:gd name="connsiteY1376" fmla="*/ 419 h 10000"/>
                <a:gd name="connsiteX1377" fmla="*/ 5051 w 10785"/>
                <a:gd name="connsiteY1377" fmla="*/ 385 h 10000"/>
                <a:gd name="connsiteX1378" fmla="*/ 5055 w 10785"/>
                <a:gd name="connsiteY1378" fmla="*/ 376 h 10000"/>
                <a:gd name="connsiteX1379" fmla="*/ 5092 w 10785"/>
                <a:gd name="connsiteY1379" fmla="*/ 282 h 10000"/>
                <a:gd name="connsiteX1380" fmla="*/ 5106 w 10785"/>
                <a:gd name="connsiteY1380" fmla="*/ 265 h 10000"/>
                <a:gd name="connsiteX1381" fmla="*/ 5115 w 10785"/>
                <a:gd name="connsiteY1381" fmla="*/ 265 h 10000"/>
                <a:gd name="connsiteX1382" fmla="*/ 5124 w 10785"/>
                <a:gd name="connsiteY1382" fmla="*/ 222 h 10000"/>
                <a:gd name="connsiteX1383" fmla="*/ 5124 w 10785"/>
                <a:gd name="connsiteY1383" fmla="*/ 214 h 10000"/>
                <a:gd name="connsiteX1384" fmla="*/ 5143 w 10785"/>
                <a:gd name="connsiteY1384" fmla="*/ 197 h 10000"/>
                <a:gd name="connsiteX1385" fmla="*/ 5152 w 10785"/>
                <a:gd name="connsiteY1385" fmla="*/ 214 h 10000"/>
                <a:gd name="connsiteX1386" fmla="*/ 5143 w 10785"/>
                <a:gd name="connsiteY1386" fmla="*/ 188 h 10000"/>
                <a:gd name="connsiteX1387" fmla="*/ 5129 w 10785"/>
                <a:gd name="connsiteY1387" fmla="*/ 103 h 10000"/>
                <a:gd name="connsiteX1388" fmla="*/ 5115 w 10785"/>
                <a:gd name="connsiteY1388" fmla="*/ 85 h 10000"/>
                <a:gd name="connsiteX1389" fmla="*/ 5111 w 10785"/>
                <a:gd name="connsiteY1389" fmla="*/ 111 h 10000"/>
                <a:gd name="connsiteX1390" fmla="*/ 5092 w 10785"/>
                <a:gd name="connsiteY1390" fmla="*/ 103 h 10000"/>
                <a:gd name="connsiteX1391" fmla="*/ 5069 w 10785"/>
                <a:gd name="connsiteY1391" fmla="*/ 77 h 10000"/>
                <a:gd name="connsiteX1392" fmla="*/ 5051 w 10785"/>
                <a:gd name="connsiteY1392" fmla="*/ 26 h 10000"/>
                <a:gd name="connsiteX1393" fmla="*/ 5041 w 10785"/>
                <a:gd name="connsiteY1393" fmla="*/ 34 h 10000"/>
                <a:gd name="connsiteX1394" fmla="*/ 5037 w 10785"/>
                <a:gd name="connsiteY1394" fmla="*/ 34 h 10000"/>
                <a:gd name="connsiteX1395" fmla="*/ 5037 w 10785"/>
                <a:gd name="connsiteY1395" fmla="*/ 26 h 10000"/>
                <a:gd name="connsiteX1396" fmla="*/ 5037 w 10785"/>
                <a:gd name="connsiteY1396" fmla="*/ 9 h 10000"/>
                <a:gd name="connsiteX1397" fmla="*/ 5023 w 10785"/>
                <a:gd name="connsiteY1397" fmla="*/ 0 h 10000"/>
                <a:gd name="connsiteX1398" fmla="*/ 5009 w 10785"/>
                <a:gd name="connsiteY1398" fmla="*/ 9 h 10000"/>
                <a:gd name="connsiteX1399" fmla="*/ 4995 w 10785"/>
                <a:gd name="connsiteY1399" fmla="*/ 34 h 10000"/>
                <a:gd name="connsiteX1400" fmla="*/ 4991 w 10785"/>
                <a:gd name="connsiteY1400" fmla="*/ 60 h 10000"/>
                <a:gd name="connsiteX1401" fmla="*/ 4982 w 10785"/>
                <a:gd name="connsiteY1401" fmla="*/ 60 h 10000"/>
                <a:gd name="connsiteX1402" fmla="*/ 4949 w 10785"/>
                <a:gd name="connsiteY1402" fmla="*/ 51 h 10000"/>
                <a:gd name="connsiteX1403" fmla="*/ 4949 w 10785"/>
                <a:gd name="connsiteY1403" fmla="*/ 85 h 10000"/>
                <a:gd name="connsiteX1404" fmla="*/ 4903 w 10785"/>
                <a:gd name="connsiteY1404" fmla="*/ 197 h 10000"/>
                <a:gd name="connsiteX1405" fmla="*/ 4899 w 10785"/>
                <a:gd name="connsiteY1405" fmla="*/ 239 h 10000"/>
                <a:gd name="connsiteX1406" fmla="*/ 4871 w 10785"/>
                <a:gd name="connsiteY1406" fmla="*/ 274 h 10000"/>
                <a:gd name="connsiteX1407" fmla="*/ 4871 w 10785"/>
                <a:gd name="connsiteY1407" fmla="*/ 282 h 10000"/>
                <a:gd name="connsiteX1408" fmla="*/ 4834 w 10785"/>
                <a:gd name="connsiteY1408" fmla="*/ 376 h 10000"/>
                <a:gd name="connsiteX1409" fmla="*/ 4829 w 10785"/>
                <a:gd name="connsiteY1409" fmla="*/ 402 h 10000"/>
                <a:gd name="connsiteX1410" fmla="*/ 4834 w 10785"/>
                <a:gd name="connsiteY1410" fmla="*/ 410 h 10000"/>
                <a:gd name="connsiteX1411" fmla="*/ 4829 w 10785"/>
                <a:gd name="connsiteY1411" fmla="*/ 436 h 10000"/>
                <a:gd name="connsiteX1412" fmla="*/ 4825 w 10785"/>
                <a:gd name="connsiteY1412" fmla="*/ 436 h 10000"/>
                <a:gd name="connsiteX1413" fmla="*/ 4825 w 10785"/>
                <a:gd name="connsiteY1413" fmla="*/ 444 h 10000"/>
                <a:gd name="connsiteX1414" fmla="*/ 4811 w 10785"/>
                <a:gd name="connsiteY1414" fmla="*/ 496 h 10000"/>
                <a:gd name="connsiteX1415" fmla="*/ 4811 w 10785"/>
                <a:gd name="connsiteY1415" fmla="*/ 496 h 10000"/>
                <a:gd name="connsiteX1416" fmla="*/ 4811 w 10785"/>
                <a:gd name="connsiteY1416" fmla="*/ 521 h 10000"/>
                <a:gd name="connsiteX1417" fmla="*/ 4816 w 10785"/>
                <a:gd name="connsiteY1417" fmla="*/ 530 h 10000"/>
                <a:gd name="connsiteX1418" fmla="*/ 4834 w 10785"/>
                <a:gd name="connsiteY1418" fmla="*/ 547 h 10000"/>
                <a:gd name="connsiteX1419" fmla="*/ 4834 w 10785"/>
                <a:gd name="connsiteY1419" fmla="*/ 581 h 10000"/>
                <a:gd name="connsiteX1420" fmla="*/ 4843 w 10785"/>
                <a:gd name="connsiteY1420" fmla="*/ 581 h 10000"/>
                <a:gd name="connsiteX1421" fmla="*/ 4843 w 10785"/>
                <a:gd name="connsiteY1421" fmla="*/ 598 h 10000"/>
                <a:gd name="connsiteX1422" fmla="*/ 4829 w 10785"/>
                <a:gd name="connsiteY1422" fmla="*/ 598 h 10000"/>
                <a:gd name="connsiteX1423" fmla="*/ 4829 w 10785"/>
                <a:gd name="connsiteY1423" fmla="*/ 573 h 10000"/>
                <a:gd name="connsiteX1424" fmla="*/ 4829 w 10785"/>
                <a:gd name="connsiteY1424" fmla="*/ 632 h 10000"/>
                <a:gd name="connsiteX1425" fmla="*/ 4829 w 10785"/>
                <a:gd name="connsiteY1425" fmla="*/ 632 h 10000"/>
                <a:gd name="connsiteX1426" fmla="*/ 4829 w 10785"/>
                <a:gd name="connsiteY1426" fmla="*/ 650 h 10000"/>
                <a:gd name="connsiteX1427" fmla="*/ 4774 w 10785"/>
                <a:gd name="connsiteY1427" fmla="*/ 684 h 10000"/>
                <a:gd name="connsiteX1428" fmla="*/ 4756 w 10785"/>
                <a:gd name="connsiteY1428" fmla="*/ 684 h 10000"/>
                <a:gd name="connsiteX1429" fmla="*/ 4737 w 10785"/>
                <a:gd name="connsiteY1429" fmla="*/ 692 h 10000"/>
                <a:gd name="connsiteX1430" fmla="*/ 4677 w 10785"/>
                <a:gd name="connsiteY1430" fmla="*/ 667 h 10000"/>
                <a:gd name="connsiteX1431" fmla="*/ 4682 w 10785"/>
                <a:gd name="connsiteY1431" fmla="*/ 692 h 10000"/>
                <a:gd name="connsiteX1432" fmla="*/ 4682 w 10785"/>
                <a:gd name="connsiteY1432" fmla="*/ 709 h 10000"/>
                <a:gd name="connsiteX1433" fmla="*/ 4691 w 10785"/>
                <a:gd name="connsiteY1433" fmla="*/ 718 h 10000"/>
                <a:gd name="connsiteX1434" fmla="*/ 4691 w 10785"/>
                <a:gd name="connsiteY1434" fmla="*/ 744 h 10000"/>
                <a:gd name="connsiteX1435" fmla="*/ 4700 w 10785"/>
                <a:gd name="connsiteY1435" fmla="*/ 744 h 10000"/>
                <a:gd name="connsiteX1436" fmla="*/ 4714 w 10785"/>
                <a:gd name="connsiteY1436" fmla="*/ 769 h 10000"/>
                <a:gd name="connsiteX1437" fmla="*/ 4710 w 10785"/>
                <a:gd name="connsiteY1437" fmla="*/ 786 h 10000"/>
                <a:gd name="connsiteX1438" fmla="*/ 4737 w 10785"/>
                <a:gd name="connsiteY1438" fmla="*/ 786 h 10000"/>
                <a:gd name="connsiteX1439" fmla="*/ 4742 w 10785"/>
                <a:gd name="connsiteY1439" fmla="*/ 795 h 10000"/>
                <a:gd name="connsiteX1440" fmla="*/ 4742 w 10785"/>
                <a:gd name="connsiteY1440" fmla="*/ 803 h 10000"/>
                <a:gd name="connsiteX1441" fmla="*/ 4737 w 10785"/>
                <a:gd name="connsiteY1441" fmla="*/ 846 h 10000"/>
                <a:gd name="connsiteX1442" fmla="*/ 4737 w 10785"/>
                <a:gd name="connsiteY1442" fmla="*/ 880 h 10000"/>
                <a:gd name="connsiteX1443" fmla="*/ 4737 w 10785"/>
                <a:gd name="connsiteY1443" fmla="*/ 906 h 10000"/>
                <a:gd name="connsiteX1444" fmla="*/ 4724 w 10785"/>
                <a:gd name="connsiteY1444" fmla="*/ 897 h 10000"/>
                <a:gd name="connsiteX1445" fmla="*/ 4724 w 10785"/>
                <a:gd name="connsiteY1445" fmla="*/ 872 h 10000"/>
                <a:gd name="connsiteX1446" fmla="*/ 4714 w 10785"/>
                <a:gd name="connsiteY1446" fmla="*/ 855 h 10000"/>
                <a:gd name="connsiteX1447" fmla="*/ 4691 w 10785"/>
                <a:gd name="connsiteY1447" fmla="*/ 846 h 10000"/>
                <a:gd name="connsiteX1448" fmla="*/ 4691 w 10785"/>
                <a:gd name="connsiteY1448" fmla="*/ 846 h 10000"/>
                <a:gd name="connsiteX1449" fmla="*/ 4696 w 10785"/>
                <a:gd name="connsiteY1449" fmla="*/ 821 h 10000"/>
                <a:gd name="connsiteX1450" fmla="*/ 4691 w 10785"/>
                <a:gd name="connsiteY1450" fmla="*/ 803 h 10000"/>
                <a:gd name="connsiteX1451" fmla="*/ 4668 w 10785"/>
                <a:gd name="connsiteY1451" fmla="*/ 821 h 10000"/>
                <a:gd name="connsiteX1452" fmla="*/ 4668 w 10785"/>
                <a:gd name="connsiteY1452" fmla="*/ 786 h 10000"/>
                <a:gd name="connsiteX1453" fmla="*/ 4664 w 10785"/>
                <a:gd name="connsiteY1453" fmla="*/ 786 h 10000"/>
                <a:gd name="connsiteX1454" fmla="*/ 4622 w 10785"/>
                <a:gd name="connsiteY1454" fmla="*/ 846 h 10000"/>
                <a:gd name="connsiteX1455" fmla="*/ 4627 w 10785"/>
                <a:gd name="connsiteY1455" fmla="*/ 872 h 10000"/>
                <a:gd name="connsiteX1456" fmla="*/ 4622 w 10785"/>
                <a:gd name="connsiteY1456" fmla="*/ 880 h 10000"/>
                <a:gd name="connsiteX1457" fmla="*/ 4622 w 10785"/>
                <a:gd name="connsiteY1457" fmla="*/ 880 h 10000"/>
                <a:gd name="connsiteX1458" fmla="*/ 4618 w 10785"/>
                <a:gd name="connsiteY1458" fmla="*/ 872 h 10000"/>
                <a:gd name="connsiteX1459" fmla="*/ 4604 w 10785"/>
                <a:gd name="connsiteY1459" fmla="*/ 880 h 10000"/>
                <a:gd name="connsiteX1460" fmla="*/ 4594 w 10785"/>
                <a:gd name="connsiteY1460" fmla="*/ 906 h 10000"/>
                <a:gd name="connsiteX1461" fmla="*/ 4604 w 10785"/>
                <a:gd name="connsiteY1461" fmla="*/ 906 h 10000"/>
                <a:gd name="connsiteX1462" fmla="*/ 4608 w 10785"/>
                <a:gd name="connsiteY1462" fmla="*/ 906 h 10000"/>
                <a:gd name="connsiteX1463" fmla="*/ 4608 w 10785"/>
                <a:gd name="connsiteY1463" fmla="*/ 932 h 10000"/>
                <a:gd name="connsiteX1464" fmla="*/ 4604 w 10785"/>
                <a:gd name="connsiteY1464" fmla="*/ 932 h 10000"/>
                <a:gd name="connsiteX1465" fmla="*/ 4590 w 10785"/>
                <a:gd name="connsiteY1465" fmla="*/ 932 h 10000"/>
                <a:gd name="connsiteX1466" fmla="*/ 4567 w 10785"/>
                <a:gd name="connsiteY1466" fmla="*/ 957 h 10000"/>
                <a:gd name="connsiteX1467" fmla="*/ 4567 w 10785"/>
                <a:gd name="connsiteY1467" fmla="*/ 932 h 10000"/>
                <a:gd name="connsiteX1468" fmla="*/ 4567 w 10785"/>
                <a:gd name="connsiteY1468" fmla="*/ 923 h 10000"/>
                <a:gd name="connsiteX1469" fmla="*/ 4562 w 10785"/>
                <a:gd name="connsiteY1469" fmla="*/ 932 h 10000"/>
                <a:gd name="connsiteX1470" fmla="*/ 4548 w 10785"/>
                <a:gd name="connsiteY1470" fmla="*/ 957 h 10000"/>
                <a:gd name="connsiteX1471" fmla="*/ 4544 w 10785"/>
                <a:gd name="connsiteY1471" fmla="*/ 957 h 10000"/>
                <a:gd name="connsiteX1472" fmla="*/ 4521 w 10785"/>
                <a:gd name="connsiteY1472" fmla="*/ 983 h 10000"/>
                <a:gd name="connsiteX1473" fmla="*/ 4521 w 10785"/>
                <a:gd name="connsiteY1473" fmla="*/ 983 h 10000"/>
                <a:gd name="connsiteX1474" fmla="*/ 4530 w 10785"/>
                <a:gd name="connsiteY1474" fmla="*/ 957 h 10000"/>
                <a:gd name="connsiteX1475" fmla="*/ 4535 w 10785"/>
                <a:gd name="connsiteY1475" fmla="*/ 932 h 10000"/>
                <a:gd name="connsiteX1476" fmla="*/ 4521 w 10785"/>
                <a:gd name="connsiteY1476" fmla="*/ 932 h 10000"/>
                <a:gd name="connsiteX1477" fmla="*/ 4516 w 10785"/>
                <a:gd name="connsiteY1477" fmla="*/ 923 h 10000"/>
                <a:gd name="connsiteX1478" fmla="*/ 4516 w 10785"/>
                <a:gd name="connsiteY1478" fmla="*/ 932 h 10000"/>
                <a:gd name="connsiteX1479" fmla="*/ 4488 w 10785"/>
                <a:gd name="connsiteY1479" fmla="*/ 940 h 10000"/>
                <a:gd name="connsiteX1480" fmla="*/ 4484 w 10785"/>
                <a:gd name="connsiteY1480" fmla="*/ 983 h 10000"/>
                <a:gd name="connsiteX1481" fmla="*/ 4470 w 10785"/>
                <a:gd name="connsiteY1481" fmla="*/ 983 h 10000"/>
                <a:gd name="connsiteX1482" fmla="*/ 4470 w 10785"/>
                <a:gd name="connsiteY1482" fmla="*/ 966 h 10000"/>
                <a:gd name="connsiteX1483" fmla="*/ 4488 w 10785"/>
                <a:gd name="connsiteY1483" fmla="*/ 923 h 10000"/>
                <a:gd name="connsiteX1484" fmla="*/ 4493 w 10785"/>
                <a:gd name="connsiteY1484" fmla="*/ 880 h 10000"/>
                <a:gd name="connsiteX1485" fmla="*/ 4475 w 10785"/>
                <a:gd name="connsiteY1485" fmla="*/ 846 h 10000"/>
                <a:gd name="connsiteX1486" fmla="*/ 4442 w 10785"/>
                <a:gd name="connsiteY1486" fmla="*/ 855 h 10000"/>
                <a:gd name="connsiteX1487" fmla="*/ 4433 w 10785"/>
                <a:gd name="connsiteY1487" fmla="*/ 855 h 10000"/>
                <a:gd name="connsiteX1488" fmla="*/ 4433 w 10785"/>
                <a:gd name="connsiteY1488" fmla="*/ 880 h 10000"/>
                <a:gd name="connsiteX1489" fmla="*/ 4401 w 10785"/>
                <a:gd name="connsiteY1489" fmla="*/ 855 h 10000"/>
                <a:gd name="connsiteX1490" fmla="*/ 4396 w 10785"/>
                <a:gd name="connsiteY1490" fmla="*/ 872 h 10000"/>
                <a:gd name="connsiteX1491" fmla="*/ 4382 w 10785"/>
                <a:gd name="connsiteY1491" fmla="*/ 897 h 10000"/>
                <a:gd name="connsiteX1492" fmla="*/ 4373 w 10785"/>
                <a:gd name="connsiteY1492" fmla="*/ 872 h 10000"/>
                <a:gd name="connsiteX1493" fmla="*/ 4341 w 10785"/>
                <a:gd name="connsiteY1493" fmla="*/ 872 h 10000"/>
                <a:gd name="connsiteX1494" fmla="*/ 4336 w 10785"/>
                <a:gd name="connsiteY1494" fmla="*/ 880 h 10000"/>
                <a:gd name="connsiteX1495" fmla="*/ 4346 w 10785"/>
                <a:gd name="connsiteY1495" fmla="*/ 897 h 10000"/>
                <a:gd name="connsiteX1496" fmla="*/ 4346 w 10785"/>
                <a:gd name="connsiteY1496" fmla="*/ 897 h 10000"/>
                <a:gd name="connsiteX1497" fmla="*/ 4313 w 10785"/>
                <a:gd name="connsiteY1497" fmla="*/ 906 h 10000"/>
                <a:gd name="connsiteX1498" fmla="*/ 4313 w 10785"/>
                <a:gd name="connsiteY1498" fmla="*/ 906 h 10000"/>
                <a:gd name="connsiteX1499" fmla="*/ 4313 w 10785"/>
                <a:gd name="connsiteY1499" fmla="*/ 880 h 10000"/>
                <a:gd name="connsiteX1500" fmla="*/ 4309 w 10785"/>
                <a:gd name="connsiteY1500" fmla="*/ 897 h 10000"/>
                <a:gd name="connsiteX1501" fmla="*/ 4295 w 10785"/>
                <a:gd name="connsiteY1501" fmla="*/ 923 h 10000"/>
                <a:gd name="connsiteX1502" fmla="*/ 4286 w 10785"/>
                <a:gd name="connsiteY1502" fmla="*/ 897 h 10000"/>
                <a:gd name="connsiteX1503" fmla="*/ 4281 w 10785"/>
                <a:gd name="connsiteY1503" fmla="*/ 906 h 10000"/>
                <a:gd name="connsiteX1504" fmla="*/ 4281 w 10785"/>
                <a:gd name="connsiteY1504" fmla="*/ 940 h 10000"/>
                <a:gd name="connsiteX1505" fmla="*/ 4286 w 10785"/>
                <a:gd name="connsiteY1505" fmla="*/ 957 h 10000"/>
                <a:gd name="connsiteX1506" fmla="*/ 4309 w 10785"/>
                <a:gd name="connsiteY1506" fmla="*/ 932 h 10000"/>
                <a:gd name="connsiteX1507" fmla="*/ 4313 w 10785"/>
                <a:gd name="connsiteY1507" fmla="*/ 957 h 10000"/>
                <a:gd name="connsiteX1508" fmla="*/ 4313 w 10785"/>
                <a:gd name="connsiteY1508" fmla="*/ 966 h 10000"/>
                <a:gd name="connsiteX1509" fmla="*/ 4323 w 10785"/>
                <a:gd name="connsiteY1509" fmla="*/ 966 h 10000"/>
                <a:gd name="connsiteX1510" fmla="*/ 4323 w 10785"/>
                <a:gd name="connsiteY1510" fmla="*/ 940 h 10000"/>
                <a:gd name="connsiteX1511" fmla="*/ 4327 w 10785"/>
                <a:gd name="connsiteY1511" fmla="*/ 940 h 10000"/>
                <a:gd name="connsiteX1512" fmla="*/ 4327 w 10785"/>
                <a:gd name="connsiteY1512" fmla="*/ 957 h 10000"/>
                <a:gd name="connsiteX1513" fmla="*/ 4327 w 10785"/>
                <a:gd name="connsiteY1513" fmla="*/ 966 h 10000"/>
                <a:gd name="connsiteX1514" fmla="*/ 4323 w 10785"/>
                <a:gd name="connsiteY1514" fmla="*/ 991 h 10000"/>
                <a:gd name="connsiteX1515" fmla="*/ 4207 w 10785"/>
                <a:gd name="connsiteY1515" fmla="*/ 1060 h 10000"/>
                <a:gd name="connsiteX1516" fmla="*/ 4207 w 10785"/>
                <a:gd name="connsiteY1516" fmla="*/ 1060 h 10000"/>
                <a:gd name="connsiteX1517" fmla="*/ 4203 w 10785"/>
                <a:gd name="connsiteY1517" fmla="*/ 1068 h 10000"/>
                <a:gd name="connsiteX1518" fmla="*/ 4203 w 10785"/>
                <a:gd name="connsiteY1518" fmla="*/ 1094 h 10000"/>
                <a:gd name="connsiteX1519" fmla="*/ 4203 w 10785"/>
                <a:gd name="connsiteY1519" fmla="*/ 1094 h 10000"/>
                <a:gd name="connsiteX1520" fmla="*/ 4189 w 10785"/>
                <a:gd name="connsiteY1520" fmla="*/ 1094 h 10000"/>
                <a:gd name="connsiteX1521" fmla="*/ 4166 w 10785"/>
                <a:gd name="connsiteY1521" fmla="*/ 1103 h 10000"/>
                <a:gd name="connsiteX1522" fmla="*/ 4152 w 10785"/>
                <a:gd name="connsiteY1522" fmla="*/ 1094 h 10000"/>
                <a:gd name="connsiteX1523" fmla="*/ 4134 w 10785"/>
                <a:gd name="connsiteY1523" fmla="*/ 1120 h 10000"/>
                <a:gd name="connsiteX1524" fmla="*/ 4106 w 10785"/>
                <a:gd name="connsiteY1524" fmla="*/ 1120 h 10000"/>
                <a:gd name="connsiteX1525" fmla="*/ 4092 w 10785"/>
                <a:gd name="connsiteY1525" fmla="*/ 1154 h 10000"/>
                <a:gd name="connsiteX1526" fmla="*/ 4106 w 10785"/>
                <a:gd name="connsiteY1526" fmla="*/ 1171 h 10000"/>
                <a:gd name="connsiteX1527" fmla="*/ 4078 w 10785"/>
                <a:gd name="connsiteY1527" fmla="*/ 1179 h 10000"/>
                <a:gd name="connsiteX1528" fmla="*/ 4065 w 10785"/>
                <a:gd name="connsiteY1528" fmla="*/ 1205 h 10000"/>
                <a:gd name="connsiteX1529" fmla="*/ 4046 w 10785"/>
                <a:gd name="connsiteY1529" fmla="*/ 1179 h 10000"/>
                <a:gd name="connsiteX1530" fmla="*/ 4041 w 10785"/>
                <a:gd name="connsiteY1530" fmla="*/ 1197 h 10000"/>
                <a:gd name="connsiteX1531" fmla="*/ 4028 w 10785"/>
                <a:gd name="connsiteY1531" fmla="*/ 1205 h 10000"/>
                <a:gd name="connsiteX1532" fmla="*/ 4028 w 10785"/>
                <a:gd name="connsiteY1532" fmla="*/ 1205 h 10000"/>
                <a:gd name="connsiteX1533" fmla="*/ 4032 w 10785"/>
                <a:gd name="connsiteY1533" fmla="*/ 1205 h 10000"/>
                <a:gd name="connsiteX1534" fmla="*/ 4032 w 10785"/>
                <a:gd name="connsiteY1534" fmla="*/ 1231 h 10000"/>
                <a:gd name="connsiteX1535" fmla="*/ 4014 w 10785"/>
                <a:gd name="connsiteY1535" fmla="*/ 1239 h 10000"/>
                <a:gd name="connsiteX1536" fmla="*/ 4014 w 10785"/>
                <a:gd name="connsiteY1536" fmla="*/ 1256 h 10000"/>
                <a:gd name="connsiteX1537" fmla="*/ 4000 w 10785"/>
                <a:gd name="connsiteY1537" fmla="*/ 1265 h 10000"/>
                <a:gd name="connsiteX1538" fmla="*/ 3986 w 10785"/>
                <a:gd name="connsiteY1538" fmla="*/ 1308 h 10000"/>
                <a:gd name="connsiteX1539" fmla="*/ 3972 w 10785"/>
                <a:gd name="connsiteY1539" fmla="*/ 1316 h 10000"/>
                <a:gd name="connsiteX1540" fmla="*/ 3972 w 10785"/>
                <a:gd name="connsiteY1540" fmla="*/ 1325 h 10000"/>
                <a:gd name="connsiteX1541" fmla="*/ 3972 w 10785"/>
                <a:gd name="connsiteY1541" fmla="*/ 1342 h 10000"/>
                <a:gd name="connsiteX1542" fmla="*/ 3968 w 10785"/>
                <a:gd name="connsiteY1542" fmla="*/ 1350 h 10000"/>
                <a:gd name="connsiteX1543" fmla="*/ 3954 w 10785"/>
                <a:gd name="connsiteY1543" fmla="*/ 1368 h 10000"/>
                <a:gd name="connsiteX1544" fmla="*/ 3945 w 10785"/>
                <a:gd name="connsiteY1544" fmla="*/ 1350 h 10000"/>
                <a:gd name="connsiteX1545" fmla="*/ 3908 w 10785"/>
                <a:gd name="connsiteY1545" fmla="*/ 1342 h 10000"/>
                <a:gd name="connsiteX1546" fmla="*/ 3894 w 10785"/>
                <a:gd name="connsiteY1546" fmla="*/ 1368 h 10000"/>
                <a:gd name="connsiteX1547" fmla="*/ 3922 w 10785"/>
                <a:gd name="connsiteY1547" fmla="*/ 1393 h 10000"/>
                <a:gd name="connsiteX1548" fmla="*/ 3945 w 10785"/>
                <a:gd name="connsiteY1548" fmla="*/ 1393 h 10000"/>
                <a:gd name="connsiteX1549" fmla="*/ 3940 w 10785"/>
                <a:gd name="connsiteY1549" fmla="*/ 1419 h 10000"/>
                <a:gd name="connsiteX1550" fmla="*/ 3931 w 10785"/>
                <a:gd name="connsiteY1550" fmla="*/ 1427 h 10000"/>
                <a:gd name="connsiteX1551" fmla="*/ 3926 w 10785"/>
                <a:gd name="connsiteY1551" fmla="*/ 1427 h 10000"/>
                <a:gd name="connsiteX1552" fmla="*/ 3922 w 10785"/>
                <a:gd name="connsiteY1552" fmla="*/ 1419 h 10000"/>
                <a:gd name="connsiteX1553" fmla="*/ 3912 w 10785"/>
                <a:gd name="connsiteY1553" fmla="*/ 1427 h 10000"/>
                <a:gd name="connsiteX1554" fmla="*/ 3912 w 10785"/>
                <a:gd name="connsiteY1554" fmla="*/ 1444 h 10000"/>
                <a:gd name="connsiteX1555" fmla="*/ 3894 w 10785"/>
                <a:gd name="connsiteY1555" fmla="*/ 1513 h 10000"/>
                <a:gd name="connsiteX1556" fmla="*/ 3885 w 10785"/>
                <a:gd name="connsiteY1556" fmla="*/ 1513 h 10000"/>
                <a:gd name="connsiteX1557" fmla="*/ 3880 w 10785"/>
                <a:gd name="connsiteY1557" fmla="*/ 1538 h 10000"/>
                <a:gd name="connsiteX1558" fmla="*/ 3885 w 10785"/>
                <a:gd name="connsiteY1558" fmla="*/ 1564 h 10000"/>
                <a:gd name="connsiteX1559" fmla="*/ 3880 w 10785"/>
                <a:gd name="connsiteY1559" fmla="*/ 1581 h 10000"/>
                <a:gd name="connsiteX1560" fmla="*/ 3871 w 10785"/>
                <a:gd name="connsiteY1560" fmla="*/ 1538 h 10000"/>
                <a:gd name="connsiteX1561" fmla="*/ 3853 w 10785"/>
                <a:gd name="connsiteY1561" fmla="*/ 1530 h 10000"/>
                <a:gd name="connsiteX1562" fmla="*/ 3853 w 10785"/>
                <a:gd name="connsiteY1562" fmla="*/ 1504 h 10000"/>
                <a:gd name="connsiteX1563" fmla="*/ 3834 w 10785"/>
                <a:gd name="connsiteY1563" fmla="*/ 1487 h 10000"/>
                <a:gd name="connsiteX1564" fmla="*/ 3834 w 10785"/>
                <a:gd name="connsiteY1564" fmla="*/ 1487 h 10000"/>
                <a:gd name="connsiteX1565" fmla="*/ 3839 w 10785"/>
                <a:gd name="connsiteY1565" fmla="*/ 1513 h 10000"/>
                <a:gd name="connsiteX1566" fmla="*/ 3820 w 10785"/>
                <a:gd name="connsiteY1566" fmla="*/ 1538 h 10000"/>
                <a:gd name="connsiteX1567" fmla="*/ 3820 w 10785"/>
                <a:gd name="connsiteY1567" fmla="*/ 1556 h 10000"/>
                <a:gd name="connsiteX1568" fmla="*/ 3820 w 10785"/>
                <a:gd name="connsiteY1568" fmla="*/ 1564 h 10000"/>
                <a:gd name="connsiteX1569" fmla="*/ 3820 w 10785"/>
                <a:gd name="connsiteY1569" fmla="*/ 1581 h 10000"/>
                <a:gd name="connsiteX1570" fmla="*/ 3853 w 10785"/>
                <a:gd name="connsiteY1570" fmla="*/ 1581 h 10000"/>
                <a:gd name="connsiteX1571" fmla="*/ 3857 w 10785"/>
                <a:gd name="connsiteY1571" fmla="*/ 1598 h 10000"/>
                <a:gd name="connsiteX1572" fmla="*/ 3880 w 10785"/>
                <a:gd name="connsiteY1572" fmla="*/ 1615 h 10000"/>
                <a:gd name="connsiteX1573" fmla="*/ 3871 w 10785"/>
                <a:gd name="connsiteY1573" fmla="*/ 1615 h 10000"/>
                <a:gd name="connsiteX1574" fmla="*/ 3871 w 10785"/>
                <a:gd name="connsiteY1574" fmla="*/ 1641 h 10000"/>
                <a:gd name="connsiteX1575" fmla="*/ 3880 w 10785"/>
                <a:gd name="connsiteY1575" fmla="*/ 1641 h 10000"/>
                <a:gd name="connsiteX1576" fmla="*/ 3871 w 10785"/>
                <a:gd name="connsiteY1576" fmla="*/ 1650 h 10000"/>
                <a:gd name="connsiteX1577" fmla="*/ 3857 w 10785"/>
                <a:gd name="connsiteY1577" fmla="*/ 1650 h 10000"/>
                <a:gd name="connsiteX1578" fmla="*/ 3853 w 10785"/>
                <a:gd name="connsiteY1578" fmla="*/ 1650 h 10000"/>
                <a:gd name="connsiteX1579" fmla="*/ 3839 w 10785"/>
                <a:gd name="connsiteY1579" fmla="*/ 1667 h 10000"/>
                <a:gd name="connsiteX1580" fmla="*/ 3848 w 10785"/>
                <a:gd name="connsiteY1580" fmla="*/ 1692 h 10000"/>
                <a:gd name="connsiteX1581" fmla="*/ 3834 w 10785"/>
                <a:gd name="connsiteY1581" fmla="*/ 1692 h 10000"/>
                <a:gd name="connsiteX1582" fmla="*/ 3825 w 10785"/>
                <a:gd name="connsiteY1582" fmla="*/ 1692 h 10000"/>
                <a:gd name="connsiteX1583" fmla="*/ 3825 w 10785"/>
                <a:gd name="connsiteY1583" fmla="*/ 1718 h 10000"/>
                <a:gd name="connsiteX1584" fmla="*/ 3839 w 10785"/>
                <a:gd name="connsiteY1584" fmla="*/ 1726 h 10000"/>
                <a:gd name="connsiteX1585" fmla="*/ 3880 w 10785"/>
                <a:gd name="connsiteY1585" fmla="*/ 1752 h 10000"/>
                <a:gd name="connsiteX1586" fmla="*/ 3894 w 10785"/>
                <a:gd name="connsiteY1586" fmla="*/ 1829 h 10000"/>
                <a:gd name="connsiteX1587" fmla="*/ 3899 w 10785"/>
                <a:gd name="connsiteY1587" fmla="*/ 1838 h 10000"/>
                <a:gd name="connsiteX1588" fmla="*/ 3894 w 10785"/>
                <a:gd name="connsiteY1588" fmla="*/ 1855 h 10000"/>
                <a:gd name="connsiteX1589" fmla="*/ 3880 w 10785"/>
                <a:gd name="connsiteY1589" fmla="*/ 1838 h 10000"/>
                <a:gd name="connsiteX1590" fmla="*/ 3880 w 10785"/>
                <a:gd name="connsiteY1590" fmla="*/ 1855 h 10000"/>
                <a:gd name="connsiteX1591" fmla="*/ 3880 w 10785"/>
                <a:gd name="connsiteY1591" fmla="*/ 1863 h 10000"/>
                <a:gd name="connsiteX1592" fmla="*/ 3871 w 10785"/>
                <a:gd name="connsiteY1592" fmla="*/ 1872 h 10000"/>
                <a:gd name="connsiteX1593" fmla="*/ 3880 w 10785"/>
                <a:gd name="connsiteY1593" fmla="*/ 1889 h 10000"/>
                <a:gd name="connsiteX1594" fmla="*/ 3885 w 10785"/>
                <a:gd name="connsiteY1594" fmla="*/ 1889 h 10000"/>
                <a:gd name="connsiteX1595" fmla="*/ 3880 w 10785"/>
                <a:gd name="connsiteY1595" fmla="*/ 1897 h 10000"/>
                <a:gd name="connsiteX1596" fmla="*/ 3871 w 10785"/>
                <a:gd name="connsiteY1596" fmla="*/ 1915 h 10000"/>
                <a:gd name="connsiteX1597" fmla="*/ 3848 w 10785"/>
                <a:gd name="connsiteY1597" fmla="*/ 1923 h 10000"/>
                <a:gd name="connsiteX1598" fmla="*/ 3825 w 10785"/>
                <a:gd name="connsiteY1598" fmla="*/ 1940 h 10000"/>
                <a:gd name="connsiteX1599" fmla="*/ 3811 w 10785"/>
                <a:gd name="connsiteY1599" fmla="*/ 1940 h 10000"/>
                <a:gd name="connsiteX1600" fmla="*/ 3806 w 10785"/>
                <a:gd name="connsiteY1600" fmla="*/ 1949 h 10000"/>
                <a:gd name="connsiteX1601" fmla="*/ 3797 w 10785"/>
                <a:gd name="connsiteY1601" fmla="*/ 1966 h 10000"/>
                <a:gd name="connsiteX1602" fmla="*/ 3788 w 10785"/>
                <a:gd name="connsiteY1602" fmla="*/ 1991 h 10000"/>
                <a:gd name="connsiteX1603" fmla="*/ 3765 w 10785"/>
                <a:gd name="connsiteY1603" fmla="*/ 1974 h 10000"/>
                <a:gd name="connsiteX1604" fmla="*/ 3760 w 10785"/>
                <a:gd name="connsiteY1604" fmla="*/ 1966 h 10000"/>
                <a:gd name="connsiteX1605" fmla="*/ 3760 w 10785"/>
                <a:gd name="connsiteY1605" fmla="*/ 1966 h 10000"/>
                <a:gd name="connsiteX1606" fmla="*/ 3631 w 10785"/>
                <a:gd name="connsiteY1606" fmla="*/ 2009 h 10000"/>
                <a:gd name="connsiteX1607" fmla="*/ 3618 w 10785"/>
                <a:gd name="connsiteY1607" fmla="*/ 2000 h 10000"/>
                <a:gd name="connsiteX1608" fmla="*/ 3599 w 10785"/>
                <a:gd name="connsiteY1608" fmla="*/ 2009 h 10000"/>
                <a:gd name="connsiteX1609" fmla="*/ 3571 w 10785"/>
                <a:gd name="connsiteY1609" fmla="*/ 2000 h 10000"/>
                <a:gd name="connsiteX1610" fmla="*/ 3530 w 10785"/>
                <a:gd name="connsiteY1610" fmla="*/ 2026 h 10000"/>
                <a:gd name="connsiteX1611" fmla="*/ 3530 w 10785"/>
                <a:gd name="connsiteY1611" fmla="*/ 2034 h 10000"/>
                <a:gd name="connsiteX1612" fmla="*/ 3525 w 10785"/>
                <a:gd name="connsiteY1612" fmla="*/ 2051 h 10000"/>
                <a:gd name="connsiteX1613" fmla="*/ 3512 w 10785"/>
                <a:gd name="connsiteY1613" fmla="*/ 2034 h 10000"/>
                <a:gd name="connsiteX1614" fmla="*/ 3507 w 10785"/>
                <a:gd name="connsiteY1614" fmla="*/ 2034 h 10000"/>
                <a:gd name="connsiteX1615" fmla="*/ 3498 w 10785"/>
                <a:gd name="connsiteY1615" fmla="*/ 2051 h 10000"/>
                <a:gd name="connsiteX1616" fmla="*/ 3484 w 10785"/>
                <a:gd name="connsiteY1616" fmla="*/ 2060 h 10000"/>
                <a:gd name="connsiteX1617" fmla="*/ 3484 w 10785"/>
                <a:gd name="connsiteY1617" fmla="*/ 2085 h 10000"/>
                <a:gd name="connsiteX1618" fmla="*/ 3484 w 10785"/>
                <a:gd name="connsiteY1618" fmla="*/ 2103 h 10000"/>
                <a:gd name="connsiteX1619" fmla="*/ 3493 w 10785"/>
                <a:gd name="connsiteY1619" fmla="*/ 2103 h 10000"/>
                <a:gd name="connsiteX1620" fmla="*/ 3493 w 10785"/>
                <a:gd name="connsiteY1620" fmla="*/ 2085 h 10000"/>
                <a:gd name="connsiteX1621" fmla="*/ 3498 w 10785"/>
                <a:gd name="connsiteY1621" fmla="*/ 2085 h 10000"/>
                <a:gd name="connsiteX1622" fmla="*/ 3498 w 10785"/>
                <a:gd name="connsiteY1622" fmla="*/ 2111 h 10000"/>
                <a:gd name="connsiteX1623" fmla="*/ 3484 w 10785"/>
                <a:gd name="connsiteY1623" fmla="*/ 2120 h 10000"/>
                <a:gd name="connsiteX1624" fmla="*/ 3484 w 10785"/>
                <a:gd name="connsiteY1624" fmla="*/ 2145 h 10000"/>
                <a:gd name="connsiteX1625" fmla="*/ 3470 w 10785"/>
                <a:gd name="connsiteY1625" fmla="*/ 2137 h 10000"/>
                <a:gd name="connsiteX1626" fmla="*/ 3465 w 10785"/>
                <a:gd name="connsiteY1626" fmla="*/ 2145 h 10000"/>
                <a:gd name="connsiteX1627" fmla="*/ 3470 w 10785"/>
                <a:gd name="connsiteY1627" fmla="*/ 2171 h 10000"/>
                <a:gd name="connsiteX1628" fmla="*/ 3484 w 10785"/>
                <a:gd name="connsiteY1628" fmla="*/ 2171 h 10000"/>
                <a:gd name="connsiteX1629" fmla="*/ 3484 w 10785"/>
                <a:gd name="connsiteY1629" fmla="*/ 2197 h 10000"/>
                <a:gd name="connsiteX1630" fmla="*/ 3465 w 10785"/>
                <a:gd name="connsiteY1630" fmla="*/ 2214 h 10000"/>
                <a:gd name="connsiteX1631" fmla="*/ 3493 w 10785"/>
                <a:gd name="connsiteY1631" fmla="*/ 2248 h 10000"/>
                <a:gd name="connsiteX1632" fmla="*/ 3484 w 10785"/>
                <a:gd name="connsiteY1632" fmla="*/ 2256 h 10000"/>
                <a:gd name="connsiteX1633" fmla="*/ 3498 w 10785"/>
                <a:gd name="connsiteY1633" fmla="*/ 2274 h 10000"/>
                <a:gd name="connsiteX1634" fmla="*/ 3498 w 10785"/>
                <a:gd name="connsiteY1634" fmla="*/ 2256 h 10000"/>
                <a:gd name="connsiteX1635" fmla="*/ 3507 w 10785"/>
                <a:gd name="connsiteY1635" fmla="*/ 2308 h 10000"/>
                <a:gd name="connsiteX1636" fmla="*/ 3512 w 10785"/>
                <a:gd name="connsiteY1636" fmla="*/ 2325 h 10000"/>
                <a:gd name="connsiteX1637" fmla="*/ 3507 w 10785"/>
                <a:gd name="connsiteY1637" fmla="*/ 2333 h 10000"/>
                <a:gd name="connsiteX1638" fmla="*/ 3507 w 10785"/>
                <a:gd name="connsiteY1638" fmla="*/ 2359 h 10000"/>
                <a:gd name="connsiteX1639" fmla="*/ 3507 w 10785"/>
                <a:gd name="connsiteY1639" fmla="*/ 2376 h 10000"/>
                <a:gd name="connsiteX1640" fmla="*/ 3498 w 10785"/>
                <a:gd name="connsiteY1640" fmla="*/ 2410 h 10000"/>
                <a:gd name="connsiteX1641" fmla="*/ 3498 w 10785"/>
                <a:gd name="connsiteY1641" fmla="*/ 2436 h 10000"/>
                <a:gd name="connsiteX1642" fmla="*/ 3507 w 10785"/>
                <a:gd name="connsiteY1642" fmla="*/ 2462 h 10000"/>
                <a:gd name="connsiteX1643" fmla="*/ 3507 w 10785"/>
                <a:gd name="connsiteY1643" fmla="*/ 2496 h 10000"/>
                <a:gd name="connsiteX1644" fmla="*/ 3512 w 10785"/>
                <a:gd name="connsiteY1644" fmla="*/ 2521 h 10000"/>
                <a:gd name="connsiteX1645" fmla="*/ 3525 w 10785"/>
                <a:gd name="connsiteY1645" fmla="*/ 2556 h 10000"/>
                <a:gd name="connsiteX1646" fmla="*/ 3571 w 10785"/>
                <a:gd name="connsiteY1646" fmla="*/ 2573 h 10000"/>
                <a:gd name="connsiteX1647" fmla="*/ 3590 w 10785"/>
                <a:gd name="connsiteY1647" fmla="*/ 2598 h 10000"/>
                <a:gd name="connsiteX1648" fmla="*/ 3599 w 10785"/>
                <a:gd name="connsiteY1648" fmla="*/ 2598 h 10000"/>
                <a:gd name="connsiteX1649" fmla="*/ 3604 w 10785"/>
                <a:gd name="connsiteY1649" fmla="*/ 2632 h 10000"/>
                <a:gd name="connsiteX1650" fmla="*/ 3599 w 10785"/>
                <a:gd name="connsiteY1650" fmla="*/ 2658 h 10000"/>
                <a:gd name="connsiteX1651" fmla="*/ 3590 w 10785"/>
                <a:gd name="connsiteY1651" fmla="*/ 2667 h 10000"/>
                <a:gd name="connsiteX1652" fmla="*/ 3604 w 10785"/>
                <a:gd name="connsiteY1652" fmla="*/ 2667 h 10000"/>
                <a:gd name="connsiteX1653" fmla="*/ 3613 w 10785"/>
                <a:gd name="connsiteY1653" fmla="*/ 2692 h 10000"/>
                <a:gd name="connsiteX1654" fmla="*/ 3627 w 10785"/>
                <a:gd name="connsiteY1654" fmla="*/ 2735 h 10000"/>
                <a:gd name="connsiteX1655" fmla="*/ 3631 w 10785"/>
                <a:gd name="connsiteY1655" fmla="*/ 2744 h 10000"/>
                <a:gd name="connsiteX1656" fmla="*/ 3659 w 10785"/>
                <a:gd name="connsiteY1656" fmla="*/ 2761 h 10000"/>
                <a:gd name="connsiteX1657" fmla="*/ 3673 w 10785"/>
                <a:gd name="connsiteY1657" fmla="*/ 2769 h 10000"/>
                <a:gd name="connsiteX1658" fmla="*/ 3673 w 10785"/>
                <a:gd name="connsiteY1658" fmla="*/ 2761 h 10000"/>
                <a:gd name="connsiteX1659" fmla="*/ 3687 w 10785"/>
                <a:gd name="connsiteY1659" fmla="*/ 2829 h 10000"/>
                <a:gd name="connsiteX1660" fmla="*/ 3677 w 10785"/>
                <a:gd name="connsiteY1660" fmla="*/ 2897 h 10000"/>
                <a:gd name="connsiteX1661" fmla="*/ 3673 w 10785"/>
                <a:gd name="connsiteY1661" fmla="*/ 2915 h 10000"/>
                <a:gd name="connsiteX1662" fmla="*/ 3664 w 10785"/>
                <a:gd name="connsiteY1662" fmla="*/ 2957 h 10000"/>
                <a:gd name="connsiteX1663" fmla="*/ 3659 w 10785"/>
                <a:gd name="connsiteY1663" fmla="*/ 2983 h 10000"/>
                <a:gd name="connsiteX1664" fmla="*/ 3664 w 10785"/>
                <a:gd name="connsiteY1664" fmla="*/ 3017 h 10000"/>
                <a:gd name="connsiteX1665" fmla="*/ 3659 w 10785"/>
                <a:gd name="connsiteY1665" fmla="*/ 3043 h 10000"/>
                <a:gd name="connsiteX1666" fmla="*/ 3677 w 10785"/>
                <a:gd name="connsiteY1666" fmla="*/ 3094 h 10000"/>
                <a:gd name="connsiteX1667" fmla="*/ 3691 w 10785"/>
                <a:gd name="connsiteY1667" fmla="*/ 3282 h 10000"/>
                <a:gd name="connsiteX1668" fmla="*/ 3691 w 10785"/>
                <a:gd name="connsiteY1668" fmla="*/ 3308 h 10000"/>
                <a:gd name="connsiteX1669" fmla="*/ 3677 w 10785"/>
                <a:gd name="connsiteY1669" fmla="*/ 3342 h 10000"/>
                <a:gd name="connsiteX1670" fmla="*/ 3664 w 10785"/>
                <a:gd name="connsiteY1670" fmla="*/ 3342 h 10000"/>
                <a:gd name="connsiteX1671" fmla="*/ 3650 w 10785"/>
                <a:gd name="connsiteY1671" fmla="*/ 3342 h 10000"/>
                <a:gd name="connsiteX1672" fmla="*/ 3650 w 10785"/>
                <a:gd name="connsiteY1672" fmla="*/ 3350 h 10000"/>
                <a:gd name="connsiteX1673" fmla="*/ 3659 w 10785"/>
                <a:gd name="connsiteY1673" fmla="*/ 3402 h 10000"/>
                <a:gd name="connsiteX1674" fmla="*/ 3659 w 10785"/>
                <a:gd name="connsiteY1674" fmla="*/ 3419 h 10000"/>
                <a:gd name="connsiteX1675" fmla="*/ 3631 w 10785"/>
                <a:gd name="connsiteY1675" fmla="*/ 3402 h 10000"/>
                <a:gd name="connsiteX1676" fmla="*/ 3604 w 10785"/>
                <a:gd name="connsiteY1676" fmla="*/ 3393 h 10000"/>
                <a:gd name="connsiteX1677" fmla="*/ 3599 w 10785"/>
                <a:gd name="connsiteY1677" fmla="*/ 3368 h 10000"/>
                <a:gd name="connsiteX1678" fmla="*/ 3590 w 10785"/>
                <a:gd name="connsiteY1678" fmla="*/ 3239 h 10000"/>
                <a:gd name="connsiteX1679" fmla="*/ 3599 w 10785"/>
                <a:gd name="connsiteY1679" fmla="*/ 3179 h 10000"/>
                <a:gd name="connsiteX1680" fmla="*/ 3599 w 10785"/>
                <a:gd name="connsiteY1680" fmla="*/ 3171 h 10000"/>
                <a:gd name="connsiteX1681" fmla="*/ 3599 w 10785"/>
                <a:gd name="connsiteY1681" fmla="*/ 3009 h 10000"/>
                <a:gd name="connsiteX1682" fmla="*/ 3604 w 10785"/>
                <a:gd name="connsiteY1682" fmla="*/ 2983 h 10000"/>
                <a:gd name="connsiteX1683" fmla="*/ 3645 w 10785"/>
                <a:gd name="connsiteY1683" fmla="*/ 2932 h 10000"/>
                <a:gd name="connsiteX1684" fmla="*/ 3650 w 10785"/>
                <a:gd name="connsiteY1684" fmla="*/ 2872 h 10000"/>
                <a:gd name="connsiteX1685" fmla="*/ 3659 w 10785"/>
                <a:gd name="connsiteY1685" fmla="*/ 2855 h 10000"/>
                <a:gd name="connsiteX1686" fmla="*/ 3659 w 10785"/>
                <a:gd name="connsiteY1686" fmla="*/ 2821 h 10000"/>
                <a:gd name="connsiteX1687" fmla="*/ 3631 w 10785"/>
                <a:gd name="connsiteY1687" fmla="*/ 2795 h 10000"/>
                <a:gd name="connsiteX1688" fmla="*/ 3567 w 10785"/>
                <a:gd name="connsiteY1688" fmla="*/ 2821 h 10000"/>
                <a:gd name="connsiteX1689" fmla="*/ 3544 w 10785"/>
                <a:gd name="connsiteY1689" fmla="*/ 2795 h 10000"/>
                <a:gd name="connsiteX1690" fmla="*/ 3530 w 10785"/>
                <a:gd name="connsiteY1690" fmla="*/ 2769 h 10000"/>
                <a:gd name="connsiteX1691" fmla="*/ 3530 w 10785"/>
                <a:gd name="connsiteY1691" fmla="*/ 2786 h 10000"/>
                <a:gd name="connsiteX1692" fmla="*/ 3498 w 10785"/>
                <a:gd name="connsiteY1692" fmla="*/ 2692 h 10000"/>
                <a:gd name="connsiteX1693" fmla="*/ 3498 w 10785"/>
                <a:gd name="connsiteY1693" fmla="*/ 2667 h 10000"/>
                <a:gd name="connsiteX1694" fmla="*/ 3442 w 10785"/>
                <a:gd name="connsiteY1694" fmla="*/ 2607 h 10000"/>
                <a:gd name="connsiteX1695" fmla="*/ 3433 w 10785"/>
                <a:gd name="connsiteY1695" fmla="*/ 2581 h 10000"/>
                <a:gd name="connsiteX1696" fmla="*/ 3396 w 10785"/>
                <a:gd name="connsiteY1696" fmla="*/ 2556 h 10000"/>
                <a:gd name="connsiteX1697" fmla="*/ 3318 w 10785"/>
                <a:gd name="connsiteY1697" fmla="*/ 2556 h 10000"/>
                <a:gd name="connsiteX1698" fmla="*/ 3304 w 10785"/>
                <a:gd name="connsiteY1698" fmla="*/ 2607 h 10000"/>
                <a:gd name="connsiteX1699" fmla="*/ 3276 w 10785"/>
                <a:gd name="connsiteY1699" fmla="*/ 2632 h 10000"/>
                <a:gd name="connsiteX1700" fmla="*/ 3272 w 10785"/>
                <a:gd name="connsiteY1700" fmla="*/ 2667 h 10000"/>
                <a:gd name="connsiteX1701" fmla="*/ 3304 w 10785"/>
                <a:gd name="connsiteY1701" fmla="*/ 2667 h 10000"/>
                <a:gd name="connsiteX1702" fmla="*/ 3323 w 10785"/>
                <a:gd name="connsiteY1702" fmla="*/ 2692 h 10000"/>
                <a:gd name="connsiteX1703" fmla="*/ 3318 w 10785"/>
                <a:gd name="connsiteY1703" fmla="*/ 2735 h 10000"/>
                <a:gd name="connsiteX1704" fmla="*/ 3304 w 10785"/>
                <a:gd name="connsiteY1704" fmla="*/ 2761 h 10000"/>
                <a:gd name="connsiteX1705" fmla="*/ 3276 w 10785"/>
                <a:gd name="connsiteY1705" fmla="*/ 2769 h 10000"/>
                <a:gd name="connsiteX1706" fmla="*/ 3263 w 10785"/>
                <a:gd name="connsiteY1706" fmla="*/ 2795 h 10000"/>
                <a:gd name="connsiteX1707" fmla="*/ 3235 w 10785"/>
                <a:gd name="connsiteY1707" fmla="*/ 2803 h 10000"/>
                <a:gd name="connsiteX1708" fmla="*/ 3235 w 10785"/>
                <a:gd name="connsiteY1708" fmla="*/ 2786 h 10000"/>
                <a:gd name="connsiteX1709" fmla="*/ 3212 w 10785"/>
                <a:gd name="connsiteY1709" fmla="*/ 2709 h 10000"/>
                <a:gd name="connsiteX1710" fmla="*/ 3198 w 10785"/>
                <a:gd name="connsiteY1710" fmla="*/ 2709 h 10000"/>
                <a:gd name="connsiteX1711" fmla="*/ 3184 w 10785"/>
                <a:gd name="connsiteY1711" fmla="*/ 2735 h 10000"/>
                <a:gd name="connsiteX1712" fmla="*/ 3189 w 10785"/>
                <a:gd name="connsiteY1712" fmla="*/ 2761 h 10000"/>
                <a:gd name="connsiteX1713" fmla="*/ 3203 w 10785"/>
                <a:gd name="connsiteY1713" fmla="*/ 2855 h 10000"/>
                <a:gd name="connsiteX1714" fmla="*/ 3212 w 10785"/>
                <a:gd name="connsiteY1714" fmla="*/ 2872 h 10000"/>
                <a:gd name="connsiteX1715" fmla="*/ 3235 w 10785"/>
                <a:gd name="connsiteY1715" fmla="*/ 2906 h 10000"/>
                <a:gd name="connsiteX1716" fmla="*/ 3258 w 10785"/>
                <a:gd name="connsiteY1716" fmla="*/ 2915 h 10000"/>
                <a:gd name="connsiteX1717" fmla="*/ 3272 w 10785"/>
                <a:gd name="connsiteY1717" fmla="*/ 2957 h 10000"/>
                <a:gd name="connsiteX1718" fmla="*/ 3276 w 10785"/>
                <a:gd name="connsiteY1718" fmla="*/ 2957 h 10000"/>
                <a:gd name="connsiteX1719" fmla="*/ 3286 w 10785"/>
                <a:gd name="connsiteY1719" fmla="*/ 2966 h 10000"/>
                <a:gd name="connsiteX1720" fmla="*/ 3300 w 10785"/>
                <a:gd name="connsiteY1720" fmla="*/ 2957 h 10000"/>
                <a:gd name="connsiteX1721" fmla="*/ 3309 w 10785"/>
                <a:gd name="connsiteY1721" fmla="*/ 2932 h 10000"/>
                <a:gd name="connsiteX1722" fmla="*/ 3304 w 10785"/>
                <a:gd name="connsiteY1722" fmla="*/ 2966 h 10000"/>
                <a:gd name="connsiteX1723" fmla="*/ 3309 w 10785"/>
                <a:gd name="connsiteY1723" fmla="*/ 2983 h 10000"/>
                <a:gd name="connsiteX1724" fmla="*/ 3323 w 10785"/>
                <a:gd name="connsiteY1724" fmla="*/ 2966 h 10000"/>
                <a:gd name="connsiteX1725" fmla="*/ 3323 w 10785"/>
                <a:gd name="connsiteY1725" fmla="*/ 3043 h 10000"/>
                <a:gd name="connsiteX1726" fmla="*/ 3346 w 10785"/>
                <a:gd name="connsiteY1726" fmla="*/ 3068 h 10000"/>
                <a:gd name="connsiteX1727" fmla="*/ 3346 w 10785"/>
                <a:gd name="connsiteY1727" fmla="*/ 3094 h 10000"/>
                <a:gd name="connsiteX1728" fmla="*/ 3323 w 10785"/>
                <a:gd name="connsiteY1728" fmla="*/ 3094 h 10000"/>
                <a:gd name="connsiteX1729" fmla="*/ 3309 w 10785"/>
                <a:gd name="connsiteY1729" fmla="*/ 3077 h 10000"/>
                <a:gd name="connsiteX1730" fmla="*/ 3304 w 10785"/>
                <a:gd name="connsiteY1730" fmla="*/ 3051 h 10000"/>
                <a:gd name="connsiteX1731" fmla="*/ 3300 w 10785"/>
                <a:gd name="connsiteY1731" fmla="*/ 3043 h 10000"/>
                <a:gd name="connsiteX1732" fmla="*/ 3286 w 10785"/>
                <a:gd name="connsiteY1732" fmla="*/ 3017 h 10000"/>
                <a:gd name="connsiteX1733" fmla="*/ 3152 w 10785"/>
                <a:gd name="connsiteY1733" fmla="*/ 2966 h 10000"/>
                <a:gd name="connsiteX1734" fmla="*/ 3129 w 10785"/>
                <a:gd name="connsiteY1734" fmla="*/ 2915 h 10000"/>
                <a:gd name="connsiteX1735" fmla="*/ 3129 w 10785"/>
                <a:gd name="connsiteY1735" fmla="*/ 2906 h 10000"/>
                <a:gd name="connsiteX1736" fmla="*/ 3152 w 10785"/>
                <a:gd name="connsiteY1736" fmla="*/ 2906 h 10000"/>
                <a:gd name="connsiteX1737" fmla="*/ 3152 w 10785"/>
                <a:gd name="connsiteY1737" fmla="*/ 2846 h 10000"/>
                <a:gd name="connsiteX1738" fmla="*/ 3138 w 10785"/>
                <a:gd name="connsiteY1738" fmla="*/ 2795 h 10000"/>
                <a:gd name="connsiteX1739" fmla="*/ 3138 w 10785"/>
                <a:gd name="connsiteY1739" fmla="*/ 2769 h 10000"/>
                <a:gd name="connsiteX1740" fmla="*/ 3143 w 10785"/>
                <a:gd name="connsiteY1740" fmla="*/ 2718 h 10000"/>
                <a:gd name="connsiteX1741" fmla="*/ 3129 w 10785"/>
                <a:gd name="connsiteY1741" fmla="*/ 2692 h 10000"/>
                <a:gd name="connsiteX1742" fmla="*/ 3143 w 10785"/>
                <a:gd name="connsiteY1742" fmla="*/ 2667 h 10000"/>
                <a:gd name="connsiteX1743" fmla="*/ 3157 w 10785"/>
                <a:gd name="connsiteY1743" fmla="*/ 2581 h 10000"/>
                <a:gd name="connsiteX1744" fmla="*/ 3143 w 10785"/>
                <a:gd name="connsiteY1744" fmla="*/ 2496 h 10000"/>
                <a:gd name="connsiteX1745" fmla="*/ 3157 w 10785"/>
                <a:gd name="connsiteY1745" fmla="*/ 2487 h 10000"/>
                <a:gd name="connsiteX1746" fmla="*/ 3143 w 10785"/>
                <a:gd name="connsiteY1746" fmla="*/ 2444 h 10000"/>
                <a:gd name="connsiteX1747" fmla="*/ 3143 w 10785"/>
                <a:gd name="connsiteY1747" fmla="*/ 2419 h 10000"/>
                <a:gd name="connsiteX1748" fmla="*/ 3143 w 10785"/>
                <a:gd name="connsiteY1748" fmla="*/ 2410 h 10000"/>
                <a:gd name="connsiteX1749" fmla="*/ 3124 w 10785"/>
                <a:gd name="connsiteY1749" fmla="*/ 2376 h 10000"/>
                <a:gd name="connsiteX1750" fmla="*/ 3115 w 10785"/>
                <a:gd name="connsiteY1750" fmla="*/ 2350 h 10000"/>
                <a:gd name="connsiteX1751" fmla="*/ 3101 w 10785"/>
                <a:gd name="connsiteY1751" fmla="*/ 2359 h 10000"/>
                <a:gd name="connsiteX1752" fmla="*/ 3115 w 10785"/>
                <a:gd name="connsiteY1752" fmla="*/ 2581 h 10000"/>
                <a:gd name="connsiteX1753" fmla="*/ 3111 w 10785"/>
                <a:gd name="connsiteY1753" fmla="*/ 2624 h 10000"/>
                <a:gd name="connsiteX1754" fmla="*/ 3009 w 10785"/>
                <a:gd name="connsiteY1754" fmla="*/ 2761 h 10000"/>
                <a:gd name="connsiteX1755" fmla="*/ 3009 w 10785"/>
                <a:gd name="connsiteY1755" fmla="*/ 2803 h 10000"/>
                <a:gd name="connsiteX1756" fmla="*/ 3005 w 10785"/>
                <a:gd name="connsiteY1756" fmla="*/ 2829 h 10000"/>
                <a:gd name="connsiteX1757" fmla="*/ 2982 w 10785"/>
                <a:gd name="connsiteY1757" fmla="*/ 2872 h 10000"/>
                <a:gd name="connsiteX1758" fmla="*/ 2982 w 10785"/>
                <a:gd name="connsiteY1758" fmla="*/ 2880 h 10000"/>
                <a:gd name="connsiteX1759" fmla="*/ 3037 w 10785"/>
                <a:gd name="connsiteY1759" fmla="*/ 3034 h 10000"/>
                <a:gd name="connsiteX1760" fmla="*/ 3041 w 10785"/>
                <a:gd name="connsiteY1760" fmla="*/ 3103 h 10000"/>
                <a:gd name="connsiteX1761" fmla="*/ 3069 w 10785"/>
                <a:gd name="connsiteY1761" fmla="*/ 3188 h 10000"/>
                <a:gd name="connsiteX1762" fmla="*/ 3055 w 10785"/>
                <a:gd name="connsiteY1762" fmla="*/ 3325 h 10000"/>
                <a:gd name="connsiteX1763" fmla="*/ 3037 w 10785"/>
                <a:gd name="connsiteY1763" fmla="*/ 3368 h 10000"/>
                <a:gd name="connsiteX1764" fmla="*/ 3037 w 10785"/>
                <a:gd name="connsiteY1764" fmla="*/ 3444 h 10000"/>
                <a:gd name="connsiteX1765" fmla="*/ 3028 w 10785"/>
                <a:gd name="connsiteY1765" fmla="*/ 3453 h 10000"/>
                <a:gd name="connsiteX1766" fmla="*/ 3023 w 10785"/>
                <a:gd name="connsiteY1766" fmla="*/ 3530 h 10000"/>
                <a:gd name="connsiteX1767" fmla="*/ 3051 w 10785"/>
                <a:gd name="connsiteY1767" fmla="*/ 3624 h 10000"/>
                <a:gd name="connsiteX1768" fmla="*/ 3037 w 10785"/>
                <a:gd name="connsiteY1768" fmla="*/ 3718 h 10000"/>
                <a:gd name="connsiteX1769" fmla="*/ 3041 w 10785"/>
                <a:gd name="connsiteY1769" fmla="*/ 3752 h 10000"/>
                <a:gd name="connsiteX1770" fmla="*/ 3055 w 10785"/>
                <a:gd name="connsiteY1770" fmla="*/ 3761 h 10000"/>
                <a:gd name="connsiteX1771" fmla="*/ 3078 w 10785"/>
                <a:gd name="connsiteY1771" fmla="*/ 3752 h 10000"/>
                <a:gd name="connsiteX1772" fmla="*/ 3092 w 10785"/>
                <a:gd name="connsiteY1772" fmla="*/ 3752 h 10000"/>
                <a:gd name="connsiteX1773" fmla="*/ 3129 w 10785"/>
                <a:gd name="connsiteY1773" fmla="*/ 3761 h 10000"/>
                <a:gd name="connsiteX1774" fmla="*/ 3129 w 10785"/>
                <a:gd name="connsiteY1774" fmla="*/ 3735 h 10000"/>
                <a:gd name="connsiteX1775" fmla="*/ 3157 w 10785"/>
                <a:gd name="connsiteY1775" fmla="*/ 3718 h 10000"/>
                <a:gd name="connsiteX1776" fmla="*/ 3184 w 10785"/>
                <a:gd name="connsiteY1776" fmla="*/ 3718 h 10000"/>
                <a:gd name="connsiteX1777" fmla="*/ 3290 w 10785"/>
                <a:gd name="connsiteY1777" fmla="*/ 3838 h 10000"/>
                <a:gd name="connsiteX1778" fmla="*/ 3300 w 10785"/>
                <a:gd name="connsiteY1778" fmla="*/ 3846 h 10000"/>
                <a:gd name="connsiteX1779" fmla="*/ 3300 w 10785"/>
                <a:gd name="connsiteY1779" fmla="*/ 3915 h 10000"/>
                <a:gd name="connsiteX1780" fmla="*/ 3318 w 10785"/>
                <a:gd name="connsiteY1780" fmla="*/ 4000 h 10000"/>
                <a:gd name="connsiteX1781" fmla="*/ 3323 w 10785"/>
                <a:gd name="connsiteY1781" fmla="*/ 4000 h 10000"/>
                <a:gd name="connsiteX1782" fmla="*/ 3323 w 10785"/>
                <a:gd name="connsiteY1782" fmla="*/ 4034 h 10000"/>
                <a:gd name="connsiteX1783" fmla="*/ 3318 w 10785"/>
                <a:gd name="connsiteY1783" fmla="*/ 4051 h 10000"/>
                <a:gd name="connsiteX1784" fmla="*/ 3300 w 10785"/>
                <a:gd name="connsiteY1784" fmla="*/ 4051 h 10000"/>
                <a:gd name="connsiteX1785" fmla="*/ 3290 w 10785"/>
                <a:gd name="connsiteY1785" fmla="*/ 4077 h 10000"/>
                <a:gd name="connsiteX1786" fmla="*/ 3286 w 10785"/>
                <a:gd name="connsiteY1786" fmla="*/ 4103 h 10000"/>
                <a:gd name="connsiteX1787" fmla="*/ 3286 w 10785"/>
                <a:gd name="connsiteY1787" fmla="*/ 4197 h 10000"/>
                <a:gd name="connsiteX1788" fmla="*/ 3290 w 10785"/>
                <a:gd name="connsiteY1788" fmla="*/ 4214 h 10000"/>
                <a:gd name="connsiteX1789" fmla="*/ 3304 w 10785"/>
                <a:gd name="connsiteY1789" fmla="*/ 4214 h 10000"/>
                <a:gd name="connsiteX1790" fmla="*/ 3323 w 10785"/>
                <a:gd name="connsiteY1790" fmla="*/ 4239 h 10000"/>
                <a:gd name="connsiteX1791" fmla="*/ 3350 w 10785"/>
                <a:gd name="connsiteY1791" fmla="*/ 4222 h 10000"/>
                <a:gd name="connsiteX1792" fmla="*/ 3369 w 10785"/>
                <a:gd name="connsiteY1792" fmla="*/ 4256 h 10000"/>
                <a:gd name="connsiteX1793" fmla="*/ 3369 w 10785"/>
                <a:gd name="connsiteY1793" fmla="*/ 4256 h 10000"/>
                <a:gd name="connsiteX1794" fmla="*/ 3336 w 10785"/>
                <a:gd name="connsiteY1794" fmla="*/ 4274 h 10000"/>
                <a:gd name="connsiteX1795" fmla="*/ 3323 w 10785"/>
                <a:gd name="connsiteY1795" fmla="*/ 4274 h 10000"/>
                <a:gd name="connsiteX1796" fmla="*/ 3290 w 10785"/>
                <a:gd name="connsiteY1796" fmla="*/ 4274 h 10000"/>
                <a:gd name="connsiteX1797" fmla="*/ 3286 w 10785"/>
                <a:gd name="connsiteY1797" fmla="*/ 4239 h 10000"/>
                <a:gd name="connsiteX1798" fmla="*/ 3263 w 10785"/>
                <a:gd name="connsiteY1798" fmla="*/ 4214 h 10000"/>
                <a:gd name="connsiteX1799" fmla="*/ 3258 w 10785"/>
                <a:gd name="connsiteY1799" fmla="*/ 4188 h 10000"/>
                <a:gd name="connsiteX1800" fmla="*/ 3263 w 10785"/>
                <a:gd name="connsiteY1800" fmla="*/ 4171 h 10000"/>
                <a:gd name="connsiteX1801" fmla="*/ 3263 w 10785"/>
                <a:gd name="connsiteY1801" fmla="*/ 4103 h 10000"/>
                <a:gd name="connsiteX1802" fmla="*/ 3276 w 10785"/>
                <a:gd name="connsiteY1802" fmla="*/ 4060 h 10000"/>
                <a:gd name="connsiteX1803" fmla="*/ 3272 w 10785"/>
                <a:gd name="connsiteY1803" fmla="*/ 4051 h 10000"/>
                <a:gd name="connsiteX1804" fmla="*/ 3263 w 10785"/>
                <a:gd name="connsiteY1804" fmla="*/ 4051 h 10000"/>
                <a:gd name="connsiteX1805" fmla="*/ 3263 w 10785"/>
                <a:gd name="connsiteY1805" fmla="*/ 4034 h 10000"/>
                <a:gd name="connsiteX1806" fmla="*/ 3263 w 10785"/>
                <a:gd name="connsiteY1806" fmla="*/ 4000 h 10000"/>
                <a:gd name="connsiteX1807" fmla="*/ 3272 w 10785"/>
                <a:gd name="connsiteY1807" fmla="*/ 4000 h 10000"/>
                <a:gd name="connsiteX1808" fmla="*/ 3272 w 10785"/>
                <a:gd name="connsiteY1808" fmla="*/ 3974 h 10000"/>
                <a:gd name="connsiteX1809" fmla="*/ 3272 w 10785"/>
                <a:gd name="connsiteY1809" fmla="*/ 3966 h 10000"/>
                <a:gd name="connsiteX1810" fmla="*/ 3272 w 10785"/>
                <a:gd name="connsiteY1810" fmla="*/ 3949 h 10000"/>
                <a:gd name="connsiteX1811" fmla="*/ 3258 w 10785"/>
                <a:gd name="connsiteY1811" fmla="*/ 3923 h 10000"/>
                <a:gd name="connsiteX1812" fmla="*/ 3249 w 10785"/>
                <a:gd name="connsiteY1812" fmla="*/ 3915 h 10000"/>
                <a:gd name="connsiteX1813" fmla="*/ 3244 w 10785"/>
                <a:gd name="connsiteY1813" fmla="*/ 3897 h 10000"/>
                <a:gd name="connsiteX1814" fmla="*/ 3230 w 10785"/>
                <a:gd name="connsiteY1814" fmla="*/ 3889 h 10000"/>
                <a:gd name="connsiteX1815" fmla="*/ 3230 w 10785"/>
                <a:gd name="connsiteY1815" fmla="*/ 3863 h 10000"/>
                <a:gd name="connsiteX1816" fmla="*/ 3230 w 10785"/>
                <a:gd name="connsiteY1816" fmla="*/ 3838 h 10000"/>
                <a:gd name="connsiteX1817" fmla="*/ 3226 w 10785"/>
                <a:gd name="connsiteY1817" fmla="*/ 3803 h 10000"/>
                <a:gd name="connsiteX1818" fmla="*/ 3138 w 10785"/>
                <a:gd name="connsiteY1818" fmla="*/ 3838 h 10000"/>
                <a:gd name="connsiteX1819" fmla="*/ 3078 w 10785"/>
                <a:gd name="connsiteY1819" fmla="*/ 3889 h 10000"/>
                <a:gd name="connsiteX1820" fmla="*/ 3078 w 10785"/>
                <a:gd name="connsiteY1820" fmla="*/ 3940 h 10000"/>
                <a:gd name="connsiteX1821" fmla="*/ 3069 w 10785"/>
                <a:gd name="connsiteY1821" fmla="*/ 3983 h 10000"/>
                <a:gd name="connsiteX1822" fmla="*/ 3069 w 10785"/>
                <a:gd name="connsiteY1822" fmla="*/ 4009 h 10000"/>
                <a:gd name="connsiteX1823" fmla="*/ 3078 w 10785"/>
                <a:gd name="connsiteY1823" fmla="*/ 4026 h 10000"/>
                <a:gd name="connsiteX1824" fmla="*/ 3083 w 10785"/>
                <a:gd name="connsiteY1824" fmla="*/ 4034 h 10000"/>
                <a:gd name="connsiteX1825" fmla="*/ 3092 w 10785"/>
                <a:gd name="connsiteY1825" fmla="*/ 4060 h 10000"/>
                <a:gd name="connsiteX1826" fmla="*/ 3092 w 10785"/>
                <a:gd name="connsiteY1826" fmla="*/ 4077 h 10000"/>
                <a:gd name="connsiteX1827" fmla="*/ 3097 w 10785"/>
                <a:gd name="connsiteY1827" fmla="*/ 4103 h 10000"/>
                <a:gd name="connsiteX1828" fmla="*/ 3101 w 10785"/>
                <a:gd name="connsiteY1828" fmla="*/ 4162 h 10000"/>
                <a:gd name="connsiteX1829" fmla="*/ 3097 w 10785"/>
                <a:gd name="connsiteY1829" fmla="*/ 4222 h 10000"/>
                <a:gd name="connsiteX1830" fmla="*/ 3041 w 10785"/>
                <a:gd name="connsiteY1830" fmla="*/ 4325 h 10000"/>
                <a:gd name="connsiteX1831" fmla="*/ 3037 w 10785"/>
                <a:gd name="connsiteY1831" fmla="*/ 4419 h 10000"/>
                <a:gd name="connsiteX1832" fmla="*/ 3018 w 10785"/>
                <a:gd name="connsiteY1832" fmla="*/ 4470 h 10000"/>
                <a:gd name="connsiteX1833" fmla="*/ 2991 w 10785"/>
                <a:gd name="connsiteY1833" fmla="*/ 4513 h 10000"/>
                <a:gd name="connsiteX1834" fmla="*/ 2977 w 10785"/>
                <a:gd name="connsiteY1834" fmla="*/ 4530 h 10000"/>
                <a:gd name="connsiteX1835" fmla="*/ 2945 w 10785"/>
                <a:gd name="connsiteY1835" fmla="*/ 4556 h 10000"/>
                <a:gd name="connsiteX1836" fmla="*/ 2935 w 10785"/>
                <a:gd name="connsiteY1836" fmla="*/ 4581 h 10000"/>
                <a:gd name="connsiteX1837" fmla="*/ 2949 w 10785"/>
                <a:gd name="connsiteY1837" fmla="*/ 4624 h 10000"/>
                <a:gd name="connsiteX1838" fmla="*/ 2945 w 10785"/>
                <a:gd name="connsiteY1838" fmla="*/ 4658 h 10000"/>
                <a:gd name="connsiteX1839" fmla="*/ 2922 w 10785"/>
                <a:gd name="connsiteY1839" fmla="*/ 4667 h 10000"/>
                <a:gd name="connsiteX1840" fmla="*/ 2876 w 10785"/>
                <a:gd name="connsiteY1840" fmla="*/ 4632 h 10000"/>
                <a:gd name="connsiteX1841" fmla="*/ 2857 w 10785"/>
                <a:gd name="connsiteY1841" fmla="*/ 4632 h 10000"/>
                <a:gd name="connsiteX1842" fmla="*/ 2820 w 10785"/>
                <a:gd name="connsiteY1842" fmla="*/ 4641 h 10000"/>
                <a:gd name="connsiteX1843" fmla="*/ 2797 w 10785"/>
                <a:gd name="connsiteY1843" fmla="*/ 4632 h 10000"/>
                <a:gd name="connsiteX1844" fmla="*/ 2788 w 10785"/>
                <a:gd name="connsiteY1844" fmla="*/ 4624 h 10000"/>
                <a:gd name="connsiteX1845" fmla="*/ 2788 w 10785"/>
                <a:gd name="connsiteY1845" fmla="*/ 4598 h 10000"/>
                <a:gd name="connsiteX1846" fmla="*/ 2797 w 10785"/>
                <a:gd name="connsiteY1846" fmla="*/ 4581 h 10000"/>
                <a:gd name="connsiteX1847" fmla="*/ 2788 w 10785"/>
                <a:gd name="connsiteY1847" fmla="*/ 4530 h 10000"/>
                <a:gd name="connsiteX1848" fmla="*/ 2774 w 10785"/>
                <a:gd name="connsiteY1848" fmla="*/ 4530 h 10000"/>
                <a:gd name="connsiteX1849" fmla="*/ 2770 w 10785"/>
                <a:gd name="connsiteY1849" fmla="*/ 4513 h 10000"/>
                <a:gd name="connsiteX1850" fmla="*/ 2774 w 10785"/>
                <a:gd name="connsiteY1850" fmla="*/ 4513 h 10000"/>
                <a:gd name="connsiteX1851" fmla="*/ 2788 w 10785"/>
                <a:gd name="connsiteY1851" fmla="*/ 4496 h 10000"/>
                <a:gd name="connsiteX1852" fmla="*/ 2802 w 10785"/>
                <a:gd name="connsiteY1852" fmla="*/ 4513 h 10000"/>
                <a:gd name="connsiteX1853" fmla="*/ 2811 w 10785"/>
                <a:gd name="connsiteY1853" fmla="*/ 4530 h 10000"/>
                <a:gd name="connsiteX1854" fmla="*/ 2820 w 10785"/>
                <a:gd name="connsiteY1854" fmla="*/ 4521 h 10000"/>
                <a:gd name="connsiteX1855" fmla="*/ 2829 w 10785"/>
                <a:gd name="connsiteY1855" fmla="*/ 4513 h 10000"/>
                <a:gd name="connsiteX1856" fmla="*/ 2843 w 10785"/>
                <a:gd name="connsiteY1856" fmla="*/ 4513 h 10000"/>
                <a:gd name="connsiteX1857" fmla="*/ 2848 w 10785"/>
                <a:gd name="connsiteY1857" fmla="*/ 4470 h 10000"/>
                <a:gd name="connsiteX1858" fmla="*/ 2862 w 10785"/>
                <a:gd name="connsiteY1858" fmla="*/ 4487 h 10000"/>
                <a:gd name="connsiteX1859" fmla="*/ 2876 w 10785"/>
                <a:gd name="connsiteY1859" fmla="*/ 4470 h 10000"/>
                <a:gd name="connsiteX1860" fmla="*/ 2880 w 10785"/>
                <a:gd name="connsiteY1860" fmla="*/ 4462 h 10000"/>
                <a:gd name="connsiteX1861" fmla="*/ 2889 w 10785"/>
                <a:gd name="connsiteY1861" fmla="*/ 4444 h 10000"/>
                <a:gd name="connsiteX1862" fmla="*/ 2894 w 10785"/>
                <a:gd name="connsiteY1862" fmla="*/ 4462 h 10000"/>
                <a:gd name="connsiteX1863" fmla="*/ 2917 w 10785"/>
                <a:gd name="connsiteY1863" fmla="*/ 4444 h 10000"/>
                <a:gd name="connsiteX1864" fmla="*/ 2922 w 10785"/>
                <a:gd name="connsiteY1864" fmla="*/ 4436 h 10000"/>
                <a:gd name="connsiteX1865" fmla="*/ 2917 w 10785"/>
                <a:gd name="connsiteY1865" fmla="*/ 4410 h 10000"/>
                <a:gd name="connsiteX1866" fmla="*/ 2894 w 10785"/>
                <a:gd name="connsiteY1866" fmla="*/ 4410 h 10000"/>
                <a:gd name="connsiteX1867" fmla="*/ 2889 w 10785"/>
                <a:gd name="connsiteY1867" fmla="*/ 4419 h 10000"/>
                <a:gd name="connsiteX1868" fmla="*/ 2876 w 10785"/>
                <a:gd name="connsiteY1868" fmla="*/ 4410 h 10000"/>
                <a:gd name="connsiteX1869" fmla="*/ 2880 w 10785"/>
                <a:gd name="connsiteY1869" fmla="*/ 4376 h 10000"/>
                <a:gd name="connsiteX1870" fmla="*/ 2903 w 10785"/>
                <a:gd name="connsiteY1870" fmla="*/ 4393 h 10000"/>
                <a:gd name="connsiteX1871" fmla="*/ 2931 w 10785"/>
                <a:gd name="connsiteY1871" fmla="*/ 4393 h 10000"/>
                <a:gd name="connsiteX1872" fmla="*/ 2931 w 10785"/>
                <a:gd name="connsiteY1872" fmla="*/ 4385 h 10000"/>
                <a:gd name="connsiteX1873" fmla="*/ 2931 w 10785"/>
                <a:gd name="connsiteY1873" fmla="*/ 4350 h 10000"/>
                <a:gd name="connsiteX1874" fmla="*/ 2945 w 10785"/>
                <a:gd name="connsiteY1874" fmla="*/ 4350 h 10000"/>
                <a:gd name="connsiteX1875" fmla="*/ 2949 w 10785"/>
                <a:gd name="connsiteY1875" fmla="*/ 4325 h 10000"/>
                <a:gd name="connsiteX1876" fmla="*/ 2963 w 10785"/>
                <a:gd name="connsiteY1876" fmla="*/ 4256 h 10000"/>
                <a:gd name="connsiteX1877" fmla="*/ 2982 w 10785"/>
                <a:gd name="connsiteY1877" fmla="*/ 4239 h 10000"/>
                <a:gd name="connsiteX1878" fmla="*/ 2991 w 10785"/>
                <a:gd name="connsiteY1878" fmla="*/ 4214 h 10000"/>
                <a:gd name="connsiteX1879" fmla="*/ 2991 w 10785"/>
                <a:gd name="connsiteY1879" fmla="*/ 4197 h 10000"/>
                <a:gd name="connsiteX1880" fmla="*/ 2995 w 10785"/>
                <a:gd name="connsiteY1880" fmla="*/ 4171 h 10000"/>
                <a:gd name="connsiteX1881" fmla="*/ 2991 w 10785"/>
                <a:gd name="connsiteY1881" fmla="*/ 4077 h 10000"/>
                <a:gd name="connsiteX1882" fmla="*/ 2995 w 10785"/>
                <a:gd name="connsiteY1882" fmla="*/ 4034 h 10000"/>
                <a:gd name="connsiteX1883" fmla="*/ 3018 w 10785"/>
                <a:gd name="connsiteY1883" fmla="*/ 3983 h 10000"/>
                <a:gd name="connsiteX1884" fmla="*/ 3018 w 10785"/>
                <a:gd name="connsiteY1884" fmla="*/ 3915 h 10000"/>
                <a:gd name="connsiteX1885" fmla="*/ 2949 w 10785"/>
                <a:gd name="connsiteY1885" fmla="*/ 3778 h 10000"/>
                <a:gd name="connsiteX1886" fmla="*/ 2954 w 10785"/>
                <a:gd name="connsiteY1886" fmla="*/ 3675 h 10000"/>
                <a:gd name="connsiteX1887" fmla="*/ 2954 w 10785"/>
                <a:gd name="connsiteY1887" fmla="*/ 3650 h 10000"/>
                <a:gd name="connsiteX1888" fmla="*/ 2963 w 10785"/>
                <a:gd name="connsiteY1888" fmla="*/ 3624 h 10000"/>
                <a:gd name="connsiteX1889" fmla="*/ 2954 w 10785"/>
                <a:gd name="connsiteY1889" fmla="*/ 3564 h 10000"/>
                <a:gd name="connsiteX1890" fmla="*/ 2963 w 10785"/>
                <a:gd name="connsiteY1890" fmla="*/ 3538 h 10000"/>
                <a:gd name="connsiteX1891" fmla="*/ 2963 w 10785"/>
                <a:gd name="connsiteY1891" fmla="*/ 3487 h 10000"/>
                <a:gd name="connsiteX1892" fmla="*/ 2963 w 10785"/>
                <a:gd name="connsiteY1892" fmla="*/ 3479 h 10000"/>
                <a:gd name="connsiteX1893" fmla="*/ 2963 w 10785"/>
                <a:gd name="connsiteY1893" fmla="*/ 3462 h 10000"/>
                <a:gd name="connsiteX1894" fmla="*/ 2954 w 10785"/>
                <a:gd name="connsiteY1894" fmla="*/ 3453 h 10000"/>
                <a:gd name="connsiteX1895" fmla="*/ 2954 w 10785"/>
                <a:gd name="connsiteY1895" fmla="*/ 3444 h 10000"/>
                <a:gd name="connsiteX1896" fmla="*/ 2954 w 10785"/>
                <a:gd name="connsiteY1896" fmla="*/ 3402 h 10000"/>
                <a:gd name="connsiteX1897" fmla="*/ 2954 w 10785"/>
                <a:gd name="connsiteY1897" fmla="*/ 3393 h 10000"/>
                <a:gd name="connsiteX1898" fmla="*/ 2949 w 10785"/>
                <a:gd name="connsiteY1898" fmla="*/ 3376 h 10000"/>
                <a:gd name="connsiteX1899" fmla="*/ 2949 w 10785"/>
                <a:gd name="connsiteY1899" fmla="*/ 3342 h 10000"/>
                <a:gd name="connsiteX1900" fmla="*/ 2949 w 10785"/>
                <a:gd name="connsiteY1900" fmla="*/ 3316 h 10000"/>
                <a:gd name="connsiteX1901" fmla="*/ 2968 w 10785"/>
                <a:gd name="connsiteY1901" fmla="*/ 3291 h 10000"/>
                <a:gd name="connsiteX1902" fmla="*/ 2963 w 10785"/>
                <a:gd name="connsiteY1902" fmla="*/ 3205 h 10000"/>
                <a:gd name="connsiteX1903" fmla="*/ 2968 w 10785"/>
                <a:gd name="connsiteY1903" fmla="*/ 3171 h 10000"/>
                <a:gd name="connsiteX1904" fmla="*/ 2968 w 10785"/>
                <a:gd name="connsiteY1904" fmla="*/ 3128 h 10000"/>
                <a:gd name="connsiteX1905" fmla="*/ 2954 w 10785"/>
                <a:gd name="connsiteY1905" fmla="*/ 3051 h 10000"/>
                <a:gd name="connsiteX1906" fmla="*/ 2954 w 10785"/>
                <a:gd name="connsiteY1906" fmla="*/ 3009 h 10000"/>
                <a:gd name="connsiteX1907" fmla="*/ 2922 w 10785"/>
                <a:gd name="connsiteY1907" fmla="*/ 2940 h 10000"/>
                <a:gd name="connsiteX1908" fmla="*/ 2903 w 10785"/>
                <a:gd name="connsiteY1908" fmla="*/ 2880 h 10000"/>
                <a:gd name="connsiteX1909" fmla="*/ 2903 w 10785"/>
                <a:gd name="connsiteY1909" fmla="*/ 2855 h 10000"/>
                <a:gd name="connsiteX1910" fmla="*/ 2908 w 10785"/>
                <a:gd name="connsiteY1910" fmla="*/ 2846 h 10000"/>
                <a:gd name="connsiteX1911" fmla="*/ 2931 w 10785"/>
                <a:gd name="connsiteY1911" fmla="*/ 2821 h 10000"/>
                <a:gd name="connsiteX1912" fmla="*/ 2931 w 10785"/>
                <a:gd name="connsiteY1912" fmla="*/ 2803 h 10000"/>
                <a:gd name="connsiteX1913" fmla="*/ 2935 w 10785"/>
                <a:gd name="connsiteY1913" fmla="*/ 2786 h 10000"/>
                <a:gd name="connsiteX1914" fmla="*/ 2935 w 10785"/>
                <a:gd name="connsiteY1914" fmla="*/ 2744 h 10000"/>
                <a:gd name="connsiteX1915" fmla="*/ 2963 w 10785"/>
                <a:gd name="connsiteY1915" fmla="*/ 2607 h 10000"/>
                <a:gd name="connsiteX1916" fmla="*/ 2963 w 10785"/>
                <a:gd name="connsiteY1916" fmla="*/ 2419 h 10000"/>
                <a:gd name="connsiteX1917" fmla="*/ 2954 w 10785"/>
                <a:gd name="connsiteY1917" fmla="*/ 2410 h 10000"/>
                <a:gd name="connsiteX1918" fmla="*/ 2963 w 10785"/>
                <a:gd name="connsiteY1918" fmla="*/ 2393 h 10000"/>
                <a:gd name="connsiteX1919" fmla="*/ 2908 w 10785"/>
                <a:gd name="connsiteY1919" fmla="*/ 2359 h 10000"/>
                <a:gd name="connsiteX1920" fmla="*/ 2889 w 10785"/>
                <a:gd name="connsiteY1920" fmla="*/ 2325 h 10000"/>
                <a:gd name="connsiteX1921" fmla="*/ 2788 w 10785"/>
                <a:gd name="connsiteY1921" fmla="*/ 2333 h 10000"/>
                <a:gd name="connsiteX1922" fmla="*/ 2774 w 10785"/>
                <a:gd name="connsiteY1922" fmla="*/ 2325 h 10000"/>
                <a:gd name="connsiteX1923" fmla="*/ 2783 w 10785"/>
                <a:gd name="connsiteY1923" fmla="*/ 2308 h 10000"/>
                <a:gd name="connsiteX1924" fmla="*/ 2747 w 10785"/>
                <a:gd name="connsiteY1924" fmla="*/ 2308 h 10000"/>
                <a:gd name="connsiteX1925" fmla="*/ 2742 w 10785"/>
                <a:gd name="connsiteY1925" fmla="*/ 2333 h 10000"/>
                <a:gd name="connsiteX1926" fmla="*/ 2682 w 10785"/>
                <a:gd name="connsiteY1926" fmla="*/ 2769 h 10000"/>
                <a:gd name="connsiteX1927" fmla="*/ 2613 w 10785"/>
                <a:gd name="connsiteY1927" fmla="*/ 2940 h 10000"/>
                <a:gd name="connsiteX1928" fmla="*/ 2581 w 10785"/>
                <a:gd name="connsiteY1928" fmla="*/ 2966 h 10000"/>
                <a:gd name="connsiteX1929" fmla="*/ 2576 w 10785"/>
                <a:gd name="connsiteY1929" fmla="*/ 3051 h 10000"/>
                <a:gd name="connsiteX1930" fmla="*/ 2581 w 10785"/>
                <a:gd name="connsiteY1930" fmla="*/ 3051 h 10000"/>
                <a:gd name="connsiteX1931" fmla="*/ 2594 w 10785"/>
                <a:gd name="connsiteY1931" fmla="*/ 3017 h 10000"/>
                <a:gd name="connsiteX1932" fmla="*/ 2594 w 10785"/>
                <a:gd name="connsiteY1932" fmla="*/ 3034 h 10000"/>
                <a:gd name="connsiteX1933" fmla="*/ 2594 w 10785"/>
                <a:gd name="connsiteY1933" fmla="*/ 3051 h 10000"/>
                <a:gd name="connsiteX1934" fmla="*/ 2590 w 10785"/>
                <a:gd name="connsiteY1934" fmla="*/ 3077 h 10000"/>
                <a:gd name="connsiteX1935" fmla="*/ 2567 w 10785"/>
                <a:gd name="connsiteY1935" fmla="*/ 3103 h 10000"/>
                <a:gd name="connsiteX1936" fmla="*/ 2562 w 10785"/>
                <a:gd name="connsiteY1936" fmla="*/ 3145 h 10000"/>
                <a:gd name="connsiteX1937" fmla="*/ 2567 w 10785"/>
                <a:gd name="connsiteY1937" fmla="*/ 3179 h 10000"/>
                <a:gd name="connsiteX1938" fmla="*/ 2590 w 10785"/>
                <a:gd name="connsiteY1938" fmla="*/ 3171 h 10000"/>
                <a:gd name="connsiteX1939" fmla="*/ 2594 w 10785"/>
                <a:gd name="connsiteY1939" fmla="*/ 3145 h 10000"/>
                <a:gd name="connsiteX1940" fmla="*/ 2613 w 10785"/>
                <a:gd name="connsiteY1940" fmla="*/ 3154 h 10000"/>
                <a:gd name="connsiteX1941" fmla="*/ 2622 w 10785"/>
                <a:gd name="connsiteY1941" fmla="*/ 3179 h 10000"/>
                <a:gd name="connsiteX1942" fmla="*/ 2613 w 10785"/>
                <a:gd name="connsiteY1942" fmla="*/ 3214 h 10000"/>
                <a:gd name="connsiteX1943" fmla="*/ 2613 w 10785"/>
                <a:gd name="connsiteY1943" fmla="*/ 3308 h 10000"/>
                <a:gd name="connsiteX1944" fmla="*/ 2608 w 10785"/>
                <a:gd name="connsiteY1944" fmla="*/ 3325 h 10000"/>
                <a:gd name="connsiteX1945" fmla="*/ 2608 w 10785"/>
                <a:gd name="connsiteY1945" fmla="*/ 3376 h 10000"/>
                <a:gd name="connsiteX1946" fmla="*/ 2613 w 10785"/>
                <a:gd name="connsiteY1946" fmla="*/ 3419 h 10000"/>
                <a:gd name="connsiteX1947" fmla="*/ 2608 w 10785"/>
                <a:gd name="connsiteY1947" fmla="*/ 3444 h 10000"/>
                <a:gd name="connsiteX1948" fmla="*/ 2594 w 10785"/>
                <a:gd name="connsiteY1948" fmla="*/ 3444 h 10000"/>
                <a:gd name="connsiteX1949" fmla="*/ 2590 w 10785"/>
                <a:gd name="connsiteY1949" fmla="*/ 3427 h 10000"/>
                <a:gd name="connsiteX1950" fmla="*/ 2581 w 10785"/>
                <a:gd name="connsiteY1950" fmla="*/ 3564 h 10000"/>
                <a:gd name="connsiteX1951" fmla="*/ 2594 w 10785"/>
                <a:gd name="connsiteY1951" fmla="*/ 3598 h 10000"/>
                <a:gd name="connsiteX1952" fmla="*/ 2594 w 10785"/>
                <a:gd name="connsiteY1952" fmla="*/ 3581 h 10000"/>
                <a:gd name="connsiteX1953" fmla="*/ 2608 w 10785"/>
                <a:gd name="connsiteY1953" fmla="*/ 3556 h 10000"/>
                <a:gd name="connsiteX1954" fmla="*/ 2650 w 10785"/>
                <a:gd name="connsiteY1954" fmla="*/ 3615 h 10000"/>
                <a:gd name="connsiteX1955" fmla="*/ 2664 w 10785"/>
                <a:gd name="connsiteY1955" fmla="*/ 3615 h 10000"/>
                <a:gd name="connsiteX1956" fmla="*/ 2668 w 10785"/>
                <a:gd name="connsiteY1956" fmla="*/ 3615 h 10000"/>
                <a:gd name="connsiteX1957" fmla="*/ 2664 w 10785"/>
                <a:gd name="connsiteY1957" fmla="*/ 3667 h 10000"/>
                <a:gd name="connsiteX1958" fmla="*/ 2687 w 10785"/>
                <a:gd name="connsiteY1958" fmla="*/ 3786 h 10000"/>
                <a:gd name="connsiteX1959" fmla="*/ 2710 w 10785"/>
                <a:gd name="connsiteY1959" fmla="*/ 3812 h 10000"/>
                <a:gd name="connsiteX1960" fmla="*/ 2724 w 10785"/>
                <a:gd name="connsiteY1960" fmla="*/ 3812 h 10000"/>
                <a:gd name="connsiteX1961" fmla="*/ 2724 w 10785"/>
                <a:gd name="connsiteY1961" fmla="*/ 3829 h 10000"/>
                <a:gd name="connsiteX1962" fmla="*/ 2737 w 10785"/>
                <a:gd name="connsiteY1962" fmla="*/ 3838 h 10000"/>
                <a:gd name="connsiteX1963" fmla="*/ 2714 w 10785"/>
                <a:gd name="connsiteY1963" fmla="*/ 3872 h 10000"/>
                <a:gd name="connsiteX1964" fmla="*/ 2696 w 10785"/>
                <a:gd name="connsiteY1964" fmla="*/ 4026 h 10000"/>
                <a:gd name="connsiteX1965" fmla="*/ 2673 w 10785"/>
                <a:gd name="connsiteY1965" fmla="*/ 4051 h 10000"/>
                <a:gd name="connsiteX1966" fmla="*/ 2668 w 10785"/>
                <a:gd name="connsiteY1966" fmla="*/ 4034 h 10000"/>
                <a:gd name="connsiteX1967" fmla="*/ 2673 w 10785"/>
                <a:gd name="connsiteY1967" fmla="*/ 4000 h 10000"/>
                <a:gd name="connsiteX1968" fmla="*/ 2664 w 10785"/>
                <a:gd name="connsiteY1968" fmla="*/ 3974 h 10000"/>
                <a:gd name="connsiteX1969" fmla="*/ 2636 w 10785"/>
                <a:gd name="connsiteY1969" fmla="*/ 3949 h 10000"/>
                <a:gd name="connsiteX1970" fmla="*/ 2581 w 10785"/>
                <a:gd name="connsiteY1970" fmla="*/ 3838 h 10000"/>
                <a:gd name="connsiteX1971" fmla="*/ 2562 w 10785"/>
                <a:gd name="connsiteY1971" fmla="*/ 3829 h 10000"/>
                <a:gd name="connsiteX1972" fmla="*/ 2535 w 10785"/>
                <a:gd name="connsiteY1972" fmla="*/ 3778 h 10000"/>
                <a:gd name="connsiteX1973" fmla="*/ 2502 w 10785"/>
                <a:gd name="connsiteY1973" fmla="*/ 3761 h 10000"/>
                <a:gd name="connsiteX1974" fmla="*/ 2502 w 10785"/>
                <a:gd name="connsiteY1974" fmla="*/ 3735 h 10000"/>
                <a:gd name="connsiteX1975" fmla="*/ 2516 w 10785"/>
                <a:gd name="connsiteY1975" fmla="*/ 3735 h 10000"/>
                <a:gd name="connsiteX1976" fmla="*/ 2507 w 10785"/>
                <a:gd name="connsiteY1976" fmla="*/ 3726 h 10000"/>
                <a:gd name="connsiteX1977" fmla="*/ 2488 w 10785"/>
                <a:gd name="connsiteY1977" fmla="*/ 3726 h 10000"/>
                <a:gd name="connsiteX1978" fmla="*/ 2461 w 10785"/>
                <a:gd name="connsiteY1978" fmla="*/ 3692 h 10000"/>
                <a:gd name="connsiteX1979" fmla="*/ 2442 w 10785"/>
                <a:gd name="connsiteY1979" fmla="*/ 3675 h 10000"/>
                <a:gd name="connsiteX1980" fmla="*/ 2406 w 10785"/>
                <a:gd name="connsiteY1980" fmla="*/ 3598 h 10000"/>
                <a:gd name="connsiteX1981" fmla="*/ 2346 w 10785"/>
                <a:gd name="connsiteY1981" fmla="*/ 3564 h 10000"/>
                <a:gd name="connsiteX1982" fmla="*/ 2341 w 10785"/>
                <a:gd name="connsiteY1982" fmla="*/ 3564 h 10000"/>
                <a:gd name="connsiteX1983" fmla="*/ 2313 w 10785"/>
                <a:gd name="connsiteY1983" fmla="*/ 3530 h 10000"/>
                <a:gd name="connsiteX1984" fmla="*/ 2235 w 10785"/>
                <a:gd name="connsiteY1984" fmla="*/ 3530 h 10000"/>
                <a:gd name="connsiteX1985" fmla="*/ 2226 w 10785"/>
                <a:gd name="connsiteY1985" fmla="*/ 3513 h 10000"/>
                <a:gd name="connsiteX1986" fmla="*/ 2207 w 10785"/>
                <a:gd name="connsiteY1986" fmla="*/ 3504 h 10000"/>
                <a:gd name="connsiteX1987" fmla="*/ 2194 w 10785"/>
                <a:gd name="connsiteY1987" fmla="*/ 3504 h 10000"/>
                <a:gd name="connsiteX1988" fmla="*/ 2189 w 10785"/>
                <a:gd name="connsiteY1988" fmla="*/ 3504 h 10000"/>
                <a:gd name="connsiteX1989" fmla="*/ 2189 w 10785"/>
                <a:gd name="connsiteY1989" fmla="*/ 3530 h 10000"/>
                <a:gd name="connsiteX1990" fmla="*/ 2180 w 10785"/>
                <a:gd name="connsiteY1990" fmla="*/ 3538 h 10000"/>
                <a:gd name="connsiteX1991" fmla="*/ 2152 w 10785"/>
                <a:gd name="connsiteY1991" fmla="*/ 3581 h 10000"/>
                <a:gd name="connsiteX1992" fmla="*/ 2161 w 10785"/>
                <a:gd name="connsiteY1992" fmla="*/ 3598 h 10000"/>
                <a:gd name="connsiteX1993" fmla="*/ 2194 w 10785"/>
                <a:gd name="connsiteY1993" fmla="*/ 3752 h 10000"/>
                <a:gd name="connsiteX1994" fmla="*/ 2194 w 10785"/>
                <a:gd name="connsiteY1994" fmla="*/ 3735 h 10000"/>
                <a:gd name="connsiteX1995" fmla="*/ 2198 w 10785"/>
                <a:gd name="connsiteY1995" fmla="*/ 3735 h 10000"/>
                <a:gd name="connsiteX1996" fmla="*/ 2189 w 10785"/>
                <a:gd name="connsiteY1996" fmla="*/ 3838 h 10000"/>
                <a:gd name="connsiteX1997" fmla="*/ 2166 w 10785"/>
                <a:gd name="connsiteY1997" fmla="*/ 3889 h 10000"/>
                <a:gd name="connsiteX1998" fmla="*/ 2124 w 10785"/>
                <a:gd name="connsiteY1998" fmla="*/ 3889 h 10000"/>
                <a:gd name="connsiteX1999" fmla="*/ 2124 w 10785"/>
                <a:gd name="connsiteY1999" fmla="*/ 3923 h 10000"/>
                <a:gd name="connsiteX2000" fmla="*/ 2134 w 10785"/>
                <a:gd name="connsiteY2000" fmla="*/ 3940 h 10000"/>
                <a:gd name="connsiteX2001" fmla="*/ 2134 w 10785"/>
                <a:gd name="connsiteY2001" fmla="*/ 3966 h 10000"/>
                <a:gd name="connsiteX2002" fmla="*/ 2120 w 10785"/>
                <a:gd name="connsiteY2002" fmla="*/ 4000 h 10000"/>
                <a:gd name="connsiteX2003" fmla="*/ 2106 w 10785"/>
                <a:gd name="connsiteY2003" fmla="*/ 4009 h 10000"/>
                <a:gd name="connsiteX2004" fmla="*/ 2088 w 10785"/>
                <a:gd name="connsiteY2004" fmla="*/ 4000 h 10000"/>
                <a:gd name="connsiteX2005" fmla="*/ 2074 w 10785"/>
                <a:gd name="connsiteY2005" fmla="*/ 3974 h 10000"/>
                <a:gd name="connsiteX2006" fmla="*/ 2074 w 10785"/>
                <a:gd name="connsiteY2006" fmla="*/ 3940 h 10000"/>
                <a:gd name="connsiteX2007" fmla="*/ 2078 w 10785"/>
                <a:gd name="connsiteY2007" fmla="*/ 3915 h 10000"/>
                <a:gd name="connsiteX2008" fmla="*/ 2088 w 10785"/>
                <a:gd name="connsiteY2008" fmla="*/ 3889 h 10000"/>
                <a:gd name="connsiteX2009" fmla="*/ 2101 w 10785"/>
                <a:gd name="connsiteY2009" fmla="*/ 3872 h 10000"/>
                <a:gd name="connsiteX2010" fmla="*/ 2074 w 10785"/>
                <a:gd name="connsiteY2010" fmla="*/ 3812 h 10000"/>
                <a:gd name="connsiteX2011" fmla="*/ 2074 w 10785"/>
                <a:gd name="connsiteY2011" fmla="*/ 3786 h 10000"/>
                <a:gd name="connsiteX2012" fmla="*/ 2060 w 10785"/>
                <a:gd name="connsiteY2012" fmla="*/ 3786 h 10000"/>
                <a:gd name="connsiteX2013" fmla="*/ 2014 w 10785"/>
                <a:gd name="connsiteY2013" fmla="*/ 3829 h 10000"/>
                <a:gd name="connsiteX2014" fmla="*/ 2000 w 10785"/>
                <a:gd name="connsiteY2014" fmla="*/ 3863 h 10000"/>
                <a:gd name="connsiteX2015" fmla="*/ 1986 w 10785"/>
                <a:gd name="connsiteY2015" fmla="*/ 3872 h 10000"/>
                <a:gd name="connsiteX2016" fmla="*/ 1959 w 10785"/>
                <a:gd name="connsiteY2016" fmla="*/ 3940 h 10000"/>
                <a:gd name="connsiteX2017" fmla="*/ 1945 w 10785"/>
                <a:gd name="connsiteY2017" fmla="*/ 3949 h 10000"/>
                <a:gd name="connsiteX2018" fmla="*/ 1940 w 10785"/>
                <a:gd name="connsiteY2018" fmla="*/ 3923 h 10000"/>
                <a:gd name="connsiteX2019" fmla="*/ 1917 w 10785"/>
                <a:gd name="connsiteY2019" fmla="*/ 3915 h 10000"/>
                <a:gd name="connsiteX2020" fmla="*/ 1899 w 10785"/>
                <a:gd name="connsiteY2020" fmla="*/ 3923 h 10000"/>
                <a:gd name="connsiteX2021" fmla="*/ 1880 w 10785"/>
                <a:gd name="connsiteY2021" fmla="*/ 3915 h 10000"/>
                <a:gd name="connsiteX2022" fmla="*/ 1853 w 10785"/>
                <a:gd name="connsiteY2022" fmla="*/ 3940 h 10000"/>
                <a:gd name="connsiteX2023" fmla="*/ 1839 w 10785"/>
                <a:gd name="connsiteY2023" fmla="*/ 3940 h 10000"/>
                <a:gd name="connsiteX2024" fmla="*/ 1806 w 10785"/>
                <a:gd name="connsiteY2024" fmla="*/ 3983 h 10000"/>
                <a:gd name="connsiteX2025" fmla="*/ 1806 w 10785"/>
                <a:gd name="connsiteY2025" fmla="*/ 4000 h 10000"/>
                <a:gd name="connsiteX2026" fmla="*/ 1797 w 10785"/>
                <a:gd name="connsiteY2026" fmla="*/ 4077 h 10000"/>
                <a:gd name="connsiteX2027" fmla="*/ 1783 w 10785"/>
                <a:gd name="connsiteY2027" fmla="*/ 4077 h 10000"/>
                <a:gd name="connsiteX2028" fmla="*/ 1779 w 10785"/>
                <a:gd name="connsiteY2028" fmla="*/ 4051 h 10000"/>
                <a:gd name="connsiteX2029" fmla="*/ 1765 w 10785"/>
                <a:gd name="connsiteY2029" fmla="*/ 4026 h 10000"/>
                <a:gd name="connsiteX2030" fmla="*/ 1751 w 10785"/>
                <a:gd name="connsiteY2030" fmla="*/ 4051 h 10000"/>
                <a:gd name="connsiteX2031" fmla="*/ 1737 w 10785"/>
                <a:gd name="connsiteY2031" fmla="*/ 4009 h 10000"/>
                <a:gd name="connsiteX2032" fmla="*/ 1737 w 10785"/>
                <a:gd name="connsiteY2032" fmla="*/ 3966 h 10000"/>
                <a:gd name="connsiteX2033" fmla="*/ 1733 w 10785"/>
                <a:gd name="connsiteY2033" fmla="*/ 3940 h 10000"/>
                <a:gd name="connsiteX2034" fmla="*/ 1733 w 10785"/>
                <a:gd name="connsiteY2034" fmla="*/ 3923 h 10000"/>
                <a:gd name="connsiteX2035" fmla="*/ 1747 w 10785"/>
                <a:gd name="connsiteY2035" fmla="*/ 3889 h 10000"/>
                <a:gd name="connsiteX2036" fmla="*/ 1747 w 10785"/>
                <a:gd name="connsiteY2036" fmla="*/ 3863 h 10000"/>
                <a:gd name="connsiteX2037" fmla="*/ 1737 w 10785"/>
                <a:gd name="connsiteY2037" fmla="*/ 3838 h 10000"/>
                <a:gd name="connsiteX2038" fmla="*/ 1733 w 10785"/>
                <a:gd name="connsiteY2038" fmla="*/ 3829 h 10000"/>
                <a:gd name="connsiteX2039" fmla="*/ 1733 w 10785"/>
                <a:gd name="connsiteY2039" fmla="*/ 3846 h 10000"/>
                <a:gd name="connsiteX2040" fmla="*/ 1724 w 10785"/>
                <a:gd name="connsiteY2040" fmla="*/ 3846 h 10000"/>
                <a:gd name="connsiteX2041" fmla="*/ 1724 w 10785"/>
                <a:gd name="connsiteY2041" fmla="*/ 3829 h 10000"/>
                <a:gd name="connsiteX2042" fmla="*/ 1737 w 10785"/>
                <a:gd name="connsiteY2042" fmla="*/ 3812 h 10000"/>
                <a:gd name="connsiteX2043" fmla="*/ 1765 w 10785"/>
                <a:gd name="connsiteY2043" fmla="*/ 3812 h 10000"/>
                <a:gd name="connsiteX2044" fmla="*/ 1779 w 10785"/>
                <a:gd name="connsiteY2044" fmla="*/ 3786 h 10000"/>
                <a:gd name="connsiteX2045" fmla="*/ 1779 w 10785"/>
                <a:gd name="connsiteY2045" fmla="*/ 3786 h 10000"/>
                <a:gd name="connsiteX2046" fmla="*/ 1751 w 10785"/>
                <a:gd name="connsiteY2046" fmla="*/ 3803 h 10000"/>
                <a:gd name="connsiteX2047" fmla="*/ 1747 w 10785"/>
                <a:gd name="connsiteY2047" fmla="*/ 3803 h 10000"/>
                <a:gd name="connsiteX2048" fmla="*/ 1724 w 10785"/>
                <a:gd name="connsiteY2048" fmla="*/ 3803 h 10000"/>
                <a:gd name="connsiteX2049" fmla="*/ 1700 w 10785"/>
                <a:gd name="connsiteY2049" fmla="*/ 3829 h 10000"/>
                <a:gd name="connsiteX2050" fmla="*/ 1705 w 10785"/>
                <a:gd name="connsiteY2050" fmla="*/ 3846 h 10000"/>
                <a:gd name="connsiteX2051" fmla="*/ 1691 w 10785"/>
                <a:gd name="connsiteY2051" fmla="*/ 3846 h 10000"/>
                <a:gd name="connsiteX2052" fmla="*/ 1691 w 10785"/>
                <a:gd name="connsiteY2052" fmla="*/ 3863 h 10000"/>
                <a:gd name="connsiteX2053" fmla="*/ 1691 w 10785"/>
                <a:gd name="connsiteY2053" fmla="*/ 3915 h 10000"/>
                <a:gd name="connsiteX2054" fmla="*/ 1677 w 10785"/>
                <a:gd name="connsiteY2054" fmla="*/ 3923 h 10000"/>
                <a:gd name="connsiteX2055" fmla="*/ 1673 w 10785"/>
                <a:gd name="connsiteY2055" fmla="*/ 3915 h 10000"/>
                <a:gd name="connsiteX2056" fmla="*/ 1664 w 10785"/>
                <a:gd name="connsiteY2056" fmla="*/ 3889 h 10000"/>
                <a:gd name="connsiteX2057" fmla="*/ 1673 w 10785"/>
                <a:gd name="connsiteY2057" fmla="*/ 3872 h 10000"/>
                <a:gd name="connsiteX2058" fmla="*/ 1664 w 10785"/>
                <a:gd name="connsiteY2058" fmla="*/ 3872 h 10000"/>
                <a:gd name="connsiteX2059" fmla="*/ 1636 w 10785"/>
                <a:gd name="connsiteY2059" fmla="*/ 3923 h 10000"/>
                <a:gd name="connsiteX2060" fmla="*/ 1645 w 10785"/>
                <a:gd name="connsiteY2060" fmla="*/ 3923 h 10000"/>
                <a:gd name="connsiteX2061" fmla="*/ 1650 w 10785"/>
                <a:gd name="connsiteY2061" fmla="*/ 3949 h 10000"/>
                <a:gd name="connsiteX2062" fmla="*/ 1650 w 10785"/>
                <a:gd name="connsiteY2062" fmla="*/ 3983 h 10000"/>
                <a:gd name="connsiteX2063" fmla="*/ 1636 w 10785"/>
                <a:gd name="connsiteY2063" fmla="*/ 4000 h 10000"/>
                <a:gd name="connsiteX2064" fmla="*/ 1631 w 10785"/>
                <a:gd name="connsiteY2064" fmla="*/ 4009 h 10000"/>
                <a:gd name="connsiteX2065" fmla="*/ 1618 w 10785"/>
                <a:gd name="connsiteY2065" fmla="*/ 3949 h 10000"/>
                <a:gd name="connsiteX2066" fmla="*/ 1585 w 10785"/>
                <a:gd name="connsiteY2066" fmla="*/ 3966 h 10000"/>
                <a:gd name="connsiteX2067" fmla="*/ 1590 w 10785"/>
                <a:gd name="connsiteY2067" fmla="*/ 3974 h 10000"/>
                <a:gd name="connsiteX2068" fmla="*/ 1544 w 10785"/>
                <a:gd name="connsiteY2068" fmla="*/ 4009 h 10000"/>
                <a:gd name="connsiteX2069" fmla="*/ 1539 w 10785"/>
                <a:gd name="connsiteY2069" fmla="*/ 4009 h 10000"/>
                <a:gd name="connsiteX2070" fmla="*/ 1410 w 10785"/>
                <a:gd name="connsiteY2070" fmla="*/ 4188 h 10000"/>
                <a:gd name="connsiteX2071" fmla="*/ 1406 w 10785"/>
                <a:gd name="connsiteY2071" fmla="*/ 4171 h 10000"/>
                <a:gd name="connsiteX2072" fmla="*/ 1396 w 10785"/>
                <a:gd name="connsiteY2072" fmla="*/ 4214 h 10000"/>
                <a:gd name="connsiteX2073" fmla="*/ 1406 w 10785"/>
                <a:gd name="connsiteY2073" fmla="*/ 4222 h 10000"/>
                <a:gd name="connsiteX2074" fmla="*/ 1392 w 10785"/>
                <a:gd name="connsiteY2074" fmla="*/ 4239 h 10000"/>
                <a:gd name="connsiteX2075" fmla="*/ 1369 w 10785"/>
                <a:gd name="connsiteY2075" fmla="*/ 4248 h 10000"/>
                <a:gd name="connsiteX2076" fmla="*/ 1355 w 10785"/>
                <a:gd name="connsiteY2076" fmla="*/ 4256 h 10000"/>
                <a:gd name="connsiteX2077" fmla="*/ 1350 w 10785"/>
                <a:gd name="connsiteY2077" fmla="*/ 4248 h 10000"/>
                <a:gd name="connsiteX2078" fmla="*/ 1332 w 10785"/>
                <a:gd name="connsiteY2078" fmla="*/ 4376 h 10000"/>
                <a:gd name="connsiteX2079" fmla="*/ 1332 w 10785"/>
                <a:gd name="connsiteY2079" fmla="*/ 4436 h 10000"/>
                <a:gd name="connsiteX2080" fmla="*/ 1323 w 10785"/>
                <a:gd name="connsiteY2080" fmla="*/ 4462 h 10000"/>
                <a:gd name="connsiteX2081" fmla="*/ 1304 w 10785"/>
                <a:gd name="connsiteY2081" fmla="*/ 4487 h 10000"/>
                <a:gd name="connsiteX2082" fmla="*/ 1290 w 10785"/>
                <a:gd name="connsiteY2082" fmla="*/ 4470 h 10000"/>
                <a:gd name="connsiteX2083" fmla="*/ 1263 w 10785"/>
                <a:gd name="connsiteY2083" fmla="*/ 4496 h 10000"/>
                <a:gd name="connsiteX2084" fmla="*/ 1258 w 10785"/>
                <a:gd name="connsiteY2084" fmla="*/ 4547 h 10000"/>
                <a:gd name="connsiteX2085" fmla="*/ 1249 w 10785"/>
                <a:gd name="connsiteY2085" fmla="*/ 4487 h 10000"/>
                <a:gd name="connsiteX2086" fmla="*/ 1235 w 10785"/>
                <a:gd name="connsiteY2086" fmla="*/ 4496 h 10000"/>
                <a:gd name="connsiteX2087" fmla="*/ 1221 w 10785"/>
                <a:gd name="connsiteY2087" fmla="*/ 4496 h 10000"/>
                <a:gd name="connsiteX2088" fmla="*/ 1217 w 10785"/>
                <a:gd name="connsiteY2088" fmla="*/ 4487 h 10000"/>
                <a:gd name="connsiteX2089" fmla="*/ 1198 w 10785"/>
                <a:gd name="connsiteY2089" fmla="*/ 4410 h 10000"/>
                <a:gd name="connsiteX2090" fmla="*/ 1157 w 10785"/>
                <a:gd name="connsiteY2090" fmla="*/ 4333 h 10000"/>
                <a:gd name="connsiteX2091" fmla="*/ 1147 w 10785"/>
                <a:gd name="connsiteY2091" fmla="*/ 4299 h 10000"/>
                <a:gd name="connsiteX2092" fmla="*/ 1147 w 10785"/>
                <a:gd name="connsiteY2092" fmla="*/ 4274 h 10000"/>
                <a:gd name="connsiteX2093" fmla="*/ 1161 w 10785"/>
                <a:gd name="connsiteY2093" fmla="*/ 4256 h 10000"/>
                <a:gd name="connsiteX2094" fmla="*/ 1171 w 10785"/>
                <a:gd name="connsiteY2094" fmla="*/ 4248 h 10000"/>
                <a:gd name="connsiteX2095" fmla="*/ 1175 w 10785"/>
                <a:gd name="connsiteY2095" fmla="*/ 4214 h 10000"/>
                <a:gd name="connsiteX2096" fmla="*/ 1263 w 10785"/>
                <a:gd name="connsiteY2096" fmla="*/ 4171 h 10000"/>
                <a:gd name="connsiteX2097" fmla="*/ 1249 w 10785"/>
                <a:gd name="connsiteY2097" fmla="*/ 4137 h 10000"/>
                <a:gd name="connsiteX2098" fmla="*/ 1244 w 10785"/>
                <a:gd name="connsiteY2098" fmla="*/ 4060 h 10000"/>
                <a:gd name="connsiteX2099" fmla="*/ 1230 w 10785"/>
                <a:gd name="connsiteY2099" fmla="*/ 4077 h 10000"/>
                <a:gd name="connsiteX2100" fmla="*/ 1221 w 10785"/>
                <a:gd name="connsiteY2100" fmla="*/ 4026 h 10000"/>
                <a:gd name="connsiteX2101" fmla="*/ 1217 w 10785"/>
                <a:gd name="connsiteY2101" fmla="*/ 4026 h 10000"/>
                <a:gd name="connsiteX2102" fmla="*/ 1212 w 10785"/>
                <a:gd name="connsiteY2102" fmla="*/ 3983 h 10000"/>
                <a:gd name="connsiteX2103" fmla="*/ 1203 w 10785"/>
                <a:gd name="connsiteY2103" fmla="*/ 3966 h 10000"/>
                <a:gd name="connsiteX2104" fmla="*/ 1171 w 10785"/>
                <a:gd name="connsiteY2104" fmla="*/ 3949 h 10000"/>
                <a:gd name="connsiteX2105" fmla="*/ 1111 w 10785"/>
                <a:gd name="connsiteY2105" fmla="*/ 3940 h 10000"/>
                <a:gd name="connsiteX2106" fmla="*/ 1097 w 10785"/>
                <a:gd name="connsiteY2106" fmla="*/ 3949 h 10000"/>
                <a:gd name="connsiteX2107" fmla="*/ 1037 w 10785"/>
                <a:gd name="connsiteY2107" fmla="*/ 3897 h 10000"/>
                <a:gd name="connsiteX2108" fmla="*/ 1041 w 10785"/>
                <a:gd name="connsiteY2108" fmla="*/ 3923 h 10000"/>
                <a:gd name="connsiteX2109" fmla="*/ 1097 w 10785"/>
                <a:gd name="connsiteY2109" fmla="*/ 4009 h 10000"/>
                <a:gd name="connsiteX2110" fmla="*/ 1097 w 10785"/>
                <a:gd name="connsiteY2110" fmla="*/ 4120 h 10000"/>
                <a:gd name="connsiteX2111" fmla="*/ 1097 w 10785"/>
                <a:gd name="connsiteY2111" fmla="*/ 4162 h 10000"/>
                <a:gd name="connsiteX2112" fmla="*/ 1097 w 10785"/>
                <a:gd name="connsiteY2112" fmla="*/ 4197 h 10000"/>
                <a:gd name="connsiteX2113" fmla="*/ 1074 w 10785"/>
                <a:gd name="connsiteY2113" fmla="*/ 4333 h 10000"/>
                <a:gd name="connsiteX2114" fmla="*/ 1074 w 10785"/>
                <a:gd name="connsiteY2114" fmla="*/ 4376 h 10000"/>
                <a:gd name="connsiteX2115" fmla="*/ 1083 w 10785"/>
                <a:gd name="connsiteY2115" fmla="*/ 4385 h 10000"/>
                <a:gd name="connsiteX2116" fmla="*/ 1097 w 10785"/>
                <a:gd name="connsiteY2116" fmla="*/ 4385 h 10000"/>
                <a:gd name="connsiteX2117" fmla="*/ 1111 w 10785"/>
                <a:gd name="connsiteY2117" fmla="*/ 4410 h 10000"/>
                <a:gd name="connsiteX2118" fmla="*/ 1124 w 10785"/>
                <a:gd name="connsiteY2118" fmla="*/ 4444 h 10000"/>
                <a:gd name="connsiteX2119" fmla="*/ 1124 w 10785"/>
                <a:gd name="connsiteY2119" fmla="*/ 4470 h 10000"/>
                <a:gd name="connsiteX2120" fmla="*/ 1115 w 10785"/>
                <a:gd name="connsiteY2120" fmla="*/ 4513 h 10000"/>
                <a:gd name="connsiteX2121" fmla="*/ 1115 w 10785"/>
                <a:gd name="connsiteY2121" fmla="*/ 4530 h 10000"/>
                <a:gd name="connsiteX2122" fmla="*/ 1115 w 10785"/>
                <a:gd name="connsiteY2122" fmla="*/ 4573 h 10000"/>
                <a:gd name="connsiteX2123" fmla="*/ 1101 w 10785"/>
                <a:gd name="connsiteY2123" fmla="*/ 4607 h 10000"/>
                <a:gd name="connsiteX2124" fmla="*/ 1097 w 10785"/>
                <a:gd name="connsiteY2124" fmla="*/ 4658 h 10000"/>
                <a:gd name="connsiteX2125" fmla="*/ 1101 w 10785"/>
                <a:gd name="connsiteY2125" fmla="*/ 4692 h 10000"/>
                <a:gd name="connsiteX2126" fmla="*/ 1097 w 10785"/>
                <a:gd name="connsiteY2126" fmla="*/ 4778 h 10000"/>
                <a:gd name="connsiteX2127" fmla="*/ 1083 w 10785"/>
                <a:gd name="connsiteY2127" fmla="*/ 4744 h 10000"/>
                <a:gd name="connsiteX2128" fmla="*/ 1083 w 10785"/>
                <a:gd name="connsiteY2128" fmla="*/ 4718 h 10000"/>
                <a:gd name="connsiteX2129" fmla="*/ 1074 w 10785"/>
                <a:gd name="connsiteY2129" fmla="*/ 4692 h 10000"/>
                <a:gd name="connsiteX2130" fmla="*/ 1065 w 10785"/>
                <a:gd name="connsiteY2130" fmla="*/ 4692 h 10000"/>
                <a:gd name="connsiteX2131" fmla="*/ 1051 w 10785"/>
                <a:gd name="connsiteY2131" fmla="*/ 4718 h 10000"/>
                <a:gd name="connsiteX2132" fmla="*/ 1055 w 10785"/>
                <a:gd name="connsiteY2132" fmla="*/ 4692 h 10000"/>
                <a:gd name="connsiteX2133" fmla="*/ 1055 w 10785"/>
                <a:gd name="connsiteY2133" fmla="*/ 4667 h 10000"/>
                <a:gd name="connsiteX2134" fmla="*/ 1028 w 10785"/>
                <a:gd name="connsiteY2134" fmla="*/ 4624 h 10000"/>
                <a:gd name="connsiteX2135" fmla="*/ 1005 w 10785"/>
                <a:gd name="connsiteY2135" fmla="*/ 4624 h 10000"/>
                <a:gd name="connsiteX2136" fmla="*/ 977 w 10785"/>
                <a:gd name="connsiteY2136" fmla="*/ 4581 h 10000"/>
                <a:gd name="connsiteX2137" fmla="*/ 963 w 10785"/>
                <a:gd name="connsiteY2137" fmla="*/ 4607 h 10000"/>
                <a:gd name="connsiteX2138" fmla="*/ 963 w 10785"/>
                <a:gd name="connsiteY2138" fmla="*/ 4632 h 10000"/>
                <a:gd name="connsiteX2139" fmla="*/ 917 w 10785"/>
                <a:gd name="connsiteY2139" fmla="*/ 4718 h 10000"/>
                <a:gd name="connsiteX2140" fmla="*/ 889 w 10785"/>
                <a:gd name="connsiteY2140" fmla="*/ 4744 h 10000"/>
                <a:gd name="connsiteX2141" fmla="*/ 880 w 10785"/>
                <a:gd name="connsiteY2141" fmla="*/ 4744 h 10000"/>
                <a:gd name="connsiteX2142" fmla="*/ 862 w 10785"/>
                <a:gd name="connsiteY2142" fmla="*/ 4769 h 10000"/>
                <a:gd name="connsiteX2143" fmla="*/ 857 w 10785"/>
                <a:gd name="connsiteY2143" fmla="*/ 4795 h 10000"/>
                <a:gd name="connsiteX2144" fmla="*/ 829 w 10785"/>
                <a:gd name="connsiteY2144" fmla="*/ 4846 h 10000"/>
                <a:gd name="connsiteX2145" fmla="*/ 816 w 10785"/>
                <a:gd name="connsiteY2145" fmla="*/ 4855 h 10000"/>
                <a:gd name="connsiteX2146" fmla="*/ 816 w 10785"/>
                <a:gd name="connsiteY2146" fmla="*/ 4940 h 10000"/>
                <a:gd name="connsiteX2147" fmla="*/ 880 w 10785"/>
                <a:gd name="connsiteY2147" fmla="*/ 5179 h 10000"/>
                <a:gd name="connsiteX2148" fmla="*/ 880 w 10785"/>
                <a:gd name="connsiteY2148" fmla="*/ 5188 h 10000"/>
                <a:gd name="connsiteX2149" fmla="*/ 862 w 10785"/>
                <a:gd name="connsiteY2149" fmla="*/ 5171 h 10000"/>
                <a:gd name="connsiteX2150" fmla="*/ 857 w 10785"/>
                <a:gd name="connsiteY2150" fmla="*/ 5171 h 10000"/>
                <a:gd name="connsiteX2151" fmla="*/ 820 w 10785"/>
                <a:gd name="connsiteY2151" fmla="*/ 5145 h 10000"/>
                <a:gd name="connsiteX2152" fmla="*/ 820 w 10785"/>
                <a:gd name="connsiteY2152" fmla="*/ 5154 h 10000"/>
                <a:gd name="connsiteX2153" fmla="*/ 816 w 10785"/>
                <a:gd name="connsiteY2153" fmla="*/ 5171 h 10000"/>
                <a:gd name="connsiteX2154" fmla="*/ 783 w 10785"/>
                <a:gd name="connsiteY2154" fmla="*/ 5145 h 10000"/>
                <a:gd name="connsiteX2155" fmla="*/ 756 w 10785"/>
                <a:gd name="connsiteY2155" fmla="*/ 5103 h 10000"/>
                <a:gd name="connsiteX2156" fmla="*/ 742 w 10785"/>
                <a:gd name="connsiteY2156" fmla="*/ 5103 h 10000"/>
                <a:gd name="connsiteX2157" fmla="*/ 728 w 10785"/>
                <a:gd name="connsiteY2157" fmla="*/ 5094 h 10000"/>
                <a:gd name="connsiteX2158" fmla="*/ 710 w 10785"/>
                <a:gd name="connsiteY2158" fmla="*/ 5120 h 10000"/>
                <a:gd name="connsiteX2159" fmla="*/ 700 w 10785"/>
                <a:gd name="connsiteY2159" fmla="*/ 5145 h 10000"/>
                <a:gd name="connsiteX2160" fmla="*/ 696 w 10785"/>
                <a:gd name="connsiteY2160" fmla="*/ 5103 h 10000"/>
                <a:gd name="connsiteX2161" fmla="*/ 714 w 10785"/>
                <a:gd name="connsiteY2161" fmla="*/ 5077 h 10000"/>
                <a:gd name="connsiteX2162" fmla="*/ 682 w 10785"/>
                <a:gd name="connsiteY2162" fmla="*/ 5068 h 10000"/>
                <a:gd name="connsiteX2163" fmla="*/ 673 w 10785"/>
                <a:gd name="connsiteY2163" fmla="*/ 5034 h 10000"/>
                <a:gd name="connsiteX2164" fmla="*/ 636 w 10785"/>
                <a:gd name="connsiteY2164" fmla="*/ 4991 h 10000"/>
                <a:gd name="connsiteX2165" fmla="*/ 622 w 10785"/>
                <a:gd name="connsiteY2165" fmla="*/ 4983 h 10000"/>
                <a:gd name="connsiteX2166" fmla="*/ 622 w 10785"/>
                <a:gd name="connsiteY2166" fmla="*/ 5034 h 10000"/>
                <a:gd name="connsiteX2167" fmla="*/ 608 w 10785"/>
                <a:gd name="connsiteY2167" fmla="*/ 5051 h 10000"/>
                <a:gd name="connsiteX2168" fmla="*/ 594 w 10785"/>
                <a:gd name="connsiteY2168" fmla="*/ 5068 h 10000"/>
                <a:gd name="connsiteX2169" fmla="*/ 608 w 10785"/>
                <a:gd name="connsiteY2169" fmla="*/ 5120 h 10000"/>
                <a:gd name="connsiteX2170" fmla="*/ 613 w 10785"/>
                <a:gd name="connsiteY2170" fmla="*/ 5128 h 10000"/>
                <a:gd name="connsiteX2171" fmla="*/ 627 w 10785"/>
                <a:gd name="connsiteY2171" fmla="*/ 5179 h 10000"/>
                <a:gd name="connsiteX2172" fmla="*/ 650 w 10785"/>
                <a:gd name="connsiteY2172" fmla="*/ 5214 h 10000"/>
                <a:gd name="connsiteX2173" fmla="*/ 687 w 10785"/>
                <a:gd name="connsiteY2173" fmla="*/ 5188 h 10000"/>
                <a:gd name="connsiteX2174" fmla="*/ 700 w 10785"/>
                <a:gd name="connsiteY2174" fmla="*/ 5325 h 10000"/>
                <a:gd name="connsiteX2175" fmla="*/ 710 w 10785"/>
                <a:gd name="connsiteY2175" fmla="*/ 5350 h 10000"/>
                <a:gd name="connsiteX2176" fmla="*/ 687 w 10785"/>
                <a:gd name="connsiteY2176" fmla="*/ 5325 h 10000"/>
                <a:gd name="connsiteX2177" fmla="*/ 668 w 10785"/>
                <a:gd name="connsiteY2177" fmla="*/ 5350 h 10000"/>
                <a:gd name="connsiteX2178" fmla="*/ 668 w 10785"/>
                <a:gd name="connsiteY2178" fmla="*/ 5368 h 10000"/>
                <a:gd name="connsiteX2179" fmla="*/ 668 w 10785"/>
                <a:gd name="connsiteY2179" fmla="*/ 5376 h 10000"/>
                <a:gd name="connsiteX2180" fmla="*/ 581 w 10785"/>
                <a:gd name="connsiteY2180" fmla="*/ 5316 h 10000"/>
                <a:gd name="connsiteX2181" fmla="*/ 567 w 10785"/>
                <a:gd name="connsiteY2181" fmla="*/ 5265 h 10000"/>
                <a:gd name="connsiteX2182" fmla="*/ 562 w 10785"/>
                <a:gd name="connsiteY2182" fmla="*/ 5256 h 10000"/>
                <a:gd name="connsiteX2183" fmla="*/ 548 w 10785"/>
                <a:gd name="connsiteY2183" fmla="*/ 5231 h 10000"/>
                <a:gd name="connsiteX2184" fmla="*/ 535 w 10785"/>
                <a:gd name="connsiteY2184" fmla="*/ 5214 h 10000"/>
                <a:gd name="connsiteX2185" fmla="*/ 525 w 10785"/>
                <a:gd name="connsiteY2185" fmla="*/ 5231 h 10000"/>
                <a:gd name="connsiteX2186" fmla="*/ 521 w 10785"/>
                <a:gd name="connsiteY2186" fmla="*/ 5231 h 10000"/>
                <a:gd name="connsiteX2187" fmla="*/ 493 w 10785"/>
                <a:gd name="connsiteY2187" fmla="*/ 5205 h 10000"/>
                <a:gd name="connsiteX2188" fmla="*/ 488 w 10785"/>
                <a:gd name="connsiteY2188" fmla="*/ 5179 h 10000"/>
                <a:gd name="connsiteX2189" fmla="*/ 475 w 10785"/>
                <a:gd name="connsiteY2189" fmla="*/ 5188 h 10000"/>
                <a:gd name="connsiteX2190" fmla="*/ 475 w 10785"/>
                <a:gd name="connsiteY2190" fmla="*/ 5171 h 10000"/>
                <a:gd name="connsiteX2191" fmla="*/ 488 w 10785"/>
                <a:gd name="connsiteY2191" fmla="*/ 5154 h 10000"/>
                <a:gd name="connsiteX2192" fmla="*/ 488 w 10785"/>
                <a:gd name="connsiteY2192" fmla="*/ 5068 h 10000"/>
                <a:gd name="connsiteX2193" fmla="*/ 475 w 10785"/>
                <a:gd name="connsiteY2193" fmla="*/ 5051 h 10000"/>
                <a:gd name="connsiteX2194" fmla="*/ 475 w 10785"/>
                <a:gd name="connsiteY2194" fmla="*/ 5017 h 10000"/>
                <a:gd name="connsiteX2195" fmla="*/ 452 w 10785"/>
                <a:gd name="connsiteY2195" fmla="*/ 4932 h 10000"/>
                <a:gd name="connsiteX2196" fmla="*/ 461 w 10785"/>
                <a:gd name="connsiteY2196" fmla="*/ 4915 h 10000"/>
                <a:gd name="connsiteX2197" fmla="*/ 475 w 10785"/>
                <a:gd name="connsiteY2197" fmla="*/ 4906 h 10000"/>
                <a:gd name="connsiteX2198" fmla="*/ 479 w 10785"/>
                <a:gd name="connsiteY2198" fmla="*/ 4803 h 10000"/>
                <a:gd name="connsiteX2199" fmla="*/ 479 w 10785"/>
                <a:gd name="connsiteY2199" fmla="*/ 4778 h 10000"/>
                <a:gd name="connsiteX2200" fmla="*/ 475 w 10785"/>
                <a:gd name="connsiteY2200" fmla="*/ 4761 h 10000"/>
                <a:gd name="connsiteX2201" fmla="*/ 465 w 10785"/>
                <a:gd name="connsiteY2201" fmla="*/ 4718 h 10000"/>
                <a:gd name="connsiteX2202" fmla="*/ 461 w 10785"/>
                <a:gd name="connsiteY2202" fmla="*/ 4709 h 10000"/>
                <a:gd name="connsiteX2203" fmla="*/ 442 w 10785"/>
                <a:gd name="connsiteY2203" fmla="*/ 4692 h 10000"/>
                <a:gd name="connsiteX2204" fmla="*/ 433 w 10785"/>
                <a:gd name="connsiteY2204" fmla="*/ 4667 h 10000"/>
                <a:gd name="connsiteX2205" fmla="*/ 419 w 10785"/>
                <a:gd name="connsiteY2205" fmla="*/ 4667 h 10000"/>
                <a:gd name="connsiteX2206" fmla="*/ 401 w 10785"/>
                <a:gd name="connsiteY2206" fmla="*/ 4658 h 10000"/>
                <a:gd name="connsiteX2207" fmla="*/ 401 w 10785"/>
                <a:gd name="connsiteY2207" fmla="*/ 4624 h 10000"/>
                <a:gd name="connsiteX2208" fmla="*/ 401 w 10785"/>
                <a:gd name="connsiteY2208" fmla="*/ 4607 h 10000"/>
                <a:gd name="connsiteX2209" fmla="*/ 378 w 10785"/>
                <a:gd name="connsiteY2209" fmla="*/ 4607 h 10000"/>
                <a:gd name="connsiteX2210" fmla="*/ 341 w 10785"/>
                <a:gd name="connsiteY2210" fmla="*/ 4530 h 10000"/>
                <a:gd name="connsiteX2211" fmla="*/ 346 w 10785"/>
                <a:gd name="connsiteY2211" fmla="*/ 4521 h 10000"/>
                <a:gd name="connsiteX2212" fmla="*/ 332 w 10785"/>
                <a:gd name="connsiteY2212" fmla="*/ 4487 h 10000"/>
                <a:gd name="connsiteX2213" fmla="*/ 327 w 10785"/>
                <a:gd name="connsiteY2213" fmla="*/ 4462 h 10000"/>
                <a:gd name="connsiteX2214" fmla="*/ 313 w 10785"/>
                <a:gd name="connsiteY2214" fmla="*/ 4436 h 10000"/>
                <a:gd name="connsiteX2215" fmla="*/ 300 w 10785"/>
                <a:gd name="connsiteY2215" fmla="*/ 4419 h 10000"/>
                <a:gd name="connsiteX2216" fmla="*/ 309 w 10785"/>
                <a:gd name="connsiteY2216" fmla="*/ 4393 h 10000"/>
                <a:gd name="connsiteX2217" fmla="*/ 332 w 10785"/>
                <a:gd name="connsiteY2217" fmla="*/ 4385 h 10000"/>
                <a:gd name="connsiteX2218" fmla="*/ 355 w 10785"/>
                <a:gd name="connsiteY2218" fmla="*/ 4419 h 10000"/>
                <a:gd name="connsiteX2219" fmla="*/ 355 w 10785"/>
                <a:gd name="connsiteY2219" fmla="*/ 4444 h 10000"/>
                <a:gd name="connsiteX2220" fmla="*/ 369 w 10785"/>
                <a:gd name="connsiteY2220" fmla="*/ 4470 h 10000"/>
                <a:gd name="connsiteX2221" fmla="*/ 401 w 10785"/>
                <a:gd name="connsiteY2221" fmla="*/ 4521 h 10000"/>
                <a:gd name="connsiteX2222" fmla="*/ 406 w 10785"/>
                <a:gd name="connsiteY2222" fmla="*/ 4513 h 10000"/>
                <a:gd name="connsiteX2223" fmla="*/ 406 w 10785"/>
                <a:gd name="connsiteY2223" fmla="*/ 4496 h 10000"/>
                <a:gd name="connsiteX2224" fmla="*/ 419 w 10785"/>
                <a:gd name="connsiteY2224" fmla="*/ 4521 h 10000"/>
                <a:gd name="connsiteX2225" fmla="*/ 429 w 10785"/>
                <a:gd name="connsiteY2225" fmla="*/ 4530 h 10000"/>
                <a:gd name="connsiteX2226" fmla="*/ 433 w 10785"/>
                <a:gd name="connsiteY2226" fmla="*/ 4521 h 10000"/>
                <a:gd name="connsiteX2227" fmla="*/ 442 w 10785"/>
                <a:gd name="connsiteY2227" fmla="*/ 4530 h 10000"/>
                <a:gd name="connsiteX2228" fmla="*/ 447 w 10785"/>
                <a:gd name="connsiteY2228" fmla="*/ 4521 h 10000"/>
                <a:gd name="connsiteX2229" fmla="*/ 452 w 10785"/>
                <a:gd name="connsiteY2229" fmla="*/ 4521 h 10000"/>
                <a:gd name="connsiteX2230" fmla="*/ 461 w 10785"/>
                <a:gd name="connsiteY2230" fmla="*/ 4573 h 10000"/>
                <a:gd name="connsiteX2231" fmla="*/ 479 w 10785"/>
                <a:gd name="connsiteY2231" fmla="*/ 4556 h 10000"/>
                <a:gd name="connsiteX2232" fmla="*/ 502 w 10785"/>
                <a:gd name="connsiteY2232" fmla="*/ 4573 h 10000"/>
                <a:gd name="connsiteX2233" fmla="*/ 507 w 10785"/>
                <a:gd name="connsiteY2233" fmla="*/ 4598 h 10000"/>
                <a:gd name="connsiteX2234" fmla="*/ 525 w 10785"/>
                <a:gd name="connsiteY2234" fmla="*/ 4598 h 10000"/>
                <a:gd name="connsiteX2235" fmla="*/ 535 w 10785"/>
                <a:gd name="connsiteY2235" fmla="*/ 4624 h 10000"/>
                <a:gd name="connsiteX2236" fmla="*/ 594 w 10785"/>
                <a:gd name="connsiteY2236" fmla="*/ 4658 h 10000"/>
                <a:gd name="connsiteX2237" fmla="*/ 627 w 10785"/>
                <a:gd name="connsiteY2237" fmla="*/ 4658 h 10000"/>
                <a:gd name="connsiteX2238" fmla="*/ 654 w 10785"/>
                <a:gd name="connsiteY2238" fmla="*/ 4684 h 10000"/>
                <a:gd name="connsiteX2239" fmla="*/ 668 w 10785"/>
                <a:gd name="connsiteY2239" fmla="*/ 4709 h 10000"/>
                <a:gd name="connsiteX2240" fmla="*/ 747 w 10785"/>
                <a:gd name="connsiteY2240" fmla="*/ 4718 h 10000"/>
                <a:gd name="connsiteX2241" fmla="*/ 760 w 10785"/>
                <a:gd name="connsiteY2241" fmla="*/ 4709 h 10000"/>
                <a:gd name="connsiteX2242" fmla="*/ 774 w 10785"/>
                <a:gd name="connsiteY2242" fmla="*/ 4692 h 10000"/>
                <a:gd name="connsiteX2243" fmla="*/ 829 w 10785"/>
                <a:gd name="connsiteY2243" fmla="*/ 4658 h 10000"/>
                <a:gd name="connsiteX2244" fmla="*/ 903 w 10785"/>
                <a:gd name="connsiteY2244" fmla="*/ 4496 h 10000"/>
                <a:gd name="connsiteX2245" fmla="*/ 917 w 10785"/>
                <a:gd name="connsiteY2245" fmla="*/ 4385 h 10000"/>
                <a:gd name="connsiteX2246" fmla="*/ 903 w 10785"/>
                <a:gd name="connsiteY2246" fmla="*/ 4376 h 10000"/>
                <a:gd name="connsiteX2247" fmla="*/ 903 w 10785"/>
                <a:gd name="connsiteY2247" fmla="*/ 4376 h 10000"/>
                <a:gd name="connsiteX2248" fmla="*/ 889 w 10785"/>
                <a:gd name="connsiteY2248" fmla="*/ 4239 h 10000"/>
                <a:gd name="connsiteX2249" fmla="*/ 880 w 10785"/>
                <a:gd name="connsiteY2249" fmla="*/ 4214 h 10000"/>
                <a:gd name="connsiteX2250" fmla="*/ 862 w 10785"/>
                <a:gd name="connsiteY2250" fmla="*/ 4188 h 10000"/>
                <a:gd name="connsiteX2251" fmla="*/ 857 w 10785"/>
                <a:gd name="connsiteY2251" fmla="*/ 4197 h 10000"/>
                <a:gd name="connsiteX2252" fmla="*/ 848 w 10785"/>
                <a:gd name="connsiteY2252" fmla="*/ 4188 h 10000"/>
                <a:gd name="connsiteX2253" fmla="*/ 848 w 10785"/>
                <a:gd name="connsiteY2253" fmla="*/ 4162 h 10000"/>
                <a:gd name="connsiteX2254" fmla="*/ 829 w 10785"/>
                <a:gd name="connsiteY2254" fmla="*/ 4120 h 10000"/>
                <a:gd name="connsiteX2255" fmla="*/ 820 w 10785"/>
                <a:gd name="connsiteY2255" fmla="*/ 4103 h 10000"/>
                <a:gd name="connsiteX2256" fmla="*/ 806 w 10785"/>
                <a:gd name="connsiteY2256" fmla="*/ 4077 h 10000"/>
                <a:gd name="connsiteX2257" fmla="*/ 816 w 10785"/>
                <a:gd name="connsiteY2257" fmla="*/ 4111 h 10000"/>
                <a:gd name="connsiteX2258" fmla="*/ 802 w 10785"/>
                <a:gd name="connsiteY2258" fmla="*/ 4111 h 10000"/>
                <a:gd name="connsiteX2259" fmla="*/ 770 w 10785"/>
                <a:gd name="connsiteY2259" fmla="*/ 4060 h 10000"/>
                <a:gd name="connsiteX2260" fmla="*/ 760 w 10785"/>
                <a:gd name="connsiteY2260" fmla="*/ 4077 h 10000"/>
                <a:gd name="connsiteX2261" fmla="*/ 760 w 10785"/>
                <a:gd name="connsiteY2261" fmla="*/ 4060 h 10000"/>
                <a:gd name="connsiteX2262" fmla="*/ 756 w 10785"/>
                <a:gd name="connsiteY2262" fmla="*/ 4034 h 10000"/>
                <a:gd name="connsiteX2263" fmla="*/ 742 w 10785"/>
                <a:gd name="connsiteY2263" fmla="*/ 4000 h 10000"/>
                <a:gd name="connsiteX2264" fmla="*/ 747 w 10785"/>
                <a:gd name="connsiteY2264" fmla="*/ 4034 h 10000"/>
                <a:gd name="connsiteX2265" fmla="*/ 724 w 10785"/>
                <a:gd name="connsiteY2265" fmla="*/ 4026 h 10000"/>
                <a:gd name="connsiteX2266" fmla="*/ 714 w 10785"/>
                <a:gd name="connsiteY2266" fmla="*/ 4000 h 10000"/>
                <a:gd name="connsiteX2267" fmla="*/ 714 w 10785"/>
                <a:gd name="connsiteY2267" fmla="*/ 3983 h 10000"/>
                <a:gd name="connsiteX2268" fmla="*/ 553 w 10785"/>
                <a:gd name="connsiteY2268" fmla="*/ 3726 h 10000"/>
                <a:gd name="connsiteX2269" fmla="*/ 507 w 10785"/>
                <a:gd name="connsiteY2269" fmla="*/ 3718 h 10000"/>
                <a:gd name="connsiteX2270" fmla="*/ 516 w 10785"/>
                <a:gd name="connsiteY2270" fmla="*/ 3726 h 10000"/>
                <a:gd name="connsiteX2271" fmla="*/ 507 w 10785"/>
                <a:gd name="connsiteY2271" fmla="*/ 3735 h 10000"/>
                <a:gd name="connsiteX2272" fmla="*/ 502 w 10785"/>
                <a:gd name="connsiteY2272" fmla="*/ 3735 h 10000"/>
                <a:gd name="connsiteX2273" fmla="*/ 419 w 10785"/>
                <a:gd name="connsiteY2273" fmla="*/ 3675 h 10000"/>
                <a:gd name="connsiteX2274" fmla="*/ 419 w 10785"/>
                <a:gd name="connsiteY2274" fmla="*/ 3692 h 10000"/>
                <a:gd name="connsiteX2275" fmla="*/ 401 w 10785"/>
                <a:gd name="connsiteY2275" fmla="*/ 3701 h 10000"/>
                <a:gd name="connsiteX2276" fmla="*/ 387 w 10785"/>
                <a:gd name="connsiteY2276" fmla="*/ 3718 h 10000"/>
                <a:gd name="connsiteX2277" fmla="*/ 387 w 10785"/>
                <a:gd name="connsiteY2277" fmla="*/ 3692 h 10000"/>
                <a:gd name="connsiteX2278" fmla="*/ 378 w 10785"/>
                <a:gd name="connsiteY2278" fmla="*/ 3675 h 10000"/>
                <a:gd name="connsiteX2279" fmla="*/ 378 w 10785"/>
                <a:gd name="connsiteY2279" fmla="*/ 3650 h 10000"/>
                <a:gd name="connsiteX2280" fmla="*/ 378 w 10785"/>
                <a:gd name="connsiteY2280" fmla="*/ 3650 h 10000"/>
                <a:gd name="connsiteX2281" fmla="*/ 355 w 10785"/>
                <a:gd name="connsiteY2281" fmla="*/ 3675 h 10000"/>
                <a:gd name="connsiteX2282" fmla="*/ 359 w 10785"/>
                <a:gd name="connsiteY2282" fmla="*/ 3641 h 10000"/>
                <a:gd name="connsiteX2283" fmla="*/ 346 w 10785"/>
                <a:gd name="connsiteY2283" fmla="*/ 3650 h 10000"/>
                <a:gd name="connsiteX2284" fmla="*/ 355 w 10785"/>
                <a:gd name="connsiteY2284" fmla="*/ 3624 h 10000"/>
                <a:gd name="connsiteX2285" fmla="*/ 346 w 10785"/>
                <a:gd name="connsiteY2285" fmla="*/ 3624 h 10000"/>
                <a:gd name="connsiteX2286" fmla="*/ 341 w 10785"/>
                <a:gd name="connsiteY2286" fmla="*/ 3624 h 10000"/>
                <a:gd name="connsiteX2287" fmla="*/ 318 w 10785"/>
                <a:gd name="connsiteY2287" fmla="*/ 3641 h 10000"/>
                <a:gd name="connsiteX2288" fmla="*/ 327 w 10785"/>
                <a:gd name="connsiteY2288" fmla="*/ 3624 h 10000"/>
                <a:gd name="connsiteX2289" fmla="*/ 318 w 10785"/>
                <a:gd name="connsiteY2289" fmla="*/ 3615 h 10000"/>
                <a:gd name="connsiteX2290" fmla="*/ 318 w 10785"/>
                <a:gd name="connsiteY2290" fmla="*/ 3598 h 10000"/>
                <a:gd name="connsiteX2291" fmla="*/ 300 w 10785"/>
                <a:gd name="connsiteY2291" fmla="*/ 3598 h 10000"/>
                <a:gd name="connsiteX2292" fmla="*/ 309 w 10785"/>
                <a:gd name="connsiteY2292" fmla="*/ 3538 h 10000"/>
                <a:gd name="connsiteX2293" fmla="*/ 313 w 10785"/>
                <a:gd name="connsiteY2293" fmla="*/ 3564 h 10000"/>
                <a:gd name="connsiteX2294" fmla="*/ 318 w 10785"/>
                <a:gd name="connsiteY2294" fmla="*/ 3581 h 10000"/>
                <a:gd name="connsiteX2295" fmla="*/ 327 w 10785"/>
                <a:gd name="connsiteY2295" fmla="*/ 3564 h 10000"/>
                <a:gd name="connsiteX2296" fmla="*/ 332 w 10785"/>
                <a:gd name="connsiteY2296" fmla="*/ 3590 h 10000"/>
                <a:gd name="connsiteX2297" fmla="*/ 346 w 10785"/>
                <a:gd name="connsiteY2297" fmla="*/ 3590 h 10000"/>
                <a:gd name="connsiteX2298" fmla="*/ 355 w 10785"/>
                <a:gd name="connsiteY2298" fmla="*/ 3590 h 10000"/>
                <a:gd name="connsiteX2299" fmla="*/ 369 w 10785"/>
                <a:gd name="connsiteY2299" fmla="*/ 3556 h 10000"/>
                <a:gd name="connsiteX2300" fmla="*/ 369 w 10785"/>
                <a:gd name="connsiteY2300" fmla="*/ 3538 h 10000"/>
                <a:gd name="connsiteX2301" fmla="*/ 346 w 10785"/>
                <a:gd name="connsiteY2301" fmla="*/ 3513 h 10000"/>
                <a:gd name="connsiteX2302" fmla="*/ 341 w 10785"/>
                <a:gd name="connsiteY2302" fmla="*/ 3530 h 10000"/>
                <a:gd name="connsiteX2303" fmla="*/ 327 w 10785"/>
                <a:gd name="connsiteY2303" fmla="*/ 3513 h 10000"/>
                <a:gd name="connsiteX2304" fmla="*/ 327 w 10785"/>
                <a:gd name="connsiteY2304" fmla="*/ 3504 h 10000"/>
                <a:gd name="connsiteX2305" fmla="*/ 295 w 10785"/>
                <a:gd name="connsiteY2305" fmla="*/ 3462 h 10000"/>
                <a:gd name="connsiteX2306" fmla="*/ 300 w 10785"/>
                <a:gd name="connsiteY2306" fmla="*/ 3479 h 10000"/>
                <a:gd name="connsiteX2307" fmla="*/ 295 w 10785"/>
                <a:gd name="connsiteY2307" fmla="*/ 3513 h 10000"/>
                <a:gd name="connsiteX2308" fmla="*/ 286 w 10785"/>
                <a:gd name="connsiteY2308" fmla="*/ 3513 h 10000"/>
                <a:gd name="connsiteX2309" fmla="*/ 281 w 10785"/>
                <a:gd name="connsiteY2309" fmla="*/ 3513 h 10000"/>
                <a:gd name="connsiteX2310" fmla="*/ 281 w 10785"/>
                <a:gd name="connsiteY2310" fmla="*/ 3530 h 10000"/>
                <a:gd name="connsiteX2311" fmla="*/ 281 w 10785"/>
                <a:gd name="connsiteY2311" fmla="*/ 3556 h 10000"/>
                <a:gd name="connsiteX2312" fmla="*/ 272 w 10785"/>
                <a:gd name="connsiteY2312" fmla="*/ 3564 h 10000"/>
                <a:gd name="connsiteX2313" fmla="*/ 267 w 10785"/>
                <a:gd name="connsiteY2313" fmla="*/ 3564 h 10000"/>
                <a:gd name="connsiteX2314" fmla="*/ 253 w 10785"/>
                <a:gd name="connsiteY2314" fmla="*/ 3538 h 10000"/>
                <a:gd name="connsiteX2315" fmla="*/ 226 w 10785"/>
                <a:gd name="connsiteY2315" fmla="*/ 3513 h 10000"/>
                <a:gd name="connsiteX2316" fmla="*/ 226 w 10785"/>
                <a:gd name="connsiteY2316" fmla="*/ 3530 h 10000"/>
                <a:gd name="connsiteX2317" fmla="*/ 226 w 10785"/>
                <a:gd name="connsiteY2317" fmla="*/ 3530 h 10000"/>
                <a:gd name="connsiteX2318" fmla="*/ 226 w 10785"/>
                <a:gd name="connsiteY2318" fmla="*/ 3530 h 10000"/>
                <a:gd name="connsiteX2319" fmla="*/ 226 w 10785"/>
                <a:gd name="connsiteY2319" fmla="*/ 3556 h 10000"/>
                <a:gd name="connsiteX2320" fmla="*/ 221 w 10785"/>
                <a:gd name="connsiteY2320" fmla="*/ 3598 h 10000"/>
                <a:gd name="connsiteX2321" fmla="*/ 207 w 10785"/>
                <a:gd name="connsiteY2321" fmla="*/ 3598 h 10000"/>
                <a:gd name="connsiteX2322" fmla="*/ 180 w 10785"/>
                <a:gd name="connsiteY2322" fmla="*/ 3581 h 10000"/>
                <a:gd name="connsiteX2323" fmla="*/ 171 w 10785"/>
                <a:gd name="connsiteY2323" fmla="*/ 3641 h 10000"/>
                <a:gd name="connsiteX2324" fmla="*/ 166 w 10785"/>
                <a:gd name="connsiteY2324" fmla="*/ 3650 h 10000"/>
                <a:gd name="connsiteX2325" fmla="*/ 124 w 10785"/>
                <a:gd name="connsiteY2325" fmla="*/ 3701 h 10000"/>
                <a:gd name="connsiteX2326" fmla="*/ 124 w 10785"/>
                <a:gd name="connsiteY2326" fmla="*/ 3718 h 10000"/>
                <a:gd name="connsiteX2327" fmla="*/ 120 w 10785"/>
                <a:gd name="connsiteY2327" fmla="*/ 3735 h 10000"/>
                <a:gd name="connsiteX2328" fmla="*/ 120 w 10785"/>
                <a:gd name="connsiteY2328" fmla="*/ 3735 h 10000"/>
                <a:gd name="connsiteX2329" fmla="*/ 111 w 10785"/>
                <a:gd name="connsiteY2329" fmla="*/ 3761 h 10000"/>
                <a:gd name="connsiteX2330" fmla="*/ 106 w 10785"/>
                <a:gd name="connsiteY2330" fmla="*/ 3761 h 10000"/>
                <a:gd name="connsiteX2331" fmla="*/ 106 w 10785"/>
                <a:gd name="connsiteY2331" fmla="*/ 3761 h 10000"/>
                <a:gd name="connsiteX2332" fmla="*/ 74 w 10785"/>
                <a:gd name="connsiteY2332" fmla="*/ 3829 h 10000"/>
                <a:gd name="connsiteX2333" fmla="*/ 78 w 10785"/>
                <a:gd name="connsiteY2333" fmla="*/ 3838 h 10000"/>
                <a:gd name="connsiteX2334" fmla="*/ 88 w 10785"/>
                <a:gd name="connsiteY2334" fmla="*/ 3846 h 10000"/>
                <a:gd name="connsiteX2335" fmla="*/ 65 w 10785"/>
                <a:gd name="connsiteY2335" fmla="*/ 3923 h 10000"/>
                <a:gd name="connsiteX2336" fmla="*/ 78 w 10785"/>
                <a:gd name="connsiteY2336" fmla="*/ 4026 h 10000"/>
                <a:gd name="connsiteX2337" fmla="*/ 88 w 10785"/>
                <a:gd name="connsiteY2337" fmla="*/ 4051 h 10000"/>
                <a:gd name="connsiteX2338" fmla="*/ 92 w 10785"/>
                <a:gd name="connsiteY2338" fmla="*/ 4060 h 10000"/>
                <a:gd name="connsiteX2339" fmla="*/ 111 w 10785"/>
                <a:gd name="connsiteY2339" fmla="*/ 4060 h 10000"/>
                <a:gd name="connsiteX2340" fmla="*/ 124 w 10785"/>
                <a:gd name="connsiteY2340" fmla="*/ 4085 h 10000"/>
                <a:gd name="connsiteX2341" fmla="*/ 166 w 10785"/>
                <a:gd name="connsiteY2341" fmla="*/ 4197 h 10000"/>
                <a:gd name="connsiteX2342" fmla="*/ 166 w 10785"/>
                <a:gd name="connsiteY2342" fmla="*/ 4248 h 10000"/>
                <a:gd name="connsiteX2343" fmla="*/ 120 w 10785"/>
                <a:gd name="connsiteY2343" fmla="*/ 4462 h 10000"/>
                <a:gd name="connsiteX2344" fmla="*/ 120 w 10785"/>
                <a:gd name="connsiteY2344" fmla="*/ 4513 h 10000"/>
                <a:gd name="connsiteX2345" fmla="*/ 180 w 10785"/>
                <a:gd name="connsiteY2345" fmla="*/ 4829 h 10000"/>
                <a:gd name="connsiteX2346" fmla="*/ 161 w 10785"/>
                <a:gd name="connsiteY2346" fmla="*/ 4855 h 10000"/>
                <a:gd name="connsiteX2347" fmla="*/ 152 w 10785"/>
                <a:gd name="connsiteY2347" fmla="*/ 4940 h 10000"/>
                <a:gd name="connsiteX2348" fmla="*/ 161 w 10785"/>
                <a:gd name="connsiteY2348" fmla="*/ 4966 h 10000"/>
                <a:gd name="connsiteX2349" fmla="*/ 161 w 10785"/>
                <a:gd name="connsiteY2349" fmla="*/ 5009 h 10000"/>
                <a:gd name="connsiteX2350" fmla="*/ 152 w 10785"/>
                <a:gd name="connsiteY2350" fmla="*/ 5034 h 10000"/>
                <a:gd name="connsiteX2351" fmla="*/ 152 w 10785"/>
                <a:gd name="connsiteY2351" fmla="*/ 5077 h 10000"/>
                <a:gd name="connsiteX2352" fmla="*/ 171 w 10785"/>
                <a:gd name="connsiteY2352" fmla="*/ 5094 h 10000"/>
                <a:gd name="connsiteX2353" fmla="*/ 180 w 10785"/>
                <a:gd name="connsiteY2353" fmla="*/ 5128 h 10000"/>
                <a:gd name="connsiteX2354" fmla="*/ 180 w 10785"/>
                <a:gd name="connsiteY2354" fmla="*/ 5171 h 10000"/>
                <a:gd name="connsiteX2355" fmla="*/ 184 w 10785"/>
                <a:gd name="connsiteY2355" fmla="*/ 5205 h 10000"/>
                <a:gd name="connsiteX2356" fmla="*/ 207 w 10785"/>
                <a:gd name="connsiteY2356" fmla="*/ 5239 h 10000"/>
                <a:gd name="connsiteX2357" fmla="*/ 207 w 10785"/>
                <a:gd name="connsiteY2357" fmla="*/ 5282 h 10000"/>
                <a:gd name="connsiteX2358" fmla="*/ 180 w 10785"/>
                <a:gd name="connsiteY2358" fmla="*/ 5393 h 10000"/>
                <a:gd name="connsiteX2359" fmla="*/ 194 w 10785"/>
                <a:gd name="connsiteY2359" fmla="*/ 5427 h 10000"/>
                <a:gd name="connsiteX2360" fmla="*/ 198 w 10785"/>
                <a:gd name="connsiteY2360" fmla="*/ 5462 h 10000"/>
                <a:gd name="connsiteX2361" fmla="*/ 235 w 10785"/>
                <a:gd name="connsiteY2361" fmla="*/ 5513 h 10000"/>
                <a:gd name="connsiteX2362" fmla="*/ 240 w 10785"/>
                <a:gd name="connsiteY2362" fmla="*/ 5556 h 10000"/>
                <a:gd name="connsiteX2363" fmla="*/ 253 w 10785"/>
                <a:gd name="connsiteY2363" fmla="*/ 5590 h 10000"/>
                <a:gd name="connsiteX2364" fmla="*/ 258 w 10785"/>
                <a:gd name="connsiteY2364" fmla="*/ 5573 h 10000"/>
                <a:gd name="connsiteX2365" fmla="*/ 258 w 10785"/>
                <a:gd name="connsiteY2365" fmla="*/ 5667 h 10000"/>
                <a:gd name="connsiteX2366" fmla="*/ 14 w 10785"/>
                <a:gd name="connsiteY2366" fmla="*/ 6214 h 10000"/>
                <a:gd name="connsiteX2367" fmla="*/ 14 w 10785"/>
                <a:gd name="connsiteY2367" fmla="*/ 6214 h 10000"/>
                <a:gd name="connsiteX2368" fmla="*/ 37 w 10785"/>
                <a:gd name="connsiteY2368" fmla="*/ 6214 h 10000"/>
                <a:gd name="connsiteX2369" fmla="*/ 51 w 10785"/>
                <a:gd name="connsiteY2369" fmla="*/ 6188 h 10000"/>
                <a:gd name="connsiteX2370" fmla="*/ 78 w 10785"/>
                <a:gd name="connsiteY2370" fmla="*/ 6162 h 10000"/>
                <a:gd name="connsiteX2371" fmla="*/ 78 w 10785"/>
                <a:gd name="connsiteY2371" fmla="*/ 6188 h 10000"/>
                <a:gd name="connsiteX2372" fmla="*/ 74 w 10785"/>
                <a:gd name="connsiteY2372" fmla="*/ 6197 h 10000"/>
                <a:gd name="connsiteX2373" fmla="*/ 74 w 10785"/>
                <a:gd name="connsiteY2373" fmla="*/ 6231 h 10000"/>
                <a:gd name="connsiteX2374" fmla="*/ 74 w 10785"/>
                <a:gd name="connsiteY2374" fmla="*/ 6214 h 10000"/>
                <a:gd name="connsiteX2375" fmla="*/ 65 w 10785"/>
                <a:gd name="connsiteY2375" fmla="*/ 6214 h 10000"/>
                <a:gd name="connsiteX2376" fmla="*/ 65 w 10785"/>
                <a:gd name="connsiteY2376" fmla="*/ 6248 h 10000"/>
                <a:gd name="connsiteX2377" fmla="*/ 74 w 10785"/>
                <a:gd name="connsiteY2377" fmla="*/ 6256 h 10000"/>
                <a:gd name="connsiteX2378" fmla="*/ 78 w 10785"/>
                <a:gd name="connsiteY2378" fmla="*/ 6256 h 10000"/>
                <a:gd name="connsiteX2379" fmla="*/ 106 w 10785"/>
                <a:gd name="connsiteY2379" fmla="*/ 6308 h 10000"/>
                <a:gd name="connsiteX2380" fmla="*/ 138 w 10785"/>
                <a:gd name="connsiteY2380" fmla="*/ 6299 h 10000"/>
                <a:gd name="connsiteX2381" fmla="*/ 152 w 10785"/>
                <a:gd name="connsiteY2381" fmla="*/ 6299 h 10000"/>
                <a:gd name="connsiteX2382" fmla="*/ 166 w 10785"/>
                <a:gd name="connsiteY2382" fmla="*/ 6325 h 10000"/>
                <a:gd name="connsiteX2383" fmla="*/ 166 w 10785"/>
                <a:gd name="connsiteY2383" fmla="*/ 6333 h 10000"/>
                <a:gd name="connsiteX2384" fmla="*/ 171 w 10785"/>
                <a:gd name="connsiteY2384" fmla="*/ 6350 h 10000"/>
                <a:gd name="connsiteX2385" fmla="*/ 180 w 10785"/>
                <a:gd name="connsiteY2385" fmla="*/ 6350 h 10000"/>
                <a:gd name="connsiteX2386" fmla="*/ 180 w 10785"/>
                <a:gd name="connsiteY2386" fmla="*/ 6359 h 10000"/>
                <a:gd name="connsiteX2387" fmla="*/ 171 w 10785"/>
                <a:gd name="connsiteY2387" fmla="*/ 6368 h 10000"/>
                <a:gd name="connsiteX2388" fmla="*/ 106 w 10785"/>
                <a:gd name="connsiteY2388" fmla="*/ 6350 h 10000"/>
                <a:gd name="connsiteX2389" fmla="*/ 101 w 10785"/>
                <a:gd name="connsiteY2389" fmla="*/ 6359 h 10000"/>
                <a:gd name="connsiteX2390" fmla="*/ 101 w 10785"/>
                <a:gd name="connsiteY2390" fmla="*/ 6385 h 10000"/>
                <a:gd name="connsiteX2391" fmla="*/ 78 w 10785"/>
                <a:gd name="connsiteY2391" fmla="*/ 6393 h 10000"/>
                <a:gd name="connsiteX2392" fmla="*/ 74 w 10785"/>
                <a:gd name="connsiteY2392" fmla="*/ 6385 h 10000"/>
                <a:gd name="connsiteX2393" fmla="*/ 65 w 10785"/>
                <a:gd name="connsiteY2393" fmla="*/ 6393 h 10000"/>
                <a:gd name="connsiteX2394" fmla="*/ 60 w 10785"/>
                <a:gd name="connsiteY2394" fmla="*/ 6419 h 10000"/>
                <a:gd name="connsiteX2395" fmla="*/ 51 w 10785"/>
                <a:gd name="connsiteY2395" fmla="*/ 6419 h 10000"/>
                <a:gd name="connsiteX2396" fmla="*/ 46 w 10785"/>
                <a:gd name="connsiteY2396" fmla="*/ 6410 h 10000"/>
                <a:gd name="connsiteX2397" fmla="*/ 37 w 10785"/>
                <a:gd name="connsiteY2397" fmla="*/ 6393 h 10000"/>
                <a:gd name="connsiteX2398" fmla="*/ 32 w 10785"/>
                <a:gd name="connsiteY2398" fmla="*/ 6419 h 10000"/>
                <a:gd name="connsiteX2399" fmla="*/ 37 w 10785"/>
                <a:gd name="connsiteY2399" fmla="*/ 6462 h 10000"/>
                <a:gd name="connsiteX2400" fmla="*/ 46 w 10785"/>
                <a:gd name="connsiteY2400" fmla="*/ 6462 h 10000"/>
                <a:gd name="connsiteX2401" fmla="*/ 51 w 10785"/>
                <a:gd name="connsiteY2401" fmla="*/ 6470 h 10000"/>
                <a:gd name="connsiteX2402" fmla="*/ 51 w 10785"/>
                <a:gd name="connsiteY2402" fmla="*/ 6496 h 10000"/>
                <a:gd name="connsiteX2403" fmla="*/ 51 w 10785"/>
                <a:gd name="connsiteY2403" fmla="*/ 6504 h 10000"/>
                <a:gd name="connsiteX2404" fmla="*/ 37 w 10785"/>
                <a:gd name="connsiteY2404" fmla="*/ 6530 h 10000"/>
                <a:gd name="connsiteX2405" fmla="*/ 18 w 10785"/>
                <a:gd name="connsiteY2405" fmla="*/ 6598 h 10000"/>
                <a:gd name="connsiteX2406" fmla="*/ 28 w 10785"/>
                <a:gd name="connsiteY2406" fmla="*/ 6632 h 10000"/>
                <a:gd name="connsiteX2407" fmla="*/ 18 w 10785"/>
                <a:gd name="connsiteY2407" fmla="*/ 6667 h 10000"/>
                <a:gd name="connsiteX2408" fmla="*/ 28 w 10785"/>
                <a:gd name="connsiteY2408" fmla="*/ 6692 h 10000"/>
                <a:gd name="connsiteX2409" fmla="*/ 28 w 10785"/>
                <a:gd name="connsiteY2409" fmla="*/ 6709 h 10000"/>
                <a:gd name="connsiteX2410" fmla="*/ 18 w 10785"/>
                <a:gd name="connsiteY2410" fmla="*/ 6718 h 10000"/>
                <a:gd name="connsiteX2411" fmla="*/ 5 w 10785"/>
                <a:gd name="connsiteY2411" fmla="*/ 6744 h 10000"/>
                <a:gd name="connsiteX2412" fmla="*/ 0 w 10785"/>
                <a:gd name="connsiteY2412" fmla="*/ 6769 h 10000"/>
                <a:gd name="connsiteX2413" fmla="*/ 5 w 10785"/>
                <a:gd name="connsiteY2413" fmla="*/ 6778 h 10000"/>
                <a:gd name="connsiteX2414" fmla="*/ 32 w 10785"/>
                <a:gd name="connsiteY2414" fmla="*/ 6778 h 10000"/>
                <a:gd name="connsiteX2415" fmla="*/ 46 w 10785"/>
                <a:gd name="connsiteY2415" fmla="*/ 6821 h 10000"/>
                <a:gd name="connsiteX2416" fmla="*/ 46 w 10785"/>
                <a:gd name="connsiteY2416" fmla="*/ 6855 h 10000"/>
                <a:gd name="connsiteX2417" fmla="*/ 32 w 10785"/>
                <a:gd name="connsiteY2417" fmla="*/ 6855 h 10000"/>
                <a:gd name="connsiteX2418" fmla="*/ 14 w 10785"/>
                <a:gd name="connsiteY2418" fmla="*/ 6821 h 10000"/>
                <a:gd name="connsiteX2419" fmla="*/ 14 w 10785"/>
                <a:gd name="connsiteY2419" fmla="*/ 6846 h 10000"/>
                <a:gd name="connsiteX2420" fmla="*/ 0 w 10785"/>
                <a:gd name="connsiteY2420" fmla="*/ 6897 h 10000"/>
                <a:gd name="connsiteX2421" fmla="*/ 0 w 10785"/>
                <a:gd name="connsiteY2421" fmla="*/ 6915 h 10000"/>
                <a:gd name="connsiteX2422" fmla="*/ 5 w 10785"/>
                <a:gd name="connsiteY2422" fmla="*/ 6932 h 10000"/>
                <a:gd name="connsiteX2423" fmla="*/ 14 w 10785"/>
                <a:gd name="connsiteY2423" fmla="*/ 6940 h 10000"/>
                <a:gd name="connsiteX2424" fmla="*/ 18 w 10785"/>
                <a:gd name="connsiteY2424" fmla="*/ 6957 h 10000"/>
                <a:gd name="connsiteX2425" fmla="*/ 28 w 10785"/>
                <a:gd name="connsiteY2425" fmla="*/ 6966 h 10000"/>
                <a:gd name="connsiteX2426" fmla="*/ 28 w 10785"/>
                <a:gd name="connsiteY2426" fmla="*/ 6983 h 10000"/>
                <a:gd name="connsiteX2427" fmla="*/ 18 w 10785"/>
                <a:gd name="connsiteY2427" fmla="*/ 7051 h 10000"/>
                <a:gd name="connsiteX2428" fmla="*/ 28 w 10785"/>
                <a:gd name="connsiteY2428" fmla="*/ 7068 h 10000"/>
                <a:gd name="connsiteX2429" fmla="*/ 32 w 10785"/>
                <a:gd name="connsiteY2429" fmla="*/ 7068 h 10000"/>
                <a:gd name="connsiteX2430" fmla="*/ 32 w 10785"/>
                <a:gd name="connsiteY2430" fmla="*/ 7094 h 10000"/>
                <a:gd name="connsiteX2431" fmla="*/ 60 w 10785"/>
                <a:gd name="connsiteY2431" fmla="*/ 7162 h 10000"/>
                <a:gd name="connsiteX2432" fmla="*/ 60 w 10785"/>
                <a:gd name="connsiteY2432" fmla="*/ 7231 h 10000"/>
                <a:gd name="connsiteX2433" fmla="*/ 60 w 10785"/>
                <a:gd name="connsiteY2433" fmla="*/ 7239 h 10000"/>
                <a:gd name="connsiteX2434" fmla="*/ 78 w 10785"/>
                <a:gd name="connsiteY2434" fmla="*/ 7239 h 10000"/>
                <a:gd name="connsiteX2435" fmla="*/ 88 w 10785"/>
                <a:gd name="connsiteY2435" fmla="*/ 7239 h 10000"/>
                <a:gd name="connsiteX2436" fmla="*/ 92 w 10785"/>
                <a:gd name="connsiteY2436" fmla="*/ 7256 h 10000"/>
                <a:gd name="connsiteX2437" fmla="*/ 111 w 10785"/>
                <a:gd name="connsiteY2437" fmla="*/ 7256 h 10000"/>
                <a:gd name="connsiteX2438" fmla="*/ 120 w 10785"/>
                <a:gd name="connsiteY2438" fmla="*/ 7256 h 10000"/>
                <a:gd name="connsiteX2439" fmla="*/ 134 w 10785"/>
                <a:gd name="connsiteY2439" fmla="*/ 7282 h 10000"/>
                <a:gd name="connsiteX2440" fmla="*/ 134 w 10785"/>
                <a:gd name="connsiteY2440" fmla="*/ 7316 h 10000"/>
                <a:gd name="connsiteX2441" fmla="*/ 152 w 10785"/>
                <a:gd name="connsiteY2441" fmla="*/ 7299 h 10000"/>
                <a:gd name="connsiteX2442" fmla="*/ 161 w 10785"/>
                <a:gd name="connsiteY2442" fmla="*/ 7299 h 10000"/>
                <a:gd name="connsiteX2443" fmla="*/ 166 w 10785"/>
                <a:gd name="connsiteY2443" fmla="*/ 7291 h 10000"/>
                <a:gd name="connsiteX2444" fmla="*/ 194 w 10785"/>
                <a:gd name="connsiteY2444" fmla="*/ 7291 h 10000"/>
                <a:gd name="connsiteX2445" fmla="*/ 207 w 10785"/>
                <a:gd name="connsiteY2445" fmla="*/ 7299 h 10000"/>
                <a:gd name="connsiteX2446" fmla="*/ 221 w 10785"/>
                <a:gd name="connsiteY2446" fmla="*/ 7342 h 10000"/>
                <a:gd name="connsiteX2447" fmla="*/ 235 w 10785"/>
                <a:gd name="connsiteY2447" fmla="*/ 7342 h 10000"/>
                <a:gd name="connsiteX2448" fmla="*/ 235 w 10785"/>
                <a:gd name="connsiteY2448" fmla="*/ 7368 h 10000"/>
                <a:gd name="connsiteX2449" fmla="*/ 226 w 10785"/>
                <a:gd name="connsiteY2449" fmla="*/ 7393 h 10000"/>
                <a:gd name="connsiteX2450" fmla="*/ 226 w 10785"/>
                <a:gd name="connsiteY2450" fmla="*/ 7402 h 10000"/>
                <a:gd name="connsiteX2451" fmla="*/ 235 w 10785"/>
                <a:gd name="connsiteY2451" fmla="*/ 7419 h 10000"/>
                <a:gd name="connsiteX2452" fmla="*/ 240 w 10785"/>
                <a:gd name="connsiteY2452" fmla="*/ 7436 h 10000"/>
                <a:gd name="connsiteX2453" fmla="*/ 235 w 10785"/>
                <a:gd name="connsiteY2453" fmla="*/ 7462 h 10000"/>
                <a:gd name="connsiteX2454" fmla="*/ 226 w 10785"/>
                <a:gd name="connsiteY2454" fmla="*/ 7479 h 10000"/>
                <a:gd name="connsiteX2455" fmla="*/ 226 w 10785"/>
                <a:gd name="connsiteY2455" fmla="*/ 7504 h 10000"/>
                <a:gd name="connsiteX2456" fmla="*/ 226 w 10785"/>
                <a:gd name="connsiteY2456" fmla="*/ 7513 h 10000"/>
                <a:gd name="connsiteX2457" fmla="*/ 240 w 10785"/>
                <a:gd name="connsiteY2457" fmla="*/ 7538 h 10000"/>
                <a:gd name="connsiteX2458" fmla="*/ 267 w 10785"/>
                <a:gd name="connsiteY2458" fmla="*/ 7641 h 10000"/>
                <a:gd name="connsiteX2459" fmla="*/ 281 w 10785"/>
                <a:gd name="connsiteY2459" fmla="*/ 7667 h 10000"/>
                <a:gd name="connsiteX2460" fmla="*/ 286 w 10785"/>
                <a:gd name="connsiteY2460" fmla="*/ 7675 h 10000"/>
                <a:gd name="connsiteX2461" fmla="*/ 286 w 10785"/>
                <a:gd name="connsiteY2461" fmla="*/ 7692 h 10000"/>
                <a:gd name="connsiteX2462" fmla="*/ 286 w 10785"/>
                <a:gd name="connsiteY2462" fmla="*/ 7709 h 10000"/>
                <a:gd name="connsiteX2463" fmla="*/ 295 w 10785"/>
                <a:gd name="connsiteY2463" fmla="*/ 7726 h 10000"/>
                <a:gd name="connsiteX2464" fmla="*/ 318 w 10785"/>
                <a:gd name="connsiteY2464" fmla="*/ 7709 h 10000"/>
                <a:gd name="connsiteX2465" fmla="*/ 327 w 10785"/>
                <a:gd name="connsiteY2465" fmla="*/ 7726 h 10000"/>
                <a:gd name="connsiteX2466" fmla="*/ 341 w 10785"/>
                <a:gd name="connsiteY2466" fmla="*/ 7735 h 10000"/>
                <a:gd name="connsiteX2467" fmla="*/ 332 w 10785"/>
                <a:gd name="connsiteY2467" fmla="*/ 7752 h 10000"/>
                <a:gd name="connsiteX2468" fmla="*/ 341 w 10785"/>
                <a:gd name="connsiteY2468" fmla="*/ 7761 h 10000"/>
                <a:gd name="connsiteX2469" fmla="*/ 355 w 10785"/>
                <a:gd name="connsiteY2469" fmla="*/ 7761 h 10000"/>
                <a:gd name="connsiteX2470" fmla="*/ 355 w 10785"/>
                <a:gd name="connsiteY2470" fmla="*/ 7803 h 10000"/>
                <a:gd name="connsiteX2471" fmla="*/ 313 w 10785"/>
                <a:gd name="connsiteY2471" fmla="*/ 7846 h 10000"/>
                <a:gd name="connsiteX2472" fmla="*/ 295 w 10785"/>
                <a:gd name="connsiteY2472" fmla="*/ 7846 h 10000"/>
                <a:gd name="connsiteX2473" fmla="*/ 281 w 10785"/>
                <a:gd name="connsiteY2473" fmla="*/ 7821 h 10000"/>
                <a:gd name="connsiteX2474" fmla="*/ 272 w 10785"/>
                <a:gd name="connsiteY2474" fmla="*/ 7821 h 10000"/>
                <a:gd name="connsiteX2475" fmla="*/ 267 w 10785"/>
                <a:gd name="connsiteY2475" fmla="*/ 7838 h 10000"/>
                <a:gd name="connsiteX2476" fmla="*/ 258 w 10785"/>
                <a:gd name="connsiteY2476" fmla="*/ 7846 h 10000"/>
                <a:gd name="connsiteX2477" fmla="*/ 253 w 10785"/>
                <a:gd name="connsiteY2477" fmla="*/ 7863 h 10000"/>
                <a:gd name="connsiteX2478" fmla="*/ 253 w 10785"/>
                <a:gd name="connsiteY2478" fmla="*/ 7872 h 10000"/>
                <a:gd name="connsiteX2479" fmla="*/ 267 w 10785"/>
                <a:gd name="connsiteY2479" fmla="*/ 7897 h 10000"/>
                <a:gd name="connsiteX2480" fmla="*/ 272 w 10785"/>
                <a:gd name="connsiteY2480" fmla="*/ 7915 h 10000"/>
                <a:gd name="connsiteX2481" fmla="*/ 267 w 10785"/>
                <a:gd name="connsiteY2481" fmla="*/ 7940 h 10000"/>
                <a:gd name="connsiteX2482" fmla="*/ 272 w 10785"/>
                <a:gd name="connsiteY2482" fmla="*/ 7949 h 10000"/>
                <a:gd name="connsiteX2483" fmla="*/ 272 w 10785"/>
                <a:gd name="connsiteY2483" fmla="*/ 7957 h 10000"/>
                <a:gd name="connsiteX2484" fmla="*/ 281 w 10785"/>
                <a:gd name="connsiteY2484" fmla="*/ 7974 h 10000"/>
                <a:gd name="connsiteX2485" fmla="*/ 286 w 10785"/>
                <a:gd name="connsiteY2485" fmla="*/ 7983 h 10000"/>
                <a:gd name="connsiteX2486" fmla="*/ 281 w 10785"/>
                <a:gd name="connsiteY2486" fmla="*/ 8009 h 10000"/>
                <a:gd name="connsiteX2487" fmla="*/ 286 w 10785"/>
                <a:gd name="connsiteY2487" fmla="*/ 8060 h 10000"/>
                <a:gd name="connsiteX2488" fmla="*/ 286 w 10785"/>
                <a:gd name="connsiteY2488" fmla="*/ 8060 h 10000"/>
                <a:gd name="connsiteX2489" fmla="*/ 295 w 10785"/>
                <a:gd name="connsiteY2489" fmla="*/ 8077 h 10000"/>
                <a:gd name="connsiteX2490" fmla="*/ 309 w 10785"/>
                <a:gd name="connsiteY2490" fmla="*/ 8077 h 10000"/>
                <a:gd name="connsiteX2491" fmla="*/ 313 w 10785"/>
                <a:gd name="connsiteY2491" fmla="*/ 8060 h 10000"/>
                <a:gd name="connsiteX2492" fmla="*/ 318 w 10785"/>
                <a:gd name="connsiteY2492" fmla="*/ 8051 h 10000"/>
                <a:gd name="connsiteX2493" fmla="*/ 318 w 10785"/>
                <a:gd name="connsiteY2493" fmla="*/ 8034 h 10000"/>
                <a:gd name="connsiteX2494" fmla="*/ 332 w 10785"/>
                <a:gd name="connsiteY2494" fmla="*/ 8026 h 10000"/>
                <a:gd name="connsiteX2495" fmla="*/ 359 w 10785"/>
                <a:gd name="connsiteY2495" fmla="*/ 8034 h 10000"/>
                <a:gd name="connsiteX2496" fmla="*/ 378 w 10785"/>
                <a:gd name="connsiteY2496" fmla="*/ 8026 h 10000"/>
                <a:gd name="connsiteX2497" fmla="*/ 401 w 10785"/>
                <a:gd name="connsiteY2497" fmla="*/ 8026 h 10000"/>
                <a:gd name="connsiteX2498" fmla="*/ 419 w 10785"/>
                <a:gd name="connsiteY2498" fmla="*/ 8009 h 10000"/>
                <a:gd name="connsiteX2499" fmla="*/ 433 w 10785"/>
                <a:gd name="connsiteY2499" fmla="*/ 8034 h 10000"/>
                <a:gd name="connsiteX2500" fmla="*/ 442 w 10785"/>
                <a:gd name="connsiteY2500" fmla="*/ 8060 h 10000"/>
                <a:gd name="connsiteX2501" fmla="*/ 442 w 10785"/>
                <a:gd name="connsiteY2501" fmla="*/ 8077 h 10000"/>
                <a:gd name="connsiteX2502" fmla="*/ 461 w 10785"/>
                <a:gd name="connsiteY2502" fmla="*/ 8111 h 10000"/>
                <a:gd name="connsiteX2503" fmla="*/ 461 w 10785"/>
                <a:gd name="connsiteY2503" fmla="*/ 8137 h 10000"/>
                <a:gd name="connsiteX2504" fmla="*/ 447 w 10785"/>
                <a:gd name="connsiteY2504" fmla="*/ 8145 h 10000"/>
                <a:gd name="connsiteX2505" fmla="*/ 442 w 10785"/>
                <a:gd name="connsiteY2505" fmla="*/ 8145 h 10000"/>
                <a:gd name="connsiteX2506" fmla="*/ 442 w 10785"/>
                <a:gd name="connsiteY2506" fmla="*/ 8162 h 10000"/>
                <a:gd name="connsiteX2507" fmla="*/ 442 w 10785"/>
                <a:gd name="connsiteY2507" fmla="*/ 8171 h 10000"/>
                <a:gd name="connsiteX2508" fmla="*/ 447 w 10785"/>
                <a:gd name="connsiteY2508" fmla="*/ 8214 h 10000"/>
                <a:gd name="connsiteX2509" fmla="*/ 465 w 10785"/>
                <a:gd name="connsiteY2509" fmla="*/ 8231 h 10000"/>
                <a:gd name="connsiteX2510" fmla="*/ 488 w 10785"/>
                <a:gd name="connsiteY2510" fmla="*/ 8231 h 10000"/>
                <a:gd name="connsiteX2511" fmla="*/ 493 w 10785"/>
                <a:gd name="connsiteY2511" fmla="*/ 8231 h 10000"/>
                <a:gd name="connsiteX2512" fmla="*/ 502 w 10785"/>
                <a:gd name="connsiteY2512" fmla="*/ 8231 h 10000"/>
                <a:gd name="connsiteX2513" fmla="*/ 507 w 10785"/>
                <a:gd name="connsiteY2513" fmla="*/ 8248 h 10000"/>
                <a:gd name="connsiteX2514" fmla="*/ 521 w 10785"/>
                <a:gd name="connsiteY2514" fmla="*/ 8274 h 10000"/>
                <a:gd name="connsiteX2515" fmla="*/ 525 w 10785"/>
                <a:gd name="connsiteY2515" fmla="*/ 8333 h 10000"/>
                <a:gd name="connsiteX2516" fmla="*/ 525 w 10785"/>
                <a:gd name="connsiteY2516" fmla="*/ 8359 h 10000"/>
                <a:gd name="connsiteX2517" fmla="*/ 525 w 10785"/>
                <a:gd name="connsiteY2517" fmla="*/ 8368 h 10000"/>
                <a:gd name="connsiteX2518" fmla="*/ 548 w 10785"/>
                <a:gd name="connsiteY2518" fmla="*/ 8393 h 10000"/>
                <a:gd name="connsiteX2519" fmla="*/ 553 w 10785"/>
                <a:gd name="connsiteY2519" fmla="*/ 8385 h 10000"/>
                <a:gd name="connsiteX2520" fmla="*/ 562 w 10785"/>
                <a:gd name="connsiteY2520" fmla="*/ 8385 h 10000"/>
                <a:gd name="connsiteX2521" fmla="*/ 576 w 10785"/>
                <a:gd name="connsiteY2521" fmla="*/ 8385 h 10000"/>
                <a:gd name="connsiteX2522" fmla="*/ 585 w 10785"/>
                <a:gd name="connsiteY2522" fmla="*/ 8410 h 10000"/>
                <a:gd name="connsiteX2523" fmla="*/ 594 w 10785"/>
                <a:gd name="connsiteY2523" fmla="*/ 8410 h 10000"/>
                <a:gd name="connsiteX2524" fmla="*/ 608 w 10785"/>
                <a:gd name="connsiteY2524" fmla="*/ 8410 h 10000"/>
                <a:gd name="connsiteX2525" fmla="*/ 654 w 10785"/>
                <a:gd name="connsiteY2525" fmla="*/ 8385 h 10000"/>
                <a:gd name="connsiteX2526" fmla="*/ 659 w 10785"/>
                <a:gd name="connsiteY2526" fmla="*/ 8385 h 10000"/>
                <a:gd name="connsiteX2527" fmla="*/ 696 w 10785"/>
                <a:gd name="connsiteY2527" fmla="*/ 8470 h 10000"/>
                <a:gd name="connsiteX2528" fmla="*/ 700 w 10785"/>
                <a:gd name="connsiteY2528" fmla="*/ 8470 h 10000"/>
                <a:gd name="connsiteX2529" fmla="*/ 710 w 10785"/>
                <a:gd name="connsiteY2529" fmla="*/ 8462 h 10000"/>
                <a:gd name="connsiteX2530" fmla="*/ 714 w 10785"/>
                <a:gd name="connsiteY2530" fmla="*/ 8462 h 10000"/>
                <a:gd name="connsiteX2531" fmla="*/ 724 w 10785"/>
                <a:gd name="connsiteY2531" fmla="*/ 8470 h 10000"/>
                <a:gd name="connsiteX2532" fmla="*/ 733 w 10785"/>
                <a:gd name="connsiteY2532" fmla="*/ 8470 h 10000"/>
                <a:gd name="connsiteX2533" fmla="*/ 742 w 10785"/>
                <a:gd name="connsiteY2533" fmla="*/ 8487 h 10000"/>
                <a:gd name="connsiteX2534" fmla="*/ 747 w 10785"/>
                <a:gd name="connsiteY2534" fmla="*/ 8496 h 10000"/>
                <a:gd name="connsiteX2535" fmla="*/ 770 w 10785"/>
                <a:gd name="connsiteY2535" fmla="*/ 8496 h 10000"/>
                <a:gd name="connsiteX2536" fmla="*/ 783 w 10785"/>
                <a:gd name="connsiteY2536" fmla="*/ 8521 h 10000"/>
                <a:gd name="connsiteX2537" fmla="*/ 797 w 10785"/>
                <a:gd name="connsiteY2537" fmla="*/ 8521 h 10000"/>
                <a:gd name="connsiteX2538" fmla="*/ 806 w 10785"/>
                <a:gd name="connsiteY2538" fmla="*/ 8530 h 10000"/>
                <a:gd name="connsiteX2539" fmla="*/ 829 w 10785"/>
                <a:gd name="connsiteY2539" fmla="*/ 8547 h 10000"/>
                <a:gd name="connsiteX2540" fmla="*/ 834 w 10785"/>
                <a:gd name="connsiteY2540" fmla="*/ 8556 h 10000"/>
                <a:gd name="connsiteX2541" fmla="*/ 829 w 10785"/>
                <a:gd name="connsiteY2541" fmla="*/ 8556 h 10000"/>
                <a:gd name="connsiteX2542" fmla="*/ 834 w 10785"/>
                <a:gd name="connsiteY2542" fmla="*/ 8607 h 10000"/>
                <a:gd name="connsiteX2543" fmla="*/ 829 w 10785"/>
                <a:gd name="connsiteY2543" fmla="*/ 8641 h 10000"/>
                <a:gd name="connsiteX2544" fmla="*/ 806 w 10785"/>
                <a:gd name="connsiteY2544" fmla="*/ 8658 h 10000"/>
                <a:gd name="connsiteX2545" fmla="*/ 816 w 10785"/>
                <a:gd name="connsiteY2545" fmla="*/ 8667 h 10000"/>
                <a:gd name="connsiteX2546" fmla="*/ 820 w 10785"/>
                <a:gd name="connsiteY2546" fmla="*/ 8667 h 10000"/>
                <a:gd name="connsiteX2547" fmla="*/ 829 w 10785"/>
                <a:gd name="connsiteY2547" fmla="*/ 8684 h 10000"/>
                <a:gd name="connsiteX2548" fmla="*/ 806 w 10785"/>
                <a:gd name="connsiteY2548" fmla="*/ 8692 h 10000"/>
                <a:gd name="connsiteX2549" fmla="*/ 802 w 10785"/>
                <a:gd name="connsiteY2549" fmla="*/ 8709 h 10000"/>
                <a:gd name="connsiteX2550" fmla="*/ 802 w 10785"/>
                <a:gd name="connsiteY2550" fmla="*/ 8735 h 10000"/>
                <a:gd name="connsiteX2551" fmla="*/ 806 w 10785"/>
                <a:gd name="connsiteY2551" fmla="*/ 8744 h 10000"/>
                <a:gd name="connsiteX2552" fmla="*/ 816 w 10785"/>
                <a:gd name="connsiteY2552" fmla="*/ 8752 h 10000"/>
                <a:gd name="connsiteX2553" fmla="*/ 806 w 10785"/>
                <a:gd name="connsiteY2553" fmla="*/ 8778 h 10000"/>
                <a:gd name="connsiteX2554" fmla="*/ 820 w 10785"/>
                <a:gd name="connsiteY2554" fmla="*/ 8778 h 10000"/>
                <a:gd name="connsiteX2555" fmla="*/ 806 w 10785"/>
                <a:gd name="connsiteY2555" fmla="*/ 8880 h 10000"/>
                <a:gd name="connsiteX2556" fmla="*/ 797 w 10785"/>
                <a:gd name="connsiteY2556" fmla="*/ 8880 h 10000"/>
                <a:gd name="connsiteX2557" fmla="*/ 783 w 10785"/>
                <a:gd name="connsiteY2557" fmla="*/ 8872 h 10000"/>
                <a:gd name="connsiteX2558" fmla="*/ 770 w 10785"/>
                <a:gd name="connsiteY2558" fmla="*/ 8880 h 10000"/>
                <a:gd name="connsiteX2559" fmla="*/ 756 w 10785"/>
                <a:gd name="connsiteY2559" fmla="*/ 8855 h 10000"/>
                <a:gd name="connsiteX2560" fmla="*/ 733 w 10785"/>
                <a:gd name="connsiteY2560" fmla="*/ 8906 h 10000"/>
                <a:gd name="connsiteX2561" fmla="*/ 714 w 10785"/>
                <a:gd name="connsiteY2561" fmla="*/ 8915 h 10000"/>
                <a:gd name="connsiteX2562" fmla="*/ 710 w 10785"/>
                <a:gd name="connsiteY2562" fmla="*/ 8940 h 10000"/>
                <a:gd name="connsiteX2563" fmla="*/ 710 w 10785"/>
                <a:gd name="connsiteY2563" fmla="*/ 9009 h 10000"/>
                <a:gd name="connsiteX2564" fmla="*/ 728 w 10785"/>
                <a:gd name="connsiteY2564" fmla="*/ 8991 h 10000"/>
                <a:gd name="connsiteX2565" fmla="*/ 733 w 10785"/>
                <a:gd name="connsiteY2565" fmla="*/ 8991 h 10000"/>
                <a:gd name="connsiteX2566" fmla="*/ 747 w 10785"/>
                <a:gd name="connsiteY2566" fmla="*/ 8983 h 10000"/>
                <a:gd name="connsiteX2567" fmla="*/ 760 w 10785"/>
                <a:gd name="connsiteY2567" fmla="*/ 8983 h 10000"/>
                <a:gd name="connsiteX2568" fmla="*/ 770 w 10785"/>
                <a:gd name="connsiteY2568" fmla="*/ 8983 h 10000"/>
                <a:gd name="connsiteX2569" fmla="*/ 770 w 10785"/>
                <a:gd name="connsiteY2569" fmla="*/ 8991 h 10000"/>
                <a:gd name="connsiteX2570" fmla="*/ 783 w 10785"/>
                <a:gd name="connsiteY2570" fmla="*/ 8991 h 10000"/>
                <a:gd name="connsiteX2571" fmla="*/ 783 w 10785"/>
                <a:gd name="connsiteY2571" fmla="*/ 9009 h 10000"/>
                <a:gd name="connsiteX2572" fmla="*/ 783 w 10785"/>
                <a:gd name="connsiteY2572" fmla="*/ 9017 h 10000"/>
                <a:gd name="connsiteX2573" fmla="*/ 770 w 10785"/>
                <a:gd name="connsiteY2573" fmla="*/ 9017 h 10000"/>
                <a:gd name="connsiteX2574" fmla="*/ 724 w 10785"/>
                <a:gd name="connsiteY2574" fmla="*/ 9051 h 10000"/>
                <a:gd name="connsiteX2575" fmla="*/ 724 w 10785"/>
                <a:gd name="connsiteY2575" fmla="*/ 9068 h 10000"/>
                <a:gd name="connsiteX2576" fmla="*/ 728 w 10785"/>
                <a:gd name="connsiteY2576" fmla="*/ 9077 h 10000"/>
                <a:gd name="connsiteX2577" fmla="*/ 724 w 10785"/>
                <a:gd name="connsiteY2577" fmla="*/ 9077 h 10000"/>
                <a:gd name="connsiteX2578" fmla="*/ 710 w 10785"/>
                <a:gd name="connsiteY2578" fmla="*/ 9077 h 10000"/>
                <a:gd name="connsiteX2579" fmla="*/ 682 w 10785"/>
                <a:gd name="connsiteY2579" fmla="*/ 9077 h 10000"/>
                <a:gd name="connsiteX2580" fmla="*/ 673 w 10785"/>
                <a:gd name="connsiteY2580" fmla="*/ 9103 h 10000"/>
                <a:gd name="connsiteX2581" fmla="*/ 687 w 10785"/>
                <a:gd name="connsiteY2581" fmla="*/ 9128 h 10000"/>
                <a:gd name="connsiteX2582" fmla="*/ 700 w 10785"/>
                <a:gd name="connsiteY2582" fmla="*/ 9128 h 10000"/>
                <a:gd name="connsiteX2583" fmla="*/ 728 w 10785"/>
                <a:gd name="connsiteY2583" fmla="*/ 9179 h 10000"/>
                <a:gd name="connsiteX2584" fmla="*/ 724 w 10785"/>
                <a:gd name="connsiteY2584" fmla="*/ 9188 h 10000"/>
                <a:gd name="connsiteX2585" fmla="*/ 710 w 10785"/>
                <a:gd name="connsiteY2585" fmla="*/ 9179 h 10000"/>
                <a:gd name="connsiteX2586" fmla="*/ 700 w 10785"/>
                <a:gd name="connsiteY2586" fmla="*/ 9205 h 10000"/>
                <a:gd name="connsiteX2587" fmla="*/ 696 w 10785"/>
                <a:gd name="connsiteY2587" fmla="*/ 9205 h 10000"/>
                <a:gd name="connsiteX2588" fmla="*/ 654 w 10785"/>
                <a:gd name="connsiteY2588" fmla="*/ 9299 h 10000"/>
                <a:gd name="connsiteX2589" fmla="*/ 622 w 10785"/>
                <a:gd name="connsiteY2589" fmla="*/ 9299 h 10000"/>
                <a:gd name="connsiteX2590" fmla="*/ 613 w 10785"/>
                <a:gd name="connsiteY2590" fmla="*/ 9316 h 10000"/>
                <a:gd name="connsiteX2591" fmla="*/ 613 w 10785"/>
                <a:gd name="connsiteY2591" fmla="*/ 9325 h 10000"/>
                <a:gd name="connsiteX2592" fmla="*/ 608 w 10785"/>
                <a:gd name="connsiteY2592" fmla="*/ 9342 h 10000"/>
                <a:gd name="connsiteX2593" fmla="*/ 636 w 10785"/>
                <a:gd name="connsiteY2593" fmla="*/ 9376 h 10000"/>
                <a:gd name="connsiteX2594" fmla="*/ 641 w 10785"/>
                <a:gd name="connsiteY2594" fmla="*/ 9402 h 10000"/>
                <a:gd name="connsiteX2595" fmla="*/ 654 w 10785"/>
                <a:gd name="connsiteY2595" fmla="*/ 9427 h 10000"/>
                <a:gd name="connsiteX2596" fmla="*/ 668 w 10785"/>
                <a:gd name="connsiteY2596" fmla="*/ 9427 h 10000"/>
                <a:gd name="connsiteX2597" fmla="*/ 668 w 10785"/>
                <a:gd name="connsiteY2597" fmla="*/ 9427 h 10000"/>
                <a:gd name="connsiteX2598" fmla="*/ 774 w 10785"/>
                <a:gd name="connsiteY2598" fmla="*/ 9547 h 10000"/>
                <a:gd name="connsiteX2599" fmla="*/ 797 w 10785"/>
                <a:gd name="connsiteY2599" fmla="*/ 9598 h 10000"/>
                <a:gd name="connsiteX2600" fmla="*/ 802 w 10785"/>
                <a:gd name="connsiteY2600" fmla="*/ 9598 h 10000"/>
                <a:gd name="connsiteX2601" fmla="*/ 816 w 10785"/>
                <a:gd name="connsiteY2601" fmla="*/ 9624 h 10000"/>
                <a:gd name="connsiteX2602" fmla="*/ 843 w 10785"/>
                <a:gd name="connsiteY2602" fmla="*/ 9615 h 10000"/>
                <a:gd name="connsiteX2603" fmla="*/ 857 w 10785"/>
                <a:gd name="connsiteY2603" fmla="*/ 9624 h 10000"/>
                <a:gd name="connsiteX2604" fmla="*/ 862 w 10785"/>
                <a:gd name="connsiteY2604" fmla="*/ 9615 h 10000"/>
                <a:gd name="connsiteX2605" fmla="*/ 880 w 10785"/>
                <a:gd name="connsiteY2605" fmla="*/ 9624 h 10000"/>
                <a:gd name="connsiteX2606" fmla="*/ 889 w 10785"/>
                <a:gd name="connsiteY2606" fmla="*/ 9641 h 10000"/>
                <a:gd name="connsiteX2607" fmla="*/ 935 w 10785"/>
                <a:gd name="connsiteY2607" fmla="*/ 9675 h 10000"/>
                <a:gd name="connsiteX2608" fmla="*/ 977 w 10785"/>
                <a:gd name="connsiteY2608" fmla="*/ 9667 h 10000"/>
                <a:gd name="connsiteX2609" fmla="*/ 995 w 10785"/>
                <a:gd name="connsiteY2609" fmla="*/ 9675 h 10000"/>
                <a:gd name="connsiteX2610" fmla="*/ 1014 w 10785"/>
                <a:gd name="connsiteY2610" fmla="*/ 9675 h 10000"/>
                <a:gd name="connsiteX2611" fmla="*/ 1069 w 10785"/>
                <a:gd name="connsiteY2611" fmla="*/ 9752 h 10000"/>
                <a:gd name="connsiteX2612" fmla="*/ 1074 w 10785"/>
                <a:gd name="connsiteY2612" fmla="*/ 9761 h 10000"/>
                <a:gd name="connsiteX2613" fmla="*/ 1083 w 10785"/>
                <a:gd name="connsiteY2613" fmla="*/ 9778 h 10000"/>
                <a:gd name="connsiteX2614" fmla="*/ 1115 w 10785"/>
                <a:gd name="connsiteY2614" fmla="*/ 9752 h 10000"/>
                <a:gd name="connsiteX2615" fmla="*/ 1129 w 10785"/>
                <a:gd name="connsiteY2615" fmla="*/ 9752 h 10000"/>
                <a:gd name="connsiteX2616" fmla="*/ 1138 w 10785"/>
                <a:gd name="connsiteY2616" fmla="*/ 9761 h 10000"/>
                <a:gd name="connsiteX2617" fmla="*/ 1143 w 10785"/>
                <a:gd name="connsiteY2617" fmla="*/ 9752 h 10000"/>
                <a:gd name="connsiteX2618" fmla="*/ 1161 w 10785"/>
                <a:gd name="connsiteY2618" fmla="*/ 9761 h 10000"/>
                <a:gd name="connsiteX2619" fmla="*/ 1171 w 10785"/>
                <a:gd name="connsiteY2619" fmla="*/ 9778 h 10000"/>
                <a:gd name="connsiteX2620" fmla="*/ 1175 w 10785"/>
                <a:gd name="connsiteY2620" fmla="*/ 9778 h 10000"/>
                <a:gd name="connsiteX2621" fmla="*/ 1189 w 10785"/>
                <a:gd name="connsiteY2621" fmla="*/ 9778 h 10000"/>
                <a:gd name="connsiteX2622" fmla="*/ 1198 w 10785"/>
                <a:gd name="connsiteY2622" fmla="*/ 9786 h 10000"/>
                <a:gd name="connsiteX2623" fmla="*/ 1203 w 10785"/>
                <a:gd name="connsiteY2623" fmla="*/ 9803 h 10000"/>
                <a:gd name="connsiteX2624" fmla="*/ 1198 w 10785"/>
                <a:gd name="connsiteY2624" fmla="*/ 9838 h 10000"/>
                <a:gd name="connsiteX2625" fmla="*/ 1212 w 10785"/>
                <a:gd name="connsiteY2625" fmla="*/ 9863 h 10000"/>
                <a:gd name="connsiteX2626" fmla="*/ 1230 w 10785"/>
                <a:gd name="connsiteY2626" fmla="*/ 9872 h 10000"/>
                <a:gd name="connsiteX2627" fmla="*/ 1249 w 10785"/>
                <a:gd name="connsiteY2627" fmla="*/ 9897 h 10000"/>
                <a:gd name="connsiteX2628" fmla="*/ 1263 w 10785"/>
                <a:gd name="connsiteY2628" fmla="*/ 9897 h 10000"/>
                <a:gd name="connsiteX2629" fmla="*/ 1276 w 10785"/>
                <a:gd name="connsiteY2629" fmla="*/ 9923 h 10000"/>
                <a:gd name="connsiteX2630" fmla="*/ 1281 w 10785"/>
                <a:gd name="connsiteY2630" fmla="*/ 9949 h 10000"/>
                <a:gd name="connsiteX2631" fmla="*/ 1290 w 10785"/>
                <a:gd name="connsiteY2631" fmla="*/ 9949 h 10000"/>
                <a:gd name="connsiteX2632" fmla="*/ 1295 w 10785"/>
                <a:gd name="connsiteY2632" fmla="*/ 10000 h 10000"/>
                <a:gd name="connsiteX2633" fmla="*/ 1332 w 10785"/>
                <a:gd name="connsiteY2633" fmla="*/ 10000 h 10000"/>
                <a:gd name="connsiteX2634" fmla="*/ 1336 w 10785"/>
                <a:gd name="connsiteY2634" fmla="*/ 10000 h 10000"/>
                <a:gd name="connsiteX2635" fmla="*/ 1346 w 10785"/>
                <a:gd name="connsiteY2635" fmla="*/ 9983 h 10000"/>
                <a:gd name="connsiteX2636" fmla="*/ 1350 w 10785"/>
                <a:gd name="connsiteY2636" fmla="*/ 9949 h 10000"/>
                <a:gd name="connsiteX2637" fmla="*/ 1369 w 10785"/>
                <a:gd name="connsiteY2637" fmla="*/ 9940 h 10000"/>
                <a:gd name="connsiteX2638" fmla="*/ 1378 w 10785"/>
                <a:gd name="connsiteY2638" fmla="*/ 9897 h 10000"/>
                <a:gd name="connsiteX2639" fmla="*/ 1369 w 10785"/>
                <a:gd name="connsiteY2639" fmla="*/ 9889 h 10000"/>
                <a:gd name="connsiteX2640" fmla="*/ 1318 w 10785"/>
                <a:gd name="connsiteY2640" fmla="*/ 9701 h 10000"/>
                <a:gd name="connsiteX2641" fmla="*/ 1318 w 10785"/>
                <a:gd name="connsiteY2641" fmla="*/ 9650 h 10000"/>
                <a:gd name="connsiteX2642" fmla="*/ 1323 w 10785"/>
                <a:gd name="connsiteY2642" fmla="*/ 9590 h 10000"/>
                <a:gd name="connsiteX2643" fmla="*/ 1323 w 10785"/>
                <a:gd name="connsiteY2643" fmla="*/ 9564 h 10000"/>
                <a:gd name="connsiteX2644" fmla="*/ 1309 w 10785"/>
                <a:gd name="connsiteY2644" fmla="*/ 9598 h 10000"/>
                <a:gd name="connsiteX2645" fmla="*/ 1309 w 10785"/>
                <a:gd name="connsiteY2645" fmla="*/ 9590 h 10000"/>
                <a:gd name="connsiteX2646" fmla="*/ 1304 w 10785"/>
                <a:gd name="connsiteY2646" fmla="*/ 9547 h 10000"/>
                <a:gd name="connsiteX2647" fmla="*/ 1276 w 10785"/>
                <a:gd name="connsiteY2647" fmla="*/ 9479 h 10000"/>
                <a:gd name="connsiteX2648" fmla="*/ 1263 w 10785"/>
                <a:gd name="connsiteY2648" fmla="*/ 9479 h 10000"/>
                <a:gd name="connsiteX2649" fmla="*/ 1263 w 10785"/>
                <a:gd name="connsiteY2649" fmla="*/ 9453 h 10000"/>
                <a:gd name="connsiteX2650" fmla="*/ 1272 w 10785"/>
                <a:gd name="connsiteY2650" fmla="*/ 9410 h 10000"/>
                <a:gd name="connsiteX2651" fmla="*/ 1272 w 10785"/>
                <a:gd name="connsiteY2651" fmla="*/ 9393 h 10000"/>
                <a:gd name="connsiteX2652" fmla="*/ 1281 w 10785"/>
                <a:gd name="connsiteY2652" fmla="*/ 9368 h 10000"/>
                <a:gd name="connsiteX2653" fmla="*/ 1281 w 10785"/>
                <a:gd name="connsiteY2653" fmla="*/ 9368 h 10000"/>
                <a:gd name="connsiteX2654" fmla="*/ 1290 w 10785"/>
                <a:gd name="connsiteY2654" fmla="*/ 9368 h 10000"/>
                <a:gd name="connsiteX2655" fmla="*/ 1290 w 10785"/>
                <a:gd name="connsiteY2655" fmla="*/ 9342 h 10000"/>
                <a:gd name="connsiteX2656" fmla="*/ 1304 w 10785"/>
                <a:gd name="connsiteY2656" fmla="*/ 9325 h 10000"/>
                <a:gd name="connsiteX2657" fmla="*/ 1309 w 10785"/>
                <a:gd name="connsiteY2657" fmla="*/ 9239 h 10000"/>
                <a:gd name="connsiteX2658" fmla="*/ 1318 w 10785"/>
                <a:gd name="connsiteY2658" fmla="*/ 9256 h 10000"/>
                <a:gd name="connsiteX2659" fmla="*/ 1323 w 10785"/>
                <a:gd name="connsiteY2659" fmla="*/ 9179 h 10000"/>
                <a:gd name="connsiteX2660" fmla="*/ 1309 w 10785"/>
                <a:gd name="connsiteY2660" fmla="*/ 9145 h 10000"/>
                <a:gd name="connsiteX2661" fmla="*/ 1336 w 10785"/>
                <a:gd name="connsiteY2661" fmla="*/ 9154 h 10000"/>
                <a:gd name="connsiteX2662" fmla="*/ 1336 w 10785"/>
                <a:gd name="connsiteY2662" fmla="*/ 9162 h 10000"/>
                <a:gd name="connsiteX2663" fmla="*/ 1350 w 10785"/>
                <a:gd name="connsiteY2663" fmla="*/ 9231 h 10000"/>
                <a:gd name="connsiteX2664" fmla="*/ 1355 w 10785"/>
                <a:gd name="connsiteY2664" fmla="*/ 9231 h 10000"/>
                <a:gd name="connsiteX2665" fmla="*/ 1364 w 10785"/>
                <a:gd name="connsiteY2665" fmla="*/ 9214 h 10000"/>
                <a:gd name="connsiteX2666" fmla="*/ 1369 w 10785"/>
                <a:gd name="connsiteY2666" fmla="*/ 9214 h 10000"/>
                <a:gd name="connsiteX2667" fmla="*/ 1382 w 10785"/>
                <a:gd name="connsiteY2667" fmla="*/ 9154 h 10000"/>
                <a:gd name="connsiteX2668" fmla="*/ 1396 w 10785"/>
                <a:gd name="connsiteY2668" fmla="*/ 9154 h 10000"/>
                <a:gd name="connsiteX2669" fmla="*/ 1382 w 10785"/>
                <a:gd name="connsiteY2669" fmla="*/ 9145 h 10000"/>
                <a:gd name="connsiteX2670" fmla="*/ 1382 w 10785"/>
                <a:gd name="connsiteY2670" fmla="*/ 9128 h 10000"/>
                <a:gd name="connsiteX2671" fmla="*/ 1369 w 10785"/>
                <a:gd name="connsiteY2671" fmla="*/ 9128 h 10000"/>
                <a:gd name="connsiteX2672" fmla="*/ 1364 w 10785"/>
                <a:gd name="connsiteY2672" fmla="*/ 9128 h 10000"/>
                <a:gd name="connsiteX2673" fmla="*/ 1355 w 10785"/>
                <a:gd name="connsiteY2673" fmla="*/ 9120 h 10000"/>
                <a:gd name="connsiteX2674" fmla="*/ 1350 w 10785"/>
                <a:gd name="connsiteY2674" fmla="*/ 9103 h 10000"/>
                <a:gd name="connsiteX2675" fmla="*/ 1355 w 10785"/>
                <a:gd name="connsiteY2675" fmla="*/ 9094 h 10000"/>
                <a:gd name="connsiteX2676" fmla="*/ 1355 w 10785"/>
                <a:gd name="connsiteY2676" fmla="*/ 9068 h 10000"/>
                <a:gd name="connsiteX2677" fmla="*/ 1369 w 10785"/>
                <a:gd name="connsiteY2677" fmla="*/ 9068 h 10000"/>
                <a:gd name="connsiteX2678" fmla="*/ 1378 w 10785"/>
                <a:gd name="connsiteY2678" fmla="*/ 9077 h 10000"/>
                <a:gd name="connsiteX2679" fmla="*/ 1396 w 10785"/>
                <a:gd name="connsiteY2679" fmla="*/ 9068 h 10000"/>
                <a:gd name="connsiteX2680" fmla="*/ 1382 w 10785"/>
                <a:gd name="connsiteY2680" fmla="*/ 8940 h 10000"/>
                <a:gd name="connsiteX2681" fmla="*/ 1378 w 10785"/>
                <a:gd name="connsiteY2681" fmla="*/ 8940 h 10000"/>
                <a:gd name="connsiteX2682" fmla="*/ 1364 w 10785"/>
                <a:gd name="connsiteY2682" fmla="*/ 8889 h 10000"/>
                <a:gd name="connsiteX2683" fmla="*/ 1355 w 10785"/>
                <a:gd name="connsiteY2683" fmla="*/ 8880 h 10000"/>
                <a:gd name="connsiteX2684" fmla="*/ 1323 w 10785"/>
                <a:gd name="connsiteY2684" fmla="*/ 8880 h 10000"/>
                <a:gd name="connsiteX2685" fmla="*/ 1309 w 10785"/>
                <a:gd name="connsiteY2685" fmla="*/ 8880 h 10000"/>
                <a:gd name="connsiteX2686" fmla="*/ 1309 w 10785"/>
                <a:gd name="connsiteY2686" fmla="*/ 8889 h 10000"/>
                <a:gd name="connsiteX2687" fmla="*/ 1295 w 10785"/>
                <a:gd name="connsiteY2687" fmla="*/ 8872 h 10000"/>
                <a:gd name="connsiteX2688" fmla="*/ 1290 w 10785"/>
                <a:gd name="connsiteY2688" fmla="*/ 8855 h 10000"/>
                <a:gd name="connsiteX2689" fmla="*/ 1290 w 10785"/>
                <a:gd name="connsiteY2689" fmla="*/ 8829 h 10000"/>
                <a:gd name="connsiteX2690" fmla="*/ 1290 w 10785"/>
                <a:gd name="connsiteY2690" fmla="*/ 8821 h 10000"/>
                <a:gd name="connsiteX2691" fmla="*/ 1290 w 10785"/>
                <a:gd name="connsiteY2691" fmla="*/ 8803 h 10000"/>
                <a:gd name="connsiteX2692" fmla="*/ 1281 w 10785"/>
                <a:gd name="connsiteY2692" fmla="*/ 8795 h 10000"/>
                <a:gd name="connsiteX2693" fmla="*/ 1249 w 10785"/>
                <a:gd name="connsiteY2693" fmla="*/ 8769 h 10000"/>
                <a:gd name="connsiteX2694" fmla="*/ 1263 w 10785"/>
                <a:gd name="connsiteY2694" fmla="*/ 8667 h 10000"/>
                <a:gd name="connsiteX2695" fmla="*/ 1281 w 10785"/>
                <a:gd name="connsiteY2695" fmla="*/ 8658 h 10000"/>
                <a:gd name="connsiteX2696" fmla="*/ 1290 w 10785"/>
                <a:gd name="connsiteY2696" fmla="*/ 8632 h 10000"/>
                <a:gd name="connsiteX2697" fmla="*/ 1281 w 10785"/>
                <a:gd name="connsiteY2697" fmla="*/ 8615 h 10000"/>
                <a:gd name="connsiteX2698" fmla="*/ 1272 w 10785"/>
                <a:gd name="connsiteY2698" fmla="*/ 8598 h 10000"/>
                <a:gd name="connsiteX2699" fmla="*/ 1281 w 10785"/>
                <a:gd name="connsiteY2699" fmla="*/ 8496 h 10000"/>
                <a:gd name="connsiteX2700" fmla="*/ 1295 w 10785"/>
                <a:gd name="connsiteY2700" fmla="*/ 8470 h 10000"/>
                <a:gd name="connsiteX2701" fmla="*/ 1304 w 10785"/>
                <a:gd name="connsiteY2701" fmla="*/ 8462 h 10000"/>
                <a:gd name="connsiteX2702" fmla="*/ 1304 w 10785"/>
                <a:gd name="connsiteY2702" fmla="*/ 8444 h 10000"/>
                <a:gd name="connsiteX2703" fmla="*/ 1304 w 10785"/>
                <a:gd name="connsiteY2703" fmla="*/ 8419 h 10000"/>
                <a:gd name="connsiteX2704" fmla="*/ 1304 w 10785"/>
                <a:gd name="connsiteY2704" fmla="*/ 8410 h 10000"/>
                <a:gd name="connsiteX2705" fmla="*/ 1309 w 10785"/>
                <a:gd name="connsiteY2705" fmla="*/ 8393 h 10000"/>
                <a:gd name="connsiteX2706" fmla="*/ 1318 w 10785"/>
                <a:gd name="connsiteY2706" fmla="*/ 8385 h 10000"/>
                <a:gd name="connsiteX2707" fmla="*/ 1323 w 10785"/>
                <a:gd name="connsiteY2707" fmla="*/ 8385 h 10000"/>
                <a:gd name="connsiteX2708" fmla="*/ 1332 w 10785"/>
                <a:gd name="connsiteY2708" fmla="*/ 8410 h 10000"/>
                <a:gd name="connsiteX2709" fmla="*/ 1346 w 10785"/>
                <a:gd name="connsiteY2709" fmla="*/ 8419 h 10000"/>
                <a:gd name="connsiteX2710" fmla="*/ 1364 w 10785"/>
                <a:gd name="connsiteY2710" fmla="*/ 8504 h 10000"/>
                <a:gd name="connsiteX2711" fmla="*/ 1369 w 10785"/>
                <a:gd name="connsiteY2711" fmla="*/ 8521 h 10000"/>
                <a:gd name="connsiteX2712" fmla="*/ 1406 w 10785"/>
                <a:gd name="connsiteY2712" fmla="*/ 8470 h 10000"/>
                <a:gd name="connsiteX2713" fmla="*/ 1382 w 10785"/>
                <a:gd name="connsiteY2713" fmla="*/ 8359 h 10000"/>
                <a:gd name="connsiteX2714" fmla="*/ 1392 w 10785"/>
                <a:gd name="connsiteY2714" fmla="*/ 8359 h 10000"/>
                <a:gd name="connsiteX2715" fmla="*/ 1438 w 10785"/>
                <a:gd name="connsiteY2715" fmla="*/ 8308 h 10000"/>
                <a:gd name="connsiteX2716" fmla="*/ 1442 w 10785"/>
                <a:gd name="connsiteY2716" fmla="*/ 8299 h 10000"/>
                <a:gd name="connsiteX2717" fmla="*/ 1442 w 10785"/>
                <a:gd name="connsiteY2717" fmla="*/ 8256 h 10000"/>
                <a:gd name="connsiteX2718" fmla="*/ 1452 w 10785"/>
                <a:gd name="connsiteY2718" fmla="*/ 8256 h 10000"/>
                <a:gd name="connsiteX2719" fmla="*/ 1456 w 10785"/>
                <a:gd name="connsiteY2719" fmla="*/ 8256 h 10000"/>
                <a:gd name="connsiteX2720" fmla="*/ 1470 w 10785"/>
                <a:gd name="connsiteY2720" fmla="*/ 8248 h 10000"/>
                <a:gd name="connsiteX2721" fmla="*/ 1479 w 10785"/>
                <a:gd name="connsiteY2721" fmla="*/ 8231 h 10000"/>
                <a:gd name="connsiteX2722" fmla="*/ 1493 w 10785"/>
                <a:gd name="connsiteY2722" fmla="*/ 8222 h 10000"/>
                <a:gd name="connsiteX2723" fmla="*/ 1498 w 10785"/>
                <a:gd name="connsiteY2723" fmla="*/ 8214 h 10000"/>
                <a:gd name="connsiteX2724" fmla="*/ 1502 w 10785"/>
                <a:gd name="connsiteY2724" fmla="*/ 8197 h 10000"/>
                <a:gd name="connsiteX2725" fmla="*/ 1512 w 10785"/>
                <a:gd name="connsiteY2725" fmla="*/ 8188 h 10000"/>
                <a:gd name="connsiteX2726" fmla="*/ 1516 w 10785"/>
                <a:gd name="connsiteY2726" fmla="*/ 8171 h 10000"/>
                <a:gd name="connsiteX2727" fmla="*/ 1525 w 10785"/>
                <a:gd name="connsiteY2727" fmla="*/ 8162 h 10000"/>
                <a:gd name="connsiteX2728" fmla="*/ 1539 w 10785"/>
                <a:gd name="connsiteY2728" fmla="*/ 8145 h 10000"/>
                <a:gd name="connsiteX2729" fmla="*/ 1558 w 10785"/>
                <a:gd name="connsiteY2729" fmla="*/ 8145 h 10000"/>
                <a:gd name="connsiteX2730" fmla="*/ 1562 w 10785"/>
                <a:gd name="connsiteY2730" fmla="*/ 8188 h 10000"/>
                <a:gd name="connsiteX2731" fmla="*/ 1585 w 10785"/>
                <a:gd name="connsiteY2731" fmla="*/ 8171 h 10000"/>
                <a:gd name="connsiteX2732" fmla="*/ 1590 w 10785"/>
                <a:gd name="connsiteY2732" fmla="*/ 8188 h 10000"/>
                <a:gd name="connsiteX2733" fmla="*/ 1599 w 10785"/>
                <a:gd name="connsiteY2733" fmla="*/ 8171 h 10000"/>
                <a:gd name="connsiteX2734" fmla="*/ 1599 w 10785"/>
                <a:gd name="connsiteY2734" fmla="*/ 8162 h 10000"/>
                <a:gd name="connsiteX2735" fmla="*/ 1604 w 10785"/>
                <a:gd name="connsiteY2735" fmla="*/ 8137 h 10000"/>
                <a:gd name="connsiteX2736" fmla="*/ 1618 w 10785"/>
                <a:gd name="connsiteY2736" fmla="*/ 8145 h 10000"/>
                <a:gd name="connsiteX2737" fmla="*/ 1627 w 10785"/>
                <a:gd name="connsiteY2737" fmla="*/ 8137 h 10000"/>
                <a:gd name="connsiteX2738" fmla="*/ 1631 w 10785"/>
                <a:gd name="connsiteY2738" fmla="*/ 8137 h 10000"/>
                <a:gd name="connsiteX2739" fmla="*/ 1636 w 10785"/>
                <a:gd name="connsiteY2739" fmla="*/ 8171 h 10000"/>
                <a:gd name="connsiteX2740" fmla="*/ 1645 w 10785"/>
                <a:gd name="connsiteY2740" fmla="*/ 8188 h 10000"/>
                <a:gd name="connsiteX2741" fmla="*/ 1664 w 10785"/>
                <a:gd name="connsiteY2741" fmla="*/ 8171 h 10000"/>
                <a:gd name="connsiteX2742" fmla="*/ 1673 w 10785"/>
                <a:gd name="connsiteY2742" fmla="*/ 8188 h 10000"/>
                <a:gd name="connsiteX2743" fmla="*/ 1691 w 10785"/>
                <a:gd name="connsiteY2743" fmla="*/ 8171 h 10000"/>
                <a:gd name="connsiteX2744" fmla="*/ 1705 w 10785"/>
                <a:gd name="connsiteY2744" fmla="*/ 8171 h 10000"/>
                <a:gd name="connsiteX2745" fmla="*/ 1719 w 10785"/>
                <a:gd name="connsiteY2745" fmla="*/ 8197 h 10000"/>
                <a:gd name="connsiteX2746" fmla="*/ 1724 w 10785"/>
                <a:gd name="connsiteY2746" fmla="*/ 8231 h 10000"/>
                <a:gd name="connsiteX2747" fmla="*/ 1751 w 10785"/>
                <a:gd name="connsiteY2747" fmla="*/ 8256 h 10000"/>
                <a:gd name="connsiteX2748" fmla="*/ 1751 w 10785"/>
                <a:gd name="connsiteY2748" fmla="*/ 8274 h 10000"/>
                <a:gd name="connsiteX2749" fmla="*/ 1760 w 10785"/>
                <a:gd name="connsiteY2749" fmla="*/ 8282 h 10000"/>
                <a:gd name="connsiteX2750" fmla="*/ 1770 w 10785"/>
                <a:gd name="connsiteY2750" fmla="*/ 8325 h 10000"/>
                <a:gd name="connsiteX2751" fmla="*/ 1770 w 10785"/>
                <a:gd name="connsiteY2751" fmla="*/ 8350 h 10000"/>
                <a:gd name="connsiteX2752" fmla="*/ 1779 w 10785"/>
                <a:gd name="connsiteY2752" fmla="*/ 8368 h 10000"/>
                <a:gd name="connsiteX2753" fmla="*/ 1783 w 10785"/>
                <a:gd name="connsiteY2753" fmla="*/ 8359 h 10000"/>
                <a:gd name="connsiteX2754" fmla="*/ 1783 w 10785"/>
                <a:gd name="connsiteY2754" fmla="*/ 8308 h 10000"/>
                <a:gd name="connsiteX2755" fmla="*/ 1779 w 10785"/>
                <a:gd name="connsiteY2755" fmla="*/ 8299 h 10000"/>
                <a:gd name="connsiteX2756" fmla="*/ 1783 w 10785"/>
                <a:gd name="connsiteY2756" fmla="*/ 8282 h 10000"/>
                <a:gd name="connsiteX2757" fmla="*/ 1797 w 10785"/>
                <a:gd name="connsiteY2757" fmla="*/ 8274 h 10000"/>
                <a:gd name="connsiteX2758" fmla="*/ 1797 w 10785"/>
                <a:gd name="connsiteY2758" fmla="*/ 8299 h 10000"/>
                <a:gd name="connsiteX2759" fmla="*/ 1806 w 10785"/>
                <a:gd name="connsiteY2759" fmla="*/ 8308 h 10000"/>
                <a:gd name="connsiteX2760" fmla="*/ 1811 w 10785"/>
                <a:gd name="connsiteY2760" fmla="*/ 8325 h 10000"/>
                <a:gd name="connsiteX2761" fmla="*/ 1820 w 10785"/>
                <a:gd name="connsiteY2761" fmla="*/ 8333 h 10000"/>
                <a:gd name="connsiteX2762" fmla="*/ 1853 w 10785"/>
                <a:gd name="connsiteY2762" fmla="*/ 8359 h 10000"/>
                <a:gd name="connsiteX2763" fmla="*/ 1866 w 10785"/>
                <a:gd name="connsiteY2763" fmla="*/ 8359 h 10000"/>
                <a:gd name="connsiteX2764" fmla="*/ 1885 w 10785"/>
                <a:gd name="connsiteY2764" fmla="*/ 8325 h 10000"/>
                <a:gd name="connsiteX2765" fmla="*/ 1885 w 10785"/>
                <a:gd name="connsiteY2765" fmla="*/ 8308 h 10000"/>
                <a:gd name="connsiteX2766" fmla="*/ 1894 w 10785"/>
                <a:gd name="connsiteY2766" fmla="*/ 8299 h 10000"/>
                <a:gd name="connsiteX2767" fmla="*/ 1899 w 10785"/>
                <a:gd name="connsiteY2767" fmla="*/ 8282 h 10000"/>
                <a:gd name="connsiteX2768" fmla="*/ 1912 w 10785"/>
                <a:gd name="connsiteY2768" fmla="*/ 8282 h 10000"/>
                <a:gd name="connsiteX2769" fmla="*/ 1917 w 10785"/>
                <a:gd name="connsiteY2769" fmla="*/ 8299 h 10000"/>
                <a:gd name="connsiteX2770" fmla="*/ 1917 w 10785"/>
                <a:gd name="connsiteY2770" fmla="*/ 8274 h 10000"/>
                <a:gd name="connsiteX2771" fmla="*/ 1940 w 10785"/>
                <a:gd name="connsiteY2771" fmla="*/ 8282 h 10000"/>
                <a:gd name="connsiteX2772" fmla="*/ 1945 w 10785"/>
                <a:gd name="connsiteY2772" fmla="*/ 8274 h 10000"/>
                <a:gd name="connsiteX2773" fmla="*/ 1972 w 10785"/>
                <a:gd name="connsiteY2773" fmla="*/ 8308 h 10000"/>
                <a:gd name="connsiteX2774" fmla="*/ 1986 w 10785"/>
                <a:gd name="connsiteY2774" fmla="*/ 8282 h 10000"/>
                <a:gd name="connsiteX2775" fmla="*/ 1991 w 10785"/>
                <a:gd name="connsiteY2775" fmla="*/ 8274 h 10000"/>
                <a:gd name="connsiteX2776" fmla="*/ 2014 w 10785"/>
                <a:gd name="connsiteY2776" fmla="*/ 8274 h 10000"/>
                <a:gd name="connsiteX2777" fmla="*/ 2018 w 10785"/>
                <a:gd name="connsiteY2777" fmla="*/ 8256 h 10000"/>
                <a:gd name="connsiteX2778" fmla="*/ 2041 w 10785"/>
                <a:gd name="connsiteY2778" fmla="*/ 8274 h 10000"/>
                <a:gd name="connsiteX2779" fmla="*/ 2046 w 10785"/>
                <a:gd name="connsiteY2779" fmla="*/ 8282 h 10000"/>
                <a:gd name="connsiteX2780" fmla="*/ 2046 w 10785"/>
                <a:gd name="connsiteY2780" fmla="*/ 8325 h 10000"/>
                <a:gd name="connsiteX2781" fmla="*/ 2060 w 10785"/>
                <a:gd name="connsiteY2781" fmla="*/ 8350 h 10000"/>
                <a:gd name="connsiteX2782" fmla="*/ 2078 w 10785"/>
                <a:gd name="connsiteY2782" fmla="*/ 8350 h 10000"/>
                <a:gd name="connsiteX2783" fmla="*/ 2092 w 10785"/>
                <a:gd name="connsiteY2783" fmla="*/ 8350 h 10000"/>
                <a:gd name="connsiteX2784" fmla="*/ 2092 w 10785"/>
                <a:gd name="connsiteY2784" fmla="*/ 8350 h 10000"/>
                <a:gd name="connsiteX2785" fmla="*/ 2101 w 10785"/>
                <a:gd name="connsiteY2785" fmla="*/ 8368 h 10000"/>
                <a:gd name="connsiteX2786" fmla="*/ 2120 w 10785"/>
                <a:gd name="connsiteY2786" fmla="*/ 8368 h 10000"/>
                <a:gd name="connsiteX2787" fmla="*/ 2124 w 10785"/>
                <a:gd name="connsiteY2787" fmla="*/ 8359 h 10000"/>
                <a:gd name="connsiteX2788" fmla="*/ 2138 w 10785"/>
                <a:gd name="connsiteY2788" fmla="*/ 8325 h 10000"/>
                <a:gd name="connsiteX2789" fmla="*/ 2147 w 10785"/>
                <a:gd name="connsiteY2789" fmla="*/ 8325 h 10000"/>
                <a:gd name="connsiteX2790" fmla="*/ 2161 w 10785"/>
                <a:gd name="connsiteY2790" fmla="*/ 8350 h 10000"/>
                <a:gd name="connsiteX2791" fmla="*/ 2198 w 10785"/>
                <a:gd name="connsiteY2791" fmla="*/ 8350 h 10000"/>
                <a:gd name="connsiteX2792" fmla="*/ 2207 w 10785"/>
                <a:gd name="connsiteY2792" fmla="*/ 8333 h 10000"/>
                <a:gd name="connsiteX2793" fmla="*/ 2226 w 10785"/>
                <a:gd name="connsiteY2793" fmla="*/ 8325 h 10000"/>
                <a:gd name="connsiteX2794" fmla="*/ 2249 w 10785"/>
                <a:gd name="connsiteY2794" fmla="*/ 8222 h 10000"/>
                <a:gd name="connsiteX2795" fmla="*/ 2235 w 10785"/>
                <a:gd name="connsiteY2795" fmla="*/ 8197 h 10000"/>
                <a:gd name="connsiteX2796" fmla="*/ 2198 w 10785"/>
                <a:gd name="connsiteY2796" fmla="*/ 8197 h 10000"/>
                <a:gd name="connsiteX2797" fmla="*/ 2189 w 10785"/>
                <a:gd name="connsiteY2797" fmla="*/ 8171 h 10000"/>
                <a:gd name="connsiteX2798" fmla="*/ 2161 w 10785"/>
                <a:gd name="connsiteY2798" fmla="*/ 8145 h 10000"/>
                <a:gd name="connsiteX2799" fmla="*/ 2161 w 10785"/>
                <a:gd name="connsiteY2799" fmla="*/ 8137 h 10000"/>
                <a:gd name="connsiteX2800" fmla="*/ 2152 w 10785"/>
                <a:gd name="connsiteY2800" fmla="*/ 8120 h 10000"/>
                <a:gd name="connsiteX2801" fmla="*/ 2138 w 10785"/>
                <a:gd name="connsiteY2801" fmla="*/ 8111 h 10000"/>
                <a:gd name="connsiteX2802" fmla="*/ 2138 w 10785"/>
                <a:gd name="connsiteY2802" fmla="*/ 8094 h 10000"/>
                <a:gd name="connsiteX2803" fmla="*/ 2147 w 10785"/>
                <a:gd name="connsiteY2803" fmla="*/ 8085 h 10000"/>
                <a:gd name="connsiteX2804" fmla="*/ 2161 w 10785"/>
                <a:gd name="connsiteY2804" fmla="*/ 8060 h 10000"/>
                <a:gd name="connsiteX2805" fmla="*/ 2198 w 10785"/>
                <a:gd name="connsiteY2805" fmla="*/ 8034 h 10000"/>
                <a:gd name="connsiteX2806" fmla="*/ 2198 w 10785"/>
                <a:gd name="connsiteY2806" fmla="*/ 8026 h 10000"/>
                <a:gd name="connsiteX2807" fmla="*/ 2198 w 10785"/>
                <a:gd name="connsiteY2807" fmla="*/ 8000 h 10000"/>
                <a:gd name="connsiteX2808" fmla="*/ 2180 w 10785"/>
                <a:gd name="connsiteY2808" fmla="*/ 7940 h 10000"/>
                <a:gd name="connsiteX2809" fmla="*/ 2189 w 10785"/>
                <a:gd name="connsiteY2809" fmla="*/ 7940 h 10000"/>
                <a:gd name="connsiteX2810" fmla="*/ 2198 w 10785"/>
                <a:gd name="connsiteY2810" fmla="*/ 7923 h 10000"/>
                <a:gd name="connsiteX2811" fmla="*/ 2198 w 10785"/>
                <a:gd name="connsiteY2811" fmla="*/ 7897 h 10000"/>
                <a:gd name="connsiteX2812" fmla="*/ 2207 w 10785"/>
                <a:gd name="connsiteY2812" fmla="*/ 7889 h 10000"/>
                <a:gd name="connsiteX2813" fmla="*/ 2221 w 10785"/>
                <a:gd name="connsiteY2813" fmla="*/ 7889 h 10000"/>
                <a:gd name="connsiteX2814" fmla="*/ 2226 w 10785"/>
                <a:gd name="connsiteY2814" fmla="*/ 7897 h 10000"/>
                <a:gd name="connsiteX2815" fmla="*/ 2235 w 10785"/>
                <a:gd name="connsiteY2815" fmla="*/ 7889 h 10000"/>
                <a:gd name="connsiteX2816" fmla="*/ 2249 w 10785"/>
                <a:gd name="connsiteY2816" fmla="*/ 7897 h 10000"/>
                <a:gd name="connsiteX2817" fmla="*/ 2267 w 10785"/>
                <a:gd name="connsiteY2817" fmla="*/ 7897 h 10000"/>
                <a:gd name="connsiteX2818" fmla="*/ 2272 w 10785"/>
                <a:gd name="connsiteY2818" fmla="*/ 7889 h 10000"/>
                <a:gd name="connsiteX2819" fmla="*/ 2281 w 10785"/>
                <a:gd name="connsiteY2819" fmla="*/ 7872 h 10000"/>
                <a:gd name="connsiteX2820" fmla="*/ 2272 w 10785"/>
                <a:gd name="connsiteY2820" fmla="*/ 7846 h 10000"/>
                <a:gd name="connsiteX2821" fmla="*/ 2253 w 10785"/>
                <a:gd name="connsiteY2821" fmla="*/ 7838 h 10000"/>
                <a:gd name="connsiteX2822" fmla="*/ 2221 w 10785"/>
                <a:gd name="connsiteY2822" fmla="*/ 7821 h 10000"/>
                <a:gd name="connsiteX2823" fmla="*/ 2212 w 10785"/>
                <a:gd name="connsiteY2823" fmla="*/ 7812 h 10000"/>
                <a:gd name="connsiteX2824" fmla="*/ 2212 w 10785"/>
                <a:gd name="connsiteY2824" fmla="*/ 7803 h 10000"/>
                <a:gd name="connsiteX2825" fmla="*/ 2221 w 10785"/>
                <a:gd name="connsiteY2825" fmla="*/ 7803 h 10000"/>
                <a:gd name="connsiteX2826" fmla="*/ 2235 w 10785"/>
                <a:gd name="connsiteY2826" fmla="*/ 7786 h 10000"/>
                <a:gd name="connsiteX2827" fmla="*/ 2240 w 10785"/>
                <a:gd name="connsiteY2827" fmla="*/ 7778 h 10000"/>
                <a:gd name="connsiteX2828" fmla="*/ 2226 w 10785"/>
                <a:gd name="connsiteY2828" fmla="*/ 7761 h 10000"/>
                <a:gd name="connsiteX2829" fmla="*/ 2221 w 10785"/>
                <a:gd name="connsiteY2829" fmla="*/ 7778 h 10000"/>
                <a:gd name="connsiteX2830" fmla="*/ 2198 w 10785"/>
                <a:gd name="connsiteY2830" fmla="*/ 7778 h 10000"/>
                <a:gd name="connsiteX2831" fmla="*/ 2198 w 10785"/>
                <a:gd name="connsiteY2831" fmla="*/ 7752 h 10000"/>
                <a:gd name="connsiteX2832" fmla="*/ 2207 w 10785"/>
                <a:gd name="connsiteY2832" fmla="*/ 7735 h 10000"/>
                <a:gd name="connsiteX2833" fmla="*/ 2212 w 10785"/>
                <a:gd name="connsiteY2833" fmla="*/ 7726 h 10000"/>
                <a:gd name="connsiteX2834" fmla="*/ 2198 w 10785"/>
                <a:gd name="connsiteY2834" fmla="*/ 7692 h 10000"/>
                <a:gd name="connsiteX2835" fmla="*/ 2221 w 10785"/>
                <a:gd name="connsiteY2835" fmla="*/ 7692 h 10000"/>
                <a:gd name="connsiteX2836" fmla="*/ 2221 w 10785"/>
                <a:gd name="connsiteY2836" fmla="*/ 7675 h 10000"/>
                <a:gd name="connsiteX2837" fmla="*/ 2235 w 10785"/>
                <a:gd name="connsiteY2837" fmla="*/ 7675 h 10000"/>
                <a:gd name="connsiteX2838" fmla="*/ 2240 w 10785"/>
                <a:gd name="connsiteY2838" fmla="*/ 7692 h 10000"/>
                <a:gd name="connsiteX2839" fmla="*/ 2249 w 10785"/>
                <a:gd name="connsiteY2839" fmla="*/ 7692 h 10000"/>
                <a:gd name="connsiteX2840" fmla="*/ 2258 w 10785"/>
                <a:gd name="connsiteY2840" fmla="*/ 7692 h 10000"/>
                <a:gd name="connsiteX2841" fmla="*/ 2267 w 10785"/>
                <a:gd name="connsiteY2841" fmla="*/ 7692 h 10000"/>
                <a:gd name="connsiteX2842" fmla="*/ 2295 w 10785"/>
                <a:gd name="connsiteY2842" fmla="*/ 7692 h 10000"/>
                <a:gd name="connsiteX2843" fmla="*/ 2300 w 10785"/>
                <a:gd name="connsiteY2843" fmla="*/ 7701 h 10000"/>
                <a:gd name="connsiteX2844" fmla="*/ 2313 w 10785"/>
                <a:gd name="connsiteY2844" fmla="*/ 7675 h 10000"/>
                <a:gd name="connsiteX2845" fmla="*/ 2323 w 10785"/>
                <a:gd name="connsiteY2845" fmla="*/ 7675 h 10000"/>
                <a:gd name="connsiteX2846" fmla="*/ 2341 w 10785"/>
                <a:gd name="connsiteY2846" fmla="*/ 7675 h 10000"/>
                <a:gd name="connsiteX2847" fmla="*/ 2346 w 10785"/>
                <a:gd name="connsiteY2847" fmla="*/ 7667 h 10000"/>
                <a:gd name="connsiteX2848" fmla="*/ 2359 w 10785"/>
                <a:gd name="connsiteY2848" fmla="*/ 7650 h 10000"/>
                <a:gd name="connsiteX2849" fmla="*/ 2373 w 10785"/>
                <a:gd name="connsiteY2849" fmla="*/ 7624 h 10000"/>
                <a:gd name="connsiteX2850" fmla="*/ 2382 w 10785"/>
                <a:gd name="connsiteY2850" fmla="*/ 7641 h 10000"/>
                <a:gd name="connsiteX2851" fmla="*/ 2396 w 10785"/>
                <a:gd name="connsiteY2851" fmla="*/ 7650 h 10000"/>
                <a:gd name="connsiteX2852" fmla="*/ 2401 w 10785"/>
                <a:gd name="connsiteY2852" fmla="*/ 7650 h 10000"/>
                <a:gd name="connsiteX2853" fmla="*/ 2401 w 10785"/>
                <a:gd name="connsiteY2853" fmla="*/ 7624 h 10000"/>
                <a:gd name="connsiteX2854" fmla="*/ 2419 w 10785"/>
                <a:gd name="connsiteY2854" fmla="*/ 7624 h 10000"/>
                <a:gd name="connsiteX2855" fmla="*/ 2433 w 10785"/>
                <a:gd name="connsiteY2855" fmla="*/ 7615 h 10000"/>
                <a:gd name="connsiteX2856" fmla="*/ 2442 w 10785"/>
                <a:gd name="connsiteY2856" fmla="*/ 7615 h 10000"/>
                <a:gd name="connsiteX2857" fmla="*/ 2447 w 10785"/>
                <a:gd name="connsiteY2857" fmla="*/ 7598 h 10000"/>
                <a:gd name="connsiteX2858" fmla="*/ 2461 w 10785"/>
                <a:gd name="connsiteY2858" fmla="*/ 7598 h 10000"/>
                <a:gd name="connsiteX2859" fmla="*/ 2465 w 10785"/>
                <a:gd name="connsiteY2859" fmla="*/ 7615 h 10000"/>
                <a:gd name="connsiteX2860" fmla="*/ 2479 w 10785"/>
                <a:gd name="connsiteY2860" fmla="*/ 7564 h 10000"/>
                <a:gd name="connsiteX2861" fmla="*/ 2488 w 10785"/>
                <a:gd name="connsiteY2861" fmla="*/ 7556 h 10000"/>
                <a:gd name="connsiteX2862" fmla="*/ 2493 w 10785"/>
                <a:gd name="connsiteY2862" fmla="*/ 7556 h 10000"/>
                <a:gd name="connsiteX2863" fmla="*/ 2507 w 10785"/>
                <a:gd name="connsiteY2863" fmla="*/ 7556 h 10000"/>
                <a:gd name="connsiteX2864" fmla="*/ 2530 w 10785"/>
                <a:gd name="connsiteY2864" fmla="*/ 7538 h 10000"/>
                <a:gd name="connsiteX2865" fmla="*/ 2530 w 10785"/>
                <a:gd name="connsiteY2865" fmla="*/ 7556 h 10000"/>
                <a:gd name="connsiteX2866" fmla="*/ 2641 w 10785"/>
                <a:gd name="connsiteY2866" fmla="*/ 7504 h 10000"/>
                <a:gd name="connsiteX2867" fmla="*/ 2654 w 10785"/>
                <a:gd name="connsiteY2867" fmla="*/ 7487 h 10000"/>
                <a:gd name="connsiteX2868" fmla="*/ 2664 w 10785"/>
                <a:gd name="connsiteY2868" fmla="*/ 7487 h 10000"/>
                <a:gd name="connsiteX2869" fmla="*/ 2668 w 10785"/>
                <a:gd name="connsiteY2869" fmla="*/ 7479 h 10000"/>
                <a:gd name="connsiteX2870" fmla="*/ 2673 w 10785"/>
                <a:gd name="connsiteY2870" fmla="*/ 7462 h 10000"/>
                <a:gd name="connsiteX2871" fmla="*/ 2673 w 10785"/>
                <a:gd name="connsiteY2871" fmla="*/ 7427 h 10000"/>
                <a:gd name="connsiteX2872" fmla="*/ 2687 w 10785"/>
                <a:gd name="connsiteY2872" fmla="*/ 7436 h 10000"/>
                <a:gd name="connsiteX2873" fmla="*/ 2696 w 10785"/>
                <a:gd name="connsiteY2873" fmla="*/ 7427 h 10000"/>
                <a:gd name="connsiteX2874" fmla="*/ 2700 w 10785"/>
                <a:gd name="connsiteY2874" fmla="*/ 7419 h 10000"/>
                <a:gd name="connsiteX2875" fmla="*/ 2710 w 10785"/>
                <a:gd name="connsiteY2875" fmla="*/ 7402 h 10000"/>
                <a:gd name="connsiteX2876" fmla="*/ 2724 w 10785"/>
                <a:gd name="connsiteY2876" fmla="*/ 7402 h 10000"/>
                <a:gd name="connsiteX2877" fmla="*/ 2724 w 10785"/>
                <a:gd name="connsiteY2877" fmla="*/ 7393 h 10000"/>
                <a:gd name="connsiteX2878" fmla="*/ 2737 w 10785"/>
                <a:gd name="connsiteY2878" fmla="*/ 7393 h 10000"/>
                <a:gd name="connsiteX2879" fmla="*/ 2742 w 10785"/>
                <a:gd name="connsiteY2879" fmla="*/ 7402 h 10000"/>
                <a:gd name="connsiteX2880" fmla="*/ 2747 w 10785"/>
                <a:gd name="connsiteY2880" fmla="*/ 7402 h 10000"/>
                <a:gd name="connsiteX2881" fmla="*/ 2760 w 10785"/>
                <a:gd name="connsiteY2881" fmla="*/ 7402 h 10000"/>
                <a:gd name="connsiteX2882" fmla="*/ 2770 w 10785"/>
                <a:gd name="connsiteY2882" fmla="*/ 7402 h 10000"/>
                <a:gd name="connsiteX2883" fmla="*/ 2774 w 10785"/>
                <a:gd name="connsiteY2883" fmla="*/ 7402 h 10000"/>
                <a:gd name="connsiteX2884" fmla="*/ 2783 w 10785"/>
                <a:gd name="connsiteY2884" fmla="*/ 7419 h 10000"/>
                <a:gd name="connsiteX2885" fmla="*/ 2802 w 10785"/>
                <a:gd name="connsiteY2885" fmla="*/ 7436 h 10000"/>
                <a:gd name="connsiteX2886" fmla="*/ 2816 w 10785"/>
                <a:gd name="connsiteY2886" fmla="*/ 7419 h 10000"/>
                <a:gd name="connsiteX2887" fmla="*/ 2834 w 10785"/>
                <a:gd name="connsiteY2887" fmla="*/ 7419 h 10000"/>
                <a:gd name="connsiteX2888" fmla="*/ 2843 w 10785"/>
                <a:gd name="connsiteY2888" fmla="*/ 7419 h 10000"/>
                <a:gd name="connsiteX2889" fmla="*/ 2848 w 10785"/>
                <a:gd name="connsiteY2889" fmla="*/ 7436 h 10000"/>
                <a:gd name="connsiteX2890" fmla="*/ 2857 w 10785"/>
                <a:gd name="connsiteY2890" fmla="*/ 7453 h 10000"/>
                <a:gd name="connsiteX2891" fmla="*/ 2857 w 10785"/>
                <a:gd name="connsiteY2891" fmla="*/ 7504 h 10000"/>
                <a:gd name="connsiteX2892" fmla="*/ 2862 w 10785"/>
                <a:gd name="connsiteY2892" fmla="*/ 7530 h 10000"/>
                <a:gd name="connsiteX2893" fmla="*/ 2876 w 10785"/>
                <a:gd name="connsiteY2893" fmla="*/ 7538 h 10000"/>
                <a:gd name="connsiteX2894" fmla="*/ 2871 w 10785"/>
                <a:gd name="connsiteY2894" fmla="*/ 7564 h 10000"/>
                <a:gd name="connsiteX2895" fmla="*/ 2871 w 10785"/>
                <a:gd name="connsiteY2895" fmla="*/ 7598 h 10000"/>
                <a:gd name="connsiteX2896" fmla="*/ 2857 w 10785"/>
                <a:gd name="connsiteY2896" fmla="*/ 7624 h 10000"/>
                <a:gd name="connsiteX2897" fmla="*/ 2862 w 10785"/>
                <a:gd name="connsiteY2897" fmla="*/ 7641 h 10000"/>
                <a:gd name="connsiteX2898" fmla="*/ 2871 w 10785"/>
                <a:gd name="connsiteY2898" fmla="*/ 7667 h 10000"/>
                <a:gd name="connsiteX2899" fmla="*/ 2880 w 10785"/>
                <a:gd name="connsiteY2899" fmla="*/ 7650 h 10000"/>
                <a:gd name="connsiteX2900" fmla="*/ 2894 w 10785"/>
                <a:gd name="connsiteY2900" fmla="*/ 7667 h 10000"/>
                <a:gd name="connsiteX2901" fmla="*/ 2903 w 10785"/>
                <a:gd name="connsiteY2901" fmla="*/ 7667 h 10000"/>
                <a:gd name="connsiteX2902" fmla="*/ 2908 w 10785"/>
                <a:gd name="connsiteY2902" fmla="*/ 7641 h 10000"/>
                <a:gd name="connsiteX2903" fmla="*/ 2917 w 10785"/>
                <a:gd name="connsiteY2903" fmla="*/ 7641 h 10000"/>
                <a:gd name="connsiteX2904" fmla="*/ 2922 w 10785"/>
                <a:gd name="connsiteY2904" fmla="*/ 7641 h 10000"/>
                <a:gd name="connsiteX2905" fmla="*/ 2931 w 10785"/>
                <a:gd name="connsiteY2905" fmla="*/ 7615 h 10000"/>
                <a:gd name="connsiteX2906" fmla="*/ 2935 w 10785"/>
                <a:gd name="connsiteY2906" fmla="*/ 7615 h 10000"/>
                <a:gd name="connsiteX2907" fmla="*/ 2945 w 10785"/>
                <a:gd name="connsiteY2907" fmla="*/ 7650 h 10000"/>
                <a:gd name="connsiteX2908" fmla="*/ 2949 w 10785"/>
                <a:gd name="connsiteY2908" fmla="*/ 7667 h 10000"/>
                <a:gd name="connsiteX2909" fmla="*/ 2949 w 10785"/>
                <a:gd name="connsiteY2909" fmla="*/ 7675 h 10000"/>
                <a:gd name="connsiteX2910" fmla="*/ 2945 w 10785"/>
                <a:gd name="connsiteY2910" fmla="*/ 7692 h 10000"/>
                <a:gd name="connsiteX2911" fmla="*/ 2963 w 10785"/>
                <a:gd name="connsiteY2911" fmla="*/ 7701 h 10000"/>
                <a:gd name="connsiteX2912" fmla="*/ 2963 w 10785"/>
                <a:gd name="connsiteY2912" fmla="*/ 7675 h 10000"/>
                <a:gd name="connsiteX2913" fmla="*/ 2954 w 10785"/>
                <a:gd name="connsiteY2913" fmla="*/ 7667 h 10000"/>
                <a:gd name="connsiteX2914" fmla="*/ 2963 w 10785"/>
                <a:gd name="connsiteY2914" fmla="*/ 7667 h 10000"/>
                <a:gd name="connsiteX2915" fmla="*/ 2982 w 10785"/>
                <a:gd name="connsiteY2915" fmla="*/ 7667 h 10000"/>
                <a:gd name="connsiteX2916" fmla="*/ 2991 w 10785"/>
                <a:gd name="connsiteY2916" fmla="*/ 7675 h 10000"/>
                <a:gd name="connsiteX2917" fmla="*/ 2995 w 10785"/>
                <a:gd name="connsiteY2917" fmla="*/ 7692 h 10000"/>
                <a:gd name="connsiteX2918" fmla="*/ 3009 w 10785"/>
                <a:gd name="connsiteY2918" fmla="*/ 7701 h 10000"/>
                <a:gd name="connsiteX2919" fmla="*/ 3018 w 10785"/>
                <a:gd name="connsiteY2919" fmla="*/ 7701 h 10000"/>
                <a:gd name="connsiteX2920" fmla="*/ 3023 w 10785"/>
                <a:gd name="connsiteY2920" fmla="*/ 7692 h 10000"/>
                <a:gd name="connsiteX2921" fmla="*/ 3028 w 10785"/>
                <a:gd name="connsiteY2921" fmla="*/ 7675 h 10000"/>
                <a:gd name="connsiteX2922" fmla="*/ 3037 w 10785"/>
                <a:gd name="connsiteY2922" fmla="*/ 7692 h 10000"/>
                <a:gd name="connsiteX2923" fmla="*/ 3028 w 10785"/>
                <a:gd name="connsiteY2923" fmla="*/ 7709 h 10000"/>
                <a:gd name="connsiteX2924" fmla="*/ 3023 w 10785"/>
                <a:gd name="connsiteY2924" fmla="*/ 7709 h 10000"/>
                <a:gd name="connsiteX2925" fmla="*/ 3018 w 10785"/>
                <a:gd name="connsiteY2925" fmla="*/ 7726 h 10000"/>
                <a:gd name="connsiteX2926" fmla="*/ 3009 w 10785"/>
                <a:gd name="connsiteY2926" fmla="*/ 7735 h 10000"/>
                <a:gd name="connsiteX2927" fmla="*/ 3009 w 10785"/>
                <a:gd name="connsiteY2927" fmla="*/ 7761 h 10000"/>
                <a:gd name="connsiteX2928" fmla="*/ 3009 w 10785"/>
                <a:gd name="connsiteY2928" fmla="*/ 7778 h 10000"/>
                <a:gd name="connsiteX2929" fmla="*/ 3018 w 10785"/>
                <a:gd name="connsiteY2929" fmla="*/ 7786 h 10000"/>
                <a:gd name="connsiteX2930" fmla="*/ 3023 w 10785"/>
                <a:gd name="connsiteY2930" fmla="*/ 7786 h 10000"/>
                <a:gd name="connsiteX2931" fmla="*/ 3028 w 10785"/>
                <a:gd name="connsiteY2931" fmla="*/ 7778 h 10000"/>
                <a:gd name="connsiteX2932" fmla="*/ 3051 w 10785"/>
                <a:gd name="connsiteY2932" fmla="*/ 7761 h 10000"/>
                <a:gd name="connsiteX2933" fmla="*/ 3055 w 10785"/>
                <a:gd name="connsiteY2933" fmla="*/ 7778 h 10000"/>
                <a:gd name="connsiteX2934" fmla="*/ 3065 w 10785"/>
                <a:gd name="connsiteY2934" fmla="*/ 7761 h 10000"/>
                <a:gd name="connsiteX2935" fmla="*/ 3069 w 10785"/>
                <a:gd name="connsiteY2935" fmla="*/ 7786 h 10000"/>
                <a:gd name="connsiteX2936" fmla="*/ 3083 w 10785"/>
                <a:gd name="connsiteY2936" fmla="*/ 7786 h 10000"/>
                <a:gd name="connsiteX2937" fmla="*/ 3078 w 10785"/>
                <a:gd name="connsiteY2937" fmla="*/ 7761 h 10000"/>
                <a:gd name="connsiteX2938" fmla="*/ 3083 w 10785"/>
                <a:gd name="connsiteY2938" fmla="*/ 7752 h 10000"/>
                <a:gd name="connsiteX2939" fmla="*/ 3097 w 10785"/>
                <a:gd name="connsiteY2939" fmla="*/ 7752 h 10000"/>
                <a:gd name="connsiteX2940" fmla="*/ 3111 w 10785"/>
                <a:gd name="connsiteY2940" fmla="*/ 7726 h 10000"/>
                <a:gd name="connsiteX2941" fmla="*/ 3124 w 10785"/>
                <a:gd name="connsiteY2941" fmla="*/ 7709 h 10000"/>
                <a:gd name="connsiteX2942" fmla="*/ 3143 w 10785"/>
                <a:gd name="connsiteY2942" fmla="*/ 7692 h 10000"/>
                <a:gd name="connsiteX2943" fmla="*/ 3152 w 10785"/>
                <a:gd name="connsiteY2943" fmla="*/ 7667 h 10000"/>
                <a:gd name="connsiteX2944" fmla="*/ 3157 w 10785"/>
                <a:gd name="connsiteY2944" fmla="*/ 7650 h 10000"/>
                <a:gd name="connsiteX2945" fmla="*/ 3161 w 10785"/>
                <a:gd name="connsiteY2945" fmla="*/ 7650 h 10000"/>
                <a:gd name="connsiteX2946" fmla="*/ 3189 w 10785"/>
                <a:gd name="connsiteY2946" fmla="*/ 7641 h 10000"/>
                <a:gd name="connsiteX2947" fmla="*/ 3198 w 10785"/>
                <a:gd name="connsiteY2947" fmla="*/ 7624 h 10000"/>
                <a:gd name="connsiteX2948" fmla="*/ 3217 w 10785"/>
                <a:gd name="connsiteY2948" fmla="*/ 7615 h 10000"/>
                <a:gd name="connsiteX2949" fmla="*/ 3235 w 10785"/>
                <a:gd name="connsiteY2949" fmla="*/ 7598 h 10000"/>
                <a:gd name="connsiteX2950" fmla="*/ 3235 w 10785"/>
                <a:gd name="connsiteY2950" fmla="*/ 7615 h 10000"/>
                <a:gd name="connsiteX2951" fmla="*/ 3235 w 10785"/>
                <a:gd name="connsiteY2951" fmla="*/ 7641 h 10000"/>
                <a:gd name="connsiteX2952" fmla="*/ 3235 w 10785"/>
                <a:gd name="connsiteY2952" fmla="*/ 7650 h 10000"/>
                <a:gd name="connsiteX2953" fmla="*/ 3226 w 10785"/>
                <a:gd name="connsiteY2953" fmla="*/ 7650 h 10000"/>
                <a:gd name="connsiteX2954" fmla="*/ 3217 w 10785"/>
                <a:gd name="connsiteY2954" fmla="*/ 7650 h 10000"/>
                <a:gd name="connsiteX2955" fmla="*/ 3212 w 10785"/>
                <a:gd name="connsiteY2955" fmla="*/ 7675 h 10000"/>
                <a:gd name="connsiteX2956" fmla="*/ 3212 w 10785"/>
                <a:gd name="connsiteY2956"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334 w 10785"/>
                <a:gd name="connsiteY731" fmla="*/ 4810 h 10000"/>
                <a:gd name="connsiteX732" fmla="*/ 10422 w 10785"/>
                <a:gd name="connsiteY732" fmla="*/ 5051 h 10000"/>
                <a:gd name="connsiteX733" fmla="*/ 10691 w 10785"/>
                <a:gd name="connsiteY733" fmla="*/ 5255 h 10000"/>
                <a:gd name="connsiteX734" fmla="*/ 10619 w 10785"/>
                <a:gd name="connsiteY734" fmla="*/ 4708 h 10000"/>
                <a:gd name="connsiteX735" fmla="*/ 10785 w 10785"/>
                <a:gd name="connsiteY735" fmla="*/ 4708 h 10000"/>
                <a:gd name="connsiteX736" fmla="*/ 10689 w 10785"/>
                <a:gd name="connsiteY736" fmla="*/ 4467 h 10000"/>
                <a:gd name="connsiteX737" fmla="*/ 10354 w 10785"/>
                <a:gd name="connsiteY737" fmla="*/ 4302 h 10000"/>
                <a:gd name="connsiteX738" fmla="*/ 9912 w 10785"/>
                <a:gd name="connsiteY738" fmla="*/ 3675 h 10000"/>
                <a:gd name="connsiteX739" fmla="*/ 9903 w 10785"/>
                <a:gd name="connsiteY739" fmla="*/ 3667 h 10000"/>
                <a:gd name="connsiteX740" fmla="*/ 9894 w 10785"/>
                <a:gd name="connsiteY740" fmla="*/ 3641 h 10000"/>
                <a:gd name="connsiteX741" fmla="*/ 9889 w 10785"/>
                <a:gd name="connsiteY741" fmla="*/ 3650 h 10000"/>
                <a:gd name="connsiteX742" fmla="*/ 9848 w 10785"/>
                <a:gd name="connsiteY742" fmla="*/ 3598 h 10000"/>
                <a:gd name="connsiteX743" fmla="*/ 9829 w 10785"/>
                <a:gd name="connsiteY743" fmla="*/ 3581 h 10000"/>
                <a:gd name="connsiteX744" fmla="*/ 9820 w 10785"/>
                <a:gd name="connsiteY744" fmla="*/ 3581 h 10000"/>
                <a:gd name="connsiteX745" fmla="*/ 9793 w 10785"/>
                <a:gd name="connsiteY745" fmla="*/ 3556 h 10000"/>
                <a:gd name="connsiteX746" fmla="*/ 9779 w 10785"/>
                <a:gd name="connsiteY746" fmla="*/ 3556 h 10000"/>
                <a:gd name="connsiteX747" fmla="*/ 9747 w 10785"/>
                <a:gd name="connsiteY747" fmla="*/ 3487 h 10000"/>
                <a:gd name="connsiteX748" fmla="*/ 9668 w 10785"/>
                <a:gd name="connsiteY748" fmla="*/ 3479 h 10000"/>
                <a:gd name="connsiteX749" fmla="*/ 9659 w 10785"/>
                <a:gd name="connsiteY749" fmla="*/ 3487 h 10000"/>
                <a:gd name="connsiteX750" fmla="*/ 9645 w 10785"/>
                <a:gd name="connsiteY750" fmla="*/ 3504 h 10000"/>
                <a:gd name="connsiteX751" fmla="*/ 9631 w 10785"/>
                <a:gd name="connsiteY751" fmla="*/ 3487 h 10000"/>
                <a:gd name="connsiteX752" fmla="*/ 9613 w 10785"/>
                <a:gd name="connsiteY752" fmla="*/ 3479 h 10000"/>
                <a:gd name="connsiteX753" fmla="*/ 9599 w 10785"/>
                <a:gd name="connsiteY753" fmla="*/ 3479 h 10000"/>
                <a:gd name="connsiteX754" fmla="*/ 9571 w 10785"/>
                <a:gd name="connsiteY754" fmla="*/ 3479 h 10000"/>
                <a:gd name="connsiteX755" fmla="*/ 9562 w 10785"/>
                <a:gd name="connsiteY755" fmla="*/ 3487 h 10000"/>
                <a:gd name="connsiteX756" fmla="*/ 9539 w 10785"/>
                <a:gd name="connsiteY756" fmla="*/ 3487 h 10000"/>
                <a:gd name="connsiteX757" fmla="*/ 9507 w 10785"/>
                <a:gd name="connsiteY757" fmla="*/ 3453 h 10000"/>
                <a:gd name="connsiteX758" fmla="*/ 9498 w 10785"/>
                <a:gd name="connsiteY758" fmla="*/ 3453 h 10000"/>
                <a:gd name="connsiteX759" fmla="*/ 9387 w 10785"/>
                <a:gd name="connsiteY759" fmla="*/ 3419 h 10000"/>
                <a:gd name="connsiteX760" fmla="*/ 9373 w 10785"/>
                <a:gd name="connsiteY760" fmla="*/ 3427 h 10000"/>
                <a:gd name="connsiteX761" fmla="*/ 9373 w 10785"/>
                <a:gd name="connsiteY761" fmla="*/ 3462 h 10000"/>
                <a:gd name="connsiteX762" fmla="*/ 9378 w 10785"/>
                <a:gd name="connsiteY762" fmla="*/ 3479 h 10000"/>
                <a:gd name="connsiteX763" fmla="*/ 9378 w 10785"/>
                <a:gd name="connsiteY763" fmla="*/ 3530 h 10000"/>
                <a:gd name="connsiteX764" fmla="*/ 9355 w 10785"/>
                <a:gd name="connsiteY764" fmla="*/ 3538 h 10000"/>
                <a:gd name="connsiteX765" fmla="*/ 9355 w 10785"/>
                <a:gd name="connsiteY765" fmla="*/ 3581 h 10000"/>
                <a:gd name="connsiteX766" fmla="*/ 9387 w 10785"/>
                <a:gd name="connsiteY766" fmla="*/ 3590 h 10000"/>
                <a:gd name="connsiteX767" fmla="*/ 9401 w 10785"/>
                <a:gd name="connsiteY767" fmla="*/ 3667 h 10000"/>
                <a:gd name="connsiteX768" fmla="*/ 9406 w 10785"/>
                <a:gd name="connsiteY768" fmla="*/ 3675 h 10000"/>
                <a:gd name="connsiteX769" fmla="*/ 9406 w 10785"/>
                <a:gd name="connsiteY769" fmla="*/ 3701 h 10000"/>
                <a:gd name="connsiteX770" fmla="*/ 9415 w 10785"/>
                <a:gd name="connsiteY770" fmla="*/ 3752 h 10000"/>
                <a:gd name="connsiteX771" fmla="*/ 9373 w 10785"/>
                <a:gd name="connsiteY771" fmla="*/ 3838 h 10000"/>
                <a:gd name="connsiteX772" fmla="*/ 9355 w 10785"/>
                <a:gd name="connsiteY772" fmla="*/ 3863 h 10000"/>
                <a:gd name="connsiteX773" fmla="*/ 9327 w 10785"/>
                <a:gd name="connsiteY773" fmla="*/ 3863 h 10000"/>
                <a:gd name="connsiteX774" fmla="*/ 9313 w 10785"/>
                <a:gd name="connsiteY774" fmla="*/ 3846 h 10000"/>
                <a:gd name="connsiteX775" fmla="*/ 9300 w 10785"/>
                <a:gd name="connsiteY775" fmla="*/ 3778 h 10000"/>
                <a:gd name="connsiteX776" fmla="*/ 9281 w 10785"/>
                <a:gd name="connsiteY776" fmla="*/ 3752 h 10000"/>
                <a:gd name="connsiteX777" fmla="*/ 9281 w 10785"/>
                <a:gd name="connsiteY777" fmla="*/ 3735 h 10000"/>
                <a:gd name="connsiteX778" fmla="*/ 9267 w 10785"/>
                <a:gd name="connsiteY778" fmla="*/ 3726 h 10000"/>
                <a:gd name="connsiteX779" fmla="*/ 9240 w 10785"/>
                <a:gd name="connsiteY779" fmla="*/ 3726 h 10000"/>
                <a:gd name="connsiteX780" fmla="*/ 9230 w 10785"/>
                <a:gd name="connsiteY780" fmla="*/ 3718 h 10000"/>
                <a:gd name="connsiteX781" fmla="*/ 9226 w 10785"/>
                <a:gd name="connsiteY781" fmla="*/ 3590 h 10000"/>
                <a:gd name="connsiteX782" fmla="*/ 9207 w 10785"/>
                <a:gd name="connsiteY782" fmla="*/ 3581 h 10000"/>
                <a:gd name="connsiteX783" fmla="*/ 9207 w 10785"/>
                <a:gd name="connsiteY783" fmla="*/ 3556 h 10000"/>
                <a:gd name="connsiteX784" fmla="*/ 9217 w 10785"/>
                <a:gd name="connsiteY784" fmla="*/ 3538 h 10000"/>
                <a:gd name="connsiteX785" fmla="*/ 9212 w 10785"/>
                <a:gd name="connsiteY785" fmla="*/ 3538 h 10000"/>
                <a:gd name="connsiteX786" fmla="*/ 9198 w 10785"/>
                <a:gd name="connsiteY786" fmla="*/ 3513 h 10000"/>
                <a:gd name="connsiteX787" fmla="*/ 9194 w 10785"/>
                <a:gd name="connsiteY787" fmla="*/ 3530 h 10000"/>
                <a:gd name="connsiteX788" fmla="*/ 9143 w 10785"/>
                <a:gd name="connsiteY788" fmla="*/ 3615 h 10000"/>
                <a:gd name="connsiteX789" fmla="*/ 9138 w 10785"/>
                <a:gd name="connsiteY789" fmla="*/ 3615 h 10000"/>
                <a:gd name="connsiteX790" fmla="*/ 9134 w 10785"/>
                <a:gd name="connsiteY790" fmla="*/ 3615 h 10000"/>
                <a:gd name="connsiteX791" fmla="*/ 9106 w 10785"/>
                <a:gd name="connsiteY791" fmla="*/ 3615 h 10000"/>
                <a:gd name="connsiteX792" fmla="*/ 9078 w 10785"/>
                <a:gd name="connsiteY792" fmla="*/ 3590 h 10000"/>
                <a:gd name="connsiteX793" fmla="*/ 9037 w 10785"/>
                <a:gd name="connsiteY793" fmla="*/ 3581 h 10000"/>
                <a:gd name="connsiteX794" fmla="*/ 9023 w 10785"/>
                <a:gd name="connsiteY794" fmla="*/ 3590 h 10000"/>
                <a:gd name="connsiteX795" fmla="*/ 9018 w 10785"/>
                <a:gd name="connsiteY795" fmla="*/ 3590 h 10000"/>
                <a:gd name="connsiteX796" fmla="*/ 9018 w 10785"/>
                <a:gd name="connsiteY796" fmla="*/ 3590 h 10000"/>
                <a:gd name="connsiteX797" fmla="*/ 8991 w 10785"/>
                <a:gd name="connsiteY797" fmla="*/ 3590 h 10000"/>
                <a:gd name="connsiteX798" fmla="*/ 8972 w 10785"/>
                <a:gd name="connsiteY798" fmla="*/ 3581 h 10000"/>
                <a:gd name="connsiteX799" fmla="*/ 8959 w 10785"/>
                <a:gd name="connsiteY799" fmla="*/ 3513 h 10000"/>
                <a:gd name="connsiteX800" fmla="*/ 8931 w 10785"/>
                <a:gd name="connsiteY800" fmla="*/ 3538 h 10000"/>
                <a:gd name="connsiteX801" fmla="*/ 8889 w 10785"/>
                <a:gd name="connsiteY801" fmla="*/ 3538 h 10000"/>
                <a:gd name="connsiteX802" fmla="*/ 8871 w 10785"/>
                <a:gd name="connsiteY802" fmla="*/ 3556 h 10000"/>
                <a:gd name="connsiteX803" fmla="*/ 8857 w 10785"/>
                <a:gd name="connsiteY803" fmla="*/ 3538 h 10000"/>
                <a:gd name="connsiteX804" fmla="*/ 8843 w 10785"/>
                <a:gd name="connsiteY804" fmla="*/ 3538 h 10000"/>
                <a:gd name="connsiteX805" fmla="*/ 8839 w 10785"/>
                <a:gd name="connsiteY805" fmla="*/ 3556 h 10000"/>
                <a:gd name="connsiteX806" fmla="*/ 8839 w 10785"/>
                <a:gd name="connsiteY806" fmla="*/ 3581 h 10000"/>
                <a:gd name="connsiteX807" fmla="*/ 8825 w 10785"/>
                <a:gd name="connsiteY807" fmla="*/ 3564 h 10000"/>
                <a:gd name="connsiteX808" fmla="*/ 8825 w 10785"/>
                <a:gd name="connsiteY808" fmla="*/ 3615 h 10000"/>
                <a:gd name="connsiteX809" fmla="*/ 8802 w 10785"/>
                <a:gd name="connsiteY809" fmla="*/ 3598 h 10000"/>
                <a:gd name="connsiteX810" fmla="*/ 8797 w 10785"/>
                <a:gd name="connsiteY810" fmla="*/ 3641 h 10000"/>
                <a:gd name="connsiteX811" fmla="*/ 8783 w 10785"/>
                <a:gd name="connsiteY811" fmla="*/ 3667 h 10000"/>
                <a:gd name="connsiteX812" fmla="*/ 8779 w 10785"/>
                <a:gd name="connsiteY812" fmla="*/ 3650 h 10000"/>
                <a:gd name="connsiteX813" fmla="*/ 8779 w 10785"/>
                <a:gd name="connsiteY813" fmla="*/ 3615 h 10000"/>
                <a:gd name="connsiteX814" fmla="*/ 8770 w 10785"/>
                <a:gd name="connsiteY814" fmla="*/ 3590 h 10000"/>
                <a:gd name="connsiteX815" fmla="*/ 8765 w 10785"/>
                <a:gd name="connsiteY815" fmla="*/ 3598 h 10000"/>
                <a:gd name="connsiteX816" fmla="*/ 8756 w 10785"/>
                <a:gd name="connsiteY816" fmla="*/ 3590 h 10000"/>
                <a:gd name="connsiteX817" fmla="*/ 8737 w 10785"/>
                <a:gd name="connsiteY817" fmla="*/ 3556 h 10000"/>
                <a:gd name="connsiteX818" fmla="*/ 8724 w 10785"/>
                <a:gd name="connsiteY818" fmla="*/ 3538 h 10000"/>
                <a:gd name="connsiteX819" fmla="*/ 8696 w 10785"/>
                <a:gd name="connsiteY819" fmla="*/ 3538 h 10000"/>
                <a:gd name="connsiteX820" fmla="*/ 8691 w 10785"/>
                <a:gd name="connsiteY820" fmla="*/ 3513 h 10000"/>
                <a:gd name="connsiteX821" fmla="*/ 8668 w 10785"/>
                <a:gd name="connsiteY821" fmla="*/ 3504 h 10000"/>
                <a:gd name="connsiteX822" fmla="*/ 8668 w 10785"/>
                <a:gd name="connsiteY822" fmla="*/ 3487 h 10000"/>
                <a:gd name="connsiteX823" fmla="*/ 8691 w 10785"/>
                <a:gd name="connsiteY823" fmla="*/ 3350 h 10000"/>
                <a:gd name="connsiteX824" fmla="*/ 8691 w 10785"/>
                <a:gd name="connsiteY824" fmla="*/ 3291 h 10000"/>
                <a:gd name="connsiteX825" fmla="*/ 8677 w 10785"/>
                <a:gd name="connsiteY825" fmla="*/ 3239 h 10000"/>
                <a:gd name="connsiteX826" fmla="*/ 8677 w 10785"/>
                <a:gd name="connsiteY826" fmla="*/ 3231 h 10000"/>
                <a:gd name="connsiteX827" fmla="*/ 8636 w 10785"/>
                <a:gd name="connsiteY827" fmla="*/ 3128 h 10000"/>
                <a:gd name="connsiteX828" fmla="*/ 8622 w 10785"/>
                <a:gd name="connsiteY828" fmla="*/ 3120 h 10000"/>
                <a:gd name="connsiteX829" fmla="*/ 8618 w 10785"/>
                <a:gd name="connsiteY829" fmla="*/ 3094 h 10000"/>
                <a:gd name="connsiteX830" fmla="*/ 8594 w 10785"/>
                <a:gd name="connsiteY830" fmla="*/ 3077 h 10000"/>
                <a:gd name="connsiteX831" fmla="*/ 8548 w 10785"/>
                <a:gd name="connsiteY831" fmla="*/ 3077 h 10000"/>
                <a:gd name="connsiteX832" fmla="*/ 8535 w 10785"/>
                <a:gd name="connsiteY832" fmla="*/ 3068 h 10000"/>
                <a:gd name="connsiteX833" fmla="*/ 8429 w 10785"/>
                <a:gd name="connsiteY833" fmla="*/ 3077 h 10000"/>
                <a:gd name="connsiteX834" fmla="*/ 8424 w 10785"/>
                <a:gd name="connsiteY834" fmla="*/ 3077 h 10000"/>
                <a:gd name="connsiteX835" fmla="*/ 8396 w 10785"/>
                <a:gd name="connsiteY835" fmla="*/ 3077 h 10000"/>
                <a:gd name="connsiteX836" fmla="*/ 8387 w 10785"/>
                <a:gd name="connsiteY836" fmla="*/ 3094 h 10000"/>
                <a:gd name="connsiteX837" fmla="*/ 8378 w 10785"/>
                <a:gd name="connsiteY837" fmla="*/ 3094 h 10000"/>
                <a:gd name="connsiteX838" fmla="*/ 8341 w 10785"/>
                <a:gd name="connsiteY838" fmla="*/ 3077 h 10000"/>
                <a:gd name="connsiteX839" fmla="*/ 8336 w 10785"/>
                <a:gd name="connsiteY839" fmla="*/ 3077 h 10000"/>
                <a:gd name="connsiteX840" fmla="*/ 8327 w 10785"/>
                <a:gd name="connsiteY840" fmla="*/ 3103 h 10000"/>
                <a:gd name="connsiteX841" fmla="*/ 8309 w 10785"/>
                <a:gd name="connsiteY841" fmla="*/ 3120 h 10000"/>
                <a:gd name="connsiteX842" fmla="*/ 8304 w 10785"/>
                <a:gd name="connsiteY842" fmla="*/ 3103 h 10000"/>
                <a:gd name="connsiteX843" fmla="*/ 8276 w 10785"/>
                <a:gd name="connsiteY843" fmla="*/ 3103 h 10000"/>
                <a:gd name="connsiteX844" fmla="*/ 8267 w 10785"/>
                <a:gd name="connsiteY844" fmla="*/ 3120 h 10000"/>
                <a:gd name="connsiteX845" fmla="*/ 8253 w 10785"/>
                <a:gd name="connsiteY845" fmla="*/ 3103 h 10000"/>
                <a:gd name="connsiteX846" fmla="*/ 8230 w 10785"/>
                <a:gd name="connsiteY846" fmla="*/ 3128 h 10000"/>
                <a:gd name="connsiteX847" fmla="*/ 8217 w 10785"/>
                <a:gd name="connsiteY847" fmla="*/ 3128 h 10000"/>
                <a:gd name="connsiteX848" fmla="*/ 8203 w 10785"/>
                <a:gd name="connsiteY848" fmla="*/ 3154 h 10000"/>
                <a:gd name="connsiteX849" fmla="*/ 8175 w 10785"/>
                <a:gd name="connsiteY849" fmla="*/ 3094 h 10000"/>
                <a:gd name="connsiteX850" fmla="*/ 8161 w 10785"/>
                <a:gd name="connsiteY850" fmla="*/ 3094 h 10000"/>
                <a:gd name="connsiteX851" fmla="*/ 8157 w 10785"/>
                <a:gd name="connsiteY851" fmla="*/ 3077 h 10000"/>
                <a:gd name="connsiteX852" fmla="*/ 8180 w 10785"/>
                <a:gd name="connsiteY852" fmla="*/ 3068 h 10000"/>
                <a:gd name="connsiteX853" fmla="*/ 8189 w 10785"/>
                <a:gd name="connsiteY853" fmla="*/ 3043 h 10000"/>
                <a:gd name="connsiteX854" fmla="*/ 8189 w 10785"/>
                <a:gd name="connsiteY854" fmla="*/ 3017 h 10000"/>
                <a:gd name="connsiteX855" fmla="*/ 8147 w 10785"/>
                <a:gd name="connsiteY855" fmla="*/ 2940 h 10000"/>
                <a:gd name="connsiteX856" fmla="*/ 8143 w 10785"/>
                <a:gd name="connsiteY856" fmla="*/ 2915 h 10000"/>
                <a:gd name="connsiteX857" fmla="*/ 8143 w 10785"/>
                <a:gd name="connsiteY857" fmla="*/ 2906 h 10000"/>
                <a:gd name="connsiteX858" fmla="*/ 8097 w 10785"/>
                <a:gd name="connsiteY858" fmla="*/ 2932 h 10000"/>
                <a:gd name="connsiteX859" fmla="*/ 8083 w 10785"/>
                <a:gd name="connsiteY859" fmla="*/ 2932 h 10000"/>
                <a:gd name="connsiteX860" fmla="*/ 8074 w 10785"/>
                <a:gd name="connsiteY860" fmla="*/ 2906 h 10000"/>
                <a:gd name="connsiteX861" fmla="*/ 8074 w 10785"/>
                <a:gd name="connsiteY861" fmla="*/ 2897 h 10000"/>
                <a:gd name="connsiteX862" fmla="*/ 8055 w 10785"/>
                <a:gd name="connsiteY862" fmla="*/ 2872 h 10000"/>
                <a:gd name="connsiteX863" fmla="*/ 8046 w 10785"/>
                <a:gd name="connsiteY863" fmla="*/ 2829 h 10000"/>
                <a:gd name="connsiteX864" fmla="*/ 8041 w 10785"/>
                <a:gd name="connsiteY864" fmla="*/ 2829 h 10000"/>
                <a:gd name="connsiteX865" fmla="*/ 8023 w 10785"/>
                <a:gd name="connsiteY865" fmla="*/ 2803 h 10000"/>
                <a:gd name="connsiteX866" fmla="*/ 8014 w 10785"/>
                <a:gd name="connsiteY866" fmla="*/ 2829 h 10000"/>
                <a:gd name="connsiteX867" fmla="*/ 8000 w 10785"/>
                <a:gd name="connsiteY867" fmla="*/ 2829 h 10000"/>
                <a:gd name="connsiteX868" fmla="*/ 7995 w 10785"/>
                <a:gd name="connsiteY868" fmla="*/ 2821 h 10000"/>
                <a:gd name="connsiteX869" fmla="*/ 7972 w 10785"/>
                <a:gd name="connsiteY869" fmla="*/ 2803 h 10000"/>
                <a:gd name="connsiteX870" fmla="*/ 7968 w 10785"/>
                <a:gd name="connsiteY870" fmla="*/ 2821 h 10000"/>
                <a:gd name="connsiteX871" fmla="*/ 7968 w 10785"/>
                <a:gd name="connsiteY871" fmla="*/ 2803 h 10000"/>
                <a:gd name="connsiteX872" fmla="*/ 7995 w 10785"/>
                <a:gd name="connsiteY872" fmla="*/ 2735 h 10000"/>
                <a:gd name="connsiteX873" fmla="*/ 8000 w 10785"/>
                <a:gd name="connsiteY873" fmla="*/ 2735 h 10000"/>
                <a:gd name="connsiteX874" fmla="*/ 8014 w 10785"/>
                <a:gd name="connsiteY874" fmla="*/ 2744 h 10000"/>
                <a:gd name="connsiteX875" fmla="*/ 8023 w 10785"/>
                <a:gd name="connsiteY875" fmla="*/ 2769 h 10000"/>
                <a:gd name="connsiteX876" fmla="*/ 8032 w 10785"/>
                <a:gd name="connsiteY876" fmla="*/ 2744 h 10000"/>
                <a:gd name="connsiteX877" fmla="*/ 8032 w 10785"/>
                <a:gd name="connsiteY877" fmla="*/ 2709 h 10000"/>
                <a:gd name="connsiteX878" fmla="*/ 8023 w 10785"/>
                <a:gd name="connsiteY878" fmla="*/ 2632 h 10000"/>
                <a:gd name="connsiteX879" fmla="*/ 7986 w 10785"/>
                <a:gd name="connsiteY879" fmla="*/ 2581 h 10000"/>
                <a:gd name="connsiteX880" fmla="*/ 7968 w 10785"/>
                <a:gd name="connsiteY880" fmla="*/ 2581 h 10000"/>
                <a:gd name="connsiteX881" fmla="*/ 7963 w 10785"/>
                <a:gd name="connsiteY881" fmla="*/ 2556 h 10000"/>
                <a:gd name="connsiteX882" fmla="*/ 7935 w 10785"/>
                <a:gd name="connsiteY882" fmla="*/ 2547 h 10000"/>
                <a:gd name="connsiteX883" fmla="*/ 7912 w 10785"/>
                <a:gd name="connsiteY883" fmla="*/ 2547 h 10000"/>
                <a:gd name="connsiteX884" fmla="*/ 7912 w 10785"/>
                <a:gd name="connsiteY884" fmla="*/ 2556 h 10000"/>
                <a:gd name="connsiteX885" fmla="*/ 7908 w 10785"/>
                <a:gd name="connsiteY885" fmla="*/ 2547 h 10000"/>
                <a:gd name="connsiteX886" fmla="*/ 7862 w 10785"/>
                <a:gd name="connsiteY886" fmla="*/ 2547 h 10000"/>
                <a:gd name="connsiteX887" fmla="*/ 7848 w 10785"/>
                <a:gd name="connsiteY887" fmla="*/ 2556 h 10000"/>
                <a:gd name="connsiteX888" fmla="*/ 7820 w 10785"/>
                <a:gd name="connsiteY888" fmla="*/ 2547 h 10000"/>
                <a:gd name="connsiteX889" fmla="*/ 7806 w 10785"/>
                <a:gd name="connsiteY889" fmla="*/ 2513 h 10000"/>
                <a:gd name="connsiteX890" fmla="*/ 7788 w 10785"/>
                <a:gd name="connsiteY890" fmla="*/ 2513 h 10000"/>
                <a:gd name="connsiteX891" fmla="*/ 7760 w 10785"/>
                <a:gd name="connsiteY891" fmla="*/ 2470 h 10000"/>
                <a:gd name="connsiteX892" fmla="*/ 7751 w 10785"/>
                <a:gd name="connsiteY892" fmla="*/ 2470 h 10000"/>
                <a:gd name="connsiteX893" fmla="*/ 7705 w 10785"/>
                <a:gd name="connsiteY893" fmla="*/ 2462 h 10000"/>
                <a:gd name="connsiteX894" fmla="*/ 7673 w 10785"/>
                <a:gd name="connsiteY894" fmla="*/ 2419 h 10000"/>
                <a:gd name="connsiteX895" fmla="*/ 7627 w 10785"/>
                <a:gd name="connsiteY895" fmla="*/ 2419 h 10000"/>
                <a:gd name="connsiteX896" fmla="*/ 7613 w 10785"/>
                <a:gd name="connsiteY896" fmla="*/ 2410 h 10000"/>
                <a:gd name="connsiteX897" fmla="*/ 7493 w 10785"/>
                <a:gd name="connsiteY897" fmla="*/ 2393 h 10000"/>
                <a:gd name="connsiteX898" fmla="*/ 7479 w 10785"/>
                <a:gd name="connsiteY898" fmla="*/ 2385 h 10000"/>
                <a:gd name="connsiteX899" fmla="*/ 7479 w 10785"/>
                <a:gd name="connsiteY899" fmla="*/ 2376 h 10000"/>
                <a:gd name="connsiteX900" fmla="*/ 7465 w 10785"/>
                <a:gd name="connsiteY900" fmla="*/ 2359 h 10000"/>
                <a:gd name="connsiteX901" fmla="*/ 7447 w 10785"/>
                <a:gd name="connsiteY901" fmla="*/ 2350 h 10000"/>
                <a:gd name="connsiteX902" fmla="*/ 7433 w 10785"/>
                <a:gd name="connsiteY902" fmla="*/ 2376 h 10000"/>
                <a:gd name="connsiteX903" fmla="*/ 7433 w 10785"/>
                <a:gd name="connsiteY903" fmla="*/ 2385 h 10000"/>
                <a:gd name="connsiteX904" fmla="*/ 7447 w 10785"/>
                <a:gd name="connsiteY904" fmla="*/ 2410 h 10000"/>
                <a:gd name="connsiteX905" fmla="*/ 7447 w 10785"/>
                <a:gd name="connsiteY905" fmla="*/ 2436 h 10000"/>
                <a:gd name="connsiteX906" fmla="*/ 7452 w 10785"/>
                <a:gd name="connsiteY906" fmla="*/ 2462 h 10000"/>
                <a:gd name="connsiteX907" fmla="*/ 7447 w 10785"/>
                <a:gd name="connsiteY907" fmla="*/ 2470 h 10000"/>
                <a:gd name="connsiteX908" fmla="*/ 7424 w 10785"/>
                <a:gd name="connsiteY908" fmla="*/ 2513 h 10000"/>
                <a:gd name="connsiteX909" fmla="*/ 7419 w 10785"/>
                <a:gd name="connsiteY909" fmla="*/ 2556 h 10000"/>
                <a:gd name="connsiteX910" fmla="*/ 7406 w 10785"/>
                <a:gd name="connsiteY910" fmla="*/ 2624 h 10000"/>
                <a:gd name="connsiteX911" fmla="*/ 7392 w 10785"/>
                <a:gd name="connsiteY911" fmla="*/ 2624 h 10000"/>
                <a:gd name="connsiteX912" fmla="*/ 7373 w 10785"/>
                <a:gd name="connsiteY912" fmla="*/ 2650 h 10000"/>
                <a:gd name="connsiteX913" fmla="*/ 7364 w 10785"/>
                <a:gd name="connsiteY913" fmla="*/ 2684 h 10000"/>
                <a:gd name="connsiteX914" fmla="*/ 7364 w 10785"/>
                <a:gd name="connsiteY914" fmla="*/ 2692 h 10000"/>
                <a:gd name="connsiteX915" fmla="*/ 7373 w 10785"/>
                <a:gd name="connsiteY915" fmla="*/ 2718 h 10000"/>
                <a:gd name="connsiteX916" fmla="*/ 7373 w 10785"/>
                <a:gd name="connsiteY916" fmla="*/ 2744 h 10000"/>
                <a:gd name="connsiteX917" fmla="*/ 7359 w 10785"/>
                <a:gd name="connsiteY917" fmla="*/ 2744 h 10000"/>
                <a:gd name="connsiteX918" fmla="*/ 7359 w 10785"/>
                <a:gd name="connsiteY918" fmla="*/ 2795 h 10000"/>
                <a:gd name="connsiteX919" fmla="*/ 7364 w 10785"/>
                <a:gd name="connsiteY919" fmla="*/ 2821 h 10000"/>
                <a:gd name="connsiteX920" fmla="*/ 7378 w 10785"/>
                <a:gd name="connsiteY920" fmla="*/ 2846 h 10000"/>
                <a:gd name="connsiteX921" fmla="*/ 7378 w 10785"/>
                <a:gd name="connsiteY921" fmla="*/ 2855 h 10000"/>
                <a:gd name="connsiteX922" fmla="*/ 7378 w 10785"/>
                <a:gd name="connsiteY922" fmla="*/ 2880 h 10000"/>
                <a:gd name="connsiteX923" fmla="*/ 7378 w 10785"/>
                <a:gd name="connsiteY923" fmla="*/ 2906 h 10000"/>
                <a:gd name="connsiteX924" fmla="*/ 7364 w 10785"/>
                <a:gd name="connsiteY924" fmla="*/ 2906 h 10000"/>
                <a:gd name="connsiteX925" fmla="*/ 7346 w 10785"/>
                <a:gd name="connsiteY925" fmla="*/ 2880 h 10000"/>
                <a:gd name="connsiteX926" fmla="*/ 7332 w 10785"/>
                <a:gd name="connsiteY926" fmla="*/ 2915 h 10000"/>
                <a:gd name="connsiteX927" fmla="*/ 7318 w 10785"/>
                <a:gd name="connsiteY927" fmla="*/ 2906 h 10000"/>
                <a:gd name="connsiteX928" fmla="*/ 7313 w 10785"/>
                <a:gd name="connsiteY928" fmla="*/ 2915 h 10000"/>
                <a:gd name="connsiteX929" fmla="*/ 7313 w 10785"/>
                <a:gd name="connsiteY929" fmla="*/ 2906 h 10000"/>
                <a:gd name="connsiteX930" fmla="*/ 7286 w 10785"/>
                <a:gd name="connsiteY930" fmla="*/ 2940 h 10000"/>
                <a:gd name="connsiteX931" fmla="*/ 7276 w 10785"/>
                <a:gd name="connsiteY931" fmla="*/ 2966 h 10000"/>
                <a:gd name="connsiteX932" fmla="*/ 7272 w 10785"/>
                <a:gd name="connsiteY932" fmla="*/ 2983 h 10000"/>
                <a:gd name="connsiteX933" fmla="*/ 7267 w 10785"/>
                <a:gd name="connsiteY933" fmla="*/ 3009 h 10000"/>
                <a:gd name="connsiteX934" fmla="*/ 7253 w 10785"/>
                <a:gd name="connsiteY934" fmla="*/ 3009 h 10000"/>
                <a:gd name="connsiteX935" fmla="*/ 7244 w 10785"/>
                <a:gd name="connsiteY935" fmla="*/ 3017 h 10000"/>
                <a:gd name="connsiteX936" fmla="*/ 7240 w 10785"/>
                <a:gd name="connsiteY936" fmla="*/ 3009 h 10000"/>
                <a:gd name="connsiteX937" fmla="*/ 7230 w 10785"/>
                <a:gd name="connsiteY937" fmla="*/ 2991 h 10000"/>
                <a:gd name="connsiteX938" fmla="*/ 7226 w 10785"/>
                <a:gd name="connsiteY938" fmla="*/ 2983 h 10000"/>
                <a:gd name="connsiteX939" fmla="*/ 7226 w 10785"/>
                <a:gd name="connsiteY939" fmla="*/ 2966 h 10000"/>
                <a:gd name="connsiteX940" fmla="*/ 7212 w 10785"/>
                <a:gd name="connsiteY940" fmla="*/ 2957 h 10000"/>
                <a:gd name="connsiteX941" fmla="*/ 7212 w 10785"/>
                <a:gd name="connsiteY941" fmla="*/ 2932 h 10000"/>
                <a:gd name="connsiteX942" fmla="*/ 7198 w 10785"/>
                <a:gd name="connsiteY942" fmla="*/ 2915 h 10000"/>
                <a:gd name="connsiteX943" fmla="*/ 7194 w 10785"/>
                <a:gd name="connsiteY943" fmla="*/ 2915 h 10000"/>
                <a:gd name="connsiteX944" fmla="*/ 7157 w 10785"/>
                <a:gd name="connsiteY944" fmla="*/ 2880 h 10000"/>
                <a:gd name="connsiteX945" fmla="*/ 7138 w 10785"/>
                <a:gd name="connsiteY945" fmla="*/ 2880 h 10000"/>
                <a:gd name="connsiteX946" fmla="*/ 7120 w 10785"/>
                <a:gd name="connsiteY946" fmla="*/ 2872 h 10000"/>
                <a:gd name="connsiteX947" fmla="*/ 7111 w 10785"/>
                <a:gd name="connsiteY947" fmla="*/ 2846 h 10000"/>
                <a:gd name="connsiteX948" fmla="*/ 7106 w 10785"/>
                <a:gd name="connsiteY948" fmla="*/ 2846 h 10000"/>
                <a:gd name="connsiteX949" fmla="*/ 7092 w 10785"/>
                <a:gd name="connsiteY949" fmla="*/ 2829 h 10000"/>
                <a:gd name="connsiteX950" fmla="*/ 7051 w 10785"/>
                <a:gd name="connsiteY950" fmla="*/ 2829 h 10000"/>
                <a:gd name="connsiteX951" fmla="*/ 7037 w 10785"/>
                <a:gd name="connsiteY951" fmla="*/ 2880 h 10000"/>
                <a:gd name="connsiteX952" fmla="*/ 7037 w 10785"/>
                <a:gd name="connsiteY952" fmla="*/ 2906 h 10000"/>
                <a:gd name="connsiteX953" fmla="*/ 7037 w 10785"/>
                <a:gd name="connsiteY953" fmla="*/ 2932 h 10000"/>
                <a:gd name="connsiteX954" fmla="*/ 7037 w 10785"/>
                <a:gd name="connsiteY954" fmla="*/ 2940 h 10000"/>
                <a:gd name="connsiteX955" fmla="*/ 7023 w 10785"/>
                <a:gd name="connsiteY955" fmla="*/ 2906 h 10000"/>
                <a:gd name="connsiteX956" fmla="*/ 7023 w 10785"/>
                <a:gd name="connsiteY956" fmla="*/ 2915 h 10000"/>
                <a:gd name="connsiteX957" fmla="*/ 6991 w 10785"/>
                <a:gd name="connsiteY957" fmla="*/ 2906 h 10000"/>
                <a:gd name="connsiteX958" fmla="*/ 6977 w 10785"/>
                <a:gd name="connsiteY958" fmla="*/ 2915 h 10000"/>
                <a:gd name="connsiteX959" fmla="*/ 6963 w 10785"/>
                <a:gd name="connsiteY959" fmla="*/ 2915 h 10000"/>
                <a:gd name="connsiteX960" fmla="*/ 6949 w 10785"/>
                <a:gd name="connsiteY960" fmla="*/ 2872 h 10000"/>
                <a:gd name="connsiteX961" fmla="*/ 6935 w 10785"/>
                <a:gd name="connsiteY961" fmla="*/ 2855 h 10000"/>
                <a:gd name="connsiteX962" fmla="*/ 6922 w 10785"/>
                <a:gd name="connsiteY962" fmla="*/ 2803 h 10000"/>
                <a:gd name="connsiteX963" fmla="*/ 6917 w 10785"/>
                <a:gd name="connsiteY963" fmla="*/ 2786 h 10000"/>
                <a:gd name="connsiteX964" fmla="*/ 6903 w 10785"/>
                <a:gd name="connsiteY964" fmla="*/ 2709 h 10000"/>
                <a:gd name="connsiteX965" fmla="*/ 6903 w 10785"/>
                <a:gd name="connsiteY965" fmla="*/ 2692 h 10000"/>
                <a:gd name="connsiteX966" fmla="*/ 6899 w 10785"/>
                <a:gd name="connsiteY966" fmla="*/ 2709 h 10000"/>
                <a:gd name="connsiteX967" fmla="*/ 6857 w 10785"/>
                <a:gd name="connsiteY967" fmla="*/ 2872 h 10000"/>
                <a:gd name="connsiteX968" fmla="*/ 6857 w 10785"/>
                <a:gd name="connsiteY968" fmla="*/ 3009 h 10000"/>
                <a:gd name="connsiteX969" fmla="*/ 6848 w 10785"/>
                <a:gd name="connsiteY969" fmla="*/ 3017 h 10000"/>
                <a:gd name="connsiteX970" fmla="*/ 6839 w 10785"/>
                <a:gd name="connsiteY970" fmla="*/ 3068 h 10000"/>
                <a:gd name="connsiteX971" fmla="*/ 6829 w 10785"/>
                <a:gd name="connsiteY971" fmla="*/ 3077 h 10000"/>
                <a:gd name="connsiteX972" fmla="*/ 6829 w 10785"/>
                <a:gd name="connsiteY972" fmla="*/ 3128 h 10000"/>
                <a:gd name="connsiteX973" fmla="*/ 6816 w 10785"/>
                <a:gd name="connsiteY973" fmla="*/ 3154 h 10000"/>
                <a:gd name="connsiteX974" fmla="*/ 6811 w 10785"/>
                <a:gd name="connsiteY974" fmla="*/ 3179 h 10000"/>
                <a:gd name="connsiteX975" fmla="*/ 6797 w 10785"/>
                <a:gd name="connsiteY975" fmla="*/ 3171 h 10000"/>
                <a:gd name="connsiteX976" fmla="*/ 6783 w 10785"/>
                <a:gd name="connsiteY976" fmla="*/ 3103 h 10000"/>
                <a:gd name="connsiteX977" fmla="*/ 6779 w 10785"/>
                <a:gd name="connsiteY977" fmla="*/ 3094 h 10000"/>
                <a:gd name="connsiteX978" fmla="*/ 6779 w 10785"/>
                <a:gd name="connsiteY978" fmla="*/ 3120 h 10000"/>
                <a:gd name="connsiteX979" fmla="*/ 6770 w 10785"/>
                <a:gd name="connsiteY979" fmla="*/ 3128 h 10000"/>
                <a:gd name="connsiteX980" fmla="*/ 6765 w 10785"/>
                <a:gd name="connsiteY980" fmla="*/ 3103 h 10000"/>
                <a:gd name="connsiteX981" fmla="*/ 6756 w 10785"/>
                <a:gd name="connsiteY981" fmla="*/ 3103 h 10000"/>
                <a:gd name="connsiteX982" fmla="*/ 6742 w 10785"/>
                <a:gd name="connsiteY982" fmla="*/ 3103 h 10000"/>
                <a:gd name="connsiteX983" fmla="*/ 6737 w 10785"/>
                <a:gd name="connsiteY983" fmla="*/ 3077 h 10000"/>
                <a:gd name="connsiteX984" fmla="*/ 6737 w 10785"/>
                <a:gd name="connsiteY984" fmla="*/ 3068 h 10000"/>
                <a:gd name="connsiteX985" fmla="*/ 6728 w 10785"/>
                <a:gd name="connsiteY985" fmla="*/ 3043 h 10000"/>
                <a:gd name="connsiteX986" fmla="*/ 6724 w 10785"/>
                <a:gd name="connsiteY986" fmla="*/ 3051 h 10000"/>
                <a:gd name="connsiteX987" fmla="*/ 6714 w 10785"/>
                <a:gd name="connsiteY987" fmla="*/ 3043 h 10000"/>
                <a:gd name="connsiteX988" fmla="*/ 6710 w 10785"/>
                <a:gd name="connsiteY988" fmla="*/ 3034 h 10000"/>
                <a:gd name="connsiteX989" fmla="*/ 6705 w 10785"/>
                <a:gd name="connsiteY989" fmla="*/ 2983 h 10000"/>
                <a:gd name="connsiteX990" fmla="*/ 6696 w 10785"/>
                <a:gd name="connsiteY990" fmla="*/ 2966 h 10000"/>
                <a:gd name="connsiteX991" fmla="*/ 6691 w 10785"/>
                <a:gd name="connsiteY991" fmla="*/ 2983 h 10000"/>
                <a:gd name="connsiteX992" fmla="*/ 6677 w 10785"/>
                <a:gd name="connsiteY992" fmla="*/ 2897 h 10000"/>
                <a:gd name="connsiteX993" fmla="*/ 6677 w 10785"/>
                <a:gd name="connsiteY993" fmla="*/ 2897 h 10000"/>
                <a:gd name="connsiteX994" fmla="*/ 6677 w 10785"/>
                <a:gd name="connsiteY994" fmla="*/ 2872 h 10000"/>
                <a:gd name="connsiteX995" fmla="*/ 6668 w 10785"/>
                <a:gd name="connsiteY995" fmla="*/ 2821 h 10000"/>
                <a:gd name="connsiteX996" fmla="*/ 6664 w 10785"/>
                <a:gd name="connsiteY996" fmla="*/ 2829 h 10000"/>
                <a:gd name="connsiteX997" fmla="*/ 6654 w 10785"/>
                <a:gd name="connsiteY997" fmla="*/ 2846 h 10000"/>
                <a:gd name="connsiteX998" fmla="*/ 6650 w 10785"/>
                <a:gd name="connsiteY998" fmla="*/ 2829 h 10000"/>
                <a:gd name="connsiteX999" fmla="*/ 6650 w 10785"/>
                <a:gd name="connsiteY999" fmla="*/ 2803 h 10000"/>
                <a:gd name="connsiteX1000" fmla="*/ 6650 w 10785"/>
                <a:gd name="connsiteY1000" fmla="*/ 2795 h 10000"/>
                <a:gd name="connsiteX1001" fmla="*/ 6641 w 10785"/>
                <a:gd name="connsiteY1001" fmla="*/ 2786 h 10000"/>
                <a:gd name="connsiteX1002" fmla="*/ 6636 w 10785"/>
                <a:gd name="connsiteY1002" fmla="*/ 2735 h 10000"/>
                <a:gd name="connsiteX1003" fmla="*/ 6664 w 10785"/>
                <a:gd name="connsiteY1003" fmla="*/ 2667 h 10000"/>
                <a:gd name="connsiteX1004" fmla="*/ 6668 w 10785"/>
                <a:gd name="connsiteY1004" fmla="*/ 2684 h 10000"/>
                <a:gd name="connsiteX1005" fmla="*/ 6677 w 10785"/>
                <a:gd name="connsiteY1005" fmla="*/ 2667 h 10000"/>
                <a:gd name="connsiteX1006" fmla="*/ 6668 w 10785"/>
                <a:gd name="connsiteY1006" fmla="*/ 2667 h 10000"/>
                <a:gd name="connsiteX1007" fmla="*/ 6668 w 10785"/>
                <a:gd name="connsiteY1007" fmla="*/ 2650 h 10000"/>
                <a:gd name="connsiteX1008" fmla="*/ 6682 w 10785"/>
                <a:gd name="connsiteY1008" fmla="*/ 2650 h 10000"/>
                <a:gd name="connsiteX1009" fmla="*/ 6691 w 10785"/>
                <a:gd name="connsiteY1009" fmla="*/ 2624 h 10000"/>
                <a:gd name="connsiteX1010" fmla="*/ 6682 w 10785"/>
                <a:gd name="connsiteY1010" fmla="*/ 2632 h 10000"/>
                <a:gd name="connsiteX1011" fmla="*/ 6682 w 10785"/>
                <a:gd name="connsiteY1011" fmla="*/ 2624 h 10000"/>
                <a:gd name="connsiteX1012" fmla="*/ 6691 w 10785"/>
                <a:gd name="connsiteY1012" fmla="*/ 2607 h 10000"/>
                <a:gd name="connsiteX1013" fmla="*/ 6691 w 10785"/>
                <a:gd name="connsiteY1013" fmla="*/ 2598 h 10000"/>
                <a:gd name="connsiteX1014" fmla="*/ 6691 w 10785"/>
                <a:gd name="connsiteY1014" fmla="*/ 2581 h 10000"/>
                <a:gd name="connsiteX1015" fmla="*/ 6696 w 10785"/>
                <a:gd name="connsiteY1015" fmla="*/ 2530 h 10000"/>
                <a:gd name="connsiteX1016" fmla="*/ 6677 w 10785"/>
                <a:gd name="connsiteY1016" fmla="*/ 2513 h 10000"/>
                <a:gd name="connsiteX1017" fmla="*/ 6677 w 10785"/>
                <a:gd name="connsiteY1017" fmla="*/ 2496 h 10000"/>
                <a:gd name="connsiteX1018" fmla="*/ 6682 w 10785"/>
                <a:gd name="connsiteY1018" fmla="*/ 2470 h 10000"/>
                <a:gd name="connsiteX1019" fmla="*/ 6668 w 10785"/>
                <a:gd name="connsiteY1019" fmla="*/ 2462 h 10000"/>
                <a:gd name="connsiteX1020" fmla="*/ 6677 w 10785"/>
                <a:gd name="connsiteY1020" fmla="*/ 2436 h 10000"/>
                <a:gd name="connsiteX1021" fmla="*/ 6682 w 10785"/>
                <a:gd name="connsiteY1021" fmla="*/ 2419 h 10000"/>
                <a:gd name="connsiteX1022" fmla="*/ 6682 w 10785"/>
                <a:gd name="connsiteY1022" fmla="*/ 2393 h 10000"/>
                <a:gd name="connsiteX1023" fmla="*/ 6682 w 10785"/>
                <a:gd name="connsiteY1023" fmla="*/ 2385 h 10000"/>
                <a:gd name="connsiteX1024" fmla="*/ 6682 w 10785"/>
                <a:gd name="connsiteY1024" fmla="*/ 2385 h 10000"/>
                <a:gd name="connsiteX1025" fmla="*/ 6677 w 10785"/>
                <a:gd name="connsiteY1025" fmla="*/ 2376 h 10000"/>
                <a:gd name="connsiteX1026" fmla="*/ 6682 w 10785"/>
                <a:gd name="connsiteY1026" fmla="*/ 2359 h 10000"/>
                <a:gd name="connsiteX1027" fmla="*/ 6677 w 10785"/>
                <a:gd name="connsiteY1027" fmla="*/ 2333 h 10000"/>
                <a:gd name="connsiteX1028" fmla="*/ 6691 w 10785"/>
                <a:gd name="connsiteY1028" fmla="*/ 2333 h 10000"/>
                <a:gd name="connsiteX1029" fmla="*/ 6691 w 10785"/>
                <a:gd name="connsiteY1029" fmla="*/ 2325 h 10000"/>
                <a:gd name="connsiteX1030" fmla="*/ 6691 w 10785"/>
                <a:gd name="connsiteY1030" fmla="*/ 2308 h 10000"/>
                <a:gd name="connsiteX1031" fmla="*/ 6691 w 10785"/>
                <a:gd name="connsiteY1031" fmla="*/ 2299 h 10000"/>
                <a:gd name="connsiteX1032" fmla="*/ 6691 w 10785"/>
                <a:gd name="connsiteY1032" fmla="*/ 2282 h 10000"/>
                <a:gd name="connsiteX1033" fmla="*/ 6691 w 10785"/>
                <a:gd name="connsiteY1033" fmla="*/ 2274 h 10000"/>
                <a:gd name="connsiteX1034" fmla="*/ 6668 w 10785"/>
                <a:gd name="connsiteY1034" fmla="*/ 2248 h 10000"/>
                <a:gd name="connsiteX1035" fmla="*/ 6664 w 10785"/>
                <a:gd name="connsiteY1035" fmla="*/ 2222 h 10000"/>
                <a:gd name="connsiteX1036" fmla="*/ 6654 w 10785"/>
                <a:gd name="connsiteY1036" fmla="*/ 2214 h 10000"/>
                <a:gd name="connsiteX1037" fmla="*/ 6654 w 10785"/>
                <a:gd name="connsiteY1037" fmla="*/ 2188 h 10000"/>
                <a:gd name="connsiteX1038" fmla="*/ 6622 w 10785"/>
                <a:gd name="connsiteY1038" fmla="*/ 2162 h 10000"/>
                <a:gd name="connsiteX1039" fmla="*/ 6631 w 10785"/>
                <a:gd name="connsiteY1039" fmla="*/ 2145 h 10000"/>
                <a:gd name="connsiteX1040" fmla="*/ 6622 w 10785"/>
                <a:gd name="connsiteY1040" fmla="*/ 2120 h 10000"/>
                <a:gd name="connsiteX1041" fmla="*/ 6608 w 10785"/>
                <a:gd name="connsiteY1041" fmla="*/ 2120 h 10000"/>
                <a:gd name="connsiteX1042" fmla="*/ 6604 w 10785"/>
                <a:gd name="connsiteY1042" fmla="*/ 2111 h 10000"/>
                <a:gd name="connsiteX1043" fmla="*/ 6608 w 10785"/>
                <a:gd name="connsiteY1043" fmla="*/ 2111 h 10000"/>
                <a:gd name="connsiteX1044" fmla="*/ 6604 w 10785"/>
                <a:gd name="connsiteY1044" fmla="*/ 2085 h 10000"/>
                <a:gd name="connsiteX1045" fmla="*/ 6581 w 10785"/>
                <a:gd name="connsiteY1045" fmla="*/ 2077 h 10000"/>
                <a:gd name="connsiteX1046" fmla="*/ 6571 w 10785"/>
                <a:gd name="connsiteY1046" fmla="*/ 2085 h 10000"/>
                <a:gd name="connsiteX1047" fmla="*/ 6548 w 10785"/>
                <a:gd name="connsiteY1047" fmla="*/ 2077 h 10000"/>
                <a:gd name="connsiteX1048" fmla="*/ 6530 w 10785"/>
                <a:gd name="connsiteY1048" fmla="*/ 2060 h 10000"/>
                <a:gd name="connsiteX1049" fmla="*/ 6521 w 10785"/>
                <a:gd name="connsiteY1049" fmla="*/ 2060 h 10000"/>
                <a:gd name="connsiteX1050" fmla="*/ 6521 w 10785"/>
                <a:gd name="connsiteY1050" fmla="*/ 2085 h 10000"/>
                <a:gd name="connsiteX1051" fmla="*/ 6516 w 10785"/>
                <a:gd name="connsiteY1051" fmla="*/ 2085 h 10000"/>
                <a:gd name="connsiteX1052" fmla="*/ 6502 w 10785"/>
                <a:gd name="connsiteY1052" fmla="*/ 2111 h 10000"/>
                <a:gd name="connsiteX1053" fmla="*/ 6498 w 10785"/>
                <a:gd name="connsiteY1053" fmla="*/ 2111 h 10000"/>
                <a:gd name="connsiteX1054" fmla="*/ 6498 w 10785"/>
                <a:gd name="connsiteY1054" fmla="*/ 2103 h 10000"/>
                <a:gd name="connsiteX1055" fmla="*/ 6475 w 10785"/>
                <a:gd name="connsiteY1055" fmla="*/ 2051 h 10000"/>
                <a:gd name="connsiteX1056" fmla="*/ 6470 w 10785"/>
                <a:gd name="connsiteY1056" fmla="*/ 2060 h 10000"/>
                <a:gd name="connsiteX1057" fmla="*/ 6456 w 10785"/>
                <a:gd name="connsiteY1057" fmla="*/ 2051 h 10000"/>
                <a:gd name="connsiteX1058" fmla="*/ 6447 w 10785"/>
                <a:gd name="connsiteY1058" fmla="*/ 2051 h 10000"/>
                <a:gd name="connsiteX1059" fmla="*/ 6433 w 10785"/>
                <a:gd name="connsiteY1059" fmla="*/ 2026 h 10000"/>
                <a:gd name="connsiteX1060" fmla="*/ 6433 w 10785"/>
                <a:gd name="connsiteY1060" fmla="*/ 2034 h 10000"/>
                <a:gd name="connsiteX1061" fmla="*/ 6429 w 10785"/>
                <a:gd name="connsiteY1061" fmla="*/ 2026 h 10000"/>
                <a:gd name="connsiteX1062" fmla="*/ 6424 w 10785"/>
                <a:gd name="connsiteY1062" fmla="*/ 2034 h 10000"/>
                <a:gd name="connsiteX1063" fmla="*/ 6410 w 10785"/>
                <a:gd name="connsiteY1063" fmla="*/ 2026 h 10000"/>
                <a:gd name="connsiteX1064" fmla="*/ 6410 w 10785"/>
                <a:gd name="connsiteY1064" fmla="*/ 1991 h 10000"/>
                <a:gd name="connsiteX1065" fmla="*/ 6401 w 10785"/>
                <a:gd name="connsiteY1065" fmla="*/ 1991 h 10000"/>
                <a:gd name="connsiteX1066" fmla="*/ 6396 w 10785"/>
                <a:gd name="connsiteY1066" fmla="*/ 2000 h 10000"/>
                <a:gd name="connsiteX1067" fmla="*/ 6382 w 10785"/>
                <a:gd name="connsiteY1067" fmla="*/ 1966 h 10000"/>
                <a:gd name="connsiteX1068" fmla="*/ 6373 w 10785"/>
                <a:gd name="connsiteY1068" fmla="*/ 1974 h 10000"/>
                <a:gd name="connsiteX1069" fmla="*/ 6369 w 10785"/>
                <a:gd name="connsiteY1069" fmla="*/ 1966 h 10000"/>
                <a:gd name="connsiteX1070" fmla="*/ 6341 w 10785"/>
                <a:gd name="connsiteY1070" fmla="*/ 1949 h 10000"/>
                <a:gd name="connsiteX1071" fmla="*/ 6327 w 10785"/>
                <a:gd name="connsiteY1071" fmla="*/ 1923 h 10000"/>
                <a:gd name="connsiteX1072" fmla="*/ 6323 w 10785"/>
                <a:gd name="connsiteY1072" fmla="*/ 1923 h 10000"/>
                <a:gd name="connsiteX1073" fmla="*/ 6323 w 10785"/>
                <a:gd name="connsiteY1073" fmla="*/ 1966 h 10000"/>
                <a:gd name="connsiteX1074" fmla="*/ 6323 w 10785"/>
                <a:gd name="connsiteY1074" fmla="*/ 1991 h 10000"/>
                <a:gd name="connsiteX1075" fmla="*/ 6313 w 10785"/>
                <a:gd name="connsiteY1075" fmla="*/ 1991 h 10000"/>
                <a:gd name="connsiteX1076" fmla="*/ 6300 w 10785"/>
                <a:gd name="connsiteY1076" fmla="*/ 1991 h 10000"/>
                <a:gd name="connsiteX1077" fmla="*/ 6290 w 10785"/>
                <a:gd name="connsiteY1077" fmla="*/ 1949 h 10000"/>
                <a:gd name="connsiteX1078" fmla="*/ 6276 w 10785"/>
                <a:gd name="connsiteY1078" fmla="*/ 2103 h 10000"/>
                <a:gd name="connsiteX1079" fmla="*/ 6281 w 10785"/>
                <a:gd name="connsiteY1079" fmla="*/ 2103 h 10000"/>
                <a:gd name="connsiteX1080" fmla="*/ 6276 w 10785"/>
                <a:gd name="connsiteY1080" fmla="*/ 2111 h 10000"/>
                <a:gd name="connsiteX1081" fmla="*/ 6276 w 10785"/>
                <a:gd name="connsiteY1081" fmla="*/ 2120 h 10000"/>
                <a:gd name="connsiteX1082" fmla="*/ 6295 w 10785"/>
                <a:gd name="connsiteY1082" fmla="*/ 2239 h 10000"/>
                <a:gd name="connsiteX1083" fmla="*/ 6290 w 10785"/>
                <a:gd name="connsiteY1083" fmla="*/ 2248 h 10000"/>
                <a:gd name="connsiteX1084" fmla="*/ 6281 w 10785"/>
                <a:gd name="connsiteY1084" fmla="*/ 2274 h 10000"/>
                <a:gd name="connsiteX1085" fmla="*/ 6249 w 10785"/>
                <a:gd name="connsiteY1085" fmla="*/ 2274 h 10000"/>
                <a:gd name="connsiteX1086" fmla="*/ 6226 w 10785"/>
                <a:gd name="connsiteY1086" fmla="*/ 2308 h 10000"/>
                <a:gd name="connsiteX1087" fmla="*/ 6221 w 10785"/>
                <a:gd name="connsiteY1087" fmla="*/ 2299 h 10000"/>
                <a:gd name="connsiteX1088" fmla="*/ 6221 w 10785"/>
                <a:gd name="connsiteY1088" fmla="*/ 2308 h 10000"/>
                <a:gd name="connsiteX1089" fmla="*/ 6217 w 10785"/>
                <a:gd name="connsiteY1089" fmla="*/ 2299 h 10000"/>
                <a:gd name="connsiteX1090" fmla="*/ 6194 w 10785"/>
                <a:gd name="connsiteY1090" fmla="*/ 2308 h 10000"/>
                <a:gd name="connsiteX1091" fmla="*/ 6180 w 10785"/>
                <a:gd name="connsiteY1091" fmla="*/ 2299 h 10000"/>
                <a:gd name="connsiteX1092" fmla="*/ 6143 w 10785"/>
                <a:gd name="connsiteY1092" fmla="*/ 2308 h 10000"/>
                <a:gd name="connsiteX1093" fmla="*/ 6134 w 10785"/>
                <a:gd name="connsiteY1093" fmla="*/ 2325 h 10000"/>
                <a:gd name="connsiteX1094" fmla="*/ 6115 w 10785"/>
                <a:gd name="connsiteY1094" fmla="*/ 2282 h 10000"/>
                <a:gd name="connsiteX1095" fmla="*/ 6069 w 10785"/>
                <a:gd name="connsiteY1095" fmla="*/ 2274 h 10000"/>
                <a:gd name="connsiteX1096" fmla="*/ 6069 w 10785"/>
                <a:gd name="connsiteY1096" fmla="*/ 2282 h 10000"/>
                <a:gd name="connsiteX1097" fmla="*/ 6060 w 10785"/>
                <a:gd name="connsiteY1097" fmla="*/ 2299 h 10000"/>
                <a:gd name="connsiteX1098" fmla="*/ 5972 w 10785"/>
                <a:gd name="connsiteY1098" fmla="*/ 2214 h 10000"/>
                <a:gd name="connsiteX1099" fmla="*/ 5968 w 10785"/>
                <a:gd name="connsiteY1099" fmla="*/ 2197 h 10000"/>
                <a:gd name="connsiteX1100" fmla="*/ 5968 w 10785"/>
                <a:gd name="connsiteY1100" fmla="*/ 2171 h 10000"/>
                <a:gd name="connsiteX1101" fmla="*/ 5968 w 10785"/>
                <a:gd name="connsiteY1101" fmla="*/ 2162 h 10000"/>
                <a:gd name="connsiteX1102" fmla="*/ 5968 w 10785"/>
                <a:gd name="connsiteY1102" fmla="*/ 2120 h 10000"/>
                <a:gd name="connsiteX1103" fmla="*/ 5968 w 10785"/>
                <a:gd name="connsiteY1103" fmla="*/ 2111 h 10000"/>
                <a:gd name="connsiteX1104" fmla="*/ 5972 w 10785"/>
                <a:gd name="connsiteY1104" fmla="*/ 2103 h 10000"/>
                <a:gd name="connsiteX1105" fmla="*/ 5986 w 10785"/>
                <a:gd name="connsiteY1105" fmla="*/ 2103 h 10000"/>
                <a:gd name="connsiteX1106" fmla="*/ 5986 w 10785"/>
                <a:gd name="connsiteY1106" fmla="*/ 2085 h 10000"/>
                <a:gd name="connsiteX1107" fmla="*/ 5995 w 10785"/>
                <a:gd name="connsiteY1107" fmla="*/ 2085 h 10000"/>
                <a:gd name="connsiteX1108" fmla="*/ 5995 w 10785"/>
                <a:gd name="connsiteY1108" fmla="*/ 2077 h 10000"/>
                <a:gd name="connsiteX1109" fmla="*/ 5986 w 10785"/>
                <a:gd name="connsiteY1109" fmla="*/ 2060 h 10000"/>
                <a:gd name="connsiteX1110" fmla="*/ 5954 w 10785"/>
                <a:gd name="connsiteY1110" fmla="*/ 2060 h 10000"/>
                <a:gd name="connsiteX1111" fmla="*/ 5940 w 10785"/>
                <a:gd name="connsiteY1111" fmla="*/ 2051 h 10000"/>
                <a:gd name="connsiteX1112" fmla="*/ 5922 w 10785"/>
                <a:gd name="connsiteY1112" fmla="*/ 2060 h 10000"/>
                <a:gd name="connsiteX1113" fmla="*/ 5885 w 10785"/>
                <a:gd name="connsiteY1113" fmla="*/ 2051 h 10000"/>
                <a:gd name="connsiteX1114" fmla="*/ 5876 w 10785"/>
                <a:gd name="connsiteY1114" fmla="*/ 2026 h 10000"/>
                <a:gd name="connsiteX1115" fmla="*/ 5862 w 10785"/>
                <a:gd name="connsiteY1115" fmla="*/ 2026 h 10000"/>
                <a:gd name="connsiteX1116" fmla="*/ 5848 w 10785"/>
                <a:gd name="connsiteY1116" fmla="*/ 2026 h 10000"/>
                <a:gd name="connsiteX1117" fmla="*/ 5825 w 10785"/>
                <a:gd name="connsiteY1117" fmla="*/ 2026 h 10000"/>
                <a:gd name="connsiteX1118" fmla="*/ 5788 w 10785"/>
                <a:gd name="connsiteY1118" fmla="*/ 1991 h 10000"/>
                <a:gd name="connsiteX1119" fmla="*/ 5760 w 10785"/>
                <a:gd name="connsiteY1119" fmla="*/ 2000 h 10000"/>
                <a:gd name="connsiteX1120" fmla="*/ 5760 w 10785"/>
                <a:gd name="connsiteY1120" fmla="*/ 2026 h 10000"/>
                <a:gd name="connsiteX1121" fmla="*/ 5714 w 10785"/>
                <a:gd name="connsiteY1121" fmla="*/ 2051 h 10000"/>
                <a:gd name="connsiteX1122" fmla="*/ 5687 w 10785"/>
                <a:gd name="connsiteY1122" fmla="*/ 2034 h 10000"/>
                <a:gd name="connsiteX1123" fmla="*/ 5645 w 10785"/>
                <a:gd name="connsiteY1123" fmla="*/ 2077 h 10000"/>
                <a:gd name="connsiteX1124" fmla="*/ 5664 w 10785"/>
                <a:gd name="connsiteY1124" fmla="*/ 2120 h 10000"/>
                <a:gd name="connsiteX1125" fmla="*/ 5664 w 10785"/>
                <a:gd name="connsiteY1125" fmla="*/ 2162 h 10000"/>
                <a:gd name="connsiteX1126" fmla="*/ 5631 w 10785"/>
                <a:gd name="connsiteY1126" fmla="*/ 2197 h 10000"/>
                <a:gd name="connsiteX1127" fmla="*/ 5618 w 10785"/>
                <a:gd name="connsiteY1127" fmla="*/ 2188 h 10000"/>
                <a:gd name="connsiteX1128" fmla="*/ 5618 w 10785"/>
                <a:gd name="connsiteY1128" fmla="*/ 2171 h 10000"/>
                <a:gd name="connsiteX1129" fmla="*/ 5641 w 10785"/>
                <a:gd name="connsiteY1129" fmla="*/ 2171 h 10000"/>
                <a:gd name="connsiteX1130" fmla="*/ 5641 w 10785"/>
                <a:gd name="connsiteY1130" fmla="*/ 2162 h 10000"/>
                <a:gd name="connsiteX1131" fmla="*/ 5627 w 10785"/>
                <a:gd name="connsiteY1131" fmla="*/ 2145 h 10000"/>
                <a:gd name="connsiteX1132" fmla="*/ 5627 w 10785"/>
                <a:gd name="connsiteY1132" fmla="*/ 2120 h 10000"/>
                <a:gd name="connsiteX1133" fmla="*/ 5618 w 10785"/>
                <a:gd name="connsiteY1133" fmla="*/ 2111 h 10000"/>
                <a:gd name="connsiteX1134" fmla="*/ 5631 w 10785"/>
                <a:gd name="connsiteY1134" fmla="*/ 2051 h 10000"/>
                <a:gd name="connsiteX1135" fmla="*/ 5631 w 10785"/>
                <a:gd name="connsiteY1135" fmla="*/ 2026 h 10000"/>
                <a:gd name="connsiteX1136" fmla="*/ 5627 w 10785"/>
                <a:gd name="connsiteY1136" fmla="*/ 1991 h 10000"/>
                <a:gd name="connsiteX1137" fmla="*/ 5618 w 10785"/>
                <a:gd name="connsiteY1137" fmla="*/ 1974 h 10000"/>
                <a:gd name="connsiteX1138" fmla="*/ 5618 w 10785"/>
                <a:gd name="connsiteY1138" fmla="*/ 1940 h 10000"/>
                <a:gd name="connsiteX1139" fmla="*/ 5594 w 10785"/>
                <a:gd name="connsiteY1139" fmla="*/ 1855 h 10000"/>
                <a:gd name="connsiteX1140" fmla="*/ 5599 w 10785"/>
                <a:gd name="connsiteY1140" fmla="*/ 1915 h 10000"/>
                <a:gd name="connsiteX1141" fmla="*/ 5599 w 10785"/>
                <a:gd name="connsiteY1141" fmla="*/ 1949 h 10000"/>
                <a:gd name="connsiteX1142" fmla="*/ 5594 w 10785"/>
                <a:gd name="connsiteY1142" fmla="*/ 1991 h 10000"/>
                <a:gd name="connsiteX1143" fmla="*/ 5571 w 10785"/>
                <a:gd name="connsiteY1143" fmla="*/ 2000 h 10000"/>
                <a:gd name="connsiteX1144" fmla="*/ 5530 w 10785"/>
                <a:gd name="connsiteY1144" fmla="*/ 1991 h 10000"/>
                <a:gd name="connsiteX1145" fmla="*/ 5525 w 10785"/>
                <a:gd name="connsiteY1145" fmla="*/ 2000 h 10000"/>
                <a:gd name="connsiteX1146" fmla="*/ 5521 w 10785"/>
                <a:gd name="connsiteY1146" fmla="*/ 1991 h 10000"/>
                <a:gd name="connsiteX1147" fmla="*/ 5498 w 10785"/>
                <a:gd name="connsiteY1147" fmla="*/ 1949 h 10000"/>
                <a:gd name="connsiteX1148" fmla="*/ 5493 w 10785"/>
                <a:gd name="connsiteY1148" fmla="*/ 1889 h 10000"/>
                <a:gd name="connsiteX1149" fmla="*/ 5493 w 10785"/>
                <a:gd name="connsiteY1149" fmla="*/ 1863 h 10000"/>
                <a:gd name="connsiteX1150" fmla="*/ 5498 w 10785"/>
                <a:gd name="connsiteY1150" fmla="*/ 1889 h 10000"/>
                <a:gd name="connsiteX1151" fmla="*/ 5512 w 10785"/>
                <a:gd name="connsiteY1151" fmla="*/ 1855 h 10000"/>
                <a:gd name="connsiteX1152" fmla="*/ 5512 w 10785"/>
                <a:gd name="connsiteY1152" fmla="*/ 1838 h 10000"/>
                <a:gd name="connsiteX1153" fmla="*/ 5479 w 10785"/>
                <a:gd name="connsiteY1153" fmla="*/ 1855 h 10000"/>
                <a:gd name="connsiteX1154" fmla="*/ 5470 w 10785"/>
                <a:gd name="connsiteY1154" fmla="*/ 1872 h 10000"/>
                <a:gd name="connsiteX1155" fmla="*/ 5470 w 10785"/>
                <a:gd name="connsiteY1155" fmla="*/ 1889 h 10000"/>
                <a:gd name="connsiteX1156" fmla="*/ 5465 w 10785"/>
                <a:gd name="connsiteY1156" fmla="*/ 1897 h 10000"/>
                <a:gd name="connsiteX1157" fmla="*/ 5456 w 10785"/>
                <a:gd name="connsiteY1157" fmla="*/ 1872 h 10000"/>
                <a:gd name="connsiteX1158" fmla="*/ 5447 w 10785"/>
                <a:gd name="connsiteY1158" fmla="*/ 1872 h 10000"/>
                <a:gd name="connsiteX1159" fmla="*/ 5433 w 10785"/>
                <a:gd name="connsiteY1159" fmla="*/ 1855 h 10000"/>
                <a:gd name="connsiteX1160" fmla="*/ 5396 w 10785"/>
                <a:gd name="connsiteY1160" fmla="*/ 1863 h 10000"/>
                <a:gd name="connsiteX1161" fmla="*/ 5396 w 10785"/>
                <a:gd name="connsiteY1161" fmla="*/ 1897 h 10000"/>
                <a:gd name="connsiteX1162" fmla="*/ 5378 w 10785"/>
                <a:gd name="connsiteY1162" fmla="*/ 1949 h 10000"/>
                <a:gd name="connsiteX1163" fmla="*/ 5378 w 10785"/>
                <a:gd name="connsiteY1163" fmla="*/ 1966 h 10000"/>
                <a:gd name="connsiteX1164" fmla="*/ 5392 w 10785"/>
                <a:gd name="connsiteY1164" fmla="*/ 2026 h 10000"/>
                <a:gd name="connsiteX1165" fmla="*/ 5396 w 10785"/>
                <a:gd name="connsiteY1165" fmla="*/ 2026 h 10000"/>
                <a:gd name="connsiteX1166" fmla="*/ 5392 w 10785"/>
                <a:gd name="connsiteY1166" fmla="*/ 2009 h 10000"/>
                <a:gd name="connsiteX1167" fmla="*/ 5392 w 10785"/>
                <a:gd name="connsiteY1167" fmla="*/ 2000 h 10000"/>
                <a:gd name="connsiteX1168" fmla="*/ 5396 w 10785"/>
                <a:gd name="connsiteY1168" fmla="*/ 2009 h 10000"/>
                <a:gd name="connsiteX1169" fmla="*/ 5424 w 10785"/>
                <a:gd name="connsiteY1169" fmla="*/ 2009 h 10000"/>
                <a:gd name="connsiteX1170" fmla="*/ 5433 w 10785"/>
                <a:gd name="connsiteY1170" fmla="*/ 1991 h 10000"/>
                <a:gd name="connsiteX1171" fmla="*/ 5447 w 10785"/>
                <a:gd name="connsiteY1171" fmla="*/ 1974 h 10000"/>
                <a:gd name="connsiteX1172" fmla="*/ 5452 w 10785"/>
                <a:gd name="connsiteY1172" fmla="*/ 1966 h 10000"/>
                <a:gd name="connsiteX1173" fmla="*/ 5456 w 10785"/>
                <a:gd name="connsiteY1173" fmla="*/ 1966 h 10000"/>
                <a:gd name="connsiteX1174" fmla="*/ 5465 w 10785"/>
                <a:gd name="connsiteY1174" fmla="*/ 2009 h 10000"/>
                <a:gd name="connsiteX1175" fmla="*/ 5433 w 10785"/>
                <a:gd name="connsiteY1175" fmla="*/ 2034 h 10000"/>
                <a:gd name="connsiteX1176" fmla="*/ 5424 w 10785"/>
                <a:gd name="connsiteY1176" fmla="*/ 2060 h 10000"/>
                <a:gd name="connsiteX1177" fmla="*/ 5419 w 10785"/>
                <a:gd name="connsiteY1177" fmla="*/ 2060 h 10000"/>
                <a:gd name="connsiteX1178" fmla="*/ 5392 w 10785"/>
                <a:gd name="connsiteY1178" fmla="*/ 2111 h 10000"/>
                <a:gd name="connsiteX1179" fmla="*/ 5378 w 10785"/>
                <a:gd name="connsiteY1179" fmla="*/ 2111 h 10000"/>
                <a:gd name="connsiteX1180" fmla="*/ 5350 w 10785"/>
                <a:gd name="connsiteY1180" fmla="*/ 2060 h 10000"/>
                <a:gd name="connsiteX1181" fmla="*/ 5373 w 10785"/>
                <a:gd name="connsiteY1181" fmla="*/ 2111 h 10000"/>
                <a:gd name="connsiteX1182" fmla="*/ 5364 w 10785"/>
                <a:gd name="connsiteY1182" fmla="*/ 2111 h 10000"/>
                <a:gd name="connsiteX1183" fmla="*/ 5359 w 10785"/>
                <a:gd name="connsiteY1183" fmla="*/ 2103 h 10000"/>
                <a:gd name="connsiteX1184" fmla="*/ 5359 w 10785"/>
                <a:gd name="connsiteY1184" fmla="*/ 2120 h 10000"/>
                <a:gd name="connsiteX1185" fmla="*/ 5359 w 10785"/>
                <a:gd name="connsiteY1185" fmla="*/ 2137 h 10000"/>
                <a:gd name="connsiteX1186" fmla="*/ 5313 w 10785"/>
                <a:gd name="connsiteY1186" fmla="*/ 2162 h 10000"/>
                <a:gd name="connsiteX1187" fmla="*/ 5300 w 10785"/>
                <a:gd name="connsiteY1187" fmla="*/ 2162 h 10000"/>
                <a:gd name="connsiteX1188" fmla="*/ 5300 w 10785"/>
                <a:gd name="connsiteY1188" fmla="*/ 2171 h 10000"/>
                <a:gd name="connsiteX1189" fmla="*/ 5300 w 10785"/>
                <a:gd name="connsiteY1189" fmla="*/ 2197 h 10000"/>
                <a:gd name="connsiteX1190" fmla="*/ 5276 w 10785"/>
                <a:gd name="connsiteY1190" fmla="*/ 2188 h 10000"/>
                <a:gd name="connsiteX1191" fmla="*/ 5249 w 10785"/>
                <a:gd name="connsiteY1191" fmla="*/ 2222 h 10000"/>
                <a:gd name="connsiteX1192" fmla="*/ 5249 w 10785"/>
                <a:gd name="connsiteY1192" fmla="*/ 2222 h 10000"/>
                <a:gd name="connsiteX1193" fmla="*/ 5217 w 10785"/>
                <a:gd name="connsiteY1193" fmla="*/ 2214 h 10000"/>
                <a:gd name="connsiteX1194" fmla="*/ 5203 w 10785"/>
                <a:gd name="connsiteY1194" fmla="*/ 2239 h 10000"/>
                <a:gd name="connsiteX1195" fmla="*/ 5171 w 10785"/>
                <a:gd name="connsiteY1195" fmla="*/ 2214 h 10000"/>
                <a:gd name="connsiteX1196" fmla="*/ 5157 w 10785"/>
                <a:gd name="connsiteY1196" fmla="*/ 2239 h 10000"/>
                <a:gd name="connsiteX1197" fmla="*/ 5166 w 10785"/>
                <a:gd name="connsiteY1197" fmla="*/ 2256 h 10000"/>
                <a:gd name="connsiteX1198" fmla="*/ 5171 w 10785"/>
                <a:gd name="connsiteY1198" fmla="*/ 2308 h 10000"/>
                <a:gd name="connsiteX1199" fmla="*/ 5212 w 10785"/>
                <a:gd name="connsiteY1199" fmla="*/ 2350 h 10000"/>
                <a:gd name="connsiteX1200" fmla="*/ 5203 w 10785"/>
                <a:gd name="connsiteY1200" fmla="*/ 2350 h 10000"/>
                <a:gd name="connsiteX1201" fmla="*/ 5166 w 10785"/>
                <a:gd name="connsiteY1201" fmla="*/ 2325 h 10000"/>
                <a:gd name="connsiteX1202" fmla="*/ 5152 w 10785"/>
                <a:gd name="connsiteY1202" fmla="*/ 2308 h 10000"/>
                <a:gd name="connsiteX1203" fmla="*/ 5143 w 10785"/>
                <a:gd name="connsiteY1203" fmla="*/ 2333 h 10000"/>
                <a:gd name="connsiteX1204" fmla="*/ 5138 w 10785"/>
                <a:gd name="connsiteY1204" fmla="*/ 2333 h 10000"/>
                <a:gd name="connsiteX1205" fmla="*/ 5124 w 10785"/>
                <a:gd name="connsiteY1205" fmla="*/ 2376 h 10000"/>
                <a:gd name="connsiteX1206" fmla="*/ 5115 w 10785"/>
                <a:gd name="connsiteY1206" fmla="*/ 2385 h 10000"/>
                <a:gd name="connsiteX1207" fmla="*/ 5106 w 10785"/>
                <a:gd name="connsiteY1207" fmla="*/ 2385 h 10000"/>
                <a:gd name="connsiteX1208" fmla="*/ 5055 w 10785"/>
                <a:gd name="connsiteY1208" fmla="*/ 2470 h 10000"/>
                <a:gd name="connsiteX1209" fmla="*/ 5065 w 10785"/>
                <a:gd name="connsiteY1209" fmla="*/ 2462 h 10000"/>
                <a:gd name="connsiteX1210" fmla="*/ 5055 w 10785"/>
                <a:gd name="connsiteY1210" fmla="*/ 2444 h 10000"/>
                <a:gd name="connsiteX1211" fmla="*/ 5041 w 10785"/>
                <a:gd name="connsiteY1211" fmla="*/ 2462 h 10000"/>
                <a:gd name="connsiteX1212" fmla="*/ 5037 w 10785"/>
                <a:gd name="connsiteY1212" fmla="*/ 2470 h 10000"/>
                <a:gd name="connsiteX1213" fmla="*/ 5032 w 10785"/>
                <a:gd name="connsiteY1213" fmla="*/ 2470 h 10000"/>
                <a:gd name="connsiteX1214" fmla="*/ 5032 w 10785"/>
                <a:gd name="connsiteY1214" fmla="*/ 2444 h 10000"/>
                <a:gd name="connsiteX1215" fmla="*/ 5055 w 10785"/>
                <a:gd name="connsiteY1215" fmla="*/ 2410 h 10000"/>
                <a:gd name="connsiteX1216" fmla="*/ 5065 w 10785"/>
                <a:gd name="connsiteY1216" fmla="*/ 2393 h 10000"/>
                <a:gd name="connsiteX1217" fmla="*/ 5069 w 10785"/>
                <a:gd name="connsiteY1217" fmla="*/ 2385 h 10000"/>
                <a:gd name="connsiteX1218" fmla="*/ 5083 w 10785"/>
                <a:gd name="connsiteY1218" fmla="*/ 2376 h 10000"/>
                <a:gd name="connsiteX1219" fmla="*/ 5097 w 10785"/>
                <a:gd name="connsiteY1219" fmla="*/ 2376 h 10000"/>
                <a:gd name="connsiteX1220" fmla="*/ 5124 w 10785"/>
                <a:gd name="connsiteY1220" fmla="*/ 2325 h 10000"/>
                <a:gd name="connsiteX1221" fmla="*/ 5143 w 10785"/>
                <a:gd name="connsiteY1221" fmla="*/ 2248 h 10000"/>
                <a:gd name="connsiteX1222" fmla="*/ 5152 w 10785"/>
                <a:gd name="connsiteY1222" fmla="*/ 2239 h 10000"/>
                <a:gd name="connsiteX1223" fmla="*/ 5166 w 10785"/>
                <a:gd name="connsiteY1223" fmla="*/ 2162 h 10000"/>
                <a:gd name="connsiteX1224" fmla="*/ 5171 w 10785"/>
                <a:gd name="connsiteY1224" fmla="*/ 2171 h 10000"/>
                <a:gd name="connsiteX1225" fmla="*/ 5198 w 10785"/>
                <a:gd name="connsiteY1225" fmla="*/ 2145 h 10000"/>
                <a:gd name="connsiteX1226" fmla="*/ 5203 w 10785"/>
                <a:gd name="connsiteY1226" fmla="*/ 2111 h 10000"/>
                <a:gd name="connsiteX1227" fmla="*/ 5217 w 10785"/>
                <a:gd name="connsiteY1227" fmla="*/ 2060 h 10000"/>
                <a:gd name="connsiteX1228" fmla="*/ 5226 w 10785"/>
                <a:gd name="connsiteY1228" fmla="*/ 2026 h 10000"/>
                <a:gd name="connsiteX1229" fmla="*/ 5286 w 10785"/>
                <a:gd name="connsiteY1229" fmla="*/ 2026 h 10000"/>
                <a:gd name="connsiteX1230" fmla="*/ 5290 w 10785"/>
                <a:gd name="connsiteY1230" fmla="*/ 2034 h 10000"/>
                <a:gd name="connsiteX1231" fmla="*/ 5323 w 10785"/>
                <a:gd name="connsiteY1231" fmla="*/ 1923 h 10000"/>
                <a:gd name="connsiteX1232" fmla="*/ 5323 w 10785"/>
                <a:gd name="connsiteY1232" fmla="*/ 1889 h 10000"/>
                <a:gd name="connsiteX1233" fmla="*/ 5359 w 10785"/>
                <a:gd name="connsiteY1233" fmla="*/ 1829 h 10000"/>
                <a:gd name="connsiteX1234" fmla="*/ 5378 w 10785"/>
                <a:gd name="connsiteY1234" fmla="*/ 1812 h 10000"/>
                <a:gd name="connsiteX1235" fmla="*/ 5406 w 10785"/>
                <a:gd name="connsiteY1235" fmla="*/ 1752 h 10000"/>
                <a:gd name="connsiteX1236" fmla="*/ 5410 w 10785"/>
                <a:gd name="connsiteY1236" fmla="*/ 1718 h 10000"/>
                <a:gd name="connsiteX1237" fmla="*/ 5438 w 10785"/>
                <a:gd name="connsiteY1237" fmla="*/ 1667 h 10000"/>
                <a:gd name="connsiteX1238" fmla="*/ 5438 w 10785"/>
                <a:gd name="connsiteY1238" fmla="*/ 1650 h 10000"/>
                <a:gd name="connsiteX1239" fmla="*/ 5438 w 10785"/>
                <a:gd name="connsiteY1239" fmla="*/ 1641 h 10000"/>
                <a:gd name="connsiteX1240" fmla="*/ 5452 w 10785"/>
                <a:gd name="connsiteY1240" fmla="*/ 1641 h 10000"/>
                <a:gd name="connsiteX1241" fmla="*/ 5456 w 10785"/>
                <a:gd name="connsiteY1241" fmla="*/ 1615 h 10000"/>
                <a:gd name="connsiteX1242" fmla="*/ 5456 w 10785"/>
                <a:gd name="connsiteY1242" fmla="*/ 1615 h 10000"/>
                <a:gd name="connsiteX1243" fmla="*/ 5465 w 10785"/>
                <a:gd name="connsiteY1243" fmla="*/ 1598 h 10000"/>
                <a:gd name="connsiteX1244" fmla="*/ 5465 w 10785"/>
                <a:gd name="connsiteY1244" fmla="*/ 1615 h 10000"/>
                <a:gd name="connsiteX1245" fmla="*/ 5479 w 10785"/>
                <a:gd name="connsiteY1245" fmla="*/ 1598 h 10000"/>
                <a:gd name="connsiteX1246" fmla="*/ 5484 w 10785"/>
                <a:gd name="connsiteY1246" fmla="*/ 1581 h 10000"/>
                <a:gd name="connsiteX1247" fmla="*/ 5493 w 10785"/>
                <a:gd name="connsiteY1247" fmla="*/ 1581 h 10000"/>
                <a:gd name="connsiteX1248" fmla="*/ 5512 w 10785"/>
                <a:gd name="connsiteY1248" fmla="*/ 1538 h 10000"/>
                <a:gd name="connsiteX1249" fmla="*/ 5530 w 10785"/>
                <a:gd name="connsiteY1249" fmla="*/ 1564 h 10000"/>
                <a:gd name="connsiteX1250" fmla="*/ 5530 w 10785"/>
                <a:gd name="connsiteY1250" fmla="*/ 1538 h 10000"/>
                <a:gd name="connsiteX1251" fmla="*/ 5539 w 10785"/>
                <a:gd name="connsiteY1251" fmla="*/ 1530 h 10000"/>
                <a:gd name="connsiteX1252" fmla="*/ 5530 w 10785"/>
                <a:gd name="connsiteY1252" fmla="*/ 1504 h 10000"/>
                <a:gd name="connsiteX1253" fmla="*/ 5567 w 10785"/>
                <a:gd name="connsiteY1253" fmla="*/ 1479 h 10000"/>
                <a:gd name="connsiteX1254" fmla="*/ 5553 w 10785"/>
                <a:gd name="connsiteY1254" fmla="*/ 1479 h 10000"/>
                <a:gd name="connsiteX1255" fmla="*/ 5553 w 10785"/>
                <a:gd name="connsiteY1255" fmla="*/ 1453 h 10000"/>
                <a:gd name="connsiteX1256" fmla="*/ 5581 w 10785"/>
                <a:gd name="connsiteY1256" fmla="*/ 1444 h 10000"/>
                <a:gd name="connsiteX1257" fmla="*/ 5581 w 10785"/>
                <a:gd name="connsiteY1257" fmla="*/ 1453 h 10000"/>
                <a:gd name="connsiteX1258" fmla="*/ 5585 w 10785"/>
                <a:gd name="connsiteY1258" fmla="*/ 1444 h 10000"/>
                <a:gd name="connsiteX1259" fmla="*/ 5594 w 10785"/>
                <a:gd name="connsiteY1259" fmla="*/ 1427 h 10000"/>
                <a:gd name="connsiteX1260" fmla="*/ 5599 w 10785"/>
                <a:gd name="connsiteY1260" fmla="*/ 1419 h 10000"/>
                <a:gd name="connsiteX1261" fmla="*/ 5594 w 10785"/>
                <a:gd name="connsiteY1261" fmla="*/ 1402 h 10000"/>
                <a:gd name="connsiteX1262" fmla="*/ 5604 w 10785"/>
                <a:gd name="connsiteY1262" fmla="*/ 1393 h 10000"/>
                <a:gd name="connsiteX1263" fmla="*/ 5618 w 10785"/>
                <a:gd name="connsiteY1263" fmla="*/ 1393 h 10000"/>
                <a:gd name="connsiteX1264" fmla="*/ 5627 w 10785"/>
                <a:gd name="connsiteY1264" fmla="*/ 1368 h 10000"/>
                <a:gd name="connsiteX1265" fmla="*/ 5627 w 10785"/>
                <a:gd name="connsiteY1265" fmla="*/ 1325 h 10000"/>
                <a:gd name="connsiteX1266" fmla="*/ 5645 w 10785"/>
                <a:gd name="connsiteY1266" fmla="*/ 1291 h 10000"/>
                <a:gd name="connsiteX1267" fmla="*/ 5645 w 10785"/>
                <a:gd name="connsiteY1267" fmla="*/ 1282 h 10000"/>
                <a:gd name="connsiteX1268" fmla="*/ 5654 w 10785"/>
                <a:gd name="connsiteY1268" fmla="*/ 1265 h 10000"/>
                <a:gd name="connsiteX1269" fmla="*/ 5654 w 10785"/>
                <a:gd name="connsiteY1269" fmla="*/ 1214 h 10000"/>
                <a:gd name="connsiteX1270" fmla="*/ 5654 w 10785"/>
                <a:gd name="connsiteY1270" fmla="*/ 1214 h 10000"/>
                <a:gd name="connsiteX1271" fmla="*/ 5645 w 10785"/>
                <a:gd name="connsiteY1271" fmla="*/ 1197 h 10000"/>
                <a:gd name="connsiteX1272" fmla="*/ 5659 w 10785"/>
                <a:gd name="connsiteY1272" fmla="*/ 1197 h 10000"/>
                <a:gd name="connsiteX1273" fmla="*/ 5654 w 10785"/>
                <a:gd name="connsiteY1273" fmla="*/ 1154 h 10000"/>
                <a:gd name="connsiteX1274" fmla="*/ 5641 w 10785"/>
                <a:gd name="connsiteY1274" fmla="*/ 1154 h 10000"/>
                <a:gd name="connsiteX1275" fmla="*/ 5627 w 10785"/>
                <a:gd name="connsiteY1275" fmla="*/ 1128 h 10000"/>
                <a:gd name="connsiteX1276" fmla="*/ 5618 w 10785"/>
                <a:gd name="connsiteY1276" fmla="*/ 1094 h 10000"/>
                <a:gd name="connsiteX1277" fmla="*/ 5613 w 10785"/>
                <a:gd name="connsiteY1277" fmla="*/ 1094 h 10000"/>
                <a:gd name="connsiteX1278" fmla="*/ 5604 w 10785"/>
                <a:gd name="connsiteY1278" fmla="*/ 1120 h 10000"/>
                <a:gd name="connsiteX1279" fmla="*/ 5604 w 10785"/>
                <a:gd name="connsiteY1279" fmla="*/ 1128 h 10000"/>
                <a:gd name="connsiteX1280" fmla="*/ 5599 w 10785"/>
                <a:gd name="connsiteY1280" fmla="*/ 1103 h 10000"/>
                <a:gd name="connsiteX1281" fmla="*/ 5599 w 10785"/>
                <a:gd name="connsiteY1281" fmla="*/ 1103 h 10000"/>
                <a:gd name="connsiteX1282" fmla="*/ 5594 w 10785"/>
                <a:gd name="connsiteY1282" fmla="*/ 1068 h 10000"/>
                <a:gd name="connsiteX1283" fmla="*/ 5594 w 10785"/>
                <a:gd name="connsiteY1283" fmla="*/ 1060 h 10000"/>
                <a:gd name="connsiteX1284" fmla="*/ 5581 w 10785"/>
                <a:gd name="connsiteY1284" fmla="*/ 1034 h 10000"/>
                <a:gd name="connsiteX1285" fmla="*/ 5571 w 10785"/>
                <a:gd name="connsiteY1285" fmla="*/ 1009 h 10000"/>
                <a:gd name="connsiteX1286" fmla="*/ 5571 w 10785"/>
                <a:gd name="connsiteY1286" fmla="*/ 991 h 10000"/>
                <a:gd name="connsiteX1287" fmla="*/ 5585 w 10785"/>
                <a:gd name="connsiteY1287" fmla="*/ 1009 h 10000"/>
                <a:gd name="connsiteX1288" fmla="*/ 5604 w 10785"/>
                <a:gd name="connsiteY1288" fmla="*/ 1043 h 10000"/>
                <a:gd name="connsiteX1289" fmla="*/ 5641 w 10785"/>
                <a:gd name="connsiteY1289" fmla="*/ 1094 h 10000"/>
                <a:gd name="connsiteX1290" fmla="*/ 5631 w 10785"/>
                <a:gd name="connsiteY1290" fmla="*/ 1128 h 10000"/>
                <a:gd name="connsiteX1291" fmla="*/ 5641 w 10785"/>
                <a:gd name="connsiteY1291" fmla="*/ 1128 h 10000"/>
                <a:gd name="connsiteX1292" fmla="*/ 5659 w 10785"/>
                <a:gd name="connsiteY1292" fmla="*/ 1017 h 10000"/>
                <a:gd name="connsiteX1293" fmla="*/ 5659 w 10785"/>
                <a:gd name="connsiteY1293" fmla="*/ 983 h 10000"/>
                <a:gd name="connsiteX1294" fmla="*/ 5659 w 10785"/>
                <a:gd name="connsiteY1294" fmla="*/ 957 h 10000"/>
                <a:gd name="connsiteX1295" fmla="*/ 5654 w 10785"/>
                <a:gd name="connsiteY1295" fmla="*/ 966 h 10000"/>
                <a:gd name="connsiteX1296" fmla="*/ 5641 w 10785"/>
                <a:gd name="connsiteY1296" fmla="*/ 957 h 10000"/>
                <a:gd name="connsiteX1297" fmla="*/ 5631 w 10785"/>
                <a:gd name="connsiteY1297" fmla="*/ 897 h 10000"/>
                <a:gd name="connsiteX1298" fmla="*/ 5641 w 10785"/>
                <a:gd name="connsiteY1298" fmla="*/ 872 h 10000"/>
                <a:gd name="connsiteX1299" fmla="*/ 5618 w 10785"/>
                <a:gd name="connsiteY1299" fmla="*/ 803 h 10000"/>
                <a:gd name="connsiteX1300" fmla="*/ 5604 w 10785"/>
                <a:gd name="connsiteY1300" fmla="*/ 821 h 10000"/>
                <a:gd name="connsiteX1301" fmla="*/ 5613 w 10785"/>
                <a:gd name="connsiteY1301" fmla="*/ 846 h 10000"/>
                <a:gd name="connsiteX1302" fmla="*/ 5604 w 10785"/>
                <a:gd name="connsiteY1302" fmla="*/ 855 h 10000"/>
                <a:gd name="connsiteX1303" fmla="*/ 5599 w 10785"/>
                <a:gd name="connsiteY1303" fmla="*/ 880 h 10000"/>
                <a:gd name="connsiteX1304" fmla="*/ 5594 w 10785"/>
                <a:gd name="connsiteY1304" fmla="*/ 880 h 10000"/>
                <a:gd name="connsiteX1305" fmla="*/ 5585 w 10785"/>
                <a:gd name="connsiteY1305" fmla="*/ 829 h 10000"/>
                <a:gd name="connsiteX1306" fmla="*/ 5571 w 10785"/>
                <a:gd name="connsiteY1306" fmla="*/ 803 h 10000"/>
                <a:gd name="connsiteX1307" fmla="*/ 5585 w 10785"/>
                <a:gd name="connsiteY1307" fmla="*/ 795 h 10000"/>
                <a:gd name="connsiteX1308" fmla="*/ 5585 w 10785"/>
                <a:gd name="connsiteY1308" fmla="*/ 761 h 10000"/>
                <a:gd name="connsiteX1309" fmla="*/ 5558 w 10785"/>
                <a:gd name="connsiteY1309" fmla="*/ 709 h 10000"/>
                <a:gd name="connsiteX1310" fmla="*/ 5544 w 10785"/>
                <a:gd name="connsiteY1310" fmla="*/ 709 h 10000"/>
                <a:gd name="connsiteX1311" fmla="*/ 5544 w 10785"/>
                <a:gd name="connsiteY1311" fmla="*/ 684 h 10000"/>
                <a:gd name="connsiteX1312" fmla="*/ 5525 w 10785"/>
                <a:gd name="connsiteY1312" fmla="*/ 632 h 10000"/>
                <a:gd name="connsiteX1313" fmla="*/ 5507 w 10785"/>
                <a:gd name="connsiteY1313" fmla="*/ 607 h 10000"/>
                <a:gd name="connsiteX1314" fmla="*/ 5512 w 10785"/>
                <a:gd name="connsiteY1314" fmla="*/ 598 h 10000"/>
                <a:gd name="connsiteX1315" fmla="*/ 5507 w 10785"/>
                <a:gd name="connsiteY1315" fmla="*/ 581 h 10000"/>
                <a:gd name="connsiteX1316" fmla="*/ 5493 w 10785"/>
                <a:gd name="connsiteY1316" fmla="*/ 573 h 10000"/>
                <a:gd name="connsiteX1317" fmla="*/ 5484 w 10785"/>
                <a:gd name="connsiteY1317" fmla="*/ 581 h 10000"/>
                <a:gd name="connsiteX1318" fmla="*/ 5484 w 10785"/>
                <a:gd name="connsiteY1318" fmla="*/ 573 h 10000"/>
                <a:gd name="connsiteX1319" fmla="*/ 5484 w 10785"/>
                <a:gd name="connsiteY1319" fmla="*/ 547 h 10000"/>
                <a:gd name="connsiteX1320" fmla="*/ 5465 w 10785"/>
                <a:gd name="connsiteY1320" fmla="*/ 556 h 10000"/>
                <a:gd name="connsiteX1321" fmla="*/ 5433 w 10785"/>
                <a:gd name="connsiteY1321" fmla="*/ 547 h 10000"/>
                <a:gd name="connsiteX1322" fmla="*/ 5410 w 10785"/>
                <a:gd name="connsiteY1322" fmla="*/ 573 h 10000"/>
                <a:gd name="connsiteX1323" fmla="*/ 5406 w 10785"/>
                <a:gd name="connsiteY1323" fmla="*/ 573 h 10000"/>
                <a:gd name="connsiteX1324" fmla="*/ 5392 w 10785"/>
                <a:gd name="connsiteY1324" fmla="*/ 573 h 10000"/>
                <a:gd name="connsiteX1325" fmla="*/ 5364 w 10785"/>
                <a:gd name="connsiteY1325" fmla="*/ 530 h 10000"/>
                <a:gd name="connsiteX1326" fmla="*/ 5350 w 10785"/>
                <a:gd name="connsiteY1326" fmla="*/ 556 h 10000"/>
                <a:gd name="connsiteX1327" fmla="*/ 5346 w 10785"/>
                <a:gd name="connsiteY1327" fmla="*/ 556 h 10000"/>
                <a:gd name="connsiteX1328" fmla="*/ 5313 w 10785"/>
                <a:gd name="connsiteY1328" fmla="*/ 573 h 10000"/>
                <a:gd name="connsiteX1329" fmla="*/ 5304 w 10785"/>
                <a:gd name="connsiteY1329" fmla="*/ 556 h 10000"/>
                <a:gd name="connsiteX1330" fmla="*/ 5290 w 10785"/>
                <a:gd name="connsiteY1330" fmla="*/ 573 h 10000"/>
                <a:gd name="connsiteX1331" fmla="*/ 5290 w 10785"/>
                <a:gd name="connsiteY1331" fmla="*/ 556 h 10000"/>
                <a:gd name="connsiteX1332" fmla="*/ 5300 w 10785"/>
                <a:gd name="connsiteY1332" fmla="*/ 547 h 10000"/>
                <a:gd name="connsiteX1333" fmla="*/ 5300 w 10785"/>
                <a:gd name="connsiteY1333" fmla="*/ 530 h 10000"/>
                <a:gd name="connsiteX1334" fmla="*/ 5290 w 10785"/>
                <a:gd name="connsiteY1334" fmla="*/ 530 h 10000"/>
                <a:gd name="connsiteX1335" fmla="*/ 5286 w 10785"/>
                <a:gd name="connsiteY1335" fmla="*/ 547 h 10000"/>
                <a:gd name="connsiteX1336" fmla="*/ 5272 w 10785"/>
                <a:gd name="connsiteY1336" fmla="*/ 556 h 10000"/>
                <a:gd name="connsiteX1337" fmla="*/ 5272 w 10785"/>
                <a:gd name="connsiteY1337" fmla="*/ 598 h 10000"/>
                <a:gd name="connsiteX1338" fmla="*/ 5276 w 10785"/>
                <a:gd name="connsiteY1338" fmla="*/ 581 h 10000"/>
                <a:gd name="connsiteX1339" fmla="*/ 5272 w 10785"/>
                <a:gd name="connsiteY1339" fmla="*/ 607 h 10000"/>
                <a:gd name="connsiteX1340" fmla="*/ 5263 w 10785"/>
                <a:gd name="connsiteY1340" fmla="*/ 607 h 10000"/>
                <a:gd name="connsiteX1341" fmla="*/ 5263 w 10785"/>
                <a:gd name="connsiteY1341" fmla="*/ 632 h 10000"/>
                <a:gd name="connsiteX1342" fmla="*/ 5258 w 10785"/>
                <a:gd name="connsiteY1342" fmla="*/ 658 h 10000"/>
                <a:gd name="connsiteX1343" fmla="*/ 5244 w 10785"/>
                <a:gd name="connsiteY1343" fmla="*/ 667 h 10000"/>
                <a:gd name="connsiteX1344" fmla="*/ 5240 w 10785"/>
                <a:gd name="connsiteY1344" fmla="*/ 658 h 10000"/>
                <a:gd name="connsiteX1345" fmla="*/ 5240 w 10785"/>
                <a:gd name="connsiteY1345" fmla="*/ 684 h 10000"/>
                <a:gd name="connsiteX1346" fmla="*/ 5212 w 10785"/>
                <a:gd name="connsiteY1346" fmla="*/ 684 h 10000"/>
                <a:gd name="connsiteX1347" fmla="*/ 5198 w 10785"/>
                <a:gd name="connsiteY1347" fmla="*/ 692 h 10000"/>
                <a:gd name="connsiteX1348" fmla="*/ 5184 w 10785"/>
                <a:gd name="connsiteY1348" fmla="*/ 684 h 10000"/>
                <a:gd name="connsiteX1349" fmla="*/ 5157 w 10785"/>
                <a:gd name="connsiteY1349" fmla="*/ 684 h 10000"/>
                <a:gd name="connsiteX1350" fmla="*/ 5157 w 10785"/>
                <a:gd name="connsiteY1350" fmla="*/ 667 h 10000"/>
                <a:gd name="connsiteX1351" fmla="*/ 5157 w 10785"/>
                <a:gd name="connsiteY1351" fmla="*/ 667 h 10000"/>
                <a:gd name="connsiteX1352" fmla="*/ 5180 w 10785"/>
                <a:gd name="connsiteY1352" fmla="*/ 650 h 10000"/>
                <a:gd name="connsiteX1353" fmla="*/ 5184 w 10785"/>
                <a:gd name="connsiteY1353" fmla="*/ 658 h 10000"/>
                <a:gd name="connsiteX1354" fmla="*/ 5203 w 10785"/>
                <a:gd name="connsiteY1354" fmla="*/ 547 h 10000"/>
                <a:gd name="connsiteX1355" fmla="*/ 5226 w 10785"/>
                <a:gd name="connsiteY1355" fmla="*/ 530 h 10000"/>
                <a:gd name="connsiteX1356" fmla="*/ 5230 w 10785"/>
                <a:gd name="connsiteY1356" fmla="*/ 487 h 10000"/>
                <a:gd name="connsiteX1357" fmla="*/ 5230 w 10785"/>
                <a:gd name="connsiteY1357" fmla="*/ 487 h 10000"/>
                <a:gd name="connsiteX1358" fmla="*/ 5226 w 10785"/>
                <a:gd name="connsiteY1358" fmla="*/ 462 h 10000"/>
                <a:gd name="connsiteX1359" fmla="*/ 5226 w 10785"/>
                <a:gd name="connsiteY1359" fmla="*/ 462 h 10000"/>
                <a:gd name="connsiteX1360" fmla="*/ 5240 w 10785"/>
                <a:gd name="connsiteY1360" fmla="*/ 462 h 10000"/>
                <a:gd name="connsiteX1361" fmla="*/ 5240 w 10785"/>
                <a:gd name="connsiteY1361" fmla="*/ 444 h 10000"/>
                <a:gd name="connsiteX1362" fmla="*/ 5230 w 10785"/>
                <a:gd name="connsiteY1362" fmla="*/ 436 h 10000"/>
                <a:gd name="connsiteX1363" fmla="*/ 5230 w 10785"/>
                <a:gd name="connsiteY1363" fmla="*/ 419 h 10000"/>
                <a:gd name="connsiteX1364" fmla="*/ 5230 w 10785"/>
                <a:gd name="connsiteY1364" fmla="*/ 410 h 10000"/>
                <a:gd name="connsiteX1365" fmla="*/ 5198 w 10785"/>
                <a:gd name="connsiteY1365" fmla="*/ 402 h 10000"/>
                <a:gd name="connsiteX1366" fmla="*/ 5189 w 10785"/>
                <a:gd name="connsiteY1366" fmla="*/ 402 h 10000"/>
                <a:gd name="connsiteX1367" fmla="*/ 5184 w 10785"/>
                <a:gd name="connsiteY1367" fmla="*/ 376 h 10000"/>
                <a:gd name="connsiteX1368" fmla="*/ 5180 w 10785"/>
                <a:gd name="connsiteY1368" fmla="*/ 376 h 10000"/>
                <a:gd name="connsiteX1369" fmla="*/ 5166 w 10785"/>
                <a:gd name="connsiteY1369" fmla="*/ 376 h 10000"/>
                <a:gd name="connsiteX1370" fmla="*/ 5157 w 10785"/>
                <a:gd name="connsiteY1370" fmla="*/ 385 h 10000"/>
                <a:gd name="connsiteX1371" fmla="*/ 5152 w 10785"/>
                <a:gd name="connsiteY1371" fmla="*/ 376 h 10000"/>
                <a:gd name="connsiteX1372" fmla="*/ 5129 w 10785"/>
                <a:gd name="connsiteY1372" fmla="*/ 385 h 10000"/>
                <a:gd name="connsiteX1373" fmla="*/ 5129 w 10785"/>
                <a:gd name="connsiteY1373" fmla="*/ 350 h 10000"/>
                <a:gd name="connsiteX1374" fmla="*/ 5129 w 10785"/>
                <a:gd name="connsiteY1374" fmla="*/ 325 h 10000"/>
                <a:gd name="connsiteX1375" fmla="*/ 5124 w 10785"/>
                <a:gd name="connsiteY1375" fmla="*/ 359 h 10000"/>
                <a:gd name="connsiteX1376" fmla="*/ 5106 w 10785"/>
                <a:gd name="connsiteY1376" fmla="*/ 359 h 10000"/>
                <a:gd name="connsiteX1377" fmla="*/ 5037 w 10785"/>
                <a:gd name="connsiteY1377" fmla="*/ 419 h 10000"/>
                <a:gd name="connsiteX1378" fmla="*/ 5051 w 10785"/>
                <a:gd name="connsiteY1378" fmla="*/ 385 h 10000"/>
                <a:gd name="connsiteX1379" fmla="*/ 5055 w 10785"/>
                <a:gd name="connsiteY1379" fmla="*/ 376 h 10000"/>
                <a:gd name="connsiteX1380" fmla="*/ 5092 w 10785"/>
                <a:gd name="connsiteY1380" fmla="*/ 282 h 10000"/>
                <a:gd name="connsiteX1381" fmla="*/ 5106 w 10785"/>
                <a:gd name="connsiteY1381" fmla="*/ 265 h 10000"/>
                <a:gd name="connsiteX1382" fmla="*/ 5115 w 10785"/>
                <a:gd name="connsiteY1382" fmla="*/ 265 h 10000"/>
                <a:gd name="connsiteX1383" fmla="*/ 5124 w 10785"/>
                <a:gd name="connsiteY1383" fmla="*/ 222 h 10000"/>
                <a:gd name="connsiteX1384" fmla="*/ 5124 w 10785"/>
                <a:gd name="connsiteY1384" fmla="*/ 214 h 10000"/>
                <a:gd name="connsiteX1385" fmla="*/ 5143 w 10785"/>
                <a:gd name="connsiteY1385" fmla="*/ 197 h 10000"/>
                <a:gd name="connsiteX1386" fmla="*/ 5152 w 10785"/>
                <a:gd name="connsiteY1386" fmla="*/ 214 h 10000"/>
                <a:gd name="connsiteX1387" fmla="*/ 5143 w 10785"/>
                <a:gd name="connsiteY1387" fmla="*/ 188 h 10000"/>
                <a:gd name="connsiteX1388" fmla="*/ 5129 w 10785"/>
                <a:gd name="connsiteY1388" fmla="*/ 103 h 10000"/>
                <a:gd name="connsiteX1389" fmla="*/ 5115 w 10785"/>
                <a:gd name="connsiteY1389" fmla="*/ 85 h 10000"/>
                <a:gd name="connsiteX1390" fmla="*/ 5111 w 10785"/>
                <a:gd name="connsiteY1390" fmla="*/ 111 h 10000"/>
                <a:gd name="connsiteX1391" fmla="*/ 5092 w 10785"/>
                <a:gd name="connsiteY1391" fmla="*/ 103 h 10000"/>
                <a:gd name="connsiteX1392" fmla="*/ 5069 w 10785"/>
                <a:gd name="connsiteY1392" fmla="*/ 77 h 10000"/>
                <a:gd name="connsiteX1393" fmla="*/ 5051 w 10785"/>
                <a:gd name="connsiteY1393" fmla="*/ 26 h 10000"/>
                <a:gd name="connsiteX1394" fmla="*/ 5041 w 10785"/>
                <a:gd name="connsiteY1394" fmla="*/ 34 h 10000"/>
                <a:gd name="connsiteX1395" fmla="*/ 5037 w 10785"/>
                <a:gd name="connsiteY1395" fmla="*/ 34 h 10000"/>
                <a:gd name="connsiteX1396" fmla="*/ 5037 w 10785"/>
                <a:gd name="connsiteY1396" fmla="*/ 26 h 10000"/>
                <a:gd name="connsiteX1397" fmla="*/ 5037 w 10785"/>
                <a:gd name="connsiteY1397" fmla="*/ 9 h 10000"/>
                <a:gd name="connsiteX1398" fmla="*/ 5023 w 10785"/>
                <a:gd name="connsiteY1398" fmla="*/ 0 h 10000"/>
                <a:gd name="connsiteX1399" fmla="*/ 5009 w 10785"/>
                <a:gd name="connsiteY1399" fmla="*/ 9 h 10000"/>
                <a:gd name="connsiteX1400" fmla="*/ 4995 w 10785"/>
                <a:gd name="connsiteY1400" fmla="*/ 34 h 10000"/>
                <a:gd name="connsiteX1401" fmla="*/ 4991 w 10785"/>
                <a:gd name="connsiteY1401" fmla="*/ 60 h 10000"/>
                <a:gd name="connsiteX1402" fmla="*/ 4982 w 10785"/>
                <a:gd name="connsiteY1402" fmla="*/ 60 h 10000"/>
                <a:gd name="connsiteX1403" fmla="*/ 4949 w 10785"/>
                <a:gd name="connsiteY1403" fmla="*/ 51 h 10000"/>
                <a:gd name="connsiteX1404" fmla="*/ 4949 w 10785"/>
                <a:gd name="connsiteY1404" fmla="*/ 85 h 10000"/>
                <a:gd name="connsiteX1405" fmla="*/ 4903 w 10785"/>
                <a:gd name="connsiteY1405" fmla="*/ 197 h 10000"/>
                <a:gd name="connsiteX1406" fmla="*/ 4899 w 10785"/>
                <a:gd name="connsiteY1406" fmla="*/ 239 h 10000"/>
                <a:gd name="connsiteX1407" fmla="*/ 4871 w 10785"/>
                <a:gd name="connsiteY1407" fmla="*/ 274 h 10000"/>
                <a:gd name="connsiteX1408" fmla="*/ 4871 w 10785"/>
                <a:gd name="connsiteY1408" fmla="*/ 282 h 10000"/>
                <a:gd name="connsiteX1409" fmla="*/ 4834 w 10785"/>
                <a:gd name="connsiteY1409" fmla="*/ 376 h 10000"/>
                <a:gd name="connsiteX1410" fmla="*/ 4829 w 10785"/>
                <a:gd name="connsiteY1410" fmla="*/ 402 h 10000"/>
                <a:gd name="connsiteX1411" fmla="*/ 4834 w 10785"/>
                <a:gd name="connsiteY1411" fmla="*/ 410 h 10000"/>
                <a:gd name="connsiteX1412" fmla="*/ 4829 w 10785"/>
                <a:gd name="connsiteY1412" fmla="*/ 436 h 10000"/>
                <a:gd name="connsiteX1413" fmla="*/ 4825 w 10785"/>
                <a:gd name="connsiteY1413" fmla="*/ 436 h 10000"/>
                <a:gd name="connsiteX1414" fmla="*/ 4825 w 10785"/>
                <a:gd name="connsiteY1414" fmla="*/ 444 h 10000"/>
                <a:gd name="connsiteX1415" fmla="*/ 4811 w 10785"/>
                <a:gd name="connsiteY1415" fmla="*/ 496 h 10000"/>
                <a:gd name="connsiteX1416" fmla="*/ 4811 w 10785"/>
                <a:gd name="connsiteY1416" fmla="*/ 496 h 10000"/>
                <a:gd name="connsiteX1417" fmla="*/ 4811 w 10785"/>
                <a:gd name="connsiteY1417" fmla="*/ 521 h 10000"/>
                <a:gd name="connsiteX1418" fmla="*/ 4816 w 10785"/>
                <a:gd name="connsiteY1418" fmla="*/ 530 h 10000"/>
                <a:gd name="connsiteX1419" fmla="*/ 4834 w 10785"/>
                <a:gd name="connsiteY1419" fmla="*/ 547 h 10000"/>
                <a:gd name="connsiteX1420" fmla="*/ 4834 w 10785"/>
                <a:gd name="connsiteY1420" fmla="*/ 581 h 10000"/>
                <a:gd name="connsiteX1421" fmla="*/ 4843 w 10785"/>
                <a:gd name="connsiteY1421" fmla="*/ 581 h 10000"/>
                <a:gd name="connsiteX1422" fmla="*/ 4843 w 10785"/>
                <a:gd name="connsiteY1422" fmla="*/ 598 h 10000"/>
                <a:gd name="connsiteX1423" fmla="*/ 4829 w 10785"/>
                <a:gd name="connsiteY1423" fmla="*/ 598 h 10000"/>
                <a:gd name="connsiteX1424" fmla="*/ 4829 w 10785"/>
                <a:gd name="connsiteY1424" fmla="*/ 573 h 10000"/>
                <a:gd name="connsiteX1425" fmla="*/ 4829 w 10785"/>
                <a:gd name="connsiteY1425" fmla="*/ 632 h 10000"/>
                <a:gd name="connsiteX1426" fmla="*/ 4829 w 10785"/>
                <a:gd name="connsiteY1426" fmla="*/ 632 h 10000"/>
                <a:gd name="connsiteX1427" fmla="*/ 4829 w 10785"/>
                <a:gd name="connsiteY1427" fmla="*/ 650 h 10000"/>
                <a:gd name="connsiteX1428" fmla="*/ 4774 w 10785"/>
                <a:gd name="connsiteY1428" fmla="*/ 684 h 10000"/>
                <a:gd name="connsiteX1429" fmla="*/ 4756 w 10785"/>
                <a:gd name="connsiteY1429" fmla="*/ 684 h 10000"/>
                <a:gd name="connsiteX1430" fmla="*/ 4737 w 10785"/>
                <a:gd name="connsiteY1430" fmla="*/ 692 h 10000"/>
                <a:gd name="connsiteX1431" fmla="*/ 4677 w 10785"/>
                <a:gd name="connsiteY1431" fmla="*/ 667 h 10000"/>
                <a:gd name="connsiteX1432" fmla="*/ 4682 w 10785"/>
                <a:gd name="connsiteY1432" fmla="*/ 692 h 10000"/>
                <a:gd name="connsiteX1433" fmla="*/ 4682 w 10785"/>
                <a:gd name="connsiteY1433" fmla="*/ 709 h 10000"/>
                <a:gd name="connsiteX1434" fmla="*/ 4691 w 10785"/>
                <a:gd name="connsiteY1434" fmla="*/ 718 h 10000"/>
                <a:gd name="connsiteX1435" fmla="*/ 4691 w 10785"/>
                <a:gd name="connsiteY1435" fmla="*/ 744 h 10000"/>
                <a:gd name="connsiteX1436" fmla="*/ 4700 w 10785"/>
                <a:gd name="connsiteY1436" fmla="*/ 744 h 10000"/>
                <a:gd name="connsiteX1437" fmla="*/ 4714 w 10785"/>
                <a:gd name="connsiteY1437" fmla="*/ 769 h 10000"/>
                <a:gd name="connsiteX1438" fmla="*/ 4710 w 10785"/>
                <a:gd name="connsiteY1438" fmla="*/ 786 h 10000"/>
                <a:gd name="connsiteX1439" fmla="*/ 4737 w 10785"/>
                <a:gd name="connsiteY1439" fmla="*/ 786 h 10000"/>
                <a:gd name="connsiteX1440" fmla="*/ 4742 w 10785"/>
                <a:gd name="connsiteY1440" fmla="*/ 795 h 10000"/>
                <a:gd name="connsiteX1441" fmla="*/ 4742 w 10785"/>
                <a:gd name="connsiteY1441" fmla="*/ 803 h 10000"/>
                <a:gd name="connsiteX1442" fmla="*/ 4737 w 10785"/>
                <a:gd name="connsiteY1442" fmla="*/ 846 h 10000"/>
                <a:gd name="connsiteX1443" fmla="*/ 4737 w 10785"/>
                <a:gd name="connsiteY1443" fmla="*/ 880 h 10000"/>
                <a:gd name="connsiteX1444" fmla="*/ 4737 w 10785"/>
                <a:gd name="connsiteY1444" fmla="*/ 906 h 10000"/>
                <a:gd name="connsiteX1445" fmla="*/ 4724 w 10785"/>
                <a:gd name="connsiteY1445" fmla="*/ 897 h 10000"/>
                <a:gd name="connsiteX1446" fmla="*/ 4724 w 10785"/>
                <a:gd name="connsiteY1446" fmla="*/ 872 h 10000"/>
                <a:gd name="connsiteX1447" fmla="*/ 4714 w 10785"/>
                <a:gd name="connsiteY1447" fmla="*/ 855 h 10000"/>
                <a:gd name="connsiteX1448" fmla="*/ 4691 w 10785"/>
                <a:gd name="connsiteY1448" fmla="*/ 846 h 10000"/>
                <a:gd name="connsiteX1449" fmla="*/ 4691 w 10785"/>
                <a:gd name="connsiteY1449" fmla="*/ 846 h 10000"/>
                <a:gd name="connsiteX1450" fmla="*/ 4696 w 10785"/>
                <a:gd name="connsiteY1450" fmla="*/ 821 h 10000"/>
                <a:gd name="connsiteX1451" fmla="*/ 4691 w 10785"/>
                <a:gd name="connsiteY1451" fmla="*/ 803 h 10000"/>
                <a:gd name="connsiteX1452" fmla="*/ 4668 w 10785"/>
                <a:gd name="connsiteY1452" fmla="*/ 821 h 10000"/>
                <a:gd name="connsiteX1453" fmla="*/ 4668 w 10785"/>
                <a:gd name="connsiteY1453" fmla="*/ 786 h 10000"/>
                <a:gd name="connsiteX1454" fmla="*/ 4664 w 10785"/>
                <a:gd name="connsiteY1454" fmla="*/ 786 h 10000"/>
                <a:gd name="connsiteX1455" fmla="*/ 4622 w 10785"/>
                <a:gd name="connsiteY1455" fmla="*/ 846 h 10000"/>
                <a:gd name="connsiteX1456" fmla="*/ 4627 w 10785"/>
                <a:gd name="connsiteY1456" fmla="*/ 872 h 10000"/>
                <a:gd name="connsiteX1457" fmla="*/ 4622 w 10785"/>
                <a:gd name="connsiteY1457" fmla="*/ 880 h 10000"/>
                <a:gd name="connsiteX1458" fmla="*/ 4622 w 10785"/>
                <a:gd name="connsiteY1458" fmla="*/ 880 h 10000"/>
                <a:gd name="connsiteX1459" fmla="*/ 4618 w 10785"/>
                <a:gd name="connsiteY1459" fmla="*/ 872 h 10000"/>
                <a:gd name="connsiteX1460" fmla="*/ 4604 w 10785"/>
                <a:gd name="connsiteY1460" fmla="*/ 880 h 10000"/>
                <a:gd name="connsiteX1461" fmla="*/ 4594 w 10785"/>
                <a:gd name="connsiteY1461" fmla="*/ 906 h 10000"/>
                <a:gd name="connsiteX1462" fmla="*/ 4604 w 10785"/>
                <a:gd name="connsiteY1462" fmla="*/ 906 h 10000"/>
                <a:gd name="connsiteX1463" fmla="*/ 4608 w 10785"/>
                <a:gd name="connsiteY1463" fmla="*/ 906 h 10000"/>
                <a:gd name="connsiteX1464" fmla="*/ 4608 w 10785"/>
                <a:gd name="connsiteY1464" fmla="*/ 932 h 10000"/>
                <a:gd name="connsiteX1465" fmla="*/ 4604 w 10785"/>
                <a:gd name="connsiteY1465" fmla="*/ 932 h 10000"/>
                <a:gd name="connsiteX1466" fmla="*/ 4590 w 10785"/>
                <a:gd name="connsiteY1466" fmla="*/ 932 h 10000"/>
                <a:gd name="connsiteX1467" fmla="*/ 4567 w 10785"/>
                <a:gd name="connsiteY1467" fmla="*/ 957 h 10000"/>
                <a:gd name="connsiteX1468" fmla="*/ 4567 w 10785"/>
                <a:gd name="connsiteY1468" fmla="*/ 932 h 10000"/>
                <a:gd name="connsiteX1469" fmla="*/ 4567 w 10785"/>
                <a:gd name="connsiteY1469" fmla="*/ 923 h 10000"/>
                <a:gd name="connsiteX1470" fmla="*/ 4562 w 10785"/>
                <a:gd name="connsiteY1470" fmla="*/ 932 h 10000"/>
                <a:gd name="connsiteX1471" fmla="*/ 4548 w 10785"/>
                <a:gd name="connsiteY1471" fmla="*/ 957 h 10000"/>
                <a:gd name="connsiteX1472" fmla="*/ 4544 w 10785"/>
                <a:gd name="connsiteY1472" fmla="*/ 957 h 10000"/>
                <a:gd name="connsiteX1473" fmla="*/ 4521 w 10785"/>
                <a:gd name="connsiteY1473" fmla="*/ 983 h 10000"/>
                <a:gd name="connsiteX1474" fmla="*/ 4521 w 10785"/>
                <a:gd name="connsiteY1474" fmla="*/ 983 h 10000"/>
                <a:gd name="connsiteX1475" fmla="*/ 4530 w 10785"/>
                <a:gd name="connsiteY1475" fmla="*/ 957 h 10000"/>
                <a:gd name="connsiteX1476" fmla="*/ 4535 w 10785"/>
                <a:gd name="connsiteY1476" fmla="*/ 932 h 10000"/>
                <a:gd name="connsiteX1477" fmla="*/ 4521 w 10785"/>
                <a:gd name="connsiteY1477" fmla="*/ 932 h 10000"/>
                <a:gd name="connsiteX1478" fmla="*/ 4516 w 10785"/>
                <a:gd name="connsiteY1478" fmla="*/ 923 h 10000"/>
                <a:gd name="connsiteX1479" fmla="*/ 4516 w 10785"/>
                <a:gd name="connsiteY1479" fmla="*/ 932 h 10000"/>
                <a:gd name="connsiteX1480" fmla="*/ 4488 w 10785"/>
                <a:gd name="connsiteY1480" fmla="*/ 940 h 10000"/>
                <a:gd name="connsiteX1481" fmla="*/ 4484 w 10785"/>
                <a:gd name="connsiteY1481" fmla="*/ 983 h 10000"/>
                <a:gd name="connsiteX1482" fmla="*/ 4470 w 10785"/>
                <a:gd name="connsiteY1482" fmla="*/ 983 h 10000"/>
                <a:gd name="connsiteX1483" fmla="*/ 4470 w 10785"/>
                <a:gd name="connsiteY1483" fmla="*/ 966 h 10000"/>
                <a:gd name="connsiteX1484" fmla="*/ 4488 w 10785"/>
                <a:gd name="connsiteY1484" fmla="*/ 923 h 10000"/>
                <a:gd name="connsiteX1485" fmla="*/ 4493 w 10785"/>
                <a:gd name="connsiteY1485" fmla="*/ 880 h 10000"/>
                <a:gd name="connsiteX1486" fmla="*/ 4475 w 10785"/>
                <a:gd name="connsiteY1486" fmla="*/ 846 h 10000"/>
                <a:gd name="connsiteX1487" fmla="*/ 4442 w 10785"/>
                <a:gd name="connsiteY1487" fmla="*/ 855 h 10000"/>
                <a:gd name="connsiteX1488" fmla="*/ 4433 w 10785"/>
                <a:gd name="connsiteY1488" fmla="*/ 855 h 10000"/>
                <a:gd name="connsiteX1489" fmla="*/ 4433 w 10785"/>
                <a:gd name="connsiteY1489" fmla="*/ 880 h 10000"/>
                <a:gd name="connsiteX1490" fmla="*/ 4401 w 10785"/>
                <a:gd name="connsiteY1490" fmla="*/ 855 h 10000"/>
                <a:gd name="connsiteX1491" fmla="*/ 4396 w 10785"/>
                <a:gd name="connsiteY1491" fmla="*/ 872 h 10000"/>
                <a:gd name="connsiteX1492" fmla="*/ 4382 w 10785"/>
                <a:gd name="connsiteY1492" fmla="*/ 897 h 10000"/>
                <a:gd name="connsiteX1493" fmla="*/ 4373 w 10785"/>
                <a:gd name="connsiteY1493" fmla="*/ 872 h 10000"/>
                <a:gd name="connsiteX1494" fmla="*/ 4341 w 10785"/>
                <a:gd name="connsiteY1494" fmla="*/ 872 h 10000"/>
                <a:gd name="connsiteX1495" fmla="*/ 4336 w 10785"/>
                <a:gd name="connsiteY1495" fmla="*/ 880 h 10000"/>
                <a:gd name="connsiteX1496" fmla="*/ 4346 w 10785"/>
                <a:gd name="connsiteY1496" fmla="*/ 897 h 10000"/>
                <a:gd name="connsiteX1497" fmla="*/ 4346 w 10785"/>
                <a:gd name="connsiteY1497" fmla="*/ 897 h 10000"/>
                <a:gd name="connsiteX1498" fmla="*/ 4313 w 10785"/>
                <a:gd name="connsiteY1498" fmla="*/ 906 h 10000"/>
                <a:gd name="connsiteX1499" fmla="*/ 4313 w 10785"/>
                <a:gd name="connsiteY1499" fmla="*/ 906 h 10000"/>
                <a:gd name="connsiteX1500" fmla="*/ 4313 w 10785"/>
                <a:gd name="connsiteY1500" fmla="*/ 880 h 10000"/>
                <a:gd name="connsiteX1501" fmla="*/ 4309 w 10785"/>
                <a:gd name="connsiteY1501" fmla="*/ 897 h 10000"/>
                <a:gd name="connsiteX1502" fmla="*/ 4295 w 10785"/>
                <a:gd name="connsiteY1502" fmla="*/ 923 h 10000"/>
                <a:gd name="connsiteX1503" fmla="*/ 4286 w 10785"/>
                <a:gd name="connsiteY1503" fmla="*/ 897 h 10000"/>
                <a:gd name="connsiteX1504" fmla="*/ 4281 w 10785"/>
                <a:gd name="connsiteY1504" fmla="*/ 906 h 10000"/>
                <a:gd name="connsiteX1505" fmla="*/ 4281 w 10785"/>
                <a:gd name="connsiteY1505" fmla="*/ 940 h 10000"/>
                <a:gd name="connsiteX1506" fmla="*/ 4286 w 10785"/>
                <a:gd name="connsiteY1506" fmla="*/ 957 h 10000"/>
                <a:gd name="connsiteX1507" fmla="*/ 4309 w 10785"/>
                <a:gd name="connsiteY1507" fmla="*/ 932 h 10000"/>
                <a:gd name="connsiteX1508" fmla="*/ 4313 w 10785"/>
                <a:gd name="connsiteY1508" fmla="*/ 957 h 10000"/>
                <a:gd name="connsiteX1509" fmla="*/ 4313 w 10785"/>
                <a:gd name="connsiteY1509" fmla="*/ 966 h 10000"/>
                <a:gd name="connsiteX1510" fmla="*/ 4323 w 10785"/>
                <a:gd name="connsiteY1510" fmla="*/ 966 h 10000"/>
                <a:gd name="connsiteX1511" fmla="*/ 4323 w 10785"/>
                <a:gd name="connsiteY1511" fmla="*/ 940 h 10000"/>
                <a:gd name="connsiteX1512" fmla="*/ 4327 w 10785"/>
                <a:gd name="connsiteY1512" fmla="*/ 940 h 10000"/>
                <a:gd name="connsiteX1513" fmla="*/ 4327 w 10785"/>
                <a:gd name="connsiteY1513" fmla="*/ 957 h 10000"/>
                <a:gd name="connsiteX1514" fmla="*/ 4327 w 10785"/>
                <a:gd name="connsiteY1514" fmla="*/ 966 h 10000"/>
                <a:gd name="connsiteX1515" fmla="*/ 4323 w 10785"/>
                <a:gd name="connsiteY1515" fmla="*/ 991 h 10000"/>
                <a:gd name="connsiteX1516" fmla="*/ 4207 w 10785"/>
                <a:gd name="connsiteY1516" fmla="*/ 1060 h 10000"/>
                <a:gd name="connsiteX1517" fmla="*/ 4207 w 10785"/>
                <a:gd name="connsiteY1517" fmla="*/ 1060 h 10000"/>
                <a:gd name="connsiteX1518" fmla="*/ 4203 w 10785"/>
                <a:gd name="connsiteY1518" fmla="*/ 1068 h 10000"/>
                <a:gd name="connsiteX1519" fmla="*/ 4203 w 10785"/>
                <a:gd name="connsiteY1519" fmla="*/ 1094 h 10000"/>
                <a:gd name="connsiteX1520" fmla="*/ 4203 w 10785"/>
                <a:gd name="connsiteY1520" fmla="*/ 1094 h 10000"/>
                <a:gd name="connsiteX1521" fmla="*/ 4189 w 10785"/>
                <a:gd name="connsiteY1521" fmla="*/ 1094 h 10000"/>
                <a:gd name="connsiteX1522" fmla="*/ 4166 w 10785"/>
                <a:gd name="connsiteY1522" fmla="*/ 1103 h 10000"/>
                <a:gd name="connsiteX1523" fmla="*/ 4152 w 10785"/>
                <a:gd name="connsiteY1523" fmla="*/ 1094 h 10000"/>
                <a:gd name="connsiteX1524" fmla="*/ 4134 w 10785"/>
                <a:gd name="connsiteY1524" fmla="*/ 1120 h 10000"/>
                <a:gd name="connsiteX1525" fmla="*/ 4106 w 10785"/>
                <a:gd name="connsiteY1525" fmla="*/ 1120 h 10000"/>
                <a:gd name="connsiteX1526" fmla="*/ 4092 w 10785"/>
                <a:gd name="connsiteY1526" fmla="*/ 1154 h 10000"/>
                <a:gd name="connsiteX1527" fmla="*/ 4106 w 10785"/>
                <a:gd name="connsiteY1527" fmla="*/ 1171 h 10000"/>
                <a:gd name="connsiteX1528" fmla="*/ 4078 w 10785"/>
                <a:gd name="connsiteY1528" fmla="*/ 1179 h 10000"/>
                <a:gd name="connsiteX1529" fmla="*/ 4065 w 10785"/>
                <a:gd name="connsiteY1529" fmla="*/ 1205 h 10000"/>
                <a:gd name="connsiteX1530" fmla="*/ 4046 w 10785"/>
                <a:gd name="connsiteY1530" fmla="*/ 1179 h 10000"/>
                <a:gd name="connsiteX1531" fmla="*/ 4041 w 10785"/>
                <a:gd name="connsiteY1531" fmla="*/ 1197 h 10000"/>
                <a:gd name="connsiteX1532" fmla="*/ 4028 w 10785"/>
                <a:gd name="connsiteY1532" fmla="*/ 1205 h 10000"/>
                <a:gd name="connsiteX1533" fmla="*/ 4028 w 10785"/>
                <a:gd name="connsiteY1533" fmla="*/ 1205 h 10000"/>
                <a:gd name="connsiteX1534" fmla="*/ 4032 w 10785"/>
                <a:gd name="connsiteY1534" fmla="*/ 1205 h 10000"/>
                <a:gd name="connsiteX1535" fmla="*/ 4032 w 10785"/>
                <a:gd name="connsiteY1535" fmla="*/ 1231 h 10000"/>
                <a:gd name="connsiteX1536" fmla="*/ 4014 w 10785"/>
                <a:gd name="connsiteY1536" fmla="*/ 1239 h 10000"/>
                <a:gd name="connsiteX1537" fmla="*/ 4014 w 10785"/>
                <a:gd name="connsiteY1537" fmla="*/ 1256 h 10000"/>
                <a:gd name="connsiteX1538" fmla="*/ 4000 w 10785"/>
                <a:gd name="connsiteY1538" fmla="*/ 1265 h 10000"/>
                <a:gd name="connsiteX1539" fmla="*/ 3986 w 10785"/>
                <a:gd name="connsiteY1539" fmla="*/ 1308 h 10000"/>
                <a:gd name="connsiteX1540" fmla="*/ 3972 w 10785"/>
                <a:gd name="connsiteY1540" fmla="*/ 1316 h 10000"/>
                <a:gd name="connsiteX1541" fmla="*/ 3972 w 10785"/>
                <a:gd name="connsiteY1541" fmla="*/ 1325 h 10000"/>
                <a:gd name="connsiteX1542" fmla="*/ 3972 w 10785"/>
                <a:gd name="connsiteY1542" fmla="*/ 1342 h 10000"/>
                <a:gd name="connsiteX1543" fmla="*/ 3968 w 10785"/>
                <a:gd name="connsiteY1543" fmla="*/ 1350 h 10000"/>
                <a:gd name="connsiteX1544" fmla="*/ 3954 w 10785"/>
                <a:gd name="connsiteY1544" fmla="*/ 1368 h 10000"/>
                <a:gd name="connsiteX1545" fmla="*/ 3945 w 10785"/>
                <a:gd name="connsiteY1545" fmla="*/ 1350 h 10000"/>
                <a:gd name="connsiteX1546" fmla="*/ 3908 w 10785"/>
                <a:gd name="connsiteY1546" fmla="*/ 1342 h 10000"/>
                <a:gd name="connsiteX1547" fmla="*/ 3894 w 10785"/>
                <a:gd name="connsiteY1547" fmla="*/ 1368 h 10000"/>
                <a:gd name="connsiteX1548" fmla="*/ 3922 w 10785"/>
                <a:gd name="connsiteY1548" fmla="*/ 1393 h 10000"/>
                <a:gd name="connsiteX1549" fmla="*/ 3945 w 10785"/>
                <a:gd name="connsiteY1549" fmla="*/ 1393 h 10000"/>
                <a:gd name="connsiteX1550" fmla="*/ 3940 w 10785"/>
                <a:gd name="connsiteY1550" fmla="*/ 1419 h 10000"/>
                <a:gd name="connsiteX1551" fmla="*/ 3931 w 10785"/>
                <a:gd name="connsiteY1551" fmla="*/ 1427 h 10000"/>
                <a:gd name="connsiteX1552" fmla="*/ 3926 w 10785"/>
                <a:gd name="connsiteY1552" fmla="*/ 1427 h 10000"/>
                <a:gd name="connsiteX1553" fmla="*/ 3922 w 10785"/>
                <a:gd name="connsiteY1553" fmla="*/ 1419 h 10000"/>
                <a:gd name="connsiteX1554" fmla="*/ 3912 w 10785"/>
                <a:gd name="connsiteY1554" fmla="*/ 1427 h 10000"/>
                <a:gd name="connsiteX1555" fmla="*/ 3912 w 10785"/>
                <a:gd name="connsiteY1555" fmla="*/ 1444 h 10000"/>
                <a:gd name="connsiteX1556" fmla="*/ 3894 w 10785"/>
                <a:gd name="connsiteY1556" fmla="*/ 1513 h 10000"/>
                <a:gd name="connsiteX1557" fmla="*/ 3885 w 10785"/>
                <a:gd name="connsiteY1557" fmla="*/ 1513 h 10000"/>
                <a:gd name="connsiteX1558" fmla="*/ 3880 w 10785"/>
                <a:gd name="connsiteY1558" fmla="*/ 1538 h 10000"/>
                <a:gd name="connsiteX1559" fmla="*/ 3885 w 10785"/>
                <a:gd name="connsiteY1559" fmla="*/ 1564 h 10000"/>
                <a:gd name="connsiteX1560" fmla="*/ 3880 w 10785"/>
                <a:gd name="connsiteY1560" fmla="*/ 1581 h 10000"/>
                <a:gd name="connsiteX1561" fmla="*/ 3871 w 10785"/>
                <a:gd name="connsiteY1561" fmla="*/ 1538 h 10000"/>
                <a:gd name="connsiteX1562" fmla="*/ 3853 w 10785"/>
                <a:gd name="connsiteY1562" fmla="*/ 1530 h 10000"/>
                <a:gd name="connsiteX1563" fmla="*/ 3853 w 10785"/>
                <a:gd name="connsiteY1563" fmla="*/ 1504 h 10000"/>
                <a:gd name="connsiteX1564" fmla="*/ 3834 w 10785"/>
                <a:gd name="connsiteY1564" fmla="*/ 1487 h 10000"/>
                <a:gd name="connsiteX1565" fmla="*/ 3834 w 10785"/>
                <a:gd name="connsiteY1565" fmla="*/ 1487 h 10000"/>
                <a:gd name="connsiteX1566" fmla="*/ 3839 w 10785"/>
                <a:gd name="connsiteY1566" fmla="*/ 1513 h 10000"/>
                <a:gd name="connsiteX1567" fmla="*/ 3820 w 10785"/>
                <a:gd name="connsiteY1567" fmla="*/ 1538 h 10000"/>
                <a:gd name="connsiteX1568" fmla="*/ 3820 w 10785"/>
                <a:gd name="connsiteY1568" fmla="*/ 1556 h 10000"/>
                <a:gd name="connsiteX1569" fmla="*/ 3820 w 10785"/>
                <a:gd name="connsiteY1569" fmla="*/ 1564 h 10000"/>
                <a:gd name="connsiteX1570" fmla="*/ 3820 w 10785"/>
                <a:gd name="connsiteY1570" fmla="*/ 1581 h 10000"/>
                <a:gd name="connsiteX1571" fmla="*/ 3853 w 10785"/>
                <a:gd name="connsiteY1571" fmla="*/ 1581 h 10000"/>
                <a:gd name="connsiteX1572" fmla="*/ 3857 w 10785"/>
                <a:gd name="connsiteY1572" fmla="*/ 1598 h 10000"/>
                <a:gd name="connsiteX1573" fmla="*/ 3880 w 10785"/>
                <a:gd name="connsiteY1573" fmla="*/ 1615 h 10000"/>
                <a:gd name="connsiteX1574" fmla="*/ 3871 w 10785"/>
                <a:gd name="connsiteY1574" fmla="*/ 1615 h 10000"/>
                <a:gd name="connsiteX1575" fmla="*/ 3871 w 10785"/>
                <a:gd name="connsiteY1575" fmla="*/ 1641 h 10000"/>
                <a:gd name="connsiteX1576" fmla="*/ 3880 w 10785"/>
                <a:gd name="connsiteY1576" fmla="*/ 1641 h 10000"/>
                <a:gd name="connsiteX1577" fmla="*/ 3871 w 10785"/>
                <a:gd name="connsiteY1577" fmla="*/ 1650 h 10000"/>
                <a:gd name="connsiteX1578" fmla="*/ 3857 w 10785"/>
                <a:gd name="connsiteY1578" fmla="*/ 1650 h 10000"/>
                <a:gd name="connsiteX1579" fmla="*/ 3853 w 10785"/>
                <a:gd name="connsiteY1579" fmla="*/ 1650 h 10000"/>
                <a:gd name="connsiteX1580" fmla="*/ 3839 w 10785"/>
                <a:gd name="connsiteY1580" fmla="*/ 1667 h 10000"/>
                <a:gd name="connsiteX1581" fmla="*/ 3848 w 10785"/>
                <a:gd name="connsiteY1581" fmla="*/ 1692 h 10000"/>
                <a:gd name="connsiteX1582" fmla="*/ 3834 w 10785"/>
                <a:gd name="connsiteY1582" fmla="*/ 1692 h 10000"/>
                <a:gd name="connsiteX1583" fmla="*/ 3825 w 10785"/>
                <a:gd name="connsiteY1583" fmla="*/ 1692 h 10000"/>
                <a:gd name="connsiteX1584" fmla="*/ 3825 w 10785"/>
                <a:gd name="connsiteY1584" fmla="*/ 1718 h 10000"/>
                <a:gd name="connsiteX1585" fmla="*/ 3839 w 10785"/>
                <a:gd name="connsiteY1585" fmla="*/ 1726 h 10000"/>
                <a:gd name="connsiteX1586" fmla="*/ 3880 w 10785"/>
                <a:gd name="connsiteY1586" fmla="*/ 1752 h 10000"/>
                <a:gd name="connsiteX1587" fmla="*/ 3894 w 10785"/>
                <a:gd name="connsiteY1587" fmla="*/ 1829 h 10000"/>
                <a:gd name="connsiteX1588" fmla="*/ 3899 w 10785"/>
                <a:gd name="connsiteY1588" fmla="*/ 1838 h 10000"/>
                <a:gd name="connsiteX1589" fmla="*/ 3894 w 10785"/>
                <a:gd name="connsiteY1589" fmla="*/ 1855 h 10000"/>
                <a:gd name="connsiteX1590" fmla="*/ 3880 w 10785"/>
                <a:gd name="connsiteY1590" fmla="*/ 1838 h 10000"/>
                <a:gd name="connsiteX1591" fmla="*/ 3880 w 10785"/>
                <a:gd name="connsiteY1591" fmla="*/ 1855 h 10000"/>
                <a:gd name="connsiteX1592" fmla="*/ 3880 w 10785"/>
                <a:gd name="connsiteY1592" fmla="*/ 1863 h 10000"/>
                <a:gd name="connsiteX1593" fmla="*/ 3871 w 10785"/>
                <a:gd name="connsiteY1593" fmla="*/ 1872 h 10000"/>
                <a:gd name="connsiteX1594" fmla="*/ 3880 w 10785"/>
                <a:gd name="connsiteY1594" fmla="*/ 1889 h 10000"/>
                <a:gd name="connsiteX1595" fmla="*/ 3885 w 10785"/>
                <a:gd name="connsiteY1595" fmla="*/ 1889 h 10000"/>
                <a:gd name="connsiteX1596" fmla="*/ 3880 w 10785"/>
                <a:gd name="connsiteY1596" fmla="*/ 1897 h 10000"/>
                <a:gd name="connsiteX1597" fmla="*/ 3871 w 10785"/>
                <a:gd name="connsiteY1597" fmla="*/ 1915 h 10000"/>
                <a:gd name="connsiteX1598" fmla="*/ 3848 w 10785"/>
                <a:gd name="connsiteY1598" fmla="*/ 1923 h 10000"/>
                <a:gd name="connsiteX1599" fmla="*/ 3825 w 10785"/>
                <a:gd name="connsiteY1599" fmla="*/ 1940 h 10000"/>
                <a:gd name="connsiteX1600" fmla="*/ 3811 w 10785"/>
                <a:gd name="connsiteY1600" fmla="*/ 1940 h 10000"/>
                <a:gd name="connsiteX1601" fmla="*/ 3806 w 10785"/>
                <a:gd name="connsiteY1601" fmla="*/ 1949 h 10000"/>
                <a:gd name="connsiteX1602" fmla="*/ 3797 w 10785"/>
                <a:gd name="connsiteY1602" fmla="*/ 1966 h 10000"/>
                <a:gd name="connsiteX1603" fmla="*/ 3788 w 10785"/>
                <a:gd name="connsiteY1603" fmla="*/ 1991 h 10000"/>
                <a:gd name="connsiteX1604" fmla="*/ 3765 w 10785"/>
                <a:gd name="connsiteY1604" fmla="*/ 1974 h 10000"/>
                <a:gd name="connsiteX1605" fmla="*/ 3760 w 10785"/>
                <a:gd name="connsiteY1605" fmla="*/ 1966 h 10000"/>
                <a:gd name="connsiteX1606" fmla="*/ 3760 w 10785"/>
                <a:gd name="connsiteY1606" fmla="*/ 1966 h 10000"/>
                <a:gd name="connsiteX1607" fmla="*/ 3631 w 10785"/>
                <a:gd name="connsiteY1607" fmla="*/ 2009 h 10000"/>
                <a:gd name="connsiteX1608" fmla="*/ 3618 w 10785"/>
                <a:gd name="connsiteY1608" fmla="*/ 2000 h 10000"/>
                <a:gd name="connsiteX1609" fmla="*/ 3599 w 10785"/>
                <a:gd name="connsiteY1609" fmla="*/ 2009 h 10000"/>
                <a:gd name="connsiteX1610" fmla="*/ 3571 w 10785"/>
                <a:gd name="connsiteY1610" fmla="*/ 2000 h 10000"/>
                <a:gd name="connsiteX1611" fmla="*/ 3530 w 10785"/>
                <a:gd name="connsiteY1611" fmla="*/ 2026 h 10000"/>
                <a:gd name="connsiteX1612" fmla="*/ 3530 w 10785"/>
                <a:gd name="connsiteY1612" fmla="*/ 2034 h 10000"/>
                <a:gd name="connsiteX1613" fmla="*/ 3525 w 10785"/>
                <a:gd name="connsiteY1613" fmla="*/ 2051 h 10000"/>
                <a:gd name="connsiteX1614" fmla="*/ 3512 w 10785"/>
                <a:gd name="connsiteY1614" fmla="*/ 2034 h 10000"/>
                <a:gd name="connsiteX1615" fmla="*/ 3507 w 10785"/>
                <a:gd name="connsiteY1615" fmla="*/ 2034 h 10000"/>
                <a:gd name="connsiteX1616" fmla="*/ 3498 w 10785"/>
                <a:gd name="connsiteY1616" fmla="*/ 2051 h 10000"/>
                <a:gd name="connsiteX1617" fmla="*/ 3484 w 10785"/>
                <a:gd name="connsiteY1617" fmla="*/ 2060 h 10000"/>
                <a:gd name="connsiteX1618" fmla="*/ 3484 w 10785"/>
                <a:gd name="connsiteY1618" fmla="*/ 2085 h 10000"/>
                <a:gd name="connsiteX1619" fmla="*/ 3484 w 10785"/>
                <a:gd name="connsiteY1619" fmla="*/ 2103 h 10000"/>
                <a:gd name="connsiteX1620" fmla="*/ 3493 w 10785"/>
                <a:gd name="connsiteY1620" fmla="*/ 2103 h 10000"/>
                <a:gd name="connsiteX1621" fmla="*/ 3493 w 10785"/>
                <a:gd name="connsiteY1621" fmla="*/ 2085 h 10000"/>
                <a:gd name="connsiteX1622" fmla="*/ 3498 w 10785"/>
                <a:gd name="connsiteY1622" fmla="*/ 2085 h 10000"/>
                <a:gd name="connsiteX1623" fmla="*/ 3498 w 10785"/>
                <a:gd name="connsiteY1623" fmla="*/ 2111 h 10000"/>
                <a:gd name="connsiteX1624" fmla="*/ 3484 w 10785"/>
                <a:gd name="connsiteY1624" fmla="*/ 2120 h 10000"/>
                <a:gd name="connsiteX1625" fmla="*/ 3484 w 10785"/>
                <a:gd name="connsiteY1625" fmla="*/ 2145 h 10000"/>
                <a:gd name="connsiteX1626" fmla="*/ 3470 w 10785"/>
                <a:gd name="connsiteY1626" fmla="*/ 2137 h 10000"/>
                <a:gd name="connsiteX1627" fmla="*/ 3465 w 10785"/>
                <a:gd name="connsiteY1627" fmla="*/ 2145 h 10000"/>
                <a:gd name="connsiteX1628" fmla="*/ 3470 w 10785"/>
                <a:gd name="connsiteY1628" fmla="*/ 2171 h 10000"/>
                <a:gd name="connsiteX1629" fmla="*/ 3484 w 10785"/>
                <a:gd name="connsiteY1629" fmla="*/ 2171 h 10000"/>
                <a:gd name="connsiteX1630" fmla="*/ 3484 w 10785"/>
                <a:gd name="connsiteY1630" fmla="*/ 2197 h 10000"/>
                <a:gd name="connsiteX1631" fmla="*/ 3465 w 10785"/>
                <a:gd name="connsiteY1631" fmla="*/ 2214 h 10000"/>
                <a:gd name="connsiteX1632" fmla="*/ 3493 w 10785"/>
                <a:gd name="connsiteY1632" fmla="*/ 2248 h 10000"/>
                <a:gd name="connsiteX1633" fmla="*/ 3484 w 10785"/>
                <a:gd name="connsiteY1633" fmla="*/ 2256 h 10000"/>
                <a:gd name="connsiteX1634" fmla="*/ 3498 w 10785"/>
                <a:gd name="connsiteY1634" fmla="*/ 2274 h 10000"/>
                <a:gd name="connsiteX1635" fmla="*/ 3498 w 10785"/>
                <a:gd name="connsiteY1635" fmla="*/ 2256 h 10000"/>
                <a:gd name="connsiteX1636" fmla="*/ 3507 w 10785"/>
                <a:gd name="connsiteY1636" fmla="*/ 2308 h 10000"/>
                <a:gd name="connsiteX1637" fmla="*/ 3512 w 10785"/>
                <a:gd name="connsiteY1637" fmla="*/ 2325 h 10000"/>
                <a:gd name="connsiteX1638" fmla="*/ 3507 w 10785"/>
                <a:gd name="connsiteY1638" fmla="*/ 2333 h 10000"/>
                <a:gd name="connsiteX1639" fmla="*/ 3507 w 10785"/>
                <a:gd name="connsiteY1639" fmla="*/ 2359 h 10000"/>
                <a:gd name="connsiteX1640" fmla="*/ 3507 w 10785"/>
                <a:gd name="connsiteY1640" fmla="*/ 2376 h 10000"/>
                <a:gd name="connsiteX1641" fmla="*/ 3498 w 10785"/>
                <a:gd name="connsiteY1641" fmla="*/ 2410 h 10000"/>
                <a:gd name="connsiteX1642" fmla="*/ 3498 w 10785"/>
                <a:gd name="connsiteY1642" fmla="*/ 2436 h 10000"/>
                <a:gd name="connsiteX1643" fmla="*/ 3507 w 10785"/>
                <a:gd name="connsiteY1643" fmla="*/ 2462 h 10000"/>
                <a:gd name="connsiteX1644" fmla="*/ 3507 w 10785"/>
                <a:gd name="connsiteY1644" fmla="*/ 2496 h 10000"/>
                <a:gd name="connsiteX1645" fmla="*/ 3512 w 10785"/>
                <a:gd name="connsiteY1645" fmla="*/ 2521 h 10000"/>
                <a:gd name="connsiteX1646" fmla="*/ 3525 w 10785"/>
                <a:gd name="connsiteY1646" fmla="*/ 2556 h 10000"/>
                <a:gd name="connsiteX1647" fmla="*/ 3571 w 10785"/>
                <a:gd name="connsiteY1647" fmla="*/ 2573 h 10000"/>
                <a:gd name="connsiteX1648" fmla="*/ 3590 w 10785"/>
                <a:gd name="connsiteY1648" fmla="*/ 2598 h 10000"/>
                <a:gd name="connsiteX1649" fmla="*/ 3599 w 10785"/>
                <a:gd name="connsiteY1649" fmla="*/ 2598 h 10000"/>
                <a:gd name="connsiteX1650" fmla="*/ 3604 w 10785"/>
                <a:gd name="connsiteY1650" fmla="*/ 2632 h 10000"/>
                <a:gd name="connsiteX1651" fmla="*/ 3599 w 10785"/>
                <a:gd name="connsiteY1651" fmla="*/ 2658 h 10000"/>
                <a:gd name="connsiteX1652" fmla="*/ 3590 w 10785"/>
                <a:gd name="connsiteY1652" fmla="*/ 2667 h 10000"/>
                <a:gd name="connsiteX1653" fmla="*/ 3604 w 10785"/>
                <a:gd name="connsiteY1653" fmla="*/ 2667 h 10000"/>
                <a:gd name="connsiteX1654" fmla="*/ 3613 w 10785"/>
                <a:gd name="connsiteY1654" fmla="*/ 2692 h 10000"/>
                <a:gd name="connsiteX1655" fmla="*/ 3627 w 10785"/>
                <a:gd name="connsiteY1655" fmla="*/ 2735 h 10000"/>
                <a:gd name="connsiteX1656" fmla="*/ 3631 w 10785"/>
                <a:gd name="connsiteY1656" fmla="*/ 2744 h 10000"/>
                <a:gd name="connsiteX1657" fmla="*/ 3659 w 10785"/>
                <a:gd name="connsiteY1657" fmla="*/ 2761 h 10000"/>
                <a:gd name="connsiteX1658" fmla="*/ 3673 w 10785"/>
                <a:gd name="connsiteY1658" fmla="*/ 2769 h 10000"/>
                <a:gd name="connsiteX1659" fmla="*/ 3673 w 10785"/>
                <a:gd name="connsiteY1659" fmla="*/ 2761 h 10000"/>
                <a:gd name="connsiteX1660" fmla="*/ 3687 w 10785"/>
                <a:gd name="connsiteY1660" fmla="*/ 2829 h 10000"/>
                <a:gd name="connsiteX1661" fmla="*/ 3677 w 10785"/>
                <a:gd name="connsiteY1661" fmla="*/ 2897 h 10000"/>
                <a:gd name="connsiteX1662" fmla="*/ 3673 w 10785"/>
                <a:gd name="connsiteY1662" fmla="*/ 2915 h 10000"/>
                <a:gd name="connsiteX1663" fmla="*/ 3664 w 10785"/>
                <a:gd name="connsiteY1663" fmla="*/ 2957 h 10000"/>
                <a:gd name="connsiteX1664" fmla="*/ 3659 w 10785"/>
                <a:gd name="connsiteY1664" fmla="*/ 2983 h 10000"/>
                <a:gd name="connsiteX1665" fmla="*/ 3664 w 10785"/>
                <a:gd name="connsiteY1665" fmla="*/ 3017 h 10000"/>
                <a:gd name="connsiteX1666" fmla="*/ 3659 w 10785"/>
                <a:gd name="connsiteY1666" fmla="*/ 3043 h 10000"/>
                <a:gd name="connsiteX1667" fmla="*/ 3677 w 10785"/>
                <a:gd name="connsiteY1667" fmla="*/ 3094 h 10000"/>
                <a:gd name="connsiteX1668" fmla="*/ 3691 w 10785"/>
                <a:gd name="connsiteY1668" fmla="*/ 3282 h 10000"/>
                <a:gd name="connsiteX1669" fmla="*/ 3691 w 10785"/>
                <a:gd name="connsiteY1669" fmla="*/ 3308 h 10000"/>
                <a:gd name="connsiteX1670" fmla="*/ 3677 w 10785"/>
                <a:gd name="connsiteY1670" fmla="*/ 3342 h 10000"/>
                <a:gd name="connsiteX1671" fmla="*/ 3664 w 10785"/>
                <a:gd name="connsiteY1671" fmla="*/ 3342 h 10000"/>
                <a:gd name="connsiteX1672" fmla="*/ 3650 w 10785"/>
                <a:gd name="connsiteY1672" fmla="*/ 3342 h 10000"/>
                <a:gd name="connsiteX1673" fmla="*/ 3650 w 10785"/>
                <a:gd name="connsiteY1673" fmla="*/ 3350 h 10000"/>
                <a:gd name="connsiteX1674" fmla="*/ 3659 w 10785"/>
                <a:gd name="connsiteY1674" fmla="*/ 3402 h 10000"/>
                <a:gd name="connsiteX1675" fmla="*/ 3659 w 10785"/>
                <a:gd name="connsiteY1675" fmla="*/ 3419 h 10000"/>
                <a:gd name="connsiteX1676" fmla="*/ 3631 w 10785"/>
                <a:gd name="connsiteY1676" fmla="*/ 3402 h 10000"/>
                <a:gd name="connsiteX1677" fmla="*/ 3604 w 10785"/>
                <a:gd name="connsiteY1677" fmla="*/ 3393 h 10000"/>
                <a:gd name="connsiteX1678" fmla="*/ 3599 w 10785"/>
                <a:gd name="connsiteY1678" fmla="*/ 3368 h 10000"/>
                <a:gd name="connsiteX1679" fmla="*/ 3590 w 10785"/>
                <a:gd name="connsiteY1679" fmla="*/ 3239 h 10000"/>
                <a:gd name="connsiteX1680" fmla="*/ 3599 w 10785"/>
                <a:gd name="connsiteY1680" fmla="*/ 3179 h 10000"/>
                <a:gd name="connsiteX1681" fmla="*/ 3599 w 10785"/>
                <a:gd name="connsiteY1681" fmla="*/ 3171 h 10000"/>
                <a:gd name="connsiteX1682" fmla="*/ 3599 w 10785"/>
                <a:gd name="connsiteY1682" fmla="*/ 3009 h 10000"/>
                <a:gd name="connsiteX1683" fmla="*/ 3604 w 10785"/>
                <a:gd name="connsiteY1683" fmla="*/ 2983 h 10000"/>
                <a:gd name="connsiteX1684" fmla="*/ 3645 w 10785"/>
                <a:gd name="connsiteY1684" fmla="*/ 2932 h 10000"/>
                <a:gd name="connsiteX1685" fmla="*/ 3650 w 10785"/>
                <a:gd name="connsiteY1685" fmla="*/ 2872 h 10000"/>
                <a:gd name="connsiteX1686" fmla="*/ 3659 w 10785"/>
                <a:gd name="connsiteY1686" fmla="*/ 2855 h 10000"/>
                <a:gd name="connsiteX1687" fmla="*/ 3659 w 10785"/>
                <a:gd name="connsiteY1687" fmla="*/ 2821 h 10000"/>
                <a:gd name="connsiteX1688" fmla="*/ 3631 w 10785"/>
                <a:gd name="connsiteY1688" fmla="*/ 2795 h 10000"/>
                <a:gd name="connsiteX1689" fmla="*/ 3567 w 10785"/>
                <a:gd name="connsiteY1689" fmla="*/ 2821 h 10000"/>
                <a:gd name="connsiteX1690" fmla="*/ 3544 w 10785"/>
                <a:gd name="connsiteY1690" fmla="*/ 2795 h 10000"/>
                <a:gd name="connsiteX1691" fmla="*/ 3530 w 10785"/>
                <a:gd name="connsiteY1691" fmla="*/ 2769 h 10000"/>
                <a:gd name="connsiteX1692" fmla="*/ 3530 w 10785"/>
                <a:gd name="connsiteY1692" fmla="*/ 2786 h 10000"/>
                <a:gd name="connsiteX1693" fmla="*/ 3498 w 10785"/>
                <a:gd name="connsiteY1693" fmla="*/ 2692 h 10000"/>
                <a:gd name="connsiteX1694" fmla="*/ 3498 w 10785"/>
                <a:gd name="connsiteY1694" fmla="*/ 2667 h 10000"/>
                <a:gd name="connsiteX1695" fmla="*/ 3442 w 10785"/>
                <a:gd name="connsiteY1695" fmla="*/ 2607 h 10000"/>
                <a:gd name="connsiteX1696" fmla="*/ 3433 w 10785"/>
                <a:gd name="connsiteY1696" fmla="*/ 2581 h 10000"/>
                <a:gd name="connsiteX1697" fmla="*/ 3396 w 10785"/>
                <a:gd name="connsiteY1697" fmla="*/ 2556 h 10000"/>
                <a:gd name="connsiteX1698" fmla="*/ 3318 w 10785"/>
                <a:gd name="connsiteY1698" fmla="*/ 2556 h 10000"/>
                <a:gd name="connsiteX1699" fmla="*/ 3304 w 10785"/>
                <a:gd name="connsiteY1699" fmla="*/ 2607 h 10000"/>
                <a:gd name="connsiteX1700" fmla="*/ 3276 w 10785"/>
                <a:gd name="connsiteY1700" fmla="*/ 2632 h 10000"/>
                <a:gd name="connsiteX1701" fmla="*/ 3272 w 10785"/>
                <a:gd name="connsiteY1701" fmla="*/ 2667 h 10000"/>
                <a:gd name="connsiteX1702" fmla="*/ 3304 w 10785"/>
                <a:gd name="connsiteY1702" fmla="*/ 2667 h 10000"/>
                <a:gd name="connsiteX1703" fmla="*/ 3323 w 10785"/>
                <a:gd name="connsiteY1703" fmla="*/ 2692 h 10000"/>
                <a:gd name="connsiteX1704" fmla="*/ 3318 w 10785"/>
                <a:gd name="connsiteY1704" fmla="*/ 2735 h 10000"/>
                <a:gd name="connsiteX1705" fmla="*/ 3304 w 10785"/>
                <a:gd name="connsiteY1705" fmla="*/ 2761 h 10000"/>
                <a:gd name="connsiteX1706" fmla="*/ 3276 w 10785"/>
                <a:gd name="connsiteY1706" fmla="*/ 2769 h 10000"/>
                <a:gd name="connsiteX1707" fmla="*/ 3263 w 10785"/>
                <a:gd name="connsiteY1707" fmla="*/ 2795 h 10000"/>
                <a:gd name="connsiteX1708" fmla="*/ 3235 w 10785"/>
                <a:gd name="connsiteY1708" fmla="*/ 2803 h 10000"/>
                <a:gd name="connsiteX1709" fmla="*/ 3235 w 10785"/>
                <a:gd name="connsiteY1709" fmla="*/ 2786 h 10000"/>
                <a:gd name="connsiteX1710" fmla="*/ 3212 w 10785"/>
                <a:gd name="connsiteY1710" fmla="*/ 2709 h 10000"/>
                <a:gd name="connsiteX1711" fmla="*/ 3198 w 10785"/>
                <a:gd name="connsiteY1711" fmla="*/ 2709 h 10000"/>
                <a:gd name="connsiteX1712" fmla="*/ 3184 w 10785"/>
                <a:gd name="connsiteY1712" fmla="*/ 2735 h 10000"/>
                <a:gd name="connsiteX1713" fmla="*/ 3189 w 10785"/>
                <a:gd name="connsiteY1713" fmla="*/ 2761 h 10000"/>
                <a:gd name="connsiteX1714" fmla="*/ 3203 w 10785"/>
                <a:gd name="connsiteY1714" fmla="*/ 2855 h 10000"/>
                <a:gd name="connsiteX1715" fmla="*/ 3212 w 10785"/>
                <a:gd name="connsiteY1715" fmla="*/ 2872 h 10000"/>
                <a:gd name="connsiteX1716" fmla="*/ 3235 w 10785"/>
                <a:gd name="connsiteY1716" fmla="*/ 2906 h 10000"/>
                <a:gd name="connsiteX1717" fmla="*/ 3258 w 10785"/>
                <a:gd name="connsiteY1717" fmla="*/ 2915 h 10000"/>
                <a:gd name="connsiteX1718" fmla="*/ 3272 w 10785"/>
                <a:gd name="connsiteY1718" fmla="*/ 2957 h 10000"/>
                <a:gd name="connsiteX1719" fmla="*/ 3276 w 10785"/>
                <a:gd name="connsiteY1719" fmla="*/ 2957 h 10000"/>
                <a:gd name="connsiteX1720" fmla="*/ 3286 w 10785"/>
                <a:gd name="connsiteY1720" fmla="*/ 2966 h 10000"/>
                <a:gd name="connsiteX1721" fmla="*/ 3300 w 10785"/>
                <a:gd name="connsiteY1721" fmla="*/ 2957 h 10000"/>
                <a:gd name="connsiteX1722" fmla="*/ 3309 w 10785"/>
                <a:gd name="connsiteY1722" fmla="*/ 2932 h 10000"/>
                <a:gd name="connsiteX1723" fmla="*/ 3304 w 10785"/>
                <a:gd name="connsiteY1723" fmla="*/ 2966 h 10000"/>
                <a:gd name="connsiteX1724" fmla="*/ 3309 w 10785"/>
                <a:gd name="connsiteY1724" fmla="*/ 2983 h 10000"/>
                <a:gd name="connsiteX1725" fmla="*/ 3323 w 10785"/>
                <a:gd name="connsiteY1725" fmla="*/ 2966 h 10000"/>
                <a:gd name="connsiteX1726" fmla="*/ 3323 w 10785"/>
                <a:gd name="connsiteY1726" fmla="*/ 3043 h 10000"/>
                <a:gd name="connsiteX1727" fmla="*/ 3346 w 10785"/>
                <a:gd name="connsiteY1727" fmla="*/ 3068 h 10000"/>
                <a:gd name="connsiteX1728" fmla="*/ 3346 w 10785"/>
                <a:gd name="connsiteY1728" fmla="*/ 3094 h 10000"/>
                <a:gd name="connsiteX1729" fmla="*/ 3323 w 10785"/>
                <a:gd name="connsiteY1729" fmla="*/ 3094 h 10000"/>
                <a:gd name="connsiteX1730" fmla="*/ 3309 w 10785"/>
                <a:gd name="connsiteY1730" fmla="*/ 3077 h 10000"/>
                <a:gd name="connsiteX1731" fmla="*/ 3304 w 10785"/>
                <a:gd name="connsiteY1731" fmla="*/ 3051 h 10000"/>
                <a:gd name="connsiteX1732" fmla="*/ 3300 w 10785"/>
                <a:gd name="connsiteY1732" fmla="*/ 3043 h 10000"/>
                <a:gd name="connsiteX1733" fmla="*/ 3286 w 10785"/>
                <a:gd name="connsiteY1733" fmla="*/ 3017 h 10000"/>
                <a:gd name="connsiteX1734" fmla="*/ 3152 w 10785"/>
                <a:gd name="connsiteY1734" fmla="*/ 2966 h 10000"/>
                <a:gd name="connsiteX1735" fmla="*/ 3129 w 10785"/>
                <a:gd name="connsiteY1735" fmla="*/ 2915 h 10000"/>
                <a:gd name="connsiteX1736" fmla="*/ 3129 w 10785"/>
                <a:gd name="connsiteY1736" fmla="*/ 2906 h 10000"/>
                <a:gd name="connsiteX1737" fmla="*/ 3152 w 10785"/>
                <a:gd name="connsiteY1737" fmla="*/ 2906 h 10000"/>
                <a:gd name="connsiteX1738" fmla="*/ 3152 w 10785"/>
                <a:gd name="connsiteY1738" fmla="*/ 2846 h 10000"/>
                <a:gd name="connsiteX1739" fmla="*/ 3138 w 10785"/>
                <a:gd name="connsiteY1739" fmla="*/ 2795 h 10000"/>
                <a:gd name="connsiteX1740" fmla="*/ 3138 w 10785"/>
                <a:gd name="connsiteY1740" fmla="*/ 2769 h 10000"/>
                <a:gd name="connsiteX1741" fmla="*/ 3143 w 10785"/>
                <a:gd name="connsiteY1741" fmla="*/ 2718 h 10000"/>
                <a:gd name="connsiteX1742" fmla="*/ 3129 w 10785"/>
                <a:gd name="connsiteY1742" fmla="*/ 2692 h 10000"/>
                <a:gd name="connsiteX1743" fmla="*/ 3143 w 10785"/>
                <a:gd name="connsiteY1743" fmla="*/ 2667 h 10000"/>
                <a:gd name="connsiteX1744" fmla="*/ 3157 w 10785"/>
                <a:gd name="connsiteY1744" fmla="*/ 2581 h 10000"/>
                <a:gd name="connsiteX1745" fmla="*/ 3143 w 10785"/>
                <a:gd name="connsiteY1745" fmla="*/ 2496 h 10000"/>
                <a:gd name="connsiteX1746" fmla="*/ 3157 w 10785"/>
                <a:gd name="connsiteY1746" fmla="*/ 2487 h 10000"/>
                <a:gd name="connsiteX1747" fmla="*/ 3143 w 10785"/>
                <a:gd name="connsiteY1747" fmla="*/ 2444 h 10000"/>
                <a:gd name="connsiteX1748" fmla="*/ 3143 w 10785"/>
                <a:gd name="connsiteY1748" fmla="*/ 2419 h 10000"/>
                <a:gd name="connsiteX1749" fmla="*/ 3143 w 10785"/>
                <a:gd name="connsiteY1749" fmla="*/ 2410 h 10000"/>
                <a:gd name="connsiteX1750" fmla="*/ 3124 w 10785"/>
                <a:gd name="connsiteY1750" fmla="*/ 2376 h 10000"/>
                <a:gd name="connsiteX1751" fmla="*/ 3115 w 10785"/>
                <a:gd name="connsiteY1751" fmla="*/ 2350 h 10000"/>
                <a:gd name="connsiteX1752" fmla="*/ 3101 w 10785"/>
                <a:gd name="connsiteY1752" fmla="*/ 2359 h 10000"/>
                <a:gd name="connsiteX1753" fmla="*/ 3115 w 10785"/>
                <a:gd name="connsiteY1753" fmla="*/ 2581 h 10000"/>
                <a:gd name="connsiteX1754" fmla="*/ 3111 w 10785"/>
                <a:gd name="connsiteY1754" fmla="*/ 2624 h 10000"/>
                <a:gd name="connsiteX1755" fmla="*/ 3009 w 10785"/>
                <a:gd name="connsiteY1755" fmla="*/ 2761 h 10000"/>
                <a:gd name="connsiteX1756" fmla="*/ 3009 w 10785"/>
                <a:gd name="connsiteY1756" fmla="*/ 2803 h 10000"/>
                <a:gd name="connsiteX1757" fmla="*/ 3005 w 10785"/>
                <a:gd name="connsiteY1757" fmla="*/ 2829 h 10000"/>
                <a:gd name="connsiteX1758" fmla="*/ 2982 w 10785"/>
                <a:gd name="connsiteY1758" fmla="*/ 2872 h 10000"/>
                <a:gd name="connsiteX1759" fmla="*/ 2982 w 10785"/>
                <a:gd name="connsiteY1759" fmla="*/ 2880 h 10000"/>
                <a:gd name="connsiteX1760" fmla="*/ 3037 w 10785"/>
                <a:gd name="connsiteY1760" fmla="*/ 3034 h 10000"/>
                <a:gd name="connsiteX1761" fmla="*/ 3041 w 10785"/>
                <a:gd name="connsiteY1761" fmla="*/ 3103 h 10000"/>
                <a:gd name="connsiteX1762" fmla="*/ 3069 w 10785"/>
                <a:gd name="connsiteY1762" fmla="*/ 3188 h 10000"/>
                <a:gd name="connsiteX1763" fmla="*/ 3055 w 10785"/>
                <a:gd name="connsiteY1763" fmla="*/ 3325 h 10000"/>
                <a:gd name="connsiteX1764" fmla="*/ 3037 w 10785"/>
                <a:gd name="connsiteY1764" fmla="*/ 3368 h 10000"/>
                <a:gd name="connsiteX1765" fmla="*/ 3037 w 10785"/>
                <a:gd name="connsiteY1765" fmla="*/ 3444 h 10000"/>
                <a:gd name="connsiteX1766" fmla="*/ 3028 w 10785"/>
                <a:gd name="connsiteY1766" fmla="*/ 3453 h 10000"/>
                <a:gd name="connsiteX1767" fmla="*/ 3023 w 10785"/>
                <a:gd name="connsiteY1767" fmla="*/ 3530 h 10000"/>
                <a:gd name="connsiteX1768" fmla="*/ 3051 w 10785"/>
                <a:gd name="connsiteY1768" fmla="*/ 3624 h 10000"/>
                <a:gd name="connsiteX1769" fmla="*/ 3037 w 10785"/>
                <a:gd name="connsiteY1769" fmla="*/ 3718 h 10000"/>
                <a:gd name="connsiteX1770" fmla="*/ 3041 w 10785"/>
                <a:gd name="connsiteY1770" fmla="*/ 3752 h 10000"/>
                <a:gd name="connsiteX1771" fmla="*/ 3055 w 10785"/>
                <a:gd name="connsiteY1771" fmla="*/ 3761 h 10000"/>
                <a:gd name="connsiteX1772" fmla="*/ 3078 w 10785"/>
                <a:gd name="connsiteY1772" fmla="*/ 3752 h 10000"/>
                <a:gd name="connsiteX1773" fmla="*/ 3092 w 10785"/>
                <a:gd name="connsiteY1773" fmla="*/ 3752 h 10000"/>
                <a:gd name="connsiteX1774" fmla="*/ 3129 w 10785"/>
                <a:gd name="connsiteY1774" fmla="*/ 3761 h 10000"/>
                <a:gd name="connsiteX1775" fmla="*/ 3129 w 10785"/>
                <a:gd name="connsiteY1775" fmla="*/ 3735 h 10000"/>
                <a:gd name="connsiteX1776" fmla="*/ 3157 w 10785"/>
                <a:gd name="connsiteY1776" fmla="*/ 3718 h 10000"/>
                <a:gd name="connsiteX1777" fmla="*/ 3184 w 10785"/>
                <a:gd name="connsiteY1777" fmla="*/ 3718 h 10000"/>
                <a:gd name="connsiteX1778" fmla="*/ 3290 w 10785"/>
                <a:gd name="connsiteY1778" fmla="*/ 3838 h 10000"/>
                <a:gd name="connsiteX1779" fmla="*/ 3300 w 10785"/>
                <a:gd name="connsiteY1779" fmla="*/ 3846 h 10000"/>
                <a:gd name="connsiteX1780" fmla="*/ 3300 w 10785"/>
                <a:gd name="connsiteY1780" fmla="*/ 3915 h 10000"/>
                <a:gd name="connsiteX1781" fmla="*/ 3318 w 10785"/>
                <a:gd name="connsiteY1781" fmla="*/ 4000 h 10000"/>
                <a:gd name="connsiteX1782" fmla="*/ 3323 w 10785"/>
                <a:gd name="connsiteY1782" fmla="*/ 4000 h 10000"/>
                <a:gd name="connsiteX1783" fmla="*/ 3323 w 10785"/>
                <a:gd name="connsiteY1783" fmla="*/ 4034 h 10000"/>
                <a:gd name="connsiteX1784" fmla="*/ 3318 w 10785"/>
                <a:gd name="connsiteY1784" fmla="*/ 4051 h 10000"/>
                <a:gd name="connsiteX1785" fmla="*/ 3300 w 10785"/>
                <a:gd name="connsiteY1785" fmla="*/ 4051 h 10000"/>
                <a:gd name="connsiteX1786" fmla="*/ 3290 w 10785"/>
                <a:gd name="connsiteY1786" fmla="*/ 4077 h 10000"/>
                <a:gd name="connsiteX1787" fmla="*/ 3286 w 10785"/>
                <a:gd name="connsiteY1787" fmla="*/ 4103 h 10000"/>
                <a:gd name="connsiteX1788" fmla="*/ 3286 w 10785"/>
                <a:gd name="connsiteY1788" fmla="*/ 4197 h 10000"/>
                <a:gd name="connsiteX1789" fmla="*/ 3290 w 10785"/>
                <a:gd name="connsiteY1789" fmla="*/ 4214 h 10000"/>
                <a:gd name="connsiteX1790" fmla="*/ 3304 w 10785"/>
                <a:gd name="connsiteY1790" fmla="*/ 4214 h 10000"/>
                <a:gd name="connsiteX1791" fmla="*/ 3323 w 10785"/>
                <a:gd name="connsiteY1791" fmla="*/ 4239 h 10000"/>
                <a:gd name="connsiteX1792" fmla="*/ 3350 w 10785"/>
                <a:gd name="connsiteY1792" fmla="*/ 4222 h 10000"/>
                <a:gd name="connsiteX1793" fmla="*/ 3369 w 10785"/>
                <a:gd name="connsiteY1793" fmla="*/ 4256 h 10000"/>
                <a:gd name="connsiteX1794" fmla="*/ 3369 w 10785"/>
                <a:gd name="connsiteY1794" fmla="*/ 4256 h 10000"/>
                <a:gd name="connsiteX1795" fmla="*/ 3336 w 10785"/>
                <a:gd name="connsiteY1795" fmla="*/ 4274 h 10000"/>
                <a:gd name="connsiteX1796" fmla="*/ 3323 w 10785"/>
                <a:gd name="connsiteY1796" fmla="*/ 4274 h 10000"/>
                <a:gd name="connsiteX1797" fmla="*/ 3290 w 10785"/>
                <a:gd name="connsiteY1797" fmla="*/ 4274 h 10000"/>
                <a:gd name="connsiteX1798" fmla="*/ 3286 w 10785"/>
                <a:gd name="connsiteY1798" fmla="*/ 4239 h 10000"/>
                <a:gd name="connsiteX1799" fmla="*/ 3263 w 10785"/>
                <a:gd name="connsiteY1799" fmla="*/ 4214 h 10000"/>
                <a:gd name="connsiteX1800" fmla="*/ 3258 w 10785"/>
                <a:gd name="connsiteY1800" fmla="*/ 4188 h 10000"/>
                <a:gd name="connsiteX1801" fmla="*/ 3263 w 10785"/>
                <a:gd name="connsiteY1801" fmla="*/ 4171 h 10000"/>
                <a:gd name="connsiteX1802" fmla="*/ 3263 w 10785"/>
                <a:gd name="connsiteY1802" fmla="*/ 4103 h 10000"/>
                <a:gd name="connsiteX1803" fmla="*/ 3276 w 10785"/>
                <a:gd name="connsiteY1803" fmla="*/ 4060 h 10000"/>
                <a:gd name="connsiteX1804" fmla="*/ 3272 w 10785"/>
                <a:gd name="connsiteY1804" fmla="*/ 4051 h 10000"/>
                <a:gd name="connsiteX1805" fmla="*/ 3263 w 10785"/>
                <a:gd name="connsiteY1805" fmla="*/ 4051 h 10000"/>
                <a:gd name="connsiteX1806" fmla="*/ 3263 w 10785"/>
                <a:gd name="connsiteY1806" fmla="*/ 4034 h 10000"/>
                <a:gd name="connsiteX1807" fmla="*/ 3263 w 10785"/>
                <a:gd name="connsiteY1807" fmla="*/ 4000 h 10000"/>
                <a:gd name="connsiteX1808" fmla="*/ 3272 w 10785"/>
                <a:gd name="connsiteY1808" fmla="*/ 4000 h 10000"/>
                <a:gd name="connsiteX1809" fmla="*/ 3272 w 10785"/>
                <a:gd name="connsiteY1809" fmla="*/ 3974 h 10000"/>
                <a:gd name="connsiteX1810" fmla="*/ 3272 w 10785"/>
                <a:gd name="connsiteY1810" fmla="*/ 3966 h 10000"/>
                <a:gd name="connsiteX1811" fmla="*/ 3272 w 10785"/>
                <a:gd name="connsiteY1811" fmla="*/ 3949 h 10000"/>
                <a:gd name="connsiteX1812" fmla="*/ 3258 w 10785"/>
                <a:gd name="connsiteY1812" fmla="*/ 3923 h 10000"/>
                <a:gd name="connsiteX1813" fmla="*/ 3249 w 10785"/>
                <a:gd name="connsiteY1813" fmla="*/ 3915 h 10000"/>
                <a:gd name="connsiteX1814" fmla="*/ 3244 w 10785"/>
                <a:gd name="connsiteY1814" fmla="*/ 3897 h 10000"/>
                <a:gd name="connsiteX1815" fmla="*/ 3230 w 10785"/>
                <a:gd name="connsiteY1815" fmla="*/ 3889 h 10000"/>
                <a:gd name="connsiteX1816" fmla="*/ 3230 w 10785"/>
                <a:gd name="connsiteY1816" fmla="*/ 3863 h 10000"/>
                <a:gd name="connsiteX1817" fmla="*/ 3230 w 10785"/>
                <a:gd name="connsiteY1817" fmla="*/ 3838 h 10000"/>
                <a:gd name="connsiteX1818" fmla="*/ 3226 w 10785"/>
                <a:gd name="connsiteY1818" fmla="*/ 3803 h 10000"/>
                <a:gd name="connsiteX1819" fmla="*/ 3138 w 10785"/>
                <a:gd name="connsiteY1819" fmla="*/ 3838 h 10000"/>
                <a:gd name="connsiteX1820" fmla="*/ 3078 w 10785"/>
                <a:gd name="connsiteY1820" fmla="*/ 3889 h 10000"/>
                <a:gd name="connsiteX1821" fmla="*/ 3078 w 10785"/>
                <a:gd name="connsiteY1821" fmla="*/ 3940 h 10000"/>
                <a:gd name="connsiteX1822" fmla="*/ 3069 w 10785"/>
                <a:gd name="connsiteY1822" fmla="*/ 3983 h 10000"/>
                <a:gd name="connsiteX1823" fmla="*/ 3069 w 10785"/>
                <a:gd name="connsiteY1823" fmla="*/ 4009 h 10000"/>
                <a:gd name="connsiteX1824" fmla="*/ 3078 w 10785"/>
                <a:gd name="connsiteY1824" fmla="*/ 4026 h 10000"/>
                <a:gd name="connsiteX1825" fmla="*/ 3083 w 10785"/>
                <a:gd name="connsiteY1825" fmla="*/ 4034 h 10000"/>
                <a:gd name="connsiteX1826" fmla="*/ 3092 w 10785"/>
                <a:gd name="connsiteY1826" fmla="*/ 4060 h 10000"/>
                <a:gd name="connsiteX1827" fmla="*/ 3092 w 10785"/>
                <a:gd name="connsiteY1827" fmla="*/ 4077 h 10000"/>
                <a:gd name="connsiteX1828" fmla="*/ 3097 w 10785"/>
                <a:gd name="connsiteY1828" fmla="*/ 4103 h 10000"/>
                <a:gd name="connsiteX1829" fmla="*/ 3101 w 10785"/>
                <a:gd name="connsiteY1829" fmla="*/ 4162 h 10000"/>
                <a:gd name="connsiteX1830" fmla="*/ 3097 w 10785"/>
                <a:gd name="connsiteY1830" fmla="*/ 4222 h 10000"/>
                <a:gd name="connsiteX1831" fmla="*/ 3041 w 10785"/>
                <a:gd name="connsiteY1831" fmla="*/ 4325 h 10000"/>
                <a:gd name="connsiteX1832" fmla="*/ 3037 w 10785"/>
                <a:gd name="connsiteY1832" fmla="*/ 4419 h 10000"/>
                <a:gd name="connsiteX1833" fmla="*/ 3018 w 10785"/>
                <a:gd name="connsiteY1833" fmla="*/ 4470 h 10000"/>
                <a:gd name="connsiteX1834" fmla="*/ 2991 w 10785"/>
                <a:gd name="connsiteY1834" fmla="*/ 4513 h 10000"/>
                <a:gd name="connsiteX1835" fmla="*/ 2977 w 10785"/>
                <a:gd name="connsiteY1835" fmla="*/ 4530 h 10000"/>
                <a:gd name="connsiteX1836" fmla="*/ 2945 w 10785"/>
                <a:gd name="connsiteY1836" fmla="*/ 4556 h 10000"/>
                <a:gd name="connsiteX1837" fmla="*/ 2935 w 10785"/>
                <a:gd name="connsiteY1837" fmla="*/ 4581 h 10000"/>
                <a:gd name="connsiteX1838" fmla="*/ 2949 w 10785"/>
                <a:gd name="connsiteY1838" fmla="*/ 4624 h 10000"/>
                <a:gd name="connsiteX1839" fmla="*/ 2945 w 10785"/>
                <a:gd name="connsiteY1839" fmla="*/ 4658 h 10000"/>
                <a:gd name="connsiteX1840" fmla="*/ 2922 w 10785"/>
                <a:gd name="connsiteY1840" fmla="*/ 4667 h 10000"/>
                <a:gd name="connsiteX1841" fmla="*/ 2876 w 10785"/>
                <a:gd name="connsiteY1841" fmla="*/ 4632 h 10000"/>
                <a:gd name="connsiteX1842" fmla="*/ 2857 w 10785"/>
                <a:gd name="connsiteY1842" fmla="*/ 4632 h 10000"/>
                <a:gd name="connsiteX1843" fmla="*/ 2820 w 10785"/>
                <a:gd name="connsiteY1843" fmla="*/ 4641 h 10000"/>
                <a:gd name="connsiteX1844" fmla="*/ 2797 w 10785"/>
                <a:gd name="connsiteY1844" fmla="*/ 4632 h 10000"/>
                <a:gd name="connsiteX1845" fmla="*/ 2788 w 10785"/>
                <a:gd name="connsiteY1845" fmla="*/ 4624 h 10000"/>
                <a:gd name="connsiteX1846" fmla="*/ 2788 w 10785"/>
                <a:gd name="connsiteY1846" fmla="*/ 4598 h 10000"/>
                <a:gd name="connsiteX1847" fmla="*/ 2797 w 10785"/>
                <a:gd name="connsiteY1847" fmla="*/ 4581 h 10000"/>
                <a:gd name="connsiteX1848" fmla="*/ 2788 w 10785"/>
                <a:gd name="connsiteY1848" fmla="*/ 4530 h 10000"/>
                <a:gd name="connsiteX1849" fmla="*/ 2774 w 10785"/>
                <a:gd name="connsiteY1849" fmla="*/ 4530 h 10000"/>
                <a:gd name="connsiteX1850" fmla="*/ 2770 w 10785"/>
                <a:gd name="connsiteY1850" fmla="*/ 4513 h 10000"/>
                <a:gd name="connsiteX1851" fmla="*/ 2774 w 10785"/>
                <a:gd name="connsiteY1851" fmla="*/ 4513 h 10000"/>
                <a:gd name="connsiteX1852" fmla="*/ 2788 w 10785"/>
                <a:gd name="connsiteY1852" fmla="*/ 4496 h 10000"/>
                <a:gd name="connsiteX1853" fmla="*/ 2802 w 10785"/>
                <a:gd name="connsiteY1853" fmla="*/ 4513 h 10000"/>
                <a:gd name="connsiteX1854" fmla="*/ 2811 w 10785"/>
                <a:gd name="connsiteY1854" fmla="*/ 4530 h 10000"/>
                <a:gd name="connsiteX1855" fmla="*/ 2820 w 10785"/>
                <a:gd name="connsiteY1855" fmla="*/ 4521 h 10000"/>
                <a:gd name="connsiteX1856" fmla="*/ 2829 w 10785"/>
                <a:gd name="connsiteY1856" fmla="*/ 4513 h 10000"/>
                <a:gd name="connsiteX1857" fmla="*/ 2843 w 10785"/>
                <a:gd name="connsiteY1857" fmla="*/ 4513 h 10000"/>
                <a:gd name="connsiteX1858" fmla="*/ 2848 w 10785"/>
                <a:gd name="connsiteY1858" fmla="*/ 4470 h 10000"/>
                <a:gd name="connsiteX1859" fmla="*/ 2862 w 10785"/>
                <a:gd name="connsiteY1859" fmla="*/ 4487 h 10000"/>
                <a:gd name="connsiteX1860" fmla="*/ 2876 w 10785"/>
                <a:gd name="connsiteY1860" fmla="*/ 4470 h 10000"/>
                <a:gd name="connsiteX1861" fmla="*/ 2880 w 10785"/>
                <a:gd name="connsiteY1861" fmla="*/ 4462 h 10000"/>
                <a:gd name="connsiteX1862" fmla="*/ 2889 w 10785"/>
                <a:gd name="connsiteY1862" fmla="*/ 4444 h 10000"/>
                <a:gd name="connsiteX1863" fmla="*/ 2894 w 10785"/>
                <a:gd name="connsiteY1863" fmla="*/ 4462 h 10000"/>
                <a:gd name="connsiteX1864" fmla="*/ 2917 w 10785"/>
                <a:gd name="connsiteY1864" fmla="*/ 4444 h 10000"/>
                <a:gd name="connsiteX1865" fmla="*/ 2922 w 10785"/>
                <a:gd name="connsiteY1865" fmla="*/ 4436 h 10000"/>
                <a:gd name="connsiteX1866" fmla="*/ 2917 w 10785"/>
                <a:gd name="connsiteY1866" fmla="*/ 4410 h 10000"/>
                <a:gd name="connsiteX1867" fmla="*/ 2894 w 10785"/>
                <a:gd name="connsiteY1867" fmla="*/ 4410 h 10000"/>
                <a:gd name="connsiteX1868" fmla="*/ 2889 w 10785"/>
                <a:gd name="connsiteY1868" fmla="*/ 4419 h 10000"/>
                <a:gd name="connsiteX1869" fmla="*/ 2876 w 10785"/>
                <a:gd name="connsiteY1869" fmla="*/ 4410 h 10000"/>
                <a:gd name="connsiteX1870" fmla="*/ 2880 w 10785"/>
                <a:gd name="connsiteY1870" fmla="*/ 4376 h 10000"/>
                <a:gd name="connsiteX1871" fmla="*/ 2903 w 10785"/>
                <a:gd name="connsiteY1871" fmla="*/ 4393 h 10000"/>
                <a:gd name="connsiteX1872" fmla="*/ 2931 w 10785"/>
                <a:gd name="connsiteY1872" fmla="*/ 4393 h 10000"/>
                <a:gd name="connsiteX1873" fmla="*/ 2931 w 10785"/>
                <a:gd name="connsiteY1873" fmla="*/ 4385 h 10000"/>
                <a:gd name="connsiteX1874" fmla="*/ 2931 w 10785"/>
                <a:gd name="connsiteY1874" fmla="*/ 4350 h 10000"/>
                <a:gd name="connsiteX1875" fmla="*/ 2945 w 10785"/>
                <a:gd name="connsiteY1875" fmla="*/ 4350 h 10000"/>
                <a:gd name="connsiteX1876" fmla="*/ 2949 w 10785"/>
                <a:gd name="connsiteY1876" fmla="*/ 4325 h 10000"/>
                <a:gd name="connsiteX1877" fmla="*/ 2963 w 10785"/>
                <a:gd name="connsiteY1877" fmla="*/ 4256 h 10000"/>
                <a:gd name="connsiteX1878" fmla="*/ 2982 w 10785"/>
                <a:gd name="connsiteY1878" fmla="*/ 4239 h 10000"/>
                <a:gd name="connsiteX1879" fmla="*/ 2991 w 10785"/>
                <a:gd name="connsiteY1879" fmla="*/ 4214 h 10000"/>
                <a:gd name="connsiteX1880" fmla="*/ 2991 w 10785"/>
                <a:gd name="connsiteY1880" fmla="*/ 4197 h 10000"/>
                <a:gd name="connsiteX1881" fmla="*/ 2995 w 10785"/>
                <a:gd name="connsiteY1881" fmla="*/ 4171 h 10000"/>
                <a:gd name="connsiteX1882" fmla="*/ 2991 w 10785"/>
                <a:gd name="connsiteY1882" fmla="*/ 4077 h 10000"/>
                <a:gd name="connsiteX1883" fmla="*/ 2995 w 10785"/>
                <a:gd name="connsiteY1883" fmla="*/ 4034 h 10000"/>
                <a:gd name="connsiteX1884" fmla="*/ 3018 w 10785"/>
                <a:gd name="connsiteY1884" fmla="*/ 3983 h 10000"/>
                <a:gd name="connsiteX1885" fmla="*/ 3018 w 10785"/>
                <a:gd name="connsiteY1885" fmla="*/ 3915 h 10000"/>
                <a:gd name="connsiteX1886" fmla="*/ 2949 w 10785"/>
                <a:gd name="connsiteY1886" fmla="*/ 3778 h 10000"/>
                <a:gd name="connsiteX1887" fmla="*/ 2954 w 10785"/>
                <a:gd name="connsiteY1887" fmla="*/ 3675 h 10000"/>
                <a:gd name="connsiteX1888" fmla="*/ 2954 w 10785"/>
                <a:gd name="connsiteY1888" fmla="*/ 3650 h 10000"/>
                <a:gd name="connsiteX1889" fmla="*/ 2963 w 10785"/>
                <a:gd name="connsiteY1889" fmla="*/ 3624 h 10000"/>
                <a:gd name="connsiteX1890" fmla="*/ 2954 w 10785"/>
                <a:gd name="connsiteY1890" fmla="*/ 3564 h 10000"/>
                <a:gd name="connsiteX1891" fmla="*/ 2963 w 10785"/>
                <a:gd name="connsiteY1891" fmla="*/ 3538 h 10000"/>
                <a:gd name="connsiteX1892" fmla="*/ 2963 w 10785"/>
                <a:gd name="connsiteY1892" fmla="*/ 3487 h 10000"/>
                <a:gd name="connsiteX1893" fmla="*/ 2963 w 10785"/>
                <a:gd name="connsiteY1893" fmla="*/ 3479 h 10000"/>
                <a:gd name="connsiteX1894" fmla="*/ 2963 w 10785"/>
                <a:gd name="connsiteY1894" fmla="*/ 3462 h 10000"/>
                <a:gd name="connsiteX1895" fmla="*/ 2954 w 10785"/>
                <a:gd name="connsiteY1895" fmla="*/ 3453 h 10000"/>
                <a:gd name="connsiteX1896" fmla="*/ 2954 w 10785"/>
                <a:gd name="connsiteY1896" fmla="*/ 3444 h 10000"/>
                <a:gd name="connsiteX1897" fmla="*/ 2954 w 10785"/>
                <a:gd name="connsiteY1897" fmla="*/ 3402 h 10000"/>
                <a:gd name="connsiteX1898" fmla="*/ 2954 w 10785"/>
                <a:gd name="connsiteY1898" fmla="*/ 3393 h 10000"/>
                <a:gd name="connsiteX1899" fmla="*/ 2949 w 10785"/>
                <a:gd name="connsiteY1899" fmla="*/ 3376 h 10000"/>
                <a:gd name="connsiteX1900" fmla="*/ 2949 w 10785"/>
                <a:gd name="connsiteY1900" fmla="*/ 3342 h 10000"/>
                <a:gd name="connsiteX1901" fmla="*/ 2949 w 10785"/>
                <a:gd name="connsiteY1901" fmla="*/ 3316 h 10000"/>
                <a:gd name="connsiteX1902" fmla="*/ 2968 w 10785"/>
                <a:gd name="connsiteY1902" fmla="*/ 3291 h 10000"/>
                <a:gd name="connsiteX1903" fmla="*/ 2963 w 10785"/>
                <a:gd name="connsiteY1903" fmla="*/ 3205 h 10000"/>
                <a:gd name="connsiteX1904" fmla="*/ 2968 w 10785"/>
                <a:gd name="connsiteY1904" fmla="*/ 3171 h 10000"/>
                <a:gd name="connsiteX1905" fmla="*/ 2968 w 10785"/>
                <a:gd name="connsiteY1905" fmla="*/ 3128 h 10000"/>
                <a:gd name="connsiteX1906" fmla="*/ 2954 w 10785"/>
                <a:gd name="connsiteY1906" fmla="*/ 3051 h 10000"/>
                <a:gd name="connsiteX1907" fmla="*/ 2954 w 10785"/>
                <a:gd name="connsiteY1907" fmla="*/ 3009 h 10000"/>
                <a:gd name="connsiteX1908" fmla="*/ 2922 w 10785"/>
                <a:gd name="connsiteY1908" fmla="*/ 2940 h 10000"/>
                <a:gd name="connsiteX1909" fmla="*/ 2903 w 10785"/>
                <a:gd name="connsiteY1909" fmla="*/ 2880 h 10000"/>
                <a:gd name="connsiteX1910" fmla="*/ 2903 w 10785"/>
                <a:gd name="connsiteY1910" fmla="*/ 2855 h 10000"/>
                <a:gd name="connsiteX1911" fmla="*/ 2908 w 10785"/>
                <a:gd name="connsiteY1911" fmla="*/ 2846 h 10000"/>
                <a:gd name="connsiteX1912" fmla="*/ 2931 w 10785"/>
                <a:gd name="connsiteY1912" fmla="*/ 2821 h 10000"/>
                <a:gd name="connsiteX1913" fmla="*/ 2931 w 10785"/>
                <a:gd name="connsiteY1913" fmla="*/ 2803 h 10000"/>
                <a:gd name="connsiteX1914" fmla="*/ 2935 w 10785"/>
                <a:gd name="connsiteY1914" fmla="*/ 2786 h 10000"/>
                <a:gd name="connsiteX1915" fmla="*/ 2935 w 10785"/>
                <a:gd name="connsiteY1915" fmla="*/ 2744 h 10000"/>
                <a:gd name="connsiteX1916" fmla="*/ 2963 w 10785"/>
                <a:gd name="connsiteY1916" fmla="*/ 2607 h 10000"/>
                <a:gd name="connsiteX1917" fmla="*/ 2963 w 10785"/>
                <a:gd name="connsiteY1917" fmla="*/ 2419 h 10000"/>
                <a:gd name="connsiteX1918" fmla="*/ 2954 w 10785"/>
                <a:gd name="connsiteY1918" fmla="*/ 2410 h 10000"/>
                <a:gd name="connsiteX1919" fmla="*/ 2963 w 10785"/>
                <a:gd name="connsiteY1919" fmla="*/ 2393 h 10000"/>
                <a:gd name="connsiteX1920" fmla="*/ 2908 w 10785"/>
                <a:gd name="connsiteY1920" fmla="*/ 2359 h 10000"/>
                <a:gd name="connsiteX1921" fmla="*/ 2889 w 10785"/>
                <a:gd name="connsiteY1921" fmla="*/ 2325 h 10000"/>
                <a:gd name="connsiteX1922" fmla="*/ 2788 w 10785"/>
                <a:gd name="connsiteY1922" fmla="*/ 2333 h 10000"/>
                <a:gd name="connsiteX1923" fmla="*/ 2774 w 10785"/>
                <a:gd name="connsiteY1923" fmla="*/ 2325 h 10000"/>
                <a:gd name="connsiteX1924" fmla="*/ 2783 w 10785"/>
                <a:gd name="connsiteY1924" fmla="*/ 2308 h 10000"/>
                <a:gd name="connsiteX1925" fmla="*/ 2747 w 10785"/>
                <a:gd name="connsiteY1925" fmla="*/ 2308 h 10000"/>
                <a:gd name="connsiteX1926" fmla="*/ 2742 w 10785"/>
                <a:gd name="connsiteY1926" fmla="*/ 2333 h 10000"/>
                <a:gd name="connsiteX1927" fmla="*/ 2682 w 10785"/>
                <a:gd name="connsiteY1927" fmla="*/ 2769 h 10000"/>
                <a:gd name="connsiteX1928" fmla="*/ 2613 w 10785"/>
                <a:gd name="connsiteY1928" fmla="*/ 2940 h 10000"/>
                <a:gd name="connsiteX1929" fmla="*/ 2581 w 10785"/>
                <a:gd name="connsiteY1929" fmla="*/ 2966 h 10000"/>
                <a:gd name="connsiteX1930" fmla="*/ 2576 w 10785"/>
                <a:gd name="connsiteY1930" fmla="*/ 3051 h 10000"/>
                <a:gd name="connsiteX1931" fmla="*/ 2581 w 10785"/>
                <a:gd name="connsiteY1931" fmla="*/ 3051 h 10000"/>
                <a:gd name="connsiteX1932" fmla="*/ 2594 w 10785"/>
                <a:gd name="connsiteY1932" fmla="*/ 3017 h 10000"/>
                <a:gd name="connsiteX1933" fmla="*/ 2594 w 10785"/>
                <a:gd name="connsiteY1933" fmla="*/ 3034 h 10000"/>
                <a:gd name="connsiteX1934" fmla="*/ 2594 w 10785"/>
                <a:gd name="connsiteY1934" fmla="*/ 3051 h 10000"/>
                <a:gd name="connsiteX1935" fmla="*/ 2590 w 10785"/>
                <a:gd name="connsiteY1935" fmla="*/ 3077 h 10000"/>
                <a:gd name="connsiteX1936" fmla="*/ 2567 w 10785"/>
                <a:gd name="connsiteY1936" fmla="*/ 3103 h 10000"/>
                <a:gd name="connsiteX1937" fmla="*/ 2562 w 10785"/>
                <a:gd name="connsiteY1937" fmla="*/ 3145 h 10000"/>
                <a:gd name="connsiteX1938" fmla="*/ 2567 w 10785"/>
                <a:gd name="connsiteY1938" fmla="*/ 3179 h 10000"/>
                <a:gd name="connsiteX1939" fmla="*/ 2590 w 10785"/>
                <a:gd name="connsiteY1939" fmla="*/ 3171 h 10000"/>
                <a:gd name="connsiteX1940" fmla="*/ 2594 w 10785"/>
                <a:gd name="connsiteY1940" fmla="*/ 3145 h 10000"/>
                <a:gd name="connsiteX1941" fmla="*/ 2613 w 10785"/>
                <a:gd name="connsiteY1941" fmla="*/ 3154 h 10000"/>
                <a:gd name="connsiteX1942" fmla="*/ 2622 w 10785"/>
                <a:gd name="connsiteY1942" fmla="*/ 3179 h 10000"/>
                <a:gd name="connsiteX1943" fmla="*/ 2613 w 10785"/>
                <a:gd name="connsiteY1943" fmla="*/ 3214 h 10000"/>
                <a:gd name="connsiteX1944" fmla="*/ 2613 w 10785"/>
                <a:gd name="connsiteY1944" fmla="*/ 3308 h 10000"/>
                <a:gd name="connsiteX1945" fmla="*/ 2608 w 10785"/>
                <a:gd name="connsiteY1945" fmla="*/ 3325 h 10000"/>
                <a:gd name="connsiteX1946" fmla="*/ 2608 w 10785"/>
                <a:gd name="connsiteY1946" fmla="*/ 3376 h 10000"/>
                <a:gd name="connsiteX1947" fmla="*/ 2613 w 10785"/>
                <a:gd name="connsiteY1947" fmla="*/ 3419 h 10000"/>
                <a:gd name="connsiteX1948" fmla="*/ 2608 w 10785"/>
                <a:gd name="connsiteY1948" fmla="*/ 3444 h 10000"/>
                <a:gd name="connsiteX1949" fmla="*/ 2594 w 10785"/>
                <a:gd name="connsiteY1949" fmla="*/ 3444 h 10000"/>
                <a:gd name="connsiteX1950" fmla="*/ 2590 w 10785"/>
                <a:gd name="connsiteY1950" fmla="*/ 3427 h 10000"/>
                <a:gd name="connsiteX1951" fmla="*/ 2581 w 10785"/>
                <a:gd name="connsiteY1951" fmla="*/ 3564 h 10000"/>
                <a:gd name="connsiteX1952" fmla="*/ 2594 w 10785"/>
                <a:gd name="connsiteY1952" fmla="*/ 3598 h 10000"/>
                <a:gd name="connsiteX1953" fmla="*/ 2594 w 10785"/>
                <a:gd name="connsiteY1953" fmla="*/ 3581 h 10000"/>
                <a:gd name="connsiteX1954" fmla="*/ 2608 w 10785"/>
                <a:gd name="connsiteY1954" fmla="*/ 3556 h 10000"/>
                <a:gd name="connsiteX1955" fmla="*/ 2650 w 10785"/>
                <a:gd name="connsiteY1955" fmla="*/ 3615 h 10000"/>
                <a:gd name="connsiteX1956" fmla="*/ 2664 w 10785"/>
                <a:gd name="connsiteY1956" fmla="*/ 3615 h 10000"/>
                <a:gd name="connsiteX1957" fmla="*/ 2668 w 10785"/>
                <a:gd name="connsiteY1957" fmla="*/ 3615 h 10000"/>
                <a:gd name="connsiteX1958" fmla="*/ 2664 w 10785"/>
                <a:gd name="connsiteY1958" fmla="*/ 3667 h 10000"/>
                <a:gd name="connsiteX1959" fmla="*/ 2687 w 10785"/>
                <a:gd name="connsiteY1959" fmla="*/ 3786 h 10000"/>
                <a:gd name="connsiteX1960" fmla="*/ 2710 w 10785"/>
                <a:gd name="connsiteY1960" fmla="*/ 3812 h 10000"/>
                <a:gd name="connsiteX1961" fmla="*/ 2724 w 10785"/>
                <a:gd name="connsiteY1961" fmla="*/ 3812 h 10000"/>
                <a:gd name="connsiteX1962" fmla="*/ 2724 w 10785"/>
                <a:gd name="connsiteY1962" fmla="*/ 3829 h 10000"/>
                <a:gd name="connsiteX1963" fmla="*/ 2737 w 10785"/>
                <a:gd name="connsiteY1963" fmla="*/ 3838 h 10000"/>
                <a:gd name="connsiteX1964" fmla="*/ 2714 w 10785"/>
                <a:gd name="connsiteY1964" fmla="*/ 3872 h 10000"/>
                <a:gd name="connsiteX1965" fmla="*/ 2696 w 10785"/>
                <a:gd name="connsiteY1965" fmla="*/ 4026 h 10000"/>
                <a:gd name="connsiteX1966" fmla="*/ 2673 w 10785"/>
                <a:gd name="connsiteY1966" fmla="*/ 4051 h 10000"/>
                <a:gd name="connsiteX1967" fmla="*/ 2668 w 10785"/>
                <a:gd name="connsiteY1967" fmla="*/ 4034 h 10000"/>
                <a:gd name="connsiteX1968" fmla="*/ 2673 w 10785"/>
                <a:gd name="connsiteY1968" fmla="*/ 4000 h 10000"/>
                <a:gd name="connsiteX1969" fmla="*/ 2664 w 10785"/>
                <a:gd name="connsiteY1969" fmla="*/ 3974 h 10000"/>
                <a:gd name="connsiteX1970" fmla="*/ 2636 w 10785"/>
                <a:gd name="connsiteY1970" fmla="*/ 3949 h 10000"/>
                <a:gd name="connsiteX1971" fmla="*/ 2581 w 10785"/>
                <a:gd name="connsiteY1971" fmla="*/ 3838 h 10000"/>
                <a:gd name="connsiteX1972" fmla="*/ 2562 w 10785"/>
                <a:gd name="connsiteY1972" fmla="*/ 3829 h 10000"/>
                <a:gd name="connsiteX1973" fmla="*/ 2535 w 10785"/>
                <a:gd name="connsiteY1973" fmla="*/ 3778 h 10000"/>
                <a:gd name="connsiteX1974" fmla="*/ 2502 w 10785"/>
                <a:gd name="connsiteY1974" fmla="*/ 3761 h 10000"/>
                <a:gd name="connsiteX1975" fmla="*/ 2502 w 10785"/>
                <a:gd name="connsiteY1975" fmla="*/ 3735 h 10000"/>
                <a:gd name="connsiteX1976" fmla="*/ 2516 w 10785"/>
                <a:gd name="connsiteY1976" fmla="*/ 3735 h 10000"/>
                <a:gd name="connsiteX1977" fmla="*/ 2507 w 10785"/>
                <a:gd name="connsiteY1977" fmla="*/ 3726 h 10000"/>
                <a:gd name="connsiteX1978" fmla="*/ 2488 w 10785"/>
                <a:gd name="connsiteY1978" fmla="*/ 3726 h 10000"/>
                <a:gd name="connsiteX1979" fmla="*/ 2461 w 10785"/>
                <a:gd name="connsiteY1979" fmla="*/ 3692 h 10000"/>
                <a:gd name="connsiteX1980" fmla="*/ 2442 w 10785"/>
                <a:gd name="connsiteY1980" fmla="*/ 3675 h 10000"/>
                <a:gd name="connsiteX1981" fmla="*/ 2406 w 10785"/>
                <a:gd name="connsiteY1981" fmla="*/ 3598 h 10000"/>
                <a:gd name="connsiteX1982" fmla="*/ 2346 w 10785"/>
                <a:gd name="connsiteY1982" fmla="*/ 3564 h 10000"/>
                <a:gd name="connsiteX1983" fmla="*/ 2341 w 10785"/>
                <a:gd name="connsiteY1983" fmla="*/ 3564 h 10000"/>
                <a:gd name="connsiteX1984" fmla="*/ 2313 w 10785"/>
                <a:gd name="connsiteY1984" fmla="*/ 3530 h 10000"/>
                <a:gd name="connsiteX1985" fmla="*/ 2235 w 10785"/>
                <a:gd name="connsiteY1985" fmla="*/ 3530 h 10000"/>
                <a:gd name="connsiteX1986" fmla="*/ 2226 w 10785"/>
                <a:gd name="connsiteY1986" fmla="*/ 3513 h 10000"/>
                <a:gd name="connsiteX1987" fmla="*/ 2207 w 10785"/>
                <a:gd name="connsiteY1987" fmla="*/ 3504 h 10000"/>
                <a:gd name="connsiteX1988" fmla="*/ 2194 w 10785"/>
                <a:gd name="connsiteY1988" fmla="*/ 3504 h 10000"/>
                <a:gd name="connsiteX1989" fmla="*/ 2189 w 10785"/>
                <a:gd name="connsiteY1989" fmla="*/ 3504 h 10000"/>
                <a:gd name="connsiteX1990" fmla="*/ 2189 w 10785"/>
                <a:gd name="connsiteY1990" fmla="*/ 3530 h 10000"/>
                <a:gd name="connsiteX1991" fmla="*/ 2180 w 10785"/>
                <a:gd name="connsiteY1991" fmla="*/ 3538 h 10000"/>
                <a:gd name="connsiteX1992" fmla="*/ 2152 w 10785"/>
                <a:gd name="connsiteY1992" fmla="*/ 3581 h 10000"/>
                <a:gd name="connsiteX1993" fmla="*/ 2161 w 10785"/>
                <a:gd name="connsiteY1993" fmla="*/ 3598 h 10000"/>
                <a:gd name="connsiteX1994" fmla="*/ 2194 w 10785"/>
                <a:gd name="connsiteY1994" fmla="*/ 3752 h 10000"/>
                <a:gd name="connsiteX1995" fmla="*/ 2194 w 10785"/>
                <a:gd name="connsiteY1995" fmla="*/ 3735 h 10000"/>
                <a:gd name="connsiteX1996" fmla="*/ 2198 w 10785"/>
                <a:gd name="connsiteY1996" fmla="*/ 3735 h 10000"/>
                <a:gd name="connsiteX1997" fmla="*/ 2189 w 10785"/>
                <a:gd name="connsiteY1997" fmla="*/ 3838 h 10000"/>
                <a:gd name="connsiteX1998" fmla="*/ 2166 w 10785"/>
                <a:gd name="connsiteY1998" fmla="*/ 3889 h 10000"/>
                <a:gd name="connsiteX1999" fmla="*/ 2124 w 10785"/>
                <a:gd name="connsiteY1999" fmla="*/ 3889 h 10000"/>
                <a:gd name="connsiteX2000" fmla="*/ 2124 w 10785"/>
                <a:gd name="connsiteY2000" fmla="*/ 3923 h 10000"/>
                <a:gd name="connsiteX2001" fmla="*/ 2134 w 10785"/>
                <a:gd name="connsiteY2001" fmla="*/ 3940 h 10000"/>
                <a:gd name="connsiteX2002" fmla="*/ 2134 w 10785"/>
                <a:gd name="connsiteY2002" fmla="*/ 3966 h 10000"/>
                <a:gd name="connsiteX2003" fmla="*/ 2120 w 10785"/>
                <a:gd name="connsiteY2003" fmla="*/ 4000 h 10000"/>
                <a:gd name="connsiteX2004" fmla="*/ 2106 w 10785"/>
                <a:gd name="connsiteY2004" fmla="*/ 4009 h 10000"/>
                <a:gd name="connsiteX2005" fmla="*/ 2088 w 10785"/>
                <a:gd name="connsiteY2005" fmla="*/ 4000 h 10000"/>
                <a:gd name="connsiteX2006" fmla="*/ 2074 w 10785"/>
                <a:gd name="connsiteY2006" fmla="*/ 3974 h 10000"/>
                <a:gd name="connsiteX2007" fmla="*/ 2074 w 10785"/>
                <a:gd name="connsiteY2007" fmla="*/ 3940 h 10000"/>
                <a:gd name="connsiteX2008" fmla="*/ 2078 w 10785"/>
                <a:gd name="connsiteY2008" fmla="*/ 3915 h 10000"/>
                <a:gd name="connsiteX2009" fmla="*/ 2088 w 10785"/>
                <a:gd name="connsiteY2009" fmla="*/ 3889 h 10000"/>
                <a:gd name="connsiteX2010" fmla="*/ 2101 w 10785"/>
                <a:gd name="connsiteY2010" fmla="*/ 3872 h 10000"/>
                <a:gd name="connsiteX2011" fmla="*/ 2074 w 10785"/>
                <a:gd name="connsiteY2011" fmla="*/ 3812 h 10000"/>
                <a:gd name="connsiteX2012" fmla="*/ 2074 w 10785"/>
                <a:gd name="connsiteY2012" fmla="*/ 3786 h 10000"/>
                <a:gd name="connsiteX2013" fmla="*/ 2060 w 10785"/>
                <a:gd name="connsiteY2013" fmla="*/ 3786 h 10000"/>
                <a:gd name="connsiteX2014" fmla="*/ 2014 w 10785"/>
                <a:gd name="connsiteY2014" fmla="*/ 3829 h 10000"/>
                <a:gd name="connsiteX2015" fmla="*/ 2000 w 10785"/>
                <a:gd name="connsiteY2015" fmla="*/ 3863 h 10000"/>
                <a:gd name="connsiteX2016" fmla="*/ 1986 w 10785"/>
                <a:gd name="connsiteY2016" fmla="*/ 3872 h 10000"/>
                <a:gd name="connsiteX2017" fmla="*/ 1959 w 10785"/>
                <a:gd name="connsiteY2017" fmla="*/ 3940 h 10000"/>
                <a:gd name="connsiteX2018" fmla="*/ 1945 w 10785"/>
                <a:gd name="connsiteY2018" fmla="*/ 3949 h 10000"/>
                <a:gd name="connsiteX2019" fmla="*/ 1940 w 10785"/>
                <a:gd name="connsiteY2019" fmla="*/ 3923 h 10000"/>
                <a:gd name="connsiteX2020" fmla="*/ 1917 w 10785"/>
                <a:gd name="connsiteY2020" fmla="*/ 3915 h 10000"/>
                <a:gd name="connsiteX2021" fmla="*/ 1899 w 10785"/>
                <a:gd name="connsiteY2021" fmla="*/ 3923 h 10000"/>
                <a:gd name="connsiteX2022" fmla="*/ 1880 w 10785"/>
                <a:gd name="connsiteY2022" fmla="*/ 3915 h 10000"/>
                <a:gd name="connsiteX2023" fmla="*/ 1853 w 10785"/>
                <a:gd name="connsiteY2023" fmla="*/ 3940 h 10000"/>
                <a:gd name="connsiteX2024" fmla="*/ 1839 w 10785"/>
                <a:gd name="connsiteY2024" fmla="*/ 3940 h 10000"/>
                <a:gd name="connsiteX2025" fmla="*/ 1806 w 10785"/>
                <a:gd name="connsiteY2025" fmla="*/ 3983 h 10000"/>
                <a:gd name="connsiteX2026" fmla="*/ 1806 w 10785"/>
                <a:gd name="connsiteY2026" fmla="*/ 4000 h 10000"/>
                <a:gd name="connsiteX2027" fmla="*/ 1797 w 10785"/>
                <a:gd name="connsiteY2027" fmla="*/ 4077 h 10000"/>
                <a:gd name="connsiteX2028" fmla="*/ 1783 w 10785"/>
                <a:gd name="connsiteY2028" fmla="*/ 4077 h 10000"/>
                <a:gd name="connsiteX2029" fmla="*/ 1779 w 10785"/>
                <a:gd name="connsiteY2029" fmla="*/ 4051 h 10000"/>
                <a:gd name="connsiteX2030" fmla="*/ 1765 w 10785"/>
                <a:gd name="connsiteY2030" fmla="*/ 4026 h 10000"/>
                <a:gd name="connsiteX2031" fmla="*/ 1751 w 10785"/>
                <a:gd name="connsiteY2031" fmla="*/ 4051 h 10000"/>
                <a:gd name="connsiteX2032" fmla="*/ 1737 w 10785"/>
                <a:gd name="connsiteY2032" fmla="*/ 4009 h 10000"/>
                <a:gd name="connsiteX2033" fmla="*/ 1737 w 10785"/>
                <a:gd name="connsiteY2033" fmla="*/ 3966 h 10000"/>
                <a:gd name="connsiteX2034" fmla="*/ 1733 w 10785"/>
                <a:gd name="connsiteY2034" fmla="*/ 3940 h 10000"/>
                <a:gd name="connsiteX2035" fmla="*/ 1733 w 10785"/>
                <a:gd name="connsiteY2035" fmla="*/ 3923 h 10000"/>
                <a:gd name="connsiteX2036" fmla="*/ 1747 w 10785"/>
                <a:gd name="connsiteY2036" fmla="*/ 3889 h 10000"/>
                <a:gd name="connsiteX2037" fmla="*/ 1747 w 10785"/>
                <a:gd name="connsiteY2037" fmla="*/ 3863 h 10000"/>
                <a:gd name="connsiteX2038" fmla="*/ 1737 w 10785"/>
                <a:gd name="connsiteY2038" fmla="*/ 3838 h 10000"/>
                <a:gd name="connsiteX2039" fmla="*/ 1733 w 10785"/>
                <a:gd name="connsiteY2039" fmla="*/ 3829 h 10000"/>
                <a:gd name="connsiteX2040" fmla="*/ 1733 w 10785"/>
                <a:gd name="connsiteY2040" fmla="*/ 3846 h 10000"/>
                <a:gd name="connsiteX2041" fmla="*/ 1724 w 10785"/>
                <a:gd name="connsiteY2041" fmla="*/ 3846 h 10000"/>
                <a:gd name="connsiteX2042" fmla="*/ 1724 w 10785"/>
                <a:gd name="connsiteY2042" fmla="*/ 3829 h 10000"/>
                <a:gd name="connsiteX2043" fmla="*/ 1737 w 10785"/>
                <a:gd name="connsiteY2043" fmla="*/ 3812 h 10000"/>
                <a:gd name="connsiteX2044" fmla="*/ 1765 w 10785"/>
                <a:gd name="connsiteY2044" fmla="*/ 3812 h 10000"/>
                <a:gd name="connsiteX2045" fmla="*/ 1779 w 10785"/>
                <a:gd name="connsiteY2045" fmla="*/ 3786 h 10000"/>
                <a:gd name="connsiteX2046" fmla="*/ 1779 w 10785"/>
                <a:gd name="connsiteY2046" fmla="*/ 3786 h 10000"/>
                <a:gd name="connsiteX2047" fmla="*/ 1751 w 10785"/>
                <a:gd name="connsiteY2047" fmla="*/ 3803 h 10000"/>
                <a:gd name="connsiteX2048" fmla="*/ 1747 w 10785"/>
                <a:gd name="connsiteY2048" fmla="*/ 3803 h 10000"/>
                <a:gd name="connsiteX2049" fmla="*/ 1724 w 10785"/>
                <a:gd name="connsiteY2049" fmla="*/ 3803 h 10000"/>
                <a:gd name="connsiteX2050" fmla="*/ 1700 w 10785"/>
                <a:gd name="connsiteY2050" fmla="*/ 3829 h 10000"/>
                <a:gd name="connsiteX2051" fmla="*/ 1705 w 10785"/>
                <a:gd name="connsiteY2051" fmla="*/ 3846 h 10000"/>
                <a:gd name="connsiteX2052" fmla="*/ 1691 w 10785"/>
                <a:gd name="connsiteY2052" fmla="*/ 3846 h 10000"/>
                <a:gd name="connsiteX2053" fmla="*/ 1691 w 10785"/>
                <a:gd name="connsiteY2053" fmla="*/ 3863 h 10000"/>
                <a:gd name="connsiteX2054" fmla="*/ 1691 w 10785"/>
                <a:gd name="connsiteY2054" fmla="*/ 3915 h 10000"/>
                <a:gd name="connsiteX2055" fmla="*/ 1677 w 10785"/>
                <a:gd name="connsiteY2055" fmla="*/ 3923 h 10000"/>
                <a:gd name="connsiteX2056" fmla="*/ 1673 w 10785"/>
                <a:gd name="connsiteY2056" fmla="*/ 3915 h 10000"/>
                <a:gd name="connsiteX2057" fmla="*/ 1664 w 10785"/>
                <a:gd name="connsiteY2057" fmla="*/ 3889 h 10000"/>
                <a:gd name="connsiteX2058" fmla="*/ 1673 w 10785"/>
                <a:gd name="connsiteY2058" fmla="*/ 3872 h 10000"/>
                <a:gd name="connsiteX2059" fmla="*/ 1664 w 10785"/>
                <a:gd name="connsiteY2059" fmla="*/ 3872 h 10000"/>
                <a:gd name="connsiteX2060" fmla="*/ 1636 w 10785"/>
                <a:gd name="connsiteY2060" fmla="*/ 3923 h 10000"/>
                <a:gd name="connsiteX2061" fmla="*/ 1645 w 10785"/>
                <a:gd name="connsiteY2061" fmla="*/ 3923 h 10000"/>
                <a:gd name="connsiteX2062" fmla="*/ 1650 w 10785"/>
                <a:gd name="connsiteY2062" fmla="*/ 3949 h 10000"/>
                <a:gd name="connsiteX2063" fmla="*/ 1650 w 10785"/>
                <a:gd name="connsiteY2063" fmla="*/ 3983 h 10000"/>
                <a:gd name="connsiteX2064" fmla="*/ 1636 w 10785"/>
                <a:gd name="connsiteY2064" fmla="*/ 4000 h 10000"/>
                <a:gd name="connsiteX2065" fmla="*/ 1631 w 10785"/>
                <a:gd name="connsiteY2065" fmla="*/ 4009 h 10000"/>
                <a:gd name="connsiteX2066" fmla="*/ 1618 w 10785"/>
                <a:gd name="connsiteY2066" fmla="*/ 3949 h 10000"/>
                <a:gd name="connsiteX2067" fmla="*/ 1585 w 10785"/>
                <a:gd name="connsiteY2067" fmla="*/ 3966 h 10000"/>
                <a:gd name="connsiteX2068" fmla="*/ 1590 w 10785"/>
                <a:gd name="connsiteY2068" fmla="*/ 3974 h 10000"/>
                <a:gd name="connsiteX2069" fmla="*/ 1544 w 10785"/>
                <a:gd name="connsiteY2069" fmla="*/ 4009 h 10000"/>
                <a:gd name="connsiteX2070" fmla="*/ 1539 w 10785"/>
                <a:gd name="connsiteY2070" fmla="*/ 4009 h 10000"/>
                <a:gd name="connsiteX2071" fmla="*/ 1410 w 10785"/>
                <a:gd name="connsiteY2071" fmla="*/ 4188 h 10000"/>
                <a:gd name="connsiteX2072" fmla="*/ 1406 w 10785"/>
                <a:gd name="connsiteY2072" fmla="*/ 4171 h 10000"/>
                <a:gd name="connsiteX2073" fmla="*/ 1396 w 10785"/>
                <a:gd name="connsiteY2073" fmla="*/ 4214 h 10000"/>
                <a:gd name="connsiteX2074" fmla="*/ 1406 w 10785"/>
                <a:gd name="connsiteY2074" fmla="*/ 4222 h 10000"/>
                <a:gd name="connsiteX2075" fmla="*/ 1392 w 10785"/>
                <a:gd name="connsiteY2075" fmla="*/ 4239 h 10000"/>
                <a:gd name="connsiteX2076" fmla="*/ 1369 w 10785"/>
                <a:gd name="connsiteY2076" fmla="*/ 4248 h 10000"/>
                <a:gd name="connsiteX2077" fmla="*/ 1355 w 10785"/>
                <a:gd name="connsiteY2077" fmla="*/ 4256 h 10000"/>
                <a:gd name="connsiteX2078" fmla="*/ 1350 w 10785"/>
                <a:gd name="connsiteY2078" fmla="*/ 4248 h 10000"/>
                <a:gd name="connsiteX2079" fmla="*/ 1332 w 10785"/>
                <a:gd name="connsiteY2079" fmla="*/ 4376 h 10000"/>
                <a:gd name="connsiteX2080" fmla="*/ 1332 w 10785"/>
                <a:gd name="connsiteY2080" fmla="*/ 4436 h 10000"/>
                <a:gd name="connsiteX2081" fmla="*/ 1323 w 10785"/>
                <a:gd name="connsiteY2081" fmla="*/ 4462 h 10000"/>
                <a:gd name="connsiteX2082" fmla="*/ 1304 w 10785"/>
                <a:gd name="connsiteY2082" fmla="*/ 4487 h 10000"/>
                <a:gd name="connsiteX2083" fmla="*/ 1290 w 10785"/>
                <a:gd name="connsiteY2083" fmla="*/ 4470 h 10000"/>
                <a:gd name="connsiteX2084" fmla="*/ 1263 w 10785"/>
                <a:gd name="connsiteY2084" fmla="*/ 4496 h 10000"/>
                <a:gd name="connsiteX2085" fmla="*/ 1258 w 10785"/>
                <a:gd name="connsiteY2085" fmla="*/ 4547 h 10000"/>
                <a:gd name="connsiteX2086" fmla="*/ 1249 w 10785"/>
                <a:gd name="connsiteY2086" fmla="*/ 4487 h 10000"/>
                <a:gd name="connsiteX2087" fmla="*/ 1235 w 10785"/>
                <a:gd name="connsiteY2087" fmla="*/ 4496 h 10000"/>
                <a:gd name="connsiteX2088" fmla="*/ 1221 w 10785"/>
                <a:gd name="connsiteY2088" fmla="*/ 4496 h 10000"/>
                <a:gd name="connsiteX2089" fmla="*/ 1217 w 10785"/>
                <a:gd name="connsiteY2089" fmla="*/ 4487 h 10000"/>
                <a:gd name="connsiteX2090" fmla="*/ 1198 w 10785"/>
                <a:gd name="connsiteY2090" fmla="*/ 4410 h 10000"/>
                <a:gd name="connsiteX2091" fmla="*/ 1157 w 10785"/>
                <a:gd name="connsiteY2091" fmla="*/ 4333 h 10000"/>
                <a:gd name="connsiteX2092" fmla="*/ 1147 w 10785"/>
                <a:gd name="connsiteY2092" fmla="*/ 4299 h 10000"/>
                <a:gd name="connsiteX2093" fmla="*/ 1147 w 10785"/>
                <a:gd name="connsiteY2093" fmla="*/ 4274 h 10000"/>
                <a:gd name="connsiteX2094" fmla="*/ 1161 w 10785"/>
                <a:gd name="connsiteY2094" fmla="*/ 4256 h 10000"/>
                <a:gd name="connsiteX2095" fmla="*/ 1171 w 10785"/>
                <a:gd name="connsiteY2095" fmla="*/ 4248 h 10000"/>
                <a:gd name="connsiteX2096" fmla="*/ 1175 w 10785"/>
                <a:gd name="connsiteY2096" fmla="*/ 4214 h 10000"/>
                <a:gd name="connsiteX2097" fmla="*/ 1263 w 10785"/>
                <a:gd name="connsiteY2097" fmla="*/ 4171 h 10000"/>
                <a:gd name="connsiteX2098" fmla="*/ 1249 w 10785"/>
                <a:gd name="connsiteY2098" fmla="*/ 4137 h 10000"/>
                <a:gd name="connsiteX2099" fmla="*/ 1244 w 10785"/>
                <a:gd name="connsiteY2099" fmla="*/ 4060 h 10000"/>
                <a:gd name="connsiteX2100" fmla="*/ 1230 w 10785"/>
                <a:gd name="connsiteY2100" fmla="*/ 4077 h 10000"/>
                <a:gd name="connsiteX2101" fmla="*/ 1221 w 10785"/>
                <a:gd name="connsiteY2101" fmla="*/ 4026 h 10000"/>
                <a:gd name="connsiteX2102" fmla="*/ 1217 w 10785"/>
                <a:gd name="connsiteY2102" fmla="*/ 4026 h 10000"/>
                <a:gd name="connsiteX2103" fmla="*/ 1212 w 10785"/>
                <a:gd name="connsiteY2103" fmla="*/ 3983 h 10000"/>
                <a:gd name="connsiteX2104" fmla="*/ 1203 w 10785"/>
                <a:gd name="connsiteY2104" fmla="*/ 3966 h 10000"/>
                <a:gd name="connsiteX2105" fmla="*/ 1171 w 10785"/>
                <a:gd name="connsiteY2105" fmla="*/ 3949 h 10000"/>
                <a:gd name="connsiteX2106" fmla="*/ 1111 w 10785"/>
                <a:gd name="connsiteY2106" fmla="*/ 3940 h 10000"/>
                <a:gd name="connsiteX2107" fmla="*/ 1097 w 10785"/>
                <a:gd name="connsiteY2107" fmla="*/ 3949 h 10000"/>
                <a:gd name="connsiteX2108" fmla="*/ 1037 w 10785"/>
                <a:gd name="connsiteY2108" fmla="*/ 3897 h 10000"/>
                <a:gd name="connsiteX2109" fmla="*/ 1041 w 10785"/>
                <a:gd name="connsiteY2109" fmla="*/ 3923 h 10000"/>
                <a:gd name="connsiteX2110" fmla="*/ 1097 w 10785"/>
                <a:gd name="connsiteY2110" fmla="*/ 4009 h 10000"/>
                <a:gd name="connsiteX2111" fmla="*/ 1097 w 10785"/>
                <a:gd name="connsiteY2111" fmla="*/ 4120 h 10000"/>
                <a:gd name="connsiteX2112" fmla="*/ 1097 w 10785"/>
                <a:gd name="connsiteY2112" fmla="*/ 4162 h 10000"/>
                <a:gd name="connsiteX2113" fmla="*/ 1097 w 10785"/>
                <a:gd name="connsiteY2113" fmla="*/ 4197 h 10000"/>
                <a:gd name="connsiteX2114" fmla="*/ 1074 w 10785"/>
                <a:gd name="connsiteY2114" fmla="*/ 4333 h 10000"/>
                <a:gd name="connsiteX2115" fmla="*/ 1074 w 10785"/>
                <a:gd name="connsiteY2115" fmla="*/ 4376 h 10000"/>
                <a:gd name="connsiteX2116" fmla="*/ 1083 w 10785"/>
                <a:gd name="connsiteY2116" fmla="*/ 4385 h 10000"/>
                <a:gd name="connsiteX2117" fmla="*/ 1097 w 10785"/>
                <a:gd name="connsiteY2117" fmla="*/ 4385 h 10000"/>
                <a:gd name="connsiteX2118" fmla="*/ 1111 w 10785"/>
                <a:gd name="connsiteY2118" fmla="*/ 4410 h 10000"/>
                <a:gd name="connsiteX2119" fmla="*/ 1124 w 10785"/>
                <a:gd name="connsiteY2119" fmla="*/ 4444 h 10000"/>
                <a:gd name="connsiteX2120" fmla="*/ 1124 w 10785"/>
                <a:gd name="connsiteY2120" fmla="*/ 4470 h 10000"/>
                <a:gd name="connsiteX2121" fmla="*/ 1115 w 10785"/>
                <a:gd name="connsiteY2121" fmla="*/ 4513 h 10000"/>
                <a:gd name="connsiteX2122" fmla="*/ 1115 w 10785"/>
                <a:gd name="connsiteY2122" fmla="*/ 4530 h 10000"/>
                <a:gd name="connsiteX2123" fmla="*/ 1115 w 10785"/>
                <a:gd name="connsiteY2123" fmla="*/ 4573 h 10000"/>
                <a:gd name="connsiteX2124" fmla="*/ 1101 w 10785"/>
                <a:gd name="connsiteY2124" fmla="*/ 4607 h 10000"/>
                <a:gd name="connsiteX2125" fmla="*/ 1097 w 10785"/>
                <a:gd name="connsiteY2125" fmla="*/ 4658 h 10000"/>
                <a:gd name="connsiteX2126" fmla="*/ 1101 w 10785"/>
                <a:gd name="connsiteY2126" fmla="*/ 4692 h 10000"/>
                <a:gd name="connsiteX2127" fmla="*/ 1097 w 10785"/>
                <a:gd name="connsiteY2127" fmla="*/ 4778 h 10000"/>
                <a:gd name="connsiteX2128" fmla="*/ 1083 w 10785"/>
                <a:gd name="connsiteY2128" fmla="*/ 4744 h 10000"/>
                <a:gd name="connsiteX2129" fmla="*/ 1083 w 10785"/>
                <a:gd name="connsiteY2129" fmla="*/ 4718 h 10000"/>
                <a:gd name="connsiteX2130" fmla="*/ 1074 w 10785"/>
                <a:gd name="connsiteY2130" fmla="*/ 4692 h 10000"/>
                <a:gd name="connsiteX2131" fmla="*/ 1065 w 10785"/>
                <a:gd name="connsiteY2131" fmla="*/ 4692 h 10000"/>
                <a:gd name="connsiteX2132" fmla="*/ 1051 w 10785"/>
                <a:gd name="connsiteY2132" fmla="*/ 4718 h 10000"/>
                <a:gd name="connsiteX2133" fmla="*/ 1055 w 10785"/>
                <a:gd name="connsiteY2133" fmla="*/ 4692 h 10000"/>
                <a:gd name="connsiteX2134" fmla="*/ 1055 w 10785"/>
                <a:gd name="connsiteY2134" fmla="*/ 4667 h 10000"/>
                <a:gd name="connsiteX2135" fmla="*/ 1028 w 10785"/>
                <a:gd name="connsiteY2135" fmla="*/ 4624 h 10000"/>
                <a:gd name="connsiteX2136" fmla="*/ 1005 w 10785"/>
                <a:gd name="connsiteY2136" fmla="*/ 4624 h 10000"/>
                <a:gd name="connsiteX2137" fmla="*/ 977 w 10785"/>
                <a:gd name="connsiteY2137" fmla="*/ 4581 h 10000"/>
                <a:gd name="connsiteX2138" fmla="*/ 963 w 10785"/>
                <a:gd name="connsiteY2138" fmla="*/ 4607 h 10000"/>
                <a:gd name="connsiteX2139" fmla="*/ 963 w 10785"/>
                <a:gd name="connsiteY2139" fmla="*/ 4632 h 10000"/>
                <a:gd name="connsiteX2140" fmla="*/ 917 w 10785"/>
                <a:gd name="connsiteY2140" fmla="*/ 4718 h 10000"/>
                <a:gd name="connsiteX2141" fmla="*/ 889 w 10785"/>
                <a:gd name="connsiteY2141" fmla="*/ 4744 h 10000"/>
                <a:gd name="connsiteX2142" fmla="*/ 880 w 10785"/>
                <a:gd name="connsiteY2142" fmla="*/ 4744 h 10000"/>
                <a:gd name="connsiteX2143" fmla="*/ 862 w 10785"/>
                <a:gd name="connsiteY2143" fmla="*/ 4769 h 10000"/>
                <a:gd name="connsiteX2144" fmla="*/ 857 w 10785"/>
                <a:gd name="connsiteY2144" fmla="*/ 4795 h 10000"/>
                <a:gd name="connsiteX2145" fmla="*/ 829 w 10785"/>
                <a:gd name="connsiteY2145" fmla="*/ 4846 h 10000"/>
                <a:gd name="connsiteX2146" fmla="*/ 816 w 10785"/>
                <a:gd name="connsiteY2146" fmla="*/ 4855 h 10000"/>
                <a:gd name="connsiteX2147" fmla="*/ 816 w 10785"/>
                <a:gd name="connsiteY2147" fmla="*/ 4940 h 10000"/>
                <a:gd name="connsiteX2148" fmla="*/ 880 w 10785"/>
                <a:gd name="connsiteY2148" fmla="*/ 5179 h 10000"/>
                <a:gd name="connsiteX2149" fmla="*/ 880 w 10785"/>
                <a:gd name="connsiteY2149" fmla="*/ 5188 h 10000"/>
                <a:gd name="connsiteX2150" fmla="*/ 862 w 10785"/>
                <a:gd name="connsiteY2150" fmla="*/ 5171 h 10000"/>
                <a:gd name="connsiteX2151" fmla="*/ 857 w 10785"/>
                <a:gd name="connsiteY2151" fmla="*/ 5171 h 10000"/>
                <a:gd name="connsiteX2152" fmla="*/ 820 w 10785"/>
                <a:gd name="connsiteY2152" fmla="*/ 5145 h 10000"/>
                <a:gd name="connsiteX2153" fmla="*/ 820 w 10785"/>
                <a:gd name="connsiteY2153" fmla="*/ 5154 h 10000"/>
                <a:gd name="connsiteX2154" fmla="*/ 816 w 10785"/>
                <a:gd name="connsiteY2154" fmla="*/ 5171 h 10000"/>
                <a:gd name="connsiteX2155" fmla="*/ 783 w 10785"/>
                <a:gd name="connsiteY2155" fmla="*/ 5145 h 10000"/>
                <a:gd name="connsiteX2156" fmla="*/ 756 w 10785"/>
                <a:gd name="connsiteY2156" fmla="*/ 5103 h 10000"/>
                <a:gd name="connsiteX2157" fmla="*/ 742 w 10785"/>
                <a:gd name="connsiteY2157" fmla="*/ 5103 h 10000"/>
                <a:gd name="connsiteX2158" fmla="*/ 728 w 10785"/>
                <a:gd name="connsiteY2158" fmla="*/ 5094 h 10000"/>
                <a:gd name="connsiteX2159" fmla="*/ 710 w 10785"/>
                <a:gd name="connsiteY2159" fmla="*/ 5120 h 10000"/>
                <a:gd name="connsiteX2160" fmla="*/ 700 w 10785"/>
                <a:gd name="connsiteY2160" fmla="*/ 5145 h 10000"/>
                <a:gd name="connsiteX2161" fmla="*/ 696 w 10785"/>
                <a:gd name="connsiteY2161" fmla="*/ 5103 h 10000"/>
                <a:gd name="connsiteX2162" fmla="*/ 714 w 10785"/>
                <a:gd name="connsiteY2162" fmla="*/ 5077 h 10000"/>
                <a:gd name="connsiteX2163" fmla="*/ 682 w 10785"/>
                <a:gd name="connsiteY2163" fmla="*/ 5068 h 10000"/>
                <a:gd name="connsiteX2164" fmla="*/ 673 w 10785"/>
                <a:gd name="connsiteY2164" fmla="*/ 5034 h 10000"/>
                <a:gd name="connsiteX2165" fmla="*/ 636 w 10785"/>
                <a:gd name="connsiteY2165" fmla="*/ 4991 h 10000"/>
                <a:gd name="connsiteX2166" fmla="*/ 622 w 10785"/>
                <a:gd name="connsiteY2166" fmla="*/ 4983 h 10000"/>
                <a:gd name="connsiteX2167" fmla="*/ 622 w 10785"/>
                <a:gd name="connsiteY2167" fmla="*/ 5034 h 10000"/>
                <a:gd name="connsiteX2168" fmla="*/ 608 w 10785"/>
                <a:gd name="connsiteY2168" fmla="*/ 5051 h 10000"/>
                <a:gd name="connsiteX2169" fmla="*/ 594 w 10785"/>
                <a:gd name="connsiteY2169" fmla="*/ 5068 h 10000"/>
                <a:gd name="connsiteX2170" fmla="*/ 608 w 10785"/>
                <a:gd name="connsiteY2170" fmla="*/ 5120 h 10000"/>
                <a:gd name="connsiteX2171" fmla="*/ 613 w 10785"/>
                <a:gd name="connsiteY2171" fmla="*/ 5128 h 10000"/>
                <a:gd name="connsiteX2172" fmla="*/ 627 w 10785"/>
                <a:gd name="connsiteY2172" fmla="*/ 5179 h 10000"/>
                <a:gd name="connsiteX2173" fmla="*/ 650 w 10785"/>
                <a:gd name="connsiteY2173" fmla="*/ 5214 h 10000"/>
                <a:gd name="connsiteX2174" fmla="*/ 687 w 10785"/>
                <a:gd name="connsiteY2174" fmla="*/ 5188 h 10000"/>
                <a:gd name="connsiteX2175" fmla="*/ 700 w 10785"/>
                <a:gd name="connsiteY2175" fmla="*/ 5325 h 10000"/>
                <a:gd name="connsiteX2176" fmla="*/ 710 w 10785"/>
                <a:gd name="connsiteY2176" fmla="*/ 5350 h 10000"/>
                <a:gd name="connsiteX2177" fmla="*/ 687 w 10785"/>
                <a:gd name="connsiteY2177" fmla="*/ 5325 h 10000"/>
                <a:gd name="connsiteX2178" fmla="*/ 668 w 10785"/>
                <a:gd name="connsiteY2178" fmla="*/ 5350 h 10000"/>
                <a:gd name="connsiteX2179" fmla="*/ 668 w 10785"/>
                <a:gd name="connsiteY2179" fmla="*/ 5368 h 10000"/>
                <a:gd name="connsiteX2180" fmla="*/ 668 w 10785"/>
                <a:gd name="connsiteY2180" fmla="*/ 5376 h 10000"/>
                <a:gd name="connsiteX2181" fmla="*/ 581 w 10785"/>
                <a:gd name="connsiteY2181" fmla="*/ 5316 h 10000"/>
                <a:gd name="connsiteX2182" fmla="*/ 567 w 10785"/>
                <a:gd name="connsiteY2182" fmla="*/ 5265 h 10000"/>
                <a:gd name="connsiteX2183" fmla="*/ 562 w 10785"/>
                <a:gd name="connsiteY2183" fmla="*/ 5256 h 10000"/>
                <a:gd name="connsiteX2184" fmla="*/ 548 w 10785"/>
                <a:gd name="connsiteY2184" fmla="*/ 5231 h 10000"/>
                <a:gd name="connsiteX2185" fmla="*/ 535 w 10785"/>
                <a:gd name="connsiteY2185" fmla="*/ 5214 h 10000"/>
                <a:gd name="connsiteX2186" fmla="*/ 525 w 10785"/>
                <a:gd name="connsiteY2186" fmla="*/ 5231 h 10000"/>
                <a:gd name="connsiteX2187" fmla="*/ 521 w 10785"/>
                <a:gd name="connsiteY2187" fmla="*/ 5231 h 10000"/>
                <a:gd name="connsiteX2188" fmla="*/ 493 w 10785"/>
                <a:gd name="connsiteY2188" fmla="*/ 5205 h 10000"/>
                <a:gd name="connsiteX2189" fmla="*/ 488 w 10785"/>
                <a:gd name="connsiteY2189" fmla="*/ 5179 h 10000"/>
                <a:gd name="connsiteX2190" fmla="*/ 475 w 10785"/>
                <a:gd name="connsiteY2190" fmla="*/ 5188 h 10000"/>
                <a:gd name="connsiteX2191" fmla="*/ 475 w 10785"/>
                <a:gd name="connsiteY2191" fmla="*/ 5171 h 10000"/>
                <a:gd name="connsiteX2192" fmla="*/ 488 w 10785"/>
                <a:gd name="connsiteY2192" fmla="*/ 5154 h 10000"/>
                <a:gd name="connsiteX2193" fmla="*/ 488 w 10785"/>
                <a:gd name="connsiteY2193" fmla="*/ 5068 h 10000"/>
                <a:gd name="connsiteX2194" fmla="*/ 475 w 10785"/>
                <a:gd name="connsiteY2194" fmla="*/ 5051 h 10000"/>
                <a:gd name="connsiteX2195" fmla="*/ 475 w 10785"/>
                <a:gd name="connsiteY2195" fmla="*/ 5017 h 10000"/>
                <a:gd name="connsiteX2196" fmla="*/ 452 w 10785"/>
                <a:gd name="connsiteY2196" fmla="*/ 4932 h 10000"/>
                <a:gd name="connsiteX2197" fmla="*/ 461 w 10785"/>
                <a:gd name="connsiteY2197" fmla="*/ 4915 h 10000"/>
                <a:gd name="connsiteX2198" fmla="*/ 475 w 10785"/>
                <a:gd name="connsiteY2198" fmla="*/ 4906 h 10000"/>
                <a:gd name="connsiteX2199" fmla="*/ 479 w 10785"/>
                <a:gd name="connsiteY2199" fmla="*/ 4803 h 10000"/>
                <a:gd name="connsiteX2200" fmla="*/ 479 w 10785"/>
                <a:gd name="connsiteY2200" fmla="*/ 4778 h 10000"/>
                <a:gd name="connsiteX2201" fmla="*/ 475 w 10785"/>
                <a:gd name="connsiteY2201" fmla="*/ 4761 h 10000"/>
                <a:gd name="connsiteX2202" fmla="*/ 465 w 10785"/>
                <a:gd name="connsiteY2202" fmla="*/ 4718 h 10000"/>
                <a:gd name="connsiteX2203" fmla="*/ 461 w 10785"/>
                <a:gd name="connsiteY2203" fmla="*/ 4709 h 10000"/>
                <a:gd name="connsiteX2204" fmla="*/ 442 w 10785"/>
                <a:gd name="connsiteY2204" fmla="*/ 4692 h 10000"/>
                <a:gd name="connsiteX2205" fmla="*/ 433 w 10785"/>
                <a:gd name="connsiteY2205" fmla="*/ 4667 h 10000"/>
                <a:gd name="connsiteX2206" fmla="*/ 419 w 10785"/>
                <a:gd name="connsiteY2206" fmla="*/ 4667 h 10000"/>
                <a:gd name="connsiteX2207" fmla="*/ 401 w 10785"/>
                <a:gd name="connsiteY2207" fmla="*/ 4658 h 10000"/>
                <a:gd name="connsiteX2208" fmla="*/ 401 w 10785"/>
                <a:gd name="connsiteY2208" fmla="*/ 4624 h 10000"/>
                <a:gd name="connsiteX2209" fmla="*/ 401 w 10785"/>
                <a:gd name="connsiteY2209" fmla="*/ 4607 h 10000"/>
                <a:gd name="connsiteX2210" fmla="*/ 378 w 10785"/>
                <a:gd name="connsiteY2210" fmla="*/ 4607 h 10000"/>
                <a:gd name="connsiteX2211" fmla="*/ 341 w 10785"/>
                <a:gd name="connsiteY2211" fmla="*/ 4530 h 10000"/>
                <a:gd name="connsiteX2212" fmla="*/ 346 w 10785"/>
                <a:gd name="connsiteY2212" fmla="*/ 4521 h 10000"/>
                <a:gd name="connsiteX2213" fmla="*/ 332 w 10785"/>
                <a:gd name="connsiteY2213" fmla="*/ 4487 h 10000"/>
                <a:gd name="connsiteX2214" fmla="*/ 327 w 10785"/>
                <a:gd name="connsiteY2214" fmla="*/ 4462 h 10000"/>
                <a:gd name="connsiteX2215" fmla="*/ 313 w 10785"/>
                <a:gd name="connsiteY2215" fmla="*/ 4436 h 10000"/>
                <a:gd name="connsiteX2216" fmla="*/ 300 w 10785"/>
                <a:gd name="connsiteY2216" fmla="*/ 4419 h 10000"/>
                <a:gd name="connsiteX2217" fmla="*/ 309 w 10785"/>
                <a:gd name="connsiteY2217" fmla="*/ 4393 h 10000"/>
                <a:gd name="connsiteX2218" fmla="*/ 332 w 10785"/>
                <a:gd name="connsiteY2218" fmla="*/ 4385 h 10000"/>
                <a:gd name="connsiteX2219" fmla="*/ 355 w 10785"/>
                <a:gd name="connsiteY2219" fmla="*/ 4419 h 10000"/>
                <a:gd name="connsiteX2220" fmla="*/ 355 w 10785"/>
                <a:gd name="connsiteY2220" fmla="*/ 4444 h 10000"/>
                <a:gd name="connsiteX2221" fmla="*/ 369 w 10785"/>
                <a:gd name="connsiteY2221" fmla="*/ 4470 h 10000"/>
                <a:gd name="connsiteX2222" fmla="*/ 401 w 10785"/>
                <a:gd name="connsiteY2222" fmla="*/ 4521 h 10000"/>
                <a:gd name="connsiteX2223" fmla="*/ 406 w 10785"/>
                <a:gd name="connsiteY2223" fmla="*/ 4513 h 10000"/>
                <a:gd name="connsiteX2224" fmla="*/ 406 w 10785"/>
                <a:gd name="connsiteY2224" fmla="*/ 4496 h 10000"/>
                <a:gd name="connsiteX2225" fmla="*/ 419 w 10785"/>
                <a:gd name="connsiteY2225" fmla="*/ 4521 h 10000"/>
                <a:gd name="connsiteX2226" fmla="*/ 429 w 10785"/>
                <a:gd name="connsiteY2226" fmla="*/ 4530 h 10000"/>
                <a:gd name="connsiteX2227" fmla="*/ 433 w 10785"/>
                <a:gd name="connsiteY2227" fmla="*/ 4521 h 10000"/>
                <a:gd name="connsiteX2228" fmla="*/ 442 w 10785"/>
                <a:gd name="connsiteY2228" fmla="*/ 4530 h 10000"/>
                <a:gd name="connsiteX2229" fmla="*/ 447 w 10785"/>
                <a:gd name="connsiteY2229" fmla="*/ 4521 h 10000"/>
                <a:gd name="connsiteX2230" fmla="*/ 452 w 10785"/>
                <a:gd name="connsiteY2230" fmla="*/ 4521 h 10000"/>
                <a:gd name="connsiteX2231" fmla="*/ 461 w 10785"/>
                <a:gd name="connsiteY2231" fmla="*/ 4573 h 10000"/>
                <a:gd name="connsiteX2232" fmla="*/ 479 w 10785"/>
                <a:gd name="connsiteY2232" fmla="*/ 4556 h 10000"/>
                <a:gd name="connsiteX2233" fmla="*/ 502 w 10785"/>
                <a:gd name="connsiteY2233" fmla="*/ 4573 h 10000"/>
                <a:gd name="connsiteX2234" fmla="*/ 507 w 10785"/>
                <a:gd name="connsiteY2234" fmla="*/ 4598 h 10000"/>
                <a:gd name="connsiteX2235" fmla="*/ 525 w 10785"/>
                <a:gd name="connsiteY2235" fmla="*/ 4598 h 10000"/>
                <a:gd name="connsiteX2236" fmla="*/ 535 w 10785"/>
                <a:gd name="connsiteY2236" fmla="*/ 4624 h 10000"/>
                <a:gd name="connsiteX2237" fmla="*/ 594 w 10785"/>
                <a:gd name="connsiteY2237" fmla="*/ 4658 h 10000"/>
                <a:gd name="connsiteX2238" fmla="*/ 627 w 10785"/>
                <a:gd name="connsiteY2238" fmla="*/ 4658 h 10000"/>
                <a:gd name="connsiteX2239" fmla="*/ 654 w 10785"/>
                <a:gd name="connsiteY2239" fmla="*/ 4684 h 10000"/>
                <a:gd name="connsiteX2240" fmla="*/ 668 w 10785"/>
                <a:gd name="connsiteY2240" fmla="*/ 4709 h 10000"/>
                <a:gd name="connsiteX2241" fmla="*/ 747 w 10785"/>
                <a:gd name="connsiteY2241" fmla="*/ 4718 h 10000"/>
                <a:gd name="connsiteX2242" fmla="*/ 760 w 10785"/>
                <a:gd name="connsiteY2242" fmla="*/ 4709 h 10000"/>
                <a:gd name="connsiteX2243" fmla="*/ 774 w 10785"/>
                <a:gd name="connsiteY2243" fmla="*/ 4692 h 10000"/>
                <a:gd name="connsiteX2244" fmla="*/ 829 w 10785"/>
                <a:gd name="connsiteY2244" fmla="*/ 4658 h 10000"/>
                <a:gd name="connsiteX2245" fmla="*/ 903 w 10785"/>
                <a:gd name="connsiteY2245" fmla="*/ 4496 h 10000"/>
                <a:gd name="connsiteX2246" fmla="*/ 917 w 10785"/>
                <a:gd name="connsiteY2246" fmla="*/ 4385 h 10000"/>
                <a:gd name="connsiteX2247" fmla="*/ 903 w 10785"/>
                <a:gd name="connsiteY2247" fmla="*/ 4376 h 10000"/>
                <a:gd name="connsiteX2248" fmla="*/ 903 w 10785"/>
                <a:gd name="connsiteY2248" fmla="*/ 4376 h 10000"/>
                <a:gd name="connsiteX2249" fmla="*/ 889 w 10785"/>
                <a:gd name="connsiteY2249" fmla="*/ 4239 h 10000"/>
                <a:gd name="connsiteX2250" fmla="*/ 880 w 10785"/>
                <a:gd name="connsiteY2250" fmla="*/ 4214 h 10000"/>
                <a:gd name="connsiteX2251" fmla="*/ 862 w 10785"/>
                <a:gd name="connsiteY2251" fmla="*/ 4188 h 10000"/>
                <a:gd name="connsiteX2252" fmla="*/ 857 w 10785"/>
                <a:gd name="connsiteY2252" fmla="*/ 4197 h 10000"/>
                <a:gd name="connsiteX2253" fmla="*/ 848 w 10785"/>
                <a:gd name="connsiteY2253" fmla="*/ 4188 h 10000"/>
                <a:gd name="connsiteX2254" fmla="*/ 848 w 10785"/>
                <a:gd name="connsiteY2254" fmla="*/ 4162 h 10000"/>
                <a:gd name="connsiteX2255" fmla="*/ 829 w 10785"/>
                <a:gd name="connsiteY2255" fmla="*/ 4120 h 10000"/>
                <a:gd name="connsiteX2256" fmla="*/ 820 w 10785"/>
                <a:gd name="connsiteY2256" fmla="*/ 4103 h 10000"/>
                <a:gd name="connsiteX2257" fmla="*/ 806 w 10785"/>
                <a:gd name="connsiteY2257" fmla="*/ 4077 h 10000"/>
                <a:gd name="connsiteX2258" fmla="*/ 816 w 10785"/>
                <a:gd name="connsiteY2258" fmla="*/ 4111 h 10000"/>
                <a:gd name="connsiteX2259" fmla="*/ 802 w 10785"/>
                <a:gd name="connsiteY2259" fmla="*/ 4111 h 10000"/>
                <a:gd name="connsiteX2260" fmla="*/ 770 w 10785"/>
                <a:gd name="connsiteY2260" fmla="*/ 4060 h 10000"/>
                <a:gd name="connsiteX2261" fmla="*/ 760 w 10785"/>
                <a:gd name="connsiteY2261" fmla="*/ 4077 h 10000"/>
                <a:gd name="connsiteX2262" fmla="*/ 760 w 10785"/>
                <a:gd name="connsiteY2262" fmla="*/ 4060 h 10000"/>
                <a:gd name="connsiteX2263" fmla="*/ 756 w 10785"/>
                <a:gd name="connsiteY2263" fmla="*/ 4034 h 10000"/>
                <a:gd name="connsiteX2264" fmla="*/ 742 w 10785"/>
                <a:gd name="connsiteY2264" fmla="*/ 4000 h 10000"/>
                <a:gd name="connsiteX2265" fmla="*/ 747 w 10785"/>
                <a:gd name="connsiteY2265" fmla="*/ 4034 h 10000"/>
                <a:gd name="connsiteX2266" fmla="*/ 724 w 10785"/>
                <a:gd name="connsiteY2266" fmla="*/ 4026 h 10000"/>
                <a:gd name="connsiteX2267" fmla="*/ 714 w 10785"/>
                <a:gd name="connsiteY2267" fmla="*/ 4000 h 10000"/>
                <a:gd name="connsiteX2268" fmla="*/ 714 w 10785"/>
                <a:gd name="connsiteY2268" fmla="*/ 3983 h 10000"/>
                <a:gd name="connsiteX2269" fmla="*/ 553 w 10785"/>
                <a:gd name="connsiteY2269" fmla="*/ 3726 h 10000"/>
                <a:gd name="connsiteX2270" fmla="*/ 507 w 10785"/>
                <a:gd name="connsiteY2270" fmla="*/ 3718 h 10000"/>
                <a:gd name="connsiteX2271" fmla="*/ 516 w 10785"/>
                <a:gd name="connsiteY2271" fmla="*/ 3726 h 10000"/>
                <a:gd name="connsiteX2272" fmla="*/ 507 w 10785"/>
                <a:gd name="connsiteY2272" fmla="*/ 3735 h 10000"/>
                <a:gd name="connsiteX2273" fmla="*/ 502 w 10785"/>
                <a:gd name="connsiteY2273" fmla="*/ 3735 h 10000"/>
                <a:gd name="connsiteX2274" fmla="*/ 419 w 10785"/>
                <a:gd name="connsiteY2274" fmla="*/ 3675 h 10000"/>
                <a:gd name="connsiteX2275" fmla="*/ 419 w 10785"/>
                <a:gd name="connsiteY2275" fmla="*/ 3692 h 10000"/>
                <a:gd name="connsiteX2276" fmla="*/ 401 w 10785"/>
                <a:gd name="connsiteY2276" fmla="*/ 3701 h 10000"/>
                <a:gd name="connsiteX2277" fmla="*/ 387 w 10785"/>
                <a:gd name="connsiteY2277" fmla="*/ 3718 h 10000"/>
                <a:gd name="connsiteX2278" fmla="*/ 387 w 10785"/>
                <a:gd name="connsiteY2278" fmla="*/ 3692 h 10000"/>
                <a:gd name="connsiteX2279" fmla="*/ 378 w 10785"/>
                <a:gd name="connsiteY2279" fmla="*/ 3675 h 10000"/>
                <a:gd name="connsiteX2280" fmla="*/ 378 w 10785"/>
                <a:gd name="connsiteY2280" fmla="*/ 3650 h 10000"/>
                <a:gd name="connsiteX2281" fmla="*/ 378 w 10785"/>
                <a:gd name="connsiteY2281" fmla="*/ 3650 h 10000"/>
                <a:gd name="connsiteX2282" fmla="*/ 355 w 10785"/>
                <a:gd name="connsiteY2282" fmla="*/ 3675 h 10000"/>
                <a:gd name="connsiteX2283" fmla="*/ 359 w 10785"/>
                <a:gd name="connsiteY2283" fmla="*/ 3641 h 10000"/>
                <a:gd name="connsiteX2284" fmla="*/ 346 w 10785"/>
                <a:gd name="connsiteY2284" fmla="*/ 3650 h 10000"/>
                <a:gd name="connsiteX2285" fmla="*/ 355 w 10785"/>
                <a:gd name="connsiteY2285" fmla="*/ 3624 h 10000"/>
                <a:gd name="connsiteX2286" fmla="*/ 346 w 10785"/>
                <a:gd name="connsiteY2286" fmla="*/ 3624 h 10000"/>
                <a:gd name="connsiteX2287" fmla="*/ 341 w 10785"/>
                <a:gd name="connsiteY2287" fmla="*/ 3624 h 10000"/>
                <a:gd name="connsiteX2288" fmla="*/ 318 w 10785"/>
                <a:gd name="connsiteY2288" fmla="*/ 3641 h 10000"/>
                <a:gd name="connsiteX2289" fmla="*/ 327 w 10785"/>
                <a:gd name="connsiteY2289" fmla="*/ 3624 h 10000"/>
                <a:gd name="connsiteX2290" fmla="*/ 318 w 10785"/>
                <a:gd name="connsiteY2290" fmla="*/ 3615 h 10000"/>
                <a:gd name="connsiteX2291" fmla="*/ 318 w 10785"/>
                <a:gd name="connsiteY2291" fmla="*/ 3598 h 10000"/>
                <a:gd name="connsiteX2292" fmla="*/ 300 w 10785"/>
                <a:gd name="connsiteY2292" fmla="*/ 3598 h 10000"/>
                <a:gd name="connsiteX2293" fmla="*/ 309 w 10785"/>
                <a:gd name="connsiteY2293" fmla="*/ 3538 h 10000"/>
                <a:gd name="connsiteX2294" fmla="*/ 313 w 10785"/>
                <a:gd name="connsiteY2294" fmla="*/ 3564 h 10000"/>
                <a:gd name="connsiteX2295" fmla="*/ 318 w 10785"/>
                <a:gd name="connsiteY2295" fmla="*/ 3581 h 10000"/>
                <a:gd name="connsiteX2296" fmla="*/ 327 w 10785"/>
                <a:gd name="connsiteY2296" fmla="*/ 3564 h 10000"/>
                <a:gd name="connsiteX2297" fmla="*/ 332 w 10785"/>
                <a:gd name="connsiteY2297" fmla="*/ 3590 h 10000"/>
                <a:gd name="connsiteX2298" fmla="*/ 346 w 10785"/>
                <a:gd name="connsiteY2298" fmla="*/ 3590 h 10000"/>
                <a:gd name="connsiteX2299" fmla="*/ 355 w 10785"/>
                <a:gd name="connsiteY2299" fmla="*/ 3590 h 10000"/>
                <a:gd name="connsiteX2300" fmla="*/ 369 w 10785"/>
                <a:gd name="connsiteY2300" fmla="*/ 3556 h 10000"/>
                <a:gd name="connsiteX2301" fmla="*/ 369 w 10785"/>
                <a:gd name="connsiteY2301" fmla="*/ 3538 h 10000"/>
                <a:gd name="connsiteX2302" fmla="*/ 346 w 10785"/>
                <a:gd name="connsiteY2302" fmla="*/ 3513 h 10000"/>
                <a:gd name="connsiteX2303" fmla="*/ 341 w 10785"/>
                <a:gd name="connsiteY2303" fmla="*/ 3530 h 10000"/>
                <a:gd name="connsiteX2304" fmla="*/ 327 w 10785"/>
                <a:gd name="connsiteY2304" fmla="*/ 3513 h 10000"/>
                <a:gd name="connsiteX2305" fmla="*/ 327 w 10785"/>
                <a:gd name="connsiteY2305" fmla="*/ 3504 h 10000"/>
                <a:gd name="connsiteX2306" fmla="*/ 295 w 10785"/>
                <a:gd name="connsiteY2306" fmla="*/ 3462 h 10000"/>
                <a:gd name="connsiteX2307" fmla="*/ 300 w 10785"/>
                <a:gd name="connsiteY2307" fmla="*/ 3479 h 10000"/>
                <a:gd name="connsiteX2308" fmla="*/ 295 w 10785"/>
                <a:gd name="connsiteY2308" fmla="*/ 3513 h 10000"/>
                <a:gd name="connsiteX2309" fmla="*/ 286 w 10785"/>
                <a:gd name="connsiteY2309" fmla="*/ 3513 h 10000"/>
                <a:gd name="connsiteX2310" fmla="*/ 281 w 10785"/>
                <a:gd name="connsiteY2310" fmla="*/ 3513 h 10000"/>
                <a:gd name="connsiteX2311" fmla="*/ 281 w 10785"/>
                <a:gd name="connsiteY2311" fmla="*/ 3530 h 10000"/>
                <a:gd name="connsiteX2312" fmla="*/ 281 w 10785"/>
                <a:gd name="connsiteY2312" fmla="*/ 3556 h 10000"/>
                <a:gd name="connsiteX2313" fmla="*/ 272 w 10785"/>
                <a:gd name="connsiteY2313" fmla="*/ 3564 h 10000"/>
                <a:gd name="connsiteX2314" fmla="*/ 267 w 10785"/>
                <a:gd name="connsiteY2314" fmla="*/ 3564 h 10000"/>
                <a:gd name="connsiteX2315" fmla="*/ 253 w 10785"/>
                <a:gd name="connsiteY2315" fmla="*/ 3538 h 10000"/>
                <a:gd name="connsiteX2316" fmla="*/ 226 w 10785"/>
                <a:gd name="connsiteY2316" fmla="*/ 3513 h 10000"/>
                <a:gd name="connsiteX2317" fmla="*/ 226 w 10785"/>
                <a:gd name="connsiteY2317" fmla="*/ 3530 h 10000"/>
                <a:gd name="connsiteX2318" fmla="*/ 226 w 10785"/>
                <a:gd name="connsiteY2318" fmla="*/ 3530 h 10000"/>
                <a:gd name="connsiteX2319" fmla="*/ 226 w 10785"/>
                <a:gd name="connsiteY2319" fmla="*/ 3530 h 10000"/>
                <a:gd name="connsiteX2320" fmla="*/ 226 w 10785"/>
                <a:gd name="connsiteY2320" fmla="*/ 3556 h 10000"/>
                <a:gd name="connsiteX2321" fmla="*/ 221 w 10785"/>
                <a:gd name="connsiteY2321" fmla="*/ 3598 h 10000"/>
                <a:gd name="connsiteX2322" fmla="*/ 207 w 10785"/>
                <a:gd name="connsiteY2322" fmla="*/ 3598 h 10000"/>
                <a:gd name="connsiteX2323" fmla="*/ 180 w 10785"/>
                <a:gd name="connsiteY2323" fmla="*/ 3581 h 10000"/>
                <a:gd name="connsiteX2324" fmla="*/ 171 w 10785"/>
                <a:gd name="connsiteY2324" fmla="*/ 3641 h 10000"/>
                <a:gd name="connsiteX2325" fmla="*/ 166 w 10785"/>
                <a:gd name="connsiteY2325" fmla="*/ 3650 h 10000"/>
                <a:gd name="connsiteX2326" fmla="*/ 124 w 10785"/>
                <a:gd name="connsiteY2326" fmla="*/ 3701 h 10000"/>
                <a:gd name="connsiteX2327" fmla="*/ 124 w 10785"/>
                <a:gd name="connsiteY2327" fmla="*/ 3718 h 10000"/>
                <a:gd name="connsiteX2328" fmla="*/ 120 w 10785"/>
                <a:gd name="connsiteY2328" fmla="*/ 3735 h 10000"/>
                <a:gd name="connsiteX2329" fmla="*/ 120 w 10785"/>
                <a:gd name="connsiteY2329" fmla="*/ 3735 h 10000"/>
                <a:gd name="connsiteX2330" fmla="*/ 111 w 10785"/>
                <a:gd name="connsiteY2330" fmla="*/ 3761 h 10000"/>
                <a:gd name="connsiteX2331" fmla="*/ 106 w 10785"/>
                <a:gd name="connsiteY2331" fmla="*/ 3761 h 10000"/>
                <a:gd name="connsiteX2332" fmla="*/ 106 w 10785"/>
                <a:gd name="connsiteY2332" fmla="*/ 3761 h 10000"/>
                <a:gd name="connsiteX2333" fmla="*/ 74 w 10785"/>
                <a:gd name="connsiteY2333" fmla="*/ 3829 h 10000"/>
                <a:gd name="connsiteX2334" fmla="*/ 78 w 10785"/>
                <a:gd name="connsiteY2334" fmla="*/ 3838 h 10000"/>
                <a:gd name="connsiteX2335" fmla="*/ 88 w 10785"/>
                <a:gd name="connsiteY2335" fmla="*/ 3846 h 10000"/>
                <a:gd name="connsiteX2336" fmla="*/ 65 w 10785"/>
                <a:gd name="connsiteY2336" fmla="*/ 3923 h 10000"/>
                <a:gd name="connsiteX2337" fmla="*/ 78 w 10785"/>
                <a:gd name="connsiteY2337" fmla="*/ 4026 h 10000"/>
                <a:gd name="connsiteX2338" fmla="*/ 88 w 10785"/>
                <a:gd name="connsiteY2338" fmla="*/ 4051 h 10000"/>
                <a:gd name="connsiteX2339" fmla="*/ 92 w 10785"/>
                <a:gd name="connsiteY2339" fmla="*/ 4060 h 10000"/>
                <a:gd name="connsiteX2340" fmla="*/ 111 w 10785"/>
                <a:gd name="connsiteY2340" fmla="*/ 4060 h 10000"/>
                <a:gd name="connsiteX2341" fmla="*/ 124 w 10785"/>
                <a:gd name="connsiteY2341" fmla="*/ 4085 h 10000"/>
                <a:gd name="connsiteX2342" fmla="*/ 166 w 10785"/>
                <a:gd name="connsiteY2342" fmla="*/ 4197 h 10000"/>
                <a:gd name="connsiteX2343" fmla="*/ 166 w 10785"/>
                <a:gd name="connsiteY2343" fmla="*/ 4248 h 10000"/>
                <a:gd name="connsiteX2344" fmla="*/ 120 w 10785"/>
                <a:gd name="connsiteY2344" fmla="*/ 4462 h 10000"/>
                <a:gd name="connsiteX2345" fmla="*/ 120 w 10785"/>
                <a:gd name="connsiteY2345" fmla="*/ 4513 h 10000"/>
                <a:gd name="connsiteX2346" fmla="*/ 180 w 10785"/>
                <a:gd name="connsiteY2346" fmla="*/ 4829 h 10000"/>
                <a:gd name="connsiteX2347" fmla="*/ 161 w 10785"/>
                <a:gd name="connsiteY2347" fmla="*/ 4855 h 10000"/>
                <a:gd name="connsiteX2348" fmla="*/ 152 w 10785"/>
                <a:gd name="connsiteY2348" fmla="*/ 4940 h 10000"/>
                <a:gd name="connsiteX2349" fmla="*/ 161 w 10785"/>
                <a:gd name="connsiteY2349" fmla="*/ 4966 h 10000"/>
                <a:gd name="connsiteX2350" fmla="*/ 161 w 10785"/>
                <a:gd name="connsiteY2350" fmla="*/ 5009 h 10000"/>
                <a:gd name="connsiteX2351" fmla="*/ 152 w 10785"/>
                <a:gd name="connsiteY2351" fmla="*/ 5034 h 10000"/>
                <a:gd name="connsiteX2352" fmla="*/ 152 w 10785"/>
                <a:gd name="connsiteY2352" fmla="*/ 5077 h 10000"/>
                <a:gd name="connsiteX2353" fmla="*/ 171 w 10785"/>
                <a:gd name="connsiteY2353" fmla="*/ 5094 h 10000"/>
                <a:gd name="connsiteX2354" fmla="*/ 180 w 10785"/>
                <a:gd name="connsiteY2354" fmla="*/ 5128 h 10000"/>
                <a:gd name="connsiteX2355" fmla="*/ 180 w 10785"/>
                <a:gd name="connsiteY2355" fmla="*/ 5171 h 10000"/>
                <a:gd name="connsiteX2356" fmla="*/ 184 w 10785"/>
                <a:gd name="connsiteY2356" fmla="*/ 5205 h 10000"/>
                <a:gd name="connsiteX2357" fmla="*/ 207 w 10785"/>
                <a:gd name="connsiteY2357" fmla="*/ 5239 h 10000"/>
                <a:gd name="connsiteX2358" fmla="*/ 207 w 10785"/>
                <a:gd name="connsiteY2358" fmla="*/ 5282 h 10000"/>
                <a:gd name="connsiteX2359" fmla="*/ 180 w 10785"/>
                <a:gd name="connsiteY2359" fmla="*/ 5393 h 10000"/>
                <a:gd name="connsiteX2360" fmla="*/ 194 w 10785"/>
                <a:gd name="connsiteY2360" fmla="*/ 5427 h 10000"/>
                <a:gd name="connsiteX2361" fmla="*/ 198 w 10785"/>
                <a:gd name="connsiteY2361" fmla="*/ 5462 h 10000"/>
                <a:gd name="connsiteX2362" fmla="*/ 235 w 10785"/>
                <a:gd name="connsiteY2362" fmla="*/ 5513 h 10000"/>
                <a:gd name="connsiteX2363" fmla="*/ 240 w 10785"/>
                <a:gd name="connsiteY2363" fmla="*/ 5556 h 10000"/>
                <a:gd name="connsiteX2364" fmla="*/ 253 w 10785"/>
                <a:gd name="connsiteY2364" fmla="*/ 5590 h 10000"/>
                <a:gd name="connsiteX2365" fmla="*/ 258 w 10785"/>
                <a:gd name="connsiteY2365" fmla="*/ 5573 h 10000"/>
                <a:gd name="connsiteX2366" fmla="*/ 258 w 10785"/>
                <a:gd name="connsiteY2366" fmla="*/ 5667 h 10000"/>
                <a:gd name="connsiteX2367" fmla="*/ 14 w 10785"/>
                <a:gd name="connsiteY2367" fmla="*/ 6214 h 10000"/>
                <a:gd name="connsiteX2368" fmla="*/ 14 w 10785"/>
                <a:gd name="connsiteY2368" fmla="*/ 6214 h 10000"/>
                <a:gd name="connsiteX2369" fmla="*/ 37 w 10785"/>
                <a:gd name="connsiteY2369" fmla="*/ 6214 h 10000"/>
                <a:gd name="connsiteX2370" fmla="*/ 51 w 10785"/>
                <a:gd name="connsiteY2370" fmla="*/ 6188 h 10000"/>
                <a:gd name="connsiteX2371" fmla="*/ 78 w 10785"/>
                <a:gd name="connsiteY2371" fmla="*/ 6162 h 10000"/>
                <a:gd name="connsiteX2372" fmla="*/ 78 w 10785"/>
                <a:gd name="connsiteY2372" fmla="*/ 6188 h 10000"/>
                <a:gd name="connsiteX2373" fmla="*/ 74 w 10785"/>
                <a:gd name="connsiteY2373" fmla="*/ 6197 h 10000"/>
                <a:gd name="connsiteX2374" fmla="*/ 74 w 10785"/>
                <a:gd name="connsiteY2374" fmla="*/ 6231 h 10000"/>
                <a:gd name="connsiteX2375" fmla="*/ 74 w 10785"/>
                <a:gd name="connsiteY2375" fmla="*/ 6214 h 10000"/>
                <a:gd name="connsiteX2376" fmla="*/ 65 w 10785"/>
                <a:gd name="connsiteY2376" fmla="*/ 6214 h 10000"/>
                <a:gd name="connsiteX2377" fmla="*/ 65 w 10785"/>
                <a:gd name="connsiteY2377" fmla="*/ 6248 h 10000"/>
                <a:gd name="connsiteX2378" fmla="*/ 74 w 10785"/>
                <a:gd name="connsiteY2378" fmla="*/ 6256 h 10000"/>
                <a:gd name="connsiteX2379" fmla="*/ 78 w 10785"/>
                <a:gd name="connsiteY2379" fmla="*/ 6256 h 10000"/>
                <a:gd name="connsiteX2380" fmla="*/ 106 w 10785"/>
                <a:gd name="connsiteY2380" fmla="*/ 6308 h 10000"/>
                <a:gd name="connsiteX2381" fmla="*/ 138 w 10785"/>
                <a:gd name="connsiteY2381" fmla="*/ 6299 h 10000"/>
                <a:gd name="connsiteX2382" fmla="*/ 152 w 10785"/>
                <a:gd name="connsiteY2382" fmla="*/ 6299 h 10000"/>
                <a:gd name="connsiteX2383" fmla="*/ 166 w 10785"/>
                <a:gd name="connsiteY2383" fmla="*/ 6325 h 10000"/>
                <a:gd name="connsiteX2384" fmla="*/ 166 w 10785"/>
                <a:gd name="connsiteY2384" fmla="*/ 6333 h 10000"/>
                <a:gd name="connsiteX2385" fmla="*/ 171 w 10785"/>
                <a:gd name="connsiteY2385" fmla="*/ 6350 h 10000"/>
                <a:gd name="connsiteX2386" fmla="*/ 180 w 10785"/>
                <a:gd name="connsiteY2386" fmla="*/ 6350 h 10000"/>
                <a:gd name="connsiteX2387" fmla="*/ 180 w 10785"/>
                <a:gd name="connsiteY2387" fmla="*/ 6359 h 10000"/>
                <a:gd name="connsiteX2388" fmla="*/ 171 w 10785"/>
                <a:gd name="connsiteY2388" fmla="*/ 6368 h 10000"/>
                <a:gd name="connsiteX2389" fmla="*/ 106 w 10785"/>
                <a:gd name="connsiteY2389" fmla="*/ 6350 h 10000"/>
                <a:gd name="connsiteX2390" fmla="*/ 101 w 10785"/>
                <a:gd name="connsiteY2390" fmla="*/ 6359 h 10000"/>
                <a:gd name="connsiteX2391" fmla="*/ 101 w 10785"/>
                <a:gd name="connsiteY2391" fmla="*/ 6385 h 10000"/>
                <a:gd name="connsiteX2392" fmla="*/ 78 w 10785"/>
                <a:gd name="connsiteY2392" fmla="*/ 6393 h 10000"/>
                <a:gd name="connsiteX2393" fmla="*/ 74 w 10785"/>
                <a:gd name="connsiteY2393" fmla="*/ 6385 h 10000"/>
                <a:gd name="connsiteX2394" fmla="*/ 65 w 10785"/>
                <a:gd name="connsiteY2394" fmla="*/ 6393 h 10000"/>
                <a:gd name="connsiteX2395" fmla="*/ 60 w 10785"/>
                <a:gd name="connsiteY2395" fmla="*/ 6419 h 10000"/>
                <a:gd name="connsiteX2396" fmla="*/ 51 w 10785"/>
                <a:gd name="connsiteY2396" fmla="*/ 6419 h 10000"/>
                <a:gd name="connsiteX2397" fmla="*/ 46 w 10785"/>
                <a:gd name="connsiteY2397" fmla="*/ 6410 h 10000"/>
                <a:gd name="connsiteX2398" fmla="*/ 37 w 10785"/>
                <a:gd name="connsiteY2398" fmla="*/ 6393 h 10000"/>
                <a:gd name="connsiteX2399" fmla="*/ 32 w 10785"/>
                <a:gd name="connsiteY2399" fmla="*/ 6419 h 10000"/>
                <a:gd name="connsiteX2400" fmla="*/ 37 w 10785"/>
                <a:gd name="connsiteY2400" fmla="*/ 6462 h 10000"/>
                <a:gd name="connsiteX2401" fmla="*/ 46 w 10785"/>
                <a:gd name="connsiteY2401" fmla="*/ 6462 h 10000"/>
                <a:gd name="connsiteX2402" fmla="*/ 51 w 10785"/>
                <a:gd name="connsiteY2402" fmla="*/ 6470 h 10000"/>
                <a:gd name="connsiteX2403" fmla="*/ 51 w 10785"/>
                <a:gd name="connsiteY2403" fmla="*/ 6496 h 10000"/>
                <a:gd name="connsiteX2404" fmla="*/ 51 w 10785"/>
                <a:gd name="connsiteY2404" fmla="*/ 6504 h 10000"/>
                <a:gd name="connsiteX2405" fmla="*/ 37 w 10785"/>
                <a:gd name="connsiteY2405" fmla="*/ 6530 h 10000"/>
                <a:gd name="connsiteX2406" fmla="*/ 18 w 10785"/>
                <a:gd name="connsiteY2406" fmla="*/ 6598 h 10000"/>
                <a:gd name="connsiteX2407" fmla="*/ 28 w 10785"/>
                <a:gd name="connsiteY2407" fmla="*/ 6632 h 10000"/>
                <a:gd name="connsiteX2408" fmla="*/ 18 w 10785"/>
                <a:gd name="connsiteY2408" fmla="*/ 6667 h 10000"/>
                <a:gd name="connsiteX2409" fmla="*/ 28 w 10785"/>
                <a:gd name="connsiteY2409" fmla="*/ 6692 h 10000"/>
                <a:gd name="connsiteX2410" fmla="*/ 28 w 10785"/>
                <a:gd name="connsiteY2410" fmla="*/ 6709 h 10000"/>
                <a:gd name="connsiteX2411" fmla="*/ 18 w 10785"/>
                <a:gd name="connsiteY2411" fmla="*/ 6718 h 10000"/>
                <a:gd name="connsiteX2412" fmla="*/ 5 w 10785"/>
                <a:gd name="connsiteY2412" fmla="*/ 6744 h 10000"/>
                <a:gd name="connsiteX2413" fmla="*/ 0 w 10785"/>
                <a:gd name="connsiteY2413" fmla="*/ 6769 h 10000"/>
                <a:gd name="connsiteX2414" fmla="*/ 5 w 10785"/>
                <a:gd name="connsiteY2414" fmla="*/ 6778 h 10000"/>
                <a:gd name="connsiteX2415" fmla="*/ 32 w 10785"/>
                <a:gd name="connsiteY2415" fmla="*/ 6778 h 10000"/>
                <a:gd name="connsiteX2416" fmla="*/ 46 w 10785"/>
                <a:gd name="connsiteY2416" fmla="*/ 6821 h 10000"/>
                <a:gd name="connsiteX2417" fmla="*/ 46 w 10785"/>
                <a:gd name="connsiteY2417" fmla="*/ 6855 h 10000"/>
                <a:gd name="connsiteX2418" fmla="*/ 32 w 10785"/>
                <a:gd name="connsiteY2418" fmla="*/ 6855 h 10000"/>
                <a:gd name="connsiteX2419" fmla="*/ 14 w 10785"/>
                <a:gd name="connsiteY2419" fmla="*/ 6821 h 10000"/>
                <a:gd name="connsiteX2420" fmla="*/ 14 w 10785"/>
                <a:gd name="connsiteY2420" fmla="*/ 6846 h 10000"/>
                <a:gd name="connsiteX2421" fmla="*/ 0 w 10785"/>
                <a:gd name="connsiteY2421" fmla="*/ 6897 h 10000"/>
                <a:gd name="connsiteX2422" fmla="*/ 0 w 10785"/>
                <a:gd name="connsiteY2422" fmla="*/ 6915 h 10000"/>
                <a:gd name="connsiteX2423" fmla="*/ 5 w 10785"/>
                <a:gd name="connsiteY2423" fmla="*/ 6932 h 10000"/>
                <a:gd name="connsiteX2424" fmla="*/ 14 w 10785"/>
                <a:gd name="connsiteY2424" fmla="*/ 6940 h 10000"/>
                <a:gd name="connsiteX2425" fmla="*/ 18 w 10785"/>
                <a:gd name="connsiteY2425" fmla="*/ 6957 h 10000"/>
                <a:gd name="connsiteX2426" fmla="*/ 28 w 10785"/>
                <a:gd name="connsiteY2426" fmla="*/ 6966 h 10000"/>
                <a:gd name="connsiteX2427" fmla="*/ 28 w 10785"/>
                <a:gd name="connsiteY2427" fmla="*/ 6983 h 10000"/>
                <a:gd name="connsiteX2428" fmla="*/ 18 w 10785"/>
                <a:gd name="connsiteY2428" fmla="*/ 7051 h 10000"/>
                <a:gd name="connsiteX2429" fmla="*/ 28 w 10785"/>
                <a:gd name="connsiteY2429" fmla="*/ 7068 h 10000"/>
                <a:gd name="connsiteX2430" fmla="*/ 32 w 10785"/>
                <a:gd name="connsiteY2430" fmla="*/ 7068 h 10000"/>
                <a:gd name="connsiteX2431" fmla="*/ 32 w 10785"/>
                <a:gd name="connsiteY2431" fmla="*/ 7094 h 10000"/>
                <a:gd name="connsiteX2432" fmla="*/ 60 w 10785"/>
                <a:gd name="connsiteY2432" fmla="*/ 7162 h 10000"/>
                <a:gd name="connsiteX2433" fmla="*/ 60 w 10785"/>
                <a:gd name="connsiteY2433" fmla="*/ 7231 h 10000"/>
                <a:gd name="connsiteX2434" fmla="*/ 60 w 10785"/>
                <a:gd name="connsiteY2434" fmla="*/ 7239 h 10000"/>
                <a:gd name="connsiteX2435" fmla="*/ 78 w 10785"/>
                <a:gd name="connsiteY2435" fmla="*/ 7239 h 10000"/>
                <a:gd name="connsiteX2436" fmla="*/ 88 w 10785"/>
                <a:gd name="connsiteY2436" fmla="*/ 7239 h 10000"/>
                <a:gd name="connsiteX2437" fmla="*/ 92 w 10785"/>
                <a:gd name="connsiteY2437" fmla="*/ 7256 h 10000"/>
                <a:gd name="connsiteX2438" fmla="*/ 111 w 10785"/>
                <a:gd name="connsiteY2438" fmla="*/ 7256 h 10000"/>
                <a:gd name="connsiteX2439" fmla="*/ 120 w 10785"/>
                <a:gd name="connsiteY2439" fmla="*/ 7256 h 10000"/>
                <a:gd name="connsiteX2440" fmla="*/ 134 w 10785"/>
                <a:gd name="connsiteY2440" fmla="*/ 7282 h 10000"/>
                <a:gd name="connsiteX2441" fmla="*/ 134 w 10785"/>
                <a:gd name="connsiteY2441" fmla="*/ 7316 h 10000"/>
                <a:gd name="connsiteX2442" fmla="*/ 152 w 10785"/>
                <a:gd name="connsiteY2442" fmla="*/ 7299 h 10000"/>
                <a:gd name="connsiteX2443" fmla="*/ 161 w 10785"/>
                <a:gd name="connsiteY2443" fmla="*/ 7299 h 10000"/>
                <a:gd name="connsiteX2444" fmla="*/ 166 w 10785"/>
                <a:gd name="connsiteY2444" fmla="*/ 7291 h 10000"/>
                <a:gd name="connsiteX2445" fmla="*/ 194 w 10785"/>
                <a:gd name="connsiteY2445" fmla="*/ 7291 h 10000"/>
                <a:gd name="connsiteX2446" fmla="*/ 207 w 10785"/>
                <a:gd name="connsiteY2446" fmla="*/ 7299 h 10000"/>
                <a:gd name="connsiteX2447" fmla="*/ 221 w 10785"/>
                <a:gd name="connsiteY2447" fmla="*/ 7342 h 10000"/>
                <a:gd name="connsiteX2448" fmla="*/ 235 w 10785"/>
                <a:gd name="connsiteY2448" fmla="*/ 7342 h 10000"/>
                <a:gd name="connsiteX2449" fmla="*/ 235 w 10785"/>
                <a:gd name="connsiteY2449" fmla="*/ 7368 h 10000"/>
                <a:gd name="connsiteX2450" fmla="*/ 226 w 10785"/>
                <a:gd name="connsiteY2450" fmla="*/ 7393 h 10000"/>
                <a:gd name="connsiteX2451" fmla="*/ 226 w 10785"/>
                <a:gd name="connsiteY2451" fmla="*/ 7402 h 10000"/>
                <a:gd name="connsiteX2452" fmla="*/ 235 w 10785"/>
                <a:gd name="connsiteY2452" fmla="*/ 7419 h 10000"/>
                <a:gd name="connsiteX2453" fmla="*/ 240 w 10785"/>
                <a:gd name="connsiteY2453" fmla="*/ 7436 h 10000"/>
                <a:gd name="connsiteX2454" fmla="*/ 235 w 10785"/>
                <a:gd name="connsiteY2454" fmla="*/ 7462 h 10000"/>
                <a:gd name="connsiteX2455" fmla="*/ 226 w 10785"/>
                <a:gd name="connsiteY2455" fmla="*/ 7479 h 10000"/>
                <a:gd name="connsiteX2456" fmla="*/ 226 w 10785"/>
                <a:gd name="connsiteY2456" fmla="*/ 7504 h 10000"/>
                <a:gd name="connsiteX2457" fmla="*/ 226 w 10785"/>
                <a:gd name="connsiteY2457" fmla="*/ 7513 h 10000"/>
                <a:gd name="connsiteX2458" fmla="*/ 240 w 10785"/>
                <a:gd name="connsiteY2458" fmla="*/ 7538 h 10000"/>
                <a:gd name="connsiteX2459" fmla="*/ 267 w 10785"/>
                <a:gd name="connsiteY2459" fmla="*/ 7641 h 10000"/>
                <a:gd name="connsiteX2460" fmla="*/ 281 w 10785"/>
                <a:gd name="connsiteY2460" fmla="*/ 7667 h 10000"/>
                <a:gd name="connsiteX2461" fmla="*/ 286 w 10785"/>
                <a:gd name="connsiteY2461" fmla="*/ 7675 h 10000"/>
                <a:gd name="connsiteX2462" fmla="*/ 286 w 10785"/>
                <a:gd name="connsiteY2462" fmla="*/ 7692 h 10000"/>
                <a:gd name="connsiteX2463" fmla="*/ 286 w 10785"/>
                <a:gd name="connsiteY2463" fmla="*/ 7709 h 10000"/>
                <a:gd name="connsiteX2464" fmla="*/ 295 w 10785"/>
                <a:gd name="connsiteY2464" fmla="*/ 7726 h 10000"/>
                <a:gd name="connsiteX2465" fmla="*/ 318 w 10785"/>
                <a:gd name="connsiteY2465" fmla="*/ 7709 h 10000"/>
                <a:gd name="connsiteX2466" fmla="*/ 327 w 10785"/>
                <a:gd name="connsiteY2466" fmla="*/ 7726 h 10000"/>
                <a:gd name="connsiteX2467" fmla="*/ 341 w 10785"/>
                <a:gd name="connsiteY2467" fmla="*/ 7735 h 10000"/>
                <a:gd name="connsiteX2468" fmla="*/ 332 w 10785"/>
                <a:gd name="connsiteY2468" fmla="*/ 7752 h 10000"/>
                <a:gd name="connsiteX2469" fmla="*/ 341 w 10785"/>
                <a:gd name="connsiteY2469" fmla="*/ 7761 h 10000"/>
                <a:gd name="connsiteX2470" fmla="*/ 355 w 10785"/>
                <a:gd name="connsiteY2470" fmla="*/ 7761 h 10000"/>
                <a:gd name="connsiteX2471" fmla="*/ 355 w 10785"/>
                <a:gd name="connsiteY2471" fmla="*/ 7803 h 10000"/>
                <a:gd name="connsiteX2472" fmla="*/ 313 w 10785"/>
                <a:gd name="connsiteY2472" fmla="*/ 7846 h 10000"/>
                <a:gd name="connsiteX2473" fmla="*/ 295 w 10785"/>
                <a:gd name="connsiteY2473" fmla="*/ 7846 h 10000"/>
                <a:gd name="connsiteX2474" fmla="*/ 281 w 10785"/>
                <a:gd name="connsiteY2474" fmla="*/ 7821 h 10000"/>
                <a:gd name="connsiteX2475" fmla="*/ 272 w 10785"/>
                <a:gd name="connsiteY2475" fmla="*/ 7821 h 10000"/>
                <a:gd name="connsiteX2476" fmla="*/ 267 w 10785"/>
                <a:gd name="connsiteY2476" fmla="*/ 7838 h 10000"/>
                <a:gd name="connsiteX2477" fmla="*/ 258 w 10785"/>
                <a:gd name="connsiteY2477" fmla="*/ 7846 h 10000"/>
                <a:gd name="connsiteX2478" fmla="*/ 253 w 10785"/>
                <a:gd name="connsiteY2478" fmla="*/ 7863 h 10000"/>
                <a:gd name="connsiteX2479" fmla="*/ 253 w 10785"/>
                <a:gd name="connsiteY2479" fmla="*/ 7872 h 10000"/>
                <a:gd name="connsiteX2480" fmla="*/ 267 w 10785"/>
                <a:gd name="connsiteY2480" fmla="*/ 7897 h 10000"/>
                <a:gd name="connsiteX2481" fmla="*/ 272 w 10785"/>
                <a:gd name="connsiteY2481" fmla="*/ 7915 h 10000"/>
                <a:gd name="connsiteX2482" fmla="*/ 267 w 10785"/>
                <a:gd name="connsiteY2482" fmla="*/ 7940 h 10000"/>
                <a:gd name="connsiteX2483" fmla="*/ 272 w 10785"/>
                <a:gd name="connsiteY2483" fmla="*/ 7949 h 10000"/>
                <a:gd name="connsiteX2484" fmla="*/ 272 w 10785"/>
                <a:gd name="connsiteY2484" fmla="*/ 7957 h 10000"/>
                <a:gd name="connsiteX2485" fmla="*/ 281 w 10785"/>
                <a:gd name="connsiteY2485" fmla="*/ 7974 h 10000"/>
                <a:gd name="connsiteX2486" fmla="*/ 286 w 10785"/>
                <a:gd name="connsiteY2486" fmla="*/ 7983 h 10000"/>
                <a:gd name="connsiteX2487" fmla="*/ 281 w 10785"/>
                <a:gd name="connsiteY2487" fmla="*/ 8009 h 10000"/>
                <a:gd name="connsiteX2488" fmla="*/ 286 w 10785"/>
                <a:gd name="connsiteY2488" fmla="*/ 8060 h 10000"/>
                <a:gd name="connsiteX2489" fmla="*/ 286 w 10785"/>
                <a:gd name="connsiteY2489" fmla="*/ 8060 h 10000"/>
                <a:gd name="connsiteX2490" fmla="*/ 295 w 10785"/>
                <a:gd name="connsiteY2490" fmla="*/ 8077 h 10000"/>
                <a:gd name="connsiteX2491" fmla="*/ 309 w 10785"/>
                <a:gd name="connsiteY2491" fmla="*/ 8077 h 10000"/>
                <a:gd name="connsiteX2492" fmla="*/ 313 w 10785"/>
                <a:gd name="connsiteY2492" fmla="*/ 8060 h 10000"/>
                <a:gd name="connsiteX2493" fmla="*/ 318 w 10785"/>
                <a:gd name="connsiteY2493" fmla="*/ 8051 h 10000"/>
                <a:gd name="connsiteX2494" fmla="*/ 318 w 10785"/>
                <a:gd name="connsiteY2494" fmla="*/ 8034 h 10000"/>
                <a:gd name="connsiteX2495" fmla="*/ 332 w 10785"/>
                <a:gd name="connsiteY2495" fmla="*/ 8026 h 10000"/>
                <a:gd name="connsiteX2496" fmla="*/ 359 w 10785"/>
                <a:gd name="connsiteY2496" fmla="*/ 8034 h 10000"/>
                <a:gd name="connsiteX2497" fmla="*/ 378 w 10785"/>
                <a:gd name="connsiteY2497" fmla="*/ 8026 h 10000"/>
                <a:gd name="connsiteX2498" fmla="*/ 401 w 10785"/>
                <a:gd name="connsiteY2498" fmla="*/ 8026 h 10000"/>
                <a:gd name="connsiteX2499" fmla="*/ 419 w 10785"/>
                <a:gd name="connsiteY2499" fmla="*/ 8009 h 10000"/>
                <a:gd name="connsiteX2500" fmla="*/ 433 w 10785"/>
                <a:gd name="connsiteY2500" fmla="*/ 8034 h 10000"/>
                <a:gd name="connsiteX2501" fmla="*/ 442 w 10785"/>
                <a:gd name="connsiteY2501" fmla="*/ 8060 h 10000"/>
                <a:gd name="connsiteX2502" fmla="*/ 442 w 10785"/>
                <a:gd name="connsiteY2502" fmla="*/ 8077 h 10000"/>
                <a:gd name="connsiteX2503" fmla="*/ 461 w 10785"/>
                <a:gd name="connsiteY2503" fmla="*/ 8111 h 10000"/>
                <a:gd name="connsiteX2504" fmla="*/ 461 w 10785"/>
                <a:gd name="connsiteY2504" fmla="*/ 8137 h 10000"/>
                <a:gd name="connsiteX2505" fmla="*/ 447 w 10785"/>
                <a:gd name="connsiteY2505" fmla="*/ 8145 h 10000"/>
                <a:gd name="connsiteX2506" fmla="*/ 442 w 10785"/>
                <a:gd name="connsiteY2506" fmla="*/ 8145 h 10000"/>
                <a:gd name="connsiteX2507" fmla="*/ 442 w 10785"/>
                <a:gd name="connsiteY2507" fmla="*/ 8162 h 10000"/>
                <a:gd name="connsiteX2508" fmla="*/ 442 w 10785"/>
                <a:gd name="connsiteY2508" fmla="*/ 8171 h 10000"/>
                <a:gd name="connsiteX2509" fmla="*/ 447 w 10785"/>
                <a:gd name="connsiteY2509" fmla="*/ 8214 h 10000"/>
                <a:gd name="connsiteX2510" fmla="*/ 465 w 10785"/>
                <a:gd name="connsiteY2510" fmla="*/ 8231 h 10000"/>
                <a:gd name="connsiteX2511" fmla="*/ 488 w 10785"/>
                <a:gd name="connsiteY2511" fmla="*/ 8231 h 10000"/>
                <a:gd name="connsiteX2512" fmla="*/ 493 w 10785"/>
                <a:gd name="connsiteY2512" fmla="*/ 8231 h 10000"/>
                <a:gd name="connsiteX2513" fmla="*/ 502 w 10785"/>
                <a:gd name="connsiteY2513" fmla="*/ 8231 h 10000"/>
                <a:gd name="connsiteX2514" fmla="*/ 507 w 10785"/>
                <a:gd name="connsiteY2514" fmla="*/ 8248 h 10000"/>
                <a:gd name="connsiteX2515" fmla="*/ 521 w 10785"/>
                <a:gd name="connsiteY2515" fmla="*/ 8274 h 10000"/>
                <a:gd name="connsiteX2516" fmla="*/ 525 w 10785"/>
                <a:gd name="connsiteY2516" fmla="*/ 8333 h 10000"/>
                <a:gd name="connsiteX2517" fmla="*/ 525 w 10785"/>
                <a:gd name="connsiteY2517" fmla="*/ 8359 h 10000"/>
                <a:gd name="connsiteX2518" fmla="*/ 525 w 10785"/>
                <a:gd name="connsiteY2518" fmla="*/ 8368 h 10000"/>
                <a:gd name="connsiteX2519" fmla="*/ 548 w 10785"/>
                <a:gd name="connsiteY2519" fmla="*/ 8393 h 10000"/>
                <a:gd name="connsiteX2520" fmla="*/ 553 w 10785"/>
                <a:gd name="connsiteY2520" fmla="*/ 8385 h 10000"/>
                <a:gd name="connsiteX2521" fmla="*/ 562 w 10785"/>
                <a:gd name="connsiteY2521" fmla="*/ 8385 h 10000"/>
                <a:gd name="connsiteX2522" fmla="*/ 576 w 10785"/>
                <a:gd name="connsiteY2522" fmla="*/ 8385 h 10000"/>
                <a:gd name="connsiteX2523" fmla="*/ 585 w 10785"/>
                <a:gd name="connsiteY2523" fmla="*/ 8410 h 10000"/>
                <a:gd name="connsiteX2524" fmla="*/ 594 w 10785"/>
                <a:gd name="connsiteY2524" fmla="*/ 8410 h 10000"/>
                <a:gd name="connsiteX2525" fmla="*/ 608 w 10785"/>
                <a:gd name="connsiteY2525" fmla="*/ 8410 h 10000"/>
                <a:gd name="connsiteX2526" fmla="*/ 654 w 10785"/>
                <a:gd name="connsiteY2526" fmla="*/ 8385 h 10000"/>
                <a:gd name="connsiteX2527" fmla="*/ 659 w 10785"/>
                <a:gd name="connsiteY2527" fmla="*/ 8385 h 10000"/>
                <a:gd name="connsiteX2528" fmla="*/ 696 w 10785"/>
                <a:gd name="connsiteY2528" fmla="*/ 8470 h 10000"/>
                <a:gd name="connsiteX2529" fmla="*/ 700 w 10785"/>
                <a:gd name="connsiteY2529" fmla="*/ 8470 h 10000"/>
                <a:gd name="connsiteX2530" fmla="*/ 710 w 10785"/>
                <a:gd name="connsiteY2530" fmla="*/ 8462 h 10000"/>
                <a:gd name="connsiteX2531" fmla="*/ 714 w 10785"/>
                <a:gd name="connsiteY2531" fmla="*/ 8462 h 10000"/>
                <a:gd name="connsiteX2532" fmla="*/ 724 w 10785"/>
                <a:gd name="connsiteY2532" fmla="*/ 8470 h 10000"/>
                <a:gd name="connsiteX2533" fmla="*/ 733 w 10785"/>
                <a:gd name="connsiteY2533" fmla="*/ 8470 h 10000"/>
                <a:gd name="connsiteX2534" fmla="*/ 742 w 10785"/>
                <a:gd name="connsiteY2534" fmla="*/ 8487 h 10000"/>
                <a:gd name="connsiteX2535" fmla="*/ 747 w 10785"/>
                <a:gd name="connsiteY2535" fmla="*/ 8496 h 10000"/>
                <a:gd name="connsiteX2536" fmla="*/ 770 w 10785"/>
                <a:gd name="connsiteY2536" fmla="*/ 8496 h 10000"/>
                <a:gd name="connsiteX2537" fmla="*/ 783 w 10785"/>
                <a:gd name="connsiteY2537" fmla="*/ 8521 h 10000"/>
                <a:gd name="connsiteX2538" fmla="*/ 797 w 10785"/>
                <a:gd name="connsiteY2538" fmla="*/ 8521 h 10000"/>
                <a:gd name="connsiteX2539" fmla="*/ 806 w 10785"/>
                <a:gd name="connsiteY2539" fmla="*/ 8530 h 10000"/>
                <a:gd name="connsiteX2540" fmla="*/ 829 w 10785"/>
                <a:gd name="connsiteY2540" fmla="*/ 8547 h 10000"/>
                <a:gd name="connsiteX2541" fmla="*/ 834 w 10785"/>
                <a:gd name="connsiteY2541" fmla="*/ 8556 h 10000"/>
                <a:gd name="connsiteX2542" fmla="*/ 829 w 10785"/>
                <a:gd name="connsiteY2542" fmla="*/ 8556 h 10000"/>
                <a:gd name="connsiteX2543" fmla="*/ 834 w 10785"/>
                <a:gd name="connsiteY2543" fmla="*/ 8607 h 10000"/>
                <a:gd name="connsiteX2544" fmla="*/ 829 w 10785"/>
                <a:gd name="connsiteY2544" fmla="*/ 8641 h 10000"/>
                <a:gd name="connsiteX2545" fmla="*/ 806 w 10785"/>
                <a:gd name="connsiteY2545" fmla="*/ 8658 h 10000"/>
                <a:gd name="connsiteX2546" fmla="*/ 816 w 10785"/>
                <a:gd name="connsiteY2546" fmla="*/ 8667 h 10000"/>
                <a:gd name="connsiteX2547" fmla="*/ 820 w 10785"/>
                <a:gd name="connsiteY2547" fmla="*/ 8667 h 10000"/>
                <a:gd name="connsiteX2548" fmla="*/ 829 w 10785"/>
                <a:gd name="connsiteY2548" fmla="*/ 8684 h 10000"/>
                <a:gd name="connsiteX2549" fmla="*/ 806 w 10785"/>
                <a:gd name="connsiteY2549" fmla="*/ 8692 h 10000"/>
                <a:gd name="connsiteX2550" fmla="*/ 802 w 10785"/>
                <a:gd name="connsiteY2550" fmla="*/ 8709 h 10000"/>
                <a:gd name="connsiteX2551" fmla="*/ 802 w 10785"/>
                <a:gd name="connsiteY2551" fmla="*/ 8735 h 10000"/>
                <a:gd name="connsiteX2552" fmla="*/ 806 w 10785"/>
                <a:gd name="connsiteY2552" fmla="*/ 8744 h 10000"/>
                <a:gd name="connsiteX2553" fmla="*/ 816 w 10785"/>
                <a:gd name="connsiteY2553" fmla="*/ 8752 h 10000"/>
                <a:gd name="connsiteX2554" fmla="*/ 806 w 10785"/>
                <a:gd name="connsiteY2554" fmla="*/ 8778 h 10000"/>
                <a:gd name="connsiteX2555" fmla="*/ 820 w 10785"/>
                <a:gd name="connsiteY2555" fmla="*/ 8778 h 10000"/>
                <a:gd name="connsiteX2556" fmla="*/ 806 w 10785"/>
                <a:gd name="connsiteY2556" fmla="*/ 8880 h 10000"/>
                <a:gd name="connsiteX2557" fmla="*/ 797 w 10785"/>
                <a:gd name="connsiteY2557" fmla="*/ 8880 h 10000"/>
                <a:gd name="connsiteX2558" fmla="*/ 783 w 10785"/>
                <a:gd name="connsiteY2558" fmla="*/ 8872 h 10000"/>
                <a:gd name="connsiteX2559" fmla="*/ 770 w 10785"/>
                <a:gd name="connsiteY2559" fmla="*/ 8880 h 10000"/>
                <a:gd name="connsiteX2560" fmla="*/ 756 w 10785"/>
                <a:gd name="connsiteY2560" fmla="*/ 8855 h 10000"/>
                <a:gd name="connsiteX2561" fmla="*/ 733 w 10785"/>
                <a:gd name="connsiteY2561" fmla="*/ 8906 h 10000"/>
                <a:gd name="connsiteX2562" fmla="*/ 714 w 10785"/>
                <a:gd name="connsiteY2562" fmla="*/ 8915 h 10000"/>
                <a:gd name="connsiteX2563" fmla="*/ 710 w 10785"/>
                <a:gd name="connsiteY2563" fmla="*/ 8940 h 10000"/>
                <a:gd name="connsiteX2564" fmla="*/ 710 w 10785"/>
                <a:gd name="connsiteY2564" fmla="*/ 9009 h 10000"/>
                <a:gd name="connsiteX2565" fmla="*/ 728 w 10785"/>
                <a:gd name="connsiteY2565" fmla="*/ 8991 h 10000"/>
                <a:gd name="connsiteX2566" fmla="*/ 733 w 10785"/>
                <a:gd name="connsiteY2566" fmla="*/ 8991 h 10000"/>
                <a:gd name="connsiteX2567" fmla="*/ 747 w 10785"/>
                <a:gd name="connsiteY2567" fmla="*/ 8983 h 10000"/>
                <a:gd name="connsiteX2568" fmla="*/ 760 w 10785"/>
                <a:gd name="connsiteY2568" fmla="*/ 8983 h 10000"/>
                <a:gd name="connsiteX2569" fmla="*/ 770 w 10785"/>
                <a:gd name="connsiteY2569" fmla="*/ 8983 h 10000"/>
                <a:gd name="connsiteX2570" fmla="*/ 770 w 10785"/>
                <a:gd name="connsiteY2570" fmla="*/ 8991 h 10000"/>
                <a:gd name="connsiteX2571" fmla="*/ 783 w 10785"/>
                <a:gd name="connsiteY2571" fmla="*/ 8991 h 10000"/>
                <a:gd name="connsiteX2572" fmla="*/ 783 w 10785"/>
                <a:gd name="connsiteY2572" fmla="*/ 9009 h 10000"/>
                <a:gd name="connsiteX2573" fmla="*/ 783 w 10785"/>
                <a:gd name="connsiteY2573" fmla="*/ 9017 h 10000"/>
                <a:gd name="connsiteX2574" fmla="*/ 770 w 10785"/>
                <a:gd name="connsiteY2574" fmla="*/ 9017 h 10000"/>
                <a:gd name="connsiteX2575" fmla="*/ 724 w 10785"/>
                <a:gd name="connsiteY2575" fmla="*/ 9051 h 10000"/>
                <a:gd name="connsiteX2576" fmla="*/ 724 w 10785"/>
                <a:gd name="connsiteY2576" fmla="*/ 9068 h 10000"/>
                <a:gd name="connsiteX2577" fmla="*/ 728 w 10785"/>
                <a:gd name="connsiteY2577" fmla="*/ 9077 h 10000"/>
                <a:gd name="connsiteX2578" fmla="*/ 724 w 10785"/>
                <a:gd name="connsiteY2578" fmla="*/ 9077 h 10000"/>
                <a:gd name="connsiteX2579" fmla="*/ 710 w 10785"/>
                <a:gd name="connsiteY2579" fmla="*/ 9077 h 10000"/>
                <a:gd name="connsiteX2580" fmla="*/ 682 w 10785"/>
                <a:gd name="connsiteY2580" fmla="*/ 9077 h 10000"/>
                <a:gd name="connsiteX2581" fmla="*/ 673 w 10785"/>
                <a:gd name="connsiteY2581" fmla="*/ 9103 h 10000"/>
                <a:gd name="connsiteX2582" fmla="*/ 687 w 10785"/>
                <a:gd name="connsiteY2582" fmla="*/ 9128 h 10000"/>
                <a:gd name="connsiteX2583" fmla="*/ 700 w 10785"/>
                <a:gd name="connsiteY2583" fmla="*/ 9128 h 10000"/>
                <a:gd name="connsiteX2584" fmla="*/ 728 w 10785"/>
                <a:gd name="connsiteY2584" fmla="*/ 9179 h 10000"/>
                <a:gd name="connsiteX2585" fmla="*/ 724 w 10785"/>
                <a:gd name="connsiteY2585" fmla="*/ 9188 h 10000"/>
                <a:gd name="connsiteX2586" fmla="*/ 710 w 10785"/>
                <a:gd name="connsiteY2586" fmla="*/ 9179 h 10000"/>
                <a:gd name="connsiteX2587" fmla="*/ 700 w 10785"/>
                <a:gd name="connsiteY2587" fmla="*/ 9205 h 10000"/>
                <a:gd name="connsiteX2588" fmla="*/ 696 w 10785"/>
                <a:gd name="connsiteY2588" fmla="*/ 9205 h 10000"/>
                <a:gd name="connsiteX2589" fmla="*/ 654 w 10785"/>
                <a:gd name="connsiteY2589" fmla="*/ 9299 h 10000"/>
                <a:gd name="connsiteX2590" fmla="*/ 622 w 10785"/>
                <a:gd name="connsiteY2590" fmla="*/ 9299 h 10000"/>
                <a:gd name="connsiteX2591" fmla="*/ 613 w 10785"/>
                <a:gd name="connsiteY2591" fmla="*/ 9316 h 10000"/>
                <a:gd name="connsiteX2592" fmla="*/ 613 w 10785"/>
                <a:gd name="connsiteY2592" fmla="*/ 9325 h 10000"/>
                <a:gd name="connsiteX2593" fmla="*/ 608 w 10785"/>
                <a:gd name="connsiteY2593" fmla="*/ 9342 h 10000"/>
                <a:gd name="connsiteX2594" fmla="*/ 636 w 10785"/>
                <a:gd name="connsiteY2594" fmla="*/ 9376 h 10000"/>
                <a:gd name="connsiteX2595" fmla="*/ 641 w 10785"/>
                <a:gd name="connsiteY2595" fmla="*/ 9402 h 10000"/>
                <a:gd name="connsiteX2596" fmla="*/ 654 w 10785"/>
                <a:gd name="connsiteY2596" fmla="*/ 9427 h 10000"/>
                <a:gd name="connsiteX2597" fmla="*/ 668 w 10785"/>
                <a:gd name="connsiteY2597" fmla="*/ 9427 h 10000"/>
                <a:gd name="connsiteX2598" fmla="*/ 668 w 10785"/>
                <a:gd name="connsiteY2598" fmla="*/ 9427 h 10000"/>
                <a:gd name="connsiteX2599" fmla="*/ 774 w 10785"/>
                <a:gd name="connsiteY2599" fmla="*/ 9547 h 10000"/>
                <a:gd name="connsiteX2600" fmla="*/ 797 w 10785"/>
                <a:gd name="connsiteY2600" fmla="*/ 9598 h 10000"/>
                <a:gd name="connsiteX2601" fmla="*/ 802 w 10785"/>
                <a:gd name="connsiteY2601" fmla="*/ 9598 h 10000"/>
                <a:gd name="connsiteX2602" fmla="*/ 816 w 10785"/>
                <a:gd name="connsiteY2602" fmla="*/ 9624 h 10000"/>
                <a:gd name="connsiteX2603" fmla="*/ 843 w 10785"/>
                <a:gd name="connsiteY2603" fmla="*/ 9615 h 10000"/>
                <a:gd name="connsiteX2604" fmla="*/ 857 w 10785"/>
                <a:gd name="connsiteY2604" fmla="*/ 9624 h 10000"/>
                <a:gd name="connsiteX2605" fmla="*/ 862 w 10785"/>
                <a:gd name="connsiteY2605" fmla="*/ 9615 h 10000"/>
                <a:gd name="connsiteX2606" fmla="*/ 880 w 10785"/>
                <a:gd name="connsiteY2606" fmla="*/ 9624 h 10000"/>
                <a:gd name="connsiteX2607" fmla="*/ 889 w 10785"/>
                <a:gd name="connsiteY2607" fmla="*/ 9641 h 10000"/>
                <a:gd name="connsiteX2608" fmla="*/ 935 w 10785"/>
                <a:gd name="connsiteY2608" fmla="*/ 9675 h 10000"/>
                <a:gd name="connsiteX2609" fmla="*/ 977 w 10785"/>
                <a:gd name="connsiteY2609" fmla="*/ 9667 h 10000"/>
                <a:gd name="connsiteX2610" fmla="*/ 995 w 10785"/>
                <a:gd name="connsiteY2610" fmla="*/ 9675 h 10000"/>
                <a:gd name="connsiteX2611" fmla="*/ 1014 w 10785"/>
                <a:gd name="connsiteY2611" fmla="*/ 9675 h 10000"/>
                <a:gd name="connsiteX2612" fmla="*/ 1069 w 10785"/>
                <a:gd name="connsiteY2612" fmla="*/ 9752 h 10000"/>
                <a:gd name="connsiteX2613" fmla="*/ 1074 w 10785"/>
                <a:gd name="connsiteY2613" fmla="*/ 9761 h 10000"/>
                <a:gd name="connsiteX2614" fmla="*/ 1083 w 10785"/>
                <a:gd name="connsiteY2614" fmla="*/ 9778 h 10000"/>
                <a:gd name="connsiteX2615" fmla="*/ 1115 w 10785"/>
                <a:gd name="connsiteY2615" fmla="*/ 9752 h 10000"/>
                <a:gd name="connsiteX2616" fmla="*/ 1129 w 10785"/>
                <a:gd name="connsiteY2616" fmla="*/ 9752 h 10000"/>
                <a:gd name="connsiteX2617" fmla="*/ 1138 w 10785"/>
                <a:gd name="connsiteY2617" fmla="*/ 9761 h 10000"/>
                <a:gd name="connsiteX2618" fmla="*/ 1143 w 10785"/>
                <a:gd name="connsiteY2618" fmla="*/ 9752 h 10000"/>
                <a:gd name="connsiteX2619" fmla="*/ 1161 w 10785"/>
                <a:gd name="connsiteY2619" fmla="*/ 9761 h 10000"/>
                <a:gd name="connsiteX2620" fmla="*/ 1171 w 10785"/>
                <a:gd name="connsiteY2620" fmla="*/ 9778 h 10000"/>
                <a:gd name="connsiteX2621" fmla="*/ 1175 w 10785"/>
                <a:gd name="connsiteY2621" fmla="*/ 9778 h 10000"/>
                <a:gd name="connsiteX2622" fmla="*/ 1189 w 10785"/>
                <a:gd name="connsiteY2622" fmla="*/ 9778 h 10000"/>
                <a:gd name="connsiteX2623" fmla="*/ 1198 w 10785"/>
                <a:gd name="connsiteY2623" fmla="*/ 9786 h 10000"/>
                <a:gd name="connsiteX2624" fmla="*/ 1203 w 10785"/>
                <a:gd name="connsiteY2624" fmla="*/ 9803 h 10000"/>
                <a:gd name="connsiteX2625" fmla="*/ 1198 w 10785"/>
                <a:gd name="connsiteY2625" fmla="*/ 9838 h 10000"/>
                <a:gd name="connsiteX2626" fmla="*/ 1212 w 10785"/>
                <a:gd name="connsiteY2626" fmla="*/ 9863 h 10000"/>
                <a:gd name="connsiteX2627" fmla="*/ 1230 w 10785"/>
                <a:gd name="connsiteY2627" fmla="*/ 9872 h 10000"/>
                <a:gd name="connsiteX2628" fmla="*/ 1249 w 10785"/>
                <a:gd name="connsiteY2628" fmla="*/ 9897 h 10000"/>
                <a:gd name="connsiteX2629" fmla="*/ 1263 w 10785"/>
                <a:gd name="connsiteY2629" fmla="*/ 9897 h 10000"/>
                <a:gd name="connsiteX2630" fmla="*/ 1276 w 10785"/>
                <a:gd name="connsiteY2630" fmla="*/ 9923 h 10000"/>
                <a:gd name="connsiteX2631" fmla="*/ 1281 w 10785"/>
                <a:gd name="connsiteY2631" fmla="*/ 9949 h 10000"/>
                <a:gd name="connsiteX2632" fmla="*/ 1290 w 10785"/>
                <a:gd name="connsiteY2632" fmla="*/ 9949 h 10000"/>
                <a:gd name="connsiteX2633" fmla="*/ 1295 w 10785"/>
                <a:gd name="connsiteY2633" fmla="*/ 10000 h 10000"/>
                <a:gd name="connsiteX2634" fmla="*/ 1332 w 10785"/>
                <a:gd name="connsiteY2634" fmla="*/ 10000 h 10000"/>
                <a:gd name="connsiteX2635" fmla="*/ 1336 w 10785"/>
                <a:gd name="connsiteY2635" fmla="*/ 10000 h 10000"/>
                <a:gd name="connsiteX2636" fmla="*/ 1346 w 10785"/>
                <a:gd name="connsiteY2636" fmla="*/ 9983 h 10000"/>
                <a:gd name="connsiteX2637" fmla="*/ 1350 w 10785"/>
                <a:gd name="connsiteY2637" fmla="*/ 9949 h 10000"/>
                <a:gd name="connsiteX2638" fmla="*/ 1369 w 10785"/>
                <a:gd name="connsiteY2638" fmla="*/ 9940 h 10000"/>
                <a:gd name="connsiteX2639" fmla="*/ 1378 w 10785"/>
                <a:gd name="connsiteY2639" fmla="*/ 9897 h 10000"/>
                <a:gd name="connsiteX2640" fmla="*/ 1369 w 10785"/>
                <a:gd name="connsiteY2640" fmla="*/ 9889 h 10000"/>
                <a:gd name="connsiteX2641" fmla="*/ 1318 w 10785"/>
                <a:gd name="connsiteY2641" fmla="*/ 9701 h 10000"/>
                <a:gd name="connsiteX2642" fmla="*/ 1318 w 10785"/>
                <a:gd name="connsiteY2642" fmla="*/ 9650 h 10000"/>
                <a:gd name="connsiteX2643" fmla="*/ 1323 w 10785"/>
                <a:gd name="connsiteY2643" fmla="*/ 9590 h 10000"/>
                <a:gd name="connsiteX2644" fmla="*/ 1323 w 10785"/>
                <a:gd name="connsiteY2644" fmla="*/ 9564 h 10000"/>
                <a:gd name="connsiteX2645" fmla="*/ 1309 w 10785"/>
                <a:gd name="connsiteY2645" fmla="*/ 9598 h 10000"/>
                <a:gd name="connsiteX2646" fmla="*/ 1309 w 10785"/>
                <a:gd name="connsiteY2646" fmla="*/ 9590 h 10000"/>
                <a:gd name="connsiteX2647" fmla="*/ 1304 w 10785"/>
                <a:gd name="connsiteY2647" fmla="*/ 9547 h 10000"/>
                <a:gd name="connsiteX2648" fmla="*/ 1276 w 10785"/>
                <a:gd name="connsiteY2648" fmla="*/ 9479 h 10000"/>
                <a:gd name="connsiteX2649" fmla="*/ 1263 w 10785"/>
                <a:gd name="connsiteY2649" fmla="*/ 9479 h 10000"/>
                <a:gd name="connsiteX2650" fmla="*/ 1263 w 10785"/>
                <a:gd name="connsiteY2650" fmla="*/ 9453 h 10000"/>
                <a:gd name="connsiteX2651" fmla="*/ 1272 w 10785"/>
                <a:gd name="connsiteY2651" fmla="*/ 9410 h 10000"/>
                <a:gd name="connsiteX2652" fmla="*/ 1272 w 10785"/>
                <a:gd name="connsiteY2652" fmla="*/ 9393 h 10000"/>
                <a:gd name="connsiteX2653" fmla="*/ 1281 w 10785"/>
                <a:gd name="connsiteY2653" fmla="*/ 9368 h 10000"/>
                <a:gd name="connsiteX2654" fmla="*/ 1281 w 10785"/>
                <a:gd name="connsiteY2654" fmla="*/ 9368 h 10000"/>
                <a:gd name="connsiteX2655" fmla="*/ 1290 w 10785"/>
                <a:gd name="connsiteY2655" fmla="*/ 9368 h 10000"/>
                <a:gd name="connsiteX2656" fmla="*/ 1290 w 10785"/>
                <a:gd name="connsiteY2656" fmla="*/ 9342 h 10000"/>
                <a:gd name="connsiteX2657" fmla="*/ 1304 w 10785"/>
                <a:gd name="connsiteY2657" fmla="*/ 9325 h 10000"/>
                <a:gd name="connsiteX2658" fmla="*/ 1309 w 10785"/>
                <a:gd name="connsiteY2658" fmla="*/ 9239 h 10000"/>
                <a:gd name="connsiteX2659" fmla="*/ 1318 w 10785"/>
                <a:gd name="connsiteY2659" fmla="*/ 9256 h 10000"/>
                <a:gd name="connsiteX2660" fmla="*/ 1323 w 10785"/>
                <a:gd name="connsiteY2660" fmla="*/ 9179 h 10000"/>
                <a:gd name="connsiteX2661" fmla="*/ 1309 w 10785"/>
                <a:gd name="connsiteY2661" fmla="*/ 9145 h 10000"/>
                <a:gd name="connsiteX2662" fmla="*/ 1336 w 10785"/>
                <a:gd name="connsiteY2662" fmla="*/ 9154 h 10000"/>
                <a:gd name="connsiteX2663" fmla="*/ 1336 w 10785"/>
                <a:gd name="connsiteY2663" fmla="*/ 9162 h 10000"/>
                <a:gd name="connsiteX2664" fmla="*/ 1350 w 10785"/>
                <a:gd name="connsiteY2664" fmla="*/ 9231 h 10000"/>
                <a:gd name="connsiteX2665" fmla="*/ 1355 w 10785"/>
                <a:gd name="connsiteY2665" fmla="*/ 9231 h 10000"/>
                <a:gd name="connsiteX2666" fmla="*/ 1364 w 10785"/>
                <a:gd name="connsiteY2666" fmla="*/ 9214 h 10000"/>
                <a:gd name="connsiteX2667" fmla="*/ 1369 w 10785"/>
                <a:gd name="connsiteY2667" fmla="*/ 9214 h 10000"/>
                <a:gd name="connsiteX2668" fmla="*/ 1382 w 10785"/>
                <a:gd name="connsiteY2668" fmla="*/ 9154 h 10000"/>
                <a:gd name="connsiteX2669" fmla="*/ 1396 w 10785"/>
                <a:gd name="connsiteY2669" fmla="*/ 9154 h 10000"/>
                <a:gd name="connsiteX2670" fmla="*/ 1382 w 10785"/>
                <a:gd name="connsiteY2670" fmla="*/ 9145 h 10000"/>
                <a:gd name="connsiteX2671" fmla="*/ 1382 w 10785"/>
                <a:gd name="connsiteY2671" fmla="*/ 9128 h 10000"/>
                <a:gd name="connsiteX2672" fmla="*/ 1369 w 10785"/>
                <a:gd name="connsiteY2672" fmla="*/ 9128 h 10000"/>
                <a:gd name="connsiteX2673" fmla="*/ 1364 w 10785"/>
                <a:gd name="connsiteY2673" fmla="*/ 9128 h 10000"/>
                <a:gd name="connsiteX2674" fmla="*/ 1355 w 10785"/>
                <a:gd name="connsiteY2674" fmla="*/ 9120 h 10000"/>
                <a:gd name="connsiteX2675" fmla="*/ 1350 w 10785"/>
                <a:gd name="connsiteY2675" fmla="*/ 9103 h 10000"/>
                <a:gd name="connsiteX2676" fmla="*/ 1355 w 10785"/>
                <a:gd name="connsiteY2676" fmla="*/ 9094 h 10000"/>
                <a:gd name="connsiteX2677" fmla="*/ 1355 w 10785"/>
                <a:gd name="connsiteY2677" fmla="*/ 9068 h 10000"/>
                <a:gd name="connsiteX2678" fmla="*/ 1369 w 10785"/>
                <a:gd name="connsiteY2678" fmla="*/ 9068 h 10000"/>
                <a:gd name="connsiteX2679" fmla="*/ 1378 w 10785"/>
                <a:gd name="connsiteY2679" fmla="*/ 9077 h 10000"/>
                <a:gd name="connsiteX2680" fmla="*/ 1396 w 10785"/>
                <a:gd name="connsiteY2680" fmla="*/ 9068 h 10000"/>
                <a:gd name="connsiteX2681" fmla="*/ 1382 w 10785"/>
                <a:gd name="connsiteY2681" fmla="*/ 8940 h 10000"/>
                <a:gd name="connsiteX2682" fmla="*/ 1378 w 10785"/>
                <a:gd name="connsiteY2682" fmla="*/ 8940 h 10000"/>
                <a:gd name="connsiteX2683" fmla="*/ 1364 w 10785"/>
                <a:gd name="connsiteY2683" fmla="*/ 8889 h 10000"/>
                <a:gd name="connsiteX2684" fmla="*/ 1355 w 10785"/>
                <a:gd name="connsiteY2684" fmla="*/ 8880 h 10000"/>
                <a:gd name="connsiteX2685" fmla="*/ 1323 w 10785"/>
                <a:gd name="connsiteY2685" fmla="*/ 8880 h 10000"/>
                <a:gd name="connsiteX2686" fmla="*/ 1309 w 10785"/>
                <a:gd name="connsiteY2686" fmla="*/ 8880 h 10000"/>
                <a:gd name="connsiteX2687" fmla="*/ 1309 w 10785"/>
                <a:gd name="connsiteY2687" fmla="*/ 8889 h 10000"/>
                <a:gd name="connsiteX2688" fmla="*/ 1295 w 10785"/>
                <a:gd name="connsiteY2688" fmla="*/ 8872 h 10000"/>
                <a:gd name="connsiteX2689" fmla="*/ 1290 w 10785"/>
                <a:gd name="connsiteY2689" fmla="*/ 8855 h 10000"/>
                <a:gd name="connsiteX2690" fmla="*/ 1290 w 10785"/>
                <a:gd name="connsiteY2690" fmla="*/ 8829 h 10000"/>
                <a:gd name="connsiteX2691" fmla="*/ 1290 w 10785"/>
                <a:gd name="connsiteY2691" fmla="*/ 8821 h 10000"/>
                <a:gd name="connsiteX2692" fmla="*/ 1290 w 10785"/>
                <a:gd name="connsiteY2692" fmla="*/ 8803 h 10000"/>
                <a:gd name="connsiteX2693" fmla="*/ 1281 w 10785"/>
                <a:gd name="connsiteY2693" fmla="*/ 8795 h 10000"/>
                <a:gd name="connsiteX2694" fmla="*/ 1249 w 10785"/>
                <a:gd name="connsiteY2694" fmla="*/ 8769 h 10000"/>
                <a:gd name="connsiteX2695" fmla="*/ 1263 w 10785"/>
                <a:gd name="connsiteY2695" fmla="*/ 8667 h 10000"/>
                <a:gd name="connsiteX2696" fmla="*/ 1281 w 10785"/>
                <a:gd name="connsiteY2696" fmla="*/ 8658 h 10000"/>
                <a:gd name="connsiteX2697" fmla="*/ 1290 w 10785"/>
                <a:gd name="connsiteY2697" fmla="*/ 8632 h 10000"/>
                <a:gd name="connsiteX2698" fmla="*/ 1281 w 10785"/>
                <a:gd name="connsiteY2698" fmla="*/ 8615 h 10000"/>
                <a:gd name="connsiteX2699" fmla="*/ 1272 w 10785"/>
                <a:gd name="connsiteY2699" fmla="*/ 8598 h 10000"/>
                <a:gd name="connsiteX2700" fmla="*/ 1281 w 10785"/>
                <a:gd name="connsiteY2700" fmla="*/ 8496 h 10000"/>
                <a:gd name="connsiteX2701" fmla="*/ 1295 w 10785"/>
                <a:gd name="connsiteY2701" fmla="*/ 8470 h 10000"/>
                <a:gd name="connsiteX2702" fmla="*/ 1304 w 10785"/>
                <a:gd name="connsiteY2702" fmla="*/ 8462 h 10000"/>
                <a:gd name="connsiteX2703" fmla="*/ 1304 w 10785"/>
                <a:gd name="connsiteY2703" fmla="*/ 8444 h 10000"/>
                <a:gd name="connsiteX2704" fmla="*/ 1304 w 10785"/>
                <a:gd name="connsiteY2704" fmla="*/ 8419 h 10000"/>
                <a:gd name="connsiteX2705" fmla="*/ 1304 w 10785"/>
                <a:gd name="connsiteY2705" fmla="*/ 8410 h 10000"/>
                <a:gd name="connsiteX2706" fmla="*/ 1309 w 10785"/>
                <a:gd name="connsiteY2706" fmla="*/ 8393 h 10000"/>
                <a:gd name="connsiteX2707" fmla="*/ 1318 w 10785"/>
                <a:gd name="connsiteY2707" fmla="*/ 8385 h 10000"/>
                <a:gd name="connsiteX2708" fmla="*/ 1323 w 10785"/>
                <a:gd name="connsiteY2708" fmla="*/ 8385 h 10000"/>
                <a:gd name="connsiteX2709" fmla="*/ 1332 w 10785"/>
                <a:gd name="connsiteY2709" fmla="*/ 8410 h 10000"/>
                <a:gd name="connsiteX2710" fmla="*/ 1346 w 10785"/>
                <a:gd name="connsiteY2710" fmla="*/ 8419 h 10000"/>
                <a:gd name="connsiteX2711" fmla="*/ 1364 w 10785"/>
                <a:gd name="connsiteY2711" fmla="*/ 8504 h 10000"/>
                <a:gd name="connsiteX2712" fmla="*/ 1369 w 10785"/>
                <a:gd name="connsiteY2712" fmla="*/ 8521 h 10000"/>
                <a:gd name="connsiteX2713" fmla="*/ 1406 w 10785"/>
                <a:gd name="connsiteY2713" fmla="*/ 8470 h 10000"/>
                <a:gd name="connsiteX2714" fmla="*/ 1382 w 10785"/>
                <a:gd name="connsiteY2714" fmla="*/ 8359 h 10000"/>
                <a:gd name="connsiteX2715" fmla="*/ 1392 w 10785"/>
                <a:gd name="connsiteY2715" fmla="*/ 8359 h 10000"/>
                <a:gd name="connsiteX2716" fmla="*/ 1438 w 10785"/>
                <a:gd name="connsiteY2716" fmla="*/ 8308 h 10000"/>
                <a:gd name="connsiteX2717" fmla="*/ 1442 w 10785"/>
                <a:gd name="connsiteY2717" fmla="*/ 8299 h 10000"/>
                <a:gd name="connsiteX2718" fmla="*/ 1442 w 10785"/>
                <a:gd name="connsiteY2718" fmla="*/ 8256 h 10000"/>
                <a:gd name="connsiteX2719" fmla="*/ 1452 w 10785"/>
                <a:gd name="connsiteY2719" fmla="*/ 8256 h 10000"/>
                <a:gd name="connsiteX2720" fmla="*/ 1456 w 10785"/>
                <a:gd name="connsiteY2720" fmla="*/ 8256 h 10000"/>
                <a:gd name="connsiteX2721" fmla="*/ 1470 w 10785"/>
                <a:gd name="connsiteY2721" fmla="*/ 8248 h 10000"/>
                <a:gd name="connsiteX2722" fmla="*/ 1479 w 10785"/>
                <a:gd name="connsiteY2722" fmla="*/ 8231 h 10000"/>
                <a:gd name="connsiteX2723" fmla="*/ 1493 w 10785"/>
                <a:gd name="connsiteY2723" fmla="*/ 8222 h 10000"/>
                <a:gd name="connsiteX2724" fmla="*/ 1498 w 10785"/>
                <a:gd name="connsiteY2724" fmla="*/ 8214 h 10000"/>
                <a:gd name="connsiteX2725" fmla="*/ 1502 w 10785"/>
                <a:gd name="connsiteY2725" fmla="*/ 8197 h 10000"/>
                <a:gd name="connsiteX2726" fmla="*/ 1512 w 10785"/>
                <a:gd name="connsiteY2726" fmla="*/ 8188 h 10000"/>
                <a:gd name="connsiteX2727" fmla="*/ 1516 w 10785"/>
                <a:gd name="connsiteY2727" fmla="*/ 8171 h 10000"/>
                <a:gd name="connsiteX2728" fmla="*/ 1525 w 10785"/>
                <a:gd name="connsiteY2728" fmla="*/ 8162 h 10000"/>
                <a:gd name="connsiteX2729" fmla="*/ 1539 w 10785"/>
                <a:gd name="connsiteY2729" fmla="*/ 8145 h 10000"/>
                <a:gd name="connsiteX2730" fmla="*/ 1558 w 10785"/>
                <a:gd name="connsiteY2730" fmla="*/ 8145 h 10000"/>
                <a:gd name="connsiteX2731" fmla="*/ 1562 w 10785"/>
                <a:gd name="connsiteY2731" fmla="*/ 8188 h 10000"/>
                <a:gd name="connsiteX2732" fmla="*/ 1585 w 10785"/>
                <a:gd name="connsiteY2732" fmla="*/ 8171 h 10000"/>
                <a:gd name="connsiteX2733" fmla="*/ 1590 w 10785"/>
                <a:gd name="connsiteY2733" fmla="*/ 8188 h 10000"/>
                <a:gd name="connsiteX2734" fmla="*/ 1599 w 10785"/>
                <a:gd name="connsiteY2734" fmla="*/ 8171 h 10000"/>
                <a:gd name="connsiteX2735" fmla="*/ 1599 w 10785"/>
                <a:gd name="connsiteY2735" fmla="*/ 8162 h 10000"/>
                <a:gd name="connsiteX2736" fmla="*/ 1604 w 10785"/>
                <a:gd name="connsiteY2736" fmla="*/ 8137 h 10000"/>
                <a:gd name="connsiteX2737" fmla="*/ 1618 w 10785"/>
                <a:gd name="connsiteY2737" fmla="*/ 8145 h 10000"/>
                <a:gd name="connsiteX2738" fmla="*/ 1627 w 10785"/>
                <a:gd name="connsiteY2738" fmla="*/ 8137 h 10000"/>
                <a:gd name="connsiteX2739" fmla="*/ 1631 w 10785"/>
                <a:gd name="connsiteY2739" fmla="*/ 8137 h 10000"/>
                <a:gd name="connsiteX2740" fmla="*/ 1636 w 10785"/>
                <a:gd name="connsiteY2740" fmla="*/ 8171 h 10000"/>
                <a:gd name="connsiteX2741" fmla="*/ 1645 w 10785"/>
                <a:gd name="connsiteY2741" fmla="*/ 8188 h 10000"/>
                <a:gd name="connsiteX2742" fmla="*/ 1664 w 10785"/>
                <a:gd name="connsiteY2742" fmla="*/ 8171 h 10000"/>
                <a:gd name="connsiteX2743" fmla="*/ 1673 w 10785"/>
                <a:gd name="connsiteY2743" fmla="*/ 8188 h 10000"/>
                <a:gd name="connsiteX2744" fmla="*/ 1691 w 10785"/>
                <a:gd name="connsiteY2744" fmla="*/ 8171 h 10000"/>
                <a:gd name="connsiteX2745" fmla="*/ 1705 w 10785"/>
                <a:gd name="connsiteY2745" fmla="*/ 8171 h 10000"/>
                <a:gd name="connsiteX2746" fmla="*/ 1719 w 10785"/>
                <a:gd name="connsiteY2746" fmla="*/ 8197 h 10000"/>
                <a:gd name="connsiteX2747" fmla="*/ 1724 w 10785"/>
                <a:gd name="connsiteY2747" fmla="*/ 8231 h 10000"/>
                <a:gd name="connsiteX2748" fmla="*/ 1751 w 10785"/>
                <a:gd name="connsiteY2748" fmla="*/ 8256 h 10000"/>
                <a:gd name="connsiteX2749" fmla="*/ 1751 w 10785"/>
                <a:gd name="connsiteY2749" fmla="*/ 8274 h 10000"/>
                <a:gd name="connsiteX2750" fmla="*/ 1760 w 10785"/>
                <a:gd name="connsiteY2750" fmla="*/ 8282 h 10000"/>
                <a:gd name="connsiteX2751" fmla="*/ 1770 w 10785"/>
                <a:gd name="connsiteY2751" fmla="*/ 8325 h 10000"/>
                <a:gd name="connsiteX2752" fmla="*/ 1770 w 10785"/>
                <a:gd name="connsiteY2752" fmla="*/ 8350 h 10000"/>
                <a:gd name="connsiteX2753" fmla="*/ 1779 w 10785"/>
                <a:gd name="connsiteY2753" fmla="*/ 8368 h 10000"/>
                <a:gd name="connsiteX2754" fmla="*/ 1783 w 10785"/>
                <a:gd name="connsiteY2754" fmla="*/ 8359 h 10000"/>
                <a:gd name="connsiteX2755" fmla="*/ 1783 w 10785"/>
                <a:gd name="connsiteY2755" fmla="*/ 8308 h 10000"/>
                <a:gd name="connsiteX2756" fmla="*/ 1779 w 10785"/>
                <a:gd name="connsiteY2756" fmla="*/ 8299 h 10000"/>
                <a:gd name="connsiteX2757" fmla="*/ 1783 w 10785"/>
                <a:gd name="connsiteY2757" fmla="*/ 8282 h 10000"/>
                <a:gd name="connsiteX2758" fmla="*/ 1797 w 10785"/>
                <a:gd name="connsiteY2758" fmla="*/ 8274 h 10000"/>
                <a:gd name="connsiteX2759" fmla="*/ 1797 w 10785"/>
                <a:gd name="connsiteY2759" fmla="*/ 8299 h 10000"/>
                <a:gd name="connsiteX2760" fmla="*/ 1806 w 10785"/>
                <a:gd name="connsiteY2760" fmla="*/ 8308 h 10000"/>
                <a:gd name="connsiteX2761" fmla="*/ 1811 w 10785"/>
                <a:gd name="connsiteY2761" fmla="*/ 8325 h 10000"/>
                <a:gd name="connsiteX2762" fmla="*/ 1820 w 10785"/>
                <a:gd name="connsiteY2762" fmla="*/ 8333 h 10000"/>
                <a:gd name="connsiteX2763" fmla="*/ 1853 w 10785"/>
                <a:gd name="connsiteY2763" fmla="*/ 8359 h 10000"/>
                <a:gd name="connsiteX2764" fmla="*/ 1866 w 10785"/>
                <a:gd name="connsiteY2764" fmla="*/ 8359 h 10000"/>
                <a:gd name="connsiteX2765" fmla="*/ 1885 w 10785"/>
                <a:gd name="connsiteY2765" fmla="*/ 8325 h 10000"/>
                <a:gd name="connsiteX2766" fmla="*/ 1885 w 10785"/>
                <a:gd name="connsiteY2766" fmla="*/ 8308 h 10000"/>
                <a:gd name="connsiteX2767" fmla="*/ 1894 w 10785"/>
                <a:gd name="connsiteY2767" fmla="*/ 8299 h 10000"/>
                <a:gd name="connsiteX2768" fmla="*/ 1899 w 10785"/>
                <a:gd name="connsiteY2768" fmla="*/ 8282 h 10000"/>
                <a:gd name="connsiteX2769" fmla="*/ 1912 w 10785"/>
                <a:gd name="connsiteY2769" fmla="*/ 8282 h 10000"/>
                <a:gd name="connsiteX2770" fmla="*/ 1917 w 10785"/>
                <a:gd name="connsiteY2770" fmla="*/ 8299 h 10000"/>
                <a:gd name="connsiteX2771" fmla="*/ 1917 w 10785"/>
                <a:gd name="connsiteY2771" fmla="*/ 8274 h 10000"/>
                <a:gd name="connsiteX2772" fmla="*/ 1940 w 10785"/>
                <a:gd name="connsiteY2772" fmla="*/ 8282 h 10000"/>
                <a:gd name="connsiteX2773" fmla="*/ 1945 w 10785"/>
                <a:gd name="connsiteY2773" fmla="*/ 8274 h 10000"/>
                <a:gd name="connsiteX2774" fmla="*/ 1972 w 10785"/>
                <a:gd name="connsiteY2774" fmla="*/ 8308 h 10000"/>
                <a:gd name="connsiteX2775" fmla="*/ 1986 w 10785"/>
                <a:gd name="connsiteY2775" fmla="*/ 8282 h 10000"/>
                <a:gd name="connsiteX2776" fmla="*/ 1991 w 10785"/>
                <a:gd name="connsiteY2776" fmla="*/ 8274 h 10000"/>
                <a:gd name="connsiteX2777" fmla="*/ 2014 w 10785"/>
                <a:gd name="connsiteY2777" fmla="*/ 8274 h 10000"/>
                <a:gd name="connsiteX2778" fmla="*/ 2018 w 10785"/>
                <a:gd name="connsiteY2778" fmla="*/ 8256 h 10000"/>
                <a:gd name="connsiteX2779" fmla="*/ 2041 w 10785"/>
                <a:gd name="connsiteY2779" fmla="*/ 8274 h 10000"/>
                <a:gd name="connsiteX2780" fmla="*/ 2046 w 10785"/>
                <a:gd name="connsiteY2780" fmla="*/ 8282 h 10000"/>
                <a:gd name="connsiteX2781" fmla="*/ 2046 w 10785"/>
                <a:gd name="connsiteY2781" fmla="*/ 8325 h 10000"/>
                <a:gd name="connsiteX2782" fmla="*/ 2060 w 10785"/>
                <a:gd name="connsiteY2782" fmla="*/ 8350 h 10000"/>
                <a:gd name="connsiteX2783" fmla="*/ 2078 w 10785"/>
                <a:gd name="connsiteY2783" fmla="*/ 8350 h 10000"/>
                <a:gd name="connsiteX2784" fmla="*/ 2092 w 10785"/>
                <a:gd name="connsiteY2784" fmla="*/ 8350 h 10000"/>
                <a:gd name="connsiteX2785" fmla="*/ 2092 w 10785"/>
                <a:gd name="connsiteY2785" fmla="*/ 8350 h 10000"/>
                <a:gd name="connsiteX2786" fmla="*/ 2101 w 10785"/>
                <a:gd name="connsiteY2786" fmla="*/ 8368 h 10000"/>
                <a:gd name="connsiteX2787" fmla="*/ 2120 w 10785"/>
                <a:gd name="connsiteY2787" fmla="*/ 8368 h 10000"/>
                <a:gd name="connsiteX2788" fmla="*/ 2124 w 10785"/>
                <a:gd name="connsiteY2788" fmla="*/ 8359 h 10000"/>
                <a:gd name="connsiteX2789" fmla="*/ 2138 w 10785"/>
                <a:gd name="connsiteY2789" fmla="*/ 8325 h 10000"/>
                <a:gd name="connsiteX2790" fmla="*/ 2147 w 10785"/>
                <a:gd name="connsiteY2790" fmla="*/ 8325 h 10000"/>
                <a:gd name="connsiteX2791" fmla="*/ 2161 w 10785"/>
                <a:gd name="connsiteY2791" fmla="*/ 8350 h 10000"/>
                <a:gd name="connsiteX2792" fmla="*/ 2198 w 10785"/>
                <a:gd name="connsiteY2792" fmla="*/ 8350 h 10000"/>
                <a:gd name="connsiteX2793" fmla="*/ 2207 w 10785"/>
                <a:gd name="connsiteY2793" fmla="*/ 8333 h 10000"/>
                <a:gd name="connsiteX2794" fmla="*/ 2226 w 10785"/>
                <a:gd name="connsiteY2794" fmla="*/ 8325 h 10000"/>
                <a:gd name="connsiteX2795" fmla="*/ 2249 w 10785"/>
                <a:gd name="connsiteY2795" fmla="*/ 8222 h 10000"/>
                <a:gd name="connsiteX2796" fmla="*/ 2235 w 10785"/>
                <a:gd name="connsiteY2796" fmla="*/ 8197 h 10000"/>
                <a:gd name="connsiteX2797" fmla="*/ 2198 w 10785"/>
                <a:gd name="connsiteY2797" fmla="*/ 8197 h 10000"/>
                <a:gd name="connsiteX2798" fmla="*/ 2189 w 10785"/>
                <a:gd name="connsiteY2798" fmla="*/ 8171 h 10000"/>
                <a:gd name="connsiteX2799" fmla="*/ 2161 w 10785"/>
                <a:gd name="connsiteY2799" fmla="*/ 8145 h 10000"/>
                <a:gd name="connsiteX2800" fmla="*/ 2161 w 10785"/>
                <a:gd name="connsiteY2800" fmla="*/ 8137 h 10000"/>
                <a:gd name="connsiteX2801" fmla="*/ 2152 w 10785"/>
                <a:gd name="connsiteY2801" fmla="*/ 8120 h 10000"/>
                <a:gd name="connsiteX2802" fmla="*/ 2138 w 10785"/>
                <a:gd name="connsiteY2802" fmla="*/ 8111 h 10000"/>
                <a:gd name="connsiteX2803" fmla="*/ 2138 w 10785"/>
                <a:gd name="connsiteY2803" fmla="*/ 8094 h 10000"/>
                <a:gd name="connsiteX2804" fmla="*/ 2147 w 10785"/>
                <a:gd name="connsiteY2804" fmla="*/ 8085 h 10000"/>
                <a:gd name="connsiteX2805" fmla="*/ 2161 w 10785"/>
                <a:gd name="connsiteY2805" fmla="*/ 8060 h 10000"/>
                <a:gd name="connsiteX2806" fmla="*/ 2198 w 10785"/>
                <a:gd name="connsiteY2806" fmla="*/ 8034 h 10000"/>
                <a:gd name="connsiteX2807" fmla="*/ 2198 w 10785"/>
                <a:gd name="connsiteY2807" fmla="*/ 8026 h 10000"/>
                <a:gd name="connsiteX2808" fmla="*/ 2198 w 10785"/>
                <a:gd name="connsiteY2808" fmla="*/ 8000 h 10000"/>
                <a:gd name="connsiteX2809" fmla="*/ 2180 w 10785"/>
                <a:gd name="connsiteY2809" fmla="*/ 7940 h 10000"/>
                <a:gd name="connsiteX2810" fmla="*/ 2189 w 10785"/>
                <a:gd name="connsiteY2810" fmla="*/ 7940 h 10000"/>
                <a:gd name="connsiteX2811" fmla="*/ 2198 w 10785"/>
                <a:gd name="connsiteY2811" fmla="*/ 7923 h 10000"/>
                <a:gd name="connsiteX2812" fmla="*/ 2198 w 10785"/>
                <a:gd name="connsiteY2812" fmla="*/ 7897 h 10000"/>
                <a:gd name="connsiteX2813" fmla="*/ 2207 w 10785"/>
                <a:gd name="connsiteY2813" fmla="*/ 7889 h 10000"/>
                <a:gd name="connsiteX2814" fmla="*/ 2221 w 10785"/>
                <a:gd name="connsiteY2814" fmla="*/ 7889 h 10000"/>
                <a:gd name="connsiteX2815" fmla="*/ 2226 w 10785"/>
                <a:gd name="connsiteY2815" fmla="*/ 7897 h 10000"/>
                <a:gd name="connsiteX2816" fmla="*/ 2235 w 10785"/>
                <a:gd name="connsiteY2816" fmla="*/ 7889 h 10000"/>
                <a:gd name="connsiteX2817" fmla="*/ 2249 w 10785"/>
                <a:gd name="connsiteY2817" fmla="*/ 7897 h 10000"/>
                <a:gd name="connsiteX2818" fmla="*/ 2267 w 10785"/>
                <a:gd name="connsiteY2818" fmla="*/ 7897 h 10000"/>
                <a:gd name="connsiteX2819" fmla="*/ 2272 w 10785"/>
                <a:gd name="connsiteY2819" fmla="*/ 7889 h 10000"/>
                <a:gd name="connsiteX2820" fmla="*/ 2281 w 10785"/>
                <a:gd name="connsiteY2820" fmla="*/ 7872 h 10000"/>
                <a:gd name="connsiteX2821" fmla="*/ 2272 w 10785"/>
                <a:gd name="connsiteY2821" fmla="*/ 7846 h 10000"/>
                <a:gd name="connsiteX2822" fmla="*/ 2253 w 10785"/>
                <a:gd name="connsiteY2822" fmla="*/ 7838 h 10000"/>
                <a:gd name="connsiteX2823" fmla="*/ 2221 w 10785"/>
                <a:gd name="connsiteY2823" fmla="*/ 7821 h 10000"/>
                <a:gd name="connsiteX2824" fmla="*/ 2212 w 10785"/>
                <a:gd name="connsiteY2824" fmla="*/ 7812 h 10000"/>
                <a:gd name="connsiteX2825" fmla="*/ 2212 w 10785"/>
                <a:gd name="connsiteY2825" fmla="*/ 7803 h 10000"/>
                <a:gd name="connsiteX2826" fmla="*/ 2221 w 10785"/>
                <a:gd name="connsiteY2826" fmla="*/ 7803 h 10000"/>
                <a:gd name="connsiteX2827" fmla="*/ 2235 w 10785"/>
                <a:gd name="connsiteY2827" fmla="*/ 7786 h 10000"/>
                <a:gd name="connsiteX2828" fmla="*/ 2240 w 10785"/>
                <a:gd name="connsiteY2828" fmla="*/ 7778 h 10000"/>
                <a:gd name="connsiteX2829" fmla="*/ 2226 w 10785"/>
                <a:gd name="connsiteY2829" fmla="*/ 7761 h 10000"/>
                <a:gd name="connsiteX2830" fmla="*/ 2221 w 10785"/>
                <a:gd name="connsiteY2830" fmla="*/ 7778 h 10000"/>
                <a:gd name="connsiteX2831" fmla="*/ 2198 w 10785"/>
                <a:gd name="connsiteY2831" fmla="*/ 7778 h 10000"/>
                <a:gd name="connsiteX2832" fmla="*/ 2198 w 10785"/>
                <a:gd name="connsiteY2832" fmla="*/ 7752 h 10000"/>
                <a:gd name="connsiteX2833" fmla="*/ 2207 w 10785"/>
                <a:gd name="connsiteY2833" fmla="*/ 7735 h 10000"/>
                <a:gd name="connsiteX2834" fmla="*/ 2212 w 10785"/>
                <a:gd name="connsiteY2834" fmla="*/ 7726 h 10000"/>
                <a:gd name="connsiteX2835" fmla="*/ 2198 w 10785"/>
                <a:gd name="connsiteY2835" fmla="*/ 7692 h 10000"/>
                <a:gd name="connsiteX2836" fmla="*/ 2221 w 10785"/>
                <a:gd name="connsiteY2836" fmla="*/ 7692 h 10000"/>
                <a:gd name="connsiteX2837" fmla="*/ 2221 w 10785"/>
                <a:gd name="connsiteY2837" fmla="*/ 7675 h 10000"/>
                <a:gd name="connsiteX2838" fmla="*/ 2235 w 10785"/>
                <a:gd name="connsiteY2838" fmla="*/ 7675 h 10000"/>
                <a:gd name="connsiteX2839" fmla="*/ 2240 w 10785"/>
                <a:gd name="connsiteY2839" fmla="*/ 7692 h 10000"/>
                <a:gd name="connsiteX2840" fmla="*/ 2249 w 10785"/>
                <a:gd name="connsiteY2840" fmla="*/ 7692 h 10000"/>
                <a:gd name="connsiteX2841" fmla="*/ 2258 w 10785"/>
                <a:gd name="connsiteY2841" fmla="*/ 7692 h 10000"/>
                <a:gd name="connsiteX2842" fmla="*/ 2267 w 10785"/>
                <a:gd name="connsiteY2842" fmla="*/ 7692 h 10000"/>
                <a:gd name="connsiteX2843" fmla="*/ 2295 w 10785"/>
                <a:gd name="connsiteY2843" fmla="*/ 7692 h 10000"/>
                <a:gd name="connsiteX2844" fmla="*/ 2300 w 10785"/>
                <a:gd name="connsiteY2844" fmla="*/ 7701 h 10000"/>
                <a:gd name="connsiteX2845" fmla="*/ 2313 w 10785"/>
                <a:gd name="connsiteY2845" fmla="*/ 7675 h 10000"/>
                <a:gd name="connsiteX2846" fmla="*/ 2323 w 10785"/>
                <a:gd name="connsiteY2846" fmla="*/ 7675 h 10000"/>
                <a:gd name="connsiteX2847" fmla="*/ 2341 w 10785"/>
                <a:gd name="connsiteY2847" fmla="*/ 7675 h 10000"/>
                <a:gd name="connsiteX2848" fmla="*/ 2346 w 10785"/>
                <a:gd name="connsiteY2848" fmla="*/ 7667 h 10000"/>
                <a:gd name="connsiteX2849" fmla="*/ 2359 w 10785"/>
                <a:gd name="connsiteY2849" fmla="*/ 7650 h 10000"/>
                <a:gd name="connsiteX2850" fmla="*/ 2373 w 10785"/>
                <a:gd name="connsiteY2850" fmla="*/ 7624 h 10000"/>
                <a:gd name="connsiteX2851" fmla="*/ 2382 w 10785"/>
                <a:gd name="connsiteY2851" fmla="*/ 7641 h 10000"/>
                <a:gd name="connsiteX2852" fmla="*/ 2396 w 10785"/>
                <a:gd name="connsiteY2852" fmla="*/ 7650 h 10000"/>
                <a:gd name="connsiteX2853" fmla="*/ 2401 w 10785"/>
                <a:gd name="connsiteY2853" fmla="*/ 7650 h 10000"/>
                <a:gd name="connsiteX2854" fmla="*/ 2401 w 10785"/>
                <a:gd name="connsiteY2854" fmla="*/ 7624 h 10000"/>
                <a:gd name="connsiteX2855" fmla="*/ 2419 w 10785"/>
                <a:gd name="connsiteY2855" fmla="*/ 7624 h 10000"/>
                <a:gd name="connsiteX2856" fmla="*/ 2433 w 10785"/>
                <a:gd name="connsiteY2856" fmla="*/ 7615 h 10000"/>
                <a:gd name="connsiteX2857" fmla="*/ 2442 w 10785"/>
                <a:gd name="connsiteY2857" fmla="*/ 7615 h 10000"/>
                <a:gd name="connsiteX2858" fmla="*/ 2447 w 10785"/>
                <a:gd name="connsiteY2858" fmla="*/ 7598 h 10000"/>
                <a:gd name="connsiteX2859" fmla="*/ 2461 w 10785"/>
                <a:gd name="connsiteY2859" fmla="*/ 7598 h 10000"/>
                <a:gd name="connsiteX2860" fmla="*/ 2465 w 10785"/>
                <a:gd name="connsiteY2860" fmla="*/ 7615 h 10000"/>
                <a:gd name="connsiteX2861" fmla="*/ 2479 w 10785"/>
                <a:gd name="connsiteY2861" fmla="*/ 7564 h 10000"/>
                <a:gd name="connsiteX2862" fmla="*/ 2488 w 10785"/>
                <a:gd name="connsiteY2862" fmla="*/ 7556 h 10000"/>
                <a:gd name="connsiteX2863" fmla="*/ 2493 w 10785"/>
                <a:gd name="connsiteY2863" fmla="*/ 7556 h 10000"/>
                <a:gd name="connsiteX2864" fmla="*/ 2507 w 10785"/>
                <a:gd name="connsiteY2864" fmla="*/ 7556 h 10000"/>
                <a:gd name="connsiteX2865" fmla="*/ 2530 w 10785"/>
                <a:gd name="connsiteY2865" fmla="*/ 7538 h 10000"/>
                <a:gd name="connsiteX2866" fmla="*/ 2530 w 10785"/>
                <a:gd name="connsiteY2866" fmla="*/ 7556 h 10000"/>
                <a:gd name="connsiteX2867" fmla="*/ 2641 w 10785"/>
                <a:gd name="connsiteY2867" fmla="*/ 7504 h 10000"/>
                <a:gd name="connsiteX2868" fmla="*/ 2654 w 10785"/>
                <a:gd name="connsiteY2868" fmla="*/ 7487 h 10000"/>
                <a:gd name="connsiteX2869" fmla="*/ 2664 w 10785"/>
                <a:gd name="connsiteY2869" fmla="*/ 7487 h 10000"/>
                <a:gd name="connsiteX2870" fmla="*/ 2668 w 10785"/>
                <a:gd name="connsiteY2870" fmla="*/ 7479 h 10000"/>
                <a:gd name="connsiteX2871" fmla="*/ 2673 w 10785"/>
                <a:gd name="connsiteY2871" fmla="*/ 7462 h 10000"/>
                <a:gd name="connsiteX2872" fmla="*/ 2673 w 10785"/>
                <a:gd name="connsiteY2872" fmla="*/ 7427 h 10000"/>
                <a:gd name="connsiteX2873" fmla="*/ 2687 w 10785"/>
                <a:gd name="connsiteY2873" fmla="*/ 7436 h 10000"/>
                <a:gd name="connsiteX2874" fmla="*/ 2696 w 10785"/>
                <a:gd name="connsiteY2874" fmla="*/ 7427 h 10000"/>
                <a:gd name="connsiteX2875" fmla="*/ 2700 w 10785"/>
                <a:gd name="connsiteY2875" fmla="*/ 7419 h 10000"/>
                <a:gd name="connsiteX2876" fmla="*/ 2710 w 10785"/>
                <a:gd name="connsiteY2876" fmla="*/ 7402 h 10000"/>
                <a:gd name="connsiteX2877" fmla="*/ 2724 w 10785"/>
                <a:gd name="connsiteY2877" fmla="*/ 7402 h 10000"/>
                <a:gd name="connsiteX2878" fmla="*/ 2724 w 10785"/>
                <a:gd name="connsiteY2878" fmla="*/ 7393 h 10000"/>
                <a:gd name="connsiteX2879" fmla="*/ 2737 w 10785"/>
                <a:gd name="connsiteY2879" fmla="*/ 7393 h 10000"/>
                <a:gd name="connsiteX2880" fmla="*/ 2742 w 10785"/>
                <a:gd name="connsiteY2880" fmla="*/ 7402 h 10000"/>
                <a:gd name="connsiteX2881" fmla="*/ 2747 w 10785"/>
                <a:gd name="connsiteY2881" fmla="*/ 7402 h 10000"/>
                <a:gd name="connsiteX2882" fmla="*/ 2760 w 10785"/>
                <a:gd name="connsiteY2882" fmla="*/ 7402 h 10000"/>
                <a:gd name="connsiteX2883" fmla="*/ 2770 w 10785"/>
                <a:gd name="connsiteY2883" fmla="*/ 7402 h 10000"/>
                <a:gd name="connsiteX2884" fmla="*/ 2774 w 10785"/>
                <a:gd name="connsiteY2884" fmla="*/ 7402 h 10000"/>
                <a:gd name="connsiteX2885" fmla="*/ 2783 w 10785"/>
                <a:gd name="connsiteY2885" fmla="*/ 7419 h 10000"/>
                <a:gd name="connsiteX2886" fmla="*/ 2802 w 10785"/>
                <a:gd name="connsiteY2886" fmla="*/ 7436 h 10000"/>
                <a:gd name="connsiteX2887" fmla="*/ 2816 w 10785"/>
                <a:gd name="connsiteY2887" fmla="*/ 7419 h 10000"/>
                <a:gd name="connsiteX2888" fmla="*/ 2834 w 10785"/>
                <a:gd name="connsiteY2888" fmla="*/ 7419 h 10000"/>
                <a:gd name="connsiteX2889" fmla="*/ 2843 w 10785"/>
                <a:gd name="connsiteY2889" fmla="*/ 7419 h 10000"/>
                <a:gd name="connsiteX2890" fmla="*/ 2848 w 10785"/>
                <a:gd name="connsiteY2890" fmla="*/ 7436 h 10000"/>
                <a:gd name="connsiteX2891" fmla="*/ 2857 w 10785"/>
                <a:gd name="connsiteY2891" fmla="*/ 7453 h 10000"/>
                <a:gd name="connsiteX2892" fmla="*/ 2857 w 10785"/>
                <a:gd name="connsiteY2892" fmla="*/ 7504 h 10000"/>
                <a:gd name="connsiteX2893" fmla="*/ 2862 w 10785"/>
                <a:gd name="connsiteY2893" fmla="*/ 7530 h 10000"/>
                <a:gd name="connsiteX2894" fmla="*/ 2876 w 10785"/>
                <a:gd name="connsiteY2894" fmla="*/ 7538 h 10000"/>
                <a:gd name="connsiteX2895" fmla="*/ 2871 w 10785"/>
                <a:gd name="connsiteY2895" fmla="*/ 7564 h 10000"/>
                <a:gd name="connsiteX2896" fmla="*/ 2871 w 10785"/>
                <a:gd name="connsiteY2896" fmla="*/ 7598 h 10000"/>
                <a:gd name="connsiteX2897" fmla="*/ 2857 w 10785"/>
                <a:gd name="connsiteY2897" fmla="*/ 7624 h 10000"/>
                <a:gd name="connsiteX2898" fmla="*/ 2862 w 10785"/>
                <a:gd name="connsiteY2898" fmla="*/ 7641 h 10000"/>
                <a:gd name="connsiteX2899" fmla="*/ 2871 w 10785"/>
                <a:gd name="connsiteY2899" fmla="*/ 7667 h 10000"/>
                <a:gd name="connsiteX2900" fmla="*/ 2880 w 10785"/>
                <a:gd name="connsiteY2900" fmla="*/ 7650 h 10000"/>
                <a:gd name="connsiteX2901" fmla="*/ 2894 w 10785"/>
                <a:gd name="connsiteY2901" fmla="*/ 7667 h 10000"/>
                <a:gd name="connsiteX2902" fmla="*/ 2903 w 10785"/>
                <a:gd name="connsiteY2902" fmla="*/ 7667 h 10000"/>
                <a:gd name="connsiteX2903" fmla="*/ 2908 w 10785"/>
                <a:gd name="connsiteY2903" fmla="*/ 7641 h 10000"/>
                <a:gd name="connsiteX2904" fmla="*/ 2917 w 10785"/>
                <a:gd name="connsiteY2904" fmla="*/ 7641 h 10000"/>
                <a:gd name="connsiteX2905" fmla="*/ 2922 w 10785"/>
                <a:gd name="connsiteY2905" fmla="*/ 7641 h 10000"/>
                <a:gd name="connsiteX2906" fmla="*/ 2931 w 10785"/>
                <a:gd name="connsiteY2906" fmla="*/ 7615 h 10000"/>
                <a:gd name="connsiteX2907" fmla="*/ 2935 w 10785"/>
                <a:gd name="connsiteY2907" fmla="*/ 7615 h 10000"/>
                <a:gd name="connsiteX2908" fmla="*/ 2945 w 10785"/>
                <a:gd name="connsiteY2908" fmla="*/ 7650 h 10000"/>
                <a:gd name="connsiteX2909" fmla="*/ 2949 w 10785"/>
                <a:gd name="connsiteY2909" fmla="*/ 7667 h 10000"/>
                <a:gd name="connsiteX2910" fmla="*/ 2949 w 10785"/>
                <a:gd name="connsiteY2910" fmla="*/ 7675 h 10000"/>
                <a:gd name="connsiteX2911" fmla="*/ 2945 w 10785"/>
                <a:gd name="connsiteY2911" fmla="*/ 7692 h 10000"/>
                <a:gd name="connsiteX2912" fmla="*/ 2963 w 10785"/>
                <a:gd name="connsiteY2912" fmla="*/ 7701 h 10000"/>
                <a:gd name="connsiteX2913" fmla="*/ 2963 w 10785"/>
                <a:gd name="connsiteY2913" fmla="*/ 7675 h 10000"/>
                <a:gd name="connsiteX2914" fmla="*/ 2954 w 10785"/>
                <a:gd name="connsiteY2914" fmla="*/ 7667 h 10000"/>
                <a:gd name="connsiteX2915" fmla="*/ 2963 w 10785"/>
                <a:gd name="connsiteY2915" fmla="*/ 7667 h 10000"/>
                <a:gd name="connsiteX2916" fmla="*/ 2982 w 10785"/>
                <a:gd name="connsiteY2916" fmla="*/ 7667 h 10000"/>
                <a:gd name="connsiteX2917" fmla="*/ 2991 w 10785"/>
                <a:gd name="connsiteY2917" fmla="*/ 7675 h 10000"/>
                <a:gd name="connsiteX2918" fmla="*/ 2995 w 10785"/>
                <a:gd name="connsiteY2918" fmla="*/ 7692 h 10000"/>
                <a:gd name="connsiteX2919" fmla="*/ 3009 w 10785"/>
                <a:gd name="connsiteY2919" fmla="*/ 7701 h 10000"/>
                <a:gd name="connsiteX2920" fmla="*/ 3018 w 10785"/>
                <a:gd name="connsiteY2920" fmla="*/ 7701 h 10000"/>
                <a:gd name="connsiteX2921" fmla="*/ 3023 w 10785"/>
                <a:gd name="connsiteY2921" fmla="*/ 7692 h 10000"/>
                <a:gd name="connsiteX2922" fmla="*/ 3028 w 10785"/>
                <a:gd name="connsiteY2922" fmla="*/ 7675 h 10000"/>
                <a:gd name="connsiteX2923" fmla="*/ 3037 w 10785"/>
                <a:gd name="connsiteY2923" fmla="*/ 7692 h 10000"/>
                <a:gd name="connsiteX2924" fmla="*/ 3028 w 10785"/>
                <a:gd name="connsiteY2924" fmla="*/ 7709 h 10000"/>
                <a:gd name="connsiteX2925" fmla="*/ 3023 w 10785"/>
                <a:gd name="connsiteY2925" fmla="*/ 7709 h 10000"/>
                <a:gd name="connsiteX2926" fmla="*/ 3018 w 10785"/>
                <a:gd name="connsiteY2926" fmla="*/ 7726 h 10000"/>
                <a:gd name="connsiteX2927" fmla="*/ 3009 w 10785"/>
                <a:gd name="connsiteY2927" fmla="*/ 7735 h 10000"/>
                <a:gd name="connsiteX2928" fmla="*/ 3009 w 10785"/>
                <a:gd name="connsiteY2928" fmla="*/ 7761 h 10000"/>
                <a:gd name="connsiteX2929" fmla="*/ 3009 w 10785"/>
                <a:gd name="connsiteY2929" fmla="*/ 7778 h 10000"/>
                <a:gd name="connsiteX2930" fmla="*/ 3018 w 10785"/>
                <a:gd name="connsiteY2930" fmla="*/ 7786 h 10000"/>
                <a:gd name="connsiteX2931" fmla="*/ 3023 w 10785"/>
                <a:gd name="connsiteY2931" fmla="*/ 7786 h 10000"/>
                <a:gd name="connsiteX2932" fmla="*/ 3028 w 10785"/>
                <a:gd name="connsiteY2932" fmla="*/ 7778 h 10000"/>
                <a:gd name="connsiteX2933" fmla="*/ 3051 w 10785"/>
                <a:gd name="connsiteY2933" fmla="*/ 7761 h 10000"/>
                <a:gd name="connsiteX2934" fmla="*/ 3055 w 10785"/>
                <a:gd name="connsiteY2934" fmla="*/ 7778 h 10000"/>
                <a:gd name="connsiteX2935" fmla="*/ 3065 w 10785"/>
                <a:gd name="connsiteY2935" fmla="*/ 7761 h 10000"/>
                <a:gd name="connsiteX2936" fmla="*/ 3069 w 10785"/>
                <a:gd name="connsiteY2936" fmla="*/ 7786 h 10000"/>
                <a:gd name="connsiteX2937" fmla="*/ 3083 w 10785"/>
                <a:gd name="connsiteY2937" fmla="*/ 7786 h 10000"/>
                <a:gd name="connsiteX2938" fmla="*/ 3078 w 10785"/>
                <a:gd name="connsiteY2938" fmla="*/ 7761 h 10000"/>
                <a:gd name="connsiteX2939" fmla="*/ 3083 w 10785"/>
                <a:gd name="connsiteY2939" fmla="*/ 7752 h 10000"/>
                <a:gd name="connsiteX2940" fmla="*/ 3097 w 10785"/>
                <a:gd name="connsiteY2940" fmla="*/ 7752 h 10000"/>
                <a:gd name="connsiteX2941" fmla="*/ 3111 w 10785"/>
                <a:gd name="connsiteY2941" fmla="*/ 7726 h 10000"/>
                <a:gd name="connsiteX2942" fmla="*/ 3124 w 10785"/>
                <a:gd name="connsiteY2942" fmla="*/ 7709 h 10000"/>
                <a:gd name="connsiteX2943" fmla="*/ 3143 w 10785"/>
                <a:gd name="connsiteY2943" fmla="*/ 7692 h 10000"/>
                <a:gd name="connsiteX2944" fmla="*/ 3152 w 10785"/>
                <a:gd name="connsiteY2944" fmla="*/ 7667 h 10000"/>
                <a:gd name="connsiteX2945" fmla="*/ 3157 w 10785"/>
                <a:gd name="connsiteY2945" fmla="*/ 7650 h 10000"/>
                <a:gd name="connsiteX2946" fmla="*/ 3161 w 10785"/>
                <a:gd name="connsiteY2946" fmla="*/ 7650 h 10000"/>
                <a:gd name="connsiteX2947" fmla="*/ 3189 w 10785"/>
                <a:gd name="connsiteY2947" fmla="*/ 7641 h 10000"/>
                <a:gd name="connsiteX2948" fmla="*/ 3198 w 10785"/>
                <a:gd name="connsiteY2948" fmla="*/ 7624 h 10000"/>
                <a:gd name="connsiteX2949" fmla="*/ 3217 w 10785"/>
                <a:gd name="connsiteY2949" fmla="*/ 7615 h 10000"/>
                <a:gd name="connsiteX2950" fmla="*/ 3235 w 10785"/>
                <a:gd name="connsiteY2950" fmla="*/ 7598 h 10000"/>
                <a:gd name="connsiteX2951" fmla="*/ 3235 w 10785"/>
                <a:gd name="connsiteY2951" fmla="*/ 7615 h 10000"/>
                <a:gd name="connsiteX2952" fmla="*/ 3235 w 10785"/>
                <a:gd name="connsiteY2952" fmla="*/ 7641 h 10000"/>
                <a:gd name="connsiteX2953" fmla="*/ 3235 w 10785"/>
                <a:gd name="connsiteY2953" fmla="*/ 7650 h 10000"/>
                <a:gd name="connsiteX2954" fmla="*/ 3226 w 10785"/>
                <a:gd name="connsiteY2954" fmla="*/ 7650 h 10000"/>
                <a:gd name="connsiteX2955" fmla="*/ 3217 w 10785"/>
                <a:gd name="connsiteY2955" fmla="*/ 7650 h 10000"/>
                <a:gd name="connsiteX2956" fmla="*/ 3212 w 10785"/>
                <a:gd name="connsiteY2956" fmla="*/ 7675 h 10000"/>
                <a:gd name="connsiteX2957" fmla="*/ 3212 w 10785"/>
                <a:gd name="connsiteY2957"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334 w 10785"/>
                <a:gd name="connsiteY731" fmla="*/ 4810 h 10000"/>
                <a:gd name="connsiteX732" fmla="*/ 10422 w 10785"/>
                <a:gd name="connsiteY732" fmla="*/ 5051 h 10000"/>
                <a:gd name="connsiteX733" fmla="*/ 10691 w 10785"/>
                <a:gd name="connsiteY733" fmla="*/ 5255 h 10000"/>
                <a:gd name="connsiteX734" fmla="*/ 10619 w 10785"/>
                <a:gd name="connsiteY734" fmla="*/ 4708 h 10000"/>
                <a:gd name="connsiteX735" fmla="*/ 10785 w 10785"/>
                <a:gd name="connsiteY735" fmla="*/ 4708 h 10000"/>
                <a:gd name="connsiteX736" fmla="*/ 10689 w 10785"/>
                <a:gd name="connsiteY736" fmla="*/ 4467 h 10000"/>
                <a:gd name="connsiteX737" fmla="*/ 10354 w 10785"/>
                <a:gd name="connsiteY737" fmla="*/ 4302 h 10000"/>
                <a:gd name="connsiteX738" fmla="*/ 9912 w 10785"/>
                <a:gd name="connsiteY738" fmla="*/ 3675 h 10000"/>
                <a:gd name="connsiteX739" fmla="*/ 9903 w 10785"/>
                <a:gd name="connsiteY739" fmla="*/ 3667 h 10000"/>
                <a:gd name="connsiteX740" fmla="*/ 9894 w 10785"/>
                <a:gd name="connsiteY740" fmla="*/ 3641 h 10000"/>
                <a:gd name="connsiteX741" fmla="*/ 9889 w 10785"/>
                <a:gd name="connsiteY741" fmla="*/ 3650 h 10000"/>
                <a:gd name="connsiteX742" fmla="*/ 9848 w 10785"/>
                <a:gd name="connsiteY742" fmla="*/ 3598 h 10000"/>
                <a:gd name="connsiteX743" fmla="*/ 9829 w 10785"/>
                <a:gd name="connsiteY743" fmla="*/ 3581 h 10000"/>
                <a:gd name="connsiteX744" fmla="*/ 9820 w 10785"/>
                <a:gd name="connsiteY744" fmla="*/ 3581 h 10000"/>
                <a:gd name="connsiteX745" fmla="*/ 9793 w 10785"/>
                <a:gd name="connsiteY745" fmla="*/ 3556 h 10000"/>
                <a:gd name="connsiteX746" fmla="*/ 9779 w 10785"/>
                <a:gd name="connsiteY746" fmla="*/ 3556 h 10000"/>
                <a:gd name="connsiteX747" fmla="*/ 9747 w 10785"/>
                <a:gd name="connsiteY747" fmla="*/ 3487 h 10000"/>
                <a:gd name="connsiteX748" fmla="*/ 9668 w 10785"/>
                <a:gd name="connsiteY748" fmla="*/ 3479 h 10000"/>
                <a:gd name="connsiteX749" fmla="*/ 9659 w 10785"/>
                <a:gd name="connsiteY749" fmla="*/ 3487 h 10000"/>
                <a:gd name="connsiteX750" fmla="*/ 9645 w 10785"/>
                <a:gd name="connsiteY750" fmla="*/ 3504 h 10000"/>
                <a:gd name="connsiteX751" fmla="*/ 9631 w 10785"/>
                <a:gd name="connsiteY751" fmla="*/ 3487 h 10000"/>
                <a:gd name="connsiteX752" fmla="*/ 9613 w 10785"/>
                <a:gd name="connsiteY752" fmla="*/ 3479 h 10000"/>
                <a:gd name="connsiteX753" fmla="*/ 9599 w 10785"/>
                <a:gd name="connsiteY753" fmla="*/ 3479 h 10000"/>
                <a:gd name="connsiteX754" fmla="*/ 9571 w 10785"/>
                <a:gd name="connsiteY754" fmla="*/ 3479 h 10000"/>
                <a:gd name="connsiteX755" fmla="*/ 9562 w 10785"/>
                <a:gd name="connsiteY755" fmla="*/ 3487 h 10000"/>
                <a:gd name="connsiteX756" fmla="*/ 9539 w 10785"/>
                <a:gd name="connsiteY756" fmla="*/ 3487 h 10000"/>
                <a:gd name="connsiteX757" fmla="*/ 9507 w 10785"/>
                <a:gd name="connsiteY757" fmla="*/ 3453 h 10000"/>
                <a:gd name="connsiteX758" fmla="*/ 9498 w 10785"/>
                <a:gd name="connsiteY758" fmla="*/ 3453 h 10000"/>
                <a:gd name="connsiteX759" fmla="*/ 9387 w 10785"/>
                <a:gd name="connsiteY759" fmla="*/ 3419 h 10000"/>
                <a:gd name="connsiteX760" fmla="*/ 9373 w 10785"/>
                <a:gd name="connsiteY760" fmla="*/ 3427 h 10000"/>
                <a:gd name="connsiteX761" fmla="*/ 9373 w 10785"/>
                <a:gd name="connsiteY761" fmla="*/ 3462 h 10000"/>
                <a:gd name="connsiteX762" fmla="*/ 9378 w 10785"/>
                <a:gd name="connsiteY762" fmla="*/ 3479 h 10000"/>
                <a:gd name="connsiteX763" fmla="*/ 9378 w 10785"/>
                <a:gd name="connsiteY763" fmla="*/ 3530 h 10000"/>
                <a:gd name="connsiteX764" fmla="*/ 9355 w 10785"/>
                <a:gd name="connsiteY764" fmla="*/ 3538 h 10000"/>
                <a:gd name="connsiteX765" fmla="*/ 9355 w 10785"/>
                <a:gd name="connsiteY765" fmla="*/ 3581 h 10000"/>
                <a:gd name="connsiteX766" fmla="*/ 9387 w 10785"/>
                <a:gd name="connsiteY766" fmla="*/ 3590 h 10000"/>
                <a:gd name="connsiteX767" fmla="*/ 9401 w 10785"/>
                <a:gd name="connsiteY767" fmla="*/ 3667 h 10000"/>
                <a:gd name="connsiteX768" fmla="*/ 9406 w 10785"/>
                <a:gd name="connsiteY768" fmla="*/ 3675 h 10000"/>
                <a:gd name="connsiteX769" fmla="*/ 9406 w 10785"/>
                <a:gd name="connsiteY769" fmla="*/ 3701 h 10000"/>
                <a:gd name="connsiteX770" fmla="*/ 9415 w 10785"/>
                <a:gd name="connsiteY770" fmla="*/ 3752 h 10000"/>
                <a:gd name="connsiteX771" fmla="*/ 9373 w 10785"/>
                <a:gd name="connsiteY771" fmla="*/ 3838 h 10000"/>
                <a:gd name="connsiteX772" fmla="*/ 9355 w 10785"/>
                <a:gd name="connsiteY772" fmla="*/ 3863 h 10000"/>
                <a:gd name="connsiteX773" fmla="*/ 9327 w 10785"/>
                <a:gd name="connsiteY773" fmla="*/ 3863 h 10000"/>
                <a:gd name="connsiteX774" fmla="*/ 9313 w 10785"/>
                <a:gd name="connsiteY774" fmla="*/ 3846 h 10000"/>
                <a:gd name="connsiteX775" fmla="*/ 9300 w 10785"/>
                <a:gd name="connsiteY775" fmla="*/ 3778 h 10000"/>
                <a:gd name="connsiteX776" fmla="*/ 9281 w 10785"/>
                <a:gd name="connsiteY776" fmla="*/ 3752 h 10000"/>
                <a:gd name="connsiteX777" fmla="*/ 9281 w 10785"/>
                <a:gd name="connsiteY777" fmla="*/ 3735 h 10000"/>
                <a:gd name="connsiteX778" fmla="*/ 9267 w 10785"/>
                <a:gd name="connsiteY778" fmla="*/ 3726 h 10000"/>
                <a:gd name="connsiteX779" fmla="*/ 9240 w 10785"/>
                <a:gd name="connsiteY779" fmla="*/ 3726 h 10000"/>
                <a:gd name="connsiteX780" fmla="*/ 9230 w 10785"/>
                <a:gd name="connsiteY780" fmla="*/ 3718 h 10000"/>
                <a:gd name="connsiteX781" fmla="*/ 9226 w 10785"/>
                <a:gd name="connsiteY781" fmla="*/ 3590 h 10000"/>
                <a:gd name="connsiteX782" fmla="*/ 9207 w 10785"/>
                <a:gd name="connsiteY782" fmla="*/ 3581 h 10000"/>
                <a:gd name="connsiteX783" fmla="*/ 9207 w 10785"/>
                <a:gd name="connsiteY783" fmla="*/ 3556 h 10000"/>
                <a:gd name="connsiteX784" fmla="*/ 9217 w 10785"/>
                <a:gd name="connsiteY784" fmla="*/ 3538 h 10000"/>
                <a:gd name="connsiteX785" fmla="*/ 9212 w 10785"/>
                <a:gd name="connsiteY785" fmla="*/ 3538 h 10000"/>
                <a:gd name="connsiteX786" fmla="*/ 9198 w 10785"/>
                <a:gd name="connsiteY786" fmla="*/ 3513 h 10000"/>
                <a:gd name="connsiteX787" fmla="*/ 9194 w 10785"/>
                <a:gd name="connsiteY787" fmla="*/ 3530 h 10000"/>
                <a:gd name="connsiteX788" fmla="*/ 9143 w 10785"/>
                <a:gd name="connsiteY788" fmla="*/ 3615 h 10000"/>
                <a:gd name="connsiteX789" fmla="*/ 9138 w 10785"/>
                <a:gd name="connsiteY789" fmla="*/ 3615 h 10000"/>
                <a:gd name="connsiteX790" fmla="*/ 9134 w 10785"/>
                <a:gd name="connsiteY790" fmla="*/ 3615 h 10000"/>
                <a:gd name="connsiteX791" fmla="*/ 9106 w 10785"/>
                <a:gd name="connsiteY791" fmla="*/ 3615 h 10000"/>
                <a:gd name="connsiteX792" fmla="*/ 9078 w 10785"/>
                <a:gd name="connsiteY792" fmla="*/ 3590 h 10000"/>
                <a:gd name="connsiteX793" fmla="*/ 9037 w 10785"/>
                <a:gd name="connsiteY793" fmla="*/ 3581 h 10000"/>
                <a:gd name="connsiteX794" fmla="*/ 9023 w 10785"/>
                <a:gd name="connsiteY794" fmla="*/ 3590 h 10000"/>
                <a:gd name="connsiteX795" fmla="*/ 9018 w 10785"/>
                <a:gd name="connsiteY795" fmla="*/ 3590 h 10000"/>
                <a:gd name="connsiteX796" fmla="*/ 9018 w 10785"/>
                <a:gd name="connsiteY796" fmla="*/ 3590 h 10000"/>
                <a:gd name="connsiteX797" fmla="*/ 8991 w 10785"/>
                <a:gd name="connsiteY797" fmla="*/ 3590 h 10000"/>
                <a:gd name="connsiteX798" fmla="*/ 8972 w 10785"/>
                <a:gd name="connsiteY798" fmla="*/ 3581 h 10000"/>
                <a:gd name="connsiteX799" fmla="*/ 8959 w 10785"/>
                <a:gd name="connsiteY799" fmla="*/ 3513 h 10000"/>
                <a:gd name="connsiteX800" fmla="*/ 8931 w 10785"/>
                <a:gd name="connsiteY800" fmla="*/ 3538 h 10000"/>
                <a:gd name="connsiteX801" fmla="*/ 8889 w 10785"/>
                <a:gd name="connsiteY801" fmla="*/ 3538 h 10000"/>
                <a:gd name="connsiteX802" fmla="*/ 8871 w 10785"/>
                <a:gd name="connsiteY802" fmla="*/ 3556 h 10000"/>
                <a:gd name="connsiteX803" fmla="*/ 8857 w 10785"/>
                <a:gd name="connsiteY803" fmla="*/ 3538 h 10000"/>
                <a:gd name="connsiteX804" fmla="*/ 8843 w 10785"/>
                <a:gd name="connsiteY804" fmla="*/ 3538 h 10000"/>
                <a:gd name="connsiteX805" fmla="*/ 8839 w 10785"/>
                <a:gd name="connsiteY805" fmla="*/ 3556 h 10000"/>
                <a:gd name="connsiteX806" fmla="*/ 8839 w 10785"/>
                <a:gd name="connsiteY806" fmla="*/ 3581 h 10000"/>
                <a:gd name="connsiteX807" fmla="*/ 8825 w 10785"/>
                <a:gd name="connsiteY807" fmla="*/ 3564 h 10000"/>
                <a:gd name="connsiteX808" fmla="*/ 8825 w 10785"/>
                <a:gd name="connsiteY808" fmla="*/ 3615 h 10000"/>
                <a:gd name="connsiteX809" fmla="*/ 8802 w 10785"/>
                <a:gd name="connsiteY809" fmla="*/ 3598 h 10000"/>
                <a:gd name="connsiteX810" fmla="*/ 8797 w 10785"/>
                <a:gd name="connsiteY810" fmla="*/ 3641 h 10000"/>
                <a:gd name="connsiteX811" fmla="*/ 8783 w 10785"/>
                <a:gd name="connsiteY811" fmla="*/ 3667 h 10000"/>
                <a:gd name="connsiteX812" fmla="*/ 8779 w 10785"/>
                <a:gd name="connsiteY812" fmla="*/ 3650 h 10000"/>
                <a:gd name="connsiteX813" fmla="*/ 8779 w 10785"/>
                <a:gd name="connsiteY813" fmla="*/ 3615 h 10000"/>
                <a:gd name="connsiteX814" fmla="*/ 8770 w 10785"/>
                <a:gd name="connsiteY814" fmla="*/ 3590 h 10000"/>
                <a:gd name="connsiteX815" fmla="*/ 8765 w 10785"/>
                <a:gd name="connsiteY815" fmla="*/ 3598 h 10000"/>
                <a:gd name="connsiteX816" fmla="*/ 8756 w 10785"/>
                <a:gd name="connsiteY816" fmla="*/ 3590 h 10000"/>
                <a:gd name="connsiteX817" fmla="*/ 8737 w 10785"/>
                <a:gd name="connsiteY817" fmla="*/ 3556 h 10000"/>
                <a:gd name="connsiteX818" fmla="*/ 8724 w 10785"/>
                <a:gd name="connsiteY818" fmla="*/ 3538 h 10000"/>
                <a:gd name="connsiteX819" fmla="*/ 8696 w 10785"/>
                <a:gd name="connsiteY819" fmla="*/ 3538 h 10000"/>
                <a:gd name="connsiteX820" fmla="*/ 8691 w 10785"/>
                <a:gd name="connsiteY820" fmla="*/ 3513 h 10000"/>
                <a:gd name="connsiteX821" fmla="*/ 8668 w 10785"/>
                <a:gd name="connsiteY821" fmla="*/ 3504 h 10000"/>
                <a:gd name="connsiteX822" fmla="*/ 8668 w 10785"/>
                <a:gd name="connsiteY822" fmla="*/ 3487 h 10000"/>
                <a:gd name="connsiteX823" fmla="*/ 8691 w 10785"/>
                <a:gd name="connsiteY823" fmla="*/ 3350 h 10000"/>
                <a:gd name="connsiteX824" fmla="*/ 8691 w 10785"/>
                <a:gd name="connsiteY824" fmla="*/ 3291 h 10000"/>
                <a:gd name="connsiteX825" fmla="*/ 8677 w 10785"/>
                <a:gd name="connsiteY825" fmla="*/ 3239 h 10000"/>
                <a:gd name="connsiteX826" fmla="*/ 8677 w 10785"/>
                <a:gd name="connsiteY826" fmla="*/ 3231 h 10000"/>
                <a:gd name="connsiteX827" fmla="*/ 8636 w 10785"/>
                <a:gd name="connsiteY827" fmla="*/ 3128 h 10000"/>
                <a:gd name="connsiteX828" fmla="*/ 8622 w 10785"/>
                <a:gd name="connsiteY828" fmla="*/ 3120 h 10000"/>
                <a:gd name="connsiteX829" fmla="*/ 8618 w 10785"/>
                <a:gd name="connsiteY829" fmla="*/ 3094 h 10000"/>
                <a:gd name="connsiteX830" fmla="*/ 8594 w 10785"/>
                <a:gd name="connsiteY830" fmla="*/ 3077 h 10000"/>
                <a:gd name="connsiteX831" fmla="*/ 8548 w 10785"/>
                <a:gd name="connsiteY831" fmla="*/ 3077 h 10000"/>
                <a:gd name="connsiteX832" fmla="*/ 8535 w 10785"/>
                <a:gd name="connsiteY832" fmla="*/ 3068 h 10000"/>
                <a:gd name="connsiteX833" fmla="*/ 8429 w 10785"/>
                <a:gd name="connsiteY833" fmla="*/ 3077 h 10000"/>
                <a:gd name="connsiteX834" fmla="*/ 8424 w 10785"/>
                <a:gd name="connsiteY834" fmla="*/ 3077 h 10000"/>
                <a:gd name="connsiteX835" fmla="*/ 8396 w 10785"/>
                <a:gd name="connsiteY835" fmla="*/ 3077 h 10000"/>
                <a:gd name="connsiteX836" fmla="*/ 8387 w 10785"/>
                <a:gd name="connsiteY836" fmla="*/ 3094 h 10000"/>
                <a:gd name="connsiteX837" fmla="*/ 8378 w 10785"/>
                <a:gd name="connsiteY837" fmla="*/ 3094 h 10000"/>
                <a:gd name="connsiteX838" fmla="*/ 8341 w 10785"/>
                <a:gd name="connsiteY838" fmla="*/ 3077 h 10000"/>
                <a:gd name="connsiteX839" fmla="*/ 8336 w 10785"/>
                <a:gd name="connsiteY839" fmla="*/ 3077 h 10000"/>
                <a:gd name="connsiteX840" fmla="*/ 8327 w 10785"/>
                <a:gd name="connsiteY840" fmla="*/ 3103 h 10000"/>
                <a:gd name="connsiteX841" fmla="*/ 8309 w 10785"/>
                <a:gd name="connsiteY841" fmla="*/ 3120 h 10000"/>
                <a:gd name="connsiteX842" fmla="*/ 8304 w 10785"/>
                <a:gd name="connsiteY842" fmla="*/ 3103 h 10000"/>
                <a:gd name="connsiteX843" fmla="*/ 8276 w 10785"/>
                <a:gd name="connsiteY843" fmla="*/ 3103 h 10000"/>
                <a:gd name="connsiteX844" fmla="*/ 8267 w 10785"/>
                <a:gd name="connsiteY844" fmla="*/ 3120 h 10000"/>
                <a:gd name="connsiteX845" fmla="*/ 8253 w 10785"/>
                <a:gd name="connsiteY845" fmla="*/ 3103 h 10000"/>
                <a:gd name="connsiteX846" fmla="*/ 8230 w 10785"/>
                <a:gd name="connsiteY846" fmla="*/ 3128 h 10000"/>
                <a:gd name="connsiteX847" fmla="*/ 8217 w 10785"/>
                <a:gd name="connsiteY847" fmla="*/ 3128 h 10000"/>
                <a:gd name="connsiteX848" fmla="*/ 8203 w 10785"/>
                <a:gd name="connsiteY848" fmla="*/ 3154 h 10000"/>
                <a:gd name="connsiteX849" fmla="*/ 8175 w 10785"/>
                <a:gd name="connsiteY849" fmla="*/ 3094 h 10000"/>
                <a:gd name="connsiteX850" fmla="*/ 8161 w 10785"/>
                <a:gd name="connsiteY850" fmla="*/ 3094 h 10000"/>
                <a:gd name="connsiteX851" fmla="*/ 8157 w 10785"/>
                <a:gd name="connsiteY851" fmla="*/ 3077 h 10000"/>
                <a:gd name="connsiteX852" fmla="*/ 8180 w 10785"/>
                <a:gd name="connsiteY852" fmla="*/ 3068 h 10000"/>
                <a:gd name="connsiteX853" fmla="*/ 8189 w 10785"/>
                <a:gd name="connsiteY853" fmla="*/ 3043 h 10000"/>
                <a:gd name="connsiteX854" fmla="*/ 8189 w 10785"/>
                <a:gd name="connsiteY854" fmla="*/ 3017 h 10000"/>
                <a:gd name="connsiteX855" fmla="*/ 8147 w 10785"/>
                <a:gd name="connsiteY855" fmla="*/ 2940 h 10000"/>
                <a:gd name="connsiteX856" fmla="*/ 8143 w 10785"/>
                <a:gd name="connsiteY856" fmla="*/ 2915 h 10000"/>
                <a:gd name="connsiteX857" fmla="*/ 8143 w 10785"/>
                <a:gd name="connsiteY857" fmla="*/ 2906 h 10000"/>
                <a:gd name="connsiteX858" fmla="*/ 8097 w 10785"/>
                <a:gd name="connsiteY858" fmla="*/ 2932 h 10000"/>
                <a:gd name="connsiteX859" fmla="*/ 8083 w 10785"/>
                <a:gd name="connsiteY859" fmla="*/ 2932 h 10000"/>
                <a:gd name="connsiteX860" fmla="*/ 8074 w 10785"/>
                <a:gd name="connsiteY860" fmla="*/ 2906 h 10000"/>
                <a:gd name="connsiteX861" fmla="*/ 8074 w 10785"/>
                <a:gd name="connsiteY861" fmla="*/ 2897 h 10000"/>
                <a:gd name="connsiteX862" fmla="*/ 8055 w 10785"/>
                <a:gd name="connsiteY862" fmla="*/ 2872 h 10000"/>
                <a:gd name="connsiteX863" fmla="*/ 8046 w 10785"/>
                <a:gd name="connsiteY863" fmla="*/ 2829 h 10000"/>
                <a:gd name="connsiteX864" fmla="*/ 8041 w 10785"/>
                <a:gd name="connsiteY864" fmla="*/ 2829 h 10000"/>
                <a:gd name="connsiteX865" fmla="*/ 8023 w 10785"/>
                <a:gd name="connsiteY865" fmla="*/ 2803 h 10000"/>
                <a:gd name="connsiteX866" fmla="*/ 8014 w 10785"/>
                <a:gd name="connsiteY866" fmla="*/ 2829 h 10000"/>
                <a:gd name="connsiteX867" fmla="*/ 8000 w 10785"/>
                <a:gd name="connsiteY867" fmla="*/ 2829 h 10000"/>
                <a:gd name="connsiteX868" fmla="*/ 7995 w 10785"/>
                <a:gd name="connsiteY868" fmla="*/ 2821 h 10000"/>
                <a:gd name="connsiteX869" fmla="*/ 7972 w 10785"/>
                <a:gd name="connsiteY869" fmla="*/ 2803 h 10000"/>
                <a:gd name="connsiteX870" fmla="*/ 7968 w 10785"/>
                <a:gd name="connsiteY870" fmla="*/ 2821 h 10000"/>
                <a:gd name="connsiteX871" fmla="*/ 7968 w 10785"/>
                <a:gd name="connsiteY871" fmla="*/ 2803 h 10000"/>
                <a:gd name="connsiteX872" fmla="*/ 7995 w 10785"/>
                <a:gd name="connsiteY872" fmla="*/ 2735 h 10000"/>
                <a:gd name="connsiteX873" fmla="*/ 8000 w 10785"/>
                <a:gd name="connsiteY873" fmla="*/ 2735 h 10000"/>
                <a:gd name="connsiteX874" fmla="*/ 8014 w 10785"/>
                <a:gd name="connsiteY874" fmla="*/ 2744 h 10000"/>
                <a:gd name="connsiteX875" fmla="*/ 8023 w 10785"/>
                <a:gd name="connsiteY875" fmla="*/ 2769 h 10000"/>
                <a:gd name="connsiteX876" fmla="*/ 8032 w 10785"/>
                <a:gd name="connsiteY876" fmla="*/ 2744 h 10000"/>
                <a:gd name="connsiteX877" fmla="*/ 8032 w 10785"/>
                <a:gd name="connsiteY877" fmla="*/ 2709 h 10000"/>
                <a:gd name="connsiteX878" fmla="*/ 8023 w 10785"/>
                <a:gd name="connsiteY878" fmla="*/ 2632 h 10000"/>
                <a:gd name="connsiteX879" fmla="*/ 7986 w 10785"/>
                <a:gd name="connsiteY879" fmla="*/ 2581 h 10000"/>
                <a:gd name="connsiteX880" fmla="*/ 7968 w 10785"/>
                <a:gd name="connsiteY880" fmla="*/ 2581 h 10000"/>
                <a:gd name="connsiteX881" fmla="*/ 7963 w 10785"/>
                <a:gd name="connsiteY881" fmla="*/ 2556 h 10000"/>
                <a:gd name="connsiteX882" fmla="*/ 7935 w 10785"/>
                <a:gd name="connsiteY882" fmla="*/ 2547 h 10000"/>
                <a:gd name="connsiteX883" fmla="*/ 7912 w 10785"/>
                <a:gd name="connsiteY883" fmla="*/ 2547 h 10000"/>
                <a:gd name="connsiteX884" fmla="*/ 7912 w 10785"/>
                <a:gd name="connsiteY884" fmla="*/ 2556 h 10000"/>
                <a:gd name="connsiteX885" fmla="*/ 7908 w 10785"/>
                <a:gd name="connsiteY885" fmla="*/ 2547 h 10000"/>
                <a:gd name="connsiteX886" fmla="*/ 7862 w 10785"/>
                <a:gd name="connsiteY886" fmla="*/ 2547 h 10000"/>
                <a:gd name="connsiteX887" fmla="*/ 7848 w 10785"/>
                <a:gd name="connsiteY887" fmla="*/ 2556 h 10000"/>
                <a:gd name="connsiteX888" fmla="*/ 7820 w 10785"/>
                <a:gd name="connsiteY888" fmla="*/ 2547 h 10000"/>
                <a:gd name="connsiteX889" fmla="*/ 7806 w 10785"/>
                <a:gd name="connsiteY889" fmla="*/ 2513 h 10000"/>
                <a:gd name="connsiteX890" fmla="*/ 7788 w 10785"/>
                <a:gd name="connsiteY890" fmla="*/ 2513 h 10000"/>
                <a:gd name="connsiteX891" fmla="*/ 7760 w 10785"/>
                <a:gd name="connsiteY891" fmla="*/ 2470 h 10000"/>
                <a:gd name="connsiteX892" fmla="*/ 7751 w 10785"/>
                <a:gd name="connsiteY892" fmla="*/ 2470 h 10000"/>
                <a:gd name="connsiteX893" fmla="*/ 7705 w 10785"/>
                <a:gd name="connsiteY893" fmla="*/ 2462 h 10000"/>
                <a:gd name="connsiteX894" fmla="*/ 7673 w 10785"/>
                <a:gd name="connsiteY894" fmla="*/ 2419 h 10000"/>
                <a:gd name="connsiteX895" fmla="*/ 7627 w 10785"/>
                <a:gd name="connsiteY895" fmla="*/ 2419 h 10000"/>
                <a:gd name="connsiteX896" fmla="*/ 7613 w 10785"/>
                <a:gd name="connsiteY896" fmla="*/ 2410 h 10000"/>
                <a:gd name="connsiteX897" fmla="*/ 7493 w 10785"/>
                <a:gd name="connsiteY897" fmla="*/ 2393 h 10000"/>
                <a:gd name="connsiteX898" fmla="*/ 7479 w 10785"/>
                <a:gd name="connsiteY898" fmla="*/ 2385 h 10000"/>
                <a:gd name="connsiteX899" fmla="*/ 7479 w 10785"/>
                <a:gd name="connsiteY899" fmla="*/ 2376 h 10000"/>
                <a:gd name="connsiteX900" fmla="*/ 7465 w 10785"/>
                <a:gd name="connsiteY900" fmla="*/ 2359 h 10000"/>
                <a:gd name="connsiteX901" fmla="*/ 7447 w 10785"/>
                <a:gd name="connsiteY901" fmla="*/ 2350 h 10000"/>
                <a:gd name="connsiteX902" fmla="*/ 7433 w 10785"/>
                <a:gd name="connsiteY902" fmla="*/ 2376 h 10000"/>
                <a:gd name="connsiteX903" fmla="*/ 7433 w 10785"/>
                <a:gd name="connsiteY903" fmla="*/ 2385 h 10000"/>
                <a:gd name="connsiteX904" fmla="*/ 7447 w 10785"/>
                <a:gd name="connsiteY904" fmla="*/ 2410 h 10000"/>
                <a:gd name="connsiteX905" fmla="*/ 7447 w 10785"/>
                <a:gd name="connsiteY905" fmla="*/ 2436 h 10000"/>
                <a:gd name="connsiteX906" fmla="*/ 7452 w 10785"/>
                <a:gd name="connsiteY906" fmla="*/ 2462 h 10000"/>
                <a:gd name="connsiteX907" fmla="*/ 7447 w 10785"/>
                <a:gd name="connsiteY907" fmla="*/ 2470 h 10000"/>
                <a:gd name="connsiteX908" fmla="*/ 7424 w 10785"/>
                <a:gd name="connsiteY908" fmla="*/ 2513 h 10000"/>
                <a:gd name="connsiteX909" fmla="*/ 7419 w 10785"/>
                <a:gd name="connsiteY909" fmla="*/ 2556 h 10000"/>
                <a:gd name="connsiteX910" fmla="*/ 7406 w 10785"/>
                <a:gd name="connsiteY910" fmla="*/ 2624 h 10000"/>
                <a:gd name="connsiteX911" fmla="*/ 7392 w 10785"/>
                <a:gd name="connsiteY911" fmla="*/ 2624 h 10000"/>
                <a:gd name="connsiteX912" fmla="*/ 7373 w 10785"/>
                <a:gd name="connsiteY912" fmla="*/ 2650 h 10000"/>
                <a:gd name="connsiteX913" fmla="*/ 7364 w 10785"/>
                <a:gd name="connsiteY913" fmla="*/ 2684 h 10000"/>
                <a:gd name="connsiteX914" fmla="*/ 7364 w 10785"/>
                <a:gd name="connsiteY914" fmla="*/ 2692 h 10000"/>
                <a:gd name="connsiteX915" fmla="*/ 7373 w 10785"/>
                <a:gd name="connsiteY915" fmla="*/ 2718 h 10000"/>
                <a:gd name="connsiteX916" fmla="*/ 7373 w 10785"/>
                <a:gd name="connsiteY916" fmla="*/ 2744 h 10000"/>
                <a:gd name="connsiteX917" fmla="*/ 7359 w 10785"/>
                <a:gd name="connsiteY917" fmla="*/ 2744 h 10000"/>
                <a:gd name="connsiteX918" fmla="*/ 7359 w 10785"/>
                <a:gd name="connsiteY918" fmla="*/ 2795 h 10000"/>
                <a:gd name="connsiteX919" fmla="*/ 7364 w 10785"/>
                <a:gd name="connsiteY919" fmla="*/ 2821 h 10000"/>
                <a:gd name="connsiteX920" fmla="*/ 7378 w 10785"/>
                <a:gd name="connsiteY920" fmla="*/ 2846 h 10000"/>
                <a:gd name="connsiteX921" fmla="*/ 7378 w 10785"/>
                <a:gd name="connsiteY921" fmla="*/ 2855 h 10000"/>
                <a:gd name="connsiteX922" fmla="*/ 7378 w 10785"/>
                <a:gd name="connsiteY922" fmla="*/ 2880 h 10000"/>
                <a:gd name="connsiteX923" fmla="*/ 7378 w 10785"/>
                <a:gd name="connsiteY923" fmla="*/ 2906 h 10000"/>
                <a:gd name="connsiteX924" fmla="*/ 7364 w 10785"/>
                <a:gd name="connsiteY924" fmla="*/ 2906 h 10000"/>
                <a:gd name="connsiteX925" fmla="*/ 7346 w 10785"/>
                <a:gd name="connsiteY925" fmla="*/ 2880 h 10000"/>
                <a:gd name="connsiteX926" fmla="*/ 7332 w 10785"/>
                <a:gd name="connsiteY926" fmla="*/ 2915 h 10000"/>
                <a:gd name="connsiteX927" fmla="*/ 7318 w 10785"/>
                <a:gd name="connsiteY927" fmla="*/ 2906 h 10000"/>
                <a:gd name="connsiteX928" fmla="*/ 7313 w 10785"/>
                <a:gd name="connsiteY928" fmla="*/ 2915 h 10000"/>
                <a:gd name="connsiteX929" fmla="*/ 7313 w 10785"/>
                <a:gd name="connsiteY929" fmla="*/ 2906 h 10000"/>
                <a:gd name="connsiteX930" fmla="*/ 7286 w 10785"/>
                <a:gd name="connsiteY930" fmla="*/ 2940 h 10000"/>
                <a:gd name="connsiteX931" fmla="*/ 7276 w 10785"/>
                <a:gd name="connsiteY931" fmla="*/ 2966 h 10000"/>
                <a:gd name="connsiteX932" fmla="*/ 7272 w 10785"/>
                <a:gd name="connsiteY932" fmla="*/ 2983 h 10000"/>
                <a:gd name="connsiteX933" fmla="*/ 7267 w 10785"/>
                <a:gd name="connsiteY933" fmla="*/ 3009 h 10000"/>
                <a:gd name="connsiteX934" fmla="*/ 7253 w 10785"/>
                <a:gd name="connsiteY934" fmla="*/ 3009 h 10000"/>
                <a:gd name="connsiteX935" fmla="*/ 7244 w 10785"/>
                <a:gd name="connsiteY935" fmla="*/ 3017 h 10000"/>
                <a:gd name="connsiteX936" fmla="*/ 7240 w 10785"/>
                <a:gd name="connsiteY936" fmla="*/ 3009 h 10000"/>
                <a:gd name="connsiteX937" fmla="*/ 7230 w 10785"/>
                <a:gd name="connsiteY937" fmla="*/ 2991 h 10000"/>
                <a:gd name="connsiteX938" fmla="*/ 7226 w 10785"/>
                <a:gd name="connsiteY938" fmla="*/ 2983 h 10000"/>
                <a:gd name="connsiteX939" fmla="*/ 7226 w 10785"/>
                <a:gd name="connsiteY939" fmla="*/ 2966 h 10000"/>
                <a:gd name="connsiteX940" fmla="*/ 7212 w 10785"/>
                <a:gd name="connsiteY940" fmla="*/ 2957 h 10000"/>
                <a:gd name="connsiteX941" fmla="*/ 7212 w 10785"/>
                <a:gd name="connsiteY941" fmla="*/ 2932 h 10000"/>
                <a:gd name="connsiteX942" fmla="*/ 7198 w 10785"/>
                <a:gd name="connsiteY942" fmla="*/ 2915 h 10000"/>
                <a:gd name="connsiteX943" fmla="*/ 7194 w 10785"/>
                <a:gd name="connsiteY943" fmla="*/ 2915 h 10000"/>
                <a:gd name="connsiteX944" fmla="*/ 7157 w 10785"/>
                <a:gd name="connsiteY944" fmla="*/ 2880 h 10000"/>
                <a:gd name="connsiteX945" fmla="*/ 7138 w 10785"/>
                <a:gd name="connsiteY945" fmla="*/ 2880 h 10000"/>
                <a:gd name="connsiteX946" fmla="*/ 7120 w 10785"/>
                <a:gd name="connsiteY946" fmla="*/ 2872 h 10000"/>
                <a:gd name="connsiteX947" fmla="*/ 7111 w 10785"/>
                <a:gd name="connsiteY947" fmla="*/ 2846 h 10000"/>
                <a:gd name="connsiteX948" fmla="*/ 7106 w 10785"/>
                <a:gd name="connsiteY948" fmla="*/ 2846 h 10000"/>
                <a:gd name="connsiteX949" fmla="*/ 7092 w 10785"/>
                <a:gd name="connsiteY949" fmla="*/ 2829 h 10000"/>
                <a:gd name="connsiteX950" fmla="*/ 7051 w 10785"/>
                <a:gd name="connsiteY950" fmla="*/ 2829 h 10000"/>
                <a:gd name="connsiteX951" fmla="*/ 7037 w 10785"/>
                <a:gd name="connsiteY951" fmla="*/ 2880 h 10000"/>
                <a:gd name="connsiteX952" fmla="*/ 7037 w 10785"/>
                <a:gd name="connsiteY952" fmla="*/ 2906 h 10000"/>
                <a:gd name="connsiteX953" fmla="*/ 7037 w 10785"/>
                <a:gd name="connsiteY953" fmla="*/ 2932 h 10000"/>
                <a:gd name="connsiteX954" fmla="*/ 7037 w 10785"/>
                <a:gd name="connsiteY954" fmla="*/ 2940 h 10000"/>
                <a:gd name="connsiteX955" fmla="*/ 7023 w 10785"/>
                <a:gd name="connsiteY955" fmla="*/ 2906 h 10000"/>
                <a:gd name="connsiteX956" fmla="*/ 7023 w 10785"/>
                <a:gd name="connsiteY956" fmla="*/ 2915 h 10000"/>
                <a:gd name="connsiteX957" fmla="*/ 6991 w 10785"/>
                <a:gd name="connsiteY957" fmla="*/ 2906 h 10000"/>
                <a:gd name="connsiteX958" fmla="*/ 6977 w 10785"/>
                <a:gd name="connsiteY958" fmla="*/ 2915 h 10000"/>
                <a:gd name="connsiteX959" fmla="*/ 6963 w 10785"/>
                <a:gd name="connsiteY959" fmla="*/ 2915 h 10000"/>
                <a:gd name="connsiteX960" fmla="*/ 6949 w 10785"/>
                <a:gd name="connsiteY960" fmla="*/ 2872 h 10000"/>
                <a:gd name="connsiteX961" fmla="*/ 6935 w 10785"/>
                <a:gd name="connsiteY961" fmla="*/ 2855 h 10000"/>
                <a:gd name="connsiteX962" fmla="*/ 6922 w 10785"/>
                <a:gd name="connsiteY962" fmla="*/ 2803 h 10000"/>
                <a:gd name="connsiteX963" fmla="*/ 6917 w 10785"/>
                <a:gd name="connsiteY963" fmla="*/ 2786 h 10000"/>
                <a:gd name="connsiteX964" fmla="*/ 6903 w 10785"/>
                <a:gd name="connsiteY964" fmla="*/ 2709 h 10000"/>
                <a:gd name="connsiteX965" fmla="*/ 6903 w 10785"/>
                <a:gd name="connsiteY965" fmla="*/ 2692 h 10000"/>
                <a:gd name="connsiteX966" fmla="*/ 6899 w 10785"/>
                <a:gd name="connsiteY966" fmla="*/ 2709 h 10000"/>
                <a:gd name="connsiteX967" fmla="*/ 6857 w 10785"/>
                <a:gd name="connsiteY967" fmla="*/ 2872 h 10000"/>
                <a:gd name="connsiteX968" fmla="*/ 6857 w 10785"/>
                <a:gd name="connsiteY968" fmla="*/ 3009 h 10000"/>
                <a:gd name="connsiteX969" fmla="*/ 6848 w 10785"/>
                <a:gd name="connsiteY969" fmla="*/ 3017 h 10000"/>
                <a:gd name="connsiteX970" fmla="*/ 6839 w 10785"/>
                <a:gd name="connsiteY970" fmla="*/ 3068 h 10000"/>
                <a:gd name="connsiteX971" fmla="*/ 6829 w 10785"/>
                <a:gd name="connsiteY971" fmla="*/ 3077 h 10000"/>
                <a:gd name="connsiteX972" fmla="*/ 6829 w 10785"/>
                <a:gd name="connsiteY972" fmla="*/ 3128 h 10000"/>
                <a:gd name="connsiteX973" fmla="*/ 6816 w 10785"/>
                <a:gd name="connsiteY973" fmla="*/ 3154 h 10000"/>
                <a:gd name="connsiteX974" fmla="*/ 6811 w 10785"/>
                <a:gd name="connsiteY974" fmla="*/ 3179 h 10000"/>
                <a:gd name="connsiteX975" fmla="*/ 6797 w 10785"/>
                <a:gd name="connsiteY975" fmla="*/ 3171 h 10000"/>
                <a:gd name="connsiteX976" fmla="*/ 6783 w 10785"/>
                <a:gd name="connsiteY976" fmla="*/ 3103 h 10000"/>
                <a:gd name="connsiteX977" fmla="*/ 6779 w 10785"/>
                <a:gd name="connsiteY977" fmla="*/ 3094 h 10000"/>
                <a:gd name="connsiteX978" fmla="*/ 6779 w 10785"/>
                <a:gd name="connsiteY978" fmla="*/ 3120 h 10000"/>
                <a:gd name="connsiteX979" fmla="*/ 6770 w 10785"/>
                <a:gd name="connsiteY979" fmla="*/ 3128 h 10000"/>
                <a:gd name="connsiteX980" fmla="*/ 6765 w 10785"/>
                <a:gd name="connsiteY980" fmla="*/ 3103 h 10000"/>
                <a:gd name="connsiteX981" fmla="*/ 6756 w 10785"/>
                <a:gd name="connsiteY981" fmla="*/ 3103 h 10000"/>
                <a:gd name="connsiteX982" fmla="*/ 6742 w 10785"/>
                <a:gd name="connsiteY982" fmla="*/ 3103 h 10000"/>
                <a:gd name="connsiteX983" fmla="*/ 6737 w 10785"/>
                <a:gd name="connsiteY983" fmla="*/ 3077 h 10000"/>
                <a:gd name="connsiteX984" fmla="*/ 6737 w 10785"/>
                <a:gd name="connsiteY984" fmla="*/ 3068 h 10000"/>
                <a:gd name="connsiteX985" fmla="*/ 6728 w 10785"/>
                <a:gd name="connsiteY985" fmla="*/ 3043 h 10000"/>
                <a:gd name="connsiteX986" fmla="*/ 6724 w 10785"/>
                <a:gd name="connsiteY986" fmla="*/ 3051 h 10000"/>
                <a:gd name="connsiteX987" fmla="*/ 6714 w 10785"/>
                <a:gd name="connsiteY987" fmla="*/ 3043 h 10000"/>
                <a:gd name="connsiteX988" fmla="*/ 6710 w 10785"/>
                <a:gd name="connsiteY988" fmla="*/ 3034 h 10000"/>
                <a:gd name="connsiteX989" fmla="*/ 6705 w 10785"/>
                <a:gd name="connsiteY989" fmla="*/ 2983 h 10000"/>
                <a:gd name="connsiteX990" fmla="*/ 6696 w 10785"/>
                <a:gd name="connsiteY990" fmla="*/ 2966 h 10000"/>
                <a:gd name="connsiteX991" fmla="*/ 6691 w 10785"/>
                <a:gd name="connsiteY991" fmla="*/ 2983 h 10000"/>
                <a:gd name="connsiteX992" fmla="*/ 6677 w 10785"/>
                <a:gd name="connsiteY992" fmla="*/ 2897 h 10000"/>
                <a:gd name="connsiteX993" fmla="*/ 6677 w 10785"/>
                <a:gd name="connsiteY993" fmla="*/ 2897 h 10000"/>
                <a:gd name="connsiteX994" fmla="*/ 6677 w 10785"/>
                <a:gd name="connsiteY994" fmla="*/ 2872 h 10000"/>
                <a:gd name="connsiteX995" fmla="*/ 6668 w 10785"/>
                <a:gd name="connsiteY995" fmla="*/ 2821 h 10000"/>
                <a:gd name="connsiteX996" fmla="*/ 6664 w 10785"/>
                <a:gd name="connsiteY996" fmla="*/ 2829 h 10000"/>
                <a:gd name="connsiteX997" fmla="*/ 6654 w 10785"/>
                <a:gd name="connsiteY997" fmla="*/ 2846 h 10000"/>
                <a:gd name="connsiteX998" fmla="*/ 6650 w 10785"/>
                <a:gd name="connsiteY998" fmla="*/ 2829 h 10000"/>
                <a:gd name="connsiteX999" fmla="*/ 6650 w 10785"/>
                <a:gd name="connsiteY999" fmla="*/ 2803 h 10000"/>
                <a:gd name="connsiteX1000" fmla="*/ 6650 w 10785"/>
                <a:gd name="connsiteY1000" fmla="*/ 2795 h 10000"/>
                <a:gd name="connsiteX1001" fmla="*/ 6641 w 10785"/>
                <a:gd name="connsiteY1001" fmla="*/ 2786 h 10000"/>
                <a:gd name="connsiteX1002" fmla="*/ 6636 w 10785"/>
                <a:gd name="connsiteY1002" fmla="*/ 2735 h 10000"/>
                <a:gd name="connsiteX1003" fmla="*/ 6664 w 10785"/>
                <a:gd name="connsiteY1003" fmla="*/ 2667 h 10000"/>
                <a:gd name="connsiteX1004" fmla="*/ 6668 w 10785"/>
                <a:gd name="connsiteY1004" fmla="*/ 2684 h 10000"/>
                <a:gd name="connsiteX1005" fmla="*/ 6677 w 10785"/>
                <a:gd name="connsiteY1005" fmla="*/ 2667 h 10000"/>
                <a:gd name="connsiteX1006" fmla="*/ 6668 w 10785"/>
                <a:gd name="connsiteY1006" fmla="*/ 2667 h 10000"/>
                <a:gd name="connsiteX1007" fmla="*/ 6668 w 10785"/>
                <a:gd name="connsiteY1007" fmla="*/ 2650 h 10000"/>
                <a:gd name="connsiteX1008" fmla="*/ 6682 w 10785"/>
                <a:gd name="connsiteY1008" fmla="*/ 2650 h 10000"/>
                <a:gd name="connsiteX1009" fmla="*/ 6691 w 10785"/>
                <a:gd name="connsiteY1009" fmla="*/ 2624 h 10000"/>
                <a:gd name="connsiteX1010" fmla="*/ 6682 w 10785"/>
                <a:gd name="connsiteY1010" fmla="*/ 2632 h 10000"/>
                <a:gd name="connsiteX1011" fmla="*/ 6682 w 10785"/>
                <a:gd name="connsiteY1011" fmla="*/ 2624 h 10000"/>
                <a:gd name="connsiteX1012" fmla="*/ 6691 w 10785"/>
                <a:gd name="connsiteY1012" fmla="*/ 2607 h 10000"/>
                <a:gd name="connsiteX1013" fmla="*/ 6691 w 10785"/>
                <a:gd name="connsiteY1013" fmla="*/ 2598 h 10000"/>
                <a:gd name="connsiteX1014" fmla="*/ 6691 w 10785"/>
                <a:gd name="connsiteY1014" fmla="*/ 2581 h 10000"/>
                <a:gd name="connsiteX1015" fmla="*/ 6696 w 10785"/>
                <a:gd name="connsiteY1015" fmla="*/ 2530 h 10000"/>
                <a:gd name="connsiteX1016" fmla="*/ 6677 w 10785"/>
                <a:gd name="connsiteY1016" fmla="*/ 2513 h 10000"/>
                <a:gd name="connsiteX1017" fmla="*/ 6677 w 10785"/>
                <a:gd name="connsiteY1017" fmla="*/ 2496 h 10000"/>
                <a:gd name="connsiteX1018" fmla="*/ 6682 w 10785"/>
                <a:gd name="connsiteY1018" fmla="*/ 2470 h 10000"/>
                <a:gd name="connsiteX1019" fmla="*/ 6668 w 10785"/>
                <a:gd name="connsiteY1019" fmla="*/ 2462 h 10000"/>
                <a:gd name="connsiteX1020" fmla="*/ 6677 w 10785"/>
                <a:gd name="connsiteY1020" fmla="*/ 2436 h 10000"/>
                <a:gd name="connsiteX1021" fmla="*/ 6682 w 10785"/>
                <a:gd name="connsiteY1021" fmla="*/ 2419 h 10000"/>
                <a:gd name="connsiteX1022" fmla="*/ 6682 w 10785"/>
                <a:gd name="connsiteY1022" fmla="*/ 2393 h 10000"/>
                <a:gd name="connsiteX1023" fmla="*/ 6682 w 10785"/>
                <a:gd name="connsiteY1023" fmla="*/ 2385 h 10000"/>
                <a:gd name="connsiteX1024" fmla="*/ 6682 w 10785"/>
                <a:gd name="connsiteY1024" fmla="*/ 2385 h 10000"/>
                <a:gd name="connsiteX1025" fmla="*/ 6677 w 10785"/>
                <a:gd name="connsiteY1025" fmla="*/ 2376 h 10000"/>
                <a:gd name="connsiteX1026" fmla="*/ 6682 w 10785"/>
                <a:gd name="connsiteY1026" fmla="*/ 2359 h 10000"/>
                <a:gd name="connsiteX1027" fmla="*/ 6677 w 10785"/>
                <a:gd name="connsiteY1027" fmla="*/ 2333 h 10000"/>
                <a:gd name="connsiteX1028" fmla="*/ 6691 w 10785"/>
                <a:gd name="connsiteY1028" fmla="*/ 2333 h 10000"/>
                <a:gd name="connsiteX1029" fmla="*/ 6691 w 10785"/>
                <a:gd name="connsiteY1029" fmla="*/ 2325 h 10000"/>
                <a:gd name="connsiteX1030" fmla="*/ 6691 w 10785"/>
                <a:gd name="connsiteY1030" fmla="*/ 2308 h 10000"/>
                <a:gd name="connsiteX1031" fmla="*/ 6691 w 10785"/>
                <a:gd name="connsiteY1031" fmla="*/ 2299 h 10000"/>
                <a:gd name="connsiteX1032" fmla="*/ 6691 w 10785"/>
                <a:gd name="connsiteY1032" fmla="*/ 2282 h 10000"/>
                <a:gd name="connsiteX1033" fmla="*/ 6691 w 10785"/>
                <a:gd name="connsiteY1033" fmla="*/ 2274 h 10000"/>
                <a:gd name="connsiteX1034" fmla="*/ 6668 w 10785"/>
                <a:gd name="connsiteY1034" fmla="*/ 2248 h 10000"/>
                <a:gd name="connsiteX1035" fmla="*/ 6664 w 10785"/>
                <a:gd name="connsiteY1035" fmla="*/ 2222 h 10000"/>
                <a:gd name="connsiteX1036" fmla="*/ 6654 w 10785"/>
                <a:gd name="connsiteY1036" fmla="*/ 2214 h 10000"/>
                <a:gd name="connsiteX1037" fmla="*/ 6654 w 10785"/>
                <a:gd name="connsiteY1037" fmla="*/ 2188 h 10000"/>
                <a:gd name="connsiteX1038" fmla="*/ 6622 w 10785"/>
                <a:gd name="connsiteY1038" fmla="*/ 2162 h 10000"/>
                <a:gd name="connsiteX1039" fmla="*/ 6631 w 10785"/>
                <a:gd name="connsiteY1039" fmla="*/ 2145 h 10000"/>
                <a:gd name="connsiteX1040" fmla="*/ 6622 w 10785"/>
                <a:gd name="connsiteY1040" fmla="*/ 2120 h 10000"/>
                <a:gd name="connsiteX1041" fmla="*/ 6608 w 10785"/>
                <a:gd name="connsiteY1041" fmla="*/ 2120 h 10000"/>
                <a:gd name="connsiteX1042" fmla="*/ 6604 w 10785"/>
                <a:gd name="connsiteY1042" fmla="*/ 2111 h 10000"/>
                <a:gd name="connsiteX1043" fmla="*/ 6608 w 10785"/>
                <a:gd name="connsiteY1043" fmla="*/ 2111 h 10000"/>
                <a:gd name="connsiteX1044" fmla="*/ 6604 w 10785"/>
                <a:gd name="connsiteY1044" fmla="*/ 2085 h 10000"/>
                <a:gd name="connsiteX1045" fmla="*/ 6581 w 10785"/>
                <a:gd name="connsiteY1045" fmla="*/ 2077 h 10000"/>
                <a:gd name="connsiteX1046" fmla="*/ 6571 w 10785"/>
                <a:gd name="connsiteY1046" fmla="*/ 2085 h 10000"/>
                <a:gd name="connsiteX1047" fmla="*/ 6548 w 10785"/>
                <a:gd name="connsiteY1047" fmla="*/ 2077 h 10000"/>
                <a:gd name="connsiteX1048" fmla="*/ 6530 w 10785"/>
                <a:gd name="connsiteY1048" fmla="*/ 2060 h 10000"/>
                <a:gd name="connsiteX1049" fmla="*/ 6521 w 10785"/>
                <a:gd name="connsiteY1049" fmla="*/ 2060 h 10000"/>
                <a:gd name="connsiteX1050" fmla="*/ 6521 w 10785"/>
                <a:gd name="connsiteY1050" fmla="*/ 2085 h 10000"/>
                <a:gd name="connsiteX1051" fmla="*/ 6516 w 10785"/>
                <a:gd name="connsiteY1051" fmla="*/ 2085 h 10000"/>
                <a:gd name="connsiteX1052" fmla="*/ 6502 w 10785"/>
                <a:gd name="connsiteY1052" fmla="*/ 2111 h 10000"/>
                <a:gd name="connsiteX1053" fmla="*/ 6498 w 10785"/>
                <a:gd name="connsiteY1053" fmla="*/ 2111 h 10000"/>
                <a:gd name="connsiteX1054" fmla="*/ 6498 w 10785"/>
                <a:gd name="connsiteY1054" fmla="*/ 2103 h 10000"/>
                <a:gd name="connsiteX1055" fmla="*/ 6475 w 10785"/>
                <a:gd name="connsiteY1055" fmla="*/ 2051 h 10000"/>
                <a:gd name="connsiteX1056" fmla="*/ 6470 w 10785"/>
                <a:gd name="connsiteY1056" fmla="*/ 2060 h 10000"/>
                <a:gd name="connsiteX1057" fmla="*/ 6456 w 10785"/>
                <a:gd name="connsiteY1057" fmla="*/ 2051 h 10000"/>
                <a:gd name="connsiteX1058" fmla="*/ 6447 w 10785"/>
                <a:gd name="connsiteY1058" fmla="*/ 2051 h 10000"/>
                <a:gd name="connsiteX1059" fmla="*/ 6433 w 10785"/>
                <a:gd name="connsiteY1059" fmla="*/ 2026 h 10000"/>
                <a:gd name="connsiteX1060" fmla="*/ 6433 w 10785"/>
                <a:gd name="connsiteY1060" fmla="*/ 2034 h 10000"/>
                <a:gd name="connsiteX1061" fmla="*/ 6429 w 10785"/>
                <a:gd name="connsiteY1061" fmla="*/ 2026 h 10000"/>
                <a:gd name="connsiteX1062" fmla="*/ 6424 w 10785"/>
                <a:gd name="connsiteY1062" fmla="*/ 2034 h 10000"/>
                <a:gd name="connsiteX1063" fmla="*/ 6410 w 10785"/>
                <a:gd name="connsiteY1063" fmla="*/ 2026 h 10000"/>
                <a:gd name="connsiteX1064" fmla="*/ 6410 w 10785"/>
                <a:gd name="connsiteY1064" fmla="*/ 1991 h 10000"/>
                <a:gd name="connsiteX1065" fmla="*/ 6401 w 10785"/>
                <a:gd name="connsiteY1065" fmla="*/ 1991 h 10000"/>
                <a:gd name="connsiteX1066" fmla="*/ 6396 w 10785"/>
                <a:gd name="connsiteY1066" fmla="*/ 2000 h 10000"/>
                <a:gd name="connsiteX1067" fmla="*/ 6382 w 10785"/>
                <a:gd name="connsiteY1067" fmla="*/ 1966 h 10000"/>
                <a:gd name="connsiteX1068" fmla="*/ 6373 w 10785"/>
                <a:gd name="connsiteY1068" fmla="*/ 1974 h 10000"/>
                <a:gd name="connsiteX1069" fmla="*/ 6369 w 10785"/>
                <a:gd name="connsiteY1069" fmla="*/ 1966 h 10000"/>
                <a:gd name="connsiteX1070" fmla="*/ 6341 w 10785"/>
                <a:gd name="connsiteY1070" fmla="*/ 1949 h 10000"/>
                <a:gd name="connsiteX1071" fmla="*/ 6327 w 10785"/>
                <a:gd name="connsiteY1071" fmla="*/ 1923 h 10000"/>
                <a:gd name="connsiteX1072" fmla="*/ 6323 w 10785"/>
                <a:gd name="connsiteY1072" fmla="*/ 1923 h 10000"/>
                <a:gd name="connsiteX1073" fmla="*/ 6323 w 10785"/>
                <a:gd name="connsiteY1073" fmla="*/ 1966 h 10000"/>
                <a:gd name="connsiteX1074" fmla="*/ 6323 w 10785"/>
                <a:gd name="connsiteY1074" fmla="*/ 1991 h 10000"/>
                <a:gd name="connsiteX1075" fmla="*/ 6313 w 10785"/>
                <a:gd name="connsiteY1075" fmla="*/ 1991 h 10000"/>
                <a:gd name="connsiteX1076" fmla="*/ 6300 w 10785"/>
                <a:gd name="connsiteY1076" fmla="*/ 1991 h 10000"/>
                <a:gd name="connsiteX1077" fmla="*/ 6290 w 10785"/>
                <a:gd name="connsiteY1077" fmla="*/ 1949 h 10000"/>
                <a:gd name="connsiteX1078" fmla="*/ 6276 w 10785"/>
                <a:gd name="connsiteY1078" fmla="*/ 2103 h 10000"/>
                <a:gd name="connsiteX1079" fmla="*/ 6281 w 10785"/>
                <a:gd name="connsiteY1079" fmla="*/ 2103 h 10000"/>
                <a:gd name="connsiteX1080" fmla="*/ 6276 w 10785"/>
                <a:gd name="connsiteY1080" fmla="*/ 2111 h 10000"/>
                <a:gd name="connsiteX1081" fmla="*/ 6276 w 10785"/>
                <a:gd name="connsiteY1081" fmla="*/ 2120 h 10000"/>
                <a:gd name="connsiteX1082" fmla="*/ 6295 w 10785"/>
                <a:gd name="connsiteY1082" fmla="*/ 2239 h 10000"/>
                <a:gd name="connsiteX1083" fmla="*/ 6290 w 10785"/>
                <a:gd name="connsiteY1083" fmla="*/ 2248 h 10000"/>
                <a:gd name="connsiteX1084" fmla="*/ 6281 w 10785"/>
                <a:gd name="connsiteY1084" fmla="*/ 2274 h 10000"/>
                <a:gd name="connsiteX1085" fmla="*/ 6249 w 10785"/>
                <a:gd name="connsiteY1085" fmla="*/ 2274 h 10000"/>
                <a:gd name="connsiteX1086" fmla="*/ 6226 w 10785"/>
                <a:gd name="connsiteY1086" fmla="*/ 2308 h 10000"/>
                <a:gd name="connsiteX1087" fmla="*/ 6221 w 10785"/>
                <a:gd name="connsiteY1087" fmla="*/ 2299 h 10000"/>
                <a:gd name="connsiteX1088" fmla="*/ 6221 w 10785"/>
                <a:gd name="connsiteY1088" fmla="*/ 2308 h 10000"/>
                <a:gd name="connsiteX1089" fmla="*/ 6217 w 10785"/>
                <a:gd name="connsiteY1089" fmla="*/ 2299 h 10000"/>
                <a:gd name="connsiteX1090" fmla="*/ 6194 w 10785"/>
                <a:gd name="connsiteY1090" fmla="*/ 2308 h 10000"/>
                <a:gd name="connsiteX1091" fmla="*/ 6180 w 10785"/>
                <a:gd name="connsiteY1091" fmla="*/ 2299 h 10000"/>
                <a:gd name="connsiteX1092" fmla="*/ 6143 w 10785"/>
                <a:gd name="connsiteY1092" fmla="*/ 2308 h 10000"/>
                <a:gd name="connsiteX1093" fmla="*/ 6134 w 10785"/>
                <a:gd name="connsiteY1093" fmla="*/ 2325 h 10000"/>
                <a:gd name="connsiteX1094" fmla="*/ 6115 w 10785"/>
                <a:gd name="connsiteY1094" fmla="*/ 2282 h 10000"/>
                <a:gd name="connsiteX1095" fmla="*/ 6069 w 10785"/>
                <a:gd name="connsiteY1095" fmla="*/ 2274 h 10000"/>
                <a:gd name="connsiteX1096" fmla="*/ 6069 w 10785"/>
                <a:gd name="connsiteY1096" fmla="*/ 2282 h 10000"/>
                <a:gd name="connsiteX1097" fmla="*/ 6060 w 10785"/>
                <a:gd name="connsiteY1097" fmla="*/ 2299 h 10000"/>
                <a:gd name="connsiteX1098" fmla="*/ 5972 w 10785"/>
                <a:gd name="connsiteY1098" fmla="*/ 2214 h 10000"/>
                <a:gd name="connsiteX1099" fmla="*/ 5968 w 10785"/>
                <a:gd name="connsiteY1099" fmla="*/ 2197 h 10000"/>
                <a:gd name="connsiteX1100" fmla="*/ 5968 w 10785"/>
                <a:gd name="connsiteY1100" fmla="*/ 2171 h 10000"/>
                <a:gd name="connsiteX1101" fmla="*/ 5968 w 10785"/>
                <a:gd name="connsiteY1101" fmla="*/ 2162 h 10000"/>
                <a:gd name="connsiteX1102" fmla="*/ 5968 w 10785"/>
                <a:gd name="connsiteY1102" fmla="*/ 2120 h 10000"/>
                <a:gd name="connsiteX1103" fmla="*/ 5968 w 10785"/>
                <a:gd name="connsiteY1103" fmla="*/ 2111 h 10000"/>
                <a:gd name="connsiteX1104" fmla="*/ 5972 w 10785"/>
                <a:gd name="connsiteY1104" fmla="*/ 2103 h 10000"/>
                <a:gd name="connsiteX1105" fmla="*/ 5986 w 10785"/>
                <a:gd name="connsiteY1105" fmla="*/ 2103 h 10000"/>
                <a:gd name="connsiteX1106" fmla="*/ 5986 w 10785"/>
                <a:gd name="connsiteY1106" fmla="*/ 2085 h 10000"/>
                <a:gd name="connsiteX1107" fmla="*/ 5995 w 10785"/>
                <a:gd name="connsiteY1107" fmla="*/ 2085 h 10000"/>
                <a:gd name="connsiteX1108" fmla="*/ 5995 w 10785"/>
                <a:gd name="connsiteY1108" fmla="*/ 2077 h 10000"/>
                <a:gd name="connsiteX1109" fmla="*/ 5986 w 10785"/>
                <a:gd name="connsiteY1109" fmla="*/ 2060 h 10000"/>
                <a:gd name="connsiteX1110" fmla="*/ 5954 w 10785"/>
                <a:gd name="connsiteY1110" fmla="*/ 2060 h 10000"/>
                <a:gd name="connsiteX1111" fmla="*/ 5940 w 10785"/>
                <a:gd name="connsiteY1111" fmla="*/ 2051 h 10000"/>
                <a:gd name="connsiteX1112" fmla="*/ 5922 w 10785"/>
                <a:gd name="connsiteY1112" fmla="*/ 2060 h 10000"/>
                <a:gd name="connsiteX1113" fmla="*/ 5885 w 10785"/>
                <a:gd name="connsiteY1113" fmla="*/ 2051 h 10000"/>
                <a:gd name="connsiteX1114" fmla="*/ 5876 w 10785"/>
                <a:gd name="connsiteY1114" fmla="*/ 2026 h 10000"/>
                <a:gd name="connsiteX1115" fmla="*/ 5862 w 10785"/>
                <a:gd name="connsiteY1115" fmla="*/ 2026 h 10000"/>
                <a:gd name="connsiteX1116" fmla="*/ 5848 w 10785"/>
                <a:gd name="connsiteY1116" fmla="*/ 2026 h 10000"/>
                <a:gd name="connsiteX1117" fmla="*/ 5825 w 10785"/>
                <a:gd name="connsiteY1117" fmla="*/ 2026 h 10000"/>
                <a:gd name="connsiteX1118" fmla="*/ 5788 w 10785"/>
                <a:gd name="connsiteY1118" fmla="*/ 1991 h 10000"/>
                <a:gd name="connsiteX1119" fmla="*/ 5760 w 10785"/>
                <a:gd name="connsiteY1119" fmla="*/ 2000 h 10000"/>
                <a:gd name="connsiteX1120" fmla="*/ 5760 w 10785"/>
                <a:gd name="connsiteY1120" fmla="*/ 2026 h 10000"/>
                <a:gd name="connsiteX1121" fmla="*/ 5714 w 10785"/>
                <a:gd name="connsiteY1121" fmla="*/ 2051 h 10000"/>
                <a:gd name="connsiteX1122" fmla="*/ 5687 w 10785"/>
                <a:gd name="connsiteY1122" fmla="*/ 2034 h 10000"/>
                <a:gd name="connsiteX1123" fmla="*/ 5645 w 10785"/>
                <a:gd name="connsiteY1123" fmla="*/ 2077 h 10000"/>
                <a:gd name="connsiteX1124" fmla="*/ 5664 w 10785"/>
                <a:gd name="connsiteY1124" fmla="*/ 2120 h 10000"/>
                <a:gd name="connsiteX1125" fmla="*/ 5664 w 10785"/>
                <a:gd name="connsiteY1125" fmla="*/ 2162 h 10000"/>
                <a:gd name="connsiteX1126" fmla="*/ 5631 w 10785"/>
                <a:gd name="connsiteY1126" fmla="*/ 2197 h 10000"/>
                <a:gd name="connsiteX1127" fmla="*/ 5618 w 10785"/>
                <a:gd name="connsiteY1127" fmla="*/ 2188 h 10000"/>
                <a:gd name="connsiteX1128" fmla="*/ 5618 w 10785"/>
                <a:gd name="connsiteY1128" fmla="*/ 2171 h 10000"/>
                <a:gd name="connsiteX1129" fmla="*/ 5641 w 10785"/>
                <a:gd name="connsiteY1129" fmla="*/ 2171 h 10000"/>
                <a:gd name="connsiteX1130" fmla="*/ 5641 w 10785"/>
                <a:gd name="connsiteY1130" fmla="*/ 2162 h 10000"/>
                <a:gd name="connsiteX1131" fmla="*/ 5627 w 10785"/>
                <a:gd name="connsiteY1131" fmla="*/ 2145 h 10000"/>
                <a:gd name="connsiteX1132" fmla="*/ 5627 w 10785"/>
                <a:gd name="connsiteY1132" fmla="*/ 2120 h 10000"/>
                <a:gd name="connsiteX1133" fmla="*/ 5618 w 10785"/>
                <a:gd name="connsiteY1133" fmla="*/ 2111 h 10000"/>
                <a:gd name="connsiteX1134" fmla="*/ 5631 w 10785"/>
                <a:gd name="connsiteY1134" fmla="*/ 2051 h 10000"/>
                <a:gd name="connsiteX1135" fmla="*/ 5631 w 10785"/>
                <a:gd name="connsiteY1135" fmla="*/ 2026 h 10000"/>
                <a:gd name="connsiteX1136" fmla="*/ 5627 w 10785"/>
                <a:gd name="connsiteY1136" fmla="*/ 1991 h 10000"/>
                <a:gd name="connsiteX1137" fmla="*/ 5618 w 10785"/>
                <a:gd name="connsiteY1137" fmla="*/ 1974 h 10000"/>
                <a:gd name="connsiteX1138" fmla="*/ 5618 w 10785"/>
                <a:gd name="connsiteY1138" fmla="*/ 1940 h 10000"/>
                <a:gd name="connsiteX1139" fmla="*/ 5594 w 10785"/>
                <a:gd name="connsiteY1139" fmla="*/ 1855 h 10000"/>
                <a:gd name="connsiteX1140" fmla="*/ 5599 w 10785"/>
                <a:gd name="connsiteY1140" fmla="*/ 1915 h 10000"/>
                <a:gd name="connsiteX1141" fmla="*/ 5599 w 10785"/>
                <a:gd name="connsiteY1141" fmla="*/ 1949 h 10000"/>
                <a:gd name="connsiteX1142" fmla="*/ 5594 w 10785"/>
                <a:gd name="connsiteY1142" fmla="*/ 1991 h 10000"/>
                <a:gd name="connsiteX1143" fmla="*/ 5571 w 10785"/>
                <a:gd name="connsiteY1143" fmla="*/ 2000 h 10000"/>
                <a:gd name="connsiteX1144" fmla="*/ 5530 w 10785"/>
                <a:gd name="connsiteY1144" fmla="*/ 1991 h 10000"/>
                <a:gd name="connsiteX1145" fmla="*/ 5525 w 10785"/>
                <a:gd name="connsiteY1145" fmla="*/ 2000 h 10000"/>
                <a:gd name="connsiteX1146" fmla="*/ 5521 w 10785"/>
                <a:gd name="connsiteY1146" fmla="*/ 1991 h 10000"/>
                <a:gd name="connsiteX1147" fmla="*/ 5498 w 10785"/>
                <a:gd name="connsiteY1147" fmla="*/ 1949 h 10000"/>
                <a:gd name="connsiteX1148" fmla="*/ 5493 w 10785"/>
                <a:gd name="connsiteY1148" fmla="*/ 1889 h 10000"/>
                <a:gd name="connsiteX1149" fmla="*/ 5493 w 10785"/>
                <a:gd name="connsiteY1149" fmla="*/ 1863 h 10000"/>
                <a:gd name="connsiteX1150" fmla="*/ 5498 w 10785"/>
                <a:gd name="connsiteY1150" fmla="*/ 1889 h 10000"/>
                <a:gd name="connsiteX1151" fmla="*/ 5512 w 10785"/>
                <a:gd name="connsiteY1151" fmla="*/ 1855 h 10000"/>
                <a:gd name="connsiteX1152" fmla="*/ 5512 w 10785"/>
                <a:gd name="connsiteY1152" fmla="*/ 1838 h 10000"/>
                <a:gd name="connsiteX1153" fmla="*/ 5479 w 10785"/>
                <a:gd name="connsiteY1153" fmla="*/ 1855 h 10000"/>
                <a:gd name="connsiteX1154" fmla="*/ 5470 w 10785"/>
                <a:gd name="connsiteY1154" fmla="*/ 1872 h 10000"/>
                <a:gd name="connsiteX1155" fmla="*/ 5470 w 10785"/>
                <a:gd name="connsiteY1155" fmla="*/ 1889 h 10000"/>
                <a:gd name="connsiteX1156" fmla="*/ 5465 w 10785"/>
                <a:gd name="connsiteY1156" fmla="*/ 1897 h 10000"/>
                <a:gd name="connsiteX1157" fmla="*/ 5456 w 10785"/>
                <a:gd name="connsiteY1157" fmla="*/ 1872 h 10000"/>
                <a:gd name="connsiteX1158" fmla="*/ 5447 w 10785"/>
                <a:gd name="connsiteY1158" fmla="*/ 1872 h 10000"/>
                <a:gd name="connsiteX1159" fmla="*/ 5433 w 10785"/>
                <a:gd name="connsiteY1159" fmla="*/ 1855 h 10000"/>
                <a:gd name="connsiteX1160" fmla="*/ 5396 w 10785"/>
                <a:gd name="connsiteY1160" fmla="*/ 1863 h 10000"/>
                <a:gd name="connsiteX1161" fmla="*/ 5396 w 10785"/>
                <a:gd name="connsiteY1161" fmla="*/ 1897 h 10000"/>
                <a:gd name="connsiteX1162" fmla="*/ 5378 w 10785"/>
                <a:gd name="connsiteY1162" fmla="*/ 1949 h 10000"/>
                <a:gd name="connsiteX1163" fmla="*/ 5378 w 10785"/>
                <a:gd name="connsiteY1163" fmla="*/ 1966 h 10000"/>
                <a:gd name="connsiteX1164" fmla="*/ 5392 w 10785"/>
                <a:gd name="connsiteY1164" fmla="*/ 2026 h 10000"/>
                <a:gd name="connsiteX1165" fmla="*/ 5396 w 10785"/>
                <a:gd name="connsiteY1165" fmla="*/ 2026 h 10000"/>
                <a:gd name="connsiteX1166" fmla="*/ 5392 w 10785"/>
                <a:gd name="connsiteY1166" fmla="*/ 2009 h 10000"/>
                <a:gd name="connsiteX1167" fmla="*/ 5392 w 10785"/>
                <a:gd name="connsiteY1167" fmla="*/ 2000 h 10000"/>
                <a:gd name="connsiteX1168" fmla="*/ 5396 w 10785"/>
                <a:gd name="connsiteY1168" fmla="*/ 2009 h 10000"/>
                <a:gd name="connsiteX1169" fmla="*/ 5424 w 10785"/>
                <a:gd name="connsiteY1169" fmla="*/ 2009 h 10000"/>
                <a:gd name="connsiteX1170" fmla="*/ 5433 w 10785"/>
                <a:gd name="connsiteY1170" fmla="*/ 1991 h 10000"/>
                <a:gd name="connsiteX1171" fmla="*/ 5447 w 10785"/>
                <a:gd name="connsiteY1171" fmla="*/ 1974 h 10000"/>
                <a:gd name="connsiteX1172" fmla="*/ 5452 w 10785"/>
                <a:gd name="connsiteY1172" fmla="*/ 1966 h 10000"/>
                <a:gd name="connsiteX1173" fmla="*/ 5456 w 10785"/>
                <a:gd name="connsiteY1173" fmla="*/ 1966 h 10000"/>
                <a:gd name="connsiteX1174" fmla="*/ 5465 w 10785"/>
                <a:gd name="connsiteY1174" fmla="*/ 2009 h 10000"/>
                <a:gd name="connsiteX1175" fmla="*/ 5433 w 10785"/>
                <a:gd name="connsiteY1175" fmla="*/ 2034 h 10000"/>
                <a:gd name="connsiteX1176" fmla="*/ 5424 w 10785"/>
                <a:gd name="connsiteY1176" fmla="*/ 2060 h 10000"/>
                <a:gd name="connsiteX1177" fmla="*/ 5419 w 10785"/>
                <a:gd name="connsiteY1177" fmla="*/ 2060 h 10000"/>
                <a:gd name="connsiteX1178" fmla="*/ 5392 w 10785"/>
                <a:gd name="connsiteY1178" fmla="*/ 2111 h 10000"/>
                <a:gd name="connsiteX1179" fmla="*/ 5378 w 10785"/>
                <a:gd name="connsiteY1179" fmla="*/ 2111 h 10000"/>
                <a:gd name="connsiteX1180" fmla="*/ 5350 w 10785"/>
                <a:gd name="connsiteY1180" fmla="*/ 2060 h 10000"/>
                <a:gd name="connsiteX1181" fmla="*/ 5373 w 10785"/>
                <a:gd name="connsiteY1181" fmla="*/ 2111 h 10000"/>
                <a:gd name="connsiteX1182" fmla="*/ 5364 w 10785"/>
                <a:gd name="connsiteY1182" fmla="*/ 2111 h 10000"/>
                <a:gd name="connsiteX1183" fmla="*/ 5359 w 10785"/>
                <a:gd name="connsiteY1183" fmla="*/ 2103 h 10000"/>
                <a:gd name="connsiteX1184" fmla="*/ 5359 w 10785"/>
                <a:gd name="connsiteY1184" fmla="*/ 2120 h 10000"/>
                <a:gd name="connsiteX1185" fmla="*/ 5359 w 10785"/>
                <a:gd name="connsiteY1185" fmla="*/ 2137 h 10000"/>
                <a:gd name="connsiteX1186" fmla="*/ 5313 w 10785"/>
                <a:gd name="connsiteY1186" fmla="*/ 2162 h 10000"/>
                <a:gd name="connsiteX1187" fmla="*/ 5300 w 10785"/>
                <a:gd name="connsiteY1187" fmla="*/ 2162 h 10000"/>
                <a:gd name="connsiteX1188" fmla="*/ 5300 w 10785"/>
                <a:gd name="connsiteY1188" fmla="*/ 2171 h 10000"/>
                <a:gd name="connsiteX1189" fmla="*/ 5300 w 10785"/>
                <a:gd name="connsiteY1189" fmla="*/ 2197 h 10000"/>
                <a:gd name="connsiteX1190" fmla="*/ 5276 w 10785"/>
                <a:gd name="connsiteY1190" fmla="*/ 2188 h 10000"/>
                <a:gd name="connsiteX1191" fmla="*/ 5249 w 10785"/>
                <a:gd name="connsiteY1191" fmla="*/ 2222 h 10000"/>
                <a:gd name="connsiteX1192" fmla="*/ 5249 w 10785"/>
                <a:gd name="connsiteY1192" fmla="*/ 2222 h 10000"/>
                <a:gd name="connsiteX1193" fmla="*/ 5217 w 10785"/>
                <a:gd name="connsiteY1193" fmla="*/ 2214 h 10000"/>
                <a:gd name="connsiteX1194" fmla="*/ 5203 w 10785"/>
                <a:gd name="connsiteY1194" fmla="*/ 2239 h 10000"/>
                <a:gd name="connsiteX1195" fmla="*/ 5171 w 10785"/>
                <a:gd name="connsiteY1195" fmla="*/ 2214 h 10000"/>
                <a:gd name="connsiteX1196" fmla="*/ 5157 w 10785"/>
                <a:gd name="connsiteY1196" fmla="*/ 2239 h 10000"/>
                <a:gd name="connsiteX1197" fmla="*/ 5166 w 10785"/>
                <a:gd name="connsiteY1197" fmla="*/ 2256 h 10000"/>
                <a:gd name="connsiteX1198" fmla="*/ 5171 w 10785"/>
                <a:gd name="connsiteY1198" fmla="*/ 2308 h 10000"/>
                <a:gd name="connsiteX1199" fmla="*/ 5212 w 10785"/>
                <a:gd name="connsiteY1199" fmla="*/ 2350 h 10000"/>
                <a:gd name="connsiteX1200" fmla="*/ 5203 w 10785"/>
                <a:gd name="connsiteY1200" fmla="*/ 2350 h 10000"/>
                <a:gd name="connsiteX1201" fmla="*/ 5166 w 10785"/>
                <a:gd name="connsiteY1201" fmla="*/ 2325 h 10000"/>
                <a:gd name="connsiteX1202" fmla="*/ 5152 w 10785"/>
                <a:gd name="connsiteY1202" fmla="*/ 2308 h 10000"/>
                <a:gd name="connsiteX1203" fmla="*/ 5143 w 10785"/>
                <a:gd name="connsiteY1203" fmla="*/ 2333 h 10000"/>
                <a:gd name="connsiteX1204" fmla="*/ 5138 w 10785"/>
                <a:gd name="connsiteY1204" fmla="*/ 2333 h 10000"/>
                <a:gd name="connsiteX1205" fmla="*/ 5124 w 10785"/>
                <a:gd name="connsiteY1205" fmla="*/ 2376 h 10000"/>
                <a:gd name="connsiteX1206" fmla="*/ 5115 w 10785"/>
                <a:gd name="connsiteY1206" fmla="*/ 2385 h 10000"/>
                <a:gd name="connsiteX1207" fmla="*/ 5106 w 10785"/>
                <a:gd name="connsiteY1207" fmla="*/ 2385 h 10000"/>
                <a:gd name="connsiteX1208" fmla="*/ 5055 w 10785"/>
                <a:gd name="connsiteY1208" fmla="*/ 2470 h 10000"/>
                <a:gd name="connsiteX1209" fmla="*/ 5065 w 10785"/>
                <a:gd name="connsiteY1209" fmla="*/ 2462 h 10000"/>
                <a:gd name="connsiteX1210" fmla="*/ 5055 w 10785"/>
                <a:gd name="connsiteY1210" fmla="*/ 2444 h 10000"/>
                <a:gd name="connsiteX1211" fmla="*/ 5041 w 10785"/>
                <a:gd name="connsiteY1211" fmla="*/ 2462 h 10000"/>
                <a:gd name="connsiteX1212" fmla="*/ 5037 w 10785"/>
                <a:gd name="connsiteY1212" fmla="*/ 2470 h 10000"/>
                <a:gd name="connsiteX1213" fmla="*/ 5032 w 10785"/>
                <a:gd name="connsiteY1213" fmla="*/ 2470 h 10000"/>
                <a:gd name="connsiteX1214" fmla="*/ 5032 w 10785"/>
                <a:gd name="connsiteY1214" fmla="*/ 2444 h 10000"/>
                <a:gd name="connsiteX1215" fmla="*/ 5055 w 10785"/>
                <a:gd name="connsiteY1215" fmla="*/ 2410 h 10000"/>
                <a:gd name="connsiteX1216" fmla="*/ 5065 w 10785"/>
                <a:gd name="connsiteY1216" fmla="*/ 2393 h 10000"/>
                <a:gd name="connsiteX1217" fmla="*/ 5069 w 10785"/>
                <a:gd name="connsiteY1217" fmla="*/ 2385 h 10000"/>
                <a:gd name="connsiteX1218" fmla="*/ 5083 w 10785"/>
                <a:gd name="connsiteY1218" fmla="*/ 2376 h 10000"/>
                <a:gd name="connsiteX1219" fmla="*/ 5097 w 10785"/>
                <a:gd name="connsiteY1219" fmla="*/ 2376 h 10000"/>
                <a:gd name="connsiteX1220" fmla="*/ 5124 w 10785"/>
                <a:gd name="connsiteY1220" fmla="*/ 2325 h 10000"/>
                <a:gd name="connsiteX1221" fmla="*/ 5143 w 10785"/>
                <a:gd name="connsiteY1221" fmla="*/ 2248 h 10000"/>
                <a:gd name="connsiteX1222" fmla="*/ 5152 w 10785"/>
                <a:gd name="connsiteY1222" fmla="*/ 2239 h 10000"/>
                <a:gd name="connsiteX1223" fmla="*/ 5166 w 10785"/>
                <a:gd name="connsiteY1223" fmla="*/ 2162 h 10000"/>
                <a:gd name="connsiteX1224" fmla="*/ 5171 w 10785"/>
                <a:gd name="connsiteY1224" fmla="*/ 2171 h 10000"/>
                <a:gd name="connsiteX1225" fmla="*/ 5198 w 10785"/>
                <a:gd name="connsiteY1225" fmla="*/ 2145 h 10000"/>
                <a:gd name="connsiteX1226" fmla="*/ 5203 w 10785"/>
                <a:gd name="connsiteY1226" fmla="*/ 2111 h 10000"/>
                <a:gd name="connsiteX1227" fmla="*/ 5217 w 10785"/>
                <a:gd name="connsiteY1227" fmla="*/ 2060 h 10000"/>
                <a:gd name="connsiteX1228" fmla="*/ 5226 w 10785"/>
                <a:gd name="connsiteY1228" fmla="*/ 2026 h 10000"/>
                <a:gd name="connsiteX1229" fmla="*/ 5286 w 10785"/>
                <a:gd name="connsiteY1229" fmla="*/ 2026 h 10000"/>
                <a:gd name="connsiteX1230" fmla="*/ 5290 w 10785"/>
                <a:gd name="connsiteY1230" fmla="*/ 2034 h 10000"/>
                <a:gd name="connsiteX1231" fmla="*/ 5323 w 10785"/>
                <a:gd name="connsiteY1231" fmla="*/ 1923 h 10000"/>
                <a:gd name="connsiteX1232" fmla="*/ 5323 w 10785"/>
                <a:gd name="connsiteY1232" fmla="*/ 1889 h 10000"/>
                <a:gd name="connsiteX1233" fmla="*/ 5359 w 10785"/>
                <a:gd name="connsiteY1233" fmla="*/ 1829 h 10000"/>
                <a:gd name="connsiteX1234" fmla="*/ 5378 w 10785"/>
                <a:gd name="connsiteY1234" fmla="*/ 1812 h 10000"/>
                <a:gd name="connsiteX1235" fmla="*/ 5406 w 10785"/>
                <a:gd name="connsiteY1235" fmla="*/ 1752 h 10000"/>
                <a:gd name="connsiteX1236" fmla="*/ 5410 w 10785"/>
                <a:gd name="connsiteY1236" fmla="*/ 1718 h 10000"/>
                <a:gd name="connsiteX1237" fmla="*/ 5438 w 10785"/>
                <a:gd name="connsiteY1237" fmla="*/ 1667 h 10000"/>
                <a:gd name="connsiteX1238" fmla="*/ 5438 w 10785"/>
                <a:gd name="connsiteY1238" fmla="*/ 1650 h 10000"/>
                <a:gd name="connsiteX1239" fmla="*/ 5438 w 10785"/>
                <a:gd name="connsiteY1239" fmla="*/ 1641 h 10000"/>
                <a:gd name="connsiteX1240" fmla="*/ 5452 w 10785"/>
                <a:gd name="connsiteY1240" fmla="*/ 1641 h 10000"/>
                <a:gd name="connsiteX1241" fmla="*/ 5456 w 10785"/>
                <a:gd name="connsiteY1241" fmla="*/ 1615 h 10000"/>
                <a:gd name="connsiteX1242" fmla="*/ 5456 w 10785"/>
                <a:gd name="connsiteY1242" fmla="*/ 1615 h 10000"/>
                <a:gd name="connsiteX1243" fmla="*/ 5465 w 10785"/>
                <a:gd name="connsiteY1243" fmla="*/ 1598 h 10000"/>
                <a:gd name="connsiteX1244" fmla="*/ 5465 w 10785"/>
                <a:gd name="connsiteY1244" fmla="*/ 1615 h 10000"/>
                <a:gd name="connsiteX1245" fmla="*/ 5479 w 10785"/>
                <a:gd name="connsiteY1245" fmla="*/ 1598 h 10000"/>
                <a:gd name="connsiteX1246" fmla="*/ 5484 w 10785"/>
                <a:gd name="connsiteY1246" fmla="*/ 1581 h 10000"/>
                <a:gd name="connsiteX1247" fmla="*/ 5493 w 10785"/>
                <a:gd name="connsiteY1247" fmla="*/ 1581 h 10000"/>
                <a:gd name="connsiteX1248" fmla="*/ 5512 w 10785"/>
                <a:gd name="connsiteY1248" fmla="*/ 1538 h 10000"/>
                <a:gd name="connsiteX1249" fmla="*/ 5530 w 10785"/>
                <a:gd name="connsiteY1249" fmla="*/ 1564 h 10000"/>
                <a:gd name="connsiteX1250" fmla="*/ 5530 w 10785"/>
                <a:gd name="connsiteY1250" fmla="*/ 1538 h 10000"/>
                <a:gd name="connsiteX1251" fmla="*/ 5539 w 10785"/>
                <a:gd name="connsiteY1251" fmla="*/ 1530 h 10000"/>
                <a:gd name="connsiteX1252" fmla="*/ 5530 w 10785"/>
                <a:gd name="connsiteY1252" fmla="*/ 1504 h 10000"/>
                <a:gd name="connsiteX1253" fmla="*/ 5567 w 10785"/>
                <a:gd name="connsiteY1253" fmla="*/ 1479 h 10000"/>
                <a:gd name="connsiteX1254" fmla="*/ 5553 w 10785"/>
                <a:gd name="connsiteY1254" fmla="*/ 1479 h 10000"/>
                <a:gd name="connsiteX1255" fmla="*/ 5553 w 10785"/>
                <a:gd name="connsiteY1255" fmla="*/ 1453 h 10000"/>
                <a:gd name="connsiteX1256" fmla="*/ 5581 w 10785"/>
                <a:gd name="connsiteY1256" fmla="*/ 1444 h 10000"/>
                <a:gd name="connsiteX1257" fmla="*/ 5581 w 10785"/>
                <a:gd name="connsiteY1257" fmla="*/ 1453 h 10000"/>
                <a:gd name="connsiteX1258" fmla="*/ 5585 w 10785"/>
                <a:gd name="connsiteY1258" fmla="*/ 1444 h 10000"/>
                <a:gd name="connsiteX1259" fmla="*/ 5594 w 10785"/>
                <a:gd name="connsiteY1259" fmla="*/ 1427 h 10000"/>
                <a:gd name="connsiteX1260" fmla="*/ 5599 w 10785"/>
                <a:gd name="connsiteY1260" fmla="*/ 1419 h 10000"/>
                <a:gd name="connsiteX1261" fmla="*/ 5594 w 10785"/>
                <a:gd name="connsiteY1261" fmla="*/ 1402 h 10000"/>
                <a:gd name="connsiteX1262" fmla="*/ 5604 w 10785"/>
                <a:gd name="connsiteY1262" fmla="*/ 1393 h 10000"/>
                <a:gd name="connsiteX1263" fmla="*/ 5618 w 10785"/>
                <a:gd name="connsiteY1263" fmla="*/ 1393 h 10000"/>
                <a:gd name="connsiteX1264" fmla="*/ 5627 w 10785"/>
                <a:gd name="connsiteY1264" fmla="*/ 1368 h 10000"/>
                <a:gd name="connsiteX1265" fmla="*/ 5627 w 10785"/>
                <a:gd name="connsiteY1265" fmla="*/ 1325 h 10000"/>
                <a:gd name="connsiteX1266" fmla="*/ 5645 w 10785"/>
                <a:gd name="connsiteY1266" fmla="*/ 1291 h 10000"/>
                <a:gd name="connsiteX1267" fmla="*/ 5645 w 10785"/>
                <a:gd name="connsiteY1267" fmla="*/ 1282 h 10000"/>
                <a:gd name="connsiteX1268" fmla="*/ 5654 w 10785"/>
                <a:gd name="connsiteY1268" fmla="*/ 1265 h 10000"/>
                <a:gd name="connsiteX1269" fmla="*/ 5654 w 10785"/>
                <a:gd name="connsiteY1269" fmla="*/ 1214 h 10000"/>
                <a:gd name="connsiteX1270" fmla="*/ 5654 w 10785"/>
                <a:gd name="connsiteY1270" fmla="*/ 1214 h 10000"/>
                <a:gd name="connsiteX1271" fmla="*/ 5645 w 10785"/>
                <a:gd name="connsiteY1271" fmla="*/ 1197 h 10000"/>
                <a:gd name="connsiteX1272" fmla="*/ 5659 w 10785"/>
                <a:gd name="connsiteY1272" fmla="*/ 1197 h 10000"/>
                <a:gd name="connsiteX1273" fmla="*/ 5654 w 10785"/>
                <a:gd name="connsiteY1273" fmla="*/ 1154 h 10000"/>
                <a:gd name="connsiteX1274" fmla="*/ 5641 w 10785"/>
                <a:gd name="connsiteY1274" fmla="*/ 1154 h 10000"/>
                <a:gd name="connsiteX1275" fmla="*/ 5627 w 10785"/>
                <a:gd name="connsiteY1275" fmla="*/ 1128 h 10000"/>
                <a:gd name="connsiteX1276" fmla="*/ 5618 w 10785"/>
                <a:gd name="connsiteY1276" fmla="*/ 1094 h 10000"/>
                <a:gd name="connsiteX1277" fmla="*/ 5613 w 10785"/>
                <a:gd name="connsiteY1277" fmla="*/ 1094 h 10000"/>
                <a:gd name="connsiteX1278" fmla="*/ 5604 w 10785"/>
                <a:gd name="connsiteY1278" fmla="*/ 1120 h 10000"/>
                <a:gd name="connsiteX1279" fmla="*/ 5604 w 10785"/>
                <a:gd name="connsiteY1279" fmla="*/ 1128 h 10000"/>
                <a:gd name="connsiteX1280" fmla="*/ 5599 w 10785"/>
                <a:gd name="connsiteY1280" fmla="*/ 1103 h 10000"/>
                <a:gd name="connsiteX1281" fmla="*/ 5599 w 10785"/>
                <a:gd name="connsiteY1281" fmla="*/ 1103 h 10000"/>
                <a:gd name="connsiteX1282" fmla="*/ 5594 w 10785"/>
                <a:gd name="connsiteY1282" fmla="*/ 1068 h 10000"/>
                <a:gd name="connsiteX1283" fmla="*/ 5594 w 10785"/>
                <a:gd name="connsiteY1283" fmla="*/ 1060 h 10000"/>
                <a:gd name="connsiteX1284" fmla="*/ 5581 w 10785"/>
                <a:gd name="connsiteY1284" fmla="*/ 1034 h 10000"/>
                <a:gd name="connsiteX1285" fmla="*/ 5571 w 10785"/>
                <a:gd name="connsiteY1285" fmla="*/ 1009 h 10000"/>
                <a:gd name="connsiteX1286" fmla="*/ 5571 w 10785"/>
                <a:gd name="connsiteY1286" fmla="*/ 991 h 10000"/>
                <a:gd name="connsiteX1287" fmla="*/ 5585 w 10785"/>
                <a:gd name="connsiteY1287" fmla="*/ 1009 h 10000"/>
                <a:gd name="connsiteX1288" fmla="*/ 5604 w 10785"/>
                <a:gd name="connsiteY1288" fmla="*/ 1043 h 10000"/>
                <a:gd name="connsiteX1289" fmla="*/ 5641 w 10785"/>
                <a:gd name="connsiteY1289" fmla="*/ 1094 h 10000"/>
                <a:gd name="connsiteX1290" fmla="*/ 5631 w 10785"/>
                <a:gd name="connsiteY1290" fmla="*/ 1128 h 10000"/>
                <a:gd name="connsiteX1291" fmla="*/ 5641 w 10785"/>
                <a:gd name="connsiteY1291" fmla="*/ 1128 h 10000"/>
                <a:gd name="connsiteX1292" fmla="*/ 5659 w 10785"/>
                <a:gd name="connsiteY1292" fmla="*/ 1017 h 10000"/>
                <a:gd name="connsiteX1293" fmla="*/ 5659 w 10785"/>
                <a:gd name="connsiteY1293" fmla="*/ 983 h 10000"/>
                <a:gd name="connsiteX1294" fmla="*/ 5659 w 10785"/>
                <a:gd name="connsiteY1294" fmla="*/ 957 h 10000"/>
                <a:gd name="connsiteX1295" fmla="*/ 5654 w 10785"/>
                <a:gd name="connsiteY1295" fmla="*/ 966 h 10000"/>
                <a:gd name="connsiteX1296" fmla="*/ 5641 w 10785"/>
                <a:gd name="connsiteY1296" fmla="*/ 957 h 10000"/>
                <a:gd name="connsiteX1297" fmla="*/ 5631 w 10785"/>
                <a:gd name="connsiteY1297" fmla="*/ 897 h 10000"/>
                <a:gd name="connsiteX1298" fmla="*/ 5641 w 10785"/>
                <a:gd name="connsiteY1298" fmla="*/ 872 h 10000"/>
                <a:gd name="connsiteX1299" fmla="*/ 5618 w 10785"/>
                <a:gd name="connsiteY1299" fmla="*/ 803 h 10000"/>
                <a:gd name="connsiteX1300" fmla="*/ 5604 w 10785"/>
                <a:gd name="connsiteY1300" fmla="*/ 821 h 10000"/>
                <a:gd name="connsiteX1301" fmla="*/ 5613 w 10785"/>
                <a:gd name="connsiteY1301" fmla="*/ 846 h 10000"/>
                <a:gd name="connsiteX1302" fmla="*/ 5604 w 10785"/>
                <a:gd name="connsiteY1302" fmla="*/ 855 h 10000"/>
                <a:gd name="connsiteX1303" fmla="*/ 5599 w 10785"/>
                <a:gd name="connsiteY1303" fmla="*/ 880 h 10000"/>
                <a:gd name="connsiteX1304" fmla="*/ 5594 w 10785"/>
                <a:gd name="connsiteY1304" fmla="*/ 880 h 10000"/>
                <a:gd name="connsiteX1305" fmla="*/ 5585 w 10785"/>
                <a:gd name="connsiteY1305" fmla="*/ 829 h 10000"/>
                <a:gd name="connsiteX1306" fmla="*/ 5571 w 10785"/>
                <a:gd name="connsiteY1306" fmla="*/ 803 h 10000"/>
                <a:gd name="connsiteX1307" fmla="*/ 5585 w 10785"/>
                <a:gd name="connsiteY1307" fmla="*/ 795 h 10000"/>
                <a:gd name="connsiteX1308" fmla="*/ 5585 w 10785"/>
                <a:gd name="connsiteY1308" fmla="*/ 761 h 10000"/>
                <a:gd name="connsiteX1309" fmla="*/ 5558 w 10785"/>
                <a:gd name="connsiteY1309" fmla="*/ 709 h 10000"/>
                <a:gd name="connsiteX1310" fmla="*/ 5544 w 10785"/>
                <a:gd name="connsiteY1310" fmla="*/ 709 h 10000"/>
                <a:gd name="connsiteX1311" fmla="*/ 5544 w 10785"/>
                <a:gd name="connsiteY1311" fmla="*/ 684 h 10000"/>
                <a:gd name="connsiteX1312" fmla="*/ 5525 w 10785"/>
                <a:gd name="connsiteY1312" fmla="*/ 632 h 10000"/>
                <a:gd name="connsiteX1313" fmla="*/ 5507 w 10785"/>
                <a:gd name="connsiteY1313" fmla="*/ 607 h 10000"/>
                <a:gd name="connsiteX1314" fmla="*/ 5512 w 10785"/>
                <a:gd name="connsiteY1314" fmla="*/ 598 h 10000"/>
                <a:gd name="connsiteX1315" fmla="*/ 5507 w 10785"/>
                <a:gd name="connsiteY1315" fmla="*/ 581 h 10000"/>
                <a:gd name="connsiteX1316" fmla="*/ 5493 w 10785"/>
                <a:gd name="connsiteY1316" fmla="*/ 573 h 10000"/>
                <a:gd name="connsiteX1317" fmla="*/ 5484 w 10785"/>
                <a:gd name="connsiteY1317" fmla="*/ 581 h 10000"/>
                <a:gd name="connsiteX1318" fmla="*/ 5484 w 10785"/>
                <a:gd name="connsiteY1318" fmla="*/ 573 h 10000"/>
                <a:gd name="connsiteX1319" fmla="*/ 5484 w 10785"/>
                <a:gd name="connsiteY1319" fmla="*/ 547 h 10000"/>
                <a:gd name="connsiteX1320" fmla="*/ 5465 w 10785"/>
                <a:gd name="connsiteY1320" fmla="*/ 556 h 10000"/>
                <a:gd name="connsiteX1321" fmla="*/ 5433 w 10785"/>
                <a:gd name="connsiteY1321" fmla="*/ 547 h 10000"/>
                <a:gd name="connsiteX1322" fmla="*/ 5410 w 10785"/>
                <a:gd name="connsiteY1322" fmla="*/ 573 h 10000"/>
                <a:gd name="connsiteX1323" fmla="*/ 5406 w 10785"/>
                <a:gd name="connsiteY1323" fmla="*/ 573 h 10000"/>
                <a:gd name="connsiteX1324" fmla="*/ 5392 w 10785"/>
                <a:gd name="connsiteY1324" fmla="*/ 573 h 10000"/>
                <a:gd name="connsiteX1325" fmla="*/ 5364 w 10785"/>
                <a:gd name="connsiteY1325" fmla="*/ 530 h 10000"/>
                <a:gd name="connsiteX1326" fmla="*/ 5350 w 10785"/>
                <a:gd name="connsiteY1326" fmla="*/ 556 h 10000"/>
                <a:gd name="connsiteX1327" fmla="*/ 5346 w 10785"/>
                <a:gd name="connsiteY1327" fmla="*/ 556 h 10000"/>
                <a:gd name="connsiteX1328" fmla="*/ 5313 w 10785"/>
                <a:gd name="connsiteY1328" fmla="*/ 573 h 10000"/>
                <a:gd name="connsiteX1329" fmla="*/ 5304 w 10785"/>
                <a:gd name="connsiteY1329" fmla="*/ 556 h 10000"/>
                <a:gd name="connsiteX1330" fmla="*/ 5290 w 10785"/>
                <a:gd name="connsiteY1330" fmla="*/ 573 h 10000"/>
                <a:gd name="connsiteX1331" fmla="*/ 5290 w 10785"/>
                <a:gd name="connsiteY1331" fmla="*/ 556 h 10000"/>
                <a:gd name="connsiteX1332" fmla="*/ 5300 w 10785"/>
                <a:gd name="connsiteY1332" fmla="*/ 547 h 10000"/>
                <a:gd name="connsiteX1333" fmla="*/ 5300 w 10785"/>
                <a:gd name="connsiteY1333" fmla="*/ 530 h 10000"/>
                <a:gd name="connsiteX1334" fmla="*/ 5290 w 10785"/>
                <a:gd name="connsiteY1334" fmla="*/ 530 h 10000"/>
                <a:gd name="connsiteX1335" fmla="*/ 5286 w 10785"/>
                <a:gd name="connsiteY1335" fmla="*/ 547 h 10000"/>
                <a:gd name="connsiteX1336" fmla="*/ 5272 w 10785"/>
                <a:gd name="connsiteY1336" fmla="*/ 556 h 10000"/>
                <a:gd name="connsiteX1337" fmla="*/ 5272 w 10785"/>
                <a:gd name="connsiteY1337" fmla="*/ 598 h 10000"/>
                <a:gd name="connsiteX1338" fmla="*/ 5276 w 10785"/>
                <a:gd name="connsiteY1338" fmla="*/ 581 h 10000"/>
                <a:gd name="connsiteX1339" fmla="*/ 5272 w 10785"/>
                <a:gd name="connsiteY1339" fmla="*/ 607 h 10000"/>
                <a:gd name="connsiteX1340" fmla="*/ 5263 w 10785"/>
                <a:gd name="connsiteY1340" fmla="*/ 607 h 10000"/>
                <a:gd name="connsiteX1341" fmla="*/ 5263 w 10785"/>
                <a:gd name="connsiteY1341" fmla="*/ 632 h 10000"/>
                <a:gd name="connsiteX1342" fmla="*/ 5258 w 10785"/>
                <a:gd name="connsiteY1342" fmla="*/ 658 h 10000"/>
                <a:gd name="connsiteX1343" fmla="*/ 5244 w 10785"/>
                <a:gd name="connsiteY1343" fmla="*/ 667 h 10000"/>
                <a:gd name="connsiteX1344" fmla="*/ 5240 w 10785"/>
                <a:gd name="connsiteY1344" fmla="*/ 658 h 10000"/>
                <a:gd name="connsiteX1345" fmla="*/ 5240 w 10785"/>
                <a:gd name="connsiteY1345" fmla="*/ 684 h 10000"/>
                <a:gd name="connsiteX1346" fmla="*/ 5212 w 10785"/>
                <a:gd name="connsiteY1346" fmla="*/ 684 h 10000"/>
                <a:gd name="connsiteX1347" fmla="*/ 5198 w 10785"/>
                <a:gd name="connsiteY1347" fmla="*/ 692 h 10000"/>
                <a:gd name="connsiteX1348" fmla="*/ 5184 w 10785"/>
                <a:gd name="connsiteY1348" fmla="*/ 684 h 10000"/>
                <a:gd name="connsiteX1349" fmla="*/ 5157 w 10785"/>
                <a:gd name="connsiteY1349" fmla="*/ 684 h 10000"/>
                <a:gd name="connsiteX1350" fmla="*/ 5157 w 10785"/>
                <a:gd name="connsiteY1350" fmla="*/ 667 h 10000"/>
                <a:gd name="connsiteX1351" fmla="*/ 5157 w 10785"/>
                <a:gd name="connsiteY1351" fmla="*/ 667 h 10000"/>
                <a:gd name="connsiteX1352" fmla="*/ 5180 w 10785"/>
                <a:gd name="connsiteY1352" fmla="*/ 650 h 10000"/>
                <a:gd name="connsiteX1353" fmla="*/ 5184 w 10785"/>
                <a:gd name="connsiteY1353" fmla="*/ 658 h 10000"/>
                <a:gd name="connsiteX1354" fmla="*/ 5203 w 10785"/>
                <a:gd name="connsiteY1354" fmla="*/ 547 h 10000"/>
                <a:gd name="connsiteX1355" fmla="*/ 5226 w 10785"/>
                <a:gd name="connsiteY1355" fmla="*/ 530 h 10000"/>
                <a:gd name="connsiteX1356" fmla="*/ 5230 w 10785"/>
                <a:gd name="connsiteY1356" fmla="*/ 487 h 10000"/>
                <a:gd name="connsiteX1357" fmla="*/ 5230 w 10785"/>
                <a:gd name="connsiteY1357" fmla="*/ 487 h 10000"/>
                <a:gd name="connsiteX1358" fmla="*/ 5226 w 10785"/>
                <a:gd name="connsiteY1358" fmla="*/ 462 h 10000"/>
                <a:gd name="connsiteX1359" fmla="*/ 5226 w 10785"/>
                <a:gd name="connsiteY1359" fmla="*/ 462 h 10000"/>
                <a:gd name="connsiteX1360" fmla="*/ 5240 w 10785"/>
                <a:gd name="connsiteY1360" fmla="*/ 462 h 10000"/>
                <a:gd name="connsiteX1361" fmla="*/ 5240 w 10785"/>
                <a:gd name="connsiteY1361" fmla="*/ 444 h 10000"/>
                <a:gd name="connsiteX1362" fmla="*/ 5230 w 10785"/>
                <a:gd name="connsiteY1362" fmla="*/ 436 h 10000"/>
                <a:gd name="connsiteX1363" fmla="*/ 5230 w 10785"/>
                <a:gd name="connsiteY1363" fmla="*/ 419 h 10000"/>
                <a:gd name="connsiteX1364" fmla="*/ 5230 w 10785"/>
                <a:gd name="connsiteY1364" fmla="*/ 410 h 10000"/>
                <a:gd name="connsiteX1365" fmla="*/ 5198 w 10785"/>
                <a:gd name="connsiteY1365" fmla="*/ 402 h 10000"/>
                <a:gd name="connsiteX1366" fmla="*/ 5189 w 10785"/>
                <a:gd name="connsiteY1366" fmla="*/ 402 h 10000"/>
                <a:gd name="connsiteX1367" fmla="*/ 5184 w 10785"/>
                <a:gd name="connsiteY1367" fmla="*/ 376 h 10000"/>
                <a:gd name="connsiteX1368" fmla="*/ 5180 w 10785"/>
                <a:gd name="connsiteY1368" fmla="*/ 376 h 10000"/>
                <a:gd name="connsiteX1369" fmla="*/ 5166 w 10785"/>
                <a:gd name="connsiteY1369" fmla="*/ 376 h 10000"/>
                <a:gd name="connsiteX1370" fmla="*/ 5157 w 10785"/>
                <a:gd name="connsiteY1370" fmla="*/ 385 h 10000"/>
                <a:gd name="connsiteX1371" fmla="*/ 5152 w 10785"/>
                <a:gd name="connsiteY1371" fmla="*/ 376 h 10000"/>
                <a:gd name="connsiteX1372" fmla="*/ 5129 w 10785"/>
                <a:gd name="connsiteY1372" fmla="*/ 385 h 10000"/>
                <a:gd name="connsiteX1373" fmla="*/ 5129 w 10785"/>
                <a:gd name="connsiteY1373" fmla="*/ 350 h 10000"/>
                <a:gd name="connsiteX1374" fmla="*/ 5129 w 10785"/>
                <a:gd name="connsiteY1374" fmla="*/ 325 h 10000"/>
                <a:gd name="connsiteX1375" fmla="*/ 5124 w 10785"/>
                <a:gd name="connsiteY1375" fmla="*/ 359 h 10000"/>
                <a:gd name="connsiteX1376" fmla="*/ 5106 w 10785"/>
                <a:gd name="connsiteY1376" fmla="*/ 359 h 10000"/>
                <a:gd name="connsiteX1377" fmla="*/ 5037 w 10785"/>
                <a:gd name="connsiteY1377" fmla="*/ 419 h 10000"/>
                <a:gd name="connsiteX1378" fmla="*/ 5051 w 10785"/>
                <a:gd name="connsiteY1378" fmla="*/ 385 h 10000"/>
                <a:gd name="connsiteX1379" fmla="*/ 5055 w 10785"/>
                <a:gd name="connsiteY1379" fmla="*/ 376 h 10000"/>
                <a:gd name="connsiteX1380" fmla="*/ 5092 w 10785"/>
                <a:gd name="connsiteY1380" fmla="*/ 282 h 10000"/>
                <a:gd name="connsiteX1381" fmla="*/ 5106 w 10785"/>
                <a:gd name="connsiteY1381" fmla="*/ 265 h 10000"/>
                <a:gd name="connsiteX1382" fmla="*/ 5115 w 10785"/>
                <a:gd name="connsiteY1382" fmla="*/ 265 h 10000"/>
                <a:gd name="connsiteX1383" fmla="*/ 5124 w 10785"/>
                <a:gd name="connsiteY1383" fmla="*/ 222 h 10000"/>
                <a:gd name="connsiteX1384" fmla="*/ 5124 w 10785"/>
                <a:gd name="connsiteY1384" fmla="*/ 214 h 10000"/>
                <a:gd name="connsiteX1385" fmla="*/ 5143 w 10785"/>
                <a:gd name="connsiteY1385" fmla="*/ 197 h 10000"/>
                <a:gd name="connsiteX1386" fmla="*/ 5152 w 10785"/>
                <a:gd name="connsiteY1386" fmla="*/ 214 h 10000"/>
                <a:gd name="connsiteX1387" fmla="*/ 5143 w 10785"/>
                <a:gd name="connsiteY1387" fmla="*/ 188 h 10000"/>
                <a:gd name="connsiteX1388" fmla="*/ 5129 w 10785"/>
                <a:gd name="connsiteY1388" fmla="*/ 103 h 10000"/>
                <a:gd name="connsiteX1389" fmla="*/ 5115 w 10785"/>
                <a:gd name="connsiteY1389" fmla="*/ 85 h 10000"/>
                <a:gd name="connsiteX1390" fmla="*/ 5111 w 10785"/>
                <a:gd name="connsiteY1390" fmla="*/ 111 h 10000"/>
                <a:gd name="connsiteX1391" fmla="*/ 5092 w 10785"/>
                <a:gd name="connsiteY1391" fmla="*/ 103 h 10000"/>
                <a:gd name="connsiteX1392" fmla="*/ 5069 w 10785"/>
                <a:gd name="connsiteY1392" fmla="*/ 77 h 10000"/>
                <a:gd name="connsiteX1393" fmla="*/ 5051 w 10785"/>
                <a:gd name="connsiteY1393" fmla="*/ 26 h 10000"/>
                <a:gd name="connsiteX1394" fmla="*/ 5041 w 10785"/>
                <a:gd name="connsiteY1394" fmla="*/ 34 h 10000"/>
                <a:gd name="connsiteX1395" fmla="*/ 5037 w 10785"/>
                <a:gd name="connsiteY1395" fmla="*/ 34 h 10000"/>
                <a:gd name="connsiteX1396" fmla="*/ 5037 w 10785"/>
                <a:gd name="connsiteY1396" fmla="*/ 26 h 10000"/>
                <a:gd name="connsiteX1397" fmla="*/ 5037 w 10785"/>
                <a:gd name="connsiteY1397" fmla="*/ 9 h 10000"/>
                <a:gd name="connsiteX1398" fmla="*/ 5023 w 10785"/>
                <a:gd name="connsiteY1398" fmla="*/ 0 h 10000"/>
                <a:gd name="connsiteX1399" fmla="*/ 5009 w 10785"/>
                <a:gd name="connsiteY1399" fmla="*/ 9 h 10000"/>
                <a:gd name="connsiteX1400" fmla="*/ 4995 w 10785"/>
                <a:gd name="connsiteY1400" fmla="*/ 34 h 10000"/>
                <a:gd name="connsiteX1401" fmla="*/ 4991 w 10785"/>
                <a:gd name="connsiteY1401" fmla="*/ 60 h 10000"/>
                <a:gd name="connsiteX1402" fmla="*/ 4982 w 10785"/>
                <a:gd name="connsiteY1402" fmla="*/ 60 h 10000"/>
                <a:gd name="connsiteX1403" fmla="*/ 4949 w 10785"/>
                <a:gd name="connsiteY1403" fmla="*/ 51 h 10000"/>
                <a:gd name="connsiteX1404" fmla="*/ 4949 w 10785"/>
                <a:gd name="connsiteY1404" fmla="*/ 85 h 10000"/>
                <a:gd name="connsiteX1405" fmla="*/ 4903 w 10785"/>
                <a:gd name="connsiteY1405" fmla="*/ 197 h 10000"/>
                <a:gd name="connsiteX1406" fmla="*/ 4899 w 10785"/>
                <a:gd name="connsiteY1406" fmla="*/ 239 h 10000"/>
                <a:gd name="connsiteX1407" fmla="*/ 4871 w 10785"/>
                <a:gd name="connsiteY1407" fmla="*/ 274 h 10000"/>
                <a:gd name="connsiteX1408" fmla="*/ 4871 w 10785"/>
                <a:gd name="connsiteY1408" fmla="*/ 282 h 10000"/>
                <a:gd name="connsiteX1409" fmla="*/ 4834 w 10785"/>
                <a:gd name="connsiteY1409" fmla="*/ 376 h 10000"/>
                <a:gd name="connsiteX1410" fmla="*/ 4829 w 10785"/>
                <a:gd name="connsiteY1410" fmla="*/ 402 h 10000"/>
                <a:gd name="connsiteX1411" fmla="*/ 4834 w 10785"/>
                <a:gd name="connsiteY1411" fmla="*/ 410 h 10000"/>
                <a:gd name="connsiteX1412" fmla="*/ 4829 w 10785"/>
                <a:gd name="connsiteY1412" fmla="*/ 436 h 10000"/>
                <a:gd name="connsiteX1413" fmla="*/ 4825 w 10785"/>
                <a:gd name="connsiteY1413" fmla="*/ 436 h 10000"/>
                <a:gd name="connsiteX1414" fmla="*/ 4825 w 10785"/>
                <a:gd name="connsiteY1414" fmla="*/ 444 h 10000"/>
                <a:gd name="connsiteX1415" fmla="*/ 4811 w 10785"/>
                <a:gd name="connsiteY1415" fmla="*/ 496 h 10000"/>
                <a:gd name="connsiteX1416" fmla="*/ 4811 w 10785"/>
                <a:gd name="connsiteY1416" fmla="*/ 496 h 10000"/>
                <a:gd name="connsiteX1417" fmla="*/ 4811 w 10785"/>
                <a:gd name="connsiteY1417" fmla="*/ 521 h 10000"/>
                <a:gd name="connsiteX1418" fmla="*/ 4816 w 10785"/>
                <a:gd name="connsiteY1418" fmla="*/ 530 h 10000"/>
                <a:gd name="connsiteX1419" fmla="*/ 4834 w 10785"/>
                <a:gd name="connsiteY1419" fmla="*/ 547 h 10000"/>
                <a:gd name="connsiteX1420" fmla="*/ 4834 w 10785"/>
                <a:gd name="connsiteY1420" fmla="*/ 581 h 10000"/>
                <a:gd name="connsiteX1421" fmla="*/ 4843 w 10785"/>
                <a:gd name="connsiteY1421" fmla="*/ 581 h 10000"/>
                <a:gd name="connsiteX1422" fmla="*/ 4843 w 10785"/>
                <a:gd name="connsiteY1422" fmla="*/ 598 h 10000"/>
                <a:gd name="connsiteX1423" fmla="*/ 4829 w 10785"/>
                <a:gd name="connsiteY1423" fmla="*/ 598 h 10000"/>
                <a:gd name="connsiteX1424" fmla="*/ 4829 w 10785"/>
                <a:gd name="connsiteY1424" fmla="*/ 573 h 10000"/>
                <a:gd name="connsiteX1425" fmla="*/ 4829 w 10785"/>
                <a:gd name="connsiteY1425" fmla="*/ 632 h 10000"/>
                <a:gd name="connsiteX1426" fmla="*/ 4829 w 10785"/>
                <a:gd name="connsiteY1426" fmla="*/ 632 h 10000"/>
                <a:gd name="connsiteX1427" fmla="*/ 4829 w 10785"/>
                <a:gd name="connsiteY1427" fmla="*/ 650 h 10000"/>
                <a:gd name="connsiteX1428" fmla="*/ 4774 w 10785"/>
                <a:gd name="connsiteY1428" fmla="*/ 684 h 10000"/>
                <a:gd name="connsiteX1429" fmla="*/ 4756 w 10785"/>
                <a:gd name="connsiteY1429" fmla="*/ 684 h 10000"/>
                <a:gd name="connsiteX1430" fmla="*/ 4737 w 10785"/>
                <a:gd name="connsiteY1430" fmla="*/ 692 h 10000"/>
                <a:gd name="connsiteX1431" fmla="*/ 4677 w 10785"/>
                <a:gd name="connsiteY1431" fmla="*/ 667 h 10000"/>
                <a:gd name="connsiteX1432" fmla="*/ 4682 w 10785"/>
                <a:gd name="connsiteY1432" fmla="*/ 692 h 10000"/>
                <a:gd name="connsiteX1433" fmla="*/ 4682 w 10785"/>
                <a:gd name="connsiteY1433" fmla="*/ 709 h 10000"/>
                <a:gd name="connsiteX1434" fmla="*/ 4691 w 10785"/>
                <a:gd name="connsiteY1434" fmla="*/ 718 h 10000"/>
                <a:gd name="connsiteX1435" fmla="*/ 4691 w 10785"/>
                <a:gd name="connsiteY1435" fmla="*/ 744 h 10000"/>
                <a:gd name="connsiteX1436" fmla="*/ 4700 w 10785"/>
                <a:gd name="connsiteY1436" fmla="*/ 744 h 10000"/>
                <a:gd name="connsiteX1437" fmla="*/ 4714 w 10785"/>
                <a:gd name="connsiteY1437" fmla="*/ 769 h 10000"/>
                <a:gd name="connsiteX1438" fmla="*/ 4710 w 10785"/>
                <a:gd name="connsiteY1438" fmla="*/ 786 h 10000"/>
                <a:gd name="connsiteX1439" fmla="*/ 4737 w 10785"/>
                <a:gd name="connsiteY1439" fmla="*/ 786 h 10000"/>
                <a:gd name="connsiteX1440" fmla="*/ 4742 w 10785"/>
                <a:gd name="connsiteY1440" fmla="*/ 795 h 10000"/>
                <a:gd name="connsiteX1441" fmla="*/ 4742 w 10785"/>
                <a:gd name="connsiteY1441" fmla="*/ 803 h 10000"/>
                <a:gd name="connsiteX1442" fmla="*/ 4737 w 10785"/>
                <a:gd name="connsiteY1442" fmla="*/ 846 h 10000"/>
                <a:gd name="connsiteX1443" fmla="*/ 4737 w 10785"/>
                <a:gd name="connsiteY1443" fmla="*/ 880 h 10000"/>
                <a:gd name="connsiteX1444" fmla="*/ 4737 w 10785"/>
                <a:gd name="connsiteY1444" fmla="*/ 906 h 10000"/>
                <a:gd name="connsiteX1445" fmla="*/ 4724 w 10785"/>
                <a:gd name="connsiteY1445" fmla="*/ 897 h 10000"/>
                <a:gd name="connsiteX1446" fmla="*/ 4724 w 10785"/>
                <a:gd name="connsiteY1446" fmla="*/ 872 h 10000"/>
                <a:gd name="connsiteX1447" fmla="*/ 4714 w 10785"/>
                <a:gd name="connsiteY1447" fmla="*/ 855 h 10000"/>
                <a:gd name="connsiteX1448" fmla="*/ 4691 w 10785"/>
                <a:gd name="connsiteY1448" fmla="*/ 846 h 10000"/>
                <a:gd name="connsiteX1449" fmla="*/ 4691 w 10785"/>
                <a:gd name="connsiteY1449" fmla="*/ 846 h 10000"/>
                <a:gd name="connsiteX1450" fmla="*/ 4696 w 10785"/>
                <a:gd name="connsiteY1450" fmla="*/ 821 h 10000"/>
                <a:gd name="connsiteX1451" fmla="*/ 4691 w 10785"/>
                <a:gd name="connsiteY1451" fmla="*/ 803 h 10000"/>
                <a:gd name="connsiteX1452" fmla="*/ 4668 w 10785"/>
                <a:gd name="connsiteY1452" fmla="*/ 821 h 10000"/>
                <a:gd name="connsiteX1453" fmla="*/ 4668 w 10785"/>
                <a:gd name="connsiteY1453" fmla="*/ 786 h 10000"/>
                <a:gd name="connsiteX1454" fmla="*/ 4664 w 10785"/>
                <a:gd name="connsiteY1454" fmla="*/ 786 h 10000"/>
                <a:gd name="connsiteX1455" fmla="*/ 4622 w 10785"/>
                <a:gd name="connsiteY1455" fmla="*/ 846 h 10000"/>
                <a:gd name="connsiteX1456" fmla="*/ 4627 w 10785"/>
                <a:gd name="connsiteY1456" fmla="*/ 872 h 10000"/>
                <a:gd name="connsiteX1457" fmla="*/ 4622 w 10785"/>
                <a:gd name="connsiteY1457" fmla="*/ 880 h 10000"/>
                <a:gd name="connsiteX1458" fmla="*/ 4622 w 10785"/>
                <a:gd name="connsiteY1458" fmla="*/ 880 h 10000"/>
                <a:gd name="connsiteX1459" fmla="*/ 4618 w 10785"/>
                <a:gd name="connsiteY1459" fmla="*/ 872 h 10000"/>
                <a:gd name="connsiteX1460" fmla="*/ 4604 w 10785"/>
                <a:gd name="connsiteY1460" fmla="*/ 880 h 10000"/>
                <a:gd name="connsiteX1461" fmla="*/ 4594 w 10785"/>
                <a:gd name="connsiteY1461" fmla="*/ 906 h 10000"/>
                <a:gd name="connsiteX1462" fmla="*/ 4604 w 10785"/>
                <a:gd name="connsiteY1462" fmla="*/ 906 h 10000"/>
                <a:gd name="connsiteX1463" fmla="*/ 4608 w 10785"/>
                <a:gd name="connsiteY1463" fmla="*/ 906 h 10000"/>
                <a:gd name="connsiteX1464" fmla="*/ 4608 w 10785"/>
                <a:gd name="connsiteY1464" fmla="*/ 932 h 10000"/>
                <a:gd name="connsiteX1465" fmla="*/ 4604 w 10785"/>
                <a:gd name="connsiteY1465" fmla="*/ 932 h 10000"/>
                <a:gd name="connsiteX1466" fmla="*/ 4590 w 10785"/>
                <a:gd name="connsiteY1466" fmla="*/ 932 h 10000"/>
                <a:gd name="connsiteX1467" fmla="*/ 4567 w 10785"/>
                <a:gd name="connsiteY1467" fmla="*/ 957 h 10000"/>
                <a:gd name="connsiteX1468" fmla="*/ 4567 w 10785"/>
                <a:gd name="connsiteY1468" fmla="*/ 932 h 10000"/>
                <a:gd name="connsiteX1469" fmla="*/ 4567 w 10785"/>
                <a:gd name="connsiteY1469" fmla="*/ 923 h 10000"/>
                <a:gd name="connsiteX1470" fmla="*/ 4562 w 10785"/>
                <a:gd name="connsiteY1470" fmla="*/ 932 h 10000"/>
                <a:gd name="connsiteX1471" fmla="*/ 4548 w 10785"/>
                <a:gd name="connsiteY1471" fmla="*/ 957 h 10000"/>
                <a:gd name="connsiteX1472" fmla="*/ 4544 w 10785"/>
                <a:gd name="connsiteY1472" fmla="*/ 957 h 10000"/>
                <a:gd name="connsiteX1473" fmla="*/ 4521 w 10785"/>
                <a:gd name="connsiteY1473" fmla="*/ 983 h 10000"/>
                <a:gd name="connsiteX1474" fmla="*/ 4521 w 10785"/>
                <a:gd name="connsiteY1474" fmla="*/ 983 h 10000"/>
                <a:gd name="connsiteX1475" fmla="*/ 4530 w 10785"/>
                <a:gd name="connsiteY1475" fmla="*/ 957 h 10000"/>
                <a:gd name="connsiteX1476" fmla="*/ 4535 w 10785"/>
                <a:gd name="connsiteY1476" fmla="*/ 932 h 10000"/>
                <a:gd name="connsiteX1477" fmla="*/ 4521 w 10785"/>
                <a:gd name="connsiteY1477" fmla="*/ 932 h 10000"/>
                <a:gd name="connsiteX1478" fmla="*/ 4516 w 10785"/>
                <a:gd name="connsiteY1478" fmla="*/ 923 h 10000"/>
                <a:gd name="connsiteX1479" fmla="*/ 4516 w 10785"/>
                <a:gd name="connsiteY1479" fmla="*/ 932 h 10000"/>
                <a:gd name="connsiteX1480" fmla="*/ 4488 w 10785"/>
                <a:gd name="connsiteY1480" fmla="*/ 940 h 10000"/>
                <a:gd name="connsiteX1481" fmla="*/ 4484 w 10785"/>
                <a:gd name="connsiteY1481" fmla="*/ 983 h 10000"/>
                <a:gd name="connsiteX1482" fmla="*/ 4470 w 10785"/>
                <a:gd name="connsiteY1482" fmla="*/ 983 h 10000"/>
                <a:gd name="connsiteX1483" fmla="*/ 4470 w 10785"/>
                <a:gd name="connsiteY1483" fmla="*/ 966 h 10000"/>
                <a:gd name="connsiteX1484" fmla="*/ 4488 w 10785"/>
                <a:gd name="connsiteY1484" fmla="*/ 923 h 10000"/>
                <a:gd name="connsiteX1485" fmla="*/ 4493 w 10785"/>
                <a:gd name="connsiteY1485" fmla="*/ 880 h 10000"/>
                <a:gd name="connsiteX1486" fmla="*/ 4475 w 10785"/>
                <a:gd name="connsiteY1486" fmla="*/ 846 h 10000"/>
                <a:gd name="connsiteX1487" fmla="*/ 4442 w 10785"/>
                <a:gd name="connsiteY1487" fmla="*/ 855 h 10000"/>
                <a:gd name="connsiteX1488" fmla="*/ 4433 w 10785"/>
                <a:gd name="connsiteY1488" fmla="*/ 855 h 10000"/>
                <a:gd name="connsiteX1489" fmla="*/ 4433 w 10785"/>
                <a:gd name="connsiteY1489" fmla="*/ 880 h 10000"/>
                <a:gd name="connsiteX1490" fmla="*/ 4401 w 10785"/>
                <a:gd name="connsiteY1490" fmla="*/ 855 h 10000"/>
                <a:gd name="connsiteX1491" fmla="*/ 4396 w 10785"/>
                <a:gd name="connsiteY1491" fmla="*/ 872 h 10000"/>
                <a:gd name="connsiteX1492" fmla="*/ 4382 w 10785"/>
                <a:gd name="connsiteY1492" fmla="*/ 897 h 10000"/>
                <a:gd name="connsiteX1493" fmla="*/ 4373 w 10785"/>
                <a:gd name="connsiteY1493" fmla="*/ 872 h 10000"/>
                <a:gd name="connsiteX1494" fmla="*/ 4341 w 10785"/>
                <a:gd name="connsiteY1494" fmla="*/ 872 h 10000"/>
                <a:gd name="connsiteX1495" fmla="*/ 4336 w 10785"/>
                <a:gd name="connsiteY1495" fmla="*/ 880 h 10000"/>
                <a:gd name="connsiteX1496" fmla="*/ 4346 w 10785"/>
                <a:gd name="connsiteY1496" fmla="*/ 897 h 10000"/>
                <a:gd name="connsiteX1497" fmla="*/ 4346 w 10785"/>
                <a:gd name="connsiteY1497" fmla="*/ 897 h 10000"/>
                <a:gd name="connsiteX1498" fmla="*/ 4313 w 10785"/>
                <a:gd name="connsiteY1498" fmla="*/ 906 h 10000"/>
                <a:gd name="connsiteX1499" fmla="*/ 4313 w 10785"/>
                <a:gd name="connsiteY1499" fmla="*/ 906 h 10000"/>
                <a:gd name="connsiteX1500" fmla="*/ 4313 w 10785"/>
                <a:gd name="connsiteY1500" fmla="*/ 880 h 10000"/>
                <a:gd name="connsiteX1501" fmla="*/ 4309 w 10785"/>
                <a:gd name="connsiteY1501" fmla="*/ 897 h 10000"/>
                <a:gd name="connsiteX1502" fmla="*/ 4295 w 10785"/>
                <a:gd name="connsiteY1502" fmla="*/ 923 h 10000"/>
                <a:gd name="connsiteX1503" fmla="*/ 4286 w 10785"/>
                <a:gd name="connsiteY1503" fmla="*/ 897 h 10000"/>
                <a:gd name="connsiteX1504" fmla="*/ 4281 w 10785"/>
                <a:gd name="connsiteY1504" fmla="*/ 906 h 10000"/>
                <a:gd name="connsiteX1505" fmla="*/ 4281 w 10785"/>
                <a:gd name="connsiteY1505" fmla="*/ 940 h 10000"/>
                <a:gd name="connsiteX1506" fmla="*/ 4286 w 10785"/>
                <a:gd name="connsiteY1506" fmla="*/ 957 h 10000"/>
                <a:gd name="connsiteX1507" fmla="*/ 4309 w 10785"/>
                <a:gd name="connsiteY1507" fmla="*/ 932 h 10000"/>
                <a:gd name="connsiteX1508" fmla="*/ 4313 w 10785"/>
                <a:gd name="connsiteY1508" fmla="*/ 957 h 10000"/>
                <a:gd name="connsiteX1509" fmla="*/ 4313 w 10785"/>
                <a:gd name="connsiteY1509" fmla="*/ 966 h 10000"/>
                <a:gd name="connsiteX1510" fmla="*/ 4323 w 10785"/>
                <a:gd name="connsiteY1510" fmla="*/ 966 h 10000"/>
                <a:gd name="connsiteX1511" fmla="*/ 4323 w 10785"/>
                <a:gd name="connsiteY1511" fmla="*/ 940 h 10000"/>
                <a:gd name="connsiteX1512" fmla="*/ 4327 w 10785"/>
                <a:gd name="connsiteY1512" fmla="*/ 940 h 10000"/>
                <a:gd name="connsiteX1513" fmla="*/ 4327 w 10785"/>
                <a:gd name="connsiteY1513" fmla="*/ 957 h 10000"/>
                <a:gd name="connsiteX1514" fmla="*/ 4327 w 10785"/>
                <a:gd name="connsiteY1514" fmla="*/ 966 h 10000"/>
                <a:gd name="connsiteX1515" fmla="*/ 4323 w 10785"/>
                <a:gd name="connsiteY1515" fmla="*/ 991 h 10000"/>
                <a:gd name="connsiteX1516" fmla="*/ 4207 w 10785"/>
                <a:gd name="connsiteY1516" fmla="*/ 1060 h 10000"/>
                <a:gd name="connsiteX1517" fmla="*/ 4207 w 10785"/>
                <a:gd name="connsiteY1517" fmla="*/ 1060 h 10000"/>
                <a:gd name="connsiteX1518" fmla="*/ 4203 w 10785"/>
                <a:gd name="connsiteY1518" fmla="*/ 1068 h 10000"/>
                <a:gd name="connsiteX1519" fmla="*/ 4203 w 10785"/>
                <a:gd name="connsiteY1519" fmla="*/ 1094 h 10000"/>
                <a:gd name="connsiteX1520" fmla="*/ 4203 w 10785"/>
                <a:gd name="connsiteY1520" fmla="*/ 1094 h 10000"/>
                <a:gd name="connsiteX1521" fmla="*/ 4189 w 10785"/>
                <a:gd name="connsiteY1521" fmla="*/ 1094 h 10000"/>
                <a:gd name="connsiteX1522" fmla="*/ 4166 w 10785"/>
                <a:gd name="connsiteY1522" fmla="*/ 1103 h 10000"/>
                <a:gd name="connsiteX1523" fmla="*/ 4152 w 10785"/>
                <a:gd name="connsiteY1523" fmla="*/ 1094 h 10000"/>
                <a:gd name="connsiteX1524" fmla="*/ 4134 w 10785"/>
                <a:gd name="connsiteY1524" fmla="*/ 1120 h 10000"/>
                <a:gd name="connsiteX1525" fmla="*/ 4106 w 10785"/>
                <a:gd name="connsiteY1525" fmla="*/ 1120 h 10000"/>
                <a:gd name="connsiteX1526" fmla="*/ 4092 w 10785"/>
                <a:gd name="connsiteY1526" fmla="*/ 1154 h 10000"/>
                <a:gd name="connsiteX1527" fmla="*/ 4106 w 10785"/>
                <a:gd name="connsiteY1527" fmla="*/ 1171 h 10000"/>
                <a:gd name="connsiteX1528" fmla="*/ 4078 w 10785"/>
                <a:gd name="connsiteY1528" fmla="*/ 1179 h 10000"/>
                <a:gd name="connsiteX1529" fmla="*/ 4065 w 10785"/>
                <a:gd name="connsiteY1529" fmla="*/ 1205 h 10000"/>
                <a:gd name="connsiteX1530" fmla="*/ 4046 w 10785"/>
                <a:gd name="connsiteY1530" fmla="*/ 1179 h 10000"/>
                <a:gd name="connsiteX1531" fmla="*/ 4041 w 10785"/>
                <a:gd name="connsiteY1531" fmla="*/ 1197 h 10000"/>
                <a:gd name="connsiteX1532" fmla="*/ 4028 w 10785"/>
                <a:gd name="connsiteY1532" fmla="*/ 1205 h 10000"/>
                <a:gd name="connsiteX1533" fmla="*/ 4028 w 10785"/>
                <a:gd name="connsiteY1533" fmla="*/ 1205 h 10000"/>
                <a:gd name="connsiteX1534" fmla="*/ 4032 w 10785"/>
                <a:gd name="connsiteY1534" fmla="*/ 1205 h 10000"/>
                <a:gd name="connsiteX1535" fmla="*/ 4032 w 10785"/>
                <a:gd name="connsiteY1535" fmla="*/ 1231 h 10000"/>
                <a:gd name="connsiteX1536" fmla="*/ 4014 w 10785"/>
                <a:gd name="connsiteY1536" fmla="*/ 1239 h 10000"/>
                <a:gd name="connsiteX1537" fmla="*/ 4014 w 10785"/>
                <a:gd name="connsiteY1537" fmla="*/ 1256 h 10000"/>
                <a:gd name="connsiteX1538" fmla="*/ 4000 w 10785"/>
                <a:gd name="connsiteY1538" fmla="*/ 1265 h 10000"/>
                <a:gd name="connsiteX1539" fmla="*/ 3986 w 10785"/>
                <a:gd name="connsiteY1539" fmla="*/ 1308 h 10000"/>
                <a:gd name="connsiteX1540" fmla="*/ 3972 w 10785"/>
                <a:gd name="connsiteY1540" fmla="*/ 1316 h 10000"/>
                <a:gd name="connsiteX1541" fmla="*/ 3972 w 10785"/>
                <a:gd name="connsiteY1541" fmla="*/ 1325 h 10000"/>
                <a:gd name="connsiteX1542" fmla="*/ 3972 w 10785"/>
                <a:gd name="connsiteY1542" fmla="*/ 1342 h 10000"/>
                <a:gd name="connsiteX1543" fmla="*/ 3968 w 10785"/>
                <a:gd name="connsiteY1543" fmla="*/ 1350 h 10000"/>
                <a:gd name="connsiteX1544" fmla="*/ 3954 w 10785"/>
                <a:gd name="connsiteY1544" fmla="*/ 1368 h 10000"/>
                <a:gd name="connsiteX1545" fmla="*/ 3945 w 10785"/>
                <a:gd name="connsiteY1545" fmla="*/ 1350 h 10000"/>
                <a:gd name="connsiteX1546" fmla="*/ 3908 w 10785"/>
                <a:gd name="connsiteY1546" fmla="*/ 1342 h 10000"/>
                <a:gd name="connsiteX1547" fmla="*/ 3894 w 10785"/>
                <a:gd name="connsiteY1547" fmla="*/ 1368 h 10000"/>
                <a:gd name="connsiteX1548" fmla="*/ 3922 w 10785"/>
                <a:gd name="connsiteY1548" fmla="*/ 1393 h 10000"/>
                <a:gd name="connsiteX1549" fmla="*/ 3945 w 10785"/>
                <a:gd name="connsiteY1549" fmla="*/ 1393 h 10000"/>
                <a:gd name="connsiteX1550" fmla="*/ 3940 w 10785"/>
                <a:gd name="connsiteY1550" fmla="*/ 1419 h 10000"/>
                <a:gd name="connsiteX1551" fmla="*/ 3931 w 10785"/>
                <a:gd name="connsiteY1551" fmla="*/ 1427 h 10000"/>
                <a:gd name="connsiteX1552" fmla="*/ 3926 w 10785"/>
                <a:gd name="connsiteY1552" fmla="*/ 1427 h 10000"/>
                <a:gd name="connsiteX1553" fmla="*/ 3922 w 10785"/>
                <a:gd name="connsiteY1553" fmla="*/ 1419 h 10000"/>
                <a:gd name="connsiteX1554" fmla="*/ 3912 w 10785"/>
                <a:gd name="connsiteY1554" fmla="*/ 1427 h 10000"/>
                <a:gd name="connsiteX1555" fmla="*/ 3912 w 10785"/>
                <a:gd name="connsiteY1555" fmla="*/ 1444 h 10000"/>
                <a:gd name="connsiteX1556" fmla="*/ 3894 w 10785"/>
                <a:gd name="connsiteY1556" fmla="*/ 1513 h 10000"/>
                <a:gd name="connsiteX1557" fmla="*/ 3885 w 10785"/>
                <a:gd name="connsiteY1557" fmla="*/ 1513 h 10000"/>
                <a:gd name="connsiteX1558" fmla="*/ 3880 w 10785"/>
                <a:gd name="connsiteY1558" fmla="*/ 1538 h 10000"/>
                <a:gd name="connsiteX1559" fmla="*/ 3885 w 10785"/>
                <a:gd name="connsiteY1559" fmla="*/ 1564 h 10000"/>
                <a:gd name="connsiteX1560" fmla="*/ 3880 w 10785"/>
                <a:gd name="connsiteY1560" fmla="*/ 1581 h 10000"/>
                <a:gd name="connsiteX1561" fmla="*/ 3871 w 10785"/>
                <a:gd name="connsiteY1561" fmla="*/ 1538 h 10000"/>
                <a:gd name="connsiteX1562" fmla="*/ 3853 w 10785"/>
                <a:gd name="connsiteY1562" fmla="*/ 1530 h 10000"/>
                <a:gd name="connsiteX1563" fmla="*/ 3853 w 10785"/>
                <a:gd name="connsiteY1563" fmla="*/ 1504 h 10000"/>
                <a:gd name="connsiteX1564" fmla="*/ 3834 w 10785"/>
                <a:gd name="connsiteY1564" fmla="*/ 1487 h 10000"/>
                <a:gd name="connsiteX1565" fmla="*/ 3834 w 10785"/>
                <a:gd name="connsiteY1565" fmla="*/ 1487 h 10000"/>
                <a:gd name="connsiteX1566" fmla="*/ 3839 w 10785"/>
                <a:gd name="connsiteY1566" fmla="*/ 1513 h 10000"/>
                <a:gd name="connsiteX1567" fmla="*/ 3820 w 10785"/>
                <a:gd name="connsiteY1567" fmla="*/ 1538 h 10000"/>
                <a:gd name="connsiteX1568" fmla="*/ 3820 w 10785"/>
                <a:gd name="connsiteY1568" fmla="*/ 1556 h 10000"/>
                <a:gd name="connsiteX1569" fmla="*/ 3820 w 10785"/>
                <a:gd name="connsiteY1569" fmla="*/ 1564 h 10000"/>
                <a:gd name="connsiteX1570" fmla="*/ 3820 w 10785"/>
                <a:gd name="connsiteY1570" fmla="*/ 1581 h 10000"/>
                <a:gd name="connsiteX1571" fmla="*/ 3853 w 10785"/>
                <a:gd name="connsiteY1571" fmla="*/ 1581 h 10000"/>
                <a:gd name="connsiteX1572" fmla="*/ 3857 w 10785"/>
                <a:gd name="connsiteY1572" fmla="*/ 1598 h 10000"/>
                <a:gd name="connsiteX1573" fmla="*/ 3880 w 10785"/>
                <a:gd name="connsiteY1573" fmla="*/ 1615 h 10000"/>
                <a:gd name="connsiteX1574" fmla="*/ 3871 w 10785"/>
                <a:gd name="connsiteY1574" fmla="*/ 1615 h 10000"/>
                <a:gd name="connsiteX1575" fmla="*/ 3871 w 10785"/>
                <a:gd name="connsiteY1575" fmla="*/ 1641 h 10000"/>
                <a:gd name="connsiteX1576" fmla="*/ 3880 w 10785"/>
                <a:gd name="connsiteY1576" fmla="*/ 1641 h 10000"/>
                <a:gd name="connsiteX1577" fmla="*/ 3871 w 10785"/>
                <a:gd name="connsiteY1577" fmla="*/ 1650 h 10000"/>
                <a:gd name="connsiteX1578" fmla="*/ 3857 w 10785"/>
                <a:gd name="connsiteY1578" fmla="*/ 1650 h 10000"/>
                <a:gd name="connsiteX1579" fmla="*/ 3853 w 10785"/>
                <a:gd name="connsiteY1579" fmla="*/ 1650 h 10000"/>
                <a:gd name="connsiteX1580" fmla="*/ 3839 w 10785"/>
                <a:gd name="connsiteY1580" fmla="*/ 1667 h 10000"/>
                <a:gd name="connsiteX1581" fmla="*/ 3848 w 10785"/>
                <a:gd name="connsiteY1581" fmla="*/ 1692 h 10000"/>
                <a:gd name="connsiteX1582" fmla="*/ 3834 w 10785"/>
                <a:gd name="connsiteY1582" fmla="*/ 1692 h 10000"/>
                <a:gd name="connsiteX1583" fmla="*/ 3825 w 10785"/>
                <a:gd name="connsiteY1583" fmla="*/ 1692 h 10000"/>
                <a:gd name="connsiteX1584" fmla="*/ 3825 w 10785"/>
                <a:gd name="connsiteY1584" fmla="*/ 1718 h 10000"/>
                <a:gd name="connsiteX1585" fmla="*/ 3839 w 10785"/>
                <a:gd name="connsiteY1585" fmla="*/ 1726 h 10000"/>
                <a:gd name="connsiteX1586" fmla="*/ 3880 w 10785"/>
                <a:gd name="connsiteY1586" fmla="*/ 1752 h 10000"/>
                <a:gd name="connsiteX1587" fmla="*/ 3894 w 10785"/>
                <a:gd name="connsiteY1587" fmla="*/ 1829 h 10000"/>
                <a:gd name="connsiteX1588" fmla="*/ 3899 w 10785"/>
                <a:gd name="connsiteY1588" fmla="*/ 1838 h 10000"/>
                <a:gd name="connsiteX1589" fmla="*/ 3894 w 10785"/>
                <a:gd name="connsiteY1589" fmla="*/ 1855 h 10000"/>
                <a:gd name="connsiteX1590" fmla="*/ 3880 w 10785"/>
                <a:gd name="connsiteY1590" fmla="*/ 1838 h 10000"/>
                <a:gd name="connsiteX1591" fmla="*/ 3880 w 10785"/>
                <a:gd name="connsiteY1591" fmla="*/ 1855 h 10000"/>
                <a:gd name="connsiteX1592" fmla="*/ 3880 w 10785"/>
                <a:gd name="connsiteY1592" fmla="*/ 1863 h 10000"/>
                <a:gd name="connsiteX1593" fmla="*/ 3871 w 10785"/>
                <a:gd name="connsiteY1593" fmla="*/ 1872 h 10000"/>
                <a:gd name="connsiteX1594" fmla="*/ 3880 w 10785"/>
                <a:gd name="connsiteY1594" fmla="*/ 1889 h 10000"/>
                <a:gd name="connsiteX1595" fmla="*/ 3885 w 10785"/>
                <a:gd name="connsiteY1595" fmla="*/ 1889 h 10000"/>
                <a:gd name="connsiteX1596" fmla="*/ 3880 w 10785"/>
                <a:gd name="connsiteY1596" fmla="*/ 1897 h 10000"/>
                <a:gd name="connsiteX1597" fmla="*/ 3871 w 10785"/>
                <a:gd name="connsiteY1597" fmla="*/ 1915 h 10000"/>
                <a:gd name="connsiteX1598" fmla="*/ 3848 w 10785"/>
                <a:gd name="connsiteY1598" fmla="*/ 1923 h 10000"/>
                <a:gd name="connsiteX1599" fmla="*/ 3825 w 10785"/>
                <a:gd name="connsiteY1599" fmla="*/ 1940 h 10000"/>
                <a:gd name="connsiteX1600" fmla="*/ 3811 w 10785"/>
                <a:gd name="connsiteY1600" fmla="*/ 1940 h 10000"/>
                <a:gd name="connsiteX1601" fmla="*/ 3806 w 10785"/>
                <a:gd name="connsiteY1601" fmla="*/ 1949 h 10000"/>
                <a:gd name="connsiteX1602" fmla="*/ 3797 w 10785"/>
                <a:gd name="connsiteY1602" fmla="*/ 1966 h 10000"/>
                <a:gd name="connsiteX1603" fmla="*/ 3788 w 10785"/>
                <a:gd name="connsiteY1603" fmla="*/ 1991 h 10000"/>
                <a:gd name="connsiteX1604" fmla="*/ 3765 w 10785"/>
                <a:gd name="connsiteY1604" fmla="*/ 1974 h 10000"/>
                <a:gd name="connsiteX1605" fmla="*/ 3760 w 10785"/>
                <a:gd name="connsiteY1605" fmla="*/ 1966 h 10000"/>
                <a:gd name="connsiteX1606" fmla="*/ 3760 w 10785"/>
                <a:gd name="connsiteY1606" fmla="*/ 1966 h 10000"/>
                <a:gd name="connsiteX1607" fmla="*/ 3631 w 10785"/>
                <a:gd name="connsiteY1607" fmla="*/ 2009 h 10000"/>
                <a:gd name="connsiteX1608" fmla="*/ 3618 w 10785"/>
                <a:gd name="connsiteY1608" fmla="*/ 2000 h 10000"/>
                <a:gd name="connsiteX1609" fmla="*/ 3599 w 10785"/>
                <a:gd name="connsiteY1609" fmla="*/ 2009 h 10000"/>
                <a:gd name="connsiteX1610" fmla="*/ 3571 w 10785"/>
                <a:gd name="connsiteY1610" fmla="*/ 2000 h 10000"/>
                <a:gd name="connsiteX1611" fmla="*/ 3530 w 10785"/>
                <a:gd name="connsiteY1611" fmla="*/ 2026 h 10000"/>
                <a:gd name="connsiteX1612" fmla="*/ 3530 w 10785"/>
                <a:gd name="connsiteY1612" fmla="*/ 2034 h 10000"/>
                <a:gd name="connsiteX1613" fmla="*/ 3525 w 10785"/>
                <a:gd name="connsiteY1613" fmla="*/ 2051 h 10000"/>
                <a:gd name="connsiteX1614" fmla="*/ 3512 w 10785"/>
                <a:gd name="connsiteY1614" fmla="*/ 2034 h 10000"/>
                <a:gd name="connsiteX1615" fmla="*/ 3507 w 10785"/>
                <a:gd name="connsiteY1615" fmla="*/ 2034 h 10000"/>
                <a:gd name="connsiteX1616" fmla="*/ 3498 w 10785"/>
                <a:gd name="connsiteY1616" fmla="*/ 2051 h 10000"/>
                <a:gd name="connsiteX1617" fmla="*/ 3484 w 10785"/>
                <a:gd name="connsiteY1617" fmla="*/ 2060 h 10000"/>
                <a:gd name="connsiteX1618" fmla="*/ 3484 w 10785"/>
                <a:gd name="connsiteY1618" fmla="*/ 2085 h 10000"/>
                <a:gd name="connsiteX1619" fmla="*/ 3484 w 10785"/>
                <a:gd name="connsiteY1619" fmla="*/ 2103 h 10000"/>
                <a:gd name="connsiteX1620" fmla="*/ 3493 w 10785"/>
                <a:gd name="connsiteY1620" fmla="*/ 2103 h 10000"/>
                <a:gd name="connsiteX1621" fmla="*/ 3493 w 10785"/>
                <a:gd name="connsiteY1621" fmla="*/ 2085 h 10000"/>
                <a:gd name="connsiteX1622" fmla="*/ 3498 w 10785"/>
                <a:gd name="connsiteY1622" fmla="*/ 2085 h 10000"/>
                <a:gd name="connsiteX1623" fmla="*/ 3498 w 10785"/>
                <a:gd name="connsiteY1623" fmla="*/ 2111 h 10000"/>
                <a:gd name="connsiteX1624" fmla="*/ 3484 w 10785"/>
                <a:gd name="connsiteY1624" fmla="*/ 2120 h 10000"/>
                <a:gd name="connsiteX1625" fmla="*/ 3484 w 10785"/>
                <a:gd name="connsiteY1625" fmla="*/ 2145 h 10000"/>
                <a:gd name="connsiteX1626" fmla="*/ 3470 w 10785"/>
                <a:gd name="connsiteY1626" fmla="*/ 2137 h 10000"/>
                <a:gd name="connsiteX1627" fmla="*/ 3465 w 10785"/>
                <a:gd name="connsiteY1627" fmla="*/ 2145 h 10000"/>
                <a:gd name="connsiteX1628" fmla="*/ 3470 w 10785"/>
                <a:gd name="connsiteY1628" fmla="*/ 2171 h 10000"/>
                <a:gd name="connsiteX1629" fmla="*/ 3484 w 10785"/>
                <a:gd name="connsiteY1629" fmla="*/ 2171 h 10000"/>
                <a:gd name="connsiteX1630" fmla="*/ 3484 w 10785"/>
                <a:gd name="connsiteY1630" fmla="*/ 2197 h 10000"/>
                <a:gd name="connsiteX1631" fmla="*/ 3465 w 10785"/>
                <a:gd name="connsiteY1631" fmla="*/ 2214 h 10000"/>
                <a:gd name="connsiteX1632" fmla="*/ 3493 w 10785"/>
                <a:gd name="connsiteY1632" fmla="*/ 2248 h 10000"/>
                <a:gd name="connsiteX1633" fmla="*/ 3484 w 10785"/>
                <a:gd name="connsiteY1633" fmla="*/ 2256 h 10000"/>
                <a:gd name="connsiteX1634" fmla="*/ 3498 w 10785"/>
                <a:gd name="connsiteY1634" fmla="*/ 2274 h 10000"/>
                <a:gd name="connsiteX1635" fmla="*/ 3498 w 10785"/>
                <a:gd name="connsiteY1635" fmla="*/ 2256 h 10000"/>
                <a:gd name="connsiteX1636" fmla="*/ 3507 w 10785"/>
                <a:gd name="connsiteY1636" fmla="*/ 2308 h 10000"/>
                <a:gd name="connsiteX1637" fmla="*/ 3512 w 10785"/>
                <a:gd name="connsiteY1637" fmla="*/ 2325 h 10000"/>
                <a:gd name="connsiteX1638" fmla="*/ 3507 w 10785"/>
                <a:gd name="connsiteY1638" fmla="*/ 2333 h 10000"/>
                <a:gd name="connsiteX1639" fmla="*/ 3507 w 10785"/>
                <a:gd name="connsiteY1639" fmla="*/ 2359 h 10000"/>
                <a:gd name="connsiteX1640" fmla="*/ 3507 w 10785"/>
                <a:gd name="connsiteY1640" fmla="*/ 2376 h 10000"/>
                <a:gd name="connsiteX1641" fmla="*/ 3498 w 10785"/>
                <a:gd name="connsiteY1641" fmla="*/ 2410 h 10000"/>
                <a:gd name="connsiteX1642" fmla="*/ 3498 w 10785"/>
                <a:gd name="connsiteY1642" fmla="*/ 2436 h 10000"/>
                <a:gd name="connsiteX1643" fmla="*/ 3507 w 10785"/>
                <a:gd name="connsiteY1643" fmla="*/ 2462 h 10000"/>
                <a:gd name="connsiteX1644" fmla="*/ 3507 w 10785"/>
                <a:gd name="connsiteY1644" fmla="*/ 2496 h 10000"/>
                <a:gd name="connsiteX1645" fmla="*/ 3512 w 10785"/>
                <a:gd name="connsiteY1645" fmla="*/ 2521 h 10000"/>
                <a:gd name="connsiteX1646" fmla="*/ 3525 w 10785"/>
                <a:gd name="connsiteY1646" fmla="*/ 2556 h 10000"/>
                <a:gd name="connsiteX1647" fmla="*/ 3571 w 10785"/>
                <a:gd name="connsiteY1647" fmla="*/ 2573 h 10000"/>
                <a:gd name="connsiteX1648" fmla="*/ 3590 w 10785"/>
                <a:gd name="connsiteY1648" fmla="*/ 2598 h 10000"/>
                <a:gd name="connsiteX1649" fmla="*/ 3599 w 10785"/>
                <a:gd name="connsiteY1649" fmla="*/ 2598 h 10000"/>
                <a:gd name="connsiteX1650" fmla="*/ 3604 w 10785"/>
                <a:gd name="connsiteY1650" fmla="*/ 2632 h 10000"/>
                <a:gd name="connsiteX1651" fmla="*/ 3599 w 10785"/>
                <a:gd name="connsiteY1651" fmla="*/ 2658 h 10000"/>
                <a:gd name="connsiteX1652" fmla="*/ 3590 w 10785"/>
                <a:gd name="connsiteY1652" fmla="*/ 2667 h 10000"/>
                <a:gd name="connsiteX1653" fmla="*/ 3604 w 10785"/>
                <a:gd name="connsiteY1653" fmla="*/ 2667 h 10000"/>
                <a:gd name="connsiteX1654" fmla="*/ 3613 w 10785"/>
                <a:gd name="connsiteY1654" fmla="*/ 2692 h 10000"/>
                <a:gd name="connsiteX1655" fmla="*/ 3627 w 10785"/>
                <a:gd name="connsiteY1655" fmla="*/ 2735 h 10000"/>
                <a:gd name="connsiteX1656" fmla="*/ 3631 w 10785"/>
                <a:gd name="connsiteY1656" fmla="*/ 2744 h 10000"/>
                <a:gd name="connsiteX1657" fmla="*/ 3659 w 10785"/>
                <a:gd name="connsiteY1657" fmla="*/ 2761 h 10000"/>
                <a:gd name="connsiteX1658" fmla="*/ 3673 w 10785"/>
                <a:gd name="connsiteY1658" fmla="*/ 2769 h 10000"/>
                <a:gd name="connsiteX1659" fmla="*/ 3673 w 10785"/>
                <a:gd name="connsiteY1659" fmla="*/ 2761 h 10000"/>
                <a:gd name="connsiteX1660" fmla="*/ 3687 w 10785"/>
                <a:gd name="connsiteY1660" fmla="*/ 2829 h 10000"/>
                <a:gd name="connsiteX1661" fmla="*/ 3677 w 10785"/>
                <a:gd name="connsiteY1661" fmla="*/ 2897 h 10000"/>
                <a:gd name="connsiteX1662" fmla="*/ 3673 w 10785"/>
                <a:gd name="connsiteY1662" fmla="*/ 2915 h 10000"/>
                <a:gd name="connsiteX1663" fmla="*/ 3664 w 10785"/>
                <a:gd name="connsiteY1663" fmla="*/ 2957 h 10000"/>
                <a:gd name="connsiteX1664" fmla="*/ 3659 w 10785"/>
                <a:gd name="connsiteY1664" fmla="*/ 2983 h 10000"/>
                <a:gd name="connsiteX1665" fmla="*/ 3664 w 10785"/>
                <a:gd name="connsiteY1665" fmla="*/ 3017 h 10000"/>
                <a:gd name="connsiteX1666" fmla="*/ 3659 w 10785"/>
                <a:gd name="connsiteY1666" fmla="*/ 3043 h 10000"/>
                <a:gd name="connsiteX1667" fmla="*/ 3677 w 10785"/>
                <a:gd name="connsiteY1667" fmla="*/ 3094 h 10000"/>
                <a:gd name="connsiteX1668" fmla="*/ 3691 w 10785"/>
                <a:gd name="connsiteY1668" fmla="*/ 3282 h 10000"/>
                <a:gd name="connsiteX1669" fmla="*/ 3691 w 10785"/>
                <a:gd name="connsiteY1669" fmla="*/ 3308 h 10000"/>
                <a:gd name="connsiteX1670" fmla="*/ 3677 w 10785"/>
                <a:gd name="connsiteY1670" fmla="*/ 3342 h 10000"/>
                <a:gd name="connsiteX1671" fmla="*/ 3664 w 10785"/>
                <a:gd name="connsiteY1671" fmla="*/ 3342 h 10000"/>
                <a:gd name="connsiteX1672" fmla="*/ 3650 w 10785"/>
                <a:gd name="connsiteY1672" fmla="*/ 3342 h 10000"/>
                <a:gd name="connsiteX1673" fmla="*/ 3650 w 10785"/>
                <a:gd name="connsiteY1673" fmla="*/ 3350 h 10000"/>
                <a:gd name="connsiteX1674" fmla="*/ 3659 w 10785"/>
                <a:gd name="connsiteY1674" fmla="*/ 3402 h 10000"/>
                <a:gd name="connsiteX1675" fmla="*/ 3659 w 10785"/>
                <a:gd name="connsiteY1675" fmla="*/ 3419 h 10000"/>
                <a:gd name="connsiteX1676" fmla="*/ 3631 w 10785"/>
                <a:gd name="connsiteY1676" fmla="*/ 3402 h 10000"/>
                <a:gd name="connsiteX1677" fmla="*/ 3604 w 10785"/>
                <a:gd name="connsiteY1677" fmla="*/ 3393 h 10000"/>
                <a:gd name="connsiteX1678" fmla="*/ 3599 w 10785"/>
                <a:gd name="connsiteY1678" fmla="*/ 3368 h 10000"/>
                <a:gd name="connsiteX1679" fmla="*/ 3590 w 10785"/>
                <a:gd name="connsiteY1679" fmla="*/ 3239 h 10000"/>
                <a:gd name="connsiteX1680" fmla="*/ 3599 w 10785"/>
                <a:gd name="connsiteY1680" fmla="*/ 3179 h 10000"/>
                <a:gd name="connsiteX1681" fmla="*/ 3599 w 10785"/>
                <a:gd name="connsiteY1681" fmla="*/ 3171 h 10000"/>
                <a:gd name="connsiteX1682" fmla="*/ 3599 w 10785"/>
                <a:gd name="connsiteY1682" fmla="*/ 3009 h 10000"/>
                <a:gd name="connsiteX1683" fmla="*/ 3604 w 10785"/>
                <a:gd name="connsiteY1683" fmla="*/ 2983 h 10000"/>
                <a:gd name="connsiteX1684" fmla="*/ 3645 w 10785"/>
                <a:gd name="connsiteY1684" fmla="*/ 2932 h 10000"/>
                <a:gd name="connsiteX1685" fmla="*/ 3650 w 10785"/>
                <a:gd name="connsiteY1685" fmla="*/ 2872 h 10000"/>
                <a:gd name="connsiteX1686" fmla="*/ 3659 w 10785"/>
                <a:gd name="connsiteY1686" fmla="*/ 2855 h 10000"/>
                <a:gd name="connsiteX1687" fmla="*/ 3659 w 10785"/>
                <a:gd name="connsiteY1687" fmla="*/ 2821 h 10000"/>
                <a:gd name="connsiteX1688" fmla="*/ 3631 w 10785"/>
                <a:gd name="connsiteY1688" fmla="*/ 2795 h 10000"/>
                <a:gd name="connsiteX1689" fmla="*/ 3567 w 10785"/>
                <a:gd name="connsiteY1689" fmla="*/ 2821 h 10000"/>
                <a:gd name="connsiteX1690" fmla="*/ 3544 w 10785"/>
                <a:gd name="connsiteY1690" fmla="*/ 2795 h 10000"/>
                <a:gd name="connsiteX1691" fmla="*/ 3530 w 10785"/>
                <a:gd name="connsiteY1691" fmla="*/ 2769 h 10000"/>
                <a:gd name="connsiteX1692" fmla="*/ 3530 w 10785"/>
                <a:gd name="connsiteY1692" fmla="*/ 2786 h 10000"/>
                <a:gd name="connsiteX1693" fmla="*/ 3498 w 10785"/>
                <a:gd name="connsiteY1693" fmla="*/ 2692 h 10000"/>
                <a:gd name="connsiteX1694" fmla="*/ 3498 w 10785"/>
                <a:gd name="connsiteY1694" fmla="*/ 2667 h 10000"/>
                <a:gd name="connsiteX1695" fmla="*/ 3442 w 10785"/>
                <a:gd name="connsiteY1695" fmla="*/ 2607 h 10000"/>
                <a:gd name="connsiteX1696" fmla="*/ 3433 w 10785"/>
                <a:gd name="connsiteY1696" fmla="*/ 2581 h 10000"/>
                <a:gd name="connsiteX1697" fmla="*/ 3396 w 10785"/>
                <a:gd name="connsiteY1697" fmla="*/ 2556 h 10000"/>
                <a:gd name="connsiteX1698" fmla="*/ 3318 w 10785"/>
                <a:gd name="connsiteY1698" fmla="*/ 2556 h 10000"/>
                <a:gd name="connsiteX1699" fmla="*/ 3304 w 10785"/>
                <a:gd name="connsiteY1699" fmla="*/ 2607 h 10000"/>
                <a:gd name="connsiteX1700" fmla="*/ 3276 w 10785"/>
                <a:gd name="connsiteY1700" fmla="*/ 2632 h 10000"/>
                <a:gd name="connsiteX1701" fmla="*/ 3272 w 10785"/>
                <a:gd name="connsiteY1701" fmla="*/ 2667 h 10000"/>
                <a:gd name="connsiteX1702" fmla="*/ 3304 w 10785"/>
                <a:gd name="connsiteY1702" fmla="*/ 2667 h 10000"/>
                <a:gd name="connsiteX1703" fmla="*/ 3323 w 10785"/>
                <a:gd name="connsiteY1703" fmla="*/ 2692 h 10000"/>
                <a:gd name="connsiteX1704" fmla="*/ 3318 w 10785"/>
                <a:gd name="connsiteY1704" fmla="*/ 2735 h 10000"/>
                <a:gd name="connsiteX1705" fmla="*/ 3304 w 10785"/>
                <a:gd name="connsiteY1705" fmla="*/ 2761 h 10000"/>
                <a:gd name="connsiteX1706" fmla="*/ 3276 w 10785"/>
                <a:gd name="connsiteY1706" fmla="*/ 2769 h 10000"/>
                <a:gd name="connsiteX1707" fmla="*/ 3263 w 10785"/>
                <a:gd name="connsiteY1707" fmla="*/ 2795 h 10000"/>
                <a:gd name="connsiteX1708" fmla="*/ 3235 w 10785"/>
                <a:gd name="connsiteY1708" fmla="*/ 2803 h 10000"/>
                <a:gd name="connsiteX1709" fmla="*/ 3235 w 10785"/>
                <a:gd name="connsiteY1709" fmla="*/ 2786 h 10000"/>
                <a:gd name="connsiteX1710" fmla="*/ 3212 w 10785"/>
                <a:gd name="connsiteY1710" fmla="*/ 2709 h 10000"/>
                <a:gd name="connsiteX1711" fmla="*/ 3198 w 10785"/>
                <a:gd name="connsiteY1711" fmla="*/ 2709 h 10000"/>
                <a:gd name="connsiteX1712" fmla="*/ 3184 w 10785"/>
                <a:gd name="connsiteY1712" fmla="*/ 2735 h 10000"/>
                <a:gd name="connsiteX1713" fmla="*/ 3189 w 10785"/>
                <a:gd name="connsiteY1713" fmla="*/ 2761 h 10000"/>
                <a:gd name="connsiteX1714" fmla="*/ 3203 w 10785"/>
                <a:gd name="connsiteY1714" fmla="*/ 2855 h 10000"/>
                <a:gd name="connsiteX1715" fmla="*/ 3212 w 10785"/>
                <a:gd name="connsiteY1715" fmla="*/ 2872 h 10000"/>
                <a:gd name="connsiteX1716" fmla="*/ 3235 w 10785"/>
                <a:gd name="connsiteY1716" fmla="*/ 2906 h 10000"/>
                <a:gd name="connsiteX1717" fmla="*/ 3258 w 10785"/>
                <a:gd name="connsiteY1717" fmla="*/ 2915 h 10000"/>
                <a:gd name="connsiteX1718" fmla="*/ 3272 w 10785"/>
                <a:gd name="connsiteY1718" fmla="*/ 2957 h 10000"/>
                <a:gd name="connsiteX1719" fmla="*/ 3276 w 10785"/>
                <a:gd name="connsiteY1719" fmla="*/ 2957 h 10000"/>
                <a:gd name="connsiteX1720" fmla="*/ 3286 w 10785"/>
                <a:gd name="connsiteY1720" fmla="*/ 2966 h 10000"/>
                <a:gd name="connsiteX1721" fmla="*/ 3300 w 10785"/>
                <a:gd name="connsiteY1721" fmla="*/ 2957 h 10000"/>
                <a:gd name="connsiteX1722" fmla="*/ 3309 w 10785"/>
                <a:gd name="connsiteY1722" fmla="*/ 2932 h 10000"/>
                <a:gd name="connsiteX1723" fmla="*/ 3304 w 10785"/>
                <a:gd name="connsiteY1723" fmla="*/ 2966 h 10000"/>
                <a:gd name="connsiteX1724" fmla="*/ 3309 w 10785"/>
                <a:gd name="connsiteY1724" fmla="*/ 2983 h 10000"/>
                <a:gd name="connsiteX1725" fmla="*/ 3323 w 10785"/>
                <a:gd name="connsiteY1725" fmla="*/ 2966 h 10000"/>
                <a:gd name="connsiteX1726" fmla="*/ 3323 w 10785"/>
                <a:gd name="connsiteY1726" fmla="*/ 3043 h 10000"/>
                <a:gd name="connsiteX1727" fmla="*/ 3346 w 10785"/>
                <a:gd name="connsiteY1727" fmla="*/ 3068 h 10000"/>
                <a:gd name="connsiteX1728" fmla="*/ 3346 w 10785"/>
                <a:gd name="connsiteY1728" fmla="*/ 3094 h 10000"/>
                <a:gd name="connsiteX1729" fmla="*/ 3323 w 10785"/>
                <a:gd name="connsiteY1729" fmla="*/ 3094 h 10000"/>
                <a:gd name="connsiteX1730" fmla="*/ 3309 w 10785"/>
                <a:gd name="connsiteY1730" fmla="*/ 3077 h 10000"/>
                <a:gd name="connsiteX1731" fmla="*/ 3304 w 10785"/>
                <a:gd name="connsiteY1731" fmla="*/ 3051 h 10000"/>
                <a:gd name="connsiteX1732" fmla="*/ 3300 w 10785"/>
                <a:gd name="connsiteY1732" fmla="*/ 3043 h 10000"/>
                <a:gd name="connsiteX1733" fmla="*/ 3286 w 10785"/>
                <a:gd name="connsiteY1733" fmla="*/ 3017 h 10000"/>
                <a:gd name="connsiteX1734" fmla="*/ 3152 w 10785"/>
                <a:gd name="connsiteY1734" fmla="*/ 2966 h 10000"/>
                <a:gd name="connsiteX1735" fmla="*/ 3129 w 10785"/>
                <a:gd name="connsiteY1735" fmla="*/ 2915 h 10000"/>
                <a:gd name="connsiteX1736" fmla="*/ 3129 w 10785"/>
                <a:gd name="connsiteY1736" fmla="*/ 2906 h 10000"/>
                <a:gd name="connsiteX1737" fmla="*/ 3152 w 10785"/>
                <a:gd name="connsiteY1737" fmla="*/ 2906 h 10000"/>
                <a:gd name="connsiteX1738" fmla="*/ 3152 w 10785"/>
                <a:gd name="connsiteY1738" fmla="*/ 2846 h 10000"/>
                <a:gd name="connsiteX1739" fmla="*/ 3138 w 10785"/>
                <a:gd name="connsiteY1739" fmla="*/ 2795 h 10000"/>
                <a:gd name="connsiteX1740" fmla="*/ 3138 w 10785"/>
                <a:gd name="connsiteY1740" fmla="*/ 2769 h 10000"/>
                <a:gd name="connsiteX1741" fmla="*/ 3143 w 10785"/>
                <a:gd name="connsiteY1741" fmla="*/ 2718 h 10000"/>
                <a:gd name="connsiteX1742" fmla="*/ 3129 w 10785"/>
                <a:gd name="connsiteY1742" fmla="*/ 2692 h 10000"/>
                <a:gd name="connsiteX1743" fmla="*/ 3143 w 10785"/>
                <a:gd name="connsiteY1743" fmla="*/ 2667 h 10000"/>
                <a:gd name="connsiteX1744" fmla="*/ 3157 w 10785"/>
                <a:gd name="connsiteY1744" fmla="*/ 2581 h 10000"/>
                <a:gd name="connsiteX1745" fmla="*/ 3143 w 10785"/>
                <a:gd name="connsiteY1745" fmla="*/ 2496 h 10000"/>
                <a:gd name="connsiteX1746" fmla="*/ 3157 w 10785"/>
                <a:gd name="connsiteY1746" fmla="*/ 2487 h 10000"/>
                <a:gd name="connsiteX1747" fmla="*/ 3143 w 10785"/>
                <a:gd name="connsiteY1747" fmla="*/ 2444 h 10000"/>
                <a:gd name="connsiteX1748" fmla="*/ 3143 w 10785"/>
                <a:gd name="connsiteY1748" fmla="*/ 2419 h 10000"/>
                <a:gd name="connsiteX1749" fmla="*/ 3143 w 10785"/>
                <a:gd name="connsiteY1749" fmla="*/ 2410 h 10000"/>
                <a:gd name="connsiteX1750" fmla="*/ 3124 w 10785"/>
                <a:gd name="connsiteY1750" fmla="*/ 2376 h 10000"/>
                <a:gd name="connsiteX1751" fmla="*/ 3115 w 10785"/>
                <a:gd name="connsiteY1751" fmla="*/ 2350 h 10000"/>
                <a:gd name="connsiteX1752" fmla="*/ 3101 w 10785"/>
                <a:gd name="connsiteY1752" fmla="*/ 2359 h 10000"/>
                <a:gd name="connsiteX1753" fmla="*/ 3115 w 10785"/>
                <a:gd name="connsiteY1753" fmla="*/ 2581 h 10000"/>
                <a:gd name="connsiteX1754" fmla="*/ 3111 w 10785"/>
                <a:gd name="connsiteY1754" fmla="*/ 2624 h 10000"/>
                <a:gd name="connsiteX1755" fmla="*/ 3009 w 10785"/>
                <a:gd name="connsiteY1755" fmla="*/ 2761 h 10000"/>
                <a:gd name="connsiteX1756" fmla="*/ 3009 w 10785"/>
                <a:gd name="connsiteY1756" fmla="*/ 2803 h 10000"/>
                <a:gd name="connsiteX1757" fmla="*/ 3005 w 10785"/>
                <a:gd name="connsiteY1757" fmla="*/ 2829 h 10000"/>
                <a:gd name="connsiteX1758" fmla="*/ 2982 w 10785"/>
                <a:gd name="connsiteY1758" fmla="*/ 2872 h 10000"/>
                <a:gd name="connsiteX1759" fmla="*/ 2982 w 10785"/>
                <a:gd name="connsiteY1759" fmla="*/ 2880 h 10000"/>
                <a:gd name="connsiteX1760" fmla="*/ 3037 w 10785"/>
                <a:gd name="connsiteY1760" fmla="*/ 3034 h 10000"/>
                <a:gd name="connsiteX1761" fmla="*/ 3041 w 10785"/>
                <a:gd name="connsiteY1761" fmla="*/ 3103 h 10000"/>
                <a:gd name="connsiteX1762" fmla="*/ 3069 w 10785"/>
                <a:gd name="connsiteY1762" fmla="*/ 3188 h 10000"/>
                <a:gd name="connsiteX1763" fmla="*/ 3055 w 10785"/>
                <a:gd name="connsiteY1763" fmla="*/ 3325 h 10000"/>
                <a:gd name="connsiteX1764" fmla="*/ 3037 w 10785"/>
                <a:gd name="connsiteY1764" fmla="*/ 3368 h 10000"/>
                <a:gd name="connsiteX1765" fmla="*/ 3037 w 10785"/>
                <a:gd name="connsiteY1765" fmla="*/ 3444 h 10000"/>
                <a:gd name="connsiteX1766" fmla="*/ 3028 w 10785"/>
                <a:gd name="connsiteY1766" fmla="*/ 3453 h 10000"/>
                <a:gd name="connsiteX1767" fmla="*/ 3023 w 10785"/>
                <a:gd name="connsiteY1767" fmla="*/ 3530 h 10000"/>
                <a:gd name="connsiteX1768" fmla="*/ 3051 w 10785"/>
                <a:gd name="connsiteY1768" fmla="*/ 3624 h 10000"/>
                <a:gd name="connsiteX1769" fmla="*/ 3037 w 10785"/>
                <a:gd name="connsiteY1769" fmla="*/ 3718 h 10000"/>
                <a:gd name="connsiteX1770" fmla="*/ 3041 w 10785"/>
                <a:gd name="connsiteY1770" fmla="*/ 3752 h 10000"/>
                <a:gd name="connsiteX1771" fmla="*/ 3055 w 10785"/>
                <a:gd name="connsiteY1771" fmla="*/ 3761 h 10000"/>
                <a:gd name="connsiteX1772" fmla="*/ 3078 w 10785"/>
                <a:gd name="connsiteY1772" fmla="*/ 3752 h 10000"/>
                <a:gd name="connsiteX1773" fmla="*/ 3092 w 10785"/>
                <a:gd name="connsiteY1773" fmla="*/ 3752 h 10000"/>
                <a:gd name="connsiteX1774" fmla="*/ 3129 w 10785"/>
                <a:gd name="connsiteY1774" fmla="*/ 3761 h 10000"/>
                <a:gd name="connsiteX1775" fmla="*/ 3129 w 10785"/>
                <a:gd name="connsiteY1775" fmla="*/ 3735 h 10000"/>
                <a:gd name="connsiteX1776" fmla="*/ 3157 w 10785"/>
                <a:gd name="connsiteY1776" fmla="*/ 3718 h 10000"/>
                <a:gd name="connsiteX1777" fmla="*/ 3184 w 10785"/>
                <a:gd name="connsiteY1777" fmla="*/ 3718 h 10000"/>
                <a:gd name="connsiteX1778" fmla="*/ 3290 w 10785"/>
                <a:gd name="connsiteY1778" fmla="*/ 3838 h 10000"/>
                <a:gd name="connsiteX1779" fmla="*/ 3300 w 10785"/>
                <a:gd name="connsiteY1779" fmla="*/ 3846 h 10000"/>
                <a:gd name="connsiteX1780" fmla="*/ 3300 w 10785"/>
                <a:gd name="connsiteY1780" fmla="*/ 3915 h 10000"/>
                <a:gd name="connsiteX1781" fmla="*/ 3318 w 10785"/>
                <a:gd name="connsiteY1781" fmla="*/ 4000 h 10000"/>
                <a:gd name="connsiteX1782" fmla="*/ 3323 w 10785"/>
                <a:gd name="connsiteY1782" fmla="*/ 4000 h 10000"/>
                <a:gd name="connsiteX1783" fmla="*/ 3323 w 10785"/>
                <a:gd name="connsiteY1783" fmla="*/ 4034 h 10000"/>
                <a:gd name="connsiteX1784" fmla="*/ 3318 w 10785"/>
                <a:gd name="connsiteY1784" fmla="*/ 4051 h 10000"/>
                <a:gd name="connsiteX1785" fmla="*/ 3300 w 10785"/>
                <a:gd name="connsiteY1785" fmla="*/ 4051 h 10000"/>
                <a:gd name="connsiteX1786" fmla="*/ 3290 w 10785"/>
                <a:gd name="connsiteY1786" fmla="*/ 4077 h 10000"/>
                <a:gd name="connsiteX1787" fmla="*/ 3286 w 10785"/>
                <a:gd name="connsiteY1787" fmla="*/ 4103 h 10000"/>
                <a:gd name="connsiteX1788" fmla="*/ 3286 w 10785"/>
                <a:gd name="connsiteY1788" fmla="*/ 4197 h 10000"/>
                <a:gd name="connsiteX1789" fmla="*/ 3290 w 10785"/>
                <a:gd name="connsiteY1789" fmla="*/ 4214 h 10000"/>
                <a:gd name="connsiteX1790" fmla="*/ 3304 w 10785"/>
                <a:gd name="connsiteY1790" fmla="*/ 4214 h 10000"/>
                <a:gd name="connsiteX1791" fmla="*/ 3323 w 10785"/>
                <a:gd name="connsiteY1791" fmla="*/ 4239 h 10000"/>
                <a:gd name="connsiteX1792" fmla="*/ 3350 w 10785"/>
                <a:gd name="connsiteY1792" fmla="*/ 4222 h 10000"/>
                <a:gd name="connsiteX1793" fmla="*/ 3369 w 10785"/>
                <a:gd name="connsiteY1793" fmla="*/ 4256 h 10000"/>
                <a:gd name="connsiteX1794" fmla="*/ 3369 w 10785"/>
                <a:gd name="connsiteY1794" fmla="*/ 4256 h 10000"/>
                <a:gd name="connsiteX1795" fmla="*/ 3336 w 10785"/>
                <a:gd name="connsiteY1795" fmla="*/ 4274 h 10000"/>
                <a:gd name="connsiteX1796" fmla="*/ 3323 w 10785"/>
                <a:gd name="connsiteY1796" fmla="*/ 4274 h 10000"/>
                <a:gd name="connsiteX1797" fmla="*/ 3290 w 10785"/>
                <a:gd name="connsiteY1797" fmla="*/ 4274 h 10000"/>
                <a:gd name="connsiteX1798" fmla="*/ 3286 w 10785"/>
                <a:gd name="connsiteY1798" fmla="*/ 4239 h 10000"/>
                <a:gd name="connsiteX1799" fmla="*/ 3263 w 10785"/>
                <a:gd name="connsiteY1799" fmla="*/ 4214 h 10000"/>
                <a:gd name="connsiteX1800" fmla="*/ 3258 w 10785"/>
                <a:gd name="connsiteY1800" fmla="*/ 4188 h 10000"/>
                <a:gd name="connsiteX1801" fmla="*/ 3263 w 10785"/>
                <a:gd name="connsiteY1801" fmla="*/ 4171 h 10000"/>
                <a:gd name="connsiteX1802" fmla="*/ 3263 w 10785"/>
                <a:gd name="connsiteY1802" fmla="*/ 4103 h 10000"/>
                <a:gd name="connsiteX1803" fmla="*/ 3276 w 10785"/>
                <a:gd name="connsiteY1803" fmla="*/ 4060 h 10000"/>
                <a:gd name="connsiteX1804" fmla="*/ 3272 w 10785"/>
                <a:gd name="connsiteY1804" fmla="*/ 4051 h 10000"/>
                <a:gd name="connsiteX1805" fmla="*/ 3263 w 10785"/>
                <a:gd name="connsiteY1805" fmla="*/ 4051 h 10000"/>
                <a:gd name="connsiteX1806" fmla="*/ 3263 w 10785"/>
                <a:gd name="connsiteY1806" fmla="*/ 4034 h 10000"/>
                <a:gd name="connsiteX1807" fmla="*/ 3263 w 10785"/>
                <a:gd name="connsiteY1807" fmla="*/ 4000 h 10000"/>
                <a:gd name="connsiteX1808" fmla="*/ 3272 w 10785"/>
                <a:gd name="connsiteY1808" fmla="*/ 4000 h 10000"/>
                <a:gd name="connsiteX1809" fmla="*/ 3272 w 10785"/>
                <a:gd name="connsiteY1809" fmla="*/ 3974 h 10000"/>
                <a:gd name="connsiteX1810" fmla="*/ 3272 w 10785"/>
                <a:gd name="connsiteY1810" fmla="*/ 3966 h 10000"/>
                <a:gd name="connsiteX1811" fmla="*/ 3272 w 10785"/>
                <a:gd name="connsiteY1811" fmla="*/ 3949 h 10000"/>
                <a:gd name="connsiteX1812" fmla="*/ 3258 w 10785"/>
                <a:gd name="connsiteY1812" fmla="*/ 3923 h 10000"/>
                <a:gd name="connsiteX1813" fmla="*/ 3249 w 10785"/>
                <a:gd name="connsiteY1813" fmla="*/ 3915 h 10000"/>
                <a:gd name="connsiteX1814" fmla="*/ 3244 w 10785"/>
                <a:gd name="connsiteY1814" fmla="*/ 3897 h 10000"/>
                <a:gd name="connsiteX1815" fmla="*/ 3230 w 10785"/>
                <a:gd name="connsiteY1815" fmla="*/ 3889 h 10000"/>
                <a:gd name="connsiteX1816" fmla="*/ 3230 w 10785"/>
                <a:gd name="connsiteY1816" fmla="*/ 3863 h 10000"/>
                <a:gd name="connsiteX1817" fmla="*/ 3230 w 10785"/>
                <a:gd name="connsiteY1817" fmla="*/ 3838 h 10000"/>
                <a:gd name="connsiteX1818" fmla="*/ 3226 w 10785"/>
                <a:gd name="connsiteY1818" fmla="*/ 3803 h 10000"/>
                <a:gd name="connsiteX1819" fmla="*/ 3138 w 10785"/>
                <a:gd name="connsiteY1819" fmla="*/ 3838 h 10000"/>
                <a:gd name="connsiteX1820" fmla="*/ 3078 w 10785"/>
                <a:gd name="connsiteY1820" fmla="*/ 3889 h 10000"/>
                <a:gd name="connsiteX1821" fmla="*/ 3078 w 10785"/>
                <a:gd name="connsiteY1821" fmla="*/ 3940 h 10000"/>
                <a:gd name="connsiteX1822" fmla="*/ 3069 w 10785"/>
                <a:gd name="connsiteY1822" fmla="*/ 3983 h 10000"/>
                <a:gd name="connsiteX1823" fmla="*/ 3069 w 10785"/>
                <a:gd name="connsiteY1823" fmla="*/ 4009 h 10000"/>
                <a:gd name="connsiteX1824" fmla="*/ 3078 w 10785"/>
                <a:gd name="connsiteY1824" fmla="*/ 4026 h 10000"/>
                <a:gd name="connsiteX1825" fmla="*/ 3083 w 10785"/>
                <a:gd name="connsiteY1825" fmla="*/ 4034 h 10000"/>
                <a:gd name="connsiteX1826" fmla="*/ 3092 w 10785"/>
                <a:gd name="connsiteY1826" fmla="*/ 4060 h 10000"/>
                <a:gd name="connsiteX1827" fmla="*/ 3092 w 10785"/>
                <a:gd name="connsiteY1827" fmla="*/ 4077 h 10000"/>
                <a:gd name="connsiteX1828" fmla="*/ 3097 w 10785"/>
                <a:gd name="connsiteY1828" fmla="*/ 4103 h 10000"/>
                <a:gd name="connsiteX1829" fmla="*/ 3101 w 10785"/>
                <a:gd name="connsiteY1829" fmla="*/ 4162 h 10000"/>
                <a:gd name="connsiteX1830" fmla="*/ 3097 w 10785"/>
                <a:gd name="connsiteY1830" fmla="*/ 4222 h 10000"/>
                <a:gd name="connsiteX1831" fmla="*/ 3041 w 10785"/>
                <a:gd name="connsiteY1831" fmla="*/ 4325 h 10000"/>
                <a:gd name="connsiteX1832" fmla="*/ 3037 w 10785"/>
                <a:gd name="connsiteY1832" fmla="*/ 4419 h 10000"/>
                <a:gd name="connsiteX1833" fmla="*/ 3018 w 10785"/>
                <a:gd name="connsiteY1833" fmla="*/ 4470 h 10000"/>
                <a:gd name="connsiteX1834" fmla="*/ 2991 w 10785"/>
                <a:gd name="connsiteY1834" fmla="*/ 4513 h 10000"/>
                <a:gd name="connsiteX1835" fmla="*/ 2977 w 10785"/>
                <a:gd name="connsiteY1835" fmla="*/ 4530 h 10000"/>
                <a:gd name="connsiteX1836" fmla="*/ 2945 w 10785"/>
                <a:gd name="connsiteY1836" fmla="*/ 4556 h 10000"/>
                <a:gd name="connsiteX1837" fmla="*/ 2935 w 10785"/>
                <a:gd name="connsiteY1837" fmla="*/ 4581 h 10000"/>
                <a:gd name="connsiteX1838" fmla="*/ 2949 w 10785"/>
                <a:gd name="connsiteY1838" fmla="*/ 4624 h 10000"/>
                <a:gd name="connsiteX1839" fmla="*/ 2945 w 10785"/>
                <a:gd name="connsiteY1839" fmla="*/ 4658 h 10000"/>
                <a:gd name="connsiteX1840" fmla="*/ 2922 w 10785"/>
                <a:gd name="connsiteY1840" fmla="*/ 4667 h 10000"/>
                <a:gd name="connsiteX1841" fmla="*/ 2876 w 10785"/>
                <a:gd name="connsiteY1841" fmla="*/ 4632 h 10000"/>
                <a:gd name="connsiteX1842" fmla="*/ 2857 w 10785"/>
                <a:gd name="connsiteY1842" fmla="*/ 4632 h 10000"/>
                <a:gd name="connsiteX1843" fmla="*/ 2820 w 10785"/>
                <a:gd name="connsiteY1843" fmla="*/ 4641 h 10000"/>
                <a:gd name="connsiteX1844" fmla="*/ 2797 w 10785"/>
                <a:gd name="connsiteY1844" fmla="*/ 4632 h 10000"/>
                <a:gd name="connsiteX1845" fmla="*/ 2788 w 10785"/>
                <a:gd name="connsiteY1845" fmla="*/ 4624 h 10000"/>
                <a:gd name="connsiteX1846" fmla="*/ 2788 w 10785"/>
                <a:gd name="connsiteY1846" fmla="*/ 4598 h 10000"/>
                <a:gd name="connsiteX1847" fmla="*/ 2797 w 10785"/>
                <a:gd name="connsiteY1847" fmla="*/ 4581 h 10000"/>
                <a:gd name="connsiteX1848" fmla="*/ 2788 w 10785"/>
                <a:gd name="connsiteY1848" fmla="*/ 4530 h 10000"/>
                <a:gd name="connsiteX1849" fmla="*/ 2774 w 10785"/>
                <a:gd name="connsiteY1849" fmla="*/ 4530 h 10000"/>
                <a:gd name="connsiteX1850" fmla="*/ 2770 w 10785"/>
                <a:gd name="connsiteY1850" fmla="*/ 4513 h 10000"/>
                <a:gd name="connsiteX1851" fmla="*/ 2774 w 10785"/>
                <a:gd name="connsiteY1851" fmla="*/ 4513 h 10000"/>
                <a:gd name="connsiteX1852" fmla="*/ 2788 w 10785"/>
                <a:gd name="connsiteY1852" fmla="*/ 4496 h 10000"/>
                <a:gd name="connsiteX1853" fmla="*/ 2802 w 10785"/>
                <a:gd name="connsiteY1853" fmla="*/ 4513 h 10000"/>
                <a:gd name="connsiteX1854" fmla="*/ 2811 w 10785"/>
                <a:gd name="connsiteY1854" fmla="*/ 4530 h 10000"/>
                <a:gd name="connsiteX1855" fmla="*/ 2820 w 10785"/>
                <a:gd name="connsiteY1855" fmla="*/ 4521 h 10000"/>
                <a:gd name="connsiteX1856" fmla="*/ 2829 w 10785"/>
                <a:gd name="connsiteY1856" fmla="*/ 4513 h 10000"/>
                <a:gd name="connsiteX1857" fmla="*/ 2843 w 10785"/>
                <a:gd name="connsiteY1857" fmla="*/ 4513 h 10000"/>
                <a:gd name="connsiteX1858" fmla="*/ 2848 w 10785"/>
                <a:gd name="connsiteY1858" fmla="*/ 4470 h 10000"/>
                <a:gd name="connsiteX1859" fmla="*/ 2862 w 10785"/>
                <a:gd name="connsiteY1859" fmla="*/ 4487 h 10000"/>
                <a:gd name="connsiteX1860" fmla="*/ 2876 w 10785"/>
                <a:gd name="connsiteY1860" fmla="*/ 4470 h 10000"/>
                <a:gd name="connsiteX1861" fmla="*/ 2880 w 10785"/>
                <a:gd name="connsiteY1861" fmla="*/ 4462 h 10000"/>
                <a:gd name="connsiteX1862" fmla="*/ 2889 w 10785"/>
                <a:gd name="connsiteY1862" fmla="*/ 4444 h 10000"/>
                <a:gd name="connsiteX1863" fmla="*/ 2894 w 10785"/>
                <a:gd name="connsiteY1863" fmla="*/ 4462 h 10000"/>
                <a:gd name="connsiteX1864" fmla="*/ 2917 w 10785"/>
                <a:gd name="connsiteY1864" fmla="*/ 4444 h 10000"/>
                <a:gd name="connsiteX1865" fmla="*/ 2922 w 10785"/>
                <a:gd name="connsiteY1865" fmla="*/ 4436 h 10000"/>
                <a:gd name="connsiteX1866" fmla="*/ 2917 w 10785"/>
                <a:gd name="connsiteY1866" fmla="*/ 4410 h 10000"/>
                <a:gd name="connsiteX1867" fmla="*/ 2894 w 10785"/>
                <a:gd name="connsiteY1867" fmla="*/ 4410 h 10000"/>
                <a:gd name="connsiteX1868" fmla="*/ 2889 w 10785"/>
                <a:gd name="connsiteY1868" fmla="*/ 4419 h 10000"/>
                <a:gd name="connsiteX1869" fmla="*/ 2876 w 10785"/>
                <a:gd name="connsiteY1869" fmla="*/ 4410 h 10000"/>
                <a:gd name="connsiteX1870" fmla="*/ 2880 w 10785"/>
                <a:gd name="connsiteY1870" fmla="*/ 4376 h 10000"/>
                <a:gd name="connsiteX1871" fmla="*/ 2903 w 10785"/>
                <a:gd name="connsiteY1871" fmla="*/ 4393 h 10000"/>
                <a:gd name="connsiteX1872" fmla="*/ 2931 w 10785"/>
                <a:gd name="connsiteY1872" fmla="*/ 4393 h 10000"/>
                <a:gd name="connsiteX1873" fmla="*/ 2931 w 10785"/>
                <a:gd name="connsiteY1873" fmla="*/ 4385 h 10000"/>
                <a:gd name="connsiteX1874" fmla="*/ 2931 w 10785"/>
                <a:gd name="connsiteY1874" fmla="*/ 4350 h 10000"/>
                <a:gd name="connsiteX1875" fmla="*/ 2945 w 10785"/>
                <a:gd name="connsiteY1875" fmla="*/ 4350 h 10000"/>
                <a:gd name="connsiteX1876" fmla="*/ 2949 w 10785"/>
                <a:gd name="connsiteY1876" fmla="*/ 4325 h 10000"/>
                <a:gd name="connsiteX1877" fmla="*/ 2963 w 10785"/>
                <a:gd name="connsiteY1877" fmla="*/ 4256 h 10000"/>
                <a:gd name="connsiteX1878" fmla="*/ 2982 w 10785"/>
                <a:gd name="connsiteY1878" fmla="*/ 4239 h 10000"/>
                <a:gd name="connsiteX1879" fmla="*/ 2991 w 10785"/>
                <a:gd name="connsiteY1879" fmla="*/ 4214 h 10000"/>
                <a:gd name="connsiteX1880" fmla="*/ 2991 w 10785"/>
                <a:gd name="connsiteY1880" fmla="*/ 4197 h 10000"/>
                <a:gd name="connsiteX1881" fmla="*/ 2995 w 10785"/>
                <a:gd name="connsiteY1881" fmla="*/ 4171 h 10000"/>
                <a:gd name="connsiteX1882" fmla="*/ 2991 w 10785"/>
                <a:gd name="connsiteY1882" fmla="*/ 4077 h 10000"/>
                <a:gd name="connsiteX1883" fmla="*/ 2995 w 10785"/>
                <a:gd name="connsiteY1883" fmla="*/ 4034 h 10000"/>
                <a:gd name="connsiteX1884" fmla="*/ 3018 w 10785"/>
                <a:gd name="connsiteY1884" fmla="*/ 3983 h 10000"/>
                <a:gd name="connsiteX1885" fmla="*/ 3018 w 10785"/>
                <a:gd name="connsiteY1885" fmla="*/ 3915 h 10000"/>
                <a:gd name="connsiteX1886" fmla="*/ 2949 w 10785"/>
                <a:gd name="connsiteY1886" fmla="*/ 3778 h 10000"/>
                <a:gd name="connsiteX1887" fmla="*/ 2954 w 10785"/>
                <a:gd name="connsiteY1887" fmla="*/ 3675 h 10000"/>
                <a:gd name="connsiteX1888" fmla="*/ 2954 w 10785"/>
                <a:gd name="connsiteY1888" fmla="*/ 3650 h 10000"/>
                <a:gd name="connsiteX1889" fmla="*/ 2963 w 10785"/>
                <a:gd name="connsiteY1889" fmla="*/ 3624 h 10000"/>
                <a:gd name="connsiteX1890" fmla="*/ 2954 w 10785"/>
                <a:gd name="connsiteY1890" fmla="*/ 3564 h 10000"/>
                <a:gd name="connsiteX1891" fmla="*/ 2963 w 10785"/>
                <a:gd name="connsiteY1891" fmla="*/ 3538 h 10000"/>
                <a:gd name="connsiteX1892" fmla="*/ 2963 w 10785"/>
                <a:gd name="connsiteY1892" fmla="*/ 3487 h 10000"/>
                <a:gd name="connsiteX1893" fmla="*/ 2963 w 10785"/>
                <a:gd name="connsiteY1893" fmla="*/ 3479 h 10000"/>
                <a:gd name="connsiteX1894" fmla="*/ 2963 w 10785"/>
                <a:gd name="connsiteY1894" fmla="*/ 3462 h 10000"/>
                <a:gd name="connsiteX1895" fmla="*/ 2954 w 10785"/>
                <a:gd name="connsiteY1895" fmla="*/ 3453 h 10000"/>
                <a:gd name="connsiteX1896" fmla="*/ 2954 w 10785"/>
                <a:gd name="connsiteY1896" fmla="*/ 3444 h 10000"/>
                <a:gd name="connsiteX1897" fmla="*/ 2954 w 10785"/>
                <a:gd name="connsiteY1897" fmla="*/ 3402 h 10000"/>
                <a:gd name="connsiteX1898" fmla="*/ 2954 w 10785"/>
                <a:gd name="connsiteY1898" fmla="*/ 3393 h 10000"/>
                <a:gd name="connsiteX1899" fmla="*/ 2949 w 10785"/>
                <a:gd name="connsiteY1899" fmla="*/ 3376 h 10000"/>
                <a:gd name="connsiteX1900" fmla="*/ 2949 w 10785"/>
                <a:gd name="connsiteY1900" fmla="*/ 3342 h 10000"/>
                <a:gd name="connsiteX1901" fmla="*/ 2949 w 10785"/>
                <a:gd name="connsiteY1901" fmla="*/ 3316 h 10000"/>
                <a:gd name="connsiteX1902" fmla="*/ 2968 w 10785"/>
                <a:gd name="connsiteY1902" fmla="*/ 3291 h 10000"/>
                <a:gd name="connsiteX1903" fmla="*/ 2963 w 10785"/>
                <a:gd name="connsiteY1903" fmla="*/ 3205 h 10000"/>
                <a:gd name="connsiteX1904" fmla="*/ 2968 w 10785"/>
                <a:gd name="connsiteY1904" fmla="*/ 3171 h 10000"/>
                <a:gd name="connsiteX1905" fmla="*/ 2968 w 10785"/>
                <a:gd name="connsiteY1905" fmla="*/ 3128 h 10000"/>
                <a:gd name="connsiteX1906" fmla="*/ 2954 w 10785"/>
                <a:gd name="connsiteY1906" fmla="*/ 3051 h 10000"/>
                <a:gd name="connsiteX1907" fmla="*/ 2954 w 10785"/>
                <a:gd name="connsiteY1907" fmla="*/ 3009 h 10000"/>
                <a:gd name="connsiteX1908" fmla="*/ 2922 w 10785"/>
                <a:gd name="connsiteY1908" fmla="*/ 2940 h 10000"/>
                <a:gd name="connsiteX1909" fmla="*/ 2903 w 10785"/>
                <a:gd name="connsiteY1909" fmla="*/ 2880 h 10000"/>
                <a:gd name="connsiteX1910" fmla="*/ 2903 w 10785"/>
                <a:gd name="connsiteY1910" fmla="*/ 2855 h 10000"/>
                <a:gd name="connsiteX1911" fmla="*/ 2908 w 10785"/>
                <a:gd name="connsiteY1911" fmla="*/ 2846 h 10000"/>
                <a:gd name="connsiteX1912" fmla="*/ 2931 w 10785"/>
                <a:gd name="connsiteY1912" fmla="*/ 2821 h 10000"/>
                <a:gd name="connsiteX1913" fmla="*/ 2931 w 10785"/>
                <a:gd name="connsiteY1913" fmla="*/ 2803 h 10000"/>
                <a:gd name="connsiteX1914" fmla="*/ 2935 w 10785"/>
                <a:gd name="connsiteY1914" fmla="*/ 2786 h 10000"/>
                <a:gd name="connsiteX1915" fmla="*/ 2935 w 10785"/>
                <a:gd name="connsiteY1915" fmla="*/ 2744 h 10000"/>
                <a:gd name="connsiteX1916" fmla="*/ 2963 w 10785"/>
                <a:gd name="connsiteY1916" fmla="*/ 2607 h 10000"/>
                <a:gd name="connsiteX1917" fmla="*/ 2963 w 10785"/>
                <a:gd name="connsiteY1917" fmla="*/ 2419 h 10000"/>
                <a:gd name="connsiteX1918" fmla="*/ 2954 w 10785"/>
                <a:gd name="connsiteY1918" fmla="*/ 2410 h 10000"/>
                <a:gd name="connsiteX1919" fmla="*/ 2963 w 10785"/>
                <a:gd name="connsiteY1919" fmla="*/ 2393 h 10000"/>
                <a:gd name="connsiteX1920" fmla="*/ 2908 w 10785"/>
                <a:gd name="connsiteY1920" fmla="*/ 2359 h 10000"/>
                <a:gd name="connsiteX1921" fmla="*/ 2889 w 10785"/>
                <a:gd name="connsiteY1921" fmla="*/ 2325 h 10000"/>
                <a:gd name="connsiteX1922" fmla="*/ 2788 w 10785"/>
                <a:gd name="connsiteY1922" fmla="*/ 2333 h 10000"/>
                <a:gd name="connsiteX1923" fmla="*/ 2774 w 10785"/>
                <a:gd name="connsiteY1923" fmla="*/ 2325 h 10000"/>
                <a:gd name="connsiteX1924" fmla="*/ 2783 w 10785"/>
                <a:gd name="connsiteY1924" fmla="*/ 2308 h 10000"/>
                <a:gd name="connsiteX1925" fmla="*/ 2747 w 10785"/>
                <a:gd name="connsiteY1925" fmla="*/ 2308 h 10000"/>
                <a:gd name="connsiteX1926" fmla="*/ 2742 w 10785"/>
                <a:gd name="connsiteY1926" fmla="*/ 2333 h 10000"/>
                <a:gd name="connsiteX1927" fmla="*/ 2682 w 10785"/>
                <a:gd name="connsiteY1927" fmla="*/ 2769 h 10000"/>
                <a:gd name="connsiteX1928" fmla="*/ 2613 w 10785"/>
                <a:gd name="connsiteY1928" fmla="*/ 2940 h 10000"/>
                <a:gd name="connsiteX1929" fmla="*/ 2581 w 10785"/>
                <a:gd name="connsiteY1929" fmla="*/ 2966 h 10000"/>
                <a:gd name="connsiteX1930" fmla="*/ 2576 w 10785"/>
                <a:gd name="connsiteY1930" fmla="*/ 3051 h 10000"/>
                <a:gd name="connsiteX1931" fmla="*/ 2581 w 10785"/>
                <a:gd name="connsiteY1931" fmla="*/ 3051 h 10000"/>
                <a:gd name="connsiteX1932" fmla="*/ 2594 w 10785"/>
                <a:gd name="connsiteY1932" fmla="*/ 3017 h 10000"/>
                <a:gd name="connsiteX1933" fmla="*/ 2594 w 10785"/>
                <a:gd name="connsiteY1933" fmla="*/ 3034 h 10000"/>
                <a:gd name="connsiteX1934" fmla="*/ 2594 w 10785"/>
                <a:gd name="connsiteY1934" fmla="*/ 3051 h 10000"/>
                <a:gd name="connsiteX1935" fmla="*/ 2590 w 10785"/>
                <a:gd name="connsiteY1935" fmla="*/ 3077 h 10000"/>
                <a:gd name="connsiteX1936" fmla="*/ 2567 w 10785"/>
                <a:gd name="connsiteY1936" fmla="*/ 3103 h 10000"/>
                <a:gd name="connsiteX1937" fmla="*/ 2562 w 10785"/>
                <a:gd name="connsiteY1937" fmla="*/ 3145 h 10000"/>
                <a:gd name="connsiteX1938" fmla="*/ 2567 w 10785"/>
                <a:gd name="connsiteY1938" fmla="*/ 3179 h 10000"/>
                <a:gd name="connsiteX1939" fmla="*/ 2590 w 10785"/>
                <a:gd name="connsiteY1939" fmla="*/ 3171 h 10000"/>
                <a:gd name="connsiteX1940" fmla="*/ 2594 w 10785"/>
                <a:gd name="connsiteY1940" fmla="*/ 3145 h 10000"/>
                <a:gd name="connsiteX1941" fmla="*/ 2613 w 10785"/>
                <a:gd name="connsiteY1941" fmla="*/ 3154 h 10000"/>
                <a:gd name="connsiteX1942" fmla="*/ 2622 w 10785"/>
                <a:gd name="connsiteY1942" fmla="*/ 3179 h 10000"/>
                <a:gd name="connsiteX1943" fmla="*/ 2613 w 10785"/>
                <a:gd name="connsiteY1943" fmla="*/ 3214 h 10000"/>
                <a:gd name="connsiteX1944" fmla="*/ 2613 w 10785"/>
                <a:gd name="connsiteY1944" fmla="*/ 3308 h 10000"/>
                <a:gd name="connsiteX1945" fmla="*/ 2608 w 10785"/>
                <a:gd name="connsiteY1945" fmla="*/ 3325 h 10000"/>
                <a:gd name="connsiteX1946" fmla="*/ 2608 w 10785"/>
                <a:gd name="connsiteY1946" fmla="*/ 3376 h 10000"/>
                <a:gd name="connsiteX1947" fmla="*/ 2613 w 10785"/>
                <a:gd name="connsiteY1947" fmla="*/ 3419 h 10000"/>
                <a:gd name="connsiteX1948" fmla="*/ 2608 w 10785"/>
                <a:gd name="connsiteY1948" fmla="*/ 3444 h 10000"/>
                <a:gd name="connsiteX1949" fmla="*/ 2594 w 10785"/>
                <a:gd name="connsiteY1949" fmla="*/ 3444 h 10000"/>
                <a:gd name="connsiteX1950" fmla="*/ 2590 w 10785"/>
                <a:gd name="connsiteY1950" fmla="*/ 3427 h 10000"/>
                <a:gd name="connsiteX1951" fmla="*/ 2581 w 10785"/>
                <a:gd name="connsiteY1951" fmla="*/ 3564 h 10000"/>
                <a:gd name="connsiteX1952" fmla="*/ 2594 w 10785"/>
                <a:gd name="connsiteY1952" fmla="*/ 3598 h 10000"/>
                <a:gd name="connsiteX1953" fmla="*/ 2594 w 10785"/>
                <a:gd name="connsiteY1953" fmla="*/ 3581 h 10000"/>
                <a:gd name="connsiteX1954" fmla="*/ 2608 w 10785"/>
                <a:gd name="connsiteY1954" fmla="*/ 3556 h 10000"/>
                <a:gd name="connsiteX1955" fmla="*/ 2650 w 10785"/>
                <a:gd name="connsiteY1955" fmla="*/ 3615 h 10000"/>
                <a:gd name="connsiteX1956" fmla="*/ 2664 w 10785"/>
                <a:gd name="connsiteY1956" fmla="*/ 3615 h 10000"/>
                <a:gd name="connsiteX1957" fmla="*/ 2668 w 10785"/>
                <a:gd name="connsiteY1957" fmla="*/ 3615 h 10000"/>
                <a:gd name="connsiteX1958" fmla="*/ 2664 w 10785"/>
                <a:gd name="connsiteY1958" fmla="*/ 3667 h 10000"/>
                <a:gd name="connsiteX1959" fmla="*/ 2687 w 10785"/>
                <a:gd name="connsiteY1959" fmla="*/ 3786 h 10000"/>
                <a:gd name="connsiteX1960" fmla="*/ 2710 w 10785"/>
                <a:gd name="connsiteY1960" fmla="*/ 3812 h 10000"/>
                <a:gd name="connsiteX1961" fmla="*/ 2724 w 10785"/>
                <a:gd name="connsiteY1961" fmla="*/ 3812 h 10000"/>
                <a:gd name="connsiteX1962" fmla="*/ 2724 w 10785"/>
                <a:gd name="connsiteY1962" fmla="*/ 3829 h 10000"/>
                <a:gd name="connsiteX1963" fmla="*/ 2737 w 10785"/>
                <a:gd name="connsiteY1963" fmla="*/ 3838 h 10000"/>
                <a:gd name="connsiteX1964" fmla="*/ 2714 w 10785"/>
                <a:gd name="connsiteY1964" fmla="*/ 3872 h 10000"/>
                <a:gd name="connsiteX1965" fmla="*/ 2696 w 10785"/>
                <a:gd name="connsiteY1965" fmla="*/ 4026 h 10000"/>
                <a:gd name="connsiteX1966" fmla="*/ 2673 w 10785"/>
                <a:gd name="connsiteY1966" fmla="*/ 4051 h 10000"/>
                <a:gd name="connsiteX1967" fmla="*/ 2668 w 10785"/>
                <a:gd name="connsiteY1967" fmla="*/ 4034 h 10000"/>
                <a:gd name="connsiteX1968" fmla="*/ 2673 w 10785"/>
                <a:gd name="connsiteY1968" fmla="*/ 4000 h 10000"/>
                <a:gd name="connsiteX1969" fmla="*/ 2664 w 10785"/>
                <a:gd name="connsiteY1969" fmla="*/ 3974 h 10000"/>
                <a:gd name="connsiteX1970" fmla="*/ 2636 w 10785"/>
                <a:gd name="connsiteY1970" fmla="*/ 3949 h 10000"/>
                <a:gd name="connsiteX1971" fmla="*/ 2581 w 10785"/>
                <a:gd name="connsiteY1971" fmla="*/ 3838 h 10000"/>
                <a:gd name="connsiteX1972" fmla="*/ 2562 w 10785"/>
                <a:gd name="connsiteY1972" fmla="*/ 3829 h 10000"/>
                <a:gd name="connsiteX1973" fmla="*/ 2535 w 10785"/>
                <a:gd name="connsiteY1973" fmla="*/ 3778 h 10000"/>
                <a:gd name="connsiteX1974" fmla="*/ 2502 w 10785"/>
                <a:gd name="connsiteY1974" fmla="*/ 3761 h 10000"/>
                <a:gd name="connsiteX1975" fmla="*/ 2502 w 10785"/>
                <a:gd name="connsiteY1975" fmla="*/ 3735 h 10000"/>
                <a:gd name="connsiteX1976" fmla="*/ 2516 w 10785"/>
                <a:gd name="connsiteY1976" fmla="*/ 3735 h 10000"/>
                <a:gd name="connsiteX1977" fmla="*/ 2507 w 10785"/>
                <a:gd name="connsiteY1977" fmla="*/ 3726 h 10000"/>
                <a:gd name="connsiteX1978" fmla="*/ 2488 w 10785"/>
                <a:gd name="connsiteY1978" fmla="*/ 3726 h 10000"/>
                <a:gd name="connsiteX1979" fmla="*/ 2461 w 10785"/>
                <a:gd name="connsiteY1979" fmla="*/ 3692 h 10000"/>
                <a:gd name="connsiteX1980" fmla="*/ 2442 w 10785"/>
                <a:gd name="connsiteY1980" fmla="*/ 3675 h 10000"/>
                <a:gd name="connsiteX1981" fmla="*/ 2406 w 10785"/>
                <a:gd name="connsiteY1981" fmla="*/ 3598 h 10000"/>
                <a:gd name="connsiteX1982" fmla="*/ 2346 w 10785"/>
                <a:gd name="connsiteY1982" fmla="*/ 3564 h 10000"/>
                <a:gd name="connsiteX1983" fmla="*/ 2341 w 10785"/>
                <a:gd name="connsiteY1983" fmla="*/ 3564 h 10000"/>
                <a:gd name="connsiteX1984" fmla="*/ 2313 w 10785"/>
                <a:gd name="connsiteY1984" fmla="*/ 3530 h 10000"/>
                <a:gd name="connsiteX1985" fmla="*/ 2235 w 10785"/>
                <a:gd name="connsiteY1985" fmla="*/ 3530 h 10000"/>
                <a:gd name="connsiteX1986" fmla="*/ 2226 w 10785"/>
                <a:gd name="connsiteY1986" fmla="*/ 3513 h 10000"/>
                <a:gd name="connsiteX1987" fmla="*/ 2207 w 10785"/>
                <a:gd name="connsiteY1987" fmla="*/ 3504 h 10000"/>
                <a:gd name="connsiteX1988" fmla="*/ 2194 w 10785"/>
                <a:gd name="connsiteY1988" fmla="*/ 3504 h 10000"/>
                <a:gd name="connsiteX1989" fmla="*/ 2189 w 10785"/>
                <a:gd name="connsiteY1989" fmla="*/ 3504 h 10000"/>
                <a:gd name="connsiteX1990" fmla="*/ 2189 w 10785"/>
                <a:gd name="connsiteY1990" fmla="*/ 3530 h 10000"/>
                <a:gd name="connsiteX1991" fmla="*/ 2180 w 10785"/>
                <a:gd name="connsiteY1991" fmla="*/ 3538 h 10000"/>
                <a:gd name="connsiteX1992" fmla="*/ 2152 w 10785"/>
                <a:gd name="connsiteY1992" fmla="*/ 3581 h 10000"/>
                <a:gd name="connsiteX1993" fmla="*/ 2161 w 10785"/>
                <a:gd name="connsiteY1993" fmla="*/ 3598 h 10000"/>
                <a:gd name="connsiteX1994" fmla="*/ 2194 w 10785"/>
                <a:gd name="connsiteY1994" fmla="*/ 3752 h 10000"/>
                <a:gd name="connsiteX1995" fmla="*/ 2194 w 10785"/>
                <a:gd name="connsiteY1995" fmla="*/ 3735 h 10000"/>
                <a:gd name="connsiteX1996" fmla="*/ 2198 w 10785"/>
                <a:gd name="connsiteY1996" fmla="*/ 3735 h 10000"/>
                <a:gd name="connsiteX1997" fmla="*/ 2189 w 10785"/>
                <a:gd name="connsiteY1997" fmla="*/ 3838 h 10000"/>
                <a:gd name="connsiteX1998" fmla="*/ 2166 w 10785"/>
                <a:gd name="connsiteY1998" fmla="*/ 3889 h 10000"/>
                <a:gd name="connsiteX1999" fmla="*/ 2124 w 10785"/>
                <a:gd name="connsiteY1999" fmla="*/ 3889 h 10000"/>
                <a:gd name="connsiteX2000" fmla="*/ 2124 w 10785"/>
                <a:gd name="connsiteY2000" fmla="*/ 3923 h 10000"/>
                <a:gd name="connsiteX2001" fmla="*/ 2134 w 10785"/>
                <a:gd name="connsiteY2001" fmla="*/ 3940 h 10000"/>
                <a:gd name="connsiteX2002" fmla="*/ 2134 w 10785"/>
                <a:gd name="connsiteY2002" fmla="*/ 3966 h 10000"/>
                <a:gd name="connsiteX2003" fmla="*/ 2120 w 10785"/>
                <a:gd name="connsiteY2003" fmla="*/ 4000 h 10000"/>
                <a:gd name="connsiteX2004" fmla="*/ 2106 w 10785"/>
                <a:gd name="connsiteY2004" fmla="*/ 4009 h 10000"/>
                <a:gd name="connsiteX2005" fmla="*/ 2088 w 10785"/>
                <a:gd name="connsiteY2005" fmla="*/ 4000 h 10000"/>
                <a:gd name="connsiteX2006" fmla="*/ 2074 w 10785"/>
                <a:gd name="connsiteY2006" fmla="*/ 3974 h 10000"/>
                <a:gd name="connsiteX2007" fmla="*/ 2074 w 10785"/>
                <a:gd name="connsiteY2007" fmla="*/ 3940 h 10000"/>
                <a:gd name="connsiteX2008" fmla="*/ 2078 w 10785"/>
                <a:gd name="connsiteY2008" fmla="*/ 3915 h 10000"/>
                <a:gd name="connsiteX2009" fmla="*/ 2088 w 10785"/>
                <a:gd name="connsiteY2009" fmla="*/ 3889 h 10000"/>
                <a:gd name="connsiteX2010" fmla="*/ 2101 w 10785"/>
                <a:gd name="connsiteY2010" fmla="*/ 3872 h 10000"/>
                <a:gd name="connsiteX2011" fmla="*/ 2074 w 10785"/>
                <a:gd name="connsiteY2011" fmla="*/ 3812 h 10000"/>
                <a:gd name="connsiteX2012" fmla="*/ 2074 w 10785"/>
                <a:gd name="connsiteY2012" fmla="*/ 3786 h 10000"/>
                <a:gd name="connsiteX2013" fmla="*/ 2060 w 10785"/>
                <a:gd name="connsiteY2013" fmla="*/ 3786 h 10000"/>
                <a:gd name="connsiteX2014" fmla="*/ 2014 w 10785"/>
                <a:gd name="connsiteY2014" fmla="*/ 3829 h 10000"/>
                <a:gd name="connsiteX2015" fmla="*/ 2000 w 10785"/>
                <a:gd name="connsiteY2015" fmla="*/ 3863 h 10000"/>
                <a:gd name="connsiteX2016" fmla="*/ 1986 w 10785"/>
                <a:gd name="connsiteY2016" fmla="*/ 3872 h 10000"/>
                <a:gd name="connsiteX2017" fmla="*/ 1959 w 10785"/>
                <a:gd name="connsiteY2017" fmla="*/ 3940 h 10000"/>
                <a:gd name="connsiteX2018" fmla="*/ 1945 w 10785"/>
                <a:gd name="connsiteY2018" fmla="*/ 3949 h 10000"/>
                <a:gd name="connsiteX2019" fmla="*/ 1940 w 10785"/>
                <a:gd name="connsiteY2019" fmla="*/ 3923 h 10000"/>
                <a:gd name="connsiteX2020" fmla="*/ 1917 w 10785"/>
                <a:gd name="connsiteY2020" fmla="*/ 3915 h 10000"/>
                <a:gd name="connsiteX2021" fmla="*/ 1899 w 10785"/>
                <a:gd name="connsiteY2021" fmla="*/ 3923 h 10000"/>
                <a:gd name="connsiteX2022" fmla="*/ 1880 w 10785"/>
                <a:gd name="connsiteY2022" fmla="*/ 3915 h 10000"/>
                <a:gd name="connsiteX2023" fmla="*/ 1853 w 10785"/>
                <a:gd name="connsiteY2023" fmla="*/ 3940 h 10000"/>
                <a:gd name="connsiteX2024" fmla="*/ 1839 w 10785"/>
                <a:gd name="connsiteY2024" fmla="*/ 3940 h 10000"/>
                <a:gd name="connsiteX2025" fmla="*/ 1806 w 10785"/>
                <a:gd name="connsiteY2025" fmla="*/ 3983 h 10000"/>
                <a:gd name="connsiteX2026" fmla="*/ 1806 w 10785"/>
                <a:gd name="connsiteY2026" fmla="*/ 4000 h 10000"/>
                <a:gd name="connsiteX2027" fmla="*/ 1797 w 10785"/>
                <a:gd name="connsiteY2027" fmla="*/ 4077 h 10000"/>
                <a:gd name="connsiteX2028" fmla="*/ 1783 w 10785"/>
                <a:gd name="connsiteY2028" fmla="*/ 4077 h 10000"/>
                <a:gd name="connsiteX2029" fmla="*/ 1779 w 10785"/>
                <a:gd name="connsiteY2029" fmla="*/ 4051 h 10000"/>
                <a:gd name="connsiteX2030" fmla="*/ 1765 w 10785"/>
                <a:gd name="connsiteY2030" fmla="*/ 4026 h 10000"/>
                <a:gd name="connsiteX2031" fmla="*/ 1751 w 10785"/>
                <a:gd name="connsiteY2031" fmla="*/ 4051 h 10000"/>
                <a:gd name="connsiteX2032" fmla="*/ 1737 w 10785"/>
                <a:gd name="connsiteY2032" fmla="*/ 4009 h 10000"/>
                <a:gd name="connsiteX2033" fmla="*/ 1737 w 10785"/>
                <a:gd name="connsiteY2033" fmla="*/ 3966 h 10000"/>
                <a:gd name="connsiteX2034" fmla="*/ 1733 w 10785"/>
                <a:gd name="connsiteY2034" fmla="*/ 3940 h 10000"/>
                <a:gd name="connsiteX2035" fmla="*/ 1733 w 10785"/>
                <a:gd name="connsiteY2035" fmla="*/ 3923 h 10000"/>
                <a:gd name="connsiteX2036" fmla="*/ 1747 w 10785"/>
                <a:gd name="connsiteY2036" fmla="*/ 3889 h 10000"/>
                <a:gd name="connsiteX2037" fmla="*/ 1747 w 10785"/>
                <a:gd name="connsiteY2037" fmla="*/ 3863 h 10000"/>
                <a:gd name="connsiteX2038" fmla="*/ 1737 w 10785"/>
                <a:gd name="connsiteY2038" fmla="*/ 3838 h 10000"/>
                <a:gd name="connsiteX2039" fmla="*/ 1733 w 10785"/>
                <a:gd name="connsiteY2039" fmla="*/ 3829 h 10000"/>
                <a:gd name="connsiteX2040" fmla="*/ 1733 w 10785"/>
                <a:gd name="connsiteY2040" fmla="*/ 3846 h 10000"/>
                <a:gd name="connsiteX2041" fmla="*/ 1724 w 10785"/>
                <a:gd name="connsiteY2041" fmla="*/ 3846 h 10000"/>
                <a:gd name="connsiteX2042" fmla="*/ 1724 w 10785"/>
                <a:gd name="connsiteY2042" fmla="*/ 3829 h 10000"/>
                <a:gd name="connsiteX2043" fmla="*/ 1737 w 10785"/>
                <a:gd name="connsiteY2043" fmla="*/ 3812 h 10000"/>
                <a:gd name="connsiteX2044" fmla="*/ 1765 w 10785"/>
                <a:gd name="connsiteY2044" fmla="*/ 3812 h 10000"/>
                <a:gd name="connsiteX2045" fmla="*/ 1779 w 10785"/>
                <a:gd name="connsiteY2045" fmla="*/ 3786 h 10000"/>
                <a:gd name="connsiteX2046" fmla="*/ 1779 w 10785"/>
                <a:gd name="connsiteY2046" fmla="*/ 3786 h 10000"/>
                <a:gd name="connsiteX2047" fmla="*/ 1751 w 10785"/>
                <a:gd name="connsiteY2047" fmla="*/ 3803 h 10000"/>
                <a:gd name="connsiteX2048" fmla="*/ 1747 w 10785"/>
                <a:gd name="connsiteY2048" fmla="*/ 3803 h 10000"/>
                <a:gd name="connsiteX2049" fmla="*/ 1724 w 10785"/>
                <a:gd name="connsiteY2049" fmla="*/ 3803 h 10000"/>
                <a:gd name="connsiteX2050" fmla="*/ 1700 w 10785"/>
                <a:gd name="connsiteY2050" fmla="*/ 3829 h 10000"/>
                <a:gd name="connsiteX2051" fmla="*/ 1705 w 10785"/>
                <a:gd name="connsiteY2051" fmla="*/ 3846 h 10000"/>
                <a:gd name="connsiteX2052" fmla="*/ 1691 w 10785"/>
                <a:gd name="connsiteY2052" fmla="*/ 3846 h 10000"/>
                <a:gd name="connsiteX2053" fmla="*/ 1691 w 10785"/>
                <a:gd name="connsiteY2053" fmla="*/ 3863 h 10000"/>
                <a:gd name="connsiteX2054" fmla="*/ 1691 w 10785"/>
                <a:gd name="connsiteY2054" fmla="*/ 3915 h 10000"/>
                <a:gd name="connsiteX2055" fmla="*/ 1677 w 10785"/>
                <a:gd name="connsiteY2055" fmla="*/ 3923 h 10000"/>
                <a:gd name="connsiteX2056" fmla="*/ 1673 w 10785"/>
                <a:gd name="connsiteY2056" fmla="*/ 3915 h 10000"/>
                <a:gd name="connsiteX2057" fmla="*/ 1664 w 10785"/>
                <a:gd name="connsiteY2057" fmla="*/ 3889 h 10000"/>
                <a:gd name="connsiteX2058" fmla="*/ 1673 w 10785"/>
                <a:gd name="connsiteY2058" fmla="*/ 3872 h 10000"/>
                <a:gd name="connsiteX2059" fmla="*/ 1664 w 10785"/>
                <a:gd name="connsiteY2059" fmla="*/ 3872 h 10000"/>
                <a:gd name="connsiteX2060" fmla="*/ 1636 w 10785"/>
                <a:gd name="connsiteY2060" fmla="*/ 3923 h 10000"/>
                <a:gd name="connsiteX2061" fmla="*/ 1645 w 10785"/>
                <a:gd name="connsiteY2061" fmla="*/ 3923 h 10000"/>
                <a:gd name="connsiteX2062" fmla="*/ 1650 w 10785"/>
                <a:gd name="connsiteY2062" fmla="*/ 3949 h 10000"/>
                <a:gd name="connsiteX2063" fmla="*/ 1650 w 10785"/>
                <a:gd name="connsiteY2063" fmla="*/ 3983 h 10000"/>
                <a:gd name="connsiteX2064" fmla="*/ 1636 w 10785"/>
                <a:gd name="connsiteY2064" fmla="*/ 4000 h 10000"/>
                <a:gd name="connsiteX2065" fmla="*/ 1631 w 10785"/>
                <a:gd name="connsiteY2065" fmla="*/ 4009 h 10000"/>
                <a:gd name="connsiteX2066" fmla="*/ 1618 w 10785"/>
                <a:gd name="connsiteY2066" fmla="*/ 3949 h 10000"/>
                <a:gd name="connsiteX2067" fmla="*/ 1585 w 10785"/>
                <a:gd name="connsiteY2067" fmla="*/ 3966 h 10000"/>
                <a:gd name="connsiteX2068" fmla="*/ 1590 w 10785"/>
                <a:gd name="connsiteY2068" fmla="*/ 3974 h 10000"/>
                <a:gd name="connsiteX2069" fmla="*/ 1544 w 10785"/>
                <a:gd name="connsiteY2069" fmla="*/ 4009 h 10000"/>
                <a:gd name="connsiteX2070" fmla="*/ 1539 w 10785"/>
                <a:gd name="connsiteY2070" fmla="*/ 4009 h 10000"/>
                <a:gd name="connsiteX2071" fmla="*/ 1410 w 10785"/>
                <a:gd name="connsiteY2071" fmla="*/ 4188 h 10000"/>
                <a:gd name="connsiteX2072" fmla="*/ 1406 w 10785"/>
                <a:gd name="connsiteY2072" fmla="*/ 4171 h 10000"/>
                <a:gd name="connsiteX2073" fmla="*/ 1396 w 10785"/>
                <a:gd name="connsiteY2073" fmla="*/ 4214 h 10000"/>
                <a:gd name="connsiteX2074" fmla="*/ 1406 w 10785"/>
                <a:gd name="connsiteY2074" fmla="*/ 4222 h 10000"/>
                <a:gd name="connsiteX2075" fmla="*/ 1392 w 10785"/>
                <a:gd name="connsiteY2075" fmla="*/ 4239 h 10000"/>
                <a:gd name="connsiteX2076" fmla="*/ 1369 w 10785"/>
                <a:gd name="connsiteY2076" fmla="*/ 4248 h 10000"/>
                <a:gd name="connsiteX2077" fmla="*/ 1355 w 10785"/>
                <a:gd name="connsiteY2077" fmla="*/ 4256 h 10000"/>
                <a:gd name="connsiteX2078" fmla="*/ 1350 w 10785"/>
                <a:gd name="connsiteY2078" fmla="*/ 4248 h 10000"/>
                <a:gd name="connsiteX2079" fmla="*/ 1332 w 10785"/>
                <a:gd name="connsiteY2079" fmla="*/ 4376 h 10000"/>
                <a:gd name="connsiteX2080" fmla="*/ 1332 w 10785"/>
                <a:gd name="connsiteY2080" fmla="*/ 4436 h 10000"/>
                <a:gd name="connsiteX2081" fmla="*/ 1323 w 10785"/>
                <a:gd name="connsiteY2081" fmla="*/ 4462 h 10000"/>
                <a:gd name="connsiteX2082" fmla="*/ 1304 w 10785"/>
                <a:gd name="connsiteY2082" fmla="*/ 4487 h 10000"/>
                <a:gd name="connsiteX2083" fmla="*/ 1290 w 10785"/>
                <a:gd name="connsiteY2083" fmla="*/ 4470 h 10000"/>
                <a:gd name="connsiteX2084" fmla="*/ 1263 w 10785"/>
                <a:gd name="connsiteY2084" fmla="*/ 4496 h 10000"/>
                <a:gd name="connsiteX2085" fmla="*/ 1258 w 10785"/>
                <a:gd name="connsiteY2085" fmla="*/ 4547 h 10000"/>
                <a:gd name="connsiteX2086" fmla="*/ 1249 w 10785"/>
                <a:gd name="connsiteY2086" fmla="*/ 4487 h 10000"/>
                <a:gd name="connsiteX2087" fmla="*/ 1235 w 10785"/>
                <a:gd name="connsiteY2087" fmla="*/ 4496 h 10000"/>
                <a:gd name="connsiteX2088" fmla="*/ 1221 w 10785"/>
                <a:gd name="connsiteY2088" fmla="*/ 4496 h 10000"/>
                <a:gd name="connsiteX2089" fmla="*/ 1217 w 10785"/>
                <a:gd name="connsiteY2089" fmla="*/ 4487 h 10000"/>
                <a:gd name="connsiteX2090" fmla="*/ 1198 w 10785"/>
                <a:gd name="connsiteY2090" fmla="*/ 4410 h 10000"/>
                <a:gd name="connsiteX2091" fmla="*/ 1157 w 10785"/>
                <a:gd name="connsiteY2091" fmla="*/ 4333 h 10000"/>
                <a:gd name="connsiteX2092" fmla="*/ 1147 w 10785"/>
                <a:gd name="connsiteY2092" fmla="*/ 4299 h 10000"/>
                <a:gd name="connsiteX2093" fmla="*/ 1147 w 10785"/>
                <a:gd name="connsiteY2093" fmla="*/ 4274 h 10000"/>
                <a:gd name="connsiteX2094" fmla="*/ 1161 w 10785"/>
                <a:gd name="connsiteY2094" fmla="*/ 4256 h 10000"/>
                <a:gd name="connsiteX2095" fmla="*/ 1171 w 10785"/>
                <a:gd name="connsiteY2095" fmla="*/ 4248 h 10000"/>
                <a:gd name="connsiteX2096" fmla="*/ 1175 w 10785"/>
                <a:gd name="connsiteY2096" fmla="*/ 4214 h 10000"/>
                <a:gd name="connsiteX2097" fmla="*/ 1263 w 10785"/>
                <a:gd name="connsiteY2097" fmla="*/ 4171 h 10000"/>
                <a:gd name="connsiteX2098" fmla="*/ 1249 w 10785"/>
                <a:gd name="connsiteY2098" fmla="*/ 4137 h 10000"/>
                <a:gd name="connsiteX2099" fmla="*/ 1244 w 10785"/>
                <a:gd name="connsiteY2099" fmla="*/ 4060 h 10000"/>
                <a:gd name="connsiteX2100" fmla="*/ 1230 w 10785"/>
                <a:gd name="connsiteY2100" fmla="*/ 4077 h 10000"/>
                <a:gd name="connsiteX2101" fmla="*/ 1221 w 10785"/>
                <a:gd name="connsiteY2101" fmla="*/ 4026 h 10000"/>
                <a:gd name="connsiteX2102" fmla="*/ 1217 w 10785"/>
                <a:gd name="connsiteY2102" fmla="*/ 4026 h 10000"/>
                <a:gd name="connsiteX2103" fmla="*/ 1212 w 10785"/>
                <a:gd name="connsiteY2103" fmla="*/ 3983 h 10000"/>
                <a:gd name="connsiteX2104" fmla="*/ 1203 w 10785"/>
                <a:gd name="connsiteY2104" fmla="*/ 3966 h 10000"/>
                <a:gd name="connsiteX2105" fmla="*/ 1171 w 10785"/>
                <a:gd name="connsiteY2105" fmla="*/ 3949 h 10000"/>
                <a:gd name="connsiteX2106" fmla="*/ 1111 w 10785"/>
                <a:gd name="connsiteY2106" fmla="*/ 3940 h 10000"/>
                <a:gd name="connsiteX2107" fmla="*/ 1097 w 10785"/>
                <a:gd name="connsiteY2107" fmla="*/ 3949 h 10000"/>
                <a:gd name="connsiteX2108" fmla="*/ 1037 w 10785"/>
                <a:gd name="connsiteY2108" fmla="*/ 3897 h 10000"/>
                <a:gd name="connsiteX2109" fmla="*/ 1041 w 10785"/>
                <a:gd name="connsiteY2109" fmla="*/ 3923 h 10000"/>
                <a:gd name="connsiteX2110" fmla="*/ 1097 w 10785"/>
                <a:gd name="connsiteY2110" fmla="*/ 4009 h 10000"/>
                <a:gd name="connsiteX2111" fmla="*/ 1097 w 10785"/>
                <a:gd name="connsiteY2111" fmla="*/ 4120 h 10000"/>
                <a:gd name="connsiteX2112" fmla="*/ 1097 w 10785"/>
                <a:gd name="connsiteY2112" fmla="*/ 4162 h 10000"/>
                <a:gd name="connsiteX2113" fmla="*/ 1097 w 10785"/>
                <a:gd name="connsiteY2113" fmla="*/ 4197 h 10000"/>
                <a:gd name="connsiteX2114" fmla="*/ 1074 w 10785"/>
                <a:gd name="connsiteY2114" fmla="*/ 4333 h 10000"/>
                <a:gd name="connsiteX2115" fmla="*/ 1074 w 10785"/>
                <a:gd name="connsiteY2115" fmla="*/ 4376 h 10000"/>
                <a:gd name="connsiteX2116" fmla="*/ 1083 w 10785"/>
                <a:gd name="connsiteY2116" fmla="*/ 4385 h 10000"/>
                <a:gd name="connsiteX2117" fmla="*/ 1097 w 10785"/>
                <a:gd name="connsiteY2117" fmla="*/ 4385 h 10000"/>
                <a:gd name="connsiteX2118" fmla="*/ 1111 w 10785"/>
                <a:gd name="connsiteY2118" fmla="*/ 4410 h 10000"/>
                <a:gd name="connsiteX2119" fmla="*/ 1124 w 10785"/>
                <a:gd name="connsiteY2119" fmla="*/ 4444 h 10000"/>
                <a:gd name="connsiteX2120" fmla="*/ 1124 w 10785"/>
                <a:gd name="connsiteY2120" fmla="*/ 4470 h 10000"/>
                <a:gd name="connsiteX2121" fmla="*/ 1115 w 10785"/>
                <a:gd name="connsiteY2121" fmla="*/ 4513 h 10000"/>
                <a:gd name="connsiteX2122" fmla="*/ 1115 w 10785"/>
                <a:gd name="connsiteY2122" fmla="*/ 4530 h 10000"/>
                <a:gd name="connsiteX2123" fmla="*/ 1115 w 10785"/>
                <a:gd name="connsiteY2123" fmla="*/ 4573 h 10000"/>
                <a:gd name="connsiteX2124" fmla="*/ 1101 w 10785"/>
                <a:gd name="connsiteY2124" fmla="*/ 4607 h 10000"/>
                <a:gd name="connsiteX2125" fmla="*/ 1097 w 10785"/>
                <a:gd name="connsiteY2125" fmla="*/ 4658 h 10000"/>
                <a:gd name="connsiteX2126" fmla="*/ 1101 w 10785"/>
                <a:gd name="connsiteY2126" fmla="*/ 4692 h 10000"/>
                <a:gd name="connsiteX2127" fmla="*/ 1097 w 10785"/>
                <a:gd name="connsiteY2127" fmla="*/ 4778 h 10000"/>
                <a:gd name="connsiteX2128" fmla="*/ 1083 w 10785"/>
                <a:gd name="connsiteY2128" fmla="*/ 4744 h 10000"/>
                <a:gd name="connsiteX2129" fmla="*/ 1083 w 10785"/>
                <a:gd name="connsiteY2129" fmla="*/ 4718 h 10000"/>
                <a:gd name="connsiteX2130" fmla="*/ 1074 w 10785"/>
                <a:gd name="connsiteY2130" fmla="*/ 4692 h 10000"/>
                <a:gd name="connsiteX2131" fmla="*/ 1065 w 10785"/>
                <a:gd name="connsiteY2131" fmla="*/ 4692 h 10000"/>
                <a:gd name="connsiteX2132" fmla="*/ 1051 w 10785"/>
                <a:gd name="connsiteY2132" fmla="*/ 4718 h 10000"/>
                <a:gd name="connsiteX2133" fmla="*/ 1055 w 10785"/>
                <a:gd name="connsiteY2133" fmla="*/ 4692 h 10000"/>
                <a:gd name="connsiteX2134" fmla="*/ 1055 w 10785"/>
                <a:gd name="connsiteY2134" fmla="*/ 4667 h 10000"/>
                <a:gd name="connsiteX2135" fmla="*/ 1028 w 10785"/>
                <a:gd name="connsiteY2135" fmla="*/ 4624 h 10000"/>
                <a:gd name="connsiteX2136" fmla="*/ 1005 w 10785"/>
                <a:gd name="connsiteY2136" fmla="*/ 4624 h 10000"/>
                <a:gd name="connsiteX2137" fmla="*/ 977 w 10785"/>
                <a:gd name="connsiteY2137" fmla="*/ 4581 h 10000"/>
                <a:gd name="connsiteX2138" fmla="*/ 963 w 10785"/>
                <a:gd name="connsiteY2138" fmla="*/ 4607 h 10000"/>
                <a:gd name="connsiteX2139" fmla="*/ 963 w 10785"/>
                <a:gd name="connsiteY2139" fmla="*/ 4632 h 10000"/>
                <a:gd name="connsiteX2140" fmla="*/ 917 w 10785"/>
                <a:gd name="connsiteY2140" fmla="*/ 4718 h 10000"/>
                <a:gd name="connsiteX2141" fmla="*/ 889 w 10785"/>
                <a:gd name="connsiteY2141" fmla="*/ 4744 h 10000"/>
                <a:gd name="connsiteX2142" fmla="*/ 880 w 10785"/>
                <a:gd name="connsiteY2142" fmla="*/ 4744 h 10000"/>
                <a:gd name="connsiteX2143" fmla="*/ 862 w 10785"/>
                <a:gd name="connsiteY2143" fmla="*/ 4769 h 10000"/>
                <a:gd name="connsiteX2144" fmla="*/ 857 w 10785"/>
                <a:gd name="connsiteY2144" fmla="*/ 4795 h 10000"/>
                <a:gd name="connsiteX2145" fmla="*/ 829 w 10785"/>
                <a:gd name="connsiteY2145" fmla="*/ 4846 h 10000"/>
                <a:gd name="connsiteX2146" fmla="*/ 816 w 10785"/>
                <a:gd name="connsiteY2146" fmla="*/ 4855 h 10000"/>
                <a:gd name="connsiteX2147" fmla="*/ 816 w 10785"/>
                <a:gd name="connsiteY2147" fmla="*/ 4940 h 10000"/>
                <a:gd name="connsiteX2148" fmla="*/ 880 w 10785"/>
                <a:gd name="connsiteY2148" fmla="*/ 5179 h 10000"/>
                <a:gd name="connsiteX2149" fmla="*/ 880 w 10785"/>
                <a:gd name="connsiteY2149" fmla="*/ 5188 h 10000"/>
                <a:gd name="connsiteX2150" fmla="*/ 862 w 10785"/>
                <a:gd name="connsiteY2150" fmla="*/ 5171 h 10000"/>
                <a:gd name="connsiteX2151" fmla="*/ 857 w 10785"/>
                <a:gd name="connsiteY2151" fmla="*/ 5171 h 10000"/>
                <a:gd name="connsiteX2152" fmla="*/ 820 w 10785"/>
                <a:gd name="connsiteY2152" fmla="*/ 5145 h 10000"/>
                <a:gd name="connsiteX2153" fmla="*/ 820 w 10785"/>
                <a:gd name="connsiteY2153" fmla="*/ 5154 h 10000"/>
                <a:gd name="connsiteX2154" fmla="*/ 816 w 10785"/>
                <a:gd name="connsiteY2154" fmla="*/ 5171 h 10000"/>
                <a:gd name="connsiteX2155" fmla="*/ 783 w 10785"/>
                <a:gd name="connsiteY2155" fmla="*/ 5145 h 10000"/>
                <a:gd name="connsiteX2156" fmla="*/ 756 w 10785"/>
                <a:gd name="connsiteY2156" fmla="*/ 5103 h 10000"/>
                <a:gd name="connsiteX2157" fmla="*/ 742 w 10785"/>
                <a:gd name="connsiteY2157" fmla="*/ 5103 h 10000"/>
                <a:gd name="connsiteX2158" fmla="*/ 728 w 10785"/>
                <a:gd name="connsiteY2158" fmla="*/ 5094 h 10000"/>
                <a:gd name="connsiteX2159" fmla="*/ 710 w 10785"/>
                <a:gd name="connsiteY2159" fmla="*/ 5120 h 10000"/>
                <a:gd name="connsiteX2160" fmla="*/ 700 w 10785"/>
                <a:gd name="connsiteY2160" fmla="*/ 5145 h 10000"/>
                <a:gd name="connsiteX2161" fmla="*/ 696 w 10785"/>
                <a:gd name="connsiteY2161" fmla="*/ 5103 h 10000"/>
                <a:gd name="connsiteX2162" fmla="*/ 714 w 10785"/>
                <a:gd name="connsiteY2162" fmla="*/ 5077 h 10000"/>
                <a:gd name="connsiteX2163" fmla="*/ 682 w 10785"/>
                <a:gd name="connsiteY2163" fmla="*/ 5068 h 10000"/>
                <a:gd name="connsiteX2164" fmla="*/ 673 w 10785"/>
                <a:gd name="connsiteY2164" fmla="*/ 5034 h 10000"/>
                <a:gd name="connsiteX2165" fmla="*/ 636 w 10785"/>
                <a:gd name="connsiteY2165" fmla="*/ 4991 h 10000"/>
                <a:gd name="connsiteX2166" fmla="*/ 622 w 10785"/>
                <a:gd name="connsiteY2166" fmla="*/ 4983 h 10000"/>
                <a:gd name="connsiteX2167" fmla="*/ 622 w 10785"/>
                <a:gd name="connsiteY2167" fmla="*/ 5034 h 10000"/>
                <a:gd name="connsiteX2168" fmla="*/ 608 w 10785"/>
                <a:gd name="connsiteY2168" fmla="*/ 5051 h 10000"/>
                <a:gd name="connsiteX2169" fmla="*/ 594 w 10785"/>
                <a:gd name="connsiteY2169" fmla="*/ 5068 h 10000"/>
                <a:gd name="connsiteX2170" fmla="*/ 608 w 10785"/>
                <a:gd name="connsiteY2170" fmla="*/ 5120 h 10000"/>
                <a:gd name="connsiteX2171" fmla="*/ 613 w 10785"/>
                <a:gd name="connsiteY2171" fmla="*/ 5128 h 10000"/>
                <a:gd name="connsiteX2172" fmla="*/ 627 w 10785"/>
                <a:gd name="connsiteY2172" fmla="*/ 5179 h 10000"/>
                <a:gd name="connsiteX2173" fmla="*/ 650 w 10785"/>
                <a:gd name="connsiteY2173" fmla="*/ 5214 h 10000"/>
                <a:gd name="connsiteX2174" fmla="*/ 687 w 10785"/>
                <a:gd name="connsiteY2174" fmla="*/ 5188 h 10000"/>
                <a:gd name="connsiteX2175" fmla="*/ 700 w 10785"/>
                <a:gd name="connsiteY2175" fmla="*/ 5325 h 10000"/>
                <a:gd name="connsiteX2176" fmla="*/ 710 w 10785"/>
                <a:gd name="connsiteY2176" fmla="*/ 5350 h 10000"/>
                <a:gd name="connsiteX2177" fmla="*/ 687 w 10785"/>
                <a:gd name="connsiteY2177" fmla="*/ 5325 h 10000"/>
                <a:gd name="connsiteX2178" fmla="*/ 668 w 10785"/>
                <a:gd name="connsiteY2178" fmla="*/ 5350 h 10000"/>
                <a:gd name="connsiteX2179" fmla="*/ 668 w 10785"/>
                <a:gd name="connsiteY2179" fmla="*/ 5368 h 10000"/>
                <a:gd name="connsiteX2180" fmla="*/ 668 w 10785"/>
                <a:gd name="connsiteY2180" fmla="*/ 5376 h 10000"/>
                <a:gd name="connsiteX2181" fmla="*/ 581 w 10785"/>
                <a:gd name="connsiteY2181" fmla="*/ 5316 h 10000"/>
                <a:gd name="connsiteX2182" fmla="*/ 567 w 10785"/>
                <a:gd name="connsiteY2182" fmla="*/ 5265 h 10000"/>
                <a:gd name="connsiteX2183" fmla="*/ 562 w 10785"/>
                <a:gd name="connsiteY2183" fmla="*/ 5256 h 10000"/>
                <a:gd name="connsiteX2184" fmla="*/ 548 w 10785"/>
                <a:gd name="connsiteY2184" fmla="*/ 5231 h 10000"/>
                <a:gd name="connsiteX2185" fmla="*/ 535 w 10785"/>
                <a:gd name="connsiteY2185" fmla="*/ 5214 h 10000"/>
                <a:gd name="connsiteX2186" fmla="*/ 525 w 10785"/>
                <a:gd name="connsiteY2186" fmla="*/ 5231 h 10000"/>
                <a:gd name="connsiteX2187" fmla="*/ 521 w 10785"/>
                <a:gd name="connsiteY2187" fmla="*/ 5231 h 10000"/>
                <a:gd name="connsiteX2188" fmla="*/ 493 w 10785"/>
                <a:gd name="connsiteY2188" fmla="*/ 5205 h 10000"/>
                <a:gd name="connsiteX2189" fmla="*/ 488 w 10785"/>
                <a:gd name="connsiteY2189" fmla="*/ 5179 h 10000"/>
                <a:gd name="connsiteX2190" fmla="*/ 475 w 10785"/>
                <a:gd name="connsiteY2190" fmla="*/ 5188 h 10000"/>
                <a:gd name="connsiteX2191" fmla="*/ 475 w 10785"/>
                <a:gd name="connsiteY2191" fmla="*/ 5171 h 10000"/>
                <a:gd name="connsiteX2192" fmla="*/ 488 w 10785"/>
                <a:gd name="connsiteY2192" fmla="*/ 5154 h 10000"/>
                <a:gd name="connsiteX2193" fmla="*/ 488 w 10785"/>
                <a:gd name="connsiteY2193" fmla="*/ 5068 h 10000"/>
                <a:gd name="connsiteX2194" fmla="*/ 475 w 10785"/>
                <a:gd name="connsiteY2194" fmla="*/ 5051 h 10000"/>
                <a:gd name="connsiteX2195" fmla="*/ 475 w 10785"/>
                <a:gd name="connsiteY2195" fmla="*/ 5017 h 10000"/>
                <a:gd name="connsiteX2196" fmla="*/ 452 w 10785"/>
                <a:gd name="connsiteY2196" fmla="*/ 4932 h 10000"/>
                <a:gd name="connsiteX2197" fmla="*/ 461 w 10785"/>
                <a:gd name="connsiteY2197" fmla="*/ 4915 h 10000"/>
                <a:gd name="connsiteX2198" fmla="*/ 475 w 10785"/>
                <a:gd name="connsiteY2198" fmla="*/ 4906 h 10000"/>
                <a:gd name="connsiteX2199" fmla="*/ 479 w 10785"/>
                <a:gd name="connsiteY2199" fmla="*/ 4803 h 10000"/>
                <a:gd name="connsiteX2200" fmla="*/ 479 w 10785"/>
                <a:gd name="connsiteY2200" fmla="*/ 4778 h 10000"/>
                <a:gd name="connsiteX2201" fmla="*/ 475 w 10785"/>
                <a:gd name="connsiteY2201" fmla="*/ 4761 h 10000"/>
                <a:gd name="connsiteX2202" fmla="*/ 465 w 10785"/>
                <a:gd name="connsiteY2202" fmla="*/ 4718 h 10000"/>
                <a:gd name="connsiteX2203" fmla="*/ 461 w 10785"/>
                <a:gd name="connsiteY2203" fmla="*/ 4709 h 10000"/>
                <a:gd name="connsiteX2204" fmla="*/ 442 w 10785"/>
                <a:gd name="connsiteY2204" fmla="*/ 4692 h 10000"/>
                <a:gd name="connsiteX2205" fmla="*/ 433 w 10785"/>
                <a:gd name="connsiteY2205" fmla="*/ 4667 h 10000"/>
                <a:gd name="connsiteX2206" fmla="*/ 419 w 10785"/>
                <a:gd name="connsiteY2206" fmla="*/ 4667 h 10000"/>
                <a:gd name="connsiteX2207" fmla="*/ 401 w 10785"/>
                <a:gd name="connsiteY2207" fmla="*/ 4658 h 10000"/>
                <a:gd name="connsiteX2208" fmla="*/ 401 w 10785"/>
                <a:gd name="connsiteY2208" fmla="*/ 4624 h 10000"/>
                <a:gd name="connsiteX2209" fmla="*/ 401 w 10785"/>
                <a:gd name="connsiteY2209" fmla="*/ 4607 h 10000"/>
                <a:gd name="connsiteX2210" fmla="*/ 378 w 10785"/>
                <a:gd name="connsiteY2210" fmla="*/ 4607 h 10000"/>
                <a:gd name="connsiteX2211" fmla="*/ 341 w 10785"/>
                <a:gd name="connsiteY2211" fmla="*/ 4530 h 10000"/>
                <a:gd name="connsiteX2212" fmla="*/ 346 w 10785"/>
                <a:gd name="connsiteY2212" fmla="*/ 4521 h 10000"/>
                <a:gd name="connsiteX2213" fmla="*/ 332 w 10785"/>
                <a:gd name="connsiteY2213" fmla="*/ 4487 h 10000"/>
                <a:gd name="connsiteX2214" fmla="*/ 327 w 10785"/>
                <a:gd name="connsiteY2214" fmla="*/ 4462 h 10000"/>
                <a:gd name="connsiteX2215" fmla="*/ 313 w 10785"/>
                <a:gd name="connsiteY2215" fmla="*/ 4436 h 10000"/>
                <a:gd name="connsiteX2216" fmla="*/ 300 w 10785"/>
                <a:gd name="connsiteY2216" fmla="*/ 4419 h 10000"/>
                <a:gd name="connsiteX2217" fmla="*/ 309 w 10785"/>
                <a:gd name="connsiteY2217" fmla="*/ 4393 h 10000"/>
                <a:gd name="connsiteX2218" fmla="*/ 332 w 10785"/>
                <a:gd name="connsiteY2218" fmla="*/ 4385 h 10000"/>
                <a:gd name="connsiteX2219" fmla="*/ 355 w 10785"/>
                <a:gd name="connsiteY2219" fmla="*/ 4419 h 10000"/>
                <a:gd name="connsiteX2220" fmla="*/ 355 w 10785"/>
                <a:gd name="connsiteY2220" fmla="*/ 4444 h 10000"/>
                <a:gd name="connsiteX2221" fmla="*/ 369 w 10785"/>
                <a:gd name="connsiteY2221" fmla="*/ 4470 h 10000"/>
                <a:gd name="connsiteX2222" fmla="*/ 401 w 10785"/>
                <a:gd name="connsiteY2222" fmla="*/ 4521 h 10000"/>
                <a:gd name="connsiteX2223" fmla="*/ 406 w 10785"/>
                <a:gd name="connsiteY2223" fmla="*/ 4513 h 10000"/>
                <a:gd name="connsiteX2224" fmla="*/ 406 w 10785"/>
                <a:gd name="connsiteY2224" fmla="*/ 4496 h 10000"/>
                <a:gd name="connsiteX2225" fmla="*/ 419 w 10785"/>
                <a:gd name="connsiteY2225" fmla="*/ 4521 h 10000"/>
                <a:gd name="connsiteX2226" fmla="*/ 429 w 10785"/>
                <a:gd name="connsiteY2226" fmla="*/ 4530 h 10000"/>
                <a:gd name="connsiteX2227" fmla="*/ 433 w 10785"/>
                <a:gd name="connsiteY2227" fmla="*/ 4521 h 10000"/>
                <a:gd name="connsiteX2228" fmla="*/ 442 w 10785"/>
                <a:gd name="connsiteY2228" fmla="*/ 4530 h 10000"/>
                <a:gd name="connsiteX2229" fmla="*/ 447 w 10785"/>
                <a:gd name="connsiteY2229" fmla="*/ 4521 h 10000"/>
                <a:gd name="connsiteX2230" fmla="*/ 452 w 10785"/>
                <a:gd name="connsiteY2230" fmla="*/ 4521 h 10000"/>
                <a:gd name="connsiteX2231" fmla="*/ 461 w 10785"/>
                <a:gd name="connsiteY2231" fmla="*/ 4573 h 10000"/>
                <a:gd name="connsiteX2232" fmla="*/ 479 w 10785"/>
                <a:gd name="connsiteY2232" fmla="*/ 4556 h 10000"/>
                <a:gd name="connsiteX2233" fmla="*/ 502 w 10785"/>
                <a:gd name="connsiteY2233" fmla="*/ 4573 h 10000"/>
                <a:gd name="connsiteX2234" fmla="*/ 507 w 10785"/>
                <a:gd name="connsiteY2234" fmla="*/ 4598 h 10000"/>
                <a:gd name="connsiteX2235" fmla="*/ 525 w 10785"/>
                <a:gd name="connsiteY2235" fmla="*/ 4598 h 10000"/>
                <a:gd name="connsiteX2236" fmla="*/ 535 w 10785"/>
                <a:gd name="connsiteY2236" fmla="*/ 4624 h 10000"/>
                <a:gd name="connsiteX2237" fmla="*/ 594 w 10785"/>
                <a:gd name="connsiteY2237" fmla="*/ 4658 h 10000"/>
                <a:gd name="connsiteX2238" fmla="*/ 627 w 10785"/>
                <a:gd name="connsiteY2238" fmla="*/ 4658 h 10000"/>
                <a:gd name="connsiteX2239" fmla="*/ 654 w 10785"/>
                <a:gd name="connsiteY2239" fmla="*/ 4684 h 10000"/>
                <a:gd name="connsiteX2240" fmla="*/ 668 w 10785"/>
                <a:gd name="connsiteY2240" fmla="*/ 4709 h 10000"/>
                <a:gd name="connsiteX2241" fmla="*/ 747 w 10785"/>
                <a:gd name="connsiteY2241" fmla="*/ 4718 h 10000"/>
                <a:gd name="connsiteX2242" fmla="*/ 760 w 10785"/>
                <a:gd name="connsiteY2242" fmla="*/ 4709 h 10000"/>
                <a:gd name="connsiteX2243" fmla="*/ 774 w 10785"/>
                <a:gd name="connsiteY2243" fmla="*/ 4692 h 10000"/>
                <a:gd name="connsiteX2244" fmla="*/ 829 w 10785"/>
                <a:gd name="connsiteY2244" fmla="*/ 4658 h 10000"/>
                <a:gd name="connsiteX2245" fmla="*/ 903 w 10785"/>
                <a:gd name="connsiteY2245" fmla="*/ 4496 h 10000"/>
                <a:gd name="connsiteX2246" fmla="*/ 917 w 10785"/>
                <a:gd name="connsiteY2246" fmla="*/ 4385 h 10000"/>
                <a:gd name="connsiteX2247" fmla="*/ 903 w 10785"/>
                <a:gd name="connsiteY2247" fmla="*/ 4376 h 10000"/>
                <a:gd name="connsiteX2248" fmla="*/ 903 w 10785"/>
                <a:gd name="connsiteY2248" fmla="*/ 4376 h 10000"/>
                <a:gd name="connsiteX2249" fmla="*/ 889 w 10785"/>
                <a:gd name="connsiteY2249" fmla="*/ 4239 h 10000"/>
                <a:gd name="connsiteX2250" fmla="*/ 880 w 10785"/>
                <a:gd name="connsiteY2250" fmla="*/ 4214 h 10000"/>
                <a:gd name="connsiteX2251" fmla="*/ 862 w 10785"/>
                <a:gd name="connsiteY2251" fmla="*/ 4188 h 10000"/>
                <a:gd name="connsiteX2252" fmla="*/ 857 w 10785"/>
                <a:gd name="connsiteY2252" fmla="*/ 4197 h 10000"/>
                <a:gd name="connsiteX2253" fmla="*/ 848 w 10785"/>
                <a:gd name="connsiteY2253" fmla="*/ 4188 h 10000"/>
                <a:gd name="connsiteX2254" fmla="*/ 848 w 10785"/>
                <a:gd name="connsiteY2254" fmla="*/ 4162 h 10000"/>
                <a:gd name="connsiteX2255" fmla="*/ 829 w 10785"/>
                <a:gd name="connsiteY2255" fmla="*/ 4120 h 10000"/>
                <a:gd name="connsiteX2256" fmla="*/ 820 w 10785"/>
                <a:gd name="connsiteY2256" fmla="*/ 4103 h 10000"/>
                <a:gd name="connsiteX2257" fmla="*/ 806 w 10785"/>
                <a:gd name="connsiteY2257" fmla="*/ 4077 h 10000"/>
                <a:gd name="connsiteX2258" fmla="*/ 816 w 10785"/>
                <a:gd name="connsiteY2258" fmla="*/ 4111 h 10000"/>
                <a:gd name="connsiteX2259" fmla="*/ 802 w 10785"/>
                <a:gd name="connsiteY2259" fmla="*/ 4111 h 10000"/>
                <a:gd name="connsiteX2260" fmla="*/ 770 w 10785"/>
                <a:gd name="connsiteY2260" fmla="*/ 4060 h 10000"/>
                <a:gd name="connsiteX2261" fmla="*/ 760 w 10785"/>
                <a:gd name="connsiteY2261" fmla="*/ 4077 h 10000"/>
                <a:gd name="connsiteX2262" fmla="*/ 760 w 10785"/>
                <a:gd name="connsiteY2262" fmla="*/ 4060 h 10000"/>
                <a:gd name="connsiteX2263" fmla="*/ 756 w 10785"/>
                <a:gd name="connsiteY2263" fmla="*/ 4034 h 10000"/>
                <a:gd name="connsiteX2264" fmla="*/ 742 w 10785"/>
                <a:gd name="connsiteY2264" fmla="*/ 4000 h 10000"/>
                <a:gd name="connsiteX2265" fmla="*/ 747 w 10785"/>
                <a:gd name="connsiteY2265" fmla="*/ 4034 h 10000"/>
                <a:gd name="connsiteX2266" fmla="*/ 724 w 10785"/>
                <a:gd name="connsiteY2266" fmla="*/ 4026 h 10000"/>
                <a:gd name="connsiteX2267" fmla="*/ 714 w 10785"/>
                <a:gd name="connsiteY2267" fmla="*/ 4000 h 10000"/>
                <a:gd name="connsiteX2268" fmla="*/ 714 w 10785"/>
                <a:gd name="connsiteY2268" fmla="*/ 3983 h 10000"/>
                <a:gd name="connsiteX2269" fmla="*/ 553 w 10785"/>
                <a:gd name="connsiteY2269" fmla="*/ 3726 h 10000"/>
                <a:gd name="connsiteX2270" fmla="*/ 507 w 10785"/>
                <a:gd name="connsiteY2270" fmla="*/ 3718 h 10000"/>
                <a:gd name="connsiteX2271" fmla="*/ 516 w 10785"/>
                <a:gd name="connsiteY2271" fmla="*/ 3726 h 10000"/>
                <a:gd name="connsiteX2272" fmla="*/ 507 w 10785"/>
                <a:gd name="connsiteY2272" fmla="*/ 3735 h 10000"/>
                <a:gd name="connsiteX2273" fmla="*/ 502 w 10785"/>
                <a:gd name="connsiteY2273" fmla="*/ 3735 h 10000"/>
                <a:gd name="connsiteX2274" fmla="*/ 419 w 10785"/>
                <a:gd name="connsiteY2274" fmla="*/ 3675 h 10000"/>
                <a:gd name="connsiteX2275" fmla="*/ 419 w 10785"/>
                <a:gd name="connsiteY2275" fmla="*/ 3692 h 10000"/>
                <a:gd name="connsiteX2276" fmla="*/ 401 w 10785"/>
                <a:gd name="connsiteY2276" fmla="*/ 3701 h 10000"/>
                <a:gd name="connsiteX2277" fmla="*/ 387 w 10785"/>
                <a:gd name="connsiteY2277" fmla="*/ 3718 h 10000"/>
                <a:gd name="connsiteX2278" fmla="*/ 387 w 10785"/>
                <a:gd name="connsiteY2278" fmla="*/ 3692 h 10000"/>
                <a:gd name="connsiteX2279" fmla="*/ 378 w 10785"/>
                <a:gd name="connsiteY2279" fmla="*/ 3675 h 10000"/>
                <a:gd name="connsiteX2280" fmla="*/ 378 w 10785"/>
                <a:gd name="connsiteY2280" fmla="*/ 3650 h 10000"/>
                <a:gd name="connsiteX2281" fmla="*/ 378 w 10785"/>
                <a:gd name="connsiteY2281" fmla="*/ 3650 h 10000"/>
                <a:gd name="connsiteX2282" fmla="*/ 355 w 10785"/>
                <a:gd name="connsiteY2282" fmla="*/ 3675 h 10000"/>
                <a:gd name="connsiteX2283" fmla="*/ 359 w 10785"/>
                <a:gd name="connsiteY2283" fmla="*/ 3641 h 10000"/>
                <a:gd name="connsiteX2284" fmla="*/ 346 w 10785"/>
                <a:gd name="connsiteY2284" fmla="*/ 3650 h 10000"/>
                <a:gd name="connsiteX2285" fmla="*/ 355 w 10785"/>
                <a:gd name="connsiteY2285" fmla="*/ 3624 h 10000"/>
                <a:gd name="connsiteX2286" fmla="*/ 346 w 10785"/>
                <a:gd name="connsiteY2286" fmla="*/ 3624 h 10000"/>
                <a:gd name="connsiteX2287" fmla="*/ 341 w 10785"/>
                <a:gd name="connsiteY2287" fmla="*/ 3624 h 10000"/>
                <a:gd name="connsiteX2288" fmla="*/ 318 w 10785"/>
                <a:gd name="connsiteY2288" fmla="*/ 3641 h 10000"/>
                <a:gd name="connsiteX2289" fmla="*/ 327 w 10785"/>
                <a:gd name="connsiteY2289" fmla="*/ 3624 h 10000"/>
                <a:gd name="connsiteX2290" fmla="*/ 318 w 10785"/>
                <a:gd name="connsiteY2290" fmla="*/ 3615 h 10000"/>
                <a:gd name="connsiteX2291" fmla="*/ 318 w 10785"/>
                <a:gd name="connsiteY2291" fmla="*/ 3598 h 10000"/>
                <a:gd name="connsiteX2292" fmla="*/ 300 w 10785"/>
                <a:gd name="connsiteY2292" fmla="*/ 3598 h 10000"/>
                <a:gd name="connsiteX2293" fmla="*/ 309 w 10785"/>
                <a:gd name="connsiteY2293" fmla="*/ 3538 h 10000"/>
                <a:gd name="connsiteX2294" fmla="*/ 313 w 10785"/>
                <a:gd name="connsiteY2294" fmla="*/ 3564 h 10000"/>
                <a:gd name="connsiteX2295" fmla="*/ 318 w 10785"/>
                <a:gd name="connsiteY2295" fmla="*/ 3581 h 10000"/>
                <a:gd name="connsiteX2296" fmla="*/ 327 w 10785"/>
                <a:gd name="connsiteY2296" fmla="*/ 3564 h 10000"/>
                <a:gd name="connsiteX2297" fmla="*/ 332 w 10785"/>
                <a:gd name="connsiteY2297" fmla="*/ 3590 h 10000"/>
                <a:gd name="connsiteX2298" fmla="*/ 346 w 10785"/>
                <a:gd name="connsiteY2298" fmla="*/ 3590 h 10000"/>
                <a:gd name="connsiteX2299" fmla="*/ 355 w 10785"/>
                <a:gd name="connsiteY2299" fmla="*/ 3590 h 10000"/>
                <a:gd name="connsiteX2300" fmla="*/ 369 w 10785"/>
                <a:gd name="connsiteY2300" fmla="*/ 3556 h 10000"/>
                <a:gd name="connsiteX2301" fmla="*/ 369 w 10785"/>
                <a:gd name="connsiteY2301" fmla="*/ 3538 h 10000"/>
                <a:gd name="connsiteX2302" fmla="*/ 346 w 10785"/>
                <a:gd name="connsiteY2302" fmla="*/ 3513 h 10000"/>
                <a:gd name="connsiteX2303" fmla="*/ 341 w 10785"/>
                <a:gd name="connsiteY2303" fmla="*/ 3530 h 10000"/>
                <a:gd name="connsiteX2304" fmla="*/ 327 w 10785"/>
                <a:gd name="connsiteY2304" fmla="*/ 3513 h 10000"/>
                <a:gd name="connsiteX2305" fmla="*/ 327 w 10785"/>
                <a:gd name="connsiteY2305" fmla="*/ 3504 h 10000"/>
                <a:gd name="connsiteX2306" fmla="*/ 295 w 10785"/>
                <a:gd name="connsiteY2306" fmla="*/ 3462 h 10000"/>
                <a:gd name="connsiteX2307" fmla="*/ 300 w 10785"/>
                <a:gd name="connsiteY2307" fmla="*/ 3479 h 10000"/>
                <a:gd name="connsiteX2308" fmla="*/ 295 w 10785"/>
                <a:gd name="connsiteY2308" fmla="*/ 3513 h 10000"/>
                <a:gd name="connsiteX2309" fmla="*/ 286 w 10785"/>
                <a:gd name="connsiteY2309" fmla="*/ 3513 h 10000"/>
                <a:gd name="connsiteX2310" fmla="*/ 281 w 10785"/>
                <a:gd name="connsiteY2310" fmla="*/ 3513 h 10000"/>
                <a:gd name="connsiteX2311" fmla="*/ 281 w 10785"/>
                <a:gd name="connsiteY2311" fmla="*/ 3530 h 10000"/>
                <a:gd name="connsiteX2312" fmla="*/ 281 w 10785"/>
                <a:gd name="connsiteY2312" fmla="*/ 3556 h 10000"/>
                <a:gd name="connsiteX2313" fmla="*/ 272 w 10785"/>
                <a:gd name="connsiteY2313" fmla="*/ 3564 h 10000"/>
                <a:gd name="connsiteX2314" fmla="*/ 267 w 10785"/>
                <a:gd name="connsiteY2314" fmla="*/ 3564 h 10000"/>
                <a:gd name="connsiteX2315" fmla="*/ 253 w 10785"/>
                <a:gd name="connsiteY2315" fmla="*/ 3538 h 10000"/>
                <a:gd name="connsiteX2316" fmla="*/ 226 w 10785"/>
                <a:gd name="connsiteY2316" fmla="*/ 3513 h 10000"/>
                <a:gd name="connsiteX2317" fmla="*/ 226 w 10785"/>
                <a:gd name="connsiteY2317" fmla="*/ 3530 h 10000"/>
                <a:gd name="connsiteX2318" fmla="*/ 226 w 10785"/>
                <a:gd name="connsiteY2318" fmla="*/ 3530 h 10000"/>
                <a:gd name="connsiteX2319" fmla="*/ 226 w 10785"/>
                <a:gd name="connsiteY2319" fmla="*/ 3530 h 10000"/>
                <a:gd name="connsiteX2320" fmla="*/ 226 w 10785"/>
                <a:gd name="connsiteY2320" fmla="*/ 3556 h 10000"/>
                <a:gd name="connsiteX2321" fmla="*/ 221 w 10785"/>
                <a:gd name="connsiteY2321" fmla="*/ 3598 h 10000"/>
                <a:gd name="connsiteX2322" fmla="*/ 207 w 10785"/>
                <a:gd name="connsiteY2322" fmla="*/ 3598 h 10000"/>
                <a:gd name="connsiteX2323" fmla="*/ 180 w 10785"/>
                <a:gd name="connsiteY2323" fmla="*/ 3581 h 10000"/>
                <a:gd name="connsiteX2324" fmla="*/ 171 w 10785"/>
                <a:gd name="connsiteY2324" fmla="*/ 3641 h 10000"/>
                <a:gd name="connsiteX2325" fmla="*/ 166 w 10785"/>
                <a:gd name="connsiteY2325" fmla="*/ 3650 h 10000"/>
                <a:gd name="connsiteX2326" fmla="*/ 124 w 10785"/>
                <a:gd name="connsiteY2326" fmla="*/ 3701 h 10000"/>
                <a:gd name="connsiteX2327" fmla="*/ 124 w 10785"/>
                <a:gd name="connsiteY2327" fmla="*/ 3718 h 10000"/>
                <a:gd name="connsiteX2328" fmla="*/ 120 w 10785"/>
                <a:gd name="connsiteY2328" fmla="*/ 3735 h 10000"/>
                <a:gd name="connsiteX2329" fmla="*/ 120 w 10785"/>
                <a:gd name="connsiteY2329" fmla="*/ 3735 h 10000"/>
                <a:gd name="connsiteX2330" fmla="*/ 111 w 10785"/>
                <a:gd name="connsiteY2330" fmla="*/ 3761 h 10000"/>
                <a:gd name="connsiteX2331" fmla="*/ 106 w 10785"/>
                <a:gd name="connsiteY2331" fmla="*/ 3761 h 10000"/>
                <a:gd name="connsiteX2332" fmla="*/ 106 w 10785"/>
                <a:gd name="connsiteY2332" fmla="*/ 3761 h 10000"/>
                <a:gd name="connsiteX2333" fmla="*/ 74 w 10785"/>
                <a:gd name="connsiteY2333" fmla="*/ 3829 h 10000"/>
                <a:gd name="connsiteX2334" fmla="*/ 78 w 10785"/>
                <a:gd name="connsiteY2334" fmla="*/ 3838 h 10000"/>
                <a:gd name="connsiteX2335" fmla="*/ 88 w 10785"/>
                <a:gd name="connsiteY2335" fmla="*/ 3846 h 10000"/>
                <a:gd name="connsiteX2336" fmla="*/ 65 w 10785"/>
                <a:gd name="connsiteY2336" fmla="*/ 3923 h 10000"/>
                <a:gd name="connsiteX2337" fmla="*/ 78 w 10785"/>
                <a:gd name="connsiteY2337" fmla="*/ 4026 h 10000"/>
                <a:gd name="connsiteX2338" fmla="*/ 88 w 10785"/>
                <a:gd name="connsiteY2338" fmla="*/ 4051 h 10000"/>
                <a:gd name="connsiteX2339" fmla="*/ 92 w 10785"/>
                <a:gd name="connsiteY2339" fmla="*/ 4060 h 10000"/>
                <a:gd name="connsiteX2340" fmla="*/ 111 w 10785"/>
                <a:gd name="connsiteY2340" fmla="*/ 4060 h 10000"/>
                <a:gd name="connsiteX2341" fmla="*/ 124 w 10785"/>
                <a:gd name="connsiteY2341" fmla="*/ 4085 h 10000"/>
                <a:gd name="connsiteX2342" fmla="*/ 166 w 10785"/>
                <a:gd name="connsiteY2342" fmla="*/ 4197 h 10000"/>
                <a:gd name="connsiteX2343" fmla="*/ 166 w 10785"/>
                <a:gd name="connsiteY2343" fmla="*/ 4248 h 10000"/>
                <a:gd name="connsiteX2344" fmla="*/ 120 w 10785"/>
                <a:gd name="connsiteY2344" fmla="*/ 4462 h 10000"/>
                <a:gd name="connsiteX2345" fmla="*/ 120 w 10785"/>
                <a:gd name="connsiteY2345" fmla="*/ 4513 h 10000"/>
                <a:gd name="connsiteX2346" fmla="*/ 180 w 10785"/>
                <a:gd name="connsiteY2346" fmla="*/ 4829 h 10000"/>
                <a:gd name="connsiteX2347" fmla="*/ 161 w 10785"/>
                <a:gd name="connsiteY2347" fmla="*/ 4855 h 10000"/>
                <a:gd name="connsiteX2348" fmla="*/ 152 w 10785"/>
                <a:gd name="connsiteY2348" fmla="*/ 4940 h 10000"/>
                <a:gd name="connsiteX2349" fmla="*/ 161 w 10785"/>
                <a:gd name="connsiteY2349" fmla="*/ 4966 h 10000"/>
                <a:gd name="connsiteX2350" fmla="*/ 161 w 10785"/>
                <a:gd name="connsiteY2350" fmla="*/ 5009 h 10000"/>
                <a:gd name="connsiteX2351" fmla="*/ 152 w 10785"/>
                <a:gd name="connsiteY2351" fmla="*/ 5034 h 10000"/>
                <a:gd name="connsiteX2352" fmla="*/ 152 w 10785"/>
                <a:gd name="connsiteY2352" fmla="*/ 5077 h 10000"/>
                <a:gd name="connsiteX2353" fmla="*/ 171 w 10785"/>
                <a:gd name="connsiteY2353" fmla="*/ 5094 h 10000"/>
                <a:gd name="connsiteX2354" fmla="*/ 180 w 10785"/>
                <a:gd name="connsiteY2354" fmla="*/ 5128 h 10000"/>
                <a:gd name="connsiteX2355" fmla="*/ 180 w 10785"/>
                <a:gd name="connsiteY2355" fmla="*/ 5171 h 10000"/>
                <a:gd name="connsiteX2356" fmla="*/ 184 w 10785"/>
                <a:gd name="connsiteY2356" fmla="*/ 5205 h 10000"/>
                <a:gd name="connsiteX2357" fmla="*/ 207 w 10785"/>
                <a:gd name="connsiteY2357" fmla="*/ 5239 h 10000"/>
                <a:gd name="connsiteX2358" fmla="*/ 207 w 10785"/>
                <a:gd name="connsiteY2358" fmla="*/ 5282 h 10000"/>
                <a:gd name="connsiteX2359" fmla="*/ 180 w 10785"/>
                <a:gd name="connsiteY2359" fmla="*/ 5393 h 10000"/>
                <a:gd name="connsiteX2360" fmla="*/ 194 w 10785"/>
                <a:gd name="connsiteY2360" fmla="*/ 5427 h 10000"/>
                <a:gd name="connsiteX2361" fmla="*/ 198 w 10785"/>
                <a:gd name="connsiteY2361" fmla="*/ 5462 h 10000"/>
                <a:gd name="connsiteX2362" fmla="*/ 235 w 10785"/>
                <a:gd name="connsiteY2362" fmla="*/ 5513 h 10000"/>
                <a:gd name="connsiteX2363" fmla="*/ 240 w 10785"/>
                <a:gd name="connsiteY2363" fmla="*/ 5556 h 10000"/>
                <a:gd name="connsiteX2364" fmla="*/ 253 w 10785"/>
                <a:gd name="connsiteY2364" fmla="*/ 5590 h 10000"/>
                <a:gd name="connsiteX2365" fmla="*/ 258 w 10785"/>
                <a:gd name="connsiteY2365" fmla="*/ 5573 h 10000"/>
                <a:gd name="connsiteX2366" fmla="*/ 258 w 10785"/>
                <a:gd name="connsiteY2366" fmla="*/ 5667 h 10000"/>
                <a:gd name="connsiteX2367" fmla="*/ 14 w 10785"/>
                <a:gd name="connsiteY2367" fmla="*/ 6214 h 10000"/>
                <a:gd name="connsiteX2368" fmla="*/ 14 w 10785"/>
                <a:gd name="connsiteY2368" fmla="*/ 6214 h 10000"/>
                <a:gd name="connsiteX2369" fmla="*/ 37 w 10785"/>
                <a:gd name="connsiteY2369" fmla="*/ 6214 h 10000"/>
                <a:gd name="connsiteX2370" fmla="*/ 51 w 10785"/>
                <a:gd name="connsiteY2370" fmla="*/ 6188 h 10000"/>
                <a:gd name="connsiteX2371" fmla="*/ 78 w 10785"/>
                <a:gd name="connsiteY2371" fmla="*/ 6162 h 10000"/>
                <a:gd name="connsiteX2372" fmla="*/ 78 w 10785"/>
                <a:gd name="connsiteY2372" fmla="*/ 6188 h 10000"/>
                <a:gd name="connsiteX2373" fmla="*/ 74 w 10785"/>
                <a:gd name="connsiteY2373" fmla="*/ 6197 h 10000"/>
                <a:gd name="connsiteX2374" fmla="*/ 74 w 10785"/>
                <a:gd name="connsiteY2374" fmla="*/ 6231 h 10000"/>
                <a:gd name="connsiteX2375" fmla="*/ 74 w 10785"/>
                <a:gd name="connsiteY2375" fmla="*/ 6214 h 10000"/>
                <a:gd name="connsiteX2376" fmla="*/ 65 w 10785"/>
                <a:gd name="connsiteY2376" fmla="*/ 6214 h 10000"/>
                <a:gd name="connsiteX2377" fmla="*/ 65 w 10785"/>
                <a:gd name="connsiteY2377" fmla="*/ 6248 h 10000"/>
                <a:gd name="connsiteX2378" fmla="*/ 74 w 10785"/>
                <a:gd name="connsiteY2378" fmla="*/ 6256 h 10000"/>
                <a:gd name="connsiteX2379" fmla="*/ 78 w 10785"/>
                <a:gd name="connsiteY2379" fmla="*/ 6256 h 10000"/>
                <a:gd name="connsiteX2380" fmla="*/ 106 w 10785"/>
                <a:gd name="connsiteY2380" fmla="*/ 6308 h 10000"/>
                <a:gd name="connsiteX2381" fmla="*/ 138 w 10785"/>
                <a:gd name="connsiteY2381" fmla="*/ 6299 h 10000"/>
                <a:gd name="connsiteX2382" fmla="*/ 152 w 10785"/>
                <a:gd name="connsiteY2382" fmla="*/ 6299 h 10000"/>
                <a:gd name="connsiteX2383" fmla="*/ 166 w 10785"/>
                <a:gd name="connsiteY2383" fmla="*/ 6325 h 10000"/>
                <a:gd name="connsiteX2384" fmla="*/ 166 w 10785"/>
                <a:gd name="connsiteY2384" fmla="*/ 6333 h 10000"/>
                <a:gd name="connsiteX2385" fmla="*/ 171 w 10785"/>
                <a:gd name="connsiteY2385" fmla="*/ 6350 h 10000"/>
                <a:gd name="connsiteX2386" fmla="*/ 180 w 10785"/>
                <a:gd name="connsiteY2386" fmla="*/ 6350 h 10000"/>
                <a:gd name="connsiteX2387" fmla="*/ 180 w 10785"/>
                <a:gd name="connsiteY2387" fmla="*/ 6359 h 10000"/>
                <a:gd name="connsiteX2388" fmla="*/ 171 w 10785"/>
                <a:gd name="connsiteY2388" fmla="*/ 6368 h 10000"/>
                <a:gd name="connsiteX2389" fmla="*/ 106 w 10785"/>
                <a:gd name="connsiteY2389" fmla="*/ 6350 h 10000"/>
                <a:gd name="connsiteX2390" fmla="*/ 101 w 10785"/>
                <a:gd name="connsiteY2390" fmla="*/ 6359 h 10000"/>
                <a:gd name="connsiteX2391" fmla="*/ 101 w 10785"/>
                <a:gd name="connsiteY2391" fmla="*/ 6385 h 10000"/>
                <a:gd name="connsiteX2392" fmla="*/ 78 w 10785"/>
                <a:gd name="connsiteY2392" fmla="*/ 6393 h 10000"/>
                <a:gd name="connsiteX2393" fmla="*/ 74 w 10785"/>
                <a:gd name="connsiteY2393" fmla="*/ 6385 h 10000"/>
                <a:gd name="connsiteX2394" fmla="*/ 65 w 10785"/>
                <a:gd name="connsiteY2394" fmla="*/ 6393 h 10000"/>
                <a:gd name="connsiteX2395" fmla="*/ 60 w 10785"/>
                <a:gd name="connsiteY2395" fmla="*/ 6419 h 10000"/>
                <a:gd name="connsiteX2396" fmla="*/ 51 w 10785"/>
                <a:gd name="connsiteY2396" fmla="*/ 6419 h 10000"/>
                <a:gd name="connsiteX2397" fmla="*/ 46 w 10785"/>
                <a:gd name="connsiteY2397" fmla="*/ 6410 h 10000"/>
                <a:gd name="connsiteX2398" fmla="*/ 37 w 10785"/>
                <a:gd name="connsiteY2398" fmla="*/ 6393 h 10000"/>
                <a:gd name="connsiteX2399" fmla="*/ 32 w 10785"/>
                <a:gd name="connsiteY2399" fmla="*/ 6419 h 10000"/>
                <a:gd name="connsiteX2400" fmla="*/ 37 w 10785"/>
                <a:gd name="connsiteY2400" fmla="*/ 6462 h 10000"/>
                <a:gd name="connsiteX2401" fmla="*/ 46 w 10785"/>
                <a:gd name="connsiteY2401" fmla="*/ 6462 h 10000"/>
                <a:gd name="connsiteX2402" fmla="*/ 51 w 10785"/>
                <a:gd name="connsiteY2402" fmla="*/ 6470 h 10000"/>
                <a:gd name="connsiteX2403" fmla="*/ 51 w 10785"/>
                <a:gd name="connsiteY2403" fmla="*/ 6496 h 10000"/>
                <a:gd name="connsiteX2404" fmla="*/ 51 w 10785"/>
                <a:gd name="connsiteY2404" fmla="*/ 6504 h 10000"/>
                <a:gd name="connsiteX2405" fmla="*/ 37 w 10785"/>
                <a:gd name="connsiteY2405" fmla="*/ 6530 h 10000"/>
                <a:gd name="connsiteX2406" fmla="*/ 18 w 10785"/>
                <a:gd name="connsiteY2406" fmla="*/ 6598 h 10000"/>
                <a:gd name="connsiteX2407" fmla="*/ 28 w 10785"/>
                <a:gd name="connsiteY2407" fmla="*/ 6632 h 10000"/>
                <a:gd name="connsiteX2408" fmla="*/ 18 w 10785"/>
                <a:gd name="connsiteY2408" fmla="*/ 6667 h 10000"/>
                <a:gd name="connsiteX2409" fmla="*/ 28 w 10785"/>
                <a:gd name="connsiteY2409" fmla="*/ 6692 h 10000"/>
                <a:gd name="connsiteX2410" fmla="*/ 28 w 10785"/>
                <a:gd name="connsiteY2410" fmla="*/ 6709 h 10000"/>
                <a:gd name="connsiteX2411" fmla="*/ 18 w 10785"/>
                <a:gd name="connsiteY2411" fmla="*/ 6718 h 10000"/>
                <a:gd name="connsiteX2412" fmla="*/ 5 w 10785"/>
                <a:gd name="connsiteY2412" fmla="*/ 6744 h 10000"/>
                <a:gd name="connsiteX2413" fmla="*/ 0 w 10785"/>
                <a:gd name="connsiteY2413" fmla="*/ 6769 h 10000"/>
                <a:gd name="connsiteX2414" fmla="*/ 5 w 10785"/>
                <a:gd name="connsiteY2414" fmla="*/ 6778 h 10000"/>
                <a:gd name="connsiteX2415" fmla="*/ 32 w 10785"/>
                <a:gd name="connsiteY2415" fmla="*/ 6778 h 10000"/>
                <a:gd name="connsiteX2416" fmla="*/ 46 w 10785"/>
                <a:gd name="connsiteY2416" fmla="*/ 6821 h 10000"/>
                <a:gd name="connsiteX2417" fmla="*/ 46 w 10785"/>
                <a:gd name="connsiteY2417" fmla="*/ 6855 h 10000"/>
                <a:gd name="connsiteX2418" fmla="*/ 32 w 10785"/>
                <a:gd name="connsiteY2418" fmla="*/ 6855 h 10000"/>
                <a:gd name="connsiteX2419" fmla="*/ 14 w 10785"/>
                <a:gd name="connsiteY2419" fmla="*/ 6821 h 10000"/>
                <a:gd name="connsiteX2420" fmla="*/ 14 w 10785"/>
                <a:gd name="connsiteY2420" fmla="*/ 6846 h 10000"/>
                <a:gd name="connsiteX2421" fmla="*/ 0 w 10785"/>
                <a:gd name="connsiteY2421" fmla="*/ 6897 h 10000"/>
                <a:gd name="connsiteX2422" fmla="*/ 0 w 10785"/>
                <a:gd name="connsiteY2422" fmla="*/ 6915 h 10000"/>
                <a:gd name="connsiteX2423" fmla="*/ 5 w 10785"/>
                <a:gd name="connsiteY2423" fmla="*/ 6932 h 10000"/>
                <a:gd name="connsiteX2424" fmla="*/ 14 w 10785"/>
                <a:gd name="connsiteY2424" fmla="*/ 6940 h 10000"/>
                <a:gd name="connsiteX2425" fmla="*/ 18 w 10785"/>
                <a:gd name="connsiteY2425" fmla="*/ 6957 h 10000"/>
                <a:gd name="connsiteX2426" fmla="*/ 28 w 10785"/>
                <a:gd name="connsiteY2426" fmla="*/ 6966 h 10000"/>
                <a:gd name="connsiteX2427" fmla="*/ 28 w 10785"/>
                <a:gd name="connsiteY2427" fmla="*/ 6983 h 10000"/>
                <a:gd name="connsiteX2428" fmla="*/ 18 w 10785"/>
                <a:gd name="connsiteY2428" fmla="*/ 7051 h 10000"/>
                <a:gd name="connsiteX2429" fmla="*/ 28 w 10785"/>
                <a:gd name="connsiteY2429" fmla="*/ 7068 h 10000"/>
                <a:gd name="connsiteX2430" fmla="*/ 32 w 10785"/>
                <a:gd name="connsiteY2430" fmla="*/ 7068 h 10000"/>
                <a:gd name="connsiteX2431" fmla="*/ 32 w 10785"/>
                <a:gd name="connsiteY2431" fmla="*/ 7094 h 10000"/>
                <a:gd name="connsiteX2432" fmla="*/ 60 w 10785"/>
                <a:gd name="connsiteY2432" fmla="*/ 7162 h 10000"/>
                <a:gd name="connsiteX2433" fmla="*/ 60 w 10785"/>
                <a:gd name="connsiteY2433" fmla="*/ 7231 h 10000"/>
                <a:gd name="connsiteX2434" fmla="*/ 60 w 10785"/>
                <a:gd name="connsiteY2434" fmla="*/ 7239 h 10000"/>
                <a:gd name="connsiteX2435" fmla="*/ 78 w 10785"/>
                <a:gd name="connsiteY2435" fmla="*/ 7239 h 10000"/>
                <a:gd name="connsiteX2436" fmla="*/ 88 w 10785"/>
                <a:gd name="connsiteY2436" fmla="*/ 7239 h 10000"/>
                <a:gd name="connsiteX2437" fmla="*/ 92 w 10785"/>
                <a:gd name="connsiteY2437" fmla="*/ 7256 h 10000"/>
                <a:gd name="connsiteX2438" fmla="*/ 111 w 10785"/>
                <a:gd name="connsiteY2438" fmla="*/ 7256 h 10000"/>
                <a:gd name="connsiteX2439" fmla="*/ 120 w 10785"/>
                <a:gd name="connsiteY2439" fmla="*/ 7256 h 10000"/>
                <a:gd name="connsiteX2440" fmla="*/ 134 w 10785"/>
                <a:gd name="connsiteY2440" fmla="*/ 7282 h 10000"/>
                <a:gd name="connsiteX2441" fmla="*/ 134 w 10785"/>
                <a:gd name="connsiteY2441" fmla="*/ 7316 h 10000"/>
                <a:gd name="connsiteX2442" fmla="*/ 152 w 10785"/>
                <a:gd name="connsiteY2442" fmla="*/ 7299 h 10000"/>
                <a:gd name="connsiteX2443" fmla="*/ 161 w 10785"/>
                <a:gd name="connsiteY2443" fmla="*/ 7299 h 10000"/>
                <a:gd name="connsiteX2444" fmla="*/ 166 w 10785"/>
                <a:gd name="connsiteY2444" fmla="*/ 7291 h 10000"/>
                <a:gd name="connsiteX2445" fmla="*/ 194 w 10785"/>
                <a:gd name="connsiteY2445" fmla="*/ 7291 h 10000"/>
                <a:gd name="connsiteX2446" fmla="*/ 207 w 10785"/>
                <a:gd name="connsiteY2446" fmla="*/ 7299 h 10000"/>
                <a:gd name="connsiteX2447" fmla="*/ 221 w 10785"/>
                <a:gd name="connsiteY2447" fmla="*/ 7342 h 10000"/>
                <a:gd name="connsiteX2448" fmla="*/ 235 w 10785"/>
                <a:gd name="connsiteY2448" fmla="*/ 7342 h 10000"/>
                <a:gd name="connsiteX2449" fmla="*/ 235 w 10785"/>
                <a:gd name="connsiteY2449" fmla="*/ 7368 h 10000"/>
                <a:gd name="connsiteX2450" fmla="*/ 226 w 10785"/>
                <a:gd name="connsiteY2450" fmla="*/ 7393 h 10000"/>
                <a:gd name="connsiteX2451" fmla="*/ 226 w 10785"/>
                <a:gd name="connsiteY2451" fmla="*/ 7402 h 10000"/>
                <a:gd name="connsiteX2452" fmla="*/ 235 w 10785"/>
                <a:gd name="connsiteY2452" fmla="*/ 7419 h 10000"/>
                <a:gd name="connsiteX2453" fmla="*/ 240 w 10785"/>
                <a:gd name="connsiteY2453" fmla="*/ 7436 h 10000"/>
                <a:gd name="connsiteX2454" fmla="*/ 235 w 10785"/>
                <a:gd name="connsiteY2454" fmla="*/ 7462 h 10000"/>
                <a:gd name="connsiteX2455" fmla="*/ 226 w 10785"/>
                <a:gd name="connsiteY2455" fmla="*/ 7479 h 10000"/>
                <a:gd name="connsiteX2456" fmla="*/ 226 w 10785"/>
                <a:gd name="connsiteY2456" fmla="*/ 7504 h 10000"/>
                <a:gd name="connsiteX2457" fmla="*/ 226 w 10785"/>
                <a:gd name="connsiteY2457" fmla="*/ 7513 h 10000"/>
                <a:gd name="connsiteX2458" fmla="*/ 240 w 10785"/>
                <a:gd name="connsiteY2458" fmla="*/ 7538 h 10000"/>
                <a:gd name="connsiteX2459" fmla="*/ 267 w 10785"/>
                <a:gd name="connsiteY2459" fmla="*/ 7641 h 10000"/>
                <a:gd name="connsiteX2460" fmla="*/ 281 w 10785"/>
                <a:gd name="connsiteY2460" fmla="*/ 7667 h 10000"/>
                <a:gd name="connsiteX2461" fmla="*/ 286 w 10785"/>
                <a:gd name="connsiteY2461" fmla="*/ 7675 h 10000"/>
                <a:gd name="connsiteX2462" fmla="*/ 286 w 10785"/>
                <a:gd name="connsiteY2462" fmla="*/ 7692 h 10000"/>
                <a:gd name="connsiteX2463" fmla="*/ 286 w 10785"/>
                <a:gd name="connsiteY2463" fmla="*/ 7709 h 10000"/>
                <a:gd name="connsiteX2464" fmla="*/ 295 w 10785"/>
                <a:gd name="connsiteY2464" fmla="*/ 7726 h 10000"/>
                <a:gd name="connsiteX2465" fmla="*/ 318 w 10785"/>
                <a:gd name="connsiteY2465" fmla="*/ 7709 h 10000"/>
                <a:gd name="connsiteX2466" fmla="*/ 327 w 10785"/>
                <a:gd name="connsiteY2466" fmla="*/ 7726 h 10000"/>
                <a:gd name="connsiteX2467" fmla="*/ 341 w 10785"/>
                <a:gd name="connsiteY2467" fmla="*/ 7735 h 10000"/>
                <a:gd name="connsiteX2468" fmla="*/ 332 w 10785"/>
                <a:gd name="connsiteY2468" fmla="*/ 7752 h 10000"/>
                <a:gd name="connsiteX2469" fmla="*/ 341 w 10785"/>
                <a:gd name="connsiteY2469" fmla="*/ 7761 h 10000"/>
                <a:gd name="connsiteX2470" fmla="*/ 355 w 10785"/>
                <a:gd name="connsiteY2470" fmla="*/ 7761 h 10000"/>
                <a:gd name="connsiteX2471" fmla="*/ 355 w 10785"/>
                <a:gd name="connsiteY2471" fmla="*/ 7803 h 10000"/>
                <a:gd name="connsiteX2472" fmla="*/ 313 w 10785"/>
                <a:gd name="connsiteY2472" fmla="*/ 7846 h 10000"/>
                <a:gd name="connsiteX2473" fmla="*/ 295 w 10785"/>
                <a:gd name="connsiteY2473" fmla="*/ 7846 h 10000"/>
                <a:gd name="connsiteX2474" fmla="*/ 281 w 10785"/>
                <a:gd name="connsiteY2474" fmla="*/ 7821 h 10000"/>
                <a:gd name="connsiteX2475" fmla="*/ 272 w 10785"/>
                <a:gd name="connsiteY2475" fmla="*/ 7821 h 10000"/>
                <a:gd name="connsiteX2476" fmla="*/ 267 w 10785"/>
                <a:gd name="connsiteY2476" fmla="*/ 7838 h 10000"/>
                <a:gd name="connsiteX2477" fmla="*/ 258 w 10785"/>
                <a:gd name="connsiteY2477" fmla="*/ 7846 h 10000"/>
                <a:gd name="connsiteX2478" fmla="*/ 253 w 10785"/>
                <a:gd name="connsiteY2478" fmla="*/ 7863 h 10000"/>
                <a:gd name="connsiteX2479" fmla="*/ 253 w 10785"/>
                <a:gd name="connsiteY2479" fmla="*/ 7872 h 10000"/>
                <a:gd name="connsiteX2480" fmla="*/ 267 w 10785"/>
                <a:gd name="connsiteY2480" fmla="*/ 7897 h 10000"/>
                <a:gd name="connsiteX2481" fmla="*/ 272 w 10785"/>
                <a:gd name="connsiteY2481" fmla="*/ 7915 h 10000"/>
                <a:gd name="connsiteX2482" fmla="*/ 267 w 10785"/>
                <a:gd name="connsiteY2482" fmla="*/ 7940 h 10000"/>
                <a:gd name="connsiteX2483" fmla="*/ 272 w 10785"/>
                <a:gd name="connsiteY2483" fmla="*/ 7949 h 10000"/>
                <a:gd name="connsiteX2484" fmla="*/ 272 w 10785"/>
                <a:gd name="connsiteY2484" fmla="*/ 7957 h 10000"/>
                <a:gd name="connsiteX2485" fmla="*/ 281 w 10785"/>
                <a:gd name="connsiteY2485" fmla="*/ 7974 h 10000"/>
                <a:gd name="connsiteX2486" fmla="*/ 286 w 10785"/>
                <a:gd name="connsiteY2486" fmla="*/ 7983 h 10000"/>
                <a:gd name="connsiteX2487" fmla="*/ 281 w 10785"/>
                <a:gd name="connsiteY2487" fmla="*/ 8009 h 10000"/>
                <a:gd name="connsiteX2488" fmla="*/ 286 w 10785"/>
                <a:gd name="connsiteY2488" fmla="*/ 8060 h 10000"/>
                <a:gd name="connsiteX2489" fmla="*/ 286 w 10785"/>
                <a:gd name="connsiteY2489" fmla="*/ 8060 h 10000"/>
                <a:gd name="connsiteX2490" fmla="*/ 295 w 10785"/>
                <a:gd name="connsiteY2490" fmla="*/ 8077 h 10000"/>
                <a:gd name="connsiteX2491" fmla="*/ 309 w 10785"/>
                <a:gd name="connsiteY2491" fmla="*/ 8077 h 10000"/>
                <a:gd name="connsiteX2492" fmla="*/ 313 w 10785"/>
                <a:gd name="connsiteY2492" fmla="*/ 8060 h 10000"/>
                <a:gd name="connsiteX2493" fmla="*/ 318 w 10785"/>
                <a:gd name="connsiteY2493" fmla="*/ 8051 h 10000"/>
                <a:gd name="connsiteX2494" fmla="*/ 318 w 10785"/>
                <a:gd name="connsiteY2494" fmla="*/ 8034 h 10000"/>
                <a:gd name="connsiteX2495" fmla="*/ 332 w 10785"/>
                <a:gd name="connsiteY2495" fmla="*/ 8026 h 10000"/>
                <a:gd name="connsiteX2496" fmla="*/ 359 w 10785"/>
                <a:gd name="connsiteY2496" fmla="*/ 8034 h 10000"/>
                <a:gd name="connsiteX2497" fmla="*/ 378 w 10785"/>
                <a:gd name="connsiteY2497" fmla="*/ 8026 h 10000"/>
                <a:gd name="connsiteX2498" fmla="*/ 401 w 10785"/>
                <a:gd name="connsiteY2498" fmla="*/ 8026 h 10000"/>
                <a:gd name="connsiteX2499" fmla="*/ 419 w 10785"/>
                <a:gd name="connsiteY2499" fmla="*/ 8009 h 10000"/>
                <a:gd name="connsiteX2500" fmla="*/ 433 w 10785"/>
                <a:gd name="connsiteY2500" fmla="*/ 8034 h 10000"/>
                <a:gd name="connsiteX2501" fmla="*/ 442 w 10785"/>
                <a:gd name="connsiteY2501" fmla="*/ 8060 h 10000"/>
                <a:gd name="connsiteX2502" fmla="*/ 442 w 10785"/>
                <a:gd name="connsiteY2502" fmla="*/ 8077 h 10000"/>
                <a:gd name="connsiteX2503" fmla="*/ 461 w 10785"/>
                <a:gd name="connsiteY2503" fmla="*/ 8111 h 10000"/>
                <a:gd name="connsiteX2504" fmla="*/ 461 w 10785"/>
                <a:gd name="connsiteY2504" fmla="*/ 8137 h 10000"/>
                <a:gd name="connsiteX2505" fmla="*/ 447 w 10785"/>
                <a:gd name="connsiteY2505" fmla="*/ 8145 h 10000"/>
                <a:gd name="connsiteX2506" fmla="*/ 442 w 10785"/>
                <a:gd name="connsiteY2506" fmla="*/ 8145 h 10000"/>
                <a:gd name="connsiteX2507" fmla="*/ 442 w 10785"/>
                <a:gd name="connsiteY2507" fmla="*/ 8162 h 10000"/>
                <a:gd name="connsiteX2508" fmla="*/ 442 w 10785"/>
                <a:gd name="connsiteY2508" fmla="*/ 8171 h 10000"/>
                <a:gd name="connsiteX2509" fmla="*/ 447 w 10785"/>
                <a:gd name="connsiteY2509" fmla="*/ 8214 h 10000"/>
                <a:gd name="connsiteX2510" fmla="*/ 465 w 10785"/>
                <a:gd name="connsiteY2510" fmla="*/ 8231 h 10000"/>
                <a:gd name="connsiteX2511" fmla="*/ 488 w 10785"/>
                <a:gd name="connsiteY2511" fmla="*/ 8231 h 10000"/>
                <a:gd name="connsiteX2512" fmla="*/ 493 w 10785"/>
                <a:gd name="connsiteY2512" fmla="*/ 8231 h 10000"/>
                <a:gd name="connsiteX2513" fmla="*/ 502 w 10785"/>
                <a:gd name="connsiteY2513" fmla="*/ 8231 h 10000"/>
                <a:gd name="connsiteX2514" fmla="*/ 507 w 10785"/>
                <a:gd name="connsiteY2514" fmla="*/ 8248 h 10000"/>
                <a:gd name="connsiteX2515" fmla="*/ 521 w 10785"/>
                <a:gd name="connsiteY2515" fmla="*/ 8274 h 10000"/>
                <a:gd name="connsiteX2516" fmla="*/ 525 w 10785"/>
                <a:gd name="connsiteY2516" fmla="*/ 8333 h 10000"/>
                <a:gd name="connsiteX2517" fmla="*/ 525 w 10785"/>
                <a:gd name="connsiteY2517" fmla="*/ 8359 h 10000"/>
                <a:gd name="connsiteX2518" fmla="*/ 525 w 10785"/>
                <a:gd name="connsiteY2518" fmla="*/ 8368 h 10000"/>
                <a:gd name="connsiteX2519" fmla="*/ 548 w 10785"/>
                <a:gd name="connsiteY2519" fmla="*/ 8393 h 10000"/>
                <a:gd name="connsiteX2520" fmla="*/ 553 w 10785"/>
                <a:gd name="connsiteY2520" fmla="*/ 8385 h 10000"/>
                <a:gd name="connsiteX2521" fmla="*/ 562 w 10785"/>
                <a:gd name="connsiteY2521" fmla="*/ 8385 h 10000"/>
                <a:gd name="connsiteX2522" fmla="*/ 576 w 10785"/>
                <a:gd name="connsiteY2522" fmla="*/ 8385 h 10000"/>
                <a:gd name="connsiteX2523" fmla="*/ 585 w 10785"/>
                <a:gd name="connsiteY2523" fmla="*/ 8410 h 10000"/>
                <a:gd name="connsiteX2524" fmla="*/ 594 w 10785"/>
                <a:gd name="connsiteY2524" fmla="*/ 8410 h 10000"/>
                <a:gd name="connsiteX2525" fmla="*/ 608 w 10785"/>
                <a:gd name="connsiteY2525" fmla="*/ 8410 h 10000"/>
                <a:gd name="connsiteX2526" fmla="*/ 654 w 10785"/>
                <a:gd name="connsiteY2526" fmla="*/ 8385 h 10000"/>
                <a:gd name="connsiteX2527" fmla="*/ 659 w 10785"/>
                <a:gd name="connsiteY2527" fmla="*/ 8385 h 10000"/>
                <a:gd name="connsiteX2528" fmla="*/ 696 w 10785"/>
                <a:gd name="connsiteY2528" fmla="*/ 8470 h 10000"/>
                <a:gd name="connsiteX2529" fmla="*/ 700 w 10785"/>
                <a:gd name="connsiteY2529" fmla="*/ 8470 h 10000"/>
                <a:gd name="connsiteX2530" fmla="*/ 710 w 10785"/>
                <a:gd name="connsiteY2530" fmla="*/ 8462 h 10000"/>
                <a:gd name="connsiteX2531" fmla="*/ 714 w 10785"/>
                <a:gd name="connsiteY2531" fmla="*/ 8462 h 10000"/>
                <a:gd name="connsiteX2532" fmla="*/ 724 w 10785"/>
                <a:gd name="connsiteY2532" fmla="*/ 8470 h 10000"/>
                <a:gd name="connsiteX2533" fmla="*/ 733 w 10785"/>
                <a:gd name="connsiteY2533" fmla="*/ 8470 h 10000"/>
                <a:gd name="connsiteX2534" fmla="*/ 742 w 10785"/>
                <a:gd name="connsiteY2534" fmla="*/ 8487 h 10000"/>
                <a:gd name="connsiteX2535" fmla="*/ 747 w 10785"/>
                <a:gd name="connsiteY2535" fmla="*/ 8496 h 10000"/>
                <a:gd name="connsiteX2536" fmla="*/ 770 w 10785"/>
                <a:gd name="connsiteY2536" fmla="*/ 8496 h 10000"/>
                <a:gd name="connsiteX2537" fmla="*/ 783 w 10785"/>
                <a:gd name="connsiteY2537" fmla="*/ 8521 h 10000"/>
                <a:gd name="connsiteX2538" fmla="*/ 797 w 10785"/>
                <a:gd name="connsiteY2538" fmla="*/ 8521 h 10000"/>
                <a:gd name="connsiteX2539" fmla="*/ 806 w 10785"/>
                <a:gd name="connsiteY2539" fmla="*/ 8530 h 10000"/>
                <a:gd name="connsiteX2540" fmla="*/ 829 w 10785"/>
                <a:gd name="connsiteY2540" fmla="*/ 8547 h 10000"/>
                <a:gd name="connsiteX2541" fmla="*/ 834 w 10785"/>
                <a:gd name="connsiteY2541" fmla="*/ 8556 h 10000"/>
                <a:gd name="connsiteX2542" fmla="*/ 829 w 10785"/>
                <a:gd name="connsiteY2542" fmla="*/ 8556 h 10000"/>
                <a:gd name="connsiteX2543" fmla="*/ 834 w 10785"/>
                <a:gd name="connsiteY2543" fmla="*/ 8607 h 10000"/>
                <a:gd name="connsiteX2544" fmla="*/ 829 w 10785"/>
                <a:gd name="connsiteY2544" fmla="*/ 8641 h 10000"/>
                <a:gd name="connsiteX2545" fmla="*/ 806 w 10785"/>
                <a:gd name="connsiteY2545" fmla="*/ 8658 h 10000"/>
                <a:gd name="connsiteX2546" fmla="*/ 816 w 10785"/>
                <a:gd name="connsiteY2546" fmla="*/ 8667 h 10000"/>
                <a:gd name="connsiteX2547" fmla="*/ 820 w 10785"/>
                <a:gd name="connsiteY2547" fmla="*/ 8667 h 10000"/>
                <a:gd name="connsiteX2548" fmla="*/ 829 w 10785"/>
                <a:gd name="connsiteY2548" fmla="*/ 8684 h 10000"/>
                <a:gd name="connsiteX2549" fmla="*/ 806 w 10785"/>
                <a:gd name="connsiteY2549" fmla="*/ 8692 h 10000"/>
                <a:gd name="connsiteX2550" fmla="*/ 802 w 10785"/>
                <a:gd name="connsiteY2550" fmla="*/ 8709 h 10000"/>
                <a:gd name="connsiteX2551" fmla="*/ 802 w 10785"/>
                <a:gd name="connsiteY2551" fmla="*/ 8735 h 10000"/>
                <a:gd name="connsiteX2552" fmla="*/ 806 w 10785"/>
                <a:gd name="connsiteY2552" fmla="*/ 8744 h 10000"/>
                <a:gd name="connsiteX2553" fmla="*/ 816 w 10785"/>
                <a:gd name="connsiteY2553" fmla="*/ 8752 h 10000"/>
                <a:gd name="connsiteX2554" fmla="*/ 806 w 10785"/>
                <a:gd name="connsiteY2554" fmla="*/ 8778 h 10000"/>
                <a:gd name="connsiteX2555" fmla="*/ 820 w 10785"/>
                <a:gd name="connsiteY2555" fmla="*/ 8778 h 10000"/>
                <a:gd name="connsiteX2556" fmla="*/ 806 w 10785"/>
                <a:gd name="connsiteY2556" fmla="*/ 8880 h 10000"/>
                <a:gd name="connsiteX2557" fmla="*/ 797 w 10785"/>
                <a:gd name="connsiteY2557" fmla="*/ 8880 h 10000"/>
                <a:gd name="connsiteX2558" fmla="*/ 783 w 10785"/>
                <a:gd name="connsiteY2558" fmla="*/ 8872 h 10000"/>
                <a:gd name="connsiteX2559" fmla="*/ 770 w 10785"/>
                <a:gd name="connsiteY2559" fmla="*/ 8880 h 10000"/>
                <a:gd name="connsiteX2560" fmla="*/ 756 w 10785"/>
                <a:gd name="connsiteY2560" fmla="*/ 8855 h 10000"/>
                <a:gd name="connsiteX2561" fmla="*/ 733 w 10785"/>
                <a:gd name="connsiteY2561" fmla="*/ 8906 h 10000"/>
                <a:gd name="connsiteX2562" fmla="*/ 714 w 10785"/>
                <a:gd name="connsiteY2562" fmla="*/ 8915 h 10000"/>
                <a:gd name="connsiteX2563" fmla="*/ 710 w 10785"/>
                <a:gd name="connsiteY2563" fmla="*/ 8940 h 10000"/>
                <a:gd name="connsiteX2564" fmla="*/ 710 w 10785"/>
                <a:gd name="connsiteY2564" fmla="*/ 9009 h 10000"/>
                <a:gd name="connsiteX2565" fmla="*/ 728 w 10785"/>
                <a:gd name="connsiteY2565" fmla="*/ 8991 h 10000"/>
                <a:gd name="connsiteX2566" fmla="*/ 733 w 10785"/>
                <a:gd name="connsiteY2566" fmla="*/ 8991 h 10000"/>
                <a:gd name="connsiteX2567" fmla="*/ 747 w 10785"/>
                <a:gd name="connsiteY2567" fmla="*/ 8983 h 10000"/>
                <a:gd name="connsiteX2568" fmla="*/ 760 w 10785"/>
                <a:gd name="connsiteY2568" fmla="*/ 8983 h 10000"/>
                <a:gd name="connsiteX2569" fmla="*/ 770 w 10785"/>
                <a:gd name="connsiteY2569" fmla="*/ 8983 h 10000"/>
                <a:gd name="connsiteX2570" fmla="*/ 770 w 10785"/>
                <a:gd name="connsiteY2570" fmla="*/ 8991 h 10000"/>
                <a:gd name="connsiteX2571" fmla="*/ 783 w 10785"/>
                <a:gd name="connsiteY2571" fmla="*/ 8991 h 10000"/>
                <a:gd name="connsiteX2572" fmla="*/ 783 w 10785"/>
                <a:gd name="connsiteY2572" fmla="*/ 9009 h 10000"/>
                <a:gd name="connsiteX2573" fmla="*/ 783 w 10785"/>
                <a:gd name="connsiteY2573" fmla="*/ 9017 h 10000"/>
                <a:gd name="connsiteX2574" fmla="*/ 770 w 10785"/>
                <a:gd name="connsiteY2574" fmla="*/ 9017 h 10000"/>
                <a:gd name="connsiteX2575" fmla="*/ 724 w 10785"/>
                <a:gd name="connsiteY2575" fmla="*/ 9051 h 10000"/>
                <a:gd name="connsiteX2576" fmla="*/ 724 w 10785"/>
                <a:gd name="connsiteY2576" fmla="*/ 9068 h 10000"/>
                <a:gd name="connsiteX2577" fmla="*/ 728 w 10785"/>
                <a:gd name="connsiteY2577" fmla="*/ 9077 h 10000"/>
                <a:gd name="connsiteX2578" fmla="*/ 724 w 10785"/>
                <a:gd name="connsiteY2578" fmla="*/ 9077 h 10000"/>
                <a:gd name="connsiteX2579" fmla="*/ 710 w 10785"/>
                <a:gd name="connsiteY2579" fmla="*/ 9077 h 10000"/>
                <a:gd name="connsiteX2580" fmla="*/ 682 w 10785"/>
                <a:gd name="connsiteY2580" fmla="*/ 9077 h 10000"/>
                <a:gd name="connsiteX2581" fmla="*/ 673 w 10785"/>
                <a:gd name="connsiteY2581" fmla="*/ 9103 h 10000"/>
                <a:gd name="connsiteX2582" fmla="*/ 687 w 10785"/>
                <a:gd name="connsiteY2582" fmla="*/ 9128 h 10000"/>
                <a:gd name="connsiteX2583" fmla="*/ 700 w 10785"/>
                <a:gd name="connsiteY2583" fmla="*/ 9128 h 10000"/>
                <a:gd name="connsiteX2584" fmla="*/ 728 w 10785"/>
                <a:gd name="connsiteY2584" fmla="*/ 9179 h 10000"/>
                <a:gd name="connsiteX2585" fmla="*/ 724 w 10785"/>
                <a:gd name="connsiteY2585" fmla="*/ 9188 h 10000"/>
                <a:gd name="connsiteX2586" fmla="*/ 710 w 10785"/>
                <a:gd name="connsiteY2586" fmla="*/ 9179 h 10000"/>
                <a:gd name="connsiteX2587" fmla="*/ 700 w 10785"/>
                <a:gd name="connsiteY2587" fmla="*/ 9205 h 10000"/>
                <a:gd name="connsiteX2588" fmla="*/ 696 w 10785"/>
                <a:gd name="connsiteY2588" fmla="*/ 9205 h 10000"/>
                <a:gd name="connsiteX2589" fmla="*/ 654 w 10785"/>
                <a:gd name="connsiteY2589" fmla="*/ 9299 h 10000"/>
                <a:gd name="connsiteX2590" fmla="*/ 622 w 10785"/>
                <a:gd name="connsiteY2590" fmla="*/ 9299 h 10000"/>
                <a:gd name="connsiteX2591" fmla="*/ 613 w 10785"/>
                <a:gd name="connsiteY2591" fmla="*/ 9316 h 10000"/>
                <a:gd name="connsiteX2592" fmla="*/ 613 w 10785"/>
                <a:gd name="connsiteY2592" fmla="*/ 9325 h 10000"/>
                <a:gd name="connsiteX2593" fmla="*/ 608 w 10785"/>
                <a:gd name="connsiteY2593" fmla="*/ 9342 h 10000"/>
                <a:gd name="connsiteX2594" fmla="*/ 636 w 10785"/>
                <a:gd name="connsiteY2594" fmla="*/ 9376 h 10000"/>
                <a:gd name="connsiteX2595" fmla="*/ 641 w 10785"/>
                <a:gd name="connsiteY2595" fmla="*/ 9402 h 10000"/>
                <a:gd name="connsiteX2596" fmla="*/ 654 w 10785"/>
                <a:gd name="connsiteY2596" fmla="*/ 9427 h 10000"/>
                <a:gd name="connsiteX2597" fmla="*/ 668 w 10785"/>
                <a:gd name="connsiteY2597" fmla="*/ 9427 h 10000"/>
                <a:gd name="connsiteX2598" fmla="*/ 668 w 10785"/>
                <a:gd name="connsiteY2598" fmla="*/ 9427 h 10000"/>
                <a:gd name="connsiteX2599" fmla="*/ 774 w 10785"/>
                <a:gd name="connsiteY2599" fmla="*/ 9547 h 10000"/>
                <a:gd name="connsiteX2600" fmla="*/ 797 w 10785"/>
                <a:gd name="connsiteY2600" fmla="*/ 9598 h 10000"/>
                <a:gd name="connsiteX2601" fmla="*/ 802 w 10785"/>
                <a:gd name="connsiteY2601" fmla="*/ 9598 h 10000"/>
                <a:gd name="connsiteX2602" fmla="*/ 816 w 10785"/>
                <a:gd name="connsiteY2602" fmla="*/ 9624 h 10000"/>
                <a:gd name="connsiteX2603" fmla="*/ 843 w 10785"/>
                <a:gd name="connsiteY2603" fmla="*/ 9615 h 10000"/>
                <a:gd name="connsiteX2604" fmla="*/ 857 w 10785"/>
                <a:gd name="connsiteY2604" fmla="*/ 9624 h 10000"/>
                <a:gd name="connsiteX2605" fmla="*/ 862 w 10785"/>
                <a:gd name="connsiteY2605" fmla="*/ 9615 h 10000"/>
                <a:gd name="connsiteX2606" fmla="*/ 880 w 10785"/>
                <a:gd name="connsiteY2606" fmla="*/ 9624 h 10000"/>
                <a:gd name="connsiteX2607" fmla="*/ 889 w 10785"/>
                <a:gd name="connsiteY2607" fmla="*/ 9641 h 10000"/>
                <a:gd name="connsiteX2608" fmla="*/ 935 w 10785"/>
                <a:gd name="connsiteY2608" fmla="*/ 9675 h 10000"/>
                <a:gd name="connsiteX2609" fmla="*/ 977 w 10785"/>
                <a:gd name="connsiteY2609" fmla="*/ 9667 h 10000"/>
                <a:gd name="connsiteX2610" fmla="*/ 995 w 10785"/>
                <a:gd name="connsiteY2610" fmla="*/ 9675 h 10000"/>
                <a:gd name="connsiteX2611" fmla="*/ 1014 w 10785"/>
                <a:gd name="connsiteY2611" fmla="*/ 9675 h 10000"/>
                <a:gd name="connsiteX2612" fmla="*/ 1069 w 10785"/>
                <a:gd name="connsiteY2612" fmla="*/ 9752 h 10000"/>
                <a:gd name="connsiteX2613" fmla="*/ 1074 w 10785"/>
                <a:gd name="connsiteY2613" fmla="*/ 9761 h 10000"/>
                <a:gd name="connsiteX2614" fmla="*/ 1083 w 10785"/>
                <a:gd name="connsiteY2614" fmla="*/ 9778 h 10000"/>
                <a:gd name="connsiteX2615" fmla="*/ 1115 w 10785"/>
                <a:gd name="connsiteY2615" fmla="*/ 9752 h 10000"/>
                <a:gd name="connsiteX2616" fmla="*/ 1129 w 10785"/>
                <a:gd name="connsiteY2616" fmla="*/ 9752 h 10000"/>
                <a:gd name="connsiteX2617" fmla="*/ 1138 w 10785"/>
                <a:gd name="connsiteY2617" fmla="*/ 9761 h 10000"/>
                <a:gd name="connsiteX2618" fmla="*/ 1143 w 10785"/>
                <a:gd name="connsiteY2618" fmla="*/ 9752 h 10000"/>
                <a:gd name="connsiteX2619" fmla="*/ 1161 w 10785"/>
                <a:gd name="connsiteY2619" fmla="*/ 9761 h 10000"/>
                <a:gd name="connsiteX2620" fmla="*/ 1171 w 10785"/>
                <a:gd name="connsiteY2620" fmla="*/ 9778 h 10000"/>
                <a:gd name="connsiteX2621" fmla="*/ 1175 w 10785"/>
                <a:gd name="connsiteY2621" fmla="*/ 9778 h 10000"/>
                <a:gd name="connsiteX2622" fmla="*/ 1189 w 10785"/>
                <a:gd name="connsiteY2622" fmla="*/ 9778 h 10000"/>
                <a:gd name="connsiteX2623" fmla="*/ 1198 w 10785"/>
                <a:gd name="connsiteY2623" fmla="*/ 9786 h 10000"/>
                <a:gd name="connsiteX2624" fmla="*/ 1203 w 10785"/>
                <a:gd name="connsiteY2624" fmla="*/ 9803 h 10000"/>
                <a:gd name="connsiteX2625" fmla="*/ 1198 w 10785"/>
                <a:gd name="connsiteY2625" fmla="*/ 9838 h 10000"/>
                <a:gd name="connsiteX2626" fmla="*/ 1212 w 10785"/>
                <a:gd name="connsiteY2626" fmla="*/ 9863 h 10000"/>
                <a:gd name="connsiteX2627" fmla="*/ 1230 w 10785"/>
                <a:gd name="connsiteY2627" fmla="*/ 9872 h 10000"/>
                <a:gd name="connsiteX2628" fmla="*/ 1249 w 10785"/>
                <a:gd name="connsiteY2628" fmla="*/ 9897 h 10000"/>
                <a:gd name="connsiteX2629" fmla="*/ 1263 w 10785"/>
                <a:gd name="connsiteY2629" fmla="*/ 9897 h 10000"/>
                <a:gd name="connsiteX2630" fmla="*/ 1276 w 10785"/>
                <a:gd name="connsiteY2630" fmla="*/ 9923 h 10000"/>
                <a:gd name="connsiteX2631" fmla="*/ 1281 w 10785"/>
                <a:gd name="connsiteY2631" fmla="*/ 9949 h 10000"/>
                <a:gd name="connsiteX2632" fmla="*/ 1290 w 10785"/>
                <a:gd name="connsiteY2632" fmla="*/ 9949 h 10000"/>
                <a:gd name="connsiteX2633" fmla="*/ 1295 w 10785"/>
                <a:gd name="connsiteY2633" fmla="*/ 10000 h 10000"/>
                <a:gd name="connsiteX2634" fmla="*/ 1332 w 10785"/>
                <a:gd name="connsiteY2634" fmla="*/ 10000 h 10000"/>
                <a:gd name="connsiteX2635" fmla="*/ 1336 w 10785"/>
                <a:gd name="connsiteY2635" fmla="*/ 10000 h 10000"/>
                <a:gd name="connsiteX2636" fmla="*/ 1346 w 10785"/>
                <a:gd name="connsiteY2636" fmla="*/ 9983 h 10000"/>
                <a:gd name="connsiteX2637" fmla="*/ 1350 w 10785"/>
                <a:gd name="connsiteY2637" fmla="*/ 9949 h 10000"/>
                <a:gd name="connsiteX2638" fmla="*/ 1369 w 10785"/>
                <a:gd name="connsiteY2638" fmla="*/ 9940 h 10000"/>
                <a:gd name="connsiteX2639" fmla="*/ 1378 w 10785"/>
                <a:gd name="connsiteY2639" fmla="*/ 9897 h 10000"/>
                <a:gd name="connsiteX2640" fmla="*/ 1369 w 10785"/>
                <a:gd name="connsiteY2640" fmla="*/ 9889 h 10000"/>
                <a:gd name="connsiteX2641" fmla="*/ 1318 w 10785"/>
                <a:gd name="connsiteY2641" fmla="*/ 9701 h 10000"/>
                <a:gd name="connsiteX2642" fmla="*/ 1318 w 10785"/>
                <a:gd name="connsiteY2642" fmla="*/ 9650 h 10000"/>
                <a:gd name="connsiteX2643" fmla="*/ 1323 w 10785"/>
                <a:gd name="connsiteY2643" fmla="*/ 9590 h 10000"/>
                <a:gd name="connsiteX2644" fmla="*/ 1323 w 10785"/>
                <a:gd name="connsiteY2644" fmla="*/ 9564 h 10000"/>
                <a:gd name="connsiteX2645" fmla="*/ 1309 w 10785"/>
                <a:gd name="connsiteY2645" fmla="*/ 9598 h 10000"/>
                <a:gd name="connsiteX2646" fmla="*/ 1309 w 10785"/>
                <a:gd name="connsiteY2646" fmla="*/ 9590 h 10000"/>
                <a:gd name="connsiteX2647" fmla="*/ 1304 w 10785"/>
                <a:gd name="connsiteY2647" fmla="*/ 9547 h 10000"/>
                <a:gd name="connsiteX2648" fmla="*/ 1276 w 10785"/>
                <a:gd name="connsiteY2648" fmla="*/ 9479 h 10000"/>
                <a:gd name="connsiteX2649" fmla="*/ 1263 w 10785"/>
                <a:gd name="connsiteY2649" fmla="*/ 9479 h 10000"/>
                <a:gd name="connsiteX2650" fmla="*/ 1263 w 10785"/>
                <a:gd name="connsiteY2650" fmla="*/ 9453 h 10000"/>
                <a:gd name="connsiteX2651" fmla="*/ 1272 w 10785"/>
                <a:gd name="connsiteY2651" fmla="*/ 9410 h 10000"/>
                <a:gd name="connsiteX2652" fmla="*/ 1272 w 10785"/>
                <a:gd name="connsiteY2652" fmla="*/ 9393 h 10000"/>
                <a:gd name="connsiteX2653" fmla="*/ 1281 w 10785"/>
                <a:gd name="connsiteY2653" fmla="*/ 9368 h 10000"/>
                <a:gd name="connsiteX2654" fmla="*/ 1281 w 10785"/>
                <a:gd name="connsiteY2654" fmla="*/ 9368 h 10000"/>
                <a:gd name="connsiteX2655" fmla="*/ 1290 w 10785"/>
                <a:gd name="connsiteY2655" fmla="*/ 9368 h 10000"/>
                <a:gd name="connsiteX2656" fmla="*/ 1290 w 10785"/>
                <a:gd name="connsiteY2656" fmla="*/ 9342 h 10000"/>
                <a:gd name="connsiteX2657" fmla="*/ 1304 w 10785"/>
                <a:gd name="connsiteY2657" fmla="*/ 9325 h 10000"/>
                <a:gd name="connsiteX2658" fmla="*/ 1309 w 10785"/>
                <a:gd name="connsiteY2658" fmla="*/ 9239 h 10000"/>
                <a:gd name="connsiteX2659" fmla="*/ 1318 w 10785"/>
                <a:gd name="connsiteY2659" fmla="*/ 9256 h 10000"/>
                <a:gd name="connsiteX2660" fmla="*/ 1323 w 10785"/>
                <a:gd name="connsiteY2660" fmla="*/ 9179 h 10000"/>
                <a:gd name="connsiteX2661" fmla="*/ 1309 w 10785"/>
                <a:gd name="connsiteY2661" fmla="*/ 9145 h 10000"/>
                <a:gd name="connsiteX2662" fmla="*/ 1336 w 10785"/>
                <a:gd name="connsiteY2662" fmla="*/ 9154 h 10000"/>
                <a:gd name="connsiteX2663" fmla="*/ 1336 w 10785"/>
                <a:gd name="connsiteY2663" fmla="*/ 9162 h 10000"/>
                <a:gd name="connsiteX2664" fmla="*/ 1350 w 10785"/>
                <a:gd name="connsiteY2664" fmla="*/ 9231 h 10000"/>
                <a:gd name="connsiteX2665" fmla="*/ 1355 w 10785"/>
                <a:gd name="connsiteY2665" fmla="*/ 9231 h 10000"/>
                <a:gd name="connsiteX2666" fmla="*/ 1364 w 10785"/>
                <a:gd name="connsiteY2666" fmla="*/ 9214 h 10000"/>
                <a:gd name="connsiteX2667" fmla="*/ 1369 w 10785"/>
                <a:gd name="connsiteY2667" fmla="*/ 9214 h 10000"/>
                <a:gd name="connsiteX2668" fmla="*/ 1382 w 10785"/>
                <a:gd name="connsiteY2668" fmla="*/ 9154 h 10000"/>
                <a:gd name="connsiteX2669" fmla="*/ 1396 w 10785"/>
                <a:gd name="connsiteY2669" fmla="*/ 9154 h 10000"/>
                <a:gd name="connsiteX2670" fmla="*/ 1382 w 10785"/>
                <a:gd name="connsiteY2670" fmla="*/ 9145 h 10000"/>
                <a:gd name="connsiteX2671" fmla="*/ 1382 w 10785"/>
                <a:gd name="connsiteY2671" fmla="*/ 9128 h 10000"/>
                <a:gd name="connsiteX2672" fmla="*/ 1369 w 10785"/>
                <a:gd name="connsiteY2672" fmla="*/ 9128 h 10000"/>
                <a:gd name="connsiteX2673" fmla="*/ 1364 w 10785"/>
                <a:gd name="connsiteY2673" fmla="*/ 9128 h 10000"/>
                <a:gd name="connsiteX2674" fmla="*/ 1355 w 10785"/>
                <a:gd name="connsiteY2674" fmla="*/ 9120 h 10000"/>
                <a:gd name="connsiteX2675" fmla="*/ 1350 w 10785"/>
                <a:gd name="connsiteY2675" fmla="*/ 9103 h 10000"/>
                <a:gd name="connsiteX2676" fmla="*/ 1355 w 10785"/>
                <a:gd name="connsiteY2676" fmla="*/ 9094 h 10000"/>
                <a:gd name="connsiteX2677" fmla="*/ 1355 w 10785"/>
                <a:gd name="connsiteY2677" fmla="*/ 9068 h 10000"/>
                <a:gd name="connsiteX2678" fmla="*/ 1369 w 10785"/>
                <a:gd name="connsiteY2678" fmla="*/ 9068 h 10000"/>
                <a:gd name="connsiteX2679" fmla="*/ 1378 w 10785"/>
                <a:gd name="connsiteY2679" fmla="*/ 9077 h 10000"/>
                <a:gd name="connsiteX2680" fmla="*/ 1396 w 10785"/>
                <a:gd name="connsiteY2680" fmla="*/ 9068 h 10000"/>
                <a:gd name="connsiteX2681" fmla="*/ 1382 w 10785"/>
                <a:gd name="connsiteY2681" fmla="*/ 8940 h 10000"/>
                <a:gd name="connsiteX2682" fmla="*/ 1378 w 10785"/>
                <a:gd name="connsiteY2682" fmla="*/ 8940 h 10000"/>
                <a:gd name="connsiteX2683" fmla="*/ 1364 w 10785"/>
                <a:gd name="connsiteY2683" fmla="*/ 8889 h 10000"/>
                <a:gd name="connsiteX2684" fmla="*/ 1355 w 10785"/>
                <a:gd name="connsiteY2684" fmla="*/ 8880 h 10000"/>
                <a:gd name="connsiteX2685" fmla="*/ 1323 w 10785"/>
                <a:gd name="connsiteY2685" fmla="*/ 8880 h 10000"/>
                <a:gd name="connsiteX2686" fmla="*/ 1309 w 10785"/>
                <a:gd name="connsiteY2686" fmla="*/ 8880 h 10000"/>
                <a:gd name="connsiteX2687" fmla="*/ 1309 w 10785"/>
                <a:gd name="connsiteY2687" fmla="*/ 8889 h 10000"/>
                <a:gd name="connsiteX2688" fmla="*/ 1295 w 10785"/>
                <a:gd name="connsiteY2688" fmla="*/ 8872 h 10000"/>
                <a:gd name="connsiteX2689" fmla="*/ 1290 w 10785"/>
                <a:gd name="connsiteY2689" fmla="*/ 8855 h 10000"/>
                <a:gd name="connsiteX2690" fmla="*/ 1290 w 10785"/>
                <a:gd name="connsiteY2690" fmla="*/ 8829 h 10000"/>
                <a:gd name="connsiteX2691" fmla="*/ 1290 w 10785"/>
                <a:gd name="connsiteY2691" fmla="*/ 8821 h 10000"/>
                <a:gd name="connsiteX2692" fmla="*/ 1290 w 10785"/>
                <a:gd name="connsiteY2692" fmla="*/ 8803 h 10000"/>
                <a:gd name="connsiteX2693" fmla="*/ 1281 w 10785"/>
                <a:gd name="connsiteY2693" fmla="*/ 8795 h 10000"/>
                <a:gd name="connsiteX2694" fmla="*/ 1249 w 10785"/>
                <a:gd name="connsiteY2694" fmla="*/ 8769 h 10000"/>
                <a:gd name="connsiteX2695" fmla="*/ 1263 w 10785"/>
                <a:gd name="connsiteY2695" fmla="*/ 8667 h 10000"/>
                <a:gd name="connsiteX2696" fmla="*/ 1281 w 10785"/>
                <a:gd name="connsiteY2696" fmla="*/ 8658 h 10000"/>
                <a:gd name="connsiteX2697" fmla="*/ 1290 w 10785"/>
                <a:gd name="connsiteY2697" fmla="*/ 8632 h 10000"/>
                <a:gd name="connsiteX2698" fmla="*/ 1281 w 10785"/>
                <a:gd name="connsiteY2698" fmla="*/ 8615 h 10000"/>
                <a:gd name="connsiteX2699" fmla="*/ 1272 w 10785"/>
                <a:gd name="connsiteY2699" fmla="*/ 8598 h 10000"/>
                <a:gd name="connsiteX2700" fmla="*/ 1281 w 10785"/>
                <a:gd name="connsiteY2700" fmla="*/ 8496 h 10000"/>
                <a:gd name="connsiteX2701" fmla="*/ 1295 w 10785"/>
                <a:gd name="connsiteY2701" fmla="*/ 8470 h 10000"/>
                <a:gd name="connsiteX2702" fmla="*/ 1304 w 10785"/>
                <a:gd name="connsiteY2702" fmla="*/ 8462 h 10000"/>
                <a:gd name="connsiteX2703" fmla="*/ 1304 w 10785"/>
                <a:gd name="connsiteY2703" fmla="*/ 8444 h 10000"/>
                <a:gd name="connsiteX2704" fmla="*/ 1304 w 10785"/>
                <a:gd name="connsiteY2704" fmla="*/ 8419 h 10000"/>
                <a:gd name="connsiteX2705" fmla="*/ 1304 w 10785"/>
                <a:gd name="connsiteY2705" fmla="*/ 8410 h 10000"/>
                <a:gd name="connsiteX2706" fmla="*/ 1309 w 10785"/>
                <a:gd name="connsiteY2706" fmla="*/ 8393 h 10000"/>
                <a:gd name="connsiteX2707" fmla="*/ 1318 w 10785"/>
                <a:gd name="connsiteY2707" fmla="*/ 8385 h 10000"/>
                <a:gd name="connsiteX2708" fmla="*/ 1323 w 10785"/>
                <a:gd name="connsiteY2708" fmla="*/ 8385 h 10000"/>
                <a:gd name="connsiteX2709" fmla="*/ 1332 w 10785"/>
                <a:gd name="connsiteY2709" fmla="*/ 8410 h 10000"/>
                <a:gd name="connsiteX2710" fmla="*/ 1346 w 10785"/>
                <a:gd name="connsiteY2710" fmla="*/ 8419 h 10000"/>
                <a:gd name="connsiteX2711" fmla="*/ 1364 w 10785"/>
                <a:gd name="connsiteY2711" fmla="*/ 8504 h 10000"/>
                <a:gd name="connsiteX2712" fmla="*/ 1369 w 10785"/>
                <a:gd name="connsiteY2712" fmla="*/ 8521 h 10000"/>
                <a:gd name="connsiteX2713" fmla="*/ 1406 w 10785"/>
                <a:gd name="connsiteY2713" fmla="*/ 8470 h 10000"/>
                <a:gd name="connsiteX2714" fmla="*/ 1382 w 10785"/>
                <a:gd name="connsiteY2714" fmla="*/ 8359 h 10000"/>
                <a:gd name="connsiteX2715" fmla="*/ 1392 w 10785"/>
                <a:gd name="connsiteY2715" fmla="*/ 8359 h 10000"/>
                <a:gd name="connsiteX2716" fmla="*/ 1438 w 10785"/>
                <a:gd name="connsiteY2716" fmla="*/ 8308 h 10000"/>
                <a:gd name="connsiteX2717" fmla="*/ 1442 w 10785"/>
                <a:gd name="connsiteY2717" fmla="*/ 8299 h 10000"/>
                <a:gd name="connsiteX2718" fmla="*/ 1442 w 10785"/>
                <a:gd name="connsiteY2718" fmla="*/ 8256 h 10000"/>
                <a:gd name="connsiteX2719" fmla="*/ 1452 w 10785"/>
                <a:gd name="connsiteY2719" fmla="*/ 8256 h 10000"/>
                <a:gd name="connsiteX2720" fmla="*/ 1456 w 10785"/>
                <a:gd name="connsiteY2720" fmla="*/ 8256 h 10000"/>
                <a:gd name="connsiteX2721" fmla="*/ 1470 w 10785"/>
                <a:gd name="connsiteY2721" fmla="*/ 8248 h 10000"/>
                <a:gd name="connsiteX2722" fmla="*/ 1479 w 10785"/>
                <a:gd name="connsiteY2722" fmla="*/ 8231 h 10000"/>
                <a:gd name="connsiteX2723" fmla="*/ 1493 w 10785"/>
                <a:gd name="connsiteY2723" fmla="*/ 8222 h 10000"/>
                <a:gd name="connsiteX2724" fmla="*/ 1498 w 10785"/>
                <a:gd name="connsiteY2724" fmla="*/ 8214 h 10000"/>
                <a:gd name="connsiteX2725" fmla="*/ 1502 w 10785"/>
                <a:gd name="connsiteY2725" fmla="*/ 8197 h 10000"/>
                <a:gd name="connsiteX2726" fmla="*/ 1512 w 10785"/>
                <a:gd name="connsiteY2726" fmla="*/ 8188 h 10000"/>
                <a:gd name="connsiteX2727" fmla="*/ 1516 w 10785"/>
                <a:gd name="connsiteY2727" fmla="*/ 8171 h 10000"/>
                <a:gd name="connsiteX2728" fmla="*/ 1525 w 10785"/>
                <a:gd name="connsiteY2728" fmla="*/ 8162 h 10000"/>
                <a:gd name="connsiteX2729" fmla="*/ 1539 w 10785"/>
                <a:gd name="connsiteY2729" fmla="*/ 8145 h 10000"/>
                <a:gd name="connsiteX2730" fmla="*/ 1558 w 10785"/>
                <a:gd name="connsiteY2730" fmla="*/ 8145 h 10000"/>
                <a:gd name="connsiteX2731" fmla="*/ 1562 w 10785"/>
                <a:gd name="connsiteY2731" fmla="*/ 8188 h 10000"/>
                <a:gd name="connsiteX2732" fmla="*/ 1585 w 10785"/>
                <a:gd name="connsiteY2732" fmla="*/ 8171 h 10000"/>
                <a:gd name="connsiteX2733" fmla="*/ 1590 w 10785"/>
                <a:gd name="connsiteY2733" fmla="*/ 8188 h 10000"/>
                <a:gd name="connsiteX2734" fmla="*/ 1599 w 10785"/>
                <a:gd name="connsiteY2734" fmla="*/ 8171 h 10000"/>
                <a:gd name="connsiteX2735" fmla="*/ 1599 w 10785"/>
                <a:gd name="connsiteY2735" fmla="*/ 8162 h 10000"/>
                <a:gd name="connsiteX2736" fmla="*/ 1604 w 10785"/>
                <a:gd name="connsiteY2736" fmla="*/ 8137 h 10000"/>
                <a:gd name="connsiteX2737" fmla="*/ 1618 w 10785"/>
                <a:gd name="connsiteY2737" fmla="*/ 8145 h 10000"/>
                <a:gd name="connsiteX2738" fmla="*/ 1627 w 10785"/>
                <a:gd name="connsiteY2738" fmla="*/ 8137 h 10000"/>
                <a:gd name="connsiteX2739" fmla="*/ 1631 w 10785"/>
                <a:gd name="connsiteY2739" fmla="*/ 8137 h 10000"/>
                <a:gd name="connsiteX2740" fmla="*/ 1636 w 10785"/>
                <a:gd name="connsiteY2740" fmla="*/ 8171 h 10000"/>
                <a:gd name="connsiteX2741" fmla="*/ 1645 w 10785"/>
                <a:gd name="connsiteY2741" fmla="*/ 8188 h 10000"/>
                <a:gd name="connsiteX2742" fmla="*/ 1664 w 10785"/>
                <a:gd name="connsiteY2742" fmla="*/ 8171 h 10000"/>
                <a:gd name="connsiteX2743" fmla="*/ 1673 w 10785"/>
                <a:gd name="connsiteY2743" fmla="*/ 8188 h 10000"/>
                <a:gd name="connsiteX2744" fmla="*/ 1691 w 10785"/>
                <a:gd name="connsiteY2744" fmla="*/ 8171 h 10000"/>
                <a:gd name="connsiteX2745" fmla="*/ 1705 w 10785"/>
                <a:gd name="connsiteY2745" fmla="*/ 8171 h 10000"/>
                <a:gd name="connsiteX2746" fmla="*/ 1719 w 10785"/>
                <a:gd name="connsiteY2746" fmla="*/ 8197 h 10000"/>
                <a:gd name="connsiteX2747" fmla="*/ 1724 w 10785"/>
                <a:gd name="connsiteY2747" fmla="*/ 8231 h 10000"/>
                <a:gd name="connsiteX2748" fmla="*/ 1751 w 10785"/>
                <a:gd name="connsiteY2748" fmla="*/ 8256 h 10000"/>
                <a:gd name="connsiteX2749" fmla="*/ 1751 w 10785"/>
                <a:gd name="connsiteY2749" fmla="*/ 8274 h 10000"/>
                <a:gd name="connsiteX2750" fmla="*/ 1760 w 10785"/>
                <a:gd name="connsiteY2750" fmla="*/ 8282 h 10000"/>
                <a:gd name="connsiteX2751" fmla="*/ 1770 w 10785"/>
                <a:gd name="connsiteY2751" fmla="*/ 8325 h 10000"/>
                <a:gd name="connsiteX2752" fmla="*/ 1770 w 10785"/>
                <a:gd name="connsiteY2752" fmla="*/ 8350 h 10000"/>
                <a:gd name="connsiteX2753" fmla="*/ 1779 w 10785"/>
                <a:gd name="connsiteY2753" fmla="*/ 8368 h 10000"/>
                <a:gd name="connsiteX2754" fmla="*/ 1783 w 10785"/>
                <a:gd name="connsiteY2754" fmla="*/ 8359 h 10000"/>
                <a:gd name="connsiteX2755" fmla="*/ 1783 w 10785"/>
                <a:gd name="connsiteY2755" fmla="*/ 8308 h 10000"/>
                <a:gd name="connsiteX2756" fmla="*/ 1779 w 10785"/>
                <a:gd name="connsiteY2756" fmla="*/ 8299 h 10000"/>
                <a:gd name="connsiteX2757" fmla="*/ 1783 w 10785"/>
                <a:gd name="connsiteY2757" fmla="*/ 8282 h 10000"/>
                <a:gd name="connsiteX2758" fmla="*/ 1797 w 10785"/>
                <a:gd name="connsiteY2758" fmla="*/ 8274 h 10000"/>
                <a:gd name="connsiteX2759" fmla="*/ 1797 w 10785"/>
                <a:gd name="connsiteY2759" fmla="*/ 8299 h 10000"/>
                <a:gd name="connsiteX2760" fmla="*/ 1806 w 10785"/>
                <a:gd name="connsiteY2760" fmla="*/ 8308 h 10000"/>
                <a:gd name="connsiteX2761" fmla="*/ 1811 w 10785"/>
                <a:gd name="connsiteY2761" fmla="*/ 8325 h 10000"/>
                <a:gd name="connsiteX2762" fmla="*/ 1820 w 10785"/>
                <a:gd name="connsiteY2762" fmla="*/ 8333 h 10000"/>
                <a:gd name="connsiteX2763" fmla="*/ 1853 w 10785"/>
                <a:gd name="connsiteY2763" fmla="*/ 8359 h 10000"/>
                <a:gd name="connsiteX2764" fmla="*/ 1866 w 10785"/>
                <a:gd name="connsiteY2764" fmla="*/ 8359 h 10000"/>
                <a:gd name="connsiteX2765" fmla="*/ 1885 w 10785"/>
                <a:gd name="connsiteY2765" fmla="*/ 8325 h 10000"/>
                <a:gd name="connsiteX2766" fmla="*/ 1885 w 10785"/>
                <a:gd name="connsiteY2766" fmla="*/ 8308 h 10000"/>
                <a:gd name="connsiteX2767" fmla="*/ 1894 w 10785"/>
                <a:gd name="connsiteY2767" fmla="*/ 8299 h 10000"/>
                <a:gd name="connsiteX2768" fmla="*/ 1899 w 10785"/>
                <a:gd name="connsiteY2768" fmla="*/ 8282 h 10000"/>
                <a:gd name="connsiteX2769" fmla="*/ 1912 w 10785"/>
                <a:gd name="connsiteY2769" fmla="*/ 8282 h 10000"/>
                <a:gd name="connsiteX2770" fmla="*/ 1917 w 10785"/>
                <a:gd name="connsiteY2770" fmla="*/ 8299 h 10000"/>
                <a:gd name="connsiteX2771" fmla="*/ 1917 w 10785"/>
                <a:gd name="connsiteY2771" fmla="*/ 8274 h 10000"/>
                <a:gd name="connsiteX2772" fmla="*/ 1940 w 10785"/>
                <a:gd name="connsiteY2772" fmla="*/ 8282 h 10000"/>
                <a:gd name="connsiteX2773" fmla="*/ 1945 w 10785"/>
                <a:gd name="connsiteY2773" fmla="*/ 8274 h 10000"/>
                <a:gd name="connsiteX2774" fmla="*/ 1972 w 10785"/>
                <a:gd name="connsiteY2774" fmla="*/ 8308 h 10000"/>
                <a:gd name="connsiteX2775" fmla="*/ 1986 w 10785"/>
                <a:gd name="connsiteY2775" fmla="*/ 8282 h 10000"/>
                <a:gd name="connsiteX2776" fmla="*/ 1991 w 10785"/>
                <a:gd name="connsiteY2776" fmla="*/ 8274 h 10000"/>
                <a:gd name="connsiteX2777" fmla="*/ 2014 w 10785"/>
                <a:gd name="connsiteY2777" fmla="*/ 8274 h 10000"/>
                <a:gd name="connsiteX2778" fmla="*/ 2018 w 10785"/>
                <a:gd name="connsiteY2778" fmla="*/ 8256 h 10000"/>
                <a:gd name="connsiteX2779" fmla="*/ 2041 w 10785"/>
                <a:gd name="connsiteY2779" fmla="*/ 8274 h 10000"/>
                <a:gd name="connsiteX2780" fmla="*/ 2046 w 10785"/>
                <a:gd name="connsiteY2780" fmla="*/ 8282 h 10000"/>
                <a:gd name="connsiteX2781" fmla="*/ 2046 w 10785"/>
                <a:gd name="connsiteY2781" fmla="*/ 8325 h 10000"/>
                <a:gd name="connsiteX2782" fmla="*/ 2060 w 10785"/>
                <a:gd name="connsiteY2782" fmla="*/ 8350 h 10000"/>
                <a:gd name="connsiteX2783" fmla="*/ 2078 w 10785"/>
                <a:gd name="connsiteY2783" fmla="*/ 8350 h 10000"/>
                <a:gd name="connsiteX2784" fmla="*/ 2092 w 10785"/>
                <a:gd name="connsiteY2784" fmla="*/ 8350 h 10000"/>
                <a:gd name="connsiteX2785" fmla="*/ 2092 w 10785"/>
                <a:gd name="connsiteY2785" fmla="*/ 8350 h 10000"/>
                <a:gd name="connsiteX2786" fmla="*/ 2101 w 10785"/>
                <a:gd name="connsiteY2786" fmla="*/ 8368 h 10000"/>
                <a:gd name="connsiteX2787" fmla="*/ 2120 w 10785"/>
                <a:gd name="connsiteY2787" fmla="*/ 8368 h 10000"/>
                <a:gd name="connsiteX2788" fmla="*/ 2124 w 10785"/>
                <a:gd name="connsiteY2788" fmla="*/ 8359 h 10000"/>
                <a:gd name="connsiteX2789" fmla="*/ 2138 w 10785"/>
                <a:gd name="connsiteY2789" fmla="*/ 8325 h 10000"/>
                <a:gd name="connsiteX2790" fmla="*/ 2147 w 10785"/>
                <a:gd name="connsiteY2790" fmla="*/ 8325 h 10000"/>
                <a:gd name="connsiteX2791" fmla="*/ 2161 w 10785"/>
                <a:gd name="connsiteY2791" fmla="*/ 8350 h 10000"/>
                <a:gd name="connsiteX2792" fmla="*/ 2198 w 10785"/>
                <a:gd name="connsiteY2792" fmla="*/ 8350 h 10000"/>
                <a:gd name="connsiteX2793" fmla="*/ 2207 w 10785"/>
                <a:gd name="connsiteY2793" fmla="*/ 8333 h 10000"/>
                <a:gd name="connsiteX2794" fmla="*/ 2226 w 10785"/>
                <a:gd name="connsiteY2794" fmla="*/ 8325 h 10000"/>
                <a:gd name="connsiteX2795" fmla="*/ 2249 w 10785"/>
                <a:gd name="connsiteY2795" fmla="*/ 8222 h 10000"/>
                <a:gd name="connsiteX2796" fmla="*/ 2235 w 10785"/>
                <a:gd name="connsiteY2796" fmla="*/ 8197 h 10000"/>
                <a:gd name="connsiteX2797" fmla="*/ 2198 w 10785"/>
                <a:gd name="connsiteY2797" fmla="*/ 8197 h 10000"/>
                <a:gd name="connsiteX2798" fmla="*/ 2189 w 10785"/>
                <a:gd name="connsiteY2798" fmla="*/ 8171 h 10000"/>
                <a:gd name="connsiteX2799" fmla="*/ 2161 w 10785"/>
                <a:gd name="connsiteY2799" fmla="*/ 8145 h 10000"/>
                <a:gd name="connsiteX2800" fmla="*/ 2161 w 10785"/>
                <a:gd name="connsiteY2800" fmla="*/ 8137 h 10000"/>
                <a:gd name="connsiteX2801" fmla="*/ 2152 w 10785"/>
                <a:gd name="connsiteY2801" fmla="*/ 8120 h 10000"/>
                <a:gd name="connsiteX2802" fmla="*/ 2138 w 10785"/>
                <a:gd name="connsiteY2802" fmla="*/ 8111 h 10000"/>
                <a:gd name="connsiteX2803" fmla="*/ 2138 w 10785"/>
                <a:gd name="connsiteY2803" fmla="*/ 8094 h 10000"/>
                <a:gd name="connsiteX2804" fmla="*/ 2147 w 10785"/>
                <a:gd name="connsiteY2804" fmla="*/ 8085 h 10000"/>
                <a:gd name="connsiteX2805" fmla="*/ 2161 w 10785"/>
                <a:gd name="connsiteY2805" fmla="*/ 8060 h 10000"/>
                <a:gd name="connsiteX2806" fmla="*/ 2198 w 10785"/>
                <a:gd name="connsiteY2806" fmla="*/ 8034 h 10000"/>
                <a:gd name="connsiteX2807" fmla="*/ 2198 w 10785"/>
                <a:gd name="connsiteY2807" fmla="*/ 8026 h 10000"/>
                <a:gd name="connsiteX2808" fmla="*/ 2198 w 10785"/>
                <a:gd name="connsiteY2808" fmla="*/ 8000 h 10000"/>
                <a:gd name="connsiteX2809" fmla="*/ 2180 w 10785"/>
                <a:gd name="connsiteY2809" fmla="*/ 7940 h 10000"/>
                <a:gd name="connsiteX2810" fmla="*/ 2189 w 10785"/>
                <a:gd name="connsiteY2810" fmla="*/ 7940 h 10000"/>
                <a:gd name="connsiteX2811" fmla="*/ 2198 w 10785"/>
                <a:gd name="connsiteY2811" fmla="*/ 7923 h 10000"/>
                <a:gd name="connsiteX2812" fmla="*/ 2198 w 10785"/>
                <a:gd name="connsiteY2812" fmla="*/ 7897 h 10000"/>
                <a:gd name="connsiteX2813" fmla="*/ 2207 w 10785"/>
                <a:gd name="connsiteY2813" fmla="*/ 7889 h 10000"/>
                <a:gd name="connsiteX2814" fmla="*/ 2221 w 10785"/>
                <a:gd name="connsiteY2814" fmla="*/ 7889 h 10000"/>
                <a:gd name="connsiteX2815" fmla="*/ 2226 w 10785"/>
                <a:gd name="connsiteY2815" fmla="*/ 7897 h 10000"/>
                <a:gd name="connsiteX2816" fmla="*/ 2235 w 10785"/>
                <a:gd name="connsiteY2816" fmla="*/ 7889 h 10000"/>
                <a:gd name="connsiteX2817" fmla="*/ 2249 w 10785"/>
                <a:gd name="connsiteY2817" fmla="*/ 7897 h 10000"/>
                <a:gd name="connsiteX2818" fmla="*/ 2267 w 10785"/>
                <a:gd name="connsiteY2818" fmla="*/ 7897 h 10000"/>
                <a:gd name="connsiteX2819" fmla="*/ 2272 w 10785"/>
                <a:gd name="connsiteY2819" fmla="*/ 7889 h 10000"/>
                <a:gd name="connsiteX2820" fmla="*/ 2281 w 10785"/>
                <a:gd name="connsiteY2820" fmla="*/ 7872 h 10000"/>
                <a:gd name="connsiteX2821" fmla="*/ 2272 w 10785"/>
                <a:gd name="connsiteY2821" fmla="*/ 7846 h 10000"/>
                <a:gd name="connsiteX2822" fmla="*/ 2253 w 10785"/>
                <a:gd name="connsiteY2822" fmla="*/ 7838 h 10000"/>
                <a:gd name="connsiteX2823" fmla="*/ 2221 w 10785"/>
                <a:gd name="connsiteY2823" fmla="*/ 7821 h 10000"/>
                <a:gd name="connsiteX2824" fmla="*/ 2212 w 10785"/>
                <a:gd name="connsiteY2824" fmla="*/ 7812 h 10000"/>
                <a:gd name="connsiteX2825" fmla="*/ 2212 w 10785"/>
                <a:gd name="connsiteY2825" fmla="*/ 7803 h 10000"/>
                <a:gd name="connsiteX2826" fmla="*/ 2221 w 10785"/>
                <a:gd name="connsiteY2826" fmla="*/ 7803 h 10000"/>
                <a:gd name="connsiteX2827" fmla="*/ 2235 w 10785"/>
                <a:gd name="connsiteY2827" fmla="*/ 7786 h 10000"/>
                <a:gd name="connsiteX2828" fmla="*/ 2240 w 10785"/>
                <a:gd name="connsiteY2828" fmla="*/ 7778 h 10000"/>
                <a:gd name="connsiteX2829" fmla="*/ 2226 w 10785"/>
                <a:gd name="connsiteY2829" fmla="*/ 7761 h 10000"/>
                <a:gd name="connsiteX2830" fmla="*/ 2221 w 10785"/>
                <a:gd name="connsiteY2830" fmla="*/ 7778 h 10000"/>
                <a:gd name="connsiteX2831" fmla="*/ 2198 w 10785"/>
                <a:gd name="connsiteY2831" fmla="*/ 7778 h 10000"/>
                <a:gd name="connsiteX2832" fmla="*/ 2198 w 10785"/>
                <a:gd name="connsiteY2832" fmla="*/ 7752 h 10000"/>
                <a:gd name="connsiteX2833" fmla="*/ 2207 w 10785"/>
                <a:gd name="connsiteY2833" fmla="*/ 7735 h 10000"/>
                <a:gd name="connsiteX2834" fmla="*/ 2212 w 10785"/>
                <a:gd name="connsiteY2834" fmla="*/ 7726 h 10000"/>
                <a:gd name="connsiteX2835" fmla="*/ 2198 w 10785"/>
                <a:gd name="connsiteY2835" fmla="*/ 7692 h 10000"/>
                <a:gd name="connsiteX2836" fmla="*/ 2221 w 10785"/>
                <a:gd name="connsiteY2836" fmla="*/ 7692 h 10000"/>
                <a:gd name="connsiteX2837" fmla="*/ 2221 w 10785"/>
                <a:gd name="connsiteY2837" fmla="*/ 7675 h 10000"/>
                <a:gd name="connsiteX2838" fmla="*/ 2235 w 10785"/>
                <a:gd name="connsiteY2838" fmla="*/ 7675 h 10000"/>
                <a:gd name="connsiteX2839" fmla="*/ 2240 w 10785"/>
                <a:gd name="connsiteY2839" fmla="*/ 7692 h 10000"/>
                <a:gd name="connsiteX2840" fmla="*/ 2249 w 10785"/>
                <a:gd name="connsiteY2840" fmla="*/ 7692 h 10000"/>
                <a:gd name="connsiteX2841" fmla="*/ 2258 w 10785"/>
                <a:gd name="connsiteY2841" fmla="*/ 7692 h 10000"/>
                <a:gd name="connsiteX2842" fmla="*/ 2267 w 10785"/>
                <a:gd name="connsiteY2842" fmla="*/ 7692 h 10000"/>
                <a:gd name="connsiteX2843" fmla="*/ 2295 w 10785"/>
                <a:gd name="connsiteY2843" fmla="*/ 7692 h 10000"/>
                <a:gd name="connsiteX2844" fmla="*/ 2300 w 10785"/>
                <a:gd name="connsiteY2844" fmla="*/ 7701 h 10000"/>
                <a:gd name="connsiteX2845" fmla="*/ 2313 w 10785"/>
                <a:gd name="connsiteY2845" fmla="*/ 7675 h 10000"/>
                <a:gd name="connsiteX2846" fmla="*/ 2323 w 10785"/>
                <a:gd name="connsiteY2846" fmla="*/ 7675 h 10000"/>
                <a:gd name="connsiteX2847" fmla="*/ 2341 w 10785"/>
                <a:gd name="connsiteY2847" fmla="*/ 7675 h 10000"/>
                <a:gd name="connsiteX2848" fmla="*/ 2346 w 10785"/>
                <a:gd name="connsiteY2848" fmla="*/ 7667 h 10000"/>
                <a:gd name="connsiteX2849" fmla="*/ 2359 w 10785"/>
                <a:gd name="connsiteY2849" fmla="*/ 7650 h 10000"/>
                <a:gd name="connsiteX2850" fmla="*/ 2373 w 10785"/>
                <a:gd name="connsiteY2850" fmla="*/ 7624 h 10000"/>
                <a:gd name="connsiteX2851" fmla="*/ 2382 w 10785"/>
                <a:gd name="connsiteY2851" fmla="*/ 7641 h 10000"/>
                <a:gd name="connsiteX2852" fmla="*/ 2396 w 10785"/>
                <a:gd name="connsiteY2852" fmla="*/ 7650 h 10000"/>
                <a:gd name="connsiteX2853" fmla="*/ 2401 w 10785"/>
                <a:gd name="connsiteY2853" fmla="*/ 7650 h 10000"/>
                <a:gd name="connsiteX2854" fmla="*/ 2401 w 10785"/>
                <a:gd name="connsiteY2854" fmla="*/ 7624 h 10000"/>
                <a:gd name="connsiteX2855" fmla="*/ 2419 w 10785"/>
                <a:gd name="connsiteY2855" fmla="*/ 7624 h 10000"/>
                <a:gd name="connsiteX2856" fmla="*/ 2433 w 10785"/>
                <a:gd name="connsiteY2856" fmla="*/ 7615 h 10000"/>
                <a:gd name="connsiteX2857" fmla="*/ 2442 w 10785"/>
                <a:gd name="connsiteY2857" fmla="*/ 7615 h 10000"/>
                <a:gd name="connsiteX2858" fmla="*/ 2447 w 10785"/>
                <a:gd name="connsiteY2858" fmla="*/ 7598 h 10000"/>
                <a:gd name="connsiteX2859" fmla="*/ 2461 w 10785"/>
                <a:gd name="connsiteY2859" fmla="*/ 7598 h 10000"/>
                <a:gd name="connsiteX2860" fmla="*/ 2465 w 10785"/>
                <a:gd name="connsiteY2860" fmla="*/ 7615 h 10000"/>
                <a:gd name="connsiteX2861" fmla="*/ 2479 w 10785"/>
                <a:gd name="connsiteY2861" fmla="*/ 7564 h 10000"/>
                <a:gd name="connsiteX2862" fmla="*/ 2488 w 10785"/>
                <a:gd name="connsiteY2862" fmla="*/ 7556 h 10000"/>
                <a:gd name="connsiteX2863" fmla="*/ 2493 w 10785"/>
                <a:gd name="connsiteY2863" fmla="*/ 7556 h 10000"/>
                <a:gd name="connsiteX2864" fmla="*/ 2507 w 10785"/>
                <a:gd name="connsiteY2864" fmla="*/ 7556 h 10000"/>
                <a:gd name="connsiteX2865" fmla="*/ 2530 w 10785"/>
                <a:gd name="connsiteY2865" fmla="*/ 7538 h 10000"/>
                <a:gd name="connsiteX2866" fmla="*/ 2530 w 10785"/>
                <a:gd name="connsiteY2866" fmla="*/ 7556 h 10000"/>
                <a:gd name="connsiteX2867" fmla="*/ 2641 w 10785"/>
                <a:gd name="connsiteY2867" fmla="*/ 7504 h 10000"/>
                <a:gd name="connsiteX2868" fmla="*/ 2654 w 10785"/>
                <a:gd name="connsiteY2868" fmla="*/ 7487 h 10000"/>
                <a:gd name="connsiteX2869" fmla="*/ 2664 w 10785"/>
                <a:gd name="connsiteY2869" fmla="*/ 7487 h 10000"/>
                <a:gd name="connsiteX2870" fmla="*/ 2668 w 10785"/>
                <a:gd name="connsiteY2870" fmla="*/ 7479 h 10000"/>
                <a:gd name="connsiteX2871" fmla="*/ 2673 w 10785"/>
                <a:gd name="connsiteY2871" fmla="*/ 7462 h 10000"/>
                <a:gd name="connsiteX2872" fmla="*/ 2673 w 10785"/>
                <a:gd name="connsiteY2872" fmla="*/ 7427 h 10000"/>
                <a:gd name="connsiteX2873" fmla="*/ 2687 w 10785"/>
                <a:gd name="connsiteY2873" fmla="*/ 7436 h 10000"/>
                <a:gd name="connsiteX2874" fmla="*/ 2696 w 10785"/>
                <a:gd name="connsiteY2874" fmla="*/ 7427 h 10000"/>
                <a:gd name="connsiteX2875" fmla="*/ 2700 w 10785"/>
                <a:gd name="connsiteY2875" fmla="*/ 7419 h 10000"/>
                <a:gd name="connsiteX2876" fmla="*/ 2710 w 10785"/>
                <a:gd name="connsiteY2876" fmla="*/ 7402 h 10000"/>
                <a:gd name="connsiteX2877" fmla="*/ 2724 w 10785"/>
                <a:gd name="connsiteY2877" fmla="*/ 7402 h 10000"/>
                <a:gd name="connsiteX2878" fmla="*/ 2724 w 10785"/>
                <a:gd name="connsiteY2878" fmla="*/ 7393 h 10000"/>
                <a:gd name="connsiteX2879" fmla="*/ 2737 w 10785"/>
                <a:gd name="connsiteY2879" fmla="*/ 7393 h 10000"/>
                <a:gd name="connsiteX2880" fmla="*/ 2742 w 10785"/>
                <a:gd name="connsiteY2880" fmla="*/ 7402 h 10000"/>
                <a:gd name="connsiteX2881" fmla="*/ 2747 w 10785"/>
                <a:gd name="connsiteY2881" fmla="*/ 7402 h 10000"/>
                <a:gd name="connsiteX2882" fmla="*/ 2760 w 10785"/>
                <a:gd name="connsiteY2882" fmla="*/ 7402 h 10000"/>
                <a:gd name="connsiteX2883" fmla="*/ 2770 w 10785"/>
                <a:gd name="connsiteY2883" fmla="*/ 7402 h 10000"/>
                <a:gd name="connsiteX2884" fmla="*/ 2774 w 10785"/>
                <a:gd name="connsiteY2884" fmla="*/ 7402 h 10000"/>
                <a:gd name="connsiteX2885" fmla="*/ 2783 w 10785"/>
                <a:gd name="connsiteY2885" fmla="*/ 7419 h 10000"/>
                <a:gd name="connsiteX2886" fmla="*/ 2802 w 10785"/>
                <a:gd name="connsiteY2886" fmla="*/ 7436 h 10000"/>
                <a:gd name="connsiteX2887" fmla="*/ 2816 w 10785"/>
                <a:gd name="connsiteY2887" fmla="*/ 7419 h 10000"/>
                <a:gd name="connsiteX2888" fmla="*/ 2834 w 10785"/>
                <a:gd name="connsiteY2888" fmla="*/ 7419 h 10000"/>
                <a:gd name="connsiteX2889" fmla="*/ 2843 w 10785"/>
                <a:gd name="connsiteY2889" fmla="*/ 7419 h 10000"/>
                <a:gd name="connsiteX2890" fmla="*/ 2848 w 10785"/>
                <a:gd name="connsiteY2890" fmla="*/ 7436 h 10000"/>
                <a:gd name="connsiteX2891" fmla="*/ 2857 w 10785"/>
                <a:gd name="connsiteY2891" fmla="*/ 7453 h 10000"/>
                <a:gd name="connsiteX2892" fmla="*/ 2857 w 10785"/>
                <a:gd name="connsiteY2892" fmla="*/ 7504 h 10000"/>
                <a:gd name="connsiteX2893" fmla="*/ 2862 w 10785"/>
                <a:gd name="connsiteY2893" fmla="*/ 7530 h 10000"/>
                <a:gd name="connsiteX2894" fmla="*/ 2876 w 10785"/>
                <a:gd name="connsiteY2894" fmla="*/ 7538 h 10000"/>
                <a:gd name="connsiteX2895" fmla="*/ 2871 w 10785"/>
                <a:gd name="connsiteY2895" fmla="*/ 7564 h 10000"/>
                <a:gd name="connsiteX2896" fmla="*/ 2871 w 10785"/>
                <a:gd name="connsiteY2896" fmla="*/ 7598 h 10000"/>
                <a:gd name="connsiteX2897" fmla="*/ 2857 w 10785"/>
                <a:gd name="connsiteY2897" fmla="*/ 7624 h 10000"/>
                <a:gd name="connsiteX2898" fmla="*/ 2862 w 10785"/>
                <a:gd name="connsiteY2898" fmla="*/ 7641 h 10000"/>
                <a:gd name="connsiteX2899" fmla="*/ 2871 w 10785"/>
                <a:gd name="connsiteY2899" fmla="*/ 7667 h 10000"/>
                <a:gd name="connsiteX2900" fmla="*/ 2880 w 10785"/>
                <a:gd name="connsiteY2900" fmla="*/ 7650 h 10000"/>
                <a:gd name="connsiteX2901" fmla="*/ 2894 w 10785"/>
                <a:gd name="connsiteY2901" fmla="*/ 7667 h 10000"/>
                <a:gd name="connsiteX2902" fmla="*/ 2903 w 10785"/>
                <a:gd name="connsiteY2902" fmla="*/ 7667 h 10000"/>
                <a:gd name="connsiteX2903" fmla="*/ 2908 w 10785"/>
                <a:gd name="connsiteY2903" fmla="*/ 7641 h 10000"/>
                <a:gd name="connsiteX2904" fmla="*/ 2917 w 10785"/>
                <a:gd name="connsiteY2904" fmla="*/ 7641 h 10000"/>
                <a:gd name="connsiteX2905" fmla="*/ 2922 w 10785"/>
                <a:gd name="connsiteY2905" fmla="*/ 7641 h 10000"/>
                <a:gd name="connsiteX2906" fmla="*/ 2931 w 10785"/>
                <a:gd name="connsiteY2906" fmla="*/ 7615 h 10000"/>
                <a:gd name="connsiteX2907" fmla="*/ 2935 w 10785"/>
                <a:gd name="connsiteY2907" fmla="*/ 7615 h 10000"/>
                <a:gd name="connsiteX2908" fmla="*/ 2945 w 10785"/>
                <a:gd name="connsiteY2908" fmla="*/ 7650 h 10000"/>
                <a:gd name="connsiteX2909" fmla="*/ 2949 w 10785"/>
                <a:gd name="connsiteY2909" fmla="*/ 7667 h 10000"/>
                <a:gd name="connsiteX2910" fmla="*/ 2949 w 10785"/>
                <a:gd name="connsiteY2910" fmla="*/ 7675 h 10000"/>
                <a:gd name="connsiteX2911" fmla="*/ 2945 w 10785"/>
                <a:gd name="connsiteY2911" fmla="*/ 7692 h 10000"/>
                <a:gd name="connsiteX2912" fmla="*/ 2963 w 10785"/>
                <a:gd name="connsiteY2912" fmla="*/ 7701 h 10000"/>
                <a:gd name="connsiteX2913" fmla="*/ 2963 w 10785"/>
                <a:gd name="connsiteY2913" fmla="*/ 7675 h 10000"/>
                <a:gd name="connsiteX2914" fmla="*/ 2954 w 10785"/>
                <a:gd name="connsiteY2914" fmla="*/ 7667 h 10000"/>
                <a:gd name="connsiteX2915" fmla="*/ 2963 w 10785"/>
                <a:gd name="connsiteY2915" fmla="*/ 7667 h 10000"/>
                <a:gd name="connsiteX2916" fmla="*/ 2982 w 10785"/>
                <a:gd name="connsiteY2916" fmla="*/ 7667 h 10000"/>
                <a:gd name="connsiteX2917" fmla="*/ 2991 w 10785"/>
                <a:gd name="connsiteY2917" fmla="*/ 7675 h 10000"/>
                <a:gd name="connsiteX2918" fmla="*/ 2995 w 10785"/>
                <a:gd name="connsiteY2918" fmla="*/ 7692 h 10000"/>
                <a:gd name="connsiteX2919" fmla="*/ 3009 w 10785"/>
                <a:gd name="connsiteY2919" fmla="*/ 7701 h 10000"/>
                <a:gd name="connsiteX2920" fmla="*/ 3018 w 10785"/>
                <a:gd name="connsiteY2920" fmla="*/ 7701 h 10000"/>
                <a:gd name="connsiteX2921" fmla="*/ 3023 w 10785"/>
                <a:gd name="connsiteY2921" fmla="*/ 7692 h 10000"/>
                <a:gd name="connsiteX2922" fmla="*/ 3028 w 10785"/>
                <a:gd name="connsiteY2922" fmla="*/ 7675 h 10000"/>
                <a:gd name="connsiteX2923" fmla="*/ 3037 w 10785"/>
                <a:gd name="connsiteY2923" fmla="*/ 7692 h 10000"/>
                <a:gd name="connsiteX2924" fmla="*/ 3028 w 10785"/>
                <a:gd name="connsiteY2924" fmla="*/ 7709 h 10000"/>
                <a:gd name="connsiteX2925" fmla="*/ 3023 w 10785"/>
                <a:gd name="connsiteY2925" fmla="*/ 7709 h 10000"/>
                <a:gd name="connsiteX2926" fmla="*/ 3018 w 10785"/>
                <a:gd name="connsiteY2926" fmla="*/ 7726 h 10000"/>
                <a:gd name="connsiteX2927" fmla="*/ 3009 w 10785"/>
                <a:gd name="connsiteY2927" fmla="*/ 7735 h 10000"/>
                <a:gd name="connsiteX2928" fmla="*/ 3009 w 10785"/>
                <a:gd name="connsiteY2928" fmla="*/ 7761 h 10000"/>
                <a:gd name="connsiteX2929" fmla="*/ 3009 w 10785"/>
                <a:gd name="connsiteY2929" fmla="*/ 7778 h 10000"/>
                <a:gd name="connsiteX2930" fmla="*/ 3018 w 10785"/>
                <a:gd name="connsiteY2930" fmla="*/ 7786 h 10000"/>
                <a:gd name="connsiteX2931" fmla="*/ 3023 w 10785"/>
                <a:gd name="connsiteY2931" fmla="*/ 7786 h 10000"/>
                <a:gd name="connsiteX2932" fmla="*/ 3028 w 10785"/>
                <a:gd name="connsiteY2932" fmla="*/ 7778 h 10000"/>
                <a:gd name="connsiteX2933" fmla="*/ 3051 w 10785"/>
                <a:gd name="connsiteY2933" fmla="*/ 7761 h 10000"/>
                <a:gd name="connsiteX2934" fmla="*/ 3055 w 10785"/>
                <a:gd name="connsiteY2934" fmla="*/ 7778 h 10000"/>
                <a:gd name="connsiteX2935" fmla="*/ 3065 w 10785"/>
                <a:gd name="connsiteY2935" fmla="*/ 7761 h 10000"/>
                <a:gd name="connsiteX2936" fmla="*/ 3069 w 10785"/>
                <a:gd name="connsiteY2936" fmla="*/ 7786 h 10000"/>
                <a:gd name="connsiteX2937" fmla="*/ 3083 w 10785"/>
                <a:gd name="connsiteY2937" fmla="*/ 7786 h 10000"/>
                <a:gd name="connsiteX2938" fmla="*/ 3078 w 10785"/>
                <a:gd name="connsiteY2938" fmla="*/ 7761 h 10000"/>
                <a:gd name="connsiteX2939" fmla="*/ 3083 w 10785"/>
                <a:gd name="connsiteY2939" fmla="*/ 7752 h 10000"/>
                <a:gd name="connsiteX2940" fmla="*/ 3097 w 10785"/>
                <a:gd name="connsiteY2940" fmla="*/ 7752 h 10000"/>
                <a:gd name="connsiteX2941" fmla="*/ 3111 w 10785"/>
                <a:gd name="connsiteY2941" fmla="*/ 7726 h 10000"/>
                <a:gd name="connsiteX2942" fmla="*/ 3124 w 10785"/>
                <a:gd name="connsiteY2942" fmla="*/ 7709 h 10000"/>
                <a:gd name="connsiteX2943" fmla="*/ 3143 w 10785"/>
                <a:gd name="connsiteY2943" fmla="*/ 7692 h 10000"/>
                <a:gd name="connsiteX2944" fmla="*/ 3152 w 10785"/>
                <a:gd name="connsiteY2944" fmla="*/ 7667 h 10000"/>
                <a:gd name="connsiteX2945" fmla="*/ 3157 w 10785"/>
                <a:gd name="connsiteY2945" fmla="*/ 7650 h 10000"/>
                <a:gd name="connsiteX2946" fmla="*/ 3161 w 10785"/>
                <a:gd name="connsiteY2946" fmla="*/ 7650 h 10000"/>
                <a:gd name="connsiteX2947" fmla="*/ 3189 w 10785"/>
                <a:gd name="connsiteY2947" fmla="*/ 7641 h 10000"/>
                <a:gd name="connsiteX2948" fmla="*/ 3198 w 10785"/>
                <a:gd name="connsiteY2948" fmla="*/ 7624 h 10000"/>
                <a:gd name="connsiteX2949" fmla="*/ 3217 w 10785"/>
                <a:gd name="connsiteY2949" fmla="*/ 7615 h 10000"/>
                <a:gd name="connsiteX2950" fmla="*/ 3235 w 10785"/>
                <a:gd name="connsiteY2950" fmla="*/ 7598 h 10000"/>
                <a:gd name="connsiteX2951" fmla="*/ 3235 w 10785"/>
                <a:gd name="connsiteY2951" fmla="*/ 7615 h 10000"/>
                <a:gd name="connsiteX2952" fmla="*/ 3235 w 10785"/>
                <a:gd name="connsiteY2952" fmla="*/ 7641 h 10000"/>
                <a:gd name="connsiteX2953" fmla="*/ 3235 w 10785"/>
                <a:gd name="connsiteY2953" fmla="*/ 7650 h 10000"/>
                <a:gd name="connsiteX2954" fmla="*/ 3226 w 10785"/>
                <a:gd name="connsiteY2954" fmla="*/ 7650 h 10000"/>
                <a:gd name="connsiteX2955" fmla="*/ 3217 w 10785"/>
                <a:gd name="connsiteY2955" fmla="*/ 7650 h 10000"/>
                <a:gd name="connsiteX2956" fmla="*/ 3212 w 10785"/>
                <a:gd name="connsiteY2956" fmla="*/ 7675 h 10000"/>
                <a:gd name="connsiteX2957" fmla="*/ 3212 w 10785"/>
                <a:gd name="connsiteY2957"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334 w 10785"/>
                <a:gd name="connsiteY731" fmla="*/ 4810 h 10000"/>
                <a:gd name="connsiteX732" fmla="*/ 10422 w 10785"/>
                <a:gd name="connsiteY732" fmla="*/ 5051 h 10000"/>
                <a:gd name="connsiteX733" fmla="*/ 10691 w 10785"/>
                <a:gd name="connsiteY733" fmla="*/ 5255 h 10000"/>
                <a:gd name="connsiteX734" fmla="*/ 10619 w 10785"/>
                <a:gd name="connsiteY734" fmla="*/ 4708 h 10000"/>
                <a:gd name="connsiteX735" fmla="*/ 10785 w 10785"/>
                <a:gd name="connsiteY735" fmla="*/ 4708 h 10000"/>
                <a:gd name="connsiteX736" fmla="*/ 10689 w 10785"/>
                <a:gd name="connsiteY736" fmla="*/ 4467 h 10000"/>
                <a:gd name="connsiteX737" fmla="*/ 10354 w 10785"/>
                <a:gd name="connsiteY737" fmla="*/ 4302 h 10000"/>
                <a:gd name="connsiteX738" fmla="*/ 9912 w 10785"/>
                <a:gd name="connsiteY738" fmla="*/ 3675 h 10000"/>
                <a:gd name="connsiteX739" fmla="*/ 9903 w 10785"/>
                <a:gd name="connsiteY739" fmla="*/ 3667 h 10000"/>
                <a:gd name="connsiteX740" fmla="*/ 9894 w 10785"/>
                <a:gd name="connsiteY740" fmla="*/ 3641 h 10000"/>
                <a:gd name="connsiteX741" fmla="*/ 9889 w 10785"/>
                <a:gd name="connsiteY741" fmla="*/ 3650 h 10000"/>
                <a:gd name="connsiteX742" fmla="*/ 9848 w 10785"/>
                <a:gd name="connsiteY742" fmla="*/ 3598 h 10000"/>
                <a:gd name="connsiteX743" fmla="*/ 9829 w 10785"/>
                <a:gd name="connsiteY743" fmla="*/ 3581 h 10000"/>
                <a:gd name="connsiteX744" fmla="*/ 9820 w 10785"/>
                <a:gd name="connsiteY744" fmla="*/ 3581 h 10000"/>
                <a:gd name="connsiteX745" fmla="*/ 9793 w 10785"/>
                <a:gd name="connsiteY745" fmla="*/ 3556 h 10000"/>
                <a:gd name="connsiteX746" fmla="*/ 9779 w 10785"/>
                <a:gd name="connsiteY746" fmla="*/ 3556 h 10000"/>
                <a:gd name="connsiteX747" fmla="*/ 9747 w 10785"/>
                <a:gd name="connsiteY747" fmla="*/ 3487 h 10000"/>
                <a:gd name="connsiteX748" fmla="*/ 9668 w 10785"/>
                <a:gd name="connsiteY748" fmla="*/ 3479 h 10000"/>
                <a:gd name="connsiteX749" fmla="*/ 9659 w 10785"/>
                <a:gd name="connsiteY749" fmla="*/ 3487 h 10000"/>
                <a:gd name="connsiteX750" fmla="*/ 9645 w 10785"/>
                <a:gd name="connsiteY750" fmla="*/ 3504 h 10000"/>
                <a:gd name="connsiteX751" fmla="*/ 9631 w 10785"/>
                <a:gd name="connsiteY751" fmla="*/ 3487 h 10000"/>
                <a:gd name="connsiteX752" fmla="*/ 9613 w 10785"/>
                <a:gd name="connsiteY752" fmla="*/ 3479 h 10000"/>
                <a:gd name="connsiteX753" fmla="*/ 9599 w 10785"/>
                <a:gd name="connsiteY753" fmla="*/ 3479 h 10000"/>
                <a:gd name="connsiteX754" fmla="*/ 9571 w 10785"/>
                <a:gd name="connsiteY754" fmla="*/ 3479 h 10000"/>
                <a:gd name="connsiteX755" fmla="*/ 9562 w 10785"/>
                <a:gd name="connsiteY755" fmla="*/ 3487 h 10000"/>
                <a:gd name="connsiteX756" fmla="*/ 9539 w 10785"/>
                <a:gd name="connsiteY756" fmla="*/ 3487 h 10000"/>
                <a:gd name="connsiteX757" fmla="*/ 9507 w 10785"/>
                <a:gd name="connsiteY757" fmla="*/ 3453 h 10000"/>
                <a:gd name="connsiteX758" fmla="*/ 9498 w 10785"/>
                <a:gd name="connsiteY758" fmla="*/ 3453 h 10000"/>
                <a:gd name="connsiteX759" fmla="*/ 9387 w 10785"/>
                <a:gd name="connsiteY759" fmla="*/ 3419 h 10000"/>
                <a:gd name="connsiteX760" fmla="*/ 9373 w 10785"/>
                <a:gd name="connsiteY760" fmla="*/ 3427 h 10000"/>
                <a:gd name="connsiteX761" fmla="*/ 9373 w 10785"/>
                <a:gd name="connsiteY761" fmla="*/ 3462 h 10000"/>
                <a:gd name="connsiteX762" fmla="*/ 9378 w 10785"/>
                <a:gd name="connsiteY762" fmla="*/ 3479 h 10000"/>
                <a:gd name="connsiteX763" fmla="*/ 9378 w 10785"/>
                <a:gd name="connsiteY763" fmla="*/ 3530 h 10000"/>
                <a:gd name="connsiteX764" fmla="*/ 9355 w 10785"/>
                <a:gd name="connsiteY764" fmla="*/ 3538 h 10000"/>
                <a:gd name="connsiteX765" fmla="*/ 9355 w 10785"/>
                <a:gd name="connsiteY765" fmla="*/ 3581 h 10000"/>
                <a:gd name="connsiteX766" fmla="*/ 9387 w 10785"/>
                <a:gd name="connsiteY766" fmla="*/ 3590 h 10000"/>
                <a:gd name="connsiteX767" fmla="*/ 9401 w 10785"/>
                <a:gd name="connsiteY767" fmla="*/ 3667 h 10000"/>
                <a:gd name="connsiteX768" fmla="*/ 9406 w 10785"/>
                <a:gd name="connsiteY768" fmla="*/ 3675 h 10000"/>
                <a:gd name="connsiteX769" fmla="*/ 9406 w 10785"/>
                <a:gd name="connsiteY769" fmla="*/ 3701 h 10000"/>
                <a:gd name="connsiteX770" fmla="*/ 9415 w 10785"/>
                <a:gd name="connsiteY770" fmla="*/ 3752 h 10000"/>
                <a:gd name="connsiteX771" fmla="*/ 9373 w 10785"/>
                <a:gd name="connsiteY771" fmla="*/ 3838 h 10000"/>
                <a:gd name="connsiteX772" fmla="*/ 9355 w 10785"/>
                <a:gd name="connsiteY772" fmla="*/ 3863 h 10000"/>
                <a:gd name="connsiteX773" fmla="*/ 9327 w 10785"/>
                <a:gd name="connsiteY773" fmla="*/ 3863 h 10000"/>
                <a:gd name="connsiteX774" fmla="*/ 9313 w 10785"/>
                <a:gd name="connsiteY774" fmla="*/ 3846 h 10000"/>
                <a:gd name="connsiteX775" fmla="*/ 9300 w 10785"/>
                <a:gd name="connsiteY775" fmla="*/ 3778 h 10000"/>
                <a:gd name="connsiteX776" fmla="*/ 9281 w 10785"/>
                <a:gd name="connsiteY776" fmla="*/ 3752 h 10000"/>
                <a:gd name="connsiteX777" fmla="*/ 9281 w 10785"/>
                <a:gd name="connsiteY777" fmla="*/ 3735 h 10000"/>
                <a:gd name="connsiteX778" fmla="*/ 9267 w 10785"/>
                <a:gd name="connsiteY778" fmla="*/ 3726 h 10000"/>
                <a:gd name="connsiteX779" fmla="*/ 9240 w 10785"/>
                <a:gd name="connsiteY779" fmla="*/ 3726 h 10000"/>
                <a:gd name="connsiteX780" fmla="*/ 9230 w 10785"/>
                <a:gd name="connsiteY780" fmla="*/ 3718 h 10000"/>
                <a:gd name="connsiteX781" fmla="*/ 9226 w 10785"/>
                <a:gd name="connsiteY781" fmla="*/ 3590 h 10000"/>
                <a:gd name="connsiteX782" fmla="*/ 9207 w 10785"/>
                <a:gd name="connsiteY782" fmla="*/ 3581 h 10000"/>
                <a:gd name="connsiteX783" fmla="*/ 9207 w 10785"/>
                <a:gd name="connsiteY783" fmla="*/ 3556 h 10000"/>
                <a:gd name="connsiteX784" fmla="*/ 9217 w 10785"/>
                <a:gd name="connsiteY784" fmla="*/ 3538 h 10000"/>
                <a:gd name="connsiteX785" fmla="*/ 9212 w 10785"/>
                <a:gd name="connsiteY785" fmla="*/ 3538 h 10000"/>
                <a:gd name="connsiteX786" fmla="*/ 9198 w 10785"/>
                <a:gd name="connsiteY786" fmla="*/ 3513 h 10000"/>
                <a:gd name="connsiteX787" fmla="*/ 9194 w 10785"/>
                <a:gd name="connsiteY787" fmla="*/ 3530 h 10000"/>
                <a:gd name="connsiteX788" fmla="*/ 9143 w 10785"/>
                <a:gd name="connsiteY788" fmla="*/ 3615 h 10000"/>
                <a:gd name="connsiteX789" fmla="*/ 9138 w 10785"/>
                <a:gd name="connsiteY789" fmla="*/ 3615 h 10000"/>
                <a:gd name="connsiteX790" fmla="*/ 9134 w 10785"/>
                <a:gd name="connsiteY790" fmla="*/ 3615 h 10000"/>
                <a:gd name="connsiteX791" fmla="*/ 9106 w 10785"/>
                <a:gd name="connsiteY791" fmla="*/ 3615 h 10000"/>
                <a:gd name="connsiteX792" fmla="*/ 9078 w 10785"/>
                <a:gd name="connsiteY792" fmla="*/ 3590 h 10000"/>
                <a:gd name="connsiteX793" fmla="*/ 9037 w 10785"/>
                <a:gd name="connsiteY793" fmla="*/ 3581 h 10000"/>
                <a:gd name="connsiteX794" fmla="*/ 9023 w 10785"/>
                <a:gd name="connsiteY794" fmla="*/ 3590 h 10000"/>
                <a:gd name="connsiteX795" fmla="*/ 9018 w 10785"/>
                <a:gd name="connsiteY795" fmla="*/ 3590 h 10000"/>
                <a:gd name="connsiteX796" fmla="*/ 9018 w 10785"/>
                <a:gd name="connsiteY796" fmla="*/ 3590 h 10000"/>
                <a:gd name="connsiteX797" fmla="*/ 8991 w 10785"/>
                <a:gd name="connsiteY797" fmla="*/ 3590 h 10000"/>
                <a:gd name="connsiteX798" fmla="*/ 8972 w 10785"/>
                <a:gd name="connsiteY798" fmla="*/ 3581 h 10000"/>
                <a:gd name="connsiteX799" fmla="*/ 8959 w 10785"/>
                <a:gd name="connsiteY799" fmla="*/ 3513 h 10000"/>
                <a:gd name="connsiteX800" fmla="*/ 8931 w 10785"/>
                <a:gd name="connsiteY800" fmla="*/ 3538 h 10000"/>
                <a:gd name="connsiteX801" fmla="*/ 8889 w 10785"/>
                <a:gd name="connsiteY801" fmla="*/ 3538 h 10000"/>
                <a:gd name="connsiteX802" fmla="*/ 8871 w 10785"/>
                <a:gd name="connsiteY802" fmla="*/ 3556 h 10000"/>
                <a:gd name="connsiteX803" fmla="*/ 8857 w 10785"/>
                <a:gd name="connsiteY803" fmla="*/ 3538 h 10000"/>
                <a:gd name="connsiteX804" fmla="*/ 8843 w 10785"/>
                <a:gd name="connsiteY804" fmla="*/ 3538 h 10000"/>
                <a:gd name="connsiteX805" fmla="*/ 8839 w 10785"/>
                <a:gd name="connsiteY805" fmla="*/ 3556 h 10000"/>
                <a:gd name="connsiteX806" fmla="*/ 8839 w 10785"/>
                <a:gd name="connsiteY806" fmla="*/ 3581 h 10000"/>
                <a:gd name="connsiteX807" fmla="*/ 8825 w 10785"/>
                <a:gd name="connsiteY807" fmla="*/ 3564 h 10000"/>
                <a:gd name="connsiteX808" fmla="*/ 8825 w 10785"/>
                <a:gd name="connsiteY808" fmla="*/ 3615 h 10000"/>
                <a:gd name="connsiteX809" fmla="*/ 8802 w 10785"/>
                <a:gd name="connsiteY809" fmla="*/ 3598 h 10000"/>
                <a:gd name="connsiteX810" fmla="*/ 8797 w 10785"/>
                <a:gd name="connsiteY810" fmla="*/ 3641 h 10000"/>
                <a:gd name="connsiteX811" fmla="*/ 8783 w 10785"/>
                <a:gd name="connsiteY811" fmla="*/ 3667 h 10000"/>
                <a:gd name="connsiteX812" fmla="*/ 8779 w 10785"/>
                <a:gd name="connsiteY812" fmla="*/ 3650 h 10000"/>
                <a:gd name="connsiteX813" fmla="*/ 8779 w 10785"/>
                <a:gd name="connsiteY813" fmla="*/ 3615 h 10000"/>
                <a:gd name="connsiteX814" fmla="*/ 8770 w 10785"/>
                <a:gd name="connsiteY814" fmla="*/ 3590 h 10000"/>
                <a:gd name="connsiteX815" fmla="*/ 8765 w 10785"/>
                <a:gd name="connsiteY815" fmla="*/ 3598 h 10000"/>
                <a:gd name="connsiteX816" fmla="*/ 8756 w 10785"/>
                <a:gd name="connsiteY816" fmla="*/ 3590 h 10000"/>
                <a:gd name="connsiteX817" fmla="*/ 8737 w 10785"/>
                <a:gd name="connsiteY817" fmla="*/ 3556 h 10000"/>
                <a:gd name="connsiteX818" fmla="*/ 8724 w 10785"/>
                <a:gd name="connsiteY818" fmla="*/ 3538 h 10000"/>
                <a:gd name="connsiteX819" fmla="*/ 8696 w 10785"/>
                <a:gd name="connsiteY819" fmla="*/ 3538 h 10000"/>
                <a:gd name="connsiteX820" fmla="*/ 8691 w 10785"/>
                <a:gd name="connsiteY820" fmla="*/ 3513 h 10000"/>
                <a:gd name="connsiteX821" fmla="*/ 8668 w 10785"/>
                <a:gd name="connsiteY821" fmla="*/ 3504 h 10000"/>
                <a:gd name="connsiteX822" fmla="*/ 8668 w 10785"/>
                <a:gd name="connsiteY822" fmla="*/ 3487 h 10000"/>
                <a:gd name="connsiteX823" fmla="*/ 8691 w 10785"/>
                <a:gd name="connsiteY823" fmla="*/ 3350 h 10000"/>
                <a:gd name="connsiteX824" fmla="*/ 8691 w 10785"/>
                <a:gd name="connsiteY824" fmla="*/ 3291 h 10000"/>
                <a:gd name="connsiteX825" fmla="*/ 8677 w 10785"/>
                <a:gd name="connsiteY825" fmla="*/ 3239 h 10000"/>
                <a:gd name="connsiteX826" fmla="*/ 8677 w 10785"/>
                <a:gd name="connsiteY826" fmla="*/ 3231 h 10000"/>
                <a:gd name="connsiteX827" fmla="*/ 8636 w 10785"/>
                <a:gd name="connsiteY827" fmla="*/ 3128 h 10000"/>
                <a:gd name="connsiteX828" fmla="*/ 8622 w 10785"/>
                <a:gd name="connsiteY828" fmla="*/ 3120 h 10000"/>
                <a:gd name="connsiteX829" fmla="*/ 8618 w 10785"/>
                <a:gd name="connsiteY829" fmla="*/ 3094 h 10000"/>
                <a:gd name="connsiteX830" fmla="*/ 8594 w 10785"/>
                <a:gd name="connsiteY830" fmla="*/ 3077 h 10000"/>
                <a:gd name="connsiteX831" fmla="*/ 8548 w 10785"/>
                <a:gd name="connsiteY831" fmla="*/ 3077 h 10000"/>
                <a:gd name="connsiteX832" fmla="*/ 8535 w 10785"/>
                <a:gd name="connsiteY832" fmla="*/ 3068 h 10000"/>
                <a:gd name="connsiteX833" fmla="*/ 8429 w 10785"/>
                <a:gd name="connsiteY833" fmla="*/ 3077 h 10000"/>
                <a:gd name="connsiteX834" fmla="*/ 8424 w 10785"/>
                <a:gd name="connsiteY834" fmla="*/ 3077 h 10000"/>
                <a:gd name="connsiteX835" fmla="*/ 8396 w 10785"/>
                <a:gd name="connsiteY835" fmla="*/ 3077 h 10000"/>
                <a:gd name="connsiteX836" fmla="*/ 8387 w 10785"/>
                <a:gd name="connsiteY836" fmla="*/ 3094 h 10000"/>
                <a:gd name="connsiteX837" fmla="*/ 8378 w 10785"/>
                <a:gd name="connsiteY837" fmla="*/ 3094 h 10000"/>
                <a:gd name="connsiteX838" fmla="*/ 8341 w 10785"/>
                <a:gd name="connsiteY838" fmla="*/ 3077 h 10000"/>
                <a:gd name="connsiteX839" fmla="*/ 8336 w 10785"/>
                <a:gd name="connsiteY839" fmla="*/ 3077 h 10000"/>
                <a:gd name="connsiteX840" fmla="*/ 8327 w 10785"/>
                <a:gd name="connsiteY840" fmla="*/ 3103 h 10000"/>
                <a:gd name="connsiteX841" fmla="*/ 8309 w 10785"/>
                <a:gd name="connsiteY841" fmla="*/ 3120 h 10000"/>
                <a:gd name="connsiteX842" fmla="*/ 8304 w 10785"/>
                <a:gd name="connsiteY842" fmla="*/ 3103 h 10000"/>
                <a:gd name="connsiteX843" fmla="*/ 8276 w 10785"/>
                <a:gd name="connsiteY843" fmla="*/ 3103 h 10000"/>
                <a:gd name="connsiteX844" fmla="*/ 8267 w 10785"/>
                <a:gd name="connsiteY844" fmla="*/ 3120 h 10000"/>
                <a:gd name="connsiteX845" fmla="*/ 8253 w 10785"/>
                <a:gd name="connsiteY845" fmla="*/ 3103 h 10000"/>
                <a:gd name="connsiteX846" fmla="*/ 8230 w 10785"/>
                <a:gd name="connsiteY846" fmla="*/ 3128 h 10000"/>
                <a:gd name="connsiteX847" fmla="*/ 8217 w 10785"/>
                <a:gd name="connsiteY847" fmla="*/ 3128 h 10000"/>
                <a:gd name="connsiteX848" fmla="*/ 8203 w 10785"/>
                <a:gd name="connsiteY848" fmla="*/ 3154 h 10000"/>
                <a:gd name="connsiteX849" fmla="*/ 8175 w 10785"/>
                <a:gd name="connsiteY849" fmla="*/ 3094 h 10000"/>
                <a:gd name="connsiteX850" fmla="*/ 8161 w 10785"/>
                <a:gd name="connsiteY850" fmla="*/ 3094 h 10000"/>
                <a:gd name="connsiteX851" fmla="*/ 8157 w 10785"/>
                <a:gd name="connsiteY851" fmla="*/ 3077 h 10000"/>
                <a:gd name="connsiteX852" fmla="*/ 8180 w 10785"/>
                <a:gd name="connsiteY852" fmla="*/ 3068 h 10000"/>
                <a:gd name="connsiteX853" fmla="*/ 8189 w 10785"/>
                <a:gd name="connsiteY853" fmla="*/ 3043 h 10000"/>
                <a:gd name="connsiteX854" fmla="*/ 8189 w 10785"/>
                <a:gd name="connsiteY854" fmla="*/ 3017 h 10000"/>
                <a:gd name="connsiteX855" fmla="*/ 8147 w 10785"/>
                <a:gd name="connsiteY855" fmla="*/ 2940 h 10000"/>
                <a:gd name="connsiteX856" fmla="*/ 8143 w 10785"/>
                <a:gd name="connsiteY856" fmla="*/ 2915 h 10000"/>
                <a:gd name="connsiteX857" fmla="*/ 8143 w 10785"/>
                <a:gd name="connsiteY857" fmla="*/ 2906 h 10000"/>
                <a:gd name="connsiteX858" fmla="*/ 8097 w 10785"/>
                <a:gd name="connsiteY858" fmla="*/ 2932 h 10000"/>
                <a:gd name="connsiteX859" fmla="*/ 8083 w 10785"/>
                <a:gd name="connsiteY859" fmla="*/ 2932 h 10000"/>
                <a:gd name="connsiteX860" fmla="*/ 8074 w 10785"/>
                <a:gd name="connsiteY860" fmla="*/ 2906 h 10000"/>
                <a:gd name="connsiteX861" fmla="*/ 8074 w 10785"/>
                <a:gd name="connsiteY861" fmla="*/ 2897 h 10000"/>
                <a:gd name="connsiteX862" fmla="*/ 8055 w 10785"/>
                <a:gd name="connsiteY862" fmla="*/ 2872 h 10000"/>
                <a:gd name="connsiteX863" fmla="*/ 8046 w 10785"/>
                <a:gd name="connsiteY863" fmla="*/ 2829 h 10000"/>
                <a:gd name="connsiteX864" fmla="*/ 8041 w 10785"/>
                <a:gd name="connsiteY864" fmla="*/ 2829 h 10000"/>
                <a:gd name="connsiteX865" fmla="*/ 8023 w 10785"/>
                <a:gd name="connsiteY865" fmla="*/ 2803 h 10000"/>
                <a:gd name="connsiteX866" fmla="*/ 8014 w 10785"/>
                <a:gd name="connsiteY866" fmla="*/ 2829 h 10000"/>
                <a:gd name="connsiteX867" fmla="*/ 8000 w 10785"/>
                <a:gd name="connsiteY867" fmla="*/ 2829 h 10000"/>
                <a:gd name="connsiteX868" fmla="*/ 7995 w 10785"/>
                <a:gd name="connsiteY868" fmla="*/ 2821 h 10000"/>
                <a:gd name="connsiteX869" fmla="*/ 7972 w 10785"/>
                <a:gd name="connsiteY869" fmla="*/ 2803 h 10000"/>
                <a:gd name="connsiteX870" fmla="*/ 7968 w 10785"/>
                <a:gd name="connsiteY870" fmla="*/ 2821 h 10000"/>
                <a:gd name="connsiteX871" fmla="*/ 7968 w 10785"/>
                <a:gd name="connsiteY871" fmla="*/ 2803 h 10000"/>
                <a:gd name="connsiteX872" fmla="*/ 7995 w 10785"/>
                <a:gd name="connsiteY872" fmla="*/ 2735 h 10000"/>
                <a:gd name="connsiteX873" fmla="*/ 8000 w 10785"/>
                <a:gd name="connsiteY873" fmla="*/ 2735 h 10000"/>
                <a:gd name="connsiteX874" fmla="*/ 8014 w 10785"/>
                <a:gd name="connsiteY874" fmla="*/ 2744 h 10000"/>
                <a:gd name="connsiteX875" fmla="*/ 8023 w 10785"/>
                <a:gd name="connsiteY875" fmla="*/ 2769 h 10000"/>
                <a:gd name="connsiteX876" fmla="*/ 8032 w 10785"/>
                <a:gd name="connsiteY876" fmla="*/ 2744 h 10000"/>
                <a:gd name="connsiteX877" fmla="*/ 8032 w 10785"/>
                <a:gd name="connsiteY877" fmla="*/ 2709 h 10000"/>
                <a:gd name="connsiteX878" fmla="*/ 8023 w 10785"/>
                <a:gd name="connsiteY878" fmla="*/ 2632 h 10000"/>
                <a:gd name="connsiteX879" fmla="*/ 7986 w 10785"/>
                <a:gd name="connsiteY879" fmla="*/ 2581 h 10000"/>
                <a:gd name="connsiteX880" fmla="*/ 7968 w 10785"/>
                <a:gd name="connsiteY880" fmla="*/ 2581 h 10000"/>
                <a:gd name="connsiteX881" fmla="*/ 7963 w 10785"/>
                <a:gd name="connsiteY881" fmla="*/ 2556 h 10000"/>
                <a:gd name="connsiteX882" fmla="*/ 7935 w 10785"/>
                <a:gd name="connsiteY882" fmla="*/ 2547 h 10000"/>
                <a:gd name="connsiteX883" fmla="*/ 7912 w 10785"/>
                <a:gd name="connsiteY883" fmla="*/ 2547 h 10000"/>
                <a:gd name="connsiteX884" fmla="*/ 7912 w 10785"/>
                <a:gd name="connsiteY884" fmla="*/ 2556 h 10000"/>
                <a:gd name="connsiteX885" fmla="*/ 7908 w 10785"/>
                <a:gd name="connsiteY885" fmla="*/ 2547 h 10000"/>
                <a:gd name="connsiteX886" fmla="*/ 7862 w 10785"/>
                <a:gd name="connsiteY886" fmla="*/ 2547 h 10000"/>
                <a:gd name="connsiteX887" fmla="*/ 7848 w 10785"/>
                <a:gd name="connsiteY887" fmla="*/ 2556 h 10000"/>
                <a:gd name="connsiteX888" fmla="*/ 7820 w 10785"/>
                <a:gd name="connsiteY888" fmla="*/ 2547 h 10000"/>
                <a:gd name="connsiteX889" fmla="*/ 7806 w 10785"/>
                <a:gd name="connsiteY889" fmla="*/ 2513 h 10000"/>
                <a:gd name="connsiteX890" fmla="*/ 7788 w 10785"/>
                <a:gd name="connsiteY890" fmla="*/ 2513 h 10000"/>
                <a:gd name="connsiteX891" fmla="*/ 7760 w 10785"/>
                <a:gd name="connsiteY891" fmla="*/ 2470 h 10000"/>
                <a:gd name="connsiteX892" fmla="*/ 7751 w 10785"/>
                <a:gd name="connsiteY892" fmla="*/ 2470 h 10000"/>
                <a:gd name="connsiteX893" fmla="*/ 7705 w 10785"/>
                <a:gd name="connsiteY893" fmla="*/ 2462 h 10000"/>
                <a:gd name="connsiteX894" fmla="*/ 7673 w 10785"/>
                <a:gd name="connsiteY894" fmla="*/ 2419 h 10000"/>
                <a:gd name="connsiteX895" fmla="*/ 7627 w 10785"/>
                <a:gd name="connsiteY895" fmla="*/ 2419 h 10000"/>
                <a:gd name="connsiteX896" fmla="*/ 7613 w 10785"/>
                <a:gd name="connsiteY896" fmla="*/ 2410 h 10000"/>
                <a:gd name="connsiteX897" fmla="*/ 7493 w 10785"/>
                <a:gd name="connsiteY897" fmla="*/ 2393 h 10000"/>
                <a:gd name="connsiteX898" fmla="*/ 7479 w 10785"/>
                <a:gd name="connsiteY898" fmla="*/ 2385 h 10000"/>
                <a:gd name="connsiteX899" fmla="*/ 7479 w 10785"/>
                <a:gd name="connsiteY899" fmla="*/ 2376 h 10000"/>
                <a:gd name="connsiteX900" fmla="*/ 7465 w 10785"/>
                <a:gd name="connsiteY900" fmla="*/ 2359 h 10000"/>
                <a:gd name="connsiteX901" fmla="*/ 7447 w 10785"/>
                <a:gd name="connsiteY901" fmla="*/ 2350 h 10000"/>
                <a:gd name="connsiteX902" fmla="*/ 7433 w 10785"/>
                <a:gd name="connsiteY902" fmla="*/ 2376 h 10000"/>
                <a:gd name="connsiteX903" fmla="*/ 7433 w 10785"/>
                <a:gd name="connsiteY903" fmla="*/ 2385 h 10000"/>
                <a:gd name="connsiteX904" fmla="*/ 7447 w 10785"/>
                <a:gd name="connsiteY904" fmla="*/ 2410 h 10000"/>
                <a:gd name="connsiteX905" fmla="*/ 7447 w 10785"/>
                <a:gd name="connsiteY905" fmla="*/ 2436 h 10000"/>
                <a:gd name="connsiteX906" fmla="*/ 7452 w 10785"/>
                <a:gd name="connsiteY906" fmla="*/ 2462 h 10000"/>
                <a:gd name="connsiteX907" fmla="*/ 7447 w 10785"/>
                <a:gd name="connsiteY907" fmla="*/ 2470 h 10000"/>
                <a:gd name="connsiteX908" fmla="*/ 7424 w 10785"/>
                <a:gd name="connsiteY908" fmla="*/ 2513 h 10000"/>
                <a:gd name="connsiteX909" fmla="*/ 7419 w 10785"/>
                <a:gd name="connsiteY909" fmla="*/ 2556 h 10000"/>
                <a:gd name="connsiteX910" fmla="*/ 7406 w 10785"/>
                <a:gd name="connsiteY910" fmla="*/ 2624 h 10000"/>
                <a:gd name="connsiteX911" fmla="*/ 7392 w 10785"/>
                <a:gd name="connsiteY911" fmla="*/ 2624 h 10000"/>
                <a:gd name="connsiteX912" fmla="*/ 7373 w 10785"/>
                <a:gd name="connsiteY912" fmla="*/ 2650 h 10000"/>
                <a:gd name="connsiteX913" fmla="*/ 7364 w 10785"/>
                <a:gd name="connsiteY913" fmla="*/ 2684 h 10000"/>
                <a:gd name="connsiteX914" fmla="*/ 7364 w 10785"/>
                <a:gd name="connsiteY914" fmla="*/ 2692 h 10000"/>
                <a:gd name="connsiteX915" fmla="*/ 7373 w 10785"/>
                <a:gd name="connsiteY915" fmla="*/ 2718 h 10000"/>
                <a:gd name="connsiteX916" fmla="*/ 7373 w 10785"/>
                <a:gd name="connsiteY916" fmla="*/ 2744 h 10000"/>
                <a:gd name="connsiteX917" fmla="*/ 7359 w 10785"/>
                <a:gd name="connsiteY917" fmla="*/ 2744 h 10000"/>
                <a:gd name="connsiteX918" fmla="*/ 7359 w 10785"/>
                <a:gd name="connsiteY918" fmla="*/ 2795 h 10000"/>
                <a:gd name="connsiteX919" fmla="*/ 7364 w 10785"/>
                <a:gd name="connsiteY919" fmla="*/ 2821 h 10000"/>
                <a:gd name="connsiteX920" fmla="*/ 7378 w 10785"/>
                <a:gd name="connsiteY920" fmla="*/ 2846 h 10000"/>
                <a:gd name="connsiteX921" fmla="*/ 7378 w 10785"/>
                <a:gd name="connsiteY921" fmla="*/ 2855 h 10000"/>
                <a:gd name="connsiteX922" fmla="*/ 7378 w 10785"/>
                <a:gd name="connsiteY922" fmla="*/ 2880 h 10000"/>
                <a:gd name="connsiteX923" fmla="*/ 7378 w 10785"/>
                <a:gd name="connsiteY923" fmla="*/ 2906 h 10000"/>
                <a:gd name="connsiteX924" fmla="*/ 7364 w 10785"/>
                <a:gd name="connsiteY924" fmla="*/ 2906 h 10000"/>
                <a:gd name="connsiteX925" fmla="*/ 7346 w 10785"/>
                <a:gd name="connsiteY925" fmla="*/ 2880 h 10000"/>
                <a:gd name="connsiteX926" fmla="*/ 7332 w 10785"/>
                <a:gd name="connsiteY926" fmla="*/ 2915 h 10000"/>
                <a:gd name="connsiteX927" fmla="*/ 7318 w 10785"/>
                <a:gd name="connsiteY927" fmla="*/ 2906 h 10000"/>
                <a:gd name="connsiteX928" fmla="*/ 7313 w 10785"/>
                <a:gd name="connsiteY928" fmla="*/ 2915 h 10000"/>
                <a:gd name="connsiteX929" fmla="*/ 7313 w 10785"/>
                <a:gd name="connsiteY929" fmla="*/ 2906 h 10000"/>
                <a:gd name="connsiteX930" fmla="*/ 7286 w 10785"/>
                <a:gd name="connsiteY930" fmla="*/ 2940 h 10000"/>
                <a:gd name="connsiteX931" fmla="*/ 7276 w 10785"/>
                <a:gd name="connsiteY931" fmla="*/ 2966 h 10000"/>
                <a:gd name="connsiteX932" fmla="*/ 7272 w 10785"/>
                <a:gd name="connsiteY932" fmla="*/ 2983 h 10000"/>
                <a:gd name="connsiteX933" fmla="*/ 7267 w 10785"/>
                <a:gd name="connsiteY933" fmla="*/ 3009 h 10000"/>
                <a:gd name="connsiteX934" fmla="*/ 7253 w 10785"/>
                <a:gd name="connsiteY934" fmla="*/ 3009 h 10000"/>
                <a:gd name="connsiteX935" fmla="*/ 7244 w 10785"/>
                <a:gd name="connsiteY935" fmla="*/ 3017 h 10000"/>
                <a:gd name="connsiteX936" fmla="*/ 7240 w 10785"/>
                <a:gd name="connsiteY936" fmla="*/ 3009 h 10000"/>
                <a:gd name="connsiteX937" fmla="*/ 7230 w 10785"/>
                <a:gd name="connsiteY937" fmla="*/ 2991 h 10000"/>
                <a:gd name="connsiteX938" fmla="*/ 7226 w 10785"/>
                <a:gd name="connsiteY938" fmla="*/ 2983 h 10000"/>
                <a:gd name="connsiteX939" fmla="*/ 7226 w 10785"/>
                <a:gd name="connsiteY939" fmla="*/ 2966 h 10000"/>
                <a:gd name="connsiteX940" fmla="*/ 7212 w 10785"/>
                <a:gd name="connsiteY940" fmla="*/ 2957 h 10000"/>
                <a:gd name="connsiteX941" fmla="*/ 7212 w 10785"/>
                <a:gd name="connsiteY941" fmla="*/ 2932 h 10000"/>
                <a:gd name="connsiteX942" fmla="*/ 7198 w 10785"/>
                <a:gd name="connsiteY942" fmla="*/ 2915 h 10000"/>
                <a:gd name="connsiteX943" fmla="*/ 7194 w 10785"/>
                <a:gd name="connsiteY943" fmla="*/ 2915 h 10000"/>
                <a:gd name="connsiteX944" fmla="*/ 7157 w 10785"/>
                <a:gd name="connsiteY944" fmla="*/ 2880 h 10000"/>
                <a:gd name="connsiteX945" fmla="*/ 7138 w 10785"/>
                <a:gd name="connsiteY945" fmla="*/ 2880 h 10000"/>
                <a:gd name="connsiteX946" fmla="*/ 7120 w 10785"/>
                <a:gd name="connsiteY946" fmla="*/ 2872 h 10000"/>
                <a:gd name="connsiteX947" fmla="*/ 7111 w 10785"/>
                <a:gd name="connsiteY947" fmla="*/ 2846 h 10000"/>
                <a:gd name="connsiteX948" fmla="*/ 7106 w 10785"/>
                <a:gd name="connsiteY948" fmla="*/ 2846 h 10000"/>
                <a:gd name="connsiteX949" fmla="*/ 7092 w 10785"/>
                <a:gd name="connsiteY949" fmla="*/ 2829 h 10000"/>
                <a:gd name="connsiteX950" fmla="*/ 7051 w 10785"/>
                <a:gd name="connsiteY950" fmla="*/ 2829 h 10000"/>
                <a:gd name="connsiteX951" fmla="*/ 7037 w 10785"/>
                <a:gd name="connsiteY951" fmla="*/ 2880 h 10000"/>
                <a:gd name="connsiteX952" fmla="*/ 7037 w 10785"/>
                <a:gd name="connsiteY952" fmla="*/ 2906 h 10000"/>
                <a:gd name="connsiteX953" fmla="*/ 7037 w 10785"/>
                <a:gd name="connsiteY953" fmla="*/ 2932 h 10000"/>
                <a:gd name="connsiteX954" fmla="*/ 7037 w 10785"/>
                <a:gd name="connsiteY954" fmla="*/ 2940 h 10000"/>
                <a:gd name="connsiteX955" fmla="*/ 7023 w 10785"/>
                <a:gd name="connsiteY955" fmla="*/ 2906 h 10000"/>
                <a:gd name="connsiteX956" fmla="*/ 7023 w 10785"/>
                <a:gd name="connsiteY956" fmla="*/ 2915 h 10000"/>
                <a:gd name="connsiteX957" fmla="*/ 6991 w 10785"/>
                <a:gd name="connsiteY957" fmla="*/ 2906 h 10000"/>
                <a:gd name="connsiteX958" fmla="*/ 6977 w 10785"/>
                <a:gd name="connsiteY958" fmla="*/ 2915 h 10000"/>
                <a:gd name="connsiteX959" fmla="*/ 6963 w 10785"/>
                <a:gd name="connsiteY959" fmla="*/ 2915 h 10000"/>
                <a:gd name="connsiteX960" fmla="*/ 6949 w 10785"/>
                <a:gd name="connsiteY960" fmla="*/ 2872 h 10000"/>
                <a:gd name="connsiteX961" fmla="*/ 6935 w 10785"/>
                <a:gd name="connsiteY961" fmla="*/ 2855 h 10000"/>
                <a:gd name="connsiteX962" fmla="*/ 6922 w 10785"/>
                <a:gd name="connsiteY962" fmla="*/ 2803 h 10000"/>
                <a:gd name="connsiteX963" fmla="*/ 6917 w 10785"/>
                <a:gd name="connsiteY963" fmla="*/ 2786 h 10000"/>
                <a:gd name="connsiteX964" fmla="*/ 6903 w 10785"/>
                <a:gd name="connsiteY964" fmla="*/ 2709 h 10000"/>
                <a:gd name="connsiteX965" fmla="*/ 6903 w 10785"/>
                <a:gd name="connsiteY965" fmla="*/ 2692 h 10000"/>
                <a:gd name="connsiteX966" fmla="*/ 6899 w 10785"/>
                <a:gd name="connsiteY966" fmla="*/ 2709 h 10000"/>
                <a:gd name="connsiteX967" fmla="*/ 6857 w 10785"/>
                <a:gd name="connsiteY967" fmla="*/ 2872 h 10000"/>
                <a:gd name="connsiteX968" fmla="*/ 6857 w 10785"/>
                <a:gd name="connsiteY968" fmla="*/ 3009 h 10000"/>
                <a:gd name="connsiteX969" fmla="*/ 6848 w 10785"/>
                <a:gd name="connsiteY969" fmla="*/ 3017 h 10000"/>
                <a:gd name="connsiteX970" fmla="*/ 6839 w 10785"/>
                <a:gd name="connsiteY970" fmla="*/ 3068 h 10000"/>
                <a:gd name="connsiteX971" fmla="*/ 6829 w 10785"/>
                <a:gd name="connsiteY971" fmla="*/ 3077 h 10000"/>
                <a:gd name="connsiteX972" fmla="*/ 6829 w 10785"/>
                <a:gd name="connsiteY972" fmla="*/ 3128 h 10000"/>
                <a:gd name="connsiteX973" fmla="*/ 6816 w 10785"/>
                <a:gd name="connsiteY973" fmla="*/ 3154 h 10000"/>
                <a:gd name="connsiteX974" fmla="*/ 6811 w 10785"/>
                <a:gd name="connsiteY974" fmla="*/ 3179 h 10000"/>
                <a:gd name="connsiteX975" fmla="*/ 6797 w 10785"/>
                <a:gd name="connsiteY975" fmla="*/ 3171 h 10000"/>
                <a:gd name="connsiteX976" fmla="*/ 6783 w 10785"/>
                <a:gd name="connsiteY976" fmla="*/ 3103 h 10000"/>
                <a:gd name="connsiteX977" fmla="*/ 6779 w 10785"/>
                <a:gd name="connsiteY977" fmla="*/ 3094 h 10000"/>
                <a:gd name="connsiteX978" fmla="*/ 6779 w 10785"/>
                <a:gd name="connsiteY978" fmla="*/ 3120 h 10000"/>
                <a:gd name="connsiteX979" fmla="*/ 6770 w 10785"/>
                <a:gd name="connsiteY979" fmla="*/ 3128 h 10000"/>
                <a:gd name="connsiteX980" fmla="*/ 6765 w 10785"/>
                <a:gd name="connsiteY980" fmla="*/ 3103 h 10000"/>
                <a:gd name="connsiteX981" fmla="*/ 6756 w 10785"/>
                <a:gd name="connsiteY981" fmla="*/ 3103 h 10000"/>
                <a:gd name="connsiteX982" fmla="*/ 6742 w 10785"/>
                <a:gd name="connsiteY982" fmla="*/ 3103 h 10000"/>
                <a:gd name="connsiteX983" fmla="*/ 6737 w 10785"/>
                <a:gd name="connsiteY983" fmla="*/ 3077 h 10000"/>
                <a:gd name="connsiteX984" fmla="*/ 6737 w 10785"/>
                <a:gd name="connsiteY984" fmla="*/ 3068 h 10000"/>
                <a:gd name="connsiteX985" fmla="*/ 6728 w 10785"/>
                <a:gd name="connsiteY985" fmla="*/ 3043 h 10000"/>
                <a:gd name="connsiteX986" fmla="*/ 6724 w 10785"/>
                <a:gd name="connsiteY986" fmla="*/ 3051 h 10000"/>
                <a:gd name="connsiteX987" fmla="*/ 6714 w 10785"/>
                <a:gd name="connsiteY987" fmla="*/ 3043 h 10000"/>
                <a:gd name="connsiteX988" fmla="*/ 6710 w 10785"/>
                <a:gd name="connsiteY988" fmla="*/ 3034 h 10000"/>
                <a:gd name="connsiteX989" fmla="*/ 6705 w 10785"/>
                <a:gd name="connsiteY989" fmla="*/ 2983 h 10000"/>
                <a:gd name="connsiteX990" fmla="*/ 6696 w 10785"/>
                <a:gd name="connsiteY990" fmla="*/ 2966 h 10000"/>
                <a:gd name="connsiteX991" fmla="*/ 6691 w 10785"/>
                <a:gd name="connsiteY991" fmla="*/ 2983 h 10000"/>
                <a:gd name="connsiteX992" fmla="*/ 6677 w 10785"/>
                <a:gd name="connsiteY992" fmla="*/ 2897 h 10000"/>
                <a:gd name="connsiteX993" fmla="*/ 6677 w 10785"/>
                <a:gd name="connsiteY993" fmla="*/ 2897 h 10000"/>
                <a:gd name="connsiteX994" fmla="*/ 6677 w 10785"/>
                <a:gd name="connsiteY994" fmla="*/ 2872 h 10000"/>
                <a:gd name="connsiteX995" fmla="*/ 6668 w 10785"/>
                <a:gd name="connsiteY995" fmla="*/ 2821 h 10000"/>
                <a:gd name="connsiteX996" fmla="*/ 6664 w 10785"/>
                <a:gd name="connsiteY996" fmla="*/ 2829 h 10000"/>
                <a:gd name="connsiteX997" fmla="*/ 6654 w 10785"/>
                <a:gd name="connsiteY997" fmla="*/ 2846 h 10000"/>
                <a:gd name="connsiteX998" fmla="*/ 6650 w 10785"/>
                <a:gd name="connsiteY998" fmla="*/ 2829 h 10000"/>
                <a:gd name="connsiteX999" fmla="*/ 6650 w 10785"/>
                <a:gd name="connsiteY999" fmla="*/ 2803 h 10000"/>
                <a:gd name="connsiteX1000" fmla="*/ 6650 w 10785"/>
                <a:gd name="connsiteY1000" fmla="*/ 2795 h 10000"/>
                <a:gd name="connsiteX1001" fmla="*/ 6641 w 10785"/>
                <a:gd name="connsiteY1001" fmla="*/ 2786 h 10000"/>
                <a:gd name="connsiteX1002" fmla="*/ 6636 w 10785"/>
                <a:gd name="connsiteY1002" fmla="*/ 2735 h 10000"/>
                <a:gd name="connsiteX1003" fmla="*/ 6664 w 10785"/>
                <a:gd name="connsiteY1003" fmla="*/ 2667 h 10000"/>
                <a:gd name="connsiteX1004" fmla="*/ 6668 w 10785"/>
                <a:gd name="connsiteY1004" fmla="*/ 2684 h 10000"/>
                <a:gd name="connsiteX1005" fmla="*/ 6677 w 10785"/>
                <a:gd name="connsiteY1005" fmla="*/ 2667 h 10000"/>
                <a:gd name="connsiteX1006" fmla="*/ 6668 w 10785"/>
                <a:gd name="connsiteY1006" fmla="*/ 2667 h 10000"/>
                <a:gd name="connsiteX1007" fmla="*/ 6668 w 10785"/>
                <a:gd name="connsiteY1007" fmla="*/ 2650 h 10000"/>
                <a:gd name="connsiteX1008" fmla="*/ 6682 w 10785"/>
                <a:gd name="connsiteY1008" fmla="*/ 2650 h 10000"/>
                <a:gd name="connsiteX1009" fmla="*/ 6691 w 10785"/>
                <a:gd name="connsiteY1009" fmla="*/ 2624 h 10000"/>
                <a:gd name="connsiteX1010" fmla="*/ 6682 w 10785"/>
                <a:gd name="connsiteY1010" fmla="*/ 2632 h 10000"/>
                <a:gd name="connsiteX1011" fmla="*/ 6682 w 10785"/>
                <a:gd name="connsiteY1011" fmla="*/ 2624 h 10000"/>
                <a:gd name="connsiteX1012" fmla="*/ 6691 w 10785"/>
                <a:gd name="connsiteY1012" fmla="*/ 2607 h 10000"/>
                <a:gd name="connsiteX1013" fmla="*/ 6691 w 10785"/>
                <a:gd name="connsiteY1013" fmla="*/ 2598 h 10000"/>
                <a:gd name="connsiteX1014" fmla="*/ 6691 w 10785"/>
                <a:gd name="connsiteY1014" fmla="*/ 2581 h 10000"/>
                <a:gd name="connsiteX1015" fmla="*/ 6696 w 10785"/>
                <a:gd name="connsiteY1015" fmla="*/ 2530 h 10000"/>
                <a:gd name="connsiteX1016" fmla="*/ 6677 w 10785"/>
                <a:gd name="connsiteY1016" fmla="*/ 2513 h 10000"/>
                <a:gd name="connsiteX1017" fmla="*/ 6677 w 10785"/>
                <a:gd name="connsiteY1017" fmla="*/ 2496 h 10000"/>
                <a:gd name="connsiteX1018" fmla="*/ 6682 w 10785"/>
                <a:gd name="connsiteY1018" fmla="*/ 2470 h 10000"/>
                <a:gd name="connsiteX1019" fmla="*/ 6668 w 10785"/>
                <a:gd name="connsiteY1019" fmla="*/ 2462 h 10000"/>
                <a:gd name="connsiteX1020" fmla="*/ 6677 w 10785"/>
                <a:gd name="connsiteY1020" fmla="*/ 2436 h 10000"/>
                <a:gd name="connsiteX1021" fmla="*/ 6682 w 10785"/>
                <a:gd name="connsiteY1021" fmla="*/ 2419 h 10000"/>
                <a:gd name="connsiteX1022" fmla="*/ 6682 w 10785"/>
                <a:gd name="connsiteY1022" fmla="*/ 2393 h 10000"/>
                <a:gd name="connsiteX1023" fmla="*/ 6682 w 10785"/>
                <a:gd name="connsiteY1023" fmla="*/ 2385 h 10000"/>
                <a:gd name="connsiteX1024" fmla="*/ 6682 w 10785"/>
                <a:gd name="connsiteY1024" fmla="*/ 2385 h 10000"/>
                <a:gd name="connsiteX1025" fmla="*/ 6677 w 10785"/>
                <a:gd name="connsiteY1025" fmla="*/ 2376 h 10000"/>
                <a:gd name="connsiteX1026" fmla="*/ 6682 w 10785"/>
                <a:gd name="connsiteY1026" fmla="*/ 2359 h 10000"/>
                <a:gd name="connsiteX1027" fmla="*/ 6677 w 10785"/>
                <a:gd name="connsiteY1027" fmla="*/ 2333 h 10000"/>
                <a:gd name="connsiteX1028" fmla="*/ 6691 w 10785"/>
                <a:gd name="connsiteY1028" fmla="*/ 2333 h 10000"/>
                <a:gd name="connsiteX1029" fmla="*/ 6691 w 10785"/>
                <a:gd name="connsiteY1029" fmla="*/ 2325 h 10000"/>
                <a:gd name="connsiteX1030" fmla="*/ 6691 w 10785"/>
                <a:gd name="connsiteY1030" fmla="*/ 2308 h 10000"/>
                <a:gd name="connsiteX1031" fmla="*/ 6691 w 10785"/>
                <a:gd name="connsiteY1031" fmla="*/ 2299 h 10000"/>
                <a:gd name="connsiteX1032" fmla="*/ 6691 w 10785"/>
                <a:gd name="connsiteY1032" fmla="*/ 2282 h 10000"/>
                <a:gd name="connsiteX1033" fmla="*/ 6691 w 10785"/>
                <a:gd name="connsiteY1033" fmla="*/ 2274 h 10000"/>
                <a:gd name="connsiteX1034" fmla="*/ 6668 w 10785"/>
                <a:gd name="connsiteY1034" fmla="*/ 2248 h 10000"/>
                <a:gd name="connsiteX1035" fmla="*/ 6664 w 10785"/>
                <a:gd name="connsiteY1035" fmla="*/ 2222 h 10000"/>
                <a:gd name="connsiteX1036" fmla="*/ 6654 w 10785"/>
                <a:gd name="connsiteY1036" fmla="*/ 2214 h 10000"/>
                <a:gd name="connsiteX1037" fmla="*/ 6654 w 10785"/>
                <a:gd name="connsiteY1037" fmla="*/ 2188 h 10000"/>
                <a:gd name="connsiteX1038" fmla="*/ 6622 w 10785"/>
                <a:gd name="connsiteY1038" fmla="*/ 2162 h 10000"/>
                <a:gd name="connsiteX1039" fmla="*/ 6631 w 10785"/>
                <a:gd name="connsiteY1039" fmla="*/ 2145 h 10000"/>
                <a:gd name="connsiteX1040" fmla="*/ 6622 w 10785"/>
                <a:gd name="connsiteY1040" fmla="*/ 2120 h 10000"/>
                <a:gd name="connsiteX1041" fmla="*/ 6608 w 10785"/>
                <a:gd name="connsiteY1041" fmla="*/ 2120 h 10000"/>
                <a:gd name="connsiteX1042" fmla="*/ 6604 w 10785"/>
                <a:gd name="connsiteY1042" fmla="*/ 2111 h 10000"/>
                <a:gd name="connsiteX1043" fmla="*/ 6608 w 10785"/>
                <a:gd name="connsiteY1043" fmla="*/ 2111 h 10000"/>
                <a:gd name="connsiteX1044" fmla="*/ 6604 w 10785"/>
                <a:gd name="connsiteY1044" fmla="*/ 2085 h 10000"/>
                <a:gd name="connsiteX1045" fmla="*/ 6581 w 10785"/>
                <a:gd name="connsiteY1045" fmla="*/ 2077 h 10000"/>
                <a:gd name="connsiteX1046" fmla="*/ 6571 w 10785"/>
                <a:gd name="connsiteY1046" fmla="*/ 2085 h 10000"/>
                <a:gd name="connsiteX1047" fmla="*/ 6548 w 10785"/>
                <a:gd name="connsiteY1047" fmla="*/ 2077 h 10000"/>
                <a:gd name="connsiteX1048" fmla="*/ 6530 w 10785"/>
                <a:gd name="connsiteY1048" fmla="*/ 2060 h 10000"/>
                <a:gd name="connsiteX1049" fmla="*/ 6521 w 10785"/>
                <a:gd name="connsiteY1049" fmla="*/ 2060 h 10000"/>
                <a:gd name="connsiteX1050" fmla="*/ 6521 w 10785"/>
                <a:gd name="connsiteY1050" fmla="*/ 2085 h 10000"/>
                <a:gd name="connsiteX1051" fmla="*/ 6516 w 10785"/>
                <a:gd name="connsiteY1051" fmla="*/ 2085 h 10000"/>
                <a:gd name="connsiteX1052" fmla="*/ 6502 w 10785"/>
                <a:gd name="connsiteY1052" fmla="*/ 2111 h 10000"/>
                <a:gd name="connsiteX1053" fmla="*/ 6498 w 10785"/>
                <a:gd name="connsiteY1053" fmla="*/ 2111 h 10000"/>
                <a:gd name="connsiteX1054" fmla="*/ 6498 w 10785"/>
                <a:gd name="connsiteY1054" fmla="*/ 2103 h 10000"/>
                <a:gd name="connsiteX1055" fmla="*/ 6475 w 10785"/>
                <a:gd name="connsiteY1055" fmla="*/ 2051 h 10000"/>
                <a:gd name="connsiteX1056" fmla="*/ 6470 w 10785"/>
                <a:gd name="connsiteY1056" fmla="*/ 2060 h 10000"/>
                <a:gd name="connsiteX1057" fmla="*/ 6456 w 10785"/>
                <a:gd name="connsiteY1057" fmla="*/ 2051 h 10000"/>
                <a:gd name="connsiteX1058" fmla="*/ 6447 w 10785"/>
                <a:gd name="connsiteY1058" fmla="*/ 2051 h 10000"/>
                <a:gd name="connsiteX1059" fmla="*/ 6433 w 10785"/>
                <a:gd name="connsiteY1059" fmla="*/ 2026 h 10000"/>
                <a:gd name="connsiteX1060" fmla="*/ 6433 w 10785"/>
                <a:gd name="connsiteY1060" fmla="*/ 2034 h 10000"/>
                <a:gd name="connsiteX1061" fmla="*/ 6429 w 10785"/>
                <a:gd name="connsiteY1061" fmla="*/ 2026 h 10000"/>
                <a:gd name="connsiteX1062" fmla="*/ 6424 w 10785"/>
                <a:gd name="connsiteY1062" fmla="*/ 2034 h 10000"/>
                <a:gd name="connsiteX1063" fmla="*/ 6410 w 10785"/>
                <a:gd name="connsiteY1063" fmla="*/ 2026 h 10000"/>
                <a:gd name="connsiteX1064" fmla="*/ 6410 w 10785"/>
                <a:gd name="connsiteY1064" fmla="*/ 1991 h 10000"/>
                <a:gd name="connsiteX1065" fmla="*/ 6401 w 10785"/>
                <a:gd name="connsiteY1065" fmla="*/ 1991 h 10000"/>
                <a:gd name="connsiteX1066" fmla="*/ 6396 w 10785"/>
                <a:gd name="connsiteY1066" fmla="*/ 2000 h 10000"/>
                <a:gd name="connsiteX1067" fmla="*/ 6382 w 10785"/>
                <a:gd name="connsiteY1067" fmla="*/ 1966 h 10000"/>
                <a:gd name="connsiteX1068" fmla="*/ 6373 w 10785"/>
                <a:gd name="connsiteY1068" fmla="*/ 1974 h 10000"/>
                <a:gd name="connsiteX1069" fmla="*/ 6369 w 10785"/>
                <a:gd name="connsiteY1069" fmla="*/ 1966 h 10000"/>
                <a:gd name="connsiteX1070" fmla="*/ 6341 w 10785"/>
                <a:gd name="connsiteY1070" fmla="*/ 1949 h 10000"/>
                <a:gd name="connsiteX1071" fmla="*/ 6327 w 10785"/>
                <a:gd name="connsiteY1071" fmla="*/ 1923 h 10000"/>
                <a:gd name="connsiteX1072" fmla="*/ 6323 w 10785"/>
                <a:gd name="connsiteY1072" fmla="*/ 1923 h 10000"/>
                <a:gd name="connsiteX1073" fmla="*/ 6323 w 10785"/>
                <a:gd name="connsiteY1073" fmla="*/ 1966 h 10000"/>
                <a:gd name="connsiteX1074" fmla="*/ 6323 w 10785"/>
                <a:gd name="connsiteY1074" fmla="*/ 1991 h 10000"/>
                <a:gd name="connsiteX1075" fmla="*/ 6313 w 10785"/>
                <a:gd name="connsiteY1075" fmla="*/ 1991 h 10000"/>
                <a:gd name="connsiteX1076" fmla="*/ 6300 w 10785"/>
                <a:gd name="connsiteY1076" fmla="*/ 1991 h 10000"/>
                <a:gd name="connsiteX1077" fmla="*/ 6290 w 10785"/>
                <a:gd name="connsiteY1077" fmla="*/ 1949 h 10000"/>
                <a:gd name="connsiteX1078" fmla="*/ 6276 w 10785"/>
                <a:gd name="connsiteY1078" fmla="*/ 2103 h 10000"/>
                <a:gd name="connsiteX1079" fmla="*/ 6281 w 10785"/>
                <a:gd name="connsiteY1079" fmla="*/ 2103 h 10000"/>
                <a:gd name="connsiteX1080" fmla="*/ 6276 w 10785"/>
                <a:gd name="connsiteY1080" fmla="*/ 2111 h 10000"/>
                <a:gd name="connsiteX1081" fmla="*/ 6276 w 10785"/>
                <a:gd name="connsiteY1081" fmla="*/ 2120 h 10000"/>
                <a:gd name="connsiteX1082" fmla="*/ 6295 w 10785"/>
                <a:gd name="connsiteY1082" fmla="*/ 2239 h 10000"/>
                <a:gd name="connsiteX1083" fmla="*/ 6290 w 10785"/>
                <a:gd name="connsiteY1083" fmla="*/ 2248 h 10000"/>
                <a:gd name="connsiteX1084" fmla="*/ 6281 w 10785"/>
                <a:gd name="connsiteY1084" fmla="*/ 2274 h 10000"/>
                <a:gd name="connsiteX1085" fmla="*/ 6249 w 10785"/>
                <a:gd name="connsiteY1085" fmla="*/ 2274 h 10000"/>
                <a:gd name="connsiteX1086" fmla="*/ 6226 w 10785"/>
                <a:gd name="connsiteY1086" fmla="*/ 2308 h 10000"/>
                <a:gd name="connsiteX1087" fmla="*/ 6221 w 10785"/>
                <a:gd name="connsiteY1087" fmla="*/ 2299 h 10000"/>
                <a:gd name="connsiteX1088" fmla="*/ 6221 w 10785"/>
                <a:gd name="connsiteY1088" fmla="*/ 2308 h 10000"/>
                <a:gd name="connsiteX1089" fmla="*/ 6217 w 10785"/>
                <a:gd name="connsiteY1089" fmla="*/ 2299 h 10000"/>
                <a:gd name="connsiteX1090" fmla="*/ 6194 w 10785"/>
                <a:gd name="connsiteY1090" fmla="*/ 2308 h 10000"/>
                <a:gd name="connsiteX1091" fmla="*/ 6180 w 10785"/>
                <a:gd name="connsiteY1091" fmla="*/ 2299 h 10000"/>
                <a:gd name="connsiteX1092" fmla="*/ 6143 w 10785"/>
                <a:gd name="connsiteY1092" fmla="*/ 2308 h 10000"/>
                <a:gd name="connsiteX1093" fmla="*/ 6134 w 10785"/>
                <a:gd name="connsiteY1093" fmla="*/ 2325 h 10000"/>
                <a:gd name="connsiteX1094" fmla="*/ 6115 w 10785"/>
                <a:gd name="connsiteY1094" fmla="*/ 2282 h 10000"/>
                <a:gd name="connsiteX1095" fmla="*/ 6069 w 10785"/>
                <a:gd name="connsiteY1095" fmla="*/ 2274 h 10000"/>
                <a:gd name="connsiteX1096" fmla="*/ 6069 w 10785"/>
                <a:gd name="connsiteY1096" fmla="*/ 2282 h 10000"/>
                <a:gd name="connsiteX1097" fmla="*/ 6060 w 10785"/>
                <a:gd name="connsiteY1097" fmla="*/ 2299 h 10000"/>
                <a:gd name="connsiteX1098" fmla="*/ 5972 w 10785"/>
                <a:gd name="connsiteY1098" fmla="*/ 2214 h 10000"/>
                <a:gd name="connsiteX1099" fmla="*/ 5968 w 10785"/>
                <a:gd name="connsiteY1099" fmla="*/ 2197 h 10000"/>
                <a:gd name="connsiteX1100" fmla="*/ 5968 w 10785"/>
                <a:gd name="connsiteY1100" fmla="*/ 2171 h 10000"/>
                <a:gd name="connsiteX1101" fmla="*/ 5968 w 10785"/>
                <a:gd name="connsiteY1101" fmla="*/ 2162 h 10000"/>
                <a:gd name="connsiteX1102" fmla="*/ 5968 w 10785"/>
                <a:gd name="connsiteY1102" fmla="*/ 2120 h 10000"/>
                <a:gd name="connsiteX1103" fmla="*/ 5968 w 10785"/>
                <a:gd name="connsiteY1103" fmla="*/ 2111 h 10000"/>
                <a:gd name="connsiteX1104" fmla="*/ 5972 w 10785"/>
                <a:gd name="connsiteY1104" fmla="*/ 2103 h 10000"/>
                <a:gd name="connsiteX1105" fmla="*/ 5986 w 10785"/>
                <a:gd name="connsiteY1105" fmla="*/ 2103 h 10000"/>
                <a:gd name="connsiteX1106" fmla="*/ 5986 w 10785"/>
                <a:gd name="connsiteY1106" fmla="*/ 2085 h 10000"/>
                <a:gd name="connsiteX1107" fmla="*/ 5995 w 10785"/>
                <a:gd name="connsiteY1107" fmla="*/ 2085 h 10000"/>
                <a:gd name="connsiteX1108" fmla="*/ 5995 w 10785"/>
                <a:gd name="connsiteY1108" fmla="*/ 2077 h 10000"/>
                <a:gd name="connsiteX1109" fmla="*/ 5986 w 10785"/>
                <a:gd name="connsiteY1109" fmla="*/ 2060 h 10000"/>
                <a:gd name="connsiteX1110" fmla="*/ 5954 w 10785"/>
                <a:gd name="connsiteY1110" fmla="*/ 2060 h 10000"/>
                <a:gd name="connsiteX1111" fmla="*/ 5940 w 10785"/>
                <a:gd name="connsiteY1111" fmla="*/ 2051 h 10000"/>
                <a:gd name="connsiteX1112" fmla="*/ 5922 w 10785"/>
                <a:gd name="connsiteY1112" fmla="*/ 2060 h 10000"/>
                <a:gd name="connsiteX1113" fmla="*/ 5885 w 10785"/>
                <a:gd name="connsiteY1113" fmla="*/ 2051 h 10000"/>
                <a:gd name="connsiteX1114" fmla="*/ 5876 w 10785"/>
                <a:gd name="connsiteY1114" fmla="*/ 2026 h 10000"/>
                <a:gd name="connsiteX1115" fmla="*/ 5862 w 10785"/>
                <a:gd name="connsiteY1115" fmla="*/ 2026 h 10000"/>
                <a:gd name="connsiteX1116" fmla="*/ 5848 w 10785"/>
                <a:gd name="connsiteY1116" fmla="*/ 2026 h 10000"/>
                <a:gd name="connsiteX1117" fmla="*/ 5825 w 10785"/>
                <a:gd name="connsiteY1117" fmla="*/ 2026 h 10000"/>
                <a:gd name="connsiteX1118" fmla="*/ 5788 w 10785"/>
                <a:gd name="connsiteY1118" fmla="*/ 1991 h 10000"/>
                <a:gd name="connsiteX1119" fmla="*/ 5760 w 10785"/>
                <a:gd name="connsiteY1119" fmla="*/ 2000 h 10000"/>
                <a:gd name="connsiteX1120" fmla="*/ 5760 w 10785"/>
                <a:gd name="connsiteY1120" fmla="*/ 2026 h 10000"/>
                <a:gd name="connsiteX1121" fmla="*/ 5714 w 10785"/>
                <a:gd name="connsiteY1121" fmla="*/ 2051 h 10000"/>
                <a:gd name="connsiteX1122" fmla="*/ 5687 w 10785"/>
                <a:gd name="connsiteY1122" fmla="*/ 2034 h 10000"/>
                <a:gd name="connsiteX1123" fmla="*/ 5645 w 10785"/>
                <a:gd name="connsiteY1123" fmla="*/ 2077 h 10000"/>
                <a:gd name="connsiteX1124" fmla="*/ 5664 w 10785"/>
                <a:gd name="connsiteY1124" fmla="*/ 2120 h 10000"/>
                <a:gd name="connsiteX1125" fmla="*/ 5664 w 10785"/>
                <a:gd name="connsiteY1125" fmla="*/ 2162 h 10000"/>
                <a:gd name="connsiteX1126" fmla="*/ 5631 w 10785"/>
                <a:gd name="connsiteY1126" fmla="*/ 2197 h 10000"/>
                <a:gd name="connsiteX1127" fmla="*/ 5618 w 10785"/>
                <a:gd name="connsiteY1127" fmla="*/ 2188 h 10000"/>
                <a:gd name="connsiteX1128" fmla="*/ 5618 w 10785"/>
                <a:gd name="connsiteY1128" fmla="*/ 2171 h 10000"/>
                <a:gd name="connsiteX1129" fmla="*/ 5641 w 10785"/>
                <a:gd name="connsiteY1129" fmla="*/ 2171 h 10000"/>
                <a:gd name="connsiteX1130" fmla="*/ 5641 w 10785"/>
                <a:gd name="connsiteY1130" fmla="*/ 2162 h 10000"/>
                <a:gd name="connsiteX1131" fmla="*/ 5627 w 10785"/>
                <a:gd name="connsiteY1131" fmla="*/ 2145 h 10000"/>
                <a:gd name="connsiteX1132" fmla="*/ 5627 w 10785"/>
                <a:gd name="connsiteY1132" fmla="*/ 2120 h 10000"/>
                <a:gd name="connsiteX1133" fmla="*/ 5618 w 10785"/>
                <a:gd name="connsiteY1133" fmla="*/ 2111 h 10000"/>
                <a:gd name="connsiteX1134" fmla="*/ 5631 w 10785"/>
                <a:gd name="connsiteY1134" fmla="*/ 2051 h 10000"/>
                <a:gd name="connsiteX1135" fmla="*/ 5631 w 10785"/>
                <a:gd name="connsiteY1135" fmla="*/ 2026 h 10000"/>
                <a:gd name="connsiteX1136" fmla="*/ 5627 w 10785"/>
                <a:gd name="connsiteY1136" fmla="*/ 1991 h 10000"/>
                <a:gd name="connsiteX1137" fmla="*/ 5618 w 10785"/>
                <a:gd name="connsiteY1137" fmla="*/ 1974 h 10000"/>
                <a:gd name="connsiteX1138" fmla="*/ 5618 w 10785"/>
                <a:gd name="connsiteY1138" fmla="*/ 1940 h 10000"/>
                <a:gd name="connsiteX1139" fmla="*/ 5594 w 10785"/>
                <a:gd name="connsiteY1139" fmla="*/ 1855 h 10000"/>
                <a:gd name="connsiteX1140" fmla="*/ 5599 w 10785"/>
                <a:gd name="connsiteY1140" fmla="*/ 1915 h 10000"/>
                <a:gd name="connsiteX1141" fmla="*/ 5599 w 10785"/>
                <a:gd name="connsiteY1141" fmla="*/ 1949 h 10000"/>
                <a:gd name="connsiteX1142" fmla="*/ 5594 w 10785"/>
                <a:gd name="connsiteY1142" fmla="*/ 1991 h 10000"/>
                <a:gd name="connsiteX1143" fmla="*/ 5571 w 10785"/>
                <a:gd name="connsiteY1143" fmla="*/ 2000 h 10000"/>
                <a:gd name="connsiteX1144" fmla="*/ 5530 w 10785"/>
                <a:gd name="connsiteY1144" fmla="*/ 1991 h 10000"/>
                <a:gd name="connsiteX1145" fmla="*/ 5525 w 10785"/>
                <a:gd name="connsiteY1145" fmla="*/ 2000 h 10000"/>
                <a:gd name="connsiteX1146" fmla="*/ 5521 w 10785"/>
                <a:gd name="connsiteY1146" fmla="*/ 1991 h 10000"/>
                <a:gd name="connsiteX1147" fmla="*/ 5498 w 10785"/>
                <a:gd name="connsiteY1147" fmla="*/ 1949 h 10000"/>
                <a:gd name="connsiteX1148" fmla="*/ 5493 w 10785"/>
                <a:gd name="connsiteY1148" fmla="*/ 1889 h 10000"/>
                <a:gd name="connsiteX1149" fmla="*/ 5493 w 10785"/>
                <a:gd name="connsiteY1149" fmla="*/ 1863 h 10000"/>
                <a:gd name="connsiteX1150" fmla="*/ 5498 w 10785"/>
                <a:gd name="connsiteY1150" fmla="*/ 1889 h 10000"/>
                <a:gd name="connsiteX1151" fmla="*/ 5512 w 10785"/>
                <a:gd name="connsiteY1151" fmla="*/ 1855 h 10000"/>
                <a:gd name="connsiteX1152" fmla="*/ 5512 w 10785"/>
                <a:gd name="connsiteY1152" fmla="*/ 1838 h 10000"/>
                <a:gd name="connsiteX1153" fmla="*/ 5479 w 10785"/>
                <a:gd name="connsiteY1153" fmla="*/ 1855 h 10000"/>
                <a:gd name="connsiteX1154" fmla="*/ 5470 w 10785"/>
                <a:gd name="connsiteY1154" fmla="*/ 1872 h 10000"/>
                <a:gd name="connsiteX1155" fmla="*/ 5470 w 10785"/>
                <a:gd name="connsiteY1155" fmla="*/ 1889 h 10000"/>
                <a:gd name="connsiteX1156" fmla="*/ 5465 w 10785"/>
                <a:gd name="connsiteY1156" fmla="*/ 1897 h 10000"/>
                <a:gd name="connsiteX1157" fmla="*/ 5456 w 10785"/>
                <a:gd name="connsiteY1157" fmla="*/ 1872 h 10000"/>
                <a:gd name="connsiteX1158" fmla="*/ 5447 w 10785"/>
                <a:gd name="connsiteY1158" fmla="*/ 1872 h 10000"/>
                <a:gd name="connsiteX1159" fmla="*/ 5433 w 10785"/>
                <a:gd name="connsiteY1159" fmla="*/ 1855 h 10000"/>
                <a:gd name="connsiteX1160" fmla="*/ 5396 w 10785"/>
                <a:gd name="connsiteY1160" fmla="*/ 1863 h 10000"/>
                <a:gd name="connsiteX1161" fmla="*/ 5396 w 10785"/>
                <a:gd name="connsiteY1161" fmla="*/ 1897 h 10000"/>
                <a:gd name="connsiteX1162" fmla="*/ 5378 w 10785"/>
                <a:gd name="connsiteY1162" fmla="*/ 1949 h 10000"/>
                <a:gd name="connsiteX1163" fmla="*/ 5378 w 10785"/>
                <a:gd name="connsiteY1163" fmla="*/ 1966 h 10000"/>
                <a:gd name="connsiteX1164" fmla="*/ 5392 w 10785"/>
                <a:gd name="connsiteY1164" fmla="*/ 2026 h 10000"/>
                <a:gd name="connsiteX1165" fmla="*/ 5396 w 10785"/>
                <a:gd name="connsiteY1165" fmla="*/ 2026 h 10000"/>
                <a:gd name="connsiteX1166" fmla="*/ 5392 w 10785"/>
                <a:gd name="connsiteY1166" fmla="*/ 2009 h 10000"/>
                <a:gd name="connsiteX1167" fmla="*/ 5392 w 10785"/>
                <a:gd name="connsiteY1167" fmla="*/ 2000 h 10000"/>
                <a:gd name="connsiteX1168" fmla="*/ 5396 w 10785"/>
                <a:gd name="connsiteY1168" fmla="*/ 2009 h 10000"/>
                <a:gd name="connsiteX1169" fmla="*/ 5424 w 10785"/>
                <a:gd name="connsiteY1169" fmla="*/ 2009 h 10000"/>
                <a:gd name="connsiteX1170" fmla="*/ 5433 w 10785"/>
                <a:gd name="connsiteY1170" fmla="*/ 1991 h 10000"/>
                <a:gd name="connsiteX1171" fmla="*/ 5447 w 10785"/>
                <a:gd name="connsiteY1171" fmla="*/ 1974 h 10000"/>
                <a:gd name="connsiteX1172" fmla="*/ 5452 w 10785"/>
                <a:gd name="connsiteY1172" fmla="*/ 1966 h 10000"/>
                <a:gd name="connsiteX1173" fmla="*/ 5456 w 10785"/>
                <a:gd name="connsiteY1173" fmla="*/ 1966 h 10000"/>
                <a:gd name="connsiteX1174" fmla="*/ 5465 w 10785"/>
                <a:gd name="connsiteY1174" fmla="*/ 2009 h 10000"/>
                <a:gd name="connsiteX1175" fmla="*/ 5433 w 10785"/>
                <a:gd name="connsiteY1175" fmla="*/ 2034 h 10000"/>
                <a:gd name="connsiteX1176" fmla="*/ 5424 w 10785"/>
                <a:gd name="connsiteY1176" fmla="*/ 2060 h 10000"/>
                <a:gd name="connsiteX1177" fmla="*/ 5419 w 10785"/>
                <a:gd name="connsiteY1177" fmla="*/ 2060 h 10000"/>
                <a:gd name="connsiteX1178" fmla="*/ 5392 w 10785"/>
                <a:gd name="connsiteY1178" fmla="*/ 2111 h 10000"/>
                <a:gd name="connsiteX1179" fmla="*/ 5378 w 10785"/>
                <a:gd name="connsiteY1179" fmla="*/ 2111 h 10000"/>
                <a:gd name="connsiteX1180" fmla="*/ 5350 w 10785"/>
                <a:gd name="connsiteY1180" fmla="*/ 2060 h 10000"/>
                <a:gd name="connsiteX1181" fmla="*/ 5373 w 10785"/>
                <a:gd name="connsiteY1181" fmla="*/ 2111 h 10000"/>
                <a:gd name="connsiteX1182" fmla="*/ 5364 w 10785"/>
                <a:gd name="connsiteY1182" fmla="*/ 2111 h 10000"/>
                <a:gd name="connsiteX1183" fmla="*/ 5359 w 10785"/>
                <a:gd name="connsiteY1183" fmla="*/ 2103 h 10000"/>
                <a:gd name="connsiteX1184" fmla="*/ 5359 w 10785"/>
                <a:gd name="connsiteY1184" fmla="*/ 2120 h 10000"/>
                <a:gd name="connsiteX1185" fmla="*/ 5359 w 10785"/>
                <a:gd name="connsiteY1185" fmla="*/ 2137 h 10000"/>
                <a:gd name="connsiteX1186" fmla="*/ 5313 w 10785"/>
                <a:gd name="connsiteY1186" fmla="*/ 2162 h 10000"/>
                <a:gd name="connsiteX1187" fmla="*/ 5300 w 10785"/>
                <a:gd name="connsiteY1187" fmla="*/ 2162 h 10000"/>
                <a:gd name="connsiteX1188" fmla="*/ 5300 w 10785"/>
                <a:gd name="connsiteY1188" fmla="*/ 2171 h 10000"/>
                <a:gd name="connsiteX1189" fmla="*/ 5300 w 10785"/>
                <a:gd name="connsiteY1189" fmla="*/ 2197 h 10000"/>
                <a:gd name="connsiteX1190" fmla="*/ 5276 w 10785"/>
                <a:gd name="connsiteY1190" fmla="*/ 2188 h 10000"/>
                <a:gd name="connsiteX1191" fmla="*/ 5249 w 10785"/>
                <a:gd name="connsiteY1191" fmla="*/ 2222 h 10000"/>
                <a:gd name="connsiteX1192" fmla="*/ 5249 w 10785"/>
                <a:gd name="connsiteY1192" fmla="*/ 2222 h 10000"/>
                <a:gd name="connsiteX1193" fmla="*/ 5217 w 10785"/>
                <a:gd name="connsiteY1193" fmla="*/ 2214 h 10000"/>
                <a:gd name="connsiteX1194" fmla="*/ 5203 w 10785"/>
                <a:gd name="connsiteY1194" fmla="*/ 2239 h 10000"/>
                <a:gd name="connsiteX1195" fmla="*/ 5171 w 10785"/>
                <a:gd name="connsiteY1195" fmla="*/ 2214 h 10000"/>
                <a:gd name="connsiteX1196" fmla="*/ 5157 w 10785"/>
                <a:gd name="connsiteY1196" fmla="*/ 2239 h 10000"/>
                <a:gd name="connsiteX1197" fmla="*/ 5166 w 10785"/>
                <a:gd name="connsiteY1197" fmla="*/ 2256 h 10000"/>
                <a:gd name="connsiteX1198" fmla="*/ 5171 w 10785"/>
                <a:gd name="connsiteY1198" fmla="*/ 2308 h 10000"/>
                <a:gd name="connsiteX1199" fmla="*/ 5212 w 10785"/>
                <a:gd name="connsiteY1199" fmla="*/ 2350 h 10000"/>
                <a:gd name="connsiteX1200" fmla="*/ 5203 w 10785"/>
                <a:gd name="connsiteY1200" fmla="*/ 2350 h 10000"/>
                <a:gd name="connsiteX1201" fmla="*/ 5166 w 10785"/>
                <a:gd name="connsiteY1201" fmla="*/ 2325 h 10000"/>
                <a:gd name="connsiteX1202" fmla="*/ 5152 w 10785"/>
                <a:gd name="connsiteY1202" fmla="*/ 2308 h 10000"/>
                <a:gd name="connsiteX1203" fmla="*/ 5143 w 10785"/>
                <a:gd name="connsiteY1203" fmla="*/ 2333 h 10000"/>
                <a:gd name="connsiteX1204" fmla="*/ 5138 w 10785"/>
                <a:gd name="connsiteY1204" fmla="*/ 2333 h 10000"/>
                <a:gd name="connsiteX1205" fmla="*/ 5124 w 10785"/>
                <a:gd name="connsiteY1205" fmla="*/ 2376 h 10000"/>
                <a:gd name="connsiteX1206" fmla="*/ 5115 w 10785"/>
                <a:gd name="connsiteY1206" fmla="*/ 2385 h 10000"/>
                <a:gd name="connsiteX1207" fmla="*/ 5106 w 10785"/>
                <a:gd name="connsiteY1207" fmla="*/ 2385 h 10000"/>
                <a:gd name="connsiteX1208" fmla="*/ 5055 w 10785"/>
                <a:gd name="connsiteY1208" fmla="*/ 2470 h 10000"/>
                <a:gd name="connsiteX1209" fmla="*/ 5065 w 10785"/>
                <a:gd name="connsiteY1209" fmla="*/ 2462 h 10000"/>
                <a:gd name="connsiteX1210" fmla="*/ 5055 w 10785"/>
                <a:gd name="connsiteY1210" fmla="*/ 2444 h 10000"/>
                <a:gd name="connsiteX1211" fmla="*/ 5041 w 10785"/>
                <a:gd name="connsiteY1211" fmla="*/ 2462 h 10000"/>
                <a:gd name="connsiteX1212" fmla="*/ 5037 w 10785"/>
                <a:gd name="connsiteY1212" fmla="*/ 2470 h 10000"/>
                <a:gd name="connsiteX1213" fmla="*/ 5032 w 10785"/>
                <a:gd name="connsiteY1213" fmla="*/ 2470 h 10000"/>
                <a:gd name="connsiteX1214" fmla="*/ 5032 w 10785"/>
                <a:gd name="connsiteY1214" fmla="*/ 2444 h 10000"/>
                <a:gd name="connsiteX1215" fmla="*/ 5055 w 10785"/>
                <a:gd name="connsiteY1215" fmla="*/ 2410 h 10000"/>
                <a:gd name="connsiteX1216" fmla="*/ 5065 w 10785"/>
                <a:gd name="connsiteY1216" fmla="*/ 2393 h 10000"/>
                <a:gd name="connsiteX1217" fmla="*/ 5069 w 10785"/>
                <a:gd name="connsiteY1217" fmla="*/ 2385 h 10000"/>
                <a:gd name="connsiteX1218" fmla="*/ 5083 w 10785"/>
                <a:gd name="connsiteY1218" fmla="*/ 2376 h 10000"/>
                <a:gd name="connsiteX1219" fmla="*/ 5097 w 10785"/>
                <a:gd name="connsiteY1219" fmla="*/ 2376 h 10000"/>
                <a:gd name="connsiteX1220" fmla="*/ 5124 w 10785"/>
                <a:gd name="connsiteY1220" fmla="*/ 2325 h 10000"/>
                <a:gd name="connsiteX1221" fmla="*/ 5143 w 10785"/>
                <a:gd name="connsiteY1221" fmla="*/ 2248 h 10000"/>
                <a:gd name="connsiteX1222" fmla="*/ 5152 w 10785"/>
                <a:gd name="connsiteY1222" fmla="*/ 2239 h 10000"/>
                <a:gd name="connsiteX1223" fmla="*/ 5166 w 10785"/>
                <a:gd name="connsiteY1223" fmla="*/ 2162 h 10000"/>
                <a:gd name="connsiteX1224" fmla="*/ 5171 w 10785"/>
                <a:gd name="connsiteY1224" fmla="*/ 2171 h 10000"/>
                <a:gd name="connsiteX1225" fmla="*/ 5198 w 10785"/>
                <a:gd name="connsiteY1225" fmla="*/ 2145 h 10000"/>
                <a:gd name="connsiteX1226" fmla="*/ 5203 w 10785"/>
                <a:gd name="connsiteY1226" fmla="*/ 2111 h 10000"/>
                <a:gd name="connsiteX1227" fmla="*/ 5217 w 10785"/>
                <a:gd name="connsiteY1227" fmla="*/ 2060 h 10000"/>
                <a:gd name="connsiteX1228" fmla="*/ 5226 w 10785"/>
                <a:gd name="connsiteY1228" fmla="*/ 2026 h 10000"/>
                <a:gd name="connsiteX1229" fmla="*/ 5286 w 10785"/>
                <a:gd name="connsiteY1229" fmla="*/ 2026 h 10000"/>
                <a:gd name="connsiteX1230" fmla="*/ 5290 w 10785"/>
                <a:gd name="connsiteY1230" fmla="*/ 2034 h 10000"/>
                <a:gd name="connsiteX1231" fmla="*/ 5323 w 10785"/>
                <a:gd name="connsiteY1231" fmla="*/ 1923 h 10000"/>
                <a:gd name="connsiteX1232" fmla="*/ 5323 w 10785"/>
                <a:gd name="connsiteY1232" fmla="*/ 1889 h 10000"/>
                <a:gd name="connsiteX1233" fmla="*/ 5359 w 10785"/>
                <a:gd name="connsiteY1233" fmla="*/ 1829 h 10000"/>
                <a:gd name="connsiteX1234" fmla="*/ 5378 w 10785"/>
                <a:gd name="connsiteY1234" fmla="*/ 1812 h 10000"/>
                <a:gd name="connsiteX1235" fmla="*/ 5406 w 10785"/>
                <a:gd name="connsiteY1235" fmla="*/ 1752 h 10000"/>
                <a:gd name="connsiteX1236" fmla="*/ 5410 w 10785"/>
                <a:gd name="connsiteY1236" fmla="*/ 1718 h 10000"/>
                <a:gd name="connsiteX1237" fmla="*/ 5438 w 10785"/>
                <a:gd name="connsiteY1237" fmla="*/ 1667 h 10000"/>
                <a:gd name="connsiteX1238" fmla="*/ 5438 w 10785"/>
                <a:gd name="connsiteY1238" fmla="*/ 1650 h 10000"/>
                <a:gd name="connsiteX1239" fmla="*/ 5438 w 10785"/>
                <a:gd name="connsiteY1239" fmla="*/ 1641 h 10000"/>
                <a:gd name="connsiteX1240" fmla="*/ 5452 w 10785"/>
                <a:gd name="connsiteY1240" fmla="*/ 1641 h 10000"/>
                <a:gd name="connsiteX1241" fmla="*/ 5456 w 10785"/>
                <a:gd name="connsiteY1241" fmla="*/ 1615 h 10000"/>
                <a:gd name="connsiteX1242" fmla="*/ 5456 w 10785"/>
                <a:gd name="connsiteY1242" fmla="*/ 1615 h 10000"/>
                <a:gd name="connsiteX1243" fmla="*/ 5465 w 10785"/>
                <a:gd name="connsiteY1243" fmla="*/ 1598 h 10000"/>
                <a:gd name="connsiteX1244" fmla="*/ 5465 w 10785"/>
                <a:gd name="connsiteY1244" fmla="*/ 1615 h 10000"/>
                <a:gd name="connsiteX1245" fmla="*/ 5479 w 10785"/>
                <a:gd name="connsiteY1245" fmla="*/ 1598 h 10000"/>
                <a:gd name="connsiteX1246" fmla="*/ 5484 w 10785"/>
                <a:gd name="connsiteY1246" fmla="*/ 1581 h 10000"/>
                <a:gd name="connsiteX1247" fmla="*/ 5493 w 10785"/>
                <a:gd name="connsiteY1247" fmla="*/ 1581 h 10000"/>
                <a:gd name="connsiteX1248" fmla="*/ 5512 w 10785"/>
                <a:gd name="connsiteY1248" fmla="*/ 1538 h 10000"/>
                <a:gd name="connsiteX1249" fmla="*/ 5530 w 10785"/>
                <a:gd name="connsiteY1249" fmla="*/ 1564 h 10000"/>
                <a:gd name="connsiteX1250" fmla="*/ 5530 w 10785"/>
                <a:gd name="connsiteY1250" fmla="*/ 1538 h 10000"/>
                <a:gd name="connsiteX1251" fmla="*/ 5539 w 10785"/>
                <a:gd name="connsiteY1251" fmla="*/ 1530 h 10000"/>
                <a:gd name="connsiteX1252" fmla="*/ 5530 w 10785"/>
                <a:gd name="connsiteY1252" fmla="*/ 1504 h 10000"/>
                <a:gd name="connsiteX1253" fmla="*/ 5567 w 10785"/>
                <a:gd name="connsiteY1253" fmla="*/ 1479 h 10000"/>
                <a:gd name="connsiteX1254" fmla="*/ 5553 w 10785"/>
                <a:gd name="connsiteY1254" fmla="*/ 1479 h 10000"/>
                <a:gd name="connsiteX1255" fmla="*/ 5553 w 10785"/>
                <a:gd name="connsiteY1255" fmla="*/ 1453 h 10000"/>
                <a:gd name="connsiteX1256" fmla="*/ 5581 w 10785"/>
                <a:gd name="connsiteY1256" fmla="*/ 1444 h 10000"/>
                <a:gd name="connsiteX1257" fmla="*/ 5581 w 10785"/>
                <a:gd name="connsiteY1257" fmla="*/ 1453 h 10000"/>
                <a:gd name="connsiteX1258" fmla="*/ 5585 w 10785"/>
                <a:gd name="connsiteY1258" fmla="*/ 1444 h 10000"/>
                <a:gd name="connsiteX1259" fmla="*/ 5594 w 10785"/>
                <a:gd name="connsiteY1259" fmla="*/ 1427 h 10000"/>
                <a:gd name="connsiteX1260" fmla="*/ 5599 w 10785"/>
                <a:gd name="connsiteY1260" fmla="*/ 1419 h 10000"/>
                <a:gd name="connsiteX1261" fmla="*/ 5594 w 10785"/>
                <a:gd name="connsiteY1261" fmla="*/ 1402 h 10000"/>
                <a:gd name="connsiteX1262" fmla="*/ 5604 w 10785"/>
                <a:gd name="connsiteY1262" fmla="*/ 1393 h 10000"/>
                <a:gd name="connsiteX1263" fmla="*/ 5618 w 10785"/>
                <a:gd name="connsiteY1263" fmla="*/ 1393 h 10000"/>
                <a:gd name="connsiteX1264" fmla="*/ 5627 w 10785"/>
                <a:gd name="connsiteY1264" fmla="*/ 1368 h 10000"/>
                <a:gd name="connsiteX1265" fmla="*/ 5627 w 10785"/>
                <a:gd name="connsiteY1265" fmla="*/ 1325 h 10000"/>
                <a:gd name="connsiteX1266" fmla="*/ 5645 w 10785"/>
                <a:gd name="connsiteY1266" fmla="*/ 1291 h 10000"/>
                <a:gd name="connsiteX1267" fmla="*/ 5645 w 10785"/>
                <a:gd name="connsiteY1267" fmla="*/ 1282 h 10000"/>
                <a:gd name="connsiteX1268" fmla="*/ 5654 w 10785"/>
                <a:gd name="connsiteY1268" fmla="*/ 1265 h 10000"/>
                <a:gd name="connsiteX1269" fmla="*/ 5654 w 10785"/>
                <a:gd name="connsiteY1269" fmla="*/ 1214 h 10000"/>
                <a:gd name="connsiteX1270" fmla="*/ 5654 w 10785"/>
                <a:gd name="connsiteY1270" fmla="*/ 1214 h 10000"/>
                <a:gd name="connsiteX1271" fmla="*/ 5645 w 10785"/>
                <a:gd name="connsiteY1271" fmla="*/ 1197 h 10000"/>
                <a:gd name="connsiteX1272" fmla="*/ 5659 w 10785"/>
                <a:gd name="connsiteY1272" fmla="*/ 1197 h 10000"/>
                <a:gd name="connsiteX1273" fmla="*/ 5654 w 10785"/>
                <a:gd name="connsiteY1273" fmla="*/ 1154 h 10000"/>
                <a:gd name="connsiteX1274" fmla="*/ 5641 w 10785"/>
                <a:gd name="connsiteY1274" fmla="*/ 1154 h 10000"/>
                <a:gd name="connsiteX1275" fmla="*/ 5627 w 10785"/>
                <a:gd name="connsiteY1275" fmla="*/ 1128 h 10000"/>
                <a:gd name="connsiteX1276" fmla="*/ 5618 w 10785"/>
                <a:gd name="connsiteY1276" fmla="*/ 1094 h 10000"/>
                <a:gd name="connsiteX1277" fmla="*/ 5613 w 10785"/>
                <a:gd name="connsiteY1277" fmla="*/ 1094 h 10000"/>
                <a:gd name="connsiteX1278" fmla="*/ 5604 w 10785"/>
                <a:gd name="connsiteY1278" fmla="*/ 1120 h 10000"/>
                <a:gd name="connsiteX1279" fmla="*/ 5604 w 10785"/>
                <a:gd name="connsiteY1279" fmla="*/ 1128 h 10000"/>
                <a:gd name="connsiteX1280" fmla="*/ 5599 w 10785"/>
                <a:gd name="connsiteY1280" fmla="*/ 1103 h 10000"/>
                <a:gd name="connsiteX1281" fmla="*/ 5599 w 10785"/>
                <a:gd name="connsiteY1281" fmla="*/ 1103 h 10000"/>
                <a:gd name="connsiteX1282" fmla="*/ 5594 w 10785"/>
                <a:gd name="connsiteY1282" fmla="*/ 1068 h 10000"/>
                <a:gd name="connsiteX1283" fmla="*/ 5594 w 10785"/>
                <a:gd name="connsiteY1283" fmla="*/ 1060 h 10000"/>
                <a:gd name="connsiteX1284" fmla="*/ 5581 w 10785"/>
                <a:gd name="connsiteY1284" fmla="*/ 1034 h 10000"/>
                <a:gd name="connsiteX1285" fmla="*/ 5571 w 10785"/>
                <a:gd name="connsiteY1285" fmla="*/ 1009 h 10000"/>
                <a:gd name="connsiteX1286" fmla="*/ 5571 w 10785"/>
                <a:gd name="connsiteY1286" fmla="*/ 991 h 10000"/>
                <a:gd name="connsiteX1287" fmla="*/ 5585 w 10785"/>
                <a:gd name="connsiteY1287" fmla="*/ 1009 h 10000"/>
                <a:gd name="connsiteX1288" fmla="*/ 5604 w 10785"/>
                <a:gd name="connsiteY1288" fmla="*/ 1043 h 10000"/>
                <a:gd name="connsiteX1289" fmla="*/ 5641 w 10785"/>
                <a:gd name="connsiteY1289" fmla="*/ 1094 h 10000"/>
                <a:gd name="connsiteX1290" fmla="*/ 5631 w 10785"/>
                <a:gd name="connsiteY1290" fmla="*/ 1128 h 10000"/>
                <a:gd name="connsiteX1291" fmla="*/ 5641 w 10785"/>
                <a:gd name="connsiteY1291" fmla="*/ 1128 h 10000"/>
                <a:gd name="connsiteX1292" fmla="*/ 5659 w 10785"/>
                <a:gd name="connsiteY1292" fmla="*/ 1017 h 10000"/>
                <a:gd name="connsiteX1293" fmla="*/ 5659 w 10785"/>
                <a:gd name="connsiteY1293" fmla="*/ 983 h 10000"/>
                <a:gd name="connsiteX1294" fmla="*/ 5659 w 10785"/>
                <a:gd name="connsiteY1294" fmla="*/ 957 h 10000"/>
                <a:gd name="connsiteX1295" fmla="*/ 5654 w 10785"/>
                <a:gd name="connsiteY1295" fmla="*/ 966 h 10000"/>
                <a:gd name="connsiteX1296" fmla="*/ 5641 w 10785"/>
                <a:gd name="connsiteY1296" fmla="*/ 957 h 10000"/>
                <a:gd name="connsiteX1297" fmla="*/ 5631 w 10785"/>
                <a:gd name="connsiteY1297" fmla="*/ 897 h 10000"/>
                <a:gd name="connsiteX1298" fmla="*/ 5641 w 10785"/>
                <a:gd name="connsiteY1298" fmla="*/ 872 h 10000"/>
                <a:gd name="connsiteX1299" fmla="*/ 5618 w 10785"/>
                <a:gd name="connsiteY1299" fmla="*/ 803 h 10000"/>
                <a:gd name="connsiteX1300" fmla="*/ 5604 w 10785"/>
                <a:gd name="connsiteY1300" fmla="*/ 821 h 10000"/>
                <a:gd name="connsiteX1301" fmla="*/ 5613 w 10785"/>
                <a:gd name="connsiteY1301" fmla="*/ 846 h 10000"/>
                <a:gd name="connsiteX1302" fmla="*/ 5604 w 10785"/>
                <a:gd name="connsiteY1302" fmla="*/ 855 h 10000"/>
                <a:gd name="connsiteX1303" fmla="*/ 5599 w 10785"/>
                <a:gd name="connsiteY1303" fmla="*/ 880 h 10000"/>
                <a:gd name="connsiteX1304" fmla="*/ 5594 w 10785"/>
                <a:gd name="connsiteY1304" fmla="*/ 880 h 10000"/>
                <a:gd name="connsiteX1305" fmla="*/ 5585 w 10785"/>
                <a:gd name="connsiteY1305" fmla="*/ 829 h 10000"/>
                <a:gd name="connsiteX1306" fmla="*/ 5571 w 10785"/>
                <a:gd name="connsiteY1306" fmla="*/ 803 h 10000"/>
                <a:gd name="connsiteX1307" fmla="*/ 5585 w 10785"/>
                <a:gd name="connsiteY1307" fmla="*/ 795 h 10000"/>
                <a:gd name="connsiteX1308" fmla="*/ 5585 w 10785"/>
                <a:gd name="connsiteY1308" fmla="*/ 761 h 10000"/>
                <a:gd name="connsiteX1309" fmla="*/ 5558 w 10785"/>
                <a:gd name="connsiteY1309" fmla="*/ 709 h 10000"/>
                <a:gd name="connsiteX1310" fmla="*/ 5544 w 10785"/>
                <a:gd name="connsiteY1310" fmla="*/ 709 h 10000"/>
                <a:gd name="connsiteX1311" fmla="*/ 5544 w 10785"/>
                <a:gd name="connsiteY1311" fmla="*/ 684 h 10000"/>
                <a:gd name="connsiteX1312" fmla="*/ 5525 w 10785"/>
                <a:gd name="connsiteY1312" fmla="*/ 632 h 10000"/>
                <a:gd name="connsiteX1313" fmla="*/ 5507 w 10785"/>
                <a:gd name="connsiteY1313" fmla="*/ 607 h 10000"/>
                <a:gd name="connsiteX1314" fmla="*/ 5512 w 10785"/>
                <a:gd name="connsiteY1314" fmla="*/ 598 h 10000"/>
                <a:gd name="connsiteX1315" fmla="*/ 5507 w 10785"/>
                <a:gd name="connsiteY1315" fmla="*/ 581 h 10000"/>
                <a:gd name="connsiteX1316" fmla="*/ 5493 w 10785"/>
                <a:gd name="connsiteY1316" fmla="*/ 573 h 10000"/>
                <a:gd name="connsiteX1317" fmla="*/ 5484 w 10785"/>
                <a:gd name="connsiteY1317" fmla="*/ 581 h 10000"/>
                <a:gd name="connsiteX1318" fmla="*/ 5484 w 10785"/>
                <a:gd name="connsiteY1318" fmla="*/ 573 h 10000"/>
                <a:gd name="connsiteX1319" fmla="*/ 5484 w 10785"/>
                <a:gd name="connsiteY1319" fmla="*/ 547 h 10000"/>
                <a:gd name="connsiteX1320" fmla="*/ 5465 w 10785"/>
                <a:gd name="connsiteY1320" fmla="*/ 556 h 10000"/>
                <a:gd name="connsiteX1321" fmla="*/ 5433 w 10785"/>
                <a:gd name="connsiteY1321" fmla="*/ 547 h 10000"/>
                <a:gd name="connsiteX1322" fmla="*/ 5410 w 10785"/>
                <a:gd name="connsiteY1322" fmla="*/ 573 h 10000"/>
                <a:gd name="connsiteX1323" fmla="*/ 5406 w 10785"/>
                <a:gd name="connsiteY1323" fmla="*/ 573 h 10000"/>
                <a:gd name="connsiteX1324" fmla="*/ 5392 w 10785"/>
                <a:gd name="connsiteY1324" fmla="*/ 573 h 10000"/>
                <a:gd name="connsiteX1325" fmla="*/ 5364 w 10785"/>
                <a:gd name="connsiteY1325" fmla="*/ 530 h 10000"/>
                <a:gd name="connsiteX1326" fmla="*/ 5350 w 10785"/>
                <a:gd name="connsiteY1326" fmla="*/ 556 h 10000"/>
                <a:gd name="connsiteX1327" fmla="*/ 5346 w 10785"/>
                <a:gd name="connsiteY1327" fmla="*/ 556 h 10000"/>
                <a:gd name="connsiteX1328" fmla="*/ 5313 w 10785"/>
                <a:gd name="connsiteY1328" fmla="*/ 573 h 10000"/>
                <a:gd name="connsiteX1329" fmla="*/ 5304 w 10785"/>
                <a:gd name="connsiteY1329" fmla="*/ 556 h 10000"/>
                <a:gd name="connsiteX1330" fmla="*/ 5290 w 10785"/>
                <a:gd name="connsiteY1330" fmla="*/ 573 h 10000"/>
                <a:gd name="connsiteX1331" fmla="*/ 5290 w 10785"/>
                <a:gd name="connsiteY1331" fmla="*/ 556 h 10000"/>
                <a:gd name="connsiteX1332" fmla="*/ 5300 w 10785"/>
                <a:gd name="connsiteY1332" fmla="*/ 547 h 10000"/>
                <a:gd name="connsiteX1333" fmla="*/ 5300 w 10785"/>
                <a:gd name="connsiteY1333" fmla="*/ 530 h 10000"/>
                <a:gd name="connsiteX1334" fmla="*/ 5290 w 10785"/>
                <a:gd name="connsiteY1334" fmla="*/ 530 h 10000"/>
                <a:gd name="connsiteX1335" fmla="*/ 5286 w 10785"/>
                <a:gd name="connsiteY1335" fmla="*/ 547 h 10000"/>
                <a:gd name="connsiteX1336" fmla="*/ 5272 w 10785"/>
                <a:gd name="connsiteY1336" fmla="*/ 556 h 10000"/>
                <a:gd name="connsiteX1337" fmla="*/ 5272 w 10785"/>
                <a:gd name="connsiteY1337" fmla="*/ 598 h 10000"/>
                <a:gd name="connsiteX1338" fmla="*/ 5276 w 10785"/>
                <a:gd name="connsiteY1338" fmla="*/ 581 h 10000"/>
                <a:gd name="connsiteX1339" fmla="*/ 5272 w 10785"/>
                <a:gd name="connsiteY1339" fmla="*/ 607 h 10000"/>
                <a:gd name="connsiteX1340" fmla="*/ 5263 w 10785"/>
                <a:gd name="connsiteY1340" fmla="*/ 607 h 10000"/>
                <a:gd name="connsiteX1341" fmla="*/ 5263 w 10785"/>
                <a:gd name="connsiteY1341" fmla="*/ 632 h 10000"/>
                <a:gd name="connsiteX1342" fmla="*/ 5258 w 10785"/>
                <a:gd name="connsiteY1342" fmla="*/ 658 h 10000"/>
                <a:gd name="connsiteX1343" fmla="*/ 5244 w 10785"/>
                <a:gd name="connsiteY1343" fmla="*/ 667 h 10000"/>
                <a:gd name="connsiteX1344" fmla="*/ 5240 w 10785"/>
                <a:gd name="connsiteY1344" fmla="*/ 658 h 10000"/>
                <a:gd name="connsiteX1345" fmla="*/ 5240 w 10785"/>
                <a:gd name="connsiteY1345" fmla="*/ 684 h 10000"/>
                <a:gd name="connsiteX1346" fmla="*/ 5212 w 10785"/>
                <a:gd name="connsiteY1346" fmla="*/ 684 h 10000"/>
                <a:gd name="connsiteX1347" fmla="*/ 5198 w 10785"/>
                <a:gd name="connsiteY1347" fmla="*/ 692 h 10000"/>
                <a:gd name="connsiteX1348" fmla="*/ 5184 w 10785"/>
                <a:gd name="connsiteY1348" fmla="*/ 684 h 10000"/>
                <a:gd name="connsiteX1349" fmla="*/ 5157 w 10785"/>
                <a:gd name="connsiteY1349" fmla="*/ 684 h 10000"/>
                <a:gd name="connsiteX1350" fmla="*/ 5157 w 10785"/>
                <a:gd name="connsiteY1350" fmla="*/ 667 h 10000"/>
                <a:gd name="connsiteX1351" fmla="*/ 5157 w 10785"/>
                <a:gd name="connsiteY1351" fmla="*/ 667 h 10000"/>
                <a:gd name="connsiteX1352" fmla="*/ 5180 w 10785"/>
                <a:gd name="connsiteY1352" fmla="*/ 650 h 10000"/>
                <a:gd name="connsiteX1353" fmla="*/ 5184 w 10785"/>
                <a:gd name="connsiteY1353" fmla="*/ 658 h 10000"/>
                <a:gd name="connsiteX1354" fmla="*/ 5203 w 10785"/>
                <a:gd name="connsiteY1354" fmla="*/ 547 h 10000"/>
                <a:gd name="connsiteX1355" fmla="*/ 5226 w 10785"/>
                <a:gd name="connsiteY1355" fmla="*/ 530 h 10000"/>
                <a:gd name="connsiteX1356" fmla="*/ 5230 w 10785"/>
                <a:gd name="connsiteY1356" fmla="*/ 487 h 10000"/>
                <a:gd name="connsiteX1357" fmla="*/ 5230 w 10785"/>
                <a:gd name="connsiteY1357" fmla="*/ 487 h 10000"/>
                <a:gd name="connsiteX1358" fmla="*/ 5226 w 10785"/>
                <a:gd name="connsiteY1358" fmla="*/ 462 h 10000"/>
                <a:gd name="connsiteX1359" fmla="*/ 5226 w 10785"/>
                <a:gd name="connsiteY1359" fmla="*/ 462 h 10000"/>
                <a:gd name="connsiteX1360" fmla="*/ 5240 w 10785"/>
                <a:gd name="connsiteY1360" fmla="*/ 462 h 10000"/>
                <a:gd name="connsiteX1361" fmla="*/ 5240 w 10785"/>
                <a:gd name="connsiteY1361" fmla="*/ 444 h 10000"/>
                <a:gd name="connsiteX1362" fmla="*/ 5230 w 10785"/>
                <a:gd name="connsiteY1362" fmla="*/ 436 h 10000"/>
                <a:gd name="connsiteX1363" fmla="*/ 5230 w 10785"/>
                <a:gd name="connsiteY1363" fmla="*/ 419 h 10000"/>
                <a:gd name="connsiteX1364" fmla="*/ 5230 w 10785"/>
                <a:gd name="connsiteY1364" fmla="*/ 410 h 10000"/>
                <a:gd name="connsiteX1365" fmla="*/ 5198 w 10785"/>
                <a:gd name="connsiteY1365" fmla="*/ 402 h 10000"/>
                <a:gd name="connsiteX1366" fmla="*/ 5189 w 10785"/>
                <a:gd name="connsiteY1366" fmla="*/ 402 h 10000"/>
                <a:gd name="connsiteX1367" fmla="*/ 5184 w 10785"/>
                <a:gd name="connsiteY1367" fmla="*/ 376 h 10000"/>
                <a:gd name="connsiteX1368" fmla="*/ 5180 w 10785"/>
                <a:gd name="connsiteY1368" fmla="*/ 376 h 10000"/>
                <a:gd name="connsiteX1369" fmla="*/ 5166 w 10785"/>
                <a:gd name="connsiteY1369" fmla="*/ 376 h 10000"/>
                <a:gd name="connsiteX1370" fmla="*/ 5157 w 10785"/>
                <a:gd name="connsiteY1370" fmla="*/ 385 h 10000"/>
                <a:gd name="connsiteX1371" fmla="*/ 5152 w 10785"/>
                <a:gd name="connsiteY1371" fmla="*/ 376 h 10000"/>
                <a:gd name="connsiteX1372" fmla="*/ 5129 w 10785"/>
                <a:gd name="connsiteY1372" fmla="*/ 385 h 10000"/>
                <a:gd name="connsiteX1373" fmla="*/ 5129 w 10785"/>
                <a:gd name="connsiteY1373" fmla="*/ 350 h 10000"/>
                <a:gd name="connsiteX1374" fmla="*/ 5129 w 10785"/>
                <a:gd name="connsiteY1374" fmla="*/ 325 h 10000"/>
                <a:gd name="connsiteX1375" fmla="*/ 5124 w 10785"/>
                <a:gd name="connsiteY1375" fmla="*/ 359 h 10000"/>
                <a:gd name="connsiteX1376" fmla="*/ 5106 w 10785"/>
                <a:gd name="connsiteY1376" fmla="*/ 359 h 10000"/>
                <a:gd name="connsiteX1377" fmla="*/ 5037 w 10785"/>
                <a:gd name="connsiteY1377" fmla="*/ 419 h 10000"/>
                <a:gd name="connsiteX1378" fmla="*/ 5051 w 10785"/>
                <a:gd name="connsiteY1378" fmla="*/ 385 h 10000"/>
                <a:gd name="connsiteX1379" fmla="*/ 5055 w 10785"/>
                <a:gd name="connsiteY1379" fmla="*/ 376 h 10000"/>
                <a:gd name="connsiteX1380" fmla="*/ 5092 w 10785"/>
                <a:gd name="connsiteY1380" fmla="*/ 282 h 10000"/>
                <a:gd name="connsiteX1381" fmla="*/ 5106 w 10785"/>
                <a:gd name="connsiteY1381" fmla="*/ 265 h 10000"/>
                <a:gd name="connsiteX1382" fmla="*/ 5115 w 10785"/>
                <a:gd name="connsiteY1382" fmla="*/ 265 h 10000"/>
                <a:gd name="connsiteX1383" fmla="*/ 5124 w 10785"/>
                <a:gd name="connsiteY1383" fmla="*/ 222 h 10000"/>
                <a:gd name="connsiteX1384" fmla="*/ 5124 w 10785"/>
                <a:gd name="connsiteY1384" fmla="*/ 214 h 10000"/>
                <a:gd name="connsiteX1385" fmla="*/ 5143 w 10785"/>
                <a:gd name="connsiteY1385" fmla="*/ 197 h 10000"/>
                <a:gd name="connsiteX1386" fmla="*/ 5152 w 10785"/>
                <a:gd name="connsiteY1386" fmla="*/ 214 h 10000"/>
                <a:gd name="connsiteX1387" fmla="*/ 5143 w 10785"/>
                <a:gd name="connsiteY1387" fmla="*/ 188 h 10000"/>
                <a:gd name="connsiteX1388" fmla="*/ 5129 w 10785"/>
                <a:gd name="connsiteY1388" fmla="*/ 103 h 10000"/>
                <a:gd name="connsiteX1389" fmla="*/ 5115 w 10785"/>
                <a:gd name="connsiteY1389" fmla="*/ 85 h 10000"/>
                <a:gd name="connsiteX1390" fmla="*/ 5111 w 10785"/>
                <a:gd name="connsiteY1390" fmla="*/ 111 h 10000"/>
                <a:gd name="connsiteX1391" fmla="*/ 5092 w 10785"/>
                <a:gd name="connsiteY1391" fmla="*/ 103 h 10000"/>
                <a:gd name="connsiteX1392" fmla="*/ 5069 w 10785"/>
                <a:gd name="connsiteY1392" fmla="*/ 77 h 10000"/>
                <a:gd name="connsiteX1393" fmla="*/ 5051 w 10785"/>
                <a:gd name="connsiteY1393" fmla="*/ 26 h 10000"/>
                <a:gd name="connsiteX1394" fmla="*/ 5041 w 10785"/>
                <a:gd name="connsiteY1394" fmla="*/ 34 h 10000"/>
                <a:gd name="connsiteX1395" fmla="*/ 5037 w 10785"/>
                <a:gd name="connsiteY1395" fmla="*/ 34 h 10000"/>
                <a:gd name="connsiteX1396" fmla="*/ 5037 w 10785"/>
                <a:gd name="connsiteY1396" fmla="*/ 26 h 10000"/>
                <a:gd name="connsiteX1397" fmla="*/ 5037 w 10785"/>
                <a:gd name="connsiteY1397" fmla="*/ 9 h 10000"/>
                <a:gd name="connsiteX1398" fmla="*/ 5023 w 10785"/>
                <a:gd name="connsiteY1398" fmla="*/ 0 h 10000"/>
                <a:gd name="connsiteX1399" fmla="*/ 5009 w 10785"/>
                <a:gd name="connsiteY1399" fmla="*/ 9 h 10000"/>
                <a:gd name="connsiteX1400" fmla="*/ 4995 w 10785"/>
                <a:gd name="connsiteY1400" fmla="*/ 34 h 10000"/>
                <a:gd name="connsiteX1401" fmla="*/ 4991 w 10785"/>
                <a:gd name="connsiteY1401" fmla="*/ 60 h 10000"/>
                <a:gd name="connsiteX1402" fmla="*/ 4982 w 10785"/>
                <a:gd name="connsiteY1402" fmla="*/ 60 h 10000"/>
                <a:gd name="connsiteX1403" fmla="*/ 4949 w 10785"/>
                <a:gd name="connsiteY1403" fmla="*/ 51 h 10000"/>
                <a:gd name="connsiteX1404" fmla="*/ 4949 w 10785"/>
                <a:gd name="connsiteY1404" fmla="*/ 85 h 10000"/>
                <a:gd name="connsiteX1405" fmla="*/ 4903 w 10785"/>
                <a:gd name="connsiteY1405" fmla="*/ 197 h 10000"/>
                <a:gd name="connsiteX1406" fmla="*/ 4899 w 10785"/>
                <a:gd name="connsiteY1406" fmla="*/ 239 h 10000"/>
                <a:gd name="connsiteX1407" fmla="*/ 4871 w 10785"/>
                <a:gd name="connsiteY1407" fmla="*/ 274 h 10000"/>
                <a:gd name="connsiteX1408" fmla="*/ 4871 w 10785"/>
                <a:gd name="connsiteY1408" fmla="*/ 282 h 10000"/>
                <a:gd name="connsiteX1409" fmla="*/ 4834 w 10785"/>
                <a:gd name="connsiteY1409" fmla="*/ 376 h 10000"/>
                <a:gd name="connsiteX1410" fmla="*/ 4829 w 10785"/>
                <a:gd name="connsiteY1410" fmla="*/ 402 h 10000"/>
                <a:gd name="connsiteX1411" fmla="*/ 4834 w 10785"/>
                <a:gd name="connsiteY1411" fmla="*/ 410 h 10000"/>
                <a:gd name="connsiteX1412" fmla="*/ 4829 w 10785"/>
                <a:gd name="connsiteY1412" fmla="*/ 436 h 10000"/>
                <a:gd name="connsiteX1413" fmla="*/ 4825 w 10785"/>
                <a:gd name="connsiteY1413" fmla="*/ 436 h 10000"/>
                <a:gd name="connsiteX1414" fmla="*/ 4825 w 10785"/>
                <a:gd name="connsiteY1414" fmla="*/ 444 h 10000"/>
                <a:gd name="connsiteX1415" fmla="*/ 4811 w 10785"/>
                <a:gd name="connsiteY1415" fmla="*/ 496 h 10000"/>
                <a:gd name="connsiteX1416" fmla="*/ 4811 w 10785"/>
                <a:gd name="connsiteY1416" fmla="*/ 496 h 10000"/>
                <a:gd name="connsiteX1417" fmla="*/ 4811 w 10785"/>
                <a:gd name="connsiteY1417" fmla="*/ 521 h 10000"/>
                <a:gd name="connsiteX1418" fmla="*/ 4816 w 10785"/>
                <a:gd name="connsiteY1418" fmla="*/ 530 h 10000"/>
                <a:gd name="connsiteX1419" fmla="*/ 4834 w 10785"/>
                <a:gd name="connsiteY1419" fmla="*/ 547 h 10000"/>
                <a:gd name="connsiteX1420" fmla="*/ 4834 w 10785"/>
                <a:gd name="connsiteY1420" fmla="*/ 581 h 10000"/>
                <a:gd name="connsiteX1421" fmla="*/ 4843 w 10785"/>
                <a:gd name="connsiteY1421" fmla="*/ 581 h 10000"/>
                <a:gd name="connsiteX1422" fmla="*/ 4843 w 10785"/>
                <a:gd name="connsiteY1422" fmla="*/ 598 h 10000"/>
                <a:gd name="connsiteX1423" fmla="*/ 4829 w 10785"/>
                <a:gd name="connsiteY1423" fmla="*/ 598 h 10000"/>
                <a:gd name="connsiteX1424" fmla="*/ 4829 w 10785"/>
                <a:gd name="connsiteY1424" fmla="*/ 573 h 10000"/>
                <a:gd name="connsiteX1425" fmla="*/ 4829 w 10785"/>
                <a:gd name="connsiteY1425" fmla="*/ 632 h 10000"/>
                <a:gd name="connsiteX1426" fmla="*/ 4829 w 10785"/>
                <a:gd name="connsiteY1426" fmla="*/ 632 h 10000"/>
                <a:gd name="connsiteX1427" fmla="*/ 4829 w 10785"/>
                <a:gd name="connsiteY1427" fmla="*/ 650 h 10000"/>
                <a:gd name="connsiteX1428" fmla="*/ 4774 w 10785"/>
                <a:gd name="connsiteY1428" fmla="*/ 684 h 10000"/>
                <a:gd name="connsiteX1429" fmla="*/ 4756 w 10785"/>
                <a:gd name="connsiteY1429" fmla="*/ 684 h 10000"/>
                <a:gd name="connsiteX1430" fmla="*/ 4737 w 10785"/>
                <a:gd name="connsiteY1430" fmla="*/ 692 h 10000"/>
                <a:gd name="connsiteX1431" fmla="*/ 4677 w 10785"/>
                <a:gd name="connsiteY1431" fmla="*/ 667 h 10000"/>
                <a:gd name="connsiteX1432" fmla="*/ 4682 w 10785"/>
                <a:gd name="connsiteY1432" fmla="*/ 692 h 10000"/>
                <a:gd name="connsiteX1433" fmla="*/ 4682 w 10785"/>
                <a:gd name="connsiteY1433" fmla="*/ 709 h 10000"/>
                <a:gd name="connsiteX1434" fmla="*/ 4691 w 10785"/>
                <a:gd name="connsiteY1434" fmla="*/ 718 h 10000"/>
                <a:gd name="connsiteX1435" fmla="*/ 4691 w 10785"/>
                <a:gd name="connsiteY1435" fmla="*/ 744 h 10000"/>
                <a:gd name="connsiteX1436" fmla="*/ 4700 w 10785"/>
                <a:gd name="connsiteY1436" fmla="*/ 744 h 10000"/>
                <a:gd name="connsiteX1437" fmla="*/ 4714 w 10785"/>
                <a:gd name="connsiteY1437" fmla="*/ 769 h 10000"/>
                <a:gd name="connsiteX1438" fmla="*/ 4710 w 10785"/>
                <a:gd name="connsiteY1438" fmla="*/ 786 h 10000"/>
                <a:gd name="connsiteX1439" fmla="*/ 4737 w 10785"/>
                <a:gd name="connsiteY1439" fmla="*/ 786 h 10000"/>
                <a:gd name="connsiteX1440" fmla="*/ 4742 w 10785"/>
                <a:gd name="connsiteY1440" fmla="*/ 795 h 10000"/>
                <a:gd name="connsiteX1441" fmla="*/ 4742 w 10785"/>
                <a:gd name="connsiteY1441" fmla="*/ 803 h 10000"/>
                <a:gd name="connsiteX1442" fmla="*/ 4737 w 10785"/>
                <a:gd name="connsiteY1442" fmla="*/ 846 h 10000"/>
                <a:gd name="connsiteX1443" fmla="*/ 4737 w 10785"/>
                <a:gd name="connsiteY1443" fmla="*/ 880 h 10000"/>
                <a:gd name="connsiteX1444" fmla="*/ 4737 w 10785"/>
                <a:gd name="connsiteY1444" fmla="*/ 906 h 10000"/>
                <a:gd name="connsiteX1445" fmla="*/ 4724 w 10785"/>
                <a:gd name="connsiteY1445" fmla="*/ 897 h 10000"/>
                <a:gd name="connsiteX1446" fmla="*/ 4724 w 10785"/>
                <a:gd name="connsiteY1446" fmla="*/ 872 h 10000"/>
                <a:gd name="connsiteX1447" fmla="*/ 4714 w 10785"/>
                <a:gd name="connsiteY1447" fmla="*/ 855 h 10000"/>
                <a:gd name="connsiteX1448" fmla="*/ 4691 w 10785"/>
                <a:gd name="connsiteY1448" fmla="*/ 846 h 10000"/>
                <a:gd name="connsiteX1449" fmla="*/ 4691 w 10785"/>
                <a:gd name="connsiteY1449" fmla="*/ 846 h 10000"/>
                <a:gd name="connsiteX1450" fmla="*/ 4696 w 10785"/>
                <a:gd name="connsiteY1450" fmla="*/ 821 h 10000"/>
                <a:gd name="connsiteX1451" fmla="*/ 4691 w 10785"/>
                <a:gd name="connsiteY1451" fmla="*/ 803 h 10000"/>
                <a:gd name="connsiteX1452" fmla="*/ 4668 w 10785"/>
                <a:gd name="connsiteY1452" fmla="*/ 821 h 10000"/>
                <a:gd name="connsiteX1453" fmla="*/ 4668 w 10785"/>
                <a:gd name="connsiteY1453" fmla="*/ 786 h 10000"/>
                <a:gd name="connsiteX1454" fmla="*/ 4664 w 10785"/>
                <a:gd name="connsiteY1454" fmla="*/ 786 h 10000"/>
                <a:gd name="connsiteX1455" fmla="*/ 4622 w 10785"/>
                <a:gd name="connsiteY1455" fmla="*/ 846 h 10000"/>
                <a:gd name="connsiteX1456" fmla="*/ 4627 w 10785"/>
                <a:gd name="connsiteY1456" fmla="*/ 872 h 10000"/>
                <a:gd name="connsiteX1457" fmla="*/ 4622 w 10785"/>
                <a:gd name="connsiteY1457" fmla="*/ 880 h 10000"/>
                <a:gd name="connsiteX1458" fmla="*/ 4622 w 10785"/>
                <a:gd name="connsiteY1458" fmla="*/ 880 h 10000"/>
                <a:gd name="connsiteX1459" fmla="*/ 4618 w 10785"/>
                <a:gd name="connsiteY1459" fmla="*/ 872 h 10000"/>
                <a:gd name="connsiteX1460" fmla="*/ 4604 w 10785"/>
                <a:gd name="connsiteY1460" fmla="*/ 880 h 10000"/>
                <a:gd name="connsiteX1461" fmla="*/ 4594 w 10785"/>
                <a:gd name="connsiteY1461" fmla="*/ 906 h 10000"/>
                <a:gd name="connsiteX1462" fmla="*/ 4604 w 10785"/>
                <a:gd name="connsiteY1462" fmla="*/ 906 h 10000"/>
                <a:gd name="connsiteX1463" fmla="*/ 4608 w 10785"/>
                <a:gd name="connsiteY1463" fmla="*/ 906 h 10000"/>
                <a:gd name="connsiteX1464" fmla="*/ 4608 w 10785"/>
                <a:gd name="connsiteY1464" fmla="*/ 932 h 10000"/>
                <a:gd name="connsiteX1465" fmla="*/ 4604 w 10785"/>
                <a:gd name="connsiteY1465" fmla="*/ 932 h 10000"/>
                <a:gd name="connsiteX1466" fmla="*/ 4590 w 10785"/>
                <a:gd name="connsiteY1466" fmla="*/ 932 h 10000"/>
                <a:gd name="connsiteX1467" fmla="*/ 4567 w 10785"/>
                <a:gd name="connsiteY1467" fmla="*/ 957 h 10000"/>
                <a:gd name="connsiteX1468" fmla="*/ 4567 w 10785"/>
                <a:gd name="connsiteY1468" fmla="*/ 932 h 10000"/>
                <a:gd name="connsiteX1469" fmla="*/ 4567 w 10785"/>
                <a:gd name="connsiteY1469" fmla="*/ 923 h 10000"/>
                <a:gd name="connsiteX1470" fmla="*/ 4562 w 10785"/>
                <a:gd name="connsiteY1470" fmla="*/ 932 h 10000"/>
                <a:gd name="connsiteX1471" fmla="*/ 4548 w 10785"/>
                <a:gd name="connsiteY1471" fmla="*/ 957 h 10000"/>
                <a:gd name="connsiteX1472" fmla="*/ 4544 w 10785"/>
                <a:gd name="connsiteY1472" fmla="*/ 957 h 10000"/>
                <a:gd name="connsiteX1473" fmla="*/ 4521 w 10785"/>
                <a:gd name="connsiteY1473" fmla="*/ 983 h 10000"/>
                <a:gd name="connsiteX1474" fmla="*/ 4521 w 10785"/>
                <a:gd name="connsiteY1474" fmla="*/ 983 h 10000"/>
                <a:gd name="connsiteX1475" fmla="*/ 4530 w 10785"/>
                <a:gd name="connsiteY1475" fmla="*/ 957 h 10000"/>
                <a:gd name="connsiteX1476" fmla="*/ 4535 w 10785"/>
                <a:gd name="connsiteY1476" fmla="*/ 932 h 10000"/>
                <a:gd name="connsiteX1477" fmla="*/ 4521 w 10785"/>
                <a:gd name="connsiteY1477" fmla="*/ 932 h 10000"/>
                <a:gd name="connsiteX1478" fmla="*/ 4516 w 10785"/>
                <a:gd name="connsiteY1478" fmla="*/ 923 h 10000"/>
                <a:gd name="connsiteX1479" fmla="*/ 4516 w 10785"/>
                <a:gd name="connsiteY1479" fmla="*/ 932 h 10000"/>
                <a:gd name="connsiteX1480" fmla="*/ 4488 w 10785"/>
                <a:gd name="connsiteY1480" fmla="*/ 940 h 10000"/>
                <a:gd name="connsiteX1481" fmla="*/ 4484 w 10785"/>
                <a:gd name="connsiteY1481" fmla="*/ 983 h 10000"/>
                <a:gd name="connsiteX1482" fmla="*/ 4470 w 10785"/>
                <a:gd name="connsiteY1482" fmla="*/ 983 h 10000"/>
                <a:gd name="connsiteX1483" fmla="*/ 4470 w 10785"/>
                <a:gd name="connsiteY1483" fmla="*/ 966 h 10000"/>
                <a:gd name="connsiteX1484" fmla="*/ 4488 w 10785"/>
                <a:gd name="connsiteY1484" fmla="*/ 923 h 10000"/>
                <a:gd name="connsiteX1485" fmla="*/ 4493 w 10785"/>
                <a:gd name="connsiteY1485" fmla="*/ 880 h 10000"/>
                <a:gd name="connsiteX1486" fmla="*/ 4475 w 10785"/>
                <a:gd name="connsiteY1486" fmla="*/ 846 h 10000"/>
                <a:gd name="connsiteX1487" fmla="*/ 4442 w 10785"/>
                <a:gd name="connsiteY1487" fmla="*/ 855 h 10000"/>
                <a:gd name="connsiteX1488" fmla="*/ 4433 w 10785"/>
                <a:gd name="connsiteY1488" fmla="*/ 855 h 10000"/>
                <a:gd name="connsiteX1489" fmla="*/ 4433 w 10785"/>
                <a:gd name="connsiteY1489" fmla="*/ 880 h 10000"/>
                <a:gd name="connsiteX1490" fmla="*/ 4401 w 10785"/>
                <a:gd name="connsiteY1490" fmla="*/ 855 h 10000"/>
                <a:gd name="connsiteX1491" fmla="*/ 4396 w 10785"/>
                <a:gd name="connsiteY1491" fmla="*/ 872 h 10000"/>
                <a:gd name="connsiteX1492" fmla="*/ 4382 w 10785"/>
                <a:gd name="connsiteY1492" fmla="*/ 897 h 10000"/>
                <a:gd name="connsiteX1493" fmla="*/ 4373 w 10785"/>
                <a:gd name="connsiteY1493" fmla="*/ 872 h 10000"/>
                <a:gd name="connsiteX1494" fmla="*/ 4341 w 10785"/>
                <a:gd name="connsiteY1494" fmla="*/ 872 h 10000"/>
                <a:gd name="connsiteX1495" fmla="*/ 4336 w 10785"/>
                <a:gd name="connsiteY1495" fmla="*/ 880 h 10000"/>
                <a:gd name="connsiteX1496" fmla="*/ 4346 w 10785"/>
                <a:gd name="connsiteY1496" fmla="*/ 897 h 10000"/>
                <a:gd name="connsiteX1497" fmla="*/ 4346 w 10785"/>
                <a:gd name="connsiteY1497" fmla="*/ 897 h 10000"/>
                <a:gd name="connsiteX1498" fmla="*/ 4313 w 10785"/>
                <a:gd name="connsiteY1498" fmla="*/ 906 h 10000"/>
                <a:gd name="connsiteX1499" fmla="*/ 4313 w 10785"/>
                <a:gd name="connsiteY1499" fmla="*/ 906 h 10000"/>
                <a:gd name="connsiteX1500" fmla="*/ 4313 w 10785"/>
                <a:gd name="connsiteY1500" fmla="*/ 880 h 10000"/>
                <a:gd name="connsiteX1501" fmla="*/ 4309 w 10785"/>
                <a:gd name="connsiteY1501" fmla="*/ 897 h 10000"/>
                <a:gd name="connsiteX1502" fmla="*/ 4295 w 10785"/>
                <a:gd name="connsiteY1502" fmla="*/ 923 h 10000"/>
                <a:gd name="connsiteX1503" fmla="*/ 4286 w 10785"/>
                <a:gd name="connsiteY1503" fmla="*/ 897 h 10000"/>
                <a:gd name="connsiteX1504" fmla="*/ 4281 w 10785"/>
                <a:gd name="connsiteY1504" fmla="*/ 906 h 10000"/>
                <a:gd name="connsiteX1505" fmla="*/ 4281 w 10785"/>
                <a:gd name="connsiteY1505" fmla="*/ 940 h 10000"/>
                <a:gd name="connsiteX1506" fmla="*/ 4286 w 10785"/>
                <a:gd name="connsiteY1506" fmla="*/ 957 h 10000"/>
                <a:gd name="connsiteX1507" fmla="*/ 4309 w 10785"/>
                <a:gd name="connsiteY1507" fmla="*/ 932 h 10000"/>
                <a:gd name="connsiteX1508" fmla="*/ 4313 w 10785"/>
                <a:gd name="connsiteY1508" fmla="*/ 957 h 10000"/>
                <a:gd name="connsiteX1509" fmla="*/ 4313 w 10785"/>
                <a:gd name="connsiteY1509" fmla="*/ 966 h 10000"/>
                <a:gd name="connsiteX1510" fmla="*/ 4323 w 10785"/>
                <a:gd name="connsiteY1510" fmla="*/ 966 h 10000"/>
                <a:gd name="connsiteX1511" fmla="*/ 4323 w 10785"/>
                <a:gd name="connsiteY1511" fmla="*/ 940 h 10000"/>
                <a:gd name="connsiteX1512" fmla="*/ 4327 w 10785"/>
                <a:gd name="connsiteY1512" fmla="*/ 940 h 10000"/>
                <a:gd name="connsiteX1513" fmla="*/ 4327 w 10785"/>
                <a:gd name="connsiteY1513" fmla="*/ 957 h 10000"/>
                <a:gd name="connsiteX1514" fmla="*/ 4327 w 10785"/>
                <a:gd name="connsiteY1514" fmla="*/ 966 h 10000"/>
                <a:gd name="connsiteX1515" fmla="*/ 4323 w 10785"/>
                <a:gd name="connsiteY1515" fmla="*/ 991 h 10000"/>
                <a:gd name="connsiteX1516" fmla="*/ 4207 w 10785"/>
                <a:gd name="connsiteY1516" fmla="*/ 1060 h 10000"/>
                <a:gd name="connsiteX1517" fmla="*/ 4207 w 10785"/>
                <a:gd name="connsiteY1517" fmla="*/ 1060 h 10000"/>
                <a:gd name="connsiteX1518" fmla="*/ 4203 w 10785"/>
                <a:gd name="connsiteY1518" fmla="*/ 1068 h 10000"/>
                <a:gd name="connsiteX1519" fmla="*/ 4203 w 10785"/>
                <a:gd name="connsiteY1519" fmla="*/ 1094 h 10000"/>
                <a:gd name="connsiteX1520" fmla="*/ 4203 w 10785"/>
                <a:gd name="connsiteY1520" fmla="*/ 1094 h 10000"/>
                <a:gd name="connsiteX1521" fmla="*/ 4189 w 10785"/>
                <a:gd name="connsiteY1521" fmla="*/ 1094 h 10000"/>
                <a:gd name="connsiteX1522" fmla="*/ 4166 w 10785"/>
                <a:gd name="connsiteY1522" fmla="*/ 1103 h 10000"/>
                <a:gd name="connsiteX1523" fmla="*/ 4152 w 10785"/>
                <a:gd name="connsiteY1523" fmla="*/ 1094 h 10000"/>
                <a:gd name="connsiteX1524" fmla="*/ 4134 w 10785"/>
                <a:gd name="connsiteY1524" fmla="*/ 1120 h 10000"/>
                <a:gd name="connsiteX1525" fmla="*/ 4106 w 10785"/>
                <a:gd name="connsiteY1525" fmla="*/ 1120 h 10000"/>
                <a:gd name="connsiteX1526" fmla="*/ 4092 w 10785"/>
                <a:gd name="connsiteY1526" fmla="*/ 1154 h 10000"/>
                <a:gd name="connsiteX1527" fmla="*/ 4106 w 10785"/>
                <a:gd name="connsiteY1527" fmla="*/ 1171 h 10000"/>
                <a:gd name="connsiteX1528" fmla="*/ 4078 w 10785"/>
                <a:gd name="connsiteY1528" fmla="*/ 1179 h 10000"/>
                <a:gd name="connsiteX1529" fmla="*/ 4065 w 10785"/>
                <a:gd name="connsiteY1529" fmla="*/ 1205 h 10000"/>
                <a:gd name="connsiteX1530" fmla="*/ 4046 w 10785"/>
                <a:gd name="connsiteY1530" fmla="*/ 1179 h 10000"/>
                <a:gd name="connsiteX1531" fmla="*/ 4041 w 10785"/>
                <a:gd name="connsiteY1531" fmla="*/ 1197 h 10000"/>
                <a:gd name="connsiteX1532" fmla="*/ 4028 w 10785"/>
                <a:gd name="connsiteY1532" fmla="*/ 1205 h 10000"/>
                <a:gd name="connsiteX1533" fmla="*/ 4028 w 10785"/>
                <a:gd name="connsiteY1533" fmla="*/ 1205 h 10000"/>
                <a:gd name="connsiteX1534" fmla="*/ 4032 w 10785"/>
                <a:gd name="connsiteY1534" fmla="*/ 1205 h 10000"/>
                <a:gd name="connsiteX1535" fmla="*/ 4032 w 10785"/>
                <a:gd name="connsiteY1535" fmla="*/ 1231 h 10000"/>
                <a:gd name="connsiteX1536" fmla="*/ 4014 w 10785"/>
                <a:gd name="connsiteY1536" fmla="*/ 1239 h 10000"/>
                <a:gd name="connsiteX1537" fmla="*/ 4014 w 10785"/>
                <a:gd name="connsiteY1537" fmla="*/ 1256 h 10000"/>
                <a:gd name="connsiteX1538" fmla="*/ 4000 w 10785"/>
                <a:gd name="connsiteY1538" fmla="*/ 1265 h 10000"/>
                <a:gd name="connsiteX1539" fmla="*/ 3986 w 10785"/>
                <a:gd name="connsiteY1539" fmla="*/ 1308 h 10000"/>
                <a:gd name="connsiteX1540" fmla="*/ 3972 w 10785"/>
                <a:gd name="connsiteY1540" fmla="*/ 1316 h 10000"/>
                <a:gd name="connsiteX1541" fmla="*/ 3972 w 10785"/>
                <a:gd name="connsiteY1541" fmla="*/ 1325 h 10000"/>
                <a:gd name="connsiteX1542" fmla="*/ 3972 w 10785"/>
                <a:gd name="connsiteY1542" fmla="*/ 1342 h 10000"/>
                <a:gd name="connsiteX1543" fmla="*/ 3968 w 10785"/>
                <a:gd name="connsiteY1543" fmla="*/ 1350 h 10000"/>
                <a:gd name="connsiteX1544" fmla="*/ 3954 w 10785"/>
                <a:gd name="connsiteY1544" fmla="*/ 1368 h 10000"/>
                <a:gd name="connsiteX1545" fmla="*/ 3945 w 10785"/>
                <a:gd name="connsiteY1545" fmla="*/ 1350 h 10000"/>
                <a:gd name="connsiteX1546" fmla="*/ 3908 w 10785"/>
                <a:gd name="connsiteY1546" fmla="*/ 1342 h 10000"/>
                <a:gd name="connsiteX1547" fmla="*/ 3894 w 10785"/>
                <a:gd name="connsiteY1547" fmla="*/ 1368 h 10000"/>
                <a:gd name="connsiteX1548" fmla="*/ 3922 w 10785"/>
                <a:gd name="connsiteY1548" fmla="*/ 1393 h 10000"/>
                <a:gd name="connsiteX1549" fmla="*/ 3945 w 10785"/>
                <a:gd name="connsiteY1549" fmla="*/ 1393 h 10000"/>
                <a:gd name="connsiteX1550" fmla="*/ 3940 w 10785"/>
                <a:gd name="connsiteY1550" fmla="*/ 1419 h 10000"/>
                <a:gd name="connsiteX1551" fmla="*/ 3931 w 10785"/>
                <a:gd name="connsiteY1551" fmla="*/ 1427 h 10000"/>
                <a:gd name="connsiteX1552" fmla="*/ 3926 w 10785"/>
                <a:gd name="connsiteY1552" fmla="*/ 1427 h 10000"/>
                <a:gd name="connsiteX1553" fmla="*/ 3922 w 10785"/>
                <a:gd name="connsiteY1553" fmla="*/ 1419 h 10000"/>
                <a:gd name="connsiteX1554" fmla="*/ 3912 w 10785"/>
                <a:gd name="connsiteY1554" fmla="*/ 1427 h 10000"/>
                <a:gd name="connsiteX1555" fmla="*/ 3912 w 10785"/>
                <a:gd name="connsiteY1555" fmla="*/ 1444 h 10000"/>
                <a:gd name="connsiteX1556" fmla="*/ 3894 w 10785"/>
                <a:gd name="connsiteY1556" fmla="*/ 1513 h 10000"/>
                <a:gd name="connsiteX1557" fmla="*/ 3885 w 10785"/>
                <a:gd name="connsiteY1557" fmla="*/ 1513 h 10000"/>
                <a:gd name="connsiteX1558" fmla="*/ 3880 w 10785"/>
                <a:gd name="connsiteY1558" fmla="*/ 1538 h 10000"/>
                <a:gd name="connsiteX1559" fmla="*/ 3885 w 10785"/>
                <a:gd name="connsiteY1559" fmla="*/ 1564 h 10000"/>
                <a:gd name="connsiteX1560" fmla="*/ 3880 w 10785"/>
                <a:gd name="connsiteY1560" fmla="*/ 1581 h 10000"/>
                <a:gd name="connsiteX1561" fmla="*/ 3871 w 10785"/>
                <a:gd name="connsiteY1561" fmla="*/ 1538 h 10000"/>
                <a:gd name="connsiteX1562" fmla="*/ 3853 w 10785"/>
                <a:gd name="connsiteY1562" fmla="*/ 1530 h 10000"/>
                <a:gd name="connsiteX1563" fmla="*/ 3853 w 10785"/>
                <a:gd name="connsiteY1563" fmla="*/ 1504 h 10000"/>
                <a:gd name="connsiteX1564" fmla="*/ 3834 w 10785"/>
                <a:gd name="connsiteY1564" fmla="*/ 1487 h 10000"/>
                <a:gd name="connsiteX1565" fmla="*/ 3834 w 10785"/>
                <a:gd name="connsiteY1565" fmla="*/ 1487 h 10000"/>
                <a:gd name="connsiteX1566" fmla="*/ 3839 w 10785"/>
                <a:gd name="connsiteY1566" fmla="*/ 1513 h 10000"/>
                <a:gd name="connsiteX1567" fmla="*/ 3820 w 10785"/>
                <a:gd name="connsiteY1567" fmla="*/ 1538 h 10000"/>
                <a:gd name="connsiteX1568" fmla="*/ 3820 w 10785"/>
                <a:gd name="connsiteY1568" fmla="*/ 1556 h 10000"/>
                <a:gd name="connsiteX1569" fmla="*/ 3820 w 10785"/>
                <a:gd name="connsiteY1569" fmla="*/ 1564 h 10000"/>
                <a:gd name="connsiteX1570" fmla="*/ 3820 w 10785"/>
                <a:gd name="connsiteY1570" fmla="*/ 1581 h 10000"/>
                <a:gd name="connsiteX1571" fmla="*/ 3853 w 10785"/>
                <a:gd name="connsiteY1571" fmla="*/ 1581 h 10000"/>
                <a:gd name="connsiteX1572" fmla="*/ 3857 w 10785"/>
                <a:gd name="connsiteY1572" fmla="*/ 1598 h 10000"/>
                <a:gd name="connsiteX1573" fmla="*/ 3880 w 10785"/>
                <a:gd name="connsiteY1573" fmla="*/ 1615 h 10000"/>
                <a:gd name="connsiteX1574" fmla="*/ 3871 w 10785"/>
                <a:gd name="connsiteY1574" fmla="*/ 1615 h 10000"/>
                <a:gd name="connsiteX1575" fmla="*/ 3871 w 10785"/>
                <a:gd name="connsiteY1575" fmla="*/ 1641 h 10000"/>
                <a:gd name="connsiteX1576" fmla="*/ 3880 w 10785"/>
                <a:gd name="connsiteY1576" fmla="*/ 1641 h 10000"/>
                <a:gd name="connsiteX1577" fmla="*/ 3871 w 10785"/>
                <a:gd name="connsiteY1577" fmla="*/ 1650 h 10000"/>
                <a:gd name="connsiteX1578" fmla="*/ 3857 w 10785"/>
                <a:gd name="connsiteY1578" fmla="*/ 1650 h 10000"/>
                <a:gd name="connsiteX1579" fmla="*/ 3853 w 10785"/>
                <a:gd name="connsiteY1579" fmla="*/ 1650 h 10000"/>
                <a:gd name="connsiteX1580" fmla="*/ 3839 w 10785"/>
                <a:gd name="connsiteY1580" fmla="*/ 1667 h 10000"/>
                <a:gd name="connsiteX1581" fmla="*/ 3848 w 10785"/>
                <a:gd name="connsiteY1581" fmla="*/ 1692 h 10000"/>
                <a:gd name="connsiteX1582" fmla="*/ 3834 w 10785"/>
                <a:gd name="connsiteY1582" fmla="*/ 1692 h 10000"/>
                <a:gd name="connsiteX1583" fmla="*/ 3825 w 10785"/>
                <a:gd name="connsiteY1583" fmla="*/ 1692 h 10000"/>
                <a:gd name="connsiteX1584" fmla="*/ 3825 w 10785"/>
                <a:gd name="connsiteY1584" fmla="*/ 1718 h 10000"/>
                <a:gd name="connsiteX1585" fmla="*/ 3839 w 10785"/>
                <a:gd name="connsiteY1585" fmla="*/ 1726 h 10000"/>
                <a:gd name="connsiteX1586" fmla="*/ 3880 w 10785"/>
                <a:gd name="connsiteY1586" fmla="*/ 1752 h 10000"/>
                <a:gd name="connsiteX1587" fmla="*/ 3894 w 10785"/>
                <a:gd name="connsiteY1587" fmla="*/ 1829 h 10000"/>
                <a:gd name="connsiteX1588" fmla="*/ 3899 w 10785"/>
                <a:gd name="connsiteY1588" fmla="*/ 1838 h 10000"/>
                <a:gd name="connsiteX1589" fmla="*/ 3894 w 10785"/>
                <a:gd name="connsiteY1589" fmla="*/ 1855 h 10000"/>
                <a:gd name="connsiteX1590" fmla="*/ 3880 w 10785"/>
                <a:gd name="connsiteY1590" fmla="*/ 1838 h 10000"/>
                <a:gd name="connsiteX1591" fmla="*/ 3880 w 10785"/>
                <a:gd name="connsiteY1591" fmla="*/ 1855 h 10000"/>
                <a:gd name="connsiteX1592" fmla="*/ 3880 w 10785"/>
                <a:gd name="connsiteY1592" fmla="*/ 1863 h 10000"/>
                <a:gd name="connsiteX1593" fmla="*/ 3871 w 10785"/>
                <a:gd name="connsiteY1593" fmla="*/ 1872 h 10000"/>
                <a:gd name="connsiteX1594" fmla="*/ 3880 w 10785"/>
                <a:gd name="connsiteY1594" fmla="*/ 1889 h 10000"/>
                <a:gd name="connsiteX1595" fmla="*/ 3885 w 10785"/>
                <a:gd name="connsiteY1595" fmla="*/ 1889 h 10000"/>
                <a:gd name="connsiteX1596" fmla="*/ 3880 w 10785"/>
                <a:gd name="connsiteY1596" fmla="*/ 1897 h 10000"/>
                <a:gd name="connsiteX1597" fmla="*/ 3871 w 10785"/>
                <a:gd name="connsiteY1597" fmla="*/ 1915 h 10000"/>
                <a:gd name="connsiteX1598" fmla="*/ 3848 w 10785"/>
                <a:gd name="connsiteY1598" fmla="*/ 1923 h 10000"/>
                <a:gd name="connsiteX1599" fmla="*/ 3825 w 10785"/>
                <a:gd name="connsiteY1599" fmla="*/ 1940 h 10000"/>
                <a:gd name="connsiteX1600" fmla="*/ 3811 w 10785"/>
                <a:gd name="connsiteY1600" fmla="*/ 1940 h 10000"/>
                <a:gd name="connsiteX1601" fmla="*/ 3806 w 10785"/>
                <a:gd name="connsiteY1601" fmla="*/ 1949 h 10000"/>
                <a:gd name="connsiteX1602" fmla="*/ 3797 w 10785"/>
                <a:gd name="connsiteY1602" fmla="*/ 1966 h 10000"/>
                <a:gd name="connsiteX1603" fmla="*/ 3788 w 10785"/>
                <a:gd name="connsiteY1603" fmla="*/ 1991 h 10000"/>
                <a:gd name="connsiteX1604" fmla="*/ 3765 w 10785"/>
                <a:gd name="connsiteY1604" fmla="*/ 1974 h 10000"/>
                <a:gd name="connsiteX1605" fmla="*/ 3760 w 10785"/>
                <a:gd name="connsiteY1605" fmla="*/ 1966 h 10000"/>
                <a:gd name="connsiteX1606" fmla="*/ 3760 w 10785"/>
                <a:gd name="connsiteY1606" fmla="*/ 1966 h 10000"/>
                <a:gd name="connsiteX1607" fmla="*/ 3631 w 10785"/>
                <a:gd name="connsiteY1607" fmla="*/ 2009 h 10000"/>
                <a:gd name="connsiteX1608" fmla="*/ 3618 w 10785"/>
                <a:gd name="connsiteY1608" fmla="*/ 2000 h 10000"/>
                <a:gd name="connsiteX1609" fmla="*/ 3599 w 10785"/>
                <a:gd name="connsiteY1609" fmla="*/ 2009 h 10000"/>
                <a:gd name="connsiteX1610" fmla="*/ 3571 w 10785"/>
                <a:gd name="connsiteY1610" fmla="*/ 2000 h 10000"/>
                <a:gd name="connsiteX1611" fmla="*/ 3530 w 10785"/>
                <a:gd name="connsiteY1611" fmla="*/ 2026 h 10000"/>
                <a:gd name="connsiteX1612" fmla="*/ 3530 w 10785"/>
                <a:gd name="connsiteY1612" fmla="*/ 2034 h 10000"/>
                <a:gd name="connsiteX1613" fmla="*/ 3525 w 10785"/>
                <a:gd name="connsiteY1613" fmla="*/ 2051 h 10000"/>
                <a:gd name="connsiteX1614" fmla="*/ 3512 w 10785"/>
                <a:gd name="connsiteY1614" fmla="*/ 2034 h 10000"/>
                <a:gd name="connsiteX1615" fmla="*/ 3507 w 10785"/>
                <a:gd name="connsiteY1615" fmla="*/ 2034 h 10000"/>
                <a:gd name="connsiteX1616" fmla="*/ 3498 w 10785"/>
                <a:gd name="connsiteY1616" fmla="*/ 2051 h 10000"/>
                <a:gd name="connsiteX1617" fmla="*/ 3484 w 10785"/>
                <a:gd name="connsiteY1617" fmla="*/ 2060 h 10000"/>
                <a:gd name="connsiteX1618" fmla="*/ 3484 w 10785"/>
                <a:gd name="connsiteY1618" fmla="*/ 2085 h 10000"/>
                <a:gd name="connsiteX1619" fmla="*/ 3484 w 10785"/>
                <a:gd name="connsiteY1619" fmla="*/ 2103 h 10000"/>
                <a:gd name="connsiteX1620" fmla="*/ 3493 w 10785"/>
                <a:gd name="connsiteY1620" fmla="*/ 2103 h 10000"/>
                <a:gd name="connsiteX1621" fmla="*/ 3493 w 10785"/>
                <a:gd name="connsiteY1621" fmla="*/ 2085 h 10000"/>
                <a:gd name="connsiteX1622" fmla="*/ 3498 w 10785"/>
                <a:gd name="connsiteY1622" fmla="*/ 2085 h 10000"/>
                <a:gd name="connsiteX1623" fmla="*/ 3498 w 10785"/>
                <a:gd name="connsiteY1623" fmla="*/ 2111 h 10000"/>
                <a:gd name="connsiteX1624" fmla="*/ 3484 w 10785"/>
                <a:gd name="connsiteY1624" fmla="*/ 2120 h 10000"/>
                <a:gd name="connsiteX1625" fmla="*/ 3484 w 10785"/>
                <a:gd name="connsiteY1625" fmla="*/ 2145 h 10000"/>
                <a:gd name="connsiteX1626" fmla="*/ 3470 w 10785"/>
                <a:gd name="connsiteY1626" fmla="*/ 2137 h 10000"/>
                <a:gd name="connsiteX1627" fmla="*/ 3465 w 10785"/>
                <a:gd name="connsiteY1627" fmla="*/ 2145 h 10000"/>
                <a:gd name="connsiteX1628" fmla="*/ 3470 w 10785"/>
                <a:gd name="connsiteY1628" fmla="*/ 2171 h 10000"/>
                <a:gd name="connsiteX1629" fmla="*/ 3484 w 10785"/>
                <a:gd name="connsiteY1629" fmla="*/ 2171 h 10000"/>
                <a:gd name="connsiteX1630" fmla="*/ 3484 w 10785"/>
                <a:gd name="connsiteY1630" fmla="*/ 2197 h 10000"/>
                <a:gd name="connsiteX1631" fmla="*/ 3465 w 10785"/>
                <a:gd name="connsiteY1631" fmla="*/ 2214 h 10000"/>
                <a:gd name="connsiteX1632" fmla="*/ 3493 w 10785"/>
                <a:gd name="connsiteY1632" fmla="*/ 2248 h 10000"/>
                <a:gd name="connsiteX1633" fmla="*/ 3484 w 10785"/>
                <a:gd name="connsiteY1633" fmla="*/ 2256 h 10000"/>
                <a:gd name="connsiteX1634" fmla="*/ 3498 w 10785"/>
                <a:gd name="connsiteY1634" fmla="*/ 2274 h 10000"/>
                <a:gd name="connsiteX1635" fmla="*/ 3498 w 10785"/>
                <a:gd name="connsiteY1635" fmla="*/ 2256 h 10000"/>
                <a:gd name="connsiteX1636" fmla="*/ 3507 w 10785"/>
                <a:gd name="connsiteY1636" fmla="*/ 2308 h 10000"/>
                <a:gd name="connsiteX1637" fmla="*/ 3512 w 10785"/>
                <a:gd name="connsiteY1637" fmla="*/ 2325 h 10000"/>
                <a:gd name="connsiteX1638" fmla="*/ 3507 w 10785"/>
                <a:gd name="connsiteY1638" fmla="*/ 2333 h 10000"/>
                <a:gd name="connsiteX1639" fmla="*/ 3507 w 10785"/>
                <a:gd name="connsiteY1639" fmla="*/ 2359 h 10000"/>
                <a:gd name="connsiteX1640" fmla="*/ 3507 w 10785"/>
                <a:gd name="connsiteY1640" fmla="*/ 2376 h 10000"/>
                <a:gd name="connsiteX1641" fmla="*/ 3498 w 10785"/>
                <a:gd name="connsiteY1641" fmla="*/ 2410 h 10000"/>
                <a:gd name="connsiteX1642" fmla="*/ 3498 w 10785"/>
                <a:gd name="connsiteY1642" fmla="*/ 2436 h 10000"/>
                <a:gd name="connsiteX1643" fmla="*/ 3507 w 10785"/>
                <a:gd name="connsiteY1643" fmla="*/ 2462 h 10000"/>
                <a:gd name="connsiteX1644" fmla="*/ 3507 w 10785"/>
                <a:gd name="connsiteY1644" fmla="*/ 2496 h 10000"/>
                <a:gd name="connsiteX1645" fmla="*/ 3512 w 10785"/>
                <a:gd name="connsiteY1645" fmla="*/ 2521 h 10000"/>
                <a:gd name="connsiteX1646" fmla="*/ 3525 w 10785"/>
                <a:gd name="connsiteY1646" fmla="*/ 2556 h 10000"/>
                <a:gd name="connsiteX1647" fmla="*/ 3571 w 10785"/>
                <a:gd name="connsiteY1647" fmla="*/ 2573 h 10000"/>
                <a:gd name="connsiteX1648" fmla="*/ 3590 w 10785"/>
                <a:gd name="connsiteY1648" fmla="*/ 2598 h 10000"/>
                <a:gd name="connsiteX1649" fmla="*/ 3599 w 10785"/>
                <a:gd name="connsiteY1649" fmla="*/ 2598 h 10000"/>
                <a:gd name="connsiteX1650" fmla="*/ 3604 w 10785"/>
                <a:gd name="connsiteY1650" fmla="*/ 2632 h 10000"/>
                <a:gd name="connsiteX1651" fmla="*/ 3599 w 10785"/>
                <a:gd name="connsiteY1651" fmla="*/ 2658 h 10000"/>
                <a:gd name="connsiteX1652" fmla="*/ 3590 w 10785"/>
                <a:gd name="connsiteY1652" fmla="*/ 2667 h 10000"/>
                <a:gd name="connsiteX1653" fmla="*/ 3604 w 10785"/>
                <a:gd name="connsiteY1653" fmla="*/ 2667 h 10000"/>
                <a:gd name="connsiteX1654" fmla="*/ 3613 w 10785"/>
                <a:gd name="connsiteY1654" fmla="*/ 2692 h 10000"/>
                <a:gd name="connsiteX1655" fmla="*/ 3627 w 10785"/>
                <a:gd name="connsiteY1655" fmla="*/ 2735 h 10000"/>
                <a:gd name="connsiteX1656" fmla="*/ 3631 w 10785"/>
                <a:gd name="connsiteY1656" fmla="*/ 2744 h 10000"/>
                <a:gd name="connsiteX1657" fmla="*/ 3659 w 10785"/>
                <a:gd name="connsiteY1657" fmla="*/ 2761 h 10000"/>
                <a:gd name="connsiteX1658" fmla="*/ 3673 w 10785"/>
                <a:gd name="connsiteY1658" fmla="*/ 2769 h 10000"/>
                <a:gd name="connsiteX1659" fmla="*/ 3673 w 10785"/>
                <a:gd name="connsiteY1659" fmla="*/ 2761 h 10000"/>
                <a:gd name="connsiteX1660" fmla="*/ 3687 w 10785"/>
                <a:gd name="connsiteY1660" fmla="*/ 2829 h 10000"/>
                <a:gd name="connsiteX1661" fmla="*/ 3677 w 10785"/>
                <a:gd name="connsiteY1661" fmla="*/ 2897 h 10000"/>
                <a:gd name="connsiteX1662" fmla="*/ 3673 w 10785"/>
                <a:gd name="connsiteY1662" fmla="*/ 2915 h 10000"/>
                <a:gd name="connsiteX1663" fmla="*/ 3664 w 10785"/>
                <a:gd name="connsiteY1663" fmla="*/ 2957 h 10000"/>
                <a:gd name="connsiteX1664" fmla="*/ 3659 w 10785"/>
                <a:gd name="connsiteY1664" fmla="*/ 2983 h 10000"/>
                <a:gd name="connsiteX1665" fmla="*/ 3664 w 10785"/>
                <a:gd name="connsiteY1665" fmla="*/ 3017 h 10000"/>
                <a:gd name="connsiteX1666" fmla="*/ 3659 w 10785"/>
                <a:gd name="connsiteY1666" fmla="*/ 3043 h 10000"/>
                <a:gd name="connsiteX1667" fmla="*/ 3677 w 10785"/>
                <a:gd name="connsiteY1667" fmla="*/ 3094 h 10000"/>
                <a:gd name="connsiteX1668" fmla="*/ 3691 w 10785"/>
                <a:gd name="connsiteY1668" fmla="*/ 3282 h 10000"/>
                <a:gd name="connsiteX1669" fmla="*/ 3691 w 10785"/>
                <a:gd name="connsiteY1669" fmla="*/ 3308 h 10000"/>
                <a:gd name="connsiteX1670" fmla="*/ 3677 w 10785"/>
                <a:gd name="connsiteY1670" fmla="*/ 3342 h 10000"/>
                <a:gd name="connsiteX1671" fmla="*/ 3664 w 10785"/>
                <a:gd name="connsiteY1671" fmla="*/ 3342 h 10000"/>
                <a:gd name="connsiteX1672" fmla="*/ 3650 w 10785"/>
                <a:gd name="connsiteY1672" fmla="*/ 3342 h 10000"/>
                <a:gd name="connsiteX1673" fmla="*/ 3650 w 10785"/>
                <a:gd name="connsiteY1673" fmla="*/ 3350 h 10000"/>
                <a:gd name="connsiteX1674" fmla="*/ 3659 w 10785"/>
                <a:gd name="connsiteY1674" fmla="*/ 3402 h 10000"/>
                <a:gd name="connsiteX1675" fmla="*/ 3659 w 10785"/>
                <a:gd name="connsiteY1675" fmla="*/ 3419 h 10000"/>
                <a:gd name="connsiteX1676" fmla="*/ 3631 w 10785"/>
                <a:gd name="connsiteY1676" fmla="*/ 3402 h 10000"/>
                <a:gd name="connsiteX1677" fmla="*/ 3604 w 10785"/>
                <a:gd name="connsiteY1677" fmla="*/ 3393 h 10000"/>
                <a:gd name="connsiteX1678" fmla="*/ 3599 w 10785"/>
                <a:gd name="connsiteY1678" fmla="*/ 3368 h 10000"/>
                <a:gd name="connsiteX1679" fmla="*/ 3590 w 10785"/>
                <a:gd name="connsiteY1679" fmla="*/ 3239 h 10000"/>
                <a:gd name="connsiteX1680" fmla="*/ 3599 w 10785"/>
                <a:gd name="connsiteY1680" fmla="*/ 3179 h 10000"/>
                <a:gd name="connsiteX1681" fmla="*/ 3599 w 10785"/>
                <a:gd name="connsiteY1681" fmla="*/ 3171 h 10000"/>
                <a:gd name="connsiteX1682" fmla="*/ 3599 w 10785"/>
                <a:gd name="connsiteY1682" fmla="*/ 3009 h 10000"/>
                <a:gd name="connsiteX1683" fmla="*/ 3604 w 10785"/>
                <a:gd name="connsiteY1683" fmla="*/ 2983 h 10000"/>
                <a:gd name="connsiteX1684" fmla="*/ 3645 w 10785"/>
                <a:gd name="connsiteY1684" fmla="*/ 2932 h 10000"/>
                <a:gd name="connsiteX1685" fmla="*/ 3650 w 10785"/>
                <a:gd name="connsiteY1685" fmla="*/ 2872 h 10000"/>
                <a:gd name="connsiteX1686" fmla="*/ 3659 w 10785"/>
                <a:gd name="connsiteY1686" fmla="*/ 2855 h 10000"/>
                <a:gd name="connsiteX1687" fmla="*/ 3659 w 10785"/>
                <a:gd name="connsiteY1687" fmla="*/ 2821 h 10000"/>
                <a:gd name="connsiteX1688" fmla="*/ 3631 w 10785"/>
                <a:gd name="connsiteY1688" fmla="*/ 2795 h 10000"/>
                <a:gd name="connsiteX1689" fmla="*/ 3567 w 10785"/>
                <a:gd name="connsiteY1689" fmla="*/ 2821 h 10000"/>
                <a:gd name="connsiteX1690" fmla="*/ 3544 w 10785"/>
                <a:gd name="connsiteY1690" fmla="*/ 2795 h 10000"/>
                <a:gd name="connsiteX1691" fmla="*/ 3530 w 10785"/>
                <a:gd name="connsiteY1691" fmla="*/ 2769 h 10000"/>
                <a:gd name="connsiteX1692" fmla="*/ 3530 w 10785"/>
                <a:gd name="connsiteY1692" fmla="*/ 2786 h 10000"/>
                <a:gd name="connsiteX1693" fmla="*/ 3498 w 10785"/>
                <a:gd name="connsiteY1693" fmla="*/ 2692 h 10000"/>
                <a:gd name="connsiteX1694" fmla="*/ 3498 w 10785"/>
                <a:gd name="connsiteY1694" fmla="*/ 2667 h 10000"/>
                <a:gd name="connsiteX1695" fmla="*/ 3442 w 10785"/>
                <a:gd name="connsiteY1695" fmla="*/ 2607 h 10000"/>
                <a:gd name="connsiteX1696" fmla="*/ 3433 w 10785"/>
                <a:gd name="connsiteY1696" fmla="*/ 2581 h 10000"/>
                <a:gd name="connsiteX1697" fmla="*/ 3396 w 10785"/>
                <a:gd name="connsiteY1697" fmla="*/ 2556 h 10000"/>
                <a:gd name="connsiteX1698" fmla="*/ 3318 w 10785"/>
                <a:gd name="connsiteY1698" fmla="*/ 2556 h 10000"/>
                <a:gd name="connsiteX1699" fmla="*/ 3304 w 10785"/>
                <a:gd name="connsiteY1699" fmla="*/ 2607 h 10000"/>
                <a:gd name="connsiteX1700" fmla="*/ 3276 w 10785"/>
                <a:gd name="connsiteY1700" fmla="*/ 2632 h 10000"/>
                <a:gd name="connsiteX1701" fmla="*/ 3272 w 10785"/>
                <a:gd name="connsiteY1701" fmla="*/ 2667 h 10000"/>
                <a:gd name="connsiteX1702" fmla="*/ 3304 w 10785"/>
                <a:gd name="connsiteY1702" fmla="*/ 2667 h 10000"/>
                <a:gd name="connsiteX1703" fmla="*/ 3323 w 10785"/>
                <a:gd name="connsiteY1703" fmla="*/ 2692 h 10000"/>
                <a:gd name="connsiteX1704" fmla="*/ 3318 w 10785"/>
                <a:gd name="connsiteY1704" fmla="*/ 2735 h 10000"/>
                <a:gd name="connsiteX1705" fmla="*/ 3304 w 10785"/>
                <a:gd name="connsiteY1705" fmla="*/ 2761 h 10000"/>
                <a:gd name="connsiteX1706" fmla="*/ 3276 w 10785"/>
                <a:gd name="connsiteY1706" fmla="*/ 2769 h 10000"/>
                <a:gd name="connsiteX1707" fmla="*/ 3263 w 10785"/>
                <a:gd name="connsiteY1707" fmla="*/ 2795 h 10000"/>
                <a:gd name="connsiteX1708" fmla="*/ 3235 w 10785"/>
                <a:gd name="connsiteY1708" fmla="*/ 2803 h 10000"/>
                <a:gd name="connsiteX1709" fmla="*/ 3235 w 10785"/>
                <a:gd name="connsiteY1709" fmla="*/ 2786 h 10000"/>
                <a:gd name="connsiteX1710" fmla="*/ 3212 w 10785"/>
                <a:gd name="connsiteY1710" fmla="*/ 2709 h 10000"/>
                <a:gd name="connsiteX1711" fmla="*/ 3198 w 10785"/>
                <a:gd name="connsiteY1711" fmla="*/ 2709 h 10000"/>
                <a:gd name="connsiteX1712" fmla="*/ 3184 w 10785"/>
                <a:gd name="connsiteY1712" fmla="*/ 2735 h 10000"/>
                <a:gd name="connsiteX1713" fmla="*/ 3189 w 10785"/>
                <a:gd name="connsiteY1713" fmla="*/ 2761 h 10000"/>
                <a:gd name="connsiteX1714" fmla="*/ 3203 w 10785"/>
                <a:gd name="connsiteY1714" fmla="*/ 2855 h 10000"/>
                <a:gd name="connsiteX1715" fmla="*/ 3212 w 10785"/>
                <a:gd name="connsiteY1715" fmla="*/ 2872 h 10000"/>
                <a:gd name="connsiteX1716" fmla="*/ 3235 w 10785"/>
                <a:gd name="connsiteY1716" fmla="*/ 2906 h 10000"/>
                <a:gd name="connsiteX1717" fmla="*/ 3258 w 10785"/>
                <a:gd name="connsiteY1717" fmla="*/ 2915 h 10000"/>
                <a:gd name="connsiteX1718" fmla="*/ 3272 w 10785"/>
                <a:gd name="connsiteY1718" fmla="*/ 2957 h 10000"/>
                <a:gd name="connsiteX1719" fmla="*/ 3276 w 10785"/>
                <a:gd name="connsiteY1719" fmla="*/ 2957 h 10000"/>
                <a:gd name="connsiteX1720" fmla="*/ 3286 w 10785"/>
                <a:gd name="connsiteY1720" fmla="*/ 2966 h 10000"/>
                <a:gd name="connsiteX1721" fmla="*/ 3300 w 10785"/>
                <a:gd name="connsiteY1721" fmla="*/ 2957 h 10000"/>
                <a:gd name="connsiteX1722" fmla="*/ 3309 w 10785"/>
                <a:gd name="connsiteY1722" fmla="*/ 2932 h 10000"/>
                <a:gd name="connsiteX1723" fmla="*/ 3304 w 10785"/>
                <a:gd name="connsiteY1723" fmla="*/ 2966 h 10000"/>
                <a:gd name="connsiteX1724" fmla="*/ 3309 w 10785"/>
                <a:gd name="connsiteY1724" fmla="*/ 2983 h 10000"/>
                <a:gd name="connsiteX1725" fmla="*/ 3323 w 10785"/>
                <a:gd name="connsiteY1725" fmla="*/ 2966 h 10000"/>
                <a:gd name="connsiteX1726" fmla="*/ 3323 w 10785"/>
                <a:gd name="connsiteY1726" fmla="*/ 3043 h 10000"/>
                <a:gd name="connsiteX1727" fmla="*/ 3346 w 10785"/>
                <a:gd name="connsiteY1727" fmla="*/ 3068 h 10000"/>
                <a:gd name="connsiteX1728" fmla="*/ 3346 w 10785"/>
                <a:gd name="connsiteY1728" fmla="*/ 3094 h 10000"/>
                <a:gd name="connsiteX1729" fmla="*/ 3323 w 10785"/>
                <a:gd name="connsiteY1729" fmla="*/ 3094 h 10000"/>
                <a:gd name="connsiteX1730" fmla="*/ 3309 w 10785"/>
                <a:gd name="connsiteY1730" fmla="*/ 3077 h 10000"/>
                <a:gd name="connsiteX1731" fmla="*/ 3304 w 10785"/>
                <a:gd name="connsiteY1731" fmla="*/ 3051 h 10000"/>
                <a:gd name="connsiteX1732" fmla="*/ 3300 w 10785"/>
                <a:gd name="connsiteY1732" fmla="*/ 3043 h 10000"/>
                <a:gd name="connsiteX1733" fmla="*/ 3286 w 10785"/>
                <a:gd name="connsiteY1733" fmla="*/ 3017 h 10000"/>
                <a:gd name="connsiteX1734" fmla="*/ 3152 w 10785"/>
                <a:gd name="connsiteY1734" fmla="*/ 2966 h 10000"/>
                <a:gd name="connsiteX1735" fmla="*/ 3129 w 10785"/>
                <a:gd name="connsiteY1735" fmla="*/ 2915 h 10000"/>
                <a:gd name="connsiteX1736" fmla="*/ 3129 w 10785"/>
                <a:gd name="connsiteY1736" fmla="*/ 2906 h 10000"/>
                <a:gd name="connsiteX1737" fmla="*/ 3152 w 10785"/>
                <a:gd name="connsiteY1737" fmla="*/ 2906 h 10000"/>
                <a:gd name="connsiteX1738" fmla="*/ 3152 w 10785"/>
                <a:gd name="connsiteY1738" fmla="*/ 2846 h 10000"/>
                <a:gd name="connsiteX1739" fmla="*/ 3138 w 10785"/>
                <a:gd name="connsiteY1739" fmla="*/ 2795 h 10000"/>
                <a:gd name="connsiteX1740" fmla="*/ 3138 w 10785"/>
                <a:gd name="connsiteY1740" fmla="*/ 2769 h 10000"/>
                <a:gd name="connsiteX1741" fmla="*/ 3143 w 10785"/>
                <a:gd name="connsiteY1741" fmla="*/ 2718 h 10000"/>
                <a:gd name="connsiteX1742" fmla="*/ 3129 w 10785"/>
                <a:gd name="connsiteY1742" fmla="*/ 2692 h 10000"/>
                <a:gd name="connsiteX1743" fmla="*/ 3143 w 10785"/>
                <a:gd name="connsiteY1743" fmla="*/ 2667 h 10000"/>
                <a:gd name="connsiteX1744" fmla="*/ 3157 w 10785"/>
                <a:gd name="connsiteY1744" fmla="*/ 2581 h 10000"/>
                <a:gd name="connsiteX1745" fmla="*/ 3143 w 10785"/>
                <a:gd name="connsiteY1745" fmla="*/ 2496 h 10000"/>
                <a:gd name="connsiteX1746" fmla="*/ 3157 w 10785"/>
                <a:gd name="connsiteY1746" fmla="*/ 2487 h 10000"/>
                <a:gd name="connsiteX1747" fmla="*/ 3143 w 10785"/>
                <a:gd name="connsiteY1747" fmla="*/ 2444 h 10000"/>
                <a:gd name="connsiteX1748" fmla="*/ 3143 w 10785"/>
                <a:gd name="connsiteY1748" fmla="*/ 2419 h 10000"/>
                <a:gd name="connsiteX1749" fmla="*/ 3143 w 10785"/>
                <a:gd name="connsiteY1749" fmla="*/ 2410 h 10000"/>
                <a:gd name="connsiteX1750" fmla="*/ 3124 w 10785"/>
                <a:gd name="connsiteY1750" fmla="*/ 2376 h 10000"/>
                <a:gd name="connsiteX1751" fmla="*/ 3115 w 10785"/>
                <a:gd name="connsiteY1751" fmla="*/ 2350 h 10000"/>
                <a:gd name="connsiteX1752" fmla="*/ 3101 w 10785"/>
                <a:gd name="connsiteY1752" fmla="*/ 2359 h 10000"/>
                <a:gd name="connsiteX1753" fmla="*/ 3115 w 10785"/>
                <a:gd name="connsiteY1753" fmla="*/ 2581 h 10000"/>
                <a:gd name="connsiteX1754" fmla="*/ 3111 w 10785"/>
                <a:gd name="connsiteY1754" fmla="*/ 2624 h 10000"/>
                <a:gd name="connsiteX1755" fmla="*/ 3009 w 10785"/>
                <a:gd name="connsiteY1755" fmla="*/ 2761 h 10000"/>
                <a:gd name="connsiteX1756" fmla="*/ 3009 w 10785"/>
                <a:gd name="connsiteY1756" fmla="*/ 2803 h 10000"/>
                <a:gd name="connsiteX1757" fmla="*/ 3005 w 10785"/>
                <a:gd name="connsiteY1757" fmla="*/ 2829 h 10000"/>
                <a:gd name="connsiteX1758" fmla="*/ 2982 w 10785"/>
                <a:gd name="connsiteY1758" fmla="*/ 2872 h 10000"/>
                <a:gd name="connsiteX1759" fmla="*/ 2982 w 10785"/>
                <a:gd name="connsiteY1759" fmla="*/ 2880 h 10000"/>
                <a:gd name="connsiteX1760" fmla="*/ 3037 w 10785"/>
                <a:gd name="connsiteY1760" fmla="*/ 3034 h 10000"/>
                <a:gd name="connsiteX1761" fmla="*/ 3041 w 10785"/>
                <a:gd name="connsiteY1761" fmla="*/ 3103 h 10000"/>
                <a:gd name="connsiteX1762" fmla="*/ 3069 w 10785"/>
                <a:gd name="connsiteY1762" fmla="*/ 3188 h 10000"/>
                <a:gd name="connsiteX1763" fmla="*/ 3055 w 10785"/>
                <a:gd name="connsiteY1763" fmla="*/ 3325 h 10000"/>
                <a:gd name="connsiteX1764" fmla="*/ 3037 w 10785"/>
                <a:gd name="connsiteY1764" fmla="*/ 3368 h 10000"/>
                <a:gd name="connsiteX1765" fmla="*/ 3037 w 10785"/>
                <a:gd name="connsiteY1765" fmla="*/ 3444 h 10000"/>
                <a:gd name="connsiteX1766" fmla="*/ 3028 w 10785"/>
                <a:gd name="connsiteY1766" fmla="*/ 3453 h 10000"/>
                <a:gd name="connsiteX1767" fmla="*/ 3023 w 10785"/>
                <a:gd name="connsiteY1767" fmla="*/ 3530 h 10000"/>
                <a:gd name="connsiteX1768" fmla="*/ 3051 w 10785"/>
                <a:gd name="connsiteY1768" fmla="*/ 3624 h 10000"/>
                <a:gd name="connsiteX1769" fmla="*/ 3037 w 10785"/>
                <a:gd name="connsiteY1769" fmla="*/ 3718 h 10000"/>
                <a:gd name="connsiteX1770" fmla="*/ 3041 w 10785"/>
                <a:gd name="connsiteY1770" fmla="*/ 3752 h 10000"/>
                <a:gd name="connsiteX1771" fmla="*/ 3055 w 10785"/>
                <a:gd name="connsiteY1771" fmla="*/ 3761 h 10000"/>
                <a:gd name="connsiteX1772" fmla="*/ 3078 w 10785"/>
                <a:gd name="connsiteY1772" fmla="*/ 3752 h 10000"/>
                <a:gd name="connsiteX1773" fmla="*/ 3092 w 10785"/>
                <a:gd name="connsiteY1773" fmla="*/ 3752 h 10000"/>
                <a:gd name="connsiteX1774" fmla="*/ 3129 w 10785"/>
                <a:gd name="connsiteY1774" fmla="*/ 3761 h 10000"/>
                <a:gd name="connsiteX1775" fmla="*/ 3129 w 10785"/>
                <a:gd name="connsiteY1775" fmla="*/ 3735 h 10000"/>
                <a:gd name="connsiteX1776" fmla="*/ 3157 w 10785"/>
                <a:gd name="connsiteY1776" fmla="*/ 3718 h 10000"/>
                <a:gd name="connsiteX1777" fmla="*/ 3184 w 10785"/>
                <a:gd name="connsiteY1777" fmla="*/ 3718 h 10000"/>
                <a:gd name="connsiteX1778" fmla="*/ 3290 w 10785"/>
                <a:gd name="connsiteY1778" fmla="*/ 3838 h 10000"/>
                <a:gd name="connsiteX1779" fmla="*/ 3300 w 10785"/>
                <a:gd name="connsiteY1779" fmla="*/ 3846 h 10000"/>
                <a:gd name="connsiteX1780" fmla="*/ 3300 w 10785"/>
                <a:gd name="connsiteY1780" fmla="*/ 3915 h 10000"/>
                <a:gd name="connsiteX1781" fmla="*/ 3318 w 10785"/>
                <a:gd name="connsiteY1781" fmla="*/ 4000 h 10000"/>
                <a:gd name="connsiteX1782" fmla="*/ 3323 w 10785"/>
                <a:gd name="connsiteY1782" fmla="*/ 4000 h 10000"/>
                <a:gd name="connsiteX1783" fmla="*/ 3323 w 10785"/>
                <a:gd name="connsiteY1783" fmla="*/ 4034 h 10000"/>
                <a:gd name="connsiteX1784" fmla="*/ 3318 w 10785"/>
                <a:gd name="connsiteY1784" fmla="*/ 4051 h 10000"/>
                <a:gd name="connsiteX1785" fmla="*/ 3300 w 10785"/>
                <a:gd name="connsiteY1785" fmla="*/ 4051 h 10000"/>
                <a:gd name="connsiteX1786" fmla="*/ 3290 w 10785"/>
                <a:gd name="connsiteY1786" fmla="*/ 4077 h 10000"/>
                <a:gd name="connsiteX1787" fmla="*/ 3286 w 10785"/>
                <a:gd name="connsiteY1787" fmla="*/ 4103 h 10000"/>
                <a:gd name="connsiteX1788" fmla="*/ 3286 w 10785"/>
                <a:gd name="connsiteY1788" fmla="*/ 4197 h 10000"/>
                <a:gd name="connsiteX1789" fmla="*/ 3290 w 10785"/>
                <a:gd name="connsiteY1789" fmla="*/ 4214 h 10000"/>
                <a:gd name="connsiteX1790" fmla="*/ 3304 w 10785"/>
                <a:gd name="connsiteY1790" fmla="*/ 4214 h 10000"/>
                <a:gd name="connsiteX1791" fmla="*/ 3323 w 10785"/>
                <a:gd name="connsiteY1791" fmla="*/ 4239 h 10000"/>
                <a:gd name="connsiteX1792" fmla="*/ 3350 w 10785"/>
                <a:gd name="connsiteY1792" fmla="*/ 4222 h 10000"/>
                <a:gd name="connsiteX1793" fmla="*/ 3369 w 10785"/>
                <a:gd name="connsiteY1793" fmla="*/ 4256 h 10000"/>
                <a:gd name="connsiteX1794" fmla="*/ 3369 w 10785"/>
                <a:gd name="connsiteY1794" fmla="*/ 4256 h 10000"/>
                <a:gd name="connsiteX1795" fmla="*/ 3336 w 10785"/>
                <a:gd name="connsiteY1795" fmla="*/ 4274 h 10000"/>
                <a:gd name="connsiteX1796" fmla="*/ 3323 w 10785"/>
                <a:gd name="connsiteY1796" fmla="*/ 4274 h 10000"/>
                <a:gd name="connsiteX1797" fmla="*/ 3290 w 10785"/>
                <a:gd name="connsiteY1797" fmla="*/ 4274 h 10000"/>
                <a:gd name="connsiteX1798" fmla="*/ 3286 w 10785"/>
                <a:gd name="connsiteY1798" fmla="*/ 4239 h 10000"/>
                <a:gd name="connsiteX1799" fmla="*/ 3263 w 10785"/>
                <a:gd name="connsiteY1799" fmla="*/ 4214 h 10000"/>
                <a:gd name="connsiteX1800" fmla="*/ 3258 w 10785"/>
                <a:gd name="connsiteY1800" fmla="*/ 4188 h 10000"/>
                <a:gd name="connsiteX1801" fmla="*/ 3263 w 10785"/>
                <a:gd name="connsiteY1801" fmla="*/ 4171 h 10000"/>
                <a:gd name="connsiteX1802" fmla="*/ 3263 w 10785"/>
                <a:gd name="connsiteY1802" fmla="*/ 4103 h 10000"/>
                <a:gd name="connsiteX1803" fmla="*/ 3276 w 10785"/>
                <a:gd name="connsiteY1803" fmla="*/ 4060 h 10000"/>
                <a:gd name="connsiteX1804" fmla="*/ 3272 w 10785"/>
                <a:gd name="connsiteY1804" fmla="*/ 4051 h 10000"/>
                <a:gd name="connsiteX1805" fmla="*/ 3263 w 10785"/>
                <a:gd name="connsiteY1805" fmla="*/ 4051 h 10000"/>
                <a:gd name="connsiteX1806" fmla="*/ 3263 w 10785"/>
                <a:gd name="connsiteY1806" fmla="*/ 4034 h 10000"/>
                <a:gd name="connsiteX1807" fmla="*/ 3263 w 10785"/>
                <a:gd name="connsiteY1807" fmla="*/ 4000 h 10000"/>
                <a:gd name="connsiteX1808" fmla="*/ 3272 w 10785"/>
                <a:gd name="connsiteY1808" fmla="*/ 4000 h 10000"/>
                <a:gd name="connsiteX1809" fmla="*/ 3272 w 10785"/>
                <a:gd name="connsiteY1809" fmla="*/ 3974 h 10000"/>
                <a:gd name="connsiteX1810" fmla="*/ 3272 w 10785"/>
                <a:gd name="connsiteY1810" fmla="*/ 3966 h 10000"/>
                <a:gd name="connsiteX1811" fmla="*/ 3272 w 10785"/>
                <a:gd name="connsiteY1811" fmla="*/ 3949 h 10000"/>
                <a:gd name="connsiteX1812" fmla="*/ 3258 w 10785"/>
                <a:gd name="connsiteY1812" fmla="*/ 3923 h 10000"/>
                <a:gd name="connsiteX1813" fmla="*/ 3249 w 10785"/>
                <a:gd name="connsiteY1813" fmla="*/ 3915 h 10000"/>
                <a:gd name="connsiteX1814" fmla="*/ 3244 w 10785"/>
                <a:gd name="connsiteY1814" fmla="*/ 3897 h 10000"/>
                <a:gd name="connsiteX1815" fmla="*/ 3230 w 10785"/>
                <a:gd name="connsiteY1815" fmla="*/ 3889 h 10000"/>
                <a:gd name="connsiteX1816" fmla="*/ 3230 w 10785"/>
                <a:gd name="connsiteY1816" fmla="*/ 3863 h 10000"/>
                <a:gd name="connsiteX1817" fmla="*/ 3230 w 10785"/>
                <a:gd name="connsiteY1817" fmla="*/ 3838 h 10000"/>
                <a:gd name="connsiteX1818" fmla="*/ 3226 w 10785"/>
                <a:gd name="connsiteY1818" fmla="*/ 3803 h 10000"/>
                <a:gd name="connsiteX1819" fmla="*/ 3138 w 10785"/>
                <a:gd name="connsiteY1819" fmla="*/ 3838 h 10000"/>
                <a:gd name="connsiteX1820" fmla="*/ 3078 w 10785"/>
                <a:gd name="connsiteY1820" fmla="*/ 3889 h 10000"/>
                <a:gd name="connsiteX1821" fmla="*/ 3078 w 10785"/>
                <a:gd name="connsiteY1821" fmla="*/ 3940 h 10000"/>
                <a:gd name="connsiteX1822" fmla="*/ 3069 w 10785"/>
                <a:gd name="connsiteY1822" fmla="*/ 3983 h 10000"/>
                <a:gd name="connsiteX1823" fmla="*/ 3069 w 10785"/>
                <a:gd name="connsiteY1823" fmla="*/ 4009 h 10000"/>
                <a:gd name="connsiteX1824" fmla="*/ 3078 w 10785"/>
                <a:gd name="connsiteY1824" fmla="*/ 4026 h 10000"/>
                <a:gd name="connsiteX1825" fmla="*/ 3083 w 10785"/>
                <a:gd name="connsiteY1825" fmla="*/ 4034 h 10000"/>
                <a:gd name="connsiteX1826" fmla="*/ 3092 w 10785"/>
                <a:gd name="connsiteY1826" fmla="*/ 4060 h 10000"/>
                <a:gd name="connsiteX1827" fmla="*/ 3092 w 10785"/>
                <a:gd name="connsiteY1827" fmla="*/ 4077 h 10000"/>
                <a:gd name="connsiteX1828" fmla="*/ 3097 w 10785"/>
                <a:gd name="connsiteY1828" fmla="*/ 4103 h 10000"/>
                <a:gd name="connsiteX1829" fmla="*/ 3101 w 10785"/>
                <a:gd name="connsiteY1829" fmla="*/ 4162 h 10000"/>
                <a:gd name="connsiteX1830" fmla="*/ 3097 w 10785"/>
                <a:gd name="connsiteY1830" fmla="*/ 4222 h 10000"/>
                <a:gd name="connsiteX1831" fmla="*/ 3041 w 10785"/>
                <a:gd name="connsiteY1831" fmla="*/ 4325 h 10000"/>
                <a:gd name="connsiteX1832" fmla="*/ 3037 w 10785"/>
                <a:gd name="connsiteY1832" fmla="*/ 4419 h 10000"/>
                <a:gd name="connsiteX1833" fmla="*/ 3018 w 10785"/>
                <a:gd name="connsiteY1833" fmla="*/ 4470 h 10000"/>
                <a:gd name="connsiteX1834" fmla="*/ 2991 w 10785"/>
                <a:gd name="connsiteY1834" fmla="*/ 4513 h 10000"/>
                <a:gd name="connsiteX1835" fmla="*/ 2977 w 10785"/>
                <a:gd name="connsiteY1835" fmla="*/ 4530 h 10000"/>
                <a:gd name="connsiteX1836" fmla="*/ 2945 w 10785"/>
                <a:gd name="connsiteY1836" fmla="*/ 4556 h 10000"/>
                <a:gd name="connsiteX1837" fmla="*/ 2935 w 10785"/>
                <a:gd name="connsiteY1837" fmla="*/ 4581 h 10000"/>
                <a:gd name="connsiteX1838" fmla="*/ 2949 w 10785"/>
                <a:gd name="connsiteY1838" fmla="*/ 4624 h 10000"/>
                <a:gd name="connsiteX1839" fmla="*/ 2945 w 10785"/>
                <a:gd name="connsiteY1839" fmla="*/ 4658 h 10000"/>
                <a:gd name="connsiteX1840" fmla="*/ 2922 w 10785"/>
                <a:gd name="connsiteY1840" fmla="*/ 4667 h 10000"/>
                <a:gd name="connsiteX1841" fmla="*/ 2876 w 10785"/>
                <a:gd name="connsiteY1841" fmla="*/ 4632 h 10000"/>
                <a:gd name="connsiteX1842" fmla="*/ 2857 w 10785"/>
                <a:gd name="connsiteY1842" fmla="*/ 4632 h 10000"/>
                <a:gd name="connsiteX1843" fmla="*/ 2820 w 10785"/>
                <a:gd name="connsiteY1843" fmla="*/ 4641 h 10000"/>
                <a:gd name="connsiteX1844" fmla="*/ 2797 w 10785"/>
                <a:gd name="connsiteY1844" fmla="*/ 4632 h 10000"/>
                <a:gd name="connsiteX1845" fmla="*/ 2788 w 10785"/>
                <a:gd name="connsiteY1845" fmla="*/ 4624 h 10000"/>
                <a:gd name="connsiteX1846" fmla="*/ 2788 w 10785"/>
                <a:gd name="connsiteY1846" fmla="*/ 4598 h 10000"/>
                <a:gd name="connsiteX1847" fmla="*/ 2797 w 10785"/>
                <a:gd name="connsiteY1847" fmla="*/ 4581 h 10000"/>
                <a:gd name="connsiteX1848" fmla="*/ 2788 w 10785"/>
                <a:gd name="connsiteY1848" fmla="*/ 4530 h 10000"/>
                <a:gd name="connsiteX1849" fmla="*/ 2774 w 10785"/>
                <a:gd name="connsiteY1849" fmla="*/ 4530 h 10000"/>
                <a:gd name="connsiteX1850" fmla="*/ 2770 w 10785"/>
                <a:gd name="connsiteY1850" fmla="*/ 4513 h 10000"/>
                <a:gd name="connsiteX1851" fmla="*/ 2774 w 10785"/>
                <a:gd name="connsiteY1851" fmla="*/ 4513 h 10000"/>
                <a:gd name="connsiteX1852" fmla="*/ 2788 w 10785"/>
                <a:gd name="connsiteY1852" fmla="*/ 4496 h 10000"/>
                <a:gd name="connsiteX1853" fmla="*/ 2802 w 10785"/>
                <a:gd name="connsiteY1853" fmla="*/ 4513 h 10000"/>
                <a:gd name="connsiteX1854" fmla="*/ 2811 w 10785"/>
                <a:gd name="connsiteY1854" fmla="*/ 4530 h 10000"/>
                <a:gd name="connsiteX1855" fmla="*/ 2820 w 10785"/>
                <a:gd name="connsiteY1855" fmla="*/ 4521 h 10000"/>
                <a:gd name="connsiteX1856" fmla="*/ 2829 w 10785"/>
                <a:gd name="connsiteY1856" fmla="*/ 4513 h 10000"/>
                <a:gd name="connsiteX1857" fmla="*/ 2843 w 10785"/>
                <a:gd name="connsiteY1857" fmla="*/ 4513 h 10000"/>
                <a:gd name="connsiteX1858" fmla="*/ 2848 w 10785"/>
                <a:gd name="connsiteY1858" fmla="*/ 4470 h 10000"/>
                <a:gd name="connsiteX1859" fmla="*/ 2862 w 10785"/>
                <a:gd name="connsiteY1859" fmla="*/ 4487 h 10000"/>
                <a:gd name="connsiteX1860" fmla="*/ 2876 w 10785"/>
                <a:gd name="connsiteY1860" fmla="*/ 4470 h 10000"/>
                <a:gd name="connsiteX1861" fmla="*/ 2880 w 10785"/>
                <a:gd name="connsiteY1861" fmla="*/ 4462 h 10000"/>
                <a:gd name="connsiteX1862" fmla="*/ 2889 w 10785"/>
                <a:gd name="connsiteY1862" fmla="*/ 4444 h 10000"/>
                <a:gd name="connsiteX1863" fmla="*/ 2894 w 10785"/>
                <a:gd name="connsiteY1863" fmla="*/ 4462 h 10000"/>
                <a:gd name="connsiteX1864" fmla="*/ 2917 w 10785"/>
                <a:gd name="connsiteY1864" fmla="*/ 4444 h 10000"/>
                <a:gd name="connsiteX1865" fmla="*/ 2922 w 10785"/>
                <a:gd name="connsiteY1865" fmla="*/ 4436 h 10000"/>
                <a:gd name="connsiteX1866" fmla="*/ 2917 w 10785"/>
                <a:gd name="connsiteY1866" fmla="*/ 4410 h 10000"/>
                <a:gd name="connsiteX1867" fmla="*/ 2894 w 10785"/>
                <a:gd name="connsiteY1867" fmla="*/ 4410 h 10000"/>
                <a:gd name="connsiteX1868" fmla="*/ 2889 w 10785"/>
                <a:gd name="connsiteY1868" fmla="*/ 4419 h 10000"/>
                <a:gd name="connsiteX1869" fmla="*/ 2876 w 10785"/>
                <a:gd name="connsiteY1869" fmla="*/ 4410 h 10000"/>
                <a:gd name="connsiteX1870" fmla="*/ 2880 w 10785"/>
                <a:gd name="connsiteY1870" fmla="*/ 4376 h 10000"/>
                <a:gd name="connsiteX1871" fmla="*/ 2903 w 10785"/>
                <a:gd name="connsiteY1871" fmla="*/ 4393 h 10000"/>
                <a:gd name="connsiteX1872" fmla="*/ 2931 w 10785"/>
                <a:gd name="connsiteY1872" fmla="*/ 4393 h 10000"/>
                <a:gd name="connsiteX1873" fmla="*/ 2931 w 10785"/>
                <a:gd name="connsiteY1873" fmla="*/ 4385 h 10000"/>
                <a:gd name="connsiteX1874" fmla="*/ 2931 w 10785"/>
                <a:gd name="connsiteY1874" fmla="*/ 4350 h 10000"/>
                <a:gd name="connsiteX1875" fmla="*/ 2945 w 10785"/>
                <a:gd name="connsiteY1875" fmla="*/ 4350 h 10000"/>
                <a:gd name="connsiteX1876" fmla="*/ 2949 w 10785"/>
                <a:gd name="connsiteY1876" fmla="*/ 4325 h 10000"/>
                <a:gd name="connsiteX1877" fmla="*/ 2963 w 10785"/>
                <a:gd name="connsiteY1877" fmla="*/ 4256 h 10000"/>
                <a:gd name="connsiteX1878" fmla="*/ 2982 w 10785"/>
                <a:gd name="connsiteY1878" fmla="*/ 4239 h 10000"/>
                <a:gd name="connsiteX1879" fmla="*/ 2991 w 10785"/>
                <a:gd name="connsiteY1879" fmla="*/ 4214 h 10000"/>
                <a:gd name="connsiteX1880" fmla="*/ 2991 w 10785"/>
                <a:gd name="connsiteY1880" fmla="*/ 4197 h 10000"/>
                <a:gd name="connsiteX1881" fmla="*/ 2995 w 10785"/>
                <a:gd name="connsiteY1881" fmla="*/ 4171 h 10000"/>
                <a:gd name="connsiteX1882" fmla="*/ 2991 w 10785"/>
                <a:gd name="connsiteY1882" fmla="*/ 4077 h 10000"/>
                <a:gd name="connsiteX1883" fmla="*/ 2995 w 10785"/>
                <a:gd name="connsiteY1883" fmla="*/ 4034 h 10000"/>
                <a:gd name="connsiteX1884" fmla="*/ 3018 w 10785"/>
                <a:gd name="connsiteY1884" fmla="*/ 3983 h 10000"/>
                <a:gd name="connsiteX1885" fmla="*/ 3018 w 10785"/>
                <a:gd name="connsiteY1885" fmla="*/ 3915 h 10000"/>
                <a:gd name="connsiteX1886" fmla="*/ 2949 w 10785"/>
                <a:gd name="connsiteY1886" fmla="*/ 3778 h 10000"/>
                <a:gd name="connsiteX1887" fmla="*/ 2954 w 10785"/>
                <a:gd name="connsiteY1887" fmla="*/ 3675 h 10000"/>
                <a:gd name="connsiteX1888" fmla="*/ 2954 w 10785"/>
                <a:gd name="connsiteY1888" fmla="*/ 3650 h 10000"/>
                <a:gd name="connsiteX1889" fmla="*/ 2963 w 10785"/>
                <a:gd name="connsiteY1889" fmla="*/ 3624 h 10000"/>
                <a:gd name="connsiteX1890" fmla="*/ 2954 w 10785"/>
                <a:gd name="connsiteY1890" fmla="*/ 3564 h 10000"/>
                <a:gd name="connsiteX1891" fmla="*/ 2963 w 10785"/>
                <a:gd name="connsiteY1891" fmla="*/ 3538 h 10000"/>
                <a:gd name="connsiteX1892" fmla="*/ 2963 w 10785"/>
                <a:gd name="connsiteY1892" fmla="*/ 3487 h 10000"/>
                <a:gd name="connsiteX1893" fmla="*/ 2963 w 10785"/>
                <a:gd name="connsiteY1893" fmla="*/ 3479 h 10000"/>
                <a:gd name="connsiteX1894" fmla="*/ 2963 w 10785"/>
                <a:gd name="connsiteY1894" fmla="*/ 3462 h 10000"/>
                <a:gd name="connsiteX1895" fmla="*/ 2954 w 10785"/>
                <a:gd name="connsiteY1895" fmla="*/ 3453 h 10000"/>
                <a:gd name="connsiteX1896" fmla="*/ 2954 w 10785"/>
                <a:gd name="connsiteY1896" fmla="*/ 3444 h 10000"/>
                <a:gd name="connsiteX1897" fmla="*/ 2954 w 10785"/>
                <a:gd name="connsiteY1897" fmla="*/ 3402 h 10000"/>
                <a:gd name="connsiteX1898" fmla="*/ 2954 w 10785"/>
                <a:gd name="connsiteY1898" fmla="*/ 3393 h 10000"/>
                <a:gd name="connsiteX1899" fmla="*/ 2949 w 10785"/>
                <a:gd name="connsiteY1899" fmla="*/ 3376 h 10000"/>
                <a:gd name="connsiteX1900" fmla="*/ 2949 w 10785"/>
                <a:gd name="connsiteY1900" fmla="*/ 3342 h 10000"/>
                <a:gd name="connsiteX1901" fmla="*/ 2949 w 10785"/>
                <a:gd name="connsiteY1901" fmla="*/ 3316 h 10000"/>
                <a:gd name="connsiteX1902" fmla="*/ 2968 w 10785"/>
                <a:gd name="connsiteY1902" fmla="*/ 3291 h 10000"/>
                <a:gd name="connsiteX1903" fmla="*/ 2963 w 10785"/>
                <a:gd name="connsiteY1903" fmla="*/ 3205 h 10000"/>
                <a:gd name="connsiteX1904" fmla="*/ 2968 w 10785"/>
                <a:gd name="connsiteY1904" fmla="*/ 3171 h 10000"/>
                <a:gd name="connsiteX1905" fmla="*/ 2968 w 10785"/>
                <a:gd name="connsiteY1905" fmla="*/ 3128 h 10000"/>
                <a:gd name="connsiteX1906" fmla="*/ 2954 w 10785"/>
                <a:gd name="connsiteY1906" fmla="*/ 3051 h 10000"/>
                <a:gd name="connsiteX1907" fmla="*/ 2954 w 10785"/>
                <a:gd name="connsiteY1907" fmla="*/ 3009 h 10000"/>
                <a:gd name="connsiteX1908" fmla="*/ 2922 w 10785"/>
                <a:gd name="connsiteY1908" fmla="*/ 2940 h 10000"/>
                <a:gd name="connsiteX1909" fmla="*/ 2903 w 10785"/>
                <a:gd name="connsiteY1909" fmla="*/ 2880 h 10000"/>
                <a:gd name="connsiteX1910" fmla="*/ 2903 w 10785"/>
                <a:gd name="connsiteY1910" fmla="*/ 2855 h 10000"/>
                <a:gd name="connsiteX1911" fmla="*/ 2908 w 10785"/>
                <a:gd name="connsiteY1911" fmla="*/ 2846 h 10000"/>
                <a:gd name="connsiteX1912" fmla="*/ 2931 w 10785"/>
                <a:gd name="connsiteY1912" fmla="*/ 2821 h 10000"/>
                <a:gd name="connsiteX1913" fmla="*/ 2931 w 10785"/>
                <a:gd name="connsiteY1913" fmla="*/ 2803 h 10000"/>
                <a:gd name="connsiteX1914" fmla="*/ 2935 w 10785"/>
                <a:gd name="connsiteY1914" fmla="*/ 2786 h 10000"/>
                <a:gd name="connsiteX1915" fmla="*/ 2935 w 10785"/>
                <a:gd name="connsiteY1915" fmla="*/ 2744 h 10000"/>
                <a:gd name="connsiteX1916" fmla="*/ 2963 w 10785"/>
                <a:gd name="connsiteY1916" fmla="*/ 2607 h 10000"/>
                <a:gd name="connsiteX1917" fmla="*/ 2963 w 10785"/>
                <a:gd name="connsiteY1917" fmla="*/ 2419 h 10000"/>
                <a:gd name="connsiteX1918" fmla="*/ 2954 w 10785"/>
                <a:gd name="connsiteY1918" fmla="*/ 2410 h 10000"/>
                <a:gd name="connsiteX1919" fmla="*/ 2963 w 10785"/>
                <a:gd name="connsiteY1919" fmla="*/ 2393 h 10000"/>
                <a:gd name="connsiteX1920" fmla="*/ 2908 w 10785"/>
                <a:gd name="connsiteY1920" fmla="*/ 2359 h 10000"/>
                <a:gd name="connsiteX1921" fmla="*/ 2889 w 10785"/>
                <a:gd name="connsiteY1921" fmla="*/ 2325 h 10000"/>
                <a:gd name="connsiteX1922" fmla="*/ 2788 w 10785"/>
                <a:gd name="connsiteY1922" fmla="*/ 2333 h 10000"/>
                <a:gd name="connsiteX1923" fmla="*/ 2774 w 10785"/>
                <a:gd name="connsiteY1923" fmla="*/ 2325 h 10000"/>
                <a:gd name="connsiteX1924" fmla="*/ 2783 w 10785"/>
                <a:gd name="connsiteY1924" fmla="*/ 2308 h 10000"/>
                <a:gd name="connsiteX1925" fmla="*/ 2747 w 10785"/>
                <a:gd name="connsiteY1925" fmla="*/ 2308 h 10000"/>
                <a:gd name="connsiteX1926" fmla="*/ 2742 w 10785"/>
                <a:gd name="connsiteY1926" fmla="*/ 2333 h 10000"/>
                <a:gd name="connsiteX1927" fmla="*/ 2682 w 10785"/>
                <a:gd name="connsiteY1927" fmla="*/ 2769 h 10000"/>
                <a:gd name="connsiteX1928" fmla="*/ 2613 w 10785"/>
                <a:gd name="connsiteY1928" fmla="*/ 2940 h 10000"/>
                <a:gd name="connsiteX1929" fmla="*/ 2581 w 10785"/>
                <a:gd name="connsiteY1929" fmla="*/ 2966 h 10000"/>
                <a:gd name="connsiteX1930" fmla="*/ 2576 w 10785"/>
                <a:gd name="connsiteY1930" fmla="*/ 3051 h 10000"/>
                <a:gd name="connsiteX1931" fmla="*/ 2581 w 10785"/>
                <a:gd name="connsiteY1931" fmla="*/ 3051 h 10000"/>
                <a:gd name="connsiteX1932" fmla="*/ 2594 w 10785"/>
                <a:gd name="connsiteY1932" fmla="*/ 3017 h 10000"/>
                <a:gd name="connsiteX1933" fmla="*/ 2594 w 10785"/>
                <a:gd name="connsiteY1933" fmla="*/ 3034 h 10000"/>
                <a:gd name="connsiteX1934" fmla="*/ 2594 w 10785"/>
                <a:gd name="connsiteY1934" fmla="*/ 3051 h 10000"/>
                <a:gd name="connsiteX1935" fmla="*/ 2590 w 10785"/>
                <a:gd name="connsiteY1935" fmla="*/ 3077 h 10000"/>
                <a:gd name="connsiteX1936" fmla="*/ 2567 w 10785"/>
                <a:gd name="connsiteY1936" fmla="*/ 3103 h 10000"/>
                <a:gd name="connsiteX1937" fmla="*/ 2562 w 10785"/>
                <a:gd name="connsiteY1937" fmla="*/ 3145 h 10000"/>
                <a:gd name="connsiteX1938" fmla="*/ 2567 w 10785"/>
                <a:gd name="connsiteY1938" fmla="*/ 3179 h 10000"/>
                <a:gd name="connsiteX1939" fmla="*/ 2590 w 10785"/>
                <a:gd name="connsiteY1939" fmla="*/ 3171 h 10000"/>
                <a:gd name="connsiteX1940" fmla="*/ 2594 w 10785"/>
                <a:gd name="connsiteY1940" fmla="*/ 3145 h 10000"/>
                <a:gd name="connsiteX1941" fmla="*/ 2613 w 10785"/>
                <a:gd name="connsiteY1941" fmla="*/ 3154 h 10000"/>
                <a:gd name="connsiteX1942" fmla="*/ 2622 w 10785"/>
                <a:gd name="connsiteY1942" fmla="*/ 3179 h 10000"/>
                <a:gd name="connsiteX1943" fmla="*/ 2613 w 10785"/>
                <a:gd name="connsiteY1943" fmla="*/ 3214 h 10000"/>
                <a:gd name="connsiteX1944" fmla="*/ 2613 w 10785"/>
                <a:gd name="connsiteY1944" fmla="*/ 3308 h 10000"/>
                <a:gd name="connsiteX1945" fmla="*/ 2608 w 10785"/>
                <a:gd name="connsiteY1945" fmla="*/ 3325 h 10000"/>
                <a:gd name="connsiteX1946" fmla="*/ 2608 w 10785"/>
                <a:gd name="connsiteY1946" fmla="*/ 3376 h 10000"/>
                <a:gd name="connsiteX1947" fmla="*/ 2613 w 10785"/>
                <a:gd name="connsiteY1947" fmla="*/ 3419 h 10000"/>
                <a:gd name="connsiteX1948" fmla="*/ 2608 w 10785"/>
                <a:gd name="connsiteY1948" fmla="*/ 3444 h 10000"/>
                <a:gd name="connsiteX1949" fmla="*/ 2594 w 10785"/>
                <a:gd name="connsiteY1949" fmla="*/ 3444 h 10000"/>
                <a:gd name="connsiteX1950" fmla="*/ 2590 w 10785"/>
                <a:gd name="connsiteY1950" fmla="*/ 3427 h 10000"/>
                <a:gd name="connsiteX1951" fmla="*/ 2581 w 10785"/>
                <a:gd name="connsiteY1951" fmla="*/ 3564 h 10000"/>
                <a:gd name="connsiteX1952" fmla="*/ 2594 w 10785"/>
                <a:gd name="connsiteY1952" fmla="*/ 3598 h 10000"/>
                <a:gd name="connsiteX1953" fmla="*/ 2594 w 10785"/>
                <a:gd name="connsiteY1953" fmla="*/ 3581 h 10000"/>
                <a:gd name="connsiteX1954" fmla="*/ 2608 w 10785"/>
                <a:gd name="connsiteY1954" fmla="*/ 3556 h 10000"/>
                <a:gd name="connsiteX1955" fmla="*/ 2650 w 10785"/>
                <a:gd name="connsiteY1955" fmla="*/ 3615 h 10000"/>
                <a:gd name="connsiteX1956" fmla="*/ 2664 w 10785"/>
                <a:gd name="connsiteY1956" fmla="*/ 3615 h 10000"/>
                <a:gd name="connsiteX1957" fmla="*/ 2668 w 10785"/>
                <a:gd name="connsiteY1957" fmla="*/ 3615 h 10000"/>
                <a:gd name="connsiteX1958" fmla="*/ 2664 w 10785"/>
                <a:gd name="connsiteY1958" fmla="*/ 3667 h 10000"/>
                <a:gd name="connsiteX1959" fmla="*/ 2687 w 10785"/>
                <a:gd name="connsiteY1959" fmla="*/ 3786 h 10000"/>
                <a:gd name="connsiteX1960" fmla="*/ 2710 w 10785"/>
                <a:gd name="connsiteY1960" fmla="*/ 3812 h 10000"/>
                <a:gd name="connsiteX1961" fmla="*/ 2724 w 10785"/>
                <a:gd name="connsiteY1961" fmla="*/ 3812 h 10000"/>
                <a:gd name="connsiteX1962" fmla="*/ 2724 w 10785"/>
                <a:gd name="connsiteY1962" fmla="*/ 3829 h 10000"/>
                <a:gd name="connsiteX1963" fmla="*/ 2737 w 10785"/>
                <a:gd name="connsiteY1963" fmla="*/ 3838 h 10000"/>
                <a:gd name="connsiteX1964" fmla="*/ 2714 w 10785"/>
                <a:gd name="connsiteY1964" fmla="*/ 3872 h 10000"/>
                <a:gd name="connsiteX1965" fmla="*/ 2696 w 10785"/>
                <a:gd name="connsiteY1965" fmla="*/ 4026 h 10000"/>
                <a:gd name="connsiteX1966" fmla="*/ 2673 w 10785"/>
                <a:gd name="connsiteY1966" fmla="*/ 4051 h 10000"/>
                <a:gd name="connsiteX1967" fmla="*/ 2668 w 10785"/>
                <a:gd name="connsiteY1967" fmla="*/ 4034 h 10000"/>
                <a:gd name="connsiteX1968" fmla="*/ 2673 w 10785"/>
                <a:gd name="connsiteY1968" fmla="*/ 4000 h 10000"/>
                <a:gd name="connsiteX1969" fmla="*/ 2664 w 10785"/>
                <a:gd name="connsiteY1969" fmla="*/ 3974 h 10000"/>
                <a:gd name="connsiteX1970" fmla="*/ 2636 w 10785"/>
                <a:gd name="connsiteY1970" fmla="*/ 3949 h 10000"/>
                <a:gd name="connsiteX1971" fmla="*/ 2581 w 10785"/>
                <a:gd name="connsiteY1971" fmla="*/ 3838 h 10000"/>
                <a:gd name="connsiteX1972" fmla="*/ 2562 w 10785"/>
                <a:gd name="connsiteY1972" fmla="*/ 3829 h 10000"/>
                <a:gd name="connsiteX1973" fmla="*/ 2535 w 10785"/>
                <a:gd name="connsiteY1973" fmla="*/ 3778 h 10000"/>
                <a:gd name="connsiteX1974" fmla="*/ 2502 w 10785"/>
                <a:gd name="connsiteY1974" fmla="*/ 3761 h 10000"/>
                <a:gd name="connsiteX1975" fmla="*/ 2502 w 10785"/>
                <a:gd name="connsiteY1975" fmla="*/ 3735 h 10000"/>
                <a:gd name="connsiteX1976" fmla="*/ 2516 w 10785"/>
                <a:gd name="connsiteY1976" fmla="*/ 3735 h 10000"/>
                <a:gd name="connsiteX1977" fmla="*/ 2507 w 10785"/>
                <a:gd name="connsiteY1977" fmla="*/ 3726 h 10000"/>
                <a:gd name="connsiteX1978" fmla="*/ 2488 w 10785"/>
                <a:gd name="connsiteY1978" fmla="*/ 3726 h 10000"/>
                <a:gd name="connsiteX1979" fmla="*/ 2461 w 10785"/>
                <a:gd name="connsiteY1979" fmla="*/ 3692 h 10000"/>
                <a:gd name="connsiteX1980" fmla="*/ 2442 w 10785"/>
                <a:gd name="connsiteY1980" fmla="*/ 3675 h 10000"/>
                <a:gd name="connsiteX1981" fmla="*/ 2406 w 10785"/>
                <a:gd name="connsiteY1981" fmla="*/ 3598 h 10000"/>
                <a:gd name="connsiteX1982" fmla="*/ 2346 w 10785"/>
                <a:gd name="connsiteY1982" fmla="*/ 3564 h 10000"/>
                <a:gd name="connsiteX1983" fmla="*/ 2341 w 10785"/>
                <a:gd name="connsiteY1983" fmla="*/ 3564 h 10000"/>
                <a:gd name="connsiteX1984" fmla="*/ 2313 w 10785"/>
                <a:gd name="connsiteY1984" fmla="*/ 3530 h 10000"/>
                <a:gd name="connsiteX1985" fmla="*/ 2235 w 10785"/>
                <a:gd name="connsiteY1985" fmla="*/ 3530 h 10000"/>
                <a:gd name="connsiteX1986" fmla="*/ 2226 w 10785"/>
                <a:gd name="connsiteY1986" fmla="*/ 3513 h 10000"/>
                <a:gd name="connsiteX1987" fmla="*/ 2207 w 10785"/>
                <a:gd name="connsiteY1987" fmla="*/ 3504 h 10000"/>
                <a:gd name="connsiteX1988" fmla="*/ 2194 w 10785"/>
                <a:gd name="connsiteY1988" fmla="*/ 3504 h 10000"/>
                <a:gd name="connsiteX1989" fmla="*/ 2189 w 10785"/>
                <a:gd name="connsiteY1989" fmla="*/ 3504 h 10000"/>
                <a:gd name="connsiteX1990" fmla="*/ 2189 w 10785"/>
                <a:gd name="connsiteY1990" fmla="*/ 3530 h 10000"/>
                <a:gd name="connsiteX1991" fmla="*/ 2180 w 10785"/>
                <a:gd name="connsiteY1991" fmla="*/ 3538 h 10000"/>
                <a:gd name="connsiteX1992" fmla="*/ 2152 w 10785"/>
                <a:gd name="connsiteY1992" fmla="*/ 3581 h 10000"/>
                <a:gd name="connsiteX1993" fmla="*/ 2161 w 10785"/>
                <a:gd name="connsiteY1993" fmla="*/ 3598 h 10000"/>
                <a:gd name="connsiteX1994" fmla="*/ 2194 w 10785"/>
                <a:gd name="connsiteY1994" fmla="*/ 3752 h 10000"/>
                <a:gd name="connsiteX1995" fmla="*/ 2194 w 10785"/>
                <a:gd name="connsiteY1995" fmla="*/ 3735 h 10000"/>
                <a:gd name="connsiteX1996" fmla="*/ 2198 w 10785"/>
                <a:gd name="connsiteY1996" fmla="*/ 3735 h 10000"/>
                <a:gd name="connsiteX1997" fmla="*/ 2189 w 10785"/>
                <a:gd name="connsiteY1997" fmla="*/ 3838 h 10000"/>
                <a:gd name="connsiteX1998" fmla="*/ 2166 w 10785"/>
                <a:gd name="connsiteY1998" fmla="*/ 3889 h 10000"/>
                <a:gd name="connsiteX1999" fmla="*/ 2124 w 10785"/>
                <a:gd name="connsiteY1999" fmla="*/ 3889 h 10000"/>
                <a:gd name="connsiteX2000" fmla="*/ 2124 w 10785"/>
                <a:gd name="connsiteY2000" fmla="*/ 3923 h 10000"/>
                <a:gd name="connsiteX2001" fmla="*/ 2134 w 10785"/>
                <a:gd name="connsiteY2001" fmla="*/ 3940 h 10000"/>
                <a:gd name="connsiteX2002" fmla="*/ 2134 w 10785"/>
                <a:gd name="connsiteY2002" fmla="*/ 3966 h 10000"/>
                <a:gd name="connsiteX2003" fmla="*/ 2120 w 10785"/>
                <a:gd name="connsiteY2003" fmla="*/ 4000 h 10000"/>
                <a:gd name="connsiteX2004" fmla="*/ 2106 w 10785"/>
                <a:gd name="connsiteY2004" fmla="*/ 4009 h 10000"/>
                <a:gd name="connsiteX2005" fmla="*/ 2088 w 10785"/>
                <a:gd name="connsiteY2005" fmla="*/ 4000 h 10000"/>
                <a:gd name="connsiteX2006" fmla="*/ 2074 w 10785"/>
                <a:gd name="connsiteY2006" fmla="*/ 3974 h 10000"/>
                <a:gd name="connsiteX2007" fmla="*/ 2074 w 10785"/>
                <a:gd name="connsiteY2007" fmla="*/ 3940 h 10000"/>
                <a:gd name="connsiteX2008" fmla="*/ 2078 w 10785"/>
                <a:gd name="connsiteY2008" fmla="*/ 3915 h 10000"/>
                <a:gd name="connsiteX2009" fmla="*/ 2088 w 10785"/>
                <a:gd name="connsiteY2009" fmla="*/ 3889 h 10000"/>
                <a:gd name="connsiteX2010" fmla="*/ 2101 w 10785"/>
                <a:gd name="connsiteY2010" fmla="*/ 3872 h 10000"/>
                <a:gd name="connsiteX2011" fmla="*/ 2074 w 10785"/>
                <a:gd name="connsiteY2011" fmla="*/ 3812 h 10000"/>
                <a:gd name="connsiteX2012" fmla="*/ 2074 w 10785"/>
                <a:gd name="connsiteY2012" fmla="*/ 3786 h 10000"/>
                <a:gd name="connsiteX2013" fmla="*/ 2060 w 10785"/>
                <a:gd name="connsiteY2013" fmla="*/ 3786 h 10000"/>
                <a:gd name="connsiteX2014" fmla="*/ 2014 w 10785"/>
                <a:gd name="connsiteY2014" fmla="*/ 3829 h 10000"/>
                <a:gd name="connsiteX2015" fmla="*/ 2000 w 10785"/>
                <a:gd name="connsiteY2015" fmla="*/ 3863 h 10000"/>
                <a:gd name="connsiteX2016" fmla="*/ 1986 w 10785"/>
                <a:gd name="connsiteY2016" fmla="*/ 3872 h 10000"/>
                <a:gd name="connsiteX2017" fmla="*/ 1959 w 10785"/>
                <a:gd name="connsiteY2017" fmla="*/ 3940 h 10000"/>
                <a:gd name="connsiteX2018" fmla="*/ 1945 w 10785"/>
                <a:gd name="connsiteY2018" fmla="*/ 3949 h 10000"/>
                <a:gd name="connsiteX2019" fmla="*/ 1940 w 10785"/>
                <a:gd name="connsiteY2019" fmla="*/ 3923 h 10000"/>
                <a:gd name="connsiteX2020" fmla="*/ 1917 w 10785"/>
                <a:gd name="connsiteY2020" fmla="*/ 3915 h 10000"/>
                <a:gd name="connsiteX2021" fmla="*/ 1899 w 10785"/>
                <a:gd name="connsiteY2021" fmla="*/ 3923 h 10000"/>
                <a:gd name="connsiteX2022" fmla="*/ 1880 w 10785"/>
                <a:gd name="connsiteY2022" fmla="*/ 3915 h 10000"/>
                <a:gd name="connsiteX2023" fmla="*/ 1853 w 10785"/>
                <a:gd name="connsiteY2023" fmla="*/ 3940 h 10000"/>
                <a:gd name="connsiteX2024" fmla="*/ 1839 w 10785"/>
                <a:gd name="connsiteY2024" fmla="*/ 3940 h 10000"/>
                <a:gd name="connsiteX2025" fmla="*/ 1806 w 10785"/>
                <a:gd name="connsiteY2025" fmla="*/ 3983 h 10000"/>
                <a:gd name="connsiteX2026" fmla="*/ 1806 w 10785"/>
                <a:gd name="connsiteY2026" fmla="*/ 4000 h 10000"/>
                <a:gd name="connsiteX2027" fmla="*/ 1797 w 10785"/>
                <a:gd name="connsiteY2027" fmla="*/ 4077 h 10000"/>
                <a:gd name="connsiteX2028" fmla="*/ 1783 w 10785"/>
                <a:gd name="connsiteY2028" fmla="*/ 4077 h 10000"/>
                <a:gd name="connsiteX2029" fmla="*/ 1779 w 10785"/>
                <a:gd name="connsiteY2029" fmla="*/ 4051 h 10000"/>
                <a:gd name="connsiteX2030" fmla="*/ 1765 w 10785"/>
                <a:gd name="connsiteY2030" fmla="*/ 4026 h 10000"/>
                <a:gd name="connsiteX2031" fmla="*/ 1751 w 10785"/>
                <a:gd name="connsiteY2031" fmla="*/ 4051 h 10000"/>
                <a:gd name="connsiteX2032" fmla="*/ 1737 w 10785"/>
                <a:gd name="connsiteY2032" fmla="*/ 4009 h 10000"/>
                <a:gd name="connsiteX2033" fmla="*/ 1737 w 10785"/>
                <a:gd name="connsiteY2033" fmla="*/ 3966 h 10000"/>
                <a:gd name="connsiteX2034" fmla="*/ 1733 w 10785"/>
                <a:gd name="connsiteY2034" fmla="*/ 3940 h 10000"/>
                <a:gd name="connsiteX2035" fmla="*/ 1733 w 10785"/>
                <a:gd name="connsiteY2035" fmla="*/ 3923 h 10000"/>
                <a:gd name="connsiteX2036" fmla="*/ 1747 w 10785"/>
                <a:gd name="connsiteY2036" fmla="*/ 3889 h 10000"/>
                <a:gd name="connsiteX2037" fmla="*/ 1747 w 10785"/>
                <a:gd name="connsiteY2037" fmla="*/ 3863 h 10000"/>
                <a:gd name="connsiteX2038" fmla="*/ 1737 w 10785"/>
                <a:gd name="connsiteY2038" fmla="*/ 3838 h 10000"/>
                <a:gd name="connsiteX2039" fmla="*/ 1733 w 10785"/>
                <a:gd name="connsiteY2039" fmla="*/ 3829 h 10000"/>
                <a:gd name="connsiteX2040" fmla="*/ 1733 w 10785"/>
                <a:gd name="connsiteY2040" fmla="*/ 3846 h 10000"/>
                <a:gd name="connsiteX2041" fmla="*/ 1724 w 10785"/>
                <a:gd name="connsiteY2041" fmla="*/ 3846 h 10000"/>
                <a:gd name="connsiteX2042" fmla="*/ 1724 w 10785"/>
                <a:gd name="connsiteY2042" fmla="*/ 3829 h 10000"/>
                <a:gd name="connsiteX2043" fmla="*/ 1737 w 10785"/>
                <a:gd name="connsiteY2043" fmla="*/ 3812 h 10000"/>
                <a:gd name="connsiteX2044" fmla="*/ 1765 w 10785"/>
                <a:gd name="connsiteY2044" fmla="*/ 3812 h 10000"/>
                <a:gd name="connsiteX2045" fmla="*/ 1779 w 10785"/>
                <a:gd name="connsiteY2045" fmla="*/ 3786 h 10000"/>
                <a:gd name="connsiteX2046" fmla="*/ 1779 w 10785"/>
                <a:gd name="connsiteY2046" fmla="*/ 3786 h 10000"/>
                <a:gd name="connsiteX2047" fmla="*/ 1751 w 10785"/>
                <a:gd name="connsiteY2047" fmla="*/ 3803 h 10000"/>
                <a:gd name="connsiteX2048" fmla="*/ 1747 w 10785"/>
                <a:gd name="connsiteY2048" fmla="*/ 3803 h 10000"/>
                <a:gd name="connsiteX2049" fmla="*/ 1724 w 10785"/>
                <a:gd name="connsiteY2049" fmla="*/ 3803 h 10000"/>
                <a:gd name="connsiteX2050" fmla="*/ 1700 w 10785"/>
                <a:gd name="connsiteY2050" fmla="*/ 3829 h 10000"/>
                <a:gd name="connsiteX2051" fmla="*/ 1705 w 10785"/>
                <a:gd name="connsiteY2051" fmla="*/ 3846 h 10000"/>
                <a:gd name="connsiteX2052" fmla="*/ 1691 w 10785"/>
                <a:gd name="connsiteY2052" fmla="*/ 3846 h 10000"/>
                <a:gd name="connsiteX2053" fmla="*/ 1691 w 10785"/>
                <a:gd name="connsiteY2053" fmla="*/ 3863 h 10000"/>
                <a:gd name="connsiteX2054" fmla="*/ 1691 w 10785"/>
                <a:gd name="connsiteY2054" fmla="*/ 3915 h 10000"/>
                <a:gd name="connsiteX2055" fmla="*/ 1677 w 10785"/>
                <a:gd name="connsiteY2055" fmla="*/ 3923 h 10000"/>
                <a:gd name="connsiteX2056" fmla="*/ 1673 w 10785"/>
                <a:gd name="connsiteY2056" fmla="*/ 3915 h 10000"/>
                <a:gd name="connsiteX2057" fmla="*/ 1664 w 10785"/>
                <a:gd name="connsiteY2057" fmla="*/ 3889 h 10000"/>
                <a:gd name="connsiteX2058" fmla="*/ 1673 w 10785"/>
                <a:gd name="connsiteY2058" fmla="*/ 3872 h 10000"/>
                <a:gd name="connsiteX2059" fmla="*/ 1664 w 10785"/>
                <a:gd name="connsiteY2059" fmla="*/ 3872 h 10000"/>
                <a:gd name="connsiteX2060" fmla="*/ 1636 w 10785"/>
                <a:gd name="connsiteY2060" fmla="*/ 3923 h 10000"/>
                <a:gd name="connsiteX2061" fmla="*/ 1645 w 10785"/>
                <a:gd name="connsiteY2061" fmla="*/ 3923 h 10000"/>
                <a:gd name="connsiteX2062" fmla="*/ 1650 w 10785"/>
                <a:gd name="connsiteY2062" fmla="*/ 3949 h 10000"/>
                <a:gd name="connsiteX2063" fmla="*/ 1650 w 10785"/>
                <a:gd name="connsiteY2063" fmla="*/ 3983 h 10000"/>
                <a:gd name="connsiteX2064" fmla="*/ 1636 w 10785"/>
                <a:gd name="connsiteY2064" fmla="*/ 4000 h 10000"/>
                <a:gd name="connsiteX2065" fmla="*/ 1631 w 10785"/>
                <a:gd name="connsiteY2065" fmla="*/ 4009 h 10000"/>
                <a:gd name="connsiteX2066" fmla="*/ 1618 w 10785"/>
                <a:gd name="connsiteY2066" fmla="*/ 3949 h 10000"/>
                <a:gd name="connsiteX2067" fmla="*/ 1585 w 10785"/>
                <a:gd name="connsiteY2067" fmla="*/ 3966 h 10000"/>
                <a:gd name="connsiteX2068" fmla="*/ 1590 w 10785"/>
                <a:gd name="connsiteY2068" fmla="*/ 3974 h 10000"/>
                <a:gd name="connsiteX2069" fmla="*/ 1544 w 10785"/>
                <a:gd name="connsiteY2069" fmla="*/ 4009 h 10000"/>
                <a:gd name="connsiteX2070" fmla="*/ 1539 w 10785"/>
                <a:gd name="connsiteY2070" fmla="*/ 4009 h 10000"/>
                <a:gd name="connsiteX2071" fmla="*/ 1410 w 10785"/>
                <a:gd name="connsiteY2071" fmla="*/ 4188 h 10000"/>
                <a:gd name="connsiteX2072" fmla="*/ 1406 w 10785"/>
                <a:gd name="connsiteY2072" fmla="*/ 4171 h 10000"/>
                <a:gd name="connsiteX2073" fmla="*/ 1396 w 10785"/>
                <a:gd name="connsiteY2073" fmla="*/ 4214 h 10000"/>
                <a:gd name="connsiteX2074" fmla="*/ 1406 w 10785"/>
                <a:gd name="connsiteY2074" fmla="*/ 4222 h 10000"/>
                <a:gd name="connsiteX2075" fmla="*/ 1392 w 10785"/>
                <a:gd name="connsiteY2075" fmla="*/ 4239 h 10000"/>
                <a:gd name="connsiteX2076" fmla="*/ 1369 w 10785"/>
                <a:gd name="connsiteY2076" fmla="*/ 4248 h 10000"/>
                <a:gd name="connsiteX2077" fmla="*/ 1355 w 10785"/>
                <a:gd name="connsiteY2077" fmla="*/ 4256 h 10000"/>
                <a:gd name="connsiteX2078" fmla="*/ 1350 w 10785"/>
                <a:gd name="connsiteY2078" fmla="*/ 4248 h 10000"/>
                <a:gd name="connsiteX2079" fmla="*/ 1332 w 10785"/>
                <a:gd name="connsiteY2079" fmla="*/ 4376 h 10000"/>
                <a:gd name="connsiteX2080" fmla="*/ 1332 w 10785"/>
                <a:gd name="connsiteY2080" fmla="*/ 4436 h 10000"/>
                <a:gd name="connsiteX2081" fmla="*/ 1323 w 10785"/>
                <a:gd name="connsiteY2081" fmla="*/ 4462 h 10000"/>
                <a:gd name="connsiteX2082" fmla="*/ 1304 w 10785"/>
                <a:gd name="connsiteY2082" fmla="*/ 4487 h 10000"/>
                <a:gd name="connsiteX2083" fmla="*/ 1290 w 10785"/>
                <a:gd name="connsiteY2083" fmla="*/ 4470 h 10000"/>
                <a:gd name="connsiteX2084" fmla="*/ 1263 w 10785"/>
                <a:gd name="connsiteY2084" fmla="*/ 4496 h 10000"/>
                <a:gd name="connsiteX2085" fmla="*/ 1258 w 10785"/>
                <a:gd name="connsiteY2085" fmla="*/ 4547 h 10000"/>
                <a:gd name="connsiteX2086" fmla="*/ 1249 w 10785"/>
                <a:gd name="connsiteY2086" fmla="*/ 4487 h 10000"/>
                <a:gd name="connsiteX2087" fmla="*/ 1235 w 10785"/>
                <a:gd name="connsiteY2087" fmla="*/ 4496 h 10000"/>
                <a:gd name="connsiteX2088" fmla="*/ 1221 w 10785"/>
                <a:gd name="connsiteY2088" fmla="*/ 4496 h 10000"/>
                <a:gd name="connsiteX2089" fmla="*/ 1217 w 10785"/>
                <a:gd name="connsiteY2089" fmla="*/ 4487 h 10000"/>
                <a:gd name="connsiteX2090" fmla="*/ 1198 w 10785"/>
                <a:gd name="connsiteY2090" fmla="*/ 4410 h 10000"/>
                <a:gd name="connsiteX2091" fmla="*/ 1157 w 10785"/>
                <a:gd name="connsiteY2091" fmla="*/ 4333 h 10000"/>
                <a:gd name="connsiteX2092" fmla="*/ 1147 w 10785"/>
                <a:gd name="connsiteY2092" fmla="*/ 4299 h 10000"/>
                <a:gd name="connsiteX2093" fmla="*/ 1147 w 10785"/>
                <a:gd name="connsiteY2093" fmla="*/ 4274 h 10000"/>
                <a:gd name="connsiteX2094" fmla="*/ 1161 w 10785"/>
                <a:gd name="connsiteY2094" fmla="*/ 4256 h 10000"/>
                <a:gd name="connsiteX2095" fmla="*/ 1171 w 10785"/>
                <a:gd name="connsiteY2095" fmla="*/ 4248 h 10000"/>
                <a:gd name="connsiteX2096" fmla="*/ 1175 w 10785"/>
                <a:gd name="connsiteY2096" fmla="*/ 4214 h 10000"/>
                <a:gd name="connsiteX2097" fmla="*/ 1263 w 10785"/>
                <a:gd name="connsiteY2097" fmla="*/ 4171 h 10000"/>
                <a:gd name="connsiteX2098" fmla="*/ 1249 w 10785"/>
                <a:gd name="connsiteY2098" fmla="*/ 4137 h 10000"/>
                <a:gd name="connsiteX2099" fmla="*/ 1244 w 10785"/>
                <a:gd name="connsiteY2099" fmla="*/ 4060 h 10000"/>
                <a:gd name="connsiteX2100" fmla="*/ 1230 w 10785"/>
                <a:gd name="connsiteY2100" fmla="*/ 4077 h 10000"/>
                <a:gd name="connsiteX2101" fmla="*/ 1221 w 10785"/>
                <a:gd name="connsiteY2101" fmla="*/ 4026 h 10000"/>
                <a:gd name="connsiteX2102" fmla="*/ 1217 w 10785"/>
                <a:gd name="connsiteY2102" fmla="*/ 4026 h 10000"/>
                <a:gd name="connsiteX2103" fmla="*/ 1212 w 10785"/>
                <a:gd name="connsiteY2103" fmla="*/ 3983 h 10000"/>
                <a:gd name="connsiteX2104" fmla="*/ 1203 w 10785"/>
                <a:gd name="connsiteY2104" fmla="*/ 3966 h 10000"/>
                <a:gd name="connsiteX2105" fmla="*/ 1171 w 10785"/>
                <a:gd name="connsiteY2105" fmla="*/ 3949 h 10000"/>
                <a:gd name="connsiteX2106" fmla="*/ 1111 w 10785"/>
                <a:gd name="connsiteY2106" fmla="*/ 3940 h 10000"/>
                <a:gd name="connsiteX2107" fmla="*/ 1097 w 10785"/>
                <a:gd name="connsiteY2107" fmla="*/ 3949 h 10000"/>
                <a:gd name="connsiteX2108" fmla="*/ 1037 w 10785"/>
                <a:gd name="connsiteY2108" fmla="*/ 3897 h 10000"/>
                <a:gd name="connsiteX2109" fmla="*/ 1041 w 10785"/>
                <a:gd name="connsiteY2109" fmla="*/ 3923 h 10000"/>
                <a:gd name="connsiteX2110" fmla="*/ 1097 w 10785"/>
                <a:gd name="connsiteY2110" fmla="*/ 4009 h 10000"/>
                <a:gd name="connsiteX2111" fmla="*/ 1097 w 10785"/>
                <a:gd name="connsiteY2111" fmla="*/ 4120 h 10000"/>
                <a:gd name="connsiteX2112" fmla="*/ 1097 w 10785"/>
                <a:gd name="connsiteY2112" fmla="*/ 4162 h 10000"/>
                <a:gd name="connsiteX2113" fmla="*/ 1097 w 10785"/>
                <a:gd name="connsiteY2113" fmla="*/ 4197 h 10000"/>
                <a:gd name="connsiteX2114" fmla="*/ 1074 w 10785"/>
                <a:gd name="connsiteY2114" fmla="*/ 4333 h 10000"/>
                <a:gd name="connsiteX2115" fmla="*/ 1074 w 10785"/>
                <a:gd name="connsiteY2115" fmla="*/ 4376 h 10000"/>
                <a:gd name="connsiteX2116" fmla="*/ 1083 w 10785"/>
                <a:gd name="connsiteY2116" fmla="*/ 4385 h 10000"/>
                <a:gd name="connsiteX2117" fmla="*/ 1097 w 10785"/>
                <a:gd name="connsiteY2117" fmla="*/ 4385 h 10000"/>
                <a:gd name="connsiteX2118" fmla="*/ 1111 w 10785"/>
                <a:gd name="connsiteY2118" fmla="*/ 4410 h 10000"/>
                <a:gd name="connsiteX2119" fmla="*/ 1124 w 10785"/>
                <a:gd name="connsiteY2119" fmla="*/ 4444 h 10000"/>
                <a:gd name="connsiteX2120" fmla="*/ 1124 w 10785"/>
                <a:gd name="connsiteY2120" fmla="*/ 4470 h 10000"/>
                <a:gd name="connsiteX2121" fmla="*/ 1115 w 10785"/>
                <a:gd name="connsiteY2121" fmla="*/ 4513 h 10000"/>
                <a:gd name="connsiteX2122" fmla="*/ 1115 w 10785"/>
                <a:gd name="connsiteY2122" fmla="*/ 4530 h 10000"/>
                <a:gd name="connsiteX2123" fmla="*/ 1115 w 10785"/>
                <a:gd name="connsiteY2123" fmla="*/ 4573 h 10000"/>
                <a:gd name="connsiteX2124" fmla="*/ 1101 w 10785"/>
                <a:gd name="connsiteY2124" fmla="*/ 4607 h 10000"/>
                <a:gd name="connsiteX2125" fmla="*/ 1097 w 10785"/>
                <a:gd name="connsiteY2125" fmla="*/ 4658 h 10000"/>
                <a:gd name="connsiteX2126" fmla="*/ 1101 w 10785"/>
                <a:gd name="connsiteY2126" fmla="*/ 4692 h 10000"/>
                <a:gd name="connsiteX2127" fmla="*/ 1097 w 10785"/>
                <a:gd name="connsiteY2127" fmla="*/ 4778 h 10000"/>
                <a:gd name="connsiteX2128" fmla="*/ 1083 w 10785"/>
                <a:gd name="connsiteY2128" fmla="*/ 4744 h 10000"/>
                <a:gd name="connsiteX2129" fmla="*/ 1083 w 10785"/>
                <a:gd name="connsiteY2129" fmla="*/ 4718 h 10000"/>
                <a:gd name="connsiteX2130" fmla="*/ 1074 w 10785"/>
                <a:gd name="connsiteY2130" fmla="*/ 4692 h 10000"/>
                <a:gd name="connsiteX2131" fmla="*/ 1065 w 10785"/>
                <a:gd name="connsiteY2131" fmla="*/ 4692 h 10000"/>
                <a:gd name="connsiteX2132" fmla="*/ 1051 w 10785"/>
                <a:gd name="connsiteY2132" fmla="*/ 4718 h 10000"/>
                <a:gd name="connsiteX2133" fmla="*/ 1055 w 10785"/>
                <a:gd name="connsiteY2133" fmla="*/ 4692 h 10000"/>
                <a:gd name="connsiteX2134" fmla="*/ 1055 w 10785"/>
                <a:gd name="connsiteY2134" fmla="*/ 4667 h 10000"/>
                <a:gd name="connsiteX2135" fmla="*/ 1028 w 10785"/>
                <a:gd name="connsiteY2135" fmla="*/ 4624 h 10000"/>
                <a:gd name="connsiteX2136" fmla="*/ 1005 w 10785"/>
                <a:gd name="connsiteY2136" fmla="*/ 4624 h 10000"/>
                <a:gd name="connsiteX2137" fmla="*/ 977 w 10785"/>
                <a:gd name="connsiteY2137" fmla="*/ 4581 h 10000"/>
                <a:gd name="connsiteX2138" fmla="*/ 963 w 10785"/>
                <a:gd name="connsiteY2138" fmla="*/ 4607 h 10000"/>
                <a:gd name="connsiteX2139" fmla="*/ 963 w 10785"/>
                <a:gd name="connsiteY2139" fmla="*/ 4632 h 10000"/>
                <a:gd name="connsiteX2140" fmla="*/ 917 w 10785"/>
                <a:gd name="connsiteY2140" fmla="*/ 4718 h 10000"/>
                <a:gd name="connsiteX2141" fmla="*/ 889 w 10785"/>
                <a:gd name="connsiteY2141" fmla="*/ 4744 h 10000"/>
                <a:gd name="connsiteX2142" fmla="*/ 880 w 10785"/>
                <a:gd name="connsiteY2142" fmla="*/ 4744 h 10000"/>
                <a:gd name="connsiteX2143" fmla="*/ 862 w 10785"/>
                <a:gd name="connsiteY2143" fmla="*/ 4769 h 10000"/>
                <a:gd name="connsiteX2144" fmla="*/ 857 w 10785"/>
                <a:gd name="connsiteY2144" fmla="*/ 4795 h 10000"/>
                <a:gd name="connsiteX2145" fmla="*/ 829 w 10785"/>
                <a:gd name="connsiteY2145" fmla="*/ 4846 h 10000"/>
                <a:gd name="connsiteX2146" fmla="*/ 816 w 10785"/>
                <a:gd name="connsiteY2146" fmla="*/ 4855 h 10000"/>
                <a:gd name="connsiteX2147" fmla="*/ 816 w 10785"/>
                <a:gd name="connsiteY2147" fmla="*/ 4940 h 10000"/>
                <a:gd name="connsiteX2148" fmla="*/ 880 w 10785"/>
                <a:gd name="connsiteY2148" fmla="*/ 5179 h 10000"/>
                <a:gd name="connsiteX2149" fmla="*/ 880 w 10785"/>
                <a:gd name="connsiteY2149" fmla="*/ 5188 h 10000"/>
                <a:gd name="connsiteX2150" fmla="*/ 862 w 10785"/>
                <a:gd name="connsiteY2150" fmla="*/ 5171 h 10000"/>
                <a:gd name="connsiteX2151" fmla="*/ 857 w 10785"/>
                <a:gd name="connsiteY2151" fmla="*/ 5171 h 10000"/>
                <a:gd name="connsiteX2152" fmla="*/ 820 w 10785"/>
                <a:gd name="connsiteY2152" fmla="*/ 5145 h 10000"/>
                <a:gd name="connsiteX2153" fmla="*/ 820 w 10785"/>
                <a:gd name="connsiteY2153" fmla="*/ 5154 h 10000"/>
                <a:gd name="connsiteX2154" fmla="*/ 816 w 10785"/>
                <a:gd name="connsiteY2154" fmla="*/ 5171 h 10000"/>
                <a:gd name="connsiteX2155" fmla="*/ 783 w 10785"/>
                <a:gd name="connsiteY2155" fmla="*/ 5145 h 10000"/>
                <a:gd name="connsiteX2156" fmla="*/ 756 w 10785"/>
                <a:gd name="connsiteY2156" fmla="*/ 5103 h 10000"/>
                <a:gd name="connsiteX2157" fmla="*/ 742 w 10785"/>
                <a:gd name="connsiteY2157" fmla="*/ 5103 h 10000"/>
                <a:gd name="connsiteX2158" fmla="*/ 728 w 10785"/>
                <a:gd name="connsiteY2158" fmla="*/ 5094 h 10000"/>
                <a:gd name="connsiteX2159" fmla="*/ 710 w 10785"/>
                <a:gd name="connsiteY2159" fmla="*/ 5120 h 10000"/>
                <a:gd name="connsiteX2160" fmla="*/ 700 w 10785"/>
                <a:gd name="connsiteY2160" fmla="*/ 5145 h 10000"/>
                <a:gd name="connsiteX2161" fmla="*/ 696 w 10785"/>
                <a:gd name="connsiteY2161" fmla="*/ 5103 h 10000"/>
                <a:gd name="connsiteX2162" fmla="*/ 714 w 10785"/>
                <a:gd name="connsiteY2162" fmla="*/ 5077 h 10000"/>
                <a:gd name="connsiteX2163" fmla="*/ 682 w 10785"/>
                <a:gd name="connsiteY2163" fmla="*/ 5068 h 10000"/>
                <a:gd name="connsiteX2164" fmla="*/ 673 w 10785"/>
                <a:gd name="connsiteY2164" fmla="*/ 5034 h 10000"/>
                <a:gd name="connsiteX2165" fmla="*/ 636 w 10785"/>
                <a:gd name="connsiteY2165" fmla="*/ 4991 h 10000"/>
                <a:gd name="connsiteX2166" fmla="*/ 622 w 10785"/>
                <a:gd name="connsiteY2166" fmla="*/ 4983 h 10000"/>
                <a:gd name="connsiteX2167" fmla="*/ 622 w 10785"/>
                <a:gd name="connsiteY2167" fmla="*/ 5034 h 10000"/>
                <a:gd name="connsiteX2168" fmla="*/ 608 w 10785"/>
                <a:gd name="connsiteY2168" fmla="*/ 5051 h 10000"/>
                <a:gd name="connsiteX2169" fmla="*/ 594 w 10785"/>
                <a:gd name="connsiteY2169" fmla="*/ 5068 h 10000"/>
                <a:gd name="connsiteX2170" fmla="*/ 608 w 10785"/>
                <a:gd name="connsiteY2170" fmla="*/ 5120 h 10000"/>
                <a:gd name="connsiteX2171" fmla="*/ 613 w 10785"/>
                <a:gd name="connsiteY2171" fmla="*/ 5128 h 10000"/>
                <a:gd name="connsiteX2172" fmla="*/ 627 w 10785"/>
                <a:gd name="connsiteY2172" fmla="*/ 5179 h 10000"/>
                <a:gd name="connsiteX2173" fmla="*/ 650 w 10785"/>
                <a:gd name="connsiteY2173" fmla="*/ 5214 h 10000"/>
                <a:gd name="connsiteX2174" fmla="*/ 687 w 10785"/>
                <a:gd name="connsiteY2174" fmla="*/ 5188 h 10000"/>
                <a:gd name="connsiteX2175" fmla="*/ 700 w 10785"/>
                <a:gd name="connsiteY2175" fmla="*/ 5325 h 10000"/>
                <a:gd name="connsiteX2176" fmla="*/ 710 w 10785"/>
                <a:gd name="connsiteY2176" fmla="*/ 5350 h 10000"/>
                <a:gd name="connsiteX2177" fmla="*/ 687 w 10785"/>
                <a:gd name="connsiteY2177" fmla="*/ 5325 h 10000"/>
                <a:gd name="connsiteX2178" fmla="*/ 668 w 10785"/>
                <a:gd name="connsiteY2178" fmla="*/ 5350 h 10000"/>
                <a:gd name="connsiteX2179" fmla="*/ 668 w 10785"/>
                <a:gd name="connsiteY2179" fmla="*/ 5368 h 10000"/>
                <a:gd name="connsiteX2180" fmla="*/ 668 w 10785"/>
                <a:gd name="connsiteY2180" fmla="*/ 5376 h 10000"/>
                <a:gd name="connsiteX2181" fmla="*/ 581 w 10785"/>
                <a:gd name="connsiteY2181" fmla="*/ 5316 h 10000"/>
                <a:gd name="connsiteX2182" fmla="*/ 567 w 10785"/>
                <a:gd name="connsiteY2182" fmla="*/ 5265 h 10000"/>
                <a:gd name="connsiteX2183" fmla="*/ 562 w 10785"/>
                <a:gd name="connsiteY2183" fmla="*/ 5256 h 10000"/>
                <a:gd name="connsiteX2184" fmla="*/ 548 w 10785"/>
                <a:gd name="connsiteY2184" fmla="*/ 5231 h 10000"/>
                <a:gd name="connsiteX2185" fmla="*/ 535 w 10785"/>
                <a:gd name="connsiteY2185" fmla="*/ 5214 h 10000"/>
                <a:gd name="connsiteX2186" fmla="*/ 525 w 10785"/>
                <a:gd name="connsiteY2186" fmla="*/ 5231 h 10000"/>
                <a:gd name="connsiteX2187" fmla="*/ 521 w 10785"/>
                <a:gd name="connsiteY2187" fmla="*/ 5231 h 10000"/>
                <a:gd name="connsiteX2188" fmla="*/ 493 w 10785"/>
                <a:gd name="connsiteY2188" fmla="*/ 5205 h 10000"/>
                <a:gd name="connsiteX2189" fmla="*/ 488 w 10785"/>
                <a:gd name="connsiteY2189" fmla="*/ 5179 h 10000"/>
                <a:gd name="connsiteX2190" fmla="*/ 475 w 10785"/>
                <a:gd name="connsiteY2190" fmla="*/ 5188 h 10000"/>
                <a:gd name="connsiteX2191" fmla="*/ 475 w 10785"/>
                <a:gd name="connsiteY2191" fmla="*/ 5171 h 10000"/>
                <a:gd name="connsiteX2192" fmla="*/ 488 w 10785"/>
                <a:gd name="connsiteY2192" fmla="*/ 5154 h 10000"/>
                <a:gd name="connsiteX2193" fmla="*/ 488 w 10785"/>
                <a:gd name="connsiteY2193" fmla="*/ 5068 h 10000"/>
                <a:gd name="connsiteX2194" fmla="*/ 475 w 10785"/>
                <a:gd name="connsiteY2194" fmla="*/ 5051 h 10000"/>
                <a:gd name="connsiteX2195" fmla="*/ 475 w 10785"/>
                <a:gd name="connsiteY2195" fmla="*/ 5017 h 10000"/>
                <a:gd name="connsiteX2196" fmla="*/ 452 w 10785"/>
                <a:gd name="connsiteY2196" fmla="*/ 4932 h 10000"/>
                <a:gd name="connsiteX2197" fmla="*/ 461 w 10785"/>
                <a:gd name="connsiteY2197" fmla="*/ 4915 h 10000"/>
                <a:gd name="connsiteX2198" fmla="*/ 475 w 10785"/>
                <a:gd name="connsiteY2198" fmla="*/ 4906 h 10000"/>
                <a:gd name="connsiteX2199" fmla="*/ 479 w 10785"/>
                <a:gd name="connsiteY2199" fmla="*/ 4803 h 10000"/>
                <a:gd name="connsiteX2200" fmla="*/ 479 w 10785"/>
                <a:gd name="connsiteY2200" fmla="*/ 4778 h 10000"/>
                <a:gd name="connsiteX2201" fmla="*/ 475 w 10785"/>
                <a:gd name="connsiteY2201" fmla="*/ 4761 h 10000"/>
                <a:gd name="connsiteX2202" fmla="*/ 465 w 10785"/>
                <a:gd name="connsiteY2202" fmla="*/ 4718 h 10000"/>
                <a:gd name="connsiteX2203" fmla="*/ 461 w 10785"/>
                <a:gd name="connsiteY2203" fmla="*/ 4709 h 10000"/>
                <a:gd name="connsiteX2204" fmla="*/ 442 w 10785"/>
                <a:gd name="connsiteY2204" fmla="*/ 4692 h 10000"/>
                <a:gd name="connsiteX2205" fmla="*/ 433 w 10785"/>
                <a:gd name="connsiteY2205" fmla="*/ 4667 h 10000"/>
                <a:gd name="connsiteX2206" fmla="*/ 419 w 10785"/>
                <a:gd name="connsiteY2206" fmla="*/ 4667 h 10000"/>
                <a:gd name="connsiteX2207" fmla="*/ 401 w 10785"/>
                <a:gd name="connsiteY2207" fmla="*/ 4658 h 10000"/>
                <a:gd name="connsiteX2208" fmla="*/ 401 w 10785"/>
                <a:gd name="connsiteY2208" fmla="*/ 4624 h 10000"/>
                <a:gd name="connsiteX2209" fmla="*/ 401 w 10785"/>
                <a:gd name="connsiteY2209" fmla="*/ 4607 h 10000"/>
                <a:gd name="connsiteX2210" fmla="*/ 378 w 10785"/>
                <a:gd name="connsiteY2210" fmla="*/ 4607 h 10000"/>
                <a:gd name="connsiteX2211" fmla="*/ 341 w 10785"/>
                <a:gd name="connsiteY2211" fmla="*/ 4530 h 10000"/>
                <a:gd name="connsiteX2212" fmla="*/ 346 w 10785"/>
                <a:gd name="connsiteY2212" fmla="*/ 4521 h 10000"/>
                <a:gd name="connsiteX2213" fmla="*/ 332 w 10785"/>
                <a:gd name="connsiteY2213" fmla="*/ 4487 h 10000"/>
                <a:gd name="connsiteX2214" fmla="*/ 327 w 10785"/>
                <a:gd name="connsiteY2214" fmla="*/ 4462 h 10000"/>
                <a:gd name="connsiteX2215" fmla="*/ 313 w 10785"/>
                <a:gd name="connsiteY2215" fmla="*/ 4436 h 10000"/>
                <a:gd name="connsiteX2216" fmla="*/ 300 w 10785"/>
                <a:gd name="connsiteY2216" fmla="*/ 4419 h 10000"/>
                <a:gd name="connsiteX2217" fmla="*/ 309 w 10785"/>
                <a:gd name="connsiteY2217" fmla="*/ 4393 h 10000"/>
                <a:gd name="connsiteX2218" fmla="*/ 332 w 10785"/>
                <a:gd name="connsiteY2218" fmla="*/ 4385 h 10000"/>
                <a:gd name="connsiteX2219" fmla="*/ 355 w 10785"/>
                <a:gd name="connsiteY2219" fmla="*/ 4419 h 10000"/>
                <a:gd name="connsiteX2220" fmla="*/ 355 w 10785"/>
                <a:gd name="connsiteY2220" fmla="*/ 4444 h 10000"/>
                <a:gd name="connsiteX2221" fmla="*/ 369 w 10785"/>
                <a:gd name="connsiteY2221" fmla="*/ 4470 h 10000"/>
                <a:gd name="connsiteX2222" fmla="*/ 401 w 10785"/>
                <a:gd name="connsiteY2222" fmla="*/ 4521 h 10000"/>
                <a:gd name="connsiteX2223" fmla="*/ 406 w 10785"/>
                <a:gd name="connsiteY2223" fmla="*/ 4513 h 10000"/>
                <a:gd name="connsiteX2224" fmla="*/ 406 w 10785"/>
                <a:gd name="connsiteY2224" fmla="*/ 4496 h 10000"/>
                <a:gd name="connsiteX2225" fmla="*/ 419 w 10785"/>
                <a:gd name="connsiteY2225" fmla="*/ 4521 h 10000"/>
                <a:gd name="connsiteX2226" fmla="*/ 429 w 10785"/>
                <a:gd name="connsiteY2226" fmla="*/ 4530 h 10000"/>
                <a:gd name="connsiteX2227" fmla="*/ 433 w 10785"/>
                <a:gd name="connsiteY2227" fmla="*/ 4521 h 10000"/>
                <a:gd name="connsiteX2228" fmla="*/ 442 w 10785"/>
                <a:gd name="connsiteY2228" fmla="*/ 4530 h 10000"/>
                <a:gd name="connsiteX2229" fmla="*/ 447 w 10785"/>
                <a:gd name="connsiteY2229" fmla="*/ 4521 h 10000"/>
                <a:gd name="connsiteX2230" fmla="*/ 452 w 10785"/>
                <a:gd name="connsiteY2230" fmla="*/ 4521 h 10000"/>
                <a:gd name="connsiteX2231" fmla="*/ 461 w 10785"/>
                <a:gd name="connsiteY2231" fmla="*/ 4573 h 10000"/>
                <a:gd name="connsiteX2232" fmla="*/ 479 w 10785"/>
                <a:gd name="connsiteY2232" fmla="*/ 4556 h 10000"/>
                <a:gd name="connsiteX2233" fmla="*/ 502 w 10785"/>
                <a:gd name="connsiteY2233" fmla="*/ 4573 h 10000"/>
                <a:gd name="connsiteX2234" fmla="*/ 507 w 10785"/>
                <a:gd name="connsiteY2234" fmla="*/ 4598 h 10000"/>
                <a:gd name="connsiteX2235" fmla="*/ 525 w 10785"/>
                <a:gd name="connsiteY2235" fmla="*/ 4598 h 10000"/>
                <a:gd name="connsiteX2236" fmla="*/ 535 w 10785"/>
                <a:gd name="connsiteY2236" fmla="*/ 4624 h 10000"/>
                <a:gd name="connsiteX2237" fmla="*/ 594 w 10785"/>
                <a:gd name="connsiteY2237" fmla="*/ 4658 h 10000"/>
                <a:gd name="connsiteX2238" fmla="*/ 627 w 10785"/>
                <a:gd name="connsiteY2238" fmla="*/ 4658 h 10000"/>
                <a:gd name="connsiteX2239" fmla="*/ 654 w 10785"/>
                <a:gd name="connsiteY2239" fmla="*/ 4684 h 10000"/>
                <a:gd name="connsiteX2240" fmla="*/ 668 w 10785"/>
                <a:gd name="connsiteY2240" fmla="*/ 4709 h 10000"/>
                <a:gd name="connsiteX2241" fmla="*/ 747 w 10785"/>
                <a:gd name="connsiteY2241" fmla="*/ 4718 h 10000"/>
                <a:gd name="connsiteX2242" fmla="*/ 760 w 10785"/>
                <a:gd name="connsiteY2242" fmla="*/ 4709 h 10000"/>
                <a:gd name="connsiteX2243" fmla="*/ 774 w 10785"/>
                <a:gd name="connsiteY2243" fmla="*/ 4692 h 10000"/>
                <a:gd name="connsiteX2244" fmla="*/ 829 w 10785"/>
                <a:gd name="connsiteY2244" fmla="*/ 4658 h 10000"/>
                <a:gd name="connsiteX2245" fmla="*/ 903 w 10785"/>
                <a:gd name="connsiteY2245" fmla="*/ 4496 h 10000"/>
                <a:gd name="connsiteX2246" fmla="*/ 917 w 10785"/>
                <a:gd name="connsiteY2246" fmla="*/ 4385 h 10000"/>
                <a:gd name="connsiteX2247" fmla="*/ 903 w 10785"/>
                <a:gd name="connsiteY2247" fmla="*/ 4376 h 10000"/>
                <a:gd name="connsiteX2248" fmla="*/ 903 w 10785"/>
                <a:gd name="connsiteY2248" fmla="*/ 4376 h 10000"/>
                <a:gd name="connsiteX2249" fmla="*/ 889 w 10785"/>
                <a:gd name="connsiteY2249" fmla="*/ 4239 h 10000"/>
                <a:gd name="connsiteX2250" fmla="*/ 880 w 10785"/>
                <a:gd name="connsiteY2250" fmla="*/ 4214 h 10000"/>
                <a:gd name="connsiteX2251" fmla="*/ 862 w 10785"/>
                <a:gd name="connsiteY2251" fmla="*/ 4188 h 10000"/>
                <a:gd name="connsiteX2252" fmla="*/ 857 w 10785"/>
                <a:gd name="connsiteY2252" fmla="*/ 4197 h 10000"/>
                <a:gd name="connsiteX2253" fmla="*/ 848 w 10785"/>
                <a:gd name="connsiteY2253" fmla="*/ 4188 h 10000"/>
                <a:gd name="connsiteX2254" fmla="*/ 848 w 10785"/>
                <a:gd name="connsiteY2254" fmla="*/ 4162 h 10000"/>
                <a:gd name="connsiteX2255" fmla="*/ 829 w 10785"/>
                <a:gd name="connsiteY2255" fmla="*/ 4120 h 10000"/>
                <a:gd name="connsiteX2256" fmla="*/ 820 w 10785"/>
                <a:gd name="connsiteY2256" fmla="*/ 4103 h 10000"/>
                <a:gd name="connsiteX2257" fmla="*/ 806 w 10785"/>
                <a:gd name="connsiteY2257" fmla="*/ 4077 h 10000"/>
                <a:gd name="connsiteX2258" fmla="*/ 816 w 10785"/>
                <a:gd name="connsiteY2258" fmla="*/ 4111 h 10000"/>
                <a:gd name="connsiteX2259" fmla="*/ 802 w 10785"/>
                <a:gd name="connsiteY2259" fmla="*/ 4111 h 10000"/>
                <a:gd name="connsiteX2260" fmla="*/ 770 w 10785"/>
                <a:gd name="connsiteY2260" fmla="*/ 4060 h 10000"/>
                <a:gd name="connsiteX2261" fmla="*/ 760 w 10785"/>
                <a:gd name="connsiteY2261" fmla="*/ 4077 h 10000"/>
                <a:gd name="connsiteX2262" fmla="*/ 760 w 10785"/>
                <a:gd name="connsiteY2262" fmla="*/ 4060 h 10000"/>
                <a:gd name="connsiteX2263" fmla="*/ 756 w 10785"/>
                <a:gd name="connsiteY2263" fmla="*/ 4034 h 10000"/>
                <a:gd name="connsiteX2264" fmla="*/ 742 w 10785"/>
                <a:gd name="connsiteY2264" fmla="*/ 4000 h 10000"/>
                <a:gd name="connsiteX2265" fmla="*/ 747 w 10785"/>
                <a:gd name="connsiteY2265" fmla="*/ 4034 h 10000"/>
                <a:gd name="connsiteX2266" fmla="*/ 724 w 10785"/>
                <a:gd name="connsiteY2266" fmla="*/ 4026 h 10000"/>
                <a:gd name="connsiteX2267" fmla="*/ 714 w 10785"/>
                <a:gd name="connsiteY2267" fmla="*/ 4000 h 10000"/>
                <a:gd name="connsiteX2268" fmla="*/ 714 w 10785"/>
                <a:gd name="connsiteY2268" fmla="*/ 3983 h 10000"/>
                <a:gd name="connsiteX2269" fmla="*/ 553 w 10785"/>
                <a:gd name="connsiteY2269" fmla="*/ 3726 h 10000"/>
                <a:gd name="connsiteX2270" fmla="*/ 507 w 10785"/>
                <a:gd name="connsiteY2270" fmla="*/ 3718 h 10000"/>
                <a:gd name="connsiteX2271" fmla="*/ 516 w 10785"/>
                <a:gd name="connsiteY2271" fmla="*/ 3726 h 10000"/>
                <a:gd name="connsiteX2272" fmla="*/ 507 w 10785"/>
                <a:gd name="connsiteY2272" fmla="*/ 3735 h 10000"/>
                <a:gd name="connsiteX2273" fmla="*/ 502 w 10785"/>
                <a:gd name="connsiteY2273" fmla="*/ 3735 h 10000"/>
                <a:gd name="connsiteX2274" fmla="*/ 419 w 10785"/>
                <a:gd name="connsiteY2274" fmla="*/ 3675 h 10000"/>
                <a:gd name="connsiteX2275" fmla="*/ 419 w 10785"/>
                <a:gd name="connsiteY2275" fmla="*/ 3692 h 10000"/>
                <a:gd name="connsiteX2276" fmla="*/ 401 w 10785"/>
                <a:gd name="connsiteY2276" fmla="*/ 3701 h 10000"/>
                <a:gd name="connsiteX2277" fmla="*/ 387 w 10785"/>
                <a:gd name="connsiteY2277" fmla="*/ 3718 h 10000"/>
                <a:gd name="connsiteX2278" fmla="*/ 387 w 10785"/>
                <a:gd name="connsiteY2278" fmla="*/ 3692 h 10000"/>
                <a:gd name="connsiteX2279" fmla="*/ 378 w 10785"/>
                <a:gd name="connsiteY2279" fmla="*/ 3675 h 10000"/>
                <a:gd name="connsiteX2280" fmla="*/ 378 w 10785"/>
                <a:gd name="connsiteY2280" fmla="*/ 3650 h 10000"/>
                <a:gd name="connsiteX2281" fmla="*/ 378 w 10785"/>
                <a:gd name="connsiteY2281" fmla="*/ 3650 h 10000"/>
                <a:gd name="connsiteX2282" fmla="*/ 355 w 10785"/>
                <a:gd name="connsiteY2282" fmla="*/ 3675 h 10000"/>
                <a:gd name="connsiteX2283" fmla="*/ 359 w 10785"/>
                <a:gd name="connsiteY2283" fmla="*/ 3641 h 10000"/>
                <a:gd name="connsiteX2284" fmla="*/ 346 w 10785"/>
                <a:gd name="connsiteY2284" fmla="*/ 3650 h 10000"/>
                <a:gd name="connsiteX2285" fmla="*/ 355 w 10785"/>
                <a:gd name="connsiteY2285" fmla="*/ 3624 h 10000"/>
                <a:gd name="connsiteX2286" fmla="*/ 346 w 10785"/>
                <a:gd name="connsiteY2286" fmla="*/ 3624 h 10000"/>
                <a:gd name="connsiteX2287" fmla="*/ 341 w 10785"/>
                <a:gd name="connsiteY2287" fmla="*/ 3624 h 10000"/>
                <a:gd name="connsiteX2288" fmla="*/ 318 w 10785"/>
                <a:gd name="connsiteY2288" fmla="*/ 3641 h 10000"/>
                <a:gd name="connsiteX2289" fmla="*/ 327 w 10785"/>
                <a:gd name="connsiteY2289" fmla="*/ 3624 h 10000"/>
                <a:gd name="connsiteX2290" fmla="*/ 318 w 10785"/>
                <a:gd name="connsiteY2290" fmla="*/ 3615 h 10000"/>
                <a:gd name="connsiteX2291" fmla="*/ 318 w 10785"/>
                <a:gd name="connsiteY2291" fmla="*/ 3598 h 10000"/>
                <a:gd name="connsiteX2292" fmla="*/ 300 w 10785"/>
                <a:gd name="connsiteY2292" fmla="*/ 3598 h 10000"/>
                <a:gd name="connsiteX2293" fmla="*/ 309 w 10785"/>
                <a:gd name="connsiteY2293" fmla="*/ 3538 h 10000"/>
                <a:gd name="connsiteX2294" fmla="*/ 313 w 10785"/>
                <a:gd name="connsiteY2294" fmla="*/ 3564 h 10000"/>
                <a:gd name="connsiteX2295" fmla="*/ 318 w 10785"/>
                <a:gd name="connsiteY2295" fmla="*/ 3581 h 10000"/>
                <a:gd name="connsiteX2296" fmla="*/ 327 w 10785"/>
                <a:gd name="connsiteY2296" fmla="*/ 3564 h 10000"/>
                <a:gd name="connsiteX2297" fmla="*/ 332 w 10785"/>
                <a:gd name="connsiteY2297" fmla="*/ 3590 h 10000"/>
                <a:gd name="connsiteX2298" fmla="*/ 346 w 10785"/>
                <a:gd name="connsiteY2298" fmla="*/ 3590 h 10000"/>
                <a:gd name="connsiteX2299" fmla="*/ 355 w 10785"/>
                <a:gd name="connsiteY2299" fmla="*/ 3590 h 10000"/>
                <a:gd name="connsiteX2300" fmla="*/ 369 w 10785"/>
                <a:gd name="connsiteY2300" fmla="*/ 3556 h 10000"/>
                <a:gd name="connsiteX2301" fmla="*/ 369 w 10785"/>
                <a:gd name="connsiteY2301" fmla="*/ 3538 h 10000"/>
                <a:gd name="connsiteX2302" fmla="*/ 346 w 10785"/>
                <a:gd name="connsiteY2302" fmla="*/ 3513 h 10000"/>
                <a:gd name="connsiteX2303" fmla="*/ 341 w 10785"/>
                <a:gd name="connsiteY2303" fmla="*/ 3530 h 10000"/>
                <a:gd name="connsiteX2304" fmla="*/ 327 w 10785"/>
                <a:gd name="connsiteY2304" fmla="*/ 3513 h 10000"/>
                <a:gd name="connsiteX2305" fmla="*/ 327 w 10785"/>
                <a:gd name="connsiteY2305" fmla="*/ 3504 h 10000"/>
                <a:gd name="connsiteX2306" fmla="*/ 295 w 10785"/>
                <a:gd name="connsiteY2306" fmla="*/ 3462 h 10000"/>
                <a:gd name="connsiteX2307" fmla="*/ 300 w 10785"/>
                <a:gd name="connsiteY2307" fmla="*/ 3479 h 10000"/>
                <a:gd name="connsiteX2308" fmla="*/ 295 w 10785"/>
                <a:gd name="connsiteY2308" fmla="*/ 3513 h 10000"/>
                <a:gd name="connsiteX2309" fmla="*/ 286 w 10785"/>
                <a:gd name="connsiteY2309" fmla="*/ 3513 h 10000"/>
                <a:gd name="connsiteX2310" fmla="*/ 281 w 10785"/>
                <a:gd name="connsiteY2310" fmla="*/ 3513 h 10000"/>
                <a:gd name="connsiteX2311" fmla="*/ 281 w 10785"/>
                <a:gd name="connsiteY2311" fmla="*/ 3530 h 10000"/>
                <a:gd name="connsiteX2312" fmla="*/ 281 w 10785"/>
                <a:gd name="connsiteY2312" fmla="*/ 3556 h 10000"/>
                <a:gd name="connsiteX2313" fmla="*/ 272 w 10785"/>
                <a:gd name="connsiteY2313" fmla="*/ 3564 h 10000"/>
                <a:gd name="connsiteX2314" fmla="*/ 267 w 10785"/>
                <a:gd name="connsiteY2314" fmla="*/ 3564 h 10000"/>
                <a:gd name="connsiteX2315" fmla="*/ 253 w 10785"/>
                <a:gd name="connsiteY2315" fmla="*/ 3538 h 10000"/>
                <a:gd name="connsiteX2316" fmla="*/ 226 w 10785"/>
                <a:gd name="connsiteY2316" fmla="*/ 3513 h 10000"/>
                <a:gd name="connsiteX2317" fmla="*/ 226 w 10785"/>
                <a:gd name="connsiteY2317" fmla="*/ 3530 h 10000"/>
                <a:gd name="connsiteX2318" fmla="*/ 226 w 10785"/>
                <a:gd name="connsiteY2318" fmla="*/ 3530 h 10000"/>
                <a:gd name="connsiteX2319" fmla="*/ 226 w 10785"/>
                <a:gd name="connsiteY2319" fmla="*/ 3530 h 10000"/>
                <a:gd name="connsiteX2320" fmla="*/ 226 w 10785"/>
                <a:gd name="connsiteY2320" fmla="*/ 3556 h 10000"/>
                <a:gd name="connsiteX2321" fmla="*/ 221 w 10785"/>
                <a:gd name="connsiteY2321" fmla="*/ 3598 h 10000"/>
                <a:gd name="connsiteX2322" fmla="*/ 207 w 10785"/>
                <a:gd name="connsiteY2322" fmla="*/ 3598 h 10000"/>
                <a:gd name="connsiteX2323" fmla="*/ 180 w 10785"/>
                <a:gd name="connsiteY2323" fmla="*/ 3581 h 10000"/>
                <a:gd name="connsiteX2324" fmla="*/ 171 w 10785"/>
                <a:gd name="connsiteY2324" fmla="*/ 3641 h 10000"/>
                <a:gd name="connsiteX2325" fmla="*/ 166 w 10785"/>
                <a:gd name="connsiteY2325" fmla="*/ 3650 h 10000"/>
                <a:gd name="connsiteX2326" fmla="*/ 124 w 10785"/>
                <a:gd name="connsiteY2326" fmla="*/ 3701 h 10000"/>
                <a:gd name="connsiteX2327" fmla="*/ 124 w 10785"/>
                <a:gd name="connsiteY2327" fmla="*/ 3718 h 10000"/>
                <a:gd name="connsiteX2328" fmla="*/ 120 w 10785"/>
                <a:gd name="connsiteY2328" fmla="*/ 3735 h 10000"/>
                <a:gd name="connsiteX2329" fmla="*/ 120 w 10785"/>
                <a:gd name="connsiteY2329" fmla="*/ 3735 h 10000"/>
                <a:gd name="connsiteX2330" fmla="*/ 111 w 10785"/>
                <a:gd name="connsiteY2330" fmla="*/ 3761 h 10000"/>
                <a:gd name="connsiteX2331" fmla="*/ 106 w 10785"/>
                <a:gd name="connsiteY2331" fmla="*/ 3761 h 10000"/>
                <a:gd name="connsiteX2332" fmla="*/ 106 w 10785"/>
                <a:gd name="connsiteY2332" fmla="*/ 3761 h 10000"/>
                <a:gd name="connsiteX2333" fmla="*/ 74 w 10785"/>
                <a:gd name="connsiteY2333" fmla="*/ 3829 h 10000"/>
                <a:gd name="connsiteX2334" fmla="*/ 78 w 10785"/>
                <a:gd name="connsiteY2334" fmla="*/ 3838 h 10000"/>
                <a:gd name="connsiteX2335" fmla="*/ 88 w 10785"/>
                <a:gd name="connsiteY2335" fmla="*/ 3846 h 10000"/>
                <a:gd name="connsiteX2336" fmla="*/ 65 w 10785"/>
                <a:gd name="connsiteY2336" fmla="*/ 3923 h 10000"/>
                <a:gd name="connsiteX2337" fmla="*/ 78 w 10785"/>
                <a:gd name="connsiteY2337" fmla="*/ 4026 h 10000"/>
                <a:gd name="connsiteX2338" fmla="*/ 88 w 10785"/>
                <a:gd name="connsiteY2338" fmla="*/ 4051 h 10000"/>
                <a:gd name="connsiteX2339" fmla="*/ 92 w 10785"/>
                <a:gd name="connsiteY2339" fmla="*/ 4060 h 10000"/>
                <a:gd name="connsiteX2340" fmla="*/ 111 w 10785"/>
                <a:gd name="connsiteY2340" fmla="*/ 4060 h 10000"/>
                <a:gd name="connsiteX2341" fmla="*/ 124 w 10785"/>
                <a:gd name="connsiteY2341" fmla="*/ 4085 h 10000"/>
                <a:gd name="connsiteX2342" fmla="*/ 166 w 10785"/>
                <a:gd name="connsiteY2342" fmla="*/ 4197 h 10000"/>
                <a:gd name="connsiteX2343" fmla="*/ 166 w 10785"/>
                <a:gd name="connsiteY2343" fmla="*/ 4248 h 10000"/>
                <a:gd name="connsiteX2344" fmla="*/ 120 w 10785"/>
                <a:gd name="connsiteY2344" fmla="*/ 4462 h 10000"/>
                <a:gd name="connsiteX2345" fmla="*/ 120 w 10785"/>
                <a:gd name="connsiteY2345" fmla="*/ 4513 h 10000"/>
                <a:gd name="connsiteX2346" fmla="*/ 180 w 10785"/>
                <a:gd name="connsiteY2346" fmla="*/ 4829 h 10000"/>
                <a:gd name="connsiteX2347" fmla="*/ 161 w 10785"/>
                <a:gd name="connsiteY2347" fmla="*/ 4855 h 10000"/>
                <a:gd name="connsiteX2348" fmla="*/ 152 w 10785"/>
                <a:gd name="connsiteY2348" fmla="*/ 4940 h 10000"/>
                <a:gd name="connsiteX2349" fmla="*/ 161 w 10785"/>
                <a:gd name="connsiteY2349" fmla="*/ 4966 h 10000"/>
                <a:gd name="connsiteX2350" fmla="*/ 161 w 10785"/>
                <a:gd name="connsiteY2350" fmla="*/ 5009 h 10000"/>
                <a:gd name="connsiteX2351" fmla="*/ 152 w 10785"/>
                <a:gd name="connsiteY2351" fmla="*/ 5034 h 10000"/>
                <a:gd name="connsiteX2352" fmla="*/ 152 w 10785"/>
                <a:gd name="connsiteY2352" fmla="*/ 5077 h 10000"/>
                <a:gd name="connsiteX2353" fmla="*/ 171 w 10785"/>
                <a:gd name="connsiteY2353" fmla="*/ 5094 h 10000"/>
                <a:gd name="connsiteX2354" fmla="*/ 180 w 10785"/>
                <a:gd name="connsiteY2354" fmla="*/ 5128 h 10000"/>
                <a:gd name="connsiteX2355" fmla="*/ 180 w 10785"/>
                <a:gd name="connsiteY2355" fmla="*/ 5171 h 10000"/>
                <a:gd name="connsiteX2356" fmla="*/ 184 w 10785"/>
                <a:gd name="connsiteY2356" fmla="*/ 5205 h 10000"/>
                <a:gd name="connsiteX2357" fmla="*/ 207 w 10785"/>
                <a:gd name="connsiteY2357" fmla="*/ 5239 h 10000"/>
                <a:gd name="connsiteX2358" fmla="*/ 207 w 10785"/>
                <a:gd name="connsiteY2358" fmla="*/ 5282 h 10000"/>
                <a:gd name="connsiteX2359" fmla="*/ 180 w 10785"/>
                <a:gd name="connsiteY2359" fmla="*/ 5393 h 10000"/>
                <a:gd name="connsiteX2360" fmla="*/ 194 w 10785"/>
                <a:gd name="connsiteY2360" fmla="*/ 5427 h 10000"/>
                <a:gd name="connsiteX2361" fmla="*/ 198 w 10785"/>
                <a:gd name="connsiteY2361" fmla="*/ 5462 h 10000"/>
                <a:gd name="connsiteX2362" fmla="*/ 235 w 10785"/>
                <a:gd name="connsiteY2362" fmla="*/ 5513 h 10000"/>
                <a:gd name="connsiteX2363" fmla="*/ 240 w 10785"/>
                <a:gd name="connsiteY2363" fmla="*/ 5556 h 10000"/>
                <a:gd name="connsiteX2364" fmla="*/ 253 w 10785"/>
                <a:gd name="connsiteY2364" fmla="*/ 5590 h 10000"/>
                <a:gd name="connsiteX2365" fmla="*/ 258 w 10785"/>
                <a:gd name="connsiteY2365" fmla="*/ 5573 h 10000"/>
                <a:gd name="connsiteX2366" fmla="*/ 258 w 10785"/>
                <a:gd name="connsiteY2366" fmla="*/ 5667 h 10000"/>
                <a:gd name="connsiteX2367" fmla="*/ 14 w 10785"/>
                <a:gd name="connsiteY2367" fmla="*/ 6214 h 10000"/>
                <a:gd name="connsiteX2368" fmla="*/ 14 w 10785"/>
                <a:gd name="connsiteY2368" fmla="*/ 6214 h 10000"/>
                <a:gd name="connsiteX2369" fmla="*/ 37 w 10785"/>
                <a:gd name="connsiteY2369" fmla="*/ 6214 h 10000"/>
                <a:gd name="connsiteX2370" fmla="*/ 51 w 10785"/>
                <a:gd name="connsiteY2370" fmla="*/ 6188 h 10000"/>
                <a:gd name="connsiteX2371" fmla="*/ 78 w 10785"/>
                <a:gd name="connsiteY2371" fmla="*/ 6162 h 10000"/>
                <a:gd name="connsiteX2372" fmla="*/ 78 w 10785"/>
                <a:gd name="connsiteY2372" fmla="*/ 6188 h 10000"/>
                <a:gd name="connsiteX2373" fmla="*/ 74 w 10785"/>
                <a:gd name="connsiteY2373" fmla="*/ 6197 h 10000"/>
                <a:gd name="connsiteX2374" fmla="*/ 74 w 10785"/>
                <a:gd name="connsiteY2374" fmla="*/ 6231 h 10000"/>
                <a:gd name="connsiteX2375" fmla="*/ 74 w 10785"/>
                <a:gd name="connsiteY2375" fmla="*/ 6214 h 10000"/>
                <a:gd name="connsiteX2376" fmla="*/ 65 w 10785"/>
                <a:gd name="connsiteY2376" fmla="*/ 6214 h 10000"/>
                <a:gd name="connsiteX2377" fmla="*/ 65 w 10785"/>
                <a:gd name="connsiteY2377" fmla="*/ 6248 h 10000"/>
                <a:gd name="connsiteX2378" fmla="*/ 74 w 10785"/>
                <a:gd name="connsiteY2378" fmla="*/ 6256 h 10000"/>
                <a:gd name="connsiteX2379" fmla="*/ 78 w 10785"/>
                <a:gd name="connsiteY2379" fmla="*/ 6256 h 10000"/>
                <a:gd name="connsiteX2380" fmla="*/ 106 w 10785"/>
                <a:gd name="connsiteY2380" fmla="*/ 6308 h 10000"/>
                <a:gd name="connsiteX2381" fmla="*/ 138 w 10785"/>
                <a:gd name="connsiteY2381" fmla="*/ 6299 h 10000"/>
                <a:gd name="connsiteX2382" fmla="*/ 152 w 10785"/>
                <a:gd name="connsiteY2382" fmla="*/ 6299 h 10000"/>
                <a:gd name="connsiteX2383" fmla="*/ 166 w 10785"/>
                <a:gd name="connsiteY2383" fmla="*/ 6325 h 10000"/>
                <a:gd name="connsiteX2384" fmla="*/ 166 w 10785"/>
                <a:gd name="connsiteY2384" fmla="*/ 6333 h 10000"/>
                <a:gd name="connsiteX2385" fmla="*/ 171 w 10785"/>
                <a:gd name="connsiteY2385" fmla="*/ 6350 h 10000"/>
                <a:gd name="connsiteX2386" fmla="*/ 180 w 10785"/>
                <a:gd name="connsiteY2386" fmla="*/ 6350 h 10000"/>
                <a:gd name="connsiteX2387" fmla="*/ 180 w 10785"/>
                <a:gd name="connsiteY2387" fmla="*/ 6359 h 10000"/>
                <a:gd name="connsiteX2388" fmla="*/ 171 w 10785"/>
                <a:gd name="connsiteY2388" fmla="*/ 6368 h 10000"/>
                <a:gd name="connsiteX2389" fmla="*/ 106 w 10785"/>
                <a:gd name="connsiteY2389" fmla="*/ 6350 h 10000"/>
                <a:gd name="connsiteX2390" fmla="*/ 101 w 10785"/>
                <a:gd name="connsiteY2390" fmla="*/ 6359 h 10000"/>
                <a:gd name="connsiteX2391" fmla="*/ 101 w 10785"/>
                <a:gd name="connsiteY2391" fmla="*/ 6385 h 10000"/>
                <a:gd name="connsiteX2392" fmla="*/ 78 w 10785"/>
                <a:gd name="connsiteY2392" fmla="*/ 6393 h 10000"/>
                <a:gd name="connsiteX2393" fmla="*/ 74 w 10785"/>
                <a:gd name="connsiteY2393" fmla="*/ 6385 h 10000"/>
                <a:gd name="connsiteX2394" fmla="*/ 65 w 10785"/>
                <a:gd name="connsiteY2394" fmla="*/ 6393 h 10000"/>
                <a:gd name="connsiteX2395" fmla="*/ 60 w 10785"/>
                <a:gd name="connsiteY2395" fmla="*/ 6419 h 10000"/>
                <a:gd name="connsiteX2396" fmla="*/ 51 w 10785"/>
                <a:gd name="connsiteY2396" fmla="*/ 6419 h 10000"/>
                <a:gd name="connsiteX2397" fmla="*/ 46 w 10785"/>
                <a:gd name="connsiteY2397" fmla="*/ 6410 h 10000"/>
                <a:gd name="connsiteX2398" fmla="*/ 37 w 10785"/>
                <a:gd name="connsiteY2398" fmla="*/ 6393 h 10000"/>
                <a:gd name="connsiteX2399" fmla="*/ 32 w 10785"/>
                <a:gd name="connsiteY2399" fmla="*/ 6419 h 10000"/>
                <a:gd name="connsiteX2400" fmla="*/ 37 w 10785"/>
                <a:gd name="connsiteY2400" fmla="*/ 6462 h 10000"/>
                <a:gd name="connsiteX2401" fmla="*/ 46 w 10785"/>
                <a:gd name="connsiteY2401" fmla="*/ 6462 h 10000"/>
                <a:gd name="connsiteX2402" fmla="*/ 51 w 10785"/>
                <a:gd name="connsiteY2402" fmla="*/ 6470 h 10000"/>
                <a:gd name="connsiteX2403" fmla="*/ 51 w 10785"/>
                <a:gd name="connsiteY2403" fmla="*/ 6496 h 10000"/>
                <a:gd name="connsiteX2404" fmla="*/ 51 w 10785"/>
                <a:gd name="connsiteY2404" fmla="*/ 6504 h 10000"/>
                <a:gd name="connsiteX2405" fmla="*/ 37 w 10785"/>
                <a:gd name="connsiteY2405" fmla="*/ 6530 h 10000"/>
                <a:gd name="connsiteX2406" fmla="*/ 18 w 10785"/>
                <a:gd name="connsiteY2406" fmla="*/ 6598 h 10000"/>
                <a:gd name="connsiteX2407" fmla="*/ 28 w 10785"/>
                <a:gd name="connsiteY2407" fmla="*/ 6632 h 10000"/>
                <a:gd name="connsiteX2408" fmla="*/ 18 w 10785"/>
                <a:gd name="connsiteY2408" fmla="*/ 6667 h 10000"/>
                <a:gd name="connsiteX2409" fmla="*/ 28 w 10785"/>
                <a:gd name="connsiteY2409" fmla="*/ 6692 h 10000"/>
                <a:gd name="connsiteX2410" fmla="*/ 28 w 10785"/>
                <a:gd name="connsiteY2410" fmla="*/ 6709 h 10000"/>
                <a:gd name="connsiteX2411" fmla="*/ 18 w 10785"/>
                <a:gd name="connsiteY2411" fmla="*/ 6718 h 10000"/>
                <a:gd name="connsiteX2412" fmla="*/ 5 w 10785"/>
                <a:gd name="connsiteY2412" fmla="*/ 6744 h 10000"/>
                <a:gd name="connsiteX2413" fmla="*/ 0 w 10785"/>
                <a:gd name="connsiteY2413" fmla="*/ 6769 h 10000"/>
                <a:gd name="connsiteX2414" fmla="*/ 5 w 10785"/>
                <a:gd name="connsiteY2414" fmla="*/ 6778 h 10000"/>
                <a:gd name="connsiteX2415" fmla="*/ 32 w 10785"/>
                <a:gd name="connsiteY2415" fmla="*/ 6778 h 10000"/>
                <a:gd name="connsiteX2416" fmla="*/ 46 w 10785"/>
                <a:gd name="connsiteY2416" fmla="*/ 6821 h 10000"/>
                <a:gd name="connsiteX2417" fmla="*/ 46 w 10785"/>
                <a:gd name="connsiteY2417" fmla="*/ 6855 h 10000"/>
                <a:gd name="connsiteX2418" fmla="*/ 32 w 10785"/>
                <a:gd name="connsiteY2418" fmla="*/ 6855 h 10000"/>
                <a:gd name="connsiteX2419" fmla="*/ 14 w 10785"/>
                <a:gd name="connsiteY2419" fmla="*/ 6821 h 10000"/>
                <a:gd name="connsiteX2420" fmla="*/ 14 w 10785"/>
                <a:gd name="connsiteY2420" fmla="*/ 6846 h 10000"/>
                <a:gd name="connsiteX2421" fmla="*/ 0 w 10785"/>
                <a:gd name="connsiteY2421" fmla="*/ 6897 h 10000"/>
                <a:gd name="connsiteX2422" fmla="*/ 0 w 10785"/>
                <a:gd name="connsiteY2422" fmla="*/ 6915 h 10000"/>
                <a:gd name="connsiteX2423" fmla="*/ 5 w 10785"/>
                <a:gd name="connsiteY2423" fmla="*/ 6932 h 10000"/>
                <a:gd name="connsiteX2424" fmla="*/ 14 w 10785"/>
                <a:gd name="connsiteY2424" fmla="*/ 6940 h 10000"/>
                <a:gd name="connsiteX2425" fmla="*/ 18 w 10785"/>
                <a:gd name="connsiteY2425" fmla="*/ 6957 h 10000"/>
                <a:gd name="connsiteX2426" fmla="*/ 28 w 10785"/>
                <a:gd name="connsiteY2426" fmla="*/ 6966 h 10000"/>
                <a:gd name="connsiteX2427" fmla="*/ 28 w 10785"/>
                <a:gd name="connsiteY2427" fmla="*/ 6983 h 10000"/>
                <a:gd name="connsiteX2428" fmla="*/ 18 w 10785"/>
                <a:gd name="connsiteY2428" fmla="*/ 7051 h 10000"/>
                <a:gd name="connsiteX2429" fmla="*/ 28 w 10785"/>
                <a:gd name="connsiteY2429" fmla="*/ 7068 h 10000"/>
                <a:gd name="connsiteX2430" fmla="*/ 32 w 10785"/>
                <a:gd name="connsiteY2430" fmla="*/ 7068 h 10000"/>
                <a:gd name="connsiteX2431" fmla="*/ 32 w 10785"/>
                <a:gd name="connsiteY2431" fmla="*/ 7094 h 10000"/>
                <a:gd name="connsiteX2432" fmla="*/ 60 w 10785"/>
                <a:gd name="connsiteY2432" fmla="*/ 7162 h 10000"/>
                <a:gd name="connsiteX2433" fmla="*/ 60 w 10785"/>
                <a:gd name="connsiteY2433" fmla="*/ 7231 h 10000"/>
                <a:gd name="connsiteX2434" fmla="*/ 60 w 10785"/>
                <a:gd name="connsiteY2434" fmla="*/ 7239 h 10000"/>
                <a:gd name="connsiteX2435" fmla="*/ 78 w 10785"/>
                <a:gd name="connsiteY2435" fmla="*/ 7239 h 10000"/>
                <a:gd name="connsiteX2436" fmla="*/ 88 w 10785"/>
                <a:gd name="connsiteY2436" fmla="*/ 7239 h 10000"/>
                <a:gd name="connsiteX2437" fmla="*/ 92 w 10785"/>
                <a:gd name="connsiteY2437" fmla="*/ 7256 h 10000"/>
                <a:gd name="connsiteX2438" fmla="*/ 111 w 10785"/>
                <a:gd name="connsiteY2438" fmla="*/ 7256 h 10000"/>
                <a:gd name="connsiteX2439" fmla="*/ 120 w 10785"/>
                <a:gd name="connsiteY2439" fmla="*/ 7256 h 10000"/>
                <a:gd name="connsiteX2440" fmla="*/ 134 w 10785"/>
                <a:gd name="connsiteY2440" fmla="*/ 7282 h 10000"/>
                <a:gd name="connsiteX2441" fmla="*/ 134 w 10785"/>
                <a:gd name="connsiteY2441" fmla="*/ 7316 h 10000"/>
                <a:gd name="connsiteX2442" fmla="*/ 152 w 10785"/>
                <a:gd name="connsiteY2442" fmla="*/ 7299 h 10000"/>
                <a:gd name="connsiteX2443" fmla="*/ 161 w 10785"/>
                <a:gd name="connsiteY2443" fmla="*/ 7299 h 10000"/>
                <a:gd name="connsiteX2444" fmla="*/ 166 w 10785"/>
                <a:gd name="connsiteY2444" fmla="*/ 7291 h 10000"/>
                <a:gd name="connsiteX2445" fmla="*/ 194 w 10785"/>
                <a:gd name="connsiteY2445" fmla="*/ 7291 h 10000"/>
                <a:gd name="connsiteX2446" fmla="*/ 207 w 10785"/>
                <a:gd name="connsiteY2446" fmla="*/ 7299 h 10000"/>
                <a:gd name="connsiteX2447" fmla="*/ 221 w 10785"/>
                <a:gd name="connsiteY2447" fmla="*/ 7342 h 10000"/>
                <a:gd name="connsiteX2448" fmla="*/ 235 w 10785"/>
                <a:gd name="connsiteY2448" fmla="*/ 7342 h 10000"/>
                <a:gd name="connsiteX2449" fmla="*/ 235 w 10785"/>
                <a:gd name="connsiteY2449" fmla="*/ 7368 h 10000"/>
                <a:gd name="connsiteX2450" fmla="*/ 226 w 10785"/>
                <a:gd name="connsiteY2450" fmla="*/ 7393 h 10000"/>
                <a:gd name="connsiteX2451" fmla="*/ 226 w 10785"/>
                <a:gd name="connsiteY2451" fmla="*/ 7402 h 10000"/>
                <a:gd name="connsiteX2452" fmla="*/ 235 w 10785"/>
                <a:gd name="connsiteY2452" fmla="*/ 7419 h 10000"/>
                <a:gd name="connsiteX2453" fmla="*/ 240 w 10785"/>
                <a:gd name="connsiteY2453" fmla="*/ 7436 h 10000"/>
                <a:gd name="connsiteX2454" fmla="*/ 235 w 10785"/>
                <a:gd name="connsiteY2454" fmla="*/ 7462 h 10000"/>
                <a:gd name="connsiteX2455" fmla="*/ 226 w 10785"/>
                <a:gd name="connsiteY2455" fmla="*/ 7479 h 10000"/>
                <a:gd name="connsiteX2456" fmla="*/ 226 w 10785"/>
                <a:gd name="connsiteY2456" fmla="*/ 7504 h 10000"/>
                <a:gd name="connsiteX2457" fmla="*/ 226 w 10785"/>
                <a:gd name="connsiteY2457" fmla="*/ 7513 h 10000"/>
                <a:gd name="connsiteX2458" fmla="*/ 240 w 10785"/>
                <a:gd name="connsiteY2458" fmla="*/ 7538 h 10000"/>
                <a:gd name="connsiteX2459" fmla="*/ 267 w 10785"/>
                <a:gd name="connsiteY2459" fmla="*/ 7641 h 10000"/>
                <a:gd name="connsiteX2460" fmla="*/ 281 w 10785"/>
                <a:gd name="connsiteY2460" fmla="*/ 7667 h 10000"/>
                <a:gd name="connsiteX2461" fmla="*/ 286 w 10785"/>
                <a:gd name="connsiteY2461" fmla="*/ 7675 h 10000"/>
                <a:gd name="connsiteX2462" fmla="*/ 286 w 10785"/>
                <a:gd name="connsiteY2462" fmla="*/ 7692 h 10000"/>
                <a:gd name="connsiteX2463" fmla="*/ 286 w 10785"/>
                <a:gd name="connsiteY2463" fmla="*/ 7709 h 10000"/>
                <a:gd name="connsiteX2464" fmla="*/ 295 w 10785"/>
                <a:gd name="connsiteY2464" fmla="*/ 7726 h 10000"/>
                <a:gd name="connsiteX2465" fmla="*/ 318 w 10785"/>
                <a:gd name="connsiteY2465" fmla="*/ 7709 h 10000"/>
                <a:gd name="connsiteX2466" fmla="*/ 327 w 10785"/>
                <a:gd name="connsiteY2466" fmla="*/ 7726 h 10000"/>
                <a:gd name="connsiteX2467" fmla="*/ 341 w 10785"/>
                <a:gd name="connsiteY2467" fmla="*/ 7735 h 10000"/>
                <a:gd name="connsiteX2468" fmla="*/ 332 w 10785"/>
                <a:gd name="connsiteY2468" fmla="*/ 7752 h 10000"/>
                <a:gd name="connsiteX2469" fmla="*/ 341 w 10785"/>
                <a:gd name="connsiteY2469" fmla="*/ 7761 h 10000"/>
                <a:gd name="connsiteX2470" fmla="*/ 355 w 10785"/>
                <a:gd name="connsiteY2470" fmla="*/ 7761 h 10000"/>
                <a:gd name="connsiteX2471" fmla="*/ 355 w 10785"/>
                <a:gd name="connsiteY2471" fmla="*/ 7803 h 10000"/>
                <a:gd name="connsiteX2472" fmla="*/ 313 w 10785"/>
                <a:gd name="connsiteY2472" fmla="*/ 7846 h 10000"/>
                <a:gd name="connsiteX2473" fmla="*/ 295 w 10785"/>
                <a:gd name="connsiteY2473" fmla="*/ 7846 h 10000"/>
                <a:gd name="connsiteX2474" fmla="*/ 281 w 10785"/>
                <a:gd name="connsiteY2474" fmla="*/ 7821 h 10000"/>
                <a:gd name="connsiteX2475" fmla="*/ 272 w 10785"/>
                <a:gd name="connsiteY2475" fmla="*/ 7821 h 10000"/>
                <a:gd name="connsiteX2476" fmla="*/ 267 w 10785"/>
                <a:gd name="connsiteY2476" fmla="*/ 7838 h 10000"/>
                <a:gd name="connsiteX2477" fmla="*/ 258 w 10785"/>
                <a:gd name="connsiteY2477" fmla="*/ 7846 h 10000"/>
                <a:gd name="connsiteX2478" fmla="*/ 253 w 10785"/>
                <a:gd name="connsiteY2478" fmla="*/ 7863 h 10000"/>
                <a:gd name="connsiteX2479" fmla="*/ 253 w 10785"/>
                <a:gd name="connsiteY2479" fmla="*/ 7872 h 10000"/>
                <a:gd name="connsiteX2480" fmla="*/ 267 w 10785"/>
                <a:gd name="connsiteY2480" fmla="*/ 7897 h 10000"/>
                <a:gd name="connsiteX2481" fmla="*/ 272 w 10785"/>
                <a:gd name="connsiteY2481" fmla="*/ 7915 h 10000"/>
                <a:gd name="connsiteX2482" fmla="*/ 267 w 10785"/>
                <a:gd name="connsiteY2482" fmla="*/ 7940 h 10000"/>
                <a:gd name="connsiteX2483" fmla="*/ 272 w 10785"/>
                <a:gd name="connsiteY2483" fmla="*/ 7949 h 10000"/>
                <a:gd name="connsiteX2484" fmla="*/ 272 w 10785"/>
                <a:gd name="connsiteY2484" fmla="*/ 7957 h 10000"/>
                <a:gd name="connsiteX2485" fmla="*/ 281 w 10785"/>
                <a:gd name="connsiteY2485" fmla="*/ 7974 h 10000"/>
                <a:gd name="connsiteX2486" fmla="*/ 286 w 10785"/>
                <a:gd name="connsiteY2486" fmla="*/ 7983 h 10000"/>
                <a:gd name="connsiteX2487" fmla="*/ 281 w 10785"/>
                <a:gd name="connsiteY2487" fmla="*/ 8009 h 10000"/>
                <a:gd name="connsiteX2488" fmla="*/ 286 w 10785"/>
                <a:gd name="connsiteY2488" fmla="*/ 8060 h 10000"/>
                <a:gd name="connsiteX2489" fmla="*/ 286 w 10785"/>
                <a:gd name="connsiteY2489" fmla="*/ 8060 h 10000"/>
                <a:gd name="connsiteX2490" fmla="*/ 295 w 10785"/>
                <a:gd name="connsiteY2490" fmla="*/ 8077 h 10000"/>
                <a:gd name="connsiteX2491" fmla="*/ 309 w 10785"/>
                <a:gd name="connsiteY2491" fmla="*/ 8077 h 10000"/>
                <a:gd name="connsiteX2492" fmla="*/ 313 w 10785"/>
                <a:gd name="connsiteY2492" fmla="*/ 8060 h 10000"/>
                <a:gd name="connsiteX2493" fmla="*/ 318 w 10785"/>
                <a:gd name="connsiteY2493" fmla="*/ 8051 h 10000"/>
                <a:gd name="connsiteX2494" fmla="*/ 318 w 10785"/>
                <a:gd name="connsiteY2494" fmla="*/ 8034 h 10000"/>
                <a:gd name="connsiteX2495" fmla="*/ 332 w 10785"/>
                <a:gd name="connsiteY2495" fmla="*/ 8026 h 10000"/>
                <a:gd name="connsiteX2496" fmla="*/ 359 w 10785"/>
                <a:gd name="connsiteY2496" fmla="*/ 8034 h 10000"/>
                <a:gd name="connsiteX2497" fmla="*/ 378 w 10785"/>
                <a:gd name="connsiteY2497" fmla="*/ 8026 h 10000"/>
                <a:gd name="connsiteX2498" fmla="*/ 401 w 10785"/>
                <a:gd name="connsiteY2498" fmla="*/ 8026 h 10000"/>
                <a:gd name="connsiteX2499" fmla="*/ 419 w 10785"/>
                <a:gd name="connsiteY2499" fmla="*/ 8009 h 10000"/>
                <a:gd name="connsiteX2500" fmla="*/ 433 w 10785"/>
                <a:gd name="connsiteY2500" fmla="*/ 8034 h 10000"/>
                <a:gd name="connsiteX2501" fmla="*/ 442 w 10785"/>
                <a:gd name="connsiteY2501" fmla="*/ 8060 h 10000"/>
                <a:gd name="connsiteX2502" fmla="*/ 442 w 10785"/>
                <a:gd name="connsiteY2502" fmla="*/ 8077 h 10000"/>
                <a:gd name="connsiteX2503" fmla="*/ 461 w 10785"/>
                <a:gd name="connsiteY2503" fmla="*/ 8111 h 10000"/>
                <a:gd name="connsiteX2504" fmla="*/ 461 w 10785"/>
                <a:gd name="connsiteY2504" fmla="*/ 8137 h 10000"/>
                <a:gd name="connsiteX2505" fmla="*/ 447 w 10785"/>
                <a:gd name="connsiteY2505" fmla="*/ 8145 h 10000"/>
                <a:gd name="connsiteX2506" fmla="*/ 442 w 10785"/>
                <a:gd name="connsiteY2506" fmla="*/ 8145 h 10000"/>
                <a:gd name="connsiteX2507" fmla="*/ 442 w 10785"/>
                <a:gd name="connsiteY2507" fmla="*/ 8162 h 10000"/>
                <a:gd name="connsiteX2508" fmla="*/ 442 w 10785"/>
                <a:gd name="connsiteY2508" fmla="*/ 8171 h 10000"/>
                <a:gd name="connsiteX2509" fmla="*/ 447 w 10785"/>
                <a:gd name="connsiteY2509" fmla="*/ 8214 h 10000"/>
                <a:gd name="connsiteX2510" fmla="*/ 465 w 10785"/>
                <a:gd name="connsiteY2510" fmla="*/ 8231 h 10000"/>
                <a:gd name="connsiteX2511" fmla="*/ 488 w 10785"/>
                <a:gd name="connsiteY2511" fmla="*/ 8231 h 10000"/>
                <a:gd name="connsiteX2512" fmla="*/ 493 w 10785"/>
                <a:gd name="connsiteY2512" fmla="*/ 8231 h 10000"/>
                <a:gd name="connsiteX2513" fmla="*/ 502 w 10785"/>
                <a:gd name="connsiteY2513" fmla="*/ 8231 h 10000"/>
                <a:gd name="connsiteX2514" fmla="*/ 507 w 10785"/>
                <a:gd name="connsiteY2514" fmla="*/ 8248 h 10000"/>
                <a:gd name="connsiteX2515" fmla="*/ 521 w 10785"/>
                <a:gd name="connsiteY2515" fmla="*/ 8274 h 10000"/>
                <a:gd name="connsiteX2516" fmla="*/ 525 w 10785"/>
                <a:gd name="connsiteY2516" fmla="*/ 8333 h 10000"/>
                <a:gd name="connsiteX2517" fmla="*/ 525 w 10785"/>
                <a:gd name="connsiteY2517" fmla="*/ 8359 h 10000"/>
                <a:gd name="connsiteX2518" fmla="*/ 525 w 10785"/>
                <a:gd name="connsiteY2518" fmla="*/ 8368 h 10000"/>
                <a:gd name="connsiteX2519" fmla="*/ 548 w 10785"/>
                <a:gd name="connsiteY2519" fmla="*/ 8393 h 10000"/>
                <a:gd name="connsiteX2520" fmla="*/ 553 w 10785"/>
                <a:gd name="connsiteY2520" fmla="*/ 8385 h 10000"/>
                <a:gd name="connsiteX2521" fmla="*/ 562 w 10785"/>
                <a:gd name="connsiteY2521" fmla="*/ 8385 h 10000"/>
                <a:gd name="connsiteX2522" fmla="*/ 576 w 10785"/>
                <a:gd name="connsiteY2522" fmla="*/ 8385 h 10000"/>
                <a:gd name="connsiteX2523" fmla="*/ 585 w 10785"/>
                <a:gd name="connsiteY2523" fmla="*/ 8410 h 10000"/>
                <a:gd name="connsiteX2524" fmla="*/ 594 w 10785"/>
                <a:gd name="connsiteY2524" fmla="*/ 8410 h 10000"/>
                <a:gd name="connsiteX2525" fmla="*/ 608 w 10785"/>
                <a:gd name="connsiteY2525" fmla="*/ 8410 h 10000"/>
                <a:gd name="connsiteX2526" fmla="*/ 654 w 10785"/>
                <a:gd name="connsiteY2526" fmla="*/ 8385 h 10000"/>
                <a:gd name="connsiteX2527" fmla="*/ 659 w 10785"/>
                <a:gd name="connsiteY2527" fmla="*/ 8385 h 10000"/>
                <a:gd name="connsiteX2528" fmla="*/ 696 w 10785"/>
                <a:gd name="connsiteY2528" fmla="*/ 8470 h 10000"/>
                <a:gd name="connsiteX2529" fmla="*/ 700 w 10785"/>
                <a:gd name="connsiteY2529" fmla="*/ 8470 h 10000"/>
                <a:gd name="connsiteX2530" fmla="*/ 710 w 10785"/>
                <a:gd name="connsiteY2530" fmla="*/ 8462 h 10000"/>
                <a:gd name="connsiteX2531" fmla="*/ 714 w 10785"/>
                <a:gd name="connsiteY2531" fmla="*/ 8462 h 10000"/>
                <a:gd name="connsiteX2532" fmla="*/ 724 w 10785"/>
                <a:gd name="connsiteY2532" fmla="*/ 8470 h 10000"/>
                <a:gd name="connsiteX2533" fmla="*/ 733 w 10785"/>
                <a:gd name="connsiteY2533" fmla="*/ 8470 h 10000"/>
                <a:gd name="connsiteX2534" fmla="*/ 742 w 10785"/>
                <a:gd name="connsiteY2534" fmla="*/ 8487 h 10000"/>
                <a:gd name="connsiteX2535" fmla="*/ 747 w 10785"/>
                <a:gd name="connsiteY2535" fmla="*/ 8496 h 10000"/>
                <a:gd name="connsiteX2536" fmla="*/ 770 w 10785"/>
                <a:gd name="connsiteY2536" fmla="*/ 8496 h 10000"/>
                <a:gd name="connsiteX2537" fmla="*/ 783 w 10785"/>
                <a:gd name="connsiteY2537" fmla="*/ 8521 h 10000"/>
                <a:gd name="connsiteX2538" fmla="*/ 797 w 10785"/>
                <a:gd name="connsiteY2538" fmla="*/ 8521 h 10000"/>
                <a:gd name="connsiteX2539" fmla="*/ 806 w 10785"/>
                <a:gd name="connsiteY2539" fmla="*/ 8530 h 10000"/>
                <a:gd name="connsiteX2540" fmla="*/ 829 w 10785"/>
                <a:gd name="connsiteY2540" fmla="*/ 8547 h 10000"/>
                <a:gd name="connsiteX2541" fmla="*/ 834 w 10785"/>
                <a:gd name="connsiteY2541" fmla="*/ 8556 h 10000"/>
                <a:gd name="connsiteX2542" fmla="*/ 829 w 10785"/>
                <a:gd name="connsiteY2542" fmla="*/ 8556 h 10000"/>
                <a:gd name="connsiteX2543" fmla="*/ 834 w 10785"/>
                <a:gd name="connsiteY2543" fmla="*/ 8607 h 10000"/>
                <a:gd name="connsiteX2544" fmla="*/ 829 w 10785"/>
                <a:gd name="connsiteY2544" fmla="*/ 8641 h 10000"/>
                <a:gd name="connsiteX2545" fmla="*/ 806 w 10785"/>
                <a:gd name="connsiteY2545" fmla="*/ 8658 h 10000"/>
                <a:gd name="connsiteX2546" fmla="*/ 816 w 10785"/>
                <a:gd name="connsiteY2546" fmla="*/ 8667 h 10000"/>
                <a:gd name="connsiteX2547" fmla="*/ 820 w 10785"/>
                <a:gd name="connsiteY2547" fmla="*/ 8667 h 10000"/>
                <a:gd name="connsiteX2548" fmla="*/ 829 w 10785"/>
                <a:gd name="connsiteY2548" fmla="*/ 8684 h 10000"/>
                <a:gd name="connsiteX2549" fmla="*/ 806 w 10785"/>
                <a:gd name="connsiteY2549" fmla="*/ 8692 h 10000"/>
                <a:gd name="connsiteX2550" fmla="*/ 802 w 10785"/>
                <a:gd name="connsiteY2550" fmla="*/ 8709 h 10000"/>
                <a:gd name="connsiteX2551" fmla="*/ 802 w 10785"/>
                <a:gd name="connsiteY2551" fmla="*/ 8735 h 10000"/>
                <a:gd name="connsiteX2552" fmla="*/ 806 w 10785"/>
                <a:gd name="connsiteY2552" fmla="*/ 8744 h 10000"/>
                <a:gd name="connsiteX2553" fmla="*/ 816 w 10785"/>
                <a:gd name="connsiteY2553" fmla="*/ 8752 h 10000"/>
                <a:gd name="connsiteX2554" fmla="*/ 806 w 10785"/>
                <a:gd name="connsiteY2554" fmla="*/ 8778 h 10000"/>
                <a:gd name="connsiteX2555" fmla="*/ 820 w 10785"/>
                <a:gd name="connsiteY2555" fmla="*/ 8778 h 10000"/>
                <a:gd name="connsiteX2556" fmla="*/ 806 w 10785"/>
                <a:gd name="connsiteY2556" fmla="*/ 8880 h 10000"/>
                <a:gd name="connsiteX2557" fmla="*/ 797 w 10785"/>
                <a:gd name="connsiteY2557" fmla="*/ 8880 h 10000"/>
                <a:gd name="connsiteX2558" fmla="*/ 783 w 10785"/>
                <a:gd name="connsiteY2558" fmla="*/ 8872 h 10000"/>
                <a:gd name="connsiteX2559" fmla="*/ 770 w 10785"/>
                <a:gd name="connsiteY2559" fmla="*/ 8880 h 10000"/>
                <a:gd name="connsiteX2560" fmla="*/ 756 w 10785"/>
                <a:gd name="connsiteY2560" fmla="*/ 8855 h 10000"/>
                <a:gd name="connsiteX2561" fmla="*/ 733 w 10785"/>
                <a:gd name="connsiteY2561" fmla="*/ 8906 h 10000"/>
                <a:gd name="connsiteX2562" fmla="*/ 714 w 10785"/>
                <a:gd name="connsiteY2562" fmla="*/ 8915 h 10000"/>
                <a:gd name="connsiteX2563" fmla="*/ 710 w 10785"/>
                <a:gd name="connsiteY2563" fmla="*/ 8940 h 10000"/>
                <a:gd name="connsiteX2564" fmla="*/ 710 w 10785"/>
                <a:gd name="connsiteY2564" fmla="*/ 9009 h 10000"/>
                <a:gd name="connsiteX2565" fmla="*/ 728 w 10785"/>
                <a:gd name="connsiteY2565" fmla="*/ 8991 h 10000"/>
                <a:gd name="connsiteX2566" fmla="*/ 733 w 10785"/>
                <a:gd name="connsiteY2566" fmla="*/ 8991 h 10000"/>
                <a:gd name="connsiteX2567" fmla="*/ 747 w 10785"/>
                <a:gd name="connsiteY2567" fmla="*/ 8983 h 10000"/>
                <a:gd name="connsiteX2568" fmla="*/ 760 w 10785"/>
                <a:gd name="connsiteY2568" fmla="*/ 8983 h 10000"/>
                <a:gd name="connsiteX2569" fmla="*/ 770 w 10785"/>
                <a:gd name="connsiteY2569" fmla="*/ 8983 h 10000"/>
                <a:gd name="connsiteX2570" fmla="*/ 770 w 10785"/>
                <a:gd name="connsiteY2570" fmla="*/ 8991 h 10000"/>
                <a:gd name="connsiteX2571" fmla="*/ 783 w 10785"/>
                <a:gd name="connsiteY2571" fmla="*/ 8991 h 10000"/>
                <a:gd name="connsiteX2572" fmla="*/ 783 w 10785"/>
                <a:gd name="connsiteY2572" fmla="*/ 9009 h 10000"/>
                <a:gd name="connsiteX2573" fmla="*/ 783 w 10785"/>
                <a:gd name="connsiteY2573" fmla="*/ 9017 h 10000"/>
                <a:gd name="connsiteX2574" fmla="*/ 770 w 10785"/>
                <a:gd name="connsiteY2574" fmla="*/ 9017 h 10000"/>
                <a:gd name="connsiteX2575" fmla="*/ 724 w 10785"/>
                <a:gd name="connsiteY2575" fmla="*/ 9051 h 10000"/>
                <a:gd name="connsiteX2576" fmla="*/ 724 w 10785"/>
                <a:gd name="connsiteY2576" fmla="*/ 9068 h 10000"/>
                <a:gd name="connsiteX2577" fmla="*/ 728 w 10785"/>
                <a:gd name="connsiteY2577" fmla="*/ 9077 h 10000"/>
                <a:gd name="connsiteX2578" fmla="*/ 724 w 10785"/>
                <a:gd name="connsiteY2578" fmla="*/ 9077 h 10000"/>
                <a:gd name="connsiteX2579" fmla="*/ 710 w 10785"/>
                <a:gd name="connsiteY2579" fmla="*/ 9077 h 10000"/>
                <a:gd name="connsiteX2580" fmla="*/ 682 w 10785"/>
                <a:gd name="connsiteY2580" fmla="*/ 9077 h 10000"/>
                <a:gd name="connsiteX2581" fmla="*/ 673 w 10785"/>
                <a:gd name="connsiteY2581" fmla="*/ 9103 h 10000"/>
                <a:gd name="connsiteX2582" fmla="*/ 687 w 10785"/>
                <a:gd name="connsiteY2582" fmla="*/ 9128 h 10000"/>
                <a:gd name="connsiteX2583" fmla="*/ 700 w 10785"/>
                <a:gd name="connsiteY2583" fmla="*/ 9128 h 10000"/>
                <a:gd name="connsiteX2584" fmla="*/ 728 w 10785"/>
                <a:gd name="connsiteY2584" fmla="*/ 9179 h 10000"/>
                <a:gd name="connsiteX2585" fmla="*/ 724 w 10785"/>
                <a:gd name="connsiteY2585" fmla="*/ 9188 h 10000"/>
                <a:gd name="connsiteX2586" fmla="*/ 710 w 10785"/>
                <a:gd name="connsiteY2586" fmla="*/ 9179 h 10000"/>
                <a:gd name="connsiteX2587" fmla="*/ 700 w 10785"/>
                <a:gd name="connsiteY2587" fmla="*/ 9205 h 10000"/>
                <a:gd name="connsiteX2588" fmla="*/ 696 w 10785"/>
                <a:gd name="connsiteY2588" fmla="*/ 9205 h 10000"/>
                <a:gd name="connsiteX2589" fmla="*/ 654 w 10785"/>
                <a:gd name="connsiteY2589" fmla="*/ 9299 h 10000"/>
                <a:gd name="connsiteX2590" fmla="*/ 622 w 10785"/>
                <a:gd name="connsiteY2590" fmla="*/ 9299 h 10000"/>
                <a:gd name="connsiteX2591" fmla="*/ 613 w 10785"/>
                <a:gd name="connsiteY2591" fmla="*/ 9316 h 10000"/>
                <a:gd name="connsiteX2592" fmla="*/ 613 w 10785"/>
                <a:gd name="connsiteY2592" fmla="*/ 9325 h 10000"/>
                <a:gd name="connsiteX2593" fmla="*/ 608 w 10785"/>
                <a:gd name="connsiteY2593" fmla="*/ 9342 h 10000"/>
                <a:gd name="connsiteX2594" fmla="*/ 636 w 10785"/>
                <a:gd name="connsiteY2594" fmla="*/ 9376 h 10000"/>
                <a:gd name="connsiteX2595" fmla="*/ 641 w 10785"/>
                <a:gd name="connsiteY2595" fmla="*/ 9402 h 10000"/>
                <a:gd name="connsiteX2596" fmla="*/ 654 w 10785"/>
                <a:gd name="connsiteY2596" fmla="*/ 9427 h 10000"/>
                <a:gd name="connsiteX2597" fmla="*/ 668 w 10785"/>
                <a:gd name="connsiteY2597" fmla="*/ 9427 h 10000"/>
                <a:gd name="connsiteX2598" fmla="*/ 668 w 10785"/>
                <a:gd name="connsiteY2598" fmla="*/ 9427 h 10000"/>
                <a:gd name="connsiteX2599" fmla="*/ 774 w 10785"/>
                <a:gd name="connsiteY2599" fmla="*/ 9547 h 10000"/>
                <a:gd name="connsiteX2600" fmla="*/ 797 w 10785"/>
                <a:gd name="connsiteY2600" fmla="*/ 9598 h 10000"/>
                <a:gd name="connsiteX2601" fmla="*/ 802 w 10785"/>
                <a:gd name="connsiteY2601" fmla="*/ 9598 h 10000"/>
                <a:gd name="connsiteX2602" fmla="*/ 816 w 10785"/>
                <a:gd name="connsiteY2602" fmla="*/ 9624 h 10000"/>
                <a:gd name="connsiteX2603" fmla="*/ 843 w 10785"/>
                <a:gd name="connsiteY2603" fmla="*/ 9615 h 10000"/>
                <a:gd name="connsiteX2604" fmla="*/ 857 w 10785"/>
                <a:gd name="connsiteY2604" fmla="*/ 9624 h 10000"/>
                <a:gd name="connsiteX2605" fmla="*/ 862 w 10785"/>
                <a:gd name="connsiteY2605" fmla="*/ 9615 h 10000"/>
                <a:gd name="connsiteX2606" fmla="*/ 880 w 10785"/>
                <a:gd name="connsiteY2606" fmla="*/ 9624 h 10000"/>
                <a:gd name="connsiteX2607" fmla="*/ 889 w 10785"/>
                <a:gd name="connsiteY2607" fmla="*/ 9641 h 10000"/>
                <a:gd name="connsiteX2608" fmla="*/ 935 w 10785"/>
                <a:gd name="connsiteY2608" fmla="*/ 9675 h 10000"/>
                <a:gd name="connsiteX2609" fmla="*/ 977 w 10785"/>
                <a:gd name="connsiteY2609" fmla="*/ 9667 h 10000"/>
                <a:gd name="connsiteX2610" fmla="*/ 995 w 10785"/>
                <a:gd name="connsiteY2610" fmla="*/ 9675 h 10000"/>
                <a:gd name="connsiteX2611" fmla="*/ 1014 w 10785"/>
                <a:gd name="connsiteY2611" fmla="*/ 9675 h 10000"/>
                <a:gd name="connsiteX2612" fmla="*/ 1069 w 10785"/>
                <a:gd name="connsiteY2612" fmla="*/ 9752 h 10000"/>
                <a:gd name="connsiteX2613" fmla="*/ 1074 w 10785"/>
                <a:gd name="connsiteY2613" fmla="*/ 9761 h 10000"/>
                <a:gd name="connsiteX2614" fmla="*/ 1083 w 10785"/>
                <a:gd name="connsiteY2614" fmla="*/ 9778 h 10000"/>
                <a:gd name="connsiteX2615" fmla="*/ 1115 w 10785"/>
                <a:gd name="connsiteY2615" fmla="*/ 9752 h 10000"/>
                <a:gd name="connsiteX2616" fmla="*/ 1129 w 10785"/>
                <a:gd name="connsiteY2616" fmla="*/ 9752 h 10000"/>
                <a:gd name="connsiteX2617" fmla="*/ 1138 w 10785"/>
                <a:gd name="connsiteY2617" fmla="*/ 9761 h 10000"/>
                <a:gd name="connsiteX2618" fmla="*/ 1143 w 10785"/>
                <a:gd name="connsiteY2618" fmla="*/ 9752 h 10000"/>
                <a:gd name="connsiteX2619" fmla="*/ 1161 w 10785"/>
                <a:gd name="connsiteY2619" fmla="*/ 9761 h 10000"/>
                <a:gd name="connsiteX2620" fmla="*/ 1171 w 10785"/>
                <a:gd name="connsiteY2620" fmla="*/ 9778 h 10000"/>
                <a:gd name="connsiteX2621" fmla="*/ 1175 w 10785"/>
                <a:gd name="connsiteY2621" fmla="*/ 9778 h 10000"/>
                <a:gd name="connsiteX2622" fmla="*/ 1189 w 10785"/>
                <a:gd name="connsiteY2622" fmla="*/ 9778 h 10000"/>
                <a:gd name="connsiteX2623" fmla="*/ 1198 w 10785"/>
                <a:gd name="connsiteY2623" fmla="*/ 9786 h 10000"/>
                <a:gd name="connsiteX2624" fmla="*/ 1203 w 10785"/>
                <a:gd name="connsiteY2624" fmla="*/ 9803 h 10000"/>
                <a:gd name="connsiteX2625" fmla="*/ 1198 w 10785"/>
                <a:gd name="connsiteY2625" fmla="*/ 9838 h 10000"/>
                <a:gd name="connsiteX2626" fmla="*/ 1212 w 10785"/>
                <a:gd name="connsiteY2626" fmla="*/ 9863 h 10000"/>
                <a:gd name="connsiteX2627" fmla="*/ 1230 w 10785"/>
                <a:gd name="connsiteY2627" fmla="*/ 9872 h 10000"/>
                <a:gd name="connsiteX2628" fmla="*/ 1249 w 10785"/>
                <a:gd name="connsiteY2628" fmla="*/ 9897 h 10000"/>
                <a:gd name="connsiteX2629" fmla="*/ 1263 w 10785"/>
                <a:gd name="connsiteY2629" fmla="*/ 9897 h 10000"/>
                <a:gd name="connsiteX2630" fmla="*/ 1276 w 10785"/>
                <a:gd name="connsiteY2630" fmla="*/ 9923 h 10000"/>
                <a:gd name="connsiteX2631" fmla="*/ 1281 w 10785"/>
                <a:gd name="connsiteY2631" fmla="*/ 9949 h 10000"/>
                <a:gd name="connsiteX2632" fmla="*/ 1290 w 10785"/>
                <a:gd name="connsiteY2632" fmla="*/ 9949 h 10000"/>
                <a:gd name="connsiteX2633" fmla="*/ 1295 w 10785"/>
                <a:gd name="connsiteY2633" fmla="*/ 10000 h 10000"/>
                <a:gd name="connsiteX2634" fmla="*/ 1332 w 10785"/>
                <a:gd name="connsiteY2634" fmla="*/ 10000 h 10000"/>
                <a:gd name="connsiteX2635" fmla="*/ 1336 w 10785"/>
                <a:gd name="connsiteY2635" fmla="*/ 10000 h 10000"/>
                <a:gd name="connsiteX2636" fmla="*/ 1346 w 10785"/>
                <a:gd name="connsiteY2636" fmla="*/ 9983 h 10000"/>
                <a:gd name="connsiteX2637" fmla="*/ 1350 w 10785"/>
                <a:gd name="connsiteY2637" fmla="*/ 9949 h 10000"/>
                <a:gd name="connsiteX2638" fmla="*/ 1369 w 10785"/>
                <a:gd name="connsiteY2638" fmla="*/ 9940 h 10000"/>
                <a:gd name="connsiteX2639" fmla="*/ 1378 w 10785"/>
                <a:gd name="connsiteY2639" fmla="*/ 9897 h 10000"/>
                <a:gd name="connsiteX2640" fmla="*/ 1369 w 10785"/>
                <a:gd name="connsiteY2640" fmla="*/ 9889 h 10000"/>
                <a:gd name="connsiteX2641" fmla="*/ 1318 w 10785"/>
                <a:gd name="connsiteY2641" fmla="*/ 9701 h 10000"/>
                <a:gd name="connsiteX2642" fmla="*/ 1318 w 10785"/>
                <a:gd name="connsiteY2642" fmla="*/ 9650 h 10000"/>
                <a:gd name="connsiteX2643" fmla="*/ 1323 w 10785"/>
                <a:gd name="connsiteY2643" fmla="*/ 9590 h 10000"/>
                <a:gd name="connsiteX2644" fmla="*/ 1323 w 10785"/>
                <a:gd name="connsiteY2644" fmla="*/ 9564 h 10000"/>
                <a:gd name="connsiteX2645" fmla="*/ 1309 w 10785"/>
                <a:gd name="connsiteY2645" fmla="*/ 9598 h 10000"/>
                <a:gd name="connsiteX2646" fmla="*/ 1309 w 10785"/>
                <a:gd name="connsiteY2646" fmla="*/ 9590 h 10000"/>
                <a:gd name="connsiteX2647" fmla="*/ 1304 w 10785"/>
                <a:gd name="connsiteY2647" fmla="*/ 9547 h 10000"/>
                <a:gd name="connsiteX2648" fmla="*/ 1276 w 10785"/>
                <a:gd name="connsiteY2648" fmla="*/ 9479 h 10000"/>
                <a:gd name="connsiteX2649" fmla="*/ 1263 w 10785"/>
                <a:gd name="connsiteY2649" fmla="*/ 9479 h 10000"/>
                <a:gd name="connsiteX2650" fmla="*/ 1263 w 10785"/>
                <a:gd name="connsiteY2650" fmla="*/ 9453 h 10000"/>
                <a:gd name="connsiteX2651" fmla="*/ 1272 w 10785"/>
                <a:gd name="connsiteY2651" fmla="*/ 9410 h 10000"/>
                <a:gd name="connsiteX2652" fmla="*/ 1272 w 10785"/>
                <a:gd name="connsiteY2652" fmla="*/ 9393 h 10000"/>
                <a:gd name="connsiteX2653" fmla="*/ 1281 w 10785"/>
                <a:gd name="connsiteY2653" fmla="*/ 9368 h 10000"/>
                <a:gd name="connsiteX2654" fmla="*/ 1281 w 10785"/>
                <a:gd name="connsiteY2654" fmla="*/ 9368 h 10000"/>
                <a:gd name="connsiteX2655" fmla="*/ 1290 w 10785"/>
                <a:gd name="connsiteY2655" fmla="*/ 9368 h 10000"/>
                <a:gd name="connsiteX2656" fmla="*/ 1290 w 10785"/>
                <a:gd name="connsiteY2656" fmla="*/ 9342 h 10000"/>
                <a:gd name="connsiteX2657" fmla="*/ 1304 w 10785"/>
                <a:gd name="connsiteY2657" fmla="*/ 9325 h 10000"/>
                <a:gd name="connsiteX2658" fmla="*/ 1309 w 10785"/>
                <a:gd name="connsiteY2658" fmla="*/ 9239 h 10000"/>
                <a:gd name="connsiteX2659" fmla="*/ 1318 w 10785"/>
                <a:gd name="connsiteY2659" fmla="*/ 9256 h 10000"/>
                <a:gd name="connsiteX2660" fmla="*/ 1323 w 10785"/>
                <a:gd name="connsiteY2660" fmla="*/ 9179 h 10000"/>
                <a:gd name="connsiteX2661" fmla="*/ 1309 w 10785"/>
                <a:gd name="connsiteY2661" fmla="*/ 9145 h 10000"/>
                <a:gd name="connsiteX2662" fmla="*/ 1336 w 10785"/>
                <a:gd name="connsiteY2662" fmla="*/ 9154 h 10000"/>
                <a:gd name="connsiteX2663" fmla="*/ 1336 w 10785"/>
                <a:gd name="connsiteY2663" fmla="*/ 9162 h 10000"/>
                <a:gd name="connsiteX2664" fmla="*/ 1350 w 10785"/>
                <a:gd name="connsiteY2664" fmla="*/ 9231 h 10000"/>
                <a:gd name="connsiteX2665" fmla="*/ 1355 w 10785"/>
                <a:gd name="connsiteY2665" fmla="*/ 9231 h 10000"/>
                <a:gd name="connsiteX2666" fmla="*/ 1364 w 10785"/>
                <a:gd name="connsiteY2666" fmla="*/ 9214 h 10000"/>
                <a:gd name="connsiteX2667" fmla="*/ 1369 w 10785"/>
                <a:gd name="connsiteY2667" fmla="*/ 9214 h 10000"/>
                <a:gd name="connsiteX2668" fmla="*/ 1382 w 10785"/>
                <a:gd name="connsiteY2668" fmla="*/ 9154 h 10000"/>
                <a:gd name="connsiteX2669" fmla="*/ 1396 w 10785"/>
                <a:gd name="connsiteY2669" fmla="*/ 9154 h 10000"/>
                <a:gd name="connsiteX2670" fmla="*/ 1382 w 10785"/>
                <a:gd name="connsiteY2670" fmla="*/ 9145 h 10000"/>
                <a:gd name="connsiteX2671" fmla="*/ 1382 w 10785"/>
                <a:gd name="connsiteY2671" fmla="*/ 9128 h 10000"/>
                <a:gd name="connsiteX2672" fmla="*/ 1369 w 10785"/>
                <a:gd name="connsiteY2672" fmla="*/ 9128 h 10000"/>
                <a:gd name="connsiteX2673" fmla="*/ 1364 w 10785"/>
                <a:gd name="connsiteY2673" fmla="*/ 9128 h 10000"/>
                <a:gd name="connsiteX2674" fmla="*/ 1355 w 10785"/>
                <a:gd name="connsiteY2674" fmla="*/ 9120 h 10000"/>
                <a:gd name="connsiteX2675" fmla="*/ 1350 w 10785"/>
                <a:gd name="connsiteY2675" fmla="*/ 9103 h 10000"/>
                <a:gd name="connsiteX2676" fmla="*/ 1355 w 10785"/>
                <a:gd name="connsiteY2676" fmla="*/ 9094 h 10000"/>
                <a:gd name="connsiteX2677" fmla="*/ 1355 w 10785"/>
                <a:gd name="connsiteY2677" fmla="*/ 9068 h 10000"/>
                <a:gd name="connsiteX2678" fmla="*/ 1369 w 10785"/>
                <a:gd name="connsiteY2678" fmla="*/ 9068 h 10000"/>
                <a:gd name="connsiteX2679" fmla="*/ 1378 w 10785"/>
                <a:gd name="connsiteY2679" fmla="*/ 9077 h 10000"/>
                <a:gd name="connsiteX2680" fmla="*/ 1396 w 10785"/>
                <a:gd name="connsiteY2680" fmla="*/ 9068 h 10000"/>
                <a:gd name="connsiteX2681" fmla="*/ 1382 w 10785"/>
                <a:gd name="connsiteY2681" fmla="*/ 8940 h 10000"/>
                <a:gd name="connsiteX2682" fmla="*/ 1378 w 10785"/>
                <a:gd name="connsiteY2682" fmla="*/ 8940 h 10000"/>
                <a:gd name="connsiteX2683" fmla="*/ 1364 w 10785"/>
                <a:gd name="connsiteY2683" fmla="*/ 8889 h 10000"/>
                <a:gd name="connsiteX2684" fmla="*/ 1355 w 10785"/>
                <a:gd name="connsiteY2684" fmla="*/ 8880 h 10000"/>
                <a:gd name="connsiteX2685" fmla="*/ 1323 w 10785"/>
                <a:gd name="connsiteY2685" fmla="*/ 8880 h 10000"/>
                <a:gd name="connsiteX2686" fmla="*/ 1309 w 10785"/>
                <a:gd name="connsiteY2686" fmla="*/ 8880 h 10000"/>
                <a:gd name="connsiteX2687" fmla="*/ 1309 w 10785"/>
                <a:gd name="connsiteY2687" fmla="*/ 8889 h 10000"/>
                <a:gd name="connsiteX2688" fmla="*/ 1295 w 10785"/>
                <a:gd name="connsiteY2688" fmla="*/ 8872 h 10000"/>
                <a:gd name="connsiteX2689" fmla="*/ 1290 w 10785"/>
                <a:gd name="connsiteY2689" fmla="*/ 8855 h 10000"/>
                <a:gd name="connsiteX2690" fmla="*/ 1290 w 10785"/>
                <a:gd name="connsiteY2690" fmla="*/ 8829 h 10000"/>
                <a:gd name="connsiteX2691" fmla="*/ 1290 w 10785"/>
                <a:gd name="connsiteY2691" fmla="*/ 8821 h 10000"/>
                <a:gd name="connsiteX2692" fmla="*/ 1290 w 10785"/>
                <a:gd name="connsiteY2692" fmla="*/ 8803 h 10000"/>
                <a:gd name="connsiteX2693" fmla="*/ 1281 w 10785"/>
                <a:gd name="connsiteY2693" fmla="*/ 8795 h 10000"/>
                <a:gd name="connsiteX2694" fmla="*/ 1249 w 10785"/>
                <a:gd name="connsiteY2694" fmla="*/ 8769 h 10000"/>
                <a:gd name="connsiteX2695" fmla="*/ 1263 w 10785"/>
                <a:gd name="connsiteY2695" fmla="*/ 8667 h 10000"/>
                <a:gd name="connsiteX2696" fmla="*/ 1281 w 10785"/>
                <a:gd name="connsiteY2696" fmla="*/ 8658 h 10000"/>
                <a:gd name="connsiteX2697" fmla="*/ 1290 w 10785"/>
                <a:gd name="connsiteY2697" fmla="*/ 8632 h 10000"/>
                <a:gd name="connsiteX2698" fmla="*/ 1281 w 10785"/>
                <a:gd name="connsiteY2698" fmla="*/ 8615 h 10000"/>
                <a:gd name="connsiteX2699" fmla="*/ 1272 w 10785"/>
                <a:gd name="connsiteY2699" fmla="*/ 8598 h 10000"/>
                <a:gd name="connsiteX2700" fmla="*/ 1281 w 10785"/>
                <a:gd name="connsiteY2700" fmla="*/ 8496 h 10000"/>
                <a:gd name="connsiteX2701" fmla="*/ 1295 w 10785"/>
                <a:gd name="connsiteY2701" fmla="*/ 8470 h 10000"/>
                <a:gd name="connsiteX2702" fmla="*/ 1304 w 10785"/>
                <a:gd name="connsiteY2702" fmla="*/ 8462 h 10000"/>
                <a:gd name="connsiteX2703" fmla="*/ 1304 w 10785"/>
                <a:gd name="connsiteY2703" fmla="*/ 8444 h 10000"/>
                <a:gd name="connsiteX2704" fmla="*/ 1304 w 10785"/>
                <a:gd name="connsiteY2704" fmla="*/ 8419 h 10000"/>
                <a:gd name="connsiteX2705" fmla="*/ 1304 w 10785"/>
                <a:gd name="connsiteY2705" fmla="*/ 8410 h 10000"/>
                <a:gd name="connsiteX2706" fmla="*/ 1309 w 10785"/>
                <a:gd name="connsiteY2706" fmla="*/ 8393 h 10000"/>
                <a:gd name="connsiteX2707" fmla="*/ 1318 w 10785"/>
                <a:gd name="connsiteY2707" fmla="*/ 8385 h 10000"/>
                <a:gd name="connsiteX2708" fmla="*/ 1323 w 10785"/>
                <a:gd name="connsiteY2708" fmla="*/ 8385 h 10000"/>
                <a:gd name="connsiteX2709" fmla="*/ 1332 w 10785"/>
                <a:gd name="connsiteY2709" fmla="*/ 8410 h 10000"/>
                <a:gd name="connsiteX2710" fmla="*/ 1346 w 10785"/>
                <a:gd name="connsiteY2710" fmla="*/ 8419 h 10000"/>
                <a:gd name="connsiteX2711" fmla="*/ 1364 w 10785"/>
                <a:gd name="connsiteY2711" fmla="*/ 8504 h 10000"/>
                <a:gd name="connsiteX2712" fmla="*/ 1369 w 10785"/>
                <a:gd name="connsiteY2712" fmla="*/ 8521 h 10000"/>
                <a:gd name="connsiteX2713" fmla="*/ 1406 w 10785"/>
                <a:gd name="connsiteY2713" fmla="*/ 8470 h 10000"/>
                <a:gd name="connsiteX2714" fmla="*/ 1382 w 10785"/>
                <a:gd name="connsiteY2714" fmla="*/ 8359 h 10000"/>
                <a:gd name="connsiteX2715" fmla="*/ 1392 w 10785"/>
                <a:gd name="connsiteY2715" fmla="*/ 8359 h 10000"/>
                <a:gd name="connsiteX2716" fmla="*/ 1438 w 10785"/>
                <a:gd name="connsiteY2716" fmla="*/ 8308 h 10000"/>
                <a:gd name="connsiteX2717" fmla="*/ 1442 w 10785"/>
                <a:gd name="connsiteY2717" fmla="*/ 8299 h 10000"/>
                <a:gd name="connsiteX2718" fmla="*/ 1442 w 10785"/>
                <a:gd name="connsiteY2718" fmla="*/ 8256 h 10000"/>
                <a:gd name="connsiteX2719" fmla="*/ 1452 w 10785"/>
                <a:gd name="connsiteY2719" fmla="*/ 8256 h 10000"/>
                <a:gd name="connsiteX2720" fmla="*/ 1456 w 10785"/>
                <a:gd name="connsiteY2720" fmla="*/ 8256 h 10000"/>
                <a:gd name="connsiteX2721" fmla="*/ 1470 w 10785"/>
                <a:gd name="connsiteY2721" fmla="*/ 8248 h 10000"/>
                <a:gd name="connsiteX2722" fmla="*/ 1479 w 10785"/>
                <a:gd name="connsiteY2722" fmla="*/ 8231 h 10000"/>
                <a:gd name="connsiteX2723" fmla="*/ 1493 w 10785"/>
                <a:gd name="connsiteY2723" fmla="*/ 8222 h 10000"/>
                <a:gd name="connsiteX2724" fmla="*/ 1498 w 10785"/>
                <a:gd name="connsiteY2724" fmla="*/ 8214 h 10000"/>
                <a:gd name="connsiteX2725" fmla="*/ 1502 w 10785"/>
                <a:gd name="connsiteY2725" fmla="*/ 8197 h 10000"/>
                <a:gd name="connsiteX2726" fmla="*/ 1512 w 10785"/>
                <a:gd name="connsiteY2726" fmla="*/ 8188 h 10000"/>
                <a:gd name="connsiteX2727" fmla="*/ 1516 w 10785"/>
                <a:gd name="connsiteY2727" fmla="*/ 8171 h 10000"/>
                <a:gd name="connsiteX2728" fmla="*/ 1525 w 10785"/>
                <a:gd name="connsiteY2728" fmla="*/ 8162 h 10000"/>
                <a:gd name="connsiteX2729" fmla="*/ 1539 w 10785"/>
                <a:gd name="connsiteY2729" fmla="*/ 8145 h 10000"/>
                <a:gd name="connsiteX2730" fmla="*/ 1558 w 10785"/>
                <a:gd name="connsiteY2730" fmla="*/ 8145 h 10000"/>
                <a:gd name="connsiteX2731" fmla="*/ 1562 w 10785"/>
                <a:gd name="connsiteY2731" fmla="*/ 8188 h 10000"/>
                <a:gd name="connsiteX2732" fmla="*/ 1585 w 10785"/>
                <a:gd name="connsiteY2732" fmla="*/ 8171 h 10000"/>
                <a:gd name="connsiteX2733" fmla="*/ 1590 w 10785"/>
                <a:gd name="connsiteY2733" fmla="*/ 8188 h 10000"/>
                <a:gd name="connsiteX2734" fmla="*/ 1599 w 10785"/>
                <a:gd name="connsiteY2734" fmla="*/ 8171 h 10000"/>
                <a:gd name="connsiteX2735" fmla="*/ 1599 w 10785"/>
                <a:gd name="connsiteY2735" fmla="*/ 8162 h 10000"/>
                <a:gd name="connsiteX2736" fmla="*/ 1604 w 10785"/>
                <a:gd name="connsiteY2736" fmla="*/ 8137 h 10000"/>
                <a:gd name="connsiteX2737" fmla="*/ 1618 w 10785"/>
                <a:gd name="connsiteY2737" fmla="*/ 8145 h 10000"/>
                <a:gd name="connsiteX2738" fmla="*/ 1627 w 10785"/>
                <a:gd name="connsiteY2738" fmla="*/ 8137 h 10000"/>
                <a:gd name="connsiteX2739" fmla="*/ 1631 w 10785"/>
                <a:gd name="connsiteY2739" fmla="*/ 8137 h 10000"/>
                <a:gd name="connsiteX2740" fmla="*/ 1636 w 10785"/>
                <a:gd name="connsiteY2740" fmla="*/ 8171 h 10000"/>
                <a:gd name="connsiteX2741" fmla="*/ 1645 w 10785"/>
                <a:gd name="connsiteY2741" fmla="*/ 8188 h 10000"/>
                <a:gd name="connsiteX2742" fmla="*/ 1664 w 10785"/>
                <a:gd name="connsiteY2742" fmla="*/ 8171 h 10000"/>
                <a:gd name="connsiteX2743" fmla="*/ 1673 w 10785"/>
                <a:gd name="connsiteY2743" fmla="*/ 8188 h 10000"/>
                <a:gd name="connsiteX2744" fmla="*/ 1691 w 10785"/>
                <a:gd name="connsiteY2744" fmla="*/ 8171 h 10000"/>
                <a:gd name="connsiteX2745" fmla="*/ 1705 w 10785"/>
                <a:gd name="connsiteY2745" fmla="*/ 8171 h 10000"/>
                <a:gd name="connsiteX2746" fmla="*/ 1719 w 10785"/>
                <a:gd name="connsiteY2746" fmla="*/ 8197 h 10000"/>
                <a:gd name="connsiteX2747" fmla="*/ 1724 w 10785"/>
                <a:gd name="connsiteY2747" fmla="*/ 8231 h 10000"/>
                <a:gd name="connsiteX2748" fmla="*/ 1751 w 10785"/>
                <a:gd name="connsiteY2748" fmla="*/ 8256 h 10000"/>
                <a:gd name="connsiteX2749" fmla="*/ 1751 w 10785"/>
                <a:gd name="connsiteY2749" fmla="*/ 8274 h 10000"/>
                <a:gd name="connsiteX2750" fmla="*/ 1760 w 10785"/>
                <a:gd name="connsiteY2750" fmla="*/ 8282 h 10000"/>
                <a:gd name="connsiteX2751" fmla="*/ 1770 w 10785"/>
                <a:gd name="connsiteY2751" fmla="*/ 8325 h 10000"/>
                <a:gd name="connsiteX2752" fmla="*/ 1770 w 10785"/>
                <a:gd name="connsiteY2752" fmla="*/ 8350 h 10000"/>
                <a:gd name="connsiteX2753" fmla="*/ 1779 w 10785"/>
                <a:gd name="connsiteY2753" fmla="*/ 8368 h 10000"/>
                <a:gd name="connsiteX2754" fmla="*/ 1783 w 10785"/>
                <a:gd name="connsiteY2754" fmla="*/ 8359 h 10000"/>
                <a:gd name="connsiteX2755" fmla="*/ 1783 w 10785"/>
                <a:gd name="connsiteY2755" fmla="*/ 8308 h 10000"/>
                <a:gd name="connsiteX2756" fmla="*/ 1779 w 10785"/>
                <a:gd name="connsiteY2756" fmla="*/ 8299 h 10000"/>
                <a:gd name="connsiteX2757" fmla="*/ 1783 w 10785"/>
                <a:gd name="connsiteY2757" fmla="*/ 8282 h 10000"/>
                <a:gd name="connsiteX2758" fmla="*/ 1797 w 10785"/>
                <a:gd name="connsiteY2758" fmla="*/ 8274 h 10000"/>
                <a:gd name="connsiteX2759" fmla="*/ 1797 w 10785"/>
                <a:gd name="connsiteY2759" fmla="*/ 8299 h 10000"/>
                <a:gd name="connsiteX2760" fmla="*/ 1806 w 10785"/>
                <a:gd name="connsiteY2760" fmla="*/ 8308 h 10000"/>
                <a:gd name="connsiteX2761" fmla="*/ 1811 w 10785"/>
                <a:gd name="connsiteY2761" fmla="*/ 8325 h 10000"/>
                <a:gd name="connsiteX2762" fmla="*/ 1820 w 10785"/>
                <a:gd name="connsiteY2762" fmla="*/ 8333 h 10000"/>
                <a:gd name="connsiteX2763" fmla="*/ 1853 w 10785"/>
                <a:gd name="connsiteY2763" fmla="*/ 8359 h 10000"/>
                <a:gd name="connsiteX2764" fmla="*/ 1866 w 10785"/>
                <a:gd name="connsiteY2764" fmla="*/ 8359 h 10000"/>
                <a:gd name="connsiteX2765" fmla="*/ 1885 w 10785"/>
                <a:gd name="connsiteY2765" fmla="*/ 8325 h 10000"/>
                <a:gd name="connsiteX2766" fmla="*/ 1885 w 10785"/>
                <a:gd name="connsiteY2766" fmla="*/ 8308 h 10000"/>
                <a:gd name="connsiteX2767" fmla="*/ 1894 w 10785"/>
                <a:gd name="connsiteY2767" fmla="*/ 8299 h 10000"/>
                <a:gd name="connsiteX2768" fmla="*/ 1899 w 10785"/>
                <a:gd name="connsiteY2768" fmla="*/ 8282 h 10000"/>
                <a:gd name="connsiteX2769" fmla="*/ 1912 w 10785"/>
                <a:gd name="connsiteY2769" fmla="*/ 8282 h 10000"/>
                <a:gd name="connsiteX2770" fmla="*/ 1917 w 10785"/>
                <a:gd name="connsiteY2770" fmla="*/ 8299 h 10000"/>
                <a:gd name="connsiteX2771" fmla="*/ 1917 w 10785"/>
                <a:gd name="connsiteY2771" fmla="*/ 8274 h 10000"/>
                <a:gd name="connsiteX2772" fmla="*/ 1940 w 10785"/>
                <a:gd name="connsiteY2772" fmla="*/ 8282 h 10000"/>
                <a:gd name="connsiteX2773" fmla="*/ 1945 w 10785"/>
                <a:gd name="connsiteY2773" fmla="*/ 8274 h 10000"/>
                <a:gd name="connsiteX2774" fmla="*/ 1972 w 10785"/>
                <a:gd name="connsiteY2774" fmla="*/ 8308 h 10000"/>
                <a:gd name="connsiteX2775" fmla="*/ 1986 w 10785"/>
                <a:gd name="connsiteY2775" fmla="*/ 8282 h 10000"/>
                <a:gd name="connsiteX2776" fmla="*/ 1991 w 10785"/>
                <a:gd name="connsiteY2776" fmla="*/ 8274 h 10000"/>
                <a:gd name="connsiteX2777" fmla="*/ 2014 w 10785"/>
                <a:gd name="connsiteY2777" fmla="*/ 8274 h 10000"/>
                <a:gd name="connsiteX2778" fmla="*/ 2018 w 10785"/>
                <a:gd name="connsiteY2778" fmla="*/ 8256 h 10000"/>
                <a:gd name="connsiteX2779" fmla="*/ 2041 w 10785"/>
                <a:gd name="connsiteY2779" fmla="*/ 8274 h 10000"/>
                <a:gd name="connsiteX2780" fmla="*/ 2046 w 10785"/>
                <a:gd name="connsiteY2780" fmla="*/ 8282 h 10000"/>
                <a:gd name="connsiteX2781" fmla="*/ 2046 w 10785"/>
                <a:gd name="connsiteY2781" fmla="*/ 8325 h 10000"/>
                <a:gd name="connsiteX2782" fmla="*/ 2060 w 10785"/>
                <a:gd name="connsiteY2782" fmla="*/ 8350 h 10000"/>
                <a:gd name="connsiteX2783" fmla="*/ 2078 w 10785"/>
                <a:gd name="connsiteY2783" fmla="*/ 8350 h 10000"/>
                <a:gd name="connsiteX2784" fmla="*/ 2092 w 10785"/>
                <a:gd name="connsiteY2784" fmla="*/ 8350 h 10000"/>
                <a:gd name="connsiteX2785" fmla="*/ 2092 w 10785"/>
                <a:gd name="connsiteY2785" fmla="*/ 8350 h 10000"/>
                <a:gd name="connsiteX2786" fmla="*/ 2101 w 10785"/>
                <a:gd name="connsiteY2786" fmla="*/ 8368 h 10000"/>
                <a:gd name="connsiteX2787" fmla="*/ 2120 w 10785"/>
                <a:gd name="connsiteY2787" fmla="*/ 8368 h 10000"/>
                <a:gd name="connsiteX2788" fmla="*/ 2124 w 10785"/>
                <a:gd name="connsiteY2788" fmla="*/ 8359 h 10000"/>
                <a:gd name="connsiteX2789" fmla="*/ 2138 w 10785"/>
                <a:gd name="connsiteY2789" fmla="*/ 8325 h 10000"/>
                <a:gd name="connsiteX2790" fmla="*/ 2147 w 10785"/>
                <a:gd name="connsiteY2790" fmla="*/ 8325 h 10000"/>
                <a:gd name="connsiteX2791" fmla="*/ 2161 w 10785"/>
                <a:gd name="connsiteY2791" fmla="*/ 8350 h 10000"/>
                <a:gd name="connsiteX2792" fmla="*/ 2198 w 10785"/>
                <a:gd name="connsiteY2792" fmla="*/ 8350 h 10000"/>
                <a:gd name="connsiteX2793" fmla="*/ 2207 w 10785"/>
                <a:gd name="connsiteY2793" fmla="*/ 8333 h 10000"/>
                <a:gd name="connsiteX2794" fmla="*/ 2226 w 10785"/>
                <a:gd name="connsiteY2794" fmla="*/ 8325 h 10000"/>
                <a:gd name="connsiteX2795" fmla="*/ 2249 w 10785"/>
                <a:gd name="connsiteY2795" fmla="*/ 8222 h 10000"/>
                <a:gd name="connsiteX2796" fmla="*/ 2235 w 10785"/>
                <a:gd name="connsiteY2796" fmla="*/ 8197 h 10000"/>
                <a:gd name="connsiteX2797" fmla="*/ 2198 w 10785"/>
                <a:gd name="connsiteY2797" fmla="*/ 8197 h 10000"/>
                <a:gd name="connsiteX2798" fmla="*/ 2189 w 10785"/>
                <a:gd name="connsiteY2798" fmla="*/ 8171 h 10000"/>
                <a:gd name="connsiteX2799" fmla="*/ 2161 w 10785"/>
                <a:gd name="connsiteY2799" fmla="*/ 8145 h 10000"/>
                <a:gd name="connsiteX2800" fmla="*/ 2161 w 10785"/>
                <a:gd name="connsiteY2800" fmla="*/ 8137 h 10000"/>
                <a:gd name="connsiteX2801" fmla="*/ 2152 w 10785"/>
                <a:gd name="connsiteY2801" fmla="*/ 8120 h 10000"/>
                <a:gd name="connsiteX2802" fmla="*/ 2138 w 10785"/>
                <a:gd name="connsiteY2802" fmla="*/ 8111 h 10000"/>
                <a:gd name="connsiteX2803" fmla="*/ 2138 w 10785"/>
                <a:gd name="connsiteY2803" fmla="*/ 8094 h 10000"/>
                <a:gd name="connsiteX2804" fmla="*/ 2147 w 10785"/>
                <a:gd name="connsiteY2804" fmla="*/ 8085 h 10000"/>
                <a:gd name="connsiteX2805" fmla="*/ 2161 w 10785"/>
                <a:gd name="connsiteY2805" fmla="*/ 8060 h 10000"/>
                <a:gd name="connsiteX2806" fmla="*/ 2198 w 10785"/>
                <a:gd name="connsiteY2806" fmla="*/ 8034 h 10000"/>
                <a:gd name="connsiteX2807" fmla="*/ 2198 w 10785"/>
                <a:gd name="connsiteY2807" fmla="*/ 8026 h 10000"/>
                <a:gd name="connsiteX2808" fmla="*/ 2198 w 10785"/>
                <a:gd name="connsiteY2808" fmla="*/ 8000 h 10000"/>
                <a:gd name="connsiteX2809" fmla="*/ 2180 w 10785"/>
                <a:gd name="connsiteY2809" fmla="*/ 7940 h 10000"/>
                <a:gd name="connsiteX2810" fmla="*/ 2189 w 10785"/>
                <a:gd name="connsiteY2810" fmla="*/ 7940 h 10000"/>
                <a:gd name="connsiteX2811" fmla="*/ 2198 w 10785"/>
                <a:gd name="connsiteY2811" fmla="*/ 7923 h 10000"/>
                <a:gd name="connsiteX2812" fmla="*/ 2198 w 10785"/>
                <a:gd name="connsiteY2812" fmla="*/ 7897 h 10000"/>
                <a:gd name="connsiteX2813" fmla="*/ 2207 w 10785"/>
                <a:gd name="connsiteY2813" fmla="*/ 7889 h 10000"/>
                <a:gd name="connsiteX2814" fmla="*/ 2221 w 10785"/>
                <a:gd name="connsiteY2814" fmla="*/ 7889 h 10000"/>
                <a:gd name="connsiteX2815" fmla="*/ 2226 w 10785"/>
                <a:gd name="connsiteY2815" fmla="*/ 7897 h 10000"/>
                <a:gd name="connsiteX2816" fmla="*/ 2235 w 10785"/>
                <a:gd name="connsiteY2816" fmla="*/ 7889 h 10000"/>
                <a:gd name="connsiteX2817" fmla="*/ 2249 w 10785"/>
                <a:gd name="connsiteY2817" fmla="*/ 7897 h 10000"/>
                <a:gd name="connsiteX2818" fmla="*/ 2267 w 10785"/>
                <a:gd name="connsiteY2818" fmla="*/ 7897 h 10000"/>
                <a:gd name="connsiteX2819" fmla="*/ 2272 w 10785"/>
                <a:gd name="connsiteY2819" fmla="*/ 7889 h 10000"/>
                <a:gd name="connsiteX2820" fmla="*/ 2281 w 10785"/>
                <a:gd name="connsiteY2820" fmla="*/ 7872 h 10000"/>
                <a:gd name="connsiteX2821" fmla="*/ 2272 w 10785"/>
                <a:gd name="connsiteY2821" fmla="*/ 7846 h 10000"/>
                <a:gd name="connsiteX2822" fmla="*/ 2253 w 10785"/>
                <a:gd name="connsiteY2822" fmla="*/ 7838 h 10000"/>
                <a:gd name="connsiteX2823" fmla="*/ 2221 w 10785"/>
                <a:gd name="connsiteY2823" fmla="*/ 7821 h 10000"/>
                <a:gd name="connsiteX2824" fmla="*/ 2212 w 10785"/>
                <a:gd name="connsiteY2824" fmla="*/ 7812 h 10000"/>
                <a:gd name="connsiteX2825" fmla="*/ 2212 w 10785"/>
                <a:gd name="connsiteY2825" fmla="*/ 7803 h 10000"/>
                <a:gd name="connsiteX2826" fmla="*/ 2221 w 10785"/>
                <a:gd name="connsiteY2826" fmla="*/ 7803 h 10000"/>
                <a:gd name="connsiteX2827" fmla="*/ 2235 w 10785"/>
                <a:gd name="connsiteY2827" fmla="*/ 7786 h 10000"/>
                <a:gd name="connsiteX2828" fmla="*/ 2240 w 10785"/>
                <a:gd name="connsiteY2828" fmla="*/ 7778 h 10000"/>
                <a:gd name="connsiteX2829" fmla="*/ 2226 w 10785"/>
                <a:gd name="connsiteY2829" fmla="*/ 7761 h 10000"/>
                <a:gd name="connsiteX2830" fmla="*/ 2221 w 10785"/>
                <a:gd name="connsiteY2830" fmla="*/ 7778 h 10000"/>
                <a:gd name="connsiteX2831" fmla="*/ 2198 w 10785"/>
                <a:gd name="connsiteY2831" fmla="*/ 7778 h 10000"/>
                <a:gd name="connsiteX2832" fmla="*/ 2198 w 10785"/>
                <a:gd name="connsiteY2832" fmla="*/ 7752 h 10000"/>
                <a:gd name="connsiteX2833" fmla="*/ 2207 w 10785"/>
                <a:gd name="connsiteY2833" fmla="*/ 7735 h 10000"/>
                <a:gd name="connsiteX2834" fmla="*/ 2212 w 10785"/>
                <a:gd name="connsiteY2834" fmla="*/ 7726 h 10000"/>
                <a:gd name="connsiteX2835" fmla="*/ 2198 w 10785"/>
                <a:gd name="connsiteY2835" fmla="*/ 7692 h 10000"/>
                <a:gd name="connsiteX2836" fmla="*/ 2221 w 10785"/>
                <a:gd name="connsiteY2836" fmla="*/ 7692 h 10000"/>
                <a:gd name="connsiteX2837" fmla="*/ 2221 w 10785"/>
                <a:gd name="connsiteY2837" fmla="*/ 7675 h 10000"/>
                <a:gd name="connsiteX2838" fmla="*/ 2235 w 10785"/>
                <a:gd name="connsiteY2838" fmla="*/ 7675 h 10000"/>
                <a:gd name="connsiteX2839" fmla="*/ 2240 w 10785"/>
                <a:gd name="connsiteY2839" fmla="*/ 7692 h 10000"/>
                <a:gd name="connsiteX2840" fmla="*/ 2249 w 10785"/>
                <a:gd name="connsiteY2840" fmla="*/ 7692 h 10000"/>
                <a:gd name="connsiteX2841" fmla="*/ 2258 w 10785"/>
                <a:gd name="connsiteY2841" fmla="*/ 7692 h 10000"/>
                <a:gd name="connsiteX2842" fmla="*/ 2267 w 10785"/>
                <a:gd name="connsiteY2842" fmla="*/ 7692 h 10000"/>
                <a:gd name="connsiteX2843" fmla="*/ 2295 w 10785"/>
                <a:gd name="connsiteY2843" fmla="*/ 7692 h 10000"/>
                <a:gd name="connsiteX2844" fmla="*/ 2300 w 10785"/>
                <a:gd name="connsiteY2844" fmla="*/ 7701 h 10000"/>
                <a:gd name="connsiteX2845" fmla="*/ 2313 w 10785"/>
                <a:gd name="connsiteY2845" fmla="*/ 7675 h 10000"/>
                <a:gd name="connsiteX2846" fmla="*/ 2323 w 10785"/>
                <a:gd name="connsiteY2846" fmla="*/ 7675 h 10000"/>
                <a:gd name="connsiteX2847" fmla="*/ 2341 w 10785"/>
                <a:gd name="connsiteY2847" fmla="*/ 7675 h 10000"/>
                <a:gd name="connsiteX2848" fmla="*/ 2346 w 10785"/>
                <a:gd name="connsiteY2848" fmla="*/ 7667 h 10000"/>
                <a:gd name="connsiteX2849" fmla="*/ 2359 w 10785"/>
                <a:gd name="connsiteY2849" fmla="*/ 7650 h 10000"/>
                <a:gd name="connsiteX2850" fmla="*/ 2373 w 10785"/>
                <a:gd name="connsiteY2850" fmla="*/ 7624 h 10000"/>
                <a:gd name="connsiteX2851" fmla="*/ 2382 w 10785"/>
                <a:gd name="connsiteY2851" fmla="*/ 7641 h 10000"/>
                <a:gd name="connsiteX2852" fmla="*/ 2396 w 10785"/>
                <a:gd name="connsiteY2852" fmla="*/ 7650 h 10000"/>
                <a:gd name="connsiteX2853" fmla="*/ 2401 w 10785"/>
                <a:gd name="connsiteY2853" fmla="*/ 7650 h 10000"/>
                <a:gd name="connsiteX2854" fmla="*/ 2401 w 10785"/>
                <a:gd name="connsiteY2854" fmla="*/ 7624 h 10000"/>
                <a:gd name="connsiteX2855" fmla="*/ 2419 w 10785"/>
                <a:gd name="connsiteY2855" fmla="*/ 7624 h 10000"/>
                <a:gd name="connsiteX2856" fmla="*/ 2433 w 10785"/>
                <a:gd name="connsiteY2856" fmla="*/ 7615 h 10000"/>
                <a:gd name="connsiteX2857" fmla="*/ 2442 w 10785"/>
                <a:gd name="connsiteY2857" fmla="*/ 7615 h 10000"/>
                <a:gd name="connsiteX2858" fmla="*/ 2447 w 10785"/>
                <a:gd name="connsiteY2858" fmla="*/ 7598 h 10000"/>
                <a:gd name="connsiteX2859" fmla="*/ 2461 w 10785"/>
                <a:gd name="connsiteY2859" fmla="*/ 7598 h 10000"/>
                <a:gd name="connsiteX2860" fmla="*/ 2465 w 10785"/>
                <a:gd name="connsiteY2860" fmla="*/ 7615 h 10000"/>
                <a:gd name="connsiteX2861" fmla="*/ 2479 w 10785"/>
                <a:gd name="connsiteY2861" fmla="*/ 7564 h 10000"/>
                <a:gd name="connsiteX2862" fmla="*/ 2488 w 10785"/>
                <a:gd name="connsiteY2862" fmla="*/ 7556 h 10000"/>
                <a:gd name="connsiteX2863" fmla="*/ 2493 w 10785"/>
                <a:gd name="connsiteY2863" fmla="*/ 7556 h 10000"/>
                <a:gd name="connsiteX2864" fmla="*/ 2507 w 10785"/>
                <a:gd name="connsiteY2864" fmla="*/ 7556 h 10000"/>
                <a:gd name="connsiteX2865" fmla="*/ 2530 w 10785"/>
                <a:gd name="connsiteY2865" fmla="*/ 7538 h 10000"/>
                <a:gd name="connsiteX2866" fmla="*/ 2530 w 10785"/>
                <a:gd name="connsiteY2866" fmla="*/ 7556 h 10000"/>
                <a:gd name="connsiteX2867" fmla="*/ 2641 w 10785"/>
                <a:gd name="connsiteY2867" fmla="*/ 7504 h 10000"/>
                <a:gd name="connsiteX2868" fmla="*/ 2654 w 10785"/>
                <a:gd name="connsiteY2868" fmla="*/ 7487 h 10000"/>
                <a:gd name="connsiteX2869" fmla="*/ 2664 w 10785"/>
                <a:gd name="connsiteY2869" fmla="*/ 7487 h 10000"/>
                <a:gd name="connsiteX2870" fmla="*/ 2668 w 10785"/>
                <a:gd name="connsiteY2870" fmla="*/ 7479 h 10000"/>
                <a:gd name="connsiteX2871" fmla="*/ 2673 w 10785"/>
                <a:gd name="connsiteY2871" fmla="*/ 7462 h 10000"/>
                <a:gd name="connsiteX2872" fmla="*/ 2673 w 10785"/>
                <a:gd name="connsiteY2872" fmla="*/ 7427 h 10000"/>
                <a:gd name="connsiteX2873" fmla="*/ 2687 w 10785"/>
                <a:gd name="connsiteY2873" fmla="*/ 7436 h 10000"/>
                <a:gd name="connsiteX2874" fmla="*/ 2696 w 10785"/>
                <a:gd name="connsiteY2874" fmla="*/ 7427 h 10000"/>
                <a:gd name="connsiteX2875" fmla="*/ 2700 w 10785"/>
                <a:gd name="connsiteY2875" fmla="*/ 7419 h 10000"/>
                <a:gd name="connsiteX2876" fmla="*/ 2710 w 10785"/>
                <a:gd name="connsiteY2876" fmla="*/ 7402 h 10000"/>
                <a:gd name="connsiteX2877" fmla="*/ 2724 w 10785"/>
                <a:gd name="connsiteY2877" fmla="*/ 7402 h 10000"/>
                <a:gd name="connsiteX2878" fmla="*/ 2724 w 10785"/>
                <a:gd name="connsiteY2878" fmla="*/ 7393 h 10000"/>
                <a:gd name="connsiteX2879" fmla="*/ 2737 w 10785"/>
                <a:gd name="connsiteY2879" fmla="*/ 7393 h 10000"/>
                <a:gd name="connsiteX2880" fmla="*/ 2742 w 10785"/>
                <a:gd name="connsiteY2880" fmla="*/ 7402 h 10000"/>
                <a:gd name="connsiteX2881" fmla="*/ 2747 w 10785"/>
                <a:gd name="connsiteY2881" fmla="*/ 7402 h 10000"/>
                <a:gd name="connsiteX2882" fmla="*/ 2760 w 10785"/>
                <a:gd name="connsiteY2882" fmla="*/ 7402 h 10000"/>
                <a:gd name="connsiteX2883" fmla="*/ 2770 w 10785"/>
                <a:gd name="connsiteY2883" fmla="*/ 7402 h 10000"/>
                <a:gd name="connsiteX2884" fmla="*/ 2774 w 10785"/>
                <a:gd name="connsiteY2884" fmla="*/ 7402 h 10000"/>
                <a:gd name="connsiteX2885" fmla="*/ 2783 w 10785"/>
                <a:gd name="connsiteY2885" fmla="*/ 7419 h 10000"/>
                <a:gd name="connsiteX2886" fmla="*/ 2802 w 10785"/>
                <a:gd name="connsiteY2886" fmla="*/ 7436 h 10000"/>
                <a:gd name="connsiteX2887" fmla="*/ 2816 w 10785"/>
                <a:gd name="connsiteY2887" fmla="*/ 7419 h 10000"/>
                <a:gd name="connsiteX2888" fmla="*/ 2834 w 10785"/>
                <a:gd name="connsiteY2888" fmla="*/ 7419 h 10000"/>
                <a:gd name="connsiteX2889" fmla="*/ 2843 w 10785"/>
                <a:gd name="connsiteY2889" fmla="*/ 7419 h 10000"/>
                <a:gd name="connsiteX2890" fmla="*/ 2848 w 10785"/>
                <a:gd name="connsiteY2890" fmla="*/ 7436 h 10000"/>
                <a:gd name="connsiteX2891" fmla="*/ 2857 w 10785"/>
                <a:gd name="connsiteY2891" fmla="*/ 7453 h 10000"/>
                <a:gd name="connsiteX2892" fmla="*/ 2857 w 10785"/>
                <a:gd name="connsiteY2892" fmla="*/ 7504 h 10000"/>
                <a:gd name="connsiteX2893" fmla="*/ 2862 w 10785"/>
                <a:gd name="connsiteY2893" fmla="*/ 7530 h 10000"/>
                <a:gd name="connsiteX2894" fmla="*/ 2876 w 10785"/>
                <a:gd name="connsiteY2894" fmla="*/ 7538 h 10000"/>
                <a:gd name="connsiteX2895" fmla="*/ 2871 w 10785"/>
                <a:gd name="connsiteY2895" fmla="*/ 7564 h 10000"/>
                <a:gd name="connsiteX2896" fmla="*/ 2871 w 10785"/>
                <a:gd name="connsiteY2896" fmla="*/ 7598 h 10000"/>
                <a:gd name="connsiteX2897" fmla="*/ 2857 w 10785"/>
                <a:gd name="connsiteY2897" fmla="*/ 7624 h 10000"/>
                <a:gd name="connsiteX2898" fmla="*/ 2862 w 10785"/>
                <a:gd name="connsiteY2898" fmla="*/ 7641 h 10000"/>
                <a:gd name="connsiteX2899" fmla="*/ 2871 w 10785"/>
                <a:gd name="connsiteY2899" fmla="*/ 7667 h 10000"/>
                <a:gd name="connsiteX2900" fmla="*/ 2880 w 10785"/>
                <a:gd name="connsiteY2900" fmla="*/ 7650 h 10000"/>
                <a:gd name="connsiteX2901" fmla="*/ 2894 w 10785"/>
                <a:gd name="connsiteY2901" fmla="*/ 7667 h 10000"/>
                <a:gd name="connsiteX2902" fmla="*/ 2903 w 10785"/>
                <a:gd name="connsiteY2902" fmla="*/ 7667 h 10000"/>
                <a:gd name="connsiteX2903" fmla="*/ 2908 w 10785"/>
                <a:gd name="connsiteY2903" fmla="*/ 7641 h 10000"/>
                <a:gd name="connsiteX2904" fmla="*/ 2917 w 10785"/>
                <a:gd name="connsiteY2904" fmla="*/ 7641 h 10000"/>
                <a:gd name="connsiteX2905" fmla="*/ 2922 w 10785"/>
                <a:gd name="connsiteY2905" fmla="*/ 7641 h 10000"/>
                <a:gd name="connsiteX2906" fmla="*/ 2931 w 10785"/>
                <a:gd name="connsiteY2906" fmla="*/ 7615 h 10000"/>
                <a:gd name="connsiteX2907" fmla="*/ 2935 w 10785"/>
                <a:gd name="connsiteY2907" fmla="*/ 7615 h 10000"/>
                <a:gd name="connsiteX2908" fmla="*/ 2945 w 10785"/>
                <a:gd name="connsiteY2908" fmla="*/ 7650 h 10000"/>
                <a:gd name="connsiteX2909" fmla="*/ 2949 w 10785"/>
                <a:gd name="connsiteY2909" fmla="*/ 7667 h 10000"/>
                <a:gd name="connsiteX2910" fmla="*/ 2949 w 10785"/>
                <a:gd name="connsiteY2910" fmla="*/ 7675 h 10000"/>
                <a:gd name="connsiteX2911" fmla="*/ 2945 w 10785"/>
                <a:gd name="connsiteY2911" fmla="*/ 7692 h 10000"/>
                <a:gd name="connsiteX2912" fmla="*/ 2963 w 10785"/>
                <a:gd name="connsiteY2912" fmla="*/ 7701 h 10000"/>
                <a:gd name="connsiteX2913" fmla="*/ 2963 w 10785"/>
                <a:gd name="connsiteY2913" fmla="*/ 7675 h 10000"/>
                <a:gd name="connsiteX2914" fmla="*/ 2954 w 10785"/>
                <a:gd name="connsiteY2914" fmla="*/ 7667 h 10000"/>
                <a:gd name="connsiteX2915" fmla="*/ 2963 w 10785"/>
                <a:gd name="connsiteY2915" fmla="*/ 7667 h 10000"/>
                <a:gd name="connsiteX2916" fmla="*/ 2982 w 10785"/>
                <a:gd name="connsiteY2916" fmla="*/ 7667 h 10000"/>
                <a:gd name="connsiteX2917" fmla="*/ 2991 w 10785"/>
                <a:gd name="connsiteY2917" fmla="*/ 7675 h 10000"/>
                <a:gd name="connsiteX2918" fmla="*/ 2995 w 10785"/>
                <a:gd name="connsiteY2918" fmla="*/ 7692 h 10000"/>
                <a:gd name="connsiteX2919" fmla="*/ 3009 w 10785"/>
                <a:gd name="connsiteY2919" fmla="*/ 7701 h 10000"/>
                <a:gd name="connsiteX2920" fmla="*/ 3018 w 10785"/>
                <a:gd name="connsiteY2920" fmla="*/ 7701 h 10000"/>
                <a:gd name="connsiteX2921" fmla="*/ 3023 w 10785"/>
                <a:gd name="connsiteY2921" fmla="*/ 7692 h 10000"/>
                <a:gd name="connsiteX2922" fmla="*/ 3028 w 10785"/>
                <a:gd name="connsiteY2922" fmla="*/ 7675 h 10000"/>
                <a:gd name="connsiteX2923" fmla="*/ 3037 w 10785"/>
                <a:gd name="connsiteY2923" fmla="*/ 7692 h 10000"/>
                <a:gd name="connsiteX2924" fmla="*/ 3028 w 10785"/>
                <a:gd name="connsiteY2924" fmla="*/ 7709 h 10000"/>
                <a:gd name="connsiteX2925" fmla="*/ 3023 w 10785"/>
                <a:gd name="connsiteY2925" fmla="*/ 7709 h 10000"/>
                <a:gd name="connsiteX2926" fmla="*/ 3018 w 10785"/>
                <a:gd name="connsiteY2926" fmla="*/ 7726 h 10000"/>
                <a:gd name="connsiteX2927" fmla="*/ 3009 w 10785"/>
                <a:gd name="connsiteY2927" fmla="*/ 7735 h 10000"/>
                <a:gd name="connsiteX2928" fmla="*/ 3009 w 10785"/>
                <a:gd name="connsiteY2928" fmla="*/ 7761 h 10000"/>
                <a:gd name="connsiteX2929" fmla="*/ 3009 w 10785"/>
                <a:gd name="connsiteY2929" fmla="*/ 7778 h 10000"/>
                <a:gd name="connsiteX2930" fmla="*/ 3018 w 10785"/>
                <a:gd name="connsiteY2930" fmla="*/ 7786 h 10000"/>
                <a:gd name="connsiteX2931" fmla="*/ 3023 w 10785"/>
                <a:gd name="connsiteY2931" fmla="*/ 7786 h 10000"/>
                <a:gd name="connsiteX2932" fmla="*/ 3028 w 10785"/>
                <a:gd name="connsiteY2932" fmla="*/ 7778 h 10000"/>
                <a:gd name="connsiteX2933" fmla="*/ 3051 w 10785"/>
                <a:gd name="connsiteY2933" fmla="*/ 7761 h 10000"/>
                <a:gd name="connsiteX2934" fmla="*/ 3055 w 10785"/>
                <a:gd name="connsiteY2934" fmla="*/ 7778 h 10000"/>
                <a:gd name="connsiteX2935" fmla="*/ 3065 w 10785"/>
                <a:gd name="connsiteY2935" fmla="*/ 7761 h 10000"/>
                <a:gd name="connsiteX2936" fmla="*/ 3069 w 10785"/>
                <a:gd name="connsiteY2936" fmla="*/ 7786 h 10000"/>
                <a:gd name="connsiteX2937" fmla="*/ 3083 w 10785"/>
                <a:gd name="connsiteY2937" fmla="*/ 7786 h 10000"/>
                <a:gd name="connsiteX2938" fmla="*/ 3078 w 10785"/>
                <a:gd name="connsiteY2938" fmla="*/ 7761 h 10000"/>
                <a:gd name="connsiteX2939" fmla="*/ 3083 w 10785"/>
                <a:gd name="connsiteY2939" fmla="*/ 7752 h 10000"/>
                <a:gd name="connsiteX2940" fmla="*/ 3097 w 10785"/>
                <a:gd name="connsiteY2940" fmla="*/ 7752 h 10000"/>
                <a:gd name="connsiteX2941" fmla="*/ 3111 w 10785"/>
                <a:gd name="connsiteY2941" fmla="*/ 7726 h 10000"/>
                <a:gd name="connsiteX2942" fmla="*/ 3124 w 10785"/>
                <a:gd name="connsiteY2942" fmla="*/ 7709 h 10000"/>
                <a:gd name="connsiteX2943" fmla="*/ 3143 w 10785"/>
                <a:gd name="connsiteY2943" fmla="*/ 7692 h 10000"/>
                <a:gd name="connsiteX2944" fmla="*/ 3152 w 10785"/>
                <a:gd name="connsiteY2944" fmla="*/ 7667 h 10000"/>
                <a:gd name="connsiteX2945" fmla="*/ 3157 w 10785"/>
                <a:gd name="connsiteY2945" fmla="*/ 7650 h 10000"/>
                <a:gd name="connsiteX2946" fmla="*/ 3161 w 10785"/>
                <a:gd name="connsiteY2946" fmla="*/ 7650 h 10000"/>
                <a:gd name="connsiteX2947" fmla="*/ 3189 w 10785"/>
                <a:gd name="connsiteY2947" fmla="*/ 7641 h 10000"/>
                <a:gd name="connsiteX2948" fmla="*/ 3198 w 10785"/>
                <a:gd name="connsiteY2948" fmla="*/ 7624 h 10000"/>
                <a:gd name="connsiteX2949" fmla="*/ 3217 w 10785"/>
                <a:gd name="connsiteY2949" fmla="*/ 7615 h 10000"/>
                <a:gd name="connsiteX2950" fmla="*/ 3235 w 10785"/>
                <a:gd name="connsiteY2950" fmla="*/ 7598 h 10000"/>
                <a:gd name="connsiteX2951" fmla="*/ 3235 w 10785"/>
                <a:gd name="connsiteY2951" fmla="*/ 7615 h 10000"/>
                <a:gd name="connsiteX2952" fmla="*/ 3235 w 10785"/>
                <a:gd name="connsiteY2952" fmla="*/ 7641 h 10000"/>
                <a:gd name="connsiteX2953" fmla="*/ 3235 w 10785"/>
                <a:gd name="connsiteY2953" fmla="*/ 7650 h 10000"/>
                <a:gd name="connsiteX2954" fmla="*/ 3226 w 10785"/>
                <a:gd name="connsiteY2954" fmla="*/ 7650 h 10000"/>
                <a:gd name="connsiteX2955" fmla="*/ 3217 w 10785"/>
                <a:gd name="connsiteY2955" fmla="*/ 7650 h 10000"/>
                <a:gd name="connsiteX2956" fmla="*/ 3212 w 10785"/>
                <a:gd name="connsiteY2956" fmla="*/ 7675 h 10000"/>
                <a:gd name="connsiteX2957" fmla="*/ 3212 w 10785"/>
                <a:gd name="connsiteY2957"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220 w 10785"/>
                <a:gd name="connsiteY731" fmla="*/ 4873 h 10000"/>
                <a:gd name="connsiteX732" fmla="*/ 10334 w 10785"/>
                <a:gd name="connsiteY732" fmla="*/ 4810 h 10000"/>
                <a:gd name="connsiteX733" fmla="*/ 10422 w 10785"/>
                <a:gd name="connsiteY733" fmla="*/ 5051 h 10000"/>
                <a:gd name="connsiteX734" fmla="*/ 10691 w 10785"/>
                <a:gd name="connsiteY734" fmla="*/ 5255 h 10000"/>
                <a:gd name="connsiteX735" fmla="*/ 10619 w 10785"/>
                <a:gd name="connsiteY735" fmla="*/ 4708 h 10000"/>
                <a:gd name="connsiteX736" fmla="*/ 10785 w 10785"/>
                <a:gd name="connsiteY736" fmla="*/ 4708 h 10000"/>
                <a:gd name="connsiteX737" fmla="*/ 10689 w 10785"/>
                <a:gd name="connsiteY737" fmla="*/ 4467 h 10000"/>
                <a:gd name="connsiteX738" fmla="*/ 10354 w 10785"/>
                <a:gd name="connsiteY738" fmla="*/ 4302 h 10000"/>
                <a:gd name="connsiteX739" fmla="*/ 9912 w 10785"/>
                <a:gd name="connsiteY739" fmla="*/ 3675 h 10000"/>
                <a:gd name="connsiteX740" fmla="*/ 9903 w 10785"/>
                <a:gd name="connsiteY740" fmla="*/ 3667 h 10000"/>
                <a:gd name="connsiteX741" fmla="*/ 9894 w 10785"/>
                <a:gd name="connsiteY741" fmla="*/ 3641 h 10000"/>
                <a:gd name="connsiteX742" fmla="*/ 9889 w 10785"/>
                <a:gd name="connsiteY742" fmla="*/ 3650 h 10000"/>
                <a:gd name="connsiteX743" fmla="*/ 9848 w 10785"/>
                <a:gd name="connsiteY743" fmla="*/ 3598 h 10000"/>
                <a:gd name="connsiteX744" fmla="*/ 9829 w 10785"/>
                <a:gd name="connsiteY744" fmla="*/ 3581 h 10000"/>
                <a:gd name="connsiteX745" fmla="*/ 9820 w 10785"/>
                <a:gd name="connsiteY745" fmla="*/ 3581 h 10000"/>
                <a:gd name="connsiteX746" fmla="*/ 9793 w 10785"/>
                <a:gd name="connsiteY746" fmla="*/ 3556 h 10000"/>
                <a:gd name="connsiteX747" fmla="*/ 9779 w 10785"/>
                <a:gd name="connsiteY747" fmla="*/ 3556 h 10000"/>
                <a:gd name="connsiteX748" fmla="*/ 9747 w 10785"/>
                <a:gd name="connsiteY748" fmla="*/ 3487 h 10000"/>
                <a:gd name="connsiteX749" fmla="*/ 9668 w 10785"/>
                <a:gd name="connsiteY749" fmla="*/ 3479 h 10000"/>
                <a:gd name="connsiteX750" fmla="*/ 9659 w 10785"/>
                <a:gd name="connsiteY750" fmla="*/ 3487 h 10000"/>
                <a:gd name="connsiteX751" fmla="*/ 9645 w 10785"/>
                <a:gd name="connsiteY751" fmla="*/ 3504 h 10000"/>
                <a:gd name="connsiteX752" fmla="*/ 9631 w 10785"/>
                <a:gd name="connsiteY752" fmla="*/ 3487 h 10000"/>
                <a:gd name="connsiteX753" fmla="*/ 9613 w 10785"/>
                <a:gd name="connsiteY753" fmla="*/ 3479 h 10000"/>
                <a:gd name="connsiteX754" fmla="*/ 9599 w 10785"/>
                <a:gd name="connsiteY754" fmla="*/ 3479 h 10000"/>
                <a:gd name="connsiteX755" fmla="*/ 9571 w 10785"/>
                <a:gd name="connsiteY755" fmla="*/ 3479 h 10000"/>
                <a:gd name="connsiteX756" fmla="*/ 9562 w 10785"/>
                <a:gd name="connsiteY756" fmla="*/ 3487 h 10000"/>
                <a:gd name="connsiteX757" fmla="*/ 9539 w 10785"/>
                <a:gd name="connsiteY757" fmla="*/ 3487 h 10000"/>
                <a:gd name="connsiteX758" fmla="*/ 9507 w 10785"/>
                <a:gd name="connsiteY758" fmla="*/ 3453 h 10000"/>
                <a:gd name="connsiteX759" fmla="*/ 9498 w 10785"/>
                <a:gd name="connsiteY759" fmla="*/ 3453 h 10000"/>
                <a:gd name="connsiteX760" fmla="*/ 9387 w 10785"/>
                <a:gd name="connsiteY760" fmla="*/ 3419 h 10000"/>
                <a:gd name="connsiteX761" fmla="*/ 9373 w 10785"/>
                <a:gd name="connsiteY761" fmla="*/ 3427 h 10000"/>
                <a:gd name="connsiteX762" fmla="*/ 9373 w 10785"/>
                <a:gd name="connsiteY762" fmla="*/ 3462 h 10000"/>
                <a:gd name="connsiteX763" fmla="*/ 9378 w 10785"/>
                <a:gd name="connsiteY763" fmla="*/ 3479 h 10000"/>
                <a:gd name="connsiteX764" fmla="*/ 9378 w 10785"/>
                <a:gd name="connsiteY764" fmla="*/ 3530 h 10000"/>
                <a:gd name="connsiteX765" fmla="*/ 9355 w 10785"/>
                <a:gd name="connsiteY765" fmla="*/ 3538 h 10000"/>
                <a:gd name="connsiteX766" fmla="*/ 9355 w 10785"/>
                <a:gd name="connsiteY766" fmla="*/ 3581 h 10000"/>
                <a:gd name="connsiteX767" fmla="*/ 9387 w 10785"/>
                <a:gd name="connsiteY767" fmla="*/ 3590 h 10000"/>
                <a:gd name="connsiteX768" fmla="*/ 9401 w 10785"/>
                <a:gd name="connsiteY768" fmla="*/ 3667 h 10000"/>
                <a:gd name="connsiteX769" fmla="*/ 9406 w 10785"/>
                <a:gd name="connsiteY769" fmla="*/ 3675 h 10000"/>
                <a:gd name="connsiteX770" fmla="*/ 9406 w 10785"/>
                <a:gd name="connsiteY770" fmla="*/ 3701 h 10000"/>
                <a:gd name="connsiteX771" fmla="*/ 9415 w 10785"/>
                <a:gd name="connsiteY771" fmla="*/ 3752 h 10000"/>
                <a:gd name="connsiteX772" fmla="*/ 9373 w 10785"/>
                <a:gd name="connsiteY772" fmla="*/ 3838 h 10000"/>
                <a:gd name="connsiteX773" fmla="*/ 9355 w 10785"/>
                <a:gd name="connsiteY773" fmla="*/ 3863 h 10000"/>
                <a:gd name="connsiteX774" fmla="*/ 9327 w 10785"/>
                <a:gd name="connsiteY774" fmla="*/ 3863 h 10000"/>
                <a:gd name="connsiteX775" fmla="*/ 9313 w 10785"/>
                <a:gd name="connsiteY775" fmla="*/ 3846 h 10000"/>
                <a:gd name="connsiteX776" fmla="*/ 9300 w 10785"/>
                <a:gd name="connsiteY776" fmla="*/ 3778 h 10000"/>
                <a:gd name="connsiteX777" fmla="*/ 9281 w 10785"/>
                <a:gd name="connsiteY777" fmla="*/ 3752 h 10000"/>
                <a:gd name="connsiteX778" fmla="*/ 9281 w 10785"/>
                <a:gd name="connsiteY778" fmla="*/ 3735 h 10000"/>
                <a:gd name="connsiteX779" fmla="*/ 9267 w 10785"/>
                <a:gd name="connsiteY779" fmla="*/ 3726 h 10000"/>
                <a:gd name="connsiteX780" fmla="*/ 9240 w 10785"/>
                <a:gd name="connsiteY780" fmla="*/ 3726 h 10000"/>
                <a:gd name="connsiteX781" fmla="*/ 9230 w 10785"/>
                <a:gd name="connsiteY781" fmla="*/ 3718 h 10000"/>
                <a:gd name="connsiteX782" fmla="*/ 9226 w 10785"/>
                <a:gd name="connsiteY782" fmla="*/ 3590 h 10000"/>
                <a:gd name="connsiteX783" fmla="*/ 9207 w 10785"/>
                <a:gd name="connsiteY783" fmla="*/ 3581 h 10000"/>
                <a:gd name="connsiteX784" fmla="*/ 9207 w 10785"/>
                <a:gd name="connsiteY784" fmla="*/ 3556 h 10000"/>
                <a:gd name="connsiteX785" fmla="*/ 9217 w 10785"/>
                <a:gd name="connsiteY785" fmla="*/ 3538 h 10000"/>
                <a:gd name="connsiteX786" fmla="*/ 9212 w 10785"/>
                <a:gd name="connsiteY786" fmla="*/ 3538 h 10000"/>
                <a:gd name="connsiteX787" fmla="*/ 9198 w 10785"/>
                <a:gd name="connsiteY787" fmla="*/ 3513 h 10000"/>
                <a:gd name="connsiteX788" fmla="*/ 9194 w 10785"/>
                <a:gd name="connsiteY788" fmla="*/ 3530 h 10000"/>
                <a:gd name="connsiteX789" fmla="*/ 9143 w 10785"/>
                <a:gd name="connsiteY789" fmla="*/ 3615 h 10000"/>
                <a:gd name="connsiteX790" fmla="*/ 9138 w 10785"/>
                <a:gd name="connsiteY790" fmla="*/ 3615 h 10000"/>
                <a:gd name="connsiteX791" fmla="*/ 9134 w 10785"/>
                <a:gd name="connsiteY791" fmla="*/ 3615 h 10000"/>
                <a:gd name="connsiteX792" fmla="*/ 9106 w 10785"/>
                <a:gd name="connsiteY792" fmla="*/ 3615 h 10000"/>
                <a:gd name="connsiteX793" fmla="*/ 9078 w 10785"/>
                <a:gd name="connsiteY793" fmla="*/ 3590 h 10000"/>
                <a:gd name="connsiteX794" fmla="*/ 9037 w 10785"/>
                <a:gd name="connsiteY794" fmla="*/ 3581 h 10000"/>
                <a:gd name="connsiteX795" fmla="*/ 9023 w 10785"/>
                <a:gd name="connsiteY795" fmla="*/ 3590 h 10000"/>
                <a:gd name="connsiteX796" fmla="*/ 9018 w 10785"/>
                <a:gd name="connsiteY796" fmla="*/ 3590 h 10000"/>
                <a:gd name="connsiteX797" fmla="*/ 9018 w 10785"/>
                <a:gd name="connsiteY797" fmla="*/ 3590 h 10000"/>
                <a:gd name="connsiteX798" fmla="*/ 8991 w 10785"/>
                <a:gd name="connsiteY798" fmla="*/ 3590 h 10000"/>
                <a:gd name="connsiteX799" fmla="*/ 8972 w 10785"/>
                <a:gd name="connsiteY799" fmla="*/ 3581 h 10000"/>
                <a:gd name="connsiteX800" fmla="*/ 8959 w 10785"/>
                <a:gd name="connsiteY800" fmla="*/ 3513 h 10000"/>
                <a:gd name="connsiteX801" fmla="*/ 8931 w 10785"/>
                <a:gd name="connsiteY801" fmla="*/ 3538 h 10000"/>
                <a:gd name="connsiteX802" fmla="*/ 8889 w 10785"/>
                <a:gd name="connsiteY802" fmla="*/ 3538 h 10000"/>
                <a:gd name="connsiteX803" fmla="*/ 8871 w 10785"/>
                <a:gd name="connsiteY803" fmla="*/ 3556 h 10000"/>
                <a:gd name="connsiteX804" fmla="*/ 8857 w 10785"/>
                <a:gd name="connsiteY804" fmla="*/ 3538 h 10000"/>
                <a:gd name="connsiteX805" fmla="*/ 8843 w 10785"/>
                <a:gd name="connsiteY805" fmla="*/ 3538 h 10000"/>
                <a:gd name="connsiteX806" fmla="*/ 8839 w 10785"/>
                <a:gd name="connsiteY806" fmla="*/ 3556 h 10000"/>
                <a:gd name="connsiteX807" fmla="*/ 8839 w 10785"/>
                <a:gd name="connsiteY807" fmla="*/ 3581 h 10000"/>
                <a:gd name="connsiteX808" fmla="*/ 8825 w 10785"/>
                <a:gd name="connsiteY808" fmla="*/ 3564 h 10000"/>
                <a:gd name="connsiteX809" fmla="*/ 8825 w 10785"/>
                <a:gd name="connsiteY809" fmla="*/ 3615 h 10000"/>
                <a:gd name="connsiteX810" fmla="*/ 8802 w 10785"/>
                <a:gd name="connsiteY810" fmla="*/ 3598 h 10000"/>
                <a:gd name="connsiteX811" fmla="*/ 8797 w 10785"/>
                <a:gd name="connsiteY811" fmla="*/ 3641 h 10000"/>
                <a:gd name="connsiteX812" fmla="*/ 8783 w 10785"/>
                <a:gd name="connsiteY812" fmla="*/ 3667 h 10000"/>
                <a:gd name="connsiteX813" fmla="*/ 8779 w 10785"/>
                <a:gd name="connsiteY813" fmla="*/ 3650 h 10000"/>
                <a:gd name="connsiteX814" fmla="*/ 8779 w 10785"/>
                <a:gd name="connsiteY814" fmla="*/ 3615 h 10000"/>
                <a:gd name="connsiteX815" fmla="*/ 8770 w 10785"/>
                <a:gd name="connsiteY815" fmla="*/ 3590 h 10000"/>
                <a:gd name="connsiteX816" fmla="*/ 8765 w 10785"/>
                <a:gd name="connsiteY816" fmla="*/ 3598 h 10000"/>
                <a:gd name="connsiteX817" fmla="*/ 8756 w 10785"/>
                <a:gd name="connsiteY817" fmla="*/ 3590 h 10000"/>
                <a:gd name="connsiteX818" fmla="*/ 8737 w 10785"/>
                <a:gd name="connsiteY818" fmla="*/ 3556 h 10000"/>
                <a:gd name="connsiteX819" fmla="*/ 8724 w 10785"/>
                <a:gd name="connsiteY819" fmla="*/ 3538 h 10000"/>
                <a:gd name="connsiteX820" fmla="*/ 8696 w 10785"/>
                <a:gd name="connsiteY820" fmla="*/ 3538 h 10000"/>
                <a:gd name="connsiteX821" fmla="*/ 8691 w 10785"/>
                <a:gd name="connsiteY821" fmla="*/ 3513 h 10000"/>
                <a:gd name="connsiteX822" fmla="*/ 8668 w 10785"/>
                <a:gd name="connsiteY822" fmla="*/ 3504 h 10000"/>
                <a:gd name="connsiteX823" fmla="*/ 8668 w 10785"/>
                <a:gd name="connsiteY823" fmla="*/ 3487 h 10000"/>
                <a:gd name="connsiteX824" fmla="*/ 8691 w 10785"/>
                <a:gd name="connsiteY824" fmla="*/ 3350 h 10000"/>
                <a:gd name="connsiteX825" fmla="*/ 8691 w 10785"/>
                <a:gd name="connsiteY825" fmla="*/ 3291 h 10000"/>
                <a:gd name="connsiteX826" fmla="*/ 8677 w 10785"/>
                <a:gd name="connsiteY826" fmla="*/ 3239 h 10000"/>
                <a:gd name="connsiteX827" fmla="*/ 8677 w 10785"/>
                <a:gd name="connsiteY827" fmla="*/ 3231 h 10000"/>
                <a:gd name="connsiteX828" fmla="*/ 8636 w 10785"/>
                <a:gd name="connsiteY828" fmla="*/ 3128 h 10000"/>
                <a:gd name="connsiteX829" fmla="*/ 8622 w 10785"/>
                <a:gd name="connsiteY829" fmla="*/ 3120 h 10000"/>
                <a:gd name="connsiteX830" fmla="*/ 8618 w 10785"/>
                <a:gd name="connsiteY830" fmla="*/ 3094 h 10000"/>
                <a:gd name="connsiteX831" fmla="*/ 8594 w 10785"/>
                <a:gd name="connsiteY831" fmla="*/ 3077 h 10000"/>
                <a:gd name="connsiteX832" fmla="*/ 8548 w 10785"/>
                <a:gd name="connsiteY832" fmla="*/ 3077 h 10000"/>
                <a:gd name="connsiteX833" fmla="*/ 8535 w 10785"/>
                <a:gd name="connsiteY833" fmla="*/ 3068 h 10000"/>
                <a:gd name="connsiteX834" fmla="*/ 8429 w 10785"/>
                <a:gd name="connsiteY834" fmla="*/ 3077 h 10000"/>
                <a:gd name="connsiteX835" fmla="*/ 8424 w 10785"/>
                <a:gd name="connsiteY835" fmla="*/ 3077 h 10000"/>
                <a:gd name="connsiteX836" fmla="*/ 8396 w 10785"/>
                <a:gd name="connsiteY836" fmla="*/ 3077 h 10000"/>
                <a:gd name="connsiteX837" fmla="*/ 8387 w 10785"/>
                <a:gd name="connsiteY837" fmla="*/ 3094 h 10000"/>
                <a:gd name="connsiteX838" fmla="*/ 8378 w 10785"/>
                <a:gd name="connsiteY838" fmla="*/ 3094 h 10000"/>
                <a:gd name="connsiteX839" fmla="*/ 8341 w 10785"/>
                <a:gd name="connsiteY839" fmla="*/ 3077 h 10000"/>
                <a:gd name="connsiteX840" fmla="*/ 8336 w 10785"/>
                <a:gd name="connsiteY840" fmla="*/ 3077 h 10000"/>
                <a:gd name="connsiteX841" fmla="*/ 8327 w 10785"/>
                <a:gd name="connsiteY841" fmla="*/ 3103 h 10000"/>
                <a:gd name="connsiteX842" fmla="*/ 8309 w 10785"/>
                <a:gd name="connsiteY842" fmla="*/ 3120 h 10000"/>
                <a:gd name="connsiteX843" fmla="*/ 8304 w 10785"/>
                <a:gd name="connsiteY843" fmla="*/ 3103 h 10000"/>
                <a:gd name="connsiteX844" fmla="*/ 8276 w 10785"/>
                <a:gd name="connsiteY844" fmla="*/ 3103 h 10000"/>
                <a:gd name="connsiteX845" fmla="*/ 8267 w 10785"/>
                <a:gd name="connsiteY845" fmla="*/ 3120 h 10000"/>
                <a:gd name="connsiteX846" fmla="*/ 8253 w 10785"/>
                <a:gd name="connsiteY846" fmla="*/ 3103 h 10000"/>
                <a:gd name="connsiteX847" fmla="*/ 8230 w 10785"/>
                <a:gd name="connsiteY847" fmla="*/ 3128 h 10000"/>
                <a:gd name="connsiteX848" fmla="*/ 8217 w 10785"/>
                <a:gd name="connsiteY848" fmla="*/ 3128 h 10000"/>
                <a:gd name="connsiteX849" fmla="*/ 8203 w 10785"/>
                <a:gd name="connsiteY849" fmla="*/ 3154 h 10000"/>
                <a:gd name="connsiteX850" fmla="*/ 8175 w 10785"/>
                <a:gd name="connsiteY850" fmla="*/ 3094 h 10000"/>
                <a:gd name="connsiteX851" fmla="*/ 8161 w 10785"/>
                <a:gd name="connsiteY851" fmla="*/ 3094 h 10000"/>
                <a:gd name="connsiteX852" fmla="*/ 8157 w 10785"/>
                <a:gd name="connsiteY852" fmla="*/ 3077 h 10000"/>
                <a:gd name="connsiteX853" fmla="*/ 8180 w 10785"/>
                <a:gd name="connsiteY853" fmla="*/ 3068 h 10000"/>
                <a:gd name="connsiteX854" fmla="*/ 8189 w 10785"/>
                <a:gd name="connsiteY854" fmla="*/ 3043 h 10000"/>
                <a:gd name="connsiteX855" fmla="*/ 8189 w 10785"/>
                <a:gd name="connsiteY855" fmla="*/ 3017 h 10000"/>
                <a:gd name="connsiteX856" fmla="*/ 8147 w 10785"/>
                <a:gd name="connsiteY856" fmla="*/ 2940 h 10000"/>
                <a:gd name="connsiteX857" fmla="*/ 8143 w 10785"/>
                <a:gd name="connsiteY857" fmla="*/ 2915 h 10000"/>
                <a:gd name="connsiteX858" fmla="*/ 8143 w 10785"/>
                <a:gd name="connsiteY858" fmla="*/ 2906 h 10000"/>
                <a:gd name="connsiteX859" fmla="*/ 8097 w 10785"/>
                <a:gd name="connsiteY859" fmla="*/ 2932 h 10000"/>
                <a:gd name="connsiteX860" fmla="*/ 8083 w 10785"/>
                <a:gd name="connsiteY860" fmla="*/ 2932 h 10000"/>
                <a:gd name="connsiteX861" fmla="*/ 8074 w 10785"/>
                <a:gd name="connsiteY861" fmla="*/ 2906 h 10000"/>
                <a:gd name="connsiteX862" fmla="*/ 8074 w 10785"/>
                <a:gd name="connsiteY862" fmla="*/ 2897 h 10000"/>
                <a:gd name="connsiteX863" fmla="*/ 8055 w 10785"/>
                <a:gd name="connsiteY863" fmla="*/ 2872 h 10000"/>
                <a:gd name="connsiteX864" fmla="*/ 8046 w 10785"/>
                <a:gd name="connsiteY864" fmla="*/ 2829 h 10000"/>
                <a:gd name="connsiteX865" fmla="*/ 8041 w 10785"/>
                <a:gd name="connsiteY865" fmla="*/ 2829 h 10000"/>
                <a:gd name="connsiteX866" fmla="*/ 8023 w 10785"/>
                <a:gd name="connsiteY866" fmla="*/ 2803 h 10000"/>
                <a:gd name="connsiteX867" fmla="*/ 8014 w 10785"/>
                <a:gd name="connsiteY867" fmla="*/ 2829 h 10000"/>
                <a:gd name="connsiteX868" fmla="*/ 8000 w 10785"/>
                <a:gd name="connsiteY868" fmla="*/ 2829 h 10000"/>
                <a:gd name="connsiteX869" fmla="*/ 7995 w 10785"/>
                <a:gd name="connsiteY869" fmla="*/ 2821 h 10000"/>
                <a:gd name="connsiteX870" fmla="*/ 7972 w 10785"/>
                <a:gd name="connsiteY870" fmla="*/ 2803 h 10000"/>
                <a:gd name="connsiteX871" fmla="*/ 7968 w 10785"/>
                <a:gd name="connsiteY871" fmla="*/ 2821 h 10000"/>
                <a:gd name="connsiteX872" fmla="*/ 7968 w 10785"/>
                <a:gd name="connsiteY872" fmla="*/ 2803 h 10000"/>
                <a:gd name="connsiteX873" fmla="*/ 7995 w 10785"/>
                <a:gd name="connsiteY873" fmla="*/ 2735 h 10000"/>
                <a:gd name="connsiteX874" fmla="*/ 8000 w 10785"/>
                <a:gd name="connsiteY874" fmla="*/ 2735 h 10000"/>
                <a:gd name="connsiteX875" fmla="*/ 8014 w 10785"/>
                <a:gd name="connsiteY875" fmla="*/ 2744 h 10000"/>
                <a:gd name="connsiteX876" fmla="*/ 8023 w 10785"/>
                <a:gd name="connsiteY876" fmla="*/ 2769 h 10000"/>
                <a:gd name="connsiteX877" fmla="*/ 8032 w 10785"/>
                <a:gd name="connsiteY877" fmla="*/ 2744 h 10000"/>
                <a:gd name="connsiteX878" fmla="*/ 8032 w 10785"/>
                <a:gd name="connsiteY878" fmla="*/ 2709 h 10000"/>
                <a:gd name="connsiteX879" fmla="*/ 8023 w 10785"/>
                <a:gd name="connsiteY879" fmla="*/ 2632 h 10000"/>
                <a:gd name="connsiteX880" fmla="*/ 7986 w 10785"/>
                <a:gd name="connsiteY880" fmla="*/ 2581 h 10000"/>
                <a:gd name="connsiteX881" fmla="*/ 7968 w 10785"/>
                <a:gd name="connsiteY881" fmla="*/ 2581 h 10000"/>
                <a:gd name="connsiteX882" fmla="*/ 7963 w 10785"/>
                <a:gd name="connsiteY882" fmla="*/ 2556 h 10000"/>
                <a:gd name="connsiteX883" fmla="*/ 7935 w 10785"/>
                <a:gd name="connsiteY883" fmla="*/ 2547 h 10000"/>
                <a:gd name="connsiteX884" fmla="*/ 7912 w 10785"/>
                <a:gd name="connsiteY884" fmla="*/ 2547 h 10000"/>
                <a:gd name="connsiteX885" fmla="*/ 7912 w 10785"/>
                <a:gd name="connsiteY885" fmla="*/ 2556 h 10000"/>
                <a:gd name="connsiteX886" fmla="*/ 7908 w 10785"/>
                <a:gd name="connsiteY886" fmla="*/ 2547 h 10000"/>
                <a:gd name="connsiteX887" fmla="*/ 7862 w 10785"/>
                <a:gd name="connsiteY887" fmla="*/ 2547 h 10000"/>
                <a:gd name="connsiteX888" fmla="*/ 7848 w 10785"/>
                <a:gd name="connsiteY888" fmla="*/ 2556 h 10000"/>
                <a:gd name="connsiteX889" fmla="*/ 7820 w 10785"/>
                <a:gd name="connsiteY889" fmla="*/ 2547 h 10000"/>
                <a:gd name="connsiteX890" fmla="*/ 7806 w 10785"/>
                <a:gd name="connsiteY890" fmla="*/ 2513 h 10000"/>
                <a:gd name="connsiteX891" fmla="*/ 7788 w 10785"/>
                <a:gd name="connsiteY891" fmla="*/ 2513 h 10000"/>
                <a:gd name="connsiteX892" fmla="*/ 7760 w 10785"/>
                <a:gd name="connsiteY892" fmla="*/ 2470 h 10000"/>
                <a:gd name="connsiteX893" fmla="*/ 7751 w 10785"/>
                <a:gd name="connsiteY893" fmla="*/ 2470 h 10000"/>
                <a:gd name="connsiteX894" fmla="*/ 7705 w 10785"/>
                <a:gd name="connsiteY894" fmla="*/ 2462 h 10000"/>
                <a:gd name="connsiteX895" fmla="*/ 7673 w 10785"/>
                <a:gd name="connsiteY895" fmla="*/ 2419 h 10000"/>
                <a:gd name="connsiteX896" fmla="*/ 7627 w 10785"/>
                <a:gd name="connsiteY896" fmla="*/ 2419 h 10000"/>
                <a:gd name="connsiteX897" fmla="*/ 7613 w 10785"/>
                <a:gd name="connsiteY897" fmla="*/ 2410 h 10000"/>
                <a:gd name="connsiteX898" fmla="*/ 7493 w 10785"/>
                <a:gd name="connsiteY898" fmla="*/ 2393 h 10000"/>
                <a:gd name="connsiteX899" fmla="*/ 7479 w 10785"/>
                <a:gd name="connsiteY899" fmla="*/ 2385 h 10000"/>
                <a:gd name="connsiteX900" fmla="*/ 7479 w 10785"/>
                <a:gd name="connsiteY900" fmla="*/ 2376 h 10000"/>
                <a:gd name="connsiteX901" fmla="*/ 7465 w 10785"/>
                <a:gd name="connsiteY901" fmla="*/ 2359 h 10000"/>
                <a:gd name="connsiteX902" fmla="*/ 7447 w 10785"/>
                <a:gd name="connsiteY902" fmla="*/ 2350 h 10000"/>
                <a:gd name="connsiteX903" fmla="*/ 7433 w 10785"/>
                <a:gd name="connsiteY903" fmla="*/ 2376 h 10000"/>
                <a:gd name="connsiteX904" fmla="*/ 7433 w 10785"/>
                <a:gd name="connsiteY904" fmla="*/ 2385 h 10000"/>
                <a:gd name="connsiteX905" fmla="*/ 7447 w 10785"/>
                <a:gd name="connsiteY905" fmla="*/ 2410 h 10000"/>
                <a:gd name="connsiteX906" fmla="*/ 7447 w 10785"/>
                <a:gd name="connsiteY906" fmla="*/ 2436 h 10000"/>
                <a:gd name="connsiteX907" fmla="*/ 7452 w 10785"/>
                <a:gd name="connsiteY907" fmla="*/ 2462 h 10000"/>
                <a:gd name="connsiteX908" fmla="*/ 7447 w 10785"/>
                <a:gd name="connsiteY908" fmla="*/ 2470 h 10000"/>
                <a:gd name="connsiteX909" fmla="*/ 7424 w 10785"/>
                <a:gd name="connsiteY909" fmla="*/ 2513 h 10000"/>
                <a:gd name="connsiteX910" fmla="*/ 7419 w 10785"/>
                <a:gd name="connsiteY910" fmla="*/ 2556 h 10000"/>
                <a:gd name="connsiteX911" fmla="*/ 7406 w 10785"/>
                <a:gd name="connsiteY911" fmla="*/ 2624 h 10000"/>
                <a:gd name="connsiteX912" fmla="*/ 7392 w 10785"/>
                <a:gd name="connsiteY912" fmla="*/ 2624 h 10000"/>
                <a:gd name="connsiteX913" fmla="*/ 7373 w 10785"/>
                <a:gd name="connsiteY913" fmla="*/ 2650 h 10000"/>
                <a:gd name="connsiteX914" fmla="*/ 7364 w 10785"/>
                <a:gd name="connsiteY914" fmla="*/ 2684 h 10000"/>
                <a:gd name="connsiteX915" fmla="*/ 7364 w 10785"/>
                <a:gd name="connsiteY915" fmla="*/ 2692 h 10000"/>
                <a:gd name="connsiteX916" fmla="*/ 7373 w 10785"/>
                <a:gd name="connsiteY916" fmla="*/ 2718 h 10000"/>
                <a:gd name="connsiteX917" fmla="*/ 7373 w 10785"/>
                <a:gd name="connsiteY917" fmla="*/ 2744 h 10000"/>
                <a:gd name="connsiteX918" fmla="*/ 7359 w 10785"/>
                <a:gd name="connsiteY918" fmla="*/ 2744 h 10000"/>
                <a:gd name="connsiteX919" fmla="*/ 7359 w 10785"/>
                <a:gd name="connsiteY919" fmla="*/ 2795 h 10000"/>
                <a:gd name="connsiteX920" fmla="*/ 7364 w 10785"/>
                <a:gd name="connsiteY920" fmla="*/ 2821 h 10000"/>
                <a:gd name="connsiteX921" fmla="*/ 7378 w 10785"/>
                <a:gd name="connsiteY921" fmla="*/ 2846 h 10000"/>
                <a:gd name="connsiteX922" fmla="*/ 7378 w 10785"/>
                <a:gd name="connsiteY922" fmla="*/ 2855 h 10000"/>
                <a:gd name="connsiteX923" fmla="*/ 7378 w 10785"/>
                <a:gd name="connsiteY923" fmla="*/ 2880 h 10000"/>
                <a:gd name="connsiteX924" fmla="*/ 7378 w 10785"/>
                <a:gd name="connsiteY924" fmla="*/ 2906 h 10000"/>
                <a:gd name="connsiteX925" fmla="*/ 7364 w 10785"/>
                <a:gd name="connsiteY925" fmla="*/ 2906 h 10000"/>
                <a:gd name="connsiteX926" fmla="*/ 7346 w 10785"/>
                <a:gd name="connsiteY926" fmla="*/ 2880 h 10000"/>
                <a:gd name="connsiteX927" fmla="*/ 7332 w 10785"/>
                <a:gd name="connsiteY927" fmla="*/ 2915 h 10000"/>
                <a:gd name="connsiteX928" fmla="*/ 7318 w 10785"/>
                <a:gd name="connsiteY928" fmla="*/ 2906 h 10000"/>
                <a:gd name="connsiteX929" fmla="*/ 7313 w 10785"/>
                <a:gd name="connsiteY929" fmla="*/ 2915 h 10000"/>
                <a:gd name="connsiteX930" fmla="*/ 7313 w 10785"/>
                <a:gd name="connsiteY930" fmla="*/ 2906 h 10000"/>
                <a:gd name="connsiteX931" fmla="*/ 7286 w 10785"/>
                <a:gd name="connsiteY931" fmla="*/ 2940 h 10000"/>
                <a:gd name="connsiteX932" fmla="*/ 7276 w 10785"/>
                <a:gd name="connsiteY932" fmla="*/ 2966 h 10000"/>
                <a:gd name="connsiteX933" fmla="*/ 7272 w 10785"/>
                <a:gd name="connsiteY933" fmla="*/ 2983 h 10000"/>
                <a:gd name="connsiteX934" fmla="*/ 7267 w 10785"/>
                <a:gd name="connsiteY934" fmla="*/ 3009 h 10000"/>
                <a:gd name="connsiteX935" fmla="*/ 7253 w 10785"/>
                <a:gd name="connsiteY935" fmla="*/ 3009 h 10000"/>
                <a:gd name="connsiteX936" fmla="*/ 7244 w 10785"/>
                <a:gd name="connsiteY936" fmla="*/ 3017 h 10000"/>
                <a:gd name="connsiteX937" fmla="*/ 7240 w 10785"/>
                <a:gd name="connsiteY937" fmla="*/ 3009 h 10000"/>
                <a:gd name="connsiteX938" fmla="*/ 7230 w 10785"/>
                <a:gd name="connsiteY938" fmla="*/ 2991 h 10000"/>
                <a:gd name="connsiteX939" fmla="*/ 7226 w 10785"/>
                <a:gd name="connsiteY939" fmla="*/ 2983 h 10000"/>
                <a:gd name="connsiteX940" fmla="*/ 7226 w 10785"/>
                <a:gd name="connsiteY940" fmla="*/ 2966 h 10000"/>
                <a:gd name="connsiteX941" fmla="*/ 7212 w 10785"/>
                <a:gd name="connsiteY941" fmla="*/ 2957 h 10000"/>
                <a:gd name="connsiteX942" fmla="*/ 7212 w 10785"/>
                <a:gd name="connsiteY942" fmla="*/ 2932 h 10000"/>
                <a:gd name="connsiteX943" fmla="*/ 7198 w 10785"/>
                <a:gd name="connsiteY943" fmla="*/ 2915 h 10000"/>
                <a:gd name="connsiteX944" fmla="*/ 7194 w 10785"/>
                <a:gd name="connsiteY944" fmla="*/ 2915 h 10000"/>
                <a:gd name="connsiteX945" fmla="*/ 7157 w 10785"/>
                <a:gd name="connsiteY945" fmla="*/ 2880 h 10000"/>
                <a:gd name="connsiteX946" fmla="*/ 7138 w 10785"/>
                <a:gd name="connsiteY946" fmla="*/ 2880 h 10000"/>
                <a:gd name="connsiteX947" fmla="*/ 7120 w 10785"/>
                <a:gd name="connsiteY947" fmla="*/ 2872 h 10000"/>
                <a:gd name="connsiteX948" fmla="*/ 7111 w 10785"/>
                <a:gd name="connsiteY948" fmla="*/ 2846 h 10000"/>
                <a:gd name="connsiteX949" fmla="*/ 7106 w 10785"/>
                <a:gd name="connsiteY949" fmla="*/ 2846 h 10000"/>
                <a:gd name="connsiteX950" fmla="*/ 7092 w 10785"/>
                <a:gd name="connsiteY950" fmla="*/ 2829 h 10000"/>
                <a:gd name="connsiteX951" fmla="*/ 7051 w 10785"/>
                <a:gd name="connsiteY951" fmla="*/ 2829 h 10000"/>
                <a:gd name="connsiteX952" fmla="*/ 7037 w 10785"/>
                <a:gd name="connsiteY952" fmla="*/ 2880 h 10000"/>
                <a:gd name="connsiteX953" fmla="*/ 7037 w 10785"/>
                <a:gd name="connsiteY953" fmla="*/ 2906 h 10000"/>
                <a:gd name="connsiteX954" fmla="*/ 7037 w 10785"/>
                <a:gd name="connsiteY954" fmla="*/ 2932 h 10000"/>
                <a:gd name="connsiteX955" fmla="*/ 7037 w 10785"/>
                <a:gd name="connsiteY955" fmla="*/ 2940 h 10000"/>
                <a:gd name="connsiteX956" fmla="*/ 7023 w 10785"/>
                <a:gd name="connsiteY956" fmla="*/ 2906 h 10000"/>
                <a:gd name="connsiteX957" fmla="*/ 7023 w 10785"/>
                <a:gd name="connsiteY957" fmla="*/ 2915 h 10000"/>
                <a:gd name="connsiteX958" fmla="*/ 6991 w 10785"/>
                <a:gd name="connsiteY958" fmla="*/ 2906 h 10000"/>
                <a:gd name="connsiteX959" fmla="*/ 6977 w 10785"/>
                <a:gd name="connsiteY959" fmla="*/ 2915 h 10000"/>
                <a:gd name="connsiteX960" fmla="*/ 6963 w 10785"/>
                <a:gd name="connsiteY960" fmla="*/ 2915 h 10000"/>
                <a:gd name="connsiteX961" fmla="*/ 6949 w 10785"/>
                <a:gd name="connsiteY961" fmla="*/ 2872 h 10000"/>
                <a:gd name="connsiteX962" fmla="*/ 6935 w 10785"/>
                <a:gd name="connsiteY962" fmla="*/ 2855 h 10000"/>
                <a:gd name="connsiteX963" fmla="*/ 6922 w 10785"/>
                <a:gd name="connsiteY963" fmla="*/ 2803 h 10000"/>
                <a:gd name="connsiteX964" fmla="*/ 6917 w 10785"/>
                <a:gd name="connsiteY964" fmla="*/ 2786 h 10000"/>
                <a:gd name="connsiteX965" fmla="*/ 6903 w 10785"/>
                <a:gd name="connsiteY965" fmla="*/ 2709 h 10000"/>
                <a:gd name="connsiteX966" fmla="*/ 6903 w 10785"/>
                <a:gd name="connsiteY966" fmla="*/ 2692 h 10000"/>
                <a:gd name="connsiteX967" fmla="*/ 6899 w 10785"/>
                <a:gd name="connsiteY967" fmla="*/ 2709 h 10000"/>
                <a:gd name="connsiteX968" fmla="*/ 6857 w 10785"/>
                <a:gd name="connsiteY968" fmla="*/ 2872 h 10000"/>
                <a:gd name="connsiteX969" fmla="*/ 6857 w 10785"/>
                <a:gd name="connsiteY969" fmla="*/ 3009 h 10000"/>
                <a:gd name="connsiteX970" fmla="*/ 6848 w 10785"/>
                <a:gd name="connsiteY970" fmla="*/ 3017 h 10000"/>
                <a:gd name="connsiteX971" fmla="*/ 6839 w 10785"/>
                <a:gd name="connsiteY971" fmla="*/ 3068 h 10000"/>
                <a:gd name="connsiteX972" fmla="*/ 6829 w 10785"/>
                <a:gd name="connsiteY972" fmla="*/ 3077 h 10000"/>
                <a:gd name="connsiteX973" fmla="*/ 6829 w 10785"/>
                <a:gd name="connsiteY973" fmla="*/ 3128 h 10000"/>
                <a:gd name="connsiteX974" fmla="*/ 6816 w 10785"/>
                <a:gd name="connsiteY974" fmla="*/ 3154 h 10000"/>
                <a:gd name="connsiteX975" fmla="*/ 6811 w 10785"/>
                <a:gd name="connsiteY975" fmla="*/ 3179 h 10000"/>
                <a:gd name="connsiteX976" fmla="*/ 6797 w 10785"/>
                <a:gd name="connsiteY976" fmla="*/ 3171 h 10000"/>
                <a:gd name="connsiteX977" fmla="*/ 6783 w 10785"/>
                <a:gd name="connsiteY977" fmla="*/ 3103 h 10000"/>
                <a:gd name="connsiteX978" fmla="*/ 6779 w 10785"/>
                <a:gd name="connsiteY978" fmla="*/ 3094 h 10000"/>
                <a:gd name="connsiteX979" fmla="*/ 6779 w 10785"/>
                <a:gd name="connsiteY979" fmla="*/ 3120 h 10000"/>
                <a:gd name="connsiteX980" fmla="*/ 6770 w 10785"/>
                <a:gd name="connsiteY980" fmla="*/ 3128 h 10000"/>
                <a:gd name="connsiteX981" fmla="*/ 6765 w 10785"/>
                <a:gd name="connsiteY981" fmla="*/ 3103 h 10000"/>
                <a:gd name="connsiteX982" fmla="*/ 6756 w 10785"/>
                <a:gd name="connsiteY982" fmla="*/ 3103 h 10000"/>
                <a:gd name="connsiteX983" fmla="*/ 6742 w 10785"/>
                <a:gd name="connsiteY983" fmla="*/ 3103 h 10000"/>
                <a:gd name="connsiteX984" fmla="*/ 6737 w 10785"/>
                <a:gd name="connsiteY984" fmla="*/ 3077 h 10000"/>
                <a:gd name="connsiteX985" fmla="*/ 6737 w 10785"/>
                <a:gd name="connsiteY985" fmla="*/ 3068 h 10000"/>
                <a:gd name="connsiteX986" fmla="*/ 6728 w 10785"/>
                <a:gd name="connsiteY986" fmla="*/ 3043 h 10000"/>
                <a:gd name="connsiteX987" fmla="*/ 6724 w 10785"/>
                <a:gd name="connsiteY987" fmla="*/ 3051 h 10000"/>
                <a:gd name="connsiteX988" fmla="*/ 6714 w 10785"/>
                <a:gd name="connsiteY988" fmla="*/ 3043 h 10000"/>
                <a:gd name="connsiteX989" fmla="*/ 6710 w 10785"/>
                <a:gd name="connsiteY989" fmla="*/ 3034 h 10000"/>
                <a:gd name="connsiteX990" fmla="*/ 6705 w 10785"/>
                <a:gd name="connsiteY990" fmla="*/ 2983 h 10000"/>
                <a:gd name="connsiteX991" fmla="*/ 6696 w 10785"/>
                <a:gd name="connsiteY991" fmla="*/ 2966 h 10000"/>
                <a:gd name="connsiteX992" fmla="*/ 6691 w 10785"/>
                <a:gd name="connsiteY992" fmla="*/ 2983 h 10000"/>
                <a:gd name="connsiteX993" fmla="*/ 6677 w 10785"/>
                <a:gd name="connsiteY993" fmla="*/ 2897 h 10000"/>
                <a:gd name="connsiteX994" fmla="*/ 6677 w 10785"/>
                <a:gd name="connsiteY994" fmla="*/ 2897 h 10000"/>
                <a:gd name="connsiteX995" fmla="*/ 6677 w 10785"/>
                <a:gd name="connsiteY995" fmla="*/ 2872 h 10000"/>
                <a:gd name="connsiteX996" fmla="*/ 6668 w 10785"/>
                <a:gd name="connsiteY996" fmla="*/ 2821 h 10000"/>
                <a:gd name="connsiteX997" fmla="*/ 6664 w 10785"/>
                <a:gd name="connsiteY997" fmla="*/ 2829 h 10000"/>
                <a:gd name="connsiteX998" fmla="*/ 6654 w 10785"/>
                <a:gd name="connsiteY998" fmla="*/ 2846 h 10000"/>
                <a:gd name="connsiteX999" fmla="*/ 6650 w 10785"/>
                <a:gd name="connsiteY999" fmla="*/ 2829 h 10000"/>
                <a:gd name="connsiteX1000" fmla="*/ 6650 w 10785"/>
                <a:gd name="connsiteY1000" fmla="*/ 2803 h 10000"/>
                <a:gd name="connsiteX1001" fmla="*/ 6650 w 10785"/>
                <a:gd name="connsiteY1001" fmla="*/ 2795 h 10000"/>
                <a:gd name="connsiteX1002" fmla="*/ 6641 w 10785"/>
                <a:gd name="connsiteY1002" fmla="*/ 2786 h 10000"/>
                <a:gd name="connsiteX1003" fmla="*/ 6636 w 10785"/>
                <a:gd name="connsiteY1003" fmla="*/ 2735 h 10000"/>
                <a:gd name="connsiteX1004" fmla="*/ 6664 w 10785"/>
                <a:gd name="connsiteY1004" fmla="*/ 2667 h 10000"/>
                <a:gd name="connsiteX1005" fmla="*/ 6668 w 10785"/>
                <a:gd name="connsiteY1005" fmla="*/ 2684 h 10000"/>
                <a:gd name="connsiteX1006" fmla="*/ 6677 w 10785"/>
                <a:gd name="connsiteY1006" fmla="*/ 2667 h 10000"/>
                <a:gd name="connsiteX1007" fmla="*/ 6668 w 10785"/>
                <a:gd name="connsiteY1007" fmla="*/ 2667 h 10000"/>
                <a:gd name="connsiteX1008" fmla="*/ 6668 w 10785"/>
                <a:gd name="connsiteY1008" fmla="*/ 2650 h 10000"/>
                <a:gd name="connsiteX1009" fmla="*/ 6682 w 10785"/>
                <a:gd name="connsiteY1009" fmla="*/ 2650 h 10000"/>
                <a:gd name="connsiteX1010" fmla="*/ 6691 w 10785"/>
                <a:gd name="connsiteY1010" fmla="*/ 2624 h 10000"/>
                <a:gd name="connsiteX1011" fmla="*/ 6682 w 10785"/>
                <a:gd name="connsiteY1011" fmla="*/ 2632 h 10000"/>
                <a:gd name="connsiteX1012" fmla="*/ 6682 w 10785"/>
                <a:gd name="connsiteY1012" fmla="*/ 2624 h 10000"/>
                <a:gd name="connsiteX1013" fmla="*/ 6691 w 10785"/>
                <a:gd name="connsiteY1013" fmla="*/ 2607 h 10000"/>
                <a:gd name="connsiteX1014" fmla="*/ 6691 w 10785"/>
                <a:gd name="connsiteY1014" fmla="*/ 2598 h 10000"/>
                <a:gd name="connsiteX1015" fmla="*/ 6691 w 10785"/>
                <a:gd name="connsiteY1015" fmla="*/ 2581 h 10000"/>
                <a:gd name="connsiteX1016" fmla="*/ 6696 w 10785"/>
                <a:gd name="connsiteY1016" fmla="*/ 2530 h 10000"/>
                <a:gd name="connsiteX1017" fmla="*/ 6677 w 10785"/>
                <a:gd name="connsiteY1017" fmla="*/ 2513 h 10000"/>
                <a:gd name="connsiteX1018" fmla="*/ 6677 w 10785"/>
                <a:gd name="connsiteY1018" fmla="*/ 2496 h 10000"/>
                <a:gd name="connsiteX1019" fmla="*/ 6682 w 10785"/>
                <a:gd name="connsiteY1019" fmla="*/ 2470 h 10000"/>
                <a:gd name="connsiteX1020" fmla="*/ 6668 w 10785"/>
                <a:gd name="connsiteY1020" fmla="*/ 2462 h 10000"/>
                <a:gd name="connsiteX1021" fmla="*/ 6677 w 10785"/>
                <a:gd name="connsiteY1021" fmla="*/ 2436 h 10000"/>
                <a:gd name="connsiteX1022" fmla="*/ 6682 w 10785"/>
                <a:gd name="connsiteY1022" fmla="*/ 2419 h 10000"/>
                <a:gd name="connsiteX1023" fmla="*/ 6682 w 10785"/>
                <a:gd name="connsiteY1023" fmla="*/ 2393 h 10000"/>
                <a:gd name="connsiteX1024" fmla="*/ 6682 w 10785"/>
                <a:gd name="connsiteY1024" fmla="*/ 2385 h 10000"/>
                <a:gd name="connsiteX1025" fmla="*/ 6682 w 10785"/>
                <a:gd name="connsiteY1025" fmla="*/ 2385 h 10000"/>
                <a:gd name="connsiteX1026" fmla="*/ 6677 w 10785"/>
                <a:gd name="connsiteY1026" fmla="*/ 2376 h 10000"/>
                <a:gd name="connsiteX1027" fmla="*/ 6682 w 10785"/>
                <a:gd name="connsiteY1027" fmla="*/ 2359 h 10000"/>
                <a:gd name="connsiteX1028" fmla="*/ 6677 w 10785"/>
                <a:gd name="connsiteY1028" fmla="*/ 2333 h 10000"/>
                <a:gd name="connsiteX1029" fmla="*/ 6691 w 10785"/>
                <a:gd name="connsiteY1029" fmla="*/ 2333 h 10000"/>
                <a:gd name="connsiteX1030" fmla="*/ 6691 w 10785"/>
                <a:gd name="connsiteY1030" fmla="*/ 2325 h 10000"/>
                <a:gd name="connsiteX1031" fmla="*/ 6691 w 10785"/>
                <a:gd name="connsiteY1031" fmla="*/ 2308 h 10000"/>
                <a:gd name="connsiteX1032" fmla="*/ 6691 w 10785"/>
                <a:gd name="connsiteY1032" fmla="*/ 2299 h 10000"/>
                <a:gd name="connsiteX1033" fmla="*/ 6691 w 10785"/>
                <a:gd name="connsiteY1033" fmla="*/ 2282 h 10000"/>
                <a:gd name="connsiteX1034" fmla="*/ 6691 w 10785"/>
                <a:gd name="connsiteY1034" fmla="*/ 2274 h 10000"/>
                <a:gd name="connsiteX1035" fmla="*/ 6668 w 10785"/>
                <a:gd name="connsiteY1035" fmla="*/ 2248 h 10000"/>
                <a:gd name="connsiteX1036" fmla="*/ 6664 w 10785"/>
                <a:gd name="connsiteY1036" fmla="*/ 2222 h 10000"/>
                <a:gd name="connsiteX1037" fmla="*/ 6654 w 10785"/>
                <a:gd name="connsiteY1037" fmla="*/ 2214 h 10000"/>
                <a:gd name="connsiteX1038" fmla="*/ 6654 w 10785"/>
                <a:gd name="connsiteY1038" fmla="*/ 2188 h 10000"/>
                <a:gd name="connsiteX1039" fmla="*/ 6622 w 10785"/>
                <a:gd name="connsiteY1039" fmla="*/ 2162 h 10000"/>
                <a:gd name="connsiteX1040" fmla="*/ 6631 w 10785"/>
                <a:gd name="connsiteY1040" fmla="*/ 2145 h 10000"/>
                <a:gd name="connsiteX1041" fmla="*/ 6622 w 10785"/>
                <a:gd name="connsiteY1041" fmla="*/ 2120 h 10000"/>
                <a:gd name="connsiteX1042" fmla="*/ 6608 w 10785"/>
                <a:gd name="connsiteY1042" fmla="*/ 2120 h 10000"/>
                <a:gd name="connsiteX1043" fmla="*/ 6604 w 10785"/>
                <a:gd name="connsiteY1043" fmla="*/ 2111 h 10000"/>
                <a:gd name="connsiteX1044" fmla="*/ 6608 w 10785"/>
                <a:gd name="connsiteY1044" fmla="*/ 2111 h 10000"/>
                <a:gd name="connsiteX1045" fmla="*/ 6604 w 10785"/>
                <a:gd name="connsiteY1045" fmla="*/ 2085 h 10000"/>
                <a:gd name="connsiteX1046" fmla="*/ 6581 w 10785"/>
                <a:gd name="connsiteY1046" fmla="*/ 2077 h 10000"/>
                <a:gd name="connsiteX1047" fmla="*/ 6571 w 10785"/>
                <a:gd name="connsiteY1047" fmla="*/ 2085 h 10000"/>
                <a:gd name="connsiteX1048" fmla="*/ 6548 w 10785"/>
                <a:gd name="connsiteY1048" fmla="*/ 2077 h 10000"/>
                <a:gd name="connsiteX1049" fmla="*/ 6530 w 10785"/>
                <a:gd name="connsiteY1049" fmla="*/ 2060 h 10000"/>
                <a:gd name="connsiteX1050" fmla="*/ 6521 w 10785"/>
                <a:gd name="connsiteY1050" fmla="*/ 2060 h 10000"/>
                <a:gd name="connsiteX1051" fmla="*/ 6521 w 10785"/>
                <a:gd name="connsiteY1051" fmla="*/ 2085 h 10000"/>
                <a:gd name="connsiteX1052" fmla="*/ 6516 w 10785"/>
                <a:gd name="connsiteY1052" fmla="*/ 2085 h 10000"/>
                <a:gd name="connsiteX1053" fmla="*/ 6502 w 10785"/>
                <a:gd name="connsiteY1053" fmla="*/ 2111 h 10000"/>
                <a:gd name="connsiteX1054" fmla="*/ 6498 w 10785"/>
                <a:gd name="connsiteY1054" fmla="*/ 2111 h 10000"/>
                <a:gd name="connsiteX1055" fmla="*/ 6498 w 10785"/>
                <a:gd name="connsiteY1055" fmla="*/ 2103 h 10000"/>
                <a:gd name="connsiteX1056" fmla="*/ 6475 w 10785"/>
                <a:gd name="connsiteY1056" fmla="*/ 2051 h 10000"/>
                <a:gd name="connsiteX1057" fmla="*/ 6470 w 10785"/>
                <a:gd name="connsiteY1057" fmla="*/ 2060 h 10000"/>
                <a:gd name="connsiteX1058" fmla="*/ 6456 w 10785"/>
                <a:gd name="connsiteY1058" fmla="*/ 2051 h 10000"/>
                <a:gd name="connsiteX1059" fmla="*/ 6447 w 10785"/>
                <a:gd name="connsiteY1059" fmla="*/ 2051 h 10000"/>
                <a:gd name="connsiteX1060" fmla="*/ 6433 w 10785"/>
                <a:gd name="connsiteY1060" fmla="*/ 2026 h 10000"/>
                <a:gd name="connsiteX1061" fmla="*/ 6433 w 10785"/>
                <a:gd name="connsiteY1061" fmla="*/ 2034 h 10000"/>
                <a:gd name="connsiteX1062" fmla="*/ 6429 w 10785"/>
                <a:gd name="connsiteY1062" fmla="*/ 2026 h 10000"/>
                <a:gd name="connsiteX1063" fmla="*/ 6424 w 10785"/>
                <a:gd name="connsiteY1063" fmla="*/ 2034 h 10000"/>
                <a:gd name="connsiteX1064" fmla="*/ 6410 w 10785"/>
                <a:gd name="connsiteY1064" fmla="*/ 2026 h 10000"/>
                <a:gd name="connsiteX1065" fmla="*/ 6410 w 10785"/>
                <a:gd name="connsiteY1065" fmla="*/ 1991 h 10000"/>
                <a:gd name="connsiteX1066" fmla="*/ 6401 w 10785"/>
                <a:gd name="connsiteY1066" fmla="*/ 1991 h 10000"/>
                <a:gd name="connsiteX1067" fmla="*/ 6396 w 10785"/>
                <a:gd name="connsiteY1067" fmla="*/ 2000 h 10000"/>
                <a:gd name="connsiteX1068" fmla="*/ 6382 w 10785"/>
                <a:gd name="connsiteY1068" fmla="*/ 1966 h 10000"/>
                <a:gd name="connsiteX1069" fmla="*/ 6373 w 10785"/>
                <a:gd name="connsiteY1069" fmla="*/ 1974 h 10000"/>
                <a:gd name="connsiteX1070" fmla="*/ 6369 w 10785"/>
                <a:gd name="connsiteY1070" fmla="*/ 1966 h 10000"/>
                <a:gd name="connsiteX1071" fmla="*/ 6341 w 10785"/>
                <a:gd name="connsiteY1071" fmla="*/ 1949 h 10000"/>
                <a:gd name="connsiteX1072" fmla="*/ 6327 w 10785"/>
                <a:gd name="connsiteY1072" fmla="*/ 1923 h 10000"/>
                <a:gd name="connsiteX1073" fmla="*/ 6323 w 10785"/>
                <a:gd name="connsiteY1073" fmla="*/ 1923 h 10000"/>
                <a:gd name="connsiteX1074" fmla="*/ 6323 w 10785"/>
                <a:gd name="connsiteY1074" fmla="*/ 1966 h 10000"/>
                <a:gd name="connsiteX1075" fmla="*/ 6323 w 10785"/>
                <a:gd name="connsiteY1075" fmla="*/ 1991 h 10000"/>
                <a:gd name="connsiteX1076" fmla="*/ 6313 w 10785"/>
                <a:gd name="connsiteY1076" fmla="*/ 1991 h 10000"/>
                <a:gd name="connsiteX1077" fmla="*/ 6300 w 10785"/>
                <a:gd name="connsiteY1077" fmla="*/ 1991 h 10000"/>
                <a:gd name="connsiteX1078" fmla="*/ 6290 w 10785"/>
                <a:gd name="connsiteY1078" fmla="*/ 1949 h 10000"/>
                <a:gd name="connsiteX1079" fmla="*/ 6276 w 10785"/>
                <a:gd name="connsiteY1079" fmla="*/ 2103 h 10000"/>
                <a:gd name="connsiteX1080" fmla="*/ 6281 w 10785"/>
                <a:gd name="connsiteY1080" fmla="*/ 2103 h 10000"/>
                <a:gd name="connsiteX1081" fmla="*/ 6276 w 10785"/>
                <a:gd name="connsiteY1081" fmla="*/ 2111 h 10000"/>
                <a:gd name="connsiteX1082" fmla="*/ 6276 w 10785"/>
                <a:gd name="connsiteY1082" fmla="*/ 2120 h 10000"/>
                <a:gd name="connsiteX1083" fmla="*/ 6295 w 10785"/>
                <a:gd name="connsiteY1083" fmla="*/ 2239 h 10000"/>
                <a:gd name="connsiteX1084" fmla="*/ 6290 w 10785"/>
                <a:gd name="connsiteY1084" fmla="*/ 2248 h 10000"/>
                <a:gd name="connsiteX1085" fmla="*/ 6281 w 10785"/>
                <a:gd name="connsiteY1085" fmla="*/ 2274 h 10000"/>
                <a:gd name="connsiteX1086" fmla="*/ 6249 w 10785"/>
                <a:gd name="connsiteY1086" fmla="*/ 2274 h 10000"/>
                <a:gd name="connsiteX1087" fmla="*/ 6226 w 10785"/>
                <a:gd name="connsiteY1087" fmla="*/ 2308 h 10000"/>
                <a:gd name="connsiteX1088" fmla="*/ 6221 w 10785"/>
                <a:gd name="connsiteY1088" fmla="*/ 2299 h 10000"/>
                <a:gd name="connsiteX1089" fmla="*/ 6221 w 10785"/>
                <a:gd name="connsiteY1089" fmla="*/ 2308 h 10000"/>
                <a:gd name="connsiteX1090" fmla="*/ 6217 w 10785"/>
                <a:gd name="connsiteY1090" fmla="*/ 2299 h 10000"/>
                <a:gd name="connsiteX1091" fmla="*/ 6194 w 10785"/>
                <a:gd name="connsiteY1091" fmla="*/ 2308 h 10000"/>
                <a:gd name="connsiteX1092" fmla="*/ 6180 w 10785"/>
                <a:gd name="connsiteY1092" fmla="*/ 2299 h 10000"/>
                <a:gd name="connsiteX1093" fmla="*/ 6143 w 10785"/>
                <a:gd name="connsiteY1093" fmla="*/ 2308 h 10000"/>
                <a:gd name="connsiteX1094" fmla="*/ 6134 w 10785"/>
                <a:gd name="connsiteY1094" fmla="*/ 2325 h 10000"/>
                <a:gd name="connsiteX1095" fmla="*/ 6115 w 10785"/>
                <a:gd name="connsiteY1095" fmla="*/ 2282 h 10000"/>
                <a:gd name="connsiteX1096" fmla="*/ 6069 w 10785"/>
                <a:gd name="connsiteY1096" fmla="*/ 2274 h 10000"/>
                <a:gd name="connsiteX1097" fmla="*/ 6069 w 10785"/>
                <a:gd name="connsiteY1097" fmla="*/ 2282 h 10000"/>
                <a:gd name="connsiteX1098" fmla="*/ 6060 w 10785"/>
                <a:gd name="connsiteY1098" fmla="*/ 2299 h 10000"/>
                <a:gd name="connsiteX1099" fmla="*/ 5972 w 10785"/>
                <a:gd name="connsiteY1099" fmla="*/ 2214 h 10000"/>
                <a:gd name="connsiteX1100" fmla="*/ 5968 w 10785"/>
                <a:gd name="connsiteY1100" fmla="*/ 2197 h 10000"/>
                <a:gd name="connsiteX1101" fmla="*/ 5968 w 10785"/>
                <a:gd name="connsiteY1101" fmla="*/ 2171 h 10000"/>
                <a:gd name="connsiteX1102" fmla="*/ 5968 w 10785"/>
                <a:gd name="connsiteY1102" fmla="*/ 2162 h 10000"/>
                <a:gd name="connsiteX1103" fmla="*/ 5968 w 10785"/>
                <a:gd name="connsiteY1103" fmla="*/ 2120 h 10000"/>
                <a:gd name="connsiteX1104" fmla="*/ 5968 w 10785"/>
                <a:gd name="connsiteY1104" fmla="*/ 2111 h 10000"/>
                <a:gd name="connsiteX1105" fmla="*/ 5972 w 10785"/>
                <a:gd name="connsiteY1105" fmla="*/ 2103 h 10000"/>
                <a:gd name="connsiteX1106" fmla="*/ 5986 w 10785"/>
                <a:gd name="connsiteY1106" fmla="*/ 2103 h 10000"/>
                <a:gd name="connsiteX1107" fmla="*/ 5986 w 10785"/>
                <a:gd name="connsiteY1107" fmla="*/ 2085 h 10000"/>
                <a:gd name="connsiteX1108" fmla="*/ 5995 w 10785"/>
                <a:gd name="connsiteY1108" fmla="*/ 2085 h 10000"/>
                <a:gd name="connsiteX1109" fmla="*/ 5995 w 10785"/>
                <a:gd name="connsiteY1109" fmla="*/ 2077 h 10000"/>
                <a:gd name="connsiteX1110" fmla="*/ 5986 w 10785"/>
                <a:gd name="connsiteY1110" fmla="*/ 2060 h 10000"/>
                <a:gd name="connsiteX1111" fmla="*/ 5954 w 10785"/>
                <a:gd name="connsiteY1111" fmla="*/ 2060 h 10000"/>
                <a:gd name="connsiteX1112" fmla="*/ 5940 w 10785"/>
                <a:gd name="connsiteY1112" fmla="*/ 2051 h 10000"/>
                <a:gd name="connsiteX1113" fmla="*/ 5922 w 10785"/>
                <a:gd name="connsiteY1113" fmla="*/ 2060 h 10000"/>
                <a:gd name="connsiteX1114" fmla="*/ 5885 w 10785"/>
                <a:gd name="connsiteY1114" fmla="*/ 2051 h 10000"/>
                <a:gd name="connsiteX1115" fmla="*/ 5876 w 10785"/>
                <a:gd name="connsiteY1115" fmla="*/ 2026 h 10000"/>
                <a:gd name="connsiteX1116" fmla="*/ 5862 w 10785"/>
                <a:gd name="connsiteY1116" fmla="*/ 2026 h 10000"/>
                <a:gd name="connsiteX1117" fmla="*/ 5848 w 10785"/>
                <a:gd name="connsiteY1117" fmla="*/ 2026 h 10000"/>
                <a:gd name="connsiteX1118" fmla="*/ 5825 w 10785"/>
                <a:gd name="connsiteY1118" fmla="*/ 2026 h 10000"/>
                <a:gd name="connsiteX1119" fmla="*/ 5788 w 10785"/>
                <a:gd name="connsiteY1119" fmla="*/ 1991 h 10000"/>
                <a:gd name="connsiteX1120" fmla="*/ 5760 w 10785"/>
                <a:gd name="connsiteY1120" fmla="*/ 2000 h 10000"/>
                <a:gd name="connsiteX1121" fmla="*/ 5760 w 10785"/>
                <a:gd name="connsiteY1121" fmla="*/ 2026 h 10000"/>
                <a:gd name="connsiteX1122" fmla="*/ 5714 w 10785"/>
                <a:gd name="connsiteY1122" fmla="*/ 2051 h 10000"/>
                <a:gd name="connsiteX1123" fmla="*/ 5687 w 10785"/>
                <a:gd name="connsiteY1123" fmla="*/ 2034 h 10000"/>
                <a:gd name="connsiteX1124" fmla="*/ 5645 w 10785"/>
                <a:gd name="connsiteY1124" fmla="*/ 2077 h 10000"/>
                <a:gd name="connsiteX1125" fmla="*/ 5664 w 10785"/>
                <a:gd name="connsiteY1125" fmla="*/ 2120 h 10000"/>
                <a:gd name="connsiteX1126" fmla="*/ 5664 w 10785"/>
                <a:gd name="connsiteY1126" fmla="*/ 2162 h 10000"/>
                <a:gd name="connsiteX1127" fmla="*/ 5631 w 10785"/>
                <a:gd name="connsiteY1127" fmla="*/ 2197 h 10000"/>
                <a:gd name="connsiteX1128" fmla="*/ 5618 w 10785"/>
                <a:gd name="connsiteY1128" fmla="*/ 2188 h 10000"/>
                <a:gd name="connsiteX1129" fmla="*/ 5618 w 10785"/>
                <a:gd name="connsiteY1129" fmla="*/ 2171 h 10000"/>
                <a:gd name="connsiteX1130" fmla="*/ 5641 w 10785"/>
                <a:gd name="connsiteY1130" fmla="*/ 2171 h 10000"/>
                <a:gd name="connsiteX1131" fmla="*/ 5641 w 10785"/>
                <a:gd name="connsiteY1131" fmla="*/ 2162 h 10000"/>
                <a:gd name="connsiteX1132" fmla="*/ 5627 w 10785"/>
                <a:gd name="connsiteY1132" fmla="*/ 2145 h 10000"/>
                <a:gd name="connsiteX1133" fmla="*/ 5627 w 10785"/>
                <a:gd name="connsiteY1133" fmla="*/ 2120 h 10000"/>
                <a:gd name="connsiteX1134" fmla="*/ 5618 w 10785"/>
                <a:gd name="connsiteY1134" fmla="*/ 2111 h 10000"/>
                <a:gd name="connsiteX1135" fmla="*/ 5631 w 10785"/>
                <a:gd name="connsiteY1135" fmla="*/ 2051 h 10000"/>
                <a:gd name="connsiteX1136" fmla="*/ 5631 w 10785"/>
                <a:gd name="connsiteY1136" fmla="*/ 2026 h 10000"/>
                <a:gd name="connsiteX1137" fmla="*/ 5627 w 10785"/>
                <a:gd name="connsiteY1137" fmla="*/ 1991 h 10000"/>
                <a:gd name="connsiteX1138" fmla="*/ 5618 w 10785"/>
                <a:gd name="connsiteY1138" fmla="*/ 1974 h 10000"/>
                <a:gd name="connsiteX1139" fmla="*/ 5618 w 10785"/>
                <a:gd name="connsiteY1139" fmla="*/ 1940 h 10000"/>
                <a:gd name="connsiteX1140" fmla="*/ 5594 w 10785"/>
                <a:gd name="connsiteY1140" fmla="*/ 1855 h 10000"/>
                <a:gd name="connsiteX1141" fmla="*/ 5599 w 10785"/>
                <a:gd name="connsiteY1141" fmla="*/ 1915 h 10000"/>
                <a:gd name="connsiteX1142" fmla="*/ 5599 w 10785"/>
                <a:gd name="connsiteY1142" fmla="*/ 1949 h 10000"/>
                <a:gd name="connsiteX1143" fmla="*/ 5594 w 10785"/>
                <a:gd name="connsiteY1143" fmla="*/ 1991 h 10000"/>
                <a:gd name="connsiteX1144" fmla="*/ 5571 w 10785"/>
                <a:gd name="connsiteY1144" fmla="*/ 2000 h 10000"/>
                <a:gd name="connsiteX1145" fmla="*/ 5530 w 10785"/>
                <a:gd name="connsiteY1145" fmla="*/ 1991 h 10000"/>
                <a:gd name="connsiteX1146" fmla="*/ 5525 w 10785"/>
                <a:gd name="connsiteY1146" fmla="*/ 2000 h 10000"/>
                <a:gd name="connsiteX1147" fmla="*/ 5521 w 10785"/>
                <a:gd name="connsiteY1147" fmla="*/ 1991 h 10000"/>
                <a:gd name="connsiteX1148" fmla="*/ 5498 w 10785"/>
                <a:gd name="connsiteY1148" fmla="*/ 1949 h 10000"/>
                <a:gd name="connsiteX1149" fmla="*/ 5493 w 10785"/>
                <a:gd name="connsiteY1149" fmla="*/ 1889 h 10000"/>
                <a:gd name="connsiteX1150" fmla="*/ 5493 w 10785"/>
                <a:gd name="connsiteY1150" fmla="*/ 1863 h 10000"/>
                <a:gd name="connsiteX1151" fmla="*/ 5498 w 10785"/>
                <a:gd name="connsiteY1151" fmla="*/ 1889 h 10000"/>
                <a:gd name="connsiteX1152" fmla="*/ 5512 w 10785"/>
                <a:gd name="connsiteY1152" fmla="*/ 1855 h 10000"/>
                <a:gd name="connsiteX1153" fmla="*/ 5512 w 10785"/>
                <a:gd name="connsiteY1153" fmla="*/ 1838 h 10000"/>
                <a:gd name="connsiteX1154" fmla="*/ 5479 w 10785"/>
                <a:gd name="connsiteY1154" fmla="*/ 1855 h 10000"/>
                <a:gd name="connsiteX1155" fmla="*/ 5470 w 10785"/>
                <a:gd name="connsiteY1155" fmla="*/ 1872 h 10000"/>
                <a:gd name="connsiteX1156" fmla="*/ 5470 w 10785"/>
                <a:gd name="connsiteY1156" fmla="*/ 1889 h 10000"/>
                <a:gd name="connsiteX1157" fmla="*/ 5465 w 10785"/>
                <a:gd name="connsiteY1157" fmla="*/ 1897 h 10000"/>
                <a:gd name="connsiteX1158" fmla="*/ 5456 w 10785"/>
                <a:gd name="connsiteY1158" fmla="*/ 1872 h 10000"/>
                <a:gd name="connsiteX1159" fmla="*/ 5447 w 10785"/>
                <a:gd name="connsiteY1159" fmla="*/ 1872 h 10000"/>
                <a:gd name="connsiteX1160" fmla="*/ 5433 w 10785"/>
                <a:gd name="connsiteY1160" fmla="*/ 1855 h 10000"/>
                <a:gd name="connsiteX1161" fmla="*/ 5396 w 10785"/>
                <a:gd name="connsiteY1161" fmla="*/ 1863 h 10000"/>
                <a:gd name="connsiteX1162" fmla="*/ 5396 w 10785"/>
                <a:gd name="connsiteY1162" fmla="*/ 1897 h 10000"/>
                <a:gd name="connsiteX1163" fmla="*/ 5378 w 10785"/>
                <a:gd name="connsiteY1163" fmla="*/ 1949 h 10000"/>
                <a:gd name="connsiteX1164" fmla="*/ 5378 w 10785"/>
                <a:gd name="connsiteY1164" fmla="*/ 1966 h 10000"/>
                <a:gd name="connsiteX1165" fmla="*/ 5392 w 10785"/>
                <a:gd name="connsiteY1165" fmla="*/ 2026 h 10000"/>
                <a:gd name="connsiteX1166" fmla="*/ 5396 w 10785"/>
                <a:gd name="connsiteY1166" fmla="*/ 2026 h 10000"/>
                <a:gd name="connsiteX1167" fmla="*/ 5392 w 10785"/>
                <a:gd name="connsiteY1167" fmla="*/ 2009 h 10000"/>
                <a:gd name="connsiteX1168" fmla="*/ 5392 w 10785"/>
                <a:gd name="connsiteY1168" fmla="*/ 2000 h 10000"/>
                <a:gd name="connsiteX1169" fmla="*/ 5396 w 10785"/>
                <a:gd name="connsiteY1169" fmla="*/ 2009 h 10000"/>
                <a:gd name="connsiteX1170" fmla="*/ 5424 w 10785"/>
                <a:gd name="connsiteY1170" fmla="*/ 2009 h 10000"/>
                <a:gd name="connsiteX1171" fmla="*/ 5433 w 10785"/>
                <a:gd name="connsiteY1171" fmla="*/ 1991 h 10000"/>
                <a:gd name="connsiteX1172" fmla="*/ 5447 w 10785"/>
                <a:gd name="connsiteY1172" fmla="*/ 1974 h 10000"/>
                <a:gd name="connsiteX1173" fmla="*/ 5452 w 10785"/>
                <a:gd name="connsiteY1173" fmla="*/ 1966 h 10000"/>
                <a:gd name="connsiteX1174" fmla="*/ 5456 w 10785"/>
                <a:gd name="connsiteY1174" fmla="*/ 1966 h 10000"/>
                <a:gd name="connsiteX1175" fmla="*/ 5465 w 10785"/>
                <a:gd name="connsiteY1175" fmla="*/ 2009 h 10000"/>
                <a:gd name="connsiteX1176" fmla="*/ 5433 w 10785"/>
                <a:gd name="connsiteY1176" fmla="*/ 2034 h 10000"/>
                <a:gd name="connsiteX1177" fmla="*/ 5424 w 10785"/>
                <a:gd name="connsiteY1177" fmla="*/ 2060 h 10000"/>
                <a:gd name="connsiteX1178" fmla="*/ 5419 w 10785"/>
                <a:gd name="connsiteY1178" fmla="*/ 2060 h 10000"/>
                <a:gd name="connsiteX1179" fmla="*/ 5392 w 10785"/>
                <a:gd name="connsiteY1179" fmla="*/ 2111 h 10000"/>
                <a:gd name="connsiteX1180" fmla="*/ 5378 w 10785"/>
                <a:gd name="connsiteY1180" fmla="*/ 2111 h 10000"/>
                <a:gd name="connsiteX1181" fmla="*/ 5350 w 10785"/>
                <a:gd name="connsiteY1181" fmla="*/ 2060 h 10000"/>
                <a:gd name="connsiteX1182" fmla="*/ 5373 w 10785"/>
                <a:gd name="connsiteY1182" fmla="*/ 2111 h 10000"/>
                <a:gd name="connsiteX1183" fmla="*/ 5364 w 10785"/>
                <a:gd name="connsiteY1183" fmla="*/ 2111 h 10000"/>
                <a:gd name="connsiteX1184" fmla="*/ 5359 w 10785"/>
                <a:gd name="connsiteY1184" fmla="*/ 2103 h 10000"/>
                <a:gd name="connsiteX1185" fmla="*/ 5359 w 10785"/>
                <a:gd name="connsiteY1185" fmla="*/ 2120 h 10000"/>
                <a:gd name="connsiteX1186" fmla="*/ 5359 w 10785"/>
                <a:gd name="connsiteY1186" fmla="*/ 2137 h 10000"/>
                <a:gd name="connsiteX1187" fmla="*/ 5313 w 10785"/>
                <a:gd name="connsiteY1187" fmla="*/ 2162 h 10000"/>
                <a:gd name="connsiteX1188" fmla="*/ 5300 w 10785"/>
                <a:gd name="connsiteY1188" fmla="*/ 2162 h 10000"/>
                <a:gd name="connsiteX1189" fmla="*/ 5300 w 10785"/>
                <a:gd name="connsiteY1189" fmla="*/ 2171 h 10000"/>
                <a:gd name="connsiteX1190" fmla="*/ 5300 w 10785"/>
                <a:gd name="connsiteY1190" fmla="*/ 2197 h 10000"/>
                <a:gd name="connsiteX1191" fmla="*/ 5276 w 10785"/>
                <a:gd name="connsiteY1191" fmla="*/ 2188 h 10000"/>
                <a:gd name="connsiteX1192" fmla="*/ 5249 w 10785"/>
                <a:gd name="connsiteY1192" fmla="*/ 2222 h 10000"/>
                <a:gd name="connsiteX1193" fmla="*/ 5249 w 10785"/>
                <a:gd name="connsiteY1193" fmla="*/ 2222 h 10000"/>
                <a:gd name="connsiteX1194" fmla="*/ 5217 w 10785"/>
                <a:gd name="connsiteY1194" fmla="*/ 2214 h 10000"/>
                <a:gd name="connsiteX1195" fmla="*/ 5203 w 10785"/>
                <a:gd name="connsiteY1195" fmla="*/ 2239 h 10000"/>
                <a:gd name="connsiteX1196" fmla="*/ 5171 w 10785"/>
                <a:gd name="connsiteY1196" fmla="*/ 2214 h 10000"/>
                <a:gd name="connsiteX1197" fmla="*/ 5157 w 10785"/>
                <a:gd name="connsiteY1197" fmla="*/ 2239 h 10000"/>
                <a:gd name="connsiteX1198" fmla="*/ 5166 w 10785"/>
                <a:gd name="connsiteY1198" fmla="*/ 2256 h 10000"/>
                <a:gd name="connsiteX1199" fmla="*/ 5171 w 10785"/>
                <a:gd name="connsiteY1199" fmla="*/ 2308 h 10000"/>
                <a:gd name="connsiteX1200" fmla="*/ 5212 w 10785"/>
                <a:gd name="connsiteY1200" fmla="*/ 2350 h 10000"/>
                <a:gd name="connsiteX1201" fmla="*/ 5203 w 10785"/>
                <a:gd name="connsiteY1201" fmla="*/ 2350 h 10000"/>
                <a:gd name="connsiteX1202" fmla="*/ 5166 w 10785"/>
                <a:gd name="connsiteY1202" fmla="*/ 2325 h 10000"/>
                <a:gd name="connsiteX1203" fmla="*/ 5152 w 10785"/>
                <a:gd name="connsiteY1203" fmla="*/ 2308 h 10000"/>
                <a:gd name="connsiteX1204" fmla="*/ 5143 w 10785"/>
                <a:gd name="connsiteY1204" fmla="*/ 2333 h 10000"/>
                <a:gd name="connsiteX1205" fmla="*/ 5138 w 10785"/>
                <a:gd name="connsiteY1205" fmla="*/ 2333 h 10000"/>
                <a:gd name="connsiteX1206" fmla="*/ 5124 w 10785"/>
                <a:gd name="connsiteY1206" fmla="*/ 2376 h 10000"/>
                <a:gd name="connsiteX1207" fmla="*/ 5115 w 10785"/>
                <a:gd name="connsiteY1207" fmla="*/ 2385 h 10000"/>
                <a:gd name="connsiteX1208" fmla="*/ 5106 w 10785"/>
                <a:gd name="connsiteY1208" fmla="*/ 2385 h 10000"/>
                <a:gd name="connsiteX1209" fmla="*/ 5055 w 10785"/>
                <a:gd name="connsiteY1209" fmla="*/ 2470 h 10000"/>
                <a:gd name="connsiteX1210" fmla="*/ 5065 w 10785"/>
                <a:gd name="connsiteY1210" fmla="*/ 2462 h 10000"/>
                <a:gd name="connsiteX1211" fmla="*/ 5055 w 10785"/>
                <a:gd name="connsiteY1211" fmla="*/ 2444 h 10000"/>
                <a:gd name="connsiteX1212" fmla="*/ 5041 w 10785"/>
                <a:gd name="connsiteY1212" fmla="*/ 2462 h 10000"/>
                <a:gd name="connsiteX1213" fmla="*/ 5037 w 10785"/>
                <a:gd name="connsiteY1213" fmla="*/ 2470 h 10000"/>
                <a:gd name="connsiteX1214" fmla="*/ 5032 w 10785"/>
                <a:gd name="connsiteY1214" fmla="*/ 2470 h 10000"/>
                <a:gd name="connsiteX1215" fmla="*/ 5032 w 10785"/>
                <a:gd name="connsiteY1215" fmla="*/ 2444 h 10000"/>
                <a:gd name="connsiteX1216" fmla="*/ 5055 w 10785"/>
                <a:gd name="connsiteY1216" fmla="*/ 2410 h 10000"/>
                <a:gd name="connsiteX1217" fmla="*/ 5065 w 10785"/>
                <a:gd name="connsiteY1217" fmla="*/ 2393 h 10000"/>
                <a:gd name="connsiteX1218" fmla="*/ 5069 w 10785"/>
                <a:gd name="connsiteY1218" fmla="*/ 2385 h 10000"/>
                <a:gd name="connsiteX1219" fmla="*/ 5083 w 10785"/>
                <a:gd name="connsiteY1219" fmla="*/ 2376 h 10000"/>
                <a:gd name="connsiteX1220" fmla="*/ 5097 w 10785"/>
                <a:gd name="connsiteY1220" fmla="*/ 2376 h 10000"/>
                <a:gd name="connsiteX1221" fmla="*/ 5124 w 10785"/>
                <a:gd name="connsiteY1221" fmla="*/ 2325 h 10000"/>
                <a:gd name="connsiteX1222" fmla="*/ 5143 w 10785"/>
                <a:gd name="connsiteY1222" fmla="*/ 2248 h 10000"/>
                <a:gd name="connsiteX1223" fmla="*/ 5152 w 10785"/>
                <a:gd name="connsiteY1223" fmla="*/ 2239 h 10000"/>
                <a:gd name="connsiteX1224" fmla="*/ 5166 w 10785"/>
                <a:gd name="connsiteY1224" fmla="*/ 2162 h 10000"/>
                <a:gd name="connsiteX1225" fmla="*/ 5171 w 10785"/>
                <a:gd name="connsiteY1225" fmla="*/ 2171 h 10000"/>
                <a:gd name="connsiteX1226" fmla="*/ 5198 w 10785"/>
                <a:gd name="connsiteY1226" fmla="*/ 2145 h 10000"/>
                <a:gd name="connsiteX1227" fmla="*/ 5203 w 10785"/>
                <a:gd name="connsiteY1227" fmla="*/ 2111 h 10000"/>
                <a:gd name="connsiteX1228" fmla="*/ 5217 w 10785"/>
                <a:gd name="connsiteY1228" fmla="*/ 2060 h 10000"/>
                <a:gd name="connsiteX1229" fmla="*/ 5226 w 10785"/>
                <a:gd name="connsiteY1229" fmla="*/ 2026 h 10000"/>
                <a:gd name="connsiteX1230" fmla="*/ 5286 w 10785"/>
                <a:gd name="connsiteY1230" fmla="*/ 2026 h 10000"/>
                <a:gd name="connsiteX1231" fmla="*/ 5290 w 10785"/>
                <a:gd name="connsiteY1231" fmla="*/ 2034 h 10000"/>
                <a:gd name="connsiteX1232" fmla="*/ 5323 w 10785"/>
                <a:gd name="connsiteY1232" fmla="*/ 1923 h 10000"/>
                <a:gd name="connsiteX1233" fmla="*/ 5323 w 10785"/>
                <a:gd name="connsiteY1233" fmla="*/ 1889 h 10000"/>
                <a:gd name="connsiteX1234" fmla="*/ 5359 w 10785"/>
                <a:gd name="connsiteY1234" fmla="*/ 1829 h 10000"/>
                <a:gd name="connsiteX1235" fmla="*/ 5378 w 10785"/>
                <a:gd name="connsiteY1235" fmla="*/ 1812 h 10000"/>
                <a:gd name="connsiteX1236" fmla="*/ 5406 w 10785"/>
                <a:gd name="connsiteY1236" fmla="*/ 1752 h 10000"/>
                <a:gd name="connsiteX1237" fmla="*/ 5410 w 10785"/>
                <a:gd name="connsiteY1237" fmla="*/ 1718 h 10000"/>
                <a:gd name="connsiteX1238" fmla="*/ 5438 w 10785"/>
                <a:gd name="connsiteY1238" fmla="*/ 1667 h 10000"/>
                <a:gd name="connsiteX1239" fmla="*/ 5438 w 10785"/>
                <a:gd name="connsiteY1239" fmla="*/ 1650 h 10000"/>
                <a:gd name="connsiteX1240" fmla="*/ 5438 w 10785"/>
                <a:gd name="connsiteY1240" fmla="*/ 1641 h 10000"/>
                <a:gd name="connsiteX1241" fmla="*/ 5452 w 10785"/>
                <a:gd name="connsiteY1241" fmla="*/ 1641 h 10000"/>
                <a:gd name="connsiteX1242" fmla="*/ 5456 w 10785"/>
                <a:gd name="connsiteY1242" fmla="*/ 1615 h 10000"/>
                <a:gd name="connsiteX1243" fmla="*/ 5456 w 10785"/>
                <a:gd name="connsiteY1243" fmla="*/ 1615 h 10000"/>
                <a:gd name="connsiteX1244" fmla="*/ 5465 w 10785"/>
                <a:gd name="connsiteY1244" fmla="*/ 1598 h 10000"/>
                <a:gd name="connsiteX1245" fmla="*/ 5465 w 10785"/>
                <a:gd name="connsiteY1245" fmla="*/ 1615 h 10000"/>
                <a:gd name="connsiteX1246" fmla="*/ 5479 w 10785"/>
                <a:gd name="connsiteY1246" fmla="*/ 1598 h 10000"/>
                <a:gd name="connsiteX1247" fmla="*/ 5484 w 10785"/>
                <a:gd name="connsiteY1247" fmla="*/ 1581 h 10000"/>
                <a:gd name="connsiteX1248" fmla="*/ 5493 w 10785"/>
                <a:gd name="connsiteY1248" fmla="*/ 1581 h 10000"/>
                <a:gd name="connsiteX1249" fmla="*/ 5512 w 10785"/>
                <a:gd name="connsiteY1249" fmla="*/ 1538 h 10000"/>
                <a:gd name="connsiteX1250" fmla="*/ 5530 w 10785"/>
                <a:gd name="connsiteY1250" fmla="*/ 1564 h 10000"/>
                <a:gd name="connsiteX1251" fmla="*/ 5530 w 10785"/>
                <a:gd name="connsiteY1251" fmla="*/ 1538 h 10000"/>
                <a:gd name="connsiteX1252" fmla="*/ 5539 w 10785"/>
                <a:gd name="connsiteY1252" fmla="*/ 1530 h 10000"/>
                <a:gd name="connsiteX1253" fmla="*/ 5530 w 10785"/>
                <a:gd name="connsiteY1253" fmla="*/ 1504 h 10000"/>
                <a:gd name="connsiteX1254" fmla="*/ 5567 w 10785"/>
                <a:gd name="connsiteY1254" fmla="*/ 1479 h 10000"/>
                <a:gd name="connsiteX1255" fmla="*/ 5553 w 10785"/>
                <a:gd name="connsiteY1255" fmla="*/ 1479 h 10000"/>
                <a:gd name="connsiteX1256" fmla="*/ 5553 w 10785"/>
                <a:gd name="connsiteY1256" fmla="*/ 1453 h 10000"/>
                <a:gd name="connsiteX1257" fmla="*/ 5581 w 10785"/>
                <a:gd name="connsiteY1257" fmla="*/ 1444 h 10000"/>
                <a:gd name="connsiteX1258" fmla="*/ 5581 w 10785"/>
                <a:gd name="connsiteY1258" fmla="*/ 1453 h 10000"/>
                <a:gd name="connsiteX1259" fmla="*/ 5585 w 10785"/>
                <a:gd name="connsiteY1259" fmla="*/ 1444 h 10000"/>
                <a:gd name="connsiteX1260" fmla="*/ 5594 w 10785"/>
                <a:gd name="connsiteY1260" fmla="*/ 1427 h 10000"/>
                <a:gd name="connsiteX1261" fmla="*/ 5599 w 10785"/>
                <a:gd name="connsiteY1261" fmla="*/ 1419 h 10000"/>
                <a:gd name="connsiteX1262" fmla="*/ 5594 w 10785"/>
                <a:gd name="connsiteY1262" fmla="*/ 1402 h 10000"/>
                <a:gd name="connsiteX1263" fmla="*/ 5604 w 10785"/>
                <a:gd name="connsiteY1263" fmla="*/ 1393 h 10000"/>
                <a:gd name="connsiteX1264" fmla="*/ 5618 w 10785"/>
                <a:gd name="connsiteY1264" fmla="*/ 1393 h 10000"/>
                <a:gd name="connsiteX1265" fmla="*/ 5627 w 10785"/>
                <a:gd name="connsiteY1265" fmla="*/ 1368 h 10000"/>
                <a:gd name="connsiteX1266" fmla="*/ 5627 w 10785"/>
                <a:gd name="connsiteY1266" fmla="*/ 1325 h 10000"/>
                <a:gd name="connsiteX1267" fmla="*/ 5645 w 10785"/>
                <a:gd name="connsiteY1267" fmla="*/ 1291 h 10000"/>
                <a:gd name="connsiteX1268" fmla="*/ 5645 w 10785"/>
                <a:gd name="connsiteY1268" fmla="*/ 1282 h 10000"/>
                <a:gd name="connsiteX1269" fmla="*/ 5654 w 10785"/>
                <a:gd name="connsiteY1269" fmla="*/ 1265 h 10000"/>
                <a:gd name="connsiteX1270" fmla="*/ 5654 w 10785"/>
                <a:gd name="connsiteY1270" fmla="*/ 1214 h 10000"/>
                <a:gd name="connsiteX1271" fmla="*/ 5654 w 10785"/>
                <a:gd name="connsiteY1271" fmla="*/ 1214 h 10000"/>
                <a:gd name="connsiteX1272" fmla="*/ 5645 w 10785"/>
                <a:gd name="connsiteY1272" fmla="*/ 1197 h 10000"/>
                <a:gd name="connsiteX1273" fmla="*/ 5659 w 10785"/>
                <a:gd name="connsiteY1273" fmla="*/ 1197 h 10000"/>
                <a:gd name="connsiteX1274" fmla="*/ 5654 w 10785"/>
                <a:gd name="connsiteY1274" fmla="*/ 1154 h 10000"/>
                <a:gd name="connsiteX1275" fmla="*/ 5641 w 10785"/>
                <a:gd name="connsiteY1275" fmla="*/ 1154 h 10000"/>
                <a:gd name="connsiteX1276" fmla="*/ 5627 w 10785"/>
                <a:gd name="connsiteY1276" fmla="*/ 1128 h 10000"/>
                <a:gd name="connsiteX1277" fmla="*/ 5618 w 10785"/>
                <a:gd name="connsiteY1277" fmla="*/ 1094 h 10000"/>
                <a:gd name="connsiteX1278" fmla="*/ 5613 w 10785"/>
                <a:gd name="connsiteY1278" fmla="*/ 1094 h 10000"/>
                <a:gd name="connsiteX1279" fmla="*/ 5604 w 10785"/>
                <a:gd name="connsiteY1279" fmla="*/ 1120 h 10000"/>
                <a:gd name="connsiteX1280" fmla="*/ 5604 w 10785"/>
                <a:gd name="connsiteY1280" fmla="*/ 1128 h 10000"/>
                <a:gd name="connsiteX1281" fmla="*/ 5599 w 10785"/>
                <a:gd name="connsiteY1281" fmla="*/ 1103 h 10000"/>
                <a:gd name="connsiteX1282" fmla="*/ 5599 w 10785"/>
                <a:gd name="connsiteY1282" fmla="*/ 1103 h 10000"/>
                <a:gd name="connsiteX1283" fmla="*/ 5594 w 10785"/>
                <a:gd name="connsiteY1283" fmla="*/ 1068 h 10000"/>
                <a:gd name="connsiteX1284" fmla="*/ 5594 w 10785"/>
                <a:gd name="connsiteY1284" fmla="*/ 1060 h 10000"/>
                <a:gd name="connsiteX1285" fmla="*/ 5581 w 10785"/>
                <a:gd name="connsiteY1285" fmla="*/ 1034 h 10000"/>
                <a:gd name="connsiteX1286" fmla="*/ 5571 w 10785"/>
                <a:gd name="connsiteY1286" fmla="*/ 1009 h 10000"/>
                <a:gd name="connsiteX1287" fmla="*/ 5571 w 10785"/>
                <a:gd name="connsiteY1287" fmla="*/ 991 h 10000"/>
                <a:gd name="connsiteX1288" fmla="*/ 5585 w 10785"/>
                <a:gd name="connsiteY1288" fmla="*/ 1009 h 10000"/>
                <a:gd name="connsiteX1289" fmla="*/ 5604 w 10785"/>
                <a:gd name="connsiteY1289" fmla="*/ 1043 h 10000"/>
                <a:gd name="connsiteX1290" fmla="*/ 5641 w 10785"/>
                <a:gd name="connsiteY1290" fmla="*/ 1094 h 10000"/>
                <a:gd name="connsiteX1291" fmla="*/ 5631 w 10785"/>
                <a:gd name="connsiteY1291" fmla="*/ 1128 h 10000"/>
                <a:gd name="connsiteX1292" fmla="*/ 5641 w 10785"/>
                <a:gd name="connsiteY1292" fmla="*/ 1128 h 10000"/>
                <a:gd name="connsiteX1293" fmla="*/ 5659 w 10785"/>
                <a:gd name="connsiteY1293" fmla="*/ 1017 h 10000"/>
                <a:gd name="connsiteX1294" fmla="*/ 5659 w 10785"/>
                <a:gd name="connsiteY1294" fmla="*/ 983 h 10000"/>
                <a:gd name="connsiteX1295" fmla="*/ 5659 w 10785"/>
                <a:gd name="connsiteY1295" fmla="*/ 957 h 10000"/>
                <a:gd name="connsiteX1296" fmla="*/ 5654 w 10785"/>
                <a:gd name="connsiteY1296" fmla="*/ 966 h 10000"/>
                <a:gd name="connsiteX1297" fmla="*/ 5641 w 10785"/>
                <a:gd name="connsiteY1297" fmla="*/ 957 h 10000"/>
                <a:gd name="connsiteX1298" fmla="*/ 5631 w 10785"/>
                <a:gd name="connsiteY1298" fmla="*/ 897 h 10000"/>
                <a:gd name="connsiteX1299" fmla="*/ 5641 w 10785"/>
                <a:gd name="connsiteY1299" fmla="*/ 872 h 10000"/>
                <a:gd name="connsiteX1300" fmla="*/ 5618 w 10785"/>
                <a:gd name="connsiteY1300" fmla="*/ 803 h 10000"/>
                <a:gd name="connsiteX1301" fmla="*/ 5604 w 10785"/>
                <a:gd name="connsiteY1301" fmla="*/ 821 h 10000"/>
                <a:gd name="connsiteX1302" fmla="*/ 5613 w 10785"/>
                <a:gd name="connsiteY1302" fmla="*/ 846 h 10000"/>
                <a:gd name="connsiteX1303" fmla="*/ 5604 w 10785"/>
                <a:gd name="connsiteY1303" fmla="*/ 855 h 10000"/>
                <a:gd name="connsiteX1304" fmla="*/ 5599 w 10785"/>
                <a:gd name="connsiteY1304" fmla="*/ 880 h 10000"/>
                <a:gd name="connsiteX1305" fmla="*/ 5594 w 10785"/>
                <a:gd name="connsiteY1305" fmla="*/ 880 h 10000"/>
                <a:gd name="connsiteX1306" fmla="*/ 5585 w 10785"/>
                <a:gd name="connsiteY1306" fmla="*/ 829 h 10000"/>
                <a:gd name="connsiteX1307" fmla="*/ 5571 w 10785"/>
                <a:gd name="connsiteY1307" fmla="*/ 803 h 10000"/>
                <a:gd name="connsiteX1308" fmla="*/ 5585 w 10785"/>
                <a:gd name="connsiteY1308" fmla="*/ 795 h 10000"/>
                <a:gd name="connsiteX1309" fmla="*/ 5585 w 10785"/>
                <a:gd name="connsiteY1309" fmla="*/ 761 h 10000"/>
                <a:gd name="connsiteX1310" fmla="*/ 5558 w 10785"/>
                <a:gd name="connsiteY1310" fmla="*/ 709 h 10000"/>
                <a:gd name="connsiteX1311" fmla="*/ 5544 w 10785"/>
                <a:gd name="connsiteY1311" fmla="*/ 709 h 10000"/>
                <a:gd name="connsiteX1312" fmla="*/ 5544 w 10785"/>
                <a:gd name="connsiteY1312" fmla="*/ 684 h 10000"/>
                <a:gd name="connsiteX1313" fmla="*/ 5525 w 10785"/>
                <a:gd name="connsiteY1313" fmla="*/ 632 h 10000"/>
                <a:gd name="connsiteX1314" fmla="*/ 5507 w 10785"/>
                <a:gd name="connsiteY1314" fmla="*/ 607 h 10000"/>
                <a:gd name="connsiteX1315" fmla="*/ 5512 w 10785"/>
                <a:gd name="connsiteY1315" fmla="*/ 598 h 10000"/>
                <a:gd name="connsiteX1316" fmla="*/ 5507 w 10785"/>
                <a:gd name="connsiteY1316" fmla="*/ 581 h 10000"/>
                <a:gd name="connsiteX1317" fmla="*/ 5493 w 10785"/>
                <a:gd name="connsiteY1317" fmla="*/ 573 h 10000"/>
                <a:gd name="connsiteX1318" fmla="*/ 5484 w 10785"/>
                <a:gd name="connsiteY1318" fmla="*/ 581 h 10000"/>
                <a:gd name="connsiteX1319" fmla="*/ 5484 w 10785"/>
                <a:gd name="connsiteY1319" fmla="*/ 573 h 10000"/>
                <a:gd name="connsiteX1320" fmla="*/ 5484 w 10785"/>
                <a:gd name="connsiteY1320" fmla="*/ 547 h 10000"/>
                <a:gd name="connsiteX1321" fmla="*/ 5465 w 10785"/>
                <a:gd name="connsiteY1321" fmla="*/ 556 h 10000"/>
                <a:gd name="connsiteX1322" fmla="*/ 5433 w 10785"/>
                <a:gd name="connsiteY1322" fmla="*/ 547 h 10000"/>
                <a:gd name="connsiteX1323" fmla="*/ 5410 w 10785"/>
                <a:gd name="connsiteY1323" fmla="*/ 573 h 10000"/>
                <a:gd name="connsiteX1324" fmla="*/ 5406 w 10785"/>
                <a:gd name="connsiteY1324" fmla="*/ 573 h 10000"/>
                <a:gd name="connsiteX1325" fmla="*/ 5392 w 10785"/>
                <a:gd name="connsiteY1325" fmla="*/ 573 h 10000"/>
                <a:gd name="connsiteX1326" fmla="*/ 5364 w 10785"/>
                <a:gd name="connsiteY1326" fmla="*/ 530 h 10000"/>
                <a:gd name="connsiteX1327" fmla="*/ 5350 w 10785"/>
                <a:gd name="connsiteY1327" fmla="*/ 556 h 10000"/>
                <a:gd name="connsiteX1328" fmla="*/ 5346 w 10785"/>
                <a:gd name="connsiteY1328" fmla="*/ 556 h 10000"/>
                <a:gd name="connsiteX1329" fmla="*/ 5313 w 10785"/>
                <a:gd name="connsiteY1329" fmla="*/ 573 h 10000"/>
                <a:gd name="connsiteX1330" fmla="*/ 5304 w 10785"/>
                <a:gd name="connsiteY1330" fmla="*/ 556 h 10000"/>
                <a:gd name="connsiteX1331" fmla="*/ 5290 w 10785"/>
                <a:gd name="connsiteY1331" fmla="*/ 573 h 10000"/>
                <a:gd name="connsiteX1332" fmla="*/ 5290 w 10785"/>
                <a:gd name="connsiteY1332" fmla="*/ 556 h 10000"/>
                <a:gd name="connsiteX1333" fmla="*/ 5300 w 10785"/>
                <a:gd name="connsiteY1333" fmla="*/ 547 h 10000"/>
                <a:gd name="connsiteX1334" fmla="*/ 5300 w 10785"/>
                <a:gd name="connsiteY1334" fmla="*/ 530 h 10000"/>
                <a:gd name="connsiteX1335" fmla="*/ 5290 w 10785"/>
                <a:gd name="connsiteY1335" fmla="*/ 530 h 10000"/>
                <a:gd name="connsiteX1336" fmla="*/ 5286 w 10785"/>
                <a:gd name="connsiteY1336" fmla="*/ 547 h 10000"/>
                <a:gd name="connsiteX1337" fmla="*/ 5272 w 10785"/>
                <a:gd name="connsiteY1337" fmla="*/ 556 h 10000"/>
                <a:gd name="connsiteX1338" fmla="*/ 5272 w 10785"/>
                <a:gd name="connsiteY1338" fmla="*/ 598 h 10000"/>
                <a:gd name="connsiteX1339" fmla="*/ 5276 w 10785"/>
                <a:gd name="connsiteY1339" fmla="*/ 581 h 10000"/>
                <a:gd name="connsiteX1340" fmla="*/ 5272 w 10785"/>
                <a:gd name="connsiteY1340" fmla="*/ 607 h 10000"/>
                <a:gd name="connsiteX1341" fmla="*/ 5263 w 10785"/>
                <a:gd name="connsiteY1341" fmla="*/ 607 h 10000"/>
                <a:gd name="connsiteX1342" fmla="*/ 5263 w 10785"/>
                <a:gd name="connsiteY1342" fmla="*/ 632 h 10000"/>
                <a:gd name="connsiteX1343" fmla="*/ 5258 w 10785"/>
                <a:gd name="connsiteY1343" fmla="*/ 658 h 10000"/>
                <a:gd name="connsiteX1344" fmla="*/ 5244 w 10785"/>
                <a:gd name="connsiteY1344" fmla="*/ 667 h 10000"/>
                <a:gd name="connsiteX1345" fmla="*/ 5240 w 10785"/>
                <a:gd name="connsiteY1345" fmla="*/ 658 h 10000"/>
                <a:gd name="connsiteX1346" fmla="*/ 5240 w 10785"/>
                <a:gd name="connsiteY1346" fmla="*/ 684 h 10000"/>
                <a:gd name="connsiteX1347" fmla="*/ 5212 w 10785"/>
                <a:gd name="connsiteY1347" fmla="*/ 684 h 10000"/>
                <a:gd name="connsiteX1348" fmla="*/ 5198 w 10785"/>
                <a:gd name="connsiteY1348" fmla="*/ 692 h 10000"/>
                <a:gd name="connsiteX1349" fmla="*/ 5184 w 10785"/>
                <a:gd name="connsiteY1349" fmla="*/ 684 h 10000"/>
                <a:gd name="connsiteX1350" fmla="*/ 5157 w 10785"/>
                <a:gd name="connsiteY1350" fmla="*/ 684 h 10000"/>
                <a:gd name="connsiteX1351" fmla="*/ 5157 w 10785"/>
                <a:gd name="connsiteY1351" fmla="*/ 667 h 10000"/>
                <a:gd name="connsiteX1352" fmla="*/ 5157 w 10785"/>
                <a:gd name="connsiteY1352" fmla="*/ 667 h 10000"/>
                <a:gd name="connsiteX1353" fmla="*/ 5180 w 10785"/>
                <a:gd name="connsiteY1353" fmla="*/ 650 h 10000"/>
                <a:gd name="connsiteX1354" fmla="*/ 5184 w 10785"/>
                <a:gd name="connsiteY1354" fmla="*/ 658 h 10000"/>
                <a:gd name="connsiteX1355" fmla="*/ 5203 w 10785"/>
                <a:gd name="connsiteY1355" fmla="*/ 547 h 10000"/>
                <a:gd name="connsiteX1356" fmla="*/ 5226 w 10785"/>
                <a:gd name="connsiteY1356" fmla="*/ 530 h 10000"/>
                <a:gd name="connsiteX1357" fmla="*/ 5230 w 10785"/>
                <a:gd name="connsiteY1357" fmla="*/ 487 h 10000"/>
                <a:gd name="connsiteX1358" fmla="*/ 5230 w 10785"/>
                <a:gd name="connsiteY1358" fmla="*/ 487 h 10000"/>
                <a:gd name="connsiteX1359" fmla="*/ 5226 w 10785"/>
                <a:gd name="connsiteY1359" fmla="*/ 462 h 10000"/>
                <a:gd name="connsiteX1360" fmla="*/ 5226 w 10785"/>
                <a:gd name="connsiteY1360" fmla="*/ 462 h 10000"/>
                <a:gd name="connsiteX1361" fmla="*/ 5240 w 10785"/>
                <a:gd name="connsiteY1361" fmla="*/ 462 h 10000"/>
                <a:gd name="connsiteX1362" fmla="*/ 5240 w 10785"/>
                <a:gd name="connsiteY1362" fmla="*/ 444 h 10000"/>
                <a:gd name="connsiteX1363" fmla="*/ 5230 w 10785"/>
                <a:gd name="connsiteY1363" fmla="*/ 436 h 10000"/>
                <a:gd name="connsiteX1364" fmla="*/ 5230 w 10785"/>
                <a:gd name="connsiteY1364" fmla="*/ 419 h 10000"/>
                <a:gd name="connsiteX1365" fmla="*/ 5230 w 10785"/>
                <a:gd name="connsiteY1365" fmla="*/ 410 h 10000"/>
                <a:gd name="connsiteX1366" fmla="*/ 5198 w 10785"/>
                <a:gd name="connsiteY1366" fmla="*/ 402 h 10000"/>
                <a:gd name="connsiteX1367" fmla="*/ 5189 w 10785"/>
                <a:gd name="connsiteY1367" fmla="*/ 402 h 10000"/>
                <a:gd name="connsiteX1368" fmla="*/ 5184 w 10785"/>
                <a:gd name="connsiteY1368" fmla="*/ 376 h 10000"/>
                <a:gd name="connsiteX1369" fmla="*/ 5180 w 10785"/>
                <a:gd name="connsiteY1369" fmla="*/ 376 h 10000"/>
                <a:gd name="connsiteX1370" fmla="*/ 5166 w 10785"/>
                <a:gd name="connsiteY1370" fmla="*/ 376 h 10000"/>
                <a:gd name="connsiteX1371" fmla="*/ 5157 w 10785"/>
                <a:gd name="connsiteY1371" fmla="*/ 385 h 10000"/>
                <a:gd name="connsiteX1372" fmla="*/ 5152 w 10785"/>
                <a:gd name="connsiteY1372" fmla="*/ 376 h 10000"/>
                <a:gd name="connsiteX1373" fmla="*/ 5129 w 10785"/>
                <a:gd name="connsiteY1373" fmla="*/ 385 h 10000"/>
                <a:gd name="connsiteX1374" fmla="*/ 5129 w 10785"/>
                <a:gd name="connsiteY1374" fmla="*/ 350 h 10000"/>
                <a:gd name="connsiteX1375" fmla="*/ 5129 w 10785"/>
                <a:gd name="connsiteY1375" fmla="*/ 325 h 10000"/>
                <a:gd name="connsiteX1376" fmla="*/ 5124 w 10785"/>
                <a:gd name="connsiteY1376" fmla="*/ 359 h 10000"/>
                <a:gd name="connsiteX1377" fmla="*/ 5106 w 10785"/>
                <a:gd name="connsiteY1377" fmla="*/ 359 h 10000"/>
                <a:gd name="connsiteX1378" fmla="*/ 5037 w 10785"/>
                <a:gd name="connsiteY1378" fmla="*/ 419 h 10000"/>
                <a:gd name="connsiteX1379" fmla="*/ 5051 w 10785"/>
                <a:gd name="connsiteY1379" fmla="*/ 385 h 10000"/>
                <a:gd name="connsiteX1380" fmla="*/ 5055 w 10785"/>
                <a:gd name="connsiteY1380" fmla="*/ 376 h 10000"/>
                <a:gd name="connsiteX1381" fmla="*/ 5092 w 10785"/>
                <a:gd name="connsiteY1381" fmla="*/ 282 h 10000"/>
                <a:gd name="connsiteX1382" fmla="*/ 5106 w 10785"/>
                <a:gd name="connsiteY1382" fmla="*/ 265 h 10000"/>
                <a:gd name="connsiteX1383" fmla="*/ 5115 w 10785"/>
                <a:gd name="connsiteY1383" fmla="*/ 265 h 10000"/>
                <a:gd name="connsiteX1384" fmla="*/ 5124 w 10785"/>
                <a:gd name="connsiteY1384" fmla="*/ 222 h 10000"/>
                <a:gd name="connsiteX1385" fmla="*/ 5124 w 10785"/>
                <a:gd name="connsiteY1385" fmla="*/ 214 h 10000"/>
                <a:gd name="connsiteX1386" fmla="*/ 5143 w 10785"/>
                <a:gd name="connsiteY1386" fmla="*/ 197 h 10000"/>
                <a:gd name="connsiteX1387" fmla="*/ 5152 w 10785"/>
                <a:gd name="connsiteY1387" fmla="*/ 214 h 10000"/>
                <a:gd name="connsiteX1388" fmla="*/ 5143 w 10785"/>
                <a:gd name="connsiteY1388" fmla="*/ 188 h 10000"/>
                <a:gd name="connsiteX1389" fmla="*/ 5129 w 10785"/>
                <a:gd name="connsiteY1389" fmla="*/ 103 h 10000"/>
                <a:gd name="connsiteX1390" fmla="*/ 5115 w 10785"/>
                <a:gd name="connsiteY1390" fmla="*/ 85 h 10000"/>
                <a:gd name="connsiteX1391" fmla="*/ 5111 w 10785"/>
                <a:gd name="connsiteY1391" fmla="*/ 111 h 10000"/>
                <a:gd name="connsiteX1392" fmla="*/ 5092 w 10785"/>
                <a:gd name="connsiteY1392" fmla="*/ 103 h 10000"/>
                <a:gd name="connsiteX1393" fmla="*/ 5069 w 10785"/>
                <a:gd name="connsiteY1393" fmla="*/ 77 h 10000"/>
                <a:gd name="connsiteX1394" fmla="*/ 5051 w 10785"/>
                <a:gd name="connsiteY1394" fmla="*/ 26 h 10000"/>
                <a:gd name="connsiteX1395" fmla="*/ 5041 w 10785"/>
                <a:gd name="connsiteY1395" fmla="*/ 34 h 10000"/>
                <a:gd name="connsiteX1396" fmla="*/ 5037 w 10785"/>
                <a:gd name="connsiteY1396" fmla="*/ 34 h 10000"/>
                <a:gd name="connsiteX1397" fmla="*/ 5037 w 10785"/>
                <a:gd name="connsiteY1397" fmla="*/ 26 h 10000"/>
                <a:gd name="connsiteX1398" fmla="*/ 5037 w 10785"/>
                <a:gd name="connsiteY1398" fmla="*/ 9 h 10000"/>
                <a:gd name="connsiteX1399" fmla="*/ 5023 w 10785"/>
                <a:gd name="connsiteY1399" fmla="*/ 0 h 10000"/>
                <a:gd name="connsiteX1400" fmla="*/ 5009 w 10785"/>
                <a:gd name="connsiteY1400" fmla="*/ 9 h 10000"/>
                <a:gd name="connsiteX1401" fmla="*/ 4995 w 10785"/>
                <a:gd name="connsiteY1401" fmla="*/ 34 h 10000"/>
                <a:gd name="connsiteX1402" fmla="*/ 4991 w 10785"/>
                <a:gd name="connsiteY1402" fmla="*/ 60 h 10000"/>
                <a:gd name="connsiteX1403" fmla="*/ 4982 w 10785"/>
                <a:gd name="connsiteY1403" fmla="*/ 60 h 10000"/>
                <a:gd name="connsiteX1404" fmla="*/ 4949 w 10785"/>
                <a:gd name="connsiteY1404" fmla="*/ 51 h 10000"/>
                <a:gd name="connsiteX1405" fmla="*/ 4949 w 10785"/>
                <a:gd name="connsiteY1405" fmla="*/ 85 h 10000"/>
                <a:gd name="connsiteX1406" fmla="*/ 4903 w 10785"/>
                <a:gd name="connsiteY1406" fmla="*/ 197 h 10000"/>
                <a:gd name="connsiteX1407" fmla="*/ 4899 w 10785"/>
                <a:gd name="connsiteY1407" fmla="*/ 239 h 10000"/>
                <a:gd name="connsiteX1408" fmla="*/ 4871 w 10785"/>
                <a:gd name="connsiteY1408" fmla="*/ 274 h 10000"/>
                <a:gd name="connsiteX1409" fmla="*/ 4871 w 10785"/>
                <a:gd name="connsiteY1409" fmla="*/ 282 h 10000"/>
                <a:gd name="connsiteX1410" fmla="*/ 4834 w 10785"/>
                <a:gd name="connsiteY1410" fmla="*/ 376 h 10000"/>
                <a:gd name="connsiteX1411" fmla="*/ 4829 w 10785"/>
                <a:gd name="connsiteY1411" fmla="*/ 402 h 10000"/>
                <a:gd name="connsiteX1412" fmla="*/ 4834 w 10785"/>
                <a:gd name="connsiteY1412" fmla="*/ 410 h 10000"/>
                <a:gd name="connsiteX1413" fmla="*/ 4829 w 10785"/>
                <a:gd name="connsiteY1413" fmla="*/ 436 h 10000"/>
                <a:gd name="connsiteX1414" fmla="*/ 4825 w 10785"/>
                <a:gd name="connsiteY1414" fmla="*/ 436 h 10000"/>
                <a:gd name="connsiteX1415" fmla="*/ 4825 w 10785"/>
                <a:gd name="connsiteY1415" fmla="*/ 444 h 10000"/>
                <a:gd name="connsiteX1416" fmla="*/ 4811 w 10785"/>
                <a:gd name="connsiteY1416" fmla="*/ 496 h 10000"/>
                <a:gd name="connsiteX1417" fmla="*/ 4811 w 10785"/>
                <a:gd name="connsiteY1417" fmla="*/ 496 h 10000"/>
                <a:gd name="connsiteX1418" fmla="*/ 4811 w 10785"/>
                <a:gd name="connsiteY1418" fmla="*/ 521 h 10000"/>
                <a:gd name="connsiteX1419" fmla="*/ 4816 w 10785"/>
                <a:gd name="connsiteY1419" fmla="*/ 530 h 10000"/>
                <a:gd name="connsiteX1420" fmla="*/ 4834 w 10785"/>
                <a:gd name="connsiteY1420" fmla="*/ 547 h 10000"/>
                <a:gd name="connsiteX1421" fmla="*/ 4834 w 10785"/>
                <a:gd name="connsiteY1421" fmla="*/ 581 h 10000"/>
                <a:gd name="connsiteX1422" fmla="*/ 4843 w 10785"/>
                <a:gd name="connsiteY1422" fmla="*/ 581 h 10000"/>
                <a:gd name="connsiteX1423" fmla="*/ 4843 w 10785"/>
                <a:gd name="connsiteY1423" fmla="*/ 598 h 10000"/>
                <a:gd name="connsiteX1424" fmla="*/ 4829 w 10785"/>
                <a:gd name="connsiteY1424" fmla="*/ 598 h 10000"/>
                <a:gd name="connsiteX1425" fmla="*/ 4829 w 10785"/>
                <a:gd name="connsiteY1425" fmla="*/ 573 h 10000"/>
                <a:gd name="connsiteX1426" fmla="*/ 4829 w 10785"/>
                <a:gd name="connsiteY1426" fmla="*/ 632 h 10000"/>
                <a:gd name="connsiteX1427" fmla="*/ 4829 w 10785"/>
                <a:gd name="connsiteY1427" fmla="*/ 632 h 10000"/>
                <a:gd name="connsiteX1428" fmla="*/ 4829 w 10785"/>
                <a:gd name="connsiteY1428" fmla="*/ 650 h 10000"/>
                <a:gd name="connsiteX1429" fmla="*/ 4774 w 10785"/>
                <a:gd name="connsiteY1429" fmla="*/ 684 h 10000"/>
                <a:gd name="connsiteX1430" fmla="*/ 4756 w 10785"/>
                <a:gd name="connsiteY1430" fmla="*/ 684 h 10000"/>
                <a:gd name="connsiteX1431" fmla="*/ 4737 w 10785"/>
                <a:gd name="connsiteY1431" fmla="*/ 692 h 10000"/>
                <a:gd name="connsiteX1432" fmla="*/ 4677 w 10785"/>
                <a:gd name="connsiteY1432" fmla="*/ 667 h 10000"/>
                <a:gd name="connsiteX1433" fmla="*/ 4682 w 10785"/>
                <a:gd name="connsiteY1433" fmla="*/ 692 h 10000"/>
                <a:gd name="connsiteX1434" fmla="*/ 4682 w 10785"/>
                <a:gd name="connsiteY1434" fmla="*/ 709 h 10000"/>
                <a:gd name="connsiteX1435" fmla="*/ 4691 w 10785"/>
                <a:gd name="connsiteY1435" fmla="*/ 718 h 10000"/>
                <a:gd name="connsiteX1436" fmla="*/ 4691 w 10785"/>
                <a:gd name="connsiteY1436" fmla="*/ 744 h 10000"/>
                <a:gd name="connsiteX1437" fmla="*/ 4700 w 10785"/>
                <a:gd name="connsiteY1437" fmla="*/ 744 h 10000"/>
                <a:gd name="connsiteX1438" fmla="*/ 4714 w 10785"/>
                <a:gd name="connsiteY1438" fmla="*/ 769 h 10000"/>
                <a:gd name="connsiteX1439" fmla="*/ 4710 w 10785"/>
                <a:gd name="connsiteY1439" fmla="*/ 786 h 10000"/>
                <a:gd name="connsiteX1440" fmla="*/ 4737 w 10785"/>
                <a:gd name="connsiteY1440" fmla="*/ 786 h 10000"/>
                <a:gd name="connsiteX1441" fmla="*/ 4742 w 10785"/>
                <a:gd name="connsiteY1441" fmla="*/ 795 h 10000"/>
                <a:gd name="connsiteX1442" fmla="*/ 4742 w 10785"/>
                <a:gd name="connsiteY1442" fmla="*/ 803 h 10000"/>
                <a:gd name="connsiteX1443" fmla="*/ 4737 w 10785"/>
                <a:gd name="connsiteY1443" fmla="*/ 846 h 10000"/>
                <a:gd name="connsiteX1444" fmla="*/ 4737 w 10785"/>
                <a:gd name="connsiteY1444" fmla="*/ 880 h 10000"/>
                <a:gd name="connsiteX1445" fmla="*/ 4737 w 10785"/>
                <a:gd name="connsiteY1445" fmla="*/ 906 h 10000"/>
                <a:gd name="connsiteX1446" fmla="*/ 4724 w 10785"/>
                <a:gd name="connsiteY1446" fmla="*/ 897 h 10000"/>
                <a:gd name="connsiteX1447" fmla="*/ 4724 w 10785"/>
                <a:gd name="connsiteY1447" fmla="*/ 872 h 10000"/>
                <a:gd name="connsiteX1448" fmla="*/ 4714 w 10785"/>
                <a:gd name="connsiteY1448" fmla="*/ 855 h 10000"/>
                <a:gd name="connsiteX1449" fmla="*/ 4691 w 10785"/>
                <a:gd name="connsiteY1449" fmla="*/ 846 h 10000"/>
                <a:gd name="connsiteX1450" fmla="*/ 4691 w 10785"/>
                <a:gd name="connsiteY1450" fmla="*/ 846 h 10000"/>
                <a:gd name="connsiteX1451" fmla="*/ 4696 w 10785"/>
                <a:gd name="connsiteY1451" fmla="*/ 821 h 10000"/>
                <a:gd name="connsiteX1452" fmla="*/ 4691 w 10785"/>
                <a:gd name="connsiteY1452" fmla="*/ 803 h 10000"/>
                <a:gd name="connsiteX1453" fmla="*/ 4668 w 10785"/>
                <a:gd name="connsiteY1453" fmla="*/ 821 h 10000"/>
                <a:gd name="connsiteX1454" fmla="*/ 4668 w 10785"/>
                <a:gd name="connsiteY1454" fmla="*/ 786 h 10000"/>
                <a:gd name="connsiteX1455" fmla="*/ 4664 w 10785"/>
                <a:gd name="connsiteY1455" fmla="*/ 786 h 10000"/>
                <a:gd name="connsiteX1456" fmla="*/ 4622 w 10785"/>
                <a:gd name="connsiteY1456" fmla="*/ 846 h 10000"/>
                <a:gd name="connsiteX1457" fmla="*/ 4627 w 10785"/>
                <a:gd name="connsiteY1457" fmla="*/ 872 h 10000"/>
                <a:gd name="connsiteX1458" fmla="*/ 4622 w 10785"/>
                <a:gd name="connsiteY1458" fmla="*/ 880 h 10000"/>
                <a:gd name="connsiteX1459" fmla="*/ 4622 w 10785"/>
                <a:gd name="connsiteY1459" fmla="*/ 880 h 10000"/>
                <a:gd name="connsiteX1460" fmla="*/ 4618 w 10785"/>
                <a:gd name="connsiteY1460" fmla="*/ 872 h 10000"/>
                <a:gd name="connsiteX1461" fmla="*/ 4604 w 10785"/>
                <a:gd name="connsiteY1461" fmla="*/ 880 h 10000"/>
                <a:gd name="connsiteX1462" fmla="*/ 4594 w 10785"/>
                <a:gd name="connsiteY1462" fmla="*/ 906 h 10000"/>
                <a:gd name="connsiteX1463" fmla="*/ 4604 w 10785"/>
                <a:gd name="connsiteY1463" fmla="*/ 906 h 10000"/>
                <a:gd name="connsiteX1464" fmla="*/ 4608 w 10785"/>
                <a:gd name="connsiteY1464" fmla="*/ 906 h 10000"/>
                <a:gd name="connsiteX1465" fmla="*/ 4608 w 10785"/>
                <a:gd name="connsiteY1465" fmla="*/ 932 h 10000"/>
                <a:gd name="connsiteX1466" fmla="*/ 4604 w 10785"/>
                <a:gd name="connsiteY1466" fmla="*/ 932 h 10000"/>
                <a:gd name="connsiteX1467" fmla="*/ 4590 w 10785"/>
                <a:gd name="connsiteY1467" fmla="*/ 932 h 10000"/>
                <a:gd name="connsiteX1468" fmla="*/ 4567 w 10785"/>
                <a:gd name="connsiteY1468" fmla="*/ 957 h 10000"/>
                <a:gd name="connsiteX1469" fmla="*/ 4567 w 10785"/>
                <a:gd name="connsiteY1469" fmla="*/ 932 h 10000"/>
                <a:gd name="connsiteX1470" fmla="*/ 4567 w 10785"/>
                <a:gd name="connsiteY1470" fmla="*/ 923 h 10000"/>
                <a:gd name="connsiteX1471" fmla="*/ 4562 w 10785"/>
                <a:gd name="connsiteY1471" fmla="*/ 932 h 10000"/>
                <a:gd name="connsiteX1472" fmla="*/ 4548 w 10785"/>
                <a:gd name="connsiteY1472" fmla="*/ 957 h 10000"/>
                <a:gd name="connsiteX1473" fmla="*/ 4544 w 10785"/>
                <a:gd name="connsiteY1473" fmla="*/ 957 h 10000"/>
                <a:gd name="connsiteX1474" fmla="*/ 4521 w 10785"/>
                <a:gd name="connsiteY1474" fmla="*/ 983 h 10000"/>
                <a:gd name="connsiteX1475" fmla="*/ 4521 w 10785"/>
                <a:gd name="connsiteY1475" fmla="*/ 983 h 10000"/>
                <a:gd name="connsiteX1476" fmla="*/ 4530 w 10785"/>
                <a:gd name="connsiteY1476" fmla="*/ 957 h 10000"/>
                <a:gd name="connsiteX1477" fmla="*/ 4535 w 10785"/>
                <a:gd name="connsiteY1477" fmla="*/ 932 h 10000"/>
                <a:gd name="connsiteX1478" fmla="*/ 4521 w 10785"/>
                <a:gd name="connsiteY1478" fmla="*/ 932 h 10000"/>
                <a:gd name="connsiteX1479" fmla="*/ 4516 w 10785"/>
                <a:gd name="connsiteY1479" fmla="*/ 923 h 10000"/>
                <a:gd name="connsiteX1480" fmla="*/ 4516 w 10785"/>
                <a:gd name="connsiteY1480" fmla="*/ 932 h 10000"/>
                <a:gd name="connsiteX1481" fmla="*/ 4488 w 10785"/>
                <a:gd name="connsiteY1481" fmla="*/ 940 h 10000"/>
                <a:gd name="connsiteX1482" fmla="*/ 4484 w 10785"/>
                <a:gd name="connsiteY1482" fmla="*/ 983 h 10000"/>
                <a:gd name="connsiteX1483" fmla="*/ 4470 w 10785"/>
                <a:gd name="connsiteY1483" fmla="*/ 983 h 10000"/>
                <a:gd name="connsiteX1484" fmla="*/ 4470 w 10785"/>
                <a:gd name="connsiteY1484" fmla="*/ 966 h 10000"/>
                <a:gd name="connsiteX1485" fmla="*/ 4488 w 10785"/>
                <a:gd name="connsiteY1485" fmla="*/ 923 h 10000"/>
                <a:gd name="connsiteX1486" fmla="*/ 4493 w 10785"/>
                <a:gd name="connsiteY1486" fmla="*/ 880 h 10000"/>
                <a:gd name="connsiteX1487" fmla="*/ 4475 w 10785"/>
                <a:gd name="connsiteY1487" fmla="*/ 846 h 10000"/>
                <a:gd name="connsiteX1488" fmla="*/ 4442 w 10785"/>
                <a:gd name="connsiteY1488" fmla="*/ 855 h 10000"/>
                <a:gd name="connsiteX1489" fmla="*/ 4433 w 10785"/>
                <a:gd name="connsiteY1489" fmla="*/ 855 h 10000"/>
                <a:gd name="connsiteX1490" fmla="*/ 4433 w 10785"/>
                <a:gd name="connsiteY1490" fmla="*/ 880 h 10000"/>
                <a:gd name="connsiteX1491" fmla="*/ 4401 w 10785"/>
                <a:gd name="connsiteY1491" fmla="*/ 855 h 10000"/>
                <a:gd name="connsiteX1492" fmla="*/ 4396 w 10785"/>
                <a:gd name="connsiteY1492" fmla="*/ 872 h 10000"/>
                <a:gd name="connsiteX1493" fmla="*/ 4382 w 10785"/>
                <a:gd name="connsiteY1493" fmla="*/ 897 h 10000"/>
                <a:gd name="connsiteX1494" fmla="*/ 4373 w 10785"/>
                <a:gd name="connsiteY1494" fmla="*/ 872 h 10000"/>
                <a:gd name="connsiteX1495" fmla="*/ 4341 w 10785"/>
                <a:gd name="connsiteY1495" fmla="*/ 872 h 10000"/>
                <a:gd name="connsiteX1496" fmla="*/ 4336 w 10785"/>
                <a:gd name="connsiteY1496" fmla="*/ 880 h 10000"/>
                <a:gd name="connsiteX1497" fmla="*/ 4346 w 10785"/>
                <a:gd name="connsiteY1497" fmla="*/ 897 h 10000"/>
                <a:gd name="connsiteX1498" fmla="*/ 4346 w 10785"/>
                <a:gd name="connsiteY1498" fmla="*/ 897 h 10000"/>
                <a:gd name="connsiteX1499" fmla="*/ 4313 w 10785"/>
                <a:gd name="connsiteY1499" fmla="*/ 906 h 10000"/>
                <a:gd name="connsiteX1500" fmla="*/ 4313 w 10785"/>
                <a:gd name="connsiteY1500" fmla="*/ 906 h 10000"/>
                <a:gd name="connsiteX1501" fmla="*/ 4313 w 10785"/>
                <a:gd name="connsiteY1501" fmla="*/ 880 h 10000"/>
                <a:gd name="connsiteX1502" fmla="*/ 4309 w 10785"/>
                <a:gd name="connsiteY1502" fmla="*/ 897 h 10000"/>
                <a:gd name="connsiteX1503" fmla="*/ 4295 w 10785"/>
                <a:gd name="connsiteY1503" fmla="*/ 923 h 10000"/>
                <a:gd name="connsiteX1504" fmla="*/ 4286 w 10785"/>
                <a:gd name="connsiteY1504" fmla="*/ 897 h 10000"/>
                <a:gd name="connsiteX1505" fmla="*/ 4281 w 10785"/>
                <a:gd name="connsiteY1505" fmla="*/ 906 h 10000"/>
                <a:gd name="connsiteX1506" fmla="*/ 4281 w 10785"/>
                <a:gd name="connsiteY1506" fmla="*/ 940 h 10000"/>
                <a:gd name="connsiteX1507" fmla="*/ 4286 w 10785"/>
                <a:gd name="connsiteY1507" fmla="*/ 957 h 10000"/>
                <a:gd name="connsiteX1508" fmla="*/ 4309 w 10785"/>
                <a:gd name="connsiteY1508" fmla="*/ 932 h 10000"/>
                <a:gd name="connsiteX1509" fmla="*/ 4313 w 10785"/>
                <a:gd name="connsiteY1509" fmla="*/ 957 h 10000"/>
                <a:gd name="connsiteX1510" fmla="*/ 4313 w 10785"/>
                <a:gd name="connsiteY1510" fmla="*/ 966 h 10000"/>
                <a:gd name="connsiteX1511" fmla="*/ 4323 w 10785"/>
                <a:gd name="connsiteY1511" fmla="*/ 966 h 10000"/>
                <a:gd name="connsiteX1512" fmla="*/ 4323 w 10785"/>
                <a:gd name="connsiteY1512" fmla="*/ 940 h 10000"/>
                <a:gd name="connsiteX1513" fmla="*/ 4327 w 10785"/>
                <a:gd name="connsiteY1513" fmla="*/ 940 h 10000"/>
                <a:gd name="connsiteX1514" fmla="*/ 4327 w 10785"/>
                <a:gd name="connsiteY1514" fmla="*/ 957 h 10000"/>
                <a:gd name="connsiteX1515" fmla="*/ 4327 w 10785"/>
                <a:gd name="connsiteY1515" fmla="*/ 966 h 10000"/>
                <a:gd name="connsiteX1516" fmla="*/ 4323 w 10785"/>
                <a:gd name="connsiteY1516" fmla="*/ 991 h 10000"/>
                <a:gd name="connsiteX1517" fmla="*/ 4207 w 10785"/>
                <a:gd name="connsiteY1517" fmla="*/ 1060 h 10000"/>
                <a:gd name="connsiteX1518" fmla="*/ 4207 w 10785"/>
                <a:gd name="connsiteY1518" fmla="*/ 1060 h 10000"/>
                <a:gd name="connsiteX1519" fmla="*/ 4203 w 10785"/>
                <a:gd name="connsiteY1519" fmla="*/ 1068 h 10000"/>
                <a:gd name="connsiteX1520" fmla="*/ 4203 w 10785"/>
                <a:gd name="connsiteY1520" fmla="*/ 1094 h 10000"/>
                <a:gd name="connsiteX1521" fmla="*/ 4203 w 10785"/>
                <a:gd name="connsiteY1521" fmla="*/ 1094 h 10000"/>
                <a:gd name="connsiteX1522" fmla="*/ 4189 w 10785"/>
                <a:gd name="connsiteY1522" fmla="*/ 1094 h 10000"/>
                <a:gd name="connsiteX1523" fmla="*/ 4166 w 10785"/>
                <a:gd name="connsiteY1523" fmla="*/ 1103 h 10000"/>
                <a:gd name="connsiteX1524" fmla="*/ 4152 w 10785"/>
                <a:gd name="connsiteY1524" fmla="*/ 1094 h 10000"/>
                <a:gd name="connsiteX1525" fmla="*/ 4134 w 10785"/>
                <a:gd name="connsiteY1525" fmla="*/ 1120 h 10000"/>
                <a:gd name="connsiteX1526" fmla="*/ 4106 w 10785"/>
                <a:gd name="connsiteY1526" fmla="*/ 1120 h 10000"/>
                <a:gd name="connsiteX1527" fmla="*/ 4092 w 10785"/>
                <a:gd name="connsiteY1527" fmla="*/ 1154 h 10000"/>
                <a:gd name="connsiteX1528" fmla="*/ 4106 w 10785"/>
                <a:gd name="connsiteY1528" fmla="*/ 1171 h 10000"/>
                <a:gd name="connsiteX1529" fmla="*/ 4078 w 10785"/>
                <a:gd name="connsiteY1529" fmla="*/ 1179 h 10000"/>
                <a:gd name="connsiteX1530" fmla="*/ 4065 w 10785"/>
                <a:gd name="connsiteY1530" fmla="*/ 1205 h 10000"/>
                <a:gd name="connsiteX1531" fmla="*/ 4046 w 10785"/>
                <a:gd name="connsiteY1531" fmla="*/ 1179 h 10000"/>
                <a:gd name="connsiteX1532" fmla="*/ 4041 w 10785"/>
                <a:gd name="connsiteY1532" fmla="*/ 1197 h 10000"/>
                <a:gd name="connsiteX1533" fmla="*/ 4028 w 10785"/>
                <a:gd name="connsiteY1533" fmla="*/ 1205 h 10000"/>
                <a:gd name="connsiteX1534" fmla="*/ 4028 w 10785"/>
                <a:gd name="connsiteY1534" fmla="*/ 1205 h 10000"/>
                <a:gd name="connsiteX1535" fmla="*/ 4032 w 10785"/>
                <a:gd name="connsiteY1535" fmla="*/ 1205 h 10000"/>
                <a:gd name="connsiteX1536" fmla="*/ 4032 w 10785"/>
                <a:gd name="connsiteY1536" fmla="*/ 1231 h 10000"/>
                <a:gd name="connsiteX1537" fmla="*/ 4014 w 10785"/>
                <a:gd name="connsiteY1537" fmla="*/ 1239 h 10000"/>
                <a:gd name="connsiteX1538" fmla="*/ 4014 w 10785"/>
                <a:gd name="connsiteY1538" fmla="*/ 1256 h 10000"/>
                <a:gd name="connsiteX1539" fmla="*/ 4000 w 10785"/>
                <a:gd name="connsiteY1539" fmla="*/ 1265 h 10000"/>
                <a:gd name="connsiteX1540" fmla="*/ 3986 w 10785"/>
                <a:gd name="connsiteY1540" fmla="*/ 1308 h 10000"/>
                <a:gd name="connsiteX1541" fmla="*/ 3972 w 10785"/>
                <a:gd name="connsiteY1541" fmla="*/ 1316 h 10000"/>
                <a:gd name="connsiteX1542" fmla="*/ 3972 w 10785"/>
                <a:gd name="connsiteY1542" fmla="*/ 1325 h 10000"/>
                <a:gd name="connsiteX1543" fmla="*/ 3972 w 10785"/>
                <a:gd name="connsiteY1543" fmla="*/ 1342 h 10000"/>
                <a:gd name="connsiteX1544" fmla="*/ 3968 w 10785"/>
                <a:gd name="connsiteY1544" fmla="*/ 1350 h 10000"/>
                <a:gd name="connsiteX1545" fmla="*/ 3954 w 10785"/>
                <a:gd name="connsiteY1545" fmla="*/ 1368 h 10000"/>
                <a:gd name="connsiteX1546" fmla="*/ 3945 w 10785"/>
                <a:gd name="connsiteY1546" fmla="*/ 1350 h 10000"/>
                <a:gd name="connsiteX1547" fmla="*/ 3908 w 10785"/>
                <a:gd name="connsiteY1547" fmla="*/ 1342 h 10000"/>
                <a:gd name="connsiteX1548" fmla="*/ 3894 w 10785"/>
                <a:gd name="connsiteY1548" fmla="*/ 1368 h 10000"/>
                <a:gd name="connsiteX1549" fmla="*/ 3922 w 10785"/>
                <a:gd name="connsiteY1549" fmla="*/ 1393 h 10000"/>
                <a:gd name="connsiteX1550" fmla="*/ 3945 w 10785"/>
                <a:gd name="connsiteY1550" fmla="*/ 1393 h 10000"/>
                <a:gd name="connsiteX1551" fmla="*/ 3940 w 10785"/>
                <a:gd name="connsiteY1551" fmla="*/ 1419 h 10000"/>
                <a:gd name="connsiteX1552" fmla="*/ 3931 w 10785"/>
                <a:gd name="connsiteY1552" fmla="*/ 1427 h 10000"/>
                <a:gd name="connsiteX1553" fmla="*/ 3926 w 10785"/>
                <a:gd name="connsiteY1553" fmla="*/ 1427 h 10000"/>
                <a:gd name="connsiteX1554" fmla="*/ 3922 w 10785"/>
                <a:gd name="connsiteY1554" fmla="*/ 1419 h 10000"/>
                <a:gd name="connsiteX1555" fmla="*/ 3912 w 10785"/>
                <a:gd name="connsiteY1555" fmla="*/ 1427 h 10000"/>
                <a:gd name="connsiteX1556" fmla="*/ 3912 w 10785"/>
                <a:gd name="connsiteY1556" fmla="*/ 1444 h 10000"/>
                <a:gd name="connsiteX1557" fmla="*/ 3894 w 10785"/>
                <a:gd name="connsiteY1557" fmla="*/ 1513 h 10000"/>
                <a:gd name="connsiteX1558" fmla="*/ 3885 w 10785"/>
                <a:gd name="connsiteY1558" fmla="*/ 1513 h 10000"/>
                <a:gd name="connsiteX1559" fmla="*/ 3880 w 10785"/>
                <a:gd name="connsiteY1559" fmla="*/ 1538 h 10000"/>
                <a:gd name="connsiteX1560" fmla="*/ 3885 w 10785"/>
                <a:gd name="connsiteY1560" fmla="*/ 1564 h 10000"/>
                <a:gd name="connsiteX1561" fmla="*/ 3880 w 10785"/>
                <a:gd name="connsiteY1561" fmla="*/ 1581 h 10000"/>
                <a:gd name="connsiteX1562" fmla="*/ 3871 w 10785"/>
                <a:gd name="connsiteY1562" fmla="*/ 1538 h 10000"/>
                <a:gd name="connsiteX1563" fmla="*/ 3853 w 10785"/>
                <a:gd name="connsiteY1563" fmla="*/ 1530 h 10000"/>
                <a:gd name="connsiteX1564" fmla="*/ 3853 w 10785"/>
                <a:gd name="connsiteY1564" fmla="*/ 1504 h 10000"/>
                <a:gd name="connsiteX1565" fmla="*/ 3834 w 10785"/>
                <a:gd name="connsiteY1565" fmla="*/ 1487 h 10000"/>
                <a:gd name="connsiteX1566" fmla="*/ 3834 w 10785"/>
                <a:gd name="connsiteY1566" fmla="*/ 1487 h 10000"/>
                <a:gd name="connsiteX1567" fmla="*/ 3839 w 10785"/>
                <a:gd name="connsiteY1567" fmla="*/ 1513 h 10000"/>
                <a:gd name="connsiteX1568" fmla="*/ 3820 w 10785"/>
                <a:gd name="connsiteY1568" fmla="*/ 1538 h 10000"/>
                <a:gd name="connsiteX1569" fmla="*/ 3820 w 10785"/>
                <a:gd name="connsiteY1569" fmla="*/ 1556 h 10000"/>
                <a:gd name="connsiteX1570" fmla="*/ 3820 w 10785"/>
                <a:gd name="connsiteY1570" fmla="*/ 1564 h 10000"/>
                <a:gd name="connsiteX1571" fmla="*/ 3820 w 10785"/>
                <a:gd name="connsiteY1571" fmla="*/ 1581 h 10000"/>
                <a:gd name="connsiteX1572" fmla="*/ 3853 w 10785"/>
                <a:gd name="connsiteY1572" fmla="*/ 1581 h 10000"/>
                <a:gd name="connsiteX1573" fmla="*/ 3857 w 10785"/>
                <a:gd name="connsiteY1573" fmla="*/ 1598 h 10000"/>
                <a:gd name="connsiteX1574" fmla="*/ 3880 w 10785"/>
                <a:gd name="connsiteY1574" fmla="*/ 1615 h 10000"/>
                <a:gd name="connsiteX1575" fmla="*/ 3871 w 10785"/>
                <a:gd name="connsiteY1575" fmla="*/ 1615 h 10000"/>
                <a:gd name="connsiteX1576" fmla="*/ 3871 w 10785"/>
                <a:gd name="connsiteY1576" fmla="*/ 1641 h 10000"/>
                <a:gd name="connsiteX1577" fmla="*/ 3880 w 10785"/>
                <a:gd name="connsiteY1577" fmla="*/ 1641 h 10000"/>
                <a:gd name="connsiteX1578" fmla="*/ 3871 w 10785"/>
                <a:gd name="connsiteY1578" fmla="*/ 1650 h 10000"/>
                <a:gd name="connsiteX1579" fmla="*/ 3857 w 10785"/>
                <a:gd name="connsiteY1579" fmla="*/ 1650 h 10000"/>
                <a:gd name="connsiteX1580" fmla="*/ 3853 w 10785"/>
                <a:gd name="connsiteY1580" fmla="*/ 1650 h 10000"/>
                <a:gd name="connsiteX1581" fmla="*/ 3839 w 10785"/>
                <a:gd name="connsiteY1581" fmla="*/ 1667 h 10000"/>
                <a:gd name="connsiteX1582" fmla="*/ 3848 w 10785"/>
                <a:gd name="connsiteY1582" fmla="*/ 1692 h 10000"/>
                <a:gd name="connsiteX1583" fmla="*/ 3834 w 10785"/>
                <a:gd name="connsiteY1583" fmla="*/ 1692 h 10000"/>
                <a:gd name="connsiteX1584" fmla="*/ 3825 w 10785"/>
                <a:gd name="connsiteY1584" fmla="*/ 1692 h 10000"/>
                <a:gd name="connsiteX1585" fmla="*/ 3825 w 10785"/>
                <a:gd name="connsiteY1585" fmla="*/ 1718 h 10000"/>
                <a:gd name="connsiteX1586" fmla="*/ 3839 w 10785"/>
                <a:gd name="connsiteY1586" fmla="*/ 1726 h 10000"/>
                <a:gd name="connsiteX1587" fmla="*/ 3880 w 10785"/>
                <a:gd name="connsiteY1587" fmla="*/ 1752 h 10000"/>
                <a:gd name="connsiteX1588" fmla="*/ 3894 w 10785"/>
                <a:gd name="connsiteY1588" fmla="*/ 1829 h 10000"/>
                <a:gd name="connsiteX1589" fmla="*/ 3899 w 10785"/>
                <a:gd name="connsiteY1589" fmla="*/ 1838 h 10000"/>
                <a:gd name="connsiteX1590" fmla="*/ 3894 w 10785"/>
                <a:gd name="connsiteY1590" fmla="*/ 1855 h 10000"/>
                <a:gd name="connsiteX1591" fmla="*/ 3880 w 10785"/>
                <a:gd name="connsiteY1591" fmla="*/ 1838 h 10000"/>
                <a:gd name="connsiteX1592" fmla="*/ 3880 w 10785"/>
                <a:gd name="connsiteY1592" fmla="*/ 1855 h 10000"/>
                <a:gd name="connsiteX1593" fmla="*/ 3880 w 10785"/>
                <a:gd name="connsiteY1593" fmla="*/ 1863 h 10000"/>
                <a:gd name="connsiteX1594" fmla="*/ 3871 w 10785"/>
                <a:gd name="connsiteY1594" fmla="*/ 1872 h 10000"/>
                <a:gd name="connsiteX1595" fmla="*/ 3880 w 10785"/>
                <a:gd name="connsiteY1595" fmla="*/ 1889 h 10000"/>
                <a:gd name="connsiteX1596" fmla="*/ 3885 w 10785"/>
                <a:gd name="connsiteY1596" fmla="*/ 1889 h 10000"/>
                <a:gd name="connsiteX1597" fmla="*/ 3880 w 10785"/>
                <a:gd name="connsiteY1597" fmla="*/ 1897 h 10000"/>
                <a:gd name="connsiteX1598" fmla="*/ 3871 w 10785"/>
                <a:gd name="connsiteY1598" fmla="*/ 1915 h 10000"/>
                <a:gd name="connsiteX1599" fmla="*/ 3848 w 10785"/>
                <a:gd name="connsiteY1599" fmla="*/ 1923 h 10000"/>
                <a:gd name="connsiteX1600" fmla="*/ 3825 w 10785"/>
                <a:gd name="connsiteY1600" fmla="*/ 1940 h 10000"/>
                <a:gd name="connsiteX1601" fmla="*/ 3811 w 10785"/>
                <a:gd name="connsiteY1601" fmla="*/ 1940 h 10000"/>
                <a:gd name="connsiteX1602" fmla="*/ 3806 w 10785"/>
                <a:gd name="connsiteY1602" fmla="*/ 1949 h 10000"/>
                <a:gd name="connsiteX1603" fmla="*/ 3797 w 10785"/>
                <a:gd name="connsiteY1603" fmla="*/ 1966 h 10000"/>
                <a:gd name="connsiteX1604" fmla="*/ 3788 w 10785"/>
                <a:gd name="connsiteY1604" fmla="*/ 1991 h 10000"/>
                <a:gd name="connsiteX1605" fmla="*/ 3765 w 10785"/>
                <a:gd name="connsiteY1605" fmla="*/ 1974 h 10000"/>
                <a:gd name="connsiteX1606" fmla="*/ 3760 w 10785"/>
                <a:gd name="connsiteY1606" fmla="*/ 1966 h 10000"/>
                <a:gd name="connsiteX1607" fmla="*/ 3760 w 10785"/>
                <a:gd name="connsiteY1607" fmla="*/ 1966 h 10000"/>
                <a:gd name="connsiteX1608" fmla="*/ 3631 w 10785"/>
                <a:gd name="connsiteY1608" fmla="*/ 2009 h 10000"/>
                <a:gd name="connsiteX1609" fmla="*/ 3618 w 10785"/>
                <a:gd name="connsiteY1609" fmla="*/ 2000 h 10000"/>
                <a:gd name="connsiteX1610" fmla="*/ 3599 w 10785"/>
                <a:gd name="connsiteY1610" fmla="*/ 2009 h 10000"/>
                <a:gd name="connsiteX1611" fmla="*/ 3571 w 10785"/>
                <a:gd name="connsiteY1611" fmla="*/ 2000 h 10000"/>
                <a:gd name="connsiteX1612" fmla="*/ 3530 w 10785"/>
                <a:gd name="connsiteY1612" fmla="*/ 2026 h 10000"/>
                <a:gd name="connsiteX1613" fmla="*/ 3530 w 10785"/>
                <a:gd name="connsiteY1613" fmla="*/ 2034 h 10000"/>
                <a:gd name="connsiteX1614" fmla="*/ 3525 w 10785"/>
                <a:gd name="connsiteY1614" fmla="*/ 2051 h 10000"/>
                <a:gd name="connsiteX1615" fmla="*/ 3512 w 10785"/>
                <a:gd name="connsiteY1615" fmla="*/ 2034 h 10000"/>
                <a:gd name="connsiteX1616" fmla="*/ 3507 w 10785"/>
                <a:gd name="connsiteY1616" fmla="*/ 2034 h 10000"/>
                <a:gd name="connsiteX1617" fmla="*/ 3498 w 10785"/>
                <a:gd name="connsiteY1617" fmla="*/ 2051 h 10000"/>
                <a:gd name="connsiteX1618" fmla="*/ 3484 w 10785"/>
                <a:gd name="connsiteY1618" fmla="*/ 2060 h 10000"/>
                <a:gd name="connsiteX1619" fmla="*/ 3484 w 10785"/>
                <a:gd name="connsiteY1619" fmla="*/ 2085 h 10000"/>
                <a:gd name="connsiteX1620" fmla="*/ 3484 w 10785"/>
                <a:gd name="connsiteY1620" fmla="*/ 2103 h 10000"/>
                <a:gd name="connsiteX1621" fmla="*/ 3493 w 10785"/>
                <a:gd name="connsiteY1621" fmla="*/ 2103 h 10000"/>
                <a:gd name="connsiteX1622" fmla="*/ 3493 w 10785"/>
                <a:gd name="connsiteY1622" fmla="*/ 2085 h 10000"/>
                <a:gd name="connsiteX1623" fmla="*/ 3498 w 10785"/>
                <a:gd name="connsiteY1623" fmla="*/ 2085 h 10000"/>
                <a:gd name="connsiteX1624" fmla="*/ 3498 w 10785"/>
                <a:gd name="connsiteY1624" fmla="*/ 2111 h 10000"/>
                <a:gd name="connsiteX1625" fmla="*/ 3484 w 10785"/>
                <a:gd name="connsiteY1625" fmla="*/ 2120 h 10000"/>
                <a:gd name="connsiteX1626" fmla="*/ 3484 w 10785"/>
                <a:gd name="connsiteY1626" fmla="*/ 2145 h 10000"/>
                <a:gd name="connsiteX1627" fmla="*/ 3470 w 10785"/>
                <a:gd name="connsiteY1627" fmla="*/ 2137 h 10000"/>
                <a:gd name="connsiteX1628" fmla="*/ 3465 w 10785"/>
                <a:gd name="connsiteY1628" fmla="*/ 2145 h 10000"/>
                <a:gd name="connsiteX1629" fmla="*/ 3470 w 10785"/>
                <a:gd name="connsiteY1629" fmla="*/ 2171 h 10000"/>
                <a:gd name="connsiteX1630" fmla="*/ 3484 w 10785"/>
                <a:gd name="connsiteY1630" fmla="*/ 2171 h 10000"/>
                <a:gd name="connsiteX1631" fmla="*/ 3484 w 10785"/>
                <a:gd name="connsiteY1631" fmla="*/ 2197 h 10000"/>
                <a:gd name="connsiteX1632" fmla="*/ 3465 w 10785"/>
                <a:gd name="connsiteY1632" fmla="*/ 2214 h 10000"/>
                <a:gd name="connsiteX1633" fmla="*/ 3493 w 10785"/>
                <a:gd name="connsiteY1633" fmla="*/ 2248 h 10000"/>
                <a:gd name="connsiteX1634" fmla="*/ 3484 w 10785"/>
                <a:gd name="connsiteY1634" fmla="*/ 2256 h 10000"/>
                <a:gd name="connsiteX1635" fmla="*/ 3498 w 10785"/>
                <a:gd name="connsiteY1635" fmla="*/ 2274 h 10000"/>
                <a:gd name="connsiteX1636" fmla="*/ 3498 w 10785"/>
                <a:gd name="connsiteY1636" fmla="*/ 2256 h 10000"/>
                <a:gd name="connsiteX1637" fmla="*/ 3507 w 10785"/>
                <a:gd name="connsiteY1637" fmla="*/ 2308 h 10000"/>
                <a:gd name="connsiteX1638" fmla="*/ 3512 w 10785"/>
                <a:gd name="connsiteY1638" fmla="*/ 2325 h 10000"/>
                <a:gd name="connsiteX1639" fmla="*/ 3507 w 10785"/>
                <a:gd name="connsiteY1639" fmla="*/ 2333 h 10000"/>
                <a:gd name="connsiteX1640" fmla="*/ 3507 w 10785"/>
                <a:gd name="connsiteY1640" fmla="*/ 2359 h 10000"/>
                <a:gd name="connsiteX1641" fmla="*/ 3507 w 10785"/>
                <a:gd name="connsiteY1641" fmla="*/ 2376 h 10000"/>
                <a:gd name="connsiteX1642" fmla="*/ 3498 w 10785"/>
                <a:gd name="connsiteY1642" fmla="*/ 2410 h 10000"/>
                <a:gd name="connsiteX1643" fmla="*/ 3498 w 10785"/>
                <a:gd name="connsiteY1643" fmla="*/ 2436 h 10000"/>
                <a:gd name="connsiteX1644" fmla="*/ 3507 w 10785"/>
                <a:gd name="connsiteY1644" fmla="*/ 2462 h 10000"/>
                <a:gd name="connsiteX1645" fmla="*/ 3507 w 10785"/>
                <a:gd name="connsiteY1645" fmla="*/ 2496 h 10000"/>
                <a:gd name="connsiteX1646" fmla="*/ 3512 w 10785"/>
                <a:gd name="connsiteY1646" fmla="*/ 2521 h 10000"/>
                <a:gd name="connsiteX1647" fmla="*/ 3525 w 10785"/>
                <a:gd name="connsiteY1647" fmla="*/ 2556 h 10000"/>
                <a:gd name="connsiteX1648" fmla="*/ 3571 w 10785"/>
                <a:gd name="connsiteY1648" fmla="*/ 2573 h 10000"/>
                <a:gd name="connsiteX1649" fmla="*/ 3590 w 10785"/>
                <a:gd name="connsiteY1649" fmla="*/ 2598 h 10000"/>
                <a:gd name="connsiteX1650" fmla="*/ 3599 w 10785"/>
                <a:gd name="connsiteY1650" fmla="*/ 2598 h 10000"/>
                <a:gd name="connsiteX1651" fmla="*/ 3604 w 10785"/>
                <a:gd name="connsiteY1651" fmla="*/ 2632 h 10000"/>
                <a:gd name="connsiteX1652" fmla="*/ 3599 w 10785"/>
                <a:gd name="connsiteY1652" fmla="*/ 2658 h 10000"/>
                <a:gd name="connsiteX1653" fmla="*/ 3590 w 10785"/>
                <a:gd name="connsiteY1653" fmla="*/ 2667 h 10000"/>
                <a:gd name="connsiteX1654" fmla="*/ 3604 w 10785"/>
                <a:gd name="connsiteY1654" fmla="*/ 2667 h 10000"/>
                <a:gd name="connsiteX1655" fmla="*/ 3613 w 10785"/>
                <a:gd name="connsiteY1655" fmla="*/ 2692 h 10000"/>
                <a:gd name="connsiteX1656" fmla="*/ 3627 w 10785"/>
                <a:gd name="connsiteY1656" fmla="*/ 2735 h 10000"/>
                <a:gd name="connsiteX1657" fmla="*/ 3631 w 10785"/>
                <a:gd name="connsiteY1657" fmla="*/ 2744 h 10000"/>
                <a:gd name="connsiteX1658" fmla="*/ 3659 w 10785"/>
                <a:gd name="connsiteY1658" fmla="*/ 2761 h 10000"/>
                <a:gd name="connsiteX1659" fmla="*/ 3673 w 10785"/>
                <a:gd name="connsiteY1659" fmla="*/ 2769 h 10000"/>
                <a:gd name="connsiteX1660" fmla="*/ 3673 w 10785"/>
                <a:gd name="connsiteY1660" fmla="*/ 2761 h 10000"/>
                <a:gd name="connsiteX1661" fmla="*/ 3687 w 10785"/>
                <a:gd name="connsiteY1661" fmla="*/ 2829 h 10000"/>
                <a:gd name="connsiteX1662" fmla="*/ 3677 w 10785"/>
                <a:gd name="connsiteY1662" fmla="*/ 2897 h 10000"/>
                <a:gd name="connsiteX1663" fmla="*/ 3673 w 10785"/>
                <a:gd name="connsiteY1663" fmla="*/ 2915 h 10000"/>
                <a:gd name="connsiteX1664" fmla="*/ 3664 w 10785"/>
                <a:gd name="connsiteY1664" fmla="*/ 2957 h 10000"/>
                <a:gd name="connsiteX1665" fmla="*/ 3659 w 10785"/>
                <a:gd name="connsiteY1665" fmla="*/ 2983 h 10000"/>
                <a:gd name="connsiteX1666" fmla="*/ 3664 w 10785"/>
                <a:gd name="connsiteY1666" fmla="*/ 3017 h 10000"/>
                <a:gd name="connsiteX1667" fmla="*/ 3659 w 10785"/>
                <a:gd name="connsiteY1667" fmla="*/ 3043 h 10000"/>
                <a:gd name="connsiteX1668" fmla="*/ 3677 w 10785"/>
                <a:gd name="connsiteY1668" fmla="*/ 3094 h 10000"/>
                <a:gd name="connsiteX1669" fmla="*/ 3691 w 10785"/>
                <a:gd name="connsiteY1669" fmla="*/ 3282 h 10000"/>
                <a:gd name="connsiteX1670" fmla="*/ 3691 w 10785"/>
                <a:gd name="connsiteY1670" fmla="*/ 3308 h 10000"/>
                <a:gd name="connsiteX1671" fmla="*/ 3677 w 10785"/>
                <a:gd name="connsiteY1671" fmla="*/ 3342 h 10000"/>
                <a:gd name="connsiteX1672" fmla="*/ 3664 w 10785"/>
                <a:gd name="connsiteY1672" fmla="*/ 3342 h 10000"/>
                <a:gd name="connsiteX1673" fmla="*/ 3650 w 10785"/>
                <a:gd name="connsiteY1673" fmla="*/ 3342 h 10000"/>
                <a:gd name="connsiteX1674" fmla="*/ 3650 w 10785"/>
                <a:gd name="connsiteY1674" fmla="*/ 3350 h 10000"/>
                <a:gd name="connsiteX1675" fmla="*/ 3659 w 10785"/>
                <a:gd name="connsiteY1675" fmla="*/ 3402 h 10000"/>
                <a:gd name="connsiteX1676" fmla="*/ 3659 w 10785"/>
                <a:gd name="connsiteY1676" fmla="*/ 3419 h 10000"/>
                <a:gd name="connsiteX1677" fmla="*/ 3631 w 10785"/>
                <a:gd name="connsiteY1677" fmla="*/ 3402 h 10000"/>
                <a:gd name="connsiteX1678" fmla="*/ 3604 w 10785"/>
                <a:gd name="connsiteY1678" fmla="*/ 3393 h 10000"/>
                <a:gd name="connsiteX1679" fmla="*/ 3599 w 10785"/>
                <a:gd name="connsiteY1679" fmla="*/ 3368 h 10000"/>
                <a:gd name="connsiteX1680" fmla="*/ 3590 w 10785"/>
                <a:gd name="connsiteY1680" fmla="*/ 3239 h 10000"/>
                <a:gd name="connsiteX1681" fmla="*/ 3599 w 10785"/>
                <a:gd name="connsiteY1681" fmla="*/ 3179 h 10000"/>
                <a:gd name="connsiteX1682" fmla="*/ 3599 w 10785"/>
                <a:gd name="connsiteY1682" fmla="*/ 3171 h 10000"/>
                <a:gd name="connsiteX1683" fmla="*/ 3599 w 10785"/>
                <a:gd name="connsiteY1683" fmla="*/ 3009 h 10000"/>
                <a:gd name="connsiteX1684" fmla="*/ 3604 w 10785"/>
                <a:gd name="connsiteY1684" fmla="*/ 2983 h 10000"/>
                <a:gd name="connsiteX1685" fmla="*/ 3645 w 10785"/>
                <a:gd name="connsiteY1685" fmla="*/ 2932 h 10000"/>
                <a:gd name="connsiteX1686" fmla="*/ 3650 w 10785"/>
                <a:gd name="connsiteY1686" fmla="*/ 2872 h 10000"/>
                <a:gd name="connsiteX1687" fmla="*/ 3659 w 10785"/>
                <a:gd name="connsiteY1687" fmla="*/ 2855 h 10000"/>
                <a:gd name="connsiteX1688" fmla="*/ 3659 w 10785"/>
                <a:gd name="connsiteY1688" fmla="*/ 2821 h 10000"/>
                <a:gd name="connsiteX1689" fmla="*/ 3631 w 10785"/>
                <a:gd name="connsiteY1689" fmla="*/ 2795 h 10000"/>
                <a:gd name="connsiteX1690" fmla="*/ 3567 w 10785"/>
                <a:gd name="connsiteY1690" fmla="*/ 2821 h 10000"/>
                <a:gd name="connsiteX1691" fmla="*/ 3544 w 10785"/>
                <a:gd name="connsiteY1691" fmla="*/ 2795 h 10000"/>
                <a:gd name="connsiteX1692" fmla="*/ 3530 w 10785"/>
                <a:gd name="connsiteY1692" fmla="*/ 2769 h 10000"/>
                <a:gd name="connsiteX1693" fmla="*/ 3530 w 10785"/>
                <a:gd name="connsiteY1693" fmla="*/ 2786 h 10000"/>
                <a:gd name="connsiteX1694" fmla="*/ 3498 w 10785"/>
                <a:gd name="connsiteY1694" fmla="*/ 2692 h 10000"/>
                <a:gd name="connsiteX1695" fmla="*/ 3498 w 10785"/>
                <a:gd name="connsiteY1695" fmla="*/ 2667 h 10000"/>
                <a:gd name="connsiteX1696" fmla="*/ 3442 w 10785"/>
                <a:gd name="connsiteY1696" fmla="*/ 2607 h 10000"/>
                <a:gd name="connsiteX1697" fmla="*/ 3433 w 10785"/>
                <a:gd name="connsiteY1697" fmla="*/ 2581 h 10000"/>
                <a:gd name="connsiteX1698" fmla="*/ 3396 w 10785"/>
                <a:gd name="connsiteY1698" fmla="*/ 2556 h 10000"/>
                <a:gd name="connsiteX1699" fmla="*/ 3318 w 10785"/>
                <a:gd name="connsiteY1699" fmla="*/ 2556 h 10000"/>
                <a:gd name="connsiteX1700" fmla="*/ 3304 w 10785"/>
                <a:gd name="connsiteY1700" fmla="*/ 2607 h 10000"/>
                <a:gd name="connsiteX1701" fmla="*/ 3276 w 10785"/>
                <a:gd name="connsiteY1701" fmla="*/ 2632 h 10000"/>
                <a:gd name="connsiteX1702" fmla="*/ 3272 w 10785"/>
                <a:gd name="connsiteY1702" fmla="*/ 2667 h 10000"/>
                <a:gd name="connsiteX1703" fmla="*/ 3304 w 10785"/>
                <a:gd name="connsiteY1703" fmla="*/ 2667 h 10000"/>
                <a:gd name="connsiteX1704" fmla="*/ 3323 w 10785"/>
                <a:gd name="connsiteY1704" fmla="*/ 2692 h 10000"/>
                <a:gd name="connsiteX1705" fmla="*/ 3318 w 10785"/>
                <a:gd name="connsiteY1705" fmla="*/ 2735 h 10000"/>
                <a:gd name="connsiteX1706" fmla="*/ 3304 w 10785"/>
                <a:gd name="connsiteY1706" fmla="*/ 2761 h 10000"/>
                <a:gd name="connsiteX1707" fmla="*/ 3276 w 10785"/>
                <a:gd name="connsiteY1707" fmla="*/ 2769 h 10000"/>
                <a:gd name="connsiteX1708" fmla="*/ 3263 w 10785"/>
                <a:gd name="connsiteY1708" fmla="*/ 2795 h 10000"/>
                <a:gd name="connsiteX1709" fmla="*/ 3235 w 10785"/>
                <a:gd name="connsiteY1709" fmla="*/ 2803 h 10000"/>
                <a:gd name="connsiteX1710" fmla="*/ 3235 w 10785"/>
                <a:gd name="connsiteY1710" fmla="*/ 2786 h 10000"/>
                <a:gd name="connsiteX1711" fmla="*/ 3212 w 10785"/>
                <a:gd name="connsiteY1711" fmla="*/ 2709 h 10000"/>
                <a:gd name="connsiteX1712" fmla="*/ 3198 w 10785"/>
                <a:gd name="connsiteY1712" fmla="*/ 2709 h 10000"/>
                <a:gd name="connsiteX1713" fmla="*/ 3184 w 10785"/>
                <a:gd name="connsiteY1713" fmla="*/ 2735 h 10000"/>
                <a:gd name="connsiteX1714" fmla="*/ 3189 w 10785"/>
                <a:gd name="connsiteY1714" fmla="*/ 2761 h 10000"/>
                <a:gd name="connsiteX1715" fmla="*/ 3203 w 10785"/>
                <a:gd name="connsiteY1715" fmla="*/ 2855 h 10000"/>
                <a:gd name="connsiteX1716" fmla="*/ 3212 w 10785"/>
                <a:gd name="connsiteY1716" fmla="*/ 2872 h 10000"/>
                <a:gd name="connsiteX1717" fmla="*/ 3235 w 10785"/>
                <a:gd name="connsiteY1717" fmla="*/ 2906 h 10000"/>
                <a:gd name="connsiteX1718" fmla="*/ 3258 w 10785"/>
                <a:gd name="connsiteY1718" fmla="*/ 2915 h 10000"/>
                <a:gd name="connsiteX1719" fmla="*/ 3272 w 10785"/>
                <a:gd name="connsiteY1719" fmla="*/ 2957 h 10000"/>
                <a:gd name="connsiteX1720" fmla="*/ 3276 w 10785"/>
                <a:gd name="connsiteY1720" fmla="*/ 2957 h 10000"/>
                <a:gd name="connsiteX1721" fmla="*/ 3286 w 10785"/>
                <a:gd name="connsiteY1721" fmla="*/ 2966 h 10000"/>
                <a:gd name="connsiteX1722" fmla="*/ 3300 w 10785"/>
                <a:gd name="connsiteY1722" fmla="*/ 2957 h 10000"/>
                <a:gd name="connsiteX1723" fmla="*/ 3309 w 10785"/>
                <a:gd name="connsiteY1723" fmla="*/ 2932 h 10000"/>
                <a:gd name="connsiteX1724" fmla="*/ 3304 w 10785"/>
                <a:gd name="connsiteY1724" fmla="*/ 2966 h 10000"/>
                <a:gd name="connsiteX1725" fmla="*/ 3309 w 10785"/>
                <a:gd name="connsiteY1725" fmla="*/ 2983 h 10000"/>
                <a:gd name="connsiteX1726" fmla="*/ 3323 w 10785"/>
                <a:gd name="connsiteY1726" fmla="*/ 2966 h 10000"/>
                <a:gd name="connsiteX1727" fmla="*/ 3323 w 10785"/>
                <a:gd name="connsiteY1727" fmla="*/ 3043 h 10000"/>
                <a:gd name="connsiteX1728" fmla="*/ 3346 w 10785"/>
                <a:gd name="connsiteY1728" fmla="*/ 3068 h 10000"/>
                <a:gd name="connsiteX1729" fmla="*/ 3346 w 10785"/>
                <a:gd name="connsiteY1729" fmla="*/ 3094 h 10000"/>
                <a:gd name="connsiteX1730" fmla="*/ 3323 w 10785"/>
                <a:gd name="connsiteY1730" fmla="*/ 3094 h 10000"/>
                <a:gd name="connsiteX1731" fmla="*/ 3309 w 10785"/>
                <a:gd name="connsiteY1731" fmla="*/ 3077 h 10000"/>
                <a:gd name="connsiteX1732" fmla="*/ 3304 w 10785"/>
                <a:gd name="connsiteY1732" fmla="*/ 3051 h 10000"/>
                <a:gd name="connsiteX1733" fmla="*/ 3300 w 10785"/>
                <a:gd name="connsiteY1733" fmla="*/ 3043 h 10000"/>
                <a:gd name="connsiteX1734" fmla="*/ 3286 w 10785"/>
                <a:gd name="connsiteY1734" fmla="*/ 3017 h 10000"/>
                <a:gd name="connsiteX1735" fmla="*/ 3152 w 10785"/>
                <a:gd name="connsiteY1735" fmla="*/ 2966 h 10000"/>
                <a:gd name="connsiteX1736" fmla="*/ 3129 w 10785"/>
                <a:gd name="connsiteY1736" fmla="*/ 2915 h 10000"/>
                <a:gd name="connsiteX1737" fmla="*/ 3129 w 10785"/>
                <a:gd name="connsiteY1737" fmla="*/ 2906 h 10000"/>
                <a:gd name="connsiteX1738" fmla="*/ 3152 w 10785"/>
                <a:gd name="connsiteY1738" fmla="*/ 2906 h 10000"/>
                <a:gd name="connsiteX1739" fmla="*/ 3152 w 10785"/>
                <a:gd name="connsiteY1739" fmla="*/ 2846 h 10000"/>
                <a:gd name="connsiteX1740" fmla="*/ 3138 w 10785"/>
                <a:gd name="connsiteY1740" fmla="*/ 2795 h 10000"/>
                <a:gd name="connsiteX1741" fmla="*/ 3138 w 10785"/>
                <a:gd name="connsiteY1741" fmla="*/ 2769 h 10000"/>
                <a:gd name="connsiteX1742" fmla="*/ 3143 w 10785"/>
                <a:gd name="connsiteY1742" fmla="*/ 2718 h 10000"/>
                <a:gd name="connsiteX1743" fmla="*/ 3129 w 10785"/>
                <a:gd name="connsiteY1743" fmla="*/ 2692 h 10000"/>
                <a:gd name="connsiteX1744" fmla="*/ 3143 w 10785"/>
                <a:gd name="connsiteY1744" fmla="*/ 2667 h 10000"/>
                <a:gd name="connsiteX1745" fmla="*/ 3157 w 10785"/>
                <a:gd name="connsiteY1745" fmla="*/ 2581 h 10000"/>
                <a:gd name="connsiteX1746" fmla="*/ 3143 w 10785"/>
                <a:gd name="connsiteY1746" fmla="*/ 2496 h 10000"/>
                <a:gd name="connsiteX1747" fmla="*/ 3157 w 10785"/>
                <a:gd name="connsiteY1747" fmla="*/ 2487 h 10000"/>
                <a:gd name="connsiteX1748" fmla="*/ 3143 w 10785"/>
                <a:gd name="connsiteY1748" fmla="*/ 2444 h 10000"/>
                <a:gd name="connsiteX1749" fmla="*/ 3143 w 10785"/>
                <a:gd name="connsiteY1749" fmla="*/ 2419 h 10000"/>
                <a:gd name="connsiteX1750" fmla="*/ 3143 w 10785"/>
                <a:gd name="connsiteY1750" fmla="*/ 2410 h 10000"/>
                <a:gd name="connsiteX1751" fmla="*/ 3124 w 10785"/>
                <a:gd name="connsiteY1751" fmla="*/ 2376 h 10000"/>
                <a:gd name="connsiteX1752" fmla="*/ 3115 w 10785"/>
                <a:gd name="connsiteY1752" fmla="*/ 2350 h 10000"/>
                <a:gd name="connsiteX1753" fmla="*/ 3101 w 10785"/>
                <a:gd name="connsiteY1753" fmla="*/ 2359 h 10000"/>
                <a:gd name="connsiteX1754" fmla="*/ 3115 w 10785"/>
                <a:gd name="connsiteY1754" fmla="*/ 2581 h 10000"/>
                <a:gd name="connsiteX1755" fmla="*/ 3111 w 10785"/>
                <a:gd name="connsiteY1755" fmla="*/ 2624 h 10000"/>
                <a:gd name="connsiteX1756" fmla="*/ 3009 w 10785"/>
                <a:gd name="connsiteY1756" fmla="*/ 2761 h 10000"/>
                <a:gd name="connsiteX1757" fmla="*/ 3009 w 10785"/>
                <a:gd name="connsiteY1757" fmla="*/ 2803 h 10000"/>
                <a:gd name="connsiteX1758" fmla="*/ 3005 w 10785"/>
                <a:gd name="connsiteY1758" fmla="*/ 2829 h 10000"/>
                <a:gd name="connsiteX1759" fmla="*/ 2982 w 10785"/>
                <a:gd name="connsiteY1759" fmla="*/ 2872 h 10000"/>
                <a:gd name="connsiteX1760" fmla="*/ 2982 w 10785"/>
                <a:gd name="connsiteY1760" fmla="*/ 2880 h 10000"/>
                <a:gd name="connsiteX1761" fmla="*/ 3037 w 10785"/>
                <a:gd name="connsiteY1761" fmla="*/ 3034 h 10000"/>
                <a:gd name="connsiteX1762" fmla="*/ 3041 w 10785"/>
                <a:gd name="connsiteY1762" fmla="*/ 3103 h 10000"/>
                <a:gd name="connsiteX1763" fmla="*/ 3069 w 10785"/>
                <a:gd name="connsiteY1763" fmla="*/ 3188 h 10000"/>
                <a:gd name="connsiteX1764" fmla="*/ 3055 w 10785"/>
                <a:gd name="connsiteY1764" fmla="*/ 3325 h 10000"/>
                <a:gd name="connsiteX1765" fmla="*/ 3037 w 10785"/>
                <a:gd name="connsiteY1765" fmla="*/ 3368 h 10000"/>
                <a:gd name="connsiteX1766" fmla="*/ 3037 w 10785"/>
                <a:gd name="connsiteY1766" fmla="*/ 3444 h 10000"/>
                <a:gd name="connsiteX1767" fmla="*/ 3028 w 10785"/>
                <a:gd name="connsiteY1767" fmla="*/ 3453 h 10000"/>
                <a:gd name="connsiteX1768" fmla="*/ 3023 w 10785"/>
                <a:gd name="connsiteY1768" fmla="*/ 3530 h 10000"/>
                <a:gd name="connsiteX1769" fmla="*/ 3051 w 10785"/>
                <a:gd name="connsiteY1769" fmla="*/ 3624 h 10000"/>
                <a:gd name="connsiteX1770" fmla="*/ 3037 w 10785"/>
                <a:gd name="connsiteY1770" fmla="*/ 3718 h 10000"/>
                <a:gd name="connsiteX1771" fmla="*/ 3041 w 10785"/>
                <a:gd name="connsiteY1771" fmla="*/ 3752 h 10000"/>
                <a:gd name="connsiteX1772" fmla="*/ 3055 w 10785"/>
                <a:gd name="connsiteY1772" fmla="*/ 3761 h 10000"/>
                <a:gd name="connsiteX1773" fmla="*/ 3078 w 10785"/>
                <a:gd name="connsiteY1773" fmla="*/ 3752 h 10000"/>
                <a:gd name="connsiteX1774" fmla="*/ 3092 w 10785"/>
                <a:gd name="connsiteY1774" fmla="*/ 3752 h 10000"/>
                <a:gd name="connsiteX1775" fmla="*/ 3129 w 10785"/>
                <a:gd name="connsiteY1775" fmla="*/ 3761 h 10000"/>
                <a:gd name="connsiteX1776" fmla="*/ 3129 w 10785"/>
                <a:gd name="connsiteY1776" fmla="*/ 3735 h 10000"/>
                <a:gd name="connsiteX1777" fmla="*/ 3157 w 10785"/>
                <a:gd name="connsiteY1777" fmla="*/ 3718 h 10000"/>
                <a:gd name="connsiteX1778" fmla="*/ 3184 w 10785"/>
                <a:gd name="connsiteY1778" fmla="*/ 3718 h 10000"/>
                <a:gd name="connsiteX1779" fmla="*/ 3290 w 10785"/>
                <a:gd name="connsiteY1779" fmla="*/ 3838 h 10000"/>
                <a:gd name="connsiteX1780" fmla="*/ 3300 w 10785"/>
                <a:gd name="connsiteY1780" fmla="*/ 3846 h 10000"/>
                <a:gd name="connsiteX1781" fmla="*/ 3300 w 10785"/>
                <a:gd name="connsiteY1781" fmla="*/ 3915 h 10000"/>
                <a:gd name="connsiteX1782" fmla="*/ 3318 w 10785"/>
                <a:gd name="connsiteY1782" fmla="*/ 4000 h 10000"/>
                <a:gd name="connsiteX1783" fmla="*/ 3323 w 10785"/>
                <a:gd name="connsiteY1783" fmla="*/ 4000 h 10000"/>
                <a:gd name="connsiteX1784" fmla="*/ 3323 w 10785"/>
                <a:gd name="connsiteY1784" fmla="*/ 4034 h 10000"/>
                <a:gd name="connsiteX1785" fmla="*/ 3318 w 10785"/>
                <a:gd name="connsiteY1785" fmla="*/ 4051 h 10000"/>
                <a:gd name="connsiteX1786" fmla="*/ 3300 w 10785"/>
                <a:gd name="connsiteY1786" fmla="*/ 4051 h 10000"/>
                <a:gd name="connsiteX1787" fmla="*/ 3290 w 10785"/>
                <a:gd name="connsiteY1787" fmla="*/ 4077 h 10000"/>
                <a:gd name="connsiteX1788" fmla="*/ 3286 w 10785"/>
                <a:gd name="connsiteY1788" fmla="*/ 4103 h 10000"/>
                <a:gd name="connsiteX1789" fmla="*/ 3286 w 10785"/>
                <a:gd name="connsiteY1789" fmla="*/ 4197 h 10000"/>
                <a:gd name="connsiteX1790" fmla="*/ 3290 w 10785"/>
                <a:gd name="connsiteY1790" fmla="*/ 4214 h 10000"/>
                <a:gd name="connsiteX1791" fmla="*/ 3304 w 10785"/>
                <a:gd name="connsiteY1791" fmla="*/ 4214 h 10000"/>
                <a:gd name="connsiteX1792" fmla="*/ 3323 w 10785"/>
                <a:gd name="connsiteY1792" fmla="*/ 4239 h 10000"/>
                <a:gd name="connsiteX1793" fmla="*/ 3350 w 10785"/>
                <a:gd name="connsiteY1793" fmla="*/ 4222 h 10000"/>
                <a:gd name="connsiteX1794" fmla="*/ 3369 w 10785"/>
                <a:gd name="connsiteY1794" fmla="*/ 4256 h 10000"/>
                <a:gd name="connsiteX1795" fmla="*/ 3369 w 10785"/>
                <a:gd name="connsiteY1795" fmla="*/ 4256 h 10000"/>
                <a:gd name="connsiteX1796" fmla="*/ 3336 w 10785"/>
                <a:gd name="connsiteY1796" fmla="*/ 4274 h 10000"/>
                <a:gd name="connsiteX1797" fmla="*/ 3323 w 10785"/>
                <a:gd name="connsiteY1797" fmla="*/ 4274 h 10000"/>
                <a:gd name="connsiteX1798" fmla="*/ 3290 w 10785"/>
                <a:gd name="connsiteY1798" fmla="*/ 4274 h 10000"/>
                <a:gd name="connsiteX1799" fmla="*/ 3286 w 10785"/>
                <a:gd name="connsiteY1799" fmla="*/ 4239 h 10000"/>
                <a:gd name="connsiteX1800" fmla="*/ 3263 w 10785"/>
                <a:gd name="connsiteY1800" fmla="*/ 4214 h 10000"/>
                <a:gd name="connsiteX1801" fmla="*/ 3258 w 10785"/>
                <a:gd name="connsiteY1801" fmla="*/ 4188 h 10000"/>
                <a:gd name="connsiteX1802" fmla="*/ 3263 w 10785"/>
                <a:gd name="connsiteY1802" fmla="*/ 4171 h 10000"/>
                <a:gd name="connsiteX1803" fmla="*/ 3263 w 10785"/>
                <a:gd name="connsiteY1803" fmla="*/ 4103 h 10000"/>
                <a:gd name="connsiteX1804" fmla="*/ 3276 w 10785"/>
                <a:gd name="connsiteY1804" fmla="*/ 4060 h 10000"/>
                <a:gd name="connsiteX1805" fmla="*/ 3272 w 10785"/>
                <a:gd name="connsiteY1805" fmla="*/ 4051 h 10000"/>
                <a:gd name="connsiteX1806" fmla="*/ 3263 w 10785"/>
                <a:gd name="connsiteY1806" fmla="*/ 4051 h 10000"/>
                <a:gd name="connsiteX1807" fmla="*/ 3263 w 10785"/>
                <a:gd name="connsiteY1807" fmla="*/ 4034 h 10000"/>
                <a:gd name="connsiteX1808" fmla="*/ 3263 w 10785"/>
                <a:gd name="connsiteY1808" fmla="*/ 4000 h 10000"/>
                <a:gd name="connsiteX1809" fmla="*/ 3272 w 10785"/>
                <a:gd name="connsiteY1809" fmla="*/ 4000 h 10000"/>
                <a:gd name="connsiteX1810" fmla="*/ 3272 w 10785"/>
                <a:gd name="connsiteY1810" fmla="*/ 3974 h 10000"/>
                <a:gd name="connsiteX1811" fmla="*/ 3272 w 10785"/>
                <a:gd name="connsiteY1811" fmla="*/ 3966 h 10000"/>
                <a:gd name="connsiteX1812" fmla="*/ 3272 w 10785"/>
                <a:gd name="connsiteY1812" fmla="*/ 3949 h 10000"/>
                <a:gd name="connsiteX1813" fmla="*/ 3258 w 10785"/>
                <a:gd name="connsiteY1813" fmla="*/ 3923 h 10000"/>
                <a:gd name="connsiteX1814" fmla="*/ 3249 w 10785"/>
                <a:gd name="connsiteY1814" fmla="*/ 3915 h 10000"/>
                <a:gd name="connsiteX1815" fmla="*/ 3244 w 10785"/>
                <a:gd name="connsiteY1815" fmla="*/ 3897 h 10000"/>
                <a:gd name="connsiteX1816" fmla="*/ 3230 w 10785"/>
                <a:gd name="connsiteY1816" fmla="*/ 3889 h 10000"/>
                <a:gd name="connsiteX1817" fmla="*/ 3230 w 10785"/>
                <a:gd name="connsiteY1817" fmla="*/ 3863 h 10000"/>
                <a:gd name="connsiteX1818" fmla="*/ 3230 w 10785"/>
                <a:gd name="connsiteY1818" fmla="*/ 3838 h 10000"/>
                <a:gd name="connsiteX1819" fmla="*/ 3226 w 10785"/>
                <a:gd name="connsiteY1819" fmla="*/ 3803 h 10000"/>
                <a:gd name="connsiteX1820" fmla="*/ 3138 w 10785"/>
                <a:gd name="connsiteY1820" fmla="*/ 3838 h 10000"/>
                <a:gd name="connsiteX1821" fmla="*/ 3078 w 10785"/>
                <a:gd name="connsiteY1821" fmla="*/ 3889 h 10000"/>
                <a:gd name="connsiteX1822" fmla="*/ 3078 w 10785"/>
                <a:gd name="connsiteY1822" fmla="*/ 3940 h 10000"/>
                <a:gd name="connsiteX1823" fmla="*/ 3069 w 10785"/>
                <a:gd name="connsiteY1823" fmla="*/ 3983 h 10000"/>
                <a:gd name="connsiteX1824" fmla="*/ 3069 w 10785"/>
                <a:gd name="connsiteY1824" fmla="*/ 4009 h 10000"/>
                <a:gd name="connsiteX1825" fmla="*/ 3078 w 10785"/>
                <a:gd name="connsiteY1825" fmla="*/ 4026 h 10000"/>
                <a:gd name="connsiteX1826" fmla="*/ 3083 w 10785"/>
                <a:gd name="connsiteY1826" fmla="*/ 4034 h 10000"/>
                <a:gd name="connsiteX1827" fmla="*/ 3092 w 10785"/>
                <a:gd name="connsiteY1827" fmla="*/ 4060 h 10000"/>
                <a:gd name="connsiteX1828" fmla="*/ 3092 w 10785"/>
                <a:gd name="connsiteY1828" fmla="*/ 4077 h 10000"/>
                <a:gd name="connsiteX1829" fmla="*/ 3097 w 10785"/>
                <a:gd name="connsiteY1829" fmla="*/ 4103 h 10000"/>
                <a:gd name="connsiteX1830" fmla="*/ 3101 w 10785"/>
                <a:gd name="connsiteY1830" fmla="*/ 4162 h 10000"/>
                <a:gd name="connsiteX1831" fmla="*/ 3097 w 10785"/>
                <a:gd name="connsiteY1831" fmla="*/ 4222 h 10000"/>
                <a:gd name="connsiteX1832" fmla="*/ 3041 w 10785"/>
                <a:gd name="connsiteY1832" fmla="*/ 4325 h 10000"/>
                <a:gd name="connsiteX1833" fmla="*/ 3037 w 10785"/>
                <a:gd name="connsiteY1833" fmla="*/ 4419 h 10000"/>
                <a:gd name="connsiteX1834" fmla="*/ 3018 w 10785"/>
                <a:gd name="connsiteY1834" fmla="*/ 4470 h 10000"/>
                <a:gd name="connsiteX1835" fmla="*/ 2991 w 10785"/>
                <a:gd name="connsiteY1835" fmla="*/ 4513 h 10000"/>
                <a:gd name="connsiteX1836" fmla="*/ 2977 w 10785"/>
                <a:gd name="connsiteY1836" fmla="*/ 4530 h 10000"/>
                <a:gd name="connsiteX1837" fmla="*/ 2945 w 10785"/>
                <a:gd name="connsiteY1837" fmla="*/ 4556 h 10000"/>
                <a:gd name="connsiteX1838" fmla="*/ 2935 w 10785"/>
                <a:gd name="connsiteY1838" fmla="*/ 4581 h 10000"/>
                <a:gd name="connsiteX1839" fmla="*/ 2949 w 10785"/>
                <a:gd name="connsiteY1839" fmla="*/ 4624 h 10000"/>
                <a:gd name="connsiteX1840" fmla="*/ 2945 w 10785"/>
                <a:gd name="connsiteY1840" fmla="*/ 4658 h 10000"/>
                <a:gd name="connsiteX1841" fmla="*/ 2922 w 10785"/>
                <a:gd name="connsiteY1841" fmla="*/ 4667 h 10000"/>
                <a:gd name="connsiteX1842" fmla="*/ 2876 w 10785"/>
                <a:gd name="connsiteY1842" fmla="*/ 4632 h 10000"/>
                <a:gd name="connsiteX1843" fmla="*/ 2857 w 10785"/>
                <a:gd name="connsiteY1843" fmla="*/ 4632 h 10000"/>
                <a:gd name="connsiteX1844" fmla="*/ 2820 w 10785"/>
                <a:gd name="connsiteY1844" fmla="*/ 4641 h 10000"/>
                <a:gd name="connsiteX1845" fmla="*/ 2797 w 10785"/>
                <a:gd name="connsiteY1845" fmla="*/ 4632 h 10000"/>
                <a:gd name="connsiteX1846" fmla="*/ 2788 w 10785"/>
                <a:gd name="connsiteY1846" fmla="*/ 4624 h 10000"/>
                <a:gd name="connsiteX1847" fmla="*/ 2788 w 10785"/>
                <a:gd name="connsiteY1847" fmla="*/ 4598 h 10000"/>
                <a:gd name="connsiteX1848" fmla="*/ 2797 w 10785"/>
                <a:gd name="connsiteY1848" fmla="*/ 4581 h 10000"/>
                <a:gd name="connsiteX1849" fmla="*/ 2788 w 10785"/>
                <a:gd name="connsiteY1849" fmla="*/ 4530 h 10000"/>
                <a:gd name="connsiteX1850" fmla="*/ 2774 w 10785"/>
                <a:gd name="connsiteY1850" fmla="*/ 4530 h 10000"/>
                <a:gd name="connsiteX1851" fmla="*/ 2770 w 10785"/>
                <a:gd name="connsiteY1851" fmla="*/ 4513 h 10000"/>
                <a:gd name="connsiteX1852" fmla="*/ 2774 w 10785"/>
                <a:gd name="connsiteY1852" fmla="*/ 4513 h 10000"/>
                <a:gd name="connsiteX1853" fmla="*/ 2788 w 10785"/>
                <a:gd name="connsiteY1853" fmla="*/ 4496 h 10000"/>
                <a:gd name="connsiteX1854" fmla="*/ 2802 w 10785"/>
                <a:gd name="connsiteY1854" fmla="*/ 4513 h 10000"/>
                <a:gd name="connsiteX1855" fmla="*/ 2811 w 10785"/>
                <a:gd name="connsiteY1855" fmla="*/ 4530 h 10000"/>
                <a:gd name="connsiteX1856" fmla="*/ 2820 w 10785"/>
                <a:gd name="connsiteY1856" fmla="*/ 4521 h 10000"/>
                <a:gd name="connsiteX1857" fmla="*/ 2829 w 10785"/>
                <a:gd name="connsiteY1857" fmla="*/ 4513 h 10000"/>
                <a:gd name="connsiteX1858" fmla="*/ 2843 w 10785"/>
                <a:gd name="connsiteY1858" fmla="*/ 4513 h 10000"/>
                <a:gd name="connsiteX1859" fmla="*/ 2848 w 10785"/>
                <a:gd name="connsiteY1859" fmla="*/ 4470 h 10000"/>
                <a:gd name="connsiteX1860" fmla="*/ 2862 w 10785"/>
                <a:gd name="connsiteY1860" fmla="*/ 4487 h 10000"/>
                <a:gd name="connsiteX1861" fmla="*/ 2876 w 10785"/>
                <a:gd name="connsiteY1861" fmla="*/ 4470 h 10000"/>
                <a:gd name="connsiteX1862" fmla="*/ 2880 w 10785"/>
                <a:gd name="connsiteY1862" fmla="*/ 4462 h 10000"/>
                <a:gd name="connsiteX1863" fmla="*/ 2889 w 10785"/>
                <a:gd name="connsiteY1863" fmla="*/ 4444 h 10000"/>
                <a:gd name="connsiteX1864" fmla="*/ 2894 w 10785"/>
                <a:gd name="connsiteY1864" fmla="*/ 4462 h 10000"/>
                <a:gd name="connsiteX1865" fmla="*/ 2917 w 10785"/>
                <a:gd name="connsiteY1865" fmla="*/ 4444 h 10000"/>
                <a:gd name="connsiteX1866" fmla="*/ 2922 w 10785"/>
                <a:gd name="connsiteY1866" fmla="*/ 4436 h 10000"/>
                <a:gd name="connsiteX1867" fmla="*/ 2917 w 10785"/>
                <a:gd name="connsiteY1867" fmla="*/ 4410 h 10000"/>
                <a:gd name="connsiteX1868" fmla="*/ 2894 w 10785"/>
                <a:gd name="connsiteY1868" fmla="*/ 4410 h 10000"/>
                <a:gd name="connsiteX1869" fmla="*/ 2889 w 10785"/>
                <a:gd name="connsiteY1869" fmla="*/ 4419 h 10000"/>
                <a:gd name="connsiteX1870" fmla="*/ 2876 w 10785"/>
                <a:gd name="connsiteY1870" fmla="*/ 4410 h 10000"/>
                <a:gd name="connsiteX1871" fmla="*/ 2880 w 10785"/>
                <a:gd name="connsiteY1871" fmla="*/ 4376 h 10000"/>
                <a:gd name="connsiteX1872" fmla="*/ 2903 w 10785"/>
                <a:gd name="connsiteY1872" fmla="*/ 4393 h 10000"/>
                <a:gd name="connsiteX1873" fmla="*/ 2931 w 10785"/>
                <a:gd name="connsiteY1873" fmla="*/ 4393 h 10000"/>
                <a:gd name="connsiteX1874" fmla="*/ 2931 w 10785"/>
                <a:gd name="connsiteY1874" fmla="*/ 4385 h 10000"/>
                <a:gd name="connsiteX1875" fmla="*/ 2931 w 10785"/>
                <a:gd name="connsiteY1875" fmla="*/ 4350 h 10000"/>
                <a:gd name="connsiteX1876" fmla="*/ 2945 w 10785"/>
                <a:gd name="connsiteY1876" fmla="*/ 4350 h 10000"/>
                <a:gd name="connsiteX1877" fmla="*/ 2949 w 10785"/>
                <a:gd name="connsiteY1877" fmla="*/ 4325 h 10000"/>
                <a:gd name="connsiteX1878" fmla="*/ 2963 w 10785"/>
                <a:gd name="connsiteY1878" fmla="*/ 4256 h 10000"/>
                <a:gd name="connsiteX1879" fmla="*/ 2982 w 10785"/>
                <a:gd name="connsiteY1879" fmla="*/ 4239 h 10000"/>
                <a:gd name="connsiteX1880" fmla="*/ 2991 w 10785"/>
                <a:gd name="connsiteY1880" fmla="*/ 4214 h 10000"/>
                <a:gd name="connsiteX1881" fmla="*/ 2991 w 10785"/>
                <a:gd name="connsiteY1881" fmla="*/ 4197 h 10000"/>
                <a:gd name="connsiteX1882" fmla="*/ 2995 w 10785"/>
                <a:gd name="connsiteY1882" fmla="*/ 4171 h 10000"/>
                <a:gd name="connsiteX1883" fmla="*/ 2991 w 10785"/>
                <a:gd name="connsiteY1883" fmla="*/ 4077 h 10000"/>
                <a:gd name="connsiteX1884" fmla="*/ 2995 w 10785"/>
                <a:gd name="connsiteY1884" fmla="*/ 4034 h 10000"/>
                <a:gd name="connsiteX1885" fmla="*/ 3018 w 10785"/>
                <a:gd name="connsiteY1885" fmla="*/ 3983 h 10000"/>
                <a:gd name="connsiteX1886" fmla="*/ 3018 w 10785"/>
                <a:gd name="connsiteY1886" fmla="*/ 3915 h 10000"/>
                <a:gd name="connsiteX1887" fmla="*/ 2949 w 10785"/>
                <a:gd name="connsiteY1887" fmla="*/ 3778 h 10000"/>
                <a:gd name="connsiteX1888" fmla="*/ 2954 w 10785"/>
                <a:gd name="connsiteY1888" fmla="*/ 3675 h 10000"/>
                <a:gd name="connsiteX1889" fmla="*/ 2954 w 10785"/>
                <a:gd name="connsiteY1889" fmla="*/ 3650 h 10000"/>
                <a:gd name="connsiteX1890" fmla="*/ 2963 w 10785"/>
                <a:gd name="connsiteY1890" fmla="*/ 3624 h 10000"/>
                <a:gd name="connsiteX1891" fmla="*/ 2954 w 10785"/>
                <a:gd name="connsiteY1891" fmla="*/ 3564 h 10000"/>
                <a:gd name="connsiteX1892" fmla="*/ 2963 w 10785"/>
                <a:gd name="connsiteY1892" fmla="*/ 3538 h 10000"/>
                <a:gd name="connsiteX1893" fmla="*/ 2963 w 10785"/>
                <a:gd name="connsiteY1893" fmla="*/ 3487 h 10000"/>
                <a:gd name="connsiteX1894" fmla="*/ 2963 w 10785"/>
                <a:gd name="connsiteY1894" fmla="*/ 3479 h 10000"/>
                <a:gd name="connsiteX1895" fmla="*/ 2963 w 10785"/>
                <a:gd name="connsiteY1895" fmla="*/ 3462 h 10000"/>
                <a:gd name="connsiteX1896" fmla="*/ 2954 w 10785"/>
                <a:gd name="connsiteY1896" fmla="*/ 3453 h 10000"/>
                <a:gd name="connsiteX1897" fmla="*/ 2954 w 10785"/>
                <a:gd name="connsiteY1897" fmla="*/ 3444 h 10000"/>
                <a:gd name="connsiteX1898" fmla="*/ 2954 w 10785"/>
                <a:gd name="connsiteY1898" fmla="*/ 3402 h 10000"/>
                <a:gd name="connsiteX1899" fmla="*/ 2954 w 10785"/>
                <a:gd name="connsiteY1899" fmla="*/ 3393 h 10000"/>
                <a:gd name="connsiteX1900" fmla="*/ 2949 w 10785"/>
                <a:gd name="connsiteY1900" fmla="*/ 3376 h 10000"/>
                <a:gd name="connsiteX1901" fmla="*/ 2949 w 10785"/>
                <a:gd name="connsiteY1901" fmla="*/ 3342 h 10000"/>
                <a:gd name="connsiteX1902" fmla="*/ 2949 w 10785"/>
                <a:gd name="connsiteY1902" fmla="*/ 3316 h 10000"/>
                <a:gd name="connsiteX1903" fmla="*/ 2968 w 10785"/>
                <a:gd name="connsiteY1903" fmla="*/ 3291 h 10000"/>
                <a:gd name="connsiteX1904" fmla="*/ 2963 w 10785"/>
                <a:gd name="connsiteY1904" fmla="*/ 3205 h 10000"/>
                <a:gd name="connsiteX1905" fmla="*/ 2968 w 10785"/>
                <a:gd name="connsiteY1905" fmla="*/ 3171 h 10000"/>
                <a:gd name="connsiteX1906" fmla="*/ 2968 w 10785"/>
                <a:gd name="connsiteY1906" fmla="*/ 3128 h 10000"/>
                <a:gd name="connsiteX1907" fmla="*/ 2954 w 10785"/>
                <a:gd name="connsiteY1907" fmla="*/ 3051 h 10000"/>
                <a:gd name="connsiteX1908" fmla="*/ 2954 w 10785"/>
                <a:gd name="connsiteY1908" fmla="*/ 3009 h 10000"/>
                <a:gd name="connsiteX1909" fmla="*/ 2922 w 10785"/>
                <a:gd name="connsiteY1909" fmla="*/ 2940 h 10000"/>
                <a:gd name="connsiteX1910" fmla="*/ 2903 w 10785"/>
                <a:gd name="connsiteY1910" fmla="*/ 2880 h 10000"/>
                <a:gd name="connsiteX1911" fmla="*/ 2903 w 10785"/>
                <a:gd name="connsiteY1911" fmla="*/ 2855 h 10000"/>
                <a:gd name="connsiteX1912" fmla="*/ 2908 w 10785"/>
                <a:gd name="connsiteY1912" fmla="*/ 2846 h 10000"/>
                <a:gd name="connsiteX1913" fmla="*/ 2931 w 10785"/>
                <a:gd name="connsiteY1913" fmla="*/ 2821 h 10000"/>
                <a:gd name="connsiteX1914" fmla="*/ 2931 w 10785"/>
                <a:gd name="connsiteY1914" fmla="*/ 2803 h 10000"/>
                <a:gd name="connsiteX1915" fmla="*/ 2935 w 10785"/>
                <a:gd name="connsiteY1915" fmla="*/ 2786 h 10000"/>
                <a:gd name="connsiteX1916" fmla="*/ 2935 w 10785"/>
                <a:gd name="connsiteY1916" fmla="*/ 2744 h 10000"/>
                <a:gd name="connsiteX1917" fmla="*/ 2963 w 10785"/>
                <a:gd name="connsiteY1917" fmla="*/ 2607 h 10000"/>
                <a:gd name="connsiteX1918" fmla="*/ 2963 w 10785"/>
                <a:gd name="connsiteY1918" fmla="*/ 2419 h 10000"/>
                <a:gd name="connsiteX1919" fmla="*/ 2954 w 10785"/>
                <a:gd name="connsiteY1919" fmla="*/ 2410 h 10000"/>
                <a:gd name="connsiteX1920" fmla="*/ 2963 w 10785"/>
                <a:gd name="connsiteY1920" fmla="*/ 2393 h 10000"/>
                <a:gd name="connsiteX1921" fmla="*/ 2908 w 10785"/>
                <a:gd name="connsiteY1921" fmla="*/ 2359 h 10000"/>
                <a:gd name="connsiteX1922" fmla="*/ 2889 w 10785"/>
                <a:gd name="connsiteY1922" fmla="*/ 2325 h 10000"/>
                <a:gd name="connsiteX1923" fmla="*/ 2788 w 10785"/>
                <a:gd name="connsiteY1923" fmla="*/ 2333 h 10000"/>
                <a:gd name="connsiteX1924" fmla="*/ 2774 w 10785"/>
                <a:gd name="connsiteY1924" fmla="*/ 2325 h 10000"/>
                <a:gd name="connsiteX1925" fmla="*/ 2783 w 10785"/>
                <a:gd name="connsiteY1925" fmla="*/ 2308 h 10000"/>
                <a:gd name="connsiteX1926" fmla="*/ 2747 w 10785"/>
                <a:gd name="connsiteY1926" fmla="*/ 2308 h 10000"/>
                <a:gd name="connsiteX1927" fmla="*/ 2742 w 10785"/>
                <a:gd name="connsiteY1927" fmla="*/ 2333 h 10000"/>
                <a:gd name="connsiteX1928" fmla="*/ 2682 w 10785"/>
                <a:gd name="connsiteY1928" fmla="*/ 2769 h 10000"/>
                <a:gd name="connsiteX1929" fmla="*/ 2613 w 10785"/>
                <a:gd name="connsiteY1929" fmla="*/ 2940 h 10000"/>
                <a:gd name="connsiteX1930" fmla="*/ 2581 w 10785"/>
                <a:gd name="connsiteY1930" fmla="*/ 2966 h 10000"/>
                <a:gd name="connsiteX1931" fmla="*/ 2576 w 10785"/>
                <a:gd name="connsiteY1931" fmla="*/ 3051 h 10000"/>
                <a:gd name="connsiteX1932" fmla="*/ 2581 w 10785"/>
                <a:gd name="connsiteY1932" fmla="*/ 3051 h 10000"/>
                <a:gd name="connsiteX1933" fmla="*/ 2594 w 10785"/>
                <a:gd name="connsiteY1933" fmla="*/ 3017 h 10000"/>
                <a:gd name="connsiteX1934" fmla="*/ 2594 w 10785"/>
                <a:gd name="connsiteY1934" fmla="*/ 3034 h 10000"/>
                <a:gd name="connsiteX1935" fmla="*/ 2594 w 10785"/>
                <a:gd name="connsiteY1935" fmla="*/ 3051 h 10000"/>
                <a:gd name="connsiteX1936" fmla="*/ 2590 w 10785"/>
                <a:gd name="connsiteY1936" fmla="*/ 3077 h 10000"/>
                <a:gd name="connsiteX1937" fmla="*/ 2567 w 10785"/>
                <a:gd name="connsiteY1937" fmla="*/ 3103 h 10000"/>
                <a:gd name="connsiteX1938" fmla="*/ 2562 w 10785"/>
                <a:gd name="connsiteY1938" fmla="*/ 3145 h 10000"/>
                <a:gd name="connsiteX1939" fmla="*/ 2567 w 10785"/>
                <a:gd name="connsiteY1939" fmla="*/ 3179 h 10000"/>
                <a:gd name="connsiteX1940" fmla="*/ 2590 w 10785"/>
                <a:gd name="connsiteY1940" fmla="*/ 3171 h 10000"/>
                <a:gd name="connsiteX1941" fmla="*/ 2594 w 10785"/>
                <a:gd name="connsiteY1941" fmla="*/ 3145 h 10000"/>
                <a:gd name="connsiteX1942" fmla="*/ 2613 w 10785"/>
                <a:gd name="connsiteY1942" fmla="*/ 3154 h 10000"/>
                <a:gd name="connsiteX1943" fmla="*/ 2622 w 10785"/>
                <a:gd name="connsiteY1943" fmla="*/ 3179 h 10000"/>
                <a:gd name="connsiteX1944" fmla="*/ 2613 w 10785"/>
                <a:gd name="connsiteY1944" fmla="*/ 3214 h 10000"/>
                <a:gd name="connsiteX1945" fmla="*/ 2613 w 10785"/>
                <a:gd name="connsiteY1945" fmla="*/ 3308 h 10000"/>
                <a:gd name="connsiteX1946" fmla="*/ 2608 w 10785"/>
                <a:gd name="connsiteY1946" fmla="*/ 3325 h 10000"/>
                <a:gd name="connsiteX1947" fmla="*/ 2608 w 10785"/>
                <a:gd name="connsiteY1947" fmla="*/ 3376 h 10000"/>
                <a:gd name="connsiteX1948" fmla="*/ 2613 w 10785"/>
                <a:gd name="connsiteY1948" fmla="*/ 3419 h 10000"/>
                <a:gd name="connsiteX1949" fmla="*/ 2608 w 10785"/>
                <a:gd name="connsiteY1949" fmla="*/ 3444 h 10000"/>
                <a:gd name="connsiteX1950" fmla="*/ 2594 w 10785"/>
                <a:gd name="connsiteY1950" fmla="*/ 3444 h 10000"/>
                <a:gd name="connsiteX1951" fmla="*/ 2590 w 10785"/>
                <a:gd name="connsiteY1951" fmla="*/ 3427 h 10000"/>
                <a:gd name="connsiteX1952" fmla="*/ 2581 w 10785"/>
                <a:gd name="connsiteY1952" fmla="*/ 3564 h 10000"/>
                <a:gd name="connsiteX1953" fmla="*/ 2594 w 10785"/>
                <a:gd name="connsiteY1953" fmla="*/ 3598 h 10000"/>
                <a:gd name="connsiteX1954" fmla="*/ 2594 w 10785"/>
                <a:gd name="connsiteY1954" fmla="*/ 3581 h 10000"/>
                <a:gd name="connsiteX1955" fmla="*/ 2608 w 10785"/>
                <a:gd name="connsiteY1955" fmla="*/ 3556 h 10000"/>
                <a:gd name="connsiteX1956" fmla="*/ 2650 w 10785"/>
                <a:gd name="connsiteY1956" fmla="*/ 3615 h 10000"/>
                <a:gd name="connsiteX1957" fmla="*/ 2664 w 10785"/>
                <a:gd name="connsiteY1957" fmla="*/ 3615 h 10000"/>
                <a:gd name="connsiteX1958" fmla="*/ 2668 w 10785"/>
                <a:gd name="connsiteY1958" fmla="*/ 3615 h 10000"/>
                <a:gd name="connsiteX1959" fmla="*/ 2664 w 10785"/>
                <a:gd name="connsiteY1959" fmla="*/ 3667 h 10000"/>
                <a:gd name="connsiteX1960" fmla="*/ 2687 w 10785"/>
                <a:gd name="connsiteY1960" fmla="*/ 3786 h 10000"/>
                <a:gd name="connsiteX1961" fmla="*/ 2710 w 10785"/>
                <a:gd name="connsiteY1961" fmla="*/ 3812 h 10000"/>
                <a:gd name="connsiteX1962" fmla="*/ 2724 w 10785"/>
                <a:gd name="connsiteY1962" fmla="*/ 3812 h 10000"/>
                <a:gd name="connsiteX1963" fmla="*/ 2724 w 10785"/>
                <a:gd name="connsiteY1963" fmla="*/ 3829 h 10000"/>
                <a:gd name="connsiteX1964" fmla="*/ 2737 w 10785"/>
                <a:gd name="connsiteY1964" fmla="*/ 3838 h 10000"/>
                <a:gd name="connsiteX1965" fmla="*/ 2714 w 10785"/>
                <a:gd name="connsiteY1965" fmla="*/ 3872 h 10000"/>
                <a:gd name="connsiteX1966" fmla="*/ 2696 w 10785"/>
                <a:gd name="connsiteY1966" fmla="*/ 4026 h 10000"/>
                <a:gd name="connsiteX1967" fmla="*/ 2673 w 10785"/>
                <a:gd name="connsiteY1967" fmla="*/ 4051 h 10000"/>
                <a:gd name="connsiteX1968" fmla="*/ 2668 w 10785"/>
                <a:gd name="connsiteY1968" fmla="*/ 4034 h 10000"/>
                <a:gd name="connsiteX1969" fmla="*/ 2673 w 10785"/>
                <a:gd name="connsiteY1969" fmla="*/ 4000 h 10000"/>
                <a:gd name="connsiteX1970" fmla="*/ 2664 w 10785"/>
                <a:gd name="connsiteY1970" fmla="*/ 3974 h 10000"/>
                <a:gd name="connsiteX1971" fmla="*/ 2636 w 10785"/>
                <a:gd name="connsiteY1971" fmla="*/ 3949 h 10000"/>
                <a:gd name="connsiteX1972" fmla="*/ 2581 w 10785"/>
                <a:gd name="connsiteY1972" fmla="*/ 3838 h 10000"/>
                <a:gd name="connsiteX1973" fmla="*/ 2562 w 10785"/>
                <a:gd name="connsiteY1973" fmla="*/ 3829 h 10000"/>
                <a:gd name="connsiteX1974" fmla="*/ 2535 w 10785"/>
                <a:gd name="connsiteY1974" fmla="*/ 3778 h 10000"/>
                <a:gd name="connsiteX1975" fmla="*/ 2502 w 10785"/>
                <a:gd name="connsiteY1975" fmla="*/ 3761 h 10000"/>
                <a:gd name="connsiteX1976" fmla="*/ 2502 w 10785"/>
                <a:gd name="connsiteY1976" fmla="*/ 3735 h 10000"/>
                <a:gd name="connsiteX1977" fmla="*/ 2516 w 10785"/>
                <a:gd name="connsiteY1977" fmla="*/ 3735 h 10000"/>
                <a:gd name="connsiteX1978" fmla="*/ 2507 w 10785"/>
                <a:gd name="connsiteY1978" fmla="*/ 3726 h 10000"/>
                <a:gd name="connsiteX1979" fmla="*/ 2488 w 10785"/>
                <a:gd name="connsiteY1979" fmla="*/ 3726 h 10000"/>
                <a:gd name="connsiteX1980" fmla="*/ 2461 w 10785"/>
                <a:gd name="connsiteY1980" fmla="*/ 3692 h 10000"/>
                <a:gd name="connsiteX1981" fmla="*/ 2442 w 10785"/>
                <a:gd name="connsiteY1981" fmla="*/ 3675 h 10000"/>
                <a:gd name="connsiteX1982" fmla="*/ 2406 w 10785"/>
                <a:gd name="connsiteY1982" fmla="*/ 3598 h 10000"/>
                <a:gd name="connsiteX1983" fmla="*/ 2346 w 10785"/>
                <a:gd name="connsiteY1983" fmla="*/ 3564 h 10000"/>
                <a:gd name="connsiteX1984" fmla="*/ 2341 w 10785"/>
                <a:gd name="connsiteY1984" fmla="*/ 3564 h 10000"/>
                <a:gd name="connsiteX1985" fmla="*/ 2313 w 10785"/>
                <a:gd name="connsiteY1985" fmla="*/ 3530 h 10000"/>
                <a:gd name="connsiteX1986" fmla="*/ 2235 w 10785"/>
                <a:gd name="connsiteY1986" fmla="*/ 3530 h 10000"/>
                <a:gd name="connsiteX1987" fmla="*/ 2226 w 10785"/>
                <a:gd name="connsiteY1987" fmla="*/ 3513 h 10000"/>
                <a:gd name="connsiteX1988" fmla="*/ 2207 w 10785"/>
                <a:gd name="connsiteY1988" fmla="*/ 3504 h 10000"/>
                <a:gd name="connsiteX1989" fmla="*/ 2194 w 10785"/>
                <a:gd name="connsiteY1989" fmla="*/ 3504 h 10000"/>
                <a:gd name="connsiteX1990" fmla="*/ 2189 w 10785"/>
                <a:gd name="connsiteY1990" fmla="*/ 3504 h 10000"/>
                <a:gd name="connsiteX1991" fmla="*/ 2189 w 10785"/>
                <a:gd name="connsiteY1991" fmla="*/ 3530 h 10000"/>
                <a:gd name="connsiteX1992" fmla="*/ 2180 w 10785"/>
                <a:gd name="connsiteY1992" fmla="*/ 3538 h 10000"/>
                <a:gd name="connsiteX1993" fmla="*/ 2152 w 10785"/>
                <a:gd name="connsiteY1993" fmla="*/ 3581 h 10000"/>
                <a:gd name="connsiteX1994" fmla="*/ 2161 w 10785"/>
                <a:gd name="connsiteY1994" fmla="*/ 3598 h 10000"/>
                <a:gd name="connsiteX1995" fmla="*/ 2194 w 10785"/>
                <a:gd name="connsiteY1995" fmla="*/ 3752 h 10000"/>
                <a:gd name="connsiteX1996" fmla="*/ 2194 w 10785"/>
                <a:gd name="connsiteY1996" fmla="*/ 3735 h 10000"/>
                <a:gd name="connsiteX1997" fmla="*/ 2198 w 10785"/>
                <a:gd name="connsiteY1997" fmla="*/ 3735 h 10000"/>
                <a:gd name="connsiteX1998" fmla="*/ 2189 w 10785"/>
                <a:gd name="connsiteY1998" fmla="*/ 3838 h 10000"/>
                <a:gd name="connsiteX1999" fmla="*/ 2166 w 10785"/>
                <a:gd name="connsiteY1999" fmla="*/ 3889 h 10000"/>
                <a:gd name="connsiteX2000" fmla="*/ 2124 w 10785"/>
                <a:gd name="connsiteY2000" fmla="*/ 3889 h 10000"/>
                <a:gd name="connsiteX2001" fmla="*/ 2124 w 10785"/>
                <a:gd name="connsiteY2001" fmla="*/ 3923 h 10000"/>
                <a:gd name="connsiteX2002" fmla="*/ 2134 w 10785"/>
                <a:gd name="connsiteY2002" fmla="*/ 3940 h 10000"/>
                <a:gd name="connsiteX2003" fmla="*/ 2134 w 10785"/>
                <a:gd name="connsiteY2003" fmla="*/ 3966 h 10000"/>
                <a:gd name="connsiteX2004" fmla="*/ 2120 w 10785"/>
                <a:gd name="connsiteY2004" fmla="*/ 4000 h 10000"/>
                <a:gd name="connsiteX2005" fmla="*/ 2106 w 10785"/>
                <a:gd name="connsiteY2005" fmla="*/ 4009 h 10000"/>
                <a:gd name="connsiteX2006" fmla="*/ 2088 w 10785"/>
                <a:gd name="connsiteY2006" fmla="*/ 4000 h 10000"/>
                <a:gd name="connsiteX2007" fmla="*/ 2074 w 10785"/>
                <a:gd name="connsiteY2007" fmla="*/ 3974 h 10000"/>
                <a:gd name="connsiteX2008" fmla="*/ 2074 w 10785"/>
                <a:gd name="connsiteY2008" fmla="*/ 3940 h 10000"/>
                <a:gd name="connsiteX2009" fmla="*/ 2078 w 10785"/>
                <a:gd name="connsiteY2009" fmla="*/ 3915 h 10000"/>
                <a:gd name="connsiteX2010" fmla="*/ 2088 w 10785"/>
                <a:gd name="connsiteY2010" fmla="*/ 3889 h 10000"/>
                <a:gd name="connsiteX2011" fmla="*/ 2101 w 10785"/>
                <a:gd name="connsiteY2011" fmla="*/ 3872 h 10000"/>
                <a:gd name="connsiteX2012" fmla="*/ 2074 w 10785"/>
                <a:gd name="connsiteY2012" fmla="*/ 3812 h 10000"/>
                <a:gd name="connsiteX2013" fmla="*/ 2074 w 10785"/>
                <a:gd name="connsiteY2013" fmla="*/ 3786 h 10000"/>
                <a:gd name="connsiteX2014" fmla="*/ 2060 w 10785"/>
                <a:gd name="connsiteY2014" fmla="*/ 3786 h 10000"/>
                <a:gd name="connsiteX2015" fmla="*/ 2014 w 10785"/>
                <a:gd name="connsiteY2015" fmla="*/ 3829 h 10000"/>
                <a:gd name="connsiteX2016" fmla="*/ 2000 w 10785"/>
                <a:gd name="connsiteY2016" fmla="*/ 3863 h 10000"/>
                <a:gd name="connsiteX2017" fmla="*/ 1986 w 10785"/>
                <a:gd name="connsiteY2017" fmla="*/ 3872 h 10000"/>
                <a:gd name="connsiteX2018" fmla="*/ 1959 w 10785"/>
                <a:gd name="connsiteY2018" fmla="*/ 3940 h 10000"/>
                <a:gd name="connsiteX2019" fmla="*/ 1945 w 10785"/>
                <a:gd name="connsiteY2019" fmla="*/ 3949 h 10000"/>
                <a:gd name="connsiteX2020" fmla="*/ 1940 w 10785"/>
                <a:gd name="connsiteY2020" fmla="*/ 3923 h 10000"/>
                <a:gd name="connsiteX2021" fmla="*/ 1917 w 10785"/>
                <a:gd name="connsiteY2021" fmla="*/ 3915 h 10000"/>
                <a:gd name="connsiteX2022" fmla="*/ 1899 w 10785"/>
                <a:gd name="connsiteY2022" fmla="*/ 3923 h 10000"/>
                <a:gd name="connsiteX2023" fmla="*/ 1880 w 10785"/>
                <a:gd name="connsiteY2023" fmla="*/ 3915 h 10000"/>
                <a:gd name="connsiteX2024" fmla="*/ 1853 w 10785"/>
                <a:gd name="connsiteY2024" fmla="*/ 3940 h 10000"/>
                <a:gd name="connsiteX2025" fmla="*/ 1839 w 10785"/>
                <a:gd name="connsiteY2025" fmla="*/ 3940 h 10000"/>
                <a:gd name="connsiteX2026" fmla="*/ 1806 w 10785"/>
                <a:gd name="connsiteY2026" fmla="*/ 3983 h 10000"/>
                <a:gd name="connsiteX2027" fmla="*/ 1806 w 10785"/>
                <a:gd name="connsiteY2027" fmla="*/ 4000 h 10000"/>
                <a:gd name="connsiteX2028" fmla="*/ 1797 w 10785"/>
                <a:gd name="connsiteY2028" fmla="*/ 4077 h 10000"/>
                <a:gd name="connsiteX2029" fmla="*/ 1783 w 10785"/>
                <a:gd name="connsiteY2029" fmla="*/ 4077 h 10000"/>
                <a:gd name="connsiteX2030" fmla="*/ 1779 w 10785"/>
                <a:gd name="connsiteY2030" fmla="*/ 4051 h 10000"/>
                <a:gd name="connsiteX2031" fmla="*/ 1765 w 10785"/>
                <a:gd name="connsiteY2031" fmla="*/ 4026 h 10000"/>
                <a:gd name="connsiteX2032" fmla="*/ 1751 w 10785"/>
                <a:gd name="connsiteY2032" fmla="*/ 4051 h 10000"/>
                <a:gd name="connsiteX2033" fmla="*/ 1737 w 10785"/>
                <a:gd name="connsiteY2033" fmla="*/ 4009 h 10000"/>
                <a:gd name="connsiteX2034" fmla="*/ 1737 w 10785"/>
                <a:gd name="connsiteY2034" fmla="*/ 3966 h 10000"/>
                <a:gd name="connsiteX2035" fmla="*/ 1733 w 10785"/>
                <a:gd name="connsiteY2035" fmla="*/ 3940 h 10000"/>
                <a:gd name="connsiteX2036" fmla="*/ 1733 w 10785"/>
                <a:gd name="connsiteY2036" fmla="*/ 3923 h 10000"/>
                <a:gd name="connsiteX2037" fmla="*/ 1747 w 10785"/>
                <a:gd name="connsiteY2037" fmla="*/ 3889 h 10000"/>
                <a:gd name="connsiteX2038" fmla="*/ 1747 w 10785"/>
                <a:gd name="connsiteY2038" fmla="*/ 3863 h 10000"/>
                <a:gd name="connsiteX2039" fmla="*/ 1737 w 10785"/>
                <a:gd name="connsiteY2039" fmla="*/ 3838 h 10000"/>
                <a:gd name="connsiteX2040" fmla="*/ 1733 w 10785"/>
                <a:gd name="connsiteY2040" fmla="*/ 3829 h 10000"/>
                <a:gd name="connsiteX2041" fmla="*/ 1733 w 10785"/>
                <a:gd name="connsiteY2041" fmla="*/ 3846 h 10000"/>
                <a:gd name="connsiteX2042" fmla="*/ 1724 w 10785"/>
                <a:gd name="connsiteY2042" fmla="*/ 3846 h 10000"/>
                <a:gd name="connsiteX2043" fmla="*/ 1724 w 10785"/>
                <a:gd name="connsiteY2043" fmla="*/ 3829 h 10000"/>
                <a:gd name="connsiteX2044" fmla="*/ 1737 w 10785"/>
                <a:gd name="connsiteY2044" fmla="*/ 3812 h 10000"/>
                <a:gd name="connsiteX2045" fmla="*/ 1765 w 10785"/>
                <a:gd name="connsiteY2045" fmla="*/ 3812 h 10000"/>
                <a:gd name="connsiteX2046" fmla="*/ 1779 w 10785"/>
                <a:gd name="connsiteY2046" fmla="*/ 3786 h 10000"/>
                <a:gd name="connsiteX2047" fmla="*/ 1779 w 10785"/>
                <a:gd name="connsiteY2047" fmla="*/ 3786 h 10000"/>
                <a:gd name="connsiteX2048" fmla="*/ 1751 w 10785"/>
                <a:gd name="connsiteY2048" fmla="*/ 3803 h 10000"/>
                <a:gd name="connsiteX2049" fmla="*/ 1747 w 10785"/>
                <a:gd name="connsiteY2049" fmla="*/ 3803 h 10000"/>
                <a:gd name="connsiteX2050" fmla="*/ 1724 w 10785"/>
                <a:gd name="connsiteY2050" fmla="*/ 3803 h 10000"/>
                <a:gd name="connsiteX2051" fmla="*/ 1700 w 10785"/>
                <a:gd name="connsiteY2051" fmla="*/ 3829 h 10000"/>
                <a:gd name="connsiteX2052" fmla="*/ 1705 w 10785"/>
                <a:gd name="connsiteY2052" fmla="*/ 3846 h 10000"/>
                <a:gd name="connsiteX2053" fmla="*/ 1691 w 10785"/>
                <a:gd name="connsiteY2053" fmla="*/ 3846 h 10000"/>
                <a:gd name="connsiteX2054" fmla="*/ 1691 w 10785"/>
                <a:gd name="connsiteY2054" fmla="*/ 3863 h 10000"/>
                <a:gd name="connsiteX2055" fmla="*/ 1691 w 10785"/>
                <a:gd name="connsiteY2055" fmla="*/ 3915 h 10000"/>
                <a:gd name="connsiteX2056" fmla="*/ 1677 w 10785"/>
                <a:gd name="connsiteY2056" fmla="*/ 3923 h 10000"/>
                <a:gd name="connsiteX2057" fmla="*/ 1673 w 10785"/>
                <a:gd name="connsiteY2057" fmla="*/ 3915 h 10000"/>
                <a:gd name="connsiteX2058" fmla="*/ 1664 w 10785"/>
                <a:gd name="connsiteY2058" fmla="*/ 3889 h 10000"/>
                <a:gd name="connsiteX2059" fmla="*/ 1673 w 10785"/>
                <a:gd name="connsiteY2059" fmla="*/ 3872 h 10000"/>
                <a:gd name="connsiteX2060" fmla="*/ 1664 w 10785"/>
                <a:gd name="connsiteY2060" fmla="*/ 3872 h 10000"/>
                <a:gd name="connsiteX2061" fmla="*/ 1636 w 10785"/>
                <a:gd name="connsiteY2061" fmla="*/ 3923 h 10000"/>
                <a:gd name="connsiteX2062" fmla="*/ 1645 w 10785"/>
                <a:gd name="connsiteY2062" fmla="*/ 3923 h 10000"/>
                <a:gd name="connsiteX2063" fmla="*/ 1650 w 10785"/>
                <a:gd name="connsiteY2063" fmla="*/ 3949 h 10000"/>
                <a:gd name="connsiteX2064" fmla="*/ 1650 w 10785"/>
                <a:gd name="connsiteY2064" fmla="*/ 3983 h 10000"/>
                <a:gd name="connsiteX2065" fmla="*/ 1636 w 10785"/>
                <a:gd name="connsiteY2065" fmla="*/ 4000 h 10000"/>
                <a:gd name="connsiteX2066" fmla="*/ 1631 w 10785"/>
                <a:gd name="connsiteY2066" fmla="*/ 4009 h 10000"/>
                <a:gd name="connsiteX2067" fmla="*/ 1618 w 10785"/>
                <a:gd name="connsiteY2067" fmla="*/ 3949 h 10000"/>
                <a:gd name="connsiteX2068" fmla="*/ 1585 w 10785"/>
                <a:gd name="connsiteY2068" fmla="*/ 3966 h 10000"/>
                <a:gd name="connsiteX2069" fmla="*/ 1590 w 10785"/>
                <a:gd name="connsiteY2069" fmla="*/ 3974 h 10000"/>
                <a:gd name="connsiteX2070" fmla="*/ 1544 w 10785"/>
                <a:gd name="connsiteY2070" fmla="*/ 4009 h 10000"/>
                <a:gd name="connsiteX2071" fmla="*/ 1539 w 10785"/>
                <a:gd name="connsiteY2071" fmla="*/ 4009 h 10000"/>
                <a:gd name="connsiteX2072" fmla="*/ 1410 w 10785"/>
                <a:gd name="connsiteY2072" fmla="*/ 4188 h 10000"/>
                <a:gd name="connsiteX2073" fmla="*/ 1406 w 10785"/>
                <a:gd name="connsiteY2073" fmla="*/ 4171 h 10000"/>
                <a:gd name="connsiteX2074" fmla="*/ 1396 w 10785"/>
                <a:gd name="connsiteY2074" fmla="*/ 4214 h 10000"/>
                <a:gd name="connsiteX2075" fmla="*/ 1406 w 10785"/>
                <a:gd name="connsiteY2075" fmla="*/ 4222 h 10000"/>
                <a:gd name="connsiteX2076" fmla="*/ 1392 w 10785"/>
                <a:gd name="connsiteY2076" fmla="*/ 4239 h 10000"/>
                <a:gd name="connsiteX2077" fmla="*/ 1369 w 10785"/>
                <a:gd name="connsiteY2077" fmla="*/ 4248 h 10000"/>
                <a:gd name="connsiteX2078" fmla="*/ 1355 w 10785"/>
                <a:gd name="connsiteY2078" fmla="*/ 4256 h 10000"/>
                <a:gd name="connsiteX2079" fmla="*/ 1350 w 10785"/>
                <a:gd name="connsiteY2079" fmla="*/ 4248 h 10000"/>
                <a:gd name="connsiteX2080" fmla="*/ 1332 w 10785"/>
                <a:gd name="connsiteY2080" fmla="*/ 4376 h 10000"/>
                <a:gd name="connsiteX2081" fmla="*/ 1332 w 10785"/>
                <a:gd name="connsiteY2081" fmla="*/ 4436 h 10000"/>
                <a:gd name="connsiteX2082" fmla="*/ 1323 w 10785"/>
                <a:gd name="connsiteY2082" fmla="*/ 4462 h 10000"/>
                <a:gd name="connsiteX2083" fmla="*/ 1304 w 10785"/>
                <a:gd name="connsiteY2083" fmla="*/ 4487 h 10000"/>
                <a:gd name="connsiteX2084" fmla="*/ 1290 w 10785"/>
                <a:gd name="connsiteY2084" fmla="*/ 4470 h 10000"/>
                <a:gd name="connsiteX2085" fmla="*/ 1263 w 10785"/>
                <a:gd name="connsiteY2085" fmla="*/ 4496 h 10000"/>
                <a:gd name="connsiteX2086" fmla="*/ 1258 w 10785"/>
                <a:gd name="connsiteY2086" fmla="*/ 4547 h 10000"/>
                <a:gd name="connsiteX2087" fmla="*/ 1249 w 10785"/>
                <a:gd name="connsiteY2087" fmla="*/ 4487 h 10000"/>
                <a:gd name="connsiteX2088" fmla="*/ 1235 w 10785"/>
                <a:gd name="connsiteY2088" fmla="*/ 4496 h 10000"/>
                <a:gd name="connsiteX2089" fmla="*/ 1221 w 10785"/>
                <a:gd name="connsiteY2089" fmla="*/ 4496 h 10000"/>
                <a:gd name="connsiteX2090" fmla="*/ 1217 w 10785"/>
                <a:gd name="connsiteY2090" fmla="*/ 4487 h 10000"/>
                <a:gd name="connsiteX2091" fmla="*/ 1198 w 10785"/>
                <a:gd name="connsiteY2091" fmla="*/ 4410 h 10000"/>
                <a:gd name="connsiteX2092" fmla="*/ 1157 w 10785"/>
                <a:gd name="connsiteY2092" fmla="*/ 4333 h 10000"/>
                <a:gd name="connsiteX2093" fmla="*/ 1147 w 10785"/>
                <a:gd name="connsiteY2093" fmla="*/ 4299 h 10000"/>
                <a:gd name="connsiteX2094" fmla="*/ 1147 w 10785"/>
                <a:gd name="connsiteY2094" fmla="*/ 4274 h 10000"/>
                <a:gd name="connsiteX2095" fmla="*/ 1161 w 10785"/>
                <a:gd name="connsiteY2095" fmla="*/ 4256 h 10000"/>
                <a:gd name="connsiteX2096" fmla="*/ 1171 w 10785"/>
                <a:gd name="connsiteY2096" fmla="*/ 4248 h 10000"/>
                <a:gd name="connsiteX2097" fmla="*/ 1175 w 10785"/>
                <a:gd name="connsiteY2097" fmla="*/ 4214 h 10000"/>
                <a:gd name="connsiteX2098" fmla="*/ 1263 w 10785"/>
                <a:gd name="connsiteY2098" fmla="*/ 4171 h 10000"/>
                <a:gd name="connsiteX2099" fmla="*/ 1249 w 10785"/>
                <a:gd name="connsiteY2099" fmla="*/ 4137 h 10000"/>
                <a:gd name="connsiteX2100" fmla="*/ 1244 w 10785"/>
                <a:gd name="connsiteY2100" fmla="*/ 4060 h 10000"/>
                <a:gd name="connsiteX2101" fmla="*/ 1230 w 10785"/>
                <a:gd name="connsiteY2101" fmla="*/ 4077 h 10000"/>
                <a:gd name="connsiteX2102" fmla="*/ 1221 w 10785"/>
                <a:gd name="connsiteY2102" fmla="*/ 4026 h 10000"/>
                <a:gd name="connsiteX2103" fmla="*/ 1217 w 10785"/>
                <a:gd name="connsiteY2103" fmla="*/ 4026 h 10000"/>
                <a:gd name="connsiteX2104" fmla="*/ 1212 w 10785"/>
                <a:gd name="connsiteY2104" fmla="*/ 3983 h 10000"/>
                <a:gd name="connsiteX2105" fmla="*/ 1203 w 10785"/>
                <a:gd name="connsiteY2105" fmla="*/ 3966 h 10000"/>
                <a:gd name="connsiteX2106" fmla="*/ 1171 w 10785"/>
                <a:gd name="connsiteY2106" fmla="*/ 3949 h 10000"/>
                <a:gd name="connsiteX2107" fmla="*/ 1111 w 10785"/>
                <a:gd name="connsiteY2107" fmla="*/ 3940 h 10000"/>
                <a:gd name="connsiteX2108" fmla="*/ 1097 w 10785"/>
                <a:gd name="connsiteY2108" fmla="*/ 3949 h 10000"/>
                <a:gd name="connsiteX2109" fmla="*/ 1037 w 10785"/>
                <a:gd name="connsiteY2109" fmla="*/ 3897 h 10000"/>
                <a:gd name="connsiteX2110" fmla="*/ 1041 w 10785"/>
                <a:gd name="connsiteY2110" fmla="*/ 3923 h 10000"/>
                <a:gd name="connsiteX2111" fmla="*/ 1097 w 10785"/>
                <a:gd name="connsiteY2111" fmla="*/ 4009 h 10000"/>
                <a:gd name="connsiteX2112" fmla="*/ 1097 w 10785"/>
                <a:gd name="connsiteY2112" fmla="*/ 4120 h 10000"/>
                <a:gd name="connsiteX2113" fmla="*/ 1097 w 10785"/>
                <a:gd name="connsiteY2113" fmla="*/ 4162 h 10000"/>
                <a:gd name="connsiteX2114" fmla="*/ 1097 w 10785"/>
                <a:gd name="connsiteY2114" fmla="*/ 4197 h 10000"/>
                <a:gd name="connsiteX2115" fmla="*/ 1074 w 10785"/>
                <a:gd name="connsiteY2115" fmla="*/ 4333 h 10000"/>
                <a:gd name="connsiteX2116" fmla="*/ 1074 w 10785"/>
                <a:gd name="connsiteY2116" fmla="*/ 4376 h 10000"/>
                <a:gd name="connsiteX2117" fmla="*/ 1083 w 10785"/>
                <a:gd name="connsiteY2117" fmla="*/ 4385 h 10000"/>
                <a:gd name="connsiteX2118" fmla="*/ 1097 w 10785"/>
                <a:gd name="connsiteY2118" fmla="*/ 4385 h 10000"/>
                <a:gd name="connsiteX2119" fmla="*/ 1111 w 10785"/>
                <a:gd name="connsiteY2119" fmla="*/ 4410 h 10000"/>
                <a:gd name="connsiteX2120" fmla="*/ 1124 w 10785"/>
                <a:gd name="connsiteY2120" fmla="*/ 4444 h 10000"/>
                <a:gd name="connsiteX2121" fmla="*/ 1124 w 10785"/>
                <a:gd name="connsiteY2121" fmla="*/ 4470 h 10000"/>
                <a:gd name="connsiteX2122" fmla="*/ 1115 w 10785"/>
                <a:gd name="connsiteY2122" fmla="*/ 4513 h 10000"/>
                <a:gd name="connsiteX2123" fmla="*/ 1115 w 10785"/>
                <a:gd name="connsiteY2123" fmla="*/ 4530 h 10000"/>
                <a:gd name="connsiteX2124" fmla="*/ 1115 w 10785"/>
                <a:gd name="connsiteY2124" fmla="*/ 4573 h 10000"/>
                <a:gd name="connsiteX2125" fmla="*/ 1101 w 10785"/>
                <a:gd name="connsiteY2125" fmla="*/ 4607 h 10000"/>
                <a:gd name="connsiteX2126" fmla="*/ 1097 w 10785"/>
                <a:gd name="connsiteY2126" fmla="*/ 4658 h 10000"/>
                <a:gd name="connsiteX2127" fmla="*/ 1101 w 10785"/>
                <a:gd name="connsiteY2127" fmla="*/ 4692 h 10000"/>
                <a:gd name="connsiteX2128" fmla="*/ 1097 w 10785"/>
                <a:gd name="connsiteY2128" fmla="*/ 4778 h 10000"/>
                <a:gd name="connsiteX2129" fmla="*/ 1083 w 10785"/>
                <a:gd name="connsiteY2129" fmla="*/ 4744 h 10000"/>
                <a:gd name="connsiteX2130" fmla="*/ 1083 w 10785"/>
                <a:gd name="connsiteY2130" fmla="*/ 4718 h 10000"/>
                <a:gd name="connsiteX2131" fmla="*/ 1074 w 10785"/>
                <a:gd name="connsiteY2131" fmla="*/ 4692 h 10000"/>
                <a:gd name="connsiteX2132" fmla="*/ 1065 w 10785"/>
                <a:gd name="connsiteY2132" fmla="*/ 4692 h 10000"/>
                <a:gd name="connsiteX2133" fmla="*/ 1051 w 10785"/>
                <a:gd name="connsiteY2133" fmla="*/ 4718 h 10000"/>
                <a:gd name="connsiteX2134" fmla="*/ 1055 w 10785"/>
                <a:gd name="connsiteY2134" fmla="*/ 4692 h 10000"/>
                <a:gd name="connsiteX2135" fmla="*/ 1055 w 10785"/>
                <a:gd name="connsiteY2135" fmla="*/ 4667 h 10000"/>
                <a:gd name="connsiteX2136" fmla="*/ 1028 w 10785"/>
                <a:gd name="connsiteY2136" fmla="*/ 4624 h 10000"/>
                <a:gd name="connsiteX2137" fmla="*/ 1005 w 10785"/>
                <a:gd name="connsiteY2137" fmla="*/ 4624 h 10000"/>
                <a:gd name="connsiteX2138" fmla="*/ 977 w 10785"/>
                <a:gd name="connsiteY2138" fmla="*/ 4581 h 10000"/>
                <a:gd name="connsiteX2139" fmla="*/ 963 w 10785"/>
                <a:gd name="connsiteY2139" fmla="*/ 4607 h 10000"/>
                <a:gd name="connsiteX2140" fmla="*/ 963 w 10785"/>
                <a:gd name="connsiteY2140" fmla="*/ 4632 h 10000"/>
                <a:gd name="connsiteX2141" fmla="*/ 917 w 10785"/>
                <a:gd name="connsiteY2141" fmla="*/ 4718 h 10000"/>
                <a:gd name="connsiteX2142" fmla="*/ 889 w 10785"/>
                <a:gd name="connsiteY2142" fmla="*/ 4744 h 10000"/>
                <a:gd name="connsiteX2143" fmla="*/ 880 w 10785"/>
                <a:gd name="connsiteY2143" fmla="*/ 4744 h 10000"/>
                <a:gd name="connsiteX2144" fmla="*/ 862 w 10785"/>
                <a:gd name="connsiteY2144" fmla="*/ 4769 h 10000"/>
                <a:gd name="connsiteX2145" fmla="*/ 857 w 10785"/>
                <a:gd name="connsiteY2145" fmla="*/ 4795 h 10000"/>
                <a:gd name="connsiteX2146" fmla="*/ 829 w 10785"/>
                <a:gd name="connsiteY2146" fmla="*/ 4846 h 10000"/>
                <a:gd name="connsiteX2147" fmla="*/ 816 w 10785"/>
                <a:gd name="connsiteY2147" fmla="*/ 4855 h 10000"/>
                <a:gd name="connsiteX2148" fmla="*/ 816 w 10785"/>
                <a:gd name="connsiteY2148" fmla="*/ 4940 h 10000"/>
                <a:gd name="connsiteX2149" fmla="*/ 880 w 10785"/>
                <a:gd name="connsiteY2149" fmla="*/ 5179 h 10000"/>
                <a:gd name="connsiteX2150" fmla="*/ 880 w 10785"/>
                <a:gd name="connsiteY2150" fmla="*/ 5188 h 10000"/>
                <a:gd name="connsiteX2151" fmla="*/ 862 w 10785"/>
                <a:gd name="connsiteY2151" fmla="*/ 5171 h 10000"/>
                <a:gd name="connsiteX2152" fmla="*/ 857 w 10785"/>
                <a:gd name="connsiteY2152" fmla="*/ 5171 h 10000"/>
                <a:gd name="connsiteX2153" fmla="*/ 820 w 10785"/>
                <a:gd name="connsiteY2153" fmla="*/ 5145 h 10000"/>
                <a:gd name="connsiteX2154" fmla="*/ 820 w 10785"/>
                <a:gd name="connsiteY2154" fmla="*/ 5154 h 10000"/>
                <a:gd name="connsiteX2155" fmla="*/ 816 w 10785"/>
                <a:gd name="connsiteY2155" fmla="*/ 5171 h 10000"/>
                <a:gd name="connsiteX2156" fmla="*/ 783 w 10785"/>
                <a:gd name="connsiteY2156" fmla="*/ 5145 h 10000"/>
                <a:gd name="connsiteX2157" fmla="*/ 756 w 10785"/>
                <a:gd name="connsiteY2157" fmla="*/ 5103 h 10000"/>
                <a:gd name="connsiteX2158" fmla="*/ 742 w 10785"/>
                <a:gd name="connsiteY2158" fmla="*/ 5103 h 10000"/>
                <a:gd name="connsiteX2159" fmla="*/ 728 w 10785"/>
                <a:gd name="connsiteY2159" fmla="*/ 5094 h 10000"/>
                <a:gd name="connsiteX2160" fmla="*/ 710 w 10785"/>
                <a:gd name="connsiteY2160" fmla="*/ 5120 h 10000"/>
                <a:gd name="connsiteX2161" fmla="*/ 700 w 10785"/>
                <a:gd name="connsiteY2161" fmla="*/ 5145 h 10000"/>
                <a:gd name="connsiteX2162" fmla="*/ 696 w 10785"/>
                <a:gd name="connsiteY2162" fmla="*/ 5103 h 10000"/>
                <a:gd name="connsiteX2163" fmla="*/ 714 w 10785"/>
                <a:gd name="connsiteY2163" fmla="*/ 5077 h 10000"/>
                <a:gd name="connsiteX2164" fmla="*/ 682 w 10785"/>
                <a:gd name="connsiteY2164" fmla="*/ 5068 h 10000"/>
                <a:gd name="connsiteX2165" fmla="*/ 673 w 10785"/>
                <a:gd name="connsiteY2165" fmla="*/ 5034 h 10000"/>
                <a:gd name="connsiteX2166" fmla="*/ 636 w 10785"/>
                <a:gd name="connsiteY2166" fmla="*/ 4991 h 10000"/>
                <a:gd name="connsiteX2167" fmla="*/ 622 w 10785"/>
                <a:gd name="connsiteY2167" fmla="*/ 4983 h 10000"/>
                <a:gd name="connsiteX2168" fmla="*/ 622 w 10785"/>
                <a:gd name="connsiteY2168" fmla="*/ 5034 h 10000"/>
                <a:gd name="connsiteX2169" fmla="*/ 608 w 10785"/>
                <a:gd name="connsiteY2169" fmla="*/ 5051 h 10000"/>
                <a:gd name="connsiteX2170" fmla="*/ 594 w 10785"/>
                <a:gd name="connsiteY2170" fmla="*/ 5068 h 10000"/>
                <a:gd name="connsiteX2171" fmla="*/ 608 w 10785"/>
                <a:gd name="connsiteY2171" fmla="*/ 5120 h 10000"/>
                <a:gd name="connsiteX2172" fmla="*/ 613 w 10785"/>
                <a:gd name="connsiteY2172" fmla="*/ 5128 h 10000"/>
                <a:gd name="connsiteX2173" fmla="*/ 627 w 10785"/>
                <a:gd name="connsiteY2173" fmla="*/ 5179 h 10000"/>
                <a:gd name="connsiteX2174" fmla="*/ 650 w 10785"/>
                <a:gd name="connsiteY2174" fmla="*/ 5214 h 10000"/>
                <a:gd name="connsiteX2175" fmla="*/ 687 w 10785"/>
                <a:gd name="connsiteY2175" fmla="*/ 5188 h 10000"/>
                <a:gd name="connsiteX2176" fmla="*/ 700 w 10785"/>
                <a:gd name="connsiteY2176" fmla="*/ 5325 h 10000"/>
                <a:gd name="connsiteX2177" fmla="*/ 710 w 10785"/>
                <a:gd name="connsiteY2177" fmla="*/ 5350 h 10000"/>
                <a:gd name="connsiteX2178" fmla="*/ 687 w 10785"/>
                <a:gd name="connsiteY2178" fmla="*/ 5325 h 10000"/>
                <a:gd name="connsiteX2179" fmla="*/ 668 w 10785"/>
                <a:gd name="connsiteY2179" fmla="*/ 5350 h 10000"/>
                <a:gd name="connsiteX2180" fmla="*/ 668 w 10785"/>
                <a:gd name="connsiteY2180" fmla="*/ 5368 h 10000"/>
                <a:gd name="connsiteX2181" fmla="*/ 668 w 10785"/>
                <a:gd name="connsiteY2181" fmla="*/ 5376 h 10000"/>
                <a:gd name="connsiteX2182" fmla="*/ 581 w 10785"/>
                <a:gd name="connsiteY2182" fmla="*/ 5316 h 10000"/>
                <a:gd name="connsiteX2183" fmla="*/ 567 w 10785"/>
                <a:gd name="connsiteY2183" fmla="*/ 5265 h 10000"/>
                <a:gd name="connsiteX2184" fmla="*/ 562 w 10785"/>
                <a:gd name="connsiteY2184" fmla="*/ 5256 h 10000"/>
                <a:gd name="connsiteX2185" fmla="*/ 548 w 10785"/>
                <a:gd name="connsiteY2185" fmla="*/ 5231 h 10000"/>
                <a:gd name="connsiteX2186" fmla="*/ 535 w 10785"/>
                <a:gd name="connsiteY2186" fmla="*/ 5214 h 10000"/>
                <a:gd name="connsiteX2187" fmla="*/ 525 w 10785"/>
                <a:gd name="connsiteY2187" fmla="*/ 5231 h 10000"/>
                <a:gd name="connsiteX2188" fmla="*/ 521 w 10785"/>
                <a:gd name="connsiteY2188" fmla="*/ 5231 h 10000"/>
                <a:gd name="connsiteX2189" fmla="*/ 493 w 10785"/>
                <a:gd name="connsiteY2189" fmla="*/ 5205 h 10000"/>
                <a:gd name="connsiteX2190" fmla="*/ 488 w 10785"/>
                <a:gd name="connsiteY2190" fmla="*/ 5179 h 10000"/>
                <a:gd name="connsiteX2191" fmla="*/ 475 w 10785"/>
                <a:gd name="connsiteY2191" fmla="*/ 5188 h 10000"/>
                <a:gd name="connsiteX2192" fmla="*/ 475 w 10785"/>
                <a:gd name="connsiteY2192" fmla="*/ 5171 h 10000"/>
                <a:gd name="connsiteX2193" fmla="*/ 488 w 10785"/>
                <a:gd name="connsiteY2193" fmla="*/ 5154 h 10000"/>
                <a:gd name="connsiteX2194" fmla="*/ 488 w 10785"/>
                <a:gd name="connsiteY2194" fmla="*/ 5068 h 10000"/>
                <a:gd name="connsiteX2195" fmla="*/ 475 w 10785"/>
                <a:gd name="connsiteY2195" fmla="*/ 5051 h 10000"/>
                <a:gd name="connsiteX2196" fmla="*/ 475 w 10785"/>
                <a:gd name="connsiteY2196" fmla="*/ 5017 h 10000"/>
                <a:gd name="connsiteX2197" fmla="*/ 452 w 10785"/>
                <a:gd name="connsiteY2197" fmla="*/ 4932 h 10000"/>
                <a:gd name="connsiteX2198" fmla="*/ 461 w 10785"/>
                <a:gd name="connsiteY2198" fmla="*/ 4915 h 10000"/>
                <a:gd name="connsiteX2199" fmla="*/ 475 w 10785"/>
                <a:gd name="connsiteY2199" fmla="*/ 4906 h 10000"/>
                <a:gd name="connsiteX2200" fmla="*/ 479 w 10785"/>
                <a:gd name="connsiteY2200" fmla="*/ 4803 h 10000"/>
                <a:gd name="connsiteX2201" fmla="*/ 479 w 10785"/>
                <a:gd name="connsiteY2201" fmla="*/ 4778 h 10000"/>
                <a:gd name="connsiteX2202" fmla="*/ 475 w 10785"/>
                <a:gd name="connsiteY2202" fmla="*/ 4761 h 10000"/>
                <a:gd name="connsiteX2203" fmla="*/ 465 w 10785"/>
                <a:gd name="connsiteY2203" fmla="*/ 4718 h 10000"/>
                <a:gd name="connsiteX2204" fmla="*/ 461 w 10785"/>
                <a:gd name="connsiteY2204" fmla="*/ 4709 h 10000"/>
                <a:gd name="connsiteX2205" fmla="*/ 442 w 10785"/>
                <a:gd name="connsiteY2205" fmla="*/ 4692 h 10000"/>
                <a:gd name="connsiteX2206" fmla="*/ 433 w 10785"/>
                <a:gd name="connsiteY2206" fmla="*/ 4667 h 10000"/>
                <a:gd name="connsiteX2207" fmla="*/ 419 w 10785"/>
                <a:gd name="connsiteY2207" fmla="*/ 4667 h 10000"/>
                <a:gd name="connsiteX2208" fmla="*/ 401 w 10785"/>
                <a:gd name="connsiteY2208" fmla="*/ 4658 h 10000"/>
                <a:gd name="connsiteX2209" fmla="*/ 401 w 10785"/>
                <a:gd name="connsiteY2209" fmla="*/ 4624 h 10000"/>
                <a:gd name="connsiteX2210" fmla="*/ 401 w 10785"/>
                <a:gd name="connsiteY2210" fmla="*/ 4607 h 10000"/>
                <a:gd name="connsiteX2211" fmla="*/ 378 w 10785"/>
                <a:gd name="connsiteY2211" fmla="*/ 4607 h 10000"/>
                <a:gd name="connsiteX2212" fmla="*/ 341 w 10785"/>
                <a:gd name="connsiteY2212" fmla="*/ 4530 h 10000"/>
                <a:gd name="connsiteX2213" fmla="*/ 346 w 10785"/>
                <a:gd name="connsiteY2213" fmla="*/ 4521 h 10000"/>
                <a:gd name="connsiteX2214" fmla="*/ 332 w 10785"/>
                <a:gd name="connsiteY2214" fmla="*/ 4487 h 10000"/>
                <a:gd name="connsiteX2215" fmla="*/ 327 w 10785"/>
                <a:gd name="connsiteY2215" fmla="*/ 4462 h 10000"/>
                <a:gd name="connsiteX2216" fmla="*/ 313 w 10785"/>
                <a:gd name="connsiteY2216" fmla="*/ 4436 h 10000"/>
                <a:gd name="connsiteX2217" fmla="*/ 300 w 10785"/>
                <a:gd name="connsiteY2217" fmla="*/ 4419 h 10000"/>
                <a:gd name="connsiteX2218" fmla="*/ 309 w 10785"/>
                <a:gd name="connsiteY2218" fmla="*/ 4393 h 10000"/>
                <a:gd name="connsiteX2219" fmla="*/ 332 w 10785"/>
                <a:gd name="connsiteY2219" fmla="*/ 4385 h 10000"/>
                <a:gd name="connsiteX2220" fmla="*/ 355 w 10785"/>
                <a:gd name="connsiteY2220" fmla="*/ 4419 h 10000"/>
                <a:gd name="connsiteX2221" fmla="*/ 355 w 10785"/>
                <a:gd name="connsiteY2221" fmla="*/ 4444 h 10000"/>
                <a:gd name="connsiteX2222" fmla="*/ 369 w 10785"/>
                <a:gd name="connsiteY2222" fmla="*/ 4470 h 10000"/>
                <a:gd name="connsiteX2223" fmla="*/ 401 w 10785"/>
                <a:gd name="connsiteY2223" fmla="*/ 4521 h 10000"/>
                <a:gd name="connsiteX2224" fmla="*/ 406 w 10785"/>
                <a:gd name="connsiteY2224" fmla="*/ 4513 h 10000"/>
                <a:gd name="connsiteX2225" fmla="*/ 406 w 10785"/>
                <a:gd name="connsiteY2225" fmla="*/ 4496 h 10000"/>
                <a:gd name="connsiteX2226" fmla="*/ 419 w 10785"/>
                <a:gd name="connsiteY2226" fmla="*/ 4521 h 10000"/>
                <a:gd name="connsiteX2227" fmla="*/ 429 w 10785"/>
                <a:gd name="connsiteY2227" fmla="*/ 4530 h 10000"/>
                <a:gd name="connsiteX2228" fmla="*/ 433 w 10785"/>
                <a:gd name="connsiteY2228" fmla="*/ 4521 h 10000"/>
                <a:gd name="connsiteX2229" fmla="*/ 442 w 10785"/>
                <a:gd name="connsiteY2229" fmla="*/ 4530 h 10000"/>
                <a:gd name="connsiteX2230" fmla="*/ 447 w 10785"/>
                <a:gd name="connsiteY2230" fmla="*/ 4521 h 10000"/>
                <a:gd name="connsiteX2231" fmla="*/ 452 w 10785"/>
                <a:gd name="connsiteY2231" fmla="*/ 4521 h 10000"/>
                <a:gd name="connsiteX2232" fmla="*/ 461 w 10785"/>
                <a:gd name="connsiteY2232" fmla="*/ 4573 h 10000"/>
                <a:gd name="connsiteX2233" fmla="*/ 479 w 10785"/>
                <a:gd name="connsiteY2233" fmla="*/ 4556 h 10000"/>
                <a:gd name="connsiteX2234" fmla="*/ 502 w 10785"/>
                <a:gd name="connsiteY2234" fmla="*/ 4573 h 10000"/>
                <a:gd name="connsiteX2235" fmla="*/ 507 w 10785"/>
                <a:gd name="connsiteY2235" fmla="*/ 4598 h 10000"/>
                <a:gd name="connsiteX2236" fmla="*/ 525 w 10785"/>
                <a:gd name="connsiteY2236" fmla="*/ 4598 h 10000"/>
                <a:gd name="connsiteX2237" fmla="*/ 535 w 10785"/>
                <a:gd name="connsiteY2237" fmla="*/ 4624 h 10000"/>
                <a:gd name="connsiteX2238" fmla="*/ 594 w 10785"/>
                <a:gd name="connsiteY2238" fmla="*/ 4658 h 10000"/>
                <a:gd name="connsiteX2239" fmla="*/ 627 w 10785"/>
                <a:gd name="connsiteY2239" fmla="*/ 4658 h 10000"/>
                <a:gd name="connsiteX2240" fmla="*/ 654 w 10785"/>
                <a:gd name="connsiteY2240" fmla="*/ 4684 h 10000"/>
                <a:gd name="connsiteX2241" fmla="*/ 668 w 10785"/>
                <a:gd name="connsiteY2241" fmla="*/ 4709 h 10000"/>
                <a:gd name="connsiteX2242" fmla="*/ 747 w 10785"/>
                <a:gd name="connsiteY2242" fmla="*/ 4718 h 10000"/>
                <a:gd name="connsiteX2243" fmla="*/ 760 w 10785"/>
                <a:gd name="connsiteY2243" fmla="*/ 4709 h 10000"/>
                <a:gd name="connsiteX2244" fmla="*/ 774 w 10785"/>
                <a:gd name="connsiteY2244" fmla="*/ 4692 h 10000"/>
                <a:gd name="connsiteX2245" fmla="*/ 829 w 10785"/>
                <a:gd name="connsiteY2245" fmla="*/ 4658 h 10000"/>
                <a:gd name="connsiteX2246" fmla="*/ 903 w 10785"/>
                <a:gd name="connsiteY2246" fmla="*/ 4496 h 10000"/>
                <a:gd name="connsiteX2247" fmla="*/ 917 w 10785"/>
                <a:gd name="connsiteY2247" fmla="*/ 4385 h 10000"/>
                <a:gd name="connsiteX2248" fmla="*/ 903 w 10785"/>
                <a:gd name="connsiteY2248" fmla="*/ 4376 h 10000"/>
                <a:gd name="connsiteX2249" fmla="*/ 903 w 10785"/>
                <a:gd name="connsiteY2249" fmla="*/ 4376 h 10000"/>
                <a:gd name="connsiteX2250" fmla="*/ 889 w 10785"/>
                <a:gd name="connsiteY2250" fmla="*/ 4239 h 10000"/>
                <a:gd name="connsiteX2251" fmla="*/ 880 w 10785"/>
                <a:gd name="connsiteY2251" fmla="*/ 4214 h 10000"/>
                <a:gd name="connsiteX2252" fmla="*/ 862 w 10785"/>
                <a:gd name="connsiteY2252" fmla="*/ 4188 h 10000"/>
                <a:gd name="connsiteX2253" fmla="*/ 857 w 10785"/>
                <a:gd name="connsiteY2253" fmla="*/ 4197 h 10000"/>
                <a:gd name="connsiteX2254" fmla="*/ 848 w 10785"/>
                <a:gd name="connsiteY2254" fmla="*/ 4188 h 10000"/>
                <a:gd name="connsiteX2255" fmla="*/ 848 w 10785"/>
                <a:gd name="connsiteY2255" fmla="*/ 4162 h 10000"/>
                <a:gd name="connsiteX2256" fmla="*/ 829 w 10785"/>
                <a:gd name="connsiteY2256" fmla="*/ 4120 h 10000"/>
                <a:gd name="connsiteX2257" fmla="*/ 820 w 10785"/>
                <a:gd name="connsiteY2257" fmla="*/ 4103 h 10000"/>
                <a:gd name="connsiteX2258" fmla="*/ 806 w 10785"/>
                <a:gd name="connsiteY2258" fmla="*/ 4077 h 10000"/>
                <a:gd name="connsiteX2259" fmla="*/ 816 w 10785"/>
                <a:gd name="connsiteY2259" fmla="*/ 4111 h 10000"/>
                <a:gd name="connsiteX2260" fmla="*/ 802 w 10785"/>
                <a:gd name="connsiteY2260" fmla="*/ 4111 h 10000"/>
                <a:gd name="connsiteX2261" fmla="*/ 770 w 10785"/>
                <a:gd name="connsiteY2261" fmla="*/ 4060 h 10000"/>
                <a:gd name="connsiteX2262" fmla="*/ 760 w 10785"/>
                <a:gd name="connsiteY2262" fmla="*/ 4077 h 10000"/>
                <a:gd name="connsiteX2263" fmla="*/ 760 w 10785"/>
                <a:gd name="connsiteY2263" fmla="*/ 4060 h 10000"/>
                <a:gd name="connsiteX2264" fmla="*/ 756 w 10785"/>
                <a:gd name="connsiteY2264" fmla="*/ 4034 h 10000"/>
                <a:gd name="connsiteX2265" fmla="*/ 742 w 10785"/>
                <a:gd name="connsiteY2265" fmla="*/ 4000 h 10000"/>
                <a:gd name="connsiteX2266" fmla="*/ 747 w 10785"/>
                <a:gd name="connsiteY2266" fmla="*/ 4034 h 10000"/>
                <a:gd name="connsiteX2267" fmla="*/ 724 w 10785"/>
                <a:gd name="connsiteY2267" fmla="*/ 4026 h 10000"/>
                <a:gd name="connsiteX2268" fmla="*/ 714 w 10785"/>
                <a:gd name="connsiteY2268" fmla="*/ 4000 h 10000"/>
                <a:gd name="connsiteX2269" fmla="*/ 714 w 10785"/>
                <a:gd name="connsiteY2269" fmla="*/ 3983 h 10000"/>
                <a:gd name="connsiteX2270" fmla="*/ 553 w 10785"/>
                <a:gd name="connsiteY2270" fmla="*/ 3726 h 10000"/>
                <a:gd name="connsiteX2271" fmla="*/ 507 w 10785"/>
                <a:gd name="connsiteY2271" fmla="*/ 3718 h 10000"/>
                <a:gd name="connsiteX2272" fmla="*/ 516 w 10785"/>
                <a:gd name="connsiteY2272" fmla="*/ 3726 h 10000"/>
                <a:gd name="connsiteX2273" fmla="*/ 507 w 10785"/>
                <a:gd name="connsiteY2273" fmla="*/ 3735 h 10000"/>
                <a:gd name="connsiteX2274" fmla="*/ 502 w 10785"/>
                <a:gd name="connsiteY2274" fmla="*/ 3735 h 10000"/>
                <a:gd name="connsiteX2275" fmla="*/ 419 w 10785"/>
                <a:gd name="connsiteY2275" fmla="*/ 3675 h 10000"/>
                <a:gd name="connsiteX2276" fmla="*/ 419 w 10785"/>
                <a:gd name="connsiteY2276" fmla="*/ 3692 h 10000"/>
                <a:gd name="connsiteX2277" fmla="*/ 401 w 10785"/>
                <a:gd name="connsiteY2277" fmla="*/ 3701 h 10000"/>
                <a:gd name="connsiteX2278" fmla="*/ 387 w 10785"/>
                <a:gd name="connsiteY2278" fmla="*/ 3718 h 10000"/>
                <a:gd name="connsiteX2279" fmla="*/ 387 w 10785"/>
                <a:gd name="connsiteY2279" fmla="*/ 3692 h 10000"/>
                <a:gd name="connsiteX2280" fmla="*/ 378 w 10785"/>
                <a:gd name="connsiteY2280" fmla="*/ 3675 h 10000"/>
                <a:gd name="connsiteX2281" fmla="*/ 378 w 10785"/>
                <a:gd name="connsiteY2281" fmla="*/ 3650 h 10000"/>
                <a:gd name="connsiteX2282" fmla="*/ 378 w 10785"/>
                <a:gd name="connsiteY2282" fmla="*/ 3650 h 10000"/>
                <a:gd name="connsiteX2283" fmla="*/ 355 w 10785"/>
                <a:gd name="connsiteY2283" fmla="*/ 3675 h 10000"/>
                <a:gd name="connsiteX2284" fmla="*/ 359 w 10785"/>
                <a:gd name="connsiteY2284" fmla="*/ 3641 h 10000"/>
                <a:gd name="connsiteX2285" fmla="*/ 346 w 10785"/>
                <a:gd name="connsiteY2285" fmla="*/ 3650 h 10000"/>
                <a:gd name="connsiteX2286" fmla="*/ 355 w 10785"/>
                <a:gd name="connsiteY2286" fmla="*/ 3624 h 10000"/>
                <a:gd name="connsiteX2287" fmla="*/ 346 w 10785"/>
                <a:gd name="connsiteY2287" fmla="*/ 3624 h 10000"/>
                <a:gd name="connsiteX2288" fmla="*/ 341 w 10785"/>
                <a:gd name="connsiteY2288" fmla="*/ 3624 h 10000"/>
                <a:gd name="connsiteX2289" fmla="*/ 318 w 10785"/>
                <a:gd name="connsiteY2289" fmla="*/ 3641 h 10000"/>
                <a:gd name="connsiteX2290" fmla="*/ 327 w 10785"/>
                <a:gd name="connsiteY2290" fmla="*/ 3624 h 10000"/>
                <a:gd name="connsiteX2291" fmla="*/ 318 w 10785"/>
                <a:gd name="connsiteY2291" fmla="*/ 3615 h 10000"/>
                <a:gd name="connsiteX2292" fmla="*/ 318 w 10785"/>
                <a:gd name="connsiteY2292" fmla="*/ 3598 h 10000"/>
                <a:gd name="connsiteX2293" fmla="*/ 300 w 10785"/>
                <a:gd name="connsiteY2293" fmla="*/ 3598 h 10000"/>
                <a:gd name="connsiteX2294" fmla="*/ 309 w 10785"/>
                <a:gd name="connsiteY2294" fmla="*/ 3538 h 10000"/>
                <a:gd name="connsiteX2295" fmla="*/ 313 w 10785"/>
                <a:gd name="connsiteY2295" fmla="*/ 3564 h 10000"/>
                <a:gd name="connsiteX2296" fmla="*/ 318 w 10785"/>
                <a:gd name="connsiteY2296" fmla="*/ 3581 h 10000"/>
                <a:gd name="connsiteX2297" fmla="*/ 327 w 10785"/>
                <a:gd name="connsiteY2297" fmla="*/ 3564 h 10000"/>
                <a:gd name="connsiteX2298" fmla="*/ 332 w 10785"/>
                <a:gd name="connsiteY2298" fmla="*/ 3590 h 10000"/>
                <a:gd name="connsiteX2299" fmla="*/ 346 w 10785"/>
                <a:gd name="connsiteY2299" fmla="*/ 3590 h 10000"/>
                <a:gd name="connsiteX2300" fmla="*/ 355 w 10785"/>
                <a:gd name="connsiteY2300" fmla="*/ 3590 h 10000"/>
                <a:gd name="connsiteX2301" fmla="*/ 369 w 10785"/>
                <a:gd name="connsiteY2301" fmla="*/ 3556 h 10000"/>
                <a:gd name="connsiteX2302" fmla="*/ 369 w 10785"/>
                <a:gd name="connsiteY2302" fmla="*/ 3538 h 10000"/>
                <a:gd name="connsiteX2303" fmla="*/ 346 w 10785"/>
                <a:gd name="connsiteY2303" fmla="*/ 3513 h 10000"/>
                <a:gd name="connsiteX2304" fmla="*/ 341 w 10785"/>
                <a:gd name="connsiteY2304" fmla="*/ 3530 h 10000"/>
                <a:gd name="connsiteX2305" fmla="*/ 327 w 10785"/>
                <a:gd name="connsiteY2305" fmla="*/ 3513 h 10000"/>
                <a:gd name="connsiteX2306" fmla="*/ 327 w 10785"/>
                <a:gd name="connsiteY2306" fmla="*/ 3504 h 10000"/>
                <a:gd name="connsiteX2307" fmla="*/ 295 w 10785"/>
                <a:gd name="connsiteY2307" fmla="*/ 3462 h 10000"/>
                <a:gd name="connsiteX2308" fmla="*/ 300 w 10785"/>
                <a:gd name="connsiteY2308" fmla="*/ 3479 h 10000"/>
                <a:gd name="connsiteX2309" fmla="*/ 295 w 10785"/>
                <a:gd name="connsiteY2309" fmla="*/ 3513 h 10000"/>
                <a:gd name="connsiteX2310" fmla="*/ 286 w 10785"/>
                <a:gd name="connsiteY2310" fmla="*/ 3513 h 10000"/>
                <a:gd name="connsiteX2311" fmla="*/ 281 w 10785"/>
                <a:gd name="connsiteY2311" fmla="*/ 3513 h 10000"/>
                <a:gd name="connsiteX2312" fmla="*/ 281 w 10785"/>
                <a:gd name="connsiteY2312" fmla="*/ 3530 h 10000"/>
                <a:gd name="connsiteX2313" fmla="*/ 281 w 10785"/>
                <a:gd name="connsiteY2313" fmla="*/ 3556 h 10000"/>
                <a:gd name="connsiteX2314" fmla="*/ 272 w 10785"/>
                <a:gd name="connsiteY2314" fmla="*/ 3564 h 10000"/>
                <a:gd name="connsiteX2315" fmla="*/ 267 w 10785"/>
                <a:gd name="connsiteY2315" fmla="*/ 3564 h 10000"/>
                <a:gd name="connsiteX2316" fmla="*/ 253 w 10785"/>
                <a:gd name="connsiteY2316" fmla="*/ 3538 h 10000"/>
                <a:gd name="connsiteX2317" fmla="*/ 226 w 10785"/>
                <a:gd name="connsiteY2317" fmla="*/ 3513 h 10000"/>
                <a:gd name="connsiteX2318" fmla="*/ 226 w 10785"/>
                <a:gd name="connsiteY2318" fmla="*/ 3530 h 10000"/>
                <a:gd name="connsiteX2319" fmla="*/ 226 w 10785"/>
                <a:gd name="connsiteY2319" fmla="*/ 3530 h 10000"/>
                <a:gd name="connsiteX2320" fmla="*/ 226 w 10785"/>
                <a:gd name="connsiteY2320" fmla="*/ 3530 h 10000"/>
                <a:gd name="connsiteX2321" fmla="*/ 226 w 10785"/>
                <a:gd name="connsiteY2321" fmla="*/ 3556 h 10000"/>
                <a:gd name="connsiteX2322" fmla="*/ 221 w 10785"/>
                <a:gd name="connsiteY2322" fmla="*/ 3598 h 10000"/>
                <a:gd name="connsiteX2323" fmla="*/ 207 w 10785"/>
                <a:gd name="connsiteY2323" fmla="*/ 3598 h 10000"/>
                <a:gd name="connsiteX2324" fmla="*/ 180 w 10785"/>
                <a:gd name="connsiteY2324" fmla="*/ 3581 h 10000"/>
                <a:gd name="connsiteX2325" fmla="*/ 171 w 10785"/>
                <a:gd name="connsiteY2325" fmla="*/ 3641 h 10000"/>
                <a:gd name="connsiteX2326" fmla="*/ 166 w 10785"/>
                <a:gd name="connsiteY2326" fmla="*/ 3650 h 10000"/>
                <a:gd name="connsiteX2327" fmla="*/ 124 w 10785"/>
                <a:gd name="connsiteY2327" fmla="*/ 3701 h 10000"/>
                <a:gd name="connsiteX2328" fmla="*/ 124 w 10785"/>
                <a:gd name="connsiteY2328" fmla="*/ 3718 h 10000"/>
                <a:gd name="connsiteX2329" fmla="*/ 120 w 10785"/>
                <a:gd name="connsiteY2329" fmla="*/ 3735 h 10000"/>
                <a:gd name="connsiteX2330" fmla="*/ 120 w 10785"/>
                <a:gd name="connsiteY2330" fmla="*/ 3735 h 10000"/>
                <a:gd name="connsiteX2331" fmla="*/ 111 w 10785"/>
                <a:gd name="connsiteY2331" fmla="*/ 3761 h 10000"/>
                <a:gd name="connsiteX2332" fmla="*/ 106 w 10785"/>
                <a:gd name="connsiteY2332" fmla="*/ 3761 h 10000"/>
                <a:gd name="connsiteX2333" fmla="*/ 106 w 10785"/>
                <a:gd name="connsiteY2333" fmla="*/ 3761 h 10000"/>
                <a:gd name="connsiteX2334" fmla="*/ 74 w 10785"/>
                <a:gd name="connsiteY2334" fmla="*/ 3829 h 10000"/>
                <a:gd name="connsiteX2335" fmla="*/ 78 w 10785"/>
                <a:gd name="connsiteY2335" fmla="*/ 3838 h 10000"/>
                <a:gd name="connsiteX2336" fmla="*/ 88 w 10785"/>
                <a:gd name="connsiteY2336" fmla="*/ 3846 h 10000"/>
                <a:gd name="connsiteX2337" fmla="*/ 65 w 10785"/>
                <a:gd name="connsiteY2337" fmla="*/ 3923 h 10000"/>
                <a:gd name="connsiteX2338" fmla="*/ 78 w 10785"/>
                <a:gd name="connsiteY2338" fmla="*/ 4026 h 10000"/>
                <a:gd name="connsiteX2339" fmla="*/ 88 w 10785"/>
                <a:gd name="connsiteY2339" fmla="*/ 4051 h 10000"/>
                <a:gd name="connsiteX2340" fmla="*/ 92 w 10785"/>
                <a:gd name="connsiteY2340" fmla="*/ 4060 h 10000"/>
                <a:gd name="connsiteX2341" fmla="*/ 111 w 10785"/>
                <a:gd name="connsiteY2341" fmla="*/ 4060 h 10000"/>
                <a:gd name="connsiteX2342" fmla="*/ 124 w 10785"/>
                <a:gd name="connsiteY2342" fmla="*/ 4085 h 10000"/>
                <a:gd name="connsiteX2343" fmla="*/ 166 w 10785"/>
                <a:gd name="connsiteY2343" fmla="*/ 4197 h 10000"/>
                <a:gd name="connsiteX2344" fmla="*/ 166 w 10785"/>
                <a:gd name="connsiteY2344" fmla="*/ 4248 h 10000"/>
                <a:gd name="connsiteX2345" fmla="*/ 120 w 10785"/>
                <a:gd name="connsiteY2345" fmla="*/ 4462 h 10000"/>
                <a:gd name="connsiteX2346" fmla="*/ 120 w 10785"/>
                <a:gd name="connsiteY2346" fmla="*/ 4513 h 10000"/>
                <a:gd name="connsiteX2347" fmla="*/ 180 w 10785"/>
                <a:gd name="connsiteY2347" fmla="*/ 4829 h 10000"/>
                <a:gd name="connsiteX2348" fmla="*/ 161 w 10785"/>
                <a:gd name="connsiteY2348" fmla="*/ 4855 h 10000"/>
                <a:gd name="connsiteX2349" fmla="*/ 152 w 10785"/>
                <a:gd name="connsiteY2349" fmla="*/ 4940 h 10000"/>
                <a:gd name="connsiteX2350" fmla="*/ 161 w 10785"/>
                <a:gd name="connsiteY2350" fmla="*/ 4966 h 10000"/>
                <a:gd name="connsiteX2351" fmla="*/ 161 w 10785"/>
                <a:gd name="connsiteY2351" fmla="*/ 5009 h 10000"/>
                <a:gd name="connsiteX2352" fmla="*/ 152 w 10785"/>
                <a:gd name="connsiteY2352" fmla="*/ 5034 h 10000"/>
                <a:gd name="connsiteX2353" fmla="*/ 152 w 10785"/>
                <a:gd name="connsiteY2353" fmla="*/ 5077 h 10000"/>
                <a:gd name="connsiteX2354" fmla="*/ 171 w 10785"/>
                <a:gd name="connsiteY2354" fmla="*/ 5094 h 10000"/>
                <a:gd name="connsiteX2355" fmla="*/ 180 w 10785"/>
                <a:gd name="connsiteY2355" fmla="*/ 5128 h 10000"/>
                <a:gd name="connsiteX2356" fmla="*/ 180 w 10785"/>
                <a:gd name="connsiteY2356" fmla="*/ 5171 h 10000"/>
                <a:gd name="connsiteX2357" fmla="*/ 184 w 10785"/>
                <a:gd name="connsiteY2357" fmla="*/ 5205 h 10000"/>
                <a:gd name="connsiteX2358" fmla="*/ 207 w 10785"/>
                <a:gd name="connsiteY2358" fmla="*/ 5239 h 10000"/>
                <a:gd name="connsiteX2359" fmla="*/ 207 w 10785"/>
                <a:gd name="connsiteY2359" fmla="*/ 5282 h 10000"/>
                <a:gd name="connsiteX2360" fmla="*/ 180 w 10785"/>
                <a:gd name="connsiteY2360" fmla="*/ 5393 h 10000"/>
                <a:gd name="connsiteX2361" fmla="*/ 194 w 10785"/>
                <a:gd name="connsiteY2361" fmla="*/ 5427 h 10000"/>
                <a:gd name="connsiteX2362" fmla="*/ 198 w 10785"/>
                <a:gd name="connsiteY2362" fmla="*/ 5462 h 10000"/>
                <a:gd name="connsiteX2363" fmla="*/ 235 w 10785"/>
                <a:gd name="connsiteY2363" fmla="*/ 5513 h 10000"/>
                <a:gd name="connsiteX2364" fmla="*/ 240 w 10785"/>
                <a:gd name="connsiteY2364" fmla="*/ 5556 h 10000"/>
                <a:gd name="connsiteX2365" fmla="*/ 253 w 10785"/>
                <a:gd name="connsiteY2365" fmla="*/ 5590 h 10000"/>
                <a:gd name="connsiteX2366" fmla="*/ 258 w 10785"/>
                <a:gd name="connsiteY2366" fmla="*/ 5573 h 10000"/>
                <a:gd name="connsiteX2367" fmla="*/ 258 w 10785"/>
                <a:gd name="connsiteY2367" fmla="*/ 5667 h 10000"/>
                <a:gd name="connsiteX2368" fmla="*/ 14 w 10785"/>
                <a:gd name="connsiteY2368" fmla="*/ 6214 h 10000"/>
                <a:gd name="connsiteX2369" fmla="*/ 14 w 10785"/>
                <a:gd name="connsiteY2369" fmla="*/ 6214 h 10000"/>
                <a:gd name="connsiteX2370" fmla="*/ 37 w 10785"/>
                <a:gd name="connsiteY2370" fmla="*/ 6214 h 10000"/>
                <a:gd name="connsiteX2371" fmla="*/ 51 w 10785"/>
                <a:gd name="connsiteY2371" fmla="*/ 6188 h 10000"/>
                <a:gd name="connsiteX2372" fmla="*/ 78 w 10785"/>
                <a:gd name="connsiteY2372" fmla="*/ 6162 h 10000"/>
                <a:gd name="connsiteX2373" fmla="*/ 78 w 10785"/>
                <a:gd name="connsiteY2373" fmla="*/ 6188 h 10000"/>
                <a:gd name="connsiteX2374" fmla="*/ 74 w 10785"/>
                <a:gd name="connsiteY2374" fmla="*/ 6197 h 10000"/>
                <a:gd name="connsiteX2375" fmla="*/ 74 w 10785"/>
                <a:gd name="connsiteY2375" fmla="*/ 6231 h 10000"/>
                <a:gd name="connsiteX2376" fmla="*/ 74 w 10785"/>
                <a:gd name="connsiteY2376" fmla="*/ 6214 h 10000"/>
                <a:gd name="connsiteX2377" fmla="*/ 65 w 10785"/>
                <a:gd name="connsiteY2377" fmla="*/ 6214 h 10000"/>
                <a:gd name="connsiteX2378" fmla="*/ 65 w 10785"/>
                <a:gd name="connsiteY2378" fmla="*/ 6248 h 10000"/>
                <a:gd name="connsiteX2379" fmla="*/ 74 w 10785"/>
                <a:gd name="connsiteY2379" fmla="*/ 6256 h 10000"/>
                <a:gd name="connsiteX2380" fmla="*/ 78 w 10785"/>
                <a:gd name="connsiteY2380" fmla="*/ 6256 h 10000"/>
                <a:gd name="connsiteX2381" fmla="*/ 106 w 10785"/>
                <a:gd name="connsiteY2381" fmla="*/ 6308 h 10000"/>
                <a:gd name="connsiteX2382" fmla="*/ 138 w 10785"/>
                <a:gd name="connsiteY2382" fmla="*/ 6299 h 10000"/>
                <a:gd name="connsiteX2383" fmla="*/ 152 w 10785"/>
                <a:gd name="connsiteY2383" fmla="*/ 6299 h 10000"/>
                <a:gd name="connsiteX2384" fmla="*/ 166 w 10785"/>
                <a:gd name="connsiteY2384" fmla="*/ 6325 h 10000"/>
                <a:gd name="connsiteX2385" fmla="*/ 166 w 10785"/>
                <a:gd name="connsiteY2385" fmla="*/ 6333 h 10000"/>
                <a:gd name="connsiteX2386" fmla="*/ 171 w 10785"/>
                <a:gd name="connsiteY2386" fmla="*/ 6350 h 10000"/>
                <a:gd name="connsiteX2387" fmla="*/ 180 w 10785"/>
                <a:gd name="connsiteY2387" fmla="*/ 6350 h 10000"/>
                <a:gd name="connsiteX2388" fmla="*/ 180 w 10785"/>
                <a:gd name="connsiteY2388" fmla="*/ 6359 h 10000"/>
                <a:gd name="connsiteX2389" fmla="*/ 171 w 10785"/>
                <a:gd name="connsiteY2389" fmla="*/ 6368 h 10000"/>
                <a:gd name="connsiteX2390" fmla="*/ 106 w 10785"/>
                <a:gd name="connsiteY2390" fmla="*/ 6350 h 10000"/>
                <a:gd name="connsiteX2391" fmla="*/ 101 w 10785"/>
                <a:gd name="connsiteY2391" fmla="*/ 6359 h 10000"/>
                <a:gd name="connsiteX2392" fmla="*/ 101 w 10785"/>
                <a:gd name="connsiteY2392" fmla="*/ 6385 h 10000"/>
                <a:gd name="connsiteX2393" fmla="*/ 78 w 10785"/>
                <a:gd name="connsiteY2393" fmla="*/ 6393 h 10000"/>
                <a:gd name="connsiteX2394" fmla="*/ 74 w 10785"/>
                <a:gd name="connsiteY2394" fmla="*/ 6385 h 10000"/>
                <a:gd name="connsiteX2395" fmla="*/ 65 w 10785"/>
                <a:gd name="connsiteY2395" fmla="*/ 6393 h 10000"/>
                <a:gd name="connsiteX2396" fmla="*/ 60 w 10785"/>
                <a:gd name="connsiteY2396" fmla="*/ 6419 h 10000"/>
                <a:gd name="connsiteX2397" fmla="*/ 51 w 10785"/>
                <a:gd name="connsiteY2397" fmla="*/ 6419 h 10000"/>
                <a:gd name="connsiteX2398" fmla="*/ 46 w 10785"/>
                <a:gd name="connsiteY2398" fmla="*/ 6410 h 10000"/>
                <a:gd name="connsiteX2399" fmla="*/ 37 w 10785"/>
                <a:gd name="connsiteY2399" fmla="*/ 6393 h 10000"/>
                <a:gd name="connsiteX2400" fmla="*/ 32 w 10785"/>
                <a:gd name="connsiteY2400" fmla="*/ 6419 h 10000"/>
                <a:gd name="connsiteX2401" fmla="*/ 37 w 10785"/>
                <a:gd name="connsiteY2401" fmla="*/ 6462 h 10000"/>
                <a:gd name="connsiteX2402" fmla="*/ 46 w 10785"/>
                <a:gd name="connsiteY2402" fmla="*/ 6462 h 10000"/>
                <a:gd name="connsiteX2403" fmla="*/ 51 w 10785"/>
                <a:gd name="connsiteY2403" fmla="*/ 6470 h 10000"/>
                <a:gd name="connsiteX2404" fmla="*/ 51 w 10785"/>
                <a:gd name="connsiteY2404" fmla="*/ 6496 h 10000"/>
                <a:gd name="connsiteX2405" fmla="*/ 51 w 10785"/>
                <a:gd name="connsiteY2405" fmla="*/ 6504 h 10000"/>
                <a:gd name="connsiteX2406" fmla="*/ 37 w 10785"/>
                <a:gd name="connsiteY2406" fmla="*/ 6530 h 10000"/>
                <a:gd name="connsiteX2407" fmla="*/ 18 w 10785"/>
                <a:gd name="connsiteY2407" fmla="*/ 6598 h 10000"/>
                <a:gd name="connsiteX2408" fmla="*/ 28 w 10785"/>
                <a:gd name="connsiteY2408" fmla="*/ 6632 h 10000"/>
                <a:gd name="connsiteX2409" fmla="*/ 18 w 10785"/>
                <a:gd name="connsiteY2409" fmla="*/ 6667 h 10000"/>
                <a:gd name="connsiteX2410" fmla="*/ 28 w 10785"/>
                <a:gd name="connsiteY2410" fmla="*/ 6692 h 10000"/>
                <a:gd name="connsiteX2411" fmla="*/ 28 w 10785"/>
                <a:gd name="connsiteY2411" fmla="*/ 6709 h 10000"/>
                <a:gd name="connsiteX2412" fmla="*/ 18 w 10785"/>
                <a:gd name="connsiteY2412" fmla="*/ 6718 h 10000"/>
                <a:gd name="connsiteX2413" fmla="*/ 5 w 10785"/>
                <a:gd name="connsiteY2413" fmla="*/ 6744 h 10000"/>
                <a:gd name="connsiteX2414" fmla="*/ 0 w 10785"/>
                <a:gd name="connsiteY2414" fmla="*/ 6769 h 10000"/>
                <a:gd name="connsiteX2415" fmla="*/ 5 w 10785"/>
                <a:gd name="connsiteY2415" fmla="*/ 6778 h 10000"/>
                <a:gd name="connsiteX2416" fmla="*/ 32 w 10785"/>
                <a:gd name="connsiteY2416" fmla="*/ 6778 h 10000"/>
                <a:gd name="connsiteX2417" fmla="*/ 46 w 10785"/>
                <a:gd name="connsiteY2417" fmla="*/ 6821 h 10000"/>
                <a:gd name="connsiteX2418" fmla="*/ 46 w 10785"/>
                <a:gd name="connsiteY2418" fmla="*/ 6855 h 10000"/>
                <a:gd name="connsiteX2419" fmla="*/ 32 w 10785"/>
                <a:gd name="connsiteY2419" fmla="*/ 6855 h 10000"/>
                <a:gd name="connsiteX2420" fmla="*/ 14 w 10785"/>
                <a:gd name="connsiteY2420" fmla="*/ 6821 h 10000"/>
                <a:gd name="connsiteX2421" fmla="*/ 14 w 10785"/>
                <a:gd name="connsiteY2421" fmla="*/ 6846 h 10000"/>
                <a:gd name="connsiteX2422" fmla="*/ 0 w 10785"/>
                <a:gd name="connsiteY2422" fmla="*/ 6897 h 10000"/>
                <a:gd name="connsiteX2423" fmla="*/ 0 w 10785"/>
                <a:gd name="connsiteY2423" fmla="*/ 6915 h 10000"/>
                <a:gd name="connsiteX2424" fmla="*/ 5 w 10785"/>
                <a:gd name="connsiteY2424" fmla="*/ 6932 h 10000"/>
                <a:gd name="connsiteX2425" fmla="*/ 14 w 10785"/>
                <a:gd name="connsiteY2425" fmla="*/ 6940 h 10000"/>
                <a:gd name="connsiteX2426" fmla="*/ 18 w 10785"/>
                <a:gd name="connsiteY2426" fmla="*/ 6957 h 10000"/>
                <a:gd name="connsiteX2427" fmla="*/ 28 w 10785"/>
                <a:gd name="connsiteY2427" fmla="*/ 6966 h 10000"/>
                <a:gd name="connsiteX2428" fmla="*/ 28 w 10785"/>
                <a:gd name="connsiteY2428" fmla="*/ 6983 h 10000"/>
                <a:gd name="connsiteX2429" fmla="*/ 18 w 10785"/>
                <a:gd name="connsiteY2429" fmla="*/ 7051 h 10000"/>
                <a:gd name="connsiteX2430" fmla="*/ 28 w 10785"/>
                <a:gd name="connsiteY2430" fmla="*/ 7068 h 10000"/>
                <a:gd name="connsiteX2431" fmla="*/ 32 w 10785"/>
                <a:gd name="connsiteY2431" fmla="*/ 7068 h 10000"/>
                <a:gd name="connsiteX2432" fmla="*/ 32 w 10785"/>
                <a:gd name="connsiteY2432" fmla="*/ 7094 h 10000"/>
                <a:gd name="connsiteX2433" fmla="*/ 60 w 10785"/>
                <a:gd name="connsiteY2433" fmla="*/ 7162 h 10000"/>
                <a:gd name="connsiteX2434" fmla="*/ 60 w 10785"/>
                <a:gd name="connsiteY2434" fmla="*/ 7231 h 10000"/>
                <a:gd name="connsiteX2435" fmla="*/ 60 w 10785"/>
                <a:gd name="connsiteY2435" fmla="*/ 7239 h 10000"/>
                <a:gd name="connsiteX2436" fmla="*/ 78 w 10785"/>
                <a:gd name="connsiteY2436" fmla="*/ 7239 h 10000"/>
                <a:gd name="connsiteX2437" fmla="*/ 88 w 10785"/>
                <a:gd name="connsiteY2437" fmla="*/ 7239 h 10000"/>
                <a:gd name="connsiteX2438" fmla="*/ 92 w 10785"/>
                <a:gd name="connsiteY2438" fmla="*/ 7256 h 10000"/>
                <a:gd name="connsiteX2439" fmla="*/ 111 w 10785"/>
                <a:gd name="connsiteY2439" fmla="*/ 7256 h 10000"/>
                <a:gd name="connsiteX2440" fmla="*/ 120 w 10785"/>
                <a:gd name="connsiteY2440" fmla="*/ 7256 h 10000"/>
                <a:gd name="connsiteX2441" fmla="*/ 134 w 10785"/>
                <a:gd name="connsiteY2441" fmla="*/ 7282 h 10000"/>
                <a:gd name="connsiteX2442" fmla="*/ 134 w 10785"/>
                <a:gd name="connsiteY2442" fmla="*/ 7316 h 10000"/>
                <a:gd name="connsiteX2443" fmla="*/ 152 w 10785"/>
                <a:gd name="connsiteY2443" fmla="*/ 7299 h 10000"/>
                <a:gd name="connsiteX2444" fmla="*/ 161 w 10785"/>
                <a:gd name="connsiteY2444" fmla="*/ 7299 h 10000"/>
                <a:gd name="connsiteX2445" fmla="*/ 166 w 10785"/>
                <a:gd name="connsiteY2445" fmla="*/ 7291 h 10000"/>
                <a:gd name="connsiteX2446" fmla="*/ 194 w 10785"/>
                <a:gd name="connsiteY2446" fmla="*/ 7291 h 10000"/>
                <a:gd name="connsiteX2447" fmla="*/ 207 w 10785"/>
                <a:gd name="connsiteY2447" fmla="*/ 7299 h 10000"/>
                <a:gd name="connsiteX2448" fmla="*/ 221 w 10785"/>
                <a:gd name="connsiteY2448" fmla="*/ 7342 h 10000"/>
                <a:gd name="connsiteX2449" fmla="*/ 235 w 10785"/>
                <a:gd name="connsiteY2449" fmla="*/ 7342 h 10000"/>
                <a:gd name="connsiteX2450" fmla="*/ 235 w 10785"/>
                <a:gd name="connsiteY2450" fmla="*/ 7368 h 10000"/>
                <a:gd name="connsiteX2451" fmla="*/ 226 w 10785"/>
                <a:gd name="connsiteY2451" fmla="*/ 7393 h 10000"/>
                <a:gd name="connsiteX2452" fmla="*/ 226 w 10785"/>
                <a:gd name="connsiteY2452" fmla="*/ 7402 h 10000"/>
                <a:gd name="connsiteX2453" fmla="*/ 235 w 10785"/>
                <a:gd name="connsiteY2453" fmla="*/ 7419 h 10000"/>
                <a:gd name="connsiteX2454" fmla="*/ 240 w 10785"/>
                <a:gd name="connsiteY2454" fmla="*/ 7436 h 10000"/>
                <a:gd name="connsiteX2455" fmla="*/ 235 w 10785"/>
                <a:gd name="connsiteY2455" fmla="*/ 7462 h 10000"/>
                <a:gd name="connsiteX2456" fmla="*/ 226 w 10785"/>
                <a:gd name="connsiteY2456" fmla="*/ 7479 h 10000"/>
                <a:gd name="connsiteX2457" fmla="*/ 226 w 10785"/>
                <a:gd name="connsiteY2457" fmla="*/ 7504 h 10000"/>
                <a:gd name="connsiteX2458" fmla="*/ 226 w 10785"/>
                <a:gd name="connsiteY2458" fmla="*/ 7513 h 10000"/>
                <a:gd name="connsiteX2459" fmla="*/ 240 w 10785"/>
                <a:gd name="connsiteY2459" fmla="*/ 7538 h 10000"/>
                <a:gd name="connsiteX2460" fmla="*/ 267 w 10785"/>
                <a:gd name="connsiteY2460" fmla="*/ 7641 h 10000"/>
                <a:gd name="connsiteX2461" fmla="*/ 281 w 10785"/>
                <a:gd name="connsiteY2461" fmla="*/ 7667 h 10000"/>
                <a:gd name="connsiteX2462" fmla="*/ 286 w 10785"/>
                <a:gd name="connsiteY2462" fmla="*/ 7675 h 10000"/>
                <a:gd name="connsiteX2463" fmla="*/ 286 w 10785"/>
                <a:gd name="connsiteY2463" fmla="*/ 7692 h 10000"/>
                <a:gd name="connsiteX2464" fmla="*/ 286 w 10785"/>
                <a:gd name="connsiteY2464" fmla="*/ 7709 h 10000"/>
                <a:gd name="connsiteX2465" fmla="*/ 295 w 10785"/>
                <a:gd name="connsiteY2465" fmla="*/ 7726 h 10000"/>
                <a:gd name="connsiteX2466" fmla="*/ 318 w 10785"/>
                <a:gd name="connsiteY2466" fmla="*/ 7709 h 10000"/>
                <a:gd name="connsiteX2467" fmla="*/ 327 w 10785"/>
                <a:gd name="connsiteY2467" fmla="*/ 7726 h 10000"/>
                <a:gd name="connsiteX2468" fmla="*/ 341 w 10785"/>
                <a:gd name="connsiteY2468" fmla="*/ 7735 h 10000"/>
                <a:gd name="connsiteX2469" fmla="*/ 332 w 10785"/>
                <a:gd name="connsiteY2469" fmla="*/ 7752 h 10000"/>
                <a:gd name="connsiteX2470" fmla="*/ 341 w 10785"/>
                <a:gd name="connsiteY2470" fmla="*/ 7761 h 10000"/>
                <a:gd name="connsiteX2471" fmla="*/ 355 w 10785"/>
                <a:gd name="connsiteY2471" fmla="*/ 7761 h 10000"/>
                <a:gd name="connsiteX2472" fmla="*/ 355 w 10785"/>
                <a:gd name="connsiteY2472" fmla="*/ 7803 h 10000"/>
                <a:gd name="connsiteX2473" fmla="*/ 313 w 10785"/>
                <a:gd name="connsiteY2473" fmla="*/ 7846 h 10000"/>
                <a:gd name="connsiteX2474" fmla="*/ 295 w 10785"/>
                <a:gd name="connsiteY2474" fmla="*/ 7846 h 10000"/>
                <a:gd name="connsiteX2475" fmla="*/ 281 w 10785"/>
                <a:gd name="connsiteY2475" fmla="*/ 7821 h 10000"/>
                <a:gd name="connsiteX2476" fmla="*/ 272 w 10785"/>
                <a:gd name="connsiteY2476" fmla="*/ 7821 h 10000"/>
                <a:gd name="connsiteX2477" fmla="*/ 267 w 10785"/>
                <a:gd name="connsiteY2477" fmla="*/ 7838 h 10000"/>
                <a:gd name="connsiteX2478" fmla="*/ 258 w 10785"/>
                <a:gd name="connsiteY2478" fmla="*/ 7846 h 10000"/>
                <a:gd name="connsiteX2479" fmla="*/ 253 w 10785"/>
                <a:gd name="connsiteY2479" fmla="*/ 7863 h 10000"/>
                <a:gd name="connsiteX2480" fmla="*/ 253 w 10785"/>
                <a:gd name="connsiteY2480" fmla="*/ 7872 h 10000"/>
                <a:gd name="connsiteX2481" fmla="*/ 267 w 10785"/>
                <a:gd name="connsiteY2481" fmla="*/ 7897 h 10000"/>
                <a:gd name="connsiteX2482" fmla="*/ 272 w 10785"/>
                <a:gd name="connsiteY2482" fmla="*/ 7915 h 10000"/>
                <a:gd name="connsiteX2483" fmla="*/ 267 w 10785"/>
                <a:gd name="connsiteY2483" fmla="*/ 7940 h 10000"/>
                <a:gd name="connsiteX2484" fmla="*/ 272 w 10785"/>
                <a:gd name="connsiteY2484" fmla="*/ 7949 h 10000"/>
                <a:gd name="connsiteX2485" fmla="*/ 272 w 10785"/>
                <a:gd name="connsiteY2485" fmla="*/ 7957 h 10000"/>
                <a:gd name="connsiteX2486" fmla="*/ 281 w 10785"/>
                <a:gd name="connsiteY2486" fmla="*/ 7974 h 10000"/>
                <a:gd name="connsiteX2487" fmla="*/ 286 w 10785"/>
                <a:gd name="connsiteY2487" fmla="*/ 7983 h 10000"/>
                <a:gd name="connsiteX2488" fmla="*/ 281 w 10785"/>
                <a:gd name="connsiteY2488" fmla="*/ 8009 h 10000"/>
                <a:gd name="connsiteX2489" fmla="*/ 286 w 10785"/>
                <a:gd name="connsiteY2489" fmla="*/ 8060 h 10000"/>
                <a:gd name="connsiteX2490" fmla="*/ 286 w 10785"/>
                <a:gd name="connsiteY2490" fmla="*/ 8060 h 10000"/>
                <a:gd name="connsiteX2491" fmla="*/ 295 w 10785"/>
                <a:gd name="connsiteY2491" fmla="*/ 8077 h 10000"/>
                <a:gd name="connsiteX2492" fmla="*/ 309 w 10785"/>
                <a:gd name="connsiteY2492" fmla="*/ 8077 h 10000"/>
                <a:gd name="connsiteX2493" fmla="*/ 313 w 10785"/>
                <a:gd name="connsiteY2493" fmla="*/ 8060 h 10000"/>
                <a:gd name="connsiteX2494" fmla="*/ 318 w 10785"/>
                <a:gd name="connsiteY2494" fmla="*/ 8051 h 10000"/>
                <a:gd name="connsiteX2495" fmla="*/ 318 w 10785"/>
                <a:gd name="connsiteY2495" fmla="*/ 8034 h 10000"/>
                <a:gd name="connsiteX2496" fmla="*/ 332 w 10785"/>
                <a:gd name="connsiteY2496" fmla="*/ 8026 h 10000"/>
                <a:gd name="connsiteX2497" fmla="*/ 359 w 10785"/>
                <a:gd name="connsiteY2497" fmla="*/ 8034 h 10000"/>
                <a:gd name="connsiteX2498" fmla="*/ 378 w 10785"/>
                <a:gd name="connsiteY2498" fmla="*/ 8026 h 10000"/>
                <a:gd name="connsiteX2499" fmla="*/ 401 w 10785"/>
                <a:gd name="connsiteY2499" fmla="*/ 8026 h 10000"/>
                <a:gd name="connsiteX2500" fmla="*/ 419 w 10785"/>
                <a:gd name="connsiteY2500" fmla="*/ 8009 h 10000"/>
                <a:gd name="connsiteX2501" fmla="*/ 433 w 10785"/>
                <a:gd name="connsiteY2501" fmla="*/ 8034 h 10000"/>
                <a:gd name="connsiteX2502" fmla="*/ 442 w 10785"/>
                <a:gd name="connsiteY2502" fmla="*/ 8060 h 10000"/>
                <a:gd name="connsiteX2503" fmla="*/ 442 w 10785"/>
                <a:gd name="connsiteY2503" fmla="*/ 8077 h 10000"/>
                <a:gd name="connsiteX2504" fmla="*/ 461 w 10785"/>
                <a:gd name="connsiteY2504" fmla="*/ 8111 h 10000"/>
                <a:gd name="connsiteX2505" fmla="*/ 461 w 10785"/>
                <a:gd name="connsiteY2505" fmla="*/ 8137 h 10000"/>
                <a:gd name="connsiteX2506" fmla="*/ 447 w 10785"/>
                <a:gd name="connsiteY2506" fmla="*/ 8145 h 10000"/>
                <a:gd name="connsiteX2507" fmla="*/ 442 w 10785"/>
                <a:gd name="connsiteY2507" fmla="*/ 8145 h 10000"/>
                <a:gd name="connsiteX2508" fmla="*/ 442 w 10785"/>
                <a:gd name="connsiteY2508" fmla="*/ 8162 h 10000"/>
                <a:gd name="connsiteX2509" fmla="*/ 442 w 10785"/>
                <a:gd name="connsiteY2509" fmla="*/ 8171 h 10000"/>
                <a:gd name="connsiteX2510" fmla="*/ 447 w 10785"/>
                <a:gd name="connsiteY2510" fmla="*/ 8214 h 10000"/>
                <a:gd name="connsiteX2511" fmla="*/ 465 w 10785"/>
                <a:gd name="connsiteY2511" fmla="*/ 8231 h 10000"/>
                <a:gd name="connsiteX2512" fmla="*/ 488 w 10785"/>
                <a:gd name="connsiteY2512" fmla="*/ 8231 h 10000"/>
                <a:gd name="connsiteX2513" fmla="*/ 493 w 10785"/>
                <a:gd name="connsiteY2513" fmla="*/ 8231 h 10000"/>
                <a:gd name="connsiteX2514" fmla="*/ 502 w 10785"/>
                <a:gd name="connsiteY2514" fmla="*/ 8231 h 10000"/>
                <a:gd name="connsiteX2515" fmla="*/ 507 w 10785"/>
                <a:gd name="connsiteY2515" fmla="*/ 8248 h 10000"/>
                <a:gd name="connsiteX2516" fmla="*/ 521 w 10785"/>
                <a:gd name="connsiteY2516" fmla="*/ 8274 h 10000"/>
                <a:gd name="connsiteX2517" fmla="*/ 525 w 10785"/>
                <a:gd name="connsiteY2517" fmla="*/ 8333 h 10000"/>
                <a:gd name="connsiteX2518" fmla="*/ 525 w 10785"/>
                <a:gd name="connsiteY2518" fmla="*/ 8359 h 10000"/>
                <a:gd name="connsiteX2519" fmla="*/ 525 w 10785"/>
                <a:gd name="connsiteY2519" fmla="*/ 8368 h 10000"/>
                <a:gd name="connsiteX2520" fmla="*/ 548 w 10785"/>
                <a:gd name="connsiteY2520" fmla="*/ 8393 h 10000"/>
                <a:gd name="connsiteX2521" fmla="*/ 553 w 10785"/>
                <a:gd name="connsiteY2521" fmla="*/ 8385 h 10000"/>
                <a:gd name="connsiteX2522" fmla="*/ 562 w 10785"/>
                <a:gd name="connsiteY2522" fmla="*/ 8385 h 10000"/>
                <a:gd name="connsiteX2523" fmla="*/ 576 w 10785"/>
                <a:gd name="connsiteY2523" fmla="*/ 8385 h 10000"/>
                <a:gd name="connsiteX2524" fmla="*/ 585 w 10785"/>
                <a:gd name="connsiteY2524" fmla="*/ 8410 h 10000"/>
                <a:gd name="connsiteX2525" fmla="*/ 594 w 10785"/>
                <a:gd name="connsiteY2525" fmla="*/ 8410 h 10000"/>
                <a:gd name="connsiteX2526" fmla="*/ 608 w 10785"/>
                <a:gd name="connsiteY2526" fmla="*/ 8410 h 10000"/>
                <a:gd name="connsiteX2527" fmla="*/ 654 w 10785"/>
                <a:gd name="connsiteY2527" fmla="*/ 8385 h 10000"/>
                <a:gd name="connsiteX2528" fmla="*/ 659 w 10785"/>
                <a:gd name="connsiteY2528" fmla="*/ 8385 h 10000"/>
                <a:gd name="connsiteX2529" fmla="*/ 696 w 10785"/>
                <a:gd name="connsiteY2529" fmla="*/ 8470 h 10000"/>
                <a:gd name="connsiteX2530" fmla="*/ 700 w 10785"/>
                <a:gd name="connsiteY2530" fmla="*/ 8470 h 10000"/>
                <a:gd name="connsiteX2531" fmla="*/ 710 w 10785"/>
                <a:gd name="connsiteY2531" fmla="*/ 8462 h 10000"/>
                <a:gd name="connsiteX2532" fmla="*/ 714 w 10785"/>
                <a:gd name="connsiteY2532" fmla="*/ 8462 h 10000"/>
                <a:gd name="connsiteX2533" fmla="*/ 724 w 10785"/>
                <a:gd name="connsiteY2533" fmla="*/ 8470 h 10000"/>
                <a:gd name="connsiteX2534" fmla="*/ 733 w 10785"/>
                <a:gd name="connsiteY2534" fmla="*/ 8470 h 10000"/>
                <a:gd name="connsiteX2535" fmla="*/ 742 w 10785"/>
                <a:gd name="connsiteY2535" fmla="*/ 8487 h 10000"/>
                <a:gd name="connsiteX2536" fmla="*/ 747 w 10785"/>
                <a:gd name="connsiteY2536" fmla="*/ 8496 h 10000"/>
                <a:gd name="connsiteX2537" fmla="*/ 770 w 10785"/>
                <a:gd name="connsiteY2537" fmla="*/ 8496 h 10000"/>
                <a:gd name="connsiteX2538" fmla="*/ 783 w 10785"/>
                <a:gd name="connsiteY2538" fmla="*/ 8521 h 10000"/>
                <a:gd name="connsiteX2539" fmla="*/ 797 w 10785"/>
                <a:gd name="connsiteY2539" fmla="*/ 8521 h 10000"/>
                <a:gd name="connsiteX2540" fmla="*/ 806 w 10785"/>
                <a:gd name="connsiteY2540" fmla="*/ 8530 h 10000"/>
                <a:gd name="connsiteX2541" fmla="*/ 829 w 10785"/>
                <a:gd name="connsiteY2541" fmla="*/ 8547 h 10000"/>
                <a:gd name="connsiteX2542" fmla="*/ 834 w 10785"/>
                <a:gd name="connsiteY2542" fmla="*/ 8556 h 10000"/>
                <a:gd name="connsiteX2543" fmla="*/ 829 w 10785"/>
                <a:gd name="connsiteY2543" fmla="*/ 8556 h 10000"/>
                <a:gd name="connsiteX2544" fmla="*/ 834 w 10785"/>
                <a:gd name="connsiteY2544" fmla="*/ 8607 h 10000"/>
                <a:gd name="connsiteX2545" fmla="*/ 829 w 10785"/>
                <a:gd name="connsiteY2545" fmla="*/ 8641 h 10000"/>
                <a:gd name="connsiteX2546" fmla="*/ 806 w 10785"/>
                <a:gd name="connsiteY2546" fmla="*/ 8658 h 10000"/>
                <a:gd name="connsiteX2547" fmla="*/ 816 w 10785"/>
                <a:gd name="connsiteY2547" fmla="*/ 8667 h 10000"/>
                <a:gd name="connsiteX2548" fmla="*/ 820 w 10785"/>
                <a:gd name="connsiteY2548" fmla="*/ 8667 h 10000"/>
                <a:gd name="connsiteX2549" fmla="*/ 829 w 10785"/>
                <a:gd name="connsiteY2549" fmla="*/ 8684 h 10000"/>
                <a:gd name="connsiteX2550" fmla="*/ 806 w 10785"/>
                <a:gd name="connsiteY2550" fmla="*/ 8692 h 10000"/>
                <a:gd name="connsiteX2551" fmla="*/ 802 w 10785"/>
                <a:gd name="connsiteY2551" fmla="*/ 8709 h 10000"/>
                <a:gd name="connsiteX2552" fmla="*/ 802 w 10785"/>
                <a:gd name="connsiteY2552" fmla="*/ 8735 h 10000"/>
                <a:gd name="connsiteX2553" fmla="*/ 806 w 10785"/>
                <a:gd name="connsiteY2553" fmla="*/ 8744 h 10000"/>
                <a:gd name="connsiteX2554" fmla="*/ 816 w 10785"/>
                <a:gd name="connsiteY2554" fmla="*/ 8752 h 10000"/>
                <a:gd name="connsiteX2555" fmla="*/ 806 w 10785"/>
                <a:gd name="connsiteY2555" fmla="*/ 8778 h 10000"/>
                <a:gd name="connsiteX2556" fmla="*/ 820 w 10785"/>
                <a:gd name="connsiteY2556" fmla="*/ 8778 h 10000"/>
                <a:gd name="connsiteX2557" fmla="*/ 806 w 10785"/>
                <a:gd name="connsiteY2557" fmla="*/ 8880 h 10000"/>
                <a:gd name="connsiteX2558" fmla="*/ 797 w 10785"/>
                <a:gd name="connsiteY2558" fmla="*/ 8880 h 10000"/>
                <a:gd name="connsiteX2559" fmla="*/ 783 w 10785"/>
                <a:gd name="connsiteY2559" fmla="*/ 8872 h 10000"/>
                <a:gd name="connsiteX2560" fmla="*/ 770 w 10785"/>
                <a:gd name="connsiteY2560" fmla="*/ 8880 h 10000"/>
                <a:gd name="connsiteX2561" fmla="*/ 756 w 10785"/>
                <a:gd name="connsiteY2561" fmla="*/ 8855 h 10000"/>
                <a:gd name="connsiteX2562" fmla="*/ 733 w 10785"/>
                <a:gd name="connsiteY2562" fmla="*/ 8906 h 10000"/>
                <a:gd name="connsiteX2563" fmla="*/ 714 w 10785"/>
                <a:gd name="connsiteY2563" fmla="*/ 8915 h 10000"/>
                <a:gd name="connsiteX2564" fmla="*/ 710 w 10785"/>
                <a:gd name="connsiteY2564" fmla="*/ 8940 h 10000"/>
                <a:gd name="connsiteX2565" fmla="*/ 710 w 10785"/>
                <a:gd name="connsiteY2565" fmla="*/ 9009 h 10000"/>
                <a:gd name="connsiteX2566" fmla="*/ 728 w 10785"/>
                <a:gd name="connsiteY2566" fmla="*/ 8991 h 10000"/>
                <a:gd name="connsiteX2567" fmla="*/ 733 w 10785"/>
                <a:gd name="connsiteY2567" fmla="*/ 8991 h 10000"/>
                <a:gd name="connsiteX2568" fmla="*/ 747 w 10785"/>
                <a:gd name="connsiteY2568" fmla="*/ 8983 h 10000"/>
                <a:gd name="connsiteX2569" fmla="*/ 760 w 10785"/>
                <a:gd name="connsiteY2569" fmla="*/ 8983 h 10000"/>
                <a:gd name="connsiteX2570" fmla="*/ 770 w 10785"/>
                <a:gd name="connsiteY2570" fmla="*/ 8983 h 10000"/>
                <a:gd name="connsiteX2571" fmla="*/ 770 w 10785"/>
                <a:gd name="connsiteY2571" fmla="*/ 8991 h 10000"/>
                <a:gd name="connsiteX2572" fmla="*/ 783 w 10785"/>
                <a:gd name="connsiteY2572" fmla="*/ 8991 h 10000"/>
                <a:gd name="connsiteX2573" fmla="*/ 783 w 10785"/>
                <a:gd name="connsiteY2573" fmla="*/ 9009 h 10000"/>
                <a:gd name="connsiteX2574" fmla="*/ 783 w 10785"/>
                <a:gd name="connsiteY2574" fmla="*/ 9017 h 10000"/>
                <a:gd name="connsiteX2575" fmla="*/ 770 w 10785"/>
                <a:gd name="connsiteY2575" fmla="*/ 9017 h 10000"/>
                <a:gd name="connsiteX2576" fmla="*/ 724 w 10785"/>
                <a:gd name="connsiteY2576" fmla="*/ 9051 h 10000"/>
                <a:gd name="connsiteX2577" fmla="*/ 724 w 10785"/>
                <a:gd name="connsiteY2577" fmla="*/ 9068 h 10000"/>
                <a:gd name="connsiteX2578" fmla="*/ 728 w 10785"/>
                <a:gd name="connsiteY2578" fmla="*/ 9077 h 10000"/>
                <a:gd name="connsiteX2579" fmla="*/ 724 w 10785"/>
                <a:gd name="connsiteY2579" fmla="*/ 9077 h 10000"/>
                <a:gd name="connsiteX2580" fmla="*/ 710 w 10785"/>
                <a:gd name="connsiteY2580" fmla="*/ 9077 h 10000"/>
                <a:gd name="connsiteX2581" fmla="*/ 682 w 10785"/>
                <a:gd name="connsiteY2581" fmla="*/ 9077 h 10000"/>
                <a:gd name="connsiteX2582" fmla="*/ 673 w 10785"/>
                <a:gd name="connsiteY2582" fmla="*/ 9103 h 10000"/>
                <a:gd name="connsiteX2583" fmla="*/ 687 w 10785"/>
                <a:gd name="connsiteY2583" fmla="*/ 9128 h 10000"/>
                <a:gd name="connsiteX2584" fmla="*/ 700 w 10785"/>
                <a:gd name="connsiteY2584" fmla="*/ 9128 h 10000"/>
                <a:gd name="connsiteX2585" fmla="*/ 728 w 10785"/>
                <a:gd name="connsiteY2585" fmla="*/ 9179 h 10000"/>
                <a:gd name="connsiteX2586" fmla="*/ 724 w 10785"/>
                <a:gd name="connsiteY2586" fmla="*/ 9188 h 10000"/>
                <a:gd name="connsiteX2587" fmla="*/ 710 w 10785"/>
                <a:gd name="connsiteY2587" fmla="*/ 9179 h 10000"/>
                <a:gd name="connsiteX2588" fmla="*/ 700 w 10785"/>
                <a:gd name="connsiteY2588" fmla="*/ 9205 h 10000"/>
                <a:gd name="connsiteX2589" fmla="*/ 696 w 10785"/>
                <a:gd name="connsiteY2589" fmla="*/ 9205 h 10000"/>
                <a:gd name="connsiteX2590" fmla="*/ 654 w 10785"/>
                <a:gd name="connsiteY2590" fmla="*/ 9299 h 10000"/>
                <a:gd name="connsiteX2591" fmla="*/ 622 w 10785"/>
                <a:gd name="connsiteY2591" fmla="*/ 9299 h 10000"/>
                <a:gd name="connsiteX2592" fmla="*/ 613 w 10785"/>
                <a:gd name="connsiteY2592" fmla="*/ 9316 h 10000"/>
                <a:gd name="connsiteX2593" fmla="*/ 613 w 10785"/>
                <a:gd name="connsiteY2593" fmla="*/ 9325 h 10000"/>
                <a:gd name="connsiteX2594" fmla="*/ 608 w 10785"/>
                <a:gd name="connsiteY2594" fmla="*/ 9342 h 10000"/>
                <a:gd name="connsiteX2595" fmla="*/ 636 w 10785"/>
                <a:gd name="connsiteY2595" fmla="*/ 9376 h 10000"/>
                <a:gd name="connsiteX2596" fmla="*/ 641 w 10785"/>
                <a:gd name="connsiteY2596" fmla="*/ 9402 h 10000"/>
                <a:gd name="connsiteX2597" fmla="*/ 654 w 10785"/>
                <a:gd name="connsiteY2597" fmla="*/ 9427 h 10000"/>
                <a:gd name="connsiteX2598" fmla="*/ 668 w 10785"/>
                <a:gd name="connsiteY2598" fmla="*/ 9427 h 10000"/>
                <a:gd name="connsiteX2599" fmla="*/ 668 w 10785"/>
                <a:gd name="connsiteY2599" fmla="*/ 9427 h 10000"/>
                <a:gd name="connsiteX2600" fmla="*/ 774 w 10785"/>
                <a:gd name="connsiteY2600" fmla="*/ 9547 h 10000"/>
                <a:gd name="connsiteX2601" fmla="*/ 797 w 10785"/>
                <a:gd name="connsiteY2601" fmla="*/ 9598 h 10000"/>
                <a:gd name="connsiteX2602" fmla="*/ 802 w 10785"/>
                <a:gd name="connsiteY2602" fmla="*/ 9598 h 10000"/>
                <a:gd name="connsiteX2603" fmla="*/ 816 w 10785"/>
                <a:gd name="connsiteY2603" fmla="*/ 9624 h 10000"/>
                <a:gd name="connsiteX2604" fmla="*/ 843 w 10785"/>
                <a:gd name="connsiteY2604" fmla="*/ 9615 h 10000"/>
                <a:gd name="connsiteX2605" fmla="*/ 857 w 10785"/>
                <a:gd name="connsiteY2605" fmla="*/ 9624 h 10000"/>
                <a:gd name="connsiteX2606" fmla="*/ 862 w 10785"/>
                <a:gd name="connsiteY2606" fmla="*/ 9615 h 10000"/>
                <a:gd name="connsiteX2607" fmla="*/ 880 w 10785"/>
                <a:gd name="connsiteY2607" fmla="*/ 9624 h 10000"/>
                <a:gd name="connsiteX2608" fmla="*/ 889 w 10785"/>
                <a:gd name="connsiteY2608" fmla="*/ 9641 h 10000"/>
                <a:gd name="connsiteX2609" fmla="*/ 935 w 10785"/>
                <a:gd name="connsiteY2609" fmla="*/ 9675 h 10000"/>
                <a:gd name="connsiteX2610" fmla="*/ 977 w 10785"/>
                <a:gd name="connsiteY2610" fmla="*/ 9667 h 10000"/>
                <a:gd name="connsiteX2611" fmla="*/ 995 w 10785"/>
                <a:gd name="connsiteY2611" fmla="*/ 9675 h 10000"/>
                <a:gd name="connsiteX2612" fmla="*/ 1014 w 10785"/>
                <a:gd name="connsiteY2612" fmla="*/ 9675 h 10000"/>
                <a:gd name="connsiteX2613" fmla="*/ 1069 w 10785"/>
                <a:gd name="connsiteY2613" fmla="*/ 9752 h 10000"/>
                <a:gd name="connsiteX2614" fmla="*/ 1074 w 10785"/>
                <a:gd name="connsiteY2614" fmla="*/ 9761 h 10000"/>
                <a:gd name="connsiteX2615" fmla="*/ 1083 w 10785"/>
                <a:gd name="connsiteY2615" fmla="*/ 9778 h 10000"/>
                <a:gd name="connsiteX2616" fmla="*/ 1115 w 10785"/>
                <a:gd name="connsiteY2616" fmla="*/ 9752 h 10000"/>
                <a:gd name="connsiteX2617" fmla="*/ 1129 w 10785"/>
                <a:gd name="connsiteY2617" fmla="*/ 9752 h 10000"/>
                <a:gd name="connsiteX2618" fmla="*/ 1138 w 10785"/>
                <a:gd name="connsiteY2618" fmla="*/ 9761 h 10000"/>
                <a:gd name="connsiteX2619" fmla="*/ 1143 w 10785"/>
                <a:gd name="connsiteY2619" fmla="*/ 9752 h 10000"/>
                <a:gd name="connsiteX2620" fmla="*/ 1161 w 10785"/>
                <a:gd name="connsiteY2620" fmla="*/ 9761 h 10000"/>
                <a:gd name="connsiteX2621" fmla="*/ 1171 w 10785"/>
                <a:gd name="connsiteY2621" fmla="*/ 9778 h 10000"/>
                <a:gd name="connsiteX2622" fmla="*/ 1175 w 10785"/>
                <a:gd name="connsiteY2622" fmla="*/ 9778 h 10000"/>
                <a:gd name="connsiteX2623" fmla="*/ 1189 w 10785"/>
                <a:gd name="connsiteY2623" fmla="*/ 9778 h 10000"/>
                <a:gd name="connsiteX2624" fmla="*/ 1198 w 10785"/>
                <a:gd name="connsiteY2624" fmla="*/ 9786 h 10000"/>
                <a:gd name="connsiteX2625" fmla="*/ 1203 w 10785"/>
                <a:gd name="connsiteY2625" fmla="*/ 9803 h 10000"/>
                <a:gd name="connsiteX2626" fmla="*/ 1198 w 10785"/>
                <a:gd name="connsiteY2626" fmla="*/ 9838 h 10000"/>
                <a:gd name="connsiteX2627" fmla="*/ 1212 w 10785"/>
                <a:gd name="connsiteY2627" fmla="*/ 9863 h 10000"/>
                <a:gd name="connsiteX2628" fmla="*/ 1230 w 10785"/>
                <a:gd name="connsiteY2628" fmla="*/ 9872 h 10000"/>
                <a:gd name="connsiteX2629" fmla="*/ 1249 w 10785"/>
                <a:gd name="connsiteY2629" fmla="*/ 9897 h 10000"/>
                <a:gd name="connsiteX2630" fmla="*/ 1263 w 10785"/>
                <a:gd name="connsiteY2630" fmla="*/ 9897 h 10000"/>
                <a:gd name="connsiteX2631" fmla="*/ 1276 w 10785"/>
                <a:gd name="connsiteY2631" fmla="*/ 9923 h 10000"/>
                <a:gd name="connsiteX2632" fmla="*/ 1281 w 10785"/>
                <a:gd name="connsiteY2632" fmla="*/ 9949 h 10000"/>
                <a:gd name="connsiteX2633" fmla="*/ 1290 w 10785"/>
                <a:gd name="connsiteY2633" fmla="*/ 9949 h 10000"/>
                <a:gd name="connsiteX2634" fmla="*/ 1295 w 10785"/>
                <a:gd name="connsiteY2634" fmla="*/ 10000 h 10000"/>
                <a:gd name="connsiteX2635" fmla="*/ 1332 w 10785"/>
                <a:gd name="connsiteY2635" fmla="*/ 10000 h 10000"/>
                <a:gd name="connsiteX2636" fmla="*/ 1336 w 10785"/>
                <a:gd name="connsiteY2636" fmla="*/ 10000 h 10000"/>
                <a:gd name="connsiteX2637" fmla="*/ 1346 w 10785"/>
                <a:gd name="connsiteY2637" fmla="*/ 9983 h 10000"/>
                <a:gd name="connsiteX2638" fmla="*/ 1350 w 10785"/>
                <a:gd name="connsiteY2638" fmla="*/ 9949 h 10000"/>
                <a:gd name="connsiteX2639" fmla="*/ 1369 w 10785"/>
                <a:gd name="connsiteY2639" fmla="*/ 9940 h 10000"/>
                <a:gd name="connsiteX2640" fmla="*/ 1378 w 10785"/>
                <a:gd name="connsiteY2640" fmla="*/ 9897 h 10000"/>
                <a:gd name="connsiteX2641" fmla="*/ 1369 w 10785"/>
                <a:gd name="connsiteY2641" fmla="*/ 9889 h 10000"/>
                <a:gd name="connsiteX2642" fmla="*/ 1318 w 10785"/>
                <a:gd name="connsiteY2642" fmla="*/ 9701 h 10000"/>
                <a:gd name="connsiteX2643" fmla="*/ 1318 w 10785"/>
                <a:gd name="connsiteY2643" fmla="*/ 9650 h 10000"/>
                <a:gd name="connsiteX2644" fmla="*/ 1323 w 10785"/>
                <a:gd name="connsiteY2644" fmla="*/ 9590 h 10000"/>
                <a:gd name="connsiteX2645" fmla="*/ 1323 w 10785"/>
                <a:gd name="connsiteY2645" fmla="*/ 9564 h 10000"/>
                <a:gd name="connsiteX2646" fmla="*/ 1309 w 10785"/>
                <a:gd name="connsiteY2646" fmla="*/ 9598 h 10000"/>
                <a:gd name="connsiteX2647" fmla="*/ 1309 w 10785"/>
                <a:gd name="connsiteY2647" fmla="*/ 9590 h 10000"/>
                <a:gd name="connsiteX2648" fmla="*/ 1304 w 10785"/>
                <a:gd name="connsiteY2648" fmla="*/ 9547 h 10000"/>
                <a:gd name="connsiteX2649" fmla="*/ 1276 w 10785"/>
                <a:gd name="connsiteY2649" fmla="*/ 9479 h 10000"/>
                <a:gd name="connsiteX2650" fmla="*/ 1263 w 10785"/>
                <a:gd name="connsiteY2650" fmla="*/ 9479 h 10000"/>
                <a:gd name="connsiteX2651" fmla="*/ 1263 w 10785"/>
                <a:gd name="connsiteY2651" fmla="*/ 9453 h 10000"/>
                <a:gd name="connsiteX2652" fmla="*/ 1272 w 10785"/>
                <a:gd name="connsiteY2652" fmla="*/ 9410 h 10000"/>
                <a:gd name="connsiteX2653" fmla="*/ 1272 w 10785"/>
                <a:gd name="connsiteY2653" fmla="*/ 9393 h 10000"/>
                <a:gd name="connsiteX2654" fmla="*/ 1281 w 10785"/>
                <a:gd name="connsiteY2654" fmla="*/ 9368 h 10000"/>
                <a:gd name="connsiteX2655" fmla="*/ 1281 w 10785"/>
                <a:gd name="connsiteY2655" fmla="*/ 9368 h 10000"/>
                <a:gd name="connsiteX2656" fmla="*/ 1290 w 10785"/>
                <a:gd name="connsiteY2656" fmla="*/ 9368 h 10000"/>
                <a:gd name="connsiteX2657" fmla="*/ 1290 w 10785"/>
                <a:gd name="connsiteY2657" fmla="*/ 9342 h 10000"/>
                <a:gd name="connsiteX2658" fmla="*/ 1304 w 10785"/>
                <a:gd name="connsiteY2658" fmla="*/ 9325 h 10000"/>
                <a:gd name="connsiteX2659" fmla="*/ 1309 w 10785"/>
                <a:gd name="connsiteY2659" fmla="*/ 9239 h 10000"/>
                <a:gd name="connsiteX2660" fmla="*/ 1318 w 10785"/>
                <a:gd name="connsiteY2660" fmla="*/ 9256 h 10000"/>
                <a:gd name="connsiteX2661" fmla="*/ 1323 w 10785"/>
                <a:gd name="connsiteY2661" fmla="*/ 9179 h 10000"/>
                <a:gd name="connsiteX2662" fmla="*/ 1309 w 10785"/>
                <a:gd name="connsiteY2662" fmla="*/ 9145 h 10000"/>
                <a:gd name="connsiteX2663" fmla="*/ 1336 w 10785"/>
                <a:gd name="connsiteY2663" fmla="*/ 9154 h 10000"/>
                <a:gd name="connsiteX2664" fmla="*/ 1336 w 10785"/>
                <a:gd name="connsiteY2664" fmla="*/ 9162 h 10000"/>
                <a:gd name="connsiteX2665" fmla="*/ 1350 w 10785"/>
                <a:gd name="connsiteY2665" fmla="*/ 9231 h 10000"/>
                <a:gd name="connsiteX2666" fmla="*/ 1355 w 10785"/>
                <a:gd name="connsiteY2666" fmla="*/ 9231 h 10000"/>
                <a:gd name="connsiteX2667" fmla="*/ 1364 w 10785"/>
                <a:gd name="connsiteY2667" fmla="*/ 9214 h 10000"/>
                <a:gd name="connsiteX2668" fmla="*/ 1369 w 10785"/>
                <a:gd name="connsiteY2668" fmla="*/ 9214 h 10000"/>
                <a:gd name="connsiteX2669" fmla="*/ 1382 w 10785"/>
                <a:gd name="connsiteY2669" fmla="*/ 9154 h 10000"/>
                <a:gd name="connsiteX2670" fmla="*/ 1396 w 10785"/>
                <a:gd name="connsiteY2670" fmla="*/ 9154 h 10000"/>
                <a:gd name="connsiteX2671" fmla="*/ 1382 w 10785"/>
                <a:gd name="connsiteY2671" fmla="*/ 9145 h 10000"/>
                <a:gd name="connsiteX2672" fmla="*/ 1382 w 10785"/>
                <a:gd name="connsiteY2672" fmla="*/ 9128 h 10000"/>
                <a:gd name="connsiteX2673" fmla="*/ 1369 w 10785"/>
                <a:gd name="connsiteY2673" fmla="*/ 9128 h 10000"/>
                <a:gd name="connsiteX2674" fmla="*/ 1364 w 10785"/>
                <a:gd name="connsiteY2674" fmla="*/ 9128 h 10000"/>
                <a:gd name="connsiteX2675" fmla="*/ 1355 w 10785"/>
                <a:gd name="connsiteY2675" fmla="*/ 9120 h 10000"/>
                <a:gd name="connsiteX2676" fmla="*/ 1350 w 10785"/>
                <a:gd name="connsiteY2676" fmla="*/ 9103 h 10000"/>
                <a:gd name="connsiteX2677" fmla="*/ 1355 w 10785"/>
                <a:gd name="connsiteY2677" fmla="*/ 9094 h 10000"/>
                <a:gd name="connsiteX2678" fmla="*/ 1355 w 10785"/>
                <a:gd name="connsiteY2678" fmla="*/ 9068 h 10000"/>
                <a:gd name="connsiteX2679" fmla="*/ 1369 w 10785"/>
                <a:gd name="connsiteY2679" fmla="*/ 9068 h 10000"/>
                <a:gd name="connsiteX2680" fmla="*/ 1378 w 10785"/>
                <a:gd name="connsiteY2680" fmla="*/ 9077 h 10000"/>
                <a:gd name="connsiteX2681" fmla="*/ 1396 w 10785"/>
                <a:gd name="connsiteY2681" fmla="*/ 9068 h 10000"/>
                <a:gd name="connsiteX2682" fmla="*/ 1382 w 10785"/>
                <a:gd name="connsiteY2682" fmla="*/ 8940 h 10000"/>
                <a:gd name="connsiteX2683" fmla="*/ 1378 w 10785"/>
                <a:gd name="connsiteY2683" fmla="*/ 8940 h 10000"/>
                <a:gd name="connsiteX2684" fmla="*/ 1364 w 10785"/>
                <a:gd name="connsiteY2684" fmla="*/ 8889 h 10000"/>
                <a:gd name="connsiteX2685" fmla="*/ 1355 w 10785"/>
                <a:gd name="connsiteY2685" fmla="*/ 8880 h 10000"/>
                <a:gd name="connsiteX2686" fmla="*/ 1323 w 10785"/>
                <a:gd name="connsiteY2686" fmla="*/ 8880 h 10000"/>
                <a:gd name="connsiteX2687" fmla="*/ 1309 w 10785"/>
                <a:gd name="connsiteY2687" fmla="*/ 8880 h 10000"/>
                <a:gd name="connsiteX2688" fmla="*/ 1309 w 10785"/>
                <a:gd name="connsiteY2688" fmla="*/ 8889 h 10000"/>
                <a:gd name="connsiteX2689" fmla="*/ 1295 w 10785"/>
                <a:gd name="connsiteY2689" fmla="*/ 8872 h 10000"/>
                <a:gd name="connsiteX2690" fmla="*/ 1290 w 10785"/>
                <a:gd name="connsiteY2690" fmla="*/ 8855 h 10000"/>
                <a:gd name="connsiteX2691" fmla="*/ 1290 w 10785"/>
                <a:gd name="connsiteY2691" fmla="*/ 8829 h 10000"/>
                <a:gd name="connsiteX2692" fmla="*/ 1290 w 10785"/>
                <a:gd name="connsiteY2692" fmla="*/ 8821 h 10000"/>
                <a:gd name="connsiteX2693" fmla="*/ 1290 w 10785"/>
                <a:gd name="connsiteY2693" fmla="*/ 8803 h 10000"/>
                <a:gd name="connsiteX2694" fmla="*/ 1281 w 10785"/>
                <a:gd name="connsiteY2694" fmla="*/ 8795 h 10000"/>
                <a:gd name="connsiteX2695" fmla="*/ 1249 w 10785"/>
                <a:gd name="connsiteY2695" fmla="*/ 8769 h 10000"/>
                <a:gd name="connsiteX2696" fmla="*/ 1263 w 10785"/>
                <a:gd name="connsiteY2696" fmla="*/ 8667 h 10000"/>
                <a:gd name="connsiteX2697" fmla="*/ 1281 w 10785"/>
                <a:gd name="connsiteY2697" fmla="*/ 8658 h 10000"/>
                <a:gd name="connsiteX2698" fmla="*/ 1290 w 10785"/>
                <a:gd name="connsiteY2698" fmla="*/ 8632 h 10000"/>
                <a:gd name="connsiteX2699" fmla="*/ 1281 w 10785"/>
                <a:gd name="connsiteY2699" fmla="*/ 8615 h 10000"/>
                <a:gd name="connsiteX2700" fmla="*/ 1272 w 10785"/>
                <a:gd name="connsiteY2700" fmla="*/ 8598 h 10000"/>
                <a:gd name="connsiteX2701" fmla="*/ 1281 w 10785"/>
                <a:gd name="connsiteY2701" fmla="*/ 8496 h 10000"/>
                <a:gd name="connsiteX2702" fmla="*/ 1295 w 10785"/>
                <a:gd name="connsiteY2702" fmla="*/ 8470 h 10000"/>
                <a:gd name="connsiteX2703" fmla="*/ 1304 w 10785"/>
                <a:gd name="connsiteY2703" fmla="*/ 8462 h 10000"/>
                <a:gd name="connsiteX2704" fmla="*/ 1304 w 10785"/>
                <a:gd name="connsiteY2704" fmla="*/ 8444 h 10000"/>
                <a:gd name="connsiteX2705" fmla="*/ 1304 w 10785"/>
                <a:gd name="connsiteY2705" fmla="*/ 8419 h 10000"/>
                <a:gd name="connsiteX2706" fmla="*/ 1304 w 10785"/>
                <a:gd name="connsiteY2706" fmla="*/ 8410 h 10000"/>
                <a:gd name="connsiteX2707" fmla="*/ 1309 w 10785"/>
                <a:gd name="connsiteY2707" fmla="*/ 8393 h 10000"/>
                <a:gd name="connsiteX2708" fmla="*/ 1318 w 10785"/>
                <a:gd name="connsiteY2708" fmla="*/ 8385 h 10000"/>
                <a:gd name="connsiteX2709" fmla="*/ 1323 w 10785"/>
                <a:gd name="connsiteY2709" fmla="*/ 8385 h 10000"/>
                <a:gd name="connsiteX2710" fmla="*/ 1332 w 10785"/>
                <a:gd name="connsiteY2710" fmla="*/ 8410 h 10000"/>
                <a:gd name="connsiteX2711" fmla="*/ 1346 w 10785"/>
                <a:gd name="connsiteY2711" fmla="*/ 8419 h 10000"/>
                <a:gd name="connsiteX2712" fmla="*/ 1364 w 10785"/>
                <a:gd name="connsiteY2712" fmla="*/ 8504 h 10000"/>
                <a:gd name="connsiteX2713" fmla="*/ 1369 w 10785"/>
                <a:gd name="connsiteY2713" fmla="*/ 8521 h 10000"/>
                <a:gd name="connsiteX2714" fmla="*/ 1406 w 10785"/>
                <a:gd name="connsiteY2714" fmla="*/ 8470 h 10000"/>
                <a:gd name="connsiteX2715" fmla="*/ 1382 w 10785"/>
                <a:gd name="connsiteY2715" fmla="*/ 8359 h 10000"/>
                <a:gd name="connsiteX2716" fmla="*/ 1392 w 10785"/>
                <a:gd name="connsiteY2716" fmla="*/ 8359 h 10000"/>
                <a:gd name="connsiteX2717" fmla="*/ 1438 w 10785"/>
                <a:gd name="connsiteY2717" fmla="*/ 8308 h 10000"/>
                <a:gd name="connsiteX2718" fmla="*/ 1442 w 10785"/>
                <a:gd name="connsiteY2718" fmla="*/ 8299 h 10000"/>
                <a:gd name="connsiteX2719" fmla="*/ 1442 w 10785"/>
                <a:gd name="connsiteY2719" fmla="*/ 8256 h 10000"/>
                <a:gd name="connsiteX2720" fmla="*/ 1452 w 10785"/>
                <a:gd name="connsiteY2720" fmla="*/ 8256 h 10000"/>
                <a:gd name="connsiteX2721" fmla="*/ 1456 w 10785"/>
                <a:gd name="connsiteY2721" fmla="*/ 8256 h 10000"/>
                <a:gd name="connsiteX2722" fmla="*/ 1470 w 10785"/>
                <a:gd name="connsiteY2722" fmla="*/ 8248 h 10000"/>
                <a:gd name="connsiteX2723" fmla="*/ 1479 w 10785"/>
                <a:gd name="connsiteY2723" fmla="*/ 8231 h 10000"/>
                <a:gd name="connsiteX2724" fmla="*/ 1493 w 10785"/>
                <a:gd name="connsiteY2724" fmla="*/ 8222 h 10000"/>
                <a:gd name="connsiteX2725" fmla="*/ 1498 w 10785"/>
                <a:gd name="connsiteY2725" fmla="*/ 8214 h 10000"/>
                <a:gd name="connsiteX2726" fmla="*/ 1502 w 10785"/>
                <a:gd name="connsiteY2726" fmla="*/ 8197 h 10000"/>
                <a:gd name="connsiteX2727" fmla="*/ 1512 w 10785"/>
                <a:gd name="connsiteY2727" fmla="*/ 8188 h 10000"/>
                <a:gd name="connsiteX2728" fmla="*/ 1516 w 10785"/>
                <a:gd name="connsiteY2728" fmla="*/ 8171 h 10000"/>
                <a:gd name="connsiteX2729" fmla="*/ 1525 w 10785"/>
                <a:gd name="connsiteY2729" fmla="*/ 8162 h 10000"/>
                <a:gd name="connsiteX2730" fmla="*/ 1539 w 10785"/>
                <a:gd name="connsiteY2730" fmla="*/ 8145 h 10000"/>
                <a:gd name="connsiteX2731" fmla="*/ 1558 w 10785"/>
                <a:gd name="connsiteY2731" fmla="*/ 8145 h 10000"/>
                <a:gd name="connsiteX2732" fmla="*/ 1562 w 10785"/>
                <a:gd name="connsiteY2732" fmla="*/ 8188 h 10000"/>
                <a:gd name="connsiteX2733" fmla="*/ 1585 w 10785"/>
                <a:gd name="connsiteY2733" fmla="*/ 8171 h 10000"/>
                <a:gd name="connsiteX2734" fmla="*/ 1590 w 10785"/>
                <a:gd name="connsiteY2734" fmla="*/ 8188 h 10000"/>
                <a:gd name="connsiteX2735" fmla="*/ 1599 w 10785"/>
                <a:gd name="connsiteY2735" fmla="*/ 8171 h 10000"/>
                <a:gd name="connsiteX2736" fmla="*/ 1599 w 10785"/>
                <a:gd name="connsiteY2736" fmla="*/ 8162 h 10000"/>
                <a:gd name="connsiteX2737" fmla="*/ 1604 w 10785"/>
                <a:gd name="connsiteY2737" fmla="*/ 8137 h 10000"/>
                <a:gd name="connsiteX2738" fmla="*/ 1618 w 10785"/>
                <a:gd name="connsiteY2738" fmla="*/ 8145 h 10000"/>
                <a:gd name="connsiteX2739" fmla="*/ 1627 w 10785"/>
                <a:gd name="connsiteY2739" fmla="*/ 8137 h 10000"/>
                <a:gd name="connsiteX2740" fmla="*/ 1631 w 10785"/>
                <a:gd name="connsiteY2740" fmla="*/ 8137 h 10000"/>
                <a:gd name="connsiteX2741" fmla="*/ 1636 w 10785"/>
                <a:gd name="connsiteY2741" fmla="*/ 8171 h 10000"/>
                <a:gd name="connsiteX2742" fmla="*/ 1645 w 10785"/>
                <a:gd name="connsiteY2742" fmla="*/ 8188 h 10000"/>
                <a:gd name="connsiteX2743" fmla="*/ 1664 w 10785"/>
                <a:gd name="connsiteY2743" fmla="*/ 8171 h 10000"/>
                <a:gd name="connsiteX2744" fmla="*/ 1673 w 10785"/>
                <a:gd name="connsiteY2744" fmla="*/ 8188 h 10000"/>
                <a:gd name="connsiteX2745" fmla="*/ 1691 w 10785"/>
                <a:gd name="connsiteY2745" fmla="*/ 8171 h 10000"/>
                <a:gd name="connsiteX2746" fmla="*/ 1705 w 10785"/>
                <a:gd name="connsiteY2746" fmla="*/ 8171 h 10000"/>
                <a:gd name="connsiteX2747" fmla="*/ 1719 w 10785"/>
                <a:gd name="connsiteY2747" fmla="*/ 8197 h 10000"/>
                <a:gd name="connsiteX2748" fmla="*/ 1724 w 10785"/>
                <a:gd name="connsiteY2748" fmla="*/ 8231 h 10000"/>
                <a:gd name="connsiteX2749" fmla="*/ 1751 w 10785"/>
                <a:gd name="connsiteY2749" fmla="*/ 8256 h 10000"/>
                <a:gd name="connsiteX2750" fmla="*/ 1751 w 10785"/>
                <a:gd name="connsiteY2750" fmla="*/ 8274 h 10000"/>
                <a:gd name="connsiteX2751" fmla="*/ 1760 w 10785"/>
                <a:gd name="connsiteY2751" fmla="*/ 8282 h 10000"/>
                <a:gd name="connsiteX2752" fmla="*/ 1770 w 10785"/>
                <a:gd name="connsiteY2752" fmla="*/ 8325 h 10000"/>
                <a:gd name="connsiteX2753" fmla="*/ 1770 w 10785"/>
                <a:gd name="connsiteY2753" fmla="*/ 8350 h 10000"/>
                <a:gd name="connsiteX2754" fmla="*/ 1779 w 10785"/>
                <a:gd name="connsiteY2754" fmla="*/ 8368 h 10000"/>
                <a:gd name="connsiteX2755" fmla="*/ 1783 w 10785"/>
                <a:gd name="connsiteY2755" fmla="*/ 8359 h 10000"/>
                <a:gd name="connsiteX2756" fmla="*/ 1783 w 10785"/>
                <a:gd name="connsiteY2756" fmla="*/ 8308 h 10000"/>
                <a:gd name="connsiteX2757" fmla="*/ 1779 w 10785"/>
                <a:gd name="connsiteY2757" fmla="*/ 8299 h 10000"/>
                <a:gd name="connsiteX2758" fmla="*/ 1783 w 10785"/>
                <a:gd name="connsiteY2758" fmla="*/ 8282 h 10000"/>
                <a:gd name="connsiteX2759" fmla="*/ 1797 w 10785"/>
                <a:gd name="connsiteY2759" fmla="*/ 8274 h 10000"/>
                <a:gd name="connsiteX2760" fmla="*/ 1797 w 10785"/>
                <a:gd name="connsiteY2760" fmla="*/ 8299 h 10000"/>
                <a:gd name="connsiteX2761" fmla="*/ 1806 w 10785"/>
                <a:gd name="connsiteY2761" fmla="*/ 8308 h 10000"/>
                <a:gd name="connsiteX2762" fmla="*/ 1811 w 10785"/>
                <a:gd name="connsiteY2762" fmla="*/ 8325 h 10000"/>
                <a:gd name="connsiteX2763" fmla="*/ 1820 w 10785"/>
                <a:gd name="connsiteY2763" fmla="*/ 8333 h 10000"/>
                <a:gd name="connsiteX2764" fmla="*/ 1853 w 10785"/>
                <a:gd name="connsiteY2764" fmla="*/ 8359 h 10000"/>
                <a:gd name="connsiteX2765" fmla="*/ 1866 w 10785"/>
                <a:gd name="connsiteY2765" fmla="*/ 8359 h 10000"/>
                <a:gd name="connsiteX2766" fmla="*/ 1885 w 10785"/>
                <a:gd name="connsiteY2766" fmla="*/ 8325 h 10000"/>
                <a:gd name="connsiteX2767" fmla="*/ 1885 w 10785"/>
                <a:gd name="connsiteY2767" fmla="*/ 8308 h 10000"/>
                <a:gd name="connsiteX2768" fmla="*/ 1894 w 10785"/>
                <a:gd name="connsiteY2768" fmla="*/ 8299 h 10000"/>
                <a:gd name="connsiteX2769" fmla="*/ 1899 w 10785"/>
                <a:gd name="connsiteY2769" fmla="*/ 8282 h 10000"/>
                <a:gd name="connsiteX2770" fmla="*/ 1912 w 10785"/>
                <a:gd name="connsiteY2770" fmla="*/ 8282 h 10000"/>
                <a:gd name="connsiteX2771" fmla="*/ 1917 w 10785"/>
                <a:gd name="connsiteY2771" fmla="*/ 8299 h 10000"/>
                <a:gd name="connsiteX2772" fmla="*/ 1917 w 10785"/>
                <a:gd name="connsiteY2772" fmla="*/ 8274 h 10000"/>
                <a:gd name="connsiteX2773" fmla="*/ 1940 w 10785"/>
                <a:gd name="connsiteY2773" fmla="*/ 8282 h 10000"/>
                <a:gd name="connsiteX2774" fmla="*/ 1945 w 10785"/>
                <a:gd name="connsiteY2774" fmla="*/ 8274 h 10000"/>
                <a:gd name="connsiteX2775" fmla="*/ 1972 w 10785"/>
                <a:gd name="connsiteY2775" fmla="*/ 8308 h 10000"/>
                <a:gd name="connsiteX2776" fmla="*/ 1986 w 10785"/>
                <a:gd name="connsiteY2776" fmla="*/ 8282 h 10000"/>
                <a:gd name="connsiteX2777" fmla="*/ 1991 w 10785"/>
                <a:gd name="connsiteY2777" fmla="*/ 8274 h 10000"/>
                <a:gd name="connsiteX2778" fmla="*/ 2014 w 10785"/>
                <a:gd name="connsiteY2778" fmla="*/ 8274 h 10000"/>
                <a:gd name="connsiteX2779" fmla="*/ 2018 w 10785"/>
                <a:gd name="connsiteY2779" fmla="*/ 8256 h 10000"/>
                <a:gd name="connsiteX2780" fmla="*/ 2041 w 10785"/>
                <a:gd name="connsiteY2780" fmla="*/ 8274 h 10000"/>
                <a:gd name="connsiteX2781" fmla="*/ 2046 w 10785"/>
                <a:gd name="connsiteY2781" fmla="*/ 8282 h 10000"/>
                <a:gd name="connsiteX2782" fmla="*/ 2046 w 10785"/>
                <a:gd name="connsiteY2782" fmla="*/ 8325 h 10000"/>
                <a:gd name="connsiteX2783" fmla="*/ 2060 w 10785"/>
                <a:gd name="connsiteY2783" fmla="*/ 8350 h 10000"/>
                <a:gd name="connsiteX2784" fmla="*/ 2078 w 10785"/>
                <a:gd name="connsiteY2784" fmla="*/ 8350 h 10000"/>
                <a:gd name="connsiteX2785" fmla="*/ 2092 w 10785"/>
                <a:gd name="connsiteY2785" fmla="*/ 8350 h 10000"/>
                <a:gd name="connsiteX2786" fmla="*/ 2092 w 10785"/>
                <a:gd name="connsiteY2786" fmla="*/ 8350 h 10000"/>
                <a:gd name="connsiteX2787" fmla="*/ 2101 w 10785"/>
                <a:gd name="connsiteY2787" fmla="*/ 8368 h 10000"/>
                <a:gd name="connsiteX2788" fmla="*/ 2120 w 10785"/>
                <a:gd name="connsiteY2788" fmla="*/ 8368 h 10000"/>
                <a:gd name="connsiteX2789" fmla="*/ 2124 w 10785"/>
                <a:gd name="connsiteY2789" fmla="*/ 8359 h 10000"/>
                <a:gd name="connsiteX2790" fmla="*/ 2138 w 10785"/>
                <a:gd name="connsiteY2790" fmla="*/ 8325 h 10000"/>
                <a:gd name="connsiteX2791" fmla="*/ 2147 w 10785"/>
                <a:gd name="connsiteY2791" fmla="*/ 8325 h 10000"/>
                <a:gd name="connsiteX2792" fmla="*/ 2161 w 10785"/>
                <a:gd name="connsiteY2792" fmla="*/ 8350 h 10000"/>
                <a:gd name="connsiteX2793" fmla="*/ 2198 w 10785"/>
                <a:gd name="connsiteY2793" fmla="*/ 8350 h 10000"/>
                <a:gd name="connsiteX2794" fmla="*/ 2207 w 10785"/>
                <a:gd name="connsiteY2794" fmla="*/ 8333 h 10000"/>
                <a:gd name="connsiteX2795" fmla="*/ 2226 w 10785"/>
                <a:gd name="connsiteY2795" fmla="*/ 8325 h 10000"/>
                <a:gd name="connsiteX2796" fmla="*/ 2249 w 10785"/>
                <a:gd name="connsiteY2796" fmla="*/ 8222 h 10000"/>
                <a:gd name="connsiteX2797" fmla="*/ 2235 w 10785"/>
                <a:gd name="connsiteY2797" fmla="*/ 8197 h 10000"/>
                <a:gd name="connsiteX2798" fmla="*/ 2198 w 10785"/>
                <a:gd name="connsiteY2798" fmla="*/ 8197 h 10000"/>
                <a:gd name="connsiteX2799" fmla="*/ 2189 w 10785"/>
                <a:gd name="connsiteY2799" fmla="*/ 8171 h 10000"/>
                <a:gd name="connsiteX2800" fmla="*/ 2161 w 10785"/>
                <a:gd name="connsiteY2800" fmla="*/ 8145 h 10000"/>
                <a:gd name="connsiteX2801" fmla="*/ 2161 w 10785"/>
                <a:gd name="connsiteY2801" fmla="*/ 8137 h 10000"/>
                <a:gd name="connsiteX2802" fmla="*/ 2152 w 10785"/>
                <a:gd name="connsiteY2802" fmla="*/ 8120 h 10000"/>
                <a:gd name="connsiteX2803" fmla="*/ 2138 w 10785"/>
                <a:gd name="connsiteY2803" fmla="*/ 8111 h 10000"/>
                <a:gd name="connsiteX2804" fmla="*/ 2138 w 10785"/>
                <a:gd name="connsiteY2804" fmla="*/ 8094 h 10000"/>
                <a:gd name="connsiteX2805" fmla="*/ 2147 w 10785"/>
                <a:gd name="connsiteY2805" fmla="*/ 8085 h 10000"/>
                <a:gd name="connsiteX2806" fmla="*/ 2161 w 10785"/>
                <a:gd name="connsiteY2806" fmla="*/ 8060 h 10000"/>
                <a:gd name="connsiteX2807" fmla="*/ 2198 w 10785"/>
                <a:gd name="connsiteY2807" fmla="*/ 8034 h 10000"/>
                <a:gd name="connsiteX2808" fmla="*/ 2198 w 10785"/>
                <a:gd name="connsiteY2808" fmla="*/ 8026 h 10000"/>
                <a:gd name="connsiteX2809" fmla="*/ 2198 w 10785"/>
                <a:gd name="connsiteY2809" fmla="*/ 8000 h 10000"/>
                <a:gd name="connsiteX2810" fmla="*/ 2180 w 10785"/>
                <a:gd name="connsiteY2810" fmla="*/ 7940 h 10000"/>
                <a:gd name="connsiteX2811" fmla="*/ 2189 w 10785"/>
                <a:gd name="connsiteY2811" fmla="*/ 7940 h 10000"/>
                <a:gd name="connsiteX2812" fmla="*/ 2198 w 10785"/>
                <a:gd name="connsiteY2812" fmla="*/ 7923 h 10000"/>
                <a:gd name="connsiteX2813" fmla="*/ 2198 w 10785"/>
                <a:gd name="connsiteY2813" fmla="*/ 7897 h 10000"/>
                <a:gd name="connsiteX2814" fmla="*/ 2207 w 10785"/>
                <a:gd name="connsiteY2814" fmla="*/ 7889 h 10000"/>
                <a:gd name="connsiteX2815" fmla="*/ 2221 w 10785"/>
                <a:gd name="connsiteY2815" fmla="*/ 7889 h 10000"/>
                <a:gd name="connsiteX2816" fmla="*/ 2226 w 10785"/>
                <a:gd name="connsiteY2816" fmla="*/ 7897 h 10000"/>
                <a:gd name="connsiteX2817" fmla="*/ 2235 w 10785"/>
                <a:gd name="connsiteY2817" fmla="*/ 7889 h 10000"/>
                <a:gd name="connsiteX2818" fmla="*/ 2249 w 10785"/>
                <a:gd name="connsiteY2818" fmla="*/ 7897 h 10000"/>
                <a:gd name="connsiteX2819" fmla="*/ 2267 w 10785"/>
                <a:gd name="connsiteY2819" fmla="*/ 7897 h 10000"/>
                <a:gd name="connsiteX2820" fmla="*/ 2272 w 10785"/>
                <a:gd name="connsiteY2820" fmla="*/ 7889 h 10000"/>
                <a:gd name="connsiteX2821" fmla="*/ 2281 w 10785"/>
                <a:gd name="connsiteY2821" fmla="*/ 7872 h 10000"/>
                <a:gd name="connsiteX2822" fmla="*/ 2272 w 10785"/>
                <a:gd name="connsiteY2822" fmla="*/ 7846 h 10000"/>
                <a:gd name="connsiteX2823" fmla="*/ 2253 w 10785"/>
                <a:gd name="connsiteY2823" fmla="*/ 7838 h 10000"/>
                <a:gd name="connsiteX2824" fmla="*/ 2221 w 10785"/>
                <a:gd name="connsiteY2824" fmla="*/ 7821 h 10000"/>
                <a:gd name="connsiteX2825" fmla="*/ 2212 w 10785"/>
                <a:gd name="connsiteY2825" fmla="*/ 7812 h 10000"/>
                <a:gd name="connsiteX2826" fmla="*/ 2212 w 10785"/>
                <a:gd name="connsiteY2826" fmla="*/ 7803 h 10000"/>
                <a:gd name="connsiteX2827" fmla="*/ 2221 w 10785"/>
                <a:gd name="connsiteY2827" fmla="*/ 7803 h 10000"/>
                <a:gd name="connsiteX2828" fmla="*/ 2235 w 10785"/>
                <a:gd name="connsiteY2828" fmla="*/ 7786 h 10000"/>
                <a:gd name="connsiteX2829" fmla="*/ 2240 w 10785"/>
                <a:gd name="connsiteY2829" fmla="*/ 7778 h 10000"/>
                <a:gd name="connsiteX2830" fmla="*/ 2226 w 10785"/>
                <a:gd name="connsiteY2830" fmla="*/ 7761 h 10000"/>
                <a:gd name="connsiteX2831" fmla="*/ 2221 w 10785"/>
                <a:gd name="connsiteY2831" fmla="*/ 7778 h 10000"/>
                <a:gd name="connsiteX2832" fmla="*/ 2198 w 10785"/>
                <a:gd name="connsiteY2832" fmla="*/ 7778 h 10000"/>
                <a:gd name="connsiteX2833" fmla="*/ 2198 w 10785"/>
                <a:gd name="connsiteY2833" fmla="*/ 7752 h 10000"/>
                <a:gd name="connsiteX2834" fmla="*/ 2207 w 10785"/>
                <a:gd name="connsiteY2834" fmla="*/ 7735 h 10000"/>
                <a:gd name="connsiteX2835" fmla="*/ 2212 w 10785"/>
                <a:gd name="connsiteY2835" fmla="*/ 7726 h 10000"/>
                <a:gd name="connsiteX2836" fmla="*/ 2198 w 10785"/>
                <a:gd name="connsiteY2836" fmla="*/ 7692 h 10000"/>
                <a:gd name="connsiteX2837" fmla="*/ 2221 w 10785"/>
                <a:gd name="connsiteY2837" fmla="*/ 7692 h 10000"/>
                <a:gd name="connsiteX2838" fmla="*/ 2221 w 10785"/>
                <a:gd name="connsiteY2838" fmla="*/ 7675 h 10000"/>
                <a:gd name="connsiteX2839" fmla="*/ 2235 w 10785"/>
                <a:gd name="connsiteY2839" fmla="*/ 7675 h 10000"/>
                <a:gd name="connsiteX2840" fmla="*/ 2240 w 10785"/>
                <a:gd name="connsiteY2840" fmla="*/ 7692 h 10000"/>
                <a:gd name="connsiteX2841" fmla="*/ 2249 w 10785"/>
                <a:gd name="connsiteY2841" fmla="*/ 7692 h 10000"/>
                <a:gd name="connsiteX2842" fmla="*/ 2258 w 10785"/>
                <a:gd name="connsiteY2842" fmla="*/ 7692 h 10000"/>
                <a:gd name="connsiteX2843" fmla="*/ 2267 w 10785"/>
                <a:gd name="connsiteY2843" fmla="*/ 7692 h 10000"/>
                <a:gd name="connsiteX2844" fmla="*/ 2295 w 10785"/>
                <a:gd name="connsiteY2844" fmla="*/ 7692 h 10000"/>
                <a:gd name="connsiteX2845" fmla="*/ 2300 w 10785"/>
                <a:gd name="connsiteY2845" fmla="*/ 7701 h 10000"/>
                <a:gd name="connsiteX2846" fmla="*/ 2313 w 10785"/>
                <a:gd name="connsiteY2846" fmla="*/ 7675 h 10000"/>
                <a:gd name="connsiteX2847" fmla="*/ 2323 w 10785"/>
                <a:gd name="connsiteY2847" fmla="*/ 7675 h 10000"/>
                <a:gd name="connsiteX2848" fmla="*/ 2341 w 10785"/>
                <a:gd name="connsiteY2848" fmla="*/ 7675 h 10000"/>
                <a:gd name="connsiteX2849" fmla="*/ 2346 w 10785"/>
                <a:gd name="connsiteY2849" fmla="*/ 7667 h 10000"/>
                <a:gd name="connsiteX2850" fmla="*/ 2359 w 10785"/>
                <a:gd name="connsiteY2850" fmla="*/ 7650 h 10000"/>
                <a:gd name="connsiteX2851" fmla="*/ 2373 w 10785"/>
                <a:gd name="connsiteY2851" fmla="*/ 7624 h 10000"/>
                <a:gd name="connsiteX2852" fmla="*/ 2382 w 10785"/>
                <a:gd name="connsiteY2852" fmla="*/ 7641 h 10000"/>
                <a:gd name="connsiteX2853" fmla="*/ 2396 w 10785"/>
                <a:gd name="connsiteY2853" fmla="*/ 7650 h 10000"/>
                <a:gd name="connsiteX2854" fmla="*/ 2401 w 10785"/>
                <a:gd name="connsiteY2854" fmla="*/ 7650 h 10000"/>
                <a:gd name="connsiteX2855" fmla="*/ 2401 w 10785"/>
                <a:gd name="connsiteY2855" fmla="*/ 7624 h 10000"/>
                <a:gd name="connsiteX2856" fmla="*/ 2419 w 10785"/>
                <a:gd name="connsiteY2856" fmla="*/ 7624 h 10000"/>
                <a:gd name="connsiteX2857" fmla="*/ 2433 w 10785"/>
                <a:gd name="connsiteY2857" fmla="*/ 7615 h 10000"/>
                <a:gd name="connsiteX2858" fmla="*/ 2442 w 10785"/>
                <a:gd name="connsiteY2858" fmla="*/ 7615 h 10000"/>
                <a:gd name="connsiteX2859" fmla="*/ 2447 w 10785"/>
                <a:gd name="connsiteY2859" fmla="*/ 7598 h 10000"/>
                <a:gd name="connsiteX2860" fmla="*/ 2461 w 10785"/>
                <a:gd name="connsiteY2860" fmla="*/ 7598 h 10000"/>
                <a:gd name="connsiteX2861" fmla="*/ 2465 w 10785"/>
                <a:gd name="connsiteY2861" fmla="*/ 7615 h 10000"/>
                <a:gd name="connsiteX2862" fmla="*/ 2479 w 10785"/>
                <a:gd name="connsiteY2862" fmla="*/ 7564 h 10000"/>
                <a:gd name="connsiteX2863" fmla="*/ 2488 w 10785"/>
                <a:gd name="connsiteY2863" fmla="*/ 7556 h 10000"/>
                <a:gd name="connsiteX2864" fmla="*/ 2493 w 10785"/>
                <a:gd name="connsiteY2864" fmla="*/ 7556 h 10000"/>
                <a:gd name="connsiteX2865" fmla="*/ 2507 w 10785"/>
                <a:gd name="connsiteY2865" fmla="*/ 7556 h 10000"/>
                <a:gd name="connsiteX2866" fmla="*/ 2530 w 10785"/>
                <a:gd name="connsiteY2866" fmla="*/ 7538 h 10000"/>
                <a:gd name="connsiteX2867" fmla="*/ 2530 w 10785"/>
                <a:gd name="connsiteY2867" fmla="*/ 7556 h 10000"/>
                <a:gd name="connsiteX2868" fmla="*/ 2641 w 10785"/>
                <a:gd name="connsiteY2868" fmla="*/ 7504 h 10000"/>
                <a:gd name="connsiteX2869" fmla="*/ 2654 w 10785"/>
                <a:gd name="connsiteY2869" fmla="*/ 7487 h 10000"/>
                <a:gd name="connsiteX2870" fmla="*/ 2664 w 10785"/>
                <a:gd name="connsiteY2870" fmla="*/ 7487 h 10000"/>
                <a:gd name="connsiteX2871" fmla="*/ 2668 w 10785"/>
                <a:gd name="connsiteY2871" fmla="*/ 7479 h 10000"/>
                <a:gd name="connsiteX2872" fmla="*/ 2673 w 10785"/>
                <a:gd name="connsiteY2872" fmla="*/ 7462 h 10000"/>
                <a:gd name="connsiteX2873" fmla="*/ 2673 w 10785"/>
                <a:gd name="connsiteY2873" fmla="*/ 7427 h 10000"/>
                <a:gd name="connsiteX2874" fmla="*/ 2687 w 10785"/>
                <a:gd name="connsiteY2874" fmla="*/ 7436 h 10000"/>
                <a:gd name="connsiteX2875" fmla="*/ 2696 w 10785"/>
                <a:gd name="connsiteY2875" fmla="*/ 7427 h 10000"/>
                <a:gd name="connsiteX2876" fmla="*/ 2700 w 10785"/>
                <a:gd name="connsiteY2876" fmla="*/ 7419 h 10000"/>
                <a:gd name="connsiteX2877" fmla="*/ 2710 w 10785"/>
                <a:gd name="connsiteY2877" fmla="*/ 7402 h 10000"/>
                <a:gd name="connsiteX2878" fmla="*/ 2724 w 10785"/>
                <a:gd name="connsiteY2878" fmla="*/ 7402 h 10000"/>
                <a:gd name="connsiteX2879" fmla="*/ 2724 w 10785"/>
                <a:gd name="connsiteY2879" fmla="*/ 7393 h 10000"/>
                <a:gd name="connsiteX2880" fmla="*/ 2737 w 10785"/>
                <a:gd name="connsiteY2880" fmla="*/ 7393 h 10000"/>
                <a:gd name="connsiteX2881" fmla="*/ 2742 w 10785"/>
                <a:gd name="connsiteY2881" fmla="*/ 7402 h 10000"/>
                <a:gd name="connsiteX2882" fmla="*/ 2747 w 10785"/>
                <a:gd name="connsiteY2882" fmla="*/ 7402 h 10000"/>
                <a:gd name="connsiteX2883" fmla="*/ 2760 w 10785"/>
                <a:gd name="connsiteY2883" fmla="*/ 7402 h 10000"/>
                <a:gd name="connsiteX2884" fmla="*/ 2770 w 10785"/>
                <a:gd name="connsiteY2884" fmla="*/ 7402 h 10000"/>
                <a:gd name="connsiteX2885" fmla="*/ 2774 w 10785"/>
                <a:gd name="connsiteY2885" fmla="*/ 7402 h 10000"/>
                <a:gd name="connsiteX2886" fmla="*/ 2783 w 10785"/>
                <a:gd name="connsiteY2886" fmla="*/ 7419 h 10000"/>
                <a:gd name="connsiteX2887" fmla="*/ 2802 w 10785"/>
                <a:gd name="connsiteY2887" fmla="*/ 7436 h 10000"/>
                <a:gd name="connsiteX2888" fmla="*/ 2816 w 10785"/>
                <a:gd name="connsiteY2888" fmla="*/ 7419 h 10000"/>
                <a:gd name="connsiteX2889" fmla="*/ 2834 w 10785"/>
                <a:gd name="connsiteY2889" fmla="*/ 7419 h 10000"/>
                <a:gd name="connsiteX2890" fmla="*/ 2843 w 10785"/>
                <a:gd name="connsiteY2890" fmla="*/ 7419 h 10000"/>
                <a:gd name="connsiteX2891" fmla="*/ 2848 w 10785"/>
                <a:gd name="connsiteY2891" fmla="*/ 7436 h 10000"/>
                <a:gd name="connsiteX2892" fmla="*/ 2857 w 10785"/>
                <a:gd name="connsiteY2892" fmla="*/ 7453 h 10000"/>
                <a:gd name="connsiteX2893" fmla="*/ 2857 w 10785"/>
                <a:gd name="connsiteY2893" fmla="*/ 7504 h 10000"/>
                <a:gd name="connsiteX2894" fmla="*/ 2862 w 10785"/>
                <a:gd name="connsiteY2894" fmla="*/ 7530 h 10000"/>
                <a:gd name="connsiteX2895" fmla="*/ 2876 w 10785"/>
                <a:gd name="connsiteY2895" fmla="*/ 7538 h 10000"/>
                <a:gd name="connsiteX2896" fmla="*/ 2871 w 10785"/>
                <a:gd name="connsiteY2896" fmla="*/ 7564 h 10000"/>
                <a:gd name="connsiteX2897" fmla="*/ 2871 w 10785"/>
                <a:gd name="connsiteY2897" fmla="*/ 7598 h 10000"/>
                <a:gd name="connsiteX2898" fmla="*/ 2857 w 10785"/>
                <a:gd name="connsiteY2898" fmla="*/ 7624 h 10000"/>
                <a:gd name="connsiteX2899" fmla="*/ 2862 w 10785"/>
                <a:gd name="connsiteY2899" fmla="*/ 7641 h 10000"/>
                <a:gd name="connsiteX2900" fmla="*/ 2871 w 10785"/>
                <a:gd name="connsiteY2900" fmla="*/ 7667 h 10000"/>
                <a:gd name="connsiteX2901" fmla="*/ 2880 w 10785"/>
                <a:gd name="connsiteY2901" fmla="*/ 7650 h 10000"/>
                <a:gd name="connsiteX2902" fmla="*/ 2894 w 10785"/>
                <a:gd name="connsiteY2902" fmla="*/ 7667 h 10000"/>
                <a:gd name="connsiteX2903" fmla="*/ 2903 w 10785"/>
                <a:gd name="connsiteY2903" fmla="*/ 7667 h 10000"/>
                <a:gd name="connsiteX2904" fmla="*/ 2908 w 10785"/>
                <a:gd name="connsiteY2904" fmla="*/ 7641 h 10000"/>
                <a:gd name="connsiteX2905" fmla="*/ 2917 w 10785"/>
                <a:gd name="connsiteY2905" fmla="*/ 7641 h 10000"/>
                <a:gd name="connsiteX2906" fmla="*/ 2922 w 10785"/>
                <a:gd name="connsiteY2906" fmla="*/ 7641 h 10000"/>
                <a:gd name="connsiteX2907" fmla="*/ 2931 w 10785"/>
                <a:gd name="connsiteY2907" fmla="*/ 7615 h 10000"/>
                <a:gd name="connsiteX2908" fmla="*/ 2935 w 10785"/>
                <a:gd name="connsiteY2908" fmla="*/ 7615 h 10000"/>
                <a:gd name="connsiteX2909" fmla="*/ 2945 w 10785"/>
                <a:gd name="connsiteY2909" fmla="*/ 7650 h 10000"/>
                <a:gd name="connsiteX2910" fmla="*/ 2949 w 10785"/>
                <a:gd name="connsiteY2910" fmla="*/ 7667 h 10000"/>
                <a:gd name="connsiteX2911" fmla="*/ 2949 w 10785"/>
                <a:gd name="connsiteY2911" fmla="*/ 7675 h 10000"/>
                <a:gd name="connsiteX2912" fmla="*/ 2945 w 10785"/>
                <a:gd name="connsiteY2912" fmla="*/ 7692 h 10000"/>
                <a:gd name="connsiteX2913" fmla="*/ 2963 w 10785"/>
                <a:gd name="connsiteY2913" fmla="*/ 7701 h 10000"/>
                <a:gd name="connsiteX2914" fmla="*/ 2963 w 10785"/>
                <a:gd name="connsiteY2914" fmla="*/ 7675 h 10000"/>
                <a:gd name="connsiteX2915" fmla="*/ 2954 w 10785"/>
                <a:gd name="connsiteY2915" fmla="*/ 7667 h 10000"/>
                <a:gd name="connsiteX2916" fmla="*/ 2963 w 10785"/>
                <a:gd name="connsiteY2916" fmla="*/ 7667 h 10000"/>
                <a:gd name="connsiteX2917" fmla="*/ 2982 w 10785"/>
                <a:gd name="connsiteY2917" fmla="*/ 7667 h 10000"/>
                <a:gd name="connsiteX2918" fmla="*/ 2991 w 10785"/>
                <a:gd name="connsiteY2918" fmla="*/ 7675 h 10000"/>
                <a:gd name="connsiteX2919" fmla="*/ 2995 w 10785"/>
                <a:gd name="connsiteY2919" fmla="*/ 7692 h 10000"/>
                <a:gd name="connsiteX2920" fmla="*/ 3009 w 10785"/>
                <a:gd name="connsiteY2920" fmla="*/ 7701 h 10000"/>
                <a:gd name="connsiteX2921" fmla="*/ 3018 w 10785"/>
                <a:gd name="connsiteY2921" fmla="*/ 7701 h 10000"/>
                <a:gd name="connsiteX2922" fmla="*/ 3023 w 10785"/>
                <a:gd name="connsiteY2922" fmla="*/ 7692 h 10000"/>
                <a:gd name="connsiteX2923" fmla="*/ 3028 w 10785"/>
                <a:gd name="connsiteY2923" fmla="*/ 7675 h 10000"/>
                <a:gd name="connsiteX2924" fmla="*/ 3037 w 10785"/>
                <a:gd name="connsiteY2924" fmla="*/ 7692 h 10000"/>
                <a:gd name="connsiteX2925" fmla="*/ 3028 w 10785"/>
                <a:gd name="connsiteY2925" fmla="*/ 7709 h 10000"/>
                <a:gd name="connsiteX2926" fmla="*/ 3023 w 10785"/>
                <a:gd name="connsiteY2926" fmla="*/ 7709 h 10000"/>
                <a:gd name="connsiteX2927" fmla="*/ 3018 w 10785"/>
                <a:gd name="connsiteY2927" fmla="*/ 7726 h 10000"/>
                <a:gd name="connsiteX2928" fmla="*/ 3009 w 10785"/>
                <a:gd name="connsiteY2928" fmla="*/ 7735 h 10000"/>
                <a:gd name="connsiteX2929" fmla="*/ 3009 w 10785"/>
                <a:gd name="connsiteY2929" fmla="*/ 7761 h 10000"/>
                <a:gd name="connsiteX2930" fmla="*/ 3009 w 10785"/>
                <a:gd name="connsiteY2930" fmla="*/ 7778 h 10000"/>
                <a:gd name="connsiteX2931" fmla="*/ 3018 w 10785"/>
                <a:gd name="connsiteY2931" fmla="*/ 7786 h 10000"/>
                <a:gd name="connsiteX2932" fmla="*/ 3023 w 10785"/>
                <a:gd name="connsiteY2932" fmla="*/ 7786 h 10000"/>
                <a:gd name="connsiteX2933" fmla="*/ 3028 w 10785"/>
                <a:gd name="connsiteY2933" fmla="*/ 7778 h 10000"/>
                <a:gd name="connsiteX2934" fmla="*/ 3051 w 10785"/>
                <a:gd name="connsiteY2934" fmla="*/ 7761 h 10000"/>
                <a:gd name="connsiteX2935" fmla="*/ 3055 w 10785"/>
                <a:gd name="connsiteY2935" fmla="*/ 7778 h 10000"/>
                <a:gd name="connsiteX2936" fmla="*/ 3065 w 10785"/>
                <a:gd name="connsiteY2936" fmla="*/ 7761 h 10000"/>
                <a:gd name="connsiteX2937" fmla="*/ 3069 w 10785"/>
                <a:gd name="connsiteY2937" fmla="*/ 7786 h 10000"/>
                <a:gd name="connsiteX2938" fmla="*/ 3083 w 10785"/>
                <a:gd name="connsiteY2938" fmla="*/ 7786 h 10000"/>
                <a:gd name="connsiteX2939" fmla="*/ 3078 w 10785"/>
                <a:gd name="connsiteY2939" fmla="*/ 7761 h 10000"/>
                <a:gd name="connsiteX2940" fmla="*/ 3083 w 10785"/>
                <a:gd name="connsiteY2940" fmla="*/ 7752 h 10000"/>
                <a:gd name="connsiteX2941" fmla="*/ 3097 w 10785"/>
                <a:gd name="connsiteY2941" fmla="*/ 7752 h 10000"/>
                <a:gd name="connsiteX2942" fmla="*/ 3111 w 10785"/>
                <a:gd name="connsiteY2942" fmla="*/ 7726 h 10000"/>
                <a:gd name="connsiteX2943" fmla="*/ 3124 w 10785"/>
                <a:gd name="connsiteY2943" fmla="*/ 7709 h 10000"/>
                <a:gd name="connsiteX2944" fmla="*/ 3143 w 10785"/>
                <a:gd name="connsiteY2944" fmla="*/ 7692 h 10000"/>
                <a:gd name="connsiteX2945" fmla="*/ 3152 w 10785"/>
                <a:gd name="connsiteY2945" fmla="*/ 7667 h 10000"/>
                <a:gd name="connsiteX2946" fmla="*/ 3157 w 10785"/>
                <a:gd name="connsiteY2946" fmla="*/ 7650 h 10000"/>
                <a:gd name="connsiteX2947" fmla="*/ 3161 w 10785"/>
                <a:gd name="connsiteY2947" fmla="*/ 7650 h 10000"/>
                <a:gd name="connsiteX2948" fmla="*/ 3189 w 10785"/>
                <a:gd name="connsiteY2948" fmla="*/ 7641 h 10000"/>
                <a:gd name="connsiteX2949" fmla="*/ 3198 w 10785"/>
                <a:gd name="connsiteY2949" fmla="*/ 7624 h 10000"/>
                <a:gd name="connsiteX2950" fmla="*/ 3217 w 10785"/>
                <a:gd name="connsiteY2950" fmla="*/ 7615 h 10000"/>
                <a:gd name="connsiteX2951" fmla="*/ 3235 w 10785"/>
                <a:gd name="connsiteY2951" fmla="*/ 7598 h 10000"/>
                <a:gd name="connsiteX2952" fmla="*/ 3235 w 10785"/>
                <a:gd name="connsiteY2952" fmla="*/ 7615 h 10000"/>
                <a:gd name="connsiteX2953" fmla="*/ 3235 w 10785"/>
                <a:gd name="connsiteY2953" fmla="*/ 7641 h 10000"/>
                <a:gd name="connsiteX2954" fmla="*/ 3235 w 10785"/>
                <a:gd name="connsiteY2954" fmla="*/ 7650 h 10000"/>
                <a:gd name="connsiteX2955" fmla="*/ 3226 w 10785"/>
                <a:gd name="connsiteY2955" fmla="*/ 7650 h 10000"/>
                <a:gd name="connsiteX2956" fmla="*/ 3217 w 10785"/>
                <a:gd name="connsiteY2956" fmla="*/ 7650 h 10000"/>
                <a:gd name="connsiteX2957" fmla="*/ 3212 w 10785"/>
                <a:gd name="connsiteY2957" fmla="*/ 7675 h 10000"/>
                <a:gd name="connsiteX2958" fmla="*/ 3212 w 10785"/>
                <a:gd name="connsiteY2958"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233 w 10785"/>
                <a:gd name="connsiteY731" fmla="*/ 4530 h 10000"/>
                <a:gd name="connsiteX732" fmla="*/ 10334 w 10785"/>
                <a:gd name="connsiteY732" fmla="*/ 4810 h 10000"/>
                <a:gd name="connsiteX733" fmla="*/ 10422 w 10785"/>
                <a:gd name="connsiteY733" fmla="*/ 5051 h 10000"/>
                <a:gd name="connsiteX734" fmla="*/ 10691 w 10785"/>
                <a:gd name="connsiteY734" fmla="*/ 5255 h 10000"/>
                <a:gd name="connsiteX735" fmla="*/ 10619 w 10785"/>
                <a:gd name="connsiteY735" fmla="*/ 4708 h 10000"/>
                <a:gd name="connsiteX736" fmla="*/ 10785 w 10785"/>
                <a:gd name="connsiteY736" fmla="*/ 4708 h 10000"/>
                <a:gd name="connsiteX737" fmla="*/ 10689 w 10785"/>
                <a:gd name="connsiteY737" fmla="*/ 4467 h 10000"/>
                <a:gd name="connsiteX738" fmla="*/ 10354 w 10785"/>
                <a:gd name="connsiteY738" fmla="*/ 4302 h 10000"/>
                <a:gd name="connsiteX739" fmla="*/ 9912 w 10785"/>
                <a:gd name="connsiteY739" fmla="*/ 3675 h 10000"/>
                <a:gd name="connsiteX740" fmla="*/ 9903 w 10785"/>
                <a:gd name="connsiteY740" fmla="*/ 3667 h 10000"/>
                <a:gd name="connsiteX741" fmla="*/ 9894 w 10785"/>
                <a:gd name="connsiteY741" fmla="*/ 3641 h 10000"/>
                <a:gd name="connsiteX742" fmla="*/ 9889 w 10785"/>
                <a:gd name="connsiteY742" fmla="*/ 3650 h 10000"/>
                <a:gd name="connsiteX743" fmla="*/ 9848 w 10785"/>
                <a:gd name="connsiteY743" fmla="*/ 3598 h 10000"/>
                <a:gd name="connsiteX744" fmla="*/ 9829 w 10785"/>
                <a:gd name="connsiteY744" fmla="*/ 3581 h 10000"/>
                <a:gd name="connsiteX745" fmla="*/ 9820 w 10785"/>
                <a:gd name="connsiteY745" fmla="*/ 3581 h 10000"/>
                <a:gd name="connsiteX746" fmla="*/ 9793 w 10785"/>
                <a:gd name="connsiteY746" fmla="*/ 3556 h 10000"/>
                <a:gd name="connsiteX747" fmla="*/ 9779 w 10785"/>
                <a:gd name="connsiteY747" fmla="*/ 3556 h 10000"/>
                <a:gd name="connsiteX748" fmla="*/ 9747 w 10785"/>
                <a:gd name="connsiteY748" fmla="*/ 3487 h 10000"/>
                <a:gd name="connsiteX749" fmla="*/ 9668 w 10785"/>
                <a:gd name="connsiteY749" fmla="*/ 3479 h 10000"/>
                <a:gd name="connsiteX750" fmla="*/ 9659 w 10785"/>
                <a:gd name="connsiteY750" fmla="*/ 3487 h 10000"/>
                <a:gd name="connsiteX751" fmla="*/ 9645 w 10785"/>
                <a:gd name="connsiteY751" fmla="*/ 3504 h 10000"/>
                <a:gd name="connsiteX752" fmla="*/ 9631 w 10785"/>
                <a:gd name="connsiteY752" fmla="*/ 3487 h 10000"/>
                <a:gd name="connsiteX753" fmla="*/ 9613 w 10785"/>
                <a:gd name="connsiteY753" fmla="*/ 3479 h 10000"/>
                <a:gd name="connsiteX754" fmla="*/ 9599 w 10785"/>
                <a:gd name="connsiteY754" fmla="*/ 3479 h 10000"/>
                <a:gd name="connsiteX755" fmla="*/ 9571 w 10785"/>
                <a:gd name="connsiteY755" fmla="*/ 3479 h 10000"/>
                <a:gd name="connsiteX756" fmla="*/ 9562 w 10785"/>
                <a:gd name="connsiteY756" fmla="*/ 3487 h 10000"/>
                <a:gd name="connsiteX757" fmla="*/ 9539 w 10785"/>
                <a:gd name="connsiteY757" fmla="*/ 3487 h 10000"/>
                <a:gd name="connsiteX758" fmla="*/ 9507 w 10785"/>
                <a:gd name="connsiteY758" fmla="*/ 3453 h 10000"/>
                <a:gd name="connsiteX759" fmla="*/ 9498 w 10785"/>
                <a:gd name="connsiteY759" fmla="*/ 3453 h 10000"/>
                <a:gd name="connsiteX760" fmla="*/ 9387 w 10785"/>
                <a:gd name="connsiteY760" fmla="*/ 3419 h 10000"/>
                <a:gd name="connsiteX761" fmla="*/ 9373 w 10785"/>
                <a:gd name="connsiteY761" fmla="*/ 3427 h 10000"/>
                <a:gd name="connsiteX762" fmla="*/ 9373 w 10785"/>
                <a:gd name="connsiteY762" fmla="*/ 3462 h 10000"/>
                <a:gd name="connsiteX763" fmla="*/ 9378 w 10785"/>
                <a:gd name="connsiteY763" fmla="*/ 3479 h 10000"/>
                <a:gd name="connsiteX764" fmla="*/ 9378 w 10785"/>
                <a:gd name="connsiteY764" fmla="*/ 3530 h 10000"/>
                <a:gd name="connsiteX765" fmla="*/ 9355 w 10785"/>
                <a:gd name="connsiteY765" fmla="*/ 3538 h 10000"/>
                <a:gd name="connsiteX766" fmla="*/ 9355 w 10785"/>
                <a:gd name="connsiteY766" fmla="*/ 3581 h 10000"/>
                <a:gd name="connsiteX767" fmla="*/ 9387 w 10785"/>
                <a:gd name="connsiteY767" fmla="*/ 3590 h 10000"/>
                <a:gd name="connsiteX768" fmla="*/ 9401 w 10785"/>
                <a:gd name="connsiteY768" fmla="*/ 3667 h 10000"/>
                <a:gd name="connsiteX769" fmla="*/ 9406 w 10785"/>
                <a:gd name="connsiteY769" fmla="*/ 3675 h 10000"/>
                <a:gd name="connsiteX770" fmla="*/ 9406 w 10785"/>
                <a:gd name="connsiteY770" fmla="*/ 3701 h 10000"/>
                <a:gd name="connsiteX771" fmla="*/ 9415 w 10785"/>
                <a:gd name="connsiteY771" fmla="*/ 3752 h 10000"/>
                <a:gd name="connsiteX772" fmla="*/ 9373 w 10785"/>
                <a:gd name="connsiteY772" fmla="*/ 3838 h 10000"/>
                <a:gd name="connsiteX773" fmla="*/ 9355 w 10785"/>
                <a:gd name="connsiteY773" fmla="*/ 3863 h 10000"/>
                <a:gd name="connsiteX774" fmla="*/ 9327 w 10785"/>
                <a:gd name="connsiteY774" fmla="*/ 3863 h 10000"/>
                <a:gd name="connsiteX775" fmla="*/ 9313 w 10785"/>
                <a:gd name="connsiteY775" fmla="*/ 3846 h 10000"/>
                <a:gd name="connsiteX776" fmla="*/ 9300 w 10785"/>
                <a:gd name="connsiteY776" fmla="*/ 3778 h 10000"/>
                <a:gd name="connsiteX777" fmla="*/ 9281 w 10785"/>
                <a:gd name="connsiteY777" fmla="*/ 3752 h 10000"/>
                <a:gd name="connsiteX778" fmla="*/ 9281 w 10785"/>
                <a:gd name="connsiteY778" fmla="*/ 3735 h 10000"/>
                <a:gd name="connsiteX779" fmla="*/ 9267 w 10785"/>
                <a:gd name="connsiteY779" fmla="*/ 3726 h 10000"/>
                <a:gd name="connsiteX780" fmla="*/ 9240 w 10785"/>
                <a:gd name="connsiteY780" fmla="*/ 3726 h 10000"/>
                <a:gd name="connsiteX781" fmla="*/ 9230 w 10785"/>
                <a:gd name="connsiteY781" fmla="*/ 3718 h 10000"/>
                <a:gd name="connsiteX782" fmla="*/ 9226 w 10785"/>
                <a:gd name="connsiteY782" fmla="*/ 3590 h 10000"/>
                <a:gd name="connsiteX783" fmla="*/ 9207 w 10785"/>
                <a:gd name="connsiteY783" fmla="*/ 3581 h 10000"/>
                <a:gd name="connsiteX784" fmla="*/ 9207 w 10785"/>
                <a:gd name="connsiteY784" fmla="*/ 3556 h 10000"/>
                <a:gd name="connsiteX785" fmla="*/ 9217 w 10785"/>
                <a:gd name="connsiteY785" fmla="*/ 3538 h 10000"/>
                <a:gd name="connsiteX786" fmla="*/ 9212 w 10785"/>
                <a:gd name="connsiteY786" fmla="*/ 3538 h 10000"/>
                <a:gd name="connsiteX787" fmla="*/ 9198 w 10785"/>
                <a:gd name="connsiteY787" fmla="*/ 3513 h 10000"/>
                <a:gd name="connsiteX788" fmla="*/ 9194 w 10785"/>
                <a:gd name="connsiteY788" fmla="*/ 3530 h 10000"/>
                <a:gd name="connsiteX789" fmla="*/ 9143 w 10785"/>
                <a:gd name="connsiteY789" fmla="*/ 3615 h 10000"/>
                <a:gd name="connsiteX790" fmla="*/ 9138 w 10785"/>
                <a:gd name="connsiteY790" fmla="*/ 3615 h 10000"/>
                <a:gd name="connsiteX791" fmla="*/ 9134 w 10785"/>
                <a:gd name="connsiteY791" fmla="*/ 3615 h 10000"/>
                <a:gd name="connsiteX792" fmla="*/ 9106 w 10785"/>
                <a:gd name="connsiteY792" fmla="*/ 3615 h 10000"/>
                <a:gd name="connsiteX793" fmla="*/ 9078 w 10785"/>
                <a:gd name="connsiteY793" fmla="*/ 3590 h 10000"/>
                <a:gd name="connsiteX794" fmla="*/ 9037 w 10785"/>
                <a:gd name="connsiteY794" fmla="*/ 3581 h 10000"/>
                <a:gd name="connsiteX795" fmla="*/ 9023 w 10785"/>
                <a:gd name="connsiteY795" fmla="*/ 3590 h 10000"/>
                <a:gd name="connsiteX796" fmla="*/ 9018 w 10785"/>
                <a:gd name="connsiteY796" fmla="*/ 3590 h 10000"/>
                <a:gd name="connsiteX797" fmla="*/ 9018 w 10785"/>
                <a:gd name="connsiteY797" fmla="*/ 3590 h 10000"/>
                <a:gd name="connsiteX798" fmla="*/ 8991 w 10785"/>
                <a:gd name="connsiteY798" fmla="*/ 3590 h 10000"/>
                <a:gd name="connsiteX799" fmla="*/ 8972 w 10785"/>
                <a:gd name="connsiteY799" fmla="*/ 3581 h 10000"/>
                <a:gd name="connsiteX800" fmla="*/ 8959 w 10785"/>
                <a:gd name="connsiteY800" fmla="*/ 3513 h 10000"/>
                <a:gd name="connsiteX801" fmla="*/ 8931 w 10785"/>
                <a:gd name="connsiteY801" fmla="*/ 3538 h 10000"/>
                <a:gd name="connsiteX802" fmla="*/ 8889 w 10785"/>
                <a:gd name="connsiteY802" fmla="*/ 3538 h 10000"/>
                <a:gd name="connsiteX803" fmla="*/ 8871 w 10785"/>
                <a:gd name="connsiteY803" fmla="*/ 3556 h 10000"/>
                <a:gd name="connsiteX804" fmla="*/ 8857 w 10785"/>
                <a:gd name="connsiteY804" fmla="*/ 3538 h 10000"/>
                <a:gd name="connsiteX805" fmla="*/ 8843 w 10785"/>
                <a:gd name="connsiteY805" fmla="*/ 3538 h 10000"/>
                <a:gd name="connsiteX806" fmla="*/ 8839 w 10785"/>
                <a:gd name="connsiteY806" fmla="*/ 3556 h 10000"/>
                <a:gd name="connsiteX807" fmla="*/ 8839 w 10785"/>
                <a:gd name="connsiteY807" fmla="*/ 3581 h 10000"/>
                <a:gd name="connsiteX808" fmla="*/ 8825 w 10785"/>
                <a:gd name="connsiteY808" fmla="*/ 3564 h 10000"/>
                <a:gd name="connsiteX809" fmla="*/ 8825 w 10785"/>
                <a:gd name="connsiteY809" fmla="*/ 3615 h 10000"/>
                <a:gd name="connsiteX810" fmla="*/ 8802 w 10785"/>
                <a:gd name="connsiteY810" fmla="*/ 3598 h 10000"/>
                <a:gd name="connsiteX811" fmla="*/ 8797 w 10785"/>
                <a:gd name="connsiteY811" fmla="*/ 3641 h 10000"/>
                <a:gd name="connsiteX812" fmla="*/ 8783 w 10785"/>
                <a:gd name="connsiteY812" fmla="*/ 3667 h 10000"/>
                <a:gd name="connsiteX813" fmla="*/ 8779 w 10785"/>
                <a:gd name="connsiteY813" fmla="*/ 3650 h 10000"/>
                <a:gd name="connsiteX814" fmla="*/ 8779 w 10785"/>
                <a:gd name="connsiteY814" fmla="*/ 3615 h 10000"/>
                <a:gd name="connsiteX815" fmla="*/ 8770 w 10785"/>
                <a:gd name="connsiteY815" fmla="*/ 3590 h 10000"/>
                <a:gd name="connsiteX816" fmla="*/ 8765 w 10785"/>
                <a:gd name="connsiteY816" fmla="*/ 3598 h 10000"/>
                <a:gd name="connsiteX817" fmla="*/ 8756 w 10785"/>
                <a:gd name="connsiteY817" fmla="*/ 3590 h 10000"/>
                <a:gd name="connsiteX818" fmla="*/ 8737 w 10785"/>
                <a:gd name="connsiteY818" fmla="*/ 3556 h 10000"/>
                <a:gd name="connsiteX819" fmla="*/ 8724 w 10785"/>
                <a:gd name="connsiteY819" fmla="*/ 3538 h 10000"/>
                <a:gd name="connsiteX820" fmla="*/ 8696 w 10785"/>
                <a:gd name="connsiteY820" fmla="*/ 3538 h 10000"/>
                <a:gd name="connsiteX821" fmla="*/ 8691 w 10785"/>
                <a:gd name="connsiteY821" fmla="*/ 3513 h 10000"/>
                <a:gd name="connsiteX822" fmla="*/ 8668 w 10785"/>
                <a:gd name="connsiteY822" fmla="*/ 3504 h 10000"/>
                <a:gd name="connsiteX823" fmla="*/ 8668 w 10785"/>
                <a:gd name="connsiteY823" fmla="*/ 3487 h 10000"/>
                <a:gd name="connsiteX824" fmla="*/ 8691 w 10785"/>
                <a:gd name="connsiteY824" fmla="*/ 3350 h 10000"/>
                <a:gd name="connsiteX825" fmla="*/ 8691 w 10785"/>
                <a:gd name="connsiteY825" fmla="*/ 3291 h 10000"/>
                <a:gd name="connsiteX826" fmla="*/ 8677 w 10785"/>
                <a:gd name="connsiteY826" fmla="*/ 3239 h 10000"/>
                <a:gd name="connsiteX827" fmla="*/ 8677 w 10785"/>
                <a:gd name="connsiteY827" fmla="*/ 3231 h 10000"/>
                <a:gd name="connsiteX828" fmla="*/ 8636 w 10785"/>
                <a:gd name="connsiteY828" fmla="*/ 3128 h 10000"/>
                <a:gd name="connsiteX829" fmla="*/ 8622 w 10785"/>
                <a:gd name="connsiteY829" fmla="*/ 3120 h 10000"/>
                <a:gd name="connsiteX830" fmla="*/ 8618 w 10785"/>
                <a:gd name="connsiteY830" fmla="*/ 3094 h 10000"/>
                <a:gd name="connsiteX831" fmla="*/ 8594 w 10785"/>
                <a:gd name="connsiteY831" fmla="*/ 3077 h 10000"/>
                <a:gd name="connsiteX832" fmla="*/ 8548 w 10785"/>
                <a:gd name="connsiteY832" fmla="*/ 3077 h 10000"/>
                <a:gd name="connsiteX833" fmla="*/ 8535 w 10785"/>
                <a:gd name="connsiteY833" fmla="*/ 3068 h 10000"/>
                <a:gd name="connsiteX834" fmla="*/ 8429 w 10785"/>
                <a:gd name="connsiteY834" fmla="*/ 3077 h 10000"/>
                <a:gd name="connsiteX835" fmla="*/ 8424 w 10785"/>
                <a:gd name="connsiteY835" fmla="*/ 3077 h 10000"/>
                <a:gd name="connsiteX836" fmla="*/ 8396 w 10785"/>
                <a:gd name="connsiteY836" fmla="*/ 3077 h 10000"/>
                <a:gd name="connsiteX837" fmla="*/ 8387 w 10785"/>
                <a:gd name="connsiteY837" fmla="*/ 3094 h 10000"/>
                <a:gd name="connsiteX838" fmla="*/ 8378 w 10785"/>
                <a:gd name="connsiteY838" fmla="*/ 3094 h 10000"/>
                <a:gd name="connsiteX839" fmla="*/ 8341 w 10785"/>
                <a:gd name="connsiteY839" fmla="*/ 3077 h 10000"/>
                <a:gd name="connsiteX840" fmla="*/ 8336 w 10785"/>
                <a:gd name="connsiteY840" fmla="*/ 3077 h 10000"/>
                <a:gd name="connsiteX841" fmla="*/ 8327 w 10785"/>
                <a:gd name="connsiteY841" fmla="*/ 3103 h 10000"/>
                <a:gd name="connsiteX842" fmla="*/ 8309 w 10785"/>
                <a:gd name="connsiteY842" fmla="*/ 3120 h 10000"/>
                <a:gd name="connsiteX843" fmla="*/ 8304 w 10785"/>
                <a:gd name="connsiteY843" fmla="*/ 3103 h 10000"/>
                <a:gd name="connsiteX844" fmla="*/ 8276 w 10785"/>
                <a:gd name="connsiteY844" fmla="*/ 3103 h 10000"/>
                <a:gd name="connsiteX845" fmla="*/ 8267 w 10785"/>
                <a:gd name="connsiteY845" fmla="*/ 3120 h 10000"/>
                <a:gd name="connsiteX846" fmla="*/ 8253 w 10785"/>
                <a:gd name="connsiteY846" fmla="*/ 3103 h 10000"/>
                <a:gd name="connsiteX847" fmla="*/ 8230 w 10785"/>
                <a:gd name="connsiteY847" fmla="*/ 3128 h 10000"/>
                <a:gd name="connsiteX848" fmla="*/ 8217 w 10785"/>
                <a:gd name="connsiteY848" fmla="*/ 3128 h 10000"/>
                <a:gd name="connsiteX849" fmla="*/ 8203 w 10785"/>
                <a:gd name="connsiteY849" fmla="*/ 3154 h 10000"/>
                <a:gd name="connsiteX850" fmla="*/ 8175 w 10785"/>
                <a:gd name="connsiteY850" fmla="*/ 3094 h 10000"/>
                <a:gd name="connsiteX851" fmla="*/ 8161 w 10785"/>
                <a:gd name="connsiteY851" fmla="*/ 3094 h 10000"/>
                <a:gd name="connsiteX852" fmla="*/ 8157 w 10785"/>
                <a:gd name="connsiteY852" fmla="*/ 3077 h 10000"/>
                <a:gd name="connsiteX853" fmla="*/ 8180 w 10785"/>
                <a:gd name="connsiteY853" fmla="*/ 3068 h 10000"/>
                <a:gd name="connsiteX854" fmla="*/ 8189 w 10785"/>
                <a:gd name="connsiteY854" fmla="*/ 3043 h 10000"/>
                <a:gd name="connsiteX855" fmla="*/ 8189 w 10785"/>
                <a:gd name="connsiteY855" fmla="*/ 3017 h 10000"/>
                <a:gd name="connsiteX856" fmla="*/ 8147 w 10785"/>
                <a:gd name="connsiteY856" fmla="*/ 2940 h 10000"/>
                <a:gd name="connsiteX857" fmla="*/ 8143 w 10785"/>
                <a:gd name="connsiteY857" fmla="*/ 2915 h 10000"/>
                <a:gd name="connsiteX858" fmla="*/ 8143 w 10785"/>
                <a:gd name="connsiteY858" fmla="*/ 2906 h 10000"/>
                <a:gd name="connsiteX859" fmla="*/ 8097 w 10785"/>
                <a:gd name="connsiteY859" fmla="*/ 2932 h 10000"/>
                <a:gd name="connsiteX860" fmla="*/ 8083 w 10785"/>
                <a:gd name="connsiteY860" fmla="*/ 2932 h 10000"/>
                <a:gd name="connsiteX861" fmla="*/ 8074 w 10785"/>
                <a:gd name="connsiteY861" fmla="*/ 2906 h 10000"/>
                <a:gd name="connsiteX862" fmla="*/ 8074 w 10785"/>
                <a:gd name="connsiteY862" fmla="*/ 2897 h 10000"/>
                <a:gd name="connsiteX863" fmla="*/ 8055 w 10785"/>
                <a:gd name="connsiteY863" fmla="*/ 2872 h 10000"/>
                <a:gd name="connsiteX864" fmla="*/ 8046 w 10785"/>
                <a:gd name="connsiteY864" fmla="*/ 2829 h 10000"/>
                <a:gd name="connsiteX865" fmla="*/ 8041 w 10785"/>
                <a:gd name="connsiteY865" fmla="*/ 2829 h 10000"/>
                <a:gd name="connsiteX866" fmla="*/ 8023 w 10785"/>
                <a:gd name="connsiteY866" fmla="*/ 2803 h 10000"/>
                <a:gd name="connsiteX867" fmla="*/ 8014 w 10785"/>
                <a:gd name="connsiteY867" fmla="*/ 2829 h 10000"/>
                <a:gd name="connsiteX868" fmla="*/ 8000 w 10785"/>
                <a:gd name="connsiteY868" fmla="*/ 2829 h 10000"/>
                <a:gd name="connsiteX869" fmla="*/ 7995 w 10785"/>
                <a:gd name="connsiteY869" fmla="*/ 2821 h 10000"/>
                <a:gd name="connsiteX870" fmla="*/ 7972 w 10785"/>
                <a:gd name="connsiteY870" fmla="*/ 2803 h 10000"/>
                <a:gd name="connsiteX871" fmla="*/ 7968 w 10785"/>
                <a:gd name="connsiteY871" fmla="*/ 2821 h 10000"/>
                <a:gd name="connsiteX872" fmla="*/ 7968 w 10785"/>
                <a:gd name="connsiteY872" fmla="*/ 2803 h 10000"/>
                <a:gd name="connsiteX873" fmla="*/ 7995 w 10785"/>
                <a:gd name="connsiteY873" fmla="*/ 2735 h 10000"/>
                <a:gd name="connsiteX874" fmla="*/ 8000 w 10785"/>
                <a:gd name="connsiteY874" fmla="*/ 2735 h 10000"/>
                <a:gd name="connsiteX875" fmla="*/ 8014 w 10785"/>
                <a:gd name="connsiteY875" fmla="*/ 2744 h 10000"/>
                <a:gd name="connsiteX876" fmla="*/ 8023 w 10785"/>
                <a:gd name="connsiteY876" fmla="*/ 2769 h 10000"/>
                <a:gd name="connsiteX877" fmla="*/ 8032 w 10785"/>
                <a:gd name="connsiteY877" fmla="*/ 2744 h 10000"/>
                <a:gd name="connsiteX878" fmla="*/ 8032 w 10785"/>
                <a:gd name="connsiteY878" fmla="*/ 2709 h 10000"/>
                <a:gd name="connsiteX879" fmla="*/ 8023 w 10785"/>
                <a:gd name="connsiteY879" fmla="*/ 2632 h 10000"/>
                <a:gd name="connsiteX880" fmla="*/ 7986 w 10785"/>
                <a:gd name="connsiteY880" fmla="*/ 2581 h 10000"/>
                <a:gd name="connsiteX881" fmla="*/ 7968 w 10785"/>
                <a:gd name="connsiteY881" fmla="*/ 2581 h 10000"/>
                <a:gd name="connsiteX882" fmla="*/ 7963 w 10785"/>
                <a:gd name="connsiteY882" fmla="*/ 2556 h 10000"/>
                <a:gd name="connsiteX883" fmla="*/ 7935 w 10785"/>
                <a:gd name="connsiteY883" fmla="*/ 2547 h 10000"/>
                <a:gd name="connsiteX884" fmla="*/ 7912 w 10785"/>
                <a:gd name="connsiteY884" fmla="*/ 2547 h 10000"/>
                <a:gd name="connsiteX885" fmla="*/ 7912 w 10785"/>
                <a:gd name="connsiteY885" fmla="*/ 2556 h 10000"/>
                <a:gd name="connsiteX886" fmla="*/ 7908 w 10785"/>
                <a:gd name="connsiteY886" fmla="*/ 2547 h 10000"/>
                <a:gd name="connsiteX887" fmla="*/ 7862 w 10785"/>
                <a:gd name="connsiteY887" fmla="*/ 2547 h 10000"/>
                <a:gd name="connsiteX888" fmla="*/ 7848 w 10785"/>
                <a:gd name="connsiteY888" fmla="*/ 2556 h 10000"/>
                <a:gd name="connsiteX889" fmla="*/ 7820 w 10785"/>
                <a:gd name="connsiteY889" fmla="*/ 2547 h 10000"/>
                <a:gd name="connsiteX890" fmla="*/ 7806 w 10785"/>
                <a:gd name="connsiteY890" fmla="*/ 2513 h 10000"/>
                <a:gd name="connsiteX891" fmla="*/ 7788 w 10785"/>
                <a:gd name="connsiteY891" fmla="*/ 2513 h 10000"/>
                <a:gd name="connsiteX892" fmla="*/ 7760 w 10785"/>
                <a:gd name="connsiteY892" fmla="*/ 2470 h 10000"/>
                <a:gd name="connsiteX893" fmla="*/ 7751 w 10785"/>
                <a:gd name="connsiteY893" fmla="*/ 2470 h 10000"/>
                <a:gd name="connsiteX894" fmla="*/ 7705 w 10785"/>
                <a:gd name="connsiteY894" fmla="*/ 2462 h 10000"/>
                <a:gd name="connsiteX895" fmla="*/ 7673 w 10785"/>
                <a:gd name="connsiteY895" fmla="*/ 2419 h 10000"/>
                <a:gd name="connsiteX896" fmla="*/ 7627 w 10785"/>
                <a:gd name="connsiteY896" fmla="*/ 2419 h 10000"/>
                <a:gd name="connsiteX897" fmla="*/ 7613 w 10785"/>
                <a:gd name="connsiteY897" fmla="*/ 2410 h 10000"/>
                <a:gd name="connsiteX898" fmla="*/ 7493 w 10785"/>
                <a:gd name="connsiteY898" fmla="*/ 2393 h 10000"/>
                <a:gd name="connsiteX899" fmla="*/ 7479 w 10785"/>
                <a:gd name="connsiteY899" fmla="*/ 2385 h 10000"/>
                <a:gd name="connsiteX900" fmla="*/ 7479 w 10785"/>
                <a:gd name="connsiteY900" fmla="*/ 2376 h 10000"/>
                <a:gd name="connsiteX901" fmla="*/ 7465 w 10785"/>
                <a:gd name="connsiteY901" fmla="*/ 2359 h 10000"/>
                <a:gd name="connsiteX902" fmla="*/ 7447 w 10785"/>
                <a:gd name="connsiteY902" fmla="*/ 2350 h 10000"/>
                <a:gd name="connsiteX903" fmla="*/ 7433 w 10785"/>
                <a:gd name="connsiteY903" fmla="*/ 2376 h 10000"/>
                <a:gd name="connsiteX904" fmla="*/ 7433 w 10785"/>
                <a:gd name="connsiteY904" fmla="*/ 2385 h 10000"/>
                <a:gd name="connsiteX905" fmla="*/ 7447 w 10785"/>
                <a:gd name="connsiteY905" fmla="*/ 2410 h 10000"/>
                <a:gd name="connsiteX906" fmla="*/ 7447 w 10785"/>
                <a:gd name="connsiteY906" fmla="*/ 2436 h 10000"/>
                <a:gd name="connsiteX907" fmla="*/ 7452 w 10785"/>
                <a:gd name="connsiteY907" fmla="*/ 2462 h 10000"/>
                <a:gd name="connsiteX908" fmla="*/ 7447 w 10785"/>
                <a:gd name="connsiteY908" fmla="*/ 2470 h 10000"/>
                <a:gd name="connsiteX909" fmla="*/ 7424 w 10785"/>
                <a:gd name="connsiteY909" fmla="*/ 2513 h 10000"/>
                <a:gd name="connsiteX910" fmla="*/ 7419 w 10785"/>
                <a:gd name="connsiteY910" fmla="*/ 2556 h 10000"/>
                <a:gd name="connsiteX911" fmla="*/ 7406 w 10785"/>
                <a:gd name="connsiteY911" fmla="*/ 2624 h 10000"/>
                <a:gd name="connsiteX912" fmla="*/ 7392 w 10785"/>
                <a:gd name="connsiteY912" fmla="*/ 2624 h 10000"/>
                <a:gd name="connsiteX913" fmla="*/ 7373 w 10785"/>
                <a:gd name="connsiteY913" fmla="*/ 2650 h 10000"/>
                <a:gd name="connsiteX914" fmla="*/ 7364 w 10785"/>
                <a:gd name="connsiteY914" fmla="*/ 2684 h 10000"/>
                <a:gd name="connsiteX915" fmla="*/ 7364 w 10785"/>
                <a:gd name="connsiteY915" fmla="*/ 2692 h 10000"/>
                <a:gd name="connsiteX916" fmla="*/ 7373 w 10785"/>
                <a:gd name="connsiteY916" fmla="*/ 2718 h 10000"/>
                <a:gd name="connsiteX917" fmla="*/ 7373 w 10785"/>
                <a:gd name="connsiteY917" fmla="*/ 2744 h 10000"/>
                <a:gd name="connsiteX918" fmla="*/ 7359 w 10785"/>
                <a:gd name="connsiteY918" fmla="*/ 2744 h 10000"/>
                <a:gd name="connsiteX919" fmla="*/ 7359 w 10785"/>
                <a:gd name="connsiteY919" fmla="*/ 2795 h 10000"/>
                <a:gd name="connsiteX920" fmla="*/ 7364 w 10785"/>
                <a:gd name="connsiteY920" fmla="*/ 2821 h 10000"/>
                <a:gd name="connsiteX921" fmla="*/ 7378 w 10785"/>
                <a:gd name="connsiteY921" fmla="*/ 2846 h 10000"/>
                <a:gd name="connsiteX922" fmla="*/ 7378 w 10785"/>
                <a:gd name="connsiteY922" fmla="*/ 2855 h 10000"/>
                <a:gd name="connsiteX923" fmla="*/ 7378 w 10785"/>
                <a:gd name="connsiteY923" fmla="*/ 2880 h 10000"/>
                <a:gd name="connsiteX924" fmla="*/ 7378 w 10785"/>
                <a:gd name="connsiteY924" fmla="*/ 2906 h 10000"/>
                <a:gd name="connsiteX925" fmla="*/ 7364 w 10785"/>
                <a:gd name="connsiteY925" fmla="*/ 2906 h 10000"/>
                <a:gd name="connsiteX926" fmla="*/ 7346 w 10785"/>
                <a:gd name="connsiteY926" fmla="*/ 2880 h 10000"/>
                <a:gd name="connsiteX927" fmla="*/ 7332 w 10785"/>
                <a:gd name="connsiteY927" fmla="*/ 2915 h 10000"/>
                <a:gd name="connsiteX928" fmla="*/ 7318 w 10785"/>
                <a:gd name="connsiteY928" fmla="*/ 2906 h 10000"/>
                <a:gd name="connsiteX929" fmla="*/ 7313 w 10785"/>
                <a:gd name="connsiteY929" fmla="*/ 2915 h 10000"/>
                <a:gd name="connsiteX930" fmla="*/ 7313 w 10785"/>
                <a:gd name="connsiteY930" fmla="*/ 2906 h 10000"/>
                <a:gd name="connsiteX931" fmla="*/ 7286 w 10785"/>
                <a:gd name="connsiteY931" fmla="*/ 2940 h 10000"/>
                <a:gd name="connsiteX932" fmla="*/ 7276 w 10785"/>
                <a:gd name="connsiteY932" fmla="*/ 2966 h 10000"/>
                <a:gd name="connsiteX933" fmla="*/ 7272 w 10785"/>
                <a:gd name="connsiteY933" fmla="*/ 2983 h 10000"/>
                <a:gd name="connsiteX934" fmla="*/ 7267 w 10785"/>
                <a:gd name="connsiteY934" fmla="*/ 3009 h 10000"/>
                <a:gd name="connsiteX935" fmla="*/ 7253 w 10785"/>
                <a:gd name="connsiteY935" fmla="*/ 3009 h 10000"/>
                <a:gd name="connsiteX936" fmla="*/ 7244 w 10785"/>
                <a:gd name="connsiteY936" fmla="*/ 3017 h 10000"/>
                <a:gd name="connsiteX937" fmla="*/ 7240 w 10785"/>
                <a:gd name="connsiteY937" fmla="*/ 3009 h 10000"/>
                <a:gd name="connsiteX938" fmla="*/ 7230 w 10785"/>
                <a:gd name="connsiteY938" fmla="*/ 2991 h 10000"/>
                <a:gd name="connsiteX939" fmla="*/ 7226 w 10785"/>
                <a:gd name="connsiteY939" fmla="*/ 2983 h 10000"/>
                <a:gd name="connsiteX940" fmla="*/ 7226 w 10785"/>
                <a:gd name="connsiteY940" fmla="*/ 2966 h 10000"/>
                <a:gd name="connsiteX941" fmla="*/ 7212 w 10785"/>
                <a:gd name="connsiteY941" fmla="*/ 2957 h 10000"/>
                <a:gd name="connsiteX942" fmla="*/ 7212 w 10785"/>
                <a:gd name="connsiteY942" fmla="*/ 2932 h 10000"/>
                <a:gd name="connsiteX943" fmla="*/ 7198 w 10785"/>
                <a:gd name="connsiteY943" fmla="*/ 2915 h 10000"/>
                <a:gd name="connsiteX944" fmla="*/ 7194 w 10785"/>
                <a:gd name="connsiteY944" fmla="*/ 2915 h 10000"/>
                <a:gd name="connsiteX945" fmla="*/ 7157 w 10785"/>
                <a:gd name="connsiteY945" fmla="*/ 2880 h 10000"/>
                <a:gd name="connsiteX946" fmla="*/ 7138 w 10785"/>
                <a:gd name="connsiteY946" fmla="*/ 2880 h 10000"/>
                <a:gd name="connsiteX947" fmla="*/ 7120 w 10785"/>
                <a:gd name="connsiteY947" fmla="*/ 2872 h 10000"/>
                <a:gd name="connsiteX948" fmla="*/ 7111 w 10785"/>
                <a:gd name="connsiteY948" fmla="*/ 2846 h 10000"/>
                <a:gd name="connsiteX949" fmla="*/ 7106 w 10785"/>
                <a:gd name="connsiteY949" fmla="*/ 2846 h 10000"/>
                <a:gd name="connsiteX950" fmla="*/ 7092 w 10785"/>
                <a:gd name="connsiteY950" fmla="*/ 2829 h 10000"/>
                <a:gd name="connsiteX951" fmla="*/ 7051 w 10785"/>
                <a:gd name="connsiteY951" fmla="*/ 2829 h 10000"/>
                <a:gd name="connsiteX952" fmla="*/ 7037 w 10785"/>
                <a:gd name="connsiteY952" fmla="*/ 2880 h 10000"/>
                <a:gd name="connsiteX953" fmla="*/ 7037 w 10785"/>
                <a:gd name="connsiteY953" fmla="*/ 2906 h 10000"/>
                <a:gd name="connsiteX954" fmla="*/ 7037 w 10785"/>
                <a:gd name="connsiteY954" fmla="*/ 2932 h 10000"/>
                <a:gd name="connsiteX955" fmla="*/ 7037 w 10785"/>
                <a:gd name="connsiteY955" fmla="*/ 2940 h 10000"/>
                <a:gd name="connsiteX956" fmla="*/ 7023 w 10785"/>
                <a:gd name="connsiteY956" fmla="*/ 2906 h 10000"/>
                <a:gd name="connsiteX957" fmla="*/ 7023 w 10785"/>
                <a:gd name="connsiteY957" fmla="*/ 2915 h 10000"/>
                <a:gd name="connsiteX958" fmla="*/ 6991 w 10785"/>
                <a:gd name="connsiteY958" fmla="*/ 2906 h 10000"/>
                <a:gd name="connsiteX959" fmla="*/ 6977 w 10785"/>
                <a:gd name="connsiteY959" fmla="*/ 2915 h 10000"/>
                <a:gd name="connsiteX960" fmla="*/ 6963 w 10785"/>
                <a:gd name="connsiteY960" fmla="*/ 2915 h 10000"/>
                <a:gd name="connsiteX961" fmla="*/ 6949 w 10785"/>
                <a:gd name="connsiteY961" fmla="*/ 2872 h 10000"/>
                <a:gd name="connsiteX962" fmla="*/ 6935 w 10785"/>
                <a:gd name="connsiteY962" fmla="*/ 2855 h 10000"/>
                <a:gd name="connsiteX963" fmla="*/ 6922 w 10785"/>
                <a:gd name="connsiteY963" fmla="*/ 2803 h 10000"/>
                <a:gd name="connsiteX964" fmla="*/ 6917 w 10785"/>
                <a:gd name="connsiteY964" fmla="*/ 2786 h 10000"/>
                <a:gd name="connsiteX965" fmla="*/ 6903 w 10785"/>
                <a:gd name="connsiteY965" fmla="*/ 2709 h 10000"/>
                <a:gd name="connsiteX966" fmla="*/ 6903 w 10785"/>
                <a:gd name="connsiteY966" fmla="*/ 2692 h 10000"/>
                <a:gd name="connsiteX967" fmla="*/ 6899 w 10785"/>
                <a:gd name="connsiteY967" fmla="*/ 2709 h 10000"/>
                <a:gd name="connsiteX968" fmla="*/ 6857 w 10785"/>
                <a:gd name="connsiteY968" fmla="*/ 2872 h 10000"/>
                <a:gd name="connsiteX969" fmla="*/ 6857 w 10785"/>
                <a:gd name="connsiteY969" fmla="*/ 3009 h 10000"/>
                <a:gd name="connsiteX970" fmla="*/ 6848 w 10785"/>
                <a:gd name="connsiteY970" fmla="*/ 3017 h 10000"/>
                <a:gd name="connsiteX971" fmla="*/ 6839 w 10785"/>
                <a:gd name="connsiteY971" fmla="*/ 3068 h 10000"/>
                <a:gd name="connsiteX972" fmla="*/ 6829 w 10785"/>
                <a:gd name="connsiteY972" fmla="*/ 3077 h 10000"/>
                <a:gd name="connsiteX973" fmla="*/ 6829 w 10785"/>
                <a:gd name="connsiteY973" fmla="*/ 3128 h 10000"/>
                <a:gd name="connsiteX974" fmla="*/ 6816 w 10785"/>
                <a:gd name="connsiteY974" fmla="*/ 3154 h 10000"/>
                <a:gd name="connsiteX975" fmla="*/ 6811 w 10785"/>
                <a:gd name="connsiteY975" fmla="*/ 3179 h 10000"/>
                <a:gd name="connsiteX976" fmla="*/ 6797 w 10785"/>
                <a:gd name="connsiteY976" fmla="*/ 3171 h 10000"/>
                <a:gd name="connsiteX977" fmla="*/ 6783 w 10785"/>
                <a:gd name="connsiteY977" fmla="*/ 3103 h 10000"/>
                <a:gd name="connsiteX978" fmla="*/ 6779 w 10785"/>
                <a:gd name="connsiteY978" fmla="*/ 3094 h 10000"/>
                <a:gd name="connsiteX979" fmla="*/ 6779 w 10785"/>
                <a:gd name="connsiteY979" fmla="*/ 3120 h 10000"/>
                <a:gd name="connsiteX980" fmla="*/ 6770 w 10785"/>
                <a:gd name="connsiteY980" fmla="*/ 3128 h 10000"/>
                <a:gd name="connsiteX981" fmla="*/ 6765 w 10785"/>
                <a:gd name="connsiteY981" fmla="*/ 3103 h 10000"/>
                <a:gd name="connsiteX982" fmla="*/ 6756 w 10785"/>
                <a:gd name="connsiteY982" fmla="*/ 3103 h 10000"/>
                <a:gd name="connsiteX983" fmla="*/ 6742 w 10785"/>
                <a:gd name="connsiteY983" fmla="*/ 3103 h 10000"/>
                <a:gd name="connsiteX984" fmla="*/ 6737 w 10785"/>
                <a:gd name="connsiteY984" fmla="*/ 3077 h 10000"/>
                <a:gd name="connsiteX985" fmla="*/ 6737 w 10785"/>
                <a:gd name="connsiteY985" fmla="*/ 3068 h 10000"/>
                <a:gd name="connsiteX986" fmla="*/ 6728 w 10785"/>
                <a:gd name="connsiteY986" fmla="*/ 3043 h 10000"/>
                <a:gd name="connsiteX987" fmla="*/ 6724 w 10785"/>
                <a:gd name="connsiteY987" fmla="*/ 3051 h 10000"/>
                <a:gd name="connsiteX988" fmla="*/ 6714 w 10785"/>
                <a:gd name="connsiteY988" fmla="*/ 3043 h 10000"/>
                <a:gd name="connsiteX989" fmla="*/ 6710 w 10785"/>
                <a:gd name="connsiteY989" fmla="*/ 3034 h 10000"/>
                <a:gd name="connsiteX990" fmla="*/ 6705 w 10785"/>
                <a:gd name="connsiteY990" fmla="*/ 2983 h 10000"/>
                <a:gd name="connsiteX991" fmla="*/ 6696 w 10785"/>
                <a:gd name="connsiteY991" fmla="*/ 2966 h 10000"/>
                <a:gd name="connsiteX992" fmla="*/ 6691 w 10785"/>
                <a:gd name="connsiteY992" fmla="*/ 2983 h 10000"/>
                <a:gd name="connsiteX993" fmla="*/ 6677 w 10785"/>
                <a:gd name="connsiteY993" fmla="*/ 2897 h 10000"/>
                <a:gd name="connsiteX994" fmla="*/ 6677 w 10785"/>
                <a:gd name="connsiteY994" fmla="*/ 2897 h 10000"/>
                <a:gd name="connsiteX995" fmla="*/ 6677 w 10785"/>
                <a:gd name="connsiteY995" fmla="*/ 2872 h 10000"/>
                <a:gd name="connsiteX996" fmla="*/ 6668 w 10785"/>
                <a:gd name="connsiteY996" fmla="*/ 2821 h 10000"/>
                <a:gd name="connsiteX997" fmla="*/ 6664 w 10785"/>
                <a:gd name="connsiteY997" fmla="*/ 2829 h 10000"/>
                <a:gd name="connsiteX998" fmla="*/ 6654 w 10785"/>
                <a:gd name="connsiteY998" fmla="*/ 2846 h 10000"/>
                <a:gd name="connsiteX999" fmla="*/ 6650 w 10785"/>
                <a:gd name="connsiteY999" fmla="*/ 2829 h 10000"/>
                <a:gd name="connsiteX1000" fmla="*/ 6650 w 10785"/>
                <a:gd name="connsiteY1000" fmla="*/ 2803 h 10000"/>
                <a:gd name="connsiteX1001" fmla="*/ 6650 w 10785"/>
                <a:gd name="connsiteY1001" fmla="*/ 2795 h 10000"/>
                <a:gd name="connsiteX1002" fmla="*/ 6641 w 10785"/>
                <a:gd name="connsiteY1002" fmla="*/ 2786 h 10000"/>
                <a:gd name="connsiteX1003" fmla="*/ 6636 w 10785"/>
                <a:gd name="connsiteY1003" fmla="*/ 2735 h 10000"/>
                <a:gd name="connsiteX1004" fmla="*/ 6664 w 10785"/>
                <a:gd name="connsiteY1004" fmla="*/ 2667 h 10000"/>
                <a:gd name="connsiteX1005" fmla="*/ 6668 w 10785"/>
                <a:gd name="connsiteY1005" fmla="*/ 2684 h 10000"/>
                <a:gd name="connsiteX1006" fmla="*/ 6677 w 10785"/>
                <a:gd name="connsiteY1006" fmla="*/ 2667 h 10000"/>
                <a:gd name="connsiteX1007" fmla="*/ 6668 w 10785"/>
                <a:gd name="connsiteY1007" fmla="*/ 2667 h 10000"/>
                <a:gd name="connsiteX1008" fmla="*/ 6668 w 10785"/>
                <a:gd name="connsiteY1008" fmla="*/ 2650 h 10000"/>
                <a:gd name="connsiteX1009" fmla="*/ 6682 w 10785"/>
                <a:gd name="connsiteY1009" fmla="*/ 2650 h 10000"/>
                <a:gd name="connsiteX1010" fmla="*/ 6691 w 10785"/>
                <a:gd name="connsiteY1010" fmla="*/ 2624 h 10000"/>
                <a:gd name="connsiteX1011" fmla="*/ 6682 w 10785"/>
                <a:gd name="connsiteY1011" fmla="*/ 2632 h 10000"/>
                <a:gd name="connsiteX1012" fmla="*/ 6682 w 10785"/>
                <a:gd name="connsiteY1012" fmla="*/ 2624 h 10000"/>
                <a:gd name="connsiteX1013" fmla="*/ 6691 w 10785"/>
                <a:gd name="connsiteY1013" fmla="*/ 2607 h 10000"/>
                <a:gd name="connsiteX1014" fmla="*/ 6691 w 10785"/>
                <a:gd name="connsiteY1014" fmla="*/ 2598 h 10000"/>
                <a:gd name="connsiteX1015" fmla="*/ 6691 w 10785"/>
                <a:gd name="connsiteY1015" fmla="*/ 2581 h 10000"/>
                <a:gd name="connsiteX1016" fmla="*/ 6696 w 10785"/>
                <a:gd name="connsiteY1016" fmla="*/ 2530 h 10000"/>
                <a:gd name="connsiteX1017" fmla="*/ 6677 w 10785"/>
                <a:gd name="connsiteY1017" fmla="*/ 2513 h 10000"/>
                <a:gd name="connsiteX1018" fmla="*/ 6677 w 10785"/>
                <a:gd name="connsiteY1018" fmla="*/ 2496 h 10000"/>
                <a:gd name="connsiteX1019" fmla="*/ 6682 w 10785"/>
                <a:gd name="connsiteY1019" fmla="*/ 2470 h 10000"/>
                <a:gd name="connsiteX1020" fmla="*/ 6668 w 10785"/>
                <a:gd name="connsiteY1020" fmla="*/ 2462 h 10000"/>
                <a:gd name="connsiteX1021" fmla="*/ 6677 w 10785"/>
                <a:gd name="connsiteY1021" fmla="*/ 2436 h 10000"/>
                <a:gd name="connsiteX1022" fmla="*/ 6682 w 10785"/>
                <a:gd name="connsiteY1022" fmla="*/ 2419 h 10000"/>
                <a:gd name="connsiteX1023" fmla="*/ 6682 w 10785"/>
                <a:gd name="connsiteY1023" fmla="*/ 2393 h 10000"/>
                <a:gd name="connsiteX1024" fmla="*/ 6682 w 10785"/>
                <a:gd name="connsiteY1024" fmla="*/ 2385 h 10000"/>
                <a:gd name="connsiteX1025" fmla="*/ 6682 w 10785"/>
                <a:gd name="connsiteY1025" fmla="*/ 2385 h 10000"/>
                <a:gd name="connsiteX1026" fmla="*/ 6677 w 10785"/>
                <a:gd name="connsiteY1026" fmla="*/ 2376 h 10000"/>
                <a:gd name="connsiteX1027" fmla="*/ 6682 w 10785"/>
                <a:gd name="connsiteY1027" fmla="*/ 2359 h 10000"/>
                <a:gd name="connsiteX1028" fmla="*/ 6677 w 10785"/>
                <a:gd name="connsiteY1028" fmla="*/ 2333 h 10000"/>
                <a:gd name="connsiteX1029" fmla="*/ 6691 w 10785"/>
                <a:gd name="connsiteY1029" fmla="*/ 2333 h 10000"/>
                <a:gd name="connsiteX1030" fmla="*/ 6691 w 10785"/>
                <a:gd name="connsiteY1030" fmla="*/ 2325 h 10000"/>
                <a:gd name="connsiteX1031" fmla="*/ 6691 w 10785"/>
                <a:gd name="connsiteY1031" fmla="*/ 2308 h 10000"/>
                <a:gd name="connsiteX1032" fmla="*/ 6691 w 10785"/>
                <a:gd name="connsiteY1032" fmla="*/ 2299 h 10000"/>
                <a:gd name="connsiteX1033" fmla="*/ 6691 w 10785"/>
                <a:gd name="connsiteY1033" fmla="*/ 2282 h 10000"/>
                <a:gd name="connsiteX1034" fmla="*/ 6691 w 10785"/>
                <a:gd name="connsiteY1034" fmla="*/ 2274 h 10000"/>
                <a:gd name="connsiteX1035" fmla="*/ 6668 w 10785"/>
                <a:gd name="connsiteY1035" fmla="*/ 2248 h 10000"/>
                <a:gd name="connsiteX1036" fmla="*/ 6664 w 10785"/>
                <a:gd name="connsiteY1036" fmla="*/ 2222 h 10000"/>
                <a:gd name="connsiteX1037" fmla="*/ 6654 w 10785"/>
                <a:gd name="connsiteY1037" fmla="*/ 2214 h 10000"/>
                <a:gd name="connsiteX1038" fmla="*/ 6654 w 10785"/>
                <a:gd name="connsiteY1038" fmla="*/ 2188 h 10000"/>
                <a:gd name="connsiteX1039" fmla="*/ 6622 w 10785"/>
                <a:gd name="connsiteY1039" fmla="*/ 2162 h 10000"/>
                <a:gd name="connsiteX1040" fmla="*/ 6631 w 10785"/>
                <a:gd name="connsiteY1040" fmla="*/ 2145 h 10000"/>
                <a:gd name="connsiteX1041" fmla="*/ 6622 w 10785"/>
                <a:gd name="connsiteY1041" fmla="*/ 2120 h 10000"/>
                <a:gd name="connsiteX1042" fmla="*/ 6608 w 10785"/>
                <a:gd name="connsiteY1042" fmla="*/ 2120 h 10000"/>
                <a:gd name="connsiteX1043" fmla="*/ 6604 w 10785"/>
                <a:gd name="connsiteY1043" fmla="*/ 2111 h 10000"/>
                <a:gd name="connsiteX1044" fmla="*/ 6608 w 10785"/>
                <a:gd name="connsiteY1044" fmla="*/ 2111 h 10000"/>
                <a:gd name="connsiteX1045" fmla="*/ 6604 w 10785"/>
                <a:gd name="connsiteY1045" fmla="*/ 2085 h 10000"/>
                <a:gd name="connsiteX1046" fmla="*/ 6581 w 10785"/>
                <a:gd name="connsiteY1046" fmla="*/ 2077 h 10000"/>
                <a:gd name="connsiteX1047" fmla="*/ 6571 w 10785"/>
                <a:gd name="connsiteY1047" fmla="*/ 2085 h 10000"/>
                <a:gd name="connsiteX1048" fmla="*/ 6548 w 10785"/>
                <a:gd name="connsiteY1048" fmla="*/ 2077 h 10000"/>
                <a:gd name="connsiteX1049" fmla="*/ 6530 w 10785"/>
                <a:gd name="connsiteY1049" fmla="*/ 2060 h 10000"/>
                <a:gd name="connsiteX1050" fmla="*/ 6521 w 10785"/>
                <a:gd name="connsiteY1050" fmla="*/ 2060 h 10000"/>
                <a:gd name="connsiteX1051" fmla="*/ 6521 w 10785"/>
                <a:gd name="connsiteY1051" fmla="*/ 2085 h 10000"/>
                <a:gd name="connsiteX1052" fmla="*/ 6516 w 10785"/>
                <a:gd name="connsiteY1052" fmla="*/ 2085 h 10000"/>
                <a:gd name="connsiteX1053" fmla="*/ 6502 w 10785"/>
                <a:gd name="connsiteY1053" fmla="*/ 2111 h 10000"/>
                <a:gd name="connsiteX1054" fmla="*/ 6498 w 10785"/>
                <a:gd name="connsiteY1054" fmla="*/ 2111 h 10000"/>
                <a:gd name="connsiteX1055" fmla="*/ 6498 w 10785"/>
                <a:gd name="connsiteY1055" fmla="*/ 2103 h 10000"/>
                <a:gd name="connsiteX1056" fmla="*/ 6475 w 10785"/>
                <a:gd name="connsiteY1056" fmla="*/ 2051 h 10000"/>
                <a:gd name="connsiteX1057" fmla="*/ 6470 w 10785"/>
                <a:gd name="connsiteY1057" fmla="*/ 2060 h 10000"/>
                <a:gd name="connsiteX1058" fmla="*/ 6456 w 10785"/>
                <a:gd name="connsiteY1058" fmla="*/ 2051 h 10000"/>
                <a:gd name="connsiteX1059" fmla="*/ 6447 w 10785"/>
                <a:gd name="connsiteY1059" fmla="*/ 2051 h 10000"/>
                <a:gd name="connsiteX1060" fmla="*/ 6433 w 10785"/>
                <a:gd name="connsiteY1060" fmla="*/ 2026 h 10000"/>
                <a:gd name="connsiteX1061" fmla="*/ 6433 w 10785"/>
                <a:gd name="connsiteY1061" fmla="*/ 2034 h 10000"/>
                <a:gd name="connsiteX1062" fmla="*/ 6429 w 10785"/>
                <a:gd name="connsiteY1062" fmla="*/ 2026 h 10000"/>
                <a:gd name="connsiteX1063" fmla="*/ 6424 w 10785"/>
                <a:gd name="connsiteY1063" fmla="*/ 2034 h 10000"/>
                <a:gd name="connsiteX1064" fmla="*/ 6410 w 10785"/>
                <a:gd name="connsiteY1064" fmla="*/ 2026 h 10000"/>
                <a:gd name="connsiteX1065" fmla="*/ 6410 w 10785"/>
                <a:gd name="connsiteY1065" fmla="*/ 1991 h 10000"/>
                <a:gd name="connsiteX1066" fmla="*/ 6401 w 10785"/>
                <a:gd name="connsiteY1066" fmla="*/ 1991 h 10000"/>
                <a:gd name="connsiteX1067" fmla="*/ 6396 w 10785"/>
                <a:gd name="connsiteY1067" fmla="*/ 2000 h 10000"/>
                <a:gd name="connsiteX1068" fmla="*/ 6382 w 10785"/>
                <a:gd name="connsiteY1068" fmla="*/ 1966 h 10000"/>
                <a:gd name="connsiteX1069" fmla="*/ 6373 w 10785"/>
                <a:gd name="connsiteY1069" fmla="*/ 1974 h 10000"/>
                <a:gd name="connsiteX1070" fmla="*/ 6369 w 10785"/>
                <a:gd name="connsiteY1070" fmla="*/ 1966 h 10000"/>
                <a:gd name="connsiteX1071" fmla="*/ 6341 w 10785"/>
                <a:gd name="connsiteY1071" fmla="*/ 1949 h 10000"/>
                <a:gd name="connsiteX1072" fmla="*/ 6327 w 10785"/>
                <a:gd name="connsiteY1072" fmla="*/ 1923 h 10000"/>
                <a:gd name="connsiteX1073" fmla="*/ 6323 w 10785"/>
                <a:gd name="connsiteY1073" fmla="*/ 1923 h 10000"/>
                <a:gd name="connsiteX1074" fmla="*/ 6323 w 10785"/>
                <a:gd name="connsiteY1074" fmla="*/ 1966 h 10000"/>
                <a:gd name="connsiteX1075" fmla="*/ 6323 w 10785"/>
                <a:gd name="connsiteY1075" fmla="*/ 1991 h 10000"/>
                <a:gd name="connsiteX1076" fmla="*/ 6313 w 10785"/>
                <a:gd name="connsiteY1076" fmla="*/ 1991 h 10000"/>
                <a:gd name="connsiteX1077" fmla="*/ 6300 w 10785"/>
                <a:gd name="connsiteY1077" fmla="*/ 1991 h 10000"/>
                <a:gd name="connsiteX1078" fmla="*/ 6290 w 10785"/>
                <a:gd name="connsiteY1078" fmla="*/ 1949 h 10000"/>
                <a:gd name="connsiteX1079" fmla="*/ 6276 w 10785"/>
                <a:gd name="connsiteY1079" fmla="*/ 2103 h 10000"/>
                <a:gd name="connsiteX1080" fmla="*/ 6281 w 10785"/>
                <a:gd name="connsiteY1080" fmla="*/ 2103 h 10000"/>
                <a:gd name="connsiteX1081" fmla="*/ 6276 w 10785"/>
                <a:gd name="connsiteY1081" fmla="*/ 2111 h 10000"/>
                <a:gd name="connsiteX1082" fmla="*/ 6276 w 10785"/>
                <a:gd name="connsiteY1082" fmla="*/ 2120 h 10000"/>
                <a:gd name="connsiteX1083" fmla="*/ 6295 w 10785"/>
                <a:gd name="connsiteY1083" fmla="*/ 2239 h 10000"/>
                <a:gd name="connsiteX1084" fmla="*/ 6290 w 10785"/>
                <a:gd name="connsiteY1084" fmla="*/ 2248 h 10000"/>
                <a:gd name="connsiteX1085" fmla="*/ 6281 w 10785"/>
                <a:gd name="connsiteY1085" fmla="*/ 2274 h 10000"/>
                <a:gd name="connsiteX1086" fmla="*/ 6249 w 10785"/>
                <a:gd name="connsiteY1086" fmla="*/ 2274 h 10000"/>
                <a:gd name="connsiteX1087" fmla="*/ 6226 w 10785"/>
                <a:gd name="connsiteY1087" fmla="*/ 2308 h 10000"/>
                <a:gd name="connsiteX1088" fmla="*/ 6221 w 10785"/>
                <a:gd name="connsiteY1088" fmla="*/ 2299 h 10000"/>
                <a:gd name="connsiteX1089" fmla="*/ 6221 w 10785"/>
                <a:gd name="connsiteY1089" fmla="*/ 2308 h 10000"/>
                <a:gd name="connsiteX1090" fmla="*/ 6217 w 10785"/>
                <a:gd name="connsiteY1090" fmla="*/ 2299 h 10000"/>
                <a:gd name="connsiteX1091" fmla="*/ 6194 w 10785"/>
                <a:gd name="connsiteY1091" fmla="*/ 2308 h 10000"/>
                <a:gd name="connsiteX1092" fmla="*/ 6180 w 10785"/>
                <a:gd name="connsiteY1092" fmla="*/ 2299 h 10000"/>
                <a:gd name="connsiteX1093" fmla="*/ 6143 w 10785"/>
                <a:gd name="connsiteY1093" fmla="*/ 2308 h 10000"/>
                <a:gd name="connsiteX1094" fmla="*/ 6134 w 10785"/>
                <a:gd name="connsiteY1094" fmla="*/ 2325 h 10000"/>
                <a:gd name="connsiteX1095" fmla="*/ 6115 w 10785"/>
                <a:gd name="connsiteY1095" fmla="*/ 2282 h 10000"/>
                <a:gd name="connsiteX1096" fmla="*/ 6069 w 10785"/>
                <a:gd name="connsiteY1096" fmla="*/ 2274 h 10000"/>
                <a:gd name="connsiteX1097" fmla="*/ 6069 w 10785"/>
                <a:gd name="connsiteY1097" fmla="*/ 2282 h 10000"/>
                <a:gd name="connsiteX1098" fmla="*/ 6060 w 10785"/>
                <a:gd name="connsiteY1098" fmla="*/ 2299 h 10000"/>
                <a:gd name="connsiteX1099" fmla="*/ 5972 w 10785"/>
                <a:gd name="connsiteY1099" fmla="*/ 2214 h 10000"/>
                <a:gd name="connsiteX1100" fmla="*/ 5968 w 10785"/>
                <a:gd name="connsiteY1100" fmla="*/ 2197 h 10000"/>
                <a:gd name="connsiteX1101" fmla="*/ 5968 w 10785"/>
                <a:gd name="connsiteY1101" fmla="*/ 2171 h 10000"/>
                <a:gd name="connsiteX1102" fmla="*/ 5968 w 10785"/>
                <a:gd name="connsiteY1102" fmla="*/ 2162 h 10000"/>
                <a:gd name="connsiteX1103" fmla="*/ 5968 w 10785"/>
                <a:gd name="connsiteY1103" fmla="*/ 2120 h 10000"/>
                <a:gd name="connsiteX1104" fmla="*/ 5968 w 10785"/>
                <a:gd name="connsiteY1104" fmla="*/ 2111 h 10000"/>
                <a:gd name="connsiteX1105" fmla="*/ 5972 w 10785"/>
                <a:gd name="connsiteY1105" fmla="*/ 2103 h 10000"/>
                <a:gd name="connsiteX1106" fmla="*/ 5986 w 10785"/>
                <a:gd name="connsiteY1106" fmla="*/ 2103 h 10000"/>
                <a:gd name="connsiteX1107" fmla="*/ 5986 w 10785"/>
                <a:gd name="connsiteY1107" fmla="*/ 2085 h 10000"/>
                <a:gd name="connsiteX1108" fmla="*/ 5995 w 10785"/>
                <a:gd name="connsiteY1108" fmla="*/ 2085 h 10000"/>
                <a:gd name="connsiteX1109" fmla="*/ 5995 w 10785"/>
                <a:gd name="connsiteY1109" fmla="*/ 2077 h 10000"/>
                <a:gd name="connsiteX1110" fmla="*/ 5986 w 10785"/>
                <a:gd name="connsiteY1110" fmla="*/ 2060 h 10000"/>
                <a:gd name="connsiteX1111" fmla="*/ 5954 w 10785"/>
                <a:gd name="connsiteY1111" fmla="*/ 2060 h 10000"/>
                <a:gd name="connsiteX1112" fmla="*/ 5940 w 10785"/>
                <a:gd name="connsiteY1112" fmla="*/ 2051 h 10000"/>
                <a:gd name="connsiteX1113" fmla="*/ 5922 w 10785"/>
                <a:gd name="connsiteY1113" fmla="*/ 2060 h 10000"/>
                <a:gd name="connsiteX1114" fmla="*/ 5885 w 10785"/>
                <a:gd name="connsiteY1114" fmla="*/ 2051 h 10000"/>
                <a:gd name="connsiteX1115" fmla="*/ 5876 w 10785"/>
                <a:gd name="connsiteY1115" fmla="*/ 2026 h 10000"/>
                <a:gd name="connsiteX1116" fmla="*/ 5862 w 10785"/>
                <a:gd name="connsiteY1116" fmla="*/ 2026 h 10000"/>
                <a:gd name="connsiteX1117" fmla="*/ 5848 w 10785"/>
                <a:gd name="connsiteY1117" fmla="*/ 2026 h 10000"/>
                <a:gd name="connsiteX1118" fmla="*/ 5825 w 10785"/>
                <a:gd name="connsiteY1118" fmla="*/ 2026 h 10000"/>
                <a:gd name="connsiteX1119" fmla="*/ 5788 w 10785"/>
                <a:gd name="connsiteY1119" fmla="*/ 1991 h 10000"/>
                <a:gd name="connsiteX1120" fmla="*/ 5760 w 10785"/>
                <a:gd name="connsiteY1120" fmla="*/ 2000 h 10000"/>
                <a:gd name="connsiteX1121" fmla="*/ 5760 w 10785"/>
                <a:gd name="connsiteY1121" fmla="*/ 2026 h 10000"/>
                <a:gd name="connsiteX1122" fmla="*/ 5714 w 10785"/>
                <a:gd name="connsiteY1122" fmla="*/ 2051 h 10000"/>
                <a:gd name="connsiteX1123" fmla="*/ 5687 w 10785"/>
                <a:gd name="connsiteY1123" fmla="*/ 2034 h 10000"/>
                <a:gd name="connsiteX1124" fmla="*/ 5645 w 10785"/>
                <a:gd name="connsiteY1124" fmla="*/ 2077 h 10000"/>
                <a:gd name="connsiteX1125" fmla="*/ 5664 w 10785"/>
                <a:gd name="connsiteY1125" fmla="*/ 2120 h 10000"/>
                <a:gd name="connsiteX1126" fmla="*/ 5664 w 10785"/>
                <a:gd name="connsiteY1126" fmla="*/ 2162 h 10000"/>
                <a:gd name="connsiteX1127" fmla="*/ 5631 w 10785"/>
                <a:gd name="connsiteY1127" fmla="*/ 2197 h 10000"/>
                <a:gd name="connsiteX1128" fmla="*/ 5618 w 10785"/>
                <a:gd name="connsiteY1128" fmla="*/ 2188 h 10000"/>
                <a:gd name="connsiteX1129" fmla="*/ 5618 w 10785"/>
                <a:gd name="connsiteY1129" fmla="*/ 2171 h 10000"/>
                <a:gd name="connsiteX1130" fmla="*/ 5641 w 10785"/>
                <a:gd name="connsiteY1130" fmla="*/ 2171 h 10000"/>
                <a:gd name="connsiteX1131" fmla="*/ 5641 w 10785"/>
                <a:gd name="connsiteY1131" fmla="*/ 2162 h 10000"/>
                <a:gd name="connsiteX1132" fmla="*/ 5627 w 10785"/>
                <a:gd name="connsiteY1132" fmla="*/ 2145 h 10000"/>
                <a:gd name="connsiteX1133" fmla="*/ 5627 w 10785"/>
                <a:gd name="connsiteY1133" fmla="*/ 2120 h 10000"/>
                <a:gd name="connsiteX1134" fmla="*/ 5618 w 10785"/>
                <a:gd name="connsiteY1134" fmla="*/ 2111 h 10000"/>
                <a:gd name="connsiteX1135" fmla="*/ 5631 w 10785"/>
                <a:gd name="connsiteY1135" fmla="*/ 2051 h 10000"/>
                <a:gd name="connsiteX1136" fmla="*/ 5631 w 10785"/>
                <a:gd name="connsiteY1136" fmla="*/ 2026 h 10000"/>
                <a:gd name="connsiteX1137" fmla="*/ 5627 w 10785"/>
                <a:gd name="connsiteY1137" fmla="*/ 1991 h 10000"/>
                <a:gd name="connsiteX1138" fmla="*/ 5618 w 10785"/>
                <a:gd name="connsiteY1138" fmla="*/ 1974 h 10000"/>
                <a:gd name="connsiteX1139" fmla="*/ 5618 w 10785"/>
                <a:gd name="connsiteY1139" fmla="*/ 1940 h 10000"/>
                <a:gd name="connsiteX1140" fmla="*/ 5594 w 10785"/>
                <a:gd name="connsiteY1140" fmla="*/ 1855 h 10000"/>
                <a:gd name="connsiteX1141" fmla="*/ 5599 w 10785"/>
                <a:gd name="connsiteY1141" fmla="*/ 1915 h 10000"/>
                <a:gd name="connsiteX1142" fmla="*/ 5599 w 10785"/>
                <a:gd name="connsiteY1142" fmla="*/ 1949 h 10000"/>
                <a:gd name="connsiteX1143" fmla="*/ 5594 w 10785"/>
                <a:gd name="connsiteY1143" fmla="*/ 1991 h 10000"/>
                <a:gd name="connsiteX1144" fmla="*/ 5571 w 10785"/>
                <a:gd name="connsiteY1144" fmla="*/ 2000 h 10000"/>
                <a:gd name="connsiteX1145" fmla="*/ 5530 w 10785"/>
                <a:gd name="connsiteY1145" fmla="*/ 1991 h 10000"/>
                <a:gd name="connsiteX1146" fmla="*/ 5525 w 10785"/>
                <a:gd name="connsiteY1146" fmla="*/ 2000 h 10000"/>
                <a:gd name="connsiteX1147" fmla="*/ 5521 w 10785"/>
                <a:gd name="connsiteY1147" fmla="*/ 1991 h 10000"/>
                <a:gd name="connsiteX1148" fmla="*/ 5498 w 10785"/>
                <a:gd name="connsiteY1148" fmla="*/ 1949 h 10000"/>
                <a:gd name="connsiteX1149" fmla="*/ 5493 w 10785"/>
                <a:gd name="connsiteY1149" fmla="*/ 1889 h 10000"/>
                <a:gd name="connsiteX1150" fmla="*/ 5493 w 10785"/>
                <a:gd name="connsiteY1150" fmla="*/ 1863 h 10000"/>
                <a:gd name="connsiteX1151" fmla="*/ 5498 w 10785"/>
                <a:gd name="connsiteY1151" fmla="*/ 1889 h 10000"/>
                <a:gd name="connsiteX1152" fmla="*/ 5512 w 10785"/>
                <a:gd name="connsiteY1152" fmla="*/ 1855 h 10000"/>
                <a:gd name="connsiteX1153" fmla="*/ 5512 w 10785"/>
                <a:gd name="connsiteY1153" fmla="*/ 1838 h 10000"/>
                <a:gd name="connsiteX1154" fmla="*/ 5479 w 10785"/>
                <a:gd name="connsiteY1154" fmla="*/ 1855 h 10000"/>
                <a:gd name="connsiteX1155" fmla="*/ 5470 w 10785"/>
                <a:gd name="connsiteY1155" fmla="*/ 1872 h 10000"/>
                <a:gd name="connsiteX1156" fmla="*/ 5470 w 10785"/>
                <a:gd name="connsiteY1156" fmla="*/ 1889 h 10000"/>
                <a:gd name="connsiteX1157" fmla="*/ 5465 w 10785"/>
                <a:gd name="connsiteY1157" fmla="*/ 1897 h 10000"/>
                <a:gd name="connsiteX1158" fmla="*/ 5456 w 10785"/>
                <a:gd name="connsiteY1158" fmla="*/ 1872 h 10000"/>
                <a:gd name="connsiteX1159" fmla="*/ 5447 w 10785"/>
                <a:gd name="connsiteY1159" fmla="*/ 1872 h 10000"/>
                <a:gd name="connsiteX1160" fmla="*/ 5433 w 10785"/>
                <a:gd name="connsiteY1160" fmla="*/ 1855 h 10000"/>
                <a:gd name="connsiteX1161" fmla="*/ 5396 w 10785"/>
                <a:gd name="connsiteY1161" fmla="*/ 1863 h 10000"/>
                <a:gd name="connsiteX1162" fmla="*/ 5396 w 10785"/>
                <a:gd name="connsiteY1162" fmla="*/ 1897 h 10000"/>
                <a:gd name="connsiteX1163" fmla="*/ 5378 w 10785"/>
                <a:gd name="connsiteY1163" fmla="*/ 1949 h 10000"/>
                <a:gd name="connsiteX1164" fmla="*/ 5378 w 10785"/>
                <a:gd name="connsiteY1164" fmla="*/ 1966 h 10000"/>
                <a:gd name="connsiteX1165" fmla="*/ 5392 w 10785"/>
                <a:gd name="connsiteY1165" fmla="*/ 2026 h 10000"/>
                <a:gd name="connsiteX1166" fmla="*/ 5396 w 10785"/>
                <a:gd name="connsiteY1166" fmla="*/ 2026 h 10000"/>
                <a:gd name="connsiteX1167" fmla="*/ 5392 w 10785"/>
                <a:gd name="connsiteY1167" fmla="*/ 2009 h 10000"/>
                <a:gd name="connsiteX1168" fmla="*/ 5392 w 10785"/>
                <a:gd name="connsiteY1168" fmla="*/ 2000 h 10000"/>
                <a:gd name="connsiteX1169" fmla="*/ 5396 w 10785"/>
                <a:gd name="connsiteY1169" fmla="*/ 2009 h 10000"/>
                <a:gd name="connsiteX1170" fmla="*/ 5424 w 10785"/>
                <a:gd name="connsiteY1170" fmla="*/ 2009 h 10000"/>
                <a:gd name="connsiteX1171" fmla="*/ 5433 w 10785"/>
                <a:gd name="connsiteY1171" fmla="*/ 1991 h 10000"/>
                <a:gd name="connsiteX1172" fmla="*/ 5447 w 10785"/>
                <a:gd name="connsiteY1172" fmla="*/ 1974 h 10000"/>
                <a:gd name="connsiteX1173" fmla="*/ 5452 w 10785"/>
                <a:gd name="connsiteY1173" fmla="*/ 1966 h 10000"/>
                <a:gd name="connsiteX1174" fmla="*/ 5456 w 10785"/>
                <a:gd name="connsiteY1174" fmla="*/ 1966 h 10000"/>
                <a:gd name="connsiteX1175" fmla="*/ 5465 w 10785"/>
                <a:gd name="connsiteY1175" fmla="*/ 2009 h 10000"/>
                <a:gd name="connsiteX1176" fmla="*/ 5433 w 10785"/>
                <a:gd name="connsiteY1176" fmla="*/ 2034 h 10000"/>
                <a:gd name="connsiteX1177" fmla="*/ 5424 w 10785"/>
                <a:gd name="connsiteY1177" fmla="*/ 2060 h 10000"/>
                <a:gd name="connsiteX1178" fmla="*/ 5419 w 10785"/>
                <a:gd name="connsiteY1178" fmla="*/ 2060 h 10000"/>
                <a:gd name="connsiteX1179" fmla="*/ 5392 w 10785"/>
                <a:gd name="connsiteY1179" fmla="*/ 2111 h 10000"/>
                <a:gd name="connsiteX1180" fmla="*/ 5378 w 10785"/>
                <a:gd name="connsiteY1180" fmla="*/ 2111 h 10000"/>
                <a:gd name="connsiteX1181" fmla="*/ 5350 w 10785"/>
                <a:gd name="connsiteY1181" fmla="*/ 2060 h 10000"/>
                <a:gd name="connsiteX1182" fmla="*/ 5373 w 10785"/>
                <a:gd name="connsiteY1182" fmla="*/ 2111 h 10000"/>
                <a:gd name="connsiteX1183" fmla="*/ 5364 w 10785"/>
                <a:gd name="connsiteY1183" fmla="*/ 2111 h 10000"/>
                <a:gd name="connsiteX1184" fmla="*/ 5359 w 10785"/>
                <a:gd name="connsiteY1184" fmla="*/ 2103 h 10000"/>
                <a:gd name="connsiteX1185" fmla="*/ 5359 w 10785"/>
                <a:gd name="connsiteY1185" fmla="*/ 2120 h 10000"/>
                <a:gd name="connsiteX1186" fmla="*/ 5359 w 10785"/>
                <a:gd name="connsiteY1186" fmla="*/ 2137 h 10000"/>
                <a:gd name="connsiteX1187" fmla="*/ 5313 w 10785"/>
                <a:gd name="connsiteY1187" fmla="*/ 2162 h 10000"/>
                <a:gd name="connsiteX1188" fmla="*/ 5300 w 10785"/>
                <a:gd name="connsiteY1188" fmla="*/ 2162 h 10000"/>
                <a:gd name="connsiteX1189" fmla="*/ 5300 w 10785"/>
                <a:gd name="connsiteY1189" fmla="*/ 2171 h 10000"/>
                <a:gd name="connsiteX1190" fmla="*/ 5300 w 10785"/>
                <a:gd name="connsiteY1190" fmla="*/ 2197 h 10000"/>
                <a:gd name="connsiteX1191" fmla="*/ 5276 w 10785"/>
                <a:gd name="connsiteY1191" fmla="*/ 2188 h 10000"/>
                <a:gd name="connsiteX1192" fmla="*/ 5249 w 10785"/>
                <a:gd name="connsiteY1192" fmla="*/ 2222 h 10000"/>
                <a:gd name="connsiteX1193" fmla="*/ 5249 w 10785"/>
                <a:gd name="connsiteY1193" fmla="*/ 2222 h 10000"/>
                <a:gd name="connsiteX1194" fmla="*/ 5217 w 10785"/>
                <a:gd name="connsiteY1194" fmla="*/ 2214 h 10000"/>
                <a:gd name="connsiteX1195" fmla="*/ 5203 w 10785"/>
                <a:gd name="connsiteY1195" fmla="*/ 2239 h 10000"/>
                <a:gd name="connsiteX1196" fmla="*/ 5171 w 10785"/>
                <a:gd name="connsiteY1196" fmla="*/ 2214 h 10000"/>
                <a:gd name="connsiteX1197" fmla="*/ 5157 w 10785"/>
                <a:gd name="connsiteY1197" fmla="*/ 2239 h 10000"/>
                <a:gd name="connsiteX1198" fmla="*/ 5166 w 10785"/>
                <a:gd name="connsiteY1198" fmla="*/ 2256 h 10000"/>
                <a:gd name="connsiteX1199" fmla="*/ 5171 w 10785"/>
                <a:gd name="connsiteY1199" fmla="*/ 2308 h 10000"/>
                <a:gd name="connsiteX1200" fmla="*/ 5212 w 10785"/>
                <a:gd name="connsiteY1200" fmla="*/ 2350 h 10000"/>
                <a:gd name="connsiteX1201" fmla="*/ 5203 w 10785"/>
                <a:gd name="connsiteY1201" fmla="*/ 2350 h 10000"/>
                <a:gd name="connsiteX1202" fmla="*/ 5166 w 10785"/>
                <a:gd name="connsiteY1202" fmla="*/ 2325 h 10000"/>
                <a:gd name="connsiteX1203" fmla="*/ 5152 w 10785"/>
                <a:gd name="connsiteY1203" fmla="*/ 2308 h 10000"/>
                <a:gd name="connsiteX1204" fmla="*/ 5143 w 10785"/>
                <a:gd name="connsiteY1204" fmla="*/ 2333 h 10000"/>
                <a:gd name="connsiteX1205" fmla="*/ 5138 w 10785"/>
                <a:gd name="connsiteY1205" fmla="*/ 2333 h 10000"/>
                <a:gd name="connsiteX1206" fmla="*/ 5124 w 10785"/>
                <a:gd name="connsiteY1206" fmla="*/ 2376 h 10000"/>
                <a:gd name="connsiteX1207" fmla="*/ 5115 w 10785"/>
                <a:gd name="connsiteY1207" fmla="*/ 2385 h 10000"/>
                <a:gd name="connsiteX1208" fmla="*/ 5106 w 10785"/>
                <a:gd name="connsiteY1208" fmla="*/ 2385 h 10000"/>
                <a:gd name="connsiteX1209" fmla="*/ 5055 w 10785"/>
                <a:gd name="connsiteY1209" fmla="*/ 2470 h 10000"/>
                <a:gd name="connsiteX1210" fmla="*/ 5065 w 10785"/>
                <a:gd name="connsiteY1210" fmla="*/ 2462 h 10000"/>
                <a:gd name="connsiteX1211" fmla="*/ 5055 w 10785"/>
                <a:gd name="connsiteY1211" fmla="*/ 2444 h 10000"/>
                <a:gd name="connsiteX1212" fmla="*/ 5041 w 10785"/>
                <a:gd name="connsiteY1212" fmla="*/ 2462 h 10000"/>
                <a:gd name="connsiteX1213" fmla="*/ 5037 w 10785"/>
                <a:gd name="connsiteY1213" fmla="*/ 2470 h 10000"/>
                <a:gd name="connsiteX1214" fmla="*/ 5032 w 10785"/>
                <a:gd name="connsiteY1214" fmla="*/ 2470 h 10000"/>
                <a:gd name="connsiteX1215" fmla="*/ 5032 w 10785"/>
                <a:gd name="connsiteY1215" fmla="*/ 2444 h 10000"/>
                <a:gd name="connsiteX1216" fmla="*/ 5055 w 10785"/>
                <a:gd name="connsiteY1216" fmla="*/ 2410 h 10000"/>
                <a:gd name="connsiteX1217" fmla="*/ 5065 w 10785"/>
                <a:gd name="connsiteY1217" fmla="*/ 2393 h 10000"/>
                <a:gd name="connsiteX1218" fmla="*/ 5069 w 10785"/>
                <a:gd name="connsiteY1218" fmla="*/ 2385 h 10000"/>
                <a:gd name="connsiteX1219" fmla="*/ 5083 w 10785"/>
                <a:gd name="connsiteY1219" fmla="*/ 2376 h 10000"/>
                <a:gd name="connsiteX1220" fmla="*/ 5097 w 10785"/>
                <a:gd name="connsiteY1220" fmla="*/ 2376 h 10000"/>
                <a:gd name="connsiteX1221" fmla="*/ 5124 w 10785"/>
                <a:gd name="connsiteY1221" fmla="*/ 2325 h 10000"/>
                <a:gd name="connsiteX1222" fmla="*/ 5143 w 10785"/>
                <a:gd name="connsiteY1222" fmla="*/ 2248 h 10000"/>
                <a:gd name="connsiteX1223" fmla="*/ 5152 w 10785"/>
                <a:gd name="connsiteY1223" fmla="*/ 2239 h 10000"/>
                <a:gd name="connsiteX1224" fmla="*/ 5166 w 10785"/>
                <a:gd name="connsiteY1224" fmla="*/ 2162 h 10000"/>
                <a:gd name="connsiteX1225" fmla="*/ 5171 w 10785"/>
                <a:gd name="connsiteY1225" fmla="*/ 2171 h 10000"/>
                <a:gd name="connsiteX1226" fmla="*/ 5198 w 10785"/>
                <a:gd name="connsiteY1226" fmla="*/ 2145 h 10000"/>
                <a:gd name="connsiteX1227" fmla="*/ 5203 w 10785"/>
                <a:gd name="connsiteY1227" fmla="*/ 2111 h 10000"/>
                <a:gd name="connsiteX1228" fmla="*/ 5217 w 10785"/>
                <a:gd name="connsiteY1228" fmla="*/ 2060 h 10000"/>
                <a:gd name="connsiteX1229" fmla="*/ 5226 w 10785"/>
                <a:gd name="connsiteY1229" fmla="*/ 2026 h 10000"/>
                <a:gd name="connsiteX1230" fmla="*/ 5286 w 10785"/>
                <a:gd name="connsiteY1230" fmla="*/ 2026 h 10000"/>
                <a:gd name="connsiteX1231" fmla="*/ 5290 w 10785"/>
                <a:gd name="connsiteY1231" fmla="*/ 2034 h 10000"/>
                <a:gd name="connsiteX1232" fmla="*/ 5323 w 10785"/>
                <a:gd name="connsiteY1232" fmla="*/ 1923 h 10000"/>
                <a:gd name="connsiteX1233" fmla="*/ 5323 w 10785"/>
                <a:gd name="connsiteY1233" fmla="*/ 1889 h 10000"/>
                <a:gd name="connsiteX1234" fmla="*/ 5359 w 10785"/>
                <a:gd name="connsiteY1234" fmla="*/ 1829 h 10000"/>
                <a:gd name="connsiteX1235" fmla="*/ 5378 w 10785"/>
                <a:gd name="connsiteY1235" fmla="*/ 1812 h 10000"/>
                <a:gd name="connsiteX1236" fmla="*/ 5406 w 10785"/>
                <a:gd name="connsiteY1236" fmla="*/ 1752 h 10000"/>
                <a:gd name="connsiteX1237" fmla="*/ 5410 w 10785"/>
                <a:gd name="connsiteY1237" fmla="*/ 1718 h 10000"/>
                <a:gd name="connsiteX1238" fmla="*/ 5438 w 10785"/>
                <a:gd name="connsiteY1238" fmla="*/ 1667 h 10000"/>
                <a:gd name="connsiteX1239" fmla="*/ 5438 w 10785"/>
                <a:gd name="connsiteY1239" fmla="*/ 1650 h 10000"/>
                <a:gd name="connsiteX1240" fmla="*/ 5438 w 10785"/>
                <a:gd name="connsiteY1240" fmla="*/ 1641 h 10000"/>
                <a:gd name="connsiteX1241" fmla="*/ 5452 w 10785"/>
                <a:gd name="connsiteY1241" fmla="*/ 1641 h 10000"/>
                <a:gd name="connsiteX1242" fmla="*/ 5456 w 10785"/>
                <a:gd name="connsiteY1242" fmla="*/ 1615 h 10000"/>
                <a:gd name="connsiteX1243" fmla="*/ 5456 w 10785"/>
                <a:gd name="connsiteY1243" fmla="*/ 1615 h 10000"/>
                <a:gd name="connsiteX1244" fmla="*/ 5465 w 10785"/>
                <a:gd name="connsiteY1244" fmla="*/ 1598 h 10000"/>
                <a:gd name="connsiteX1245" fmla="*/ 5465 w 10785"/>
                <a:gd name="connsiteY1245" fmla="*/ 1615 h 10000"/>
                <a:gd name="connsiteX1246" fmla="*/ 5479 w 10785"/>
                <a:gd name="connsiteY1246" fmla="*/ 1598 h 10000"/>
                <a:gd name="connsiteX1247" fmla="*/ 5484 w 10785"/>
                <a:gd name="connsiteY1247" fmla="*/ 1581 h 10000"/>
                <a:gd name="connsiteX1248" fmla="*/ 5493 w 10785"/>
                <a:gd name="connsiteY1248" fmla="*/ 1581 h 10000"/>
                <a:gd name="connsiteX1249" fmla="*/ 5512 w 10785"/>
                <a:gd name="connsiteY1249" fmla="*/ 1538 h 10000"/>
                <a:gd name="connsiteX1250" fmla="*/ 5530 w 10785"/>
                <a:gd name="connsiteY1250" fmla="*/ 1564 h 10000"/>
                <a:gd name="connsiteX1251" fmla="*/ 5530 w 10785"/>
                <a:gd name="connsiteY1251" fmla="*/ 1538 h 10000"/>
                <a:gd name="connsiteX1252" fmla="*/ 5539 w 10785"/>
                <a:gd name="connsiteY1252" fmla="*/ 1530 h 10000"/>
                <a:gd name="connsiteX1253" fmla="*/ 5530 w 10785"/>
                <a:gd name="connsiteY1253" fmla="*/ 1504 h 10000"/>
                <a:gd name="connsiteX1254" fmla="*/ 5567 w 10785"/>
                <a:gd name="connsiteY1254" fmla="*/ 1479 h 10000"/>
                <a:gd name="connsiteX1255" fmla="*/ 5553 w 10785"/>
                <a:gd name="connsiteY1255" fmla="*/ 1479 h 10000"/>
                <a:gd name="connsiteX1256" fmla="*/ 5553 w 10785"/>
                <a:gd name="connsiteY1256" fmla="*/ 1453 h 10000"/>
                <a:gd name="connsiteX1257" fmla="*/ 5581 w 10785"/>
                <a:gd name="connsiteY1257" fmla="*/ 1444 h 10000"/>
                <a:gd name="connsiteX1258" fmla="*/ 5581 w 10785"/>
                <a:gd name="connsiteY1258" fmla="*/ 1453 h 10000"/>
                <a:gd name="connsiteX1259" fmla="*/ 5585 w 10785"/>
                <a:gd name="connsiteY1259" fmla="*/ 1444 h 10000"/>
                <a:gd name="connsiteX1260" fmla="*/ 5594 w 10785"/>
                <a:gd name="connsiteY1260" fmla="*/ 1427 h 10000"/>
                <a:gd name="connsiteX1261" fmla="*/ 5599 w 10785"/>
                <a:gd name="connsiteY1261" fmla="*/ 1419 h 10000"/>
                <a:gd name="connsiteX1262" fmla="*/ 5594 w 10785"/>
                <a:gd name="connsiteY1262" fmla="*/ 1402 h 10000"/>
                <a:gd name="connsiteX1263" fmla="*/ 5604 w 10785"/>
                <a:gd name="connsiteY1263" fmla="*/ 1393 h 10000"/>
                <a:gd name="connsiteX1264" fmla="*/ 5618 w 10785"/>
                <a:gd name="connsiteY1264" fmla="*/ 1393 h 10000"/>
                <a:gd name="connsiteX1265" fmla="*/ 5627 w 10785"/>
                <a:gd name="connsiteY1265" fmla="*/ 1368 h 10000"/>
                <a:gd name="connsiteX1266" fmla="*/ 5627 w 10785"/>
                <a:gd name="connsiteY1266" fmla="*/ 1325 h 10000"/>
                <a:gd name="connsiteX1267" fmla="*/ 5645 w 10785"/>
                <a:gd name="connsiteY1267" fmla="*/ 1291 h 10000"/>
                <a:gd name="connsiteX1268" fmla="*/ 5645 w 10785"/>
                <a:gd name="connsiteY1268" fmla="*/ 1282 h 10000"/>
                <a:gd name="connsiteX1269" fmla="*/ 5654 w 10785"/>
                <a:gd name="connsiteY1269" fmla="*/ 1265 h 10000"/>
                <a:gd name="connsiteX1270" fmla="*/ 5654 w 10785"/>
                <a:gd name="connsiteY1270" fmla="*/ 1214 h 10000"/>
                <a:gd name="connsiteX1271" fmla="*/ 5654 w 10785"/>
                <a:gd name="connsiteY1271" fmla="*/ 1214 h 10000"/>
                <a:gd name="connsiteX1272" fmla="*/ 5645 w 10785"/>
                <a:gd name="connsiteY1272" fmla="*/ 1197 h 10000"/>
                <a:gd name="connsiteX1273" fmla="*/ 5659 w 10785"/>
                <a:gd name="connsiteY1273" fmla="*/ 1197 h 10000"/>
                <a:gd name="connsiteX1274" fmla="*/ 5654 w 10785"/>
                <a:gd name="connsiteY1274" fmla="*/ 1154 h 10000"/>
                <a:gd name="connsiteX1275" fmla="*/ 5641 w 10785"/>
                <a:gd name="connsiteY1275" fmla="*/ 1154 h 10000"/>
                <a:gd name="connsiteX1276" fmla="*/ 5627 w 10785"/>
                <a:gd name="connsiteY1276" fmla="*/ 1128 h 10000"/>
                <a:gd name="connsiteX1277" fmla="*/ 5618 w 10785"/>
                <a:gd name="connsiteY1277" fmla="*/ 1094 h 10000"/>
                <a:gd name="connsiteX1278" fmla="*/ 5613 w 10785"/>
                <a:gd name="connsiteY1278" fmla="*/ 1094 h 10000"/>
                <a:gd name="connsiteX1279" fmla="*/ 5604 w 10785"/>
                <a:gd name="connsiteY1279" fmla="*/ 1120 h 10000"/>
                <a:gd name="connsiteX1280" fmla="*/ 5604 w 10785"/>
                <a:gd name="connsiteY1280" fmla="*/ 1128 h 10000"/>
                <a:gd name="connsiteX1281" fmla="*/ 5599 w 10785"/>
                <a:gd name="connsiteY1281" fmla="*/ 1103 h 10000"/>
                <a:gd name="connsiteX1282" fmla="*/ 5599 w 10785"/>
                <a:gd name="connsiteY1282" fmla="*/ 1103 h 10000"/>
                <a:gd name="connsiteX1283" fmla="*/ 5594 w 10785"/>
                <a:gd name="connsiteY1283" fmla="*/ 1068 h 10000"/>
                <a:gd name="connsiteX1284" fmla="*/ 5594 w 10785"/>
                <a:gd name="connsiteY1284" fmla="*/ 1060 h 10000"/>
                <a:gd name="connsiteX1285" fmla="*/ 5581 w 10785"/>
                <a:gd name="connsiteY1285" fmla="*/ 1034 h 10000"/>
                <a:gd name="connsiteX1286" fmla="*/ 5571 w 10785"/>
                <a:gd name="connsiteY1286" fmla="*/ 1009 h 10000"/>
                <a:gd name="connsiteX1287" fmla="*/ 5571 w 10785"/>
                <a:gd name="connsiteY1287" fmla="*/ 991 h 10000"/>
                <a:gd name="connsiteX1288" fmla="*/ 5585 w 10785"/>
                <a:gd name="connsiteY1288" fmla="*/ 1009 h 10000"/>
                <a:gd name="connsiteX1289" fmla="*/ 5604 w 10785"/>
                <a:gd name="connsiteY1289" fmla="*/ 1043 h 10000"/>
                <a:gd name="connsiteX1290" fmla="*/ 5641 w 10785"/>
                <a:gd name="connsiteY1290" fmla="*/ 1094 h 10000"/>
                <a:gd name="connsiteX1291" fmla="*/ 5631 w 10785"/>
                <a:gd name="connsiteY1291" fmla="*/ 1128 h 10000"/>
                <a:gd name="connsiteX1292" fmla="*/ 5641 w 10785"/>
                <a:gd name="connsiteY1292" fmla="*/ 1128 h 10000"/>
                <a:gd name="connsiteX1293" fmla="*/ 5659 w 10785"/>
                <a:gd name="connsiteY1293" fmla="*/ 1017 h 10000"/>
                <a:gd name="connsiteX1294" fmla="*/ 5659 w 10785"/>
                <a:gd name="connsiteY1294" fmla="*/ 983 h 10000"/>
                <a:gd name="connsiteX1295" fmla="*/ 5659 w 10785"/>
                <a:gd name="connsiteY1295" fmla="*/ 957 h 10000"/>
                <a:gd name="connsiteX1296" fmla="*/ 5654 w 10785"/>
                <a:gd name="connsiteY1296" fmla="*/ 966 h 10000"/>
                <a:gd name="connsiteX1297" fmla="*/ 5641 w 10785"/>
                <a:gd name="connsiteY1297" fmla="*/ 957 h 10000"/>
                <a:gd name="connsiteX1298" fmla="*/ 5631 w 10785"/>
                <a:gd name="connsiteY1298" fmla="*/ 897 h 10000"/>
                <a:gd name="connsiteX1299" fmla="*/ 5641 w 10785"/>
                <a:gd name="connsiteY1299" fmla="*/ 872 h 10000"/>
                <a:gd name="connsiteX1300" fmla="*/ 5618 w 10785"/>
                <a:gd name="connsiteY1300" fmla="*/ 803 h 10000"/>
                <a:gd name="connsiteX1301" fmla="*/ 5604 w 10785"/>
                <a:gd name="connsiteY1301" fmla="*/ 821 h 10000"/>
                <a:gd name="connsiteX1302" fmla="*/ 5613 w 10785"/>
                <a:gd name="connsiteY1302" fmla="*/ 846 h 10000"/>
                <a:gd name="connsiteX1303" fmla="*/ 5604 w 10785"/>
                <a:gd name="connsiteY1303" fmla="*/ 855 h 10000"/>
                <a:gd name="connsiteX1304" fmla="*/ 5599 w 10785"/>
                <a:gd name="connsiteY1304" fmla="*/ 880 h 10000"/>
                <a:gd name="connsiteX1305" fmla="*/ 5594 w 10785"/>
                <a:gd name="connsiteY1305" fmla="*/ 880 h 10000"/>
                <a:gd name="connsiteX1306" fmla="*/ 5585 w 10785"/>
                <a:gd name="connsiteY1306" fmla="*/ 829 h 10000"/>
                <a:gd name="connsiteX1307" fmla="*/ 5571 w 10785"/>
                <a:gd name="connsiteY1307" fmla="*/ 803 h 10000"/>
                <a:gd name="connsiteX1308" fmla="*/ 5585 w 10785"/>
                <a:gd name="connsiteY1308" fmla="*/ 795 h 10000"/>
                <a:gd name="connsiteX1309" fmla="*/ 5585 w 10785"/>
                <a:gd name="connsiteY1309" fmla="*/ 761 h 10000"/>
                <a:gd name="connsiteX1310" fmla="*/ 5558 w 10785"/>
                <a:gd name="connsiteY1310" fmla="*/ 709 h 10000"/>
                <a:gd name="connsiteX1311" fmla="*/ 5544 w 10785"/>
                <a:gd name="connsiteY1311" fmla="*/ 709 h 10000"/>
                <a:gd name="connsiteX1312" fmla="*/ 5544 w 10785"/>
                <a:gd name="connsiteY1312" fmla="*/ 684 h 10000"/>
                <a:gd name="connsiteX1313" fmla="*/ 5525 w 10785"/>
                <a:gd name="connsiteY1313" fmla="*/ 632 h 10000"/>
                <a:gd name="connsiteX1314" fmla="*/ 5507 w 10785"/>
                <a:gd name="connsiteY1314" fmla="*/ 607 h 10000"/>
                <a:gd name="connsiteX1315" fmla="*/ 5512 w 10785"/>
                <a:gd name="connsiteY1315" fmla="*/ 598 h 10000"/>
                <a:gd name="connsiteX1316" fmla="*/ 5507 w 10785"/>
                <a:gd name="connsiteY1316" fmla="*/ 581 h 10000"/>
                <a:gd name="connsiteX1317" fmla="*/ 5493 w 10785"/>
                <a:gd name="connsiteY1317" fmla="*/ 573 h 10000"/>
                <a:gd name="connsiteX1318" fmla="*/ 5484 w 10785"/>
                <a:gd name="connsiteY1318" fmla="*/ 581 h 10000"/>
                <a:gd name="connsiteX1319" fmla="*/ 5484 w 10785"/>
                <a:gd name="connsiteY1319" fmla="*/ 573 h 10000"/>
                <a:gd name="connsiteX1320" fmla="*/ 5484 w 10785"/>
                <a:gd name="connsiteY1320" fmla="*/ 547 h 10000"/>
                <a:gd name="connsiteX1321" fmla="*/ 5465 w 10785"/>
                <a:gd name="connsiteY1321" fmla="*/ 556 h 10000"/>
                <a:gd name="connsiteX1322" fmla="*/ 5433 w 10785"/>
                <a:gd name="connsiteY1322" fmla="*/ 547 h 10000"/>
                <a:gd name="connsiteX1323" fmla="*/ 5410 w 10785"/>
                <a:gd name="connsiteY1323" fmla="*/ 573 h 10000"/>
                <a:gd name="connsiteX1324" fmla="*/ 5406 w 10785"/>
                <a:gd name="connsiteY1324" fmla="*/ 573 h 10000"/>
                <a:gd name="connsiteX1325" fmla="*/ 5392 w 10785"/>
                <a:gd name="connsiteY1325" fmla="*/ 573 h 10000"/>
                <a:gd name="connsiteX1326" fmla="*/ 5364 w 10785"/>
                <a:gd name="connsiteY1326" fmla="*/ 530 h 10000"/>
                <a:gd name="connsiteX1327" fmla="*/ 5350 w 10785"/>
                <a:gd name="connsiteY1327" fmla="*/ 556 h 10000"/>
                <a:gd name="connsiteX1328" fmla="*/ 5346 w 10785"/>
                <a:gd name="connsiteY1328" fmla="*/ 556 h 10000"/>
                <a:gd name="connsiteX1329" fmla="*/ 5313 w 10785"/>
                <a:gd name="connsiteY1329" fmla="*/ 573 h 10000"/>
                <a:gd name="connsiteX1330" fmla="*/ 5304 w 10785"/>
                <a:gd name="connsiteY1330" fmla="*/ 556 h 10000"/>
                <a:gd name="connsiteX1331" fmla="*/ 5290 w 10785"/>
                <a:gd name="connsiteY1331" fmla="*/ 573 h 10000"/>
                <a:gd name="connsiteX1332" fmla="*/ 5290 w 10785"/>
                <a:gd name="connsiteY1332" fmla="*/ 556 h 10000"/>
                <a:gd name="connsiteX1333" fmla="*/ 5300 w 10785"/>
                <a:gd name="connsiteY1333" fmla="*/ 547 h 10000"/>
                <a:gd name="connsiteX1334" fmla="*/ 5300 w 10785"/>
                <a:gd name="connsiteY1334" fmla="*/ 530 h 10000"/>
                <a:gd name="connsiteX1335" fmla="*/ 5290 w 10785"/>
                <a:gd name="connsiteY1335" fmla="*/ 530 h 10000"/>
                <a:gd name="connsiteX1336" fmla="*/ 5286 w 10785"/>
                <a:gd name="connsiteY1336" fmla="*/ 547 h 10000"/>
                <a:gd name="connsiteX1337" fmla="*/ 5272 w 10785"/>
                <a:gd name="connsiteY1337" fmla="*/ 556 h 10000"/>
                <a:gd name="connsiteX1338" fmla="*/ 5272 w 10785"/>
                <a:gd name="connsiteY1338" fmla="*/ 598 h 10000"/>
                <a:gd name="connsiteX1339" fmla="*/ 5276 w 10785"/>
                <a:gd name="connsiteY1339" fmla="*/ 581 h 10000"/>
                <a:gd name="connsiteX1340" fmla="*/ 5272 w 10785"/>
                <a:gd name="connsiteY1340" fmla="*/ 607 h 10000"/>
                <a:gd name="connsiteX1341" fmla="*/ 5263 w 10785"/>
                <a:gd name="connsiteY1341" fmla="*/ 607 h 10000"/>
                <a:gd name="connsiteX1342" fmla="*/ 5263 w 10785"/>
                <a:gd name="connsiteY1342" fmla="*/ 632 h 10000"/>
                <a:gd name="connsiteX1343" fmla="*/ 5258 w 10785"/>
                <a:gd name="connsiteY1343" fmla="*/ 658 h 10000"/>
                <a:gd name="connsiteX1344" fmla="*/ 5244 w 10785"/>
                <a:gd name="connsiteY1344" fmla="*/ 667 h 10000"/>
                <a:gd name="connsiteX1345" fmla="*/ 5240 w 10785"/>
                <a:gd name="connsiteY1345" fmla="*/ 658 h 10000"/>
                <a:gd name="connsiteX1346" fmla="*/ 5240 w 10785"/>
                <a:gd name="connsiteY1346" fmla="*/ 684 h 10000"/>
                <a:gd name="connsiteX1347" fmla="*/ 5212 w 10785"/>
                <a:gd name="connsiteY1347" fmla="*/ 684 h 10000"/>
                <a:gd name="connsiteX1348" fmla="*/ 5198 w 10785"/>
                <a:gd name="connsiteY1348" fmla="*/ 692 h 10000"/>
                <a:gd name="connsiteX1349" fmla="*/ 5184 w 10785"/>
                <a:gd name="connsiteY1349" fmla="*/ 684 h 10000"/>
                <a:gd name="connsiteX1350" fmla="*/ 5157 w 10785"/>
                <a:gd name="connsiteY1350" fmla="*/ 684 h 10000"/>
                <a:gd name="connsiteX1351" fmla="*/ 5157 w 10785"/>
                <a:gd name="connsiteY1351" fmla="*/ 667 h 10000"/>
                <a:gd name="connsiteX1352" fmla="*/ 5157 w 10785"/>
                <a:gd name="connsiteY1352" fmla="*/ 667 h 10000"/>
                <a:gd name="connsiteX1353" fmla="*/ 5180 w 10785"/>
                <a:gd name="connsiteY1353" fmla="*/ 650 h 10000"/>
                <a:gd name="connsiteX1354" fmla="*/ 5184 w 10785"/>
                <a:gd name="connsiteY1354" fmla="*/ 658 h 10000"/>
                <a:gd name="connsiteX1355" fmla="*/ 5203 w 10785"/>
                <a:gd name="connsiteY1355" fmla="*/ 547 h 10000"/>
                <a:gd name="connsiteX1356" fmla="*/ 5226 w 10785"/>
                <a:gd name="connsiteY1356" fmla="*/ 530 h 10000"/>
                <a:gd name="connsiteX1357" fmla="*/ 5230 w 10785"/>
                <a:gd name="connsiteY1357" fmla="*/ 487 h 10000"/>
                <a:gd name="connsiteX1358" fmla="*/ 5230 w 10785"/>
                <a:gd name="connsiteY1358" fmla="*/ 487 h 10000"/>
                <a:gd name="connsiteX1359" fmla="*/ 5226 w 10785"/>
                <a:gd name="connsiteY1359" fmla="*/ 462 h 10000"/>
                <a:gd name="connsiteX1360" fmla="*/ 5226 w 10785"/>
                <a:gd name="connsiteY1360" fmla="*/ 462 h 10000"/>
                <a:gd name="connsiteX1361" fmla="*/ 5240 w 10785"/>
                <a:gd name="connsiteY1361" fmla="*/ 462 h 10000"/>
                <a:gd name="connsiteX1362" fmla="*/ 5240 w 10785"/>
                <a:gd name="connsiteY1362" fmla="*/ 444 h 10000"/>
                <a:gd name="connsiteX1363" fmla="*/ 5230 w 10785"/>
                <a:gd name="connsiteY1363" fmla="*/ 436 h 10000"/>
                <a:gd name="connsiteX1364" fmla="*/ 5230 w 10785"/>
                <a:gd name="connsiteY1364" fmla="*/ 419 h 10000"/>
                <a:gd name="connsiteX1365" fmla="*/ 5230 w 10785"/>
                <a:gd name="connsiteY1365" fmla="*/ 410 h 10000"/>
                <a:gd name="connsiteX1366" fmla="*/ 5198 w 10785"/>
                <a:gd name="connsiteY1366" fmla="*/ 402 h 10000"/>
                <a:gd name="connsiteX1367" fmla="*/ 5189 w 10785"/>
                <a:gd name="connsiteY1367" fmla="*/ 402 h 10000"/>
                <a:gd name="connsiteX1368" fmla="*/ 5184 w 10785"/>
                <a:gd name="connsiteY1368" fmla="*/ 376 h 10000"/>
                <a:gd name="connsiteX1369" fmla="*/ 5180 w 10785"/>
                <a:gd name="connsiteY1369" fmla="*/ 376 h 10000"/>
                <a:gd name="connsiteX1370" fmla="*/ 5166 w 10785"/>
                <a:gd name="connsiteY1370" fmla="*/ 376 h 10000"/>
                <a:gd name="connsiteX1371" fmla="*/ 5157 w 10785"/>
                <a:gd name="connsiteY1371" fmla="*/ 385 h 10000"/>
                <a:gd name="connsiteX1372" fmla="*/ 5152 w 10785"/>
                <a:gd name="connsiteY1372" fmla="*/ 376 h 10000"/>
                <a:gd name="connsiteX1373" fmla="*/ 5129 w 10785"/>
                <a:gd name="connsiteY1373" fmla="*/ 385 h 10000"/>
                <a:gd name="connsiteX1374" fmla="*/ 5129 w 10785"/>
                <a:gd name="connsiteY1374" fmla="*/ 350 h 10000"/>
                <a:gd name="connsiteX1375" fmla="*/ 5129 w 10785"/>
                <a:gd name="connsiteY1375" fmla="*/ 325 h 10000"/>
                <a:gd name="connsiteX1376" fmla="*/ 5124 w 10785"/>
                <a:gd name="connsiteY1376" fmla="*/ 359 h 10000"/>
                <a:gd name="connsiteX1377" fmla="*/ 5106 w 10785"/>
                <a:gd name="connsiteY1377" fmla="*/ 359 h 10000"/>
                <a:gd name="connsiteX1378" fmla="*/ 5037 w 10785"/>
                <a:gd name="connsiteY1378" fmla="*/ 419 h 10000"/>
                <a:gd name="connsiteX1379" fmla="*/ 5051 w 10785"/>
                <a:gd name="connsiteY1379" fmla="*/ 385 h 10000"/>
                <a:gd name="connsiteX1380" fmla="*/ 5055 w 10785"/>
                <a:gd name="connsiteY1380" fmla="*/ 376 h 10000"/>
                <a:gd name="connsiteX1381" fmla="*/ 5092 w 10785"/>
                <a:gd name="connsiteY1381" fmla="*/ 282 h 10000"/>
                <a:gd name="connsiteX1382" fmla="*/ 5106 w 10785"/>
                <a:gd name="connsiteY1382" fmla="*/ 265 h 10000"/>
                <a:gd name="connsiteX1383" fmla="*/ 5115 w 10785"/>
                <a:gd name="connsiteY1383" fmla="*/ 265 h 10000"/>
                <a:gd name="connsiteX1384" fmla="*/ 5124 w 10785"/>
                <a:gd name="connsiteY1384" fmla="*/ 222 h 10000"/>
                <a:gd name="connsiteX1385" fmla="*/ 5124 w 10785"/>
                <a:gd name="connsiteY1385" fmla="*/ 214 h 10000"/>
                <a:gd name="connsiteX1386" fmla="*/ 5143 w 10785"/>
                <a:gd name="connsiteY1386" fmla="*/ 197 h 10000"/>
                <a:gd name="connsiteX1387" fmla="*/ 5152 w 10785"/>
                <a:gd name="connsiteY1387" fmla="*/ 214 h 10000"/>
                <a:gd name="connsiteX1388" fmla="*/ 5143 w 10785"/>
                <a:gd name="connsiteY1388" fmla="*/ 188 h 10000"/>
                <a:gd name="connsiteX1389" fmla="*/ 5129 w 10785"/>
                <a:gd name="connsiteY1389" fmla="*/ 103 h 10000"/>
                <a:gd name="connsiteX1390" fmla="*/ 5115 w 10785"/>
                <a:gd name="connsiteY1390" fmla="*/ 85 h 10000"/>
                <a:gd name="connsiteX1391" fmla="*/ 5111 w 10785"/>
                <a:gd name="connsiteY1391" fmla="*/ 111 h 10000"/>
                <a:gd name="connsiteX1392" fmla="*/ 5092 w 10785"/>
                <a:gd name="connsiteY1392" fmla="*/ 103 h 10000"/>
                <a:gd name="connsiteX1393" fmla="*/ 5069 w 10785"/>
                <a:gd name="connsiteY1393" fmla="*/ 77 h 10000"/>
                <a:gd name="connsiteX1394" fmla="*/ 5051 w 10785"/>
                <a:gd name="connsiteY1394" fmla="*/ 26 h 10000"/>
                <a:gd name="connsiteX1395" fmla="*/ 5041 w 10785"/>
                <a:gd name="connsiteY1395" fmla="*/ 34 h 10000"/>
                <a:gd name="connsiteX1396" fmla="*/ 5037 w 10785"/>
                <a:gd name="connsiteY1396" fmla="*/ 34 h 10000"/>
                <a:gd name="connsiteX1397" fmla="*/ 5037 w 10785"/>
                <a:gd name="connsiteY1397" fmla="*/ 26 h 10000"/>
                <a:gd name="connsiteX1398" fmla="*/ 5037 w 10785"/>
                <a:gd name="connsiteY1398" fmla="*/ 9 h 10000"/>
                <a:gd name="connsiteX1399" fmla="*/ 5023 w 10785"/>
                <a:gd name="connsiteY1399" fmla="*/ 0 h 10000"/>
                <a:gd name="connsiteX1400" fmla="*/ 5009 w 10785"/>
                <a:gd name="connsiteY1400" fmla="*/ 9 h 10000"/>
                <a:gd name="connsiteX1401" fmla="*/ 4995 w 10785"/>
                <a:gd name="connsiteY1401" fmla="*/ 34 h 10000"/>
                <a:gd name="connsiteX1402" fmla="*/ 4991 w 10785"/>
                <a:gd name="connsiteY1402" fmla="*/ 60 h 10000"/>
                <a:gd name="connsiteX1403" fmla="*/ 4982 w 10785"/>
                <a:gd name="connsiteY1403" fmla="*/ 60 h 10000"/>
                <a:gd name="connsiteX1404" fmla="*/ 4949 w 10785"/>
                <a:gd name="connsiteY1404" fmla="*/ 51 h 10000"/>
                <a:gd name="connsiteX1405" fmla="*/ 4949 w 10785"/>
                <a:gd name="connsiteY1405" fmla="*/ 85 h 10000"/>
                <a:gd name="connsiteX1406" fmla="*/ 4903 w 10785"/>
                <a:gd name="connsiteY1406" fmla="*/ 197 h 10000"/>
                <a:gd name="connsiteX1407" fmla="*/ 4899 w 10785"/>
                <a:gd name="connsiteY1407" fmla="*/ 239 h 10000"/>
                <a:gd name="connsiteX1408" fmla="*/ 4871 w 10785"/>
                <a:gd name="connsiteY1408" fmla="*/ 274 h 10000"/>
                <a:gd name="connsiteX1409" fmla="*/ 4871 w 10785"/>
                <a:gd name="connsiteY1409" fmla="*/ 282 h 10000"/>
                <a:gd name="connsiteX1410" fmla="*/ 4834 w 10785"/>
                <a:gd name="connsiteY1410" fmla="*/ 376 h 10000"/>
                <a:gd name="connsiteX1411" fmla="*/ 4829 w 10785"/>
                <a:gd name="connsiteY1411" fmla="*/ 402 h 10000"/>
                <a:gd name="connsiteX1412" fmla="*/ 4834 w 10785"/>
                <a:gd name="connsiteY1412" fmla="*/ 410 h 10000"/>
                <a:gd name="connsiteX1413" fmla="*/ 4829 w 10785"/>
                <a:gd name="connsiteY1413" fmla="*/ 436 h 10000"/>
                <a:gd name="connsiteX1414" fmla="*/ 4825 w 10785"/>
                <a:gd name="connsiteY1414" fmla="*/ 436 h 10000"/>
                <a:gd name="connsiteX1415" fmla="*/ 4825 w 10785"/>
                <a:gd name="connsiteY1415" fmla="*/ 444 h 10000"/>
                <a:gd name="connsiteX1416" fmla="*/ 4811 w 10785"/>
                <a:gd name="connsiteY1416" fmla="*/ 496 h 10000"/>
                <a:gd name="connsiteX1417" fmla="*/ 4811 w 10785"/>
                <a:gd name="connsiteY1417" fmla="*/ 496 h 10000"/>
                <a:gd name="connsiteX1418" fmla="*/ 4811 w 10785"/>
                <a:gd name="connsiteY1418" fmla="*/ 521 h 10000"/>
                <a:gd name="connsiteX1419" fmla="*/ 4816 w 10785"/>
                <a:gd name="connsiteY1419" fmla="*/ 530 h 10000"/>
                <a:gd name="connsiteX1420" fmla="*/ 4834 w 10785"/>
                <a:gd name="connsiteY1420" fmla="*/ 547 h 10000"/>
                <a:gd name="connsiteX1421" fmla="*/ 4834 w 10785"/>
                <a:gd name="connsiteY1421" fmla="*/ 581 h 10000"/>
                <a:gd name="connsiteX1422" fmla="*/ 4843 w 10785"/>
                <a:gd name="connsiteY1422" fmla="*/ 581 h 10000"/>
                <a:gd name="connsiteX1423" fmla="*/ 4843 w 10785"/>
                <a:gd name="connsiteY1423" fmla="*/ 598 h 10000"/>
                <a:gd name="connsiteX1424" fmla="*/ 4829 w 10785"/>
                <a:gd name="connsiteY1424" fmla="*/ 598 h 10000"/>
                <a:gd name="connsiteX1425" fmla="*/ 4829 w 10785"/>
                <a:gd name="connsiteY1425" fmla="*/ 573 h 10000"/>
                <a:gd name="connsiteX1426" fmla="*/ 4829 w 10785"/>
                <a:gd name="connsiteY1426" fmla="*/ 632 h 10000"/>
                <a:gd name="connsiteX1427" fmla="*/ 4829 w 10785"/>
                <a:gd name="connsiteY1427" fmla="*/ 632 h 10000"/>
                <a:gd name="connsiteX1428" fmla="*/ 4829 w 10785"/>
                <a:gd name="connsiteY1428" fmla="*/ 650 h 10000"/>
                <a:gd name="connsiteX1429" fmla="*/ 4774 w 10785"/>
                <a:gd name="connsiteY1429" fmla="*/ 684 h 10000"/>
                <a:gd name="connsiteX1430" fmla="*/ 4756 w 10785"/>
                <a:gd name="connsiteY1430" fmla="*/ 684 h 10000"/>
                <a:gd name="connsiteX1431" fmla="*/ 4737 w 10785"/>
                <a:gd name="connsiteY1431" fmla="*/ 692 h 10000"/>
                <a:gd name="connsiteX1432" fmla="*/ 4677 w 10785"/>
                <a:gd name="connsiteY1432" fmla="*/ 667 h 10000"/>
                <a:gd name="connsiteX1433" fmla="*/ 4682 w 10785"/>
                <a:gd name="connsiteY1433" fmla="*/ 692 h 10000"/>
                <a:gd name="connsiteX1434" fmla="*/ 4682 w 10785"/>
                <a:gd name="connsiteY1434" fmla="*/ 709 h 10000"/>
                <a:gd name="connsiteX1435" fmla="*/ 4691 w 10785"/>
                <a:gd name="connsiteY1435" fmla="*/ 718 h 10000"/>
                <a:gd name="connsiteX1436" fmla="*/ 4691 w 10785"/>
                <a:gd name="connsiteY1436" fmla="*/ 744 h 10000"/>
                <a:gd name="connsiteX1437" fmla="*/ 4700 w 10785"/>
                <a:gd name="connsiteY1437" fmla="*/ 744 h 10000"/>
                <a:gd name="connsiteX1438" fmla="*/ 4714 w 10785"/>
                <a:gd name="connsiteY1438" fmla="*/ 769 h 10000"/>
                <a:gd name="connsiteX1439" fmla="*/ 4710 w 10785"/>
                <a:gd name="connsiteY1439" fmla="*/ 786 h 10000"/>
                <a:gd name="connsiteX1440" fmla="*/ 4737 w 10785"/>
                <a:gd name="connsiteY1440" fmla="*/ 786 h 10000"/>
                <a:gd name="connsiteX1441" fmla="*/ 4742 w 10785"/>
                <a:gd name="connsiteY1441" fmla="*/ 795 h 10000"/>
                <a:gd name="connsiteX1442" fmla="*/ 4742 w 10785"/>
                <a:gd name="connsiteY1442" fmla="*/ 803 h 10000"/>
                <a:gd name="connsiteX1443" fmla="*/ 4737 w 10785"/>
                <a:gd name="connsiteY1443" fmla="*/ 846 h 10000"/>
                <a:gd name="connsiteX1444" fmla="*/ 4737 w 10785"/>
                <a:gd name="connsiteY1444" fmla="*/ 880 h 10000"/>
                <a:gd name="connsiteX1445" fmla="*/ 4737 w 10785"/>
                <a:gd name="connsiteY1445" fmla="*/ 906 h 10000"/>
                <a:gd name="connsiteX1446" fmla="*/ 4724 w 10785"/>
                <a:gd name="connsiteY1446" fmla="*/ 897 h 10000"/>
                <a:gd name="connsiteX1447" fmla="*/ 4724 w 10785"/>
                <a:gd name="connsiteY1447" fmla="*/ 872 h 10000"/>
                <a:gd name="connsiteX1448" fmla="*/ 4714 w 10785"/>
                <a:gd name="connsiteY1448" fmla="*/ 855 h 10000"/>
                <a:gd name="connsiteX1449" fmla="*/ 4691 w 10785"/>
                <a:gd name="connsiteY1449" fmla="*/ 846 h 10000"/>
                <a:gd name="connsiteX1450" fmla="*/ 4691 w 10785"/>
                <a:gd name="connsiteY1450" fmla="*/ 846 h 10000"/>
                <a:gd name="connsiteX1451" fmla="*/ 4696 w 10785"/>
                <a:gd name="connsiteY1451" fmla="*/ 821 h 10000"/>
                <a:gd name="connsiteX1452" fmla="*/ 4691 w 10785"/>
                <a:gd name="connsiteY1452" fmla="*/ 803 h 10000"/>
                <a:gd name="connsiteX1453" fmla="*/ 4668 w 10785"/>
                <a:gd name="connsiteY1453" fmla="*/ 821 h 10000"/>
                <a:gd name="connsiteX1454" fmla="*/ 4668 w 10785"/>
                <a:gd name="connsiteY1454" fmla="*/ 786 h 10000"/>
                <a:gd name="connsiteX1455" fmla="*/ 4664 w 10785"/>
                <a:gd name="connsiteY1455" fmla="*/ 786 h 10000"/>
                <a:gd name="connsiteX1456" fmla="*/ 4622 w 10785"/>
                <a:gd name="connsiteY1456" fmla="*/ 846 h 10000"/>
                <a:gd name="connsiteX1457" fmla="*/ 4627 w 10785"/>
                <a:gd name="connsiteY1457" fmla="*/ 872 h 10000"/>
                <a:gd name="connsiteX1458" fmla="*/ 4622 w 10785"/>
                <a:gd name="connsiteY1458" fmla="*/ 880 h 10000"/>
                <a:gd name="connsiteX1459" fmla="*/ 4622 w 10785"/>
                <a:gd name="connsiteY1459" fmla="*/ 880 h 10000"/>
                <a:gd name="connsiteX1460" fmla="*/ 4618 w 10785"/>
                <a:gd name="connsiteY1460" fmla="*/ 872 h 10000"/>
                <a:gd name="connsiteX1461" fmla="*/ 4604 w 10785"/>
                <a:gd name="connsiteY1461" fmla="*/ 880 h 10000"/>
                <a:gd name="connsiteX1462" fmla="*/ 4594 w 10785"/>
                <a:gd name="connsiteY1462" fmla="*/ 906 h 10000"/>
                <a:gd name="connsiteX1463" fmla="*/ 4604 w 10785"/>
                <a:gd name="connsiteY1463" fmla="*/ 906 h 10000"/>
                <a:gd name="connsiteX1464" fmla="*/ 4608 w 10785"/>
                <a:gd name="connsiteY1464" fmla="*/ 906 h 10000"/>
                <a:gd name="connsiteX1465" fmla="*/ 4608 w 10785"/>
                <a:gd name="connsiteY1465" fmla="*/ 932 h 10000"/>
                <a:gd name="connsiteX1466" fmla="*/ 4604 w 10785"/>
                <a:gd name="connsiteY1466" fmla="*/ 932 h 10000"/>
                <a:gd name="connsiteX1467" fmla="*/ 4590 w 10785"/>
                <a:gd name="connsiteY1467" fmla="*/ 932 h 10000"/>
                <a:gd name="connsiteX1468" fmla="*/ 4567 w 10785"/>
                <a:gd name="connsiteY1468" fmla="*/ 957 h 10000"/>
                <a:gd name="connsiteX1469" fmla="*/ 4567 w 10785"/>
                <a:gd name="connsiteY1469" fmla="*/ 932 h 10000"/>
                <a:gd name="connsiteX1470" fmla="*/ 4567 w 10785"/>
                <a:gd name="connsiteY1470" fmla="*/ 923 h 10000"/>
                <a:gd name="connsiteX1471" fmla="*/ 4562 w 10785"/>
                <a:gd name="connsiteY1471" fmla="*/ 932 h 10000"/>
                <a:gd name="connsiteX1472" fmla="*/ 4548 w 10785"/>
                <a:gd name="connsiteY1472" fmla="*/ 957 h 10000"/>
                <a:gd name="connsiteX1473" fmla="*/ 4544 w 10785"/>
                <a:gd name="connsiteY1473" fmla="*/ 957 h 10000"/>
                <a:gd name="connsiteX1474" fmla="*/ 4521 w 10785"/>
                <a:gd name="connsiteY1474" fmla="*/ 983 h 10000"/>
                <a:gd name="connsiteX1475" fmla="*/ 4521 w 10785"/>
                <a:gd name="connsiteY1475" fmla="*/ 983 h 10000"/>
                <a:gd name="connsiteX1476" fmla="*/ 4530 w 10785"/>
                <a:gd name="connsiteY1476" fmla="*/ 957 h 10000"/>
                <a:gd name="connsiteX1477" fmla="*/ 4535 w 10785"/>
                <a:gd name="connsiteY1477" fmla="*/ 932 h 10000"/>
                <a:gd name="connsiteX1478" fmla="*/ 4521 w 10785"/>
                <a:gd name="connsiteY1478" fmla="*/ 932 h 10000"/>
                <a:gd name="connsiteX1479" fmla="*/ 4516 w 10785"/>
                <a:gd name="connsiteY1479" fmla="*/ 923 h 10000"/>
                <a:gd name="connsiteX1480" fmla="*/ 4516 w 10785"/>
                <a:gd name="connsiteY1480" fmla="*/ 932 h 10000"/>
                <a:gd name="connsiteX1481" fmla="*/ 4488 w 10785"/>
                <a:gd name="connsiteY1481" fmla="*/ 940 h 10000"/>
                <a:gd name="connsiteX1482" fmla="*/ 4484 w 10785"/>
                <a:gd name="connsiteY1482" fmla="*/ 983 h 10000"/>
                <a:gd name="connsiteX1483" fmla="*/ 4470 w 10785"/>
                <a:gd name="connsiteY1483" fmla="*/ 983 h 10000"/>
                <a:gd name="connsiteX1484" fmla="*/ 4470 w 10785"/>
                <a:gd name="connsiteY1484" fmla="*/ 966 h 10000"/>
                <a:gd name="connsiteX1485" fmla="*/ 4488 w 10785"/>
                <a:gd name="connsiteY1485" fmla="*/ 923 h 10000"/>
                <a:gd name="connsiteX1486" fmla="*/ 4493 w 10785"/>
                <a:gd name="connsiteY1486" fmla="*/ 880 h 10000"/>
                <a:gd name="connsiteX1487" fmla="*/ 4475 w 10785"/>
                <a:gd name="connsiteY1487" fmla="*/ 846 h 10000"/>
                <a:gd name="connsiteX1488" fmla="*/ 4442 w 10785"/>
                <a:gd name="connsiteY1488" fmla="*/ 855 h 10000"/>
                <a:gd name="connsiteX1489" fmla="*/ 4433 w 10785"/>
                <a:gd name="connsiteY1489" fmla="*/ 855 h 10000"/>
                <a:gd name="connsiteX1490" fmla="*/ 4433 w 10785"/>
                <a:gd name="connsiteY1490" fmla="*/ 880 h 10000"/>
                <a:gd name="connsiteX1491" fmla="*/ 4401 w 10785"/>
                <a:gd name="connsiteY1491" fmla="*/ 855 h 10000"/>
                <a:gd name="connsiteX1492" fmla="*/ 4396 w 10785"/>
                <a:gd name="connsiteY1492" fmla="*/ 872 h 10000"/>
                <a:gd name="connsiteX1493" fmla="*/ 4382 w 10785"/>
                <a:gd name="connsiteY1493" fmla="*/ 897 h 10000"/>
                <a:gd name="connsiteX1494" fmla="*/ 4373 w 10785"/>
                <a:gd name="connsiteY1494" fmla="*/ 872 h 10000"/>
                <a:gd name="connsiteX1495" fmla="*/ 4341 w 10785"/>
                <a:gd name="connsiteY1495" fmla="*/ 872 h 10000"/>
                <a:gd name="connsiteX1496" fmla="*/ 4336 w 10785"/>
                <a:gd name="connsiteY1496" fmla="*/ 880 h 10000"/>
                <a:gd name="connsiteX1497" fmla="*/ 4346 w 10785"/>
                <a:gd name="connsiteY1497" fmla="*/ 897 h 10000"/>
                <a:gd name="connsiteX1498" fmla="*/ 4346 w 10785"/>
                <a:gd name="connsiteY1498" fmla="*/ 897 h 10000"/>
                <a:gd name="connsiteX1499" fmla="*/ 4313 w 10785"/>
                <a:gd name="connsiteY1499" fmla="*/ 906 h 10000"/>
                <a:gd name="connsiteX1500" fmla="*/ 4313 w 10785"/>
                <a:gd name="connsiteY1500" fmla="*/ 906 h 10000"/>
                <a:gd name="connsiteX1501" fmla="*/ 4313 w 10785"/>
                <a:gd name="connsiteY1501" fmla="*/ 880 h 10000"/>
                <a:gd name="connsiteX1502" fmla="*/ 4309 w 10785"/>
                <a:gd name="connsiteY1502" fmla="*/ 897 h 10000"/>
                <a:gd name="connsiteX1503" fmla="*/ 4295 w 10785"/>
                <a:gd name="connsiteY1503" fmla="*/ 923 h 10000"/>
                <a:gd name="connsiteX1504" fmla="*/ 4286 w 10785"/>
                <a:gd name="connsiteY1504" fmla="*/ 897 h 10000"/>
                <a:gd name="connsiteX1505" fmla="*/ 4281 w 10785"/>
                <a:gd name="connsiteY1505" fmla="*/ 906 h 10000"/>
                <a:gd name="connsiteX1506" fmla="*/ 4281 w 10785"/>
                <a:gd name="connsiteY1506" fmla="*/ 940 h 10000"/>
                <a:gd name="connsiteX1507" fmla="*/ 4286 w 10785"/>
                <a:gd name="connsiteY1507" fmla="*/ 957 h 10000"/>
                <a:gd name="connsiteX1508" fmla="*/ 4309 w 10785"/>
                <a:gd name="connsiteY1508" fmla="*/ 932 h 10000"/>
                <a:gd name="connsiteX1509" fmla="*/ 4313 w 10785"/>
                <a:gd name="connsiteY1509" fmla="*/ 957 h 10000"/>
                <a:gd name="connsiteX1510" fmla="*/ 4313 w 10785"/>
                <a:gd name="connsiteY1510" fmla="*/ 966 h 10000"/>
                <a:gd name="connsiteX1511" fmla="*/ 4323 w 10785"/>
                <a:gd name="connsiteY1511" fmla="*/ 966 h 10000"/>
                <a:gd name="connsiteX1512" fmla="*/ 4323 w 10785"/>
                <a:gd name="connsiteY1512" fmla="*/ 940 h 10000"/>
                <a:gd name="connsiteX1513" fmla="*/ 4327 w 10785"/>
                <a:gd name="connsiteY1513" fmla="*/ 940 h 10000"/>
                <a:gd name="connsiteX1514" fmla="*/ 4327 w 10785"/>
                <a:gd name="connsiteY1514" fmla="*/ 957 h 10000"/>
                <a:gd name="connsiteX1515" fmla="*/ 4327 w 10785"/>
                <a:gd name="connsiteY1515" fmla="*/ 966 h 10000"/>
                <a:gd name="connsiteX1516" fmla="*/ 4323 w 10785"/>
                <a:gd name="connsiteY1516" fmla="*/ 991 h 10000"/>
                <a:gd name="connsiteX1517" fmla="*/ 4207 w 10785"/>
                <a:gd name="connsiteY1517" fmla="*/ 1060 h 10000"/>
                <a:gd name="connsiteX1518" fmla="*/ 4207 w 10785"/>
                <a:gd name="connsiteY1518" fmla="*/ 1060 h 10000"/>
                <a:gd name="connsiteX1519" fmla="*/ 4203 w 10785"/>
                <a:gd name="connsiteY1519" fmla="*/ 1068 h 10000"/>
                <a:gd name="connsiteX1520" fmla="*/ 4203 w 10785"/>
                <a:gd name="connsiteY1520" fmla="*/ 1094 h 10000"/>
                <a:gd name="connsiteX1521" fmla="*/ 4203 w 10785"/>
                <a:gd name="connsiteY1521" fmla="*/ 1094 h 10000"/>
                <a:gd name="connsiteX1522" fmla="*/ 4189 w 10785"/>
                <a:gd name="connsiteY1522" fmla="*/ 1094 h 10000"/>
                <a:gd name="connsiteX1523" fmla="*/ 4166 w 10785"/>
                <a:gd name="connsiteY1523" fmla="*/ 1103 h 10000"/>
                <a:gd name="connsiteX1524" fmla="*/ 4152 w 10785"/>
                <a:gd name="connsiteY1524" fmla="*/ 1094 h 10000"/>
                <a:gd name="connsiteX1525" fmla="*/ 4134 w 10785"/>
                <a:gd name="connsiteY1525" fmla="*/ 1120 h 10000"/>
                <a:gd name="connsiteX1526" fmla="*/ 4106 w 10785"/>
                <a:gd name="connsiteY1526" fmla="*/ 1120 h 10000"/>
                <a:gd name="connsiteX1527" fmla="*/ 4092 w 10785"/>
                <a:gd name="connsiteY1527" fmla="*/ 1154 h 10000"/>
                <a:gd name="connsiteX1528" fmla="*/ 4106 w 10785"/>
                <a:gd name="connsiteY1528" fmla="*/ 1171 h 10000"/>
                <a:gd name="connsiteX1529" fmla="*/ 4078 w 10785"/>
                <a:gd name="connsiteY1529" fmla="*/ 1179 h 10000"/>
                <a:gd name="connsiteX1530" fmla="*/ 4065 w 10785"/>
                <a:gd name="connsiteY1530" fmla="*/ 1205 h 10000"/>
                <a:gd name="connsiteX1531" fmla="*/ 4046 w 10785"/>
                <a:gd name="connsiteY1531" fmla="*/ 1179 h 10000"/>
                <a:gd name="connsiteX1532" fmla="*/ 4041 w 10785"/>
                <a:gd name="connsiteY1532" fmla="*/ 1197 h 10000"/>
                <a:gd name="connsiteX1533" fmla="*/ 4028 w 10785"/>
                <a:gd name="connsiteY1533" fmla="*/ 1205 h 10000"/>
                <a:gd name="connsiteX1534" fmla="*/ 4028 w 10785"/>
                <a:gd name="connsiteY1534" fmla="*/ 1205 h 10000"/>
                <a:gd name="connsiteX1535" fmla="*/ 4032 w 10785"/>
                <a:gd name="connsiteY1535" fmla="*/ 1205 h 10000"/>
                <a:gd name="connsiteX1536" fmla="*/ 4032 w 10785"/>
                <a:gd name="connsiteY1536" fmla="*/ 1231 h 10000"/>
                <a:gd name="connsiteX1537" fmla="*/ 4014 w 10785"/>
                <a:gd name="connsiteY1537" fmla="*/ 1239 h 10000"/>
                <a:gd name="connsiteX1538" fmla="*/ 4014 w 10785"/>
                <a:gd name="connsiteY1538" fmla="*/ 1256 h 10000"/>
                <a:gd name="connsiteX1539" fmla="*/ 4000 w 10785"/>
                <a:gd name="connsiteY1539" fmla="*/ 1265 h 10000"/>
                <a:gd name="connsiteX1540" fmla="*/ 3986 w 10785"/>
                <a:gd name="connsiteY1540" fmla="*/ 1308 h 10000"/>
                <a:gd name="connsiteX1541" fmla="*/ 3972 w 10785"/>
                <a:gd name="connsiteY1541" fmla="*/ 1316 h 10000"/>
                <a:gd name="connsiteX1542" fmla="*/ 3972 w 10785"/>
                <a:gd name="connsiteY1542" fmla="*/ 1325 h 10000"/>
                <a:gd name="connsiteX1543" fmla="*/ 3972 w 10785"/>
                <a:gd name="connsiteY1543" fmla="*/ 1342 h 10000"/>
                <a:gd name="connsiteX1544" fmla="*/ 3968 w 10785"/>
                <a:gd name="connsiteY1544" fmla="*/ 1350 h 10000"/>
                <a:gd name="connsiteX1545" fmla="*/ 3954 w 10785"/>
                <a:gd name="connsiteY1545" fmla="*/ 1368 h 10000"/>
                <a:gd name="connsiteX1546" fmla="*/ 3945 w 10785"/>
                <a:gd name="connsiteY1546" fmla="*/ 1350 h 10000"/>
                <a:gd name="connsiteX1547" fmla="*/ 3908 w 10785"/>
                <a:gd name="connsiteY1547" fmla="*/ 1342 h 10000"/>
                <a:gd name="connsiteX1548" fmla="*/ 3894 w 10785"/>
                <a:gd name="connsiteY1548" fmla="*/ 1368 h 10000"/>
                <a:gd name="connsiteX1549" fmla="*/ 3922 w 10785"/>
                <a:gd name="connsiteY1549" fmla="*/ 1393 h 10000"/>
                <a:gd name="connsiteX1550" fmla="*/ 3945 w 10785"/>
                <a:gd name="connsiteY1550" fmla="*/ 1393 h 10000"/>
                <a:gd name="connsiteX1551" fmla="*/ 3940 w 10785"/>
                <a:gd name="connsiteY1551" fmla="*/ 1419 h 10000"/>
                <a:gd name="connsiteX1552" fmla="*/ 3931 w 10785"/>
                <a:gd name="connsiteY1552" fmla="*/ 1427 h 10000"/>
                <a:gd name="connsiteX1553" fmla="*/ 3926 w 10785"/>
                <a:gd name="connsiteY1553" fmla="*/ 1427 h 10000"/>
                <a:gd name="connsiteX1554" fmla="*/ 3922 w 10785"/>
                <a:gd name="connsiteY1554" fmla="*/ 1419 h 10000"/>
                <a:gd name="connsiteX1555" fmla="*/ 3912 w 10785"/>
                <a:gd name="connsiteY1555" fmla="*/ 1427 h 10000"/>
                <a:gd name="connsiteX1556" fmla="*/ 3912 w 10785"/>
                <a:gd name="connsiteY1556" fmla="*/ 1444 h 10000"/>
                <a:gd name="connsiteX1557" fmla="*/ 3894 w 10785"/>
                <a:gd name="connsiteY1557" fmla="*/ 1513 h 10000"/>
                <a:gd name="connsiteX1558" fmla="*/ 3885 w 10785"/>
                <a:gd name="connsiteY1558" fmla="*/ 1513 h 10000"/>
                <a:gd name="connsiteX1559" fmla="*/ 3880 w 10785"/>
                <a:gd name="connsiteY1559" fmla="*/ 1538 h 10000"/>
                <a:gd name="connsiteX1560" fmla="*/ 3885 w 10785"/>
                <a:gd name="connsiteY1560" fmla="*/ 1564 h 10000"/>
                <a:gd name="connsiteX1561" fmla="*/ 3880 w 10785"/>
                <a:gd name="connsiteY1561" fmla="*/ 1581 h 10000"/>
                <a:gd name="connsiteX1562" fmla="*/ 3871 w 10785"/>
                <a:gd name="connsiteY1562" fmla="*/ 1538 h 10000"/>
                <a:gd name="connsiteX1563" fmla="*/ 3853 w 10785"/>
                <a:gd name="connsiteY1563" fmla="*/ 1530 h 10000"/>
                <a:gd name="connsiteX1564" fmla="*/ 3853 w 10785"/>
                <a:gd name="connsiteY1564" fmla="*/ 1504 h 10000"/>
                <a:gd name="connsiteX1565" fmla="*/ 3834 w 10785"/>
                <a:gd name="connsiteY1565" fmla="*/ 1487 h 10000"/>
                <a:gd name="connsiteX1566" fmla="*/ 3834 w 10785"/>
                <a:gd name="connsiteY1566" fmla="*/ 1487 h 10000"/>
                <a:gd name="connsiteX1567" fmla="*/ 3839 w 10785"/>
                <a:gd name="connsiteY1567" fmla="*/ 1513 h 10000"/>
                <a:gd name="connsiteX1568" fmla="*/ 3820 w 10785"/>
                <a:gd name="connsiteY1568" fmla="*/ 1538 h 10000"/>
                <a:gd name="connsiteX1569" fmla="*/ 3820 w 10785"/>
                <a:gd name="connsiteY1569" fmla="*/ 1556 h 10000"/>
                <a:gd name="connsiteX1570" fmla="*/ 3820 w 10785"/>
                <a:gd name="connsiteY1570" fmla="*/ 1564 h 10000"/>
                <a:gd name="connsiteX1571" fmla="*/ 3820 w 10785"/>
                <a:gd name="connsiteY1571" fmla="*/ 1581 h 10000"/>
                <a:gd name="connsiteX1572" fmla="*/ 3853 w 10785"/>
                <a:gd name="connsiteY1572" fmla="*/ 1581 h 10000"/>
                <a:gd name="connsiteX1573" fmla="*/ 3857 w 10785"/>
                <a:gd name="connsiteY1573" fmla="*/ 1598 h 10000"/>
                <a:gd name="connsiteX1574" fmla="*/ 3880 w 10785"/>
                <a:gd name="connsiteY1574" fmla="*/ 1615 h 10000"/>
                <a:gd name="connsiteX1575" fmla="*/ 3871 w 10785"/>
                <a:gd name="connsiteY1575" fmla="*/ 1615 h 10000"/>
                <a:gd name="connsiteX1576" fmla="*/ 3871 w 10785"/>
                <a:gd name="connsiteY1576" fmla="*/ 1641 h 10000"/>
                <a:gd name="connsiteX1577" fmla="*/ 3880 w 10785"/>
                <a:gd name="connsiteY1577" fmla="*/ 1641 h 10000"/>
                <a:gd name="connsiteX1578" fmla="*/ 3871 w 10785"/>
                <a:gd name="connsiteY1578" fmla="*/ 1650 h 10000"/>
                <a:gd name="connsiteX1579" fmla="*/ 3857 w 10785"/>
                <a:gd name="connsiteY1579" fmla="*/ 1650 h 10000"/>
                <a:gd name="connsiteX1580" fmla="*/ 3853 w 10785"/>
                <a:gd name="connsiteY1580" fmla="*/ 1650 h 10000"/>
                <a:gd name="connsiteX1581" fmla="*/ 3839 w 10785"/>
                <a:gd name="connsiteY1581" fmla="*/ 1667 h 10000"/>
                <a:gd name="connsiteX1582" fmla="*/ 3848 w 10785"/>
                <a:gd name="connsiteY1582" fmla="*/ 1692 h 10000"/>
                <a:gd name="connsiteX1583" fmla="*/ 3834 w 10785"/>
                <a:gd name="connsiteY1583" fmla="*/ 1692 h 10000"/>
                <a:gd name="connsiteX1584" fmla="*/ 3825 w 10785"/>
                <a:gd name="connsiteY1584" fmla="*/ 1692 h 10000"/>
                <a:gd name="connsiteX1585" fmla="*/ 3825 w 10785"/>
                <a:gd name="connsiteY1585" fmla="*/ 1718 h 10000"/>
                <a:gd name="connsiteX1586" fmla="*/ 3839 w 10785"/>
                <a:gd name="connsiteY1586" fmla="*/ 1726 h 10000"/>
                <a:gd name="connsiteX1587" fmla="*/ 3880 w 10785"/>
                <a:gd name="connsiteY1587" fmla="*/ 1752 h 10000"/>
                <a:gd name="connsiteX1588" fmla="*/ 3894 w 10785"/>
                <a:gd name="connsiteY1588" fmla="*/ 1829 h 10000"/>
                <a:gd name="connsiteX1589" fmla="*/ 3899 w 10785"/>
                <a:gd name="connsiteY1589" fmla="*/ 1838 h 10000"/>
                <a:gd name="connsiteX1590" fmla="*/ 3894 w 10785"/>
                <a:gd name="connsiteY1590" fmla="*/ 1855 h 10000"/>
                <a:gd name="connsiteX1591" fmla="*/ 3880 w 10785"/>
                <a:gd name="connsiteY1591" fmla="*/ 1838 h 10000"/>
                <a:gd name="connsiteX1592" fmla="*/ 3880 w 10785"/>
                <a:gd name="connsiteY1592" fmla="*/ 1855 h 10000"/>
                <a:gd name="connsiteX1593" fmla="*/ 3880 w 10785"/>
                <a:gd name="connsiteY1593" fmla="*/ 1863 h 10000"/>
                <a:gd name="connsiteX1594" fmla="*/ 3871 w 10785"/>
                <a:gd name="connsiteY1594" fmla="*/ 1872 h 10000"/>
                <a:gd name="connsiteX1595" fmla="*/ 3880 w 10785"/>
                <a:gd name="connsiteY1595" fmla="*/ 1889 h 10000"/>
                <a:gd name="connsiteX1596" fmla="*/ 3885 w 10785"/>
                <a:gd name="connsiteY1596" fmla="*/ 1889 h 10000"/>
                <a:gd name="connsiteX1597" fmla="*/ 3880 w 10785"/>
                <a:gd name="connsiteY1597" fmla="*/ 1897 h 10000"/>
                <a:gd name="connsiteX1598" fmla="*/ 3871 w 10785"/>
                <a:gd name="connsiteY1598" fmla="*/ 1915 h 10000"/>
                <a:gd name="connsiteX1599" fmla="*/ 3848 w 10785"/>
                <a:gd name="connsiteY1599" fmla="*/ 1923 h 10000"/>
                <a:gd name="connsiteX1600" fmla="*/ 3825 w 10785"/>
                <a:gd name="connsiteY1600" fmla="*/ 1940 h 10000"/>
                <a:gd name="connsiteX1601" fmla="*/ 3811 w 10785"/>
                <a:gd name="connsiteY1601" fmla="*/ 1940 h 10000"/>
                <a:gd name="connsiteX1602" fmla="*/ 3806 w 10785"/>
                <a:gd name="connsiteY1602" fmla="*/ 1949 h 10000"/>
                <a:gd name="connsiteX1603" fmla="*/ 3797 w 10785"/>
                <a:gd name="connsiteY1603" fmla="*/ 1966 h 10000"/>
                <a:gd name="connsiteX1604" fmla="*/ 3788 w 10785"/>
                <a:gd name="connsiteY1604" fmla="*/ 1991 h 10000"/>
                <a:gd name="connsiteX1605" fmla="*/ 3765 w 10785"/>
                <a:gd name="connsiteY1605" fmla="*/ 1974 h 10000"/>
                <a:gd name="connsiteX1606" fmla="*/ 3760 w 10785"/>
                <a:gd name="connsiteY1606" fmla="*/ 1966 h 10000"/>
                <a:gd name="connsiteX1607" fmla="*/ 3760 w 10785"/>
                <a:gd name="connsiteY1607" fmla="*/ 1966 h 10000"/>
                <a:gd name="connsiteX1608" fmla="*/ 3631 w 10785"/>
                <a:gd name="connsiteY1608" fmla="*/ 2009 h 10000"/>
                <a:gd name="connsiteX1609" fmla="*/ 3618 w 10785"/>
                <a:gd name="connsiteY1609" fmla="*/ 2000 h 10000"/>
                <a:gd name="connsiteX1610" fmla="*/ 3599 w 10785"/>
                <a:gd name="connsiteY1610" fmla="*/ 2009 h 10000"/>
                <a:gd name="connsiteX1611" fmla="*/ 3571 w 10785"/>
                <a:gd name="connsiteY1611" fmla="*/ 2000 h 10000"/>
                <a:gd name="connsiteX1612" fmla="*/ 3530 w 10785"/>
                <a:gd name="connsiteY1612" fmla="*/ 2026 h 10000"/>
                <a:gd name="connsiteX1613" fmla="*/ 3530 w 10785"/>
                <a:gd name="connsiteY1613" fmla="*/ 2034 h 10000"/>
                <a:gd name="connsiteX1614" fmla="*/ 3525 w 10785"/>
                <a:gd name="connsiteY1614" fmla="*/ 2051 h 10000"/>
                <a:gd name="connsiteX1615" fmla="*/ 3512 w 10785"/>
                <a:gd name="connsiteY1615" fmla="*/ 2034 h 10000"/>
                <a:gd name="connsiteX1616" fmla="*/ 3507 w 10785"/>
                <a:gd name="connsiteY1616" fmla="*/ 2034 h 10000"/>
                <a:gd name="connsiteX1617" fmla="*/ 3498 w 10785"/>
                <a:gd name="connsiteY1617" fmla="*/ 2051 h 10000"/>
                <a:gd name="connsiteX1618" fmla="*/ 3484 w 10785"/>
                <a:gd name="connsiteY1618" fmla="*/ 2060 h 10000"/>
                <a:gd name="connsiteX1619" fmla="*/ 3484 w 10785"/>
                <a:gd name="connsiteY1619" fmla="*/ 2085 h 10000"/>
                <a:gd name="connsiteX1620" fmla="*/ 3484 w 10785"/>
                <a:gd name="connsiteY1620" fmla="*/ 2103 h 10000"/>
                <a:gd name="connsiteX1621" fmla="*/ 3493 w 10785"/>
                <a:gd name="connsiteY1621" fmla="*/ 2103 h 10000"/>
                <a:gd name="connsiteX1622" fmla="*/ 3493 w 10785"/>
                <a:gd name="connsiteY1622" fmla="*/ 2085 h 10000"/>
                <a:gd name="connsiteX1623" fmla="*/ 3498 w 10785"/>
                <a:gd name="connsiteY1623" fmla="*/ 2085 h 10000"/>
                <a:gd name="connsiteX1624" fmla="*/ 3498 w 10785"/>
                <a:gd name="connsiteY1624" fmla="*/ 2111 h 10000"/>
                <a:gd name="connsiteX1625" fmla="*/ 3484 w 10785"/>
                <a:gd name="connsiteY1625" fmla="*/ 2120 h 10000"/>
                <a:gd name="connsiteX1626" fmla="*/ 3484 w 10785"/>
                <a:gd name="connsiteY1626" fmla="*/ 2145 h 10000"/>
                <a:gd name="connsiteX1627" fmla="*/ 3470 w 10785"/>
                <a:gd name="connsiteY1627" fmla="*/ 2137 h 10000"/>
                <a:gd name="connsiteX1628" fmla="*/ 3465 w 10785"/>
                <a:gd name="connsiteY1628" fmla="*/ 2145 h 10000"/>
                <a:gd name="connsiteX1629" fmla="*/ 3470 w 10785"/>
                <a:gd name="connsiteY1629" fmla="*/ 2171 h 10000"/>
                <a:gd name="connsiteX1630" fmla="*/ 3484 w 10785"/>
                <a:gd name="connsiteY1630" fmla="*/ 2171 h 10000"/>
                <a:gd name="connsiteX1631" fmla="*/ 3484 w 10785"/>
                <a:gd name="connsiteY1631" fmla="*/ 2197 h 10000"/>
                <a:gd name="connsiteX1632" fmla="*/ 3465 w 10785"/>
                <a:gd name="connsiteY1632" fmla="*/ 2214 h 10000"/>
                <a:gd name="connsiteX1633" fmla="*/ 3493 w 10785"/>
                <a:gd name="connsiteY1633" fmla="*/ 2248 h 10000"/>
                <a:gd name="connsiteX1634" fmla="*/ 3484 w 10785"/>
                <a:gd name="connsiteY1634" fmla="*/ 2256 h 10000"/>
                <a:gd name="connsiteX1635" fmla="*/ 3498 w 10785"/>
                <a:gd name="connsiteY1635" fmla="*/ 2274 h 10000"/>
                <a:gd name="connsiteX1636" fmla="*/ 3498 w 10785"/>
                <a:gd name="connsiteY1636" fmla="*/ 2256 h 10000"/>
                <a:gd name="connsiteX1637" fmla="*/ 3507 w 10785"/>
                <a:gd name="connsiteY1637" fmla="*/ 2308 h 10000"/>
                <a:gd name="connsiteX1638" fmla="*/ 3512 w 10785"/>
                <a:gd name="connsiteY1638" fmla="*/ 2325 h 10000"/>
                <a:gd name="connsiteX1639" fmla="*/ 3507 w 10785"/>
                <a:gd name="connsiteY1639" fmla="*/ 2333 h 10000"/>
                <a:gd name="connsiteX1640" fmla="*/ 3507 w 10785"/>
                <a:gd name="connsiteY1640" fmla="*/ 2359 h 10000"/>
                <a:gd name="connsiteX1641" fmla="*/ 3507 w 10785"/>
                <a:gd name="connsiteY1641" fmla="*/ 2376 h 10000"/>
                <a:gd name="connsiteX1642" fmla="*/ 3498 w 10785"/>
                <a:gd name="connsiteY1642" fmla="*/ 2410 h 10000"/>
                <a:gd name="connsiteX1643" fmla="*/ 3498 w 10785"/>
                <a:gd name="connsiteY1643" fmla="*/ 2436 h 10000"/>
                <a:gd name="connsiteX1644" fmla="*/ 3507 w 10785"/>
                <a:gd name="connsiteY1644" fmla="*/ 2462 h 10000"/>
                <a:gd name="connsiteX1645" fmla="*/ 3507 w 10785"/>
                <a:gd name="connsiteY1645" fmla="*/ 2496 h 10000"/>
                <a:gd name="connsiteX1646" fmla="*/ 3512 w 10785"/>
                <a:gd name="connsiteY1646" fmla="*/ 2521 h 10000"/>
                <a:gd name="connsiteX1647" fmla="*/ 3525 w 10785"/>
                <a:gd name="connsiteY1647" fmla="*/ 2556 h 10000"/>
                <a:gd name="connsiteX1648" fmla="*/ 3571 w 10785"/>
                <a:gd name="connsiteY1648" fmla="*/ 2573 h 10000"/>
                <a:gd name="connsiteX1649" fmla="*/ 3590 w 10785"/>
                <a:gd name="connsiteY1649" fmla="*/ 2598 h 10000"/>
                <a:gd name="connsiteX1650" fmla="*/ 3599 w 10785"/>
                <a:gd name="connsiteY1650" fmla="*/ 2598 h 10000"/>
                <a:gd name="connsiteX1651" fmla="*/ 3604 w 10785"/>
                <a:gd name="connsiteY1651" fmla="*/ 2632 h 10000"/>
                <a:gd name="connsiteX1652" fmla="*/ 3599 w 10785"/>
                <a:gd name="connsiteY1652" fmla="*/ 2658 h 10000"/>
                <a:gd name="connsiteX1653" fmla="*/ 3590 w 10785"/>
                <a:gd name="connsiteY1653" fmla="*/ 2667 h 10000"/>
                <a:gd name="connsiteX1654" fmla="*/ 3604 w 10785"/>
                <a:gd name="connsiteY1654" fmla="*/ 2667 h 10000"/>
                <a:gd name="connsiteX1655" fmla="*/ 3613 w 10785"/>
                <a:gd name="connsiteY1655" fmla="*/ 2692 h 10000"/>
                <a:gd name="connsiteX1656" fmla="*/ 3627 w 10785"/>
                <a:gd name="connsiteY1656" fmla="*/ 2735 h 10000"/>
                <a:gd name="connsiteX1657" fmla="*/ 3631 w 10785"/>
                <a:gd name="connsiteY1657" fmla="*/ 2744 h 10000"/>
                <a:gd name="connsiteX1658" fmla="*/ 3659 w 10785"/>
                <a:gd name="connsiteY1658" fmla="*/ 2761 h 10000"/>
                <a:gd name="connsiteX1659" fmla="*/ 3673 w 10785"/>
                <a:gd name="connsiteY1659" fmla="*/ 2769 h 10000"/>
                <a:gd name="connsiteX1660" fmla="*/ 3673 w 10785"/>
                <a:gd name="connsiteY1660" fmla="*/ 2761 h 10000"/>
                <a:gd name="connsiteX1661" fmla="*/ 3687 w 10785"/>
                <a:gd name="connsiteY1661" fmla="*/ 2829 h 10000"/>
                <a:gd name="connsiteX1662" fmla="*/ 3677 w 10785"/>
                <a:gd name="connsiteY1662" fmla="*/ 2897 h 10000"/>
                <a:gd name="connsiteX1663" fmla="*/ 3673 w 10785"/>
                <a:gd name="connsiteY1663" fmla="*/ 2915 h 10000"/>
                <a:gd name="connsiteX1664" fmla="*/ 3664 w 10785"/>
                <a:gd name="connsiteY1664" fmla="*/ 2957 h 10000"/>
                <a:gd name="connsiteX1665" fmla="*/ 3659 w 10785"/>
                <a:gd name="connsiteY1665" fmla="*/ 2983 h 10000"/>
                <a:gd name="connsiteX1666" fmla="*/ 3664 w 10785"/>
                <a:gd name="connsiteY1666" fmla="*/ 3017 h 10000"/>
                <a:gd name="connsiteX1667" fmla="*/ 3659 w 10785"/>
                <a:gd name="connsiteY1667" fmla="*/ 3043 h 10000"/>
                <a:gd name="connsiteX1668" fmla="*/ 3677 w 10785"/>
                <a:gd name="connsiteY1668" fmla="*/ 3094 h 10000"/>
                <a:gd name="connsiteX1669" fmla="*/ 3691 w 10785"/>
                <a:gd name="connsiteY1669" fmla="*/ 3282 h 10000"/>
                <a:gd name="connsiteX1670" fmla="*/ 3691 w 10785"/>
                <a:gd name="connsiteY1670" fmla="*/ 3308 h 10000"/>
                <a:gd name="connsiteX1671" fmla="*/ 3677 w 10785"/>
                <a:gd name="connsiteY1671" fmla="*/ 3342 h 10000"/>
                <a:gd name="connsiteX1672" fmla="*/ 3664 w 10785"/>
                <a:gd name="connsiteY1672" fmla="*/ 3342 h 10000"/>
                <a:gd name="connsiteX1673" fmla="*/ 3650 w 10785"/>
                <a:gd name="connsiteY1673" fmla="*/ 3342 h 10000"/>
                <a:gd name="connsiteX1674" fmla="*/ 3650 w 10785"/>
                <a:gd name="connsiteY1674" fmla="*/ 3350 h 10000"/>
                <a:gd name="connsiteX1675" fmla="*/ 3659 w 10785"/>
                <a:gd name="connsiteY1675" fmla="*/ 3402 h 10000"/>
                <a:gd name="connsiteX1676" fmla="*/ 3659 w 10785"/>
                <a:gd name="connsiteY1676" fmla="*/ 3419 h 10000"/>
                <a:gd name="connsiteX1677" fmla="*/ 3631 w 10785"/>
                <a:gd name="connsiteY1677" fmla="*/ 3402 h 10000"/>
                <a:gd name="connsiteX1678" fmla="*/ 3604 w 10785"/>
                <a:gd name="connsiteY1678" fmla="*/ 3393 h 10000"/>
                <a:gd name="connsiteX1679" fmla="*/ 3599 w 10785"/>
                <a:gd name="connsiteY1679" fmla="*/ 3368 h 10000"/>
                <a:gd name="connsiteX1680" fmla="*/ 3590 w 10785"/>
                <a:gd name="connsiteY1680" fmla="*/ 3239 h 10000"/>
                <a:gd name="connsiteX1681" fmla="*/ 3599 w 10785"/>
                <a:gd name="connsiteY1681" fmla="*/ 3179 h 10000"/>
                <a:gd name="connsiteX1682" fmla="*/ 3599 w 10785"/>
                <a:gd name="connsiteY1682" fmla="*/ 3171 h 10000"/>
                <a:gd name="connsiteX1683" fmla="*/ 3599 w 10785"/>
                <a:gd name="connsiteY1683" fmla="*/ 3009 h 10000"/>
                <a:gd name="connsiteX1684" fmla="*/ 3604 w 10785"/>
                <a:gd name="connsiteY1684" fmla="*/ 2983 h 10000"/>
                <a:gd name="connsiteX1685" fmla="*/ 3645 w 10785"/>
                <a:gd name="connsiteY1685" fmla="*/ 2932 h 10000"/>
                <a:gd name="connsiteX1686" fmla="*/ 3650 w 10785"/>
                <a:gd name="connsiteY1686" fmla="*/ 2872 h 10000"/>
                <a:gd name="connsiteX1687" fmla="*/ 3659 w 10785"/>
                <a:gd name="connsiteY1687" fmla="*/ 2855 h 10000"/>
                <a:gd name="connsiteX1688" fmla="*/ 3659 w 10785"/>
                <a:gd name="connsiteY1688" fmla="*/ 2821 h 10000"/>
                <a:gd name="connsiteX1689" fmla="*/ 3631 w 10785"/>
                <a:gd name="connsiteY1689" fmla="*/ 2795 h 10000"/>
                <a:gd name="connsiteX1690" fmla="*/ 3567 w 10785"/>
                <a:gd name="connsiteY1690" fmla="*/ 2821 h 10000"/>
                <a:gd name="connsiteX1691" fmla="*/ 3544 w 10785"/>
                <a:gd name="connsiteY1691" fmla="*/ 2795 h 10000"/>
                <a:gd name="connsiteX1692" fmla="*/ 3530 w 10785"/>
                <a:gd name="connsiteY1692" fmla="*/ 2769 h 10000"/>
                <a:gd name="connsiteX1693" fmla="*/ 3530 w 10785"/>
                <a:gd name="connsiteY1693" fmla="*/ 2786 h 10000"/>
                <a:gd name="connsiteX1694" fmla="*/ 3498 w 10785"/>
                <a:gd name="connsiteY1694" fmla="*/ 2692 h 10000"/>
                <a:gd name="connsiteX1695" fmla="*/ 3498 w 10785"/>
                <a:gd name="connsiteY1695" fmla="*/ 2667 h 10000"/>
                <a:gd name="connsiteX1696" fmla="*/ 3442 w 10785"/>
                <a:gd name="connsiteY1696" fmla="*/ 2607 h 10000"/>
                <a:gd name="connsiteX1697" fmla="*/ 3433 w 10785"/>
                <a:gd name="connsiteY1697" fmla="*/ 2581 h 10000"/>
                <a:gd name="connsiteX1698" fmla="*/ 3396 w 10785"/>
                <a:gd name="connsiteY1698" fmla="*/ 2556 h 10000"/>
                <a:gd name="connsiteX1699" fmla="*/ 3318 w 10785"/>
                <a:gd name="connsiteY1699" fmla="*/ 2556 h 10000"/>
                <a:gd name="connsiteX1700" fmla="*/ 3304 w 10785"/>
                <a:gd name="connsiteY1700" fmla="*/ 2607 h 10000"/>
                <a:gd name="connsiteX1701" fmla="*/ 3276 w 10785"/>
                <a:gd name="connsiteY1701" fmla="*/ 2632 h 10000"/>
                <a:gd name="connsiteX1702" fmla="*/ 3272 w 10785"/>
                <a:gd name="connsiteY1702" fmla="*/ 2667 h 10000"/>
                <a:gd name="connsiteX1703" fmla="*/ 3304 w 10785"/>
                <a:gd name="connsiteY1703" fmla="*/ 2667 h 10000"/>
                <a:gd name="connsiteX1704" fmla="*/ 3323 w 10785"/>
                <a:gd name="connsiteY1704" fmla="*/ 2692 h 10000"/>
                <a:gd name="connsiteX1705" fmla="*/ 3318 w 10785"/>
                <a:gd name="connsiteY1705" fmla="*/ 2735 h 10000"/>
                <a:gd name="connsiteX1706" fmla="*/ 3304 w 10785"/>
                <a:gd name="connsiteY1706" fmla="*/ 2761 h 10000"/>
                <a:gd name="connsiteX1707" fmla="*/ 3276 w 10785"/>
                <a:gd name="connsiteY1707" fmla="*/ 2769 h 10000"/>
                <a:gd name="connsiteX1708" fmla="*/ 3263 w 10785"/>
                <a:gd name="connsiteY1708" fmla="*/ 2795 h 10000"/>
                <a:gd name="connsiteX1709" fmla="*/ 3235 w 10785"/>
                <a:gd name="connsiteY1709" fmla="*/ 2803 h 10000"/>
                <a:gd name="connsiteX1710" fmla="*/ 3235 w 10785"/>
                <a:gd name="connsiteY1710" fmla="*/ 2786 h 10000"/>
                <a:gd name="connsiteX1711" fmla="*/ 3212 w 10785"/>
                <a:gd name="connsiteY1711" fmla="*/ 2709 h 10000"/>
                <a:gd name="connsiteX1712" fmla="*/ 3198 w 10785"/>
                <a:gd name="connsiteY1712" fmla="*/ 2709 h 10000"/>
                <a:gd name="connsiteX1713" fmla="*/ 3184 w 10785"/>
                <a:gd name="connsiteY1713" fmla="*/ 2735 h 10000"/>
                <a:gd name="connsiteX1714" fmla="*/ 3189 w 10785"/>
                <a:gd name="connsiteY1714" fmla="*/ 2761 h 10000"/>
                <a:gd name="connsiteX1715" fmla="*/ 3203 w 10785"/>
                <a:gd name="connsiteY1715" fmla="*/ 2855 h 10000"/>
                <a:gd name="connsiteX1716" fmla="*/ 3212 w 10785"/>
                <a:gd name="connsiteY1716" fmla="*/ 2872 h 10000"/>
                <a:gd name="connsiteX1717" fmla="*/ 3235 w 10785"/>
                <a:gd name="connsiteY1717" fmla="*/ 2906 h 10000"/>
                <a:gd name="connsiteX1718" fmla="*/ 3258 w 10785"/>
                <a:gd name="connsiteY1718" fmla="*/ 2915 h 10000"/>
                <a:gd name="connsiteX1719" fmla="*/ 3272 w 10785"/>
                <a:gd name="connsiteY1719" fmla="*/ 2957 h 10000"/>
                <a:gd name="connsiteX1720" fmla="*/ 3276 w 10785"/>
                <a:gd name="connsiteY1720" fmla="*/ 2957 h 10000"/>
                <a:gd name="connsiteX1721" fmla="*/ 3286 w 10785"/>
                <a:gd name="connsiteY1721" fmla="*/ 2966 h 10000"/>
                <a:gd name="connsiteX1722" fmla="*/ 3300 w 10785"/>
                <a:gd name="connsiteY1722" fmla="*/ 2957 h 10000"/>
                <a:gd name="connsiteX1723" fmla="*/ 3309 w 10785"/>
                <a:gd name="connsiteY1723" fmla="*/ 2932 h 10000"/>
                <a:gd name="connsiteX1724" fmla="*/ 3304 w 10785"/>
                <a:gd name="connsiteY1724" fmla="*/ 2966 h 10000"/>
                <a:gd name="connsiteX1725" fmla="*/ 3309 w 10785"/>
                <a:gd name="connsiteY1725" fmla="*/ 2983 h 10000"/>
                <a:gd name="connsiteX1726" fmla="*/ 3323 w 10785"/>
                <a:gd name="connsiteY1726" fmla="*/ 2966 h 10000"/>
                <a:gd name="connsiteX1727" fmla="*/ 3323 w 10785"/>
                <a:gd name="connsiteY1727" fmla="*/ 3043 h 10000"/>
                <a:gd name="connsiteX1728" fmla="*/ 3346 w 10785"/>
                <a:gd name="connsiteY1728" fmla="*/ 3068 h 10000"/>
                <a:gd name="connsiteX1729" fmla="*/ 3346 w 10785"/>
                <a:gd name="connsiteY1729" fmla="*/ 3094 h 10000"/>
                <a:gd name="connsiteX1730" fmla="*/ 3323 w 10785"/>
                <a:gd name="connsiteY1730" fmla="*/ 3094 h 10000"/>
                <a:gd name="connsiteX1731" fmla="*/ 3309 w 10785"/>
                <a:gd name="connsiteY1731" fmla="*/ 3077 h 10000"/>
                <a:gd name="connsiteX1732" fmla="*/ 3304 w 10785"/>
                <a:gd name="connsiteY1732" fmla="*/ 3051 h 10000"/>
                <a:gd name="connsiteX1733" fmla="*/ 3300 w 10785"/>
                <a:gd name="connsiteY1733" fmla="*/ 3043 h 10000"/>
                <a:gd name="connsiteX1734" fmla="*/ 3286 w 10785"/>
                <a:gd name="connsiteY1734" fmla="*/ 3017 h 10000"/>
                <a:gd name="connsiteX1735" fmla="*/ 3152 w 10785"/>
                <a:gd name="connsiteY1735" fmla="*/ 2966 h 10000"/>
                <a:gd name="connsiteX1736" fmla="*/ 3129 w 10785"/>
                <a:gd name="connsiteY1736" fmla="*/ 2915 h 10000"/>
                <a:gd name="connsiteX1737" fmla="*/ 3129 w 10785"/>
                <a:gd name="connsiteY1737" fmla="*/ 2906 h 10000"/>
                <a:gd name="connsiteX1738" fmla="*/ 3152 w 10785"/>
                <a:gd name="connsiteY1738" fmla="*/ 2906 h 10000"/>
                <a:gd name="connsiteX1739" fmla="*/ 3152 w 10785"/>
                <a:gd name="connsiteY1739" fmla="*/ 2846 h 10000"/>
                <a:gd name="connsiteX1740" fmla="*/ 3138 w 10785"/>
                <a:gd name="connsiteY1740" fmla="*/ 2795 h 10000"/>
                <a:gd name="connsiteX1741" fmla="*/ 3138 w 10785"/>
                <a:gd name="connsiteY1741" fmla="*/ 2769 h 10000"/>
                <a:gd name="connsiteX1742" fmla="*/ 3143 w 10785"/>
                <a:gd name="connsiteY1742" fmla="*/ 2718 h 10000"/>
                <a:gd name="connsiteX1743" fmla="*/ 3129 w 10785"/>
                <a:gd name="connsiteY1743" fmla="*/ 2692 h 10000"/>
                <a:gd name="connsiteX1744" fmla="*/ 3143 w 10785"/>
                <a:gd name="connsiteY1744" fmla="*/ 2667 h 10000"/>
                <a:gd name="connsiteX1745" fmla="*/ 3157 w 10785"/>
                <a:gd name="connsiteY1745" fmla="*/ 2581 h 10000"/>
                <a:gd name="connsiteX1746" fmla="*/ 3143 w 10785"/>
                <a:gd name="connsiteY1746" fmla="*/ 2496 h 10000"/>
                <a:gd name="connsiteX1747" fmla="*/ 3157 w 10785"/>
                <a:gd name="connsiteY1747" fmla="*/ 2487 h 10000"/>
                <a:gd name="connsiteX1748" fmla="*/ 3143 w 10785"/>
                <a:gd name="connsiteY1748" fmla="*/ 2444 h 10000"/>
                <a:gd name="connsiteX1749" fmla="*/ 3143 w 10785"/>
                <a:gd name="connsiteY1749" fmla="*/ 2419 h 10000"/>
                <a:gd name="connsiteX1750" fmla="*/ 3143 w 10785"/>
                <a:gd name="connsiteY1750" fmla="*/ 2410 h 10000"/>
                <a:gd name="connsiteX1751" fmla="*/ 3124 w 10785"/>
                <a:gd name="connsiteY1751" fmla="*/ 2376 h 10000"/>
                <a:gd name="connsiteX1752" fmla="*/ 3115 w 10785"/>
                <a:gd name="connsiteY1752" fmla="*/ 2350 h 10000"/>
                <a:gd name="connsiteX1753" fmla="*/ 3101 w 10785"/>
                <a:gd name="connsiteY1753" fmla="*/ 2359 h 10000"/>
                <a:gd name="connsiteX1754" fmla="*/ 3115 w 10785"/>
                <a:gd name="connsiteY1754" fmla="*/ 2581 h 10000"/>
                <a:gd name="connsiteX1755" fmla="*/ 3111 w 10785"/>
                <a:gd name="connsiteY1755" fmla="*/ 2624 h 10000"/>
                <a:gd name="connsiteX1756" fmla="*/ 3009 w 10785"/>
                <a:gd name="connsiteY1756" fmla="*/ 2761 h 10000"/>
                <a:gd name="connsiteX1757" fmla="*/ 3009 w 10785"/>
                <a:gd name="connsiteY1757" fmla="*/ 2803 h 10000"/>
                <a:gd name="connsiteX1758" fmla="*/ 3005 w 10785"/>
                <a:gd name="connsiteY1758" fmla="*/ 2829 h 10000"/>
                <a:gd name="connsiteX1759" fmla="*/ 2982 w 10785"/>
                <a:gd name="connsiteY1759" fmla="*/ 2872 h 10000"/>
                <a:gd name="connsiteX1760" fmla="*/ 2982 w 10785"/>
                <a:gd name="connsiteY1760" fmla="*/ 2880 h 10000"/>
                <a:gd name="connsiteX1761" fmla="*/ 3037 w 10785"/>
                <a:gd name="connsiteY1761" fmla="*/ 3034 h 10000"/>
                <a:gd name="connsiteX1762" fmla="*/ 3041 w 10785"/>
                <a:gd name="connsiteY1762" fmla="*/ 3103 h 10000"/>
                <a:gd name="connsiteX1763" fmla="*/ 3069 w 10785"/>
                <a:gd name="connsiteY1763" fmla="*/ 3188 h 10000"/>
                <a:gd name="connsiteX1764" fmla="*/ 3055 w 10785"/>
                <a:gd name="connsiteY1764" fmla="*/ 3325 h 10000"/>
                <a:gd name="connsiteX1765" fmla="*/ 3037 w 10785"/>
                <a:gd name="connsiteY1765" fmla="*/ 3368 h 10000"/>
                <a:gd name="connsiteX1766" fmla="*/ 3037 w 10785"/>
                <a:gd name="connsiteY1766" fmla="*/ 3444 h 10000"/>
                <a:gd name="connsiteX1767" fmla="*/ 3028 w 10785"/>
                <a:gd name="connsiteY1767" fmla="*/ 3453 h 10000"/>
                <a:gd name="connsiteX1768" fmla="*/ 3023 w 10785"/>
                <a:gd name="connsiteY1768" fmla="*/ 3530 h 10000"/>
                <a:gd name="connsiteX1769" fmla="*/ 3051 w 10785"/>
                <a:gd name="connsiteY1769" fmla="*/ 3624 h 10000"/>
                <a:gd name="connsiteX1770" fmla="*/ 3037 w 10785"/>
                <a:gd name="connsiteY1770" fmla="*/ 3718 h 10000"/>
                <a:gd name="connsiteX1771" fmla="*/ 3041 w 10785"/>
                <a:gd name="connsiteY1771" fmla="*/ 3752 h 10000"/>
                <a:gd name="connsiteX1772" fmla="*/ 3055 w 10785"/>
                <a:gd name="connsiteY1772" fmla="*/ 3761 h 10000"/>
                <a:gd name="connsiteX1773" fmla="*/ 3078 w 10785"/>
                <a:gd name="connsiteY1773" fmla="*/ 3752 h 10000"/>
                <a:gd name="connsiteX1774" fmla="*/ 3092 w 10785"/>
                <a:gd name="connsiteY1774" fmla="*/ 3752 h 10000"/>
                <a:gd name="connsiteX1775" fmla="*/ 3129 w 10785"/>
                <a:gd name="connsiteY1775" fmla="*/ 3761 h 10000"/>
                <a:gd name="connsiteX1776" fmla="*/ 3129 w 10785"/>
                <a:gd name="connsiteY1776" fmla="*/ 3735 h 10000"/>
                <a:gd name="connsiteX1777" fmla="*/ 3157 w 10785"/>
                <a:gd name="connsiteY1777" fmla="*/ 3718 h 10000"/>
                <a:gd name="connsiteX1778" fmla="*/ 3184 w 10785"/>
                <a:gd name="connsiteY1778" fmla="*/ 3718 h 10000"/>
                <a:gd name="connsiteX1779" fmla="*/ 3290 w 10785"/>
                <a:gd name="connsiteY1779" fmla="*/ 3838 h 10000"/>
                <a:gd name="connsiteX1780" fmla="*/ 3300 w 10785"/>
                <a:gd name="connsiteY1780" fmla="*/ 3846 h 10000"/>
                <a:gd name="connsiteX1781" fmla="*/ 3300 w 10785"/>
                <a:gd name="connsiteY1781" fmla="*/ 3915 h 10000"/>
                <a:gd name="connsiteX1782" fmla="*/ 3318 w 10785"/>
                <a:gd name="connsiteY1782" fmla="*/ 4000 h 10000"/>
                <a:gd name="connsiteX1783" fmla="*/ 3323 w 10785"/>
                <a:gd name="connsiteY1783" fmla="*/ 4000 h 10000"/>
                <a:gd name="connsiteX1784" fmla="*/ 3323 w 10785"/>
                <a:gd name="connsiteY1784" fmla="*/ 4034 h 10000"/>
                <a:gd name="connsiteX1785" fmla="*/ 3318 w 10785"/>
                <a:gd name="connsiteY1785" fmla="*/ 4051 h 10000"/>
                <a:gd name="connsiteX1786" fmla="*/ 3300 w 10785"/>
                <a:gd name="connsiteY1786" fmla="*/ 4051 h 10000"/>
                <a:gd name="connsiteX1787" fmla="*/ 3290 w 10785"/>
                <a:gd name="connsiteY1787" fmla="*/ 4077 h 10000"/>
                <a:gd name="connsiteX1788" fmla="*/ 3286 w 10785"/>
                <a:gd name="connsiteY1788" fmla="*/ 4103 h 10000"/>
                <a:gd name="connsiteX1789" fmla="*/ 3286 w 10785"/>
                <a:gd name="connsiteY1789" fmla="*/ 4197 h 10000"/>
                <a:gd name="connsiteX1790" fmla="*/ 3290 w 10785"/>
                <a:gd name="connsiteY1790" fmla="*/ 4214 h 10000"/>
                <a:gd name="connsiteX1791" fmla="*/ 3304 w 10785"/>
                <a:gd name="connsiteY1791" fmla="*/ 4214 h 10000"/>
                <a:gd name="connsiteX1792" fmla="*/ 3323 w 10785"/>
                <a:gd name="connsiteY1792" fmla="*/ 4239 h 10000"/>
                <a:gd name="connsiteX1793" fmla="*/ 3350 w 10785"/>
                <a:gd name="connsiteY1793" fmla="*/ 4222 h 10000"/>
                <a:gd name="connsiteX1794" fmla="*/ 3369 w 10785"/>
                <a:gd name="connsiteY1794" fmla="*/ 4256 h 10000"/>
                <a:gd name="connsiteX1795" fmla="*/ 3369 w 10785"/>
                <a:gd name="connsiteY1795" fmla="*/ 4256 h 10000"/>
                <a:gd name="connsiteX1796" fmla="*/ 3336 w 10785"/>
                <a:gd name="connsiteY1796" fmla="*/ 4274 h 10000"/>
                <a:gd name="connsiteX1797" fmla="*/ 3323 w 10785"/>
                <a:gd name="connsiteY1797" fmla="*/ 4274 h 10000"/>
                <a:gd name="connsiteX1798" fmla="*/ 3290 w 10785"/>
                <a:gd name="connsiteY1798" fmla="*/ 4274 h 10000"/>
                <a:gd name="connsiteX1799" fmla="*/ 3286 w 10785"/>
                <a:gd name="connsiteY1799" fmla="*/ 4239 h 10000"/>
                <a:gd name="connsiteX1800" fmla="*/ 3263 w 10785"/>
                <a:gd name="connsiteY1800" fmla="*/ 4214 h 10000"/>
                <a:gd name="connsiteX1801" fmla="*/ 3258 w 10785"/>
                <a:gd name="connsiteY1801" fmla="*/ 4188 h 10000"/>
                <a:gd name="connsiteX1802" fmla="*/ 3263 w 10785"/>
                <a:gd name="connsiteY1802" fmla="*/ 4171 h 10000"/>
                <a:gd name="connsiteX1803" fmla="*/ 3263 w 10785"/>
                <a:gd name="connsiteY1803" fmla="*/ 4103 h 10000"/>
                <a:gd name="connsiteX1804" fmla="*/ 3276 w 10785"/>
                <a:gd name="connsiteY1804" fmla="*/ 4060 h 10000"/>
                <a:gd name="connsiteX1805" fmla="*/ 3272 w 10785"/>
                <a:gd name="connsiteY1805" fmla="*/ 4051 h 10000"/>
                <a:gd name="connsiteX1806" fmla="*/ 3263 w 10785"/>
                <a:gd name="connsiteY1806" fmla="*/ 4051 h 10000"/>
                <a:gd name="connsiteX1807" fmla="*/ 3263 w 10785"/>
                <a:gd name="connsiteY1807" fmla="*/ 4034 h 10000"/>
                <a:gd name="connsiteX1808" fmla="*/ 3263 w 10785"/>
                <a:gd name="connsiteY1808" fmla="*/ 4000 h 10000"/>
                <a:gd name="connsiteX1809" fmla="*/ 3272 w 10785"/>
                <a:gd name="connsiteY1809" fmla="*/ 4000 h 10000"/>
                <a:gd name="connsiteX1810" fmla="*/ 3272 w 10785"/>
                <a:gd name="connsiteY1810" fmla="*/ 3974 h 10000"/>
                <a:gd name="connsiteX1811" fmla="*/ 3272 w 10785"/>
                <a:gd name="connsiteY1811" fmla="*/ 3966 h 10000"/>
                <a:gd name="connsiteX1812" fmla="*/ 3272 w 10785"/>
                <a:gd name="connsiteY1812" fmla="*/ 3949 h 10000"/>
                <a:gd name="connsiteX1813" fmla="*/ 3258 w 10785"/>
                <a:gd name="connsiteY1813" fmla="*/ 3923 h 10000"/>
                <a:gd name="connsiteX1814" fmla="*/ 3249 w 10785"/>
                <a:gd name="connsiteY1814" fmla="*/ 3915 h 10000"/>
                <a:gd name="connsiteX1815" fmla="*/ 3244 w 10785"/>
                <a:gd name="connsiteY1815" fmla="*/ 3897 h 10000"/>
                <a:gd name="connsiteX1816" fmla="*/ 3230 w 10785"/>
                <a:gd name="connsiteY1816" fmla="*/ 3889 h 10000"/>
                <a:gd name="connsiteX1817" fmla="*/ 3230 w 10785"/>
                <a:gd name="connsiteY1817" fmla="*/ 3863 h 10000"/>
                <a:gd name="connsiteX1818" fmla="*/ 3230 w 10785"/>
                <a:gd name="connsiteY1818" fmla="*/ 3838 h 10000"/>
                <a:gd name="connsiteX1819" fmla="*/ 3226 w 10785"/>
                <a:gd name="connsiteY1819" fmla="*/ 3803 h 10000"/>
                <a:gd name="connsiteX1820" fmla="*/ 3138 w 10785"/>
                <a:gd name="connsiteY1820" fmla="*/ 3838 h 10000"/>
                <a:gd name="connsiteX1821" fmla="*/ 3078 w 10785"/>
                <a:gd name="connsiteY1821" fmla="*/ 3889 h 10000"/>
                <a:gd name="connsiteX1822" fmla="*/ 3078 w 10785"/>
                <a:gd name="connsiteY1822" fmla="*/ 3940 h 10000"/>
                <a:gd name="connsiteX1823" fmla="*/ 3069 w 10785"/>
                <a:gd name="connsiteY1823" fmla="*/ 3983 h 10000"/>
                <a:gd name="connsiteX1824" fmla="*/ 3069 w 10785"/>
                <a:gd name="connsiteY1824" fmla="*/ 4009 h 10000"/>
                <a:gd name="connsiteX1825" fmla="*/ 3078 w 10785"/>
                <a:gd name="connsiteY1825" fmla="*/ 4026 h 10000"/>
                <a:gd name="connsiteX1826" fmla="*/ 3083 w 10785"/>
                <a:gd name="connsiteY1826" fmla="*/ 4034 h 10000"/>
                <a:gd name="connsiteX1827" fmla="*/ 3092 w 10785"/>
                <a:gd name="connsiteY1827" fmla="*/ 4060 h 10000"/>
                <a:gd name="connsiteX1828" fmla="*/ 3092 w 10785"/>
                <a:gd name="connsiteY1828" fmla="*/ 4077 h 10000"/>
                <a:gd name="connsiteX1829" fmla="*/ 3097 w 10785"/>
                <a:gd name="connsiteY1829" fmla="*/ 4103 h 10000"/>
                <a:gd name="connsiteX1830" fmla="*/ 3101 w 10785"/>
                <a:gd name="connsiteY1830" fmla="*/ 4162 h 10000"/>
                <a:gd name="connsiteX1831" fmla="*/ 3097 w 10785"/>
                <a:gd name="connsiteY1831" fmla="*/ 4222 h 10000"/>
                <a:gd name="connsiteX1832" fmla="*/ 3041 w 10785"/>
                <a:gd name="connsiteY1832" fmla="*/ 4325 h 10000"/>
                <a:gd name="connsiteX1833" fmla="*/ 3037 w 10785"/>
                <a:gd name="connsiteY1833" fmla="*/ 4419 h 10000"/>
                <a:gd name="connsiteX1834" fmla="*/ 3018 w 10785"/>
                <a:gd name="connsiteY1834" fmla="*/ 4470 h 10000"/>
                <a:gd name="connsiteX1835" fmla="*/ 2991 w 10785"/>
                <a:gd name="connsiteY1835" fmla="*/ 4513 h 10000"/>
                <a:gd name="connsiteX1836" fmla="*/ 2977 w 10785"/>
                <a:gd name="connsiteY1836" fmla="*/ 4530 h 10000"/>
                <a:gd name="connsiteX1837" fmla="*/ 2945 w 10785"/>
                <a:gd name="connsiteY1837" fmla="*/ 4556 h 10000"/>
                <a:gd name="connsiteX1838" fmla="*/ 2935 w 10785"/>
                <a:gd name="connsiteY1838" fmla="*/ 4581 h 10000"/>
                <a:gd name="connsiteX1839" fmla="*/ 2949 w 10785"/>
                <a:gd name="connsiteY1839" fmla="*/ 4624 h 10000"/>
                <a:gd name="connsiteX1840" fmla="*/ 2945 w 10785"/>
                <a:gd name="connsiteY1840" fmla="*/ 4658 h 10000"/>
                <a:gd name="connsiteX1841" fmla="*/ 2922 w 10785"/>
                <a:gd name="connsiteY1841" fmla="*/ 4667 h 10000"/>
                <a:gd name="connsiteX1842" fmla="*/ 2876 w 10785"/>
                <a:gd name="connsiteY1842" fmla="*/ 4632 h 10000"/>
                <a:gd name="connsiteX1843" fmla="*/ 2857 w 10785"/>
                <a:gd name="connsiteY1843" fmla="*/ 4632 h 10000"/>
                <a:gd name="connsiteX1844" fmla="*/ 2820 w 10785"/>
                <a:gd name="connsiteY1844" fmla="*/ 4641 h 10000"/>
                <a:gd name="connsiteX1845" fmla="*/ 2797 w 10785"/>
                <a:gd name="connsiteY1845" fmla="*/ 4632 h 10000"/>
                <a:gd name="connsiteX1846" fmla="*/ 2788 w 10785"/>
                <a:gd name="connsiteY1846" fmla="*/ 4624 h 10000"/>
                <a:gd name="connsiteX1847" fmla="*/ 2788 w 10785"/>
                <a:gd name="connsiteY1847" fmla="*/ 4598 h 10000"/>
                <a:gd name="connsiteX1848" fmla="*/ 2797 w 10785"/>
                <a:gd name="connsiteY1848" fmla="*/ 4581 h 10000"/>
                <a:gd name="connsiteX1849" fmla="*/ 2788 w 10785"/>
                <a:gd name="connsiteY1849" fmla="*/ 4530 h 10000"/>
                <a:gd name="connsiteX1850" fmla="*/ 2774 w 10785"/>
                <a:gd name="connsiteY1850" fmla="*/ 4530 h 10000"/>
                <a:gd name="connsiteX1851" fmla="*/ 2770 w 10785"/>
                <a:gd name="connsiteY1851" fmla="*/ 4513 h 10000"/>
                <a:gd name="connsiteX1852" fmla="*/ 2774 w 10785"/>
                <a:gd name="connsiteY1852" fmla="*/ 4513 h 10000"/>
                <a:gd name="connsiteX1853" fmla="*/ 2788 w 10785"/>
                <a:gd name="connsiteY1853" fmla="*/ 4496 h 10000"/>
                <a:gd name="connsiteX1854" fmla="*/ 2802 w 10785"/>
                <a:gd name="connsiteY1854" fmla="*/ 4513 h 10000"/>
                <a:gd name="connsiteX1855" fmla="*/ 2811 w 10785"/>
                <a:gd name="connsiteY1855" fmla="*/ 4530 h 10000"/>
                <a:gd name="connsiteX1856" fmla="*/ 2820 w 10785"/>
                <a:gd name="connsiteY1856" fmla="*/ 4521 h 10000"/>
                <a:gd name="connsiteX1857" fmla="*/ 2829 w 10785"/>
                <a:gd name="connsiteY1857" fmla="*/ 4513 h 10000"/>
                <a:gd name="connsiteX1858" fmla="*/ 2843 w 10785"/>
                <a:gd name="connsiteY1858" fmla="*/ 4513 h 10000"/>
                <a:gd name="connsiteX1859" fmla="*/ 2848 w 10785"/>
                <a:gd name="connsiteY1859" fmla="*/ 4470 h 10000"/>
                <a:gd name="connsiteX1860" fmla="*/ 2862 w 10785"/>
                <a:gd name="connsiteY1860" fmla="*/ 4487 h 10000"/>
                <a:gd name="connsiteX1861" fmla="*/ 2876 w 10785"/>
                <a:gd name="connsiteY1861" fmla="*/ 4470 h 10000"/>
                <a:gd name="connsiteX1862" fmla="*/ 2880 w 10785"/>
                <a:gd name="connsiteY1862" fmla="*/ 4462 h 10000"/>
                <a:gd name="connsiteX1863" fmla="*/ 2889 w 10785"/>
                <a:gd name="connsiteY1863" fmla="*/ 4444 h 10000"/>
                <a:gd name="connsiteX1864" fmla="*/ 2894 w 10785"/>
                <a:gd name="connsiteY1864" fmla="*/ 4462 h 10000"/>
                <a:gd name="connsiteX1865" fmla="*/ 2917 w 10785"/>
                <a:gd name="connsiteY1865" fmla="*/ 4444 h 10000"/>
                <a:gd name="connsiteX1866" fmla="*/ 2922 w 10785"/>
                <a:gd name="connsiteY1866" fmla="*/ 4436 h 10000"/>
                <a:gd name="connsiteX1867" fmla="*/ 2917 w 10785"/>
                <a:gd name="connsiteY1867" fmla="*/ 4410 h 10000"/>
                <a:gd name="connsiteX1868" fmla="*/ 2894 w 10785"/>
                <a:gd name="connsiteY1868" fmla="*/ 4410 h 10000"/>
                <a:gd name="connsiteX1869" fmla="*/ 2889 w 10785"/>
                <a:gd name="connsiteY1869" fmla="*/ 4419 h 10000"/>
                <a:gd name="connsiteX1870" fmla="*/ 2876 w 10785"/>
                <a:gd name="connsiteY1870" fmla="*/ 4410 h 10000"/>
                <a:gd name="connsiteX1871" fmla="*/ 2880 w 10785"/>
                <a:gd name="connsiteY1871" fmla="*/ 4376 h 10000"/>
                <a:gd name="connsiteX1872" fmla="*/ 2903 w 10785"/>
                <a:gd name="connsiteY1872" fmla="*/ 4393 h 10000"/>
                <a:gd name="connsiteX1873" fmla="*/ 2931 w 10785"/>
                <a:gd name="connsiteY1873" fmla="*/ 4393 h 10000"/>
                <a:gd name="connsiteX1874" fmla="*/ 2931 w 10785"/>
                <a:gd name="connsiteY1874" fmla="*/ 4385 h 10000"/>
                <a:gd name="connsiteX1875" fmla="*/ 2931 w 10785"/>
                <a:gd name="connsiteY1875" fmla="*/ 4350 h 10000"/>
                <a:gd name="connsiteX1876" fmla="*/ 2945 w 10785"/>
                <a:gd name="connsiteY1876" fmla="*/ 4350 h 10000"/>
                <a:gd name="connsiteX1877" fmla="*/ 2949 w 10785"/>
                <a:gd name="connsiteY1877" fmla="*/ 4325 h 10000"/>
                <a:gd name="connsiteX1878" fmla="*/ 2963 w 10785"/>
                <a:gd name="connsiteY1878" fmla="*/ 4256 h 10000"/>
                <a:gd name="connsiteX1879" fmla="*/ 2982 w 10785"/>
                <a:gd name="connsiteY1879" fmla="*/ 4239 h 10000"/>
                <a:gd name="connsiteX1880" fmla="*/ 2991 w 10785"/>
                <a:gd name="connsiteY1880" fmla="*/ 4214 h 10000"/>
                <a:gd name="connsiteX1881" fmla="*/ 2991 w 10785"/>
                <a:gd name="connsiteY1881" fmla="*/ 4197 h 10000"/>
                <a:gd name="connsiteX1882" fmla="*/ 2995 w 10785"/>
                <a:gd name="connsiteY1882" fmla="*/ 4171 h 10000"/>
                <a:gd name="connsiteX1883" fmla="*/ 2991 w 10785"/>
                <a:gd name="connsiteY1883" fmla="*/ 4077 h 10000"/>
                <a:gd name="connsiteX1884" fmla="*/ 2995 w 10785"/>
                <a:gd name="connsiteY1884" fmla="*/ 4034 h 10000"/>
                <a:gd name="connsiteX1885" fmla="*/ 3018 w 10785"/>
                <a:gd name="connsiteY1885" fmla="*/ 3983 h 10000"/>
                <a:gd name="connsiteX1886" fmla="*/ 3018 w 10785"/>
                <a:gd name="connsiteY1886" fmla="*/ 3915 h 10000"/>
                <a:gd name="connsiteX1887" fmla="*/ 2949 w 10785"/>
                <a:gd name="connsiteY1887" fmla="*/ 3778 h 10000"/>
                <a:gd name="connsiteX1888" fmla="*/ 2954 w 10785"/>
                <a:gd name="connsiteY1888" fmla="*/ 3675 h 10000"/>
                <a:gd name="connsiteX1889" fmla="*/ 2954 w 10785"/>
                <a:gd name="connsiteY1889" fmla="*/ 3650 h 10000"/>
                <a:gd name="connsiteX1890" fmla="*/ 2963 w 10785"/>
                <a:gd name="connsiteY1890" fmla="*/ 3624 h 10000"/>
                <a:gd name="connsiteX1891" fmla="*/ 2954 w 10785"/>
                <a:gd name="connsiteY1891" fmla="*/ 3564 h 10000"/>
                <a:gd name="connsiteX1892" fmla="*/ 2963 w 10785"/>
                <a:gd name="connsiteY1892" fmla="*/ 3538 h 10000"/>
                <a:gd name="connsiteX1893" fmla="*/ 2963 w 10785"/>
                <a:gd name="connsiteY1893" fmla="*/ 3487 h 10000"/>
                <a:gd name="connsiteX1894" fmla="*/ 2963 w 10785"/>
                <a:gd name="connsiteY1894" fmla="*/ 3479 h 10000"/>
                <a:gd name="connsiteX1895" fmla="*/ 2963 w 10785"/>
                <a:gd name="connsiteY1895" fmla="*/ 3462 h 10000"/>
                <a:gd name="connsiteX1896" fmla="*/ 2954 w 10785"/>
                <a:gd name="connsiteY1896" fmla="*/ 3453 h 10000"/>
                <a:gd name="connsiteX1897" fmla="*/ 2954 w 10785"/>
                <a:gd name="connsiteY1897" fmla="*/ 3444 h 10000"/>
                <a:gd name="connsiteX1898" fmla="*/ 2954 w 10785"/>
                <a:gd name="connsiteY1898" fmla="*/ 3402 h 10000"/>
                <a:gd name="connsiteX1899" fmla="*/ 2954 w 10785"/>
                <a:gd name="connsiteY1899" fmla="*/ 3393 h 10000"/>
                <a:gd name="connsiteX1900" fmla="*/ 2949 w 10785"/>
                <a:gd name="connsiteY1900" fmla="*/ 3376 h 10000"/>
                <a:gd name="connsiteX1901" fmla="*/ 2949 w 10785"/>
                <a:gd name="connsiteY1901" fmla="*/ 3342 h 10000"/>
                <a:gd name="connsiteX1902" fmla="*/ 2949 w 10785"/>
                <a:gd name="connsiteY1902" fmla="*/ 3316 h 10000"/>
                <a:gd name="connsiteX1903" fmla="*/ 2968 w 10785"/>
                <a:gd name="connsiteY1903" fmla="*/ 3291 h 10000"/>
                <a:gd name="connsiteX1904" fmla="*/ 2963 w 10785"/>
                <a:gd name="connsiteY1904" fmla="*/ 3205 h 10000"/>
                <a:gd name="connsiteX1905" fmla="*/ 2968 w 10785"/>
                <a:gd name="connsiteY1905" fmla="*/ 3171 h 10000"/>
                <a:gd name="connsiteX1906" fmla="*/ 2968 w 10785"/>
                <a:gd name="connsiteY1906" fmla="*/ 3128 h 10000"/>
                <a:gd name="connsiteX1907" fmla="*/ 2954 w 10785"/>
                <a:gd name="connsiteY1907" fmla="*/ 3051 h 10000"/>
                <a:gd name="connsiteX1908" fmla="*/ 2954 w 10785"/>
                <a:gd name="connsiteY1908" fmla="*/ 3009 h 10000"/>
                <a:gd name="connsiteX1909" fmla="*/ 2922 w 10785"/>
                <a:gd name="connsiteY1909" fmla="*/ 2940 h 10000"/>
                <a:gd name="connsiteX1910" fmla="*/ 2903 w 10785"/>
                <a:gd name="connsiteY1910" fmla="*/ 2880 h 10000"/>
                <a:gd name="connsiteX1911" fmla="*/ 2903 w 10785"/>
                <a:gd name="connsiteY1911" fmla="*/ 2855 h 10000"/>
                <a:gd name="connsiteX1912" fmla="*/ 2908 w 10785"/>
                <a:gd name="connsiteY1912" fmla="*/ 2846 h 10000"/>
                <a:gd name="connsiteX1913" fmla="*/ 2931 w 10785"/>
                <a:gd name="connsiteY1913" fmla="*/ 2821 h 10000"/>
                <a:gd name="connsiteX1914" fmla="*/ 2931 w 10785"/>
                <a:gd name="connsiteY1914" fmla="*/ 2803 h 10000"/>
                <a:gd name="connsiteX1915" fmla="*/ 2935 w 10785"/>
                <a:gd name="connsiteY1915" fmla="*/ 2786 h 10000"/>
                <a:gd name="connsiteX1916" fmla="*/ 2935 w 10785"/>
                <a:gd name="connsiteY1916" fmla="*/ 2744 h 10000"/>
                <a:gd name="connsiteX1917" fmla="*/ 2963 w 10785"/>
                <a:gd name="connsiteY1917" fmla="*/ 2607 h 10000"/>
                <a:gd name="connsiteX1918" fmla="*/ 2963 w 10785"/>
                <a:gd name="connsiteY1918" fmla="*/ 2419 h 10000"/>
                <a:gd name="connsiteX1919" fmla="*/ 2954 w 10785"/>
                <a:gd name="connsiteY1919" fmla="*/ 2410 h 10000"/>
                <a:gd name="connsiteX1920" fmla="*/ 2963 w 10785"/>
                <a:gd name="connsiteY1920" fmla="*/ 2393 h 10000"/>
                <a:gd name="connsiteX1921" fmla="*/ 2908 w 10785"/>
                <a:gd name="connsiteY1921" fmla="*/ 2359 h 10000"/>
                <a:gd name="connsiteX1922" fmla="*/ 2889 w 10785"/>
                <a:gd name="connsiteY1922" fmla="*/ 2325 h 10000"/>
                <a:gd name="connsiteX1923" fmla="*/ 2788 w 10785"/>
                <a:gd name="connsiteY1923" fmla="*/ 2333 h 10000"/>
                <a:gd name="connsiteX1924" fmla="*/ 2774 w 10785"/>
                <a:gd name="connsiteY1924" fmla="*/ 2325 h 10000"/>
                <a:gd name="connsiteX1925" fmla="*/ 2783 w 10785"/>
                <a:gd name="connsiteY1925" fmla="*/ 2308 h 10000"/>
                <a:gd name="connsiteX1926" fmla="*/ 2747 w 10785"/>
                <a:gd name="connsiteY1926" fmla="*/ 2308 h 10000"/>
                <a:gd name="connsiteX1927" fmla="*/ 2742 w 10785"/>
                <a:gd name="connsiteY1927" fmla="*/ 2333 h 10000"/>
                <a:gd name="connsiteX1928" fmla="*/ 2682 w 10785"/>
                <a:gd name="connsiteY1928" fmla="*/ 2769 h 10000"/>
                <a:gd name="connsiteX1929" fmla="*/ 2613 w 10785"/>
                <a:gd name="connsiteY1929" fmla="*/ 2940 h 10000"/>
                <a:gd name="connsiteX1930" fmla="*/ 2581 w 10785"/>
                <a:gd name="connsiteY1930" fmla="*/ 2966 h 10000"/>
                <a:gd name="connsiteX1931" fmla="*/ 2576 w 10785"/>
                <a:gd name="connsiteY1931" fmla="*/ 3051 h 10000"/>
                <a:gd name="connsiteX1932" fmla="*/ 2581 w 10785"/>
                <a:gd name="connsiteY1932" fmla="*/ 3051 h 10000"/>
                <a:gd name="connsiteX1933" fmla="*/ 2594 w 10785"/>
                <a:gd name="connsiteY1933" fmla="*/ 3017 h 10000"/>
                <a:gd name="connsiteX1934" fmla="*/ 2594 w 10785"/>
                <a:gd name="connsiteY1934" fmla="*/ 3034 h 10000"/>
                <a:gd name="connsiteX1935" fmla="*/ 2594 w 10785"/>
                <a:gd name="connsiteY1935" fmla="*/ 3051 h 10000"/>
                <a:gd name="connsiteX1936" fmla="*/ 2590 w 10785"/>
                <a:gd name="connsiteY1936" fmla="*/ 3077 h 10000"/>
                <a:gd name="connsiteX1937" fmla="*/ 2567 w 10785"/>
                <a:gd name="connsiteY1937" fmla="*/ 3103 h 10000"/>
                <a:gd name="connsiteX1938" fmla="*/ 2562 w 10785"/>
                <a:gd name="connsiteY1938" fmla="*/ 3145 h 10000"/>
                <a:gd name="connsiteX1939" fmla="*/ 2567 w 10785"/>
                <a:gd name="connsiteY1939" fmla="*/ 3179 h 10000"/>
                <a:gd name="connsiteX1940" fmla="*/ 2590 w 10785"/>
                <a:gd name="connsiteY1940" fmla="*/ 3171 h 10000"/>
                <a:gd name="connsiteX1941" fmla="*/ 2594 w 10785"/>
                <a:gd name="connsiteY1941" fmla="*/ 3145 h 10000"/>
                <a:gd name="connsiteX1942" fmla="*/ 2613 w 10785"/>
                <a:gd name="connsiteY1942" fmla="*/ 3154 h 10000"/>
                <a:gd name="connsiteX1943" fmla="*/ 2622 w 10785"/>
                <a:gd name="connsiteY1943" fmla="*/ 3179 h 10000"/>
                <a:gd name="connsiteX1944" fmla="*/ 2613 w 10785"/>
                <a:gd name="connsiteY1944" fmla="*/ 3214 h 10000"/>
                <a:gd name="connsiteX1945" fmla="*/ 2613 w 10785"/>
                <a:gd name="connsiteY1945" fmla="*/ 3308 h 10000"/>
                <a:gd name="connsiteX1946" fmla="*/ 2608 w 10785"/>
                <a:gd name="connsiteY1946" fmla="*/ 3325 h 10000"/>
                <a:gd name="connsiteX1947" fmla="*/ 2608 w 10785"/>
                <a:gd name="connsiteY1947" fmla="*/ 3376 h 10000"/>
                <a:gd name="connsiteX1948" fmla="*/ 2613 w 10785"/>
                <a:gd name="connsiteY1948" fmla="*/ 3419 h 10000"/>
                <a:gd name="connsiteX1949" fmla="*/ 2608 w 10785"/>
                <a:gd name="connsiteY1949" fmla="*/ 3444 h 10000"/>
                <a:gd name="connsiteX1950" fmla="*/ 2594 w 10785"/>
                <a:gd name="connsiteY1950" fmla="*/ 3444 h 10000"/>
                <a:gd name="connsiteX1951" fmla="*/ 2590 w 10785"/>
                <a:gd name="connsiteY1951" fmla="*/ 3427 h 10000"/>
                <a:gd name="connsiteX1952" fmla="*/ 2581 w 10785"/>
                <a:gd name="connsiteY1952" fmla="*/ 3564 h 10000"/>
                <a:gd name="connsiteX1953" fmla="*/ 2594 w 10785"/>
                <a:gd name="connsiteY1953" fmla="*/ 3598 h 10000"/>
                <a:gd name="connsiteX1954" fmla="*/ 2594 w 10785"/>
                <a:gd name="connsiteY1954" fmla="*/ 3581 h 10000"/>
                <a:gd name="connsiteX1955" fmla="*/ 2608 w 10785"/>
                <a:gd name="connsiteY1955" fmla="*/ 3556 h 10000"/>
                <a:gd name="connsiteX1956" fmla="*/ 2650 w 10785"/>
                <a:gd name="connsiteY1956" fmla="*/ 3615 h 10000"/>
                <a:gd name="connsiteX1957" fmla="*/ 2664 w 10785"/>
                <a:gd name="connsiteY1957" fmla="*/ 3615 h 10000"/>
                <a:gd name="connsiteX1958" fmla="*/ 2668 w 10785"/>
                <a:gd name="connsiteY1958" fmla="*/ 3615 h 10000"/>
                <a:gd name="connsiteX1959" fmla="*/ 2664 w 10785"/>
                <a:gd name="connsiteY1959" fmla="*/ 3667 h 10000"/>
                <a:gd name="connsiteX1960" fmla="*/ 2687 w 10785"/>
                <a:gd name="connsiteY1960" fmla="*/ 3786 h 10000"/>
                <a:gd name="connsiteX1961" fmla="*/ 2710 w 10785"/>
                <a:gd name="connsiteY1961" fmla="*/ 3812 h 10000"/>
                <a:gd name="connsiteX1962" fmla="*/ 2724 w 10785"/>
                <a:gd name="connsiteY1962" fmla="*/ 3812 h 10000"/>
                <a:gd name="connsiteX1963" fmla="*/ 2724 w 10785"/>
                <a:gd name="connsiteY1963" fmla="*/ 3829 h 10000"/>
                <a:gd name="connsiteX1964" fmla="*/ 2737 w 10785"/>
                <a:gd name="connsiteY1964" fmla="*/ 3838 h 10000"/>
                <a:gd name="connsiteX1965" fmla="*/ 2714 w 10785"/>
                <a:gd name="connsiteY1965" fmla="*/ 3872 h 10000"/>
                <a:gd name="connsiteX1966" fmla="*/ 2696 w 10785"/>
                <a:gd name="connsiteY1966" fmla="*/ 4026 h 10000"/>
                <a:gd name="connsiteX1967" fmla="*/ 2673 w 10785"/>
                <a:gd name="connsiteY1967" fmla="*/ 4051 h 10000"/>
                <a:gd name="connsiteX1968" fmla="*/ 2668 w 10785"/>
                <a:gd name="connsiteY1968" fmla="*/ 4034 h 10000"/>
                <a:gd name="connsiteX1969" fmla="*/ 2673 w 10785"/>
                <a:gd name="connsiteY1969" fmla="*/ 4000 h 10000"/>
                <a:gd name="connsiteX1970" fmla="*/ 2664 w 10785"/>
                <a:gd name="connsiteY1970" fmla="*/ 3974 h 10000"/>
                <a:gd name="connsiteX1971" fmla="*/ 2636 w 10785"/>
                <a:gd name="connsiteY1971" fmla="*/ 3949 h 10000"/>
                <a:gd name="connsiteX1972" fmla="*/ 2581 w 10785"/>
                <a:gd name="connsiteY1972" fmla="*/ 3838 h 10000"/>
                <a:gd name="connsiteX1973" fmla="*/ 2562 w 10785"/>
                <a:gd name="connsiteY1973" fmla="*/ 3829 h 10000"/>
                <a:gd name="connsiteX1974" fmla="*/ 2535 w 10785"/>
                <a:gd name="connsiteY1974" fmla="*/ 3778 h 10000"/>
                <a:gd name="connsiteX1975" fmla="*/ 2502 w 10785"/>
                <a:gd name="connsiteY1975" fmla="*/ 3761 h 10000"/>
                <a:gd name="connsiteX1976" fmla="*/ 2502 w 10785"/>
                <a:gd name="connsiteY1976" fmla="*/ 3735 h 10000"/>
                <a:gd name="connsiteX1977" fmla="*/ 2516 w 10785"/>
                <a:gd name="connsiteY1977" fmla="*/ 3735 h 10000"/>
                <a:gd name="connsiteX1978" fmla="*/ 2507 w 10785"/>
                <a:gd name="connsiteY1978" fmla="*/ 3726 h 10000"/>
                <a:gd name="connsiteX1979" fmla="*/ 2488 w 10785"/>
                <a:gd name="connsiteY1979" fmla="*/ 3726 h 10000"/>
                <a:gd name="connsiteX1980" fmla="*/ 2461 w 10785"/>
                <a:gd name="connsiteY1980" fmla="*/ 3692 h 10000"/>
                <a:gd name="connsiteX1981" fmla="*/ 2442 w 10785"/>
                <a:gd name="connsiteY1981" fmla="*/ 3675 h 10000"/>
                <a:gd name="connsiteX1982" fmla="*/ 2406 w 10785"/>
                <a:gd name="connsiteY1982" fmla="*/ 3598 h 10000"/>
                <a:gd name="connsiteX1983" fmla="*/ 2346 w 10785"/>
                <a:gd name="connsiteY1983" fmla="*/ 3564 h 10000"/>
                <a:gd name="connsiteX1984" fmla="*/ 2341 w 10785"/>
                <a:gd name="connsiteY1984" fmla="*/ 3564 h 10000"/>
                <a:gd name="connsiteX1985" fmla="*/ 2313 w 10785"/>
                <a:gd name="connsiteY1985" fmla="*/ 3530 h 10000"/>
                <a:gd name="connsiteX1986" fmla="*/ 2235 w 10785"/>
                <a:gd name="connsiteY1986" fmla="*/ 3530 h 10000"/>
                <a:gd name="connsiteX1987" fmla="*/ 2226 w 10785"/>
                <a:gd name="connsiteY1987" fmla="*/ 3513 h 10000"/>
                <a:gd name="connsiteX1988" fmla="*/ 2207 w 10785"/>
                <a:gd name="connsiteY1988" fmla="*/ 3504 h 10000"/>
                <a:gd name="connsiteX1989" fmla="*/ 2194 w 10785"/>
                <a:gd name="connsiteY1989" fmla="*/ 3504 h 10000"/>
                <a:gd name="connsiteX1990" fmla="*/ 2189 w 10785"/>
                <a:gd name="connsiteY1990" fmla="*/ 3504 h 10000"/>
                <a:gd name="connsiteX1991" fmla="*/ 2189 w 10785"/>
                <a:gd name="connsiteY1991" fmla="*/ 3530 h 10000"/>
                <a:gd name="connsiteX1992" fmla="*/ 2180 w 10785"/>
                <a:gd name="connsiteY1992" fmla="*/ 3538 h 10000"/>
                <a:gd name="connsiteX1993" fmla="*/ 2152 w 10785"/>
                <a:gd name="connsiteY1993" fmla="*/ 3581 h 10000"/>
                <a:gd name="connsiteX1994" fmla="*/ 2161 w 10785"/>
                <a:gd name="connsiteY1994" fmla="*/ 3598 h 10000"/>
                <a:gd name="connsiteX1995" fmla="*/ 2194 w 10785"/>
                <a:gd name="connsiteY1995" fmla="*/ 3752 h 10000"/>
                <a:gd name="connsiteX1996" fmla="*/ 2194 w 10785"/>
                <a:gd name="connsiteY1996" fmla="*/ 3735 h 10000"/>
                <a:gd name="connsiteX1997" fmla="*/ 2198 w 10785"/>
                <a:gd name="connsiteY1997" fmla="*/ 3735 h 10000"/>
                <a:gd name="connsiteX1998" fmla="*/ 2189 w 10785"/>
                <a:gd name="connsiteY1998" fmla="*/ 3838 h 10000"/>
                <a:gd name="connsiteX1999" fmla="*/ 2166 w 10785"/>
                <a:gd name="connsiteY1999" fmla="*/ 3889 h 10000"/>
                <a:gd name="connsiteX2000" fmla="*/ 2124 w 10785"/>
                <a:gd name="connsiteY2000" fmla="*/ 3889 h 10000"/>
                <a:gd name="connsiteX2001" fmla="*/ 2124 w 10785"/>
                <a:gd name="connsiteY2001" fmla="*/ 3923 h 10000"/>
                <a:gd name="connsiteX2002" fmla="*/ 2134 w 10785"/>
                <a:gd name="connsiteY2002" fmla="*/ 3940 h 10000"/>
                <a:gd name="connsiteX2003" fmla="*/ 2134 w 10785"/>
                <a:gd name="connsiteY2003" fmla="*/ 3966 h 10000"/>
                <a:gd name="connsiteX2004" fmla="*/ 2120 w 10785"/>
                <a:gd name="connsiteY2004" fmla="*/ 4000 h 10000"/>
                <a:gd name="connsiteX2005" fmla="*/ 2106 w 10785"/>
                <a:gd name="connsiteY2005" fmla="*/ 4009 h 10000"/>
                <a:gd name="connsiteX2006" fmla="*/ 2088 w 10785"/>
                <a:gd name="connsiteY2006" fmla="*/ 4000 h 10000"/>
                <a:gd name="connsiteX2007" fmla="*/ 2074 w 10785"/>
                <a:gd name="connsiteY2007" fmla="*/ 3974 h 10000"/>
                <a:gd name="connsiteX2008" fmla="*/ 2074 w 10785"/>
                <a:gd name="connsiteY2008" fmla="*/ 3940 h 10000"/>
                <a:gd name="connsiteX2009" fmla="*/ 2078 w 10785"/>
                <a:gd name="connsiteY2009" fmla="*/ 3915 h 10000"/>
                <a:gd name="connsiteX2010" fmla="*/ 2088 w 10785"/>
                <a:gd name="connsiteY2010" fmla="*/ 3889 h 10000"/>
                <a:gd name="connsiteX2011" fmla="*/ 2101 w 10785"/>
                <a:gd name="connsiteY2011" fmla="*/ 3872 h 10000"/>
                <a:gd name="connsiteX2012" fmla="*/ 2074 w 10785"/>
                <a:gd name="connsiteY2012" fmla="*/ 3812 h 10000"/>
                <a:gd name="connsiteX2013" fmla="*/ 2074 w 10785"/>
                <a:gd name="connsiteY2013" fmla="*/ 3786 h 10000"/>
                <a:gd name="connsiteX2014" fmla="*/ 2060 w 10785"/>
                <a:gd name="connsiteY2014" fmla="*/ 3786 h 10000"/>
                <a:gd name="connsiteX2015" fmla="*/ 2014 w 10785"/>
                <a:gd name="connsiteY2015" fmla="*/ 3829 h 10000"/>
                <a:gd name="connsiteX2016" fmla="*/ 2000 w 10785"/>
                <a:gd name="connsiteY2016" fmla="*/ 3863 h 10000"/>
                <a:gd name="connsiteX2017" fmla="*/ 1986 w 10785"/>
                <a:gd name="connsiteY2017" fmla="*/ 3872 h 10000"/>
                <a:gd name="connsiteX2018" fmla="*/ 1959 w 10785"/>
                <a:gd name="connsiteY2018" fmla="*/ 3940 h 10000"/>
                <a:gd name="connsiteX2019" fmla="*/ 1945 w 10785"/>
                <a:gd name="connsiteY2019" fmla="*/ 3949 h 10000"/>
                <a:gd name="connsiteX2020" fmla="*/ 1940 w 10785"/>
                <a:gd name="connsiteY2020" fmla="*/ 3923 h 10000"/>
                <a:gd name="connsiteX2021" fmla="*/ 1917 w 10785"/>
                <a:gd name="connsiteY2021" fmla="*/ 3915 h 10000"/>
                <a:gd name="connsiteX2022" fmla="*/ 1899 w 10785"/>
                <a:gd name="connsiteY2022" fmla="*/ 3923 h 10000"/>
                <a:gd name="connsiteX2023" fmla="*/ 1880 w 10785"/>
                <a:gd name="connsiteY2023" fmla="*/ 3915 h 10000"/>
                <a:gd name="connsiteX2024" fmla="*/ 1853 w 10785"/>
                <a:gd name="connsiteY2024" fmla="*/ 3940 h 10000"/>
                <a:gd name="connsiteX2025" fmla="*/ 1839 w 10785"/>
                <a:gd name="connsiteY2025" fmla="*/ 3940 h 10000"/>
                <a:gd name="connsiteX2026" fmla="*/ 1806 w 10785"/>
                <a:gd name="connsiteY2026" fmla="*/ 3983 h 10000"/>
                <a:gd name="connsiteX2027" fmla="*/ 1806 w 10785"/>
                <a:gd name="connsiteY2027" fmla="*/ 4000 h 10000"/>
                <a:gd name="connsiteX2028" fmla="*/ 1797 w 10785"/>
                <a:gd name="connsiteY2028" fmla="*/ 4077 h 10000"/>
                <a:gd name="connsiteX2029" fmla="*/ 1783 w 10785"/>
                <a:gd name="connsiteY2029" fmla="*/ 4077 h 10000"/>
                <a:gd name="connsiteX2030" fmla="*/ 1779 w 10785"/>
                <a:gd name="connsiteY2030" fmla="*/ 4051 h 10000"/>
                <a:gd name="connsiteX2031" fmla="*/ 1765 w 10785"/>
                <a:gd name="connsiteY2031" fmla="*/ 4026 h 10000"/>
                <a:gd name="connsiteX2032" fmla="*/ 1751 w 10785"/>
                <a:gd name="connsiteY2032" fmla="*/ 4051 h 10000"/>
                <a:gd name="connsiteX2033" fmla="*/ 1737 w 10785"/>
                <a:gd name="connsiteY2033" fmla="*/ 4009 h 10000"/>
                <a:gd name="connsiteX2034" fmla="*/ 1737 w 10785"/>
                <a:gd name="connsiteY2034" fmla="*/ 3966 h 10000"/>
                <a:gd name="connsiteX2035" fmla="*/ 1733 w 10785"/>
                <a:gd name="connsiteY2035" fmla="*/ 3940 h 10000"/>
                <a:gd name="connsiteX2036" fmla="*/ 1733 w 10785"/>
                <a:gd name="connsiteY2036" fmla="*/ 3923 h 10000"/>
                <a:gd name="connsiteX2037" fmla="*/ 1747 w 10785"/>
                <a:gd name="connsiteY2037" fmla="*/ 3889 h 10000"/>
                <a:gd name="connsiteX2038" fmla="*/ 1747 w 10785"/>
                <a:gd name="connsiteY2038" fmla="*/ 3863 h 10000"/>
                <a:gd name="connsiteX2039" fmla="*/ 1737 w 10785"/>
                <a:gd name="connsiteY2039" fmla="*/ 3838 h 10000"/>
                <a:gd name="connsiteX2040" fmla="*/ 1733 w 10785"/>
                <a:gd name="connsiteY2040" fmla="*/ 3829 h 10000"/>
                <a:gd name="connsiteX2041" fmla="*/ 1733 w 10785"/>
                <a:gd name="connsiteY2041" fmla="*/ 3846 h 10000"/>
                <a:gd name="connsiteX2042" fmla="*/ 1724 w 10785"/>
                <a:gd name="connsiteY2042" fmla="*/ 3846 h 10000"/>
                <a:gd name="connsiteX2043" fmla="*/ 1724 w 10785"/>
                <a:gd name="connsiteY2043" fmla="*/ 3829 h 10000"/>
                <a:gd name="connsiteX2044" fmla="*/ 1737 w 10785"/>
                <a:gd name="connsiteY2044" fmla="*/ 3812 h 10000"/>
                <a:gd name="connsiteX2045" fmla="*/ 1765 w 10785"/>
                <a:gd name="connsiteY2045" fmla="*/ 3812 h 10000"/>
                <a:gd name="connsiteX2046" fmla="*/ 1779 w 10785"/>
                <a:gd name="connsiteY2046" fmla="*/ 3786 h 10000"/>
                <a:gd name="connsiteX2047" fmla="*/ 1779 w 10785"/>
                <a:gd name="connsiteY2047" fmla="*/ 3786 h 10000"/>
                <a:gd name="connsiteX2048" fmla="*/ 1751 w 10785"/>
                <a:gd name="connsiteY2048" fmla="*/ 3803 h 10000"/>
                <a:gd name="connsiteX2049" fmla="*/ 1747 w 10785"/>
                <a:gd name="connsiteY2049" fmla="*/ 3803 h 10000"/>
                <a:gd name="connsiteX2050" fmla="*/ 1724 w 10785"/>
                <a:gd name="connsiteY2050" fmla="*/ 3803 h 10000"/>
                <a:gd name="connsiteX2051" fmla="*/ 1700 w 10785"/>
                <a:gd name="connsiteY2051" fmla="*/ 3829 h 10000"/>
                <a:gd name="connsiteX2052" fmla="*/ 1705 w 10785"/>
                <a:gd name="connsiteY2052" fmla="*/ 3846 h 10000"/>
                <a:gd name="connsiteX2053" fmla="*/ 1691 w 10785"/>
                <a:gd name="connsiteY2053" fmla="*/ 3846 h 10000"/>
                <a:gd name="connsiteX2054" fmla="*/ 1691 w 10785"/>
                <a:gd name="connsiteY2054" fmla="*/ 3863 h 10000"/>
                <a:gd name="connsiteX2055" fmla="*/ 1691 w 10785"/>
                <a:gd name="connsiteY2055" fmla="*/ 3915 h 10000"/>
                <a:gd name="connsiteX2056" fmla="*/ 1677 w 10785"/>
                <a:gd name="connsiteY2056" fmla="*/ 3923 h 10000"/>
                <a:gd name="connsiteX2057" fmla="*/ 1673 w 10785"/>
                <a:gd name="connsiteY2057" fmla="*/ 3915 h 10000"/>
                <a:gd name="connsiteX2058" fmla="*/ 1664 w 10785"/>
                <a:gd name="connsiteY2058" fmla="*/ 3889 h 10000"/>
                <a:gd name="connsiteX2059" fmla="*/ 1673 w 10785"/>
                <a:gd name="connsiteY2059" fmla="*/ 3872 h 10000"/>
                <a:gd name="connsiteX2060" fmla="*/ 1664 w 10785"/>
                <a:gd name="connsiteY2060" fmla="*/ 3872 h 10000"/>
                <a:gd name="connsiteX2061" fmla="*/ 1636 w 10785"/>
                <a:gd name="connsiteY2061" fmla="*/ 3923 h 10000"/>
                <a:gd name="connsiteX2062" fmla="*/ 1645 w 10785"/>
                <a:gd name="connsiteY2062" fmla="*/ 3923 h 10000"/>
                <a:gd name="connsiteX2063" fmla="*/ 1650 w 10785"/>
                <a:gd name="connsiteY2063" fmla="*/ 3949 h 10000"/>
                <a:gd name="connsiteX2064" fmla="*/ 1650 w 10785"/>
                <a:gd name="connsiteY2064" fmla="*/ 3983 h 10000"/>
                <a:gd name="connsiteX2065" fmla="*/ 1636 w 10785"/>
                <a:gd name="connsiteY2065" fmla="*/ 4000 h 10000"/>
                <a:gd name="connsiteX2066" fmla="*/ 1631 w 10785"/>
                <a:gd name="connsiteY2066" fmla="*/ 4009 h 10000"/>
                <a:gd name="connsiteX2067" fmla="*/ 1618 w 10785"/>
                <a:gd name="connsiteY2067" fmla="*/ 3949 h 10000"/>
                <a:gd name="connsiteX2068" fmla="*/ 1585 w 10785"/>
                <a:gd name="connsiteY2068" fmla="*/ 3966 h 10000"/>
                <a:gd name="connsiteX2069" fmla="*/ 1590 w 10785"/>
                <a:gd name="connsiteY2069" fmla="*/ 3974 h 10000"/>
                <a:gd name="connsiteX2070" fmla="*/ 1544 w 10785"/>
                <a:gd name="connsiteY2070" fmla="*/ 4009 h 10000"/>
                <a:gd name="connsiteX2071" fmla="*/ 1539 w 10785"/>
                <a:gd name="connsiteY2071" fmla="*/ 4009 h 10000"/>
                <a:gd name="connsiteX2072" fmla="*/ 1410 w 10785"/>
                <a:gd name="connsiteY2072" fmla="*/ 4188 h 10000"/>
                <a:gd name="connsiteX2073" fmla="*/ 1406 w 10785"/>
                <a:gd name="connsiteY2073" fmla="*/ 4171 h 10000"/>
                <a:gd name="connsiteX2074" fmla="*/ 1396 w 10785"/>
                <a:gd name="connsiteY2074" fmla="*/ 4214 h 10000"/>
                <a:gd name="connsiteX2075" fmla="*/ 1406 w 10785"/>
                <a:gd name="connsiteY2075" fmla="*/ 4222 h 10000"/>
                <a:gd name="connsiteX2076" fmla="*/ 1392 w 10785"/>
                <a:gd name="connsiteY2076" fmla="*/ 4239 h 10000"/>
                <a:gd name="connsiteX2077" fmla="*/ 1369 w 10785"/>
                <a:gd name="connsiteY2077" fmla="*/ 4248 h 10000"/>
                <a:gd name="connsiteX2078" fmla="*/ 1355 w 10785"/>
                <a:gd name="connsiteY2078" fmla="*/ 4256 h 10000"/>
                <a:gd name="connsiteX2079" fmla="*/ 1350 w 10785"/>
                <a:gd name="connsiteY2079" fmla="*/ 4248 h 10000"/>
                <a:gd name="connsiteX2080" fmla="*/ 1332 w 10785"/>
                <a:gd name="connsiteY2080" fmla="*/ 4376 h 10000"/>
                <a:gd name="connsiteX2081" fmla="*/ 1332 w 10785"/>
                <a:gd name="connsiteY2081" fmla="*/ 4436 h 10000"/>
                <a:gd name="connsiteX2082" fmla="*/ 1323 w 10785"/>
                <a:gd name="connsiteY2082" fmla="*/ 4462 h 10000"/>
                <a:gd name="connsiteX2083" fmla="*/ 1304 w 10785"/>
                <a:gd name="connsiteY2083" fmla="*/ 4487 h 10000"/>
                <a:gd name="connsiteX2084" fmla="*/ 1290 w 10785"/>
                <a:gd name="connsiteY2084" fmla="*/ 4470 h 10000"/>
                <a:gd name="connsiteX2085" fmla="*/ 1263 w 10785"/>
                <a:gd name="connsiteY2085" fmla="*/ 4496 h 10000"/>
                <a:gd name="connsiteX2086" fmla="*/ 1258 w 10785"/>
                <a:gd name="connsiteY2086" fmla="*/ 4547 h 10000"/>
                <a:gd name="connsiteX2087" fmla="*/ 1249 w 10785"/>
                <a:gd name="connsiteY2087" fmla="*/ 4487 h 10000"/>
                <a:gd name="connsiteX2088" fmla="*/ 1235 w 10785"/>
                <a:gd name="connsiteY2088" fmla="*/ 4496 h 10000"/>
                <a:gd name="connsiteX2089" fmla="*/ 1221 w 10785"/>
                <a:gd name="connsiteY2089" fmla="*/ 4496 h 10000"/>
                <a:gd name="connsiteX2090" fmla="*/ 1217 w 10785"/>
                <a:gd name="connsiteY2090" fmla="*/ 4487 h 10000"/>
                <a:gd name="connsiteX2091" fmla="*/ 1198 w 10785"/>
                <a:gd name="connsiteY2091" fmla="*/ 4410 h 10000"/>
                <a:gd name="connsiteX2092" fmla="*/ 1157 w 10785"/>
                <a:gd name="connsiteY2092" fmla="*/ 4333 h 10000"/>
                <a:gd name="connsiteX2093" fmla="*/ 1147 w 10785"/>
                <a:gd name="connsiteY2093" fmla="*/ 4299 h 10000"/>
                <a:gd name="connsiteX2094" fmla="*/ 1147 w 10785"/>
                <a:gd name="connsiteY2094" fmla="*/ 4274 h 10000"/>
                <a:gd name="connsiteX2095" fmla="*/ 1161 w 10785"/>
                <a:gd name="connsiteY2095" fmla="*/ 4256 h 10000"/>
                <a:gd name="connsiteX2096" fmla="*/ 1171 w 10785"/>
                <a:gd name="connsiteY2096" fmla="*/ 4248 h 10000"/>
                <a:gd name="connsiteX2097" fmla="*/ 1175 w 10785"/>
                <a:gd name="connsiteY2097" fmla="*/ 4214 h 10000"/>
                <a:gd name="connsiteX2098" fmla="*/ 1263 w 10785"/>
                <a:gd name="connsiteY2098" fmla="*/ 4171 h 10000"/>
                <a:gd name="connsiteX2099" fmla="*/ 1249 w 10785"/>
                <a:gd name="connsiteY2099" fmla="*/ 4137 h 10000"/>
                <a:gd name="connsiteX2100" fmla="*/ 1244 w 10785"/>
                <a:gd name="connsiteY2100" fmla="*/ 4060 h 10000"/>
                <a:gd name="connsiteX2101" fmla="*/ 1230 w 10785"/>
                <a:gd name="connsiteY2101" fmla="*/ 4077 h 10000"/>
                <a:gd name="connsiteX2102" fmla="*/ 1221 w 10785"/>
                <a:gd name="connsiteY2102" fmla="*/ 4026 h 10000"/>
                <a:gd name="connsiteX2103" fmla="*/ 1217 w 10785"/>
                <a:gd name="connsiteY2103" fmla="*/ 4026 h 10000"/>
                <a:gd name="connsiteX2104" fmla="*/ 1212 w 10785"/>
                <a:gd name="connsiteY2104" fmla="*/ 3983 h 10000"/>
                <a:gd name="connsiteX2105" fmla="*/ 1203 w 10785"/>
                <a:gd name="connsiteY2105" fmla="*/ 3966 h 10000"/>
                <a:gd name="connsiteX2106" fmla="*/ 1171 w 10785"/>
                <a:gd name="connsiteY2106" fmla="*/ 3949 h 10000"/>
                <a:gd name="connsiteX2107" fmla="*/ 1111 w 10785"/>
                <a:gd name="connsiteY2107" fmla="*/ 3940 h 10000"/>
                <a:gd name="connsiteX2108" fmla="*/ 1097 w 10785"/>
                <a:gd name="connsiteY2108" fmla="*/ 3949 h 10000"/>
                <a:gd name="connsiteX2109" fmla="*/ 1037 w 10785"/>
                <a:gd name="connsiteY2109" fmla="*/ 3897 h 10000"/>
                <a:gd name="connsiteX2110" fmla="*/ 1041 w 10785"/>
                <a:gd name="connsiteY2110" fmla="*/ 3923 h 10000"/>
                <a:gd name="connsiteX2111" fmla="*/ 1097 w 10785"/>
                <a:gd name="connsiteY2111" fmla="*/ 4009 h 10000"/>
                <a:gd name="connsiteX2112" fmla="*/ 1097 w 10785"/>
                <a:gd name="connsiteY2112" fmla="*/ 4120 h 10000"/>
                <a:gd name="connsiteX2113" fmla="*/ 1097 w 10785"/>
                <a:gd name="connsiteY2113" fmla="*/ 4162 h 10000"/>
                <a:gd name="connsiteX2114" fmla="*/ 1097 w 10785"/>
                <a:gd name="connsiteY2114" fmla="*/ 4197 h 10000"/>
                <a:gd name="connsiteX2115" fmla="*/ 1074 w 10785"/>
                <a:gd name="connsiteY2115" fmla="*/ 4333 h 10000"/>
                <a:gd name="connsiteX2116" fmla="*/ 1074 w 10785"/>
                <a:gd name="connsiteY2116" fmla="*/ 4376 h 10000"/>
                <a:gd name="connsiteX2117" fmla="*/ 1083 w 10785"/>
                <a:gd name="connsiteY2117" fmla="*/ 4385 h 10000"/>
                <a:gd name="connsiteX2118" fmla="*/ 1097 w 10785"/>
                <a:gd name="connsiteY2118" fmla="*/ 4385 h 10000"/>
                <a:gd name="connsiteX2119" fmla="*/ 1111 w 10785"/>
                <a:gd name="connsiteY2119" fmla="*/ 4410 h 10000"/>
                <a:gd name="connsiteX2120" fmla="*/ 1124 w 10785"/>
                <a:gd name="connsiteY2120" fmla="*/ 4444 h 10000"/>
                <a:gd name="connsiteX2121" fmla="*/ 1124 w 10785"/>
                <a:gd name="connsiteY2121" fmla="*/ 4470 h 10000"/>
                <a:gd name="connsiteX2122" fmla="*/ 1115 w 10785"/>
                <a:gd name="connsiteY2122" fmla="*/ 4513 h 10000"/>
                <a:gd name="connsiteX2123" fmla="*/ 1115 w 10785"/>
                <a:gd name="connsiteY2123" fmla="*/ 4530 h 10000"/>
                <a:gd name="connsiteX2124" fmla="*/ 1115 w 10785"/>
                <a:gd name="connsiteY2124" fmla="*/ 4573 h 10000"/>
                <a:gd name="connsiteX2125" fmla="*/ 1101 w 10785"/>
                <a:gd name="connsiteY2125" fmla="*/ 4607 h 10000"/>
                <a:gd name="connsiteX2126" fmla="*/ 1097 w 10785"/>
                <a:gd name="connsiteY2126" fmla="*/ 4658 h 10000"/>
                <a:gd name="connsiteX2127" fmla="*/ 1101 w 10785"/>
                <a:gd name="connsiteY2127" fmla="*/ 4692 h 10000"/>
                <a:gd name="connsiteX2128" fmla="*/ 1097 w 10785"/>
                <a:gd name="connsiteY2128" fmla="*/ 4778 h 10000"/>
                <a:gd name="connsiteX2129" fmla="*/ 1083 w 10785"/>
                <a:gd name="connsiteY2129" fmla="*/ 4744 h 10000"/>
                <a:gd name="connsiteX2130" fmla="*/ 1083 w 10785"/>
                <a:gd name="connsiteY2130" fmla="*/ 4718 h 10000"/>
                <a:gd name="connsiteX2131" fmla="*/ 1074 w 10785"/>
                <a:gd name="connsiteY2131" fmla="*/ 4692 h 10000"/>
                <a:gd name="connsiteX2132" fmla="*/ 1065 w 10785"/>
                <a:gd name="connsiteY2132" fmla="*/ 4692 h 10000"/>
                <a:gd name="connsiteX2133" fmla="*/ 1051 w 10785"/>
                <a:gd name="connsiteY2133" fmla="*/ 4718 h 10000"/>
                <a:gd name="connsiteX2134" fmla="*/ 1055 w 10785"/>
                <a:gd name="connsiteY2134" fmla="*/ 4692 h 10000"/>
                <a:gd name="connsiteX2135" fmla="*/ 1055 w 10785"/>
                <a:gd name="connsiteY2135" fmla="*/ 4667 h 10000"/>
                <a:gd name="connsiteX2136" fmla="*/ 1028 w 10785"/>
                <a:gd name="connsiteY2136" fmla="*/ 4624 h 10000"/>
                <a:gd name="connsiteX2137" fmla="*/ 1005 w 10785"/>
                <a:gd name="connsiteY2137" fmla="*/ 4624 h 10000"/>
                <a:gd name="connsiteX2138" fmla="*/ 977 w 10785"/>
                <a:gd name="connsiteY2138" fmla="*/ 4581 h 10000"/>
                <a:gd name="connsiteX2139" fmla="*/ 963 w 10785"/>
                <a:gd name="connsiteY2139" fmla="*/ 4607 h 10000"/>
                <a:gd name="connsiteX2140" fmla="*/ 963 w 10785"/>
                <a:gd name="connsiteY2140" fmla="*/ 4632 h 10000"/>
                <a:gd name="connsiteX2141" fmla="*/ 917 w 10785"/>
                <a:gd name="connsiteY2141" fmla="*/ 4718 h 10000"/>
                <a:gd name="connsiteX2142" fmla="*/ 889 w 10785"/>
                <a:gd name="connsiteY2142" fmla="*/ 4744 h 10000"/>
                <a:gd name="connsiteX2143" fmla="*/ 880 w 10785"/>
                <a:gd name="connsiteY2143" fmla="*/ 4744 h 10000"/>
                <a:gd name="connsiteX2144" fmla="*/ 862 w 10785"/>
                <a:gd name="connsiteY2144" fmla="*/ 4769 h 10000"/>
                <a:gd name="connsiteX2145" fmla="*/ 857 w 10785"/>
                <a:gd name="connsiteY2145" fmla="*/ 4795 h 10000"/>
                <a:gd name="connsiteX2146" fmla="*/ 829 w 10785"/>
                <a:gd name="connsiteY2146" fmla="*/ 4846 h 10000"/>
                <a:gd name="connsiteX2147" fmla="*/ 816 w 10785"/>
                <a:gd name="connsiteY2147" fmla="*/ 4855 h 10000"/>
                <a:gd name="connsiteX2148" fmla="*/ 816 w 10785"/>
                <a:gd name="connsiteY2148" fmla="*/ 4940 h 10000"/>
                <a:gd name="connsiteX2149" fmla="*/ 880 w 10785"/>
                <a:gd name="connsiteY2149" fmla="*/ 5179 h 10000"/>
                <a:gd name="connsiteX2150" fmla="*/ 880 w 10785"/>
                <a:gd name="connsiteY2150" fmla="*/ 5188 h 10000"/>
                <a:gd name="connsiteX2151" fmla="*/ 862 w 10785"/>
                <a:gd name="connsiteY2151" fmla="*/ 5171 h 10000"/>
                <a:gd name="connsiteX2152" fmla="*/ 857 w 10785"/>
                <a:gd name="connsiteY2152" fmla="*/ 5171 h 10000"/>
                <a:gd name="connsiteX2153" fmla="*/ 820 w 10785"/>
                <a:gd name="connsiteY2153" fmla="*/ 5145 h 10000"/>
                <a:gd name="connsiteX2154" fmla="*/ 820 w 10785"/>
                <a:gd name="connsiteY2154" fmla="*/ 5154 h 10000"/>
                <a:gd name="connsiteX2155" fmla="*/ 816 w 10785"/>
                <a:gd name="connsiteY2155" fmla="*/ 5171 h 10000"/>
                <a:gd name="connsiteX2156" fmla="*/ 783 w 10785"/>
                <a:gd name="connsiteY2156" fmla="*/ 5145 h 10000"/>
                <a:gd name="connsiteX2157" fmla="*/ 756 w 10785"/>
                <a:gd name="connsiteY2157" fmla="*/ 5103 h 10000"/>
                <a:gd name="connsiteX2158" fmla="*/ 742 w 10785"/>
                <a:gd name="connsiteY2158" fmla="*/ 5103 h 10000"/>
                <a:gd name="connsiteX2159" fmla="*/ 728 w 10785"/>
                <a:gd name="connsiteY2159" fmla="*/ 5094 h 10000"/>
                <a:gd name="connsiteX2160" fmla="*/ 710 w 10785"/>
                <a:gd name="connsiteY2160" fmla="*/ 5120 h 10000"/>
                <a:gd name="connsiteX2161" fmla="*/ 700 w 10785"/>
                <a:gd name="connsiteY2161" fmla="*/ 5145 h 10000"/>
                <a:gd name="connsiteX2162" fmla="*/ 696 w 10785"/>
                <a:gd name="connsiteY2162" fmla="*/ 5103 h 10000"/>
                <a:gd name="connsiteX2163" fmla="*/ 714 w 10785"/>
                <a:gd name="connsiteY2163" fmla="*/ 5077 h 10000"/>
                <a:gd name="connsiteX2164" fmla="*/ 682 w 10785"/>
                <a:gd name="connsiteY2164" fmla="*/ 5068 h 10000"/>
                <a:gd name="connsiteX2165" fmla="*/ 673 w 10785"/>
                <a:gd name="connsiteY2165" fmla="*/ 5034 h 10000"/>
                <a:gd name="connsiteX2166" fmla="*/ 636 w 10785"/>
                <a:gd name="connsiteY2166" fmla="*/ 4991 h 10000"/>
                <a:gd name="connsiteX2167" fmla="*/ 622 w 10785"/>
                <a:gd name="connsiteY2167" fmla="*/ 4983 h 10000"/>
                <a:gd name="connsiteX2168" fmla="*/ 622 w 10785"/>
                <a:gd name="connsiteY2168" fmla="*/ 5034 h 10000"/>
                <a:gd name="connsiteX2169" fmla="*/ 608 w 10785"/>
                <a:gd name="connsiteY2169" fmla="*/ 5051 h 10000"/>
                <a:gd name="connsiteX2170" fmla="*/ 594 w 10785"/>
                <a:gd name="connsiteY2170" fmla="*/ 5068 h 10000"/>
                <a:gd name="connsiteX2171" fmla="*/ 608 w 10785"/>
                <a:gd name="connsiteY2171" fmla="*/ 5120 h 10000"/>
                <a:gd name="connsiteX2172" fmla="*/ 613 w 10785"/>
                <a:gd name="connsiteY2172" fmla="*/ 5128 h 10000"/>
                <a:gd name="connsiteX2173" fmla="*/ 627 w 10785"/>
                <a:gd name="connsiteY2173" fmla="*/ 5179 h 10000"/>
                <a:gd name="connsiteX2174" fmla="*/ 650 w 10785"/>
                <a:gd name="connsiteY2174" fmla="*/ 5214 h 10000"/>
                <a:gd name="connsiteX2175" fmla="*/ 687 w 10785"/>
                <a:gd name="connsiteY2175" fmla="*/ 5188 h 10000"/>
                <a:gd name="connsiteX2176" fmla="*/ 700 w 10785"/>
                <a:gd name="connsiteY2176" fmla="*/ 5325 h 10000"/>
                <a:gd name="connsiteX2177" fmla="*/ 710 w 10785"/>
                <a:gd name="connsiteY2177" fmla="*/ 5350 h 10000"/>
                <a:gd name="connsiteX2178" fmla="*/ 687 w 10785"/>
                <a:gd name="connsiteY2178" fmla="*/ 5325 h 10000"/>
                <a:gd name="connsiteX2179" fmla="*/ 668 w 10785"/>
                <a:gd name="connsiteY2179" fmla="*/ 5350 h 10000"/>
                <a:gd name="connsiteX2180" fmla="*/ 668 w 10785"/>
                <a:gd name="connsiteY2180" fmla="*/ 5368 h 10000"/>
                <a:gd name="connsiteX2181" fmla="*/ 668 w 10785"/>
                <a:gd name="connsiteY2181" fmla="*/ 5376 h 10000"/>
                <a:gd name="connsiteX2182" fmla="*/ 581 w 10785"/>
                <a:gd name="connsiteY2182" fmla="*/ 5316 h 10000"/>
                <a:gd name="connsiteX2183" fmla="*/ 567 w 10785"/>
                <a:gd name="connsiteY2183" fmla="*/ 5265 h 10000"/>
                <a:gd name="connsiteX2184" fmla="*/ 562 w 10785"/>
                <a:gd name="connsiteY2184" fmla="*/ 5256 h 10000"/>
                <a:gd name="connsiteX2185" fmla="*/ 548 w 10785"/>
                <a:gd name="connsiteY2185" fmla="*/ 5231 h 10000"/>
                <a:gd name="connsiteX2186" fmla="*/ 535 w 10785"/>
                <a:gd name="connsiteY2186" fmla="*/ 5214 h 10000"/>
                <a:gd name="connsiteX2187" fmla="*/ 525 w 10785"/>
                <a:gd name="connsiteY2187" fmla="*/ 5231 h 10000"/>
                <a:gd name="connsiteX2188" fmla="*/ 521 w 10785"/>
                <a:gd name="connsiteY2188" fmla="*/ 5231 h 10000"/>
                <a:gd name="connsiteX2189" fmla="*/ 493 w 10785"/>
                <a:gd name="connsiteY2189" fmla="*/ 5205 h 10000"/>
                <a:gd name="connsiteX2190" fmla="*/ 488 w 10785"/>
                <a:gd name="connsiteY2190" fmla="*/ 5179 h 10000"/>
                <a:gd name="connsiteX2191" fmla="*/ 475 w 10785"/>
                <a:gd name="connsiteY2191" fmla="*/ 5188 h 10000"/>
                <a:gd name="connsiteX2192" fmla="*/ 475 w 10785"/>
                <a:gd name="connsiteY2192" fmla="*/ 5171 h 10000"/>
                <a:gd name="connsiteX2193" fmla="*/ 488 w 10785"/>
                <a:gd name="connsiteY2193" fmla="*/ 5154 h 10000"/>
                <a:gd name="connsiteX2194" fmla="*/ 488 w 10785"/>
                <a:gd name="connsiteY2194" fmla="*/ 5068 h 10000"/>
                <a:gd name="connsiteX2195" fmla="*/ 475 w 10785"/>
                <a:gd name="connsiteY2195" fmla="*/ 5051 h 10000"/>
                <a:gd name="connsiteX2196" fmla="*/ 475 w 10785"/>
                <a:gd name="connsiteY2196" fmla="*/ 5017 h 10000"/>
                <a:gd name="connsiteX2197" fmla="*/ 452 w 10785"/>
                <a:gd name="connsiteY2197" fmla="*/ 4932 h 10000"/>
                <a:gd name="connsiteX2198" fmla="*/ 461 w 10785"/>
                <a:gd name="connsiteY2198" fmla="*/ 4915 h 10000"/>
                <a:gd name="connsiteX2199" fmla="*/ 475 w 10785"/>
                <a:gd name="connsiteY2199" fmla="*/ 4906 h 10000"/>
                <a:gd name="connsiteX2200" fmla="*/ 479 w 10785"/>
                <a:gd name="connsiteY2200" fmla="*/ 4803 h 10000"/>
                <a:gd name="connsiteX2201" fmla="*/ 479 w 10785"/>
                <a:gd name="connsiteY2201" fmla="*/ 4778 h 10000"/>
                <a:gd name="connsiteX2202" fmla="*/ 475 w 10785"/>
                <a:gd name="connsiteY2202" fmla="*/ 4761 h 10000"/>
                <a:gd name="connsiteX2203" fmla="*/ 465 w 10785"/>
                <a:gd name="connsiteY2203" fmla="*/ 4718 h 10000"/>
                <a:gd name="connsiteX2204" fmla="*/ 461 w 10785"/>
                <a:gd name="connsiteY2204" fmla="*/ 4709 h 10000"/>
                <a:gd name="connsiteX2205" fmla="*/ 442 w 10785"/>
                <a:gd name="connsiteY2205" fmla="*/ 4692 h 10000"/>
                <a:gd name="connsiteX2206" fmla="*/ 433 w 10785"/>
                <a:gd name="connsiteY2206" fmla="*/ 4667 h 10000"/>
                <a:gd name="connsiteX2207" fmla="*/ 419 w 10785"/>
                <a:gd name="connsiteY2207" fmla="*/ 4667 h 10000"/>
                <a:gd name="connsiteX2208" fmla="*/ 401 w 10785"/>
                <a:gd name="connsiteY2208" fmla="*/ 4658 h 10000"/>
                <a:gd name="connsiteX2209" fmla="*/ 401 w 10785"/>
                <a:gd name="connsiteY2209" fmla="*/ 4624 h 10000"/>
                <a:gd name="connsiteX2210" fmla="*/ 401 w 10785"/>
                <a:gd name="connsiteY2210" fmla="*/ 4607 h 10000"/>
                <a:gd name="connsiteX2211" fmla="*/ 378 w 10785"/>
                <a:gd name="connsiteY2211" fmla="*/ 4607 h 10000"/>
                <a:gd name="connsiteX2212" fmla="*/ 341 w 10785"/>
                <a:gd name="connsiteY2212" fmla="*/ 4530 h 10000"/>
                <a:gd name="connsiteX2213" fmla="*/ 346 w 10785"/>
                <a:gd name="connsiteY2213" fmla="*/ 4521 h 10000"/>
                <a:gd name="connsiteX2214" fmla="*/ 332 w 10785"/>
                <a:gd name="connsiteY2214" fmla="*/ 4487 h 10000"/>
                <a:gd name="connsiteX2215" fmla="*/ 327 w 10785"/>
                <a:gd name="connsiteY2215" fmla="*/ 4462 h 10000"/>
                <a:gd name="connsiteX2216" fmla="*/ 313 w 10785"/>
                <a:gd name="connsiteY2216" fmla="*/ 4436 h 10000"/>
                <a:gd name="connsiteX2217" fmla="*/ 300 w 10785"/>
                <a:gd name="connsiteY2217" fmla="*/ 4419 h 10000"/>
                <a:gd name="connsiteX2218" fmla="*/ 309 w 10785"/>
                <a:gd name="connsiteY2218" fmla="*/ 4393 h 10000"/>
                <a:gd name="connsiteX2219" fmla="*/ 332 w 10785"/>
                <a:gd name="connsiteY2219" fmla="*/ 4385 h 10000"/>
                <a:gd name="connsiteX2220" fmla="*/ 355 w 10785"/>
                <a:gd name="connsiteY2220" fmla="*/ 4419 h 10000"/>
                <a:gd name="connsiteX2221" fmla="*/ 355 w 10785"/>
                <a:gd name="connsiteY2221" fmla="*/ 4444 h 10000"/>
                <a:gd name="connsiteX2222" fmla="*/ 369 w 10785"/>
                <a:gd name="connsiteY2222" fmla="*/ 4470 h 10000"/>
                <a:gd name="connsiteX2223" fmla="*/ 401 w 10785"/>
                <a:gd name="connsiteY2223" fmla="*/ 4521 h 10000"/>
                <a:gd name="connsiteX2224" fmla="*/ 406 w 10785"/>
                <a:gd name="connsiteY2224" fmla="*/ 4513 h 10000"/>
                <a:gd name="connsiteX2225" fmla="*/ 406 w 10785"/>
                <a:gd name="connsiteY2225" fmla="*/ 4496 h 10000"/>
                <a:gd name="connsiteX2226" fmla="*/ 419 w 10785"/>
                <a:gd name="connsiteY2226" fmla="*/ 4521 h 10000"/>
                <a:gd name="connsiteX2227" fmla="*/ 429 w 10785"/>
                <a:gd name="connsiteY2227" fmla="*/ 4530 h 10000"/>
                <a:gd name="connsiteX2228" fmla="*/ 433 w 10785"/>
                <a:gd name="connsiteY2228" fmla="*/ 4521 h 10000"/>
                <a:gd name="connsiteX2229" fmla="*/ 442 w 10785"/>
                <a:gd name="connsiteY2229" fmla="*/ 4530 h 10000"/>
                <a:gd name="connsiteX2230" fmla="*/ 447 w 10785"/>
                <a:gd name="connsiteY2230" fmla="*/ 4521 h 10000"/>
                <a:gd name="connsiteX2231" fmla="*/ 452 w 10785"/>
                <a:gd name="connsiteY2231" fmla="*/ 4521 h 10000"/>
                <a:gd name="connsiteX2232" fmla="*/ 461 w 10785"/>
                <a:gd name="connsiteY2232" fmla="*/ 4573 h 10000"/>
                <a:gd name="connsiteX2233" fmla="*/ 479 w 10785"/>
                <a:gd name="connsiteY2233" fmla="*/ 4556 h 10000"/>
                <a:gd name="connsiteX2234" fmla="*/ 502 w 10785"/>
                <a:gd name="connsiteY2234" fmla="*/ 4573 h 10000"/>
                <a:gd name="connsiteX2235" fmla="*/ 507 w 10785"/>
                <a:gd name="connsiteY2235" fmla="*/ 4598 h 10000"/>
                <a:gd name="connsiteX2236" fmla="*/ 525 w 10785"/>
                <a:gd name="connsiteY2236" fmla="*/ 4598 h 10000"/>
                <a:gd name="connsiteX2237" fmla="*/ 535 w 10785"/>
                <a:gd name="connsiteY2237" fmla="*/ 4624 h 10000"/>
                <a:gd name="connsiteX2238" fmla="*/ 594 w 10785"/>
                <a:gd name="connsiteY2238" fmla="*/ 4658 h 10000"/>
                <a:gd name="connsiteX2239" fmla="*/ 627 w 10785"/>
                <a:gd name="connsiteY2239" fmla="*/ 4658 h 10000"/>
                <a:gd name="connsiteX2240" fmla="*/ 654 w 10785"/>
                <a:gd name="connsiteY2240" fmla="*/ 4684 h 10000"/>
                <a:gd name="connsiteX2241" fmla="*/ 668 w 10785"/>
                <a:gd name="connsiteY2241" fmla="*/ 4709 h 10000"/>
                <a:gd name="connsiteX2242" fmla="*/ 747 w 10785"/>
                <a:gd name="connsiteY2242" fmla="*/ 4718 h 10000"/>
                <a:gd name="connsiteX2243" fmla="*/ 760 w 10785"/>
                <a:gd name="connsiteY2243" fmla="*/ 4709 h 10000"/>
                <a:gd name="connsiteX2244" fmla="*/ 774 w 10785"/>
                <a:gd name="connsiteY2244" fmla="*/ 4692 h 10000"/>
                <a:gd name="connsiteX2245" fmla="*/ 829 w 10785"/>
                <a:gd name="connsiteY2245" fmla="*/ 4658 h 10000"/>
                <a:gd name="connsiteX2246" fmla="*/ 903 w 10785"/>
                <a:gd name="connsiteY2246" fmla="*/ 4496 h 10000"/>
                <a:gd name="connsiteX2247" fmla="*/ 917 w 10785"/>
                <a:gd name="connsiteY2247" fmla="*/ 4385 h 10000"/>
                <a:gd name="connsiteX2248" fmla="*/ 903 w 10785"/>
                <a:gd name="connsiteY2248" fmla="*/ 4376 h 10000"/>
                <a:gd name="connsiteX2249" fmla="*/ 903 w 10785"/>
                <a:gd name="connsiteY2249" fmla="*/ 4376 h 10000"/>
                <a:gd name="connsiteX2250" fmla="*/ 889 w 10785"/>
                <a:gd name="connsiteY2250" fmla="*/ 4239 h 10000"/>
                <a:gd name="connsiteX2251" fmla="*/ 880 w 10785"/>
                <a:gd name="connsiteY2251" fmla="*/ 4214 h 10000"/>
                <a:gd name="connsiteX2252" fmla="*/ 862 w 10785"/>
                <a:gd name="connsiteY2252" fmla="*/ 4188 h 10000"/>
                <a:gd name="connsiteX2253" fmla="*/ 857 w 10785"/>
                <a:gd name="connsiteY2253" fmla="*/ 4197 h 10000"/>
                <a:gd name="connsiteX2254" fmla="*/ 848 w 10785"/>
                <a:gd name="connsiteY2254" fmla="*/ 4188 h 10000"/>
                <a:gd name="connsiteX2255" fmla="*/ 848 w 10785"/>
                <a:gd name="connsiteY2255" fmla="*/ 4162 h 10000"/>
                <a:gd name="connsiteX2256" fmla="*/ 829 w 10785"/>
                <a:gd name="connsiteY2256" fmla="*/ 4120 h 10000"/>
                <a:gd name="connsiteX2257" fmla="*/ 820 w 10785"/>
                <a:gd name="connsiteY2257" fmla="*/ 4103 h 10000"/>
                <a:gd name="connsiteX2258" fmla="*/ 806 w 10785"/>
                <a:gd name="connsiteY2258" fmla="*/ 4077 h 10000"/>
                <a:gd name="connsiteX2259" fmla="*/ 816 w 10785"/>
                <a:gd name="connsiteY2259" fmla="*/ 4111 h 10000"/>
                <a:gd name="connsiteX2260" fmla="*/ 802 w 10785"/>
                <a:gd name="connsiteY2260" fmla="*/ 4111 h 10000"/>
                <a:gd name="connsiteX2261" fmla="*/ 770 w 10785"/>
                <a:gd name="connsiteY2261" fmla="*/ 4060 h 10000"/>
                <a:gd name="connsiteX2262" fmla="*/ 760 w 10785"/>
                <a:gd name="connsiteY2262" fmla="*/ 4077 h 10000"/>
                <a:gd name="connsiteX2263" fmla="*/ 760 w 10785"/>
                <a:gd name="connsiteY2263" fmla="*/ 4060 h 10000"/>
                <a:gd name="connsiteX2264" fmla="*/ 756 w 10785"/>
                <a:gd name="connsiteY2264" fmla="*/ 4034 h 10000"/>
                <a:gd name="connsiteX2265" fmla="*/ 742 w 10785"/>
                <a:gd name="connsiteY2265" fmla="*/ 4000 h 10000"/>
                <a:gd name="connsiteX2266" fmla="*/ 747 w 10785"/>
                <a:gd name="connsiteY2266" fmla="*/ 4034 h 10000"/>
                <a:gd name="connsiteX2267" fmla="*/ 724 w 10785"/>
                <a:gd name="connsiteY2267" fmla="*/ 4026 h 10000"/>
                <a:gd name="connsiteX2268" fmla="*/ 714 w 10785"/>
                <a:gd name="connsiteY2268" fmla="*/ 4000 h 10000"/>
                <a:gd name="connsiteX2269" fmla="*/ 714 w 10785"/>
                <a:gd name="connsiteY2269" fmla="*/ 3983 h 10000"/>
                <a:gd name="connsiteX2270" fmla="*/ 553 w 10785"/>
                <a:gd name="connsiteY2270" fmla="*/ 3726 h 10000"/>
                <a:gd name="connsiteX2271" fmla="*/ 507 w 10785"/>
                <a:gd name="connsiteY2271" fmla="*/ 3718 h 10000"/>
                <a:gd name="connsiteX2272" fmla="*/ 516 w 10785"/>
                <a:gd name="connsiteY2272" fmla="*/ 3726 h 10000"/>
                <a:gd name="connsiteX2273" fmla="*/ 507 w 10785"/>
                <a:gd name="connsiteY2273" fmla="*/ 3735 h 10000"/>
                <a:gd name="connsiteX2274" fmla="*/ 502 w 10785"/>
                <a:gd name="connsiteY2274" fmla="*/ 3735 h 10000"/>
                <a:gd name="connsiteX2275" fmla="*/ 419 w 10785"/>
                <a:gd name="connsiteY2275" fmla="*/ 3675 h 10000"/>
                <a:gd name="connsiteX2276" fmla="*/ 419 w 10785"/>
                <a:gd name="connsiteY2276" fmla="*/ 3692 h 10000"/>
                <a:gd name="connsiteX2277" fmla="*/ 401 w 10785"/>
                <a:gd name="connsiteY2277" fmla="*/ 3701 h 10000"/>
                <a:gd name="connsiteX2278" fmla="*/ 387 w 10785"/>
                <a:gd name="connsiteY2278" fmla="*/ 3718 h 10000"/>
                <a:gd name="connsiteX2279" fmla="*/ 387 w 10785"/>
                <a:gd name="connsiteY2279" fmla="*/ 3692 h 10000"/>
                <a:gd name="connsiteX2280" fmla="*/ 378 w 10785"/>
                <a:gd name="connsiteY2280" fmla="*/ 3675 h 10000"/>
                <a:gd name="connsiteX2281" fmla="*/ 378 w 10785"/>
                <a:gd name="connsiteY2281" fmla="*/ 3650 h 10000"/>
                <a:gd name="connsiteX2282" fmla="*/ 378 w 10785"/>
                <a:gd name="connsiteY2282" fmla="*/ 3650 h 10000"/>
                <a:gd name="connsiteX2283" fmla="*/ 355 w 10785"/>
                <a:gd name="connsiteY2283" fmla="*/ 3675 h 10000"/>
                <a:gd name="connsiteX2284" fmla="*/ 359 w 10785"/>
                <a:gd name="connsiteY2284" fmla="*/ 3641 h 10000"/>
                <a:gd name="connsiteX2285" fmla="*/ 346 w 10785"/>
                <a:gd name="connsiteY2285" fmla="*/ 3650 h 10000"/>
                <a:gd name="connsiteX2286" fmla="*/ 355 w 10785"/>
                <a:gd name="connsiteY2286" fmla="*/ 3624 h 10000"/>
                <a:gd name="connsiteX2287" fmla="*/ 346 w 10785"/>
                <a:gd name="connsiteY2287" fmla="*/ 3624 h 10000"/>
                <a:gd name="connsiteX2288" fmla="*/ 341 w 10785"/>
                <a:gd name="connsiteY2288" fmla="*/ 3624 h 10000"/>
                <a:gd name="connsiteX2289" fmla="*/ 318 w 10785"/>
                <a:gd name="connsiteY2289" fmla="*/ 3641 h 10000"/>
                <a:gd name="connsiteX2290" fmla="*/ 327 w 10785"/>
                <a:gd name="connsiteY2290" fmla="*/ 3624 h 10000"/>
                <a:gd name="connsiteX2291" fmla="*/ 318 w 10785"/>
                <a:gd name="connsiteY2291" fmla="*/ 3615 h 10000"/>
                <a:gd name="connsiteX2292" fmla="*/ 318 w 10785"/>
                <a:gd name="connsiteY2292" fmla="*/ 3598 h 10000"/>
                <a:gd name="connsiteX2293" fmla="*/ 300 w 10785"/>
                <a:gd name="connsiteY2293" fmla="*/ 3598 h 10000"/>
                <a:gd name="connsiteX2294" fmla="*/ 309 w 10785"/>
                <a:gd name="connsiteY2294" fmla="*/ 3538 h 10000"/>
                <a:gd name="connsiteX2295" fmla="*/ 313 w 10785"/>
                <a:gd name="connsiteY2295" fmla="*/ 3564 h 10000"/>
                <a:gd name="connsiteX2296" fmla="*/ 318 w 10785"/>
                <a:gd name="connsiteY2296" fmla="*/ 3581 h 10000"/>
                <a:gd name="connsiteX2297" fmla="*/ 327 w 10785"/>
                <a:gd name="connsiteY2297" fmla="*/ 3564 h 10000"/>
                <a:gd name="connsiteX2298" fmla="*/ 332 w 10785"/>
                <a:gd name="connsiteY2298" fmla="*/ 3590 h 10000"/>
                <a:gd name="connsiteX2299" fmla="*/ 346 w 10785"/>
                <a:gd name="connsiteY2299" fmla="*/ 3590 h 10000"/>
                <a:gd name="connsiteX2300" fmla="*/ 355 w 10785"/>
                <a:gd name="connsiteY2300" fmla="*/ 3590 h 10000"/>
                <a:gd name="connsiteX2301" fmla="*/ 369 w 10785"/>
                <a:gd name="connsiteY2301" fmla="*/ 3556 h 10000"/>
                <a:gd name="connsiteX2302" fmla="*/ 369 w 10785"/>
                <a:gd name="connsiteY2302" fmla="*/ 3538 h 10000"/>
                <a:gd name="connsiteX2303" fmla="*/ 346 w 10785"/>
                <a:gd name="connsiteY2303" fmla="*/ 3513 h 10000"/>
                <a:gd name="connsiteX2304" fmla="*/ 341 w 10785"/>
                <a:gd name="connsiteY2304" fmla="*/ 3530 h 10000"/>
                <a:gd name="connsiteX2305" fmla="*/ 327 w 10785"/>
                <a:gd name="connsiteY2305" fmla="*/ 3513 h 10000"/>
                <a:gd name="connsiteX2306" fmla="*/ 327 w 10785"/>
                <a:gd name="connsiteY2306" fmla="*/ 3504 h 10000"/>
                <a:gd name="connsiteX2307" fmla="*/ 295 w 10785"/>
                <a:gd name="connsiteY2307" fmla="*/ 3462 h 10000"/>
                <a:gd name="connsiteX2308" fmla="*/ 300 w 10785"/>
                <a:gd name="connsiteY2308" fmla="*/ 3479 h 10000"/>
                <a:gd name="connsiteX2309" fmla="*/ 295 w 10785"/>
                <a:gd name="connsiteY2309" fmla="*/ 3513 h 10000"/>
                <a:gd name="connsiteX2310" fmla="*/ 286 w 10785"/>
                <a:gd name="connsiteY2310" fmla="*/ 3513 h 10000"/>
                <a:gd name="connsiteX2311" fmla="*/ 281 w 10785"/>
                <a:gd name="connsiteY2311" fmla="*/ 3513 h 10000"/>
                <a:gd name="connsiteX2312" fmla="*/ 281 w 10785"/>
                <a:gd name="connsiteY2312" fmla="*/ 3530 h 10000"/>
                <a:gd name="connsiteX2313" fmla="*/ 281 w 10785"/>
                <a:gd name="connsiteY2313" fmla="*/ 3556 h 10000"/>
                <a:gd name="connsiteX2314" fmla="*/ 272 w 10785"/>
                <a:gd name="connsiteY2314" fmla="*/ 3564 h 10000"/>
                <a:gd name="connsiteX2315" fmla="*/ 267 w 10785"/>
                <a:gd name="connsiteY2315" fmla="*/ 3564 h 10000"/>
                <a:gd name="connsiteX2316" fmla="*/ 253 w 10785"/>
                <a:gd name="connsiteY2316" fmla="*/ 3538 h 10000"/>
                <a:gd name="connsiteX2317" fmla="*/ 226 w 10785"/>
                <a:gd name="connsiteY2317" fmla="*/ 3513 h 10000"/>
                <a:gd name="connsiteX2318" fmla="*/ 226 w 10785"/>
                <a:gd name="connsiteY2318" fmla="*/ 3530 h 10000"/>
                <a:gd name="connsiteX2319" fmla="*/ 226 w 10785"/>
                <a:gd name="connsiteY2319" fmla="*/ 3530 h 10000"/>
                <a:gd name="connsiteX2320" fmla="*/ 226 w 10785"/>
                <a:gd name="connsiteY2320" fmla="*/ 3530 h 10000"/>
                <a:gd name="connsiteX2321" fmla="*/ 226 w 10785"/>
                <a:gd name="connsiteY2321" fmla="*/ 3556 h 10000"/>
                <a:gd name="connsiteX2322" fmla="*/ 221 w 10785"/>
                <a:gd name="connsiteY2322" fmla="*/ 3598 h 10000"/>
                <a:gd name="connsiteX2323" fmla="*/ 207 w 10785"/>
                <a:gd name="connsiteY2323" fmla="*/ 3598 h 10000"/>
                <a:gd name="connsiteX2324" fmla="*/ 180 w 10785"/>
                <a:gd name="connsiteY2324" fmla="*/ 3581 h 10000"/>
                <a:gd name="connsiteX2325" fmla="*/ 171 w 10785"/>
                <a:gd name="connsiteY2325" fmla="*/ 3641 h 10000"/>
                <a:gd name="connsiteX2326" fmla="*/ 166 w 10785"/>
                <a:gd name="connsiteY2326" fmla="*/ 3650 h 10000"/>
                <a:gd name="connsiteX2327" fmla="*/ 124 w 10785"/>
                <a:gd name="connsiteY2327" fmla="*/ 3701 h 10000"/>
                <a:gd name="connsiteX2328" fmla="*/ 124 w 10785"/>
                <a:gd name="connsiteY2328" fmla="*/ 3718 h 10000"/>
                <a:gd name="connsiteX2329" fmla="*/ 120 w 10785"/>
                <a:gd name="connsiteY2329" fmla="*/ 3735 h 10000"/>
                <a:gd name="connsiteX2330" fmla="*/ 120 w 10785"/>
                <a:gd name="connsiteY2330" fmla="*/ 3735 h 10000"/>
                <a:gd name="connsiteX2331" fmla="*/ 111 w 10785"/>
                <a:gd name="connsiteY2331" fmla="*/ 3761 h 10000"/>
                <a:gd name="connsiteX2332" fmla="*/ 106 w 10785"/>
                <a:gd name="connsiteY2332" fmla="*/ 3761 h 10000"/>
                <a:gd name="connsiteX2333" fmla="*/ 106 w 10785"/>
                <a:gd name="connsiteY2333" fmla="*/ 3761 h 10000"/>
                <a:gd name="connsiteX2334" fmla="*/ 74 w 10785"/>
                <a:gd name="connsiteY2334" fmla="*/ 3829 h 10000"/>
                <a:gd name="connsiteX2335" fmla="*/ 78 w 10785"/>
                <a:gd name="connsiteY2335" fmla="*/ 3838 h 10000"/>
                <a:gd name="connsiteX2336" fmla="*/ 88 w 10785"/>
                <a:gd name="connsiteY2336" fmla="*/ 3846 h 10000"/>
                <a:gd name="connsiteX2337" fmla="*/ 65 w 10785"/>
                <a:gd name="connsiteY2337" fmla="*/ 3923 h 10000"/>
                <a:gd name="connsiteX2338" fmla="*/ 78 w 10785"/>
                <a:gd name="connsiteY2338" fmla="*/ 4026 h 10000"/>
                <a:gd name="connsiteX2339" fmla="*/ 88 w 10785"/>
                <a:gd name="connsiteY2339" fmla="*/ 4051 h 10000"/>
                <a:gd name="connsiteX2340" fmla="*/ 92 w 10785"/>
                <a:gd name="connsiteY2340" fmla="*/ 4060 h 10000"/>
                <a:gd name="connsiteX2341" fmla="*/ 111 w 10785"/>
                <a:gd name="connsiteY2341" fmla="*/ 4060 h 10000"/>
                <a:gd name="connsiteX2342" fmla="*/ 124 w 10785"/>
                <a:gd name="connsiteY2342" fmla="*/ 4085 h 10000"/>
                <a:gd name="connsiteX2343" fmla="*/ 166 w 10785"/>
                <a:gd name="connsiteY2343" fmla="*/ 4197 h 10000"/>
                <a:gd name="connsiteX2344" fmla="*/ 166 w 10785"/>
                <a:gd name="connsiteY2344" fmla="*/ 4248 h 10000"/>
                <a:gd name="connsiteX2345" fmla="*/ 120 w 10785"/>
                <a:gd name="connsiteY2345" fmla="*/ 4462 h 10000"/>
                <a:gd name="connsiteX2346" fmla="*/ 120 w 10785"/>
                <a:gd name="connsiteY2346" fmla="*/ 4513 h 10000"/>
                <a:gd name="connsiteX2347" fmla="*/ 180 w 10785"/>
                <a:gd name="connsiteY2347" fmla="*/ 4829 h 10000"/>
                <a:gd name="connsiteX2348" fmla="*/ 161 w 10785"/>
                <a:gd name="connsiteY2348" fmla="*/ 4855 h 10000"/>
                <a:gd name="connsiteX2349" fmla="*/ 152 w 10785"/>
                <a:gd name="connsiteY2349" fmla="*/ 4940 h 10000"/>
                <a:gd name="connsiteX2350" fmla="*/ 161 w 10785"/>
                <a:gd name="connsiteY2350" fmla="*/ 4966 h 10000"/>
                <a:gd name="connsiteX2351" fmla="*/ 161 w 10785"/>
                <a:gd name="connsiteY2351" fmla="*/ 5009 h 10000"/>
                <a:gd name="connsiteX2352" fmla="*/ 152 w 10785"/>
                <a:gd name="connsiteY2352" fmla="*/ 5034 h 10000"/>
                <a:gd name="connsiteX2353" fmla="*/ 152 w 10785"/>
                <a:gd name="connsiteY2353" fmla="*/ 5077 h 10000"/>
                <a:gd name="connsiteX2354" fmla="*/ 171 w 10785"/>
                <a:gd name="connsiteY2354" fmla="*/ 5094 h 10000"/>
                <a:gd name="connsiteX2355" fmla="*/ 180 w 10785"/>
                <a:gd name="connsiteY2355" fmla="*/ 5128 h 10000"/>
                <a:gd name="connsiteX2356" fmla="*/ 180 w 10785"/>
                <a:gd name="connsiteY2356" fmla="*/ 5171 h 10000"/>
                <a:gd name="connsiteX2357" fmla="*/ 184 w 10785"/>
                <a:gd name="connsiteY2357" fmla="*/ 5205 h 10000"/>
                <a:gd name="connsiteX2358" fmla="*/ 207 w 10785"/>
                <a:gd name="connsiteY2358" fmla="*/ 5239 h 10000"/>
                <a:gd name="connsiteX2359" fmla="*/ 207 w 10785"/>
                <a:gd name="connsiteY2359" fmla="*/ 5282 h 10000"/>
                <a:gd name="connsiteX2360" fmla="*/ 180 w 10785"/>
                <a:gd name="connsiteY2360" fmla="*/ 5393 h 10000"/>
                <a:gd name="connsiteX2361" fmla="*/ 194 w 10785"/>
                <a:gd name="connsiteY2361" fmla="*/ 5427 h 10000"/>
                <a:gd name="connsiteX2362" fmla="*/ 198 w 10785"/>
                <a:gd name="connsiteY2362" fmla="*/ 5462 h 10000"/>
                <a:gd name="connsiteX2363" fmla="*/ 235 w 10785"/>
                <a:gd name="connsiteY2363" fmla="*/ 5513 h 10000"/>
                <a:gd name="connsiteX2364" fmla="*/ 240 w 10785"/>
                <a:gd name="connsiteY2364" fmla="*/ 5556 h 10000"/>
                <a:gd name="connsiteX2365" fmla="*/ 253 w 10785"/>
                <a:gd name="connsiteY2365" fmla="*/ 5590 h 10000"/>
                <a:gd name="connsiteX2366" fmla="*/ 258 w 10785"/>
                <a:gd name="connsiteY2366" fmla="*/ 5573 h 10000"/>
                <a:gd name="connsiteX2367" fmla="*/ 258 w 10785"/>
                <a:gd name="connsiteY2367" fmla="*/ 5667 h 10000"/>
                <a:gd name="connsiteX2368" fmla="*/ 14 w 10785"/>
                <a:gd name="connsiteY2368" fmla="*/ 6214 h 10000"/>
                <a:gd name="connsiteX2369" fmla="*/ 14 w 10785"/>
                <a:gd name="connsiteY2369" fmla="*/ 6214 h 10000"/>
                <a:gd name="connsiteX2370" fmla="*/ 37 w 10785"/>
                <a:gd name="connsiteY2370" fmla="*/ 6214 h 10000"/>
                <a:gd name="connsiteX2371" fmla="*/ 51 w 10785"/>
                <a:gd name="connsiteY2371" fmla="*/ 6188 h 10000"/>
                <a:gd name="connsiteX2372" fmla="*/ 78 w 10785"/>
                <a:gd name="connsiteY2372" fmla="*/ 6162 h 10000"/>
                <a:gd name="connsiteX2373" fmla="*/ 78 w 10785"/>
                <a:gd name="connsiteY2373" fmla="*/ 6188 h 10000"/>
                <a:gd name="connsiteX2374" fmla="*/ 74 w 10785"/>
                <a:gd name="connsiteY2374" fmla="*/ 6197 h 10000"/>
                <a:gd name="connsiteX2375" fmla="*/ 74 w 10785"/>
                <a:gd name="connsiteY2375" fmla="*/ 6231 h 10000"/>
                <a:gd name="connsiteX2376" fmla="*/ 74 w 10785"/>
                <a:gd name="connsiteY2376" fmla="*/ 6214 h 10000"/>
                <a:gd name="connsiteX2377" fmla="*/ 65 w 10785"/>
                <a:gd name="connsiteY2377" fmla="*/ 6214 h 10000"/>
                <a:gd name="connsiteX2378" fmla="*/ 65 w 10785"/>
                <a:gd name="connsiteY2378" fmla="*/ 6248 h 10000"/>
                <a:gd name="connsiteX2379" fmla="*/ 74 w 10785"/>
                <a:gd name="connsiteY2379" fmla="*/ 6256 h 10000"/>
                <a:gd name="connsiteX2380" fmla="*/ 78 w 10785"/>
                <a:gd name="connsiteY2380" fmla="*/ 6256 h 10000"/>
                <a:gd name="connsiteX2381" fmla="*/ 106 w 10785"/>
                <a:gd name="connsiteY2381" fmla="*/ 6308 h 10000"/>
                <a:gd name="connsiteX2382" fmla="*/ 138 w 10785"/>
                <a:gd name="connsiteY2382" fmla="*/ 6299 h 10000"/>
                <a:gd name="connsiteX2383" fmla="*/ 152 w 10785"/>
                <a:gd name="connsiteY2383" fmla="*/ 6299 h 10000"/>
                <a:gd name="connsiteX2384" fmla="*/ 166 w 10785"/>
                <a:gd name="connsiteY2384" fmla="*/ 6325 h 10000"/>
                <a:gd name="connsiteX2385" fmla="*/ 166 w 10785"/>
                <a:gd name="connsiteY2385" fmla="*/ 6333 h 10000"/>
                <a:gd name="connsiteX2386" fmla="*/ 171 w 10785"/>
                <a:gd name="connsiteY2386" fmla="*/ 6350 h 10000"/>
                <a:gd name="connsiteX2387" fmla="*/ 180 w 10785"/>
                <a:gd name="connsiteY2387" fmla="*/ 6350 h 10000"/>
                <a:gd name="connsiteX2388" fmla="*/ 180 w 10785"/>
                <a:gd name="connsiteY2388" fmla="*/ 6359 h 10000"/>
                <a:gd name="connsiteX2389" fmla="*/ 171 w 10785"/>
                <a:gd name="connsiteY2389" fmla="*/ 6368 h 10000"/>
                <a:gd name="connsiteX2390" fmla="*/ 106 w 10785"/>
                <a:gd name="connsiteY2390" fmla="*/ 6350 h 10000"/>
                <a:gd name="connsiteX2391" fmla="*/ 101 w 10785"/>
                <a:gd name="connsiteY2391" fmla="*/ 6359 h 10000"/>
                <a:gd name="connsiteX2392" fmla="*/ 101 w 10785"/>
                <a:gd name="connsiteY2392" fmla="*/ 6385 h 10000"/>
                <a:gd name="connsiteX2393" fmla="*/ 78 w 10785"/>
                <a:gd name="connsiteY2393" fmla="*/ 6393 h 10000"/>
                <a:gd name="connsiteX2394" fmla="*/ 74 w 10785"/>
                <a:gd name="connsiteY2394" fmla="*/ 6385 h 10000"/>
                <a:gd name="connsiteX2395" fmla="*/ 65 w 10785"/>
                <a:gd name="connsiteY2395" fmla="*/ 6393 h 10000"/>
                <a:gd name="connsiteX2396" fmla="*/ 60 w 10785"/>
                <a:gd name="connsiteY2396" fmla="*/ 6419 h 10000"/>
                <a:gd name="connsiteX2397" fmla="*/ 51 w 10785"/>
                <a:gd name="connsiteY2397" fmla="*/ 6419 h 10000"/>
                <a:gd name="connsiteX2398" fmla="*/ 46 w 10785"/>
                <a:gd name="connsiteY2398" fmla="*/ 6410 h 10000"/>
                <a:gd name="connsiteX2399" fmla="*/ 37 w 10785"/>
                <a:gd name="connsiteY2399" fmla="*/ 6393 h 10000"/>
                <a:gd name="connsiteX2400" fmla="*/ 32 w 10785"/>
                <a:gd name="connsiteY2400" fmla="*/ 6419 h 10000"/>
                <a:gd name="connsiteX2401" fmla="*/ 37 w 10785"/>
                <a:gd name="connsiteY2401" fmla="*/ 6462 h 10000"/>
                <a:gd name="connsiteX2402" fmla="*/ 46 w 10785"/>
                <a:gd name="connsiteY2402" fmla="*/ 6462 h 10000"/>
                <a:gd name="connsiteX2403" fmla="*/ 51 w 10785"/>
                <a:gd name="connsiteY2403" fmla="*/ 6470 h 10000"/>
                <a:gd name="connsiteX2404" fmla="*/ 51 w 10785"/>
                <a:gd name="connsiteY2404" fmla="*/ 6496 h 10000"/>
                <a:gd name="connsiteX2405" fmla="*/ 51 w 10785"/>
                <a:gd name="connsiteY2405" fmla="*/ 6504 h 10000"/>
                <a:gd name="connsiteX2406" fmla="*/ 37 w 10785"/>
                <a:gd name="connsiteY2406" fmla="*/ 6530 h 10000"/>
                <a:gd name="connsiteX2407" fmla="*/ 18 w 10785"/>
                <a:gd name="connsiteY2407" fmla="*/ 6598 h 10000"/>
                <a:gd name="connsiteX2408" fmla="*/ 28 w 10785"/>
                <a:gd name="connsiteY2408" fmla="*/ 6632 h 10000"/>
                <a:gd name="connsiteX2409" fmla="*/ 18 w 10785"/>
                <a:gd name="connsiteY2409" fmla="*/ 6667 h 10000"/>
                <a:gd name="connsiteX2410" fmla="*/ 28 w 10785"/>
                <a:gd name="connsiteY2410" fmla="*/ 6692 h 10000"/>
                <a:gd name="connsiteX2411" fmla="*/ 28 w 10785"/>
                <a:gd name="connsiteY2411" fmla="*/ 6709 h 10000"/>
                <a:gd name="connsiteX2412" fmla="*/ 18 w 10785"/>
                <a:gd name="connsiteY2412" fmla="*/ 6718 h 10000"/>
                <a:gd name="connsiteX2413" fmla="*/ 5 w 10785"/>
                <a:gd name="connsiteY2413" fmla="*/ 6744 h 10000"/>
                <a:gd name="connsiteX2414" fmla="*/ 0 w 10785"/>
                <a:gd name="connsiteY2414" fmla="*/ 6769 h 10000"/>
                <a:gd name="connsiteX2415" fmla="*/ 5 w 10785"/>
                <a:gd name="connsiteY2415" fmla="*/ 6778 h 10000"/>
                <a:gd name="connsiteX2416" fmla="*/ 32 w 10785"/>
                <a:gd name="connsiteY2416" fmla="*/ 6778 h 10000"/>
                <a:gd name="connsiteX2417" fmla="*/ 46 w 10785"/>
                <a:gd name="connsiteY2417" fmla="*/ 6821 h 10000"/>
                <a:gd name="connsiteX2418" fmla="*/ 46 w 10785"/>
                <a:gd name="connsiteY2418" fmla="*/ 6855 h 10000"/>
                <a:gd name="connsiteX2419" fmla="*/ 32 w 10785"/>
                <a:gd name="connsiteY2419" fmla="*/ 6855 h 10000"/>
                <a:gd name="connsiteX2420" fmla="*/ 14 w 10785"/>
                <a:gd name="connsiteY2420" fmla="*/ 6821 h 10000"/>
                <a:gd name="connsiteX2421" fmla="*/ 14 w 10785"/>
                <a:gd name="connsiteY2421" fmla="*/ 6846 h 10000"/>
                <a:gd name="connsiteX2422" fmla="*/ 0 w 10785"/>
                <a:gd name="connsiteY2422" fmla="*/ 6897 h 10000"/>
                <a:gd name="connsiteX2423" fmla="*/ 0 w 10785"/>
                <a:gd name="connsiteY2423" fmla="*/ 6915 h 10000"/>
                <a:gd name="connsiteX2424" fmla="*/ 5 w 10785"/>
                <a:gd name="connsiteY2424" fmla="*/ 6932 h 10000"/>
                <a:gd name="connsiteX2425" fmla="*/ 14 w 10785"/>
                <a:gd name="connsiteY2425" fmla="*/ 6940 h 10000"/>
                <a:gd name="connsiteX2426" fmla="*/ 18 w 10785"/>
                <a:gd name="connsiteY2426" fmla="*/ 6957 h 10000"/>
                <a:gd name="connsiteX2427" fmla="*/ 28 w 10785"/>
                <a:gd name="connsiteY2427" fmla="*/ 6966 h 10000"/>
                <a:gd name="connsiteX2428" fmla="*/ 28 w 10785"/>
                <a:gd name="connsiteY2428" fmla="*/ 6983 h 10000"/>
                <a:gd name="connsiteX2429" fmla="*/ 18 w 10785"/>
                <a:gd name="connsiteY2429" fmla="*/ 7051 h 10000"/>
                <a:gd name="connsiteX2430" fmla="*/ 28 w 10785"/>
                <a:gd name="connsiteY2430" fmla="*/ 7068 h 10000"/>
                <a:gd name="connsiteX2431" fmla="*/ 32 w 10785"/>
                <a:gd name="connsiteY2431" fmla="*/ 7068 h 10000"/>
                <a:gd name="connsiteX2432" fmla="*/ 32 w 10785"/>
                <a:gd name="connsiteY2432" fmla="*/ 7094 h 10000"/>
                <a:gd name="connsiteX2433" fmla="*/ 60 w 10785"/>
                <a:gd name="connsiteY2433" fmla="*/ 7162 h 10000"/>
                <a:gd name="connsiteX2434" fmla="*/ 60 w 10785"/>
                <a:gd name="connsiteY2434" fmla="*/ 7231 h 10000"/>
                <a:gd name="connsiteX2435" fmla="*/ 60 w 10785"/>
                <a:gd name="connsiteY2435" fmla="*/ 7239 h 10000"/>
                <a:gd name="connsiteX2436" fmla="*/ 78 w 10785"/>
                <a:gd name="connsiteY2436" fmla="*/ 7239 h 10000"/>
                <a:gd name="connsiteX2437" fmla="*/ 88 w 10785"/>
                <a:gd name="connsiteY2437" fmla="*/ 7239 h 10000"/>
                <a:gd name="connsiteX2438" fmla="*/ 92 w 10785"/>
                <a:gd name="connsiteY2438" fmla="*/ 7256 h 10000"/>
                <a:gd name="connsiteX2439" fmla="*/ 111 w 10785"/>
                <a:gd name="connsiteY2439" fmla="*/ 7256 h 10000"/>
                <a:gd name="connsiteX2440" fmla="*/ 120 w 10785"/>
                <a:gd name="connsiteY2440" fmla="*/ 7256 h 10000"/>
                <a:gd name="connsiteX2441" fmla="*/ 134 w 10785"/>
                <a:gd name="connsiteY2441" fmla="*/ 7282 h 10000"/>
                <a:gd name="connsiteX2442" fmla="*/ 134 w 10785"/>
                <a:gd name="connsiteY2442" fmla="*/ 7316 h 10000"/>
                <a:gd name="connsiteX2443" fmla="*/ 152 w 10785"/>
                <a:gd name="connsiteY2443" fmla="*/ 7299 h 10000"/>
                <a:gd name="connsiteX2444" fmla="*/ 161 w 10785"/>
                <a:gd name="connsiteY2444" fmla="*/ 7299 h 10000"/>
                <a:gd name="connsiteX2445" fmla="*/ 166 w 10785"/>
                <a:gd name="connsiteY2445" fmla="*/ 7291 h 10000"/>
                <a:gd name="connsiteX2446" fmla="*/ 194 w 10785"/>
                <a:gd name="connsiteY2446" fmla="*/ 7291 h 10000"/>
                <a:gd name="connsiteX2447" fmla="*/ 207 w 10785"/>
                <a:gd name="connsiteY2447" fmla="*/ 7299 h 10000"/>
                <a:gd name="connsiteX2448" fmla="*/ 221 w 10785"/>
                <a:gd name="connsiteY2448" fmla="*/ 7342 h 10000"/>
                <a:gd name="connsiteX2449" fmla="*/ 235 w 10785"/>
                <a:gd name="connsiteY2449" fmla="*/ 7342 h 10000"/>
                <a:gd name="connsiteX2450" fmla="*/ 235 w 10785"/>
                <a:gd name="connsiteY2450" fmla="*/ 7368 h 10000"/>
                <a:gd name="connsiteX2451" fmla="*/ 226 w 10785"/>
                <a:gd name="connsiteY2451" fmla="*/ 7393 h 10000"/>
                <a:gd name="connsiteX2452" fmla="*/ 226 w 10785"/>
                <a:gd name="connsiteY2452" fmla="*/ 7402 h 10000"/>
                <a:gd name="connsiteX2453" fmla="*/ 235 w 10785"/>
                <a:gd name="connsiteY2453" fmla="*/ 7419 h 10000"/>
                <a:gd name="connsiteX2454" fmla="*/ 240 w 10785"/>
                <a:gd name="connsiteY2454" fmla="*/ 7436 h 10000"/>
                <a:gd name="connsiteX2455" fmla="*/ 235 w 10785"/>
                <a:gd name="connsiteY2455" fmla="*/ 7462 h 10000"/>
                <a:gd name="connsiteX2456" fmla="*/ 226 w 10785"/>
                <a:gd name="connsiteY2456" fmla="*/ 7479 h 10000"/>
                <a:gd name="connsiteX2457" fmla="*/ 226 w 10785"/>
                <a:gd name="connsiteY2457" fmla="*/ 7504 h 10000"/>
                <a:gd name="connsiteX2458" fmla="*/ 226 w 10785"/>
                <a:gd name="connsiteY2458" fmla="*/ 7513 h 10000"/>
                <a:gd name="connsiteX2459" fmla="*/ 240 w 10785"/>
                <a:gd name="connsiteY2459" fmla="*/ 7538 h 10000"/>
                <a:gd name="connsiteX2460" fmla="*/ 267 w 10785"/>
                <a:gd name="connsiteY2460" fmla="*/ 7641 h 10000"/>
                <a:gd name="connsiteX2461" fmla="*/ 281 w 10785"/>
                <a:gd name="connsiteY2461" fmla="*/ 7667 h 10000"/>
                <a:gd name="connsiteX2462" fmla="*/ 286 w 10785"/>
                <a:gd name="connsiteY2462" fmla="*/ 7675 h 10000"/>
                <a:gd name="connsiteX2463" fmla="*/ 286 w 10785"/>
                <a:gd name="connsiteY2463" fmla="*/ 7692 h 10000"/>
                <a:gd name="connsiteX2464" fmla="*/ 286 w 10785"/>
                <a:gd name="connsiteY2464" fmla="*/ 7709 h 10000"/>
                <a:gd name="connsiteX2465" fmla="*/ 295 w 10785"/>
                <a:gd name="connsiteY2465" fmla="*/ 7726 h 10000"/>
                <a:gd name="connsiteX2466" fmla="*/ 318 w 10785"/>
                <a:gd name="connsiteY2466" fmla="*/ 7709 h 10000"/>
                <a:gd name="connsiteX2467" fmla="*/ 327 w 10785"/>
                <a:gd name="connsiteY2467" fmla="*/ 7726 h 10000"/>
                <a:gd name="connsiteX2468" fmla="*/ 341 w 10785"/>
                <a:gd name="connsiteY2468" fmla="*/ 7735 h 10000"/>
                <a:gd name="connsiteX2469" fmla="*/ 332 w 10785"/>
                <a:gd name="connsiteY2469" fmla="*/ 7752 h 10000"/>
                <a:gd name="connsiteX2470" fmla="*/ 341 w 10785"/>
                <a:gd name="connsiteY2470" fmla="*/ 7761 h 10000"/>
                <a:gd name="connsiteX2471" fmla="*/ 355 w 10785"/>
                <a:gd name="connsiteY2471" fmla="*/ 7761 h 10000"/>
                <a:gd name="connsiteX2472" fmla="*/ 355 w 10785"/>
                <a:gd name="connsiteY2472" fmla="*/ 7803 h 10000"/>
                <a:gd name="connsiteX2473" fmla="*/ 313 w 10785"/>
                <a:gd name="connsiteY2473" fmla="*/ 7846 h 10000"/>
                <a:gd name="connsiteX2474" fmla="*/ 295 w 10785"/>
                <a:gd name="connsiteY2474" fmla="*/ 7846 h 10000"/>
                <a:gd name="connsiteX2475" fmla="*/ 281 w 10785"/>
                <a:gd name="connsiteY2475" fmla="*/ 7821 h 10000"/>
                <a:gd name="connsiteX2476" fmla="*/ 272 w 10785"/>
                <a:gd name="connsiteY2476" fmla="*/ 7821 h 10000"/>
                <a:gd name="connsiteX2477" fmla="*/ 267 w 10785"/>
                <a:gd name="connsiteY2477" fmla="*/ 7838 h 10000"/>
                <a:gd name="connsiteX2478" fmla="*/ 258 w 10785"/>
                <a:gd name="connsiteY2478" fmla="*/ 7846 h 10000"/>
                <a:gd name="connsiteX2479" fmla="*/ 253 w 10785"/>
                <a:gd name="connsiteY2479" fmla="*/ 7863 h 10000"/>
                <a:gd name="connsiteX2480" fmla="*/ 253 w 10785"/>
                <a:gd name="connsiteY2480" fmla="*/ 7872 h 10000"/>
                <a:gd name="connsiteX2481" fmla="*/ 267 w 10785"/>
                <a:gd name="connsiteY2481" fmla="*/ 7897 h 10000"/>
                <a:gd name="connsiteX2482" fmla="*/ 272 w 10785"/>
                <a:gd name="connsiteY2482" fmla="*/ 7915 h 10000"/>
                <a:gd name="connsiteX2483" fmla="*/ 267 w 10785"/>
                <a:gd name="connsiteY2483" fmla="*/ 7940 h 10000"/>
                <a:gd name="connsiteX2484" fmla="*/ 272 w 10785"/>
                <a:gd name="connsiteY2484" fmla="*/ 7949 h 10000"/>
                <a:gd name="connsiteX2485" fmla="*/ 272 w 10785"/>
                <a:gd name="connsiteY2485" fmla="*/ 7957 h 10000"/>
                <a:gd name="connsiteX2486" fmla="*/ 281 w 10785"/>
                <a:gd name="connsiteY2486" fmla="*/ 7974 h 10000"/>
                <a:gd name="connsiteX2487" fmla="*/ 286 w 10785"/>
                <a:gd name="connsiteY2487" fmla="*/ 7983 h 10000"/>
                <a:gd name="connsiteX2488" fmla="*/ 281 w 10785"/>
                <a:gd name="connsiteY2488" fmla="*/ 8009 h 10000"/>
                <a:gd name="connsiteX2489" fmla="*/ 286 w 10785"/>
                <a:gd name="connsiteY2489" fmla="*/ 8060 h 10000"/>
                <a:gd name="connsiteX2490" fmla="*/ 286 w 10785"/>
                <a:gd name="connsiteY2490" fmla="*/ 8060 h 10000"/>
                <a:gd name="connsiteX2491" fmla="*/ 295 w 10785"/>
                <a:gd name="connsiteY2491" fmla="*/ 8077 h 10000"/>
                <a:gd name="connsiteX2492" fmla="*/ 309 w 10785"/>
                <a:gd name="connsiteY2492" fmla="*/ 8077 h 10000"/>
                <a:gd name="connsiteX2493" fmla="*/ 313 w 10785"/>
                <a:gd name="connsiteY2493" fmla="*/ 8060 h 10000"/>
                <a:gd name="connsiteX2494" fmla="*/ 318 w 10785"/>
                <a:gd name="connsiteY2494" fmla="*/ 8051 h 10000"/>
                <a:gd name="connsiteX2495" fmla="*/ 318 w 10785"/>
                <a:gd name="connsiteY2495" fmla="*/ 8034 h 10000"/>
                <a:gd name="connsiteX2496" fmla="*/ 332 w 10785"/>
                <a:gd name="connsiteY2496" fmla="*/ 8026 h 10000"/>
                <a:gd name="connsiteX2497" fmla="*/ 359 w 10785"/>
                <a:gd name="connsiteY2497" fmla="*/ 8034 h 10000"/>
                <a:gd name="connsiteX2498" fmla="*/ 378 w 10785"/>
                <a:gd name="connsiteY2498" fmla="*/ 8026 h 10000"/>
                <a:gd name="connsiteX2499" fmla="*/ 401 w 10785"/>
                <a:gd name="connsiteY2499" fmla="*/ 8026 h 10000"/>
                <a:gd name="connsiteX2500" fmla="*/ 419 w 10785"/>
                <a:gd name="connsiteY2500" fmla="*/ 8009 h 10000"/>
                <a:gd name="connsiteX2501" fmla="*/ 433 w 10785"/>
                <a:gd name="connsiteY2501" fmla="*/ 8034 h 10000"/>
                <a:gd name="connsiteX2502" fmla="*/ 442 w 10785"/>
                <a:gd name="connsiteY2502" fmla="*/ 8060 h 10000"/>
                <a:gd name="connsiteX2503" fmla="*/ 442 w 10785"/>
                <a:gd name="connsiteY2503" fmla="*/ 8077 h 10000"/>
                <a:gd name="connsiteX2504" fmla="*/ 461 w 10785"/>
                <a:gd name="connsiteY2504" fmla="*/ 8111 h 10000"/>
                <a:gd name="connsiteX2505" fmla="*/ 461 w 10785"/>
                <a:gd name="connsiteY2505" fmla="*/ 8137 h 10000"/>
                <a:gd name="connsiteX2506" fmla="*/ 447 w 10785"/>
                <a:gd name="connsiteY2506" fmla="*/ 8145 h 10000"/>
                <a:gd name="connsiteX2507" fmla="*/ 442 w 10785"/>
                <a:gd name="connsiteY2507" fmla="*/ 8145 h 10000"/>
                <a:gd name="connsiteX2508" fmla="*/ 442 w 10785"/>
                <a:gd name="connsiteY2508" fmla="*/ 8162 h 10000"/>
                <a:gd name="connsiteX2509" fmla="*/ 442 w 10785"/>
                <a:gd name="connsiteY2509" fmla="*/ 8171 h 10000"/>
                <a:gd name="connsiteX2510" fmla="*/ 447 w 10785"/>
                <a:gd name="connsiteY2510" fmla="*/ 8214 h 10000"/>
                <a:gd name="connsiteX2511" fmla="*/ 465 w 10785"/>
                <a:gd name="connsiteY2511" fmla="*/ 8231 h 10000"/>
                <a:gd name="connsiteX2512" fmla="*/ 488 w 10785"/>
                <a:gd name="connsiteY2512" fmla="*/ 8231 h 10000"/>
                <a:gd name="connsiteX2513" fmla="*/ 493 w 10785"/>
                <a:gd name="connsiteY2513" fmla="*/ 8231 h 10000"/>
                <a:gd name="connsiteX2514" fmla="*/ 502 w 10785"/>
                <a:gd name="connsiteY2514" fmla="*/ 8231 h 10000"/>
                <a:gd name="connsiteX2515" fmla="*/ 507 w 10785"/>
                <a:gd name="connsiteY2515" fmla="*/ 8248 h 10000"/>
                <a:gd name="connsiteX2516" fmla="*/ 521 w 10785"/>
                <a:gd name="connsiteY2516" fmla="*/ 8274 h 10000"/>
                <a:gd name="connsiteX2517" fmla="*/ 525 w 10785"/>
                <a:gd name="connsiteY2517" fmla="*/ 8333 h 10000"/>
                <a:gd name="connsiteX2518" fmla="*/ 525 w 10785"/>
                <a:gd name="connsiteY2518" fmla="*/ 8359 h 10000"/>
                <a:gd name="connsiteX2519" fmla="*/ 525 w 10785"/>
                <a:gd name="connsiteY2519" fmla="*/ 8368 h 10000"/>
                <a:gd name="connsiteX2520" fmla="*/ 548 w 10785"/>
                <a:gd name="connsiteY2520" fmla="*/ 8393 h 10000"/>
                <a:gd name="connsiteX2521" fmla="*/ 553 w 10785"/>
                <a:gd name="connsiteY2521" fmla="*/ 8385 h 10000"/>
                <a:gd name="connsiteX2522" fmla="*/ 562 w 10785"/>
                <a:gd name="connsiteY2522" fmla="*/ 8385 h 10000"/>
                <a:gd name="connsiteX2523" fmla="*/ 576 w 10785"/>
                <a:gd name="connsiteY2523" fmla="*/ 8385 h 10000"/>
                <a:gd name="connsiteX2524" fmla="*/ 585 w 10785"/>
                <a:gd name="connsiteY2524" fmla="*/ 8410 h 10000"/>
                <a:gd name="connsiteX2525" fmla="*/ 594 w 10785"/>
                <a:gd name="connsiteY2525" fmla="*/ 8410 h 10000"/>
                <a:gd name="connsiteX2526" fmla="*/ 608 w 10785"/>
                <a:gd name="connsiteY2526" fmla="*/ 8410 h 10000"/>
                <a:gd name="connsiteX2527" fmla="*/ 654 w 10785"/>
                <a:gd name="connsiteY2527" fmla="*/ 8385 h 10000"/>
                <a:gd name="connsiteX2528" fmla="*/ 659 w 10785"/>
                <a:gd name="connsiteY2528" fmla="*/ 8385 h 10000"/>
                <a:gd name="connsiteX2529" fmla="*/ 696 w 10785"/>
                <a:gd name="connsiteY2529" fmla="*/ 8470 h 10000"/>
                <a:gd name="connsiteX2530" fmla="*/ 700 w 10785"/>
                <a:gd name="connsiteY2530" fmla="*/ 8470 h 10000"/>
                <a:gd name="connsiteX2531" fmla="*/ 710 w 10785"/>
                <a:gd name="connsiteY2531" fmla="*/ 8462 h 10000"/>
                <a:gd name="connsiteX2532" fmla="*/ 714 w 10785"/>
                <a:gd name="connsiteY2532" fmla="*/ 8462 h 10000"/>
                <a:gd name="connsiteX2533" fmla="*/ 724 w 10785"/>
                <a:gd name="connsiteY2533" fmla="*/ 8470 h 10000"/>
                <a:gd name="connsiteX2534" fmla="*/ 733 w 10785"/>
                <a:gd name="connsiteY2534" fmla="*/ 8470 h 10000"/>
                <a:gd name="connsiteX2535" fmla="*/ 742 w 10785"/>
                <a:gd name="connsiteY2535" fmla="*/ 8487 h 10000"/>
                <a:gd name="connsiteX2536" fmla="*/ 747 w 10785"/>
                <a:gd name="connsiteY2536" fmla="*/ 8496 h 10000"/>
                <a:gd name="connsiteX2537" fmla="*/ 770 w 10785"/>
                <a:gd name="connsiteY2537" fmla="*/ 8496 h 10000"/>
                <a:gd name="connsiteX2538" fmla="*/ 783 w 10785"/>
                <a:gd name="connsiteY2538" fmla="*/ 8521 h 10000"/>
                <a:gd name="connsiteX2539" fmla="*/ 797 w 10785"/>
                <a:gd name="connsiteY2539" fmla="*/ 8521 h 10000"/>
                <a:gd name="connsiteX2540" fmla="*/ 806 w 10785"/>
                <a:gd name="connsiteY2540" fmla="*/ 8530 h 10000"/>
                <a:gd name="connsiteX2541" fmla="*/ 829 w 10785"/>
                <a:gd name="connsiteY2541" fmla="*/ 8547 h 10000"/>
                <a:gd name="connsiteX2542" fmla="*/ 834 w 10785"/>
                <a:gd name="connsiteY2542" fmla="*/ 8556 h 10000"/>
                <a:gd name="connsiteX2543" fmla="*/ 829 w 10785"/>
                <a:gd name="connsiteY2543" fmla="*/ 8556 h 10000"/>
                <a:gd name="connsiteX2544" fmla="*/ 834 w 10785"/>
                <a:gd name="connsiteY2544" fmla="*/ 8607 h 10000"/>
                <a:gd name="connsiteX2545" fmla="*/ 829 w 10785"/>
                <a:gd name="connsiteY2545" fmla="*/ 8641 h 10000"/>
                <a:gd name="connsiteX2546" fmla="*/ 806 w 10785"/>
                <a:gd name="connsiteY2546" fmla="*/ 8658 h 10000"/>
                <a:gd name="connsiteX2547" fmla="*/ 816 w 10785"/>
                <a:gd name="connsiteY2547" fmla="*/ 8667 h 10000"/>
                <a:gd name="connsiteX2548" fmla="*/ 820 w 10785"/>
                <a:gd name="connsiteY2548" fmla="*/ 8667 h 10000"/>
                <a:gd name="connsiteX2549" fmla="*/ 829 w 10785"/>
                <a:gd name="connsiteY2549" fmla="*/ 8684 h 10000"/>
                <a:gd name="connsiteX2550" fmla="*/ 806 w 10785"/>
                <a:gd name="connsiteY2550" fmla="*/ 8692 h 10000"/>
                <a:gd name="connsiteX2551" fmla="*/ 802 w 10785"/>
                <a:gd name="connsiteY2551" fmla="*/ 8709 h 10000"/>
                <a:gd name="connsiteX2552" fmla="*/ 802 w 10785"/>
                <a:gd name="connsiteY2552" fmla="*/ 8735 h 10000"/>
                <a:gd name="connsiteX2553" fmla="*/ 806 w 10785"/>
                <a:gd name="connsiteY2553" fmla="*/ 8744 h 10000"/>
                <a:gd name="connsiteX2554" fmla="*/ 816 w 10785"/>
                <a:gd name="connsiteY2554" fmla="*/ 8752 h 10000"/>
                <a:gd name="connsiteX2555" fmla="*/ 806 w 10785"/>
                <a:gd name="connsiteY2555" fmla="*/ 8778 h 10000"/>
                <a:gd name="connsiteX2556" fmla="*/ 820 w 10785"/>
                <a:gd name="connsiteY2556" fmla="*/ 8778 h 10000"/>
                <a:gd name="connsiteX2557" fmla="*/ 806 w 10785"/>
                <a:gd name="connsiteY2557" fmla="*/ 8880 h 10000"/>
                <a:gd name="connsiteX2558" fmla="*/ 797 w 10785"/>
                <a:gd name="connsiteY2558" fmla="*/ 8880 h 10000"/>
                <a:gd name="connsiteX2559" fmla="*/ 783 w 10785"/>
                <a:gd name="connsiteY2559" fmla="*/ 8872 h 10000"/>
                <a:gd name="connsiteX2560" fmla="*/ 770 w 10785"/>
                <a:gd name="connsiteY2560" fmla="*/ 8880 h 10000"/>
                <a:gd name="connsiteX2561" fmla="*/ 756 w 10785"/>
                <a:gd name="connsiteY2561" fmla="*/ 8855 h 10000"/>
                <a:gd name="connsiteX2562" fmla="*/ 733 w 10785"/>
                <a:gd name="connsiteY2562" fmla="*/ 8906 h 10000"/>
                <a:gd name="connsiteX2563" fmla="*/ 714 w 10785"/>
                <a:gd name="connsiteY2563" fmla="*/ 8915 h 10000"/>
                <a:gd name="connsiteX2564" fmla="*/ 710 w 10785"/>
                <a:gd name="connsiteY2564" fmla="*/ 8940 h 10000"/>
                <a:gd name="connsiteX2565" fmla="*/ 710 w 10785"/>
                <a:gd name="connsiteY2565" fmla="*/ 9009 h 10000"/>
                <a:gd name="connsiteX2566" fmla="*/ 728 w 10785"/>
                <a:gd name="connsiteY2566" fmla="*/ 8991 h 10000"/>
                <a:gd name="connsiteX2567" fmla="*/ 733 w 10785"/>
                <a:gd name="connsiteY2567" fmla="*/ 8991 h 10000"/>
                <a:gd name="connsiteX2568" fmla="*/ 747 w 10785"/>
                <a:gd name="connsiteY2568" fmla="*/ 8983 h 10000"/>
                <a:gd name="connsiteX2569" fmla="*/ 760 w 10785"/>
                <a:gd name="connsiteY2569" fmla="*/ 8983 h 10000"/>
                <a:gd name="connsiteX2570" fmla="*/ 770 w 10785"/>
                <a:gd name="connsiteY2570" fmla="*/ 8983 h 10000"/>
                <a:gd name="connsiteX2571" fmla="*/ 770 w 10785"/>
                <a:gd name="connsiteY2571" fmla="*/ 8991 h 10000"/>
                <a:gd name="connsiteX2572" fmla="*/ 783 w 10785"/>
                <a:gd name="connsiteY2572" fmla="*/ 8991 h 10000"/>
                <a:gd name="connsiteX2573" fmla="*/ 783 w 10785"/>
                <a:gd name="connsiteY2573" fmla="*/ 9009 h 10000"/>
                <a:gd name="connsiteX2574" fmla="*/ 783 w 10785"/>
                <a:gd name="connsiteY2574" fmla="*/ 9017 h 10000"/>
                <a:gd name="connsiteX2575" fmla="*/ 770 w 10785"/>
                <a:gd name="connsiteY2575" fmla="*/ 9017 h 10000"/>
                <a:gd name="connsiteX2576" fmla="*/ 724 w 10785"/>
                <a:gd name="connsiteY2576" fmla="*/ 9051 h 10000"/>
                <a:gd name="connsiteX2577" fmla="*/ 724 w 10785"/>
                <a:gd name="connsiteY2577" fmla="*/ 9068 h 10000"/>
                <a:gd name="connsiteX2578" fmla="*/ 728 w 10785"/>
                <a:gd name="connsiteY2578" fmla="*/ 9077 h 10000"/>
                <a:gd name="connsiteX2579" fmla="*/ 724 w 10785"/>
                <a:gd name="connsiteY2579" fmla="*/ 9077 h 10000"/>
                <a:gd name="connsiteX2580" fmla="*/ 710 w 10785"/>
                <a:gd name="connsiteY2580" fmla="*/ 9077 h 10000"/>
                <a:gd name="connsiteX2581" fmla="*/ 682 w 10785"/>
                <a:gd name="connsiteY2581" fmla="*/ 9077 h 10000"/>
                <a:gd name="connsiteX2582" fmla="*/ 673 w 10785"/>
                <a:gd name="connsiteY2582" fmla="*/ 9103 h 10000"/>
                <a:gd name="connsiteX2583" fmla="*/ 687 w 10785"/>
                <a:gd name="connsiteY2583" fmla="*/ 9128 h 10000"/>
                <a:gd name="connsiteX2584" fmla="*/ 700 w 10785"/>
                <a:gd name="connsiteY2584" fmla="*/ 9128 h 10000"/>
                <a:gd name="connsiteX2585" fmla="*/ 728 w 10785"/>
                <a:gd name="connsiteY2585" fmla="*/ 9179 h 10000"/>
                <a:gd name="connsiteX2586" fmla="*/ 724 w 10785"/>
                <a:gd name="connsiteY2586" fmla="*/ 9188 h 10000"/>
                <a:gd name="connsiteX2587" fmla="*/ 710 w 10785"/>
                <a:gd name="connsiteY2587" fmla="*/ 9179 h 10000"/>
                <a:gd name="connsiteX2588" fmla="*/ 700 w 10785"/>
                <a:gd name="connsiteY2588" fmla="*/ 9205 h 10000"/>
                <a:gd name="connsiteX2589" fmla="*/ 696 w 10785"/>
                <a:gd name="connsiteY2589" fmla="*/ 9205 h 10000"/>
                <a:gd name="connsiteX2590" fmla="*/ 654 w 10785"/>
                <a:gd name="connsiteY2590" fmla="*/ 9299 h 10000"/>
                <a:gd name="connsiteX2591" fmla="*/ 622 w 10785"/>
                <a:gd name="connsiteY2591" fmla="*/ 9299 h 10000"/>
                <a:gd name="connsiteX2592" fmla="*/ 613 w 10785"/>
                <a:gd name="connsiteY2592" fmla="*/ 9316 h 10000"/>
                <a:gd name="connsiteX2593" fmla="*/ 613 w 10785"/>
                <a:gd name="connsiteY2593" fmla="*/ 9325 h 10000"/>
                <a:gd name="connsiteX2594" fmla="*/ 608 w 10785"/>
                <a:gd name="connsiteY2594" fmla="*/ 9342 h 10000"/>
                <a:gd name="connsiteX2595" fmla="*/ 636 w 10785"/>
                <a:gd name="connsiteY2595" fmla="*/ 9376 h 10000"/>
                <a:gd name="connsiteX2596" fmla="*/ 641 w 10785"/>
                <a:gd name="connsiteY2596" fmla="*/ 9402 h 10000"/>
                <a:gd name="connsiteX2597" fmla="*/ 654 w 10785"/>
                <a:gd name="connsiteY2597" fmla="*/ 9427 h 10000"/>
                <a:gd name="connsiteX2598" fmla="*/ 668 w 10785"/>
                <a:gd name="connsiteY2598" fmla="*/ 9427 h 10000"/>
                <a:gd name="connsiteX2599" fmla="*/ 668 w 10785"/>
                <a:gd name="connsiteY2599" fmla="*/ 9427 h 10000"/>
                <a:gd name="connsiteX2600" fmla="*/ 774 w 10785"/>
                <a:gd name="connsiteY2600" fmla="*/ 9547 h 10000"/>
                <a:gd name="connsiteX2601" fmla="*/ 797 w 10785"/>
                <a:gd name="connsiteY2601" fmla="*/ 9598 h 10000"/>
                <a:gd name="connsiteX2602" fmla="*/ 802 w 10785"/>
                <a:gd name="connsiteY2602" fmla="*/ 9598 h 10000"/>
                <a:gd name="connsiteX2603" fmla="*/ 816 w 10785"/>
                <a:gd name="connsiteY2603" fmla="*/ 9624 h 10000"/>
                <a:gd name="connsiteX2604" fmla="*/ 843 w 10785"/>
                <a:gd name="connsiteY2604" fmla="*/ 9615 h 10000"/>
                <a:gd name="connsiteX2605" fmla="*/ 857 w 10785"/>
                <a:gd name="connsiteY2605" fmla="*/ 9624 h 10000"/>
                <a:gd name="connsiteX2606" fmla="*/ 862 w 10785"/>
                <a:gd name="connsiteY2606" fmla="*/ 9615 h 10000"/>
                <a:gd name="connsiteX2607" fmla="*/ 880 w 10785"/>
                <a:gd name="connsiteY2607" fmla="*/ 9624 h 10000"/>
                <a:gd name="connsiteX2608" fmla="*/ 889 w 10785"/>
                <a:gd name="connsiteY2608" fmla="*/ 9641 h 10000"/>
                <a:gd name="connsiteX2609" fmla="*/ 935 w 10785"/>
                <a:gd name="connsiteY2609" fmla="*/ 9675 h 10000"/>
                <a:gd name="connsiteX2610" fmla="*/ 977 w 10785"/>
                <a:gd name="connsiteY2610" fmla="*/ 9667 h 10000"/>
                <a:gd name="connsiteX2611" fmla="*/ 995 w 10785"/>
                <a:gd name="connsiteY2611" fmla="*/ 9675 h 10000"/>
                <a:gd name="connsiteX2612" fmla="*/ 1014 w 10785"/>
                <a:gd name="connsiteY2612" fmla="*/ 9675 h 10000"/>
                <a:gd name="connsiteX2613" fmla="*/ 1069 w 10785"/>
                <a:gd name="connsiteY2613" fmla="*/ 9752 h 10000"/>
                <a:gd name="connsiteX2614" fmla="*/ 1074 w 10785"/>
                <a:gd name="connsiteY2614" fmla="*/ 9761 h 10000"/>
                <a:gd name="connsiteX2615" fmla="*/ 1083 w 10785"/>
                <a:gd name="connsiteY2615" fmla="*/ 9778 h 10000"/>
                <a:gd name="connsiteX2616" fmla="*/ 1115 w 10785"/>
                <a:gd name="connsiteY2616" fmla="*/ 9752 h 10000"/>
                <a:gd name="connsiteX2617" fmla="*/ 1129 w 10785"/>
                <a:gd name="connsiteY2617" fmla="*/ 9752 h 10000"/>
                <a:gd name="connsiteX2618" fmla="*/ 1138 w 10785"/>
                <a:gd name="connsiteY2618" fmla="*/ 9761 h 10000"/>
                <a:gd name="connsiteX2619" fmla="*/ 1143 w 10785"/>
                <a:gd name="connsiteY2619" fmla="*/ 9752 h 10000"/>
                <a:gd name="connsiteX2620" fmla="*/ 1161 w 10785"/>
                <a:gd name="connsiteY2620" fmla="*/ 9761 h 10000"/>
                <a:gd name="connsiteX2621" fmla="*/ 1171 w 10785"/>
                <a:gd name="connsiteY2621" fmla="*/ 9778 h 10000"/>
                <a:gd name="connsiteX2622" fmla="*/ 1175 w 10785"/>
                <a:gd name="connsiteY2622" fmla="*/ 9778 h 10000"/>
                <a:gd name="connsiteX2623" fmla="*/ 1189 w 10785"/>
                <a:gd name="connsiteY2623" fmla="*/ 9778 h 10000"/>
                <a:gd name="connsiteX2624" fmla="*/ 1198 w 10785"/>
                <a:gd name="connsiteY2624" fmla="*/ 9786 h 10000"/>
                <a:gd name="connsiteX2625" fmla="*/ 1203 w 10785"/>
                <a:gd name="connsiteY2625" fmla="*/ 9803 h 10000"/>
                <a:gd name="connsiteX2626" fmla="*/ 1198 w 10785"/>
                <a:gd name="connsiteY2626" fmla="*/ 9838 h 10000"/>
                <a:gd name="connsiteX2627" fmla="*/ 1212 w 10785"/>
                <a:gd name="connsiteY2627" fmla="*/ 9863 h 10000"/>
                <a:gd name="connsiteX2628" fmla="*/ 1230 w 10785"/>
                <a:gd name="connsiteY2628" fmla="*/ 9872 h 10000"/>
                <a:gd name="connsiteX2629" fmla="*/ 1249 w 10785"/>
                <a:gd name="connsiteY2629" fmla="*/ 9897 h 10000"/>
                <a:gd name="connsiteX2630" fmla="*/ 1263 w 10785"/>
                <a:gd name="connsiteY2630" fmla="*/ 9897 h 10000"/>
                <a:gd name="connsiteX2631" fmla="*/ 1276 w 10785"/>
                <a:gd name="connsiteY2631" fmla="*/ 9923 h 10000"/>
                <a:gd name="connsiteX2632" fmla="*/ 1281 w 10785"/>
                <a:gd name="connsiteY2632" fmla="*/ 9949 h 10000"/>
                <a:gd name="connsiteX2633" fmla="*/ 1290 w 10785"/>
                <a:gd name="connsiteY2633" fmla="*/ 9949 h 10000"/>
                <a:gd name="connsiteX2634" fmla="*/ 1295 w 10785"/>
                <a:gd name="connsiteY2634" fmla="*/ 10000 h 10000"/>
                <a:gd name="connsiteX2635" fmla="*/ 1332 w 10785"/>
                <a:gd name="connsiteY2635" fmla="*/ 10000 h 10000"/>
                <a:gd name="connsiteX2636" fmla="*/ 1336 w 10785"/>
                <a:gd name="connsiteY2636" fmla="*/ 10000 h 10000"/>
                <a:gd name="connsiteX2637" fmla="*/ 1346 w 10785"/>
                <a:gd name="connsiteY2637" fmla="*/ 9983 h 10000"/>
                <a:gd name="connsiteX2638" fmla="*/ 1350 w 10785"/>
                <a:gd name="connsiteY2638" fmla="*/ 9949 h 10000"/>
                <a:gd name="connsiteX2639" fmla="*/ 1369 w 10785"/>
                <a:gd name="connsiteY2639" fmla="*/ 9940 h 10000"/>
                <a:gd name="connsiteX2640" fmla="*/ 1378 w 10785"/>
                <a:gd name="connsiteY2640" fmla="*/ 9897 h 10000"/>
                <a:gd name="connsiteX2641" fmla="*/ 1369 w 10785"/>
                <a:gd name="connsiteY2641" fmla="*/ 9889 h 10000"/>
                <a:gd name="connsiteX2642" fmla="*/ 1318 w 10785"/>
                <a:gd name="connsiteY2642" fmla="*/ 9701 h 10000"/>
                <a:gd name="connsiteX2643" fmla="*/ 1318 w 10785"/>
                <a:gd name="connsiteY2643" fmla="*/ 9650 h 10000"/>
                <a:gd name="connsiteX2644" fmla="*/ 1323 w 10785"/>
                <a:gd name="connsiteY2644" fmla="*/ 9590 h 10000"/>
                <a:gd name="connsiteX2645" fmla="*/ 1323 w 10785"/>
                <a:gd name="connsiteY2645" fmla="*/ 9564 h 10000"/>
                <a:gd name="connsiteX2646" fmla="*/ 1309 w 10785"/>
                <a:gd name="connsiteY2646" fmla="*/ 9598 h 10000"/>
                <a:gd name="connsiteX2647" fmla="*/ 1309 w 10785"/>
                <a:gd name="connsiteY2647" fmla="*/ 9590 h 10000"/>
                <a:gd name="connsiteX2648" fmla="*/ 1304 w 10785"/>
                <a:gd name="connsiteY2648" fmla="*/ 9547 h 10000"/>
                <a:gd name="connsiteX2649" fmla="*/ 1276 w 10785"/>
                <a:gd name="connsiteY2649" fmla="*/ 9479 h 10000"/>
                <a:gd name="connsiteX2650" fmla="*/ 1263 w 10785"/>
                <a:gd name="connsiteY2650" fmla="*/ 9479 h 10000"/>
                <a:gd name="connsiteX2651" fmla="*/ 1263 w 10785"/>
                <a:gd name="connsiteY2651" fmla="*/ 9453 h 10000"/>
                <a:gd name="connsiteX2652" fmla="*/ 1272 w 10785"/>
                <a:gd name="connsiteY2652" fmla="*/ 9410 h 10000"/>
                <a:gd name="connsiteX2653" fmla="*/ 1272 w 10785"/>
                <a:gd name="connsiteY2653" fmla="*/ 9393 h 10000"/>
                <a:gd name="connsiteX2654" fmla="*/ 1281 w 10785"/>
                <a:gd name="connsiteY2654" fmla="*/ 9368 h 10000"/>
                <a:gd name="connsiteX2655" fmla="*/ 1281 w 10785"/>
                <a:gd name="connsiteY2655" fmla="*/ 9368 h 10000"/>
                <a:gd name="connsiteX2656" fmla="*/ 1290 w 10785"/>
                <a:gd name="connsiteY2656" fmla="*/ 9368 h 10000"/>
                <a:gd name="connsiteX2657" fmla="*/ 1290 w 10785"/>
                <a:gd name="connsiteY2657" fmla="*/ 9342 h 10000"/>
                <a:gd name="connsiteX2658" fmla="*/ 1304 w 10785"/>
                <a:gd name="connsiteY2658" fmla="*/ 9325 h 10000"/>
                <a:gd name="connsiteX2659" fmla="*/ 1309 w 10785"/>
                <a:gd name="connsiteY2659" fmla="*/ 9239 h 10000"/>
                <a:gd name="connsiteX2660" fmla="*/ 1318 w 10785"/>
                <a:gd name="connsiteY2660" fmla="*/ 9256 h 10000"/>
                <a:gd name="connsiteX2661" fmla="*/ 1323 w 10785"/>
                <a:gd name="connsiteY2661" fmla="*/ 9179 h 10000"/>
                <a:gd name="connsiteX2662" fmla="*/ 1309 w 10785"/>
                <a:gd name="connsiteY2662" fmla="*/ 9145 h 10000"/>
                <a:gd name="connsiteX2663" fmla="*/ 1336 w 10785"/>
                <a:gd name="connsiteY2663" fmla="*/ 9154 h 10000"/>
                <a:gd name="connsiteX2664" fmla="*/ 1336 w 10785"/>
                <a:gd name="connsiteY2664" fmla="*/ 9162 h 10000"/>
                <a:gd name="connsiteX2665" fmla="*/ 1350 w 10785"/>
                <a:gd name="connsiteY2665" fmla="*/ 9231 h 10000"/>
                <a:gd name="connsiteX2666" fmla="*/ 1355 w 10785"/>
                <a:gd name="connsiteY2666" fmla="*/ 9231 h 10000"/>
                <a:gd name="connsiteX2667" fmla="*/ 1364 w 10785"/>
                <a:gd name="connsiteY2667" fmla="*/ 9214 h 10000"/>
                <a:gd name="connsiteX2668" fmla="*/ 1369 w 10785"/>
                <a:gd name="connsiteY2668" fmla="*/ 9214 h 10000"/>
                <a:gd name="connsiteX2669" fmla="*/ 1382 w 10785"/>
                <a:gd name="connsiteY2669" fmla="*/ 9154 h 10000"/>
                <a:gd name="connsiteX2670" fmla="*/ 1396 w 10785"/>
                <a:gd name="connsiteY2670" fmla="*/ 9154 h 10000"/>
                <a:gd name="connsiteX2671" fmla="*/ 1382 w 10785"/>
                <a:gd name="connsiteY2671" fmla="*/ 9145 h 10000"/>
                <a:gd name="connsiteX2672" fmla="*/ 1382 w 10785"/>
                <a:gd name="connsiteY2672" fmla="*/ 9128 h 10000"/>
                <a:gd name="connsiteX2673" fmla="*/ 1369 w 10785"/>
                <a:gd name="connsiteY2673" fmla="*/ 9128 h 10000"/>
                <a:gd name="connsiteX2674" fmla="*/ 1364 w 10785"/>
                <a:gd name="connsiteY2674" fmla="*/ 9128 h 10000"/>
                <a:gd name="connsiteX2675" fmla="*/ 1355 w 10785"/>
                <a:gd name="connsiteY2675" fmla="*/ 9120 h 10000"/>
                <a:gd name="connsiteX2676" fmla="*/ 1350 w 10785"/>
                <a:gd name="connsiteY2676" fmla="*/ 9103 h 10000"/>
                <a:gd name="connsiteX2677" fmla="*/ 1355 w 10785"/>
                <a:gd name="connsiteY2677" fmla="*/ 9094 h 10000"/>
                <a:gd name="connsiteX2678" fmla="*/ 1355 w 10785"/>
                <a:gd name="connsiteY2678" fmla="*/ 9068 h 10000"/>
                <a:gd name="connsiteX2679" fmla="*/ 1369 w 10785"/>
                <a:gd name="connsiteY2679" fmla="*/ 9068 h 10000"/>
                <a:gd name="connsiteX2680" fmla="*/ 1378 w 10785"/>
                <a:gd name="connsiteY2680" fmla="*/ 9077 h 10000"/>
                <a:gd name="connsiteX2681" fmla="*/ 1396 w 10785"/>
                <a:gd name="connsiteY2681" fmla="*/ 9068 h 10000"/>
                <a:gd name="connsiteX2682" fmla="*/ 1382 w 10785"/>
                <a:gd name="connsiteY2682" fmla="*/ 8940 h 10000"/>
                <a:gd name="connsiteX2683" fmla="*/ 1378 w 10785"/>
                <a:gd name="connsiteY2683" fmla="*/ 8940 h 10000"/>
                <a:gd name="connsiteX2684" fmla="*/ 1364 w 10785"/>
                <a:gd name="connsiteY2684" fmla="*/ 8889 h 10000"/>
                <a:gd name="connsiteX2685" fmla="*/ 1355 w 10785"/>
                <a:gd name="connsiteY2685" fmla="*/ 8880 h 10000"/>
                <a:gd name="connsiteX2686" fmla="*/ 1323 w 10785"/>
                <a:gd name="connsiteY2686" fmla="*/ 8880 h 10000"/>
                <a:gd name="connsiteX2687" fmla="*/ 1309 w 10785"/>
                <a:gd name="connsiteY2687" fmla="*/ 8880 h 10000"/>
                <a:gd name="connsiteX2688" fmla="*/ 1309 w 10785"/>
                <a:gd name="connsiteY2688" fmla="*/ 8889 h 10000"/>
                <a:gd name="connsiteX2689" fmla="*/ 1295 w 10785"/>
                <a:gd name="connsiteY2689" fmla="*/ 8872 h 10000"/>
                <a:gd name="connsiteX2690" fmla="*/ 1290 w 10785"/>
                <a:gd name="connsiteY2690" fmla="*/ 8855 h 10000"/>
                <a:gd name="connsiteX2691" fmla="*/ 1290 w 10785"/>
                <a:gd name="connsiteY2691" fmla="*/ 8829 h 10000"/>
                <a:gd name="connsiteX2692" fmla="*/ 1290 w 10785"/>
                <a:gd name="connsiteY2692" fmla="*/ 8821 h 10000"/>
                <a:gd name="connsiteX2693" fmla="*/ 1290 w 10785"/>
                <a:gd name="connsiteY2693" fmla="*/ 8803 h 10000"/>
                <a:gd name="connsiteX2694" fmla="*/ 1281 w 10785"/>
                <a:gd name="connsiteY2694" fmla="*/ 8795 h 10000"/>
                <a:gd name="connsiteX2695" fmla="*/ 1249 w 10785"/>
                <a:gd name="connsiteY2695" fmla="*/ 8769 h 10000"/>
                <a:gd name="connsiteX2696" fmla="*/ 1263 w 10785"/>
                <a:gd name="connsiteY2696" fmla="*/ 8667 h 10000"/>
                <a:gd name="connsiteX2697" fmla="*/ 1281 w 10785"/>
                <a:gd name="connsiteY2697" fmla="*/ 8658 h 10000"/>
                <a:gd name="connsiteX2698" fmla="*/ 1290 w 10785"/>
                <a:gd name="connsiteY2698" fmla="*/ 8632 h 10000"/>
                <a:gd name="connsiteX2699" fmla="*/ 1281 w 10785"/>
                <a:gd name="connsiteY2699" fmla="*/ 8615 h 10000"/>
                <a:gd name="connsiteX2700" fmla="*/ 1272 w 10785"/>
                <a:gd name="connsiteY2700" fmla="*/ 8598 h 10000"/>
                <a:gd name="connsiteX2701" fmla="*/ 1281 w 10785"/>
                <a:gd name="connsiteY2701" fmla="*/ 8496 h 10000"/>
                <a:gd name="connsiteX2702" fmla="*/ 1295 w 10785"/>
                <a:gd name="connsiteY2702" fmla="*/ 8470 h 10000"/>
                <a:gd name="connsiteX2703" fmla="*/ 1304 w 10785"/>
                <a:gd name="connsiteY2703" fmla="*/ 8462 h 10000"/>
                <a:gd name="connsiteX2704" fmla="*/ 1304 w 10785"/>
                <a:gd name="connsiteY2704" fmla="*/ 8444 h 10000"/>
                <a:gd name="connsiteX2705" fmla="*/ 1304 w 10785"/>
                <a:gd name="connsiteY2705" fmla="*/ 8419 h 10000"/>
                <a:gd name="connsiteX2706" fmla="*/ 1304 w 10785"/>
                <a:gd name="connsiteY2706" fmla="*/ 8410 h 10000"/>
                <a:gd name="connsiteX2707" fmla="*/ 1309 w 10785"/>
                <a:gd name="connsiteY2707" fmla="*/ 8393 h 10000"/>
                <a:gd name="connsiteX2708" fmla="*/ 1318 w 10785"/>
                <a:gd name="connsiteY2708" fmla="*/ 8385 h 10000"/>
                <a:gd name="connsiteX2709" fmla="*/ 1323 w 10785"/>
                <a:gd name="connsiteY2709" fmla="*/ 8385 h 10000"/>
                <a:gd name="connsiteX2710" fmla="*/ 1332 w 10785"/>
                <a:gd name="connsiteY2710" fmla="*/ 8410 h 10000"/>
                <a:gd name="connsiteX2711" fmla="*/ 1346 w 10785"/>
                <a:gd name="connsiteY2711" fmla="*/ 8419 h 10000"/>
                <a:gd name="connsiteX2712" fmla="*/ 1364 w 10785"/>
                <a:gd name="connsiteY2712" fmla="*/ 8504 h 10000"/>
                <a:gd name="connsiteX2713" fmla="*/ 1369 w 10785"/>
                <a:gd name="connsiteY2713" fmla="*/ 8521 h 10000"/>
                <a:gd name="connsiteX2714" fmla="*/ 1406 w 10785"/>
                <a:gd name="connsiteY2714" fmla="*/ 8470 h 10000"/>
                <a:gd name="connsiteX2715" fmla="*/ 1382 w 10785"/>
                <a:gd name="connsiteY2715" fmla="*/ 8359 h 10000"/>
                <a:gd name="connsiteX2716" fmla="*/ 1392 w 10785"/>
                <a:gd name="connsiteY2716" fmla="*/ 8359 h 10000"/>
                <a:gd name="connsiteX2717" fmla="*/ 1438 w 10785"/>
                <a:gd name="connsiteY2717" fmla="*/ 8308 h 10000"/>
                <a:gd name="connsiteX2718" fmla="*/ 1442 w 10785"/>
                <a:gd name="connsiteY2718" fmla="*/ 8299 h 10000"/>
                <a:gd name="connsiteX2719" fmla="*/ 1442 w 10785"/>
                <a:gd name="connsiteY2719" fmla="*/ 8256 h 10000"/>
                <a:gd name="connsiteX2720" fmla="*/ 1452 w 10785"/>
                <a:gd name="connsiteY2720" fmla="*/ 8256 h 10000"/>
                <a:gd name="connsiteX2721" fmla="*/ 1456 w 10785"/>
                <a:gd name="connsiteY2721" fmla="*/ 8256 h 10000"/>
                <a:gd name="connsiteX2722" fmla="*/ 1470 w 10785"/>
                <a:gd name="connsiteY2722" fmla="*/ 8248 h 10000"/>
                <a:gd name="connsiteX2723" fmla="*/ 1479 w 10785"/>
                <a:gd name="connsiteY2723" fmla="*/ 8231 h 10000"/>
                <a:gd name="connsiteX2724" fmla="*/ 1493 w 10785"/>
                <a:gd name="connsiteY2724" fmla="*/ 8222 h 10000"/>
                <a:gd name="connsiteX2725" fmla="*/ 1498 w 10785"/>
                <a:gd name="connsiteY2725" fmla="*/ 8214 h 10000"/>
                <a:gd name="connsiteX2726" fmla="*/ 1502 w 10785"/>
                <a:gd name="connsiteY2726" fmla="*/ 8197 h 10000"/>
                <a:gd name="connsiteX2727" fmla="*/ 1512 w 10785"/>
                <a:gd name="connsiteY2727" fmla="*/ 8188 h 10000"/>
                <a:gd name="connsiteX2728" fmla="*/ 1516 w 10785"/>
                <a:gd name="connsiteY2728" fmla="*/ 8171 h 10000"/>
                <a:gd name="connsiteX2729" fmla="*/ 1525 w 10785"/>
                <a:gd name="connsiteY2729" fmla="*/ 8162 h 10000"/>
                <a:gd name="connsiteX2730" fmla="*/ 1539 w 10785"/>
                <a:gd name="connsiteY2730" fmla="*/ 8145 h 10000"/>
                <a:gd name="connsiteX2731" fmla="*/ 1558 w 10785"/>
                <a:gd name="connsiteY2731" fmla="*/ 8145 h 10000"/>
                <a:gd name="connsiteX2732" fmla="*/ 1562 w 10785"/>
                <a:gd name="connsiteY2732" fmla="*/ 8188 h 10000"/>
                <a:gd name="connsiteX2733" fmla="*/ 1585 w 10785"/>
                <a:gd name="connsiteY2733" fmla="*/ 8171 h 10000"/>
                <a:gd name="connsiteX2734" fmla="*/ 1590 w 10785"/>
                <a:gd name="connsiteY2734" fmla="*/ 8188 h 10000"/>
                <a:gd name="connsiteX2735" fmla="*/ 1599 w 10785"/>
                <a:gd name="connsiteY2735" fmla="*/ 8171 h 10000"/>
                <a:gd name="connsiteX2736" fmla="*/ 1599 w 10785"/>
                <a:gd name="connsiteY2736" fmla="*/ 8162 h 10000"/>
                <a:gd name="connsiteX2737" fmla="*/ 1604 w 10785"/>
                <a:gd name="connsiteY2737" fmla="*/ 8137 h 10000"/>
                <a:gd name="connsiteX2738" fmla="*/ 1618 w 10785"/>
                <a:gd name="connsiteY2738" fmla="*/ 8145 h 10000"/>
                <a:gd name="connsiteX2739" fmla="*/ 1627 w 10785"/>
                <a:gd name="connsiteY2739" fmla="*/ 8137 h 10000"/>
                <a:gd name="connsiteX2740" fmla="*/ 1631 w 10785"/>
                <a:gd name="connsiteY2740" fmla="*/ 8137 h 10000"/>
                <a:gd name="connsiteX2741" fmla="*/ 1636 w 10785"/>
                <a:gd name="connsiteY2741" fmla="*/ 8171 h 10000"/>
                <a:gd name="connsiteX2742" fmla="*/ 1645 w 10785"/>
                <a:gd name="connsiteY2742" fmla="*/ 8188 h 10000"/>
                <a:gd name="connsiteX2743" fmla="*/ 1664 w 10785"/>
                <a:gd name="connsiteY2743" fmla="*/ 8171 h 10000"/>
                <a:gd name="connsiteX2744" fmla="*/ 1673 w 10785"/>
                <a:gd name="connsiteY2744" fmla="*/ 8188 h 10000"/>
                <a:gd name="connsiteX2745" fmla="*/ 1691 w 10785"/>
                <a:gd name="connsiteY2745" fmla="*/ 8171 h 10000"/>
                <a:gd name="connsiteX2746" fmla="*/ 1705 w 10785"/>
                <a:gd name="connsiteY2746" fmla="*/ 8171 h 10000"/>
                <a:gd name="connsiteX2747" fmla="*/ 1719 w 10785"/>
                <a:gd name="connsiteY2747" fmla="*/ 8197 h 10000"/>
                <a:gd name="connsiteX2748" fmla="*/ 1724 w 10785"/>
                <a:gd name="connsiteY2748" fmla="*/ 8231 h 10000"/>
                <a:gd name="connsiteX2749" fmla="*/ 1751 w 10785"/>
                <a:gd name="connsiteY2749" fmla="*/ 8256 h 10000"/>
                <a:gd name="connsiteX2750" fmla="*/ 1751 w 10785"/>
                <a:gd name="connsiteY2750" fmla="*/ 8274 h 10000"/>
                <a:gd name="connsiteX2751" fmla="*/ 1760 w 10785"/>
                <a:gd name="connsiteY2751" fmla="*/ 8282 h 10000"/>
                <a:gd name="connsiteX2752" fmla="*/ 1770 w 10785"/>
                <a:gd name="connsiteY2752" fmla="*/ 8325 h 10000"/>
                <a:gd name="connsiteX2753" fmla="*/ 1770 w 10785"/>
                <a:gd name="connsiteY2753" fmla="*/ 8350 h 10000"/>
                <a:gd name="connsiteX2754" fmla="*/ 1779 w 10785"/>
                <a:gd name="connsiteY2754" fmla="*/ 8368 h 10000"/>
                <a:gd name="connsiteX2755" fmla="*/ 1783 w 10785"/>
                <a:gd name="connsiteY2755" fmla="*/ 8359 h 10000"/>
                <a:gd name="connsiteX2756" fmla="*/ 1783 w 10785"/>
                <a:gd name="connsiteY2756" fmla="*/ 8308 h 10000"/>
                <a:gd name="connsiteX2757" fmla="*/ 1779 w 10785"/>
                <a:gd name="connsiteY2757" fmla="*/ 8299 h 10000"/>
                <a:gd name="connsiteX2758" fmla="*/ 1783 w 10785"/>
                <a:gd name="connsiteY2758" fmla="*/ 8282 h 10000"/>
                <a:gd name="connsiteX2759" fmla="*/ 1797 w 10785"/>
                <a:gd name="connsiteY2759" fmla="*/ 8274 h 10000"/>
                <a:gd name="connsiteX2760" fmla="*/ 1797 w 10785"/>
                <a:gd name="connsiteY2760" fmla="*/ 8299 h 10000"/>
                <a:gd name="connsiteX2761" fmla="*/ 1806 w 10785"/>
                <a:gd name="connsiteY2761" fmla="*/ 8308 h 10000"/>
                <a:gd name="connsiteX2762" fmla="*/ 1811 w 10785"/>
                <a:gd name="connsiteY2762" fmla="*/ 8325 h 10000"/>
                <a:gd name="connsiteX2763" fmla="*/ 1820 w 10785"/>
                <a:gd name="connsiteY2763" fmla="*/ 8333 h 10000"/>
                <a:gd name="connsiteX2764" fmla="*/ 1853 w 10785"/>
                <a:gd name="connsiteY2764" fmla="*/ 8359 h 10000"/>
                <a:gd name="connsiteX2765" fmla="*/ 1866 w 10785"/>
                <a:gd name="connsiteY2765" fmla="*/ 8359 h 10000"/>
                <a:gd name="connsiteX2766" fmla="*/ 1885 w 10785"/>
                <a:gd name="connsiteY2766" fmla="*/ 8325 h 10000"/>
                <a:gd name="connsiteX2767" fmla="*/ 1885 w 10785"/>
                <a:gd name="connsiteY2767" fmla="*/ 8308 h 10000"/>
                <a:gd name="connsiteX2768" fmla="*/ 1894 w 10785"/>
                <a:gd name="connsiteY2768" fmla="*/ 8299 h 10000"/>
                <a:gd name="connsiteX2769" fmla="*/ 1899 w 10785"/>
                <a:gd name="connsiteY2769" fmla="*/ 8282 h 10000"/>
                <a:gd name="connsiteX2770" fmla="*/ 1912 w 10785"/>
                <a:gd name="connsiteY2770" fmla="*/ 8282 h 10000"/>
                <a:gd name="connsiteX2771" fmla="*/ 1917 w 10785"/>
                <a:gd name="connsiteY2771" fmla="*/ 8299 h 10000"/>
                <a:gd name="connsiteX2772" fmla="*/ 1917 w 10785"/>
                <a:gd name="connsiteY2772" fmla="*/ 8274 h 10000"/>
                <a:gd name="connsiteX2773" fmla="*/ 1940 w 10785"/>
                <a:gd name="connsiteY2773" fmla="*/ 8282 h 10000"/>
                <a:gd name="connsiteX2774" fmla="*/ 1945 w 10785"/>
                <a:gd name="connsiteY2774" fmla="*/ 8274 h 10000"/>
                <a:gd name="connsiteX2775" fmla="*/ 1972 w 10785"/>
                <a:gd name="connsiteY2775" fmla="*/ 8308 h 10000"/>
                <a:gd name="connsiteX2776" fmla="*/ 1986 w 10785"/>
                <a:gd name="connsiteY2776" fmla="*/ 8282 h 10000"/>
                <a:gd name="connsiteX2777" fmla="*/ 1991 w 10785"/>
                <a:gd name="connsiteY2777" fmla="*/ 8274 h 10000"/>
                <a:gd name="connsiteX2778" fmla="*/ 2014 w 10785"/>
                <a:gd name="connsiteY2778" fmla="*/ 8274 h 10000"/>
                <a:gd name="connsiteX2779" fmla="*/ 2018 w 10785"/>
                <a:gd name="connsiteY2779" fmla="*/ 8256 h 10000"/>
                <a:gd name="connsiteX2780" fmla="*/ 2041 w 10785"/>
                <a:gd name="connsiteY2780" fmla="*/ 8274 h 10000"/>
                <a:gd name="connsiteX2781" fmla="*/ 2046 w 10785"/>
                <a:gd name="connsiteY2781" fmla="*/ 8282 h 10000"/>
                <a:gd name="connsiteX2782" fmla="*/ 2046 w 10785"/>
                <a:gd name="connsiteY2782" fmla="*/ 8325 h 10000"/>
                <a:gd name="connsiteX2783" fmla="*/ 2060 w 10785"/>
                <a:gd name="connsiteY2783" fmla="*/ 8350 h 10000"/>
                <a:gd name="connsiteX2784" fmla="*/ 2078 w 10785"/>
                <a:gd name="connsiteY2784" fmla="*/ 8350 h 10000"/>
                <a:gd name="connsiteX2785" fmla="*/ 2092 w 10785"/>
                <a:gd name="connsiteY2785" fmla="*/ 8350 h 10000"/>
                <a:gd name="connsiteX2786" fmla="*/ 2092 w 10785"/>
                <a:gd name="connsiteY2786" fmla="*/ 8350 h 10000"/>
                <a:gd name="connsiteX2787" fmla="*/ 2101 w 10785"/>
                <a:gd name="connsiteY2787" fmla="*/ 8368 h 10000"/>
                <a:gd name="connsiteX2788" fmla="*/ 2120 w 10785"/>
                <a:gd name="connsiteY2788" fmla="*/ 8368 h 10000"/>
                <a:gd name="connsiteX2789" fmla="*/ 2124 w 10785"/>
                <a:gd name="connsiteY2789" fmla="*/ 8359 h 10000"/>
                <a:gd name="connsiteX2790" fmla="*/ 2138 w 10785"/>
                <a:gd name="connsiteY2790" fmla="*/ 8325 h 10000"/>
                <a:gd name="connsiteX2791" fmla="*/ 2147 w 10785"/>
                <a:gd name="connsiteY2791" fmla="*/ 8325 h 10000"/>
                <a:gd name="connsiteX2792" fmla="*/ 2161 w 10785"/>
                <a:gd name="connsiteY2792" fmla="*/ 8350 h 10000"/>
                <a:gd name="connsiteX2793" fmla="*/ 2198 w 10785"/>
                <a:gd name="connsiteY2793" fmla="*/ 8350 h 10000"/>
                <a:gd name="connsiteX2794" fmla="*/ 2207 w 10785"/>
                <a:gd name="connsiteY2794" fmla="*/ 8333 h 10000"/>
                <a:gd name="connsiteX2795" fmla="*/ 2226 w 10785"/>
                <a:gd name="connsiteY2795" fmla="*/ 8325 h 10000"/>
                <a:gd name="connsiteX2796" fmla="*/ 2249 w 10785"/>
                <a:gd name="connsiteY2796" fmla="*/ 8222 h 10000"/>
                <a:gd name="connsiteX2797" fmla="*/ 2235 w 10785"/>
                <a:gd name="connsiteY2797" fmla="*/ 8197 h 10000"/>
                <a:gd name="connsiteX2798" fmla="*/ 2198 w 10785"/>
                <a:gd name="connsiteY2798" fmla="*/ 8197 h 10000"/>
                <a:gd name="connsiteX2799" fmla="*/ 2189 w 10785"/>
                <a:gd name="connsiteY2799" fmla="*/ 8171 h 10000"/>
                <a:gd name="connsiteX2800" fmla="*/ 2161 w 10785"/>
                <a:gd name="connsiteY2800" fmla="*/ 8145 h 10000"/>
                <a:gd name="connsiteX2801" fmla="*/ 2161 w 10785"/>
                <a:gd name="connsiteY2801" fmla="*/ 8137 h 10000"/>
                <a:gd name="connsiteX2802" fmla="*/ 2152 w 10785"/>
                <a:gd name="connsiteY2802" fmla="*/ 8120 h 10000"/>
                <a:gd name="connsiteX2803" fmla="*/ 2138 w 10785"/>
                <a:gd name="connsiteY2803" fmla="*/ 8111 h 10000"/>
                <a:gd name="connsiteX2804" fmla="*/ 2138 w 10785"/>
                <a:gd name="connsiteY2804" fmla="*/ 8094 h 10000"/>
                <a:gd name="connsiteX2805" fmla="*/ 2147 w 10785"/>
                <a:gd name="connsiteY2805" fmla="*/ 8085 h 10000"/>
                <a:gd name="connsiteX2806" fmla="*/ 2161 w 10785"/>
                <a:gd name="connsiteY2806" fmla="*/ 8060 h 10000"/>
                <a:gd name="connsiteX2807" fmla="*/ 2198 w 10785"/>
                <a:gd name="connsiteY2807" fmla="*/ 8034 h 10000"/>
                <a:gd name="connsiteX2808" fmla="*/ 2198 w 10785"/>
                <a:gd name="connsiteY2808" fmla="*/ 8026 h 10000"/>
                <a:gd name="connsiteX2809" fmla="*/ 2198 w 10785"/>
                <a:gd name="connsiteY2809" fmla="*/ 8000 h 10000"/>
                <a:gd name="connsiteX2810" fmla="*/ 2180 w 10785"/>
                <a:gd name="connsiteY2810" fmla="*/ 7940 h 10000"/>
                <a:gd name="connsiteX2811" fmla="*/ 2189 w 10785"/>
                <a:gd name="connsiteY2811" fmla="*/ 7940 h 10000"/>
                <a:gd name="connsiteX2812" fmla="*/ 2198 w 10785"/>
                <a:gd name="connsiteY2812" fmla="*/ 7923 h 10000"/>
                <a:gd name="connsiteX2813" fmla="*/ 2198 w 10785"/>
                <a:gd name="connsiteY2813" fmla="*/ 7897 h 10000"/>
                <a:gd name="connsiteX2814" fmla="*/ 2207 w 10785"/>
                <a:gd name="connsiteY2814" fmla="*/ 7889 h 10000"/>
                <a:gd name="connsiteX2815" fmla="*/ 2221 w 10785"/>
                <a:gd name="connsiteY2815" fmla="*/ 7889 h 10000"/>
                <a:gd name="connsiteX2816" fmla="*/ 2226 w 10785"/>
                <a:gd name="connsiteY2816" fmla="*/ 7897 h 10000"/>
                <a:gd name="connsiteX2817" fmla="*/ 2235 w 10785"/>
                <a:gd name="connsiteY2817" fmla="*/ 7889 h 10000"/>
                <a:gd name="connsiteX2818" fmla="*/ 2249 w 10785"/>
                <a:gd name="connsiteY2818" fmla="*/ 7897 h 10000"/>
                <a:gd name="connsiteX2819" fmla="*/ 2267 w 10785"/>
                <a:gd name="connsiteY2819" fmla="*/ 7897 h 10000"/>
                <a:gd name="connsiteX2820" fmla="*/ 2272 w 10785"/>
                <a:gd name="connsiteY2820" fmla="*/ 7889 h 10000"/>
                <a:gd name="connsiteX2821" fmla="*/ 2281 w 10785"/>
                <a:gd name="connsiteY2821" fmla="*/ 7872 h 10000"/>
                <a:gd name="connsiteX2822" fmla="*/ 2272 w 10785"/>
                <a:gd name="connsiteY2822" fmla="*/ 7846 h 10000"/>
                <a:gd name="connsiteX2823" fmla="*/ 2253 w 10785"/>
                <a:gd name="connsiteY2823" fmla="*/ 7838 h 10000"/>
                <a:gd name="connsiteX2824" fmla="*/ 2221 w 10785"/>
                <a:gd name="connsiteY2824" fmla="*/ 7821 h 10000"/>
                <a:gd name="connsiteX2825" fmla="*/ 2212 w 10785"/>
                <a:gd name="connsiteY2825" fmla="*/ 7812 h 10000"/>
                <a:gd name="connsiteX2826" fmla="*/ 2212 w 10785"/>
                <a:gd name="connsiteY2826" fmla="*/ 7803 h 10000"/>
                <a:gd name="connsiteX2827" fmla="*/ 2221 w 10785"/>
                <a:gd name="connsiteY2827" fmla="*/ 7803 h 10000"/>
                <a:gd name="connsiteX2828" fmla="*/ 2235 w 10785"/>
                <a:gd name="connsiteY2828" fmla="*/ 7786 h 10000"/>
                <a:gd name="connsiteX2829" fmla="*/ 2240 w 10785"/>
                <a:gd name="connsiteY2829" fmla="*/ 7778 h 10000"/>
                <a:gd name="connsiteX2830" fmla="*/ 2226 w 10785"/>
                <a:gd name="connsiteY2830" fmla="*/ 7761 h 10000"/>
                <a:gd name="connsiteX2831" fmla="*/ 2221 w 10785"/>
                <a:gd name="connsiteY2831" fmla="*/ 7778 h 10000"/>
                <a:gd name="connsiteX2832" fmla="*/ 2198 w 10785"/>
                <a:gd name="connsiteY2832" fmla="*/ 7778 h 10000"/>
                <a:gd name="connsiteX2833" fmla="*/ 2198 w 10785"/>
                <a:gd name="connsiteY2833" fmla="*/ 7752 h 10000"/>
                <a:gd name="connsiteX2834" fmla="*/ 2207 w 10785"/>
                <a:gd name="connsiteY2834" fmla="*/ 7735 h 10000"/>
                <a:gd name="connsiteX2835" fmla="*/ 2212 w 10785"/>
                <a:gd name="connsiteY2835" fmla="*/ 7726 h 10000"/>
                <a:gd name="connsiteX2836" fmla="*/ 2198 w 10785"/>
                <a:gd name="connsiteY2836" fmla="*/ 7692 h 10000"/>
                <a:gd name="connsiteX2837" fmla="*/ 2221 w 10785"/>
                <a:gd name="connsiteY2837" fmla="*/ 7692 h 10000"/>
                <a:gd name="connsiteX2838" fmla="*/ 2221 w 10785"/>
                <a:gd name="connsiteY2838" fmla="*/ 7675 h 10000"/>
                <a:gd name="connsiteX2839" fmla="*/ 2235 w 10785"/>
                <a:gd name="connsiteY2839" fmla="*/ 7675 h 10000"/>
                <a:gd name="connsiteX2840" fmla="*/ 2240 w 10785"/>
                <a:gd name="connsiteY2840" fmla="*/ 7692 h 10000"/>
                <a:gd name="connsiteX2841" fmla="*/ 2249 w 10785"/>
                <a:gd name="connsiteY2841" fmla="*/ 7692 h 10000"/>
                <a:gd name="connsiteX2842" fmla="*/ 2258 w 10785"/>
                <a:gd name="connsiteY2842" fmla="*/ 7692 h 10000"/>
                <a:gd name="connsiteX2843" fmla="*/ 2267 w 10785"/>
                <a:gd name="connsiteY2843" fmla="*/ 7692 h 10000"/>
                <a:gd name="connsiteX2844" fmla="*/ 2295 w 10785"/>
                <a:gd name="connsiteY2844" fmla="*/ 7692 h 10000"/>
                <a:gd name="connsiteX2845" fmla="*/ 2300 w 10785"/>
                <a:gd name="connsiteY2845" fmla="*/ 7701 h 10000"/>
                <a:gd name="connsiteX2846" fmla="*/ 2313 w 10785"/>
                <a:gd name="connsiteY2846" fmla="*/ 7675 h 10000"/>
                <a:gd name="connsiteX2847" fmla="*/ 2323 w 10785"/>
                <a:gd name="connsiteY2847" fmla="*/ 7675 h 10000"/>
                <a:gd name="connsiteX2848" fmla="*/ 2341 w 10785"/>
                <a:gd name="connsiteY2848" fmla="*/ 7675 h 10000"/>
                <a:gd name="connsiteX2849" fmla="*/ 2346 w 10785"/>
                <a:gd name="connsiteY2849" fmla="*/ 7667 h 10000"/>
                <a:gd name="connsiteX2850" fmla="*/ 2359 w 10785"/>
                <a:gd name="connsiteY2850" fmla="*/ 7650 h 10000"/>
                <a:gd name="connsiteX2851" fmla="*/ 2373 w 10785"/>
                <a:gd name="connsiteY2851" fmla="*/ 7624 h 10000"/>
                <a:gd name="connsiteX2852" fmla="*/ 2382 w 10785"/>
                <a:gd name="connsiteY2852" fmla="*/ 7641 h 10000"/>
                <a:gd name="connsiteX2853" fmla="*/ 2396 w 10785"/>
                <a:gd name="connsiteY2853" fmla="*/ 7650 h 10000"/>
                <a:gd name="connsiteX2854" fmla="*/ 2401 w 10785"/>
                <a:gd name="connsiteY2854" fmla="*/ 7650 h 10000"/>
                <a:gd name="connsiteX2855" fmla="*/ 2401 w 10785"/>
                <a:gd name="connsiteY2855" fmla="*/ 7624 h 10000"/>
                <a:gd name="connsiteX2856" fmla="*/ 2419 w 10785"/>
                <a:gd name="connsiteY2856" fmla="*/ 7624 h 10000"/>
                <a:gd name="connsiteX2857" fmla="*/ 2433 w 10785"/>
                <a:gd name="connsiteY2857" fmla="*/ 7615 h 10000"/>
                <a:gd name="connsiteX2858" fmla="*/ 2442 w 10785"/>
                <a:gd name="connsiteY2858" fmla="*/ 7615 h 10000"/>
                <a:gd name="connsiteX2859" fmla="*/ 2447 w 10785"/>
                <a:gd name="connsiteY2859" fmla="*/ 7598 h 10000"/>
                <a:gd name="connsiteX2860" fmla="*/ 2461 w 10785"/>
                <a:gd name="connsiteY2860" fmla="*/ 7598 h 10000"/>
                <a:gd name="connsiteX2861" fmla="*/ 2465 w 10785"/>
                <a:gd name="connsiteY2861" fmla="*/ 7615 h 10000"/>
                <a:gd name="connsiteX2862" fmla="*/ 2479 w 10785"/>
                <a:gd name="connsiteY2862" fmla="*/ 7564 h 10000"/>
                <a:gd name="connsiteX2863" fmla="*/ 2488 w 10785"/>
                <a:gd name="connsiteY2863" fmla="*/ 7556 h 10000"/>
                <a:gd name="connsiteX2864" fmla="*/ 2493 w 10785"/>
                <a:gd name="connsiteY2864" fmla="*/ 7556 h 10000"/>
                <a:gd name="connsiteX2865" fmla="*/ 2507 w 10785"/>
                <a:gd name="connsiteY2865" fmla="*/ 7556 h 10000"/>
                <a:gd name="connsiteX2866" fmla="*/ 2530 w 10785"/>
                <a:gd name="connsiteY2866" fmla="*/ 7538 h 10000"/>
                <a:gd name="connsiteX2867" fmla="*/ 2530 w 10785"/>
                <a:gd name="connsiteY2867" fmla="*/ 7556 h 10000"/>
                <a:gd name="connsiteX2868" fmla="*/ 2641 w 10785"/>
                <a:gd name="connsiteY2868" fmla="*/ 7504 h 10000"/>
                <a:gd name="connsiteX2869" fmla="*/ 2654 w 10785"/>
                <a:gd name="connsiteY2869" fmla="*/ 7487 h 10000"/>
                <a:gd name="connsiteX2870" fmla="*/ 2664 w 10785"/>
                <a:gd name="connsiteY2870" fmla="*/ 7487 h 10000"/>
                <a:gd name="connsiteX2871" fmla="*/ 2668 w 10785"/>
                <a:gd name="connsiteY2871" fmla="*/ 7479 h 10000"/>
                <a:gd name="connsiteX2872" fmla="*/ 2673 w 10785"/>
                <a:gd name="connsiteY2872" fmla="*/ 7462 h 10000"/>
                <a:gd name="connsiteX2873" fmla="*/ 2673 w 10785"/>
                <a:gd name="connsiteY2873" fmla="*/ 7427 h 10000"/>
                <a:gd name="connsiteX2874" fmla="*/ 2687 w 10785"/>
                <a:gd name="connsiteY2874" fmla="*/ 7436 h 10000"/>
                <a:gd name="connsiteX2875" fmla="*/ 2696 w 10785"/>
                <a:gd name="connsiteY2875" fmla="*/ 7427 h 10000"/>
                <a:gd name="connsiteX2876" fmla="*/ 2700 w 10785"/>
                <a:gd name="connsiteY2876" fmla="*/ 7419 h 10000"/>
                <a:gd name="connsiteX2877" fmla="*/ 2710 w 10785"/>
                <a:gd name="connsiteY2877" fmla="*/ 7402 h 10000"/>
                <a:gd name="connsiteX2878" fmla="*/ 2724 w 10785"/>
                <a:gd name="connsiteY2878" fmla="*/ 7402 h 10000"/>
                <a:gd name="connsiteX2879" fmla="*/ 2724 w 10785"/>
                <a:gd name="connsiteY2879" fmla="*/ 7393 h 10000"/>
                <a:gd name="connsiteX2880" fmla="*/ 2737 w 10785"/>
                <a:gd name="connsiteY2880" fmla="*/ 7393 h 10000"/>
                <a:gd name="connsiteX2881" fmla="*/ 2742 w 10785"/>
                <a:gd name="connsiteY2881" fmla="*/ 7402 h 10000"/>
                <a:gd name="connsiteX2882" fmla="*/ 2747 w 10785"/>
                <a:gd name="connsiteY2882" fmla="*/ 7402 h 10000"/>
                <a:gd name="connsiteX2883" fmla="*/ 2760 w 10785"/>
                <a:gd name="connsiteY2883" fmla="*/ 7402 h 10000"/>
                <a:gd name="connsiteX2884" fmla="*/ 2770 w 10785"/>
                <a:gd name="connsiteY2884" fmla="*/ 7402 h 10000"/>
                <a:gd name="connsiteX2885" fmla="*/ 2774 w 10785"/>
                <a:gd name="connsiteY2885" fmla="*/ 7402 h 10000"/>
                <a:gd name="connsiteX2886" fmla="*/ 2783 w 10785"/>
                <a:gd name="connsiteY2886" fmla="*/ 7419 h 10000"/>
                <a:gd name="connsiteX2887" fmla="*/ 2802 w 10785"/>
                <a:gd name="connsiteY2887" fmla="*/ 7436 h 10000"/>
                <a:gd name="connsiteX2888" fmla="*/ 2816 w 10785"/>
                <a:gd name="connsiteY2888" fmla="*/ 7419 h 10000"/>
                <a:gd name="connsiteX2889" fmla="*/ 2834 w 10785"/>
                <a:gd name="connsiteY2889" fmla="*/ 7419 h 10000"/>
                <a:gd name="connsiteX2890" fmla="*/ 2843 w 10785"/>
                <a:gd name="connsiteY2890" fmla="*/ 7419 h 10000"/>
                <a:gd name="connsiteX2891" fmla="*/ 2848 w 10785"/>
                <a:gd name="connsiteY2891" fmla="*/ 7436 h 10000"/>
                <a:gd name="connsiteX2892" fmla="*/ 2857 w 10785"/>
                <a:gd name="connsiteY2892" fmla="*/ 7453 h 10000"/>
                <a:gd name="connsiteX2893" fmla="*/ 2857 w 10785"/>
                <a:gd name="connsiteY2893" fmla="*/ 7504 h 10000"/>
                <a:gd name="connsiteX2894" fmla="*/ 2862 w 10785"/>
                <a:gd name="connsiteY2894" fmla="*/ 7530 h 10000"/>
                <a:gd name="connsiteX2895" fmla="*/ 2876 w 10785"/>
                <a:gd name="connsiteY2895" fmla="*/ 7538 h 10000"/>
                <a:gd name="connsiteX2896" fmla="*/ 2871 w 10785"/>
                <a:gd name="connsiteY2896" fmla="*/ 7564 h 10000"/>
                <a:gd name="connsiteX2897" fmla="*/ 2871 w 10785"/>
                <a:gd name="connsiteY2897" fmla="*/ 7598 h 10000"/>
                <a:gd name="connsiteX2898" fmla="*/ 2857 w 10785"/>
                <a:gd name="connsiteY2898" fmla="*/ 7624 h 10000"/>
                <a:gd name="connsiteX2899" fmla="*/ 2862 w 10785"/>
                <a:gd name="connsiteY2899" fmla="*/ 7641 h 10000"/>
                <a:gd name="connsiteX2900" fmla="*/ 2871 w 10785"/>
                <a:gd name="connsiteY2900" fmla="*/ 7667 h 10000"/>
                <a:gd name="connsiteX2901" fmla="*/ 2880 w 10785"/>
                <a:gd name="connsiteY2901" fmla="*/ 7650 h 10000"/>
                <a:gd name="connsiteX2902" fmla="*/ 2894 w 10785"/>
                <a:gd name="connsiteY2902" fmla="*/ 7667 h 10000"/>
                <a:gd name="connsiteX2903" fmla="*/ 2903 w 10785"/>
                <a:gd name="connsiteY2903" fmla="*/ 7667 h 10000"/>
                <a:gd name="connsiteX2904" fmla="*/ 2908 w 10785"/>
                <a:gd name="connsiteY2904" fmla="*/ 7641 h 10000"/>
                <a:gd name="connsiteX2905" fmla="*/ 2917 w 10785"/>
                <a:gd name="connsiteY2905" fmla="*/ 7641 h 10000"/>
                <a:gd name="connsiteX2906" fmla="*/ 2922 w 10785"/>
                <a:gd name="connsiteY2906" fmla="*/ 7641 h 10000"/>
                <a:gd name="connsiteX2907" fmla="*/ 2931 w 10785"/>
                <a:gd name="connsiteY2907" fmla="*/ 7615 h 10000"/>
                <a:gd name="connsiteX2908" fmla="*/ 2935 w 10785"/>
                <a:gd name="connsiteY2908" fmla="*/ 7615 h 10000"/>
                <a:gd name="connsiteX2909" fmla="*/ 2945 w 10785"/>
                <a:gd name="connsiteY2909" fmla="*/ 7650 h 10000"/>
                <a:gd name="connsiteX2910" fmla="*/ 2949 w 10785"/>
                <a:gd name="connsiteY2910" fmla="*/ 7667 h 10000"/>
                <a:gd name="connsiteX2911" fmla="*/ 2949 w 10785"/>
                <a:gd name="connsiteY2911" fmla="*/ 7675 h 10000"/>
                <a:gd name="connsiteX2912" fmla="*/ 2945 w 10785"/>
                <a:gd name="connsiteY2912" fmla="*/ 7692 h 10000"/>
                <a:gd name="connsiteX2913" fmla="*/ 2963 w 10785"/>
                <a:gd name="connsiteY2913" fmla="*/ 7701 h 10000"/>
                <a:gd name="connsiteX2914" fmla="*/ 2963 w 10785"/>
                <a:gd name="connsiteY2914" fmla="*/ 7675 h 10000"/>
                <a:gd name="connsiteX2915" fmla="*/ 2954 w 10785"/>
                <a:gd name="connsiteY2915" fmla="*/ 7667 h 10000"/>
                <a:gd name="connsiteX2916" fmla="*/ 2963 w 10785"/>
                <a:gd name="connsiteY2916" fmla="*/ 7667 h 10000"/>
                <a:gd name="connsiteX2917" fmla="*/ 2982 w 10785"/>
                <a:gd name="connsiteY2917" fmla="*/ 7667 h 10000"/>
                <a:gd name="connsiteX2918" fmla="*/ 2991 w 10785"/>
                <a:gd name="connsiteY2918" fmla="*/ 7675 h 10000"/>
                <a:gd name="connsiteX2919" fmla="*/ 2995 w 10785"/>
                <a:gd name="connsiteY2919" fmla="*/ 7692 h 10000"/>
                <a:gd name="connsiteX2920" fmla="*/ 3009 w 10785"/>
                <a:gd name="connsiteY2920" fmla="*/ 7701 h 10000"/>
                <a:gd name="connsiteX2921" fmla="*/ 3018 w 10785"/>
                <a:gd name="connsiteY2921" fmla="*/ 7701 h 10000"/>
                <a:gd name="connsiteX2922" fmla="*/ 3023 w 10785"/>
                <a:gd name="connsiteY2922" fmla="*/ 7692 h 10000"/>
                <a:gd name="connsiteX2923" fmla="*/ 3028 w 10785"/>
                <a:gd name="connsiteY2923" fmla="*/ 7675 h 10000"/>
                <a:gd name="connsiteX2924" fmla="*/ 3037 w 10785"/>
                <a:gd name="connsiteY2924" fmla="*/ 7692 h 10000"/>
                <a:gd name="connsiteX2925" fmla="*/ 3028 w 10785"/>
                <a:gd name="connsiteY2925" fmla="*/ 7709 h 10000"/>
                <a:gd name="connsiteX2926" fmla="*/ 3023 w 10785"/>
                <a:gd name="connsiteY2926" fmla="*/ 7709 h 10000"/>
                <a:gd name="connsiteX2927" fmla="*/ 3018 w 10785"/>
                <a:gd name="connsiteY2927" fmla="*/ 7726 h 10000"/>
                <a:gd name="connsiteX2928" fmla="*/ 3009 w 10785"/>
                <a:gd name="connsiteY2928" fmla="*/ 7735 h 10000"/>
                <a:gd name="connsiteX2929" fmla="*/ 3009 w 10785"/>
                <a:gd name="connsiteY2929" fmla="*/ 7761 h 10000"/>
                <a:gd name="connsiteX2930" fmla="*/ 3009 w 10785"/>
                <a:gd name="connsiteY2930" fmla="*/ 7778 h 10000"/>
                <a:gd name="connsiteX2931" fmla="*/ 3018 w 10785"/>
                <a:gd name="connsiteY2931" fmla="*/ 7786 h 10000"/>
                <a:gd name="connsiteX2932" fmla="*/ 3023 w 10785"/>
                <a:gd name="connsiteY2932" fmla="*/ 7786 h 10000"/>
                <a:gd name="connsiteX2933" fmla="*/ 3028 w 10785"/>
                <a:gd name="connsiteY2933" fmla="*/ 7778 h 10000"/>
                <a:gd name="connsiteX2934" fmla="*/ 3051 w 10785"/>
                <a:gd name="connsiteY2934" fmla="*/ 7761 h 10000"/>
                <a:gd name="connsiteX2935" fmla="*/ 3055 w 10785"/>
                <a:gd name="connsiteY2935" fmla="*/ 7778 h 10000"/>
                <a:gd name="connsiteX2936" fmla="*/ 3065 w 10785"/>
                <a:gd name="connsiteY2936" fmla="*/ 7761 h 10000"/>
                <a:gd name="connsiteX2937" fmla="*/ 3069 w 10785"/>
                <a:gd name="connsiteY2937" fmla="*/ 7786 h 10000"/>
                <a:gd name="connsiteX2938" fmla="*/ 3083 w 10785"/>
                <a:gd name="connsiteY2938" fmla="*/ 7786 h 10000"/>
                <a:gd name="connsiteX2939" fmla="*/ 3078 w 10785"/>
                <a:gd name="connsiteY2939" fmla="*/ 7761 h 10000"/>
                <a:gd name="connsiteX2940" fmla="*/ 3083 w 10785"/>
                <a:gd name="connsiteY2940" fmla="*/ 7752 h 10000"/>
                <a:gd name="connsiteX2941" fmla="*/ 3097 w 10785"/>
                <a:gd name="connsiteY2941" fmla="*/ 7752 h 10000"/>
                <a:gd name="connsiteX2942" fmla="*/ 3111 w 10785"/>
                <a:gd name="connsiteY2942" fmla="*/ 7726 h 10000"/>
                <a:gd name="connsiteX2943" fmla="*/ 3124 w 10785"/>
                <a:gd name="connsiteY2943" fmla="*/ 7709 h 10000"/>
                <a:gd name="connsiteX2944" fmla="*/ 3143 w 10785"/>
                <a:gd name="connsiteY2944" fmla="*/ 7692 h 10000"/>
                <a:gd name="connsiteX2945" fmla="*/ 3152 w 10785"/>
                <a:gd name="connsiteY2945" fmla="*/ 7667 h 10000"/>
                <a:gd name="connsiteX2946" fmla="*/ 3157 w 10785"/>
                <a:gd name="connsiteY2946" fmla="*/ 7650 h 10000"/>
                <a:gd name="connsiteX2947" fmla="*/ 3161 w 10785"/>
                <a:gd name="connsiteY2947" fmla="*/ 7650 h 10000"/>
                <a:gd name="connsiteX2948" fmla="*/ 3189 w 10785"/>
                <a:gd name="connsiteY2948" fmla="*/ 7641 h 10000"/>
                <a:gd name="connsiteX2949" fmla="*/ 3198 w 10785"/>
                <a:gd name="connsiteY2949" fmla="*/ 7624 h 10000"/>
                <a:gd name="connsiteX2950" fmla="*/ 3217 w 10785"/>
                <a:gd name="connsiteY2950" fmla="*/ 7615 h 10000"/>
                <a:gd name="connsiteX2951" fmla="*/ 3235 w 10785"/>
                <a:gd name="connsiteY2951" fmla="*/ 7598 h 10000"/>
                <a:gd name="connsiteX2952" fmla="*/ 3235 w 10785"/>
                <a:gd name="connsiteY2952" fmla="*/ 7615 h 10000"/>
                <a:gd name="connsiteX2953" fmla="*/ 3235 w 10785"/>
                <a:gd name="connsiteY2953" fmla="*/ 7641 h 10000"/>
                <a:gd name="connsiteX2954" fmla="*/ 3235 w 10785"/>
                <a:gd name="connsiteY2954" fmla="*/ 7650 h 10000"/>
                <a:gd name="connsiteX2955" fmla="*/ 3226 w 10785"/>
                <a:gd name="connsiteY2955" fmla="*/ 7650 h 10000"/>
                <a:gd name="connsiteX2956" fmla="*/ 3217 w 10785"/>
                <a:gd name="connsiteY2956" fmla="*/ 7650 h 10000"/>
                <a:gd name="connsiteX2957" fmla="*/ 3212 w 10785"/>
                <a:gd name="connsiteY2957" fmla="*/ 7675 h 10000"/>
                <a:gd name="connsiteX2958" fmla="*/ 3212 w 10785"/>
                <a:gd name="connsiteY2958"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112 w 10785"/>
                <a:gd name="connsiteY731" fmla="*/ 4797 h 10000"/>
                <a:gd name="connsiteX732" fmla="*/ 10233 w 10785"/>
                <a:gd name="connsiteY732" fmla="*/ 4530 h 10000"/>
                <a:gd name="connsiteX733" fmla="*/ 10334 w 10785"/>
                <a:gd name="connsiteY733" fmla="*/ 4810 h 10000"/>
                <a:gd name="connsiteX734" fmla="*/ 10422 w 10785"/>
                <a:gd name="connsiteY734" fmla="*/ 5051 h 10000"/>
                <a:gd name="connsiteX735" fmla="*/ 10691 w 10785"/>
                <a:gd name="connsiteY735" fmla="*/ 5255 h 10000"/>
                <a:gd name="connsiteX736" fmla="*/ 10619 w 10785"/>
                <a:gd name="connsiteY736" fmla="*/ 4708 h 10000"/>
                <a:gd name="connsiteX737" fmla="*/ 10785 w 10785"/>
                <a:gd name="connsiteY737" fmla="*/ 4708 h 10000"/>
                <a:gd name="connsiteX738" fmla="*/ 10689 w 10785"/>
                <a:gd name="connsiteY738" fmla="*/ 4467 h 10000"/>
                <a:gd name="connsiteX739" fmla="*/ 10354 w 10785"/>
                <a:gd name="connsiteY739" fmla="*/ 4302 h 10000"/>
                <a:gd name="connsiteX740" fmla="*/ 9912 w 10785"/>
                <a:gd name="connsiteY740" fmla="*/ 3675 h 10000"/>
                <a:gd name="connsiteX741" fmla="*/ 9903 w 10785"/>
                <a:gd name="connsiteY741" fmla="*/ 3667 h 10000"/>
                <a:gd name="connsiteX742" fmla="*/ 9894 w 10785"/>
                <a:gd name="connsiteY742" fmla="*/ 3641 h 10000"/>
                <a:gd name="connsiteX743" fmla="*/ 9889 w 10785"/>
                <a:gd name="connsiteY743" fmla="*/ 3650 h 10000"/>
                <a:gd name="connsiteX744" fmla="*/ 9848 w 10785"/>
                <a:gd name="connsiteY744" fmla="*/ 3598 h 10000"/>
                <a:gd name="connsiteX745" fmla="*/ 9829 w 10785"/>
                <a:gd name="connsiteY745" fmla="*/ 3581 h 10000"/>
                <a:gd name="connsiteX746" fmla="*/ 9820 w 10785"/>
                <a:gd name="connsiteY746" fmla="*/ 3581 h 10000"/>
                <a:gd name="connsiteX747" fmla="*/ 9793 w 10785"/>
                <a:gd name="connsiteY747" fmla="*/ 3556 h 10000"/>
                <a:gd name="connsiteX748" fmla="*/ 9779 w 10785"/>
                <a:gd name="connsiteY748" fmla="*/ 3556 h 10000"/>
                <a:gd name="connsiteX749" fmla="*/ 9747 w 10785"/>
                <a:gd name="connsiteY749" fmla="*/ 3487 h 10000"/>
                <a:gd name="connsiteX750" fmla="*/ 9668 w 10785"/>
                <a:gd name="connsiteY750" fmla="*/ 3479 h 10000"/>
                <a:gd name="connsiteX751" fmla="*/ 9659 w 10785"/>
                <a:gd name="connsiteY751" fmla="*/ 3487 h 10000"/>
                <a:gd name="connsiteX752" fmla="*/ 9645 w 10785"/>
                <a:gd name="connsiteY752" fmla="*/ 3504 h 10000"/>
                <a:gd name="connsiteX753" fmla="*/ 9631 w 10785"/>
                <a:gd name="connsiteY753" fmla="*/ 3487 h 10000"/>
                <a:gd name="connsiteX754" fmla="*/ 9613 w 10785"/>
                <a:gd name="connsiteY754" fmla="*/ 3479 h 10000"/>
                <a:gd name="connsiteX755" fmla="*/ 9599 w 10785"/>
                <a:gd name="connsiteY755" fmla="*/ 3479 h 10000"/>
                <a:gd name="connsiteX756" fmla="*/ 9571 w 10785"/>
                <a:gd name="connsiteY756" fmla="*/ 3479 h 10000"/>
                <a:gd name="connsiteX757" fmla="*/ 9562 w 10785"/>
                <a:gd name="connsiteY757" fmla="*/ 3487 h 10000"/>
                <a:gd name="connsiteX758" fmla="*/ 9539 w 10785"/>
                <a:gd name="connsiteY758" fmla="*/ 3487 h 10000"/>
                <a:gd name="connsiteX759" fmla="*/ 9507 w 10785"/>
                <a:gd name="connsiteY759" fmla="*/ 3453 h 10000"/>
                <a:gd name="connsiteX760" fmla="*/ 9498 w 10785"/>
                <a:gd name="connsiteY760" fmla="*/ 3453 h 10000"/>
                <a:gd name="connsiteX761" fmla="*/ 9387 w 10785"/>
                <a:gd name="connsiteY761" fmla="*/ 3419 h 10000"/>
                <a:gd name="connsiteX762" fmla="*/ 9373 w 10785"/>
                <a:gd name="connsiteY762" fmla="*/ 3427 h 10000"/>
                <a:gd name="connsiteX763" fmla="*/ 9373 w 10785"/>
                <a:gd name="connsiteY763" fmla="*/ 3462 h 10000"/>
                <a:gd name="connsiteX764" fmla="*/ 9378 w 10785"/>
                <a:gd name="connsiteY764" fmla="*/ 3479 h 10000"/>
                <a:gd name="connsiteX765" fmla="*/ 9378 w 10785"/>
                <a:gd name="connsiteY765" fmla="*/ 3530 h 10000"/>
                <a:gd name="connsiteX766" fmla="*/ 9355 w 10785"/>
                <a:gd name="connsiteY766" fmla="*/ 3538 h 10000"/>
                <a:gd name="connsiteX767" fmla="*/ 9355 w 10785"/>
                <a:gd name="connsiteY767" fmla="*/ 3581 h 10000"/>
                <a:gd name="connsiteX768" fmla="*/ 9387 w 10785"/>
                <a:gd name="connsiteY768" fmla="*/ 3590 h 10000"/>
                <a:gd name="connsiteX769" fmla="*/ 9401 w 10785"/>
                <a:gd name="connsiteY769" fmla="*/ 3667 h 10000"/>
                <a:gd name="connsiteX770" fmla="*/ 9406 w 10785"/>
                <a:gd name="connsiteY770" fmla="*/ 3675 h 10000"/>
                <a:gd name="connsiteX771" fmla="*/ 9406 w 10785"/>
                <a:gd name="connsiteY771" fmla="*/ 3701 h 10000"/>
                <a:gd name="connsiteX772" fmla="*/ 9415 w 10785"/>
                <a:gd name="connsiteY772" fmla="*/ 3752 h 10000"/>
                <a:gd name="connsiteX773" fmla="*/ 9373 w 10785"/>
                <a:gd name="connsiteY773" fmla="*/ 3838 h 10000"/>
                <a:gd name="connsiteX774" fmla="*/ 9355 w 10785"/>
                <a:gd name="connsiteY774" fmla="*/ 3863 h 10000"/>
                <a:gd name="connsiteX775" fmla="*/ 9327 w 10785"/>
                <a:gd name="connsiteY775" fmla="*/ 3863 h 10000"/>
                <a:gd name="connsiteX776" fmla="*/ 9313 w 10785"/>
                <a:gd name="connsiteY776" fmla="*/ 3846 h 10000"/>
                <a:gd name="connsiteX777" fmla="*/ 9300 w 10785"/>
                <a:gd name="connsiteY777" fmla="*/ 3778 h 10000"/>
                <a:gd name="connsiteX778" fmla="*/ 9281 w 10785"/>
                <a:gd name="connsiteY778" fmla="*/ 3752 h 10000"/>
                <a:gd name="connsiteX779" fmla="*/ 9281 w 10785"/>
                <a:gd name="connsiteY779" fmla="*/ 3735 h 10000"/>
                <a:gd name="connsiteX780" fmla="*/ 9267 w 10785"/>
                <a:gd name="connsiteY780" fmla="*/ 3726 h 10000"/>
                <a:gd name="connsiteX781" fmla="*/ 9240 w 10785"/>
                <a:gd name="connsiteY781" fmla="*/ 3726 h 10000"/>
                <a:gd name="connsiteX782" fmla="*/ 9230 w 10785"/>
                <a:gd name="connsiteY782" fmla="*/ 3718 h 10000"/>
                <a:gd name="connsiteX783" fmla="*/ 9226 w 10785"/>
                <a:gd name="connsiteY783" fmla="*/ 3590 h 10000"/>
                <a:gd name="connsiteX784" fmla="*/ 9207 w 10785"/>
                <a:gd name="connsiteY784" fmla="*/ 3581 h 10000"/>
                <a:gd name="connsiteX785" fmla="*/ 9207 w 10785"/>
                <a:gd name="connsiteY785" fmla="*/ 3556 h 10000"/>
                <a:gd name="connsiteX786" fmla="*/ 9217 w 10785"/>
                <a:gd name="connsiteY786" fmla="*/ 3538 h 10000"/>
                <a:gd name="connsiteX787" fmla="*/ 9212 w 10785"/>
                <a:gd name="connsiteY787" fmla="*/ 3538 h 10000"/>
                <a:gd name="connsiteX788" fmla="*/ 9198 w 10785"/>
                <a:gd name="connsiteY788" fmla="*/ 3513 h 10000"/>
                <a:gd name="connsiteX789" fmla="*/ 9194 w 10785"/>
                <a:gd name="connsiteY789" fmla="*/ 3530 h 10000"/>
                <a:gd name="connsiteX790" fmla="*/ 9143 w 10785"/>
                <a:gd name="connsiteY790" fmla="*/ 3615 h 10000"/>
                <a:gd name="connsiteX791" fmla="*/ 9138 w 10785"/>
                <a:gd name="connsiteY791" fmla="*/ 3615 h 10000"/>
                <a:gd name="connsiteX792" fmla="*/ 9134 w 10785"/>
                <a:gd name="connsiteY792" fmla="*/ 3615 h 10000"/>
                <a:gd name="connsiteX793" fmla="*/ 9106 w 10785"/>
                <a:gd name="connsiteY793" fmla="*/ 3615 h 10000"/>
                <a:gd name="connsiteX794" fmla="*/ 9078 w 10785"/>
                <a:gd name="connsiteY794" fmla="*/ 3590 h 10000"/>
                <a:gd name="connsiteX795" fmla="*/ 9037 w 10785"/>
                <a:gd name="connsiteY795" fmla="*/ 3581 h 10000"/>
                <a:gd name="connsiteX796" fmla="*/ 9023 w 10785"/>
                <a:gd name="connsiteY796" fmla="*/ 3590 h 10000"/>
                <a:gd name="connsiteX797" fmla="*/ 9018 w 10785"/>
                <a:gd name="connsiteY797" fmla="*/ 3590 h 10000"/>
                <a:gd name="connsiteX798" fmla="*/ 9018 w 10785"/>
                <a:gd name="connsiteY798" fmla="*/ 3590 h 10000"/>
                <a:gd name="connsiteX799" fmla="*/ 8991 w 10785"/>
                <a:gd name="connsiteY799" fmla="*/ 3590 h 10000"/>
                <a:gd name="connsiteX800" fmla="*/ 8972 w 10785"/>
                <a:gd name="connsiteY800" fmla="*/ 3581 h 10000"/>
                <a:gd name="connsiteX801" fmla="*/ 8959 w 10785"/>
                <a:gd name="connsiteY801" fmla="*/ 3513 h 10000"/>
                <a:gd name="connsiteX802" fmla="*/ 8931 w 10785"/>
                <a:gd name="connsiteY802" fmla="*/ 3538 h 10000"/>
                <a:gd name="connsiteX803" fmla="*/ 8889 w 10785"/>
                <a:gd name="connsiteY803" fmla="*/ 3538 h 10000"/>
                <a:gd name="connsiteX804" fmla="*/ 8871 w 10785"/>
                <a:gd name="connsiteY804" fmla="*/ 3556 h 10000"/>
                <a:gd name="connsiteX805" fmla="*/ 8857 w 10785"/>
                <a:gd name="connsiteY805" fmla="*/ 3538 h 10000"/>
                <a:gd name="connsiteX806" fmla="*/ 8843 w 10785"/>
                <a:gd name="connsiteY806" fmla="*/ 3538 h 10000"/>
                <a:gd name="connsiteX807" fmla="*/ 8839 w 10785"/>
                <a:gd name="connsiteY807" fmla="*/ 3556 h 10000"/>
                <a:gd name="connsiteX808" fmla="*/ 8839 w 10785"/>
                <a:gd name="connsiteY808" fmla="*/ 3581 h 10000"/>
                <a:gd name="connsiteX809" fmla="*/ 8825 w 10785"/>
                <a:gd name="connsiteY809" fmla="*/ 3564 h 10000"/>
                <a:gd name="connsiteX810" fmla="*/ 8825 w 10785"/>
                <a:gd name="connsiteY810" fmla="*/ 3615 h 10000"/>
                <a:gd name="connsiteX811" fmla="*/ 8802 w 10785"/>
                <a:gd name="connsiteY811" fmla="*/ 3598 h 10000"/>
                <a:gd name="connsiteX812" fmla="*/ 8797 w 10785"/>
                <a:gd name="connsiteY812" fmla="*/ 3641 h 10000"/>
                <a:gd name="connsiteX813" fmla="*/ 8783 w 10785"/>
                <a:gd name="connsiteY813" fmla="*/ 3667 h 10000"/>
                <a:gd name="connsiteX814" fmla="*/ 8779 w 10785"/>
                <a:gd name="connsiteY814" fmla="*/ 3650 h 10000"/>
                <a:gd name="connsiteX815" fmla="*/ 8779 w 10785"/>
                <a:gd name="connsiteY815" fmla="*/ 3615 h 10000"/>
                <a:gd name="connsiteX816" fmla="*/ 8770 w 10785"/>
                <a:gd name="connsiteY816" fmla="*/ 3590 h 10000"/>
                <a:gd name="connsiteX817" fmla="*/ 8765 w 10785"/>
                <a:gd name="connsiteY817" fmla="*/ 3598 h 10000"/>
                <a:gd name="connsiteX818" fmla="*/ 8756 w 10785"/>
                <a:gd name="connsiteY818" fmla="*/ 3590 h 10000"/>
                <a:gd name="connsiteX819" fmla="*/ 8737 w 10785"/>
                <a:gd name="connsiteY819" fmla="*/ 3556 h 10000"/>
                <a:gd name="connsiteX820" fmla="*/ 8724 w 10785"/>
                <a:gd name="connsiteY820" fmla="*/ 3538 h 10000"/>
                <a:gd name="connsiteX821" fmla="*/ 8696 w 10785"/>
                <a:gd name="connsiteY821" fmla="*/ 3538 h 10000"/>
                <a:gd name="connsiteX822" fmla="*/ 8691 w 10785"/>
                <a:gd name="connsiteY822" fmla="*/ 3513 h 10000"/>
                <a:gd name="connsiteX823" fmla="*/ 8668 w 10785"/>
                <a:gd name="connsiteY823" fmla="*/ 3504 h 10000"/>
                <a:gd name="connsiteX824" fmla="*/ 8668 w 10785"/>
                <a:gd name="connsiteY824" fmla="*/ 3487 h 10000"/>
                <a:gd name="connsiteX825" fmla="*/ 8691 w 10785"/>
                <a:gd name="connsiteY825" fmla="*/ 3350 h 10000"/>
                <a:gd name="connsiteX826" fmla="*/ 8691 w 10785"/>
                <a:gd name="connsiteY826" fmla="*/ 3291 h 10000"/>
                <a:gd name="connsiteX827" fmla="*/ 8677 w 10785"/>
                <a:gd name="connsiteY827" fmla="*/ 3239 h 10000"/>
                <a:gd name="connsiteX828" fmla="*/ 8677 w 10785"/>
                <a:gd name="connsiteY828" fmla="*/ 3231 h 10000"/>
                <a:gd name="connsiteX829" fmla="*/ 8636 w 10785"/>
                <a:gd name="connsiteY829" fmla="*/ 3128 h 10000"/>
                <a:gd name="connsiteX830" fmla="*/ 8622 w 10785"/>
                <a:gd name="connsiteY830" fmla="*/ 3120 h 10000"/>
                <a:gd name="connsiteX831" fmla="*/ 8618 w 10785"/>
                <a:gd name="connsiteY831" fmla="*/ 3094 h 10000"/>
                <a:gd name="connsiteX832" fmla="*/ 8594 w 10785"/>
                <a:gd name="connsiteY832" fmla="*/ 3077 h 10000"/>
                <a:gd name="connsiteX833" fmla="*/ 8548 w 10785"/>
                <a:gd name="connsiteY833" fmla="*/ 3077 h 10000"/>
                <a:gd name="connsiteX834" fmla="*/ 8535 w 10785"/>
                <a:gd name="connsiteY834" fmla="*/ 3068 h 10000"/>
                <a:gd name="connsiteX835" fmla="*/ 8429 w 10785"/>
                <a:gd name="connsiteY835" fmla="*/ 3077 h 10000"/>
                <a:gd name="connsiteX836" fmla="*/ 8424 w 10785"/>
                <a:gd name="connsiteY836" fmla="*/ 3077 h 10000"/>
                <a:gd name="connsiteX837" fmla="*/ 8396 w 10785"/>
                <a:gd name="connsiteY837" fmla="*/ 3077 h 10000"/>
                <a:gd name="connsiteX838" fmla="*/ 8387 w 10785"/>
                <a:gd name="connsiteY838" fmla="*/ 3094 h 10000"/>
                <a:gd name="connsiteX839" fmla="*/ 8378 w 10785"/>
                <a:gd name="connsiteY839" fmla="*/ 3094 h 10000"/>
                <a:gd name="connsiteX840" fmla="*/ 8341 w 10785"/>
                <a:gd name="connsiteY840" fmla="*/ 3077 h 10000"/>
                <a:gd name="connsiteX841" fmla="*/ 8336 w 10785"/>
                <a:gd name="connsiteY841" fmla="*/ 3077 h 10000"/>
                <a:gd name="connsiteX842" fmla="*/ 8327 w 10785"/>
                <a:gd name="connsiteY842" fmla="*/ 3103 h 10000"/>
                <a:gd name="connsiteX843" fmla="*/ 8309 w 10785"/>
                <a:gd name="connsiteY843" fmla="*/ 3120 h 10000"/>
                <a:gd name="connsiteX844" fmla="*/ 8304 w 10785"/>
                <a:gd name="connsiteY844" fmla="*/ 3103 h 10000"/>
                <a:gd name="connsiteX845" fmla="*/ 8276 w 10785"/>
                <a:gd name="connsiteY845" fmla="*/ 3103 h 10000"/>
                <a:gd name="connsiteX846" fmla="*/ 8267 w 10785"/>
                <a:gd name="connsiteY846" fmla="*/ 3120 h 10000"/>
                <a:gd name="connsiteX847" fmla="*/ 8253 w 10785"/>
                <a:gd name="connsiteY847" fmla="*/ 3103 h 10000"/>
                <a:gd name="connsiteX848" fmla="*/ 8230 w 10785"/>
                <a:gd name="connsiteY848" fmla="*/ 3128 h 10000"/>
                <a:gd name="connsiteX849" fmla="*/ 8217 w 10785"/>
                <a:gd name="connsiteY849" fmla="*/ 3128 h 10000"/>
                <a:gd name="connsiteX850" fmla="*/ 8203 w 10785"/>
                <a:gd name="connsiteY850" fmla="*/ 3154 h 10000"/>
                <a:gd name="connsiteX851" fmla="*/ 8175 w 10785"/>
                <a:gd name="connsiteY851" fmla="*/ 3094 h 10000"/>
                <a:gd name="connsiteX852" fmla="*/ 8161 w 10785"/>
                <a:gd name="connsiteY852" fmla="*/ 3094 h 10000"/>
                <a:gd name="connsiteX853" fmla="*/ 8157 w 10785"/>
                <a:gd name="connsiteY853" fmla="*/ 3077 h 10000"/>
                <a:gd name="connsiteX854" fmla="*/ 8180 w 10785"/>
                <a:gd name="connsiteY854" fmla="*/ 3068 h 10000"/>
                <a:gd name="connsiteX855" fmla="*/ 8189 w 10785"/>
                <a:gd name="connsiteY855" fmla="*/ 3043 h 10000"/>
                <a:gd name="connsiteX856" fmla="*/ 8189 w 10785"/>
                <a:gd name="connsiteY856" fmla="*/ 3017 h 10000"/>
                <a:gd name="connsiteX857" fmla="*/ 8147 w 10785"/>
                <a:gd name="connsiteY857" fmla="*/ 2940 h 10000"/>
                <a:gd name="connsiteX858" fmla="*/ 8143 w 10785"/>
                <a:gd name="connsiteY858" fmla="*/ 2915 h 10000"/>
                <a:gd name="connsiteX859" fmla="*/ 8143 w 10785"/>
                <a:gd name="connsiteY859" fmla="*/ 2906 h 10000"/>
                <a:gd name="connsiteX860" fmla="*/ 8097 w 10785"/>
                <a:gd name="connsiteY860" fmla="*/ 2932 h 10000"/>
                <a:gd name="connsiteX861" fmla="*/ 8083 w 10785"/>
                <a:gd name="connsiteY861" fmla="*/ 2932 h 10000"/>
                <a:gd name="connsiteX862" fmla="*/ 8074 w 10785"/>
                <a:gd name="connsiteY862" fmla="*/ 2906 h 10000"/>
                <a:gd name="connsiteX863" fmla="*/ 8074 w 10785"/>
                <a:gd name="connsiteY863" fmla="*/ 2897 h 10000"/>
                <a:gd name="connsiteX864" fmla="*/ 8055 w 10785"/>
                <a:gd name="connsiteY864" fmla="*/ 2872 h 10000"/>
                <a:gd name="connsiteX865" fmla="*/ 8046 w 10785"/>
                <a:gd name="connsiteY865" fmla="*/ 2829 h 10000"/>
                <a:gd name="connsiteX866" fmla="*/ 8041 w 10785"/>
                <a:gd name="connsiteY866" fmla="*/ 2829 h 10000"/>
                <a:gd name="connsiteX867" fmla="*/ 8023 w 10785"/>
                <a:gd name="connsiteY867" fmla="*/ 2803 h 10000"/>
                <a:gd name="connsiteX868" fmla="*/ 8014 w 10785"/>
                <a:gd name="connsiteY868" fmla="*/ 2829 h 10000"/>
                <a:gd name="connsiteX869" fmla="*/ 8000 w 10785"/>
                <a:gd name="connsiteY869" fmla="*/ 2829 h 10000"/>
                <a:gd name="connsiteX870" fmla="*/ 7995 w 10785"/>
                <a:gd name="connsiteY870" fmla="*/ 2821 h 10000"/>
                <a:gd name="connsiteX871" fmla="*/ 7972 w 10785"/>
                <a:gd name="connsiteY871" fmla="*/ 2803 h 10000"/>
                <a:gd name="connsiteX872" fmla="*/ 7968 w 10785"/>
                <a:gd name="connsiteY872" fmla="*/ 2821 h 10000"/>
                <a:gd name="connsiteX873" fmla="*/ 7968 w 10785"/>
                <a:gd name="connsiteY873" fmla="*/ 2803 h 10000"/>
                <a:gd name="connsiteX874" fmla="*/ 7995 w 10785"/>
                <a:gd name="connsiteY874" fmla="*/ 2735 h 10000"/>
                <a:gd name="connsiteX875" fmla="*/ 8000 w 10785"/>
                <a:gd name="connsiteY875" fmla="*/ 2735 h 10000"/>
                <a:gd name="connsiteX876" fmla="*/ 8014 w 10785"/>
                <a:gd name="connsiteY876" fmla="*/ 2744 h 10000"/>
                <a:gd name="connsiteX877" fmla="*/ 8023 w 10785"/>
                <a:gd name="connsiteY877" fmla="*/ 2769 h 10000"/>
                <a:gd name="connsiteX878" fmla="*/ 8032 w 10785"/>
                <a:gd name="connsiteY878" fmla="*/ 2744 h 10000"/>
                <a:gd name="connsiteX879" fmla="*/ 8032 w 10785"/>
                <a:gd name="connsiteY879" fmla="*/ 2709 h 10000"/>
                <a:gd name="connsiteX880" fmla="*/ 8023 w 10785"/>
                <a:gd name="connsiteY880" fmla="*/ 2632 h 10000"/>
                <a:gd name="connsiteX881" fmla="*/ 7986 w 10785"/>
                <a:gd name="connsiteY881" fmla="*/ 2581 h 10000"/>
                <a:gd name="connsiteX882" fmla="*/ 7968 w 10785"/>
                <a:gd name="connsiteY882" fmla="*/ 2581 h 10000"/>
                <a:gd name="connsiteX883" fmla="*/ 7963 w 10785"/>
                <a:gd name="connsiteY883" fmla="*/ 2556 h 10000"/>
                <a:gd name="connsiteX884" fmla="*/ 7935 w 10785"/>
                <a:gd name="connsiteY884" fmla="*/ 2547 h 10000"/>
                <a:gd name="connsiteX885" fmla="*/ 7912 w 10785"/>
                <a:gd name="connsiteY885" fmla="*/ 2547 h 10000"/>
                <a:gd name="connsiteX886" fmla="*/ 7912 w 10785"/>
                <a:gd name="connsiteY886" fmla="*/ 2556 h 10000"/>
                <a:gd name="connsiteX887" fmla="*/ 7908 w 10785"/>
                <a:gd name="connsiteY887" fmla="*/ 2547 h 10000"/>
                <a:gd name="connsiteX888" fmla="*/ 7862 w 10785"/>
                <a:gd name="connsiteY888" fmla="*/ 2547 h 10000"/>
                <a:gd name="connsiteX889" fmla="*/ 7848 w 10785"/>
                <a:gd name="connsiteY889" fmla="*/ 2556 h 10000"/>
                <a:gd name="connsiteX890" fmla="*/ 7820 w 10785"/>
                <a:gd name="connsiteY890" fmla="*/ 2547 h 10000"/>
                <a:gd name="connsiteX891" fmla="*/ 7806 w 10785"/>
                <a:gd name="connsiteY891" fmla="*/ 2513 h 10000"/>
                <a:gd name="connsiteX892" fmla="*/ 7788 w 10785"/>
                <a:gd name="connsiteY892" fmla="*/ 2513 h 10000"/>
                <a:gd name="connsiteX893" fmla="*/ 7760 w 10785"/>
                <a:gd name="connsiteY893" fmla="*/ 2470 h 10000"/>
                <a:gd name="connsiteX894" fmla="*/ 7751 w 10785"/>
                <a:gd name="connsiteY894" fmla="*/ 2470 h 10000"/>
                <a:gd name="connsiteX895" fmla="*/ 7705 w 10785"/>
                <a:gd name="connsiteY895" fmla="*/ 2462 h 10000"/>
                <a:gd name="connsiteX896" fmla="*/ 7673 w 10785"/>
                <a:gd name="connsiteY896" fmla="*/ 2419 h 10000"/>
                <a:gd name="connsiteX897" fmla="*/ 7627 w 10785"/>
                <a:gd name="connsiteY897" fmla="*/ 2419 h 10000"/>
                <a:gd name="connsiteX898" fmla="*/ 7613 w 10785"/>
                <a:gd name="connsiteY898" fmla="*/ 2410 h 10000"/>
                <a:gd name="connsiteX899" fmla="*/ 7493 w 10785"/>
                <a:gd name="connsiteY899" fmla="*/ 2393 h 10000"/>
                <a:gd name="connsiteX900" fmla="*/ 7479 w 10785"/>
                <a:gd name="connsiteY900" fmla="*/ 2385 h 10000"/>
                <a:gd name="connsiteX901" fmla="*/ 7479 w 10785"/>
                <a:gd name="connsiteY901" fmla="*/ 2376 h 10000"/>
                <a:gd name="connsiteX902" fmla="*/ 7465 w 10785"/>
                <a:gd name="connsiteY902" fmla="*/ 2359 h 10000"/>
                <a:gd name="connsiteX903" fmla="*/ 7447 w 10785"/>
                <a:gd name="connsiteY903" fmla="*/ 2350 h 10000"/>
                <a:gd name="connsiteX904" fmla="*/ 7433 w 10785"/>
                <a:gd name="connsiteY904" fmla="*/ 2376 h 10000"/>
                <a:gd name="connsiteX905" fmla="*/ 7433 w 10785"/>
                <a:gd name="connsiteY905" fmla="*/ 2385 h 10000"/>
                <a:gd name="connsiteX906" fmla="*/ 7447 w 10785"/>
                <a:gd name="connsiteY906" fmla="*/ 2410 h 10000"/>
                <a:gd name="connsiteX907" fmla="*/ 7447 w 10785"/>
                <a:gd name="connsiteY907" fmla="*/ 2436 h 10000"/>
                <a:gd name="connsiteX908" fmla="*/ 7452 w 10785"/>
                <a:gd name="connsiteY908" fmla="*/ 2462 h 10000"/>
                <a:gd name="connsiteX909" fmla="*/ 7447 w 10785"/>
                <a:gd name="connsiteY909" fmla="*/ 2470 h 10000"/>
                <a:gd name="connsiteX910" fmla="*/ 7424 w 10785"/>
                <a:gd name="connsiteY910" fmla="*/ 2513 h 10000"/>
                <a:gd name="connsiteX911" fmla="*/ 7419 w 10785"/>
                <a:gd name="connsiteY911" fmla="*/ 2556 h 10000"/>
                <a:gd name="connsiteX912" fmla="*/ 7406 w 10785"/>
                <a:gd name="connsiteY912" fmla="*/ 2624 h 10000"/>
                <a:gd name="connsiteX913" fmla="*/ 7392 w 10785"/>
                <a:gd name="connsiteY913" fmla="*/ 2624 h 10000"/>
                <a:gd name="connsiteX914" fmla="*/ 7373 w 10785"/>
                <a:gd name="connsiteY914" fmla="*/ 2650 h 10000"/>
                <a:gd name="connsiteX915" fmla="*/ 7364 w 10785"/>
                <a:gd name="connsiteY915" fmla="*/ 2684 h 10000"/>
                <a:gd name="connsiteX916" fmla="*/ 7364 w 10785"/>
                <a:gd name="connsiteY916" fmla="*/ 2692 h 10000"/>
                <a:gd name="connsiteX917" fmla="*/ 7373 w 10785"/>
                <a:gd name="connsiteY917" fmla="*/ 2718 h 10000"/>
                <a:gd name="connsiteX918" fmla="*/ 7373 w 10785"/>
                <a:gd name="connsiteY918" fmla="*/ 2744 h 10000"/>
                <a:gd name="connsiteX919" fmla="*/ 7359 w 10785"/>
                <a:gd name="connsiteY919" fmla="*/ 2744 h 10000"/>
                <a:gd name="connsiteX920" fmla="*/ 7359 w 10785"/>
                <a:gd name="connsiteY920" fmla="*/ 2795 h 10000"/>
                <a:gd name="connsiteX921" fmla="*/ 7364 w 10785"/>
                <a:gd name="connsiteY921" fmla="*/ 2821 h 10000"/>
                <a:gd name="connsiteX922" fmla="*/ 7378 w 10785"/>
                <a:gd name="connsiteY922" fmla="*/ 2846 h 10000"/>
                <a:gd name="connsiteX923" fmla="*/ 7378 w 10785"/>
                <a:gd name="connsiteY923" fmla="*/ 2855 h 10000"/>
                <a:gd name="connsiteX924" fmla="*/ 7378 w 10785"/>
                <a:gd name="connsiteY924" fmla="*/ 2880 h 10000"/>
                <a:gd name="connsiteX925" fmla="*/ 7378 w 10785"/>
                <a:gd name="connsiteY925" fmla="*/ 2906 h 10000"/>
                <a:gd name="connsiteX926" fmla="*/ 7364 w 10785"/>
                <a:gd name="connsiteY926" fmla="*/ 2906 h 10000"/>
                <a:gd name="connsiteX927" fmla="*/ 7346 w 10785"/>
                <a:gd name="connsiteY927" fmla="*/ 2880 h 10000"/>
                <a:gd name="connsiteX928" fmla="*/ 7332 w 10785"/>
                <a:gd name="connsiteY928" fmla="*/ 2915 h 10000"/>
                <a:gd name="connsiteX929" fmla="*/ 7318 w 10785"/>
                <a:gd name="connsiteY929" fmla="*/ 2906 h 10000"/>
                <a:gd name="connsiteX930" fmla="*/ 7313 w 10785"/>
                <a:gd name="connsiteY930" fmla="*/ 2915 h 10000"/>
                <a:gd name="connsiteX931" fmla="*/ 7313 w 10785"/>
                <a:gd name="connsiteY931" fmla="*/ 2906 h 10000"/>
                <a:gd name="connsiteX932" fmla="*/ 7286 w 10785"/>
                <a:gd name="connsiteY932" fmla="*/ 2940 h 10000"/>
                <a:gd name="connsiteX933" fmla="*/ 7276 w 10785"/>
                <a:gd name="connsiteY933" fmla="*/ 2966 h 10000"/>
                <a:gd name="connsiteX934" fmla="*/ 7272 w 10785"/>
                <a:gd name="connsiteY934" fmla="*/ 2983 h 10000"/>
                <a:gd name="connsiteX935" fmla="*/ 7267 w 10785"/>
                <a:gd name="connsiteY935" fmla="*/ 3009 h 10000"/>
                <a:gd name="connsiteX936" fmla="*/ 7253 w 10785"/>
                <a:gd name="connsiteY936" fmla="*/ 3009 h 10000"/>
                <a:gd name="connsiteX937" fmla="*/ 7244 w 10785"/>
                <a:gd name="connsiteY937" fmla="*/ 3017 h 10000"/>
                <a:gd name="connsiteX938" fmla="*/ 7240 w 10785"/>
                <a:gd name="connsiteY938" fmla="*/ 3009 h 10000"/>
                <a:gd name="connsiteX939" fmla="*/ 7230 w 10785"/>
                <a:gd name="connsiteY939" fmla="*/ 2991 h 10000"/>
                <a:gd name="connsiteX940" fmla="*/ 7226 w 10785"/>
                <a:gd name="connsiteY940" fmla="*/ 2983 h 10000"/>
                <a:gd name="connsiteX941" fmla="*/ 7226 w 10785"/>
                <a:gd name="connsiteY941" fmla="*/ 2966 h 10000"/>
                <a:gd name="connsiteX942" fmla="*/ 7212 w 10785"/>
                <a:gd name="connsiteY942" fmla="*/ 2957 h 10000"/>
                <a:gd name="connsiteX943" fmla="*/ 7212 w 10785"/>
                <a:gd name="connsiteY943" fmla="*/ 2932 h 10000"/>
                <a:gd name="connsiteX944" fmla="*/ 7198 w 10785"/>
                <a:gd name="connsiteY944" fmla="*/ 2915 h 10000"/>
                <a:gd name="connsiteX945" fmla="*/ 7194 w 10785"/>
                <a:gd name="connsiteY945" fmla="*/ 2915 h 10000"/>
                <a:gd name="connsiteX946" fmla="*/ 7157 w 10785"/>
                <a:gd name="connsiteY946" fmla="*/ 2880 h 10000"/>
                <a:gd name="connsiteX947" fmla="*/ 7138 w 10785"/>
                <a:gd name="connsiteY947" fmla="*/ 2880 h 10000"/>
                <a:gd name="connsiteX948" fmla="*/ 7120 w 10785"/>
                <a:gd name="connsiteY948" fmla="*/ 2872 h 10000"/>
                <a:gd name="connsiteX949" fmla="*/ 7111 w 10785"/>
                <a:gd name="connsiteY949" fmla="*/ 2846 h 10000"/>
                <a:gd name="connsiteX950" fmla="*/ 7106 w 10785"/>
                <a:gd name="connsiteY950" fmla="*/ 2846 h 10000"/>
                <a:gd name="connsiteX951" fmla="*/ 7092 w 10785"/>
                <a:gd name="connsiteY951" fmla="*/ 2829 h 10000"/>
                <a:gd name="connsiteX952" fmla="*/ 7051 w 10785"/>
                <a:gd name="connsiteY952" fmla="*/ 2829 h 10000"/>
                <a:gd name="connsiteX953" fmla="*/ 7037 w 10785"/>
                <a:gd name="connsiteY953" fmla="*/ 2880 h 10000"/>
                <a:gd name="connsiteX954" fmla="*/ 7037 w 10785"/>
                <a:gd name="connsiteY954" fmla="*/ 2906 h 10000"/>
                <a:gd name="connsiteX955" fmla="*/ 7037 w 10785"/>
                <a:gd name="connsiteY955" fmla="*/ 2932 h 10000"/>
                <a:gd name="connsiteX956" fmla="*/ 7037 w 10785"/>
                <a:gd name="connsiteY956" fmla="*/ 2940 h 10000"/>
                <a:gd name="connsiteX957" fmla="*/ 7023 w 10785"/>
                <a:gd name="connsiteY957" fmla="*/ 2906 h 10000"/>
                <a:gd name="connsiteX958" fmla="*/ 7023 w 10785"/>
                <a:gd name="connsiteY958" fmla="*/ 2915 h 10000"/>
                <a:gd name="connsiteX959" fmla="*/ 6991 w 10785"/>
                <a:gd name="connsiteY959" fmla="*/ 2906 h 10000"/>
                <a:gd name="connsiteX960" fmla="*/ 6977 w 10785"/>
                <a:gd name="connsiteY960" fmla="*/ 2915 h 10000"/>
                <a:gd name="connsiteX961" fmla="*/ 6963 w 10785"/>
                <a:gd name="connsiteY961" fmla="*/ 2915 h 10000"/>
                <a:gd name="connsiteX962" fmla="*/ 6949 w 10785"/>
                <a:gd name="connsiteY962" fmla="*/ 2872 h 10000"/>
                <a:gd name="connsiteX963" fmla="*/ 6935 w 10785"/>
                <a:gd name="connsiteY963" fmla="*/ 2855 h 10000"/>
                <a:gd name="connsiteX964" fmla="*/ 6922 w 10785"/>
                <a:gd name="connsiteY964" fmla="*/ 2803 h 10000"/>
                <a:gd name="connsiteX965" fmla="*/ 6917 w 10785"/>
                <a:gd name="connsiteY965" fmla="*/ 2786 h 10000"/>
                <a:gd name="connsiteX966" fmla="*/ 6903 w 10785"/>
                <a:gd name="connsiteY966" fmla="*/ 2709 h 10000"/>
                <a:gd name="connsiteX967" fmla="*/ 6903 w 10785"/>
                <a:gd name="connsiteY967" fmla="*/ 2692 h 10000"/>
                <a:gd name="connsiteX968" fmla="*/ 6899 w 10785"/>
                <a:gd name="connsiteY968" fmla="*/ 2709 h 10000"/>
                <a:gd name="connsiteX969" fmla="*/ 6857 w 10785"/>
                <a:gd name="connsiteY969" fmla="*/ 2872 h 10000"/>
                <a:gd name="connsiteX970" fmla="*/ 6857 w 10785"/>
                <a:gd name="connsiteY970" fmla="*/ 3009 h 10000"/>
                <a:gd name="connsiteX971" fmla="*/ 6848 w 10785"/>
                <a:gd name="connsiteY971" fmla="*/ 3017 h 10000"/>
                <a:gd name="connsiteX972" fmla="*/ 6839 w 10785"/>
                <a:gd name="connsiteY972" fmla="*/ 3068 h 10000"/>
                <a:gd name="connsiteX973" fmla="*/ 6829 w 10785"/>
                <a:gd name="connsiteY973" fmla="*/ 3077 h 10000"/>
                <a:gd name="connsiteX974" fmla="*/ 6829 w 10785"/>
                <a:gd name="connsiteY974" fmla="*/ 3128 h 10000"/>
                <a:gd name="connsiteX975" fmla="*/ 6816 w 10785"/>
                <a:gd name="connsiteY975" fmla="*/ 3154 h 10000"/>
                <a:gd name="connsiteX976" fmla="*/ 6811 w 10785"/>
                <a:gd name="connsiteY976" fmla="*/ 3179 h 10000"/>
                <a:gd name="connsiteX977" fmla="*/ 6797 w 10785"/>
                <a:gd name="connsiteY977" fmla="*/ 3171 h 10000"/>
                <a:gd name="connsiteX978" fmla="*/ 6783 w 10785"/>
                <a:gd name="connsiteY978" fmla="*/ 3103 h 10000"/>
                <a:gd name="connsiteX979" fmla="*/ 6779 w 10785"/>
                <a:gd name="connsiteY979" fmla="*/ 3094 h 10000"/>
                <a:gd name="connsiteX980" fmla="*/ 6779 w 10785"/>
                <a:gd name="connsiteY980" fmla="*/ 3120 h 10000"/>
                <a:gd name="connsiteX981" fmla="*/ 6770 w 10785"/>
                <a:gd name="connsiteY981" fmla="*/ 3128 h 10000"/>
                <a:gd name="connsiteX982" fmla="*/ 6765 w 10785"/>
                <a:gd name="connsiteY982" fmla="*/ 3103 h 10000"/>
                <a:gd name="connsiteX983" fmla="*/ 6756 w 10785"/>
                <a:gd name="connsiteY983" fmla="*/ 3103 h 10000"/>
                <a:gd name="connsiteX984" fmla="*/ 6742 w 10785"/>
                <a:gd name="connsiteY984" fmla="*/ 3103 h 10000"/>
                <a:gd name="connsiteX985" fmla="*/ 6737 w 10785"/>
                <a:gd name="connsiteY985" fmla="*/ 3077 h 10000"/>
                <a:gd name="connsiteX986" fmla="*/ 6737 w 10785"/>
                <a:gd name="connsiteY986" fmla="*/ 3068 h 10000"/>
                <a:gd name="connsiteX987" fmla="*/ 6728 w 10785"/>
                <a:gd name="connsiteY987" fmla="*/ 3043 h 10000"/>
                <a:gd name="connsiteX988" fmla="*/ 6724 w 10785"/>
                <a:gd name="connsiteY988" fmla="*/ 3051 h 10000"/>
                <a:gd name="connsiteX989" fmla="*/ 6714 w 10785"/>
                <a:gd name="connsiteY989" fmla="*/ 3043 h 10000"/>
                <a:gd name="connsiteX990" fmla="*/ 6710 w 10785"/>
                <a:gd name="connsiteY990" fmla="*/ 3034 h 10000"/>
                <a:gd name="connsiteX991" fmla="*/ 6705 w 10785"/>
                <a:gd name="connsiteY991" fmla="*/ 2983 h 10000"/>
                <a:gd name="connsiteX992" fmla="*/ 6696 w 10785"/>
                <a:gd name="connsiteY992" fmla="*/ 2966 h 10000"/>
                <a:gd name="connsiteX993" fmla="*/ 6691 w 10785"/>
                <a:gd name="connsiteY993" fmla="*/ 2983 h 10000"/>
                <a:gd name="connsiteX994" fmla="*/ 6677 w 10785"/>
                <a:gd name="connsiteY994" fmla="*/ 2897 h 10000"/>
                <a:gd name="connsiteX995" fmla="*/ 6677 w 10785"/>
                <a:gd name="connsiteY995" fmla="*/ 2897 h 10000"/>
                <a:gd name="connsiteX996" fmla="*/ 6677 w 10785"/>
                <a:gd name="connsiteY996" fmla="*/ 2872 h 10000"/>
                <a:gd name="connsiteX997" fmla="*/ 6668 w 10785"/>
                <a:gd name="connsiteY997" fmla="*/ 2821 h 10000"/>
                <a:gd name="connsiteX998" fmla="*/ 6664 w 10785"/>
                <a:gd name="connsiteY998" fmla="*/ 2829 h 10000"/>
                <a:gd name="connsiteX999" fmla="*/ 6654 w 10785"/>
                <a:gd name="connsiteY999" fmla="*/ 2846 h 10000"/>
                <a:gd name="connsiteX1000" fmla="*/ 6650 w 10785"/>
                <a:gd name="connsiteY1000" fmla="*/ 2829 h 10000"/>
                <a:gd name="connsiteX1001" fmla="*/ 6650 w 10785"/>
                <a:gd name="connsiteY1001" fmla="*/ 2803 h 10000"/>
                <a:gd name="connsiteX1002" fmla="*/ 6650 w 10785"/>
                <a:gd name="connsiteY1002" fmla="*/ 2795 h 10000"/>
                <a:gd name="connsiteX1003" fmla="*/ 6641 w 10785"/>
                <a:gd name="connsiteY1003" fmla="*/ 2786 h 10000"/>
                <a:gd name="connsiteX1004" fmla="*/ 6636 w 10785"/>
                <a:gd name="connsiteY1004" fmla="*/ 2735 h 10000"/>
                <a:gd name="connsiteX1005" fmla="*/ 6664 w 10785"/>
                <a:gd name="connsiteY1005" fmla="*/ 2667 h 10000"/>
                <a:gd name="connsiteX1006" fmla="*/ 6668 w 10785"/>
                <a:gd name="connsiteY1006" fmla="*/ 2684 h 10000"/>
                <a:gd name="connsiteX1007" fmla="*/ 6677 w 10785"/>
                <a:gd name="connsiteY1007" fmla="*/ 2667 h 10000"/>
                <a:gd name="connsiteX1008" fmla="*/ 6668 w 10785"/>
                <a:gd name="connsiteY1008" fmla="*/ 2667 h 10000"/>
                <a:gd name="connsiteX1009" fmla="*/ 6668 w 10785"/>
                <a:gd name="connsiteY1009" fmla="*/ 2650 h 10000"/>
                <a:gd name="connsiteX1010" fmla="*/ 6682 w 10785"/>
                <a:gd name="connsiteY1010" fmla="*/ 2650 h 10000"/>
                <a:gd name="connsiteX1011" fmla="*/ 6691 w 10785"/>
                <a:gd name="connsiteY1011" fmla="*/ 2624 h 10000"/>
                <a:gd name="connsiteX1012" fmla="*/ 6682 w 10785"/>
                <a:gd name="connsiteY1012" fmla="*/ 2632 h 10000"/>
                <a:gd name="connsiteX1013" fmla="*/ 6682 w 10785"/>
                <a:gd name="connsiteY1013" fmla="*/ 2624 h 10000"/>
                <a:gd name="connsiteX1014" fmla="*/ 6691 w 10785"/>
                <a:gd name="connsiteY1014" fmla="*/ 2607 h 10000"/>
                <a:gd name="connsiteX1015" fmla="*/ 6691 w 10785"/>
                <a:gd name="connsiteY1015" fmla="*/ 2598 h 10000"/>
                <a:gd name="connsiteX1016" fmla="*/ 6691 w 10785"/>
                <a:gd name="connsiteY1016" fmla="*/ 2581 h 10000"/>
                <a:gd name="connsiteX1017" fmla="*/ 6696 w 10785"/>
                <a:gd name="connsiteY1017" fmla="*/ 2530 h 10000"/>
                <a:gd name="connsiteX1018" fmla="*/ 6677 w 10785"/>
                <a:gd name="connsiteY1018" fmla="*/ 2513 h 10000"/>
                <a:gd name="connsiteX1019" fmla="*/ 6677 w 10785"/>
                <a:gd name="connsiteY1019" fmla="*/ 2496 h 10000"/>
                <a:gd name="connsiteX1020" fmla="*/ 6682 w 10785"/>
                <a:gd name="connsiteY1020" fmla="*/ 2470 h 10000"/>
                <a:gd name="connsiteX1021" fmla="*/ 6668 w 10785"/>
                <a:gd name="connsiteY1021" fmla="*/ 2462 h 10000"/>
                <a:gd name="connsiteX1022" fmla="*/ 6677 w 10785"/>
                <a:gd name="connsiteY1022" fmla="*/ 2436 h 10000"/>
                <a:gd name="connsiteX1023" fmla="*/ 6682 w 10785"/>
                <a:gd name="connsiteY1023" fmla="*/ 2419 h 10000"/>
                <a:gd name="connsiteX1024" fmla="*/ 6682 w 10785"/>
                <a:gd name="connsiteY1024" fmla="*/ 2393 h 10000"/>
                <a:gd name="connsiteX1025" fmla="*/ 6682 w 10785"/>
                <a:gd name="connsiteY1025" fmla="*/ 2385 h 10000"/>
                <a:gd name="connsiteX1026" fmla="*/ 6682 w 10785"/>
                <a:gd name="connsiteY1026" fmla="*/ 2385 h 10000"/>
                <a:gd name="connsiteX1027" fmla="*/ 6677 w 10785"/>
                <a:gd name="connsiteY1027" fmla="*/ 2376 h 10000"/>
                <a:gd name="connsiteX1028" fmla="*/ 6682 w 10785"/>
                <a:gd name="connsiteY1028" fmla="*/ 2359 h 10000"/>
                <a:gd name="connsiteX1029" fmla="*/ 6677 w 10785"/>
                <a:gd name="connsiteY1029" fmla="*/ 2333 h 10000"/>
                <a:gd name="connsiteX1030" fmla="*/ 6691 w 10785"/>
                <a:gd name="connsiteY1030" fmla="*/ 2333 h 10000"/>
                <a:gd name="connsiteX1031" fmla="*/ 6691 w 10785"/>
                <a:gd name="connsiteY1031" fmla="*/ 2325 h 10000"/>
                <a:gd name="connsiteX1032" fmla="*/ 6691 w 10785"/>
                <a:gd name="connsiteY1032" fmla="*/ 2308 h 10000"/>
                <a:gd name="connsiteX1033" fmla="*/ 6691 w 10785"/>
                <a:gd name="connsiteY1033" fmla="*/ 2299 h 10000"/>
                <a:gd name="connsiteX1034" fmla="*/ 6691 w 10785"/>
                <a:gd name="connsiteY1034" fmla="*/ 2282 h 10000"/>
                <a:gd name="connsiteX1035" fmla="*/ 6691 w 10785"/>
                <a:gd name="connsiteY1035" fmla="*/ 2274 h 10000"/>
                <a:gd name="connsiteX1036" fmla="*/ 6668 w 10785"/>
                <a:gd name="connsiteY1036" fmla="*/ 2248 h 10000"/>
                <a:gd name="connsiteX1037" fmla="*/ 6664 w 10785"/>
                <a:gd name="connsiteY1037" fmla="*/ 2222 h 10000"/>
                <a:gd name="connsiteX1038" fmla="*/ 6654 w 10785"/>
                <a:gd name="connsiteY1038" fmla="*/ 2214 h 10000"/>
                <a:gd name="connsiteX1039" fmla="*/ 6654 w 10785"/>
                <a:gd name="connsiteY1039" fmla="*/ 2188 h 10000"/>
                <a:gd name="connsiteX1040" fmla="*/ 6622 w 10785"/>
                <a:gd name="connsiteY1040" fmla="*/ 2162 h 10000"/>
                <a:gd name="connsiteX1041" fmla="*/ 6631 w 10785"/>
                <a:gd name="connsiteY1041" fmla="*/ 2145 h 10000"/>
                <a:gd name="connsiteX1042" fmla="*/ 6622 w 10785"/>
                <a:gd name="connsiteY1042" fmla="*/ 2120 h 10000"/>
                <a:gd name="connsiteX1043" fmla="*/ 6608 w 10785"/>
                <a:gd name="connsiteY1043" fmla="*/ 2120 h 10000"/>
                <a:gd name="connsiteX1044" fmla="*/ 6604 w 10785"/>
                <a:gd name="connsiteY1044" fmla="*/ 2111 h 10000"/>
                <a:gd name="connsiteX1045" fmla="*/ 6608 w 10785"/>
                <a:gd name="connsiteY1045" fmla="*/ 2111 h 10000"/>
                <a:gd name="connsiteX1046" fmla="*/ 6604 w 10785"/>
                <a:gd name="connsiteY1046" fmla="*/ 2085 h 10000"/>
                <a:gd name="connsiteX1047" fmla="*/ 6581 w 10785"/>
                <a:gd name="connsiteY1047" fmla="*/ 2077 h 10000"/>
                <a:gd name="connsiteX1048" fmla="*/ 6571 w 10785"/>
                <a:gd name="connsiteY1048" fmla="*/ 2085 h 10000"/>
                <a:gd name="connsiteX1049" fmla="*/ 6548 w 10785"/>
                <a:gd name="connsiteY1049" fmla="*/ 2077 h 10000"/>
                <a:gd name="connsiteX1050" fmla="*/ 6530 w 10785"/>
                <a:gd name="connsiteY1050" fmla="*/ 2060 h 10000"/>
                <a:gd name="connsiteX1051" fmla="*/ 6521 w 10785"/>
                <a:gd name="connsiteY1051" fmla="*/ 2060 h 10000"/>
                <a:gd name="connsiteX1052" fmla="*/ 6521 w 10785"/>
                <a:gd name="connsiteY1052" fmla="*/ 2085 h 10000"/>
                <a:gd name="connsiteX1053" fmla="*/ 6516 w 10785"/>
                <a:gd name="connsiteY1053" fmla="*/ 2085 h 10000"/>
                <a:gd name="connsiteX1054" fmla="*/ 6502 w 10785"/>
                <a:gd name="connsiteY1054" fmla="*/ 2111 h 10000"/>
                <a:gd name="connsiteX1055" fmla="*/ 6498 w 10785"/>
                <a:gd name="connsiteY1055" fmla="*/ 2111 h 10000"/>
                <a:gd name="connsiteX1056" fmla="*/ 6498 w 10785"/>
                <a:gd name="connsiteY1056" fmla="*/ 2103 h 10000"/>
                <a:gd name="connsiteX1057" fmla="*/ 6475 w 10785"/>
                <a:gd name="connsiteY1057" fmla="*/ 2051 h 10000"/>
                <a:gd name="connsiteX1058" fmla="*/ 6470 w 10785"/>
                <a:gd name="connsiteY1058" fmla="*/ 2060 h 10000"/>
                <a:gd name="connsiteX1059" fmla="*/ 6456 w 10785"/>
                <a:gd name="connsiteY1059" fmla="*/ 2051 h 10000"/>
                <a:gd name="connsiteX1060" fmla="*/ 6447 w 10785"/>
                <a:gd name="connsiteY1060" fmla="*/ 2051 h 10000"/>
                <a:gd name="connsiteX1061" fmla="*/ 6433 w 10785"/>
                <a:gd name="connsiteY1061" fmla="*/ 2026 h 10000"/>
                <a:gd name="connsiteX1062" fmla="*/ 6433 w 10785"/>
                <a:gd name="connsiteY1062" fmla="*/ 2034 h 10000"/>
                <a:gd name="connsiteX1063" fmla="*/ 6429 w 10785"/>
                <a:gd name="connsiteY1063" fmla="*/ 2026 h 10000"/>
                <a:gd name="connsiteX1064" fmla="*/ 6424 w 10785"/>
                <a:gd name="connsiteY1064" fmla="*/ 2034 h 10000"/>
                <a:gd name="connsiteX1065" fmla="*/ 6410 w 10785"/>
                <a:gd name="connsiteY1065" fmla="*/ 2026 h 10000"/>
                <a:gd name="connsiteX1066" fmla="*/ 6410 w 10785"/>
                <a:gd name="connsiteY1066" fmla="*/ 1991 h 10000"/>
                <a:gd name="connsiteX1067" fmla="*/ 6401 w 10785"/>
                <a:gd name="connsiteY1067" fmla="*/ 1991 h 10000"/>
                <a:gd name="connsiteX1068" fmla="*/ 6396 w 10785"/>
                <a:gd name="connsiteY1068" fmla="*/ 2000 h 10000"/>
                <a:gd name="connsiteX1069" fmla="*/ 6382 w 10785"/>
                <a:gd name="connsiteY1069" fmla="*/ 1966 h 10000"/>
                <a:gd name="connsiteX1070" fmla="*/ 6373 w 10785"/>
                <a:gd name="connsiteY1070" fmla="*/ 1974 h 10000"/>
                <a:gd name="connsiteX1071" fmla="*/ 6369 w 10785"/>
                <a:gd name="connsiteY1071" fmla="*/ 1966 h 10000"/>
                <a:gd name="connsiteX1072" fmla="*/ 6341 w 10785"/>
                <a:gd name="connsiteY1072" fmla="*/ 1949 h 10000"/>
                <a:gd name="connsiteX1073" fmla="*/ 6327 w 10785"/>
                <a:gd name="connsiteY1073" fmla="*/ 1923 h 10000"/>
                <a:gd name="connsiteX1074" fmla="*/ 6323 w 10785"/>
                <a:gd name="connsiteY1074" fmla="*/ 1923 h 10000"/>
                <a:gd name="connsiteX1075" fmla="*/ 6323 w 10785"/>
                <a:gd name="connsiteY1075" fmla="*/ 1966 h 10000"/>
                <a:gd name="connsiteX1076" fmla="*/ 6323 w 10785"/>
                <a:gd name="connsiteY1076" fmla="*/ 1991 h 10000"/>
                <a:gd name="connsiteX1077" fmla="*/ 6313 w 10785"/>
                <a:gd name="connsiteY1077" fmla="*/ 1991 h 10000"/>
                <a:gd name="connsiteX1078" fmla="*/ 6300 w 10785"/>
                <a:gd name="connsiteY1078" fmla="*/ 1991 h 10000"/>
                <a:gd name="connsiteX1079" fmla="*/ 6290 w 10785"/>
                <a:gd name="connsiteY1079" fmla="*/ 1949 h 10000"/>
                <a:gd name="connsiteX1080" fmla="*/ 6276 w 10785"/>
                <a:gd name="connsiteY1080" fmla="*/ 2103 h 10000"/>
                <a:gd name="connsiteX1081" fmla="*/ 6281 w 10785"/>
                <a:gd name="connsiteY1081" fmla="*/ 2103 h 10000"/>
                <a:gd name="connsiteX1082" fmla="*/ 6276 w 10785"/>
                <a:gd name="connsiteY1082" fmla="*/ 2111 h 10000"/>
                <a:gd name="connsiteX1083" fmla="*/ 6276 w 10785"/>
                <a:gd name="connsiteY1083" fmla="*/ 2120 h 10000"/>
                <a:gd name="connsiteX1084" fmla="*/ 6295 w 10785"/>
                <a:gd name="connsiteY1084" fmla="*/ 2239 h 10000"/>
                <a:gd name="connsiteX1085" fmla="*/ 6290 w 10785"/>
                <a:gd name="connsiteY1085" fmla="*/ 2248 h 10000"/>
                <a:gd name="connsiteX1086" fmla="*/ 6281 w 10785"/>
                <a:gd name="connsiteY1086" fmla="*/ 2274 h 10000"/>
                <a:gd name="connsiteX1087" fmla="*/ 6249 w 10785"/>
                <a:gd name="connsiteY1087" fmla="*/ 2274 h 10000"/>
                <a:gd name="connsiteX1088" fmla="*/ 6226 w 10785"/>
                <a:gd name="connsiteY1088" fmla="*/ 2308 h 10000"/>
                <a:gd name="connsiteX1089" fmla="*/ 6221 w 10785"/>
                <a:gd name="connsiteY1089" fmla="*/ 2299 h 10000"/>
                <a:gd name="connsiteX1090" fmla="*/ 6221 w 10785"/>
                <a:gd name="connsiteY1090" fmla="*/ 2308 h 10000"/>
                <a:gd name="connsiteX1091" fmla="*/ 6217 w 10785"/>
                <a:gd name="connsiteY1091" fmla="*/ 2299 h 10000"/>
                <a:gd name="connsiteX1092" fmla="*/ 6194 w 10785"/>
                <a:gd name="connsiteY1092" fmla="*/ 2308 h 10000"/>
                <a:gd name="connsiteX1093" fmla="*/ 6180 w 10785"/>
                <a:gd name="connsiteY1093" fmla="*/ 2299 h 10000"/>
                <a:gd name="connsiteX1094" fmla="*/ 6143 w 10785"/>
                <a:gd name="connsiteY1094" fmla="*/ 2308 h 10000"/>
                <a:gd name="connsiteX1095" fmla="*/ 6134 w 10785"/>
                <a:gd name="connsiteY1095" fmla="*/ 2325 h 10000"/>
                <a:gd name="connsiteX1096" fmla="*/ 6115 w 10785"/>
                <a:gd name="connsiteY1096" fmla="*/ 2282 h 10000"/>
                <a:gd name="connsiteX1097" fmla="*/ 6069 w 10785"/>
                <a:gd name="connsiteY1097" fmla="*/ 2274 h 10000"/>
                <a:gd name="connsiteX1098" fmla="*/ 6069 w 10785"/>
                <a:gd name="connsiteY1098" fmla="*/ 2282 h 10000"/>
                <a:gd name="connsiteX1099" fmla="*/ 6060 w 10785"/>
                <a:gd name="connsiteY1099" fmla="*/ 2299 h 10000"/>
                <a:gd name="connsiteX1100" fmla="*/ 5972 w 10785"/>
                <a:gd name="connsiteY1100" fmla="*/ 2214 h 10000"/>
                <a:gd name="connsiteX1101" fmla="*/ 5968 w 10785"/>
                <a:gd name="connsiteY1101" fmla="*/ 2197 h 10000"/>
                <a:gd name="connsiteX1102" fmla="*/ 5968 w 10785"/>
                <a:gd name="connsiteY1102" fmla="*/ 2171 h 10000"/>
                <a:gd name="connsiteX1103" fmla="*/ 5968 w 10785"/>
                <a:gd name="connsiteY1103" fmla="*/ 2162 h 10000"/>
                <a:gd name="connsiteX1104" fmla="*/ 5968 w 10785"/>
                <a:gd name="connsiteY1104" fmla="*/ 2120 h 10000"/>
                <a:gd name="connsiteX1105" fmla="*/ 5968 w 10785"/>
                <a:gd name="connsiteY1105" fmla="*/ 2111 h 10000"/>
                <a:gd name="connsiteX1106" fmla="*/ 5972 w 10785"/>
                <a:gd name="connsiteY1106" fmla="*/ 2103 h 10000"/>
                <a:gd name="connsiteX1107" fmla="*/ 5986 w 10785"/>
                <a:gd name="connsiteY1107" fmla="*/ 2103 h 10000"/>
                <a:gd name="connsiteX1108" fmla="*/ 5986 w 10785"/>
                <a:gd name="connsiteY1108" fmla="*/ 2085 h 10000"/>
                <a:gd name="connsiteX1109" fmla="*/ 5995 w 10785"/>
                <a:gd name="connsiteY1109" fmla="*/ 2085 h 10000"/>
                <a:gd name="connsiteX1110" fmla="*/ 5995 w 10785"/>
                <a:gd name="connsiteY1110" fmla="*/ 2077 h 10000"/>
                <a:gd name="connsiteX1111" fmla="*/ 5986 w 10785"/>
                <a:gd name="connsiteY1111" fmla="*/ 2060 h 10000"/>
                <a:gd name="connsiteX1112" fmla="*/ 5954 w 10785"/>
                <a:gd name="connsiteY1112" fmla="*/ 2060 h 10000"/>
                <a:gd name="connsiteX1113" fmla="*/ 5940 w 10785"/>
                <a:gd name="connsiteY1113" fmla="*/ 2051 h 10000"/>
                <a:gd name="connsiteX1114" fmla="*/ 5922 w 10785"/>
                <a:gd name="connsiteY1114" fmla="*/ 2060 h 10000"/>
                <a:gd name="connsiteX1115" fmla="*/ 5885 w 10785"/>
                <a:gd name="connsiteY1115" fmla="*/ 2051 h 10000"/>
                <a:gd name="connsiteX1116" fmla="*/ 5876 w 10785"/>
                <a:gd name="connsiteY1116" fmla="*/ 2026 h 10000"/>
                <a:gd name="connsiteX1117" fmla="*/ 5862 w 10785"/>
                <a:gd name="connsiteY1117" fmla="*/ 2026 h 10000"/>
                <a:gd name="connsiteX1118" fmla="*/ 5848 w 10785"/>
                <a:gd name="connsiteY1118" fmla="*/ 2026 h 10000"/>
                <a:gd name="connsiteX1119" fmla="*/ 5825 w 10785"/>
                <a:gd name="connsiteY1119" fmla="*/ 2026 h 10000"/>
                <a:gd name="connsiteX1120" fmla="*/ 5788 w 10785"/>
                <a:gd name="connsiteY1120" fmla="*/ 1991 h 10000"/>
                <a:gd name="connsiteX1121" fmla="*/ 5760 w 10785"/>
                <a:gd name="connsiteY1121" fmla="*/ 2000 h 10000"/>
                <a:gd name="connsiteX1122" fmla="*/ 5760 w 10785"/>
                <a:gd name="connsiteY1122" fmla="*/ 2026 h 10000"/>
                <a:gd name="connsiteX1123" fmla="*/ 5714 w 10785"/>
                <a:gd name="connsiteY1123" fmla="*/ 2051 h 10000"/>
                <a:gd name="connsiteX1124" fmla="*/ 5687 w 10785"/>
                <a:gd name="connsiteY1124" fmla="*/ 2034 h 10000"/>
                <a:gd name="connsiteX1125" fmla="*/ 5645 w 10785"/>
                <a:gd name="connsiteY1125" fmla="*/ 2077 h 10000"/>
                <a:gd name="connsiteX1126" fmla="*/ 5664 w 10785"/>
                <a:gd name="connsiteY1126" fmla="*/ 2120 h 10000"/>
                <a:gd name="connsiteX1127" fmla="*/ 5664 w 10785"/>
                <a:gd name="connsiteY1127" fmla="*/ 2162 h 10000"/>
                <a:gd name="connsiteX1128" fmla="*/ 5631 w 10785"/>
                <a:gd name="connsiteY1128" fmla="*/ 2197 h 10000"/>
                <a:gd name="connsiteX1129" fmla="*/ 5618 w 10785"/>
                <a:gd name="connsiteY1129" fmla="*/ 2188 h 10000"/>
                <a:gd name="connsiteX1130" fmla="*/ 5618 w 10785"/>
                <a:gd name="connsiteY1130" fmla="*/ 2171 h 10000"/>
                <a:gd name="connsiteX1131" fmla="*/ 5641 w 10785"/>
                <a:gd name="connsiteY1131" fmla="*/ 2171 h 10000"/>
                <a:gd name="connsiteX1132" fmla="*/ 5641 w 10785"/>
                <a:gd name="connsiteY1132" fmla="*/ 2162 h 10000"/>
                <a:gd name="connsiteX1133" fmla="*/ 5627 w 10785"/>
                <a:gd name="connsiteY1133" fmla="*/ 2145 h 10000"/>
                <a:gd name="connsiteX1134" fmla="*/ 5627 w 10785"/>
                <a:gd name="connsiteY1134" fmla="*/ 2120 h 10000"/>
                <a:gd name="connsiteX1135" fmla="*/ 5618 w 10785"/>
                <a:gd name="connsiteY1135" fmla="*/ 2111 h 10000"/>
                <a:gd name="connsiteX1136" fmla="*/ 5631 w 10785"/>
                <a:gd name="connsiteY1136" fmla="*/ 2051 h 10000"/>
                <a:gd name="connsiteX1137" fmla="*/ 5631 w 10785"/>
                <a:gd name="connsiteY1137" fmla="*/ 2026 h 10000"/>
                <a:gd name="connsiteX1138" fmla="*/ 5627 w 10785"/>
                <a:gd name="connsiteY1138" fmla="*/ 1991 h 10000"/>
                <a:gd name="connsiteX1139" fmla="*/ 5618 w 10785"/>
                <a:gd name="connsiteY1139" fmla="*/ 1974 h 10000"/>
                <a:gd name="connsiteX1140" fmla="*/ 5618 w 10785"/>
                <a:gd name="connsiteY1140" fmla="*/ 1940 h 10000"/>
                <a:gd name="connsiteX1141" fmla="*/ 5594 w 10785"/>
                <a:gd name="connsiteY1141" fmla="*/ 1855 h 10000"/>
                <a:gd name="connsiteX1142" fmla="*/ 5599 w 10785"/>
                <a:gd name="connsiteY1142" fmla="*/ 1915 h 10000"/>
                <a:gd name="connsiteX1143" fmla="*/ 5599 w 10785"/>
                <a:gd name="connsiteY1143" fmla="*/ 1949 h 10000"/>
                <a:gd name="connsiteX1144" fmla="*/ 5594 w 10785"/>
                <a:gd name="connsiteY1144" fmla="*/ 1991 h 10000"/>
                <a:gd name="connsiteX1145" fmla="*/ 5571 w 10785"/>
                <a:gd name="connsiteY1145" fmla="*/ 2000 h 10000"/>
                <a:gd name="connsiteX1146" fmla="*/ 5530 w 10785"/>
                <a:gd name="connsiteY1146" fmla="*/ 1991 h 10000"/>
                <a:gd name="connsiteX1147" fmla="*/ 5525 w 10785"/>
                <a:gd name="connsiteY1147" fmla="*/ 2000 h 10000"/>
                <a:gd name="connsiteX1148" fmla="*/ 5521 w 10785"/>
                <a:gd name="connsiteY1148" fmla="*/ 1991 h 10000"/>
                <a:gd name="connsiteX1149" fmla="*/ 5498 w 10785"/>
                <a:gd name="connsiteY1149" fmla="*/ 1949 h 10000"/>
                <a:gd name="connsiteX1150" fmla="*/ 5493 w 10785"/>
                <a:gd name="connsiteY1150" fmla="*/ 1889 h 10000"/>
                <a:gd name="connsiteX1151" fmla="*/ 5493 w 10785"/>
                <a:gd name="connsiteY1151" fmla="*/ 1863 h 10000"/>
                <a:gd name="connsiteX1152" fmla="*/ 5498 w 10785"/>
                <a:gd name="connsiteY1152" fmla="*/ 1889 h 10000"/>
                <a:gd name="connsiteX1153" fmla="*/ 5512 w 10785"/>
                <a:gd name="connsiteY1153" fmla="*/ 1855 h 10000"/>
                <a:gd name="connsiteX1154" fmla="*/ 5512 w 10785"/>
                <a:gd name="connsiteY1154" fmla="*/ 1838 h 10000"/>
                <a:gd name="connsiteX1155" fmla="*/ 5479 w 10785"/>
                <a:gd name="connsiteY1155" fmla="*/ 1855 h 10000"/>
                <a:gd name="connsiteX1156" fmla="*/ 5470 w 10785"/>
                <a:gd name="connsiteY1156" fmla="*/ 1872 h 10000"/>
                <a:gd name="connsiteX1157" fmla="*/ 5470 w 10785"/>
                <a:gd name="connsiteY1157" fmla="*/ 1889 h 10000"/>
                <a:gd name="connsiteX1158" fmla="*/ 5465 w 10785"/>
                <a:gd name="connsiteY1158" fmla="*/ 1897 h 10000"/>
                <a:gd name="connsiteX1159" fmla="*/ 5456 w 10785"/>
                <a:gd name="connsiteY1159" fmla="*/ 1872 h 10000"/>
                <a:gd name="connsiteX1160" fmla="*/ 5447 w 10785"/>
                <a:gd name="connsiteY1160" fmla="*/ 1872 h 10000"/>
                <a:gd name="connsiteX1161" fmla="*/ 5433 w 10785"/>
                <a:gd name="connsiteY1161" fmla="*/ 1855 h 10000"/>
                <a:gd name="connsiteX1162" fmla="*/ 5396 w 10785"/>
                <a:gd name="connsiteY1162" fmla="*/ 1863 h 10000"/>
                <a:gd name="connsiteX1163" fmla="*/ 5396 w 10785"/>
                <a:gd name="connsiteY1163" fmla="*/ 1897 h 10000"/>
                <a:gd name="connsiteX1164" fmla="*/ 5378 w 10785"/>
                <a:gd name="connsiteY1164" fmla="*/ 1949 h 10000"/>
                <a:gd name="connsiteX1165" fmla="*/ 5378 w 10785"/>
                <a:gd name="connsiteY1165" fmla="*/ 1966 h 10000"/>
                <a:gd name="connsiteX1166" fmla="*/ 5392 w 10785"/>
                <a:gd name="connsiteY1166" fmla="*/ 2026 h 10000"/>
                <a:gd name="connsiteX1167" fmla="*/ 5396 w 10785"/>
                <a:gd name="connsiteY1167" fmla="*/ 2026 h 10000"/>
                <a:gd name="connsiteX1168" fmla="*/ 5392 w 10785"/>
                <a:gd name="connsiteY1168" fmla="*/ 2009 h 10000"/>
                <a:gd name="connsiteX1169" fmla="*/ 5392 w 10785"/>
                <a:gd name="connsiteY1169" fmla="*/ 2000 h 10000"/>
                <a:gd name="connsiteX1170" fmla="*/ 5396 w 10785"/>
                <a:gd name="connsiteY1170" fmla="*/ 2009 h 10000"/>
                <a:gd name="connsiteX1171" fmla="*/ 5424 w 10785"/>
                <a:gd name="connsiteY1171" fmla="*/ 2009 h 10000"/>
                <a:gd name="connsiteX1172" fmla="*/ 5433 w 10785"/>
                <a:gd name="connsiteY1172" fmla="*/ 1991 h 10000"/>
                <a:gd name="connsiteX1173" fmla="*/ 5447 w 10785"/>
                <a:gd name="connsiteY1173" fmla="*/ 1974 h 10000"/>
                <a:gd name="connsiteX1174" fmla="*/ 5452 w 10785"/>
                <a:gd name="connsiteY1174" fmla="*/ 1966 h 10000"/>
                <a:gd name="connsiteX1175" fmla="*/ 5456 w 10785"/>
                <a:gd name="connsiteY1175" fmla="*/ 1966 h 10000"/>
                <a:gd name="connsiteX1176" fmla="*/ 5465 w 10785"/>
                <a:gd name="connsiteY1176" fmla="*/ 2009 h 10000"/>
                <a:gd name="connsiteX1177" fmla="*/ 5433 w 10785"/>
                <a:gd name="connsiteY1177" fmla="*/ 2034 h 10000"/>
                <a:gd name="connsiteX1178" fmla="*/ 5424 w 10785"/>
                <a:gd name="connsiteY1178" fmla="*/ 2060 h 10000"/>
                <a:gd name="connsiteX1179" fmla="*/ 5419 w 10785"/>
                <a:gd name="connsiteY1179" fmla="*/ 2060 h 10000"/>
                <a:gd name="connsiteX1180" fmla="*/ 5392 w 10785"/>
                <a:gd name="connsiteY1180" fmla="*/ 2111 h 10000"/>
                <a:gd name="connsiteX1181" fmla="*/ 5378 w 10785"/>
                <a:gd name="connsiteY1181" fmla="*/ 2111 h 10000"/>
                <a:gd name="connsiteX1182" fmla="*/ 5350 w 10785"/>
                <a:gd name="connsiteY1182" fmla="*/ 2060 h 10000"/>
                <a:gd name="connsiteX1183" fmla="*/ 5373 w 10785"/>
                <a:gd name="connsiteY1183" fmla="*/ 2111 h 10000"/>
                <a:gd name="connsiteX1184" fmla="*/ 5364 w 10785"/>
                <a:gd name="connsiteY1184" fmla="*/ 2111 h 10000"/>
                <a:gd name="connsiteX1185" fmla="*/ 5359 w 10785"/>
                <a:gd name="connsiteY1185" fmla="*/ 2103 h 10000"/>
                <a:gd name="connsiteX1186" fmla="*/ 5359 w 10785"/>
                <a:gd name="connsiteY1186" fmla="*/ 2120 h 10000"/>
                <a:gd name="connsiteX1187" fmla="*/ 5359 w 10785"/>
                <a:gd name="connsiteY1187" fmla="*/ 2137 h 10000"/>
                <a:gd name="connsiteX1188" fmla="*/ 5313 w 10785"/>
                <a:gd name="connsiteY1188" fmla="*/ 2162 h 10000"/>
                <a:gd name="connsiteX1189" fmla="*/ 5300 w 10785"/>
                <a:gd name="connsiteY1189" fmla="*/ 2162 h 10000"/>
                <a:gd name="connsiteX1190" fmla="*/ 5300 w 10785"/>
                <a:gd name="connsiteY1190" fmla="*/ 2171 h 10000"/>
                <a:gd name="connsiteX1191" fmla="*/ 5300 w 10785"/>
                <a:gd name="connsiteY1191" fmla="*/ 2197 h 10000"/>
                <a:gd name="connsiteX1192" fmla="*/ 5276 w 10785"/>
                <a:gd name="connsiteY1192" fmla="*/ 2188 h 10000"/>
                <a:gd name="connsiteX1193" fmla="*/ 5249 w 10785"/>
                <a:gd name="connsiteY1193" fmla="*/ 2222 h 10000"/>
                <a:gd name="connsiteX1194" fmla="*/ 5249 w 10785"/>
                <a:gd name="connsiteY1194" fmla="*/ 2222 h 10000"/>
                <a:gd name="connsiteX1195" fmla="*/ 5217 w 10785"/>
                <a:gd name="connsiteY1195" fmla="*/ 2214 h 10000"/>
                <a:gd name="connsiteX1196" fmla="*/ 5203 w 10785"/>
                <a:gd name="connsiteY1196" fmla="*/ 2239 h 10000"/>
                <a:gd name="connsiteX1197" fmla="*/ 5171 w 10785"/>
                <a:gd name="connsiteY1197" fmla="*/ 2214 h 10000"/>
                <a:gd name="connsiteX1198" fmla="*/ 5157 w 10785"/>
                <a:gd name="connsiteY1198" fmla="*/ 2239 h 10000"/>
                <a:gd name="connsiteX1199" fmla="*/ 5166 w 10785"/>
                <a:gd name="connsiteY1199" fmla="*/ 2256 h 10000"/>
                <a:gd name="connsiteX1200" fmla="*/ 5171 w 10785"/>
                <a:gd name="connsiteY1200" fmla="*/ 2308 h 10000"/>
                <a:gd name="connsiteX1201" fmla="*/ 5212 w 10785"/>
                <a:gd name="connsiteY1201" fmla="*/ 2350 h 10000"/>
                <a:gd name="connsiteX1202" fmla="*/ 5203 w 10785"/>
                <a:gd name="connsiteY1202" fmla="*/ 2350 h 10000"/>
                <a:gd name="connsiteX1203" fmla="*/ 5166 w 10785"/>
                <a:gd name="connsiteY1203" fmla="*/ 2325 h 10000"/>
                <a:gd name="connsiteX1204" fmla="*/ 5152 w 10785"/>
                <a:gd name="connsiteY1204" fmla="*/ 2308 h 10000"/>
                <a:gd name="connsiteX1205" fmla="*/ 5143 w 10785"/>
                <a:gd name="connsiteY1205" fmla="*/ 2333 h 10000"/>
                <a:gd name="connsiteX1206" fmla="*/ 5138 w 10785"/>
                <a:gd name="connsiteY1206" fmla="*/ 2333 h 10000"/>
                <a:gd name="connsiteX1207" fmla="*/ 5124 w 10785"/>
                <a:gd name="connsiteY1207" fmla="*/ 2376 h 10000"/>
                <a:gd name="connsiteX1208" fmla="*/ 5115 w 10785"/>
                <a:gd name="connsiteY1208" fmla="*/ 2385 h 10000"/>
                <a:gd name="connsiteX1209" fmla="*/ 5106 w 10785"/>
                <a:gd name="connsiteY1209" fmla="*/ 2385 h 10000"/>
                <a:gd name="connsiteX1210" fmla="*/ 5055 w 10785"/>
                <a:gd name="connsiteY1210" fmla="*/ 2470 h 10000"/>
                <a:gd name="connsiteX1211" fmla="*/ 5065 w 10785"/>
                <a:gd name="connsiteY1211" fmla="*/ 2462 h 10000"/>
                <a:gd name="connsiteX1212" fmla="*/ 5055 w 10785"/>
                <a:gd name="connsiteY1212" fmla="*/ 2444 h 10000"/>
                <a:gd name="connsiteX1213" fmla="*/ 5041 w 10785"/>
                <a:gd name="connsiteY1213" fmla="*/ 2462 h 10000"/>
                <a:gd name="connsiteX1214" fmla="*/ 5037 w 10785"/>
                <a:gd name="connsiteY1214" fmla="*/ 2470 h 10000"/>
                <a:gd name="connsiteX1215" fmla="*/ 5032 w 10785"/>
                <a:gd name="connsiteY1215" fmla="*/ 2470 h 10000"/>
                <a:gd name="connsiteX1216" fmla="*/ 5032 w 10785"/>
                <a:gd name="connsiteY1216" fmla="*/ 2444 h 10000"/>
                <a:gd name="connsiteX1217" fmla="*/ 5055 w 10785"/>
                <a:gd name="connsiteY1217" fmla="*/ 2410 h 10000"/>
                <a:gd name="connsiteX1218" fmla="*/ 5065 w 10785"/>
                <a:gd name="connsiteY1218" fmla="*/ 2393 h 10000"/>
                <a:gd name="connsiteX1219" fmla="*/ 5069 w 10785"/>
                <a:gd name="connsiteY1219" fmla="*/ 2385 h 10000"/>
                <a:gd name="connsiteX1220" fmla="*/ 5083 w 10785"/>
                <a:gd name="connsiteY1220" fmla="*/ 2376 h 10000"/>
                <a:gd name="connsiteX1221" fmla="*/ 5097 w 10785"/>
                <a:gd name="connsiteY1221" fmla="*/ 2376 h 10000"/>
                <a:gd name="connsiteX1222" fmla="*/ 5124 w 10785"/>
                <a:gd name="connsiteY1222" fmla="*/ 2325 h 10000"/>
                <a:gd name="connsiteX1223" fmla="*/ 5143 w 10785"/>
                <a:gd name="connsiteY1223" fmla="*/ 2248 h 10000"/>
                <a:gd name="connsiteX1224" fmla="*/ 5152 w 10785"/>
                <a:gd name="connsiteY1224" fmla="*/ 2239 h 10000"/>
                <a:gd name="connsiteX1225" fmla="*/ 5166 w 10785"/>
                <a:gd name="connsiteY1225" fmla="*/ 2162 h 10000"/>
                <a:gd name="connsiteX1226" fmla="*/ 5171 w 10785"/>
                <a:gd name="connsiteY1226" fmla="*/ 2171 h 10000"/>
                <a:gd name="connsiteX1227" fmla="*/ 5198 w 10785"/>
                <a:gd name="connsiteY1227" fmla="*/ 2145 h 10000"/>
                <a:gd name="connsiteX1228" fmla="*/ 5203 w 10785"/>
                <a:gd name="connsiteY1228" fmla="*/ 2111 h 10000"/>
                <a:gd name="connsiteX1229" fmla="*/ 5217 w 10785"/>
                <a:gd name="connsiteY1229" fmla="*/ 2060 h 10000"/>
                <a:gd name="connsiteX1230" fmla="*/ 5226 w 10785"/>
                <a:gd name="connsiteY1230" fmla="*/ 2026 h 10000"/>
                <a:gd name="connsiteX1231" fmla="*/ 5286 w 10785"/>
                <a:gd name="connsiteY1231" fmla="*/ 2026 h 10000"/>
                <a:gd name="connsiteX1232" fmla="*/ 5290 w 10785"/>
                <a:gd name="connsiteY1232" fmla="*/ 2034 h 10000"/>
                <a:gd name="connsiteX1233" fmla="*/ 5323 w 10785"/>
                <a:gd name="connsiteY1233" fmla="*/ 1923 h 10000"/>
                <a:gd name="connsiteX1234" fmla="*/ 5323 w 10785"/>
                <a:gd name="connsiteY1234" fmla="*/ 1889 h 10000"/>
                <a:gd name="connsiteX1235" fmla="*/ 5359 w 10785"/>
                <a:gd name="connsiteY1235" fmla="*/ 1829 h 10000"/>
                <a:gd name="connsiteX1236" fmla="*/ 5378 w 10785"/>
                <a:gd name="connsiteY1236" fmla="*/ 1812 h 10000"/>
                <a:gd name="connsiteX1237" fmla="*/ 5406 w 10785"/>
                <a:gd name="connsiteY1237" fmla="*/ 1752 h 10000"/>
                <a:gd name="connsiteX1238" fmla="*/ 5410 w 10785"/>
                <a:gd name="connsiteY1238" fmla="*/ 1718 h 10000"/>
                <a:gd name="connsiteX1239" fmla="*/ 5438 w 10785"/>
                <a:gd name="connsiteY1239" fmla="*/ 1667 h 10000"/>
                <a:gd name="connsiteX1240" fmla="*/ 5438 w 10785"/>
                <a:gd name="connsiteY1240" fmla="*/ 1650 h 10000"/>
                <a:gd name="connsiteX1241" fmla="*/ 5438 w 10785"/>
                <a:gd name="connsiteY1241" fmla="*/ 1641 h 10000"/>
                <a:gd name="connsiteX1242" fmla="*/ 5452 w 10785"/>
                <a:gd name="connsiteY1242" fmla="*/ 1641 h 10000"/>
                <a:gd name="connsiteX1243" fmla="*/ 5456 w 10785"/>
                <a:gd name="connsiteY1243" fmla="*/ 1615 h 10000"/>
                <a:gd name="connsiteX1244" fmla="*/ 5456 w 10785"/>
                <a:gd name="connsiteY1244" fmla="*/ 1615 h 10000"/>
                <a:gd name="connsiteX1245" fmla="*/ 5465 w 10785"/>
                <a:gd name="connsiteY1245" fmla="*/ 1598 h 10000"/>
                <a:gd name="connsiteX1246" fmla="*/ 5465 w 10785"/>
                <a:gd name="connsiteY1246" fmla="*/ 1615 h 10000"/>
                <a:gd name="connsiteX1247" fmla="*/ 5479 w 10785"/>
                <a:gd name="connsiteY1247" fmla="*/ 1598 h 10000"/>
                <a:gd name="connsiteX1248" fmla="*/ 5484 w 10785"/>
                <a:gd name="connsiteY1248" fmla="*/ 1581 h 10000"/>
                <a:gd name="connsiteX1249" fmla="*/ 5493 w 10785"/>
                <a:gd name="connsiteY1249" fmla="*/ 1581 h 10000"/>
                <a:gd name="connsiteX1250" fmla="*/ 5512 w 10785"/>
                <a:gd name="connsiteY1250" fmla="*/ 1538 h 10000"/>
                <a:gd name="connsiteX1251" fmla="*/ 5530 w 10785"/>
                <a:gd name="connsiteY1251" fmla="*/ 1564 h 10000"/>
                <a:gd name="connsiteX1252" fmla="*/ 5530 w 10785"/>
                <a:gd name="connsiteY1252" fmla="*/ 1538 h 10000"/>
                <a:gd name="connsiteX1253" fmla="*/ 5539 w 10785"/>
                <a:gd name="connsiteY1253" fmla="*/ 1530 h 10000"/>
                <a:gd name="connsiteX1254" fmla="*/ 5530 w 10785"/>
                <a:gd name="connsiteY1254" fmla="*/ 1504 h 10000"/>
                <a:gd name="connsiteX1255" fmla="*/ 5567 w 10785"/>
                <a:gd name="connsiteY1255" fmla="*/ 1479 h 10000"/>
                <a:gd name="connsiteX1256" fmla="*/ 5553 w 10785"/>
                <a:gd name="connsiteY1256" fmla="*/ 1479 h 10000"/>
                <a:gd name="connsiteX1257" fmla="*/ 5553 w 10785"/>
                <a:gd name="connsiteY1257" fmla="*/ 1453 h 10000"/>
                <a:gd name="connsiteX1258" fmla="*/ 5581 w 10785"/>
                <a:gd name="connsiteY1258" fmla="*/ 1444 h 10000"/>
                <a:gd name="connsiteX1259" fmla="*/ 5581 w 10785"/>
                <a:gd name="connsiteY1259" fmla="*/ 1453 h 10000"/>
                <a:gd name="connsiteX1260" fmla="*/ 5585 w 10785"/>
                <a:gd name="connsiteY1260" fmla="*/ 1444 h 10000"/>
                <a:gd name="connsiteX1261" fmla="*/ 5594 w 10785"/>
                <a:gd name="connsiteY1261" fmla="*/ 1427 h 10000"/>
                <a:gd name="connsiteX1262" fmla="*/ 5599 w 10785"/>
                <a:gd name="connsiteY1262" fmla="*/ 1419 h 10000"/>
                <a:gd name="connsiteX1263" fmla="*/ 5594 w 10785"/>
                <a:gd name="connsiteY1263" fmla="*/ 1402 h 10000"/>
                <a:gd name="connsiteX1264" fmla="*/ 5604 w 10785"/>
                <a:gd name="connsiteY1264" fmla="*/ 1393 h 10000"/>
                <a:gd name="connsiteX1265" fmla="*/ 5618 w 10785"/>
                <a:gd name="connsiteY1265" fmla="*/ 1393 h 10000"/>
                <a:gd name="connsiteX1266" fmla="*/ 5627 w 10785"/>
                <a:gd name="connsiteY1266" fmla="*/ 1368 h 10000"/>
                <a:gd name="connsiteX1267" fmla="*/ 5627 w 10785"/>
                <a:gd name="connsiteY1267" fmla="*/ 1325 h 10000"/>
                <a:gd name="connsiteX1268" fmla="*/ 5645 w 10785"/>
                <a:gd name="connsiteY1268" fmla="*/ 1291 h 10000"/>
                <a:gd name="connsiteX1269" fmla="*/ 5645 w 10785"/>
                <a:gd name="connsiteY1269" fmla="*/ 1282 h 10000"/>
                <a:gd name="connsiteX1270" fmla="*/ 5654 w 10785"/>
                <a:gd name="connsiteY1270" fmla="*/ 1265 h 10000"/>
                <a:gd name="connsiteX1271" fmla="*/ 5654 w 10785"/>
                <a:gd name="connsiteY1271" fmla="*/ 1214 h 10000"/>
                <a:gd name="connsiteX1272" fmla="*/ 5654 w 10785"/>
                <a:gd name="connsiteY1272" fmla="*/ 1214 h 10000"/>
                <a:gd name="connsiteX1273" fmla="*/ 5645 w 10785"/>
                <a:gd name="connsiteY1273" fmla="*/ 1197 h 10000"/>
                <a:gd name="connsiteX1274" fmla="*/ 5659 w 10785"/>
                <a:gd name="connsiteY1274" fmla="*/ 1197 h 10000"/>
                <a:gd name="connsiteX1275" fmla="*/ 5654 w 10785"/>
                <a:gd name="connsiteY1275" fmla="*/ 1154 h 10000"/>
                <a:gd name="connsiteX1276" fmla="*/ 5641 w 10785"/>
                <a:gd name="connsiteY1276" fmla="*/ 1154 h 10000"/>
                <a:gd name="connsiteX1277" fmla="*/ 5627 w 10785"/>
                <a:gd name="connsiteY1277" fmla="*/ 1128 h 10000"/>
                <a:gd name="connsiteX1278" fmla="*/ 5618 w 10785"/>
                <a:gd name="connsiteY1278" fmla="*/ 1094 h 10000"/>
                <a:gd name="connsiteX1279" fmla="*/ 5613 w 10785"/>
                <a:gd name="connsiteY1279" fmla="*/ 1094 h 10000"/>
                <a:gd name="connsiteX1280" fmla="*/ 5604 w 10785"/>
                <a:gd name="connsiteY1280" fmla="*/ 1120 h 10000"/>
                <a:gd name="connsiteX1281" fmla="*/ 5604 w 10785"/>
                <a:gd name="connsiteY1281" fmla="*/ 1128 h 10000"/>
                <a:gd name="connsiteX1282" fmla="*/ 5599 w 10785"/>
                <a:gd name="connsiteY1282" fmla="*/ 1103 h 10000"/>
                <a:gd name="connsiteX1283" fmla="*/ 5599 w 10785"/>
                <a:gd name="connsiteY1283" fmla="*/ 1103 h 10000"/>
                <a:gd name="connsiteX1284" fmla="*/ 5594 w 10785"/>
                <a:gd name="connsiteY1284" fmla="*/ 1068 h 10000"/>
                <a:gd name="connsiteX1285" fmla="*/ 5594 w 10785"/>
                <a:gd name="connsiteY1285" fmla="*/ 1060 h 10000"/>
                <a:gd name="connsiteX1286" fmla="*/ 5581 w 10785"/>
                <a:gd name="connsiteY1286" fmla="*/ 1034 h 10000"/>
                <a:gd name="connsiteX1287" fmla="*/ 5571 w 10785"/>
                <a:gd name="connsiteY1287" fmla="*/ 1009 h 10000"/>
                <a:gd name="connsiteX1288" fmla="*/ 5571 w 10785"/>
                <a:gd name="connsiteY1288" fmla="*/ 991 h 10000"/>
                <a:gd name="connsiteX1289" fmla="*/ 5585 w 10785"/>
                <a:gd name="connsiteY1289" fmla="*/ 1009 h 10000"/>
                <a:gd name="connsiteX1290" fmla="*/ 5604 w 10785"/>
                <a:gd name="connsiteY1290" fmla="*/ 1043 h 10000"/>
                <a:gd name="connsiteX1291" fmla="*/ 5641 w 10785"/>
                <a:gd name="connsiteY1291" fmla="*/ 1094 h 10000"/>
                <a:gd name="connsiteX1292" fmla="*/ 5631 w 10785"/>
                <a:gd name="connsiteY1292" fmla="*/ 1128 h 10000"/>
                <a:gd name="connsiteX1293" fmla="*/ 5641 w 10785"/>
                <a:gd name="connsiteY1293" fmla="*/ 1128 h 10000"/>
                <a:gd name="connsiteX1294" fmla="*/ 5659 w 10785"/>
                <a:gd name="connsiteY1294" fmla="*/ 1017 h 10000"/>
                <a:gd name="connsiteX1295" fmla="*/ 5659 w 10785"/>
                <a:gd name="connsiteY1295" fmla="*/ 983 h 10000"/>
                <a:gd name="connsiteX1296" fmla="*/ 5659 w 10785"/>
                <a:gd name="connsiteY1296" fmla="*/ 957 h 10000"/>
                <a:gd name="connsiteX1297" fmla="*/ 5654 w 10785"/>
                <a:gd name="connsiteY1297" fmla="*/ 966 h 10000"/>
                <a:gd name="connsiteX1298" fmla="*/ 5641 w 10785"/>
                <a:gd name="connsiteY1298" fmla="*/ 957 h 10000"/>
                <a:gd name="connsiteX1299" fmla="*/ 5631 w 10785"/>
                <a:gd name="connsiteY1299" fmla="*/ 897 h 10000"/>
                <a:gd name="connsiteX1300" fmla="*/ 5641 w 10785"/>
                <a:gd name="connsiteY1300" fmla="*/ 872 h 10000"/>
                <a:gd name="connsiteX1301" fmla="*/ 5618 w 10785"/>
                <a:gd name="connsiteY1301" fmla="*/ 803 h 10000"/>
                <a:gd name="connsiteX1302" fmla="*/ 5604 w 10785"/>
                <a:gd name="connsiteY1302" fmla="*/ 821 h 10000"/>
                <a:gd name="connsiteX1303" fmla="*/ 5613 w 10785"/>
                <a:gd name="connsiteY1303" fmla="*/ 846 h 10000"/>
                <a:gd name="connsiteX1304" fmla="*/ 5604 w 10785"/>
                <a:gd name="connsiteY1304" fmla="*/ 855 h 10000"/>
                <a:gd name="connsiteX1305" fmla="*/ 5599 w 10785"/>
                <a:gd name="connsiteY1305" fmla="*/ 880 h 10000"/>
                <a:gd name="connsiteX1306" fmla="*/ 5594 w 10785"/>
                <a:gd name="connsiteY1306" fmla="*/ 880 h 10000"/>
                <a:gd name="connsiteX1307" fmla="*/ 5585 w 10785"/>
                <a:gd name="connsiteY1307" fmla="*/ 829 h 10000"/>
                <a:gd name="connsiteX1308" fmla="*/ 5571 w 10785"/>
                <a:gd name="connsiteY1308" fmla="*/ 803 h 10000"/>
                <a:gd name="connsiteX1309" fmla="*/ 5585 w 10785"/>
                <a:gd name="connsiteY1309" fmla="*/ 795 h 10000"/>
                <a:gd name="connsiteX1310" fmla="*/ 5585 w 10785"/>
                <a:gd name="connsiteY1310" fmla="*/ 761 h 10000"/>
                <a:gd name="connsiteX1311" fmla="*/ 5558 w 10785"/>
                <a:gd name="connsiteY1311" fmla="*/ 709 h 10000"/>
                <a:gd name="connsiteX1312" fmla="*/ 5544 w 10785"/>
                <a:gd name="connsiteY1312" fmla="*/ 709 h 10000"/>
                <a:gd name="connsiteX1313" fmla="*/ 5544 w 10785"/>
                <a:gd name="connsiteY1313" fmla="*/ 684 h 10000"/>
                <a:gd name="connsiteX1314" fmla="*/ 5525 w 10785"/>
                <a:gd name="connsiteY1314" fmla="*/ 632 h 10000"/>
                <a:gd name="connsiteX1315" fmla="*/ 5507 w 10785"/>
                <a:gd name="connsiteY1315" fmla="*/ 607 h 10000"/>
                <a:gd name="connsiteX1316" fmla="*/ 5512 w 10785"/>
                <a:gd name="connsiteY1316" fmla="*/ 598 h 10000"/>
                <a:gd name="connsiteX1317" fmla="*/ 5507 w 10785"/>
                <a:gd name="connsiteY1317" fmla="*/ 581 h 10000"/>
                <a:gd name="connsiteX1318" fmla="*/ 5493 w 10785"/>
                <a:gd name="connsiteY1318" fmla="*/ 573 h 10000"/>
                <a:gd name="connsiteX1319" fmla="*/ 5484 w 10785"/>
                <a:gd name="connsiteY1319" fmla="*/ 581 h 10000"/>
                <a:gd name="connsiteX1320" fmla="*/ 5484 w 10785"/>
                <a:gd name="connsiteY1320" fmla="*/ 573 h 10000"/>
                <a:gd name="connsiteX1321" fmla="*/ 5484 w 10785"/>
                <a:gd name="connsiteY1321" fmla="*/ 547 h 10000"/>
                <a:gd name="connsiteX1322" fmla="*/ 5465 w 10785"/>
                <a:gd name="connsiteY1322" fmla="*/ 556 h 10000"/>
                <a:gd name="connsiteX1323" fmla="*/ 5433 w 10785"/>
                <a:gd name="connsiteY1323" fmla="*/ 547 h 10000"/>
                <a:gd name="connsiteX1324" fmla="*/ 5410 w 10785"/>
                <a:gd name="connsiteY1324" fmla="*/ 573 h 10000"/>
                <a:gd name="connsiteX1325" fmla="*/ 5406 w 10785"/>
                <a:gd name="connsiteY1325" fmla="*/ 573 h 10000"/>
                <a:gd name="connsiteX1326" fmla="*/ 5392 w 10785"/>
                <a:gd name="connsiteY1326" fmla="*/ 573 h 10000"/>
                <a:gd name="connsiteX1327" fmla="*/ 5364 w 10785"/>
                <a:gd name="connsiteY1327" fmla="*/ 530 h 10000"/>
                <a:gd name="connsiteX1328" fmla="*/ 5350 w 10785"/>
                <a:gd name="connsiteY1328" fmla="*/ 556 h 10000"/>
                <a:gd name="connsiteX1329" fmla="*/ 5346 w 10785"/>
                <a:gd name="connsiteY1329" fmla="*/ 556 h 10000"/>
                <a:gd name="connsiteX1330" fmla="*/ 5313 w 10785"/>
                <a:gd name="connsiteY1330" fmla="*/ 573 h 10000"/>
                <a:gd name="connsiteX1331" fmla="*/ 5304 w 10785"/>
                <a:gd name="connsiteY1331" fmla="*/ 556 h 10000"/>
                <a:gd name="connsiteX1332" fmla="*/ 5290 w 10785"/>
                <a:gd name="connsiteY1332" fmla="*/ 573 h 10000"/>
                <a:gd name="connsiteX1333" fmla="*/ 5290 w 10785"/>
                <a:gd name="connsiteY1333" fmla="*/ 556 h 10000"/>
                <a:gd name="connsiteX1334" fmla="*/ 5300 w 10785"/>
                <a:gd name="connsiteY1334" fmla="*/ 547 h 10000"/>
                <a:gd name="connsiteX1335" fmla="*/ 5300 w 10785"/>
                <a:gd name="connsiteY1335" fmla="*/ 530 h 10000"/>
                <a:gd name="connsiteX1336" fmla="*/ 5290 w 10785"/>
                <a:gd name="connsiteY1336" fmla="*/ 530 h 10000"/>
                <a:gd name="connsiteX1337" fmla="*/ 5286 w 10785"/>
                <a:gd name="connsiteY1337" fmla="*/ 547 h 10000"/>
                <a:gd name="connsiteX1338" fmla="*/ 5272 w 10785"/>
                <a:gd name="connsiteY1338" fmla="*/ 556 h 10000"/>
                <a:gd name="connsiteX1339" fmla="*/ 5272 w 10785"/>
                <a:gd name="connsiteY1339" fmla="*/ 598 h 10000"/>
                <a:gd name="connsiteX1340" fmla="*/ 5276 w 10785"/>
                <a:gd name="connsiteY1340" fmla="*/ 581 h 10000"/>
                <a:gd name="connsiteX1341" fmla="*/ 5272 w 10785"/>
                <a:gd name="connsiteY1341" fmla="*/ 607 h 10000"/>
                <a:gd name="connsiteX1342" fmla="*/ 5263 w 10785"/>
                <a:gd name="connsiteY1342" fmla="*/ 607 h 10000"/>
                <a:gd name="connsiteX1343" fmla="*/ 5263 w 10785"/>
                <a:gd name="connsiteY1343" fmla="*/ 632 h 10000"/>
                <a:gd name="connsiteX1344" fmla="*/ 5258 w 10785"/>
                <a:gd name="connsiteY1344" fmla="*/ 658 h 10000"/>
                <a:gd name="connsiteX1345" fmla="*/ 5244 w 10785"/>
                <a:gd name="connsiteY1345" fmla="*/ 667 h 10000"/>
                <a:gd name="connsiteX1346" fmla="*/ 5240 w 10785"/>
                <a:gd name="connsiteY1346" fmla="*/ 658 h 10000"/>
                <a:gd name="connsiteX1347" fmla="*/ 5240 w 10785"/>
                <a:gd name="connsiteY1347" fmla="*/ 684 h 10000"/>
                <a:gd name="connsiteX1348" fmla="*/ 5212 w 10785"/>
                <a:gd name="connsiteY1348" fmla="*/ 684 h 10000"/>
                <a:gd name="connsiteX1349" fmla="*/ 5198 w 10785"/>
                <a:gd name="connsiteY1349" fmla="*/ 692 h 10000"/>
                <a:gd name="connsiteX1350" fmla="*/ 5184 w 10785"/>
                <a:gd name="connsiteY1350" fmla="*/ 684 h 10000"/>
                <a:gd name="connsiteX1351" fmla="*/ 5157 w 10785"/>
                <a:gd name="connsiteY1351" fmla="*/ 684 h 10000"/>
                <a:gd name="connsiteX1352" fmla="*/ 5157 w 10785"/>
                <a:gd name="connsiteY1352" fmla="*/ 667 h 10000"/>
                <a:gd name="connsiteX1353" fmla="*/ 5157 w 10785"/>
                <a:gd name="connsiteY1353" fmla="*/ 667 h 10000"/>
                <a:gd name="connsiteX1354" fmla="*/ 5180 w 10785"/>
                <a:gd name="connsiteY1354" fmla="*/ 650 h 10000"/>
                <a:gd name="connsiteX1355" fmla="*/ 5184 w 10785"/>
                <a:gd name="connsiteY1355" fmla="*/ 658 h 10000"/>
                <a:gd name="connsiteX1356" fmla="*/ 5203 w 10785"/>
                <a:gd name="connsiteY1356" fmla="*/ 547 h 10000"/>
                <a:gd name="connsiteX1357" fmla="*/ 5226 w 10785"/>
                <a:gd name="connsiteY1357" fmla="*/ 530 h 10000"/>
                <a:gd name="connsiteX1358" fmla="*/ 5230 w 10785"/>
                <a:gd name="connsiteY1358" fmla="*/ 487 h 10000"/>
                <a:gd name="connsiteX1359" fmla="*/ 5230 w 10785"/>
                <a:gd name="connsiteY1359" fmla="*/ 487 h 10000"/>
                <a:gd name="connsiteX1360" fmla="*/ 5226 w 10785"/>
                <a:gd name="connsiteY1360" fmla="*/ 462 h 10000"/>
                <a:gd name="connsiteX1361" fmla="*/ 5226 w 10785"/>
                <a:gd name="connsiteY1361" fmla="*/ 462 h 10000"/>
                <a:gd name="connsiteX1362" fmla="*/ 5240 w 10785"/>
                <a:gd name="connsiteY1362" fmla="*/ 462 h 10000"/>
                <a:gd name="connsiteX1363" fmla="*/ 5240 w 10785"/>
                <a:gd name="connsiteY1363" fmla="*/ 444 h 10000"/>
                <a:gd name="connsiteX1364" fmla="*/ 5230 w 10785"/>
                <a:gd name="connsiteY1364" fmla="*/ 436 h 10000"/>
                <a:gd name="connsiteX1365" fmla="*/ 5230 w 10785"/>
                <a:gd name="connsiteY1365" fmla="*/ 419 h 10000"/>
                <a:gd name="connsiteX1366" fmla="*/ 5230 w 10785"/>
                <a:gd name="connsiteY1366" fmla="*/ 410 h 10000"/>
                <a:gd name="connsiteX1367" fmla="*/ 5198 w 10785"/>
                <a:gd name="connsiteY1367" fmla="*/ 402 h 10000"/>
                <a:gd name="connsiteX1368" fmla="*/ 5189 w 10785"/>
                <a:gd name="connsiteY1368" fmla="*/ 402 h 10000"/>
                <a:gd name="connsiteX1369" fmla="*/ 5184 w 10785"/>
                <a:gd name="connsiteY1369" fmla="*/ 376 h 10000"/>
                <a:gd name="connsiteX1370" fmla="*/ 5180 w 10785"/>
                <a:gd name="connsiteY1370" fmla="*/ 376 h 10000"/>
                <a:gd name="connsiteX1371" fmla="*/ 5166 w 10785"/>
                <a:gd name="connsiteY1371" fmla="*/ 376 h 10000"/>
                <a:gd name="connsiteX1372" fmla="*/ 5157 w 10785"/>
                <a:gd name="connsiteY1372" fmla="*/ 385 h 10000"/>
                <a:gd name="connsiteX1373" fmla="*/ 5152 w 10785"/>
                <a:gd name="connsiteY1373" fmla="*/ 376 h 10000"/>
                <a:gd name="connsiteX1374" fmla="*/ 5129 w 10785"/>
                <a:gd name="connsiteY1374" fmla="*/ 385 h 10000"/>
                <a:gd name="connsiteX1375" fmla="*/ 5129 w 10785"/>
                <a:gd name="connsiteY1375" fmla="*/ 350 h 10000"/>
                <a:gd name="connsiteX1376" fmla="*/ 5129 w 10785"/>
                <a:gd name="connsiteY1376" fmla="*/ 325 h 10000"/>
                <a:gd name="connsiteX1377" fmla="*/ 5124 w 10785"/>
                <a:gd name="connsiteY1377" fmla="*/ 359 h 10000"/>
                <a:gd name="connsiteX1378" fmla="*/ 5106 w 10785"/>
                <a:gd name="connsiteY1378" fmla="*/ 359 h 10000"/>
                <a:gd name="connsiteX1379" fmla="*/ 5037 w 10785"/>
                <a:gd name="connsiteY1379" fmla="*/ 419 h 10000"/>
                <a:gd name="connsiteX1380" fmla="*/ 5051 w 10785"/>
                <a:gd name="connsiteY1380" fmla="*/ 385 h 10000"/>
                <a:gd name="connsiteX1381" fmla="*/ 5055 w 10785"/>
                <a:gd name="connsiteY1381" fmla="*/ 376 h 10000"/>
                <a:gd name="connsiteX1382" fmla="*/ 5092 w 10785"/>
                <a:gd name="connsiteY1382" fmla="*/ 282 h 10000"/>
                <a:gd name="connsiteX1383" fmla="*/ 5106 w 10785"/>
                <a:gd name="connsiteY1383" fmla="*/ 265 h 10000"/>
                <a:gd name="connsiteX1384" fmla="*/ 5115 w 10785"/>
                <a:gd name="connsiteY1384" fmla="*/ 265 h 10000"/>
                <a:gd name="connsiteX1385" fmla="*/ 5124 w 10785"/>
                <a:gd name="connsiteY1385" fmla="*/ 222 h 10000"/>
                <a:gd name="connsiteX1386" fmla="*/ 5124 w 10785"/>
                <a:gd name="connsiteY1386" fmla="*/ 214 h 10000"/>
                <a:gd name="connsiteX1387" fmla="*/ 5143 w 10785"/>
                <a:gd name="connsiteY1387" fmla="*/ 197 h 10000"/>
                <a:gd name="connsiteX1388" fmla="*/ 5152 w 10785"/>
                <a:gd name="connsiteY1388" fmla="*/ 214 h 10000"/>
                <a:gd name="connsiteX1389" fmla="*/ 5143 w 10785"/>
                <a:gd name="connsiteY1389" fmla="*/ 188 h 10000"/>
                <a:gd name="connsiteX1390" fmla="*/ 5129 w 10785"/>
                <a:gd name="connsiteY1390" fmla="*/ 103 h 10000"/>
                <a:gd name="connsiteX1391" fmla="*/ 5115 w 10785"/>
                <a:gd name="connsiteY1391" fmla="*/ 85 h 10000"/>
                <a:gd name="connsiteX1392" fmla="*/ 5111 w 10785"/>
                <a:gd name="connsiteY1392" fmla="*/ 111 h 10000"/>
                <a:gd name="connsiteX1393" fmla="*/ 5092 w 10785"/>
                <a:gd name="connsiteY1393" fmla="*/ 103 h 10000"/>
                <a:gd name="connsiteX1394" fmla="*/ 5069 w 10785"/>
                <a:gd name="connsiteY1394" fmla="*/ 77 h 10000"/>
                <a:gd name="connsiteX1395" fmla="*/ 5051 w 10785"/>
                <a:gd name="connsiteY1395" fmla="*/ 26 h 10000"/>
                <a:gd name="connsiteX1396" fmla="*/ 5041 w 10785"/>
                <a:gd name="connsiteY1396" fmla="*/ 34 h 10000"/>
                <a:gd name="connsiteX1397" fmla="*/ 5037 w 10785"/>
                <a:gd name="connsiteY1397" fmla="*/ 34 h 10000"/>
                <a:gd name="connsiteX1398" fmla="*/ 5037 w 10785"/>
                <a:gd name="connsiteY1398" fmla="*/ 26 h 10000"/>
                <a:gd name="connsiteX1399" fmla="*/ 5037 w 10785"/>
                <a:gd name="connsiteY1399" fmla="*/ 9 h 10000"/>
                <a:gd name="connsiteX1400" fmla="*/ 5023 w 10785"/>
                <a:gd name="connsiteY1400" fmla="*/ 0 h 10000"/>
                <a:gd name="connsiteX1401" fmla="*/ 5009 w 10785"/>
                <a:gd name="connsiteY1401" fmla="*/ 9 h 10000"/>
                <a:gd name="connsiteX1402" fmla="*/ 4995 w 10785"/>
                <a:gd name="connsiteY1402" fmla="*/ 34 h 10000"/>
                <a:gd name="connsiteX1403" fmla="*/ 4991 w 10785"/>
                <a:gd name="connsiteY1403" fmla="*/ 60 h 10000"/>
                <a:gd name="connsiteX1404" fmla="*/ 4982 w 10785"/>
                <a:gd name="connsiteY1404" fmla="*/ 60 h 10000"/>
                <a:gd name="connsiteX1405" fmla="*/ 4949 w 10785"/>
                <a:gd name="connsiteY1405" fmla="*/ 51 h 10000"/>
                <a:gd name="connsiteX1406" fmla="*/ 4949 w 10785"/>
                <a:gd name="connsiteY1406" fmla="*/ 85 h 10000"/>
                <a:gd name="connsiteX1407" fmla="*/ 4903 w 10785"/>
                <a:gd name="connsiteY1407" fmla="*/ 197 h 10000"/>
                <a:gd name="connsiteX1408" fmla="*/ 4899 w 10785"/>
                <a:gd name="connsiteY1408" fmla="*/ 239 h 10000"/>
                <a:gd name="connsiteX1409" fmla="*/ 4871 w 10785"/>
                <a:gd name="connsiteY1409" fmla="*/ 274 h 10000"/>
                <a:gd name="connsiteX1410" fmla="*/ 4871 w 10785"/>
                <a:gd name="connsiteY1410" fmla="*/ 282 h 10000"/>
                <a:gd name="connsiteX1411" fmla="*/ 4834 w 10785"/>
                <a:gd name="connsiteY1411" fmla="*/ 376 h 10000"/>
                <a:gd name="connsiteX1412" fmla="*/ 4829 w 10785"/>
                <a:gd name="connsiteY1412" fmla="*/ 402 h 10000"/>
                <a:gd name="connsiteX1413" fmla="*/ 4834 w 10785"/>
                <a:gd name="connsiteY1413" fmla="*/ 410 h 10000"/>
                <a:gd name="connsiteX1414" fmla="*/ 4829 w 10785"/>
                <a:gd name="connsiteY1414" fmla="*/ 436 h 10000"/>
                <a:gd name="connsiteX1415" fmla="*/ 4825 w 10785"/>
                <a:gd name="connsiteY1415" fmla="*/ 436 h 10000"/>
                <a:gd name="connsiteX1416" fmla="*/ 4825 w 10785"/>
                <a:gd name="connsiteY1416" fmla="*/ 444 h 10000"/>
                <a:gd name="connsiteX1417" fmla="*/ 4811 w 10785"/>
                <a:gd name="connsiteY1417" fmla="*/ 496 h 10000"/>
                <a:gd name="connsiteX1418" fmla="*/ 4811 w 10785"/>
                <a:gd name="connsiteY1418" fmla="*/ 496 h 10000"/>
                <a:gd name="connsiteX1419" fmla="*/ 4811 w 10785"/>
                <a:gd name="connsiteY1419" fmla="*/ 521 h 10000"/>
                <a:gd name="connsiteX1420" fmla="*/ 4816 w 10785"/>
                <a:gd name="connsiteY1420" fmla="*/ 530 h 10000"/>
                <a:gd name="connsiteX1421" fmla="*/ 4834 w 10785"/>
                <a:gd name="connsiteY1421" fmla="*/ 547 h 10000"/>
                <a:gd name="connsiteX1422" fmla="*/ 4834 w 10785"/>
                <a:gd name="connsiteY1422" fmla="*/ 581 h 10000"/>
                <a:gd name="connsiteX1423" fmla="*/ 4843 w 10785"/>
                <a:gd name="connsiteY1423" fmla="*/ 581 h 10000"/>
                <a:gd name="connsiteX1424" fmla="*/ 4843 w 10785"/>
                <a:gd name="connsiteY1424" fmla="*/ 598 h 10000"/>
                <a:gd name="connsiteX1425" fmla="*/ 4829 w 10785"/>
                <a:gd name="connsiteY1425" fmla="*/ 598 h 10000"/>
                <a:gd name="connsiteX1426" fmla="*/ 4829 w 10785"/>
                <a:gd name="connsiteY1426" fmla="*/ 573 h 10000"/>
                <a:gd name="connsiteX1427" fmla="*/ 4829 w 10785"/>
                <a:gd name="connsiteY1427" fmla="*/ 632 h 10000"/>
                <a:gd name="connsiteX1428" fmla="*/ 4829 w 10785"/>
                <a:gd name="connsiteY1428" fmla="*/ 632 h 10000"/>
                <a:gd name="connsiteX1429" fmla="*/ 4829 w 10785"/>
                <a:gd name="connsiteY1429" fmla="*/ 650 h 10000"/>
                <a:gd name="connsiteX1430" fmla="*/ 4774 w 10785"/>
                <a:gd name="connsiteY1430" fmla="*/ 684 h 10000"/>
                <a:gd name="connsiteX1431" fmla="*/ 4756 w 10785"/>
                <a:gd name="connsiteY1431" fmla="*/ 684 h 10000"/>
                <a:gd name="connsiteX1432" fmla="*/ 4737 w 10785"/>
                <a:gd name="connsiteY1432" fmla="*/ 692 h 10000"/>
                <a:gd name="connsiteX1433" fmla="*/ 4677 w 10785"/>
                <a:gd name="connsiteY1433" fmla="*/ 667 h 10000"/>
                <a:gd name="connsiteX1434" fmla="*/ 4682 w 10785"/>
                <a:gd name="connsiteY1434" fmla="*/ 692 h 10000"/>
                <a:gd name="connsiteX1435" fmla="*/ 4682 w 10785"/>
                <a:gd name="connsiteY1435" fmla="*/ 709 h 10000"/>
                <a:gd name="connsiteX1436" fmla="*/ 4691 w 10785"/>
                <a:gd name="connsiteY1436" fmla="*/ 718 h 10000"/>
                <a:gd name="connsiteX1437" fmla="*/ 4691 w 10785"/>
                <a:gd name="connsiteY1437" fmla="*/ 744 h 10000"/>
                <a:gd name="connsiteX1438" fmla="*/ 4700 w 10785"/>
                <a:gd name="connsiteY1438" fmla="*/ 744 h 10000"/>
                <a:gd name="connsiteX1439" fmla="*/ 4714 w 10785"/>
                <a:gd name="connsiteY1439" fmla="*/ 769 h 10000"/>
                <a:gd name="connsiteX1440" fmla="*/ 4710 w 10785"/>
                <a:gd name="connsiteY1440" fmla="*/ 786 h 10000"/>
                <a:gd name="connsiteX1441" fmla="*/ 4737 w 10785"/>
                <a:gd name="connsiteY1441" fmla="*/ 786 h 10000"/>
                <a:gd name="connsiteX1442" fmla="*/ 4742 w 10785"/>
                <a:gd name="connsiteY1442" fmla="*/ 795 h 10000"/>
                <a:gd name="connsiteX1443" fmla="*/ 4742 w 10785"/>
                <a:gd name="connsiteY1443" fmla="*/ 803 h 10000"/>
                <a:gd name="connsiteX1444" fmla="*/ 4737 w 10785"/>
                <a:gd name="connsiteY1444" fmla="*/ 846 h 10000"/>
                <a:gd name="connsiteX1445" fmla="*/ 4737 w 10785"/>
                <a:gd name="connsiteY1445" fmla="*/ 880 h 10000"/>
                <a:gd name="connsiteX1446" fmla="*/ 4737 w 10785"/>
                <a:gd name="connsiteY1446" fmla="*/ 906 h 10000"/>
                <a:gd name="connsiteX1447" fmla="*/ 4724 w 10785"/>
                <a:gd name="connsiteY1447" fmla="*/ 897 h 10000"/>
                <a:gd name="connsiteX1448" fmla="*/ 4724 w 10785"/>
                <a:gd name="connsiteY1448" fmla="*/ 872 h 10000"/>
                <a:gd name="connsiteX1449" fmla="*/ 4714 w 10785"/>
                <a:gd name="connsiteY1449" fmla="*/ 855 h 10000"/>
                <a:gd name="connsiteX1450" fmla="*/ 4691 w 10785"/>
                <a:gd name="connsiteY1450" fmla="*/ 846 h 10000"/>
                <a:gd name="connsiteX1451" fmla="*/ 4691 w 10785"/>
                <a:gd name="connsiteY1451" fmla="*/ 846 h 10000"/>
                <a:gd name="connsiteX1452" fmla="*/ 4696 w 10785"/>
                <a:gd name="connsiteY1452" fmla="*/ 821 h 10000"/>
                <a:gd name="connsiteX1453" fmla="*/ 4691 w 10785"/>
                <a:gd name="connsiteY1453" fmla="*/ 803 h 10000"/>
                <a:gd name="connsiteX1454" fmla="*/ 4668 w 10785"/>
                <a:gd name="connsiteY1454" fmla="*/ 821 h 10000"/>
                <a:gd name="connsiteX1455" fmla="*/ 4668 w 10785"/>
                <a:gd name="connsiteY1455" fmla="*/ 786 h 10000"/>
                <a:gd name="connsiteX1456" fmla="*/ 4664 w 10785"/>
                <a:gd name="connsiteY1456" fmla="*/ 786 h 10000"/>
                <a:gd name="connsiteX1457" fmla="*/ 4622 w 10785"/>
                <a:gd name="connsiteY1457" fmla="*/ 846 h 10000"/>
                <a:gd name="connsiteX1458" fmla="*/ 4627 w 10785"/>
                <a:gd name="connsiteY1458" fmla="*/ 872 h 10000"/>
                <a:gd name="connsiteX1459" fmla="*/ 4622 w 10785"/>
                <a:gd name="connsiteY1459" fmla="*/ 880 h 10000"/>
                <a:gd name="connsiteX1460" fmla="*/ 4622 w 10785"/>
                <a:gd name="connsiteY1460" fmla="*/ 880 h 10000"/>
                <a:gd name="connsiteX1461" fmla="*/ 4618 w 10785"/>
                <a:gd name="connsiteY1461" fmla="*/ 872 h 10000"/>
                <a:gd name="connsiteX1462" fmla="*/ 4604 w 10785"/>
                <a:gd name="connsiteY1462" fmla="*/ 880 h 10000"/>
                <a:gd name="connsiteX1463" fmla="*/ 4594 w 10785"/>
                <a:gd name="connsiteY1463" fmla="*/ 906 h 10000"/>
                <a:gd name="connsiteX1464" fmla="*/ 4604 w 10785"/>
                <a:gd name="connsiteY1464" fmla="*/ 906 h 10000"/>
                <a:gd name="connsiteX1465" fmla="*/ 4608 w 10785"/>
                <a:gd name="connsiteY1465" fmla="*/ 906 h 10000"/>
                <a:gd name="connsiteX1466" fmla="*/ 4608 w 10785"/>
                <a:gd name="connsiteY1466" fmla="*/ 932 h 10000"/>
                <a:gd name="connsiteX1467" fmla="*/ 4604 w 10785"/>
                <a:gd name="connsiteY1467" fmla="*/ 932 h 10000"/>
                <a:gd name="connsiteX1468" fmla="*/ 4590 w 10785"/>
                <a:gd name="connsiteY1468" fmla="*/ 932 h 10000"/>
                <a:gd name="connsiteX1469" fmla="*/ 4567 w 10785"/>
                <a:gd name="connsiteY1469" fmla="*/ 957 h 10000"/>
                <a:gd name="connsiteX1470" fmla="*/ 4567 w 10785"/>
                <a:gd name="connsiteY1470" fmla="*/ 932 h 10000"/>
                <a:gd name="connsiteX1471" fmla="*/ 4567 w 10785"/>
                <a:gd name="connsiteY1471" fmla="*/ 923 h 10000"/>
                <a:gd name="connsiteX1472" fmla="*/ 4562 w 10785"/>
                <a:gd name="connsiteY1472" fmla="*/ 932 h 10000"/>
                <a:gd name="connsiteX1473" fmla="*/ 4548 w 10785"/>
                <a:gd name="connsiteY1473" fmla="*/ 957 h 10000"/>
                <a:gd name="connsiteX1474" fmla="*/ 4544 w 10785"/>
                <a:gd name="connsiteY1474" fmla="*/ 957 h 10000"/>
                <a:gd name="connsiteX1475" fmla="*/ 4521 w 10785"/>
                <a:gd name="connsiteY1475" fmla="*/ 983 h 10000"/>
                <a:gd name="connsiteX1476" fmla="*/ 4521 w 10785"/>
                <a:gd name="connsiteY1476" fmla="*/ 983 h 10000"/>
                <a:gd name="connsiteX1477" fmla="*/ 4530 w 10785"/>
                <a:gd name="connsiteY1477" fmla="*/ 957 h 10000"/>
                <a:gd name="connsiteX1478" fmla="*/ 4535 w 10785"/>
                <a:gd name="connsiteY1478" fmla="*/ 932 h 10000"/>
                <a:gd name="connsiteX1479" fmla="*/ 4521 w 10785"/>
                <a:gd name="connsiteY1479" fmla="*/ 932 h 10000"/>
                <a:gd name="connsiteX1480" fmla="*/ 4516 w 10785"/>
                <a:gd name="connsiteY1480" fmla="*/ 923 h 10000"/>
                <a:gd name="connsiteX1481" fmla="*/ 4516 w 10785"/>
                <a:gd name="connsiteY1481" fmla="*/ 932 h 10000"/>
                <a:gd name="connsiteX1482" fmla="*/ 4488 w 10785"/>
                <a:gd name="connsiteY1482" fmla="*/ 940 h 10000"/>
                <a:gd name="connsiteX1483" fmla="*/ 4484 w 10785"/>
                <a:gd name="connsiteY1483" fmla="*/ 983 h 10000"/>
                <a:gd name="connsiteX1484" fmla="*/ 4470 w 10785"/>
                <a:gd name="connsiteY1484" fmla="*/ 983 h 10000"/>
                <a:gd name="connsiteX1485" fmla="*/ 4470 w 10785"/>
                <a:gd name="connsiteY1485" fmla="*/ 966 h 10000"/>
                <a:gd name="connsiteX1486" fmla="*/ 4488 w 10785"/>
                <a:gd name="connsiteY1486" fmla="*/ 923 h 10000"/>
                <a:gd name="connsiteX1487" fmla="*/ 4493 w 10785"/>
                <a:gd name="connsiteY1487" fmla="*/ 880 h 10000"/>
                <a:gd name="connsiteX1488" fmla="*/ 4475 w 10785"/>
                <a:gd name="connsiteY1488" fmla="*/ 846 h 10000"/>
                <a:gd name="connsiteX1489" fmla="*/ 4442 w 10785"/>
                <a:gd name="connsiteY1489" fmla="*/ 855 h 10000"/>
                <a:gd name="connsiteX1490" fmla="*/ 4433 w 10785"/>
                <a:gd name="connsiteY1490" fmla="*/ 855 h 10000"/>
                <a:gd name="connsiteX1491" fmla="*/ 4433 w 10785"/>
                <a:gd name="connsiteY1491" fmla="*/ 880 h 10000"/>
                <a:gd name="connsiteX1492" fmla="*/ 4401 w 10785"/>
                <a:gd name="connsiteY1492" fmla="*/ 855 h 10000"/>
                <a:gd name="connsiteX1493" fmla="*/ 4396 w 10785"/>
                <a:gd name="connsiteY1493" fmla="*/ 872 h 10000"/>
                <a:gd name="connsiteX1494" fmla="*/ 4382 w 10785"/>
                <a:gd name="connsiteY1494" fmla="*/ 897 h 10000"/>
                <a:gd name="connsiteX1495" fmla="*/ 4373 w 10785"/>
                <a:gd name="connsiteY1495" fmla="*/ 872 h 10000"/>
                <a:gd name="connsiteX1496" fmla="*/ 4341 w 10785"/>
                <a:gd name="connsiteY1496" fmla="*/ 872 h 10000"/>
                <a:gd name="connsiteX1497" fmla="*/ 4336 w 10785"/>
                <a:gd name="connsiteY1497" fmla="*/ 880 h 10000"/>
                <a:gd name="connsiteX1498" fmla="*/ 4346 w 10785"/>
                <a:gd name="connsiteY1498" fmla="*/ 897 h 10000"/>
                <a:gd name="connsiteX1499" fmla="*/ 4346 w 10785"/>
                <a:gd name="connsiteY1499" fmla="*/ 897 h 10000"/>
                <a:gd name="connsiteX1500" fmla="*/ 4313 w 10785"/>
                <a:gd name="connsiteY1500" fmla="*/ 906 h 10000"/>
                <a:gd name="connsiteX1501" fmla="*/ 4313 w 10785"/>
                <a:gd name="connsiteY1501" fmla="*/ 906 h 10000"/>
                <a:gd name="connsiteX1502" fmla="*/ 4313 w 10785"/>
                <a:gd name="connsiteY1502" fmla="*/ 880 h 10000"/>
                <a:gd name="connsiteX1503" fmla="*/ 4309 w 10785"/>
                <a:gd name="connsiteY1503" fmla="*/ 897 h 10000"/>
                <a:gd name="connsiteX1504" fmla="*/ 4295 w 10785"/>
                <a:gd name="connsiteY1504" fmla="*/ 923 h 10000"/>
                <a:gd name="connsiteX1505" fmla="*/ 4286 w 10785"/>
                <a:gd name="connsiteY1505" fmla="*/ 897 h 10000"/>
                <a:gd name="connsiteX1506" fmla="*/ 4281 w 10785"/>
                <a:gd name="connsiteY1506" fmla="*/ 906 h 10000"/>
                <a:gd name="connsiteX1507" fmla="*/ 4281 w 10785"/>
                <a:gd name="connsiteY1507" fmla="*/ 940 h 10000"/>
                <a:gd name="connsiteX1508" fmla="*/ 4286 w 10785"/>
                <a:gd name="connsiteY1508" fmla="*/ 957 h 10000"/>
                <a:gd name="connsiteX1509" fmla="*/ 4309 w 10785"/>
                <a:gd name="connsiteY1509" fmla="*/ 932 h 10000"/>
                <a:gd name="connsiteX1510" fmla="*/ 4313 w 10785"/>
                <a:gd name="connsiteY1510" fmla="*/ 957 h 10000"/>
                <a:gd name="connsiteX1511" fmla="*/ 4313 w 10785"/>
                <a:gd name="connsiteY1511" fmla="*/ 966 h 10000"/>
                <a:gd name="connsiteX1512" fmla="*/ 4323 w 10785"/>
                <a:gd name="connsiteY1512" fmla="*/ 966 h 10000"/>
                <a:gd name="connsiteX1513" fmla="*/ 4323 w 10785"/>
                <a:gd name="connsiteY1513" fmla="*/ 940 h 10000"/>
                <a:gd name="connsiteX1514" fmla="*/ 4327 w 10785"/>
                <a:gd name="connsiteY1514" fmla="*/ 940 h 10000"/>
                <a:gd name="connsiteX1515" fmla="*/ 4327 w 10785"/>
                <a:gd name="connsiteY1515" fmla="*/ 957 h 10000"/>
                <a:gd name="connsiteX1516" fmla="*/ 4327 w 10785"/>
                <a:gd name="connsiteY1516" fmla="*/ 966 h 10000"/>
                <a:gd name="connsiteX1517" fmla="*/ 4323 w 10785"/>
                <a:gd name="connsiteY1517" fmla="*/ 991 h 10000"/>
                <a:gd name="connsiteX1518" fmla="*/ 4207 w 10785"/>
                <a:gd name="connsiteY1518" fmla="*/ 1060 h 10000"/>
                <a:gd name="connsiteX1519" fmla="*/ 4207 w 10785"/>
                <a:gd name="connsiteY1519" fmla="*/ 1060 h 10000"/>
                <a:gd name="connsiteX1520" fmla="*/ 4203 w 10785"/>
                <a:gd name="connsiteY1520" fmla="*/ 1068 h 10000"/>
                <a:gd name="connsiteX1521" fmla="*/ 4203 w 10785"/>
                <a:gd name="connsiteY1521" fmla="*/ 1094 h 10000"/>
                <a:gd name="connsiteX1522" fmla="*/ 4203 w 10785"/>
                <a:gd name="connsiteY1522" fmla="*/ 1094 h 10000"/>
                <a:gd name="connsiteX1523" fmla="*/ 4189 w 10785"/>
                <a:gd name="connsiteY1523" fmla="*/ 1094 h 10000"/>
                <a:gd name="connsiteX1524" fmla="*/ 4166 w 10785"/>
                <a:gd name="connsiteY1524" fmla="*/ 1103 h 10000"/>
                <a:gd name="connsiteX1525" fmla="*/ 4152 w 10785"/>
                <a:gd name="connsiteY1525" fmla="*/ 1094 h 10000"/>
                <a:gd name="connsiteX1526" fmla="*/ 4134 w 10785"/>
                <a:gd name="connsiteY1526" fmla="*/ 1120 h 10000"/>
                <a:gd name="connsiteX1527" fmla="*/ 4106 w 10785"/>
                <a:gd name="connsiteY1527" fmla="*/ 1120 h 10000"/>
                <a:gd name="connsiteX1528" fmla="*/ 4092 w 10785"/>
                <a:gd name="connsiteY1528" fmla="*/ 1154 h 10000"/>
                <a:gd name="connsiteX1529" fmla="*/ 4106 w 10785"/>
                <a:gd name="connsiteY1529" fmla="*/ 1171 h 10000"/>
                <a:gd name="connsiteX1530" fmla="*/ 4078 w 10785"/>
                <a:gd name="connsiteY1530" fmla="*/ 1179 h 10000"/>
                <a:gd name="connsiteX1531" fmla="*/ 4065 w 10785"/>
                <a:gd name="connsiteY1531" fmla="*/ 1205 h 10000"/>
                <a:gd name="connsiteX1532" fmla="*/ 4046 w 10785"/>
                <a:gd name="connsiteY1532" fmla="*/ 1179 h 10000"/>
                <a:gd name="connsiteX1533" fmla="*/ 4041 w 10785"/>
                <a:gd name="connsiteY1533" fmla="*/ 1197 h 10000"/>
                <a:gd name="connsiteX1534" fmla="*/ 4028 w 10785"/>
                <a:gd name="connsiteY1534" fmla="*/ 1205 h 10000"/>
                <a:gd name="connsiteX1535" fmla="*/ 4028 w 10785"/>
                <a:gd name="connsiteY1535" fmla="*/ 1205 h 10000"/>
                <a:gd name="connsiteX1536" fmla="*/ 4032 w 10785"/>
                <a:gd name="connsiteY1536" fmla="*/ 1205 h 10000"/>
                <a:gd name="connsiteX1537" fmla="*/ 4032 w 10785"/>
                <a:gd name="connsiteY1537" fmla="*/ 1231 h 10000"/>
                <a:gd name="connsiteX1538" fmla="*/ 4014 w 10785"/>
                <a:gd name="connsiteY1538" fmla="*/ 1239 h 10000"/>
                <a:gd name="connsiteX1539" fmla="*/ 4014 w 10785"/>
                <a:gd name="connsiteY1539" fmla="*/ 1256 h 10000"/>
                <a:gd name="connsiteX1540" fmla="*/ 4000 w 10785"/>
                <a:gd name="connsiteY1540" fmla="*/ 1265 h 10000"/>
                <a:gd name="connsiteX1541" fmla="*/ 3986 w 10785"/>
                <a:gd name="connsiteY1541" fmla="*/ 1308 h 10000"/>
                <a:gd name="connsiteX1542" fmla="*/ 3972 w 10785"/>
                <a:gd name="connsiteY1542" fmla="*/ 1316 h 10000"/>
                <a:gd name="connsiteX1543" fmla="*/ 3972 w 10785"/>
                <a:gd name="connsiteY1543" fmla="*/ 1325 h 10000"/>
                <a:gd name="connsiteX1544" fmla="*/ 3972 w 10785"/>
                <a:gd name="connsiteY1544" fmla="*/ 1342 h 10000"/>
                <a:gd name="connsiteX1545" fmla="*/ 3968 w 10785"/>
                <a:gd name="connsiteY1545" fmla="*/ 1350 h 10000"/>
                <a:gd name="connsiteX1546" fmla="*/ 3954 w 10785"/>
                <a:gd name="connsiteY1546" fmla="*/ 1368 h 10000"/>
                <a:gd name="connsiteX1547" fmla="*/ 3945 w 10785"/>
                <a:gd name="connsiteY1547" fmla="*/ 1350 h 10000"/>
                <a:gd name="connsiteX1548" fmla="*/ 3908 w 10785"/>
                <a:gd name="connsiteY1548" fmla="*/ 1342 h 10000"/>
                <a:gd name="connsiteX1549" fmla="*/ 3894 w 10785"/>
                <a:gd name="connsiteY1549" fmla="*/ 1368 h 10000"/>
                <a:gd name="connsiteX1550" fmla="*/ 3922 w 10785"/>
                <a:gd name="connsiteY1550" fmla="*/ 1393 h 10000"/>
                <a:gd name="connsiteX1551" fmla="*/ 3945 w 10785"/>
                <a:gd name="connsiteY1551" fmla="*/ 1393 h 10000"/>
                <a:gd name="connsiteX1552" fmla="*/ 3940 w 10785"/>
                <a:gd name="connsiteY1552" fmla="*/ 1419 h 10000"/>
                <a:gd name="connsiteX1553" fmla="*/ 3931 w 10785"/>
                <a:gd name="connsiteY1553" fmla="*/ 1427 h 10000"/>
                <a:gd name="connsiteX1554" fmla="*/ 3926 w 10785"/>
                <a:gd name="connsiteY1554" fmla="*/ 1427 h 10000"/>
                <a:gd name="connsiteX1555" fmla="*/ 3922 w 10785"/>
                <a:gd name="connsiteY1555" fmla="*/ 1419 h 10000"/>
                <a:gd name="connsiteX1556" fmla="*/ 3912 w 10785"/>
                <a:gd name="connsiteY1556" fmla="*/ 1427 h 10000"/>
                <a:gd name="connsiteX1557" fmla="*/ 3912 w 10785"/>
                <a:gd name="connsiteY1557" fmla="*/ 1444 h 10000"/>
                <a:gd name="connsiteX1558" fmla="*/ 3894 w 10785"/>
                <a:gd name="connsiteY1558" fmla="*/ 1513 h 10000"/>
                <a:gd name="connsiteX1559" fmla="*/ 3885 w 10785"/>
                <a:gd name="connsiteY1559" fmla="*/ 1513 h 10000"/>
                <a:gd name="connsiteX1560" fmla="*/ 3880 w 10785"/>
                <a:gd name="connsiteY1560" fmla="*/ 1538 h 10000"/>
                <a:gd name="connsiteX1561" fmla="*/ 3885 w 10785"/>
                <a:gd name="connsiteY1561" fmla="*/ 1564 h 10000"/>
                <a:gd name="connsiteX1562" fmla="*/ 3880 w 10785"/>
                <a:gd name="connsiteY1562" fmla="*/ 1581 h 10000"/>
                <a:gd name="connsiteX1563" fmla="*/ 3871 w 10785"/>
                <a:gd name="connsiteY1563" fmla="*/ 1538 h 10000"/>
                <a:gd name="connsiteX1564" fmla="*/ 3853 w 10785"/>
                <a:gd name="connsiteY1564" fmla="*/ 1530 h 10000"/>
                <a:gd name="connsiteX1565" fmla="*/ 3853 w 10785"/>
                <a:gd name="connsiteY1565" fmla="*/ 1504 h 10000"/>
                <a:gd name="connsiteX1566" fmla="*/ 3834 w 10785"/>
                <a:gd name="connsiteY1566" fmla="*/ 1487 h 10000"/>
                <a:gd name="connsiteX1567" fmla="*/ 3834 w 10785"/>
                <a:gd name="connsiteY1567" fmla="*/ 1487 h 10000"/>
                <a:gd name="connsiteX1568" fmla="*/ 3839 w 10785"/>
                <a:gd name="connsiteY1568" fmla="*/ 1513 h 10000"/>
                <a:gd name="connsiteX1569" fmla="*/ 3820 w 10785"/>
                <a:gd name="connsiteY1569" fmla="*/ 1538 h 10000"/>
                <a:gd name="connsiteX1570" fmla="*/ 3820 w 10785"/>
                <a:gd name="connsiteY1570" fmla="*/ 1556 h 10000"/>
                <a:gd name="connsiteX1571" fmla="*/ 3820 w 10785"/>
                <a:gd name="connsiteY1571" fmla="*/ 1564 h 10000"/>
                <a:gd name="connsiteX1572" fmla="*/ 3820 w 10785"/>
                <a:gd name="connsiteY1572" fmla="*/ 1581 h 10000"/>
                <a:gd name="connsiteX1573" fmla="*/ 3853 w 10785"/>
                <a:gd name="connsiteY1573" fmla="*/ 1581 h 10000"/>
                <a:gd name="connsiteX1574" fmla="*/ 3857 w 10785"/>
                <a:gd name="connsiteY1574" fmla="*/ 1598 h 10000"/>
                <a:gd name="connsiteX1575" fmla="*/ 3880 w 10785"/>
                <a:gd name="connsiteY1575" fmla="*/ 1615 h 10000"/>
                <a:gd name="connsiteX1576" fmla="*/ 3871 w 10785"/>
                <a:gd name="connsiteY1576" fmla="*/ 1615 h 10000"/>
                <a:gd name="connsiteX1577" fmla="*/ 3871 w 10785"/>
                <a:gd name="connsiteY1577" fmla="*/ 1641 h 10000"/>
                <a:gd name="connsiteX1578" fmla="*/ 3880 w 10785"/>
                <a:gd name="connsiteY1578" fmla="*/ 1641 h 10000"/>
                <a:gd name="connsiteX1579" fmla="*/ 3871 w 10785"/>
                <a:gd name="connsiteY1579" fmla="*/ 1650 h 10000"/>
                <a:gd name="connsiteX1580" fmla="*/ 3857 w 10785"/>
                <a:gd name="connsiteY1580" fmla="*/ 1650 h 10000"/>
                <a:gd name="connsiteX1581" fmla="*/ 3853 w 10785"/>
                <a:gd name="connsiteY1581" fmla="*/ 1650 h 10000"/>
                <a:gd name="connsiteX1582" fmla="*/ 3839 w 10785"/>
                <a:gd name="connsiteY1582" fmla="*/ 1667 h 10000"/>
                <a:gd name="connsiteX1583" fmla="*/ 3848 w 10785"/>
                <a:gd name="connsiteY1583" fmla="*/ 1692 h 10000"/>
                <a:gd name="connsiteX1584" fmla="*/ 3834 w 10785"/>
                <a:gd name="connsiteY1584" fmla="*/ 1692 h 10000"/>
                <a:gd name="connsiteX1585" fmla="*/ 3825 w 10785"/>
                <a:gd name="connsiteY1585" fmla="*/ 1692 h 10000"/>
                <a:gd name="connsiteX1586" fmla="*/ 3825 w 10785"/>
                <a:gd name="connsiteY1586" fmla="*/ 1718 h 10000"/>
                <a:gd name="connsiteX1587" fmla="*/ 3839 w 10785"/>
                <a:gd name="connsiteY1587" fmla="*/ 1726 h 10000"/>
                <a:gd name="connsiteX1588" fmla="*/ 3880 w 10785"/>
                <a:gd name="connsiteY1588" fmla="*/ 1752 h 10000"/>
                <a:gd name="connsiteX1589" fmla="*/ 3894 w 10785"/>
                <a:gd name="connsiteY1589" fmla="*/ 1829 h 10000"/>
                <a:gd name="connsiteX1590" fmla="*/ 3899 w 10785"/>
                <a:gd name="connsiteY1590" fmla="*/ 1838 h 10000"/>
                <a:gd name="connsiteX1591" fmla="*/ 3894 w 10785"/>
                <a:gd name="connsiteY1591" fmla="*/ 1855 h 10000"/>
                <a:gd name="connsiteX1592" fmla="*/ 3880 w 10785"/>
                <a:gd name="connsiteY1592" fmla="*/ 1838 h 10000"/>
                <a:gd name="connsiteX1593" fmla="*/ 3880 w 10785"/>
                <a:gd name="connsiteY1593" fmla="*/ 1855 h 10000"/>
                <a:gd name="connsiteX1594" fmla="*/ 3880 w 10785"/>
                <a:gd name="connsiteY1594" fmla="*/ 1863 h 10000"/>
                <a:gd name="connsiteX1595" fmla="*/ 3871 w 10785"/>
                <a:gd name="connsiteY1595" fmla="*/ 1872 h 10000"/>
                <a:gd name="connsiteX1596" fmla="*/ 3880 w 10785"/>
                <a:gd name="connsiteY1596" fmla="*/ 1889 h 10000"/>
                <a:gd name="connsiteX1597" fmla="*/ 3885 w 10785"/>
                <a:gd name="connsiteY1597" fmla="*/ 1889 h 10000"/>
                <a:gd name="connsiteX1598" fmla="*/ 3880 w 10785"/>
                <a:gd name="connsiteY1598" fmla="*/ 1897 h 10000"/>
                <a:gd name="connsiteX1599" fmla="*/ 3871 w 10785"/>
                <a:gd name="connsiteY1599" fmla="*/ 1915 h 10000"/>
                <a:gd name="connsiteX1600" fmla="*/ 3848 w 10785"/>
                <a:gd name="connsiteY1600" fmla="*/ 1923 h 10000"/>
                <a:gd name="connsiteX1601" fmla="*/ 3825 w 10785"/>
                <a:gd name="connsiteY1601" fmla="*/ 1940 h 10000"/>
                <a:gd name="connsiteX1602" fmla="*/ 3811 w 10785"/>
                <a:gd name="connsiteY1602" fmla="*/ 1940 h 10000"/>
                <a:gd name="connsiteX1603" fmla="*/ 3806 w 10785"/>
                <a:gd name="connsiteY1603" fmla="*/ 1949 h 10000"/>
                <a:gd name="connsiteX1604" fmla="*/ 3797 w 10785"/>
                <a:gd name="connsiteY1604" fmla="*/ 1966 h 10000"/>
                <a:gd name="connsiteX1605" fmla="*/ 3788 w 10785"/>
                <a:gd name="connsiteY1605" fmla="*/ 1991 h 10000"/>
                <a:gd name="connsiteX1606" fmla="*/ 3765 w 10785"/>
                <a:gd name="connsiteY1606" fmla="*/ 1974 h 10000"/>
                <a:gd name="connsiteX1607" fmla="*/ 3760 w 10785"/>
                <a:gd name="connsiteY1607" fmla="*/ 1966 h 10000"/>
                <a:gd name="connsiteX1608" fmla="*/ 3760 w 10785"/>
                <a:gd name="connsiteY1608" fmla="*/ 1966 h 10000"/>
                <a:gd name="connsiteX1609" fmla="*/ 3631 w 10785"/>
                <a:gd name="connsiteY1609" fmla="*/ 2009 h 10000"/>
                <a:gd name="connsiteX1610" fmla="*/ 3618 w 10785"/>
                <a:gd name="connsiteY1610" fmla="*/ 2000 h 10000"/>
                <a:gd name="connsiteX1611" fmla="*/ 3599 w 10785"/>
                <a:gd name="connsiteY1611" fmla="*/ 2009 h 10000"/>
                <a:gd name="connsiteX1612" fmla="*/ 3571 w 10785"/>
                <a:gd name="connsiteY1612" fmla="*/ 2000 h 10000"/>
                <a:gd name="connsiteX1613" fmla="*/ 3530 w 10785"/>
                <a:gd name="connsiteY1613" fmla="*/ 2026 h 10000"/>
                <a:gd name="connsiteX1614" fmla="*/ 3530 w 10785"/>
                <a:gd name="connsiteY1614" fmla="*/ 2034 h 10000"/>
                <a:gd name="connsiteX1615" fmla="*/ 3525 w 10785"/>
                <a:gd name="connsiteY1615" fmla="*/ 2051 h 10000"/>
                <a:gd name="connsiteX1616" fmla="*/ 3512 w 10785"/>
                <a:gd name="connsiteY1616" fmla="*/ 2034 h 10000"/>
                <a:gd name="connsiteX1617" fmla="*/ 3507 w 10785"/>
                <a:gd name="connsiteY1617" fmla="*/ 2034 h 10000"/>
                <a:gd name="connsiteX1618" fmla="*/ 3498 w 10785"/>
                <a:gd name="connsiteY1618" fmla="*/ 2051 h 10000"/>
                <a:gd name="connsiteX1619" fmla="*/ 3484 w 10785"/>
                <a:gd name="connsiteY1619" fmla="*/ 2060 h 10000"/>
                <a:gd name="connsiteX1620" fmla="*/ 3484 w 10785"/>
                <a:gd name="connsiteY1620" fmla="*/ 2085 h 10000"/>
                <a:gd name="connsiteX1621" fmla="*/ 3484 w 10785"/>
                <a:gd name="connsiteY1621" fmla="*/ 2103 h 10000"/>
                <a:gd name="connsiteX1622" fmla="*/ 3493 w 10785"/>
                <a:gd name="connsiteY1622" fmla="*/ 2103 h 10000"/>
                <a:gd name="connsiteX1623" fmla="*/ 3493 w 10785"/>
                <a:gd name="connsiteY1623" fmla="*/ 2085 h 10000"/>
                <a:gd name="connsiteX1624" fmla="*/ 3498 w 10785"/>
                <a:gd name="connsiteY1624" fmla="*/ 2085 h 10000"/>
                <a:gd name="connsiteX1625" fmla="*/ 3498 w 10785"/>
                <a:gd name="connsiteY1625" fmla="*/ 2111 h 10000"/>
                <a:gd name="connsiteX1626" fmla="*/ 3484 w 10785"/>
                <a:gd name="connsiteY1626" fmla="*/ 2120 h 10000"/>
                <a:gd name="connsiteX1627" fmla="*/ 3484 w 10785"/>
                <a:gd name="connsiteY1627" fmla="*/ 2145 h 10000"/>
                <a:gd name="connsiteX1628" fmla="*/ 3470 w 10785"/>
                <a:gd name="connsiteY1628" fmla="*/ 2137 h 10000"/>
                <a:gd name="connsiteX1629" fmla="*/ 3465 w 10785"/>
                <a:gd name="connsiteY1629" fmla="*/ 2145 h 10000"/>
                <a:gd name="connsiteX1630" fmla="*/ 3470 w 10785"/>
                <a:gd name="connsiteY1630" fmla="*/ 2171 h 10000"/>
                <a:gd name="connsiteX1631" fmla="*/ 3484 w 10785"/>
                <a:gd name="connsiteY1631" fmla="*/ 2171 h 10000"/>
                <a:gd name="connsiteX1632" fmla="*/ 3484 w 10785"/>
                <a:gd name="connsiteY1632" fmla="*/ 2197 h 10000"/>
                <a:gd name="connsiteX1633" fmla="*/ 3465 w 10785"/>
                <a:gd name="connsiteY1633" fmla="*/ 2214 h 10000"/>
                <a:gd name="connsiteX1634" fmla="*/ 3493 w 10785"/>
                <a:gd name="connsiteY1634" fmla="*/ 2248 h 10000"/>
                <a:gd name="connsiteX1635" fmla="*/ 3484 w 10785"/>
                <a:gd name="connsiteY1635" fmla="*/ 2256 h 10000"/>
                <a:gd name="connsiteX1636" fmla="*/ 3498 w 10785"/>
                <a:gd name="connsiteY1636" fmla="*/ 2274 h 10000"/>
                <a:gd name="connsiteX1637" fmla="*/ 3498 w 10785"/>
                <a:gd name="connsiteY1637" fmla="*/ 2256 h 10000"/>
                <a:gd name="connsiteX1638" fmla="*/ 3507 w 10785"/>
                <a:gd name="connsiteY1638" fmla="*/ 2308 h 10000"/>
                <a:gd name="connsiteX1639" fmla="*/ 3512 w 10785"/>
                <a:gd name="connsiteY1639" fmla="*/ 2325 h 10000"/>
                <a:gd name="connsiteX1640" fmla="*/ 3507 w 10785"/>
                <a:gd name="connsiteY1640" fmla="*/ 2333 h 10000"/>
                <a:gd name="connsiteX1641" fmla="*/ 3507 w 10785"/>
                <a:gd name="connsiteY1641" fmla="*/ 2359 h 10000"/>
                <a:gd name="connsiteX1642" fmla="*/ 3507 w 10785"/>
                <a:gd name="connsiteY1642" fmla="*/ 2376 h 10000"/>
                <a:gd name="connsiteX1643" fmla="*/ 3498 w 10785"/>
                <a:gd name="connsiteY1643" fmla="*/ 2410 h 10000"/>
                <a:gd name="connsiteX1644" fmla="*/ 3498 w 10785"/>
                <a:gd name="connsiteY1644" fmla="*/ 2436 h 10000"/>
                <a:gd name="connsiteX1645" fmla="*/ 3507 w 10785"/>
                <a:gd name="connsiteY1645" fmla="*/ 2462 h 10000"/>
                <a:gd name="connsiteX1646" fmla="*/ 3507 w 10785"/>
                <a:gd name="connsiteY1646" fmla="*/ 2496 h 10000"/>
                <a:gd name="connsiteX1647" fmla="*/ 3512 w 10785"/>
                <a:gd name="connsiteY1647" fmla="*/ 2521 h 10000"/>
                <a:gd name="connsiteX1648" fmla="*/ 3525 w 10785"/>
                <a:gd name="connsiteY1648" fmla="*/ 2556 h 10000"/>
                <a:gd name="connsiteX1649" fmla="*/ 3571 w 10785"/>
                <a:gd name="connsiteY1649" fmla="*/ 2573 h 10000"/>
                <a:gd name="connsiteX1650" fmla="*/ 3590 w 10785"/>
                <a:gd name="connsiteY1650" fmla="*/ 2598 h 10000"/>
                <a:gd name="connsiteX1651" fmla="*/ 3599 w 10785"/>
                <a:gd name="connsiteY1651" fmla="*/ 2598 h 10000"/>
                <a:gd name="connsiteX1652" fmla="*/ 3604 w 10785"/>
                <a:gd name="connsiteY1652" fmla="*/ 2632 h 10000"/>
                <a:gd name="connsiteX1653" fmla="*/ 3599 w 10785"/>
                <a:gd name="connsiteY1653" fmla="*/ 2658 h 10000"/>
                <a:gd name="connsiteX1654" fmla="*/ 3590 w 10785"/>
                <a:gd name="connsiteY1654" fmla="*/ 2667 h 10000"/>
                <a:gd name="connsiteX1655" fmla="*/ 3604 w 10785"/>
                <a:gd name="connsiteY1655" fmla="*/ 2667 h 10000"/>
                <a:gd name="connsiteX1656" fmla="*/ 3613 w 10785"/>
                <a:gd name="connsiteY1656" fmla="*/ 2692 h 10000"/>
                <a:gd name="connsiteX1657" fmla="*/ 3627 w 10785"/>
                <a:gd name="connsiteY1657" fmla="*/ 2735 h 10000"/>
                <a:gd name="connsiteX1658" fmla="*/ 3631 w 10785"/>
                <a:gd name="connsiteY1658" fmla="*/ 2744 h 10000"/>
                <a:gd name="connsiteX1659" fmla="*/ 3659 w 10785"/>
                <a:gd name="connsiteY1659" fmla="*/ 2761 h 10000"/>
                <a:gd name="connsiteX1660" fmla="*/ 3673 w 10785"/>
                <a:gd name="connsiteY1660" fmla="*/ 2769 h 10000"/>
                <a:gd name="connsiteX1661" fmla="*/ 3673 w 10785"/>
                <a:gd name="connsiteY1661" fmla="*/ 2761 h 10000"/>
                <a:gd name="connsiteX1662" fmla="*/ 3687 w 10785"/>
                <a:gd name="connsiteY1662" fmla="*/ 2829 h 10000"/>
                <a:gd name="connsiteX1663" fmla="*/ 3677 w 10785"/>
                <a:gd name="connsiteY1663" fmla="*/ 2897 h 10000"/>
                <a:gd name="connsiteX1664" fmla="*/ 3673 w 10785"/>
                <a:gd name="connsiteY1664" fmla="*/ 2915 h 10000"/>
                <a:gd name="connsiteX1665" fmla="*/ 3664 w 10785"/>
                <a:gd name="connsiteY1665" fmla="*/ 2957 h 10000"/>
                <a:gd name="connsiteX1666" fmla="*/ 3659 w 10785"/>
                <a:gd name="connsiteY1666" fmla="*/ 2983 h 10000"/>
                <a:gd name="connsiteX1667" fmla="*/ 3664 w 10785"/>
                <a:gd name="connsiteY1667" fmla="*/ 3017 h 10000"/>
                <a:gd name="connsiteX1668" fmla="*/ 3659 w 10785"/>
                <a:gd name="connsiteY1668" fmla="*/ 3043 h 10000"/>
                <a:gd name="connsiteX1669" fmla="*/ 3677 w 10785"/>
                <a:gd name="connsiteY1669" fmla="*/ 3094 h 10000"/>
                <a:gd name="connsiteX1670" fmla="*/ 3691 w 10785"/>
                <a:gd name="connsiteY1670" fmla="*/ 3282 h 10000"/>
                <a:gd name="connsiteX1671" fmla="*/ 3691 w 10785"/>
                <a:gd name="connsiteY1671" fmla="*/ 3308 h 10000"/>
                <a:gd name="connsiteX1672" fmla="*/ 3677 w 10785"/>
                <a:gd name="connsiteY1672" fmla="*/ 3342 h 10000"/>
                <a:gd name="connsiteX1673" fmla="*/ 3664 w 10785"/>
                <a:gd name="connsiteY1673" fmla="*/ 3342 h 10000"/>
                <a:gd name="connsiteX1674" fmla="*/ 3650 w 10785"/>
                <a:gd name="connsiteY1674" fmla="*/ 3342 h 10000"/>
                <a:gd name="connsiteX1675" fmla="*/ 3650 w 10785"/>
                <a:gd name="connsiteY1675" fmla="*/ 3350 h 10000"/>
                <a:gd name="connsiteX1676" fmla="*/ 3659 w 10785"/>
                <a:gd name="connsiteY1676" fmla="*/ 3402 h 10000"/>
                <a:gd name="connsiteX1677" fmla="*/ 3659 w 10785"/>
                <a:gd name="connsiteY1677" fmla="*/ 3419 h 10000"/>
                <a:gd name="connsiteX1678" fmla="*/ 3631 w 10785"/>
                <a:gd name="connsiteY1678" fmla="*/ 3402 h 10000"/>
                <a:gd name="connsiteX1679" fmla="*/ 3604 w 10785"/>
                <a:gd name="connsiteY1679" fmla="*/ 3393 h 10000"/>
                <a:gd name="connsiteX1680" fmla="*/ 3599 w 10785"/>
                <a:gd name="connsiteY1680" fmla="*/ 3368 h 10000"/>
                <a:gd name="connsiteX1681" fmla="*/ 3590 w 10785"/>
                <a:gd name="connsiteY1681" fmla="*/ 3239 h 10000"/>
                <a:gd name="connsiteX1682" fmla="*/ 3599 w 10785"/>
                <a:gd name="connsiteY1682" fmla="*/ 3179 h 10000"/>
                <a:gd name="connsiteX1683" fmla="*/ 3599 w 10785"/>
                <a:gd name="connsiteY1683" fmla="*/ 3171 h 10000"/>
                <a:gd name="connsiteX1684" fmla="*/ 3599 w 10785"/>
                <a:gd name="connsiteY1684" fmla="*/ 3009 h 10000"/>
                <a:gd name="connsiteX1685" fmla="*/ 3604 w 10785"/>
                <a:gd name="connsiteY1685" fmla="*/ 2983 h 10000"/>
                <a:gd name="connsiteX1686" fmla="*/ 3645 w 10785"/>
                <a:gd name="connsiteY1686" fmla="*/ 2932 h 10000"/>
                <a:gd name="connsiteX1687" fmla="*/ 3650 w 10785"/>
                <a:gd name="connsiteY1687" fmla="*/ 2872 h 10000"/>
                <a:gd name="connsiteX1688" fmla="*/ 3659 w 10785"/>
                <a:gd name="connsiteY1688" fmla="*/ 2855 h 10000"/>
                <a:gd name="connsiteX1689" fmla="*/ 3659 w 10785"/>
                <a:gd name="connsiteY1689" fmla="*/ 2821 h 10000"/>
                <a:gd name="connsiteX1690" fmla="*/ 3631 w 10785"/>
                <a:gd name="connsiteY1690" fmla="*/ 2795 h 10000"/>
                <a:gd name="connsiteX1691" fmla="*/ 3567 w 10785"/>
                <a:gd name="connsiteY1691" fmla="*/ 2821 h 10000"/>
                <a:gd name="connsiteX1692" fmla="*/ 3544 w 10785"/>
                <a:gd name="connsiteY1692" fmla="*/ 2795 h 10000"/>
                <a:gd name="connsiteX1693" fmla="*/ 3530 w 10785"/>
                <a:gd name="connsiteY1693" fmla="*/ 2769 h 10000"/>
                <a:gd name="connsiteX1694" fmla="*/ 3530 w 10785"/>
                <a:gd name="connsiteY1694" fmla="*/ 2786 h 10000"/>
                <a:gd name="connsiteX1695" fmla="*/ 3498 w 10785"/>
                <a:gd name="connsiteY1695" fmla="*/ 2692 h 10000"/>
                <a:gd name="connsiteX1696" fmla="*/ 3498 w 10785"/>
                <a:gd name="connsiteY1696" fmla="*/ 2667 h 10000"/>
                <a:gd name="connsiteX1697" fmla="*/ 3442 w 10785"/>
                <a:gd name="connsiteY1697" fmla="*/ 2607 h 10000"/>
                <a:gd name="connsiteX1698" fmla="*/ 3433 w 10785"/>
                <a:gd name="connsiteY1698" fmla="*/ 2581 h 10000"/>
                <a:gd name="connsiteX1699" fmla="*/ 3396 w 10785"/>
                <a:gd name="connsiteY1699" fmla="*/ 2556 h 10000"/>
                <a:gd name="connsiteX1700" fmla="*/ 3318 w 10785"/>
                <a:gd name="connsiteY1700" fmla="*/ 2556 h 10000"/>
                <a:gd name="connsiteX1701" fmla="*/ 3304 w 10785"/>
                <a:gd name="connsiteY1701" fmla="*/ 2607 h 10000"/>
                <a:gd name="connsiteX1702" fmla="*/ 3276 w 10785"/>
                <a:gd name="connsiteY1702" fmla="*/ 2632 h 10000"/>
                <a:gd name="connsiteX1703" fmla="*/ 3272 w 10785"/>
                <a:gd name="connsiteY1703" fmla="*/ 2667 h 10000"/>
                <a:gd name="connsiteX1704" fmla="*/ 3304 w 10785"/>
                <a:gd name="connsiteY1704" fmla="*/ 2667 h 10000"/>
                <a:gd name="connsiteX1705" fmla="*/ 3323 w 10785"/>
                <a:gd name="connsiteY1705" fmla="*/ 2692 h 10000"/>
                <a:gd name="connsiteX1706" fmla="*/ 3318 w 10785"/>
                <a:gd name="connsiteY1706" fmla="*/ 2735 h 10000"/>
                <a:gd name="connsiteX1707" fmla="*/ 3304 w 10785"/>
                <a:gd name="connsiteY1707" fmla="*/ 2761 h 10000"/>
                <a:gd name="connsiteX1708" fmla="*/ 3276 w 10785"/>
                <a:gd name="connsiteY1708" fmla="*/ 2769 h 10000"/>
                <a:gd name="connsiteX1709" fmla="*/ 3263 w 10785"/>
                <a:gd name="connsiteY1709" fmla="*/ 2795 h 10000"/>
                <a:gd name="connsiteX1710" fmla="*/ 3235 w 10785"/>
                <a:gd name="connsiteY1710" fmla="*/ 2803 h 10000"/>
                <a:gd name="connsiteX1711" fmla="*/ 3235 w 10785"/>
                <a:gd name="connsiteY1711" fmla="*/ 2786 h 10000"/>
                <a:gd name="connsiteX1712" fmla="*/ 3212 w 10785"/>
                <a:gd name="connsiteY1712" fmla="*/ 2709 h 10000"/>
                <a:gd name="connsiteX1713" fmla="*/ 3198 w 10785"/>
                <a:gd name="connsiteY1713" fmla="*/ 2709 h 10000"/>
                <a:gd name="connsiteX1714" fmla="*/ 3184 w 10785"/>
                <a:gd name="connsiteY1714" fmla="*/ 2735 h 10000"/>
                <a:gd name="connsiteX1715" fmla="*/ 3189 w 10785"/>
                <a:gd name="connsiteY1715" fmla="*/ 2761 h 10000"/>
                <a:gd name="connsiteX1716" fmla="*/ 3203 w 10785"/>
                <a:gd name="connsiteY1716" fmla="*/ 2855 h 10000"/>
                <a:gd name="connsiteX1717" fmla="*/ 3212 w 10785"/>
                <a:gd name="connsiteY1717" fmla="*/ 2872 h 10000"/>
                <a:gd name="connsiteX1718" fmla="*/ 3235 w 10785"/>
                <a:gd name="connsiteY1718" fmla="*/ 2906 h 10000"/>
                <a:gd name="connsiteX1719" fmla="*/ 3258 w 10785"/>
                <a:gd name="connsiteY1719" fmla="*/ 2915 h 10000"/>
                <a:gd name="connsiteX1720" fmla="*/ 3272 w 10785"/>
                <a:gd name="connsiteY1720" fmla="*/ 2957 h 10000"/>
                <a:gd name="connsiteX1721" fmla="*/ 3276 w 10785"/>
                <a:gd name="connsiteY1721" fmla="*/ 2957 h 10000"/>
                <a:gd name="connsiteX1722" fmla="*/ 3286 w 10785"/>
                <a:gd name="connsiteY1722" fmla="*/ 2966 h 10000"/>
                <a:gd name="connsiteX1723" fmla="*/ 3300 w 10785"/>
                <a:gd name="connsiteY1723" fmla="*/ 2957 h 10000"/>
                <a:gd name="connsiteX1724" fmla="*/ 3309 w 10785"/>
                <a:gd name="connsiteY1724" fmla="*/ 2932 h 10000"/>
                <a:gd name="connsiteX1725" fmla="*/ 3304 w 10785"/>
                <a:gd name="connsiteY1725" fmla="*/ 2966 h 10000"/>
                <a:gd name="connsiteX1726" fmla="*/ 3309 w 10785"/>
                <a:gd name="connsiteY1726" fmla="*/ 2983 h 10000"/>
                <a:gd name="connsiteX1727" fmla="*/ 3323 w 10785"/>
                <a:gd name="connsiteY1727" fmla="*/ 2966 h 10000"/>
                <a:gd name="connsiteX1728" fmla="*/ 3323 w 10785"/>
                <a:gd name="connsiteY1728" fmla="*/ 3043 h 10000"/>
                <a:gd name="connsiteX1729" fmla="*/ 3346 w 10785"/>
                <a:gd name="connsiteY1729" fmla="*/ 3068 h 10000"/>
                <a:gd name="connsiteX1730" fmla="*/ 3346 w 10785"/>
                <a:gd name="connsiteY1730" fmla="*/ 3094 h 10000"/>
                <a:gd name="connsiteX1731" fmla="*/ 3323 w 10785"/>
                <a:gd name="connsiteY1731" fmla="*/ 3094 h 10000"/>
                <a:gd name="connsiteX1732" fmla="*/ 3309 w 10785"/>
                <a:gd name="connsiteY1732" fmla="*/ 3077 h 10000"/>
                <a:gd name="connsiteX1733" fmla="*/ 3304 w 10785"/>
                <a:gd name="connsiteY1733" fmla="*/ 3051 h 10000"/>
                <a:gd name="connsiteX1734" fmla="*/ 3300 w 10785"/>
                <a:gd name="connsiteY1734" fmla="*/ 3043 h 10000"/>
                <a:gd name="connsiteX1735" fmla="*/ 3286 w 10785"/>
                <a:gd name="connsiteY1735" fmla="*/ 3017 h 10000"/>
                <a:gd name="connsiteX1736" fmla="*/ 3152 w 10785"/>
                <a:gd name="connsiteY1736" fmla="*/ 2966 h 10000"/>
                <a:gd name="connsiteX1737" fmla="*/ 3129 w 10785"/>
                <a:gd name="connsiteY1737" fmla="*/ 2915 h 10000"/>
                <a:gd name="connsiteX1738" fmla="*/ 3129 w 10785"/>
                <a:gd name="connsiteY1738" fmla="*/ 2906 h 10000"/>
                <a:gd name="connsiteX1739" fmla="*/ 3152 w 10785"/>
                <a:gd name="connsiteY1739" fmla="*/ 2906 h 10000"/>
                <a:gd name="connsiteX1740" fmla="*/ 3152 w 10785"/>
                <a:gd name="connsiteY1740" fmla="*/ 2846 h 10000"/>
                <a:gd name="connsiteX1741" fmla="*/ 3138 w 10785"/>
                <a:gd name="connsiteY1741" fmla="*/ 2795 h 10000"/>
                <a:gd name="connsiteX1742" fmla="*/ 3138 w 10785"/>
                <a:gd name="connsiteY1742" fmla="*/ 2769 h 10000"/>
                <a:gd name="connsiteX1743" fmla="*/ 3143 w 10785"/>
                <a:gd name="connsiteY1743" fmla="*/ 2718 h 10000"/>
                <a:gd name="connsiteX1744" fmla="*/ 3129 w 10785"/>
                <a:gd name="connsiteY1744" fmla="*/ 2692 h 10000"/>
                <a:gd name="connsiteX1745" fmla="*/ 3143 w 10785"/>
                <a:gd name="connsiteY1745" fmla="*/ 2667 h 10000"/>
                <a:gd name="connsiteX1746" fmla="*/ 3157 w 10785"/>
                <a:gd name="connsiteY1746" fmla="*/ 2581 h 10000"/>
                <a:gd name="connsiteX1747" fmla="*/ 3143 w 10785"/>
                <a:gd name="connsiteY1747" fmla="*/ 2496 h 10000"/>
                <a:gd name="connsiteX1748" fmla="*/ 3157 w 10785"/>
                <a:gd name="connsiteY1748" fmla="*/ 2487 h 10000"/>
                <a:gd name="connsiteX1749" fmla="*/ 3143 w 10785"/>
                <a:gd name="connsiteY1749" fmla="*/ 2444 h 10000"/>
                <a:gd name="connsiteX1750" fmla="*/ 3143 w 10785"/>
                <a:gd name="connsiteY1750" fmla="*/ 2419 h 10000"/>
                <a:gd name="connsiteX1751" fmla="*/ 3143 w 10785"/>
                <a:gd name="connsiteY1751" fmla="*/ 2410 h 10000"/>
                <a:gd name="connsiteX1752" fmla="*/ 3124 w 10785"/>
                <a:gd name="connsiteY1752" fmla="*/ 2376 h 10000"/>
                <a:gd name="connsiteX1753" fmla="*/ 3115 w 10785"/>
                <a:gd name="connsiteY1753" fmla="*/ 2350 h 10000"/>
                <a:gd name="connsiteX1754" fmla="*/ 3101 w 10785"/>
                <a:gd name="connsiteY1754" fmla="*/ 2359 h 10000"/>
                <a:gd name="connsiteX1755" fmla="*/ 3115 w 10785"/>
                <a:gd name="connsiteY1755" fmla="*/ 2581 h 10000"/>
                <a:gd name="connsiteX1756" fmla="*/ 3111 w 10785"/>
                <a:gd name="connsiteY1756" fmla="*/ 2624 h 10000"/>
                <a:gd name="connsiteX1757" fmla="*/ 3009 w 10785"/>
                <a:gd name="connsiteY1757" fmla="*/ 2761 h 10000"/>
                <a:gd name="connsiteX1758" fmla="*/ 3009 w 10785"/>
                <a:gd name="connsiteY1758" fmla="*/ 2803 h 10000"/>
                <a:gd name="connsiteX1759" fmla="*/ 3005 w 10785"/>
                <a:gd name="connsiteY1759" fmla="*/ 2829 h 10000"/>
                <a:gd name="connsiteX1760" fmla="*/ 2982 w 10785"/>
                <a:gd name="connsiteY1760" fmla="*/ 2872 h 10000"/>
                <a:gd name="connsiteX1761" fmla="*/ 2982 w 10785"/>
                <a:gd name="connsiteY1761" fmla="*/ 2880 h 10000"/>
                <a:gd name="connsiteX1762" fmla="*/ 3037 w 10785"/>
                <a:gd name="connsiteY1762" fmla="*/ 3034 h 10000"/>
                <a:gd name="connsiteX1763" fmla="*/ 3041 w 10785"/>
                <a:gd name="connsiteY1763" fmla="*/ 3103 h 10000"/>
                <a:gd name="connsiteX1764" fmla="*/ 3069 w 10785"/>
                <a:gd name="connsiteY1764" fmla="*/ 3188 h 10000"/>
                <a:gd name="connsiteX1765" fmla="*/ 3055 w 10785"/>
                <a:gd name="connsiteY1765" fmla="*/ 3325 h 10000"/>
                <a:gd name="connsiteX1766" fmla="*/ 3037 w 10785"/>
                <a:gd name="connsiteY1766" fmla="*/ 3368 h 10000"/>
                <a:gd name="connsiteX1767" fmla="*/ 3037 w 10785"/>
                <a:gd name="connsiteY1767" fmla="*/ 3444 h 10000"/>
                <a:gd name="connsiteX1768" fmla="*/ 3028 w 10785"/>
                <a:gd name="connsiteY1768" fmla="*/ 3453 h 10000"/>
                <a:gd name="connsiteX1769" fmla="*/ 3023 w 10785"/>
                <a:gd name="connsiteY1769" fmla="*/ 3530 h 10000"/>
                <a:gd name="connsiteX1770" fmla="*/ 3051 w 10785"/>
                <a:gd name="connsiteY1770" fmla="*/ 3624 h 10000"/>
                <a:gd name="connsiteX1771" fmla="*/ 3037 w 10785"/>
                <a:gd name="connsiteY1771" fmla="*/ 3718 h 10000"/>
                <a:gd name="connsiteX1772" fmla="*/ 3041 w 10785"/>
                <a:gd name="connsiteY1772" fmla="*/ 3752 h 10000"/>
                <a:gd name="connsiteX1773" fmla="*/ 3055 w 10785"/>
                <a:gd name="connsiteY1773" fmla="*/ 3761 h 10000"/>
                <a:gd name="connsiteX1774" fmla="*/ 3078 w 10785"/>
                <a:gd name="connsiteY1774" fmla="*/ 3752 h 10000"/>
                <a:gd name="connsiteX1775" fmla="*/ 3092 w 10785"/>
                <a:gd name="connsiteY1775" fmla="*/ 3752 h 10000"/>
                <a:gd name="connsiteX1776" fmla="*/ 3129 w 10785"/>
                <a:gd name="connsiteY1776" fmla="*/ 3761 h 10000"/>
                <a:gd name="connsiteX1777" fmla="*/ 3129 w 10785"/>
                <a:gd name="connsiteY1777" fmla="*/ 3735 h 10000"/>
                <a:gd name="connsiteX1778" fmla="*/ 3157 w 10785"/>
                <a:gd name="connsiteY1778" fmla="*/ 3718 h 10000"/>
                <a:gd name="connsiteX1779" fmla="*/ 3184 w 10785"/>
                <a:gd name="connsiteY1779" fmla="*/ 3718 h 10000"/>
                <a:gd name="connsiteX1780" fmla="*/ 3290 w 10785"/>
                <a:gd name="connsiteY1780" fmla="*/ 3838 h 10000"/>
                <a:gd name="connsiteX1781" fmla="*/ 3300 w 10785"/>
                <a:gd name="connsiteY1781" fmla="*/ 3846 h 10000"/>
                <a:gd name="connsiteX1782" fmla="*/ 3300 w 10785"/>
                <a:gd name="connsiteY1782" fmla="*/ 3915 h 10000"/>
                <a:gd name="connsiteX1783" fmla="*/ 3318 w 10785"/>
                <a:gd name="connsiteY1783" fmla="*/ 4000 h 10000"/>
                <a:gd name="connsiteX1784" fmla="*/ 3323 w 10785"/>
                <a:gd name="connsiteY1784" fmla="*/ 4000 h 10000"/>
                <a:gd name="connsiteX1785" fmla="*/ 3323 w 10785"/>
                <a:gd name="connsiteY1785" fmla="*/ 4034 h 10000"/>
                <a:gd name="connsiteX1786" fmla="*/ 3318 w 10785"/>
                <a:gd name="connsiteY1786" fmla="*/ 4051 h 10000"/>
                <a:gd name="connsiteX1787" fmla="*/ 3300 w 10785"/>
                <a:gd name="connsiteY1787" fmla="*/ 4051 h 10000"/>
                <a:gd name="connsiteX1788" fmla="*/ 3290 w 10785"/>
                <a:gd name="connsiteY1788" fmla="*/ 4077 h 10000"/>
                <a:gd name="connsiteX1789" fmla="*/ 3286 w 10785"/>
                <a:gd name="connsiteY1789" fmla="*/ 4103 h 10000"/>
                <a:gd name="connsiteX1790" fmla="*/ 3286 w 10785"/>
                <a:gd name="connsiteY1790" fmla="*/ 4197 h 10000"/>
                <a:gd name="connsiteX1791" fmla="*/ 3290 w 10785"/>
                <a:gd name="connsiteY1791" fmla="*/ 4214 h 10000"/>
                <a:gd name="connsiteX1792" fmla="*/ 3304 w 10785"/>
                <a:gd name="connsiteY1792" fmla="*/ 4214 h 10000"/>
                <a:gd name="connsiteX1793" fmla="*/ 3323 w 10785"/>
                <a:gd name="connsiteY1793" fmla="*/ 4239 h 10000"/>
                <a:gd name="connsiteX1794" fmla="*/ 3350 w 10785"/>
                <a:gd name="connsiteY1794" fmla="*/ 4222 h 10000"/>
                <a:gd name="connsiteX1795" fmla="*/ 3369 w 10785"/>
                <a:gd name="connsiteY1795" fmla="*/ 4256 h 10000"/>
                <a:gd name="connsiteX1796" fmla="*/ 3369 w 10785"/>
                <a:gd name="connsiteY1796" fmla="*/ 4256 h 10000"/>
                <a:gd name="connsiteX1797" fmla="*/ 3336 w 10785"/>
                <a:gd name="connsiteY1797" fmla="*/ 4274 h 10000"/>
                <a:gd name="connsiteX1798" fmla="*/ 3323 w 10785"/>
                <a:gd name="connsiteY1798" fmla="*/ 4274 h 10000"/>
                <a:gd name="connsiteX1799" fmla="*/ 3290 w 10785"/>
                <a:gd name="connsiteY1799" fmla="*/ 4274 h 10000"/>
                <a:gd name="connsiteX1800" fmla="*/ 3286 w 10785"/>
                <a:gd name="connsiteY1800" fmla="*/ 4239 h 10000"/>
                <a:gd name="connsiteX1801" fmla="*/ 3263 w 10785"/>
                <a:gd name="connsiteY1801" fmla="*/ 4214 h 10000"/>
                <a:gd name="connsiteX1802" fmla="*/ 3258 w 10785"/>
                <a:gd name="connsiteY1802" fmla="*/ 4188 h 10000"/>
                <a:gd name="connsiteX1803" fmla="*/ 3263 w 10785"/>
                <a:gd name="connsiteY1803" fmla="*/ 4171 h 10000"/>
                <a:gd name="connsiteX1804" fmla="*/ 3263 w 10785"/>
                <a:gd name="connsiteY1804" fmla="*/ 4103 h 10000"/>
                <a:gd name="connsiteX1805" fmla="*/ 3276 w 10785"/>
                <a:gd name="connsiteY1805" fmla="*/ 4060 h 10000"/>
                <a:gd name="connsiteX1806" fmla="*/ 3272 w 10785"/>
                <a:gd name="connsiteY1806" fmla="*/ 4051 h 10000"/>
                <a:gd name="connsiteX1807" fmla="*/ 3263 w 10785"/>
                <a:gd name="connsiteY1807" fmla="*/ 4051 h 10000"/>
                <a:gd name="connsiteX1808" fmla="*/ 3263 w 10785"/>
                <a:gd name="connsiteY1808" fmla="*/ 4034 h 10000"/>
                <a:gd name="connsiteX1809" fmla="*/ 3263 w 10785"/>
                <a:gd name="connsiteY1809" fmla="*/ 4000 h 10000"/>
                <a:gd name="connsiteX1810" fmla="*/ 3272 w 10785"/>
                <a:gd name="connsiteY1810" fmla="*/ 4000 h 10000"/>
                <a:gd name="connsiteX1811" fmla="*/ 3272 w 10785"/>
                <a:gd name="connsiteY1811" fmla="*/ 3974 h 10000"/>
                <a:gd name="connsiteX1812" fmla="*/ 3272 w 10785"/>
                <a:gd name="connsiteY1812" fmla="*/ 3966 h 10000"/>
                <a:gd name="connsiteX1813" fmla="*/ 3272 w 10785"/>
                <a:gd name="connsiteY1813" fmla="*/ 3949 h 10000"/>
                <a:gd name="connsiteX1814" fmla="*/ 3258 w 10785"/>
                <a:gd name="connsiteY1814" fmla="*/ 3923 h 10000"/>
                <a:gd name="connsiteX1815" fmla="*/ 3249 w 10785"/>
                <a:gd name="connsiteY1815" fmla="*/ 3915 h 10000"/>
                <a:gd name="connsiteX1816" fmla="*/ 3244 w 10785"/>
                <a:gd name="connsiteY1816" fmla="*/ 3897 h 10000"/>
                <a:gd name="connsiteX1817" fmla="*/ 3230 w 10785"/>
                <a:gd name="connsiteY1817" fmla="*/ 3889 h 10000"/>
                <a:gd name="connsiteX1818" fmla="*/ 3230 w 10785"/>
                <a:gd name="connsiteY1818" fmla="*/ 3863 h 10000"/>
                <a:gd name="connsiteX1819" fmla="*/ 3230 w 10785"/>
                <a:gd name="connsiteY1819" fmla="*/ 3838 h 10000"/>
                <a:gd name="connsiteX1820" fmla="*/ 3226 w 10785"/>
                <a:gd name="connsiteY1820" fmla="*/ 3803 h 10000"/>
                <a:gd name="connsiteX1821" fmla="*/ 3138 w 10785"/>
                <a:gd name="connsiteY1821" fmla="*/ 3838 h 10000"/>
                <a:gd name="connsiteX1822" fmla="*/ 3078 w 10785"/>
                <a:gd name="connsiteY1822" fmla="*/ 3889 h 10000"/>
                <a:gd name="connsiteX1823" fmla="*/ 3078 w 10785"/>
                <a:gd name="connsiteY1823" fmla="*/ 3940 h 10000"/>
                <a:gd name="connsiteX1824" fmla="*/ 3069 w 10785"/>
                <a:gd name="connsiteY1824" fmla="*/ 3983 h 10000"/>
                <a:gd name="connsiteX1825" fmla="*/ 3069 w 10785"/>
                <a:gd name="connsiteY1825" fmla="*/ 4009 h 10000"/>
                <a:gd name="connsiteX1826" fmla="*/ 3078 w 10785"/>
                <a:gd name="connsiteY1826" fmla="*/ 4026 h 10000"/>
                <a:gd name="connsiteX1827" fmla="*/ 3083 w 10785"/>
                <a:gd name="connsiteY1827" fmla="*/ 4034 h 10000"/>
                <a:gd name="connsiteX1828" fmla="*/ 3092 w 10785"/>
                <a:gd name="connsiteY1828" fmla="*/ 4060 h 10000"/>
                <a:gd name="connsiteX1829" fmla="*/ 3092 w 10785"/>
                <a:gd name="connsiteY1829" fmla="*/ 4077 h 10000"/>
                <a:gd name="connsiteX1830" fmla="*/ 3097 w 10785"/>
                <a:gd name="connsiteY1830" fmla="*/ 4103 h 10000"/>
                <a:gd name="connsiteX1831" fmla="*/ 3101 w 10785"/>
                <a:gd name="connsiteY1831" fmla="*/ 4162 h 10000"/>
                <a:gd name="connsiteX1832" fmla="*/ 3097 w 10785"/>
                <a:gd name="connsiteY1832" fmla="*/ 4222 h 10000"/>
                <a:gd name="connsiteX1833" fmla="*/ 3041 w 10785"/>
                <a:gd name="connsiteY1833" fmla="*/ 4325 h 10000"/>
                <a:gd name="connsiteX1834" fmla="*/ 3037 w 10785"/>
                <a:gd name="connsiteY1834" fmla="*/ 4419 h 10000"/>
                <a:gd name="connsiteX1835" fmla="*/ 3018 w 10785"/>
                <a:gd name="connsiteY1835" fmla="*/ 4470 h 10000"/>
                <a:gd name="connsiteX1836" fmla="*/ 2991 w 10785"/>
                <a:gd name="connsiteY1836" fmla="*/ 4513 h 10000"/>
                <a:gd name="connsiteX1837" fmla="*/ 2977 w 10785"/>
                <a:gd name="connsiteY1837" fmla="*/ 4530 h 10000"/>
                <a:gd name="connsiteX1838" fmla="*/ 2945 w 10785"/>
                <a:gd name="connsiteY1838" fmla="*/ 4556 h 10000"/>
                <a:gd name="connsiteX1839" fmla="*/ 2935 w 10785"/>
                <a:gd name="connsiteY1839" fmla="*/ 4581 h 10000"/>
                <a:gd name="connsiteX1840" fmla="*/ 2949 w 10785"/>
                <a:gd name="connsiteY1840" fmla="*/ 4624 h 10000"/>
                <a:gd name="connsiteX1841" fmla="*/ 2945 w 10785"/>
                <a:gd name="connsiteY1841" fmla="*/ 4658 h 10000"/>
                <a:gd name="connsiteX1842" fmla="*/ 2922 w 10785"/>
                <a:gd name="connsiteY1842" fmla="*/ 4667 h 10000"/>
                <a:gd name="connsiteX1843" fmla="*/ 2876 w 10785"/>
                <a:gd name="connsiteY1843" fmla="*/ 4632 h 10000"/>
                <a:gd name="connsiteX1844" fmla="*/ 2857 w 10785"/>
                <a:gd name="connsiteY1844" fmla="*/ 4632 h 10000"/>
                <a:gd name="connsiteX1845" fmla="*/ 2820 w 10785"/>
                <a:gd name="connsiteY1845" fmla="*/ 4641 h 10000"/>
                <a:gd name="connsiteX1846" fmla="*/ 2797 w 10785"/>
                <a:gd name="connsiteY1846" fmla="*/ 4632 h 10000"/>
                <a:gd name="connsiteX1847" fmla="*/ 2788 w 10785"/>
                <a:gd name="connsiteY1847" fmla="*/ 4624 h 10000"/>
                <a:gd name="connsiteX1848" fmla="*/ 2788 w 10785"/>
                <a:gd name="connsiteY1848" fmla="*/ 4598 h 10000"/>
                <a:gd name="connsiteX1849" fmla="*/ 2797 w 10785"/>
                <a:gd name="connsiteY1849" fmla="*/ 4581 h 10000"/>
                <a:gd name="connsiteX1850" fmla="*/ 2788 w 10785"/>
                <a:gd name="connsiteY1850" fmla="*/ 4530 h 10000"/>
                <a:gd name="connsiteX1851" fmla="*/ 2774 w 10785"/>
                <a:gd name="connsiteY1851" fmla="*/ 4530 h 10000"/>
                <a:gd name="connsiteX1852" fmla="*/ 2770 w 10785"/>
                <a:gd name="connsiteY1852" fmla="*/ 4513 h 10000"/>
                <a:gd name="connsiteX1853" fmla="*/ 2774 w 10785"/>
                <a:gd name="connsiteY1853" fmla="*/ 4513 h 10000"/>
                <a:gd name="connsiteX1854" fmla="*/ 2788 w 10785"/>
                <a:gd name="connsiteY1854" fmla="*/ 4496 h 10000"/>
                <a:gd name="connsiteX1855" fmla="*/ 2802 w 10785"/>
                <a:gd name="connsiteY1855" fmla="*/ 4513 h 10000"/>
                <a:gd name="connsiteX1856" fmla="*/ 2811 w 10785"/>
                <a:gd name="connsiteY1856" fmla="*/ 4530 h 10000"/>
                <a:gd name="connsiteX1857" fmla="*/ 2820 w 10785"/>
                <a:gd name="connsiteY1857" fmla="*/ 4521 h 10000"/>
                <a:gd name="connsiteX1858" fmla="*/ 2829 w 10785"/>
                <a:gd name="connsiteY1858" fmla="*/ 4513 h 10000"/>
                <a:gd name="connsiteX1859" fmla="*/ 2843 w 10785"/>
                <a:gd name="connsiteY1859" fmla="*/ 4513 h 10000"/>
                <a:gd name="connsiteX1860" fmla="*/ 2848 w 10785"/>
                <a:gd name="connsiteY1860" fmla="*/ 4470 h 10000"/>
                <a:gd name="connsiteX1861" fmla="*/ 2862 w 10785"/>
                <a:gd name="connsiteY1861" fmla="*/ 4487 h 10000"/>
                <a:gd name="connsiteX1862" fmla="*/ 2876 w 10785"/>
                <a:gd name="connsiteY1862" fmla="*/ 4470 h 10000"/>
                <a:gd name="connsiteX1863" fmla="*/ 2880 w 10785"/>
                <a:gd name="connsiteY1863" fmla="*/ 4462 h 10000"/>
                <a:gd name="connsiteX1864" fmla="*/ 2889 w 10785"/>
                <a:gd name="connsiteY1864" fmla="*/ 4444 h 10000"/>
                <a:gd name="connsiteX1865" fmla="*/ 2894 w 10785"/>
                <a:gd name="connsiteY1865" fmla="*/ 4462 h 10000"/>
                <a:gd name="connsiteX1866" fmla="*/ 2917 w 10785"/>
                <a:gd name="connsiteY1866" fmla="*/ 4444 h 10000"/>
                <a:gd name="connsiteX1867" fmla="*/ 2922 w 10785"/>
                <a:gd name="connsiteY1867" fmla="*/ 4436 h 10000"/>
                <a:gd name="connsiteX1868" fmla="*/ 2917 w 10785"/>
                <a:gd name="connsiteY1868" fmla="*/ 4410 h 10000"/>
                <a:gd name="connsiteX1869" fmla="*/ 2894 w 10785"/>
                <a:gd name="connsiteY1869" fmla="*/ 4410 h 10000"/>
                <a:gd name="connsiteX1870" fmla="*/ 2889 w 10785"/>
                <a:gd name="connsiteY1870" fmla="*/ 4419 h 10000"/>
                <a:gd name="connsiteX1871" fmla="*/ 2876 w 10785"/>
                <a:gd name="connsiteY1871" fmla="*/ 4410 h 10000"/>
                <a:gd name="connsiteX1872" fmla="*/ 2880 w 10785"/>
                <a:gd name="connsiteY1872" fmla="*/ 4376 h 10000"/>
                <a:gd name="connsiteX1873" fmla="*/ 2903 w 10785"/>
                <a:gd name="connsiteY1873" fmla="*/ 4393 h 10000"/>
                <a:gd name="connsiteX1874" fmla="*/ 2931 w 10785"/>
                <a:gd name="connsiteY1874" fmla="*/ 4393 h 10000"/>
                <a:gd name="connsiteX1875" fmla="*/ 2931 w 10785"/>
                <a:gd name="connsiteY1875" fmla="*/ 4385 h 10000"/>
                <a:gd name="connsiteX1876" fmla="*/ 2931 w 10785"/>
                <a:gd name="connsiteY1876" fmla="*/ 4350 h 10000"/>
                <a:gd name="connsiteX1877" fmla="*/ 2945 w 10785"/>
                <a:gd name="connsiteY1877" fmla="*/ 4350 h 10000"/>
                <a:gd name="connsiteX1878" fmla="*/ 2949 w 10785"/>
                <a:gd name="connsiteY1878" fmla="*/ 4325 h 10000"/>
                <a:gd name="connsiteX1879" fmla="*/ 2963 w 10785"/>
                <a:gd name="connsiteY1879" fmla="*/ 4256 h 10000"/>
                <a:gd name="connsiteX1880" fmla="*/ 2982 w 10785"/>
                <a:gd name="connsiteY1880" fmla="*/ 4239 h 10000"/>
                <a:gd name="connsiteX1881" fmla="*/ 2991 w 10785"/>
                <a:gd name="connsiteY1881" fmla="*/ 4214 h 10000"/>
                <a:gd name="connsiteX1882" fmla="*/ 2991 w 10785"/>
                <a:gd name="connsiteY1882" fmla="*/ 4197 h 10000"/>
                <a:gd name="connsiteX1883" fmla="*/ 2995 w 10785"/>
                <a:gd name="connsiteY1883" fmla="*/ 4171 h 10000"/>
                <a:gd name="connsiteX1884" fmla="*/ 2991 w 10785"/>
                <a:gd name="connsiteY1884" fmla="*/ 4077 h 10000"/>
                <a:gd name="connsiteX1885" fmla="*/ 2995 w 10785"/>
                <a:gd name="connsiteY1885" fmla="*/ 4034 h 10000"/>
                <a:gd name="connsiteX1886" fmla="*/ 3018 w 10785"/>
                <a:gd name="connsiteY1886" fmla="*/ 3983 h 10000"/>
                <a:gd name="connsiteX1887" fmla="*/ 3018 w 10785"/>
                <a:gd name="connsiteY1887" fmla="*/ 3915 h 10000"/>
                <a:gd name="connsiteX1888" fmla="*/ 2949 w 10785"/>
                <a:gd name="connsiteY1888" fmla="*/ 3778 h 10000"/>
                <a:gd name="connsiteX1889" fmla="*/ 2954 w 10785"/>
                <a:gd name="connsiteY1889" fmla="*/ 3675 h 10000"/>
                <a:gd name="connsiteX1890" fmla="*/ 2954 w 10785"/>
                <a:gd name="connsiteY1890" fmla="*/ 3650 h 10000"/>
                <a:gd name="connsiteX1891" fmla="*/ 2963 w 10785"/>
                <a:gd name="connsiteY1891" fmla="*/ 3624 h 10000"/>
                <a:gd name="connsiteX1892" fmla="*/ 2954 w 10785"/>
                <a:gd name="connsiteY1892" fmla="*/ 3564 h 10000"/>
                <a:gd name="connsiteX1893" fmla="*/ 2963 w 10785"/>
                <a:gd name="connsiteY1893" fmla="*/ 3538 h 10000"/>
                <a:gd name="connsiteX1894" fmla="*/ 2963 w 10785"/>
                <a:gd name="connsiteY1894" fmla="*/ 3487 h 10000"/>
                <a:gd name="connsiteX1895" fmla="*/ 2963 w 10785"/>
                <a:gd name="connsiteY1895" fmla="*/ 3479 h 10000"/>
                <a:gd name="connsiteX1896" fmla="*/ 2963 w 10785"/>
                <a:gd name="connsiteY1896" fmla="*/ 3462 h 10000"/>
                <a:gd name="connsiteX1897" fmla="*/ 2954 w 10785"/>
                <a:gd name="connsiteY1897" fmla="*/ 3453 h 10000"/>
                <a:gd name="connsiteX1898" fmla="*/ 2954 w 10785"/>
                <a:gd name="connsiteY1898" fmla="*/ 3444 h 10000"/>
                <a:gd name="connsiteX1899" fmla="*/ 2954 w 10785"/>
                <a:gd name="connsiteY1899" fmla="*/ 3402 h 10000"/>
                <a:gd name="connsiteX1900" fmla="*/ 2954 w 10785"/>
                <a:gd name="connsiteY1900" fmla="*/ 3393 h 10000"/>
                <a:gd name="connsiteX1901" fmla="*/ 2949 w 10785"/>
                <a:gd name="connsiteY1901" fmla="*/ 3376 h 10000"/>
                <a:gd name="connsiteX1902" fmla="*/ 2949 w 10785"/>
                <a:gd name="connsiteY1902" fmla="*/ 3342 h 10000"/>
                <a:gd name="connsiteX1903" fmla="*/ 2949 w 10785"/>
                <a:gd name="connsiteY1903" fmla="*/ 3316 h 10000"/>
                <a:gd name="connsiteX1904" fmla="*/ 2968 w 10785"/>
                <a:gd name="connsiteY1904" fmla="*/ 3291 h 10000"/>
                <a:gd name="connsiteX1905" fmla="*/ 2963 w 10785"/>
                <a:gd name="connsiteY1905" fmla="*/ 3205 h 10000"/>
                <a:gd name="connsiteX1906" fmla="*/ 2968 w 10785"/>
                <a:gd name="connsiteY1906" fmla="*/ 3171 h 10000"/>
                <a:gd name="connsiteX1907" fmla="*/ 2968 w 10785"/>
                <a:gd name="connsiteY1907" fmla="*/ 3128 h 10000"/>
                <a:gd name="connsiteX1908" fmla="*/ 2954 w 10785"/>
                <a:gd name="connsiteY1908" fmla="*/ 3051 h 10000"/>
                <a:gd name="connsiteX1909" fmla="*/ 2954 w 10785"/>
                <a:gd name="connsiteY1909" fmla="*/ 3009 h 10000"/>
                <a:gd name="connsiteX1910" fmla="*/ 2922 w 10785"/>
                <a:gd name="connsiteY1910" fmla="*/ 2940 h 10000"/>
                <a:gd name="connsiteX1911" fmla="*/ 2903 w 10785"/>
                <a:gd name="connsiteY1911" fmla="*/ 2880 h 10000"/>
                <a:gd name="connsiteX1912" fmla="*/ 2903 w 10785"/>
                <a:gd name="connsiteY1912" fmla="*/ 2855 h 10000"/>
                <a:gd name="connsiteX1913" fmla="*/ 2908 w 10785"/>
                <a:gd name="connsiteY1913" fmla="*/ 2846 h 10000"/>
                <a:gd name="connsiteX1914" fmla="*/ 2931 w 10785"/>
                <a:gd name="connsiteY1914" fmla="*/ 2821 h 10000"/>
                <a:gd name="connsiteX1915" fmla="*/ 2931 w 10785"/>
                <a:gd name="connsiteY1915" fmla="*/ 2803 h 10000"/>
                <a:gd name="connsiteX1916" fmla="*/ 2935 w 10785"/>
                <a:gd name="connsiteY1916" fmla="*/ 2786 h 10000"/>
                <a:gd name="connsiteX1917" fmla="*/ 2935 w 10785"/>
                <a:gd name="connsiteY1917" fmla="*/ 2744 h 10000"/>
                <a:gd name="connsiteX1918" fmla="*/ 2963 w 10785"/>
                <a:gd name="connsiteY1918" fmla="*/ 2607 h 10000"/>
                <a:gd name="connsiteX1919" fmla="*/ 2963 w 10785"/>
                <a:gd name="connsiteY1919" fmla="*/ 2419 h 10000"/>
                <a:gd name="connsiteX1920" fmla="*/ 2954 w 10785"/>
                <a:gd name="connsiteY1920" fmla="*/ 2410 h 10000"/>
                <a:gd name="connsiteX1921" fmla="*/ 2963 w 10785"/>
                <a:gd name="connsiteY1921" fmla="*/ 2393 h 10000"/>
                <a:gd name="connsiteX1922" fmla="*/ 2908 w 10785"/>
                <a:gd name="connsiteY1922" fmla="*/ 2359 h 10000"/>
                <a:gd name="connsiteX1923" fmla="*/ 2889 w 10785"/>
                <a:gd name="connsiteY1923" fmla="*/ 2325 h 10000"/>
                <a:gd name="connsiteX1924" fmla="*/ 2788 w 10785"/>
                <a:gd name="connsiteY1924" fmla="*/ 2333 h 10000"/>
                <a:gd name="connsiteX1925" fmla="*/ 2774 w 10785"/>
                <a:gd name="connsiteY1925" fmla="*/ 2325 h 10000"/>
                <a:gd name="connsiteX1926" fmla="*/ 2783 w 10785"/>
                <a:gd name="connsiteY1926" fmla="*/ 2308 h 10000"/>
                <a:gd name="connsiteX1927" fmla="*/ 2747 w 10785"/>
                <a:gd name="connsiteY1927" fmla="*/ 2308 h 10000"/>
                <a:gd name="connsiteX1928" fmla="*/ 2742 w 10785"/>
                <a:gd name="connsiteY1928" fmla="*/ 2333 h 10000"/>
                <a:gd name="connsiteX1929" fmla="*/ 2682 w 10785"/>
                <a:gd name="connsiteY1929" fmla="*/ 2769 h 10000"/>
                <a:gd name="connsiteX1930" fmla="*/ 2613 w 10785"/>
                <a:gd name="connsiteY1930" fmla="*/ 2940 h 10000"/>
                <a:gd name="connsiteX1931" fmla="*/ 2581 w 10785"/>
                <a:gd name="connsiteY1931" fmla="*/ 2966 h 10000"/>
                <a:gd name="connsiteX1932" fmla="*/ 2576 w 10785"/>
                <a:gd name="connsiteY1932" fmla="*/ 3051 h 10000"/>
                <a:gd name="connsiteX1933" fmla="*/ 2581 w 10785"/>
                <a:gd name="connsiteY1933" fmla="*/ 3051 h 10000"/>
                <a:gd name="connsiteX1934" fmla="*/ 2594 w 10785"/>
                <a:gd name="connsiteY1934" fmla="*/ 3017 h 10000"/>
                <a:gd name="connsiteX1935" fmla="*/ 2594 w 10785"/>
                <a:gd name="connsiteY1935" fmla="*/ 3034 h 10000"/>
                <a:gd name="connsiteX1936" fmla="*/ 2594 w 10785"/>
                <a:gd name="connsiteY1936" fmla="*/ 3051 h 10000"/>
                <a:gd name="connsiteX1937" fmla="*/ 2590 w 10785"/>
                <a:gd name="connsiteY1937" fmla="*/ 3077 h 10000"/>
                <a:gd name="connsiteX1938" fmla="*/ 2567 w 10785"/>
                <a:gd name="connsiteY1938" fmla="*/ 3103 h 10000"/>
                <a:gd name="connsiteX1939" fmla="*/ 2562 w 10785"/>
                <a:gd name="connsiteY1939" fmla="*/ 3145 h 10000"/>
                <a:gd name="connsiteX1940" fmla="*/ 2567 w 10785"/>
                <a:gd name="connsiteY1940" fmla="*/ 3179 h 10000"/>
                <a:gd name="connsiteX1941" fmla="*/ 2590 w 10785"/>
                <a:gd name="connsiteY1941" fmla="*/ 3171 h 10000"/>
                <a:gd name="connsiteX1942" fmla="*/ 2594 w 10785"/>
                <a:gd name="connsiteY1942" fmla="*/ 3145 h 10000"/>
                <a:gd name="connsiteX1943" fmla="*/ 2613 w 10785"/>
                <a:gd name="connsiteY1943" fmla="*/ 3154 h 10000"/>
                <a:gd name="connsiteX1944" fmla="*/ 2622 w 10785"/>
                <a:gd name="connsiteY1944" fmla="*/ 3179 h 10000"/>
                <a:gd name="connsiteX1945" fmla="*/ 2613 w 10785"/>
                <a:gd name="connsiteY1945" fmla="*/ 3214 h 10000"/>
                <a:gd name="connsiteX1946" fmla="*/ 2613 w 10785"/>
                <a:gd name="connsiteY1946" fmla="*/ 3308 h 10000"/>
                <a:gd name="connsiteX1947" fmla="*/ 2608 w 10785"/>
                <a:gd name="connsiteY1947" fmla="*/ 3325 h 10000"/>
                <a:gd name="connsiteX1948" fmla="*/ 2608 w 10785"/>
                <a:gd name="connsiteY1948" fmla="*/ 3376 h 10000"/>
                <a:gd name="connsiteX1949" fmla="*/ 2613 w 10785"/>
                <a:gd name="connsiteY1949" fmla="*/ 3419 h 10000"/>
                <a:gd name="connsiteX1950" fmla="*/ 2608 w 10785"/>
                <a:gd name="connsiteY1950" fmla="*/ 3444 h 10000"/>
                <a:gd name="connsiteX1951" fmla="*/ 2594 w 10785"/>
                <a:gd name="connsiteY1951" fmla="*/ 3444 h 10000"/>
                <a:gd name="connsiteX1952" fmla="*/ 2590 w 10785"/>
                <a:gd name="connsiteY1952" fmla="*/ 3427 h 10000"/>
                <a:gd name="connsiteX1953" fmla="*/ 2581 w 10785"/>
                <a:gd name="connsiteY1953" fmla="*/ 3564 h 10000"/>
                <a:gd name="connsiteX1954" fmla="*/ 2594 w 10785"/>
                <a:gd name="connsiteY1954" fmla="*/ 3598 h 10000"/>
                <a:gd name="connsiteX1955" fmla="*/ 2594 w 10785"/>
                <a:gd name="connsiteY1955" fmla="*/ 3581 h 10000"/>
                <a:gd name="connsiteX1956" fmla="*/ 2608 w 10785"/>
                <a:gd name="connsiteY1956" fmla="*/ 3556 h 10000"/>
                <a:gd name="connsiteX1957" fmla="*/ 2650 w 10785"/>
                <a:gd name="connsiteY1957" fmla="*/ 3615 h 10000"/>
                <a:gd name="connsiteX1958" fmla="*/ 2664 w 10785"/>
                <a:gd name="connsiteY1958" fmla="*/ 3615 h 10000"/>
                <a:gd name="connsiteX1959" fmla="*/ 2668 w 10785"/>
                <a:gd name="connsiteY1959" fmla="*/ 3615 h 10000"/>
                <a:gd name="connsiteX1960" fmla="*/ 2664 w 10785"/>
                <a:gd name="connsiteY1960" fmla="*/ 3667 h 10000"/>
                <a:gd name="connsiteX1961" fmla="*/ 2687 w 10785"/>
                <a:gd name="connsiteY1961" fmla="*/ 3786 h 10000"/>
                <a:gd name="connsiteX1962" fmla="*/ 2710 w 10785"/>
                <a:gd name="connsiteY1962" fmla="*/ 3812 h 10000"/>
                <a:gd name="connsiteX1963" fmla="*/ 2724 w 10785"/>
                <a:gd name="connsiteY1963" fmla="*/ 3812 h 10000"/>
                <a:gd name="connsiteX1964" fmla="*/ 2724 w 10785"/>
                <a:gd name="connsiteY1964" fmla="*/ 3829 h 10000"/>
                <a:gd name="connsiteX1965" fmla="*/ 2737 w 10785"/>
                <a:gd name="connsiteY1965" fmla="*/ 3838 h 10000"/>
                <a:gd name="connsiteX1966" fmla="*/ 2714 w 10785"/>
                <a:gd name="connsiteY1966" fmla="*/ 3872 h 10000"/>
                <a:gd name="connsiteX1967" fmla="*/ 2696 w 10785"/>
                <a:gd name="connsiteY1967" fmla="*/ 4026 h 10000"/>
                <a:gd name="connsiteX1968" fmla="*/ 2673 w 10785"/>
                <a:gd name="connsiteY1968" fmla="*/ 4051 h 10000"/>
                <a:gd name="connsiteX1969" fmla="*/ 2668 w 10785"/>
                <a:gd name="connsiteY1969" fmla="*/ 4034 h 10000"/>
                <a:gd name="connsiteX1970" fmla="*/ 2673 w 10785"/>
                <a:gd name="connsiteY1970" fmla="*/ 4000 h 10000"/>
                <a:gd name="connsiteX1971" fmla="*/ 2664 w 10785"/>
                <a:gd name="connsiteY1971" fmla="*/ 3974 h 10000"/>
                <a:gd name="connsiteX1972" fmla="*/ 2636 w 10785"/>
                <a:gd name="connsiteY1972" fmla="*/ 3949 h 10000"/>
                <a:gd name="connsiteX1973" fmla="*/ 2581 w 10785"/>
                <a:gd name="connsiteY1973" fmla="*/ 3838 h 10000"/>
                <a:gd name="connsiteX1974" fmla="*/ 2562 w 10785"/>
                <a:gd name="connsiteY1974" fmla="*/ 3829 h 10000"/>
                <a:gd name="connsiteX1975" fmla="*/ 2535 w 10785"/>
                <a:gd name="connsiteY1975" fmla="*/ 3778 h 10000"/>
                <a:gd name="connsiteX1976" fmla="*/ 2502 w 10785"/>
                <a:gd name="connsiteY1976" fmla="*/ 3761 h 10000"/>
                <a:gd name="connsiteX1977" fmla="*/ 2502 w 10785"/>
                <a:gd name="connsiteY1977" fmla="*/ 3735 h 10000"/>
                <a:gd name="connsiteX1978" fmla="*/ 2516 w 10785"/>
                <a:gd name="connsiteY1978" fmla="*/ 3735 h 10000"/>
                <a:gd name="connsiteX1979" fmla="*/ 2507 w 10785"/>
                <a:gd name="connsiteY1979" fmla="*/ 3726 h 10000"/>
                <a:gd name="connsiteX1980" fmla="*/ 2488 w 10785"/>
                <a:gd name="connsiteY1980" fmla="*/ 3726 h 10000"/>
                <a:gd name="connsiteX1981" fmla="*/ 2461 w 10785"/>
                <a:gd name="connsiteY1981" fmla="*/ 3692 h 10000"/>
                <a:gd name="connsiteX1982" fmla="*/ 2442 w 10785"/>
                <a:gd name="connsiteY1982" fmla="*/ 3675 h 10000"/>
                <a:gd name="connsiteX1983" fmla="*/ 2406 w 10785"/>
                <a:gd name="connsiteY1983" fmla="*/ 3598 h 10000"/>
                <a:gd name="connsiteX1984" fmla="*/ 2346 w 10785"/>
                <a:gd name="connsiteY1984" fmla="*/ 3564 h 10000"/>
                <a:gd name="connsiteX1985" fmla="*/ 2341 w 10785"/>
                <a:gd name="connsiteY1985" fmla="*/ 3564 h 10000"/>
                <a:gd name="connsiteX1986" fmla="*/ 2313 w 10785"/>
                <a:gd name="connsiteY1986" fmla="*/ 3530 h 10000"/>
                <a:gd name="connsiteX1987" fmla="*/ 2235 w 10785"/>
                <a:gd name="connsiteY1987" fmla="*/ 3530 h 10000"/>
                <a:gd name="connsiteX1988" fmla="*/ 2226 w 10785"/>
                <a:gd name="connsiteY1988" fmla="*/ 3513 h 10000"/>
                <a:gd name="connsiteX1989" fmla="*/ 2207 w 10785"/>
                <a:gd name="connsiteY1989" fmla="*/ 3504 h 10000"/>
                <a:gd name="connsiteX1990" fmla="*/ 2194 w 10785"/>
                <a:gd name="connsiteY1990" fmla="*/ 3504 h 10000"/>
                <a:gd name="connsiteX1991" fmla="*/ 2189 w 10785"/>
                <a:gd name="connsiteY1991" fmla="*/ 3504 h 10000"/>
                <a:gd name="connsiteX1992" fmla="*/ 2189 w 10785"/>
                <a:gd name="connsiteY1992" fmla="*/ 3530 h 10000"/>
                <a:gd name="connsiteX1993" fmla="*/ 2180 w 10785"/>
                <a:gd name="connsiteY1993" fmla="*/ 3538 h 10000"/>
                <a:gd name="connsiteX1994" fmla="*/ 2152 w 10785"/>
                <a:gd name="connsiteY1994" fmla="*/ 3581 h 10000"/>
                <a:gd name="connsiteX1995" fmla="*/ 2161 w 10785"/>
                <a:gd name="connsiteY1995" fmla="*/ 3598 h 10000"/>
                <a:gd name="connsiteX1996" fmla="*/ 2194 w 10785"/>
                <a:gd name="connsiteY1996" fmla="*/ 3752 h 10000"/>
                <a:gd name="connsiteX1997" fmla="*/ 2194 w 10785"/>
                <a:gd name="connsiteY1997" fmla="*/ 3735 h 10000"/>
                <a:gd name="connsiteX1998" fmla="*/ 2198 w 10785"/>
                <a:gd name="connsiteY1998" fmla="*/ 3735 h 10000"/>
                <a:gd name="connsiteX1999" fmla="*/ 2189 w 10785"/>
                <a:gd name="connsiteY1999" fmla="*/ 3838 h 10000"/>
                <a:gd name="connsiteX2000" fmla="*/ 2166 w 10785"/>
                <a:gd name="connsiteY2000" fmla="*/ 3889 h 10000"/>
                <a:gd name="connsiteX2001" fmla="*/ 2124 w 10785"/>
                <a:gd name="connsiteY2001" fmla="*/ 3889 h 10000"/>
                <a:gd name="connsiteX2002" fmla="*/ 2124 w 10785"/>
                <a:gd name="connsiteY2002" fmla="*/ 3923 h 10000"/>
                <a:gd name="connsiteX2003" fmla="*/ 2134 w 10785"/>
                <a:gd name="connsiteY2003" fmla="*/ 3940 h 10000"/>
                <a:gd name="connsiteX2004" fmla="*/ 2134 w 10785"/>
                <a:gd name="connsiteY2004" fmla="*/ 3966 h 10000"/>
                <a:gd name="connsiteX2005" fmla="*/ 2120 w 10785"/>
                <a:gd name="connsiteY2005" fmla="*/ 4000 h 10000"/>
                <a:gd name="connsiteX2006" fmla="*/ 2106 w 10785"/>
                <a:gd name="connsiteY2006" fmla="*/ 4009 h 10000"/>
                <a:gd name="connsiteX2007" fmla="*/ 2088 w 10785"/>
                <a:gd name="connsiteY2007" fmla="*/ 4000 h 10000"/>
                <a:gd name="connsiteX2008" fmla="*/ 2074 w 10785"/>
                <a:gd name="connsiteY2008" fmla="*/ 3974 h 10000"/>
                <a:gd name="connsiteX2009" fmla="*/ 2074 w 10785"/>
                <a:gd name="connsiteY2009" fmla="*/ 3940 h 10000"/>
                <a:gd name="connsiteX2010" fmla="*/ 2078 w 10785"/>
                <a:gd name="connsiteY2010" fmla="*/ 3915 h 10000"/>
                <a:gd name="connsiteX2011" fmla="*/ 2088 w 10785"/>
                <a:gd name="connsiteY2011" fmla="*/ 3889 h 10000"/>
                <a:gd name="connsiteX2012" fmla="*/ 2101 w 10785"/>
                <a:gd name="connsiteY2012" fmla="*/ 3872 h 10000"/>
                <a:gd name="connsiteX2013" fmla="*/ 2074 w 10785"/>
                <a:gd name="connsiteY2013" fmla="*/ 3812 h 10000"/>
                <a:gd name="connsiteX2014" fmla="*/ 2074 w 10785"/>
                <a:gd name="connsiteY2014" fmla="*/ 3786 h 10000"/>
                <a:gd name="connsiteX2015" fmla="*/ 2060 w 10785"/>
                <a:gd name="connsiteY2015" fmla="*/ 3786 h 10000"/>
                <a:gd name="connsiteX2016" fmla="*/ 2014 w 10785"/>
                <a:gd name="connsiteY2016" fmla="*/ 3829 h 10000"/>
                <a:gd name="connsiteX2017" fmla="*/ 2000 w 10785"/>
                <a:gd name="connsiteY2017" fmla="*/ 3863 h 10000"/>
                <a:gd name="connsiteX2018" fmla="*/ 1986 w 10785"/>
                <a:gd name="connsiteY2018" fmla="*/ 3872 h 10000"/>
                <a:gd name="connsiteX2019" fmla="*/ 1959 w 10785"/>
                <a:gd name="connsiteY2019" fmla="*/ 3940 h 10000"/>
                <a:gd name="connsiteX2020" fmla="*/ 1945 w 10785"/>
                <a:gd name="connsiteY2020" fmla="*/ 3949 h 10000"/>
                <a:gd name="connsiteX2021" fmla="*/ 1940 w 10785"/>
                <a:gd name="connsiteY2021" fmla="*/ 3923 h 10000"/>
                <a:gd name="connsiteX2022" fmla="*/ 1917 w 10785"/>
                <a:gd name="connsiteY2022" fmla="*/ 3915 h 10000"/>
                <a:gd name="connsiteX2023" fmla="*/ 1899 w 10785"/>
                <a:gd name="connsiteY2023" fmla="*/ 3923 h 10000"/>
                <a:gd name="connsiteX2024" fmla="*/ 1880 w 10785"/>
                <a:gd name="connsiteY2024" fmla="*/ 3915 h 10000"/>
                <a:gd name="connsiteX2025" fmla="*/ 1853 w 10785"/>
                <a:gd name="connsiteY2025" fmla="*/ 3940 h 10000"/>
                <a:gd name="connsiteX2026" fmla="*/ 1839 w 10785"/>
                <a:gd name="connsiteY2026" fmla="*/ 3940 h 10000"/>
                <a:gd name="connsiteX2027" fmla="*/ 1806 w 10785"/>
                <a:gd name="connsiteY2027" fmla="*/ 3983 h 10000"/>
                <a:gd name="connsiteX2028" fmla="*/ 1806 w 10785"/>
                <a:gd name="connsiteY2028" fmla="*/ 4000 h 10000"/>
                <a:gd name="connsiteX2029" fmla="*/ 1797 w 10785"/>
                <a:gd name="connsiteY2029" fmla="*/ 4077 h 10000"/>
                <a:gd name="connsiteX2030" fmla="*/ 1783 w 10785"/>
                <a:gd name="connsiteY2030" fmla="*/ 4077 h 10000"/>
                <a:gd name="connsiteX2031" fmla="*/ 1779 w 10785"/>
                <a:gd name="connsiteY2031" fmla="*/ 4051 h 10000"/>
                <a:gd name="connsiteX2032" fmla="*/ 1765 w 10785"/>
                <a:gd name="connsiteY2032" fmla="*/ 4026 h 10000"/>
                <a:gd name="connsiteX2033" fmla="*/ 1751 w 10785"/>
                <a:gd name="connsiteY2033" fmla="*/ 4051 h 10000"/>
                <a:gd name="connsiteX2034" fmla="*/ 1737 w 10785"/>
                <a:gd name="connsiteY2034" fmla="*/ 4009 h 10000"/>
                <a:gd name="connsiteX2035" fmla="*/ 1737 w 10785"/>
                <a:gd name="connsiteY2035" fmla="*/ 3966 h 10000"/>
                <a:gd name="connsiteX2036" fmla="*/ 1733 w 10785"/>
                <a:gd name="connsiteY2036" fmla="*/ 3940 h 10000"/>
                <a:gd name="connsiteX2037" fmla="*/ 1733 w 10785"/>
                <a:gd name="connsiteY2037" fmla="*/ 3923 h 10000"/>
                <a:gd name="connsiteX2038" fmla="*/ 1747 w 10785"/>
                <a:gd name="connsiteY2038" fmla="*/ 3889 h 10000"/>
                <a:gd name="connsiteX2039" fmla="*/ 1747 w 10785"/>
                <a:gd name="connsiteY2039" fmla="*/ 3863 h 10000"/>
                <a:gd name="connsiteX2040" fmla="*/ 1737 w 10785"/>
                <a:gd name="connsiteY2040" fmla="*/ 3838 h 10000"/>
                <a:gd name="connsiteX2041" fmla="*/ 1733 w 10785"/>
                <a:gd name="connsiteY2041" fmla="*/ 3829 h 10000"/>
                <a:gd name="connsiteX2042" fmla="*/ 1733 w 10785"/>
                <a:gd name="connsiteY2042" fmla="*/ 3846 h 10000"/>
                <a:gd name="connsiteX2043" fmla="*/ 1724 w 10785"/>
                <a:gd name="connsiteY2043" fmla="*/ 3846 h 10000"/>
                <a:gd name="connsiteX2044" fmla="*/ 1724 w 10785"/>
                <a:gd name="connsiteY2044" fmla="*/ 3829 h 10000"/>
                <a:gd name="connsiteX2045" fmla="*/ 1737 w 10785"/>
                <a:gd name="connsiteY2045" fmla="*/ 3812 h 10000"/>
                <a:gd name="connsiteX2046" fmla="*/ 1765 w 10785"/>
                <a:gd name="connsiteY2046" fmla="*/ 3812 h 10000"/>
                <a:gd name="connsiteX2047" fmla="*/ 1779 w 10785"/>
                <a:gd name="connsiteY2047" fmla="*/ 3786 h 10000"/>
                <a:gd name="connsiteX2048" fmla="*/ 1779 w 10785"/>
                <a:gd name="connsiteY2048" fmla="*/ 3786 h 10000"/>
                <a:gd name="connsiteX2049" fmla="*/ 1751 w 10785"/>
                <a:gd name="connsiteY2049" fmla="*/ 3803 h 10000"/>
                <a:gd name="connsiteX2050" fmla="*/ 1747 w 10785"/>
                <a:gd name="connsiteY2050" fmla="*/ 3803 h 10000"/>
                <a:gd name="connsiteX2051" fmla="*/ 1724 w 10785"/>
                <a:gd name="connsiteY2051" fmla="*/ 3803 h 10000"/>
                <a:gd name="connsiteX2052" fmla="*/ 1700 w 10785"/>
                <a:gd name="connsiteY2052" fmla="*/ 3829 h 10000"/>
                <a:gd name="connsiteX2053" fmla="*/ 1705 w 10785"/>
                <a:gd name="connsiteY2053" fmla="*/ 3846 h 10000"/>
                <a:gd name="connsiteX2054" fmla="*/ 1691 w 10785"/>
                <a:gd name="connsiteY2054" fmla="*/ 3846 h 10000"/>
                <a:gd name="connsiteX2055" fmla="*/ 1691 w 10785"/>
                <a:gd name="connsiteY2055" fmla="*/ 3863 h 10000"/>
                <a:gd name="connsiteX2056" fmla="*/ 1691 w 10785"/>
                <a:gd name="connsiteY2056" fmla="*/ 3915 h 10000"/>
                <a:gd name="connsiteX2057" fmla="*/ 1677 w 10785"/>
                <a:gd name="connsiteY2057" fmla="*/ 3923 h 10000"/>
                <a:gd name="connsiteX2058" fmla="*/ 1673 w 10785"/>
                <a:gd name="connsiteY2058" fmla="*/ 3915 h 10000"/>
                <a:gd name="connsiteX2059" fmla="*/ 1664 w 10785"/>
                <a:gd name="connsiteY2059" fmla="*/ 3889 h 10000"/>
                <a:gd name="connsiteX2060" fmla="*/ 1673 w 10785"/>
                <a:gd name="connsiteY2060" fmla="*/ 3872 h 10000"/>
                <a:gd name="connsiteX2061" fmla="*/ 1664 w 10785"/>
                <a:gd name="connsiteY2061" fmla="*/ 3872 h 10000"/>
                <a:gd name="connsiteX2062" fmla="*/ 1636 w 10785"/>
                <a:gd name="connsiteY2062" fmla="*/ 3923 h 10000"/>
                <a:gd name="connsiteX2063" fmla="*/ 1645 w 10785"/>
                <a:gd name="connsiteY2063" fmla="*/ 3923 h 10000"/>
                <a:gd name="connsiteX2064" fmla="*/ 1650 w 10785"/>
                <a:gd name="connsiteY2064" fmla="*/ 3949 h 10000"/>
                <a:gd name="connsiteX2065" fmla="*/ 1650 w 10785"/>
                <a:gd name="connsiteY2065" fmla="*/ 3983 h 10000"/>
                <a:gd name="connsiteX2066" fmla="*/ 1636 w 10785"/>
                <a:gd name="connsiteY2066" fmla="*/ 4000 h 10000"/>
                <a:gd name="connsiteX2067" fmla="*/ 1631 w 10785"/>
                <a:gd name="connsiteY2067" fmla="*/ 4009 h 10000"/>
                <a:gd name="connsiteX2068" fmla="*/ 1618 w 10785"/>
                <a:gd name="connsiteY2068" fmla="*/ 3949 h 10000"/>
                <a:gd name="connsiteX2069" fmla="*/ 1585 w 10785"/>
                <a:gd name="connsiteY2069" fmla="*/ 3966 h 10000"/>
                <a:gd name="connsiteX2070" fmla="*/ 1590 w 10785"/>
                <a:gd name="connsiteY2070" fmla="*/ 3974 h 10000"/>
                <a:gd name="connsiteX2071" fmla="*/ 1544 w 10785"/>
                <a:gd name="connsiteY2071" fmla="*/ 4009 h 10000"/>
                <a:gd name="connsiteX2072" fmla="*/ 1539 w 10785"/>
                <a:gd name="connsiteY2072" fmla="*/ 4009 h 10000"/>
                <a:gd name="connsiteX2073" fmla="*/ 1410 w 10785"/>
                <a:gd name="connsiteY2073" fmla="*/ 4188 h 10000"/>
                <a:gd name="connsiteX2074" fmla="*/ 1406 w 10785"/>
                <a:gd name="connsiteY2074" fmla="*/ 4171 h 10000"/>
                <a:gd name="connsiteX2075" fmla="*/ 1396 w 10785"/>
                <a:gd name="connsiteY2075" fmla="*/ 4214 h 10000"/>
                <a:gd name="connsiteX2076" fmla="*/ 1406 w 10785"/>
                <a:gd name="connsiteY2076" fmla="*/ 4222 h 10000"/>
                <a:gd name="connsiteX2077" fmla="*/ 1392 w 10785"/>
                <a:gd name="connsiteY2077" fmla="*/ 4239 h 10000"/>
                <a:gd name="connsiteX2078" fmla="*/ 1369 w 10785"/>
                <a:gd name="connsiteY2078" fmla="*/ 4248 h 10000"/>
                <a:gd name="connsiteX2079" fmla="*/ 1355 w 10785"/>
                <a:gd name="connsiteY2079" fmla="*/ 4256 h 10000"/>
                <a:gd name="connsiteX2080" fmla="*/ 1350 w 10785"/>
                <a:gd name="connsiteY2080" fmla="*/ 4248 h 10000"/>
                <a:gd name="connsiteX2081" fmla="*/ 1332 w 10785"/>
                <a:gd name="connsiteY2081" fmla="*/ 4376 h 10000"/>
                <a:gd name="connsiteX2082" fmla="*/ 1332 w 10785"/>
                <a:gd name="connsiteY2082" fmla="*/ 4436 h 10000"/>
                <a:gd name="connsiteX2083" fmla="*/ 1323 w 10785"/>
                <a:gd name="connsiteY2083" fmla="*/ 4462 h 10000"/>
                <a:gd name="connsiteX2084" fmla="*/ 1304 w 10785"/>
                <a:gd name="connsiteY2084" fmla="*/ 4487 h 10000"/>
                <a:gd name="connsiteX2085" fmla="*/ 1290 w 10785"/>
                <a:gd name="connsiteY2085" fmla="*/ 4470 h 10000"/>
                <a:gd name="connsiteX2086" fmla="*/ 1263 w 10785"/>
                <a:gd name="connsiteY2086" fmla="*/ 4496 h 10000"/>
                <a:gd name="connsiteX2087" fmla="*/ 1258 w 10785"/>
                <a:gd name="connsiteY2087" fmla="*/ 4547 h 10000"/>
                <a:gd name="connsiteX2088" fmla="*/ 1249 w 10785"/>
                <a:gd name="connsiteY2088" fmla="*/ 4487 h 10000"/>
                <a:gd name="connsiteX2089" fmla="*/ 1235 w 10785"/>
                <a:gd name="connsiteY2089" fmla="*/ 4496 h 10000"/>
                <a:gd name="connsiteX2090" fmla="*/ 1221 w 10785"/>
                <a:gd name="connsiteY2090" fmla="*/ 4496 h 10000"/>
                <a:gd name="connsiteX2091" fmla="*/ 1217 w 10785"/>
                <a:gd name="connsiteY2091" fmla="*/ 4487 h 10000"/>
                <a:gd name="connsiteX2092" fmla="*/ 1198 w 10785"/>
                <a:gd name="connsiteY2092" fmla="*/ 4410 h 10000"/>
                <a:gd name="connsiteX2093" fmla="*/ 1157 w 10785"/>
                <a:gd name="connsiteY2093" fmla="*/ 4333 h 10000"/>
                <a:gd name="connsiteX2094" fmla="*/ 1147 w 10785"/>
                <a:gd name="connsiteY2094" fmla="*/ 4299 h 10000"/>
                <a:gd name="connsiteX2095" fmla="*/ 1147 w 10785"/>
                <a:gd name="connsiteY2095" fmla="*/ 4274 h 10000"/>
                <a:gd name="connsiteX2096" fmla="*/ 1161 w 10785"/>
                <a:gd name="connsiteY2096" fmla="*/ 4256 h 10000"/>
                <a:gd name="connsiteX2097" fmla="*/ 1171 w 10785"/>
                <a:gd name="connsiteY2097" fmla="*/ 4248 h 10000"/>
                <a:gd name="connsiteX2098" fmla="*/ 1175 w 10785"/>
                <a:gd name="connsiteY2098" fmla="*/ 4214 h 10000"/>
                <a:gd name="connsiteX2099" fmla="*/ 1263 w 10785"/>
                <a:gd name="connsiteY2099" fmla="*/ 4171 h 10000"/>
                <a:gd name="connsiteX2100" fmla="*/ 1249 w 10785"/>
                <a:gd name="connsiteY2100" fmla="*/ 4137 h 10000"/>
                <a:gd name="connsiteX2101" fmla="*/ 1244 w 10785"/>
                <a:gd name="connsiteY2101" fmla="*/ 4060 h 10000"/>
                <a:gd name="connsiteX2102" fmla="*/ 1230 w 10785"/>
                <a:gd name="connsiteY2102" fmla="*/ 4077 h 10000"/>
                <a:gd name="connsiteX2103" fmla="*/ 1221 w 10785"/>
                <a:gd name="connsiteY2103" fmla="*/ 4026 h 10000"/>
                <a:gd name="connsiteX2104" fmla="*/ 1217 w 10785"/>
                <a:gd name="connsiteY2104" fmla="*/ 4026 h 10000"/>
                <a:gd name="connsiteX2105" fmla="*/ 1212 w 10785"/>
                <a:gd name="connsiteY2105" fmla="*/ 3983 h 10000"/>
                <a:gd name="connsiteX2106" fmla="*/ 1203 w 10785"/>
                <a:gd name="connsiteY2106" fmla="*/ 3966 h 10000"/>
                <a:gd name="connsiteX2107" fmla="*/ 1171 w 10785"/>
                <a:gd name="connsiteY2107" fmla="*/ 3949 h 10000"/>
                <a:gd name="connsiteX2108" fmla="*/ 1111 w 10785"/>
                <a:gd name="connsiteY2108" fmla="*/ 3940 h 10000"/>
                <a:gd name="connsiteX2109" fmla="*/ 1097 w 10785"/>
                <a:gd name="connsiteY2109" fmla="*/ 3949 h 10000"/>
                <a:gd name="connsiteX2110" fmla="*/ 1037 w 10785"/>
                <a:gd name="connsiteY2110" fmla="*/ 3897 h 10000"/>
                <a:gd name="connsiteX2111" fmla="*/ 1041 w 10785"/>
                <a:gd name="connsiteY2111" fmla="*/ 3923 h 10000"/>
                <a:gd name="connsiteX2112" fmla="*/ 1097 w 10785"/>
                <a:gd name="connsiteY2112" fmla="*/ 4009 h 10000"/>
                <a:gd name="connsiteX2113" fmla="*/ 1097 w 10785"/>
                <a:gd name="connsiteY2113" fmla="*/ 4120 h 10000"/>
                <a:gd name="connsiteX2114" fmla="*/ 1097 w 10785"/>
                <a:gd name="connsiteY2114" fmla="*/ 4162 h 10000"/>
                <a:gd name="connsiteX2115" fmla="*/ 1097 w 10785"/>
                <a:gd name="connsiteY2115" fmla="*/ 4197 h 10000"/>
                <a:gd name="connsiteX2116" fmla="*/ 1074 w 10785"/>
                <a:gd name="connsiteY2116" fmla="*/ 4333 h 10000"/>
                <a:gd name="connsiteX2117" fmla="*/ 1074 w 10785"/>
                <a:gd name="connsiteY2117" fmla="*/ 4376 h 10000"/>
                <a:gd name="connsiteX2118" fmla="*/ 1083 w 10785"/>
                <a:gd name="connsiteY2118" fmla="*/ 4385 h 10000"/>
                <a:gd name="connsiteX2119" fmla="*/ 1097 w 10785"/>
                <a:gd name="connsiteY2119" fmla="*/ 4385 h 10000"/>
                <a:gd name="connsiteX2120" fmla="*/ 1111 w 10785"/>
                <a:gd name="connsiteY2120" fmla="*/ 4410 h 10000"/>
                <a:gd name="connsiteX2121" fmla="*/ 1124 w 10785"/>
                <a:gd name="connsiteY2121" fmla="*/ 4444 h 10000"/>
                <a:gd name="connsiteX2122" fmla="*/ 1124 w 10785"/>
                <a:gd name="connsiteY2122" fmla="*/ 4470 h 10000"/>
                <a:gd name="connsiteX2123" fmla="*/ 1115 w 10785"/>
                <a:gd name="connsiteY2123" fmla="*/ 4513 h 10000"/>
                <a:gd name="connsiteX2124" fmla="*/ 1115 w 10785"/>
                <a:gd name="connsiteY2124" fmla="*/ 4530 h 10000"/>
                <a:gd name="connsiteX2125" fmla="*/ 1115 w 10785"/>
                <a:gd name="connsiteY2125" fmla="*/ 4573 h 10000"/>
                <a:gd name="connsiteX2126" fmla="*/ 1101 w 10785"/>
                <a:gd name="connsiteY2126" fmla="*/ 4607 h 10000"/>
                <a:gd name="connsiteX2127" fmla="*/ 1097 w 10785"/>
                <a:gd name="connsiteY2127" fmla="*/ 4658 h 10000"/>
                <a:gd name="connsiteX2128" fmla="*/ 1101 w 10785"/>
                <a:gd name="connsiteY2128" fmla="*/ 4692 h 10000"/>
                <a:gd name="connsiteX2129" fmla="*/ 1097 w 10785"/>
                <a:gd name="connsiteY2129" fmla="*/ 4778 h 10000"/>
                <a:gd name="connsiteX2130" fmla="*/ 1083 w 10785"/>
                <a:gd name="connsiteY2130" fmla="*/ 4744 h 10000"/>
                <a:gd name="connsiteX2131" fmla="*/ 1083 w 10785"/>
                <a:gd name="connsiteY2131" fmla="*/ 4718 h 10000"/>
                <a:gd name="connsiteX2132" fmla="*/ 1074 w 10785"/>
                <a:gd name="connsiteY2132" fmla="*/ 4692 h 10000"/>
                <a:gd name="connsiteX2133" fmla="*/ 1065 w 10785"/>
                <a:gd name="connsiteY2133" fmla="*/ 4692 h 10000"/>
                <a:gd name="connsiteX2134" fmla="*/ 1051 w 10785"/>
                <a:gd name="connsiteY2134" fmla="*/ 4718 h 10000"/>
                <a:gd name="connsiteX2135" fmla="*/ 1055 w 10785"/>
                <a:gd name="connsiteY2135" fmla="*/ 4692 h 10000"/>
                <a:gd name="connsiteX2136" fmla="*/ 1055 w 10785"/>
                <a:gd name="connsiteY2136" fmla="*/ 4667 h 10000"/>
                <a:gd name="connsiteX2137" fmla="*/ 1028 w 10785"/>
                <a:gd name="connsiteY2137" fmla="*/ 4624 h 10000"/>
                <a:gd name="connsiteX2138" fmla="*/ 1005 w 10785"/>
                <a:gd name="connsiteY2138" fmla="*/ 4624 h 10000"/>
                <a:gd name="connsiteX2139" fmla="*/ 977 w 10785"/>
                <a:gd name="connsiteY2139" fmla="*/ 4581 h 10000"/>
                <a:gd name="connsiteX2140" fmla="*/ 963 w 10785"/>
                <a:gd name="connsiteY2140" fmla="*/ 4607 h 10000"/>
                <a:gd name="connsiteX2141" fmla="*/ 963 w 10785"/>
                <a:gd name="connsiteY2141" fmla="*/ 4632 h 10000"/>
                <a:gd name="connsiteX2142" fmla="*/ 917 w 10785"/>
                <a:gd name="connsiteY2142" fmla="*/ 4718 h 10000"/>
                <a:gd name="connsiteX2143" fmla="*/ 889 w 10785"/>
                <a:gd name="connsiteY2143" fmla="*/ 4744 h 10000"/>
                <a:gd name="connsiteX2144" fmla="*/ 880 w 10785"/>
                <a:gd name="connsiteY2144" fmla="*/ 4744 h 10000"/>
                <a:gd name="connsiteX2145" fmla="*/ 862 w 10785"/>
                <a:gd name="connsiteY2145" fmla="*/ 4769 h 10000"/>
                <a:gd name="connsiteX2146" fmla="*/ 857 w 10785"/>
                <a:gd name="connsiteY2146" fmla="*/ 4795 h 10000"/>
                <a:gd name="connsiteX2147" fmla="*/ 829 w 10785"/>
                <a:gd name="connsiteY2147" fmla="*/ 4846 h 10000"/>
                <a:gd name="connsiteX2148" fmla="*/ 816 w 10785"/>
                <a:gd name="connsiteY2148" fmla="*/ 4855 h 10000"/>
                <a:gd name="connsiteX2149" fmla="*/ 816 w 10785"/>
                <a:gd name="connsiteY2149" fmla="*/ 4940 h 10000"/>
                <a:gd name="connsiteX2150" fmla="*/ 880 w 10785"/>
                <a:gd name="connsiteY2150" fmla="*/ 5179 h 10000"/>
                <a:gd name="connsiteX2151" fmla="*/ 880 w 10785"/>
                <a:gd name="connsiteY2151" fmla="*/ 5188 h 10000"/>
                <a:gd name="connsiteX2152" fmla="*/ 862 w 10785"/>
                <a:gd name="connsiteY2152" fmla="*/ 5171 h 10000"/>
                <a:gd name="connsiteX2153" fmla="*/ 857 w 10785"/>
                <a:gd name="connsiteY2153" fmla="*/ 5171 h 10000"/>
                <a:gd name="connsiteX2154" fmla="*/ 820 w 10785"/>
                <a:gd name="connsiteY2154" fmla="*/ 5145 h 10000"/>
                <a:gd name="connsiteX2155" fmla="*/ 820 w 10785"/>
                <a:gd name="connsiteY2155" fmla="*/ 5154 h 10000"/>
                <a:gd name="connsiteX2156" fmla="*/ 816 w 10785"/>
                <a:gd name="connsiteY2156" fmla="*/ 5171 h 10000"/>
                <a:gd name="connsiteX2157" fmla="*/ 783 w 10785"/>
                <a:gd name="connsiteY2157" fmla="*/ 5145 h 10000"/>
                <a:gd name="connsiteX2158" fmla="*/ 756 w 10785"/>
                <a:gd name="connsiteY2158" fmla="*/ 5103 h 10000"/>
                <a:gd name="connsiteX2159" fmla="*/ 742 w 10785"/>
                <a:gd name="connsiteY2159" fmla="*/ 5103 h 10000"/>
                <a:gd name="connsiteX2160" fmla="*/ 728 w 10785"/>
                <a:gd name="connsiteY2160" fmla="*/ 5094 h 10000"/>
                <a:gd name="connsiteX2161" fmla="*/ 710 w 10785"/>
                <a:gd name="connsiteY2161" fmla="*/ 5120 h 10000"/>
                <a:gd name="connsiteX2162" fmla="*/ 700 w 10785"/>
                <a:gd name="connsiteY2162" fmla="*/ 5145 h 10000"/>
                <a:gd name="connsiteX2163" fmla="*/ 696 w 10785"/>
                <a:gd name="connsiteY2163" fmla="*/ 5103 h 10000"/>
                <a:gd name="connsiteX2164" fmla="*/ 714 w 10785"/>
                <a:gd name="connsiteY2164" fmla="*/ 5077 h 10000"/>
                <a:gd name="connsiteX2165" fmla="*/ 682 w 10785"/>
                <a:gd name="connsiteY2165" fmla="*/ 5068 h 10000"/>
                <a:gd name="connsiteX2166" fmla="*/ 673 w 10785"/>
                <a:gd name="connsiteY2166" fmla="*/ 5034 h 10000"/>
                <a:gd name="connsiteX2167" fmla="*/ 636 w 10785"/>
                <a:gd name="connsiteY2167" fmla="*/ 4991 h 10000"/>
                <a:gd name="connsiteX2168" fmla="*/ 622 w 10785"/>
                <a:gd name="connsiteY2168" fmla="*/ 4983 h 10000"/>
                <a:gd name="connsiteX2169" fmla="*/ 622 w 10785"/>
                <a:gd name="connsiteY2169" fmla="*/ 5034 h 10000"/>
                <a:gd name="connsiteX2170" fmla="*/ 608 w 10785"/>
                <a:gd name="connsiteY2170" fmla="*/ 5051 h 10000"/>
                <a:gd name="connsiteX2171" fmla="*/ 594 w 10785"/>
                <a:gd name="connsiteY2171" fmla="*/ 5068 h 10000"/>
                <a:gd name="connsiteX2172" fmla="*/ 608 w 10785"/>
                <a:gd name="connsiteY2172" fmla="*/ 5120 h 10000"/>
                <a:gd name="connsiteX2173" fmla="*/ 613 w 10785"/>
                <a:gd name="connsiteY2173" fmla="*/ 5128 h 10000"/>
                <a:gd name="connsiteX2174" fmla="*/ 627 w 10785"/>
                <a:gd name="connsiteY2174" fmla="*/ 5179 h 10000"/>
                <a:gd name="connsiteX2175" fmla="*/ 650 w 10785"/>
                <a:gd name="connsiteY2175" fmla="*/ 5214 h 10000"/>
                <a:gd name="connsiteX2176" fmla="*/ 687 w 10785"/>
                <a:gd name="connsiteY2176" fmla="*/ 5188 h 10000"/>
                <a:gd name="connsiteX2177" fmla="*/ 700 w 10785"/>
                <a:gd name="connsiteY2177" fmla="*/ 5325 h 10000"/>
                <a:gd name="connsiteX2178" fmla="*/ 710 w 10785"/>
                <a:gd name="connsiteY2178" fmla="*/ 5350 h 10000"/>
                <a:gd name="connsiteX2179" fmla="*/ 687 w 10785"/>
                <a:gd name="connsiteY2179" fmla="*/ 5325 h 10000"/>
                <a:gd name="connsiteX2180" fmla="*/ 668 w 10785"/>
                <a:gd name="connsiteY2180" fmla="*/ 5350 h 10000"/>
                <a:gd name="connsiteX2181" fmla="*/ 668 w 10785"/>
                <a:gd name="connsiteY2181" fmla="*/ 5368 h 10000"/>
                <a:gd name="connsiteX2182" fmla="*/ 668 w 10785"/>
                <a:gd name="connsiteY2182" fmla="*/ 5376 h 10000"/>
                <a:gd name="connsiteX2183" fmla="*/ 581 w 10785"/>
                <a:gd name="connsiteY2183" fmla="*/ 5316 h 10000"/>
                <a:gd name="connsiteX2184" fmla="*/ 567 w 10785"/>
                <a:gd name="connsiteY2184" fmla="*/ 5265 h 10000"/>
                <a:gd name="connsiteX2185" fmla="*/ 562 w 10785"/>
                <a:gd name="connsiteY2185" fmla="*/ 5256 h 10000"/>
                <a:gd name="connsiteX2186" fmla="*/ 548 w 10785"/>
                <a:gd name="connsiteY2186" fmla="*/ 5231 h 10000"/>
                <a:gd name="connsiteX2187" fmla="*/ 535 w 10785"/>
                <a:gd name="connsiteY2187" fmla="*/ 5214 h 10000"/>
                <a:gd name="connsiteX2188" fmla="*/ 525 w 10785"/>
                <a:gd name="connsiteY2188" fmla="*/ 5231 h 10000"/>
                <a:gd name="connsiteX2189" fmla="*/ 521 w 10785"/>
                <a:gd name="connsiteY2189" fmla="*/ 5231 h 10000"/>
                <a:gd name="connsiteX2190" fmla="*/ 493 w 10785"/>
                <a:gd name="connsiteY2190" fmla="*/ 5205 h 10000"/>
                <a:gd name="connsiteX2191" fmla="*/ 488 w 10785"/>
                <a:gd name="connsiteY2191" fmla="*/ 5179 h 10000"/>
                <a:gd name="connsiteX2192" fmla="*/ 475 w 10785"/>
                <a:gd name="connsiteY2192" fmla="*/ 5188 h 10000"/>
                <a:gd name="connsiteX2193" fmla="*/ 475 w 10785"/>
                <a:gd name="connsiteY2193" fmla="*/ 5171 h 10000"/>
                <a:gd name="connsiteX2194" fmla="*/ 488 w 10785"/>
                <a:gd name="connsiteY2194" fmla="*/ 5154 h 10000"/>
                <a:gd name="connsiteX2195" fmla="*/ 488 w 10785"/>
                <a:gd name="connsiteY2195" fmla="*/ 5068 h 10000"/>
                <a:gd name="connsiteX2196" fmla="*/ 475 w 10785"/>
                <a:gd name="connsiteY2196" fmla="*/ 5051 h 10000"/>
                <a:gd name="connsiteX2197" fmla="*/ 475 w 10785"/>
                <a:gd name="connsiteY2197" fmla="*/ 5017 h 10000"/>
                <a:gd name="connsiteX2198" fmla="*/ 452 w 10785"/>
                <a:gd name="connsiteY2198" fmla="*/ 4932 h 10000"/>
                <a:gd name="connsiteX2199" fmla="*/ 461 w 10785"/>
                <a:gd name="connsiteY2199" fmla="*/ 4915 h 10000"/>
                <a:gd name="connsiteX2200" fmla="*/ 475 w 10785"/>
                <a:gd name="connsiteY2200" fmla="*/ 4906 h 10000"/>
                <a:gd name="connsiteX2201" fmla="*/ 479 w 10785"/>
                <a:gd name="connsiteY2201" fmla="*/ 4803 h 10000"/>
                <a:gd name="connsiteX2202" fmla="*/ 479 w 10785"/>
                <a:gd name="connsiteY2202" fmla="*/ 4778 h 10000"/>
                <a:gd name="connsiteX2203" fmla="*/ 475 w 10785"/>
                <a:gd name="connsiteY2203" fmla="*/ 4761 h 10000"/>
                <a:gd name="connsiteX2204" fmla="*/ 465 w 10785"/>
                <a:gd name="connsiteY2204" fmla="*/ 4718 h 10000"/>
                <a:gd name="connsiteX2205" fmla="*/ 461 w 10785"/>
                <a:gd name="connsiteY2205" fmla="*/ 4709 h 10000"/>
                <a:gd name="connsiteX2206" fmla="*/ 442 w 10785"/>
                <a:gd name="connsiteY2206" fmla="*/ 4692 h 10000"/>
                <a:gd name="connsiteX2207" fmla="*/ 433 w 10785"/>
                <a:gd name="connsiteY2207" fmla="*/ 4667 h 10000"/>
                <a:gd name="connsiteX2208" fmla="*/ 419 w 10785"/>
                <a:gd name="connsiteY2208" fmla="*/ 4667 h 10000"/>
                <a:gd name="connsiteX2209" fmla="*/ 401 w 10785"/>
                <a:gd name="connsiteY2209" fmla="*/ 4658 h 10000"/>
                <a:gd name="connsiteX2210" fmla="*/ 401 w 10785"/>
                <a:gd name="connsiteY2210" fmla="*/ 4624 h 10000"/>
                <a:gd name="connsiteX2211" fmla="*/ 401 w 10785"/>
                <a:gd name="connsiteY2211" fmla="*/ 4607 h 10000"/>
                <a:gd name="connsiteX2212" fmla="*/ 378 w 10785"/>
                <a:gd name="connsiteY2212" fmla="*/ 4607 h 10000"/>
                <a:gd name="connsiteX2213" fmla="*/ 341 w 10785"/>
                <a:gd name="connsiteY2213" fmla="*/ 4530 h 10000"/>
                <a:gd name="connsiteX2214" fmla="*/ 346 w 10785"/>
                <a:gd name="connsiteY2214" fmla="*/ 4521 h 10000"/>
                <a:gd name="connsiteX2215" fmla="*/ 332 w 10785"/>
                <a:gd name="connsiteY2215" fmla="*/ 4487 h 10000"/>
                <a:gd name="connsiteX2216" fmla="*/ 327 w 10785"/>
                <a:gd name="connsiteY2216" fmla="*/ 4462 h 10000"/>
                <a:gd name="connsiteX2217" fmla="*/ 313 w 10785"/>
                <a:gd name="connsiteY2217" fmla="*/ 4436 h 10000"/>
                <a:gd name="connsiteX2218" fmla="*/ 300 w 10785"/>
                <a:gd name="connsiteY2218" fmla="*/ 4419 h 10000"/>
                <a:gd name="connsiteX2219" fmla="*/ 309 w 10785"/>
                <a:gd name="connsiteY2219" fmla="*/ 4393 h 10000"/>
                <a:gd name="connsiteX2220" fmla="*/ 332 w 10785"/>
                <a:gd name="connsiteY2220" fmla="*/ 4385 h 10000"/>
                <a:gd name="connsiteX2221" fmla="*/ 355 w 10785"/>
                <a:gd name="connsiteY2221" fmla="*/ 4419 h 10000"/>
                <a:gd name="connsiteX2222" fmla="*/ 355 w 10785"/>
                <a:gd name="connsiteY2222" fmla="*/ 4444 h 10000"/>
                <a:gd name="connsiteX2223" fmla="*/ 369 w 10785"/>
                <a:gd name="connsiteY2223" fmla="*/ 4470 h 10000"/>
                <a:gd name="connsiteX2224" fmla="*/ 401 w 10785"/>
                <a:gd name="connsiteY2224" fmla="*/ 4521 h 10000"/>
                <a:gd name="connsiteX2225" fmla="*/ 406 w 10785"/>
                <a:gd name="connsiteY2225" fmla="*/ 4513 h 10000"/>
                <a:gd name="connsiteX2226" fmla="*/ 406 w 10785"/>
                <a:gd name="connsiteY2226" fmla="*/ 4496 h 10000"/>
                <a:gd name="connsiteX2227" fmla="*/ 419 w 10785"/>
                <a:gd name="connsiteY2227" fmla="*/ 4521 h 10000"/>
                <a:gd name="connsiteX2228" fmla="*/ 429 w 10785"/>
                <a:gd name="connsiteY2228" fmla="*/ 4530 h 10000"/>
                <a:gd name="connsiteX2229" fmla="*/ 433 w 10785"/>
                <a:gd name="connsiteY2229" fmla="*/ 4521 h 10000"/>
                <a:gd name="connsiteX2230" fmla="*/ 442 w 10785"/>
                <a:gd name="connsiteY2230" fmla="*/ 4530 h 10000"/>
                <a:gd name="connsiteX2231" fmla="*/ 447 w 10785"/>
                <a:gd name="connsiteY2231" fmla="*/ 4521 h 10000"/>
                <a:gd name="connsiteX2232" fmla="*/ 452 w 10785"/>
                <a:gd name="connsiteY2232" fmla="*/ 4521 h 10000"/>
                <a:gd name="connsiteX2233" fmla="*/ 461 w 10785"/>
                <a:gd name="connsiteY2233" fmla="*/ 4573 h 10000"/>
                <a:gd name="connsiteX2234" fmla="*/ 479 w 10785"/>
                <a:gd name="connsiteY2234" fmla="*/ 4556 h 10000"/>
                <a:gd name="connsiteX2235" fmla="*/ 502 w 10785"/>
                <a:gd name="connsiteY2235" fmla="*/ 4573 h 10000"/>
                <a:gd name="connsiteX2236" fmla="*/ 507 w 10785"/>
                <a:gd name="connsiteY2236" fmla="*/ 4598 h 10000"/>
                <a:gd name="connsiteX2237" fmla="*/ 525 w 10785"/>
                <a:gd name="connsiteY2237" fmla="*/ 4598 h 10000"/>
                <a:gd name="connsiteX2238" fmla="*/ 535 w 10785"/>
                <a:gd name="connsiteY2238" fmla="*/ 4624 h 10000"/>
                <a:gd name="connsiteX2239" fmla="*/ 594 w 10785"/>
                <a:gd name="connsiteY2239" fmla="*/ 4658 h 10000"/>
                <a:gd name="connsiteX2240" fmla="*/ 627 w 10785"/>
                <a:gd name="connsiteY2240" fmla="*/ 4658 h 10000"/>
                <a:gd name="connsiteX2241" fmla="*/ 654 w 10785"/>
                <a:gd name="connsiteY2241" fmla="*/ 4684 h 10000"/>
                <a:gd name="connsiteX2242" fmla="*/ 668 w 10785"/>
                <a:gd name="connsiteY2242" fmla="*/ 4709 h 10000"/>
                <a:gd name="connsiteX2243" fmla="*/ 747 w 10785"/>
                <a:gd name="connsiteY2243" fmla="*/ 4718 h 10000"/>
                <a:gd name="connsiteX2244" fmla="*/ 760 w 10785"/>
                <a:gd name="connsiteY2244" fmla="*/ 4709 h 10000"/>
                <a:gd name="connsiteX2245" fmla="*/ 774 w 10785"/>
                <a:gd name="connsiteY2245" fmla="*/ 4692 h 10000"/>
                <a:gd name="connsiteX2246" fmla="*/ 829 w 10785"/>
                <a:gd name="connsiteY2246" fmla="*/ 4658 h 10000"/>
                <a:gd name="connsiteX2247" fmla="*/ 903 w 10785"/>
                <a:gd name="connsiteY2247" fmla="*/ 4496 h 10000"/>
                <a:gd name="connsiteX2248" fmla="*/ 917 w 10785"/>
                <a:gd name="connsiteY2248" fmla="*/ 4385 h 10000"/>
                <a:gd name="connsiteX2249" fmla="*/ 903 w 10785"/>
                <a:gd name="connsiteY2249" fmla="*/ 4376 h 10000"/>
                <a:gd name="connsiteX2250" fmla="*/ 903 w 10785"/>
                <a:gd name="connsiteY2250" fmla="*/ 4376 h 10000"/>
                <a:gd name="connsiteX2251" fmla="*/ 889 w 10785"/>
                <a:gd name="connsiteY2251" fmla="*/ 4239 h 10000"/>
                <a:gd name="connsiteX2252" fmla="*/ 880 w 10785"/>
                <a:gd name="connsiteY2252" fmla="*/ 4214 h 10000"/>
                <a:gd name="connsiteX2253" fmla="*/ 862 w 10785"/>
                <a:gd name="connsiteY2253" fmla="*/ 4188 h 10000"/>
                <a:gd name="connsiteX2254" fmla="*/ 857 w 10785"/>
                <a:gd name="connsiteY2254" fmla="*/ 4197 h 10000"/>
                <a:gd name="connsiteX2255" fmla="*/ 848 w 10785"/>
                <a:gd name="connsiteY2255" fmla="*/ 4188 h 10000"/>
                <a:gd name="connsiteX2256" fmla="*/ 848 w 10785"/>
                <a:gd name="connsiteY2256" fmla="*/ 4162 h 10000"/>
                <a:gd name="connsiteX2257" fmla="*/ 829 w 10785"/>
                <a:gd name="connsiteY2257" fmla="*/ 4120 h 10000"/>
                <a:gd name="connsiteX2258" fmla="*/ 820 w 10785"/>
                <a:gd name="connsiteY2258" fmla="*/ 4103 h 10000"/>
                <a:gd name="connsiteX2259" fmla="*/ 806 w 10785"/>
                <a:gd name="connsiteY2259" fmla="*/ 4077 h 10000"/>
                <a:gd name="connsiteX2260" fmla="*/ 816 w 10785"/>
                <a:gd name="connsiteY2260" fmla="*/ 4111 h 10000"/>
                <a:gd name="connsiteX2261" fmla="*/ 802 w 10785"/>
                <a:gd name="connsiteY2261" fmla="*/ 4111 h 10000"/>
                <a:gd name="connsiteX2262" fmla="*/ 770 w 10785"/>
                <a:gd name="connsiteY2262" fmla="*/ 4060 h 10000"/>
                <a:gd name="connsiteX2263" fmla="*/ 760 w 10785"/>
                <a:gd name="connsiteY2263" fmla="*/ 4077 h 10000"/>
                <a:gd name="connsiteX2264" fmla="*/ 760 w 10785"/>
                <a:gd name="connsiteY2264" fmla="*/ 4060 h 10000"/>
                <a:gd name="connsiteX2265" fmla="*/ 756 w 10785"/>
                <a:gd name="connsiteY2265" fmla="*/ 4034 h 10000"/>
                <a:gd name="connsiteX2266" fmla="*/ 742 w 10785"/>
                <a:gd name="connsiteY2266" fmla="*/ 4000 h 10000"/>
                <a:gd name="connsiteX2267" fmla="*/ 747 w 10785"/>
                <a:gd name="connsiteY2267" fmla="*/ 4034 h 10000"/>
                <a:gd name="connsiteX2268" fmla="*/ 724 w 10785"/>
                <a:gd name="connsiteY2268" fmla="*/ 4026 h 10000"/>
                <a:gd name="connsiteX2269" fmla="*/ 714 w 10785"/>
                <a:gd name="connsiteY2269" fmla="*/ 4000 h 10000"/>
                <a:gd name="connsiteX2270" fmla="*/ 714 w 10785"/>
                <a:gd name="connsiteY2270" fmla="*/ 3983 h 10000"/>
                <a:gd name="connsiteX2271" fmla="*/ 553 w 10785"/>
                <a:gd name="connsiteY2271" fmla="*/ 3726 h 10000"/>
                <a:gd name="connsiteX2272" fmla="*/ 507 w 10785"/>
                <a:gd name="connsiteY2272" fmla="*/ 3718 h 10000"/>
                <a:gd name="connsiteX2273" fmla="*/ 516 w 10785"/>
                <a:gd name="connsiteY2273" fmla="*/ 3726 h 10000"/>
                <a:gd name="connsiteX2274" fmla="*/ 507 w 10785"/>
                <a:gd name="connsiteY2274" fmla="*/ 3735 h 10000"/>
                <a:gd name="connsiteX2275" fmla="*/ 502 w 10785"/>
                <a:gd name="connsiteY2275" fmla="*/ 3735 h 10000"/>
                <a:gd name="connsiteX2276" fmla="*/ 419 w 10785"/>
                <a:gd name="connsiteY2276" fmla="*/ 3675 h 10000"/>
                <a:gd name="connsiteX2277" fmla="*/ 419 w 10785"/>
                <a:gd name="connsiteY2277" fmla="*/ 3692 h 10000"/>
                <a:gd name="connsiteX2278" fmla="*/ 401 w 10785"/>
                <a:gd name="connsiteY2278" fmla="*/ 3701 h 10000"/>
                <a:gd name="connsiteX2279" fmla="*/ 387 w 10785"/>
                <a:gd name="connsiteY2279" fmla="*/ 3718 h 10000"/>
                <a:gd name="connsiteX2280" fmla="*/ 387 w 10785"/>
                <a:gd name="connsiteY2280" fmla="*/ 3692 h 10000"/>
                <a:gd name="connsiteX2281" fmla="*/ 378 w 10785"/>
                <a:gd name="connsiteY2281" fmla="*/ 3675 h 10000"/>
                <a:gd name="connsiteX2282" fmla="*/ 378 w 10785"/>
                <a:gd name="connsiteY2282" fmla="*/ 3650 h 10000"/>
                <a:gd name="connsiteX2283" fmla="*/ 378 w 10785"/>
                <a:gd name="connsiteY2283" fmla="*/ 3650 h 10000"/>
                <a:gd name="connsiteX2284" fmla="*/ 355 w 10785"/>
                <a:gd name="connsiteY2284" fmla="*/ 3675 h 10000"/>
                <a:gd name="connsiteX2285" fmla="*/ 359 w 10785"/>
                <a:gd name="connsiteY2285" fmla="*/ 3641 h 10000"/>
                <a:gd name="connsiteX2286" fmla="*/ 346 w 10785"/>
                <a:gd name="connsiteY2286" fmla="*/ 3650 h 10000"/>
                <a:gd name="connsiteX2287" fmla="*/ 355 w 10785"/>
                <a:gd name="connsiteY2287" fmla="*/ 3624 h 10000"/>
                <a:gd name="connsiteX2288" fmla="*/ 346 w 10785"/>
                <a:gd name="connsiteY2288" fmla="*/ 3624 h 10000"/>
                <a:gd name="connsiteX2289" fmla="*/ 341 w 10785"/>
                <a:gd name="connsiteY2289" fmla="*/ 3624 h 10000"/>
                <a:gd name="connsiteX2290" fmla="*/ 318 w 10785"/>
                <a:gd name="connsiteY2290" fmla="*/ 3641 h 10000"/>
                <a:gd name="connsiteX2291" fmla="*/ 327 w 10785"/>
                <a:gd name="connsiteY2291" fmla="*/ 3624 h 10000"/>
                <a:gd name="connsiteX2292" fmla="*/ 318 w 10785"/>
                <a:gd name="connsiteY2292" fmla="*/ 3615 h 10000"/>
                <a:gd name="connsiteX2293" fmla="*/ 318 w 10785"/>
                <a:gd name="connsiteY2293" fmla="*/ 3598 h 10000"/>
                <a:gd name="connsiteX2294" fmla="*/ 300 w 10785"/>
                <a:gd name="connsiteY2294" fmla="*/ 3598 h 10000"/>
                <a:gd name="connsiteX2295" fmla="*/ 309 w 10785"/>
                <a:gd name="connsiteY2295" fmla="*/ 3538 h 10000"/>
                <a:gd name="connsiteX2296" fmla="*/ 313 w 10785"/>
                <a:gd name="connsiteY2296" fmla="*/ 3564 h 10000"/>
                <a:gd name="connsiteX2297" fmla="*/ 318 w 10785"/>
                <a:gd name="connsiteY2297" fmla="*/ 3581 h 10000"/>
                <a:gd name="connsiteX2298" fmla="*/ 327 w 10785"/>
                <a:gd name="connsiteY2298" fmla="*/ 3564 h 10000"/>
                <a:gd name="connsiteX2299" fmla="*/ 332 w 10785"/>
                <a:gd name="connsiteY2299" fmla="*/ 3590 h 10000"/>
                <a:gd name="connsiteX2300" fmla="*/ 346 w 10785"/>
                <a:gd name="connsiteY2300" fmla="*/ 3590 h 10000"/>
                <a:gd name="connsiteX2301" fmla="*/ 355 w 10785"/>
                <a:gd name="connsiteY2301" fmla="*/ 3590 h 10000"/>
                <a:gd name="connsiteX2302" fmla="*/ 369 w 10785"/>
                <a:gd name="connsiteY2302" fmla="*/ 3556 h 10000"/>
                <a:gd name="connsiteX2303" fmla="*/ 369 w 10785"/>
                <a:gd name="connsiteY2303" fmla="*/ 3538 h 10000"/>
                <a:gd name="connsiteX2304" fmla="*/ 346 w 10785"/>
                <a:gd name="connsiteY2304" fmla="*/ 3513 h 10000"/>
                <a:gd name="connsiteX2305" fmla="*/ 341 w 10785"/>
                <a:gd name="connsiteY2305" fmla="*/ 3530 h 10000"/>
                <a:gd name="connsiteX2306" fmla="*/ 327 w 10785"/>
                <a:gd name="connsiteY2306" fmla="*/ 3513 h 10000"/>
                <a:gd name="connsiteX2307" fmla="*/ 327 w 10785"/>
                <a:gd name="connsiteY2307" fmla="*/ 3504 h 10000"/>
                <a:gd name="connsiteX2308" fmla="*/ 295 w 10785"/>
                <a:gd name="connsiteY2308" fmla="*/ 3462 h 10000"/>
                <a:gd name="connsiteX2309" fmla="*/ 300 w 10785"/>
                <a:gd name="connsiteY2309" fmla="*/ 3479 h 10000"/>
                <a:gd name="connsiteX2310" fmla="*/ 295 w 10785"/>
                <a:gd name="connsiteY2310" fmla="*/ 3513 h 10000"/>
                <a:gd name="connsiteX2311" fmla="*/ 286 w 10785"/>
                <a:gd name="connsiteY2311" fmla="*/ 3513 h 10000"/>
                <a:gd name="connsiteX2312" fmla="*/ 281 w 10785"/>
                <a:gd name="connsiteY2312" fmla="*/ 3513 h 10000"/>
                <a:gd name="connsiteX2313" fmla="*/ 281 w 10785"/>
                <a:gd name="connsiteY2313" fmla="*/ 3530 h 10000"/>
                <a:gd name="connsiteX2314" fmla="*/ 281 w 10785"/>
                <a:gd name="connsiteY2314" fmla="*/ 3556 h 10000"/>
                <a:gd name="connsiteX2315" fmla="*/ 272 w 10785"/>
                <a:gd name="connsiteY2315" fmla="*/ 3564 h 10000"/>
                <a:gd name="connsiteX2316" fmla="*/ 267 w 10785"/>
                <a:gd name="connsiteY2316" fmla="*/ 3564 h 10000"/>
                <a:gd name="connsiteX2317" fmla="*/ 253 w 10785"/>
                <a:gd name="connsiteY2317" fmla="*/ 3538 h 10000"/>
                <a:gd name="connsiteX2318" fmla="*/ 226 w 10785"/>
                <a:gd name="connsiteY2318" fmla="*/ 3513 h 10000"/>
                <a:gd name="connsiteX2319" fmla="*/ 226 w 10785"/>
                <a:gd name="connsiteY2319" fmla="*/ 3530 h 10000"/>
                <a:gd name="connsiteX2320" fmla="*/ 226 w 10785"/>
                <a:gd name="connsiteY2320" fmla="*/ 3530 h 10000"/>
                <a:gd name="connsiteX2321" fmla="*/ 226 w 10785"/>
                <a:gd name="connsiteY2321" fmla="*/ 3530 h 10000"/>
                <a:gd name="connsiteX2322" fmla="*/ 226 w 10785"/>
                <a:gd name="connsiteY2322" fmla="*/ 3556 h 10000"/>
                <a:gd name="connsiteX2323" fmla="*/ 221 w 10785"/>
                <a:gd name="connsiteY2323" fmla="*/ 3598 h 10000"/>
                <a:gd name="connsiteX2324" fmla="*/ 207 w 10785"/>
                <a:gd name="connsiteY2324" fmla="*/ 3598 h 10000"/>
                <a:gd name="connsiteX2325" fmla="*/ 180 w 10785"/>
                <a:gd name="connsiteY2325" fmla="*/ 3581 h 10000"/>
                <a:gd name="connsiteX2326" fmla="*/ 171 w 10785"/>
                <a:gd name="connsiteY2326" fmla="*/ 3641 h 10000"/>
                <a:gd name="connsiteX2327" fmla="*/ 166 w 10785"/>
                <a:gd name="connsiteY2327" fmla="*/ 3650 h 10000"/>
                <a:gd name="connsiteX2328" fmla="*/ 124 w 10785"/>
                <a:gd name="connsiteY2328" fmla="*/ 3701 h 10000"/>
                <a:gd name="connsiteX2329" fmla="*/ 124 w 10785"/>
                <a:gd name="connsiteY2329" fmla="*/ 3718 h 10000"/>
                <a:gd name="connsiteX2330" fmla="*/ 120 w 10785"/>
                <a:gd name="connsiteY2330" fmla="*/ 3735 h 10000"/>
                <a:gd name="connsiteX2331" fmla="*/ 120 w 10785"/>
                <a:gd name="connsiteY2331" fmla="*/ 3735 h 10000"/>
                <a:gd name="connsiteX2332" fmla="*/ 111 w 10785"/>
                <a:gd name="connsiteY2332" fmla="*/ 3761 h 10000"/>
                <a:gd name="connsiteX2333" fmla="*/ 106 w 10785"/>
                <a:gd name="connsiteY2333" fmla="*/ 3761 h 10000"/>
                <a:gd name="connsiteX2334" fmla="*/ 106 w 10785"/>
                <a:gd name="connsiteY2334" fmla="*/ 3761 h 10000"/>
                <a:gd name="connsiteX2335" fmla="*/ 74 w 10785"/>
                <a:gd name="connsiteY2335" fmla="*/ 3829 h 10000"/>
                <a:gd name="connsiteX2336" fmla="*/ 78 w 10785"/>
                <a:gd name="connsiteY2336" fmla="*/ 3838 h 10000"/>
                <a:gd name="connsiteX2337" fmla="*/ 88 w 10785"/>
                <a:gd name="connsiteY2337" fmla="*/ 3846 h 10000"/>
                <a:gd name="connsiteX2338" fmla="*/ 65 w 10785"/>
                <a:gd name="connsiteY2338" fmla="*/ 3923 h 10000"/>
                <a:gd name="connsiteX2339" fmla="*/ 78 w 10785"/>
                <a:gd name="connsiteY2339" fmla="*/ 4026 h 10000"/>
                <a:gd name="connsiteX2340" fmla="*/ 88 w 10785"/>
                <a:gd name="connsiteY2340" fmla="*/ 4051 h 10000"/>
                <a:gd name="connsiteX2341" fmla="*/ 92 w 10785"/>
                <a:gd name="connsiteY2341" fmla="*/ 4060 h 10000"/>
                <a:gd name="connsiteX2342" fmla="*/ 111 w 10785"/>
                <a:gd name="connsiteY2342" fmla="*/ 4060 h 10000"/>
                <a:gd name="connsiteX2343" fmla="*/ 124 w 10785"/>
                <a:gd name="connsiteY2343" fmla="*/ 4085 h 10000"/>
                <a:gd name="connsiteX2344" fmla="*/ 166 w 10785"/>
                <a:gd name="connsiteY2344" fmla="*/ 4197 h 10000"/>
                <a:gd name="connsiteX2345" fmla="*/ 166 w 10785"/>
                <a:gd name="connsiteY2345" fmla="*/ 4248 h 10000"/>
                <a:gd name="connsiteX2346" fmla="*/ 120 w 10785"/>
                <a:gd name="connsiteY2346" fmla="*/ 4462 h 10000"/>
                <a:gd name="connsiteX2347" fmla="*/ 120 w 10785"/>
                <a:gd name="connsiteY2347" fmla="*/ 4513 h 10000"/>
                <a:gd name="connsiteX2348" fmla="*/ 180 w 10785"/>
                <a:gd name="connsiteY2348" fmla="*/ 4829 h 10000"/>
                <a:gd name="connsiteX2349" fmla="*/ 161 w 10785"/>
                <a:gd name="connsiteY2349" fmla="*/ 4855 h 10000"/>
                <a:gd name="connsiteX2350" fmla="*/ 152 w 10785"/>
                <a:gd name="connsiteY2350" fmla="*/ 4940 h 10000"/>
                <a:gd name="connsiteX2351" fmla="*/ 161 w 10785"/>
                <a:gd name="connsiteY2351" fmla="*/ 4966 h 10000"/>
                <a:gd name="connsiteX2352" fmla="*/ 161 w 10785"/>
                <a:gd name="connsiteY2352" fmla="*/ 5009 h 10000"/>
                <a:gd name="connsiteX2353" fmla="*/ 152 w 10785"/>
                <a:gd name="connsiteY2353" fmla="*/ 5034 h 10000"/>
                <a:gd name="connsiteX2354" fmla="*/ 152 w 10785"/>
                <a:gd name="connsiteY2354" fmla="*/ 5077 h 10000"/>
                <a:gd name="connsiteX2355" fmla="*/ 171 w 10785"/>
                <a:gd name="connsiteY2355" fmla="*/ 5094 h 10000"/>
                <a:gd name="connsiteX2356" fmla="*/ 180 w 10785"/>
                <a:gd name="connsiteY2356" fmla="*/ 5128 h 10000"/>
                <a:gd name="connsiteX2357" fmla="*/ 180 w 10785"/>
                <a:gd name="connsiteY2357" fmla="*/ 5171 h 10000"/>
                <a:gd name="connsiteX2358" fmla="*/ 184 w 10785"/>
                <a:gd name="connsiteY2358" fmla="*/ 5205 h 10000"/>
                <a:gd name="connsiteX2359" fmla="*/ 207 w 10785"/>
                <a:gd name="connsiteY2359" fmla="*/ 5239 h 10000"/>
                <a:gd name="connsiteX2360" fmla="*/ 207 w 10785"/>
                <a:gd name="connsiteY2360" fmla="*/ 5282 h 10000"/>
                <a:gd name="connsiteX2361" fmla="*/ 180 w 10785"/>
                <a:gd name="connsiteY2361" fmla="*/ 5393 h 10000"/>
                <a:gd name="connsiteX2362" fmla="*/ 194 w 10785"/>
                <a:gd name="connsiteY2362" fmla="*/ 5427 h 10000"/>
                <a:gd name="connsiteX2363" fmla="*/ 198 w 10785"/>
                <a:gd name="connsiteY2363" fmla="*/ 5462 h 10000"/>
                <a:gd name="connsiteX2364" fmla="*/ 235 w 10785"/>
                <a:gd name="connsiteY2364" fmla="*/ 5513 h 10000"/>
                <a:gd name="connsiteX2365" fmla="*/ 240 w 10785"/>
                <a:gd name="connsiteY2365" fmla="*/ 5556 h 10000"/>
                <a:gd name="connsiteX2366" fmla="*/ 253 w 10785"/>
                <a:gd name="connsiteY2366" fmla="*/ 5590 h 10000"/>
                <a:gd name="connsiteX2367" fmla="*/ 258 w 10785"/>
                <a:gd name="connsiteY2367" fmla="*/ 5573 h 10000"/>
                <a:gd name="connsiteX2368" fmla="*/ 258 w 10785"/>
                <a:gd name="connsiteY2368" fmla="*/ 5667 h 10000"/>
                <a:gd name="connsiteX2369" fmla="*/ 14 w 10785"/>
                <a:gd name="connsiteY2369" fmla="*/ 6214 h 10000"/>
                <a:gd name="connsiteX2370" fmla="*/ 14 w 10785"/>
                <a:gd name="connsiteY2370" fmla="*/ 6214 h 10000"/>
                <a:gd name="connsiteX2371" fmla="*/ 37 w 10785"/>
                <a:gd name="connsiteY2371" fmla="*/ 6214 h 10000"/>
                <a:gd name="connsiteX2372" fmla="*/ 51 w 10785"/>
                <a:gd name="connsiteY2372" fmla="*/ 6188 h 10000"/>
                <a:gd name="connsiteX2373" fmla="*/ 78 w 10785"/>
                <a:gd name="connsiteY2373" fmla="*/ 6162 h 10000"/>
                <a:gd name="connsiteX2374" fmla="*/ 78 w 10785"/>
                <a:gd name="connsiteY2374" fmla="*/ 6188 h 10000"/>
                <a:gd name="connsiteX2375" fmla="*/ 74 w 10785"/>
                <a:gd name="connsiteY2375" fmla="*/ 6197 h 10000"/>
                <a:gd name="connsiteX2376" fmla="*/ 74 w 10785"/>
                <a:gd name="connsiteY2376" fmla="*/ 6231 h 10000"/>
                <a:gd name="connsiteX2377" fmla="*/ 74 w 10785"/>
                <a:gd name="connsiteY2377" fmla="*/ 6214 h 10000"/>
                <a:gd name="connsiteX2378" fmla="*/ 65 w 10785"/>
                <a:gd name="connsiteY2378" fmla="*/ 6214 h 10000"/>
                <a:gd name="connsiteX2379" fmla="*/ 65 w 10785"/>
                <a:gd name="connsiteY2379" fmla="*/ 6248 h 10000"/>
                <a:gd name="connsiteX2380" fmla="*/ 74 w 10785"/>
                <a:gd name="connsiteY2380" fmla="*/ 6256 h 10000"/>
                <a:gd name="connsiteX2381" fmla="*/ 78 w 10785"/>
                <a:gd name="connsiteY2381" fmla="*/ 6256 h 10000"/>
                <a:gd name="connsiteX2382" fmla="*/ 106 w 10785"/>
                <a:gd name="connsiteY2382" fmla="*/ 6308 h 10000"/>
                <a:gd name="connsiteX2383" fmla="*/ 138 w 10785"/>
                <a:gd name="connsiteY2383" fmla="*/ 6299 h 10000"/>
                <a:gd name="connsiteX2384" fmla="*/ 152 w 10785"/>
                <a:gd name="connsiteY2384" fmla="*/ 6299 h 10000"/>
                <a:gd name="connsiteX2385" fmla="*/ 166 w 10785"/>
                <a:gd name="connsiteY2385" fmla="*/ 6325 h 10000"/>
                <a:gd name="connsiteX2386" fmla="*/ 166 w 10785"/>
                <a:gd name="connsiteY2386" fmla="*/ 6333 h 10000"/>
                <a:gd name="connsiteX2387" fmla="*/ 171 w 10785"/>
                <a:gd name="connsiteY2387" fmla="*/ 6350 h 10000"/>
                <a:gd name="connsiteX2388" fmla="*/ 180 w 10785"/>
                <a:gd name="connsiteY2388" fmla="*/ 6350 h 10000"/>
                <a:gd name="connsiteX2389" fmla="*/ 180 w 10785"/>
                <a:gd name="connsiteY2389" fmla="*/ 6359 h 10000"/>
                <a:gd name="connsiteX2390" fmla="*/ 171 w 10785"/>
                <a:gd name="connsiteY2390" fmla="*/ 6368 h 10000"/>
                <a:gd name="connsiteX2391" fmla="*/ 106 w 10785"/>
                <a:gd name="connsiteY2391" fmla="*/ 6350 h 10000"/>
                <a:gd name="connsiteX2392" fmla="*/ 101 w 10785"/>
                <a:gd name="connsiteY2392" fmla="*/ 6359 h 10000"/>
                <a:gd name="connsiteX2393" fmla="*/ 101 w 10785"/>
                <a:gd name="connsiteY2393" fmla="*/ 6385 h 10000"/>
                <a:gd name="connsiteX2394" fmla="*/ 78 w 10785"/>
                <a:gd name="connsiteY2394" fmla="*/ 6393 h 10000"/>
                <a:gd name="connsiteX2395" fmla="*/ 74 w 10785"/>
                <a:gd name="connsiteY2395" fmla="*/ 6385 h 10000"/>
                <a:gd name="connsiteX2396" fmla="*/ 65 w 10785"/>
                <a:gd name="connsiteY2396" fmla="*/ 6393 h 10000"/>
                <a:gd name="connsiteX2397" fmla="*/ 60 w 10785"/>
                <a:gd name="connsiteY2397" fmla="*/ 6419 h 10000"/>
                <a:gd name="connsiteX2398" fmla="*/ 51 w 10785"/>
                <a:gd name="connsiteY2398" fmla="*/ 6419 h 10000"/>
                <a:gd name="connsiteX2399" fmla="*/ 46 w 10785"/>
                <a:gd name="connsiteY2399" fmla="*/ 6410 h 10000"/>
                <a:gd name="connsiteX2400" fmla="*/ 37 w 10785"/>
                <a:gd name="connsiteY2400" fmla="*/ 6393 h 10000"/>
                <a:gd name="connsiteX2401" fmla="*/ 32 w 10785"/>
                <a:gd name="connsiteY2401" fmla="*/ 6419 h 10000"/>
                <a:gd name="connsiteX2402" fmla="*/ 37 w 10785"/>
                <a:gd name="connsiteY2402" fmla="*/ 6462 h 10000"/>
                <a:gd name="connsiteX2403" fmla="*/ 46 w 10785"/>
                <a:gd name="connsiteY2403" fmla="*/ 6462 h 10000"/>
                <a:gd name="connsiteX2404" fmla="*/ 51 w 10785"/>
                <a:gd name="connsiteY2404" fmla="*/ 6470 h 10000"/>
                <a:gd name="connsiteX2405" fmla="*/ 51 w 10785"/>
                <a:gd name="connsiteY2405" fmla="*/ 6496 h 10000"/>
                <a:gd name="connsiteX2406" fmla="*/ 51 w 10785"/>
                <a:gd name="connsiteY2406" fmla="*/ 6504 h 10000"/>
                <a:gd name="connsiteX2407" fmla="*/ 37 w 10785"/>
                <a:gd name="connsiteY2407" fmla="*/ 6530 h 10000"/>
                <a:gd name="connsiteX2408" fmla="*/ 18 w 10785"/>
                <a:gd name="connsiteY2408" fmla="*/ 6598 h 10000"/>
                <a:gd name="connsiteX2409" fmla="*/ 28 w 10785"/>
                <a:gd name="connsiteY2409" fmla="*/ 6632 h 10000"/>
                <a:gd name="connsiteX2410" fmla="*/ 18 w 10785"/>
                <a:gd name="connsiteY2410" fmla="*/ 6667 h 10000"/>
                <a:gd name="connsiteX2411" fmla="*/ 28 w 10785"/>
                <a:gd name="connsiteY2411" fmla="*/ 6692 h 10000"/>
                <a:gd name="connsiteX2412" fmla="*/ 28 w 10785"/>
                <a:gd name="connsiteY2412" fmla="*/ 6709 h 10000"/>
                <a:gd name="connsiteX2413" fmla="*/ 18 w 10785"/>
                <a:gd name="connsiteY2413" fmla="*/ 6718 h 10000"/>
                <a:gd name="connsiteX2414" fmla="*/ 5 w 10785"/>
                <a:gd name="connsiteY2414" fmla="*/ 6744 h 10000"/>
                <a:gd name="connsiteX2415" fmla="*/ 0 w 10785"/>
                <a:gd name="connsiteY2415" fmla="*/ 6769 h 10000"/>
                <a:gd name="connsiteX2416" fmla="*/ 5 w 10785"/>
                <a:gd name="connsiteY2416" fmla="*/ 6778 h 10000"/>
                <a:gd name="connsiteX2417" fmla="*/ 32 w 10785"/>
                <a:gd name="connsiteY2417" fmla="*/ 6778 h 10000"/>
                <a:gd name="connsiteX2418" fmla="*/ 46 w 10785"/>
                <a:gd name="connsiteY2418" fmla="*/ 6821 h 10000"/>
                <a:gd name="connsiteX2419" fmla="*/ 46 w 10785"/>
                <a:gd name="connsiteY2419" fmla="*/ 6855 h 10000"/>
                <a:gd name="connsiteX2420" fmla="*/ 32 w 10785"/>
                <a:gd name="connsiteY2420" fmla="*/ 6855 h 10000"/>
                <a:gd name="connsiteX2421" fmla="*/ 14 w 10785"/>
                <a:gd name="connsiteY2421" fmla="*/ 6821 h 10000"/>
                <a:gd name="connsiteX2422" fmla="*/ 14 w 10785"/>
                <a:gd name="connsiteY2422" fmla="*/ 6846 h 10000"/>
                <a:gd name="connsiteX2423" fmla="*/ 0 w 10785"/>
                <a:gd name="connsiteY2423" fmla="*/ 6897 h 10000"/>
                <a:gd name="connsiteX2424" fmla="*/ 0 w 10785"/>
                <a:gd name="connsiteY2424" fmla="*/ 6915 h 10000"/>
                <a:gd name="connsiteX2425" fmla="*/ 5 w 10785"/>
                <a:gd name="connsiteY2425" fmla="*/ 6932 h 10000"/>
                <a:gd name="connsiteX2426" fmla="*/ 14 w 10785"/>
                <a:gd name="connsiteY2426" fmla="*/ 6940 h 10000"/>
                <a:gd name="connsiteX2427" fmla="*/ 18 w 10785"/>
                <a:gd name="connsiteY2427" fmla="*/ 6957 h 10000"/>
                <a:gd name="connsiteX2428" fmla="*/ 28 w 10785"/>
                <a:gd name="connsiteY2428" fmla="*/ 6966 h 10000"/>
                <a:gd name="connsiteX2429" fmla="*/ 28 w 10785"/>
                <a:gd name="connsiteY2429" fmla="*/ 6983 h 10000"/>
                <a:gd name="connsiteX2430" fmla="*/ 18 w 10785"/>
                <a:gd name="connsiteY2430" fmla="*/ 7051 h 10000"/>
                <a:gd name="connsiteX2431" fmla="*/ 28 w 10785"/>
                <a:gd name="connsiteY2431" fmla="*/ 7068 h 10000"/>
                <a:gd name="connsiteX2432" fmla="*/ 32 w 10785"/>
                <a:gd name="connsiteY2432" fmla="*/ 7068 h 10000"/>
                <a:gd name="connsiteX2433" fmla="*/ 32 w 10785"/>
                <a:gd name="connsiteY2433" fmla="*/ 7094 h 10000"/>
                <a:gd name="connsiteX2434" fmla="*/ 60 w 10785"/>
                <a:gd name="connsiteY2434" fmla="*/ 7162 h 10000"/>
                <a:gd name="connsiteX2435" fmla="*/ 60 w 10785"/>
                <a:gd name="connsiteY2435" fmla="*/ 7231 h 10000"/>
                <a:gd name="connsiteX2436" fmla="*/ 60 w 10785"/>
                <a:gd name="connsiteY2436" fmla="*/ 7239 h 10000"/>
                <a:gd name="connsiteX2437" fmla="*/ 78 w 10785"/>
                <a:gd name="connsiteY2437" fmla="*/ 7239 h 10000"/>
                <a:gd name="connsiteX2438" fmla="*/ 88 w 10785"/>
                <a:gd name="connsiteY2438" fmla="*/ 7239 h 10000"/>
                <a:gd name="connsiteX2439" fmla="*/ 92 w 10785"/>
                <a:gd name="connsiteY2439" fmla="*/ 7256 h 10000"/>
                <a:gd name="connsiteX2440" fmla="*/ 111 w 10785"/>
                <a:gd name="connsiteY2440" fmla="*/ 7256 h 10000"/>
                <a:gd name="connsiteX2441" fmla="*/ 120 w 10785"/>
                <a:gd name="connsiteY2441" fmla="*/ 7256 h 10000"/>
                <a:gd name="connsiteX2442" fmla="*/ 134 w 10785"/>
                <a:gd name="connsiteY2442" fmla="*/ 7282 h 10000"/>
                <a:gd name="connsiteX2443" fmla="*/ 134 w 10785"/>
                <a:gd name="connsiteY2443" fmla="*/ 7316 h 10000"/>
                <a:gd name="connsiteX2444" fmla="*/ 152 w 10785"/>
                <a:gd name="connsiteY2444" fmla="*/ 7299 h 10000"/>
                <a:gd name="connsiteX2445" fmla="*/ 161 w 10785"/>
                <a:gd name="connsiteY2445" fmla="*/ 7299 h 10000"/>
                <a:gd name="connsiteX2446" fmla="*/ 166 w 10785"/>
                <a:gd name="connsiteY2446" fmla="*/ 7291 h 10000"/>
                <a:gd name="connsiteX2447" fmla="*/ 194 w 10785"/>
                <a:gd name="connsiteY2447" fmla="*/ 7291 h 10000"/>
                <a:gd name="connsiteX2448" fmla="*/ 207 w 10785"/>
                <a:gd name="connsiteY2448" fmla="*/ 7299 h 10000"/>
                <a:gd name="connsiteX2449" fmla="*/ 221 w 10785"/>
                <a:gd name="connsiteY2449" fmla="*/ 7342 h 10000"/>
                <a:gd name="connsiteX2450" fmla="*/ 235 w 10785"/>
                <a:gd name="connsiteY2450" fmla="*/ 7342 h 10000"/>
                <a:gd name="connsiteX2451" fmla="*/ 235 w 10785"/>
                <a:gd name="connsiteY2451" fmla="*/ 7368 h 10000"/>
                <a:gd name="connsiteX2452" fmla="*/ 226 w 10785"/>
                <a:gd name="connsiteY2452" fmla="*/ 7393 h 10000"/>
                <a:gd name="connsiteX2453" fmla="*/ 226 w 10785"/>
                <a:gd name="connsiteY2453" fmla="*/ 7402 h 10000"/>
                <a:gd name="connsiteX2454" fmla="*/ 235 w 10785"/>
                <a:gd name="connsiteY2454" fmla="*/ 7419 h 10000"/>
                <a:gd name="connsiteX2455" fmla="*/ 240 w 10785"/>
                <a:gd name="connsiteY2455" fmla="*/ 7436 h 10000"/>
                <a:gd name="connsiteX2456" fmla="*/ 235 w 10785"/>
                <a:gd name="connsiteY2456" fmla="*/ 7462 h 10000"/>
                <a:gd name="connsiteX2457" fmla="*/ 226 w 10785"/>
                <a:gd name="connsiteY2457" fmla="*/ 7479 h 10000"/>
                <a:gd name="connsiteX2458" fmla="*/ 226 w 10785"/>
                <a:gd name="connsiteY2458" fmla="*/ 7504 h 10000"/>
                <a:gd name="connsiteX2459" fmla="*/ 226 w 10785"/>
                <a:gd name="connsiteY2459" fmla="*/ 7513 h 10000"/>
                <a:gd name="connsiteX2460" fmla="*/ 240 w 10785"/>
                <a:gd name="connsiteY2460" fmla="*/ 7538 h 10000"/>
                <a:gd name="connsiteX2461" fmla="*/ 267 w 10785"/>
                <a:gd name="connsiteY2461" fmla="*/ 7641 h 10000"/>
                <a:gd name="connsiteX2462" fmla="*/ 281 w 10785"/>
                <a:gd name="connsiteY2462" fmla="*/ 7667 h 10000"/>
                <a:gd name="connsiteX2463" fmla="*/ 286 w 10785"/>
                <a:gd name="connsiteY2463" fmla="*/ 7675 h 10000"/>
                <a:gd name="connsiteX2464" fmla="*/ 286 w 10785"/>
                <a:gd name="connsiteY2464" fmla="*/ 7692 h 10000"/>
                <a:gd name="connsiteX2465" fmla="*/ 286 w 10785"/>
                <a:gd name="connsiteY2465" fmla="*/ 7709 h 10000"/>
                <a:gd name="connsiteX2466" fmla="*/ 295 w 10785"/>
                <a:gd name="connsiteY2466" fmla="*/ 7726 h 10000"/>
                <a:gd name="connsiteX2467" fmla="*/ 318 w 10785"/>
                <a:gd name="connsiteY2467" fmla="*/ 7709 h 10000"/>
                <a:gd name="connsiteX2468" fmla="*/ 327 w 10785"/>
                <a:gd name="connsiteY2468" fmla="*/ 7726 h 10000"/>
                <a:gd name="connsiteX2469" fmla="*/ 341 w 10785"/>
                <a:gd name="connsiteY2469" fmla="*/ 7735 h 10000"/>
                <a:gd name="connsiteX2470" fmla="*/ 332 w 10785"/>
                <a:gd name="connsiteY2470" fmla="*/ 7752 h 10000"/>
                <a:gd name="connsiteX2471" fmla="*/ 341 w 10785"/>
                <a:gd name="connsiteY2471" fmla="*/ 7761 h 10000"/>
                <a:gd name="connsiteX2472" fmla="*/ 355 w 10785"/>
                <a:gd name="connsiteY2472" fmla="*/ 7761 h 10000"/>
                <a:gd name="connsiteX2473" fmla="*/ 355 w 10785"/>
                <a:gd name="connsiteY2473" fmla="*/ 7803 h 10000"/>
                <a:gd name="connsiteX2474" fmla="*/ 313 w 10785"/>
                <a:gd name="connsiteY2474" fmla="*/ 7846 h 10000"/>
                <a:gd name="connsiteX2475" fmla="*/ 295 w 10785"/>
                <a:gd name="connsiteY2475" fmla="*/ 7846 h 10000"/>
                <a:gd name="connsiteX2476" fmla="*/ 281 w 10785"/>
                <a:gd name="connsiteY2476" fmla="*/ 7821 h 10000"/>
                <a:gd name="connsiteX2477" fmla="*/ 272 w 10785"/>
                <a:gd name="connsiteY2477" fmla="*/ 7821 h 10000"/>
                <a:gd name="connsiteX2478" fmla="*/ 267 w 10785"/>
                <a:gd name="connsiteY2478" fmla="*/ 7838 h 10000"/>
                <a:gd name="connsiteX2479" fmla="*/ 258 w 10785"/>
                <a:gd name="connsiteY2479" fmla="*/ 7846 h 10000"/>
                <a:gd name="connsiteX2480" fmla="*/ 253 w 10785"/>
                <a:gd name="connsiteY2480" fmla="*/ 7863 h 10000"/>
                <a:gd name="connsiteX2481" fmla="*/ 253 w 10785"/>
                <a:gd name="connsiteY2481" fmla="*/ 7872 h 10000"/>
                <a:gd name="connsiteX2482" fmla="*/ 267 w 10785"/>
                <a:gd name="connsiteY2482" fmla="*/ 7897 h 10000"/>
                <a:gd name="connsiteX2483" fmla="*/ 272 w 10785"/>
                <a:gd name="connsiteY2483" fmla="*/ 7915 h 10000"/>
                <a:gd name="connsiteX2484" fmla="*/ 267 w 10785"/>
                <a:gd name="connsiteY2484" fmla="*/ 7940 h 10000"/>
                <a:gd name="connsiteX2485" fmla="*/ 272 w 10785"/>
                <a:gd name="connsiteY2485" fmla="*/ 7949 h 10000"/>
                <a:gd name="connsiteX2486" fmla="*/ 272 w 10785"/>
                <a:gd name="connsiteY2486" fmla="*/ 7957 h 10000"/>
                <a:gd name="connsiteX2487" fmla="*/ 281 w 10785"/>
                <a:gd name="connsiteY2487" fmla="*/ 7974 h 10000"/>
                <a:gd name="connsiteX2488" fmla="*/ 286 w 10785"/>
                <a:gd name="connsiteY2488" fmla="*/ 7983 h 10000"/>
                <a:gd name="connsiteX2489" fmla="*/ 281 w 10785"/>
                <a:gd name="connsiteY2489" fmla="*/ 8009 h 10000"/>
                <a:gd name="connsiteX2490" fmla="*/ 286 w 10785"/>
                <a:gd name="connsiteY2490" fmla="*/ 8060 h 10000"/>
                <a:gd name="connsiteX2491" fmla="*/ 286 w 10785"/>
                <a:gd name="connsiteY2491" fmla="*/ 8060 h 10000"/>
                <a:gd name="connsiteX2492" fmla="*/ 295 w 10785"/>
                <a:gd name="connsiteY2492" fmla="*/ 8077 h 10000"/>
                <a:gd name="connsiteX2493" fmla="*/ 309 w 10785"/>
                <a:gd name="connsiteY2493" fmla="*/ 8077 h 10000"/>
                <a:gd name="connsiteX2494" fmla="*/ 313 w 10785"/>
                <a:gd name="connsiteY2494" fmla="*/ 8060 h 10000"/>
                <a:gd name="connsiteX2495" fmla="*/ 318 w 10785"/>
                <a:gd name="connsiteY2495" fmla="*/ 8051 h 10000"/>
                <a:gd name="connsiteX2496" fmla="*/ 318 w 10785"/>
                <a:gd name="connsiteY2496" fmla="*/ 8034 h 10000"/>
                <a:gd name="connsiteX2497" fmla="*/ 332 w 10785"/>
                <a:gd name="connsiteY2497" fmla="*/ 8026 h 10000"/>
                <a:gd name="connsiteX2498" fmla="*/ 359 w 10785"/>
                <a:gd name="connsiteY2498" fmla="*/ 8034 h 10000"/>
                <a:gd name="connsiteX2499" fmla="*/ 378 w 10785"/>
                <a:gd name="connsiteY2499" fmla="*/ 8026 h 10000"/>
                <a:gd name="connsiteX2500" fmla="*/ 401 w 10785"/>
                <a:gd name="connsiteY2500" fmla="*/ 8026 h 10000"/>
                <a:gd name="connsiteX2501" fmla="*/ 419 w 10785"/>
                <a:gd name="connsiteY2501" fmla="*/ 8009 h 10000"/>
                <a:gd name="connsiteX2502" fmla="*/ 433 w 10785"/>
                <a:gd name="connsiteY2502" fmla="*/ 8034 h 10000"/>
                <a:gd name="connsiteX2503" fmla="*/ 442 w 10785"/>
                <a:gd name="connsiteY2503" fmla="*/ 8060 h 10000"/>
                <a:gd name="connsiteX2504" fmla="*/ 442 w 10785"/>
                <a:gd name="connsiteY2504" fmla="*/ 8077 h 10000"/>
                <a:gd name="connsiteX2505" fmla="*/ 461 w 10785"/>
                <a:gd name="connsiteY2505" fmla="*/ 8111 h 10000"/>
                <a:gd name="connsiteX2506" fmla="*/ 461 w 10785"/>
                <a:gd name="connsiteY2506" fmla="*/ 8137 h 10000"/>
                <a:gd name="connsiteX2507" fmla="*/ 447 w 10785"/>
                <a:gd name="connsiteY2507" fmla="*/ 8145 h 10000"/>
                <a:gd name="connsiteX2508" fmla="*/ 442 w 10785"/>
                <a:gd name="connsiteY2508" fmla="*/ 8145 h 10000"/>
                <a:gd name="connsiteX2509" fmla="*/ 442 w 10785"/>
                <a:gd name="connsiteY2509" fmla="*/ 8162 h 10000"/>
                <a:gd name="connsiteX2510" fmla="*/ 442 w 10785"/>
                <a:gd name="connsiteY2510" fmla="*/ 8171 h 10000"/>
                <a:gd name="connsiteX2511" fmla="*/ 447 w 10785"/>
                <a:gd name="connsiteY2511" fmla="*/ 8214 h 10000"/>
                <a:gd name="connsiteX2512" fmla="*/ 465 w 10785"/>
                <a:gd name="connsiteY2512" fmla="*/ 8231 h 10000"/>
                <a:gd name="connsiteX2513" fmla="*/ 488 w 10785"/>
                <a:gd name="connsiteY2513" fmla="*/ 8231 h 10000"/>
                <a:gd name="connsiteX2514" fmla="*/ 493 w 10785"/>
                <a:gd name="connsiteY2514" fmla="*/ 8231 h 10000"/>
                <a:gd name="connsiteX2515" fmla="*/ 502 w 10785"/>
                <a:gd name="connsiteY2515" fmla="*/ 8231 h 10000"/>
                <a:gd name="connsiteX2516" fmla="*/ 507 w 10785"/>
                <a:gd name="connsiteY2516" fmla="*/ 8248 h 10000"/>
                <a:gd name="connsiteX2517" fmla="*/ 521 w 10785"/>
                <a:gd name="connsiteY2517" fmla="*/ 8274 h 10000"/>
                <a:gd name="connsiteX2518" fmla="*/ 525 w 10785"/>
                <a:gd name="connsiteY2518" fmla="*/ 8333 h 10000"/>
                <a:gd name="connsiteX2519" fmla="*/ 525 w 10785"/>
                <a:gd name="connsiteY2519" fmla="*/ 8359 h 10000"/>
                <a:gd name="connsiteX2520" fmla="*/ 525 w 10785"/>
                <a:gd name="connsiteY2520" fmla="*/ 8368 h 10000"/>
                <a:gd name="connsiteX2521" fmla="*/ 548 w 10785"/>
                <a:gd name="connsiteY2521" fmla="*/ 8393 h 10000"/>
                <a:gd name="connsiteX2522" fmla="*/ 553 w 10785"/>
                <a:gd name="connsiteY2522" fmla="*/ 8385 h 10000"/>
                <a:gd name="connsiteX2523" fmla="*/ 562 w 10785"/>
                <a:gd name="connsiteY2523" fmla="*/ 8385 h 10000"/>
                <a:gd name="connsiteX2524" fmla="*/ 576 w 10785"/>
                <a:gd name="connsiteY2524" fmla="*/ 8385 h 10000"/>
                <a:gd name="connsiteX2525" fmla="*/ 585 w 10785"/>
                <a:gd name="connsiteY2525" fmla="*/ 8410 h 10000"/>
                <a:gd name="connsiteX2526" fmla="*/ 594 w 10785"/>
                <a:gd name="connsiteY2526" fmla="*/ 8410 h 10000"/>
                <a:gd name="connsiteX2527" fmla="*/ 608 w 10785"/>
                <a:gd name="connsiteY2527" fmla="*/ 8410 h 10000"/>
                <a:gd name="connsiteX2528" fmla="*/ 654 w 10785"/>
                <a:gd name="connsiteY2528" fmla="*/ 8385 h 10000"/>
                <a:gd name="connsiteX2529" fmla="*/ 659 w 10785"/>
                <a:gd name="connsiteY2529" fmla="*/ 8385 h 10000"/>
                <a:gd name="connsiteX2530" fmla="*/ 696 w 10785"/>
                <a:gd name="connsiteY2530" fmla="*/ 8470 h 10000"/>
                <a:gd name="connsiteX2531" fmla="*/ 700 w 10785"/>
                <a:gd name="connsiteY2531" fmla="*/ 8470 h 10000"/>
                <a:gd name="connsiteX2532" fmla="*/ 710 w 10785"/>
                <a:gd name="connsiteY2532" fmla="*/ 8462 h 10000"/>
                <a:gd name="connsiteX2533" fmla="*/ 714 w 10785"/>
                <a:gd name="connsiteY2533" fmla="*/ 8462 h 10000"/>
                <a:gd name="connsiteX2534" fmla="*/ 724 w 10785"/>
                <a:gd name="connsiteY2534" fmla="*/ 8470 h 10000"/>
                <a:gd name="connsiteX2535" fmla="*/ 733 w 10785"/>
                <a:gd name="connsiteY2535" fmla="*/ 8470 h 10000"/>
                <a:gd name="connsiteX2536" fmla="*/ 742 w 10785"/>
                <a:gd name="connsiteY2536" fmla="*/ 8487 h 10000"/>
                <a:gd name="connsiteX2537" fmla="*/ 747 w 10785"/>
                <a:gd name="connsiteY2537" fmla="*/ 8496 h 10000"/>
                <a:gd name="connsiteX2538" fmla="*/ 770 w 10785"/>
                <a:gd name="connsiteY2538" fmla="*/ 8496 h 10000"/>
                <a:gd name="connsiteX2539" fmla="*/ 783 w 10785"/>
                <a:gd name="connsiteY2539" fmla="*/ 8521 h 10000"/>
                <a:gd name="connsiteX2540" fmla="*/ 797 w 10785"/>
                <a:gd name="connsiteY2540" fmla="*/ 8521 h 10000"/>
                <a:gd name="connsiteX2541" fmla="*/ 806 w 10785"/>
                <a:gd name="connsiteY2541" fmla="*/ 8530 h 10000"/>
                <a:gd name="connsiteX2542" fmla="*/ 829 w 10785"/>
                <a:gd name="connsiteY2542" fmla="*/ 8547 h 10000"/>
                <a:gd name="connsiteX2543" fmla="*/ 834 w 10785"/>
                <a:gd name="connsiteY2543" fmla="*/ 8556 h 10000"/>
                <a:gd name="connsiteX2544" fmla="*/ 829 w 10785"/>
                <a:gd name="connsiteY2544" fmla="*/ 8556 h 10000"/>
                <a:gd name="connsiteX2545" fmla="*/ 834 w 10785"/>
                <a:gd name="connsiteY2545" fmla="*/ 8607 h 10000"/>
                <a:gd name="connsiteX2546" fmla="*/ 829 w 10785"/>
                <a:gd name="connsiteY2546" fmla="*/ 8641 h 10000"/>
                <a:gd name="connsiteX2547" fmla="*/ 806 w 10785"/>
                <a:gd name="connsiteY2547" fmla="*/ 8658 h 10000"/>
                <a:gd name="connsiteX2548" fmla="*/ 816 w 10785"/>
                <a:gd name="connsiteY2548" fmla="*/ 8667 h 10000"/>
                <a:gd name="connsiteX2549" fmla="*/ 820 w 10785"/>
                <a:gd name="connsiteY2549" fmla="*/ 8667 h 10000"/>
                <a:gd name="connsiteX2550" fmla="*/ 829 w 10785"/>
                <a:gd name="connsiteY2550" fmla="*/ 8684 h 10000"/>
                <a:gd name="connsiteX2551" fmla="*/ 806 w 10785"/>
                <a:gd name="connsiteY2551" fmla="*/ 8692 h 10000"/>
                <a:gd name="connsiteX2552" fmla="*/ 802 w 10785"/>
                <a:gd name="connsiteY2552" fmla="*/ 8709 h 10000"/>
                <a:gd name="connsiteX2553" fmla="*/ 802 w 10785"/>
                <a:gd name="connsiteY2553" fmla="*/ 8735 h 10000"/>
                <a:gd name="connsiteX2554" fmla="*/ 806 w 10785"/>
                <a:gd name="connsiteY2554" fmla="*/ 8744 h 10000"/>
                <a:gd name="connsiteX2555" fmla="*/ 816 w 10785"/>
                <a:gd name="connsiteY2555" fmla="*/ 8752 h 10000"/>
                <a:gd name="connsiteX2556" fmla="*/ 806 w 10785"/>
                <a:gd name="connsiteY2556" fmla="*/ 8778 h 10000"/>
                <a:gd name="connsiteX2557" fmla="*/ 820 w 10785"/>
                <a:gd name="connsiteY2557" fmla="*/ 8778 h 10000"/>
                <a:gd name="connsiteX2558" fmla="*/ 806 w 10785"/>
                <a:gd name="connsiteY2558" fmla="*/ 8880 h 10000"/>
                <a:gd name="connsiteX2559" fmla="*/ 797 w 10785"/>
                <a:gd name="connsiteY2559" fmla="*/ 8880 h 10000"/>
                <a:gd name="connsiteX2560" fmla="*/ 783 w 10785"/>
                <a:gd name="connsiteY2560" fmla="*/ 8872 h 10000"/>
                <a:gd name="connsiteX2561" fmla="*/ 770 w 10785"/>
                <a:gd name="connsiteY2561" fmla="*/ 8880 h 10000"/>
                <a:gd name="connsiteX2562" fmla="*/ 756 w 10785"/>
                <a:gd name="connsiteY2562" fmla="*/ 8855 h 10000"/>
                <a:gd name="connsiteX2563" fmla="*/ 733 w 10785"/>
                <a:gd name="connsiteY2563" fmla="*/ 8906 h 10000"/>
                <a:gd name="connsiteX2564" fmla="*/ 714 w 10785"/>
                <a:gd name="connsiteY2564" fmla="*/ 8915 h 10000"/>
                <a:gd name="connsiteX2565" fmla="*/ 710 w 10785"/>
                <a:gd name="connsiteY2565" fmla="*/ 8940 h 10000"/>
                <a:gd name="connsiteX2566" fmla="*/ 710 w 10785"/>
                <a:gd name="connsiteY2566" fmla="*/ 9009 h 10000"/>
                <a:gd name="connsiteX2567" fmla="*/ 728 w 10785"/>
                <a:gd name="connsiteY2567" fmla="*/ 8991 h 10000"/>
                <a:gd name="connsiteX2568" fmla="*/ 733 w 10785"/>
                <a:gd name="connsiteY2568" fmla="*/ 8991 h 10000"/>
                <a:gd name="connsiteX2569" fmla="*/ 747 w 10785"/>
                <a:gd name="connsiteY2569" fmla="*/ 8983 h 10000"/>
                <a:gd name="connsiteX2570" fmla="*/ 760 w 10785"/>
                <a:gd name="connsiteY2570" fmla="*/ 8983 h 10000"/>
                <a:gd name="connsiteX2571" fmla="*/ 770 w 10785"/>
                <a:gd name="connsiteY2571" fmla="*/ 8983 h 10000"/>
                <a:gd name="connsiteX2572" fmla="*/ 770 w 10785"/>
                <a:gd name="connsiteY2572" fmla="*/ 8991 h 10000"/>
                <a:gd name="connsiteX2573" fmla="*/ 783 w 10785"/>
                <a:gd name="connsiteY2573" fmla="*/ 8991 h 10000"/>
                <a:gd name="connsiteX2574" fmla="*/ 783 w 10785"/>
                <a:gd name="connsiteY2574" fmla="*/ 9009 h 10000"/>
                <a:gd name="connsiteX2575" fmla="*/ 783 w 10785"/>
                <a:gd name="connsiteY2575" fmla="*/ 9017 h 10000"/>
                <a:gd name="connsiteX2576" fmla="*/ 770 w 10785"/>
                <a:gd name="connsiteY2576" fmla="*/ 9017 h 10000"/>
                <a:gd name="connsiteX2577" fmla="*/ 724 w 10785"/>
                <a:gd name="connsiteY2577" fmla="*/ 9051 h 10000"/>
                <a:gd name="connsiteX2578" fmla="*/ 724 w 10785"/>
                <a:gd name="connsiteY2578" fmla="*/ 9068 h 10000"/>
                <a:gd name="connsiteX2579" fmla="*/ 728 w 10785"/>
                <a:gd name="connsiteY2579" fmla="*/ 9077 h 10000"/>
                <a:gd name="connsiteX2580" fmla="*/ 724 w 10785"/>
                <a:gd name="connsiteY2580" fmla="*/ 9077 h 10000"/>
                <a:gd name="connsiteX2581" fmla="*/ 710 w 10785"/>
                <a:gd name="connsiteY2581" fmla="*/ 9077 h 10000"/>
                <a:gd name="connsiteX2582" fmla="*/ 682 w 10785"/>
                <a:gd name="connsiteY2582" fmla="*/ 9077 h 10000"/>
                <a:gd name="connsiteX2583" fmla="*/ 673 w 10785"/>
                <a:gd name="connsiteY2583" fmla="*/ 9103 h 10000"/>
                <a:gd name="connsiteX2584" fmla="*/ 687 w 10785"/>
                <a:gd name="connsiteY2584" fmla="*/ 9128 h 10000"/>
                <a:gd name="connsiteX2585" fmla="*/ 700 w 10785"/>
                <a:gd name="connsiteY2585" fmla="*/ 9128 h 10000"/>
                <a:gd name="connsiteX2586" fmla="*/ 728 w 10785"/>
                <a:gd name="connsiteY2586" fmla="*/ 9179 h 10000"/>
                <a:gd name="connsiteX2587" fmla="*/ 724 w 10785"/>
                <a:gd name="connsiteY2587" fmla="*/ 9188 h 10000"/>
                <a:gd name="connsiteX2588" fmla="*/ 710 w 10785"/>
                <a:gd name="connsiteY2588" fmla="*/ 9179 h 10000"/>
                <a:gd name="connsiteX2589" fmla="*/ 700 w 10785"/>
                <a:gd name="connsiteY2589" fmla="*/ 9205 h 10000"/>
                <a:gd name="connsiteX2590" fmla="*/ 696 w 10785"/>
                <a:gd name="connsiteY2590" fmla="*/ 9205 h 10000"/>
                <a:gd name="connsiteX2591" fmla="*/ 654 w 10785"/>
                <a:gd name="connsiteY2591" fmla="*/ 9299 h 10000"/>
                <a:gd name="connsiteX2592" fmla="*/ 622 w 10785"/>
                <a:gd name="connsiteY2592" fmla="*/ 9299 h 10000"/>
                <a:gd name="connsiteX2593" fmla="*/ 613 w 10785"/>
                <a:gd name="connsiteY2593" fmla="*/ 9316 h 10000"/>
                <a:gd name="connsiteX2594" fmla="*/ 613 w 10785"/>
                <a:gd name="connsiteY2594" fmla="*/ 9325 h 10000"/>
                <a:gd name="connsiteX2595" fmla="*/ 608 w 10785"/>
                <a:gd name="connsiteY2595" fmla="*/ 9342 h 10000"/>
                <a:gd name="connsiteX2596" fmla="*/ 636 w 10785"/>
                <a:gd name="connsiteY2596" fmla="*/ 9376 h 10000"/>
                <a:gd name="connsiteX2597" fmla="*/ 641 w 10785"/>
                <a:gd name="connsiteY2597" fmla="*/ 9402 h 10000"/>
                <a:gd name="connsiteX2598" fmla="*/ 654 w 10785"/>
                <a:gd name="connsiteY2598" fmla="*/ 9427 h 10000"/>
                <a:gd name="connsiteX2599" fmla="*/ 668 w 10785"/>
                <a:gd name="connsiteY2599" fmla="*/ 9427 h 10000"/>
                <a:gd name="connsiteX2600" fmla="*/ 668 w 10785"/>
                <a:gd name="connsiteY2600" fmla="*/ 9427 h 10000"/>
                <a:gd name="connsiteX2601" fmla="*/ 774 w 10785"/>
                <a:gd name="connsiteY2601" fmla="*/ 9547 h 10000"/>
                <a:gd name="connsiteX2602" fmla="*/ 797 w 10785"/>
                <a:gd name="connsiteY2602" fmla="*/ 9598 h 10000"/>
                <a:gd name="connsiteX2603" fmla="*/ 802 w 10785"/>
                <a:gd name="connsiteY2603" fmla="*/ 9598 h 10000"/>
                <a:gd name="connsiteX2604" fmla="*/ 816 w 10785"/>
                <a:gd name="connsiteY2604" fmla="*/ 9624 h 10000"/>
                <a:gd name="connsiteX2605" fmla="*/ 843 w 10785"/>
                <a:gd name="connsiteY2605" fmla="*/ 9615 h 10000"/>
                <a:gd name="connsiteX2606" fmla="*/ 857 w 10785"/>
                <a:gd name="connsiteY2606" fmla="*/ 9624 h 10000"/>
                <a:gd name="connsiteX2607" fmla="*/ 862 w 10785"/>
                <a:gd name="connsiteY2607" fmla="*/ 9615 h 10000"/>
                <a:gd name="connsiteX2608" fmla="*/ 880 w 10785"/>
                <a:gd name="connsiteY2608" fmla="*/ 9624 h 10000"/>
                <a:gd name="connsiteX2609" fmla="*/ 889 w 10785"/>
                <a:gd name="connsiteY2609" fmla="*/ 9641 h 10000"/>
                <a:gd name="connsiteX2610" fmla="*/ 935 w 10785"/>
                <a:gd name="connsiteY2610" fmla="*/ 9675 h 10000"/>
                <a:gd name="connsiteX2611" fmla="*/ 977 w 10785"/>
                <a:gd name="connsiteY2611" fmla="*/ 9667 h 10000"/>
                <a:gd name="connsiteX2612" fmla="*/ 995 w 10785"/>
                <a:gd name="connsiteY2612" fmla="*/ 9675 h 10000"/>
                <a:gd name="connsiteX2613" fmla="*/ 1014 w 10785"/>
                <a:gd name="connsiteY2613" fmla="*/ 9675 h 10000"/>
                <a:gd name="connsiteX2614" fmla="*/ 1069 w 10785"/>
                <a:gd name="connsiteY2614" fmla="*/ 9752 h 10000"/>
                <a:gd name="connsiteX2615" fmla="*/ 1074 w 10785"/>
                <a:gd name="connsiteY2615" fmla="*/ 9761 h 10000"/>
                <a:gd name="connsiteX2616" fmla="*/ 1083 w 10785"/>
                <a:gd name="connsiteY2616" fmla="*/ 9778 h 10000"/>
                <a:gd name="connsiteX2617" fmla="*/ 1115 w 10785"/>
                <a:gd name="connsiteY2617" fmla="*/ 9752 h 10000"/>
                <a:gd name="connsiteX2618" fmla="*/ 1129 w 10785"/>
                <a:gd name="connsiteY2618" fmla="*/ 9752 h 10000"/>
                <a:gd name="connsiteX2619" fmla="*/ 1138 w 10785"/>
                <a:gd name="connsiteY2619" fmla="*/ 9761 h 10000"/>
                <a:gd name="connsiteX2620" fmla="*/ 1143 w 10785"/>
                <a:gd name="connsiteY2620" fmla="*/ 9752 h 10000"/>
                <a:gd name="connsiteX2621" fmla="*/ 1161 w 10785"/>
                <a:gd name="connsiteY2621" fmla="*/ 9761 h 10000"/>
                <a:gd name="connsiteX2622" fmla="*/ 1171 w 10785"/>
                <a:gd name="connsiteY2622" fmla="*/ 9778 h 10000"/>
                <a:gd name="connsiteX2623" fmla="*/ 1175 w 10785"/>
                <a:gd name="connsiteY2623" fmla="*/ 9778 h 10000"/>
                <a:gd name="connsiteX2624" fmla="*/ 1189 w 10785"/>
                <a:gd name="connsiteY2624" fmla="*/ 9778 h 10000"/>
                <a:gd name="connsiteX2625" fmla="*/ 1198 w 10785"/>
                <a:gd name="connsiteY2625" fmla="*/ 9786 h 10000"/>
                <a:gd name="connsiteX2626" fmla="*/ 1203 w 10785"/>
                <a:gd name="connsiteY2626" fmla="*/ 9803 h 10000"/>
                <a:gd name="connsiteX2627" fmla="*/ 1198 w 10785"/>
                <a:gd name="connsiteY2627" fmla="*/ 9838 h 10000"/>
                <a:gd name="connsiteX2628" fmla="*/ 1212 w 10785"/>
                <a:gd name="connsiteY2628" fmla="*/ 9863 h 10000"/>
                <a:gd name="connsiteX2629" fmla="*/ 1230 w 10785"/>
                <a:gd name="connsiteY2629" fmla="*/ 9872 h 10000"/>
                <a:gd name="connsiteX2630" fmla="*/ 1249 w 10785"/>
                <a:gd name="connsiteY2630" fmla="*/ 9897 h 10000"/>
                <a:gd name="connsiteX2631" fmla="*/ 1263 w 10785"/>
                <a:gd name="connsiteY2631" fmla="*/ 9897 h 10000"/>
                <a:gd name="connsiteX2632" fmla="*/ 1276 w 10785"/>
                <a:gd name="connsiteY2632" fmla="*/ 9923 h 10000"/>
                <a:gd name="connsiteX2633" fmla="*/ 1281 w 10785"/>
                <a:gd name="connsiteY2633" fmla="*/ 9949 h 10000"/>
                <a:gd name="connsiteX2634" fmla="*/ 1290 w 10785"/>
                <a:gd name="connsiteY2634" fmla="*/ 9949 h 10000"/>
                <a:gd name="connsiteX2635" fmla="*/ 1295 w 10785"/>
                <a:gd name="connsiteY2635" fmla="*/ 10000 h 10000"/>
                <a:gd name="connsiteX2636" fmla="*/ 1332 w 10785"/>
                <a:gd name="connsiteY2636" fmla="*/ 10000 h 10000"/>
                <a:gd name="connsiteX2637" fmla="*/ 1336 w 10785"/>
                <a:gd name="connsiteY2637" fmla="*/ 10000 h 10000"/>
                <a:gd name="connsiteX2638" fmla="*/ 1346 w 10785"/>
                <a:gd name="connsiteY2638" fmla="*/ 9983 h 10000"/>
                <a:gd name="connsiteX2639" fmla="*/ 1350 w 10785"/>
                <a:gd name="connsiteY2639" fmla="*/ 9949 h 10000"/>
                <a:gd name="connsiteX2640" fmla="*/ 1369 w 10785"/>
                <a:gd name="connsiteY2640" fmla="*/ 9940 h 10000"/>
                <a:gd name="connsiteX2641" fmla="*/ 1378 w 10785"/>
                <a:gd name="connsiteY2641" fmla="*/ 9897 h 10000"/>
                <a:gd name="connsiteX2642" fmla="*/ 1369 w 10785"/>
                <a:gd name="connsiteY2642" fmla="*/ 9889 h 10000"/>
                <a:gd name="connsiteX2643" fmla="*/ 1318 w 10785"/>
                <a:gd name="connsiteY2643" fmla="*/ 9701 h 10000"/>
                <a:gd name="connsiteX2644" fmla="*/ 1318 w 10785"/>
                <a:gd name="connsiteY2644" fmla="*/ 9650 h 10000"/>
                <a:gd name="connsiteX2645" fmla="*/ 1323 w 10785"/>
                <a:gd name="connsiteY2645" fmla="*/ 9590 h 10000"/>
                <a:gd name="connsiteX2646" fmla="*/ 1323 w 10785"/>
                <a:gd name="connsiteY2646" fmla="*/ 9564 h 10000"/>
                <a:gd name="connsiteX2647" fmla="*/ 1309 w 10785"/>
                <a:gd name="connsiteY2647" fmla="*/ 9598 h 10000"/>
                <a:gd name="connsiteX2648" fmla="*/ 1309 w 10785"/>
                <a:gd name="connsiteY2648" fmla="*/ 9590 h 10000"/>
                <a:gd name="connsiteX2649" fmla="*/ 1304 w 10785"/>
                <a:gd name="connsiteY2649" fmla="*/ 9547 h 10000"/>
                <a:gd name="connsiteX2650" fmla="*/ 1276 w 10785"/>
                <a:gd name="connsiteY2650" fmla="*/ 9479 h 10000"/>
                <a:gd name="connsiteX2651" fmla="*/ 1263 w 10785"/>
                <a:gd name="connsiteY2651" fmla="*/ 9479 h 10000"/>
                <a:gd name="connsiteX2652" fmla="*/ 1263 w 10785"/>
                <a:gd name="connsiteY2652" fmla="*/ 9453 h 10000"/>
                <a:gd name="connsiteX2653" fmla="*/ 1272 w 10785"/>
                <a:gd name="connsiteY2653" fmla="*/ 9410 h 10000"/>
                <a:gd name="connsiteX2654" fmla="*/ 1272 w 10785"/>
                <a:gd name="connsiteY2654" fmla="*/ 9393 h 10000"/>
                <a:gd name="connsiteX2655" fmla="*/ 1281 w 10785"/>
                <a:gd name="connsiteY2655" fmla="*/ 9368 h 10000"/>
                <a:gd name="connsiteX2656" fmla="*/ 1281 w 10785"/>
                <a:gd name="connsiteY2656" fmla="*/ 9368 h 10000"/>
                <a:gd name="connsiteX2657" fmla="*/ 1290 w 10785"/>
                <a:gd name="connsiteY2657" fmla="*/ 9368 h 10000"/>
                <a:gd name="connsiteX2658" fmla="*/ 1290 w 10785"/>
                <a:gd name="connsiteY2658" fmla="*/ 9342 h 10000"/>
                <a:gd name="connsiteX2659" fmla="*/ 1304 w 10785"/>
                <a:gd name="connsiteY2659" fmla="*/ 9325 h 10000"/>
                <a:gd name="connsiteX2660" fmla="*/ 1309 w 10785"/>
                <a:gd name="connsiteY2660" fmla="*/ 9239 h 10000"/>
                <a:gd name="connsiteX2661" fmla="*/ 1318 w 10785"/>
                <a:gd name="connsiteY2661" fmla="*/ 9256 h 10000"/>
                <a:gd name="connsiteX2662" fmla="*/ 1323 w 10785"/>
                <a:gd name="connsiteY2662" fmla="*/ 9179 h 10000"/>
                <a:gd name="connsiteX2663" fmla="*/ 1309 w 10785"/>
                <a:gd name="connsiteY2663" fmla="*/ 9145 h 10000"/>
                <a:gd name="connsiteX2664" fmla="*/ 1336 w 10785"/>
                <a:gd name="connsiteY2664" fmla="*/ 9154 h 10000"/>
                <a:gd name="connsiteX2665" fmla="*/ 1336 w 10785"/>
                <a:gd name="connsiteY2665" fmla="*/ 9162 h 10000"/>
                <a:gd name="connsiteX2666" fmla="*/ 1350 w 10785"/>
                <a:gd name="connsiteY2666" fmla="*/ 9231 h 10000"/>
                <a:gd name="connsiteX2667" fmla="*/ 1355 w 10785"/>
                <a:gd name="connsiteY2667" fmla="*/ 9231 h 10000"/>
                <a:gd name="connsiteX2668" fmla="*/ 1364 w 10785"/>
                <a:gd name="connsiteY2668" fmla="*/ 9214 h 10000"/>
                <a:gd name="connsiteX2669" fmla="*/ 1369 w 10785"/>
                <a:gd name="connsiteY2669" fmla="*/ 9214 h 10000"/>
                <a:gd name="connsiteX2670" fmla="*/ 1382 w 10785"/>
                <a:gd name="connsiteY2670" fmla="*/ 9154 h 10000"/>
                <a:gd name="connsiteX2671" fmla="*/ 1396 w 10785"/>
                <a:gd name="connsiteY2671" fmla="*/ 9154 h 10000"/>
                <a:gd name="connsiteX2672" fmla="*/ 1382 w 10785"/>
                <a:gd name="connsiteY2672" fmla="*/ 9145 h 10000"/>
                <a:gd name="connsiteX2673" fmla="*/ 1382 w 10785"/>
                <a:gd name="connsiteY2673" fmla="*/ 9128 h 10000"/>
                <a:gd name="connsiteX2674" fmla="*/ 1369 w 10785"/>
                <a:gd name="connsiteY2674" fmla="*/ 9128 h 10000"/>
                <a:gd name="connsiteX2675" fmla="*/ 1364 w 10785"/>
                <a:gd name="connsiteY2675" fmla="*/ 9128 h 10000"/>
                <a:gd name="connsiteX2676" fmla="*/ 1355 w 10785"/>
                <a:gd name="connsiteY2676" fmla="*/ 9120 h 10000"/>
                <a:gd name="connsiteX2677" fmla="*/ 1350 w 10785"/>
                <a:gd name="connsiteY2677" fmla="*/ 9103 h 10000"/>
                <a:gd name="connsiteX2678" fmla="*/ 1355 w 10785"/>
                <a:gd name="connsiteY2678" fmla="*/ 9094 h 10000"/>
                <a:gd name="connsiteX2679" fmla="*/ 1355 w 10785"/>
                <a:gd name="connsiteY2679" fmla="*/ 9068 h 10000"/>
                <a:gd name="connsiteX2680" fmla="*/ 1369 w 10785"/>
                <a:gd name="connsiteY2680" fmla="*/ 9068 h 10000"/>
                <a:gd name="connsiteX2681" fmla="*/ 1378 w 10785"/>
                <a:gd name="connsiteY2681" fmla="*/ 9077 h 10000"/>
                <a:gd name="connsiteX2682" fmla="*/ 1396 w 10785"/>
                <a:gd name="connsiteY2682" fmla="*/ 9068 h 10000"/>
                <a:gd name="connsiteX2683" fmla="*/ 1382 w 10785"/>
                <a:gd name="connsiteY2683" fmla="*/ 8940 h 10000"/>
                <a:gd name="connsiteX2684" fmla="*/ 1378 w 10785"/>
                <a:gd name="connsiteY2684" fmla="*/ 8940 h 10000"/>
                <a:gd name="connsiteX2685" fmla="*/ 1364 w 10785"/>
                <a:gd name="connsiteY2685" fmla="*/ 8889 h 10000"/>
                <a:gd name="connsiteX2686" fmla="*/ 1355 w 10785"/>
                <a:gd name="connsiteY2686" fmla="*/ 8880 h 10000"/>
                <a:gd name="connsiteX2687" fmla="*/ 1323 w 10785"/>
                <a:gd name="connsiteY2687" fmla="*/ 8880 h 10000"/>
                <a:gd name="connsiteX2688" fmla="*/ 1309 w 10785"/>
                <a:gd name="connsiteY2688" fmla="*/ 8880 h 10000"/>
                <a:gd name="connsiteX2689" fmla="*/ 1309 w 10785"/>
                <a:gd name="connsiteY2689" fmla="*/ 8889 h 10000"/>
                <a:gd name="connsiteX2690" fmla="*/ 1295 w 10785"/>
                <a:gd name="connsiteY2690" fmla="*/ 8872 h 10000"/>
                <a:gd name="connsiteX2691" fmla="*/ 1290 w 10785"/>
                <a:gd name="connsiteY2691" fmla="*/ 8855 h 10000"/>
                <a:gd name="connsiteX2692" fmla="*/ 1290 w 10785"/>
                <a:gd name="connsiteY2692" fmla="*/ 8829 h 10000"/>
                <a:gd name="connsiteX2693" fmla="*/ 1290 w 10785"/>
                <a:gd name="connsiteY2693" fmla="*/ 8821 h 10000"/>
                <a:gd name="connsiteX2694" fmla="*/ 1290 w 10785"/>
                <a:gd name="connsiteY2694" fmla="*/ 8803 h 10000"/>
                <a:gd name="connsiteX2695" fmla="*/ 1281 w 10785"/>
                <a:gd name="connsiteY2695" fmla="*/ 8795 h 10000"/>
                <a:gd name="connsiteX2696" fmla="*/ 1249 w 10785"/>
                <a:gd name="connsiteY2696" fmla="*/ 8769 h 10000"/>
                <a:gd name="connsiteX2697" fmla="*/ 1263 w 10785"/>
                <a:gd name="connsiteY2697" fmla="*/ 8667 h 10000"/>
                <a:gd name="connsiteX2698" fmla="*/ 1281 w 10785"/>
                <a:gd name="connsiteY2698" fmla="*/ 8658 h 10000"/>
                <a:gd name="connsiteX2699" fmla="*/ 1290 w 10785"/>
                <a:gd name="connsiteY2699" fmla="*/ 8632 h 10000"/>
                <a:gd name="connsiteX2700" fmla="*/ 1281 w 10785"/>
                <a:gd name="connsiteY2700" fmla="*/ 8615 h 10000"/>
                <a:gd name="connsiteX2701" fmla="*/ 1272 w 10785"/>
                <a:gd name="connsiteY2701" fmla="*/ 8598 h 10000"/>
                <a:gd name="connsiteX2702" fmla="*/ 1281 w 10785"/>
                <a:gd name="connsiteY2702" fmla="*/ 8496 h 10000"/>
                <a:gd name="connsiteX2703" fmla="*/ 1295 w 10785"/>
                <a:gd name="connsiteY2703" fmla="*/ 8470 h 10000"/>
                <a:gd name="connsiteX2704" fmla="*/ 1304 w 10785"/>
                <a:gd name="connsiteY2704" fmla="*/ 8462 h 10000"/>
                <a:gd name="connsiteX2705" fmla="*/ 1304 w 10785"/>
                <a:gd name="connsiteY2705" fmla="*/ 8444 h 10000"/>
                <a:gd name="connsiteX2706" fmla="*/ 1304 w 10785"/>
                <a:gd name="connsiteY2706" fmla="*/ 8419 h 10000"/>
                <a:gd name="connsiteX2707" fmla="*/ 1304 w 10785"/>
                <a:gd name="connsiteY2707" fmla="*/ 8410 h 10000"/>
                <a:gd name="connsiteX2708" fmla="*/ 1309 w 10785"/>
                <a:gd name="connsiteY2708" fmla="*/ 8393 h 10000"/>
                <a:gd name="connsiteX2709" fmla="*/ 1318 w 10785"/>
                <a:gd name="connsiteY2709" fmla="*/ 8385 h 10000"/>
                <a:gd name="connsiteX2710" fmla="*/ 1323 w 10785"/>
                <a:gd name="connsiteY2710" fmla="*/ 8385 h 10000"/>
                <a:gd name="connsiteX2711" fmla="*/ 1332 w 10785"/>
                <a:gd name="connsiteY2711" fmla="*/ 8410 h 10000"/>
                <a:gd name="connsiteX2712" fmla="*/ 1346 w 10785"/>
                <a:gd name="connsiteY2712" fmla="*/ 8419 h 10000"/>
                <a:gd name="connsiteX2713" fmla="*/ 1364 w 10785"/>
                <a:gd name="connsiteY2713" fmla="*/ 8504 h 10000"/>
                <a:gd name="connsiteX2714" fmla="*/ 1369 w 10785"/>
                <a:gd name="connsiteY2714" fmla="*/ 8521 h 10000"/>
                <a:gd name="connsiteX2715" fmla="*/ 1406 w 10785"/>
                <a:gd name="connsiteY2715" fmla="*/ 8470 h 10000"/>
                <a:gd name="connsiteX2716" fmla="*/ 1382 w 10785"/>
                <a:gd name="connsiteY2716" fmla="*/ 8359 h 10000"/>
                <a:gd name="connsiteX2717" fmla="*/ 1392 w 10785"/>
                <a:gd name="connsiteY2717" fmla="*/ 8359 h 10000"/>
                <a:gd name="connsiteX2718" fmla="*/ 1438 w 10785"/>
                <a:gd name="connsiteY2718" fmla="*/ 8308 h 10000"/>
                <a:gd name="connsiteX2719" fmla="*/ 1442 w 10785"/>
                <a:gd name="connsiteY2719" fmla="*/ 8299 h 10000"/>
                <a:gd name="connsiteX2720" fmla="*/ 1442 w 10785"/>
                <a:gd name="connsiteY2720" fmla="*/ 8256 h 10000"/>
                <a:gd name="connsiteX2721" fmla="*/ 1452 w 10785"/>
                <a:gd name="connsiteY2721" fmla="*/ 8256 h 10000"/>
                <a:gd name="connsiteX2722" fmla="*/ 1456 w 10785"/>
                <a:gd name="connsiteY2722" fmla="*/ 8256 h 10000"/>
                <a:gd name="connsiteX2723" fmla="*/ 1470 w 10785"/>
                <a:gd name="connsiteY2723" fmla="*/ 8248 h 10000"/>
                <a:gd name="connsiteX2724" fmla="*/ 1479 w 10785"/>
                <a:gd name="connsiteY2724" fmla="*/ 8231 h 10000"/>
                <a:gd name="connsiteX2725" fmla="*/ 1493 w 10785"/>
                <a:gd name="connsiteY2725" fmla="*/ 8222 h 10000"/>
                <a:gd name="connsiteX2726" fmla="*/ 1498 w 10785"/>
                <a:gd name="connsiteY2726" fmla="*/ 8214 h 10000"/>
                <a:gd name="connsiteX2727" fmla="*/ 1502 w 10785"/>
                <a:gd name="connsiteY2727" fmla="*/ 8197 h 10000"/>
                <a:gd name="connsiteX2728" fmla="*/ 1512 w 10785"/>
                <a:gd name="connsiteY2728" fmla="*/ 8188 h 10000"/>
                <a:gd name="connsiteX2729" fmla="*/ 1516 w 10785"/>
                <a:gd name="connsiteY2729" fmla="*/ 8171 h 10000"/>
                <a:gd name="connsiteX2730" fmla="*/ 1525 w 10785"/>
                <a:gd name="connsiteY2730" fmla="*/ 8162 h 10000"/>
                <a:gd name="connsiteX2731" fmla="*/ 1539 w 10785"/>
                <a:gd name="connsiteY2731" fmla="*/ 8145 h 10000"/>
                <a:gd name="connsiteX2732" fmla="*/ 1558 w 10785"/>
                <a:gd name="connsiteY2732" fmla="*/ 8145 h 10000"/>
                <a:gd name="connsiteX2733" fmla="*/ 1562 w 10785"/>
                <a:gd name="connsiteY2733" fmla="*/ 8188 h 10000"/>
                <a:gd name="connsiteX2734" fmla="*/ 1585 w 10785"/>
                <a:gd name="connsiteY2734" fmla="*/ 8171 h 10000"/>
                <a:gd name="connsiteX2735" fmla="*/ 1590 w 10785"/>
                <a:gd name="connsiteY2735" fmla="*/ 8188 h 10000"/>
                <a:gd name="connsiteX2736" fmla="*/ 1599 w 10785"/>
                <a:gd name="connsiteY2736" fmla="*/ 8171 h 10000"/>
                <a:gd name="connsiteX2737" fmla="*/ 1599 w 10785"/>
                <a:gd name="connsiteY2737" fmla="*/ 8162 h 10000"/>
                <a:gd name="connsiteX2738" fmla="*/ 1604 w 10785"/>
                <a:gd name="connsiteY2738" fmla="*/ 8137 h 10000"/>
                <a:gd name="connsiteX2739" fmla="*/ 1618 w 10785"/>
                <a:gd name="connsiteY2739" fmla="*/ 8145 h 10000"/>
                <a:gd name="connsiteX2740" fmla="*/ 1627 w 10785"/>
                <a:gd name="connsiteY2740" fmla="*/ 8137 h 10000"/>
                <a:gd name="connsiteX2741" fmla="*/ 1631 w 10785"/>
                <a:gd name="connsiteY2741" fmla="*/ 8137 h 10000"/>
                <a:gd name="connsiteX2742" fmla="*/ 1636 w 10785"/>
                <a:gd name="connsiteY2742" fmla="*/ 8171 h 10000"/>
                <a:gd name="connsiteX2743" fmla="*/ 1645 w 10785"/>
                <a:gd name="connsiteY2743" fmla="*/ 8188 h 10000"/>
                <a:gd name="connsiteX2744" fmla="*/ 1664 w 10785"/>
                <a:gd name="connsiteY2744" fmla="*/ 8171 h 10000"/>
                <a:gd name="connsiteX2745" fmla="*/ 1673 w 10785"/>
                <a:gd name="connsiteY2745" fmla="*/ 8188 h 10000"/>
                <a:gd name="connsiteX2746" fmla="*/ 1691 w 10785"/>
                <a:gd name="connsiteY2746" fmla="*/ 8171 h 10000"/>
                <a:gd name="connsiteX2747" fmla="*/ 1705 w 10785"/>
                <a:gd name="connsiteY2747" fmla="*/ 8171 h 10000"/>
                <a:gd name="connsiteX2748" fmla="*/ 1719 w 10785"/>
                <a:gd name="connsiteY2748" fmla="*/ 8197 h 10000"/>
                <a:gd name="connsiteX2749" fmla="*/ 1724 w 10785"/>
                <a:gd name="connsiteY2749" fmla="*/ 8231 h 10000"/>
                <a:gd name="connsiteX2750" fmla="*/ 1751 w 10785"/>
                <a:gd name="connsiteY2750" fmla="*/ 8256 h 10000"/>
                <a:gd name="connsiteX2751" fmla="*/ 1751 w 10785"/>
                <a:gd name="connsiteY2751" fmla="*/ 8274 h 10000"/>
                <a:gd name="connsiteX2752" fmla="*/ 1760 w 10785"/>
                <a:gd name="connsiteY2752" fmla="*/ 8282 h 10000"/>
                <a:gd name="connsiteX2753" fmla="*/ 1770 w 10785"/>
                <a:gd name="connsiteY2753" fmla="*/ 8325 h 10000"/>
                <a:gd name="connsiteX2754" fmla="*/ 1770 w 10785"/>
                <a:gd name="connsiteY2754" fmla="*/ 8350 h 10000"/>
                <a:gd name="connsiteX2755" fmla="*/ 1779 w 10785"/>
                <a:gd name="connsiteY2755" fmla="*/ 8368 h 10000"/>
                <a:gd name="connsiteX2756" fmla="*/ 1783 w 10785"/>
                <a:gd name="connsiteY2756" fmla="*/ 8359 h 10000"/>
                <a:gd name="connsiteX2757" fmla="*/ 1783 w 10785"/>
                <a:gd name="connsiteY2757" fmla="*/ 8308 h 10000"/>
                <a:gd name="connsiteX2758" fmla="*/ 1779 w 10785"/>
                <a:gd name="connsiteY2758" fmla="*/ 8299 h 10000"/>
                <a:gd name="connsiteX2759" fmla="*/ 1783 w 10785"/>
                <a:gd name="connsiteY2759" fmla="*/ 8282 h 10000"/>
                <a:gd name="connsiteX2760" fmla="*/ 1797 w 10785"/>
                <a:gd name="connsiteY2760" fmla="*/ 8274 h 10000"/>
                <a:gd name="connsiteX2761" fmla="*/ 1797 w 10785"/>
                <a:gd name="connsiteY2761" fmla="*/ 8299 h 10000"/>
                <a:gd name="connsiteX2762" fmla="*/ 1806 w 10785"/>
                <a:gd name="connsiteY2762" fmla="*/ 8308 h 10000"/>
                <a:gd name="connsiteX2763" fmla="*/ 1811 w 10785"/>
                <a:gd name="connsiteY2763" fmla="*/ 8325 h 10000"/>
                <a:gd name="connsiteX2764" fmla="*/ 1820 w 10785"/>
                <a:gd name="connsiteY2764" fmla="*/ 8333 h 10000"/>
                <a:gd name="connsiteX2765" fmla="*/ 1853 w 10785"/>
                <a:gd name="connsiteY2765" fmla="*/ 8359 h 10000"/>
                <a:gd name="connsiteX2766" fmla="*/ 1866 w 10785"/>
                <a:gd name="connsiteY2766" fmla="*/ 8359 h 10000"/>
                <a:gd name="connsiteX2767" fmla="*/ 1885 w 10785"/>
                <a:gd name="connsiteY2767" fmla="*/ 8325 h 10000"/>
                <a:gd name="connsiteX2768" fmla="*/ 1885 w 10785"/>
                <a:gd name="connsiteY2768" fmla="*/ 8308 h 10000"/>
                <a:gd name="connsiteX2769" fmla="*/ 1894 w 10785"/>
                <a:gd name="connsiteY2769" fmla="*/ 8299 h 10000"/>
                <a:gd name="connsiteX2770" fmla="*/ 1899 w 10785"/>
                <a:gd name="connsiteY2770" fmla="*/ 8282 h 10000"/>
                <a:gd name="connsiteX2771" fmla="*/ 1912 w 10785"/>
                <a:gd name="connsiteY2771" fmla="*/ 8282 h 10000"/>
                <a:gd name="connsiteX2772" fmla="*/ 1917 w 10785"/>
                <a:gd name="connsiteY2772" fmla="*/ 8299 h 10000"/>
                <a:gd name="connsiteX2773" fmla="*/ 1917 w 10785"/>
                <a:gd name="connsiteY2773" fmla="*/ 8274 h 10000"/>
                <a:gd name="connsiteX2774" fmla="*/ 1940 w 10785"/>
                <a:gd name="connsiteY2774" fmla="*/ 8282 h 10000"/>
                <a:gd name="connsiteX2775" fmla="*/ 1945 w 10785"/>
                <a:gd name="connsiteY2775" fmla="*/ 8274 h 10000"/>
                <a:gd name="connsiteX2776" fmla="*/ 1972 w 10785"/>
                <a:gd name="connsiteY2776" fmla="*/ 8308 h 10000"/>
                <a:gd name="connsiteX2777" fmla="*/ 1986 w 10785"/>
                <a:gd name="connsiteY2777" fmla="*/ 8282 h 10000"/>
                <a:gd name="connsiteX2778" fmla="*/ 1991 w 10785"/>
                <a:gd name="connsiteY2778" fmla="*/ 8274 h 10000"/>
                <a:gd name="connsiteX2779" fmla="*/ 2014 w 10785"/>
                <a:gd name="connsiteY2779" fmla="*/ 8274 h 10000"/>
                <a:gd name="connsiteX2780" fmla="*/ 2018 w 10785"/>
                <a:gd name="connsiteY2780" fmla="*/ 8256 h 10000"/>
                <a:gd name="connsiteX2781" fmla="*/ 2041 w 10785"/>
                <a:gd name="connsiteY2781" fmla="*/ 8274 h 10000"/>
                <a:gd name="connsiteX2782" fmla="*/ 2046 w 10785"/>
                <a:gd name="connsiteY2782" fmla="*/ 8282 h 10000"/>
                <a:gd name="connsiteX2783" fmla="*/ 2046 w 10785"/>
                <a:gd name="connsiteY2783" fmla="*/ 8325 h 10000"/>
                <a:gd name="connsiteX2784" fmla="*/ 2060 w 10785"/>
                <a:gd name="connsiteY2784" fmla="*/ 8350 h 10000"/>
                <a:gd name="connsiteX2785" fmla="*/ 2078 w 10785"/>
                <a:gd name="connsiteY2785" fmla="*/ 8350 h 10000"/>
                <a:gd name="connsiteX2786" fmla="*/ 2092 w 10785"/>
                <a:gd name="connsiteY2786" fmla="*/ 8350 h 10000"/>
                <a:gd name="connsiteX2787" fmla="*/ 2092 w 10785"/>
                <a:gd name="connsiteY2787" fmla="*/ 8350 h 10000"/>
                <a:gd name="connsiteX2788" fmla="*/ 2101 w 10785"/>
                <a:gd name="connsiteY2788" fmla="*/ 8368 h 10000"/>
                <a:gd name="connsiteX2789" fmla="*/ 2120 w 10785"/>
                <a:gd name="connsiteY2789" fmla="*/ 8368 h 10000"/>
                <a:gd name="connsiteX2790" fmla="*/ 2124 w 10785"/>
                <a:gd name="connsiteY2790" fmla="*/ 8359 h 10000"/>
                <a:gd name="connsiteX2791" fmla="*/ 2138 w 10785"/>
                <a:gd name="connsiteY2791" fmla="*/ 8325 h 10000"/>
                <a:gd name="connsiteX2792" fmla="*/ 2147 w 10785"/>
                <a:gd name="connsiteY2792" fmla="*/ 8325 h 10000"/>
                <a:gd name="connsiteX2793" fmla="*/ 2161 w 10785"/>
                <a:gd name="connsiteY2793" fmla="*/ 8350 h 10000"/>
                <a:gd name="connsiteX2794" fmla="*/ 2198 w 10785"/>
                <a:gd name="connsiteY2794" fmla="*/ 8350 h 10000"/>
                <a:gd name="connsiteX2795" fmla="*/ 2207 w 10785"/>
                <a:gd name="connsiteY2795" fmla="*/ 8333 h 10000"/>
                <a:gd name="connsiteX2796" fmla="*/ 2226 w 10785"/>
                <a:gd name="connsiteY2796" fmla="*/ 8325 h 10000"/>
                <a:gd name="connsiteX2797" fmla="*/ 2249 w 10785"/>
                <a:gd name="connsiteY2797" fmla="*/ 8222 h 10000"/>
                <a:gd name="connsiteX2798" fmla="*/ 2235 w 10785"/>
                <a:gd name="connsiteY2798" fmla="*/ 8197 h 10000"/>
                <a:gd name="connsiteX2799" fmla="*/ 2198 w 10785"/>
                <a:gd name="connsiteY2799" fmla="*/ 8197 h 10000"/>
                <a:gd name="connsiteX2800" fmla="*/ 2189 w 10785"/>
                <a:gd name="connsiteY2800" fmla="*/ 8171 h 10000"/>
                <a:gd name="connsiteX2801" fmla="*/ 2161 w 10785"/>
                <a:gd name="connsiteY2801" fmla="*/ 8145 h 10000"/>
                <a:gd name="connsiteX2802" fmla="*/ 2161 w 10785"/>
                <a:gd name="connsiteY2802" fmla="*/ 8137 h 10000"/>
                <a:gd name="connsiteX2803" fmla="*/ 2152 w 10785"/>
                <a:gd name="connsiteY2803" fmla="*/ 8120 h 10000"/>
                <a:gd name="connsiteX2804" fmla="*/ 2138 w 10785"/>
                <a:gd name="connsiteY2804" fmla="*/ 8111 h 10000"/>
                <a:gd name="connsiteX2805" fmla="*/ 2138 w 10785"/>
                <a:gd name="connsiteY2805" fmla="*/ 8094 h 10000"/>
                <a:gd name="connsiteX2806" fmla="*/ 2147 w 10785"/>
                <a:gd name="connsiteY2806" fmla="*/ 8085 h 10000"/>
                <a:gd name="connsiteX2807" fmla="*/ 2161 w 10785"/>
                <a:gd name="connsiteY2807" fmla="*/ 8060 h 10000"/>
                <a:gd name="connsiteX2808" fmla="*/ 2198 w 10785"/>
                <a:gd name="connsiteY2808" fmla="*/ 8034 h 10000"/>
                <a:gd name="connsiteX2809" fmla="*/ 2198 w 10785"/>
                <a:gd name="connsiteY2809" fmla="*/ 8026 h 10000"/>
                <a:gd name="connsiteX2810" fmla="*/ 2198 w 10785"/>
                <a:gd name="connsiteY2810" fmla="*/ 8000 h 10000"/>
                <a:gd name="connsiteX2811" fmla="*/ 2180 w 10785"/>
                <a:gd name="connsiteY2811" fmla="*/ 7940 h 10000"/>
                <a:gd name="connsiteX2812" fmla="*/ 2189 w 10785"/>
                <a:gd name="connsiteY2812" fmla="*/ 7940 h 10000"/>
                <a:gd name="connsiteX2813" fmla="*/ 2198 w 10785"/>
                <a:gd name="connsiteY2813" fmla="*/ 7923 h 10000"/>
                <a:gd name="connsiteX2814" fmla="*/ 2198 w 10785"/>
                <a:gd name="connsiteY2814" fmla="*/ 7897 h 10000"/>
                <a:gd name="connsiteX2815" fmla="*/ 2207 w 10785"/>
                <a:gd name="connsiteY2815" fmla="*/ 7889 h 10000"/>
                <a:gd name="connsiteX2816" fmla="*/ 2221 w 10785"/>
                <a:gd name="connsiteY2816" fmla="*/ 7889 h 10000"/>
                <a:gd name="connsiteX2817" fmla="*/ 2226 w 10785"/>
                <a:gd name="connsiteY2817" fmla="*/ 7897 h 10000"/>
                <a:gd name="connsiteX2818" fmla="*/ 2235 w 10785"/>
                <a:gd name="connsiteY2818" fmla="*/ 7889 h 10000"/>
                <a:gd name="connsiteX2819" fmla="*/ 2249 w 10785"/>
                <a:gd name="connsiteY2819" fmla="*/ 7897 h 10000"/>
                <a:gd name="connsiteX2820" fmla="*/ 2267 w 10785"/>
                <a:gd name="connsiteY2820" fmla="*/ 7897 h 10000"/>
                <a:gd name="connsiteX2821" fmla="*/ 2272 w 10785"/>
                <a:gd name="connsiteY2821" fmla="*/ 7889 h 10000"/>
                <a:gd name="connsiteX2822" fmla="*/ 2281 w 10785"/>
                <a:gd name="connsiteY2822" fmla="*/ 7872 h 10000"/>
                <a:gd name="connsiteX2823" fmla="*/ 2272 w 10785"/>
                <a:gd name="connsiteY2823" fmla="*/ 7846 h 10000"/>
                <a:gd name="connsiteX2824" fmla="*/ 2253 w 10785"/>
                <a:gd name="connsiteY2824" fmla="*/ 7838 h 10000"/>
                <a:gd name="connsiteX2825" fmla="*/ 2221 w 10785"/>
                <a:gd name="connsiteY2825" fmla="*/ 7821 h 10000"/>
                <a:gd name="connsiteX2826" fmla="*/ 2212 w 10785"/>
                <a:gd name="connsiteY2826" fmla="*/ 7812 h 10000"/>
                <a:gd name="connsiteX2827" fmla="*/ 2212 w 10785"/>
                <a:gd name="connsiteY2827" fmla="*/ 7803 h 10000"/>
                <a:gd name="connsiteX2828" fmla="*/ 2221 w 10785"/>
                <a:gd name="connsiteY2828" fmla="*/ 7803 h 10000"/>
                <a:gd name="connsiteX2829" fmla="*/ 2235 w 10785"/>
                <a:gd name="connsiteY2829" fmla="*/ 7786 h 10000"/>
                <a:gd name="connsiteX2830" fmla="*/ 2240 w 10785"/>
                <a:gd name="connsiteY2830" fmla="*/ 7778 h 10000"/>
                <a:gd name="connsiteX2831" fmla="*/ 2226 w 10785"/>
                <a:gd name="connsiteY2831" fmla="*/ 7761 h 10000"/>
                <a:gd name="connsiteX2832" fmla="*/ 2221 w 10785"/>
                <a:gd name="connsiteY2832" fmla="*/ 7778 h 10000"/>
                <a:gd name="connsiteX2833" fmla="*/ 2198 w 10785"/>
                <a:gd name="connsiteY2833" fmla="*/ 7778 h 10000"/>
                <a:gd name="connsiteX2834" fmla="*/ 2198 w 10785"/>
                <a:gd name="connsiteY2834" fmla="*/ 7752 h 10000"/>
                <a:gd name="connsiteX2835" fmla="*/ 2207 w 10785"/>
                <a:gd name="connsiteY2835" fmla="*/ 7735 h 10000"/>
                <a:gd name="connsiteX2836" fmla="*/ 2212 w 10785"/>
                <a:gd name="connsiteY2836" fmla="*/ 7726 h 10000"/>
                <a:gd name="connsiteX2837" fmla="*/ 2198 w 10785"/>
                <a:gd name="connsiteY2837" fmla="*/ 7692 h 10000"/>
                <a:gd name="connsiteX2838" fmla="*/ 2221 w 10785"/>
                <a:gd name="connsiteY2838" fmla="*/ 7692 h 10000"/>
                <a:gd name="connsiteX2839" fmla="*/ 2221 w 10785"/>
                <a:gd name="connsiteY2839" fmla="*/ 7675 h 10000"/>
                <a:gd name="connsiteX2840" fmla="*/ 2235 w 10785"/>
                <a:gd name="connsiteY2840" fmla="*/ 7675 h 10000"/>
                <a:gd name="connsiteX2841" fmla="*/ 2240 w 10785"/>
                <a:gd name="connsiteY2841" fmla="*/ 7692 h 10000"/>
                <a:gd name="connsiteX2842" fmla="*/ 2249 w 10785"/>
                <a:gd name="connsiteY2842" fmla="*/ 7692 h 10000"/>
                <a:gd name="connsiteX2843" fmla="*/ 2258 w 10785"/>
                <a:gd name="connsiteY2843" fmla="*/ 7692 h 10000"/>
                <a:gd name="connsiteX2844" fmla="*/ 2267 w 10785"/>
                <a:gd name="connsiteY2844" fmla="*/ 7692 h 10000"/>
                <a:gd name="connsiteX2845" fmla="*/ 2295 w 10785"/>
                <a:gd name="connsiteY2845" fmla="*/ 7692 h 10000"/>
                <a:gd name="connsiteX2846" fmla="*/ 2300 w 10785"/>
                <a:gd name="connsiteY2846" fmla="*/ 7701 h 10000"/>
                <a:gd name="connsiteX2847" fmla="*/ 2313 w 10785"/>
                <a:gd name="connsiteY2847" fmla="*/ 7675 h 10000"/>
                <a:gd name="connsiteX2848" fmla="*/ 2323 w 10785"/>
                <a:gd name="connsiteY2848" fmla="*/ 7675 h 10000"/>
                <a:gd name="connsiteX2849" fmla="*/ 2341 w 10785"/>
                <a:gd name="connsiteY2849" fmla="*/ 7675 h 10000"/>
                <a:gd name="connsiteX2850" fmla="*/ 2346 w 10785"/>
                <a:gd name="connsiteY2850" fmla="*/ 7667 h 10000"/>
                <a:gd name="connsiteX2851" fmla="*/ 2359 w 10785"/>
                <a:gd name="connsiteY2851" fmla="*/ 7650 h 10000"/>
                <a:gd name="connsiteX2852" fmla="*/ 2373 w 10785"/>
                <a:gd name="connsiteY2852" fmla="*/ 7624 h 10000"/>
                <a:gd name="connsiteX2853" fmla="*/ 2382 w 10785"/>
                <a:gd name="connsiteY2853" fmla="*/ 7641 h 10000"/>
                <a:gd name="connsiteX2854" fmla="*/ 2396 w 10785"/>
                <a:gd name="connsiteY2854" fmla="*/ 7650 h 10000"/>
                <a:gd name="connsiteX2855" fmla="*/ 2401 w 10785"/>
                <a:gd name="connsiteY2855" fmla="*/ 7650 h 10000"/>
                <a:gd name="connsiteX2856" fmla="*/ 2401 w 10785"/>
                <a:gd name="connsiteY2856" fmla="*/ 7624 h 10000"/>
                <a:gd name="connsiteX2857" fmla="*/ 2419 w 10785"/>
                <a:gd name="connsiteY2857" fmla="*/ 7624 h 10000"/>
                <a:gd name="connsiteX2858" fmla="*/ 2433 w 10785"/>
                <a:gd name="connsiteY2858" fmla="*/ 7615 h 10000"/>
                <a:gd name="connsiteX2859" fmla="*/ 2442 w 10785"/>
                <a:gd name="connsiteY2859" fmla="*/ 7615 h 10000"/>
                <a:gd name="connsiteX2860" fmla="*/ 2447 w 10785"/>
                <a:gd name="connsiteY2860" fmla="*/ 7598 h 10000"/>
                <a:gd name="connsiteX2861" fmla="*/ 2461 w 10785"/>
                <a:gd name="connsiteY2861" fmla="*/ 7598 h 10000"/>
                <a:gd name="connsiteX2862" fmla="*/ 2465 w 10785"/>
                <a:gd name="connsiteY2862" fmla="*/ 7615 h 10000"/>
                <a:gd name="connsiteX2863" fmla="*/ 2479 w 10785"/>
                <a:gd name="connsiteY2863" fmla="*/ 7564 h 10000"/>
                <a:gd name="connsiteX2864" fmla="*/ 2488 w 10785"/>
                <a:gd name="connsiteY2864" fmla="*/ 7556 h 10000"/>
                <a:gd name="connsiteX2865" fmla="*/ 2493 w 10785"/>
                <a:gd name="connsiteY2865" fmla="*/ 7556 h 10000"/>
                <a:gd name="connsiteX2866" fmla="*/ 2507 w 10785"/>
                <a:gd name="connsiteY2866" fmla="*/ 7556 h 10000"/>
                <a:gd name="connsiteX2867" fmla="*/ 2530 w 10785"/>
                <a:gd name="connsiteY2867" fmla="*/ 7538 h 10000"/>
                <a:gd name="connsiteX2868" fmla="*/ 2530 w 10785"/>
                <a:gd name="connsiteY2868" fmla="*/ 7556 h 10000"/>
                <a:gd name="connsiteX2869" fmla="*/ 2641 w 10785"/>
                <a:gd name="connsiteY2869" fmla="*/ 7504 h 10000"/>
                <a:gd name="connsiteX2870" fmla="*/ 2654 w 10785"/>
                <a:gd name="connsiteY2870" fmla="*/ 7487 h 10000"/>
                <a:gd name="connsiteX2871" fmla="*/ 2664 w 10785"/>
                <a:gd name="connsiteY2871" fmla="*/ 7487 h 10000"/>
                <a:gd name="connsiteX2872" fmla="*/ 2668 w 10785"/>
                <a:gd name="connsiteY2872" fmla="*/ 7479 h 10000"/>
                <a:gd name="connsiteX2873" fmla="*/ 2673 w 10785"/>
                <a:gd name="connsiteY2873" fmla="*/ 7462 h 10000"/>
                <a:gd name="connsiteX2874" fmla="*/ 2673 w 10785"/>
                <a:gd name="connsiteY2874" fmla="*/ 7427 h 10000"/>
                <a:gd name="connsiteX2875" fmla="*/ 2687 w 10785"/>
                <a:gd name="connsiteY2875" fmla="*/ 7436 h 10000"/>
                <a:gd name="connsiteX2876" fmla="*/ 2696 w 10785"/>
                <a:gd name="connsiteY2876" fmla="*/ 7427 h 10000"/>
                <a:gd name="connsiteX2877" fmla="*/ 2700 w 10785"/>
                <a:gd name="connsiteY2877" fmla="*/ 7419 h 10000"/>
                <a:gd name="connsiteX2878" fmla="*/ 2710 w 10785"/>
                <a:gd name="connsiteY2878" fmla="*/ 7402 h 10000"/>
                <a:gd name="connsiteX2879" fmla="*/ 2724 w 10785"/>
                <a:gd name="connsiteY2879" fmla="*/ 7402 h 10000"/>
                <a:gd name="connsiteX2880" fmla="*/ 2724 w 10785"/>
                <a:gd name="connsiteY2880" fmla="*/ 7393 h 10000"/>
                <a:gd name="connsiteX2881" fmla="*/ 2737 w 10785"/>
                <a:gd name="connsiteY2881" fmla="*/ 7393 h 10000"/>
                <a:gd name="connsiteX2882" fmla="*/ 2742 w 10785"/>
                <a:gd name="connsiteY2882" fmla="*/ 7402 h 10000"/>
                <a:gd name="connsiteX2883" fmla="*/ 2747 w 10785"/>
                <a:gd name="connsiteY2883" fmla="*/ 7402 h 10000"/>
                <a:gd name="connsiteX2884" fmla="*/ 2760 w 10785"/>
                <a:gd name="connsiteY2884" fmla="*/ 7402 h 10000"/>
                <a:gd name="connsiteX2885" fmla="*/ 2770 w 10785"/>
                <a:gd name="connsiteY2885" fmla="*/ 7402 h 10000"/>
                <a:gd name="connsiteX2886" fmla="*/ 2774 w 10785"/>
                <a:gd name="connsiteY2886" fmla="*/ 7402 h 10000"/>
                <a:gd name="connsiteX2887" fmla="*/ 2783 w 10785"/>
                <a:gd name="connsiteY2887" fmla="*/ 7419 h 10000"/>
                <a:gd name="connsiteX2888" fmla="*/ 2802 w 10785"/>
                <a:gd name="connsiteY2888" fmla="*/ 7436 h 10000"/>
                <a:gd name="connsiteX2889" fmla="*/ 2816 w 10785"/>
                <a:gd name="connsiteY2889" fmla="*/ 7419 h 10000"/>
                <a:gd name="connsiteX2890" fmla="*/ 2834 w 10785"/>
                <a:gd name="connsiteY2890" fmla="*/ 7419 h 10000"/>
                <a:gd name="connsiteX2891" fmla="*/ 2843 w 10785"/>
                <a:gd name="connsiteY2891" fmla="*/ 7419 h 10000"/>
                <a:gd name="connsiteX2892" fmla="*/ 2848 w 10785"/>
                <a:gd name="connsiteY2892" fmla="*/ 7436 h 10000"/>
                <a:gd name="connsiteX2893" fmla="*/ 2857 w 10785"/>
                <a:gd name="connsiteY2893" fmla="*/ 7453 h 10000"/>
                <a:gd name="connsiteX2894" fmla="*/ 2857 w 10785"/>
                <a:gd name="connsiteY2894" fmla="*/ 7504 h 10000"/>
                <a:gd name="connsiteX2895" fmla="*/ 2862 w 10785"/>
                <a:gd name="connsiteY2895" fmla="*/ 7530 h 10000"/>
                <a:gd name="connsiteX2896" fmla="*/ 2876 w 10785"/>
                <a:gd name="connsiteY2896" fmla="*/ 7538 h 10000"/>
                <a:gd name="connsiteX2897" fmla="*/ 2871 w 10785"/>
                <a:gd name="connsiteY2897" fmla="*/ 7564 h 10000"/>
                <a:gd name="connsiteX2898" fmla="*/ 2871 w 10785"/>
                <a:gd name="connsiteY2898" fmla="*/ 7598 h 10000"/>
                <a:gd name="connsiteX2899" fmla="*/ 2857 w 10785"/>
                <a:gd name="connsiteY2899" fmla="*/ 7624 h 10000"/>
                <a:gd name="connsiteX2900" fmla="*/ 2862 w 10785"/>
                <a:gd name="connsiteY2900" fmla="*/ 7641 h 10000"/>
                <a:gd name="connsiteX2901" fmla="*/ 2871 w 10785"/>
                <a:gd name="connsiteY2901" fmla="*/ 7667 h 10000"/>
                <a:gd name="connsiteX2902" fmla="*/ 2880 w 10785"/>
                <a:gd name="connsiteY2902" fmla="*/ 7650 h 10000"/>
                <a:gd name="connsiteX2903" fmla="*/ 2894 w 10785"/>
                <a:gd name="connsiteY2903" fmla="*/ 7667 h 10000"/>
                <a:gd name="connsiteX2904" fmla="*/ 2903 w 10785"/>
                <a:gd name="connsiteY2904" fmla="*/ 7667 h 10000"/>
                <a:gd name="connsiteX2905" fmla="*/ 2908 w 10785"/>
                <a:gd name="connsiteY2905" fmla="*/ 7641 h 10000"/>
                <a:gd name="connsiteX2906" fmla="*/ 2917 w 10785"/>
                <a:gd name="connsiteY2906" fmla="*/ 7641 h 10000"/>
                <a:gd name="connsiteX2907" fmla="*/ 2922 w 10785"/>
                <a:gd name="connsiteY2907" fmla="*/ 7641 h 10000"/>
                <a:gd name="connsiteX2908" fmla="*/ 2931 w 10785"/>
                <a:gd name="connsiteY2908" fmla="*/ 7615 h 10000"/>
                <a:gd name="connsiteX2909" fmla="*/ 2935 w 10785"/>
                <a:gd name="connsiteY2909" fmla="*/ 7615 h 10000"/>
                <a:gd name="connsiteX2910" fmla="*/ 2945 w 10785"/>
                <a:gd name="connsiteY2910" fmla="*/ 7650 h 10000"/>
                <a:gd name="connsiteX2911" fmla="*/ 2949 w 10785"/>
                <a:gd name="connsiteY2911" fmla="*/ 7667 h 10000"/>
                <a:gd name="connsiteX2912" fmla="*/ 2949 w 10785"/>
                <a:gd name="connsiteY2912" fmla="*/ 7675 h 10000"/>
                <a:gd name="connsiteX2913" fmla="*/ 2945 w 10785"/>
                <a:gd name="connsiteY2913" fmla="*/ 7692 h 10000"/>
                <a:gd name="connsiteX2914" fmla="*/ 2963 w 10785"/>
                <a:gd name="connsiteY2914" fmla="*/ 7701 h 10000"/>
                <a:gd name="connsiteX2915" fmla="*/ 2963 w 10785"/>
                <a:gd name="connsiteY2915" fmla="*/ 7675 h 10000"/>
                <a:gd name="connsiteX2916" fmla="*/ 2954 w 10785"/>
                <a:gd name="connsiteY2916" fmla="*/ 7667 h 10000"/>
                <a:gd name="connsiteX2917" fmla="*/ 2963 w 10785"/>
                <a:gd name="connsiteY2917" fmla="*/ 7667 h 10000"/>
                <a:gd name="connsiteX2918" fmla="*/ 2982 w 10785"/>
                <a:gd name="connsiteY2918" fmla="*/ 7667 h 10000"/>
                <a:gd name="connsiteX2919" fmla="*/ 2991 w 10785"/>
                <a:gd name="connsiteY2919" fmla="*/ 7675 h 10000"/>
                <a:gd name="connsiteX2920" fmla="*/ 2995 w 10785"/>
                <a:gd name="connsiteY2920" fmla="*/ 7692 h 10000"/>
                <a:gd name="connsiteX2921" fmla="*/ 3009 w 10785"/>
                <a:gd name="connsiteY2921" fmla="*/ 7701 h 10000"/>
                <a:gd name="connsiteX2922" fmla="*/ 3018 w 10785"/>
                <a:gd name="connsiteY2922" fmla="*/ 7701 h 10000"/>
                <a:gd name="connsiteX2923" fmla="*/ 3023 w 10785"/>
                <a:gd name="connsiteY2923" fmla="*/ 7692 h 10000"/>
                <a:gd name="connsiteX2924" fmla="*/ 3028 w 10785"/>
                <a:gd name="connsiteY2924" fmla="*/ 7675 h 10000"/>
                <a:gd name="connsiteX2925" fmla="*/ 3037 w 10785"/>
                <a:gd name="connsiteY2925" fmla="*/ 7692 h 10000"/>
                <a:gd name="connsiteX2926" fmla="*/ 3028 w 10785"/>
                <a:gd name="connsiteY2926" fmla="*/ 7709 h 10000"/>
                <a:gd name="connsiteX2927" fmla="*/ 3023 w 10785"/>
                <a:gd name="connsiteY2927" fmla="*/ 7709 h 10000"/>
                <a:gd name="connsiteX2928" fmla="*/ 3018 w 10785"/>
                <a:gd name="connsiteY2928" fmla="*/ 7726 h 10000"/>
                <a:gd name="connsiteX2929" fmla="*/ 3009 w 10785"/>
                <a:gd name="connsiteY2929" fmla="*/ 7735 h 10000"/>
                <a:gd name="connsiteX2930" fmla="*/ 3009 w 10785"/>
                <a:gd name="connsiteY2930" fmla="*/ 7761 h 10000"/>
                <a:gd name="connsiteX2931" fmla="*/ 3009 w 10785"/>
                <a:gd name="connsiteY2931" fmla="*/ 7778 h 10000"/>
                <a:gd name="connsiteX2932" fmla="*/ 3018 w 10785"/>
                <a:gd name="connsiteY2932" fmla="*/ 7786 h 10000"/>
                <a:gd name="connsiteX2933" fmla="*/ 3023 w 10785"/>
                <a:gd name="connsiteY2933" fmla="*/ 7786 h 10000"/>
                <a:gd name="connsiteX2934" fmla="*/ 3028 w 10785"/>
                <a:gd name="connsiteY2934" fmla="*/ 7778 h 10000"/>
                <a:gd name="connsiteX2935" fmla="*/ 3051 w 10785"/>
                <a:gd name="connsiteY2935" fmla="*/ 7761 h 10000"/>
                <a:gd name="connsiteX2936" fmla="*/ 3055 w 10785"/>
                <a:gd name="connsiteY2936" fmla="*/ 7778 h 10000"/>
                <a:gd name="connsiteX2937" fmla="*/ 3065 w 10785"/>
                <a:gd name="connsiteY2937" fmla="*/ 7761 h 10000"/>
                <a:gd name="connsiteX2938" fmla="*/ 3069 w 10785"/>
                <a:gd name="connsiteY2938" fmla="*/ 7786 h 10000"/>
                <a:gd name="connsiteX2939" fmla="*/ 3083 w 10785"/>
                <a:gd name="connsiteY2939" fmla="*/ 7786 h 10000"/>
                <a:gd name="connsiteX2940" fmla="*/ 3078 w 10785"/>
                <a:gd name="connsiteY2940" fmla="*/ 7761 h 10000"/>
                <a:gd name="connsiteX2941" fmla="*/ 3083 w 10785"/>
                <a:gd name="connsiteY2941" fmla="*/ 7752 h 10000"/>
                <a:gd name="connsiteX2942" fmla="*/ 3097 w 10785"/>
                <a:gd name="connsiteY2942" fmla="*/ 7752 h 10000"/>
                <a:gd name="connsiteX2943" fmla="*/ 3111 w 10785"/>
                <a:gd name="connsiteY2943" fmla="*/ 7726 h 10000"/>
                <a:gd name="connsiteX2944" fmla="*/ 3124 w 10785"/>
                <a:gd name="connsiteY2944" fmla="*/ 7709 h 10000"/>
                <a:gd name="connsiteX2945" fmla="*/ 3143 w 10785"/>
                <a:gd name="connsiteY2945" fmla="*/ 7692 h 10000"/>
                <a:gd name="connsiteX2946" fmla="*/ 3152 w 10785"/>
                <a:gd name="connsiteY2946" fmla="*/ 7667 h 10000"/>
                <a:gd name="connsiteX2947" fmla="*/ 3157 w 10785"/>
                <a:gd name="connsiteY2947" fmla="*/ 7650 h 10000"/>
                <a:gd name="connsiteX2948" fmla="*/ 3161 w 10785"/>
                <a:gd name="connsiteY2948" fmla="*/ 7650 h 10000"/>
                <a:gd name="connsiteX2949" fmla="*/ 3189 w 10785"/>
                <a:gd name="connsiteY2949" fmla="*/ 7641 h 10000"/>
                <a:gd name="connsiteX2950" fmla="*/ 3198 w 10785"/>
                <a:gd name="connsiteY2950" fmla="*/ 7624 h 10000"/>
                <a:gd name="connsiteX2951" fmla="*/ 3217 w 10785"/>
                <a:gd name="connsiteY2951" fmla="*/ 7615 h 10000"/>
                <a:gd name="connsiteX2952" fmla="*/ 3235 w 10785"/>
                <a:gd name="connsiteY2952" fmla="*/ 7598 h 10000"/>
                <a:gd name="connsiteX2953" fmla="*/ 3235 w 10785"/>
                <a:gd name="connsiteY2953" fmla="*/ 7615 h 10000"/>
                <a:gd name="connsiteX2954" fmla="*/ 3235 w 10785"/>
                <a:gd name="connsiteY2954" fmla="*/ 7641 h 10000"/>
                <a:gd name="connsiteX2955" fmla="*/ 3235 w 10785"/>
                <a:gd name="connsiteY2955" fmla="*/ 7650 h 10000"/>
                <a:gd name="connsiteX2956" fmla="*/ 3226 w 10785"/>
                <a:gd name="connsiteY2956" fmla="*/ 7650 h 10000"/>
                <a:gd name="connsiteX2957" fmla="*/ 3217 w 10785"/>
                <a:gd name="connsiteY2957" fmla="*/ 7650 h 10000"/>
                <a:gd name="connsiteX2958" fmla="*/ 3212 w 10785"/>
                <a:gd name="connsiteY2958" fmla="*/ 7675 h 10000"/>
                <a:gd name="connsiteX2959" fmla="*/ 3212 w 10785"/>
                <a:gd name="connsiteY2959"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139 w 10785"/>
                <a:gd name="connsiteY731" fmla="*/ 4708 h 10000"/>
                <a:gd name="connsiteX732" fmla="*/ 10233 w 10785"/>
                <a:gd name="connsiteY732" fmla="*/ 4530 h 10000"/>
                <a:gd name="connsiteX733" fmla="*/ 10334 w 10785"/>
                <a:gd name="connsiteY733" fmla="*/ 4810 h 10000"/>
                <a:gd name="connsiteX734" fmla="*/ 10422 w 10785"/>
                <a:gd name="connsiteY734" fmla="*/ 5051 h 10000"/>
                <a:gd name="connsiteX735" fmla="*/ 10691 w 10785"/>
                <a:gd name="connsiteY735" fmla="*/ 5255 h 10000"/>
                <a:gd name="connsiteX736" fmla="*/ 10619 w 10785"/>
                <a:gd name="connsiteY736" fmla="*/ 4708 h 10000"/>
                <a:gd name="connsiteX737" fmla="*/ 10785 w 10785"/>
                <a:gd name="connsiteY737" fmla="*/ 4708 h 10000"/>
                <a:gd name="connsiteX738" fmla="*/ 10689 w 10785"/>
                <a:gd name="connsiteY738" fmla="*/ 4467 h 10000"/>
                <a:gd name="connsiteX739" fmla="*/ 10354 w 10785"/>
                <a:gd name="connsiteY739" fmla="*/ 4302 h 10000"/>
                <a:gd name="connsiteX740" fmla="*/ 9912 w 10785"/>
                <a:gd name="connsiteY740" fmla="*/ 3675 h 10000"/>
                <a:gd name="connsiteX741" fmla="*/ 9903 w 10785"/>
                <a:gd name="connsiteY741" fmla="*/ 3667 h 10000"/>
                <a:gd name="connsiteX742" fmla="*/ 9894 w 10785"/>
                <a:gd name="connsiteY742" fmla="*/ 3641 h 10000"/>
                <a:gd name="connsiteX743" fmla="*/ 9889 w 10785"/>
                <a:gd name="connsiteY743" fmla="*/ 3650 h 10000"/>
                <a:gd name="connsiteX744" fmla="*/ 9848 w 10785"/>
                <a:gd name="connsiteY744" fmla="*/ 3598 h 10000"/>
                <a:gd name="connsiteX745" fmla="*/ 9829 w 10785"/>
                <a:gd name="connsiteY745" fmla="*/ 3581 h 10000"/>
                <a:gd name="connsiteX746" fmla="*/ 9820 w 10785"/>
                <a:gd name="connsiteY746" fmla="*/ 3581 h 10000"/>
                <a:gd name="connsiteX747" fmla="*/ 9793 w 10785"/>
                <a:gd name="connsiteY747" fmla="*/ 3556 h 10000"/>
                <a:gd name="connsiteX748" fmla="*/ 9779 w 10785"/>
                <a:gd name="connsiteY748" fmla="*/ 3556 h 10000"/>
                <a:gd name="connsiteX749" fmla="*/ 9747 w 10785"/>
                <a:gd name="connsiteY749" fmla="*/ 3487 h 10000"/>
                <a:gd name="connsiteX750" fmla="*/ 9668 w 10785"/>
                <a:gd name="connsiteY750" fmla="*/ 3479 h 10000"/>
                <a:gd name="connsiteX751" fmla="*/ 9659 w 10785"/>
                <a:gd name="connsiteY751" fmla="*/ 3487 h 10000"/>
                <a:gd name="connsiteX752" fmla="*/ 9645 w 10785"/>
                <a:gd name="connsiteY752" fmla="*/ 3504 h 10000"/>
                <a:gd name="connsiteX753" fmla="*/ 9631 w 10785"/>
                <a:gd name="connsiteY753" fmla="*/ 3487 h 10000"/>
                <a:gd name="connsiteX754" fmla="*/ 9613 w 10785"/>
                <a:gd name="connsiteY754" fmla="*/ 3479 h 10000"/>
                <a:gd name="connsiteX755" fmla="*/ 9599 w 10785"/>
                <a:gd name="connsiteY755" fmla="*/ 3479 h 10000"/>
                <a:gd name="connsiteX756" fmla="*/ 9571 w 10785"/>
                <a:gd name="connsiteY756" fmla="*/ 3479 h 10000"/>
                <a:gd name="connsiteX757" fmla="*/ 9562 w 10785"/>
                <a:gd name="connsiteY757" fmla="*/ 3487 h 10000"/>
                <a:gd name="connsiteX758" fmla="*/ 9539 w 10785"/>
                <a:gd name="connsiteY758" fmla="*/ 3487 h 10000"/>
                <a:gd name="connsiteX759" fmla="*/ 9507 w 10785"/>
                <a:gd name="connsiteY759" fmla="*/ 3453 h 10000"/>
                <a:gd name="connsiteX760" fmla="*/ 9498 w 10785"/>
                <a:gd name="connsiteY760" fmla="*/ 3453 h 10000"/>
                <a:gd name="connsiteX761" fmla="*/ 9387 w 10785"/>
                <a:gd name="connsiteY761" fmla="*/ 3419 h 10000"/>
                <a:gd name="connsiteX762" fmla="*/ 9373 w 10785"/>
                <a:gd name="connsiteY762" fmla="*/ 3427 h 10000"/>
                <a:gd name="connsiteX763" fmla="*/ 9373 w 10785"/>
                <a:gd name="connsiteY763" fmla="*/ 3462 h 10000"/>
                <a:gd name="connsiteX764" fmla="*/ 9378 w 10785"/>
                <a:gd name="connsiteY764" fmla="*/ 3479 h 10000"/>
                <a:gd name="connsiteX765" fmla="*/ 9378 w 10785"/>
                <a:gd name="connsiteY765" fmla="*/ 3530 h 10000"/>
                <a:gd name="connsiteX766" fmla="*/ 9355 w 10785"/>
                <a:gd name="connsiteY766" fmla="*/ 3538 h 10000"/>
                <a:gd name="connsiteX767" fmla="*/ 9355 w 10785"/>
                <a:gd name="connsiteY767" fmla="*/ 3581 h 10000"/>
                <a:gd name="connsiteX768" fmla="*/ 9387 w 10785"/>
                <a:gd name="connsiteY768" fmla="*/ 3590 h 10000"/>
                <a:gd name="connsiteX769" fmla="*/ 9401 w 10785"/>
                <a:gd name="connsiteY769" fmla="*/ 3667 h 10000"/>
                <a:gd name="connsiteX770" fmla="*/ 9406 w 10785"/>
                <a:gd name="connsiteY770" fmla="*/ 3675 h 10000"/>
                <a:gd name="connsiteX771" fmla="*/ 9406 w 10785"/>
                <a:gd name="connsiteY771" fmla="*/ 3701 h 10000"/>
                <a:gd name="connsiteX772" fmla="*/ 9415 w 10785"/>
                <a:gd name="connsiteY772" fmla="*/ 3752 h 10000"/>
                <a:gd name="connsiteX773" fmla="*/ 9373 w 10785"/>
                <a:gd name="connsiteY773" fmla="*/ 3838 h 10000"/>
                <a:gd name="connsiteX774" fmla="*/ 9355 w 10785"/>
                <a:gd name="connsiteY774" fmla="*/ 3863 h 10000"/>
                <a:gd name="connsiteX775" fmla="*/ 9327 w 10785"/>
                <a:gd name="connsiteY775" fmla="*/ 3863 h 10000"/>
                <a:gd name="connsiteX776" fmla="*/ 9313 w 10785"/>
                <a:gd name="connsiteY776" fmla="*/ 3846 h 10000"/>
                <a:gd name="connsiteX777" fmla="*/ 9300 w 10785"/>
                <a:gd name="connsiteY777" fmla="*/ 3778 h 10000"/>
                <a:gd name="connsiteX778" fmla="*/ 9281 w 10785"/>
                <a:gd name="connsiteY778" fmla="*/ 3752 h 10000"/>
                <a:gd name="connsiteX779" fmla="*/ 9281 w 10785"/>
                <a:gd name="connsiteY779" fmla="*/ 3735 h 10000"/>
                <a:gd name="connsiteX780" fmla="*/ 9267 w 10785"/>
                <a:gd name="connsiteY780" fmla="*/ 3726 h 10000"/>
                <a:gd name="connsiteX781" fmla="*/ 9240 w 10785"/>
                <a:gd name="connsiteY781" fmla="*/ 3726 h 10000"/>
                <a:gd name="connsiteX782" fmla="*/ 9230 w 10785"/>
                <a:gd name="connsiteY782" fmla="*/ 3718 h 10000"/>
                <a:gd name="connsiteX783" fmla="*/ 9226 w 10785"/>
                <a:gd name="connsiteY783" fmla="*/ 3590 h 10000"/>
                <a:gd name="connsiteX784" fmla="*/ 9207 w 10785"/>
                <a:gd name="connsiteY784" fmla="*/ 3581 h 10000"/>
                <a:gd name="connsiteX785" fmla="*/ 9207 w 10785"/>
                <a:gd name="connsiteY785" fmla="*/ 3556 h 10000"/>
                <a:gd name="connsiteX786" fmla="*/ 9217 w 10785"/>
                <a:gd name="connsiteY786" fmla="*/ 3538 h 10000"/>
                <a:gd name="connsiteX787" fmla="*/ 9212 w 10785"/>
                <a:gd name="connsiteY787" fmla="*/ 3538 h 10000"/>
                <a:gd name="connsiteX788" fmla="*/ 9198 w 10785"/>
                <a:gd name="connsiteY788" fmla="*/ 3513 h 10000"/>
                <a:gd name="connsiteX789" fmla="*/ 9194 w 10785"/>
                <a:gd name="connsiteY789" fmla="*/ 3530 h 10000"/>
                <a:gd name="connsiteX790" fmla="*/ 9143 w 10785"/>
                <a:gd name="connsiteY790" fmla="*/ 3615 h 10000"/>
                <a:gd name="connsiteX791" fmla="*/ 9138 w 10785"/>
                <a:gd name="connsiteY791" fmla="*/ 3615 h 10000"/>
                <a:gd name="connsiteX792" fmla="*/ 9134 w 10785"/>
                <a:gd name="connsiteY792" fmla="*/ 3615 h 10000"/>
                <a:gd name="connsiteX793" fmla="*/ 9106 w 10785"/>
                <a:gd name="connsiteY793" fmla="*/ 3615 h 10000"/>
                <a:gd name="connsiteX794" fmla="*/ 9078 w 10785"/>
                <a:gd name="connsiteY794" fmla="*/ 3590 h 10000"/>
                <a:gd name="connsiteX795" fmla="*/ 9037 w 10785"/>
                <a:gd name="connsiteY795" fmla="*/ 3581 h 10000"/>
                <a:gd name="connsiteX796" fmla="*/ 9023 w 10785"/>
                <a:gd name="connsiteY796" fmla="*/ 3590 h 10000"/>
                <a:gd name="connsiteX797" fmla="*/ 9018 w 10785"/>
                <a:gd name="connsiteY797" fmla="*/ 3590 h 10000"/>
                <a:gd name="connsiteX798" fmla="*/ 9018 w 10785"/>
                <a:gd name="connsiteY798" fmla="*/ 3590 h 10000"/>
                <a:gd name="connsiteX799" fmla="*/ 8991 w 10785"/>
                <a:gd name="connsiteY799" fmla="*/ 3590 h 10000"/>
                <a:gd name="connsiteX800" fmla="*/ 8972 w 10785"/>
                <a:gd name="connsiteY800" fmla="*/ 3581 h 10000"/>
                <a:gd name="connsiteX801" fmla="*/ 8959 w 10785"/>
                <a:gd name="connsiteY801" fmla="*/ 3513 h 10000"/>
                <a:gd name="connsiteX802" fmla="*/ 8931 w 10785"/>
                <a:gd name="connsiteY802" fmla="*/ 3538 h 10000"/>
                <a:gd name="connsiteX803" fmla="*/ 8889 w 10785"/>
                <a:gd name="connsiteY803" fmla="*/ 3538 h 10000"/>
                <a:gd name="connsiteX804" fmla="*/ 8871 w 10785"/>
                <a:gd name="connsiteY804" fmla="*/ 3556 h 10000"/>
                <a:gd name="connsiteX805" fmla="*/ 8857 w 10785"/>
                <a:gd name="connsiteY805" fmla="*/ 3538 h 10000"/>
                <a:gd name="connsiteX806" fmla="*/ 8843 w 10785"/>
                <a:gd name="connsiteY806" fmla="*/ 3538 h 10000"/>
                <a:gd name="connsiteX807" fmla="*/ 8839 w 10785"/>
                <a:gd name="connsiteY807" fmla="*/ 3556 h 10000"/>
                <a:gd name="connsiteX808" fmla="*/ 8839 w 10785"/>
                <a:gd name="connsiteY808" fmla="*/ 3581 h 10000"/>
                <a:gd name="connsiteX809" fmla="*/ 8825 w 10785"/>
                <a:gd name="connsiteY809" fmla="*/ 3564 h 10000"/>
                <a:gd name="connsiteX810" fmla="*/ 8825 w 10785"/>
                <a:gd name="connsiteY810" fmla="*/ 3615 h 10000"/>
                <a:gd name="connsiteX811" fmla="*/ 8802 w 10785"/>
                <a:gd name="connsiteY811" fmla="*/ 3598 h 10000"/>
                <a:gd name="connsiteX812" fmla="*/ 8797 w 10785"/>
                <a:gd name="connsiteY812" fmla="*/ 3641 h 10000"/>
                <a:gd name="connsiteX813" fmla="*/ 8783 w 10785"/>
                <a:gd name="connsiteY813" fmla="*/ 3667 h 10000"/>
                <a:gd name="connsiteX814" fmla="*/ 8779 w 10785"/>
                <a:gd name="connsiteY814" fmla="*/ 3650 h 10000"/>
                <a:gd name="connsiteX815" fmla="*/ 8779 w 10785"/>
                <a:gd name="connsiteY815" fmla="*/ 3615 h 10000"/>
                <a:gd name="connsiteX816" fmla="*/ 8770 w 10785"/>
                <a:gd name="connsiteY816" fmla="*/ 3590 h 10000"/>
                <a:gd name="connsiteX817" fmla="*/ 8765 w 10785"/>
                <a:gd name="connsiteY817" fmla="*/ 3598 h 10000"/>
                <a:gd name="connsiteX818" fmla="*/ 8756 w 10785"/>
                <a:gd name="connsiteY818" fmla="*/ 3590 h 10000"/>
                <a:gd name="connsiteX819" fmla="*/ 8737 w 10785"/>
                <a:gd name="connsiteY819" fmla="*/ 3556 h 10000"/>
                <a:gd name="connsiteX820" fmla="*/ 8724 w 10785"/>
                <a:gd name="connsiteY820" fmla="*/ 3538 h 10000"/>
                <a:gd name="connsiteX821" fmla="*/ 8696 w 10785"/>
                <a:gd name="connsiteY821" fmla="*/ 3538 h 10000"/>
                <a:gd name="connsiteX822" fmla="*/ 8691 w 10785"/>
                <a:gd name="connsiteY822" fmla="*/ 3513 h 10000"/>
                <a:gd name="connsiteX823" fmla="*/ 8668 w 10785"/>
                <a:gd name="connsiteY823" fmla="*/ 3504 h 10000"/>
                <a:gd name="connsiteX824" fmla="*/ 8668 w 10785"/>
                <a:gd name="connsiteY824" fmla="*/ 3487 h 10000"/>
                <a:gd name="connsiteX825" fmla="*/ 8691 w 10785"/>
                <a:gd name="connsiteY825" fmla="*/ 3350 h 10000"/>
                <a:gd name="connsiteX826" fmla="*/ 8691 w 10785"/>
                <a:gd name="connsiteY826" fmla="*/ 3291 h 10000"/>
                <a:gd name="connsiteX827" fmla="*/ 8677 w 10785"/>
                <a:gd name="connsiteY827" fmla="*/ 3239 h 10000"/>
                <a:gd name="connsiteX828" fmla="*/ 8677 w 10785"/>
                <a:gd name="connsiteY828" fmla="*/ 3231 h 10000"/>
                <a:gd name="connsiteX829" fmla="*/ 8636 w 10785"/>
                <a:gd name="connsiteY829" fmla="*/ 3128 h 10000"/>
                <a:gd name="connsiteX830" fmla="*/ 8622 w 10785"/>
                <a:gd name="connsiteY830" fmla="*/ 3120 h 10000"/>
                <a:gd name="connsiteX831" fmla="*/ 8618 w 10785"/>
                <a:gd name="connsiteY831" fmla="*/ 3094 h 10000"/>
                <a:gd name="connsiteX832" fmla="*/ 8594 w 10785"/>
                <a:gd name="connsiteY832" fmla="*/ 3077 h 10000"/>
                <a:gd name="connsiteX833" fmla="*/ 8548 w 10785"/>
                <a:gd name="connsiteY833" fmla="*/ 3077 h 10000"/>
                <a:gd name="connsiteX834" fmla="*/ 8535 w 10785"/>
                <a:gd name="connsiteY834" fmla="*/ 3068 h 10000"/>
                <a:gd name="connsiteX835" fmla="*/ 8429 w 10785"/>
                <a:gd name="connsiteY835" fmla="*/ 3077 h 10000"/>
                <a:gd name="connsiteX836" fmla="*/ 8424 w 10785"/>
                <a:gd name="connsiteY836" fmla="*/ 3077 h 10000"/>
                <a:gd name="connsiteX837" fmla="*/ 8396 w 10785"/>
                <a:gd name="connsiteY837" fmla="*/ 3077 h 10000"/>
                <a:gd name="connsiteX838" fmla="*/ 8387 w 10785"/>
                <a:gd name="connsiteY838" fmla="*/ 3094 h 10000"/>
                <a:gd name="connsiteX839" fmla="*/ 8378 w 10785"/>
                <a:gd name="connsiteY839" fmla="*/ 3094 h 10000"/>
                <a:gd name="connsiteX840" fmla="*/ 8341 w 10785"/>
                <a:gd name="connsiteY840" fmla="*/ 3077 h 10000"/>
                <a:gd name="connsiteX841" fmla="*/ 8336 w 10785"/>
                <a:gd name="connsiteY841" fmla="*/ 3077 h 10000"/>
                <a:gd name="connsiteX842" fmla="*/ 8327 w 10785"/>
                <a:gd name="connsiteY842" fmla="*/ 3103 h 10000"/>
                <a:gd name="connsiteX843" fmla="*/ 8309 w 10785"/>
                <a:gd name="connsiteY843" fmla="*/ 3120 h 10000"/>
                <a:gd name="connsiteX844" fmla="*/ 8304 w 10785"/>
                <a:gd name="connsiteY844" fmla="*/ 3103 h 10000"/>
                <a:gd name="connsiteX845" fmla="*/ 8276 w 10785"/>
                <a:gd name="connsiteY845" fmla="*/ 3103 h 10000"/>
                <a:gd name="connsiteX846" fmla="*/ 8267 w 10785"/>
                <a:gd name="connsiteY846" fmla="*/ 3120 h 10000"/>
                <a:gd name="connsiteX847" fmla="*/ 8253 w 10785"/>
                <a:gd name="connsiteY847" fmla="*/ 3103 h 10000"/>
                <a:gd name="connsiteX848" fmla="*/ 8230 w 10785"/>
                <a:gd name="connsiteY848" fmla="*/ 3128 h 10000"/>
                <a:gd name="connsiteX849" fmla="*/ 8217 w 10785"/>
                <a:gd name="connsiteY849" fmla="*/ 3128 h 10000"/>
                <a:gd name="connsiteX850" fmla="*/ 8203 w 10785"/>
                <a:gd name="connsiteY850" fmla="*/ 3154 h 10000"/>
                <a:gd name="connsiteX851" fmla="*/ 8175 w 10785"/>
                <a:gd name="connsiteY851" fmla="*/ 3094 h 10000"/>
                <a:gd name="connsiteX852" fmla="*/ 8161 w 10785"/>
                <a:gd name="connsiteY852" fmla="*/ 3094 h 10000"/>
                <a:gd name="connsiteX853" fmla="*/ 8157 w 10785"/>
                <a:gd name="connsiteY853" fmla="*/ 3077 h 10000"/>
                <a:gd name="connsiteX854" fmla="*/ 8180 w 10785"/>
                <a:gd name="connsiteY854" fmla="*/ 3068 h 10000"/>
                <a:gd name="connsiteX855" fmla="*/ 8189 w 10785"/>
                <a:gd name="connsiteY855" fmla="*/ 3043 h 10000"/>
                <a:gd name="connsiteX856" fmla="*/ 8189 w 10785"/>
                <a:gd name="connsiteY856" fmla="*/ 3017 h 10000"/>
                <a:gd name="connsiteX857" fmla="*/ 8147 w 10785"/>
                <a:gd name="connsiteY857" fmla="*/ 2940 h 10000"/>
                <a:gd name="connsiteX858" fmla="*/ 8143 w 10785"/>
                <a:gd name="connsiteY858" fmla="*/ 2915 h 10000"/>
                <a:gd name="connsiteX859" fmla="*/ 8143 w 10785"/>
                <a:gd name="connsiteY859" fmla="*/ 2906 h 10000"/>
                <a:gd name="connsiteX860" fmla="*/ 8097 w 10785"/>
                <a:gd name="connsiteY860" fmla="*/ 2932 h 10000"/>
                <a:gd name="connsiteX861" fmla="*/ 8083 w 10785"/>
                <a:gd name="connsiteY861" fmla="*/ 2932 h 10000"/>
                <a:gd name="connsiteX862" fmla="*/ 8074 w 10785"/>
                <a:gd name="connsiteY862" fmla="*/ 2906 h 10000"/>
                <a:gd name="connsiteX863" fmla="*/ 8074 w 10785"/>
                <a:gd name="connsiteY863" fmla="*/ 2897 h 10000"/>
                <a:gd name="connsiteX864" fmla="*/ 8055 w 10785"/>
                <a:gd name="connsiteY864" fmla="*/ 2872 h 10000"/>
                <a:gd name="connsiteX865" fmla="*/ 8046 w 10785"/>
                <a:gd name="connsiteY865" fmla="*/ 2829 h 10000"/>
                <a:gd name="connsiteX866" fmla="*/ 8041 w 10785"/>
                <a:gd name="connsiteY866" fmla="*/ 2829 h 10000"/>
                <a:gd name="connsiteX867" fmla="*/ 8023 w 10785"/>
                <a:gd name="connsiteY867" fmla="*/ 2803 h 10000"/>
                <a:gd name="connsiteX868" fmla="*/ 8014 w 10785"/>
                <a:gd name="connsiteY868" fmla="*/ 2829 h 10000"/>
                <a:gd name="connsiteX869" fmla="*/ 8000 w 10785"/>
                <a:gd name="connsiteY869" fmla="*/ 2829 h 10000"/>
                <a:gd name="connsiteX870" fmla="*/ 7995 w 10785"/>
                <a:gd name="connsiteY870" fmla="*/ 2821 h 10000"/>
                <a:gd name="connsiteX871" fmla="*/ 7972 w 10785"/>
                <a:gd name="connsiteY871" fmla="*/ 2803 h 10000"/>
                <a:gd name="connsiteX872" fmla="*/ 7968 w 10785"/>
                <a:gd name="connsiteY872" fmla="*/ 2821 h 10000"/>
                <a:gd name="connsiteX873" fmla="*/ 7968 w 10785"/>
                <a:gd name="connsiteY873" fmla="*/ 2803 h 10000"/>
                <a:gd name="connsiteX874" fmla="*/ 7995 w 10785"/>
                <a:gd name="connsiteY874" fmla="*/ 2735 h 10000"/>
                <a:gd name="connsiteX875" fmla="*/ 8000 w 10785"/>
                <a:gd name="connsiteY875" fmla="*/ 2735 h 10000"/>
                <a:gd name="connsiteX876" fmla="*/ 8014 w 10785"/>
                <a:gd name="connsiteY876" fmla="*/ 2744 h 10000"/>
                <a:gd name="connsiteX877" fmla="*/ 8023 w 10785"/>
                <a:gd name="connsiteY877" fmla="*/ 2769 h 10000"/>
                <a:gd name="connsiteX878" fmla="*/ 8032 w 10785"/>
                <a:gd name="connsiteY878" fmla="*/ 2744 h 10000"/>
                <a:gd name="connsiteX879" fmla="*/ 8032 w 10785"/>
                <a:gd name="connsiteY879" fmla="*/ 2709 h 10000"/>
                <a:gd name="connsiteX880" fmla="*/ 8023 w 10785"/>
                <a:gd name="connsiteY880" fmla="*/ 2632 h 10000"/>
                <a:gd name="connsiteX881" fmla="*/ 7986 w 10785"/>
                <a:gd name="connsiteY881" fmla="*/ 2581 h 10000"/>
                <a:gd name="connsiteX882" fmla="*/ 7968 w 10785"/>
                <a:gd name="connsiteY882" fmla="*/ 2581 h 10000"/>
                <a:gd name="connsiteX883" fmla="*/ 7963 w 10785"/>
                <a:gd name="connsiteY883" fmla="*/ 2556 h 10000"/>
                <a:gd name="connsiteX884" fmla="*/ 7935 w 10785"/>
                <a:gd name="connsiteY884" fmla="*/ 2547 h 10000"/>
                <a:gd name="connsiteX885" fmla="*/ 7912 w 10785"/>
                <a:gd name="connsiteY885" fmla="*/ 2547 h 10000"/>
                <a:gd name="connsiteX886" fmla="*/ 7912 w 10785"/>
                <a:gd name="connsiteY886" fmla="*/ 2556 h 10000"/>
                <a:gd name="connsiteX887" fmla="*/ 7908 w 10785"/>
                <a:gd name="connsiteY887" fmla="*/ 2547 h 10000"/>
                <a:gd name="connsiteX888" fmla="*/ 7862 w 10785"/>
                <a:gd name="connsiteY888" fmla="*/ 2547 h 10000"/>
                <a:gd name="connsiteX889" fmla="*/ 7848 w 10785"/>
                <a:gd name="connsiteY889" fmla="*/ 2556 h 10000"/>
                <a:gd name="connsiteX890" fmla="*/ 7820 w 10785"/>
                <a:gd name="connsiteY890" fmla="*/ 2547 h 10000"/>
                <a:gd name="connsiteX891" fmla="*/ 7806 w 10785"/>
                <a:gd name="connsiteY891" fmla="*/ 2513 h 10000"/>
                <a:gd name="connsiteX892" fmla="*/ 7788 w 10785"/>
                <a:gd name="connsiteY892" fmla="*/ 2513 h 10000"/>
                <a:gd name="connsiteX893" fmla="*/ 7760 w 10785"/>
                <a:gd name="connsiteY893" fmla="*/ 2470 h 10000"/>
                <a:gd name="connsiteX894" fmla="*/ 7751 w 10785"/>
                <a:gd name="connsiteY894" fmla="*/ 2470 h 10000"/>
                <a:gd name="connsiteX895" fmla="*/ 7705 w 10785"/>
                <a:gd name="connsiteY895" fmla="*/ 2462 h 10000"/>
                <a:gd name="connsiteX896" fmla="*/ 7673 w 10785"/>
                <a:gd name="connsiteY896" fmla="*/ 2419 h 10000"/>
                <a:gd name="connsiteX897" fmla="*/ 7627 w 10785"/>
                <a:gd name="connsiteY897" fmla="*/ 2419 h 10000"/>
                <a:gd name="connsiteX898" fmla="*/ 7613 w 10785"/>
                <a:gd name="connsiteY898" fmla="*/ 2410 h 10000"/>
                <a:gd name="connsiteX899" fmla="*/ 7493 w 10785"/>
                <a:gd name="connsiteY899" fmla="*/ 2393 h 10000"/>
                <a:gd name="connsiteX900" fmla="*/ 7479 w 10785"/>
                <a:gd name="connsiteY900" fmla="*/ 2385 h 10000"/>
                <a:gd name="connsiteX901" fmla="*/ 7479 w 10785"/>
                <a:gd name="connsiteY901" fmla="*/ 2376 h 10000"/>
                <a:gd name="connsiteX902" fmla="*/ 7465 w 10785"/>
                <a:gd name="connsiteY902" fmla="*/ 2359 h 10000"/>
                <a:gd name="connsiteX903" fmla="*/ 7447 w 10785"/>
                <a:gd name="connsiteY903" fmla="*/ 2350 h 10000"/>
                <a:gd name="connsiteX904" fmla="*/ 7433 w 10785"/>
                <a:gd name="connsiteY904" fmla="*/ 2376 h 10000"/>
                <a:gd name="connsiteX905" fmla="*/ 7433 w 10785"/>
                <a:gd name="connsiteY905" fmla="*/ 2385 h 10000"/>
                <a:gd name="connsiteX906" fmla="*/ 7447 w 10785"/>
                <a:gd name="connsiteY906" fmla="*/ 2410 h 10000"/>
                <a:gd name="connsiteX907" fmla="*/ 7447 w 10785"/>
                <a:gd name="connsiteY907" fmla="*/ 2436 h 10000"/>
                <a:gd name="connsiteX908" fmla="*/ 7452 w 10785"/>
                <a:gd name="connsiteY908" fmla="*/ 2462 h 10000"/>
                <a:gd name="connsiteX909" fmla="*/ 7447 w 10785"/>
                <a:gd name="connsiteY909" fmla="*/ 2470 h 10000"/>
                <a:gd name="connsiteX910" fmla="*/ 7424 w 10785"/>
                <a:gd name="connsiteY910" fmla="*/ 2513 h 10000"/>
                <a:gd name="connsiteX911" fmla="*/ 7419 w 10785"/>
                <a:gd name="connsiteY911" fmla="*/ 2556 h 10000"/>
                <a:gd name="connsiteX912" fmla="*/ 7406 w 10785"/>
                <a:gd name="connsiteY912" fmla="*/ 2624 h 10000"/>
                <a:gd name="connsiteX913" fmla="*/ 7392 w 10785"/>
                <a:gd name="connsiteY913" fmla="*/ 2624 h 10000"/>
                <a:gd name="connsiteX914" fmla="*/ 7373 w 10785"/>
                <a:gd name="connsiteY914" fmla="*/ 2650 h 10000"/>
                <a:gd name="connsiteX915" fmla="*/ 7364 w 10785"/>
                <a:gd name="connsiteY915" fmla="*/ 2684 h 10000"/>
                <a:gd name="connsiteX916" fmla="*/ 7364 w 10785"/>
                <a:gd name="connsiteY916" fmla="*/ 2692 h 10000"/>
                <a:gd name="connsiteX917" fmla="*/ 7373 w 10785"/>
                <a:gd name="connsiteY917" fmla="*/ 2718 h 10000"/>
                <a:gd name="connsiteX918" fmla="*/ 7373 w 10785"/>
                <a:gd name="connsiteY918" fmla="*/ 2744 h 10000"/>
                <a:gd name="connsiteX919" fmla="*/ 7359 w 10785"/>
                <a:gd name="connsiteY919" fmla="*/ 2744 h 10000"/>
                <a:gd name="connsiteX920" fmla="*/ 7359 w 10785"/>
                <a:gd name="connsiteY920" fmla="*/ 2795 h 10000"/>
                <a:gd name="connsiteX921" fmla="*/ 7364 w 10785"/>
                <a:gd name="connsiteY921" fmla="*/ 2821 h 10000"/>
                <a:gd name="connsiteX922" fmla="*/ 7378 w 10785"/>
                <a:gd name="connsiteY922" fmla="*/ 2846 h 10000"/>
                <a:gd name="connsiteX923" fmla="*/ 7378 w 10785"/>
                <a:gd name="connsiteY923" fmla="*/ 2855 h 10000"/>
                <a:gd name="connsiteX924" fmla="*/ 7378 w 10785"/>
                <a:gd name="connsiteY924" fmla="*/ 2880 h 10000"/>
                <a:gd name="connsiteX925" fmla="*/ 7378 w 10785"/>
                <a:gd name="connsiteY925" fmla="*/ 2906 h 10000"/>
                <a:gd name="connsiteX926" fmla="*/ 7364 w 10785"/>
                <a:gd name="connsiteY926" fmla="*/ 2906 h 10000"/>
                <a:gd name="connsiteX927" fmla="*/ 7346 w 10785"/>
                <a:gd name="connsiteY927" fmla="*/ 2880 h 10000"/>
                <a:gd name="connsiteX928" fmla="*/ 7332 w 10785"/>
                <a:gd name="connsiteY928" fmla="*/ 2915 h 10000"/>
                <a:gd name="connsiteX929" fmla="*/ 7318 w 10785"/>
                <a:gd name="connsiteY929" fmla="*/ 2906 h 10000"/>
                <a:gd name="connsiteX930" fmla="*/ 7313 w 10785"/>
                <a:gd name="connsiteY930" fmla="*/ 2915 h 10000"/>
                <a:gd name="connsiteX931" fmla="*/ 7313 w 10785"/>
                <a:gd name="connsiteY931" fmla="*/ 2906 h 10000"/>
                <a:gd name="connsiteX932" fmla="*/ 7286 w 10785"/>
                <a:gd name="connsiteY932" fmla="*/ 2940 h 10000"/>
                <a:gd name="connsiteX933" fmla="*/ 7276 w 10785"/>
                <a:gd name="connsiteY933" fmla="*/ 2966 h 10000"/>
                <a:gd name="connsiteX934" fmla="*/ 7272 w 10785"/>
                <a:gd name="connsiteY934" fmla="*/ 2983 h 10000"/>
                <a:gd name="connsiteX935" fmla="*/ 7267 w 10785"/>
                <a:gd name="connsiteY935" fmla="*/ 3009 h 10000"/>
                <a:gd name="connsiteX936" fmla="*/ 7253 w 10785"/>
                <a:gd name="connsiteY936" fmla="*/ 3009 h 10000"/>
                <a:gd name="connsiteX937" fmla="*/ 7244 w 10785"/>
                <a:gd name="connsiteY937" fmla="*/ 3017 h 10000"/>
                <a:gd name="connsiteX938" fmla="*/ 7240 w 10785"/>
                <a:gd name="connsiteY938" fmla="*/ 3009 h 10000"/>
                <a:gd name="connsiteX939" fmla="*/ 7230 w 10785"/>
                <a:gd name="connsiteY939" fmla="*/ 2991 h 10000"/>
                <a:gd name="connsiteX940" fmla="*/ 7226 w 10785"/>
                <a:gd name="connsiteY940" fmla="*/ 2983 h 10000"/>
                <a:gd name="connsiteX941" fmla="*/ 7226 w 10785"/>
                <a:gd name="connsiteY941" fmla="*/ 2966 h 10000"/>
                <a:gd name="connsiteX942" fmla="*/ 7212 w 10785"/>
                <a:gd name="connsiteY942" fmla="*/ 2957 h 10000"/>
                <a:gd name="connsiteX943" fmla="*/ 7212 w 10785"/>
                <a:gd name="connsiteY943" fmla="*/ 2932 h 10000"/>
                <a:gd name="connsiteX944" fmla="*/ 7198 w 10785"/>
                <a:gd name="connsiteY944" fmla="*/ 2915 h 10000"/>
                <a:gd name="connsiteX945" fmla="*/ 7194 w 10785"/>
                <a:gd name="connsiteY945" fmla="*/ 2915 h 10000"/>
                <a:gd name="connsiteX946" fmla="*/ 7157 w 10785"/>
                <a:gd name="connsiteY946" fmla="*/ 2880 h 10000"/>
                <a:gd name="connsiteX947" fmla="*/ 7138 w 10785"/>
                <a:gd name="connsiteY947" fmla="*/ 2880 h 10000"/>
                <a:gd name="connsiteX948" fmla="*/ 7120 w 10785"/>
                <a:gd name="connsiteY948" fmla="*/ 2872 h 10000"/>
                <a:gd name="connsiteX949" fmla="*/ 7111 w 10785"/>
                <a:gd name="connsiteY949" fmla="*/ 2846 h 10000"/>
                <a:gd name="connsiteX950" fmla="*/ 7106 w 10785"/>
                <a:gd name="connsiteY950" fmla="*/ 2846 h 10000"/>
                <a:gd name="connsiteX951" fmla="*/ 7092 w 10785"/>
                <a:gd name="connsiteY951" fmla="*/ 2829 h 10000"/>
                <a:gd name="connsiteX952" fmla="*/ 7051 w 10785"/>
                <a:gd name="connsiteY952" fmla="*/ 2829 h 10000"/>
                <a:gd name="connsiteX953" fmla="*/ 7037 w 10785"/>
                <a:gd name="connsiteY953" fmla="*/ 2880 h 10000"/>
                <a:gd name="connsiteX954" fmla="*/ 7037 w 10785"/>
                <a:gd name="connsiteY954" fmla="*/ 2906 h 10000"/>
                <a:gd name="connsiteX955" fmla="*/ 7037 w 10785"/>
                <a:gd name="connsiteY955" fmla="*/ 2932 h 10000"/>
                <a:gd name="connsiteX956" fmla="*/ 7037 w 10785"/>
                <a:gd name="connsiteY956" fmla="*/ 2940 h 10000"/>
                <a:gd name="connsiteX957" fmla="*/ 7023 w 10785"/>
                <a:gd name="connsiteY957" fmla="*/ 2906 h 10000"/>
                <a:gd name="connsiteX958" fmla="*/ 7023 w 10785"/>
                <a:gd name="connsiteY958" fmla="*/ 2915 h 10000"/>
                <a:gd name="connsiteX959" fmla="*/ 6991 w 10785"/>
                <a:gd name="connsiteY959" fmla="*/ 2906 h 10000"/>
                <a:gd name="connsiteX960" fmla="*/ 6977 w 10785"/>
                <a:gd name="connsiteY960" fmla="*/ 2915 h 10000"/>
                <a:gd name="connsiteX961" fmla="*/ 6963 w 10785"/>
                <a:gd name="connsiteY961" fmla="*/ 2915 h 10000"/>
                <a:gd name="connsiteX962" fmla="*/ 6949 w 10785"/>
                <a:gd name="connsiteY962" fmla="*/ 2872 h 10000"/>
                <a:gd name="connsiteX963" fmla="*/ 6935 w 10785"/>
                <a:gd name="connsiteY963" fmla="*/ 2855 h 10000"/>
                <a:gd name="connsiteX964" fmla="*/ 6922 w 10785"/>
                <a:gd name="connsiteY964" fmla="*/ 2803 h 10000"/>
                <a:gd name="connsiteX965" fmla="*/ 6917 w 10785"/>
                <a:gd name="connsiteY965" fmla="*/ 2786 h 10000"/>
                <a:gd name="connsiteX966" fmla="*/ 6903 w 10785"/>
                <a:gd name="connsiteY966" fmla="*/ 2709 h 10000"/>
                <a:gd name="connsiteX967" fmla="*/ 6903 w 10785"/>
                <a:gd name="connsiteY967" fmla="*/ 2692 h 10000"/>
                <a:gd name="connsiteX968" fmla="*/ 6899 w 10785"/>
                <a:gd name="connsiteY968" fmla="*/ 2709 h 10000"/>
                <a:gd name="connsiteX969" fmla="*/ 6857 w 10785"/>
                <a:gd name="connsiteY969" fmla="*/ 2872 h 10000"/>
                <a:gd name="connsiteX970" fmla="*/ 6857 w 10785"/>
                <a:gd name="connsiteY970" fmla="*/ 3009 h 10000"/>
                <a:gd name="connsiteX971" fmla="*/ 6848 w 10785"/>
                <a:gd name="connsiteY971" fmla="*/ 3017 h 10000"/>
                <a:gd name="connsiteX972" fmla="*/ 6839 w 10785"/>
                <a:gd name="connsiteY972" fmla="*/ 3068 h 10000"/>
                <a:gd name="connsiteX973" fmla="*/ 6829 w 10785"/>
                <a:gd name="connsiteY973" fmla="*/ 3077 h 10000"/>
                <a:gd name="connsiteX974" fmla="*/ 6829 w 10785"/>
                <a:gd name="connsiteY974" fmla="*/ 3128 h 10000"/>
                <a:gd name="connsiteX975" fmla="*/ 6816 w 10785"/>
                <a:gd name="connsiteY975" fmla="*/ 3154 h 10000"/>
                <a:gd name="connsiteX976" fmla="*/ 6811 w 10785"/>
                <a:gd name="connsiteY976" fmla="*/ 3179 h 10000"/>
                <a:gd name="connsiteX977" fmla="*/ 6797 w 10785"/>
                <a:gd name="connsiteY977" fmla="*/ 3171 h 10000"/>
                <a:gd name="connsiteX978" fmla="*/ 6783 w 10785"/>
                <a:gd name="connsiteY978" fmla="*/ 3103 h 10000"/>
                <a:gd name="connsiteX979" fmla="*/ 6779 w 10785"/>
                <a:gd name="connsiteY979" fmla="*/ 3094 h 10000"/>
                <a:gd name="connsiteX980" fmla="*/ 6779 w 10785"/>
                <a:gd name="connsiteY980" fmla="*/ 3120 h 10000"/>
                <a:gd name="connsiteX981" fmla="*/ 6770 w 10785"/>
                <a:gd name="connsiteY981" fmla="*/ 3128 h 10000"/>
                <a:gd name="connsiteX982" fmla="*/ 6765 w 10785"/>
                <a:gd name="connsiteY982" fmla="*/ 3103 h 10000"/>
                <a:gd name="connsiteX983" fmla="*/ 6756 w 10785"/>
                <a:gd name="connsiteY983" fmla="*/ 3103 h 10000"/>
                <a:gd name="connsiteX984" fmla="*/ 6742 w 10785"/>
                <a:gd name="connsiteY984" fmla="*/ 3103 h 10000"/>
                <a:gd name="connsiteX985" fmla="*/ 6737 w 10785"/>
                <a:gd name="connsiteY985" fmla="*/ 3077 h 10000"/>
                <a:gd name="connsiteX986" fmla="*/ 6737 w 10785"/>
                <a:gd name="connsiteY986" fmla="*/ 3068 h 10000"/>
                <a:gd name="connsiteX987" fmla="*/ 6728 w 10785"/>
                <a:gd name="connsiteY987" fmla="*/ 3043 h 10000"/>
                <a:gd name="connsiteX988" fmla="*/ 6724 w 10785"/>
                <a:gd name="connsiteY988" fmla="*/ 3051 h 10000"/>
                <a:gd name="connsiteX989" fmla="*/ 6714 w 10785"/>
                <a:gd name="connsiteY989" fmla="*/ 3043 h 10000"/>
                <a:gd name="connsiteX990" fmla="*/ 6710 w 10785"/>
                <a:gd name="connsiteY990" fmla="*/ 3034 h 10000"/>
                <a:gd name="connsiteX991" fmla="*/ 6705 w 10785"/>
                <a:gd name="connsiteY991" fmla="*/ 2983 h 10000"/>
                <a:gd name="connsiteX992" fmla="*/ 6696 w 10785"/>
                <a:gd name="connsiteY992" fmla="*/ 2966 h 10000"/>
                <a:gd name="connsiteX993" fmla="*/ 6691 w 10785"/>
                <a:gd name="connsiteY993" fmla="*/ 2983 h 10000"/>
                <a:gd name="connsiteX994" fmla="*/ 6677 w 10785"/>
                <a:gd name="connsiteY994" fmla="*/ 2897 h 10000"/>
                <a:gd name="connsiteX995" fmla="*/ 6677 w 10785"/>
                <a:gd name="connsiteY995" fmla="*/ 2897 h 10000"/>
                <a:gd name="connsiteX996" fmla="*/ 6677 w 10785"/>
                <a:gd name="connsiteY996" fmla="*/ 2872 h 10000"/>
                <a:gd name="connsiteX997" fmla="*/ 6668 w 10785"/>
                <a:gd name="connsiteY997" fmla="*/ 2821 h 10000"/>
                <a:gd name="connsiteX998" fmla="*/ 6664 w 10785"/>
                <a:gd name="connsiteY998" fmla="*/ 2829 h 10000"/>
                <a:gd name="connsiteX999" fmla="*/ 6654 w 10785"/>
                <a:gd name="connsiteY999" fmla="*/ 2846 h 10000"/>
                <a:gd name="connsiteX1000" fmla="*/ 6650 w 10785"/>
                <a:gd name="connsiteY1000" fmla="*/ 2829 h 10000"/>
                <a:gd name="connsiteX1001" fmla="*/ 6650 w 10785"/>
                <a:gd name="connsiteY1001" fmla="*/ 2803 h 10000"/>
                <a:gd name="connsiteX1002" fmla="*/ 6650 w 10785"/>
                <a:gd name="connsiteY1002" fmla="*/ 2795 h 10000"/>
                <a:gd name="connsiteX1003" fmla="*/ 6641 w 10785"/>
                <a:gd name="connsiteY1003" fmla="*/ 2786 h 10000"/>
                <a:gd name="connsiteX1004" fmla="*/ 6636 w 10785"/>
                <a:gd name="connsiteY1004" fmla="*/ 2735 h 10000"/>
                <a:gd name="connsiteX1005" fmla="*/ 6664 w 10785"/>
                <a:gd name="connsiteY1005" fmla="*/ 2667 h 10000"/>
                <a:gd name="connsiteX1006" fmla="*/ 6668 w 10785"/>
                <a:gd name="connsiteY1006" fmla="*/ 2684 h 10000"/>
                <a:gd name="connsiteX1007" fmla="*/ 6677 w 10785"/>
                <a:gd name="connsiteY1007" fmla="*/ 2667 h 10000"/>
                <a:gd name="connsiteX1008" fmla="*/ 6668 w 10785"/>
                <a:gd name="connsiteY1008" fmla="*/ 2667 h 10000"/>
                <a:gd name="connsiteX1009" fmla="*/ 6668 w 10785"/>
                <a:gd name="connsiteY1009" fmla="*/ 2650 h 10000"/>
                <a:gd name="connsiteX1010" fmla="*/ 6682 w 10785"/>
                <a:gd name="connsiteY1010" fmla="*/ 2650 h 10000"/>
                <a:gd name="connsiteX1011" fmla="*/ 6691 w 10785"/>
                <a:gd name="connsiteY1011" fmla="*/ 2624 h 10000"/>
                <a:gd name="connsiteX1012" fmla="*/ 6682 w 10785"/>
                <a:gd name="connsiteY1012" fmla="*/ 2632 h 10000"/>
                <a:gd name="connsiteX1013" fmla="*/ 6682 w 10785"/>
                <a:gd name="connsiteY1013" fmla="*/ 2624 h 10000"/>
                <a:gd name="connsiteX1014" fmla="*/ 6691 w 10785"/>
                <a:gd name="connsiteY1014" fmla="*/ 2607 h 10000"/>
                <a:gd name="connsiteX1015" fmla="*/ 6691 w 10785"/>
                <a:gd name="connsiteY1015" fmla="*/ 2598 h 10000"/>
                <a:gd name="connsiteX1016" fmla="*/ 6691 w 10785"/>
                <a:gd name="connsiteY1016" fmla="*/ 2581 h 10000"/>
                <a:gd name="connsiteX1017" fmla="*/ 6696 w 10785"/>
                <a:gd name="connsiteY1017" fmla="*/ 2530 h 10000"/>
                <a:gd name="connsiteX1018" fmla="*/ 6677 w 10785"/>
                <a:gd name="connsiteY1018" fmla="*/ 2513 h 10000"/>
                <a:gd name="connsiteX1019" fmla="*/ 6677 w 10785"/>
                <a:gd name="connsiteY1019" fmla="*/ 2496 h 10000"/>
                <a:gd name="connsiteX1020" fmla="*/ 6682 w 10785"/>
                <a:gd name="connsiteY1020" fmla="*/ 2470 h 10000"/>
                <a:gd name="connsiteX1021" fmla="*/ 6668 w 10785"/>
                <a:gd name="connsiteY1021" fmla="*/ 2462 h 10000"/>
                <a:gd name="connsiteX1022" fmla="*/ 6677 w 10785"/>
                <a:gd name="connsiteY1022" fmla="*/ 2436 h 10000"/>
                <a:gd name="connsiteX1023" fmla="*/ 6682 w 10785"/>
                <a:gd name="connsiteY1023" fmla="*/ 2419 h 10000"/>
                <a:gd name="connsiteX1024" fmla="*/ 6682 w 10785"/>
                <a:gd name="connsiteY1024" fmla="*/ 2393 h 10000"/>
                <a:gd name="connsiteX1025" fmla="*/ 6682 w 10785"/>
                <a:gd name="connsiteY1025" fmla="*/ 2385 h 10000"/>
                <a:gd name="connsiteX1026" fmla="*/ 6682 w 10785"/>
                <a:gd name="connsiteY1026" fmla="*/ 2385 h 10000"/>
                <a:gd name="connsiteX1027" fmla="*/ 6677 w 10785"/>
                <a:gd name="connsiteY1027" fmla="*/ 2376 h 10000"/>
                <a:gd name="connsiteX1028" fmla="*/ 6682 w 10785"/>
                <a:gd name="connsiteY1028" fmla="*/ 2359 h 10000"/>
                <a:gd name="connsiteX1029" fmla="*/ 6677 w 10785"/>
                <a:gd name="connsiteY1029" fmla="*/ 2333 h 10000"/>
                <a:gd name="connsiteX1030" fmla="*/ 6691 w 10785"/>
                <a:gd name="connsiteY1030" fmla="*/ 2333 h 10000"/>
                <a:gd name="connsiteX1031" fmla="*/ 6691 w 10785"/>
                <a:gd name="connsiteY1031" fmla="*/ 2325 h 10000"/>
                <a:gd name="connsiteX1032" fmla="*/ 6691 w 10785"/>
                <a:gd name="connsiteY1032" fmla="*/ 2308 h 10000"/>
                <a:gd name="connsiteX1033" fmla="*/ 6691 w 10785"/>
                <a:gd name="connsiteY1033" fmla="*/ 2299 h 10000"/>
                <a:gd name="connsiteX1034" fmla="*/ 6691 w 10785"/>
                <a:gd name="connsiteY1034" fmla="*/ 2282 h 10000"/>
                <a:gd name="connsiteX1035" fmla="*/ 6691 w 10785"/>
                <a:gd name="connsiteY1035" fmla="*/ 2274 h 10000"/>
                <a:gd name="connsiteX1036" fmla="*/ 6668 w 10785"/>
                <a:gd name="connsiteY1036" fmla="*/ 2248 h 10000"/>
                <a:gd name="connsiteX1037" fmla="*/ 6664 w 10785"/>
                <a:gd name="connsiteY1037" fmla="*/ 2222 h 10000"/>
                <a:gd name="connsiteX1038" fmla="*/ 6654 w 10785"/>
                <a:gd name="connsiteY1038" fmla="*/ 2214 h 10000"/>
                <a:gd name="connsiteX1039" fmla="*/ 6654 w 10785"/>
                <a:gd name="connsiteY1039" fmla="*/ 2188 h 10000"/>
                <a:gd name="connsiteX1040" fmla="*/ 6622 w 10785"/>
                <a:gd name="connsiteY1040" fmla="*/ 2162 h 10000"/>
                <a:gd name="connsiteX1041" fmla="*/ 6631 w 10785"/>
                <a:gd name="connsiteY1041" fmla="*/ 2145 h 10000"/>
                <a:gd name="connsiteX1042" fmla="*/ 6622 w 10785"/>
                <a:gd name="connsiteY1042" fmla="*/ 2120 h 10000"/>
                <a:gd name="connsiteX1043" fmla="*/ 6608 w 10785"/>
                <a:gd name="connsiteY1043" fmla="*/ 2120 h 10000"/>
                <a:gd name="connsiteX1044" fmla="*/ 6604 w 10785"/>
                <a:gd name="connsiteY1044" fmla="*/ 2111 h 10000"/>
                <a:gd name="connsiteX1045" fmla="*/ 6608 w 10785"/>
                <a:gd name="connsiteY1045" fmla="*/ 2111 h 10000"/>
                <a:gd name="connsiteX1046" fmla="*/ 6604 w 10785"/>
                <a:gd name="connsiteY1046" fmla="*/ 2085 h 10000"/>
                <a:gd name="connsiteX1047" fmla="*/ 6581 w 10785"/>
                <a:gd name="connsiteY1047" fmla="*/ 2077 h 10000"/>
                <a:gd name="connsiteX1048" fmla="*/ 6571 w 10785"/>
                <a:gd name="connsiteY1048" fmla="*/ 2085 h 10000"/>
                <a:gd name="connsiteX1049" fmla="*/ 6548 w 10785"/>
                <a:gd name="connsiteY1049" fmla="*/ 2077 h 10000"/>
                <a:gd name="connsiteX1050" fmla="*/ 6530 w 10785"/>
                <a:gd name="connsiteY1050" fmla="*/ 2060 h 10000"/>
                <a:gd name="connsiteX1051" fmla="*/ 6521 w 10785"/>
                <a:gd name="connsiteY1051" fmla="*/ 2060 h 10000"/>
                <a:gd name="connsiteX1052" fmla="*/ 6521 w 10785"/>
                <a:gd name="connsiteY1052" fmla="*/ 2085 h 10000"/>
                <a:gd name="connsiteX1053" fmla="*/ 6516 w 10785"/>
                <a:gd name="connsiteY1053" fmla="*/ 2085 h 10000"/>
                <a:gd name="connsiteX1054" fmla="*/ 6502 w 10785"/>
                <a:gd name="connsiteY1054" fmla="*/ 2111 h 10000"/>
                <a:gd name="connsiteX1055" fmla="*/ 6498 w 10785"/>
                <a:gd name="connsiteY1055" fmla="*/ 2111 h 10000"/>
                <a:gd name="connsiteX1056" fmla="*/ 6498 w 10785"/>
                <a:gd name="connsiteY1056" fmla="*/ 2103 h 10000"/>
                <a:gd name="connsiteX1057" fmla="*/ 6475 w 10785"/>
                <a:gd name="connsiteY1057" fmla="*/ 2051 h 10000"/>
                <a:gd name="connsiteX1058" fmla="*/ 6470 w 10785"/>
                <a:gd name="connsiteY1058" fmla="*/ 2060 h 10000"/>
                <a:gd name="connsiteX1059" fmla="*/ 6456 w 10785"/>
                <a:gd name="connsiteY1059" fmla="*/ 2051 h 10000"/>
                <a:gd name="connsiteX1060" fmla="*/ 6447 w 10785"/>
                <a:gd name="connsiteY1060" fmla="*/ 2051 h 10000"/>
                <a:gd name="connsiteX1061" fmla="*/ 6433 w 10785"/>
                <a:gd name="connsiteY1061" fmla="*/ 2026 h 10000"/>
                <a:gd name="connsiteX1062" fmla="*/ 6433 w 10785"/>
                <a:gd name="connsiteY1062" fmla="*/ 2034 h 10000"/>
                <a:gd name="connsiteX1063" fmla="*/ 6429 w 10785"/>
                <a:gd name="connsiteY1063" fmla="*/ 2026 h 10000"/>
                <a:gd name="connsiteX1064" fmla="*/ 6424 w 10785"/>
                <a:gd name="connsiteY1064" fmla="*/ 2034 h 10000"/>
                <a:gd name="connsiteX1065" fmla="*/ 6410 w 10785"/>
                <a:gd name="connsiteY1065" fmla="*/ 2026 h 10000"/>
                <a:gd name="connsiteX1066" fmla="*/ 6410 w 10785"/>
                <a:gd name="connsiteY1066" fmla="*/ 1991 h 10000"/>
                <a:gd name="connsiteX1067" fmla="*/ 6401 w 10785"/>
                <a:gd name="connsiteY1067" fmla="*/ 1991 h 10000"/>
                <a:gd name="connsiteX1068" fmla="*/ 6396 w 10785"/>
                <a:gd name="connsiteY1068" fmla="*/ 2000 h 10000"/>
                <a:gd name="connsiteX1069" fmla="*/ 6382 w 10785"/>
                <a:gd name="connsiteY1069" fmla="*/ 1966 h 10000"/>
                <a:gd name="connsiteX1070" fmla="*/ 6373 w 10785"/>
                <a:gd name="connsiteY1070" fmla="*/ 1974 h 10000"/>
                <a:gd name="connsiteX1071" fmla="*/ 6369 w 10785"/>
                <a:gd name="connsiteY1071" fmla="*/ 1966 h 10000"/>
                <a:gd name="connsiteX1072" fmla="*/ 6341 w 10785"/>
                <a:gd name="connsiteY1072" fmla="*/ 1949 h 10000"/>
                <a:gd name="connsiteX1073" fmla="*/ 6327 w 10785"/>
                <a:gd name="connsiteY1073" fmla="*/ 1923 h 10000"/>
                <a:gd name="connsiteX1074" fmla="*/ 6323 w 10785"/>
                <a:gd name="connsiteY1074" fmla="*/ 1923 h 10000"/>
                <a:gd name="connsiteX1075" fmla="*/ 6323 w 10785"/>
                <a:gd name="connsiteY1075" fmla="*/ 1966 h 10000"/>
                <a:gd name="connsiteX1076" fmla="*/ 6323 w 10785"/>
                <a:gd name="connsiteY1076" fmla="*/ 1991 h 10000"/>
                <a:gd name="connsiteX1077" fmla="*/ 6313 w 10785"/>
                <a:gd name="connsiteY1077" fmla="*/ 1991 h 10000"/>
                <a:gd name="connsiteX1078" fmla="*/ 6300 w 10785"/>
                <a:gd name="connsiteY1078" fmla="*/ 1991 h 10000"/>
                <a:gd name="connsiteX1079" fmla="*/ 6290 w 10785"/>
                <a:gd name="connsiteY1079" fmla="*/ 1949 h 10000"/>
                <a:gd name="connsiteX1080" fmla="*/ 6276 w 10785"/>
                <a:gd name="connsiteY1080" fmla="*/ 2103 h 10000"/>
                <a:gd name="connsiteX1081" fmla="*/ 6281 w 10785"/>
                <a:gd name="connsiteY1081" fmla="*/ 2103 h 10000"/>
                <a:gd name="connsiteX1082" fmla="*/ 6276 w 10785"/>
                <a:gd name="connsiteY1082" fmla="*/ 2111 h 10000"/>
                <a:gd name="connsiteX1083" fmla="*/ 6276 w 10785"/>
                <a:gd name="connsiteY1083" fmla="*/ 2120 h 10000"/>
                <a:gd name="connsiteX1084" fmla="*/ 6295 w 10785"/>
                <a:gd name="connsiteY1084" fmla="*/ 2239 h 10000"/>
                <a:gd name="connsiteX1085" fmla="*/ 6290 w 10785"/>
                <a:gd name="connsiteY1085" fmla="*/ 2248 h 10000"/>
                <a:gd name="connsiteX1086" fmla="*/ 6281 w 10785"/>
                <a:gd name="connsiteY1086" fmla="*/ 2274 h 10000"/>
                <a:gd name="connsiteX1087" fmla="*/ 6249 w 10785"/>
                <a:gd name="connsiteY1087" fmla="*/ 2274 h 10000"/>
                <a:gd name="connsiteX1088" fmla="*/ 6226 w 10785"/>
                <a:gd name="connsiteY1088" fmla="*/ 2308 h 10000"/>
                <a:gd name="connsiteX1089" fmla="*/ 6221 w 10785"/>
                <a:gd name="connsiteY1089" fmla="*/ 2299 h 10000"/>
                <a:gd name="connsiteX1090" fmla="*/ 6221 w 10785"/>
                <a:gd name="connsiteY1090" fmla="*/ 2308 h 10000"/>
                <a:gd name="connsiteX1091" fmla="*/ 6217 w 10785"/>
                <a:gd name="connsiteY1091" fmla="*/ 2299 h 10000"/>
                <a:gd name="connsiteX1092" fmla="*/ 6194 w 10785"/>
                <a:gd name="connsiteY1092" fmla="*/ 2308 h 10000"/>
                <a:gd name="connsiteX1093" fmla="*/ 6180 w 10785"/>
                <a:gd name="connsiteY1093" fmla="*/ 2299 h 10000"/>
                <a:gd name="connsiteX1094" fmla="*/ 6143 w 10785"/>
                <a:gd name="connsiteY1094" fmla="*/ 2308 h 10000"/>
                <a:gd name="connsiteX1095" fmla="*/ 6134 w 10785"/>
                <a:gd name="connsiteY1095" fmla="*/ 2325 h 10000"/>
                <a:gd name="connsiteX1096" fmla="*/ 6115 w 10785"/>
                <a:gd name="connsiteY1096" fmla="*/ 2282 h 10000"/>
                <a:gd name="connsiteX1097" fmla="*/ 6069 w 10785"/>
                <a:gd name="connsiteY1097" fmla="*/ 2274 h 10000"/>
                <a:gd name="connsiteX1098" fmla="*/ 6069 w 10785"/>
                <a:gd name="connsiteY1098" fmla="*/ 2282 h 10000"/>
                <a:gd name="connsiteX1099" fmla="*/ 6060 w 10785"/>
                <a:gd name="connsiteY1099" fmla="*/ 2299 h 10000"/>
                <a:gd name="connsiteX1100" fmla="*/ 5972 w 10785"/>
                <a:gd name="connsiteY1100" fmla="*/ 2214 h 10000"/>
                <a:gd name="connsiteX1101" fmla="*/ 5968 w 10785"/>
                <a:gd name="connsiteY1101" fmla="*/ 2197 h 10000"/>
                <a:gd name="connsiteX1102" fmla="*/ 5968 w 10785"/>
                <a:gd name="connsiteY1102" fmla="*/ 2171 h 10000"/>
                <a:gd name="connsiteX1103" fmla="*/ 5968 w 10785"/>
                <a:gd name="connsiteY1103" fmla="*/ 2162 h 10000"/>
                <a:gd name="connsiteX1104" fmla="*/ 5968 w 10785"/>
                <a:gd name="connsiteY1104" fmla="*/ 2120 h 10000"/>
                <a:gd name="connsiteX1105" fmla="*/ 5968 w 10785"/>
                <a:gd name="connsiteY1105" fmla="*/ 2111 h 10000"/>
                <a:gd name="connsiteX1106" fmla="*/ 5972 w 10785"/>
                <a:gd name="connsiteY1106" fmla="*/ 2103 h 10000"/>
                <a:gd name="connsiteX1107" fmla="*/ 5986 w 10785"/>
                <a:gd name="connsiteY1107" fmla="*/ 2103 h 10000"/>
                <a:gd name="connsiteX1108" fmla="*/ 5986 w 10785"/>
                <a:gd name="connsiteY1108" fmla="*/ 2085 h 10000"/>
                <a:gd name="connsiteX1109" fmla="*/ 5995 w 10785"/>
                <a:gd name="connsiteY1109" fmla="*/ 2085 h 10000"/>
                <a:gd name="connsiteX1110" fmla="*/ 5995 w 10785"/>
                <a:gd name="connsiteY1110" fmla="*/ 2077 h 10000"/>
                <a:gd name="connsiteX1111" fmla="*/ 5986 w 10785"/>
                <a:gd name="connsiteY1111" fmla="*/ 2060 h 10000"/>
                <a:gd name="connsiteX1112" fmla="*/ 5954 w 10785"/>
                <a:gd name="connsiteY1112" fmla="*/ 2060 h 10000"/>
                <a:gd name="connsiteX1113" fmla="*/ 5940 w 10785"/>
                <a:gd name="connsiteY1113" fmla="*/ 2051 h 10000"/>
                <a:gd name="connsiteX1114" fmla="*/ 5922 w 10785"/>
                <a:gd name="connsiteY1114" fmla="*/ 2060 h 10000"/>
                <a:gd name="connsiteX1115" fmla="*/ 5885 w 10785"/>
                <a:gd name="connsiteY1115" fmla="*/ 2051 h 10000"/>
                <a:gd name="connsiteX1116" fmla="*/ 5876 w 10785"/>
                <a:gd name="connsiteY1116" fmla="*/ 2026 h 10000"/>
                <a:gd name="connsiteX1117" fmla="*/ 5862 w 10785"/>
                <a:gd name="connsiteY1117" fmla="*/ 2026 h 10000"/>
                <a:gd name="connsiteX1118" fmla="*/ 5848 w 10785"/>
                <a:gd name="connsiteY1118" fmla="*/ 2026 h 10000"/>
                <a:gd name="connsiteX1119" fmla="*/ 5825 w 10785"/>
                <a:gd name="connsiteY1119" fmla="*/ 2026 h 10000"/>
                <a:gd name="connsiteX1120" fmla="*/ 5788 w 10785"/>
                <a:gd name="connsiteY1120" fmla="*/ 1991 h 10000"/>
                <a:gd name="connsiteX1121" fmla="*/ 5760 w 10785"/>
                <a:gd name="connsiteY1121" fmla="*/ 2000 h 10000"/>
                <a:gd name="connsiteX1122" fmla="*/ 5760 w 10785"/>
                <a:gd name="connsiteY1122" fmla="*/ 2026 h 10000"/>
                <a:gd name="connsiteX1123" fmla="*/ 5714 w 10785"/>
                <a:gd name="connsiteY1123" fmla="*/ 2051 h 10000"/>
                <a:gd name="connsiteX1124" fmla="*/ 5687 w 10785"/>
                <a:gd name="connsiteY1124" fmla="*/ 2034 h 10000"/>
                <a:gd name="connsiteX1125" fmla="*/ 5645 w 10785"/>
                <a:gd name="connsiteY1125" fmla="*/ 2077 h 10000"/>
                <a:gd name="connsiteX1126" fmla="*/ 5664 w 10785"/>
                <a:gd name="connsiteY1126" fmla="*/ 2120 h 10000"/>
                <a:gd name="connsiteX1127" fmla="*/ 5664 w 10785"/>
                <a:gd name="connsiteY1127" fmla="*/ 2162 h 10000"/>
                <a:gd name="connsiteX1128" fmla="*/ 5631 w 10785"/>
                <a:gd name="connsiteY1128" fmla="*/ 2197 h 10000"/>
                <a:gd name="connsiteX1129" fmla="*/ 5618 w 10785"/>
                <a:gd name="connsiteY1129" fmla="*/ 2188 h 10000"/>
                <a:gd name="connsiteX1130" fmla="*/ 5618 w 10785"/>
                <a:gd name="connsiteY1130" fmla="*/ 2171 h 10000"/>
                <a:gd name="connsiteX1131" fmla="*/ 5641 w 10785"/>
                <a:gd name="connsiteY1131" fmla="*/ 2171 h 10000"/>
                <a:gd name="connsiteX1132" fmla="*/ 5641 w 10785"/>
                <a:gd name="connsiteY1132" fmla="*/ 2162 h 10000"/>
                <a:gd name="connsiteX1133" fmla="*/ 5627 w 10785"/>
                <a:gd name="connsiteY1133" fmla="*/ 2145 h 10000"/>
                <a:gd name="connsiteX1134" fmla="*/ 5627 w 10785"/>
                <a:gd name="connsiteY1134" fmla="*/ 2120 h 10000"/>
                <a:gd name="connsiteX1135" fmla="*/ 5618 w 10785"/>
                <a:gd name="connsiteY1135" fmla="*/ 2111 h 10000"/>
                <a:gd name="connsiteX1136" fmla="*/ 5631 w 10785"/>
                <a:gd name="connsiteY1136" fmla="*/ 2051 h 10000"/>
                <a:gd name="connsiteX1137" fmla="*/ 5631 w 10785"/>
                <a:gd name="connsiteY1137" fmla="*/ 2026 h 10000"/>
                <a:gd name="connsiteX1138" fmla="*/ 5627 w 10785"/>
                <a:gd name="connsiteY1138" fmla="*/ 1991 h 10000"/>
                <a:gd name="connsiteX1139" fmla="*/ 5618 w 10785"/>
                <a:gd name="connsiteY1139" fmla="*/ 1974 h 10000"/>
                <a:gd name="connsiteX1140" fmla="*/ 5618 w 10785"/>
                <a:gd name="connsiteY1140" fmla="*/ 1940 h 10000"/>
                <a:gd name="connsiteX1141" fmla="*/ 5594 w 10785"/>
                <a:gd name="connsiteY1141" fmla="*/ 1855 h 10000"/>
                <a:gd name="connsiteX1142" fmla="*/ 5599 w 10785"/>
                <a:gd name="connsiteY1142" fmla="*/ 1915 h 10000"/>
                <a:gd name="connsiteX1143" fmla="*/ 5599 w 10785"/>
                <a:gd name="connsiteY1143" fmla="*/ 1949 h 10000"/>
                <a:gd name="connsiteX1144" fmla="*/ 5594 w 10785"/>
                <a:gd name="connsiteY1144" fmla="*/ 1991 h 10000"/>
                <a:gd name="connsiteX1145" fmla="*/ 5571 w 10785"/>
                <a:gd name="connsiteY1145" fmla="*/ 2000 h 10000"/>
                <a:gd name="connsiteX1146" fmla="*/ 5530 w 10785"/>
                <a:gd name="connsiteY1146" fmla="*/ 1991 h 10000"/>
                <a:gd name="connsiteX1147" fmla="*/ 5525 w 10785"/>
                <a:gd name="connsiteY1147" fmla="*/ 2000 h 10000"/>
                <a:gd name="connsiteX1148" fmla="*/ 5521 w 10785"/>
                <a:gd name="connsiteY1148" fmla="*/ 1991 h 10000"/>
                <a:gd name="connsiteX1149" fmla="*/ 5498 w 10785"/>
                <a:gd name="connsiteY1149" fmla="*/ 1949 h 10000"/>
                <a:gd name="connsiteX1150" fmla="*/ 5493 w 10785"/>
                <a:gd name="connsiteY1150" fmla="*/ 1889 h 10000"/>
                <a:gd name="connsiteX1151" fmla="*/ 5493 w 10785"/>
                <a:gd name="connsiteY1151" fmla="*/ 1863 h 10000"/>
                <a:gd name="connsiteX1152" fmla="*/ 5498 w 10785"/>
                <a:gd name="connsiteY1152" fmla="*/ 1889 h 10000"/>
                <a:gd name="connsiteX1153" fmla="*/ 5512 w 10785"/>
                <a:gd name="connsiteY1153" fmla="*/ 1855 h 10000"/>
                <a:gd name="connsiteX1154" fmla="*/ 5512 w 10785"/>
                <a:gd name="connsiteY1154" fmla="*/ 1838 h 10000"/>
                <a:gd name="connsiteX1155" fmla="*/ 5479 w 10785"/>
                <a:gd name="connsiteY1155" fmla="*/ 1855 h 10000"/>
                <a:gd name="connsiteX1156" fmla="*/ 5470 w 10785"/>
                <a:gd name="connsiteY1156" fmla="*/ 1872 h 10000"/>
                <a:gd name="connsiteX1157" fmla="*/ 5470 w 10785"/>
                <a:gd name="connsiteY1157" fmla="*/ 1889 h 10000"/>
                <a:gd name="connsiteX1158" fmla="*/ 5465 w 10785"/>
                <a:gd name="connsiteY1158" fmla="*/ 1897 h 10000"/>
                <a:gd name="connsiteX1159" fmla="*/ 5456 w 10785"/>
                <a:gd name="connsiteY1159" fmla="*/ 1872 h 10000"/>
                <a:gd name="connsiteX1160" fmla="*/ 5447 w 10785"/>
                <a:gd name="connsiteY1160" fmla="*/ 1872 h 10000"/>
                <a:gd name="connsiteX1161" fmla="*/ 5433 w 10785"/>
                <a:gd name="connsiteY1161" fmla="*/ 1855 h 10000"/>
                <a:gd name="connsiteX1162" fmla="*/ 5396 w 10785"/>
                <a:gd name="connsiteY1162" fmla="*/ 1863 h 10000"/>
                <a:gd name="connsiteX1163" fmla="*/ 5396 w 10785"/>
                <a:gd name="connsiteY1163" fmla="*/ 1897 h 10000"/>
                <a:gd name="connsiteX1164" fmla="*/ 5378 w 10785"/>
                <a:gd name="connsiteY1164" fmla="*/ 1949 h 10000"/>
                <a:gd name="connsiteX1165" fmla="*/ 5378 w 10785"/>
                <a:gd name="connsiteY1165" fmla="*/ 1966 h 10000"/>
                <a:gd name="connsiteX1166" fmla="*/ 5392 w 10785"/>
                <a:gd name="connsiteY1166" fmla="*/ 2026 h 10000"/>
                <a:gd name="connsiteX1167" fmla="*/ 5396 w 10785"/>
                <a:gd name="connsiteY1167" fmla="*/ 2026 h 10000"/>
                <a:gd name="connsiteX1168" fmla="*/ 5392 w 10785"/>
                <a:gd name="connsiteY1168" fmla="*/ 2009 h 10000"/>
                <a:gd name="connsiteX1169" fmla="*/ 5392 w 10785"/>
                <a:gd name="connsiteY1169" fmla="*/ 2000 h 10000"/>
                <a:gd name="connsiteX1170" fmla="*/ 5396 w 10785"/>
                <a:gd name="connsiteY1170" fmla="*/ 2009 h 10000"/>
                <a:gd name="connsiteX1171" fmla="*/ 5424 w 10785"/>
                <a:gd name="connsiteY1171" fmla="*/ 2009 h 10000"/>
                <a:gd name="connsiteX1172" fmla="*/ 5433 w 10785"/>
                <a:gd name="connsiteY1172" fmla="*/ 1991 h 10000"/>
                <a:gd name="connsiteX1173" fmla="*/ 5447 w 10785"/>
                <a:gd name="connsiteY1173" fmla="*/ 1974 h 10000"/>
                <a:gd name="connsiteX1174" fmla="*/ 5452 w 10785"/>
                <a:gd name="connsiteY1174" fmla="*/ 1966 h 10000"/>
                <a:gd name="connsiteX1175" fmla="*/ 5456 w 10785"/>
                <a:gd name="connsiteY1175" fmla="*/ 1966 h 10000"/>
                <a:gd name="connsiteX1176" fmla="*/ 5465 w 10785"/>
                <a:gd name="connsiteY1176" fmla="*/ 2009 h 10000"/>
                <a:gd name="connsiteX1177" fmla="*/ 5433 w 10785"/>
                <a:gd name="connsiteY1177" fmla="*/ 2034 h 10000"/>
                <a:gd name="connsiteX1178" fmla="*/ 5424 w 10785"/>
                <a:gd name="connsiteY1178" fmla="*/ 2060 h 10000"/>
                <a:gd name="connsiteX1179" fmla="*/ 5419 w 10785"/>
                <a:gd name="connsiteY1179" fmla="*/ 2060 h 10000"/>
                <a:gd name="connsiteX1180" fmla="*/ 5392 w 10785"/>
                <a:gd name="connsiteY1180" fmla="*/ 2111 h 10000"/>
                <a:gd name="connsiteX1181" fmla="*/ 5378 w 10785"/>
                <a:gd name="connsiteY1181" fmla="*/ 2111 h 10000"/>
                <a:gd name="connsiteX1182" fmla="*/ 5350 w 10785"/>
                <a:gd name="connsiteY1182" fmla="*/ 2060 h 10000"/>
                <a:gd name="connsiteX1183" fmla="*/ 5373 w 10785"/>
                <a:gd name="connsiteY1183" fmla="*/ 2111 h 10000"/>
                <a:gd name="connsiteX1184" fmla="*/ 5364 w 10785"/>
                <a:gd name="connsiteY1184" fmla="*/ 2111 h 10000"/>
                <a:gd name="connsiteX1185" fmla="*/ 5359 w 10785"/>
                <a:gd name="connsiteY1185" fmla="*/ 2103 h 10000"/>
                <a:gd name="connsiteX1186" fmla="*/ 5359 w 10785"/>
                <a:gd name="connsiteY1186" fmla="*/ 2120 h 10000"/>
                <a:gd name="connsiteX1187" fmla="*/ 5359 w 10785"/>
                <a:gd name="connsiteY1187" fmla="*/ 2137 h 10000"/>
                <a:gd name="connsiteX1188" fmla="*/ 5313 w 10785"/>
                <a:gd name="connsiteY1188" fmla="*/ 2162 h 10000"/>
                <a:gd name="connsiteX1189" fmla="*/ 5300 w 10785"/>
                <a:gd name="connsiteY1189" fmla="*/ 2162 h 10000"/>
                <a:gd name="connsiteX1190" fmla="*/ 5300 w 10785"/>
                <a:gd name="connsiteY1190" fmla="*/ 2171 h 10000"/>
                <a:gd name="connsiteX1191" fmla="*/ 5300 w 10785"/>
                <a:gd name="connsiteY1191" fmla="*/ 2197 h 10000"/>
                <a:gd name="connsiteX1192" fmla="*/ 5276 w 10785"/>
                <a:gd name="connsiteY1192" fmla="*/ 2188 h 10000"/>
                <a:gd name="connsiteX1193" fmla="*/ 5249 w 10785"/>
                <a:gd name="connsiteY1193" fmla="*/ 2222 h 10000"/>
                <a:gd name="connsiteX1194" fmla="*/ 5249 w 10785"/>
                <a:gd name="connsiteY1194" fmla="*/ 2222 h 10000"/>
                <a:gd name="connsiteX1195" fmla="*/ 5217 w 10785"/>
                <a:gd name="connsiteY1195" fmla="*/ 2214 h 10000"/>
                <a:gd name="connsiteX1196" fmla="*/ 5203 w 10785"/>
                <a:gd name="connsiteY1196" fmla="*/ 2239 h 10000"/>
                <a:gd name="connsiteX1197" fmla="*/ 5171 w 10785"/>
                <a:gd name="connsiteY1197" fmla="*/ 2214 h 10000"/>
                <a:gd name="connsiteX1198" fmla="*/ 5157 w 10785"/>
                <a:gd name="connsiteY1198" fmla="*/ 2239 h 10000"/>
                <a:gd name="connsiteX1199" fmla="*/ 5166 w 10785"/>
                <a:gd name="connsiteY1199" fmla="*/ 2256 h 10000"/>
                <a:gd name="connsiteX1200" fmla="*/ 5171 w 10785"/>
                <a:gd name="connsiteY1200" fmla="*/ 2308 h 10000"/>
                <a:gd name="connsiteX1201" fmla="*/ 5212 w 10785"/>
                <a:gd name="connsiteY1201" fmla="*/ 2350 h 10000"/>
                <a:gd name="connsiteX1202" fmla="*/ 5203 w 10785"/>
                <a:gd name="connsiteY1202" fmla="*/ 2350 h 10000"/>
                <a:gd name="connsiteX1203" fmla="*/ 5166 w 10785"/>
                <a:gd name="connsiteY1203" fmla="*/ 2325 h 10000"/>
                <a:gd name="connsiteX1204" fmla="*/ 5152 w 10785"/>
                <a:gd name="connsiteY1204" fmla="*/ 2308 h 10000"/>
                <a:gd name="connsiteX1205" fmla="*/ 5143 w 10785"/>
                <a:gd name="connsiteY1205" fmla="*/ 2333 h 10000"/>
                <a:gd name="connsiteX1206" fmla="*/ 5138 w 10785"/>
                <a:gd name="connsiteY1206" fmla="*/ 2333 h 10000"/>
                <a:gd name="connsiteX1207" fmla="*/ 5124 w 10785"/>
                <a:gd name="connsiteY1207" fmla="*/ 2376 h 10000"/>
                <a:gd name="connsiteX1208" fmla="*/ 5115 w 10785"/>
                <a:gd name="connsiteY1208" fmla="*/ 2385 h 10000"/>
                <a:gd name="connsiteX1209" fmla="*/ 5106 w 10785"/>
                <a:gd name="connsiteY1209" fmla="*/ 2385 h 10000"/>
                <a:gd name="connsiteX1210" fmla="*/ 5055 w 10785"/>
                <a:gd name="connsiteY1210" fmla="*/ 2470 h 10000"/>
                <a:gd name="connsiteX1211" fmla="*/ 5065 w 10785"/>
                <a:gd name="connsiteY1211" fmla="*/ 2462 h 10000"/>
                <a:gd name="connsiteX1212" fmla="*/ 5055 w 10785"/>
                <a:gd name="connsiteY1212" fmla="*/ 2444 h 10000"/>
                <a:gd name="connsiteX1213" fmla="*/ 5041 w 10785"/>
                <a:gd name="connsiteY1213" fmla="*/ 2462 h 10000"/>
                <a:gd name="connsiteX1214" fmla="*/ 5037 w 10785"/>
                <a:gd name="connsiteY1214" fmla="*/ 2470 h 10000"/>
                <a:gd name="connsiteX1215" fmla="*/ 5032 w 10785"/>
                <a:gd name="connsiteY1215" fmla="*/ 2470 h 10000"/>
                <a:gd name="connsiteX1216" fmla="*/ 5032 w 10785"/>
                <a:gd name="connsiteY1216" fmla="*/ 2444 h 10000"/>
                <a:gd name="connsiteX1217" fmla="*/ 5055 w 10785"/>
                <a:gd name="connsiteY1217" fmla="*/ 2410 h 10000"/>
                <a:gd name="connsiteX1218" fmla="*/ 5065 w 10785"/>
                <a:gd name="connsiteY1218" fmla="*/ 2393 h 10000"/>
                <a:gd name="connsiteX1219" fmla="*/ 5069 w 10785"/>
                <a:gd name="connsiteY1219" fmla="*/ 2385 h 10000"/>
                <a:gd name="connsiteX1220" fmla="*/ 5083 w 10785"/>
                <a:gd name="connsiteY1220" fmla="*/ 2376 h 10000"/>
                <a:gd name="connsiteX1221" fmla="*/ 5097 w 10785"/>
                <a:gd name="connsiteY1221" fmla="*/ 2376 h 10000"/>
                <a:gd name="connsiteX1222" fmla="*/ 5124 w 10785"/>
                <a:gd name="connsiteY1222" fmla="*/ 2325 h 10000"/>
                <a:gd name="connsiteX1223" fmla="*/ 5143 w 10785"/>
                <a:gd name="connsiteY1223" fmla="*/ 2248 h 10000"/>
                <a:gd name="connsiteX1224" fmla="*/ 5152 w 10785"/>
                <a:gd name="connsiteY1224" fmla="*/ 2239 h 10000"/>
                <a:gd name="connsiteX1225" fmla="*/ 5166 w 10785"/>
                <a:gd name="connsiteY1225" fmla="*/ 2162 h 10000"/>
                <a:gd name="connsiteX1226" fmla="*/ 5171 w 10785"/>
                <a:gd name="connsiteY1226" fmla="*/ 2171 h 10000"/>
                <a:gd name="connsiteX1227" fmla="*/ 5198 w 10785"/>
                <a:gd name="connsiteY1227" fmla="*/ 2145 h 10000"/>
                <a:gd name="connsiteX1228" fmla="*/ 5203 w 10785"/>
                <a:gd name="connsiteY1228" fmla="*/ 2111 h 10000"/>
                <a:gd name="connsiteX1229" fmla="*/ 5217 w 10785"/>
                <a:gd name="connsiteY1229" fmla="*/ 2060 h 10000"/>
                <a:gd name="connsiteX1230" fmla="*/ 5226 w 10785"/>
                <a:gd name="connsiteY1230" fmla="*/ 2026 h 10000"/>
                <a:gd name="connsiteX1231" fmla="*/ 5286 w 10785"/>
                <a:gd name="connsiteY1231" fmla="*/ 2026 h 10000"/>
                <a:gd name="connsiteX1232" fmla="*/ 5290 w 10785"/>
                <a:gd name="connsiteY1232" fmla="*/ 2034 h 10000"/>
                <a:gd name="connsiteX1233" fmla="*/ 5323 w 10785"/>
                <a:gd name="connsiteY1233" fmla="*/ 1923 h 10000"/>
                <a:gd name="connsiteX1234" fmla="*/ 5323 w 10785"/>
                <a:gd name="connsiteY1234" fmla="*/ 1889 h 10000"/>
                <a:gd name="connsiteX1235" fmla="*/ 5359 w 10785"/>
                <a:gd name="connsiteY1235" fmla="*/ 1829 h 10000"/>
                <a:gd name="connsiteX1236" fmla="*/ 5378 w 10785"/>
                <a:gd name="connsiteY1236" fmla="*/ 1812 h 10000"/>
                <a:gd name="connsiteX1237" fmla="*/ 5406 w 10785"/>
                <a:gd name="connsiteY1237" fmla="*/ 1752 h 10000"/>
                <a:gd name="connsiteX1238" fmla="*/ 5410 w 10785"/>
                <a:gd name="connsiteY1238" fmla="*/ 1718 h 10000"/>
                <a:gd name="connsiteX1239" fmla="*/ 5438 w 10785"/>
                <a:gd name="connsiteY1239" fmla="*/ 1667 h 10000"/>
                <a:gd name="connsiteX1240" fmla="*/ 5438 w 10785"/>
                <a:gd name="connsiteY1240" fmla="*/ 1650 h 10000"/>
                <a:gd name="connsiteX1241" fmla="*/ 5438 w 10785"/>
                <a:gd name="connsiteY1241" fmla="*/ 1641 h 10000"/>
                <a:gd name="connsiteX1242" fmla="*/ 5452 w 10785"/>
                <a:gd name="connsiteY1242" fmla="*/ 1641 h 10000"/>
                <a:gd name="connsiteX1243" fmla="*/ 5456 w 10785"/>
                <a:gd name="connsiteY1243" fmla="*/ 1615 h 10000"/>
                <a:gd name="connsiteX1244" fmla="*/ 5456 w 10785"/>
                <a:gd name="connsiteY1244" fmla="*/ 1615 h 10000"/>
                <a:gd name="connsiteX1245" fmla="*/ 5465 w 10785"/>
                <a:gd name="connsiteY1245" fmla="*/ 1598 h 10000"/>
                <a:gd name="connsiteX1246" fmla="*/ 5465 w 10785"/>
                <a:gd name="connsiteY1246" fmla="*/ 1615 h 10000"/>
                <a:gd name="connsiteX1247" fmla="*/ 5479 w 10785"/>
                <a:gd name="connsiteY1247" fmla="*/ 1598 h 10000"/>
                <a:gd name="connsiteX1248" fmla="*/ 5484 w 10785"/>
                <a:gd name="connsiteY1248" fmla="*/ 1581 h 10000"/>
                <a:gd name="connsiteX1249" fmla="*/ 5493 w 10785"/>
                <a:gd name="connsiteY1249" fmla="*/ 1581 h 10000"/>
                <a:gd name="connsiteX1250" fmla="*/ 5512 w 10785"/>
                <a:gd name="connsiteY1250" fmla="*/ 1538 h 10000"/>
                <a:gd name="connsiteX1251" fmla="*/ 5530 w 10785"/>
                <a:gd name="connsiteY1251" fmla="*/ 1564 h 10000"/>
                <a:gd name="connsiteX1252" fmla="*/ 5530 w 10785"/>
                <a:gd name="connsiteY1252" fmla="*/ 1538 h 10000"/>
                <a:gd name="connsiteX1253" fmla="*/ 5539 w 10785"/>
                <a:gd name="connsiteY1253" fmla="*/ 1530 h 10000"/>
                <a:gd name="connsiteX1254" fmla="*/ 5530 w 10785"/>
                <a:gd name="connsiteY1254" fmla="*/ 1504 h 10000"/>
                <a:gd name="connsiteX1255" fmla="*/ 5567 w 10785"/>
                <a:gd name="connsiteY1255" fmla="*/ 1479 h 10000"/>
                <a:gd name="connsiteX1256" fmla="*/ 5553 w 10785"/>
                <a:gd name="connsiteY1256" fmla="*/ 1479 h 10000"/>
                <a:gd name="connsiteX1257" fmla="*/ 5553 w 10785"/>
                <a:gd name="connsiteY1257" fmla="*/ 1453 h 10000"/>
                <a:gd name="connsiteX1258" fmla="*/ 5581 w 10785"/>
                <a:gd name="connsiteY1258" fmla="*/ 1444 h 10000"/>
                <a:gd name="connsiteX1259" fmla="*/ 5581 w 10785"/>
                <a:gd name="connsiteY1259" fmla="*/ 1453 h 10000"/>
                <a:gd name="connsiteX1260" fmla="*/ 5585 w 10785"/>
                <a:gd name="connsiteY1260" fmla="*/ 1444 h 10000"/>
                <a:gd name="connsiteX1261" fmla="*/ 5594 w 10785"/>
                <a:gd name="connsiteY1261" fmla="*/ 1427 h 10000"/>
                <a:gd name="connsiteX1262" fmla="*/ 5599 w 10785"/>
                <a:gd name="connsiteY1262" fmla="*/ 1419 h 10000"/>
                <a:gd name="connsiteX1263" fmla="*/ 5594 w 10785"/>
                <a:gd name="connsiteY1263" fmla="*/ 1402 h 10000"/>
                <a:gd name="connsiteX1264" fmla="*/ 5604 w 10785"/>
                <a:gd name="connsiteY1264" fmla="*/ 1393 h 10000"/>
                <a:gd name="connsiteX1265" fmla="*/ 5618 w 10785"/>
                <a:gd name="connsiteY1265" fmla="*/ 1393 h 10000"/>
                <a:gd name="connsiteX1266" fmla="*/ 5627 w 10785"/>
                <a:gd name="connsiteY1266" fmla="*/ 1368 h 10000"/>
                <a:gd name="connsiteX1267" fmla="*/ 5627 w 10785"/>
                <a:gd name="connsiteY1267" fmla="*/ 1325 h 10000"/>
                <a:gd name="connsiteX1268" fmla="*/ 5645 w 10785"/>
                <a:gd name="connsiteY1268" fmla="*/ 1291 h 10000"/>
                <a:gd name="connsiteX1269" fmla="*/ 5645 w 10785"/>
                <a:gd name="connsiteY1269" fmla="*/ 1282 h 10000"/>
                <a:gd name="connsiteX1270" fmla="*/ 5654 w 10785"/>
                <a:gd name="connsiteY1270" fmla="*/ 1265 h 10000"/>
                <a:gd name="connsiteX1271" fmla="*/ 5654 w 10785"/>
                <a:gd name="connsiteY1271" fmla="*/ 1214 h 10000"/>
                <a:gd name="connsiteX1272" fmla="*/ 5654 w 10785"/>
                <a:gd name="connsiteY1272" fmla="*/ 1214 h 10000"/>
                <a:gd name="connsiteX1273" fmla="*/ 5645 w 10785"/>
                <a:gd name="connsiteY1273" fmla="*/ 1197 h 10000"/>
                <a:gd name="connsiteX1274" fmla="*/ 5659 w 10785"/>
                <a:gd name="connsiteY1274" fmla="*/ 1197 h 10000"/>
                <a:gd name="connsiteX1275" fmla="*/ 5654 w 10785"/>
                <a:gd name="connsiteY1275" fmla="*/ 1154 h 10000"/>
                <a:gd name="connsiteX1276" fmla="*/ 5641 w 10785"/>
                <a:gd name="connsiteY1276" fmla="*/ 1154 h 10000"/>
                <a:gd name="connsiteX1277" fmla="*/ 5627 w 10785"/>
                <a:gd name="connsiteY1277" fmla="*/ 1128 h 10000"/>
                <a:gd name="connsiteX1278" fmla="*/ 5618 w 10785"/>
                <a:gd name="connsiteY1278" fmla="*/ 1094 h 10000"/>
                <a:gd name="connsiteX1279" fmla="*/ 5613 w 10785"/>
                <a:gd name="connsiteY1279" fmla="*/ 1094 h 10000"/>
                <a:gd name="connsiteX1280" fmla="*/ 5604 w 10785"/>
                <a:gd name="connsiteY1280" fmla="*/ 1120 h 10000"/>
                <a:gd name="connsiteX1281" fmla="*/ 5604 w 10785"/>
                <a:gd name="connsiteY1281" fmla="*/ 1128 h 10000"/>
                <a:gd name="connsiteX1282" fmla="*/ 5599 w 10785"/>
                <a:gd name="connsiteY1282" fmla="*/ 1103 h 10000"/>
                <a:gd name="connsiteX1283" fmla="*/ 5599 w 10785"/>
                <a:gd name="connsiteY1283" fmla="*/ 1103 h 10000"/>
                <a:gd name="connsiteX1284" fmla="*/ 5594 w 10785"/>
                <a:gd name="connsiteY1284" fmla="*/ 1068 h 10000"/>
                <a:gd name="connsiteX1285" fmla="*/ 5594 w 10785"/>
                <a:gd name="connsiteY1285" fmla="*/ 1060 h 10000"/>
                <a:gd name="connsiteX1286" fmla="*/ 5581 w 10785"/>
                <a:gd name="connsiteY1286" fmla="*/ 1034 h 10000"/>
                <a:gd name="connsiteX1287" fmla="*/ 5571 w 10785"/>
                <a:gd name="connsiteY1287" fmla="*/ 1009 h 10000"/>
                <a:gd name="connsiteX1288" fmla="*/ 5571 w 10785"/>
                <a:gd name="connsiteY1288" fmla="*/ 991 h 10000"/>
                <a:gd name="connsiteX1289" fmla="*/ 5585 w 10785"/>
                <a:gd name="connsiteY1289" fmla="*/ 1009 h 10000"/>
                <a:gd name="connsiteX1290" fmla="*/ 5604 w 10785"/>
                <a:gd name="connsiteY1290" fmla="*/ 1043 h 10000"/>
                <a:gd name="connsiteX1291" fmla="*/ 5641 w 10785"/>
                <a:gd name="connsiteY1291" fmla="*/ 1094 h 10000"/>
                <a:gd name="connsiteX1292" fmla="*/ 5631 w 10785"/>
                <a:gd name="connsiteY1292" fmla="*/ 1128 h 10000"/>
                <a:gd name="connsiteX1293" fmla="*/ 5641 w 10785"/>
                <a:gd name="connsiteY1293" fmla="*/ 1128 h 10000"/>
                <a:gd name="connsiteX1294" fmla="*/ 5659 w 10785"/>
                <a:gd name="connsiteY1294" fmla="*/ 1017 h 10000"/>
                <a:gd name="connsiteX1295" fmla="*/ 5659 w 10785"/>
                <a:gd name="connsiteY1295" fmla="*/ 983 h 10000"/>
                <a:gd name="connsiteX1296" fmla="*/ 5659 w 10785"/>
                <a:gd name="connsiteY1296" fmla="*/ 957 h 10000"/>
                <a:gd name="connsiteX1297" fmla="*/ 5654 w 10785"/>
                <a:gd name="connsiteY1297" fmla="*/ 966 h 10000"/>
                <a:gd name="connsiteX1298" fmla="*/ 5641 w 10785"/>
                <a:gd name="connsiteY1298" fmla="*/ 957 h 10000"/>
                <a:gd name="connsiteX1299" fmla="*/ 5631 w 10785"/>
                <a:gd name="connsiteY1299" fmla="*/ 897 h 10000"/>
                <a:gd name="connsiteX1300" fmla="*/ 5641 w 10785"/>
                <a:gd name="connsiteY1300" fmla="*/ 872 h 10000"/>
                <a:gd name="connsiteX1301" fmla="*/ 5618 w 10785"/>
                <a:gd name="connsiteY1301" fmla="*/ 803 h 10000"/>
                <a:gd name="connsiteX1302" fmla="*/ 5604 w 10785"/>
                <a:gd name="connsiteY1302" fmla="*/ 821 h 10000"/>
                <a:gd name="connsiteX1303" fmla="*/ 5613 w 10785"/>
                <a:gd name="connsiteY1303" fmla="*/ 846 h 10000"/>
                <a:gd name="connsiteX1304" fmla="*/ 5604 w 10785"/>
                <a:gd name="connsiteY1304" fmla="*/ 855 h 10000"/>
                <a:gd name="connsiteX1305" fmla="*/ 5599 w 10785"/>
                <a:gd name="connsiteY1305" fmla="*/ 880 h 10000"/>
                <a:gd name="connsiteX1306" fmla="*/ 5594 w 10785"/>
                <a:gd name="connsiteY1306" fmla="*/ 880 h 10000"/>
                <a:gd name="connsiteX1307" fmla="*/ 5585 w 10785"/>
                <a:gd name="connsiteY1307" fmla="*/ 829 h 10000"/>
                <a:gd name="connsiteX1308" fmla="*/ 5571 w 10785"/>
                <a:gd name="connsiteY1308" fmla="*/ 803 h 10000"/>
                <a:gd name="connsiteX1309" fmla="*/ 5585 w 10785"/>
                <a:gd name="connsiteY1309" fmla="*/ 795 h 10000"/>
                <a:gd name="connsiteX1310" fmla="*/ 5585 w 10785"/>
                <a:gd name="connsiteY1310" fmla="*/ 761 h 10000"/>
                <a:gd name="connsiteX1311" fmla="*/ 5558 w 10785"/>
                <a:gd name="connsiteY1311" fmla="*/ 709 h 10000"/>
                <a:gd name="connsiteX1312" fmla="*/ 5544 w 10785"/>
                <a:gd name="connsiteY1312" fmla="*/ 709 h 10000"/>
                <a:gd name="connsiteX1313" fmla="*/ 5544 w 10785"/>
                <a:gd name="connsiteY1313" fmla="*/ 684 h 10000"/>
                <a:gd name="connsiteX1314" fmla="*/ 5525 w 10785"/>
                <a:gd name="connsiteY1314" fmla="*/ 632 h 10000"/>
                <a:gd name="connsiteX1315" fmla="*/ 5507 w 10785"/>
                <a:gd name="connsiteY1315" fmla="*/ 607 h 10000"/>
                <a:gd name="connsiteX1316" fmla="*/ 5512 w 10785"/>
                <a:gd name="connsiteY1316" fmla="*/ 598 h 10000"/>
                <a:gd name="connsiteX1317" fmla="*/ 5507 w 10785"/>
                <a:gd name="connsiteY1317" fmla="*/ 581 h 10000"/>
                <a:gd name="connsiteX1318" fmla="*/ 5493 w 10785"/>
                <a:gd name="connsiteY1318" fmla="*/ 573 h 10000"/>
                <a:gd name="connsiteX1319" fmla="*/ 5484 w 10785"/>
                <a:gd name="connsiteY1319" fmla="*/ 581 h 10000"/>
                <a:gd name="connsiteX1320" fmla="*/ 5484 w 10785"/>
                <a:gd name="connsiteY1320" fmla="*/ 573 h 10000"/>
                <a:gd name="connsiteX1321" fmla="*/ 5484 w 10785"/>
                <a:gd name="connsiteY1321" fmla="*/ 547 h 10000"/>
                <a:gd name="connsiteX1322" fmla="*/ 5465 w 10785"/>
                <a:gd name="connsiteY1322" fmla="*/ 556 h 10000"/>
                <a:gd name="connsiteX1323" fmla="*/ 5433 w 10785"/>
                <a:gd name="connsiteY1323" fmla="*/ 547 h 10000"/>
                <a:gd name="connsiteX1324" fmla="*/ 5410 w 10785"/>
                <a:gd name="connsiteY1324" fmla="*/ 573 h 10000"/>
                <a:gd name="connsiteX1325" fmla="*/ 5406 w 10785"/>
                <a:gd name="connsiteY1325" fmla="*/ 573 h 10000"/>
                <a:gd name="connsiteX1326" fmla="*/ 5392 w 10785"/>
                <a:gd name="connsiteY1326" fmla="*/ 573 h 10000"/>
                <a:gd name="connsiteX1327" fmla="*/ 5364 w 10785"/>
                <a:gd name="connsiteY1327" fmla="*/ 530 h 10000"/>
                <a:gd name="connsiteX1328" fmla="*/ 5350 w 10785"/>
                <a:gd name="connsiteY1328" fmla="*/ 556 h 10000"/>
                <a:gd name="connsiteX1329" fmla="*/ 5346 w 10785"/>
                <a:gd name="connsiteY1329" fmla="*/ 556 h 10000"/>
                <a:gd name="connsiteX1330" fmla="*/ 5313 w 10785"/>
                <a:gd name="connsiteY1330" fmla="*/ 573 h 10000"/>
                <a:gd name="connsiteX1331" fmla="*/ 5304 w 10785"/>
                <a:gd name="connsiteY1331" fmla="*/ 556 h 10000"/>
                <a:gd name="connsiteX1332" fmla="*/ 5290 w 10785"/>
                <a:gd name="connsiteY1332" fmla="*/ 573 h 10000"/>
                <a:gd name="connsiteX1333" fmla="*/ 5290 w 10785"/>
                <a:gd name="connsiteY1333" fmla="*/ 556 h 10000"/>
                <a:gd name="connsiteX1334" fmla="*/ 5300 w 10785"/>
                <a:gd name="connsiteY1334" fmla="*/ 547 h 10000"/>
                <a:gd name="connsiteX1335" fmla="*/ 5300 w 10785"/>
                <a:gd name="connsiteY1335" fmla="*/ 530 h 10000"/>
                <a:gd name="connsiteX1336" fmla="*/ 5290 w 10785"/>
                <a:gd name="connsiteY1336" fmla="*/ 530 h 10000"/>
                <a:gd name="connsiteX1337" fmla="*/ 5286 w 10785"/>
                <a:gd name="connsiteY1337" fmla="*/ 547 h 10000"/>
                <a:gd name="connsiteX1338" fmla="*/ 5272 w 10785"/>
                <a:gd name="connsiteY1338" fmla="*/ 556 h 10000"/>
                <a:gd name="connsiteX1339" fmla="*/ 5272 w 10785"/>
                <a:gd name="connsiteY1339" fmla="*/ 598 h 10000"/>
                <a:gd name="connsiteX1340" fmla="*/ 5276 w 10785"/>
                <a:gd name="connsiteY1340" fmla="*/ 581 h 10000"/>
                <a:gd name="connsiteX1341" fmla="*/ 5272 w 10785"/>
                <a:gd name="connsiteY1341" fmla="*/ 607 h 10000"/>
                <a:gd name="connsiteX1342" fmla="*/ 5263 w 10785"/>
                <a:gd name="connsiteY1342" fmla="*/ 607 h 10000"/>
                <a:gd name="connsiteX1343" fmla="*/ 5263 w 10785"/>
                <a:gd name="connsiteY1343" fmla="*/ 632 h 10000"/>
                <a:gd name="connsiteX1344" fmla="*/ 5258 w 10785"/>
                <a:gd name="connsiteY1344" fmla="*/ 658 h 10000"/>
                <a:gd name="connsiteX1345" fmla="*/ 5244 w 10785"/>
                <a:gd name="connsiteY1345" fmla="*/ 667 h 10000"/>
                <a:gd name="connsiteX1346" fmla="*/ 5240 w 10785"/>
                <a:gd name="connsiteY1346" fmla="*/ 658 h 10000"/>
                <a:gd name="connsiteX1347" fmla="*/ 5240 w 10785"/>
                <a:gd name="connsiteY1347" fmla="*/ 684 h 10000"/>
                <a:gd name="connsiteX1348" fmla="*/ 5212 w 10785"/>
                <a:gd name="connsiteY1348" fmla="*/ 684 h 10000"/>
                <a:gd name="connsiteX1349" fmla="*/ 5198 w 10785"/>
                <a:gd name="connsiteY1349" fmla="*/ 692 h 10000"/>
                <a:gd name="connsiteX1350" fmla="*/ 5184 w 10785"/>
                <a:gd name="connsiteY1350" fmla="*/ 684 h 10000"/>
                <a:gd name="connsiteX1351" fmla="*/ 5157 w 10785"/>
                <a:gd name="connsiteY1351" fmla="*/ 684 h 10000"/>
                <a:gd name="connsiteX1352" fmla="*/ 5157 w 10785"/>
                <a:gd name="connsiteY1352" fmla="*/ 667 h 10000"/>
                <a:gd name="connsiteX1353" fmla="*/ 5157 w 10785"/>
                <a:gd name="connsiteY1353" fmla="*/ 667 h 10000"/>
                <a:gd name="connsiteX1354" fmla="*/ 5180 w 10785"/>
                <a:gd name="connsiteY1354" fmla="*/ 650 h 10000"/>
                <a:gd name="connsiteX1355" fmla="*/ 5184 w 10785"/>
                <a:gd name="connsiteY1355" fmla="*/ 658 h 10000"/>
                <a:gd name="connsiteX1356" fmla="*/ 5203 w 10785"/>
                <a:gd name="connsiteY1356" fmla="*/ 547 h 10000"/>
                <a:gd name="connsiteX1357" fmla="*/ 5226 w 10785"/>
                <a:gd name="connsiteY1357" fmla="*/ 530 h 10000"/>
                <a:gd name="connsiteX1358" fmla="*/ 5230 w 10785"/>
                <a:gd name="connsiteY1358" fmla="*/ 487 h 10000"/>
                <a:gd name="connsiteX1359" fmla="*/ 5230 w 10785"/>
                <a:gd name="connsiteY1359" fmla="*/ 487 h 10000"/>
                <a:gd name="connsiteX1360" fmla="*/ 5226 w 10785"/>
                <a:gd name="connsiteY1360" fmla="*/ 462 h 10000"/>
                <a:gd name="connsiteX1361" fmla="*/ 5226 w 10785"/>
                <a:gd name="connsiteY1361" fmla="*/ 462 h 10000"/>
                <a:gd name="connsiteX1362" fmla="*/ 5240 w 10785"/>
                <a:gd name="connsiteY1362" fmla="*/ 462 h 10000"/>
                <a:gd name="connsiteX1363" fmla="*/ 5240 w 10785"/>
                <a:gd name="connsiteY1363" fmla="*/ 444 h 10000"/>
                <a:gd name="connsiteX1364" fmla="*/ 5230 w 10785"/>
                <a:gd name="connsiteY1364" fmla="*/ 436 h 10000"/>
                <a:gd name="connsiteX1365" fmla="*/ 5230 w 10785"/>
                <a:gd name="connsiteY1365" fmla="*/ 419 h 10000"/>
                <a:gd name="connsiteX1366" fmla="*/ 5230 w 10785"/>
                <a:gd name="connsiteY1366" fmla="*/ 410 h 10000"/>
                <a:gd name="connsiteX1367" fmla="*/ 5198 w 10785"/>
                <a:gd name="connsiteY1367" fmla="*/ 402 h 10000"/>
                <a:gd name="connsiteX1368" fmla="*/ 5189 w 10785"/>
                <a:gd name="connsiteY1368" fmla="*/ 402 h 10000"/>
                <a:gd name="connsiteX1369" fmla="*/ 5184 w 10785"/>
                <a:gd name="connsiteY1369" fmla="*/ 376 h 10000"/>
                <a:gd name="connsiteX1370" fmla="*/ 5180 w 10785"/>
                <a:gd name="connsiteY1370" fmla="*/ 376 h 10000"/>
                <a:gd name="connsiteX1371" fmla="*/ 5166 w 10785"/>
                <a:gd name="connsiteY1371" fmla="*/ 376 h 10000"/>
                <a:gd name="connsiteX1372" fmla="*/ 5157 w 10785"/>
                <a:gd name="connsiteY1372" fmla="*/ 385 h 10000"/>
                <a:gd name="connsiteX1373" fmla="*/ 5152 w 10785"/>
                <a:gd name="connsiteY1373" fmla="*/ 376 h 10000"/>
                <a:gd name="connsiteX1374" fmla="*/ 5129 w 10785"/>
                <a:gd name="connsiteY1374" fmla="*/ 385 h 10000"/>
                <a:gd name="connsiteX1375" fmla="*/ 5129 w 10785"/>
                <a:gd name="connsiteY1375" fmla="*/ 350 h 10000"/>
                <a:gd name="connsiteX1376" fmla="*/ 5129 w 10785"/>
                <a:gd name="connsiteY1376" fmla="*/ 325 h 10000"/>
                <a:gd name="connsiteX1377" fmla="*/ 5124 w 10785"/>
                <a:gd name="connsiteY1377" fmla="*/ 359 h 10000"/>
                <a:gd name="connsiteX1378" fmla="*/ 5106 w 10785"/>
                <a:gd name="connsiteY1378" fmla="*/ 359 h 10000"/>
                <a:gd name="connsiteX1379" fmla="*/ 5037 w 10785"/>
                <a:gd name="connsiteY1379" fmla="*/ 419 h 10000"/>
                <a:gd name="connsiteX1380" fmla="*/ 5051 w 10785"/>
                <a:gd name="connsiteY1380" fmla="*/ 385 h 10000"/>
                <a:gd name="connsiteX1381" fmla="*/ 5055 w 10785"/>
                <a:gd name="connsiteY1381" fmla="*/ 376 h 10000"/>
                <a:gd name="connsiteX1382" fmla="*/ 5092 w 10785"/>
                <a:gd name="connsiteY1382" fmla="*/ 282 h 10000"/>
                <a:gd name="connsiteX1383" fmla="*/ 5106 w 10785"/>
                <a:gd name="connsiteY1383" fmla="*/ 265 h 10000"/>
                <a:gd name="connsiteX1384" fmla="*/ 5115 w 10785"/>
                <a:gd name="connsiteY1384" fmla="*/ 265 h 10000"/>
                <a:gd name="connsiteX1385" fmla="*/ 5124 w 10785"/>
                <a:gd name="connsiteY1385" fmla="*/ 222 h 10000"/>
                <a:gd name="connsiteX1386" fmla="*/ 5124 w 10785"/>
                <a:gd name="connsiteY1386" fmla="*/ 214 h 10000"/>
                <a:gd name="connsiteX1387" fmla="*/ 5143 w 10785"/>
                <a:gd name="connsiteY1387" fmla="*/ 197 h 10000"/>
                <a:gd name="connsiteX1388" fmla="*/ 5152 w 10785"/>
                <a:gd name="connsiteY1388" fmla="*/ 214 h 10000"/>
                <a:gd name="connsiteX1389" fmla="*/ 5143 w 10785"/>
                <a:gd name="connsiteY1389" fmla="*/ 188 h 10000"/>
                <a:gd name="connsiteX1390" fmla="*/ 5129 w 10785"/>
                <a:gd name="connsiteY1390" fmla="*/ 103 h 10000"/>
                <a:gd name="connsiteX1391" fmla="*/ 5115 w 10785"/>
                <a:gd name="connsiteY1391" fmla="*/ 85 h 10000"/>
                <a:gd name="connsiteX1392" fmla="*/ 5111 w 10785"/>
                <a:gd name="connsiteY1392" fmla="*/ 111 h 10000"/>
                <a:gd name="connsiteX1393" fmla="*/ 5092 w 10785"/>
                <a:gd name="connsiteY1393" fmla="*/ 103 h 10000"/>
                <a:gd name="connsiteX1394" fmla="*/ 5069 w 10785"/>
                <a:gd name="connsiteY1394" fmla="*/ 77 h 10000"/>
                <a:gd name="connsiteX1395" fmla="*/ 5051 w 10785"/>
                <a:gd name="connsiteY1395" fmla="*/ 26 h 10000"/>
                <a:gd name="connsiteX1396" fmla="*/ 5041 w 10785"/>
                <a:gd name="connsiteY1396" fmla="*/ 34 h 10000"/>
                <a:gd name="connsiteX1397" fmla="*/ 5037 w 10785"/>
                <a:gd name="connsiteY1397" fmla="*/ 34 h 10000"/>
                <a:gd name="connsiteX1398" fmla="*/ 5037 w 10785"/>
                <a:gd name="connsiteY1398" fmla="*/ 26 h 10000"/>
                <a:gd name="connsiteX1399" fmla="*/ 5037 w 10785"/>
                <a:gd name="connsiteY1399" fmla="*/ 9 h 10000"/>
                <a:gd name="connsiteX1400" fmla="*/ 5023 w 10785"/>
                <a:gd name="connsiteY1400" fmla="*/ 0 h 10000"/>
                <a:gd name="connsiteX1401" fmla="*/ 5009 w 10785"/>
                <a:gd name="connsiteY1401" fmla="*/ 9 h 10000"/>
                <a:gd name="connsiteX1402" fmla="*/ 4995 w 10785"/>
                <a:gd name="connsiteY1402" fmla="*/ 34 h 10000"/>
                <a:gd name="connsiteX1403" fmla="*/ 4991 w 10785"/>
                <a:gd name="connsiteY1403" fmla="*/ 60 h 10000"/>
                <a:gd name="connsiteX1404" fmla="*/ 4982 w 10785"/>
                <a:gd name="connsiteY1404" fmla="*/ 60 h 10000"/>
                <a:gd name="connsiteX1405" fmla="*/ 4949 w 10785"/>
                <a:gd name="connsiteY1405" fmla="*/ 51 h 10000"/>
                <a:gd name="connsiteX1406" fmla="*/ 4949 w 10785"/>
                <a:gd name="connsiteY1406" fmla="*/ 85 h 10000"/>
                <a:gd name="connsiteX1407" fmla="*/ 4903 w 10785"/>
                <a:gd name="connsiteY1407" fmla="*/ 197 h 10000"/>
                <a:gd name="connsiteX1408" fmla="*/ 4899 w 10785"/>
                <a:gd name="connsiteY1408" fmla="*/ 239 h 10000"/>
                <a:gd name="connsiteX1409" fmla="*/ 4871 w 10785"/>
                <a:gd name="connsiteY1409" fmla="*/ 274 h 10000"/>
                <a:gd name="connsiteX1410" fmla="*/ 4871 w 10785"/>
                <a:gd name="connsiteY1410" fmla="*/ 282 h 10000"/>
                <a:gd name="connsiteX1411" fmla="*/ 4834 w 10785"/>
                <a:gd name="connsiteY1411" fmla="*/ 376 h 10000"/>
                <a:gd name="connsiteX1412" fmla="*/ 4829 w 10785"/>
                <a:gd name="connsiteY1412" fmla="*/ 402 h 10000"/>
                <a:gd name="connsiteX1413" fmla="*/ 4834 w 10785"/>
                <a:gd name="connsiteY1413" fmla="*/ 410 h 10000"/>
                <a:gd name="connsiteX1414" fmla="*/ 4829 w 10785"/>
                <a:gd name="connsiteY1414" fmla="*/ 436 h 10000"/>
                <a:gd name="connsiteX1415" fmla="*/ 4825 w 10785"/>
                <a:gd name="connsiteY1415" fmla="*/ 436 h 10000"/>
                <a:gd name="connsiteX1416" fmla="*/ 4825 w 10785"/>
                <a:gd name="connsiteY1416" fmla="*/ 444 h 10000"/>
                <a:gd name="connsiteX1417" fmla="*/ 4811 w 10785"/>
                <a:gd name="connsiteY1417" fmla="*/ 496 h 10000"/>
                <a:gd name="connsiteX1418" fmla="*/ 4811 w 10785"/>
                <a:gd name="connsiteY1418" fmla="*/ 496 h 10000"/>
                <a:gd name="connsiteX1419" fmla="*/ 4811 w 10785"/>
                <a:gd name="connsiteY1419" fmla="*/ 521 h 10000"/>
                <a:gd name="connsiteX1420" fmla="*/ 4816 w 10785"/>
                <a:gd name="connsiteY1420" fmla="*/ 530 h 10000"/>
                <a:gd name="connsiteX1421" fmla="*/ 4834 w 10785"/>
                <a:gd name="connsiteY1421" fmla="*/ 547 h 10000"/>
                <a:gd name="connsiteX1422" fmla="*/ 4834 w 10785"/>
                <a:gd name="connsiteY1422" fmla="*/ 581 h 10000"/>
                <a:gd name="connsiteX1423" fmla="*/ 4843 w 10785"/>
                <a:gd name="connsiteY1423" fmla="*/ 581 h 10000"/>
                <a:gd name="connsiteX1424" fmla="*/ 4843 w 10785"/>
                <a:gd name="connsiteY1424" fmla="*/ 598 h 10000"/>
                <a:gd name="connsiteX1425" fmla="*/ 4829 w 10785"/>
                <a:gd name="connsiteY1425" fmla="*/ 598 h 10000"/>
                <a:gd name="connsiteX1426" fmla="*/ 4829 w 10785"/>
                <a:gd name="connsiteY1426" fmla="*/ 573 h 10000"/>
                <a:gd name="connsiteX1427" fmla="*/ 4829 w 10785"/>
                <a:gd name="connsiteY1427" fmla="*/ 632 h 10000"/>
                <a:gd name="connsiteX1428" fmla="*/ 4829 w 10785"/>
                <a:gd name="connsiteY1428" fmla="*/ 632 h 10000"/>
                <a:gd name="connsiteX1429" fmla="*/ 4829 w 10785"/>
                <a:gd name="connsiteY1429" fmla="*/ 650 h 10000"/>
                <a:gd name="connsiteX1430" fmla="*/ 4774 w 10785"/>
                <a:gd name="connsiteY1430" fmla="*/ 684 h 10000"/>
                <a:gd name="connsiteX1431" fmla="*/ 4756 w 10785"/>
                <a:gd name="connsiteY1431" fmla="*/ 684 h 10000"/>
                <a:gd name="connsiteX1432" fmla="*/ 4737 w 10785"/>
                <a:gd name="connsiteY1432" fmla="*/ 692 h 10000"/>
                <a:gd name="connsiteX1433" fmla="*/ 4677 w 10785"/>
                <a:gd name="connsiteY1433" fmla="*/ 667 h 10000"/>
                <a:gd name="connsiteX1434" fmla="*/ 4682 w 10785"/>
                <a:gd name="connsiteY1434" fmla="*/ 692 h 10000"/>
                <a:gd name="connsiteX1435" fmla="*/ 4682 w 10785"/>
                <a:gd name="connsiteY1435" fmla="*/ 709 h 10000"/>
                <a:gd name="connsiteX1436" fmla="*/ 4691 w 10785"/>
                <a:gd name="connsiteY1436" fmla="*/ 718 h 10000"/>
                <a:gd name="connsiteX1437" fmla="*/ 4691 w 10785"/>
                <a:gd name="connsiteY1437" fmla="*/ 744 h 10000"/>
                <a:gd name="connsiteX1438" fmla="*/ 4700 w 10785"/>
                <a:gd name="connsiteY1438" fmla="*/ 744 h 10000"/>
                <a:gd name="connsiteX1439" fmla="*/ 4714 w 10785"/>
                <a:gd name="connsiteY1439" fmla="*/ 769 h 10000"/>
                <a:gd name="connsiteX1440" fmla="*/ 4710 w 10785"/>
                <a:gd name="connsiteY1440" fmla="*/ 786 h 10000"/>
                <a:gd name="connsiteX1441" fmla="*/ 4737 w 10785"/>
                <a:gd name="connsiteY1441" fmla="*/ 786 h 10000"/>
                <a:gd name="connsiteX1442" fmla="*/ 4742 w 10785"/>
                <a:gd name="connsiteY1442" fmla="*/ 795 h 10000"/>
                <a:gd name="connsiteX1443" fmla="*/ 4742 w 10785"/>
                <a:gd name="connsiteY1443" fmla="*/ 803 h 10000"/>
                <a:gd name="connsiteX1444" fmla="*/ 4737 w 10785"/>
                <a:gd name="connsiteY1444" fmla="*/ 846 h 10000"/>
                <a:gd name="connsiteX1445" fmla="*/ 4737 w 10785"/>
                <a:gd name="connsiteY1445" fmla="*/ 880 h 10000"/>
                <a:gd name="connsiteX1446" fmla="*/ 4737 w 10785"/>
                <a:gd name="connsiteY1446" fmla="*/ 906 h 10000"/>
                <a:gd name="connsiteX1447" fmla="*/ 4724 w 10785"/>
                <a:gd name="connsiteY1447" fmla="*/ 897 h 10000"/>
                <a:gd name="connsiteX1448" fmla="*/ 4724 w 10785"/>
                <a:gd name="connsiteY1448" fmla="*/ 872 h 10000"/>
                <a:gd name="connsiteX1449" fmla="*/ 4714 w 10785"/>
                <a:gd name="connsiteY1449" fmla="*/ 855 h 10000"/>
                <a:gd name="connsiteX1450" fmla="*/ 4691 w 10785"/>
                <a:gd name="connsiteY1450" fmla="*/ 846 h 10000"/>
                <a:gd name="connsiteX1451" fmla="*/ 4691 w 10785"/>
                <a:gd name="connsiteY1451" fmla="*/ 846 h 10000"/>
                <a:gd name="connsiteX1452" fmla="*/ 4696 w 10785"/>
                <a:gd name="connsiteY1452" fmla="*/ 821 h 10000"/>
                <a:gd name="connsiteX1453" fmla="*/ 4691 w 10785"/>
                <a:gd name="connsiteY1453" fmla="*/ 803 h 10000"/>
                <a:gd name="connsiteX1454" fmla="*/ 4668 w 10785"/>
                <a:gd name="connsiteY1454" fmla="*/ 821 h 10000"/>
                <a:gd name="connsiteX1455" fmla="*/ 4668 w 10785"/>
                <a:gd name="connsiteY1455" fmla="*/ 786 h 10000"/>
                <a:gd name="connsiteX1456" fmla="*/ 4664 w 10785"/>
                <a:gd name="connsiteY1456" fmla="*/ 786 h 10000"/>
                <a:gd name="connsiteX1457" fmla="*/ 4622 w 10785"/>
                <a:gd name="connsiteY1457" fmla="*/ 846 h 10000"/>
                <a:gd name="connsiteX1458" fmla="*/ 4627 w 10785"/>
                <a:gd name="connsiteY1458" fmla="*/ 872 h 10000"/>
                <a:gd name="connsiteX1459" fmla="*/ 4622 w 10785"/>
                <a:gd name="connsiteY1459" fmla="*/ 880 h 10000"/>
                <a:gd name="connsiteX1460" fmla="*/ 4622 w 10785"/>
                <a:gd name="connsiteY1460" fmla="*/ 880 h 10000"/>
                <a:gd name="connsiteX1461" fmla="*/ 4618 w 10785"/>
                <a:gd name="connsiteY1461" fmla="*/ 872 h 10000"/>
                <a:gd name="connsiteX1462" fmla="*/ 4604 w 10785"/>
                <a:gd name="connsiteY1462" fmla="*/ 880 h 10000"/>
                <a:gd name="connsiteX1463" fmla="*/ 4594 w 10785"/>
                <a:gd name="connsiteY1463" fmla="*/ 906 h 10000"/>
                <a:gd name="connsiteX1464" fmla="*/ 4604 w 10785"/>
                <a:gd name="connsiteY1464" fmla="*/ 906 h 10000"/>
                <a:gd name="connsiteX1465" fmla="*/ 4608 w 10785"/>
                <a:gd name="connsiteY1465" fmla="*/ 906 h 10000"/>
                <a:gd name="connsiteX1466" fmla="*/ 4608 w 10785"/>
                <a:gd name="connsiteY1466" fmla="*/ 932 h 10000"/>
                <a:gd name="connsiteX1467" fmla="*/ 4604 w 10785"/>
                <a:gd name="connsiteY1467" fmla="*/ 932 h 10000"/>
                <a:gd name="connsiteX1468" fmla="*/ 4590 w 10785"/>
                <a:gd name="connsiteY1468" fmla="*/ 932 h 10000"/>
                <a:gd name="connsiteX1469" fmla="*/ 4567 w 10785"/>
                <a:gd name="connsiteY1469" fmla="*/ 957 h 10000"/>
                <a:gd name="connsiteX1470" fmla="*/ 4567 w 10785"/>
                <a:gd name="connsiteY1470" fmla="*/ 932 h 10000"/>
                <a:gd name="connsiteX1471" fmla="*/ 4567 w 10785"/>
                <a:gd name="connsiteY1471" fmla="*/ 923 h 10000"/>
                <a:gd name="connsiteX1472" fmla="*/ 4562 w 10785"/>
                <a:gd name="connsiteY1472" fmla="*/ 932 h 10000"/>
                <a:gd name="connsiteX1473" fmla="*/ 4548 w 10785"/>
                <a:gd name="connsiteY1473" fmla="*/ 957 h 10000"/>
                <a:gd name="connsiteX1474" fmla="*/ 4544 w 10785"/>
                <a:gd name="connsiteY1474" fmla="*/ 957 h 10000"/>
                <a:gd name="connsiteX1475" fmla="*/ 4521 w 10785"/>
                <a:gd name="connsiteY1475" fmla="*/ 983 h 10000"/>
                <a:gd name="connsiteX1476" fmla="*/ 4521 w 10785"/>
                <a:gd name="connsiteY1476" fmla="*/ 983 h 10000"/>
                <a:gd name="connsiteX1477" fmla="*/ 4530 w 10785"/>
                <a:gd name="connsiteY1477" fmla="*/ 957 h 10000"/>
                <a:gd name="connsiteX1478" fmla="*/ 4535 w 10785"/>
                <a:gd name="connsiteY1478" fmla="*/ 932 h 10000"/>
                <a:gd name="connsiteX1479" fmla="*/ 4521 w 10785"/>
                <a:gd name="connsiteY1479" fmla="*/ 932 h 10000"/>
                <a:gd name="connsiteX1480" fmla="*/ 4516 w 10785"/>
                <a:gd name="connsiteY1480" fmla="*/ 923 h 10000"/>
                <a:gd name="connsiteX1481" fmla="*/ 4516 w 10785"/>
                <a:gd name="connsiteY1481" fmla="*/ 932 h 10000"/>
                <a:gd name="connsiteX1482" fmla="*/ 4488 w 10785"/>
                <a:gd name="connsiteY1482" fmla="*/ 940 h 10000"/>
                <a:gd name="connsiteX1483" fmla="*/ 4484 w 10785"/>
                <a:gd name="connsiteY1483" fmla="*/ 983 h 10000"/>
                <a:gd name="connsiteX1484" fmla="*/ 4470 w 10785"/>
                <a:gd name="connsiteY1484" fmla="*/ 983 h 10000"/>
                <a:gd name="connsiteX1485" fmla="*/ 4470 w 10785"/>
                <a:gd name="connsiteY1485" fmla="*/ 966 h 10000"/>
                <a:gd name="connsiteX1486" fmla="*/ 4488 w 10785"/>
                <a:gd name="connsiteY1486" fmla="*/ 923 h 10000"/>
                <a:gd name="connsiteX1487" fmla="*/ 4493 w 10785"/>
                <a:gd name="connsiteY1487" fmla="*/ 880 h 10000"/>
                <a:gd name="connsiteX1488" fmla="*/ 4475 w 10785"/>
                <a:gd name="connsiteY1488" fmla="*/ 846 h 10000"/>
                <a:gd name="connsiteX1489" fmla="*/ 4442 w 10785"/>
                <a:gd name="connsiteY1489" fmla="*/ 855 h 10000"/>
                <a:gd name="connsiteX1490" fmla="*/ 4433 w 10785"/>
                <a:gd name="connsiteY1490" fmla="*/ 855 h 10000"/>
                <a:gd name="connsiteX1491" fmla="*/ 4433 w 10785"/>
                <a:gd name="connsiteY1491" fmla="*/ 880 h 10000"/>
                <a:gd name="connsiteX1492" fmla="*/ 4401 w 10785"/>
                <a:gd name="connsiteY1492" fmla="*/ 855 h 10000"/>
                <a:gd name="connsiteX1493" fmla="*/ 4396 w 10785"/>
                <a:gd name="connsiteY1493" fmla="*/ 872 h 10000"/>
                <a:gd name="connsiteX1494" fmla="*/ 4382 w 10785"/>
                <a:gd name="connsiteY1494" fmla="*/ 897 h 10000"/>
                <a:gd name="connsiteX1495" fmla="*/ 4373 w 10785"/>
                <a:gd name="connsiteY1495" fmla="*/ 872 h 10000"/>
                <a:gd name="connsiteX1496" fmla="*/ 4341 w 10785"/>
                <a:gd name="connsiteY1496" fmla="*/ 872 h 10000"/>
                <a:gd name="connsiteX1497" fmla="*/ 4336 w 10785"/>
                <a:gd name="connsiteY1497" fmla="*/ 880 h 10000"/>
                <a:gd name="connsiteX1498" fmla="*/ 4346 w 10785"/>
                <a:gd name="connsiteY1498" fmla="*/ 897 h 10000"/>
                <a:gd name="connsiteX1499" fmla="*/ 4346 w 10785"/>
                <a:gd name="connsiteY1499" fmla="*/ 897 h 10000"/>
                <a:gd name="connsiteX1500" fmla="*/ 4313 w 10785"/>
                <a:gd name="connsiteY1500" fmla="*/ 906 h 10000"/>
                <a:gd name="connsiteX1501" fmla="*/ 4313 w 10785"/>
                <a:gd name="connsiteY1501" fmla="*/ 906 h 10000"/>
                <a:gd name="connsiteX1502" fmla="*/ 4313 w 10785"/>
                <a:gd name="connsiteY1502" fmla="*/ 880 h 10000"/>
                <a:gd name="connsiteX1503" fmla="*/ 4309 w 10785"/>
                <a:gd name="connsiteY1503" fmla="*/ 897 h 10000"/>
                <a:gd name="connsiteX1504" fmla="*/ 4295 w 10785"/>
                <a:gd name="connsiteY1504" fmla="*/ 923 h 10000"/>
                <a:gd name="connsiteX1505" fmla="*/ 4286 w 10785"/>
                <a:gd name="connsiteY1505" fmla="*/ 897 h 10000"/>
                <a:gd name="connsiteX1506" fmla="*/ 4281 w 10785"/>
                <a:gd name="connsiteY1506" fmla="*/ 906 h 10000"/>
                <a:gd name="connsiteX1507" fmla="*/ 4281 w 10785"/>
                <a:gd name="connsiteY1507" fmla="*/ 940 h 10000"/>
                <a:gd name="connsiteX1508" fmla="*/ 4286 w 10785"/>
                <a:gd name="connsiteY1508" fmla="*/ 957 h 10000"/>
                <a:gd name="connsiteX1509" fmla="*/ 4309 w 10785"/>
                <a:gd name="connsiteY1509" fmla="*/ 932 h 10000"/>
                <a:gd name="connsiteX1510" fmla="*/ 4313 w 10785"/>
                <a:gd name="connsiteY1510" fmla="*/ 957 h 10000"/>
                <a:gd name="connsiteX1511" fmla="*/ 4313 w 10785"/>
                <a:gd name="connsiteY1511" fmla="*/ 966 h 10000"/>
                <a:gd name="connsiteX1512" fmla="*/ 4323 w 10785"/>
                <a:gd name="connsiteY1512" fmla="*/ 966 h 10000"/>
                <a:gd name="connsiteX1513" fmla="*/ 4323 w 10785"/>
                <a:gd name="connsiteY1513" fmla="*/ 940 h 10000"/>
                <a:gd name="connsiteX1514" fmla="*/ 4327 w 10785"/>
                <a:gd name="connsiteY1514" fmla="*/ 940 h 10000"/>
                <a:gd name="connsiteX1515" fmla="*/ 4327 w 10785"/>
                <a:gd name="connsiteY1515" fmla="*/ 957 h 10000"/>
                <a:gd name="connsiteX1516" fmla="*/ 4327 w 10785"/>
                <a:gd name="connsiteY1516" fmla="*/ 966 h 10000"/>
                <a:gd name="connsiteX1517" fmla="*/ 4323 w 10785"/>
                <a:gd name="connsiteY1517" fmla="*/ 991 h 10000"/>
                <a:gd name="connsiteX1518" fmla="*/ 4207 w 10785"/>
                <a:gd name="connsiteY1518" fmla="*/ 1060 h 10000"/>
                <a:gd name="connsiteX1519" fmla="*/ 4207 w 10785"/>
                <a:gd name="connsiteY1519" fmla="*/ 1060 h 10000"/>
                <a:gd name="connsiteX1520" fmla="*/ 4203 w 10785"/>
                <a:gd name="connsiteY1520" fmla="*/ 1068 h 10000"/>
                <a:gd name="connsiteX1521" fmla="*/ 4203 w 10785"/>
                <a:gd name="connsiteY1521" fmla="*/ 1094 h 10000"/>
                <a:gd name="connsiteX1522" fmla="*/ 4203 w 10785"/>
                <a:gd name="connsiteY1522" fmla="*/ 1094 h 10000"/>
                <a:gd name="connsiteX1523" fmla="*/ 4189 w 10785"/>
                <a:gd name="connsiteY1523" fmla="*/ 1094 h 10000"/>
                <a:gd name="connsiteX1524" fmla="*/ 4166 w 10785"/>
                <a:gd name="connsiteY1524" fmla="*/ 1103 h 10000"/>
                <a:gd name="connsiteX1525" fmla="*/ 4152 w 10785"/>
                <a:gd name="connsiteY1525" fmla="*/ 1094 h 10000"/>
                <a:gd name="connsiteX1526" fmla="*/ 4134 w 10785"/>
                <a:gd name="connsiteY1526" fmla="*/ 1120 h 10000"/>
                <a:gd name="connsiteX1527" fmla="*/ 4106 w 10785"/>
                <a:gd name="connsiteY1527" fmla="*/ 1120 h 10000"/>
                <a:gd name="connsiteX1528" fmla="*/ 4092 w 10785"/>
                <a:gd name="connsiteY1528" fmla="*/ 1154 h 10000"/>
                <a:gd name="connsiteX1529" fmla="*/ 4106 w 10785"/>
                <a:gd name="connsiteY1529" fmla="*/ 1171 h 10000"/>
                <a:gd name="connsiteX1530" fmla="*/ 4078 w 10785"/>
                <a:gd name="connsiteY1530" fmla="*/ 1179 h 10000"/>
                <a:gd name="connsiteX1531" fmla="*/ 4065 w 10785"/>
                <a:gd name="connsiteY1531" fmla="*/ 1205 h 10000"/>
                <a:gd name="connsiteX1532" fmla="*/ 4046 w 10785"/>
                <a:gd name="connsiteY1532" fmla="*/ 1179 h 10000"/>
                <a:gd name="connsiteX1533" fmla="*/ 4041 w 10785"/>
                <a:gd name="connsiteY1533" fmla="*/ 1197 h 10000"/>
                <a:gd name="connsiteX1534" fmla="*/ 4028 w 10785"/>
                <a:gd name="connsiteY1534" fmla="*/ 1205 h 10000"/>
                <a:gd name="connsiteX1535" fmla="*/ 4028 w 10785"/>
                <a:gd name="connsiteY1535" fmla="*/ 1205 h 10000"/>
                <a:gd name="connsiteX1536" fmla="*/ 4032 w 10785"/>
                <a:gd name="connsiteY1536" fmla="*/ 1205 h 10000"/>
                <a:gd name="connsiteX1537" fmla="*/ 4032 w 10785"/>
                <a:gd name="connsiteY1537" fmla="*/ 1231 h 10000"/>
                <a:gd name="connsiteX1538" fmla="*/ 4014 w 10785"/>
                <a:gd name="connsiteY1538" fmla="*/ 1239 h 10000"/>
                <a:gd name="connsiteX1539" fmla="*/ 4014 w 10785"/>
                <a:gd name="connsiteY1539" fmla="*/ 1256 h 10000"/>
                <a:gd name="connsiteX1540" fmla="*/ 4000 w 10785"/>
                <a:gd name="connsiteY1540" fmla="*/ 1265 h 10000"/>
                <a:gd name="connsiteX1541" fmla="*/ 3986 w 10785"/>
                <a:gd name="connsiteY1541" fmla="*/ 1308 h 10000"/>
                <a:gd name="connsiteX1542" fmla="*/ 3972 w 10785"/>
                <a:gd name="connsiteY1542" fmla="*/ 1316 h 10000"/>
                <a:gd name="connsiteX1543" fmla="*/ 3972 w 10785"/>
                <a:gd name="connsiteY1543" fmla="*/ 1325 h 10000"/>
                <a:gd name="connsiteX1544" fmla="*/ 3972 w 10785"/>
                <a:gd name="connsiteY1544" fmla="*/ 1342 h 10000"/>
                <a:gd name="connsiteX1545" fmla="*/ 3968 w 10785"/>
                <a:gd name="connsiteY1545" fmla="*/ 1350 h 10000"/>
                <a:gd name="connsiteX1546" fmla="*/ 3954 w 10785"/>
                <a:gd name="connsiteY1546" fmla="*/ 1368 h 10000"/>
                <a:gd name="connsiteX1547" fmla="*/ 3945 w 10785"/>
                <a:gd name="connsiteY1547" fmla="*/ 1350 h 10000"/>
                <a:gd name="connsiteX1548" fmla="*/ 3908 w 10785"/>
                <a:gd name="connsiteY1548" fmla="*/ 1342 h 10000"/>
                <a:gd name="connsiteX1549" fmla="*/ 3894 w 10785"/>
                <a:gd name="connsiteY1549" fmla="*/ 1368 h 10000"/>
                <a:gd name="connsiteX1550" fmla="*/ 3922 w 10785"/>
                <a:gd name="connsiteY1550" fmla="*/ 1393 h 10000"/>
                <a:gd name="connsiteX1551" fmla="*/ 3945 w 10785"/>
                <a:gd name="connsiteY1551" fmla="*/ 1393 h 10000"/>
                <a:gd name="connsiteX1552" fmla="*/ 3940 w 10785"/>
                <a:gd name="connsiteY1552" fmla="*/ 1419 h 10000"/>
                <a:gd name="connsiteX1553" fmla="*/ 3931 w 10785"/>
                <a:gd name="connsiteY1553" fmla="*/ 1427 h 10000"/>
                <a:gd name="connsiteX1554" fmla="*/ 3926 w 10785"/>
                <a:gd name="connsiteY1554" fmla="*/ 1427 h 10000"/>
                <a:gd name="connsiteX1555" fmla="*/ 3922 w 10785"/>
                <a:gd name="connsiteY1555" fmla="*/ 1419 h 10000"/>
                <a:gd name="connsiteX1556" fmla="*/ 3912 w 10785"/>
                <a:gd name="connsiteY1556" fmla="*/ 1427 h 10000"/>
                <a:gd name="connsiteX1557" fmla="*/ 3912 w 10785"/>
                <a:gd name="connsiteY1557" fmla="*/ 1444 h 10000"/>
                <a:gd name="connsiteX1558" fmla="*/ 3894 w 10785"/>
                <a:gd name="connsiteY1558" fmla="*/ 1513 h 10000"/>
                <a:gd name="connsiteX1559" fmla="*/ 3885 w 10785"/>
                <a:gd name="connsiteY1559" fmla="*/ 1513 h 10000"/>
                <a:gd name="connsiteX1560" fmla="*/ 3880 w 10785"/>
                <a:gd name="connsiteY1560" fmla="*/ 1538 h 10000"/>
                <a:gd name="connsiteX1561" fmla="*/ 3885 w 10785"/>
                <a:gd name="connsiteY1561" fmla="*/ 1564 h 10000"/>
                <a:gd name="connsiteX1562" fmla="*/ 3880 w 10785"/>
                <a:gd name="connsiteY1562" fmla="*/ 1581 h 10000"/>
                <a:gd name="connsiteX1563" fmla="*/ 3871 w 10785"/>
                <a:gd name="connsiteY1563" fmla="*/ 1538 h 10000"/>
                <a:gd name="connsiteX1564" fmla="*/ 3853 w 10785"/>
                <a:gd name="connsiteY1564" fmla="*/ 1530 h 10000"/>
                <a:gd name="connsiteX1565" fmla="*/ 3853 w 10785"/>
                <a:gd name="connsiteY1565" fmla="*/ 1504 h 10000"/>
                <a:gd name="connsiteX1566" fmla="*/ 3834 w 10785"/>
                <a:gd name="connsiteY1566" fmla="*/ 1487 h 10000"/>
                <a:gd name="connsiteX1567" fmla="*/ 3834 w 10785"/>
                <a:gd name="connsiteY1567" fmla="*/ 1487 h 10000"/>
                <a:gd name="connsiteX1568" fmla="*/ 3839 w 10785"/>
                <a:gd name="connsiteY1568" fmla="*/ 1513 h 10000"/>
                <a:gd name="connsiteX1569" fmla="*/ 3820 w 10785"/>
                <a:gd name="connsiteY1569" fmla="*/ 1538 h 10000"/>
                <a:gd name="connsiteX1570" fmla="*/ 3820 w 10785"/>
                <a:gd name="connsiteY1570" fmla="*/ 1556 h 10000"/>
                <a:gd name="connsiteX1571" fmla="*/ 3820 w 10785"/>
                <a:gd name="connsiteY1571" fmla="*/ 1564 h 10000"/>
                <a:gd name="connsiteX1572" fmla="*/ 3820 w 10785"/>
                <a:gd name="connsiteY1572" fmla="*/ 1581 h 10000"/>
                <a:gd name="connsiteX1573" fmla="*/ 3853 w 10785"/>
                <a:gd name="connsiteY1573" fmla="*/ 1581 h 10000"/>
                <a:gd name="connsiteX1574" fmla="*/ 3857 w 10785"/>
                <a:gd name="connsiteY1574" fmla="*/ 1598 h 10000"/>
                <a:gd name="connsiteX1575" fmla="*/ 3880 w 10785"/>
                <a:gd name="connsiteY1575" fmla="*/ 1615 h 10000"/>
                <a:gd name="connsiteX1576" fmla="*/ 3871 w 10785"/>
                <a:gd name="connsiteY1576" fmla="*/ 1615 h 10000"/>
                <a:gd name="connsiteX1577" fmla="*/ 3871 w 10785"/>
                <a:gd name="connsiteY1577" fmla="*/ 1641 h 10000"/>
                <a:gd name="connsiteX1578" fmla="*/ 3880 w 10785"/>
                <a:gd name="connsiteY1578" fmla="*/ 1641 h 10000"/>
                <a:gd name="connsiteX1579" fmla="*/ 3871 w 10785"/>
                <a:gd name="connsiteY1579" fmla="*/ 1650 h 10000"/>
                <a:gd name="connsiteX1580" fmla="*/ 3857 w 10785"/>
                <a:gd name="connsiteY1580" fmla="*/ 1650 h 10000"/>
                <a:gd name="connsiteX1581" fmla="*/ 3853 w 10785"/>
                <a:gd name="connsiteY1581" fmla="*/ 1650 h 10000"/>
                <a:gd name="connsiteX1582" fmla="*/ 3839 w 10785"/>
                <a:gd name="connsiteY1582" fmla="*/ 1667 h 10000"/>
                <a:gd name="connsiteX1583" fmla="*/ 3848 w 10785"/>
                <a:gd name="connsiteY1583" fmla="*/ 1692 h 10000"/>
                <a:gd name="connsiteX1584" fmla="*/ 3834 w 10785"/>
                <a:gd name="connsiteY1584" fmla="*/ 1692 h 10000"/>
                <a:gd name="connsiteX1585" fmla="*/ 3825 w 10785"/>
                <a:gd name="connsiteY1585" fmla="*/ 1692 h 10000"/>
                <a:gd name="connsiteX1586" fmla="*/ 3825 w 10785"/>
                <a:gd name="connsiteY1586" fmla="*/ 1718 h 10000"/>
                <a:gd name="connsiteX1587" fmla="*/ 3839 w 10785"/>
                <a:gd name="connsiteY1587" fmla="*/ 1726 h 10000"/>
                <a:gd name="connsiteX1588" fmla="*/ 3880 w 10785"/>
                <a:gd name="connsiteY1588" fmla="*/ 1752 h 10000"/>
                <a:gd name="connsiteX1589" fmla="*/ 3894 w 10785"/>
                <a:gd name="connsiteY1589" fmla="*/ 1829 h 10000"/>
                <a:gd name="connsiteX1590" fmla="*/ 3899 w 10785"/>
                <a:gd name="connsiteY1590" fmla="*/ 1838 h 10000"/>
                <a:gd name="connsiteX1591" fmla="*/ 3894 w 10785"/>
                <a:gd name="connsiteY1591" fmla="*/ 1855 h 10000"/>
                <a:gd name="connsiteX1592" fmla="*/ 3880 w 10785"/>
                <a:gd name="connsiteY1592" fmla="*/ 1838 h 10000"/>
                <a:gd name="connsiteX1593" fmla="*/ 3880 w 10785"/>
                <a:gd name="connsiteY1593" fmla="*/ 1855 h 10000"/>
                <a:gd name="connsiteX1594" fmla="*/ 3880 w 10785"/>
                <a:gd name="connsiteY1594" fmla="*/ 1863 h 10000"/>
                <a:gd name="connsiteX1595" fmla="*/ 3871 w 10785"/>
                <a:gd name="connsiteY1595" fmla="*/ 1872 h 10000"/>
                <a:gd name="connsiteX1596" fmla="*/ 3880 w 10785"/>
                <a:gd name="connsiteY1596" fmla="*/ 1889 h 10000"/>
                <a:gd name="connsiteX1597" fmla="*/ 3885 w 10785"/>
                <a:gd name="connsiteY1597" fmla="*/ 1889 h 10000"/>
                <a:gd name="connsiteX1598" fmla="*/ 3880 w 10785"/>
                <a:gd name="connsiteY1598" fmla="*/ 1897 h 10000"/>
                <a:gd name="connsiteX1599" fmla="*/ 3871 w 10785"/>
                <a:gd name="connsiteY1599" fmla="*/ 1915 h 10000"/>
                <a:gd name="connsiteX1600" fmla="*/ 3848 w 10785"/>
                <a:gd name="connsiteY1600" fmla="*/ 1923 h 10000"/>
                <a:gd name="connsiteX1601" fmla="*/ 3825 w 10785"/>
                <a:gd name="connsiteY1601" fmla="*/ 1940 h 10000"/>
                <a:gd name="connsiteX1602" fmla="*/ 3811 w 10785"/>
                <a:gd name="connsiteY1602" fmla="*/ 1940 h 10000"/>
                <a:gd name="connsiteX1603" fmla="*/ 3806 w 10785"/>
                <a:gd name="connsiteY1603" fmla="*/ 1949 h 10000"/>
                <a:gd name="connsiteX1604" fmla="*/ 3797 w 10785"/>
                <a:gd name="connsiteY1604" fmla="*/ 1966 h 10000"/>
                <a:gd name="connsiteX1605" fmla="*/ 3788 w 10785"/>
                <a:gd name="connsiteY1605" fmla="*/ 1991 h 10000"/>
                <a:gd name="connsiteX1606" fmla="*/ 3765 w 10785"/>
                <a:gd name="connsiteY1606" fmla="*/ 1974 h 10000"/>
                <a:gd name="connsiteX1607" fmla="*/ 3760 w 10785"/>
                <a:gd name="connsiteY1607" fmla="*/ 1966 h 10000"/>
                <a:gd name="connsiteX1608" fmla="*/ 3760 w 10785"/>
                <a:gd name="connsiteY1608" fmla="*/ 1966 h 10000"/>
                <a:gd name="connsiteX1609" fmla="*/ 3631 w 10785"/>
                <a:gd name="connsiteY1609" fmla="*/ 2009 h 10000"/>
                <a:gd name="connsiteX1610" fmla="*/ 3618 w 10785"/>
                <a:gd name="connsiteY1610" fmla="*/ 2000 h 10000"/>
                <a:gd name="connsiteX1611" fmla="*/ 3599 w 10785"/>
                <a:gd name="connsiteY1611" fmla="*/ 2009 h 10000"/>
                <a:gd name="connsiteX1612" fmla="*/ 3571 w 10785"/>
                <a:gd name="connsiteY1612" fmla="*/ 2000 h 10000"/>
                <a:gd name="connsiteX1613" fmla="*/ 3530 w 10785"/>
                <a:gd name="connsiteY1613" fmla="*/ 2026 h 10000"/>
                <a:gd name="connsiteX1614" fmla="*/ 3530 w 10785"/>
                <a:gd name="connsiteY1614" fmla="*/ 2034 h 10000"/>
                <a:gd name="connsiteX1615" fmla="*/ 3525 w 10785"/>
                <a:gd name="connsiteY1615" fmla="*/ 2051 h 10000"/>
                <a:gd name="connsiteX1616" fmla="*/ 3512 w 10785"/>
                <a:gd name="connsiteY1616" fmla="*/ 2034 h 10000"/>
                <a:gd name="connsiteX1617" fmla="*/ 3507 w 10785"/>
                <a:gd name="connsiteY1617" fmla="*/ 2034 h 10000"/>
                <a:gd name="connsiteX1618" fmla="*/ 3498 w 10785"/>
                <a:gd name="connsiteY1618" fmla="*/ 2051 h 10000"/>
                <a:gd name="connsiteX1619" fmla="*/ 3484 w 10785"/>
                <a:gd name="connsiteY1619" fmla="*/ 2060 h 10000"/>
                <a:gd name="connsiteX1620" fmla="*/ 3484 w 10785"/>
                <a:gd name="connsiteY1620" fmla="*/ 2085 h 10000"/>
                <a:gd name="connsiteX1621" fmla="*/ 3484 w 10785"/>
                <a:gd name="connsiteY1621" fmla="*/ 2103 h 10000"/>
                <a:gd name="connsiteX1622" fmla="*/ 3493 w 10785"/>
                <a:gd name="connsiteY1622" fmla="*/ 2103 h 10000"/>
                <a:gd name="connsiteX1623" fmla="*/ 3493 w 10785"/>
                <a:gd name="connsiteY1623" fmla="*/ 2085 h 10000"/>
                <a:gd name="connsiteX1624" fmla="*/ 3498 w 10785"/>
                <a:gd name="connsiteY1624" fmla="*/ 2085 h 10000"/>
                <a:gd name="connsiteX1625" fmla="*/ 3498 w 10785"/>
                <a:gd name="connsiteY1625" fmla="*/ 2111 h 10000"/>
                <a:gd name="connsiteX1626" fmla="*/ 3484 w 10785"/>
                <a:gd name="connsiteY1626" fmla="*/ 2120 h 10000"/>
                <a:gd name="connsiteX1627" fmla="*/ 3484 w 10785"/>
                <a:gd name="connsiteY1627" fmla="*/ 2145 h 10000"/>
                <a:gd name="connsiteX1628" fmla="*/ 3470 w 10785"/>
                <a:gd name="connsiteY1628" fmla="*/ 2137 h 10000"/>
                <a:gd name="connsiteX1629" fmla="*/ 3465 w 10785"/>
                <a:gd name="connsiteY1629" fmla="*/ 2145 h 10000"/>
                <a:gd name="connsiteX1630" fmla="*/ 3470 w 10785"/>
                <a:gd name="connsiteY1630" fmla="*/ 2171 h 10000"/>
                <a:gd name="connsiteX1631" fmla="*/ 3484 w 10785"/>
                <a:gd name="connsiteY1631" fmla="*/ 2171 h 10000"/>
                <a:gd name="connsiteX1632" fmla="*/ 3484 w 10785"/>
                <a:gd name="connsiteY1632" fmla="*/ 2197 h 10000"/>
                <a:gd name="connsiteX1633" fmla="*/ 3465 w 10785"/>
                <a:gd name="connsiteY1633" fmla="*/ 2214 h 10000"/>
                <a:gd name="connsiteX1634" fmla="*/ 3493 w 10785"/>
                <a:gd name="connsiteY1634" fmla="*/ 2248 h 10000"/>
                <a:gd name="connsiteX1635" fmla="*/ 3484 w 10785"/>
                <a:gd name="connsiteY1635" fmla="*/ 2256 h 10000"/>
                <a:gd name="connsiteX1636" fmla="*/ 3498 w 10785"/>
                <a:gd name="connsiteY1636" fmla="*/ 2274 h 10000"/>
                <a:gd name="connsiteX1637" fmla="*/ 3498 w 10785"/>
                <a:gd name="connsiteY1637" fmla="*/ 2256 h 10000"/>
                <a:gd name="connsiteX1638" fmla="*/ 3507 w 10785"/>
                <a:gd name="connsiteY1638" fmla="*/ 2308 h 10000"/>
                <a:gd name="connsiteX1639" fmla="*/ 3512 w 10785"/>
                <a:gd name="connsiteY1639" fmla="*/ 2325 h 10000"/>
                <a:gd name="connsiteX1640" fmla="*/ 3507 w 10785"/>
                <a:gd name="connsiteY1640" fmla="*/ 2333 h 10000"/>
                <a:gd name="connsiteX1641" fmla="*/ 3507 w 10785"/>
                <a:gd name="connsiteY1641" fmla="*/ 2359 h 10000"/>
                <a:gd name="connsiteX1642" fmla="*/ 3507 w 10785"/>
                <a:gd name="connsiteY1642" fmla="*/ 2376 h 10000"/>
                <a:gd name="connsiteX1643" fmla="*/ 3498 w 10785"/>
                <a:gd name="connsiteY1643" fmla="*/ 2410 h 10000"/>
                <a:gd name="connsiteX1644" fmla="*/ 3498 w 10785"/>
                <a:gd name="connsiteY1644" fmla="*/ 2436 h 10000"/>
                <a:gd name="connsiteX1645" fmla="*/ 3507 w 10785"/>
                <a:gd name="connsiteY1645" fmla="*/ 2462 h 10000"/>
                <a:gd name="connsiteX1646" fmla="*/ 3507 w 10785"/>
                <a:gd name="connsiteY1646" fmla="*/ 2496 h 10000"/>
                <a:gd name="connsiteX1647" fmla="*/ 3512 w 10785"/>
                <a:gd name="connsiteY1647" fmla="*/ 2521 h 10000"/>
                <a:gd name="connsiteX1648" fmla="*/ 3525 w 10785"/>
                <a:gd name="connsiteY1648" fmla="*/ 2556 h 10000"/>
                <a:gd name="connsiteX1649" fmla="*/ 3571 w 10785"/>
                <a:gd name="connsiteY1649" fmla="*/ 2573 h 10000"/>
                <a:gd name="connsiteX1650" fmla="*/ 3590 w 10785"/>
                <a:gd name="connsiteY1650" fmla="*/ 2598 h 10000"/>
                <a:gd name="connsiteX1651" fmla="*/ 3599 w 10785"/>
                <a:gd name="connsiteY1651" fmla="*/ 2598 h 10000"/>
                <a:gd name="connsiteX1652" fmla="*/ 3604 w 10785"/>
                <a:gd name="connsiteY1652" fmla="*/ 2632 h 10000"/>
                <a:gd name="connsiteX1653" fmla="*/ 3599 w 10785"/>
                <a:gd name="connsiteY1653" fmla="*/ 2658 h 10000"/>
                <a:gd name="connsiteX1654" fmla="*/ 3590 w 10785"/>
                <a:gd name="connsiteY1654" fmla="*/ 2667 h 10000"/>
                <a:gd name="connsiteX1655" fmla="*/ 3604 w 10785"/>
                <a:gd name="connsiteY1655" fmla="*/ 2667 h 10000"/>
                <a:gd name="connsiteX1656" fmla="*/ 3613 w 10785"/>
                <a:gd name="connsiteY1656" fmla="*/ 2692 h 10000"/>
                <a:gd name="connsiteX1657" fmla="*/ 3627 w 10785"/>
                <a:gd name="connsiteY1657" fmla="*/ 2735 h 10000"/>
                <a:gd name="connsiteX1658" fmla="*/ 3631 w 10785"/>
                <a:gd name="connsiteY1658" fmla="*/ 2744 h 10000"/>
                <a:gd name="connsiteX1659" fmla="*/ 3659 w 10785"/>
                <a:gd name="connsiteY1659" fmla="*/ 2761 h 10000"/>
                <a:gd name="connsiteX1660" fmla="*/ 3673 w 10785"/>
                <a:gd name="connsiteY1660" fmla="*/ 2769 h 10000"/>
                <a:gd name="connsiteX1661" fmla="*/ 3673 w 10785"/>
                <a:gd name="connsiteY1661" fmla="*/ 2761 h 10000"/>
                <a:gd name="connsiteX1662" fmla="*/ 3687 w 10785"/>
                <a:gd name="connsiteY1662" fmla="*/ 2829 h 10000"/>
                <a:gd name="connsiteX1663" fmla="*/ 3677 w 10785"/>
                <a:gd name="connsiteY1663" fmla="*/ 2897 h 10000"/>
                <a:gd name="connsiteX1664" fmla="*/ 3673 w 10785"/>
                <a:gd name="connsiteY1664" fmla="*/ 2915 h 10000"/>
                <a:gd name="connsiteX1665" fmla="*/ 3664 w 10785"/>
                <a:gd name="connsiteY1665" fmla="*/ 2957 h 10000"/>
                <a:gd name="connsiteX1666" fmla="*/ 3659 w 10785"/>
                <a:gd name="connsiteY1666" fmla="*/ 2983 h 10000"/>
                <a:gd name="connsiteX1667" fmla="*/ 3664 w 10785"/>
                <a:gd name="connsiteY1667" fmla="*/ 3017 h 10000"/>
                <a:gd name="connsiteX1668" fmla="*/ 3659 w 10785"/>
                <a:gd name="connsiteY1668" fmla="*/ 3043 h 10000"/>
                <a:gd name="connsiteX1669" fmla="*/ 3677 w 10785"/>
                <a:gd name="connsiteY1669" fmla="*/ 3094 h 10000"/>
                <a:gd name="connsiteX1670" fmla="*/ 3691 w 10785"/>
                <a:gd name="connsiteY1670" fmla="*/ 3282 h 10000"/>
                <a:gd name="connsiteX1671" fmla="*/ 3691 w 10785"/>
                <a:gd name="connsiteY1671" fmla="*/ 3308 h 10000"/>
                <a:gd name="connsiteX1672" fmla="*/ 3677 w 10785"/>
                <a:gd name="connsiteY1672" fmla="*/ 3342 h 10000"/>
                <a:gd name="connsiteX1673" fmla="*/ 3664 w 10785"/>
                <a:gd name="connsiteY1673" fmla="*/ 3342 h 10000"/>
                <a:gd name="connsiteX1674" fmla="*/ 3650 w 10785"/>
                <a:gd name="connsiteY1674" fmla="*/ 3342 h 10000"/>
                <a:gd name="connsiteX1675" fmla="*/ 3650 w 10785"/>
                <a:gd name="connsiteY1675" fmla="*/ 3350 h 10000"/>
                <a:gd name="connsiteX1676" fmla="*/ 3659 w 10785"/>
                <a:gd name="connsiteY1676" fmla="*/ 3402 h 10000"/>
                <a:gd name="connsiteX1677" fmla="*/ 3659 w 10785"/>
                <a:gd name="connsiteY1677" fmla="*/ 3419 h 10000"/>
                <a:gd name="connsiteX1678" fmla="*/ 3631 w 10785"/>
                <a:gd name="connsiteY1678" fmla="*/ 3402 h 10000"/>
                <a:gd name="connsiteX1679" fmla="*/ 3604 w 10785"/>
                <a:gd name="connsiteY1679" fmla="*/ 3393 h 10000"/>
                <a:gd name="connsiteX1680" fmla="*/ 3599 w 10785"/>
                <a:gd name="connsiteY1680" fmla="*/ 3368 h 10000"/>
                <a:gd name="connsiteX1681" fmla="*/ 3590 w 10785"/>
                <a:gd name="connsiteY1681" fmla="*/ 3239 h 10000"/>
                <a:gd name="connsiteX1682" fmla="*/ 3599 w 10785"/>
                <a:gd name="connsiteY1682" fmla="*/ 3179 h 10000"/>
                <a:gd name="connsiteX1683" fmla="*/ 3599 w 10785"/>
                <a:gd name="connsiteY1683" fmla="*/ 3171 h 10000"/>
                <a:gd name="connsiteX1684" fmla="*/ 3599 w 10785"/>
                <a:gd name="connsiteY1684" fmla="*/ 3009 h 10000"/>
                <a:gd name="connsiteX1685" fmla="*/ 3604 w 10785"/>
                <a:gd name="connsiteY1685" fmla="*/ 2983 h 10000"/>
                <a:gd name="connsiteX1686" fmla="*/ 3645 w 10785"/>
                <a:gd name="connsiteY1686" fmla="*/ 2932 h 10000"/>
                <a:gd name="connsiteX1687" fmla="*/ 3650 w 10785"/>
                <a:gd name="connsiteY1687" fmla="*/ 2872 h 10000"/>
                <a:gd name="connsiteX1688" fmla="*/ 3659 w 10785"/>
                <a:gd name="connsiteY1688" fmla="*/ 2855 h 10000"/>
                <a:gd name="connsiteX1689" fmla="*/ 3659 w 10785"/>
                <a:gd name="connsiteY1689" fmla="*/ 2821 h 10000"/>
                <a:gd name="connsiteX1690" fmla="*/ 3631 w 10785"/>
                <a:gd name="connsiteY1690" fmla="*/ 2795 h 10000"/>
                <a:gd name="connsiteX1691" fmla="*/ 3567 w 10785"/>
                <a:gd name="connsiteY1691" fmla="*/ 2821 h 10000"/>
                <a:gd name="connsiteX1692" fmla="*/ 3544 w 10785"/>
                <a:gd name="connsiteY1692" fmla="*/ 2795 h 10000"/>
                <a:gd name="connsiteX1693" fmla="*/ 3530 w 10785"/>
                <a:gd name="connsiteY1693" fmla="*/ 2769 h 10000"/>
                <a:gd name="connsiteX1694" fmla="*/ 3530 w 10785"/>
                <a:gd name="connsiteY1694" fmla="*/ 2786 h 10000"/>
                <a:gd name="connsiteX1695" fmla="*/ 3498 w 10785"/>
                <a:gd name="connsiteY1695" fmla="*/ 2692 h 10000"/>
                <a:gd name="connsiteX1696" fmla="*/ 3498 w 10785"/>
                <a:gd name="connsiteY1696" fmla="*/ 2667 h 10000"/>
                <a:gd name="connsiteX1697" fmla="*/ 3442 w 10785"/>
                <a:gd name="connsiteY1697" fmla="*/ 2607 h 10000"/>
                <a:gd name="connsiteX1698" fmla="*/ 3433 w 10785"/>
                <a:gd name="connsiteY1698" fmla="*/ 2581 h 10000"/>
                <a:gd name="connsiteX1699" fmla="*/ 3396 w 10785"/>
                <a:gd name="connsiteY1699" fmla="*/ 2556 h 10000"/>
                <a:gd name="connsiteX1700" fmla="*/ 3318 w 10785"/>
                <a:gd name="connsiteY1700" fmla="*/ 2556 h 10000"/>
                <a:gd name="connsiteX1701" fmla="*/ 3304 w 10785"/>
                <a:gd name="connsiteY1701" fmla="*/ 2607 h 10000"/>
                <a:gd name="connsiteX1702" fmla="*/ 3276 w 10785"/>
                <a:gd name="connsiteY1702" fmla="*/ 2632 h 10000"/>
                <a:gd name="connsiteX1703" fmla="*/ 3272 w 10785"/>
                <a:gd name="connsiteY1703" fmla="*/ 2667 h 10000"/>
                <a:gd name="connsiteX1704" fmla="*/ 3304 w 10785"/>
                <a:gd name="connsiteY1704" fmla="*/ 2667 h 10000"/>
                <a:gd name="connsiteX1705" fmla="*/ 3323 w 10785"/>
                <a:gd name="connsiteY1705" fmla="*/ 2692 h 10000"/>
                <a:gd name="connsiteX1706" fmla="*/ 3318 w 10785"/>
                <a:gd name="connsiteY1706" fmla="*/ 2735 h 10000"/>
                <a:gd name="connsiteX1707" fmla="*/ 3304 w 10785"/>
                <a:gd name="connsiteY1707" fmla="*/ 2761 h 10000"/>
                <a:gd name="connsiteX1708" fmla="*/ 3276 w 10785"/>
                <a:gd name="connsiteY1708" fmla="*/ 2769 h 10000"/>
                <a:gd name="connsiteX1709" fmla="*/ 3263 w 10785"/>
                <a:gd name="connsiteY1709" fmla="*/ 2795 h 10000"/>
                <a:gd name="connsiteX1710" fmla="*/ 3235 w 10785"/>
                <a:gd name="connsiteY1710" fmla="*/ 2803 h 10000"/>
                <a:gd name="connsiteX1711" fmla="*/ 3235 w 10785"/>
                <a:gd name="connsiteY1711" fmla="*/ 2786 h 10000"/>
                <a:gd name="connsiteX1712" fmla="*/ 3212 w 10785"/>
                <a:gd name="connsiteY1712" fmla="*/ 2709 h 10000"/>
                <a:gd name="connsiteX1713" fmla="*/ 3198 w 10785"/>
                <a:gd name="connsiteY1713" fmla="*/ 2709 h 10000"/>
                <a:gd name="connsiteX1714" fmla="*/ 3184 w 10785"/>
                <a:gd name="connsiteY1714" fmla="*/ 2735 h 10000"/>
                <a:gd name="connsiteX1715" fmla="*/ 3189 w 10785"/>
                <a:gd name="connsiteY1715" fmla="*/ 2761 h 10000"/>
                <a:gd name="connsiteX1716" fmla="*/ 3203 w 10785"/>
                <a:gd name="connsiteY1716" fmla="*/ 2855 h 10000"/>
                <a:gd name="connsiteX1717" fmla="*/ 3212 w 10785"/>
                <a:gd name="connsiteY1717" fmla="*/ 2872 h 10000"/>
                <a:gd name="connsiteX1718" fmla="*/ 3235 w 10785"/>
                <a:gd name="connsiteY1718" fmla="*/ 2906 h 10000"/>
                <a:gd name="connsiteX1719" fmla="*/ 3258 w 10785"/>
                <a:gd name="connsiteY1719" fmla="*/ 2915 h 10000"/>
                <a:gd name="connsiteX1720" fmla="*/ 3272 w 10785"/>
                <a:gd name="connsiteY1720" fmla="*/ 2957 h 10000"/>
                <a:gd name="connsiteX1721" fmla="*/ 3276 w 10785"/>
                <a:gd name="connsiteY1721" fmla="*/ 2957 h 10000"/>
                <a:gd name="connsiteX1722" fmla="*/ 3286 w 10785"/>
                <a:gd name="connsiteY1722" fmla="*/ 2966 h 10000"/>
                <a:gd name="connsiteX1723" fmla="*/ 3300 w 10785"/>
                <a:gd name="connsiteY1723" fmla="*/ 2957 h 10000"/>
                <a:gd name="connsiteX1724" fmla="*/ 3309 w 10785"/>
                <a:gd name="connsiteY1724" fmla="*/ 2932 h 10000"/>
                <a:gd name="connsiteX1725" fmla="*/ 3304 w 10785"/>
                <a:gd name="connsiteY1725" fmla="*/ 2966 h 10000"/>
                <a:gd name="connsiteX1726" fmla="*/ 3309 w 10785"/>
                <a:gd name="connsiteY1726" fmla="*/ 2983 h 10000"/>
                <a:gd name="connsiteX1727" fmla="*/ 3323 w 10785"/>
                <a:gd name="connsiteY1727" fmla="*/ 2966 h 10000"/>
                <a:gd name="connsiteX1728" fmla="*/ 3323 w 10785"/>
                <a:gd name="connsiteY1728" fmla="*/ 3043 h 10000"/>
                <a:gd name="connsiteX1729" fmla="*/ 3346 w 10785"/>
                <a:gd name="connsiteY1729" fmla="*/ 3068 h 10000"/>
                <a:gd name="connsiteX1730" fmla="*/ 3346 w 10785"/>
                <a:gd name="connsiteY1730" fmla="*/ 3094 h 10000"/>
                <a:gd name="connsiteX1731" fmla="*/ 3323 w 10785"/>
                <a:gd name="connsiteY1731" fmla="*/ 3094 h 10000"/>
                <a:gd name="connsiteX1732" fmla="*/ 3309 w 10785"/>
                <a:gd name="connsiteY1732" fmla="*/ 3077 h 10000"/>
                <a:gd name="connsiteX1733" fmla="*/ 3304 w 10785"/>
                <a:gd name="connsiteY1733" fmla="*/ 3051 h 10000"/>
                <a:gd name="connsiteX1734" fmla="*/ 3300 w 10785"/>
                <a:gd name="connsiteY1734" fmla="*/ 3043 h 10000"/>
                <a:gd name="connsiteX1735" fmla="*/ 3286 w 10785"/>
                <a:gd name="connsiteY1735" fmla="*/ 3017 h 10000"/>
                <a:gd name="connsiteX1736" fmla="*/ 3152 w 10785"/>
                <a:gd name="connsiteY1736" fmla="*/ 2966 h 10000"/>
                <a:gd name="connsiteX1737" fmla="*/ 3129 w 10785"/>
                <a:gd name="connsiteY1737" fmla="*/ 2915 h 10000"/>
                <a:gd name="connsiteX1738" fmla="*/ 3129 w 10785"/>
                <a:gd name="connsiteY1738" fmla="*/ 2906 h 10000"/>
                <a:gd name="connsiteX1739" fmla="*/ 3152 w 10785"/>
                <a:gd name="connsiteY1739" fmla="*/ 2906 h 10000"/>
                <a:gd name="connsiteX1740" fmla="*/ 3152 w 10785"/>
                <a:gd name="connsiteY1740" fmla="*/ 2846 h 10000"/>
                <a:gd name="connsiteX1741" fmla="*/ 3138 w 10785"/>
                <a:gd name="connsiteY1741" fmla="*/ 2795 h 10000"/>
                <a:gd name="connsiteX1742" fmla="*/ 3138 w 10785"/>
                <a:gd name="connsiteY1742" fmla="*/ 2769 h 10000"/>
                <a:gd name="connsiteX1743" fmla="*/ 3143 w 10785"/>
                <a:gd name="connsiteY1743" fmla="*/ 2718 h 10000"/>
                <a:gd name="connsiteX1744" fmla="*/ 3129 w 10785"/>
                <a:gd name="connsiteY1744" fmla="*/ 2692 h 10000"/>
                <a:gd name="connsiteX1745" fmla="*/ 3143 w 10785"/>
                <a:gd name="connsiteY1745" fmla="*/ 2667 h 10000"/>
                <a:gd name="connsiteX1746" fmla="*/ 3157 w 10785"/>
                <a:gd name="connsiteY1746" fmla="*/ 2581 h 10000"/>
                <a:gd name="connsiteX1747" fmla="*/ 3143 w 10785"/>
                <a:gd name="connsiteY1747" fmla="*/ 2496 h 10000"/>
                <a:gd name="connsiteX1748" fmla="*/ 3157 w 10785"/>
                <a:gd name="connsiteY1748" fmla="*/ 2487 h 10000"/>
                <a:gd name="connsiteX1749" fmla="*/ 3143 w 10785"/>
                <a:gd name="connsiteY1749" fmla="*/ 2444 h 10000"/>
                <a:gd name="connsiteX1750" fmla="*/ 3143 w 10785"/>
                <a:gd name="connsiteY1750" fmla="*/ 2419 h 10000"/>
                <a:gd name="connsiteX1751" fmla="*/ 3143 w 10785"/>
                <a:gd name="connsiteY1751" fmla="*/ 2410 h 10000"/>
                <a:gd name="connsiteX1752" fmla="*/ 3124 w 10785"/>
                <a:gd name="connsiteY1752" fmla="*/ 2376 h 10000"/>
                <a:gd name="connsiteX1753" fmla="*/ 3115 w 10785"/>
                <a:gd name="connsiteY1753" fmla="*/ 2350 h 10000"/>
                <a:gd name="connsiteX1754" fmla="*/ 3101 w 10785"/>
                <a:gd name="connsiteY1754" fmla="*/ 2359 h 10000"/>
                <a:gd name="connsiteX1755" fmla="*/ 3115 w 10785"/>
                <a:gd name="connsiteY1755" fmla="*/ 2581 h 10000"/>
                <a:gd name="connsiteX1756" fmla="*/ 3111 w 10785"/>
                <a:gd name="connsiteY1756" fmla="*/ 2624 h 10000"/>
                <a:gd name="connsiteX1757" fmla="*/ 3009 w 10785"/>
                <a:gd name="connsiteY1757" fmla="*/ 2761 h 10000"/>
                <a:gd name="connsiteX1758" fmla="*/ 3009 w 10785"/>
                <a:gd name="connsiteY1758" fmla="*/ 2803 h 10000"/>
                <a:gd name="connsiteX1759" fmla="*/ 3005 w 10785"/>
                <a:gd name="connsiteY1759" fmla="*/ 2829 h 10000"/>
                <a:gd name="connsiteX1760" fmla="*/ 2982 w 10785"/>
                <a:gd name="connsiteY1760" fmla="*/ 2872 h 10000"/>
                <a:gd name="connsiteX1761" fmla="*/ 2982 w 10785"/>
                <a:gd name="connsiteY1761" fmla="*/ 2880 h 10000"/>
                <a:gd name="connsiteX1762" fmla="*/ 3037 w 10785"/>
                <a:gd name="connsiteY1762" fmla="*/ 3034 h 10000"/>
                <a:gd name="connsiteX1763" fmla="*/ 3041 w 10785"/>
                <a:gd name="connsiteY1763" fmla="*/ 3103 h 10000"/>
                <a:gd name="connsiteX1764" fmla="*/ 3069 w 10785"/>
                <a:gd name="connsiteY1764" fmla="*/ 3188 h 10000"/>
                <a:gd name="connsiteX1765" fmla="*/ 3055 w 10785"/>
                <a:gd name="connsiteY1765" fmla="*/ 3325 h 10000"/>
                <a:gd name="connsiteX1766" fmla="*/ 3037 w 10785"/>
                <a:gd name="connsiteY1766" fmla="*/ 3368 h 10000"/>
                <a:gd name="connsiteX1767" fmla="*/ 3037 w 10785"/>
                <a:gd name="connsiteY1767" fmla="*/ 3444 h 10000"/>
                <a:gd name="connsiteX1768" fmla="*/ 3028 w 10785"/>
                <a:gd name="connsiteY1768" fmla="*/ 3453 h 10000"/>
                <a:gd name="connsiteX1769" fmla="*/ 3023 w 10785"/>
                <a:gd name="connsiteY1769" fmla="*/ 3530 h 10000"/>
                <a:gd name="connsiteX1770" fmla="*/ 3051 w 10785"/>
                <a:gd name="connsiteY1770" fmla="*/ 3624 h 10000"/>
                <a:gd name="connsiteX1771" fmla="*/ 3037 w 10785"/>
                <a:gd name="connsiteY1771" fmla="*/ 3718 h 10000"/>
                <a:gd name="connsiteX1772" fmla="*/ 3041 w 10785"/>
                <a:gd name="connsiteY1772" fmla="*/ 3752 h 10000"/>
                <a:gd name="connsiteX1773" fmla="*/ 3055 w 10785"/>
                <a:gd name="connsiteY1773" fmla="*/ 3761 h 10000"/>
                <a:gd name="connsiteX1774" fmla="*/ 3078 w 10785"/>
                <a:gd name="connsiteY1774" fmla="*/ 3752 h 10000"/>
                <a:gd name="connsiteX1775" fmla="*/ 3092 w 10785"/>
                <a:gd name="connsiteY1775" fmla="*/ 3752 h 10000"/>
                <a:gd name="connsiteX1776" fmla="*/ 3129 w 10785"/>
                <a:gd name="connsiteY1776" fmla="*/ 3761 h 10000"/>
                <a:gd name="connsiteX1777" fmla="*/ 3129 w 10785"/>
                <a:gd name="connsiteY1777" fmla="*/ 3735 h 10000"/>
                <a:gd name="connsiteX1778" fmla="*/ 3157 w 10785"/>
                <a:gd name="connsiteY1778" fmla="*/ 3718 h 10000"/>
                <a:gd name="connsiteX1779" fmla="*/ 3184 w 10785"/>
                <a:gd name="connsiteY1779" fmla="*/ 3718 h 10000"/>
                <a:gd name="connsiteX1780" fmla="*/ 3290 w 10785"/>
                <a:gd name="connsiteY1780" fmla="*/ 3838 h 10000"/>
                <a:gd name="connsiteX1781" fmla="*/ 3300 w 10785"/>
                <a:gd name="connsiteY1781" fmla="*/ 3846 h 10000"/>
                <a:gd name="connsiteX1782" fmla="*/ 3300 w 10785"/>
                <a:gd name="connsiteY1782" fmla="*/ 3915 h 10000"/>
                <a:gd name="connsiteX1783" fmla="*/ 3318 w 10785"/>
                <a:gd name="connsiteY1783" fmla="*/ 4000 h 10000"/>
                <a:gd name="connsiteX1784" fmla="*/ 3323 w 10785"/>
                <a:gd name="connsiteY1784" fmla="*/ 4000 h 10000"/>
                <a:gd name="connsiteX1785" fmla="*/ 3323 w 10785"/>
                <a:gd name="connsiteY1785" fmla="*/ 4034 h 10000"/>
                <a:gd name="connsiteX1786" fmla="*/ 3318 w 10785"/>
                <a:gd name="connsiteY1786" fmla="*/ 4051 h 10000"/>
                <a:gd name="connsiteX1787" fmla="*/ 3300 w 10785"/>
                <a:gd name="connsiteY1787" fmla="*/ 4051 h 10000"/>
                <a:gd name="connsiteX1788" fmla="*/ 3290 w 10785"/>
                <a:gd name="connsiteY1788" fmla="*/ 4077 h 10000"/>
                <a:gd name="connsiteX1789" fmla="*/ 3286 w 10785"/>
                <a:gd name="connsiteY1789" fmla="*/ 4103 h 10000"/>
                <a:gd name="connsiteX1790" fmla="*/ 3286 w 10785"/>
                <a:gd name="connsiteY1790" fmla="*/ 4197 h 10000"/>
                <a:gd name="connsiteX1791" fmla="*/ 3290 w 10785"/>
                <a:gd name="connsiteY1791" fmla="*/ 4214 h 10000"/>
                <a:gd name="connsiteX1792" fmla="*/ 3304 w 10785"/>
                <a:gd name="connsiteY1792" fmla="*/ 4214 h 10000"/>
                <a:gd name="connsiteX1793" fmla="*/ 3323 w 10785"/>
                <a:gd name="connsiteY1793" fmla="*/ 4239 h 10000"/>
                <a:gd name="connsiteX1794" fmla="*/ 3350 w 10785"/>
                <a:gd name="connsiteY1794" fmla="*/ 4222 h 10000"/>
                <a:gd name="connsiteX1795" fmla="*/ 3369 w 10785"/>
                <a:gd name="connsiteY1795" fmla="*/ 4256 h 10000"/>
                <a:gd name="connsiteX1796" fmla="*/ 3369 w 10785"/>
                <a:gd name="connsiteY1796" fmla="*/ 4256 h 10000"/>
                <a:gd name="connsiteX1797" fmla="*/ 3336 w 10785"/>
                <a:gd name="connsiteY1797" fmla="*/ 4274 h 10000"/>
                <a:gd name="connsiteX1798" fmla="*/ 3323 w 10785"/>
                <a:gd name="connsiteY1798" fmla="*/ 4274 h 10000"/>
                <a:gd name="connsiteX1799" fmla="*/ 3290 w 10785"/>
                <a:gd name="connsiteY1799" fmla="*/ 4274 h 10000"/>
                <a:gd name="connsiteX1800" fmla="*/ 3286 w 10785"/>
                <a:gd name="connsiteY1800" fmla="*/ 4239 h 10000"/>
                <a:gd name="connsiteX1801" fmla="*/ 3263 w 10785"/>
                <a:gd name="connsiteY1801" fmla="*/ 4214 h 10000"/>
                <a:gd name="connsiteX1802" fmla="*/ 3258 w 10785"/>
                <a:gd name="connsiteY1802" fmla="*/ 4188 h 10000"/>
                <a:gd name="connsiteX1803" fmla="*/ 3263 w 10785"/>
                <a:gd name="connsiteY1803" fmla="*/ 4171 h 10000"/>
                <a:gd name="connsiteX1804" fmla="*/ 3263 w 10785"/>
                <a:gd name="connsiteY1804" fmla="*/ 4103 h 10000"/>
                <a:gd name="connsiteX1805" fmla="*/ 3276 w 10785"/>
                <a:gd name="connsiteY1805" fmla="*/ 4060 h 10000"/>
                <a:gd name="connsiteX1806" fmla="*/ 3272 w 10785"/>
                <a:gd name="connsiteY1806" fmla="*/ 4051 h 10000"/>
                <a:gd name="connsiteX1807" fmla="*/ 3263 w 10785"/>
                <a:gd name="connsiteY1807" fmla="*/ 4051 h 10000"/>
                <a:gd name="connsiteX1808" fmla="*/ 3263 w 10785"/>
                <a:gd name="connsiteY1808" fmla="*/ 4034 h 10000"/>
                <a:gd name="connsiteX1809" fmla="*/ 3263 w 10785"/>
                <a:gd name="connsiteY1809" fmla="*/ 4000 h 10000"/>
                <a:gd name="connsiteX1810" fmla="*/ 3272 w 10785"/>
                <a:gd name="connsiteY1810" fmla="*/ 4000 h 10000"/>
                <a:gd name="connsiteX1811" fmla="*/ 3272 w 10785"/>
                <a:gd name="connsiteY1811" fmla="*/ 3974 h 10000"/>
                <a:gd name="connsiteX1812" fmla="*/ 3272 w 10785"/>
                <a:gd name="connsiteY1812" fmla="*/ 3966 h 10000"/>
                <a:gd name="connsiteX1813" fmla="*/ 3272 w 10785"/>
                <a:gd name="connsiteY1813" fmla="*/ 3949 h 10000"/>
                <a:gd name="connsiteX1814" fmla="*/ 3258 w 10785"/>
                <a:gd name="connsiteY1814" fmla="*/ 3923 h 10000"/>
                <a:gd name="connsiteX1815" fmla="*/ 3249 w 10785"/>
                <a:gd name="connsiteY1815" fmla="*/ 3915 h 10000"/>
                <a:gd name="connsiteX1816" fmla="*/ 3244 w 10785"/>
                <a:gd name="connsiteY1816" fmla="*/ 3897 h 10000"/>
                <a:gd name="connsiteX1817" fmla="*/ 3230 w 10785"/>
                <a:gd name="connsiteY1817" fmla="*/ 3889 h 10000"/>
                <a:gd name="connsiteX1818" fmla="*/ 3230 w 10785"/>
                <a:gd name="connsiteY1818" fmla="*/ 3863 h 10000"/>
                <a:gd name="connsiteX1819" fmla="*/ 3230 w 10785"/>
                <a:gd name="connsiteY1819" fmla="*/ 3838 h 10000"/>
                <a:gd name="connsiteX1820" fmla="*/ 3226 w 10785"/>
                <a:gd name="connsiteY1820" fmla="*/ 3803 h 10000"/>
                <a:gd name="connsiteX1821" fmla="*/ 3138 w 10785"/>
                <a:gd name="connsiteY1821" fmla="*/ 3838 h 10000"/>
                <a:gd name="connsiteX1822" fmla="*/ 3078 w 10785"/>
                <a:gd name="connsiteY1822" fmla="*/ 3889 h 10000"/>
                <a:gd name="connsiteX1823" fmla="*/ 3078 w 10785"/>
                <a:gd name="connsiteY1823" fmla="*/ 3940 h 10000"/>
                <a:gd name="connsiteX1824" fmla="*/ 3069 w 10785"/>
                <a:gd name="connsiteY1824" fmla="*/ 3983 h 10000"/>
                <a:gd name="connsiteX1825" fmla="*/ 3069 w 10785"/>
                <a:gd name="connsiteY1825" fmla="*/ 4009 h 10000"/>
                <a:gd name="connsiteX1826" fmla="*/ 3078 w 10785"/>
                <a:gd name="connsiteY1826" fmla="*/ 4026 h 10000"/>
                <a:gd name="connsiteX1827" fmla="*/ 3083 w 10785"/>
                <a:gd name="connsiteY1827" fmla="*/ 4034 h 10000"/>
                <a:gd name="connsiteX1828" fmla="*/ 3092 w 10785"/>
                <a:gd name="connsiteY1828" fmla="*/ 4060 h 10000"/>
                <a:gd name="connsiteX1829" fmla="*/ 3092 w 10785"/>
                <a:gd name="connsiteY1829" fmla="*/ 4077 h 10000"/>
                <a:gd name="connsiteX1830" fmla="*/ 3097 w 10785"/>
                <a:gd name="connsiteY1830" fmla="*/ 4103 h 10000"/>
                <a:gd name="connsiteX1831" fmla="*/ 3101 w 10785"/>
                <a:gd name="connsiteY1831" fmla="*/ 4162 h 10000"/>
                <a:gd name="connsiteX1832" fmla="*/ 3097 w 10785"/>
                <a:gd name="connsiteY1832" fmla="*/ 4222 h 10000"/>
                <a:gd name="connsiteX1833" fmla="*/ 3041 w 10785"/>
                <a:gd name="connsiteY1833" fmla="*/ 4325 h 10000"/>
                <a:gd name="connsiteX1834" fmla="*/ 3037 w 10785"/>
                <a:gd name="connsiteY1834" fmla="*/ 4419 h 10000"/>
                <a:gd name="connsiteX1835" fmla="*/ 3018 w 10785"/>
                <a:gd name="connsiteY1835" fmla="*/ 4470 h 10000"/>
                <a:gd name="connsiteX1836" fmla="*/ 2991 w 10785"/>
                <a:gd name="connsiteY1836" fmla="*/ 4513 h 10000"/>
                <a:gd name="connsiteX1837" fmla="*/ 2977 w 10785"/>
                <a:gd name="connsiteY1837" fmla="*/ 4530 h 10000"/>
                <a:gd name="connsiteX1838" fmla="*/ 2945 w 10785"/>
                <a:gd name="connsiteY1838" fmla="*/ 4556 h 10000"/>
                <a:gd name="connsiteX1839" fmla="*/ 2935 w 10785"/>
                <a:gd name="connsiteY1839" fmla="*/ 4581 h 10000"/>
                <a:gd name="connsiteX1840" fmla="*/ 2949 w 10785"/>
                <a:gd name="connsiteY1840" fmla="*/ 4624 h 10000"/>
                <a:gd name="connsiteX1841" fmla="*/ 2945 w 10785"/>
                <a:gd name="connsiteY1841" fmla="*/ 4658 h 10000"/>
                <a:gd name="connsiteX1842" fmla="*/ 2922 w 10785"/>
                <a:gd name="connsiteY1842" fmla="*/ 4667 h 10000"/>
                <a:gd name="connsiteX1843" fmla="*/ 2876 w 10785"/>
                <a:gd name="connsiteY1843" fmla="*/ 4632 h 10000"/>
                <a:gd name="connsiteX1844" fmla="*/ 2857 w 10785"/>
                <a:gd name="connsiteY1844" fmla="*/ 4632 h 10000"/>
                <a:gd name="connsiteX1845" fmla="*/ 2820 w 10785"/>
                <a:gd name="connsiteY1845" fmla="*/ 4641 h 10000"/>
                <a:gd name="connsiteX1846" fmla="*/ 2797 w 10785"/>
                <a:gd name="connsiteY1846" fmla="*/ 4632 h 10000"/>
                <a:gd name="connsiteX1847" fmla="*/ 2788 w 10785"/>
                <a:gd name="connsiteY1847" fmla="*/ 4624 h 10000"/>
                <a:gd name="connsiteX1848" fmla="*/ 2788 w 10785"/>
                <a:gd name="connsiteY1848" fmla="*/ 4598 h 10000"/>
                <a:gd name="connsiteX1849" fmla="*/ 2797 w 10785"/>
                <a:gd name="connsiteY1849" fmla="*/ 4581 h 10000"/>
                <a:gd name="connsiteX1850" fmla="*/ 2788 w 10785"/>
                <a:gd name="connsiteY1850" fmla="*/ 4530 h 10000"/>
                <a:gd name="connsiteX1851" fmla="*/ 2774 w 10785"/>
                <a:gd name="connsiteY1851" fmla="*/ 4530 h 10000"/>
                <a:gd name="connsiteX1852" fmla="*/ 2770 w 10785"/>
                <a:gd name="connsiteY1852" fmla="*/ 4513 h 10000"/>
                <a:gd name="connsiteX1853" fmla="*/ 2774 w 10785"/>
                <a:gd name="connsiteY1853" fmla="*/ 4513 h 10000"/>
                <a:gd name="connsiteX1854" fmla="*/ 2788 w 10785"/>
                <a:gd name="connsiteY1854" fmla="*/ 4496 h 10000"/>
                <a:gd name="connsiteX1855" fmla="*/ 2802 w 10785"/>
                <a:gd name="connsiteY1855" fmla="*/ 4513 h 10000"/>
                <a:gd name="connsiteX1856" fmla="*/ 2811 w 10785"/>
                <a:gd name="connsiteY1856" fmla="*/ 4530 h 10000"/>
                <a:gd name="connsiteX1857" fmla="*/ 2820 w 10785"/>
                <a:gd name="connsiteY1857" fmla="*/ 4521 h 10000"/>
                <a:gd name="connsiteX1858" fmla="*/ 2829 w 10785"/>
                <a:gd name="connsiteY1858" fmla="*/ 4513 h 10000"/>
                <a:gd name="connsiteX1859" fmla="*/ 2843 w 10785"/>
                <a:gd name="connsiteY1859" fmla="*/ 4513 h 10000"/>
                <a:gd name="connsiteX1860" fmla="*/ 2848 w 10785"/>
                <a:gd name="connsiteY1860" fmla="*/ 4470 h 10000"/>
                <a:gd name="connsiteX1861" fmla="*/ 2862 w 10785"/>
                <a:gd name="connsiteY1861" fmla="*/ 4487 h 10000"/>
                <a:gd name="connsiteX1862" fmla="*/ 2876 w 10785"/>
                <a:gd name="connsiteY1862" fmla="*/ 4470 h 10000"/>
                <a:gd name="connsiteX1863" fmla="*/ 2880 w 10785"/>
                <a:gd name="connsiteY1863" fmla="*/ 4462 h 10000"/>
                <a:gd name="connsiteX1864" fmla="*/ 2889 w 10785"/>
                <a:gd name="connsiteY1864" fmla="*/ 4444 h 10000"/>
                <a:gd name="connsiteX1865" fmla="*/ 2894 w 10785"/>
                <a:gd name="connsiteY1865" fmla="*/ 4462 h 10000"/>
                <a:gd name="connsiteX1866" fmla="*/ 2917 w 10785"/>
                <a:gd name="connsiteY1866" fmla="*/ 4444 h 10000"/>
                <a:gd name="connsiteX1867" fmla="*/ 2922 w 10785"/>
                <a:gd name="connsiteY1867" fmla="*/ 4436 h 10000"/>
                <a:gd name="connsiteX1868" fmla="*/ 2917 w 10785"/>
                <a:gd name="connsiteY1868" fmla="*/ 4410 h 10000"/>
                <a:gd name="connsiteX1869" fmla="*/ 2894 w 10785"/>
                <a:gd name="connsiteY1869" fmla="*/ 4410 h 10000"/>
                <a:gd name="connsiteX1870" fmla="*/ 2889 w 10785"/>
                <a:gd name="connsiteY1870" fmla="*/ 4419 h 10000"/>
                <a:gd name="connsiteX1871" fmla="*/ 2876 w 10785"/>
                <a:gd name="connsiteY1871" fmla="*/ 4410 h 10000"/>
                <a:gd name="connsiteX1872" fmla="*/ 2880 w 10785"/>
                <a:gd name="connsiteY1872" fmla="*/ 4376 h 10000"/>
                <a:gd name="connsiteX1873" fmla="*/ 2903 w 10785"/>
                <a:gd name="connsiteY1873" fmla="*/ 4393 h 10000"/>
                <a:gd name="connsiteX1874" fmla="*/ 2931 w 10785"/>
                <a:gd name="connsiteY1874" fmla="*/ 4393 h 10000"/>
                <a:gd name="connsiteX1875" fmla="*/ 2931 w 10785"/>
                <a:gd name="connsiteY1875" fmla="*/ 4385 h 10000"/>
                <a:gd name="connsiteX1876" fmla="*/ 2931 w 10785"/>
                <a:gd name="connsiteY1876" fmla="*/ 4350 h 10000"/>
                <a:gd name="connsiteX1877" fmla="*/ 2945 w 10785"/>
                <a:gd name="connsiteY1877" fmla="*/ 4350 h 10000"/>
                <a:gd name="connsiteX1878" fmla="*/ 2949 w 10785"/>
                <a:gd name="connsiteY1878" fmla="*/ 4325 h 10000"/>
                <a:gd name="connsiteX1879" fmla="*/ 2963 w 10785"/>
                <a:gd name="connsiteY1879" fmla="*/ 4256 h 10000"/>
                <a:gd name="connsiteX1880" fmla="*/ 2982 w 10785"/>
                <a:gd name="connsiteY1880" fmla="*/ 4239 h 10000"/>
                <a:gd name="connsiteX1881" fmla="*/ 2991 w 10785"/>
                <a:gd name="connsiteY1881" fmla="*/ 4214 h 10000"/>
                <a:gd name="connsiteX1882" fmla="*/ 2991 w 10785"/>
                <a:gd name="connsiteY1882" fmla="*/ 4197 h 10000"/>
                <a:gd name="connsiteX1883" fmla="*/ 2995 w 10785"/>
                <a:gd name="connsiteY1883" fmla="*/ 4171 h 10000"/>
                <a:gd name="connsiteX1884" fmla="*/ 2991 w 10785"/>
                <a:gd name="connsiteY1884" fmla="*/ 4077 h 10000"/>
                <a:gd name="connsiteX1885" fmla="*/ 2995 w 10785"/>
                <a:gd name="connsiteY1885" fmla="*/ 4034 h 10000"/>
                <a:gd name="connsiteX1886" fmla="*/ 3018 w 10785"/>
                <a:gd name="connsiteY1886" fmla="*/ 3983 h 10000"/>
                <a:gd name="connsiteX1887" fmla="*/ 3018 w 10785"/>
                <a:gd name="connsiteY1887" fmla="*/ 3915 h 10000"/>
                <a:gd name="connsiteX1888" fmla="*/ 2949 w 10785"/>
                <a:gd name="connsiteY1888" fmla="*/ 3778 h 10000"/>
                <a:gd name="connsiteX1889" fmla="*/ 2954 w 10785"/>
                <a:gd name="connsiteY1889" fmla="*/ 3675 h 10000"/>
                <a:gd name="connsiteX1890" fmla="*/ 2954 w 10785"/>
                <a:gd name="connsiteY1890" fmla="*/ 3650 h 10000"/>
                <a:gd name="connsiteX1891" fmla="*/ 2963 w 10785"/>
                <a:gd name="connsiteY1891" fmla="*/ 3624 h 10000"/>
                <a:gd name="connsiteX1892" fmla="*/ 2954 w 10785"/>
                <a:gd name="connsiteY1892" fmla="*/ 3564 h 10000"/>
                <a:gd name="connsiteX1893" fmla="*/ 2963 w 10785"/>
                <a:gd name="connsiteY1893" fmla="*/ 3538 h 10000"/>
                <a:gd name="connsiteX1894" fmla="*/ 2963 w 10785"/>
                <a:gd name="connsiteY1894" fmla="*/ 3487 h 10000"/>
                <a:gd name="connsiteX1895" fmla="*/ 2963 w 10785"/>
                <a:gd name="connsiteY1895" fmla="*/ 3479 h 10000"/>
                <a:gd name="connsiteX1896" fmla="*/ 2963 w 10785"/>
                <a:gd name="connsiteY1896" fmla="*/ 3462 h 10000"/>
                <a:gd name="connsiteX1897" fmla="*/ 2954 w 10785"/>
                <a:gd name="connsiteY1897" fmla="*/ 3453 h 10000"/>
                <a:gd name="connsiteX1898" fmla="*/ 2954 w 10785"/>
                <a:gd name="connsiteY1898" fmla="*/ 3444 h 10000"/>
                <a:gd name="connsiteX1899" fmla="*/ 2954 w 10785"/>
                <a:gd name="connsiteY1899" fmla="*/ 3402 h 10000"/>
                <a:gd name="connsiteX1900" fmla="*/ 2954 w 10785"/>
                <a:gd name="connsiteY1900" fmla="*/ 3393 h 10000"/>
                <a:gd name="connsiteX1901" fmla="*/ 2949 w 10785"/>
                <a:gd name="connsiteY1901" fmla="*/ 3376 h 10000"/>
                <a:gd name="connsiteX1902" fmla="*/ 2949 w 10785"/>
                <a:gd name="connsiteY1902" fmla="*/ 3342 h 10000"/>
                <a:gd name="connsiteX1903" fmla="*/ 2949 w 10785"/>
                <a:gd name="connsiteY1903" fmla="*/ 3316 h 10000"/>
                <a:gd name="connsiteX1904" fmla="*/ 2968 w 10785"/>
                <a:gd name="connsiteY1904" fmla="*/ 3291 h 10000"/>
                <a:gd name="connsiteX1905" fmla="*/ 2963 w 10785"/>
                <a:gd name="connsiteY1905" fmla="*/ 3205 h 10000"/>
                <a:gd name="connsiteX1906" fmla="*/ 2968 w 10785"/>
                <a:gd name="connsiteY1906" fmla="*/ 3171 h 10000"/>
                <a:gd name="connsiteX1907" fmla="*/ 2968 w 10785"/>
                <a:gd name="connsiteY1907" fmla="*/ 3128 h 10000"/>
                <a:gd name="connsiteX1908" fmla="*/ 2954 w 10785"/>
                <a:gd name="connsiteY1908" fmla="*/ 3051 h 10000"/>
                <a:gd name="connsiteX1909" fmla="*/ 2954 w 10785"/>
                <a:gd name="connsiteY1909" fmla="*/ 3009 h 10000"/>
                <a:gd name="connsiteX1910" fmla="*/ 2922 w 10785"/>
                <a:gd name="connsiteY1910" fmla="*/ 2940 h 10000"/>
                <a:gd name="connsiteX1911" fmla="*/ 2903 w 10785"/>
                <a:gd name="connsiteY1911" fmla="*/ 2880 h 10000"/>
                <a:gd name="connsiteX1912" fmla="*/ 2903 w 10785"/>
                <a:gd name="connsiteY1912" fmla="*/ 2855 h 10000"/>
                <a:gd name="connsiteX1913" fmla="*/ 2908 w 10785"/>
                <a:gd name="connsiteY1913" fmla="*/ 2846 h 10000"/>
                <a:gd name="connsiteX1914" fmla="*/ 2931 w 10785"/>
                <a:gd name="connsiteY1914" fmla="*/ 2821 h 10000"/>
                <a:gd name="connsiteX1915" fmla="*/ 2931 w 10785"/>
                <a:gd name="connsiteY1915" fmla="*/ 2803 h 10000"/>
                <a:gd name="connsiteX1916" fmla="*/ 2935 w 10785"/>
                <a:gd name="connsiteY1916" fmla="*/ 2786 h 10000"/>
                <a:gd name="connsiteX1917" fmla="*/ 2935 w 10785"/>
                <a:gd name="connsiteY1917" fmla="*/ 2744 h 10000"/>
                <a:gd name="connsiteX1918" fmla="*/ 2963 w 10785"/>
                <a:gd name="connsiteY1918" fmla="*/ 2607 h 10000"/>
                <a:gd name="connsiteX1919" fmla="*/ 2963 w 10785"/>
                <a:gd name="connsiteY1919" fmla="*/ 2419 h 10000"/>
                <a:gd name="connsiteX1920" fmla="*/ 2954 w 10785"/>
                <a:gd name="connsiteY1920" fmla="*/ 2410 h 10000"/>
                <a:gd name="connsiteX1921" fmla="*/ 2963 w 10785"/>
                <a:gd name="connsiteY1921" fmla="*/ 2393 h 10000"/>
                <a:gd name="connsiteX1922" fmla="*/ 2908 w 10785"/>
                <a:gd name="connsiteY1922" fmla="*/ 2359 h 10000"/>
                <a:gd name="connsiteX1923" fmla="*/ 2889 w 10785"/>
                <a:gd name="connsiteY1923" fmla="*/ 2325 h 10000"/>
                <a:gd name="connsiteX1924" fmla="*/ 2788 w 10785"/>
                <a:gd name="connsiteY1924" fmla="*/ 2333 h 10000"/>
                <a:gd name="connsiteX1925" fmla="*/ 2774 w 10785"/>
                <a:gd name="connsiteY1925" fmla="*/ 2325 h 10000"/>
                <a:gd name="connsiteX1926" fmla="*/ 2783 w 10785"/>
                <a:gd name="connsiteY1926" fmla="*/ 2308 h 10000"/>
                <a:gd name="connsiteX1927" fmla="*/ 2747 w 10785"/>
                <a:gd name="connsiteY1927" fmla="*/ 2308 h 10000"/>
                <a:gd name="connsiteX1928" fmla="*/ 2742 w 10785"/>
                <a:gd name="connsiteY1928" fmla="*/ 2333 h 10000"/>
                <a:gd name="connsiteX1929" fmla="*/ 2682 w 10785"/>
                <a:gd name="connsiteY1929" fmla="*/ 2769 h 10000"/>
                <a:gd name="connsiteX1930" fmla="*/ 2613 w 10785"/>
                <a:gd name="connsiteY1930" fmla="*/ 2940 h 10000"/>
                <a:gd name="connsiteX1931" fmla="*/ 2581 w 10785"/>
                <a:gd name="connsiteY1931" fmla="*/ 2966 h 10000"/>
                <a:gd name="connsiteX1932" fmla="*/ 2576 w 10785"/>
                <a:gd name="connsiteY1932" fmla="*/ 3051 h 10000"/>
                <a:gd name="connsiteX1933" fmla="*/ 2581 w 10785"/>
                <a:gd name="connsiteY1933" fmla="*/ 3051 h 10000"/>
                <a:gd name="connsiteX1934" fmla="*/ 2594 w 10785"/>
                <a:gd name="connsiteY1934" fmla="*/ 3017 h 10000"/>
                <a:gd name="connsiteX1935" fmla="*/ 2594 w 10785"/>
                <a:gd name="connsiteY1935" fmla="*/ 3034 h 10000"/>
                <a:gd name="connsiteX1936" fmla="*/ 2594 w 10785"/>
                <a:gd name="connsiteY1936" fmla="*/ 3051 h 10000"/>
                <a:gd name="connsiteX1937" fmla="*/ 2590 w 10785"/>
                <a:gd name="connsiteY1937" fmla="*/ 3077 h 10000"/>
                <a:gd name="connsiteX1938" fmla="*/ 2567 w 10785"/>
                <a:gd name="connsiteY1938" fmla="*/ 3103 h 10000"/>
                <a:gd name="connsiteX1939" fmla="*/ 2562 w 10785"/>
                <a:gd name="connsiteY1939" fmla="*/ 3145 h 10000"/>
                <a:gd name="connsiteX1940" fmla="*/ 2567 w 10785"/>
                <a:gd name="connsiteY1940" fmla="*/ 3179 h 10000"/>
                <a:gd name="connsiteX1941" fmla="*/ 2590 w 10785"/>
                <a:gd name="connsiteY1941" fmla="*/ 3171 h 10000"/>
                <a:gd name="connsiteX1942" fmla="*/ 2594 w 10785"/>
                <a:gd name="connsiteY1942" fmla="*/ 3145 h 10000"/>
                <a:gd name="connsiteX1943" fmla="*/ 2613 w 10785"/>
                <a:gd name="connsiteY1943" fmla="*/ 3154 h 10000"/>
                <a:gd name="connsiteX1944" fmla="*/ 2622 w 10785"/>
                <a:gd name="connsiteY1944" fmla="*/ 3179 h 10000"/>
                <a:gd name="connsiteX1945" fmla="*/ 2613 w 10785"/>
                <a:gd name="connsiteY1945" fmla="*/ 3214 h 10000"/>
                <a:gd name="connsiteX1946" fmla="*/ 2613 w 10785"/>
                <a:gd name="connsiteY1946" fmla="*/ 3308 h 10000"/>
                <a:gd name="connsiteX1947" fmla="*/ 2608 w 10785"/>
                <a:gd name="connsiteY1947" fmla="*/ 3325 h 10000"/>
                <a:gd name="connsiteX1948" fmla="*/ 2608 w 10785"/>
                <a:gd name="connsiteY1948" fmla="*/ 3376 h 10000"/>
                <a:gd name="connsiteX1949" fmla="*/ 2613 w 10785"/>
                <a:gd name="connsiteY1949" fmla="*/ 3419 h 10000"/>
                <a:gd name="connsiteX1950" fmla="*/ 2608 w 10785"/>
                <a:gd name="connsiteY1950" fmla="*/ 3444 h 10000"/>
                <a:gd name="connsiteX1951" fmla="*/ 2594 w 10785"/>
                <a:gd name="connsiteY1951" fmla="*/ 3444 h 10000"/>
                <a:gd name="connsiteX1952" fmla="*/ 2590 w 10785"/>
                <a:gd name="connsiteY1952" fmla="*/ 3427 h 10000"/>
                <a:gd name="connsiteX1953" fmla="*/ 2581 w 10785"/>
                <a:gd name="connsiteY1953" fmla="*/ 3564 h 10000"/>
                <a:gd name="connsiteX1954" fmla="*/ 2594 w 10785"/>
                <a:gd name="connsiteY1954" fmla="*/ 3598 h 10000"/>
                <a:gd name="connsiteX1955" fmla="*/ 2594 w 10785"/>
                <a:gd name="connsiteY1955" fmla="*/ 3581 h 10000"/>
                <a:gd name="connsiteX1956" fmla="*/ 2608 w 10785"/>
                <a:gd name="connsiteY1956" fmla="*/ 3556 h 10000"/>
                <a:gd name="connsiteX1957" fmla="*/ 2650 w 10785"/>
                <a:gd name="connsiteY1957" fmla="*/ 3615 h 10000"/>
                <a:gd name="connsiteX1958" fmla="*/ 2664 w 10785"/>
                <a:gd name="connsiteY1958" fmla="*/ 3615 h 10000"/>
                <a:gd name="connsiteX1959" fmla="*/ 2668 w 10785"/>
                <a:gd name="connsiteY1959" fmla="*/ 3615 h 10000"/>
                <a:gd name="connsiteX1960" fmla="*/ 2664 w 10785"/>
                <a:gd name="connsiteY1960" fmla="*/ 3667 h 10000"/>
                <a:gd name="connsiteX1961" fmla="*/ 2687 w 10785"/>
                <a:gd name="connsiteY1961" fmla="*/ 3786 h 10000"/>
                <a:gd name="connsiteX1962" fmla="*/ 2710 w 10785"/>
                <a:gd name="connsiteY1962" fmla="*/ 3812 h 10000"/>
                <a:gd name="connsiteX1963" fmla="*/ 2724 w 10785"/>
                <a:gd name="connsiteY1963" fmla="*/ 3812 h 10000"/>
                <a:gd name="connsiteX1964" fmla="*/ 2724 w 10785"/>
                <a:gd name="connsiteY1964" fmla="*/ 3829 h 10000"/>
                <a:gd name="connsiteX1965" fmla="*/ 2737 w 10785"/>
                <a:gd name="connsiteY1965" fmla="*/ 3838 h 10000"/>
                <a:gd name="connsiteX1966" fmla="*/ 2714 w 10785"/>
                <a:gd name="connsiteY1966" fmla="*/ 3872 h 10000"/>
                <a:gd name="connsiteX1967" fmla="*/ 2696 w 10785"/>
                <a:gd name="connsiteY1967" fmla="*/ 4026 h 10000"/>
                <a:gd name="connsiteX1968" fmla="*/ 2673 w 10785"/>
                <a:gd name="connsiteY1968" fmla="*/ 4051 h 10000"/>
                <a:gd name="connsiteX1969" fmla="*/ 2668 w 10785"/>
                <a:gd name="connsiteY1969" fmla="*/ 4034 h 10000"/>
                <a:gd name="connsiteX1970" fmla="*/ 2673 w 10785"/>
                <a:gd name="connsiteY1970" fmla="*/ 4000 h 10000"/>
                <a:gd name="connsiteX1971" fmla="*/ 2664 w 10785"/>
                <a:gd name="connsiteY1971" fmla="*/ 3974 h 10000"/>
                <a:gd name="connsiteX1972" fmla="*/ 2636 w 10785"/>
                <a:gd name="connsiteY1972" fmla="*/ 3949 h 10000"/>
                <a:gd name="connsiteX1973" fmla="*/ 2581 w 10785"/>
                <a:gd name="connsiteY1973" fmla="*/ 3838 h 10000"/>
                <a:gd name="connsiteX1974" fmla="*/ 2562 w 10785"/>
                <a:gd name="connsiteY1974" fmla="*/ 3829 h 10000"/>
                <a:gd name="connsiteX1975" fmla="*/ 2535 w 10785"/>
                <a:gd name="connsiteY1975" fmla="*/ 3778 h 10000"/>
                <a:gd name="connsiteX1976" fmla="*/ 2502 w 10785"/>
                <a:gd name="connsiteY1976" fmla="*/ 3761 h 10000"/>
                <a:gd name="connsiteX1977" fmla="*/ 2502 w 10785"/>
                <a:gd name="connsiteY1977" fmla="*/ 3735 h 10000"/>
                <a:gd name="connsiteX1978" fmla="*/ 2516 w 10785"/>
                <a:gd name="connsiteY1978" fmla="*/ 3735 h 10000"/>
                <a:gd name="connsiteX1979" fmla="*/ 2507 w 10785"/>
                <a:gd name="connsiteY1979" fmla="*/ 3726 h 10000"/>
                <a:gd name="connsiteX1980" fmla="*/ 2488 w 10785"/>
                <a:gd name="connsiteY1980" fmla="*/ 3726 h 10000"/>
                <a:gd name="connsiteX1981" fmla="*/ 2461 w 10785"/>
                <a:gd name="connsiteY1981" fmla="*/ 3692 h 10000"/>
                <a:gd name="connsiteX1982" fmla="*/ 2442 w 10785"/>
                <a:gd name="connsiteY1982" fmla="*/ 3675 h 10000"/>
                <a:gd name="connsiteX1983" fmla="*/ 2406 w 10785"/>
                <a:gd name="connsiteY1983" fmla="*/ 3598 h 10000"/>
                <a:gd name="connsiteX1984" fmla="*/ 2346 w 10785"/>
                <a:gd name="connsiteY1984" fmla="*/ 3564 h 10000"/>
                <a:gd name="connsiteX1985" fmla="*/ 2341 w 10785"/>
                <a:gd name="connsiteY1985" fmla="*/ 3564 h 10000"/>
                <a:gd name="connsiteX1986" fmla="*/ 2313 w 10785"/>
                <a:gd name="connsiteY1986" fmla="*/ 3530 h 10000"/>
                <a:gd name="connsiteX1987" fmla="*/ 2235 w 10785"/>
                <a:gd name="connsiteY1987" fmla="*/ 3530 h 10000"/>
                <a:gd name="connsiteX1988" fmla="*/ 2226 w 10785"/>
                <a:gd name="connsiteY1988" fmla="*/ 3513 h 10000"/>
                <a:gd name="connsiteX1989" fmla="*/ 2207 w 10785"/>
                <a:gd name="connsiteY1989" fmla="*/ 3504 h 10000"/>
                <a:gd name="connsiteX1990" fmla="*/ 2194 w 10785"/>
                <a:gd name="connsiteY1990" fmla="*/ 3504 h 10000"/>
                <a:gd name="connsiteX1991" fmla="*/ 2189 w 10785"/>
                <a:gd name="connsiteY1991" fmla="*/ 3504 h 10000"/>
                <a:gd name="connsiteX1992" fmla="*/ 2189 w 10785"/>
                <a:gd name="connsiteY1992" fmla="*/ 3530 h 10000"/>
                <a:gd name="connsiteX1993" fmla="*/ 2180 w 10785"/>
                <a:gd name="connsiteY1993" fmla="*/ 3538 h 10000"/>
                <a:gd name="connsiteX1994" fmla="*/ 2152 w 10785"/>
                <a:gd name="connsiteY1994" fmla="*/ 3581 h 10000"/>
                <a:gd name="connsiteX1995" fmla="*/ 2161 w 10785"/>
                <a:gd name="connsiteY1995" fmla="*/ 3598 h 10000"/>
                <a:gd name="connsiteX1996" fmla="*/ 2194 w 10785"/>
                <a:gd name="connsiteY1996" fmla="*/ 3752 h 10000"/>
                <a:gd name="connsiteX1997" fmla="*/ 2194 w 10785"/>
                <a:gd name="connsiteY1997" fmla="*/ 3735 h 10000"/>
                <a:gd name="connsiteX1998" fmla="*/ 2198 w 10785"/>
                <a:gd name="connsiteY1998" fmla="*/ 3735 h 10000"/>
                <a:gd name="connsiteX1999" fmla="*/ 2189 w 10785"/>
                <a:gd name="connsiteY1999" fmla="*/ 3838 h 10000"/>
                <a:gd name="connsiteX2000" fmla="*/ 2166 w 10785"/>
                <a:gd name="connsiteY2000" fmla="*/ 3889 h 10000"/>
                <a:gd name="connsiteX2001" fmla="*/ 2124 w 10785"/>
                <a:gd name="connsiteY2001" fmla="*/ 3889 h 10000"/>
                <a:gd name="connsiteX2002" fmla="*/ 2124 w 10785"/>
                <a:gd name="connsiteY2002" fmla="*/ 3923 h 10000"/>
                <a:gd name="connsiteX2003" fmla="*/ 2134 w 10785"/>
                <a:gd name="connsiteY2003" fmla="*/ 3940 h 10000"/>
                <a:gd name="connsiteX2004" fmla="*/ 2134 w 10785"/>
                <a:gd name="connsiteY2004" fmla="*/ 3966 h 10000"/>
                <a:gd name="connsiteX2005" fmla="*/ 2120 w 10785"/>
                <a:gd name="connsiteY2005" fmla="*/ 4000 h 10000"/>
                <a:gd name="connsiteX2006" fmla="*/ 2106 w 10785"/>
                <a:gd name="connsiteY2006" fmla="*/ 4009 h 10000"/>
                <a:gd name="connsiteX2007" fmla="*/ 2088 w 10785"/>
                <a:gd name="connsiteY2007" fmla="*/ 4000 h 10000"/>
                <a:gd name="connsiteX2008" fmla="*/ 2074 w 10785"/>
                <a:gd name="connsiteY2008" fmla="*/ 3974 h 10000"/>
                <a:gd name="connsiteX2009" fmla="*/ 2074 w 10785"/>
                <a:gd name="connsiteY2009" fmla="*/ 3940 h 10000"/>
                <a:gd name="connsiteX2010" fmla="*/ 2078 w 10785"/>
                <a:gd name="connsiteY2010" fmla="*/ 3915 h 10000"/>
                <a:gd name="connsiteX2011" fmla="*/ 2088 w 10785"/>
                <a:gd name="connsiteY2011" fmla="*/ 3889 h 10000"/>
                <a:gd name="connsiteX2012" fmla="*/ 2101 w 10785"/>
                <a:gd name="connsiteY2012" fmla="*/ 3872 h 10000"/>
                <a:gd name="connsiteX2013" fmla="*/ 2074 w 10785"/>
                <a:gd name="connsiteY2013" fmla="*/ 3812 h 10000"/>
                <a:gd name="connsiteX2014" fmla="*/ 2074 w 10785"/>
                <a:gd name="connsiteY2014" fmla="*/ 3786 h 10000"/>
                <a:gd name="connsiteX2015" fmla="*/ 2060 w 10785"/>
                <a:gd name="connsiteY2015" fmla="*/ 3786 h 10000"/>
                <a:gd name="connsiteX2016" fmla="*/ 2014 w 10785"/>
                <a:gd name="connsiteY2016" fmla="*/ 3829 h 10000"/>
                <a:gd name="connsiteX2017" fmla="*/ 2000 w 10785"/>
                <a:gd name="connsiteY2017" fmla="*/ 3863 h 10000"/>
                <a:gd name="connsiteX2018" fmla="*/ 1986 w 10785"/>
                <a:gd name="connsiteY2018" fmla="*/ 3872 h 10000"/>
                <a:gd name="connsiteX2019" fmla="*/ 1959 w 10785"/>
                <a:gd name="connsiteY2019" fmla="*/ 3940 h 10000"/>
                <a:gd name="connsiteX2020" fmla="*/ 1945 w 10785"/>
                <a:gd name="connsiteY2020" fmla="*/ 3949 h 10000"/>
                <a:gd name="connsiteX2021" fmla="*/ 1940 w 10785"/>
                <a:gd name="connsiteY2021" fmla="*/ 3923 h 10000"/>
                <a:gd name="connsiteX2022" fmla="*/ 1917 w 10785"/>
                <a:gd name="connsiteY2022" fmla="*/ 3915 h 10000"/>
                <a:gd name="connsiteX2023" fmla="*/ 1899 w 10785"/>
                <a:gd name="connsiteY2023" fmla="*/ 3923 h 10000"/>
                <a:gd name="connsiteX2024" fmla="*/ 1880 w 10785"/>
                <a:gd name="connsiteY2024" fmla="*/ 3915 h 10000"/>
                <a:gd name="connsiteX2025" fmla="*/ 1853 w 10785"/>
                <a:gd name="connsiteY2025" fmla="*/ 3940 h 10000"/>
                <a:gd name="connsiteX2026" fmla="*/ 1839 w 10785"/>
                <a:gd name="connsiteY2026" fmla="*/ 3940 h 10000"/>
                <a:gd name="connsiteX2027" fmla="*/ 1806 w 10785"/>
                <a:gd name="connsiteY2027" fmla="*/ 3983 h 10000"/>
                <a:gd name="connsiteX2028" fmla="*/ 1806 w 10785"/>
                <a:gd name="connsiteY2028" fmla="*/ 4000 h 10000"/>
                <a:gd name="connsiteX2029" fmla="*/ 1797 w 10785"/>
                <a:gd name="connsiteY2029" fmla="*/ 4077 h 10000"/>
                <a:gd name="connsiteX2030" fmla="*/ 1783 w 10785"/>
                <a:gd name="connsiteY2030" fmla="*/ 4077 h 10000"/>
                <a:gd name="connsiteX2031" fmla="*/ 1779 w 10785"/>
                <a:gd name="connsiteY2031" fmla="*/ 4051 h 10000"/>
                <a:gd name="connsiteX2032" fmla="*/ 1765 w 10785"/>
                <a:gd name="connsiteY2032" fmla="*/ 4026 h 10000"/>
                <a:gd name="connsiteX2033" fmla="*/ 1751 w 10785"/>
                <a:gd name="connsiteY2033" fmla="*/ 4051 h 10000"/>
                <a:gd name="connsiteX2034" fmla="*/ 1737 w 10785"/>
                <a:gd name="connsiteY2034" fmla="*/ 4009 h 10000"/>
                <a:gd name="connsiteX2035" fmla="*/ 1737 w 10785"/>
                <a:gd name="connsiteY2035" fmla="*/ 3966 h 10000"/>
                <a:gd name="connsiteX2036" fmla="*/ 1733 w 10785"/>
                <a:gd name="connsiteY2036" fmla="*/ 3940 h 10000"/>
                <a:gd name="connsiteX2037" fmla="*/ 1733 w 10785"/>
                <a:gd name="connsiteY2037" fmla="*/ 3923 h 10000"/>
                <a:gd name="connsiteX2038" fmla="*/ 1747 w 10785"/>
                <a:gd name="connsiteY2038" fmla="*/ 3889 h 10000"/>
                <a:gd name="connsiteX2039" fmla="*/ 1747 w 10785"/>
                <a:gd name="connsiteY2039" fmla="*/ 3863 h 10000"/>
                <a:gd name="connsiteX2040" fmla="*/ 1737 w 10785"/>
                <a:gd name="connsiteY2040" fmla="*/ 3838 h 10000"/>
                <a:gd name="connsiteX2041" fmla="*/ 1733 w 10785"/>
                <a:gd name="connsiteY2041" fmla="*/ 3829 h 10000"/>
                <a:gd name="connsiteX2042" fmla="*/ 1733 w 10785"/>
                <a:gd name="connsiteY2042" fmla="*/ 3846 h 10000"/>
                <a:gd name="connsiteX2043" fmla="*/ 1724 w 10785"/>
                <a:gd name="connsiteY2043" fmla="*/ 3846 h 10000"/>
                <a:gd name="connsiteX2044" fmla="*/ 1724 w 10785"/>
                <a:gd name="connsiteY2044" fmla="*/ 3829 h 10000"/>
                <a:gd name="connsiteX2045" fmla="*/ 1737 w 10785"/>
                <a:gd name="connsiteY2045" fmla="*/ 3812 h 10000"/>
                <a:gd name="connsiteX2046" fmla="*/ 1765 w 10785"/>
                <a:gd name="connsiteY2046" fmla="*/ 3812 h 10000"/>
                <a:gd name="connsiteX2047" fmla="*/ 1779 w 10785"/>
                <a:gd name="connsiteY2047" fmla="*/ 3786 h 10000"/>
                <a:gd name="connsiteX2048" fmla="*/ 1779 w 10785"/>
                <a:gd name="connsiteY2048" fmla="*/ 3786 h 10000"/>
                <a:gd name="connsiteX2049" fmla="*/ 1751 w 10785"/>
                <a:gd name="connsiteY2049" fmla="*/ 3803 h 10000"/>
                <a:gd name="connsiteX2050" fmla="*/ 1747 w 10785"/>
                <a:gd name="connsiteY2050" fmla="*/ 3803 h 10000"/>
                <a:gd name="connsiteX2051" fmla="*/ 1724 w 10785"/>
                <a:gd name="connsiteY2051" fmla="*/ 3803 h 10000"/>
                <a:gd name="connsiteX2052" fmla="*/ 1700 w 10785"/>
                <a:gd name="connsiteY2052" fmla="*/ 3829 h 10000"/>
                <a:gd name="connsiteX2053" fmla="*/ 1705 w 10785"/>
                <a:gd name="connsiteY2053" fmla="*/ 3846 h 10000"/>
                <a:gd name="connsiteX2054" fmla="*/ 1691 w 10785"/>
                <a:gd name="connsiteY2054" fmla="*/ 3846 h 10000"/>
                <a:gd name="connsiteX2055" fmla="*/ 1691 w 10785"/>
                <a:gd name="connsiteY2055" fmla="*/ 3863 h 10000"/>
                <a:gd name="connsiteX2056" fmla="*/ 1691 w 10785"/>
                <a:gd name="connsiteY2056" fmla="*/ 3915 h 10000"/>
                <a:gd name="connsiteX2057" fmla="*/ 1677 w 10785"/>
                <a:gd name="connsiteY2057" fmla="*/ 3923 h 10000"/>
                <a:gd name="connsiteX2058" fmla="*/ 1673 w 10785"/>
                <a:gd name="connsiteY2058" fmla="*/ 3915 h 10000"/>
                <a:gd name="connsiteX2059" fmla="*/ 1664 w 10785"/>
                <a:gd name="connsiteY2059" fmla="*/ 3889 h 10000"/>
                <a:gd name="connsiteX2060" fmla="*/ 1673 w 10785"/>
                <a:gd name="connsiteY2060" fmla="*/ 3872 h 10000"/>
                <a:gd name="connsiteX2061" fmla="*/ 1664 w 10785"/>
                <a:gd name="connsiteY2061" fmla="*/ 3872 h 10000"/>
                <a:gd name="connsiteX2062" fmla="*/ 1636 w 10785"/>
                <a:gd name="connsiteY2062" fmla="*/ 3923 h 10000"/>
                <a:gd name="connsiteX2063" fmla="*/ 1645 w 10785"/>
                <a:gd name="connsiteY2063" fmla="*/ 3923 h 10000"/>
                <a:gd name="connsiteX2064" fmla="*/ 1650 w 10785"/>
                <a:gd name="connsiteY2064" fmla="*/ 3949 h 10000"/>
                <a:gd name="connsiteX2065" fmla="*/ 1650 w 10785"/>
                <a:gd name="connsiteY2065" fmla="*/ 3983 h 10000"/>
                <a:gd name="connsiteX2066" fmla="*/ 1636 w 10785"/>
                <a:gd name="connsiteY2066" fmla="*/ 4000 h 10000"/>
                <a:gd name="connsiteX2067" fmla="*/ 1631 w 10785"/>
                <a:gd name="connsiteY2067" fmla="*/ 4009 h 10000"/>
                <a:gd name="connsiteX2068" fmla="*/ 1618 w 10785"/>
                <a:gd name="connsiteY2068" fmla="*/ 3949 h 10000"/>
                <a:gd name="connsiteX2069" fmla="*/ 1585 w 10785"/>
                <a:gd name="connsiteY2069" fmla="*/ 3966 h 10000"/>
                <a:gd name="connsiteX2070" fmla="*/ 1590 w 10785"/>
                <a:gd name="connsiteY2070" fmla="*/ 3974 h 10000"/>
                <a:gd name="connsiteX2071" fmla="*/ 1544 w 10785"/>
                <a:gd name="connsiteY2071" fmla="*/ 4009 h 10000"/>
                <a:gd name="connsiteX2072" fmla="*/ 1539 w 10785"/>
                <a:gd name="connsiteY2072" fmla="*/ 4009 h 10000"/>
                <a:gd name="connsiteX2073" fmla="*/ 1410 w 10785"/>
                <a:gd name="connsiteY2073" fmla="*/ 4188 h 10000"/>
                <a:gd name="connsiteX2074" fmla="*/ 1406 w 10785"/>
                <a:gd name="connsiteY2074" fmla="*/ 4171 h 10000"/>
                <a:gd name="connsiteX2075" fmla="*/ 1396 w 10785"/>
                <a:gd name="connsiteY2075" fmla="*/ 4214 h 10000"/>
                <a:gd name="connsiteX2076" fmla="*/ 1406 w 10785"/>
                <a:gd name="connsiteY2076" fmla="*/ 4222 h 10000"/>
                <a:gd name="connsiteX2077" fmla="*/ 1392 w 10785"/>
                <a:gd name="connsiteY2077" fmla="*/ 4239 h 10000"/>
                <a:gd name="connsiteX2078" fmla="*/ 1369 w 10785"/>
                <a:gd name="connsiteY2078" fmla="*/ 4248 h 10000"/>
                <a:gd name="connsiteX2079" fmla="*/ 1355 w 10785"/>
                <a:gd name="connsiteY2079" fmla="*/ 4256 h 10000"/>
                <a:gd name="connsiteX2080" fmla="*/ 1350 w 10785"/>
                <a:gd name="connsiteY2080" fmla="*/ 4248 h 10000"/>
                <a:gd name="connsiteX2081" fmla="*/ 1332 w 10785"/>
                <a:gd name="connsiteY2081" fmla="*/ 4376 h 10000"/>
                <a:gd name="connsiteX2082" fmla="*/ 1332 w 10785"/>
                <a:gd name="connsiteY2082" fmla="*/ 4436 h 10000"/>
                <a:gd name="connsiteX2083" fmla="*/ 1323 w 10785"/>
                <a:gd name="connsiteY2083" fmla="*/ 4462 h 10000"/>
                <a:gd name="connsiteX2084" fmla="*/ 1304 w 10785"/>
                <a:gd name="connsiteY2084" fmla="*/ 4487 h 10000"/>
                <a:gd name="connsiteX2085" fmla="*/ 1290 w 10785"/>
                <a:gd name="connsiteY2085" fmla="*/ 4470 h 10000"/>
                <a:gd name="connsiteX2086" fmla="*/ 1263 w 10785"/>
                <a:gd name="connsiteY2086" fmla="*/ 4496 h 10000"/>
                <a:gd name="connsiteX2087" fmla="*/ 1258 w 10785"/>
                <a:gd name="connsiteY2087" fmla="*/ 4547 h 10000"/>
                <a:gd name="connsiteX2088" fmla="*/ 1249 w 10785"/>
                <a:gd name="connsiteY2088" fmla="*/ 4487 h 10000"/>
                <a:gd name="connsiteX2089" fmla="*/ 1235 w 10785"/>
                <a:gd name="connsiteY2089" fmla="*/ 4496 h 10000"/>
                <a:gd name="connsiteX2090" fmla="*/ 1221 w 10785"/>
                <a:gd name="connsiteY2090" fmla="*/ 4496 h 10000"/>
                <a:gd name="connsiteX2091" fmla="*/ 1217 w 10785"/>
                <a:gd name="connsiteY2091" fmla="*/ 4487 h 10000"/>
                <a:gd name="connsiteX2092" fmla="*/ 1198 w 10785"/>
                <a:gd name="connsiteY2092" fmla="*/ 4410 h 10000"/>
                <a:gd name="connsiteX2093" fmla="*/ 1157 w 10785"/>
                <a:gd name="connsiteY2093" fmla="*/ 4333 h 10000"/>
                <a:gd name="connsiteX2094" fmla="*/ 1147 w 10785"/>
                <a:gd name="connsiteY2094" fmla="*/ 4299 h 10000"/>
                <a:gd name="connsiteX2095" fmla="*/ 1147 w 10785"/>
                <a:gd name="connsiteY2095" fmla="*/ 4274 h 10000"/>
                <a:gd name="connsiteX2096" fmla="*/ 1161 w 10785"/>
                <a:gd name="connsiteY2096" fmla="*/ 4256 h 10000"/>
                <a:gd name="connsiteX2097" fmla="*/ 1171 w 10785"/>
                <a:gd name="connsiteY2097" fmla="*/ 4248 h 10000"/>
                <a:gd name="connsiteX2098" fmla="*/ 1175 w 10785"/>
                <a:gd name="connsiteY2098" fmla="*/ 4214 h 10000"/>
                <a:gd name="connsiteX2099" fmla="*/ 1263 w 10785"/>
                <a:gd name="connsiteY2099" fmla="*/ 4171 h 10000"/>
                <a:gd name="connsiteX2100" fmla="*/ 1249 w 10785"/>
                <a:gd name="connsiteY2100" fmla="*/ 4137 h 10000"/>
                <a:gd name="connsiteX2101" fmla="*/ 1244 w 10785"/>
                <a:gd name="connsiteY2101" fmla="*/ 4060 h 10000"/>
                <a:gd name="connsiteX2102" fmla="*/ 1230 w 10785"/>
                <a:gd name="connsiteY2102" fmla="*/ 4077 h 10000"/>
                <a:gd name="connsiteX2103" fmla="*/ 1221 w 10785"/>
                <a:gd name="connsiteY2103" fmla="*/ 4026 h 10000"/>
                <a:gd name="connsiteX2104" fmla="*/ 1217 w 10785"/>
                <a:gd name="connsiteY2104" fmla="*/ 4026 h 10000"/>
                <a:gd name="connsiteX2105" fmla="*/ 1212 w 10785"/>
                <a:gd name="connsiteY2105" fmla="*/ 3983 h 10000"/>
                <a:gd name="connsiteX2106" fmla="*/ 1203 w 10785"/>
                <a:gd name="connsiteY2106" fmla="*/ 3966 h 10000"/>
                <a:gd name="connsiteX2107" fmla="*/ 1171 w 10785"/>
                <a:gd name="connsiteY2107" fmla="*/ 3949 h 10000"/>
                <a:gd name="connsiteX2108" fmla="*/ 1111 w 10785"/>
                <a:gd name="connsiteY2108" fmla="*/ 3940 h 10000"/>
                <a:gd name="connsiteX2109" fmla="*/ 1097 w 10785"/>
                <a:gd name="connsiteY2109" fmla="*/ 3949 h 10000"/>
                <a:gd name="connsiteX2110" fmla="*/ 1037 w 10785"/>
                <a:gd name="connsiteY2110" fmla="*/ 3897 h 10000"/>
                <a:gd name="connsiteX2111" fmla="*/ 1041 w 10785"/>
                <a:gd name="connsiteY2111" fmla="*/ 3923 h 10000"/>
                <a:gd name="connsiteX2112" fmla="*/ 1097 w 10785"/>
                <a:gd name="connsiteY2112" fmla="*/ 4009 h 10000"/>
                <a:gd name="connsiteX2113" fmla="*/ 1097 w 10785"/>
                <a:gd name="connsiteY2113" fmla="*/ 4120 h 10000"/>
                <a:gd name="connsiteX2114" fmla="*/ 1097 w 10785"/>
                <a:gd name="connsiteY2114" fmla="*/ 4162 h 10000"/>
                <a:gd name="connsiteX2115" fmla="*/ 1097 w 10785"/>
                <a:gd name="connsiteY2115" fmla="*/ 4197 h 10000"/>
                <a:gd name="connsiteX2116" fmla="*/ 1074 w 10785"/>
                <a:gd name="connsiteY2116" fmla="*/ 4333 h 10000"/>
                <a:gd name="connsiteX2117" fmla="*/ 1074 w 10785"/>
                <a:gd name="connsiteY2117" fmla="*/ 4376 h 10000"/>
                <a:gd name="connsiteX2118" fmla="*/ 1083 w 10785"/>
                <a:gd name="connsiteY2118" fmla="*/ 4385 h 10000"/>
                <a:gd name="connsiteX2119" fmla="*/ 1097 w 10785"/>
                <a:gd name="connsiteY2119" fmla="*/ 4385 h 10000"/>
                <a:gd name="connsiteX2120" fmla="*/ 1111 w 10785"/>
                <a:gd name="connsiteY2120" fmla="*/ 4410 h 10000"/>
                <a:gd name="connsiteX2121" fmla="*/ 1124 w 10785"/>
                <a:gd name="connsiteY2121" fmla="*/ 4444 h 10000"/>
                <a:gd name="connsiteX2122" fmla="*/ 1124 w 10785"/>
                <a:gd name="connsiteY2122" fmla="*/ 4470 h 10000"/>
                <a:gd name="connsiteX2123" fmla="*/ 1115 w 10785"/>
                <a:gd name="connsiteY2123" fmla="*/ 4513 h 10000"/>
                <a:gd name="connsiteX2124" fmla="*/ 1115 w 10785"/>
                <a:gd name="connsiteY2124" fmla="*/ 4530 h 10000"/>
                <a:gd name="connsiteX2125" fmla="*/ 1115 w 10785"/>
                <a:gd name="connsiteY2125" fmla="*/ 4573 h 10000"/>
                <a:gd name="connsiteX2126" fmla="*/ 1101 w 10785"/>
                <a:gd name="connsiteY2126" fmla="*/ 4607 h 10000"/>
                <a:gd name="connsiteX2127" fmla="*/ 1097 w 10785"/>
                <a:gd name="connsiteY2127" fmla="*/ 4658 h 10000"/>
                <a:gd name="connsiteX2128" fmla="*/ 1101 w 10785"/>
                <a:gd name="connsiteY2128" fmla="*/ 4692 h 10000"/>
                <a:gd name="connsiteX2129" fmla="*/ 1097 w 10785"/>
                <a:gd name="connsiteY2129" fmla="*/ 4778 h 10000"/>
                <a:gd name="connsiteX2130" fmla="*/ 1083 w 10785"/>
                <a:gd name="connsiteY2130" fmla="*/ 4744 h 10000"/>
                <a:gd name="connsiteX2131" fmla="*/ 1083 w 10785"/>
                <a:gd name="connsiteY2131" fmla="*/ 4718 h 10000"/>
                <a:gd name="connsiteX2132" fmla="*/ 1074 w 10785"/>
                <a:gd name="connsiteY2132" fmla="*/ 4692 h 10000"/>
                <a:gd name="connsiteX2133" fmla="*/ 1065 w 10785"/>
                <a:gd name="connsiteY2133" fmla="*/ 4692 h 10000"/>
                <a:gd name="connsiteX2134" fmla="*/ 1051 w 10785"/>
                <a:gd name="connsiteY2134" fmla="*/ 4718 h 10000"/>
                <a:gd name="connsiteX2135" fmla="*/ 1055 w 10785"/>
                <a:gd name="connsiteY2135" fmla="*/ 4692 h 10000"/>
                <a:gd name="connsiteX2136" fmla="*/ 1055 w 10785"/>
                <a:gd name="connsiteY2136" fmla="*/ 4667 h 10000"/>
                <a:gd name="connsiteX2137" fmla="*/ 1028 w 10785"/>
                <a:gd name="connsiteY2137" fmla="*/ 4624 h 10000"/>
                <a:gd name="connsiteX2138" fmla="*/ 1005 w 10785"/>
                <a:gd name="connsiteY2138" fmla="*/ 4624 h 10000"/>
                <a:gd name="connsiteX2139" fmla="*/ 977 w 10785"/>
                <a:gd name="connsiteY2139" fmla="*/ 4581 h 10000"/>
                <a:gd name="connsiteX2140" fmla="*/ 963 w 10785"/>
                <a:gd name="connsiteY2140" fmla="*/ 4607 h 10000"/>
                <a:gd name="connsiteX2141" fmla="*/ 963 w 10785"/>
                <a:gd name="connsiteY2141" fmla="*/ 4632 h 10000"/>
                <a:gd name="connsiteX2142" fmla="*/ 917 w 10785"/>
                <a:gd name="connsiteY2142" fmla="*/ 4718 h 10000"/>
                <a:gd name="connsiteX2143" fmla="*/ 889 w 10785"/>
                <a:gd name="connsiteY2143" fmla="*/ 4744 h 10000"/>
                <a:gd name="connsiteX2144" fmla="*/ 880 w 10785"/>
                <a:gd name="connsiteY2144" fmla="*/ 4744 h 10000"/>
                <a:gd name="connsiteX2145" fmla="*/ 862 w 10785"/>
                <a:gd name="connsiteY2145" fmla="*/ 4769 h 10000"/>
                <a:gd name="connsiteX2146" fmla="*/ 857 w 10785"/>
                <a:gd name="connsiteY2146" fmla="*/ 4795 h 10000"/>
                <a:gd name="connsiteX2147" fmla="*/ 829 w 10785"/>
                <a:gd name="connsiteY2147" fmla="*/ 4846 h 10000"/>
                <a:gd name="connsiteX2148" fmla="*/ 816 w 10785"/>
                <a:gd name="connsiteY2148" fmla="*/ 4855 h 10000"/>
                <a:gd name="connsiteX2149" fmla="*/ 816 w 10785"/>
                <a:gd name="connsiteY2149" fmla="*/ 4940 h 10000"/>
                <a:gd name="connsiteX2150" fmla="*/ 880 w 10785"/>
                <a:gd name="connsiteY2150" fmla="*/ 5179 h 10000"/>
                <a:gd name="connsiteX2151" fmla="*/ 880 w 10785"/>
                <a:gd name="connsiteY2151" fmla="*/ 5188 h 10000"/>
                <a:gd name="connsiteX2152" fmla="*/ 862 w 10785"/>
                <a:gd name="connsiteY2152" fmla="*/ 5171 h 10000"/>
                <a:gd name="connsiteX2153" fmla="*/ 857 w 10785"/>
                <a:gd name="connsiteY2153" fmla="*/ 5171 h 10000"/>
                <a:gd name="connsiteX2154" fmla="*/ 820 w 10785"/>
                <a:gd name="connsiteY2154" fmla="*/ 5145 h 10000"/>
                <a:gd name="connsiteX2155" fmla="*/ 820 w 10785"/>
                <a:gd name="connsiteY2155" fmla="*/ 5154 h 10000"/>
                <a:gd name="connsiteX2156" fmla="*/ 816 w 10785"/>
                <a:gd name="connsiteY2156" fmla="*/ 5171 h 10000"/>
                <a:gd name="connsiteX2157" fmla="*/ 783 w 10785"/>
                <a:gd name="connsiteY2157" fmla="*/ 5145 h 10000"/>
                <a:gd name="connsiteX2158" fmla="*/ 756 w 10785"/>
                <a:gd name="connsiteY2158" fmla="*/ 5103 h 10000"/>
                <a:gd name="connsiteX2159" fmla="*/ 742 w 10785"/>
                <a:gd name="connsiteY2159" fmla="*/ 5103 h 10000"/>
                <a:gd name="connsiteX2160" fmla="*/ 728 w 10785"/>
                <a:gd name="connsiteY2160" fmla="*/ 5094 h 10000"/>
                <a:gd name="connsiteX2161" fmla="*/ 710 w 10785"/>
                <a:gd name="connsiteY2161" fmla="*/ 5120 h 10000"/>
                <a:gd name="connsiteX2162" fmla="*/ 700 w 10785"/>
                <a:gd name="connsiteY2162" fmla="*/ 5145 h 10000"/>
                <a:gd name="connsiteX2163" fmla="*/ 696 w 10785"/>
                <a:gd name="connsiteY2163" fmla="*/ 5103 h 10000"/>
                <a:gd name="connsiteX2164" fmla="*/ 714 w 10785"/>
                <a:gd name="connsiteY2164" fmla="*/ 5077 h 10000"/>
                <a:gd name="connsiteX2165" fmla="*/ 682 w 10785"/>
                <a:gd name="connsiteY2165" fmla="*/ 5068 h 10000"/>
                <a:gd name="connsiteX2166" fmla="*/ 673 w 10785"/>
                <a:gd name="connsiteY2166" fmla="*/ 5034 h 10000"/>
                <a:gd name="connsiteX2167" fmla="*/ 636 w 10785"/>
                <a:gd name="connsiteY2167" fmla="*/ 4991 h 10000"/>
                <a:gd name="connsiteX2168" fmla="*/ 622 w 10785"/>
                <a:gd name="connsiteY2168" fmla="*/ 4983 h 10000"/>
                <a:gd name="connsiteX2169" fmla="*/ 622 w 10785"/>
                <a:gd name="connsiteY2169" fmla="*/ 5034 h 10000"/>
                <a:gd name="connsiteX2170" fmla="*/ 608 w 10785"/>
                <a:gd name="connsiteY2170" fmla="*/ 5051 h 10000"/>
                <a:gd name="connsiteX2171" fmla="*/ 594 w 10785"/>
                <a:gd name="connsiteY2171" fmla="*/ 5068 h 10000"/>
                <a:gd name="connsiteX2172" fmla="*/ 608 w 10785"/>
                <a:gd name="connsiteY2172" fmla="*/ 5120 h 10000"/>
                <a:gd name="connsiteX2173" fmla="*/ 613 w 10785"/>
                <a:gd name="connsiteY2173" fmla="*/ 5128 h 10000"/>
                <a:gd name="connsiteX2174" fmla="*/ 627 w 10785"/>
                <a:gd name="connsiteY2174" fmla="*/ 5179 h 10000"/>
                <a:gd name="connsiteX2175" fmla="*/ 650 w 10785"/>
                <a:gd name="connsiteY2175" fmla="*/ 5214 h 10000"/>
                <a:gd name="connsiteX2176" fmla="*/ 687 w 10785"/>
                <a:gd name="connsiteY2176" fmla="*/ 5188 h 10000"/>
                <a:gd name="connsiteX2177" fmla="*/ 700 w 10785"/>
                <a:gd name="connsiteY2177" fmla="*/ 5325 h 10000"/>
                <a:gd name="connsiteX2178" fmla="*/ 710 w 10785"/>
                <a:gd name="connsiteY2178" fmla="*/ 5350 h 10000"/>
                <a:gd name="connsiteX2179" fmla="*/ 687 w 10785"/>
                <a:gd name="connsiteY2179" fmla="*/ 5325 h 10000"/>
                <a:gd name="connsiteX2180" fmla="*/ 668 w 10785"/>
                <a:gd name="connsiteY2180" fmla="*/ 5350 h 10000"/>
                <a:gd name="connsiteX2181" fmla="*/ 668 w 10785"/>
                <a:gd name="connsiteY2181" fmla="*/ 5368 h 10000"/>
                <a:gd name="connsiteX2182" fmla="*/ 668 w 10785"/>
                <a:gd name="connsiteY2182" fmla="*/ 5376 h 10000"/>
                <a:gd name="connsiteX2183" fmla="*/ 581 w 10785"/>
                <a:gd name="connsiteY2183" fmla="*/ 5316 h 10000"/>
                <a:gd name="connsiteX2184" fmla="*/ 567 w 10785"/>
                <a:gd name="connsiteY2184" fmla="*/ 5265 h 10000"/>
                <a:gd name="connsiteX2185" fmla="*/ 562 w 10785"/>
                <a:gd name="connsiteY2185" fmla="*/ 5256 h 10000"/>
                <a:gd name="connsiteX2186" fmla="*/ 548 w 10785"/>
                <a:gd name="connsiteY2186" fmla="*/ 5231 h 10000"/>
                <a:gd name="connsiteX2187" fmla="*/ 535 w 10785"/>
                <a:gd name="connsiteY2187" fmla="*/ 5214 h 10000"/>
                <a:gd name="connsiteX2188" fmla="*/ 525 w 10785"/>
                <a:gd name="connsiteY2188" fmla="*/ 5231 h 10000"/>
                <a:gd name="connsiteX2189" fmla="*/ 521 w 10785"/>
                <a:gd name="connsiteY2189" fmla="*/ 5231 h 10000"/>
                <a:gd name="connsiteX2190" fmla="*/ 493 w 10785"/>
                <a:gd name="connsiteY2190" fmla="*/ 5205 h 10000"/>
                <a:gd name="connsiteX2191" fmla="*/ 488 w 10785"/>
                <a:gd name="connsiteY2191" fmla="*/ 5179 h 10000"/>
                <a:gd name="connsiteX2192" fmla="*/ 475 w 10785"/>
                <a:gd name="connsiteY2192" fmla="*/ 5188 h 10000"/>
                <a:gd name="connsiteX2193" fmla="*/ 475 w 10785"/>
                <a:gd name="connsiteY2193" fmla="*/ 5171 h 10000"/>
                <a:gd name="connsiteX2194" fmla="*/ 488 w 10785"/>
                <a:gd name="connsiteY2194" fmla="*/ 5154 h 10000"/>
                <a:gd name="connsiteX2195" fmla="*/ 488 w 10785"/>
                <a:gd name="connsiteY2195" fmla="*/ 5068 h 10000"/>
                <a:gd name="connsiteX2196" fmla="*/ 475 w 10785"/>
                <a:gd name="connsiteY2196" fmla="*/ 5051 h 10000"/>
                <a:gd name="connsiteX2197" fmla="*/ 475 w 10785"/>
                <a:gd name="connsiteY2197" fmla="*/ 5017 h 10000"/>
                <a:gd name="connsiteX2198" fmla="*/ 452 w 10785"/>
                <a:gd name="connsiteY2198" fmla="*/ 4932 h 10000"/>
                <a:gd name="connsiteX2199" fmla="*/ 461 w 10785"/>
                <a:gd name="connsiteY2199" fmla="*/ 4915 h 10000"/>
                <a:gd name="connsiteX2200" fmla="*/ 475 w 10785"/>
                <a:gd name="connsiteY2200" fmla="*/ 4906 h 10000"/>
                <a:gd name="connsiteX2201" fmla="*/ 479 w 10785"/>
                <a:gd name="connsiteY2201" fmla="*/ 4803 h 10000"/>
                <a:gd name="connsiteX2202" fmla="*/ 479 w 10785"/>
                <a:gd name="connsiteY2202" fmla="*/ 4778 h 10000"/>
                <a:gd name="connsiteX2203" fmla="*/ 475 w 10785"/>
                <a:gd name="connsiteY2203" fmla="*/ 4761 h 10000"/>
                <a:gd name="connsiteX2204" fmla="*/ 465 w 10785"/>
                <a:gd name="connsiteY2204" fmla="*/ 4718 h 10000"/>
                <a:gd name="connsiteX2205" fmla="*/ 461 w 10785"/>
                <a:gd name="connsiteY2205" fmla="*/ 4709 h 10000"/>
                <a:gd name="connsiteX2206" fmla="*/ 442 w 10785"/>
                <a:gd name="connsiteY2206" fmla="*/ 4692 h 10000"/>
                <a:gd name="connsiteX2207" fmla="*/ 433 w 10785"/>
                <a:gd name="connsiteY2207" fmla="*/ 4667 h 10000"/>
                <a:gd name="connsiteX2208" fmla="*/ 419 w 10785"/>
                <a:gd name="connsiteY2208" fmla="*/ 4667 h 10000"/>
                <a:gd name="connsiteX2209" fmla="*/ 401 w 10785"/>
                <a:gd name="connsiteY2209" fmla="*/ 4658 h 10000"/>
                <a:gd name="connsiteX2210" fmla="*/ 401 w 10785"/>
                <a:gd name="connsiteY2210" fmla="*/ 4624 h 10000"/>
                <a:gd name="connsiteX2211" fmla="*/ 401 w 10785"/>
                <a:gd name="connsiteY2211" fmla="*/ 4607 h 10000"/>
                <a:gd name="connsiteX2212" fmla="*/ 378 w 10785"/>
                <a:gd name="connsiteY2212" fmla="*/ 4607 h 10000"/>
                <a:gd name="connsiteX2213" fmla="*/ 341 w 10785"/>
                <a:gd name="connsiteY2213" fmla="*/ 4530 h 10000"/>
                <a:gd name="connsiteX2214" fmla="*/ 346 w 10785"/>
                <a:gd name="connsiteY2214" fmla="*/ 4521 h 10000"/>
                <a:gd name="connsiteX2215" fmla="*/ 332 w 10785"/>
                <a:gd name="connsiteY2215" fmla="*/ 4487 h 10000"/>
                <a:gd name="connsiteX2216" fmla="*/ 327 w 10785"/>
                <a:gd name="connsiteY2216" fmla="*/ 4462 h 10000"/>
                <a:gd name="connsiteX2217" fmla="*/ 313 w 10785"/>
                <a:gd name="connsiteY2217" fmla="*/ 4436 h 10000"/>
                <a:gd name="connsiteX2218" fmla="*/ 300 w 10785"/>
                <a:gd name="connsiteY2218" fmla="*/ 4419 h 10000"/>
                <a:gd name="connsiteX2219" fmla="*/ 309 w 10785"/>
                <a:gd name="connsiteY2219" fmla="*/ 4393 h 10000"/>
                <a:gd name="connsiteX2220" fmla="*/ 332 w 10785"/>
                <a:gd name="connsiteY2220" fmla="*/ 4385 h 10000"/>
                <a:gd name="connsiteX2221" fmla="*/ 355 w 10785"/>
                <a:gd name="connsiteY2221" fmla="*/ 4419 h 10000"/>
                <a:gd name="connsiteX2222" fmla="*/ 355 w 10785"/>
                <a:gd name="connsiteY2222" fmla="*/ 4444 h 10000"/>
                <a:gd name="connsiteX2223" fmla="*/ 369 w 10785"/>
                <a:gd name="connsiteY2223" fmla="*/ 4470 h 10000"/>
                <a:gd name="connsiteX2224" fmla="*/ 401 w 10785"/>
                <a:gd name="connsiteY2224" fmla="*/ 4521 h 10000"/>
                <a:gd name="connsiteX2225" fmla="*/ 406 w 10785"/>
                <a:gd name="connsiteY2225" fmla="*/ 4513 h 10000"/>
                <a:gd name="connsiteX2226" fmla="*/ 406 w 10785"/>
                <a:gd name="connsiteY2226" fmla="*/ 4496 h 10000"/>
                <a:gd name="connsiteX2227" fmla="*/ 419 w 10785"/>
                <a:gd name="connsiteY2227" fmla="*/ 4521 h 10000"/>
                <a:gd name="connsiteX2228" fmla="*/ 429 w 10785"/>
                <a:gd name="connsiteY2228" fmla="*/ 4530 h 10000"/>
                <a:gd name="connsiteX2229" fmla="*/ 433 w 10785"/>
                <a:gd name="connsiteY2229" fmla="*/ 4521 h 10000"/>
                <a:gd name="connsiteX2230" fmla="*/ 442 w 10785"/>
                <a:gd name="connsiteY2230" fmla="*/ 4530 h 10000"/>
                <a:gd name="connsiteX2231" fmla="*/ 447 w 10785"/>
                <a:gd name="connsiteY2231" fmla="*/ 4521 h 10000"/>
                <a:gd name="connsiteX2232" fmla="*/ 452 w 10785"/>
                <a:gd name="connsiteY2232" fmla="*/ 4521 h 10000"/>
                <a:gd name="connsiteX2233" fmla="*/ 461 w 10785"/>
                <a:gd name="connsiteY2233" fmla="*/ 4573 h 10000"/>
                <a:gd name="connsiteX2234" fmla="*/ 479 w 10785"/>
                <a:gd name="connsiteY2234" fmla="*/ 4556 h 10000"/>
                <a:gd name="connsiteX2235" fmla="*/ 502 w 10785"/>
                <a:gd name="connsiteY2235" fmla="*/ 4573 h 10000"/>
                <a:gd name="connsiteX2236" fmla="*/ 507 w 10785"/>
                <a:gd name="connsiteY2236" fmla="*/ 4598 h 10000"/>
                <a:gd name="connsiteX2237" fmla="*/ 525 w 10785"/>
                <a:gd name="connsiteY2237" fmla="*/ 4598 h 10000"/>
                <a:gd name="connsiteX2238" fmla="*/ 535 w 10785"/>
                <a:gd name="connsiteY2238" fmla="*/ 4624 h 10000"/>
                <a:gd name="connsiteX2239" fmla="*/ 594 w 10785"/>
                <a:gd name="connsiteY2239" fmla="*/ 4658 h 10000"/>
                <a:gd name="connsiteX2240" fmla="*/ 627 w 10785"/>
                <a:gd name="connsiteY2240" fmla="*/ 4658 h 10000"/>
                <a:gd name="connsiteX2241" fmla="*/ 654 w 10785"/>
                <a:gd name="connsiteY2241" fmla="*/ 4684 h 10000"/>
                <a:gd name="connsiteX2242" fmla="*/ 668 w 10785"/>
                <a:gd name="connsiteY2242" fmla="*/ 4709 h 10000"/>
                <a:gd name="connsiteX2243" fmla="*/ 747 w 10785"/>
                <a:gd name="connsiteY2243" fmla="*/ 4718 h 10000"/>
                <a:gd name="connsiteX2244" fmla="*/ 760 w 10785"/>
                <a:gd name="connsiteY2244" fmla="*/ 4709 h 10000"/>
                <a:gd name="connsiteX2245" fmla="*/ 774 w 10785"/>
                <a:gd name="connsiteY2245" fmla="*/ 4692 h 10000"/>
                <a:gd name="connsiteX2246" fmla="*/ 829 w 10785"/>
                <a:gd name="connsiteY2246" fmla="*/ 4658 h 10000"/>
                <a:gd name="connsiteX2247" fmla="*/ 903 w 10785"/>
                <a:gd name="connsiteY2247" fmla="*/ 4496 h 10000"/>
                <a:gd name="connsiteX2248" fmla="*/ 917 w 10785"/>
                <a:gd name="connsiteY2248" fmla="*/ 4385 h 10000"/>
                <a:gd name="connsiteX2249" fmla="*/ 903 w 10785"/>
                <a:gd name="connsiteY2249" fmla="*/ 4376 h 10000"/>
                <a:gd name="connsiteX2250" fmla="*/ 903 w 10785"/>
                <a:gd name="connsiteY2250" fmla="*/ 4376 h 10000"/>
                <a:gd name="connsiteX2251" fmla="*/ 889 w 10785"/>
                <a:gd name="connsiteY2251" fmla="*/ 4239 h 10000"/>
                <a:gd name="connsiteX2252" fmla="*/ 880 w 10785"/>
                <a:gd name="connsiteY2252" fmla="*/ 4214 h 10000"/>
                <a:gd name="connsiteX2253" fmla="*/ 862 w 10785"/>
                <a:gd name="connsiteY2253" fmla="*/ 4188 h 10000"/>
                <a:gd name="connsiteX2254" fmla="*/ 857 w 10785"/>
                <a:gd name="connsiteY2254" fmla="*/ 4197 h 10000"/>
                <a:gd name="connsiteX2255" fmla="*/ 848 w 10785"/>
                <a:gd name="connsiteY2255" fmla="*/ 4188 h 10000"/>
                <a:gd name="connsiteX2256" fmla="*/ 848 w 10785"/>
                <a:gd name="connsiteY2256" fmla="*/ 4162 h 10000"/>
                <a:gd name="connsiteX2257" fmla="*/ 829 w 10785"/>
                <a:gd name="connsiteY2257" fmla="*/ 4120 h 10000"/>
                <a:gd name="connsiteX2258" fmla="*/ 820 w 10785"/>
                <a:gd name="connsiteY2258" fmla="*/ 4103 h 10000"/>
                <a:gd name="connsiteX2259" fmla="*/ 806 w 10785"/>
                <a:gd name="connsiteY2259" fmla="*/ 4077 h 10000"/>
                <a:gd name="connsiteX2260" fmla="*/ 816 w 10785"/>
                <a:gd name="connsiteY2260" fmla="*/ 4111 h 10000"/>
                <a:gd name="connsiteX2261" fmla="*/ 802 w 10785"/>
                <a:gd name="connsiteY2261" fmla="*/ 4111 h 10000"/>
                <a:gd name="connsiteX2262" fmla="*/ 770 w 10785"/>
                <a:gd name="connsiteY2262" fmla="*/ 4060 h 10000"/>
                <a:gd name="connsiteX2263" fmla="*/ 760 w 10785"/>
                <a:gd name="connsiteY2263" fmla="*/ 4077 h 10000"/>
                <a:gd name="connsiteX2264" fmla="*/ 760 w 10785"/>
                <a:gd name="connsiteY2264" fmla="*/ 4060 h 10000"/>
                <a:gd name="connsiteX2265" fmla="*/ 756 w 10785"/>
                <a:gd name="connsiteY2265" fmla="*/ 4034 h 10000"/>
                <a:gd name="connsiteX2266" fmla="*/ 742 w 10785"/>
                <a:gd name="connsiteY2266" fmla="*/ 4000 h 10000"/>
                <a:gd name="connsiteX2267" fmla="*/ 747 w 10785"/>
                <a:gd name="connsiteY2267" fmla="*/ 4034 h 10000"/>
                <a:gd name="connsiteX2268" fmla="*/ 724 w 10785"/>
                <a:gd name="connsiteY2268" fmla="*/ 4026 h 10000"/>
                <a:gd name="connsiteX2269" fmla="*/ 714 w 10785"/>
                <a:gd name="connsiteY2269" fmla="*/ 4000 h 10000"/>
                <a:gd name="connsiteX2270" fmla="*/ 714 w 10785"/>
                <a:gd name="connsiteY2270" fmla="*/ 3983 h 10000"/>
                <a:gd name="connsiteX2271" fmla="*/ 553 w 10785"/>
                <a:gd name="connsiteY2271" fmla="*/ 3726 h 10000"/>
                <a:gd name="connsiteX2272" fmla="*/ 507 w 10785"/>
                <a:gd name="connsiteY2272" fmla="*/ 3718 h 10000"/>
                <a:gd name="connsiteX2273" fmla="*/ 516 w 10785"/>
                <a:gd name="connsiteY2273" fmla="*/ 3726 h 10000"/>
                <a:gd name="connsiteX2274" fmla="*/ 507 w 10785"/>
                <a:gd name="connsiteY2274" fmla="*/ 3735 h 10000"/>
                <a:gd name="connsiteX2275" fmla="*/ 502 w 10785"/>
                <a:gd name="connsiteY2275" fmla="*/ 3735 h 10000"/>
                <a:gd name="connsiteX2276" fmla="*/ 419 w 10785"/>
                <a:gd name="connsiteY2276" fmla="*/ 3675 h 10000"/>
                <a:gd name="connsiteX2277" fmla="*/ 419 w 10785"/>
                <a:gd name="connsiteY2277" fmla="*/ 3692 h 10000"/>
                <a:gd name="connsiteX2278" fmla="*/ 401 w 10785"/>
                <a:gd name="connsiteY2278" fmla="*/ 3701 h 10000"/>
                <a:gd name="connsiteX2279" fmla="*/ 387 w 10785"/>
                <a:gd name="connsiteY2279" fmla="*/ 3718 h 10000"/>
                <a:gd name="connsiteX2280" fmla="*/ 387 w 10785"/>
                <a:gd name="connsiteY2280" fmla="*/ 3692 h 10000"/>
                <a:gd name="connsiteX2281" fmla="*/ 378 w 10785"/>
                <a:gd name="connsiteY2281" fmla="*/ 3675 h 10000"/>
                <a:gd name="connsiteX2282" fmla="*/ 378 w 10785"/>
                <a:gd name="connsiteY2282" fmla="*/ 3650 h 10000"/>
                <a:gd name="connsiteX2283" fmla="*/ 378 w 10785"/>
                <a:gd name="connsiteY2283" fmla="*/ 3650 h 10000"/>
                <a:gd name="connsiteX2284" fmla="*/ 355 w 10785"/>
                <a:gd name="connsiteY2284" fmla="*/ 3675 h 10000"/>
                <a:gd name="connsiteX2285" fmla="*/ 359 w 10785"/>
                <a:gd name="connsiteY2285" fmla="*/ 3641 h 10000"/>
                <a:gd name="connsiteX2286" fmla="*/ 346 w 10785"/>
                <a:gd name="connsiteY2286" fmla="*/ 3650 h 10000"/>
                <a:gd name="connsiteX2287" fmla="*/ 355 w 10785"/>
                <a:gd name="connsiteY2287" fmla="*/ 3624 h 10000"/>
                <a:gd name="connsiteX2288" fmla="*/ 346 w 10785"/>
                <a:gd name="connsiteY2288" fmla="*/ 3624 h 10000"/>
                <a:gd name="connsiteX2289" fmla="*/ 341 w 10785"/>
                <a:gd name="connsiteY2289" fmla="*/ 3624 h 10000"/>
                <a:gd name="connsiteX2290" fmla="*/ 318 w 10785"/>
                <a:gd name="connsiteY2290" fmla="*/ 3641 h 10000"/>
                <a:gd name="connsiteX2291" fmla="*/ 327 w 10785"/>
                <a:gd name="connsiteY2291" fmla="*/ 3624 h 10000"/>
                <a:gd name="connsiteX2292" fmla="*/ 318 w 10785"/>
                <a:gd name="connsiteY2292" fmla="*/ 3615 h 10000"/>
                <a:gd name="connsiteX2293" fmla="*/ 318 w 10785"/>
                <a:gd name="connsiteY2293" fmla="*/ 3598 h 10000"/>
                <a:gd name="connsiteX2294" fmla="*/ 300 w 10785"/>
                <a:gd name="connsiteY2294" fmla="*/ 3598 h 10000"/>
                <a:gd name="connsiteX2295" fmla="*/ 309 w 10785"/>
                <a:gd name="connsiteY2295" fmla="*/ 3538 h 10000"/>
                <a:gd name="connsiteX2296" fmla="*/ 313 w 10785"/>
                <a:gd name="connsiteY2296" fmla="*/ 3564 h 10000"/>
                <a:gd name="connsiteX2297" fmla="*/ 318 w 10785"/>
                <a:gd name="connsiteY2297" fmla="*/ 3581 h 10000"/>
                <a:gd name="connsiteX2298" fmla="*/ 327 w 10785"/>
                <a:gd name="connsiteY2298" fmla="*/ 3564 h 10000"/>
                <a:gd name="connsiteX2299" fmla="*/ 332 w 10785"/>
                <a:gd name="connsiteY2299" fmla="*/ 3590 h 10000"/>
                <a:gd name="connsiteX2300" fmla="*/ 346 w 10785"/>
                <a:gd name="connsiteY2300" fmla="*/ 3590 h 10000"/>
                <a:gd name="connsiteX2301" fmla="*/ 355 w 10785"/>
                <a:gd name="connsiteY2301" fmla="*/ 3590 h 10000"/>
                <a:gd name="connsiteX2302" fmla="*/ 369 w 10785"/>
                <a:gd name="connsiteY2302" fmla="*/ 3556 h 10000"/>
                <a:gd name="connsiteX2303" fmla="*/ 369 w 10785"/>
                <a:gd name="connsiteY2303" fmla="*/ 3538 h 10000"/>
                <a:gd name="connsiteX2304" fmla="*/ 346 w 10785"/>
                <a:gd name="connsiteY2304" fmla="*/ 3513 h 10000"/>
                <a:gd name="connsiteX2305" fmla="*/ 341 w 10785"/>
                <a:gd name="connsiteY2305" fmla="*/ 3530 h 10000"/>
                <a:gd name="connsiteX2306" fmla="*/ 327 w 10785"/>
                <a:gd name="connsiteY2306" fmla="*/ 3513 h 10000"/>
                <a:gd name="connsiteX2307" fmla="*/ 327 w 10785"/>
                <a:gd name="connsiteY2307" fmla="*/ 3504 h 10000"/>
                <a:gd name="connsiteX2308" fmla="*/ 295 w 10785"/>
                <a:gd name="connsiteY2308" fmla="*/ 3462 h 10000"/>
                <a:gd name="connsiteX2309" fmla="*/ 300 w 10785"/>
                <a:gd name="connsiteY2309" fmla="*/ 3479 h 10000"/>
                <a:gd name="connsiteX2310" fmla="*/ 295 w 10785"/>
                <a:gd name="connsiteY2310" fmla="*/ 3513 h 10000"/>
                <a:gd name="connsiteX2311" fmla="*/ 286 w 10785"/>
                <a:gd name="connsiteY2311" fmla="*/ 3513 h 10000"/>
                <a:gd name="connsiteX2312" fmla="*/ 281 w 10785"/>
                <a:gd name="connsiteY2312" fmla="*/ 3513 h 10000"/>
                <a:gd name="connsiteX2313" fmla="*/ 281 w 10785"/>
                <a:gd name="connsiteY2313" fmla="*/ 3530 h 10000"/>
                <a:gd name="connsiteX2314" fmla="*/ 281 w 10785"/>
                <a:gd name="connsiteY2314" fmla="*/ 3556 h 10000"/>
                <a:gd name="connsiteX2315" fmla="*/ 272 w 10785"/>
                <a:gd name="connsiteY2315" fmla="*/ 3564 h 10000"/>
                <a:gd name="connsiteX2316" fmla="*/ 267 w 10785"/>
                <a:gd name="connsiteY2316" fmla="*/ 3564 h 10000"/>
                <a:gd name="connsiteX2317" fmla="*/ 253 w 10785"/>
                <a:gd name="connsiteY2317" fmla="*/ 3538 h 10000"/>
                <a:gd name="connsiteX2318" fmla="*/ 226 w 10785"/>
                <a:gd name="connsiteY2318" fmla="*/ 3513 h 10000"/>
                <a:gd name="connsiteX2319" fmla="*/ 226 w 10785"/>
                <a:gd name="connsiteY2319" fmla="*/ 3530 h 10000"/>
                <a:gd name="connsiteX2320" fmla="*/ 226 w 10785"/>
                <a:gd name="connsiteY2320" fmla="*/ 3530 h 10000"/>
                <a:gd name="connsiteX2321" fmla="*/ 226 w 10785"/>
                <a:gd name="connsiteY2321" fmla="*/ 3530 h 10000"/>
                <a:gd name="connsiteX2322" fmla="*/ 226 w 10785"/>
                <a:gd name="connsiteY2322" fmla="*/ 3556 h 10000"/>
                <a:gd name="connsiteX2323" fmla="*/ 221 w 10785"/>
                <a:gd name="connsiteY2323" fmla="*/ 3598 h 10000"/>
                <a:gd name="connsiteX2324" fmla="*/ 207 w 10785"/>
                <a:gd name="connsiteY2324" fmla="*/ 3598 h 10000"/>
                <a:gd name="connsiteX2325" fmla="*/ 180 w 10785"/>
                <a:gd name="connsiteY2325" fmla="*/ 3581 h 10000"/>
                <a:gd name="connsiteX2326" fmla="*/ 171 w 10785"/>
                <a:gd name="connsiteY2326" fmla="*/ 3641 h 10000"/>
                <a:gd name="connsiteX2327" fmla="*/ 166 w 10785"/>
                <a:gd name="connsiteY2327" fmla="*/ 3650 h 10000"/>
                <a:gd name="connsiteX2328" fmla="*/ 124 w 10785"/>
                <a:gd name="connsiteY2328" fmla="*/ 3701 h 10000"/>
                <a:gd name="connsiteX2329" fmla="*/ 124 w 10785"/>
                <a:gd name="connsiteY2329" fmla="*/ 3718 h 10000"/>
                <a:gd name="connsiteX2330" fmla="*/ 120 w 10785"/>
                <a:gd name="connsiteY2330" fmla="*/ 3735 h 10000"/>
                <a:gd name="connsiteX2331" fmla="*/ 120 w 10785"/>
                <a:gd name="connsiteY2331" fmla="*/ 3735 h 10000"/>
                <a:gd name="connsiteX2332" fmla="*/ 111 w 10785"/>
                <a:gd name="connsiteY2332" fmla="*/ 3761 h 10000"/>
                <a:gd name="connsiteX2333" fmla="*/ 106 w 10785"/>
                <a:gd name="connsiteY2333" fmla="*/ 3761 h 10000"/>
                <a:gd name="connsiteX2334" fmla="*/ 106 w 10785"/>
                <a:gd name="connsiteY2334" fmla="*/ 3761 h 10000"/>
                <a:gd name="connsiteX2335" fmla="*/ 74 w 10785"/>
                <a:gd name="connsiteY2335" fmla="*/ 3829 h 10000"/>
                <a:gd name="connsiteX2336" fmla="*/ 78 w 10785"/>
                <a:gd name="connsiteY2336" fmla="*/ 3838 h 10000"/>
                <a:gd name="connsiteX2337" fmla="*/ 88 w 10785"/>
                <a:gd name="connsiteY2337" fmla="*/ 3846 h 10000"/>
                <a:gd name="connsiteX2338" fmla="*/ 65 w 10785"/>
                <a:gd name="connsiteY2338" fmla="*/ 3923 h 10000"/>
                <a:gd name="connsiteX2339" fmla="*/ 78 w 10785"/>
                <a:gd name="connsiteY2339" fmla="*/ 4026 h 10000"/>
                <a:gd name="connsiteX2340" fmla="*/ 88 w 10785"/>
                <a:gd name="connsiteY2340" fmla="*/ 4051 h 10000"/>
                <a:gd name="connsiteX2341" fmla="*/ 92 w 10785"/>
                <a:gd name="connsiteY2341" fmla="*/ 4060 h 10000"/>
                <a:gd name="connsiteX2342" fmla="*/ 111 w 10785"/>
                <a:gd name="connsiteY2342" fmla="*/ 4060 h 10000"/>
                <a:gd name="connsiteX2343" fmla="*/ 124 w 10785"/>
                <a:gd name="connsiteY2343" fmla="*/ 4085 h 10000"/>
                <a:gd name="connsiteX2344" fmla="*/ 166 w 10785"/>
                <a:gd name="connsiteY2344" fmla="*/ 4197 h 10000"/>
                <a:gd name="connsiteX2345" fmla="*/ 166 w 10785"/>
                <a:gd name="connsiteY2345" fmla="*/ 4248 h 10000"/>
                <a:gd name="connsiteX2346" fmla="*/ 120 w 10785"/>
                <a:gd name="connsiteY2346" fmla="*/ 4462 h 10000"/>
                <a:gd name="connsiteX2347" fmla="*/ 120 w 10785"/>
                <a:gd name="connsiteY2347" fmla="*/ 4513 h 10000"/>
                <a:gd name="connsiteX2348" fmla="*/ 180 w 10785"/>
                <a:gd name="connsiteY2348" fmla="*/ 4829 h 10000"/>
                <a:gd name="connsiteX2349" fmla="*/ 161 w 10785"/>
                <a:gd name="connsiteY2349" fmla="*/ 4855 h 10000"/>
                <a:gd name="connsiteX2350" fmla="*/ 152 w 10785"/>
                <a:gd name="connsiteY2350" fmla="*/ 4940 h 10000"/>
                <a:gd name="connsiteX2351" fmla="*/ 161 w 10785"/>
                <a:gd name="connsiteY2351" fmla="*/ 4966 h 10000"/>
                <a:gd name="connsiteX2352" fmla="*/ 161 w 10785"/>
                <a:gd name="connsiteY2352" fmla="*/ 5009 h 10000"/>
                <a:gd name="connsiteX2353" fmla="*/ 152 w 10785"/>
                <a:gd name="connsiteY2353" fmla="*/ 5034 h 10000"/>
                <a:gd name="connsiteX2354" fmla="*/ 152 w 10785"/>
                <a:gd name="connsiteY2354" fmla="*/ 5077 h 10000"/>
                <a:gd name="connsiteX2355" fmla="*/ 171 w 10785"/>
                <a:gd name="connsiteY2355" fmla="*/ 5094 h 10000"/>
                <a:gd name="connsiteX2356" fmla="*/ 180 w 10785"/>
                <a:gd name="connsiteY2356" fmla="*/ 5128 h 10000"/>
                <a:gd name="connsiteX2357" fmla="*/ 180 w 10785"/>
                <a:gd name="connsiteY2357" fmla="*/ 5171 h 10000"/>
                <a:gd name="connsiteX2358" fmla="*/ 184 w 10785"/>
                <a:gd name="connsiteY2358" fmla="*/ 5205 h 10000"/>
                <a:gd name="connsiteX2359" fmla="*/ 207 w 10785"/>
                <a:gd name="connsiteY2359" fmla="*/ 5239 h 10000"/>
                <a:gd name="connsiteX2360" fmla="*/ 207 w 10785"/>
                <a:gd name="connsiteY2360" fmla="*/ 5282 h 10000"/>
                <a:gd name="connsiteX2361" fmla="*/ 180 w 10785"/>
                <a:gd name="connsiteY2361" fmla="*/ 5393 h 10000"/>
                <a:gd name="connsiteX2362" fmla="*/ 194 w 10785"/>
                <a:gd name="connsiteY2362" fmla="*/ 5427 h 10000"/>
                <a:gd name="connsiteX2363" fmla="*/ 198 w 10785"/>
                <a:gd name="connsiteY2363" fmla="*/ 5462 h 10000"/>
                <a:gd name="connsiteX2364" fmla="*/ 235 w 10785"/>
                <a:gd name="connsiteY2364" fmla="*/ 5513 h 10000"/>
                <a:gd name="connsiteX2365" fmla="*/ 240 w 10785"/>
                <a:gd name="connsiteY2365" fmla="*/ 5556 h 10000"/>
                <a:gd name="connsiteX2366" fmla="*/ 253 w 10785"/>
                <a:gd name="connsiteY2366" fmla="*/ 5590 h 10000"/>
                <a:gd name="connsiteX2367" fmla="*/ 258 w 10785"/>
                <a:gd name="connsiteY2367" fmla="*/ 5573 h 10000"/>
                <a:gd name="connsiteX2368" fmla="*/ 258 w 10785"/>
                <a:gd name="connsiteY2368" fmla="*/ 5667 h 10000"/>
                <a:gd name="connsiteX2369" fmla="*/ 14 w 10785"/>
                <a:gd name="connsiteY2369" fmla="*/ 6214 h 10000"/>
                <a:gd name="connsiteX2370" fmla="*/ 14 w 10785"/>
                <a:gd name="connsiteY2370" fmla="*/ 6214 h 10000"/>
                <a:gd name="connsiteX2371" fmla="*/ 37 w 10785"/>
                <a:gd name="connsiteY2371" fmla="*/ 6214 h 10000"/>
                <a:gd name="connsiteX2372" fmla="*/ 51 w 10785"/>
                <a:gd name="connsiteY2372" fmla="*/ 6188 h 10000"/>
                <a:gd name="connsiteX2373" fmla="*/ 78 w 10785"/>
                <a:gd name="connsiteY2373" fmla="*/ 6162 h 10000"/>
                <a:gd name="connsiteX2374" fmla="*/ 78 w 10785"/>
                <a:gd name="connsiteY2374" fmla="*/ 6188 h 10000"/>
                <a:gd name="connsiteX2375" fmla="*/ 74 w 10785"/>
                <a:gd name="connsiteY2375" fmla="*/ 6197 h 10000"/>
                <a:gd name="connsiteX2376" fmla="*/ 74 w 10785"/>
                <a:gd name="connsiteY2376" fmla="*/ 6231 h 10000"/>
                <a:gd name="connsiteX2377" fmla="*/ 74 w 10785"/>
                <a:gd name="connsiteY2377" fmla="*/ 6214 h 10000"/>
                <a:gd name="connsiteX2378" fmla="*/ 65 w 10785"/>
                <a:gd name="connsiteY2378" fmla="*/ 6214 h 10000"/>
                <a:gd name="connsiteX2379" fmla="*/ 65 w 10785"/>
                <a:gd name="connsiteY2379" fmla="*/ 6248 h 10000"/>
                <a:gd name="connsiteX2380" fmla="*/ 74 w 10785"/>
                <a:gd name="connsiteY2380" fmla="*/ 6256 h 10000"/>
                <a:gd name="connsiteX2381" fmla="*/ 78 w 10785"/>
                <a:gd name="connsiteY2381" fmla="*/ 6256 h 10000"/>
                <a:gd name="connsiteX2382" fmla="*/ 106 w 10785"/>
                <a:gd name="connsiteY2382" fmla="*/ 6308 h 10000"/>
                <a:gd name="connsiteX2383" fmla="*/ 138 w 10785"/>
                <a:gd name="connsiteY2383" fmla="*/ 6299 h 10000"/>
                <a:gd name="connsiteX2384" fmla="*/ 152 w 10785"/>
                <a:gd name="connsiteY2384" fmla="*/ 6299 h 10000"/>
                <a:gd name="connsiteX2385" fmla="*/ 166 w 10785"/>
                <a:gd name="connsiteY2385" fmla="*/ 6325 h 10000"/>
                <a:gd name="connsiteX2386" fmla="*/ 166 w 10785"/>
                <a:gd name="connsiteY2386" fmla="*/ 6333 h 10000"/>
                <a:gd name="connsiteX2387" fmla="*/ 171 w 10785"/>
                <a:gd name="connsiteY2387" fmla="*/ 6350 h 10000"/>
                <a:gd name="connsiteX2388" fmla="*/ 180 w 10785"/>
                <a:gd name="connsiteY2388" fmla="*/ 6350 h 10000"/>
                <a:gd name="connsiteX2389" fmla="*/ 180 w 10785"/>
                <a:gd name="connsiteY2389" fmla="*/ 6359 h 10000"/>
                <a:gd name="connsiteX2390" fmla="*/ 171 w 10785"/>
                <a:gd name="connsiteY2390" fmla="*/ 6368 h 10000"/>
                <a:gd name="connsiteX2391" fmla="*/ 106 w 10785"/>
                <a:gd name="connsiteY2391" fmla="*/ 6350 h 10000"/>
                <a:gd name="connsiteX2392" fmla="*/ 101 w 10785"/>
                <a:gd name="connsiteY2392" fmla="*/ 6359 h 10000"/>
                <a:gd name="connsiteX2393" fmla="*/ 101 w 10785"/>
                <a:gd name="connsiteY2393" fmla="*/ 6385 h 10000"/>
                <a:gd name="connsiteX2394" fmla="*/ 78 w 10785"/>
                <a:gd name="connsiteY2394" fmla="*/ 6393 h 10000"/>
                <a:gd name="connsiteX2395" fmla="*/ 74 w 10785"/>
                <a:gd name="connsiteY2395" fmla="*/ 6385 h 10000"/>
                <a:gd name="connsiteX2396" fmla="*/ 65 w 10785"/>
                <a:gd name="connsiteY2396" fmla="*/ 6393 h 10000"/>
                <a:gd name="connsiteX2397" fmla="*/ 60 w 10785"/>
                <a:gd name="connsiteY2397" fmla="*/ 6419 h 10000"/>
                <a:gd name="connsiteX2398" fmla="*/ 51 w 10785"/>
                <a:gd name="connsiteY2398" fmla="*/ 6419 h 10000"/>
                <a:gd name="connsiteX2399" fmla="*/ 46 w 10785"/>
                <a:gd name="connsiteY2399" fmla="*/ 6410 h 10000"/>
                <a:gd name="connsiteX2400" fmla="*/ 37 w 10785"/>
                <a:gd name="connsiteY2400" fmla="*/ 6393 h 10000"/>
                <a:gd name="connsiteX2401" fmla="*/ 32 w 10785"/>
                <a:gd name="connsiteY2401" fmla="*/ 6419 h 10000"/>
                <a:gd name="connsiteX2402" fmla="*/ 37 w 10785"/>
                <a:gd name="connsiteY2402" fmla="*/ 6462 h 10000"/>
                <a:gd name="connsiteX2403" fmla="*/ 46 w 10785"/>
                <a:gd name="connsiteY2403" fmla="*/ 6462 h 10000"/>
                <a:gd name="connsiteX2404" fmla="*/ 51 w 10785"/>
                <a:gd name="connsiteY2404" fmla="*/ 6470 h 10000"/>
                <a:gd name="connsiteX2405" fmla="*/ 51 w 10785"/>
                <a:gd name="connsiteY2405" fmla="*/ 6496 h 10000"/>
                <a:gd name="connsiteX2406" fmla="*/ 51 w 10785"/>
                <a:gd name="connsiteY2406" fmla="*/ 6504 h 10000"/>
                <a:gd name="connsiteX2407" fmla="*/ 37 w 10785"/>
                <a:gd name="connsiteY2407" fmla="*/ 6530 h 10000"/>
                <a:gd name="connsiteX2408" fmla="*/ 18 w 10785"/>
                <a:gd name="connsiteY2408" fmla="*/ 6598 h 10000"/>
                <a:gd name="connsiteX2409" fmla="*/ 28 w 10785"/>
                <a:gd name="connsiteY2409" fmla="*/ 6632 h 10000"/>
                <a:gd name="connsiteX2410" fmla="*/ 18 w 10785"/>
                <a:gd name="connsiteY2410" fmla="*/ 6667 h 10000"/>
                <a:gd name="connsiteX2411" fmla="*/ 28 w 10785"/>
                <a:gd name="connsiteY2411" fmla="*/ 6692 h 10000"/>
                <a:gd name="connsiteX2412" fmla="*/ 28 w 10785"/>
                <a:gd name="connsiteY2412" fmla="*/ 6709 h 10000"/>
                <a:gd name="connsiteX2413" fmla="*/ 18 w 10785"/>
                <a:gd name="connsiteY2413" fmla="*/ 6718 h 10000"/>
                <a:gd name="connsiteX2414" fmla="*/ 5 w 10785"/>
                <a:gd name="connsiteY2414" fmla="*/ 6744 h 10000"/>
                <a:gd name="connsiteX2415" fmla="*/ 0 w 10785"/>
                <a:gd name="connsiteY2415" fmla="*/ 6769 h 10000"/>
                <a:gd name="connsiteX2416" fmla="*/ 5 w 10785"/>
                <a:gd name="connsiteY2416" fmla="*/ 6778 h 10000"/>
                <a:gd name="connsiteX2417" fmla="*/ 32 w 10785"/>
                <a:gd name="connsiteY2417" fmla="*/ 6778 h 10000"/>
                <a:gd name="connsiteX2418" fmla="*/ 46 w 10785"/>
                <a:gd name="connsiteY2418" fmla="*/ 6821 h 10000"/>
                <a:gd name="connsiteX2419" fmla="*/ 46 w 10785"/>
                <a:gd name="connsiteY2419" fmla="*/ 6855 h 10000"/>
                <a:gd name="connsiteX2420" fmla="*/ 32 w 10785"/>
                <a:gd name="connsiteY2420" fmla="*/ 6855 h 10000"/>
                <a:gd name="connsiteX2421" fmla="*/ 14 w 10785"/>
                <a:gd name="connsiteY2421" fmla="*/ 6821 h 10000"/>
                <a:gd name="connsiteX2422" fmla="*/ 14 w 10785"/>
                <a:gd name="connsiteY2422" fmla="*/ 6846 h 10000"/>
                <a:gd name="connsiteX2423" fmla="*/ 0 w 10785"/>
                <a:gd name="connsiteY2423" fmla="*/ 6897 h 10000"/>
                <a:gd name="connsiteX2424" fmla="*/ 0 w 10785"/>
                <a:gd name="connsiteY2424" fmla="*/ 6915 h 10000"/>
                <a:gd name="connsiteX2425" fmla="*/ 5 w 10785"/>
                <a:gd name="connsiteY2425" fmla="*/ 6932 h 10000"/>
                <a:gd name="connsiteX2426" fmla="*/ 14 w 10785"/>
                <a:gd name="connsiteY2426" fmla="*/ 6940 h 10000"/>
                <a:gd name="connsiteX2427" fmla="*/ 18 w 10785"/>
                <a:gd name="connsiteY2427" fmla="*/ 6957 h 10000"/>
                <a:gd name="connsiteX2428" fmla="*/ 28 w 10785"/>
                <a:gd name="connsiteY2428" fmla="*/ 6966 h 10000"/>
                <a:gd name="connsiteX2429" fmla="*/ 28 w 10785"/>
                <a:gd name="connsiteY2429" fmla="*/ 6983 h 10000"/>
                <a:gd name="connsiteX2430" fmla="*/ 18 w 10785"/>
                <a:gd name="connsiteY2430" fmla="*/ 7051 h 10000"/>
                <a:gd name="connsiteX2431" fmla="*/ 28 w 10785"/>
                <a:gd name="connsiteY2431" fmla="*/ 7068 h 10000"/>
                <a:gd name="connsiteX2432" fmla="*/ 32 w 10785"/>
                <a:gd name="connsiteY2432" fmla="*/ 7068 h 10000"/>
                <a:gd name="connsiteX2433" fmla="*/ 32 w 10785"/>
                <a:gd name="connsiteY2433" fmla="*/ 7094 h 10000"/>
                <a:gd name="connsiteX2434" fmla="*/ 60 w 10785"/>
                <a:gd name="connsiteY2434" fmla="*/ 7162 h 10000"/>
                <a:gd name="connsiteX2435" fmla="*/ 60 w 10785"/>
                <a:gd name="connsiteY2435" fmla="*/ 7231 h 10000"/>
                <a:gd name="connsiteX2436" fmla="*/ 60 w 10785"/>
                <a:gd name="connsiteY2436" fmla="*/ 7239 h 10000"/>
                <a:gd name="connsiteX2437" fmla="*/ 78 w 10785"/>
                <a:gd name="connsiteY2437" fmla="*/ 7239 h 10000"/>
                <a:gd name="connsiteX2438" fmla="*/ 88 w 10785"/>
                <a:gd name="connsiteY2438" fmla="*/ 7239 h 10000"/>
                <a:gd name="connsiteX2439" fmla="*/ 92 w 10785"/>
                <a:gd name="connsiteY2439" fmla="*/ 7256 h 10000"/>
                <a:gd name="connsiteX2440" fmla="*/ 111 w 10785"/>
                <a:gd name="connsiteY2440" fmla="*/ 7256 h 10000"/>
                <a:gd name="connsiteX2441" fmla="*/ 120 w 10785"/>
                <a:gd name="connsiteY2441" fmla="*/ 7256 h 10000"/>
                <a:gd name="connsiteX2442" fmla="*/ 134 w 10785"/>
                <a:gd name="connsiteY2442" fmla="*/ 7282 h 10000"/>
                <a:gd name="connsiteX2443" fmla="*/ 134 w 10785"/>
                <a:gd name="connsiteY2443" fmla="*/ 7316 h 10000"/>
                <a:gd name="connsiteX2444" fmla="*/ 152 w 10785"/>
                <a:gd name="connsiteY2444" fmla="*/ 7299 h 10000"/>
                <a:gd name="connsiteX2445" fmla="*/ 161 w 10785"/>
                <a:gd name="connsiteY2445" fmla="*/ 7299 h 10000"/>
                <a:gd name="connsiteX2446" fmla="*/ 166 w 10785"/>
                <a:gd name="connsiteY2446" fmla="*/ 7291 h 10000"/>
                <a:gd name="connsiteX2447" fmla="*/ 194 w 10785"/>
                <a:gd name="connsiteY2447" fmla="*/ 7291 h 10000"/>
                <a:gd name="connsiteX2448" fmla="*/ 207 w 10785"/>
                <a:gd name="connsiteY2448" fmla="*/ 7299 h 10000"/>
                <a:gd name="connsiteX2449" fmla="*/ 221 w 10785"/>
                <a:gd name="connsiteY2449" fmla="*/ 7342 h 10000"/>
                <a:gd name="connsiteX2450" fmla="*/ 235 w 10785"/>
                <a:gd name="connsiteY2450" fmla="*/ 7342 h 10000"/>
                <a:gd name="connsiteX2451" fmla="*/ 235 w 10785"/>
                <a:gd name="connsiteY2451" fmla="*/ 7368 h 10000"/>
                <a:gd name="connsiteX2452" fmla="*/ 226 w 10785"/>
                <a:gd name="connsiteY2452" fmla="*/ 7393 h 10000"/>
                <a:gd name="connsiteX2453" fmla="*/ 226 w 10785"/>
                <a:gd name="connsiteY2453" fmla="*/ 7402 h 10000"/>
                <a:gd name="connsiteX2454" fmla="*/ 235 w 10785"/>
                <a:gd name="connsiteY2454" fmla="*/ 7419 h 10000"/>
                <a:gd name="connsiteX2455" fmla="*/ 240 w 10785"/>
                <a:gd name="connsiteY2455" fmla="*/ 7436 h 10000"/>
                <a:gd name="connsiteX2456" fmla="*/ 235 w 10785"/>
                <a:gd name="connsiteY2456" fmla="*/ 7462 h 10000"/>
                <a:gd name="connsiteX2457" fmla="*/ 226 w 10785"/>
                <a:gd name="connsiteY2457" fmla="*/ 7479 h 10000"/>
                <a:gd name="connsiteX2458" fmla="*/ 226 w 10785"/>
                <a:gd name="connsiteY2458" fmla="*/ 7504 h 10000"/>
                <a:gd name="connsiteX2459" fmla="*/ 226 w 10785"/>
                <a:gd name="connsiteY2459" fmla="*/ 7513 h 10000"/>
                <a:gd name="connsiteX2460" fmla="*/ 240 w 10785"/>
                <a:gd name="connsiteY2460" fmla="*/ 7538 h 10000"/>
                <a:gd name="connsiteX2461" fmla="*/ 267 w 10785"/>
                <a:gd name="connsiteY2461" fmla="*/ 7641 h 10000"/>
                <a:gd name="connsiteX2462" fmla="*/ 281 w 10785"/>
                <a:gd name="connsiteY2462" fmla="*/ 7667 h 10000"/>
                <a:gd name="connsiteX2463" fmla="*/ 286 w 10785"/>
                <a:gd name="connsiteY2463" fmla="*/ 7675 h 10000"/>
                <a:gd name="connsiteX2464" fmla="*/ 286 w 10785"/>
                <a:gd name="connsiteY2464" fmla="*/ 7692 h 10000"/>
                <a:gd name="connsiteX2465" fmla="*/ 286 w 10785"/>
                <a:gd name="connsiteY2465" fmla="*/ 7709 h 10000"/>
                <a:gd name="connsiteX2466" fmla="*/ 295 w 10785"/>
                <a:gd name="connsiteY2466" fmla="*/ 7726 h 10000"/>
                <a:gd name="connsiteX2467" fmla="*/ 318 w 10785"/>
                <a:gd name="connsiteY2467" fmla="*/ 7709 h 10000"/>
                <a:gd name="connsiteX2468" fmla="*/ 327 w 10785"/>
                <a:gd name="connsiteY2468" fmla="*/ 7726 h 10000"/>
                <a:gd name="connsiteX2469" fmla="*/ 341 w 10785"/>
                <a:gd name="connsiteY2469" fmla="*/ 7735 h 10000"/>
                <a:gd name="connsiteX2470" fmla="*/ 332 w 10785"/>
                <a:gd name="connsiteY2470" fmla="*/ 7752 h 10000"/>
                <a:gd name="connsiteX2471" fmla="*/ 341 w 10785"/>
                <a:gd name="connsiteY2471" fmla="*/ 7761 h 10000"/>
                <a:gd name="connsiteX2472" fmla="*/ 355 w 10785"/>
                <a:gd name="connsiteY2472" fmla="*/ 7761 h 10000"/>
                <a:gd name="connsiteX2473" fmla="*/ 355 w 10785"/>
                <a:gd name="connsiteY2473" fmla="*/ 7803 h 10000"/>
                <a:gd name="connsiteX2474" fmla="*/ 313 w 10785"/>
                <a:gd name="connsiteY2474" fmla="*/ 7846 h 10000"/>
                <a:gd name="connsiteX2475" fmla="*/ 295 w 10785"/>
                <a:gd name="connsiteY2475" fmla="*/ 7846 h 10000"/>
                <a:gd name="connsiteX2476" fmla="*/ 281 w 10785"/>
                <a:gd name="connsiteY2476" fmla="*/ 7821 h 10000"/>
                <a:gd name="connsiteX2477" fmla="*/ 272 w 10785"/>
                <a:gd name="connsiteY2477" fmla="*/ 7821 h 10000"/>
                <a:gd name="connsiteX2478" fmla="*/ 267 w 10785"/>
                <a:gd name="connsiteY2478" fmla="*/ 7838 h 10000"/>
                <a:gd name="connsiteX2479" fmla="*/ 258 w 10785"/>
                <a:gd name="connsiteY2479" fmla="*/ 7846 h 10000"/>
                <a:gd name="connsiteX2480" fmla="*/ 253 w 10785"/>
                <a:gd name="connsiteY2480" fmla="*/ 7863 h 10000"/>
                <a:gd name="connsiteX2481" fmla="*/ 253 w 10785"/>
                <a:gd name="connsiteY2481" fmla="*/ 7872 h 10000"/>
                <a:gd name="connsiteX2482" fmla="*/ 267 w 10785"/>
                <a:gd name="connsiteY2482" fmla="*/ 7897 h 10000"/>
                <a:gd name="connsiteX2483" fmla="*/ 272 w 10785"/>
                <a:gd name="connsiteY2483" fmla="*/ 7915 h 10000"/>
                <a:gd name="connsiteX2484" fmla="*/ 267 w 10785"/>
                <a:gd name="connsiteY2484" fmla="*/ 7940 h 10000"/>
                <a:gd name="connsiteX2485" fmla="*/ 272 w 10785"/>
                <a:gd name="connsiteY2485" fmla="*/ 7949 h 10000"/>
                <a:gd name="connsiteX2486" fmla="*/ 272 w 10785"/>
                <a:gd name="connsiteY2486" fmla="*/ 7957 h 10000"/>
                <a:gd name="connsiteX2487" fmla="*/ 281 w 10785"/>
                <a:gd name="connsiteY2487" fmla="*/ 7974 h 10000"/>
                <a:gd name="connsiteX2488" fmla="*/ 286 w 10785"/>
                <a:gd name="connsiteY2488" fmla="*/ 7983 h 10000"/>
                <a:gd name="connsiteX2489" fmla="*/ 281 w 10785"/>
                <a:gd name="connsiteY2489" fmla="*/ 8009 h 10000"/>
                <a:gd name="connsiteX2490" fmla="*/ 286 w 10785"/>
                <a:gd name="connsiteY2490" fmla="*/ 8060 h 10000"/>
                <a:gd name="connsiteX2491" fmla="*/ 286 w 10785"/>
                <a:gd name="connsiteY2491" fmla="*/ 8060 h 10000"/>
                <a:gd name="connsiteX2492" fmla="*/ 295 w 10785"/>
                <a:gd name="connsiteY2492" fmla="*/ 8077 h 10000"/>
                <a:gd name="connsiteX2493" fmla="*/ 309 w 10785"/>
                <a:gd name="connsiteY2493" fmla="*/ 8077 h 10000"/>
                <a:gd name="connsiteX2494" fmla="*/ 313 w 10785"/>
                <a:gd name="connsiteY2494" fmla="*/ 8060 h 10000"/>
                <a:gd name="connsiteX2495" fmla="*/ 318 w 10785"/>
                <a:gd name="connsiteY2495" fmla="*/ 8051 h 10000"/>
                <a:gd name="connsiteX2496" fmla="*/ 318 w 10785"/>
                <a:gd name="connsiteY2496" fmla="*/ 8034 h 10000"/>
                <a:gd name="connsiteX2497" fmla="*/ 332 w 10785"/>
                <a:gd name="connsiteY2497" fmla="*/ 8026 h 10000"/>
                <a:gd name="connsiteX2498" fmla="*/ 359 w 10785"/>
                <a:gd name="connsiteY2498" fmla="*/ 8034 h 10000"/>
                <a:gd name="connsiteX2499" fmla="*/ 378 w 10785"/>
                <a:gd name="connsiteY2499" fmla="*/ 8026 h 10000"/>
                <a:gd name="connsiteX2500" fmla="*/ 401 w 10785"/>
                <a:gd name="connsiteY2500" fmla="*/ 8026 h 10000"/>
                <a:gd name="connsiteX2501" fmla="*/ 419 w 10785"/>
                <a:gd name="connsiteY2501" fmla="*/ 8009 h 10000"/>
                <a:gd name="connsiteX2502" fmla="*/ 433 w 10785"/>
                <a:gd name="connsiteY2502" fmla="*/ 8034 h 10000"/>
                <a:gd name="connsiteX2503" fmla="*/ 442 w 10785"/>
                <a:gd name="connsiteY2503" fmla="*/ 8060 h 10000"/>
                <a:gd name="connsiteX2504" fmla="*/ 442 w 10785"/>
                <a:gd name="connsiteY2504" fmla="*/ 8077 h 10000"/>
                <a:gd name="connsiteX2505" fmla="*/ 461 w 10785"/>
                <a:gd name="connsiteY2505" fmla="*/ 8111 h 10000"/>
                <a:gd name="connsiteX2506" fmla="*/ 461 w 10785"/>
                <a:gd name="connsiteY2506" fmla="*/ 8137 h 10000"/>
                <a:gd name="connsiteX2507" fmla="*/ 447 w 10785"/>
                <a:gd name="connsiteY2507" fmla="*/ 8145 h 10000"/>
                <a:gd name="connsiteX2508" fmla="*/ 442 w 10785"/>
                <a:gd name="connsiteY2508" fmla="*/ 8145 h 10000"/>
                <a:gd name="connsiteX2509" fmla="*/ 442 w 10785"/>
                <a:gd name="connsiteY2509" fmla="*/ 8162 h 10000"/>
                <a:gd name="connsiteX2510" fmla="*/ 442 w 10785"/>
                <a:gd name="connsiteY2510" fmla="*/ 8171 h 10000"/>
                <a:gd name="connsiteX2511" fmla="*/ 447 w 10785"/>
                <a:gd name="connsiteY2511" fmla="*/ 8214 h 10000"/>
                <a:gd name="connsiteX2512" fmla="*/ 465 w 10785"/>
                <a:gd name="connsiteY2512" fmla="*/ 8231 h 10000"/>
                <a:gd name="connsiteX2513" fmla="*/ 488 w 10785"/>
                <a:gd name="connsiteY2513" fmla="*/ 8231 h 10000"/>
                <a:gd name="connsiteX2514" fmla="*/ 493 w 10785"/>
                <a:gd name="connsiteY2514" fmla="*/ 8231 h 10000"/>
                <a:gd name="connsiteX2515" fmla="*/ 502 w 10785"/>
                <a:gd name="connsiteY2515" fmla="*/ 8231 h 10000"/>
                <a:gd name="connsiteX2516" fmla="*/ 507 w 10785"/>
                <a:gd name="connsiteY2516" fmla="*/ 8248 h 10000"/>
                <a:gd name="connsiteX2517" fmla="*/ 521 w 10785"/>
                <a:gd name="connsiteY2517" fmla="*/ 8274 h 10000"/>
                <a:gd name="connsiteX2518" fmla="*/ 525 w 10785"/>
                <a:gd name="connsiteY2518" fmla="*/ 8333 h 10000"/>
                <a:gd name="connsiteX2519" fmla="*/ 525 w 10785"/>
                <a:gd name="connsiteY2519" fmla="*/ 8359 h 10000"/>
                <a:gd name="connsiteX2520" fmla="*/ 525 w 10785"/>
                <a:gd name="connsiteY2520" fmla="*/ 8368 h 10000"/>
                <a:gd name="connsiteX2521" fmla="*/ 548 w 10785"/>
                <a:gd name="connsiteY2521" fmla="*/ 8393 h 10000"/>
                <a:gd name="connsiteX2522" fmla="*/ 553 w 10785"/>
                <a:gd name="connsiteY2522" fmla="*/ 8385 h 10000"/>
                <a:gd name="connsiteX2523" fmla="*/ 562 w 10785"/>
                <a:gd name="connsiteY2523" fmla="*/ 8385 h 10000"/>
                <a:gd name="connsiteX2524" fmla="*/ 576 w 10785"/>
                <a:gd name="connsiteY2524" fmla="*/ 8385 h 10000"/>
                <a:gd name="connsiteX2525" fmla="*/ 585 w 10785"/>
                <a:gd name="connsiteY2525" fmla="*/ 8410 h 10000"/>
                <a:gd name="connsiteX2526" fmla="*/ 594 w 10785"/>
                <a:gd name="connsiteY2526" fmla="*/ 8410 h 10000"/>
                <a:gd name="connsiteX2527" fmla="*/ 608 w 10785"/>
                <a:gd name="connsiteY2527" fmla="*/ 8410 h 10000"/>
                <a:gd name="connsiteX2528" fmla="*/ 654 w 10785"/>
                <a:gd name="connsiteY2528" fmla="*/ 8385 h 10000"/>
                <a:gd name="connsiteX2529" fmla="*/ 659 w 10785"/>
                <a:gd name="connsiteY2529" fmla="*/ 8385 h 10000"/>
                <a:gd name="connsiteX2530" fmla="*/ 696 w 10785"/>
                <a:gd name="connsiteY2530" fmla="*/ 8470 h 10000"/>
                <a:gd name="connsiteX2531" fmla="*/ 700 w 10785"/>
                <a:gd name="connsiteY2531" fmla="*/ 8470 h 10000"/>
                <a:gd name="connsiteX2532" fmla="*/ 710 w 10785"/>
                <a:gd name="connsiteY2532" fmla="*/ 8462 h 10000"/>
                <a:gd name="connsiteX2533" fmla="*/ 714 w 10785"/>
                <a:gd name="connsiteY2533" fmla="*/ 8462 h 10000"/>
                <a:gd name="connsiteX2534" fmla="*/ 724 w 10785"/>
                <a:gd name="connsiteY2534" fmla="*/ 8470 h 10000"/>
                <a:gd name="connsiteX2535" fmla="*/ 733 w 10785"/>
                <a:gd name="connsiteY2535" fmla="*/ 8470 h 10000"/>
                <a:gd name="connsiteX2536" fmla="*/ 742 w 10785"/>
                <a:gd name="connsiteY2536" fmla="*/ 8487 h 10000"/>
                <a:gd name="connsiteX2537" fmla="*/ 747 w 10785"/>
                <a:gd name="connsiteY2537" fmla="*/ 8496 h 10000"/>
                <a:gd name="connsiteX2538" fmla="*/ 770 w 10785"/>
                <a:gd name="connsiteY2538" fmla="*/ 8496 h 10000"/>
                <a:gd name="connsiteX2539" fmla="*/ 783 w 10785"/>
                <a:gd name="connsiteY2539" fmla="*/ 8521 h 10000"/>
                <a:gd name="connsiteX2540" fmla="*/ 797 w 10785"/>
                <a:gd name="connsiteY2540" fmla="*/ 8521 h 10000"/>
                <a:gd name="connsiteX2541" fmla="*/ 806 w 10785"/>
                <a:gd name="connsiteY2541" fmla="*/ 8530 h 10000"/>
                <a:gd name="connsiteX2542" fmla="*/ 829 w 10785"/>
                <a:gd name="connsiteY2542" fmla="*/ 8547 h 10000"/>
                <a:gd name="connsiteX2543" fmla="*/ 834 w 10785"/>
                <a:gd name="connsiteY2543" fmla="*/ 8556 h 10000"/>
                <a:gd name="connsiteX2544" fmla="*/ 829 w 10785"/>
                <a:gd name="connsiteY2544" fmla="*/ 8556 h 10000"/>
                <a:gd name="connsiteX2545" fmla="*/ 834 w 10785"/>
                <a:gd name="connsiteY2545" fmla="*/ 8607 h 10000"/>
                <a:gd name="connsiteX2546" fmla="*/ 829 w 10785"/>
                <a:gd name="connsiteY2546" fmla="*/ 8641 h 10000"/>
                <a:gd name="connsiteX2547" fmla="*/ 806 w 10785"/>
                <a:gd name="connsiteY2547" fmla="*/ 8658 h 10000"/>
                <a:gd name="connsiteX2548" fmla="*/ 816 w 10785"/>
                <a:gd name="connsiteY2548" fmla="*/ 8667 h 10000"/>
                <a:gd name="connsiteX2549" fmla="*/ 820 w 10785"/>
                <a:gd name="connsiteY2549" fmla="*/ 8667 h 10000"/>
                <a:gd name="connsiteX2550" fmla="*/ 829 w 10785"/>
                <a:gd name="connsiteY2550" fmla="*/ 8684 h 10000"/>
                <a:gd name="connsiteX2551" fmla="*/ 806 w 10785"/>
                <a:gd name="connsiteY2551" fmla="*/ 8692 h 10000"/>
                <a:gd name="connsiteX2552" fmla="*/ 802 w 10785"/>
                <a:gd name="connsiteY2552" fmla="*/ 8709 h 10000"/>
                <a:gd name="connsiteX2553" fmla="*/ 802 w 10785"/>
                <a:gd name="connsiteY2553" fmla="*/ 8735 h 10000"/>
                <a:gd name="connsiteX2554" fmla="*/ 806 w 10785"/>
                <a:gd name="connsiteY2554" fmla="*/ 8744 h 10000"/>
                <a:gd name="connsiteX2555" fmla="*/ 816 w 10785"/>
                <a:gd name="connsiteY2555" fmla="*/ 8752 h 10000"/>
                <a:gd name="connsiteX2556" fmla="*/ 806 w 10785"/>
                <a:gd name="connsiteY2556" fmla="*/ 8778 h 10000"/>
                <a:gd name="connsiteX2557" fmla="*/ 820 w 10785"/>
                <a:gd name="connsiteY2557" fmla="*/ 8778 h 10000"/>
                <a:gd name="connsiteX2558" fmla="*/ 806 w 10785"/>
                <a:gd name="connsiteY2558" fmla="*/ 8880 h 10000"/>
                <a:gd name="connsiteX2559" fmla="*/ 797 w 10785"/>
                <a:gd name="connsiteY2559" fmla="*/ 8880 h 10000"/>
                <a:gd name="connsiteX2560" fmla="*/ 783 w 10785"/>
                <a:gd name="connsiteY2560" fmla="*/ 8872 h 10000"/>
                <a:gd name="connsiteX2561" fmla="*/ 770 w 10785"/>
                <a:gd name="connsiteY2561" fmla="*/ 8880 h 10000"/>
                <a:gd name="connsiteX2562" fmla="*/ 756 w 10785"/>
                <a:gd name="connsiteY2562" fmla="*/ 8855 h 10000"/>
                <a:gd name="connsiteX2563" fmla="*/ 733 w 10785"/>
                <a:gd name="connsiteY2563" fmla="*/ 8906 h 10000"/>
                <a:gd name="connsiteX2564" fmla="*/ 714 w 10785"/>
                <a:gd name="connsiteY2564" fmla="*/ 8915 h 10000"/>
                <a:gd name="connsiteX2565" fmla="*/ 710 w 10785"/>
                <a:gd name="connsiteY2565" fmla="*/ 8940 h 10000"/>
                <a:gd name="connsiteX2566" fmla="*/ 710 w 10785"/>
                <a:gd name="connsiteY2566" fmla="*/ 9009 h 10000"/>
                <a:gd name="connsiteX2567" fmla="*/ 728 w 10785"/>
                <a:gd name="connsiteY2567" fmla="*/ 8991 h 10000"/>
                <a:gd name="connsiteX2568" fmla="*/ 733 w 10785"/>
                <a:gd name="connsiteY2568" fmla="*/ 8991 h 10000"/>
                <a:gd name="connsiteX2569" fmla="*/ 747 w 10785"/>
                <a:gd name="connsiteY2569" fmla="*/ 8983 h 10000"/>
                <a:gd name="connsiteX2570" fmla="*/ 760 w 10785"/>
                <a:gd name="connsiteY2570" fmla="*/ 8983 h 10000"/>
                <a:gd name="connsiteX2571" fmla="*/ 770 w 10785"/>
                <a:gd name="connsiteY2571" fmla="*/ 8983 h 10000"/>
                <a:gd name="connsiteX2572" fmla="*/ 770 w 10785"/>
                <a:gd name="connsiteY2572" fmla="*/ 8991 h 10000"/>
                <a:gd name="connsiteX2573" fmla="*/ 783 w 10785"/>
                <a:gd name="connsiteY2573" fmla="*/ 8991 h 10000"/>
                <a:gd name="connsiteX2574" fmla="*/ 783 w 10785"/>
                <a:gd name="connsiteY2574" fmla="*/ 9009 h 10000"/>
                <a:gd name="connsiteX2575" fmla="*/ 783 w 10785"/>
                <a:gd name="connsiteY2575" fmla="*/ 9017 h 10000"/>
                <a:gd name="connsiteX2576" fmla="*/ 770 w 10785"/>
                <a:gd name="connsiteY2576" fmla="*/ 9017 h 10000"/>
                <a:gd name="connsiteX2577" fmla="*/ 724 w 10785"/>
                <a:gd name="connsiteY2577" fmla="*/ 9051 h 10000"/>
                <a:gd name="connsiteX2578" fmla="*/ 724 w 10785"/>
                <a:gd name="connsiteY2578" fmla="*/ 9068 h 10000"/>
                <a:gd name="connsiteX2579" fmla="*/ 728 w 10785"/>
                <a:gd name="connsiteY2579" fmla="*/ 9077 h 10000"/>
                <a:gd name="connsiteX2580" fmla="*/ 724 w 10785"/>
                <a:gd name="connsiteY2580" fmla="*/ 9077 h 10000"/>
                <a:gd name="connsiteX2581" fmla="*/ 710 w 10785"/>
                <a:gd name="connsiteY2581" fmla="*/ 9077 h 10000"/>
                <a:gd name="connsiteX2582" fmla="*/ 682 w 10785"/>
                <a:gd name="connsiteY2582" fmla="*/ 9077 h 10000"/>
                <a:gd name="connsiteX2583" fmla="*/ 673 w 10785"/>
                <a:gd name="connsiteY2583" fmla="*/ 9103 h 10000"/>
                <a:gd name="connsiteX2584" fmla="*/ 687 w 10785"/>
                <a:gd name="connsiteY2584" fmla="*/ 9128 h 10000"/>
                <a:gd name="connsiteX2585" fmla="*/ 700 w 10785"/>
                <a:gd name="connsiteY2585" fmla="*/ 9128 h 10000"/>
                <a:gd name="connsiteX2586" fmla="*/ 728 w 10785"/>
                <a:gd name="connsiteY2586" fmla="*/ 9179 h 10000"/>
                <a:gd name="connsiteX2587" fmla="*/ 724 w 10785"/>
                <a:gd name="connsiteY2587" fmla="*/ 9188 h 10000"/>
                <a:gd name="connsiteX2588" fmla="*/ 710 w 10785"/>
                <a:gd name="connsiteY2588" fmla="*/ 9179 h 10000"/>
                <a:gd name="connsiteX2589" fmla="*/ 700 w 10785"/>
                <a:gd name="connsiteY2589" fmla="*/ 9205 h 10000"/>
                <a:gd name="connsiteX2590" fmla="*/ 696 w 10785"/>
                <a:gd name="connsiteY2590" fmla="*/ 9205 h 10000"/>
                <a:gd name="connsiteX2591" fmla="*/ 654 w 10785"/>
                <a:gd name="connsiteY2591" fmla="*/ 9299 h 10000"/>
                <a:gd name="connsiteX2592" fmla="*/ 622 w 10785"/>
                <a:gd name="connsiteY2592" fmla="*/ 9299 h 10000"/>
                <a:gd name="connsiteX2593" fmla="*/ 613 w 10785"/>
                <a:gd name="connsiteY2593" fmla="*/ 9316 h 10000"/>
                <a:gd name="connsiteX2594" fmla="*/ 613 w 10785"/>
                <a:gd name="connsiteY2594" fmla="*/ 9325 h 10000"/>
                <a:gd name="connsiteX2595" fmla="*/ 608 w 10785"/>
                <a:gd name="connsiteY2595" fmla="*/ 9342 h 10000"/>
                <a:gd name="connsiteX2596" fmla="*/ 636 w 10785"/>
                <a:gd name="connsiteY2596" fmla="*/ 9376 h 10000"/>
                <a:gd name="connsiteX2597" fmla="*/ 641 w 10785"/>
                <a:gd name="connsiteY2597" fmla="*/ 9402 h 10000"/>
                <a:gd name="connsiteX2598" fmla="*/ 654 w 10785"/>
                <a:gd name="connsiteY2598" fmla="*/ 9427 h 10000"/>
                <a:gd name="connsiteX2599" fmla="*/ 668 w 10785"/>
                <a:gd name="connsiteY2599" fmla="*/ 9427 h 10000"/>
                <a:gd name="connsiteX2600" fmla="*/ 668 w 10785"/>
                <a:gd name="connsiteY2600" fmla="*/ 9427 h 10000"/>
                <a:gd name="connsiteX2601" fmla="*/ 774 w 10785"/>
                <a:gd name="connsiteY2601" fmla="*/ 9547 h 10000"/>
                <a:gd name="connsiteX2602" fmla="*/ 797 w 10785"/>
                <a:gd name="connsiteY2602" fmla="*/ 9598 h 10000"/>
                <a:gd name="connsiteX2603" fmla="*/ 802 w 10785"/>
                <a:gd name="connsiteY2603" fmla="*/ 9598 h 10000"/>
                <a:gd name="connsiteX2604" fmla="*/ 816 w 10785"/>
                <a:gd name="connsiteY2604" fmla="*/ 9624 h 10000"/>
                <a:gd name="connsiteX2605" fmla="*/ 843 w 10785"/>
                <a:gd name="connsiteY2605" fmla="*/ 9615 h 10000"/>
                <a:gd name="connsiteX2606" fmla="*/ 857 w 10785"/>
                <a:gd name="connsiteY2606" fmla="*/ 9624 h 10000"/>
                <a:gd name="connsiteX2607" fmla="*/ 862 w 10785"/>
                <a:gd name="connsiteY2607" fmla="*/ 9615 h 10000"/>
                <a:gd name="connsiteX2608" fmla="*/ 880 w 10785"/>
                <a:gd name="connsiteY2608" fmla="*/ 9624 h 10000"/>
                <a:gd name="connsiteX2609" fmla="*/ 889 w 10785"/>
                <a:gd name="connsiteY2609" fmla="*/ 9641 h 10000"/>
                <a:gd name="connsiteX2610" fmla="*/ 935 w 10785"/>
                <a:gd name="connsiteY2610" fmla="*/ 9675 h 10000"/>
                <a:gd name="connsiteX2611" fmla="*/ 977 w 10785"/>
                <a:gd name="connsiteY2611" fmla="*/ 9667 h 10000"/>
                <a:gd name="connsiteX2612" fmla="*/ 995 w 10785"/>
                <a:gd name="connsiteY2612" fmla="*/ 9675 h 10000"/>
                <a:gd name="connsiteX2613" fmla="*/ 1014 w 10785"/>
                <a:gd name="connsiteY2613" fmla="*/ 9675 h 10000"/>
                <a:gd name="connsiteX2614" fmla="*/ 1069 w 10785"/>
                <a:gd name="connsiteY2614" fmla="*/ 9752 h 10000"/>
                <a:gd name="connsiteX2615" fmla="*/ 1074 w 10785"/>
                <a:gd name="connsiteY2615" fmla="*/ 9761 h 10000"/>
                <a:gd name="connsiteX2616" fmla="*/ 1083 w 10785"/>
                <a:gd name="connsiteY2616" fmla="*/ 9778 h 10000"/>
                <a:gd name="connsiteX2617" fmla="*/ 1115 w 10785"/>
                <a:gd name="connsiteY2617" fmla="*/ 9752 h 10000"/>
                <a:gd name="connsiteX2618" fmla="*/ 1129 w 10785"/>
                <a:gd name="connsiteY2618" fmla="*/ 9752 h 10000"/>
                <a:gd name="connsiteX2619" fmla="*/ 1138 w 10785"/>
                <a:gd name="connsiteY2619" fmla="*/ 9761 h 10000"/>
                <a:gd name="connsiteX2620" fmla="*/ 1143 w 10785"/>
                <a:gd name="connsiteY2620" fmla="*/ 9752 h 10000"/>
                <a:gd name="connsiteX2621" fmla="*/ 1161 w 10785"/>
                <a:gd name="connsiteY2621" fmla="*/ 9761 h 10000"/>
                <a:gd name="connsiteX2622" fmla="*/ 1171 w 10785"/>
                <a:gd name="connsiteY2622" fmla="*/ 9778 h 10000"/>
                <a:gd name="connsiteX2623" fmla="*/ 1175 w 10785"/>
                <a:gd name="connsiteY2623" fmla="*/ 9778 h 10000"/>
                <a:gd name="connsiteX2624" fmla="*/ 1189 w 10785"/>
                <a:gd name="connsiteY2624" fmla="*/ 9778 h 10000"/>
                <a:gd name="connsiteX2625" fmla="*/ 1198 w 10785"/>
                <a:gd name="connsiteY2625" fmla="*/ 9786 h 10000"/>
                <a:gd name="connsiteX2626" fmla="*/ 1203 w 10785"/>
                <a:gd name="connsiteY2626" fmla="*/ 9803 h 10000"/>
                <a:gd name="connsiteX2627" fmla="*/ 1198 w 10785"/>
                <a:gd name="connsiteY2627" fmla="*/ 9838 h 10000"/>
                <a:gd name="connsiteX2628" fmla="*/ 1212 w 10785"/>
                <a:gd name="connsiteY2628" fmla="*/ 9863 h 10000"/>
                <a:gd name="connsiteX2629" fmla="*/ 1230 w 10785"/>
                <a:gd name="connsiteY2629" fmla="*/ 9872 h 10000"/>
                <a:gd name="connsiteX2630" fmla="*/ 1249 w 10785"/>
                <a:gd name="connsiteY2630" fmla="*/ 9897 h 10000"/>
                <a:gd name="connsiteX2631" fmla="*/ 1263 w 10785"/>
                <a:gd name="connsiteY2631" fmla="*/ 9897 h 10000"/>
                <a:gd name="connsiteX2632" fmla="*/ 1276 w 10785"/>
                <a:gd name="connsiteY2632" fmla="*/ 9923 h 10000"/>
                <a:gd name="connsiteX2633" fmla="*/ 1281 w 10785"/>
                <a:gd name="connsiteY2633" fmla="*/ 9949 h 10000"/>
                <a:gd name="connsiteX2634" fmla="*/ 1290 w 10785"/>
                <a:gd name="connsiteY2634" fmla="*/ 9949 h 10000"/>
                <a:gd name="connsiteX2635" fmla="*/ 1295 w 10785"/>
                <a:gd name="connsiteY2635" fmla="*/ 10000 h 10000"/>
                <a:gd name="connsiteX2636" fmla="*/ 1332 w 10785"/>
                <a:gd name="connsiteY2636" fmla="*/ 10000 h 10000"/>
                <a:gd name="connsiteX2637" fmla="*/ 1336 w 10785"/>
                <a:gd name="connsiteY2637" fmla="*/ 10000 h 10000"/>
                <a:gd name="connsiteX2638" fmla="*/ 1346 w 10785"/>
                <a:gd name="connsiteY2638" fmla="*/ 9983 h 10000"/>
                <a:gd name="connsiteX2639" fmla="*/ 1350 w 10785"/>
                <a:gd name="connsiteY2639" fmla="*/ 9949 h 10000"/>
                <a:gd name="connsiteX2640" fmla="*/ 1369 w 10785"/>
                <a:gd name="connsiteY2640" fmla="*/ 9940 h 10000"/>
                <a:gd name="connsiteX2641" fmla="*/ 1378 w 10785"/>
                <a:gd name="connsiteY2641" fmla="*/ 9897 h 10000"/>
                <a:gd name="connsiteX2642" fmla="*/ 1369 w 10785"/>
                <a:gd name="connsiteY2642" fmla="*/ 9889 h 10000"/>
                <a:gd name="connsiteX2643" fmla="*/ 1318 w 10785"/>
                <a:gd name="connsiteY2643" fmla="*/ 9701 h 10000"/>
                <a:gd name="connsiteX2644" fmla="*/ 1318 w 10785"/>
                <a:gd name="connsiteY2644" fmla="*/ 9650 h 10000"/>
                <a:gd name="connsiteX2645" fmla="*/ 1323 w 10785"/>
                <a:gd name="connsiteY2645" fmla="*/ 9590 h 10000"/>
                <a:gd name="connsiteX2646" fmla="*/ 1323 w 10785"/>
                <a:gd name="connsiteY2646" fmla="*/ 9564 h 10000"/>
                <a:gd name="connsiteX2647" fmla="*/ 1309 w 10785"/>
                <a:gd name="connsiteY2647" fmla="*/ 9598 h 10000"/>
                <a:gd name="connsiteX2648" fmla="*/ 1309 w 10785"/>
                <a:gd name="connsiteY2648" fmla="*/ 9590 h 10000"/>
                <a:gd name="connsiteX2649" fmla="*/ 1304 w 10785"/>
                <a:gd name="connsiteY2649" fmla="*/ 9547 h 10000"/>
                <a:gd name="connsiteX2650" fmla="*/ 1276 w 10785"/>
                <a:gd name="connsiteY2650" fmla="*/ 9479 h 10000"/>
                <a:gd name="connsiteX2651" fmla="*/ 1263 w 10785"/>
                <a:gd name="connsiteY2651" fmla="*/ 9479 h 10000"/>
                <a:gd name="connsiteX2652" fmla="*/ 1263 w 10785"/>
                <a:gd name="connsiteY2652" fmla="*/ 9453 h 10000"/>
                <a:gd name="connsiteX2653" fmla="*/ 1272 w 10785"/>
                <a:gd name="connsiteY2653" fmla="*/ 9410 h 10000"/>
                <a:gd name="connsiteX2654" fmla="*/ 1272 w 10785"/>
                <a:gd name="connsiteY2654" fmla="*/ 9393 h 10000"/>
                <a:gd name="connsiteX2655" fmla="*/ 1281 w 10785"/>
                <a:gd name="connsiteY2655" fmla="*/ 9368 h 10000"/>
                <a:gd name="connsiteX2656" fmla="*/ 1281 w 10785"/>
                <a:gd name="connsiteY2656" fmla="*/ 9368 h 10000"/>
                <a:gd name="connsiteX2657" fmla="*/ 1290 w 10785"/>
                <a:gd name="connsiteY2657" fmla="*/ 9368 h 10000"/>
                <a:gd name="connsiteX2658" fmla="*/ 1290 w 10785"/>
                <a:gd name="connsiteY2658" fmla="*/ 9342 h 10000"/>
                <a:gd name="connsiteX2659" fmla="*/ 1304 w 10785"/>
                <a:gd name="connsiteY2659" fmla="*/ 9325 h 10000"/>
                <a:gd name="connsiteX2660" fmla="*/ 1309 w 10785"/>
                <a:gd name="connsiteY2660" fmla="*/ 9239 h 10000"/>
                <a:gd name="connsiteX2661" fmla="*/ 1318 w 10785"/>
                <a:gd name="connsiteY2661" fmla="*/ 9256 h 10000"/>
                <a:gd name="connsiteX2662" fmla="*/ 1323 w 10785"/>
                <a:gd name="connsiteY2662" fmla="*/ 9179 h 10000"/>
                <a:gd name="connsiteX2663" fmla="*/ 1309 w 10785"/>
                <a:gd name="connsiteY2663" fmla="*/ 9145 h 10000"/>
                <a:gd name="connsiteX2664" fmla="*/ 1336 w 10785"/>
                <a:gd name="connsiteY2664" fmla="*/ 9154 h 10000"/>
                <a:gd name="connsiteX2665" fmla="*/ 1336 w 10785"/>
                <a:gd name="connsiteY2665" fmla="*/ 9162 h 10000"/>
                <a:gd name="connsiteX2666" fmla="*/ 1350 w 10785"/>
                <a:gd name="connsiteY2666" fmla="*/ 9231 h 10000"/>
                <a:gd name="connsiteX2667" fmla="*/ 1355 w 10785"/>
                <a:gd name="connsiteY2667" fmla="*/ 9231 h 10000"/>
                <a:gd name="connsiteX2668" fmla="*/ 1364 w 10785"/>
                <a:gd name="connsiteY2668" fmla="*/ 9214 h 10000"/>
                <a:gd name="connsiteX2669" fmla="*/ 1369 w 10785"/>
                <a:gd name="connsiteY2669" fmla="*/ 9214 h 10000"/>
                <a:gd name="connsiteX2670" fmla="*/ 1382 w 10785"/>
                <a:gd name="connsiteY2670" fmla="*/ 9154 h 10000"/>
                <a:gd name="connsiteX2671" fmla="*/ 1396 w 10785"/>
                <a:gd name="connsiteY2671" fmla="*/ 9154 h 10000"/>
                <a:gd name="connsiteX2672" fmla="*/ 1382 w 10785"/>
                <a:gd name="connsiteY2672" fmla="*/ 9145 h 10000"/>
                <a:gd name="connsiteX2673" fmla="*/ 1382 w 10785"/>
                <a:gd name="connsiteY2673" fmla="*/ 9128 h 10000"/>
                <a:gd name="connsiteX2674" fmla="*/ 1369 w 10785"/>
                <a:gd name="connsiteY2674" fmla="*/ 9128 h 10000"/>
                <a:gd name="connsiteX2675" fmla="*/ 1364 w 10785"/>
                <a:gd name="connsiteY2675" fmla="*/ 9128 h 10000"/>
                <a:gd name="connsiteX2676" fmla="*/ 1355 w 10785"/>
                <a:gd name="connsiteY2676" fmla="*/ 9120 h 10000"/>
                <a:gd name="connsiteX2677" fmla="*/ 1350 w 10785"/>
                <a:gd name="connsiteY2677" fmla="*/ 9103 h 10000"/>
                <a:gd name="connsiteX2678" fmla="*/ 1355 w 10785"/>
                <a:gd name="connsiteY2678" fmla="*/ 9094 h 10000"/>
                <a:gd name="connsiteX2679" fmla="*/ 1355 w 10785"/>
                <a:gd name="connsiteY2679" fmla="*/ 9068 h 10000"/>
                <a:gd name="connsiteX2680" fmla="*/ 1369 w 10785"/>
                <a:gd name="connsiteY2680" fmla="*/ 9068 h 10000"/>
                <a:gd name="connsiteX2681" fmla="*/ 1378 w 10785"/>
                <a:gd name="connsiteY2681" fmla="*/ 9077 h 10000"/>
                <a:gd name="connsiteX2682" fmla="*/ 1396 w 10785"/>
                <a:gd name="connsiteY2682" fmla="*/ 9068 h 10000"/>
                <a:gd name="connsiteX2683" fmla="*/ 1382 w 10785"/>
                <a:gd name="connsiteY2683" fmla="*/ 8940 h 10000"/>
                <a:gd name="connsiteX2684" fmla="*/ 1378 w 10785"/>
                <a:gd name="connsiteY2684" fmla="*/ 8940 h 10000"/>
                <a:gd name="connsiteX2685" fmla="*/ 1364 w 10785"/>
                <a:gd name="connsiteY2685" fmla="*/ 8889 h 10000"/>
                <a:gd name="connsiteX2686" fmla="*/ 1355 w 10785"/>
                <a:gd name="connsiteY2686" fmla="*/ 8880 h 10000"/>
                <a:gd name="connsiteX2687" fmla="*/ 1323 w 10785"/>
                <a:gd name="connsiteY2687" fmla="*/ 8880 h 10000"/>
                <a:gd name="connsiteX2688" fmla="*/ 1309 w 10785"/>
                <a:gd name="connsiteY2688" fmla="*/ 8880 h 10000"/>
                <a:gd name="connsiteX2689" fmla="*/ 1309 w 10785"/>
                <a:gd name="connsiteY2689" fmla="*/ 8889 h 10000"/>
                <a:gd name="connsiteX2690" fmla="*/ 1295 w 10785"/>
                <a:gd name="connsiteY2690" fmla="*/ 8872 h 10000"/>
                <a:gd name="connsiteX2691" fmla="*/ 1290 w 10785"/>
                <a:gd name="connsiteY2691" fmla="*/ 8855 h 10000"/>
                <a:gd name="connsiteX2692" fmla="*/ 1290 w 10785"/>
                <a:gd name="connsiteY2692" fmla="*/ 8829 h 10000"/>
                <a:gd name="connsiteX2693" fmla="*/ 1290 w 10785"/>
                <a:gd name="connsiteY2693" fmla="*/ 8821 h 10000"/>
                <a:gd name="connsiteX2694" fmla="*/ 1290 w 10785"/>
                <a:gd name="connsiteY2694" fmla="*/ 8803 h 10000"/>
                <a:gd name="connsiteX2695" fmla="*/ 1281 w 10785"/>
                <a:gd name="connsiteY2695" fmla="*/ 8795 h 10000"/>
                <a:gd name="connsiteX2696" fmla="*/ 1249 w 10785"/>
                <a:gd name="connsiteY2696" fmla="*/ 8769 h 10000"/>
                <a:gd name="connsiteX2697" fmla="*/ 1263 w 10785"/>
                <a:gd name="connsiteY2697" fmla="*/ 8667 h 10000"/>
                <a:gd name="connsiteX2698" fmla="*/ 1281 w 10785"/>
                <a:gd name="connsiteY2698" fmla="*/ 8658 h 10000"/>
                <a:gd name="connsiteX2699" fmla="*/ 1290 w 10785"/>
                <a:gd name="connsiteY2699" fmla="*/ 8632 h 10000"/>
                <a:gd name="connsiteX2700" fmla="*/ 1281 w 10785"/>
                <a:gd name="connsiteY2700" fmla="*/ 8615 h 10000"/>
                <a:gd name="connsiteX2701" fmla="*/ 1272 w 10785"/>
                <a:gd name="connsiteY2701" fmla="*/ 8598 h 10000"/>
                <a:gd name="connsiteX2702" fmla="*/ 1281 w 10785"/>
                <a:gd name="connsiteY2702" fmla="*/ 8496 h 10000"/>
                <a:gd name="connsiteX2703" fmla="*/ 1295 w 10785"/>
                <a:gd name="connsiteY2703" fmla="*/ 8470 h 10000"/>
                <a:gd name="connsiteX2704" fmla="*/ 1304 w 10785"/>
                <a:gd name="connsiteY2704" fmla="*/ 8462 h 10000"/>
                <a:gd name="connsiteX2705" fmla="*/ 1304 w 10785"/>
                <a:gd name="connsiteY2705" fmla="*/ 8444 h 10000"/>
                <a:gd name="connsiteX2706" fmla="*/ 1304 w 10785"/>
                <a:gd name="connsiteY2706" fmla="*/ 8419 h 10000"/>
                <a:gd name="connsiteX2707" fmla="*/ 1304 w 10785"/>
                <a:gd name="connsiteY2707" fmla="*/ 8410 h 10000"/>
                <a:gd name="connsiteX2708" fmla="*/ 1309 w 10785"/>
                <a:gd name="connsiteY2708" fmla="*/ 8393 h 10000"/>
                <a:gd name="connsiteX2709" fmla="*/ 1318 w 10785"/>
                <a:gd name="connsiteY2709" fmla="*/ 8385 h 10000"/>
                <a:gd name="connsiteX2710" fmla="*/ 1323 w 10785"/>
                <a:gd name="connsiteY2710" fmla="*/ 8385 h 10000"/>
                <a:gd name="connsiteX2711" fmla="*/ 1332 w 10785"/>
                <a:gd name="connsiteY2711" fmla="*/ 8410 h 10000"/>
                <a:gd name="connsiteX2712" fmla="*/ 1346 w 10785"/>
                <a:gd name="connsiteY2712" fmla="*/ 8419 h 10000"/>
                <a:gd name="connsiteX2713" fmla="*/ 1364 w 10785"/>
                <a:gd name="connsiteY2713" fmla="*/ 8504 h 10000"/>
                <a:gd name="connsiteX2714" fmla="*/ 1369 w 10785"/>
                <a:gd name="connsiteY2714" fmla="*/ 8521 h 10000"/>
                <a:gd name="connsiteX2715" fmla="*/ 1406 w 10785"/>
                <a:gd name="connsiteY2715" fmla="*/ 8470 h 10000"/>
                <a:gd name="connsiteX2716" fmla="*/ 1382 w 10785"/>
                <a:gd name="connsiteY2716" fmla="*/ 8359 h 10000"/>
                <a:gd name="connsiteX2717" fmla="*/ 1392 w 10785"/>
                <a:gd name="connsiteY2717" fmla="*/ 8359 h 10000"/>
                <a:gd name="connsiteX2718" fmla="*/ 1438 w 10785"/>
                <a:gd name="connsiteY2718" fmla="*/ 8308 h 10000"/>
                <a:gd name="connsiteX2719" fmla="*/ 1442 w 10785"/>
                <a:gd name="connsiteY2719" fmla="*/ 8299 h 10000"/>
                <a:gd name="connsiteX2720" fmla="*/ 1442 w 10785"/>
                <a:gd name="connsiteY2720" fmla="*/ 8256 h 10000"/>
                <a:gd name="connsiteX2721" fmla="*/ 1452 w 10785"/>
                <a:gd name="connsiteY2721" fmla="*/ 8256 h 10000"/>
                <a:gd name="connsiteX2722" fmla="*/ 1456 w 10785"/>
                <a:gd name="connsiteY2722" fmla="*/ 8256 h 10000"/>
                <a:gd name="connsiteX2723" fmla="*/ 1470 w 10785"/>
                <a:gd name="connsiteY2723" fmla="*/ 8248 h 10000"/>
                <a:gd name="connsiteX2724" fmla="*/ 1479 w 10785"/>
                <a:gd name="connsiteY2724" fmla="*/ 8231 h 10000"/>
                <a:gd name="connsiteX2725" fmla="*/ 1493 w 10785"/>
                <a:gd name="connsiteY2725" fmla="*/ 8222 h 10000"/>
                <a:gd name="connsiteX2726" fmla="*/ 1498 w 10785"/>
                <a:gd name="connsiteY2726" fmla="*/ 8214 h 10000"/>
                <a:gd name="connsiteX2727" fmla="*/ 1502 w 10785"/>
                <a:gd name="connsiteY2727" fmla="*/ 8197 h 10000"/>
                <a:gd name="connsiteX2728" fmla="*/ 1512 w 10785"/>
                <a:gd name="connsiteY2728" fmla="*/ 8188 h 10000"/>
                <a:gd name="connsiteX2729" fmla="*/ 1516 w 10785"/>
                <a:gd name="connsiteY2729" fmla="*/ 8171 h 10000"/>
                <a:gd name="connsiteX2730" fmla="*/ 1525 w 10785"/>
                <a:gd name="connsiteY2730" fmla="*/ 8162 h 10000"/>
                <a:gd name="connsiteX2731" fmla="*/ 1539 w 10785"/>
                <a:gd name="connsiteY2731" fmla="*/ 8145 h 10000"/>
                <a:gd name="connsiteX2732" fmla="*/ 1558 w 10785"/>
                <a:gd name="connsiteY2732" fmla="*/ 8145 h 10000"/>
                <a:gd name="connsiteX2733" fmla="*/ 1562 w 10785"/>
                <a:gd name="connsiteY2733" fmla="*/ 8188 h 10000"/>
                <a:gd name="connsiteX2734" fmla="*/ 1585 w 10785"/>
                <a:gd name="connsiteY2734" fmla="*/ 8171 h 10000"/>
                <a:gd name="connsiteX2735" fmla="*/ 1590 w 10785"/>
                <a:gd name="connsiteY2735" fmla="*/ 8188 h 10000"/>
                <a:gd name="connsiteX2736" fmla="*/ 1599 w 10785"/>
                <a:gd name="connsiteY2736" fmla="*/ 8171 h 10000"/>
                <a:gd name="connsiteX2737" fmla="*/ 1599 w 10785"/>
                <a:gd name="connsiteY2737" fmla="*/ 8162 h 10000"/>
                <a:gd name="connsiteX2738" fmla="*/ 1604 w 10785"/>
                <a:gd name="connsiteY2738" fmla="*/ 8137 h 10000"/>
                <a:gd name="connsiteX2739" fmla="*/ 1618 w 10785"/>
                <a:gd name="connsiteY2739" fmla="*/ 8145 h 10000"/>
                <a:gd name="connsiteX2740" fmla="*/ 1627 w 10785"/>
                <a:gd name="connsiteY2740" fmla="*/ 8137 h 10000"/>
                <a:gd name="connsiteX2741" fmla="*/ 1631 w 10785"/>
                <a:gd name="connsiteY2741" fmla="*/ 8137 h 10000"/>
                <a:gd name="connsiteX2742" fmla="*/ 1636 w 10785"/>
                <a:gd name="connsiteY2742" fmla="*/ 8171 h 10000"/>
                <a:gd name="connsiteX2743" fmla="*/ 1645 w 10785"/>
                <a:gd name="connsiteY2743" fmla="*/ 8188 h 10000"/>
                <a:gd name="connsiteX2744" fmla="*/ 1664 w 10785"/>
                <a:gd name="connsiteY2744" fmla="*/ 8171 h 10000"/>
                <a:gd name="connsiteX2745" fmla="*/ 1673 w 10785"/>
                <a:gd name="connsiteY2745" fmla="*/ 8188 h 10000"/>
                <a:gd name="connsiteX2746" fmla="*/ 1691 w 10785"/>
                <a:gd name="connsiteY2746" fmla="*/ 8171 h 10000"/>
                <a:gd name="connsiteX2747" fmla="*/ 1705 w 10785"/>
                <a:gd name="connsiteY2747" fmla="*/ 8171 h 10000"/>
                <a:gd name="connsiteX2748" fmla="*/ 1719 w 10785"/>
                <a:gd name="connsiteY2748" fmla="*/ 8197 h 10000"/>
                <a:gd name="connsiteX2749" fmla="*/ 1724 w 10785"/>
                <a:gd name="connsiteY2749" fmla="*/ 8231 h 10000"/>
                <a:gd name="connsiteX2750" fmla="*/ 1751 w 10785"/>
                <a:gd name="connsiteY2750" fmla="*/ 8256 h 10000"/>
                <a:gd name="connsiteX2751" fmla="*/ 1751 w 10785"/>
                <a:gd name="connsiteY2751" fmla="*/ 8274 h 10000"/>
                <a:gd name="connsiteX2752" fmla="*/ 1760 w 10785"/>
                <a:gd name="connsiteY2752" fmla="*/ 8282 h 10000"/>
                <a:gd name="connsiteX2753" fmla="*/ 1770 w 10785"/>
                <a:gd name="connsiteY2753" fmla="*/ 8325 h 10000"/>
                <a:gd name="connsiteX2754" fmla="*/ 1770 w 10785"/>
                <a:gd name="connsiteY2754" fmla="*/ 8350 h 10000"/>
                <a:gd name="connsiteX2755" fmla="*/ 1779 w 10785"/>
                <a:gd name="connsiteY2755" fmla="*/ 8368 h 10000"/>
                <a:gd name="connsiteX2756" fmla="*/ 1783 w 10785"/>
                <a:gd name="connsiteY2756" fmla="*/ 8359 h 10000"/>
                <a:gd name="connsiteX2757" fmla="*/ 1783 w 10785"/>
                <a:gd name="connsiteY2757" fmla="*/ 8308 h 10000"/>
                <a:gd name="connsiteX2758" fmla="*/ 1779 w 10785"/>
                <a:gd name="connsiteY2758" fmla="*/ 8299 h 10000"/>
                <a:gd name="connsiteX2759" fmla="*/ 1783 w 10785"/>
                <a:gd name="connsiteY2759" fmla="*/ 8282 h 10000"/>
                <a:gd name="connsiteX2760" fmla="*/ 1797 w 10785"/>
                <a:gd name="connsiteY2760" fmla="*/ 8274 h 10000"/>
                <a:gd name="connsiteX2761" fmla="*/ 1797 w 10785"/>
                <a:gd name="connsiteY2761" fmla="*/ 8299 h 10000"/>
                <a:gd name="connsiteX2762" fmla="*/ 1806 w 10785"/>
                <a:gd name="connsiteY2762" fmla="*/ 8308 h 10000"/>
                <a:gd name="connsiteX2763" fmla="*/ 1811 w 10785"/>
                <a:gd name="connsiteY2763" fmla="*/ 8325 h 10000"/>
                <a:gd name="connsiteX2764" fmla="*/ 1820 w 10785"/>
                <a:gd name="connsiteY2764" fmla="*/ 8333 h 10000"/>
                <a:gd name="connsiteX2765" fmla="*/ 1853 w 10785"/>
                <a:gd name="connsiteY2765" fmla="*/ 8359 h 10000"/>
                <a:gd name="connsiteX2766" fmla="*/ 1866 w 10785"/>
                <a:gd name="connsiteY2766" fmla="*/ 8359 h 10000"/>
                <a:gd name="connsiteX2767" fmla="*/ 1885 w 10785"/>
                <a:gd name="connsiteY2767" fmla="*/ 8325 h 10000"/>
                <a:gd name="connsiteX2768" fmla="*/ 1885 w 10785"/>
                <a:gd name="connsiteY2768" fmla="*/ 8308 h 10000"/>
                <a:gd name="connsiteX2769" fmla="*/ 1894 w 10785"/>
                <a:gd name="connsiteY2769" fmla="*/ 8299 h 10000"/>
                <a:gd name="connsiteX2770" fmla="*/ 1899 w 10785"/>
                <a:gd name="connsiteY2770" fmla="*/ 8282 h 10000"/>
                <a:gd name="connsiteX2771" fmla="*/ 1912 w 10785"/>
                <a:gd name="connsiteY2771" fmla="*/ 8282 h 10000"/>
                <a:gd name="connsiteX2772" fmla="*/ 1917 w 10785"/>
                <a:gd name="connsiteY2772" fmla="*/ 8299 h 10000"/>
                <a:gd name="connsiteX2773" fmla="*/ 1917 w 10785"/>
                <a:gd name="connsiteY2773" fmla="*/ 8274 h 10000"/>
                <a:gd name="connsiteX2774" fmla="*/ 1940 w 10785"/>
                <a:gd name="connsiteY2774" fmla="*/ 8282 h 10000"/>
                <a:gd name="connsiteX2775" fmla="*/ 1945 w 10785"/>
                <a:gd name="connsiteY2775" fmla="*/ 8274 h 10000"/>
                <a:gd name="connsiteX2776" fmla="*/ 1972 w 10785"/>
                <a:gd name="connsiteY2776" fmla="*/ 8308 h 10000"/>
                <a:gd name="connsiteX2777" fmla="*/ 1986 w 10785"/>
                <a:gd name="connsiteY2777" fmla="*/ 8282 h 10000"/>
                <a:gd name="connsiteX2778" fmla="*/ 1991 w 10785"/>
                <a:gd name="connsiteY2778" fmla="*/ 8274 h 10000"/>
                <a:gd name="connsiteX2779" fmla="*/ 2014 w 10785"/>
                <a:gd name="connsiteY2779" fmla="*/ 8274 h 10000"/>
                <a:gd name="connsiteX2780" fmla="*/ 2018 w 10785"/>
                <a:gd name="connsiteY2780" fmla="*/ 8256 h 10000"/>
                <a:gd name="connsiteX2781" fmla="*/ 2041 w 10785"/>
                <a:gd name="connsiteY2781" fmla="*/ 8274 h 10000"/>
                <a:gd name="connsiteX2782" fmla="*/ 2046 w 10785"/>
                <a:gd name="connsiteY2782" fmla="*/ 8282 h 10000"/>
                <a:gd name="connsiteX2783" fmla="*/ 2046 w 10785"/>
                <a:gd name="connsiteY2783" fmla="*/ 8325 h 10000"/>
                <a:gd name="connsiteX2784" fmla="*/ 2060 w 10785"/>
                <a:gd name="connsiteY2784" fmla="*/ 8350 h 10000"/>
                <a:gd name="connsiteX2785" fmla="*/ 2078 w 10785"/>
                <a:gd name="connsiteY2785" fmla="*/ 8350 h 10000"/>
                <a:gd name="connsiteX2786" fmla="*/ 2092 w 10785"/>
                <a:gd name="connsiteY2786" fmla="*/ 8350 h 10000"/>
                <a:gd name="connsiteX2787" fmla="*/ 2092 w 10785"/>
                <a:gd name="connsiteY2787" fmla="*/ 8350 h 10000"/>
                <a:gd name="connsiteX2788" fmla="*/ 2101 w 10785"/>
                <a:gd name="connsiteY2788" fmla="*/ 8368 h 10000"/>
                <a:gd name="connsiteX2789" fmla="*/ 2120 w 10785"/>
                <a:gd name="connsiteY2789" fmla="*/ 8368 h 10000"/>
                <a:gd name="connsiteX2790" fmla="*/ 2124 w 10785"/>
                <a:gd name="connsiteY2790" fmla="*/ 8359 h 10000"/>
                <a:gd name="connsiteX2791" fmla="*/ 2138 w 10785"/>
                <a:gd name="connsiteY2791" fmla="*/ 8325 h 10000"/>
                <a:gd name="connsiteX2792" fmla="*/ 2147 w 10785"/>
                <a:gd name="connsiteY2792" fmla="*/ 8325 h 10000"/>
                <a:gd name="connsiteX2793" fmla="*/ 2161 w 10785"/>
                <a:gd name="connsiteY2793" fmla="*/ 8350 h 10000"/>
                <a:gd name="connsiteX2794" fmla="*/ 2198 w 10785"/>
                <a:gd name="connsiteY2794" fmla="*/ 8350 h 10000"/>
                <a:gd name="connsiteX2795" fmla="*/ 2207 w 10785"/>
                <a:gd name="connsiteY2795" fmla="*/ 8333 h 10000"/>
                <a:gd name="connsiteX2796" fmla="*/ 2226 w 10785"/>
                <a:gd name="connsiteY2796" fmla="*/ 8325 h 10000"/>
                <a:gd name="connsiteX2797" fmla="*/ 2249 w 10785"/>
                <a:gd name="connsiteY2797" fmla="*/ 8222 h 10000"/>
                <a:gd name="connsiteX2798" fmla="*/ 2235 w 10785"/>
                <a:gd name="connsiteY2798" fmla="*/ 8197 h 10000"/>
                <a:gd name="connsiteX2799" fmla="*/ 2198 w 10785"/>
                <a:gd name="connsiteY2799" fmla="*/ 8197 h 10000"/>
                <a:gd name="connsiteX2800" fmla="*/ 2189 w 10785"/>
                <a:gd name="connsiteY2800" fmla="*/ 8171 h 10000"/>
                <a:gd name="connsiteX2801" fmla="*/ 2161 w 10785"/>
                <a:gd name="connsiteY2801" fmla="*/ 8145 h 10000"/>
                <a:gd name="connsiteX2802" fmla="*/ 2161 w 10785"/>
                <a:gd name="connsiteY2802" fmla="*/ 8137 h 10000"/>
                <a:gd name="connsiteX2803" fmla="*/ 2152 w 10785"/>
                <a:gd name="connsiteY2803" fmla="*/ 8120 h 10000"/>
                <a:gd name="connsiteX2804" fmla="*/ 2138 w 10785"/>
                <a:gd name="connsiteY2804" fmla="*/ 8111 h 10000"/>
                <a:gd name="connsiteX2805" fmla="*/ 2138 w 10785"/>
                <a:gd name="connsiteY2805" fmla="*/ 8094 h 10000"/>
                <a:gd name="connsiteX2806" fmla="*/ 2147 w 10785"/>
                <a:gd name="connsiteY2806" fmla="*/ 8085 h 10000"/>
                <a:gd name="connsiteX2807" fmla="*/ 2161 w 10785"/>
                <a:gd name="connsiteY2807" fmla="*/ 8060 h 10000"/>
                <a:gd name="connsiteX2808" fmla="*/ 2198 w 10785"/>
                <a:gd name="connsiteY2808" fmla="*/ 8034 h 10000"/>
                <a:gd name="connsiteX2809" fmla="*/ 2198 w 10785"/>
                <a:gd name="connsiteY2809" fmla="*/ 8026 h 10000"/>
                <a:gd name="connsiteX2810" fmla="*/ 2198 w 10785"/>
                <a:gd name="connsiteY2810" fmla="*/ 8000 h 10000"/>
                <a:gd name="connsiteX2811" fmla="*/ 2180 w 10785"/>
                <a:gd name="connsiteY2811" fmla="*/ 7940 h 10000"/>
                <a:gd name="connsiteX2812" fmla="*/ 2189 w 10785"/>
                <a:gd name="connsiteY2812" fmla="*/ 7940 h 10000"/>
                <a:gd name="connsiteX2813" fmla="*/ 2198 w 10785"/>
                <a:gd name="connsiteY2813" fmla="*/ 7923 h 10000"/>
                <a:gd name="connsiteX2814" fmla="*/ 2198 w 10785"/>
                <a:gd name="connsiteY2814" fmla="*/ 7897 h 10000"/>
                <a:gd name="connsiteX2815" fmla="*/ 2207 w 10785"/>
                <a:gd name="connsiteY2815" fmla="*/ 7889 h 10000"/>
                <a:gd name="connsiteX2816" fmla="*/ 2221 w 10785"/>
                <a:gd name="connsiteY2816" fmla="*/ 7889 h 10000"/>
                <a:gd name="connsiteX2817" fmla="*/ 2226 w 10785"/>
                <a:gd name="connsiteY2817" fmla="*/ 7897 h 10000"/>
                <a:gd name="connsiteX2818" fmla="*/ 2235 w 10785"/>
                <a:gd name="connsiteY2818" fmla="*/ 7889 h 10000"/>
                <a:gd name="connsiteX2819" fmla="*/ 2249 w 10785"/>
                <a:gd name="connsiteY2819" fmla="*/ 7897 h 10000"/>
                <a:gd name="connsiteX2820" fmla="*/ 2267 w 10785"/>
                <a:gd name="connsiteY2820" fmla="*/ 7897 h 10000"/>
                <a:gd name="connsiteX2821" fmla="*/ 2272 w 10785"/>
                <a:gd name="connsiteY2821" fmla="*/ 7889 h 10000"/>
                <a:gd name="connsiteX2822" fmla="*/ 2281 w 10785"/>
                <a:gd name="connsiteY2822" fmla="*/ 7872 h 10000"/>
                <a:gd name="connsiteX2823" fmla="*/ 2272 w 10785"/>
                <a:gd name="connsiteY2823" fmla="*/ 7846 h 10000"/>
                <a:gd name="connsiteX2824" fmla="*/ 2253 w 10785"/>
                <a:gd name="connsiteY2824" fmla="*/ 7838 h 10000"/>
                <a:gd name="connsiteX2825" fmla="*/ 2221 w 10785"/>
                <a:gd name="connsiteY2825" fmla="*/ 7821 h 10000"/>
                <a:gd name="connsiteX2826" fmla="*/ 2212 w 10785"/>
                <a:gd name="connsiteY2826" fmla="*/ 7812 h 10000"/>
                <a:gd name="connsiteX2827" fmla="*/ 2212 w 10785"/>
                <a:gd name="connsiteY2827" fmla="*/ 7803 h 10000"/>
                <a:gd name="connsiteX2828" fmla="*/ 2221 w 10785"/>
                <a:gd name="connsiteY2828" fmla="*/ 7803 h 10000"/>
                <a:gd name="connsiteX2829" fmla="*/ 2235 w 10785"/>
                <a:gd name="connsiteY2829" fmla="*/ 7786 h 10000"/>
                <a:gd name="connsiteX2830" fmla="*/ 2240 w 10785"/>
                <a:gd name="connsiteY2830" fmla="*/ 7778 h 10000"/>
                <a:gd name="connsiteX2831" fmla="*/ 2226 w 10785"/>
                <a:gd name="connsiteY2831" fmla="*/ 7761 h 10000"/>
                <a:gd name="connsiteX2832" fmla="*/ 2221 w 10785"/>
                <a:gd name="connsiteY2832" fmla="*/ 7778 h 10000"/>
                <a:gd name="connsiteX2833" fmla="*/ 2198 w 10785"/>
                <a:gd name="connsiteY2833" fmla="*/ 7778 h 10000"/>
                <a:gd name="connsiteX2834" fmla="*/ 2198 w 10785"/>
                <a:gd name="connsiteY2834" fmla="*/ 7752 h 10000"/>
                <a:gd name="connsiteX2835" fmla="*/ 2207 w 10785"/>
                <a:gd name="connsiteY2835" fmla="*/ 7735 h 10000"/>
                <a:gd name="connsiteX2836" fmla="*/ 2212 w 10785"/>
                <a:gd name="connsiteY2836" fmla="*/ 7726 h 10000"/>
                <a:gd name="connsiteX2837" fmla="*/ 2198 w 10785"/>
                <a:gd name="connsiteY2837" fmla="*/ 7692 h 10000"/>
                <a:gd name="connsiteX2838" fmla="*/ 2221 w 10785"/>
                <a:gd name="connsiteY2838" fmla="*/ 7692 h 10000"/>
                <a:gd name="connsiteX2839" fmla="*/ 2221 w 10785"/>
                <a:gd name="connsiteY2839" fmla="*/ 7675 h 10000"/>
                <a:gd name="connsiteX2840" fmla="*/ 2235 w 10785"/>
                <a:gd name="connsiteY2840" fmla="*/ 7675 h 10000"/>
                <a:gd name="connsiteX2841" fmla="*/ 2240 w 10785"/>
                <a:gd name="connsiteY2841" fmla="*/ 7692 h 10000"/>
                <a:gd name="connsiteX2842" fmla="*/ 2249 w 10785"/>
                <a:gd name="connsiteY2842" fmla="*/ 7692 h 10000"/>
                <a:gd name="connsiteX2843" fmla="*/ 2258 w 10785"/>
                <a:gd name="connsiteY2843" fmla="*/ 7692 h 10000"/>
                <a:gd name="connsiteX2844" fmla="*/ 2267 w 10785"/>
                <a:gd name="connsiteY2844" fmla="*/ 7692 h 10000"/>
                <a:gd name="connsiteX2845" fmla="*/ 2295 w 10785"/>
                <a:gd name="connsiteY2845" fmla="*/ 7692 h 10000"/>
                <a:gd name="connsiteX2846" fmla="*/ 2300 w 10785"/>
                <a:gd name="connsiteY2846" fmla="*/ 7701 h 10000"/>
                <a:gd name="connsiteX2847" fmla="*/ 2313 w 10785"/>
                <a:gd name="connsiteY2847" fmla="*/ 7675 h 10000"/>
                <a:gd name="connsiteX2848" fmla="*/ 2323 w 10785"/>
                <a:gd name="connsiteY2848" fmla="*/ 7675 h 10000"/>
                <a:gd name="connsiteX2849" fmla="*/ 2341 w 10785"/>
                <a:gd name="connsiteY2849" fmla="*/ 7675 h 10000"/>
                <a:gd name="connsiteX2850" fmla="*/ 2346 w 10785"/>
                <a:gd name="connsiteY2850" fmla="*/ 7667 h 10000"/>
                <a:gd name="connsiteX2851" fmla="*/ 2359 w 10785"/>
                <a:gd name="connsiteY2851" fmla="*/ 7650 h 10000"/>
                <a:gd name="connsiteX2852" fmla="*/ 2373 w 10785"/>
                <a:gd name="connsiteY2852" fmla="*/ 7624 h 10000"/>
                <a:gd name="connsiteX2853" fmla="*/ 2382 w 10785"/>
                <a:gd name="connsiteY2853" fmla="*/ 7641 h 10000"/>
                <a:gd name="connsiteX2854" fmla="*/ 2396 w 10785"/>
                <a:gd name="connsiteY2854" fmla="*/ 7650 h 10000"/>
                <a:gd name="connsiteX2855" fmla="*/ 2401 w 10785"/>
                <a:gd name="connsiteY2855" fmla="*/ 7650 h 10000"/>
                <a:gd name="connsiteX2856" fmla="*/ 2401 w 10785"/>
                <a:gd name="connsiteY2856" fmla="*/ 7624 h 10000"/>
                <a:gd name="connsiteX2857" fmla="*/ 2419 w 10785"/>
                <a:gd name="connsiteY2857" fmla="*/ 7624 h 10000"/>
                <a:gd name="connsiteX2858" fmla="*/ 2433 w 10785"/>
                <a:gd name="connsiteY2858" fmla="*/ 7615 h 10000"/>
                <a:gd name="connsiteX2859" fmla="*/ 2442 w 10785"/>
                <a:gd name="connsiteY2859" fmla="*/ 7615 h 10000"/>
                <a:gd name="connsiteX2860" fmla="*/ 2447 w 10785"/>
                <a:gd name="connsiteY2860" fmla="*/ 7598 h 10000"/>
                <a:gd name="connsiteX2861" fmla="*/ 2461 w 10785"/>
                <a:gd name="connsiteY2861" fmla="*/ 7598 h 10000"/>
                <a:gd name="connsiteX2862" fmla="*/ 2465 w 10785"/>
                <a:gd name="connsiteY2862" fmla="*/ 7615 h 10000"/>
                <a:gd name="connsiteX2863" fmla="*/ 2479 w 10785"/>
                <a:gd name="connsiteY2863" fmla="*/ 7564 h 10000"/>
                <a:gd name="connsiteX2864" fmla="*/ 2488 w 10785"/>
                <a:gd name="connsiteY2864" fmla="*/ 7556 h 10000"/>
                <a:gd name="connsiteX2865" fmla="*/ 2493 w 10785"/>
                <a:gd name="connsiteY2865" fmla="*/ 7556 h 10000"/>
                <a:gd name="connsiteX2866" fmla="*/ 2507 w 10785"/>
                <a:gd name="connsiteY2866" fmla="*/ 7556 h 10000"/>
                <a:gd name="connsiteX2867" fmla="*/ 2530 w 10785"/>
                <a:gd name="connsiteY2867" fmla="*/ 7538 h 10000"/>
                <a:gd name="connsiteX2868" fmla="*/ 2530 w 10785"/>
                <a:gd name="connsiteY2868" fmla="*/ 7556 h 10000"/>
                <a:gd name="connsiteX2869" fmla="*/ 2641 w 10785"/>
                <a:gd name="connsiteY2869" fmla="*/ 7504 h 10000"/>
                <a:gd name="connsiteX2870" fmla="*/ 2654 w 10785"/>
                <a:gd name="connsiteY2870" fmla="*/ 7487 h 10000"/>
                <a:gd name="connsiteX2871" fmla="*/ 2664 w 10785"/>
                <a:gd name="connsiteY2871" fmla="*/ 7487 h 10000"/>
                <a:gd name="connsiteX2872" fmla="*/ 2668 w 10785"/>
                <a:gd name="connsiteY2872" fmla="*/ 7479 h 10000"/>
                <a:gd name="connsiteX2873" fmla="*/ 2673 w 10785"/>
                <a:gd name="connsiteY2873" fmla="*/ 7462 h 10000"/>
                <a:gd name="connsiteX2874" fmla="*/ 2673 w 10785"/>
                <a:gd name="connsiteY2874" fmla="*/ 7427 h 10000"/>
                <a:gd name="connsiteX2875" fmla="*/ 2687 w 10785"/>
                <a:gd name="connsiteY2875" fmla="*/ 7436 h 10000"/>
                <a:gd name="connsiteX2876" fmla="*/ 2696 w 10785"/>
                <a:gd name="connsiteY2876" fmla="*/ 7427 h 10000"/>
                <a:gd name="connsiteX2877" fmla="*/ 2700 w 10785"/>
                <a:gd name="connsiteY2877" fmla="*/ 7419 h 10000"/>
                <a:gd name="connsiteX2878" fmla="*/ 2710 w 10785"/>
                <a:gd name="connsiteY2878" fmla="*/ 7402 h 10000"/>
                <a:gd name="connsiteX2879" fmla="*/ 2724 w 10785"/>
                <a:gd name="connsiteY2879" fmla="*/ 7402 h 10000"/>
                <a:gd name="connsiteX2880" fmla="*/ 2724 w 10785"/>
                <a:gd name="connsiteY2880" fmla="*/ 7393 h 10000"/>
                <a:gd name="connsiteX2881" fmla="*/ 2737 w 10785"/>
                <a:gd name="connsiteY2881" fmla="*/ 7393 h 10000"/>
                <a:gd name="connsiteX2882" fmla="*/ 2742 w 10785"/>
                <a:gd name="connsiteY2882" fmla="*/ 7402 h 10000"/>
                <a:gd name="connsiteX2883" fmla="*/ 2747 w 10785"/>
                <a:gd name="connsiteY2883" fmla="*/ 7402 h 10000"/>
                <a:gd name="connsiteX2884" fmla="*/ 2760 w 10785"/>
                <a:gd name="connsiteY2884" fmla="*/ 7402 h 10000"/>
                <a:gd name="connsiteX2885" fmla="*/ 2770 w 10785"/>
                <a:gd name="connsiteY2885" fmla="*/ 7402 h 10000"/>
                <a:gd name="connsiteX2886" fmla="*/ 2774 w 10785"/>
                <a:gd name="connsiteY2886" fmla="*/ 7402 h 10000"/>
                <a:gd name="connsiteX2887" fmla="*/ 2783 w 10785"/>
                <a:gd name="connsiteY2887" fmla="*/ 7419 h 10000"/>
                <a:gd name="connsiteX2888" fmla="*/ 2802 w 10785"/>
                <a:gd name="connsiteY2888" fmla="*/ 7436 h 10000"/>
                <a:gd name="connsiteX2889" fmla="*/ 2816 w 10785"/>
                <a:gd name="connsiteY2889" fmla="*/ 7419 h 10000"/>
                <a:gd name="connsiteX2890" fmla="*/ 2834 w 10785"/>
                <a:gd name="connsiteY2890" fmla="*/ 7419 h 10000"/>
                <a:gd name="connsiteX2891" fmla="*/ 2843 w 10785"/>
                <a:gd name="connsiteY2891" fmla="*/ 7419 h 10000"/>
                <a:gd name="connsiteX2892" fmla="*/ 2848 w 10785"/>
                <a:gd name="connsiteY2892" fmla="*/ 7436 h 10000"/>
                <a:gd name="connsiteX2893" fmla="*/ 2857 w 10785"/>
                <a:gd name="connsiteY2893" fmla="*/ 7453 h 10000"/>
                <a:gd name="connsiteX2894" fmla="*/ 2857 w 10785"/>
                <a:gd name="connsiteY2894" fmla="*/ 7504 h 10000"/>
                <a:gd name="connsiteX2895" fmla="*/ 2862 w 10785"/>
                <a:gd name="connsiteY2895" fmla="*/ 7530 h 10000"/>
                <a:gd name="connsiteX2896" fmla="*/ 2876 w 10785"/>
                <a:gd name="connsiteY2896" fmla="*/ 7538 h 10000"/>
                <a:gd name="connsiteX2897" fmla="*/ 2871 w 10785"/>
                <a:gd name="connsiteY2897" fmla="*/ 7564 h 10000"/>
                <a:gd name="connsiteX2898" fmla="*/ 2871 w 10785"/>
                <a:gd name="connsiteY2898" fmla="*/ 7598 h 10000"/>
                <a:gd name="connsiteX2899" fmla="*/ 2857 w 10785"/>
                <a:gd name="connsiteY2899" fmla="*/ 7624 h 10000"/>
                <a:gd name="connsiteX2900" fmla="*/ 2862 w 10785"/>
                <a:gd name="connsiteY2900" fmla="*/ 7641 h 10000"/>
                <a:gd name="connsiteX2901" fmla="*/ 2871 w 10785"/>
                <a:gd name="connsiteY2901" fmla="*/ 7667 h 10000"/>
                <a:gd name="connsiteX2902" fmla="*/ 2880 w 10785"/>
                <a:gd name="connsiteY2902" fmla="*/ 7650 h 10000"/>
                <a:gd name="connsiteX2903" fmla="*/ 2894 w 10785"/>
                <a:gd name="connsiteY2903" fmla="*/ 7667 h 10000"/>
                <a:gd name="connsiteX2904" fmla="*/ 2903 w 10785"/>
                <a:gd name="connsiteY2904" fmla="*/ 7667 h 10000"/>
                <a:gd name="connsiteX2905" fmla="*/ 2908 w 10785"/>
                <a:gd name="connsiteY2905" fmla="*/ 7641 h 10000"/>
                <a:gd name="connsiteX2906" fmla="*/ 2917 w 10785"/>
                <a:gd name="connsiteY2906" fmla="*/ 7641 h 10000"/>
                <a:gd name="connsiteX2907" fmla="*/ 2922 w 10785"/>
                <a:gd name="connsiteY2907" fmla="*/ 7641 h 10000"/>
                <a:gd name="connsiteX2908" fmla="*/ 2931 w 10785"/>
                <a:gd name="connsiteY2908" fmla="*/ 7615 h 10000"/>
                <a:gd name="connsiteX2909" fmla="*/ 2935 w 10785"/>
                <a:gd name="connsiteY2909" fmla="*/ 7615 h 10000"/>
                <a:gd name="connsiteX2910" fmla="*/ 2945 w 10785"/>
                <a:gd name="connsiteY2910" fmla="*/ 7650 h 10000"/>
                <a:gd name="connsiteX2911" fmla="*/ 2949 w 10785"/>
                <a:gd name="connsiteY2911" fmla="*/ 7667 h 10000"/>
                <a:gd name="connsiteX2912" fmla="*/ 2949 w 10785"/>
                <a:gd name="connsiteY2912" fmla="*/ 7675 h 10000"/>
                <a:gd name="connsiteX2913" fmla="*/ 2945 w 10785"/>
                <a:gd name="connsiteY2913" fmla="*/ 7692 h 10000"/>
                <a:gd name="connsiteX2914" fmla="*/ 2963 w 10785"/>
                <a:gd name="connsiteY2914" fmla="*/ 7701 h 10000"/>
                <a:gd name="connsiteX2915" fmla="*/ 2963 w 10785"/>
                <a:gd name="connsiteY2915" fmla="*/ 7675 h 10000"/>
                <a:gd name="connsiteX2916" fmla="*/ 2954 w 10785"/>
                <a:gd name="connsiteY2916" fmla="*/ 7667 h 10000"/>
                <a:gd name="connsiteX2917" fmla="*/ 2963 w 10785"/>
                <a:gd name="connsiteY2917" fmla="*/ 7667 h 10000"/>
                <a:gd name="connsiteX2918" fmla="*/ 2982 w 10785"/>
                <a:gd name="connsiteY2918" fmla="*/ 7667 h 10000"/>
                <a:gd name="connsiteX2919" fmla="*/ 2991 w 10785"/>
                <a:gd name="connsiteY2919" fmla="*/ 7675 h 10000"/>
                <a:gd name="connsiteX2920" fmla="*/ 2995 w 10785"/>
                <a:gd name="connsiteY2920" fmla="*/ 7692 h 10000"/>
                <a:gd name="connsiteX2921" fmla="*/ 3009 w 10785"/>
                <a:gd name="connsiteY2921" fmla="*/ 7701 h 10000"/>
                <a:gd name="connsiteX2922" fmla="*/ 3018 w 10785"/>
                <a:gd name="connsiteY2922" fmla="*/ 7701 h 10000"/>
                <a:gd name="connsiteX2923" fmla="*/ 3023 w 10785"/>
                <a:gd name="connsiteY2923" fmla="*/ 7692 h 10000"/>
                <a:gd name="connsiteX2924" fmla="*/ 3028 w 10785"/>
                <a:gd name="connsiteY2924" fmla="*/ 7675 h 10000"/>
                <a:gd name="connsiteX2925" fmla="*/ 3037 w 10785"/>
                <a:gd name="connsiteY2925" fmla="*/ 7692 h 10000"/>
                <a:gd name="connsiteX2926" fmla="*/ 3028 w 10785"/>
                <a:gd name="connsiteY2926" fmla="*/ 7709 h 10000"/>
                <a:gd name="connsiteX2927" fmla="*/ 3023 w 10785"/>
                <a:gd name="connsiteY2927" fmla="*/ 7709 h 10000"/>
                <a:gd name="connsiteX2928" fmla="*/ 3018 w 10785"/>
                <a:gd name="connsiteY2928" fmla="*/ 7726 h 10000"/>
                <a:gd name="connsiteX2929" fmla="*/ 3009 w 10785"/>
                <a:gd name="connsiteY2929" fmla="*/ 7735 h 10000"/>
                <a:gd name="connsiteX2930" fmla="*/ 3009 w 10785"/>
                <a:gd name="connsiteY2930" fmla="*/ 7761 h 10000"/>
                <a:gd name="connsiteX2931" fmla="*/ 3009 w 10785"/>
                <a:gd name="connsiteY2931" fmla="*/ 7778 h 10000"/>
                <a:gd name="connsiteX2932" fmla="*/ 3018 w 10785"/>
                <a:gd name="connsiteY2932" fmla="*/ 7786 h 10000"/>
                <a:gd name="connsiteX2933" fmla="*/ 3023 w 10785"/>
                <a:gd name="connsiteY2933" fmla="*/ 7786 h 10000"/>
                <a:gd name="connsiteX2934" fmla="*/ 3028 w 10785"/>
                <a:gd name="connsiteY2934" fmla="*/ 7778 h 10000"/>
                <a:gd name="connsiteX2935" fmla="*/ 3051 w 10785"/>
                <a:gd name="connsiteY2935" fmla="*/ 7761 h 10000"/>
                <a:gd name="connsiteX2936" fmla="*/ 3055 w 10785"/>
                <a:gd name="connsiteY2936" fmla="*/ 7778 h 10000"/>
                <a:gd name="connsiteX2937" fmla="*/ 3065 w 10785"/>
                <a:gd name="connsiteY2937" fmla="*/ 7761 h 10000"/>
                <a:gd name="connsiteX2938" fmla="*/ 3069 w 10785"/>
                <a:gd name="connsiteY2938" fmla="*/ 7786 h 10000"/>
                <a:gd name="connsiteX2939" fmla="*/ 3083 w 10785"/>
                <a:gd name="connsiteY2939" fmla="*/ 7786 h 10000"/>
                <a:gd name="connsiteX2940" fmla="*/ 3078 w 10785"/>
                <a:gd name="connsiteY2940" fmla="*/ 7761 h 10000"/>
                <a:gd name="connsiteX2941" fmla="*/ 3083 w 10785"/>
                <a:gd name="connsiteY2941" fmla="*/ 7752 h 10000"/>
                <a:gd name="connsiteX2942" fmla="*/ 3097 w 10785"/>
                <a:gd name="connsiteY2942" fmla="*/ 7752 h 10000"/>
                <a:gd name="connsiteX2943" fmla="*/ 3111 w 10785"/>
                <a:gd name="connsiteY2943" fmla="*/ 7726 h 10000"/>
                <a:gd name="connsiteX2944" fmla="*/ 3124 w 10785"/>
                <a:gd name="connsiteY2944" fmla="*/ 7709 h 10000"/>
                <a:gd name="connsiteX2945" fmla="*/ 3143 w 10785"/>
                <a:gd name="connsiteY2945" fmla="*/ 7692 h 10000"/>
                <a:gd name="connsiteX2946" fmla="*/ 3152 w 10785"/>
                <a:gd name="connsiteY2946" fmla="*/ 7667 h 10000"/>
                <a:gd name="connsiteX2947" fmla="*/ 3157 w 10785"/>
                <a:gd name="connsiteY2947" fmla="*/ 7650 h 10000"/>
                <a:gd name="connsiteX2948" fmla="*/ 3161 w 10785"/>
                <a:gd name="connsiteY2948" fmla="*/ 7650 h 10000"/>
                <a:gd name="connsiteX2949" fmla="*/ 3189 w 10785"/>
                <a:gd name="connsiteY2949" fmla="*/ 7641 h 10000"/>
                <a:gd name="connsiteX2950" fmla="*/ 3198 w 10785"/>
                <a:gd name="connsiteY2950" fmla="*/ 7624 h 10000"/>
                <a:gd name="connsiteX2951" fmla="*/ 3217 w 10785"/>
                <a:gd name="connsiteY2951" fmla="*/ 7615 h 10000"/>
                <a:gd name="connsiteX2952" fmla="*/ 3235 w 10785"/>
                <a:gd name="connsiteY2952" fmla="*/ 7598 h 10000"/>
                <a:gd name="connsiteX2953" fmla="*/ 3235 w 10785"/>
                <a:gd name="connsiteY2953" fmla="*/ 7615 h 10000"/>
                <a:gd name="connsiteX2954" fmla="*/ 3235 w 10785"/>
                <a:gd name="connsiteY2954" fmla="*/ 7641 h 10000"/>
                <a:gd name="connsiteX2955" fmla="*/ 3235 w 10785"/>
                <a:gd name="connsiteY2955" fmla="*/ 7650 h 10000"/>
                <a:gd name="connsiteX2956" fmla="*/ 3226 w 10785"/>
                <a:gd name="connsiteY2956" fmla="*/ 7650 h 10000"/>
                <a:gd name="connsiteX2957" fmla="*/ 3217 w 10785"/>
                <a:gd name="connsiteY2957" fmla="*/ 7650 h 10000"/>
                <a:gd name="connsiteX2958" fmla="*/ 3212 w 10785"/>
                <a:gd name="connsiteY2958" fmla="*/ 7675 h 10000"/>
                <a:gd name="connsiteX2959" fmla="*/ 3212 w 10785"/>
                <a:gd name="connsiteY2959"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079 w 10785"/>
                <a:gd name="connsiteY731" fmla="*/ 4873 h 10000"/>
                <a:gd name="connsiteX732" fmla="*/ 10139 w 10785"/>
                <a:gd name="connsiteY732" fmla="*/ 4708 h 10000"/>
                <a:gd name="connsiteX733" fmla="*/ 10233 w 10785"/>
                <a:gd name="connsiteY733" fmla="*/ 4530 h 10000"/>
                <a:gd name="connsiteX734" fmla="*/ 10334 w 10785"/>
                <a:gd name="connsiteY734" fmla="*/ 4810 h 10000"/>
                <a:gd name="connsiteX735" fmla="*/ 10422 w 10785"/>
                <a:gd name="connsiteY735" fmla="*/ 5051 h 10000"/>
                <a:gd name="connsiteX736" fmla="*/ 10691 w 10785"/>
                <a:gd name="connsiteY736" fmla="*/ 5255 h 10000"/>
                <a:gd name="connsiteX737" fmla="*/ 10619 w 10785"/>
                <a:gd name="connsiteY737" fmla="*/ 4708 h 10000"/>
                <a:gd name="connsiteX738" fmla="*/ 10785 w 10785"/>
                <a:gd name="connsiteY738" fmla="*/ 4708 h 10000"/>
                <a:gd name="connsiteX739" fmla="*/ 10689 w 10785"/>
                <a:gd name="connsiteY739" fmla="*/ 4467 h 10000"/>
                <a:gd name="connsiteX740" fmla="*/ 10354 w 10785"/>
                <a:gd name="connsiteY740" fmla="*/ 4302 h 10000"/>
                <a:gd name="connsiteX741" fmla="*/ 9912 w 10785"/>
                <a:gd name="connsiteY741" fmla="*/ 3675 h 10000"/>
                <a:gd name="connsiteX742" fmla="*/ 9903 w 10785"/>
                <a:gd name="connsiteY742" fmla="*/ 3667 h 10000"/>
                <a:gd name="connsiteX743" fmla="*/ 9894 w 10785"/>
                <a:gd name="connsiteY743" fmla="*/ 3641 h 10000"/>
                <a:gd name="connsiteX744" fmla="*/ 9889 w 10785"/>
                <a:gd name="connsiteY744" fmla="*/ 3650 h 10000"/>
                <a:gd name="connsiteX745" fmla="*/ 9848 w 10785"/>
                <a:gd name="connsiteY745" fmla="*/ 3598 h 10000"/>
                <a:gd name="connsiteX746" fmla="*/ 9829 w 10785"/>
                <a:gd name="connsiteY746" fmla="*/ 3581 h 10000"/>
                <a:gd name="connsiteX747" fmla="*/ 9820 w 10785"/>
                <a:gd name="connsiteY747" fmla="*/ 3581 h 10000"/>
                <a:gd name="connsiteX748" fmla="*/ 9793 w 10785"/>
                <a:gd name="connsiteY748" fmla="*/ 3556 h 10000"/>
                <a:gd name="connsiteX749" fmla="*/ 9779 w 10785"/>
                <a:gd name="connsiteY749" fmla="*/ 3556 h 10000"/>
                <a:gd name="connsiteX750" fmla="*/ 9747 w 10785"/>
                <a:gd name="connsiteY750" fmla="*/ 3487 h 10000"/>
                <a:gd name="connsiteX751" fmla="*/ 9668 w 10785"/>
                <a:gd name="connsiteY751" fmla="*/ 3479 h 10000"/>
                <a:gd name="connsiteX752" fmla="*/ 9659 w 10785"/>
                <a:gd name="connsiteY752" fmla="*/ 3487 h 10000"/>
                <a:gd name="connsiteX753" fmla="*/ 9645 w 10785"/>
                <a:gd name="connsiteY753" fmla="*/ 3504 h 10000"/>
                <a:gd name="connsiteX754" fmla="*/ 9631 w 10785"/>
                <a:gd name="connsiteY754" fmla="*/ 3487 h 10000"/>
                <a:gd name="connsiteX755" fmla="*/ 9613 w 10785"/>
                <a:gd name="connsiteY755" fmla="*/ 3479 h 10000"/>
                <a:gd name="connsiteX756" fmla="*/ 9599 w 10785"/>
                <a:gd name="connsiteY756" fmla="*/ 3479 h 10000"/>
                <a:gd name="connsiteX757" fmla="*/ 9571 w 10785"/>
                <a:gd name="connsiteY757" fmla="*/ 3479 h 10000"/>
                <a:gd name="connsiteX758" fmla="*/ 9562 w 10785"/>
                <a:gd name="connsiteY758" fmla="*/ 3487 h 10000"/>
                <a:gd name="connsiteX759" fmla="*/ 9539 w 10785"/>
                <a:gd name="connsiteY759" fmla="*/ 3487 h 10000"/>
                <a:gd name="connsiteX760" fmla="*/ 9507 w 10785"/>
                <a:gd name="connsiteY760" fmla="*/ 3453 h 10000"/>
                <a:gd name="connsiteX761" fmla="*/ 9498 w 10785"/>
                <a:gd name="connsiteY761" fmla="*/ 3453 h 10000"/>
                <a:gd name="connsiteX762" fmla="*/ 9387 w 10785"/>
                <a:gd name="connsiteY762" fmla="*/ 3419 h 10000"/>
                <a:gd name="connsiteX763" fmla="*/ 9373 w 10785"/>
                <a:gd name="connsiteY763" fmla="*/ 3427 h 10000"/>
                <a:gd name="connsiteX764" fmla="*/ 9373 w 10785"/>
                <a:gd name="connsiteY764" fmla="*/ 3462 h 10000"/>
                <a:gd name="connsiteX765" fmla="*/ 9378 w 10785"/>
                <a:gd name="connsiteY765" fmla="*/ 3479 h 10000"/>
                <a:gd name="connsiteX766" fmla="*/ 9378 w 10785"/>
                <a:gd name="connsiteY766" fmla="*/ 3530 h 10000"/>
                <a:gd name="connsiteX767" fmla="*/ 9355 w 10785"/>
                <a:gd name="connsiteY767" fmla="*/ 3538 h 10000"/>
                <a:gd name="connsiteX768" fmla="*/ 9355 w 10785"/>
                <a:gd name="connsiteY768" fmla="*/ 3581 h 10000"/>
                <a:gd name="connsiteX769" fmla="*/ 9387 w 10785"/>
                <a:gd name="connsiteY769" fmla="*/ 3590 h 10000"/>
                <a:gd name="connsiteX770" fmla="*/ 9401 w 10785"/>
                <a:gd name="connsiteY770" fmla="*/ 3667 h 10000"/>
                <a:gd name="connsiteX771" fmla="*/ 9406 w 10785"/>
                <a:gd name="connsiteY771" fmla="*/ 3675 h 10000"/>
                <a:gd name="connsiteX772" fmla="*/ 9406 w 10785"/>
                <a:gd name="connsiteY772" fmla="*/ 3701 h 10000"/>
                <a:gd name="connsiteX773" fmla="*/ 9415 w 10785"/>
                <a:gd name="connsiteY773" fmla="*/ 3752 h 10000"/>
                <a:gd name="connsiteX774" fmla="*/ 9373 w 10785"/>
                <a:gd name="connsiteY774" fmla="*/ 3838 h 10000"/>
                <a:gd name="connsiteX775" fmla="*/ 9355 w 10785"/>
                <a:gd name="connsiteY775" fmla="*/ 3863 h 10000"/>
                <a:gd name="connsiteX776" fmla="*/ 9327 w 10785"/>
                <a:gd name="connsiteY776" fmla="*/ 3863 h 10000"/>
                <a:gd name="connsiteX777" fmla="*/ 9313 w 10785"/>
                <a:gd name="connsiteY777" fmla="*/ 3846 h 10000"/>
                <a:gd name="connsiteX778" fmla="*/ 9300 w 10785"/>
                <a:gd name="connsiteY778" fmla="*/ 3778 h 10000"/>
                <a:gd name="connsiteX779" fmla="*/ 9281 w 10785"/>
                <a:gd name="connsiteY779" fmla="*/ 3752 h 10000"/>
                <a:gd name="connsiteX780" fmla="*/ 9281 w 10785"/>
                <a:gd name="connsiteY780" fmla="*/ 3735 h 10000"/>
                <a:gd name="connsiteX781" fmla="*/ 9267 w 10785"/>
                <a:gd name="connsiteY781" fmla="*/ 3726 h 10000"/>
                <a:gd name="connsiteX782" fmla="*/ 9240 w 10785"/>
                <a:gd name="connsiteY782" fmla="*/ 3726 h 10000"/>
                <a:gd name="connsiteX783" fmla="*/ 9230 w 10785"/>
                <a:gd name="connsiteY783" fmla="*/ 3718 h 10000"/>
                <a:gd name="connsiteX784" fmla="*/ 9226 w 10785"/>
                <a:gd name="connsiteY784" fmla="*/ 3590 h 10000"/>
                <a:gd name="connsiteX785" fmla="*/ 9207 w 10785"/>
                <a:gd name="connsiteY785" fmla="*/ 3581 h 10000"/>
                <a:gd name="connsiteX786" fmla="*/ 9207 w 10785"/>
                <a:gd name="connsiteY786" fmla="*/ 3556 h 10000"/>
                <a:gd name="connsiteX787" fmla="*/ 9217 w 10785"/>
                <a:gd name="connsiteY787" fmla="*/ 3538 h 10000"/>
                <a:gd name="connsiteX788" fmla="*/ 9212 w 10785"/>
                <a:gd name="connsiteY788" fmla="*/ 3538 h 10000"/>
                <a:gd name="connsiteX789" fmla="*/ 9198 w 10785"/>
                <a:gd name="connsiteY789" fmla="*/ 3513 h 10000"/>
                <a:gd name="connsiteX790" fmla="*/ 9194 w 10785"/>
                <a:gd name="connsiteY790" fmla="*/ 3530 h 10000"/>
                <a:gd name="connsiteX791" fmla="*/ 9143 w 10785"/>
                <a:gd name="connsiteY791" fmla="*/ 3615 h 10000"/>
                <a:gd name="connsiteX792" fmla="*/ 9138 w 10785"/>
                <a:gd name="connsiteY792" fmla="*/ 3615 h 10000"/>
                <a:gd name="connsiteX793" fmla="*/ 9134 w 10785"/>
                <a:gd name="connsiteY793" fmla="*/ 3615 h 10000"/>
                <a:gd name="connsiteX794" fmla="*/ 9106 w 10785"/>
                <a:gd name="connsiteY794" fmla="*/ 3615 h 10000"/>
                <a:gd name="connsiteX795" fmla="*/ 9078 w 10785"/>
                <a:gd name="connsiteY795" fmla="*/ 3590 h 10000"/>
                <a:gd name="connsiteX796" fmla="*/ 9037 w 10785"/>
                <a:gd name="connsiteY796" fmla="*/ 3581 h 10000"/>
                <a:gd name="connsiteX797" fmla="*/ 9023 w 10785"/>
                <a:gd name="connsiteY797" fmla="*/ 3590 h 10000"/>
                <a:gd name="connsiteX798" fmla="*/ 9018 w 10785"/>
                <a:gd name="connsiteY798" fmla="*/ 3590 h 10000"/>
                <a:gd name="connsiteX799" fmla="*/ 9018 w 10785"/>
                <a:gd name="connsiteY799" fmla="*/ 3590 h 10000"/>
                <a:gd name="connsiteX800" fmla="*/ 8991 w 10785"/>
                <a:gd name="connsiteY800" fmla="*/ 3590 h 10000"/>
                <a:gd name="connsiteX801" fmla="*/ 8972 w 10785"/>
                <a:gd name="connsiteY801" fmla="*/ 3581 h 10000"/>
                <a:gd name="connsiteX802" fmla="*/ 8959 w 10785"/>
                <a:gd name="connsiteY802" fmla="*/ 3513 h 10000"/>
                <a:gd name="connsiteX803" fmla="*/ 8931 w 10785"/>
                <a:gd name="connsiteY803" fmla="*/ 3538 h 10000"/>
                <a:gd name="connsiteX804" fmla="*/ 8889 w 10785"/>
                <a:gd name="connsiteY804" fmla="*/ 3538 h 10000"/>
                <a:gd name="connsiteX805" fmla="*/ 8871 w 10785"/>
                <a:gd name="connsiteY805" fmla="*/ 3556 h 10000"/>
                <a:gd name="connsiteX806" fmla="*/ 8857 w 10785"/>
                <a:gd name="connsiteY806" fmla="*/ 3538 h 10000"/>
                <a:gd name="connsiteX807" fmla="*/ 8843 w 10785"/>
                <a:gd name="connsiteY807" fmla="*/ 3538 h 10000"/>
                <a:gd name="connsiteX808" fmla="*/ 8839 w 10785"/>
                <a:gd name="connsiteY808" fmla="*/ 3556 h 10000"/>
                <a:gd name="connsiteX809" fmla="*/ 8839 w 10785"/>
                <a:gd name="connsiteY809" fmla="*/ 3581 h 10000"/>
                <a:gd name="connsiteX810" fmla="*/ 8825 w 10785"/>
                <a:gd name="connsiteY810" fmla="*/ 3564 h 10000"/>
                <a:gd name="connsiteX811" fmla="*/ 8825 w 10785"/>
                <a:gd name="connsiteY811" fmla="*/ 3615 h 10000"/>
                <a:gd name="connsiteX812" fmla="*/ 8802 w 10785"/>
                <a:gd name="connsiteY812" fmla="*/ 3598 h 10000"/>
                <a:gd name="connsiteX813" fmla="*/ 8797 w 10785"/>
                <a:gd name="connsiteY813" fmla="*/ 3641 h 10000"/>
                <a:gd name="connsiteX814" fmla="*/ 8783 w 10785"/>
                <a:gd name="connsiteY814" fmla="*/ 3667 h 10000"/>
                <a:gd name="connsiteX815" fmla="*/ 8779 w 10785"/>
                <a:gd name="connsiteY815" fmla="*/ 3650 h 10000"/>
                <a:gd name="connsiteX816" fmla="*/ 8779 w 10785"/>
                <a:gd name="connsiteY816" fmla="*/ 3615 h 10000"/>
                <a:gd name="connsiteX817" fmla="*/ 8770 w 10785"/>
                <a:gd name="connsiteY817" fmla="*/ 3590 h 10000"/>
                <a:gd name="connsiteX818" fmla="*/ 8765 w 10785"/>
                <a:gd name="connsiteY818" fmla="*/ 3598 h 10000"/>
                <a:gd name="connsiteX819" fmla="*/ 8756 w 10785"/>
                <a:gd name="connsiteY819" fmla="*/ 3590 h 10000"/>
                <a:gd name="connsiteX820" fmla="*/ 8737 w 10785"/>
                <a:gd name="connsiteY820" fmla="*/ 3556 h 10000"/>
                <a:gd name="connsiteX821" fmla="*/ 8724 w 10785"/>
                <a:gd name="connsiteY821" fmla="*/ 3538 h 10000"/>
                <a:gd name="connsiteX822" fmla="*/ 8696 w 10785"/>
                <a:gd name="connsiteY822" fmla="*/ 3538 h 10000"/>
                <a:gd name="connsiteX823" fmla="*/ 8691 w 10785"/>
                <a:gd name="connsiteY823" fmla="*/ 3513 h 10000"/>
                <a:gd name="connsiteX824" fmla="*/ 8668 w 10785"/>
                <a:gd name="connsiteY824" fmla="*/ 3504 h 10000"/>
                <a:gd name="connsiteX825" fmla="*/ 8668 w 10785"/>
                <a:gd name="connsiteY825" fmla="*/ 3487 h 10000"/>
                <a:gd name="connsiteX826" fmla="*/ 8691 w 10785"/>
                <a:gd name="connsiteY826" fmla="*/ 3350 h 10000"/>
                <a:gd name="connsiteX827" fmla="*/ 8691 w 10785"/>
                <a:gd name="connsiteY827" fmla="*/ 3291 h 10000"/>
                <a:gd name="connsiteX828" fmla="*/ 8677 w 10785"/>
                <a:gd name="connsiteY828" fmla="*/ 3239 h 10000"/>
                <a:gd name="connsiteX829" fmla="*/ 8677 w 10785"/>
                <a:gd name="connsiteY829" fmla="*/ 3231 h 10000"/>
                <a:gd name="connsiteX830" fmla="*/ 8636 w 10785"/>
                <a:gd name="connsiteY830" fmla="*/ 3128 h 10000"/>
                <a:gd name="connsiteX831" fmla="*/ 8622 w 10785"/>
                <a:gd name="connsiteY831" fmla="*/ 3120 h 10000"/>
                <a:gd name="connsiteX832" fmla="*/ 8618 w 10785"/>
                <a:gd name="connsiteY832" fmla="*/ 3094 h 10000"/>
                <a:gd name="connsiteX833" fmla="*/ 8594 w 10785"/>
                <a:gd name="connsiteY833" fmla="*/ 3077 h 10000"/>
                <a:gd name="connsiteX834" fmla="*/ 8548 w 10785"/>
                <a:gd name="connsiteY834" fmla="*/ 3077 h 10000"/>
                <a:gd name="connsiteX835" fmla="*/ 8535 w 10785"/>
                <a:gd name="connsiteY835" fmla="*/ 3068 h 10000"/>
                <a:gd name="connsiteX836" fmla="*/ 8429 w 10785"/>
                <a:gd name="connsiteY836" fmla="*/ 3077 h 10000"/>
                <a:gd name="connsiteX837" fmla="*/ 8424 w 10785"/>
                <a:gd name="connsiteY837" fmla="*/ 3077 h 10000"/>
                <a:gd name="connsiteX838" fmla="*/ 8396 w 10785"/>
                <a:gd name="connsiteY838" fmla="*/ 3077 h 10000"/>
                <a:gd name="connsiteX839" fmla="*/ 8387 w 10785"/>
                <a:gd name="connsiteY839" fmla="*/ 3094 h 10000"/>
                <a:gd name="connsiteX840" fmla="*/ 8378 w 10785"/>
                <a:gd name="connsiteY840" fmla="*/ 3094 h 10000"/>
                <a:gd name="connsiteX841" fmla="*/ 8341 w 10785"/>
                <a:gd name="connsiteY841" fmla="*/ 3077 h 10000"/>
                <a:gd name="connsiteX842" fmla="*/ 8336 w 10785"/>
                <a:gd name="connsiteY842" fmla="*/ 3077 h 10000"/>
                <a:gd name="connsiteX843" fmla="*/ 8327 w 10785"/>
                <a:gd name="connsiteY843" fmla="*/ 3103 h 10000"/>
                <a:gd name="connsiteX844" fmla="*/ 8309 w 10785"/>
                <a:gd name="connsiteY844" fmla="*/ 3120 h 10000"/>
                <a:gd name="connsiteX845" fmla="*/ 8304 w 10785"/>
                <a:gd name="connsiteY845" fmla="*/ 3103 h 10000"/>
                <a:gd name="connsiteX846" fmla="*/ 8276 w 10785"/>
                <a:gd name="connsiteY846" fmla="*/ 3103 h 10000"/>
                <a:gd name="connsiteX847" fmla="*/ 8267 w 10785"/>
                <a:gd name="connsiteY847" fmla="*/ 3120 h 10000"/>
                <a:gd name="connsiteX848" fmla="*/ 8253 w 10785"/>
                <a:gd name="connsiteY848" fmla="*/ 3103 h 10000"/>
                <a:gd name="connsiteX849" fmla="*/ 8230 w 10785"/>
                <a:gd name="connsiteY849" fmla="*/ 3128 h 10000"/>
                <a:gd name="connsiteX850" fmla="*/ 8217 w 10785"/>
                <a:gd name="connsiteY850" fmla="*/ 3128 h 10000"/>
                <a:gd name="connsiteX851" fmla="*/ 8203 w 10785"/>
                <a:gd name="connsiteY851" fmla="*/ 3154 h 10000"/>
                <a:gd name="connsiteX852" fmla="*/ 8175 w 10785"/>
                <a:gd name="connsiteY852" fmla="*/ 3094 h 10000"/>
                <a:gd name="connsiteX853" fmla="*/ 8161 w 10785"/>
                <a:gd name="connsiteY853" fmla="*/ 3094 h 10000"/>
                <a:gd name="connsiteX854" fmla="*/ 8157 w 10785"/>
                <a:gd name="connsiteY854" fmla="*/ 3077 h 10000"/>
                <a:gd name="connsiteX855" fmla="*/ 8180 w 10785"/>
                <a:gd name="connsiteY855" fmla="*/ 3068 h 10000"/>
                <a:gd name="connsiteX856" fmla="*/ 8189 w 10785"/>
                <a:gd name="connsiteY856" fmla="*/ 3043 h 10000"/>
                <a:gd name="connsiteX857" fmla="*/ 8189 w 10785"/>
                <a:gd name="connsiteY857" fmla="*/ 3017 h 10000"/>
                <a:gd name="connsiteX858" fmla="*/ 8147 w 10785"/>
                <a:gd name="connsiteY858" fmla="*/ 2940 h 10000"/>
                <a:gd name="connsiteX859" fmla="*/ 8143 w 10785"/>
                <a:gd name="connsiteY859" fmla="*/ 2915 h 10000"/>
                <a:gd name="connsiteX860" fmla="*/ 8143 w 10785"/>
                <a:gd name="connsiteY860" fmla="*/ 2906 h 10000"/>
                <a:gd name="connsiteX861" fmla="*/ 8097 w 10785"/>
                <a:gd name="connsiteY861" fmla="*/ 2932 h 10000"/>
                <a:gd name="connsiteX862" fmla="*/ 8083 w 10785"/>
                <a:gd name="connsiteY862" fmla="*/ 2932 h 10000"/>
                <a:gd name="connsiteX863" fmla="*/ 8074 w 10785"/>
                <a:gd name="connsiteY863" fmla="*/ 2906 h 10000"/>
                <a:gd name="connsiteX864" fmla="*/ 8074 w 10785"/>
                <a:gd name="connsiteY864" fmla="*/ 2897 h 10000"/>
                <a:gd name="connsiteX865" fmla="*/ 8055 w 10785"/>
                <a:gd name="connsiteY865" fmla="*/ 2872 h 10000"/>
                <a:gd name="connsiteX866" fmla="*/ 8046 w 10785"/>
                <a:gd name="connsiteY866" fmla="*/ 2829 h 10000"/>
                <a:gd name="connsiteX867" fmla="*/ 8041 w 10785"/>
                <a:gd name="connsiteY867" fmla="*/ 2829 h 10000"/>
                <a:gd name="connsiteX868" fmla="*/ 8023 w 10785"/>
                <a:gd name="connsiteY868" fmla="*/ 2803 h 10000"/>
                <a:gd name="connsiteX869" fmla="*/ 8014 w 10785"/>
                <a:gd name="connsiteY869" fmla="*/ 2829 h 10000"/>
                <a:gd name="connsiteX870" fmla="*/ 8000 w 10785"/>
                <a:gd name="connsiteY870" fmla="*/ 2829 h 10000"/>
                <a:gd name="connsiteX871" fmla="*/ 7995 w 10785"/>
                <a:gd name="connsiteY871" fmla="*/ 2821 h 10000"/>
                <a:gd name="connsiteX872" fmla="*/ 7972 w 10785"/>
                <a:gd name="connsiteY872" fmla="*/ 2803 h 10000"/>
                <a:gd name="connsiteX873" fmla="*/ 7968 w 10785"/>
                <a:gd name="connsiteY873" fmla="*/ 2821 h 10000"/>
                <a:gd name="connsiteX874" fmla="*/ 7968 w 10785"/>
                <a:gd name="connsiteY874" fmla="*/ 2803 h 10000"/>
                <a:gd name="connsiteX875" fmla="*/ 7995 w 10785"/>
                <a:gd name="connsiteY875" fmla="*/ 2735 h 10000"/>
                <a:gd name="connsiteX876" fmla="*/ 8000 w 10785"/>
                <a:gd name="connsiteY876" fmla="*/ 2735 h 10000"/>
                <a:gd name="connsiteX877" fmla="*/ 8014 w 10785"/>
                <a:gd name="connsiteY877" fmla="*/ 2744 h 10000"/>
                <a:gd name="connsiteX878" fmla="*/ 8023 w 10785"/>
                <a:gd name="connsiteY878" fmla="*/ 2769 h 10000"/>
                <a:gd name="connsiteX879" fmla="*/ 8032 w 10785"/>
                <a:gd name="connsiteY879" fmla="*/ 2744 h 10000"/>
                <a:gd name="connsiteX880" fmla="*/ 8032 w 10785"/>
                <a:gd name="connsiteY880" fmla="*/ 2709 h 10000"/>
                <a:gd name="connsiteX881" fmla="*/ 8023 w 10785"/>
                <a:gd name="connsiteY881" fmla="*/ 2632 h 10000"/>
                <a:gd name="connsiteX882" fmla="*/ 7986 w 10785"/>
                <a:gd name="connsiteY882" fmla="*/ 2581 h 10000"/>
                <a:gd name="connsiteX883" fmla="*/ 7968 w 10785"/>
                <a:gd name="connsiteY883" fmla="*/ 2581 h 10000"/>
                <a:gd name="connsiteX884" fmla="*/ 7963 w 10785"/>
                <a:gd name="connsiteY884" fmla="*/ 2556 h 10000"/>
                <a:gd name="connsiteX885" fmla="*/ 7935 w 10785"/>
                <a:gd name="connsiteY885" fmla="*/ 2547 h 10000"/>
                <a:gd name="connsiteX886" fmla="*/ 7912 w 10785"/>
                <a:gd name="connsiteY886" fmla="*/ 2547 h 10000"/>
                <a:gd name="connsiteX887" fmla="*/ 7912 w 10785"/>
                <a:gd name="connsiteY887" fmla="*/ 2556 h 10000"/>
                <a:gd name="connsiteX888" fmla="*/ 7908 w 10785"/>
                <a:gd name="connsiteY888" fmla="*/ 2547 h 10000"/>
                <a:gd name="connsiteX889" fmla="*/ 7862 w 10785"/>
                <a:gd name="connsiteY889" fmla="*/ 2547 h 10000"/>
                <a:gd name="connsiteX890" fmla="*/ 7848 w 10785"/>
                <a:gd name="connsiteY890" fmla="*/ 2556 h 10000"/>
                <a:gd name="connsiteX891" fmla="*/ 7820 w 10785"/>
                <a:gd name="connsiteY891" fmla="*/ 2547 h 10000"/>
                <a:gd name="connsiteX892" fmla="*/ 7806 w 10785"/>
                <a:gd name="connsiteY892" fmla="*/ 2513 h 10000"/>
                <a:gd name="connsiteX893" fmla="*/ 7788 w 10785"/>
                <a:gd name="connsiteY893" fmla="*/ 2513 h 10000"/>
                <a:gd name="connsiteX894" fmla="*/ 7760 w 10785"/>
                <a:gd name="connsiteY894" fmla="*/ 2470 h 10000"/>
                <a:gd name="connsiteX895" fmla="*/ 7751 w 10785"/>
                <a:gd name="connsiteY895" fmla="*/ 2470 h 10000"/>
                <a:gd name="connsiteX896" fmla="*/ 7705 w 10785"/>
                <a:gd name="connsiteY896" fmla="*/ 2462 h 10000"/>
                <a:gd name="connsiteX897" fmla="*/ 7673 w 10785"/>
                <a:gd name="connsiteY897" fmla="*/ 2419 h 10000"/>
                <a:gd name="connsiteX898" fmla="*/ 7627 w 10785"/>
                <a:gd name="connsiteY898" fmla="*/ 2419 h 10000"/>
                <a:gd name="connsiteX899" fmla="*/ 7613 w 10785"/>
                <a:gd name="connsiteY899" fmla="*/ 2410 h 10000"/>
                <a:gd name="connsiteX900" fmla="*/ 7493 w 10785"/>
                <a:gd name="connsiteY900" fmla="*/ 2393 h 10000"/>
                <a:gd name="connsiteX901" fmla="*/ 7479 w 10785"/>
                <a:gd name="connsiteY901" fmla="*/ 2385 h 10000"/>
                <a:gd name="connsiteX902" fmla="*/ 7479 w 10785"/>
                <a:gd name="connsiteY902" fmla="*/ 2376 h 10000"/>
                <a:gd name="connsiteX903" fmla="*/ 7465 w 10785"/>
                <a:gd name="connsiteY903" fmla="*/ 2359 h 10000"/>
                <a:gd name="connsiteX904" fmla="*/ 7447 w 10785"/>
                <a:gd name="connsiteY904" fmla="*/ 2350 h 10000"/>
                <a:gd name="connsiteX905" fmla="*/ 7433 w 10785"/>
                <a:gd name="connsiteY905" fmla="*/ 2376 h 10000"/>
                <a:gd name="connsiteX906" fmla="*/ 7433 w 10785"/>
                <a:gd name="connsiteY906" fmla="*/ 2385 h 10000"/>
                <a:gd name="connsiteX907" fmla="*/ 7447 w 10785"/>
                <a:gd name="connsiteY907" fmla="*/ 2410 h 10000"/>
                <a:gd name="connsiteX908" fmla="*/ 7447 w 10785"/>
                <a:gd name="connsiteY908" fmla="*/ 2436 h 10000"/>
                <a:gd name="connsiteX909" fmla="*/ 7452 w 10785"/>
                <a:gd name="connsiteY909" fmla="*/ 2462 h 10000"/>
                <a:gd name="connsiteX910" fmla="*/ 7447 w 10785"/>
                <a:gd name="connsiteY910" fmla="*/ 2470 h 10000"/>
                <a:gd name="connsiteX911" fmla="*/ 7424 w 10785"/>
                <a:gd name="connsiteY911" fmla="*/ 2513 h 10000"/>
                <a:gd name="connsiteX912" fmla="*/ 7419 w 10785"/>
                <a:gd name="connsiteY912" fmla="*/ 2556 h 10000"/>
                <a:gd name="connsiteX913" fmla="*/ 7406 w 10785"/>
                <a:gd name="connsiteY913" fmla="*/ 2624 h 10000"/>
                <a:gd name="connsiteX914" fmla="*/ 7392 w 10785"/>
                <a:gd name="connsiteY914" fmla="*/ 2624 h 10000"/>
                <a:gd name="connsiteX915" fmla="*/ 7373 w 10785"/>
                <a:gd name="connsiteY915" fmla="*/ 2650 h 10000"/>
                <a:gd name="connsiteX916" fmla="*/ 7364 w 10785"/>
                <a:gd name="connsiteY916" fmla="*/ 2684 h 10000"/>
                <a:gd name="connsiteX917" fmla="*/ 7364 w 10785"/>
                <a:gd name="connsiteY917" fmla="*/ 2692 h 10000"/>
                <a:gd name="connsiteX918" fmla="*/ 7373 w 10785"/>
                <a:gd name="connsiteY918" fmla="*/ 2718 h 10000"/>
                <a:gd name="connsiteX919" fmla="*/ 7373 w 10785"/>
                <a:gd name="connsiteY919" fmla="*/ 2744 h 10000"/>
                <a:gd name="connsiteX920" fmla="*/ 7359 w 10785"/>
                <a:gd name="connsiteY920" fmla="*/ 2744 h 10000"/>
                <a:gd name="connsiteX921" fmla="*/ 7359 w 10785"/>
                <a:gd name="connsiteY921" fmla="*/ 2795 h 10000"/>
                <a:gd name="connsiteX922" fmla="*/ 7364 w 10785"/>
                <a:gd name="connsiteY922" fmla="*/ 2821 h 10000"/>
                <a:gd name="connsiteX923" fmla="*/ 7378 w 10785"/>
                <a:gd name="connsiteY923" fmla="*/ 2846 h 10000"/>
                <a:gd name="connsiteX924" fmla="*/ 7378 w 10785"/>
                <a:gd name="connsiteY924" fmla="*/ 2855 h 10000"/>
                <a:gd name="connsiteX925" fmla="*/ 7378 w 10785"/>
                <a:gd name="connsiteY925" fmla="*/ 2880 h 10000"/>
                <a:gd name="connsiteX926" fmla="*/ 7378 w 10785"/>
                <a:gd name="connsiteY926" fmla="*/ 2906 h 10000"/>
                <a:gd name="connsiteX927" fmla="*/ 7364 w 10785"/>
                <a:gd name="connsiteY927" fmla="*/ 2906 h 10000"/>
                <a:gd name="connsiteX928" fmla="*/ 7346 w 10785"/>
                <a:gd name="connsiteY928" fmla="*/ 2880 h 10000"/>
                <a:gd name="connsiteX929" fmla="*/ 7332 w 10785"/>
                <a:gd name="connsiteY929" fmla="*/ 2915 h 10000"/>
                <a:gd name="connsiteX930" fmla="*/ 7318 w 10785"/>
                <a:gd name="connsiteY930" fmla="*/ 2906 h 10000"/>
                <a:gd name="connsiteX931" fmla="*/ 7313 w 10785"/>
                <a:gd name="connsiteY931" fmla="*/ 2915 h 10000"/>
                <a:gd name="connsiteX932" fmla="*/ 7313 w 10785"/>
                <a:gd name="connsiteY932" fmla="*/ 2906 h 10000"/>
                <a:gd name="connsiteX933" fmla="*/ 7286 w 10785"/>
                <a:gd name="connsiteY933" fmla="*/ 2940 h 10000"/>
                <a:gd name="connsiteX934" fmla="*/ 7276 w 10785"/>
                <a:gd name="connsiteY934" fmla="*/ 2966 h 10000"/>
                <a:gd name="connsiteX935" fmla="*/ 7272 w 10785"/>
                <a:gd name="connsiteY935" fmla="*/ 2983 h 10000"/>
                <a:gd name="connsiteX936" fmla="*/ 7267 w 10785"/>
                <a:gd name="connsiteY936" fmla="*/ 3009 h 10000"/>
                <a:gd name="connsiteX937" fmla="*/ 7253 w 10785"/>
                <a:gd name="connsiteY937" fmla="*/ 3009 h 10000"/>
                <a:gd name="connsiteX938" fmla="*/ 7244 w 10785"/>
                <a:gd name="connsiteY938" fmla="*/ 3017 h 10000"/>
                <a:gd name="connsiteX939" fmla="*/ 7240 w 10785"/>
                <a:gd name="connsiteY939" fmla="*/ 3009 h 10000"/>
                <a:gd name="connsiteX940" fmla="*/ 7230 w 10785"/>
                <a:gd name="connsiteY940" fmla="*/ 2991 h 10000"/>
                <a:gd name="connsiteX941" fmla="*/ 7226 w 10785"/>
                <a:gd name="connsiteY941" fmla="*/ 2983 h 10000"/>
                <a:gd name="connsiteX942" fmla="*/ 7226 w 10785"/>
                <a:gd name="connsiteY942" fmla="*/ 2966 h 10000"/>
                <a:gd name="connsiteX943" fmla="*/ 7212 w 10785"/>
                <a:gd name="connsiteY943" fmla="*/ 2957 h 10000"/>
                <a:gd name="connsiteX944" fmla="*/ 7212 w 10785"/>
                <a:gd name="connsiteY944" fmla="*/ 2932 h 10000"/>
                <a:gd name="connsiteX945" fmla="*/ 7198 w 10785"/>
                <a:gd name="connsiteY945" fmla="*/ 2915 h 10000"/>
                <a:gd name="connsiteX946" fmla="*/ 7194 w 10785"/>
                <a:gd name="connsiteY946" fmla="*/ 2915 h 10000"/>
                <a:gd name="connsiteX947" fmla="*/ 7157 w 10785"/>
                <a:gd name="connsiteY947" fmla="*/ 2880 h 10000"/>
                <a:gd name="connsiteX948" fmla="*/ 7138 w 10785"/>
                <a:gd name="connsiteY948" fmla="*/ 2880 h 10000"/>
                <a:gd name="connsiteX949" fmla="*/ 7120 w 10785"/>
                <a:gd name="connsiteY949" fmla="*/ 2872 h 10000"/>
                <a:gd name="connsiteX950" fmla="*/ 7111 w 10785"/>
                <a:gd name="connsiteY950" fmla="*/ 2846 h 10000"/>
                <a:gd name="connsiteX951" fmla="*/ 7106 w 10785"/>
                <a:gd name="connsiteY951" fmla="*/ 2846 h 10000"/>
                <a:gd name="connsiteX952" fmla="*/ 7092 w 10785"/>
                <a:gd name="connsiteY952" fmla="*/ 2829 h 10000"/>
                <a:gd name="connsiteX953" fmla="*/ 7051 w 10785"/>
                <a:gd name="connsiteY953" fmla="*/ 2829 h 10000"/>
                <a:gd name="connsiteX954" fmla="*/ 7037 w 10785"/>
                <a:gd name="connsiteY954" fmla="*/ 2880 h 10000"/>
                <a:gd name="connsiteX955" fmla="*/ 7037 w 10785"/>
                <a:gd name="connsiteY955" fmla="*/ 2906 h 10000"/>
                <a:gd name="connsiteX956" fmla="*/ 7037 w 10785"/>
                <a:gd name="connsiteY956" fmla="*/ 2932 h 10000"/>
                <a:gd name="connsiteX957" fmla="*/ 7037 w 10785"/>
                <a:gd name="connsiteY957" fmla="*/ 2940 h 10000"/>
                <a:gd name="connsiteX958" fmla="*/ 7023 w 10785"/>
                <a:gd name="connsiteY958" fmla="*/ 2906 h 10000"/>
                <a:gd name="connsiteX959" fmla="*/ 7023 w 10785"/>
                <a:gd name="connsiteY959" fmla="*/ 2915 h 10000"/>
                <a:gd name="connsiteX960" fmla="*/ 6991 w 10785"/>
                <a:gd name="connsiteY960" fmla="*/ 2906 h 10000"/>
                <a:gd name="connsiteX961" fmla="*/ 6977 w 10785"/>
                <a:gd name="connsiteY961" fmla="*/ 2915 h 10000"/>
                <a:gd name="connsiteX962" fmla="*/ 6963 w 10785"/>
                <a:gd name="connsiteY962" fmla="*/ 2915 h 10000"/>
                <a:gd name="connsiteX963" fmla="*/ 6949 w 10785"/>
                <a:gd name="connsiteY963" fmla="*/ 2872 h 10000"/>
                <a:gd name="connsiteX964" fmla="*/ 6935 w 10785"/>
                <a:gd name="connsiteY964" fmla="*/ 2855 h 10000"/>
                <a:gd name="connsiteX965" fmla="*/ 6922 w 10785"/>
                <a:gd name="connsiteY965" fmla="*/ 2803 h 10000"/>
                <a:gd name="connsiteX966" fmla="*/ 6917 w 10785"/>
                <a:gd name="connsiteY966" fmla="*/ 2786 h 10000"/>
                <a:gd name="connsiteX967" fmla="*/ 6903 w 10785"/>
                <a:gd name="connsiteY967" fmla="*/ 2709 h 10000"/>
                <a:gd name="connsiteX968" fmla="*/ 6903 w 10785"/>
                <a:gd name="connsiteY968" fmla="*/ 2692 h 10000"/>
                <a:gd name="connsiteX969" fmla="*/ 6899 w 10785"/>
                <a:gd name="connsiteY969" fmla="*/ 2709 h 10000"/>
                <a:gd name="connsiteX970" fmla="*/ 6857 w 10785"/>
                <a:gd name="connsiteY970" fmla="*/ 2872 h 10000"/>
                <a:gd name="connsiteX971" fmla="*/ 6857 w 10785"/>
                <a:gd name="connsiteY971" fmla="*/ 3009 h 10000"/>
                <a:gd name="connsiteX972" fmla="*/ 6848 w 10785"/>
                <a:gd name="connsiteY972" fmla="*/ 3017 h 10000"/>
                <a:gd name="connsiteX973" fmla="*/ 6839 w 10785"/>
                <a:gd name="connsiteY973" fmla="*/ 3068 h 10000"/>
                <a:gd name="connsiteX974" fmla="*/ 6829 w 10785"/>
                <a:gd name="connsiteY974" fmla="*/ 3077 h 10000"/>
                <a:gd name="connsiteX975" fmla="*/ 6829 w 10785"/>
                <a:gd name="connsiteY975" fmla="*/ 3128 h 10000"/>
                <a:gd name="connsiteX976" fmla="*/ 6816 w 10785"/>
                <a:gd name="connsiteY976" fmla="*/ 3154 h 10000"/>
                <a:gd name="connsiteX977" fmla="*/ 6811 w 10785"/>
                <a:gd name="connsiteY977" fmla="*/ 3179 h 10000"/>
                <a:gd name="connsiteX978" fmla="*/ 6797 w 10785"/>
                <a:gd name="connsiteY978" fmla="*/ 3171 h 10000"/>
                <a:gd name="connsiteX979" fmla="*/ 6783 w 10785"/>
                <a:gd name="connsiteY979" fmla="*/ 3103 h 10000"/>
                <a:gd name="connsiteX980" fmla="*/ 6779 w 10785"/>
                <a:gd name="connsiteY980" fmla="*/ 3094 h 10000"/>
                <a:gd name="connsiteX981" fmla="*/ 6779 w 10785"/>
                <a:gd name="connsiteY981" fmla="*/ 3120 h 10000"/>
                <a:gd name="connsiteX982" fmla="*/ 6770 w 10785"/>
                <a:gd name="connsiteY982" fmla="*/ 3128 h 10000"/>
                <a:gd name="connsiteX983" fmla="*/ 6765 w 10785"/>
                <a:gd name="connsiteY983" fmla="*/ 3103 h 10000"/>
                <a:gd name="connsiteX984" fmla="*/ 6756 w 10785"/>
                <a:gd name="connsiteY984" fmla="*/ 3103 h 10000"/>
                <a:gd name="connsiteX985" fmla="*/ 6742 w 10785"/>
                <a:gd name="connsiteY985" fmla="*/ 3103 h 10000"/>
                <a:gd name="connsiteX986" fmla="*/ 6737 w 10785"/>
                <a:gd name="connsiteY986" fmla="*/ 3077 h 10000"/>
                <a:gd name="connsiteX987" fmla="*/ 6737 w 10785"/>
                <a:gd name="connsiteY987" fmla="*/ 3068 h 10000"/>
                <a:gd name="connsiteX988" fmla="*/ 6728 w 10785"/>
                <a:gd name="connsiteY988" fmla="*/ 3043 h 10000"/>
                <a:gd name="connsiteX989" fmla="*/ 6724 w 10785"/>
                <a:gd name="connsiteY989" fmla="*/ 3051 h 10000"/>
                <a:gd name="connsiteX990" fmla="*/ 6714 w 10785"/>
                <a:gd name="connsiteY990" fmla="*/ 3043 h 10000"/>
                <a:gd name="connsiteX991" fmla="*/ 6710 w 10785"/>
                <a:gd name="connsiteY991" fmla="*/ 3034 h 10000"/>
                <a:gd name="connsiteX992" fmla="*/ 6705 w 10785"/>
                <a:gd name="connsiteY992" fmla="*/ 2983 h 10000"/>
                <a:gd name="connsiteX993" fmla="*/ 6696 w 10785"/>
                <a:gd name="connsiteY993" fmla="*/ 2966 h 10000"/>
                <a:gd name="connsiteX994" fmla="*/ 6691 w 10785"/>
                <a:gd name="connsiteY994" fmla="*/ 2983 h 10000"/>
                <a:gd name="connsiteX995" fmla="*/ 6677 w 10785"/>
                <a:gd name="connsiteY995" fmla="*/ 2897 h 10000"/>
                <a:gd name="connsiteX996" fmla="*/ 6677 w 10785"/>
                <a:gd name="connsiteY996" fmla="*/ 2897 h 10000"/>
                <a:gd name="connsiteX997" fmla="*/ 6677 w 10785"/>
                <a:gd name="connsiteY997" fmla="*/ 2872 h 10000"/>
                <a:gd name="connsiteX998" fmla="*/ 6668 w 10785"/>
                <a:gd name="connsiteY998" fmla="*/ 2821 h 10000"/>
                <a:gd name="connsiteX999" fmla="*/ 6664 w 10785"/>
                <a:gd name="connsiteY999" fmla="*/ 2829 h 10000"/>
                <a:gd name="connsiteX1000" fmla="*/ 6654 w 10785"/>
                <a:gd name="connsiteY1000" fmla="*/ 2846 h 10000"/>
                <a:gd name="connsiteX1001" fmla="*/ 6650 w 10785"/>
                <a:gd name="connsiteY1001" fmla="*/ 2829 h 10000"/>
                <a:gd name="connsiteX1002" fmla="*/ 6650 w 10785"/>
                <a:gd name="connsiteY1002" fmla="*/ 2803 h 10000"/>
                <a:gd name="connsiteX1003" fmla="*/ 6650 w 10785"/>
                <a:gd name="connsiteY1003" fmla="*/ 2795 h 10000"/>
                <a:gd name="connsiteX1004" fmla="*/ 6641 w 10785"/>
                <a:gd name="connsiteY1004" fmla="*/ 2786 h 10000"/>
                <a:gd name="connsiteX1005" fmla="*/ 6636 w 10785"/>
                <a:gd name="connsiteY1005" fmla="*/ 2735 h 10000"/>
                <a:gd name="connsiteX1006" fmla="*/ 6664 w 10785"/>
                <a:gd name="connsiteY1006" fmla="*/ 2667 h 10000"/>
                <a:gd name="connsiteX1007" fmla="*/ 6668 w 10785"/>
                <a:gd name="connsiteY1007" fmla="*/ 2684 h 10000"/>
                <a:gd name="connsiteX1008" fmla="*/ 6677 w 10785"/>
                <a:gd name="connsiteY1008" fmla="*/ 2667 h 10000"/>
                <a:gd name="connsiteX1009" fmla="*/ 6668 w 10785"/>
                <a:gd name="connsiteY1009" fmla="*/ 2667 h 10000"/>
                <a:gd name="connsiteX1010" fmla="*/ 6668 w 10785"/>
                <a:gd name="connsiteY1010" fmla="*/ 2650 h 10000"/>
                <a:gd name="connsiteX1011" fmla="*/ 6682 w 10785"/>
                <a:gd name="connsiteY1011" fmla="*/ 2650 h 10000"/>
                <a:gd name="connsiteX1012" fmla="*/ 6691 w 10785"/>
                <a:gd name="connsiteY1012" fmla="*/ 2624 h 10000"/>
                <a:gd name="connsiteX1013" fmla="*/ 6682 w 10785"/>
                <a:gd name="connsiteY1013" fmla="*/ 2632 h 10000"/>
                <a:gd name="connsiteX1014" fmla="*/ 6682 w 10785"/>
                <a:gd name="connsiteY1014" fmla="*/ 2624 h 10000"/>
                <a:gd name="connsiteX1015" fmla="*/ 6691 w 10785"/>
                <a:gd name="connsiteY1015" fmla="*/ 2607 h 10000"/>
                <a:gd name="connsiteX1016" fmla="*/ 6691 w 10785"/>
                <a:gd name="connsiteY1016" fmla="*/ 2598 h 10000"/>
                <a:gd name="connsiteX1017" fmla="*/ 6691 w 10785"/>
                <a:gd name="connsiteY1017" fmla="*/ 2581 h 10000"/>
                <a:gd name="connsiteX1018" fmla="*/ 6696 w 10785"/>
                <a:gd name="connsiteY1018" fmla="*/ 2530 h 10000"/>
                <a:gd name="connsiteX1019" fmla="*/ 6677 w 10785"/>
                <a:gd name="connsiteY1019" fmla="*/ 2513 h 10000"/>
                <a:gd name="connsiteX1020" fmla="*/ 6677 w 10785"/>
                <a:gd name="connsiteY1020" fmla="*/ 2496 h 10000"/>
                <a:gd name="connsiteX1021" fmla="*/ 6682 w 10785"/>
                <a:gd name="connsiteY1021" fmla="*/ 2470 h 10000"/>
                <a:gd name="connsiteX1022" fmla="*/ 6668 w 10785"/>
                <a:gd name="connsiteY1022" fmla="*/ 2462 h 10000"/>
                <a:gd name="connsiteX1023" fmla="*/ 6677 w 10785"/>
                <a:gd name="connsiteY1023" fmla="*/ 2436 h 10000"/>
                <a:gd name="connsiteX1024" fmla="*/ 6682 w 10785"/>
                <a:gd name="connsiteY1024" fmla="*/ 2419 h 10000"/>
                <a:gd name="connsiteX1025" fmla="*/ 6682 w 10785"/>
                <a:gd name="connsiteY1025" fmla="*/ 2393 h 10000"/>
                <a:gd name="connsiteX1026" fmla="*/ 6682 w 10785"/>
                <a:gd name="connsiteY1026" fmla="*/ 2385 h 10000"/>
                <a:gd name="connsiteX1027" fmla="*/ 6682 w 10785"/>
                <a:gd name="connsiteY1027" fmla="*/ 2385 h 10000"/>
                <a:gd name="connsiteX1028" fmla="*/ 6677 w 10785"/>
                <a:gd name="connsiteY1028" fmla="*/ 2376 h 10000"/>
                <a:gd name="connsiteX1029" fmla="*/ 6682 w 10785"/>
                <a:gd name="connsiteY1029" fmla="*/ 2359 h 10000"/>
                <a:gd name="connsiteX1030" fmla="*/ 6677 w 10785"/>
                <a:gd name="connsiteY1030" fmla="*/ 2333 h 10000"/>
                <a:gd name="connsiteX1031" fmla="*/ 6691 w 10785"/>
                <a:gd name="connsiteY1031" fmla="*/ 2333 h 10000"/>
                <a:gd name="connsiteX1032" fmla="*/ 6691 w 10785"/>
                <a:gd name="connsiteY1032" fmla="*/ 2325 h 10000"/>
                <a:gd name="connsiteX1033" fmla="*/ 6691 w 10785"/>
                <a:gd name="connsiteY1033" fmla="*/ 2308 h 10000"/>
                <a:gd name="connsiteX1034" fmla="*/ 6691 w 10785"/>
                <a:gd name="connsiteY1034" fmla="*/ 2299 h 10000"/>
                <a:gd name="connsiteX1035" fmla="*/ 6691 w 10785"/>
                <a:gd name="connsiteY1035" fmla="*/ 2282 h 10000"/>
                <a:gd name="connsiteX1036" fmla="*/ 6691 w 10785"/>
                <a:gd name="connsiteY1036" fmla="*/ 2274 h 10000"/>
                <a:gd name="connsiteX1037" fmla="*/ 6668 w 10785"/>
                <a:gd name="connsiteY1037" fmla="*/ 2248 h 10000"/>
                <a:gd name="connsiteX1038" fmla="*/ 6664 w 10785"/>
                <a:gd name="connsiteY1038" fmla="*/ 2222 h 10000"/>
                <a:gd name="connsiteX1039" fmla="*/ 6654 w 10785"/>
                <a:gd name="connsiteY1039" fmla="*/ 2214 h 10000"/>
                <a:gd name="connsiteX1040" fmla="*/ 6654 w 10785"/>
                <a:gd name="connsiteY1040" fmla="*/ 2188 h 10000"/>
                <a:gd name="connsiteX1041" fmla="*/ 6622 w 10785"/>
                <a:gd name="connsiteY1041" fmla="*/ 2162 h 10000"/>
                <a:gd name="connsiteX1042" fmla="*/ 6631 w 10785"/>
                <a:gd name="connsiteY1042" fmla="*/ 2145 h 10000"/>
                <a:gd name="connsiteX1043" fmla="*/ 6622 w 10785"/>
                <a:gd name="connsiteY1043" fmla="*/ 2120 h 10000"/>
                <a:gd name="connsiteX1044" fmla="*/ 6608 w 10785"/>
                <a:gd name="connsiteY1044" fmla="*/ 2120 h 10000"/>
                <a:gd name="connsiteX1045" fmla="*/ 6604 w 10785"/>
                <a:gd name="connsiteY1045" fmla="*/ 2111 h 10000"/>
                <a:gd name="connsiteX1046" fmla="*/ 6608 w 10785"/>
                <a:gd name="connsiteY1046" fmla="*/ 2111 h 10000"/>
                <a:gd name="connsiteX1047" fmla="*/ 6604 w 10785"/>
                <a:gd name="connsiteY1047" fmla="*/ 2085 h 10000"/>
                <a:gd name="connsiteX1048" fmla="*/ 6581 w 10785"/>
                <a:gd name="connsiteY1048" fmla="*/ 2077 h 10000"/>
                <a:gd name="connsiteX1049" fmla="*/ 6571 w 10785"/>
                <a:gd name="connsiteY1049" fmla="*/ 2085 h 10000"/>
                <a:gd name="connsiteX1050" fmla="*/ 6548 w 10785"/>
                <a:gd name="connsiteY1050" fmla="*/ 2077 h 10000"/>
                <a:gd name="connsiteX1051" fmla="*/ 6530 w 10785"/>
                <a:gd name="connsiteY1051" fmla="*/ 2060 h 10000"/>
                <a:gd name="connsiteX1052" fmla="*/ 6521 w 10785"/>
                <a:gd name="connsiteY1052" fmla="*/ 2060 h 10000"/>
                <a:gd name="connsiteX1053" fmla="*/ 6521 w 10785"/>
                <a:gd name="connsiteY1053" fmla="*/ 2085 h 10000"/>
                <a:gd name="connsiteX1054" fmla="*/ 6516 w 10785"/>
                <a:gd name="connsiteY1054" fmla="*/ 2085 h 10000"/>
                <a:gd name="connsiteX1055" fmla="*/ 6502 w 10785"/>
                <a:gd name="connsiteY1055" fmla="*/ 2111 h 10000"/>
                <a:gd name="connsiteX1056" fmla="*/ 6498 w 10785"/>
                <a:gd name="connsiteY1056" fmla="*/ 2111 h 10000"/>
                <a:gd name="connsiteX1057" fmla="*/ 6498 w 10785"/>
                <a:gd name="connsiteY1057" fmla="*/ 2103 h 10000"/>
                <a:gd name="connsiteX1058" fmla="*/ 6475 w 10785"/>
                <a:gd name="connsiteY1058" fmla="*/ 2051 h 10000"/>
                <a:gd name="connsiteX1059" fmla="*/ 6470 w 10785"/>
                <a:gd name="connsiteY1059" fmla="*/ 2060 h 10000"/>
                <a:gd name="connsiteX1060" fmla="*/ 6456 w 10785"/>
                <a:gd name="connsiteY1060" fmla="*/ 2051 h 10000"/>
                <a:gd name="connsiteX1061" fmla="*/ 6447 w 10785"/>
                <a:gd name="connsiteY1061" fmla="*/ 2051 h 10000"/>
                <a:gd name="connsiteX1062" fmla="*/ 6433 w 10785"/>
                <a:gd name="connsiteY1062" fmla="*/ 2026 h 10000"/>
                <a:gd name="connsiteX1063" fmla="*/ 6433 w 10785"/>
                <a:gd name="connsiteY1063" fmla="*/ 2034 h 10000"/>
                <a:gd name="connsiteX1064" fmla="*/ 6429 w 10785"/>
                <a:gd name="connsiteY1064" fmla="*/ 2026 h 10000"/>
                <a:gd name="connsiteX1065" fmla="*/ 6424 w 10785"/>
                <a:gd name="connsiteY1065" fmla="*/ 2034 h 10000"/>
                <a:gd name="connsiteX1066" fmla="*/ 6410 w 10785"/>
                <a:gd name="connsiteY1066" fmla="*/ 2026 h 10000"/>
                <a:gd name="connsiteX1067" fmla="*/ 6410 w 10785"/>
                <a:gd name="connsiteY1067" fmla="*/ 1991 h 10000"/>
                <a:gd name="connsiteX1068" fmla="*/ 6401 w 10785"/>
                <a:gd name="connsiteY1068" fmla="*/ 1991 h 10000"/>
                <a:gd name="connsiteX1069" fmla="*/ 6396 w 10785"/>
                <a:gd name="connsiteY1069" fmla="*/ 2000 h 10000"/>
                <a:gd name="connsiteX1070" fmla="*/ 6382 w 10785"/>
                <a:gd name="connsiteY1070" fmla="*/ 1966 h 10000"/>
                <a:gd name="connsiteX1071" fmla="*/ 6373 w 10785"/>
                <a:gd name="connsiteY1071" fmla="*/ 1974 h 10000"/>
                <a:gd name="connsiteX1072" fmla="*/ 6369 w 10785"/>
                <a:gd name="connsiteY1072" fmla="*/ 1966 h 10000"/>
                <a:gd name="connsiteX1073" fmla="*/ 6341 w 10785"/>
                <a:gd name="connsiteY1073" fmla="*/ 1949 h 10000"/>
                <a:gd name="connsiteX1074" fmla="*/ 6327 w 10785"/>
                <a:gd name="connsiteY1074" fmla="*/ 1923 h 10000"/>
                <a:gd name="connsiteX1075" fmla="*/ 6323 w 10785"/>
                <a:gd name="connsiteY1075" fmla="*/ 1923 h 10000"/>
                <a:gd name="connsiteX1076" fmla="*/ 6323 w 10785"/>
                <a:gd name="connsiteY1076" fmla="*/ 1966 h 10000"/>
                <a:gd name="connsiteX1077" fmla="*/ 6323 w 10785"/>
                <a:gd name="connsiteY1077" fmla="*/ 1991 h 10000"/>
                <a:gd name="connsiteX1078" fmla="*/ 6313 w 10785"/>
                <a:gd name="connsiteY1078" fmla="*/ 1991 h 10000"/>
                <a:gd name="connsiteX1079" fmla="*/ 6300 w 10785"/>
                <a:gd name="connsiteY1079" fmla="*/ 1991 h 10000"/>
                <a:gd name="connsiteX1080" fmla="*/ 6290 w 10785"/>
                <a:gd name="connsiteY1080" fmla="*/ 1949 h 10000"/>
                <a:gd name="connsiteX1081" fmla="*/ 6276 w 10785"/>
                <a:gd name="connsiteY1081" fmla="*/ 2103 h 10000"/>
                <a:gd name="connsiteX1082" fmla="*/ 6281 w 10785"/>
                <a:gd name="connsiteY1082" fmla="*/ 2103 h 10000"/>
                <a:gd name="connsiteX1083" fmla="*/ 6276 w 10785"/>
                <a:gd name="connsiteY1083" fmla="*/ 2111 h 10000"/>
                <a:gd name="connsiteX1084" fmla="*/ 6276 w 10785"/>
                <a:gd name="connsiteY1084" fmla="*/ 2120 h 10000"/>
                <a:gd name="connsiteX1085" fmla="*/ 6295 w 10785"/>
                <a:gd name="connsiteY1085" fmla="*/ 2239 h 10000"/>
                <a:gd name="connsiteX1086" fmla="*/ 6290 w 10785"/>
                <a:gd name="connsiteY1086" fmla="*/ 2248 h 10000"/>
                <a:gd name="connsiteX1087" fmla="*/ 6281 w 10785"/>
                <a:gd name="connsiteY1087" fmla="*/ 2274 h 10000"/>
                <a:gd name="connsiteX1088" fmla="*/ 6249 w 10785"/>
                <a:gd name="connsiteY1088" fmla="*/ 2274 h 10000"/>
                <a:gd name="connsiteX1089" fmla="*/ 6226 w 10785"/>
                <a:gd name="connsiteY1089" fmla="*/ 2308 h 10000"/>
                <a:gd name="connsiteX1090" fmla="*/ 6221 w 10785"/>
                <a:gd name="connsiteY1090" fmla="*/ 2299 h 10000"/>
                <a:gd name="connsiteX1091" fmla="*/ 6221 w 10785"/>
                <a:gd name="connsiteY1091" fmla="*/ 2308 h 10000"/>
                <a:gd name="connsiteX1092" fmla="*/ 6217 w 10785"/>
                <a:gd name="connsiteY1092" fmla="*/ 2299 h 10000"/>
                <a:gd name="connsiteX1093" fmla="*/ 6194 w 10785"/>
                <a:gd name="connsiteY1093" fmla="*/ 2308 h 10000"/>
                <a:gd name="connsiteX1094" fmla="*/ 6180 w 10785"/>
                <a:gd name="connsiteY1094" fmla="*/ 2299 h 10000"/>
                <a:gd name="connsiteX1095" fmla="*/ 6143 w 10785"/>
                <a:gd name="connsiteY1095" fmla="*/ 2308 h 10000"/>
                <a:gd name="connsiteX1096" fmla="*/ 6134 w 10785"/>
                <a:gd name="connsiteY1096" fmla="*/ 2325 h 10000"/>
                <a:gd name="connsiteX1097" fmla="*/ 6115 w 10785"/>
                <a:gd name="connsiteY1097" fmla="*/ 2282 h 10000"/>
                <a:gd name="connsiteX1098" fmla="*/ 6069 w 10785"/>
                <a:gd name="connsiteY1098" fmla="*/ 2274 h 10000"/>
                <a:gd name="connsiteX1099" fmla="*/ 6069 w 10785"/>
                <a:gd name="connsiteY1099" fmla="*/ 2282 h 10000"/>
                <a:gd name="connsiteX1100" fmla="*/ 6060 w 10785"/>
                <a:gd name="connsiteY1100" fmla="*/ 2299 h 10000"/>
                <a:gd name="connsiteX1101" fmla="*/ 5972 w 10785"/>
                <a:gd name="connsiteY1101" fmla="*/ 2214 h 10000"/>
                <a:gd name="connsiteX1102" fmla="*/ 5968 w 10785"/>
                <a:gd name="connsiteY1102" fmla="*/ 2197 h 10000"/>
                <a:gd name="connsiteX1103" fmla="*/ 5968 w 10785"/>
                <a:gd name="connsiteY1103" fmla="*/ 2171 h 10000"/>
                <a:gd name="connsiteX1104" fmla="*/ 5968 w 10785"/>
                <a:gd name="connsiteY1104" fmla="*/ 2162 h 10000"/>
                <a:gd name="connsiteX1105" fmla="*/ 5968 w 10785"/>
                <a:gd name="connsiteY1105" fmla="*/ 2120 h 10000"/>
                <a:gd name="connsiteX1106" fmla="*/ 5968 w 10785"/>
                <a:gd name="connsiteY1106" fmla="*/ 2111 h 10000"/>
                <a:gd name="connsiteX1107" fmla="*/ 5972 w 10785"/>
                <a:gd name="connsiteY1107" fmla="*/ 2103 h 10000"/>
                <a:gd name="connsiteX1108" fmla="*/ 5986 w 10785"/>
                <a:gd name="connsiteY1108" fmla="*/ 2103 h 10000"/>
                <a:gd name="connsiteX1109" fmla="*/ 5986 w 10785"/>
                <a:gd name="connsiteY1109" fmla="*/ 2085 h 10000"/>
                <a:gd name="connsiteX1110" fmla="*/ 5995 w 10785"/>
                <a:gd name="connsiteY1110" fmla="*/ 2085 h 10000"/>
                <a:gd name="connsiteX1111" fmla="*/ 5995 w 10785"/>
                <a:gd name="connsiteY1111" fmla="*/ 2077 h 10000"/>
                <a:gd name="connsiteX1112" fmla="*/ 5986 w 10785"/>
                <a:gd name="connsiteY1112" fmla="*/ 2060 h 10000"/>
                <a:gd name="connsiteX1113" fmla="*/ 5954 w 10785"/>
                <a:gd name="connsiteY1113" fmla="*/ 2060 h 10000"/>
                <a:gd name="connsiteX1114" fmla="*/ 5940 w 10785"/>
                <a:gd name="connsiteY1114" fmla="*/ 2051 h 10000"/>
                <a:gd name="connsiteX1115" fmla="*/ 5922 w 10785"/>
                <a:gd name="connsiteY1115" fmla="*/ 2060 h 10000"/>
                <a:gd name="connsiteX1116" fmla="*/ 5885 w 10785"/>
                <a:gd name="connsiteY1116" fmla="*/ 2051 h 10000"/>
                <a:gd name="connsiteX1117" fmla="*/ 5876 w 10785"/>
                <a:gd name="connsiteY1117" fmla="*/ 2026 h 10000"/>
                <a:gd name="connsiteX1118" fmla="*/ 5862 w 10785"/>
                <a:gd name="connsiteY1118" fmla="*/ 2026 h 10000"/>
                <a:gd name="connsiteX1119" fmla="*/ 5848 w 10785"/>
                <a:gd name="connsiteY1119" fmla="*/ 2026 h 10000"/>
                <a:gd name="connsiteX1120" fmla="*/ 5825 w 10785"/>
                <a:gd name="connsiteY1120" fmla="*/ 2026 h 10000"/>
                <a:gd name="connsiteX1121" fmla="*/ 5788 w 10785"/>
                <a:gd name="connsiteY1121" fmla="*/ 1991 h 10000"/>
                <a:gd name="connsiteX1122" fmla="*/ 5760 w 10785"/>
                <a:gd name="connsiteY1122" fmla="*/ 2000 h 10000"/>
                <a:gd name="connsiteX1123" fmla="*/ 5760 w 10785"/>
                <a:gd name="connsiteY1123" fmla="*/ 2026 h 10000"/>
                <a:gd name="connsiteX1124" fmla="*/ 5714 w 10785"/>
                <a:gd name="connsiteY1124" fmla="*/ 2051 h 10000"/>
                <a:gd name="connsiteX1125" fmla="*/ 5687 w 10785"/>
                <a:gd name="connsiteY1125" fmla="*/ 2034 h 10000"/>
                <a:gd name="connsiteX1126" fmla="*/ 5645 w 10785"/>
                <a:gd name="connsiteY1126" fmla="*/ 2077 h 10000"/>
                <a:gd name="connsiteX1127" fmla="*/ 5664 w 10785"/>
                <a:gd name="connsiteY1127" fmla="*/ 2120 h 10000"/>
                <a:gd name="connsiteX1128" fmla="*/ 5664 w 10785"/>
                <a:gd name="connsiteY1128" fmla="*/ 2162 h 10000"/>
                <a:gd name="connsiteX1129" fmla="*/ 5631 w 10785"/>
                <a:gd name="connsiteY1129" fmla="*/ 2197 h 10000"/>
                <a:gd name="connsiteX1130" fmla="*/ 5618 w 10785"/>
                <a:gd name="connsiteY1130" fmla="*/ 2188 h 10000"/>
                <a:gd name="connsiteX1131" fmla="*/ 5618 w 10785"/>
                <a:gd name="connsiteY1131" fmla="*/ 2171 h 10000"/>
                <a:gd name="connsiteX1132" fmla="*/ 5641 w 10785"/>
                <a:gd name="connsiteY1132" fmla="*/ 2171 h 10000"/>
                <a:gd name="connsiteX1133" fmla="*/ 5641 w 10785"/>
                <a:gd name="connsiteY1133" fmla="*/ 2162 h 10000"/>
                <a:gd name="connsiteX1134" fmla="*/ 5627 w 10785"/>
                <a:gd name="connsiteY1134" fmla="*/ 2145 h 10000"/>
                <a:gd name="connsiteX1135" fmla="*/ 5627 w 10785"/>
                <a:gd name="connsiteY1135" fmla="*/ 2120 h 10000"/>
                <a:gd name="connsiteX1136" fmla="*/ 5618 w 10785"/>
                <a:gd name="connsiteY1136" fmla="*/ 2111 h 10000"/>
                <a:gd name="connsiteX1137" fmla="*/ 5631 w 10785"/>
                <a:gd name="connsiteY1137" fmla="*/ 2051 h 10000"/>
                <a:gd name="connsiteX1138" fmla="*/ 5631 w 10785"/>
                <a:gd name="connsiteY1138" fmla="*/ 2026 h 10000"/>
                <a:gd name="connsiteX1139" fmla="*/ 5627 w 10785"/>
                <a:gd name="connsiteY1139" fmla="*/ 1991 h 10000"/>
                <a:gd name="connsiteX1140" fmla="*/ 5618 w 10785"/>
                <a:gd name="connsiteY1140" fmla="*/ 1974 h 10000"/>
                <a:gd name="connsiteX1141" fmla="*/ 5618 w 10785"/>
                <a:gd name="connsiteY1141" fmla="*/ 1940 h 10000"/>
                <a:gd name="connsiteX1142" fmla="*/ 5594 w 10785"/>
                <a:gd name="connsiteY1142" fmla="*/ 1855 h 10000"/>
                <a:gd name="connsiteX1143" fmla="*/ 5599 w 10785"/>
                <a:gd name="connsiteY1143" fmla="*/ 1915 h 10000"/>
                <a:gd name="connsiteX1144" fmla="*/ 5599 w 10785"/>
                <a:gd name="connsiteY1144" fmla="*/ 1949 h 10000"/>
                <a:gd name="connsiteX1145" fmla="*/ 5594 w 10785"/>
                <a:gd name="connsiteY1145" fmla="*/ 1991 h 10000"/>
                <a:gd name="connsiteX1146" fmla="*/ 5571 w 10785"/>
                <a:gd name="connsiteY1146" fmla="*/ 2000 h 10000"/>
                <a:gd name="connsiteX1147" fmla="*/ 5530 w 10785"/>
                <a:gd name="connsiteY1147" fmla="*/ 1991 h 10000"/>
                <a:gd name="connsiteX1148" fmla="*/ 5525 w 10785"/>
                <a:gd name="connsiteY1148" fmla="*/ 2000 h 10000"/>
                <a:gd name="connsiteX1149" fmla="*/ 5521 w 10785"/>
                <a:gd name="connsiteY1149" fmla="*/ 1991 h 10000"/>
                <a:gd name="connsiteX1150" fmla="*/ 5498 w 10785"/>
                <a:gd name="connsiteY1150" fmla="*/ 1949 h 10000"/>
                <a:gd name="connsiteX1151" fmla="*/ 5493 w 10785"/>
                <a:gd name="connsiteY1151" fmla="*/ 1889 h 10000"/>
                <a:gd name="connsiteX1152" fmla="*/ 5493 w 10785"/>
                <a:gd name="connsiteY1152" fmla="*/ 1863 h 10000"/>
                <a:gd name="connsiteX1153" fmla="*/ 5498 w 10785"/>
                <a:gd name="connsiteY1153" fmla="*/ 1889 h 10000"/>
                <a:gd name="connsiteX1154" fmla="*/ 5512 w 10785"/>
                <a:gd name="connsiteY1154" fmla="*/ 1855 h 10000"/>
                <a:gd name="connsiteX1155" fmla="*/ 5512 w 10785"/>
                <a:gd name="connsiteY1155" fmla="*/ 1838 h 10000"/>
                <a:gd name="connsiteX1156" fmla="*/ 5479 w 10785"/>
                <a:gd name="connsiteY1156" fmla="*/ 1855 h 10000"/>
                <a:gd name="connsiteX1157" fmla="*/ 5470 w 10785"/>
                <a:gd name="connsiteY1157" fmla="*/ 1872 h 10000"/>
                <a:gd name="connsiteX1158" fmla="*/ 5470 w 10785"/>
                <a:gd name="connsiteY1158" fmla="*/ 1889 h 10000"/>
                <a:gd name="connsiteX1159" fmla="*/ 5465 w 10785"/>
                <a:gd name="connsiteY1159" fmla="*/ 1897 h 10000"/>
                <a:gd name="connsiteX1160" fmla="*/ 5456 w 10785"/>
                <a:gd name="connsiteY1160" fmla="*/ 1872 h 10000"/>
                <a:gd name="connsiteX1161" fmla="*/ 5447 w 10785"/>
                <a:gd name="connsiteY1161" fmla="*/ 1872 h 10000"/>
                <a:gd name="connsiteX1162" fmla="*/ 5433 w 10785"/>
                <a:gd name="connsiteY1162" fmla="*/ 1855 h 10000"/>
                <a:gd name="connsiteX1163" fmla="*/ 5396 w 10785"/>
                <a:gd name="connsiteY1163" fmla="*/ 1863 h 10000"/>
                <a:gd name="connsiteX1164" fmla="*/ 5396 w 10785"/>
                <a:gd name="connsiteY1164" fmla="*/ 1897 h 10000"/>
                <a:gd name="connsiteX1165" fmla="*/ 5378 w 10785"/>
                <a:gd name="connsiteY1165" fmla="*/ 1949 h 10000"/>
                <a:gd name="connsiteX1166" fmla="*/ 5378 w 10785"/>
                <a:gd name="connsiteY1166" fmla="*/ 1966 h 10000"/>
                <a:gd name="connsiteX1167" fmla="*/ 5392 w 10785"/>
                <a:gd name="connsiteY1167" fmla="*/ 2026 h 10000"/>
                <a:gd name="connsiteX1168" fmla="*/ 5396 w 10785"/>
                <a:gd name="connsiteY1168" fmla="*/ 2026 h 10000"/>
                <a:gd name="connsiteX1169" fmla="*/ 5392 w 10785"/>
                <a:gd name="connsiteY1169" fmla="*/ 2009 h 10000"/>
                <a:gd name="connsiteX1170" fmla="*/ 5392 w 10785"/>
                <a:gd name="connsiteY1170" fmla="*/ 2000 h 10000"/>
                <a:gd name="connsiteX1171" fmla="*/ 5396 w 10785"/>
                <a:gd name="connsiteY1171" fmla="*/ 2009 h 10000"/>
                <a:gd name="connsiteX1172" fmla="*/ 5424 w 10785"/>
                <a:gd name="connsiteY1172" fmla="*/ 2009 h 10000"/>
                <a:gd name="connsiteX1173" fmla="*/ 5433 w 10785"/>
                <a:gd name="connsiteY1173" fmla="*/ 1991 h 10000"/>
                <a:gd name="connsiteX1174" fmla="*/ 5447 w 10785"/>
                <a:gd name="connsiteY1174" fmla="*/ 1974 h 10000"/>
                <a:gd name="connsiteX1175" fmla="*/ 5452 w 10785"/>
                <a:gd name="connsiteY1175" fmla="*/ 1966 h 10000"/>
                <a:gd name="connsiteX1176" fmla="*/ 5456 w 10785"/>
                <a:gd name="connsiteY1176" fmla="*/ 1966 h 10000"/>
                <a:gd name="connsiteX1177" fmla="*/ 5465 w 10785"/>
                <a:gd name="connsiteY1177" fmla="*/ 2009 h 10000"/>
                <a:gd name="connsiteX1178" fmla="*/ 5433 w 10785"/>
                <a:gd name="connsiteY1178" fmla="*/ 2034 h 10000"/>
                <a:gd name="connsiteX1179" fmla="*/ 5424 w 10785"/>
                <a:gd name="connsiteY1179" fmla="*/ 2060 h 10000"/>
                <a:gd name="connsiteX1180" fmla="*/ 5419 w 10785"/>
                <a:gd name="connsiteY1180" fmla="*/ 2060 h 10000"/>
                <a:gd name="connsiteX1181" fmla="*/ 5392 w 10785"/>
                <a:gd name="connsiteY1181" fmla="*/ 2111 h 10000"/>
                <a:gd name="connsiteX1182" fmla="*/ 5378 w 10785"/>
                <a:gd name="connsiteY1182" fmla="*/ 2111 h 10000"/>
                <a:gd name="connsiteX1183" fmla="*/ 5350 w 10785"/>
                <a:gd name="connsiteY1183" fmla="*/ 2060 h 10000"/>
                <a:gd name="connsiteX1184" fmla="*/ 5373 w 10785"/>
                <a:gd name="connsiteY1184" fmla="*/ 2111 h 10000"/>
                <a:gd name="connsiteX1185" fmla="*/ 5364 w 10785"/>
                <a:gd name="connsiteY1185" fmla="*/ 2111 h 10000"/>
                <a:gd name="connsiteX1186" fmla="*/ 5359 w 10785"/>
                <a:gd name="connsiteY1186" fmla="*/ 2103 h 10000"/>
                <a:gd name="connsiteX1187" fmla="*/ 5359 w 10785"/>
                <a:gd name="connsiteY1187" fmla="*/ 2120 h 10000"/>
                <a:gd name="connsiteX1188" fmla="*/ 5359 w 10785"/>
                <a:gd name="connsiteY1188" fmla="*/ 2137 h 10000"/>
                <a:gd name="connsiteX1189" fmla="*/ 5313 w 10785"/>
                <a:gd name="connsiteY1189" fmla="*/ 2162 h 10000"/>
                <a:gd name="connsiteX1190" fmla="*/ 5300 w 10785"/>
                <a:gd name="connsiteY1190" fmla="*/ 2162 h 10000"/>
                <a:gd name="connsiteX1191" fmla="*/ 5300 w 10785"/>
                <a:gd name="connsiteY1191" fmla="*/ 2171 h 10000"/>
                <a:gd name="connsiteX1192" fmla="*/ 5300 w 10785"/>
                <a:gd name="connsiteY1192" fmla="*/ 2197 h 10000"/>
                <a:gd name="connsiteX1193" fmla="*/ 5276 w 10785"/>
                <a:gd name="connsiteY1193" fmla="*/ 2188 h 10000"/>
                <a:gd name="connsiteX1194" fmla="*/ 5249 w 10785"/>
                <a:gd name="connsiteY1194" fmla="*/ 2222 h 10000"/>
                <a:gd name="connsiteX1195" fmla="*/ 5249 w 10785"/>
                <a:gd name="connsiteY1195" fmla="*/ 2222 h 10000"/>
                <a:gd name="connsiteX1196" fmla="*/ 5217 w 10785"/>
                <a:gd name="connsiteY1196" fmla="*/ 2214 h 10000"/>
                <a:gd name="connsiteX1197" fmla="*/ 5203 w 10785"/>
                <a:gd name="connsiteY1197" fmla="*/ 2239 h 10000"/>
                <a:gd name="connsiteX1198" fmla="*/ 5171 w 10785"/>
                <a:gd name="connsiteY1198" fmla="*/ 2214 h 10000"/>
                <a:gd name="connsiteX1199" fmla="*/ 5157 w 10785"/>
                <a:gd name="connsiteY1199" fmla="*/ 2239 h 10000"/>
                <a:gd name="connsiteX1200" fmla="*/ 5166 w 10785"/>
                <a:gd name="connsiteY1200" fmla="*/ 2256 h 10000"/>
                <a:gd name="connsiteX1201" fmla="*/ 5171 w 10785"/>
                <a:gd name="connsiteY1201" fmla="*/ 2308 h 10000"/>
                <a:gd name="connsiteX1202" fmla="*/ 5212 w 10785"/>
                <a:gd name="connsiteY1202" fmla="*/ 2350 h 10000"/>
                <a:gd name="connsiteX1203" fmla="*/ 5203 w 10785"/>
                <a:gd name="connsiteY1203" fmla="*/ 2350 h 10000"/>
                <a:gd name="connsiteX1204" fmla="*/ 5166 w 10785"/>
                <a:gd name="connsiteY1204" fmla="*/ 2325 h 10000"/>
                <a:gd name="connsiteX1205" fmla="*/ 5152 w 10785"/>
                <a:gd name="connsiteY1205" fmla="*/ 2308 h 10000"/>
                <a:gd name="connsiteX1206" fmla="*/ 5143 w 10785"/>
                <a:gd name="connsiteY1206" fmla="*/ 2333 h 10000"/>
                <a:gd name="connsiteX1207" fmla="*/ 5138 w 10785"/>
                <a:gd name="connsiteY1207" fmla="*/ 2333 h 10000"/>
                <a:gd name="connsiteX1208" fmla="*/ 5124 w 10785"/>
                <a:gd name="connsiteY1208" fmla="*/ 2376 h 10000"/>
                <a:gd name="connsiteX1209" fmla="*/ 5115 w 10785"/>
                <a:gd name="connsiteY1209" fmla="*/ 2385 h 10000"/>
                <a:gd name="connsiteX1210" fmla="*/ 5106 w 10785"/>
                <a:gd name="connsiteY1210" fmla="*/ 2385 h 10000"/>
                <a:gd name="connsiteX1211" fmla="*/ 5055 w 10785"/>
                <a:gd name="connsiteY1211" fmla="*/ 2470 h 10000"/>
                <a:gd name="connsiteX1212" fmla="*/ 5065 w 10785"/>
                <a:gd name="connsiteY1212" fmla="*/ 2462 h 10000"/>
                <a:gd name="connsiteX1213" fmla="*/ 5055 w 10785"/>
                <a:gd name="connsiteY1213" fmla="*/ 2444 h 10000"/>
                <a:gd name="connsiteX1214" fmla="*/ 5041 w 10785"/>
                <a:gd name="connsiteY1214" fmla="*/ 2462 h 10000"/>
                <a:gd name="connsiteX1215" fmla="*/ 5037 w 10785"/>
                <a:gd name="connsiteY1215" fmla="*/ 2470 h 10000"/>
                <a:gd name="connsiteX1216" fmla="*/ 5032 w 10785"/>
                <a:gd name="connsiteY1216" fmla="*/ 2470 h 10000"/>
                <a:gd name="connsiteX1217" fmla="*/ 5032 w 10785"/>
                <a:gd name="connsiteY1217" fmla="*/ 2444 h 10000"/>
                <a:gd name="connsiteX1218" fmla="*/ 5055 w 10785"/>
                <a:gd name="connsiteY1218" fmla="*/ 2410 h 10000"/>
                <a:gd name="connsiteX1219" fmla="*/ 5065 w 10785"/>
                <a:gd name="connsiteY1219" fmla="*/ 2393 h 10000"/>
                <a:gd name="connsiteX1220" fmla="*/ 5069 w 10785"/>
                <a:gd name="connsiteY1220" fmla="*/ 2385 h 10000"/>
                <a:gd name="connsiteX1221" fmla="*/ 5083 w 10785"/>
                <a:gd name="connsiteY1221" fmla="*/ 2376 h 10000"/>
                <a:gd name="connsiteX1222" fmla="*/ 5097 w 10785"/>
                <a:gd name="connsiteY1222" fmla="*/ 2376 h 10000"/>
                <a:gd name="connsiteX1223" fmla="*/ 5124 w 10785"/>
                <a:gd name="connsiteY1223" fmla="*/ 2325 h 10000"/>
                <a:gd name="connsiteX1224" fmla="*/ 5143 w 10785"/>
                <a:gd name="connsiteY1224" fmla="*/ 2248 h 10000"/>
                <a:gd name="connsiteX1225" fmla="*/ 5152 w 10785"/>
                <a:gd name="connsiteY1225" fmla="*/ 2239 h 10000"/>
                <a:gd name="connsiteX1226" fmla="*/ 5166 w 10785"/>
                <a:gd name="connsiteY1226" fmla="*/ 2162 h 10000"/>
                <a:gd name="connsiteX1227" fmla="*/ 5171 w 10785"/>
                <a:gd name="connsiteY1227" fmla="*/ 2171 h 10000"/>
                <a:gd name="connsiteX1228" fmla="*/ 5198 w 10785"/>
                <a:gd name="connsiteY1228" fmla="*/ 2145 h 10000"/>
                <a:gd name="connsiteX1229" fmla="*/ 5203 w 10785"/>
                <a:gd name="connsiteY1229" fmla="*/ 2111 h 10000"/>
                <a:gd name="connsiteX1230" fmla="*/ 5217 w 10785"/>
                <a:gd name="connsiteY1230" fmla="*/ 2060 h 10000"/>
                <a:gd name="connsiteX1231" fmla="*/ 5226 w 10785"/>
                <a:gd name="connsiteY1231" fmla="*/ 2026 h 10000"/>
                <a:gd name="connsiteX1232" fmla="*/ 5286 w 10785"/>
                <a:gd name="connsiteY1232" fmla="*/ 2026 h 10000"/>
                <a:gd name="connsiteX1233" fmla="*/ 5290 w 10785"/>
                <a:gd name="connsiteY1233" fmla="*/ 2034 h 10000"/>
                <a:gd name="connsiteX1234" fmla="*/ 5323 w 10785"/>
                <a:gd name="connsiteY1234" fmla="*/ 1923 h 10000"/>
                <a:gd name="connsiteX1235" fmla="*/ 5323 w 10785"/>
                <a:gd name="connsiteY1235" fmla="*/ 1889 h 10000"/>
                <a:gd name="connsiteX1236" fmla="*/ 5359 w 10785"/>
                <a:gd name="connsiteY1236" fmla="*/ 1829 h 10000"/>
                <a:gd name="connsiteX1237" fmla="*/ 5378 w 10785"/>
                <a:gd name="connsiteY1237" fmla="*/ 1812 h 10000"/>
                <a:gd name="connsiteX1238" fmla="*/ 5406 w 10785"/>
                <a:gd name="connsiteY1238" fmla="*/ 1752 h 10000"/>
                <a:gd name="connsiteX1239" fmla="*/ 5410 w 10785"/>
                <a:gd name="connsiteY1239" fmla="*/ 1718 h 10000"/>
                <a:gd name="connsiteX1240" fmla="*/ 5438 w 10785"/>
                <a:gd name="connsiteY1240" fmla="*/ 1667 h 10000"/>
                <a:gd name="connsiteX1241" fmla="*/ 5438 w 10785"/>
                <a:gd name="connsiteY1241" fmla="*/ 1650 h 10000"/>
                <a:gd name="connsiteX1242" fmla="*/ 5438 w 10785"/>
                <a:gd name="connsiteY1242" fmla="*/ 1641 h 10000"/>
                <a:gd name="connsiteX1243" fmla="*/ 5452 w 10785"/>
                <a:gd name="connsiteY1243" fmla="*/ 1641 h 10000"/>
                <a:gd name="connsiteX1244" fmla="*/ 5456 w 10785"/>
                <a:gd name="connsiteY1244" fmla="*/ 1615 h 10000"/>
                <a:gd name="connsiteX1245" fmla="*/ 5456 w 10785"/>
                <a:gd name="connsiteY1245" fmla="*/ 1615 h 10000"/>
                <a:gd name="connsiteX1246" fmla="*/ 5465 w 10785"/>
                <a:gd name="connsiteY1246" fmla="*/ 1598 h 10000"/>
                <a:gd name="connsiteX1247" fmla="*/ 5465 w 10785"/>
                <a:gd name="connsiteY1247" fmla="*/ 1615 h 10000"/>
                <a:gd name="connsiteX1248" fmla="*/ 5479 w 10785"/>
                <a:gd name="connsiteY1248" fmla="*/ 1598 h 10000"/>
                <a:gd name="connsiteX1249" fmla="*/ 5484 w 10785"/>
                <a:gd name="connsiteY1249" fmla="*/ 1581 h 10000"/>
                <a:gd name="connsiteX1250" fmla="*/ 5493 w 10785"/>
                <a:gd name="connsiteY1250" fmla="*/ 1581 h 10000"/>
                <a:gd name="connsiteX1251" fmla="*/ 5512 w 10785"/>
                <a:gd name="connsiteY1251" fmla="*/ 1538 h 10000"/>
                <a:gd name="connsiteX1252" fmla="*/ 5530 w 10785"/>
                <a:gd name="connsiteY1252" fmla="*/ 1564 h 10000"/>
                <a:gd name="connsiteX1253" fmla="*/ 5530 w 10785"/>
                <a:gd name="connsiteY1253" fmla="*/ 1538 h 10000"/>
                <a:gd name="connsiteX1254" fmla="*/ 5539 w 10785"/>
                <a:gd name="connsiteY1254" fmla="*/ 1530 h 10000"/>
                <a:gd name="connsiteX1255" fmla="*/ 5530 w 10785"/>
                <a:gd name="connsiteY1255" fmla="*/ 1504 h 10000"/>
                <a:gd name="connsiteX1256" fmla="*/ 5567 w 10785"/>
                <a:gd name="connsiteY1256" fmla="*/ 1479 h 10000"/>
                <a:gd name="connsiteX1257" fmla="*/ 5553 w 10785"/>
                <a:gd name="connsiteY1257" fmla="*/ 1479 h 10000"/>
                <a:gd name="connsiteX1258" fmla="*/ 5553 w 10785"/>
                <a:gd name="connsiteY1258" fmla="*/ 1453 h 10000"/>
                <a:gd name="connsiteX1259" fmla="*/ 5581 w 10785"/>
                <a:gd name="connsiteY1259" fmla="*/ 1444 h 10000"/>
                <a:gd name="connsiteX1260" fmla="*/ 5581 w 10785"/>
                <a:gd name="connsiteY1260" fmla="*/ 1453 h 10000"/>
                <a:gd name="connsiteX1261" fmla="*/ 5585 w 10785"/>
                <a:gd name="connsiteY1261" fmla="*/ 1444 h 10000"/>
                <a:gd name="connsiteX1262" fmla="*/ 5594 w 10785"/>
                <a:gd name="connsiteY1262" fmla="*/ 1427 h 10000"/>
                <a:gd name="connsiteX1263" fmla="*/ 5599 w 10785"/>
                <a:gd name="connsiteY1263" fmla="*/ 1419 h 10000"/>
                <a:gd name="connsiteX1264" fmla="*/ 5594 w 10785"/>
                <a:gd name="connsiteY1264" fmla="*/ 1402 h 10000"/>
                <a:gd name="connsiteX1265" fmla="*/ 5604 w 10785"/>
                <a:gd name="connsiteY1265" fmla="*/ 1393 h 10000"/>
                <a:gd name="connsiteX1266" fmla="*/ 5618 w 10785"/>
                <a:gd name="connsiteY1266" fmla="*/ 1393 h 10000"/>
                <a:gd name="connsiteX1267" fmla="*/ 5627 w 10785"/>
                <a:gd name="connsiteY1267" fmla="*/ 1368 h 10000"/>
                <a:gd name="connsiteX1268" fmla="*/ 5627 w 10785"/>
                <a:gd name="connsiteY1268" fmla="*/ 1325 h 10000"/>
                <a:gd name="connsiteX1269" fmla="*/ 5645 w 10785"/>
                <a:gd name="connsiteY1269" fmla="*/ 1291 h 10000"/>
                <a:gd name="connsiteX1270" fmla="*/ 5645 w 10785"/>
                <a:gd name="connsiteY1270" fmla="*/ 1282 h 10000"/>
                <a:gd name="connsiteX1271" fmla="*/ 5654 w 10785"/>
                <a:gd name="connsiteY1271" fmla="*/ 1265 h 10000"/>
                <a:gd name="connsiteX1272" fmla="*/ 5654 w 10785"/>
                <a:gd name="connsiteY1272" fmla="*/ 1214 h 10000"/>
                <a:gd name="connsiteX1273" fmla="*/ 5654 w 10785"/>
                <a:gd name="connsiteY1273" fmla="*/ 1214 h 10000"/>
                <a:gd name="connsiteX1274" fmla="*/ 5645 w 10785"/>
                <a:gd name="connsiteY1274" fmla="*/ 1197 h 10000"/>
                <a:gd name="connsiteX1275" fmla="*/ 5659 w 10785"/>
                <a:gd name="connsiteY1275" fmla="*/ 1197 h 10000"/>
                <a:gd name="connsiteX1276" fmla="*/ 5654 w 10785"/>
                <a:gd name="connsiteY1276" fmla="*/ 1154 h 10000"/>
                <a:gd name="connsiteX1277" fmla="*/ 5641 w 10785"/>
                <a:gd name="connsiteY1277" fmla="*/ 1154 h 10000"/>
                <a:gd name="connsiteX1278" fmla="*/ 5627 w 10785"/>
                <a:gd name="connsiteY1278" fmla="*/ 1128 h 10000"/>
                <a:gd name="connsiteX1279" fmla="*/ 5618 w 10785"/>
                <a:gd name="connsiteY1279" fmla="*/ 1094 h 10000"/>
                <a:gd name="connsiteX1280" fmla="*/ 5613 w 10785"/>
                <a:gd name="connsiteY1280" fmla="*/ 1094 h 10000"/>
                <a:gd name="connsiteX1281" fmla="*/ 5604 w 10785"/>
                <a:gd name="connsiteY1281" fmla="*/ 1120 h 10000"/>
                <a:gd name="connsiteX1282" fmla="*/ 5604 w 10785"/>
                <a:gd name="connsiteY1282" fmla="*/ 1128 h 10000"/>
                <a:gd name="connsiteX1283" fmla="*/ 5599 w 10785"/>
                <a:gd name="connsiteY1283" fmla="*/ 1103 h 10000"/>
                <a:gd name="connsiteX1284" fmla="*/ 5599 w 10785"/>
                <a:gd name="connsiteY1284" fmla="*/ 1103 h 10000"/>
                <a:gd name="connsiteX1285" fmla="*/ 5594 w 10785"/>
                <a:gd name="connsiteY1285" fmla="*/ 1068 h 10000"/>
                <a:gd name="connsiteX1286" fmla="*/ 5594 w 10785"/>
                <a:gd name="connsiteY1286" fmla="*/ 1060 h 10000"/>
                <a:gd name="connsiteX1287" fmla="*/ 5581 w 10785"/>
                <a:gd name="connsiteY1287" fmla="*/ 1034 h 10000"/>
                <a:gd name="connsiteX1288" fmla="*/ 5571 w 10785"/>
                <a:gd name="connsiteY1288" fmla="*/ 1009 h 10000"/>
                <a:gd name="connsiteX1289" fmla="*/ 5571 w 10785"/>
                <a:gd name="connsiteY1289" fmla="*/ 991 h 10000"/>
                <a:gd name="connsiteX1290" fmla="*/ 5585 w 10785"/>
                <a:gd name="connsiteY1290" fmla="*/ 1009 h 10000"/>
                <a:gd name="connsiteX1291" fmla="*/ 5604 w 10785"/>
                <a:gd name="connsiteY1291" fmla="*/ 1043 h 10000"/>
                <a:gd name="connsiteX1292" fmla="*/ 5641 w 10785"/>
                <a:gd name="connsiteY1292" fmla="*/ 1094 h 10000"/>
                <a:gd name="connsiteX1293" fmla="*/ 5631 w 10785"/>
                <a:gd name="connsiteY1293" fmla="*/ 1128 h 10000"/>
                <a:gd name="connsiteX1294" fmla="*/ 5641 w 10785"/>
                <a:gd name="connsiteY1294" fmla="*/ 1128 h 10000"/>
                <a:gd name="connsiteX1295" fmla="*/ 5659 w 10785"/>
                <a:gd name="connsiteY1295" fmla="*/ 1017 h 10000"/>
                <a:gd name="connsiteX1296" fmla="*/ 5659 w 10785"/>
                <a:gd name="connsiteY1296" fmla="*/ 983 h 10000"/>
                <a:gd name="connsiteX1297" fmla="*/ 5659 w 10785"/>
                <a:gd name="connsiteY1297" fmla="*/ 957 h 10000"/>
                <a:gd name="connsiteX1298" fmla="*/ 5654 w 10785"/>
                <a:gd name="connsiteY1298" fmla="*/ 966 h 10000"/>
                <a:gd name="connsiteX1299" fmla="*/ 5641 w 10785"/>
                <a:gd name="connsiteY1299" fmla="*/ 957 h 10000"/>
                <a:gd name="connsiteX1300" fmla="*/ 5631 w 10785"/>
                <a:gd name="connsiteY1300" fmla="*/ 897 h 10000"/>
                <a:gd name="connsiteX1301" fmla="*/ 5641 w 10785"/>
                <a:gd name="connsiteY1301" fmla="*/ 872 h 10000"/>
                <a:gd name="connsiteX1302" fmla="*/ 5618 w 10785"/>
                <a:gd name="connsiteY1302" fmla="*/ 803 h 10000"/>
                <a:gd name="connsiteX1303" fmla="*/ 5604 w 10785"/>
                <a:gd name="connsiteY1303" fmla="*/ 821 h 10000"/>
                <a:gd name="connsiteX1304" fmla="*/ 5613 w 10785"/>
                <a:gd name="connsiteY1304" fmla="*/ 846 h 10000"/>
                <a:gd name="connsiteX1305" fmla="*/ 5604 w 10785"/>
                <a:gd name="connsiteY1305" fmla="*/ 855 h 10000"/>
                <a:gd name="connsiteX1306" fmla="*/ 5599 w 10785"/>
                <a:gd name="connsiteY1306" fmla="*/ 880 h 10000"/>
                <a:gd name="connsiteX1307" fmla="*/ 5594 w 10785"/>
                <a:gd name="connsiteY1307" fmla="*/ 880 h 10000"/>
                <a:gd name="connsiteX1308" fmla="*/ 5585 w 10785"/>
                <a:gd name="connsiteY1308" fmla="*/ 829 h 10000"/>
                <a:gd name="connsiteX1309" fmla="*/ 5571 w 10785"/>
                <a:gd name="connsiteY1309" fmla="*/ 803 h 10000"/>
                <a:gd name="connsiteX1310" fmla="*/ 5585 w 10785"/>
                <a:gd name="connsiteY1310" fmla="*/ 795 h 10000"/>
                <a:gd name="connsiteX1311" fmla="*/ 5585 w 10785"/>
                <a:gd name="connsiteY1311" fmla="*/ 761 h 10000"/>
                <a:gd name="connsiteX1312" fmla="*/ 5558 w 10785"/>
                <a:gd name="connsiteY1312" fmla="*/ 709 h 10000"/>
                <a:gd name="connsiteX1313" fmla="*/ 5544 w 10785"/>
                <a:gd name="connsiteY1313" fmla="*/ 709 h 10000"/>
                <a:gd name="connsiteX1314" fmla="*/ 5544 w 10785"/>
                <a:gd name="connsiteY1314" fmla="*/ 684 h 10000"/>
                <a:gd name="connsiteX1315" fmla="*/ 5525 w 10785"/>
                <a:gd name="connsiteY1315" fmla="*/ 632 h 10000"/>
                <a:gd name="connsiteX1316" fmla="*/ 5507 w 10785"/>
                <a:gd name="connsiteY1316" fmla="*/ 607 h 10000"/>
                <a:gd name="connsiteX1317" fmla="*/ 5512 w 10785"/>
                <a:gd name="connsiteY1317" fmla="*/ 598 h 10000"/>
                <a:gd name="connsiteX1318" fmla="*/ 5507 w 10785"/>
                <a:gd name="connsiteY1318" fmla="*/ 581 h 10000"/>
                <a:gd name="connsiteX1319" fmla="*/ 5493 w 10785"/>
                <a:gd name="connsiteY1319" fmla="*/ 573 h 10000"/>
                <a:gd name="connsiteX1320" fmla="*/ 5484 w 10785"/>
                <a:gd name="connsiteY1320" fmla="*/ 581 h 10000"/>
                <a:gd name="connsiteX1321" fmla="*/ 5484 w 10785"/>
                <a:gd name="connsiteY1321" fmla="*/ 573 h 10000"/>
                <a:gd name="connsiteX1322" fmla="*/ 5484 w 10785"/>
                <a:gd name="connsiteY1322" fmla="*/ 547 h 10000"/>
                <a:gd name="connsiteX1323" fmla="*/ 5465 w 10785"/>
                <a:gd name="connsiteY1323" fmla="*/ 556 h 10000"/>
                <a:gd name="connsiteX1324" fmla="*/ 5433 w 10785"/>
                <a:gd name="connsiteY1324" fmla="*/ 547 h 10000"/>
                <a:gd name="connsiteX1325" fmla="*/ 5410 w 10785"/>
                <a:gd name="connsiteY1325" fmla="*/ 573 h 10000"/>
                <a:gd name="connsiteX1326" fmla="*/ 5406 w 10785"/>
                <a:gd name="connsiteY1326" fmla="*/ 573 h 10000"/>
                <a:gd name="connsiteX1327" fmla="*/ 5392 w 10785"/>
                <a:gd name="connsiteY1327" fmla="*/ 573 h 10000"/>
                <a:gd name="connsiteX1328" fmla="*/ 5364 w 10785"/>
                <a:gd name="connsiteY1328" fmla="*/ 530 h 10000"/>
                <a:gd name="connsiteX1329" fmla="*/ 5350 w 10785"/>
                <a:gd name="connsiteY1329" fmla="*/ 556 h 10000"/>
                <a:gd name="connsiteX1330" fmla="*/ 5346 w 10785"/>
                <a:gd name="connsiteY1330" fmla="*/ 556 h 10000"/>
                <a:gd name="connsiteX1331" fmla="*/ 5313 w 10785"/>
                <a:gd name="connsiteY1331" fmla="*/ 573 h 10000"/>
                <a:gd name="connsiteX1332" fmla="*/ 5304 w 10785"/>
                <a:gd name="connsiteY1332" fmla="*/ 556 h 10000"/>
                <a:gd name="connsiteX1333" fmla="*/ 5290 w 10785"/>
                <a:gd name="connsiteY1333" fmla="*/ 573 h 10000"/>
                <a:gd name="connsiteX1334" fmla="*/ 5290 w 10785"/>
                <a:gd name="connsiteY1334" fmla="*/ 556 h 10000"/>
                <a:gd name="connsiteX1335" fmla="*/ 5300 w 10785"/>
                <a:gd name="connsiteY1335" fmla="*/ 547 h 10000"/>
                <a:gd name="connsiteX1336" fmla="*/ 5300 w 10785"/>
                <a:gd name="connsiteY1336" fmla="*/ 530 h 10000"/>
                <a:gd name="connsiteX1337" fmla="*/ 5290 w 10785"/>
                <a:gd name="connsiteY1337" fmla="*/ 530 h 10000"/>
                <a:gd name="connsiteX1338" fmla="*/ 5286 w 10785"/>
                <a:gd name="connsiteY1338" fmla="*/ 547 h 10000"/>
                <a:gd name="connsiteX1339" fmla="*/ 5272 w 10785"/>
                <a:gd name="connsiteY1339" fmla="*/ 556 h 10000"/>
                <a:gd name="connsiteX1340" fmla="*/ 5272 w 10785"/>
                <a:gd name="connsiteY1340" fmla="*/ 598 h 10000"/>
                <a:gd name="connsiteX1341" fmla="*/ 5276 w 10785"/>
                <a:gd name="connsiteY1341" fmla="*/ 581 h 10000"/>
                <a:gd name="connsiteX1342" fmla="*/ 5272 w 10785"/>
                <a:gd name="connsiteY1342" fmla="*/ 607 h 10000"/>
                <a:gd name="connsiteX1343" fmla="*/ 5263 w 10785"/>
                <a:gd name="connsiteY1343" fmla="*/ 607 h 10000"/>
                <a:gd name="connsiteX1344" fmla="*/ 5263 w 10785"/>
                <a:gd name="connsiteY1344" fmla="*/ 632 h 10000"/>
                <a:gd name="connsiteX1345" fmla="*/ 5258 w 10785"/>
                <a:gd name="connsiteY1345" fmla="*/ 658 h 10000"/>
                <a:gd name="connsiteX1346" fmla="*/ 5244 w 10785"/>
                <a:gd name="connsiteY1346" fmla="*/ 667 h 10000"/>
                <a:gd name="connsiteX1347" fmla="*/ 5240 w 10785"/>
                <a:gd name="connsiteY1347" fmla="*/ 658 h 10000"/>
                <a:gd name="connsiteX1348" fmla="*/ 5240 w 10785"/>
                <a:gd name="connsiteY1348" fmla="*/ 684 h 10000"/>
                <a:gd name="connsiteX1349" fmla="*/ 5212 w 10785"/>
                <a:gd name="connsiteY1349" fmla="*/ 684 h 10000"/>
                <a:gd name="connsiteX1350" fmla="*/ 5198 w 10785"/>
                <a:gd name="connsiteY1350" fmla="*/ 692 h 10000"/>
                <a:gd name="connsiteX1351" fmla="*/ 5184 w 10785"/>
                <a:gd name="connsiteY1351" fmla="*/ 684 h 10000"/>
                <a:gd name="connsiteX1352" fmla="*/ 5157 w 10785"/>
                <a:gd name="connsiteY1352" fmla="*/ 684 h 10000"/>
                <a:gd name="connsiteX1353" fmla="*/ 5157 w 10785"/>
                <a:gd name="connsiteY1353" fmla="*/ 667 h 10000"/>
                <a:gd name="connsiteX1354" fmla="*/ 5157 w 10785"/>
                <a:gd name="connsiteY1354" fmla="*/ 667 h 10000"/>
                <a:gd name="connsiteX1355" fmla="*/ 5180 w 10785"/>
                <a:gd name="connsiteY1355" fmla="*/ 650 h 10000"/>
                <a:gd name="connsiteX1356" fmla="*/ 5184 w 10785"/>
                <a:gd name="connsiteY1356" fmla="*/ 658 h 10000"/>
                <a:gd name="connsiteX1357" fmla="*/ 5203 w 10785"/>
                <a:gd name="connsiteY1357" fmla="*/ 547 h 10000"/>
                <a:gd name="connsiteX1358" fmla="*/ 5226 w 10785"/>
                <a:gd name="connsiteY1358" fmla="*/ 530 h 10000"/>
                <a:gd name="connsiteX1359" fmla="*/ 5230 w 10785"/>
                <a:gd name="connsiteY1359" fmla="*/ 487 h 10000"/>
                <a:gd name="connsiteX1360" fmla="*/ 5230 w 10785"/>
                <a:gd name="connsiteY1360" fmla="*/ 487 h 10000"/>
                <a:gd name="connsiteX1361" fmla="*/ 5226 w 10785"/>
                <a:gd name="connsiteY1361" fmla="*/ 462 h 10000"/>
                <a:gd name="connsiteX1362" fmla="*/ 5226 w 10785"/>
                <a:gd name="connsiteY1362" fmla="*/ 462 h 10000"/>
                <a:gd name="connsiteX1363" fmla="*/ 5240 w 10785"/>
                <a:gd name="connsiteY1363" fmla="*/ 462 h 10000"/>
                <a:gd name="connsiteX1364" fmla="*/ 5240 w 10785"/>
                <a:gd name="connsiteY1364" fmla="*/ 444 h 10000"/>
                <a:gd name="connsiteX1365" fmla="*/ 5230 w 10785"/>
                <a:gd name="connsiteY1365" fmla="*/ 436 h 10000"/>
                <a:gd name="connsiteX1366" fmla="*/ 5230 w 10785"/>
                <a:gd name="connsiteY1366" fmla="*/ 419 h 10000"/>
                <a:gd name="connsiteX1367" fmla="*/ 5230 w 10785"/>
                <a:gd name="connsiteY1367" fmla="*/ 410 h 10000"/>
                <a:gd name="connsiteX1368" fmla="*/ 5198 w 10785"/>
                <a:gd name="connsiteY1368" fmla="*/ 402 h 10000"/>
                <a:gd name="connsiteX1369" fmla="*/ 5189 w 10785"/>
                <a:gd name="connsiteY1369" fmla="*/ 402 h 10000"/>
                <a:gd name="connsiteX1370" fmla="*/ 5184 w 10785"/>
                <a:gd name="connsiteY1370" fmla="*/ 376 h 10000"/>
                <a:gd name="connsiteX1371" fmla="*/ 5180 w 10785"/>
                <a:gd name="connsiteY1371" fmla="*/ 376 h 10000"/>
                <a:gd name="connsiteX1372" fmla="*/ 5166 w 10785"/>
                <a:gd name="connsiteY1372" fmla="*/ 376 h 10000"/>
                <a:gd name="connsiteX1373" fmla="*/ 5157 w 10785"/>
                <a:gd name="connsiteY1373" fmla="*/ 385 h 10000"/>
                <a:gd name="connsiteX1374" fmla="*/ 5152 w 10785"/>
                <a:gd name="connsiteY1374" fmla="*/ 376 h 10000"/>
                <a:gd name="connsiteX1375" fmla="*/ 5129 w 10785"/>
                <a:gd name="connsiteY1375" fmla="*/ 385 h 10000"/>
                <a:gd name="connsiteX1376" fmla="*/ 5129 w 10785"/>
                <a:gd name="connsiteY1376" fmla="*/ 350 h 10000"/>
                <a:gd name="connsiteX1377" fmla="*/ 5129 w 10785"/>
                <a:gd name="connsiteY1377" fmla="*/ 325 h 10000"/>
                <a:gd name="connsiteX1378" fmla="*/ 5124 w 10785"/>
                <a:gd name="connsiteY1378" fmla="*/ 359 h 10000"/>
                <a:gd name="connsiteX1379" fmla="*/ 5106 w 10785"/>
                <a:gd name="connsiteY1379" fmla="*/ 359 h 10000"/>
                <a:gd name="connsiteX1380" fmla="*/ 5037 w 10785"/>
                <a:gd name="connsiteY1380" fmla="*/ 419 h 10000"/>
                <a:gd name="connsiteX1381" fmla="*/ 5051 w 10785"/>
                <a:gd name="connsiteY1381" fmla="*/ 385 h 10000"/>
                <a:gd name="connsiteX1382" fmla="*/ 5055 w 10785"/>
                <a:gd name="connsiteY1382" fmla="*/ 376 h 10000"/>
                <a:gd name="connsiteX1383" fmla="*/ 5092 w 10785"/>
                <a:gd name="connsiteY1383" fmla="*/ 282 h 10000"/>
                <a:gd name="connsiteX1384" fmla="*/ 5106 w 10785"/>
                <a:gd name="connsiteY1384" fmla="*/ 265 h 10000"/>
                <a:gd name="connsiteX1385" fmla="*/ 5115 w 10785"/>
                <a:gd name="connsiteY1385" fmla="*/ 265 h 10000"/>
                <a:gd name="connsiteX1386" fmla="*/ 5124 w 10785"/>
                <a:gd name="connsiteY1386" fmla="*/ 222 h 10000"/>
                <a:gd name="connsiteX1387" fmla="*/ 5124 w 10785"/>
                <a:gd name="connsiteY1387" fmla="*/ 214 h 10000"/>
                <a:gd name="connsiteX1388" fmla="*/ 5143 w 10785"/>
                <a:gd name="connsiteY1388" fmla="*/ 197 h 10000"/>
                <a:gd name="connsiteX1389" fmla="*/ 5152 w 10785"/>
                <a:gd name="connsiteY1389" fmla="*/ 214 h 10000"/>
                <a:gd name="connsiteX1390" fmla="*/ 5143 w 10785"/>
                <a:gd name="connsiteY1390" fmla="*/ 188 h 10000"/>
                <a:gd name="connsiteX1391" fmla="*/ 5129 w 10785"/>
                <a:gd name="connsiteY1391" fmla="*/ 103 h 10000"/>
                <a:gd name="connsiteX1392" fmla="*/ 5115 w 10785"/>
                <a:gd name="connsiteY1392" fmla="*/ 85 h 10000"/>
                <a:gd name="connsiteX1393" fmla="*/ 5111 w 10785"/>
                <a:gd name="connsiteY1393" fmla="*/ 111 h 10000"/>
                <a:gd name="connsiteX1394" fmla="*/ 5092 w 10785"/>
                <a:gd name="connsiteY1394" fmla="*/ 103 h 10000"/>
                <a:gd name="connsiteX1395" fmla="*/ 5069 w 10785"/>
                <a:gd name="connsiteY1395" fmla="*/ 77 h 10000"/>
                <a:gd name="connsiteX1396" fmla="*/ 5051 w 10785"/>
                <a:gd name="connsiteY1396" fmla="*/ 26 h 10000"/>
                <a:gd name="connsiteX1397" fmla="*/ 5041 w 10785"/>
                <a:gd name="connsiteY1397" fmla="*/ 34 h 10000"/>
                <a:gd name="connsiteX1398" fmla="*/ 5037 w 10785"/>
                <a:gd name="connsiteY1398" fmla="*/ 34 h 10000"/>
                <a:gd name="connsiteX1399" fmla="*/ 5037 w 10785"/>
                <a:gd name="connsiteY1399" fmla="*/ 26 h 10000"/>
                <a:gd name="connsiteX1400" fmla="*/ 5037 w 10785"/>
                <a:gd name="connsiteY1400" fmla="*/ 9 h 10000"/>
                <a:gd name="connsiteX1401" fmla="*/ 5023 w 10785"/>
                <a:gd name="connsiteY1401" fmla="*/ 0 h 10000"/>
                <a:gd name="connsiteX1402" fmla="*/ 5009 w 10785"/>
                <a:gd name="connsiteY1402" fmla="*/ 9 h 10000"/>
                <a:gd name="connsiteX1403" fmla="*/ 4995 w 10785"/>
                <a:gd name="connsiteY1403" fmla="*/ 34 h 10000"/>
                <a:gd name="connsiteX1404" fmla="*/ 4991 w 10785"/>
                <a:gd name="connsiteY1404" fmla="*/ 60 h 10000"/>
                <a:gd name="connsiteX1405" fmla="*/ 4982 w 10785"/>
                <a:gd name="connsiteY1405" fmla="*/ 60 h 10000"/>
                <a:gd name="connsiteX1406" fmla="*/ 4949 w 10785"/>
                <a:gd name="connsiteY1406" fmla="*/ 51 h 10000"/>
                <a:gd name="connsiteX1407" fmla="*/ 4949 w 10785"/>
                <a:gd name="connsiteY1407" fmla="*/ 85 h 10000"/>
                <a:gd name="connsiteX1408" fmla="*/ 4903 w 10785"/>
                <a:gd name="connsiteY1408" fmla="*/ 197 h 10000"/>
                <a:gd name="connsiteX1409" fmla="*/ 4899 w 10785"/>
                <a:gd name="connsiteY1409" fmla="*/ 239 h 10000"/>
                <a:gd name="connsiteX1410" fmla="*/ 4871 w 10785"/>
                <a:gd name="connsiteY1410" fmla="*/ 274 h 10000"/>
                <a:gd name="connsiteX1411" fmla="*/ 4871 w 10785"/>
                <a:gd name="connsiteY1411" fmla="*/ 282 h 10000"/>
                <a:gd name="connsiteX1412" fmla="*/ 4834 w 10785"/>
                <a:gd name="connsiteY1412" fmla="*/ 376 h 10000"/>
                <a:gd name="connsiteX1413" fmla="*/ 4829 w 10785"/>
                <a:gd name="connsiteY1413" fmla="*/ 402 h 10000"/>
                <a:gd name="connsiteX1414" fmla="*/ 4834 w 10785"/>
                <a:gd name="connsiteY1414" fmla="*/ 410 h 10000"/>
                <a:gd name="connsiteX1415" fmla="*/ 4829 w 10785"/>
                <a:gd name="connsiteY1415" fmla="*/ 436 h 10000"/>
                <a:gd name="connsiteX1416" fmla="*/ 4825 w 10785"/>
                <a:gd name="connsiteY1416" fmla="*/ 436 h 10000"/>
                <a:gd name="connsiteX1417" fmla="*/ 4825 w 10785"/>
                <a:gd name="connsiteY1417" fmla="*/ 444 h 10000"/>
                <a:gd name="connsiteX1418" fmla="*/ 4811 w 10785"/>
                <a:gd name="connsiteY1418" fmla="*/ 496 h 10000"/>
                <a:gd name="connsiteX1419" fmla="*/ 4811 w 10785"/>
                <a:gd name="connsiteY1419" fmla="*/ 496 h 10000"/>
                <a:gd name="connsiteX1420" fmla="*/ 4811 w 10785"/>
                <a:gd name="connsiteY1420" fmla="*/ 521 h 10000"/>
                <a:gd name="connsiteX1421" fmla="*/ 4816 w 10785"/>
                <a:gd name="connsiteY1421" fmla="*/ 530 h 10000"/>
                <a:gd name="connsiteX1422" fmla="*/ 4834 w 10785"/>
                <a:gd name="connsiteY1422" fmla="*/ 547 h 10000"/>
                <a:gd name="connsiteX1423" fmla="*/ 4834 w 10785"/>
                <a:gd name="connsiteY1423" fmla="*/ 581 h 10000"/>
                <a:gd name="connsiteX1424" fmla="*/ 4843 w 10785"/>
                <a:gd name="connsiteY1424" fmla="*/ 581 h 10000"/>
                <a:gd name="connsiteX1425" fmla="*/ 4843 w 10785"/>
                <a:gd name="connsiteY1425" fmla="*/ 598 h 10000"/>
                <a:gd name="connsiteX1426" fmla="*/ 4829 w 10785"/>
                <a:gd name="connsiteY1426" fmla="*/ 598 h 10000"/>
                <a:gd name="connsiteX1427" fmla="*/ 4829 w 10785"/>
                <a:gd name="connsiteY1427" fmla="*/ 573 h 10000"/>
                <a:gd name="connsiteX1428" fmla="*/ 4829 w 10785"/>
                <a:gd name="connsiteY1428" fmla="*/ 632 h 10000"/>
                <a:gd name="connsiteX1429" fmla="*/ 4829 w 10785"/>
                <a:gd name="connsiteY1429" fmla="*/ 632 h 10000"/>
                <a:gd name="connsiteX1430" fmla="*/ 4829 w 10785"/>
                <a:gd name="connsiteY1430" fmla="*/ 650 h 10000"/>
                <a:gd name="connsiteX1431" fmla="*/ 4774 w 10785"/>
                <a:gd name="connsiteY1431" fmla="*/ 684 h 10000"/>
                <a:gd name="connsiteX1432" fmla="*/ 4756 w 10785"/>
                <a:gd name="connsiteY1432" fmla="*/ 684 h 10000"/>
                <a:gd name="connsiteX1433" fmla="*/ 4737 w 10785"/>
                <a:gd name="connsiteY1433" fmla="*/ 692 h 10000"/>
                <a:gd name="connsiteX1434" fmla="*/ 4677 w 10785"/>
                <a:gd name="connsiteY1434" fmla="*/ 667 h 10000"/>
                <a:gd name="connsiteX1435" fmla="*/ 4682 w 10785"/>
                <a:gd name="connsiteY1435" fmla="*/ 692 h 10000"/>
                <a:gd name="connsiteX1436" fmla="*/ 4682 w 10785"/>
                <a:gd name="connsiteY1436" fmla="*/ 709 h 10000"/>
                <a:gd name="connsiteX1437" fmla="*/ 4691 w 10785"/>
                <a:gd name="connsiteY1437" fmla="*/ 718 h 10000"/>
                <a:gd name="connsiteX1438" fmla="*/ 4691 w 10785"/>
                <a:gd name="connsiteY1438" fmla="*/ 744 h 10000"/>
                <a:gd name="connsiteX1439" fmla="*/ 4700 w 10785"/>
                <a:gd name="connsiteY1439" fmla="*/ 744 h 10000"/>
                <a:gd name="connsiteX1440" fmla="*/ 4714 w 10785"/>
                <a:gd name="connsiteY1440" fmla="*/ 769 h 10000"/>
                <a:gd name="connsiteX1441" fmla="*/ 4710 w 10785"/>
                <a:gd name="connsiteY1441" fmla="*/ 786 h 10000"/>
                <a:gd name="connsiteX1442" fmla="*/ 4737 w 10785"/>
                <a:gd name="connsiteY1442" fmla="*/ 786 h 10000"/>
                <a:gd name="connsiteX1443" fmla="*/ 4742 w 10785"/>
                <a:gd name="connsiteY1443" fmla="*/ 795 h 10000"/>
                <a:gd name="connsiteX1444" fmla="*/ 4742 w 10785"/>
                <a:gd name="connsiteY1444" fmla="*/ 803 h 10000"/>
                <a:gd name="connsiteX1445" fmla="*/ 4737 w 10785"/>
                <a:gd name="connsiteY1445" fmla="*/ 846 h 10000"/>
                <a:gd name="connsiteX1446" fmla="*/ 4737 w 10785"/>
                <a:gd name="connsiteY1446" fmla="*/ 880 h 10000"/>
                <a:gd name="connsiteX1447" fmla="*/ 4737 w 10785"/>
                <a:gd name="connsiteY1447" fmla="*/ 906 h 10000"/>
                <a:gd name="connsiteX1448" fmla="*/ 4724 w 10785"/>
                <a:gd name="connsiteY1448" fmla="*/ 897 h 10000"/>
                <a:gd name="connsiteX1449" fmla="*/ 4724 w 10785"/>
                <a:gd name="connsiteY1449" fmla="*/ 872 h 10000"/>
                <a:gd name="connsiteX1450" fmla="*/ 4714 w 10785"/>
                <a:gd name="connsiteY1450" fmla="*/ 855 h 10000"/>
                <a:gd name="connsiteX1451" fmla="*/ 4691 w 10785"/>
                <a:gd name="connsiteY1451" fmla="*/ 846 h 10000"/>
                <a:gd name="connsiteX1452" fmla="*/ 4691 w 10785"/>
                <a:gd name="connsiteY1452" fmla="*/ 846 h 10000"/>
                <a:gd name="connsiteX1453" fmla="*/ 4696 w 10785"/>
                <a:gd name="connsiteY1453" fmla="*/ 821 h 10000"/>
                <a:gd name="connsiteX1454" fmla="*/ 4691 w 10785"/>
                <a:gd name="connsiteY1454" fmla="*/ 803 h 10000"/>
                <a:gd name="connsiteX1455" fmla="*/ 4668 w 10785"/>
                <a:gd name="connsiteY1455" fmla="*/ 821 h 10000"/>
                <a:gd name="connsiteX1456" fmla="*/ 4668 w 10785"/>
                <a:gd name="connsiteY1456" fmla="*/ 786 h 10000"/>
                <a:gd name="connsiteX1457" fmla="*/ 4664 w 10785"/>
                <a:gd name="connsiteY1457" fmla="*/ 786 h 10000"/>
                <a:gd name="connsiteX1458" fmla="*/ 4622 w 10785"/>
                <a:gd name="connsiteY1458" fmla="*/ 846 h 10000"/>
                <a:gd name="connsiteX1459" fmla="*/ 4627 w 10785"/>
                <a:gd name="connsiteY1459" fmla="*/ 872 h 10000"/>
                <a:gd name="connsiteX1460" fmla="*/ 4622 w 10785"/>
                <a:gd name="connsiteY1460" fmla="*/ 880 h 10000"/>
                <a:gd name="connsiteX1461" fmla="*/ 4622 w 10785"/>
                <a:gd name="connsiteY1461" fmla="*/ 880 h 10000"/>
                <a:gd name="connsiteX1462" fmla="*/ 4618 w 10785"/>
                <a:gd name="connsiteY1462" fmla="*/ 872 h 10000"/>
                <a:gd name="connsiteX1463" fmla="*/ 4604 w 10785"/>
                <a:gd name="connsiteY1463" fmla="*/ 880 h 10000"/>
                <a:gd name="connsiteX1464" fmla="*/ 4594 w 10785"/>
                <a:gd name="connsiteY1464" fmla="*/ 906 h 10000"/>
                <a:gd name="connsiteX1465" fmla="*/ 4604 w 10785"/>
                <a:gd name="connsiteY1465" fmla="*/ 906 h 10000"/>
                <a:gd name="connsiteX1466" fmla="*/ 4608 w 10785"/>
                <a:gd name="connsiteY1466" fmla="*/ 906 h 10000"/>
                <a:gd name="connsiteX1467" fmla="*/ 4608 w 10785"/>
                <a:gd name="connsiteY1467" fmla="*/ 932 h 10000"/>
                <a:gd name="connsiteX1468" fmla="*/ 4604 w 10785"/>
                <a:gd name="connsiteY1468" fmla="*/ 932 h 10000"/>
                <a:gd name="connsiteX1469" fmla="*/ 4590 w 10785"/>
                <a:gd name="connsiteY1469" fmla="*/ 932 h 10000"/>
                <a:gd name="connsiteX1470" fmla="*/ 4567 w 10785"/>
                <a:gd name="connsiteY1470" fmla="*/ 957 h 10000"/>
                <a:gd name="connsiteX1471" fmla="*/ 4567 w 10785"/>
                <a:gd name="connsiteY1471" fmla="*/ 932 h 10000"/>
                <a:gd name="connsiteX1472" fmla="*/ 4567 w 10785"/>
                <a:gd name="connsiteY1472" fmla="*/ 923 h 10000"/>
                <a:gd name="connsiteX1473" fmla="*/ 4562 w 10785"/>
                <a:gd name="connsiteY1473" fmla="*/ 932 h 10000"/>
                <a:gd name="connsiteX1474" fmla="*/ 4548 w 10785"/>
                <a:gd name="connsiteY1474" fmla="*/ 957 h 10000"/>
                <a:gd name="connsiteX1475" fmla="*/ 4544 w 10785"/>
                <a:gd name="connsiteY1475" fmla="*/ 957 h 10000"/>
                <a:gd name="connsiteX1476" fmla="*/ 4521 w 10785"/>
                <a:gd name="connsiteY1476" fmla="*/ 983 h 10000"/>
                <a:gd name="connsiteX1477" fmla="*/ 4521 w 10785"/>
                <a:gd name="connsiteY1477" fmla="*/ 983 h 10000"/>
                <a:gd name="connsiteX1478" fmla="*/ 4530 w 10785"/>
                <a:gd name="connsiteY1478" fmla="*/ 957 h 10000"/>
                <a:gd name="connsiteX1479" fmla="*/ 4535 w 10785"/>
                <a:gd name="connsiteY1479" fmla="*/ 932 h 10000"/>
                <a:gd name="connsiteX1480" fmla="*/ 4521 w 10785"/>
                <a:gd name="connsiteY1480" fmla="*/ 932 h 10000"/>
                <a:gd name="connsiteX1481" fmla="*/ 4516 w 10785"/>
                <a:gd name="connsiteY1481" fmla="*/ 923 h 10000"/>
                <a:gd name="connsiteX1482" fmla="*/ 4516 w 10785"/>
                <a:gd name="connsiteY1482" fmla="*/ 932 h 10000"/>
                <a:gd name="connsiteX1483" fmla="*/ 4488 w 10785"/>
                <a:gd name="connsiteY1483" fmla="*/ 940 h 10000"/>
                <a:gd name="connsiteX1484" fmla="*/ 4484 w 10785"/>
                <a:gd name="connsiteY1484" fmla="*/ 983 h 10000"/>
                <a:gd name="connsiteX1485" fmla="*/ 4470 w 10785"/>
                <a:gd name="connsiteY1485" fmla="*/ 983 h 10000"/>
                <a:gd name="connsiteX1486" fmla="*/ 4470 w 10785"/>
                <a:gd name="connsiteY1486" fmla="*/ 966 h 10000"/>
                <a:gd name="connsiteX1487" fmla="*/ 4488 w 10785"/>
                <a:gd name="connsiteY1487" fmla="*/ 923 h 10000"/>
                <a:gd name="connsiteX1488" fmla="*/ 4493 w 10785"/>
                <a:gd name="connsiteY1488" fmla="*/ 880 h 10000"/>
                <a:gd name="connsiteX1489" fmla="*/ 4475 w 10785"/>
                <a:gd name="connsiteY1489" fmla="*/ 846 h 10000"/>
                <a:gd name="connsiteX1490" fmla="*/ 4442 w 10785"/>
                <a:gd name="connsiteY1490" fmla="*/ 855 h 10000"/>
                <a:gd name="connsiteX1491" fmla="*/ 4433 w 10785"/>
                <a:gd name="connsiteY1491" fmla="*/ 855 h 10000"/>
                <a:gd name="connsiteX1492" fmla="*/ 4433 w 10785"/>
                <a:gd name="connsiteY1492" fmla="*/ 880 h 10000"/>
                <a:gd name="connsiteX1493" fmla="*/ 4401 w 10785"/>
                <a:gd name="connsiteY1493" fmla="*/ 855 h 10000"/>
                <a:gd name="connsiteX1494" fmla="*/ 4396 w 10785"/>
                <a:gd name="connsiteY1494" fmla="*/ 872 h 10000"/>
                <a:gd name="connsiteX1495" fmla="*/ 4382 w 10785"/>
                <a:gd name="connsiteY1495" fmla="*/ 897 h 10000"/>
                <a:gd name="connsiteX1496" fmla="*/ 4373 w 10785"/>
                <a:gd name="connsiteY1496" fmla="*/ 872 h 10000"/>
                <a:gd name="connsiteX1497" fmla="*/ 4341 w 10785"/>
                <a:gd name="connsiteY1497" fmla="*/ 872 h 10000"/>
                <a:gd name="connsiteX1498" fmla="*/ 4336 w 10785"/>
                <a:gd name="connsiteY1498" fmla="*/ 880 h 10000"/>
                <a:gd name="connsiteX1499" fmla="*/ 4346 w 10785"/>
                <a:gd name="connsiteY1499" fmla="*/ 897 h 10000"/>
                <a:gd name="connsiteX1500" fmla="*/ 4346 w 10785"/>
                <a:gd name="connsiteY1500" fmla="*/ 897 h 10000"/>
                <a:gd name="connsiteX1501" fmla="*/ 4313 w 10785"/>
                <a:gd name="connsiteY1501" fmla="*/ 906 h 10000"/>
                <a:gd name="connsiteX1502" fmla="*/ 4313 w 10785"/>
                <a:gd name="connsiteY1502" fmla="*/ 906 h 10000"/>
                <a:gd name="connsiteX1503" fmla="*/ 4313 w 10785"/>
                <a:gd name="connsiteY1503" fmla="*/ 880 h 10000"/>
                <a:gd name="connsiteX1504" fmla="*/ 4309 w 10785"/>
                <a:gd name="connsiteY1504" fmla="*/ 897 h 10000"/>
                <a:gd name="connsiteX1505" fmla="*/ 4295 w 10785"/>
                <a:gd name="connsiteY1505" fmla="*/ 923 h 10000"/>
                <a:gd name="connsiteX1506" fmla="*/ 4286 w 10785"/>
                <a:gd name="connsiteY1506" fmla="*/ 897 h 10000"/>
                <a:gd name="connsiteX1507" fmla="*/ 4281 w 10785"/>
                <a:gd name="connsiteY1507" fmla="*/ 906 h 10000"/>
                <a:gd name="connsiteX1508" fmla="*/ 4281 w 10785"/>
                <a:gd name="connsiteY1508" fmla="*/ 940 h 10000"/>
                <a:gd name="connsiteX1509" fmla="*/ 4286 w 10785"/>
                <a:gd name="connsiteY1509" fmla="*/ 957 h 10000"/>
                <a:gd name="connsiteX1510" fmla="*/ 4309 w 10785"/>
                <a:gd name="connsiteY1510" fmla="*/ 932 h 10000"/>
                <a:gd name="connsiteX1511" fmla="*/ 4313 w 10785"/>
                <a:gd name="connsiteY1511" fmla="*/ 957 h 10000"/>
                <a:gd name="connsiteX1512" fmla="*/ 4313 w 10785"/>
                <a:gd name="connsiteY1512" fmla="*/ 966 h 10000"/>
                <a:gd name="connsiteX1513" fmla="*/ 4323 w 10785"/>
                <a:gd name="connsiteY1513" fmla="*/ 966 h 10000"/>
                <a:gd name="connsiteX1514" fmla="*/ 4323 w 10785"/>
                <a:gd name="connsiteY1514" fmla="*/ 940 h 10000"/>
                <a:gd name="connsiteX1515" fmla="*/ 4327 w 10785"/>
                <a:gd name="connsiteY1515" fmla="*/ 940 h 10000"/>
                <a:gd name="connsiteX1516" fmla="*/ 4327 w 10785"/>
                <a:gd name="connsiteY1516" fmla="*/ 957 h 10000"/>
                <a:gd name="connsiteX1517" fmla="*/ 4327 w 10785"/>
                <a:gd name="connsiteY1517" fmla="*/ 966 h 10000"/>
                <a:gd name="connsiteX1518" fmla="*/ 4323 w 10785"/>
                <a:gd name="connsiteY1518" fmla="*/ 991 h 10000"/>
                <a:gd name="connsiteX1519" fmla="*/ 4207 w 10785"/>
                <a:gd name="connsiteY1519" fmla="*/ 1060 h 10000"/>
                <a:gd name="connsiteX1520" fmla="*/ 4207 w 10785"/>
                <a:gd name="connsiteY1520" fmla="*/ 1060 h 10000"/>
                <a:gd name="connsiteX1521" fmla="*/ 4203 w 10785"/>
                <a:gd name="connsiteY1521" fmla="*/ 1068 h 10000"/>
                <a:gd name="connsiteX1522" fmla="*/ 4203 w 10785"/>
                <a:gd name="connsiteY1522" fmla="*/ 1094 h 10000"/>
                <a:gd name="connsiteX1523" fmla="*/ 4203 w 10785"/>
                <a:gd name="connsiteY1523" fmla="*/ 1094 h 10000"/>
                <a:gd name="connsiteX1524" fmla="*/ 4189 w 10785"/>
                <a:gd name="connsiteY1524" fmla="*/ 1094 h 10000"/>
                <a:gd name="connsiteX1525" fmla="*/ 4166 w 10785"/>
                <a:gd name="connsiteY1525" fmla="*/ 1103 h 10000"/>
                <a:gd name="connsiteX1526" fmla="*/ 4152 w 10785"/>
                <a:gd name="connsiteY1526" fmla="*/ 1094 h 10000"/>
                <a:gd name="connsiteX1527" fmla="*/ 4134 w 10785"/>
                <a:gd name="connsiteY1527" fmla="*/ 1120 h 10000"/>
                <a:gd name="connsiteX1528" fmla="*/ 4106 w 10785"/>
                <a:gd name="connsiteY1528" fmla="*/ 1120 h 10000"/>
                <a:gd name="connsiteX1529" fmla="*/ 4092 w 10785"/>
                <a:gd name="connsiteY1529" fmla="*/ 1154 h 10000"/>
                <a:gd name="connsiteX1530" fmla="*/ 4106 w 10785"/>
                <a:gd name="connsiteY1530" fmla="*/ 1171 h 10000"/>
                <a:gd name="connsiteX1531" fmla="*/ 4078 w 10785"/>
                <a:gd name="connsiteY1531" fmla="*/ 1179 h 10000"/>
                <a:gd name="connsiteX1532" fmla="*/ 4065 w 10785"/>
                <a:gd name="connsiteY1532" fmla="*/ 1205 h 10000"/>
                <a:gd name="connsiteX1533" fmla="*/ 4046 w 10785"/>
                <a:gd name="connsiteY1533" fmla="*/ 1179 h 10000"/>
                <a:gd name="connsiteX1534" fmla="*/ 4041 w 10785"/>
                <a:gd name="connsiteY1534" fmla="*/ 1197 h 10000"/>
                <a:gd name="connsiteX1535" fmla="*/ 4028 w 10785"/>
                <a:gd name="connsiteY1535" fmla="*/ 1205 h 10000"/>
                <a:gd name="connsiteX1536" fmla="*/ 4028 w 10785"/>
                <a:gd name="connsiteY1536" fmla="*/ 1205 h 10000"/>
                <a:gd name="connsiteX1537" fmla="*/ 4032 w 10785"/>
                <a:gd name="connsiteY1537" fmla="*/ 1205 h 10000"/>
                <a:gd name="connsiteX1538" fmla="*/ 4032 w 10785"/>
                <a:gd name="connsiteY1538" fmla="*/ 1231 h 10000"/>
                <a:gd name="connsiteX1539" fmla="*/ 4014 w 10785"/>
                <a:gd name="connsiteY1539" fmla="*/ 1239 h 10000"/>
                <a:gd name="connsiteX1540" fmla="*/ 4014 w 10785"/>
                <a:gd name="connsiteY1540" fmla="*/ 1256 h 10000"/>
                <a:gd name="connsiteX1541" fmla="*/ 4000 w 10785"/>
                <a:gd name="connsiteY1541" fmla="*/ 1265 h 10000"/>
                <a:gd name="connsiteX1542" fmla="*/ 3986 w 10785"/>
                <a:gd name="connsiteY1542" fmla="*/ 1308 h 10000"/>
                <a:gd name="connsiteX1543" fmla="*/ 3972 w 10785"/>
                <a:gd name="connsiteY1543" fmla="*/ 1316 h 10000"/>
                <a:gd name="connsiteX1544" fmla="*/ 3972 w 10785"/>
                <a:gd name="connsiteY1544" fmla="*/ 1325 h 10000"/>
                <a:gd name="connsiteX1545" fmla="*/ 3972 w 10785"/>
                <a:gd name="connsiteY1545" fmla="*/ 1342 h 10000"/>
                <a:gd name="connsiteX1546" fmla="*/ 3968 w 10785"/>
                <a:gd name="connsiteY1546" fmla="*/ 1350 h 10000"/>
                <a:gd name="connsiteX1547" fmla="*/ 3954 w 10785"/>
                <a:gd name="connsiteY1547" fmla="*/ 1368 h 10000"/>
                <a:gd name="connsiteX1548" fmla="*/ 3945 w 10785"/>
                <a:gd name="connsiteY1548" fmla="*/ 1350 h 10000"/>
                <a:gd name="connsiteX1549" fmla="*/ 3908 w 10785"/>
                <a:gd name="connsiteY1549" fmla="*/ 1342 h 10000"/>
                <a:gd name="connsiteX1550" fmla="*/ 3894 w 10785"/>
                <a:gd name="connsiteY1550" fmla="*/ 1368 h 10000"/>
                <a:gd name="connsiteX1551" fmla="*/ 3922 w 10785"/>
                <a:gd name="connsiteY1551" fmla="*/ 1393 h 10000"/>
                <a:gd name="connsiteX1552" fmla="*/ 3945 w 10785"/>
                <a:gd name="connsiteY1552" fmla="*/ 1393 h 10000"/>
                <a:gd name="connsiteX1553" fmla="*/ 3940 w 10785"/>
                <a:gd name="connsiteY1553" fmla="*/ 1419 h 10000"/>
                <a:gd name="connsiteX1554" fmla="*/ 3931 w 10785"/>
                <a:gd name="connsiteY1554" fmla="*/ 1427 h 10000"/>
                <a:gd name="connsiteX1555" fmla="*/ 3926 w 10785"/>
                <a:gd name="connsiteY1555" fmla="*/ 1427 h 10000"/>
                <a:gd name="connsiteX1556" fmla="*/ 3922 w 10785"/>
                <a:gd name="connsiteY1556" fmla="*/ 1419 h 10000"/>
                <a:gd name="connsiteX1557" fmla="*/ 3912 w 10785"/>
                <a:gd name="connsiteY1557" fmla="*/ 1427 h 10000"/>
                <a:gd name="connsiteX1558" fmla="*/ 3912 w 10785"/>
                <a:gd name="connsiteY1558" fmla="*/ 1444 h 10000"/>
                <a:gd name="connsiteX1559" fmla="*/ 3894 w 10785"/>
                <a:gd name="connsiteY1559" fmla="*/ 1513 h 10000"/>
                <a:gd name="connsiteX1560" fmla="*/ 3885 w 10785"/>
                <a:gd name="connsiteY1560" fmla="*/ 1513 h 10000"/>
                <a:gd name="connsiteX1561" fmla="*/ 3880 w 10785"/>
                <a:gd name="connsiteY1561" fmla="*/ 1538 h 10000"/>
                <a:gd name="connsiteX1562" fmla="*/ 3885 w 10785"/>
                <a:gd name="connsiteY1562" fmla="*/ 1564 h 10000"/>
                <a:gd name="connsiteX1563" fmla="*/ 3880 w 10785"/>
                <a:gd name="connsiteY1563" fmla="*/ 1581 h 10000"/>
                <a:gd name="connsiteX1564" fmla="*/ 3871 w 10785"/>
                <a:gd name="connsiteY1564" fmla="*/ 1538 h 10000"/>
                <a:gd name="connsiteX1565" fmla="*/ 3853 w 10785"/>
                <a:gd name="connsiteY1565" fmla="*/ 1530 h 10000"/>
                <a:gd name="connsiteX1566" fmla="*/ 3853 w 10785"/>
                <a:gd name="connsiteY1566" fmla="*/ 1504 h 10000"/>
                <a:gd name="connsiteX1567" fmla="*/ 3834 w 10785"/>
                <a:gd name="connsiteY1567" fmla="*/ 1487 h 10000"/>
                <a:gd name="connsiteX1568" fmla="*/ 3834 w 10785"/>
                <a:gd name="connsiteY1568" fmla="*/ 1487 h 10000"/>
                <a:gd name="connsiteX1569" fmla="*/ 3839 w 10785"/>
                <a:gd name="connsiteY1569" fmla="*/ 1513 h 10000"/>
                <a:gd name="connsiteX1570" fmla="*/ 3820 w 10785"/>
                <a:gd name="connsiteY1570" fmla="*/ 1538 h 10000"/>
                <a:gd name="connsiteX1571" fmla="*/ 3820 w 10785"/>
                <a:gd name="connsiteY1571" fmla="*/ 1556 h 10000"/>
                <a:gd name="connsiteX1572" fmla="*/ 3820 w 10785"/>
                <a:gd name="connsiteY1572" fmla="*/ 1564 h 10000"/>
                <a:gd name="connsiteX1573" fmla="*/ 3820 w 10785"/>
                <a:gd name="connsiteY1573" fmla="*/ 1581 h 10000"/>
                <a:gd name="connsiteX1574" fmla="*/ 3853 w 10785"/>
                <a:gd name="connsiteY1574" fmla="*/ 1581 h 10000"/>
                <a:gd name="connsiteX1575" fmla="*/ 3857 w 10785"/>
                <a:gd name="connsiteY1575" fmla="*/ 1598 h 10000"/>
                <a:gd name="connsiteX1576" fmla="*/ 3880 w 10785"/>
                <a:gd name="connsiteY1576" fmla="*/ 1615 h 10000"/>
                <a:gd name="connsiteX1577" fmla="*/ 3871 w 10785"/>
                <a:gd name="connsiteY1577" fmla="*/ 1615 h 10000"/>
                <a:gd name="connsiteX1578" fmla="*/ 3871 w 10785"/>
                <a:gd name="connsiteY1578" fmla="*/ 1641 h 10000"/>
                <a:gd name="connsiteX1579" fmla="*/ 3880 w 10785"/>
                <a:gd name="connsiteY1579" fmla="*/ 1641 h 10000"/>
                <a:gd name="connsiteX1580" fmla="*/ 3871 w 10785"/>
                <a:gd name="connsiteY1580" fmla="*/ 1650 h 10000"/>
                <a:gd name="connsiteX1581" fmla="*/ 3857 w 10785"/>
                <a:gd name="connsiteY1581" fmla="*/ 1650 h 10000"/>
                <a:gd name="connsiteX1582" fmla="*/ 3853 w 10785"/>
                <a:gd name="connsiteY1582" fmla="*/ 1650 h 10000"/>
                <a:gd name="connsiteX1583" fmla="*/ 3839 w 10785"/>
                <a:gd name="connsiteY1583" fmla="*/ 1667 h 10000"/>
                <a:gd name="connsiteX1584" fmla="*/ 3848 w 10785"/>
                <a:gd name="connsiteY1584" fmla="*/ 1692 h 10000"/>
                <a:gd name="connsiteX1585" fmla="*/ 3834 w 10785"/>
                <a:gd name="connsiteY1585" fmla="*/ 1692 h 10000"/>
                <a:gd name="connsiteX1586" fmla="*/ 3825 w 10785"/>
                <a:gd name="connsiteY1586" fmla="*/ 1692 h 10000"/>
                <a:gd name="connsiteX1587" fmla="*/ 3825 w 10785"/>
                <a:gd name="connsiteY1587" fmla="*/ 1718 h 10000"/>
                <a:gd name="connsiteX1588" fmla="*/ 3839 w 10785"/>
                <a:gd name="connsiteY1588" fmla="*/ 1726 h 10000"/>
                <a:gd name="connsiteX1589" fmla="*/ 3880 w 10785"/>
                <a:gd name="connsiteY1589" fmla="*/ 1752 h 10000"/>
                <a:gd name="connsiteX1590" fmla="*/ 3894 w 10785"/>
                <a:gd name="connsiteY1590" fmla="*/ 1829 h 10000"/>
                <a:gd name="connsiteX1591" fmla="*/ 3899 w 10785"/>
                <a:gd name="connsiteY1591" fmla="*/ 1838 h 10000"/>
                <a:gd name="connsiteX1592" fmla="*/ 3894 w 10785"/>
                <a:gd name="connsiteY1592" fmla="*/ 1855 h 10000"/>
                <a:gd name="connsiteX1593" fmla="*/ 3880 w 10785"/>
                <a:gd name="connsiteY1593" fmla="*/ 1838 h 10000"/>
                <a:gd name="connsiteX1594" fmla="*/ 3880 w 10785"/>
                <a:gd name="connsiteY1594" fmla="*/ 1855 h 10000"/>
                <a:gd name="connsiteX1595" fmla="*/ 3880 w 10785"/>
                <a:gd name="connsiteY1595" fmla="*/ 1863 h 10000"/>
                <a:gd name="connsiteX1596" fmla="*/ 3871 w 10785"/>
                <a:gd name="connsiteY1596" fmla="*/ 1872 h 10000"/>
                <a:gd name="connsiteX1597" fmla="*/ 3880 w 10785"/>
                <a:gd name="connsiteY1597" fmla="*/ 1889 h 10000"/>
                <a:gd name="connsiteX1598" fmla="*/ 3885 w 10785"/>
                <a:gd name="connsiteY1598" fmla="*/ 1889 h 10000"/>
                <a:gd name="connsiteX1599" fmla="*/ 3880 w 10785"/>
                <a:gd name="connsiteY1599" fmla="*/ 1897 h 10000"/>
                <a:gd name="connsiteX1600" fmla="*/ 3871 w 10785"/>
                <a:gd name="connsiteY1600" fmla="*/ 1915 h 10000"/>
                <a:gd name="connsiteX1601" fmla="*/ 3848 w 10785"/>
                <a:gd name="connsiteY1601" fmla="*/ 1923 h 10000"/>
                <a:gd name="connsiteX1602" fmla="*/ 3825 w 10785"/>
                <a:gd name="connsiteY1602" fmla="*/ 1940 h 10000"/>
                <a:gd name="connsiteX1603" fmla="*/ 3811 w 10785"/>
                <a:gd name="connsiteY1603" fmla="*/ 1940 h 10000"/>
                <a:gd name="connsiteX1604" fmla="*/ 3806 w 10785"/>
                <a:gd name="connsiteY1604" fmla="*/ 1949 h 10000"/>
                <a:gd name="connsiteX1605" fmla="*/ 3797 w 10785"/>
                <a:gd name="connsiteY1605" fmla="*/ 1966 h 10000"/>
                <a:gd name="connsiteX1606" fmla="*/ 3788 w 10785"/>
                <a:gd name="connsiteY1606" fmla="*/ 1991 h 10000"/>
                <a:gd name="connsiteX1607" fmla="*/ 3765 w 10785"/>
                <a:gd name="connsiteY1607" fmla="*/ 1974 h 10000"/>
                <a:gd name="connsiteX1608" fmla="*/ 3760 w 10785"/>
                <a:gd name="connsiteY1608" fmla="*/ 1966 h 10000"/>
                <a:gd name="connsiteX1609" fmla="*/ 3760 w 10785"/>
                <a:gd name="connsiteY1609" fmla="*/ 1966 h 10000"/>
                <a:gd name="connsiteX1610" fmla="*/ 3631 w 10785"/>
                <a:gd name="connsiteY1610" fmla="*/ 2009 h 10000"/>
                <a:gd name="connsiteX1611" fmla="*/ 3618 w 10785"/>
                <a:gd name="connsiteY1611" fmla="*/ 2000 h 10000"/>
                <a:gd name="connsiteX1612" fmla="*/ 3599 w 10785"/>
                <a:gd name="connsiteY1612" fmla="*/ 2009 h 10000"/>
                <a:gd name="connsiteX1613" fmla="*/ 3571 w 10785"/>
                <a:gd name="connsiteY1613" fmla="*/ 2000 h 10000"/>
                <a:gd name="connsiteX1614" fmla="*/ 3530 w 10785"/>
                <a:gd name="connsiteY1614" fmla="*/ 2026 h 10000"/>
                <a:gd name="connsiteX1615" fmla="*/ 3530 w 10785"/>
                <a:gd name="connsiteY1615" fmla="*/ 2034 h 10000"/>
                <a:gd name="connsiteX1616" fmla="*/ 3525 w 10785"/>
                <a:gd name="connsiteY1616" fmla="*/ 2051 h 10000"/>
                <a:gd name="connsiteX1617" fmla="*/ 3512 w 10785"/>
                <a:gd name="connsiteY1617" fmla="*/ 2034 h 10000"/>
                <a:gd name="connsiteX1618" fmla="*/ 3507 w 10785"/>
                <a:gd name="connsiteY1618" fmla="*/ 2034 h 10000"/>
                <a:gd name="connsiteX1619" fmla="*/ 3498 w 10785"/>
                <a:gd name="connsiteY1619" fmla="*/ 2051 h 10000"/>
                <a:gd name="connsiteX1620" fmla="*/ 3484 w 10785"/>
                <a:gd name="connsiteY1620" fmla="*/ 2060 h 10000"/>
                <a:gd name="connsiteX1621" fmla="*/ 3484 w 10785"/>
                <a:gd name="connsiteY1621" fmla="*/ 2085 h 10000"/>
                <a:gd name="connsiteX1622" fmla="*/ 3484 w 10785"/>
                <a:gd name="connsiteY1622" fmla="*/ 2103 h 10000"/>
                <a:gd name="connsiteX1623" fmla="*/ 3493 w 10785"/>
                <a:gd name="connsiteY1623" fmla="*/ 2103 h 10000"/>
                <a:gd name="connsiteX1624" fmla="*/ 3493 w 10785"/>
                <a:gd name="connsiteY1624" fmla="*/ 2085 h 10000"/>
                <a:gd name="connsiteX1625" fmla="*/ 3498 w 10785"/>
                <a:gd name="connsiteY1625" fmla="*/ 2085 h 10000"/>
                <a:gd name="connsiteX1626" fmla="*/ 3498 w 10785"/>
                <a:gd name="connsiteY1626" fmla="*/ 2111 h 10000"/>
                <a:gd name="connsiteX1627" fmla="*/ 3484 w 10785"/>
                <a:gd name="connsiteY1627" fmla="*/ 2120 h 10000"/>
                <a:gd name="connsiteX1628" fmla="*/ 3484 w 10785"/>
                <a:gd name="connsiteY1628" fmla="*/ 2145 h 10000"/>
                <a:gd name="connsiteX1629" fmla="*/ 3470 w 10785"/>
                <a:gd name="connsiteY1629" fmla="*/ 2137 h 10000"/>
                <a:gd name="connsiteX1630" fmla="*/ 3465 w 10785"/>
                <a:gd name="connsiteY1630" fmla="*/ 2145 h 10000"/>
                <a:gd name="connsiteX1631" fmla="*/ 3470 w 10785"/>
                <a:gd name="connsiteY1631" fmla="*/ 2171 h 10000"/>
                <a:gd name="connsiteX1632" fmla="*/ 3484 w 10785"/>
                <a:gd name="connsiteY1632" fmla="*/ 2171 h 10000"/>
                <a:gd name="connsiteX1633" fmla="*/ 3484 w 10785"/>
                <a:gd name="connsiteY1633" fmla="*/ 2197 h 10000"/>
                <a:gd name="connsiteX1634" fmla="*/ 3465 w 10785"/>
                <a:gd name="connsiteY1634" fmla="*/ 2214 h 10000"/>
                <a:gd name="connsiteX1635" fmla="*/ 3493 w 10785"/>
                <a:gd name="connsiteY1635" fmla="*/ 2248 h 10000"/>
                <a:gd name="connsiteX1636" fmla="*/ 3484 w 10785"/>
                <a:gd name="connsiteY1636" fmla="*/ 2256 h 10000"/>
                <a:gd name="connsiteX1637" fmla="*/ 3498 w 10785"/>
                <a:gd name="connsiteY1637" fmla="*/ 2274 h 10000"/>
                <a:gd name="connsiteX1638" fmla="*/ 3498 w 10785"/>
                <a:gd name="connsiteY1638" fmla="*/ 2256 h 10000"/>
                <a:gd name="connsiteX1639" fmla="*/ 3507 w 10785"/>
                <a:gd name="connsiteY1639" fmla="*/ 2308 h 10000"/>
                <a:gd name="connsiteX1640" fmla="*/ 3512 w 10785"/>
                <a:gd name="connsiteY1640" fmla="*/ 2325 h 10000"/>
                <a:gd name="connsiteX1641" fmla="*/ 3507 w 10785"/>
                <a:gd name="connsiteY1641" fmla="*/ 2333 h 10000"/>
                <a:gd name="connsiteX1642" fmla="*/ 3507 w 10785"/>
                <a:gd name="connsiteY1642" fmla="*/ 2359 h 10000"/>
                <a:gd name="connsiteX1643" fmla="*/ 3507 w 10785"/>
                <a:gd name="connsiteY1643" fmla="*/ 2376 h 10000"/>
                <a:gd name="connsiteX1644" fmla="*/ 3498 w 10785"/>
                <a:gd name="connsiteY1644" fmla="*/ 2410 h 10000"/>
                <a:gd name="connsiteX1645" fmla="*/ 3498 w 10785"/>
                <a:gd name="connsiteY1645" fmla="*/ 2436 h 10000"/>
                <a:gd name="connsiteX1646" fmla="*/ 3507 w 10785"/>
                <a:gd name="connsiteY1646" fmla="*/ 2462 h 10000"/>
                <a:gd name="connsiteX1647" fmla="*/ 3507 w 10785"/>
                <a:gd name="connsiteY1647" fmla="*/ 2496 h 10000"/>
                <a:gd name="connsiteX1648" fmla="*/ 3512 w 10785"/>
                <a:gd name="connsiteY1648" fmla="*/ 2521 h 10000"/>
                <a:gd name="connsiteX1649" fmla="*/ 3525 w 10785"/>
                <a:gd name="connsiteY1649" fmla="*/ 2556 h 10000"/>
                <a:gd name="connsiteX1650" fmla="*/ 3571 w 10785"/>
                <a:gd name="connsiteY1650" fmla="*/ 2573 h 10000"/>
                <a:gd name="connsiteX1651" fmla="*/ 3590 w 10785"/>
                <a:gd name="connsiteY1651" fmla="*/ 2598 h 10000"/>
                <a:gd name="connsiteX1652" fmla="*/ 3599 w 10785"/>
                <a:gd name="connsiteY1652" fmla="*/ 2598 h 10000"/>
                <a:gd name="connsiteX1653" fmla="*/ 3604 w 10785"/>
                <a:gd name="connsiteY1653" fmla="*/ 2632 h 10000"/>
                <a:gd name="connsiteX1654" fmla="*/ 3599 w 10785"/>
                <a:gd name="connsiteY1654" fmla="*/ 2658 h 10000"/>
                <a:gd name="connsiteX1655" fmla="*/ 3590 w 10785"/>
                <a:gd name="connsiteY1655" fmla="*/ 2667 h 10000"/>
                <a:gd name="connsiteX1656" fmla="*/ 3604 w 10785"/>
                <a:gd name="connsiteY1656" fmla="*/ 2667 h 10000"/>
                <a:gd name="connsiteX1657" fmla="*/ 3613 w 10785"/>
                <a:gd name="connsiteY1657" fmla="*/ 2692 h 10000"/>
                <a:gd name="connsiteX1658" fmla="*/ 3627 w 10785"/>
                <a:gd name="connsiteY1658" fmla="*/ 2735 h 10000"/>
                <a:gd name="connsiteX1659" fmla="*/ 3631 w 10785"/>
                <a:gd name="connsiteY1659" fmla="*/ 2744 h 10000"/>
                <a:gd name="connsiteX1660" fmla="*/ 3659 w 10785"/>
                <a:gd name="connsiteY1660" fmla="*/ 2761 h 10000"/>
                <a:gd name="connsiteX1661" fmla="*/ 3673 w 10785"/>
                <a:gd name="connsiteY1661" fmla="*/ 2769 h 10000"/>
                <a:gd name="connsiteX1662" fmla="*/ 3673 w 10785"/>
                <a:gd name="connsiteY1662" fmla="*/ 2761 h 10000"/>
                <a:gd name="connsiteX1663" fmla="*/ 3687 w 10785"/>
                <a:gd name="connsiteY1663" fmla="*/ 2829 h 10000"/>
                <a:gd name="connsiteX1664" fmla="*/ 3677 w 10785"/>
                <a:gd name="connsiteY1664" fmla="*/ 2897 h 10000"/>
                <a:gd name="connsiteX1665" fmla="*/ 3673 w 10785"/>
                <a:gd name="connsiteY1665" fmla="*/ 2915 h 10000"/>
                <a:gd name="connsiteX1666" fmla="*/ 3664 w 10785"/>
                <a:gd name="connsiteY1666" fmla="*/ 2957 h 10000"/>
                <a:gd name="connsiteX1667" fmla="*/ 3659 w 10785"/>
                <a:gd name="connsiteY1667" fmla="*/ 2983 h 10000"/>
                <a:gd name="connsiteX1668" fmla="*/ 3664 w 10785"/>
                <a:gd name="connsiteY1668" fmla="*/ 3017 h 10000"/>
                <a:gd name="connsiteX1669" fmla="*/ 3659 w 10785"/>
                <a:gd name="connsiteY1669" fmla="*/ 3043 h 10000"/>
                <a:gd name="connsiteX1670" fmla="*/ 3677 w 10785"/>
                <a:gd name="connsiteY1670" fmla="*/ 3094 h 10000"/>
                <a:gd name="connsiteX1671" fmla="*/ 3691 w 10785"/>
                <a:gd name="connsiteY1671" fmla="*/ 3282 h 10000"/>
                <a:gd name="connsiteX1672" fmla="*/ 3691 w 10785"/>
                <a:gd name="connsiteY1672" fmla="*/ 3308 h 10000"/>
                <a:gd name="connsiteX1673" fmla="*/ 3677 w 10785"/>
                <a:gd name="connsiteY1673" fmla="*/ 3342 h 10000"/>
                <a:gd name="connsiteX1674" fmla="*/ 3664 w 10785"/>
                <a:gd name="connsiteY1674" fmla="*/ 3342 h 10000"/>
                <a:gd name="connsiteX1675" fmla="*/ 3650 w 10785"/>
                <a:gd name="connsiteY1675" fmla="*/ 3342 h 10000"/>
                <a:gd name="connsiteX1676" fmla="*/ 3650 w 10785"/>
                <a:gd name="connsiteY1676" fmla="*/ 3350 h 10000"/>
                <a:gd name="connsiteX1677" fmla="*/ 3659 w 10785"/>
                <a:gd name="connsiteY1677" fmla="*/ 3402 h 10000"/>
                <a:gd name="connsiteX1678" fmla="*/ 3659 w 10785"/>
                <a:gd name="connsiteY1678" fmla="*/ 3419 h 10000"/>
                <a:gd name="connsiteX1679" fmla="*/ 3631 w 10785"/>
                <a:gd name="connsiteY1679" fmla="*/ 3402 h 10000"/>
                <a:gd name="connsiteX1680" fmla="*/ 3604 w 10785"/>
                <a:gd name="connsiteY1680" fmla="*/ 3393 h 10000"/>
                <a:gd name="connsiteX1681" fmla="*/ 3599 w 10785"/>
                <a:gd name="connsiteY1681" fmla="*/ 3368 h 10000"/>
                <a:gd name="connsiteX1682" fmla="*/ 3590 w 10785"/>
                <a:gd name="connsiteY1682" fmla="*/ 3239 h 10000"/>
                <a:gd name="connsiteX1683" fmla="*/ 3599 w 10785"/>
                <a:gd name="connsiteY1683" fmla="*/ 3179 h 10000"/>
                <a:gd name="connsiteX1684" fmla="*/ 3599 w 10785"/>
                <a:gd name="connsiteY1684" fmla="*/ 3171 h 10000"/>
                <a:gd name="connsiteX1685" fmla="*/ 3599 w 10785"/>
                <a:gd name="connsiteY1685" fmla="*/ 3009 h 10000"/>
                <a:gd name="connsiteX1686" fmla="*/ 3604 w 10785"/>
                <a:gd name="connsiteY1686" fmla="*/ 2983 h 10000"/>
                <a:gd name="connsiteX1687" fmla="*/ 3645 w 10785"/>
                <a:gd name="connsiteY1687" fmla="*/ 2932 h 10000"/>
                <a:gd name="connsiteX1688" fmla="*/ 3650 w 10785"/>
                <a:gd name="connsiteY1688" fmla="*/ 2872 h 10000"/>
                <a:gd name="connsiteX1689" fmla="*/ 3659 w 10785"/>
                <a:gd name="connsiteY1689" fmla="*/ 2855 h 10000"/>
                <a:gd name="connsiteX1690" fmla="*/ 3659 w 10785"/>
                <a:gd name="connsiteY1690" fmla="*/ 2821 h 10000"/>
                <a:gd name="connsiteX1691" fmla="*/ 3631 w 10785"/>
                <a:gd name="connsiteY1691" fmla="*/ 2795 h 10000"/>
                <a:gd name="connsiteX1692" fmla="*/ 3567 w 10785"/>
                <a:gd name="connsiteY1692" fmla="*/ 2821 h 10000"/>
                <a:gd name="connsiteX1693" fmla="*/ 3544 w 10785"/>
                <a:gd name="connsiteY1693" fmla="*/ 2795 h 10000"/>
                <a:gd name="connsiteX1694" fmla="*/ 3530 w 10785"/>
                <a:gd name="connsiteY1694" fmla="*/ 2769 h 10000"/>
                <a:gd name="connsiteX1695" fmla="*/ 3530 w 10785"/>
                <a:gd name="connsiteY1695" fmla="*/ 2786 h 10000"/>
                <a:gd name="connsiteX1696" fmla="*/ 3498 w 10785"/>
                <a:gd name="connsiteY1696" fmla="*/ 2692 h 10000"/>
                <a:gd name="connsiteX1697" fmla="*/ 3498 w 10785"/>
                <a:gd name="connsiteY1697" fmla="*/ 2667 h 10000"/>
                <a:gd name="connsiteX1698" fmla="*/ 3442 w 10785"/>
                <a:gd name="connsiteY1698" fmla="*/ 2607 h 10000"/>
                <a:gd name="connsiteX1699" fmla="*/ 3433 w 10785"/>
                <a:gd name="connsiteY1699" fmla="*/ 2581 h 10000"/>
                <a:gd name="connsiteX1700" fmla="*/ 3396 w 10785"/>
                <a:gd name="connsiteY1700" fmla="*/ 2556 h 10000"/>
                <a:gd name="connsiteX1701" fmla="*/ 3318 w 10785"/>
                <a:gd name="connsiteY1701" fmla="*/ 2556 h 10000"/>
                <a:gd name="connsiteX1702" fmla="*/ 3304 w 10785"/>
                <a:gd name="connsiteY1702" fmla="*/ 2607 h 10000"/>
                <a:gd name="connsiteX1703" fmla="*/ 3276 w 10785"/>
                <a:gd name="connsiteY1703" fmla="*/ 2632 h 10000"/>
                <a:gd name="connsiteX1704" fmla="*/ 3272 w 10785"/>
                <a:gd name="connsiteY1704" fmla="*/ 2667 h 10000"/>
                <a:gd name="connsiteX1705" fmla="*/ 3304 w 10785"/>
                <a:gd name="connsiteY1705" fmla="*/ 2667 h 10000"/>
                <a:gd name="connsiteX1706" fmla="*/ 3323 w 10785"/>
                <a:gd name="connsiteY1706" fmla="*/ 2692 h 10000"/>
                <a:gd name="connsiteX1707" fmla="*/ 3318 w 10785"/>
                <a:gd name="connsiteY1707" fmla="*/ 2735 h 10000"/>
                <a:gd name="connsiteX1708" fmla="*/ 3304 w 10785"/>
                <a:gd name="connsiteY1708" fmla="*/ 2761 h 10000"/>
                <a:gd name="connsiteX1709" fmla="*/ 3276 w 10785"/>
                <a:gd name="connsiteY1709" fmla="*/ 2769 h 10000"/>
                <a:gd name="connsiteX1710" fmla="*/ 3263 w 10785"/>
                <a:gd name="connsiteY1710" fmla="*/ 2795 h 10000"/>
                <a:gd name="connsiteX1711" fmla="*/ 3235 w 10785"/>
                <a:gd name="connsiteY1711" fmla="*/ 2803 h 10000"/>
                <a:gd name="connsiteX1712" fmla="*/ 3235 w 10785"/>
                <a:gd name="connsiteY1712" fmla="*/ 2786 h 10000"/>
                <a:gd name="connsiteX1713" fmla="*/ 3212 w 10785"/>
                <a:gd name="connsiteY1713" fmla="*/ 2709 h 10000"/>
                <a:gd name="connsiteX1714" fmla="*/ 3198 w 10785"/>
                <a:gd name="connsiteY1714" fmla="*/ 2709 h 10000"/>
                <a:gd name="connsiteX1715" fmla="*/ 3184 w 10785"/>
                <a:gd name="connsiteY1715" fmla="*/ 2735 h 10000"/>
                <a:gd name="connsiteX1716" fmla="*/ 3189 w 10785"/>
                <a:gd name="connsiteY1716" fmla="*/ 2761 h 10000"/>
                <a:gd name="connsiteX1717" fmla="*/ 3203 w 10785"/>
                <a:gd name="connsiteY1717" fmla="*/ 2855 h 10000"/>
                <a:gd name="connsiteX1718" fmla="*/ 3212 w 10785"/>
                <a:gd name="connsiteY1718" fmla="*/ 2872 h 10000"/>
                <a:gd name="connsiteX1719" fmla="*/ 3235 w 10785"/>
                <a:gd name="connsiteY1719" fmla="*/ 2906 h 10000"/>
                <a:gd name="connsiteX1720" fmla="*/ 3258 w 10785"/>
                <a:gd name="connsiteY1720" fmla="*/ 2915 h 10000"/>
                <a:gd name="connsiteX1721" fmla="*/ 3272 w 10785"/>
                <a:gd name="connsiteY1721" fmla="*/ 2957 h 10000"/>
                <a:gd name="connsiteX1722" fmla="*/ 3276 w 10785"/>
                <a:gd name="connsiteY1722" fmla="*/ 2957 h 10000"/>
                <a:gd name="connsiteX1723" fmla="*/ 3286 w 10785"/>
                <a:gd name="connsiteY1723" fmla="*/ 2966 h 10000"/>
                <a:gd name="connsiteX1724" fmla="*/ 3300 w 10785"/>
                <a:gd name="connsiteY1724" fmla="*/ 2957 h 10000"/>
                <a:gd name="connsiteX1725" fmla="*/ 3309 w 10785"/>
                <a:gd name="connsiteY1725" fmla="*/ 2932 h 10000"/>
                <a:gd name="connsiteX1726" fmla="*/ 3304 w 10785"/>
                <a:gd name="connsiteY1726" fmla="*/ 2966 h 10000"/>
                <a:gd name="connsiteX1727" fmla="*/ 3309 w 10785"/>
                <a:gd name="connsiteY1727" fmla="*/ 2983 h 10000"/>
                <a:gd name="connsiteX1728" fmla="*/ 3323 w 10785"/>
                <a:gd name="connsiteY1728" fmla="*/ 2966 h 10000"/>
                <a:gd name="connsiteX1729" fmla="*/ 3323 w 10785"/>
                <a:gd name="connsiteY1729" fmla="*/ 3043 h 10000"/>
                <a:gd name="connsiteX1730" fmla="*/ 3346 w 10785"/>
                <a:gd name="connsiteY1730" fmla="*/ 3068 h 10000"/>
                <a:gd name="connsiteX1731" fmla="*/ 3346 w 10785"/>
                <a:gd name="connsiteY1731" fmla="*/ 3094 h 10000"/>
                <a:gd name="connsiteX1732" fmla="*/ 3323 w 10785"/>
                <a:gd name="connsiteY1732" fmla="*/ 3094 h 10000"/>
                <a:gd name="connsiteX1733" fmla="*/ 3309 w 10785"/>
                <a:gd name="connsiteY1733" fmla="*/ 3077 h 10000"/>
                <a:gd name="connsiteX1734" fmla="*/ 3304 w 10785"/>
                <a:gd name="connsiteY1734" fmla="*/ 3051 h 10000"/>
                <a:gd name="connsiteX1735" fmla="*/ 3300 w 10785"/>
                <a:gd name="connsiteY1735" fmla="*/ 3043 h 10000"/>
                <a:gd name="connsiteX1736" fmla="*/ 3286 w 10785"/>
                <a:gd name="connsiteY1736" fmla="*/ 3017 h 10000"/>
                <a:gd name="connsiteX1737" fmla="*/ 3152 w 10785"/>
                <a:gd name="connsiteY1737" fmla="*/ 2966 h 10000"/>
                <a:gd name="connsiteX1738" fmla="*/ 3129 w 10785"/>
                <a:gd name="connsiteY1738" fmla="*/ 2915 h 10000"/>
                <a:gd name="connsiteX1739" fmla="*/ 3129 w 10785"/>
                <a:gd name="connsiteY1739" fmla="*/ 2906 h 10000"/>
                <a:gd name="connsiteX1740" fmla="*/ 3152 w 10785"/>
                <a:gd name="connsiteY1740" fmla="*/ 2906 h 10000"/>
                <a:gd name="connsiteX1741" fmla="*/ 3152 w 10785"/>
                <a:gd name="connsiteY1741" fmla="*/ 2846 h 10000"/>
                <a:gd name="connsiteX1742" fmla="*/ 3138 w 10785"/>
                <a:gd name="connsiteY1742" fmla="*/ 2795 h 10000"/>
                <a:gd name="connsiteX1743" fmla="*/ 3138 w 10785"/>
                <a:gd name="connsiteY1743" fmla="*/ 2769 h 10000"/>
                <a:gd name="connsiteX1744" fmla="*/ 3143 w 10785"/>
                <a:gd name="connsiteY1744" fmla="*/ 2718 h 10000"/>
                <a:gd name="connsiteX1745" fmla="*/ 3129 w 10785"/>
                <a:gd name="connsiteY1745" fmla="*/ 2692 h 10000"/>
                <a:gd name="connsiteX1746" fmla="*/ 3143 w 10785"/>
                <a:gd name="connsiteY1746" fmla="*/ 2667 h 10000"/>
                <a:gd name="connsiteX1747" fmla="*/ 3157 w 10785"/>
                <a:gd name="connsiteY1747" fmla="*/ 2581 h 10000"/>
                <a:gd name="connsiteX1748" fmla="*/ 3143 w 10785"/>
                <a:gd name="connsiteY1748" fmla="*/ 2496 h 10000"/>
                <a:gd name="connsiteX1749" fmla="*/ 3157 w 10785"/>
                <a:gd name="connsiteY1749" fmla="*/ 2487 h 10000"/>
                <a:gd name="connsiteX1750" fmla="*/ 3143 w 10785"/>
                <a:gd name="connsiteY1750" fmla="*/ 2444 h 10000"/>
                <a:gd name="connsiteX1751" fmla="*/ 3143 w 10785"/>
                <a:gd name="connsiteY1751" fmla="*/ 2419 h 10000"/>
                <a:gd name="connsiteX1752" fmla="*/ 3143 w 10785"/>
                <a:gd name="connsiteY1752" fmla="*/ 2410 h 10000"/>
                <a:gd name="connsiteX1753" fmla="*/ 3124 w 10785"/>
                <a:gd name="connsiteY1753" fmla="*/ 2376 h 10000"/>
                <a:gd name="connsiteX1754" fmla="*/ 3115 w 10785"/>
                <a:gd name="connsiteY1754" fmla="*/ 2350 h 10000"/>
                <a:gd name="connsiteX1755" fmla="*/ 3101 w 10785"/>
                <a:gd name="connsiteY1755" fmla="*/ 2359 h 10000"/>
                <a:gd name="connsiteX1756" fmla="*/ 3115 w 10785"/>
                <a:gd name="connsiteY1756" fmla="*/ 2581 h 10000"/>
                <a:gd name="connsiteX1757" fmla="*/ 3111 w 10785"/>
                <a:gd name="connsiteY1757" fmla="*/ 2624 h 10000"/>
                <a:gd name="connsiteX1758" fmla="*/ 3009 w 10785"/>
                <a:gd name="connsiteY1758" fmla="*/ 2761 h 10000"/>
                <a:gd name="connsiteX1759" fmla="*/ 3009 w 10785"/>
                <a:gd name="connsiteY1759" fmla="*/ 2803 h 10000"/>
                <a:gd name="connsiteX1760" fmla="*/ 3005 w 10785"/>
                <a:gd name="connsiteY1760" fmla="*/ 2829 h 10000"/>
                <a:gd name="connsiteX1761" fmla="*/ 2982 w 10785"/>
                <a:gd name="connsiteY1761" fmla="*/ 2872 h 10000"/>
                <a:gd name="connsiteX1762" fmla="*/ 2982 w 10785"/>
                <a:gd name="connsiteY1762" fmla="*/ 2880 h 10000"/>
                <a:gd name="connsiteX1763" fmla="*/ 3037 w 10785"/>
                <a:gd name="connsiteY1763" fmla="*/ 3034 h 10000"/>
                <a:gd name="connsiteX1764" fmla="*/ 3041 w 10785"/>
                <a:gd name="connsiteY1764" fmla="*/ 3103 h 10000"/>
                <a:gd name="connsiteX1765" fmla="*/ 3069 w 10785"/>
                <a:gd name="connsiteY1765" fmla="*/ 3188 h 10000"/>
                <a:gd name="connsiteX1766" fmla="*/ 3055 w 10785"/>
                <a:gd name="connsiteY1766" fmla="*/ 3325 h 10000"/>
                <a:gd name="connsiteX1767" fmla="*/ 3037 w 10785"/>
                <a:gd name="connsiteY1767" fmla="*/ 3368 h 10000"/>
                <a:gd name="connsiteX1768" fmla="*/ 3037 w 10785"/>
                <a:gd name="connsiteY1768" fmla="*/ 3444 h 10000"/>
                <a:gd name="connsiteX1769" fmla="*/ 3028 w 10785"/>
                <a:gd name="connsiteY1769" fmla="*/ 3453 h 10000"/>
                <a:gd name="connsiteX1770" fmla="*/ 3023 w 10785"/>
                <a:gd name="connsiteY1770" fmla="*/ 3530 h 10000"/>
                <a:gd name="connsiteX1771" fmla="*/ 3051 w 10785"/>
                <a:gd name="connsiteY1771" fmla="*/ 3624 h 10000"/>
                <a:gd name="connsiteX1772" fmla="*/ 3037 w 10785"/>
                <a:gd name="connsiteY1772" fmla="*/ 3718 h 10000"/>
                <a:gd name="connsiteX1773" fmla="*/ 3041 w 10785"/>
                <a:gd name="connsiteY1773" fmla="*/ 3752 h 10000"/>
                <a:gd name="connsiteX1774" fmla="*/ 3055 w 10785"/>
                <a:gd name="connsiteY1774" fmla="*/ 3761 h 10000"/>
                <a:gd name="connsiteX1775" fmla="*/ 3078 w 10785"/>
                <a:gd name="connsiteY1775" fmla="*/ 3752 h 10000"/>
                <a:gd name="connsiteX1776" fmla="*/ 3092 w 10785"/>
                <a:gd name="connsiteY1776" fmla="*/ 3752 h 10000"/>
                <a:gd name="connsiteX1777" fmla="*/ 3129 w 10785"/>
                <a:gd name="connsiteY1777" fmla="*/ 3761 h 10000"/>
                <a:gd name="connsiteX1778" fmla="*/ 3129 w 10785"/>
                <a:gd name="connsiteY1778" fmla="*/ 3735 h 10000"/>
                <a:gd name="connsiteX1779" fmla="*/ 3157 w 10785"/>
                <a:gd name="connsiteY1779" fmla="*/ 3718 h 10000"/>
                <a:gd name="connsiteX1780" fmla="*/ 3184 w 10785"/>
                <a:gd name="connsiteY1780" fmla="*/ 3718 h 10000"/>
                <a:gd name="connsiteX1781" fmla="*/ 3290 w 10785"/>
                <a:gd name="connsiteY1781" fmla="*/ 3838 h 10000"/>
                <a:gd name="connsiteX1782" fmla="*/ 3300 w 10785"/>
                <a:gd name="connsiteY1782" fmla="*/ 3846 h 10000"/>
                <a:gd name="connsiteX1783" fmla="*/ 3300 w 10785"/>
                <a:gd name="connsiteY1783" fmla="*/ 3915 h 10000"/>
                <a:gd name="connsiteX1784" fmla="*/ 3318 w 10785"/>
                <a:gd name="connsiteY1784" fmla="*/ 4000 h 10000"/>
                <a:gd name="connsiteX1785" fmla="*/ 3323 w 10785"/>
                <a:gd name="connsiteY1785" fmla="*/ 4000 h 10000"/>
                <a:gd name="connsiteX1786" fmla="*/ 3323 w 10785"/>
                <a:gd name="connsiteY1786" fmla="*/ 4034 h 10000"/>
                <a:gd name="connsiteX1787" fmla="*/ 3318 w 10785"/>
                <a:gd name="connsiteY1787" fmla="*/ 4051 h 10000"/>
                <a:gd name="connsiteX1788" fmla="*/ 3300 w 10785"/>
                <a:gd name="connsiteY1788" fmla="*/ 4051 h 10000"/>
                <a:gd name="connsiteX1789" fmla="*/ 3290 w 10785"/>
                <a:gd name="connsiteY1789" fmla="*/ 4077 h 10000"/>
                <a:gd name="connsiteX1790" fmla="*/ 3286 w 10785"/>
                <a:gd name="connsiteY1790" fmla="*/ 4103 h 10000"/>
                <a:gd name="connsiteX1791" fmla="*/ 3286 w 10785"/>
                <a:gd name="connsiteY1791" fmla="*/ 4197 h 10000"/>
                <a:gd name="connsiteX1792" fmla="*/ 3290 w 10785"/>
                <a:gd name="connsiteY1792" fmla="*/ 4214 h 10000"/>
                <a:gd name="connsiteX1793" fmla="*/ 3304 w 10785"/>
                <a:gd name="connsiteY1793" fmla="*/ 4214 h 10000"/>
                <a:gd name="connsiteX1794" fmla="*/ 3323 w 10785"/>
                <a:gd name="connsiteY1794" fmla="*/ 4239 h 10000"/>
                <a:gd name="connsiteX1795" fmla="*/ 3350 w 10785"/>
                <a:gd name="connsiteY1795" fmla="*/ 4222 h 10000"/>
                <a:gd name="connsiteX1796" fmla="*/ 3369 w 10785"/>
                <a:gd name="connsiteY1796" fmla="*/ 4256 h 10000"/>
                <a:gd name="connsiteX1797" fmla="*/ 3369 w 10785"/>
                <a:gd name="connsiteY1797" fmla="*/ 4256 h 10000"/>
                <a:gd name="connsiteX1798" fmla="*/ 3336 w 10785"/>
                <a:gd name="connsiteY1798" fmla="*/ 4274 h 10000"/>
                <a:gd name="connsiteX1799" fmla="*/ 3323 w 10785"/>
                <a:gd name="connsiteY1799" fmla="*/ 4274 h 10000"/>
                <a:gd name="connsiteX1800" fmla="*/ 3290 w 10785"/>
                <a:gd name="connsiteY1800" fmla="*/ 4274 h 10000"/>
                <a:gd name="connsiteX1801" fmla="*/ 3286 w 10785"/>
                <a:gd name="connsiteY1801" fmla="*/ 4239 h 10000"/>
                <a:gd name="connsiteX1802" fmla="*/ 3263 w 10785"/>
                <a:gd name="connsiteY1802" fmla="*/ 4214 h 10000"/>
                <a:gd name="connsiteX1803" fmla="*/ 3258 w 10785"/>
                <a:gd name="connsiteY1803" fmla="*/ 4188 h 10000"/>
                <a:gd name="connsiteX1804" fmla="*/ 3263 w 10785"/>
                <a:gd name="connsiteY1804" fmla="*/ 4171 h 10000"/>
                <a:gd name="connsiteX1805" fmla="*/ 3263 w 10785"/>
                <a:gd name="connsiteY1805" fmla="*/ 4103 h 10000"/>
                <a:gd name="connsiteX1806" fmla="*/ 3276 w 10785"/>
                <a:gd name="connsiteY1806" fmla="*/ 4060 h 10000"/>
                <a:gd name="connsiteX1807" fmla="*/ 3272 w 10785"/>
                <a:gd name="connsiteY1807" fmla="*/ 4051 h 10000"/>
                <a:gd name="connsiteX1808" fmla="*/ 3263 w 10785"/>
                <a:gd name="connsiteY1808" fmla="*/ 4051 h 10000"/>
                <a:gd name="connsiteX1809" fmla="*/ 3263 w 10785"/>
                <a:gd name="connsiteY1809" fmla="*/ 4034 h 10000"/>
                <a:gd name="connsiteX1810" fmla="*/ 3263 w 10785"/>
                <a:gd name="connsiteY1810" fmla="*/ 4000 h 10000"/>
                <a:gd name="connsiteX1811" fmla="*/ 3272 w 10785"/>
                <a:gd name="connsiteY1811" fmla="*/ 4000 h 10000"/>
                <a:gd name="connsiteX1812" fmla="*/ 3272 w 10785"/>
                <a:gd name="connsiteY1812" fmla="*/ 3974 h 10000"/>
                <a:gd name="connsiteX1813" fmla="*/ 3272 w 10785"/>
                <a:gd name="connsiteY1813" fmla="*/ 3966 h 10000"/>
                <a:gd name="connsiteX1814" fmla="*/ 3272 w 10785"/>
                <a:gd name="connsiteY1814" fmla="*/ 3949 h 10000"/>
                <a:gd name="connsiteX1815" fmla="*/ 3258 w 10785"/>
                <a:gd name="connsiteY1815" fmla="*/ 3923 h 10000"/>
                <a:gd name="connsiteX1816" fmla="*/ 3249 w 10785"/>
                <a:gd name="connsiteY1816" fmla="*/ 3915 h 10000"/>
                <a:gd name="connsiteX1817" fmla="*/ 3244 w 10785"/>
                <a:gd name="connsiteY1817" fmla="*/ 3897 h 10000"/>
                <a:gd name="connsiteX1818" fmla="*/ 3230 w 10785"/>
                <a:gd name="connsiteY1818" fmla="*/ 3889 h 10000"/>
                <a:gd name="connsiteX1819" fmla="*/ 3230 w 10785"/>
                <a:gd name="connsiteY1819" fmla="*/ 3863 h 10000"/>
                <a:gd name="connsiteX1820" fmla="*/ 3230 w 10785"/>
                <a:gd name="connsiteY1820" fmla="*/ 3838 h 10000"/>
                <a:gd name="connsiteX1821" fmla="*/ 3226 w 10785"/>
                <a:gd name="connsiteY1821" fmla="*/ 3803 h 10000"/>
                <a:gd name="connsiteX1822" fmla="*/ 3138 w 10785"/>
                <a:gd name="connsiteY1822" fmla="*/ 3838 h 10000"/>
                <a:gd name="connsiteX1823" fmla="*/ 3078 w 10785"/>
                <a:gd name="connsiteY1823" fmla="*/ 3889 h 10000"/>
                <a:gd name="connsiteX1824" fmla="*/ 3078 w 10785"/>
                <a:gd name="connsiteY1824" fmla="*/ 3940 h 10000"/>
                <a:gd name="connsiteX1825" fmla="*/ 3069 w 10785"/>
                <a:gd name="connsiteY1825" fmla="*/ 3983 h 10000"/>
                <a:gd name="connsiteX1826" fmla="*/ 3069 w 10785"/>
                <a:gd name="connsiteY1826" fmla="*/ 4009 h 10000"/>
                <a:gd name="connsiteX1827" fmla="*/ 3078 w 10785"/>
                <a:gd name="connsiteY1827" fmla="*/ 4026 h 10000"/>
                <a:gd name="connsiteX1828" fmla="*/ 3083 w 10785"/>
                <a:gd name="connsiteY1828" fmla="*/ 4034 h 10000"/>
                <a:gd name="connsiteX1829" fmla="*/ 3092 w 10785"/>
                <a:gd name="connsiteY1829" fmla="*/ 4060 h 10000"/>
                <a:gd name="connsiteX1830" fmla="*/ 3092 w 10785"/>
                <a:gd name="connsiteY1830" fmla="*/ 4077 h 10000"/>
                <a:gd name="connsiteX1831" fmla="*/ 3097 w 10785"/>
                <a:gd name="connsiteY1831" fmla="*/ 4103 h 10000"/>
                <a:gd name="connsiteX1832" fmla="*/ 3101 w 10785"/>
                <a:gd name="connsiteY1832" fmla="*/ 4162 h 10000"/>
                <a:gd name="connsiteX1833" fmla="*/ 3097 w 10785"/>
                <a:gd name="connsiteY1833" fmla="*/ 4222 h 10000"/>
                <a:gd name="connsiteX1834" fmla="*/ 3041 w 10785"/>
                <a:gd name="connsiteY1834" fmla="*/ 4325 h 10000"/>
                <a:gd name="connsiteX1835" fmla="*/ 3037 w 10785"/>
                <a:gd name="connsiteY1835" fmla="*/ 4419 h 10000"/>
                <a:gd name="connsiteX1836" fmla="*/ 3018 w 10785"/>
                <a:gd name="connsiteY1836" fmla="*/ 4470 h 10000"/>
                <a:gd name="connsiteX1837" fmla="*/ 2991 w 10785"/>
                <a:gd name="connsiteY1837" fmla="*/ 4513 h 10000"/>
                <a:gd name="connsiteX1838" fmla="*/ 2977 w 10785"/>
                <a:gd name="connsiteY1838" fmla="*/ 4530 h 10000"/>
                <a:gd name="connsiteX1839" fmla="*/ 2945 w 10785"/>
                <a:gd name="connsiteY1839" fmla="*/ 4556 h 10000"/>
                <a:gd name="connsiteX1840" fmla="*/ 2935 w 10785"/>
                <a:gd name="connsiteY1840" fmla="*/ 4581 h 10000"/>
                <a:gd name="connsiteX1841" fmla="*/ 2949 w 10785"/>
                <a:gd name="connsiteY1841" fmla="*/ 4624 h 10000"/>
                <a:gd name="connsiteX1842" fmla="*/ 2945 w 10785"/>
                <a:gd name="connsiteY1842" fmla="*/ 4658 h 10000"/>
                <a:gd name="connsiteX1843" fmla="*/ 2922 w 10785"/>
                <a:gd name="connsiteY1843" fmla="*/ 4667 h 10000"/>
                <a:gd name="connsiteX1844" fmla="*/ 2876 w 10785"/>
                <a:gd name="connsiteY1844" fmla="*/ 4632 h 10000"/>
                <a:gd name="connsiteX1845" fmla="*/ 2857 w 10785"/>
                <a:gd name="connsiteY1845" fmla="*/ 4632 h 10000"/>
                <a:gd name="connsiteX1846" fmla="*/ 2820 w 10785"/>
                <a:gd name="connsiteY1846" fmla="*/ 4641 h 10000"/>
                <a:gd name="connsiteX1847" fmla="*/ 2797 w 10785"/>
                <a:gd name="connsiteY1847" fmla="*/ 4632 h 10000"/>
                <a:gd name="connsiteX1848" fmla="*/ 2788 w 10785"/>
                <a:gd name="connsiteY1848" fmla="*/ 4624 h 10000"/>
                <a:gd name="connsiteX1849" fmla="*/ 2788 w 10785"/>
                <a:gd name="connsiteY1849" fmla="*/ 4598 h 10000"/>
                <a:gd name="connsiteX1850" fmla="*/ 2797 w 10785"/>
                <a:gd name="connsiteY1850" fmla="*/ 4581 h 10000"/>
                <a:gd name="connsiteX1851" fmla="*/ 2788 w 10785"/>
                <a:gd name="connsiteY1851" fmla="*/ 4530 h 10000"/>
                <a:gd name="connsiteX1852" fmla="*/ 2774 w 10785"/>
                <a:gd name="connsiteY1852" fmla="*/ 4530 h 10000"/>
                <a:gd name="connsiteX1853" fmla="*/ 2770 w 10785"/>
                <a:gd name="connsiteY1853" fmla="*/ 4513 h 10000"/>
                <a:gd name="connsiteX1854" fmla="*/ 2774 w 10785"/>
                <a:gd name="connsiteY1854" fmla="*/ 4513 h 10000"/>
                <a:gd name="connsiteX1855" fmla="*/ 2788 w 10785"/>
                <a:gd name="connsiteY1855" fmla="*/ 4496 h 10000"/>
                <a:gd name="connsiteX1856" fmla="*/ 2802 w 10785"/>
                <a:gd name="connsiteY1856" fmla="*/ 4513 h 10000"/>
                <a:gd name="connsiteX1857" fmla="*/ 2811 w 10785"/>
                <a:gd name="connsiteY1857" fmla="*/ 4530 h 10000"/>
                <a:gd name="connsiteX1858" fmla="*/ 2820 w 10785"/>
                <a:gd name="connsiteY1858" fmla="*/ 4521 h 10000"/>
                <a:gd name="connsiteX1859" fmla="*/ 2829 w 10785"/>
                <a:gd name="connsiteY1859" fmla="*/ 4513 h 10000"/>
                <a:gd name="connsiteX1860" fmla="*/ 2843 w 10785"/>
                <a:gd name="connsiteY1860" fmla="*/ 4513 h 10000"/>
                <a:gd name="connsiteX1861" fmla="*/ 2848 w 10785"/>
                <a:gd name="connsiteY1861" fmla="*/ 4470 h 10000"/>
                <a:gd name="connsiteX1862" fmla="*/ 2862 w 10785"/>
                <a:gd name="connsiteY1862" fmla="*/ 4487 h 10000"/>
                <a:gd name="connsiteX1863" fmla="*/ 2876 w 10785"/>
                <a:gd name="connsiteY1863" fmla="*/ 4470 h 10000"/>
                <a:gd name="connsiteX1864" fmla="*/ 2880 w 10785"/>
                <a:gd name="connsiteY1864" fmla="*/ 4462 h 10000"/>
                <a:gd name="connsiteX1865" fmla="*/ 2889 w 10785"/>
                <a:gd name="connsiteY1865" fmla="*/ 4444 h 10000"/>
                <a:gd name="connsiteX1866" fmla="*/ 2894 w 10785"/>
                <a:gd name="connsiteY1866" fmla="*/ 4462 h 10000"/>
                <a:gd name="connsiteX1867" fmla="*/ 2917 w 10785"/>
                <a:gd name="connsiteY1867" fmla="*/ 4444 h 10000"/>
                <a:gd name="connsiteX1868" fmla="*/ 2922 w 10785"/>
                <a:gd name="connsiteY1868" fmla="*/ 4436 h 10000"/>
                <a:gd name="connsiteX1869" fmla="*/ 2917 w 10785"/>
                <a:gd name="connsiteY1869" fmla="*/ 4410 h 10000"/>
                <a:gd name="connsiteX1870" fmla="*/ 2894 w 10785"/>
                <a:gd name="connsiteY1870" fmla="*/ 4410 h 10000"/>
                <a:gd name="connsiteX1871" fmla="*/ 2889 w 10785"/>
                <a:gd name="connsiteY1871" fmla="*/ 4419 h 10000"/>
                <a:gd name="connsiteX1872" fmla="*/ 2876 w 10785"/>
                <a:gd name="connsiteY1872" fmla="*/ 4410 h 10000"/>
                <a:gd name="connsiteX1873" fmla="*/ 2880 w 10785"/>
                <a:gd name="connsiteY1873" fmla="*/ 4376 h 10000"/>
                <a:gd name="connsiteX1874" fmla="*/ 2903 w 10785"/>
                <a:gd name="connsiteY1874" fmla="*/ 4393 h 10000"/>
                <a:gd name="connsiteX1875" fmla="*/ 2931 w 10785"/>
                <a:gd name="connsiteY1875" fmla="*/ 4393 h 10000"/>
                <a:gd name="connsiteX1876" fmla="*/ 2931 w 10785"/>
                <a:gd name="connsiteY1876" fmla="*/ 4385 h 10000"/>
                <a:gd name="connsiteX1877" fmla="*/ 2931 w 10785"/>
                <a:gd name="connsiteY1877" fmla="*/ 4350 h 10000"/>
                <a:gd name="connsiteX1878" fmla="*/ 2945 w 10785"/>
                <a:gd name="connsiteY1878" fmla="*/ 4350 h 10000"/>
                <a:gd name="connsiteX1879" fmla="*/ 2949 w 10785"/>
                <a:gd name="connsiteY1879" fmla="*/ 4325 h 10000"/>
                <a:gd name="connsiteX1880" fmla="*/ 2963 w 10785"/>
                <a:gd name="connsiteY1880" fmla="*/ 4256 h 10000"/>
                <a:gd name="connsiteX1881" fmla="*/ 2982 w 10785"/>
                <a:gd name="connsiteY1881" fmla="*/ 4239 h 10000"/>
                <a:gd name="connsiteX1882" fmla="*/ 2991 w 10785"/>
                <a:gd name="connsiteY1882" fmla="*/ 4214 h 10000"/>
                <a:gd name="connsiteX1883" fmla="*/ 2991 w 10785"/>
                <a:gd name="connsiteY1883" fmla="*/ 4197 h 10000"/>
                <a:gd name="connsiteX1884" fmla="*/ 2995 w 10785"/>
                <a:gd name="connsiteY1884" fmla="*/ 4171 h 10000"/>
                <a:gd name="connsiteX1885" fmla="*/ 2991 w 10785"/>
                <a:gd name="connsiteY1885" fmla="*/ 4077 h 10000"/>
                <a:gd name="connsiteX1886" fmla="*/ 2995 w 10785"/>
                <a:gd name="connsiteY1886" fmla="*/ 4034 h 10000"/>
                <a:gd name="connsiteX1887" fmla="*/ 3018 w 10785"/>
                <a:gd name="connsiteY1887" fmla="*/ 3983 h 10000"/>
                <a:gd name="connsiteX1888" fmla="*/ 3018 w 10785"/>
                <a:gd name="connsiteY1888" fmla="*/ 3915 h 10000"/>
                <a:gd name="connsiteX1889" fmla="*/ 2949 w 10785"/>
                <a:gd name="connsiteY1889" fmla="*/ 3778 h 10000"/>
                <a:gd name="connsiteX1890" fmla="*/ 2954 w 10785"/>
                <a:gd name="connsiteY1890" fmla="*/ 3675 h 10000"/>
                <a:gd name="connsiteX1891" fmla="*/ 2954 w 10785"/>
                <a:gd name="connsiteY1891" fmla="*/ 3650 h 10000"/>
                <a:gd name="connsiteX1892" fmla="*/ 2963 w 10785"/>
                <a:gd name="connsiteY1892" fmla="*/ 3624 h 10000"/>
                <a:gd name="connsiteX1893" fmla="*/ 2954 w 10785"/>
                <a:gd name="connsiteY1893" fmla="*/ 3564 h 10000"/>
                <a:gd name="connsiteX1894" fmla="*/ 2963 w 10785"/>
                <a:gd name="connsiteY1894" fmla="*/ 3538 h 10000"/>
                <a:gd name="connsiteX1895" fmla="*/ 2963 w 10785"/>
                <a:gd name="connsiteY1895" fmla="*/ 3487 h 10000"/>
                <a:gd name="connsiteX1896" fmla="*/ 2963 w 10785"/>
                <a:gd name="connsiteY1896" fmla="*/ 3479 h 10000"/>
                <a:gd name="connsiteX1897" fmla="*/ 2963 w 10785"/>
                <a:gd name="connsiteY1897" fmla="*/ 3462 h 10000"/>
                <a:gd name="connsiteX1898" fmla="*/ 2954 w 10785"/>
                <a:gd name="connsiteY1898" fmla="*/ 3453 h 10000"/>
                <a:gd name="connsiteX1899" fmla="*/ 2954 w 10785"/>
                <a:gd name="connsiteY1899" fmla="*/ 3444 h 10000"/>
                <a:gd name="connsiteX1900" fmla="*/ 2954 w 10785"/>
                <a:gd name="connsiteY1900" fmla="*/ 3402 h 10000"/>
                <a:gd name="connsiteX1901" fmla="*/ 2954 w 10785"/>
                <a:gd name="connsiteY1901" fmla="*/ 3393 h 10000"/>
                <a:gd name="connsiteX1902" fmla="*/ 2949 w 10785"/>
                <a:gd name="connsiteY1902" fmla="*/ 3376 h 10000"/>
                <a:gd name="connsiteX1903" fmla="*/ 2949 w 10785"/>
                <a:gd name="connsiteY1903" fmla="*/ 3342 h 10000"/>
                <a:gd name="connsiteX1904" fmla="*/ 2949 w 10785"/>
                <a:gd name="connsiteY1904" fmla="*/ 3316 h 10000"/>
                <a:gd name="connsiteX1905" fmla="*/ 2968 w 10785"/>
                <a:gd name="connsiteY1905" fmla="*/ 3291 h 10000"/>
                <a:gd name="connsiteX1906" fmla="*/ 2963 w 10785"/>
                <a:gd name="connsiteY1906" fmla="*/ 3205 h 10000"/>
                <a:gd name="connsiteX1907" fmla="*/ 2968 w 10785"/>
                <a:gd name="connsiteY1907" fmla="*/ 3171 h 10000"/>
                <a:gd name="connsiteX1908" fmla="*/ 2968 w 10785"/>
                <a:gd name="connsiteY1908" fmla="*/ 3128 h 10000"/>
                <a:gd name="connsiteX1909" fmla="*/ 2954 w 10785"/>
                <a:gd name="connsiteY1909" fmla="*/ 3051 h 10000"/>
                <a:gd name="connsiteX1910" fmla="*/ 2954 w 10785"/>
                <a:gd name="connsiteY1910" fmla="*/ 3009 h 10000"/>
                <a:gd name="connsiteX1911" fmla="*/ 2922 w 10785"/>
                <a:gd name="connsiteY1911" fmla="*/ 2940 h 10000"/>
                <a:gd name="connsiteX1912" fmla="*/ 2903 w 10785"/>
                <a:gd name="connsiteY1912" fmla="*/ 2880 h 10000"/>
                <a:gd name="connsiteX1913" fmla="*/ 2903 w 10785"/>
                <a:gd name="connsiteY1913" fmla="*/ 2855 h 10000"/>
                <a:gd name="connsiteX1914" fmla="*/ 2908 w 10785"/>
                <a:gd name="connsiteY1914" fmla="*/ 2846 h 10000"/>
                <a:gd name="connsiteX1915" fmla="*/ 2931 w 10785"/>
                <a:gd name="connsiteY1915" fmla="*/ 2821 h 10000"/>
                <a:gd name="connsiteX1916" fmla="*/ 2931 w 10785"/>
                <a:gd name="connsiteY1916" fmla="*/ 2803 h 10000"/>
                <a:gd name="connsiteX1917" fmla="*/ 2935 w 10785"/>
                <a:gd name="connsiteY1917" fmla="*/ 2786 h 10000"/>
                <a:gd name="connsiteX1918" fmla="*/ 2935 w 10785"/>
                <a:gd name="connsiteY1918" fmla="*/ 2744 h 10000"/>
                <a:gd name="connsiteX1919" fmla="*/ 2963 w 10785"/>
                <a:gd name="connsiteY1919" fmla="*/ 2607 h 10000"/>
                <a:gd name="connsiteX1920" fmla="*/ 2963 w 10785"/>
                <a:gd name="connsiteY1920" fmla="*/ 2419 h 10000"/>
                <a:gd name="connsiteX1921" fmla="*/ 2954 w 10785"/>
                <a:gd name="connsiteY1921" fmla="*/ 2410 h 10000"/>
                <a:gd name="connsiteX1922" fmla="*/ 2963 w 10785"/>
                <a:gd name="connsiteY1922" fmla="*/ 2393 h 10000"/>
                <a:gd name="connsiteX1923" fmla="*/ 2908 w 10785"/>
                <a:gd name="connsiteY1923" fmla="*/ 2359 h 10000"/>
                <a:gd name="connsiteX1924" fmla="*/ 2889 w 10785"/>
                <a:gd name="connsiteY1924" fmla="*/ 2325 h 10000"/>
                <a:gd name="connsiteX1925" fmla="*/ 2788 w 10785"/>
                <a:gd name="connsiteY1925" fmla="*/ 2333 h 10000"/>
                <a:gd name="connsiteX1926" fmla="*/ 2774 w 10785"/>
                <a:gd name="connsiteY1926" fmla="*/ 2325 h 10000"/>
                <a:gd name="connsiteX1927" fmla="*/ 2783 w 10785"/>
                <a:gd name="connsiteY1927" fmla="*/ 2308 h 10000"/>
                <a:gd name="connsiteX1928" fmla="*/ 2747 w 10785"/>
                <a:gd name="connsiteY1928" fmla="*/ 2308 h 10000"/>
                <a:gd name="connsiteX1929" fmla="*/ 2742 w 10785"/>
                <a:gd name="connsiteY1929" fmla="*/ 2333 h 10000"/>
                <a:gd name="connsiteX1930" fmla="*/ 2682 w 10785"/>
                <a:gd name="connsiteY1930" fmla="*/ 2769 h 10000"/>
                <a:gd name="connsiteX1931" fmla="*/ 2613 w 10785"/>
                <a:gd name="connsiteY1931" fmla="*/ 2940 h 10000"/>
                <a:gd name="connsiteX1932" fmla="*/ 2581 w 10785"/>
                <a:gd name="connsiteY1932" fmla="*/ 2966 h 10000"/>
                <a:gd name="connsiteX1933" fmla="*/ 2576 w 10785"/>
                <a:gd name="connsiteY1933" fmla="*/ 3051 h 10000"/>
                <a:gd name="connsiteX1934" fmla="*/ 2581 w 10785"/>
                <a:gd name="connsiteY1934" fmla="*/ 3051 h 10000"/>
                <a:gd name="connsiteX1935" fmla="*/ 2594 w 10785"/>
                <a:gd name="connsiteY1935" fmla="*/ 3017 h 10000"/>
                <a:gd name="connsiteX1936" fmla="*/ 2594 w 10785"/>
                <a:gd name="connsiteY1936" fmla="*/ 3034 h 10000"/>
                <a:gd name="connsiteX1937" fmla="*/ 2594 w 10785"/>
                <a:gd name="connsiteY1937" fmla="*/ 3051 h 10000"/>
                <a:gd name="connsiteX1938" fmla="*/ 2590 w 10785"/>
                <a:gd name="connsiteY1938" fmla="*/ 3077 h 10000"/>
                <a:gd name="connsiteX1939" fmla="*/ 2567 w 10785"/>
                <a:gd name="connsiteY1939" fmla="*/ 3103 h 10000"/>
                <a:gd name="connsiteX1940" fmla="*/ 2562 w 10785"/>
                <a:gd name="connsiteY1940" fmla="*/ 3145 h 10000"/>
                <a:gd name="connsiteX1941" fmla="*/ 2567 w 10785"/>
                <a:gd name="connsiteY1941" fmla="*/ 3179 h 10000"/>
                <a:gd name="connsiteX1942" fmla="*/ 2590 w 10785"/>
                <a:gd name="connsiteY1942" fmla="*/ 3171 h 10000"/>
                <a:gd name="connsiteX1943" fmla="*/ 2594 w 10785"/>
                <a:gd name="connsiteY1943" fmla="*/ 3145 h 10000"/>
                <a:gd name="connsiteX1944" fmla="*/ 2613 w 10785"/>
                <a:gd name="connsiteY1944" fmla="*/ 3154 h 10000"/>
                <a:gd name="connsiteX1945" fmla="*/ 2622 w 10785"/>
                <a:gd name="connsiteY1945" fmla="*/ 3179 h 10000"/>
                <a:gd name="connsiteX1946" fmla="*/ 2613 w 10785"/>
                <a:gd name="connsiteY1946" fmla="*/ 3214 h 10000"/>
                <a:gd name="connsiteX1947" fmla="*/ 2613 w 10785"/>
                <a:gd name="connsiteY1947" fmla="*/ 3308 h 10000"/>
                <a:gd name="connsiteX1948" fmla="*/ 2608 w 10785"/>
                <a:gd name="connsiteY1948" fmla="*/ 3325 h 10000"/>
                <a:gd name="connsiteX1949" fmla="*/ 2608 w 10785"/>
                <a:gd name="connsiteY1949" fmla="*/ 3376 h 10000"/>
                <a:gd name="connsiteX1950" fmla="*/ 2613 w 10785"/>
                <a:gd name="connsiteY1950" fmla="*/ 3419 h 10000"/>
                <a:gd name="connsiteX1951" fmla="*/ 2608 w 10785"/>
                <a:gd name="connsiteY1951" fmla="*/ 3444 h 10000"/>
                <a:gd name="connsiteX1952" fmla="*/ 2594 w 10785"/>
                <a:gd name="connsiteY1952" fmla="*/ 3444 h 10000"/>
                <a:gd name="connsiteX1953" fmla="*/ 2590 w 10785"/>
                <a:gd name="connsiteY1953" fmla="*/ 3427 h 10000"/>
                <a:gd name="connsiteX1954" fmla="*/ 2581 w 10785"/>
                <a:gd name="connsiteY1954" fmla="*/ 3564 h 10000"/>
                <a:gd name="connsiteX1955" fmla="*/ 2594 w 10785"/>
                <a:gd name="connsiteY1955" fmla="*/ 3598 h 10000"/>
                <a:gd name="connsiteX1956" fmla="*/ 2594 w 10785"/>
                <a:gd name="connsiteY1956" fmla="*/ 3581 h 10000"/>
                <a:gd name="connsiteX1957" fmla="*/ 2608 w 10785"/>
                <a:gd name="connsiteY1957" fmla="*/ 3556 h 10000"/>
                <a:gd name="connsiteX1958" fmla="*/ 2650 w 10785"/>
                <a:gd name="connsiteY1958" fmla="*/ 3615 h 10000"/>
                <a:gd name="connsiteX1959" fmla="*/ 2664 w 10785"/>
                <a:gd name="connsiteY1959" fmla="*/ 3615 h 10000"/>
                <a:gd name="connsiteX1960" fmla="*/ 2668 w 10785"/>
                <a:gd name="connsiteY1960" fmla="*/ 3615 h 10000"/>
                <a:gd name="connsiteX1961" fmla="*/ 2664 w 10785"/>
                <a:gd name="connsiteY1961" fmla="*/ 3667 h 10000"/>
                <a:gd name="connsiteX1962" fmla="*/ 2687 w 10785"/>
                <a:gd name="connsiteY1962" fmla="*/ 3786 h 10000"/>
                <a:gd name="connsiteX1963" fmla="*/ 2710 w 10785"/>
                <a:gd name="connsiteY1963" fmla="*/ 3812 h 10000"/>
                <a:gd name="connsiteX1964" fmla="*/ 2724 w 10785"/>
                <a:gd name="connsiteY1964" fmla="*/ 3812 h 10000"/>
                <a:gd name="connsiteX1965" fmla="*/ 2724 w 10785"/>
                <a:gd name="connsiteY1965" fmla="*/ 3829 h 10000"/>
                <a:gd name="connsiteX1966" fmla="*/ 2737 w 10785"/>
                <a:gd name="connsiteY1966" fmla="*/ 3838 h 10000"/>
                <a:gd name="connsiteX1967" fmla="*/ 2714 w 10785"/>
                <a:gd name="connsiteY1967" fmla="*/ 3872 h 10000"/>
                <a:gd name="connsiteX1968" fmla="*/ 2696 w 10785"/>
                <a:gd name="connsiteY1968" fmla="*/ 4026 h 10000"/>
                <a:gd name="connsiteX1969" fmla="*/ 2673 w 10785"/>
                <a:gd name="connsiteY1969" fmla="*/ 4051 h 10000"/>
                <a:gd name="connsiteX1970" fmla="*/ 2668 w 10785"/>
                <a:gd name="connsiteY1970" fmla="*/ 4034 h 10000"/>
                <a:gd name="connsiteX1971" fmla="*/ 2673 w 10785"/>
                <a:gd name="connsiteY1971" fmla="*/ 4000 h 10000"/>
                <a:gd name="connsiteX1972" fmla="*/ 2664 w 10785"/>
                <a:gd name="connsiteY1972" fmla="*/ 3974 h 10000"/>
                <a:gd name="connsiteX1973" fmla="*/ 2636 w 10785"/>
                <a:gd name="connsiteY1973" fmla="*/ 3949 h 10000"/>
                <a:gd name="connsiteX1974" fmla="*/ 2581 w 10785"/>
                <a:gd name="connsiteY1974" fmla="*/ 3838 h 10000"/>
                <a:gd name="connsiteX1975" fmla="*/ 2562 w 10785"/>
                <a:gd name="connsiteY1975" fmla="*/ 3829 h 10000"/>
                <a:gd name="connsiteX1976" fmla="*/ 2535 w 10785"/>
                <a:gd name="connsiteY1976" fmla="*/ 3778 h 10000"/>
                <a:gd name="connsiteX1977" fmla="*/ 2502 w 10785"/>
                <a:gd name="connsiteY1977" fmla="*/ 3761 h 10000"/>
                <a:gd name="connsiteX1978" fmla="*/ 2502 w 10785"/>
                <a:gd name="connsiteY1978" fmla="*/ 3735 h 10000"/>
                <a:gd name="connsiteX1979" fmla="*/ 2516 w 10785"/>
                <a:gd name="connsiteY1979" fmla="*/ 3735 h 10000"/>
                <a:gd name="connsiteX1980" fmla="*/ 2507 w 10785"/>
                <a:gd name="connsiteY1980" fmla="*/ 3726 h 10000"/>
                <a:gd name="connsiteX1981" fmla="*/ 2488 w 10785"/>
                <a:gd name="connsiteY1981" fmla="*/ 3726 h 10000"/>
                <a:gd name="connsiteX1982" fmla="*/ 2461 w 10785"/>
                <a:gd name="connsiteY1982" fmla="*/ 3692 h 10000"/>
                <a:gd name="connsiteX1983" fmla="*/ 2442 w 10785"/>
                <a:gd name="connsiteY1983" fmla="*/ 3675 h 10000"/>
                <a:gd name="connsiteX1984" fmla="*/ 2406 w 10785"/>
                <a:gd name="connsiteY1984" fmla="*/ 3598 h 10000"/>
                <a:gd name="connsiteX1985" fmla="*/ 2346 w 10785"/>
                <a:gd name="connsiteY1985" fmla="*/ 3564 h 10000"/>
                <a:gd name="connsiteX1986" fmla="*/ 2341 w 10785"/>
                <a:gd name="connsiteY1986" fmla="*/ 3564 h 10000"/>
                <a:gd name="connsiteX1987" fmla="*/ 2313 w 10785"/>
                <a:gd name="connsiteY1987" fmla="*/ 3530 h 10000"/>
                <a:gd name="connsiteX1988" fmla="*/ 2235 w 10785"/>
                <a:gd name="connsiteY1988" fmla="*/ 3530 h 10000"/>
                <a:gd name="connsiteX1989" fmla="*/ 2226 w 10785"/>
                <a:gd name="connsiteY1989" fmla="*/ 3513 h 10000"/>
                <a:gd name="connsiteX1990" fmla="*/ 2207 w 10785"/>
                <a:gd name="connsiteY1990" fmla="*/ 3504 h 10000"/>
                <a:gd name="connsiteX1991" fmla="*/ 2194 w 10785"/>
                <a:gd name="connsiteY1991" fmla="*/ 3504 h 10000"/>
                <a:gd name="connsiteX1992" fmla="*/ 2189 w 10785"/>
                <a:gd name="connsiteY1992" fmla="*/ 3504 h 10000"/>
                <a:gd name="connsiteX1993" fmla="*/ 2189 w 10785"/>
                <a:gd name="connsiteY1993" fmla="*/ 3530 h 10000"/>
                <a:gd name="connsiteX1994" fmla="*/ 2180 w 10785"/>
                <a:gd name="connsiteY1994" fmla="*/ 3538 h 10000"/>
                <a:gd name="connsiteX1995" fmla="*/ 2152 w 10785"/>
                <a:gd name="connsiteY1995" fmla="*/ 3581 h 10000"/>
                <a:gd name="connsiteX1996" fmla="*/ 2161 w 10785"/>
                <a:gd name="connsiteY1996" fmla="*/ 3598 h 10000"/>
                <a:gd name="connsiteX1997" fmla="*/ 2194 w 10785"/>
                <a:gd name="connsiteY1997" fmla="*/ 3752 h 10000"/>
                <a:gd name="connsiteX1998" fmla="*/ 2194 w 10785"/>
                <a:gd name="connsiteY1998" fmla="*/ 3735 h 10000"/>
                <a:gd name="connsiteX1999" fmla="*/ 2198 w 10785"/>
                <a:gd name="connsiteY1999" fmla="*/ 3735 h 10000"/>
                <a:gd name="connsiteX2000" fmla="*/ 2189 w 10785"/>
                <a:gd name="connsiteY2000" fmla="*/ 3838 h 10000"/>
                <a:gd name="connsiteX2001" fmla="*/ 2166 w 10785"/>
                <a:gd name="connsiteY2001" fmla="*/ 3889 h 10000"/>
                <a:gd name="connsiteX2002" fmla="*/ 2124 w 10785"/>
                <a:gd name="connsiteY2002" fmla="*/ 3889 h 10000"/>
                <a:gd name="connsiteX2003" fmla="*/ 2124 w 10785"/>
                <a:gd name="connsiteY2003" fmla="*/ 3923 h 10000"/>
                <a:gd name="connsiteX2004" fmla="*/ 2134 w 10785"/>
                <a:gd name="connsiteY2004" fmla="*/ 3940 h 10000"/>
                <a:gd name="connsiteX2005" fmla="*/ 2134 w 10785"/>
                <a:gd name="connsiteY2005" fmla="*/ 3966 h 10000"/>
                <a:gd name="connsiteX2006" fmla="*/ 2120 w 10785"/>
                <a:gd name="connsiteY2006" fmla="*/ 4000 h 10000"/>
                <a:gd name="connsiteX2007" fmla="*/ 2106 w 10785"/>
                <a:gd name="connsiteY2007" fmla="*/ 4009 h 10000"/>
                <a:gd name="connsiteX2008" fmla="*/ 2088 w 10785"/>
                <a:gd name="connsiteY2008" fmla="*/ 4000 h 10000"/>
                <a:gd name="connsiteX2009" fmla="*/ 2074 w 10785"/>
                <a:gd name="connsiteY2009" fmla="*/ 3974 h 10000"/>
                <a:gd name="connsiteX2010" fmla="*/ 2074 w 10785"/>
                <a:gd name="connsiteY2010" fmla="*/ 3940 h 10000"/>
                <a:gd name="connsiteX2011" fmla="*/ 2078 w 10785"/>
                <a:gd name="connsiteY2011" fmla="*/ 3915 h 10000"/>
                <a:gd name="connsiteX2012" fmla="*/ 2088 w 10785"/>
                <a:gd name="connsiteY2012" fmla="*/ 3889 h 10000"/>
                <a:gd name="connsiteX2013" fmla="*/ 2101 w 10785"/>
                <a:gd name="connsiteY2013" fmla="*/ 3872 h 10000"/>
                <a:gd name="connsiteX2014" fmla="*/ 2074 w 10785"/>
                <a:gd name="connsiteY2014" fmla="*/ 3812 h 10000"/>
                <a:gd name="connsiteX2015" fmla="*/ 2074 w 10785"/>
                <a:gd name="connsiteY2015" fmla="*/ 3786 h 10000"/>
                <a:gd name="connsiteX2016" fmla="*/ 2060 w 10785"/>
                <a:gd name="connsiteY2016" fmla="*/ 3786 h 10000"/>
                <a:gd name="connsiteX2017" fmla="*/ 2014 w 10785"/>
                <a:gd name="connsiteY2017" fmla="*/ 3829 h 10000"/>
                <a:gd name="connsiteX2018" fmla="*/ 2000 w 10785"/>
                <a:gd name="connsiteY2018" fmla="*/ 3863 h 10000"/>
                <a:gd name="connsiteX2019" fmla="*/ 1986 w 10785"/>
                <a:gd name="connsiteY2019" fmla="*/ 3872 h 10000"/>
                <a:gd name="connsiteX2020" fmla="*/ 1959 w 10785"/>
                <a:gd name="connsiteY2020" fmla="*/ 3940 h 10000"/>
                <a:gd name="connsiteX2021" fmla="*/ 1945 w 10785"/>
                <a:gd name="connsiteY2021" fmla="*/ 3949 h 10000"/>
                <a:gd name="connsiteX2022" fmla="*/ 1940 w 10785"/>
                <a:gd name="connsiteY2022" fmla="*/ 3923 h 10000"/>
                <a:gd name="connsiteX2023" fmla="*/ 1917 w 10785"/>
                <a:gd name="connsiteY2023" fmla="*/ 3915 h 10000"/>
                <a:gd name="connsiteX2024" fmla="*/ 1899 w 10785"/>
                <a:gd name="connsiteY2024" fmla="*/ 3923 h 10000"/>
                <a:gd name="connsiteX2025" fmla="*/ 1880 w 10785"/>
                <a:gd name="connsiteY2025" fmla="*/ 3915 h 10000"/>
                <a:gd name="connsiteX2026" fmla="*/ 1853 w 10785"/>
                <a:gd name="connsiteY2026" fmla="*/ 3940 h 10000"/>
                <a:gd name="connsiteX2027" fmla="*/ 1839 w 10785"/>
                <a:gd name="connsiteY2027" fmla="*/ 3940 h 10000"/>
                <a:gd name="connsiteX2028" fmla="*/ 1806 w 10785"/>
                <a:gd name="connsiteY2028" fmla="*/ 3983 h 10000"/>
                <a:gd name="connsiteX2029" fmla="*/ 1806 w 10785"/>
                <a:gd name="connsiteY2029" fmla="*/ 4000 h 10000"/>
                <a:gd name="connsiteX2030" fmla="*/ 1797 w 10785"/>
                <a:gd name="connsiteY2030" fmla="*/ 4077 h 10000"/>
                <a:gd name="connsiteX2031" fmla="*/ 1783 w 10785"/>
                <a:gd name="connsiteY2031" fmla="*/ 4077 h 10000"/>
                <a:gd name="connsiteX2032" fmla="*/ 1779 w 10785"/>
                <a:gd name="connsiteY2032" fmla="*/ 4051 h 10000"/>
                <a:gd name="connsiteX2033" fmla="*/ 1765 w 10785"/>
                <a:gd name="connsiteY2033" fmla="*/ 4026 h 10000"/>
                <a:gd name="connsiteX2034" fmla="*/ 1751 w 10785"/>
                <a:gd name="connsiteY2034" fmla="*/ 4051 h 10000"/>
                <a:gd name="connsiteX2035" fmla="*/ 1737 w 10785"/>
                <a:gd name="connsiteY2035" fmla="*/ 4009 h 10000"/>
                <a:gd name="connsiteX2036" fmla="*/ 1737 w 10785"/>
                <a:gd name="connsiteY2036" fmla="*/ 3966 h 10000"/>
                <a:gd name="connsiteX2037" fmla="*/ 1733 w 10785"/>
                <a:gd name="connsiteY2037" fmla="*/ 3940 h 10000"/>
                <a:gd name="connsiteX2038" fmla="*/ 1733 w 10785"/>
                <a:gd name="connsiteY2038" fmla="*/ 3923 h 10000"/>
                <a:gd name="connsiteX2039" fmla="*/ 1747 w 10785"/>
                <a:gd name="connsiteY2039" fmla="*/ 3889 h 10000"/>
                <a:gd name="connsiteX2040" fmla="*/ 1747 w 10785"/>
                <a:gd name="connsiteY2040" fmla="*/ 3863 h 10000"/>
                <a:gd name="connsiteX2041" fmla="*/ 1737 w 10785"/>
                <a:gd name="connsiteY2041" fmla="*/ 3838 h 10000"/>
                <a:gd name="connsiteX2042" fmla="*/ 1733 w 10785"/>
                <a:gd name="connsiteY2042" fmla="*/ 3829 h 10000"/>
                <a:gd name="connsiteX2043" fmla="*/ 1733 w 10785"/>
                <a:gd name="connsiteY2043" fmla="*/ 3846 h 10000"/>
                <a:gd name="connsiteX2044" fmla="*/ 1724 w 10785"/>
                <a:gd name="connsiteY2044" fmla="*/ 3846 h 10000"/>
                <a:gd name="connsiteX2045" fmla="*/ 1724 w 10785"/>
                <a:gd name="connsiteY2045" fmla="*/ 3829 h 10000"/>
                <a:gd name="connsiteX2046" fmla="*/ 1737 w 10785"/>
                <a:gd name="connsiteY2046" fmla="*/ 3812 h 10000"/>
                <a:gd name="connsiteX2047" fmla="*/ 1765 w 10785"/>
                <a:gd name="connsiteY2047" fmla="*/ 3812 h 10000"/>
                <a:gd name="connsiteX2048" fmla="*/ 1779 w 10785"/>
                <a:gd name="connsiteY2048" fmla="*/ 3786 h 10000"/>
                <a:gd name="connsiteX2049" fmla="*/ 1779 w 10785"/>
                <a:gd name="connsiteY2049" fmla="*/ 3786 h 10000"/>
                <a:gd name="connsiteX2050" fmla="*/ 1751 w 10785"/>
                <a:gd name="connsiteY2050" fmla="*/ 3803 h 10000"/>
                <a:gd name="connsiteX2051" fmla="*/ 1747 w 10785"/>
                <a:gd name="connsiteY2051" fmla="*/ 3803 h 10000"/>
                <a:gd name="connsiteX2052" fmla="*/ 1724 w 10785"/>
                <a:gd name="connsiteY2052" fmla="*/ 3803 h 10000"/>
                <a:gd name="connsiteX2053" fmla="*/ 1700 w 10785"/>
                <a:gd name="connsiteY2053" fmla="*/ 3829 h 10000"/>
                <a:gd name="connsiteX2054" fmla="*/ 1705 w 10785"/>
                <a:gd name="connsiteY2054" fmla="*/ 3846 h 10000"/>
                <a:gd name="connsiteX2055" fmla="*/ 1691 w 10785"/>
                <a:gd name="connsiteY2055" fmla="*/ 3846 h 10000"/>
                <a:gd name="connsiteX2056" fmla="*/ 1691 w 10785"/>
                <a:gd name="connsiteY2056" fmla="*/ 3863 h 10000"/>
                <a:gd name="connsiteX2057" fmla="*/ 1691 w 10785"/>
                <a:gd name="connsiteY2057" fmla="*/ 3915 h 10000"/>
                <a:gd name="connsiteX2058" fmla="*/ 1677 w 10785"/>
                <a:gd name="connsiteY2058" fmla="*/ 3923 h 10000"/>
                <a:gd name="connsiteX2059" fmla="*/ 1673 w 10785"/>
                <a:gd name="connsiteY2059" fmla="*/ 3915 h 10000"/>
                <a:gd name="connsiteX2060" fmla="*/ 1664 w 10785"/>
                <a:gd name="connsiteY2060" fmla="*/ 3889 h 10000"/>
                <a:gd name="connsiteX2061" fmla="*/ 1673 w 10785"/>
                <a:gd name="connsiteY2061" fmla="*/ 3872 h 10000"/>
                <a:gd name="connsiteX2062" fmla="*/ 1664 w 10785"/>
                <a:gd name="connsiteY2062" fmla="*/ 3872 h 10000"/>
                <a:gd name="connsiteX2063" fmla="*/ 1636 w 10785"/>
                <a:gd name="connsiteY2063" fmla="*/ 3923 h 10000"/>
                <a:gd name="connsiteX2064" fmla="*/ 1645 w 10785"/>
                <a:gd name="connsiteY2064" fmla="*/ 3923 h 10000"/>
                <a:gd name="connsiteX2065" fmla="*/ 1650 w 10785"/>
                <a:gd name="connsiteY2065" fmla="*/ 3949 h 10000"/>
                <a:gd name="connsiteX2066" fmla="*/ 1650 w 10785"/>
                <a:gd name="connsiteY2066" fmla="*/ 3983 h 10000"/>
                <a:gd name="connsiteX2067" fmla="*/ 1636 w 10785"/>
                <a:gd name="connsiteY2067" fmla="*/ 4000 h 10000"/>
                <a:gd name="connsiteX2068" fmla="*/ 1631 w 10785"/>
                <a:gd name="connsiteY2068" fmla="*/ 4009 h 10000"/>
                <a:gd name="connsiteX2069" fmla="*/ 1618 w 10785"/>
                <a:gd name="connsiteY2069" fmla="*/ 3949 h 10000"/>
                <a:gd name="connsiteX2070" fmla="*/ 1585 w 10785"/>
                <a:gd name="connsiteY2070" fmla="*/ 3966 h 10000"/>
                <a:gd name="connsiteX2071" fmla="*/ 1590 w 10785"/>
                <a:gd name="connsiteY2071" fmla="*/ 3974 h 10000"/>
                <a:gd name="connsiteX2072" fmla="*/ 1544 w 10785"/>
                <a:gd name="connsiteY2072" fmla="*/ 4009 h 10000"/>
                <a:gd name="connsiteX2073" fmla="*/ 1539 w 10785"/>
                <a:gd name="connsiteY2073" fmla="*/ 4009 h 10000"/>
                <a:gd name="connsiteX2074" fmla="*/ 1410 w 10785"/>
                <a:gd name="connsiteY2074" fmla="*/ 4188 h 10000"/>
                <a:gd name="connsiteX2075" fmla="*/ 1406 w 10785"/>
                <a:gd name="connsiteY2075" fmla="*/ 4171 h 10000"/>
                <a:gd name="connsiteX2076" fmla="*/ 1396 w 10785"/>
                <a:gd name="connsiteY2076" fmla="*/ 4214 h 10000"/>
                <a:gd name="connsiteX2077" fmla="*/ 1406 w 10785"/>
                <a:gd name="connsiteY2077" fmla="*/ 4222 h 10000"/>
                <a:gd name="connsiteX2078" fmla="*/ 1392 w 10785"/>
                <a:gd name="connsiteY2078" fmla="*/ 4239 h 10000"/>
                <a:gd name="connsiteX2079" fmla="*/ 1369 w 10785"/>
                <a:gd name="connsiteY2079" fmla="*/ 4248 h 10000"/>
                <a:gd name="connsiteX2080" fmla="*/ 1355 w 10785"/>
                <a:gd name="connsiteY2080" fmla="*/ 4256 h 10000"/>
                <a:gd name="connsiteX2081" fmla="*/ 1350 w 10785"/>
                <a:gd name="connsiteY2081" fmla="*/ 4248 h 10000"/>
                <a:gd name="connsiteX2082" fmla="*/ 1332 w 10785"/>
                <a:gd name="connsiteY2082" fmla="*/ 4376 h 10000"/>
                <a:gd name="connsiteX2083" fmla="*/ 1332 w 10785"/>
                <a:gd name="connsiteY2083" fmla="*/ 4436 h 10000"/>
                <a:gd name="connsiteX2084" fmla="*/ 1323 w 10785"/>
                <a:gd name="connsiteY2084" fmla="*/ 4462 h 10000"/>
                <a:gd name="connsiteX2085" fmla="*/ 1304 w 10785"/>
                <a:gd name="connsiteY2085" fmla="*/ 4487 h 10000"/>
                <a:gd name="connsiteX2086" fmla="*/ 1290 w 10785"/>
                <a:gd name="connsiteY2086" fmla="*/ 4470 h 10000"/>
                <a:gd name="connsiteX2087" fmla="*/ 1263 w 10785"/>
                <a:gd name="connsiteY2087" fmla="*/ 4496 h 10000"/>
                <a:gd name="connsiteX2088" fmla="*/ 1258 w 10785"/>
                <a:gd name="connsiteY2088" fmla="*/ 4547 h 10000"/>
                <a:gd name="connsiteX2089" fmla="*/ 1249 w 10785"/>
                <a:gd name="connsiteY2089" fmla="*/ 4487 h 10000"/>
                <a:gd name="connsiteX2090" fmla="*/ 1235 w 10785"/>
                <a:gd name="connsiteY2090" fmla="*/ 4496 h 10000"/>
                <a:gd name="connsiteX2091" fmla="*/ 1221 w 10785"/>
                <a:gd name="connsiteY2091" fmla="*/ 4496 h 10000"/>
                <a:gd name="connsiteX2092" fmla="*/ 1217 w 10785"/>
                <a:gd name="connsiteY2092" fmla="*/ 4487 h 10000"/>
                <a:gd name="connsiteX2093" fmla="*/ 1198 w 10785"/>
                <a:gd name="connsiteY2093" fmla="*/ 4410 h 10000"/>
                <a:gd name="connsiteX2094" fmla="*/ 1157 w 10785"/>
                <a:gd name="connsiteY2094" fmla="*/ 4333 h 10000"/>
                <a:gd name="connsiteX2095" fmla="*/ 1147 w 10785"/>
                <a:gd name="connsiteY2095" fmla="*/ 4299 h 10000"/>
                <a:gd name="connsiteX2096" fmla="*/ 1147 w 10785"/>
                <a:gd name="connsiteY2096" fmla="*/ 4274 h 10000"/>
                <a:gd name="connsiteX2097" fmla="*/ 1161 w 10785"/>
                <a:gd name="connsiteY2097" fmla="*/ 4256 h 10000"/>
                <a:gd name="connsiteX2098" fmla="*/ 1171 w 10785"/>
                <a:gd name="connsiteY2098" fmla="*/ 4248 h 10000"/>
                <a:gd name="connsiteX2099" fmla="*/ 1175 w 10785"/>
                <a:gd name="connsiteY2099" fmla="*/ 4214 h 10000"/>
                <a:gd name="connsiteX2100" fmla="*/ 1263 w 10785"/>
                <a:gd name="connsiteY2100" fmla="*/ 4171 h 10000"/>
                <a:gd name="connsiteX2101" fmla="*/ 1249 w 10785"/>
                <a:gd name="connsiteY2101" fmla="*/ 4137 h 10000"/>
                <a:gd name="connsiteX2102" fmla="*/ 1244 w 10785"/>
                <a:gd name="connsiteY2102" fmla="*/ 4060 h 10000"/>
                <a:gd name="connsiteX2103" fmla="*/ 1230 w 10785"/>
                <a:gd name="connsiteY2103" fmla="*/ 4077 h 10000"/>
                <a:gd name="connsiteX2104" fmla="*/ 1221 w 10785"/>
                <a:gd name="connsiteY2104" fmla="*/ 4026 h 10000"/>
                <a:gd name="connsiteX2105" fmla="*/ 1217 w 10785"/>
                <a:gd name="connsiteY2105" fmla="*/ 4026 h 10000"/>
                <a:gd name="connsiteX2106" fmla="*/ 1212 w 10785"/>
                <a:gd name="connsiteY2106" fmla="*/ 3983 h 10000"/>
                <a:gd name="connsiteX2107" fmla="*/ 1203 w 10785"/>
                <a:gd name="connsiteY2107" fmla="*/ 3966 h 10000"/>
                <a:gd name="connsiteX2108" fmla="*/ 1171 w 10785"/>
                <a:gd name="connsiteY2108" fmla="*/ 3949 h 10000"/>
                <a:gd name="connsiteX2109" fmla="*/ 1111 w 10785"/>
                <a:gd name="connsiteY2109" fmla="*/ 3940 h 10000"/>
                <a:gd name="connsiteX2110" fmla="*/ 1097 w 10785"/>
                <a:gd name="connsiteY2110" fmla="*/ 3949 h 10000"/>
                <a:gd name="connsiteX2111" fmla="*/ 1037 w 10785"/>
                <a:gd name="connsiteY2111" fmla="*/ 3897 h 10000"/>
                <a:gd name="connsiteX2112" fmla="*/ 1041 w 10785"/>
                <a:gd name="connsiteY2112" fmla="*/ 3923 h 10000"/>
                <a:gd name="connsiteX2113" fmla="*/ 1097 w 10785"/>
                <a:gd name="connsiteY2113" fmla="*/ 4009 h 10000"/>
                <a:gd name="connsiteX2114" fmla="*/ 1097 w 10785"/>
                <a:gd name="connsiteY2114" fmla="*/ 4120 h 10000"/>
                <a:gd name="connsiteX2115" fmla="*/ 1097 w 10785"/>
                <a:gd name="connsiteY2115" fmla="*/ 4162 h 10000"/>
                <a:gd name="connsiteX2116" fmla="*/ 1097 w 10785"/>
                <a:gd name="connsiteY2116" fmla="*/ 4197 h 10000"/>
                <a:gd name="connsiteX2117" fmla="*/ 1074 w 10785"/>
                <a:gd name="connsiteY2117" fmla="*/ 4333 h 10000"/>
                <a:gd name="connsiteX2118" fmla="*/ 1074 w 10785"/>
                <a:gd name="connsiteY2118" fmla="*/ 4376 h 10000"/>
                <a:gd name="connsiteX2119" fmla="*/ 1083 w 10785"/>
                <a:gd name="connsiteY2119" fmla="*/ 4385 h 10000"/>
                <a:gd name="connsiteX2120" fmla="*/ 1097 w 10785"/>
                <a:gd name="connsiteY2120" fmla="*/ 4385 h 10000"/>
                <a:gd name="connsiteX2121" fmla="*/ 1111 w 10785"/>
                <a:gd name="connsiteY2121" fmla="*/ 4410 h 10000"/>
                <a:gd name="connsiteX2122" fmla="*/ 1124 w 10785"/>
                <a:gd name="connsiteY2122" fmla="*/ 4444 h 10000"/>
                <a:gd name="connsiteX2123" fmla="*/ 1124 w 10785"/>
                <a:gd name="connsiteY2123" fmla="*/ 4470 h 10000"/>
                <a:gd name="connsiteX2124" fmla="*/ 1115 w 10785"/>
                <a:gd name="connsiteY2124" fmla="*/ 4513 h 10000"/>
                <a:gd name="connsiteX2125" fmla="*/ 1115 w 10785"/>
                <a:gd name="connsiteY2125" fmla="*/ 4530 h 10000"/>
                <a:gd name="connsiteX2126" fmla="*/ 1115 w 10785"/>
                <a:gd name="connsiteY2126" fmla="*/ 4573 h 10000"/>
                <a:gd name="connsiteX2127" fmla="*/ 1101 w 10785"/>
                <a:gd name="connsiteY2127" fmla="*/ 4607 h 10000"/>
                <a:gd name="connsiteX2128" fmla="*/ 1097 w 10785"/>
                <a:gd name="connsiteY2128" fmla="*/ 4658 h 10000"/>
                <a:gd name="connsiteX2129" fmla="*/ 1101 w 10785"/>
                <a:gd name="connsiteY2129" fmla="*/ 4692 h 10000"/>
                <a:gd name="connsiteX2130" fmla="*/ 1097 w 10785"/>
                <a:gd name="connsiteY2130" fmla="*/ 4778 h 10000"/>
                <a:gd name="connsiteX2131" fmla="*/ 1083 w 10785"/>
                <a:gd name="connsiteY2131" fmla="*/ 4744 h 10000"/>
                <a:gd name="connsiteX2132" fmla="*/ 1083 w 10785"/>
                <a:gd name="connsiteY2132" fmla="*/ 4718 h 10000"/>
                <a:gd name="connsiteX2133" fmla="*/ 1074 w 10785"/>
                <a:gd name="connsiteY2133" fmla="*/ 4692 h 10000"/>
                <a:gd name="connsiteX2134" fmla="*/ 1065 w 10785"/>
                <a:gd name="connsiteY2134" fmla="*/ 4692 h 10000"/>
                <a:gd name="connsiteX2135" fmla="*/ 1051 w 10785"/>
                <a:gd name="connsiteY2135" fmla="*/ 4718 h 10000"/>
                <a:gd name="connsiteX2136" fmla="*/ 1055 w 10785"/>
                <a:gd name="connsiteY2136" fmla="*/ 4692 h 10000"/>
                <a:gd name="connsiteX2137" fmla="*/ 1055 w 10785"/>
                <a:gd name="connsiteY2137" fmla="*/ 4667 h 10000"/>
                <a:gd name="connsiteX2138" fmla="*/ 1028 w 10785"/>
                <a:gd name="connsiteY2138" fmla="*/ 4624 h 10000"/>
                <a:gd name="connsiteX2139" fmla="*/ 1005 w 10785"/>
                <a:gd name="connsiteY2139" fmla="*/ 4624 h 10000"/>
                <a:gd name="connsiteX2140" fmla="*/ 977 w 10785"/>
                <a:gd name="connsiteY2140" fmla="*/ 4581 h 10000"/>
                <a:gd name="connsiteX2141" fmla="*/ 963 w 10785"/>
                <a:gd name="connsiteY2141" fmla="*/ 4607 h 10000"/>
                <a:gd name="connsiteX2142" fmla="*/ 963 w 10785"/>
                <a:gd name="connsiteY2142" fmla="*/ 4632 h 10000"/>
                <a:gd name="connsiteX2143" fmla="*/ 917 w 10785"/>
                <a:gd name="connsiteY2143" fmla="*/ 4718 h 10000"/>
                <a:gd name="connsiteX2144" fmla="*/ 889 w 10785"/>
                <a:gd name="connsiteY2144" fmla="*/ 4744 h 10000"/>
                <a:gd name="connsiteX2145" fmla="*/ 880 w 10785"/>
                <a:gd name="connsiteY2145" fmla="*/ 4744 h 10000"/>
                <a:gd name="connsiteX2146" fmla="*/ 862 w 10785"/>
                <a:gd name="connsiteY2146" fmla="*/ 4769 h 10000"/>
                <a:gd name="connsiteX2147" fmla="*/ 857 w 10785"/>
                <a:gd name="connsiteY2147" fmla="*/ 4795 h 10000"/>
                <a:gd name="connsiteX2148" fmla="*/ 829 w 10785"/>
                <a:gd name="connsiteY2148" fmla="*/ 4846 h 10000"/>
                <a:gd name="connsiteX2149" fmla="*/ 816 w 10785"/>
                <a:gd name="connsiteY2149" fmla="*/ 4855 h 10000"/>
                <a:gd name="connsiteX2150" fmla="*/ 816 w 10785"/>
                <a:gd name="connsiteY2150" fmla="*/ 4940 h 10000"/>
                <a:gd name="connsiteX2151" fmla="*/ 880 w 10785"/>
                <a:gd name="connsiteY2151" fmla="*/ 5179 h 10000"/>
                <a:gd name="connsiteX2152" fmla="*/ 880 w 10785"/>
                <a:gd name="connsiteY2152" fmla="*/ 5188 h 10000"/>
                <a:gd name="connsiteX2153" fmla="*/ 862 w 10785"/>
                <a:gd name="connsiteY2153" fmla="*/ 5171 h 10000"/>
                <a:gd name="connsiteX2154" fmla="*/ 857 w 10785"/>
                <a:gd name="connsiteY2154" fmla="*/ 5171 h 10000"/>
                <a:gd name="connsiteX2155" fmla="*/ 820 w 10785"/>
                <a:gd name="connsiteY2155" fmla="*/ 5145 h 10000"/>
                <a:gd name="connsiteX2156" fmla="*/ 820 w 10785"/>
                <a:gd name="connsiteY2156" fmla="*/ 5154 h 10000"/>
                <a:gd name="connsiteX2157" fmla="*/ 816 w 10785"/>
                <a:gd name="connsiteY2157" fmla="*/ 5171 h 10000"/>
                <a:gd name="connsiteX2158" fmla="*/ 783 w 10785"/>
                <a:gd name="connsiteY2158" fmla="*/ 5145 h 10000"/>
                <a:gd name="connsiteX2159" fmla="*/ 756 w 10785"/>
                <a:gd name="connsiteY2159" fmla="*/ 5103 h 10000"/>
                <a:gd name="connsiteX2160" fmla="*/ 742 w 10785"/>
                <a:gd name="connsiteY2160" fmla="*/ 5103 h 10000"/>
                <a:gd name="connsiteX2161" fmla="*/ 728 w 10785"/>
                <a:gd name="connsiteY2161" fmla="*/ 5094 h 10000"/>
                <a:gd name="connsiteX2162" fmla="*/ 710 w 10785"/>
                <a:gd name="connsiteY2162" fmla="*/ 5120 h 10000"/>
                <a:gd name="connsiteX2163" fmla="*/ 700 w 10785"/>
                <a:gd name="connsiteY2163" fmla="*/ 5145 h 10000"/>
                <a:gd name="connsiteX2164" fmla="*/ 696 w 10785"/>
                <a:gd name="connsiteY2164" fmla="*/ 5103 h 10000"/>
                <a:gd name="connsiteX2165" fmla="*/ 714 w 10785"/>
                <a:gd name="connsiteY2165" fmla="*/ 5077 h 10000"/>
                <a:gd name="connsiteX2166" fmla="*/ 682 w 10785"/>
                <a:gd name="connsiteY2166" fmla="*/ 5068 h 10000"/>
                <a:gd name="connsiteX2167" fmla="*/ 673 w 10785"/>
                <a:gd name="connsiteY2167" fmla="*/ 5034 h 10000"/>
                <a:gd name="connsiteX2168" fmla="*/ 636 w 10785"/>
                <a:gd name="connsiteY2168" fmla="*/ 4991 h 10000"/>
                <a:gd name="connsiteX2169" fmla="*/ 622 w 10785"/>
                <a:gd name="connsiteY2169" fmla="*/ 4983 h 10000"/>
                <a:gd name="connsiteX2170" fmla="*/ 622 w 10785"/>
                <a:gd name="connsiteY2170" fmla="*/ 5034 h 10000"/>
                <a:gd name="connsiteX2171" fmla="*/ 608 w 10785"/>
                <a:gd name="connsiteY2171" fmla="*/ 5051 h 10000"/>
                <a:gd name="connsiteX2172" fmla="*/ 594 w 10785"/>
                <a:gd name="connsiteY2172" fmla="*/ 5068 h 10000"/>
                <a:gd name="connsiteX2173" fmla="*/ 608 w 10785"/>
                <a:gd name="connsiteY2173" fmla="*/ 5120 h 10000"/>
                <a:gd name="connsiteX2174" fmla="*/ 613 w 10785"/>
                <a:gd name="connsiteY2174" fmla="*/ 5128 h 10000"/>
                <a:gd name="connsiteX2175" fmla="*/ 627 w 10785"/>
                <a:gd name="connsiteY2175" fmla="*/ 5179 h 10000"/>
                <a:gd name="connsiteX2176" fmla="*/ 650 w 10785"/>
                <a:gd name="connsiteY2176" fmla="*/ 5214 h 10000"/>
                <a:gd name="connsiteX2177" fmla="*/ 687 w 10785"/>
                <a:gd name="connsiteY2177" fmla="*/ 5188 h 10000"/>
                <a:gd name="connsiteX2178" fmla="*/ 700 w 10785"/>
                <a:gd name="connsiteY2178" fmla="*/ 5325 h 10000"/>
                <a:gd name="connsiteX2179" fmla="*/ 710 w 10785"/>
                <a:gd name="connsiteY2179" fmla="*/ 5350 h 10000"/>
                <a:gd name="connsiteX2180" fmla="*/ 687 w 10785"/>
                <a:gd name="connsiteY2180" fmla="*/ 5325 h 10000"/>
                <a:gd name="connsiteX2181" fmla="*/ 668 w 10785"/>
                <a:gd name="connsiteY2181" fmla="*/ 5350 h 10000"/>
                <a:gd name="connsiteX2182" fmla="*/ 668 w 10785"/>
                <a:gd name="connsiteY2182" fmla="*/ 5368 h 10000"/>
                <a:gd name="connsiteX2183" fmla="*/ 668 w 10785"/>
                <a:gd name="connsiteY2183" fmla="*/ 5376 h 10000"/>
                <a:gd name="connsiteX2184" fmla="*/ 581 w 10785"/>
                <a:gd name="connsiteY2184" fmla="*/ 5316 h 10000"/>
                <a:gd name="connsiteX2185" fmla="*/ 567 w 10785"/>
                <a:gd name="connsiteY2185" fmla="*/ 5265 h 10000"/>
                <a:gd name="connsiteX2186" fmla="*/ 562 w 10785"/>
                <a:gd name="connsiteY2186" fmla="*/ 5256 h 10000"/>
                <a:gd name="connsiteX2187" fmla="*/ 548 w 10785"/>
                <a:gd name="connsiteY2187" fmla="*/ 5231 h 10000"/>
                <a:gd name="connsiteX2188" fmla="*/ 535 w 10785"/>
                <a:gd name="connsiteY2188" fmla="*/ 5214 h 10000"/>
                <a:gd name="connsiteX2189" fmla="*/ 525 w 10785"/>
                <a:gd name="connsiteY2189" fmla="*/ 5231 h 10000"/>
                <a:gd name="connsiteX2190" fmla="*/ 521 w 10785"/>
                <a:gd name="connsiteY2190" fmla="*/ 5231 h 10000"/>
                <a:gd name="connsiteX2191" fmla="*/ 493 w 10785"/>
                <a:gd name="connsiteY2191" fmla="*/ 5205 h 10000"/>
                <a:gd name="connsiteX2192" fmla="*/ 488 w 10785"/>
                <a:gd name="connsiteY2192" fmla="*/ 5179 h 10000"/>
                <a:gd name="connsiteX2193" fmla="*/ 475 w 10785"/>
                <a:gd name="connsiteY2193" fmla="*/ 5188 h 10000"/>
                <a:gd name="connsiteX2194" fmla="*/ 475 w 10785"/>
                <a:gd name="connsiteY2194" fmla="*/ 5171 h 10000"/>
                <a:gd name="connsiteX2195" fmla="*/ 488 w 10785"/>
                <a:gd name="connsiteY2195" fmla="*/ 5154 h 10000"/>
                <a:gd name="connsiteX2196" fmla="*/ 488 w 10785"/>
                <a:gd name="connsiteY2196" fmla="*/ 5068 h 10000"/>
                <a:gd name="connsiteX2197" fmla="*/ 475 w 10785"/>
                <a:gd name="connsiteY2197" fmla="*/ 5051 h 10000"/>
                <a:gd name="connsiteX2198" fmla="*/ 475 w 10785"/>
                <a:gd name="connsiteY2198" fmla="*/ 5017 h 10000"/>
                <a:gd name="connsiteX2199" fmla="*/ 452 w 10785"/>
                <a:gd name="connsiteY2199" fmla="*/ 4932 h 10000"/>
                <a:gd name="connsiteX2200" fmla="*/ 461 w 10785"/>
                <a:gd name="connsiteY2200" fmla="*/ 4915 h 10000"/>
                <a:gd name="connsiteX2201" fmla="*/ 475 w 10785"/>
                <a:gd name="connsiteY2201" fmla="*/ 4906 h 10000"/>
                <a:gd name="connsiteX2202" fmla="*/ 479 w 10785"/>
                <a:gd name="connsiteY2202" fmla="*/ 4803 h 10000"/>
                <a:gd name="connsiteX2203" fmla="*/ 479 w 10785"/>
                <a:gd name="connsiteY2203" fmla="*/ 4778 h 10000"/>
                <a:gd name="connsiteX2204" fmla="*/ 475 w 10785"/>
                <a:gd name="connsiteY2204" fmla="*/ 4761 h 10000"/>
                <a:gd name="connsiteX2205" fmla="*/ 465 w 10785"/>
                <a:gd name="connsiteY2205" fmla="*/ 4718 h 10000"/>
                <a:gd name="connsiteX2206" fmla="*/ 461 w 10785"/>
                <a:gd name="connsiteY2206" fmla="*/ 4709 h 10000"/>
                <a:gd name="connsiteX2207" fmla="*/ 442 w 10785"/>
                <a:gd name="connsiteY2207" fmla="*/ 4692 h 10000"/>
                <a:gd name="connsiteX2208" fmla="*/ 433 w 10785"/>
                <a:gd name="connsiteY2208" fmla="*/ 4667 h 10000"/>
                <a:gd name="connsiteX2209" fmla="*/ 419 w 10785"/>
                <a:gd name="connsiteY2209" fmla="*/ 4667 h 10000"/>
                <a:gd name="connsiteX2210" fmla="*/ 401 w 10785"/>
                <a:gd name="connsiteY2210" fmla="*/ 4658 h 10000"/>
                <a:gd name="connsiteX2211" fmla="*/ 401 w 10785"/>
                <a:gd name="connsiteY2211" fmla="*/ 4624 h 10000"/>
                <a:gd name="connsiteX2212" fmla="*/ 401 w 10785"/>
                <a:gd name="connsiteY2212" fmla="*/ 4607 h 10000"/>
                <a:gd name="connsiteX2213" fmla="*/ 378 w 10785"/>
                <a:gd name="connsiteY2213" fmla="*/ 4607 h 10000"/>
                <a:gd name="connsiteX2214" fmla="*/ 341 w 10785"/>
                <a:gd name="connsiteY2214" fmla="*/ 4530 h 10000"/>
                <a:gd name="connsiteX2215" fmla="*/ 346 w 10785"/>
                <a:gd name="connsiteY2215" fmla="*/ 4521 h 10000"/>
                <a:gd name="connsiteX2216" fmla="*/ 332 w 10785"/>
                <a:gd name="connsiteY2216" fmla="*/ 4487 h 10000"/>
                <a:gd name="connsiteX2217" fmla="*/ 327 w 10785"/>
                <a:gd name="connsiteY2217" fmla="*/ 4462 h 10000"/>
                <a:gd name="connsiteX2218" fmla="*/ 313 w 10785"/>
                <a:gd name="connsiteY2218" fmla="*/ 4436 h 10000"/>
                <a:gd name="connsiteX2219" fmla="*/ 300 w 10785"/>
                <a:gd name="connsiteY2219" fmla="*/ 4419 h 10000"/>
                <a:gd name="connsiteX2220" fmla="*/ 309 w 10785"/>
                <a:gd name="connsiteY2220" fmla="*/ 4393 h 10000"/>
                <a:gd name="connsiteX2221" fmla="*/ 332 w 10785"/>
                <a:gd name="connsiteY2221" fmla="*/ 4385 h 10000"/>
                <a:gd name="connsiteX2222" fmla="*/ 355 w 10785"/>
                <a:gd name="connsiteY2222" fmla="*/ 4419 h 10000"/>
                <a:gd name="connsiteX2223" fmla="*/ 355 w 10785"/>
                <a:gd name="connsiteY2223" fmla="*/ 4444 h 10000"/>
                <a:gd name="connsiteX2224" fmla="*/ 369 w 10785"/>
                <a:gd name="connsiteY2224" fmla="*/ 4470 h 10000"/>
                <a:gd name="connsiteX2225" fmla="*/ 401 w 10785"/>
                <a:gd name="connsiteY2225" fmla="*/ 4521 h 10000"/>
                <a:gd name="connsiteX2226" fmla="*/ 406 w 10785"/>
                <a:gd name="connsiteY2226" fmla="*/ 4513 h 10000"/>
                <a:gd name="connsiteX2227" fmla="*/ 406 w 10785"/>
                <a:gd name="connsiteY2227" fmla="*/ 4496 h 10000"/>
                <a:gd name="connsiteX2228" fmla="*/ 419 w 10785"/>
                <a:gd name="connsiteY2228" fmla="*/ 4521 h 10000"/>
                <a:gd name="connsiteX2229" fmla="*/ 429 w 10785"/>
                <a:gd name="connsiteY2229" fmla="*/ 4530 h 10000"/>
                <a:gd name="connsiteX2230" fmla="*/ 433 w 10785"/>
                <a:gd name="connsiteY2230" fmla="*/ 4521 h 10000"/>
                <a:gd name="connsiteX2231" fmla="*/ 442 w 10785"/>
                <a:gd name="connsiteY2231" fmla="*/ 4530 h 10000"/>
                <a:gd name="connsiteX2232" fmla="*/ 447 w 10785"/>
                <a:gd name="connsiteY2232" fmla="*/ 4521 h 10000"/>
                <a:gd name="connsiteX2233" fmla="*/ 452 w 10785"/>
                <a:gd name="connsiteY2233" fmla="*/ 4521 h 10000"/>
                <a:gd name="connsiteX2234" fmla="*/ 461 w 10785"/>
                <a:gd name="connsiteY2234" fmla="*/ 4573 h 10000"/>
                <a:gd name="connsiteX2235" fmla="*/ 479 w 10785"/>
                <a:gd name="connsiteY2235" fmla="*/ 4556 h 10000"/>
                <a:gd name="connsiteX2236" fmla="*/ 502 w 10785"/>
                <a:gd name="connsiteY2236" fmla="*/ 4573 h 10000"/>
                <a:gd name="connsiteX2237" fmla="*/ 507 w 10785"/>
                <a:gd name="connsiteY2237" fmla="*/ 4598 h 10000"/>
                <a:gd name="connsiteX2238" fmla="*/ 525 w 10785"/>
                <a:gd name="connsiteY2238" fmla="*/ 4598 h 10000"/>
                <a:gd name="connsiteX2239" fmla="*/ 535 w 10785"/>
                <a:gd name="connsiteY2239" fmla="*/ 4624 h 10000"/>
                <a:gd name="connsiteX2240" fmla="*/ 594 w 10785"/>
                <a:gd name="connsiteY2240" fmla="*/ 4658 h 10000"/>
                <a:gd name="connsiteX2241" fmla="*/ 627 w 10785"/>
                <a:gd name="connsiteY2241" fmla="*/ 4658 h 10000"/>
                <a:gd name="connsiteX2242" fmla="*/ 654 w 10785"/>
                <a:gd name="connsiteY2242" fmla="*/ 4684 h 10000"/>
                <a:gd name="connsiteX2243" fmla="*/ 668 w 10785"/>
                <a:gd name="connsiteY2243" fmla="*/ 4709 h 10000"/>
                <a:gd name="connsiteX2244" fmla="*/ 747 w 10785"/>
                <a:gd name="connsiteY2244" fmla="*/ 4718 h 10000"/>
                <a:gd name="connsiteX2245" fmla="*/ 760 w 10785"/>
                <a:gd name="connsiteY2245" fmla="*/ 4709 h 10000"/>
                <a:gd name="connsiteX2246" fmla="*/ 774 w 10785"/>
                <a:gd name="connsiteY2246" fmla="*/ 4692 h 10000"/>
                <a:gd name="connsiteX2247" fmla="*/ 829 w 10785"/>
                <a:gd name="connsiteY2247" fmla="*/ 4658 h 10000"/>
                <a:gd name="connsiteX2248" fmla="*/ 903 w 10785"/>
                <a:gd name="connsiteY2248" fmla="*/ 4496 h 10000"/>
                <a:gd name="connsiteX2249" fmla="*/ 917 w 10785"/>
                <a:gd name="connsiteY2249" fmla="*/ 4385 h 10000"/>
                <a:gd name="connsiteX2250" fmla="*/ 903 w 10785"/>
                <a:gd name="connsiteY2250" fmla="*/ 4376 h 10000"/>
                <a:gd name="connsiteX2251" fmla="*/ 903 w 10785"/>
                <a:gd name="connsiteY2251" fmla="*/ 4376 h 10000"/>
                <a:gd name="connsiteX2252" fmla="*/ 889 w 10785"/>
                <a:gd name="connsiteY2252" fmla="*/ 4239 h 10000"/>
                <a:gd name="connsiteX2253" fmla="*/ 880 w 10785"/>
                <a:gd name="connsiteY2253" fmla="*/ 4214 h 10000"/>
                <a:gd name="connsiteX2254" fmla="*/ 862 w 10785"/>
                <a:gd name="connsiteY2254" fmla="*/ 4188 h 10000"/>
                <a:gd name="connsiteX2255" fmla="*/ 857 w 10785"/>
                <a:gd name="connsiteY2255" fmla="*/ 4197 h 10000"/>
                <a:gd name="connsiteX2256" fmla="*/ 848 w 10785"/>
                <a:gd name="connsiteY2256" fmla="*/ 4188 h 10000"/>
                <a:gd name="connsiteX2257" fmla="*/ 848 w 10785"/>
                <a:gd name="connsiteY2257" fmla="*/ 4162 h 10000"/>
                <a:gd name="connsiteX2258" fmla="*/ 829 w 10785"/>
                <a:gd name="connsiteY2258" fmla="*/ 4120 h 10000"/>
                <a:gd name="connsiteX2259" fmla="*/ 820 w 10785"/>
                <a:gd name="connsiteY2259" fmla="*/ 4103 h 10000"/>
                <a:gd name="connsiteX2260" fmla="*/ 806 w 10785"/>
                <a:gd name="connsiteY2260" fmla="*/ 4077 h 10000"/>
                <a:gd name="connsiteX2261" fmla="*/ 816 w 10785"/>
                <a:gd name="connsiteY2261" fmla="*/ 4111 h 10000"/>
                <a:gd name="connsiteX2262" fmla="*/ 802 w 10785"/>
                <a:gd name="connsiteY2262" fmla="*/ 4111 h 10000"/>
                <a:gd name="connsiteX2263" fmla="*/ 770 w 10785"/>
                <a:gd name="connsiteY2263" fmla="*/ 4060 h 10000"/>
                <a:gd name="connsiteX2264" fmla="*/ 760 w 10785"/>
                <a:gd name="connsiteY2264" fmla="*/ 4077 h 10000"/>
                <a:gd name="connsiteX2265" fmla="*/ 760 w 10785"/>
                <a:gd name="connsiteY2265" fmla="*/ 4060 h 10000"/>
                <a:gd name="connsiteX2266" fmla="*/ 756 w 10785"/>
                <a:gd name="connsiteY2266" fmla="*/ 4034 h 10000"/>
                <a:gd name="connsiteX2267" fmla="*/ 742 w 10785"/>
                <a:gd name="connsiteY2267" fmla="*/ 4000 h 10000"/>
                <a:gd name="connsiteX2268" fmla="*/ 747 w 10785"/>
                <a:gd name="connsiteY2268" fmla="*/ 4034 h 10000"/>
                <a:gd name="connsiteX2269" fmla="*/ 724 w 10785"/>
                <a:gd name="connsiteY2269" fmla="*/ 4026 h 10000"/>
                <a:gd name="connsiteX2270" fmla="*/ 714 w 10785"/>
                <a:gd name="connsiteY2270" fmla="*/ 4000 h 10000"/>
                <a:gd name="connsiteX2271" fmla="*/ 714 w 10785"/>
                <a:gd name="connsiteY2271" fmla="*/ 3983 h 10000"/>
                <a:gd name="connsiteX2272" fmla="*/ 553 w 10785"/>
                <a:gd name="connsiteY2272" fmla="*/ 3726 h 10000"/>
                <a:gd name="connsiteX2273" fmla="*/ 507 w 10785"/>
                <a:gd name="connsiteY2273" fmla="*/ 3718 h 10000"/>
                <a:gd name="connsiteX2274" fmla="*/ 516 w 10785"/>
                <a:gd name="connsiteY2274" fmla="*/ 3726 h 10000"/>
                <a:gd name="connsiteX2275" fmla="*/ 507 w 10785"/>
                <a:gd name="connsiteY2275" fmla="*/ 3735 h 10000"/>
                <a:gd name="connsiteX2276" fmla="*/ 502 w 10785"/>
                <a:gd name="connsiteY2276" fmla="*/ 3735 h 10000"/>
                <a:gd name="connsiteX2277" fmla="*/ 419 w 10785"/>
                <a:gd name="connsiteY2277" fmla="*/ 3675 h 10000"/>
                <a:gd name="connsiteX2278" fmla="*/ 419 w 10785"/>
                <a:gd name="connsiteY2278" fmla="*/ 3692 h 10000"/>
                <a:gd name="connsiteX2279" fmla="*/ 401 w 10785"/>
                <a:gd name="connsiteY2279" fmla="*/ 3701 h 10000"/>
                <a:gd name="connsiteX2280" fmla="*/ 387 w 10785"/>
                <a:gd name="connsiteY2280" fmla="*/ 3718 h 10000"/>
                <a:gd name="connsiteX2281" fmla="*/ 387 w 10785"/>
                <a:gd name="connsiteY2281" fmla="*/ 3692 h 10000"/>
                <a:gd name="connsiteX2282" fmla="*/ 378 w 10785"/>
                <a:gd name="connsiteY2282" fmla="*/ 3675 h 10000"/>
                <a:gd name="connsiteX2283" fmla="*/ 378 w 10785"/>
                <a:gd name="connsiteY2283" fmla="*/ 3650 h 10000"/>
                <a:gd name="connsiteX2284" fmla="*/ 378 w 10785"/>
                <a:gd name="connsiteY2284" fmla="*/ 3650 h 10000"/>
                <a:gd name="connsiteX2285" fmla="*/ 355 w 10785"/>
                <a:gd name="connsiteY2285" fmla="*/ 3675 h 10000"/>
                <a:gd name="connsiteX2286" fmla="*/ 359 w 10785"/>
                <a:gd name="connsiteY2286" fmla="*/ 3641 h 10000"/>
                <a:gd name="connsiteX2287" fmla="*/ 346 w 10785"/>
                <a:gd name="connsiteY2287" fmla="*/ 3650 h 10000"/>
                <a:gd name="connsiteX2288" fmla="*/ 355 w 10785"/>
                <a:gd name="connsiteY2288" fmla="*/ 3624 h 10000"/>
                <a:gd name="connsiteX2289" fmla="*/ 346 w 10785"/>
                <a:gd name="connsiteY2289" fmla="*/ 3624 h 10000"/>
                <a:gd name="connsiteX2290" fmla="*/ 341 w 10785"/>
                <a:gd name="connsiteY2290" fmla="*/ 3624 h 10000"/>
                <a:gd name="connsiteX2291" fmla="*/ 318 w 10785"/>
                <a:gd name="connsiteY2291" fmla="*/ 3641 h 10000"/>
                <a:gd name="connsiteX2292" fmla="*/ 327 w 10785"/>
                <a:gd name="connsiteY2292" fmla="*/ 3624 h 10000"/>
                <a:gd name="connsiteX2293" fmla="*/ 318 w 10785"/>
                <a:gd name="connsiteY2293" fmla="*/ 3615 h 10000"/>
                <a:gd name="connsiteX2294" fmla="*/ 318 w 10785"/>
                <a:gd name="connsiteY2294" fmla="*/ 3598 h 10000"/>
                <a:gd name="connsiteX2295" fmla="*/ 300 w 10785"/>
                <a:gd name="connsiteY2295" fmla="*/ 3598 h 10000"/>
                <a:gd name="connsiteX2296" fmla="*/ 309 w 10785"/>
                <a:gd name="connsiteY2296" fmla="*/ 3538 h 10000"/>
                <a:gd name="connsiteX2297" fmla="*/ 313 w 10785"/>
                <a:gd name="connsiteY2297" fmla="*/ 3564 h 10000"/>
                <a:gd name="connsiteX2298" fmla="*/ 318 w 10785"/>
                <a:gd name="connsiteY2298" fmla="*/ 3581 h 10000"/>
                <a:gd name="connsiteX2299" fmla="*/ 327 w 10785"/>
                <a:gd name="connsiteY2299" fmla="*/ 3564 h 10000"/>
                <a:gd name="connsiteX2300" fmla="*/ 332 w 10785"/>
                <a:gd name="connsiteY2300" fmla="*/ 3590 h 10000"/>
                <a:gd name="connsiteX2301" fmla="*/ 346 w 10785"/>
                <a:gd name="connsiteY2301" fmla="*/ 3590 h 10000"/>
                <a:gd name="connsiteX2302" fmla="*/ 355 w 10785"/>
                <a:gd name="connsiteY2302" fmla="*/ 3590 h 10000"/>
                <a:gd name="connsiteX2303" fmla="*/ 369 w 10785"/>
                <a:gd name="connsiteY2303" fmla="*/ 3556 h 10000"/>
                <a:gd name="connsiteX2304" fmla="*/ 369 w 10785"/>
                <a:gd name="connsiteY2304" fmla="*/ 3538 h 10000"/>
                <a:gd name="connsiteX2305" fmla="*/ 346 w 10785"/>
                <a:gd name="connsiteY2305" fmla="*/ 3513 h 10000"/>
                <a:gd name="connsiteX2306" fmla="*/ 341 w 10785"/>
                <a:gd name="connsiteY2306" fmla="*/ 3530 h 10000"/>
                <a:gd name="connsiteX2307" fmla="*/ 327 w 10785"/>
                <a:gd name="connsiteY2307" fmla="*/ 3513 h 10000"/>
                <a:gd name="connsiteX2308" fmla="*/ 327 w 10785"/>
                <a:gd name="connsiteY2308" fmla="*/ 3504 h 10000"/>
                <a:gd name="connsiteX2309" fmla="*/ 295 w 10785"/>
                <a:gd name="connsiteY2309" fmla="*/ 3462 h 10000"/>
                <a:gd name="connsiteX2310" fmla="*/ 300 w 10785"/>
                <a:gd name="connsiteY2310" fmla="*/ 3479 h 10000"/>
                <a:gd name="connsiteX2311" fmla="*/ 295 w 10785"/>
                <a:gd name="connsiteY2311" fmla="*/ 3513 h 10000"/>
                <a:gd name="connsiteX2312" fmla="*/ 286 w 10785"/>
                <a:gd name="connsiteY2312" fmla="*/ 3513 h 10000"/>
                <a:gd name="connsiteX2313" fmla="*/ 281 w 10785"/>
                <a:gd name="connsiteY2313" fmla="*/ 3513 h 10000"/>
                <a:gd name="connsiteX2314" fmla="*/ 281 w 10785"/>
                <a:gd name="connsiteY2314" fmla="*/ 3530 h 10000"/>
                <a:gd name="connsiteX2315" fmla="*/ 281 w 10785"/>
                <a:gd name="connsiteY2315" fmla="*/ 3556 h 10000"/>
                <a:gd name="connsiteX2316" fmla="*/ 272 w 10785"/>
                <a:gd name="connsiteY2316" fmla="*/ 3564 h 10000"/>
                <a:gd name="connsiteX2317" fmla="*/ 267 w 10785"/>
                <a:gd name="connsiteY2317" fmla="*/ 3564 h 10000"/>
                <a:gd name="connsiteX2318" fmla="*/ 253 w 10785"/>
                <a:gd name="connsiteY2318" fmla="*/ 3538 h 10000"/>
                <a:gd name="connsiteX2319" fmla="*/ 226 w 10785"/>
                <a:gd name="connsiteY2319" fmla="*/ 3513 h 10000"/>
                <a:gd name="connsiteX2320" fmla="*/ 226 w 10785"/>
                <a:gd name="connsiteY2320" fmla="*/ 3530 h 10000"/>
                <a:gd name="connsiteX2321" fmla="*/ 226 w 10785"/>
                <a:gd name="connsiteY2321" fmla="*/ 3530 h 10000"/>
                <a:gd name="connsiteX2322" fmla="*/ 226 w 10785"/>
                <a:gd name="connsiteY2322" fmla="*/ 3530 h 10000"/>
                <a:gd name="connsiteX2323" fmla="*/ 226 w 10785"/>
                <a:gd name="connsiteY2323" fmla="*/ 3556 h 10000"/>
                <a:gd name="connsiteX2324" fmla="*/ 221 w 10785"/>
                <a:gd name="connsiteY2324" fmla="*/ 3598 h 10000"/>
                <a:gd name="connsiteX2325" fmla="*/ 207 w 10785"/>
                <a:gd name="connsiteY2325" fmla="*/ 3598 h 10000"/>
                <a:gd name="connsiteX2326" fmla="*/ 180 w 10785"/>
                <a:gd name="connsiteY2326" fmla="*/ 3581 h 10000"/>
                <a:gd name="connsiteX2327" fmla="*/ 171 w 10785"/>
                <a:gd name="connsiteY2327" fmla="*/ 3641 h 10000"/>
                <a:gd name="connsiteX2328" fmla="*/ 166 w 10785"/>
                <a:gd name="connsiteY2328" fmla="*/ 3650 h 10000"/>
                <a:gd name="connsiteX2329" fmla="*/ 124 w 10785"/>
                <a:gd name="connsiteY2329" fmla="*/ 3701 h 10000"/>
                <a:gd name="connsiteX2330" fmla="*/ 124 w 10785"/>
                <a:gd name="connsiteY2330" fmla="*/ 3718 h 10000"/>
                <a:gd name="connsiteX2331" fmla="*/ 120 w 10785"/>
                <a:gd name="connsiteY2331" fmla="*/ 3735 h 10000"/>
                <a:gd name="connsiteX2332" fmla="*/ 120 w 10785"/>
                <a:gd name="connsiteY2332" fmla="*/ 3735 h 10000"/>
                <a:gd name="connsiteX2333" fmla="*/ 111 w 10785"/>
                <a:gd name="connsiteY2333" fmla="*/ 3761 h 10000"/>
                <a:gd name="connsiteX2334" fmla="*/ 106 w 10785"/>
                <a:gd name="connsiteY2334" fmla="*/ 3761 h 10000"/>
                <a:gd name="connsiteX2335" fmla="*/ 106 w 10785"/>
                <a:gd name="connsiteY2335" fmla="*/ 3761 h 10000"/>
                <a:gd name="connsiteX2336" fmla="*/ 74 w 10785"/>
                <a:gd name="connsiteY2336" fmla="*/ 3829 h 10000"/>
                <a:gd name="connsiteX2337" fmla="*/ 78 w 10785"/>
                <a:gd name="connsiteY2337" fmla="*/ 3838 h 10000"/>
                <a:gd name="connsiteX2338" fmla="*/ 88 w 10785"/>
                <a:gd name="connsiteY2338" fmla="*/ 3846 h 10000"/>
                <a:gd name="connsiteX2339" fmla="*/ 65 w 10785"/>
                <a:gd name="connsiteY2339" fmla="*/ 3923 h 10000"/>
                <a:gd name="connsiteX2340" fmla="*/ 78 w 10785"/>
                <a:gd name="connsiteY2340" fmla="*/ 4026 h 10000"/>
                <a:gd name="connsiteX2341" fmla="*/ 88 w 10785"/>
                <a:gd name="connsiteY2341" fmla="*/ 4051 h 10000"/>
                <a:gd name="connsiteX2342" fmla="*/ 92 w 10785"/>
                <a:gd name="connsiteY2342" fmla="*/ 4060 h 10000"/>
                <a:gd name="connsiteX2343" fmla="*/ 111 w 10785"/>
                <a:gd name="connsiteY2343" fmla="*/ 4060 h 10000"/>
                <a:gd name="connsiteX2344" fmla="*/ 124 w 10785"/>
                <a:gd name="connsiteY2344" fmla="*/ 4085 h 10000"/>
                <a:gd name="connsiteX2345" fmla="*/ 166 w 10785"/>
                <a:gd name="connsiteY2345" fmla="*/ 4197 h 10000"/>
                <a:gd name="connsiteX2346" fmla="*/ 166 w 10785"/>
                <a:gd name="connsiteY2346" fmla="*/ 4248 h 10000"/>
                <a:gd name="connsiteX2347" fmla="*/ 120 w 10785"/>
                <a:gd name="connsiteY2347" fmla="*/ 4462 h 10000"/>
                <a:gd name="connsiteX2348" fmla="*/ 120 w 10785"/>
                <a:gd name="connsiteY2348" fmla="*/ 4513 h 10000"/>
                <a:gd name="connsiteX2349" fmla="*/ 180 w 10785"/>
                <a:gd name="connsiteY2349" fmla="*/ 4829 h 10000"/>
                <a:gd name="connsiteX2350" fmla="*/ 161 w 10785"/>
                <a:gd name="connsiteY2350" fmla="*/ 4855 h 10000"/>
                <a:gd name="connsiteX2351" fmla="*/ 152 w 10785"/>
                <a:gd name="connsiteY2351" fmla="*/ 4940 h 10000"/>
                <a:gd name="connsiteX2352" fmla="*/ 161 w 10785"/>
                <a:gd name="connsiteY2352" fmla="*/ 4966 h 10000"/>
                <a:gd name="connsiteX2353" fmla="*/ 161 w 10785"/>
                <a:gd name="connsiteY2353" fmla="*/ 5009 h 10000"/>
                <a:gd name="connsiteX2354" fmla="*/ 152 w 10785"/>
                <a:gd name="connsiteY2354" fmla="*/ 5034 h 10000"/>
                <a:gd name="connsiteX2355" fmla="*/ 152 w 10785"/>
                <a:gd name="connsiteY2355" fmla="*/ 5077 h 10000"/>
                <a:gd name="connsiteX2356" fmla="*/ 171 w 10785"/>
                <a:gd name="connsiteY2356" fmla="*/ 5094 h 10000"/>
                <a:gd name="connsiteX2357" fmla="*/ 180 w 10785"/>
                <a:gd name="connsiteY2357" fmla="*/ 5128 h 10000"/>
                <a:gd name="connsiteX2358" fmla="*/ 180 w 10785"/>
                <a:gd name="connsiteY2358" fmla="*/ 5171 h 10000"/>
                <a:gd name="connsiteX2359" fmla="*/ 184 w 10785"/>
                <a:gd name="connsiteY2359" fmla="*/ 5205 h 10000"/>
                <a:gd name="connsiteX2360" fmla="*/ 207 w 10785"/>
                <a:gd name="connsiteY2360" fmla="*/ 5239 h 10000"/>
                <a:gd name="connsiteX2361" fmla="*/ 207 w 10785"/>
                <a:gd name="connsiteY2361" fmla="*/ 5282 h 10000"/>
                <a:gd name="connsiteX2362" fmla="*/ 180 w 10785"/>
                <a:gd name="connsiteY2362" fmla="*/ 5393 h 10000"/>
                <a:gd name="connsiteX2363" fmla="*/ 194 w 10785"/>
                <a:gd name="connsiteY2363" fmla="*/ 5427 h 10000"/>
                <a:gd name="connsiteX2364" fmla="*/ 198 w 10785"/>
                <a:gd name="connsiteY2364" fmla="*/ 5462 h 10000"/>
                <a:gd name="connsiteX2365" fmla="*/ 235 w 10785"/>
                <a:gd name="connsiteY2365" fmla="*/ 5513 h 10000"/>
                <a:gd name="connsiteX2366" fmla="*/ 240 w 10785"/>
                <a:gd name="connsiteY2366" fmla="*/ 5556 h 10000"/>
                <a:gd name="connsiteX2367" fmla="*/ 253 w 10785"/>
                <a:gd name="connsiteY2367" fmla="*/ 5590 h 10000"/>
                <a:gd name="connsiteX2368" fmla="*/ 258 w 10785"/>
                <a:gd name="connsiteY2368" fmla="*/ 5573 h 10000"/>
                <a:gd name="connsiteX2369" fmla="*/ 258 w 10785"/>
                <a:gd name="connsiteY2369" fmla="*/ 5667 h 10000"/>
                <a:gd name="connsiteX2370" fmla="*/ 14 w 10785"/>
                <a:gd name="connsiteY2370" fmla="*/ 6214 h 10000"/>
                <a:gd name="connsiteX2371" fmla="*/ 14 w 10785"/>
                <a:gd name="connsiteY2371" fmla="*/ 6214 h 10000"/>
                <a:gd name="connsiteX2372" fmla="*/ 37 w 10785"/>
                <a:gd name="connsiteY2372" fmla="*/ 6214 h 10000"/>
                <a:gd name="connsiteX2373" fmla="*/ 51 w 10785"/>
                <a:gd name="connsiteY2373" fmla="*/ 6188 h 10000"/>
                <a:gd name="connsiteX2374" fmla="*/ 78 w 10785"/>
                <a:gd name="connsiteY2374" fmla="*/ 6162 h 10000"/>
                <a:gd name="connsiteX2375" fmla="*/ 78 w 10785"/>
                <a:gd name="connsiteY2375" fmla="*/ 6188 h 10000"/>
                <a:gd name="connsiteX2376" fmla="*/ 74 w 10785"/>
                <a:gd name="connsiteY2376" fmla="*/ 6197 h 10000"/>
                <a:gd name="connsiteX2377" fmla="*/ 74 w 10785"/>
                <a:gd name="connsiteY2377" fmla="*/ 6231 h 10000"/>
                <a:gd name="connsiteX2378" fmla="*/ 74 w 10785"/>
                <a:gd name="connsiteY2378" fmla="*/ 6214 h 10000"/>
                <a:gd name="connsiteX2379" fmla="*/ 65 w 10785"/>
                <a:gd name="connsiteY2379" fmla="*/ 6214 h 10000"/>
                <a:gd name="connsiteX2380" fmla="*/ 65 w 10785"/>
                <a:gd name="connsiteY2380" fmla="*/ 6248 h 10000"/>
                <a:gd name="connsiteX2381" fmla="*/ 74 w 10785"/>
                <a:gd name="connsiteY2381" fmla="*/ 6256 h 10000"/>
                <a:gd name="connsiteX2382" fmla="*/ 78 w 10785"/>
                <a:gd name="connsiteY2382" fmla="*/ 6256 h 10000"/>
                <a:gd name="connsiteX2383" fmla="*/ 106 w 10785"/>
                <a:gd name="connsiteY2383" fmla="*/ 6308 h 10000"/>
                <a:gd name="connsiteX2384" fmla="*/ 138 w 10785"/>
                <a:gd name="connsiteY2384" fmla="*/ 6299 h 10000"/>
                <a:gd name="connsiteX2385" fmla="*/ 152 w 10785"/>
                <a:gd name="connsiteY2385" fmla="*/ 6299 h 10000"/>
                <a:gd name="connsiteX2386" fmla="*/ 166 w 10785"/>
                <a:gd name="connsiteY2386" fmla="*/ 6325 h 10000"/>
                <a:gd name="connsiteX2387" fmla="*/ 166 w 10785"/>
                <a:gd name="connsiteY2387" fmla="*/ 6333 h 10000"/>
                <a:gd name="connsiteX2388" fmla="*/ 171 w 10785"/>
                <a:gd name="connsiteY2388" fmla="*/ 6350 h 10000"/>
                <a:gd name="connsiteX2389" fmla="*/ 180 w 10785"/>
                <a:gd name="connsiteY2389" fmla="*/ 6350 h 10000"/>
                <a:gd name="connsiteX2390" fmla="*/ 180 w 10785"/>
                <a:gd name="connsiteY2390" fmla="*/ 6359 h 10000"/>
                <a:gd name="connsiteX2391" fmla="*/ 171 w 10785"/>
                <a:gd name="connsiteY2391" fmla="*/ 6368 h 10000"/>
                <a:gd name="connsiteX2392" fmla="*/ 106 w 10785"/>
                <a:gd name="connsiteY2392" fmla="*/ 6350 h 10000"/>
                <a:gd name="connsiteX2393" fmla="*/ 101 w 10785"/>
                <a:gd name="connsiteY2393" fmla="*/ 6359 h 10000"/>
                <a:gd name="connsiteX2394" fmla="*/ 101 w 10785"/>
                <a:gd name="connsiteY2394" fmla="*/ 6385 h 10000"/>
                <a:gd name="connsiteX2395" fmla="*/ 78 w 10785"/>
                <a:gd name="connsiteY2395" fmla="*/ 6393 h 10000"/>
                <a:gd name="connsiteX2396" fmla="*/ 74 w 10785"/>
                <a:gd name="connsiteY2396" fmla="*/ 6385 h 10000"/>
                <a:gd name="connsiteX2397" fmla="*/ 65 w 10785"/>
                <a:gd name="connsiteY2397" fmla="*/ 6393 h 10000"/>
                <a:gd name="connsiteX2398" fmla="*/ 60 w 10785"/>
                <a:gd name="connsiteY2398" fmla="*/ 6419 h 10000"/>
                <a:gd name="connsiteX2399" fmla="*/ 51 w 10785"/>
                <a:gd name="connsiteY2399" fmla="*/ 6419 h 10000"/>
                <a:gd name="connsiteX2400" fmla="*/ 46 w 10785"/>
                <a:gd name="connsiteY2400" fmla="*/ 6410 h 10000"/>
                <a:gd name="connsiteX2401" fmla="*/ 37 w 10785"/>
                <a:gd name="connsiteY2401" fmla="*/ 6393 h 10000"/>
                <a:gd name="connsiteX2402" fmla="*/ 32 w 10785"/>
                <a:gd name="connsiteY2402" fmla="*/ 6419 h 10000"/>
                <a:gd name="connsiteX2403" fmla="*/ 37 w 10785"/>
                <a:gd name="connsiteY2403" fmla="*/ 6462 h 10000"/>
                <a:gd name="connsiteX2404" fmla="*/ 46 w 10785"/>
                <a:gd name="connsiteY2404" fmla="*/ 6462 h 10000"/>
                <a:gd name="connsiteX2405" fmla="*/ 51 w 10785"/>
                <a:gd name="connsiteY2405" fmla="*/ 6470 h 10000"/>
                <a:gd name="connsiteX2406" fmla="*/ 51 w 10785"/>
                <a:gd name="connsiteY2406" fmla="*/ 6496 h 10000"/>
                <a:gd name="connsiteX2407" fmla="*/ 51 w 10785"/>
                <a:gd name="connsiteY2407" fmla="*/ 6504 h 10000"/>
                <a:gd name="connsiteX2408" fmla="*/ 37 w 10785"/>
                <a:gd name="connsiteY2408" fmla="*/ 6530 h 10000"/>
                <a:gd name="connsiteX2409" fmla="*/ 18 w 10785"/>
                <a:gd name="connsiteY2409" fmla="*/ 6598 h 10000"/>
                <a:gd name="connsiteX2410" fmla="*/ 28 w 10785"/>
                <a:gd name="connsiteY2410" fmla="*/ 6632 h 10000"/>
                <a:gd name="connsiteX2411" fmla="*/ 18 w 10785"/>
                <a:gd name="connsiteY2411" fmla="*/ 6667 h 10000"/>
                <a:gd name="connsiteX2412" fmla="*/ 28 w 10785"/>
                <a:gd name="connsiteY2412" fmla="*/ 6692 h 10000"/>
                <a:gd name="connsiteX2413" fmla="*/ 28 w 10785"/>
                <a:gd name="connsiteY2413" fmla="*/ 6709 h 10000"/>
                <a:gd name="connsiteX2414" fmla="*/ 18 w 10785"/>
                <a:gd name="connsiteY2414" fmla="*/ 6718 h 10000"/>
                <a:gd name="connsiteX2415" fmla="*/ 5 w 10785"/>
                <a:gd name="connsiteY2415" fmla="*/ 6744 h 10000"/>
                <a:gd name="connsiteX2416" fmla="*/ 0 w 10785"/>
                <a:gd name="connsiteY2416" fmla="*/ 6769 h 10000"/>
                <a:gd name="connsiteX2417" fmla="*/ 5 w 10785"/>
                <a:gd name="connsiteY2417" fmla="*/ 6778 h 10000"/>
                <a:gd name="connsiteX2418" fmla="*/ 32 w 10785"/>
                <a:gd name="connsiteY2418" fmla="*/ 6778 h 10000"/>
                <a:gd name="connsiteX2419" fmla="*/ 46 w 10785"/>
                <a:gd name="connsiteY2419" fmla="*/ 6821 h 10000"/>
                <a:gd name="connsiteX2420" fmla="*/ 46 w 10785"/>
                <a:gd name="connsiteY2420" fmla="*/ 6855 h 10000"/>
                <a:gd name="connsiteX2421" fmla="*/ 32 w 10785"/>
                <a:gd name="connsiteY2421" fmla="*/ 6855 h 10000"/>
                <a:gd name="connsiteX2422" fmla="*/ 14 w 10785"/>
                <a:gd name="connsiteY2422" fmla="*/ 6821 h 10000"/>
                <a:gd name="connsiteX2423" fmla="*/ 14 w 10785"/>
                <a:gd name="connsiteY2423" fmla="*/ 6846 h 10000"/>
                <a:gd name="connsiteX2424" fmla="*/ 0 w 10785"/>
                <a:gd name="connsiteY2424" fmla="*/ 6897 h 10000"/>
                <a:gd name="connsiteX2425" fmla="*/ 0 w 10785"/>
                <a:gd name="connsiteY2425" fmla="*/ 6915 h 10000"/>
                <a:gd name="connsiteX2426" fmla="*/ 5 w 10785"/>
                <a:gd name="connsiteY2426" fmla="*/ 6932 h 10000"/>
                <a:gd name="connsiteX2427" fmla="*/ 14 w 10785"/>
                <a:gd name="connsiteY2427" fmla="*/ 6940 h 10000"/>
                <a:gd name="connsiteX2428" fmla="*/ 18 w 10785"/>
                <a:gd name="connsiteY2428" fmla="*/ 6957 h 10000"/>
                <a:gd name="connsiteX2429" fmla="*/ 28 w 10785"/>
                <a:gd name="connsiteY2429" fmla="*/ 6966 h 10000"/>
                <a:gd name="connsiteX2430" fmla="*/ 28 w 10785"/>
                <a:gd name="connsiteY2430" fmla="*/ 6983 h 10000"/>
                <a:gd name="connsiteX2431" fmla="*/ 18 w 10785"/>
                <a:gd name="connsiteY2431" fmla="*/ 7051 h 10000"/>
                <a:gd name="connsiteX2432" fmla="*/ 28 w 10785"/>
                <a:gd name="connsiteY2432" fmla="*/ 7068 h 10000"/>
                <a:gd name="connsiteX2433" fmla="*/ 32 w 10785"/>
                <a:gd name="connsiteY2433" fmla="*/ 7068 h 10000"/>
                <a:gd name="connsiteX2434" fmla="*/ 32 w 10785"/>
                <a:gd name="connsiteY2434" fmla="*/ 7094 h 10000"/>
                <a:gd name="connsiteX2435" fmla="*/ 60 w 10785"/>
                <a:gd name="connsiteY2435" fmla="*/ 7162 h 10000"/>
                <a:gd name="connsiteX2436" fmla="*/ 60 w 10785"/>
                <a:gd name="connsiteY2436" fmla="*/ 7231 h 10000"/>
                <a:gd name="connsiteX2437" fmla="*/ 60 w 10785"/>
                <a:gd name="connsiteY2437" fmla="*/ 7239 h 10000"/>
                <a:gd name="connsiteX2438" fmla="*/ 78 w 10785"/>
                <a:gd name="connsiteY2438" fmla="*/ 7239 h 10000"/>
                <a:gd name="connsiteX2439" fmla="*/ 88 w 10785"/>
                <a:gd name="connsiteY2439" fmla="*/ 7239 h 10000"/>
                <a:gd name="connsiteX2440" fmla="*/ 92 w 10785"/>
                <a:gd name="connsiteY2440" fmla="*/ 7256 h 10000"/>
                <a:gd name="connsiteX2441" fmla="*/ 111 w 10785"/>
                <a:gd name="connsiteY2441" fmla="*/ 7256 h 10000"/>
                <a:gd name="connsiteX2442" fmla="*/ 120 w 10785"/>
                <a:gd name="connsiteY2442" fmla="*/ 7256 h 10000"/>
                <a:gd name="connsiteX2443" fmla="*/ 134 w 10785"/>
                <a:gd name="connsiteY2443" fmla="*/ 7282 h 10000"/>
                <a:gd name="connsiteX2444" fmla="*/ 134 w 10785"/>
                <a:gd name="connsiteY2444" fmla="*/ 7316 h 10000"/>
                <a:gd name="connsiteX2445" fmla="*/ 152 w 10785"/>
                <a:gd name="connsiteY2445" fmla="*/ 7299 h 10000"/>
                <a:gd name="connsiteX2446" fmla="*/ 161 w 10785"/>
                <a:gd name="connsiteY2446" fmla="*/ 7299 h 10000"/>
                <a:gd name="connsiteX2447" fmla="*/ 166 w 10785"/>
                <a:gd name="connsiteY2447" fmla="*/ 7291 h 10000"/>
                <a:gd name="connsiteX2448" fmla="*/ 194 w 10785"/>
                <a:gd name="connsiteY2448" fmla="*/ 7291 h 10000"/>
                <a:gd name="connsiteX2449" fmla="*/ 207 w 10785"/>
                <a:gd name="connsiteY2449" fmla="*/ 7299 h 10000"/>
                <a:gd name="connsiteX2450" fmla="*/ 221 w 10785"/>
                <a:gd name="connsiteY2450" fmla="*/ 7342 h 10000"/>
                <a:gd name="connsiteX2451" fmla="*/ 235 w 10785"/>
                <a:gd name="connsiteY2451" fmla="*/ 7342 h 10000"/>
                <a:gd name="connsiteX2452" fmla="*/ 235 w 10785"/>
                <a:gd name="connsiteY2452" fmla="*/ 7368 h 10000"/>
                <a:gd name="connsiteX2453" fmla="*/ 226 w 10785"/>
                <a:gd name="connsiteY2453" fmla="*/ 7393 h 10000"/>
                <a:gd name="connsiteX2454" fmla="*/ 226 w 10785"/>
                <a:gd name="connsiteY2454" fmla="*/ 7402 h 10000"/>
                <a:gd name="connsiteX2455" fmla="*/ 235 w 10785"/>
                <a:gd name="connsiteY2455" fmla="*/ 7419 h 10000"/>
                <a:gd name="connsiteX2456" fmla="*/ 240 w 10785"/>
                <a:gd name="connsiteY2456" fmla="*/ 7436 h 10000"/>
                <a:gd name="connsiteX2457" fmla="*/ 235 w 10785"/>
                <a:gd name="connsiteY2457" fmla="*/ 7462 h 10000"/>
                <a:gd name="connsiteX2458" fmla="*/ 226 w 10785"/>
                <a:gd name="connsiteY2458" fmla="*/ 7479 h 10000"/>
                <a:gd name="connsiteX2459" fmla="*/ 226 w 10785"/>
                <a:gd name="connsiteY2459" fmla="*/ 7504 h 10000"/>
                <a:gd name="connsiteX2460" fmla="*/ 226 w 10785"/>
                <a:gd name="connsiteY2460" fmla="*/ 7513 h 10000"/>
                <a:gd name="connsiteX2461" fmla="*/ 240 w 10785"/>
                <a:gd name="connsiteY2461" fmla="*/ 7538 h 10000"/>
                <a:gd name="connsiteX2462" fmla="*/ 267 w 10785"/>
                <a:gd name="connsiteY2462" fmla="*/ 7641 h 10000"/>
                <a:gd name="connsiteX2463" fmla="*/ 281 w 10785"/>
                <a:gd name="connsiteY2463" fmla="*/ 7667 h 10000"/>
                <a:gd name="connsiteX2464" fmla="*/ 286 w 10785"/>
                <a:gd name="connsiteY2464" fmla="*/ 7675 h 10000"/>
                <a:gd name="connsiteX2465" fmla="*/ 286 w 10785"/>
                <a:gd name="connsiteY2465" fmla="*/ 7692 h 10000"/>
                <a:gd name="connsiteX2466" fmla="*/ 286 w 10785"/>
                <a:gd name="connsiteY2466" fmla="*/ 7709 h 10000"/>
                <a:gd name="connsiteX2467" fmla="*/ 295 w 10785"/>
                <a:gd name="connsiteY2467" fmla="*/ 7726 h 10000"/>
                <a:gd name="connsiteX2468" fmla="*/ 318 w 10785"/>
                <a:gd name="connsiteY2468" fmla="*/ 7709 h 10000"/>
                <a:gd name="connsiteX2469" fmla="*/ 327 w 10785"/>
                <a:gd name="connsiteY2469" fmla="*/ 7726 h 10000"/>
                <a:gd name="connsiteX2470" fmla="*/ 341 w 10785"/>
                <a:gd name="connsiteY2470" fmla="*/ 7735 h 10000"/>
                <a:gd name="connsiteX2471" fmla="*/ 332 w 10785"/>
                <a:gd name="connsiteY2471" fmla="*/ 7752 h 10000"/>
                <a:gd name="connsiteX2472" fmla="*/ 341 w 10785"/>
                <a:gd name="connsiteY2472" fmla="*/ 7761 h 10000"/>
                <a:gd name="connsiteX2473" fmla="*/ 355 w 10785"/>
                <a:gd name="connsiteY2473" fmla="*/ 7761 h 10000"/>
                <a:gd name="connsiteX2474" fmla="*/ 355 w 10785"/>
                <a:gd name="connsiteY2474" fmla="*/ 7803 h 10000"/>
                <a:gd name="connsiteX2475" fmla="*/ 313 w 10785"/>
                <a:gd name="connsiteY2475" fmla="*/ 7846 h 10000"/>
                <a:gd name="connsiteX2476" fmla="*/ 295 w 10785"/>
                <a:gd name="connsiteY2476" fmla="*/ 7846 h 10000"/>
                <a:gd name="connsiteX2477" fmla="*/ 281 w 10785"/>
                <a:gd name="connsiteY2477" fmla="*/ 7821 h 10000"/>
                <a:gd name="connsiteX2478" fmla="*/ 272 w 10785"/>
                <a:gd name="connsiteY2478" fmla="*/ 7821 h 10000"/>
                <a:gd name="connsiteX2479" fmla="*/ 267 w 10785"/>
                <a:gd name="connsiteY2479" fmla="*/ 7838 h 10000"/>
                <a:gd name="connsiteX2480" fmla="*/ 258 w 10785"/>
                <a:gd name="connsiteY2480" fmla="*/ 7846 h 10000"/>
                <a:gd name="connsiteX2481" fmla="*/ 253 w 10785"/>
                <a:gd name="connsiteY2481" fmla="*/ 7863 h 10000"/>
                <a:gd name="connsiteX2482" fmla="*/ 253 w 10785"/>
                <a:gd name="connsiteY2482" fmla="*/ 7872 h 10000"/>
                <a:gd name="connsiteX2483" fmla="*/ 267 w 10785"/>
                <a:gd name="connsiteY2483" fmla="*/ 7897 h 10000"/>
                <a:gd name="connsiteX2484" fmla="*/ 272 w 10785"/>
                <a:gd name="connsiteY2484" fmla="*/ 7915 h 10000"/>
                <a:gd name="connsiteX2485" fmla="*/ 267 w 10785"/>
                <a:gd name="connsiteY2485" fmla="*/ 7940 h 10000"/>
                <a:gd name="connsiteX2486" fmla="*/ 272 w 10785"/>
                <a:gd name="connsiteY2486" fmla="*/ 7949 h 10000"/>
                <a:gd name="connsiteX2487" fmla="*/ 272 w 10785"/>
                <a:gd name="connsiteY2487" fmla="*/ 7957 h 10000"/>
                <a:gd name="connsiteX2488" fmla="*/ 281 w 10785"/>
                <a:gd name="connsiteY2488" fmla="*/ 7974 h 10000"/>
                <a:gd name="connsiteX2489" fmla="*/ 286 w 10785"/>
                <a:gd name="connsiteY2489" fmla="*/ 7983 h 10000"/>
                <a:gd name="connsiteX2490" fmla="*/ 281 w 10785"/>
                <a:gd name="connsiteY2490" fmla="*/ 8009 h 10000"/>
                <a:gd name="connsiteX2491" fmla="*/ 286 w 10785"/>
                <a:gd name="connsiteY2491" fmla="*/ 8060 h 10000"/>
                <a:gd name="connsiteX2492" fmla="*/ 286 w 10785"/>
                <a:gd name="connsiteY2492" fmla="*/ 8060 h 10000"/>
                <a:gd name="connsiteX2493" fmla="*/ 295 w 10785"/>
                <a:gd name="connsiteY2493" fmla="*/ 8077 h 10000"/>
                <a:gd name="connsiteX2494" fmla="*/ 309 w 10785"/>
                <a:gd name="connsiteY2494" fmla="*/ 8077 h 10000"/>
                <a:gd name="connsiteX2495" fmla="*/ 313 w 10785"/>
                <a:gd name="connsiteY2495" fmla="*/ 8060 h 10000"/>
                <a:gd name="connsiteX2496" fmla="*/ 318 w 10785"/>
                <a:gd name="connsiteY2496" fmla="*/ 8051 h 10000"/>
                <a:gd name="connsiteX2497" fmla="*/ 318 w 10785"/>
                <a:gd name="connsiteY2497" fmla="*/ 8034 h 10000"/>
                <a:gd name="connsiteX2498" fmla="*/ 332 w 10785"/>
                <a:gd name="connsiteY2498" fmla="*/ 8026 h 10000"/>
                <a:gd name="connsiteX2499" fmla="*/ 359 w 10785"/>
                <a:gd name="connsiteY2499" fmla="*/ 8034 h 10000"/>
                <a:gd name="connsiteX2500" fmla="*/ 378 w 10785"/>
                <a:gd name="connsiteY2500" fmla="*/ 8026 h 10000"/>
                <a:gd name="connsiteX2501" fmla="*/ 401 w 10785"/>
                <a:gd name="connsiteY2501" fmla="*/ 8026 h 10000"/>
                <a:gd name="connsiteX2502" fmla="*/ 419 w 10785"/>
                <a:gd name="connsiteY2502" fmla="*/ 8009 h 10000"/>
                <a:gd name="connsiteX2503" fmla="*/ 433 w 10785"/>
                <a:gd name="connsiteY2503" fmla="*/ 8034 h 10000"/>
                <a:gd name="connsiteX2504" fmla="*/ 442 w 10785"/>
                <a:gd name="connsiteY2504" fmla="*/ 8060 h 10000"/>
                <a:gd name="connsiteX2505" fmla="*/ 442 w 10785"/>
                <a:gd name="connsiteY2505" fmla="*/ 8077 h 10000"/>
                <a:gd name="connsiteX2506" fmla="*/ 461 w 10785"/>
                <a:gd name="connsiteY2506" fmla="*/ 8111 h 10000"/>
                <a:gd name="connsiteX2507" fmla="*/ 461 w 10785"/>
                <a:gd name="connsiteY2507" fmla="*/ 8137 h 10000"/>
                <a:gd name="connsiteX2508" fmla="*/ 447 w 10785"/>
                <a:gd name="connsiteY2508" fmla="*/ 8145 h 10000"/>
                <a:gd name="connsiteX2509" fmla="*/ 442 w 10785"/>
                <a:gd name="connsiteY2509" fmla="*/ 8145 h 10000"/>
                <a:gd name="connsiteX2510" fmla="*/ 442 w 10785"/>
                <a:gd name="connsiteY2510" fmla="*/ 8162 h 10000"/>
                <a:gd name="connsiteX2511" fmla="*/ 442 w 10785"/>
                <a:gd name="connsiteY2511" fmla="*/ 8171 h 10000"/>
                <a:gd name="connsiteX2512" fmla="*/ 447 w 10785"/>
                <a:gd name="connsiteY2512" fmla="*/ 8214 h 10000"/>
                <a:gd name="connsiteX2513" fmla="*/ 465 w 10785"/>
                <a:gd name="connsiteY2513" fmla="*/ 8231 h 10000"/>
                <a:gd name="connsiteX2514" fmla="*/ 488 w 10785"/>
                <a:gd name="connsiteY2514" fmla="*/ 8231 h 10000"/>
                <a:gd name="connsiteX2515" fmla="*/ 493 w 10785"/>
                <a:gd name="connsiteY2515" fmla="*/ 8231 h 10000"/>
                <a:gd name="connsiteX2516" fmla="*/ 502 w 10785"/>
                <a:gd name="connsiteY2516" fmla="*/ 8231 h 10000"/>
                <a:gd name="connsiteX2517" fmla="*/ 507 w 10785"/>
                <a:gd name="connsiteY2517" fmla="*/ 8248 h 10000"/>
                <a:gd name="connsiteX2518" fmla="*/ 521 w 10785"/>
                <a:gd name="connsiteY2518" fmla="*/ 8274 h 10000"/>
                <a:gd name="connsiteX2519" fmla="*/ 525 w 10785"/>
                <a:gd name="connsiteY2519" fmla="*/ 8333 h 10000"/>
                <a:gd name="connsiteX2520" fmla="*/ 525 w 10785"/>
                <a:gd name="connsiteY2520" fmla="*/ 8359 h 10000"/>
                <a:gd name="connsiteX2521" fmla="*/ 525 w 10785"/>
                <a:gd name="connsiteY2521" fmla="*/ 8368 h 10000"/>
                <a:gd name="connsiteX2522" fmla="*/ 548 w 10785"/>
                <a:gd name="connsiteY2522" fmla="*/ 8393 h 10000"/>
                <a:gd name="connsiteX2523" fmla="*/ 553 w 10785"/>
                <a:gd name="connsiteY2523" fmla="*/ 8385 h 10000"/>
                <a:gd name="connsiteX2524" fmla="*/ 562 w 10785"/>
                <a:gd name="connsiteY2524" fmla="*/ 8385 h 10000"/>
                <a:gd name="connsiteX2525" fmla="*/ 576 w 10785"/>
                <a:gd name="connsiteY2525" fmla="*/ 8385 h 10000"/>
                <a:gd name="connsiteX2526" fmla="*/ 585 w 10785"/>
                <a:gd name="connsiteY2526" fmla="*/ 8410 h 10000"/>
                <a:gd name="connsiteX2527" fmla="*/ 594 w 10785"/>
                <a:gd name="connsiteY2527" fmla="*/ 8410 h 10000"/>
                <a:gd name="connsiteX2528" fmla="*/ 608 w 10785"/>
                <a:gd name="connsiteY2528" fmla="*/ 8410 h 10000"/>
                <a:gd name="connsiteX2529" fmla="*/ 654 w 10785"/>
                <a:gd name="connsiteY2529" fmla="*/ 8385 h 10000"/>
                <a:gd name="connsiteX2530" fmla="*/ 659 w 10785"/>
                <a:gd name="connsiteY2530" fmla="*/ 8385 h 10000"/>
                <a:gd name="connsiteX2531" fmla="*/ 696 w 10785"/>
                <a:gd name="connsiteY2531" fmla="*/ 8470 h 10000"/>
                <a:gd name="connsiteX2532" fmla="*/ 700 w 10785"/>
                <a:gd name="connsiteY2532" fmla="*/ 8470 h 10000"/>
                <a:gd name="connsiteX2533" fmla="*/ 710 w 10785"/>
                <a:gd name="connsiteY2533" fmla="*/ 8462 h 10000"/>
                <a:gd name="connsiteX2534" fmla="*/ 714 w 10785"/>
                <a:gd name="connsiteY2534" fmla="*/ 8462 h 10000"/>
                <a:gd name="connsiteX2535" fmla="*/ 724 w 10785"/>
                <a:gd name="connsiteY2535" fmla="*/ 8470 h 10000"/>
                <a:gd name="connsiteX2536" fmla="*/ 733 w 10785"/>
                <a:gd name="connsiteY2536" fmla="*/ 8470 h 10000"/>
                <a:gd name="connsiteX2537" fmla="*/ 742 w 10785"/>
                <a:gd name="connsiteY2537" fmla="*/ 8487 h 10000"/>
                <a:gd name="connsiteX2538" fmla="*/ 747 w 10785"/>
                <a:gd name="connsiteY2538" fmla="*/ 8496 h 10000"/>
                <a:gd name="connsiteX2539" fmla="*/ 770 w 10785"/>
                <a:gd name="connsiteY2539" fmla="*/ 8496 h 10000"/>
                <a:gd name="connsiteX2540" fmla="*/ 783 w 10785"/>
                <a:gd name="connsiteY2540" fmla="*/ 8521 h 10000"/>
                <a:gd name="connsiteX2541" fmla="*/ 797 w 10785"/>
                <a:gd name="connsiteY2541" fmla="*/ 8521 h 10000"/>
                <a:gd name="connsiteX2542" fmla="*/ 806 w 10785"/>
                <a:gd name="connsiteY2542" fmla="*/ 8530 h 10000"/>
                <a:gd name="connsiteX2543" fmla="*/ 829 w 10785"/>
                <a:gd name="connsiteY2543" fmla="*/ 8547 h 10000"/>
                <a:gd name="connsiteX2544" fmla="*/ 834 w 10785"/>
                <a:gd name="connsiteY2544" fmla="*/ 8556 h 10000"/>
                <a:gd name="connsiteX2545" fmla="*/ 829 w 10785"/>
                <a:gd name="connsiteY2545" fmla="*/ 8556 h 10000"/>
                <a:gd name="connsiteX2546" fmla="*/ 834 w 10785"/>
                <a:gd name="connsiteY2546" fmla="*/ 8607 h 10000"/>
                <a:gd name="connsiteX2547" fmla="*/ 829 w 10785"/>
                <a:gd name="connsiteY2547" fmla="*/ 8641 h 10000"/>
                <a:gd name="connsiteX2548" fmla="*/ 806 w 10785"/>
                <a:gd name="connsiteY2548" fmla="*/ 8658 h 10000"/>
                <a:gd name="connsiteX2549" fmla="*/ 816 w 10785"/>
                <a:gd name="connsiteY2549" fmla="*/ 8667 h 10000"/>
                <a:gd name="connsiteX2550" fmla="*/ 820 w 10785"/>
                <a:gd name="connsiteY2550" fmla="*/ 8667 h 10000"/>
                <a:gd name="connsiteX2551" fmla="*/ 829 w 10785"/>
                <a:gd name="connsiteY2551" fmla="*/ 8684 h 10000"/>
                <a:gd name="connsiteX2552" fmla="*/ 806 w 10785"/>
                <a:gd name="connsiteY2552" fmla="*/ 8692 h 10000"/>
                <a:gd name="connsiteX2553" fmla="*/ 802 w 10785"/>
                <a:gd name="connsiteY2553" fmla="*/ 8709 h 10000"/>
                <a:gd name="connsiteX2554" fmla="*/ 802 w 10785"/>
                <a:gd name="connsiteY2554" fmla="*/ 8735 h 10000"/>
                <a:gd name="connsiteX2555" fmla="*/ 806 w 10785"/>
                <a:gd name="connsiteY2555" fmla="*/ 8744 h 10000"/>
                <a:gd name="connsiteX2556" fmla="*/ 816 w 10785"/>
                <a:gd name="connsiteY2556" fmla="*/ 8752 h 10000"/>
                <a:gd name="connsiteX2557" fmla="*/ 806 w 10785"/>
                <a:gd name="connsiteY2557" fmla="*/ 8778 h 10000"/>
                <a:gd name="connsiteX2558" fmla="*/ 820 w 10785"/>
                <a:gd name="connsiteY2558" fmla="*/ 8778 h 10000"/>
                <a:gd name="connsiteX2559" fmla="*/ 806 w 10785"/>
                <a:gd name="connsiteY2559" fmla="*/ 8880 h 10000"/>
                <a:gd name="connsiteX2560" fmla="*/ 797 w 10785"/>
                <a:gd name="connsiteY2560" fmla="*/ 8880 h 10000"/>
                <a:gd name="connsiteX2561" fmla="*/ 783 w 10785"/>
                <a:gd name="connsiteY2561" fmla="*/ 8872 h 10000"/>
                <a:gd name="connsiteX2562" fmla="*/ 770 w 10785"/>
                <a:gd name="connsiteY2562" fmla="*/ 8880 h 10000"/>
                <a:gd name="connsiteX2563" fmla="*/ 756 w 10785"/>
                <a:gd name="connsiteY2563" fmla="*/ 8855 h 10000"/>
                <a:gd name="connsiteX2564" fmla="*/ 733 w 10785"/>
                <a:gd name="connsiteY2564" fmla="*/ 8906 h 10000"/>
                <a:gd name="connsiteX2565" fmla="*/ 714 w 10785"/>
                <a:gd name="connsiteY2565" fmla="*/ 8915 h 10000"/>
                <a:gd name="connsiteX2566" fmla="*/ 710 w 10785"/>
                <a:gd name="connsiteY2566" fmla="*/ 8940 h 10000"/>
                <a:gd name="connsiteX2567" fmla="*/ 710 w 10785"/>
                <a:gd name="connsiteY2567" fmla="*/ 9009 h 10000"/>
                <a:gd name="connsiteX2568" fmla="*/ 728 w 10785"/>
                <a:gd name="connsiteY2568" fmla="*/ 8991 h 10000"/>
                <a:gd name="connsiteX2569" fmla="*/ 733 w 10785"/>
                <a:gd name="connsiteY2569" fmla="*/ 8991 h 10000"/>
                <a:gd name="connsiteX2570" fmla="*/ 747 w 10785"/>
                <a:gd name="connsiteY2570" fmla="*/ 8983 h 10000"/>
                <a:gd name="connsiteX2571" fmla="*/ 760 w 10785"/>
                <a:gd name="connsiteY2571" fmla="*/ 8983 h 10000"/>
                <a:gd name="connsiteX2572" fmla="*/ 770 w 10785"/>
                <a:gd name="connsiteY2572" fmla="*/ 8983 h 10000"/>
                <a:gd name="connsiteX2573" fmla="*/ 770 w 10785"/>
                <a:gd name="connsiteY2573" fmla="*/ 8991 h 10000"/>
                <a:gd name="connsiteX2574" fmla="*/ 783 w 10785"/>
                <a:gd name="connsiteY2574" fmla="*/ 8991 h 10000"/>
                <a:gd name="connsiteX2575" fmla="*/ 783 w 10785"/>
                <a:gd name="connsiteY2575" fmla="*/ 9009 h 10000"/>
                <a:gd name="connsiteX2576" fmla="*/ 783 w 10785"/>
                <a:gd name="connsiteY2576" fmla="*/ 9017 h 10000"/>
                <a:gd name="connsiteX2577" fmla="*/ 770 w 10785"/>
                <a:gd name="connsiteY2577" fmla="*/ 9017 h 10000"/>
                <a:gd name="connsiteX2578" fmla="*/ 724 w 10785"/>
                <a:gd name="connsiteY2578" fmla="*/ 9051 h 10000"/>
                <a:gd name="connsiteX2579" fmla="*/ 724 w 10785"/>
                <a:gd name="connsiteY2579" fmla="*/ 9068 h 10000"/>
                <a:gd name="connsiteX2580" fmla="*/ 728 w 10785"/>
                <a:gd name="connsiteY2580" fmla="*/ 9077 h 10000"/>
                <a:gd name="connsiteX2581" fmla="*/ 724 w 10785"/>
                <a:gd name="connsiteY2581" fmla="*/ 9077 h 10000"/>
                <a:gd name="connsiteX2582" fmla="*/ 710 w 10785"/>
                <a:gd name="connsiteY2582" fmla="*/ 9077 h 10000"/>
                <a:gd name="connsiteX2583" fmla="*/ 682 w 10785"/>
                <a:gd name="connsiteY2583" fmla="*/ 9077 h 10000"/>
                <a:gd name="connsiteX2584" fmla="*/ 673 w 10785"/>
                <a:gd name="connsiteY2584" fmla="*/ 9103 h 10000"/>
                <a:gd name="connsiteX2585" fmla="*/ 687 w 10785"/>
                <a:gd name="connsiteY2585" fmla="*/ 9128 h 10000"/>
                <a:gd name="connsiteX2586" fmla="*/ 700 w 10785"/>
                <a:gd name="connsiteY2586" fmla="*/ 9128 h 10000"/>
                <a:gd name="connsiteX2587" fmla="*/ 728 w 10785"/>
                <a:gd name="connsiteY2587" fmla="*/ 9179 h 10000"/>
                <a:gd name="connsiteX2588" fmla="*/ 724 w 10785"/>
                <a:gd name="connsiteY2588" fmla="*/ 9188 h 10000"/>
                <a:gd name="connsiteX2589" fmla="*/ 710 w 10785"/>
                <a:gd name="connsiteY2589" fmla="*/ 9179 h 10000"/>
                <a:gd name="connsiteX2590" fmla="*/ 700 w 10785"/>
                <a:gd name="connsiteY2590" fmla="*/ 9205 h 10000"/>
                <a:gd name="connsiteX2591" fmla="*/ 696 w 10785"/>
                <a:gd name="connsiteY2591" fmla="*/ 9205 h 10000"/>
                <a:gd name="connsiteX2592" fmla="*/ 654 w 10785"/>
                <a:gd name="connsiteY2592" fmla="*/ 9299 h 10000"/>
                <a:gd name="connsiteX2593" fmla="*/ 622 w 10785"/>
                <a:gd name="connsiteY2593" fmla="*/ 9299 h 10000"/>
                <a:gd name="connsiteX2594" fmla="*/ 613 w 10785"/>
                <a:gd name="connsiteY2594" fmla="*/ 9316 h 10000"/>
                <a:gd name="connsiteX2595" fmla="*/ 613 w 10785"/>
                <a:gd name="connsiteY2595" fmla="*/ 9325 h 10000"/>
                <a:gd name="connsiteX2596" fmla="*/ 608 w 10785"/>
                <a:gd name="connsiteY2596" fmla="*/ 9342 h 10000"/>
                <a:gd name="connsiteX2597" fmla="*/ 636 w 10785"/>
                <a:gd name="connsiteY2597" fmla="*/ 9376 h 10000"/>
                <a:gd name="connsiteX2598" fmla="*/ 641 w 10785"/>
                <a:gd name="connsiteY2598" fmla="*/ 9402 h 10000"/>
                <a:gd name="connsiteX2599" fmla="*/ 654 w 10785"/>
                <a:gd name="connsiteY2599" fmla="*/ 9427 h 10000"/>
                <a:gd name="connsiteX2600" fmla="*/ 668 w 10785"/>
                <a:gd name="connsiteY2600" fmla="*/ 9427 h 10000"/>
                <a:gd name="connsiteX2601" fmla="*/ 668 w 10785"/>
                <a:gd name="connsiteY2601" fmla="*/ 9427 h 10000"/>
                <a:gd name="connsiteX2602" fmla="*/ 774 w 10785"/>
                <a:gd name="connsiteY2602" fmla="*/ 9547 h 10000"/>
                <a:gd name="connsiteX2603" fmla="*/ 797 w 10785"/>
                <a:gd name="connsiteY2603" fmla="*/ 9598 h 10000"/>
                <a:gd name="connsiteX2604" fmla="*/ 802 w 10785"/>
                <a:gd name="connsiteY2604" fmla="*/ 9598 h 10000"/>
                <a:gd name="connsiteX2605" fmla="*/ 816 w 10785"/>
                <a:gd name="connsiteY2605" fmla="*/ 9624 h 10000"/>
                <a:gd name="connsiteX2606" fmla="*/ 843 w 10785"/>
                <a:gd name="connsiteY2606" fmla="*/ 9615 h 10000"/>
                <a:gd name="connsiteX2607" fmla="*/ 857 w 10785"/>
                <a:gd name="connsiteY2607" fmla="*/ 9624 h 10000"/>
                <a:gd name="connsiteX2608" fmla="*/ 862 w 10785"/>
                <a:gd name="connsiteY2608" fmla="*/ 9615 h 10000"/>
                <a:gd name="connsiteX2609" fmla="*/ 880 w 10785"/>
                <a:gd name="connsiteY2609" fmla="*/ 9624 h 10000"/>
                <a:gd name="connsiteX2610" fmla="*/ 889 w 10785"/>
                <a:gd name="connsiteY2610" fmla="*/ 9641 h 10000"/>
                <a:gd name="connsiteX2611" fmla="*/ 935 w 10785"/>
                <a:gd name="connsiteY2611" fmla="*/ 9675 h 10000"/>
                <a:gd name="connsiteX2612" fmla="*/ 977 w 10785"/>
                <a:gd name="connsiteY2612" fmla="*/ 9667 h 10000"/>
                <a:gd name="connsiteX2613" fmla="*/ 995 w 10785"/>
                <a:gd name="connsiteY2613" fmla="*/ 9675 h 10000"/>
                <a:gd name="connsiteX2614" fmla="*/ 1014 w 10785"/>
                <a:gd name="connsiteY2614" fmla="*/ 9675 h 10000"/>
                <a:gd name="connsiteX2615" fmla="*/ 1069 w 10785"/>
                <a:gd name="connsiteY2615" fmla="*/ 9752 h 10000"/>
                <a:gd name="connsiteX2616" fmla="*/ 1074 w 10785"/>
                <a:gd name="connsiteY2616" fmla="*/ 9761 h 10000"/>
                <a:gd name="connsiteX2617" fmla="*/ 1083 w 10785"/>
                <a:gd name="connsiteY2617" fmla="*/ 9778 h 10000"/>
                <a:gd name="connsiteX2618" fmla="*/ 1115 w 10785"/>
                <a:gd name="connsiteY2618" fmla="*/ 9752 h 10000"/>
                <a:gd name="connsiteX2619" fmla="*/ 1129 w 10785"/>
                <a:gd name="connsiteY2619" fmla="*/ 9752 h 10000"/>
                <a:gd name="connsiteX2620" fmla="*/ 1138 w 10785"/>
                <a:gd name="connsiteY2620" fmla="*/ 9761 h 10000"/>
                <a:gd name="connsiteX2621" fmla="*/ 1143 w 10785"/>
                <a:gd name="connsiteY2621" fmla="*/ 9752 h 10000"/>
                <a:gd name="connsiteX2622" fmla="*/ 1161 w 10785"/>
                <a:gd name="connsiteY2622" fmla="*/ 9761 h 10000"/>
                <a:gd name="connsiteX2623" fmla="*/ 1171 w 10785"/>
                <a:gd name="connsiteY2623" fmla="*/ 9778 h 10000"/>
                <a:gd name="connsiteX2624" fmla="*/ 1175 w 10785"/>
                <a:gd name="connsiteY2624" fmla="*/ 9778 h 10000"/>
                <a:gd name="connsiteX2625" fmla="*/ 1189 w 10785"/>
                <a:gd name="connsiteY2625" fmla="*/ 9778 h 10000"/>
                <a:gd name="connsiteX2626" fmla="*/ 1198 w 10785"/>
                <a:gd name="connsiteY2626" fmla="*/ 9786 h 10000"/>
                <a:gd name="connsiteX2627" fmla="*/ 1203 w 10785"/>
                <a:gd name="connsiteY2627" fmla="*/ 9803 h 10000"/>
                <a:gd name="connsiteX2628" fmla="*/ 1198 w 10785"/>
                <a:gd name="connsiteY2628" fmla="*/ 9838 h 10000"/>
                <a:gd name="connsiteX2629" fmla="*/ 1212 w 10785"/>
                <a:gd name="connsiteY2629" fmla="*/ 9863 h 10000"/>
                <a:gd name="connsiteX2630" fmla="*/ 1230 w 10785"/>
                <a:gd name="connsiteY2630" fmla="*/ 9872 h 10000"/>
                <a:gd name="connsiteX2631" fmla="*/ 1249 w 10785"/>
                <a:gd name="connsiteY2631" fmla="*/ 9897 h 10000"/>
                <a:gd name="connsiteX2632" fmla="*/ 1263 w 10785"/>
                <a:gd name="connsiteY2632" fmla="*/ 9897 h 10000"/>
                <a:gd name="connsiteX2633" fmla="*/ 1276 w 10785"/>
                <a:gd name="connsiteY2633" fmla="*/ 9923 h 10000"/>
                <a:gd name="connsiteX2634" fmla="*/ 1281 w 10785"/>
                <a:gd name="connsiteY2634" fmla="*/ 9949 h 10000"/>
                <a:gd name="connsiteX2635" fmla="*/ 1290 w 10785"/>
                <a:gd name="connsiteY2635" fmla="*/ 9949 h 10000"/>
                <a:gd name="connsiteX2636" fmla="*/ 1295 w 10785"/>
                <a:gd name="connsiteY2636" fmla="*/ 10000 h 10000"/>
                <a:gd name="connsiteX2637" fmla="*/ 1332 w 10785"/>
                <a:gd name="connsiteY2637" fmla="*/ 10000 h 10000"/>
                <a:gd name="connsiteX2638" fmla="*/ 1336 w 10785"/>
                <a:gd name="connsiteY2638" fmla="*/ 10000 h 10000"/>
                <a:gd name="connsiteX2639" fmla="*/ 1346 w 10785"/>
                <a:gd name="connsiteY2639" fmla="*/ 9983 h 10000"/>
                <a:gd name="connsiteX2640" fmla="*/ 1350 w 10785"/>
                <a:gd name="connsiteY2640" fmla="*/ 9949 h 10000"/>
                <a:gd name="connsiteX2641" fmla="*/ 1369 w 10785"/>
                <a:gd name="connsiteY2641" fmla="*/ 9940 h 10000"/>
                <a:gd name="connsiteX2642" fmla="*/ 1378 w 10785"/>
                <a:gd name="connsiteY2642" fmla="*/ 9897 h 10000"/>
                <a:gd name="connsiteX2643" fmla="*/ 1369 w 10785"/>
                <a:gd name="connsiteY2643" fmla="*/ 9889 h 10000"/>
                <a:gd name="connsiteX2644" fmla="*/ 1318 w 10785"/>
                <a:gd name="connsiteY2644" fmla="*/ 9701 h 10000"/>
                <a:gd name="connsiteX2645" fmla="*/ 1318 w 10785"/>
                <a:gd name="connsiteY2645" fmla="*/ 9650 h 10000"/>
                <a:gd name="connsiteX2646" fmla="*/ 1323 w 10785"/>
                <a:gd name="connsiteY2646" fmla="*/ 9590 h 10000"/>
                <a:gd name="connsiteX2647" fmla="*/ 1323 w 10785"/>
                <a:gd name="connsiteY2647" fmla="*/ 9564 h 10000"/>
                <a:gd name="connsiteX2648" fmla="*/ 1309 w 10785"/>
                <a:gd name="connsiteY2648" fmla="*/ 9598 h 10000"/>
                <a:gd name="connsiteX2649" fmla="*/ 1309 w 10785"/>
                <a:gd name="connsiteY2649" fmla="*/ 9590 h 10000"/>
                <a:gd name="connsiteX2650" fmla="*/ 1304 w 10785"/>
                <a:gd name="connsiteY2650" fmla="*/ 9547 h 10000"/>
                <a:gd name="connsiteX2651" fmla="*/ 1276 w 10785"/>
                <a:gd name="connsiteY2651" fmla="*/ 9479 h 10000"/>
                <a:gd name="connsiteX2652" fmla="*/ 1263 w 10785"/>
                <a:gd name="connsiteY2652" fmla="*/ 9479 h 10000"/>
                <a:gd name="connsiteX2653" fmla="*/ 1263 w 10785"/>
                <a:gd name="connsiteY2653" fmla="*/ 9453 h 10000"/>
                <a:gd name="connsiteX2654" fmla="*/ 1272 w 10785"/>
                <a:gd name="connsiteY2654" fmla="*/ 9410 h 10000"/>
                <a:gd name="connsiteX2655" fmla="*/ 1272 w 10785"/>
                <a:gd name="connsiteY2655" fmla="*/ 9393 h 10000"/>
                <a:gd name="connsiteX2656" fmla="*/ 1281 w 10785"/>
                <a:gd name="connsiteY2656" fmla="*/ 9368 h 10000"/>
                <a:gd name="connsiteX2657" fmla="*/ 1281 w 10785"/>
                <a:gd name="connsiteY2657" fmla="*/ 9368 h 10000"/>
                <a:gd name="connsiteX2658" fmla="*/ 1290 w 10785"/>
                <a:gd name="connsiteY2658" fmla="*/ 9368 h 10000"/>
                <a:gd name="connsiteX2659" fmla="*/ 1290 w 10785"/>
                <a:gd name="connsiteY2659" fmla="*/ 9342 h 10000"/>
                <a:gd name="connsiteX2660" fmla="*/ 1304 w 10785"/>
                <a:gd name="connsiteY2660" fmla="*/ 9325 h 10000"/>
                <a:gd name="connsiteX2661" fmla="*/ 1309 w 10785"/>
                <a:gd name="connsiteY2661" fmla="*/ 9239 h 10000"/>
                <a:gd name="connsiteX2662" fmla="*/ 1318 w 10785"/>
                <a:gd name="connsiteY2662" fmla="*/ 9256 h 10000"/>
                <a:gd name="connsiteX2663" fmla="*/ 1323 w 10785"/>
                <a:gd name="connsiteY2663" fmla="*/ 9179 h 10000"/>
                <a:gd name="connsiteX2664" fmla="*/ 1309 w 10785"/>
                <a:gd name="connsiteY2664" fmla="*/ 9145 h 10000"/>
                <a:gd name="connsiteX2665" fmla="*/ 1336 w 10785"/>
                <a:gd name="connsiteY2665" fmla="*/ 9154 h 10000"/>
                <a:gd name="connsiteX2666" fmla="*/ 1336 w 10785"/>
                <a:gd name="connsiteY2666" fmla="*/ 9162 h 10000"/>
                <a:gd name="connsiteX2667" fmla="*/ 1350 w 10785"/>
                <a:gd name="connsiteY2667" fmla="*/ 9231 h 10000"/>
                <a:gd name="connsiteX2668" fmla="*/ 1355 w 10785"/>
                <a:gd name="connsiteY2668" fmla="*/ 9231 h 10000"/>
                <a:gd name="connsiteX2669" fmla="*/ 1364 w 10785"/>
                <a:gd name="connsiteY2669" fmla="*/ 9214 h 10000"/>
                <a:gd name="connsiteX2670" fmla="*/ 1369 w 10785"/>
                <a:gd name="connsiteY2670" fmla="*/ 9214 h 10000"/>
                <a:gd name="connsiteX2671" fmla="*/ 1382 w 10785"/>
                <a:gd name="connsiteY2671" fmla="*/ 9154 h 10000"/>
                <a:gd name="connsiteX2672" fmla="*/ 1396 w 10785"/>
                <a:gd name="connsiteY2672" fmla="*/ 9154 h 10000"/>
                <a:gd name="connsiteX2673" fmla="*/ 1382 w 10785"/>
                <a:gd name="connsiteY2673" fmla="*/ 9145 h 10000"/>
                <a:gd name="connsiteX2674" fmla="*/ 1382 w 10785"/>
                <a:gd name="connsiteY2674" fmla="*/ 9128 h 10000"/>
                <a:gd name="connsiteX2675" fmla="*/ 1369 w 10785"/>
                <a:gd name="connsiteY2675" fmla="*/ 9128 h 10000"/>
                <a:gd name="connsiteX2676" fmla="*/ 1364 w 10785"/>
                <a:gd name="connsiteY2676" fmla="*/ 9128 h 10000"/>
                <a:gd name="connsiteX2677" fmla="*/ 1355 w 10785"/>
                <a:gd name="connsiteY2677" fmla="*/ 9120 h 10000"/>
                <a:gd name="connsiteX2678" fmla="*/ 1350 w 10785"/>
                <a:gd name="connsiteY2678" fmla="*/ 9103 h 10000"/>
                <a:gd name="connsiteX2679" fmla="*/ 1355 w 10785"/>
                <a:gd name="connsiteY2679" fmla="*/ 9094 h 10000"/>
                <a:gd name="connsiteX2680" fmla="*/ 1355 w 10785"/>
                <a:gd name="connsiteY2680" fmla="*/ 9068 h 10000"/>
                <a:gd name="connsiteX2681" fmla="*/ 1369 w 10785"/>
                <a:gd name="connsiteY2681" fmla="*/ 9068 h 10000"/>
                <a:gd name="connsiteX2682" fmla="*/ 1378 w 10785"/>
                <a:gd name="connsiteY2682" fmla="*/ 9077 h 10000"/>
                <a:gd name="connsiteX2683" fmla="*/ 1396 w 10785"/>
                <a:gd name="connsiteY2683" fmla="*/ 9068 h 10000"/>
                <a:gd name="connsiteX2684" fmla="*/ 1382 w 10785"/>
                <a:gd name="connsiteY2684" fmla="*/ 8940 h 10000"/>
                <a:gd name="connsiteX2685" fmla="*/ 1378 w 10785"/>
                <a:gd name="connsiteY2685" fmla="*/ 8940 h 10000"/>
                <a:gd name="connsiteX2686" fmla="*/ 1364 w 10785"/>
                <a:gd name="connsiteY2686" fmla="*/ 8889 h 10000"/>
                <a:gd name="connsiteX2687" fmla="*/ 1355 w 10785"/>
                <a:gd name="connsiteY2687" fmla="*/ 8880 h 10000"/>
                <a:gd name="connsiteX2688" fmla="*/ 1323 w 10785"/>
                <a:gd name="connsiteY2688" fmla="*/ 8880 h 10000"/>
                <a:gd name="connsiteX2689" fmla="*/ 1309 w 10785"/>
                <a:gd name="connsiteY2689" fmla="*/ 8880 h 10000"/>
                <a:gd name="connsiteX2690" fmla="*/ 1309 w 10785"/>
                <a:gd name="connsiteY2690" fmla="*/ 8889 h 10000"/>
                <a:gd name="connsiteX2691" fmla="*/ 1295 w 10785"/>
                <a:gd name="connsiteY2691" fmla="*/ 8872 h 10000"/>
                <a:gd name="connsiteX2692" fmla="*/ 1290 w 10785"/>
                <a:gd name="connsiteY2692" fmla="*/ 8855 h 10000"/>
                <a:gd name="connsiteX2693" fmla="*/ 1290 w 10785"/>
                <a:gd name="connsiteY2693" fmla="*/ 8829 h 10000"/>
                <a:gd name="connsiteX2694" fmla="*/ 1290 w 10785"/>
                <a:gd name="connsiteY2694" fmla="*/ 8821 h 10000"/>
                <a:gd name="connsiteX2695" fmla="*/ 1290 w 10785"/>
                <a:gd name="connsiteY2695" fmla="*/ 8803 h 10000"/>
                <a:gd name="connsiteX2696" fmla="*/ 1281 w 10785"/>
                <a:gd name="connsiteY2696" fmla="*/ 8795 h 10000"/>
                <a:gd name="connsiteX2697" fmla="*/ 1249 w 10785"/>
                <a:gd name="connsiteY2697" fmla="*/ 8769 h 10000"/>
                <a:gd name="connsiteX2698" fmla="*/ 1263 w 10785"/>
                <a:gd name="connsiteY2698" fmla="*/ 8667 h 10000"/>
                <a:gd name="connsiteX2699" fmla="*/ 1281 w 10785"/>
                <a:gd name="connsiteY2699" fmla="*/ 8658 h 10000"/>
                <a:gd name="connsiteX2700" fmla="*/ 1290 w 10785"/>
                <a:gd name="connsiteY2700" fmla="*/ 8632 h 10000"/>
                <a:gd name="connsiteX2701" fmla="*/ 1281 w 10785"/>
                <a:gd name="connsiteY2701" fmla="*/ 8615 h 10000"/>
                <a:gd name="connsiteX2702" fmla="*/ 1272 w 10785"/>
                <a:gd name="connsiteY2702" fmla="*/ 8598 h 10000"/>
                <a:gd name="connsiteX2703" fmla="*/ 1281 w 10785"/>
                <a:gd name="connsiteY2703" fmla="*/ 8496 h 10000"/>
                <a:gd name="connsiteX2704" fmla="*/ 1295 w 10785"/>
                <a:gd name="connsiteY2704" fmla="*/ 8470 h 10000"/>
                <a:gd name="connsiteX2705" fmla="*/ 1304 w 10785"/>
                <a:gd name="connsiteY2705" fmla="*/ 8462 h 10000"/>
                <a:gd name="connsiteX2706" fmla="*/ 1304 w 10785"/>
                <a:gd name="connsiteY2706" fmla="*/ 8444 h 10000"/>
                <a:gd name="connsiteX2707" fmla="*/ 1304 w 10785"/>
                <a:gd name="connsiteY2707" fmla="*/ 8419 h 10000"/>
                <a:gd name="connsiteX2708" fmla="*/ 1304 w 10785"/>
                <a:gd name="connsiteY2708" fmla="*/ 8410 h 10000"/>
                <a:gd name="connsiteX2709" fmla="*/ 1309 w 10785"/>
                <a:gd name="connsiteY2709" fmla="*/ 8393 h 10000"/>
                <a:gd name="connsiteX2710" fmla="*/ 1318 w 10785"/>
                <a:gd name="connsiteY2710" fmla="*/ 8385 h 10000"/>
                <a:gd name="connsiteX2711" fmla="*/ 1323 w 10785"/>
                <a:gd name="connsiteY2711" fmla="*/ 8385 h 10000"/>
                <a:gd name="connsiteX2712" fmla="*/ 1332 w 10785"/>
                <a:gd name="connsiteY2712" fmla="*/ 8410 h 10000"/>
                <a:gd name="connsiteX2713" fmla="*/ 1346 w 10785"/>
                <a:gd name="connsiteY2713" fmla="*/ 8419 h 10000"/>
                <a:gd name="connsiteX2714" fmla="*/ 1364 w 10785"/>
                <a:gd name="connsiteY2714" fmla="*/ 8504 h 10000"/>
                <a:gd name="connsiteX2715" fmla="*/ 1369 w 10785"/>
                <a:gd name="connsiteY2715" fmla="*/ 8521 h 10000"/>
                <a:gd name="connsiteX2716" fmla="*/ 1406 w 10785"/>
                <a:gd name="connsiteY2716" fmla="*/ 8470 h 10000"/>
                <a:gd name="connsiteX2717" fmla="*/ 1382 w 10785"/>
                <a:gd name="connsiteY2717" fmla="*/ 8359 h 10000"/>
                <a:gd name="connsiteX2718" fmla="*/ 1392 w 10785"/>
                <a:gd name="connsiteY2718" fmla="*/ 8359 h 10000"/>
                <a:gd name="connsiteX2719" fmla="*/ 1438 w 10785"/>
                <a:gd name="connsiteY2719" fmla="*/ 8308 h 10000"/>
                <a:gd name="connsiteX2720" fmla="*/ 1442 w 10785"/>
                <a:gd name="connsiteY2720" fmla="*/ 8299 h 10000"/>
                <a:gd name="connsiteX2721" fmla="*/ 1442 w 10785"/>
                <a:gd name="connsiteY2721" fmla="*/ 8256 h 10000"/>
                <a:gd name="connsiteX2722" fmla="*/ 1452 w 10785"/>
                <a:gd name="connsiteY2722" fmla="*/ 8256 h 10000"/>
                <a:gd name="connsiteX2723" fmla="*/ 1456 w 10785"/>
                <a:gd name="connsiteY2723" fmla="*/ 8256 h 10000"/>
                <a:gd name="connsiteX2724" fmla="*/ 1470 w 10785"/>
                <a:gd name="connsiteY2724" fmla="*/ 8248 h 10000"/>
                <a:gd name="connsiteX2725" fmla="*/ 1479 w 10785"/>
                <a:gd name="connsiteY2725" fmla="*/ 8231 h 10000"/>
                <a:gd name="connsiteX2726" fmla="*/ 1493 w 10785"/>
                <a:gd name="connsiteY2726" fmla="*/ 8222 h 10000"/>
                <a:gd name="connsiteX2727" fmla="*/ 1498 w 10785"/>
                <a:gd name="connsiteY2727" fmla="*/ 8214 h 10000"/>
                <a:gd name="connsiteX2728" fmla="*/ 1502 w 10785"/>
                <a:gd name="connsiteY2728" fmla="*/ 8197 h 10000"/>
                <a:gd name="connsiteX2729" fmla="*/ 1512 w 10785"/>
                <a:gd name="connsiteY2729" fmla="*/ 8188 h 10000"/>
                <a:gd name="connsiteX2730" fmla="*/ 1516 w 10785"/>
                <a:gd name="connsiteY2730" fmla="*/ 8171 h 10000"/>
                <a:gd name="connsiteX2731" fmla="*/ 1525 w 10785"/>
                <a:gd name="connsiteY2731" fmla="*/ 8162 h 10000"/>
                <a:gd name="connsiteX2732" fmla="*/ 1539 w 10785"/>
                <a:gd name="connsiteY2732" fmla="*/ 8145 h 10000"/>
                <a:gd name="connsiteX2733" fmla="*/ 1558 w 10785"/>
                <a:gd name="connsiteY2733" fmla="*/ 8145 h 10000"/>
                <a:gd name="connsiteX2734" fmla="*/ 1562 w 10785"/>
                <a:gd name="connsiteY2734" fmla="*/ 8188 h 10000"/>
                <a:gd name="connsiteX2735" fmla="*/ 1585 w 10785"/>
                <a:gd name="connsiteY2735" fmla="*/ 8171 h 10000"/>
                <a:gd name="connsiteX2736" fmla="*/ 1590 w 10785"/>
                <a:gd name="connsiteY2736" fmla="*/ 8188 h 10000"/>
                <a:gd name="connsiteX2737" fmla="*/ 1599 w 10785"/>
                <a:gd name="connsiteY2737" fmla="*/ 8171 h 10000"/>
                <a:gd name="connsiteX2738" fmla="*/ 1599 w 10785"/>
                <a:gd name="connsiteY2738" fmla="*/ 8162 h 10000"/>
                <a:gd name="connsiteX2739" fmla="*/ 1604 w 10785"/>
                <a:gd name="connsiteY2739" fmla="*/ 8137 h 10000"/>
                <a:gd name="connsiteX2740" fmla="*/ 1618 w 10785"/>
                <a:gd name="connsiteY2740" fmla="*/ 8145 h 10000"/>
                <a:gd name="connsiteX2741" fmla="*/ 1627 w 10785"/>
                <a:gd name="connsiteY2741" fmla="*/ 8137 h 10000"/>
                <a:gd name="connsiteX2742" fmla="*/ 1631 w 10785"/>
                <a:gd name="connsiteY2742" fmla="*/ 8137 h 10000"/>
                <a:gd name="connsiteX2743" fmla="*/ 1636 w 10785"/>
                <a:gd name="connsiteY2743" fmla="*/ 8171 h 10000"/>
                <a:gd name="connsiteX2744" fmla="*/ 1645 w 10785"/>
                <a:gd name="connsiteY2744" fmla="*/ 8188 h 10000"/>
                <a:gd name="connsiteX2745" fmla="*/ 1664 w 10785"/>
                <a:gd name="connsiteY2745" fmla="*/ 8171 h 10000"/>
                <a:gd name="connsiteX2746" fmla="*/ 1673 w 10785"/>
                <a:gd name="connsiteY2746" fmla="*/ 8188 h 10000"/>
                <a:gd name="connsiteX2747" fmla="*/ 1691 w 10785"/>
                <a:gd name="connsiteY2747" fmla="*/ 8171 h 10000"/>
                <a:gd name="connsiteX2748" fmla="*/ 1705 w 10785"/>
                <a:gd name="connsiteY2748" fmla="*/ 8171 h 10000"/>
                <a:gd name="connsiteX2749" fmla="*/ 1719 w 10785"/>
                <a:gd name="connsiteY2749" fmla="*/ 8197 h 10000"/>
                <a:gd name="connsiteX2750" fmla="*/ 1724 w 10785"/>
                <a:gd name="connsiteY2750" fmla="*/ 8231 h 10000"/>
                <a:gd name="connsiteX2751" fmla="*/ 1751 w 10785"/>
                <a:gd name="connsiteY2751" fmla="*/ 8256 h 10000"/>
                <a:gd name="connsiteX2752" fmla="*/ 1751 w 10785"/>
                <a:gd name="connsiteY2752" fmla="*/ 8274 h 10000"/>
                <a:gd name="connsiteX2753" fmla="*/ 1760 w 10785"/>
                <a:gd name="connsiteY2753" fmla="*/ 8282 h 10000"/>
                <a:gd name="connsiteX2754" fmla="*/ 1770 w 10785"/>
                <a:gd name="connsiteY2754" fmla="*/ 8325 h 10000"/>
                <a:gd name="connsiteX2755" fmla="*/ 1770 w 10785"/>
                <a:gd name="connsiteY2755" fmla="*/ 8350 h 10000"/>
                <a:gd name="connsiteX2756" fmla="*/ 1779 w 10785"/>
                <a:gd name="connsiteY2756" fmla="*/ 8368 h 10000"/>
                <a:gd name="connsiteX2757" fmla="*/ 1783 w 10785"/>
                <a:gd name="connsiteY2757" fmla="*/ 8359 h 10000"/>
                <a:gd name="connsiteX2758" fmla="*/ 1783 w 10785"/>
                <a:gd name="connsiteY2758" fmla="*/ 8308 h 10000"/>
                <a:gd name="connsiteX2759" fmla="*/ 1779 w 10785"/>
                <a:gd name="connsiteY2759" fmla="*/ 8299 h 10000"/>
                <a:gd name="connsiteX2760" fmla="*/ 1783 w 10785"/>
                <a:gd name="connsiteY2760" fmla="*/ 8282 h 10000"/>
                <a:gd name="connsiteX2761" fmla="*/ 1797 w 10785"/>
                <a:gd name="connsiteY2761" fmla="*/ 8274 h 10000"/>
                <a:gd name="connsiteX2762" fmla="*/ 1797 w 10785"/>
                <a:gd name="connsiteY2762" fmla="*/ 8299 h 10000"/>
                <a:gd name="connsiteX2763" fmla="*/ 1806 w 10785"/>
                <a:gd name="connsiteY2763" fmla="*/ 8308 h 10000"/>
                <a:gd name="connsiteX2764" fmla="*/ 1811 w 10785"/>
                <a:gd name="connsiteY2764" fmla="*/ 8325 h 10000"/>
                <a:gd name="connsiteX2765" fmla="*/ 1820 w 10785"/>
                <a:gd name="connsiteY2765" fmla="*/ 8333 h 10000"/>
                <a:gd name="connsiteX2766" fmla="*/ 1853 w 10785"/>
                <a:gd name="connsiteY2766" fmla="*/ 8359 h 10000"/>
                <a:gd name="connsiteX2767" fmla="*/ 1866 w 10785"/>
                <a:gd name="connsiteY2767" fmla="*/ 8359 h 10000"/>
                <a:gd name="connsiteX2768" fmla="*/ 1885 w 10785"/>
                <a:gd name="connsiteY2768" fmla="*/ 8325 h 10000"/>
                <a:gd name="connsiteX2769" fmla="*/ 1885 w 10785"/>
                <a:gd name="connsiteY2769" fmla="*/ 8308 h 10000"/>
                <a:gd name="connsiteX2770" fmla="*/ 1894 w 10785"/>
                <a:gd name="connsiteY2770" fmla="*/ 8299 h 10000"/>
                <a:gd name="connsiteX2771" fmla="*/ 1899 w 10785"/>
                <a:gd name="connsiteY2771" fmla="*/ 8282 h 10000"/>
                <a:gd name="connsiteX2772" fmla="*/ 1912 w 10785"/>
                <a:gd name="connsiteY2772" fmla="*/ 8282 h 10000"/>
                <a:gd name="connsiteX2773" fmla="*/ 1917 w 10785"/>
                <a:gd name="connsiteY2773" fmla="*/ 8299 h 10000"/>
                <a:gd name="connsiteX2774" fmla="*/ 1917 w 10785"/>
                <a:gd name="connsiteY2774" fmla="*/ 8274 h 10000"/>
                <a:gd name="connsiteX2775" fmla="*/ 1940 w 10785"/>
                <a:gd name="connsiteY2775" fmla="*/ 8282 h 10000"/>
                <a:gd name="connsiteX2776" fmla="*/ 1945 w 10785"/>
                <a:gd name="connsiteY2776" fmla="*/ 8274 h 10000"/>
                <a:gd name="connsiteX2777" fmla="*/ 1972 w 10785"/>
                <a:gd name="connsiteY2777" fmla="*/ 8308 h 10000"/>
                <a:gd name="connsiteX2778" fmla="*/ 1986 w 10785"/>
                <a:gd name="connsiteY2778" fmla="*/ 8282 h 10000"/>
                <a:gd name="connsiteX2779" fmla="*/ 1991 w 10785"/>
                <a:gd name="connsiteY2779" fmla="*/ 8274 h 10000"/>
                <a:gd name="connsiteX2780" fmla="*/ 2014 w 10785"/>
                <a:gd name="connsiteY2780" fmla="*/ 8274 h 10000"/>
                <a:gd name="connsiteX2781" fmla="*/ 2018 w 10785"/>
                <a:gd name="connsiteY2781" fmla="*/ 8256 h 10000"/>
                <a:gd name="connsiteX2782" fmla="*/ 2041 w 10785"/>
                <a:gd name="connsiteY2782" fmla="*/ 8274 h 10000"/>
                <a:gd name="connsiteX2783" fmla="*/ 2046 w 10785"/>
                <a:gd name="connsiteY2783" fmla="*/ 8282 h 10000"/>
                <a:gd name="connsiteX2784" fmla="*/ 2046 w 10785"/>
                <a:gd name="connsiteY2784" fmla="*/ 8325 h 10000"/>
                <a:gd name="connsiteX2785" fmla="*/ 2060 w 10785"/>
                <a:gd name="connsiteY2785" fmla="*/ 8350 h 10000"/>
                <a:gd name="connsiteX2786" fmla="*/ 2078 w 10785"/>
                <a:gd name="connsiteY2786" fmla="*/ 8350 h 10000"/>
                <a:gd name="connsiteX2787" fmla="*/ 2092 w 10785"/>
                <a:gd name="connsiteY2787" fmla="*/ 8350 h 10000"/>
                <a:gd name="connsiteX2788" fmla="*/ 2092 w 10785"/>
                <a:gd name="connsiteY2788" fmla="*/ 8350 h 10000"/>
                <a:gd name="connsiteX2789" fmla="*/ 2101 w 10785"/>
                <a:gd name="connsiteY2789" fmla="*/ 8368 h 10000"/>
                <a:gd name="connsiteX2790" fmla="*/ 2120 w 10785"/>
                <a:gd name="connsiteY2790" fmla="*/ 8368 h 10000"/>
                <a:gd name="connsiteX2791" fmla="*/ 2124 w 10785"/>
                <a:gd name="connsiteY2791" fmla="*/ 8359 h 10000"/>
                <a:gd name="connsiteX2792" fmla="*/ 2138 w 10785"/>
                <a:gd name="connsiteY2792" fmla="*/ 8325 h 10000"/>
                <a:gd name="connsiteX2793" fmla="*/ 2147 w 10785"/>
                <a:gd name="connsiteY2793" fmla="*/ 8325 h 10000"/>
                <a:gd name="connsiteX2794" fmla="*/ 2161 w 10785"/>
                <a:gd name="connsiteY2794" fmla="*/ 8350 h 10000"/>
                <a:gd name="connsiteX2795" fmla="*/ 2198 w 10785"/>
                <a:gd name="connsiteY2795" fmla="*/ 8350 h 10000"/>
                <a:gd name="connsiteX2796" fmla="*/ 2207 w 10785"/>
                <a:gd name="connsiteY2796" fmla="*/ 8333 h 10000"/>
                <a:gd name="connsiteX2797" fmla="*/ 2226 w 10785"/>
                <a:gd name="connsiteY2797" fmla="*/ 8325 h 10000"/>
                <a:gd name="connsiteX2798" fmla="*/ 2249 w 10785"/>
                <a:gd name="connsiteY2798" fmla="*/ 8222 h 10000"/>
                <a:gd name="connsiteX2799" fmla="*/ 2235 w 10785"/>
                <a:gd name="connsiteY2799" fmla="*/ 8197 h 10000"/>
                <a:gd name="connsiteX2800" fmla="*/ 2198 w 10785"/>
                <a:gd name="connsiteY2800" fmla="*/ 8197 h 10000"/>
                <a:gd name="connsiteX2801" fmla="*/ 2189 w 10785"/>
                <a:gd name="connsiteY2801" fmla="*/ 8171 h 10000"/>
                <a:gd name="connsiteX2802" fmla="*/ 2161 w 10785"/>
                <a:gd name="connsiteY2802" fmla="*/ 8145 h 10000"/>
                <a:gd name="connsiteX2803" fmla="*/ 2161 w 10785"/>
                <a:gd name="connsiteY2803" fmla="*/ 8137 h 10000"/>
                <a:gd name="connsiteX2804" fmla="*/ 2152 w 10785"/>
                <a:gd name="connsiteY2804" fmla="*/ 8120 h 10000"/>
                <a:gd name="connsiteX2805" fmla="*/ 2138 w 10785"/>
                <a:gd name="connsiteY2805" fmla="*/ 8111 h 10000"/>
                <a:gd name="connsiteX2806" fmla="*/ 2138 w 10785"/>
                <a:gd name="connsiteY2806" fmla="*/ 8094 h 10000"/>
                <a:gd name="connsiteX2807" fmla="*/ 2147 w 10785"/>
                <a:gd name="connsiteY2807" fmla="*/ 8085 h 10000"/>
                <a:gd name="connsiteX2808" fmla="*/ 2161 w 10785"/>
                <a:gd name="connsiteY2808" fmla="*/ 8060 h 10000"/>
                <a:gd name="connsiteX2809" fmla="*/ 2198 w 10785"/>
                <a:gd name="connsiteY2809" fmla="*/ 8034 h 10000"/>
                <a:gd name="connsiteX2810" fmla="*/ 2198 w 10785"/>
                <a:gd name="connsiteY2810" fmla="*/ 8026 h 10000"/>
                <a:gd name="connsiteX2811" fmla="*/ 2198 w 10785"/>
                <a:gd name="connsiteY2811" fmla="*/ 8000 h 10000"/>
                <a:gd name="connsiteX2812" fmla="*/ 2180 w 10785"/>
                <a:gd name="connsiteY2812" fmla="*/ 7940 h 10000"/>
                <a:gd name="connsiteX2813" fmla="*/ 2189 w 10785"/>
                <a:gd name="connsiteY2813" fmla="*/ 7940 h 10000"/>
                <a:gd name="connsiteX2814" fmla="*/ 2198 w 10785"/>
                <a:gd name="connsiteY2814" fmla="*/ 7923 h 10000"/>
                <a:gd name="connsiteX2815" fmla="*/ 2198 w 10785"/>
                <a:gd name="connsiteY2815" fmla="*/ 7897 h 10000"/>
                <a:gd name="connsiteX2816" fmla="*/ 2207 w 10785"/>
                <a:gd name="connsiteY2816" fmla="*/ 7889 h 10000"/>
                <a:gd name="connsiteX2817" fmla="*/ 2221 w 10785"/>
                <a:gd name="connsiteY2817" fmla="*/ 7889 h 10000"/>
                <a:gd name="connsiteX2818" fmla="*/ 2226 w 10785"/>
                <a:gd name="connsiteY2818" fmla="*/ 7897 h 10000"/>
                <a:gd name="connsiteX2819" fmla="*/ 2235 w 10785"/>
                <a:gd name="connsiteY2819" fmla="*/ 7889 h 10000"/>
                <a:gd name="connsiteX2820" fmla="*/ 2249 w 10785"/>
                <a:gd name="connsiteY2820" fmla="*/ 7897 h 10000"/>
                <a:gd name="connsiteX2821" fmla="*/ 2267 w 10785"/>
                <a:gd name="connsiteY2821" fmla="*/ 7897 h 10000"/>
                <a:gd name="connsiteX2822" fmla="*/ 2272 w 10785"/>
                <a:gd name="connsiteY2822" fmla="*/ 7889 h 10000"/>
                <a:gd name="connsiteX2823" fmla="*/ 2281 w 10785"/>
                <a:gd name="connsiteY2823" fmla="*/ 7872 h 10000"/>
                <a:gd name="connsiteX2824" fmla="*/ 2272 w 10785"/>
                <a:gd name="connsiteY2824" fmla="*/ 7846 h 10000"/>
                <a:gd name="connsiteX2825" fmla="*/ 2253 w 10785"/>
                <a:gd name="connsiteY2825" fmla="*/ 7838 h 10000"/>
                <a:gd name="connsiteX2826" fmla="*/ 2221 w 10785"/>
                <a:gd name="connsiteY2826" fmla="*/ 7821 h 10000"/>
                <a:gd name="connsiteX2827" fmla="*/ 2212 w 10785"/>
                <a:gd name="connsiteY2827" fmla="*/ 7812 h 10000"/>
                <a:gd name="connsiteX2828" fmla="*/ 2212 w 10785"/>
                <a:gd name="connsiteY2828" fmla="*/ 7803 h 10000"/>
                <a:gd name="connsiteX2829" fmla="*/ 2221 w 10785"/>
                <a:gd name="connsiteY2829" fmla="*/ 7803 h 10000"/>
                <a:gd name="connsiteX2830" fmla="*/ 2235 w 10785"/>
                <a:gd name="connsiteY2830" fmla="*/ 7786 h 10000"/>
                <a:gd name="connsiteX2831" fmla="*/ 2240 w 10785"/>
                <a:gd name="connsiteY2831" fmla="*/ 7778 h 10000"/>
                <a:gd name="connsiteX2832" fmla="*/ 2226 w 10785"/>
                <a:gd name="connsiteY2832" fmla="*/ 7761 h 10000"/>
                <a:gd name="connsiteX2833" fmla="*/ 2221 w 10785"/>
                <a:gd name="connsiteY2833" fmla="*/ 7778 h 10000"/>
                <a:gd name="connsiteX2834" fmla="*/ 2198 w 10785"/>
                <a:gd name="connsiteY2834" fmla="*/ 7778 h 10000"/>
                <a:gd name="connsiteX2835" fmla="*/ 2198 w 10785"/>
                <a:gd name="connsiteY2835" fmla="*/ 7752 h 10000"/>
                <a:gd name="connsiteX2836" fmla="*/ 2207 w 10785"/>
                <a:gd name="connsiteY2836" fmla="*/ 7735 h 10000"/>
                <a:gd name="connsiteX2837" fmla="*/ 2212 w 10785"/>
                <a:gd name="connsiteY2837" fmla="*/ 7726 h 10000"/>
                <a:gd name="connsiteX2838" fmla="*/ 2198 w 10785"/>
                <a:gd name="connsiteY2838" fmla="*/ 7692 h 10000"/>
                <a:gd name="connsiteX2839" fmla="*/ 2221 w 10785"/>
                <a:gd name="connsiteY2839" fmla="*/ 7692 h 10000"/>
                <a:gd name="connsiteX2840" fmla="*/ 2221 w 10785"/>
                <a:gd name="connsiteY2840" fmla="*/ 7675 h 10000"/>
                <a:gd name="connsiteX2841" fmla="*/ 2235 w 10785"/>
                <a:gd name="connsiteY2841" fmla="*/ 7675 h 10000"/>
                <a:gd name="connsiteX2842" fmla="*/ 2240 w 10785"/>
                <a:gd name="connsiteY2842" fmla="*/ 7692 h 10000"/>
                <a:gd name="connsiteX2843" fmla="*/ 2249 w 10785"/>
                <a:gd name="connsiteY2843" fmla="*/ 7692 h 10000"/>
                <a:gd name="connsiteX2844" fmla="*/ 2258 w 10785"/>
                <a:gd name="connsiteY2844" fmla="*/ 7692 h 10000"/>
                <a:gd name="connsiteX2845" fmla="*/ 2267 w 10785"/>
                <a:gd name="connsiteY2845" fmla="*/ 7692 h 10000"/>
                <a:gd name="connsiteX2846" fmla="*/ 2295 w 10785"/>
                <a:gd name="connsiteY2846" fmla="*/ 7692 h 10000"/>
                <a:gd name="connsiteX2847" fmla="*/ 2300 w 10785"/>
                <a:gd name="connsiteY2847" fmla="*/ 7701 h 10000"/>
                <a:gd name="connsiteX2848" fmla="*/ 2313 w 10785"/>
                <a:gd name="connsiteY2848" fmla="*/ 7675 h 10000"/>
                <a:gd name="connsiteX2849" fmla="*/ 2323 w 10785"/>
                <a:gd name="connsiteY2849" fmla="*/ 7675 h 10000"/>
                <a:gd name="connsiteX2850" fmla="*/ 2341 w 10785"/>
                <a:gd name="connsiteY2850" fmla="*/ 7675 h 10000"/>
                <a:gd name="connsiteX2851" fmla="*/ 2346 w 10785"/>
                <a:gd name="connsiteY2851" fmla="*/ 7667 h 10000"/>
                <a:gd name="connsiteX2852" fmla="*/ 2359 w 10785"/>
                <a:gd name="connsiteY2852" fmla="*/ 7650 h 10000"/>
                <a:gd name="connsiteX2853" fmla="*/ 2373 w 10785"/>
                <a:gd name="connsiteY2853" fmla="*/ 7624 h 10000"/>
                <a:gd name="connsiteX2854" fmla="*/ 2382 w 10785"/>
                <a:gd name="connsiteY2854" fmla="*/ 7641 h 10000"/>
                <a:gd name="connsiteX2855" fmla="*/ 2396 w 10785"/>
                <a:gd name="connsiteY2855" fmla="*/ 7650 h 10000"/>
                <a:gd name="connsiteX2856" fmla="*/ 2401 w 10785"/>
                <a:gd name="connsiteY2856" fmla="*/ 7650 h 10000"/>
                <a:gd name="connsiteX2857" fmla="*/ 2401 w 10785"/>
                <a:gd name="connsiteY2857" fmla="*/ 7624 h 10000"/>
                <a:gd name="connsiteX2858" fmla="*/ 2419 w 10785"/>
                <a:gd name="connsiteY2858" fmla="*/ 7624 h 10000"/>
                <a:gd name="connsiteX2859" fmla="*/ 2433 w 10785"/>
                <a:gd name="connsiteY2859" fmla="*/ 7615 h 10000"/>
                <a:gd name="connsiteX2860" fmla="*/ 2442 w 10785"/>
                <a:gd name="connsiteY2860" fmla="*/ 7615 h 10000"/>
                <a:gd name="connsiteX2861" fmla="*/ 2447 w 10785"/>
                <a:gd name="connsiteY2861" fmla="*/ 7598 h 10000"/>
                <a:gd name="connsiteX2862" fmla="*/ 2461 w 10785"/>
                <a:gd name="connsiteY2862" fmla="*/ 7598 h 10000"/>
                <a:gd name="connsiteX2863" fmla="*/ 2465 w 10785"/>
                <a:gd name="connsiteY2863" fmla="*/ 7615 h 10000"/>
                <a:gd name="connsiteX2864" fmla="*/ 2479 w 10785"/>
                <a:gd name="connsiteY2864" fmla="*/ 7564 h 10000"/>
                <a:gd name="connsiteX2865" fmla="*/ 2488 w 10785"/>
                <a:gd name="connsiteY2865" fmla="*/ 7556 h 10000"/>
                <a:gd name="connsiteX2866" fmla="*/ 2493 w 10785"/>
                <a:gd name="connsiteY2866" fmla="*/ 7556 h 10000"/>
                <a:gd name="connsiteX2867" fmla="*/ 2507 w 10785"/>
                <a:gd name="connsiteY2867" fmla="*/ 7556 h 10000"/>
                <a:gd name="connsiteX2868" fmla="*/ 2530 w 10785"/>
                <a:gd name="connsiteY2868" fmla="*/ 7538 h 10000"/>
                <a:gd name="connsiteX2869" fmla="*/ 2530 w 10785"/>
                <a:gd name="connsiteY2869" fmla="*/ 7556 h 10000"/>
                <a:gd name="connsiteX2870" fmla="*/ 2641 w 10785"/>
                <a:gd name="connsiteY2870" fmla="*/ 7504 h 10000"/>
                <a:gd name="connsiteX2871" fmla="*/ 2654 w 10785"/>
                <a:gd name="connsiteY2871" fmla="*/ 7487 h 10000"/>
                <a:gd name="connsiteX2872" fmla="*/ 2664 w 10785"/>
                <a:gd name="connsiteY2872" fmla="*/ 7487 h 10000"/>
                <a:gd name="connsiteX2873" fmla="*/ 2668 w 10785"/>
                <a:gd name="connsiteY2873" fmla="*/ 7479 h 10000"/>
                <a:gd name="connsiteX2874" fmla="*/ 2673 w 10785"/>
                <a:gd name="connsiteY2874" fmla="*/ 7462 h 10000"/>
                <a:gd name="connsiteX2875" fmla="*/ 2673 w 10785"/>
                <a:gd name="connsiteY2875" fmla="*/ 7427 h 10000"/>
                <a:gd name="connsiteX2876" fmla="*/ 2687 w 10785"/>
                <a:gd name="connsiteY2876" fmla="*/ 7436 h 10000"/>
                <a:gd name="connsiteX2877" fmla="*/ 2696 w 10785"/>
                <a:gd name="connsiteY2877" fmla="*/ 7427 h 10000"/>
                <a:gd name="connsiteX2878" fmla="*/ 2700 w 10785"/>
                <a:gd name="connsiteY2878" fmla="*/ 7419 h 10000"/>
                <a:gd name="connsiteX2879" fmla="*/ 2710 w 10785"/>
                <a:gd name="connsiteY2879" fmla="*/ 7402 h 10000"/>
                <a:gd name="connsiteX2880" fmla="*/ 2724 w 10785"/>
                <a:gd name="connsiteY2880" fmla="*/ 7402 h 10000"/>
                <a:gd name="connsiteX2881" fmla="*/ 2724 w 10785"/>
                <a:gd name="connsiteY2881" fmla="*/ 7393 h 10000"/>
                <a:gd name="connsiteX2882" fmla="*/ 2737 w 10785"/>
                <a:gd name="connsiteY2882" fmla="*/ 7393 h 10000"/>
                <a:gd name="connsiteX2883" fmla="*/ 2742 w 10785"/>
                <a:gd name="connsiteY2883" fmla="*/ 7402 h 10000"/>
                <a:gd name="connsiteX2884" fmla="*/ 2747 w 10785"/>
                <a:gd name="connsiteY2884" fmla="*/ 7402 h 10000"/>
                <a:gd name="connsiteX2885" fmla="*/ 2760 w 10785"/>
                <a:gd name="connsiteY2885" fmla="*/ 7402 h 10000"/>
                <a:gd name="connsiteX2886" fmla="*/ 2770 w 10785"/>
                <a:gd name="connsiteY2886" fmla="*/ 7402 h 10000"/>
                <a:gd name="connsiteX2887" fmla="*/ 2774 w 10785"/>
                <a:gd name="connsiteY2887" fmla="*/ 7402 h 10000"/>
                <a:gd name="connsiteX2888" fmla="*/ 2783 w 10785"/>
                <a:gd name="connsiteY2888" fmla="*/ 7419 h 10000"/>
                <a:gd name="connsiteX2889" fmla="*/ 2802 w 10785"/>
                <a:gd name="connsiteY2889" fmla="*/ 7436 h 10000"/>
                <a:gd name="connsiteX2890" fmla="*/ 2816 w 10785"/>
                <a:gd name="connsiteY2890" fmla="*/ 7419 h 10000"/>
                <a:gd name="connsiteX2891" fmla="*/ 2834 w 10785"/>
                <a:gd name="connsiteY2891" fmla="*/ 7419 h 10000"/>
                <a:gd name="connsiteX2892" fmla="*/ 2843 w 10785"/>
                <a:gd name="connsiteY2892" fmla="*/ 7419 h 10000"/>
                <a:gd name="connsiteX2893" fmla="*/ 2848 w 10785"/>
                <a:gd name="connsiteY2893" fmla="*/ 7436 h 10000"/>
                <a:gd name="connsiteX2894" fmla="*/ 2857 w 10785"/>
                <a:gd name="connsiteY2894" fmla="*/ 7453 h 10000"/>
                <a:gd name="connsiteX2895" fmla="*/ 2857 w 10785"/>
                <a:gd name="connsiteY2895" fmla="*/ 7504 h 10000"/>
                <a:gd name="connsiteX2896" fmla="*/ 2862 w 10785"/>
                <a:gd name="connsiteY2896" fmla="*/ 7530 h 10000"/>
                <a:gd name="connsiteX2897" fmla="*/ 2876 w 10785"/>
                <a:gd name="connsiteY2897" fmla="*/ 7538 h 10000"/>
                <a:gd name="connsiteX2898" fmla="*/ 2871 w 10785"/>
                <a:gd name="connsiteY2898" fmla="*/ 7564 h 10000"/>
                <a:gd name="connsiteX2899" fmla="*/ 2871 w 10785"/>
                <a:gd name="connsiteY2899" fmla="*/ 7598 h 10000"/>
                <a:gd name="connsiteX2900" fmla="*/ 2857 w 10785"/>
                <a:gd name="connsiteY2900" fmla="*/ 7624 h 10000"/>
                <a:gd name="connsiteX2901" fmla="*/ 2862 w 10785"/>
                <a:gd name="connsiteY2901" fmla="*/ 7641 h 10000"/>
                <a:gd name="connsiteX2902" fmla="*/ 2871 w 10785"/>
                <a:gd name="connsiteY2902" fmla="*/ 7667 h 10000"/>
                <a:gd name="connsiteX2903" fmla="*/ 2880 w 10785"/>
                <a:gd name="connsiteY2903" fmla="*/ 7650 h 10000"/>
                <a:gd name="connsiteX2904" fmla="*/ 2894 w 10785"/>
                <a:gd name="connsiteY2904" fmla="*/ 7667 h 10000"/>
                <a:gd name="connsiteX2905" fmla="*/ 2903 w 10785"/>
                <a:gd name="connsiteY2905" fmla="*/ 7667 h 10000"/>
                <a:gd name="connsiteX2906" fmla="*/ 2908 w 10785"/>
                <a:gd name="connsiteY2906" fmla="*/ 7641 h 10000"/>
                <a:gd name="connsiteX2907" fmla="*/ 2917 w 10785"/>
                <a:gd name="connsiteY2907" fmla="*/ 7641 h 10000"/>
                <a:gd name="connsiteX2908" fmla="*/ 2922 w 10785"/>
                <a:gd name="connsiteY2908" fmla="*/ 7641 h 10000"/>
                <a:gd name="connsiteX2909" fmla="*/ 2931 w 10785"/>
                <a:gd name="connsiteY2909" fmla="*/ 7615 h 10000"/>
                <a:gd name="connsiteX2910" fmla="*/ 2935 w 10785"/>
                <a:gd name="connsiteY2910" fmla="*/ 7615 h 10000"/>
                <a:gd name="connsiteX2911" fmla="*/ 2945 w 10785"/>
                <a:gd name="connsiteY2911" fmla="*/ 7650 h 10000"/>
                <a:gd name="connsiteX2912" fmla="*/ 2949 w 10785"/>
                <a:gd name="connsiteY2912" fmla="*/ 7667 h 10000"/>
                <a:gd name="connsiteX2913" fmla="*/ 2949 w 10785"/>
                <a:gd name="connsiteY2913" fmla="*/ 7675 h 10000"/>
                <a:gd name="connsiteX2914" fmla="*/ 2945 w 10785"/>
                <a:gd name="connsiteY2914" fmla="*/ 7692 h 10000"/>
                <a:gd name="connsiteX2915" fmla="*/ 2963 w 10785"/>
                <a:gd name="connsiteY2915" fmla="*/ 7701 h 10000"/>
                <a:gd name="connsiteX2916" fmla="*/ 2963 w 10785"/>
                <a:gd name="connsiteY2916" fmla="*/ 7675 h 10000"/>
                <a:gd name="connsiteX2917" fmla="*/ 2954 w 10785"/>
                <a:gd name="connsiteY2917" fmla="*/ 7667 h 10000"/>
                <a:gd name="connsiteX2918" fmla="*/ 2963 w 10785"/>
                <a:gd name="connsiteY2918" fmla="*/ 7667 h 10000"/>
                <a:gd name="connsiteX2919" fmla="*/ 2982 w 10785"/>
                <a:gd name="connsiteY2919" fmla="*/ 7667 h 10000"/>
                <a:gd name="connsiteX2920" fmla="*/ 2991 w 10785"/>
                <a:gd name="connsiteY2920" fmla="*/ 7675 h 10000"/>
                <a:gd name="connsiteX2921" fmla="*/ 2995 w 10785"/>
                <a:gd name="connsiteY2921" fmla="*/ 7692 h 10000"/>
                <a:gd name="connsiteX2922" fmla="*/ 3009 w 10785"/>
                <a:gd name="connsiteY2922" fmla="*/ 7701 h 10000"/>
                <a:gd name="connsiteX2923" fmla="*/ 3018 w 10785"/>
                <a:gd name="connsiteY2923" fmla="*/ 7701 h 10000"/>
                <a:gd name="connsiteX2924" fmla="*/ 3023 w 10785"/>
                <a:gd name="connsiteY2924" fmla="*/ 7692 h 10000"/>
                <a:gd name="connsiteX2925" fmla="*/ 3028 w 10785"/>
                <a:gd name="connsiteY2925" fmla="*/ 7675 h 10000"/>
                <a:gd name="connsiteX2926" fmla="*/ 3037 w 10785"/>
                <a:gd name="connsiteY2926" fmla="*/ 7692 h 10000"/>
                <a:gd name="connsiteX2927" fmla="*/ 3028 w 10785"/>
                <a:gd name="connsiteY2927" fmla="*/ 7709 h 10000"/>
                <a:gd name="connsiteX2928" fmla="*/ 3023 w 10785"/>
                <a:gd name="connsiteY2928" fmla="*/ 7709 h 10000"/>
                <a:gd name="connsiteX2929" fmla="*/ 3018 w 10785"/>
                <a:gd name="connsiteY2929" fmla="*/ 7726 h 10000"/>
                <a:gd name="connsiteX2930" fmla="*/ 3009 w 10785"/>
                <a:gd name="connsiteY2930" fmla="*/ 7735 h 10000"/>
                <a:gd name="connsiteX2931" fmla="*/ 3009 w 10785"/>
                <a:gd name="connsiteY2931" fmla="*/ 7761 h 10000"/>
                <a:gd name="connsiteX2932" fmla="*/ 3009 w 10785"/>
                <a:gd name="connsiteY2932" fmla="*/ 7778 h 10000"/>
                <a:gd name="connsiteX2933" fmla="*/ 3018 w 10785"/>
                <a:gd name="connsiteY2933" fmla="*/ 7786 h 10000"/>
                <a:gd name="connsiteX2934" fmla="*/ 3023 w 10785"/>
                <a:gd name="connsiteY2934" fmla="*/ 7786 h 10000"/>
                <a:gd name="connsiteX2935" fmla="*/ 3028 w 10785"/>
                <a:gd name="connsiteY2935" fmla="*/ 7778 h 10000"/>
                <a:gd name="connsiteX2936" fmla="*/ 3051 w 10785"/>
                <a:gd name="connsiteY2936" fmla="*/ 7761 h 10000"/>
                <a:gd name="connsiteX2937" fmla="*/ 3055 w 10785"/>
                <a:gd name="connsiteY2937" fmla="*/ 7778 h 10000"/>
                <a:gd name="connsiteX2938" fmla="*/ 3065 w 10785"/>
                <a:gd name="connsiteY2938" fmla="*/ 7761 h 10000"/>
                <a:gd name="connsiteX2939" fmla="*/ 3069 w 10785"/>
                <a:gd name="connsiteY2939" fmla="*/ 7786 h 10000"/>
                <a:gd name="connsiteX2940" fmla="*/ 3083 w 10785"/>
                <a:gd name="connsiteY2940" fmla="*/ 7786 h 10000"/>
                <a:gd name="connsiteX2941" fmla="*/ 3078 w 10785"/>
                <a:gd name="connsiteY2941" fmla="*/ 7761 h 10000"/>
                <a:gd name="connsiteX2942" fmla="*/ 3083 w 10785"/>
                <a:gd name="connsiteY2942" fmla="*/ 7752 h 10000"/>
                <a:gd name="connsiteX2943" fmla="*/ 3097 w 10785"/>
                <a:gd name="connsiteY2943" fmla="*/ 7752 h 10000"/>
                <a:gd name="connsiteX2944" fmla="*/ 3111 w 10785"/>
                <a:gd name="connsiteY2944" fmla="*/ 7726 h 10000"/>
                <a:gd name="connsiteX2945" fmla="*/ 3124 w 10785"/>
                <a:gd name="connsiteY2945" fmla="*/ 7709 h 10000"/>
                <a:gd name="connsiteX2946" fmla="*/ 3143 w 10785"/>
                <a:gd name="connsiteY2946" fmla="*/ 7692 h 10000"/>
                <a:gd name="connsiteX2947" fmla="*/ 3152 w 10785"/>
                <a:gd name="connsiteY2947" fmla="*/ 7667 h 10000"/>
                <a:gd name="connsiteX2948" fmla="*/ 3157 w 10785"/>
                <a:gd name="connsiteY2948" fmla="*/ 7650 h 10000"/>
                <a:gd name="connsiteX2949" fmla="*/ 3161 w 10785"/>
                <a:gd name="connsiteY2949" fmla="*/ 7650 h 10000"/>
                <a:gd name="connsiteX2950" fmla="*/ 3189 w 10785"/>
                <a:gd name="connsiteY2950" fmla="*/ 7641 h 10000"/>
                <a:gd name="connsiteX2951" fmla="*/ 3198 w 10785"/>
                <a:gd name="connsiteY2951" fmla="*/ 7624 h 10000"/>
                <a:gd name="connsiteX2952" fmla="*/ 3217 w 10785"/>
                <a:gd name="connsiteY2952" fmla="*/ 7615 h 10000"/>
                <a:gd name="connsiteX2953" fmla="*/ 3235 w 10785"/>
                <a:gd name="connsiteY2953" fmla="*/ 7598 h 10000"/>
                <a:gd name="connsiteX2954" fmla="*/ 3235 w 10785"/>
                <a:gd name="connsiteY2954" fmla="*/ 7615 h 10000"/>
                <a:gd name="connsiteX2955" fmla="*/ 3235 w 10785"/>
                <a:gd name="connsiteY2955" fmla="*/ 7641 h 10000"/>
                <a:gd name="connsiteX2956" fmla="*/ 3235 w 10785"/>
                <a:gd name="connsiteY2956" fmla="*/ 7650 h 10000"/>
                <a:gd name="connsiteX2957" fmla="*/ 3226 w 10785"/>
                <a:gd name="connsiteY2957" fmla="*/ 7650 h 10000"/>
                <a:gd name="connsiteX2958" fmla="*/ 3217 w 10785"/>
                <a:gd name="connsiteY2958" fmla="*/ 7650 h 10000"/>
                <a:gd name="connsiteX2959" fmla="*/ 3212 w 10785"/>
                <a:gd name="connsiteY2959" fmla="*/ 7675 h 10000"/>
                <a:gd name="connsiteX2960" fmla="*/ 3212 w 10785"/>
                <a:gd name="connsiteY2960"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220 w 10785"/>
                <a:gd name="connsiteY731" fmla="*/ 5025 h 10000"/>
                <a:gd name="connsiteX732" fmla="*/ 10139 w 10785"/>
                <a:gd name="connsiteY732" fmla="*/ 4708 h 10000"/>
                <a:gd name="connsiteX733" fmla="*/ 10233 w 10785"/>
                <a:gd name="connsiteY733" fmla="*/ 4530 h 10000"/>
                <a:gd name="connsiteX734" fmla="*/ 10334 w 10785"/>
                <a:gd name="connsiteY734" fmla="*/ 4810 h 10000"/>
                <a:gd name="connsiteX735" fmla="*/ 10422 w 10785"/>
                <a:gd name="connsiteY735" fmla="*/ 5051 h 10000"/>
                <a:gd name="connsiteX736" fmla="*/ 10691 w 10785"/>
                <a:gd name="connsiteY736" fmla="*/ 5255 h 10000"/>
                <a:gd name="connsiteX737" fmla="*/ 10619 w 10785"/>
                <a:gd name="connsiteY737" fmla="*/ 4708 h 10000"/>
                <a:gd name="connsiteX738" fmla="*/ 10785 w 10785"/>
                <a:gd name="connsiteY738" fmla="*/ 4708 h 10000"/>
                <a:gd name="connsiteX739" fmla="*/ 10689 w 10785"/>
                <a:gd name="connsiteY739" fmla="*/ 4467 h 10000"/>
                <a:gd name="connsiteX740" fmla="*/ 10354 w 10785"/>
                <a:gd name="connsiteY740" fmla="*/ 4302 h 10000"/>
                <a:gd name="connsiteX741" fmla="*/ 9912 w 10785"/>
                <a:gd name="connsiteY741" fmla="*/ 3675 h 10000"/>
                <a:gd name="connsiteX742" fmla="*/ 9903 w 10785"/>
                <a:gd name="connsiteY742" fmla="*/ 3667 h 10000"/>
                <a:gd name="connsiteX743" fmla="*/ 9894 w 10785"/>
                <a:gd name="connsiteY743" fmla="*/ 3641 h 10000"/>
                <a:gd name="connsiteX744" fmla="*/ 9889 w 10785"/>
                <a:gd name="connsiteY744" fmla="*/ 3650 h 10000"/>
                <a:gd name="connsiteX745" fmla="*/ 9848 w 10785"/>
                <a:gd name="connsiteY745" fmla="*/ 3598 h 10000"/>
                <a:gd name="connsiteX746" fmla="*/ 9829 w 10785"/>
                <a:gd name="connsiteY746" fmla="*/ 3581 h 10000"/>
                <a:gd name="connsiteX747" fmla="*/ 9820 w 10785"/>
                <a:gd name="connsiteY747" fmla="*/ 3581 h 10000"/>
                <a:gd name="connsiteX748" fmla="*/ 9793 w 10785"/>
                <a:gd name="connsiteY748" fmla="*/ 3556 h 10000"/>
                <a:gd name="connsiteX749" fmla="*/ 9779 w 10785"/>
                <a:gd name="connsiteY749" fmla="*/ 3556 h 10000"/>
                <a:gd name="connsiteX750" fmla="*/ 9747 w 10785"/>
                <a:gd name="connsiteY750" fmla="*/ 3487 h 10000"/>
                <a:gd name="connsiteX751" fmla="*/ 9668 w 10785"/>
                <a:gd name="connsiteY751" fmla="*/ 3479 h 10000"/>
                <a:gd name="connsiteX752" fmla="*/ 9659 w 10785"/>
                <a:gd name="connsiteY752" fmla="*/ 3487 h 10000"/>
                <a:gd name="connsiteX753" fmla="*/ 9645 w 10785"/>
                <a:gd name="connsiteY753" fmla="*/ 3504 h 10000"/>
                <a:gd name="connsiteX754" fmla="*/ 9631 w 10785"/>
                <a:gd name="connsiteY754" fmla="*/ 3487 h 10000"/>
                <a:gd name="connsiteX755" fmla="*/ 9613 w 10785"/>
                <a:gd name="connsiteY755" fmla="*/ 3479 h 10000"/>
                <a:gd name="connsiteX756" fmla="*/ 9599 w 10785"/>
                <a:gd name="connsiteY756" fmla="*/ 3479 h 10000"/>
                <a:gd name="connsiteX757" fmla="*/ 9571 w 10785"/>
                <a:gd name="connsiteY757" fmla="*/ 3479 h 10000"/>
                <a:gd name="connsiteX758" fmla="*/ 9562 w 10785"/>
                <a:gd name="connsiteY758" fmla="*/ 3487 h 10000"/>
                <a:gd name="connsiteX759" fmla="*/ 9539 w 10785"/>
                <a:gd name="connsiteY759" fmla="*/ 3487 h 10000"/>
                <a:gd name="connsiteX760" fmla="*/ 9507 w 10785"/>
                <a:gd name="connsiteY760" fmla="*/ 3453 h 10000"/>
                <a:gd name="connsiteX761" fmla="*/ 9498 w 10785"/>
                <a:gd name="connsiteY761" fmla="*/ 3453 h 10000"/>
                <a:gd name="connsiteX762" fmla="*/ 9387 w 10785"/>
                <a:gd name="connsiteY762" fmla="*/ 3419 h 10000"/>
                <a:gd name="connsiteX763" fmla="*/ 9373 w 10785"/>
                <a:gd name="connsiteY763" fmla="*/ 3427 h 10000"/>
                <a:gd name="connsiteX764" fmla="*/ 9373 w 10785"/>
                <a:gd name="connsiteY764" fmla="*/ 3462 h 10000"/>
                <a:gd name="connsiteX765" fmla="*/ 9378 w 10785"/>
                <a:gd name="connsiteY765" fmla="*/ 3479 h 10000"/>
                <a:gd name="connsiteX766" fmla="*/ 9378 w 10785"/>
                <a:gd name="connsiteY766" fmla="*/ 3530 h 10000"/>
                <a:gd name="connsiteX767" fmla="*/ 9355 w 10785"/>
                <a:gd name="connsiteY767" fmla="*/ 3538 h 10000"/>
                <a:gd name="connsiteX768" fmla="*/ 9355 w 10785"/>
                <a:gd name="connsiteY768" fmla="*/ 3581 h 10000"/>
                <a:gd name="connsiteX769" fmla="*/ 9387 w 10785"/>
                <a:gd name="connsiteY769" fmla="*/ 3590 h 10000"/>
                <a:gd name="connsiteX770" fmla="*/ 9401 w 10785"/>
                <a:gd name="connsiteY770" fmla="*/ 3667 h 10000"/>
                <a:gd name="connsiteX771" fmla="*/ 9406 w 10785"/>
                <a:gd name="connsiteY771" fmla="*/ 3675 h 10000"/>
                <a:gd name="connsiteX772" fmla="*/ 9406 w 10785"/>
                <a:gd name="connsiteY772" fmla="*/ 3701 h 10000"/>
                <a:gd name="connsiteX773" fmla="*/ 9415 w 10785"/>
                <a:gd name="connsiteY773" fmla="*/ 3752 h 10000"/>
                <a:gd name="connsiteX774" fmla="*/ 9373 w 10785"/>
                <a:gd name="connsiteY774" fmla="*/ 3838 h 10000"/>
                <a:gd name="connsiteX775" fmla="*/ 9355 w 10785"/>
                <a:gd name="connsiteY775" fmla="*/ 3863 h 10000"/>
                <a:gd name="connsiteX776" fmla="*/ 9327 w 10785"/>
                <a:gd name="connsiteY776" fmla="*/ 3863 h 10000"/>
                <a:gd name="connsiteX777" fmla="*/ 9313 w 10785"/>
                <a:gd name="connsiteY777" fmla="*/ 3846 h 10000"/>
                <a:gd name="connsiteX778" fmla="*/ 9300 w 10785"/>
                <a:gd name="connsiteY778" fmla="*/ 3778 h 10000"/>
                <a:gd name="connsiteX779" fmla="*/ 9281 w 10785"/>
                <a:gd name="connsiteY779" fmla="*/ 3752 h 10000"/>
                <a:gd name="connsiteX780" fmla="*/ 9281 w 10785"/>
                <a:gd name="connsiteY780" fmla="*/ 3735 h 10000"/>
                <a:gd name="connsiteX781" fmla="*/ 9267 w 10785"/>
                <a:gd name="connsiteY781" fmla="*/ 3726 h 10000"/>
                <a:gd name="connsiteX782" fmla="*/ 9240 w 10785"/>
                <a:gd name="connsiteY782" fmla="*/ 3726 h 10000"/>
                <a:gd name="connsiteX783" fmla="*/ 9230 w 10785"/>
                <a:gd name="connsiteY783" fmla="*/ 3718 h 10000"/>
                <a:gd name="connsiteX784" fmla="*/ 9226 w 10785"/>
                <a:gd name="connsiteY784" fmla="*/ 3590 h 10000"/>
                <a:gd name="connsiteX785" fmla="*/ 9207 w 10785"/>
                <a:gd name="connsiteY785" fmla="*/ 3581 h 10000"/>
                <a:gd name="connsiteX786" fmla="*/ 9207 w 10785"/>
                <a:gd name="connsiteY786" fmla="*/ 3556 h 10000"/>
                <a:gd name="connsiteX787" fmla="*/ 9217 w 10785"/>
                <a:gd name="connsiteY787" fmla="*/ 3538 h 10000"/>
                <a:gd name="connsiteX788" fmla="*/ 9212 w 10785"/>
                <a:gd name="connsiteY788" fmla="*/ 3538 h 10000"/>
                <a:gd name="connsiteX789" fmla="*/ 9198 w 10785"/>
                <a:gd name="connsiteY789" fmla="*/ 3513 h 10000"/>
                <a:gd name="connsiteX790" fmla="*/ 9194 w 10785"/>
                <a:gd name="connsiteY790" fmla="*/ 3530 h 10000"/>
                <a:gd name="connsiteX791" fmla="*/ 9143 w 10785"/>
                <a:gd name="connsiteY791" fmla="*/ 3615 h 10000"/>
                <a:gd name="connsiteX792" fmla="*/ 9138 w 10785"/>
                <a:gd name="connsiteY792" fmla="*/ 3615 h 10000"/>
                <a:gd name="connsiteX793" fmla="*/ 9134 w 10785"/>
                <a:gd name="connsiteY793" fmla="*/ 3615 h 10000"/>
                <a:gd name="connsiteX794" fmla="*/ 9106 w 10785"/>
                <a:gd name="connsiteY794" fmla="*/ 3615 h 10000"/>
                <a:gd name="connsiteX795" fmla="*/ 9078 w 10785"/>
                <a:gd name="connsiteY795" fmla="*/ 3590 h 10000"/>
                <a:gd name="connsiteX796" fmla="*/ 9037 w 10785"/>
                <a:gd name="connsiteY796" fmla="*/ 3581 h 10000"/>
                <a:gd name="connsiteX797" fmla="*/ 9023 w 10785"/>
                <a:gd name="connsiteY797" fmla="*/ 3590 h 10000"/>
                <a:gd name="connsiteX798" fmla="*/ 9018 w 10785"/>
                <a:gd name="connsiteY798" fmla="*/ 3590 h 10000"/>
                <a:gd name="connsiteX799" fmla="*/ 9018 w 10785"/>
                <a:gd name="connsiteY799" fmla="*/ 3590 h 10000"/>
                <a:gd name="connsiteX800" fmla="*/ 8991 w 10785"/>
                <a:gd name="connsiteY800" fmla="*/ 3590 h 10000"/>
                <a:gd name="connsiteX801" fmla="*/ 8972 w 10785"/>
                <a:gd name="connsiteY801" fmla="*/ 3581 h 10000"/>
                <a:gd name="connsiteX802" fmla="*/ 8959 w 10785"/>
                <a:gd name="connsiteY802" fmla="*/ 3513 h 10000"/>
                <a:gd name="connsiteX803" fmla="*/ 8931 w 10785"/>
                <a:gd name="connsiteY803" fmla="*/ 3538 h 10000"/>
                <a:gd name="connsiteX804" fmla="*/ 8889 w 10785"/>
                <a:gd name="connsiteY804" fmla="*/ 3538 h 10000"/>
                <a:gd name="connsiteX805" fmla="*/ 8871 w 10785"/>
                <a:gd name="connsiteY805" fmla="*/ 3556 h 10000"/>
                <a:gd name="connsiteX806" fmla="*/ 8857 w 10785"/>
                <a:gd name="connsiteY806" fmla="*/ 3538 h 10000"/>
                <a:gd name="connsiteX807" fmla="*/ 8843 w 10785"/>
                <a:gd name="connsiteY807" fmla="*/ 3538 h 10000"/>
                <a:gd name="connsiteX808" fmla="*/ 8839 w 10785"/>
                <a:gd name="connsiteY808" fmla="*/ 3556 h 10000"/>
                <a:gd name="connsiteX809" fmla="*/ 8839 w 10785"/>
                <a:gd name="connsiteY809" fmla="*/ 3581 h 10000"/>
                <a:gd name="connsiteX810" fmla="*/ 8825 w 10785"/>
                <a:gd name="connsiteY810" fmla="*/ 3564 h 10000"/>
                <a:gd name="connsiteX811" fmla="*/ 8825 w 10785"/>
                <a:gd name="connsiteY811" fmla="*/ 3615 h 10000"/>
                <a:gd name="connsiteX812" fmla="*/ 8802 w 10785"/>
                <a:gd name="connsiteY812" fmla="*/ 3598 h 10000"/>
                <a:gd name="connsiteX813" fmla="*/ 8797 w 10785"/>
                <a:gd name="connsiteY813" fmla="*/ 3641 h 10000"/>
                <a:gd name="connsiteX814" fmla="*/ 8783 w 10785"/>
                <a:gd name="connsiteY814" fmla="*/ 3667 h 10000"/>
                <a:gd name="connsiteX815" fmla="*/ 8779 w 10785"/>
                <a:gd name="connsiteY815" fmla="*/ 3650 h 10000"/>
                <a:gd name="connsiteX816" fmla="*/ 8779 w 10785"/>
                <a:gd name="connsiteY816" fmla="*/ 3615 h 10000"/>
                <a:gd name="connsiteX817" fmla="*/ 8770 w 10785"/>
                <a:gd name="connsiteY817" fmla="*/ 3590 h 10000"/>
                <a:gd name="connsiteX818" fmla="*/ 8765 w 10785"/>
                <a:gd name="connsiteY818" fmla="*/ 3598 h 10000"/>
                <a:gd name="connsiteX819" fmla="*/ 8756 w 10785"/>
                <a:gd name="connsiteY819" fmla="*/ 3590 h 10000"/>
                <a:gd name="connsiteX820" fmla="*/ 8737 w 10785"/>
                <a:gd name="connsiteY820" fmla="*/ 3556 h 10000"/>
                <a:gd name="connsiteX821" fmla="*/ 8724 w 10785"/>
                <a:gd name="connsiteY821" fmla="*/ 3538 h 10000"/>
                <a:gd name="connsiteX822" fmla="*/ 8696 w 10785"/>
                <a:gd name="connsiteY822" fmla="*/ 3538 h 10000"/>
                <a:gd name="connsiteX823" fmla="*/ 8691 w 10785"/>
                <a:gd name="connsiteY823" fmla="*/ 3513 h 10000"/>
                <a:gd name="connsiteX824" fmla="*/ 8668 w 10785"/>
                <a:gd name="connsiteY824" fmla="*/ 3504 h 10000"/>
                <a:gd name="connsiteX825" fmla="*/ 8668 w 10785"/>
                <a:gd name="connsiteY825" fmla="*/ 3487 h 10000"/>
                <a:gd name="connsiteX826" fmla="*/ 8691 w 10785"/>
                <a:gd name="connsiteY826" fmla="*/ 3350 h 10000"/>
                <a:gd name="connsiteX827" fmla="*/ 8691 w 10785"/>
                <a:gd name="connsiteY827" fmla="*/ 3291 h 10000"/>
                <a:gd name="connsiteX828" fmla="*/ 8677 w 10785"/>
                <a:gd name="connsiteY828" fmla="*/ 3239 h 10000"/>
                <a:gd name="connsiteX829" fmla="*/ 8677 w 10785"/>
                <a:gd name="connsiteY829" fmla="*/ 3231 h 10000"/>
                <a:gd name="connsiteX830" fmla="*/ 8636 w 10785"/>
                <a:gd name="connsiteY830" fmla="*/ 3128 h 10000"/>
                <a:gd name="connsiteX831" fmla="*/ 8622 w 10785"/>
                <a:gd name="connsiteY831" fmla="*/ 3120 h 10000"/>
                <a:gd name="connsiteX832" fmla="*/ 8618 w 10785"/>
                <a:gd name="connsiteY832" fmla="*/ 3094 h 10000"/>
                <a:gd name="connsiteX833" fmla="*/ 8594 w 10785"/>
                <a:gd name="connsiteY833" fmla="*/ 3077 h 10000"/>
                <a:gd name="connsiteX834" fmla="*/ 8548 w 10785"/>
                <a:gd name="connsiteY834" fmla="*/ 3077 h 10000"/>
                <a:gd name="connsiteX835" fmla="*/ 8535 w 10785"/>
                <a:gd name="connsiteY835" fmla="*/ 3068 h 10000"/>
                <a:gd name="connsiteX836" fmla="*/ 8429 w 10785"/>
                <a:gd name="connsiteY836" fmla="*/ 3077 h 10000"/>
                <a:gd name="connsiteX837" fmla="*/ 8424 w 10785"/>
                <a:gd name="connsiteY837" fmla="*/ 3077 h 10000"/>
                <a:gd name="connsiteX838" fmla="*/ 8396 w 10785"/>
                <a:gd name="connsiteY838" fmla="*/ 3077 h 10000"/>
                <a:gd name="connsiteX839" fmla="*/ 8387 w 10785"/>
                <a:gd name="connsiteY839" fmla="*/ 3094 h 10000"/>
                <a:gd name="connsiteX840" fmla="*/ 8378 w 10785"/>
                <a:gd name="connsiteY840" fmla="*/ 3094 h 10000"/>
                <a:gd name="connsiteX841" fmla="*/ 8341 w 10785"/>
                <a:gd name="connsiteY841" fmla="*/ 3077 h 10000"/>
                <a:gd name="connsiteX842" fmla="*/ 8336 w 10785"/>
                <a:gd name="connsiteY842" fmla="*/ 3077 h 10000"/>
                <a:gd name="connsiteX843" fmla="*/ 8327 w 10785"/>
                <a:gd name="connsiteY843" fmla="*/ 3103 h 10000"/>
                <a:gd name="connsiteX844" fmla="*/ 8309 w 10785"/>
                <a:gd name="connsiteY844" fmla="*/ 3120 h 10000"/>
                <a:gd name="connsiteX845" fmla="*/ 8304 w 10785"/>
                <a:gd name="connsiteY845" fmla="*/ 3103 h 10000"/>
                <a:gd name="connsiteX846" fmla="*/ 8276 w 10785"/>
                <a:gd name="connsiteY846" fmla="*/ 3103 h 10000"/>
                <a:gd name="connsiteX847" fmla="*/ 8267 w 10785"/>
                <a:gd name="connsiteY847" fmla="*/ 3120 h 10000"/>
                <a:gd name="connsiteX848" fmla="*/ 8253 w 10785"/>
                <a:gd name="connsiteY848" fmla="*/ 3103 h 10000"/>
                <a:gd name="connsiteX849" fmla="*/ 8230 w 10785"/>
                <a:gd name="connsiteY849" fmla="*/ 3128 h 10000"/>
                <a:gd name="connsiteX850" fmla="*/ 8217 w 10785"/>
                <a:gd name="connsiteY850" fmla="*/ 3128 h 10000"/>
                <a:gd name="connsiteX851" fmla="*/ 8203 w 10785"/>
                <a:gd name="connsiteY851" fmla="*/ 3154 h 10000"/>
                <a:gd name="connsiteX852" fmla="*/ 8175 w 10785"/>
                <a:gd name="connsiteY852" fmla="*/ 3094 h 10000"/>
                <a:gd name="connsiteX853" fmla="*/ 8161 w 10785"/>
                <a:gd name="connsiteY853" fmla="*/ 3094 h 10000"/>
                <a:gd name="connsiteX854" fmla="*/ 8157 w 10785"/>
                <a:gd name="connsiteY854" fmla="*/ 3077 h 10000"/>
                <a:gd name="connsiteX855" fmla="*/ 8180 w 10785"/>
                <a:gd name="connsiteY855" fmla="*/ 3068 h 10000"/>
                <a:gd name="connsiteX856" fmla="*/ 8189 w 10785"/>
                <a:gd name="connsiteY856" fmla="*/ 3043 h 10000"/>
                <a:gd name="connsiteX857" fmla="*/ 8189 w 10785"/>
                <a:gd name="connsiteY857" fmla="*/ 3017 h 10000"/>
                <a:gd name="connsiteX858" fmla="*/ 8147 w 10785"/>
                <a:gd name="connsiteY858" fmla="*/ 2940 h 10000"/>
                <a:gd name="connsiteX859" fmla="*/ 8143 w 10785"/>
                <a:gd name="connsiteY859" fmla="*/ 2915 h 10000"/>
                <a:gd name="connsiteX860" fmla="*/ 8143 w 10785"/>
                <a:gd name="connsiteY860" fmla="*/ 2906 h 10000"/>
                <a:gd name="connsiteX861" fmla="*/ 8097 w 10785"/>
                <a:gd name="connsiteY861" fmla="*/ 2932 h 10000"/>
                <a:gd name="connsiteX862" fmla="*/ 8083 w 10785"/>
                <a:gd name="connsiteY862" fmla="*/ 2932 h 10000"/>
                <a:gd name="connsiteX863" fmla="*/ 8074 w 10785"/>
                <a:gd name="connsiteY863" fmla="*/ 2906 h 10000"/>
                <a:gd name="connsiteX864" fmla="*/ 8074 w 10785"/>
                <a:gd name="connsiteY864" fmla="*/ 2897 h 10000"/>
                <a:gd name="connsiteX865" fmla="*/ 8055 w 10785"/>
                <a:gd name="connsiteY865" fmla="*/ 2872 h 10000"/>
                <a:gd name="connsiteX866" fmla="*/ 8046 w 10785"/>
                <a:gd name="connsiteY866" fmla="*/ 2829 h 10000"/>
                <a:gd name="connsiteX867" fmla="*/ 8041 w 10785"/>
                <a:gd name="connsiteY867" fmla="*/ 2829 h 10000"/>
                <a:gd name="connsiteX868" fmla="*/ 8023 w 10785"/>
                <a:gd name="connsiteY868" fmla="*/ 2803 h 10000"/>
                <a:gd name="connsiteX869" fmla="*/ 8014 w 10785"/>
                <a:gd name="connsiteY869" fmla="*/ 2829 h 10000"/>
                <a:gd name="connsiteX870" fmla="*/ 8000 w 10785"/>
                <a:gd name="connsiteY870" fmla="*/ 2829 h 10000"/>
                <a:gd name="connsiteX871" fmla="*/ 7995 w 10785"/>
                <a:gd name="connsiteY871" fmla="*/ 2821 h 10000"/>
                <a:gd name="connsiteX872" fmla="*/ 7972 w 10785"/>
                <a:gd name="connsiteY872" fmla="*/ 2803 h 10000"/>
                <a:gd name="connsiteX873" fmla="*/ 7968 w 10785"/>
                <a:gd name="connsiteY873" fmla="*/ 2821 h 10000"/>
                <a:gd name="connsiteX874" fmla="*/ 7968 w 10785"/>
                <a:gd name="connsiteY874" fmla="*/ 2803 h 10000"/>
                <a:gd name="connsiteX875" fmla="*/ 7995 w 10785"/>
                <a:gd name="connsiteY875" fmla="*/ 2735 h 10000"/>
                <a:gd name="connsiteX876" fmla="*/ 8000 w 10785"/>
                <a:gd name="connsiteY876" fmla="*/ 2735 h 10000"/>
                <a:gd name="connsiteX877" fmla="*/ 8014 w 10785"/>
                <a:gd name="connsiteY877" fmla="*/ 2744 h 10000"/>
                <a:gd name="connsiteX878" fmla="*/ 8023 w 10785"/>
                <a:gd name="connsiteY878" fmla="*/ 2769 h 10000"/>
                <a:gd name="connsiteX879" fmla="*/ 8032 w 10785"/>
                <a:gd name="connsiteY879" fmla="*/ 2744 h 10000"/>
                <a:gd name="connsiteX880" fmla="*/ 8032 w 10785"/>
                <a:gd name="connsiteY880" fmla="*/ 2709 h 10000"/>
                <a:gd name="connsiteX881" fmla="*/ 8023 w 10785"/>
                <a:gd name="connsiteY881" fmla="*/ 2632 h 10000"/>
                <a:gd name="connsiteX882" fmla="*/ 7986 w 10785"/>
                <a:gd name="connsiteY882" fmla="*/ 2581 h 10000"/>
                <a:gd name="connsiteX883" fmla="*/ 7968 w 10785"/>
                <a:gd name="connsiteY883" fmla="*/ 2581 h 10000"/>
                <a:gd name="connsiteX884" fmla="*/ 7963 w 10785"/>
                <a:gd name="connsiteY884" fmla="*/ 2556 h 10000"/>
                <a:gd name="connsiteX885" fmla="*/ 7935 w 10785"/>
                <a:gd name="connsiteY885" fmla="*/ 2547 h 10000"/>
                <a:gd name="connsiteX886" fmla="*/ 7912 w 10785"/>
                <a:gd name="connsiteY886" fmla="*/ 2547 h 10000"/>
                <a:gd name="connsiteX887" fmla="*/ 7912 w 10785"/>
                <a:gd name="connsiteY887" fmla="*/ 2556 h 10000"/>
                <a:gd name="connsiteX888" fmla="*/ 7908 w 10785"/>
                <a:gd name="connsiteY888" fmla="*/ 2547 h 10000"/>
                <a:gd name="connsiteX889" fmla="*/ 7862 w 10785"/>
                <a:gd name="connsiteY889" fmla="*/ 2547 h 10000"/>
                <a:gd name="connsiteX890" fmla="*/ 7848 w 10785"/>
                <a:gd name="connsiteY890" fmla="*/ 2556 h 10000"/>
                <a:gd name="connsiteX891" fmla="*/ 7820 w 10785"/>
                <a:gd name="connsiteY891" fmla="*/ 2547 h 10000"/>
                <a:gd name="connsiteX892" fmla="*/ 7806 w 10785"/>
                <a:gd name="connsiteY892" fmla="*/ 2513 h 10000"/>
                <a:gd name="connsiteX893" fmla="*/ 7788 w 10785"/>
                <a:gd name="connsiteY893" fmla="*/ 2513 h 10000"/>
                <a:gd name="connsiteX894" fmla="*/ 7760 w 10785"/>
                <a:gd name="connsiteY894" fmla="*/ 2470 h 10000"/>
                <a:gd name="connsiteX895" fmla="*/ 7751 w 10785"/>
                <a:gd name="connsiteY895" fmla="*/ 2470 h 10000"/>
                <a:gd name="connsiteX896" fmla="*/ 7705 w 10785"/>
                <a:gd name="connsiteY896" fmla="*/ 2462 h 10000"/>
                <a:gd name="connsiteX897" fmla="*/ 7673 w 10785"/>
                <a:gd name="connsiteY897" fmla="*/ 2419 h 10000"/>
                <a:gd name="connsiteX898" fmla="*/ 7627 w 10785"/>
                <a:gd name="connsiteY898" fmla="*/ 2419 h 10000"/>
                <a:gd name="connsiteX899" fmla="*/ 7613 w 10785"/>
                <a:gd name="connsiteY899" fmla="*/ 2410 h 10000"/>
                <a:gd name="connsiteX900" fmla="*/ 7493 w 10785"/>
                <a:gd name="connsiteY900" fmla="*/ 2393 h 10000"/>
                <a:gd name="connsiteX901" fmla="*/ 7479 w 10785"/>
                <a:gd name="connsiteY901" fmla="*/ 2385 h 10000"/>
                <a:gd name="connsiteX902" fmla="*/ 7479 w 10785"/>
                <a:gd name="connsiteY902" fmla="*/ 2376 h 10000"/>
                <a:gd name="connsiteX903" fmla="*/ 7465 w 10785"/>
                <a:gd name="connsiteY903" fmla="*/ 2359 h 10000"/>
                <a:gd name="connsiteX904" fmla="*/ 7447 w 10785"/>
                <a:gd name="connsiteY904" fmla="*/ 2350 h 10000"/>
                <a:gd name="connsiteX905" fmla="*/ 7433 w 10785"/>
                <a:gd name="connsiteY905" fmla="*/ 2376 h 10000"/>
                <a:gd name="connsiteX906" fmla="*/ 7433 w 10785"/>
                <a:gd name="connsiteY906" fmla="*/ 2385 h 10000"/>
                <a:gd name="connsiteX907" fmla="*/ 7447 w 10785"/>
                <a:gd name="connsiteY907" fmla="*/ 2410 h 10000"/>
                <a:gd name="connsiteX908" fmla="*/ 7447 w 10785"/>
                <a:gd name="connsiteY908" fmla="*/ 2436 h 10000"/>
                <a:gd name="connsiteX909" fmla="*/ 7452 w 10785"/>
                <a:gd name="connsiteY909" fmla="*/ 2462 h 10000"/>
                <a:gd name="connsiteX910" fmla="*/ 7447 w 10785"/>
                <a:gd name="connsiteY910" fmla="*/ 2470 h 10000"/>
                <a:gd name="connsiteX911" fmla="*/ 7424 w 10785"/>
                <a:gd name="connsiteY911" fmla="*/ 2513 h 10000"/>
                <a:gd name="connsiteX912" fmla="*/ 7419 w 10785"/>
                <a:gd name="connsiteY912" fmla="*/ 2556 h 10000"/>
                <a:gd name="connsiteX913" fmla="*/ 7406 w 10785"/>
                <a:gd name="connsiteY913" fmla="*/ 2624 h 10000"/>
                <a:gd name="connsiteX914" fmla="*/ 7392 w 10785"/>
                <a:gd name="connsiteY914" fmla="*/ 2624 h 10000"/>
                <a:gd name="connsiteX915" fmla="*/ 7373 w 10785"/>
                <a:gd name="connsiteY915" fmla="*/ 2650 h 10000"/>
                <a:gd name="connsiteX916" fmla="*/ 7364 w 10785"/>
                <a:gd name="connsiteY916" fmla="*/ 2684 h 10000"/>
                <a:gd name="connsiteX917" fmla="*/ 7364 w 10785"/>
                <a:gd name="connsiteY917" fmla="*/ 2692 h 10000"/>
                <a:gd name="connsiteX918" fmla="*/ 7373 w 10785"/>
                <a:gd name="connsiteY918" fmla="*/ 2718 h 10000"/>
                <a:gd name="connsiteX919" fmla="*/ 7373 w 10785"/>
                <a:gd name="connsiteY919" fmla="*/ 2744 h 10000"/>
                <a:gd name="connsiteX920" fmla="*/ 7359 w 10785"/>
                <a:gd name="connsiteY920" fmla="*/ 2744 h 10000"/>
                <a:gd name="connsiteX921" fmla="*/ 7359 w 10785"/>
                <a:gd name="connsiteY921" fmla="*/ 2795 h 10000"/>
                <a:gd name="connsiteX922" fmla="*/ 7364 w 10785"/>
                <a:gd name="connsiteY922" fmla="*/ 2821 h 10000"/>
                <a:gd name="connsiteX923" fmla="*/ 7378 w 10785"/>
                <a:gd name="connsiteY923" fmla="*/ 2846 h 10000"/>
                <a:gd name="connsiteX924" fmla="*/ 7378 w 10785"/>
                <a:gd name="connsiteY924" fmla="*/ 2855 h 10000"/>
                <a:gd name="connsiteX925" fmla="*/ 7378 w 10785"/>
                <a:gd name="connsiteY925" fmla="*/ 2880 h 10000"/>
                <a:gd name="connsiteX926" fmla="*/ 7378 w 10785"/>
                <a:gd name="connsiteY926" fmla="*/ 2906 h 10000"/>
                <a:gd name="connsiteX927" fmla="*/ 7364 w 10785"/>
                <a:gd name="connsiteY927" fmla="*/ 2906 h 10000"/>
                <a:gd name="connsiteX928" fmla="*/ 7346 w 10785"/>
                <a:gd name="connsiteY928" fmla="*/ 2880 h 10000"/>
                <a:gd name="connsiteX929" fmla="*/ 7332 w 10785"/>
                <a:gd name="connsiteY929" fmla="*/ 2915 h 10000"/>
                <a:gd name="connsiteX930" fmla="*/ 7318 w 10785"/>
                <a:gd name="connsiteY930" fmla="*/ 2906 h 10000"/>
                <a:gd name="connsiteX931" fmla="*/ 7313 w 10785"/>
                <a:gd name="connsiteY931" fmla="*/ 2915 h 10000"/>
                <a:gd name="connsiteX932" fmla="*/ 7313 w 10785"/>
                <a:gd name="connsiteY932" fmla="*/ 2906 h 10000"/>
                <a:gd name="connsiteX933" fmla="*/ 7286 w 10785"/>
                <a:gd name="connsiteY933" fmla="*/ 2940 h 10000"/>
                <a:gd name="connsiteX934" fmla="*/ 7276 w 10785"/>
                <a:gd name="connsiteY934" fmla="*/ 2966 h 10000"/>
                <a:gd name="connsiteX935" fmla="*/ 7272 w 10785"/>
                <a:gd name="connsiteY935" fmla="*/ 2983 h 10000"/>
                <a:gd name="connsiteX936" fmla="*/ 7267 w 10785"/>
                <a:gd name="connsiteY936" fmla="*/ 3009 h 10000"/>
                <a:gd name="connsiteX937" fmla="*/ 7253 w 10785"/>
                <a:gd name="connsiteY937" fmla="*/ 3009 h 10000"/>
                <a:gd name="connsiteX938" fmla="*/ 7244 w 10785"/>
                <a:gd name="connsiteY938" fmla="*/ 3017 h 10000"/>
                <a:gd name="connsiteX939" fmla="*/ 7240 w 10785"/>
                <a:gd name="connsiteY939" fmla="*/ 3009 h 10000"/>
                <a:gd name="connsiteX940" fmla="*/ 7230 w 10785"/>
                <a:gd name="connsiteY940" fmla="*/ 2991 h 10000"/>
                <a:gd name="connsiteX941" fmla="*/ 7226 w 10785"/>
                <a:gd name="connsiteY941" fmla="*/ 2983 h 10000"/>
                <a:gd name="connsiteX942" fmla="*/ 7226 w 10785"/>
                <a:gd name="connsiteY942" fmla="*/ 2966 h 10000"/>
                <a:gd name="connsiteX943" fmla="*/ 7212 w 10785"/>
                <a:gd name="connsiteY943" fmla="*/ 2957 h 10000"/>
                <a:gd name="connsiteX944" fmla="*/ 7212 w 10785"/>
                <a:gd name="connsiteY944" fmla="*/ 2932 h 10000"/>
                <a:gd name="connsiteX945" fmla="*/ 7198 w 10785"/>
                <a:gd name="connsiteY945" fmla="*/ 2915 h 10000"/>
                <a:gd name="connsiteX946" fmla="*/ 7194 w 10785"/>
                <a:gd name="connsiteY946" fmla="*/ 2915 h 10000"/>
                <a:gd name="connsiteX947" fmla="*/ 7157 w 10785"/>
                <a:gd name="connsiteY947" fmla="*/ 2880 h 10000"/>
                <a:gd name="connsiteX948" fmla="*/ 7138 w 10785"/>
                <a:gd name="connsiteY948" fmla="*/ 2880 h 10000"/>
                <a:gd name="connsiteX949" fmla="*/ 7120 w 10785"/>
                <a:gd name="connsiteY949" fmla="*/ 2872 h 10000"/>
                <a:gd name="connsiteX950" fmla="*/ 7111 w 10785"/>
                <a:gd name="connsiteY950" fmla="*/ 2846 h 10000"/>
                <a:gd name="connsiteX951" fmla="*/ 7106 w 10785"/>
                <a:gd name="connsiteY951" fmla="*/ 2846 h 10000"/>
                <a:gd name="connsiteX952" fmla="*/ 7092 w 10785"/>
                <a:gd name="connsiteY952" fmla="*/ 2829 h 10000"/>
                <a:gd name="connsiteX953" fmla="*/ 7051 w 10785"/>
                <a:gd name="connsiteY953" fmla="*/ 2829 h 10000"/>
                <a:gd name="connsiteX954" fmla="*/ 7037 w 10785"/>
                <a:gd name="connsiteY954" fmla="*/ 2880 h 10000"/>
                <a:gd name="connsiteX955" fmla="*/ 7037 w 10785"/>
                <a:gd name="connsiteY955" fmla="*/ 2906 h 10000"/>
                <a:gd name="connsiteX956" fmla="*/ 7037 w 10785"/>
                <a:gd name="connsiteY956" fmla="*/ 2932 h 10000"/>
                <a:gd name="connsiteX957" fmla="*/ 7037 w 10785"/>
                <a:gd name="connsiteY957" fmla="*/ 2940 h 10000"/>
                <a:gd name="connsiteX958" fmla="*/ 7023 w 10785"/>
                <a:gd name="connsiteY958" fmla="*/ 2906 h 10000"/>
                <a:gd name="connsiteX959" fmla="*/ 7023 w 10785"/>
                <a:gd name="connsiteY959" fmla="*/ 2915 h 10000"/>
                <a:gd name="connsiteX960" fmla="*/ 6991 w 10785"/>
                <a:gd name="connsiteY960" fmla="*/ 2906 h 10000"/>
                <a:gd name="connsiteX961" fmla="*/ 6977 w 10785"/>
                <a:gd name="connsiteY961" fmla="*/ 2915 h 10000"/>
                <a:gd name="connsiteX962" fmla="*/ 6963 w 10785"/>
                <a:gd name="connsiteY962" fmla="*/ 2915 h 10000"/>
                <a:gd name="connsiteX963" fmla="*/ 6949 w 10785"/>
                <a:gd name="connsiteY963" fmla="*/ 2872 h 10000"/>
                <a:gd name="connsiteX964" fmla="*/ 6935 w 10785"/>
                <a:gd name="connsiteY964" fmla="*/ 2855 h 10000"/>
                <a:gd name="connsiteX965" fmla="*/ 6922 w 10785"/>
                <a:gd name="connsiteY965" fmla="*/ 2803 h 10000"/>
                <a:gd name="connsiteX966" fmla="*/ 6917 w 10785"/>
                <a:gd name="connsiteY966" fmla="*/ 2786 h 10000"/>
                <a:gd name="connsiteX967" fmla="*/ 6903 w 10785"/>
                <a:gd name="connsiteY967" fmla="*/ 2709 h 10000"/>
                <a:gd name="connsiteX968" fmla="*/ 6903 w 10785"/>
                <a:gd name="connsiteY968" fmla="*/ 2692 h 10000"/>
                <a:gd name="connsiteX969" fmla="*/ 6899 w 10785"/>
                <a:gd name="connsiteY969" fmla="*/ 2709 h 10000"/>
                <a:gd name="connsiteX970" fmla="*/ 6857 w 10785"/>
                <a:gd name="connsiteY970" fmla="*/ 2872 h 10000"/>
                <a:gd name="connsiteX971" fmla="*/ 6857 w 10785"/>
                <a:gd name="connsiteY971" fmla="*/ 3009 h 10000"/>
                <a:gd name="connsiteX972" fmla="*/ 6848 w 10785"/>
                <a:gd name="connsiteY972" fmla="*/ 3017 h 10000"/>
                <a:gd name="connsiteX973" fmla="*/ 6839 w 10785"/>
                <a:gd name="connsiteY973" fmla="*/ 3068 h 10000"/>
                <a:gd name="connsiteX974" fmla="*/ 6829 w 10785"/>
                <a:gd name="connsiteY974" fmla="*/ 3077 h 10000"/>
                <a:gd name="connsiteX975" fmla="*/ 6829 w 10785"/>
                <a:gd name="connsiteY975" fmla="*/ 3128 h 10000"/>
                <a:gd name="connsiteX976" fmla="*/ 6816 w 10785"/>
                <a:gd name="connsiteY976" fmla="*/ 3154 h 10000"/>
                <a:gd name="connsiteX977" fmla="*/ 6811 w 10785"/>
                <a:gd name="connsiteY977" fmla="*/ 3179 h 10000"/>
                <a:gd name="connsiteX978" fmla="*/ 6797 w 10785"/>
                <a:gd name="connsiteY978" fmla="*/ 3171 h 10000"/>
                <a:gd name="connsiteX979" fmla="*/ 6783 w 10785"/>
                <a:gd name="connsiteY979" fmla="*/ 3103 h 10000"/>
                <a:gd name="connsiteX980" fmla="*/ 6779 w 10785"/>
                <a:gd name="connsiteY980" fmla="*/ 3094 h 10000"/>
                <a:gd name="connsiteX981" fmla="*/ 6779 w 10785"/>
                <a:gd name="connsiteY981" fmla="*/ 3120 h 10000"/>
                <a:gd name="connsiteX982" fmla="*/ 6770 w 10785"/>
                <a:gd name="connsiteY982" fmla="*/ 3128 h 10000"/>
                <a:gd name="connsiteX983" fmla="*/ 6765 w 10785"/>
                <a:gd name="connsiteY983" fmla="*/ 3103 h 10000"/>
                <a:gd name="connsiteX984" fmla="*/ 6756 w 10785"/>
                <a:gd name="connsiteY984" fmla="*/ 3103 h 10000"/>
                <a:gd name="connsiteX985" fmla="*/ 6742 w 10785"/>
                <a:gd name="connsiteY985" fmla="*/ 3103 h 10000"/>
                <a:gd name="connsiteX986" fmla="*/ 6737 w 10785"/>
                <a:gd name="connsiteY986" fmla="*/ 3077 h 10000"/>
                <a:gd name="connsiteX987" fmla="*/ 6737 w 10785"/>
                <a:gd name="connsiteY987" fmla="*/ 3068 h 10000"/>
                <a:gd name="connsiteX988" fmla="*/ 6728 w 10785"/>
                <a:gd name="connsiteY988" fmla="*/ 3043 h 10000"/>
                <a:gd name="connsiteX989" fmla="*/ 6724 w 10785"/>
                <a:gd name="connsiteY989" fmla="*/ 3051 h 10000"/>
                <a:gd name="connsiteX990" fmla="*/ 6714 w 10785"/>
                <a:gd name="connsiteY990" fmla="*/ 3043 h 10000"/>
                <a:gd name="connsiteX991" fmla="*/ 6710 w 10785"/>
                <a:gd name="connsiteY991" fmla="*/ 3034 h 10000"/>
                <a:gd name="connsiteX992" fmla="*/ 6705 w 10785"/>
                <a:gd name="connsiteY992" fmla="*/ 2983 h 10000"/>
                <a:gd name="connsiteX993" fmla="*/ 6696 w 10785"/>
                <a:gd name="connsiteY993" fmla="*/ 2966 h 10000"/>
                <a:gd name="connsiteX994" fmla="*/ 6691 w 10785"/>
                <a:gd name="connsiteY994" fmla="*/ 2983 h 10000"/>
                <a:gd name="connsiteX995" fmla="*/ 6677 w 10785"/>
                <a:gd name="connsiteY995" fmla="*/ 2897 h 10000"/>
                <a:gd name="connsiteX996" fmla="*/ 6677 w 10785"/>
                <a:gd name="connsiteY996" fmla="*/ 2897 h 10000"/>
                <a:gd name="connsiteX997" fmla="*/ 6677 w 10785"/>
                <a:gd name="connsiteY997" fmla="*/ 2872 h 10000"/>
                <a:gd name="connsiteX998" fmla="*/ 6668 w 10785"/>
                <a:gd name="connsiteY998" fmla="*/ 2821 h 10000"/>
                <a:gd name="connsiteX999" fmla="*/ 6664 w 10785"/>
                <a:gd name="connsiteY999" fmla="*/ 2829 h 10000"/>
                <a:gd name="connsiteX1000" fmla="*/ 6654 w 10785"/>
                <a:gd name="connsiteY1000" fmla="*/ 2846 h 10000"/>
                <a:gd name="connsiteX1001" fmla="*/ 6650 w 10785"/>
                <a:gd name="connsiteY1001" fmla="*/ 2829 h 10000"/>
                <a:gd name="connsiteX1002" fmla="*/ 6650 w 10785"/>
                <a:gd name="connsiteY1002" fmla="*/ 2803 h 10000"/>
                <a:gd name="connsiteX1003" fmla="*/ 6650 w 10785"/>
                <a:gd name="connsiteY1003" fmla="*/ 2795 h 10000"/>
                <a:gd name="connsiteX1004" fmla="*/ 6641 w 10785"/>
                <a:gd name="connsiteY1004" fmla="*/ 2786 h 10000"/>
                <a:gd name="connsiteX1005" fmla="*/ 6636 w 10785"/>
                <a:gd name="connsiteY1005" fmla="*/ 2735 h 10000"/>
                <a:gd name="connsiteX1006" fmla="*/ 6664 w 10785"/>
                <a:gd name="connsiteY1006" fmla="*/ 2667 h 10000"/>
                <a:gd name="connsiteX1007" fmla="*/ 6668 w 10785"/>
                <a:gd name="connsiteY1007" fmla="*/ 2684 h 10000"/>
                <a:gd name="connsiteX1008" fmla="*/ 6677 w 10785"/>
                <a:gd name="connsiteY1008" fmla="*/ 2667 h 10000"/>
                <a:gd name="connsiteX1009" fmla="*/ 6668 w 10785"/>
                <a:gd name="connsiteY1009" fmla="*/ 2667 h 10000"/>
                <a:gd name="connsiteX1010" fmla="*/ 6668 w 10785"/>
                <a:gd name="connsiteY1010" fmla="*/ 2650 h 10000"/>
                <a:gd name="connsiteX1011" fmla="*/ 6682 w 10785"/>
                <a:gd name="connsiteY1011" fmla="*/ 2650 h 10000"/>
                <a:gd name="connsiteX1012" fmla="*/ 6691 w 10785"/>
                <a:gd name="connsiteY1012" fmla="*/ 2624 h 10000"/>
                <a:gd name="connsiteX1013" fmla="*/ 6682 w 10785"/>
                <a:gd name="connsiteY1013" fmla="*/ 2632 h 10000"/>
                <a:gd name="connsiteX1014" fmla="*/ 6682 w 10785"/>
                <a:gd name="connsiteY1014" fmla="*/ 2624 h 10000"/>
                <a:gd name="connsiteX1015" fmla="*/ 6691 w 10785"/>
                <a:gd name="connsiteY1015" fmla="*/ 2607 h 10000"/>
                <a:gd name="connsiteX1016" fmla="*/ 6691 w 10785"/>
                <a:gd name="connsiteY1016" fmla="*/ 2598 h 10000"/>
                <a:gd name="connsiteX1017" fmla="*/ 6691 w 10785"/>
                <a:gd name="connsiteY1017" fmla="*/ 2581 h 10000"/>
                <a:gd name="connsiteX1018" fmla="*/ 6696 w 10785"/>
                <a:gd name="connsiteY1018" fmla="*/ 2530 h 10000"/>
                <a:gd name="connsiteX1019" fmla="*/ 6677 w 10785"/>
                <a:gd name="connsiteY1019" fmla="*/ 2513 h 10000"/>
                <a:gd name="connsiteX1020" fmla="*/ 6677 w 10785"/>
                <a:gd name="connsiteY1020" fmla="*/ 2496 h 10000"/>
                <a:gd name="connsiteX1021" fmla="*/ 6682 w 10785"/>
                <a:gd name="connsiteY1021" fmla="*/ 2470 h 10000"/>
                <a:gd name="connsiteX1022" fmla="*/ 6668 w 10785"/>
                <a:gd name="connsiteY1022" fmla="*/ 2462 h 10000"/>
                <a:gd name="connsiteX1023" fmla="*/ 6677 w 10785"/>
                <a:gd name="connsiteY1023" fmla="*/ 2436 h 10000"/>
                <a:gd name="connsiteX1024" fmla="*/ 6682 w 10785"/>
                <a:gd name="connsiteY1024" fmla="*/ 2419 h 10000"/>
                <a:gd name="connsiteX1025" fmla="*/ 6682 w 10785"/>
                <a:gd name="connsiteY1025" fmla="*/ 2393 h 10000"/>
                <a:gd name="connsiteX1026" fmla="*/ 6682 w 10785"/>
                <a:gd name="connsiteY1026" fmla="*/ 2385 h 10000"/>
                <a:gd name="connsiteX1027" fmla="*/ 6682 w 10785"/>
                <a:gd name="connsiteY1027" fmla="*/ 2385 h 10000"/>
                <a:gd name="connsiteX1028" fmla="*/ 6677 w 10785"/>
                <a:gd name="connsiteY1028" fmla="*/ 2376 h 10000"/>
                <a:gd name="connsiteX1029" fmla="*/ 6682 w 10785"/>
                <a:gd name="connsiteY1029" fmla="*/ 2359 h 10000"/>
                <a:gd name="connsiteX1030" fmla="*/ 6677 w 10785"/>
                <a:gd name="connsiteY1030" fmla="*/ 2333 h 10000"/>
                <a:gd name="connsiteX1031" fmla="*/ 6691 w 10785"/>
                <a:gd name="connsiteY1031" fmla="*/ 2333 h 10000"/>
                <a:gd name="connsiteX1032" fmla="*/ 6691 w 10785"/>
                <a:gd name="connsiteY1032" fmla="*/ 2325 h 10000"/>
                <a:gd name="connsiteX1033" fmla="*/ 6691 w 10785"/>
                <a:gd name="connsiteY1033" fmla="*/ 2308 h 10000"/>
                <a:gd name="connsiteX1034" fmla="*/ 6691 w 10785"/>
                <a:gd name="connsiteY1034" fmla="*/ 2299 h 10000"/>
                <a:gd name="connsiteX1035" fmla="*/ 6691 w 10785"/>
                <a:gd name="connsiteY1035" fmla="*/ 2282 h 10000"/>
                <a:gd name="connsiteX1036" fmla="*/ 6691 w 10785"/>
                <a:gd name="connsiteY1036" fmla="*/ 2274 h 10000"/>
                <a:gd name="connsiteX1037" fmla="*/ 6668 w 10785"/>
                <a:gd name="connsiteY1037" fmla="*/ 2248 h 10000"/>
                <a:gd name="connsiteX1038" fmla="*/ 6664 w 10785"/>
                <a:gd name="connsiteY1038" fmla="*/ 2222 h 10000"/>
                <a:gd name="connsiteX1039" fmla="*/ 6654 w 10785"/>
                <a:gd name="connsiteY1039" fmla="*/ 2214 h 10000"/>
                <a:gd name="connsiteX1040" fmla="*/ 6654 w 10785"/>
                <a:gd name="connsiteY1040" fmla="*/ 2188 h 10000"/>
                <a:gd name="connsiteX1041" fmla="*/ 6622 w 10785"/>
                <a:gd name="connsiteY1041" fmla="*/ 2162 h 10000"/>
                <a:gd name="connsiteX1042" fmla="*/ 6631 w 10785"/>
                <a:gd name="connsiteY1042" fmla="*/ 2145 h 10000"/>
                <a:gd name="connsiteX1043" fmla="*/ 6622 w 10785"/>
                <a:gd name="connsiteY1043" fmla="*/ 2120 h 10000"/>
                <a:gd name="connsiteX1044" fmla="*/ 6608 w 10785"/>
                <a:gd name="connsiteY1044" fmla="*/ 2120 h 10000"/>
                <a:gd name="connsiteX1045" fmla="*/ 6604 w 10785"/>
                <a:gd name="connsiteY1045" fmla="*/ 2111 h 10000"/>
                <a:gd name="connsiteX1046" fmla="*/ 6608 w 10785"/>
                <a:gd name="connsiteY1046" fmla="*/ 2111 h 10000"/>
                <a:gd name="connsiteX1047" fmla="*/ 6604 w 10785"/>
                <a:gd name="connsiteY1047" fmla="*/ 2085 h 10000"/>
                <a:gd name="connsiteX1048" fmla="*/ 6581 w 10785"/>
                <a:gd name="connsiteY1048" fmla="*/ 2077 h 10000"/>
                <a:gd name="connsiteX1049" fmla="*/ 6571 w 10785"/>
                <a:gd name="connsiteY1049" fmla="*/ 2085 h 10000"/>
                <a:gd name="connsiteX1050" fmla="*/ 6548 w 10785"/>
                <a:gd name="connsiteY1050" fmla="*/ 2077 h 10000"/>
                <a:gd name="connsiteX1051" fmla="*/ 6530 w 10785"/>
                <a:gd name="connsiteY1051" fmla="*/ 2060 h 10000"/>
                <a:gd name="connsiteX1052" fmla="*/ 6521 w 10785"/>
                <a:gd name="connsiteY1052" fmla="*/ 2060 h 10000"/>
                <a:gd name="connsiteX1053" fmla="*/ 6521 w 10785"/>
                <a:gd name="connsiteY1053" fmla="*/ 2085 h 10000"/>
                <a:gd name="connsiteX1054" fmla="*/ 6516 w 10785"/>
                <a:gd name="connsiteY1054" fmla="*/ 2085 h 10000"/>
                <a:gd name="connsiteX1055" fmla="*/ 6502 w 10785"/>
                <a:gd name="connsiteY1055" fmla="*/ 2111 h 10000"/>
                <a:gd name="connsiteX1056" fmla="*/ 6498 w 10785"/>
                <a:gd name="connsiteY1056" fmla="*/ 2111 h 10000"/>
                <a:gd name="connsiteX1057" fmla="*/ 6498 w 10785"/>
                <a:gd name="connsiteY1057" fmla="*/ 2103 h 10000"/>
                <a:gd name="connsiteX1058" fmla="*/ 6475 w 10785"/>
                <a:gd name="connsiteY1058" fmla="*/ 2051 h 10000"/>
                <a:gd name="connsiteX1059" fmla="*/ 6470 w 10785"/>
                <a:gd name="connsiteY1059" fmla="*/ 2060 h 10000"/>
                <a:gd name="connsiteX1060" fmla="*/ 6456 w 10785"/>
                <a:gd name="connsiteY1060" fmla="*/ 2051 h 10000"/>
                <a:gd name="connsiteX1061" fmla="*/ 6447 w 10785"/>
                <a:gd name="connsiteY1061" fmla="*/ 2051 h 10000"/>
                <a:gd name="connsiteX1062" fmla="*/ 6433 w 10785"/>
                <a:gd name="connsiteY1062" fmla="*/ 2026 h 10000"/>
                <a:gd name="connsiteX1063" fmla="*/ 6433 w 10785"/>
                <a:gd name="connsiteY1063" fmla="*/ 2034 h 10000"/>
                <a:gd name="connsiteX1064" fmla="*/ 6429 w 10785"/>
                <a:gd name="connsiteY1064" fmla="*/ 2026 h 10000"/>
                <a:gd name="connsiteX1065" fmla="*/ 6424 w 10785"/>
                <a:gd name="connsiteY1065" fmla="*/ 2034 h 10000"/>
                <a:gd name="connsiteX1066" fmla="*/ 6410 w 10785"/>
                <a:gd name="connsiteY1066" fmla="*/ 2026 h 10000"/>
                <a:gd name="connsiteX1067" fmla="*/ 6410 w 10785"/>
                <a:gd name="connsiteY1067" fmla="*/ 1991 h 10000"/>
                <a:gd name="connsiteX1068" fmla="*/ 6401 w 10785"/>
                <a:gd name="connsiteY1068" fmla="*/ 1991 h 10000"/>
                <a:gd name="connsiteX1069" fmla="*/ 6396 w 10785"/>
                <a:gd name="connsiteY1069" fmla="*/ 2000 h 10000"/>
                <a:gd name="connsiteX1070" fmla="*/ 6382 w 10785"/>
                <a:gd name="connsiteY1070" fmla="*/ 1966 h 10000"/>
                <a:gd name="connsiteX1071" fmla="*/ 6373 w 10785"/>
                <a:gd name="connsiteY1071" fmla="*/ 1974 h 10000"/>
                <a:gd name="connsiteX1072" fmla="*/ 6369 w 10785"/>
                <a:gd name="connsiteY1072" fmla="*/ 1966 h 10000"/>
                <a:gd name="connsiteX1073" fmla="*/ 6341 w 10785"/>
                <a:gd name="connsiteY1073" fmla="*/ 1949 h 10000"/>
                <a:gd name="connsiteX1074" fmla="*/ 6327 w 10785"/>
                <a:gd name="connsiteY1074" fmla="*/ 1923 h 10000"/>
                <a:gd name="connsiteX1075" fmla="*/ 6323 w 10785"/>
                <a:gd name="connsiteY1075" fmla="*/ 1923 h 10000"/>
                <a:gd name="connsiteX1076" fmla="*/ 6323 w 10785"/>
                <a:gd name="connsiteY1076" fmla="*/ 1966 h 10000"/>
                <a:gd name="connsiteX1077" fmla="*/ 6323 w 10785"/>
                <a:gd name="connsiteY1077" fmla="*/ 1991 h 10000"/>
                <a:gd name="connsiteX1078" fmla="*/ 6313 w 10785"/>
                <a:gd name="connsiteY1078" fmla="*/ 1991 h 10000"/>
                <a:gd name="connsiteX1079" fmla="*/ 6300 w 10785"/>
                <a:gd name="connsiteY1079" fmla="*/ 1991 h 10000"/>
                <a:gd name="connsiteX1080" fmla="*/ 6290 w 10785"/>
                <a:gd name="connsiteY1080" fmla="*/ 1949 h 10000"/>
                <a:gd name="connsiteX1081" fmla="*/ 6276 w 10785"/>
                <a:gd name="connsiteY1081" fmla="*/ 2103 h 10000"/>
                <a:gd name="connsiteX1082" fmla="*/ 6281 w 10785"/>
                <a:gd name="connsiteY1082" fmla="*/ 2103 h 10000"/>
                <a:gd name="connsiteX1083" fmla="*/ 6276 w 10785"/>
                <a:gd name="connsiteY1083" fmla="*/ 2111 h 10000"/>
                <a:gd name="connsiteX1084" fmla="*/ 6276 w 10785"/>
                <a:gd name="connsiteY1084" fmla="*/ 2120 h 10000"/>
                <a:gd name="connsiteX1085" fmla="*/ 6295 w 10785"/>
                <a:gd name="connsiteY1085" fmla="*/ 2239 h 10000"/>
                <a:gd name="connsiteX1086" fmla="*/ 6290 w 10785"/>
                <a:gd name="connsiteY1086" fmla="*/ 2248 h 10000"/>
                <a:gd name="connsiteX1087" fmla="*/ 6281 w 10785"/>
                <a:gd name="connsiteY1087" fmla="*/ 2274 h 10000"/>
                <a:gd name="connsiteX1088" fmla="*/ 6249 w 10785"/>
                <a:gd name="connsiteY1088" fmla="*/ 2274 h 10000"/>
                <a:gd name="connsiteX1089" fmla="*/ 6226 w 10785"/>
                <a:gd name="connsiteY1089" fmla="*/ 2308 h 10000"/>
                <a:gd name="connsiteX1090" fmla="*/ 6221 w 10785"/>
                <a:gd name="connsiteY1090" fmla="*/ 2299 h 10000"/>
                <a:gd name="connsiteX1091" fmla="*/ 6221 w 10785"/>
                <a:gd name="connsiteY1091" fmla="*/ 2308 h 10000"/>
                <a:gd name="connsiteX1092" fmla="*/ 6217 w 10785"/>
                <a:gd name="connsiteY1092" fmla="*/ 2299 h 10000"/>
                <a:gd name="connsiteX1093" fmla="*/ 6194 w 10785"/>
                <a:gd name="connsiteY1093" fmla="*/ 2308 h 10000"/>
                <a:gd name="connsiteX1094" fmla="*/ 6180 w 10785"/>
                <a:gd name="connsiteY1094" fmla="*/ 2299 h 10000"/>
                <a:gd name="connsiteX1095" fmla="*/ 6143 w 10785"/>
                <a:gd name="connsiteY1095" fmla="*/ 2308 h 10000"/>
                <a:gd name="connsiteX1096" fmla="*/ 6134 w 10785"/>
                <a:gd name="connsiteY1096" fmla="*/ 2325 h 10000"/>
                <a:gd name="connsiteX1097" fmla="*/ 6115 w 10785"/>
                <a:gd name="connsiteY1097" fmla="*/ 2282 h 10000"/>
                <a:gd name="connsiteX1098" fmla="*/ 6069 w 10785"/>
                <a:gd name="connsiteY1098" fmla="*/ 2274 h 10000"/>
                <a:gd name="connsiteX1099" fmla="*/ 6069 w 10785"/>
                <a:gd name="connsiteY1099" fmla="*/ 2282 h 10000"/>
                <a:gd name="connsiteX1100" fmla="*/ 6060 w 10785"/>
                <a:gd name="connsiteY1100" fmla="*/ 2299 h 10000"/>
                <a:gd name="connsiteX1101" fmla="*/ 5972 w 10785"/>
                <a:gd name="connsiteY1101" fmla="*/ 2214 h 10000"/>
                <a:gd name="connsiteX1102" fmla="*/ 5968 w 10785"/>
                <a:gd name="connsiteY1102" fmla="*/ 2197 h 10000"/>
                <a:gd name="connsiteX1103" fmla="*/ 5968 w 10785"/>
                <a:gd name="connsiteY1103" fmla="*/ 2171 h 10000"/>
                <a:gd name="connsiteX1104" fmla="*/ 5968 w 10785"/>
                <a:gd name="connsiteY1104" fmla="*/ 2162 h 10000"/>
                <a:gd name="connsiteX1105" fmla="*/ 5968 w 10785"/>
                <a:gd name="connsiteY1105" fmla="*/ 2120 h 10000"/>
                <a:gd name="connsiteX1106" fmla="*/ 5968 w 10785"/>
                <a:gd name="connsiteY1106" fmla="*/ 2111 h 10000"/>
                <a:gd name="connsiteX1107" fmla="*/ 5972 w 10785"/>
                <a:gd name="connsiteY1107" fmla="*/ 2103 h 10000"/>
                <a:gd name="connsiteX1108" fmla="*/ 5986 w 10785"/>
                <a:gd name="connsiteY1108" fmla="*/ 2103 h 10000"/>
                <a:gd name="connsiteX1109" fmla="*/ 5986 w 10785"/>
                <a:gd name="connsiteY1109" fmla="*/ 2085 h 10000"/>
                <a:gd name="connsiteX1110" fmla="*/ 5995 w 10785"/>
                <a:gd name="connsiteY1110" fmla="*/ 2085 h 10000"/>
                <a:gd name="connsiteX1111" fmla="*/ 5995 w 10785"/>
                <a:gd name="connsiteY1111" fmla="*/ 2077 h 10000"/>
                <a:gd name="connsiteX1112" fmla="*/ 5986 w 10785"/>
                <a:gd name="connsiteY1112" fmla="*/ 2060 h 10000"/>
                <a:gd name="connsiteX1113" fmla="*/ 5954 w 10785"/>
                <a:gd name="connsiteY1113" fmla="*/ 2060 h 10000"/>
                <a:gd name="connsiteX1114" fmla="*/ 5940 w 10785"/>
                <a:gd name="connsiteY1114" fmla="*/ 2051 h 10000"/>
                <a:gd name="connsiteX1115" fmla="*/ 5922 w 10785"/>
                <a:gd name="connsiteY1115" fmla="*/ 2060 h 10000"/>
                <a:gd name="connsiteX1116" fmla="*/ 5885 w 10785"/>
                <a:gd name="connsiteY1116" fmla="*/ 2051 h 10000"/>
                <a:gd name="connsiteX1117" fmla="*/ 5876 w 10785"/>
                <a:gd name="connsiteY1117" fmla="*/ 2026 h 10000"/>
                <a:gd name="connsiteX1118" fmla="*/ 5862 w 10785"/>
                <a:gd name="connsiteY1118" fmla="*/ 2026 h 10000"/>
                <a:gd name="connsiteX1119" fmla="*/ 5848 w 10785"/>
                <a:gd name="connsiteY1119" fmla="*/ 2026 h 10000"/>
                <a:gd name="connsiteX1120" fmla="*/ 5825 w 10785"/>
                <a:gd name="connsiteY1120" fmla="*/ 2026 h 10000"/>
                <a:gd name="connsiteX1121" fmla="*/ 5788 w 10785"/>
                <a:gd name="connsiteY1121" fmla="*/ 1991 h 10000"/>
                <a:gd name="connsiteX1122" fmla="*/ 5760 w 10785"/>
                <a:gd name="connsiteY1122" fmla="*/ 2000 h 10000"/>
                <a:gd name="connsiteX1123" fmla="*/ 5760 w 10785"/>
                <a:gd name="connsiteY1123" fmla="*/ 2026 h 10000"/>
                <a:gd name="connsiteX1124" fmla="*/ 5714 w 10785"/>
                <a:gd name="connsiteY1124" fmla="*/ 2051 h 10000"/>
                <a:gd name="connsiteX1125" fmla="*/ 5687 w 10785"/>
                <a:gd name="connsiteY1125" fmla="*/ 2034 h 10000"/>
                <a:gd name="connsiteX1126" fmla="*/ 5645 w 10785"/>
                <a:gd name="connsiteY1126" fmla="*/ 2077 h 10000"/>
                <a:gd name="connsiteX1127" fmla="*/ 5664 w 10785"/>
                <a:gd name="connsiteY1127" fmla="*/ 2120 h 10000"/>
                <a:gd name="connsiteX1128" fmla="*/ 5664 w 10785"/>
                <a:gd name="connsiteY1128" fmla="*/ 2162 h 10000"/>
                <a:gd name="connsiteX1129" fmla="*/ 5631 w 10785"/>
                <a:gd name="connsiteY1129" fmla="*/ 2197 h 10000"/>
                <a:gd name="connsiteX1130" fmla="*/ 5618 w 10785"/>
                <a:gd name="connsiteY1130" fmla="*/ 2188 h 10000"/>
                <a:gd name="connsiteX1131" fmla="*/ 5618 w 10785"/>
                <a:gd name="connsiteY1131" fmla="*/ 2171 h 10000"/>
                <a:gd name="connsiteX1132" fmla="*/ 5641 w 10785"/>
                <a:gd name="connsiteY1132" fmla="*/ 2171 h 10000"/>
                <a:gd name="connsiteX1133" fmla="*/ 5641 w 10785"/>
                <a:gd name="connsiteY1133" fmla="*/ 2162 h 10000"/>
                <a:gd name="connsiteX1134" fmla="*/ 5627 w 10785"/>
                <a:gd name="connsiteY1134" fmla="*/ 2145 h 10000"/>
                <a:gd name="connsiteX1135" fmla="*/ 5627 w 10785"/>
                <a:gd name="connsiteY1135" fmla="*/ 2120 h 10000"/>
                <a:gd name="connsiteX1136" fmla="*/ 5618 w 10785"/>
                <a:gd name="connsiteY1136" fmla="*/ 2111 h 10000"/>
                <a:gd name="connsiteX1137" fmla="*/ 5631 w 10785"/>
                <a:gd name="connsiteY1137" fmla="*/ 2051 h 10000"/>
                <a:gd name="connsiteX1138" fmla="*/ 5631 w 10785"/>
                <a:gd name="connsiteY1138" fmla="*/ 2026 h 10000"/>
                <a:gd name="connsiteX1139" fmla="*/ 5627 w 10785"/>
                <a:gd name="connsiteY1139" fmla="*/ 1991 h 10000"/>
                <a:gd name="connsiteX1140" fmla="*/ 5618 w 10785"/>
                <a:gd name="connsiteY1140" fmla="*/ 1974 h 10000"/>
                <a:gd name="connsiteX1141" fmla="*/ 5618 w 10785"/>
                <a:gd name="connsiteY1141" fmla="*/ 1940 h 10000"/>
                <a:gd name="connsiteX1142" fmla="*/ 5594 w 10785"/>
                <a:gd name="connsiteY1142" fmla="*/ 1855 h 10000"/>
                <a:gd name="connsiteX1143" fmla="*/ 5599 w 10785"/>
                <a:gd name="connsiteY1143" fmla="*/ 1915 h 10000"/>
                <a:gd name="connsiteX1144" fmla="*/ 5599 w 10785"/>
                <a:gd name="connsiteY1144" fmla="*/ 1949 h 10000"/>
                <a:gd name="connsiteX1145" fmla="*/ 5594 w 10785"/>
                <a:gd name="connsiteY1145" fmla="*/ 1991 h 10000"/>
                <a:gd name="connsiteX1146" fmla="*/ 5571 w 10785"/>
                <a:gd name="connsiteY1146" fmla="*/ 2000 h 10000"/>
                <a:gd name="connsiteX1147" fmla="*/ 5530 w 10785"/>
                <a:gd name="connsiteY1147" fmla="*/ 1991 h 10000"/>
                <a:gd name="connsiteX1148" fmla="*/ 5525 w 10785"/>
                <a:gd name="connsiteY1148" fmla="*/ 2000 h 10000"/>
                <a:gd name="connsiteX1149" fmla="*/ 5521 w 10785"/>
                <a:gd name="connsiteY1149" fmla="*/ 1991 h 10000"/>
                <a:gd name="connsiteX1150" fmla="*/ 5498 w 10785"/>
                <a:gd name="connsiteY1150" fmla="*/ 1949 h 10000"/>
                <a:gd name="connsiteX1151" fmla="*/ 5493 w 10785"/>
                <a:gd name="connsiteY1151" fmla="*/ 1889 h 10000"/>
                <a:gd name="connsiteX1152" fmla="*/ 5493 w 10785"/>
                <a:gd name="connsiteY1152" fmla="*/ 1863 h 10000"/>
                <a:gd name="connsiteX1153" fmla="*/ 5498 w 10785"/>
                <a:gd name="connsiteY1153" fmla="*/ 1889 h 10000"/>
                <a:gd name="connsiteX1154" fmla="*/ 5512 w 10785"/>
                <a:gd name="connsiteY1154" fmla="*/ 1855 h 10000"/>
                <a:gd name="connsiteX1155" fmla="*/ 5512 w 10785"/>
                <a:gd name="connsiteY1155" fmla="*/ 1838 h 10000"/>
                <a:gd name="connsiteX1156" fmla="*/ 5479 w 10785"/>
                <a:gd name="connsiteY1156" fmla="*/ 1855 h 10000"/>
                <a:gd name="connsiteX1157" fmla="*/ 5470 w 10785"/>
                <a:gd name="connsiteY1157" fmla="*/ 1872 h 10000"/>
                <a:gd name="connsiteX1158" fmla="*/ 5470 w 10785"/>
                <a:gd name="connsiteY1158" fmla="*/ 1889 h 10000"/>
                <a:gd name="connsiteX1159" fmla="*/ 5465 w 10785"/>
                <a:gd name="connsiteY1159" fmla="*/ 1897 h 10000"/>
                <a:gd name="connsiteX1160" fmla="*/ 5456 w 10785"/>
                <a:gd name="connsiteY1160" fmla="*/ 1872 h 10000"/>
                <a:gd name="connsiteX1161" fmla="*/ 5447 w 10785"/>
                <a:gd name="connsiteY1161" fmla="*/ 1872 h 10000"/>
                <a:gd name="connsiteX1162" fmla="*/ 5433 w 10785"/>
                <a:gd name="connsiteY1162" fmla="*/ 1855 h 10000"/>
                <a:gd name="connsiteX1163" fmla="*/ 5396 w 10785"/>
                <a:gd name="connsiteY1163" fmla="*/ 1863 h 10000"/>
                <a:gd name="connsiteX1164" fmla="*/ 5396 w 10785"/>
                <a:gd name="connsiteY1164" fmla="*/ 1897 h 10000"/>
                <a:gd name="connsiteX1165" fmla="*/ 5378 w 10785"/>
                <a:gd name="connsiteY1165" fmla="*/ 1949 h 10000"/>
                <a:gd name="connsiteX1166" fmla="*/ 5378 w 10785"/>
                <a:gd name="connsiteY1166" fmla="*/ 1966 h 10000"/>
                <a:gd name="connsiteX1167" fmla="*/ 5392 w 10785"/>
                <a:gd name="connsiteY1167" fmla="*/ 2026 h 10000"/>
                <a:gd name="connsiteX1168" fmla="*/ 5396 w 10785"/>
                <a:gd name="connsiteY1168" fmla="*/ 2026 h 10000"/>
                <a:gd name="connsiteX1169" fmla="*/ 5392 w 10785"/>
                <a:gd name="connsiteY1169" fmla="*/ 2009 h 10000"/>
                <a:gd name="connsiteX1170" fmla="*/ 5392 w 10785"/>
                <a:gd name="connsiteY1170" fmla="*/ 2000 h 10000"/>
                <a:gd name="connsiteX1171" fmla="*/ 5396 w 10785"/>
                <a:gd name="connsiteY1171" fmla="*/ 2009 h 10000"/>
                <a:gd name="connsiteX1172" fmla="*/ 5424 w 10785"/>
                <a:gd name="connsiteY1172" fmla="*/ 2009 h 10000"/>
                <a:gd name="connsiteX1173" fmla="*/ 5433 w 10785"/>
                <a:gd name="connsiteY1173" fmla="*/ 1991 h 10000"/>
                <a:gd name="connsiteX1174" fmla="*/ 5447 w 10785"/>
                <a:gd name="connsiteY1174" fmla="*/ 1974 h 10000"/>
                <a:gd name="connsiteX1175" fmla="*/ 5452 w 10785"/>
                <a:gd name="connsiteY1175" fmla="*/ 1966 h 10000"/>
                <a:gd name="connsiteX1176" fmla="*/ 5456 w 10785"/>
                <a:gd name="connsiteY1176" fmla="*/ 1966 h 10000"/>
                <a:gd name="connsiteX1177" fmla="*/ 5465 w 10785"/>
                <a:gd name="connsiteY1177" fmla="*/ 2009 h 10000"/>
                <a:gd name="connsiteX1178" fmla="*/ 5433 w 10785"/>
                <a:gd name="connsiteY1178" fmla="*/ 2034 h 10000"/>
                <a:gd name="connsiteX1179" fmla="*/ 5424 w 10785"/>
                <a:gd name="connsiteY1179" fmla="*/ 2060 h 10000"/>
                <a:gd name="connsiteX1180" fmla="*/ 5419 w 10785"/>
                <a:gd name="connsiteY1180" fmla="*/ 2060 h 10000"/>
                <a:gd name="connsiteX1181" fmla="*/ 5392 w 10785"/>
                <a:gd name="connsiteY1181" fmla="*/ 2111 h 10000"/>
                <a:gd name="connsiteX1182" fmla="*/ 5378 w 10785"/>
                <a:gd name="connsiteY1182" fmla="*/ 2111 h 10000"/>
                <a:gd name="connsiteX1183" fmla="*/ 5350 w 10785"/>
                <a:gd name="connsiteY1183" fmla="*/ 2060 h 10000"/>
                <a:gd name="connsiteX1184" fmla="*/ 5373 w 10785"/>
                <a:gd name="connsiteY1184" fmla="*/ 2111 h 10000"/>
                <a:gd name="connsiteX1185" fmla="*/ 5364 w 10785"/>
                <a:gd name="connsiteY1185" fmla="*/ 2111 h 10000"/>
                <a:gd name="connsiteX1186" fmla="*/ 5359 w 10785"/>
                <a:gd name="connsiteY1186" fmla="*/ 2103 h 10000"/>
                <a:gd name="connsiteX1187" fmla="*/ 5359 w 10785"/>
                <a:gd name="connsiteY1187" fmla="*/ 2120 h 10000"/>
                <a:gd name="connsiteX1188" fmla="*/ 5359 w 10785"/>
                <a:gd name="connsiteY1188" fmla="*/ 2137 h 10000"/>
                <a:gd name="connsiteX1189" fmla="*/ 5313 w 10785"/>
                <a:gd name="connsiteY1189" fmla="*/ 2162 h 10000"/>
                <a:gd name="connsiteX1190" fmla="*/ 5300 w 10785"/>
                <a:gd name="connsiteY1190" fmla="*/ 2162 h 10000"/>
                <a:gd name="connsiteX1191" fmla="*/ 5300 w 10785"/>
                <a:gd name="connsiteY1191" fmla="*/ 2171 h 10000"/>
                <a:gd name="connsiteX1192" fmla="*/ 5300 w 10785"/>
                <a:gd name="connsiteY1192" fmla="*/ 2197 h 10000"/>
                <a:gd name="connsiteX1193" fmla="*/ 5276 w 10785"/>
                <a:gd name="connsiteY1193" fmla="*/ 2188 h 10000"/>
                <a:gd name="connsiteX1194" fmla="*/ 5249 w 10785"/>
                <a:gd name="connsiteY1194" fmla="*/ 2222 h 10000"/>
                <a:gd name="connsiteX1195" fmla="*/ 5249 w 10785"/>
                <a:gd name="connsiteY1195" fmla="*/ 2222 h 10000"/>
                <a:gd name="connsiteX1196" fmla="*/ 5217 w 10785"/>
                <a:gd name="connsiteY1196" fmla="*/ 2214 h 10000"/>
                <a:gd name="connsiteX1197" fmla="*/ 5203 w 10785"/>
                <a:gd name="connsiteY1197" fmla="*/ 2239 h 10000"/>
                <a:gd name="connsiteX1198" fmla="*/ 5171 w 10785"/>
                <a:gd name="connsiteY1198" fmla="*/ 2214 h 10000"/>
                <a:gd name="connsiteX1199" fmla="*/ 5157 w 10785"/>
                <a:gd name="connsiteY1199" fmla="*/ 2239 h 10000"/>
                <a:gd name="connsiteX1200" fmla="*/ 5166 w 10785"/>
                <a:gd name="connsiteY1200" fmla="*/ 2256 h 10000"/>
                <a:gd name="connsiteX1201" fmla="*/ 5171 w 10785"/>
                <a:gd name="connsiteY1201" fmla="*/ 2308 h 10000"/>
                <a:gd name="connsiteX1202" fmla="*/ 5212 w 10785"/>
                <a:gd name="connsiteY1202" fmla="*/ 2350 h 10000"/>
                <a:gd name="connsiteX1203" fmla="*/ 5203 w 10785"/>
                <a:gd name="connsiteY1203" fmla="*/ 2350 h 10000"/>
                <a:gd name="connsiteX1204" fmla="*/ 5166 w 10785"/>
                <a:gd name="connsiteY1204" fmla="*/ 2325 h 10000"/>
                <a:gd name="connsiteX1205" fmla="*/ 5152 w 10785"/>
                <a:gd name="connsiteY1205" fmla="*/ 2308 h 10000"/>
                <a:gd name="connsiteX1206" fmla="*/ 5143 w 10785"/>
                <a:gd name="connsiteY1206" fmla="*/ 2333 h 10000"/>
                <a:gd name="connsiteX1207" fmla="*/ 5138 w 10785"/>
                <a:gd name="connsiteY1207" fmla="*/ 2333 h 10000"/>
                <a:gd name="connsiteX1208" fmla="*/ 5124 w 10785"/>
                <a:gd name="connsiteY1208" fmla="*/ 2376 h 10000"/>
                <a:gd name="connsiteX1209" fmla="*/ 5115 w 10785"/>
                <a:gd name="connsiteY1209" fmla="*/ 2385 h 10000"/>
                <a:gd name="connsiteX1210" fmla="*/ 5106 w 10785"/>
                <a:gd name="connsiteY1210" fmla="*/ 2385 h 10000"/>
                <a:gd name="connsiteX1211" fmla="*/ 5055 w 10785"/>
                <a:gd name="connsiteY1211" fmla="*/ 2470 h 10000"/>
                <a:gd name="connsiteX1212" fmla="*/ 5065 w 10785"/>
                <a:gd name="connsiteY1212" fmla="*/ 2462 h 10000"/>
                <a:gd name="connsiteX1213" fmla="*/ 5055 w 10785"/>
                <a:gd name="connsiteY1213" fmla="*/ 2444 h 10000"/>
                <a:gd name="connsiteX1214" fmla="*/ 5041 w 10785"/>
                <a:gd name="connsiteY1214" fmla="*/ 2462 h 10000"/>
                <a:gd name="connsiteX1215" fmla="*/ 5037 w 10785"/>
                <a:gd name="connsiteY1215" fmla="*/ 2470 h 10000"/>
                <a:gd name="connsiteX1216" fmla="*/ 5032 w 10785"/>
                <a:gd name="connsiteY1216" fmla="*/ 2470 h 10000"/>
                <a:gd name="connsiteX1217" fmla="*/ 5032 w 10785"/>
                <a:gd name="connsiteY1217" fmla="*/ 2444 h 10000"/>
                <a:gd name="connsiteX1218" fmla="*/ 5055 w 10785"/>
                <a:gd name="connsiteY1218" fmla="*/ 2410 h 10000"/>
                <a:gd name="connsiteX1219" fmla="*/ 5065 w 10785"/>
                <a:gd name="connsiteY1219" fmla="*/ 2393 h 10000"/>
                <a:gd name="connsiteX1220" fmla="*/ 5069 w 10785"/>
                <a:gd name="connsiteY1220" fmla="*/ 2385 h 10000"/>
                <a:gd name="connsiteX1221" fmla="*/ 5083 w 10785"/>
                <a:gd name="connsiteY1221" fmla="*/ 2376 h 10000"/>
                <a:gd name="connsiteX1222" fmla="*/ 5097 w 10785"/>
                <a:gd name="connsiteY1222" fmla="*/ 2376 h 10000"/>
                <a:gd name="connsiteX1223" fmla="*/ 5124 w 10785"/>
                <a:gd name="connsiteY1223" fmla="*/ 2325 h 10000"/>
                <a:gd name="connsiteX1224" fmla="*/ 5143 w 10785"/>
                <a:gd name="connsiteY1224" fmla="*/ 2248 h 10000"/>
                <a:gd name="connsiteX1225" fmla="*/ 5152 w 10785"/>
                <a:gd name="connsiteY1225" fmla="*/ 2239 h 10000"/>
                <a:gd name="connsiteX1226" fmla="*/ 5166 w 10785"/>
                <a:gd name="connsiteY1226" fmla="*/ 2162 h 10000"/>
                <a:gd name="connsiteX1227" fmla="*/ 5171 w 10785"/>
                <a:gd name="connsiteY1227" fmla="*/ 2171 h 10000"/>
                <a:gd name="connsiteX1228" fmla="*/ 5198 w 10785"/>
                <a:gd name="connsiteY1228" fmla="*/ 2145 h 10000"/>
                <a:gd name="connsiteX1229" fmla="*/ 5203 w 10785"/>
                <a:gd name="connsiteY1229" fmla="*/ 2111 h 10000"/>
                <a:gd name="connsiteX1230" fmla="*/ 5217 w 10785"/>
                <a:gd name="connsiteY1230" fmla="*/ 2060 h 10000"/>
                <a:gd name="connsiteX1231" fmla="*/ 5226 w 10785"/>
                <a:gd name="connsiteY1231" fmla="*/ 2026 h 10000"/>
                <a:gd name="connsiteX1232" fmla="*/ 5286 w 10785"/>
                <a:gd name="connsiteY1232" fmla="*/ 2026 h 10000"/>
                <a:gd name="connsiteX1233" fmla="*/ 5290 w 10785"/>
                <a:gd name="connsiteY1233" fmla="*/ 2034 h 10000"/>
                <a:gd name="connsiteX1234" fmla="*/ 5323 w 10785"/>
                <a:gd name="connsiteY1234" fmla="*/ 1923 h 10000"/>
                <a:gd name="connsiteX1235" fmla="*/ 5323 w 10785"/>
                <a:gd name="connsiteY1235" fmla="*/ 1889 h 10000"/>
                <a:gd name="connsiteX1236" fmla="*/ 5359 w 10785"/>
                <a:gd name="connsiteY1236" fmla="*/ 1829 h 10000"/>
                <a:gd name="connsiteX1237" fmla="*/ 5378 w 10785"/>
                <a:gd name="connsiteY1237" fmla="*/ 1812 h 10000"/>
                <a:gd name="connsiteX1238" fmla="*/ 5406 w 10785"/>
                <a:gd name="connsiteY1238" fmla="*/ 1752 h 10000"/>
                <a:gd name="connsiteX1239" fmla="*/ 5410 w 10785"/>
                <a:gd name="connsiteY1239" fmla="*/ 1718 h 10000"/>
                <a:gd name="connsiteX1240" fmla="*/ 5438 w 10785"/>
                <a:gd name="connsiteY1240" fmla="*/ 1667 h 10000"/>
                <a:gd name="connsiteX1241" fmla="*/ 5438 w 10785"/>
                <a:gd name="connsiteY1241" fmla="*/ 1650 h 10000"/>
                <a:gd name="connsiteX1242" fmla="*/ 5438 w 10785"/>
                <a:gd name="connsiteY1242" fmla="*/ 1641 h 10000"/>
                <a:gd name="connsiteX1243" fmla="*/ 5452 w 10785"/>
                <a:gd name="connsiteY1243" fmla="*/ 1641 h 10000"/>
                <a:gd name="connsiteX1244" fmla="*/ 5456 w 10785"/>
                <a:gd name="connsiteY1244" fmla="*/ 1615 h 10000"/>
                <a:gd name="connsiteX1245" fmla="*/ 5456 w 10785"/>
                <a:gd name="connsiteY1245" fmla="*/ 1615 h 10000"/>
                <a:gd name="connsiteX1246" fmla="*/ 5465 w 10785"/>
                <a:gd name="connsiteY1246" fmla="*/ 1598 h 10000"/>
                <a:gd name="connsiteX1247" fmla="*/ 5465 w 10785"/>
                <a:gd name="connsiteY1247" fmla="*/ 1615 h 10000"/>
                <a:gd name="connsiteX1248" fmla="*/ 5479 w 10785"/>
                <a:gd name="connsiteY1248" fmla="*/ 1598 h 10000"/>
                <a:gd name="connsiteX1249" fmla="*/ 5484 w 10785"/>
                <a:gd name="connsiteY1249" fmla="*/ 1581 h 10000"/>
                <a:gd name="connsiteX1250" fmla="*/ 5493 w 10785"/>
                <a:gd name="connsiteY1250" fmla="*/ 1581 h 10000"/>
                <a:gd name="connsiteX1251" fmla="*/ 5512 w 10785"/>
                <a:gd name="connsiteY1251" fmla="*/ 1538 h 10000"/>
                <a:gd name="connsiteX1252" fmla="*/ 5530 w 10785"/>
                <a:gd name="connsiteY1252" fmla="*/ 1564 h 10000"/>
                <a:gd name="connsiteX1253" fmla="*/ 5530 w 10785"/>
                <a:gd name="connsiteY1253" fmla="*/ 1538 h 10000"/>
                <a:gd name="connsiteX1254" fmla="*/ 5539 w 10785"/>
                <a:gd name="connsiteY1254" fmla="*/ 1530 h 10000"/>
                <a:gd name="connsiteX1255" fmla="*/ 5530 w 10785"/>
                <a:gd name="connsiteY1255" fmla="*/ 1504 h 10000"/>
                <a:gd name="connsiteX1256" fmla="*/ 5567 w 10785"/>
                <a:gd name="connsiteY1256" fmla="*/ 1479 h 10000"/>
                <a:gd name="connsiteX1257" fmla="*/ 5553 w 10785"/>
                <a:gd name="connsiteY1257" fmla="*/ 1479 h 10000"/>
                <a:gd name="connsiteX1258" fmla="*/ 5553 w 10785"/>
                <a:gd name="connsiteY1258" fmla="*/ 1453 h 10000"/>
                <a:gd name="connsiteX1259" fmla="*/ 5581 w 10785"/>
                <a:gd name="connsiteY1259" fmla="*/ 1444 h 10000"/>
                <a:gd name="connsiteX1260" fmla="*/ 5581 w 10785"/>
                <a:gd name="connsiteY1260" fmla="*/ 1453 h 10000"/>
                <a:gd name="connsiteX1261" fmla="*/ 5585 w 10785"/>
                <a:gd name="connsiteY1261" fmla="*/ 1444 h 10000"/>
                <a:gd name="connsiteX1262" fmla="*/ 5594 w 10785"/>
                <a:gd name="connsiteY1262" fmla="*/ 1427 h 10000"/>
                <a:gd name="connsiteX1263" fmla="*/ 5599 w 10785"/>
                <a:gd name="connsiteY1263" fmla="*/ 1419 h 10000"/>
                <a:gd name="connsiteX1264" fmla="*/ 5594 w 10785"/>
                <a:gd name="connsiteY1264" fmla="*/ 1402 h 10000"/>
                <a:gd name="connsiteX1265" fmla="*/ 5604 w 10785"/>
                <a:gd name="connsiteY1265" fmla="*/ 1393 h 10000"/>
                <a:gd name="connsiteX1266" fmla="*/ 5618 w 10785"/>
                <a:gd name="connsiteY1266" fmla="*/ 1393 h 10000"/>
                <a:gd name="connsiteX1267" fmla="*/ 5627 w 10785"/>
                <a:gd name="connsiteY1267" fmla="*/ 1368 h 10000"/>
                <a:gd name="connsiteX1268" fmla="*/ 5627 w 10785"/>
                <a:gd name="connsiteY1268" fmla="*/ 1325 h 10000"/>
                <a:gd name="connsiteX1269" fmla="*/ 5645 w 10785"/>
                <a:gd name="connsiteY1269" fmla="*/ 1291 h 10000"/>
                <a:gd name="connsiteX1270" fmla="*/ 5645 w 10785"/>
                <a:gd name="connsiteY1270" fmla="*/ 1282 h 10000"/>
                <a:gd name="connsiteX1271" fmla="*/ 5654 w 10785"/>
                <a:gd name="connsiteY1271" fmla="*/ 1265 h 10000"/>
                <a:gd name="connsiteX1272" fmla="*/ 5654 w 10785"/>
                <a:gd name="connsiteY1272" fmla="*/ 1214 h 10000"/>
                <a:gd name="connsiteX1273" fmla="*/ 5654 w 10785"/>
                <a:gd name="connsiteY1273" fmla="*/ 1214 h 10000"/>
                <a:gd name="connsiteX1274" fmla="*/ 5645 w 10785"/>
                <a:gd name="connsiteY1274" fmla="*/ 1197 h 10000"/>
                <a:gd name="connsiteX1275" fmla="*/ 5659 w 10785"/>
                <a:gd name="connsiteY1275" fmla="*/ 1197 h 10000"/>
                <a:gd name="connsiteX1276" fmla="*/ 5654 w 10785"/>
                <a:gd name="connsiteY1276" fmla="*/ 1154 h 10000"/>
                <a:gd name="connsiteX1277" fmla="*/ 5641 w 10785"/>
                <a:gd name="connsiteY1277" fmla="*/ 1154 h 10000"/>
                <a:gd name="connsiteX1278" fmla="*/ 5627 w 10785"/>
                <a:gd name="connsiteY1278" fmla="*/ 1128 h 10000"/>
                <a:gd name="connsiteX1279" fmla="*/ 5618 w 10785"/>
                <a:gd name="connsiteY1279" fmla="*/ 1094 h 10000"/>
                <a:gd name="connsiteX1280" fmla="*/ 5613 w 10785"/>
                <a:gd name="connsiteY1280" fmla="*/ 1094 h 10000"/>
                <a:gd name="connsiteX1281" fmla="*/ 5604 w 10785"/>
                <a:gd name="connsiteY1281" fmla="*/ 1120 h 10000"/>
                <a:gd name="connsiteX1282" fmla="*/ 5604 w 10785"/>
                <a:gd name="connsiteY1282" fmla="*/ 1128 h 10000"/>
                <a:gd name="connsiteX1283" fmla="*/ 5599 w 10785"/>
                <a:gd name="connsiteY1283" fmla="*/ 1103 h 10000"/>
                <a:gd name="connsiteX1284" fmla="*/ 5599 w 10785"/>
                <a:gd name="connsiteY1284" fmla="*/ 1103 h 10000"/>
                <a:gd name="connsiteX1285" fmla="*/ 5594 w 10785"/>
                <a:gd name="connsiteY1285" fmla="*/ 1068 h 10000"/>
                <a:gd name="connsiteX1286" fmla="*/ 5594 w 10785"/>
                <a:gd name="connsiteY1286" fmla="*/ 1060 h 10000"/>
                <a:gd name="connsiteX1287" fmla="*/ 5581 w 10785"/>
                <a:gd name="connsiteY1287" fmla="*/ 1034 h 10000"/>
                <a:gd name="connsiteX1288" fmla="*/ 5571 w 10785"/>
                <a:gd name="connsiteY1288" fmla="*/ 1009 h 10000"/>
                <a:gd name="connsiteX1289" fmla="*/ 5571 w 10785"/>
                <a:gd name="connsiteY1289" fmla="*/ 991 h 10000"/>
                <a:gd name="connsiteX1290" fmla="*/ 5585 w 10785"/>
                <a:gd name="connsiteY1290" fmla="*/ 1009 h 10000"/>
                <a:gd name="connsiteX1291" fmla="*/ 5604 w 10785"/>
                <a:gd name="connsiteY1291" fmla="*/ 1043 h 10000"/>
                <a:gd name="connsiteX1292" fmla="*/ 5641 w 10785"/>
                <a:gd name="connsiteY1292" fmla="*/ 1094 h 10000"/>
                <a:gd name="connsiteX1293" fmla="*/ 5631 w 10785"/>
                <a:gd name="connsiteY1293" fmla="*/ 1128 h 10000"/>
                <a:gd name="connsiteX1294" fmla="*/ 5641 w 10785"/>
                <a:gd name="connsiteY1294" fmla="*/ 1128 h 10000"/>
                <a:gd name="connsiteX1295" fmla="*/ 5659 w 10785"/>
                <a:gd name="connsiteY1295" fmla="*/ 1017 h 10000"/>
                <a:gd name="connsiteX1296" fmla="*/ 5659 w 10785"/>
                <a:gd name="connsiteY1296" fmla="*/ 983 h 10000"/>
                <a:gd name="connsiteX1297" fmla="*/ 5659 w 10785"/>
                <a:gd name="connsiteY1297" fmla="*/ 957 h 10000"/>
                <a:gd name="connsiteX1298" fmla="*/ 5654 w 10785"/>
                <a:gd name="connsiteY1298" fmla="*/ 966 h 10000"/>
                <a:gd name="connsiteX1299" fmla="*/ 5641 w 10785"/>
                <a:gd name="connsiteY1299" fmla="*/ 957 h 10000"/>
                <a:gd name="connsiteX1300" fmla="*/ 5631 w 10785"/>
                <a:gd name="connsiteY1300" fmla="*/ 897 h 10000"/>
                <a:gd name="connsiteX1301" fmla="*/ 5641 w 10785"/>
                <a:gd name="connsiteY1301" fmla="*/ 872 h 10000"/>
                <a:gd name="connsiteX1302" fmla="*/ 5618 w 10785"/>
                <a:gd name="connsiteY1302" fmla="*/ 803 h 10000"/>
                <a:gd name="connsiteX1303" fmla="*/ 5604 w 10785"/>
                <a:gd name="connsiteY1303" fmla="*/ 821 h 10000"/>
                <a:gd name="connsiteX1304" fmla="*/ 5613 w 10785"/>
                <a:gd name="connsiteY1304" fmla="*/ 846 h 10000"/>
                <a:gd name="connsiteX1305" fmla="*/ 5604 w 10785"/>
                <a:gd name="connsiteY1305" fmla="*/ 855 h 10000"/>
                <a:gd name="connsiteX1306" fmla="*/ 5599 w 10785"/>
                <a:gd name="connsiteY1306" fmla="*/ 880 h 10000"/>
                <a:gd name="connsiteX1307" fmla="*/ 5594 w 10785"/>
                <a:gd name="connsiteY1307" fmla="*/ 880 h 10000"/>
                <a:gd name="connsiteX1308" fmla="*/ 5585 w 10785"/>
                <a:gd name="connsiteY1308" fmla="*/ 829 h 10000"/>
                <a:gd name="connsiteX1309" fmla="*/ 5571 w 10785"/>
                <a:gd name="connsiteY1309" fmla="*/ 803 h 10000"/>
                <a:gd name="connsiteX1310" fmla="*/ 5585 w 10785"/>
                <a:gd name="connsiteY1310" fmla="*/ 795 h 10000"/>
                <a:gd name="connsiteX1311" fmla="*/ 5585 w 10785"/>
                <a:gd name="connsiteY1311" fmla="*/ 761 h 10000"/>
                <a:gd name="connsiteX1312" fmla="*/ 5558 w 10785"/>
                <a:gd name="connsiteY1312" fmla="*/ 709 h 10000"/>
                <a:gd name="connsiteX1313" fmla="*/ 5544 w 10785"/>
                <a:gd name="connsiteY1313" fmla="*/ 709 h 10000"/>
                <a:gd name="connsiteX1314" fmla="*/ 5544 w 10785"/>
                <a:gd name="connsiteY1314" fmla="*/ 684 h 10000"/>
                <a:gd name="connsiteX1315" fmla="*/ 5525 w 10785"/>
                <a:gd name="connsiteY1315" fmla="*/ 632 h 10000"/>
                <a:gd name="connsiteX1316" fmla="*/ 5507 w 10785"/>
                <a:gd name="connsiteY1316" fmla="*/ 607 h 10000"/>
                <a:gd name="connsiteX1317" fmla="*/ 5512 w 10785"/>
                <a:gd name="connsiteY1317" fmla="*/ 598 h 10000"/>
                <a:gd name="connsiteX1318" fmla="*/ 5507 w 10785"/>
                <a:gd name="connsiteY1318" fmla="*/ 581 h 10000"/>
                <a:gd name="connsiteX1319" fmla="*/ 5493 w 10785"/>
                <a:gd name="connsiteY1319" fmla="*/ 573 h 10000"/>
                <a:gd name="connsiteX1320" fmla="*/ 5484 w 10785"/>
                <a:gd name="connsiteY1320" fmla="*/ 581 h 10000"/>
                <a:gd name="connsiteX1321" fmla="*/ 5484 w 10785"/>
                <a:gd name="connsiteY1321" fmla="*/ 573 h 10000"/>
                <a:gd name="connsiteX1322" fmla="*/ 5484 w 10785"/>
                <a:gd name="connsiteY1322" fmla="*/ 547 h 10000"/>
                <a:gd name="connsiteX1323" fmla="*/ 5465 w 10785"/>
                <a:gd name="connsiteY1323" fmla="*/ 556 h 10000"/>
                <a:gd name="connsiteX1324" fmla="*/ 5433 w 10785"/>
                <a:gd name="connsiteY1324" fmla="*/ 547 h 10000"/>
                <a:gd name="connsiteX1325" fmla="*/ 5410 w 10785"/>
                <a:gd name="connsiteY1325" fmla="*/ 573 h 10000"/>
                <a:gd name="connsiteX1326" fmla="*/ 5406 w 10785"/>
                <a:gd name="connsiteY1326" fmla="*/ 573 h 10000"/>
                <a:gd name="connsiteX1327" fmla="*/ 5392 w 10785"/>
                <a:gd name="connsiteY1327" fmla="*/ 573 h 10000"/>
                <a:gd name="connsiteX1328" fmla="*/ 5364 w 10785"/>
                <a:gd name="connsiteY1328" fmla="*/ 530 h 10000"/>
                <a:gd name="connsiteX1329" fmla="*/ 5350 w 10785"/>
                <a:gd name="connsiteY1329" fmla="*/ 556 h 10000"/>
                <a:gd name="connsiteX1330" fmla="*/ 5346 w 10785"/>
                <a:gd name="connsiteY1330" fmla="*/ 556 h 10000"/>
                <a:gd name="connsiteX1331" fmla="*/ 5313 w 10785"/>
                <a:gd name="connsiteY1331" fmla="*/ 573 h 10000"/>
                <a:gd name="connsiteX1332" fmla="*/ 5304 w 10785"/>
                <a:gd name="connsiteY1332" fmla="*/ 556 h 10000"/>
                <a:gd name="connsiteX1333" fmla="*/ 5290 w 10785"/>
                <a:gd name="connsiteY1333" fmla="*/ 573 h 10000"/>
                <a:gd name="connsiteX1334" fmla="*/ 5290 w 10785"/>
                <a:gd name="connsiteY1334" fmla="*/ 556 h 10000"/>
                <a:gd name="connsiteX1335" fmla="*/ 5300 w 10785"/>
                <a:gd name="connsiteY1335" fmla="*/ 547 h 10000"/>
                <a:gd name="connsiteX1336" fmla="*/ 5300 w 10785"/>
                <a:gd name="connsiteY1336" fmla="*/ 530 h 10000"/>
                <a:gd name="connsiteX1337" fmla="*/ 5290 w 10785"/>
                <a:gd name="connsiteY1337" fmla="*/ 530 h 10000"/>
                <a:gd name="connsiteX1338" fmla="*/ 5286 w 10785"/>
                <a:gd name="connsiteY1338" fmla="*/ 547 h 10000"/>
                <a:gd name="connsiteX1339" fmla="*/ 5272 w 10785"/>
                <a:gd name="connsiteY1339" fmla="*/ 556 h 10000"/>
                <a:gd name="connsiteX1340" fmla="*/ 5272 w 10785"/>
                <a:gd name="connsiteY1340" fmla="*/ 598 h 10000"/>
                <a:gd name="connsiteX1341" fmla="*/ 5276 w 10785"/>
                <a:gd name="connsiteY1341" fmla="*/ 581 h 10000"/>
                <a:gd name="connsiteX1342" fmla="*/ 5272 w 10785"/>
                <a:gd name="connsiteY1342" fmla="*/ 607 h 10000"/>
                <a:gd name="connsiteX1343" fmla="*/ 5263 w 10785"/>
                <a:gd name="connsiteY1343" fmla="*/ 607 h 10000"/>
                <a:gd name="connsiteX1344" fmla="*/ 5263 w 10785"/>
                <a:gd name="connsiteY1344" fmla="*/ 632 h 10000"/>
                <a:gd name="connsiteX1345" fmla="*/ 5258 w 10785"/>
                <a:gd name="connsiteY1345" fmla="*/ 658 h 10000"/>
                <a:gd name="connsiteX1346" fmla="*/ 5244 w 10785"/>
                <a:gd name="connsiteY1346" fmla="*/ 667 h 10000"/>
                <a:gd name="connsiteX1347" fmla="*/ 5240 w 10785"/>
                <a:gd name="connsiteY1347" fmla="*/ 658 h 10000"/>
                <a:gd name="connsiteX1348" fmla="*/ 5240 w 10785"/>
                <a:gd name="connsiteY1348" fmla="*/ 684 h 10000"/>
                <a:gd name="connsiteX1349" fmla="*/ 5212 w 10785"/>
                <a:gd name="connsiteY1349" fmla="*/ 684 h 10000"/>
                <a:gd name="connsiteX1350" fmla="*/ 5198 w 10785"/>
                <a:gd name="connsiteY1350" fmla="*/ 692 h 10000"/>
                <a:gd name="connsiteX1351" fmla="*/ 5184 w 10785"/>
                <a:gd name="connsiteY1351" fmla="*/ 684 h 10000"/>
                <a:gd name="connsiteX1352" fmla="*/ 5157 w 10785"/>
                <a:gd name="connsiteY1352" fmla="*/ 684 h 10000"/>
                <a:gd name="connsiteX1353" fmla="*/ 5157 w 10785"/>
                <a:gd name="connsiteY1353" fmla="*/ 667 h 10000"/>
                <a:gd name="connsiteX1354" fmla="*/ 5157 w 10785"/>
                <a:gd name="connsiteY1354" fmla="*/ 667 h 10000"/>
                <a:gd name="connsiteX1355" fmla="*/ 5180 w 10785"/>
                <a:gd name="connsiteY1355" fmla="*/ 650 h 10000"/>
                <a:gd name="connsiteX1356" fmla="*/ 5184 w 10785"/>
                <a:gd name="connsiteY1356" fmla="*/ 658 h 10000"/>
                <a:gd name="connsiteX1357" fmla="*/ 5203 w 10785"/>
                <a:gd name="connsiteY1357" fmla="*/ 547 h 10000"/>
                <a:gd name="connsiteX1358" fmla="*/ 5226 w 10785"/>
                <a:gd name="connsiteY1358" fmla="*/ 530 h 10000"/>
                <a:gd name="connsiteX1359" fmla="*/ 5230 w 10785"/>
                <a:gd name="connsiteY1359" fmla="*/ 487 h 10000"/>
                <a:gd name="connsiteX1360" fmla="*/ 5230 w 10785"/>
                <a:gd name="connsiteY1360" fmla="*/ 487 h 10000"/>
                <a:gd name="connsiteX1361" fmla="*/ 5226 w 10785"/>
                <a:gd name="connsiteY1361" fmla="*/ 462 h 10000"/>
                <a:gd name="connsiteX1362" fmla="*/ 5226 w 10785"/>
                <a:gd name="connsiteY1362" fmla="*/ 462 h 10000"/>
                <a:gd name="connsiteX1363" fmla="*/ 5240 w 10785"/>
                <a:gd name="connsiteY1363" fmla="*/ 462 h 10000"/>
                <a:gd name="connsiteX1364" fmla="*/ 5240 w 10785"/>
                <a:gd name="connsiteY1364" fmla="*/ 444 h 10000"/>
                <a:gd name="connsiteX1365" fmla="*/ 5230 w 10785"/>
                <a:gd name="connsiteY1365" fmla="*/ 436 h 10000"/>
                <a:gd name="connsiteX1366" fmla="*/ 5230 w 10785"/>
                <a:gd name="connsiteY1366" fmla="*/ 419 h 10000"/>
                <a:gd name="connsiteX1367" fmla="*/ 5230 w 10785"/>
                <a:gd name="connsiteY1367" fmla="*/ 410 h 10000"/>
                <a:gd name="connsiteX1368" fmla="*/ 5198 w 10785"/>
                <a:gd name="connsiteY1368" fmla="*/ 402 h 10000"/>
                <a:gd name="connsiteX1369" fmla="*/ 5189 w 10785"/>
                <a:gd name="connsiteY1369" fmla="*/ 402 h 10000"/>
                <a:gd name="connsiteX1370" fmla="*/ 5184 w 10785"/>
                <a:gd name="connsiteY1370" fmla="*/ 376 h 10000"/>
                <a:gd name="connsiteX1371" fmla="*/ 5180 w 10785"/>
                <a:gd name="connsiteY1371" fmla="*/ 376 h 10000"/>
                <a:gd name="connsiteX1372" fmla="*/ 5166 w 10785"/>
                <a:gd name="connsiteY1372" fmla="*/ 376 h 10000"/>
                <a:gd name="connsiteX1373" fmla="*/ 5157 w 10785"/>
                <a:gd name="connsiteY1373" fmla="*/ 385 h 10000"/>
                <a:gd name="connsiteX1374" fmla="*/ 5152 w 10785"/>
                <a:gd name="connsiteY1374" fmla="*/ 376 h 10000"/>
                <a:gd name="connsiteX1375" fmla="*/ 5129 w 10785"/>
                <a:gd name="connsiteY1375" fmla="*/ 385 h 10000"/>
                <a:gd name="connsiteX1376" fmla="*/ 5129 w 10785"/>
                <a:gd name="connsiteY1376" fmla="*/ 350 h 10000"/>
                <a:gd name="connsiteX1377" fmla="*/ 5129 w 10785"/>
                <a:gd name="connsiteY1377" fmla="*/ 325 h 10000"/>
                <a:gd name="connsiteX1378" fmla="*/ 5124 w 10785"/>
                <a:gd name="connsiteY1378" fmla="*/ 359 h 10000"/>
                <a:gd name="connsiteX1379" fmla="*/ 5106 w 10785"/>
                <a:gd name="connsiteY1379" fmla="*/ 359 h 10000"/>
                <a:gd name="connsiteX1380" fmla="*/ 5037 w 10785"/>
                <a:gd name="connsiteY1380" fmla="*/ 419 h 10000"/>
                <a:gd name="connsiteX1381" fmla="*/ 5051 w 10785"/>
                <a:gd name="connsiteY1381" fmla="*/ 385 h 10000"/>
                <a:gd name="connsiteX1382" fmla="*/ 5055 w 10785"/>
                <a:gd name="connsiteY1382" fmla="*/ 376 h 10000"/>
                <a:gd name="connsiteX1383" fmla="*/ 5092 w 10785"/>
                <a:gd name="connsiteY1383" fmla="*/ 282 h 10000"/>
                <a:gd name="connsiteX1384" fmla="*/ 5106 w 10785"/>
                <a:gd name="connsiteY1384" fmla="*/ 265 h 10000"/>
                <a:gd name="connsiteX1385" fmla="*/ 5115 w 10785"/>
                <a:gd name="connsiteY1385" fmla="*/ 265 h 10000"/>
                <a:gd name="connsiteX1386" fmla="*/ 5124 w 10785"/>
                <a:gd name="connsiteY1386" fmla="*/ 222 h 10000"/>
                <a:gd name="connsiteX1387" fmla="*/ 5124 w 10785"/>
                <a:gd name="connsiteY1387" fmla="*/ 214 h 10000"/>
                <a:gd name="connsiteX1388" fmla="*/ 5143 w 10785"/>
                <a:gd name="connsiteY1388" fmla="*/ 197 h 10000"/>
                <a:gd name="connsiteX1389" fmla="*/ 5152 w 10785"/>
                <a:gd name="connsiteY1389" fmla="*/ 214 h 10000"/>
                <a:gd name="connsiteX1390" fmla="*/ 5143 w 10785"/>
                <a:gd name="connsiteY1390" fmla="*/ 188 h 10000"/>
                <a:gd name="connsiteX1391" fmla="*/ 5129 w 10785"/>
                <a:gd name="connsiteY1391" fmla="*/ 103 h 10000"/>
                <a:gd name="connsiteX1392" fmla="*/ 5115 w 10785"/>
                <a:gd name="connsiteY1392" fmla="*/ 85 h 10000"/>
                <a:gd name="connsiteX1393" fmla="*/ 5111 w 10785"/>
                <a:gd name="connsiteY1393" fmla="*/ 111 h 10000"/>
                <a:gd name="connsiteX1394" fmla="*/ 5092 w 10785"/>
                <a:gd name="connsiteY1394" fmla="*/ 103 h 10000"/>
                <a:gd name="connsiteX1395" fmla="*/ 5069 w 10785"/>
                <a:gd name="connsiteY1395" fmla="*/ 77 h 10000"/>
                <a:gd name="connsiteX1396" fmla="*/ 5051 w 10785"/>
                <a:gd name="connsiteY1396" fmla="*/ 26 h 10000"/>
                <a:gd name="connsiteX1397" fmla="*/ 5041 w 10785"/>
                <a:gd name="connsiteY1397" fmla="*/ 34 h 10000"/>
                <a:gd name="connsiteX1398" fmla="*/ 5037 w 10785"/>
                <a:gd name="connsiteY1398" fmla="*/ 34 h 10000"/>
                <a:gd name="connsiteX1399" fmla="*/ 5037 w 10785"/>
                <a:gd name="connsiteY1399" fmla="*/ 26 h 10000"/>
                <a:gd name="connsiteX1400" fmla="*/ 5037 w 10785"/>
                <a:gd name="connsiteY1400" fmla="*/ 9 h 10000"/>
                <a:gd name="connsiteX1401" fmla="*/ 5023 w 10785"/>
                <a:gd name="connsiteY1401" fmla="*/ 0 h 10000"/>
                <a:gd name="connsiteX1402" fmla="*/ 5009 w 10785"/>
                <a:gd name="connsiteY1402" fmla="*/ 9 h 10000"/>
                <a:gd name="connsiteX1403" fmla="*/ 4995 w 10785"/>
                <a:gd name="connsiteY1403" fmla="*/ 34 h 10000"/>
                <a:gd name="connsiteX1404" fmla="*/ 4991 w 10785"/>
                <a:gd name="connsiteY1404" fmla="*/ 60 h 10000"/>
                <a:gd name="connsiteX1405" fmla="*/ 4982 w 10785"/>
                <a:gd name="connsiteY1405" fmla="*/ 60 h 10000"/>
                <a:gd name="connsiteX1406" fmla="*/ 4949 w 10785"/>
                <a:gd name="connsiteY1406" fmla="*/ 51 h 10000"/>
                <a:gd name="connsiteX1407" fmla="*/ 4949 w 10785"/>
                <a:gd name="connsiteY1407" fmla="*/ 85 h 10000"/>
                <a:gd name="connsiteX1408" fmla="*/ 4903 w 10785"/>
                <a:gd name="connsiteY1408" fmla="*/ 197 h 10000"/>
                <a:gd name="connsiteX1409" fmla="*/ 4899 w 10785"/>
                <a:gd name="connsiteY1409" fmla="*/ 239 h 10000"/>
                <a:gd name="connsiteX1410" fmla="*/ 4871 w 10785"/>
                <a:gd name="connsiteY1410" fmla="*/ 274 h 10000"/>
                <a:gd name="connsiteX1411" fmla="*/ 4871 w 10785"/>
                <a:gd name="connsiteY1411" fmla="*/ 282 h 10000"/>
                <a:gd name="connsiteX1412" fmla="*/ 4834 w 10785"/>
                <a:gd name="connsiteY1412" fmla="*/ 376 h 10000"/>
                <a:gd name="connsiteX1413" fmla="*/ 4829 w 10785"/>
                <a:gd name="connsiteY1413" fmla="*/ 402 h 10000"/>
                <a:gd name="connsiteX1414" fmla="*/ 4834 w 10785"/>
                <a:gd name="connsiteY1414" fmla="*/ 410 h 10000"/>
                <a:gd name="connsiteX1415" fmla="*/ 4829 w 10785"/>
                <a:gd name="connsiteY1415" fmla="*/ 436 h 10000"/>
                <a:gd name="connsiteX1416" fmla="*/ 4825 w 10785"/>
                <a:gd name="connsiteY1416" fmla="*/ 436 h 10000"/>
                <a:gd name="connsiteX1417" fmla="*/ 4825 w 10785"/>
                <a:gd name="connsiteY1417" fmla="*/ 444 h 10000"/>
                <a:gd name="connsiteX1418" fmla="*/ 4811 w 10785"/>
                <a:gd name="connsiteY1418" fmla="*/ 496 h 10000"/>
                <a:gd name="connsiteX1419" fmla="*/ 4811 w 10785"/>
                <a:gd name="connsiteY1419" fmla="*/ 496 h 10000"/>
                <a:gd name="connsiteX1420" fmla="*/ 4811 w 10785"/>
                <a:gd name="connsiteY1420" fmla="*/ 521 h 10000"/>
                <a:gd name="connsiteX1421" fmla="*/ 4816 w 10785"/>
                <a:gd name="connsiteY1421" fmla="*/ 530 h 10000"/>
                <a:gd name="connsiteX1422" fmla="*/ 4834 w 10785"/>
                <a:gd name="connsiteY1422" fmla="*/ 547 h 10000"/>
                <a:gd name="connsiteX1423" fmla="*/ 4834 w 10785"/>
                <a:gd name="connsiteY1423" fmla="*/ 581 h 10000"/>
                <a:gd name="connsiteX1424" fmla="*/ 4843 w 10785"/>
                <a:gd name="connsiteY1424" fmla="*/ 581 h 10000"/>
                <a:gd name="connsiteX1425" fmla="*/ 4843 w 10785"/>
                <a:gd name="connsiteY1425" fmla="*/ 598 h 10000"/>
                <a:gd name="connsiteX1426" fmla="*/ 4829 w 10785"/>
                <a:gd name="connsiteY1426" fmla="*/ 598 h 10000"/>
                <a:gd name="connsiteX1427" fmla="*/ 4829 w 10785"/>
                <a:gd name="connsiteY1427" fmla="*/ 573 h 10000"/>
                <a:gd name="connsiteX1428" fmla="*/ 4829 w 10785"/>
                <a:gd name="connsiteY1428" fmla="*/ 632 h 10000"/>
                <a:gd name="connsiteX1429" fmla="*/ 4829 w 10785"/>
                <a:gd name="connsiteY1429" fmla="*/ 632 h 10000"/>
                <a:gd name="connsiteX1430" fmla="*/ 4829 w 10785"/>
                <a:gd name="connsiteY1430" fmla="*/ 650 h 10000"/>
                <a:gd name="connsiteX1431" fmla="*/ 4774 w 10785"/>
                <a:gd name="connsiteY1431" fmla="*/ 684 h 10000"/>
                <a:gd name="connsiteX1432" fmla="*/ 4756 w 10785"/>
                <a:gd name="connsiteY1432" fmla="*/ 684 h 10000"/>
                <a:gd name="connsiteX1433" fmla="*/ 4737 w 10785"/>
                <a:gd name="connsiteY1433" fmla="*/ 692 h 10000"/>
                <a:gd name="connsiteX1434" fmla="*/ 4677 w 10785"/>
                <a:gd name="connsiteY1434" fmla="*/ 667 h 10000"/>
                <a:gd name="connsiteX1435" fmla="*/ 4682 w 10785"/>
                <a:gd name="connsiteY1435" fmla="*/ 692 h 10000"/>
                <a:gd name="connsiteX1436" fmla="*/ 4682 w 10785"/>
                <a:gd name="connsiteY1436" fmla="*/ 709 h 10000"/>
                <a:gd name="connsiteX1437" fmla="*/ 4691 w 10785"/>
                <a:gd name="connsiteY1437" fmla="*/ 718 h 10000"/>
                <a:gd name="connsiteX1438" fmla="*/ 4691 w 10785"/>
                <a:gd name="connsiteY1438" fmla="*/ 744 h 10000"/>
                <a:gd name="connsiteX1439" fmla="*/ 4700 w 10785"/>
                <a:gd name="connsiteY1439" fmla="*/ 744 h 10000"/>
                <a:gd name="connsiteX1440" fmla="*/ 4714 w 10785"/>
                <a:gd name="connsiteY1440" fmla="*/ 769 h 10000"/>
                <a:gd name="connsiteX1441" fmla="*/ 4710 w 10785"/>
                <a:gd name="connsiteY1441" fmla="*/ 786 h 10000"/>
                <a:gd name="connsiteX1442" fmla="*/ 4737 w 10785"/>
                <a:gd name="connsiteY1442" fmla="*/ 786 h 10000"/>
                <a:gd name="connsiteX1443" fmla="*/ 4742 w 10785"/>
                <a:gd name="connsiteY1443" fmla="*/ 795 h 10000"/>
                <a:gd name="connsiteX1444" fmla="*/ 4742 w 10785"/>
                <a:gd name="connsiteY1444" fmla="*/ 803 h 10000"/>
                <a:gd name="connsiteX1445" fmla="*/ 4737 w 10785"/>
                <a:gd name="connsiteY1445" fmla="*/ 846 h 10000"/>
                <a:gd name="connsiteX1446" fmla="*/ 4737 w 10785"/>
                <a:gd name="connsiteY1446" fmla="*/ 880 h 10000"/>
                <a:gd name="connsiteX1447" fmla="*/ 4737 w 10785"/>
                <a:gd name="connsiteY1447" fmla="*/ 906 h 10000"/>
                <a:gd name="connsiteX1448" fmla="*/ 4724 w 10785"/>
                <a:gd name="connsiteY1448" fmla="*/ 897 h 10000"/>
                <a:gd name="connsiteX1449" fmla="*/ 4724 w 10785"/>
                <a:gd name="connsiteY1449" fmla="*/ 872 h 10000"/>
                <a:gd name="connsiteX1450" fmla="*/ 4714 w 10785"/>
                <a:gd name="connsiteY1450" fmla="*/ 855 h 10000"/>
                <a:gd name="connsiteX1451" fmla="*/ 4691 w 10785"/>
                <a:gd name="connsiteY1451" fmla="*/ 846 h 10000"/>
                <a:gd name="connsiteX1452" fmla="*/ 4691 w 10785"/>
                <a:gd name="connsiteY1452" fmla="*/ 846 h 10000"/>
                <a:gd name="connsiteX1453" fmla="*/ 4696 w 10785"/>
                <a:gd name="connsiteY1453" fmla="*/ 821 h 10000"/>
                <a:gd name="connsiteX1454" fmla="*/ 4691 w 10785"/>
                <a:gd name="connsiteY1454" fmla="*/ 803 h 10000"/>
                <a:gd name="connsiteX1455" fmla="*/ 4668 w 10785"/>
                <a:gd name="connsiteY1455" fmla="*/ 821 h 10000"/>
                <a:gd name="connsiteX1456" fmla="*/ 4668 w 10785"/>
                <a:gd name="connsiteY1456" fmla="*/ 786 h 10000"/>
                <a:gd name="connsiteX1457" fmla="*/ 4664 w 10785"/>
                <a:gd name="connsiteY1457" fmla="*/ 786 h 10000"/>
                <a:gd name="connsiteX1458" fmla="*/ 4622 w 10785"/>
                <a:gd name="connsiteY1458" fmla="*/ 846 h 10000"/>
                <a:gd name="connsiteX1459" fmla="*/ 4627 w 10785"/>
                <a:gd name="connsiteY1459" fmla="*/ 872 h 10000"/>
                <a:gd name="connsiteX1460" fmla="*/ 4622 w 10785"/>
                <a:gd name="connsiteY1460" fmla="*/ 880 h 10000"/>
                <a:gd name="connsiteX1461" fmla="*/ 4622 w 10785"/>
                <a:gd name="connsiteY1461" fmla="*/ 880 h 10000"/>
                <a:gd name="connsiteX1462" fmla="*/ 4618 w 10785"/>
                <a:gd name="connsiteY1462" fmla="*/ 872 h 10000"/>
                <a:gd name="connsiteX1463" fmla="*/ 4604 w 10785"/>
                <a:gd name="connsiteY1463" fmla="*/ 880 h 10000"/>
                <a:gd name="connsiteX1464" fmla="*/ 4594 w 10785"/>
                <a:gd name="connsiteY1464" fmla="*/ 906 h 10000"/>
                <a:gd name="connsiteX1465" fmla="*/ 4604 w 10785"/>
                <a:gd name="connsiteY1465" fmla="*/ 906 h 10000"/>
                <a:gd name="connsiteX1466" fmla="*/ 4608 w 10785"/>
                <a:gd name="connsiteY1466" fmla="*/ 906 h 10000"/>
                <a:gd name="connsiteX1467" fmla="*/ 4608 w 10785"/>
                <a:gd name="connsiteY1467" fmla="*/ 932 h 10000"/>
                <a:gd name="connsiteX1468" fmla="*/ 4604 w 10785"/>
                <a:gd name="connsiteY1468" fmla="*/ 932 h 10000"/>
                <a:gd name="connsiteX1469" fmla="*/ 4590 w 10785"/>
                <a:gd name="connsiteY1469" fmla="*/ 932 h 10000"/>
                <a:gd name="connsiteX1470" fmla="*/ 4567 w 10785"/>
                <a:gd name="connsiteY1470" fmla="*/ 957 h 10000"/>
                <a:gd name="connsiteX1471" fmla="*/ 4567 w 10785"/>
                <a:gd name="connsiteY1471" fmla="*/ 932 h 10000"/>
                <a:gd name="connsiteX1472" fmla="*/ 4567 w 10785"/>
                <a:gd name="connsiteY1472" fmla="*/ 923 h 10000"/>
                <a:gd name="connsiteX1473" fmla="*/ 4562 w 10785"/>
                <a:gd name="connsiteY1473" fmla="*/ 932 h 10000"/>
                <a:gd name="connsiteX1474" fmla="*/ 4548 w 10785"/>
                <a:gd name="connsiteY1474" fmla="*/ 957 h 10000"/>
                <a:gd name="connsiteX1475" fmla="*/ 4544 w 10785"/>
                <a:gd name="connsiteY1475" fmla="*/ 957 h 10000"/>
                <a:gd name="connsiteX1476" fmla="*/ 4521 w 10785"/>
                <a:gd name="connsiteY1476" fmla="*/ 983 h 10000"/>
                <a:gd name="connsiteX1477" fmla="*/ 4521 w 10785"/>
                <a:gd name="connsiteY1477" fmla="*/ 983 h 10000"/>
                <a:gd name="connsiteX1478" fmla="*/ 4530 w 10785"/>
                <a:gd name="connsiteY1478" fmla="*/ 957 h 10000"/>
                <a:gd name="connsiteX1479" fmla="*/ 4535 w 10785"/>
                <a:gd name="connsiteY1479" fmla="*/ 932 h 10000"/>
                <a:gd name="connsiteX1480" fmla="*/ 4521 w 10785"/>
                <a:gd name="connsiteY1480" fmla="*/ 932 h 10000"/>
                <a:gd name="connsiteX1481" fmla="*/ 4516 w 10785"/>
                <a:gd name="connsiteY1481" fmla="*/ 923 h 10000"/>
                <a:gd name="connsiteX1482" fmla="*/ 4516 w 10785"/>
                <a:gd name="connsiteY1482" fmla="*/ 932 h 10000"/>
                <a:gd name="connsiteX1483" fmla="*/ 4488 w 10785"/>
                <a:gd name="connsiteY1483" fmla="*/ 940 h 10000"/>
                <a:gd name="connsiteX1484" fmla="*/ 4484 w 10785"/>
                <a:gd name="connsiteY1484" fmla="*/ 983 h 10000"/>
                <a:gd name="connsiteX1485" fmla="*/ 4470 w 10785"/>
                <a:gd name="connsiteY1485" fmla="*/ 983 h 10000"/>
                <a:gd name="connsiteX1486" fmla="*/ 4470 w 10785"/>
                <a:gd name="connsiteY1486" fmla="*/ 966 h 10000"/>
                <a:gd name="connsiteX1487" fmla="*/ 4488 w 10785"/>
                <a:gd name="connsiteY1487" fmla="*/ 923 h 10000"/>
                <a:gd name="connsiteX1488" fmla="*/ 4493 w 10785"/>
                <a:gd name="connsiteY1488" fmla="*/ 880 h 10000"/>
                <a:gd name="connsiteX1489" fmla="*/ 4475 w 10785"/>
                <a:gd name="connsiteY1489" fmla="*/ 846 h 10000"/>
                <a:gd name="connsiteX1490" fmla="*/ 4442 w 10785"/>
                <a:gd name="connsiteY1490" fmla="*/ 855 h 10000"/>
                <a:gd name="connsiteX1491" fmla="*/ 4433 w 10785"/>
                <a:gd name="connsiteY1491" fmla="*/ 855 h 10000"/>
                <a:gd name="connsiteX1492" fmla="*/ 4433 w 10785"/>
                <a:gd name="connsiteY1492" fmla="*/ 880 h 10000"/>
                <a:gd name="connsiteX1493" fmla="*/ 4401 w 10785"/>
                <a:gd name="connsiteY1493" fmla="*/ 855 h 10000"/>
                <a:gd name="connsiteX1494" fmla="*/ 4396 w 10785"/>
                <a:gd name="connsiteY1494" fmla="*/ 872 h 10000"/>
                <a:gd name="connsiteX1495" fmla="*/ 4382 w 10785"/>
                <a:gd name="connsiteY1495" fmla="*/ 897 h 10000"/>
                <a:gd name="connsiteX1496" fmla="*/ 4373 w 10785"/>
                <a:gd name="connsiteY1496" fmla="*/ 872 h 10000"/>
                <a:gd name="connsiteX1497" fmla="*/ 4341 w 10785"/>
                <a:gd name="connsiteY1497" fmla="*/ 872 h 10000"/>
                <a:gd name="connsiteX1498" fmla="*/ 4336 w 10785"/>
                <a:gd name="connsiteY1498" fmla="*/ 880 h 10000"/>
                <a:gd name="connsiteX1499" fmla="*/ 4346 w 10785"/>
                <a:gd name="connsiteY1499" fmla="*/ 897 h 10000"/>
                <a:gd name="connsiteX1500" fmla="*/ 4346 w 10785"/>
                <a:gd name="connsiteY1500" fmla="*/ 897 h 10000"/>
                <a:gd name="connsiteX1501" fmla="*/ 4313 w 10785"/>
                <a:gd name="connsiteY1501" fmla="*/ 906 h 10000"/>
                <a:gd name="connsiteX1502" fmla="*/ 4313 w 10785"/>
                <a:gd name="connsiteY1502" fmla="*/ 906 h 10000"/>
                <a:gd name="connsiteX1503" fmla="*/ 4313 w 10785"/>
                <a:gd name="connsiteY1503" fmla="*/ 880 h 10000"/>
                <a:gd name="connsiteX1504" fmla="*/ 4309 w 10785"/>
                <a:gd name="connsiteY1504" fmla="*/ 897 h 10000"/>
                <a:gd name="connsiteX1505" fmla="*/ 4295 w 10785"/>
                <a:gd name="connsiteY1505" fmla="*/ 923 h 10000"/>
                <a:gd name="connsiteX1506" fmla="*/ 4286 w 10785"/>
                <a:gd name="connsiteY1506" fmla="*/ 897 h 10000"/>
                <a:gd name="connsiteX1507" fmla="*/ 4281 w 10785"/>
                <a:gd name="connsiteY1507" fmla="*/ 906 h 10000"/>
                <a:gd name="connsiteX1508" fmla="*/ 4281 w 10785"/>
                <a:gd name="connsiteY1508" fmla="*/ 940 h 10000"/>
                <a:gd name="connsiteX1509" fmla="*/ 4286 w 10785"/>
                <a:gd name="connsiteY1509" fmla="*/ 957 h 10000"/>
                <a:gd name="connsiteX1510" fmla="*/ 4309 w 10785"/>
                <a:gd name="connsiteY1510" fmla="*/ 932 h 10000"/>
                <a:gd name="connsiteX1511" fmla="*/ 4313 w 10785"/>
                <a:gd name="connsiteY1511" fmla="*/ 957 h 10000"/>
                <a:gd name="connsiteX1512" fmla="*/ 4313 w 10785"/>
                <a:gd name="connsiteY1512" fmla="*/ 966 h 10000"/>
                <a:gd name="connsiteX1513" fmla="*/ 4323 w 10785"/>
                <a:gd name="connsiteY1513" fmla="*/ 966 h 10000"/>
                <a:gd name="connsiteX1514" fmla="*/ 4323 w 10785"/>
                <a:gd name="connsiteY1514" fmla="*/ 940 h 10000"/>
                <a:gd name="connsiteX1515" fmla="*/ 4327 w 10785"/>
                <a:gd name="connsiteY1515" fmla="*/ 940 h 10000"/>
                <a:gd name="connsiteX1516" fmla="*/ 4327 w 10785"/>
                <a:gd name="connsiteY1516" fmla="*/ 957 h 10000"/>
                <a:gd name="connsiteX1517" fmla="*/ 4327 w 10785"/>
                <a:gd name="connsiteY1517" fmla="*/ 966 h 10000"/>
                <a:gd name="connsiteX1518" fmla="*/ 4323 w 10785"/>
                <a:gd name="connsiteY1518" fmla="*/ 991 h 10000"/>
                <a:gd name="connsiteX1519" fmla="*/ 4207 w 10785"/>
                <a:gd name="connsiteY1519" fmla="*/ 1060 h 10000"/>
                <a:gd name="connsiteX1520" fmla="*/ 4207 w 10785"/>
                <a:gd name="connsiteY1520" fmla="*/ 1060 h 10000"/>
                <a:gd name="connsiteX1521" fmla="*/ 4203 w 10785"/>
                <a:gd name="connsiteY1521" fmla="*/ 1068 h 10000"/>
                <a:gd name="connsiteX1522" fmla="*/ 4203 w 10785"/>
                <a:gd name="connsiteY1522" fmla="*/ 1094 h 10000"/>
                <a:gd name="connsiteX1523" fmla="*/ 4203 w 10785"/>
                <a:gd name="connsiteY1523" fmla="*/ 1094 h 10000"/>
                <a:gd name="connsiteX1524" fmla="*/ 4189 w 10785"/>
                <a:gd name="connsiteY1524" fmla="*/ 1094 h 10000"/>
                <a:gd name="connsiteX1525" fmla="*/ 4166 w 10785"/>
                <a:gd name="connsiteY1525" fmla="*/ 1103 h 10000"/>
                <a:gd name="connsiteX1526" fmla="*/ 4152 w 10785"/>
                <a:gd name="connsiteY1526" fmla="*/ 1094 h 10000"/>
                <a:gd name="connsiteX1527" fmla="*/ 4134 w 10785"/>
                <a:gd name="connsiteY1527" fmla="*/ 1120 h 10000"/>
                <a:gd name="connsiteX1528" fmla="*/ 4106 w 10785"/>
                <a:gd name="connsiteY1528" fmla="*/ 1120 h 10000"/>
                <a:gd name="connsiteX1529" fmla="*/ 4092 w 10785"/>
                <a:gd name="connsiteY1529" fmla="*/ 1154 h 10000"/>
                <a:gd name="connsiteX1530" fmla="*/ 4106 w 10785"/>
                <a:gd name="connsiteY1530" fmla="*/ 1171 h 10000"/>
                <a:gd name="connsiteX1531" fmla="*/ 4078 w 10785"/>
                <a:gd name="connsiteY1531" fmla="*/ 1179 h 10000"/>
                <a:gd name="connsiteX1532" fmla="*/ 4065 w 10785"/>
                <a:gd name="connsiteY1532" fmla="*/ 1205 h 10000"/>
                <a:gd name="connsiteX1533" fmla="*/ 4046 w 10785"/>
                <a:gd name="connsiteY1533" fmla="*/ 1179 h 10000"/>
                <a:gd name="connsiteX1534" fmla="*/ 4041 w 10785"/>
                <a:gd name="connsiteY1534" fmla="*/ 1197 h 10000"/>
                <a:gd name="connsiteX1535" fmla="*/ 4028 w 10785"/>
                <a:gd name="connsiteY1535" fmla="*/ 1205 h 10000"/>
                <a:gd name="connsiteX1536" fmla="*/ 4028 w 10785"/>
                <a:gd name="connsiteY1536" fmla="*/ 1205 h 10000"/>
                <a:gd name="connsiteX1537" fmla="*/ 4032 w 10785"/>
                <a:gd name="connsiteY1537" fmla="*/ 1205 h 10000"/>
                <a:gd name="connsiteX1538" fmla="*/ 4032 w 10785"/>
                <a:gd name="connsiteY1538" fmla="*/ 1231 h 10000"/>
                <a:gd name="connsiteX1539" fmla="*/ 4014 w 10785"/>
                <a:gd name="connsiteY1539" fmla="*/ 1239 h 10000"/>
                <a:gd name="connsiteX1540" fmla="*/ 4014 w 10785"/>
                <a:gd name="connsiteY1540" fmla="*/ 1256 h 10000"/>
                <a:gd name="connsiteX1541" fmla="*/ 4000 w 10785"/>
                <a:gd name="connsiteY1541" fmla="*/ 1265 h 10000"/>
                <a:gd name="connsiteX1542" fmla="*/ 3986 w 10785"/>
                <a:gd name="connsiteY1542" fmla="*/ 1308 h 10000"/>
                <a:gd name="connsiteX1543" fmla="*/ 3972 w 10785"/>
                <a:gd name="connsiteY1543" fmla="*/ 1316 h 10000"/>
                <a:gd name="connsiteX1544" fmla="*/ 3972 w 10785"/>
                <a:gd name="connsiteY1544" fmla="*/ 1325 h 10000"/>
                <a:gd name="connsiteX1545" fmla="*/ 3972 w 10785"/>
                <a:gd name="connsiteY1545" fmla="*/ 1342 h 10000"/>
                <a:gd name="connsiteX1546" fmla="*/ 3968 w 10785"/>
                <a:gd name="connsiteY1546" fmla="*/ 1350 h 10000"/>
                <a:gd name="connsiteX1547" fmla="*/ 3954 w 10785"/>
                <a:gd name="connsiteY1547" fmla="*/ 1368 h 10000"/>
                <a:gd name="connsiteX1548" fmla="*/ 3945 w 10785"/>
                <a:gd name="connsiteY1548" fmla="*/ 1350 h 10000"/>
                <a:gd name="connsiteX1549" fmla="*/ 3908 w 10785"/>
                <a:gd name="connsiteY1549" fmla="*/ 1342 h 10000"/>
                <a:gd name="connsiteX1550" fmla="*/ 3894 w 10785"/>
                <a:gd name="connsiteY1550" fmla="*/ 1368 h 10000"/>
                <a:gd name="connsiteX1551" fmla="*/ 3922 w 10785"/>
                <a:gd name="connsiteY1551" fmla="*/ 1393 h 10000"/>
                <a:gd name="connsiteX1552" fmla="*/ 3945 w 10785"/>
                <a:gd name="connsiteY1552" fmla="*/ 1393 h 10000"/>
                <a:gd name="connsiteX1553" fmla="*/ 3940 w 10785"/>
                <a:gd name="connsiteY1553" fmla="*/ 1419 h 10000"/>
                <a:gd name="connsiteX1554" fmla="*/ 3931 w 10785"/>
                <a:gd name="connsiteY1554" fmla="*/ 1427 h 10000"/>
                <a:gd name="connsiteX1555" fmla="*/ 3926 w 10785"/>
                <a:gd name="connsiteY1555" fmla="*/ 1427 h 10000"/>
                <a:gd name="connsiteX1556" fmla="*/ 3922 w 10785"/>
                <a:gd name="connsiteY1556" fmla="*/ 1419 h 10000"/>
                <a:gd name="connsiteX1557" fmla="*/ 3912 w 10785"/>
                <a:gd name="connsiteY1557" fmla="*/ 1427 h 10000"/>
                <a:gd name="connsiteX1558" fmla="*/ 3912 w 10785"/>
                <a:gd name="connsiteY1558" fmla="*/ 1444 h 10000"/>
                <a:gd name="connsiteX1559" fmla="*/ 3894 w 10785"/>
                <a:gd name="connsiteY1559" fmla="*/ 1513 h 10000"/>
                <a:gd name="connsiteX1560" fmla="*/ 3885 w 10785"/>
                <a:gd name="connsiteY1560" fmla="*/ 1513 h 10000"/>
                <a:gd name="connsiteX1561" fmla="*/ 3880 w 10785"/>
                <a:gd name="connsiteY1561" fmla="*/ 1538 h 10000"/>
                <a:gd name="connsiteX1562" fmla="*/ 3885 w 10785"/>
                <a:gd name="connsiteY1562" fmla="*/ 1564 h 10000"/>
                <a:gd name="connsiteX1563" fmla="*/ 3880 w 10785"/>
                <a:gd name="connsiteY1563" fmla="*/ 1581 h 10000"/>
                <a:gd name="connsiteX1564" fmla="*/ 3871 w 10785"/>
                <a:gd name="connsiteY1564" fmla="*/ 1538 h 10000"/>
                <a:gd name="connsiteX1565" fmla="*/ 3853 w 10785"/>
                <a:gd name="connsiteY1565" fmla="*/ 1530 h 10000"/>
                <a:gd name="connsiteX1566" fmla="*/ 3853 w 10785"/>
                <a:gd name="connsiteY1566" fmla="*/ 1504 h 10000"/>
                <a:gd name="connsiteX1567" fmla="*/ 3834 w 10785"/>
                <a:gd name="connsiteY1567" fmla="*/ 1487 h 10000"/>
                <a:gd name="connsiteX1568" fmla="*/ 3834 w 10785"/>
                <a:gd name="connsiteY1568" fmla="*/ 1487 h 10000"/>
                <a:gd name="connsiteX1569" fmla="*/ 3839 w 10785"/>
                <a:gd name="connsiteY1569" fmla="*/ 1513 h 10000"/>
                <a:gd name="connsiteX1570" fmla="*/ 3820 w 10785"/>
                <a:gd name="connsiteY1570" fmla="*/ 1538 h 10000"/>
                <a:gd name="connsiteX1571" fmla="*/ 3820 w 10785"/>
                <a:gd name="connsiteY1571" fmla="*/ 1556 h 10000"/>
                <a:gd name="connsiteX1572" fmla="*/ 3820 w 10785"/>
                <a:gd name="connsiteY1572" fmla="*/ 1564 h 10000"/>
                <a:gd name="connsiteX1573" fmla="*/ 3820 w 10785"/>
                <a:gd name="connsiteY1573" fmla="*/ 1581 h 10000"/>
                <a:gd name="connsiteX1574" fmla="*/ 3853 w 10785"/>
                <a:gd name="connsiteY1574" fmla="*/ 1581 h 10000"/>
                <a:gd name="connsiteX1575" fmla="*/ 3857 w 10785"/>
                <a:gd name="connsiteY1575" fmla="*/ 1598 h 10000"/>
                <a:gd name="connsiteX1576" fmla="*/ 3880 w 10785"/>
                <a:gd name="connsiteY1576" fmla="*/ 1615 h 10000"/>
                <a:gd name="connsiteX1577" fmla="*/ 3871 w 10785"/>
                <a:gd name="connsiteY1577" fmla="*/ 1615 h 10000"/>
                <a:gd name="connsiteX1578" fmla="*/ 3871 w 10785"/>
                <a:gd name="connsiteY1578" fmla="*/ 1641 h 10000"/>
                <a:gd name="connsiteX1579" fmla="*/ 3880 w 10785"/>
                <a:gd name="connsiteY1579" fmla="*/ 1641 h 10000"/>
                <a:gd name="connsiteX1580" fmla="*/ 3871 w 10785"/>
                <a:gd name="connsiteY1580" fmla="*/ 1650 h 10000"/>
                <a:gd name="connsiteX1581" fmla="*/ 3857 w 10785"/>
                <a:gd name="connsiteY1581" fmla="*/ 1650 h 10000"/>
                <a:gd name="connsiteX1582" fmla="*/ 3853 w 10785"/>
                <a:gd name="connsiteY1582" fmla="*/ 1650 h 10000"/>
                <a:gd name="connsiteX1583" fmla="*/ 3839 w 10785"/>
                <a:gd name="connsiteY1583" fmla="*/ 1667 h 10000"/>
                <a:gd name="connsiteX1584" fmla="*/ 3848 w 10785"/>
                <a:gd name="connsiteY1584" fmla="*/ 1692 h 10000"/>
                <a:gd name="connsiteX1585" fmla="*/ 3834 w 10785"/>
                <a:gd name="connsiteY1585" fmla="*/ 1692 h 10000"/>
                <a:gd name="connsiteX1586" fmla="*/ 3825 w 10785"/>
                <a:gd name="connsiteY1586" fmla="*/ 1692 h 10000"/>
                <a:gd name="connsiteX1587" fmla="*/ 3825 w 10785"/>
                <a:gd name="connsiteY1587" fmla="*/ 1718 h 10000"/>
                <a:gd name="connsiteX1588" fmla="*/ 3839 w 10785"/>
                <a:gd name="connsiteY1588" fmla="*/ 1726 h 10000"/>
                <a:gd name="connsiteX1589" fmla="*/ 3880 w 10785"/>
                <a:gd name="connsiteY1589" fmla="*/ 1752 h 10000"/>
                <a:gd name="connsiteX1590" fmla="*/ 3894 w 10785"/>
                <a:gd name="connsiteY1590" fmla="*/ 1829 h 10000"/>
                <a:gd name="connsiteX1591" fmla="*/ 3899 w 10785"/>
                <a:gd name="connsiteY1591" fmla="*/ 1838 h 10000"/>
                <a:gd name="connsiteX1592" fmla="*/ 3894 w 10785"/>
                <a:gd name="connsiteY1592" fmla="*/ 1855 h 10000"/>
                <a:gd name="connsiteX1593" fmla="*/ 3880 w 10785"/>
                <a:gd name="connsiteY1593" fmla="*/ 1838 h 10000"/>
                <a:gd name="connsiteX1594" fmla="*/ 3880 w 10785"/>
                <a:gd name="connsiteY1594" fmla="*/ 1855 h 10000"/>
                <a:gd name="connsiteX1595" fmla="*/ 3880 w 10785"/>
                <a:gd name="connsiteY1595" fmla="*/ 1863 h 10000"/>
                <a:gd name="connsiteX1596" fmla="*/ 3871 w 10785"/>
                <a:gd name="connsiteY1596" fmla="*/ 1872 h 10000"/>
                <a:gd name="connsiteX1597" fmla="*/ 3880 w 10785"/>
                <a:gd name="connsiteY1597" fmla="*/ 1889 h 10000"/>
                <a:gd name="connsiteX1598" fmla="*/ 3885 w 10785"/>
                <a:gd name="connsiteY1598" fmla="*/ 1889 h 10000"/>
                <a:gd name="connsiteX1599" fmla="*/ 3880 w 10785"/>
                <a:gd name="connsiteY1599" fmla="*/ 1897 h 10000"/>
                <a:gd name="connsiteX1600" fmla="*/ 3871 w 10785"/>
                <a:gd name="connsiteY1600" fmla="*/ 1915 h 10000"/>
                <a:gd name="connsiteX1601" fmla="*/ 3848 w 10785"/>
                <a:gd name="connsiteY1601" fmla="*/ 1923 h 10000"/>
                <a:gd name="connsiteX1602" fmla="*/ 3825 w 10785"/>
                <a:gd name="connsiteY1602" fmla="*/ 1940 h 10000"/>
                <a:gd name="connsiteX1603" fmla="*/ 3811 w 10785"/>
                <a:gd name="connsiteY1603" fmla="*/ 1940 h 10000"/>
                <a:gd name="connsiteX1604" fmla="*/ 3806 w 10785"/>
                <a:gd name="connsiteY1604" fmla="*/ 1949 h 10000"/>
                <a:gd name="connsiteX1605" fmla="*/ 3797 w 10785"/>
                <a:gd name="connsiteY1605" fmla="*/ 1966 h 10000"/>
                <a:gd name="connsiteX1606" fmla="*/ 3788 w 10785"/>
                <a:gd name="connsiteY1606" fmla="*/ 1991 h 10000"/>
                <a:gd name="connsiteX1607" fmla="*/ 3765 w 10785"/>
                <a:gd name="connsiteY1607" fmla="*/ 1974 h 10000"/>
                <a:gd name="connsiteX1608" fmla="*/ 3760 w 10785"/>
                <a:gd name="connsiteY1608" fmla="*/ 1966 h 10000"/>
                <a:gd name="connsiteX1609" fmla="*/ 3760 w 10785"/>
                <a:gd name="connsiteY1609" fmla="*/ 1966 h 10000"/>
                <a:gd name="connsiteX1610" fmla="*/ 3631 w 10785"/>
                <a:gd name="connsiteY1610" fmla="*/ 2009 h 10000"/>
                <a:gd name="connsiteX1611" fmla="*/ 3618 w 10785"/>
                <a:gd name="connsiteY1611" fmla="*/ 2000 h 10000"/>
                <a:gd name="connsiteX1612" fmla="*/ 3599 w 10785"/>
                <a:gd name="connsiteY1612" fmla="*/ 2009 h 10000"/>
                <a:gd name="connsiteX1613" fmla="*/ 3571 w 10785"/>
                <a:gd name="connsiteY1613" fmla="*/ 2000 h 10000"/>
                <a:gd name="connsiteX1614" fmla="*/ 3530 w 10785"/>
                <a:gd name="connsiteY1614" fmla="*/ 2026 h 10000"/>
                <a:gd name="connsiteX1615" fmla="*/ 3530 w 10785"/>
                <a:gd name="connsiteY1615" fmla="*/ 2034 h 10000"/>
                <a:gd name="connsiteX1616" fmla="*/ 3525 w 10785"/>
                <a:gd name="connsiteY1616" fmla="*/ 2051 h 10000"/>
                <a:gd name="connsiteX1617" fmla="*/ 3512 w 10785"/>
                <a:gd name="connsiteY1617" fmla="*/ 2034 h 10000"/>
                <a:gd name="connsiteX1618" fmla="*/ 3507 w 10785"/>
                <a:gd name="connsiteY1618" fmla="*/ 2034 h 10000"/>
                <a:gd name="connsiteX1619" fmla="*/ 3498 w 10785"/>
                <a:gd name="connsiteY1619" fmla="*/ 2051 h 10000"/>
                <a:gd name="connsiteX1620" fmla="*/ 3484 w 10785"/>
                <a:gd name="connsiteY1620" fmla="*/ 2060 h 10000"/>
                <a:gd name="connsiteX1621" fmla="*/ 3484 w 10785"/>
                <a:gd name="connsiteY1621" fmla="*/ 2085 h 10000"/>
                <a:gd name="connsiteX1622" fmla="*/ 3484 w 10785"/>
                <a:gd name="connsiteY1622" fmla="*/ 2103 h 10000"/>
                <a:gd name="connsiteX1623" fmla="*/ 3493 w 10785"/>
                <a:gd name="connsiteY1623" fmla="*/ 2103 h 10000"/>
                <a:gd name="connsiteX1624" fmla="*/ 3493 w 10785"/>
                <a:gd name="connsiteY1624" fmla="*/ 2085 h 10000"/>
                <a:gd name="connsiteX1625" fmla="*/ 3498 w 10785"/>
                <a:gd name="connsiteY1625" fmla="*/ 2085 h 10000"/>
                <a:gd name="connsiteX1626" fmla="*/ 3498 w 10785"/>
                <a:gd name="connsiteY1626" fmla="*/ 2111 h 10000"/>
                <a:gd name="connsiteX1627" fmla="*/ 3484 w 10785"/>
                <a:gd name="connsiteY1627" fmla="*/ 2120 h 10000"/>
                <a:gd name="connsiteX1628" fmla="*/ 3484 w 10785"/>
                <a:gd name="connsiteY1628" fmla="*/ 2145 h 10000"/>
                <a:gd name="connsiteX1629" fmla="*/ 3470 w 10785"/>
                <a:gd name="connsiteY1629" fmla="*/ 2137 h 10000"/>
                <a:gd name="connsiteX1630" fmla="*/ 3465 w 10785"/>
                <a:gd name="connsiteY1630" fmla="*/ 2145 h 10000"/>
                <a:gd name="connsiteX1631" fmla="*/ 3470 w 10785"/>
                <a:gd name="connsiteY1631" fmla="*/ 2171 h 10000"/>
                <a:gd name="connsiteX1632" fmla="*/ 3484 w 10785"/>
                <a:gd name="connsiteY1632" fmla="*/ 2171 h 10000"/>
                <a:gd name="connsiteX1633" fmla="*/ 3484 w 10785"/>
                <a:gd name="connsiteY1633" fmla="*/ 2197 h 10000"/>
                <a:gd name="connsiteX1634" fmla="*/ 3465 w 10785"/>
                <a:gd name="connsiteY1634" fmla="*/ 2214 h 10000"/>
                <a:gd name="connsiteX1635" fmla="*/ 3493 w 10785"/>
                <a:gd name="connsiteY1635" fmla="*/ 2248 h 10000"/>
                <a:gd name="connsiteX1636" fmla="*/ 3484 w 10785"/>
                <a:gd name="connsiteY1636" fmla="*/ 2256 h 10000"/>
                <a:gd name="connsiteX1637" fmla="*/ 3498 w 10785"/>
                <a:gd name="connsiteY1637" fmla="*/ 2274 h 10000"/>
                <a:gd name="connsiteX1638" fmla="*/ 3498 w 10785"/>
                <a:gd name="connsiteY1638" fmla="*/ 2256 h 10000"/>
                <a:gd name="connsiteX1639" fmla="*/ 3507 w 10785"/>
                <a:gd name="connsiteY1639" fmla="*/ 2308 h 10000"/>
                <a:gd name="connsiteX1640" fmla="*/ 3512 w 10785"/>
                <a:gd name="connsiteY1640" fmla="*/ 2325 h 10000"/>
                <a:gd name="connsiteX1641" fmla="*/ 3507 w 10785"/>
                <a:gd name="connsiteY1641" fmla="*/ 2333 h 10000"/>
                <a:gd name="connsiteX1642" fmla="*/ 3507 w 10785"/>
                <a:gd name="connsiteY1642" fmla="*/ 2359 h 10000"/>
                <a:gd name="connsiteX1643" fmla="*/ 3507 w 10785"/>
                <a:gd name="connsiteY1643" fmla="*/ 2376 h 10000"/>
                <a:gd name="connsiteX1644" fmla="*/ 3498 w 10785"/>
                <a:gd name="connsiteY1644" fmla="*/ 2410 h 10000"/>
                <a:gd name="connsiteX1645" fmla="*/ 3498 w 10785"/>
                <a:gd name="connsiteY1645" fmla="*/ 2436 h 10000"/>
                <a:gd name="connsiteX1646" fmla="*/ 3507 w 10785"/>
                <a:gd name="connsiteY1646" fmla="*/ 2462 h 10000"/>
                <a:gd name="connsiteX1647" fmla="*/ 3507 w 10785"/>
                <a:gd name="connsiteY1647" fmla="*/ 2496 h 10000"/>
                <a:gd name="connsiteX1648" fmla="*/ 3512 w 10785"/>
                <a:gd name="connsiteY1648" fmla="*/ 2521 h 10000"/>
                <a:gd name="connsiteX1649" fmla="*/ 3525 w 10785"/>
                <a:gd name="connsiteY1649" fmla="*/ 2556 h 10000"/>
                <a:gd name="connsiteX1650" fmla="*/ 3571 w 10785"/>
                <a:gd name="connsiteY1650" fmla="*/ 2573 h 10000"/>
                <a:gd name="connsiteX1651" fmla="*/ 3590 w 10785"/>
                <a:gd name="connsiteY1651" fmla="*/ 2598 h 10000"/>
                <a:gd name="connsiteX1652" fmla="*/ 3599 w 10785"/>
                <a:gd name="connsiteY1652" fmla="*/ 2598 h 10000"/>
                <a:gd name="connsiteX1653" fmla="*/ 3604 w 10785"/>
                <a:gd name="connsiteY1653" fmla="*/ 2632 h 10000"/>
                <a:gd name="connsiteX1654" fmla="*/ 3599 w 10785"/>
                <a:gd name="connsiteY1654" fmla="*/ 2658 h 10000"/>
                <a:gd name="connsiteX1655" fmla="*/ 3590 w 10785"/>
                <a:gd name="connsiteY1655" fmla="*/ 2667 h 10000"/>
                <a:gd name="connsiteX1656" fmla="*/ 3604 w 10785"/>
                <a:gd name="connsiteY1656" fmla="*/ 2667 h 10000"/>
                <a:gd name="connsiteX1657" fmla="*/ 3613 w 10785"/>
                <a:gd name="connsiteY1657" fmla="*/ 2692 h 10000"/>
                <a:gd name="connsiteX1658" fmla="*/ 3627 w 10785"/>
                <a:gd name="connsiteY1658" fmla="*/ 2735 h 10000"/>
                <a:gd name="connsiteX1659" fmla="*/ 3631 w 10785"/>
                <a:gd name="connsiteY1659" fmla="*/ 2744 h 10000"/>
                <a:gd name="connsiteX1660" fmla="*/ 3659 w 10785"/>
                <a:gd name="connsiteY1660" fmla="*/ 2761 h 10000"/>
                <a:gd name="connsiteX1661" fmla="*/ 3673 w 10785"/>
                <a:gd name="connsiteY1661" fmla="*/ 2769 h 10000"/>
                <a:gd name="connsiteX1662" fmla="*/ 3673 w 10785"/>
                <a:gd name="connsiteY1662" fmla="*/ 2761 h 10000"/>
                <a:gd name="connsiteX1663" fmla="*/ 3687 w 10785"/>
                <a:gd name="connsiteY1663" fmla="*/ 2829 h 10000"/>
                <a:gd name="connsiteX1664" fmla="*/ 3677 w 10785"/>
                <a:gd name="connsiteY1664" fmla="*/ 2897 h 10000"/>
                <a:gd name="connsiteX1665" fmla="*/ 3673 w 10785"/>
                <a:gd name="connsiteY1665" fmla="*/ 2915 h 10000"/>
                <a:gd name="connsiteX1666" fmla="*/ 3664 w 10785"/>
                <a:gd name="connsiteY1666" fmla="*/ 2957 h 10000"/>
                <a:gd name="connsiteX1667" fmla="*/ 3659 w 10785"/>
                <a:gd name="connsiteY1667" fmla="*/ 2983 h 10000"/>
                <a:gd name="connsiteX1668" fmla="*/ 3664 w 10785"/>
                <a:gd name="connsiteY1668" fmla="*/ 3017 h 10000"/>
                <a:gd name="connsiteX1669" fmla="*/ 3659 w 10785"/>
                <a:gd name="connsiteY1669" fmla="*/ 3043 h 10000"/>
                <a:gd name="connsiteX1670" fmla="*/ 3677 w 10785"/>
                <a:gd name="connsiteY1670" fmla="*/ 3094 h 10000"/>
                <a:gd name="connsiteX1671" fmla="*/ 3691 w 10785"/>
                <a:gd name="connsiteY1671" fmla="*/ 3282 h 10000"/>
                <a:gd name="connsiteX1672" fmla="*/ 3691 w 10785"/>
                <a:gd name="connsiteY1672" fmla="*/ 3308 h 10000"/>
                <a:gd name="connsiteX1673" fmla="*/ 3677 w 10785"/>
                <a:gd name="connsiteY1673" fmla="*/ 3342 h 10000"/>
                <a:gd name="connsiteX1674" fmla="*/ 3664 w 10785"/>
                <a:gd name="connsiteY1674" fmla="*/ 3342 h 10000"/>
                <a:gd name="connsiteX1675" fmla="*/ 3650 w 10785"/>
                <a:gd name="connsiteY1675" fmla="*/ 3342 h 10000"/>
                <a:gd name="connsiteX1676" fmla="*/ 3650 w 10785"/>
                <a:gd name="connsiteY1676" fmla="*/ 3350 h 10000"/>
                <a:gd name="connsiteX1677" fmla="*/ 3659 w 10785"/>
                <a:gd name="connsiteY1677" fmla="*/ 3402 h 10000"/>
                <a:gd name="connsiteX1678" fmla="*/ 3659 w 10785"/>
                <a:gd name="connsiteY1678" fmla="*/ 3419 h 10000"/>
                <a:gd name="connsiteX1679" fmla="*/ 3631 w 10785"/>
                <a:gd name="connsiteY1679" fmla="*/ 3402 h 10000"/>
                <a:gd name="connsiteX1680" fmla="*/ 3604 w 10785"/>
                <a:gd name="connsiteY1680" fmla="*/ 3393 h 10000"/>
                <a:gd name="connsiteX1681" fmla="*/ 3599 w 10785"/>
                <a:gd name="connsiteY1681" fmla="*/ 3368 h 10000"/>
                <a:gd name="connsiteX1682" fmla="*/ 3590 w 10785"/>
                <a:gd name="connsiteY1682" fmla="*/ 3239 h 10000"/>
                <a:gd name="connsiteX1683" fmla="*/ 3599 w 10785"/>
                <a:gd name="connsiteY1683" fmla="*/ 3179 h 10000"/>
                <a:gd name="connsiteX1684" fmla="*/ 3599 w 10785"/>
                <a:gd name="connsiteY1684" fmla="*/ 3171 h 10000"/>
                <a:gd name="connsiteX1685" fmla="*/ 3599 w 10785"/>
                <a:gd name="connsiteY1685" fmla="*/ 3009 h 10000"/>
                <a:gd name="connsiteX1686" fmla="*/ 3604 w 10785"/>
                <a:gd name="connsiteY1686" fmla="*/ 2983 h 10000"/>
                <a:gd name="connsiteX1687" fmla="*/ 3645 w 10785"/>
                <a:gd name="connsiteY1687" fmla="*/ 2932 h 10000"/>
                <a:gd name="connsiteX1688" fmla="*/ 3650 w 10785"/>
                <a:gd name="connsiteY1688" fmla="*/ 2872 h 10000"/>
                <a:gd name="connsiteX1689" fmla="*/ 3659 w 10785"/>
                <a:gd name="connsiteY1689" fmla="*/ 2855 h 10000"/>
                <a:gd name="connsiteX1690" fmla="*/ 3659 w 10785"/>
                <a:gd name="connsiteY1690" fmla="*/ 2821 h 10000"/>
                <a:gd name="connsiteX1691" fmla="*/ 3631 w 10785"/>
                <a:gd name="connsiteY1691" fmla="*/ 2795 h 10000"/>
                <a:gd name="connsiteX1692" fmla="*/ 3567 w 10785"/>
                <a:gd name="connsiteY1692" fmla="*/ 2821 h 10000"/>
                <a:gd name="connsiteX1693" fmla="*/ 3544 w 10785"/>
                <a:gd name="connsiteY1693" fmla="*/ 2795 h 10000"/>
                <a:gd name="connsiteX1694" fmla="*/ 3530 w 10785"/>
                <a:gd name="connsiteY1694" fmla="*/ 2769 h 10000"/>
                <a:gd name="connsiteX1695" fmla="*/ 3530 w 10785"/>
                <a:gd name="connsiteY1695" fmla="*/ 2786 h 10000"/>
                <a:gd name="connsiteX1696" fmla="*/ 3498 w 10785"/>
                <a:gd name="connsiteY1696" fmla="*/ 2692 h 10000"/>
                <a:gd name="connsiteX1697" fmla="*/ 3498 w 10785"/>
                <a:gd name="connsiteY1697" fmla="*/ 2667 h 10000"/>
                <a:gd name="connsiteX1698" fmla="*/ 3442 w 10785"/>
                <a:gd name="connsiteY1698" fmla="*/ 2607 h 10000"/>
                <a:gd name="connsiteX1699" fmla="*/ 3433 w 10785"/>
                <a:gd name="connsiteY1699" fmla="*/ 2581 h 10000"/>
                <a:gd name="connsiteX1700" fmla="*/ 3396 w 10785"/>
                <a:gd name="connsiteY1700" fmla="*/ 2556 h 10000"/>
                <a:gd name="connsiteX1701" fmla="*/ 3318 w 10785"/>
                <a:gd name="connsiteY1701" fmla="*/ 2556 h 10000"/>
                <a:gd name="connsiteX1702" fmla="*/ 3304 w 10785"/>
                <a:gd name="connsiteY1702" fmla="*/ 2607 h 10000"/>
                <a:gd name="connsiteX1703" fmla="*/ 3276 w 10785"/>
                <a:gd name="connsiteY1703" fmla="*/ 2632 h 10000"/>
                <a:gd name="connsiteX1704" fmla="*/ 3272 w 10785"/>
                <a:gd name="connsiteY1704" fmla="*/ 2667 h 10000"/>
                <a:gd name="connsiteX1705" fmla="*/ 3304 w 10785"/>
                <a:gd name="connsiteY1705" fmla="*/ 2667 h 10000"/>
                <a:gd name="connsiteX1706" fmla="*/ 3323 w 10785"/>
                <a:gd name="connsiteY1706" fmla="*/ 2692 h 10000"/>
                <a:gd name="connsiteX1707" fmla="*/ 3318 w 10785"/>
                <a:gd name="connsiteY1707" fmla="*/ 2735 h 10000"/>
                <a:gd name="connsiteX1708" fmla="*/ 3304 w 10785"/>
                <a:gd name="connsiteY1708" fmla="*/ 2761 h 10000"/>
                <a:gd name="connsiteX1709" fmla="*/ 3276 w 10785"/>
                <a:gd name="connsiteY1709" fmla="*/ 2769 h 10000"/>
                <a:gd name="connsiteX1710" fmla="*/ 3263 w 10785"/>
                <a:gd name="connsiteY1710" fmla="*/ 2795 h 10000"/>
                <a:gd name="connsiteX1711" fmla="*/ 3235 w 10785"/>
                <a:gd name="connsiteY1711" fmla="*/ 2803 h 10000"/>
                <a:gd name="connsiteX1712" fmla="*/ 3235 w 10785"/>
                <a:gd name="connsiteY1712" fmla="*/ 2786 h 10000"/>
                <a:gd name="connsiteX1713" fmla="*/ 3212 w 10785"/>
                <a:gd name="connsiteY1713" fmla="*/ 2709 h 10000"/>
                <a:gd name="connsiteX1714" fmla="*/ 3198 w 10785"/>
                <a:gd name="connsiteY1714" fmla="*/ 2709 h 10000"/>
                <a:gd name="connsiteX1715" fmla="*/ 3184 w 10785"/>
                <a:gd name="connsiteY1715" fmla="*/ 2735 h 10000"/>
                <a:gd name="connsiteX1716" fmla="*/ 3189 w 10785"/>
                <a:gd name="connsiteY1716" fmla="*/ 2761 h 10000"/>
                <a:gd name="connsiteX1717" fmla="*/ 3203 w 10785"/>
                <a:gd name="connsiteY1717" fmla="*/ 2855 h 10000"/>
                <a:gd name="connsiteX1718" fmla="*/ 3212 w 10785"/>
                <a:gd name="connsiteY1718" fmla="*/ 2872 h 10000"/>
                <a:gd name="connsiteX1719" fmla="*/ 3235 w 10785"/>
                <a:gd name="connsiteY1719" fmla="*/ 2906 h 10000"/>
                <a:gd name="connsiteX1720" fmla="*/ 3258 w 10785"/>
                <a:gd name="connsiteY1720" fmla="*/ 2915 h 10000"/>
                <a:gd name="connsiteX1721" fmla="*/ 3272 w 10785"/>
                <a:gd name="connsiteY1721" fmla="*/ 2957 h 10000"/>
                <a:gd name="connsiteX1722" fmla="*/ 3276 w 10785"/>
                <a:gd name="connsiteY1722" fmla="*/ 2957 h 10000"/>
                <a:gd name="connsiteX1723" fmla="*/ 3286 w 10785"/>
                <a:gd name="connsiteY1723" fmla="*/ 2966 h 10000"/>
                <a:gd name="connsiteX1724" fmla="*/ 3300 w 10785"/>
                <a:gd name="connsiteY1724" fmla="*/ 2957 h 10000"/>
                <a:gd name="connsiteX1725" fmla="*/ 3309 w 10785"/>
                <a:gd name="connsiteY1725" fmla="*/ 2932 h 10000"/>
                <a:gd name="connsiteX1726" fmla="*/ 3304 w 10785"/>
                <a:gd name="connsiteY1726" fmla="*/ 2966 h 10000"/>
                <a:gd name="connsiteX1727" fmla="*/ 3309 w 10785"/>
                <a:gd name="connsiteY1727" fmla="*/ 2983 h 10000"/>
                <a:gd name="connsiteX1728" fmla="*/ 3323 w 10785"/>
                <a:gd name="connsiteY1728" fmla="*/ 2966 h 10000"/>
                <a:gd name="connsiteX1729" fmla="*/ 3323 w 10785"/>
                <a:gd name="connsiteY1729" fmla="*/ 3043 h 10000"/>
                <a:gd name="connsiteX1730" fmla="*/ 3346 w 10785"/>
                <a:gd name="connsiteY1730" fmla="*/ 3068 h 10000"/>
                <a:gd name="connsiteX1731" fmla="*/ 3346 w 10785"/>
                <a:gd name="connsiteY1731" fmla="*/ 3094 h 10000"/>
                <a:gd name="connsiteX1732" fmla="*/ 3323 w 10785"/>
                <a:gd name="connsiteY1732" fmla="*/ 3094 h 10000"/>
                <a:gd name="connsiteX1733" fmla="*/ 3309 w 10785"/>
                <a:gd name="connsiteY1733" fmla="*/ 3077 h 10000"/>
                <a:gd name="connsiteX1734" fmla="*/ 3304 w 10785"/>
                <a:gd name="connsiteY1734" fmla="*/ 3051 h 10000"/>
                <a:gd name="connsiteX1735" fmla="*/ 3300 w 10785"/>
                <a:gd name="connsiteY1735" fmla="*/ 3043 h 10000"/>
                <a:gd name="connsiteX1736" fmla="*/ 3286 w 10785"/>
                <a:gd name="connsiteY1736" fmla="*/ 3017 h 10000"/>
                <a:gd name="connsiteX1737" fmla="*/ 3152 w 10785"/>
                <a:gd name="connsiteY1737" fmla="*/ 2966 h 10000"/>
                <a:gd name="connsiteX1738" fmla="*/ 3129 w 10785"/>
                <a:gd name="connsiteY1738" fmla="*/ 2915 h 10000"/>
                <a:gd name="connsiteX1739" fmla="*/ 3129 w 10785"/>
                <a:gd name="connsiteY1739" fmla="*/ 2906 h 10000"/>
                <a:gd name="connsiteX1740" fmla="*/ 3152 w 10785"/>
                <a:gd name="connsiteY1740" fmla="*/ 2906 h 10000"/>
                <a:gd name="connsiteX1741" fmla="*/ 3152 w 10785"/>
                <a:gd name="connsiteY1741" fmla="*/ 2846 h 10000"/>
                <a:gd name="connsiteX1742" fmla="*/ 3138 w 10785"/>
                <a:gd name="connsiteY1742" fmla="*/ 2795 h 10000"/>
                <a:gd name="connsiteX1743" fmla="*/ 3138 w 10785"/>
                <a:gd name="connsiteY1743" fmla="*/ 2769 h 10000"/>
                <a:gd name="connsiteX1744" fmla="*/ 3143 w 10785"/>
                <a:gd name="connsiteY1744" fmla="*/ 2718 h 10000"/>
                <a:gd name="connsiteX1745" fmla="*/ 3129 w 10785"/>
                <a:gd name="connsiteY1745" fmla="*/ 2692 h 10000"/>
                <a:gd name="connsiteX1746" fmla="*/ 3143 w 10785"/>
                <a:gd name="connsiteY1746" fmla="*/ 2667 h 10000"/>
                <a:gd name="connsiteX1747" fmla="*/ 3157 w 10785"/>
                <a:gd name="connsiteY1747" fmla="*/ 2581 h 10000"/>
                <a:gd name="connsiteX1748" fmla="*/ 3143 w 10785"/>
                <a:gd name="connsiteY1748" fmla="*/ 2496 h 10000"/>
                <a:gd name="connsiteX1749" fmla="*/ 3157 w 10785"/>
                <a:gd name="connsiteY1749" fmla="*/ 2487 h 10000"/>
                <a:gd name="connsiteX1750" fmla="*/ 3143 w 10785"/>
                <a:gd name="connsiteY1750" fmla="*/ 2444 h 10000"/>
                <a:gd name="connsiteX1751" fmla="*/ 3143 w 10785"/>
                <a:gd name="connsiteY1751" fmla="*/ 2419 h 10000"/>
                <a:gd name="connsiteX1752" fmla="*/ 3143 w 10785"/>
                <a:gd name="connsiteY1752" fmla="*/ 2410 h 10000"/>
                <a:gd name="connsiteX1753" fmla="*/ 3124 w 10785"/>
                <a:gd name="connsiteY1753" fmla="*/ 2376 h 10000"/>
                <a:gd name="connsiteX1754" fmla="*/ 3115 w 10785"/>
                <a:gd name="connsiteY1754" fmla="*/ 2350 h 10000"/>
                <a:gd name="connsiteX1755" fmla="*/ 3101 w 10785"/>
                <a:gd name="connsiteY1755" fmla="*/ 2359 h 10000"/>
                <a:gd name="connsiteX1756" fmla="*/ 3115 w 10785"/>
                <a:gd name="connsiteY1756" fmla="*/ 2581 h 10000"/>
                <a:gd name="connsiteX1757" fmla="*/ 3111 w 10785"/>
                <a:gd name="connsiteY1757" fmla="*/ 2624 h 10000"/>
                <a:gd name="connsiteX1758" fmla="*/ 3009 w 10785"/>
                <a:gd name="connsiteY1758" fmla="*/ 2761 h 10000"/>
                <a:gd name="connsiteX1759" fmla="*/ 3009 w 10785"/>
                <a:gd name="connsiteY1759" fmla="*/ 2803 h 10000"/>
                <a:gd name="connsiteX1760" fmla="*/ 3005 w 10785"/>
                <a:gd name="connsiteY1760" fmla="*/ 2829 h 10000"/>
                <a:gd name="connsiteX1761" fmla="*/ 2982 w 10785"/>
                <a:gd name="connsiteY1761" fmla="*/ 2872 h 10000"/>
                <a:gd name="connsiteX1762" fmla="*/ 2982 w 10785"/>
                <a:gd name="connsiteY1762" fmla="*/ 2880 h 10000"/>
                <a:gd name="connsiteX1763" fmla="*/ 3037 w 10785"/>
                <a:gd name="connsiteY1763" fmla="*/ 3034 h 10000"/>
                <a:gd name="connsiteX1764" fmla="*/ 3041 w 10785"/>
                <a:gd name="connsiteY1764" fmla="*/ 3103 h 10000"/>
                <a:gd name="connsiteX1765" fmla="*/ 3069 w 10785"/>
                <a:gd name="connsiteY1765" fmla="*/ 3188 h 10000"/>
                <a:gd name="connsiteX1766" fmla="*/ 3055 w 10785"/>
                <a:gd name="connsiteY1766" fmla="*/ 3325 h 10000"/>
                <a:gd name="connsiteX1767" fmla="*/ 3037 w 10785"/>
                <a:gd name="connsiteY1767" fmla="*/ 3368 h 10000"/>
                <a:gd name="connsiteX1768" fmla="*/ 3037 w 10785"/>
                <a:gd name="connsiteY1768" fmla="*/ 3444 h 10000"/>
                <a:gd name="connsiteX1769" fmla="*/ 3028 w 10785"/>
                <a:gd name="connsiteY1769" fmla="*/ 3453 h 10000"/>
                <a:gd name="connsiteX1770" fmla="*/ 3023 w 10785"/>
                <a:gd name="connsiteY1770" fmla="*/ 3530 h 10000"/>
                <a:gd name="connsiteX1771" fmla="*/ 3051 w 10785"/>
                <a:gd name="connsiteY1771" fmla="*/ 3624 h 10000"/>
                <a:gd name="connsiteX1772" fmla="*/ 3037 w 10785"/>
                <a:gd name="connsiteY1772" fmla="*/ 3718 h 10000"/>
                <a:gd name="connsiteX1773" fmla="*/ 3041 w 10785"/>
                <a:gd name="connsiteY1773" fmla="*/ 3752 h 10000"/>
                <a:gd name="connsiteX1774" fmla="*/ 3055 w 10785"/>
                <a:gd name="connsiteY1774" fmla="*/ 3761 h 10000"/>
                <a:gd name="connsiteX1775" fmla="*/ 3078 w 10785"/>
                <a:gd name="connsiteY1775" fmla="*/ 3752 h 10000"/>
                <a:gd name="connsiteX1776" fmla="*/ 3092 w 10785"/>
                <a:gd name="connsiteY1776" fmla="*/ 3752 h 10000"/>
                <a:gd name="connsiteX1777" fmla="*/ 3129 w 10785"/>
                <a:gd name="connsiteY1777" fmla="*/ 3761 h 10000"/>
                <a:gd name="connsiteX1778" fmla="*/ 3129 w 10785"/>
                <a:gd name="connsiteY1778" fmla="*/ 3735 h 10000"/>
                <a:gd name="connsiteX1779" fmla="*/ 3157 w 10785"/>
                <a:gd name="connsiteY1779" fmla="*/ 3718 h 10000"/>
                <a:gd name="connsiteX1780" fmla="*/ 3184 w 10785"/>
                <a:gd name="connsiteY1780" fmla="*/ 3718 h 10000"/>
                <a:gd name="connsiteX1781" fmla="*/ 3290 w 10785"/>
                <a:gd name="connsiteY1781" fmla="*/ 3838 h 10000"/>
                <a:gd name="connsiteX1782" fmla="*/ 3300 w 10785"/>
                <a:gd name="connsiteY1782" fmla="*/ 3846 h 10000"/>
                <a:gd name="connsiteX1783" fmla="*/ 3300 w 10785"/>
                <a:gd name="connsiteY1783" fmla="*/ 3915 h 10000"/>
                <a:gd name="connsiteX1784" fmla="*/ 3318 w 10785"/>
                <a:gd name="connsiteY1784" fmla="*/ 4000 h 10000"/>
                <a:gd name="connsiteX1785" fmla="*/ 3323 w 10785"/>
                <a:gd name="connsiteY1785" fmla="*/ 4000 h 10000"/>
                <a:gd name="connsiteX1786" fmla="*/ 3323 w 10785"/>
                <a:gd name="connsiteY1786" fmla="*/ 4034 h 10000"/>
                <a:gd name="connsiteX1787" fmla="*/ 3318 w 10785"/>
                <a:gd name="connsiteY1787" fmla="*/ 4051 h 10000"/>
                <a:gd name="connsiteX1788" fmla="*/ 3300 w 10785"/>
                <a:gd name="connsiteY1788" fmla="*/ 4051 h 10000"/>
                <a:gd name="connsiteX1789" fmla="*/ 3290 w 10785"/>
                <a:gd name="connsiteY1789" fmla="*/ 4077 h 10000"/>
                <a:gd name="connsiteX1790" fmla="*/ 3286 w 10785"/>
                <a:gd name="connsiteY1790" fmla="*/ 4103 h 10000"/>
                <a:gd name="connsiteX1791" fmla="*/ 3286 w 10785"/>
                <a:gd name="connsiteY1791" fmla="*/ 4197 h 10000"/>
                <a:gd name="connsiteX1792" fmla="*/ 3290 w 10785"/>
                <a:gd name="connsiteY1792" fmla="*/ 4214 h 10000"/>
                <a:gd name="connsiteX1793" fmla="*/ 3304 w 10785"/>
                <a:gd name="connsiteY1793" fmla="*/ 4214 h 10000"/>
                <a:gd name="connsiteX1794" fmla="*/ 3323 w 10785"/>
                <a:gd name="connsiteY1794" fmla="*/ 4239 h 10000"/>
                <a:gd name="connsiteX1795" fmla="*/ 3350 w 10785"/>
                <a:gd name="connsiteY1795" fmla="*/ 4222 h 10000"/>
                <a:gd name="connsiteX1796" fmla="*/ 3369 w 10785"/>
                <a:gd name="connsiteY1796" fmla="*/ 4256 h 10000"/>
                <a:gd name="connsiteX1797" fmla="*/ 3369 w 10785"/>
                <a:gd name="connsiteY1797" fmla="*/ 4256 h 10000"/>
                <a:gd name="connsiteX1798" fmla="*/ 3336 w 10785"/>
                <a:gd name="connsiteY1798" fmla="*/ 4274 h 10000"/>
                <a:gd name="connsiteX1799" fmla="*/ 3323 w 10785"/>
                <a:gd name="connsiteY1799" fmla="*/ 4274 h 10000"/>
                <a:gd name="connsiteX1800" fmla="*/ 3290 w 10785"/>
                <a:gd name="connsiteY1800" fmla="*/ 4274 h 10000"/>
                <a:gd name="connsiteX1801" fmla="*/ 3286 w 10785"/>
                <a:gd name="connsiteY1801" fmla="*/ 4239 h 10000"/>
                <a:gd name="connsiteX1802" fmla="*/ 3263 w 10785"/>
                <a:gd name="connsiteY1802" fmla="*/ 4214 h 10000"/>
                <a:gd name="connsiteX1803" fmla="*/ 3258 w 10785"/>
                <a:gd name="connsiteY1803" fmla="*/ 4188 h 10000"/>
                <a:gd name="connsiteX1804" fmla="*/ 3263 w 10785"/>
                <a:gd name="connsiteY1804" fmla="*/ 4171 h 10000"/>
                <a:gd name="connsiteX1805" fmla="*/ 3263 w 10785"/>
                <a:gd name="connsiteY1805" fmla="*/ 4103 h 10000"/>
                <a:gd name="connsiteX1806" fmla="*/ 3276 w 10785"/>
                <a:gd name="connsiteY1806" fmla="*/ 4060 h 10000"/>
                <a:gd name="connsiteX1807" fmla="*/ 3272 w 10785"/>
                <a:gd name="connsiteY1807" fmla="*/ 4051 h 10000"/>
                <a:gd name="connsiteX1808" fmla="*/ 3263 w 10785"/>
                <a:gd name="connsiteY1808" fmla="*/ 4051 h 10000"/>
                <a:gd name="connsiteX1809" fmla="*/ 3263 w 10785"/>
                <a:gd name="connsiteY1809" fmla="*/ 4034 h 10000"/>
                <a:gd name="connsiteX1810" fmla="*/ 3263 w 10785"/>
                <a:gd name="connsiteY1810" fmla="*/ 4000 h 10000"/>
                <a:gd name="connsiteX1811" fmla="*/ 3272 w 10785"/>
                <a:gd name="connsiteY1811" fmla="*/ 4000 h 10000"/>
                <a:gd name="connsiteX1812" fmla="*/ 3272 w 10785"/>
                <a:gd name="connsiteY1812" fmla="*/ 3974 h 10000"/>
                <a:gd name="connsiteX1813" fmla="*/ 3272 w 10785"/>
                <a:gd name="connsiteY1813" fmla="*/ 3966 h 10000"/>
                <a:gd name="connsiteX1814" fmla="*/ 3272 w 10785"/>
                <a:gd name="connsiteY1814" fmla="*/ 3949 h 10000"/>
                <a:gd name="connsiteX1815" fmla="*/ 3258 w 10785"/>
                <a:gd name="connsiteY1815" fmla="*/ 3923 h 10000"/>
                <a:gd name="connsiteX1816" fmla="*/ 3249 w 10785"/>
                <a:gd name="connsiteY1816" fmla="*/ 3915 h 10000"/>
                <a:gd name="connsiteX1817" fmla="*/ 3244 w 10785"/>
                <a:gd name="connsiteY1817" fmla="*/ 3897 h 10000"/>
                <a:gd name="connsiteX1818" fmla="*/ 3230 w 10785"/>
                <a:gd name="connsiteY1818" fmla="*/ 3889 h 10000"/>
                <a:gd name="connsiteX1819" fmla="*/ 3230 w 10785"/>
                <a:gd name="connsiteY1819" fmla="*/ 3863 h 10000"/>
                <a:gd name="connsiteX1820" fmla="*/ 3230 w 10785"/>
                <a:gd name="connsiteY1820" fmla="*/ 3838 h 10000"/>
                <a:gd name="connsiteX1821" fmla="*/ 3226 w 10785"/>
                <a:gd name="connsiteY1821" fmla="*/ 3803 h 10000"/>
                <a:gd name="connsiteX1822" fmla="*/ 3138 w 10785"/>
                <a:gd name="connsiteY1822" fmla="*/ 3838 h 10000"/>
                <a:gd name="connsiteX1823" fmla="*/ 3078 w 10785"/>
                <a:gd name="connsiteY1823" fmla="*/ 3889 h 10000"/>
                <a:gd name="connsiteX1824" fmla="*/ 3078 w 10785"/>
                <a:gd name="connsiteY1824" fmla="*/ 3940 h 10000"/>
                <a:gd name="connsiteX1825" fmla="*/ 3069 w 10785"/>
                <a:gd name="connsiteY1825" fmla="*/ 3983 h 10000"/>
                <a:gd name="connsiteX1826" fmla="*/ 3069 w 10785"/>
                <a:gd name="connsiteY1826" fmla="*/ 4009 h 10000"/>
                <a:gd name="connsiteX1827" fmla="*/ 3078 w 10785"/>
                <a:gd name="connsiteY1827" fmla="*/ 4026 h 10000"/>
                <a:gd name="connsiteX1828" fmla="*/ 3083 w 10785"/>
                <a:gd name="connsiteY1828" fmla="*/ 4034 h 10000"/>
                <a:gd name="connsiteX1829" fmla="*/ 3092 w 10785"/>
                <a:gd name="connsiteY1829" fmla="*/ 4060 h 10000"/>
                <a:gd name="connsiteX1830" fmla="*/ 3092 w 10785"/>
                <a:gd name="connsiteY1830" fmla="*/ 4077 h 10000"/>
                <a:gd name="connsiteX1831" fmla="*/ 3097 w 10785"/>
                <a:gd name="connsiteY1831" fmla="*/ 4103 h 10000"/>
                <a:gd name="connsiteX1832" fmla="*/ 3101 w 10785"/>
                <a:gd name="connsiteY1832" fmla="*/ 4162 h 10000"/>
                <a:gd name="connsiteX1833" fmla="*/ 3097 w 10785"/>
                <a:gd name="connsiteY1833" fmla="*/ 4222 h 10000"/>
                <a:gd name="connsiteX1834" fmla="*/ 3041 w 10785"/>
                <a:gd name="connsiteY1834" fmla="*/ 4325 h 10000"/>
                <a:gd name="connsiteX1835" fmla="*/ 3037 w 10785"/>
                <a:gd name="connsiteY1835" fmla="*/ 4419 h 10000"/>
                <a:gd name="connsiteX1836" fmla="*/ 3018 w 10785"/>
                <a:gd name="connsiteY1836" fmla="*/ 4470 h 10000"/>
                <a:gd name="connsiteX1837" fmla="*/ 2991 w 10785"/>
                <a:gd name="connsiteY1837" fmla="*/ 4513 h 10000"/>
                <a:gd name="connsiteX1838" fmla="*/ 2977 w 10785"/>
                <a:gd name="connsiteY1838" fmla="*/ 4530 h 10000"/>
                <a:gd name="connsiteX1839" fmla="*/ 2945 w 10785"/>
                <a:gd name="connsiteY1839" fmla="*/ 4556 h 10000"/>
                <a:gd name="connsiteX1840" fmla="*/ 2935 w 10785"/>
                <a:gd name="connsiteY1840" fmla="*/ 4581 h 10000"/>
                <a:gd name="connsiteX1841" fmla="*/ 2949 w 10785"/>
                <a:gd name="connsiteY1841" fmla="*/ 4624 h 10000"/>
                <a:gd name="connsiteX1842" fmla="*/ 2945 w 10785"/>
                <a:gd name="connsiteY1842" fmla="*/ 4658 h 10000"/>
                <a:gd name="connsiteX1843" fmla="*/ 2922 w 10785"/>
                <a:gd name="connsiteY1843" fmla="*/ 4667 h 10000"/>
                <a:gd name="connsiteX1844" fmla="*/ 2876 w 10785"/>
                <a:gd name="connsiteY1844" fmla="*/ 4632 h 10000"/>
                <a:gd name="connsiteX1845" fmla="*/ 2857 w 10785"/>
                <a:gd name="connsiteY1845" fmla="*/ 4632 h 10000"/>
                <a:gd name="connsiteX1846" fmla="*/ 2820 w 10785"/>
                <a:gd name="connsiteY1846" fmla="*/ 4641 h 10000"/>
                <a:gd name="connsiteX1847" fmla="*/ 2797 w 10785"/>
                <a:gd name="connsiteY1847" fmla="*/ 4632 h 10000"/>
                <a:gd name="connsiteX1848" fmla="*/ 2788 w 10785"/>
                <a:gd name="connsiteY1848" fmla="*/ 4624 h 10000"/>
                <a:gd name="connsiteX1849" fmla="*/ 2788 w 10785"/>
                <a:gd name="connsiteY1849" fmla="*/ 4598 h 10000"/>
                <a:gd name="connsiteX1850" fmla="*/ 2797 w 10785"/>
                <a:gd name="connsiteY1850" fmla="*/ 4581 h 10000"/>
                <a:gd name="connsiteX1851" fmla="*/ 2788 w 10785"/>
                <a:gd name="connsiteY1851" fmla="*/ 4530 h 10000"/>
                <a:gd name="connsiteX1852" fmla="*/ 2774 w 10785"/>
                <a:gd name="connsiteY1852" fmla="*/ 4530 h 10000"/>
                <a:gd name="connsiteX1853" fmla="*/ 2770 w 10785"/>
                <a:gd name="connsiteY1853" fmla="*/ 4513 h 10000"/>
                <a:gd name="connsiteX1854" fmla="*/ 2774 w 10785"/>
                <a:gd name="connsiteY1854" fmla="*/ 4513 h 10000"/>
                <a:gd name="connsiteX1855" fmla="*/ 2788 w 10785"/>
                <a:gd name="connsiteY1855" fmla="*/ 4496 h 10000"/>
                <a:gd name="connsiteX1856" fmla="*/ 2802 w 10785"/>
                <a:gd name="connsiteY1856" fmla="*/ 4513 h 10000"/>
                <a:gd name="connsiteX1857" fmla="*/ 2811 w 10785"/>
                <a:gd name="connsiteY1857" fmla="*/ 4530 h 10000"/>
                <a:gd name="connsiteX1858" fmla="*/ 2820 w 10785"/>
                <a:gd name="connsiteY1858" fmla="*/ 4521 h 10000"/>
                <a:gd name="connsiteX1859" fmla="*/ 2829 w 10785"/>
                <a:gd name="connsiteY1859" fmla="*/ 4513 h 10000"/>
                <a:gd name="connsiteX1860" fmla="*/ 2843 w 10785"/>
                <a:gd name="connsiteY1860" fmla="*/ 4513 h 10000"/>
                <a:gd name="connsiteX1861" fmla="*/ 2848 w 10785"/>
                <a:gd name="connsiteY1861" fmla="*/ 4470 h 10000"/>
                <a:gd name="connsiteX1862" fmla="*/ 2862 w 10785"/>
                <a:gd name="connsiteY1862" fmla="*/ 4487 h 10000"/>
                <a:gd name="connsiteX1863" fmla="*/ 2876 w 10785"/>
                <a:gd name="connsiteY1863" fmla="*/ 4470 h 10000"/>
                <a:gd name="connsiteX1864" fmla="*/ 2880 w 10785"/>
                <a:gd name="connsiteY1864" fmla="*/ 4462 h 10000"/>
                <a:gd name="connsiteX1865" fmla="*/ 2889 w 10785"/>
                <a:gd name="connsiteY1865" fmla="*/ 4444 h 10000"/>
                <a:gd name="connsiteX1866" fmla="*/ 2894 w 10785"/>
                <a:gd name="connsiteY1866" fmla="*/ 4462 h 10000"/>
                <a:gd name="connsiteX1867" fmla="*/ 2917 w 10785"/>
                <a:gd name="connsiteY1867" fmla="*/ 4444 h 10000"/>
                <a:gd name="connsiteX1868" fmla="*/ 2922 w 10785"/>
                <a:gd name="connsiteY1868" fmla="*/ 4436 h 10000"/>
                <a:gd name="connsiteX1869" fmla="*/ 2917 w 10785"/>
                <a:gd name="connsiteY1869" fmla="*/ 4410 h 10000"/>
                <a:gd name="connsiteX1870" fmla="*/ 2894 w 10785"/>
                <a:gd name="connsiteY1870" fmla="*/ 4410 h 10000"/>
                <a:gd name="connsiteX1871" fmla="*/ 2889 w 10785"/>
                <a:gd name="connsiteY1871" fmla="*/ 4419 h 10000"/>
                <a:gd name="connsiteX1872" fmla="*/ 2876 w 10785"/>
                <a:gd name="connsiteY1872" fmla="*/ 4410 h 10000"/>
                <a:gd name="connsiteX1873" fmla="*/ 2880 w 10785"/>
                <a:gd name="connsiteY1873" fmla="*/ 4376 h 10000"/>
                <a:gd name="connsiteX1874" fmla="*/ 2903 w 10785"/>
                <a:gd name="connsiteY1874" fmla="*/ 4393 h 10000"/>
                <a:gd name="connsiteX1875" fmla="*/ 2931 w 10785"/>
                <a:gd name="connsiteY1875" fmla="*/ 4393 h 10000"/>
                <a:gd name="connsiteX1876" fmla="*/ 2931 w 10785"/>
                <a:gd name="connsiteY1876" fmla="*/ 4385 h 10000"/>
                <a:gd name="connsiteX1877" fmla="*/ 2931 w 10785"/>
                <a:gd name="connsiteY1877" fmla="*/ 4350 h 10000"/>
                <a:gd name="connsiteX1878" fmla="*/ 2945 w 10785"/>
                <a:gd name="connsiteY1878" fmla="*/ 4350 h 10000"/>
                <a:gd name="connsiteX1879" fmla="*/ 2949 w 10785"/>
                <a:gd name="connsiteY1879" fmla="*/ 4325 h 10000"/>
                <a:gd name="connsiteX1880" fmla="*/ 2963 w 10785"/>
                <a:gd name="connsiteY1880" fmla="*/ 4256 h 10000"/>
                <a:gd name="connsiteX1881" fmla="*/ 2982 w 10785"/>
                <a:gd name="connsiteY1881" fmla="*/ 4239 h 10000"/>
                <a:gd name="connsiteX1882" fmla="*/ 2991 w 10785"/>
                <a:gd name="connsiteY1882" fmla="*/ 4214 h 10000"/>
                <a:gd name="connsiteX1883" fmla="*/ 2991 w 10785"/>
                <a:gd name="connsiteY1883" fmla="*/ 4197 h 10000"/>
                <a:gd name="connsiteX1884" fmla="*/ 2995 w 10785"/>
                <a:gd name="connsiteY1884" fmla="*/ 4171 h 10000"/>
                <a:gd name="connsiteX1885" fmla="*/ 2991 w 10785"/>
                <a:gd name="connsiteY1885" fmla="*/ 4077 h 10000"/>
                <a:gd name="connsiteX1886" fmla="*/ 2995 w 10785"/>
                <a:gd name="connsiteY1886" fmla="*/ 4034 h 10000"/>
                <a:gd name="connsiteX1887" fmla="*/ 3018 w 10785"/>
                <a:gd name="connsiteY1887" fmla="*/ 3983 h 10000"/>
                <a:gd name="connsiteX1888" fmla="*/ 3018 w 10785"/>
                <a:gd name="connsiteY1888" fmla="*/ 3915 h 10000"/>
                <a:gd name="connsiteX1889" fmla="*/ 2949 w 10785"/>
                <a:gd name="connsiteY1889" fmla="*/ 3778 h 10000"/>
                <a:gd name="connsiteX1890" fmla="*/ 2954 w 10785"/>
                <a:gd name="connsiteY1890" fmla="*/ 3675 h 10000"/>
                <a:gd name="connsiteX1891" fmla="*/ 2954 w 10785"/>
                <a:gd name="connsiteY1891" fmla="*/ 3650 h 10000"/>
                <a:gd name="connsiteX1892" fmla="*/ 2963 w 10785"/>
                <a:gd name="connsiteY1892" fmla="*/ 3624 h 10000"/>
                <a:gd name="connsiteX1893" fmla="*/ 2954 w 10785"/>
                <a:gd name="connsiteY1893" fmla="*/ 3564 h 10000"/>
                <a:gd name="connsiteX1894" fmla="*/ 2963 w 10785"/>
                <a:gd name="connsiteY1894" fmla="*/ 3538 h 10000"/>
                <a:gd name="connsiteX1895" fmla="*/ 2963 w 10785"/>
                <a:gd name="connsiteY1895" fmla="*/ 3487 h 10000"/>
                <a:gd name="connsiteX1896" fmla="*/ 2963 w 10785"/>
                <a:gd name="connsiteY1896" fmla="*/ 3479 h 10000"/>
                <a:gd name="connsiteX1897" fmla="*/ 2963 w 10785"/>
                <a:gd name="connsiteY1897" fmla="*/ 3462 h 10000"/>
                <a:gd name="connsiteX1898" fmla="*/ 2954 w 10785"/>
                <a:gd name="connsiteY1898" fmla="*/ 3453 h 10000"/>
                <a:gd name="connsiteX1899" fmla="*/ 2954 w 10785"/>
                <a:gd name="connsiteY1899" fmla="*/ 3444 h 10000"/>
                <a:gd name="connsiteX1900" fmla="*/ 2954 w 10785"/>
                <a:gd name="connsiteY1900" fmla="*/ 3402 h 10000"/>
                <a:gd name="connsiteX1901" fmla="*/ 2954 w 10785"/>
                <a:gd name="connsiteY1901" fmla="*/ 3393 h 10000"/>
                <a:gd name="connsiteX1902" fmla="*/ 2949 w 10785"/>
                <a:gd name="connsiteY1902" fmla="*/ 3376 h 10000"/>
                <a:gd name="connsiteX1903" fmla="*/ 2949 w 10785"/>
                <a:gd name="connsiteY1903" fmla="*/ 3342 h 10000"/>
                <a:gd name="connsiteX1904" fmla="*/ 2949 w 10785"/>
                <a:gd name="connsiteY1904" fmla="*/ 3316 h 10000"/>
                <a:gd name="connsiteX1905" fmla="*/ 2968 w 10785"/>
                <a:gd name="connsiteY1905" fmla="*/ 3291 h 10000"/>
                <a:gd name="connsiteX1906" fmla="*/ 2963 w 10785"/>
                <a:gd name="connsiteY1906" fmla="*/ 3205 h 10000"/>
                <a:gd name="connsiteX1907" fmla="*/ 2968 w 10785"/>
                <a:gd name="connsiteY1907" fmla="*/ 3171 h 10000"/>
                <a:gd name="connsiteX1908" fmla="*/ 2968 w 10785"/>
                <a:gd name="connsiteY1908" fmla="*/ 3128 h 10000"/>
                <a:gd name="connsiteX1909" fmla="*/ 2954 w 10785"/>
                <a:gd name="connsiteY1909" fmla="*/ 3051 h 10000"/>
                <a:gd name="connsiteX1910" fmla="*/ 2954 w 10785"/>
                <a:gd name="connsiteY1910" fmla="*/ 3009 h 10000"/>
                <a:gd name="connsiteX1911" fmla="*/ 2922 w 10785"/>
                <a:gd name="connsiteY1911" fmla="*/ 2940 h 10000"/>
                <a:gd name="connsiteX1912" fmla="*/ 2903 w 10785"/>
                <a:gd name="connsiteY1912" fmla="*/ 2880 h 10000"/>
                <a:gd name="connsiteX1913" fmla="*/ 2903 w 10785"/>
                <a:gd name="connsiteY1913" fmla="*/ 2855 h 10000"/>
                <a:gd name="connsiteX1914" fmla="*/ 2908 w 10785"/>
                <a:gd name="connsiteY1914" fmla="*/ 2846 h 10000"/>
                <a:gd name="connsiteX1915" fmla="*/ 2931 w 10785"/>
                <a:gd name="connsiteY1915" fmla="*/ 2821 h 10000"/>
                <a:gd name="connsiteX1916" fmla="*/ 2931 w 10785"/>
                <a:gd name="connsiteY1916" fmla="*/ 2803 h 10000"/>
                <a:gd name="connsiteX1917" fmla="*/ 2935 w 10785"/>
                <a:gd name="connsiteY1917" fmla="*/ 2786 h 10000"/>
                <a:gd name="connsiteX1918" fmla="*/ 2935 w 10785"/>
                <a:gd name="connsiteY1918" fmla="*/ 2744 h 10000"/>
                <a:gd name="connsiteX1919" fmla="*/ 2963 w 10785"/>
                <a:gd name="connsiteY1919" fmla="*/ 2607 h 10000"/>
                <a:gd name="connsiteX1920" fmla="*/ 2963 w 10785"/>
                <a:gd name="connsiteY1920" fmla="*/ 2419 h 10000"/>
                <a:gd name="connsiteX1921" fmla="*/ 2954 w 10785"/>
                <a:gd name="connsiteY1921" fmla="*/ 2410 h 10000"/>
                <a:gd name="connsiteX1922" fmla="*/ 2963 w 10785"/>
                <a:gd name="connsiteY1922" fmla="*/ 2393 h 10000"/>
                <a:gd name="connsiteX1923" fmla="*/ 2908 w 10785"/>
                <a:gd name="connsiteY1923" fmla="*/ 2359 h 10000"/>
                <a:gd name="connsiteX1924" fmla="*/ 2889 w 10785"/>
                <a:gd name="connsiteY1924" fmla="*/ 2325 h 10000"/>
                <a:gd name="connsiteX1925" fmla="*/ 2788 w 10785"/>
                <a:gd name="connsiteY1925" fmla="*/ 2333 h 10000"/>
                <a:gd name="connsiteX1926" fmla="*/ 2774 w 10785"/>
                <a:gd name="connsiteY1926" fmla="*/ 2325 h 10000"/>
                <a:gd name="connsiteX1927" fmla="*/ 2783 w 10785"/>
                <a:gd name="connsiteY1927" fmla="*/ 2308 h 10000"/>
                <a:gd name="connsiteX1928" fmla="*/ 2747 w 10785"/>
                <a:gd name="connsiteY1928" fmla="*/ 2308 h 10000"/>
                <a:gd name="connsiteX1929" fmla="*/ 2742 w 10785"/>
                <a:gd name="connsiteY1929" fmla="*/ 2333 h 10000"/>
                <a:gd name="connsiteX1930" fmla="*/ 2682 w 10785"/>
                <a:gd name="connsiteY1930" fmla="*/ 2769 h 10000"/>
                <a:gd name="connsiteX1931" fmla="*/ 2613 w 10785"/>
                <a:gd name="connsiteY1931" fmla="*/ 2940 h 10000"/>
                <a:gd name="connsiteX1932" fmla="*/ 2581 w 10785"/>
                <a:gd name="connsiteY1932" fmla="*/ 2966 h 10000"/>
                <a:gd name="connsiteX1933" fmla="*/ 2576 w 10785"/>
                <a:gd name="connsiteY1933" fmla="*/ 3051 h 10000"/>
                <a:gd name="connsiteX1934" fmla="*/ 2581 w 10785"/>
                <a:gd name="connsiteY1934" fmla="*/ 3051 h 10000"/>
                <a:gd name="connsiteX1935" fmla="*/ 2594 w 10785"/>
                <a:gd name="connsiteY1935" fmla="*/ 3017 h 10000"/>
                <a:gd name="connsiteX1936" fmla="*/ 2594 w 10785"/>
                <a:gd name="connsiteY1936" fmla="*/ 3034 h 10000"/>
                <a:gd name="connsiteX1937" fmla="*/ 2594 w 10785"/>
                <a:gd name="connsiteY1937" fmla="*/ 3051 h 10000"/>
                <a:gd name="connsiteX1938" fmla="*/ 2590 w 10785"/>
                <a:gd name="connsiteY1938" fmla="*/ 3077 h 10000"/>
                <a:gd name="connsiteX1939" fmla="*/ 2567 w 10785"/>
                <a:gd name="connsiteY1939" fmla="*/ 3103 h 10000"/>
                <a:gd name="connsiteX1940" fmla="*/ 2562 w 10785"/>
                <a:gd name="connsiteY1940" fmla="*/ 3145 h 10000"/>
                <a:gd name="connsiteX1941" fmla="*/ 2567 w 10785"/>
                <a:gd name="connsiteY1941" fmla="*/ 3179 h 10000"/>
                <a:gd name="connsiteX1942" fmla="*/ 2590 w 10785"/>
                <a:gd name="connsiteY1942" fmla="*/ 3171 h 10000"/>
                <a:gd name="connsiteX1943" fmla="*/ 2594 w 10785"/>
                <a:gd name="connsiteY1943" fmla="*/ 3145 h 10000"/>
                <a:gd name="connsiteX1944" fmla="*/ 2613 w 10785"/>
                <a:gd name="connsiteY1944" fmla="*/ 3154 h 10000"/>
                <a:gd name="connsiteX1945" fmla="*/ 2622 w 10785"/>
                <a:gd name="connsiteY1945" fmla="*/ 3179 h 10000"/>
                <a:gd name="connsiteX1946" fmla="*/ 2613 w 10785"/>
                <a:gd name="connsiteY1946" fmla="*/ 3214 h 10000"/>
                <a:gd name="connsiteX1947" fmla="*/ 2613 w 10785"/>
                <a:gd name="connsiteY1947" fmla="*/ 3308 h 10000"/>
                <a:gd name="connsiteX1948" fmla="*/ 2608 w 10785"/>
                <a:gd name="connsiteY1948" fmla="*/ 3325 h 10000"/>
                <a:gd name="connsiteX1949" fmla="*/ 2608 w 10785"/>
                <a:gd name="connsiteY1949" fmla="*/ 3376 h 10000"/>
                <a:gd name="connsiteX1950" fmla="*/ 2613 w 10785"/>
                <a:gd name="connsiteY1950" fmla="*/ 3419 h 10000"/>
                <a:gd name="connsiteX1951" fmla="*/ 2608 w 10785"/>
                <a:gd name="connsiteY1951" fmla="*/ 3444 h 10000"/>
                <a:gd name="connsiteX1952" fmla="*/ 2594 w 10785"/>
                <a:gd name="connsiteY1952" fmla="*/ 3444 h 10000"/>
                <a:gd name="connsiteX1953" fmla="*/ 2590 w 10785"/>
                <a:gd name="connsiteY1953" fmla="*/ 3427 h 10000"/>
                <a:gd name="connsiteX1954" fmla="*/ 2581 w 10785"/>
                <a:gd name="connsiteY1954" fmla="*/ 3564 h 10000"/>
                <a:gd name="connsiteX1955" fmla="*/ 2594 w 10785"/>
                <a:gd name="connsiteY1955" fmla="*/ 3598 h 10000"/>
                <a:gd name="connsiteX1956" fmla="*/ 2594 w 10785"/>
                <a:gd name="connsiteY1956" fmla="*/ 3581 h 10000"/>
                <a:gd name="connsiteX1957" fmla="*/ 2608 w 10785"/>
                <a:gd name="connsiteY1957" fmla="*/ 3556 h 10000"/>
                <a:gd name="connsiteX1958" fmla="*/ 2650 w 10785"/>
                <a:gd name="connsiteY1958" fmla="*/ 3615 h 10000"/>
                <a:gd name="connsiteX1959" fmla="*/ 2664 w 10785"/>
                <a:gd name="connsiteY1959" fmla="*/ 3615 h 10000"/>
                <a:gd name="connsiteX1960" fmla="*/ 2668 w 10785"/>
                <a:gd name="connsiteY1960" fmla="*/ 3615 h 10000"/>
                <a:gd name="connsiteX1961" fmla="*/ 2664 w 10785"/>
                <a:gd name="connsiteY1961" fmla="*/ 3667 h 10000"/>
                <a:gd name="connsiteX1962" fmla="*/ 2687 w 10785"/>
                <a:gd name="connsiteY1962" fmla="*/ 3786 h 10000"/>
                <a:gd name="connsiteX1963" fmla="*/ 2710 w 10785"/>
                <a:gd name="connsiteY1963" fmla="*/ 3812 h 10000"/>
                <a:gd name="connsiteX1964" fmla="*/ 2724 w 10785"/>
                <a:gd name="connsiteY1964" fmla="*/ 3812 h 10000"/>
                <a:gd name="connsiteX1965" fmla="*/ 2724 w 10785"/>
                <a:gd name="connsiteY1965" fmla="*/ 3829 h 10000"/>
                <a:gd name="connsiteX1966" fmla="*/ 2737 w 10785"/>
                <a:gd name="connsiteY1966" fmla="*/ 3838 h 10000"/>
                <a:gd name="connsiteX1967" fmla="*/ 2714 w 10785"/>
                <a:gd name="connsiteY1967" fmla="*/ 3872 h 10000"/>
                <a:gd name="connsiteX1968" fmla="*/ 2696 w 10785"/>
                <a:gd name="connsiteY1968" fmla="*/ 4026 h 10000"/>
                <a:gd name="connsiteX1969" fmla="*/ 2673 w 10785"/>
                <a:gd name="connsiteY1969" fmla="*/ 4051 h 10000"/>
                <a:gd name="connsiteX1970" fmla="*/ 2668 w 10785"/>
                <a:gd name="connsiteY1970" fmla="*/ 4034 h 10000"/>
                <a:gd name="connsiteX1971" fmla="*/ 2673 w 10785"/>
                <a:gd name="connsiteY1971" fmla="*/ 4000 h 10000"/>
                <a:gd name="connsiteX1972" fmla="*/ 2664 w 10785"/>
                <a:gd name="connsiteY1972" fmla="*/ 3974 h 10000"/>
                <a:gd name="connsiteX1973" fmla="*/ 2636 w 10785"/>
                <a:gd name="connsiteY1973" fmla="*/ 3949 h 10000"/>
                <a:gd name="connsiteX1974" fmla="*/ 2581 w 10785"/>
                <a:gd name="connsiteY1974" fmla="*/ 3838 h 10000"/>
                <a:gd name="connsiteX1975" fmla="*/ 2562 w 10785"/>
                <a:gd name="connsiteY1975" fmla="*/ 3829 h 10000"/>
                <a:gd name="connsiteX1976" fmla="*/ 2535 w 10785"/>
                <a:gd name="connsiteY1976" fmla="*/ 3778 h 10000"/>
                <a:gd name="connsiteX1977" fmla="*/ 2502 w 10785"/>
                <a:gd name="connsiteY1977" fmla="*/ 3761 h 10000"/>
                <a:gd name="connsiteX1978" fmla="*/ 2502 w 10785"/>
                <a:gd name="connsiteY1978" fmla="*/ 3735 h 10000"/>
                <a:gd name="connsiteX1979" fmla="*/ 2516 w 10785"/>
                <a:gd name="connsiteY1979" fmla="*/ 3735 h 10000"/>
                <a:gd name="connsiteX1980" fmla="*/ 2507 w 10785"/>
                <a:gd name="connsiteY1980" fmla="*/ 3726 h 10000"/>
                <a:gd name="connsiteX1981" fmla="*/ 2488 w 10785"/>
                <a:gd name="connsiteY1981" fmla="*/ 3726 h 10000"/>
                <a:gd name="connsiteX1982" fmla="*/ 2461 w 10785"/>
                <a:gd name="connsiteY1982" fmla="*/ 3692 h 10000"/>
                <a:gd name="connsiteX1983" fmla="*/ 2442 w 10785"/>
                <a:gd name="connsiteY1983" fmla="*/ 3675 h 10000"/>
                <a:gd name="connsiteX1984" fmla="*/ 2406 w 10785"/>
                <a:gd name="connsiteY1984" fmla="*/ 3598 h 10000"/>
                <a:gd name="connsiteX1985" fmla="*/ 2346 w 10785"/>
                <a:gd name="connsiteY1985" fmla="*/ 3564 h 10000"/>
                <a:gd name="connsiteX1986" fmla="*/ 2341 w 10785"/>
                <a:gd name="connsiteY1986" fmla="*/ 3564 h 10000"/>
                <a:gd name="connsiteX1987" fmla="*/ 2313 w 10785"/>
                <a:gd name="connsiteY1987" fmla="*/ 3530 h 10000"/>
                <a:gd name="connsiteX1988" fmla="*/ 2235 w 10785"/>
                <a:gd name="connsiteY1988" fmla="*/ 3530 h 10000"/>
                <a:gd name="connsiteX1989" fmla="*/ 2226 w 10785"/>
                <a:gd name="connsiteY1989" fmla="*/ 3513 h 10000"/>
                <a:gd name="connsiteX1990" fmla="*/ 2207 w 10785"/>
                <a:gd name="connsiteY1990" fmla="*/ 3504 h 10000"/>
                <a:gd name="connsiteX1991" fmla="*/ 2194 w 10785"/>
                <a:gd name="connsiteY1991" fmla="*/ 3504 h 10000"/>
                <a:gd name="connsiteX1992" fmla="*/ 2189 w 10785"/>
                <a:gd name="connsiteY1992" fmla="*/ 3504 h 10000"/>
                <a:gd name="connsiteX1993" fmla="*/ 2189 w 10785"/>
                <a:gd name="connsiteY1993" fmla="*/ 3530 h 10000"/>
                <a:gd name="connsiteX1994" fmla="*/ 2180 w 10785"/>
                <a:gd name="connsiteY1994" fmla="*/ 3538 h 10000"/>
                <a:gd name="connsiteX1995" fmla="*/ 2152 w 10785"/>
                <a:gd name="connsiteY1995" fmla="*/ 3581 h 10000"/>
                <a:gd name="connsiteX1996" fmla="*/ 2161 w 10785"/>
                <a:gd name="connsiteY1996" fmla="*/ 3598 h 10000"/>
                <a:gd name="connsiteX1997" fmla="*/ 2194 w 10785"/>
                <a:gd name="connsiteY1997" fmla="*/ 3752 h 10000"/>
                <a:gd name="connsiteX1998" fmla="*/ 2194 w 10785"/>
                <a:gd name="connsiteY1998" fmla="*/ 3735 h 10000"/>
                <a:gd name="connsiteX1999" fmla="*/ 2198 w 10785"/>
                <a:gd name="connsiteY1999" fmla="*/ 3735 h 10000"/>
                <a:gd name="connsiteX2000" fmla="*/ 2189 w 10785"/>
                <a:gd name="connsiteY2000" fmla="*/ 3838 h 10000"/>
                <a:gd name="connsiteX2001" fmla="*/ 2166 w 10785"/>
                <a:gd name="connsiteY2001" fmla="*/ 3889 h 10000"/>
                <a:gd name="connsiteX2002" fmla="*/ 2124 w 10785"/>
                <a:gd name="connsiteY2002" fmla="*/ 3889 h 10000"/>
                <a:gd name="connsiteX2003" fmla="*/ 2124 w 10785"/>
                <a:gd name="connsiteY2003" fmla="*/ 3923 h 10000"/>
                <a:gd name="connsiteX2004" fmla="*/ 2134 w 10785"/>
                <a:gd name="connsiteY2004" fmla="*/ 3940 h 10000"/>
                <a:gd name="connsiteX2005" fmla="*/ 2134 w 10785"/>
                <a:gd name="connsiteY2005" fmla="*/ 3966 h 10000"/>
                <a:gd name="connsiteX2006" fmla="*/ 2120 w 10785"/>
                <a:gd name="connsiteY2006" fmla="*/ 4000 h 10000"/>
                <a:gd name="connsiteX2007" fmla="*/ 2106 w 10785"/>
                <a:gd name="connsiteY2007" fmla="*/ 4009 h 10000"/>
                <a:gd name="connsiteX2008" fmla="*/ 2088 w 10785"/>
                <a:gd name="connsiteY2008" fmla="*/ 4000 h 10000"/>
                <a:gd name="connsiteX2009" fmla="*/ 2074 w 10785"/>
                <a:gd name="connsiteY2009" fmla="*/ 3974 h 10000"/>
                <a:gd name="connsiteX2010" fmla="*/ 2074 w 10785"/>
                <a:gd name="connsiteY2010" fmla="*/ 3940 h 10000"/>
                <a:gd name="connsiteX2011" fmla="*/ 2078 w 10785"/>
                <a:gd name="connsiteY2011" fmla="*/ 3915 h 10000"/>
                <a:gd name="connsiteX2012" fmla="*/ 2088 w 10785"/>
                <a:gd name="connsiteY2012" fmla="*/ 3889 h 10000"/>
                <a:gd name="connsiteX2013" fmla="*/ 2101 w 10785"/>
                <a:gd name="connsiteY2013" fmla="*/ 3872 h 10000"/>
                <a:gd name="connsiteX2014" fmla="*/ 2074 w 10785"/>
                <a:gd name="connsiteY2014" fmla="*/ 3812 h 10000"/>
                <a:gd name="connsiteX2015" fmla="*/ 2074 w 10785"/>
                <a:gd name="connsiteY2015" fmla="*/ 3786 h 10000"/>
                <a:gd name="connsiteX2016" fmla="*/ 2060 w 10785"/>
                <a:gd name="connsiteY2016" fmla="*/ 3786 h 10000"/>
                <a:gd name="connsiteX2017" fmla="*/ 2014 w 10785"/>
                <a:gd name="connsiteY2017" fmla="*/ 3829 h 10000"/>
                <a:gd name="connsiteX2018" fmla="*/ 2000 w 10785"/>
                <a:gd name="connsiteY2018" fmla="*/ 3863 h 10000"/>
                <a:gd name="connsiteX2019" fmla="*/ 1986 w 10785"/>
                <a:gd name="connsiteY2019" fmla="*/ 3872 h 10000"/>
                <a:gd name="connsiteX2020" fmla="*/ 1959 w 10785"/>
                <a:gd name="connsiteY2020" fmla="*/ 3940 h 10000"/>
                <a:gd name="connsiteX2021" fmla="*/ 1945 w 10785"/>
                <a:gd name="connsiteY2021" fmla="*/ 3949 h 10000"/>
                <a:gd name="connsiteX2022" fmla="*/ 1940 w 10785"/>
                <a:gd name="connsiteY2022" fmla="*/ 3923 h 10000"/>
                <a:gd name="connsiteX2023" fmla="*/ 1917 w 10785"/>
                <a:gd name="connsiteY2023" fmla="*/ 3915 h 10000"/>
                <a:gd name="connsiteX2024" fmla="*/ 1899 w 10785"/>
                <a:gd name="connsiteY2024" fmla="*/ 3923 h 10000"/>
                <a:gd name="connsiteX2025" fmla="*/ 1880 w 10785"/>
                <a:gd name="connsiteY2025" fmla="*/ 3915 h 10000"/>
                <a:gd name="connsiteX2026" fmla="*/ 1853 w 10785"/>
                <a:gd name="connsiteY2026" fmla="*/ 3940 h 10000"/>
                <a:gd name="connsiteX2027" fmla="*/ 1839 w 10785"/>
                <a:gd name="connsiteY2027" fmla="*/ 3940 h 10000"/>
                <a:gd name="connsiteX2028" fmla="*/ 1806 w 10785"/>
                <a:gd name="connsiteY2028" fmla="*/ 3983 h 10000"/>
                <a:gd name="connsiteX2029" fmla="*/ 1806 w 10785"/>
                <a:gd name="connsiteY2029" fmla="*/ 4000 h 10000"/>
                <a:gd name="connsiteX2030" fmla="*/ 1797 w 10785"/>
                <a:gd name="connsiteY2030" fmla="*/ 4077 h 10000"/>
                <a:gd name="connsiteX2031" fmla="*/ 1783 w 10785"/>
                <a:gd name="connsiteY2031" fmla="*/ 4077 h 10000"/>
                <a:gd name="connsiteX2032" fmla="*/ 1779 w 10785"/>
                <a:gd name="connsiteY2032" fmla="*/ 4051 h 10000"/>
                <a:gd name="connsiteX2033" fmla="*/ 1765 w 10785"/>
                <a:gd name="connsiteY2033" fmla="*/ 4026 h 10000"/>
                <a:gd name="connsiteX2034" fmla="*/ 1751 w 10785"/>
                <a:gd name="connsiteY2034" fmla="*/ 4051 h 10000"/>
                <a:gd name="connsiteX2035" fmla="*/ 1737 w 10785"/>
                <a:gd name="connsiteY2035" fmla="*/ 4009 h 10000"/>
                <a:gd name="connsiteX2036" fmla="*/ 1737 w 10785"/>
                <a:gd name="connsiteY2036" fmla="*/ 3966 h 10000"/>
                <a:gd name="connsiteX2037" fmla="*/ 1733 w 10785"/>
                <a:gd name="connsiteY2037" fmla="*/ 3940 h 10000"/>
                <a:gd name="connsiteX2038" fmla="*/ 1733 w 10785"/>
                <a:gd name="connsiteY2038" fmla="*/ 3923 h 10000"/>
                <a:gd name="connsiteX2039" fmla="*/ 1747 w 10785"/>
                <a:gd name="connsiteY2039" fmla="*/ 3889 h 10000"/>
                <a:gd name="connsiteX2040" fmla="*/ 1747 w 10785"/>
                <a:gd name="connsiteY2040" fmla="*/ 3863 h 10000"/>
                <a:gd name="connsiteX2041" fmla="*/ 1737 w 10785"/>
                <a:gd name="connsiteY2041" fmla="*/ 3838 h 10000"/>
                <a:gd name="connsiteX2042" fmla="*/ 1733 w 10785"/>
                <a:gd name="connsiteY2042" fmla="*/ 3829 h 10000"/>
                <a:gd name="connsiteX2043" fmla="*/ 1733 w 10785"/>
                <a:gd name="connsiteY2043" fmla="*/ 3846 h 10000"/>
                <a:gd name="connsiteX2044" fmla="*/ 1724 w 10785"/>
                <a:gd name="connsiteY2044" fmla="*/ 3846 h 10000"/>
                <a:gd name="connsiteX2045" fmla="*/ 1724 w 10785"/>
                <a:gd name="connsiteY2045" fmla="*/ 3829 h 10000"/>
                <a:gd name="connsiteX2046" fmla="*/ 1737 w 10785"/>
                <a:gd name="connsiteY2046" fmla="*/ 3812 h 10000"/>
                <a:gd name="connsiteX2047" fmla="*/ 1765 w 10785"/>
                <a:gd name="connsiteY2047" fmla="*/ 3812 h 10000"/>
                <a:gd name="connsiteX2048" fmla="*/ 1779 w 10785"/>
                <a:gd name="connsiteY2048" fmla="*/ 3786 h 10000"/>
                <a:gd name="connsiteX2049" fmla="*/ 1779 w 10785"/>
                <a:gd name="connsiteY2049" fmla="*/ 3786 h 10000"/>
                <a:gd name="connsiteX2050" fmla="*/ 1751 w 10785"/>
                <a:gd name="connsiteY2050" fmla="*/ 3803 h 10000"/>
                <a:gd name="connsiteX2051" fmla="*/ 1747 w 10785"/>
                <a:gd name="connsiteY2051" fmla="*/ 3803 h 10000"/>
                <a:gd name="connsiteX2052" fmla="*/ 1724 w 10785"/>
                <a:gd name="connsiteY2052" fmla="*/ 3803 h 10000"/>
                <a:gd name="connsiteX2053" fmla="*/ 1700 w 10785"/>
                <a:gd name="connsiteY2053" fmla="*/ 3829 h 10000"/>
                <a:gd name="connsiteX2054" fmla="*/ 1705 w 10785"/>
                <a:gd name="connsiteY2054" fmla="*/ 3846 h 10000"/>
                <a:gd name="connsiteX2055" fmla="*/ 1691 w 10785"/>
                <a:gd name="connsiteY2055" fmla="*/ 3846 h 10000"/>
                <a:gd name="connsiteX2056" fmla="*/ 1691 w 10785"/>
                <a:gd name="connsiteY2056" fmla="*/ 3863 h 10000"/>
                <a:gd name="connsiteX2057" fmla="*/ 1691 w 10785"/>
                <a:gd name="connsiteY2057" fmla="*/ 3915 h 10000"/>
                <a:gd name="connsiteX2058" fmla="*/ 1677 w 10785"/>
                <a:gd name="connsiteY2058" fmla="*/ 3923 h 10000"/>
                <a:gd name="connsiteX2059" fmla="*/ 1673 w 10785"/>
                <a:gd name="connsiteY2059" fmla="*/ 3915 h 10000"/>
                <a:gd name="connsiteX2060" fmla="*/ 1664 w 10785"/>
                <a:gd name="connsiteY2060" fmla="*/ 3889 h 10000"/>
                <a:gd name="connsiteX2061" fmla="*/ 1673 w 10785"/>
                <a:gd name="connsiteY2061" fmla="*/ 3872 h 10000"/>
                <a:gd name="connsiteX2062" fmla="*/ 1664 w 10785"/>
                <a:gd name="connsiteY2062" fmla="*/ 3872 h 10000"/>
                <a:gd name="connsiteX2063" fmla="*/ 1636 w 10785"/>
                <a:gd name="connsiteY2063" fmla="*/ 3923 h 10000"/>
                <a:gd name="connsiteX2064" fmla="*/ 1645 w 10785"/>
                <a:gd name="connsiteY2064" fmla="*/ 3923 h 10000"/>
                <a:gd name="connsiteX2065" fmla="*/ 1650 w 10785"/>
                <a:gd name="connsiteY2065" fmla="*/ 3949 h 10000"/>
                <a:gd name="connsiteX2066" fmla="*/ 1650 w 10785"/>
                <a:gd name="connsiteY2066" fmla="*/ 3983 h 10000"/>
                <a:gd name="connsiteX2067" fmla="*/ 1636 w 10785"/>
                <a:gd name="connsiteY2067" fmla="*/ 4000 h 10000"/>
                <a:gd name="connsiteX2068" fmla="*/ 1631 w 10785"/>
                <a:gd name="connsiteY2068" fmla="*/ 4009 h 10000"/>
                <a:gd name="connsiteX2069" fmla="*/ 1618 w 10785"/>
                <a:gd name="connsiteY2069" fmla="*/ 3949 h 10000"/>
                <a:gd name="connsiteX2070" fmla="*/ 1585 w 10785"/>
                <a:gd name="connsiteY2070" fmla="*/ 3966 h 10000"/>
                <a:gd name="connsiteX2071" fmla="*/ 1590 w 10785"/>
                <a:gd name="connsiteY2071" fmla="*/ 3974 h 10000"/>
                <a:gd name="connsiteX2072" fmla="*/ 1544 w 10785"/>
                <a:gd name="connsiteY2072" fmla="*/ 4009 h 10000"/>
                <a:gd name="connsiteX2073" fmla="*/ 1539 w 10785"/>
                <a:gd name="connsiteY2073" fmla="*/ 4009 h 10000"/>
                <a:gd name="connsiteX2074" fmla="*/ 1410 w 10785"/>
                <a:gd name="connsiteY2074" fmla="*/ 4188 h 10000"/>
                <a:gd name="connsiteX2075" fmla="*/ 1406 w 10785"/>
                <a:gd name="connsiteY2075" fmla="*/ 4171 h 10000"/>
                <a:gd name="connsiteX2076" fmla="*/ 1396 w 10785"/>
                <a:gd name="connsiteY2076" fmla="*/ 4214 h 10000"/>
                <a:gd name="connsiteX2077" fmla="*/ 1406 w 10785"/>
                <a:gd name="connsiteY2077" fmla="*/ 4222 h 10000"/>
                <a:gd name="connsiteX2078" fmla="*/ 1392 w 10785"/>
                <a:gd name="connsiteY2078" fmla="*/ 4239 h 10000"/>
                <a:gd name="connsiteX2079" fmla="*/ 1369 w 10785"/>
                <a:gd name="connsiteY2079" fmla="*/ 4248 h 10000"/>
                <a:gd name="connsiteX2080" fmla="*/ 1355 w 10785"/>
                <a:gd name="connsiteY2080" fmla="*/ 4256 h 10000"/>
                <a:gd name="connsiteX2081" fmla="*/ 1350 w 10785"/>
                <a:gd name="connsiteY2081" fmla="*/ 4248 h 10000"/>
                <a:gd name="connsiteX2082" fmla="*/ 1332 w 10785"/>
                <a:gd name="connsiteY2082" fmla="*/ 4376 h 10000"/>
                <a:gd name="connsiteX2083" fmla="*/ 1332 w 10785"/>
                <a:gd name="connsiteY2083" fmla="*/ 4436 h 10000"/>
                <a:gd name="connsiteX2084" fmla="*/ 1323 w 10785"/>
                <a:gd name="connsiteY2084" fmla="*/ 4462 h 10000"/>
                <a:gd name="connsiteX2085" fmla="*/ 1304 w 10785"/>
                <a:gd name="connsiteY2085" fmla="*/ 4487 h 10000"/>
                <a:gd name="connsiteX2086" fmla="*/ 1290 w 10785"/>
                <a:gd name="connsiteY2086" fmla="*/ 4470 h 10000"/>
                <a:gd name="connsiteX2087" fmla="*/ 1263 w 10785"/>
                <a:gd name="connsiteY2087" fmla="*/ 4496 h 10000"/>
                <a:gd name="connsiteX2088" fmla="*/ 1258 w 10785"/>
                <a:gd name="connsiteY2088" fmla="*/ 4547 h 10000"/>
                <a:gd name="connsiteX2089" fmla="*/ 1249 w 10785"/>
                <a:gd name="connsiteY2089" fmla="*/ 4487 h 10000"/>
                <a:gd name="connsiteX2090" fmla="*/ 1235 w 10785"/>
                <a:gd name="connsiteY2090" fmla="*/ 4496 h 10000"/>
                <a:gd name="connsiteX2091" fmla="*/ 1221 w 10785"/>
                <a:gd name="connsiteY2091" fmla="*/ 4496 h 10000"/>
                <a:gd name="connsiteX2092" fmla="*/ 1217 w 10785"/>
                <a:gd name="connsiteY2092" fmla="*/ 4487 h 10000"/>
                <a:gd name="connsiteX2093" fmla="*/ 1198 w 10785"/>
                <a:gd name="connsiteY2093" fmla="*/ 4410 h 10000"/>
                <a:gd name="connsiteX2094" fmla="*/ 1157 w 10785"/>
                <a:gd name="connsiteY2094" fmla="*/ 4333 h 10000"/>
                <a:gd name="connsiteX2095" fmla="*/ 1147 w 10785"/>
                <a:gd name="connsiteY2095" fmla="*/ 4299 h 10000"/>
                <a:gd name="connsiteX2096" fmla="*/ 1147 w 10785"/>
                <a:gd name="connsiteY2096" fmla="*/ 4274 h 10000"/>
                <a:gd name="connsiteX2097" fmla="*/ 1161 w 10785"/>
                <a:gd name="connsiteY2097" fmla="*/ 4256 h 10000"/>
                <a:gd name="connsiteX2098" fmla="*/ 1171 w 10785"/>
                <a:gd name="connsiteY2098" fmla="*/ 4248 h 10000"/>
                <a:gd name="connsiteX2099" fmla="*/ 1175 w 10785"/>
                <a:gd name="connsiteY2099" fmla="*/ 4214 h 10000"/>
                <a:gd name="connsiteX2100" fmla="*/ 1263 w 10785"/>
                <a:gd name="connsiteY2100" fmla="*/ 4171 h 10000"/>
                <a:gd name="connsiteX2101" fmla="*/ 1249 w 10785"/>
                <a:gd name="connsiteY2101" fmla="*/ 4137 h 10000"/>
                <a:gd name="connsiteX2102" fmla="*/ 1244 w 10785"/>
                <a:gd name="connsiteY2102" fmla="*/ 4060 h 10000"/>
                <a:gd name="connsiteX2103" fmla="*/ 1230 w 10785"/>
                <a:gd name="connsiteY2103" fmla="*/ 4077 h 10000"/>
                <a:gd name="connsiteX2104" fmla="*/ 1221 w 10785"/>
                <a:gd name="connsiteY2104" fmla="*/ 4026 h 10000"/>
                <a:gd name="connsiteX2105" fmla="*/ 1217 w 10785"/>
                <a:gd name="connsiteY2105" fmla="*/ 4026 h 10000"/>
                <a:gd name="connsiteX2106" fmla="*/ 1212 w 10785"/>
                <a:gd name="connsiteY2106" fmla="*/ 3983 h 10000"/>
                <a:gd name="connsiteX2107" fmla="*/ 1203 w 10785"/>
                <a:gd name="connsiteY2107" fmla="*/ 3966 h 10000"/>
                <a:gd name="connsiteX2108" fmla="*/ 1171 w 10785"/>
                <a:gd name="connsiteY2108" fmla="*/ 3949 h 10000"/>
                <a:gd name="connsiteX2109" fmla="*/ 1111 w 10785"/>
                <a:gd name="connsiteY2109" fmla="*/ 3940 h 10000"/>
                <a:gd name="connsiteX2110" fmla="*/ 1097 w 10785"/>
                <a:gd name="connsiteY2110" fmla="*/ 3949 h 10000"/>
                <a:gd name="connsiteX2111" fmla="*/ 1037 w 10785"/>
                <a:gd name="connsiteY2111" fmla="*/ 3897 h 10000"/>
                <a:gd name="connsiteX2112" fmla="*/ 1041 w 10785"/>
                <a:gd name="connsiteY2112" fmla="*/ 3923 h 10000"/>
                <a:gd name="connsiteX2113" fmla="*/ 1097 w 10785"/>
                <a:gd name="connsiteY2113" fmla="*/ 4009 h 10000"/>
                <a:gd name="connsiteX2114" fmla="*/ 1097 w 10785"/>
                <a:gd name="connsiteY2114" fmla="*/ 4120 h 10000"/>
                <a:gd name="connsiteX2115" fmla="*/ 1097 w 10785"/>
                <a:gd name="connsiteY2115" fmla="*/ 4162 h 10000"/>
                <a:gd name="connsiteX2116" fmla="*/ 1097 w 10785"/>
                <a:gd name="connsiteY2116" fmla="*/ 4197 h 10000"/>
                <a:gd name="connsiteX2117" fmla="*/ 1074 w 10785"/>
                <a:gd name="connsiteY2117" fmla="*/ 4333 h 10000"/>
                <a:gd name="connsiteX2118" fmla="*/ 1074 w 10785"/>
                <a:gd name="connsiteY2118" fmla="*/ 4376 h 10000"/>
                <a:gd name="connsiteX2119" fmla="*/ 1083 w 10785"/>
                <a:gd name="connsiteY2119" fmla="*/ 4385 h 10000"/>
                <a:gd name="connsiteX2120" fmla="*/ 1097 w 10785"/>
                <a:gd name="connsiteY2120" fmla="*/ 4385 h 10000"/>
                <a:gd name="connsiteX2121" fmla="*/ 1111 w 10785"/>
                <a:gd name="connsiteY2121" fmla="*/ 4410 h 10000"/>
                <a:gd name="connsiteX2122" fmla="*/ 1124 w 10785"/>
                <a:gd name="connsiteY2122" fmla="*/ 4444 h 10000"/>
                <a:gd name="connsiteX2123" fmla="*/ 1124 w 10785"/>
                <a:gd name="connsiteY2123" fmla="*/ 4470 h 10000"/>
                <a:gd name="connsiteX2124" fmla="*/ 1115 w 10785"/>
                <a:gd name="connsiteY2124" fmla="*/ 4513 h 10000"/>
                <a:gd name="connsiteX2125" fmla="*/ 1115 w 10785"/>
                <a:gd name="connsiteY2125" fmla="*/ 4530 h 10000"/>
                <a:gd name="connsiteX2126" fmla="*/ 1115 w 10785"/>
                <a:gd name="connsiteY2126" fmla="*/ 4573 h 10000"/>
                <a:gd name="connsiteX2127" fmla="*/ 1101 w 10785"/>
                <a:gd name="connsiteY2127" fmla="*/ 4607 h 10000"/>
                <a:gd name="connsiteX2128" fmla="*/ 1097 w 10785"/>
                <a:gd name="connsiteY2128" fmla="*/ 4658 h 10000"/>
                <a:gd name="connsiteX2129" fmla="*/ 1101 w 10785"/>
                <a:gd name="connsiteY2129" fmla="*/ 4692 h 10000"/>
                <a:gd name="connsiteX2130" fmla="*/ 1097 w 10785"/>
                <a:gd name="connsiteY2130" fmla="*/ 4778 h 10000"/>
                <a:gd name="connsiteX2131" fmla="*/ 1083 w 10785"/>
                <a:gd name="connsiteY2131" fmla="*/ 4744 h 10000"/>
                <a:gd name="connsiteX2132" fmla="*/ 1083 w 10785"/>
                <a:gd name="connsiteY2132" fmla="*/ 4718 h 10000"/>
                <a:gd name="connsiteX2133" fmla="*/ 1074 w 10785"/>
                <a:gd name="connsiteY2133" fmla="*/ 4692 h 10000"/>
                <a:gd name="connsiteX2134" fmla="*/ 1065 w 10785"/>
                <a:gd name="connsiteY2134" fmla="*/ 4692 h 10000"/>
                <a:gd name="connsiteX2135" fmla="*/ 1051 w 10785"/>
                <a:gd name="connsiteY2135" fmla="*/ 4718 h 10000"/>
                <a:gd name="connsiteX2136" fmla="*/ 1055 w 10785"/>
                <a:gd name="connsiteY2136" fmla="*/ 4692 h 10000"/>
                <a:gd name="connsiteX2137" fmla="*/ 1055 w 10785"/>
                <a:gd name="connsiteY2137" fmla="*/ 4667 h 10000"/>
                <a:gd name="connsiteX2138" fmla="*/ 1028 w 10785"/>
                <a:gd name="connsiteY2138" fmla="*/ 4624 h 10000"/>
                <a:gd name="connsiteX2139" fmla="*/ 1005 w 10785"/>
                <a:gd name="connsiteY2139" fmla="*/ 4624 h 10000"/>
                <a:gd name="connsiteX2140" fmla="*/ 977 w 10785"/>
                <a:gd name="connsiteY2140" fmla="*/ 4581 h 10000"/>
                <a:gd name="connsiteX2141" fmla="*/ 963 w 10785"/>
                <a:gd name="connsiteY2141" fmla="*/ 4607 h 10000"/>
                <a:gd name="connsiteX2142" fmla="*/ 963 w 10785"/>
                <a:gd name="connsiteY2142" fmla="*/ 4632 h 10000"/>
                <a:gd name="connsiteX2143" fmla="*/ 917 w 10785"/>
                <a:gd name="connsiteY2143" fmla="*/ 4718 h 10000"/>
                <a:gd name="connsiteX2144" fmla="*/ 889 w 10785"/>
                <a:gd name="connsiteY2144" fmla="*/ 4744 h 10000"/>
                <a:gd name="connsiteX2145" fmla="*/ 880 w 10785"/>
                <a:gd name="connsiteY2145" fmla="*/ 4744 h 10000"/>
                <a:gd name="connsiteX2146" fmla="*/ 862 w 10785"/>
                <a:gd name="connsiteY2146" fmla="*/ 4769 h 10000"/>
                <a:gd name="connsiteX2147" fmla="*/ 857 w 10785"/>
                <a:gd name="connsiteY2147" fmla="*/ 4795 h 10000"/>
                <a:gd name="connsiteX2148" fmla="*/ 829 w 10785"/>
                <a:gd name="connsiteY2148" fmla="*/ 4846 h 10000"/>
                <a:gd name="connsiteX2149" fmla="*/ 816 w 10785"/>
                <a:gd name="connsiteY2149" fmla="*/ 4855 h 10000"/>
                <a:gd name="connsiteX2150" fmla="*/ 816 w 10785"/>
                <a:gd name="connsiteY2150" fmla="*/ 4940 h 10000"/>
                <a:gd name="connsiteX2151" fmla="*/ 880 w 10785"/>
                <a:gd name="connsiteY2151" fmla="*/ 5179 h 10000"/>
                <a:gd name="connsiteX2152" fmla="*/ 880 w 10785"/>
                <a:gd name="connsiteY2152" fmla="*/ 5188 h 10000"/>
                <a:gd name="connsiteX2153" fmla="*/ 862 w 10785"/>
                <a:gd name="connsiteY2153" fmla="*/ 5171 h 10000"/>
                <a:gd name="connsiteX2154" fmla="*/ 857 w 10785"/>
                <a:gd name="connsiteY2154" fmla="*/ 5171 h 10000"/>
                <a:gd name="connsiteX2155" fmla="*/ 820 w 10785"/>
                <a:gd name="connsiteY2155" fmla="*/ 5145 h 10000"/>
                <a:gd name="connsiteX2156" fmla="*/ 820 w 10785"/>
                <a:gd name="connsiteY2156" fmla="*/ 5154 h 10000"/>
                <a:gd name="connsiteX2157" fmla="*/ 816 w 10785"/>
                <a:gd name="connsiteY2157" fmla="*/ 5171 h 10000"/>
                <a:gd name="connsiteX2158" fmla="*/ 783 w 10785"/>
                <a:gd name="connsiteY2158" fmla="*/ 5145 h 10000"/>
                <a:gd name="connsiteX2159" fmla="*/ 756 w 10785"/>
                <a:gd name="connsiteY2159" fmla="*/ 5103 h 10000"/>
                <a:gd name="connsiteX2160" fmla="*/ 742 w 10785"/>
                <a:gd name="connsiteY2160" fmla="*/ 5103 h 10000"/>
                <a:gd name="connsiteX2161" fmla="*/ 728 w 10785"/>
                <a:gd name="connsiteY2161" fmla="*/ 5094 h 10000"/>
                <a:gd name="connsiteX2162" fmla="*/ 710 w 10785"/>
                <a:gd name="connsiteY2162" fmla="*/ 5120 h 10000"/>
                <a:gd name="connsiteX2163" fmla="*/ 700 w 10785"/>
                <a:gd name="connsiteY2163" fmla="*/ 5145 h 10000"/>
                <a:gd name="connsiteX2164" fmla="*/ 696 w 10785"/>
                <a:gd name="connsiteY2164" fmla="*/ 5103 h 10000"/>
                <a:gd name="connsiteX2165" fmla="*/ 714 w 10785"/>
                <a:gd name="connsiteY2165" fmla="*/ 5077 h 10000"/>
                <a:gd name="connsiteX2166" fmla="*/ 682 w 10785"/>
                <a:gd name="connsiteY2166" fmla="*/ 5068 h 10000"/>
                <a:gd name="connsiteX2167" fmla="*/ 673 w 10785"/>
                <a:gd name="connsiteY2167" fmla="*/ 5034 h 10000"/>
                <a:gd name="connsiteX2168" fmla="*/ 636 w 10785"/>
                <a:gd name="connsiteY2168" fmla="*/ 4991 h 10000"/>
                <a:gd name="connsiteX2169" fmla="*/ 622 w 10785"/>
                <a:gd name="connsiteY2169" fmla="*/ 4983 h 10000"/>
                <a:gd name="connsiteX2170" fmla="*/ 622 w 10785"/>
                <a:gd name="connsiteY2170" fmla="*/ 5034 h 10000"/>
                <a:gd name="connsiteX2171" fmla="*/ 608 w 10785"/>
                <a:gd name="connsiteY2171" fmla="*/ 5051 h 10000"/>
                <a:gd name="connsiteX2172" fmla="*/ 594 w 10785"/>
                <a:gd name="connsiteY2172" fmla="*/ 5068 h 10000"/>
                <a:gd name="connsiteX2173" fmla="*/ 608 w 10785"/>
                <a:gd name="connsiteY2173" fmla="*/ 5120 h 10000"/>
                <a:gd name="connsiteX2174" fmla="*/ 613 w 10785"/>
                <a:gd name="connsiteY2174" fmla="*/ 5128 h 10000"/>
                <a:gd name="connsiteX2175" fmla="*/ 627 w 10785"/>
                <a:gd name="connsiteY2175" fmla="*/ 5179 h 10000"/>
                <a:gd name="connsiteX2176" fmla="*/ 650 w 10785"/>
                <a:gd name="connsiteY2176" fmla="*/ 5214 h 10000"/>
                <a:gd name="connsiteX2177" fmla="*/ 687 w 10785"/>
                <a:gd name="connsiteY2177" fmla="*/ 5188 h 10000"/>
                <a:gd name="connsiteX2178" fmla="*/ 700 w 10785"/>
                <a:gd name="connsiteY2178" fmla="*/ 5325 h 10000"/>
                <a:gd name="connsiteX2179" fmla="*/ 710 w 10785"/>
                <a:gd name="connsiteY2179" fmla="*/ 5350 h 10000"/>
                <a:gd name="connsiteX2180" fmla="*/ 687 w 10785"/>
                <a:gd name="connsiteY2180" fmla="*/ 5325 h 10000"/>
                <a:gd name="connsiteX2181" fmla="*/ 668 w 10785"/>
                <a:gd name="connsiteY2181" fmla="*/ 5350 h 10000"/>
                <a:gd name="connsiteX2182" fmla="*/ 668 w 10785"/>
                <a:gd name="connsiteY2182" fmla="*/ 5368 h 10000"/>
                <a:gd name="connsiteX2183" fmla="*/ 668 w 10785"/>
                <a:gd name="connsiteY2183" fmla="*/ 5376 h 10000"/>
                <a:gd name="connsiteX2184" fmla="*/ 581 w 10785"/>
                <a:gd name="connsiteY2184" fmla="*/ 5316 h 10000"/>
                <a:gd name="connsiteX2185" fmla="*/ 567 w 10785"/>
                <a:gd name="connsiteY2185" fmla="*/ 5265 h 10000"/>
                <a:gd name="connsiteX2186" fmla="*/ 562 w 10785"/>
                <a:gd name="connsiteY2186" fmla="*/ 5256 h 10000"/>
                <a:gd name="connsiteX2187" fmla="*/ 548 w 10785"/>
                <a:gd name="connsiteY2187" fmla="*/ 5231 h 10000"/>
                <a:gd name="connsiteX2188" fmla="*/ 535 w 10785"/>
                <a:gd name="connsiteY2188" fmla="*/ 5214 h 10000"/>
                <a:gd name="connsiteX2189" fmla="*/ 525 w 10785"/>
                <a:gd name="connsiteY2189" fmla="*/ 5231 h 10000"/>
                <a:gd name="connsiteX2190" fmla="*/ 521 w 10785"/>
                <a:gd name="connsiteY2190" fmla="*/ 5231 h 10000"/>
                <a:gd name="connsiteX2191" fmla="*/ 493 w 10785"/>
                <a:gd name="connsiteY2191" fmla="*/ 5205 h 10000"/>
                <a:gd name="connsiteX2192" fmla="*/ 488 w 10785"/>
                <a:gd name="connsiteY2192" fmla="*/ 5179 h 10000"/>
                <a:gd name="connsiteX2193" fmla="*/ 475 w 10785"/>
                <a:gd name="connsiteY2193" fmla="*/ 5188 h 10000"/>
                <a:gd name="connsiteX2194" fmla="*/ 475 w 10785"/>
                <a:gd name="connsiteY2194" fmla="*/ 5171 h 10000"/>
                <a:gd name="connsiteX2195" fmla="*/ 488 w 10785"/>
                <a:gd name="connsiteY2195" fmla="*/ 5154 h 10000"/>
                <a:gd name="connsiteX2196" fmla="*/ 488 w 10785"/>
                <a:gd name="connsiteY2196" fmla="*/ 5068 h 10000"/>
                <a:gd name="connsiteX2197" fmla="*/ 475 w 10785"/>
                <a:gd name="connsiteY2197" fmla="*/ 5051 h 10000"/>
                <a:gd name="connsiteX2198" fmla="*/ 475 w 10785"/>
                <a:gd name="connsiteY2198" fmla="*/ 5017 h 10000"/>
                <a:gd name="connsiteX2199" fmla="*/ 452 w 10785"/>
                <a:gd name="connsiteY2199" fmla="*/ 4932 h 10000"/>
                <a:gd name="connsiteX2200" fmla="*/ 461 w 10785"/>
                <a:gd name="connsiteY2200" fmla="*/ 4915 h 10000"/>
                <a:gd name="connsiteX2201" fmla="*/ 475 w 10785"/>
                <a:gd name="connsiteY2201" fmla="*/ 4906 h 10000"/>
                <a:gd name="connsiteX2202" fmla="*/ 479 w 10785"/>
                <a:gd name="connsiteY2202" fmla="*/ 4803 h 10000"/>
                <a:gd name="connsiteX2203" fmla="*/ 479 w 10785"/>
                <a:gd name="connsiteY2203" fmla="*/ 4778 h 10000"/>
                <a:gd name="connsiteX2204" fmla="*/ 475 w 10785"/>
                <a:gd name="connsiteY2204" fmla="*/ 4761 h 10000"/>
                <a:gd name="connsiteX2205" fmla="*/ 465 w 10785"/>
                <a:gd name="connsiteY2205" fmla="*/ 4718 h 10000"/>
                <a:gd name="connsiteX2206" fmla="*/ 461 w 10785"/>
                <a:gd name="connsiteY2206" fmla="*/ 4709 h 10000"/>
                <a:gd name="connsiteX2207" fmla="*/ 442 w 10785"/>
                <a:gd name="connsiteY2207" fmla="*/ 4692 h 10000"/>
                <a:gd name="connsiteX2208" fmla="*/ 433 w 10785"/>
                <a:gd name="connsiteY2208" fmla="*/ 4667 h 10000"/>
                <a:gd name="connsiteX2209" fmla="*/ 419 w 10785"/>
                <a:gd name="connsiteY2209" fmla="*/ 4667 h 10000"/>
                <a:gd name="connsiteX2210" fmla="*/ 401 w 10785"/>
                <a:gd name="connsiteY2210" fmla="*/ 4658 h 10000"/>
                <a:gd name="connsiteX2211" fmla="*/ 401 w 10785"/>
                <a:gd name="connsiteY2211" fmla="*/ 4624 h 10000"/>
                <a:gd name="connsiteX2212" fmla="*/ 401 w 10785"/>
                <a:gd name="connsiteY2212" fmla="*/ 4607 h 10000"/>
                <a:gd name="connsiteX2213" fmla="*/ 378 w 10785"/>
                <a:gd name="connsiteY2213" fmla="*/ 4607 h 10000"/>
                <a:gd name="connsiteX2214" fmla="*/ 341 w 10785"/>
                <a:gd name="connsiteY2214" fmla="*/ 4530 h 10000"/>
                <a:gd name="connsiteX2215" fmla="*/ 346 w 10785"/>
                <a:gd name="connsiteY2215" fmla="*/ 4521 h 10000"/>
                <a:gd name="connsiteX2216" fmla="*/ 332 w 10785"/>
                <a:gd name="connsiteY2216" fmla="*/ 4487 h 10000"/>
                <a:gd name="connsiteX2217" fmla="*/ 327 w 10785"/>
                <a:gd name="connsiteY2217" fmla="*/ 4462 h 10000"/>
                <a:gd name="connsiteX2218" fmla="*/ 313 w 10785"/>
                <a:gd name="connsiteY2218" fmla="*/ 4436 h 10000"/>
                <a:gd name="connsiteX2219" fmla="*/ 300 w 10785"/>
                <a:gd name="connsiteY2219" fmla="*/ 4419 h 10000"/>
                <a:gd name="connsiteX2220" fmla="*/ 309 w 10785"/>
                <a:gd name="connsiteY2220" fmla="*/ 4393 h 10000"/>
                <a:gd name="connsiteX2221" fmla="*/ 332 w 10785"/>
                <a:gd name="connsiteY2221" fmla="*/ 4385 h 10000"/>
                <a:gd name="connsiteX2222" fmla="*/ 355 w 10785"/>
                <a:gd name="connsiteY2222" fmla="*/ 4419 h 10000"/>
                <a:gd name="connsiteX2223" fmla="*/ 355 w 10785"/>
                <a:gd name="connsiteY2223" fmla="*/ 4444 h 10000"/>
                <a:gd name="connsiteX2224" fmla="*/ 369 w 10785"/>
                <a:gd name="connsiteY2224" fmla="*/ 4470 h 10000"/>
                <a:gd name="connsiteX2225" fmla="*/ 401 w 10785"/>
                <a:gd name="connsiteY2225" fmla="*/ 4521 h 10000"/>
                <a:gd name="connsiteX2226" fmla="*/ 406 w 10785"/>
                <a:gd name="connsiteY2226" fmla="*/ 4513 h 10000"/>
                <a:gd name="connsiteX2227" fmla="*/ 406 w 10785"/>
                <a:gd name="connsiteY2227" fmla="*/ 4496 h 10000"/>
                <a:gd name="connsiteX2228" fmla="*/ 419 w 10785"/>
                <a:gd name="connsiteY2228" fmla="*/ 4521 h 10000"/>
                <a:gd name="connsiteX2229" fmla="*/ 429 w 10785"/>
                <a:gd name="connsiteY2229" fmla="*/ 4530 h 10000"/>
                <a:gd name="connsiteX2230" fmla="*/ 433 w 10785"/>
                <a:gd name="connsiteY2230" fmla="*/ 4521 h 10000"/>
                <a:gd name="connsiteX2231" fmla="*/ 442 w 10785"/>
                <a:gd name="connsiteY2231" fmla="*/ 4530 h 10000"/>
                <a:gd name="connsiteX2232" fmla="*/ 447 w 10785"/>
                <a:gd name="connsiteY2232" fmla="*/ 4521 h 10000"/>
                <a:gd name="connsiteX2233" fmla="*/ 452 w 10785"/>
                <a:gd name="connsiteY2233" fmla="*/ 4521 h 10000"/>
                <a:gd name="connsiteX2234" fmla="*/ 461 w 10785"/>
                <a:gd name="connsiteY2234" fmla="*/ 4573 h 10000"/>
                <a:gd name="connsiteX2235" fmla="*/ 479 w 10785"/>
                <a:gd name="connsiteY2235" fmla="*/ 4556 h 10000"/>
                <a:gd name="connsiteX2236" fmla="*/ 502 w 10785"/>
                <a:gd name="connsiteY2236" fmla="*/ 4573 h 10000"/>
                <a:gd name="connsiteX2237" fmla="*/ 507 w 10785"/>
                <a:gd name="connsiteY2237" fmla="*/ 4598 h 10000"/>
                <a:gd name="connsiteX2238" fmla="*/ 525 w 10785"/>
                <a:gd name="connsiteY2238" fmla="*/ 4598 h 10000"/>
                <a:gd name="connsiteX2239" fmla="*/ 535 w 10785"/>
                <a:gd name="connsiteY2239" fmla="*/ 4624 h 10000"/>
                <a:gd name="connsiteX2240" fmla="*/ 594 w 10785"/>
                <a:gd name="connsiteY2240" fmla="*/ 4658 h 10000"/>
                <a:gd name="connsiteX2241" fmla="*/ 627 w 10785"/>
                <a:gd name="connsiteY2241" fmla="*/ 4658 h 10000"/>
                <a:gd name="connsiteX2242" fmla="*/ 654 w 10785"/>
                <a:gd name="connsiteY2242" fmla="*/ 4684 h 10000"/>
                <a:gd name="connsiteX2243" fmla="*/ 668 w 10785"/>
                <a:gd name="connsiteY2243" fmla="*/ 4709 h 10000"/>
                <a:gd name="connsiteX2244" fmla="*/ 747 w 10785"/>
                <a:gd name="connsiteY2244" fmla="*/ 4718 h 10000"/>
                <a:gd name="connsiteX2245" fmla="*/ 760 w 10785"/>
                <a:gd name="connsiteY2245" fmla="*/ 4709 h 10000"/>
                <a:gd name="connsiteX2246" fmla="*/ 774 w 10785"/>
                <a:gd name="connsiteY2246" fmla="*/ 4692 h 10000"/>
                <a:gd name="connsiteX2247" fmla="*/ 829 w 10785"/>
                <a:gd name="connsiteY2247" fmla="*/ 4658 h 10000"/>
                <a:gd name="connsiteX2248" fmla="*/ 903 w 10785"/>
                <a:gd name="connsiteY2248" fmla="*/ 4496 h 10000"/>
                <a:gd name="connsiteX2249" fmla="*/ 917 w 10785"/>
                <a:gd name="connsiteY2249" fmla="*/ 4385 h 10000"/>
                <a:gd name="connsiteX2250" fmla="*/ 903 w 10785"/>
                <a:gd name="connsiteY2250" fmla="*/ 4376 h 10000"/>
                <a:gd name="connsiteX2251" fmla="*/ 903 w 10785"/>
                <a:gd name="connsiteY2251" fmla="*/ 4376 h 10000"/>
                <a:gd name="connsiteX2252" fmla="*/ 889 w 10785"/>
                <a:gd name="connsiteY2252" fmla="*/ 4239 h 10000"/>
                <a:gd name="connsiteX2253" fmla="*/ 880 w 10785"/>
                <a:gd name="connsiteY2253" fmla="*/ 4214 h 10000"/>
                <a:gd name="connsiteX2254" fmla="*/ 862 w 10785"/>
                <a:gd name="connsiteY2254" fmla="*/ 4188 h 10000"/>
                <a:gd name="connsiteX2255" fmla="*/ 857 w 10785"/>
                <a:gd name="connsiteY2255" fmla="*/ 4197 h 10000"/>
                <a:gd name="connsiteX2256" fmla="*/ 848 w 10785"/>
                <a:gd name="connsiteY2256" fmla="*/ 4188 h 10000"/>
                <a:gd name="connsiteX2257" fmla="*/ 848 w 10785"/>
                <a:gd name="connsiteY2257" fmla="*/ 4162 h 10000"/>
                <a:gd name="connsiteX2258" fmla="*/ 829 w 10785"/>
                <a:gd name="connsiteY2258" fmla="*/ 4120 h 10000"/>
                <a:gd name="connsiteX2259" fmla="*/ 820 w 10785"/>
                <a:gd name="connsiteY2259" fmla="*/ 4103 h 10000"/>
                <a:gd name="connsiteX2260" fmla="*/ 806 w 10785"/>
                <a:gd name="connsiteY2260" fmla="*/ 4077 h 10000"/>
                <a:gd name="connsiteX2261" fmla="*/ 816 w 10785"/>
                <a:gd name="connsiteY2261" fmla="*/ 4111 h 10000"/>
                <a:gd name="connsiteX2262" fmla="*/ 802 w 10785"/>
                <a:gd name="connsiteY2262" fmla="*/ 4111 h 10000"/>
                <a:gd name="connsiteX2263" fmla="*/ 770 w 10785"/>
                <a:gd name="connsiteY2263" fmla="*/ 4060 h 10000"/>
                <a:gd name="connsiteX2264" fmla="*/ 760 w 10785"/>
                <a:gd name="connsiteY2264" fmla="*/ 4077 h 10000"/>
                <a:gd name="connsiteX2265" fmla="*/ 760 w 10785"/>
                <a:gd name="connsiteY2265" fmla="*/ 4060 h 10000"/>
                <a:gd name="connsiteX2266" fmla="*/ 756 w 10785"/>
                <a:gd name="connsiteY2266" fmla="*/ 4034 h 10000"/>
                <a:gd name="connsiteX2267" fmla="*/ 742 w 10785"/>
                <a:gd name="connsiteY2267" fmla="*/ 4000 h 10000"/>
                <a:gd name="connsiteX2268" fmla="*/ 747 w 10785"/>
                <a:gd name="connsiteY2268" fmla="*/ 4034 h 10000"/>
                <a:gd name="connsiteX2269" fmla="*/ 724 w 10785"/>
                <a:gd name="connsiteY2269" fmla="*/ 4026 h 10000"/>
                <a:gd name="connsiteX2270" fmla="*/ 714 w 10785"/>
                <a:gd name="connsiteY2270" fmla="*/ 4000 h 10000"/>
                <a:gd name="connsiteX2271" fmla="*/ 714 w 10785"/>
                <a:gd name="connsiteY2271" fmla="*/ 3983 h 10000"/>
                <a:gd name="connsiteX2272" fmla="*/ 553 w 10785"/>
                <a:gd name="connsiteY2272" fmla="*/ 3726 h 10000"/>
                <a:gd name="connsiteX2273" fmla="*/ 507 w 10785"/>
                <a:gd name="connsiteY2273" fmla="*/ 3718 h 10000"/>
                <a:gd name="connsiteX2274" fmla="*/ 516 w 10785"/>
                <a:gd name="connsiteY2274" fmla="*/ 3726 h 10000"/>
                <a:gd name="connsiteX2275" fmla="*/ 507 w 10785"/>
                <a:gd name="connsiteY2275" fmla="*/ 3735 h 10000"/>
                <a:gd name="connsiteX2276" fmla="*/ 502 w 10785"/>
                <a:gd name="connsiteY2276" fmla="*/ 3735 h 10000"/>
                <a:gd name="connsiteX2277" fmla="*/ 419 w 10785"/>
                <a:gd name="connsiteY2277" fmla="*/ 3675 h 10000"/>
                <a:gd name="connsiteX2278" fmla="*/ 419 w 10785"/>
                <a:gd name="connsiteY2278" fmla="*/ 3692 h 10000"/>
                <a:gd name="connsiteX2279" fmla="*/ 401 w 10785"/>
                <a:gd name="connsiteY2279" fmla="*/ 3701 h 10000"/>
                <a:gd name="connsiteX2280" fmla="*/ 387 w 10785"/>
                <a:gd name="connsiteY2280" fmla="*/ 3718 h 10000"/>
                <a:gd name="connsiteX2281" fmla="*/ 387 w 10785"/>
                <a:gd name="connsiteY2281" fmla="*/ 3692 h 10000"/>
                <a:gd name="connsiteX2282" fmla="*/ 378 w 10785"/>
                <a:gd name="connsiteY2282" fmla="*/ 3675 h 10000"/>
                <a:gd name="connsiteX2283" fmla="*/ 378 w 10785"/>
                <a:gd name="connsiteY2283" fmla="*/ 3650 h 10000"/>
                <a:gd name="connsiteX2284" fmla="*/ 378 w 10785"/>
                <a:gd name="connsiteY2284" fmla="*/ 3650 h 10000"/>
                <a:gd name="connsiteX2285" fmla="*/ 355 w 10785"/>
                <a:gd name="connsiteY2285" fmla="*/ 3675 h 10000"/>
                <a:gd name="connsiteX2286" fmla="*/ 359 w 10785"/>
                <a:gd name="connsiteY2286" fmla="*/ 3641 h 10000"/>
                <a:gd name="connsiteX2287" fmla="*/ 346 w 10785"/>
                <a:gd name="connsiteY2287" fmla="*/ 3650 h 10000"/>
                <a:gd name="connsiteX2288" fmla="*/ 355 w 10785"/>
                <a:gd name="connsiteY2288" fmla="*/ 3624 h 10000"/>
                <a:gd name="connsiteX2289" fmla="*/ 346 w 10785"/>
                <a:gd name="connsiteY2289" fmla="*/ 3624 h 10000"/>
                <a:gd name="connsiteX2290" fmla="*/ 341 w 10785"/>
                <a:gd name="connsiteY2290" fmla="*/ 3624 h 10000"/>
                <a:gd name="connsiteX2291" fmla="*/ 318 w 10785"/>
                <a:gd name="connsiteY2291" fmla="*/ 3641 h 10000"/>
                <a:gd name="connsiteX2292" fmla="*/ 327 w 10785"/>
                <a:gd name="connsiteY2292" fmla="*/ 3624 h 10000"/>
                <a:gd name="connsiteX2293" fmla="*/ 318 w 10785"/>
                <a:gd name="connsiteY2293" fmla="*/ 3615 h 10000"/>
                <a:gd name="connsiteX2294" fmla="*/ 318 w 10785"/>
                <a:gd name="connsiteY2294" fmla="*/ 3598 h 10000"/>
                <a:gd name="connsiteX2295" fmla="*/ 300 w 10785"/>
                <a:gd name="connsiteY2295" fmla="*/ 3598 h 10000"/>
                <a:gd name="connsiteX2296" fmla="*/ 309 w 10785"/>
                <a:gd name="connsiteY2296" fmla="*/ 3538 h 10000"/>
                <a:gd name="connsiteX2297" fmla="*/ 313 w 10785"/>
                <a:gd name="connsiteY2297" fmla="*/ 3564 h 10000"/>
                <a:gd name="connsiteX2298" fmla="*/ 318 w 10785"/>
                <a:gd name="connsiteY2298" fmla="*/ 3581 h 10000"/>
                <a:gd name="connsiteX2299" fmla="*/ 327 w 10785"/>
                <a:gd name="connsiteY2299" fmla="*/ 3564 h 10000"/>
                <a:gd name="connsiteX2300" fmla="*/ 332 w 10785"/>
                <a:gd name="connsiteY2300" fmla="*/ 3590 h 10000"/>
                <a:gd name="connsiteX2301" fmla="*/ 346 w 10785"/>
                <a:gd name="connsiteY2301" fmla="*/ 3590 h 10000"/>
                <a:gd name="connsiteX2302" fmla="*/ 355 w 10785"/>
                <a:gd name="connsiteY2302" fmla="*/ 3590 h 10000"/>
                <a:gd name="connsiteX2303" fmla="*/ 369 w 10785"/>
                <a:gd name="connsiteY2303" fmla="*/ 3556 h 10000"/>
                <a:gd name="connsiteX2304" fmla="*/ 369 w 10785"/>
                <a:gd name="connsiteY2304" fmla="*/ 3538 h 10000"/>
                <a:gd name="connsiteX2305" fmla="*/ 346 w 10785"/>
                <a:gd name="connsiteY2305" fmla="*/ 3513 h 10000"/>
                <a:gd name="connsiteX2306" fmla="*/ 341 w 10785"/>
                <a:gd name="connsiteY2306" fmla="*/ 3530 h 10000"/>
                <a:gd name="connsiteX2307" fmla="*/ 327 w 10785"/>
                <a:gd name="connsiteY2307" fmla="*/ 3513 h 10000"/>
                <a:gd name="connsiteX2308" fmla="*/ 327 w 10785"/>
                <a:gd name="connsiteY2308" fmla="*/ 3504 h 10000"/>
                <a:gd name="connsiteX2309" fmla="*/ 295 w 10785"/>
                <a:gd name="connsiteY2309" fmla="*/ 3462 h 10000"/>
                <a:gd name="connsiteX2310" fmla="*/ 300 w 10785"/>
                <a:gd name="connsiteY2310" fmla="*/ 3479 h 10000"/>
                <a:gd name="connsiteX2311" fmla="*/ 295 w 10785"/>
                <a:gd name="connsiteY2311" fmla="*/ 3513 h 10000"/>
                <a:gd name="connsiteX2312" fmla="*/ 286 w 10785"/>
                <a:gd name="connsiteY2312" fmla="*/ 3513 h 10000"/>
                <a:gd name="connsiteX2313" fmla="*/ 281 w 10785"/>
                <a:gd name="connsiteY2313" fmla="*/ 3513 h 10000"/>
                <a:gd name="connsiteX2314" fmla="*/ 281 w 10785"/>
                <a:gd name="connsiteY2314" fmla="*/ 3530 h 10000"/>
                <a:gd name="connsiteX2315" fmla="*/ 281 w 10785"/>
                <a:gd name="connsiteY2315" fmla="*/ 3556 h 10000"/>
                <a:gd name="connsiteX2316" fmla="*/ 272 w 10785"/>
                <a:gd name="connsiteY2316" fmla="*/ 3564 h 10000"/>
                <a:gd name="connsiteX2317" fmla="*/ 267 w 10785"/>
                <a:gd name="connsiteY2317" fmla="*/ 3564 h 10000"/>
                <a:gd name="connsiteX2318" fmla="*/ 253 w 10785"/>
                <a:gd name="connsiteY2318" fmla="*/ 3538 h 10000"/>
                <a:gd name="connsiteX2319" fmla="*/ 226 w 10785"/>
                <a:gd name="connsiteY2319" fmla="*/ 3513 h 10000"/>
                <a:gd name="connsiteX2320" fmla="*/ 226 w 10785"/>
                <a:gd name="connsiteY2320" fmla="*/ 3530 h 10000"/>
                <a:gd name="connsiteX2321" fmla="*/ 226 w 10785"/>
                <a:gd name="connsiteY2321" fmla="*/ 3530 h 10000"/>
                <a:gd name="connsiteX2322" fmla="*/ 226 w 10785"/>
                <a:gd name="connsiteY2322" fmla="*/ 3530 h 10000"/>
                <a:gd name="connsiteX2323" fmla="*/ 226 w 10785"/>
                <a:gd name="connsiteY2323" fmla="*/ 3556 h 10000"/>
                <a:gd name="connsiteX2324" fmla="*/ 221 w 10785"/>
                <a:gd name="connsiteY2324" fmla="*/ 3598 h 10000"/>
                <a:gd name="connsiteX2325" fmla="*/ 207 w 10785"/>
                <a:gd name="connsiteY2325" fmla="*/ 3598 h 10000"/>
                <a:gd name="connsiteX2326" fmla="*/ 180 w 10785"/>
                <a:gd name="connsiteY2326" fmla="*/ 3581 h 10000"/>
                <a:gd name="connsiteX2327" fmla="*/ 171 w 10785"/>
                <a:gd name="connsiteY2327" fmla="*/ 3641 h 10000"/>
                <a:gd name="connsiteX2328" fmla="*/ 166 w 10785"/>
                <a:gd name="connsiteY2328" fmla="*/ 3650 h 10000"/>
                <a:gd name="connsiteX2329" fmla="*/ 124 w 10785"/>
                <a:gd name="connsiteY2329" fmla="*/ 3701 h 10000"/>
                <a:gd name="connsiteX2330" fmla="*/ 124 w 10785"/>
                <a:gd name="connsiteY2330" fmla="*/ 3718 h 10000"/>
                <a:gd name="connsiteX2331" fmla="*/ 120 w 10785"/>
                <a:gd name="connsiteY2331" fmla="*/ 3735 h 10000"/>
                <a:gd name="connsiteX2332" fmla="*/ 120 w 10785"/>
                <a:gd name="connsiteY2332" fmla="*/ 3735 h 10000"/>
                <a:gd name="connsiteX2333" fmla="*/ 111 w 10785"/>
                <a:gd name="connsiteY2333" fmla="*/ 3761 h 10000"/>
                <a:gd name="connsiteX2334" fmla="*/ 106 w 10785"/>
                <a:gd name="connsiteY2334" fmla="*/ 3761 h 10000"/>
                <a:gd name="connsiteX2335" fmla="*/ 106 w 10785"/>
                <a:gd name="connsiteY2335" fmla="*/ 3761 h 10000"/>
                <a:gd name="connsiteX2336" fmla="*/ 74 w 10785"/>
                <a:gd name="connsiteY2336" fmla="*/ 3829 h 10000"/>
                <a:gd name="connsiteX2337" fmla="*/ 78 w 10785"/>
                <a:gd name="connsiteY2337" fmla="*/ 3838 h 10000"/>
                <a:gd name="connsiteX2338" fmla="*/ 88 w 10785"/>
                <a:gd name="connsiteY2338" fmla="*/ 3846 h 10000"/>
                <a:gd name="connsiteX2339" fmla="*/ 65 w 10785"/>
                <a:gd name="connsiteY2339" fmla="*/ 3923 h 10000"/>
                <a:gd name="connsiteX2340" fmla="*/ 78 w 10785"/>
                <a:gd name="connsiteY2340" fmla="*/ 4026 h 10000"/>
                <a:gd name="connsiteX2341" fmla="*/ 88 w 10785"/>
                <a:gd name="connsiteY2341" fmla="*/ 4051 h 10000"/>
                <a:gd name="connsiteX2342" fmla="*/ 92 w 10785"/>
                <a:gd name="connsiteY2342" fmla="*/ 4060 h 10000"/>
                <a:gd name="connsiteX2343" fmla="*/ 111 w 10785"/>
                <a:gd name="connsiteY2343" fmla="*/ 4060 h 10000"/>
                <a:gd name="connsiteX2344" fmla="*/ 124 w 10785"/>
                <a:gd name="connsiteY2344" fmla="*/ 4085 h 10000"/>
                <a:gd name="connsiteX2345" fmla="*/ 166 w 10785"/>
                <a:gd name="connsiteY2345" fmla="*/ 4197 h 10000"/>
                <a:gd name="connsiteX2346" fmla="*/ 166 w 10785"/>
                <a:gd name="connsiteY2346" fmla="*/ 4248 h 10000"/>
                <a:gd name="connsiteX2347" fmla="*/ 120 w 10785"/>
                <a:gd name="connsiteY2347" fmla="*/ 4462 h 10000"/>
                <a:gd name="connsiteX2348" fmla="*/ 120 w 10785"/>
                <a:gd name="connsiteY2348" fmla="*/ 4513 h 10000"/>
                <a:gd name="connsiteX2349" fmla="*/ 180 w 10785"/>
                <a:gd name="connsiteY2349" fmla="*/ 4829 h 10000"/>
                <a:gd name="connsiteX2350" fmla="*/ 161 w 10785"/>
                <a:gd name="connsiteY2350" fmla="*/ 4855 h 10000"/>
                <a:gd name="connsiteX2351" fmla="*/ 152 w 10785"/>
                <a:gd name="connsiteY2351" fmla="*/ 4940 h 10000"/>
                <a:gd name="connsiteX2352" fmla="*/ 161 w 10785"/>
                <a:gd name="connsiteY2352" fmla="*/ 4966 h 10000"/>
                <a:gd name="connsiteX2353" fmla="*/ 161 w 10785"/>
                <a:gd name="connsiteY2353" fmla="*/ 5009 h 10000"/>
                <a:gd name="connsiteX2354" fmla="*/ 152 w 10785"/>
                <a:gd name="connsiteY2354" fmla="*/ 5034 h 10000"/>
                <a:gd name="connsiteX2355" fmla="*/ 152 w 10785"/>
                <a:gd name="connsiteY2355" fmla="*/ 5077 h 10000"/>
                <a:gd name="connsiteX2356" fmla="*/ 171 w 10785"/>
                <a:gd name="connsiteY2356" fmla="*/ 5094 h 10000"/>
                <a:gd name="connsiteX2357" fmla="*/ 180 w 10785"/>
                <a:gd name="connsiteY2357" fmla="*/ 5128 h 10000"/>
                <a:gd name="connsiteX2358" fmla="*/ 180 w 10785"/>
                <a:gd name="connsiteY2358" fmla="*/ 5171 h 10000"/>
                <a:gd name="connsiteX2359" fmla="*/ 184 w 10785"/>
                <a:gd name="connsiteY2359" fmla="*/ 5205 h 10000"/>
                <a:gd name="connsiteX2360" fmla="*/ 207 w 10785"/>
                <a:gd name="connsiteY2360" fmla="*/ 5239 h 10000"/>
                <a:gd name="connsiteX2361" fmla="*/ 207 w 10785"/>
                <a:gd name="connsiteY2361" fmla="*/ 5282 h 10000"/>
                <a:gd name="connsiteX2362" fmla="*/ 180 w 10785"/>
                <a:gd name="connsiteY2362" fmla="*/ 5393 h 10000"/>
                <a:gd name="connsiteX2363" fmla="*/ 194 w 10785"/>
                <a:gd name="connsiteY2363" fmla="*/ 5427 h 10000"/>
                <a:gd name="connsiteX2364" fmla="*/ 198 w 10785"/>
                <a:gd name="connsiteY2364" fmla="*/ 5462 h 10000"/>
                <a:gd name="connsiteX2365" fmla="*/ 235 w 10785"/>
                <a:gd name="connsiteY2365" fmla="*/ 5513 h 10000"/>
                <a:gd name="connsiteX2366" fmla="*/ 240 w 10785"/>
                <a:gd name="connsiteY2366" fmla="*/ 5556 h 10000"/>
                <a:gd name="connsiteX2367" fmla="*/ 253 w 10785"/>
                <a:gd name="connsiteY2367" fmla="*/ 5590 h 10000"/>
                <a:gd name="connsiteX2368" fmla="*/ 258 w 10785"/>
                <a:gd name="connsiteY2368" fmla="*/ 5573 h 10000"/>
                <a:gd name="connsiteX2369" fmla="*/ 258 w 10785"/>
                <a:gd name="connsiteY2369" fmla="*/ 5667 h 10000"/>
                <a:gd name="connsiteX2370" fmla="*/ 14 w 10785"/>
                <a:gd name="connsiteY2370" fmla="*/ 6214 h 10000"/>
                <a:gd name="connsiteX2371" fmla="*/ 14 w 10785"/>
                <a:gd name="connsiteY2371" fmla="*/ 6214 h 10000"/>
                <a:gd name="connsiteX2372" fmla="*/ 37 w 10785"/>
                <a:gd name="connsiteY2372" fmla="*/ 6214 h 10000"/>
                <a:gd name="connsiteX2373" fmla="*/ 51 w 10785"/>
                <a:gd name="connsiteY2373" fmla="*/ 6188 h 10000"/>
                <a:gd name="connsiteX2374" fmla="*/ 78 w 10785"/>
                <a:gd name="connsiteY2374" fmla="*/ 6162 h 10000"/>
                <a:gd name="connsiteX2375" fmla="*/ 78 w 10785"/>
                <a:gd name="connsiteY2375" fmla="*/ 6188 h 10000"/>
                <a:gd name="connsiteX2376" fmla="*/ 74 w 10785"/>
                <a:gd name="connsiteY2376" fmla="*/ 6197 h 10000"/>
                <a:gd name="connsiteX2377" fmla="*/ 74 w 10785"/>
                <a:gd name="connsiteY2377" fmla="*/ 6231 h 10000"/>
                <a:gd name="connsiteX2378" fmla="*/ 74 w 10785"/>
                <a:gd name="connsiteY2378" fmla="*/ 6214 h 10000"/>
                <a:gd name="connsiteX2379" fmla="*/ 65 w 10785"/>
                <a:gd name="connsiteY2379" fmla="*/ 6214 h 10000"/>
                <a:gd name="connsiteX2380" fmla="*/ 65 w 10785"/>
                <a:gd name="connsiteY2380" fmla="*/ 6248 h 10000"/>
                <a:gd name="connsiteX2381" fmla="*/ 74 w 10785"/>
                <a:gd name="connsiteY2381" fmla="*/ 6256 h 10000"/>
                <a:gd name="connsiteX2382" fmla="*/ 78 w 10785"/>
                <a:gd name="connsiteY2382" fmla="*/ 6256 h 10000"/>
                <a:gd name="connsiteX2383" fmla="*/ 106 w 10785"/>
                <a:gd name="connsiteY2383" fmla="*/ 6308 h 10000"/>
                <a:gd name="connsiteX2384" fmla="*/ 138 w 10785"/>
                <a:gd name="connsiteY2384" fmla="*/ 6299 h 10000"/>
                <a:gd name="connsiteX2385" fmla="*/ 152 w 10785"/>
                <a:gd name="connsiteY2385" fmla="*/ 6299 h 10000"/>
                <a:gd name="connsiteX2386" fmla="*/ 166 w 10785"/>
                <a:gd name="connsiteY2386" fmla="*/ 6325 h 10000"/>
                <a:gd name="connsiteX2387" fmla="*/ 166 w 10785"/>
                <a:gd name="connsiteY2387" fmla="*/ 6333 h 10000"/>
                <a:gd name="connsiteX2388" fmla="*/ 171 w 10785"/>
                <a:gd name="connsiteY2388" fmla="*/ 6350 h 10000"/>
                <a:gd name="connsiteX2389" fmla="*/ 180 w 10785"/>
                <a:gd name="connsiteY2389" fmla="*/ 6350 h 10000"/>
                <a:gd name="connsiteX2390" fmla="*/ 180 w 10785"/>
                <a:gd name="connsiteY2390" fmla="*/ 6359 h 10000"/>
                <a:gd name="connsiteX2391" fmla="*/ 171 w 10785"/>
                <a:gd name="connsiteY2391" fmla="*/ 6368 h 10000"/>
                <a:gd name="connsiteX2392" fmla="*/ 106 w 10785"/>
                <a:gd name="connsiteY2392" fmla="*/ 6350 h 10000"/>
                <a:gd name="connsiteX2393" fmla="*/ 101 w 10785"/>
                <a:gd name="connsiteY2393" fmla="*/ 6359 h 10000"/>
                <a:gd name="connsiteX2394" fmla="*/ 101 w 10785"/>
                <a:gd name="connsiteY2394" fmla="*/ 6385 h 10000"/>
                <a:gd name="connsiteX2395" fmla="*/ 78 w 10785"/>
                <a:gd name="connsiteY2395" fmla="*/ 6393 h 10000"/>
                <a:gd name="connsiteX2396" fmla="*/ 74 w 10785"/>
                <a:gd name="connsiteY2396" fmla="*/ 6385 h 10000"/>
                <a:gd name="connsiteX2397" fmla="*/ 65 w 10785"/>
                <a:gd name="connsiteY2397" fmla="*/ 6393 h 10000"/>
                <a:gd name="connsiteX2398" fmla="*/ 60 w 10785"/>
                <a:gd name="connsiteY2398" fmla="*/ 6419 h 10000"/>
                <a:gd name="connsiteX2399" fmla="*/ 51 w 10785"/>
                <a:gd name="connsiteY2399" fmla="*/ 6419 h 10000"/>
                <a:gd name="connsiteX2400" fmla="*/ 46 w 10785"/>
                <a:gd name="connsiteY2400" fmla="*/ 6410 h 10000"/>
                <a:gd name="connsiteX2401" fmla="*/ 37 w 10785"/>
                <a:gd name="connsiteY2401" fmla="*/ 6393 h 10000"/>
                <a:gd name="connsiteX2402" fmla="*/ 32 w 10785"/>
                <a:gd name="connsiteY2402" fmla="*/ 6419 h 10000"/>
                <a:gd name="connsiteX2403" fmla="*/ 37 w 10785"/>
                <a:gd name="connsiteY2403" fmla="*/ 6462 h 10000"/>
                <a:gd name="connsiteX2404" fmla="*/ 46 w 10785"/>
                <a:gd name="connsiteY2404" fmla="*/ 6462 h 10000"/>
                <a:gd name="connsiteX2405" fmla="*/ 51 w 10785"/>
                <a:gd name="connsiteY2405" fmla="*/ 6470 h 10000"/>
                <a:gd name="connsiteX2406" fmla="*/ 51 w 10785"/>
                <a:gd name="connsiteY2406" fmla="*/ 6496 h 10000"/>
                <a:gd name="connsiteX2407" fmla="*/ 51 w 10785"/>
                <a:gd name="connsiteY2407" fmla="*/ 6504 h 10000"/>
                <a:gd name="connsiteX2408" fmla="*/ 37 w 10785"/>
                <a:gd name="connsiteY2408" fmla="*/ 6530 h 10000"/>
                <a:gd name="connsiteX2409" fmla="*/ 18 w 10785"/>
                <a:gd name="connsiteY2409" fmla="*/ 6598 h 10000"/>
                <a:gd name="connsiteX2410" fmla="*/ 28 w 10785"/>
                <a:gd name="connsiteY2410" fmla="*/ 6632 h 10000"/>
                <a:gd name="connsiteX2411" fmla="*/ 18 w 10785"/>
                <a:gd name="connsiteY2411" fmla="*/ 6667 h 10000"/>
                <a:gd name="connsiteX2412" fmla="*/ 28 w 10785"/>
                <a:gd name="connsiteY2412" fmla="*/ 6692 h 10000"/>
                <a:gd name="connsiteX2413" fmla="*/ 28 w 10785"/>
                <a:gd name="connsiteY2413" fmla="*/ 6709 h 10000"/>
                <a:gd name="connsiteX2414" fmla="*/ 18 w 10785"/>
                <a:gd name="connsiteY2414" fmla="*/ 6718 h 10000"/>
                <a:gd name="connsiteX2415" fmla="*/ 5 w 10785"/>
                <a:gd name="connsiteY2415" fmla="*/ 6744 h 10000"/>
                <a:gd name="connsiteX2416" fmla="*/ 0 w 10785"/>
                <a:gd name="connsiteY2416" fmla="*/ 6769 h 10000"/>
                <a:gd name="connsiteX2417" fmla="*/ 5 w 10785"/>
                <a:gd name="connsiteY2417" fmla="*/ 6778 h 10000"/>
                <a:gd name="connsiteX2418" fmla="*/ 32 w 10785"/>
                <a:gd name="connsiteY2418" fmla="*/ 6778 h 10000"/>
                <a:gd name="connsiteX2419" fmla="*/ 46 w 10785"/>
                <a:gd name="connsiteY2419" fmla="*/ 6821 h 10000"/>
                <a:gd name="connsiteX2420" fmla="*/ 46 w 10785"/>
                <a:gd name="connsiteY2420" fmla="*/ 6855 h 10000"/>
                <a:gd name="connsiteX2421" fmla="*/ 32 w 10785"/>
                <a:gd name="connsiteY2421" fmla="*/ 6855 h 10000"/>
                <a:gd name="connsiteX2422" fmla="*/ 14 w 10785"/>
                <a:gd name="connsiteY2422" fmla="*/ 6821 h 10000"/>
                <a:gd name="connsiteX2423" fmla="*/ 14 w 10785"/>
                <a:gd name="connsiteY2423" fmla="*/ 6846 h 10000"/>
                <a:gd name="connsiteX2424" fmla="*/ 0 w 10785"/>
                <a:gd name="connsiteY2424" fmla="*/ 6897 h 10000"/>
                <a:gd name="connsiteX2425" fmla="*/ 0 w 10785"/>
                <a:gd name="connsiteY2425" fmla="*/ 6915 h 10000"/>
                <a:gd name="connsiteX2426" fmla="*/ 5 w 10785"/>
                <a:gd name="connsiteY2426" fmla="*/ 6932 h 10000"/>
                <a:gd name="connsiteX2427" fmla="*/ 14 w 10785"/>
                <a:gd name="connsiteY2427" fmla="*/ 6940 h 10000"/>
                <a:gd name="connsiteX2428" fmla="*/ 18 w 10785"/>
                <a:gd name="connsiteY2428" fmla="*/ 6957 h 10000"/>
                <a:gd name="connsiteX2429" fmla="*/ 28 w 10785"/>
                <a:gd name="connsiteY2429" fmla="*/ 6966 h 10000"/>
                <a:gd name="connsiteX2430" fmla="*/ 28 w 10785"/>
                <a:gd name="connsiteY2430" fmla="*/ 6983 h 10000"/>
                <a:gd name="connsiteX2431" fmla="*/ 18 w 10785"/>
                <a:gd name="connsiteY2431" fmla="*/ 7051 h 10000"/>
                <a:gd name="connsiteX2432" fmla="*/ 28 w 10785"/>
                <a:gd name="connsiteY2432" fmla="*/ 7068 h 10000"/>
                <a:gd name="connsiteX2433" fmla="*/ 32 w 10785"/>
                <a:gd name="connsiteY2433" fmla="*/ 7068 h 10000"/>
                <a:gd name="connsiteX2434" fmla="*/ 32 w 10785"/>
                <a:gd name="connsiteY2434" fmla="*/ 7094 h 10000"/>
                <a:gd name="connsiteX2435" fmla="*/ 60 w 10785"/>
                <a:gd name="connsiteY2435" fmla="*/ 7162 h 10000"/>
                <a:gd name="connsiteX2436" fmla="*/ 60 w 10785"/>
                <a:gd name="connsiteY2436" fmla="*/ 7231 h 10000"/>
                <a:gd name="connsiteX2437" fmla="*/ 60 w 10785"/>
                <a:gd name="connsiteY2437" fmla="*/ 7239 h 10000"/>
                <a:gd name="connsiteX2438" fmla="*/ 78 w 10785"/>
                <a:gd name="connsiteY2438" fmla="*/ 7239 h 10000"/>
                <a:gd name="connsiteX2439" fmla="*/ 88 w 10785"/>
                <a:gd name="connsiteY2439" fmla="*/ 7239 h 10000"/>
                <a:gd name="connsiteX2440" fmla="*/ 92 w 10785"/>
                <a:gd name="connsiteY2440" fmla="*/ 7256 h 10000"/>
                <a:gd name="connsiteX2441" fmla="*/ 111 w 10785"/>
                <a:gd name="connsiteY2441" fmla="*/ 7256 h 10000"/>
                <a:gd name="connsiteX2442" fmla="*/ 120 w 10785"/>
                <a:gd name="connsiteY2442" fmla="*/ 7256 h 10000"/>
                <a:gd name="connsiteX2443" fmla="*/ 134 w 10785"/>
                <a:gd name="connsiteY2443" fmla="*/ 7282 h 10000"/>
                <a:gd name="connsiteX2444" fmla="*/ 134 w 10785"/>
                <a:gd name="connsiteY2444" fmla="*/ 7316 h 10000"/>
                <a:gd name="connsiteX2445" fmla="*/ 152 w 10785"/>
                <a:gd name="connsiteY2445" fmla="*/ 7299 h 10000"/>
                <a:gd name="connsiteX2446" fmla="*/ 161 w 10785"/>
                <a:gd name="connsiteY2446" fmla="*/ 7299 h 10000"/>
                <a:gd name="connsiteX2447" fmla="*/ 166 w 10785"/>
                <a:gd name="connsiteY2447" fmla="*/ 7291 h 10000"/>
                <a:gd name="connsiteX2448" fmla="*/ 194 w 10785"/>
                <a:gd name="connsiteY2448" fmla="*/ 7291 h 10000"/>
                <a:gd name="connsiteX2449" fmla="*/ 207 w 10785"/>
                <a:gd name="connsiteY2449" fmla="*/ 7299 h 10000"/>
                <a:gd name="connsiteX2450" fmla="*/ 221 w 10785"/>
                <a:gd name="connsiteY2450" fmla="*/ 7342 h 10000"/>
                <a:gd name="connsiteX2451" fmla="*/ 235 w 10785"/>
                <a:gd name="connsiteY2451" fmla="*/ 7342 h 10000"/>
                <a:gd name="connsiteX2452" fmla="*/ 235 w 10785"/>
                <a:gd name="connsiteY2452" fmla="*/ 7368 h 10000"/>
                <a:gd name="connsiteX2453" fmla="*/ 226 w 10785"/>
                <a:gd name="connsiteY2453" fmla="*/ 7393 h 10000"/>
                <a:gd name="connsiteX2454" fmla="*/ 226 w 10785"/>
                <a:gd name="connsiteY2454" fmla="*/ 7402 h 10000"/>
                <a:gd name="connsiteX2455" fmla="*/ 235 w 10785"/>
                <a:gd name="connsiteY2455" fmla="*/ 7419 h 10000"/>
                <a:gd name="connsiteX2456" fmla="*/ 240 w 10785"/>
                <a:gd name="connsiteY2456" fmla="*/ 7436 h 10000"/>
                <a:gd name="connsiteX2457" fmla="*/ 235 w 10785"/>
                <a:gd name="connsiteY2457" fmla="*/ 7462 h 10000"/>
                <a:gd name="connsiteX2458" fmla="*/ 226 w 10785"/>
                <a:gd name="connsiteY2458" fmla="*/ 7479 h 10000"/>
                <a:gd name="connsiteX2459" fmla="*/ 226 w 10785"/>
                <a:gd name="connsiteY2459" fmla="*/ 7504 h 10000"/>
                <a:gd name="connsiteX2460" fmla="*/ 226 w 10785"/>
                <a:gd name="connsiteY2460" fmla="*/ 7513 h 10000"/>
                <a:gd name="connsiteX2461" fmla="*/ 240 w 10785"/>
                <a:gd name="connsiteY2461" fmla="*/ 7538 h 10000"/>
                <a:gd name="connsiteX2462" fmla="*/ 267 w 10785"/>
                <a:gd name="connsiteY2462" fmla="*/ 7641 h 10000"/>
                <a:gd name="connsiteX2463" fmla="*/ 281 w 10785"/>
                <a:gd name="connsiteY2463" fmla="*/ 7667 h 10000"/>
                <a:gd name="connsiteX2464" fmla="*/ 286 w 10785"/>
                <a:gd name="connsiteY2464" fmla="*/ 7675 h 10000"/>
                <a:gd name="connsiteX2465" fmla="*/ 286 w 10785"/>
                <a:gd name="connsiteY2465" fmla="*/ 7692 h 10000"/>
                <a:gd name="connsiteX2466" fmla="*/ 286 w 10785"/>
                <a:gd name="connsiteY2466" fmla="*/ 7709 h 10000"/>
                <a:gd name="connsiteX2467" fmla="*/ 295 w 10785"/>
                <a:gd name="connsiteY2467" fmla="*/ 7726 h 10000"/>
                <a:gd name="connsiteX2468" fmla="*/ 318 w 10785"/>
                <a:gd name="connsiteY2468" fmla="*/ 7709 h 10000"/>
                <a:gd name="connsiteX2469" fmla="*/ 327 w 10785"/>
                <a:gd name="connsiteY2469" fmla="*/ 7726 h 10000"/>
                <a:gd name="connsiteX2470" fmla="*/ 341 w 10785"/>
                <a:gd name="connsiteY2470" fmla="*/ 7735 h 10000"/>
                <a:gd name="connsiteX2471" fmla="*/ 332 w 10785"/>
                <a:gd name="connsiteY2471" fmla="*/ 7752 h 10000"/>
                <a:gd name="connsiteX2472" fmla="*/ 341 w 10785"/>
                <a:gd name="connsiteY2472" fmla="*/ 7761 h 10000"/>
                <a:gd name="connsiteX2473" fmla="*/ 355 w 10785"/>
                <a:gd name="connsiteY2473" fmla="*/ 7761 h 10000"/>
                <a:gd name="connsiteX2474" fmla="*/ 355 w 10785"/>
                <a:gd name="connsiteY2474" fmla="*/ 7803 h 10000"/>
                <a:gd name="connsiteX2475" fmla="*/ 313 w 10785"/>
                <a:gd name="connsiteY2475" fmla="*/ 7846 h 10000"/>
                <a:gd name="connsiteX2476" fmla="*/ 295 w 10785"/>
                <a:gd name="connsiteY2476" fmla="*/ 7846 h 10000"/>
                <a:gd name="connsiteX2477" fmla="*/ 281 w 10785"/>
                <a:gd name="connsiteY2477" fmla="*/ 7821 h 10000"/>
                <a:gd name="connsiteX2478" fmla="*/ 272 w 10785"/>
                <a:gd name="connsiteY2478" fmla="*/ 7821 h 10000"/>
                <a:gd name="connsiteX2479" fmla="*/ 267 w 10785"/>
                <a:gd name="connsiteY2479" fmla="*/ 7838 h 10000"/>
                <a:gd name="connsiteX2480" fmla="*/ 258 w 10785"/>
                <a:gd name="connsiteY2480" fmla="*/ 7846 h 10000"/>
                <a:gd name="connsiteX2481" fmla="*/ 253 w 10785"/>
                <a:gd name="connsiteY2481" fmla="*/ 7863 h 10000"/>
                <a:gd name="connsiteX2482" fmla="*/ 253 w 10785"/>
                <a:gd name="connsiteY2482" fmla="*/ 7872 h 10000"/>
                <a:gd name="connsiteX2483" fmla="*/ 267 w 10785"/>
                <a:gd name="connsiteY2483" fmla="*/ 7897 h 10000"/>
                <a:gd name="connsiteX2484" fmla="*/ 272 w 10785"/>
                <a:gd name="connsiteY2484" fmla="*/ 7915 h 10000"/>
                <a:gd name="connsiteX2485" fmla="*/ 267 w 10785"/>
                <a:gd name="connsiteY2485" fmla="*/ 7940 h 10000"/>
                <a:gd name="connsiteX2486" fmla="*/ 272 w 10785"/>
                <a:gd name="connsiteY2486" fmla="*/ 7949 h 10000"/>
                <a:gd name="connsiteX2487" fmla="*/ 272 w 10785"/>
                <a:gd name="connsiteY2487" fmla="*/ 7957 h 10000"/>
                <a:gd name="connsiteX2488" fmla="*/ 281 w 10785"/>
                <a:gd name="connsiteY2488" fmla="*/ 7974 h 10000"/>
                <a:gd name="connsiteX2489" fmla="*/ 286 w 10785"/>
                <a:gd name="connsiteY2489" fmla="*/ 7983 h 10000"/>
                <a:gd name="connsiteX2490" fmla="*/ 281 w 10785"/>
                <a:gd name="connsiteY2490" fmla="*/ 8009 h 10000"/>
                <a:gd name="connsiteX2491" fmla="*/ 286 w 10785"/>
                <a:gd name="connsiteY2491" fmla="*/ 8060 h 10000"/>
                <a:gd name="connsiteX2492" fmla="*/ 286 w 10785"/>
                <a:gd name="connsiteY2492" fmla="*/ 8060 h 10000"/>
                <a:gd name="connsiteX2493" fmla="*/ 295 w 10785"/>
                <a:gd name="connsiteY2493" fmla="*/ 8077 h 10000"/>
                <a:gd name="connsiteX2494" fmla="*/ 309 w 10785"/>
                <a:gd name="connsiteY2494" fmla="*/ 8077 h 10000"/>
                <a:gd name="connsiteX2495" fmla="*/ 313 w 10785"/>
                <a:gd name="connsiteY2495" fmla="*/ 8060 h 10000"/>
                <a:gd name="connsiteX2496" fmla="*/ 318 w 10785"/>
                <a:gd name="connsiteY2496" fmla="*/ 8051 h 10000"/>
                <a:gd name="connsiteX2497" fmla="*/ 318 w 10785"/>
                <a:gd name="connsiteY2497" fmla="*/ 8034 h 10000"/>
                <a:gd name="connsiteX2498" fmla="*/ 332 w 10785"/>
                <a:gd name="connsiteY2498" fmla="*/ 8026 h 10000"/>
                <a:gd name="connsiteX2499" fmla="*/ 359 w 10785"/>
                <a:gd name="connsiteY2499" fmla="*/ 8034 h 10000"/>
                <a:gd name="connsiteX2500" fmla="*/ 378 w 10785"/>
                <a:gd name="connsiteY2500" fmla="*/ 8026 h 10000"/>
                <a:gd name="connsiteX2501" fmla="*/ 401 w 10785"/>
                <a:gd name="connsiteY2501" fmla="*/ 8026 h 10000"/>
                <a:gd name="connsiteX2502" fmla="*/ 419 w 10785"/>
                <a:gd name="connsiteY2502" fmla="*/ 8009 h 10000"/>
                <a:gd name="connsiteX2503" fmla="*/ 433 w 10785"/>
                <a:gd name="connsiteY2503" fmla="*/ 8034 h 10000"/>
                <a:gd name="connsiteX2504" fmla="*/ 442 w 10785"/>
                <a:gd name="connsiteY2504" fmla="*/ 8060 h 10000"/>
                <a:gd name="connsiteX2505" fmla="*/ 442 w 10785"/>
                <a:gd name="connsiteY2505" fmla="*/ 8077 h 10000"/>
                <a:gd name="connsiteX2506" fmla="*/ 461 w 10785"/>
                <a:gd name="connsiteY2506" fmla="*/ 8111 h 10000"/>
                <a:gd name="connsiteX2507" fmla="*/ 461 w 10785"/>
                <a:gd name="connsiteY2507" fmla="*/ 8137 h 10000"/>
                <a:gd name="connsiteX2508" fmla="*/ 447 w 10785"/>
                <a:gd name="connsiteY2508" fmla="*/ 8145 h 10000"/>
                <a:gd name="connsiteX2509" fmla="*/ 442 w 10785"/>
                <a:gd name="connsiteY2509" fmla="*/ 8145 h 10000"/>
                <a:gd name="connsiteX2510" fmla="*/ 442 w 10785"/>
                <a:gd name="connsiteY2510" fmla="*/ 8162 h 10000"/>
                <a:gd name="connsiteX2511" fmla="*/ 442 w 10785"/>
                <a:gd name="connsiteY2511" fmla="*/ 8171 h 10000"/>
                <a:gd name="connsiteX2512" fmla="*/ 447 w 10785"/>
                <a:gd name="connsiteY2512" fmla="*/ 8214 h 10000"/>
                <a:gd name="connsiteX2513" fmla="*/ 465 w 10785"/>
                <a:gd name="connsiteY2513" fmla="*/ 8231 h 10000"/>
                <a:gd name="connsiteX2514" fmla="*/ 488 w 10785"/>
                <a:gd name="connsiteY2514" fmla="*/ 8231 h 10000"/>
                <a:gd name="connsiteX2515" fmla="*/ 493 w 10785"/>
                <a:gd name="connsiteY2515" fmla="*/ 8231 h 10000"/>
                <a:gd name="connsiteX2516" fmla="*/ 502 w 10785"/>
                <a:gd name="connsiteY2516" fmla="*/ 8231 h 10000"/>
                <a:gd name="connsiteX2517" fmla="*/ 507 w 10785"/>
                <a:gd name="connsiteY2517" fmla="*/ 8248 h 10000"/>
                <a:gd name="connsiteX2518" fmla="*/ 521 w 10785"/>
                <a:gd name="connsiteY2518" fmla="*/ 8274 h 10000"/>
                <a:gd name="connsiteX2519" fmla="*/ 525 w 10785"/>
                <a:gd name="connsiteY2519" fmla="*/ 8333 h 10000"/>
                <a:gd name="connsiteX2520" fmla="*/ 525 w 10785"/>
                <a:gd name="connsiteY2520" fmla="*/ 8359 h 10000"/>
                <a:gd name="connsiteX2521" fmla="*/ 525 w 10785"/>
                <a:gd name="connsiteY2521" fmla="*/ 8368 h 10000"/>
                <a:gd name="connsiteX2522" fmla="*/ 548 w 10785"/>
                <a:gd name="connsiteY2522" fmla="*/ 8393 h 10000"/>
                <a:gd name="connsiteX2523" fmla="*/ 553 w 10785"/>
                <a:gd name="connsiteY2523" fmla="*/ 8385 h 10000"/>
                <a:gd name="connsiteX2524" fmla="*/ 562 w 10785"/>
                <a:gd name="connsiteY2524" fmla="*/ 8385 h 10000"/>
                <a:gd name="connsiteX2525" fmla="*/ 576 w 10785"/>
                <a:gd name="connsiteY2525" fmla="*/ 8385 h 10000"/>
                <a:gd name="connsiteX2526" fmla="*/ 585 w 10785"/>
                <a:gd name="connsiteY2526" fmla="*/ 8410 h 10000"/>
                <a:gd name="connsiteX2527" fmla="*/ 594 w 10785"/>
                <a:gd name="connsiteY2527" fmla="*/ 8410 h 10000"/>
                <a:gd name="connsiteX2528" fmla="*/ 608 w 10785"/>
                <a:gd name="connsiteY2528" fmla="*/ 8410 h 10000"/>
                <a:gd name="connsiteX2529" fmla="*/ 654 w 10785"/>
                <a:gd name="connsiteY2529" fmla="*/ 8385 h 10000"/>
                <a:gd name="connsiteX2530" fmla="*/ 659 w 10785"/>
                <a:gd name="connsiteY2530" fmla="*/ 8385 h 10000"/>
                <a:gd name="connsiteX2531" fmla="*/ 696 w 10785"/>
                <a:gd name="connsiteY2531" fmla="*/ 8470 h 10000"/>
                <a:gd name="connsiteX2532" fmla="*/ 700 w 10785"/>
                <a:gd name="connsiteY2532" fmla="*/ 8470 h 10000"/>
                <a:gd name="connsiteX2533" fmla="*/ 710 w 10785"/>
                <a:gd name="connsiteY2533" fmla="*/ 8462 h 10000"/>
                <a:gd name="connsiteX2534" fmla="*/ 714 w 10785"/>
                <a:gd name="connsiteY2534" fmla="*/ 8462 h 10000"/>
                <a:gd name="connsiteX2535" fmla="*/ 724 w 10785"/>
                <a:gd name="connsiteY2535" fmla="*/ 8470 h 10000"/>
                <a:gd name="connsiteX2536" fmla="*/ 733 w 10785"/>
                <a:gd name="connsiteY2536" fmla="*/ 8470 h 10000"/>
                <a:gd name="connsiteX2537" fmla="*/ 742 w 10785"/>
                <a:gd name="connsiteY2537" fmla="*/ 8487 h 10000"/>
                <a:gd name="connsiteX2538" fmla="*/ 747 w 10785"/>
                <a:gd name="connsiteY2538" fmla="*/ 8496 h 10000"/>
                <a:gd name="connsiteX2539" fmla="*/ 770 w 10785"/>
                <a:gd name="connsiteY2539" fmla="*/ 8496 h 10000"/>
                <a:gd name="connsiteX2540" fmla="*/ 783 w 10785"/>
                <a:gd name="connsiteY2540" fmla="*/ 8521 h 10000"/>
                <a:gd name="connsiteX2541" fmla="*/ 797 w 10785"/>
                <a:gd name="connsiteY2541" fmla="*/ 8521 h 10000"/>
                <a:gd name="connsiteX2542" fmla="*/ 806 w 10785"/>
                <a:gd name="connsiteY2542" fmla="*/ 8530 h 10000"/>
                <a:gd name="connsiteX2543" fmla="*/ 829 w 10785"/>
                <a:gd name="connsiteY2543" fmla="*/ 8547 h 10000"/>
                <a:gd name="connsiteX2544" fmla="*/ 834 w 10785"/>
                <a:gd name="connsiteY2544" fmla="*/ 8556 h 10000"/>
                <a:gd name="connsiteX2545" fmla="*/ 829 w 10785"/>
                <a:gd name="connsiteY2545" fmla="*/ 8556 h 10000"/>
                <a:gd name="connsiteX2546" fmla="*/ 834 w 10785"/>
                <a:gd name="connsiteY2546" fmla="*/ 8607 h 10000"/>
                <a:gd name="connsiteX2547" fmla="*/ 829 w 10785"/>
                <a:gd name="connsiteY2547" fmla="*/ 8641 h 10000"/>
                <a:gd name="connsiteX2548" fmla="*/ 806 w 10785"/>
                <a:gd name="connsiteY2548" fmla="*/ 8658 h 10000"/>
                <a:gd name="connsiteX2549" fmla="*/ 816 w 10785"/>
                <a:gd name="connsiteY2549" fmla="*/ 8667 h 10000"/>
                <a:gd name="connsiteX2550" fmla="*/ 820 w 10785"/>
                <a:gd name="connsiteY2550" fmla="*/ 8667 h 10000"/>
                <a:gd name="connsiteX2551" fmla="*/ 829 w 10785"/>
                <a:gd name="connsiteY2551" fmla="*/ 8684 h 10000"/>
                <a:gd name="connsiteX2552" fmla="*/ 806 w 10785"/>
                <a:gd name="connsiteY2552" fmla="*/ 8692 h 10000"/>
                <a:gd name="connsiteX2553" fmla="*/ 802 w 10785"/>
                <a:gd name="connsiteY2553" fmla="*/ 8709 h 10000"/>
                <a:gd name="connsiteX2554" fmla="*/ 802 w 10785"/>
                <a:gd name="connsiteY2554" fmla="*/ 8735 h 10000"/>
                <a:gd name="connsiteX2555" fmla="*/ 806 w 10785"/>
                <a:gd name="connsiteY2555" fmla="*/ 8744 h 10000"/>
                <a:gd name="connsiteX2556" fmla="*/ 816 w 10785"/>
                <a:gd name="connsiteY2556" fmla="*/ 8752 h 10000"/>
                <a:gd name="connsiteX2557" fmla="*/ 806 w 10785"/>
                <a:gd name="connsiteY2557" fmla="*/ 8778 h 10000"/>
                <a:gd name="connsiteX2558" fmla="*/ 820 w 10785"/>
                <a:gd name="connsiteY2558" fmla="*/ 8778 h 10000"/>
                <a:gd name="connsiteX2559" fmla="*/ 806 w 10785"/>
                <a:gd name="connsiteY2559" fmla="*/ 8880 h 10000"/>
                <a:gd name="connsiteX2560" fmla="*/ 797 w 10785"/>
                <a:gd name="connsiteY2560" fmla="*/ 8880 h 10000"/>
                <a:gd name="connsiteX2561" fmla="*/ 783 w 10785"/>
                <a:gd name="connsiteY2561" fmla="*/ 8872 h 10000"/>
                <a:gd name="connsiteX2562" fmla="*/ 770 w 10785"/>
                <a:gd name="connsiteY2562" fmla="*/ 8880 h 10000"/>
                <a:gd name="connsiteX2563" fmla="*/ 756 w 10785"/>
                <a:gd name="connsiteY2563" fmla="*/ 8855 h 10000"/>
                <a:gd name="connsiteX2564" fmla="*/ 733 w 10785"/>
                <a:gd name="connsiteY2564" fmla="*/ 8906 h 10000"/>
                <a:gd name="connsiteX2565" fmla="*/ 714 w 10785"/>
                <a:gd name="connsiteY2565" fmla="*/ 8915 h 10000"/>
                <a:gd name="connsiteX2566" fmla="*/ 710 w 10785"/>
                <a:gd name="connsiteY2566" fmla="*/ 8940 h 10000"/>
                <a:gd name="connsiteX2567" fmla="*/ 710 w 10785"/>
                <a:gd name="connsiteY2567" fmla="*/ 9009 h 10000"/>
                <a:gd name="connsiteX2568" fmla="*/ 728 w 10785"/>
                <a:gd name="connsiteY2568" fmla="*/ 8991 h 10000"/>
                <a:gd name="connsiteX2569" fmla="*/ 733 w 10785"/>
                <a:gd name="connsiteY2569" fmla="*/ 8991 h 10000"/>
                <a:gd name="connsiteX2570" fmla="*/ 747 w 10785"/>
                <a:gd name="connsiteY2570" fmla="*/ 8983 h 10000"/>
                <a:gd name="connsiteX2571" fmla="*/ 760 w 10785"/>
                <a:gd name="connsiteY2571" fmla="*/ 8983 h 10000"/>
                <a:gd name="connsiteX2572" fmla="*/ 770 w 10785"/>
                <a:gd name="connsiteY2572" fmla="*/ 8983 h 10000"/>
                <a:gd name="connsiteX2573" fmla="*/ 770 w 10785"/>
                <a:gd name="connsiteY2573" fmla="*/ 8991 h 10000"/>
                <a:gd name="connsiteX2574" fmla="*/ 783 w 10785"/>
                <a:gd name="connsiteY2574" fmla="*/ 8991 h 10000"/>
                <a:gd name="connsiteX2575" fmla="*/ 783 w 10785"/>
                <a:gd name="connsiteY2575" fmla="*/ 9009 h 10000"/>
                <a:gd name="connsiteX2576" fmla="*/ 783 w 10785"/>
                <a:gd name="connsiteY2576" fmla="*/ 9017 h 10000"/>
                <a:gd name="connsiteX2577" fmla="*/ 770 w 10785"/>
                <a:gd name="connsiteY2577" fmla="*/ 9017 h 10000"/>
                <a:gd name="connsiteX2578" fmla="*/ 724 w 10785"/>
                <a:gd name="connsiteY2578" fmla="*/ 9051 h 10000"/>
                <a:gd name="connsiteX2579" fmla="*/ 724 w 10785"/>
                <a:gd name="connsiteY2579" fmla="*/ 9068 h 10000"/>
                <a:gd name="connsiteX2580" fmla="*/ 728 w 10785"/>
                <a:gd name="connsiteY2580" fmla="*/ 9077 h 10000"/>
                <a:gd name="connsiteX2581" fmla="*/ 724 w 10785"/>
                <a:gd name="connsiteY2581" fmla="*/ 9077 h 10000"/>
                <a:gd name="connsiteX2582" fmla="*/ 710 w 10785"/>
                <a:gd name="connsiteY2582" fmla="*/ 9077 h 10000"/>
                <a:gd name="connsiteX2583" fmla="*/ 682 w 10785"/>
                <a:gd name="connsiteY2583" fmla="*/ 9077 h 10000"/>
                <a:gd name="connsiteX2584" fmla="*/ 673 w 10785"/>
                <a:gd name="connsiteY2584" fmla="*/ 9103 h 10000"/>
                <a:gd name="connsiteX2585" fmla="*/ 687 w 10785"/>
                <a:gd name="connsiteY2585" fmla="*/ 9128 h 10000"/>
                <a:gd name="connsiteX2586" fmla="*/ 700 w 10785"/>
                <a:gd name="connsiteY2586" fmla="*/ 9128 h 10000"/>
                <a:gd name="connsiteX2587" fmla="*/ 728 w 10785"/>
                <a:gd name="connsiteY2587" fmla="*/ 9179 h 10000"/>
                <a:gd name="connsiteX2588" fmla="*/ 724 w 10785"/>
                <a:gd name="connsiteY2588" fmla="*/ 9188 h 10000"/>
                <a:gd name="connsiteX2589" fmla="*/ 710 w 10785"/>
                <a:gd name="connsiteY2589" fmla="*/ 9179 h 10000"/>
                <a:gd name="connsiteX2590" fmla="*/ 700 w 10785"/>
                <a:gd name="connsiteY2590" fmla="*/ 9205 h 10000"/>
                <a:gd name="connsiteX2591" fmla="*/ 696 w 10785"/>
                <a:gd name="connsiteY2591" fmla="*/ 9205 h 10000"/>
                <a:gd name="connsiteX2592" fmla="*/ 654 w 10785"/>
                <a:gd name="connsiteY2592" fmla="*/ 9299 h 10000"/>
                <a:gd name="connsiteX2593" fmla="*/ 622 w 10785"/>
                <a:gd name="connsiteY2593" fmla="*/ 9299 h 10000"/>
                <a:gd name="connsiteX2594" fmla="*/ 613 w 10785"/>
                <a:gd name="connsiteY2594" fmla="*/ 9316 h 10000"/>
                <a:gd name="connsiteX2595" fmla="*/ 613 w 10785"/>
                <a:gd name="connsiteY2595" fmla="*/ 9325 h 10000"/>
                <a:gd name="connsiteX2596" fmla="*/ 608 w 10785"/>
                <a:gd name="connsiteY2596" fmla="*/ 9342 h 10000"/>
                <a:gd name="connsiteX2597" fmla="*/ 636 w 10785"/>
                <a:gd name="connsiteY2597" fmla="*/ 9376 h 10000"/>
                <a:gd name="connsiteX2598" fmla="*/ 641 w 10785"/>
                <a:gd name="connsiteY2598" fmla="*/ 9402 h 10000"/>
                <a:gd name="connsiteX2599" fmla="*/ 654 w 10785"/>
                <a:gd name="connsiteY2599" fmla="*/ 9427 h 10000"/>
                <a:gd name="connsiteX2600" fmla="*/ 668 w 10785"/>
                <a:gd name="connsiteY2600" fmla="*/ 9427 h 10000"/>
                <a:gd name="connsiteX2601" fmla="*/ 668 w 10785"/>
                <a:gd name="connsiteY2601" fmla="*/ 9427 h 10000"/>
                <a:gd name="connsiteX2602" fmla="*/ 774 w 10785"/>
                <a:gd name="connsiteY2602" fmla="*/ 9547 h 10000"/>
                <a:gd name="connsiteX2603" fmla="*/ 797 w 10785"/>
                <a:gd name="connsiteY2603" fmla="*/ 9598 h 10000"/>
                <a:gd name="connsiteX2604" fmla="*/ 802 w 10785"/>
                <a:gd name="connsiteY2604" fmla="*/ 9598 h 10000"/>
                <a:gd name="connsiteX2605" fmla="*/ 816 w 10785"/>
                <a:gd name="connsiteY2605" fmla="*/ 9624 h 10000"/>
                <a:gd name="connsiteX2606" fmla="*/ 843 w 10785"/>
                <a:gd name="connsiteY2606" fmla="*/ 9615 h 10000"/>
                <a:gd name="connsiteX2607" fmla="*/ 857 w 10785"/>
                <a:gd name="connsiteY2607" fmla="*/ 9624 h 10000"/>
                <a:gd name="connsiteX2608" fmla="*/ 862 w 10785"/>
                <a:gd name="connsiteY2608" fmla="*/ 9615 h 10000"/>
                <a:gd name="connsiteX2609" fmla="*/ 880 w 10785"/>
                <a:gd name="connsiteY2609" fmla="*/ 9624 h 10000"/>
                <a:gd name="connsiteX2610" fmla="*/ 889 w 10785"/>
                <a:gd name="connsiteY2610" fmla="*/ 9641 h 10000"/>
                <a:gd name="connsiteX2611" fmla="*/ 935 w 10785"/>
                <a:gd name="connsiteY2611" fmla="*/ 9675 h 10000"/>
                <a:gd name="connsiteX2612" fmla="*/ 977 w 10785"/>
                <a:gd name="connsiteY2612" fmla="*/ 9667 h 10000"/>
                <a:gd name="connsiteX2613" fmla="*/ 995 w 10785"/>
                <a:gd name="connsiteY2613" fmla="*/ 9675 h 10000"/>
                <a:gd name="connsiteX2614" fmla="*/ 1014 w 10785"/>
                <a:gd name="connsiteY2614" fmla="*/ 9675 h 10000"/>
                <a:gd name="connsiteX2615" fmla="*/ 1069 w 10785"/>
                <a:gd name="connsiteY2615" fmla="*/ 9752 h 10000"/>
                <a:gd name="connsiteX2616" fmla="*/ 1074 w 10785"/>
                <a:gd name="connsiteY2616" fmla="*/ 9761 h 10000"/>
                <a:gd name="connsiteX2617" fmla="*/ 1083 w 10785"/>
                <a:gd name="connsiteY2617" fmla="*/ 9778 h 10000"/>
                <a:gd name="connsiteX2618" fmla="*/ 1115 w 10785"/>
                <a:gd name="connsiteY2618" fmla="*/ 9752 h 10000"/>
                <a:gd name="connsiteX2619" fmla="*/ 1129 w 10785"/>
                <a:gd name="connsiteY2619" fmla="*/ 9752 h 10000"/>
                <a:gd name="connsiteX2620" fmla="*/ 1138 w 10785"/>
                <a:gd name="connsiteY2620" fmla="*/ 9761 h 10000"/>
                <a:gd name="connsiteX2621" fmla="*/ 1143 w 10785"/>
                <a:gd name="connsiteY2621" fmla="*/ 9752 h 10000"/>
                <a:gd name="connsiteX2622" fmla="*/ 1161 w 10785"/>
                <a:gd name="connsiteY2622" fmla="*/ 9761 h 10000"/>
                <a:gd name="connsiteX2623" fmla="*/ 1171 w 10785"/>
                <a:gd name="connsiteY2623" fmla="*/ 9778 h 10000"/>
                <a:gd name="connsiteX2624" fmla="*/ 1175 w 10785"/>
                <a:gd name="connsiteY2624" fmla="*/ 9778 h 10000"/>
                <a:gd name="connsiteX2625" fmla="*/ 1189 w 10785"/>
                <a:gd name="connsiteY2625" fmla="*/ 9778 h 10000"/>
                <a:gd name="connsiteX2626" fmla="*/ 1198 w 10785"/>
                <a:gd name="connsiteY2626" fmla="*/ 9786 h 10000"/>
                <a:gd name="connsiteX2627" fmla="*/ 1203 w 10785"/>
                <a:gd name="connsiteY2627" fmla="*/ 9803 h 10000"/>
                <a:gd name="connsiteX2628" fmla="*/ 1198 w 10785"/>
                <a:gd name="connsiteY2628" fmla="*/ 9838 h 10000"/>
                <a:gd name="connsiteX2629" fmla="*/ 1212 w 10785"/>
                <a:gd name="connsiteY2629" fmla="*/ 9863 h 10000"/>
                <a:gd name="connsiteX2630" fmla="*/ 1230 w 10785"/>
                <a:gd name="connsiteY2630" fmla="*/ 9872 h 10000"/>
                <a:gd name="connsiteX2631" fmla="*/ 1249 w 10785"/>
                <a:gd name="connsiteY2631" fmla="*/ 9897 h 10000"/>
                <a:gd name="connsiteX2632" fmla="*/ 1263 w 10785"/>
                <a:gd name="connsiteY2632" fmla="*/ 9897 h 10000"/>
                <a:gd name="connsiteX2633" fmla="*/ 1276 w 10785"/>
                <a:gd name="connsiteY2633" fmla="*/ 9923 h 10000"/>
                <a:gd name="connsiteX2634" fmla="*/ 1281 w 10785"/>
                <a:gd name="connsiteY2634" fmla="*/ 9949 h 10000"/>
                <a:gd name="connsiteX2635" fmla="*/ 1290 w 10785"/>
                <a:gd name="connsiteY2635" fmla="*/ 9949 h 10000"/>
                <a:gd name="connsiteX2636" fmla="*/ 1295 w 10785"/>
                <a:gd name="connsiteY2636" fmla="*/ 10000 h 10000"/>
                <a:gd name="connsiteX2637" fmla="*/ 1332 w 10785"/>
                <a:gd name="connsiteY2637" fmla="*/ 10000 h 10000"/>
                <a:gd name="connsiteX2638" fmla="*/ 1336 w 10785"/>
                <a:gd name="connsiteY2638" fmla="*/ 10000 h 10000"/>
                <a:gd name="connsiteX2639" fmla="*/ 1346 w 10785"/>
                <a:gd name="connsiteY2639" fmla="*/ 9983 h 10000"/>
                <a:gd name="connsiteX2640" fmla="*/ 1350 w 10785"/>
                <a:gd name="connsiteY2640" fmla="*/ 9949 h 10000"/>
                <a:gd name="connsiteX2641" fmla="*/ 1369 w 10785"/>
                <a:gd name="connsiteY2641" fmla="*/ 9940 h 10000"/>
                <a:gd name="connsiteX2642" fmla="*/ 1378 w 10785"/>
                <a:gd name="connsiteY2642" fmla="*/ 9897 h 10000"/>
                <a:gd name="connsiteX2643" fmla="*/ 1369 w 10785"/>
                <a:gd name="connsiteY2643" fmla="*/ 9889 h 10000"/>
                <a:gd name="connsiteX2644" fmla="*/ 1318 w 10785"/>
                <a:gd name="connsiteY2644" fmla="*/ 9701 h 10000"/>
                <a:gd name="connsiteX2645" fmla="*/ 1318 w 10785"/>
                <a:gd name="connsiteY2645" fmla="*/ 9650 h 10000"/>
                <a:gd name="connsiteX2646" fmla="*/ 1323 w 10785"/>
                <a:gd name="connsiteY2646" fmla="*/ 9590 h 10000"/>
                <a:gd name="connsiteX2647" fmla="*/ 1323 w 10785"/>
                <a:gd name="connsiteY2647" fmla="*/ 9564 h 10000"/>
                <a:gd name="connsiteX2648" fmla="*/ 1309 w 10785"/>
                <a:gd name="connsiteY2648" fmla="*/ 9598 h 10000"/>
                <a:gd name="connsiteX2649" fmla="*/ 1309 w 10785"/>
                <a:gd name="connsiteY2649" fmla="*/ 9590 h 10000"/>
                <a:gd name="connsiteX2650" fmla="*/ 1304 w 10785"/>
                <a:gd name="connsiteY2650" fmla="*/ 9547 h 10000"/>
                <a:gd name="connsiteX2651" fmla="*/ 1276 w 10785"/>
                <a:gd name="connsiteY2651" fmla="*/ 9479 h 10000"/>
                <a:gd name="connsiteX2652" fmla="*/ 1263 w 10785"/>
                <a:gd name="connsiteY2652" fmla="*/ 9479 h 10000"/>
                <a:gd name="connsiteX2653" fmla="*/ 1263 w 10785"/>
                <a:gd name="connsiteY2653" fmla="*/ 9453 h 10000"/>
                <a:gd name="connsiteX2654" fmla="*/ 1272 w 10785"/>
                <a:gd name="connsiteY2654" fmla="*/ 9410 h 10000"/>
                <a:gd name="connsiteX2655" fmla="*/ 1272 w 10785"/>
                <a:gd name="connsiteY2655" fmla="*/ 9393 h 10000"/>
                <a:gd name="connsiteX2656" fmla="*/ 1281 w 10785"/>
                <a:gd name="connsiteY2656" fmla="*/ 9368 h 10000"/>
                <a:gd name="connsiteX2657" fmla="*/ 1281 w 10785"/>
                <a:gd name="connsiteY2657" fmla="*/ 9368 h 10000"/>
                <a:gd name="connsiteX2658" fmla="*/ 1290 w 10785"/>
                <a:gd name="connsiteY2658" fmla="*/ 9368 h 10000"/>
                <a:gd name="connsiteX2659" fmla="*/ 1290 w 10785"/>
                <a:gd name="connsiteY2659" fmla="*/ 9342 h 10000"/>
                <a:gd name="connsiteX2660" fmla="*/ 1304 w 10785"/>
                <a:gd name="connsiteY2660" fmla="*/ 9325 h 10000"/>
                <a:gd name="connsiteX2661" fmla="*/ 1309 w 10785"/>
                <a:gd name="connsiteY2661" fmla="*/ 9239 h 10000"/>
                <a:gd name="connsiteX2662" fmla="*/ 1318 w 10785"/>
                <a:gd name="connsiteY2662" fmla="*/ 9256 h 10000"/>
                <a:gd name="connsiteX2663" fmla="*/ 1323 w 10785"/>
                <a:gd name="connsiteY2663" fmla="*/ 9179 h 10000"/>
                <a:gd name="connsiteX2664" fmla="*/ 1309 w 10785"/>
                <a:gd name="connsiteY2664" fmla="*/ 9145 h 10000"/>
                <a:gd name="connsiteX2665" fmla="*/ 1336 w 10785"/>
                <a:gd name="connsiteY2665" fmla="*/ 9154 h 10000"/>
                <a:gd name="connsiteX2666" fmla="*/ 1336 w 10785"/>
                <a:gd name="connsiteY2666" fmla="*/ 9162 h 10000"/>
                <a:gd name="connsiteX2667" fmla="*/ 1350 w 10785"/>
                <a:gd name="connsiteY2667" fmla="*/ 9231 h 10000"/>
                <a:gd name="connsiteX2668" fmla="*/ 1355 w 10785"/>
                <a:gd name="connsiteY2668" fmla="*/ 9231 h 10000"/>
                <a:gd name="connsiteX2669" fmla="*/ 1364 w 10785"/>
                <a:gd name="connsiteY2669" fmla="*/ 9214 h 10000"/>
                <a:gd name="connsiteX2670" fmla="*/ 1369 w 10785"/>
                <a:gd name="connsiteY2670" fmla="*/ 9214 h 10000"/>
                <a:gd name="connsiteX2671" fmla="*/ 1382 w 10785"/>
                <a:gd name="connsiteY2671" fmla="*/ 9154 h 10000"/>
                <a:gd name="connsiteX2672" fmla="*/ 1396 w 10785"/>
                <a:gd name="connsiteY2672" fmla="*/ 9154 h 10000"/>
                <a:gd name="connsiteX2673" fmla="*/ 1382 w 10785"/>
                <a:gd name="connsiteY2673" fmla="*/ 9145 h 10000"/>
                <a:gd name="connsiteX2674" fmla="*/ 1382 w 10785"/>
                <a:gd name="connsiteY2674" fmla="*/ 9128 h 10000"/>
                <a:gd name="connsiteX2675" fmla="*/ 1369 w 10785"/>
                <a:gd name="connsiteY2675" fmla="*/ 9128 h 10000"/>
                <a:gd name="connsiteX2676" fmla="*/ 1364 w 10785"/>
                <a:gd name="connsiteY2676" fmla="*/ 9128 h 10000"/>
                <a:gd name="connsiteX2677" fmla="*/ 1355 w 10785"/>
                <a:gd name="connsiteY2677" fmla="*/ 9120 h 10000"/>
                <a:gd name="connsiteX2678" fmla="*/ 1350 w 10785"/>
                <a:gd name="connsiteY2678" fmla="*/ 9103 h 10000"/>
                <a:gd name="connsiteX2679" fmla="*/ 1355 w 10785"/>
                <a:gd name="connsiteY2679" fmla="*/ 9094 h 10000"/>
                <a:gd name="connsiteX2680" fmla="*/ 1355 w 10785"/>
                <a:gd name="connsiteY2680" fmla="*/ 9068 h 10000"/>
                <a:gd name="connsiteX2681" fmla="*/ 1369 w 10785"/>
                <a:gd name="connsiteY2681" fmla="*/ 9068 h 10000"/>
                <a:gd name="connsiteX2682" fmla="*/ 1378 w 10785"/>
                <a:gd name="connsiteY2682" fmla="*/ 9077 h 10000"/>
                <a:gd name="connsiteX2683" fmla="*/ 1396 w 10785"/>
                <a:gd name="connsiteY2683" fmla="*/ 9068 h 10000"/>
                <a:gd name="connsiteX2684" fmla="*/ 1382 w 10785"/>
                <a:gd name="connsiteY2684" fmla="*/ 8940 h 10000"/>
                <a:gd name="connsiteX2685" fmla="*/ 1378 w 10785"/>
                <a:gd name="connsiteY2685" fmla="*/ 8940 h 10000"/>
                <a:gd name="connsiteX2686" fmla="*/ 1364 w 10785"/>
                <a:gd name="connsiteY2686" fmla="*/ 8889 h 10000"/>
                <a:gd name="connsiteX2687" fmla="*/ 1355 w 10785"/>
                <a:gd name="connsiteY2687" fmla="*/ 8880 h 10000"/>
                <a:gd name="connsiteX2688" fmla="*/ 1323 w 10785"/>
                <a:gd name="connsiteY2688" fmla="*/ 8880 h 10000"/>
                <a:gd name="connsiteX2689" fmla="*/ 1309 w 10785"/>
                <a:gd name="connsiteY2689" fmla="*/ 8880 h 10000"/>
                <a:gd name="connsiteX2690" fmla="*/ 1309 w 10785"/>
                <a:gd name="connsiteY2690" fmla="*/ 8889 h 10000"/>
                <a:gd name="connsiteX2691" fmla="*/ 1295 w 10785"/>
                <a:gd name="connsiteY2691" fmla="*/ 8872 h 10000"/>
                <a:gd name="connsiteX2692" fmla="*/ 1290 w 10785"/>
                <a:gd name="connsiteY2692" fmla="*/ 8855 h 10000"/>
                <a:gd name="connsiteX2693" fmla="*/ 1290 w 10785"/>
                <a:gd name="connsiteY2693" fmla="*/ 8829 h 10000"/>
                <a:gd name="connsiteX2694" fmla="*/ 1290 w 10785"/>
                <a:gd name="connsiteY2694" fmla="*/ 8821 h 10000"/>
                <a:gd name="connsiteX2695" fmla="*/ 1290 w 10785"/>
                <a:gd name="connsiteY2695" fmla="*/ 8803 h 10000"/>
                <a:gd name="connsiteX2696" fmla="*/ 1281 w 10785"/>
                <a:gd name="connsiteY2696" fmla="*/ 8795 h 10000"/>
                <a:gd name="connsiteX2697" fmla="*/ 1249 w 10785"/>
                <a:gd name="connsiteY2697" fmla="*/ 8769 h 10000"/>
                <a:gd name="connsiteX2698" fmla="*/ 1263 w 10785"/>
                <a:gd name="connsiteY2698" fmla="*/ 8667 h 10000"/>
                <a:gd name="connsiteX2699" fmla="*/ 1281 w 10785"/>
                <a:gd name="connsiteY2699" fmla="*/ 8658 h 10000"/>
                <a:gd name="connsiteX2700" fmla="*/ 1290 w 10785"/>
                <a:gd name="connsiteY2700" fmla="*/ 8632 h 10000"/>
                <a:gd name="connsiteX2701" fmla="*/ 1281 w 10785"/>
                <a:gd name="connsiteY2701" fmla="*/ 8615 h 10000"/>
                <a:gd name="connsiteX2702" fmla="*/ 1272 w 10785"/>
                <a:gd name="connsiteY2702" fmla="*/ 8598 h 10000"/>
                <a:gd name="connsiteX2703" fmla="*/ 1281 w 10785"/>
                <a:gd name="connsiteY2703" fmla="*/ 8496 h 10000"/>
                <a:gd name="connsiteX2704" fmla="*/ 1295 w 10785"/>
                <a:gd name="connsiteY2704" fmla="*/ 8470 h 10000"/>
                <a:gd name="connsiteX2705" fmla="*/ 1304 w 10785"/>
                <a:gd name="connsiteY2705" fmla="*/ 8462 h 10000"/>
                <a:gd name="connsiteX2706" fmla="*/ 1304 w 10785"/>
                <a:gd name="connsiteY2706" fmla="*/ 8444 h 10000"/>
                <a:gd name="connsiteX2707" fmla="*/ 1304 w 10785"/>
                <a:gd name="connsiteY2707" fmla="*/ 8419 h 10000"/>
                <a:gd name="connsiteX2708" fmla="*/ 1304 w 10785"/>
                <a:gd name="connsiteY2708" fmla="*/ 8410 h 10000"/>
                <a:gd name="connsiteX2709" fmla="*/ 1309 w 10785"/>
                <a:gd name="connsiteY2709" fmla="*/ 8393 h 10000"/>
                <a:gd name="connsiteX2710" fmla="*/ 1318 w 10785"/>
                <a:gd name="connsiteY2710" fmla="*/ 8385 h 10000"/>
                <a:gd name="connsiteX2711" fmla="*/ 1323 w 10785"/>
                <a:gd name="connsiteY2711" fmla="*/ 8385 h 10000"/>
                <a:gd name="connsiteX2712" fmla="*/ 1332 w 10785"/>
                <a:gd name="connsiteY2712" fmla="*/ 8410 h 10000"/>
                <a:gd name="connsiteX2713" fmla="*/ 1346 w 10785"/>
                <a:gd name="connsiteY2713" fmla="*/ 8419 h 10000"/>
                <a:gd name="connsiteX2714" fmla="*/ 1364 w 10785"/>
                <a:gd name="connsiteY2714" fmla="*/ 8504 h 10000"/>
                <a:gd name="connsiteX2715" fmla="*/ 1369 w 10785"/>
                <a:gd name="connsiteY2715" fmla="*/ 8521 h 10000"/>
                <a:gd name="connsiteX2716" fmla="*/ 1406 w 10785"/>
                <a:gd name="connsiteY2716" fmla="*/ 8470 h 10000"/>
                <a:gd name="connsiteX2717" fmla="*/ 1382 w 10785"/>
                <a:gd name="connsiteY2717" fmla="*/ 8359 h 10000"/>
                <a:gd name="connsiteX2718" fmla="*/ 1392 w 10785"/>
                <a:gd name="connsiteY2718" fmla="*/ 8359 h 10000"/>
                <a:gd name="connsiteX2719" fmla="*/ 1438 w 10785"/>
                <a:gd name="connsiteY2719" fmla="*/ 8308 h 10000"/>
                <a:gd name="connsiteX2720" fmla="*/ 1442 w 10785"/>
                <a:gd name="connsiteY2720" fmla="*/ 8299 h 10000"/>
                <a:gd name="connsiteX2721" fmla="*/ 1442 w 10785"/>
                <a:gd name="connsiteY2721" fmla="*/ 8256 h 10000"/>
                <a:gd name="connsiteX2722" fmla="*/ 1452 w 10785"/>
                <a:gd name="connsiteY2722" fmla="*/ 8256 h 10000"/>
                <a:gd name="connsiteX2723" fmla="*/ 1456 w 10785"/>
                <a:gd name="connsiteY2723" fmla="*/ 8256 h 10000"/>
                <a:gd name="connsiteX2724" fmla="*/ 1470 w 10785"/>
                <a:gd name="connsiteY2724" fmla="*/ 8248 h 10000"/>
                <a:gd name="connsiteX2725" fmla="*/ 1479 w 10785"/>
                <a:gd name="connsiteY2725" fmla="*/ 8231 h 10000"/>
                <a:gd name="connsiteX2726" fmla="*/ 1493 w 10785"/>
                <a:gd name="connsiteY2726" fmla="*/ 8222 h 10000"/>
                <a:gd name="connsiteX2727" fmla="*/ 1498 w 10785"/>
                <a:gd name="connsiteY2727" fmla="*/ 8214 h 10000"/>
                <a:gd name="connsiteX2728" fmla="*/ 1502 w 10785"/>
                <a:gd name="connsiteY2728" fmla="*/ 8197 h 10000"/>
                <a:gd name="connsiteX2729" fmla="*/ 1512 w 10785"/>
                <a:gd name="connsiteY2729" fmla="*/ 8188 h 10000"/>
                <a:gd name="connsiteX2730" fmla="*/ 1516 w 10785"/>
                <a:gd name="connsiteY2730" fmla="*/ 8171 h 10000"/>
                <a:gd name="connsiteX2731" fmla="*/ 1525 w 10785"/>
                <a:gd name="connsiteY2731" fmla="*/ 8162 h 10000"/>
                <a:gd name="connsiteX2732" fmla="*/ 1539 w 10785"/>
                <a:gd name="connsiteY2732" fmla="*/ 8145 h 10000"/>
                <a:gd name="connsiteX2733" fmla="*/ 1558 w 10785"/>
                <a:gd name="connsiteY2733" fmla="*/ 8145 h 10000"/>
                <a:gd name="connsiteX2734" fmla="*/ 1562 w 10785"/>
                <a:gd name="connsiteY2734" fmla="*/ 8188 h 10000"/>
                <a:gd name="connsiteX2735" fmla="*/ 1585 w 10785"/>
                <a:gd name="connsiteY2735" fmla="*/ 8171 h 10000"/>
                <a:gd name="connsiteX2736" fmla="*/ 1590 w 10785"/>
                <a:gd name="connsiteY2736" fmla="*/ 8188 h 10000"/>
                <a:gd name="connsiteX2737" fmla="*/ 1599 w 10785"/>
                <a:gd name="connsiteY2737" fmla="*/ 8171 h 10000"/>
                <a:gd name="connsiteX2738" fmla="*/ 1599 w 10785"/>
                <a:gd name="connsiteY2738" fmla="*/ 8162 h 10000"/>
                <a:gd name="connsiteX2739" fmla="*/ 1604 w 10785"/>
                <a:gd name="connsiteY2739" fmla="*/ 8137 h 10000"/>
                <a:gd name="connsiteX2740" fmla="*/ 1618 w 10785"/>
                <a:gd name="connsiteY2740" fmla="*/ 8145 h 10000"/>
                <a:gd name="connsiteX2741" fmla="*/ 1627 w 10785"/>
                <a:gd name="connsiteY2741" fmla="*/ 8137 h 10000"/>
                <a:gd name="connsiteX2742" fmla="*/ 1631 w 10785"/>
                <a:gd name="connsiteY2742" fmla="*/ 8137 h 10000"/>
                <a:gd name="connsiteX2743" fmla="*/ 1636 w 10785"/>
                <a:gd name="connsiteY2743" fmla="*/ 8171 h 10000"/>
                <a:gd name="connsiteX2744" fmla="*/ 1645 w 10785"/>
                <a:gd name="connsiteY2744" fmla="*/ 8188 h 10000"/>
                <a:gd name="connsiteX2745" fmla="*/ 1664 w 10785"/>
                <a:gd name="connsiteY2745" fmla="*/ 8171 h 10000"/>
                <a:gd name="connsiteX2746" fmla="*/ 1673 w 10785"/>
                <a:gd name="connsiteY2746" fmla="*/ 8188 h 10000"/>
                <a:gd name="connsiteX2747" fmla="*/ 1691 w 10785"/>
                <a:gd name="connsiteY2747" fmla="*/ 8171 h 10000"/>
                <a:gd name="connsiteX2748" fmla="*/ 1705 w 10785"/>
                <a:gd name="connsiteY2748" fmla="*/ 8171 h 10000"/>
                <a:gd name="connsiteX2749" fmla="*/ 1719 w 10785"/>
                <a:gd name="connsiteY2749" fmla="*/ 8197 h 10000"/>
                <a:gd name="connsiteX2750" fmla="*/ 1724 w 10785"/>
                <a:gd name="connsiteY2750" fmla="*/ 8231 h 10000"/>
                <a:gd name="connsiteX2751" fmla="*/ 1751 w 10785"/>
                <a:gd name="connsiteY2751" fmla="*/ 8256 h 10000"/>
                <a:gd name="connsiteX2752" fmla="*/ 1751 w 10785"/>
                <a:gd name="connsiteY2752" fmla="*/ 8274 h 10000"/>
                <a:gd name="connsiteX2753" fmla="*/ 1760 w 10785"/>
                <a:gd name="connsiteY2753" fmla="*/ 8282 h 10000"/>
                <a:gd name="connsiteX2754" fmla="*/ 1770 w 10785"/>
                <a:gd name="connsiteY2754" fmla="*/ 8325 h 10000"/>
                <a:gd name="connsiteX2755" fmla="*/ 1770 w 10785"/>
                <a:gd name="connsiteY2755" fmla="*/ 8350 h 10000"/>
                <a:gd name="connsiteX2756" fmla="*/ 1779 w 10785"/>
                <a:gd name="connsiteY2756" fmla="*/ 8368 h 10000"/>
                <a:gd name="connsiteX2757" fmla="*/ 1783 w 10785"/>
                <a:gd name="connsiteY2757" fmla="*/ 8359 h 10000"/>
                <a:gd name="connsiteX2758" fmla="*/ 1783 w 10785"/>
                <a:gd name="connsiteY2758" fmla="*/ 8308 h 10000"/>
                <a:gd name="connsiteX2759" fmla="*/ 1779 w 10785"/>
                <a:gd name="connsiteY2759" fmla="*/ 8299 h 10000"/>
                <a:gd name="connsiteX2760" fmla="*/ 1783 w 10785"/>
                <a:gd name="connsiteY2760" fmla="*/ 8282 h 10000"/>
                <a:gd name="connsiteX2761" fmla="*/ 1797 w 10785"/>
                <a:gd name="connsiteY2761" fmla="*/ 8274 h 10000"/>
                <a:gd name="connsiteX2762" fmla="*/ 1797 w 10785"/>
                <a:gd name="connsiteY2762" fmla="*/ 8299 h 10000"/>
                <a:gd name="connsiteX2763" fmla="*/ 1806 w 10785"/>
                <a:gd name="connsiteY2763" fmla="*/ 8308 h 10000"/>
                <a:gd name="connsiteX2764" fmla="*/ 1811 w 10785"/>
                <a:gd name="connsiteY2764" fmla="*/ 8325 h 10000"/>
                <a:gd name="connsiteX2765" fmla="*/ 1820 w 10785"/>
                <a:gd name="connsiteY2765" fmla="*/ 8333 h 10000"/>
                <a:gd name="connsiteX2766" fmla="*/ 1853 w 10785"/>
                <a:gd name="connsiteY2766" fmla="*/ 8359 h 10000"/>
                <a:gd name="connsiteX2767" fmla="*/ 1866 w 10785"/>
                <a:gd name="connsiteY2767" fmla="*/ 8359 h 10000"/>
                <a:gd name="connsiteX2768" fmla="*/ 1885 w 10785"/>
                <a:gd name="connsiteY2768" fmla="*/ 8325 h 10000"/>
                <a:gd name="connsiteX2769" fmla="*/ 1885 w 10785"/>
                <a:gd name="connsiteY2769" fmla="*/ 8308 h 10000"/>
                <a:gd name="connsiteX2770" fmla="*/ 1894 w 10785"/>
                <a:gd name="connsiteY2770" fmla="*/ 8299 h 10000"/>
                <a:gd name="connsiteX2771" fmla="*/ 1899 w 10785"/>
                <a:gd name="connsiteY2771" fmla="*/ 8282 h 10000"/>
                <a:gd name="connsiteX2772" fmla="*/ 1912 w 10785"/>
                <a:gd name="connsiteY2772" fmla="*/ 8282 h 10000"/>
                <a:gd name="connsiteX2773" fmla="*/ 1917 w 10785"/>
                <a:gd name="connsiteY2773" fmla="*/ 8299 h 10000"/>
                <a:gd name="connsiteX2774" fmla="*/ 1917 w 10785"/>
                <a:gd name="connsiteY2774" fmla="*/ 8274 h 10000"/>
                <a:gd name="connsiteX2775" fmla="*/ 1940 w 10785"/>
                <a:gd name="connsiteY2775" fmla="*/ 8282 h 10000"/>
                <a:gd name="connsiteX2776" fmla="*/ 1945 w 10785"/>
                <a:gd name="connsiteY2776" fmla="*/ 8274 h 10000"/>
                <a:gd name="connsiteX2777" fmla="*/ 1972 w 10785"/>
                <a:gd name="connsiteY2777" fmla="*/ 8308 h 10000"/>
                <a:gd name="connsiteX2778" fmla="*/ 1986 w 10785"/>
                <a:gd name="connsiteY2778" fmla="*/ 8282 h 10000"/>
                <a:gd name="connsiteX2779" fmla="*/ 1991 w 10785"/>
                <a:gd name="connsiteY2779" fmla="*/ 8274 h 10000"/>
                <a:gd name="connsiteX2780" fmla="*/ 2014 w 10785"/>
                <a:gd name="connsiteY2780" fmla="*/ 8274 h 10000"/>
                <a:gd name="connsiteX2781" fmla="*/ 2018 w 10785"/>
                <a:gd name="connsiteY2781" fmla="*/ 8256 h 10000"/>
                <a:gd name="connsiteX2782" fmla="*/ 2041 w 10785"/>
                <a:gd name="connsiteY2782" fmla="*/ 8274 h 10000"/>
                <a:gd name="connsiteX2783" fmla="*/ 2046 w 10785"/>
                <a:gd name="connsiteY2783" fmla="*/ 8282 h 10000"/>
                <a:gd name="connsiteX2784" fmla="*/ 2046 w 10785"/>
                <a:gd name="connsiteY2784" fmla="*/ 8325 h 10000"/>
                <a:gd name="connsiteX2785" fmla="*/ 2060 w 10785"/>
                <a:gd name="connsiteY2785" fmla="*/ 8350 h 10000"/>
                <a:gd name="connsiteX2786" fmla="*/ 2078 w 10785"/>
                <a:gd name="connsiteY2786" fmla="*/ 8350 h 10000"/>
                <a:gd name="connsiteX2787" fmla="*/ 2092 w 10785"/>
                <a:gd name="connsiteY2787" fmla="*/ 8350 h 10000"/>
                <a:gd name="connsiteX2788" fmla="*/ 2092 w 10785"/>
                <a:gd name="connsiteY2788" fmla="*/ 8350 h 10000"/>
                <a:gd name="connsiteX2789" fmla="*/ 2101 w 10785"/>
                <a:gd name="connsiteY2789" fmla="*/ 8368 h 10000"/>
                <a:gd name="connsiteX2790" fmla="*/ 2120 w 10785"/>
                <a:gd name="connsiteY2790" fmla="*/ 8368 h 10000"/>
                <a:gd name="connsiteX2791" fmla="*/ 2124 w 10785"/>
                <a:gd name="connsiteY2791" fmla="*/ 8359 h 10000"/>
                <a:gd name="connsiteX2792" fmla="*/ 2138 w 10785"/>
                <a:gd name="connsiteY2792" fmla="*/ 8325 h 10000"/>
                <a:gd name="connsiteX2793" fmla="*/ 2147 w 10785"/>
                <a:gd name="connsiteY2793" fmla="*/ 8325 h 10000"/>
                <a:gd name="connsiteX2794" fmla="*/ 2161 w 10785"/>
                <a:gd name="connsiteY2794" fmla="*/ 8350 h 10000"/>
                <a:gd name="connsiteX2795" fmla="*/ 2198 w 10785"/>
                <a:gd name="connsiteY2795" fmla="*/ 8350 h 10000"/>
                <a:gd name="connsiteX2796" fmla="*/ 2207 w 10785"/>
                <a:gd name="connsiteY2796" fmla="*/ 8333 h 10000"/>
                <a:gd name="connsiteX2797" fmla="*/ 2226 w 10785"/>
                <a:gd name="connsiteY2797" fmla="*/ 8325 h 10000"/>
                <a:gd name="connsiteX2798" fmla="*/ 2249 w 10785"/>
                <a:gd name="connsiteY2798" fmla="*/ 8222 h 10000"/>
                <a:gd name="connsiteX2799" fmla="*/ 2235 w 10785"/>
                <a:gd name="connsiteY2799" fmla="*/ 8197 h 10000"/>
                <a:gd name="connsiteX2800" fmla="*/ 2198 w 10785"/>
                <a:gd name="connsiteY2800" fmla="*/ 8197 h 10000"/>
                <a:gd name="connsiteX2801" fmla="*/ 2189 w 10785"/>
                <a:gd name="connsiteY2801" fmla="*/ 8171 h 10000"/>
                <a:gd name="connsiteX2802" fmla="*/ 2161 w 10785"/>
                <a:gd name="connsiteY2802" fmla="*/ 8145 h 10000"/>
                <a:gd name="connsiteX2803" fmla="*/ 2161 w 10785"/>
                <a:gd name="connsiteY2803" fmla="*/ 8137 h 10000"/>
                <a:gd name="connsiteX2804" fmla="*/ 2152 w 10785"/>
                <a:gd name="connsiteY2804" fmla="*/ 8120 h 10000"/>
                <a:gd name="connsiteX2805" fmla="*/ 2138 w 10785"/>
                <a:gd name="connsiteY2805" fmla="*/ 8111 h 10000"/>
                <a:gd name="connsiteX2806" fmla="*/ 2138 w 10785"/>
                <a:gd name="connsiteY2806" fmla="*/ 8094 h 10000"/>
                <a:gd name="connsiteX2807" fmla="*/ 2147 w 10785"/>
                <a:gd name="connsiteY2807" fmla="*/ 8085 h 10000"/>
                <a:gd name="connsiteX2808" fmla="*/ 2161 w 10785"/>
                <a:gd name="connsiteY2808" fmla="*/ 8060 h 10000"/>
                <a:gd name="connsiteX2809" fmla="*/ 2198 w 10785"/>
                <a:gd name="connsiteY2809" fmla="*/ 8034 h 10000"/>
                <a:gd name="connsiteX2810" fmla="*/ 2198 w 10785"/>
                <a:gd name="connsiteY2810" fmla="*/ 8026 h 10000"/>
                <a:gd name="connsiteX2811" fmla="*/ 2198 w 10785"/>
                <a:gd name="connsiteY2811" fmla="*/ 8000 h 10000"/>
                <a:gd name="connsiteX2812" fmla="*/ 2180 w 10785"/>
                <a:gd name="connsiteY2812" fmla="*/ 7940 h 10000"/>
                <a:gd name="connsiteX2813" fmla="*/ 2189 w 10785"/>
                <a:gd name="connsiteY2813" fmla="*/ 7940 h 10000"/>
                <a:gd name="connsiteX2814" fmla="*/ 2198 w 10785"/>
                <a:gd name="connsiteY2814" fmla="*/ 7923 h 10000"/>
                <a:gd name="connsiteX2815" fmla="*/ 2198 w 10785"/>
                <a:gd name="connsiteY2815" fmla="*/ 7897 h 10000"/>
                <a:gd name="connsiteX2816" fmla="*/ 2207 w 10785"/>
                <a:gd name="connsiteY2816" fmla="*/ 7889 h 10000"/>
                <a:gd name="connsiteX2817" fmla="*/ 2221 w 10785"/>
                <a:gd name="connsiteY2817" fmla="*/ 7889 h 10000"/>
                <a:gd name="connsiteX2818" fmla="*/ 2226 w 10785"/>
                <a:gd name="connsiteY2818" fmla="*/ 7897 h 10000"/>
                <a:gd name="connsiteX2819" fmla="*/ 2235 w 10785"/>
                <a:gd name="connsiteY2819" fmla="*/ 7889 h 10000"/>
                <a:gd name="connsiteX2820" fmla="*/ 2249 w 10785"/>
                <a:gd name="connsiteY2820" fmla="*/ 7897 h 10000"/>
                <a:gd name="connsiteX2821" fmla="*/ 2267 w 10785"/>
                <a:gd name="connsiteY2821" fmla="*/ 7897 h 10000"/>
                <a:gd name="connsiteX2822" fmla="*/ 2272 w 10785"/>
                <a:gd name="connsiteY2822" fmla="*/ 7889 h 10000"/>
                <a:gd name="connsiteX2823" fmla="*/ 2281 w 10785"/>
                <a:gd name="connsiteY2823" fmla="*/ 7872 h 10000"/>
                <a:gd name="connsiteX2824" fmla="*/ 2272 w 10785"/>
                <a:gd name="connsiteY2824" fmla="*/ 7846 h 10000"/>
                <a:gd name="connsiteX2825" fmla="*/ 2253 w 10785"/>
                <a:gd name="connsiteY2825" fmla="*/ 7838 h 10000"/>
                <a:gd name="connsiteX2826" fmla="*/ 2221 w 10785"/>
                <a:gd name="connsiteY2826" fmla="*/ 7821 h 10000"/>
                <a:gd name="connsiteX2827" fmla="*/ 2212 w 10785"/>
                <a:gd name="connsiteY2827" fmla="*/ 7812 h 10000"/>
                <a:gd name="connsiteX2828" fmla="*/ 2212 w 10785"/>
                <a:gd name="connsiteY2828" fmla="*/ 7803 h 10000"/>
                <a:gd name="connsiteX2829" fmla="*/ 2221 w 10785"/>
                <a:gd name="connsiteY2829" fmla="*/ 7803 h 10000"/>
                <a:gd name="connsiteX2830" fmla="*/ 2235 w 10785"/>
                <a:gd name="connsiteY2830" fmla="*/ 7786 h 10000"/>
                <a:gd name="connsiteX2831" fmla="*/ 2240 w 10785"/>
                <a:gd name="connsiteY2831" fmla="*/ 7778 h 10000"/>
                <a:gd name="connsiteX2832" fmla="*/ 2226 w 10785"/>
                <a:gd name="connsiteY2832" fmla="*/ 7761 h 10000"/>
                <a:gd name="connsiteX2833" fmla="*/ 2221 w 10785"/>
                <a:gd name="connsiteY2833" fmla="*/ 7778 h 10000"/>
                <a:gd name="connsiteX2834" fmla="*/ 2198 w 10785"/>
                <a:gd name="connsiteY2834" fmla="*/ 7778 h 10000"/>
                <a:gd name="connsiteX2835" fmla="*/ 2198 w 10785"/>
                <a:gd name="connsiteY2835" fmla="*/ 7752 h 10000"/>
                <a:gd name="connsiteX2836" fmla="*/ 2207 w 10785"/>
                <a:gd name="connsiteY2836" fmla="*/ 7735 h 10000"/>
                <a:gd name="connsiteX2837" fmla="*/ 2212 w 10785"/>
                <a:gd name="connsiteY2837" fmla="*/ 7726 h 10000"/>
                <a:gd name="connsiteX2838" fmla="*/ 2198 w 10785"/>
                <a:gd name="connsiteY2838" fmla="*/ 7692 h 10000"/>
                <a:gd name="connsiteX2839" fmla="*/ 2221 w 10785"/>
                <a:gd name="connsiteY2839" fmla="*/ 7692 h 10000"/>
                <a:gd name="connsiteX2840" fmla="*/ 2221 w 10785"/>
                <a:gd name="connsiteY2840" fmla="*/ 7675 h 10000"/>
                <a:gd name="connsiteX2841" fmla="*/ 2235 w 10785"/>
                <a:gd name="connsiteY2841" fmla="*/ 7675 h 10000"/>
                <a:gd name="connsiteX2842" fmla="*/ 2240 w 10785"/>
                <a:gd name="connsiteY2842" fmla="*/ 7692 h 10000"/>
                <a:gd name="connsiteX2843" fmla="*/ 2249 w 10785"/>
                <a:gd name="connsiteY2843" fmla="*/ 7692 h 10000"/>
                <a:gd name="connsiteX2844" fmla="*/ 2258 w 10785"/>
                <a:gd name="connsiteY2844" fmla="*/ 7692 h 10000"/>
                <a:gd name="connsiteX2845" fmla="*/ 2267 w 10785"/>
                <a:gd name="connsiteY2845" fmla="*/ 7692 h 10000"/>
                <a:gd name="connsiteX2846" fmla="*/ 2295 w 10785"/>
                <a:gd name="connsiteY2846" fmla="*/ 7692 h 10000"/>
                <a:gd name="connsiteX2847" fmla="*/ 2300 w 10785"/>
                <a:gd name="connsiteY2847" fmla="*/ 7701 h 10000"/>
                <a:gd name="connsiteX2848" fmla="*/ 2313 w 10785"/>
                <a:gd name="connsiteY2848" fmla="*/ 7675 h 10000"/>
                <a:gd name="connsiteX2849" fmla="*/ 2323 w 10785"/>
                <a:gd name="connsiteY2849" fmla="*/ 7675 h 10000"/>
                <a:gd name="connsiteX2850" fmla="*/ 2341 w 10785"/>
                <a:gd name="connsiteY2850" fmla="*/ 7675 h 10000"/>
                <a:gd name="connsiteX2851" fmla="*/ 2346 w 10785"/>
                <a:gd name="connsiteY2851" fmla="*/ 7667 h 10000"/>
                <a:gd name="connsiteX2852" fmla="*/ 2359 w 10785"/>
                <a:gd name="connsiteY2852" fmla="*/ 7650 h 10000"/>
                <a:gd name="connsiteX2853" fmla="*/ 2373 w 10785"/>
                <a:gd name="connsiteY2853" fmla="*/ 7624 h 10000"/>
                <a:gd name="connsiteX2854" fmla="*/ 2382 w 10785"/>
                <a:gd name="connsiteY2854" fmla="*/ 7641 h 10000"/>
                <a:gd name="connsiteX2855" fmla="*/ 2396 w 10785"/>
                <a:gd name="connsiteY2855" fmla="*/ 7650 h 10000"/>
                <a:gd name="connsiteX2856" fmla="*/ 2401 w 10785"/>
                <a:gd name="connsiteY2856" fmla="*/ 7650 h 10000"/>
                <a:gd name="connsiteX2857" fmla="*/ 2401 w 10785"/>
                <a:gd name="connsiteY2857" fmla="*/ 7624 h 10000"/>
                <a:gd name="connsiteX2858" fmla="*/ 2419 w 10785"/>
                <a:gd name="connsiteY2858" fmla="*/ 7624 h 10000"/>
                <a:gd name="connsiteX2859" fmla="*/ 2433 w 10785"/>
                <a:gd name="connsiteY2859" fmla="*/ 7615 h 10000"/>
                <a:gd name="connsiteX2860" fmla="*/ 2442 w 10785"/>
                <a:gd name="connsiteY2860" fmla="*/ 7615 h 10000"/>
                <a:gd name="connsiteX2861" fmla="*/ 2447 w 10785"/>
                <a:gd name="connsiteY2861" fmla="*/ 7598 h 10000"/>
                <a:gd name="connsiteX2862" fmla="*/ 2461 w 10785"/>
                <a:gd name="connsiteY2862" fmla="*/ 7598 h 10000"/>
                <a:gd name="connsiteX2863" fmla="*/ 2465 w 10785"/>
                <a:gd name="connsiteY2863" fmla="*/ 7615 h 10000"/>
                <a:gd name="connsiteX2864" fmla="*/ 2479 w 10785"/>
                <a:gd name="connsiteY2864" fmla="*/ 7564 h 10000"/>
                <a:gd name="connsiteX2865" fmla="*/ 2488 w 10785"/>
                <a:gd name="connsiteY2865" fmla="*/ 7556 h 10000"/>
                <a:gd name="connsiteX2866" fmla="*/ 2493 w 10785"/>
                <a:gd name="connsiteY2866" fmla="*/ 7556 h 10000"/>
                <a:gd name="connsiteX2867" fmla="*/ 2507 w 10785"/>
                <a:gd name="connsiteY2867" fmla="*/ 7556 h 10000"/>
                <a:gd name="connsiteX2868" fmla="*/ 2530 w 10785"/>
                <a:gd name="connsiteY2868" fmla="*/ 7538 h 10000"/>
                <a:gd name="connsiteX2869" fmla="*/ 2530 w 10785"/>
                <a:gd name="connsiteY2869" fmla="*/ 7556 h 10000"/>
                <a:gd name="connsiteX2870" fmla="*/ 2641 w 10785"/>
                <a:gd name="connsiteY2870" fmla="*/ 7504 h 10000"/>
                <a:gd name="connsiteX2871" fmla="*/ 2654 w 10785"/>
                <a:gd name="connsiteY2871" fmla="*/ 7487 h 10000"/>
                <a:gd name="connsiteX2872" fmla="*/ 2664 w 10785"/>
                <a:gd name="connsiteY2872" fmla="*/ 7487 h 10000"/>
                <a:gd name="connsiteX2873" fmla="*/ 2668 w 10785"/>
                <a:gd name="connsiteY2873" fmla="*/ 7479 h 10000"/>
                <a:gd name="connsiteX2874" fmla="*/ 2673 w 10785"/>
                <a:gd name="connsiteY2874" fmla="*/ 7462 h 10000"/>
                <a:gd name="connsiteX2875" fmla="*/ 2673 w 10785"/>
                <a:gd name="connsiteY2875" fmla="*/ 7427 h 10000"/>
                <a:gd name="connsiteX2876" fmla="*/ 2687 w 10785"/>
                <a:gd name="connsiteY2876" fmla="*/ 7436 h 10000"/>
                <a:gd name="connsiteX2877" fmla="*/ 2696 w 10785"/>
                <a:gd name="connsiteY2877" fmla="*/ 7427 h 10000"/>
                <a:gd name="connsiteX2878" fmla="*/ 2700 w 10785"/>
                <a:gd name="connsiteY2878" fmla="*/ 7419 h 10000"/>
                <a:gd name="connsiteX2879" fmla="*/ 2710 w 10785"/>
                <a:gd name="connsiteY2879" fmla="*/ 7402 h 10000"/>
                <a:gd name="connsiteX2880" fmla="*/ 2724 w 10785"/>
                <a:gd name="connsiteY2880" fmla="*/ 7402 h 10000"/>
                <a:gd name="connsiteX2881" fmla="*/ 2724 w 10785"/>
                <a:gd name="connsiteY2881" fmla="*/ 7393 h 10000"/>
                <a:gd name="connsiteX2882" fmla="*/ 2737 w 10785"/>
                <a:gd name="connsiteY2882" fmla="*/ 7393 h 10000"/>
                <a:gd name="connsiteX2883" fmla="*/ 2742 w 10785"/>
                <a:gd name="connsiteY2883" fmla="*/ 7402 h 10000"/>
                <a:gd name="connsiteX2884" fmla="*/ 2747 w 10785"/>
                <a:gd name="connsiteY2884" fmla="*/ 7402 h 10000"/>
                <a:gd name="connsiteX2885" fmla="*/ 2760 w 10785"/>
                <a:gd name="connsiteY2885" fmla="*/ 7402 h 10000"/>
                <a:gd name="connsiteX2886" fmla="*/ 2770 w 10785"/>
                <a:gd name="connsiteY2886" fmla="*/ 7402 h 10000"/>
                <a:gd name="connsiteX2887" fmla="*/ 2774 w 10785"/>
                <a:gd name="connsiteY2887" fmla="*/ 7402 h 10000"/>
                <a:gd name="connsiteX2888" fmla="*/ 2783 w 10785"/>
                <a:gd name="connsiteY2888" fmla="*/ 7419 h 10000"/>
                <a:gd name="connsiteX2889" fmla="*/ 2802 w 10785"/>
                <a:gd name="connsiteY2889" fmla="*/ 7436 h 10000"/>
                <a:gd name="connsiteX2890" fmla="*/ 2816 w 10785"/>
                <a:gd name="connsiteY2890" fmla="*/ 7419 h 10000"/>
                <a:gd name="connsiteX2891" fmla="*/ 2834 w 10785"/>
                <a:gd name="connsiteY2891" fmla="*/ 7419 h 10000"/>
                <a:gd name="connsiteX2892" fmla="*/ 2843 w 10785"/>
                <a:gd name="connsiteY2892" fmla="*/ 7419 h 10000"/>
                <a:gd name="connsiteX2893" fmla="*/ 2848 w 10785"/>
                <a:gd name="connsiteY2893" fmla="*/ 7436 h 10000"/>
                <a:gd name="connsiteX2894" fmla="*/ 2857 w 10785"/>
                <a:gd name="connsiteY2894" fmla="*/ 7453 h 10000"/>
                <a:gd name="connsiteX2895" fmla="*/ 2857 w 10785"/>
                <a:gd name="connsiteY2895" fmla="*/ 7504 h 10000"/>
                <a:gd name="connsiteX2896" fmla="*/ 2862 w 10785"/>
                <a:gd name="connsiteY2896" fmla="*/ 7530 h 10000"/>
                <a:gd name="connsiteX2897" fmla="*/ 2876 w 10785"/>
                <a:gd name="connsiteY2897" fmla="*/ 7538 h 10000"/>
                <a:gd name="connsiteX2898" fmla="*/ 2871 w 10785"/>
                <a:gd name="connsiteY2898" fmla="*/ 7564 h 10000"/>
                <a:gd name="connsiteX2899" fmla="*/ 2871 w 10785"/>
                <a:gd name="connsiteY2899" fmla="*/ 7598 h 10000"/>
                <a:gd name="connsiteX2900" fmla="*/ 2857 w 10785"/>
                <a:gd name="connsiteY2900" fmla="*/ 7624 h 10000"/>
                <a:gd name="connsiteX2901" fmla="*/ 2862 w 10785"/>
                <a:gd name="connsiteY2901" fmla="*/ 7641 h 10000"/>
                <a:gd name="connsiteX2902" fmla="*/ 2871 w 10785"/>
                <a:gd name="connsiteY2902" fmla="*/ 7667 h 10000"/>
                <a:gd name="connsiteX2903" fmla="*/ 2880 w 10785"/>
                <a:gd name="connsiteY2903" fmla="*/ 7650 h 10000"/>
                <a:gd name="connsiteX2904" fmla="*/ 2894 w 10785"/>
                <a:gd name="connsiteY2904" fmla="*/ 7667 h 10000"/>
                <a:gd name="connsiteX2905" fmla="*/ 2903 w 10785"/>
                <a:gd name="connsiteY2905" fmla="*/ 7667 h 10000"/>
                <a:gd name="connsiteX2906" fmla="*/ 2908 w 10785"/>
                <a:gd name="connsiteY2906" fmla="*/ 7641 h 10000"/>
                <a:gd name="connsiteX2907" fmla="*/ 2917 w 10785"/>
                <a:gd name="connsiteY2907" fmla="*/ 7641 h 10000"/>
                <a:gd name="connsiteX2908" fmla="*/ 2922 w 10785"/>
                <a:gd name="connsiteY2908" fmla="*/ 7641 h 10000"/>
                <a:gd name="connsiteX2909" fmla="*/ 2931 w 10785"/>
                <a:gd name="connsiteY2909" fmla="*/ 7615 h 10000"/>
                <a:gd name="connsiteX2910" fmla="*/ 2935 w 10785"/>
                <a:gd name="connsiteY2910" fmla="*/ 7615 h 10000"/>
                <a:gd name="connsiteX2911" fmla="*/ 2945 w 10785"/>
                <a:gd name="connsiteY2911" fmla="*/ 7650 h 10000"/>
                <a:gd name="connsiteX2912" fmla="*/ 2949 w 10785"/>
                <a:gd name="connsiteY2912" fmla="*/ 7667 h 10000"/>
                <a:gd name="connsiteX2913" fmla="*/ 2949 w 10785"/>
                <a:gd name="connsiteY2913" fmla="*/ 7675 h 10000"/>
                <a:gd name="connsiteX2914" fmla="*/ 2945 w 10785"/>
                <a:gd name="connsiteY2914" fmla="*/ 7692 h 10000"/>
                <a:gd name="connsiteX2915" fmla="*/ 2963 w 10785"/>
                <a:gd name="connsiteY2915" fmla="*/ 7701 h 10000"/>
                <a:gd name="connsiteX2916" fmla="*/ 2963 w 10785"/>
                <a:gd name="connsiteY2916" fmla="*/ 7675 h 10000"/>
                <a:gd name="connsiteX2917" fmla="*/ 2954 w 10785"/>
                <a:gd name="connsiteY2917" fmla="*/ 7667 h 10000"/>
                <a:gd name="connsiteX2918" fmla="*/ 2963 w 10785"/>
                <a:gd name="connsiteY2918" fmla="*/ 7667 h 10000"/>
                <a:gd name="connsiteX2919" fmla="*/ 2982 w 10785"/>
                <a:gd name="connsiteY2919" fmla="*/ 7667 h 10000"/>
                <a:gd name="connsiteX2920" fmla="*/ 2991 w 10785"/>
                <a:gd name="connsiteY2920" fmla="*/ 7675 h 10000"/>
                <a:gd name="connsiteX2921" fmla="*/ 2995 w 10785"/>
                <a:gd name="connsiteY2921" fmla="*/ 7692 h 10000"/>
                <a:gd name="connsiteX2922" fmla="*/ 3009 w 10785"/>
                <a:gd name="connsiteY2922" fmla="*/ 7701 h 10000"/>
                <a:gd name="connsiteX2923" fmla="*/ 3018 w 10785"/>
                <a:gd name="connsiteY2923" fmla="*/ 7701 h 10000"/>
                <a:gd name="connsiteX2924" fmla="*/ 3023 w 10785"/>
                <a:gd name="connsiteY2924" fmla="*/ 7692 h 10000"/>
                <a:gd name="connsiteX2925" fmla="*/ 3028 w 10785"/>
                <a:gd name="connsiteY2925" fmla="*/ 7675 h 10000"/>
                <a:gd name="connsiteX2926" fmla="*/ 3037 w 10785"/>
                <a:gd name="connsiteY2926" fmla="*/ 7692 h 10000"/>
                <a:gd name="connsiteX2927" fmla="*/ 3028 w 10785"/>
                <a:gd name="connsiteY2927" fmla="*/ 7709 h 10000"/>
                <a:gd name="connsiteX2928" fmla="*/ 3023 w 10785"/>
                <a:gd name="connsiteY2928" fmla="*/ 7709 h 10000"/>
                <a:gd name="connsiteX2929" fmla="*/ 3018 w 10785"/>
                <a:gd name="connsiteY2929" fmla="*/ 7726 h 10000"/>
                <a:gd name="connsiteX2930" fmla="*/ 3009 w 10785"/>
                <a:gd name="connsiteY2930" fmla="*/ 7735 h 10000"/>
                <a:gd name="connsiteX2931" fmla="*/ 3009 w 10785"/>
                <a:gd name="connsiteY2931" fmla="*/ 7761 h 10000"/>
                <a:gd name="connsiteX2932" fmla="*/ 3009 w 10785"/>
                <a:gd name="connsiteY2932" fmla="*/ 7778 h 10000"/>
                <a:gd name="connsiteX2933" fmla="*/ 3018 w 10785"/>
                <a:gd name="connsiteY2933" fmla="*/ 7786 h 10000"/>
                <a:gd name="connsiteX2934" fmla="*/ 3023 w 10785"/>
                <a:gd name="connsiteY2934" fmla="*/ 7786 h 10000"/>
                <a:gd name="connsiteX2935" fmla="*/ 3028 w 10785"/>
                <a:gd name="connsiteY2935" fmla="*/ 7778 h 10000"/>
                <a:gd name="connsiteX2936" fmla="*/ 3051 w 10785"/>
                <a:gd name="connsiteY2936" fmla="*/ 7761 h 10000"/>
                <a:gd name="connsiteX2937" fmla="*/ 3055 w 10785"/>
                <a:gd name="connsiteY2937" fmla="*/ 7778 h 10000"/>
                <a:gd name="connsiteX2938" fmla="*/ 3065 w 10785"/>
                <a:gd name="connsiteY2938" fmla="*/ 7761 h 10000"/>
                <a:gd name="connsiteX2939" fmla="*/ 3069 w 10785"/>
                <a:gd name="connsiteY2939" fmla="*/ 7786 h 10000"/>
                <a:gd name="connsiteX2940" fmla="*/ 3083 w 10785"/>
                <a:gd name="connsiteY2940" fmla="*/ 7786 h 10000"/>
                <a:gd name="connsiteX2941" fmla="*/ 3078 w 10785"/>
                <a:gd name="connsiteY2941" fmla="*/ 7761 h 10000"/>
                <a:gd name="connsiteX2942" fmla="*/ 3083 w 10785"/>
                <a:gd name="connsiteY2942" fmla="*/ 7752 h 10000"/>
                <a:gd name="connsiteX2943" fmla="*/ 3097 w 10785"/>
                <a:gd name="connsiteY2943" fmla="*/ 7752 h 10000"/>
                <a:gd name="connsiteX2944" fmla="*/ 3111 w 10785"/>
                <a:gd name="connsiteY2944" fmla="*/ 7726 h 10000"/>
                <a:gd name="connsiteX2945" fmla="*/ 3124 w 10785"/>
                <a:gd name="connsiteY2945" fmla="*/ 7709 h 10000"/>
                <a:gd name="connsiteX2946" fmla="*/ 3143 w 10785"/>
                <a:gd name="connsiteY2946" fmla="*/ 7692 h 10000"/>
                <a:gd name="connsiteX2947" fmla="*/ 3152 w 10785"/>
                <a:gd name="connsiteY2947" fmla="*/ 7667 h 10000"/>
                <a:gd name="connsiteX2948" fmla="*/ 3157 w 10785"/>
                <a:gd name="connsiteY2948" fmla="*/ 7650 h 10000"/>
                <a:gd name="connsiteX2949" fmla="*/ 3161 w 10785"/>
                <a:gd name="connsiteY2949" fmla="*/ 7650 h 10000"/>
                <a:gd name="connsiteX2950" fmla="*/ 3189 w 10785"/>
                <a:gd name="connsiteY2950" fmla="*/ 7641 h 10000"/>
                <a:gd name="connsiteX2951" fmla="*/ 3198 w 10785"/>
                <a:gd name="connsiteY2951" fmla="*/ 7624 h 10000"/>
                <a:gd name="connsiteX2952" fmla="*/ 3217 w 10785"/>
                <a:gd name="connsiteY2952" fmla="*/ 7615 h 10000"/>
                <a:gd name="connsiteX2953" fmla="*/ 3235 w 10785"/>
                <a:gd name="connsiteY2953" fmla="*/ 7598 h 10000"/>
                <a:gd name="connsiteX2954" fmla="*/ 3235 w 10785"/>
                <a:gd name="connsiteY2954" fmla="*/ 7615 h 10000"/>
                <a:gd name="connsiteX2955" fmla="*/ 3235 w 10785"/>
                <a:gd name="connsiteY2955" fmla="*/ 7641 h 10000"/>
                <a:gd name="connsiteX2956" fmla="*/ 3235 w 10785"/>
                <a:gd name="connsiteY2956" fmla="*/ 7650 h 10000"/>
                <a:gd name="connsiteX2957" fmla="*/ 3226 w 10785"/>
                <a:gd name="connsiteY2957" fmla="*/ 7650 h 10000"/>
                <a:gd name="connsiteX2958" fmla="*/ 3217 w 10785"/>
                <a:gd name="connsiteY2958" fmla="*/ 7650 h 10000"/>
                <a:gd name="connsiteX2959" fmla="*/ 3212 w 10785"/>
                <a:gd name="connsiteY2959" fmla="*/ 7675 h 10000"/>
                <a:gd name="connsiteX2960" fmla="*/ 3212 w 10785"/>
                <a:gd name="connsiteY2960"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274 w 10785"/>
                <a:gd name="connsiteY731" fmla="*/ 4822 h 10000"/>
                <a:gd name="connsiteX732" fmla="*/ 10139 w 10785"/>
                <a:gd name="connsiteY732" fmla="*/ 4708 h 10000"/>
                <a:gd name="connsiteX733" fmla="*/ 10233 w 10785"/>
                <a:gd name="connsiteY733" fmla="*/ 4530 h 10000"/>
                <a:gd name="connsiteX734" fmla="*/ 10334 w 10785"/>
                <a:gd name="connsiteY734" fmla="*/ 4810 h 10000"/>
                <a:gd name="connsiteX735" fmla="*/ 10422 w 10785"/>
                <a:gd name="connsiteY735" fmla="*/ 5051 h 10000"/>
                <a:gd name="connsiteX736" fmla="*/ 10691 w 10785"/>
                <a:gd name="connsiteY736" fmla="*/ 5255 h 10000"/>
                <a:gd name="connsiteX737" fmla="*/ 10619 w 10785"/>
                <a:gd name="connsiteY737" fmla="*/ 4708 h 10000"/>
                <a:gd name="connsiteX738" fmla="*/ 10785 w 10785"/>
                <a:gd name="connsiteY738" fmla="*/ 4708 h 10000"/>
                <a:gd name="connsiteX739" fmla="*/ 10689 w 10785"/>
                <a:gd name="connsiteY739" fmla="*/ 4467 h 10000"/>
                <a:gd name="connsiteX740" fmla="*/ 10354 w 10785"/>
                <a:gd name="connsiteY740" fmla="*/ 4302 h 10000"/>
                <a:gd name="connsiteX741" fmla="*/ 9912 w 10785"/>
                <a:gd name="connsiteY741" fmla="*/ 3675 h 10000"/>
                <a:gd name="connsiteX742" fmla="*/ 9903 w 10785"/>
                <a:gd name="connsiteY742" fmla="*/ 3667 h 10000"/>
                <a:gd name="connsiteX743" fmla="*/ 9894 w 10785"/>
                <a:gd name="connsiteY743" fmla="*/ 3641 h 10000"/>
                <a:gd name="connsiteX744" fmla="*/ 9889 w 10785"/>
                <a:gd name="connsiteY744" fmla="*/ 3650 h 10000"/>
                <a:gd name="connsiteX745" fmla="*/ 9848 w 10785"/>
                <a:gd name="connsiteY745" fmla="*/ 3598 h 10000"/>
                <a:gd name="connsiteX746" fmla="*/ 9829 w 10785"/>
                <a:gd name="connsiteY746" fmla="*/ 3581 h 10000"/>
                <a:gd name="connsiteX747" fmla="*/ 9820 w 10785"/>
                <a:gd name="connsiteY747" fmla="*/ 3581 h 10000"/>
                <a:gd name="connsiteX748" fmla="*/ 9793 w 10785"/>
                <a:gd name="connsiteY748" fmla="*/ 3556 h 10000"/>
                <a:gd name="connsiteX749" fmla="*/ 9779 w 10785"/>
                <a:gd name="connsiteY749" fmla="*/ 3556 h 10000"/>
                <a:gd name="connsiteX750" fmla="*/ 9747 w 10785"/>
                <a:gd name="connsiteY750" fmla="*/ 3487 h 10000"/>
                <a:gd name="connsiteX751" fmla="*/ 9668 w 10785"/>
                <a:gd name="connsiteY751" fmla="*/ 3479 h 10000"/>
                <a:gd name="connsiteX752" fmla="*/ 9659 w 10785"/>
                <a:gd name="connsiteY752" fmla="*/ 3487 h 10000"/>
                <a:gd name="connsiteX753" fmla="*/ 9645 w 10785"/>
                <a:gd name="connsiteY753" fmla="*/ 3504 h 10000"/>
                <a:gd name="connsiteX754" fmla="*/ 9631 w 10785"/>
                <a:gd name="connsiteY754" fmla="*/ 3487 h 10000"/>
                <a:gd name="connsiteX755" fmla="*/ 9613 w 10785"/>
                <a:gd name="connsiteY755" fmla="*/ 3479 h 10000"/>
                <a:gd name="connsiteX756" fmla="*/ 9599 w 10785"/>
                <a:gd name="connsiteY756" fmla="*/ 3479 h 10000"/>
                <a:gd name="connsiteX757" fmla="*/ 9571 w 10785"/>
                <a:gd name="connsiteY757" fmla="*/ 3479 h 10000"/>
                <a:gd name="connsiteX758" fmla="*/ 9562 w 10785"/>
                <a:gd name="connsiteY758" fmla="*/ 3487 h 10000"/>
                <a:gd name="connsiteX759" fmla="*/ 9539 w 10785"/>
                <a:gd name="connsiteY759" fmla="*/ 3487 h 10000"/>
                <a:gd name="connsiteX760" fmla="*/ 9507 w 10785"/>
                <a:gd name="connsiteY760" fmla="*/ 3453 h 10000"/>
                <a:gd name="connsiteX761" fmla="*/ 9498 w 10785"/>
                <a:gd name="connsiteY761" fmla="*/ 3453 h 10000"/>
                <a:gd name="connsiteX762" fmla="*/ 9387 w 10785"/>
                <a:gd name="connsiteY762" fmla="*/ 3419 h 10000"/>
                <a:gd name="connsiteX763" fmla="*/ 9373 w 10785"/>
                <a:gd name="connsiteY763" fmla="*/ 3427 h 10000"/>
                <a:gd name="connsiteX764" fmla="*/ 9373 w 10785"/>
                <a:gd name="connsiteY764" fmla="*/ 3462 h 10000"/>
                <a:gd name="connsiteX765" fmla="*/ 9378 w 10785"/>
                <a:gd name="connsiteY765" fmla="*/ 3479 h 10000"/>
                <a:gd name="connsiteX766" fmla="*/ 9378 w 10785"/>
                <a:gd name="connsiteY766" fmla="*/ 3530 h 10000"/>
                <a:gd name="connsiteX767" fmla="*/ 9355 w 10785"/>
                <a:gd name="connsiteY767" fmla="*/ 3538 h 10000"/>
                <a:gd name="connsiteX768" fmla="*/ 9355 w 10785"/>
                <a:gd name="connsiteY768" fmla="*/ 3581 h 10000"/>
                <a:gd name="connsiteX769" fmla="*/ 9387 w 10785"/>
                <a:gd name="connsiteY769" fmla="*/ 3590 h 10000"/>
                <a:gd name="connsiteX770" fmla="*/ 9401 w 10785"/>
                <a:gd name="connsiteY770" fmla="*/ 3667 h 10000"/>
                <a:gd name="connsiteX771" fmla="*/ 9406 w 10785"/>
                <a:gd name="connsiteY771" fmla="*/ 3675 h 10000"/>
                <a:gd name="connsiteX772" fmla="*/ 9406 w 10785"/>
                <a:gd name="connsiteY772" fmla="*/ 3701 h 10000"/>
                <a:gd name="connsiteX773" fmla="*/ 9415 w 10785"/>
                <a:gd name="connsiteY773" fmla="*/ 3752 h 10000"/>
                <a:gd name="connsiteX774" fmla="*/ 9373 w 10785"/>
                <a:gd name="connsiteY774" fmla="*/ 3838 h 10000"/>
                <a:gd name="connsiteX775" fmla="*/ 9355 w 10785"/>
                <a:gd name="connsiteY775" fmla="*/ 3863 h 10000"/>
                <a:gd name="connsiteX776" fmla="*/ 9327 w 10785"/>
                <a:gd name="connsiteY776" fmla="*/ 3863 h 10000"/>
                <a:gd name="connsiteX777" fmla="*/ 9313 w 10785"/>
                <a:gd name="connsiteY777" fmla="*/ 3846 h 10000"/>
                <a:gd name="connsiteX778" fmla="*/ 9300 w 10785"/>
                <a:gd name="connsiteY778" fmla="*/ 3778 h 10000"/>
                <a:gd name="connsiteX779" fmla="*/ 9281 w 10785"/>
                <a:gd name="connsiteY779" fmla="*/ 3752 h 10000"/>
                <a:gd name="connsiteX780" fmla="*/ 9281 w 10785"/>
                <a:gd name="connsiteY780" fmla="*/ 3735 h 10000"/>
                <a:gd name="connsiteX781" fmla="*/ 9267 w 10785"/>
                <a:gd name="connsiteY781" fmla="*/ 3726 h 10000"/>
                <a:gd name="connsiteX782" fmla="*/ 9240 w 10785"/>
                <a:gd name="connsiteY782" fmla="*/ 3726 h 10000"/>
                <a:gd name="connsiteX783" fmla="*/ 9230 w 10785"/>
                <a:gd name="connsiteY783" fmla="*/ 3718 h 10000"/>
                <a:gd name="connsiteX784" fmla="*/ 9226 w 10785"/>
                <a:gd name="connsiteY784" fmla="*/ 3590 h 10000"/>
                <a:gd name="connsiteX785" fmla="*/ 9207 w 10785"/>
                <a:gd name="connsiteY785" fmla="*/ 3581 h 10000"/>
                <a:gd name="connsiteX786" fmla="*/ 9207 w 10785"/>
                <a:gd name="connsiteY786" fmla="*/ 3556 h 10000"/>
                <a:gd name="connsiteX787" fmla="*/ 9217 w 10785"/>
                <a:gd name="connsiteY787" fmla="*/ 3538 h 10000"/>
                <a:gd name="connsiteX788" fmla="*/ 9212 w 10785"/>
                <a:gd name="connsiteY788" fmla="*/ 3538 h 10000"/>
                <a:gd name="connsiteX789" fmla="*/ 9198 w 10785"/>
                <a:gd name="connsiteY789" fmla="*/ 3513 h 10000"/>
                <a:gd name="connsiteX790" fmla="*/ 9194 w 10785"/>
                <a:gd name="connsiteY790" fmla="*/ 3530 h 10000"/>
                <a:gd name="connsiteX791" fmla="*/ 9143 w 10785"/>
                <a:gd name="connsiteY791" fmla="*/ 3615 h 10000"/>
                <a:gd name="connsiteX792" fmla="*/ 9138 w 10785"/>
                <a:gd name="connsiteY792" fmla="*/ 3615 h 10000"/>
                <a:gd name="connsiteX793" fmla="*/ 9134 w 10785"/>
                <a:gd name="connsiteY793" fmla="*/ 3615 h 10000"/>
                <a:gd name="connsiteX794" fmla="*/ 9106 w 10785"/>
                <a:gd name="connsiteY794" fmla="*/ 3615 h 10000"/>
                <a:gd name="connsiteX795" fmla="*/ 9078 w 10785"/>
                <a:gd name="connsiteY795" fmla="*/ 3590 h 10000"/>
                <a:gd name="connsiteX796" fmla="*/ 9037 w 10785"/>
                <a:gd name="connsiteY796" fmla="*/ 3581 h 10000"/>
                <a:gd name="connsiteX797" fmla="*/ 9023 w 10785"/>
                <a:gd name="connsiteY797" fmla="*/ 3590 h 10000"/>
                <a:gd name="connsiteX798" fmla="*/ 9018 w 10785"/>
                <a:gd name="connsiteY798" fmla="*/ 3590 h 10000"/>
                <a:gd name="connsiteX799" fmla="*/ 9018 w 10785"/>
                <a:gd name="connsiteY799" fmla="*/ 3590 h 10000"/>
                <a:gd name="connsiteX800" fmla="*/ 8991 w 10785"/>
                <a:gd name="connsiteY800" fmla="*/ 3590 h 10000"/>
                <a:gd name="connsiteX801" fmla="*/ 8972 w 10785"/>
                <a:gd name="connsiteY801" fmla="*/ 3581 h 10000"/>
                <a:gd name="connsiteX802" fmla="*/ 8959 w 10785"/>
                <a:gd name="connsiteY802" fmla="*/ 3513 h 10000"/>
                <a:gd name="connsiteX803" fmla="*/ 8931 w 10785"/>
                <a:gd name="connsiteY803" fmla="*/ 3538 h 10000"/>
                <a:gd name="connsiteX804" fmla="*/ 8889 w 10785"/>
                <a:gd name="connsiteY804" fmla="*/ 3538 h 10000"/>
                <a:gd name="connsiteX805" fmla="*/ 8871 w 10785"/>
                <a:gd name="connsiteY805" fmla="*/ 3556 h 10000"/>
                <a:gd name="connsiteX806" fmla="*/ 8857 w 10785"/>
                <a:gd name="connsiteY806" fmla="*/ 3538 h 10000"/>
                <a:gd name="connsiteX807" fmla="*/ 8843 w 10785"/>
                <a:gd name="connsiteY807" fmla="*/ 3538 h 10000"/>
                <a:gd name="connsiteX808" fmla="*/ 8839 w 10785"/>
                <a:gd name="connsiteY808" fmla="*/ 3556 h 10000"/>
                <a:gd name="connsiteX809" fmla="*/ 8839 w 10785"/>
                <a:gd name="connsiteY809" fmla="*/ 3581 h 10000"/>
                <a:gd name="connsiteX810" fmla="*/ 8825 w 10785"/>
                <a:gd name="connsiteY810" fmla="*/ 3564 h 10000"/>
                <a:gd name="connsiteX811" fmla="*/ 8825 w 10785"/>
                <a:gd name="connsiteY811" fmla="*/ 3615 h 10000"/>
                <a:gd name="connsiteX812" fmla="*/ 8802 w 10785"/>
                <a:gd name="connsiteY812" fmla="*/ 3598 h 10000"/>
                <a:gd name="connsiteX813" fmla="*/ 8797 w 10785"/>
                <a:gd name="connsiteY813" fmla="*/ 3641 h 10000"/>
                <a:gd name="connsiteX814" fmla="*/ 8783 w 10785"/>
                <a:gd name="connsiteY814" fmla="*/ 3667 h 10000"/>
                <a:gd name="connsiteX815" fmla="*/ 8779 w 10785"/>
                <a:gd name="connsiteY815" fmla="*/ 3650 h 10000"/>
                <a:gd name="connsiteX816" fmla="*/ 8779 w 10785"/>
                <a:gd name="connsiteY816" fmla="*/ 3615 h 10000"/>
                <a:gd name="connsiteX817" fmla="*/ 8770 w 10785"/>
                <a:gd name="connsiteY817" fmla="*/ 3590 h 10000"/>
                <a:gd name="connsiteX818" fmla="*/ 8765 w 10785"/>
                <a:gd name="connsiteY818" fmla="*/ 3598 h 10000"/>
                <a:gd name="connsiteX819" fmla="*/ 8756 w 10785"/>
                <a:gd name="connsiteY819" fmla="*/ 3590 h 10000"/>
                <a:gd name="connsiteX820" fmla="*/ 8737 w 10785"/>
                <a:gd name="connsiteY820" fmla="*/ 3556 h 10000"/>
                <a:gd name="connsiteX821" fmla="*/ 8724 w 10785"/>
                <a:gd name="connsiteY821" fmla="*/ 3538 h 10000"/>
                <a:gd name="connsiteX822" fmla="*/ 8696 w 10785"/>
                <a:gd name="connsiteY822" fmla="*/ 3538 h 10000"/>
                <a:gd name="connsiteX823" fmla="*/ 8691 w 10785"/>
                <a:gd name="connsiteY823" fmla="*/ 3513 h 10000"/>
                <a:gd name="connsiteX824" fmla="*/ 8668 w 10785"/>
                <a:gd name="connsiteY824" fmla="*/ 3504 h 10000"/>
                <a:gd name="connsiteX825" fmla="*/ 8668 w 10785"/>
                <a:gd name="connsiteY825" fmla="*/ 3487 h 10000"/>
                <a:gd name="connsiteX826" fmla="*/ 8691 w 10785"/>
                <a:gd name="connsiteY826" fmla="*/ 3350 h 10000"/>
                <a:gd name="connsiteX827" fmla="*/ 8691 w 10785"/>
                <a:gd name="connsiteY827" fmla="*/ 3291 h 10000"/>
                <a:gd name="connsiteX828" fmla="*/ 8677 w 10785"/>
                <a:gd name="connsiteY828" fmla="*/ 3239 h 10000"/>
                <a:gd name="connsiteX829" fmla="*/ 8677 w 10785"/>
                <a:gd name="connsiteY829" fmla="*/ 3231 h 10000"/>
                <a:gd name="connsiteX830" fmla="*/ 8636 w 10785"/>
                <a:gd name="connsiteY830" fmla="*/ 3128 h 10000"/>
                <a:gd name="connsiteX831" fmla="*/ 8622 w 10785"/>
                <a:gd name="connsiteY831" fmla="*/ 3120 h 10000"/>
                <a:gd name="connsiteX832" fmla="*/ 8618 w 10785"/>
                <a:gd name="connsiteY832" fmla="*/ 3094 h 10000"/>
                <a:gd name="connsiteX833" fmla="*/ 8594 w 10785"/>
                <a:gd name="connsiteY833" fmla="*/ 3077 h 10000"/>
                <a:gd name="connsiteX834" fmla="*/ 8548 w 10785"/>
                <a:gd name="connsiteY834" fmla="*/ 3077 h 10000"/>
                <a:gd name="connsiteX835" fmla="*/ 8535 w 10785"/>
                <a:gd name="connsiteY835" fmla="*/ 3068 h 10000"/>
                <a:gd name="connsiteX836" fmla="*/ 8429 w 10785"/>
                <a:gd name="connsiteY836" fmla="*/ 3077 h 10000"/>
                <a:gd name="connsiteX837" fmla="*/ 8424 w 10785"/>
                <a:gd name="connsiteY837" fmla="*/ 3077 h 10000"/>
                <a:gd name="connsiteX838" fmla="*/ 8396 w 10785"/>
                <a:gd name="connsiteY838" fmla="*/ 3077 h 10000"/>
                <a:gd name="connsiteX839" fmla="*/ 8387 w 10785"/>
                <a:gd name="connsiteY839" fmla="*/ 3094 h 10000"/>
                <a:gd name="connsiteX840" fmla="*/ 8378 w 10785"/>
                <a:gd name="connsiteY840" fmla="*/ 3094 h 10000"/>
                <a:gd name="connsiteX841" fmla="*/ 8341 w 10785"/>
                <a:gd name="connsiteY841" fmla="*/ 3077 h 10000"/>
                <a:gd name="connsiteX842" fmla="*/ 8336 w 10785"/>
                <a:gd name="connsiteY842" fmla="*/ 3077 h 10000"/>
                <a:gd name="connsiteX843" fmla="*/ 8327 w 10785"/>
                <a:gd name="connsiteY843" fmla="*/ 3103 h 10000"/>
                <a:gd name="connsiteX844" fmla="*/ 8309 w 10785"/>
                <a:gd name="connsiteY844" fmla="*/ 3120 h 10000"/>
                <a:gd name="connsiteX845" fmla="*/ 8304 w 10785"/>
                <a:gd name="connsiteY845" fmla="*/ 3103 h 10000"/>
                <a:gd name="connsiteX846" fmla="*/ 8276 w 10785"/>
                <a:gd name="connsiteY846" fmla="*/ 3103 h 10000"/>
                <a:gd name="connsiteX847" fmla="*/ 8267 w 10785"/>
                <a:gd name="connsiteY847" fmla="*/ 3120 h 10000"/>
                <a:gd name="connsiteX848" fmla="*/ 8253 w 10785"/>
                <a:gd name="connsiteY848" fmla="*/ 3103 h 10000"/>
                <a:gd name="connsiteX849" fmla="*/ 8230 w 10785"/>
                <a:gd name="connsiteY849" fmla="*/ 3128 h 10000"/>
                <a:gd name="connsiteX850" fmla="*/ 8217 w 10785"/>
                <a:gd name="connsiteY850" fmla="*/ 3128 h 10000"/>
                <a:gd name="connsiteX851" fmla="*/ 8203 w 10785"/>
                <a:gd name="connsiteY851" fmla="*/ 3154 h 10000"/>
                <a:gd name="connsiteX852" fmla="*/ 8175 w 10785"/>
                <a:gd name="connsiteY852" fmla="*/ 3094 h 10000"/>
                <a:gd name="connsiteX853" fmla="*/ 8161 w 10785"/>
                <a:gd name="connsiteY853" fmla="*/ 3094 h 10000"/>
                <a:gd name="connsiteX854" fmla="*/ 8157 w 10785"/>
                <a:gd name="connsiteY854" fmla="*/ 3077 h 10000"/>
                <a:gd name="connsiteX855" fmla="*/ 8180 w 10785"/>
                <a:gd name="connsiteY855" fmla="*/ 3068 h 10000"/>
                <a:gd name="connsiteX856" fmla="*/ 8189 w 10785"/>
                <a:gd name="connsiteY856" fmla="*/ 3043 h 10000"/>
                <a:gd name="connsiteX857" fmla="*/ 8189 w 10785"/>
                <a:gd name="connsiteY857" fmla="*/ 3017 h 10000"/>
                <a:gd name="connsiteX858" fmla="*/ 8147 w 10785"/>
                <a:gd name="connsiteY858" fmla="*/ 2940 h 10000"/>
                <a:gd name="connsiteX859" fmla="*/ 8143 w 10785"/>
                <a:gd name="connsiteY859" fmla="*/ 2915 h 10000"/>
                <a:gd name="connsiteX860" fmla="*/ 8143 w 10785"/>
                <a:gd name="connsiteY860" fmla="*/ 2906 h 10000"/>
                <a:gd name="connsiteX861" fmla="*/ 8097 w 10785"/>
                <a:gd name="connsiteY861" fmla="*/ 2932 h 10000"/>
                <a:gd name="connsiteX862" fmla="*/ 8083 w 10785"/>
                <a:gd name="connsiteY862" fmla="*/ 2932 h 10000"/>
                <a:gd name="connsiteX863" fmla="*/ 8074 w 10785"/>
                <a:gd name="connsiteY863" fmla="*/ 2906 h 10000"/>
                <a:gd name="connsiteX864" fmla="*/ 8074 w 10785"/>
                <a:gd name="connsiteY864" fmla="*/ 2897 h 10000"/>
                <a:gd name="connsiteX865" fmla="*/ 8055 w 10785"/>
                <a:gd name="connsiteY865" fmla="*/ 2872 h 10000"/>
                <a:gd name="connsiteX866" fmla="*/ 8046 w 10785"/>
                <a:gd name="connsiteY866" fmla="*/ 2829 h 10000"/>
                <a:gd name="connsiteX867" fmla="*/ 8041 w 10785"/>
                <a:gd name="connsiteY867" fmla="*/ 2829 h 10000"/>
                <a:gd name="connsiteX868" fmla="*/ 8023 w 10785"/>
                <a:gd name="connsiteY868" fmla="*/ 2803 h 10000"/>
                <a:gd name="connsiteX869" fmla="*/ 8014 w 10785"/>
                <a:gd name="connsiteY869" fmla="*/ 2829 h 10000"/>
                <a:gd name="connsiteX870" fmla="*/ 8000 w 10785"/>
                <a:gd name="connsiteY870" fmla="*/ 2829 h 10000"/>
                <a:gd name="connsiteX871" fmla="*/ 7995 w 10785"/>
                <a:gd name="connsiteY871" fmla="*/ 2821 h 10000"/>
                <a:gd name="connsiteX872" fmla="*/ 7972 w 10785"/>
                <a:gd name="connsiteY872" fmla="*/ 2803 h 10000"/>
                <a:gd name="connsiteX873" fmla="*/ 7968 w 10785"/>
                <a:gd name="connsiteY873" fmla="*/ 2821 h 10000"/>
                <a:gd name="connsiteX874" fmla="*/ 7968 w 10785"/>
                <a:gd name="connsiteY874" fmla="*/ 2803 h 10000"/>
                <a:gd name="connsiteX875" fmla="*/ 7995 w 10785"/>
                <a:gd name="connsiteY875" fmla="*/ 2735 h 10000"/>
                <a:gd name="connsiteX876" fmla="*/ 8000 w 10785"/>
                <a:gd name="connsiteY876" fmla="*/ 2735 h 10000"/>
                <a:gd name="connsiteX877" fmla="*/ 8014 w 10785"/>
                <a:gd name="connsiteY877" fmla="*/ 2744 h 10000"/>
                <a:gd name="connsiteX878" fmla="*/ 8023 w 10785"/>
                <a:gd name="connsiteY878" fmla="*/ 2769 h 10000"/>
                <a:gd name="connsiteX879" fmla="*/ 8032 w 10785"/>
                <a:gd name="connsiteY879" fmla="*/ 2744 h 10000"/>
                <a:gd name="connsiteX880" fmla="*/ 8032 w 10785"/>
                <a:gd name="connsiteY880" fmla="*/ 2709 h 10000"/>
                <a:gd name="connsiteX881" fmla="*/ 8023 w 10785"/>
                <a:gd name="connsiteY881" fmla="*/ 2632 h 10000"/>
                <a:gd name="connsiteX882" fmla="*/ 7986 w 10785"/>
                <a:gd name="connsiteY882" fmla="*/ 2581 h 10000"/>
                <a:gd name="connsiteX883" fmla="*/ 7968 w 10785"/>
                <a:gd name="connsiteY883" fmla="*/ 2581 h 10000"/>
                <a:gd name="connsiteX884" fmla="*/ 7963 w 10785"/>
                <a:gd name="connsiteY884" fmla="*/ 2556 h 10000"/>
                <a:gd name="connsiteX885" fmla="*/ 7935 w 10785"/>
                <a:gd name="connsiteY885" fmla="*/ 2547 h 10000"/>
                <a:gd name="connsiteX886" fmla="*/ 7912 w 10785"/>
                <a:gd name="connsiteY886" fmla="*/ 2547 h 10000"/>
                <a:gd name="connsiteX887" fmla="*/ 7912 w 10785"/>
                <a:gd name="connsiteY887" fmla="*/ 2556 h 10000"/>
                <a:gd name="connsiteX888" fmla="*/ 7908 w 10785"/>
                <a:gd name="connsiteY888" fmla="*/ 2547 h 10000"/>
                <a:gd name="connsiteX889" fmla="*/ 7862 w 10785"/>
                <a:gd name="connsiteY889" fmla="*/ 2547 h 10000"/>
                <a:gd name="connsiteX890" fmla="*/ 7848 w 10785"/>
                <a:gd name="connsiteY890" fmla="*/ 2556 h 10000"/>
                <a:gd name="connsiteX891" fmla="*/ 7820 w 10785"/>
                <a:gd name="connsiteY891" fmla="*/ 2547 h 10000"/>
                <a:gd name="connsiteX892" fmla="*/ 7806 w 10785"/>
                <a:gd name="connsiteY892" fmla="*/ 2513 h 10000"/>
                <a:gd name="connsiteX893" fmla="*/ 7788 w 10785"/>
                <a:gd name="connsiteY893" fmla="*/ 2513 h 10000"/>
                <a:gd name="connsiteX894" fmla="*/ 7760 w 10785"/>
                <a:gd name="connsiteY894" fmla="*/ 2470 h 10000"/>
                <a:gd name="connsiteX895" fmla="*/ 7751 w 10785"/>
                <a:gd name="connsiteY895" fmla="*/ 2470 h 10000"/>
                <a:gd name="connsiteX896" fmla="*/ 7705 w 10785"/>
                <a:gd name="connsiteY896" fmla="*/ 2462 h 10000"/>
                <a:gd name="connsiteX897" fmla="*/ 7673 w 10785"/>
                <a:gd name="connsiteY897" fmla="*/ 2419 h 10000"/>
                <a:gd name="connsiteX898" fmla="*/ 7627 w 10785"/>
                <a:gd name="connsiteY898" fmla="*/ 2419 h 10000"/>
                <a:gd name="connsiteX899" fmla="*/ 7613 w 10785"/>
                <a:gd name="connsiteY899" fmla="*/ 2410 h 10000"/>
                <a:gd name="connsiteX900" fmla="*/ 7493 w 10785"/>
                <a:gd name="connsiteY900" fmla="*/ 2393 h 10000"/>
                <a:gd name="connsiteX901" fmla="*/ 7479 w 10785"/>
                <a:gd name="connsiteY901" fmla="*/ 2385 h 10000"/>
                <a:gd name="connsiteX902" fmla="*/ 7479 w 10785"/>
                <a:gd name="connsiteY902" fmla="*/ 2376 h 10000"/>
                <a:gd name="connsiteX903" fmla="*/ 7465 w 10785"/>
                <a:gd name="connsiteY903" fmla="*/ 2359 h 10000"/>
                <a:gd name="connsiteX904" fmla="*/ 7447 w 10785"/>
                <a:gd name="connsiteY904" fmla="*/ 2350 h 10000"/>
                <a:gd name="connsiteX905" fmla="*/ 7433 w 10785"/>
                <a:gd name="connsiteY905" fmla="*/ 2376 h 10000"/>
                <a:gd name="connsiteX906" fmla="*/ 7433 w 10785"/>
                <a:gd name="connsiteY906" fmla="*/ 2385 h 10000"/>
                <a:gd name="connsiteX907" fmla="*/ 7447 w 10785"/>
                <a:gd name="connsiteY907" fmla="*/ 2410 h 10000"/>
                <a:gd name="connsiteX908" fmla="*/ 7447 w 10785"/>
                <a:gd name="connsiteY908" fmla="*/ 2436 h 10000"/>
                <a:gd name="connsiteX909" fmla="*/ 7452 w 10785"/>
                <a:gd name="connsiteY909" fmla="*/ 2462 h 10000"/>
                <a:gd name="connsiteX910" fmla="*/ 7447 w 10785"/>
                <a:gd name="connsiteY910" fmla="*/ 2470 h 10000"/>
                <a:gd name="connsiteX911" fmla="*/ 7424 w 10785"/>
                <a:gd name="connsiteY911" fmla="*/ 2513 h 10000"/>
                <a:gd name="connsiteX912" fmla="*/ 7419 w 10785"/>
                <a:gd name="connsiteY912" fmla="*/ 2556 h 10000"/>
                <a:gd name="connsiteX913" fmla="*/ 7406 w 10785"/>
                <a:gd name="connsiteY913" fmla="*/ 2624 h 10000"/>
                <a:gd name="connsiteX914" fmla="*/ 7392 w 10785"/>
                <a:gd name="connsiteY914" fmla="*/ 2624 h 10000"/>
                <a:gd name="connsiteX915" fmla="*/ 7373 w 10785"/>
                <a:gd name="connsiteY915" fmla="*/ 2650 h 10000"/>
                <a:gd name="connsiteX916" fmla="*/ 7364 w 10785"/>
                <a:gd name="connsiteY916" fmla="*/ 2684 h 10000"/>
                <a:gd name="connsiteX917" fmla="*/ 7364 w 10785"/>
                <a:gd name="connsiteY917" fmla="*/ 2692 h 10000"/>
                <a:gd name="connsiteX918" fmla="*/ 7373 w 10785"/>
                <a:gd name="connsiteY918" fmla="*/ 2718 h 10000"/>
                <a:gd name="connsiteX919" fmla="*/ 7373 w 10785"/>
                <a:gd name="connsiteY919" fmla="*/ 2744 h 10000"/>
                <a:gd name="connsiteX920" fmla="*/ 7359 w 10785"/>
                <a:gd name="connsiteY920" fmla="*/ 2744 h 10000"/>
                <a:gd name="connsiteX921" fmla="*/ 7359 w 10785"/>
                <a:gd name="connsiteY921" fmla="*/ 2795 h 10000"/>
                <a:gd name="connsiteX922" fmla="*/ 7364 w 10785"/>
                <a:gd name="connsiteY922" fmla="*/ 2821 h 10000"/>
                <a:gd name="connsiteX923" fmla="*/ 7378 w 10785"/>
                <a:gd name="connsiteY923" fmla="*/ 2846 h 10000"/>
                <a:gd name="connsiteX924" fmla="*/ 7378 w 10785"/>
                <a:gd name="connsiteY924" fmla="*/ 2855 h 10000"/>
                <a:gd name="connsiteX925" fmla="*/ 7378 w 10785"/>
                <a:gd name="connsiteY925" fmla="*/ 2880 h 10000"/>
                <a:gd name="connsiteX926" fmla="*/ 7378 w 10785"/>
                <a:gd name="connsiteY926" fmla="*/ 2906 h 10000"/>
                <a:gd name="connsiteX927" fmla="*/ 7364 w 10785"/>
                <a:gd name="connsiteY927" fmla="*/ 2906 h 10000"/>
                <a:gd name="connsiteX928" fmla="*/ 7346 w 10785"/>
                <a:gd name="connsiteY928" fmla="*/ 2880 h 10000"/>
                <a:gd name="connsiteX929" fmla="*/ 7332 w 10785"/>
                <a:gd name="connsiteY929" fmla="*/ 2915 h 10000"/>
                <a:gd name="connsiteX930" fmla="*/ 7318 w 10785"/>
                <a:gd name="connsiteY930" fmla="*/ 2906 h 10000"/>
                <a:gd name="connsiteX931" fmla="*/ 7313 w 10785"/>
                <a:gd name="connsiteY931" fmla="*/ 2915 h 10000"/>
                <a:gd name="connsiteX932" fmla="*/ 7313 w 10785"/>
                <a:gd name="connsiteY932" fmla="*/ 2906 h 10000"/>
                <a:gd name="connsiteX933" fmla="*/ 7286 w 10785"/>
                <a:gd name="connsiteY933" fmla="*/ 2940 h 10000"/>
                <a:gd name="connsiteX934" fmla="*/ 7276 w 10785"/>
                <a:gd name="connsiteY934" fmla="*/ 2966 h 10000"/>
                <a:gd name="connsiteX935" fmla="*/ 7272 w 10785"/>
                <a:gd name="connsiteY935" fmla="*/ 2983 h 10000"/>
                <a:gd name="connsiteX936" fmla="*/ 7267 w 10785"/>
                <a:gd name="connsiteY936" fmla="*/ 3009 h 10000"/>
                <a:gd name="connsiteX937" fmla="*/ 7253 w 10785"/>
                <a:gd name="connsiteY937" fmla="*/ 3009 h 10000"/>
                <a:gd name="connsiteX938" fmla="*/ 7244 w 10785"/>
                <a:gd name="connsiteY938" fmla="*/ 3017 h 10000"/>
                <a:gd name="connsiteX939" fmla="*/ 7240 w 10785"/>
                <a:gd name="connsiteY939" fmla="*/ 3009 h 10000"/>
                <a:gd name="connsiteX940" fmla="*/ 7230 w 10785"/>
                <a:gd name="connsiteY940" fmla="*/ 2991 h 10000"/>
                <a:gd name="connsiteX941" fmla="*/ 7226 w 10785"/>
                <a:gd name="connsiteY941" fmla="*/ 2983 h 10000"/>
                <a:gd name="connsiteX942" fmla="*/ 7226 w 10785"/>
                <a:gd name="connsiteY942" fmla="*/ 2966 h 10000"/>
                <a:gd name="connsiteX943" fmla="*/ 7212 w 10785"/>
                <a:gd name="connsiteY943" fmla="*/ 2957 h 10000"/>
                <a:gd name="connsiteX944" fmla="*/ 7212 w 10785"/>
                <a:gd name="connsiteY944" fmla="*/ 2932 h 10000"/>
                <a:gd name="connsiteX945" fmla="*/ 7198 w 10785"/>
                <a:gd name="connsiteY945" fmla="*/ 2915 h 10000"/>
                <a:gd name="connsiteX946" fmla="*/ 7194 w 10785"/>
                <a:gd name="connsiteY946" fmla="*/ 2915 h 10000"/>
                <a:gd name="connsiteX947" fmla="*/ 7157 w 10785"/>
                <a:gd name="connsiteY947" fmla="*/ 2880 h 10000"/>
                <a:gd name="connsiteX948" fmla="*/ 7138 w 10785"/>
                <a:gd name="connsiteY948" fmla="*/ 2880 h 10000"/>
                <a:gd name="connsiteX949" fmla="*/ 7120 w 10785"/>
                <a:gd name="connsiteY949" fmla="*/ 2872 h 10000"/>
                <a:gd name="connsiteX950" fmla="*/ 7111 w 10785"/>
                <a:gd name="connsiteY950" fmla="*/ 2846 h 10000"/>
                <a:gd name="connsiteX951" fmla="*/ 7106 w 10785"/>
                <a:gd name="connsiteY951" fmla="*/ 2846 h 10000"/>
                <a:gd name="connsiteX952" fmla="*/ 7092 w 10785"/>
                <a:gd name="connsiteY952" fmla="*/ 2829 h 10000"/>
                <a:gd name="connsiteX953" fmla="*/ 7051 w 10785"/>
                <a:gd name="connsiteY953" fmla="*/ 2829 h 10000"/>
                <a:gd name="connsiteX954" fmla="*/ 7037 w 10785"/>
                <a:gd name="connsiteY954" fmla="*/ 2880 h 10000"/>
                <a:gd name="connsiteX955" fmla="*/ 7037 w 10785"/>
                <a:gd name="connsiteY955" fmla="*/ 2906 h 10000"/>
                <a:gd name="connsiteX956" fmla="*/ 7037 w 10785"/>
                <a:gd name="connsiteY956" fmla="*/ 2932 h 10000"/>
                <a:gd name="connsiteX957" fmla="*/ 7037 w 10785"/>
                <a:gd name="connsiteY957" fmla="*/ 2940 h 10000"/>
                <a:gd name="connsiteX958" fmla="*/ 7023 w 10785"/>
                <a:gd name="connsiteY958" fmla="*/ 2906 h 10000"/>
                <a:gd name="connsiteX959" fmla="*/ 7023 w 10785"/>
                <a:gd name="connsiteY959" fmla="*/ 2915 h 10000"/>
                <a:gd name="connsiteX960" fmla="*/ 6991 w 10785"/>
                <a:gd name="connsiteY960" fmla="*/ 2906 h 10000"/>
                <a:gd name="connsiteX961" fmla="*/ 6977 w 10785"/>
                <a:gd name="connsiteY961" fmla="*/ 2915 h 10000"/>
                <a:gd name="connsiteX962" fmla="*/ 6963 w 10785"/>
                <a:gd name="connsiteY962" fmla="*/ 2915 h 10000"/>
                <a:gd name="connsiteX963" fmla="*/ 6949 w 10785"/>
                <a:gd name="connsiteY963" fmla="*/ 2872 h 10000"/>
                <a:gd name="connsiteX964" fmla="*/ 6935 w 10785"/>
                <a:gd name="connsiteY964" fmla="*/ 2855 h 10000"/>
                <a:gd name="connsiteX965" fmla="*/ 6922 w 10785"/>
                <a:gd name="connsiteY965" fmla="*/ 2803 h 10000"/>
                <a:gd name="connsiteX966" fmla="*/ 6917 w 10785"/>
                <a:gd name="connsiteY966" fmla="*/ 2786 h 10000"/>
                <a:gd name="connsiteX967" fmla="*/ 6903 w 10785"/>
                <a:gd name="connsiteY967" fmla="*/ 2709 h 10000"/>
                <a:gd name="connsiteX968" fmla="*/ 6903 w 10785"/>
                <a:gd name="connsiteY968" fmla="*/ 2692 h 10000"/>
                <a:gd name="connsiteX969" fmla="*/ 6899 w 10785"/>
                <a:gd name="connsiteY969" fmla="*/ 2709 h 10000"/>
                <a:gd name="connsiteX970" fmla="*/ 6857 w 10785"/>
                <a:gd name="connsiteY970" fmla="*/ 2872 h 10000"/>
                <a:gd name="connsiteX971" fmla="*/ 6857 w 10785"/>
                <a:gd name="connsiteY971" fmla="*/ 3009 h 10000"/>
                <a:gd name="connsiteX972" fmla="*/ 6848 w 10785"/>
                <a:gd name="connsiteY972" fmla="*/ 3017 h 10000"/>
                <a:gd name="connsiteX973" fmla="*/ 6839 w 10785"/>
                <a:gd name="connsiteY973" fmla="*/ 3068 h 10000"/>
                <a:gd name="connsiteX974" fmla="*/ 6829 w 10785"/>
                <a:gd name="connsiteY974" fmla="*/ 3077 h 10000"/>
                <a:gd name="connsiteX975" fmla="*/ 6829 w 10785"/>
                <a:gd name="connsiteY975" fmla="*/ 3128 h 10000"/>
                <a:gd name="connsiteX976" fmla="*/ 6816 w 10785"/>
                <a:gd name="connsiteY976" fmla="*/ 3154 h 10000"/>
                <a:gd name="connsiteX977" fmla="*/ 6811 w 10785"/>
                <a:gd name="connsiteY977" fmla="*/ 3179 h 10000"/>
                <a:gd name="connsiteX978" fmla="*/ 6797 w 10785"/>
                <a:gd name="connsiteY978" fmla="*/ 3171 h 10000"/>
                <a:gd name="connsiteX979" fmla="*/ 6783 w 10785"/>
                <a:gd name="connsiteY979" fmla="*/ 3103 h 10000"/>
                <a:gd name="connsiteX980" fmla="*/ 6779 w 10785"/>
                <a:gd name="connsiteY980" fmla="*/ 3094 h 10000"/>
                <a:gd name="connsiteX981" fmla="*/ 6779 w 10785"/>
                <a:gd name="connsiteY981" fmla="*/ 3120 h 10000"/>
                <a:gd name="connsiteX982" fmla="*/ 6770 w 10785"/>
                <a:gd name="connsiteY982" fmla="*/ 3128 h 10000"/>
                <a:gd name="connsiteX983" fmla="*/ 6765 w 10785"/>
                <a:gd name="connsiteY983" fmla="*/ 3103 h 10000"/>
                <a:gd name="connsiteX984" fmla="*/ 6756 w 10785"/>
                <a:gd name="connsiteY984" fmla="*/ 3103 h 10000"/>
                <a:gd name="connsiteX985" fmla="*/ 6742 w 10785"/>
                <a:gd name="connsiteY985" fmla="*/ 3103 h 10000"/>
                <a:gd name="connsiteX986" fmla="*/ 6737 w 10785"/>
                <a:gd name="connsiteY986" fmla="*/ 3077 h 10000"/>
                <a:gd name="connsiteX987" fmla="*/ 6737 w 10785"/>
                <a:gd name="connsiteY987" fmla="*/ 3068 h 10000"/>
                <a:gd name="connsiteX988" fmla="*/ 6728 w 10785"/>
                <a:gd name="connsiteY988" fmla="*/ 3043 h 10000"/>
                <a:gd name="connsiteX989" fmla="*/ 6724 w 10785"/>
                <a:gd name="connsiteY989" fmla="*/ 3051 h 10000"/>
                <a:gd name="connsiteX990" fmla="*/ 6714 w 10785"/>
                <a:gd name="connsiteY990" fmla="*/ 3043 h 10000"/>
                <a:gd name="connsiteX991" fmla="*/ 6710 w 10785"/>
                <a:gd name="connsiteY991" fmla="*/ 3034 h 10000"/>
                <a:gd name="connsiteX992" fmla="*/ 6705 w 10785"/>
                <a:gd name="connsiteY992" fmla="*/ 2983 h 10000"/>
                <a:gd name="connsiteX993" fmla="*/ 6696 w 10785"/>
                <a:gd name="connsiteY993" fmla="*/ 2966 h 10000"/>
                <a:gd name="connsiteX994" fmla="*/ 6691 w 10785"/>
                <a:gd name="connsiteY994" fmla="*/ 2983 h 10000"/>
                <a:gd name="connsiteX995" fmla="*/ 6677 w 10785"/>
                <a:gd name="connsiteY995" fmla="*/ 2897 h 10000"/>
                <a:gd name="connsiteX996" fmla="*/ 6677 w 10785"/>
                <a:gd name="connsiteY996" fmla="*/ 2897 h 10000"/>
                <a:gd name="connsiteX997" fmla="*/ 6677 w 10785"/>
                <a:gd name="connsiteY997" fmla="*/ 2872 h 10000"/>
                <a:gd name="connsiteX998" fmla="*/ 6668 w 10785"/>
                <a:gd name="connsiteY998" fmla="*/ 2821 h 10000"/>
                <a:gd name="connsiteX999" fmla="*/ 6664 w 10785"/>
                <a:gd name="connsiteY999" fmla="*/ 2829 h 10000"/>
                <a:gd name="connsiteX1000" fmla="*/ 6654 w 10785"/>
                <a:gd name="connsiteY1000" fmla="*/ 2846 h 10000"/>
                <a:gd name="connsiteX1001" fmla="*/ 6650 w 10785"/>
                <a:gd name="connsiteY1001" fmla="*/ 2829 h 10000"/>
                <a:gd name="connsiteX1002" fmla="*/ 6650 w 10785"/>
                <a:gd name="connsiteY1002" fmla="*/ 2803 h 10000"/>
                <a:gd name="connsiteX1003" fmla="*/ 6650 w 10785"/>
                <a:gd name="connsiteY1003" fmla="*/ 2795 h 10000"/>
                <a:gd name="connsiteX1004" fmla="*/ 6641 w 10785"/>
                <a:gd name="connsiteY1004" fmla="*/ 2786 h 10000"/>
                <a:gd name="connsiteX1005" fmla="*/ 6636 w 10785"/>
                <a:gd name="connsiteY1005" fmla="*/ 2735 h 10000"/>
                <a:gd name="connsiteX1006" fmla="*/ 6664 w 10785"/>
                <a:gd name="connsiteY1006" fmla="*/ 2667 h 10000"/>
                <a:gd name="connsiteX1007" fmla="*/ 6668 w 10785"/>
                <a:gd name="connsiteY1007" fmla="*/ 2684 h 10000"/>
                <a:gd name="connsiteX1008" fmla="*/ 6677 w 10785"/>
                <a:gd name="connsiteY1008" fmla="*/ 2667 h 10000"/>
                <a:gd name="connsiteX1009" fmla="*/ 6668 w 10785"/>
                <a:gd name="connsiteY1009" fmla="*/ 2667 h 10000"/>
                <a:gd name="connsiteX1010" fmla="*/ 6668 w 10785"/>
                <a:gd name="connsiteY1010" fmla="*/ 2650 h 10000"/>
                <a:gd name="connsiteX1011" fmla="*/ 6682 w 10785"/>
                <a:gd name="connsiteY1011" fmla="*/ 2650 h 10000"/>
                <a:gd name="connsiteX1012" fmla="*/ 6691 w 10785"/>
                <a:gd name="connsiteY1012" fmla="*/ 2624 h 10000"/>
                <a:gd name="connsiteX1013" fmla="*/ 6682 w 10785"/>
                <a:gd name="connsiteY1013" fmla="*/ 2632 h 10000"/>
                <a:gd name="connsiteX1014" fmla="*/ 6682 w 10785"/>
                <a:gd name="connsiteY1014" fmla="*/ 2624 h 10000"/>
                <a:gd name="connsiteX1015" fmla="*/ 6691 w 10785"/>
                <a:gd name="connsiteY1015" fmla="*/ 2607 h 10000"/>
                <a:gd name="connsiteX1016" fmla="*/ 6691 w 10785"/>
                <a:gd name="connsiteY1016" fmla="*/ 2598 h 10000"/>
                <a:gd name="connsiteX1017" fmla="*/ 6691 w 10785"/>
                <a:gd name="connsiteY1017" fmla="*/ 2581 h 10000"/>
                <a:gd name="connsiteX1018" fmla="*/ 6696 w 10785"/>
                <a:gd name="connsiteY1018" fmla="*/ 2530 h 10000"/>
                <a:gd name="connsiteX1019" fmla="*/ 6677 w 10785"/>
                <a:gd name="connsiteY1019" fmla="*/ 2513 h 10000"/>
                <a:gd name="connsiteX1020" fmla="*/ 6677 w 10785"/>
                <a:gd name="connsiteY1020" fmla="*/ 2496 h 10000"/>
                <a:gd name="connsiteX1021" fmla="*/ 6682 w 10785"/>
                <a:gd name="connsiteY1021" fmla="*/ 2470 h 10000"/>
                <a:gd name="connsiteX1022" fmla="*/ 6668 w 10785"/>
                <a:gd name="connsiteY1022" fmla="*/ 2462 h 10000"/>
                <a:gd name="connsiteX1023" fmla="*/ 6677 w 10785"/>
                <a:gd name="connsiteY1023" fmla="*/ 2436 h 10000"/>
                <a:gd name="connsiteX1024" fmla="*/ 6682 w 10785"/>
                <a:gd name="connsiteY1024" fmla="*/ 2419 h 10000"/>
                <a:gd name="connsiteX1025" fmla="*/ 6682 w 10785"/>
                <a:gd name="connsiteY1025" fmla="*/ 2393 h 10000"/>
                <a:gd name="connsiteX1026" fmla="*/ 6682 w 10785"/>
                <a:gd name="connsiteY1026" fmla="*/ 2385 h 10000"/>
                <a:gd name="connsiteX1027" fmla="*/ 6682 w 10785"/>
                <a:gd name="connsiteY1027" fmla="*/ 2385 h 10000"/>
                <a:gd name="connsiteX1028" fmla="*/ 6677 w 10785"/>
                <a:gd name="connsiteY1028" fmla="*/ 2376 h 10000"/>
                <a:gd name="connsiteX1029" fmla="*/ 6682 w 10785"/>
                <a:gd name="connsiteY1029" fmla="*/ 2359 h 10000"/>
                <a:gd name="connsiteX1030" fmla="*/ 6677 w 10785"/>
                <a:gd name="connsiteY1030" fmla="*/ 2333 h 10000"/>
                <a:gd name="connsiteX1031" fmla="*/ 6691 w 10785"/>
                <a:gd name="connsiteY1031" fmla="*/ 2333 h 10000"/>
                <a:gd name="connsiteX1032" fmla="*/ 6691 w 10785"/>
                <a:gd name="connsiteY1032" fmla="*/ 2325 h 10000"/>
                <a:gd name="connsiteX1033" fmla="*/ 6691 w 10785"/>
                <a:gd name="connsiteY1033" fmla="*/ 2308 h 10000"/>
                <a:gd name="connsiteX1034" fmla="*/ 6691 w 10785"/>
                <a:gd name="connsiteY1034" fmla="*/ 2299 h 10000"/>
                <a:gd name="connsiteX1035" fmla="*/ 6691 w 10785"/>
                <a:gd name="connsiteY1035" fmla="*/ 2282 h 10000"/>
                <a:gd name="connsiteX1036" fmla="*/ 6691 w 10785"/>
                <a:gd name="connsiteY1036" fmla="*/ 2274 h 10000"/>
                <a:gd name="connsiteX1037" fmla="*/ 6668 w 10785"/>
                <a:gd name="connsiteY1037" fmla="*/ 2248 h 10000"/>
                <a:gd name="connsiteX1038" fmla="*/ 6664 w 10785"/>
                <a:gd name="connsiteY1038" fmla="*/ 2222 h 10000"/>
                <a:gd name="connsiteX1039" fmla="*/ 6654 w 10785"/>
                <a:gd name="connsiteY1039" fmla="*/ 2214 h 10000"/>
                <a:gd name="connsiteX1040" fmla="*/ 6654 w 10785"/>
                <a:gd name="connsiteY1040" fmla="*/ 2188 h 10000"/>
                <a:gd name="connsiteX1041" fmla="*/ 6622 w 10785"/>
                <a:gd name="connsiteY1041" fmla="*/ 2162 h 10000"/>
                <a:gd name="connsiteX1042" fmla="*/ 6631 w 10785"/>
                <a:gd name="connsiteY1042" fmla="*/ 2145 h 10000"/>
                <a:gd name="connsiteX1043" fmla="*/ 6622 w 10785"/>
                <a:gd name="connsiteY1043" fmla="*/ 2120 h 10000"/>
                <a:gd name="connsiteX1044" fmla="*/ 6608 w 10785"/>
                <a:gd name="connsiteY1044" fmla="*/ 2120 h 10000"/>
                <a:gd name="connsiteX1045" fmla="*/ 6604 w 10785"/>
                <a:gd name="connsiteY1045" fmla="*/ 2111 h 10000"/>
                <a:gd name="connsiteX1046" fmla="*/ 6608 w 10785"/>
                <a:gd name="connsiteY1046" fmla="*/ 2111 h 10000"/>
                <a:gd name="connsiteX1047" fmla="*/ 6604 w 10785"/>
                <a:gd name="connsiteY1047" fmla="*/ 2085 h 10000"/>
                <a:gd name="connsiteX1048" fmla="*/ 6581 w 10785"/>
                <a:gd name="connsiteY1048" fmla="*/ 2077 h 10000"/>
                <a:gd name="connsiteX1049" fmla="*/ 6571 w 10785"/>
                <a:gd name="connsiteY1049" fmla="*/ 2085 h 10000"/>
                <a:gd name="connsiteX1050" fmla="*/ 6548 w 10785"/>
                <a:gd name="connsiteY1050" fmla="*/ 2077 h 10000"/>
                <a:gd name="connsiteX1051" fmla="*/ 6530 w 10785"/>
                <a:gd name="connsiteY1051" fmla="*/ 2060 h 10000"/>
                <a:gd name="connsiteX1052" fmla="*/ 6521 w 10785"/>
                <a:gd name="connsiteY1052" fmla="*/ 2060 h 10000"/>
                <a:gd name="connsiteX1053" fmla="*/ 6521 w 10785"/>
                <a:gd name="connsiteY1053" fmla="*/ 2085 h 10000"/>
                <a:gd name="connsiteX1054" fmla="*/ 6516 w 10785"/>
                <a:gd name="connsiteY1054" fmla="*/ 2085 h 10000"/>
                <a:gd name="connsiteX1055" fmla="*/ 6502 w 10785"/>
                <a:gd name="connsiteY1055" fmla="*/ 2111 h 10000"/>
                <a:gd name="connsiteX1056" fmla="*/ 6498 w 10785"/>
                <a:gd name="connsiteY1056" fmla="*/ 2111 h 10000"/>
                <a:gd name="connsiteX1057" fmla="*/ 6498 w 10785"/>
                <a:gd name="connsiteY1057" fmla="*/ 2103 h 10000"/>
                <a:gd name="connsiteX1058" fmla="*/ 6475 w 10785"/>
                <a:gd name="connsiteY1058" fmla="*/ 2051 h 10000"/>
                <a:gd name="connsiteX1059" fmla="*/ 6470 w 10785"/>
                <a:gd name="connsiteY1059" fmla="*/ 2060 h 10000"/>
                <a:gd name="connsiteX1060" fmla="*/ 6456 w 10785"/>
                <a:gd name="connsiteY1060" fmla="*/ 2051 h 10000"/>
                <a:gd name="connsiteX1061" fmla="*/ 6447 w 10785"/>
                <a:gd name="connsiteY1061" fmla="*/ 2051 h 10000"/>
                <a:gd name="connsiteX1062" fmla="*/ 6433 w 10785"/>
                <a:gd name="connsiteY1062" fmla="*/ 2026 h 10000"/>
                <a:gd name="connsiteX1063" fmla="*/ 6433 w 10785"/>
                <a:gd name="connsiteY1063" fmla="*/ 2034 h 10000"/>
                <a:gd name="connsiteX1064" fmla="*/ 6429 w 10785"/>
                <a:gd name="connsiteY1064" fmla="*/ 2026 h 10000"/>
                <a:gd name="connsiteX1065" fmla="*/ 6424 w 10785"/>
                <a:gd name="connsiteY1065" fmla="*/ 2034 h 10000"/>
                <a:gd name="connsiteX1066" fmla="*/ 6410 w 10785"/>
                <a:gd name="connsiteY1066" fmla="*/ 2026 h 10000"/>
                <a:gd name="connsiteX1067" fmla="*/ 6410 w 10785"/>
                <a:gd name="connsiteY1067" fmla="*/ 1991 h 10000"/>
                <a:gd name="connsiteX1068" fmla="*/ 6401 w 10785"/>
                <a:gd name="connsiteY1068" fmla="*/ 1991 h 10000"/>
                <a:gd name="connsiteX1069" fmla="*/ 6396 w 10785"/>
                <a:gd name="connsiteY1069" fmla="*/ 2000 h 10000"/>
                <a:gd name="connsiteX1070" fmla="*/ 6382 w 10785"/>
                <a:gd name="connsiteY1070" fmla="*/ 1966 h 10000"/>
                <a:gd name="connsiteX1071" fmla="*/ 6373 w 10785"/>
                <a:gd name="connsiteY1071" fmla="*/ 1974 h 10000"/>
                <a:gd name="connsiteX1072" fmla="*/ 6369 w 10785"/>
                <a:gd name="connsiteY1072" fmla="*/ 1966 h 10000"/>
                <a:gd name="connsiteX1073" fmla="*/ 6341 w 10785"/>
                <a:gd name="connsiteY1073" fmla="*/ 1949 h 10000"/>
                <a:gd name="connsiteX1074" fmla="*/ 6327 w 10785"/>
                <a:gd name="connsiteY1074" fmla="*/ 1923 h 10000"/>
                <a:gd name="connsiteX1075" fmla="*/ 6323 w 10785"/>
                <a:gd name="connsiteY1075" fmla="*/ 1923 h 10000"/>
                <a:gd name="connsiteX1076" fmla="*/ 6323 w 10785"/>
                <a:gd name="connsiteY1076" fmla="*/ 1966 h 10000"/>
                <a:gd name="connsiteX1077" fmla="*/ 6323 w 10785"/>
                <a:gd name="connsiteY1077" fmla="*/ 1991 h 10000"/>
                <a:gd name="connsiteX1078" fmla="*/ 6313 w 10785"/>
                <a:gd name="connsiteY1078" fmla="*/ 1991 h 10000"/>
                <a:gd name="connsiteX1079" fmla="*/ 6300 w 10785"/>
                <a:gd name="connsiteY1079" fmla="*/ 1991 h 10000"/>
                <a:gd name="connsiteX1080" fmla="*/ 6290 w 10785"/>
                <a:gd name="connsiteY1080" fmla="*/ 1949 h 10000"/>
                <a:gd name="connsiteX1081" fmla="*/ 6276 w 10785"/>
                <a:gd name="connsiteY1081" fmla="*/ 2103 h 10000"/>
                <a:gd name="connsiteX1082" fmla="*/ 6281 w 10785"/>
                <a:gd name="connsiteY1082" fmla="*/ 2103 h 10000"/>
                <a:gd name="connsiteX1083" fmla="*/ 6276 w 10785"/>
                <a:gd name="connsiteY1083" fmla="*/ 2111 h 10000"/>
                <a:gd name="connsiteX1084" fmla="*/ 6276 w 10785"/>
                <a:gd name="connsiteY1084" fmla="*/ 2120 h 10000"/>
                <a:gd name="connsiteX1085" fmla="*/ 6295 w 10785"/>
                <a:gd name="connsiteY1085" fmla="*/ 2239 h 10000"/>
                <a:gd name="connsiteX1086" fmla="*/ 6290 w 10785"/>
                <a:gd name="connsiteY1086" fmla="*/ 2248 h 10000"/>
                <a:gd name="connsiteX1087" fmla="*/ 6281 w 10785"/>
                <a:gd name="connsiteY1087" fmla="*/ 2274 h 10000"/>
                <a:gd name="connsiteX1088" fmla="*/ 6249 w 10785"/>
                <a:gd name="connsiteY1088" fmla="*/ 2274 h 10000"/>
                <a:gd name="connsiteX1089" fmla="*/ 6226 w 10785"/>
                <a:gd name="connsiteY1089" fmla="*/ 2308 h 10000"/>
                <a:gd name="connsiteX1090" fmla="*/ 6221 w 10785"/>
                <a:gd name="connsiteY1090" fmla="*/ 2299 h 10000"/>
                <a:gd name="connsiteX1091" fmla="*/ 6221 w 10785"/>
                <a:gd name="connsiteY1091" fmla="*/ 2308 h 10000"/>
                <a:gd name="connsiteX1092" fmla="*/ 6217 w 10785"/>
                <a:gd name="connsiteY1092" fmla="*/ 2299 h 10000"/>
                <a:gd name="connsiteX1093" fmla="*/ 6194 w 10785"/>
                <a:gd name="connsiteY1093" fmla="*/ 2308 h 10000"/>
                <a:gd name="connsiteX1094" fmla="*/ 6180 w 10785"/>
                <a:gd name="connsiteY1094" fmla="*/ 2299 h 10000"/>
                <a:gd name="connsiteX1095" fmla="*/ 6143 w 10785"/>
                <a:gd name="connsiteY1095" fmla="*/ 2308 h 10000"/>
                <a:gd name="connsiteX1096" fmla="*/ 6134 w 10785"/>
                <a:gd name="connsiteY1096" fmla="*/ 2325 h 10000"/>
                <a:gd name="connsiteX1097" fmla="*/ 6115 w 10785"/>
                <a:gd name="connsiteY1097" fmla="*/ 2282 h 10000"/>
                <a:gd name="connsiteX1098" fmla="*/ 6069 w 10785"/>
                <a:gd name="connsiteY1098" fmla="*/ 2274 h 10000"/>
                <a:gd name="connsiteX1099" fmla="*/ 6069 w 10785"/>
                <a:gd name="connsiteY1099" fmla="*/ 2282 h 10000"/>
                <a:gd name="connsiteX1100" fmla="*/ 6060 w 10785"/>
                <a:gd name="connsiteY1100" fmla="*/ 2299 h 10000"/>
                <a:gd name="connsiteX1101" fmla="*/ 5972 w 10785"/>
                <a:gd name="connsiteY1101" fmla="*/ 2214 h 10000"/>
                <a:gd name="connsiteX1102" fmla="*/ 5968 w 10785"/>
                <a:gd name="connsiteY1102" fmla="*/ 2197 h 10000"/>
                <a:gd name="connsiteX1103" fmla="*/ 5968 w 10785"/>
                <a:gd name="connsiteY1103" fmla="*/ 2171 h 10000"/>
                <a:gd name="connsiteX1104" fmla="*/ 5968 w 10785"/>
                <a:gd name="connsiteY1104" fmla="*/ 2162 h 10000"/>
                <a:gd name="connsiteX1105" fmla="*/ 5968 w 10785"/>
                <a:gd name="connsiteY1105" fmla="*/ 2120 h 10000"/>
                <a:gd name="connsiteX1106" fmla="*/ 5968 w 10785"/>
                <a:gd name="connsiteY1106" fmla="*/ 2111 h 10000"/>
                <a:gd name="connsiteX1107" fmla="*/ 5972 w 10785"/>
                <a:gd name="connsiteY1107" fmla="*/ 2103 h 10000"/>
                <a:gd name="connsiteX1108" fmla="*/ 5986 w 10785"/>
                <a:gd name="connsiteY1108" fmla="*/ 2103 h 10000"/>
                <a:gd name="connsiteX1109" fmla="*/ 5986 w 10785"/>
                <a:gd name="connsiteY1109" fmla="*/ 2085 h 10000"/>
                <a:gd name="connsiteX1110" fmla="*/ 5995 w 10785"/>
                <a:gd name="connsiteY1110" fmla="*/ 2085 h 10000"/>
                <a:gd name="connsiteX1111" fmla="*/ 5995 w 10785"/>
                <a:gd name="connsiteY1111" fmla="*/ 2077 h 10000"/>
                <a:gd name="connsiteX1112" fmla="*/ 5986 w 10785"/>
                <a:gd name="connsiteY1112" fmla="*/ 2060 h 10000"/>
                <a:gd name="connsiteX1113" fmla="*/ 5954 w 10785"/>
                <a:gd name="connsiteY1113" fmla="*/ 2060 h 10000"/>
                <a:gd name="connsiteX1114" fmla="*/ 5940 w 10785"/>
                <a:gd name="connsiteY1114" fmla="*/ 2051 h 10000"/>
                <a:gd name="connsiteX1115" fmla="*/ 5922 w 10785"/>
                <a:gd name="connsiteY1115" fmla="*/ 2060 h 10000"/>
                <a:gd name="connsiteX1116" fmla="*/ 5885 w 10785"/>
                <a:gd name="connsiteY1116" fmla="*/ 2051 h 10000"/>
                <a:gd name="connsiteX1117" fmla="*/ 5876 w 10785"/>
                <a:gd name="connsiteY1117" fmla="*/ 2026 h 10000"/>
                <a:gd name="connsiteX1118" fmla="*/ 5862 w 10785"/>
                <a:gd name="connsiteY1118" fmla="*/ 2026 h 10000"/>
                <a:gd name="connsiteX1119" fmla="*/ 5848 w 10785"/>
                <a:gd name="connsiteY1119" fmla="*/ 2026 h 10000"/>
                <a:gd name="connsiteX1120" fmla="*/ 5825 w 10785"/>
                <a:gd name="connsiteY1120" fmla="*/ 2026 h 10000"/>
                <a:gd name="connsiteX1121" fmla="*/ 5788 w 10785"/>
                <a:gd name="connsiteY1121" fmla="*/ 1991 h 10000"/>
                <a:gd name="connsiteX1122" fmla="*/ 5760 w 10785"/>
                <a:gd name="connsiteY1122" fmla="*/ 2000 h 10000"/>
                <a:gd name="connsiteX1123" fmla="*/ 5760 w 10785"/>
                <a:gd name="connsiteY1123" fmla="*/ 2026 h 10000"/>
                <a:gd name="connsiteX1124" fmla="*/ 5714 w 10785"/>
                <a:gd name="connsiteY1124" fmla="*/ 2051 h 10000"/>
                <a:gd name="connsiteX1125" fmla="*/ 5687 w 10785"/>
                <a:gd name="connsiteY1125" fmla="*/ 2034 h 10000"/>
                <a:gd name="connsiteX1126" fmla="*/ 5645 w 10785"/>
                <a:gd name="connsiteY1126" fmla="*/ 2077 h 10000"/>
                <a:gd name="connsiteX1127" fmla="*/ 5664 w 10785"/>
                <a:gd name="connsiteY1127" fmla="*/ 2120 h 10000"/>
                <a:gd name="connsiteX1128" fmla="*/ 5664 w 10785"/>
                <a:gd name="connsiteY1128" fmla="*/ 2162 h 10000"/>
                <a:gd name="connsiteX1129" fmla="*/ 5631 w 10785"/>
                <a:gd name="connsiteY1129" fmla="*/ 2197 h 10000"/>
                <a:gd name="connsiteX1130" fmla="*/ 5618 w 10785"/>
                <a:gd name="connsiteY1130" fmla="*/ 2188 h 10000"/>
                <a:gd name="connsiteX1131" fmla="*/ 5618 w 10785"/>
                <a:gd name="connsiteY1131" fmla="*/ 2171 h 10000"/>
                <a:gd name="connsiteX1132" fmla="*/ 5641 w 10785"/>
                <a:gd name="connsiteY1132" fmla="*/ 2171 h 10000"/>
                <a:gd name="connsiteX1133" fmla="*/ 5641 w 10785"/>
                <a:gd name="connsiteY1133" fmla="*/ 2162 h 10000"/>
                <a:gd name="connsiteX1134" fmla="*/ 5627 w 10785"/>
                <a:gd name="connsiteY1134" fmla="*/ 2145 h 10000"/>
                <a:gd name="connsiteX1135" fmla="*/ 5627 w 10785"/>
                <a:gd name="connsiteY1135" fmla="*/ 2120 h 10000"/>
                <a:gd name="connsiteX1136" fmla="*/ 5618 w 10785"/>
                <a:gd name="connsiteY1136" fmla="*/ 2111 h 10000"/>
                <a:gd name="connsiteX1137" fmla="*/ 5631 w 10785"/>
                <a:gd name="connsiteY1137" fmla="*/ 2051 h 10000"/>
                <a:gd name="connsiteX1138" fmla="*/ 5631 w 10785"/>
                <a:gd name="connsiteY1138" fmla="*/ 2026 h 10000"/>
                <a:gd name="connsiteX1139" fmla="*/ 5627 w 10785"/>
                <a:gd name="connsiteY1139" fmla="*/ 1991 h 10000"/>
                <a:gd name="connsiteX1140" fmla="*/ 5618 w 10785"/>
                <a:gd name="connsiteY1140" fmla="*/ 1974 h 10000"/>
                <a:gd name="connsiteX1141" fmla="*/ 5618 w 10785"/>
                <a:gd name="connsiteY1141" fmla="*/ 1940 h 10000"/>
                <a:gd name="connsiteX1142" fmla="*/ 5594 w 10785"/>
                <a:gd name="connsiteY1142" fmla="*/ 1855 h 10000"/>
                <a:gd name="connsiteX1143" fmla="*/ 5599 w 10785"/>
                <a:gd name="connsiteY1143" fmla="*/ 1915 h 10000"/>
                <a:gd name="connsiteX1144" fmla="*/ 5599 w 10785"/>
                <a:gd name="connsiteY1144" fmla="*/ 1949 h 10000"/>
                <a:gd name="connsiteX1145" fmla="*/ 5594 w 10785"/>
                <a:gd name="connsiteY1145" fmla="*/ 1991 h 10000"/>
                <a:gd name="connsiteX1146" fmla="*/ 5571 w 10785"/>
                <a:gd name="connsiteY1146" fmla="*/ 2000 h 10000"/>
                <a:gd name="connsiteX1147" fmla="*/ 5530 w 10785"/>
                <a:gd name="connsiteY1147" fmla="*/ 1991 h 10000"/>
                <a:gd name="connsiteX1148" fmla="*/ 5525 w 10785"/>
                <a:gd name="connsiteY1148" fmla="*/ 2000 h 10000"/>
                <a:gd name="connsiteX1149" fmla="*/ 5521 w 10785"/>
                <a:gd name="connsiteY1149" fmla="*/ 1991 h 10000"/>
                <a:gd name="connsiteX1150" fmla="*/ 5498 w 10785"/>
                <a:gd name="connsiteY1150" fmla="*/ 1949 h 10000"/>
                <a:gd name="connsiteX1151" fmla="*/ 5493 w 10785"/>
                <a:gd name="connsiteY1151" fmla="*/ 1889 h 10000"/>
                <a:gd name="connsiteX1152" fmla="*/ 5493 w 10785"/>
                <a:gd name="connsiteY1152" fmla="*/ 1863 h 10000"/>
                <a:gd name="connsiteX1153" fmla="*/ 5498 w 10785"/>
                <a:gd name="connsiteY1153" fmla="*/ 1889 h 10000"/>
                <a:gd name="connsiteX1154" fmla="*/ 5512 w 10785"/>
                <a:gd name="connsiteY1154" fmla="*/ 1855 h 10000"/>
                <a:gd name="connsiteX1155" fmla="*/ 5512 w 10785"/>
                <a:gd name="connsiteY1155" fmla="*/ 1838 h 10000"/>
                <a:gd name="connsiteX1156" fmla="*/ 5479 w 10785"/>
                <a:gd name="connsiteY1156" fmla="*/ 1855 h 10000"/>
                <a:gd name="connsiteX1157" fmla="*/ 5470 w 10785"/>
                <a:gd name="connsiteY1157" fmla="*/ 1872 h 10000"/>
                <a:gd name="connsiteX1158" fmla="*/ 5470 w 10785"/>
                <a:gd name="connsiteY1158" fmla="*/ 1889 h 10000"/>
                <a:gd name="connsiteX1159" fmla="*/ 5465 w 10785"/>
                <a:gd name="connsiteY1159" fmla="*/ 1897 h 10000"/>
                <a:gd name="connsiteX1160" fmla="*/ 5456 w 10785"/>
                <a:gd name="connsiteY1160" fmla="*/ 1872 h 10000"/>
                <a:gd name="connsiteX1161" fmla="*/ 5447 w 10785"/>
                <a:gd name="connsiteY1161" fmla="*/ 1872 h 10000"/>
                <a:gd name="connsiteX1162" fmla="*/ 5433 w 10785"/>
                <a:gd name="connsiteY1162" fmla="*/ 1855 h 10000"/>
                <a:gd name="connsiteX1163" fmla="*/ 5396 w 10785"/>
                <a:gd name="connsiteY1163" fmla="*/ 1863 h 10000"/>
                <a:gd name="connsiteX1164" fmla="*/ 5396 w 10785"/>
                <a:gd name="connsiteY1164" fmla="*/ 1897 h 10000"/>
                <a:gd name="connsiteX1165" fmla="*/ 5378 w 10785"/>
                <a:gd name="connsiteY1165" fmla="*/ 1949 h 10000"/>
                <a:gd name="connsiteX1166" fmla="*/ 5378 w 10785"/>
                <a:gd name="connsiteY1166" fmla="*/ 1966 h 10000"/>
                <a:gd name="connsiteX1167" fmla="*/ 5392 w 10785"/>
                <a:gd name="connsiteY1167" fmla="*/ 2026 h 10000"/>
                <a:gd name="connsiteX1168" fmla="*/ 5396 w 10785"/>
                <a:gd name="connsiteY1168" fmla="*/ 2026 h 10000"/>
                <a:gd name="connsiteX1169" fmla="*/ 5392 w 10785"/>
                <a:gd name="connsiteY1169" fmla="*/ 2009 h 10000"/>
                <a:gd name="connsiteX1170" fmla="*/ 5392 w 10785"/>
                <a:gd name="connsiteY1170" fmla="*/ 2000 h 10000"/>
                <a:gd name="connsiteX1171" fmla="*/ 5396 w 10785"/>
                <a:gd name="connsiteY1171" fmla="*/ 2009 h 10000"/>
                <a:gd name="connsiteX1172" fmla="*/ 5424 w 10785"/>
                <a:gd name="connsiteY1172" fmla="*/ 2009 h 10000"/>
                <a:gd name="connsiteX1173" fmla="*/ 5433 w 10785"/>
                <a:gd name="connsiteY1173" fmla="*/ 1991 h 10000"/>
                <a:gd name="connsiteX1174" fmla="*/ 5447 w 10785"/>
                <a:gd name="connsiteY1174" fmla="*/ 1974 h 10000"/>
                <a:gd name="connsiteX1175" fmla="*/ 5452 w 10785"/>
                <a:gd name="connsiteY1175" fmla="*/ 1966 h 10000"/>
                <a:gd name="connsiteX1176" fmla="*/ 5456 w 10785"/>
                <a:gd name="connsiteY1176" fmla="*/ 1966 h 10000"/>
                <a:gd name="connsiteX1177" fmla="*/ 5465 w 10785"/>
                <a:gd name="connsiteY1177" fmla="*/ 2009 h 10000"/>
                <a:gd name="connsiteX1178" fmla="*/ 5433 w 10785"/>
                <a:gd name="connsiteY1178" fmla="*/ 2034 h 10000"/>
                <a:gd name="connsiteX1179" fmla="*/ 5424 w 10785"/>
                <a:gd name="connsiteY1179" fmla="*/ 2060 h 10000"/>
                <a:gd name="connsiteX1180" fmla="*/ 5419 w 10785"/>
                <a:gd name="connsiteY1180" fmla="*/ 2060 h 10000"/>
                <a:gd name="connsiteX1181" fmla="*/ 5392 w 10785"/>
                <a:gd name="connsiteY1181" fmla="*/ 2111 h 10000"/>
                <a:gd name="connsiteX1182" fmla="*/ 5378 w 10785"/>
                <a:gd name="connsiteY1182" fmla="*/ 2111 h 10000"/>
                <a:gd name="connsiteX1183" fmla="*/ 5350 w 10785"/>
                <a:gd name="connsiteY1183" fmla="*/ 2060 h 10000"/>
                <a:gd name="connsiteX1184" fmla="*/ 5373 w 10785"/>
                <a:gd name="connsiteY1184" fmla="*/ 2111 h 10000"/>
                <a:gd name="connsiteX1185" fmla="*/ 5364 w 10785"/>
                <a:gd name="connsiteY1185" fmla="*/ 2111 h 10000"/>
                <a:gd name="connsiteX1186" fmla="*/ 5359 w 10785"/>
                <a:gd name="connsiteY1186" fmla="*/ 2103 h 10000"/>
                <a:gd name="connsiteX1187" fmla="*/ 5359 w 10785"/>
                <a:gd name="connsiteY1187" fmla="*/ 2120 h 10000"/>
                <a:gd name="connsiteX1188" fmla="*/ 5359 w 10785"/>
                <a:gd name="connsiteY1188" fmla="*/ 2137 h 10000"/>
                <a:gd name="connsiteX1189" fmla="*/ 5313 w 10785"/>
                <a:gd name="connsiteY1189" fmla="*/ 2162 h 10000"/>
                <a:gd name="connsiteX1190" fmla="*/ 5300 w 10785"/>
                <a:gd name="connsiteY1190" fmla="*/ 2162 h 10000"/>
                <a:gd name="connsiteX1191" fmla="*/ 5300 w 10785"/>
                <a:gd name="connsiteY1191" fmla="*/ 2171 h 10000"/>
                <a:gd name="connsiteX1192" fmla="*/ 5300 w 10785"/>
                <a:gd name="connsiteY1192" fmla="*/ 2197 h 10000"/>
                <a:gd name="connsiteX1193" fmla="*/ 5276 w 10785"/>
                <a:gd name="connsiteY1193" fmla="*/ 2188 h 10000"/>
                <a:gd name="connsiteX1194" fmla="*/ 5249 w 10785"/>
                <a:gd name="connsiteY1194" fmla="*/ 2222 h 10000"/>
                <a:gd name="connsiteX1195" fmla="*/ 5249 w 10785"/>
                <a:gd name="connsiteY1195" fmla="*/ 2222 h 10000"/>
                <a:gd name="connsiteX1196" fmla="*/ 5217 w 10785"/>
                <a:gd name="connsiteY1196" fmla="*/ 2214 h 10000"/>
                <a:gd name="connsiteX1197" fmla="*/ 5203 w 10785"/>
                <a:gd name="connsiteY1197" fmla="*/ 2239 h 10000"/>
                <a:gd name="connsiteX1198" fmla="*/ 5171 w 10785"/>
                <a:gd name="connsiteY1198" fmla="*/ 2214 h 10000"/>
                <a:gd name="connsiteX1199" fmla="*/ 5157 w 10785"/>
                <a:gd name="connsiteY1199" fmla="*/ 2239 h 10000"/>
                <a:gd name="connsiteX1200" fmla="*/ 5166 w 10785"/>
                <a:gd name="connsiteY1200" fmla="*/ 2256 h 10000"/>
                <a:gd name="connsiteX1201" fmla="*/ 5171 w 10785"/>
                <a:gd name="connsiteY1201" fmla="*/ 2308 h 10000"/>
                <a:gd name="connsiteX1202" fmla="*/ 5212 w 10785"/>
                <a:gd name="connsiteY1202" fmla="*/ 2350 h 10000"/>
                <a:gd name="connsiteX1203" fmla="*/ 5203 w 10785"/>
                <a:gd name="connsiteY1203" fmla="*/ 2350 h 10000"/>
                <a:gd name="connsiteX1204" fmla="*/ 5166 w 10785"/>
                <a:gd name="connsiteY1204" fmla="*/ 2325 h 10000"/>
                <a:gd name="connsiteX1205" fmla="*/ 5152 w 10785"/>
                <a:gd name="connsiteY1205" fmla="*/ 2308 h 10000"/>
                <a:gd name="connsiteX1206" fmla="*/ 5143 w 10785"/>
                <a:gd name="connsiteY1206" fmla="*/ 2333 h 10000"/>
                <a:gd name="connsiteX1207" fmla="*/ 5138 w 10785"/>
                <a:gd name="connsiteY1207" fmla="*/ 2333 h 10000"/>
                <a:gd name="connsiteX1208" fmla="*/ 5124 w 10785"/>
                <a:gd name="connsiteY1208" fmla="*/ 2376 h 10000"/>
                <a:gd name="connsiteX1209" fmla="*/ 5115 w 10785"/>
                <a:gd name="connsiteY1209" fmla="*/ 2385 h 10000"/>
                <a:gd name="connsiteX1210" fmla="*/ 5106 w 10785"/>
                <a:gd name="connsiteY1210" fmla="*/ 2385 h 10000"/>
                <a:gd name="connsiteX1211" fmla="*/ 5055 w 10785"/>
                <a:gd name="connsiteY1211" fmla="*/ 2470 h 10000"/>
                <a:gd name="connsiteX1212" fmla="*/ 5065 w 10785"/>
                <a:gd name="connsiteY1212" fmla="*/ 2462 h 10000"/>
                <a:gd name="connsiteX1213" fmla="*/ 5055 w 10785"/>
                <a:gd name="connsiteY1213" fmla="*/ 2444 h 10000"/>
                <a:gd name="connsiteX1214" fmla="*/ 5041 w 10785"/>
                <a:gd name="connsiteY1214" fmla="*/ 2462 h 10000"/>
                <a:gd name="connsiteX1215" fmla="*/ 5037 w 10785"/>
                <a:gd name="connsiteY1215" fmla="*/ 2470 h 10000"/>
                <a:gd name="connsiteX1216" fmla="*/ 5032 w 10785"/>
                <a:gd name="connsiteY1216" fmla="*/ 2470 h 10000"/>
                <a:gd name="connsiteX1217" fmla="*/ 5032 w 10785"/>
                <a:gd name="connsiteY1217" fmla="*/ 2444 h 10000"/>
                <a:gd name="connsiteX1218" fmla="*/ 5055 w 10785"/>
                <a:gd name="connsiteY1218" fmla="*/ 2410 h 10000"/>
                <a:gd name="connsiteX1219" fmla="*/ 5065 w 10785"/>
                <a:gd name="connsiteY1219" fmla="*/ 2393 h 10000"/>
                <a:gd name="connsiteX1220" fmla="*/ 5069 w 10785"/>
                <a:gd name="connsiteY1220" fmla="*/ 2385 h 10000"/>
                <a:gd name="connsiteX1221" fmla="*/ 5083 w 10785"/>
                <a:gd name="connsiteY1221" fmla="*/ 2376 h 10000"/>
                <a:gd name="connsiteX1222" fmla="*/ 5097 w 10785"/>
                <a:gd name="connsiteY1222" fmla="*/ 2376 h 10000"/>
                <a:gd name="connsiteX1223" fmla="*/ 5124 w 10785"/>
                <a:gd name="connsiteY1223" fmla="*/ 2325 h 10000"/>
                <a:gd name="connsiteX1224" fmla="*/ 5143 w 10785"/>
                <a:gd name="connsiteY1224" fmla="*/ 2248 h 10000"/>
                <a:gd name="connsiteX1225" fmla="*/ 5152 w 10785"/>
                <a:gd name="connsiteY1225" fmla="*/ 2239 h 10000"/>
                <a:gd name="connsiteX1226" fmla="*/ 5166 w 10785"/>
                <a:gd name="connsiteY1226" fmla="*/ 2162 h 10000"/>
                <a:gd name="connsiteX1227" fmla="*/ 5171 w 10785"/>
                <a:gd name="connsiteY1227" fmla="*/ 2171 h 10000"/>
                <a:gd name="connsiteX1228" fmla="*/ 5198 w 10785"/>
                <a:gd name="connsiteY1228" fmla="*/ 2145 h 10000"/>
                <a:gd name="connsiteX1229" fmla="*/ 5203 w 10785"/>
                <a:gd name="connsiteY1229" fmla="*/ 2111 h 10000"/>
                <a:gd name="connsiteX1230" fmla="*/ 5217 w 10785"/>
                <a:gd name="connsiteY1230" fmla="*/ 2060 h 10000"/>
                <a:gd name="connsiteX1231" fmla="*/ 5226 w 10785"/>
                <a:gd name="connsiteY1231" fmla="*/ 2026 h 10000"/>
                <a:gd name="connsiteX1232" fmla="*/ 5286 w 10785"/>
                <a:gd name="connsiteY1232" fmla="*/ 2026 h 10000"/>
                <a:gd name="connsiteX1233" fmla="*/ 5290 w 10785"/>
                <a:gd name="connsiteY1233" fmla="*/ 2034 h 10000"/>
                <a:gd name="connsiteX1234" fmla="*/ 5323 w 10785"/>
                <a:gd name="connsiteY1234" fmla="*/ 1923 h 10000"/>
                <a:gd name="connsiteX1235" fmla="*/ 5323 w 10785"/>
                <a:gd name="connsiteY1235" fmla="*/ 1889 h 10000"/>
                <a:gd name="connsiteX1236" fmla="*/ 5359 w 10785"/>
                <a:gd name="connsiteY1236" fmla="*/ 1829 h 10000"/>
                <a:gd name="connsiteX1237" fmla="*/ 5378 w 10785"/>
                <a:gd name="connsiteY1237" fmla="*/ 1812 h 10000"/>
                <a:gd name="connsiteX1238" fmla="*/ 5406 w 10785"/>
                <a:gd name="connsiteY1238" fmla="*/ 1752 h 10000"/>
                <a:gd name="connsiteX1239" fmla="*/ 5410 w 10785"/>
                <a:gd name="connsiteY1239" fmla="*/ 1718 h 10000"/>
                <a:gd name="connsiteX1240" fmla="*/ 5438 w 10785"/>
                <a:gd name="connsiteY1240" fmla="*/ 1667 h 10000"/>
                <a:gd name="connsiteX1241" fmla="*/ 5438 w 10785"/>
                <a:gd name="connsiteY1241" fmla="*/ 1650 h 10000"/>
                <a:gd name="connsiteX1242" fmla="*/ 5438 w 10785"/>
                <a:gd name="connsiteY1242" fmla="*/ 1641 h 10000"/>
                <a:gd name="connsiteX1243" fmla="*/ 5452 w 10785"/>
                <a:gd name="connsiteY1243" fmla="*/ 1641 h 10000"/>
                <a:gd name="connsiteX1244" fmla="*/ 5456 w 10785"/>
                <a:gd name="connsiteY1244" fmla="*/ 1615 h 10000"/>
                <a:gd name="connsiteX1245" fmla="*/ 5456 w 10785"/>
                <a:gd name="connsiteY1245" fmla="*/ 1615 h 10000"/>
                <a:gd name="connsiteX1246" fmla="*/ 5465 w 10785"/>
                <a:gd name="connsiteY1246" fmla="*/ 1598 h 10000"/>
                <a:gd name="connsiteX1247" fmla="*/ 5465 w 10785"/>
                <a:gd name="connsiteY1247" fmla="*/ 1615 h 10000"/>
                <a:gd name="connsiteX1248" fmla="*/ 5479 w 10785"/>
                <a:gd name="connsiteY1248" fmla="*/ 1598 h 10000"/>
                <a:gd name="connsiteX1249" fmla="*/ 5484 w 10785"/>
                <a:gd name="connsiteY1249" fmla="*/ 1581 h 10000"/>
                <a:gd name="connsiteX1250" fmla="*/ 5493 w 10785"/>
                <a:gd name="connsiteY1250" fmla="*/ 1581 h 10000"/>
                <a:gd name="connsiteX1251" fmla="*/ 5512 w 10785"/>
                <a:gd name="connsiteY1251" fmla="*/ 1538 h 10000"/>
                <a:gd name="connsiteX1252" fmla="*/ 5530 w 10785"/>
                <a:gd name="connsiteY1252" fmla="*/ 1564 h 10000"/>
                <a:gd name="connsiteX1253" fmla="*/ 5530 w 10785"/>
                <a:gd name="connsiteY1253" fmla="*/ 1538 h 10000"/>
                <a:gd name="connsiteX1254" fmla="*/ 5539 w 10785"/>
                <a:gd name="connsiteY1254" fmla="*/ 1530 h 10000"/>
                <a:gd name="connsiteX1255" fmla="*/ 5530 w 10785"/>
                <a:gd name="connsiteY1255" fmla="*/ 1504 h 10000"/>
                <a:gd name="connsiteX1256" fmla="*/ 5567 w 10785"/>
                <a:gd name="connsiteY1256" fmla="*/ 1479 h 10000"/>
                <a:gd name="connsiteX1257" fmla="*/ 5553 w 10785"/>
                <a:gd name="connsiteY1257" fmla="*/ 1479 h 10000"/>
                <a:gd name="connsiteX1258" fmla="*/ 5553 w 10785"/>
                <a:gd name="connsiteY1258" fmla="*/ 1453 h 10000"/>
                <a:gd name="connsiteX1259" fmla="*/ 5581 w 10785"/>
                <a:gd name="connsiteY1259" fmla="*/ 1444 h 10000"/>
                <a:gd name="connsiteX1260" fmla="*/ 5581 w 10785"/>
                <a:gd name="connsiteY1260" fmla="*/ 1453 h 10000"/>
                <a:gd name="connsiteX1261" fmla="*/ 5585 w 10785"/>
                <a:gd name="connsiteY1261" fmla="*/ 1444 h 10000"/>
                <a:gd name="connsiteX1262" fmla="*/ 5594 w 10785"/>
                <a:gd name="connsiteY1262" fmla="*/ 1427 h 10000"/>
                <a:gd name="connsiteX1263" fmla="*/ 5599 w 10785"/>
                <a:gd name="connsiteY1263" fmla="*/ 1419 h 10000"/>
                <a:gd name="connsiteX1264" fmla="*/ 5594 w 10785"/>
                <a:gd name="connsiteY1264" fmla="*/ 1402 h 10000"/>
                <a:gd name="connsiteX1265" fmla="*/ 5604 w 10785"/>
                <a:gd name="connsiteY1265" fmla="*/ 1393 h 10000"/>
                <a:gd name="connsiteX1266" fmla="*/ 5618 w 10785"/>
                <a:gd name="connsiteY1266" fmla="*/ 1393 h 10000"/>
                <a:gd name="connsiteX1267" fmla="*/ 5627 w 10785"/>
                <a:gd name="connsiteY1267" fmla="*/ 1368 h 10000"/>
                <a:gd name="connsiteX1268" fmla="*/ 5627 w 10785"/>
                <a:gd name="connsiteY1268" fmla="*/ 1325 h 10000"/>
                <a:gd name="connsiteX1269" fmla="*/ 5645 w 10785"/>
                <a:gd name="connsiteY1269" fmla="*/ 1291 h 10000"/>
                <a:gd name="connsiteX1270" fmla="*/ 5645 w 10785"/>
                <a:gd name="connsiteY1270" fmla="*/ 1282 h 10000"/>
                <a:gd name="connsiteX1271" fmla="*/ 5654 w 10785"/>
                <a:gd name="connsiteY1271" fmla="*/ 1265 h 10000"/>
                <a:gd name="connsiteX1272" fmla="*/ 5654 w 10785"/>
                <a:gd name="connsiteY1272" fmla="*/ 1214 h 10000"/>
                <a:gd name="connsiteX1273" fmla="*/ 5654 w 10785"/>
                <a:gd name="connsiteY1273" fmla="*/ 1214 h 10000"/>
                <a:gd name="connsiteX1274" fmla="*/ 5645 w 10785"/>
                <a:gd name="connsiteY1274" fmla="*/ 1197 h 10000"/>
                <a:gd name="connsiteX1275" fmla="*/ 5659 w 10785"/>
                <a:gd name="connsiteY1275" fmla="*/ 1197 h 10000"/>
                <a:gd name="connsiteX1276" fmla="*/ 5654 w 10785"/>
                <a:gd name="connsiteY1276" fmla="*/ 1154 h 10000"/>
                <a:gd name="connsiteX1277" fmla="*/ 5641 w 10785"/>
                <a:gd name="connsiteY1277" fmla="*/ 1154 h 10000"/>
                <a:gd name="connsiteX1278" fmla="*/ 5627 w 10785"/>
                <a:gd name="connsiteY1278" fmla="*/ 1128 h 10000"/>
                <a:gd name="connsiteX1279" fmla="*/ 5618 w 10785"/>
                <a:gd name="connsiteY1279" fmla="*/ 1094 h 10000"/>
                <a:gd name="connsiteX1280" fmla="*/ 5613 w 10785"/>
                <a:gd name="connsiteY1280" fmla="*/ 1094 h 10000"/>
                <a:gd name="connsiteX1281" fmla="*/ 5604 w 10785"/>
                <a:gd name="connsiteY1281" fmla="*/ 1120 h 10000"/>
                <a:gd name="connsiteX1282" fmla="*/ 5604 w 10785"/>
                <a:gd name="connsiteY1282" fmla="*/ 1128 h 10000"/>
                <a:gd name="connsiteX1283" fmla="*/ 5599 w 10785"/>
                <a:gd name="connsiteY1283" fmla="*/ 1103 h 10000"/>
                <a:gd name="connsiteX1284" fmla="*/ 5599 w 10785"/>
                <a:gd name="connsiteY1284" fmla="*/ 1103 h 10000"/>
                <a:gd name="connsiteX1285" fmla="*/ 5594 w 10785"/>
                <a:gd name="connsiteY1285" fmla="*/ 1068 h 10000"/>
                <a:gd name="connsiteX1286" fmla="*/ 5594 w 10785"/>
                <a:gd name="connsiteY1286" fmla="*/ 1060 h 10000"/>
                <a:gd name="connsiteX1287" fmla="*/ 5581 w 10785"/>
                <a:gd name="connsiteY1287" fmla="*/ 1034 h 10000"/>
                <a:gd name="connsiteX1288" fmla="*/ 5571 w 10785"/>
                <a:gd name="connsiteY1288" fmla="*/ 1009 h 10000"/>
                <a:gd name="connsiteX1289" fmla="*/ 5571 w 10785"/>
                <a:gd name="connsiteY1289" fmla="*/ 991 h 10000"/>
                <a:gd name="connsiteX1290" fmla="*/ 5585 w 10785"/>
                <a:gd name="connsiteY1290" fmla="*/ 1009 h 10000"/>
                <a:gd name="connsiteX1291" fmla="*/ 5604 w 10785"/>
                <a:gd name="connsiteY1291" fmla="*/ 1043 h 10000"/>
                <a:gd name="connsiteX1292" fmla="*/ 5641 w 10785"/>
                <a:gd name="connsiteY1292" fmla="*/ 1094 h 10000"/>
                <a:gd name="connsiteX1293" fmla="*/ 5631 w 10785"/>
                <a:gd name="connsiteY1293" fmla="*/ 1128 h 10000"/>
                <a:gd name="connsiteX1294" fmla="*/ 5641 w 10785"/>
                <a:gd name="connsiteY1294" fmla="*/ 1128 h 10000"/>
                <a:gd name="connsiteX1295" fmla="*/ 5659 w 10785"/>
                <a:gd name="connsiteY1295" fmla="*/ 1017 h 10000"/>
                <a:gd name="connsiteX1296" fmla="*/ 5659 w 10785"/>
                <a:gd name="connsiteY1296" fmla="*/ 983 h 10000"/>
                <a:gd name="connsiteX1297" fmla="*/ 5659 w 10785"/>
                <a:gd name="connsiteY1297" fmla="*/ 957 h 10000"/>
                <a:gd name="connsiteX1298" fmla="*/ 5654 w 10785"/>
                <a:gd name="connsiteY1298" fmla="*/ 966 h 10000"/>
                <a:gd name="connsiteX1299" fmla="*/ 5641 w 10785"/>
                <a:gd name="connsiteY1299" fmla="*/ 957 h 10000"/>
                <a:gd name="connsiteX1300" fmla="*/ 5631 w 10785"/>
                <a:gd name="connsiteY1300" fmla="*/ 897 h 10000"/>
                <a:gd name="connsiteX1301" fmla="*/ 5641 w 10785"/>
                <a:gd name="connsiteY1301" fmla="*/ 872 h 10000"/>
                <a:gd name="connsiteX1302" fmla="*/ 5618 w 10785"/>
                <a:gd name="connsiteY1302" fmla="*/ 803 h 10000"/>
                <a:gd name="connsiteX1303" fmla="*/ 5604 w 10785"/>
                <a:gd name="connsiteY1303" fmla="*/ 821 h 10000"/>
                <a:gd name="connsiteX1304" fmla="*/ 5613 w 10785"/>
                <a:gd name="connsiteY1304" fmla="*/ 846 h 10000"/>
                <a:gd name="connsiteX1305" fmla="*/ 5604 w 10785"/>
                <a:gd name="connsiteY1305" fmla="*/ 855 h 10000"/>
                <a:gd name="connsiteX1306" fmla="*/ 5599 w 10785"/>
                <a:gd name="connsiteY1306" fmla="*/ 880 h 10000"/>
                <a:gd name="connsiteX1307" fmla="*/ 5594 w 10785"/>
                <a:gd name="connsiteY1307" fmla="*/ 880 h 10000"/>
                <a:gd name="connsiteX1308" fmla="*/ 5585 w 10785"/>
                <a:gd name="connsiteY1308" fmla="*/ 829 h 10000"/>
                <a:gd name="connsiteX1309" fmla="*/ 5571 w 10785"/>
                <a:gd name="connsiteY1309" fmla="*/ 803 h 10000"/>
                <a:gd name="connsiteX1310" fmla="*/ 5585 w 10785"/>
                <a:gd name="connsiteY1310" fmla="*/ 795 h 10000"/>
                <a:gd name="connsiteX1311" fmla="*/ 5585 w 10785"/>
                <a:gd name="connsiteY1311" fmla="*/ 761 h 10000"/>
                <a:gd name="connsiteX1312" fmla="*/ 5558 w 10785"/>
                <a:gd name="connsiteY1312" fmla="*/ 709 h 10000"/>
                <a:gd name="connsiteX1313" fmla="*/ 5544 w 10785"/>
                <a:gd name="connsiteY1313" fmla="*/ 709 h 10000"/>
                <a:gd name="connsiteX1314" fmla="*/ 5544 w 10785"/>
                <a:gd name="connsiteY1314" fmla="*/ 684 h 10000"/>
                <a:gd name="connsiteX1315" fmla="*/ 5525 w 10785"/>
                <a:gd name="connsiteY1315" fmla="*/ 632 h 10000"/>
                <a:gd name="connsiteX1316" fmla="*/ 5507 w 10785"/>
                <a:gd name="connsiteY1316" fmla="*/ 607 h 10000"/>
                <a:gd name="connsiteX1317" fmla="*/ 5512 w 10785"/>
                <a:gd name="connsiteY1317" fmla="*/ 598 h 10000"/>
                <a:gd name="connsiteX1318" fmla="*/ 5507 w 10785"/>
                <a:gd name="connsiteY1318" fmla="*/ 581 h 10000"/>
                <a:gd name="connsiteX1319" fmla="*/ 5493 w 10785"/>
                <a:gd name="connsiteY1319" fmla="*/ 573 h 10000"/>
                <a:gd name="connsiteX1320" fmla="*/ 5484 w 10785"/>
                <a:gd name="connsiteY1320" fmla="*/ 581 h 10000"/>
                <a:gd name="connsiteX1321" fmla="*/ 5484 w 10785"/>
                <a:gd name="connsiteY1321" fmla="*/ 573 h 10000"/>
                <a:gd name="connsiteX1322" fmla="*/ 5484 w 10785"/>
                <a:gd name="connsiteY1322" fmla="*/ 547 h 10000"/>
                <a:gd name="connsiteX1323" fmla="*/ 5465 w 10785"/>
                <a:gd name="connsiteY1323" fmla="*/ 556 h 10000"/>
                <a:gd name="connsiteX1324" fmla="*/ 5433 w 10785"/>
                <a:gd name="connsiteY1324" fmla="*/ 547 h 10000"/>
                <a:gd name="connsiteX1325" fmla="*/ 5410 w 10785"/>
                <a:gd name="connsiteY1325" fmla="*/ 573 h 10000"/>
                <a:gd name="connsiteX1326" fmla="*/ 5406 w 10785"/>
                <a:gd name="connsiteY1326" fmla="*/ 573 h 10000"/>
                <a:gd name="connsiteX1327" fmla="*/ 5392 w 10785"/>
                <a:gd name="connsiteY1327" fmla="*/ 573 h 10000"/>
                <a:gd name="connsiteX1328" fmla="*/ 5364 w 10785"/>
                <a:gd name="connsiteY1328" fmla="*/ 530 h 10000"/>
                <a:gd name="connsiteX1329" fmla="*/ 5350 w 10785"/>
                <a:gd name="connsiteY1329" fmla="*/ 556 h 10000"/>
                <a:gd name="connsiteX1330" fmla="*/ 5346 w 10785"/>
                <a:gd name="connsiteY1330" fmla="*/ 556 h 10000"/>
                <a:gd name="connsiteX1331" fmla="*/ 5313 w 10785"/>
                <a:gd name="connsiteY1331" fmla="*/ 573 h 10000"/>
                <a:gd name="connsiteX1332" fmla="*/ 5304 w 10785"/>
                <a:gd name="connsiteY1332" fmla="*/ 556 h 10000"/>
                <a:gd name="connsiteX1333" fmla="*/ 5290 w 10785"/>
                <a:gd name="connsiteY1333" fmla="*/ 573 h 10000"/>
                <a:gd name="connsiteX1334" fmla="*/ 5290 w 10785"/>
                <a:gd name="connsiteY1334" fmla="*/ 556 h 10000"/>
                <a:gd name="connsiteX1335" fmla="*/ 5300 w 10785"/>
                <a:gd name="connsiteY1335" fmla="*/ 547 h 10000"/>
                <a:gd name="connsiteX1336" fmla="*/ 5300 w 10785"/>
                <a:gd name="connsiteY1336" fmla="*/ 530 h 10000"/>
                <a:gd name="connsiteX1337" fmla="*/ 5290 w 10785"/>
                <a:gd name="connsiteY1337" fmla="*/ 530 h 10000"/>
                <a:gd name="connsiteX1338" fmla="*/ 5286 w 10785"/>
                <a:gd name="connsiteY1338" fmla="*/ 547 h 10000"/>
                <a:gd name="connsiteX1339" fmla="*/ 5272 w 10785"/>
                <a:gd name="connsiteY1339" fmla="*/ 556 h 10000"/>
                <a:gd name="connsiteX1340" fmla="*/ 5272 w 10785"/>
                <a:gd name="connsiteY1340" fmla="*/ 598 h 10000"/>
                <a:gd name="connsiteX1341" fmla="*/ 5276 w 10785"/>
                <a:gd name="connsiteY1341" fmla="*/ 581 h 10000"/>
                <a:gd name="connsiteX1342" fmla="*/ 5272 w 10785"/>
                <a:gd name="connsiteY1342" fmla="*/ 607 h 10000"/>
                <a:gd name="connsiteX1343" fmla="*/ 5263 w 10785"/>
                <a:gd name="connsiteY1343" fmla="*/ 607 h 10000"/>
                <a:gd name="connsiteX1344" fmla="*/ 5263 w 10785"/>
                <a:gd name="connsiteY1344" fmla="*/ 632 h 10000"/>
                <a:gd name="connsiteX1345" fmla="*/ 5258 w 10785"/>
                <a:gd name="connsiteY1345" fmla="*/ 658 h 10000"/>
                <a:gd name="connsiteX1346" fmla="*/ 5244 w 10785"/>
                <a:gd name="connsiteY1346" fmla="*/ 667 h 10000"/>
                <a:gd name="connsiteX1347" fmla="*/ 5240 w 10785"/>
                <a:gd name="connsiteY1347" fmla="*/ 658 h 10000"/>
                <a:gd name="connsiteX1348" fmla="*/ 5240 w 10785"/>
                <a:gd name="connsiteY1348" fmla="*/ 684 h 10000"/>
                <a:gd name="connsiteX1349" fmla="*/ 5212 w 10785"/>
                <a:gd name="connsiteY1349" fmla="*/ 684 h 10000"/>
                <a:gd name="connsiteX1350" fmla="*/ 5198 w 10785"/>
                <a:gd name="connsiteY1350" fmla="*/ 692 h 10000"/>
                <a:gd name="connsiteX1351" fmla="*/ 5184 w 10785"/>
                <a:gd name="connsiteY1351" fmla="*/ 684 h 10000"/>
                <a:gd name="connsiteX1352" fmla="*/ 5157 w 10785"/>
                <a:gd name="connsiteY1352" fmla="*/ 684 h 10000"/>
                <a:gd name="connsiteX1353" fmla="*/ 5157 w 10785"/>
                <a:gd name="connsiteY1353" fmla="*/ 667 h 10000"/>
                <a:gd name="connsiteX1354" fmla="*/ 5157 w 10785"/>
                <a:gd name="connsiteY1354" fmla="*/ 667 h 10000"/>
                <a:gd name="connsiteX1355" fmla="*/ 5180 w 10785"/>
                <a:gd name="connsiteY1355" fmla="*/ 650 h 10000"/>
                <a:gd name="connsiteX1356" fmla="*/ 5184 w 10785"/>
                <a:gd name="connsiteY1356" fmla="*/ 658 h 10000"/>
                <a:gd name="connsiteX1357" fmla="*/ 5203 w 10785"/>
                <a:gd name="connsiteY1357" fmla="*/ 547 h 10000"/>
                <a:gd name="connsiteX1358" fmla="*/ 5226 w 10785"/>
                <a:gd name="connsiteY1358" fmla="*/ 530 h 10000"/>
                <a:gd name="connsiteX1359" fmla="*/ 5230 w 10785"/>
                <a:gd name="connsiteY1359" fmla="*/ 487 h 10000"/>
                <a:gd name="connsiteX1360" fmla="*/ 5230 w 10785"/>
                <a:gd name="connsiteY1360" fmla="*/ 487 h 10000"/>
                <a:gd name="connsiteX1361" fmla="*/ 5226 w 10785"/>
                <a:gd name="connsiteY1361" fmla="*/ 462 h 10000"/>
                <a:gd name="connsiteX1362" fmla="*/ 5226 w 10785"/>
                <a:gd name="connsiteY1362" fmla="*/ 462 h 10000"/>
                <a:gd name="connsiteX1363" fmla="*/ 5240 w 10785"/>
                <a:gd name="connsiteY1363" fmla="*/ 462 h 10000"/>
                <a:gd name="connsiteX1364" fmla="*/ 5240 w 10785"/>
                <a:gd name="connsiteY1364" fmla="*/ 444 h 10000"/>
                <a:gd name="connsiteX1365" fmla="*/ 5230 w 10785"/>
                <a:gd name="connsiteY1365" fmla="*/ 436 h 10000"/>
                <a:gd name="connsiteX1366" fmla="*/ 5230 w 10785"/>
                <a:gd name="connsiteY1366" fmla="*/ 419 h 10000"/>
                <a:gd name="connsiteX1367" fmla="*/ 5230 w 10785"/>
                <a:gd name="connsiteY1367" fmla="*/ 410 h 10000"/>
                <a:gd name="connsiteX1368" fmla="*/ 5198 w 10785"/>
                <a:gd name="connsiteY1368" fmla="*/ 402 h 10000"/>
                <a:gd name="connsiteX1369" fmla="*/ 5189 w 10785"/>
                <a:gd name="connsiteY1369" fmla="*/ 402 h 10000"/>
                <a:gd name="connsiteX1370" fmla="*/ 5184 w 10785"/>
                <a:gd name="connsiteY1370" fmla="*/ 376 h 10000"/>
                <a:gd name="connsiteX1371" fmla="*/ 5180 w 10785"/>
                <a:gd name="connsiteY1371" fmla="*/ 376 h 10000"/>
                <a:gd name="connsiteX1372" fmla="*/ 5166 w 10785"/>
                <a:gd name="connsiteY1372" fmla="*/ 376 h 10000"/>
                <a:gd name="connsiteX1373" fmla="*/ 5157 w 10785"/>
                <a:gd name="connsiteY1373" fmla="*/ 385 h 10000"/>
                <a:gd name="connsiteX1374" fmla="*/ 5152 w 10785"/>
                <a:gd name="connsiteY1374" fmla="*/ 376 h 10000"/>
                <a:gd name="connsiteX1375" fmla="*/ 5129 w 10785"/>
                <a:gd name="connsiteY1375" fmla="*/ 385 h 10000"/>
                <a:gd name="connsiteX1376" fmla="*/ 5129 w 10785"/>
                <a:gd name="connsiteY1376" fmla="*/ 350 h 10000"/>
                <a:gd name="connsiteX1377" fmla="*/ 5129 w 10785"/>
                <a:gd name="connsiteY1377" fmla="*/ 325 h 10000"/>
                <a:gd name="connsiteX1378" fmla="*/ 5124 w 10785"/>
                <a:gd name="connsiteY1378" fmla="*/ 359 h 10000"/>
                <a:gd name="connsiteX1379" fmla="*/ 5106 w 10785"/>
                <a:gd name="connsiteY1379" fmla="*/ 359 h 10000"/>
                <a:gd name="connsiteX1380" fmla="*/ 5037 w 10785"/>
                <a:gd name="connsiteY1380" fmla="*/ 419 h 10000"/>
                <a:gd name="connsiteX1381" fmla="*/ 5051 w 10785"/>
                <a:gd name="connsiteY1381" fmla="*/ 385 h 10000"/>
                <a:gd name="connsiteX1382" fmla="*/ 5055 w 10785"/>
                <a:gd name="connsiteY1382" fmla="*/ 376 h 10000"/>
                <a:gd name="connsiteX1383" fmla="*/ 5092 w 10785"/>
                <a:gd name="connsiteY1383" fmla="*/ 282 h 10000"/>
                <a:gd name="connsiteX1384" fmla="*/ 5106 w 10785"/>
                <a:gd name="connsiteY1384" fmla="*/ 265 h 10000"/>
                <a:gd name="connsiteX1385" fmla="*/ 5115 w 10785"/>
                <a:gd name="connsiteY1385" fmla="*/ 265 h 10000"/>
                <a:gd name="connsiteX1386" fmla="*/ 5124 w 10785"/>
                <a:gd name="connsiteY1386" fmla="*/ 222 h 10000"/>
                <a:gd name="connsiteX1387" fmla="*/ 5124 w 10785"/>
                <a:gd name="connsiteY1387" fmla="*/ 214 h 10000"/>
                <a:gd name="connsiteX1388" fmla="*/ 5143 w 10785"/>
                <a:gd name="connsiteY1388" fmla="*/ 197 h 10000"/>
                <a:gd name="connsiteX1389" fmla="*/ 5152 w 10785"/>
                <a:gd name="connsiteY1389" fmla="*/ 214 h 10000"/>
                <a:gd name="connsiteX1390" fmla="*/ 5143 w 10785"/>
                <a:gd name="connsiteY1390" fmla="*/ 188 h 10000"/>
                <a:gd name="connsiteX1391" fmla="*/ 5129 w 10785"/>
                <a:gd name="connsiteY1391" fmla="*/ 103 h 10000"/>
                <a:gd name="connsiteX1392" fmla="*/ 5115 w 10785"/>
                <a:gd name="connsiteY1392" fmla="*/ 85 h 10000"/>
                <a:gd name="connsiteX1393" fmla="*/ 5111 w 10785"/>
                <a:gd name="connsiteY1393" fmla="*/ 111 h 10000"/>
                <a:gd name="connsiteX1394" fmla="*/ 5092 w 10785"/>
                <a:gd name="connsiteY1394" fmla="*/ 103 h 10000"/>
                <a:gd name="connsiteX1395" fmla="*/ 5069 w 10785"/>
                <a:gd name="connsiteY1395" fmla="*/ 77 h 10000"/>
                <a:gd name="connsiteX1396" fmla="*/ 5051 w 10785"/>
                <a:gd name="connsiteY1396" fmla="*/ 26 h 10000"/>
                <a:gd name="connsiteX1397" fmla="*/ 5041 w 10785"/>
                <a:gd name="connsiteY1397" fmla="*/ 34 h 10000"/>
                <a:gd name="connsiteX1398" fmla="*/ 5037 w 10785"/>
                <a:gd name="connsiteY1398" fmla="*/ 34 h 10000"/>
                <a:gd name="connsiteX1399" fmla="*/ 5037 w 10785"/>
                <a:gd name="connsiteY1399" fmla="*/ 26 h 10000"/>
                <a:gd name="connsiteX1400" fmla="*/ 5037 w 10785"/>
                <a:gd name="connsiteY1400" fmla="*/ 9 h 10000"/>
                <a:gd name="connsiteX1401" fmla="*/ 5023 w 10785"/>
                <a:gd name="connsiteY1401" fmla="*/ 0 h 10000"/>
                <a:gd name="connsiteX1402" fmla="*/ 5009 w 10785"/>
                <a:gd name="connsiteY1402" fmla="*/ 9 h 10000"/>
                <a:gd name="connsiteX1403" fmla="*/ 4995 w 10785"/>
                <a:gd name="connsiteY1403" fmla="*/ 34 h 10000"/>
                <a:gd name="connsiteX1404" fmla="*/ 4991 w 10785"/>
                <a:gd name="connsiteY1404" fmla="*/ 60 h 10000"/>
                <a:gd name="connsiteX1405" fmla="*/ 4982 w 10785"/>
                <a:gd name="connsiteY1405" fmla="*/ 60 h 10000"/>
                <a:gd name="connsiteX1406" fmla="*/ 4949 w 10785"/>
                <a:gd name="connsiteY1406" fmla="*/ 51 h 10000"/>
                <a:gd name="connsiteX1407" fmla="*/ 4949 w 10785"/>
                <a:gd name="connsiteY1407" fmla="*/ 85 h 10000"/>
                <a:gd name="connsiteX1408" fmla="*/ 4903 w 10785"/>
                <a:gd name="connsiteY1408" fmla="*/ 197 h 10000"/>
                <a:gd name="connsiteX1409" fmla="*/ 4899 w 10785"/>
                <a:gd name="connsiteY1409" fmla="*/ 239 h 10000"/>
                <a:gd name="connsiteX1410" fmla="*/ 4871 w 10785"/>
                <a:gd name="connsiteY1410" fmla="*/ 274 h 10000"/>
                <a:gd name="connsiteX1411" fmla="*/ 4871 w 10785"/>
                <a:gd name="connsiteY1411" fmla="*/ 282 h 10000"/>
                <a:gd name="connsiteX1412" fmla="*/ 4834 w 10785"/>
                <a:gd name="connsiteY1412" fmla="*/ 376 h 10000"/>
                <a:gd name="connsiteX1413" fmla="*/ 4829 w 10785"/>
                <a:gd name="connsiteY1413" fmla="*/ 402 h 10000"/>
                <a:gd name="connsiteX1414" fmla="*/ 4834 w 10785"/>
                <a:gd name="connsiteY1414" fmla="*/ 410 h 10000"/>
                <a:gd name="connsiteX1415" fmla="*/ 4829 w 10785"/>
                <a:gd name="connsiteY1415" fmla="*/ 436 h 10000"/>
                <a:gd name="connsiteX1416" fmla="*/ 4825 w 10785"/>
                <a:gd name="connsiteY1416" fmla="*/ 436 h 10000"/>
                <a:gd name="connsiteX1417" fmla="*/ 4825 w 10785"/>
                <a:gd name="connsiteY1417" fmla="*/ 444 h 10000"/>
                <a:gd name="connsiteX1418" fmla="*/ 4811 w 10785"/>
                <a:gd name="connsiteY1418" fmla="*/ 496 h 10000"/>
                <a:gd name="connsiteX1419" fmla="*/ 4811 w 10785"/>
                <a:gd name="connsiteY1419" fmla="*/ 496 h 10000"/>
                <a:gd name="connsiteX1420" fmla="*/ 4811 w 10785"/>
                <a:gd name="connsiteY1420" fmla="*/ 521 h 10000"/>
                <a:gd name="connsiteX1421" fmla="*/ 4816 w 10785"/>
                <a:gd name="connsiteY1421" fmla="*/ 530 h 10000"/>
                <a:gd name="connsiteX1422" fmla="*/ 4834 w 10785"/>
                <a:gd name="connsiteY1422" fmla="*/ 547 h 10000"/>
                <a:gd name="connsiteX1423" fmla="*/ 4834 w 10785"/>
                <a:gd name="connsiteY1423" fmla="*/ 581 h 10000"/>
                <a:gd name="connsiteX1424" fmla="*/ 4843 w 10785"/>
                <a:gd name="connsiteY1424" fmla="*/ 581 h 10000"/>
                <a:gd name="connsiteX1425" fmla="*/ 4843 w 10785"/>
                <a:gd name="connsiteY1425" fmla="*/ 598 h 10000"/>
                <a:gd name="connsiteX1426" fmla="*/ 4829 w 10785"/>
                <a:gd name="connsiteY1426" fmla="*/ 598 h 10000"/>
                <a:gd name="connsiteX1427" fmla="*/ 4829 w 10785"/>
                <a:gd name="connsiteY1427" fmla="*/ 573 h 10000"/>
                <a:gd name="connsiteX1428" fmla="*/ 4829 w 10785"/>
                <a:gd name="connsiteY1428" fmla="*/ 632 h 10000"/>
                <a:gd name="connsiteX1429" fmla="*/ 4829 w 10785"/>
                <a:gd name="connsiteY1429" fmla="*/ 632 h 10000"/>
                <a:gd name="connsiteX1430" fmla="*/ 4829 w 10785"/>
                <a:gd name="connsiteY1430" fmla="*/ 650 h 10000"/>
                <a:gd name="connsiteX1431" fmla="*/ 4774 w 10785"/>
                <a:gd name="connsiteY1431" fmla="*/ 684 h 10000"/>
                <a:gd name="connsiteX1432" fmla="*/ 4756 w 10785"/>
                <a:gd name="connsiteY1432" fmla="*/ 684 h 10000"/>
                <a:gd name="connsiteX1433" fmla="*/ 4737 w 10785"/>
                <a:gd name="connsiteY1433" fmla="*/ 692 h 10000"/>
                <a:gd name="connsiteX1434" fmla="*/ 4677 w 10785"/>
                <a:gd name="connsiteY1434" fmla="*/ 667 h 10000"/>
                <a:gd name="connsiteX1435" fmla="*/ 4682 w 10785"/>
                <a:gd name="connsiteY1435" fmla="*/ 692 h 10000"/>
                <a:gd name="connsiteX1436" fmla="*/ 4682 w 10785"/>
                <a:gd name="connsiteY1436" fmla="*/ 709 h 10000"/>
                <a:gd name="connsiteX1437" fmla="*/ 4691 w 10785"/>
                <a:gd name="connsiteY1437" fmla="*/ 718 h 10000"/>
                <a:gd name="connsiteX1438" fmla="*/ 4691 w 10785"/>
                <a:gd name="connsiteY1438" fmla="*/ 744 h 10000"/>
                <a:gd name="connsiteX1439" fmla="*/ 4700 w 10785"/>
                <a:gd name="connsiteY1439" fmla="*/ 744 h 10000"/>
                <a:gd name="connsiteX1440" fmla="*/ 4714 w 10785"/>
                <a:gd name="connsiteY1440" fmla="*/ 769 h 10000"/>
                <a:gd name="connsiteX1441" fmla="*/ 4710 w 10785"/>
                <a:gd name="connsiteY1441" fmla="*/ 786 h 10000"/>
                <a:gd name="connsiteX1442" fmla="*/ 4737 w 10785"/>
                <a:gd name="connsiteY1442" fmla="*/ 786 h 10000"/>
                <a:gd name="connsiteX1443" fmla="*/ 4742 w 10785"/>
                <a:gd name="connsiteY1443" fmla="*/ 795 h 10000"/>
                <a:gd name="connsiteX1444" fmla="*/ 4742 w 10785"/>
                <a:gd name="connsiteY1444" fmla="*/ 803 h 10000"/>
                <a:gd name="connsiteX1445" fmla="*/ 4737 w 10785"/>
                <a:gd name="connsiteY1445" fmla="*/ 846 h 10000"/>
                <a:gd name="connsiteX1446" fmla="*/ 4737 w 10785"/>
                <a:gd name="connsiteY1446" fmla="*/ 880 h 10000"/>
                <a:gd name="connsiteX1447" fmla="*/ 4737 w 10785"/>
                <a:gd name="connsiteY1447" fmla="*/ 906 h 10000"/>
                <a:gd name="connsiteX1448" fmla="*/ 4724 w 10785"/>
                <a:gd name="connsiteY1448" fmla="*/ 897 h 10000"/>
                <a:gd name="connsiteX1449" fmla="*/ 4724 w 10785"/>
                <a:gd name="connsiteY1449" fmla="*/ 872 h 10000"/>
                <a:gd name="connsiteX1450" fmla="*/ 4714 w 10785"/>
                <a:gd name="connsiteY1450" fmla="*/ 855 h 10000"/>
                <a:gd name="connsiteX1451" fmla="*/ 4691 w 10785"/>
                <a:gd name="connsiteY1451" fmla="*/ 846 h 10000"/>
                <a:gd name="connsiteX1452" fmla="*/ 4691 w 10785"/>
                <a:gd name="connsiteY1452" fmla="*/ 846 h 10000"/>
                <a:gd name="connsiteX1453" fmla="*/ 4696 w 10785"/>
                <a:gd name="connsiteY1453" fmla="*/ 821 h 10000"/>
                <a:gd name="connsiteX1454" fmla="*/ 4691 w 10785"/>
                <a:gd name="connsiteY1454" fmla="*/ 803 h 10000"/>
                <a:gd name="connsiteX1455" fmla="*/ 4668 w 10785"/>
                <a:gd name="connsiteY1455" fmla="*/ 821 h 10000"/>
                <a:gd name="connsiteX1456" fmla="*/ 4668 w 10785"/>
                <a:gd name="connsiteY1456" fmla="*/ 786 h 10000"/>
                <a:gd name="connsiteX1457" fmla="*/ 4664 w 10785"/>
                <a:gd name="connsiteY1457" fmla="*/ 786 h 10000"/>
                <a:gd name="connsiteX1458" fmla="*/ 4622 w 10785"/>
                <a:gd name="connsiteY1458" fmla="*/ 846 h 10000"/>
                <a:gd name="connsiteX1459" fmla="*/ 4627 w 10785"/>
                <a:gd name="connsiteY1459" fmla="*/ 872 h 10000"/>
                <a:gd name="connsiteX1460" fmla="*/ 4622 w 10785"/>
                <a:gd name="connsiteY1460" fmla="*/ 880 h 10000"/>
                <a:gd name="connsiteX1461" fmla="*/ 4622 w 10785"/>
                <a:gd name="connsiteY1461" fmla="*/ 880 h 10000"/>
                <a:gd name="connsiteX1462" fmla="*/ 4618 w 10785"/>
                <a:gd name="connsiteY1462" fmla="*/ 872 h 10000"/>
                <a:gd name="connsiteX1463" fmla="*/ 4604 w 10785"/>
                <a:gd name="connsiteY1463" fmla="*/ 880 h 10000"/>
                <a:gd name="connsiteX1464" fmla="*/ 4594 w 10785"/>
                <a:gd name="connsiteY1464" fmla="*/ 906 h 10000"/>
                <a:gd name="connsiteX1465" fmla="*/ 4604 w 10785"/>
                <a:gd name="connsiteY1465" fmla="*/ 906 h 10000"/>
                <a:gd name="connsiteX1466" fmla="*/ 4608 w 10785"/>
                <a:gd name="connsiteY1466" fmla="*/ 906 h 10000"/>
                <a:gd name="connsiteX1467" fmla="*/ 4608 w 10785"/>
                <a:gd name="connsiteY1467" fmla="*/ 932 h 10000"/>
                <a:gd name="connsiteX1468" fmla="*/ 4604 w 10785"/>
                <a:gd name="connsiteY1468" fmla="*/ 932 h 10000"/>
                <a:gd name="connsiteX1469" fmla="*/ 4590 w 10785"/>
                <a:gd name="connsiteY1469" fmla="*/ 932 h 10000"/>
                <a:gd name="connsiteX1470" fmla="*/ 4567 w 10785"/>
                <a:gd name="connsiteY1470" fmla="*/ 957 h 10000"/>
                <a:gd name="connsiteX1471" fmla="*/ 4567 w 10785"/>
                <a:gd name="connsiteY1471" fmla="*/ 932 h 10000"/>
                <a:gd name="connsiteX1472" fmla="*/ 4567 w 10785"/>
                <a:gd name="connsiteY1472" fmla="*/ 923 h 10000"/>
                <a:gd name="connsiteX1473" fmla="*/ 4562 w 10785"/>
                <a:gd name="connsiteY1473" fmla="*/ 932 h 10000"/>
                <a:gd name="connsiteX1474" fmla="*/ 4548 w 10785"/>
                <a:gd name="connsiteY1474" fmla="*/ 957 h 10000"/>
                <a:gd name="connsiteX1475" fmla="*/ 4544 w 10785"/>
                <a:gd name="connsiteY1475" fmla="*/ 957 h 10000"/>
                <a:gd name="connsiteX1476" fmla="*/ 4521 w 10785"/>
                <a:gd name="connsiteY1476" fmla="*/ 983 h 10000"/>
                <a:gd name="connsiteX1477" fmla="*/ 4521 w 10785"/>
                <a:gd name="connsiteY1477" fmla="*/ 983 h 10000"/>
                <a:gd name="connsiteX1478" fmla="*/ 4530 w 10785"/>
                <a:gd name="connsiteY1478" fmla="*/ 957 h 10000"/>
                <a:gd name="connsiteX1479" fmla="*/ 4535 w 10785"/>
                <a:gd name="connsiteY1479" fmla="*/ 932 h 10000"/>
                <a:gd name="connsiteX1480" fmla="*/ 4521 w 10785"/>
                <a:gd name="connsiteY1480" fmla="*/ 932 h 10000"/>
                <a:gd name="connsiteX1481" fmla="*/ 4516 w 10785"/>
                <a:gd name="connsiteY1481" fmla="*/ 923 h 10000"/>
                <a:gd name="connsiteX1482" fmla="*/ 4516 w 10785"/>
                <a:gd name="connsiteY1482" fmla="*/ 932 h 10000"/>
                <a:gd name="connsiteX1483" fmla="*/ 4488 w 10785"/>
                <a:gd name="connsiteY1483" fmla="*/ 940 h 10000"/>
                <a:gd name="connsiteX1484" fmla="*/ 4484 w 10785"/>
                <a:gd name="connsiteY1484" fmla="*/ 983 h 10000"/>
                <a:gd name="connsiteX1485" fmla="*/ 4470 w 10785"/>
                <a:gd name="connsiteY1485" fmla="*/ 983 h 10000"/>
                <a:gd name="connsiteX1486" fmla="*/ 4470 w 10785"/>
                <a:gd name="connsiteY1486" fmla="*/ 966 h 10000"/>
                <a:gd name="connsiteX1487" fmla="*/ 4488 w 10785"/>
                <a:gd name="connsiteY1487" fmla="*/ 923 h 10000"/>
                <a:gd name="connsiteX1488" fmla="*/ 4493 w 10785"/>
                <a:gd name="connsiteY1488" fmla="*/ 880 h 10000"/>
                <a:gd name="connsiteX1489" fmla="*/ 4475 w 10785"/>
                <a:gd name="connsiteY1489" fmla="*/ 846 h 10000"/>
                <a:gd name="connsiteX1490" fmla="*/ 4442 w 10785"/>
                <a:gd name="connsiteY1490" fmla="*/ 855 h 10000"/>
                <a:gd name="connsiteX1491" fmla="*/ 4433 w 10785"/>
                <a:gd name="connsiteY1491" fmla="*/ 855 h 10000"/>
                <a:gd name="connsiteX1492" fmla="*/ 4433 w 10785"/>
                <a:gd name="connsiteY1492" fmla="*/ 880 h 10000"/>
                <a:gd name="connsiteX1493" fmla="*/ 4401 w 10785"/>
                <a:gd name="connsiteY1493" fmla="*/ 855 h 10000"/>
                <a:gd name="connsiteX1494" fmla="*/ 4396 w 10785"/>
                <a:gd name="connsiteY1494" fmla="*/ 872 h 10000"/>
                <a:gd name="connsiteX1495" fmla="*/ 4382 w 10785"/>
                <a:gd name="connsiteY1495" fmla="*/ 897 h 10000"/>
                <a:gd name="connsiteX1496" fmla="*/ 4373 w 10785"/>
                <a:gd name="connsiteY1496" fmla="*/ 872 h 10000"/>
                <a:gd name="connsiteX1497" fmla="*/ 4341 w 10785"/>
                <a:gd name="connsiteY1497" fmla="*/ 872 h 10000"/>
                <a:gd name="connsiteX1498" fmla="*/ 4336 w 10785"/>
                <a:gd name="connsiteY1498" fmla="*/ 880 h 10000"/>
                <a:gd name="connsiteX1499" fmla="*/ 4346 w 10785"/>
                <a:gd name="connsiteY1499" fmla="*/ 897 h 10000"/>
                <a:gd name="connsiteX1500" fmla="*/ 4346 w 10785"/>
                <a:gd name="connsiteY1500" fmla="*/ 897 h 10000"/>
                <a:gd name="connsiteX1501" fmla="*/ 4313 w 10785"/>
                <a:gd name="connsiteY1501" fmla="*/ 906 h 10000"/>
                <a:gd name="connsiteX1502" fmla="*/ 4313 w 10785"/>
                <a:gd name="connsiteY1502" fmla="*/ 906 h 10000"/>
                <a:gd name="connsiteX1503" fmla="*/ 4313 w 10785"/>
                <a:gd name="connsiteY1503" fmla="*/ 880 h 10000"/>
                <a:gd name="connsiteX1504" fmla="*/ 4309 w 10785"/>
                <a:gd name="connsiteY1504" fmla="*/ 897 h 10000"/>
                <a:gd name="connsiteX1505" fmla="*/ 4295 w 10785"/>
                <a:gd name="connsiteY1505" fmla="*/ 923 h 10000"/>
                <a:gd name="connsiteX1506" fmla="*/ 4286 w 10785"/>
                <a:gd name="connsiteY1506" fmla="*/ 897 h 10000"/>
                <a:gd name="connsiteX1507" fmla="*/ 4281 w 10785"/>
                <a:gd name="connsiteY1507" fmla="*/ 906 h 10000"/>
                <a:gd name="connsiteX1508" fmla="*/ 4281 w 10785"/>
                <a:gd name="connsiteY1508" fmla="*/ 940 h 10000"/>
                <a:gd name="connsiteX1509" fmla="*/ 4286 w 10785"/>
                <a:gd name="connsiteY1509" fmla="*/ 957 h 10000"/>
                <a:gd name="connsiteX1510" fmla="*/ 4309 w 10785"/>
                <a:gd name="connsiteY1510" fmla="*/ 932 h 10000"/>
                <a:gd name="connsiteX1511" fmla="*/ 4313 w 10785"/>
                <a:gd name="connsiteY1511" fmla="*/ 957 h 10000"/>
                <a:gd name="connsiteX1512" fmla="*/ 4313 w 10785"/>
                <a:gd name="connsiteY1512" fmla="*/ 966 h 10000"/>
                <a:gd name="connsiteX1513" fmla="*/ 4323 w 10785"/>
                <a:gd name="connsiteY1513" fmla="*/ 966 h 10000"/>
                <a:gd name="connsiteX1514" fmla="*/ 4323 w 10785"/>
                <a:gd name="connsiteY1514" fmla="*/ 940 h 10000"/>
                <a:gd name="connsiteX1515" fmla="*/ 4327 w 10785"/>
                <a:gd name="connsiteY1515" fmla="*/ 940 h 10000"/>
                <a:gd name="connsiteX1516" fmla="*/ 4327 w 10785"/>
                <a:gd name="connsiteY1516" fmla="*/ 957 h 10000"/>
                <a:gd name="connsiteX1517" fmla="*/ 4327 w 10785"/>
                <a:gd name="connsiteY1517" fmla="*/ 966 h 10000"/>
                <a:gd name="connsiteX1518" fmla="*/ 4323 w 10785"/>
                <a:gd name="connsiteY1518" fmla="*/ 991 h 10000"/>
                <a:gd name="connsiteX1519" fmla="*/ 4207 w 10785"/>
                <a:gd name="connsiteY1519" fmla="*/ 1060 h 10000"/>
                <a:gd name="connsiteX1520" fmla="*/ 4207 w 10785"/>
                <a:gd name="connsiteY1520" fmla="*/ 1060 h 10000"/>
                <a:gd name="connsiteX1521" fmla="*/ 4203 w 10785"/>
                <a:gd name="connsiteY1521" fmla="*/ 1068 h 10000"/>
                <a:gd name="connsiteX1522" fmla="*/ 4203 w 10785"/>
                <a:gd name="connsiteY1522" fmla="*/ 1094 h 10000"/>
                <a:gd name="connsiteX1523" fmla="*/ 4203 w 10785"/>
                <a:gd name="connsiteY1523" fmla="*/ 1094 h 10000"/>
                <a:gd name="connsiteX1524" fmla="*/ 4189 w 10785"/>
                <a:gd name="connsiteY1524" fmla="*/ 1094 h 10000"/>
                <a:gd name="connsiteX1525" fmla="*/ 4166 w 10785"/>
                <a:gd name="connsiteY1525" fmla="*/ 1103 h 10000"/>
                <a:gd name="connsiteX1526" fmla="*/ 4152 w 10785"/>
                <a:gd name="connsiteY1526" fmla="*/ 1094 h 10000"/>
                <a:gd name="connsiteX1527" fmla="*/ 4134 w 10785"/>
                <a:gd name="connsiteY1527" fmla="*/ 1120 h 10000"/>
                <a:gd name="connsiteX1528" fmla="*/ 4106 w 10785"/>
                <a:gd name="connsiteY1528" fmla="*/ 1120 h 10000"/>
                <a:gd name="connsiteX1529" fmla="*/ 4092 w 10785"/>
                <a:gd name="connsiteY1529" fmla="*/ 1154 h 10000"/>
                <a:gd name="connsiteX1530" fmla="*/ 4106 w 10785"/>
                <a:gd name="connsiteY1530" fmla="*/ 1171 h 10000"/>
                <a:gd name="connsiteX1531" fmla="*/ 4078 w 10785"/>
                <a:gd name="connsiteY1531" fmla="*/ 1179 h 10000"/>
                <a:gd name="connsiteX1532" fmla="*/ 4065 w 10785"/>
                <a:gd name="connsiteY1532" fmla="*/ 1205 h 10000"/>
                <a:gd name="connsiteX1533" fmla="*/ 4046 w 10785"/>
                <a:gd name="connsiteY1533" fmla="*/ 1179 h 10000"/>
                <a:gd name="connsiteX1534" fmla="*/ 4041 w 10785"/>
                <a:gd name="connsiteY1534" fmla="*/ 1197 h 10000"/>
                <a:gd name="connsiteX1535" fmla="*/ 4028 w 10785"/>
                <a:gd name="connsiteY1535" fmla="*/ 1205 h 10000"/>
                <a:gd name="connsiteX1536" fmla="*/ 4028 w 10785"/>
                <a:gd name="connsiteY1536" fmla="*/ 1205 h 10000"/>
                <a:gd name="connsiteX1537" fmla="*/ 4032 w 10785"/>
                <a:gd name="connsiteY1537" fmla="*/ 1205 h 10000"/>
                <a:gd name="connsiteX1538" fmla="*/ 4032 w 10785"/>
                <a:gd name="connsiteY1538" fmla="*/ 1231 h 10000"/>
                <a:gd name="connsiteX1539" fmla="*/ 4014 w 10785"/>
                <a:gd name="connsiteY1539" fmla="*/ 1239 h 10000"/>
                <a:gd name="connsiteX1540" fmla="*/ 4014 w 10785"/>
                <a:gd name="connsiteY1540" fmla="*/ 1256 h 10000"/>
                <a:gd name="connsiteX1541" fmla="*/ 4000 w 10785"/>
                <a:gd name="connsiteY1541" fmla="*/ 1265 h 10000"/>
                <a:gd name="connsiteX1542" fmla="*/ 3986 w 10785"/>
                <a:gd name="connsiteY1542" fmla="*/ 1308 h 10000"/>
                <a:gd name="connsiteX1543" fmla="*/ 3972 w 10785"/>
                <a:gd name="connsiteY1543" fmla="*/ 1316 h 10000"/>
                <a:gd name="connsiteX1544" fmla="*/ 3972 w 10785"/>
                <a:gd name="connsiteY1544" fmla="*/ 1325 h 10000"/>
                <a:gd name="connsiteX1545" fmla="*/ 3972 w 10785"/>
                <a:gd name="connsiteY1545" fmla="*/ 1342 h 10000"/>
                <a:gd name="connsiteX1546" fmla="*/ 3968 w 10785"/>
                <a:gd name="connsiteY1546" fmla="*/ 1350 h 10000"/>
                <a:gd name="connsiteX1547" fmla="*/ 3954 w 10785"/>
                <a:gd name="connsiteY1547" fmla="*/ 1368 h 10000"/>
                <a:gd name="connsiteX1548" fmla="*/ 3945 w 10785"/>
                <a:gd name="connsiteY1548" fmla="*/ 1350 h 10000"/>
                <a:gd name="connsiteX1549" fmla="*/ 3908 w 10785"/>
                <a:gd name="connsiteY1549" fmla="*/ 1342 h 10000"/>
                <a:gd name="connsiteX1550" fmla="*/ 3894 w 10785"/>
                <a:gd name="connsiteY1550" fmla="*/ 1368 h 10000"/>
                <a:gd name="connsiteX1551" fmla="*/ 3922 w 10785"/>
                <a:gd name="connsiteY1551" fmla="*/ 1393 h 10000"/>
                <a:gd name="connsiteX1552" fmla="*/ 3945 w 10785"/>
                <a:gd name="connsiteY1552" fmla="*/ 1393 h 10000"/>
                <a:gd name="connsiteX1553" fmla="*/ 3940 w 10785"/>
                <a:gd name="connsiteY1553" fmla="*/ 1419 h 10000"/>
                <a:gd name="connsiteX1554" fmla="*/ 3931 w 10785"/>
                <a:gd name="connsiteY1554" fmla="*/ 1427 h 10000"/>
                <a:gd name="connsiteX1555" fmla="*/ 3926 w 10785"/>
                <a:gd name="connsiteY1555" fmla="*/ 1427 h 10000"/>
                <a:gd name="connsiteX1556" fmla="*/ 3922 w 10785"/>
                <a:gd name="connsiteY1556" fmla="*/ 1419 h 10000"/>
                <a:gd name="connsiteX1557" fmla="*/ 3912 w 10785"/>
                <a:gd name="connsiteY1557" fmla="*/ 1427 h 10000"/>
                <a:gd name="connsiteX1558" fmla="*/ 3912 w 10785"/>
                <a:gd name="connsiteY1558" fmla="*/ 1444 h 10000"/>
                <a:gd name="connsiteX1559" fmla="*/ 3894 w 10785"/>
                <a:gd name="connsiteY1559" fmla="*/ 1513 h 10000"/>
                <a:gd name="connsiteX1560" fmla="*/ 3885 w 10785"/>
                <a:gd name="connsiteY1560" fmla="*/ 1513 h 10000"/>
                <a:gd name="connsiteX1561" fmla="*/ 3880 w 10785"/>
                <a:gd name="connsiteY1561" fmla="*/ 1538 h 10000"/>
                <a:gd name="connsiteX1562" fmla="*/ 3885 w 10785"/>
                <a:gd name="connsiteY1562" fmla="*/ 1564 h 10000"/>
                <a:gd name="connsiteX1563" fmla="*/ 3880 w 10785"/>
                <a:gd name="connsiteY1563" fmla="*/ 1581 h 10000"/>
                <a:gd name="connsiteX1564" fmla="*/ 3871 w 10785"/>
                <a:gd name="connsiteY1564" fmla="*/ 1538 h 10000"/>
                <a:gd name="connsiteX1565" fmla="*/ 3853 w 10785"/>
                <a:gd name="connsiteY1565" fmla="*/ 1530 h 10000"/>
                <a:gd name="connsiteX1566" fmla="*/ 3853 w 10785"/>
                <a:gd name="connsiteY1566" fmla="*/ 1504 h 10000"/>
                <a:gd name="connsiteX1567" fmla="*/ 3834 w 10785"/>
                <a:gd name="connsiteY1567" fmla="*/ 1487 h 10000"/>
                <a:gd name="connsiteX1568" fmla="*/ 3834 w 10785"/>
                <a:gd name="connsiteY1568" fmla="*/ 1487 h 10000"/>
                <a:gd name="connsiteX1569" fmla="*/ 3839 w 10785"/>
                <a:gd name="connsiteY1569" fmla="*/ 1513 h 10000"/>
                <a:gd name="connsiteX1570" fmla="*/ 3820 w 10785"/>
                <a:gd name="connsiteY1570" fmla="*/ 1538 h 10000"/>
                <a:gd name="connsiteX1571" fmla="*/ 3820 w 10785"/>
                <a:gd name="connsiteY1571" fmla="*/ 1556 h 10000"/>
                <a:gd name="connsiteX1572" fmla="*/ 3820 w 10785"/>
                <a:gd name="connsiteY1572" fmla="*/ 1564 h 10000"/>
                <a:gd name="connsiteX1573" fmla="*/ 3820 w 10785"/>
                <a:gd name="connsiteY1573" fmla="*/ 1581 h 10000"/>
                <a:gd name="connsiteX1574" fmla="*/ 3853 w 10785"/>
                <a:gd name="connsiteY1574" fmla="*/ 1581 h 10000"/>
                <a:gd name="connsiteX1575" fmla="*/ 3857 w 10785"/>
                <a:gd name="connsiteY1575" fmla="*/ 1598 h 10000"/>
                <a:gd name="connsiteX1576" fmla="*/ 3880 w 10785"/>
                <a:gd name="connsiteY1576" fmla="*/ 1615 h 10000"/>
                <a:gd name="connsiteX1577" fmla="*/ 3871 w 10785"/>
                <a:gd name="connsiteY1577" fmla="*/ 1615 h 10000"/>
                <a:gd name="connsiteX1578" fmla="*/ 3871 w 10785"/>
                <a:gd name="connsiteY1578" fmla="*/ 1641 h 10000"/>
                <a:gd name="connsiteX1579" fmla="*/ 3880 w 10785"/>
                <a:gd name="connsiteY1579" fmla="*/ 1641 h 10000"/>
                <a:gd name="connsiteX1580" fmla="*/ 3871 w 10785"/>
                <a:gd name="connsiteY1580" fmla="*/ 1650 h 10000"/>
                <a:gd name="connsiteX1581" fmla="*/ 3857 w 10785"/>
                <a:gd name="connsiteY1581" fmla="*/ 1650 h 10000"/>
                <a:gd name="connsiteX1582" fmla="*/ 3853 w 10785"/>
                <a:gd name="connsiteY1582" fmla="*/ 1650 h 10000"/>
                <a:gd name="connsiteX1583" fmla="*/ 3839 w 10785"/>
                <a:gd name="connsiteY1583" fmla="*/ 1667 h 10000"/>
                <a:gd name="connsiteX1584" fmla="*/ 3848 w 10785"/>
                <a:gd name="connsiteY1584" fmla="*/ 1692 h 10000"/>
                <a:gd name="connsiteX1585" fmla="*/ 3834 w 10785"/>
                <a:gd name="connsiteY1585" fmla="*/ 1692 h 10000"/>
                <a:gd name="connsiteX1586" fmla="*/ 3825 w 10785"/>
                <a:gd name="connsiteY1586" fmla="*/ 1692 h 10000"/>
                <a:gd name="connsiteX1587" fmla="*/ 3825 w 10785"/>
                <a:gd name="connsiteY1587" fmla="*/ 1718 h 10000"/>
                <a:gd name="connsiteX1588" fmla="*/ 3839 w 10785"/>
                <a:gd name="connsiteY1588" fmla="*/ 1726 h 10000"/>
                <a:gd name="connsiteX1589" fmla="*/ 3880 w 10785"/>
                <a:gd name="connsiteY1589" fmla="*/ 1752 h 10000"/>
                <a:gd name="connsiteX1590" fmla="*/ 3894 w 10785"/>
                <a:gd name="connsiteY1590" fmla="*/ 1829 h 10000"/>
                <a:gd name="connsiteX1591" fmla="*/ 3899 w 10785"/>
                <a:gd name="connsiteY1591" fmla="*/ 1838 h 10000"/>
                <a:gd name="connsiteX1592" fmla="*/ 3894 w 10785"/>
                <a:gd name="connsiteY1592" fmla="*/ 1855 h 10000"/>
                <a:gd name="connsiteX1593" fmla="*/ 3880 w 10785"/>
                <a:gd name="connsiteY1593" fmla="*/ 1838 h 10000"/>
                <a:gd name="connsiteX1594" fmla="*/ 3880 w 10785"/>
                <a:gd name="connsiteY1594" fmla="*/ 1855 h 10000"/>
                <a:gd name="connsiteX1595" fmla="*/ 3880 w 10785"/>
                <a:gd name="connsiteY1595" fmla="*/ 1863 h 10000"/>
                <a:gd name="connsiteX1596" fmla="*/ 3871 w 10785"/>
                <a:gd name="connsiteY1596" fmla="*/ 1872 h 10000"/>
                <a:gd name="connsiteX1597" fmla="*/ 3880 w 10785"/>
                <a:gd name="connsiteY1597" fmla="*/ 1889 h 10000"/>
                <a:gd name="connsiteX1598" fmla="*/ 3885 w 10785"/>
                <a:gd name="connsiteY1598" fmla="*/ 1889 h 10000"/>
                <a:gd name="connsiteX1599" fmla="*/ 3880 w 10785"/>
                <a:gd name="connsiteY1599" fmla="*/ 1897 h 10000"/>
                <a:gd name="connsiteX1600" fmla="*/ 3871 w 10785"/>
                <a:gd name="connsiteY1600" fmla="*/ 1915 h 10000"/>
                <a:gd name="connsiteX1601" fmla="*/ 3848 w 10785"/>
                <a:gd name="connsiteY1601" fmla="*/ 1923 h 10000"/>
                <a:gd name="connsiteX1602" fmla="*/ 3825 w 10785"/>
                <a:gd name="connsiteY1602" fmla="*/ 1940 h 10000"/>
                <a:gd name="connsiteX1603" fmla="*/ 3811 w 10785"/>
                <a:gd name="connsiteY1603" fmla="*/ 1940 h 10000"/>
                <a:gd name="connsiteX1604" fmla="*/ 3806 w 10785"/>
                <a:gd name="connsiteY1604" fmla="*/ 1949 h 10000"/>
                <a:gd name="connsiteX1605" fmla="*/ 3797 w 10785"/>
                <a:gd name="connsiteY1605" fmla="*/ 1966 h 10000"/>
                <a:gd name="connsiteX1606" fmla="*/ 3788 w 10785"/>
                <a:gd name="connsiteY1606" fmla="*/ 1991 h 10000"/>
                <a:gd name="connsiteX1607" fmla="*/ 3765 w 10785"/>
                <a:gd name="connsiteY1607" fmla="*/ 1974 h 10000"/>
                <a:gd name="connsiteX1608" fmla="*/ 3760 w 10785"/>
                <a:gd name="connsiteY1608" fmla="*/ 1966 h 10000"/>
                <a:gd name="connsiteX1609" fmla="*/ 3760 w 10785"/>
                <a:gd name="connsiteY1609" fmla="*/ 1966 h 10000"/>
                <a:gd name="connsiteX1610" fmla="*/ 3631 w 10785"/>
                <a:gd name="connsiteY1610" fmla="*/ 2009 h 10000"/>
                <a:gd name="connsiteX1611" fmla="*/ 3618 w 10785"/>
                <a:gd name="connsiteY1611" fmla="*/ 2000 h 10000"/>
                <a:gd name="connsiteX1612" fmla="*/ 3599 w 10785"/>
                <a:gd name="connsiteY1612" fmla="*/ 2009 h 10000"/>
                <a:gd name="connsiteX1613" fmla="*/ 3571 w 10785"/>
                <a:gd name="connsiteY1613" fmla="*/ 2000 h 10000"/>
                <a:gd name="connsiteX1614" fmla="*/ 3530 w 10785"/>
                <a:gd name="connsiteY1614" fmla="*/ 2026 h 10000"/>
                <a:gd name="connsiteX1615" fmla="*/ 3530 w 10785"/>
                <a:gd name="connsiteY1615" fmla="*/ 2034 h 10000"/>
                <a:gd name="connsiteX1616" fmla="*/ 3525 w 10785"/>
                <a:gd name="connsiteY1616" fmla="*/ 2051 h 10000"/>
                <a:gd name="connsiteX1617" fmla="*/ 3512 w 10785"/>
                <a:gd name="connsiteY1617" fmla="*/ 2034 h 10000"/>
                <a:gd name="connsiteX1618" fmla="*/ 3507 w 10785"/>
                <a:gd name="connsiteY1618" fmla="*/ 2034 h 10000"/>
                <a:gd name="connsiteX1619" fmla="*/ 3498 w 10785"/>
                <a:gd name="connsiteY1619" fmla="*/ 2051 h 10000"/>
                <a:gd name="connsiteX1620" fmla="*/ 3484 w 10785"/>
                <a:gd name="connsiteY1620" fmla="*/ 2060 h 10000"/>
                <a:gd name="connsiteX1621" fmla="*/ 3484 w 10785"/>
                <a:gd name="connsiteY1621" fmla="*/ 2085 h 10000"/>
                <a:gd name="connsiteX1622" fmla="*/ 3484 w 10785"/>
                <a:gd name="connsiteY1622" fmla="*/ 2103 h 10000"/>
                <a:gd name="connsiteX1623" fmla="*/ 3493 w 10785"/>
                <a:gd name="connsiteY1623" fmla="*/ 2103 h 10000"/>
                <a:gd name="connsiteX1624" fmla="*/ 3493 w 10785"/>
                <a:gd name="connsiteY1624" fmla="*/ 2085 h 10000"/>
                <a:gd name="connsiteX1625" fmla="*/ 3498 w 10785"/>
                <a:gd name="connsiteY1625" fmla="*/ 2085 h 10000"/>
                <a:gd name="connsiteX1626" fmla="*/ 3498 w 10785"/>
                <a:gd name="connsiteY1626" fmla="*/ 2111 h 10000"/>
                <a:gd name="connsiteX1627" fmla="*/ 3484 w 10785"/>
                <a:gd name="connsiteY1627" fmla="*/ 2120 h 10000"/>
                <a:gd name="connsiteX1628" fmla="*/ 3484 w 10785"/>
                <a:gd name="connsiteY1628" fmla="*/ 2145 h 10000"/>
                <a:gd name="connsiteX1629" fmla="*/ 3470 w 10785"/>
                <a:gd name="connsiteY1629" fmla="*/ 2137 h 10000"/>
                <a:gd name="connsiteX1630" fmla="*/ 3465 w 10785"/>
                <a:gd name="connsiteY1630" fmla="*/ 2145 h 10000"/>
                <a:gd name="connsiteX1631" fmla="*/ 3470 w 10785"/>
                <a:gd name="connsiteY1631" fmla="*/ 2171 h 10000"/>
                <a:gd name="connsiteX1632" fmla="*/ 3484 w 10785"/>
                <a:gd name="connsiteY1632" fmla="*/ 2171 h 10000"/>
                <a:gd name="connsiteX1633" fmla="*/ 3484 w 10785"/>
                <a:gd name="connsiteY1633" fmla="*/ 2197 h 10000"/>
                <a:gd name="connsiteX1634" fmla="*/ 3465 w 10785"/>
                <a:gd name="connsiteY1634" fmla="*/ 2214 h 10000"/>
                <a:gd name="connsiteX1635" fmla="*/ 3493 w 10785"/>
                <a:gd name="connsiteY1635" fmla="*/ 2248 h 10000"/>
                <a:gd name="connsiteX1636" fmla="*/ 3484 w 10785"/>
                <a:gd name="connsiteY1636" fmla="*/ 2256 h 10000"/>
                <a:gd name="connsiteX1637" fmla="*/ 3498 w 10785"/>
                <a:gd name="connsiteY1637" fmla="*/ 2274 h 10000"/>
                <a:gd name="connsiteX1638" fmla="*/ 3498 w 10785"/>
                <a:gd name="connsiteY1638" fmla="*/ 2256 h 10000"/>
                <a:gd name="connsiteX1639" fmla="*/ 3507 w 10785"/>
                <a:gd name="connsiteY1639" fmla="*/ 2308 h 10000"/>
                <a:gd name="connsiteX1640" fmla="*/ 3512 w 10785"/>
                <a:gd name="connsiteY1640" fmla="*/ 2325 h 10000"/>
                <a:gd name="connsiteX1641" fmla="*/ 3507 w 10785"/>
                <a:gd name="connsiteY1641" fmla="*/ 2333 h 10000"/>
                <a:gd name="connsiteX1642" fmla="*/ 3507 w 10785"/>
                <a:gd name="connsiteY1642" fmla="*/ 2359 h 10000"/>
                <a:gd name="connsiteX1643" fmla="*/ 3507 w 10785"/>
                <a:gd name="connsiteY1643" fmla="*/ 2376 h 10000"/>
                <a:gd name="connsiteX1644" fmla="*/ 3498 w 10785"/>
                <a:gd name="connsiteY1644" fmla="*/ 2410 h 10000"/>
                <a:gd name="connsiteX1645" fmla="*/ 3498 w 10785"/>
                <a:gd name="connsiteY1645" fmla="*/ 2436 h 10000"/>
                <a:gd name="connsiteX1646" fmla="*/ 3507 w 10785"/>
                <a:gd name="connsiteY1646" fmla="*/ 2462 h 10000"/>
                <a:gd name="connsiteX1647" fmla="*/ 3507 w 10785"/>
                <a:gd name="connsiteY1647" fmla="*/ 2496 h 10000"/>
                <a:gd name="connsiteX1648" fmla="*/ 3512 w 10785"/>
                <a:gd name="connsiteY1648" fmla="*/ 2521 h 10000"/>
                <a:gd name="connsiteX1649" fmla="*/ 3525 w 10785"/>
                <a:gd name="connsiteY1649" fmla="*/ 2556 h 10000"/>
                <a:gd name="connsiteX1650" fmla="*/ 3571 w 10785"/>
                <a:gd name="connsiteY1650" fmla="*/ 2573 h 10000"/>
                <a:gd name="connsiteX1651" fmla="*/ 3590 w 10785"/>
                <a:gd name="connsiteY1651" fmla="*/ 2598 h 10000"/>
                <a:gd name="connsiteX1652" fmla="*/ 3599 w 10785"/>
                <a:gd name="connsiteY1652" fmla="*/ 2598 h 10000"/>
                <a:gd name="connsiteX1653" fmla="*/ 3604 w 10785"/>
                <a:gd name="connsiteY1653" fmla="*/ 2632 h 10000"/>
                <a:gd name="connsiteX1654" fmla="*/ 3599 w 10785"/>
                <a:gd name="connsiteY1654" fmla="*/ 2658 h 10000"/>
                <a:gd name="connsiteX1655" fmla="*/ 3590 w 10785"/>
                <a:gd name="connsiteY1655" fmla="*/ 2667 h 10000"/>
                <a:gd name="connsiteX1656" fmla="*/ 3604 w 10785"/>
                <a:gd name="connsiteY1656" fmla="*/ 2667 h 10000"/>
                <a:gd name="connsiteX1657" fmla="*/ 3613 w 10785"/>
                <a:gd name="connsiteY1657" fmla="*/ 2692 h 10000"/>
                <a:gd name="connsiteX1658" fmla="*/ 3627 w 10785"/>
                <a:gd name="connsiteY1658" fmla="*/ 2735 h 10000"/>
                <a:gd name="connsiteX1659" fmla="*/ 3631 w 10785"/>
                <a:gd name="connsiteY1659" fmla="*/ 2744 h 10000"/>
                <a:gd name="connsiteX1660" fmla="*/ 3659 w 10785"/>
                <a:gd name="connsiteY1660" fmla="*/ 2761 h 10000"/>
                <a:gd name="connsiteX1661" fmla="*/ 3673 w 10785"/>
                <a:gd name="connsiteY1661" fmla="*/ 2769 h 10000"/>
                <a:gd name="connsiteX1662" fmla="*/ 3673 w 10785"/>
                <a:gd name="connsiteY1662" fmla="*/ 2761 h 10000"/>
                <a:gd name="connsiteX1663" fmla="*/ 3687 w 10785"/>
                <a:gd name="connsiteY1663" fmla="*/ 2829 h 10000"/>
                <a:gd name="connsiteX1664" fmla="*/ 3677 w 10785"/>
                <a:gd name="connsiteY1664" fmla="*/ 2897 h 10000"/>
                <a:gd name="connsiteX1665" fmla="*/ 3673 w 10785"/>
                <a:gd name="connsiteY1665" fmla="*/ 2915 h 10000"/>
                <a:gd name="connsiteX1666" fmla="*/ 3664 w 10785"/>
                <a:gd name="connsiteY1666" fmla="*/ 2957 h 10000"/>
                <a:gd name="connsiteX1667" fmla="*/ 3659 w 10785"/>
                <a:gd name="connsiteY1667" fmla="*/ 2983 h 10000"/>
                <a:gd name="connsiteX1668" fmla="*/ 3664 w 10785"/>
                <a:gd name="connsiteY1668" fmla="*/ 3017 h 10000"/>
                <a:gd name="connsiteX1669" fmla="*/ 3659 w 10785"/>
                <a:gd name="connsiteY1669" fmla="*/ 3043 h 10000"/>
                <a:gd name="connsiteX1670" fmla="*/ 3677 w 10785"/>
                <a:gd name="connsiteY1670" fmla="*/ 3094 h 10000"/>
                <a:gd name="connsiteX1671" fmla="*/ 3691 w 10785"/>
                <a:gd name="connsiteY1671" fmla="*/ 3282 h 10000"/>
                <a:gd name="connsiteX1672" fmla="*/ 3691 w 10785"/>
                <a:gd name="connsiteY1672" fmla="*/ 3308 h 10000"/>
                <a:gd name="connsiteX1673" fmla="*/ 3677 w 10785"/>
                <a:gd name="connsiteY1673" fmla="*/ 3342 h 10000"/>
                <a:gd name="connsiteX1674" fmla="*/ 3664 w 10785"/>
                <a:gd name="connsiteY1674" fmla="*/ 3342 h 10000"/>
                <a:gd name="connsiteX1675" fmla="*/ 3650 w 10785"/>
                <a:gd name="connsiteY1675" fmla="*/ 3342 h 10000"/>
                <a:gd name="connsiteX1676" fmla="*/ 3650 w 10785"/>
                <a:gd name="connsiteY1676" fmla="*/ 3350 h 10000"/>
                <a:gd name="connsiteX1677" fmla="*/ 3659 w 10785"/>
                <a:gd name="connsiteY1677" fmla="*/ 3402 h 10000"/>
                <a:gd name="connsiteX1678" fmla="*/ 3659 w 10785"/>
                <a:gd name="connsiteY1678" fmla="*/ 3419 h 10000"/>
                <a:gd name="connsiteX1679" fmla="*/ 3631 w 10785"/>
                <a:gd name="connsiteY1679" fmla="*/ 3402 h 10000"/>
                <a:gd name="connsiteX1680" fmla="*/ 3604 w 10785"/>
                <a:gd name="connsiteY1680" fmla="*/ 3393 h 10000"/>
                <a:gd name="connsiteX1681" fmla="*/ 3599 w 10785"/>
                <a:gd name="connsiteY1681" fmla="*/ 3368 h 10000"/>
                <a:gd name="connsiteX1682" fmla="*/ 3590 w 10785"/>
                <a:gd name="connsiteY1682" fmla="*/ 3239 h 10000"/>
                <a:gd name="connsiteX1683" fmla="*/ 3599 w 10785"/>
                <a:gd name="connsiteY1683" fmla="*/ 3179 h 10000"/>
                <a:gd name="connsiteX1684" fmla="*/ 3599 w 10785"/>
                <a:gd name="connsiteY1684" fmla="*/ 3171 h 10000"/>
                <a:gd name="connsiteX1685" fmla="*/ 3599 w 10785"/>
                <a:gd name="connsiteY1685" fmla="*/ 3009 h 10000"/>
                <a:gd name="connsiteX1686" fmla="*/ 3604 w 10785"/>
                <a:gd name="connsiteY1686" fmla="*/ 2983 h 10000"/>
                <a:gd name="connsiteX1687" fmla="*/ 3645 w 10785"/>
                <a:gd name="connsiteY1687" fmla="*/ 2932 h 10000"/>
                <a:gd name="connsiteX1688" fmla="*/ 3650 w 10785"/>
                <a:gd name="connsiteY1688" fmla="*/ 2872 h 10000"/>
                <a:gd name="connsiteX1689" fmla="*/ 3659 w 10785"/>
                <a:gd name="connsiteY1689" fmla="*/ 2855 h 10000"/>
                <a:gd name="connsiteX1690" fmla="*/ 3659 w 10785"/>
                <a:gd name="connsiteY1690" fmla="*/ 2821 h 10000"/>
                <a:gd name="connsiteX1691" fmla="*/ 3631 w 10785"/>
                <a:gd name="connsiteY1691" fmla="*/ 2795 h 10000"/>
                <a:gd name="connsiteX1692" fmla="*/ 3567 w 10785"/>
                <a:gd name="connsiteY1692" fmla="*/ 2821 h 10000"/>
                <a:gd name="connsiteX1693" fmla="*/ 3544 w 10785"/>
                <a:gd name="connsiteY1693" fmla="*/ 2795 h 10000"/>
                <a:gd name="connsiteX1694" fmla="*/ 3530 w 10785"/>
                <a:gd name="connsiteY1694" fmla="*/ 2769 h 10000"/>
                <a:gd name="connsiteX1695" fmla="*/ 3530 w 10785"/>
                <a:gd name="connsiteY1695" fmla="*/ 2786 h 10000"/>
                <a:gd name="connsiteX1696" fmla="*/ 3498 w 10785"/>
                <a:gd name="connsiteY1696" fmla="*/ 2692 h 10000"/>
                <a:gd name="connsiteX1697" fmla="*/ 3498 w 10785"/>
                <a:gd name="connsiteY1697" fmla="*/ 2667 h 10000"/>
                <a:gd name="connsiteX1698" fmla="*/ 3442 w 10785"/>
                <a:gd name="connsiteY1698" fmla="*/ 2607 h 10000"/>
                <a:gd name="connsiteX1699" fmla="*/ 3433 w 10785"/>
                <a:gd name="connsiteY1699" fmla="*/ 2581 h 10000"/>
                <a:gd name="connsiteX1700" fmla="*/ 3396 w 10785"/>
                <a:gd name="connsiteY1700" fmla="*/ 2556 h 10000"/>
                <a:gd name="connsiteX1701" fmla="*/ 3318 w 10785"/>
                <a:gd name="connsiteY1701" fmla="*/ 2556 h 10000"/>
                <a:gd name="connsiteX1702" fmla="*/ 3304 w 10785"/>
                <a:gd name="connsiteY1702" fmla="*/ 2607 h 10000"/>
                <a:gd name="connsiteX1703" fmla="*/ 3276 w 10785"/>
                <a:gd name="connsiteY1703" fmla="*/ 2632 h 10000"/>
                <a:gd name="connsiteX1704" fmla="*/ 3272 w 10785"/>
                <a:gd name="connsiteY1704" fmla="*/ 2667 h 10000"/>
                <a:gd name="connsiteX1705" fmla="*/ 3304 w 10785"/>
                <a:gd name="connsiteY1705" fmla="*/ 2667 h 10000"/>
                <a:gd name="connsiteX1706" fmla="*/ 3323 w 10785"/>
                <a:gd name="connsiteY1706" fmla="*/ 2692 h 10000"/>
                <a:gd name="connsiteX1707" fmla="*/ 3318 w 10785"/>
                <a:gd name="connsiteY1707" fmla="*/ 2735 h 10000"/>
                <a:gd name="connsiteX1708" fmla="*/ 3304 w 10785"/>
                <a:gd name="connsiteY1708" fmla="*/ 2761 h 10000"/>
                <a:gd name="connsiteX1709" fmla="*/ 3276 w 10785"/>
                <a:gd name="connsiteY1709" fmla="*/ 2769 h 10000"/>
                <a:gd name="connsiteX1710" fmla="*/ 3263 w 10785"/>
                <a:gd name="connsiteY1710" fmla="*/ 2795 h 10000"/>
                <a:gd name="connsiteX1711" fmla="*/ 3235 w 10785"/>
                <a:gd name="connsiteY1711" fmla="*/ 2803 h 10000"/>
                <a:gd name="connsiteX1712" fmla="*/ 3235 w 10785"/>
                <a:gd name="connsiteY1712" fmla="*/ 2786 h 10000"/>
                <a:gd name="connsiteX1713" fmla="*/ 3212 w 10785"/>
                <a:gd name="connsiteY1713" fmla="*/ 2709 h 10000"/>
                <a:gd name="connsiteX1714" fmla="*/ 3198 w 10785"/>
                <a:gd name="connsiteY1714" fmla="*/ 2709 h 10000"/>
                <a:gd name="connsiteX1715" fmla="*/ 3184 w 10785"/>
                <a:gd name="connsiteY1715" fmla="*/ 2735 h 10000"/>
                <a:gd name="connsiteX1716" fmla="*/ 3189 w 10785"/>
                <a:gd name="connsiteY1716" fmla="*/ 2761 h 10000"/>
                <a:gd name="connsiteX1717" fmla="*/ 3203 w 10785"/>
                <a:gd name="connsiteY1717" fmla="*/ 2855 h 10000"/>
                <a:gd name="connsiteX1718" fmla="*/ 3212 w 10785"/>
                <a:gd name="connsiteY1718" fmla="*/ 2872 h 10000"/>
                <a:gd name="connsiteX1719" fmla="*/ 3235 w 10785"/>
                <a:gd name="connsiteY1719" fmla="*/ 2906 h 10000"/>
                <a:gd name="connsiteX1720" fmla="*/ 3258 w 10785"/>
                <a:gd name="connsiteY1720" fmla="*/ 2915 h 10000"/>
                <a:gd name="connsiteX1721" fmla="*/ 3272 w 10785"/>
                <a:gd name="connsiteY1721" fmla="*/ 2957 h 10000"/>
                <a:gd name="connsiteX1722" fmla="*/ 3276 w 10785"/>
                <a:gd name="connsiteY1722" fmla="*/ 2957 h 10000"/>
                <a:gd name="connsiteX1723" fmla="*/ 3286 w 10785"/>
                <a:gd name="connsiteY1723" fmla="*/ 2966 h 10000"/>
                <a:gd name="connsiteX1724" fmla="*/ 3300 w 10785"/>
                <a:gd name="connsiteY1724" fmla="*/ 2957 h 10000"/>
                <a:gd name="connsiteX1725" fmla="*/ 3309 w 10785"/>
                <a:gd name="connsiteY1725" fmla="*/ 2932 h 10000"/>
                <a:gd name="connsiteX1726" fmla="*/ 3304 w 10785"/>
                <a:gd name="connsiteY1726" fmla="*/ 2966 h 10000"/>
                <a:gd name="connsiteX1727" fmla="*/ 3309 w 10785"/>
                <a:gd name="connsiteY1727" fmla="*/ 2983 h 10000"/>
                <a:gd name="connsiteX1728" fmla="*/ 3323 w 10785"/>
                <a:gd name="connsiteY1728" fmla="*/ 2966 h 10000"/>
                <a:gd name="connsiteX1729" fmla="*/ 3323 w 10785"/>
                <a:gd name="connsiteY1729" fmla="*/ 3043 h 10000"/>
                <a:gd name="connsiteX1730" fmla="*/ 3346 w 10785"/>
                <a:gd name="connsiteY1730" fmla="*/ 3068 h 10000"/>
                <a:gd name="connsiteX1731" fmla="*/ 3346 w 10785"/>
                <a:gd name="connsiteY1731" fmla="*/ 3094 h 10000"/>
                <a:gd name="connsiteX1732" fmla="*/ 3323 w 10785"/>
                <a:gd name="connsiteY1732" fmla="*/ 3094 h 10000"/>
                <a:gd name="connsiteX1733" fmla="*/ 3309 w 10785"/>
                <a:gd name="connsiteY1733" fmla="*/ 3077 h 10000"/>
                <a:gd name="connsiteX1734" fmla="*/ 3304 w 10785"/>
                <a:gd name="connsiteY1734" fmla="*/ 3051 h 10000"/>
                <a:gd name="connsiteX1735" fmla="*/ 3300 w 10785"/>
                <a:gd name="connsiteY1735" fmla="*/ 3043 h 10000"/>
                <a:gd name="connsiteX1736" fmla="*/ 3286 w 10785"/>
                <a:gd name="connsiteY1736" fmla="*/ 3017 h 10000"/>
                <a:gd name="connsiteX1737" fmla="*/ 3152 w 10785"/>
                <a:gd name="connsiteY1737" fmla="*/ 2966 h 10000"/>
                <a:gd name="connsiteX1738" fmla="*/ 3129 w 10785"/>
                <a:gd name="connsiteY1738" fmla="*/ 2915 h 10000"/>
                <a:gd name="connsiteX1739" fmla="*/ 3129 w 10785"/>
                <a:gd name="connsiteY1739" fmla="*/ 2906 h 10000"/>
                <a:gd name="connsiteX1740" fmla="*/ 3152 w 10785"/>
                <a:gd name="connsiteY1740" fmla="*/ 2906 h 10000"/>
                <a:gd name="connsiteX1741" fmla="*/ 3152 w 10785"/>
                <a:gd name="connsiteY1741" fmla="*/ 2846 h 10000"/>
                <a:gd name="connsiteX1742" fmla="*/ 3138 w 10785"/>
                <a:gd name="connsiteY1742" fmla="*/ 2795 h 10000"/>
                <a:gd name="connsiteX1743" fmla="*/ 3138 w 10785"/>
                <a:gd name="connsiteY1743" fmla="*/ 2769 h 10000"/>
                <a:gd name="connsiteX1744" fmla="*/ 3143 w 10785"/>
                <a:gd name="connsiteY1744" fmla="*/ 2718 h 10000"/>
                <a:gd name="connsiteX1745" fmla="*/ 3129 w 10785"/>
                <a:gd name="connsiteY1745" fmla="*/ 2692 h 10000"/>
                <a:gd name="connsiteX1746" fmla="*/ 3143 w 10785"/>
                <a:gd name="connsiteY1746" fmla="*/ 2667 h 10000"/>
                <a:gd name="connsiteX1747" fmla="*/ 3157 w 10785"/>
                <a:gd name="connsiteY1747" fmla="*/ 2581 h 10000"/>
                <a:gd name="connsiteX1748" fmla="*/ 3143 w 10785"/>
                <a:gd name="connsiteY1748" fmla="*/ 2496 h 10000"/>
                <a:gd name="connsiteX1749" fmla="*/ 3157 w 10785"/>
                <a:gd name="connsiteY1749" fmla="*/ 2487 h 10000"/>
                <a:gd name="connsiteX1750" fmla="*/ 3143 w 10785"/>
                <a:gd name="connsiteY1750" fmla="*/ 2444 h 10000"/>
                <a:gd name="connsiteX1751" fmla="*/ 3143 w 10785"/>
                <a:gd name="connsiteY1751" fmla="*/ 2419 h 10000"/>
                <a:gd name="connsiteX1752" fmla="*/ 3143 w 10785"/>
                <a:gd name="connsiteY1752" fmla="*/ 2410 h 10000"/>
                <a:gd name="connsiteX1753" fmla="*/ 3124 w 10785"/>
                <a:gd name="connsiteY1753" fmla="*/ 2376 h 10000"/>
                <a:gd name="connsiteX1754" fmla="*/ 3115 w 10785"/>
                <a:gd name="connsiteY1754" fmla="*/ 2350 h 10000"/>
                <a:gd name="connsiteX1755" fmla="*/ 3101 w 10785"/>
                <a:gd name="connsiteY1755" fmla="*/ 2359 h 10000"/>
                <a:gd name="connsiteX1756" fmla="*/ 3115 w 10785"/>
                <a:gd name="connsiteY1756" fmla="*/ 2581 h 10000"/>
                <a:gd name="connsiteX1757" fmla="*/ 3111 w 10785"/>
                <a:gd name="connsiteY1757" fmla="*/ 2624 h 10000"/>
                <a:gd name="connsiteX1758" fmla="*/ 3009 w 10785"/>
                <a:gd name="connsiteY1758" fmla="*/ 2761 h 10000"/>
                <a:gd name="connsiteX1759" fmla="*/ 3009 w 10785"/>
                <a:gd name="connsiteY1759" fmla="*/ 2803 h 10000"/>
                <a:gd name="connsiteX1760" fmla="*/ 3005 w 10785"/>
                <a:gd name="connsiteY1760" fmla="*/ 2829 h 10000"/>
                <a:gd name="connsiteX1761" fmla="*/ 2982 w 10785"/>
                <a:gd name="connsiteY1761" fmla="*/ 2872 h 10000"/>
                <a:gd name="connsiteX1762" fmla="*/ 2982 w 10785"/>
                <a:gd name="connsiteY1762" fmla="*/ 2880 h 10000"/>
                <a:gd name="connsiteX1763" fmla="*/ 3037 w 10785"/>
                <a:gd name="connsiteY1763" fmla="*/ 3034 h 10000"/>
                <a:gd name="connsiteX1764" fmla="*/ 3041 w 10785"/>
                <a:gd name="connsiteY1764" fmla="*/ 3103 h 10000"/>
                <a:gd name="connsiteX1765" fmla="*/ 3069 w 10785"/>
                <a:gd name="connsiteY1765" fmla="*/ 3188 h 10000"/>
                <a:gd name="connsiteX1766" fmla="*/ 3055 w 10785"/>
                <a:gd name="connsiteY1766" fmla="*/ 3325 h 10000"/>
                <a:gd name="connsiteX1767" fmla="*/ 3037 w 10785"/>
                <a:gd name="connsiteY1767" fmla="*/ 3368 h 10000"/>
                <a:gd name="connsiteX1768" fmla="*/ 3037 w 10785"/>
                <a:gd name="connsiteY1768" fmla="*/ 3444 h 10000"/>
                <a:gd name="connsiteX1769" fmla="*/ 3028 w 10785"/>
                <a:gd name="connsiteY1769" fmla="*/ 3453 h 10000"/>
                <a:gd name="connsiteX1770" fmla="*/ 3023 w 10785"/>
                <a:gd name="connsiteY1770" fmla="*/ 3530 h 10000"/>
                <a:gd name="connsiteX1771" fmla="*/ 3051 w 10785"/>
                <a:gd name="connsiteY1771" fmla="*/ 3624 h 10000"/>
                <a:gd name="connsiteX1772" fmla="*/ 3037 w 10785"/>
                <a:gd name="connsiteY1772" fmla="*/ 3718 h 10000"/>
                <a:gd name="connsiteX1773" fmla="*/ 3041 w 10785"/>
                <a:gd name="connsiteY1773" fmla="*/ 3752 h 10000"/>
                <a:gd name="connsiteX1774" fmla="*/ 3055 w 10785"/>
                <a:gd name="connsiteY1774" fmla="*/ 3761 h 10000"/>
                <a:gd name="connsiteX1775" fmla="*/ 3078 w 10785"/>
                <a:gd name="connsiteY1775" fmla="*/ 3752 h 10000"/>
                <a:gd name="connsiteX1776" fmla="*/ 3092 w 10785"/>
                <a:gd name="connsiteY1776" fmla="*/ 3752 h 10000"/>
                <a:gd name="connsiteX1777" fmla="*/ 3129 w 10785"/>
                <a:gd name="connsiteY1777" fmla="*/ 3761 h 10000"/>
                <a:gd name="connsiteX1778" fmla="*/ 3129 w 10785"/>
                <a:gd name="connsiteY1778" fmla="*/ 3735 h 10000"/>
                <a:gd name="connsiteX1779" fmla="*/ 3157 w 10785"/>
                <a:gd name="connsiteY1779" fmla="*/ 3718 h 10000"/>
                <a:gd name="connsiteX1780" fmla="*/ 3184 w 10785"/>
                <a:gd name="connsiteY1780" fmla="*/ 3718 h 10000"/>
                <a:gd name="connsiteX1781" fmla="*/ 3290 w 10785"/>
                <a:gd name="connsiteY1781" fmla="*/ 3838 h 10000"/>
                <a:gd name="connsiteX1782" fmla="*/ 3300 w 10785"/>
                <a:gd name="connsiteY1782" fmla="*/ 3846 h 10000"/>
                <a:gd name="connsiteX1783" fmla="*/ 3300 w 10785"/>
                <a:gd name="connsiteY1783" fmla="*/ 3915 h 10000"/>
                <a:gd name="connsiteX1784" fmla="*/ 3318 w 10785"/>
                <a:gd name="connsiteY1784" fmla="*/ 4000 h 10000"/>
                <a:gd name="connsiteX1785" fmla="*/ 3323 w 10785"/>
                <a:gd name="connsiteY1785" fmla="*/ 4000 h 10000"/>
                <a:gd name="connsiteX1786" fmla="*/ 3323 w 10785"/>
                <a:gd name="connsiteY1786" fmla="*/ 4034 h 10000"/>
                <a:gd name="connsiteX1787" fmla="*/ 3318 w 10785"/>
                <a:gd name="connsiteY1787" fmla="*/ 4051 h 10000"/>
                <a:gd name="connsiteX1788" fmla="*/ 3300 w 10785"/>
                <a:gd name="connsiteY1788" fmla="*/ 4051 h 10000"/>
                <a:gd name="connsiteX1789" fmla="*/ 3290 w 10785"/>
                <a:gd name="connsiteY1789" fmla="*/ 4077 h 10000"/>
                <a:gd name="connsiteX1790" fmla="*/ 3286 w 10785"/>
                <a:gd name="connsiteY1790" fmla="*/ 4103 h 10000"/>
                <a:gd name="connsiteX1791" fmla="*/ 3286 w 10785"/>
                <a:gd name="connsiteY1791" fmla="*/ 4197 h 10000"/>
                <a:gd name="connsiteX1792" fmla="*/ 3290 w 10785"/>
                <a:gd name="connsiteY1792" fmla="*/ 4214 h 10000"/>
                <a:gd name="connsiteX1793" fmla="*/ 3304 w 10785"/>
                <a:gd name="connsiteY1793" fmla="*/ 4214 h 10000"/>
                <a:gd name="connsiteX1794" fmla="*/ 3323 w 10785"/>
                <a:gd name="connsiteY1794" fmla="*/ 4239 h 10000"/>
                <a:gd name="connsiteX1795" fmla="*/ 3350 w 10785"/>
                <a:gd name="connsiteY1795" fmla="*/ 4222 h 10000"/>
                <a:gd name="connsiteX1796" fmla="*/ 3369 w 10785"/>
                <a:gd name="connsiteY1796" fmla="*/ 4256 h 10000"/>
                <a:gd name="connsiteX1797" fmla="*/ 3369 w 10785"/>
                <a:gd name="connsiteY1797" fmla="*/ 4256 h 10000"/>
                <a:gd name="connsiteX1798" fmla="*/ 3336 w 10785"/>
                <a:gd name="connsiteY1798" fmla="*/ 4274 h 10000"/>
                <a:gd name="connsiteX1799" fmla="*/ 3323 w 10785"/>
                <a:gd name="connsiteY1799" fmla="*/ 4274 h 10000"/>
                <a:gd name="connsiteX1800" fmla="*/ 3290 w 10785"/>
                <a:gd name="connsiteY1800" fmla="*/ 4274 h 10000"/>
                <a:gd name="connsiteX1801" fmla="*/ 3286 w 10785"/>
                <a:gd name="connsiteY1801" fmla="*/ 4239 h 10000"/>
                <a:gd name="connsiteX1802" fmla="*/ 3263 w 10785"/>
                <a:gd name="connsiteY1802" fmla="*/ 4214 h 10000"/>
                <a:gd name="connsiteX1803" fmla="*/ 3258 w 10785"/>
                <a:gd name="connsiteY1803" fmla="*/ 4188 h 10000"/>
                <a:gd name="connsiteX1804" fmla="*/ 3263 w 10785"/>
                <a:gd name="connsiteY1804" fmla="*/ 4171 h 10000"/>
                <a:gd name="connsiteX1805" fmla="*/ 3263 w 10785"/>
                <a:gd name="connsiteY1805" fmla="*/ 4103 h 10000"/>
                <a:gd name="connsiteX1806" fmla="*/ 3276 w 10785"/>
                <a:gd name="connsiteY1806" fmla="*/ 4060 h 10000"/>
                <a:gd name="connsiteX1807" fmla="*/ 3272 w 10785"/>
                <a:gd name="connsiteY1807" fmla="*/ 4051 h 10000"/>
                <a:gd name="connsiteX1808" fmla="*/ 3263 w 10785"/>
                <a:gd name="connsiteY1808" fmla="*/ 4051 h 10000"/>
                <a:gd name="connsiteX1809" fmla="*/ 3263 w 10785"/>
                <a:gd name="connsiteY1809" fmla="*/ 4034 h 10000"/>
                <a:gd name="connsiteX1810" fmla="*/ 3263 w 10785"/>
                <a:gd name="connsiteY1810" fmla="*/ 4000 h 10000"/>
                <a:gd name="connsiteX1811" fmla="*/ 3272 w 10785"/>
                <a:gd name="connsiteY1811" fmla="*/ 4000 h 10000"/>
                <a:gd name="connsiteX1812" fmla="*/ 3272 w 10785"/>
                <a:gd name="connsiteY1812" fmla="*/ 3974 h 10000"/>
                <a:gd name="connsiteX1813" fmla="*/ 3272 w 10785"/>
                <a:gd name="connsiteY1813" fmla="*/ 3966 h 10000"/>
                <a:gd name="connsiteX1814" fmla="*/ 3272 w 10785"/>
                <a:gd name="connsiteY1814" fmla="*/ 3949 h 10000"/>
                <a:gd name="connsiteX1815" fmla="*/ 3258 w 10785"/>
                <a:gd name="connsiteY1815" fmla="*/ 3923 h 10000"/>
                <a:gd name="connsiteX1816" fmla="*/ 3249 w 10785"/>
                <a:gd name="connsiteY1816" fmla="*/ 3915 h 10000"/>
                <a:gd name="connsiteX1817" fmla="*/ 3244 w 10785"/>
                <a:gd name="connsiteY1817" fmla="*/ 3897 h 10000"/>
                <a:gd name="connsiteX1818" fmla="*/ 3230 w 10785"/>
                <a:gd name="connsiteY1818" fmla="*/ 3889 h 10000"/>
                <a:gd name="connsiteX1819" fmla="*/ 3230 w 10785"/>
                <a:gd name="connsiteY1819" fmla="*/ 3863 h 10000"/>
                <a:gd name="connsiteX1820" fmla="*/ 3230 w 10785"/>
                <a:gd name="connsiteY1820" fmla="*/ 3838 h 10000"/>
                <a:gd name="connsiteX1821" fmla="*/ 3226 w 10785"/>
                <a:gd name="connsiteY1821" fmla="*/ 3803 h 10000"/>
                <a:gd name="connsiteX1822" fmla="*/ 3138 w 10785"/>
                <a:gd name="connsiteY1822" fmla="*/ 3838 h 10000"/>
                <a:gd name="connsiteX1823" fmla="*/ 3078 w 10785"/>
                <a:gd name="connsiteY1823" fmla="*/ 3889 h 10000"/>
                <a:gd name="connsiteX1824" fmla="*/ 3078 w 10785"/>
                <a:gd name="connsiteY1824" fmla="*/ 3940 h 10000"/>
                <a:gd name="connsiteX1825" fmla="*/ 3069 w 10785"/>
                <a:gd name="connsiteY1825" fmla="*/ 3983 h 10000"/>
                <a:gd name="connsiteX1826" fmla="*/ 3069 w 10785"/>
                <a:gd name="connsiteY1826" fmla="*/ 4009 h 10000"/>
                <a:gd name="connsiteX1827" fmla="*/ 3078 w 10785"/>
                <a:gd name="connsiteY1827" fmla="*/ 4026 h 10000"/>
                <a:gd name="connsiteX1828" fmla="*/ 3083 w 10785"/>
                <a:gd name="connsiteY1828" fmla="*/ 4034 h 10000"/>
                <a:gd name="connsiteX1829" fmla="*/ 3092 w 10785"/>
                <a:gd name="connsiteY1829" fmla="*/ 4060 h 10000"/>
                <a:gd name="connsiteX1830" fmla="*/ 3092 w 10785"/>
                <a:gd name="connsiteY1830" fmla="*/ 4077 h 10000"/>
                <a:gd name="connsiteX1831" fmla="*/ 3097 w 10785"/>
                <a:gd name="connsiteY1831" fmla="*/ 4103 h 10000"/>
                <a:gd name="connsiteX1832" fmla="*/ 3101 w 10785"/>
                <a:gd name="connsiteY1832" fmla="*/ 4162 h 10000"/>
                <a:gd name="connsiteX1833" fmla="*/ 3097 w 10785"/>
                <a:gd name="connsiteY1833" fmla="*/ 4222 h 10000"/>
                <a:gd name="connsiteX1834" fmla="*/ 3041 w 10785"/>
                <a:gd name="connsiteY1834" fmla="*/ 4325 h 10000"/>
                <a:gd name="connsiteX1835" fmla="*/ 3037 w 10785"/>
                <a:gd name="connsiteY1835" fmla="*/ 4419 h 10000"/>
                <a:gd name="connsiteX1836" fmla="*/ 3018 w 10785"/>
                <a:gd name="connsiteY1836" fmla="*/ 4470 h 10000"/>
                <a:gd name="connsiteX1837" fmla="*/ 2991 w 10785"/>
                <a:gd name="connsiteY1837" fmla="*/ 4513 h 10000"/>
                <a:gd name="connsiteX1838" fmla="*/ 2977 w 10785"/>
                <a:gd name="connsiteY1838" fmla="*/ 4530 h 10000"/>
                <a:gd name="connsiteX1839" fmla="*/ 2945 w 10785"/>
                <a:gd name="connsiteY1839" fmla="*/ 4556 h 10000"/>
                <a:gd name="connsiteX1840" fmla="*/ 2935 w 10785"/>
                <a:gd name="connsiteY1840" fmla="*/ 4581 h 10000"/>
                <a:gd name="connsiteX1841" fmla="*/ 2949 w 10785"/>
                <a:gd name="connsiteY1841" fmla="*/ 4624 h 10000"/>
                <a:gd name="connsiteX1842" fmla="*/ 2945 w 10785"/>
                <a:gd name="connsiteY1842" fmla="*/ 4658 h 10000"/>
                <a:gd name="connsiteX1843" fmla="*/ 2922 w 10785"/>
                <a:gd name="connsiteY1843" fmla="*/ 4667 h 10000"/>
                <a:gd name="connsiteX1844" fmla="*/ 2876 w 10785"/>
                <a:gd name="connsiteY1844" fmla="*/ 4632 h 10000"/>
                <a:gd name="connsiteX1845" fmla="*/ 2857 w 10785"/>
                <a:gd name="connsiteY1845" fmla="*/ 4632 h 10000"/>
                <a:gd name="connsiteX1846" fmla="*/ 2820 w 10785"/>
                <a:gd name="connsiteY1846" fmla="*/ 4641 h 10000"/>
                <a:gd name="connsiteX1847" fmla="*/ 2797 w 10785"/>
                <a:gd name="connsiteY1847" fmla="*/ 4632 h 10000"/>
                <a:gd name="connsiteX1848" fmla="*/ 2788 w 10785"/>
                <a:gd name="connsiteY1848" fmla="*/ 4624 h 10000"/>
                <a:gd name="connsiteX1849" fmla="*/ 2788 w 10785"/>
                <a:gd name="connsiteY1849" fmla="*/ 4598 h 10000"/>
                <a:gd name="connsiteX1850" fmla="*/ 2797 w 10785"/>
                <a:gd name="connsiteY1850" fmla="*/ 4581 h 10000"/>
                <a:gd name="connsiteX1851" fmla="*/ 2788 w 10785"/>
                <a:gd name="connsiteY1851" fmla="*/ 4530 h 10000"/>
                <a:gd name="connsiteX1852" fmla="*/ 2774 w 10785"/>
                <a:gd name="connsiteY1852" fmla="*/ 4530 h 10000"/>
                <a:gd name="connsiteX1853" fmla="*/ 2770 w 10785"/>
                <a:gd name="connsiteY1853" fmla="*/ 4513 h 10000"/>
                <a:gd name="connsiteX1854" fmla="*/ 2774 w 10785"/>
                <a:gd name="connsiteY1854" fmla="*/ 4513 h 10000"/>
                <a:gd name="connsiteX1855" fmla="*/ 2788 w 10785"/>
                <a:gd name="connsiteY1855" fmla="*/ 4496 h 10000"/>
                <a:gd name="connsiteX1856" fmla="*/ 2802 w 10785"/>
                <a:gd name="connsiteY1856" fmla="*/ 4513 h 10000"/>
                <a:gd name="connsiteX1857" fmla="*/ 2811 w 10785"/>
                <a:gd name="connsiteY1857" fmla="*/ 4530 h 10000"/>
                <a:gd name="connsiteX1858" fmla="*/ 2820 w 10785"/>
                <a:gd name="connsiteY1858" fmla="*/ 4521 h 10000"/>
                <a:gd name="connsiteX1859" fmla="*/ 2829 w 10785"/>
                <a:gd name="connsiteY1859" fmla="*/ 4513 h 10000"/>
                <a:gd name="connsiteX1860" fmla="*/ 2843 w 10785"/>
                <a:gd name="connsiteY1860" fmla="*/ 4513 h 10000"/>
                <a:gd name="connsiteX1861" fmla="*/ 2848 w 10785"/>
                <a:gd name="connsiteY1861" fmla="*/ 4470 h 10000"/>
                <a:gd name="connsiteX1862" fmla="*/ 2862 w 10785"/>
                <a:gd name="connsiteY1862" fmla="*/ 4487 h 10000"/>
                <a:gd name="connsiteX1863" fmla="*/ 2876 w 10785"/>
                <a:gd name="connsiteY1863" fmla="*/ 4470 h 10000"/>
                <a:gd name="connsiteX1864" fmla="*/ 2880 w 10785"/>
                <a:gd name="connsiteY1864" fmla="*/ 4462 h 10000"/>
                <a:gd name="connsiteX1865" fmla="*/ 2889 w 10785"/>
                <a:gd name="connsiteY1865" fmla="*/ 4444 h 10000"/>
                <a:gd name="connsiteX1866" fmla="*/ 2894 w 10785"/>
                <a:gd name="connsiteY1866" fmla="*/ 4462 h 10000"/>
                <a:gd name="connsiteX1867" fmla="*/ 2917 w 10785"/>
                <a:gd name="connsiteY1867" fmla="*/ 4444 h 10000"/>
                <a:gd name="connsiteX1868" fmla="*/ 2922 w 10785"/>
                <a:gd name="connsiteY1868" fmla="*/ 4436 h 10000"/>
                <a:gd name="connsiteX1869" fmla="*/ 2917 w 10785"/>
                <a:gd name="connsiteY1869" fmla="*/ 4410 h 10000"/>
                <a:gd name="connsiteX1870" fmla="*/ 2894 w 10785"/>
                <a:gd name="connsiteY1870" fmla="*/ 4410 h 10000"/>
                <a:gd name="connsiteX1871" fmla="*/ 2889 w 10785"/>
                <a:gd name="connsiteY1871" fmla="*/ 4419 h 10000"/>
                <a:gd name="connsiteX1872" fmla="*/ 2876 w 10785"/>
                <a:gd name="connsiteY1872" fmla="*/ 4410 h 10000"/>
                <a:gd name="connsiteX1873" fmla="*/ 2880 w 10785"/>
                <a:gd name="connsiteY1873" fmla="*/ 4376 h 10000"/>
                <a:gd name="connsiteX1874" fmla="*/ 2903 w 10785"/>
                <a:gd name="connsiteY1874" fmla="*/ 4393 h 10000"/>
                <a:gd name="connsiteX1875" fmla="*/ 2931 w 10785"/>
                <a:gd name="connsiteY1875" fmla="*/ 4393 h 10000"/>
                <a:gd name="connsiteX1876" fmla="*/ 2931 w 10785"/>
                <a:gd name="connsiteY1876" fmla="*/ 4385 h 10000"/>
                <a:gd name="connsiteX1877" fmla="*/ 2931 w 10785"/>
                <a:gd name="connsiteY1877" fmla="*/ 4350 h 10000"/>
                <a:gd name="connsiteX1878" fmla="*/ 2945 w 10785"/>
                <a:gd name="connsiteY1878" fmla="*/ 4350 h 10000"/>
                <a:gd name="connsiteX1879" fmla="*/ 2949 w 10785"/>
                <a:gd name="connsiteY1879" fmla="*/ 4325 h 10000"/>
                <a:gd name="connsiteX1880" fmla="*/ 2963 w 10785"/>
                <a:gd name="connsiteY1880" fmla="*/ 4256 h 10000"/>
                <a:gd name="connsiteX1881" fmla="*/ 2982 w 10785"/>
                <a:gd name="connsiteY1881" fmla="*/ 4239 h 10000"/>
                <a:gd name="connsiteX1882" fmla="*/ 2991 w 10785"/>
                <a:gd name="connsiteY1882" fmla="*/ 4214 h 10000"/>
                <a:gd name="connsiteX1883" fmla="*/ 2991 w 10785"/>
                <a:gd name="connsiteY1883" fmla="*/ 4197 h 10000"/>
                <a:gd name="connsiteX1884" fmla="*/ 2995 w 10785"/>
                <a:gd name="connsiteY1884" fmla="*/ 4171 h 10000"/>
                <a:gd name="connsiteX1885" fmla="*/ 2991 w 10785"/>
                <a:gd name="connsiteY1885" fmla="*/ 4077 h 10000"/>
                <a:gd name="connsiteX1886" fmla="*/ 2995 w 10785"/>
                <a:gd name="connsiteY1886" fmla="*/ 4034 h 10000"/>
                <a:gd name="connsiteX1887" fmla="*/ 3018 w 10785"/>
                <a:gd name="connsiteY1887" fmla="*/ 3983 h 10000"/>
                <a:gd name="connsiteX1888" fmla="*/ 3018 w 10785"/>
                <a:gd name="connsiteY1888" fmla="*/ 3915 h 10000"/>
                <a:gd name="connsiteX1889" fmla="*/ 2949 w 10785"/>
                <a:gd name="connsiteY1889" fmla="*/ 3778 h 10000"/>
                <a:gd name="connsiteX1890" fmla="*/ 2954 w 10785"/>
                <a:gd name="connsiteY1890" fmla="*/ 3675 h 10000"/>
                <a:gd name="connsiteX1891" fmla="*/ 2954 w 10785"/>
                <a:gd name="connsiteY1891" fmla="*/ 3650 h 10000"/>
                <a:gd name="connsiteX1892" fmla="*/ 2963 w 10785"/>
                <a:gd name="connsiteY1892" fmla="*/ 3624 h 10000"/>
                <a:gd name="connsiteX1893" fmla="*/ 2954 w 10785"/>
                <a:gd name="connsiteY1893" fmla="*/ 3564 h 10000"/>
                <a:gd name="connsiteX1894" fmla="*/ 2963 w 10785"/>
                <a:gd name="connsiteY1894" fmla="*/ 3538 h 10000"/>
                <a:gd name="connsiteX1895" fmla="*/ 2963 w 10785"/>
                <a:gd name="connsiteY1895" fmla="*/ 3487 h 10000"/>
                <a:gd name="connsiteX1896" fmla="*/ 2963 w 10785"/>
                <a:gd name="connsiteY1896" fmla="*/ 3479 h 10000"/>
                <a:gd name="connsiteX1897" fmla="*/ 2963 w 10785"/>
                <a:gd name="connsiteY1897" fmla="*/ 3462 h 10000"/>
                <a:gd name="connsiteX1898" fmla="*/ 2954 w 10785"/>
                <a:gd name="connsiteY1898" fmla="*/ 3453 h 10000"/>
                <a:gd name="connsiteX1899" fmla="*/ 2954 w 10785"/>
                <a:gd name="connsiteY1899" fmla="*/ 3444 h 10000"/>
                <a:gd name="connsiteX1900" fmla="*/ 2954 w 10785"/>
                <a:gd name="connsiteY1900" fmla="*/ 3402 h 10000"/>
                <a:gd name="connsiteX1901" fmla="*/ 2954 w 10785"/>
                <a:gd name="connsiteY1901" fmla="*/ 3393 h 10000"/>
                <a:gd name="connsiteX1902" fmla="*/ 2949 w 10785"/>
                <a:gd name="connsiteY1902" fmla="*/ 3376 h 10000"/>
                <a:gd name="connsiteX1903" fmla="*/ 2949 w 10785"/>
                <a:gd name="connsiteY1903" fmla="*/ 3342 h 10000"/>
                <a:gd name="connsiteX1904" fmla="*/ 2949 w 10785"/>
                <a:gd name="connsiteY1904" fmla="*/ 3316 h 10000"/>
                <a:gd name="connsiteX1905" fmla="*/ 2968 w 10785"/>
                <a:gd name="connsiteY1905" fmla="*/ 3291 h 10000"/>
                <a:gd name="connsiteX1906" fmla="*/ 2963 w 10785"/>
                <a:gd name="connsiteY1906" fmla="*/ 3205 h 10000"/>
                <a:gd name="connsiteX1907" fmla="*/ 2968 w 10785"/>
                <a:gd name="connsiteY1907" fmla="*/ 3171 h 10000"/>
                <a:gd name="connsiteX1908" fmla="*/ 2968 w 10785"/>
                <a:gd name="connsiteY1908" fmla="*/ 3128 h 10000"/>
                <a:gd name="connsiteX1909" fmla="*/ 2954 w 10785"/>
                <a:gd name="connsiteY1909" fmla="*/ 3051 h 10000"/>
                <a:gd name="connsiteX1910" fmla="*/ 2954 w 10785"/>
                <a:gd name="connsiteY1910" fmla="*/ 3009 h 10000"/>
                <a:gd name="connsiteX1911" fmla="*/ 2922 w 10785"/>
                <a:gd name="connsiteY1911" fmla="*/ 2940 h 10000"/>
                <a:gd name="connsiteX1912" fmla="*/ 2903 w 10785"/>
                <a:gd name="connsiteY1912" fmla="*/ 2880 h 10000"/>
                <a:gd name="connsiteX1913" fmla="*/ 2903 w 10785"/>
                <a:gd name="connsiteY1913" fmla="*/ 2855 h 10000"/>
                <a:gd name="connsiteX1914" fmla="*/ 2908 w 10785"/>
                <a:gd name="connsiteY1914" fmla="*/ 2846 h 10000"/>
                <a:gd name="connsiteX1915" fmla="*/ 2931 w 10785"/>
                <a:gd name="connsiteY1915" fmla="*/ 2821 h 10000"/>
                <a:gd name="connsiteX1916" fmla="*/ 2931 w 10785"/>
                <a:gd name="connsiteY1916" fmla="*/ 2803 h 10000"/>
                <a:gd name="connsiteX1917" fmla="*/ 2935 w 10785"/>
                <a:gd name="connsiteY1917" fmla="*/ 2786 h 10000"/>
                <a:gd name="connsiteX1918" fmla="*/ 2935 w 10785"/>
                <a:gd name="connsiteY1918" fmla="*/ 2744 h 10000"/>
                <a:gd name="connsiteX1919" fmla="*/ 2963 w 10785"/>
                <a:gd name="connsiteY1919" fmla="*/ 2607 h 10000"/>
                <a:gd name="connsiteX1920" fmla="*/ 2963 w 10785"/>
                <a:gd name="connsiteY1920" fmla="*/ 2419 h 10000"/>
                <a:gd name="connsiteX1921" fmla="*/ 2954 w 10785"/>
                <a:gd name="connsiteY1921" fmla="*/ 2410 h 10000"/>
                <a:gd name="connsiteX1922" fmla="*/ 2963 w 10785"/>
                <a:gd name="connsiteY1922" fmla="*/ 2393 h 10000"/>
                <a:gd name="connsiteX1923" fmla="*/ 2908 w 10785"/>
                <a:gd name="connsiteY1923" fmla="*/ 2359 h 10000"/>
                <a:gd name="connsiteX1924" fmla="*/ 2889 w 10785"/>
                <a:gd name="connsiteY1924" fmla="*/ 2325 h 10000"/>
                <a:gd name="connsiteX1925" fmla="*/ 2788 w 10785"/>
                <a:gd name="connsiteY1925" fmla="*/ 2333 h 10000"/>
                <a:gd name="connsiteX1926" fmla="*/ 2774 w 10785"/>
                <a:gd name="connsiteY1926" fmla="*/ 2325 h 10000"/>
                <a:gd name="connsiteX1927" fmla="*/ 2783 w 10785"/>
                <a:gd name="connsiteY1927" fmla="*/ 2308 h 10000"/>
                <a:gd name="connsiteX1928" fmla="*/ 2747 w 10785"/>
                <a:gd name="connsiteY1928" fmla="*/ 2308 h 10000"/>
                <a:gd name="connsiteX1929" fmla="*/ 2742 w 10785"/>
                <a:gd name="connsiteY1929" fmla="*/ 2333 h 10000"/>
                <a:gd name="connsiteX1930" fmla="*/ 2682 w 10785"/>
                <a:gd name="connsiteY1930" fmla="*/ 2769 h 10000"/>
                <a:gd name="connsiteX1931" fmla="*/ 2613 w 10785"/>
                <a:gd name="connsiteY1931" fmla="*/ 2940 h 10000"/>
                <a:gd name="connsiteX1932" fmla="*/ 2581 w 10785"/>
                <a:gd name="connsiteY1932" fmla="*/ 2966 h 10000"/>
                <a:gd name="connsiteX1933" fmla="*/ 2576 w 10785"/>
                <a:gd name="connsiteY1933" fmla="*/ 3051 h 10000"/>
                <a:gd name="connsiteX1934" fmla="*/ 2581 w 10785"/>
                <a:gd name="connsiteY1934" fmla="*/ 3051 h 10000"/>
                <a:gd name="connsiteX1935" fmla="*/ 2594 w 10785"/>
                <a:gd name="connsiteY1935" fmla="*/ 3017 h 10000"/>
                <a:gd name="connsiteX1936" fmla="*/ 2594 w 10785"/>
                <a:gd name="connsiteY1936" fmla="*/ 3034 h 10000"/>
                <a:gd name="connsiteX1937" fmla="*/ 2594 w 10785"/>
                <a:gd name="connsiteY1937" fmla="*/ 3051 h 10000"/>
                <a:gd name="connsiteX1938" fmla="*/ 2590 w 10785"/>
                <a:gd name="connsiteY1938" fmla="*/ 3077 h 10000"/>
                <a:gd name="connsiteX1939" fmla="*/ 2567 w 10785"/>
                <a:gd name="connsiteY1939" fmla="*/ 3103 h 10000"/>
                <a:gd name="connsiteX1940" fmla="*/ 2562 w 10785"/>
                <a:gd name="connsiteY1940" fmla="*/ 3145 h 10000"/>
                <a:gd name="connsiteX1941" fmla="*/ 2567 w 10785"/>
                <a:gd name="connsiteY1941" fmla="*/ 3179 h 10000"/>
                <a:gd name="connsiteX1942" fmla="*/ 2590 w 10785"/>
                <a:gd name="connsiteY1942" fmla="*/ 3171 h 10000"/>
                <a:gd name="connsiteX1943" fmla="*/ 2594 w 10785"/>
                <a:gd name="connsiteY1943" fmla="*/ 3145 h 10000"/>
                <a:gd name="connsiteX1944" fmla="*/ 2613 w 10785"/>
                <a:gd name="connsiteY1944" fmla="*/ 3154 h 10000"/>
                <a:gd name="connsiteX1945" fmla="*/ 2622 w 10785"/>
                <a:gd name="connsiteY1945" fmla="*/ 3179 h 10000"/>
                <a:gd name="connsiteX1946" fmla="*/ 2613 w 10785"/>
                <a:gd name="connsiteY1946" fmla="*/ 3214 h 10000"/>
                <a:gd name="connsiteX1947" fmla="*/ 2613 w 10785"/>
                <a:gd name="connsiteY1947" fmla="*/ 3308 h 10000"/>
                <a:gd name="connsiteX1948" fmla="*/ 2608 w 10785"/>
                <a:gd name="connsiteY1948" fmla="*/ 3325 h 10000"/>
                <a:gd name="connsiteX1949" fmla="*/ 2608 w 10785"/>
                <a:gd name="connsiteY1949" fmla="*/ 3376 h 10000"/>
                <a:gd name="connsiteX1950" fmla="*/ 2613 w 10785"/>
                <a:gd name="connsiteY1950" fmla="*/ 3419 h 10000"/>
                <a:gd name="connsiteX1951" fmla="*/ 2608 w 10785"/>
                <a:gd name="connsiteY1951" fmla="*/ 3444 h 10000"/>
                <a:gd name="connsiteX1952" fmla="*/ 2594 w 10785"/>
                <a:gd name="connsiteY1952" fmla="*/ 3444 h 10000"/>
                <a:gd name="connsiteX1953" fmla="*/ 2590 w 10785"/>
                <a:gd name="connsiteY1953" fmla="*/ 3427 h 10000"/>
                <a:gd name="connsiteX1954" fmla="*/ 2581 w 10785"/>
                <a:gd name="connsiteY1954" fmla="*/ 3564 h 10000"/>
                <a:gd name="connsiteX1955" fmla="*/ 2594 w 10785"/>
                <a:gd name="connsiteY1955" fmla="*/ 3598 h 10000"/>
                <a:gd name="connsiteX1956" fmla="*/ 2594 w 10785"/>
                <a:gd name="connsiteY1956" fmla="*/ 3581 h 10000"/>
                <a:gd name="connsiteX1957" fmla="*/ 2608 w 10785"/>
                <a:gd name="connsiteY1957" fmla="*/ 3556 h 10000"/>
                <a:gd name="connsiteX1958" fmla="*/ 2650 w 10785"/>
                <a:gd name="connsiteY1958" fmla="*/ 3615 h 10000"/>
                <a:gd name="connsiteX1959" fmla="*/ 2664 w 10785"/>
                <a:gd name="connsiteY1959" fmla="*/ 3615 h 10000"/>
                <a:gd name="connsiteX1960" fmla="*/ 2668 w 10785"/>
                <a:gd name="connsiteY1960" fmla="*/ 3615 h 10000"/>
                <a:gd name="connsiteX1961" fmla="*/ 2664 w 10785"/>
                <a:gd name="connsiteY1961" fmla="*/ 3667 h 10000"/>
                <a:gd name="connsiteX1962" fmla="*/ 2687 w 10785"/>
                <a:gd name="connsiteY1962" fmla="*/ 3786 h 10000"/>
                <a:gd name="connsiteX1963" fmla="*/ 2710 w 10785"/>
                <a:gd name="connsiteY1963" fmla="*/ 3812 h 10000"/>
                <a:gd name="connsiteX1964" fmla="*/ 2724 w 10785"/>
                <a:gd name="connsiteY1964" fmla="*/ 3812 h 10000"/>
                <a:gd name="connsiteX1965" fmla="*/ 2724 w 10785"/>
                <a:gd name="connsiteY1965" fmla="*/ 3829 h 10000"/>
                <a:gd name="connsiteX1966" fmla="*/ 2737 w 10785"/>
                <a:gd name="connsiteY1966" fmla="*/ 3838 h 10000"/>
                <a:gd name="connsiteX1967" fmla="*/ 2714 w 10785"/>
                <a:gd name="connsiteY1967" fmla="*/ 3872 h 10000"/>
                <a:gd name="connsiteX1968" fmla="*/ 2696 w 10785"/>
                <a:gd name="connsiteY1968" fmla="*/ 4026 h 10000"/>
                <a:gd name="connsiteX1969" fmla="*/ 2673 w 10785"/>
                <a:gd name="connsiteY1969" fmla="*/ 4051 h 10000"/>
                <a:gd name="connsiteX1970" fmla="*/ 2668 w 10785"/>
                <a:gd name="connsiteY1970" fmla="*/ 4034 h 10000"/>
                <a:gd name="connsiteX1971" fmla="*/ 2673 w 10785"/>
                <a:gd name="connsiteY1971" fmla="*/ 4000 h 10000"/>
                <a:gd name="connsiteX1972" fmla="*/ 2664 w 10785"/>
                <a:gd name="connsiteY1972" fmla="*/ 3974 h 10000"/>
                <a:gd name="connsiteX1973" fmla="*/ 2636 w 10785"/>
                <a:gd name="connsiteY1973" fmla="*/ 3949 h 10000"/>
                <a:gd name="connsiteX1974" fmla="*/ 2581 w 10785"/>
                <a:gd name="connsiteY1974" fmla="*/ 3838 h 10000"/>
                <a:gd name="connsiteX1975" fmla="*/ 2562 w 10785"/>
                <a:gd name="connsiteY1975" fmla="*/ 3829 h 10000"/>
                <a:gd name="connsiteX1976" fmla="*/ 2535 w 10785"/>
                <a:gd name="connsiteY1976" fmla="*/ 3778 h 10000"/>
                <a:gd name="connsiteX1977" fmla="*/ 2502 w 10785"/>
                <a:gd name="connsiteY1977" fmla="*/ 3761 h 10000"/>
                <a:gd name="connsiteX1978" fmla="*/ 2502 w 10785"/>
                <a:gd name="connsiteY1978" fmla="*/ 3735 h 10000"/>
                <a:gd name="connsiteX1979" fmla="*/ 2516 w 10785"/>
                <a:gd name="connsiteY1979" fmla="*/ 3735 h 10000"/>
                <a:gd name="connsiteX1980" fmla="*/ 2507 w 10785"/>
                <a:gd name="connsiteY1980" fmla="*/ 3726 h 10000"/>
                <a:gd name="connsiteX1981" fmla="*/ 2488 w 10785"/>
                <a:gd name="connsiteY1981" fmla="*/ 3726 h 10000"/>
                <a:gd name="connsiteX1982" fmla="*/ 2461 w 10785"/>
                <a:gd name="connsiteY1982" fmla="*/ 3692 h 10000"/>
                <a:gd name="connsiteX1983" fmla="*/ 2442 w 10785"/>
                <a:gd name="connsiteY1983" fmla="*/ 3675 h 10000"/>
                <a:gd name="connsiteX1984" fmla="*/ 2406 w 10785"/>
                <a:gd name="connsiteY1984" fmla="*/ 3598 h 10000"/>
                <a:gd name="connsiteX1985" fmla="*/ 2346 w 10785"/>
                <a:gd name="connsiteY1985" fmla="*/ 3564 h 10000"/>
                <a:gd name="connsiteX1986" fmla="*/ 2341 w 10785"/>
                <a:gd name="connsiteY1986" fmla="*/ 3564 h 10000"/>
                <a:gd name="connsiteX1987" fmla="*/ 2313 w 10785"/>
                <a:gd name="connsiteY1987" fmla="*/ 3530 h 10000"/>
                <a:gd name="connsiteX1988" fmla="*/ 2235 w 10785"/>
                <a:gd name="connsiteY1988" fmla="*/ 3530 h 10000"/>
                <a:gd name="connsiteX1989" fmla="*/ 2226 w 10785"/>
                <a:gd name="connsiteY1989" fmla="*/ 3513 h 10000"/>
                <a:gd name="connsiteX1990" fmla="*/ 2207 w 10785"/>
                <a:gd name="connsiteY1990" fmla="*/ 3504 h 10000"/>
                <a:gd name="connsiteX1991" fmla="*/ 2194 w 10785"/>
                <a:gd name="connsiteY1991" fmla="*/ 3504 h 10000"/>
                <a:gd name="connsiteX1992" fmla="*/ 2189 w 10785"/>
                <a:gd name="connsiteY1992" fmla="*/ 3504 h 10000"/>
                <a:gd name="connsiteX1993" fmla="*/ 2189 w 10785"/>
                <a:gd name="connsiteY1993" fmla="*/ 3530 h 10000"/>
                <a:gd name="connsiteX1994" fmla="*/ 2180 w 10785"/>
                <a:gd name="connsiteY1994" fmla="*/ 3538 h 10000"/>
                <a:gd name="connsiteX1995" fmla="*/ 2152 w 10785"/>
                <a:gd name="connsiteY1995" fmla="*/ 3581 h 10000"/>
                <a:gd name="connsiteX1996" fmla="*/ 2161 w 10785"/>
                <a:gd name="connsiteY1996" fmla="*/ 3598 h 10000"/>
                <a:gd name="connsiteX1997" fmla="*/ 2194 w 10785"/>
                <a:gd name="connsiteY1997" fmla="*/ 3752 h 10000"/>
                <a:gd name="connsiteX1998" fmla="*/ 2194 w 10785"/>
                <a:gd name="connsiteY1998" fmla="*/ 3735 h 10000"/>
                <a:gd name="connsiteX1999" fmla="*/ 2198 w 10785"/>
                <a:gd name="connsiteY1999" fmla="*/ 3735 h 10000"/>
                <a:gd name="connsiteX2000" fmla="*/ 2189 w 10785"/>
                <a:gd name="connsiteY2000" fmla="*/ 3838 h 10000"/>
                <a:gd name="connsiteX2001" fmla="*/ 2166 w 10785"/>
                <a:gd name="connsiteY2001" fmla="*/ 3889 h 10000"/>
                <a:gd name="connsiteX2002" fmla="*/ 2124 w 10785"/>
                <a:gd name="connsiteY2002" fmla="*/ 3889 h 10000"/>
                <a:gd name="connsiteX2003" fmla="*/ 2124 w 10785"/>
                <a:gd name="connsiteY2003" fmla="*/ 3923 h 10000"/>
                <a:gd name="connsiteX2004" fmla="*/ 2134 w 10785"/>
                <a:gd name="connsiteY2004" fmla="*/ 3940 h 10000"/>
                <a:gd name="connsiteX2005" fmla="*/ 2134 w 10785"/>
                <a:gd name="connsiteY2005" fmla="*/ 3966 h 10000"/>
                <a:gd name="connsiteX2006" fmla="*/ 2120 w 10785"/>
                <a:gd name="connsiteY2006" fmla="*/ 4000 h 10000"/>
                <a:gd name="connsiteX2007" fmla="*/ 2106 w 10785"/>
                <a:gd name="connsiteY2007" fmla="*/ 4009 h 10000"/>
                <a:gd name="connsiteX2008" fmla="*/ 2088 w 10785"/>
                <a:gd name="connsiteY2008" fmla="*/ 4000 h 10000"/>
                <a:gd name="connsiteX2009" fmla="*/ 2074 w 10785"/>
                <a:gd name="connsiteY2009" fmla="*/ 3974 h 10000"/>
                <a:gd name="connsiteX2010" fmla="*/ 2074 w 10785"/>
                <a:gd name="connsiteY2010" fmla="*/ 3940 h 10000"/>
                <a:gd name="connsiteX2011" fmla="*/ 2078 w 10785"/>
                <a:gd name="connsiteY2011" fmla="*/ 3915 h 10000"/>
                <a:gd name="connsiteX2012" fmla="*/ 2088 w 10785"/>
                <a:gd name="connsiteY2012" fmla="*/ 3889 h 10000"/>
                <a:gd name="connsiteX2013" fmla="*/ 2101 w 10785"/>
                <a:gd name="connsiteY2013" fmla="*/ 3872 h 10000"/>
                <a:gd name="connsiteX2014" fmla="*/ 2074 w 10785"/>
                <a:gd name="connsiteY2014" fmla="*/ 3812 h 10000"/>
                <a:gd name="connsiteX2015" fmla="*/ 2074 w 10785"/>
                <a:gd name="connsiteY2015" fmla="*/ 3786 h 10000"/>
                <a:gd name="connsiteX2016" fmla="*/ 2060 w 10785"/>
                <a:gd name="connsiteY2016" fmla="*/ 3786 h 10000"/>
                <a:gd name="connsiteX2017" fmla="*/ 2014 w 10785"/>
                <a:gd name="connsiteY2017" fmla="*/ 3829 h 10000"/>
                <a:gd name="connsiteX2018" fmla="*/ 2000 w 10785"/>
                <a:gd name="connsiteY2018" fmla="*/ 3863 h 10000"/>
                <a:gd name="connsiteX2019" fmla="*/ 1986 w 10785"/>
                <a:gd name="connsiteY2019" fmla="*/ 3872 h 10000"/>
                <a:gd name="connsiteX2020" fmla="*/ 1959 w 10785"/>
                <a:gd name="connsiteY2020" fmla="*/ 3940 h 10000"/>
                <a:gd name="connsiteX2021" fmla="*/ 1945 w 10785"/>
                <a:gd name="connsiteY2021" fmla="*/ 3949 h 10000"/>
                <a:gd name="connsiteX2022" fmla="*/ 1940 w 10785"/>
                <a:gd name="connsiteY2022" fmla="*/ 3923 h 10000"/>
                <a:gd name="connsiteX2023" fmla="*/ 1917 w 10785"/>
                <a:gd name="connsiteY2023" fmla="*/ 3915 h 10000"/>
                <a:gd name="connsiteX2024" fmla="*/ 1899 w 10785"/>
                <a:gd name="connsiteY2024" fmla="*/ 3923 h 10000"/>
                <a:gd name="connsiteX2025" fmla="*/ 1880 w 10785"/>
                <a:gd name="connsiteY2025" fmla="*/ 3915 h 10000"/>
                <a:gd name="connsiteX2026" fmla="*/ 1853 w 10785"/>
                <a:gd name="connsiteY2026" fmla="*/ 3940 h 10000"/>
                <a:gd name="connsiteX2027" fmla="*/ 1839 w 10785"/>
                <a:gd name="connsiteY2027" fmla="*/ 3940 h 10000"/>
                <a:gd name="connsiteX2028" fmla="*/ 1806 w 10785"/>
                <a:gd name="connsiteY2028" fmla="*/ 3983 h 10000"/>
                <a:gd name="connsiteX2029" fmla="*/ 1806 w 10785"/>
                <a:gd name="connsiteY2029" fmla="*/ 4000 h 10000"/>
                <a:gd name="connsiteX2030" fmla="*/ 1797 w 10785"/>
                <a:gd name="connsiteY2030" fmla="*/ 4077 h 10000"/>
                <a:gd name="connsiteX2031" fmla="*/ 1783 w 10785"/>
                <a:gd name="connsiteY2031" fmla="*/ 4077 h 10000"/>
                <a:gd name="connsiteX2032" fmla="*/ 1779 w 10785"/>
                <a:gd name="connsiteY2032" fmla="*/ 4051 h 10000"/>
                <a:gd name="connsiteX2033" fmla="*/ 1765 w 10785"/>
                <a:gd name="connsiteY2033" fmla="*/ 4026 h 10000"/>
                <a:gd name="connsiteX2034" fmla="*/ 1751 w 10785"/>
                <a:gd name="connsiteY2034" fmla="*/ 4051 h 10000"/>
                <a:gd name="connsiteX2035" fmla="*/ 1737 w 10785"/>
                <a:gd name="connsiteY2035" fmla="*/ 4009 h 10000"/>
                <a:gd name="connsiteX2036" fmla="*/ 1737 w 10785"/>
                <a:gd name="connsiteY2036" fmla="*/ 3966 h 10000"/>
                <a:gd name="connsiteX2037" fmla="*/ 1733 w 10785"/>
                <a:gd name="connsiteY2037" fmla="*/ 3940 h 10000"/>
                <a:gd name="connsiteX2038" fmla="*/ 1733 w 10785"/>
                <a:gd name="connsiteY2038" fmla="*/ 3923 h 10000"/>
                <a:gd name="connsiteX2039" fmla="*/ 1747 w 10785"/>
                <a:gd name="connsiteY2039" fmla="*/ 3889 h 10000"/>
                <a:gd name="connsiteX2040" fmla="*/ 1747 w 10785"/>
                <a:gd name="connsiteY2040" fmla="*/ 3863 h 10000"/>
                <a:gd name="connsiteX2041" fmla="*/ 1737 w 10785"/>
                <a:gd name="connsiteY2041" fmla="*/ 3838 h 10000"/>
                <a:gd name="connsiteX2042" fmla="*/ 1733 w 10785"/>
                <a:gd name="connsiteY2042" fmla="*/ 3829 h 10000"/>
                <a:gd name="connsiteX2043" fmla="*/ 1733 w 10785"/>
                <a:gd name="connsiteY2043" fmla="*/ 3846 h 10000"/>
                <a:gd name="connsiteX2044" fmla="*/ 1724 w 10785"/>
                <a:gd name="connsiteY2044" fmla="*/ 3846 h 10000"/>
                <a:gd name="connsiteX2045" fmla="*/ 1724 w 10785"/>
                <a:gd name="connsiteY2045" fmla="*/ 3829 h 10000"/>
                <a:gd name="connsiteX2046" fmla="*/ 1737 w 10785"/>
                <a:gd name="connsiteY2046" fmla="*/ 3812 h 10000"/>
                <a:gd name="connsiteX2047" fmla="*/ 1765 w 10785"/>
                <a:gd name="connsiteY2047" fmla="*/ 3812 h 10000"/>
                <a:gd name="connsiteX2048" fmla="*/ 1779 w 10785"/>
                <a:gd name="connsiteY2048" fmla="*/ 3786 h 10000"/>
                <a:gd name="connsiteX2049" fmla="*/ 1779 w 10785"/>
                <a:gd name="connsiteY2049" fmla="*/ 3786 h 10000"/>
                <a:gd name="connsiteX2050" fmla="*/ 1751 w 10785"/>
                <a:gd name="connsiteY2050" fmla="*/ 3803 h 10000"/>
                <a:gd name="connsiteX2051" fmla="*/ 1747 w 10785"/>
                <a:gd name="connsiteY2051" fmla="*/ 3803 h 10000"/>
                <a:gd name="connsiteX2052" fmla="*/ 1724 w 10785"/>
                <a:gd name="connsiteY2052" fmla="*/ 3803 h 10000"/>
                <a:gd name="connsiteX2053" fmla="*/ 1700 w 10785"/>
                <a:gd name="connsiteY2053" fmla="*/ 3829 h 10000"/>
                <a:gd name="connsiteX2054" fmla="*/ 1705 w 10785"/>
                <a:gd name="connsiteY2054" fmla="*/ 3846 h 10000"/>
                <a:gd name="connsiteX2055" fmla="*/ 1691 w 10785"/>
                <a:gd name="connsiteY2055" fmla="*/ 3846 h 10000"/>
                <a:gd name="connsiteX2056" fmla="*/ 1691 w 10785"/>
                <a:gd name="connsiteY2056" fmla="*/ 3863 h 10000"/>
                <a:gd name="connsiteX2057" fmla="*/ 1691 w 10785"/>
                <a:gd name="connsiteY2057" fmla="*/ 3915 h 10000"/>
                <a:gd name="connsiteX2058" fmla="*/ 1677 w 10785"/>
                <a:gd name="connsiteY2058" fmla="*/ 3923 h 10000"/>
                <a:gd name="connsiteX2059" fmla="*/ 1673 w 10785"/>
                <a:gd name="connsiteY2059" fmla="*/ 3915 h 10000"/>
                <a:gd name="connsiteX2060" fmla="*/ 1664 w 10785"/>
                <a:gd name="connsiteY2060" fmla="*/ 3889 h 10000"/>
                <a:gd name="connsiteX2061" fmla="*/ 1673 w 10785"/>
                <a:gd name="connsiteY2061" fmla="*/ 3872 h 10000"/>
                <a:gd name="connsiteX2062" fmla="*/ 1664 w 10785"/>
                <a:gd name="connsiteY2062" fmla="*/ 3872 h 10000"/>
                <a:gd name="connsiteX2063" fmla="*/ 1636 w 10785"/>
                <a:gd name="connsiteY2063" fmla="*/ 3923 h 10000"/>
                <a:gd name="connsiteX2064" fmla="*/ 1645 w 10785"/>
                <a:gd name="connsiteY2064" fmla="*/ 3923 h 10000"/>
                <a:gd name="connsiteX2065" fmla="*/ 1650 w 10785"/>
                <a:gd name="connsiteY2065" fmla="*/ 3949 h 10000"/>
                <a:gd name="connsiteX2066" fmla="*/ 1650 w 10785"/>
                <a:gd name="connsiteY2066" fmla="*/ 3983 h 10000"/>
                <a:gd name="connsiteX2067" fmla="*/ 1636 w 10785"/>
                <a:gd name="connsiteY2067" fmla="*/ 4000 h 10000"/>
                <a:gd name="connsiteX2068" fmla="*/ 1631 w 10785"/>
                <a:gd name="connsiteY2068" fmla="*/ 4009 h 10000"/>
                <a:gd name="connsiteX2069" fmla="*/ 1618 w 10785"/>
                <a:gd name="connsiteY2069" fmla="*/ 3949 h 10000"/>
                <a:gd name="connsiteX2070" fmla="*/ 1585 w 10785"/>
                <a:gd name="connsiteY2070" fmla="*/ 3966 h 10000"/>
                <a:gd name="connsiteX2071" fmla="*/ 1590 w 10785"/>
                <a:gd name="connsiteY2071" fmla="*/ 3974 h 10000"/>
                <a:gd name="connsiteX2072" fmla="*/ 1544 w 10785"/>
                <a:gd name="connsiteY2072" fmla="*/ 4009 h 10000"/>
                <a:gd name="connsiteX2073" fmla="*/ 1539 w 10785"/>
                <a:gd name="connsiteY2073" fmla="*/ 4009 h 10000"/>
                <a:gd name="connsiteX2074" fmla="*/ 1410 w 10785"/>
                <a:gd name="connsiteY2074" fmla="*/ 4188 h 10000"/>
                <a:gd name="connsiteX2075" fmla="*/ 1406 w 10785"/>
                <a:gd name="connsiteY2075" fmla="*/ 4171 h 10000"/>
                <a:gd name="connsiteX2076" fmla="*/ 1396 w 10785"/>
                <a:gd name="connsiteY2076" fmla="*/ 4214 h 10000"/>
                <a:gd name="connsiteX2077" fmla="*/ 1406 w 10785"/>
                <a:gd name="connsiteY2077" fmla="*/ 4222 h 10000"/>
                <a:gd name="connsiteX2078" fmla="*/ 1392 w 10785"/>
                <a:gd name="connsiteY2078" fmla="*/ 4239 h 10000"/>
                <a:gd name="connsiteX2079" fmla="*/ 1369 w 10785"/>
                <a:gd name="connsiteY2079" fmla="*/ 4248 h 10000"/>
                <a:gd name="connsiteX2080" fmla="*/ 1355 w 10785"/>
                <a:gd name="connsiteY2080" fmla="*/ 4256 h 10000"/>
                <a:gd name="connsiteX2081" fmla="*/ 1350 w 10785"/>
                <a:gd name="connsiteY2081" fmla="*/ 4248 h 10000"/>
                <a:gd name="connsiteX2082" fmla="*/ 1332 w 10785"/>
                <a:gd name="connsiteY2082" fmla="*/ 4376 h 10000"/>
                <a:gd name="connsiteX2083" fmla="*/ 1332 w 10785"/>
                <a:gd name="connsiteY2083" fmla="*/ 4436 h 10000"/>
                <a:gd name="connsiteX2084" fmla="*/ 1323 w 10785"/>
                <a:gd name="connsiteY2084" fmla="*/ 4462 h 10000"/>
                <a:gd name="connsiteX2085" fmla="*/ 1304 w 10785"/>
                <a:gd name="connsiteY2085" fmla="*/ 4487 h 10000"/>
                <a:gd name="connsiteX2086" fmla="*/ 1290 w 10785"/>
                <a:gd name="connsiteY2086" fmla="*/ 4470 h 10000"/>
                <a:gd name="connsiteX2087" fmla="*/ 1263 w 10785"/>
                <a:gd name="connsiteY2087" fmla="*/ 4496 h 10000"/>
                <a:gd name="connsiteX2088" fmla="*/ 1258 w 10785"/>
                <a:gd name="connsiteY2088" fmla="*/ 4547 h 10000"/>
                <a:gd name="connsiteX2089" fmla="*/ 1249 w 10785"/>
                <a:gd name="connsiteY2089" fmla="*/ 4487 h 10000"/>
                <a:gd name="connsiteX2090" fmla="*/ 1235 w 10785"/>
                <a:gd name="connsiteY2090" fmla="*/ 4496 h 10000"/>
                <a:gd name="connsiteX2091" fmla="*/ 1221 w 10785"/>
                <a:gd name="connsiteY2091" fmla="*/ 4496 h 10000"/>
                <a:gd name="connsiteX2092" fmla="*/ 1217 w 10785"/>
                <a:gd name="connsiteY2092" fmla="*/ 4487 h 10000"/>
                <a:gd name="connsiteX2093" fmla="*/ 1198 w 10785"/>
                <a:gd name="connsiteY2093" fmla="*/ 4410 h 10000"/>
                <a:gd name="connsiteX2094" fmla="*/ 1157 w 10785"/>
                <a:gd name="connsiteY2094" fmla="*/ 4333 h 10000"/>
                <a:gd name="connsiteX2095" fmla="*/ 1147 w 10785"/>
                <a:gd name="connsiteY2095" fmla="*/ 4299 h 10000"/>
                <a:gd name="connsiteX2096" fmla="*/ 1147 w 10785"/>
                <a:gd name="connsiteY2096" fmla="*/ 4274 h 10000"/>
                <a:gd name="connsiteX2097" fmla="*/ 1161 w 10785"/>
                <a:gd name="connsiteY2097" fmla="*/ 4256 h 10000"/>
                <a:gd name="connsiteX2098" fmla="*/ 1171 w 10785"/>
                <a:gd name="connsiteY2098" fmla="*/ 4248 h 10000"/>
                <a:gd name="connsiteX2099" fmla="*/ 1175 w 10785"/>
                <a:gd name="connsiteY2099" fmla="*/ 4214 h 10000"/>
                <a:gd name="connsiteX2100" fmla="*/ 1263 w 10785"/>
                <a:gd name="connsiteY2100" fmla="*/ 4171 h 10000"/>
                <a:gd name="connsiteX2101" fmla="*/ 1249 w 10785"/>
                <a:gd name="connsiteY2101" fmla="*/ 4137 h 10000"/>
                <a:gd name="connsiteX2102" fmla="*/ 1244 w 10785"/>
                <a:gd name="connsiteY2102" fmla="*/ 4060 h 10000"/>
                <a:gd name="connsiteX2103" fmla="*/ 1230 w 10785"/>
                <a:gd name="connsiteY2103" fmla="*/ 4077 h 10000"/>
                <a:gd name="connsiteX2104" fmla="*/ 1221 w 10785"/>
                <a:gd name="connsiteY2104" fmla="*/ 4026 h 10000"/>
                <a:gd name="connsiteX2105" fmla="*/ 1217 w 10785"/>
                <a:gd name="connsiteY2105" fmla="*/ 4026 h 10000"/>
                <a:gd name="connsiteX2106" fmla="*/ 1212 w 10785"/>
                <a:gd name="connsiteY2106" fmla="*/ 3983 h 10000"/>
                <a:gd name="connsiteX2107" fmla="*/ 1203 w 10785"/>
                <a:gd name="connsiteY2107" fmla="*/ 3966 h 10000"/>
                <a:gd name="connsiteX2108" fmla="*/ 1171 w 10785"/>
                <a:gd name="connsiteY2108" fmla="*/ 3949 h 10000"/>
                <a:gd name="connsiteX2109" fmla="*/ 1111 w 10785"/>
                <a:gd name="connsiteY2109" fmla="*/ 3940 h 10000"/>
                <a:gd name="connsiteX2110" fmla="*/ 1097 w 10785"/>
                <a:gd name="connsiteY2110" fmla="*/ 3949 h 10000"/>
                <a:gd name="connsiteX2111" fmla="*/ 1037 w 10785"/>
                <a:gd name="connsiteY2111" fmla="*/ 3897 h 10000"/>
                <a:gd name="connsiteX2112" fmla="*/ 1041 w 10785"/>
                <a:gd name="connsiteY2112" fmla="*/ 3923 h 10000"/>
                <a:gd name="connsiteX2113" fmla="*/ 1097 w 10785"/>
                <a:gd name="connsiteY2113" fmla="*/ 4009 h 10000"/>
                <a:gd name="connsiteX2114" fmla="*/ 1097 w 10785"/>
                <a:gd name="connsiteY2114" fmla="*/ 4120 h 10000"/>
                <a:gd name="connsiteX2115" fmla="*/ 1097 w 10785"/>
                <a:gd name="connsiteY2115" fmla="*/ 4162 h 10000"/>
                <a:gd name="connsiteX2116" fmla="*/ 1097 w 10785"/>
                <a:gd name="connsiteY2116" fmla="*/ 4197 h 10000"/>
                <a:gd name="connsiteX2117" fmla="*/ 1074 w 10785"/>
                <a:gd name="connsiteY2117" fmla="*/ 4333 h 10000"/>
                <a:gd name="connsiteX2118" fmla="*/ 1074 w 10785"/>
                <a:gd name="connsiteY2118" fmla="*/ 4376 h 10000"/>
                <a:gd name="connsiteX2119" fmla="*/ 1083 w 10785"/>
                <a:gd name="connsiteY2119" fmla="*/ 4385 h 10000"/>
                <a:gd name="connsiteX2120" fmla="*/ 1097 w 10785"/>
                <a:gd name="connsiteY2120" fmla="*/ 4385 h 10000"/>
                <a:gd name="connsiteX2121" fmla="*/ 1111 w 10785"/>
                <a:gd name="connsiteY2121" fmla="*/ 4410 h 10000"/>
                <a:gd name="connsiteX2122" fmla="*/ 1124 w 10785"/>
                <a:gd name="connsiteY2122" fmla="*/ 4444 h 10000"/>
                <a:gd name="connsiteX2123" fmla="*/ 1124 w 10785"/>
                <a:gd name="connsiteY2123" fmla="*/ 4470 h 10000"/>
                <a:gd name="connsiteX2124" fmla="*/ 1115 w 10785"/>
                <a:gd name="connsiteY2124" fmla="*/ 4513 h 10000"/>
                <a:gd name="connsiteX2125" fmla="*/ 1115 w 10785"/>
                <a:gd name="connsiteY2125" fmla="*/ 4530 h 10000"/>
                <a:gd name="connsiteX2126" fmla="*/ 1115 w 10785"/>
                <a:gd name="connsiteY2126" fmla="*/ 4573 h 10000"/>
                <a:gd name="connsiteX2127" fmla="*/ 1101 w 10785"/>
                <a:gd name="connsiteY2127" fmla="*/ 4607 h 10000"/>
                <a:gd name="connsiteX2128" fmla="*/ 1097 w 10785"/>
                <a:gd name="connsiteY2128" fmla="*/ 4658 h 10000"/>
                <a:gd name="connsiteX2129" fmla="*/ 1101 w 10785"/>
                <a:gd name="connsiteY2129" fmla="*/ 4692 h 10000"/>
                <a:gd name="connsiteX2130" fmla="*/ 1097 w 10785"/>
                <a:gd name="connsiteY2130" fmla="*/ 4778 h 10000"/>
                <a:gd name="connsiteX2131" fmla="*/ 1083 w 10785"/>
                <a:gd name="connsiteY2131" fmla="*/ 4744 h 10000"/>
                <a:gd name="connsiteX2132" fmla="*/ 1083 w 10785"/>
                <a:gd name="connsiteY2132" fmla="*/ 4718 h 10000"/>
                <a:gd name="connsiteX2133" fmla="*/ 1074 w 10785"/>
                <a:gd name="connsiteY2133" fmla="*/ 4692 h 10000"/>
                <a:gd name="connsiteX2134" fmla="*/ 1065 w 10785"/>
                <a:gd name="connsiteY2134" fmla="*/ 4692 h 10000"/>
                <a:gd name="connsiteX2135" fmla="*/ 1051 w 10785"/>
                <a:gd name="connsiteY2135" fmla="*/ 4718 h 10000"/>
                <a:gd name="connsiteX2136" fmla="*/ 1055 w 10785"/>
                <a:gd name="connsiteY2136" fmla="*/ 4692 h 10000"/>
                <a:gd name="connsiteX2137" fmla="*/ 1055 w 10785"/>
                <a:gd name="connsiteY2137" fmla="*/ 4667 h 10000"/>
                <a:gd name="connsiteX2138" fmla="*/ 1028 w 10785"/>
                <a:gd name="connsiteY2138" fmla="*/ 4624 h 10000"/>
                <a:gd name="connsiteX2139" fmla="*/ 1005 w 10785"/>
                <a:gd name="connsiteY2139" fmla="*/ 4624 h 10000"/>
                <a:gd name="connsiteX2140" fmla="*/ 977 w 10785"/>
                <a:gd name="connsiteY2140" fmla="*/ 4581 h 10000"/>
                <a:gd name="connsiteX2141" fmla="*/ 963 w 10785"/>
                <a:gd name="connsiteY2141" fmla="*/ 4607 h 10000"/>
                <a:gd name="connsiteX2142" fmla="*/ 963 w 10785"/>
                <a:gd name="connsiteY2142" fmla="*/ 4632 h 10000"/>
                <a:gd name="connsiteX2143" fmla="*/ 917 w 10785"/>
                <a:gd name="connsiteY2143" fmla="*/ 4718 h 10000"/>
                <a:gd name="connsiteX2144" fmla="*/ 889 w 10785"/>
                <a:gd name="connsiteY2144" fmla="*/ 4744 h 10000"/>
                <a:gd name="connsiteX2145" fmla="*/ 880 w 10785"/>
                <a:gd name="connsiteY2145" fmla="*/ 4744 h 10000"/>
                <a:gd name="connsiteX2146" fmla="*/ 862 w 10785"/>
                <a:gd name="connsiteY2146" fmla="*/ 4769 h 10000"/>
                <a:gd name="connsiteX2147" fmla="*/ 857 w 10785"/>
                <a:gd name="connsiteY2147" fmla="*/ 4795 h 10000"/>
                <a:gd name="connsiteX2148" fmla="*/ 829 w 10785"/>
                <a:gd name="connsiteY2148" fmla="*/ 4846 h 10000"/>
                <a:gd name="connsiteX2149" fmla="*/ 816 w 10785"/>
                <a:gd name="connsiteY2149" fmla="*/ 4855 h 10000"/>
                <a:gd name="connsiteX2150" fmla="*/ 816 w 10785"/>
                <a:gd name="connsiteY2150" fmla="*/ 4940 h 10000"/>
                <a:gd name="connsiteX2151" fmla="*/ 880 w 10785"/>
                <a:gd name="connsiteY2151" fmla="*/ 5179 h 10000"/>
                <a:gd name="connsiteX2152" fmla="*/ 880 w 10785"/>
                <a:gd name="connsiteY2152" fmla="*/ 5188 h 10000"/>
                <a:gd name="connsiteX2153" fmla="*/ 862 w 10785"/>
                <a:gd name="connsiteY2153" fmla="*/ 5171 h 10000"/>
                <a:gd name="connsiteX2154" fmla="*/ 857 w 10785"/>
                <a:gd name="connsiteY2154" fmla="*/ 5171 h 10000"/>
                <a:gd name="connsiteX2155" fmla="*/ 820 w 10785"/>
                <a:gd name="connsiteY2155" fmla="*/ 5145 h 10000"/>
                <a:gd name="connsiteX2156" fmla="*/ 820 w 10785"/>
                <a:gd name="connsiteY2156" fmla="*/ 5154 h 10000"/>
                <a:gd name="connsiteX2157" fmla="*/ 816 w 10785"/>
                <a:gd name="connsiteY2157" fmla="*/ 5171 h 10000"/>
                <a:gd name="connsiteX2158" fmla="*/ 783 w 10785"/>
                <a:gd name="connsiteY2158" fmla="*/ 5145 h 10000"/>
                <a:gd name="connsiteX2159" fmla="*/ 756 w 10785"/>
                <a:gd name="connsiteY2159" fmla="*/ 5103 h 10000"/>
                <a:gd name="connsiteX2160" fmla="*/ 742 w 10785"/>
                <a:gd name="connsiteY2160" fmla="*/ 5103 h 10000"/>
                <a:gd name="connsiteX2161" fmla="*/ 728 w 10785"/>
                <a:gd name="connsiteY2161" fmla="*/ 5094 h 10000"/>
                <a:gd name="connsiteX2162" fmla="*/ 710 w 10785"/>
                <a:gd name="connsiteY2162" fmla="*/ 5120 h 10000"/>
                <a:gd name="connsiteX2163" fmla="*/ 700 w 10785"/>
                <a:gd name="connsiteY2163" fmla="*/ 5145 h 10000"/>
                <a:gd name="connsiteX2164" fmla="*/ 696 w 10785"/>
                <a:gd name="connsiteY2164" fmla="*/ 5103 h 10000"/>
                <a:gd name="connsiteX2165" fmla="*/ 714 w 10785"/>
                <a:gd name="connsiteY2165" fmla="*/ 5077 h 10000"/>
                <a:gd name="connsiteX2166" fmla="*/ 682 w 10785"/>
                <a:gd name="connsiteY2166" fmla="*/ 5068 h 10000"/>
                <a:gd name="connsiteX2167" fmla="*/ 673 w 10785"/>
                <a:gd name="connsiteY2167" fmla="*/ 5034 h 10000"/>
                <a:gd name="connsiteX2168" fmla="*/ 636 w 10785"/>
                <a:gd name="connsiteY2168" fmla="*/ 4991 h 10000"/>
                <a:gd name="connsiteX2169" fmla="*/ 622 w 10785"/>
                <a:gd name="connsiteY2169" fmla="*/ 4983 h 10000"/>
                <a:gd name="connsiteX2170" fmla="*/ 622 w 10785"/>
                <a:gd name="connsiteY2170" fmla="*/ 5034 h 10000"/>
                <a:gd name="connsiteX2171" fmla="*/ 608 w 10785"/>
                <a:gd name="connsiteY2171" fmla="*/ 5051 h 10000"/>
                <a:gd name="connsiteX2172" fmla="*/ 594 w 10785"/>
                <a:gd name="connsiteY2172" fmla="*/ 5068 h 10000"/>
                <a:gd name="connsiteX2173" fmla="*/ 608 w 10785"/>
                <a:gd name="connsiteY2173" fmla="*/ 5120 h 10000"/>
                <a:gd name="connsiteX2174" fmla="*/ 613 w 10785"/>
                <a:gd name="connsiteY2174" fmla="*/ 5128 h 10000"/>
                <a:gd name="connsiteX2175" fmla="*/ 627 w 10785"/>
                <a:gd name="connsiteY2175" fmla="*/ 5179 h 10000"/>
                <a:gd name="connsiteX2176" fmla="*/ 650 w 10785"/>
                <a:gd name="connsiteY2176" fmla="*/ 5214 h 10000"/>
                <a:gd name="connsiteX2177" fmla="*/ 687 w 10785"/>
                <a:gd name="connsiteY2177" fmla="*/ 5188 h 10000"/>
                <a:gd name="connsiteX2178" fmla="*/ 700 w 10785"/>
                <a:gd name="connsiteY2178" fmla="*/ 5325 h 10000"/>
                <a:gd name="connsiteX2179" fmla="*/ 710 w 10785"/>
                <a:gd name="connsiteY2179" fmla="*/ 5350 h 10000"/>
                <a:gd name="connsiteX2180" fmla="*/ 687 w 10785"/>
                <a:gd name="connsiteY2180" fmla="*/ 5325 h 10000"/>
                <a:gd name="connsiteX2181" fmla="*/ 668 w 10785"/>
                <a:gd name="connsiteY2181" fmla="*/ 5350 h 10000"/>
                <a:gd name="connsiteX2182" fmla="*/ 668 w 10785"/>
                <a:gd name="connsiteY2182" fmla="*/ 5368 h 10000"/>
                <a:gd name="connsiteX2183" fmla="*/ 668 w 10785"/>
                <a:gd name="connsiteY2183" fmla="*/ 5376 h 10000"/>
                <a:gd name="connsiteX2184" fmla="*/ 581 w 10785"/>
                <a:gd name="connsiteY2184" fmla="*/ 5316 h 10000"/>
                <a:gd name="connsiteX2185" fmla="*/ 567 w 10785"/>
                <a:gd name="connsiteY2185" fmla="*/ 5265 h 10000"/>
                <a:gd name="connsiteX2186" fmla="*/ 562 w 10785"/>
                <a:gd name="connsiteY2186" fmla="*/ 5256 h 10000"/>
                <a:gd name="connsiteX2187" fmla="*/ 548 w 10785"/>
                <a:gd name="connsiteY2187" fmla="*/ 5231 h 10000"/>
                <a:gd name="connsiteX2188" fmla="*/ 535 w 10785"/>
                <a:gd name="connsiteY2188" fmla="*/ 5214 h 10000"/>
                <a:gd name="connsiteX2189" fmla="*/ 525 w 10785"/>
                <a:gd name="connsiteY2189" fmla="*/ 5231 h 10000"/>
                <a:gd name="connsiteX2190" fmla="*/ 521 w 10785"/>
                <a:gd name="connsiteY2190" fmla="*/ 5231 h 10000"/>
                <a:gd name="connsiteX2191" fmla="*/ 493 w 10785"/>
                <a:gd name="connsiteY2191" fmla="*/ 5205 h 10000"/>
                <a:gd name="connsiteX2192" fmla="*/ 488 w 10785"/>
                <a:gd name="connsiteY2192" fmla="*/ 5179 h 10000"/>
                <a:gd name="connsiteX2193" fmla="*/ 475 w 10785"/>
                <a:gd name="connsiteY2193" fmla="*/ 5188 h 10000"/>
                <a:gd name="connsiteX2194" fmla="*/ 475 w 10785"/>
                <a:gd name="connsiteY2194" fmla="*/ 5171 h 10000"/>
                <a:gd name="connsiteX2195" fmla="*/ 488 w 10785"/>
                <a:gd name="connsiteY2195" fmla="*/ 5154 h 10000"/>
                <a:gd name="connsiteX2196" fmla="*/ 488 w 10785"/>
                <a:gd name="connsiteY2196" fmla="*/ 5068 h 10000"/>
                <a:gd name="connsiteX2197" fmla="*/ 475 w 10785"/>
                <a:gd name="connsiteY2197" fmla="*/ 5051 h 10000"/>
                <a:gd name="connsiteX2198" fmla="*/ 475 w 10785"/>
                <a:gd name="connsiteY2198" fmla="*/ 5017 h 10000"/>
                <a:gd name="connsiteX2199" fmla="*/ 452 w 10785"/>
                <a:gd name="connsiteY2199" fmla="*/ 4932 h 10000"/>
                <a:gd name="connsiteX2200" fmla="*/ 461 w 10785"/>
                <a:gd name="connsiteY2200" fmla="*/ 4915 h 10000"/>
                <a:gd name="connsiteX2201" fmla="*/ 475 w 10785"/>
                <a:gd name="connsiteY2201" fmla="*/ 4906 h 10000"/>
                <a:gd name="connsiteX2202" fmla="*/ 479 w 10785"/>
                <a:gd name="connsiteY2202" fmla="*/ 4803 h 10000"/>
                <a:gd name="connsiteX2203" fmla="*/ 479 w 10785"/>
                <a:gd name="connsiteY2203" fmla="*/ 4778 h 10000"/>
                <a:gd name="connsiteX2204" fmla="*/ 475 w 10785"/>
                <a:gd name="connsiteY2204" fmla="*/ 4761 h 10000"/>
                <a:gd name="connsiteX2205" fmla="*/ 465 w 10785"/>
                <a:gd name="connsiteY2205" fmla="*/ 4718 h 10000"/>
                <a:gd name="connsiteX2206" fmla="*/ 461 w 10785"/>
                <a:gd name="connsiteY2206" fmla="*/ 4709 h 10000"/>
                <a:gd name="connsiteX2207" fmla="*/ 442 w 10785"/>
                <a:gd name="connsiteY2207" fmla="*/ 4692 h 10000"/>
                <a:gd name="connsiteX2208" fmla="*/ 433 w 10785"/>
                <a:gd name="connsiteY2208" fmla="*/ 4667 h 10000"/>
                <a:gd name="connsiteX2209" fmla="*/ 419 w 10785"/>
                <a:gd name="connsiteY2209" fmla="*/ 4667 h 10000"/>
                <a:gd name="connsiteX2210" fmla="*/ 401 w 10785"/>
                <a:gd name="connsiteY2210" fmla="*/ 4658 h 10000"/>
                <a:gd name="connsiteX2211" fmla="*/ 401 w 10785"/>
                <a:gd name="connsiteY2211" fmla="*/ 4624 h 10000"/>
                <a:gd name="connsiteX2212" fmla="*/ 401 w 10785"/>
                <a:gd name="connsiteY2212" fmla="*/ 4607 h 10000"/>
                <a:gd name="connsiteX2213" fmla="*/ 378 w 10785"/>
                <a:gd name="connsiteY2213" fmla="*/ 4607 h 10000"/>
                <a:gd name="connsiteX2214" fmla="*/ 341 w 10785"/>
                <a:gd name="connsiteY2214" fmla="*/ 4530 h 10000"/>
                <a:gd name="connsiteX2215" fmla="*/ 346 w 10785"/>
                <a:gd name="connsiteY2215" fmla="*/ 4521 h 10000"/>
                <a:gd name="connsiteX2216" fmla="*/ 332 w 10785"/>
                <a:gd name="connsiteY2216" fmla="*/ 4487 h 10000"/>
                <a:gd name="connsiteX2217" fmla="*/ 327 w 10785"/>
                <a:gd name="connsiteY2217" fmla="*/ 4462 h 10000"/>
                <a:gd name="connsiteX2218" fmla="*/ 313 w 10785"/>
                <a:gd name="connsiteY2218" fmla="*/ 4436 h 10000"/>
                <a:gd name="connsiteX2219" fmla="*/ 300 w 10785"/>
                <a:gd name="connsiteY2219" fmla="*/ 4419 h 10000"/>
                <a:gd name="connsiteX2220" fmla="*/ 309 w 10785"/>
                <a:gd name="connsiteY2220" fmla="*/ 4393 h 10000"/>
                <a:gd name="connsiteX2221" fmla="*/ 332 w 10785"/>
                <a:gd name="connsiteY2221" fmla="*/ 4385 h 10000"/>
                <a:gd name="connsiteX2222" fmla="*/ 355 w 10785"/>
                <a:gd name="connsiteY2222" fmla="*/ 4419 h 10000"/>
                <a:gd name="connsiteX2223" fmla="*/ 355 w 10785"/>
                <a:gd name="connsiteY2223" fmla="*/ 4444 h 10000"/>
                <a:gd name="connsiteX2224" fmla="*/ 369 w 10785"/>
                <a:gd name="connsiteY2224" fmla="*/ 4470 h 10000"/>
                <a:gd name="connsiteX2225" fmla="*/ 401 w 10785"/>
                <a:gd name="connsiteY2225" fmla="*/ 4521 h 10000"/>
                <a:gd name="connsiteX2226" fmla="*/ 406 w 10785"/>
                <a:gd name="connsiteY2226" fmla="*/ 4513 h 10000"/>
                <a:gd name="connsiteX2227" fmla="*/ 406 w 10785"/>
                <a:gd name="connsiteY2227" fmla="*/ 4496 h 10000"/>
                <a:gd name="connsiteX2228" fmla="*/ 419 w 10785"/>
                <a:gd name="connsiteY2228" fmla="*/ 4521 h 10000"/>
                <a:gd name="connsiteX2229" fmla="*/ 429 w 10785"/>
                <a:gd name="connsiteY2229" fmla="*/ 4530 h 10000"/>
                <a:gd name="connsiteX2230" fmla="*/ 433 w 10785"/>
                <a:gd name="connsiteY2230" fmla="*/ 4521 h 10000"/>
                <a:gd name="connsiteX2231" fmla="*/ 442 w 10785"/>
                <a:gd name="connsiteY2231" fmla="*/ 4530 h 10000"/>
                <a:gd name="connsiteX2232" fmla="*/ 447 w 10785"/>
                <a:gd name="connsiteY2232" fmla="*/ 4521 h 10000"/>
                <a:gd name="connsiteX2233" fmla="*/ 452 w 10785"/>
                <a:gd name="connsiteY2233" fmla="*/ 4521 h 10000"/>
                <a:gd name="connsiteX2234" fmla="*/ 461 w 10785"/>
                <a:gd name="connsiteY2234" fmla="*/ 4573 h 10000"/>
                <a:gd name="connsiteX2235" fmla="*/ 479 w 10785"/>
                <a:gd name="connsiteY2235" fmla="*/ 4556 h 10000"/>
                <a:gd name="connsiteX2236" fmla="*/ 502 w 10785"/>
                <a:gd name="connsiteY2236" fmla="*/ 4573 h 10000"/>
                <a:gd name="connsiteX2237" fmla="*/ 507 w 10785"/>
                <a:gd name="connsiteY2237" fmla="*/ 4598 h 10000"/>
                <a:gd name="connsiteX2238" fmla="*/ 525 w 10785"/>
                <a:gd name="connsiteY2238" fmla="*/ 4598 h 10000"/>
                <a:gd name="connsiteX2239" fmla="*/ 535 w 10785"/>
                <a:gd name="connsiteY2239" fmla="*/ 4624 h 10000"/>
                <a:gd name="connsiteX2240" fmla="*/ 594 w 10785"/>
                <a:gd name="connsiteY2240" fmla="*/ 4658 h 10000"/>
                <a:gd name="connsiteX2241" fmla="*/ 627 w 10785"/>
                <a:gd name="connsiteY2241" fmla="*/ 4658 h 10000"/>
                <a:gd name="connsiteX2242" fmla="*/ 654 w 10785"/>
                <a:gd name="connsiteY2242" fmla="*/ 4684 h 10000"/>
                <a:gd name="connsiteX2243" fmla="*/ 668 w 10785"/>
                <a:gd name="connsiteY2243" fmla="*/ 4709 h 10000"/>
                <a:gd name="connsiteX2244" fmla="*/ 747 w 10785"/>
                <a:gd name="connsiteY2244" fmla="*/ 4718 h 10000"/>
                <a:gd name="connsiteX2245" fmla="*/ 760 w 10785"/>
                <a:gd name="connsiteY2245" fmla="*/ 4709 h 10000"/>
                <a:gd name="connsiteX2246" fmla="*/ 774 w 10785"/>
                <a:gd name="connsiteY2246" fmla="*/ 4692 h 10000"/>
                <a:gd name="connsiteX2247" fmla="*/ 829 w 10785"/>
                <a:gd name="connsiteY2247" fmla="*/ 4658 h 10000"/>
                <a:gd name="connsiteX2248" fmla="*/ 903 w 10785"/>
                <a:gd name="connsiteY2248" fmla="*/ 4496 h 10000"/>
                <a:gd name="connsiteX2249" fmla="*/ 917 w 10785"/>
                <a:gd name="connsiteY2249" fmla="*/ 4385 h 10000"/>
                <a:gd name="connsiteX2250" fmla="*/ 903 w 10785"/>
                <a:gd name="connsiteY2250" fmla="*/ 4376 h 10000"/>
                <a:gd name="connsiteX2251" fmla="*/ 903 w 10785"/>
                <a:gd name="connsiteY2251" fmla="*/ 4376 h 10000"/>
                <a:gd name="connsiteX2252" fmla="*/ 889 w 10785"/>
                <a:gd name="connsiteY2252" fmla="*/ 4239 h 10000"/>
                <a:gd name="connsiteX2253" fmla="*/ 880 w 10785"/>
                <a:gd name="connsiteY2253" fmla="*/ 4214 h 10000"/>
                <a:gd name="connsiteX2254" fmla="*/ 862 w 10785"/>
                <a:gd name="connsiteY2254" fmla="*/ 4188 h 10000"/>
                <a:gd name="connsiteX2255" fmla="*/ 857 w 10785"/>
                <a:gd name="connsiteY2255" fmla="*/ 4197 h 10000"/>
                <a:gd name="connsiteX2256" fmla="*/ 848 w 10785"/>
                <a:gd name="connsiteY2256" fmla="*/ 4188 h 10000"/>
                <a:gd name="connsiteX2257" fmla="*/ 848 w 10785"/>
                <a:gd name="connsiteY2257" fmla="*/ 4162 h 10000"/>
                <a:gd name="connsiteX2258" fmla="*/ 829 w 10785"/>
                <a:gd name="connsiteY2258" fmla="*/ 4120 h 10000"/>
                <a:gd name="connsiteX2259" fmla="*/ 820 w 10785"/>
                <a:gd name="connsiteY2259" fmla="*/ 4103 h 10000"/>
                <a:gd name="connsiteX2260" fmla="*/ 806 w 10785"/>
                <a:gd name="connsiteY2260" fmla="*/ 4077 h 10000"/>
                <a:gd name="connsiteX2261" fmla="*/ 816 w 10785"/>
                <a:gd name="connsiteY2261" fmla="*/ 4111 h 10000"/>
                <a:gd name="connsiteX2262" fmla="*/ 802 w 10785"/>
                <a:gd name="connsiteY2262" fmla="*/ 4111 h 10000"/>
                <a:gd name="connsiteX2263" fmla="*/ 770 w 10785"/>
                <a:gd name="connsiteY2263" fmla="*/ 4060 h 10000"/>
                <a:gd name="connsiteX2264" fmla="*/ 760 w 10785"/>
                <a:gd name="connsiteY2264" fmla="*/ 4077 h 10000"/>
                <a:gd name="connsiteX2265" fmla="*/ 760 w 10785"/>
                <a:gd name="connsiteY2265" fmla="*/ 4060 h 10000"/>
                <a:gd name="connsiteX2266" fmla="*/ 756 w 10785"/>
                <a:gd name="connsiteY2266" fmla="*/ 4034 h 10000"/>
                <a:gd name="connsiteX2267" fmla="*/ 742 w 10785"/>
                <a:gd name="connsiteY2267" fmla="*/ 4000 h 10000"/>
                <a:gd name="connsiteX2268" fmla="*/ 747 w 10785"/>
                <a:gd name="connsiteY2268" fmla="*/ 4034 h 10000"/>
                <a:gd name="connsiteX2269" fmla="*/ 724 w 10785"/>
                <a:gd name="connsiteY2269" fmla="*/ 4026 h 10000"/>
                <a:gd name="connsiteX2270" fmla="*/ 714 w 10785"/>
                <a:gd name="connsiteY2270" fmla="*/ 4000 h 10000"/>
                <a:gd name="connsiteX2271" fmla="*/ 714 w 10785"/>
                <a:gd name="connsiteY2271" fmla="*/ 3983 h 10000"/>
                <a:gd name="connsiteX2272" fmla="*/ 553 w 10785"/>
                <a:gd name="connsiteY2272" fmla="*/ 3726 h 10000"/>
                <a:gd name="connsiteX2273" fmla="*/ 507 w 10785"/>
                <a:gd name="connsiteY2273" fmla="*/ 3718 h 10000"/>
                <a:gd name="connsiteX2274" fmla="*/ 516 w 10785"/>
                <a:gd name="connsiteY2274" fmla="*/ 3726 h 10000"/>
                <a:gd name="connsiteX2275" fmla="*/ 507 w 10785"/>
                <a:gd name="connsiteY2275" fmla="*/ 3735 h 10000"/>
                <a:gd name="connsiteX2276" fmla="*/ 502 w 10785"/>
                <a:gd name="connsiteY2276" fmla="*/ 3735 h 10000"/>
                <a:gd name="connsiteX2277" fmla="*/ 419 w 10785"/>
                <a:gd name="connsiteY2277" fmla="*/ 3675 h 10000"/>
                <a:gd name="connsiteX2278" fmla="*/ 419 w 10785"/>
                <a:gd name="connsiteY2278" fmla="*/ 3692 h 10000"/>
                <a:gd name="connsiteX2279" fmla="*/ 401 w 10785"/>
                <a:gd name="connsiteY2279" fmla="*/ 3701 h 10000"/>
                <a:gd name="connsiteX2280" fmla="*/ 387 w 10785"/>
                <a:gd name="connsiteY2280" fmla="*/ 3718 h 10000"/>
                <a:gd name="connsiteX2281" fmla="*/ 387 w 10785"/>
                <a:gd name="connsiteY2281" fmla="*/ 3692 h 10000"/>
                <a:gd name="connsiteX2282" fmla="*/ 378 w 10785"/>
                <a:gd name="connsiteY2282" fmla="*/ 3675 h 10000"/>
                <a:gd name="connsiteX2283" fmla="*/ 378 w 10785"/>
                <a:gd name="connsiteY2283" fmla="*/ 3650 h 10000"/>
                <a:gd name="connsiteX2284" fmla="*/ 378 w 10785"/>
                <a:gd name="connsiteY2284" fmla="*/ 3650 h 10000"/>
                <a:gd name="connsiteX2285" fmla="*/ 355 w 10785"/>
                <a:gd name="connsiteY2285" fmla="*/ 3675 h 10000"/>
                <a:gd name="connsiteX2286" fmla="*/ 359 w 10785"/>
                <a:gd name="connsiteY2286" fmla="*/ 3641 h 10000"/>
                <a:gd name="connsiteX2287" fmla="*/ 346 w 10785"/>
                <a:gd name="connsiteY2287" fmla="*/ 3650 h 10000"/>
                <a:gd name="connsiteX2288" fmla="*/ 355 w 10785"/>
                <a:gd name="connsiteY2288" fmla="*/ 3624 h 10000"/>
                <a:gd name="connsiteX2289" fmla="*/ 346 w 10785"/>
                <a:gd name="connsiteY2289" fmla="*/ 3624 h 10000"/>
                <a:gd name="connsiteX2290" fmla="*/ 341 w 10785"/>
                <a:gd name="connsiteY2290" fmla="*/ 3624 h 10000"/>
                <a:gd name="connsiteX2291" fmla="*/ 318 w 10785"/>
                <a:gd name="connsiteY2291" fmla="*/ 3641 h 10000"/>
                <a:gd name="connsiteX2292" fmla="*/ 327 w 10785"/>
                <a:gd name="connsiteY2292" fmla="*/ 3624 h 10000"/>
                <a:gd name="connsiteX2293" fmla="*/ 318 w 10785"/>
                <a:gd name="connsiteY2293" fmla="*/ 3615 h 10000"/>
                <a:gd name="connsiteX2294" fmla="*/ 318 w 10785"/>
                <a:gd name="connsiteY2294" fmla="*/ 3598 h 10000"/>
                <a:gd name="connsiteX2295" fmla="*/ 300 w 10785"/>
                <a:gd name="connsiteY2295" fmla="*/ 3598 h 10000"/>
                <a:gd name="connsiteX2296" fmla="*/ 309 w 10785"/>
                <a:gd name="connsiteY2296" fmla="*/ 3538 h 10000"/>
                <a:gd name="connsiteX2297" fmla="*/ 313 w 10785"/>
                <a:gd name="connsiteY2297" fmla="*/ 3564 h 10000"/>
                <a:gd name="connsiteX2298" fmla="*/ 318 w 10785"/>
                <a:gd name="connsiteY2298" fmla="*/ 3581 h 10000"/>
                <a:gd name="connsiteX2299" fmla="*/ 327 w 10785"/>
                <a:gd name="connsiteY2299" fmla="*/ 3564 h 10000"/>
                <a:gd name="connsiteX2300" fmla="*/ 332 w 10785"/>
                <a:gd name="connsiteY2300" fmla="*/ 3590 h 10000"/>
                <a:gd name="connsiteX2301" fmla="*/ 346 w 10785"/>
                <a:gd name="connsiteY2301" fmla="*/ 3590 h 10000"/>
                <a:gd name="connsiteX2302" fmla="*/ 355 w 10785"/>
                <a:gd name="connsiteY2302" fmla="*/ 3590 h 10000"/>
                <a:gd name="connsiteX2303" fmla="*/ 369 w 10785"/>
                <a:gd name="connsiteY2303" fmla="*/ 3556 h 10000"/>
                <a:gd name="connsiteX2304" fmla="*/ 369 w 10785"/>
                <a:gd name="connsiteY2304" fmla="*/ 3538 h 10000"/>
                <a:gd name="connsiteX2305" fmla="*/ 346 w 10785"/>
                <a:gd name="connsiteY2305" fmla="*/ 3513 h 10000"/>
                <a:gd name="connsiteX2306" fmla="*/ 341 w 10785"/>
                <a:gd name="connsiteY2306" fmla="*/ 3530 h 10000"/>
                <a:gd name="connsiteX2307" fmla="*/ 327 w 10785"/>
                <a:gd name="connsiteY2307" fmla="*/ 3513 h 10000"/>
                <a:gd name="connsiteX2308" fmla="*/ 327 w 10785"/>
                <a:gd name="connsiteY2308" fmla="*/ 3504 h 10000"/>
                <a:gd name="connsiteX2309" fmla="*/ 295 w 10785"/>
                <a:gd name="connsiteY2309" fmla="*/ 3462 h 10000"/>
                <a:gd name="connsiteX2310" fmla="*/ 300 w 10785"/>
                <a:gd name="connsiteY2310" fmla="*/ 3479 h 10000"/>
                <a:gd name="connsiteX2311" fmla="*/ 295 w 10785"/>
                <a:gd name="connsiteY2311" fmla="*/ 3513 h 10000"/>
                <a:gd name="connsiteX2312" fmla="*/ 286 w 10785"/>
                <a:gd name="connsiteY2312" fmla="*/ 3513 h 10000"/>
                <a:gd name="connsiteX2313" fmla="*/ 281 w 10785"/>
                <a:gd name="connsiteY2313" fmla="*/ 3513 h 10000"/>
                <a:gd name="connsiteX2314" fmla="*/ 281 w 10785"/>
                <a:gd name="connsiteY2314" fmla="*/ 3530 h 10000"/>
                <a:gd name="connsiteX2315" fmla="*/ 281 w 10785"/>
                <a:gd name="connsiteY2315" fmla="*/ 3556 h 10000"/>
                <a:gd name="connsiteX2316" fmla="*/ 272 w 10785"/>
                <a:gd name="connsiteY2316" fmla="*/ 3564 h 10000"/>
                <a:gd name="connsiteX2317" fmla="*/ 267 w 10785"/>
                <a:gd name="connsiteY2317" fmla="*/ 3564 h 10000"/>
                <a:gd name="connsiteX2318" fmla="*/ 253 w 10785"/>
                <a:gd name="connsiteY2318" fmla="*/ 3538 h 10000"/>
                <a:gd name="connsiteX2319" fmla="*/ 226 w 10785"/>
                <a:gd name="connsiteY2319" fmla="*/ 3513 h 10000"/>
                <a:gd name="connsiteX2320" fmla="*/ 226 w 10785"/>
                <a:gd name="connsiteY2320" fmla="*/ 3530 h 10000"/>
                <a:gd name="connsiteX2321" fmla="*/ 226 w 10785"/>
                <a:gd name="connsiteY2321" fmla="*/ 3530 h 10000"/>
                <a:gd name="connsiteX2322" fmla="*/ 226 w 10785"/>
                <a:gd name="connsiteY2322" fmla="*/ 3530 h 10000"/>
                <a:gd name="connsiteX2323" fmla="*/ 226 w 10785"/>
                <a:gd name="connsiteY2323" fmla="*/ 3556 h 10000"/>
                <a:gd name="connsiteX2324" fmla="*/ 221 w 10785"/>
                <a:gd name="connsiteY2324" fmla="*/ 3598 h 10000"/>
                <a:gd name="connsiteX2325" fmla="*/ 207 w 10785"/>
                <a:gd name="connsiteY2325" fmla="*/ 3598 h 10000"/>
                <a:gd name="connsiteX2326" fmla="*/ 180 w 10785"/>
                <a:gd name="connsiteY2326" fmla="*/ 3581 h 10000"/>
                <a:gd name="connsiteX2327" fmla="*/ 171 w 10785"/>
                <a:gd name="connsiteY2327" fmla="*/ 3641 h 10000"/>
                <a:gd name="connsiteX2328" fmla="*/ 166 w 10785"/>
                <a:gd name="connsiteY2328" fmla="*/ 3650 h 10000"/>
                <a:gd name="connsiteX2329" fmla="*/ 124 w 10785"/>
                <a:gd name="connsiteY2329" fmla="*/ 3701 h 10000"/>
                <a:gd name="connsiteX2330" fmla="*/ 124 w 10785"/>
                <a:gd name="connsiteY2330" fmla="*/ 3718 h 10000"/>
                <a:gd name="connsiteX2331" fmla="*/ 120 w 10785"/>
                <a:gd name="connsiteY2331" fmla="*/ 3735 h 10000"/>
                <a:gd name="connsiteX2332" fmla="*/ 120 w 10785"/>
                <a:gd name="connsiteY2332" fmla="*/ 3735 h 10000"/>
                <a:gd name="connsiteX2333" fmla="*/ 111 w 10785"/>
                <a:gd name="connsiteY2333" fmla="*/ 3761 h 10000"/>
                <a:gd name="connsiteX2334" fmla="*/ 106 w 10785"/>
                <a:gd name="connsiteY2334" fmla="*/ 3761 h 10000"/>
                <a:gd name="connsiteX2335" fmla="*/ 106 w 10785"/>
                <a:gd name="connsiteY2335" fmla="*/ 3761 h 10000"/>
                <a:gd name="connsiteX2336" fmla="*/ 74 w 10785"/>
                <a:gd name="connsiteY2336" fmla="*/ 3829 h 10000"/>
                <a:gd name="connsiteX2337" fmla="*/ 78 w 10785"/>
                <a:gd name="connsiteY2337" fmla="*/ 3838 h 10000"/>
                <a:gd name="connsiteX2338" fmla="*/ 88 w 10785"/>
                <a:gd name="connsiteY2338" fmla="*/ 3846 h 10000"/>
                <a:gd name="connsiteX2339" fmla="*/ 65 w 10785"/>
                <a:gd name="connsiteY2339" fmla="*/ 3923 h 10000"/>
                <a:gd name="connsiteX2340" fmla="*/ 78 w 10785"/>
                <a:gd name="connsiteY2340" fmla="*/ 4026 h 10000"/>
                <a:gd name="connsiteX2341" fmla="*/ 88 w 10785"/>
                <a:gd name="connsiteY2341" fmla="*/ 4051 h 10000"/>
                <a:gd name="connsiteX2342" fmla="*/ 92 w 10785"/>
                <a:gd name="connsiteY2342" fmla="*/ 4060 h 10000"/>
                <a:gd name="connsiteX2343" fmla="*/ 111 w 10785"/>
                <a:gd name="connsiteY2343" fmla="*/ 4060 h 10000"/>
                <a:gd name="connsiteX2344" fmla="*/ 124 w 10785"/>
                <a:gd name="connsiteY2344" fmla="*/ 4085 h 10000"/>
                <a:gd name="connsiteX2345" fmla="*/ 166 w 10785"/>
                <a:gd name="connsiteY2345" fmla="*/ 4197 h 10000"/>
                <a:gd name="connsiteX2346" fmla="*/ 166 w 10785"/>
                <a:gd name="connsiteY2346" fmla="*/ 4248 h 10000"/>
                <a:gd name="connsiteX2347" fmla="*/ 120 w 10785"/>
                <a:gd name="connsiteY2347" fmla="*/ 4462 h 10000"/>
                <a:gd name="connsiteX2348" fmla="*/ 120 w 10785"/>
                <a:gd name="connsiteY2348" fmla="*/ 4513 h 10000"/>
                <a:gd name="connsiteX2349" fmla="*/ 180 w 10785"/>
                <a:gd name="connsiteY2349" fmla="*/ 4829 h 10000"/>
                <a:gd name="connsiteX2350" fmla="*/ 161 w 10785"/>
                <a:gd name="connsiteY2350" fmla="*/ 4855 h 10000"/>
                <a:gd name="connsiteX2351" fmla="*/ 152 w 10785"/>
                <a:gd name="connsiteY2351" fmla="*/ 4940 h 10000"/>
                <a:gd name="connsiteX2352" fmla="*/ 161 w 10785"/>
                <a:gd name="connsiteY2352" fmla="*/ 4966 h 10000"/>
                <a:gd name="connsiteX2353" fmla="*/ 161 w 10785"/>
                <a:gd name="connsiteY2353" fmla="*/ 5009 h 10000"/>
                <a:gd name="connsiteX2354" fmla="*/ 152 w 10785"/>
                <a:gd name="connsiteY2354" fmla="*/ 5034 h 10000"/>
                <a:gd name="connsiteX2355" fmla="*/ 152 w 10785"/>
                <a:gd name="connsiteY2355" fmla="*/ 5077 h 10000"/>
                <a:gd name="connsiteX2356" fmla="*/ 171 w 10785"/>
                <a:gd name="connsiteY2356" fmla="*/ 5094 h 10000"/>
                <a:gd name="connsiteX2357" fmla="*/ 180 w 10785"/>
                <a:gd name="connsiteY2357" fmla="*/ 5128 h 10000"/>
                <a:gd name="connsiteX2358" fmla="*/ 180 w 10785"/>
                <a:gd name="connsiteY2358" fmla="*/ 5171 h 10000"/>
                <a:gd name="connsiteX2359" fmla="*/ 184 w 10785"/>
                <a:gd name="connsiteY2359" fmla="*/ 5205 h 10000"/>
                <a:gd name="connsiteX2360" fmla="*/ 207 w 10785"/>
                <a:gd name="connsiteY2360" fmla="*/ 5239 h 10000"/>
                <a:gd name="connsiteX2361" fmla="*/ 207 w 10785"/>
                <a:gd name="connsiteY2361" fmla="*/ 5282 h 10000"/>
                <a:gd name="connsiteX2362" fmla="*/ 180 w 10785"/>
                <a:gd name="connsiteY2362" fmla="*/ 5393 h 10000"/>
                <a:gd name="connsiteX2363" fmla="*/ 194 w 10785"/>
                <a:gd name="connsiteY2363" fmla="*/ 5427 h 10000"/>
                <a:gd name="connsiteX2364" fmla="*/ 198 w 10785"/>
                <a:gd name="connsiteY2364" fmla="*/ 5462 h 10000"/>
                <a:gd name="connsiteX2365" fmla="*/ 235 w 10785"/>
                <a:gd name="connsiteY2365" fmla="*/ 5513 h 10000"/>
                <a:gd name="connsiteX2366" fmla="*/ 240 w 10785"/>
                <a:gd name="connsiteY2366" fmla="*/ 5556 h 10000"/>
                <a:gd name="connsiteX2367" fmla="*/ 253 w 10785"/>
                <a:gd name="connsiteY2367" fmla="*/ 5590 h 10000"/>
                <a:gd name="connsiteX2368" fmla="*/ 258 w 10785"/>
                <a:gd name="connsiteY2368" fmla="*/ 5573 h 10000"/>
                <a:gd name="connsiteX2369" fmla="*/ 258 w 10785"/>
                <a:gd name="connsiteY2369" fmla="*/ 5667 h 10000"/>
                <a:gd name="connsiteX2370" fmla="*/ 14 w 10785"/>
                <a:gd name="connsiteY2370" fmla="*/ 6214 h 10000"/>
                <a:gd name="connsiteX2371" fmla="*/ 14 w 10785"/>
                <a:gd name="connsiteY2371" fmla="*/ 6214 h 10000"/>
                <a:gd name="connsiteX2372" fmla="*/ 37 w 10785"/>
                <a:gd name="connsiteY2372" fmla="*/ 6214 h 10000"/>
                <a:gd name="connsiteX2373" fmla="*/ 51 w 10785"/>
                <a:gd name="connsiteY2373" fmla="*/ 6188 h 10000"/>
                <a:gd name="connsiteX2374" fmla="*/ 78 w 10785"/>
                <a:gd name="connsiteY2374" fmla="*/ 6162 h 10000"/>
                <a:gd name="connsiteX2375" fmla="*/ 78 w 10785"/>
                <a:gd name="connsiteY2375" fmla="*/ 6188 h 10000"/>
                <a:gd name="connsiteX2376" fmla="*/ 74 w 10785"/>
                <a:gd name="connsiteY2376" fmla="*/ 6197 h 10000"/>
                <a:gd name="connsiteX2377" fmla="*/ 74 w 10785"/>
                <a:gd name="connsiteY2377" fmla="*/ 6231 h 10000"/>
                <a:gd name="connsiteX2378" fmla="*/ 74 w 10785"/>
                <a:gd name="connsiteY2378" fmla="*/ 6214 h 10000"/>
                <a:gd name="connsiteX2379" fmla="*/ 65 w 10785"/>
                <a:gd name="connsiteY2379" fmla="*/ 6214 h 10000"/>
                <a:gd name="connsiteX2380" fmla="*/ 65 w 10785"/>
                <a:gd name="connsiteY2380" fmla="*/ 6248 h 10000"/>
                <a:gd name="connsiteX2381" fmla="*/ 74 w 10785"/>
                <a:gd name="connsiteY2381" fmla="*/ 6256 h 10000"/>
                <a:gd name="connsiteX2382" fmla="*/ 78 w 10785"/>
                <a:gd name="connsiteY2382" fmla="*/ 6256 h 10000"/>
                <a:gd name="connsiteX2383" fmla="*/ 106 w 10785"/>
                <a:gd name="connsiteY2383" fmla="*/ 6308 h 10000"/>
                <a:gd name="connsiteX2384" fmla="*/ 138 w 10785"/>
                <a:gd name="connsiteY2384" fmla="*/ 6299 h 10000"/>
                <a:gd name="connsiteX2385" fmla="*/ 152 w 10785"/>
                <a:gd name="connsiteY2385" fmla="*/ 6299 h 10000"/>
                <a:gd name="connsiteX2386" fmla="*/ 166 w 10785"/>
                <a:gd name="connsiteY2386" fmla="*/ 6325 h 10000"/>
                <a:gd name="connsiteX2387" fmla="*/ 166 w 10785"/>
                <a:gd name="connsiteY2387" fmla="*/ 6333 h 10000"/>
                <a:gd name="connsiteX2388" fmla="*/ 171 w 10785"/>
                <a:gd name="connsiteY2388" fmla="*/ 6350 h 10000"/>
                <a:gd name="connsiteX2389" fmla="*/ 180 w 10785"/>
                <a:gd name="connsiteY2389" fmla="*/ 6350 h 10000"/>
                <a:gd name="connsiteX2390" fmla="*/ 180 w 10785"/>
                <a:gd name="connsiteY2390" fmla="*/ 6359 h 10000"/>
                <a:gd name="connsiteX2391" fmla="*/ 171 w 10785"/>
                <a:gd name="connsiteY2391" fmla="*/ 6368 h 10000"/>
                <a:gd name="connsiteX2392" fmla="*/ 106 w 10785"/>
                <a:gd name="connsiteY2392" fmla="*/ 6350 h 10000"/>
                <a:gd name="connsiteX2393" fmla="*/ 101 w 10785"/>
                <a:gd name="connsiteY2393" fmla="*/ 6359 h 10000"/>
                <a:gd name="connsiteX2394" fmla="*/ 101 w 10785"/>
                <a:gd name="connsiteY2394" fmla="*/ 6385 h 10000"/>
                <a:gd name="connsiteX2395" fmla="*/ 78 w 10785"/>
                <a:gd name="connsiteY2395" fmla="*/ 6393 h 10000"/>
                <a:gd name="connsiteX2396" fmla="*/ 74 w 10785"/>
                <a:gd name="connsiteY2396" fmla="*/ 6385 h 10000"/>
                <a:gd name="connsiteX2397" fmla="*/ 65 w 10785"/>
                <a:gd name="connsiteY2397" fmla="*/ 6393 h 10000"/>
                <a:gd name="connsiteX2398" fmla="*/ 60 w 10785"/>
                <a:gd name="connsiteY2398" fmla="*/ 6419 h 10000"/>
                <a:gd name="connsiteX2399" fmla="*/ 51 w 10785"/>
                <a:gd name="connsiteY2399" fmla="*/ 6419 h 10000"/>
                <a:gd name="connsiteX2400" fmla="*/ 46 w 10785"/>
                <a:gd name="connsiteY2400" fmla="*/ 6410 h 10000"/>
                <a:gd name="connsiteX2401" fmla="*/ 37 w 10785"/>
                <a:gd name="connsiteY2401" fmla="*/ 6393 h 10000"/>
                <a:gd name="connsiteX2402" fmla="*/ 32 w 10785"/>
                <a:gd name="connsiteY2402" fmla="*/ 6419 h 10000"/>
                <a:gd name="connsiteX2403" fmla="*/ 37 w 10785"/>
                <a:gd name="connsiteY2403" fmla="*/ 6462 h 10000"/>
                <a:gd name="connsiteX2404" fmla="*/ 46 w 10785"/>
                <a:gd name="connsiteY2404" fmla="*/ 6462 h 10000"/>
                <a:gd name="connsiteX2405" fmla="*/ 51 w 10785"/>
                <a:gd name="connsiteY2405" fmla="*/ 6470 h 10000"/>
                <a:gd name="connsiteX2406" fmla="*/ 51 w 10785"/>
                <a:gd name="connsiteY2406" fmla="*/ 6496 h 10000"/>
                <a:gd name="connsiteX2407" fmla="*/ 51 w 10785"/>
                <a:gd name="connsiteY2407" fmla="*/ 6504 h 10000"/>
                <a:gd name="connsiteX2408" fmla="*/ 37 w 10785"/>
                <a:gd name="connsiteY2408" fmla="*/ 6530 h 10000"/>
                <a:gd name="connsiteX2409" fmla="*/ 18 w 10785"/>
                <a:gd name="connsiteY2409" fmla="*/ 6598 h 10000"/>
                <a:gd name="connsiteX2410" fmla="*/ 28 w 10785"/>
                <a:gd name="connsiteY2410" fmla="*/ 6632 h 10000"/>
                <a:gd name="connsiteX2411" fmla="*/ 18 w 10785"/>
                <a:gd name="connsiteY2411" fmla="*/ 6667 h 10000"/>
                <a:gd name="connsiteX2412" fmla="*/ 28 w 10785"/>
                <a:gd name="connsiteY2412" fmla="*/ 6692 h 10000"/>
                <a:gd name="connsiteX2413" fmla="*/ 28 w 10785"/>
                <a:gd name="connsiteY2413" fmla="*/ 6709 h 10000"/>
                <a:gd name="connsiteX2414" fmla="*/ 18 w 10785"/>
                <a:gd name="connsiteY2414" fmla="*/ 6718 h 10000"/>
                <a:gd name="connsiteX2415" fmla="*/ 5 w 10785"/>
                <a:gd name="connsiteY2415" fmla="*/ 6744 h 10000"/>
                <a:gd name="connsiteX2416" fmla="*/ 0 w 10785"/>
                <a:gd name="connsiteY2416" fmla="*/ 6769 h 10000"/>
                <a:gd name="connsiteX2417" fmla="*/ 5 w 10785"/>
                <a:gd name="connsiteY2417" fmla="*/ 6778 h 10000"/>
                <a:gd name="connsiteX2418" fmla="*/ 32 w 10785"/>
                <a:gd name="connsiteY2418" fmla="*/ 6778 h 10000"/>
                <a:gd name="connsiteX2419" fmla="*/ 46 w 10785"/>
                <a:gd name="connsiteY2419" fmla="*/ 6821 h 10000"/>
                <a:gd name="connsiteX2420" fmla="*/ 46 w 10785"/>
                <a:gd name="connsiteY2420" fmla="*/ 6855 h 10000"/>
                <a:gd name="connsiteX2421" fmla="*/ 32 w 10785"/>
                <a:gd name="connsiteY2421" fmla="*/ 6855 h 10000"/>
                <a:gd name="connsiteX2422" fmla="*/ 14 w 10785"/>
                <a:gd name="connsiteY2422" fmla="*/ 6821 h 10000"/>
                <a:gd name="connsiteX2423" fmla="*/ 14 w 10785"/>
                <a:gd name="connsiteY2423" fmla="*/ 6846 h 10000"/>
                <a:gd name="connsiteX2424" fmla="*/ 0 w 10785"/>
                <a:gd name="connsiteY2424" fmla="*/ 6897 h 10000"/>
                <a:gd name="connsiteX2425" fmla="*/ 0 w 10785"/>
                <a:gd name="connsiteY2425" fmla="*/ 6915 h 10000"/>
                <a:gd name="connsiteX2426" fmla="*/ 5 w 10785"/>
                <a:gd name="connsiteY2426" fmla="*/ 6932 h 10000"/>
                <a:gd name="connsiteX2427" fmla="*/ 14 w 10785"/>
                <a:gd name="connsiteY2427" fmla="*/ 6940 h 10000"/>
                <a:gd name="connsiteX2428" fmla="*/ 18 w 10785"/>
                <a:gd name="connsiteY2428" fmla="*/ 6957 h 10000"/>
                <a:gd name="connsiteX2429" fmla="*/ 28 w 10785"/>
                <a:gd name="connsiteY2429" fmla="*/ 6966 h 10000"/>
                <a:gd name="connsiteX2430" fmla="*/ 28 w 10785"/>
                <a:gd name="connsiteY2430" fmla="*/ 6983 h 10000"/>
                <a:gd name="connsiteX2431" fmla="*/ 18 w 10785"/>
                <a:gd name="connsiteY2431" fmla="*/ 7051 h 10000"/>
                <a:gd name="connsiteX2432" fmla="*/ 28 w 10785"/>
                <a:gd name="connsiteY2432" fmla="*/ 7068 h 10000"/>
                <a:gd name="connsiteX2433" fmla="*/ 32 w 10785"/>
                <a:gd name="connsiteY2433" fmla="*/ 7068 h 10000"/>
                <a:gd name="connsiteX2434" fmla="*/ 32 w 10785"/>
                <a:gd name="connsiteY2434" fmla="*/ 7094 h 10000"/>
                <a:gd name="connsiteX2435" fmla="*/ 60 w 10785"/>
                <a:gd name="connsiteY2435" fmla="*/ 7162 h 10000"/>
                <a:gd name="connsiteX2436" fmla="*/ 60 w 10785"/>
                <a:gd name="connsiteY2436" fmla="*/ 7231 h 10000"/>
                <a:gd name="connsiteX2437" fmla="*/ 60 w 10785"/>
                <a:gd name="connsiteY2437" fmla="*/ 7239 h 10000"/>
                <a:gd name="connsiteX2438" fmla="*/ 78 w 10785"/>
                <a:gd name="connsiteY2438" fmla="*/ 7239 h 10000"/>
                <a:gd name="connsiteX2439" fmla="*/ 88 w 10785"/>
                <a:gd name="connsiteY2439" fmla="*/ 7239 h 10000"/>
                <a:gd name="connsiteX2440" fmla="*/ 92 w 10785"/>
                <a:gd name="connsiteY2440" fmla="*/ 7256 h 10000"/>
                <a:gd name="connsiteX2441" fmla="*/ 111 w 10785"/>
                <a:gd name="connsiteY2441" fmla="*/ 7256 h 10000"/>
                <a:gd name="connsiteX2442" fmla="*/ 120 w 10785"/>
                <a:gd name="connsiteY2442" fmla="*/ 7256 h 10000"/>
                <a:gd name="connsiteX2443" fmla="*/ 134 w 10785"/>
                <a:gd name="connsiteY2443" fmla="*/ 7282 h 10000"/>
                <a:gd name="connsiteX2444" fmla="*/ 134 w 10785"/>
                <a:gd name="connsiteY2444" fmla="*/ 7316 h 10000"/>
                <a:gd name="connsiteX2445" fmla="*/ 152 w 10785"/>
                <a:gd name="connsiteY2445" fmla="*/ 7299 h 10000"/>
                <a:gd name="connsiteX2446" fmla="*/ 161 w 10785"/>
                <a:gd name="connsiteY2446" fmla="*/ 7299 h 10000"/>
                <a:gd name="connsiteX2447" fmla="*/ 166 w 10785"/>
                <a:gd name="connsiteY2447" fmla="*/ 7291 h 10000"/>
                <a:gd name="connsiteX2448" fmla="*/ 194 w 10785"/>
                <a:gd name="connsiteY2448" fmla="*/ 7291 h 10000"/>
                <a:gd name="connsiteX2449" fmla="*/ 207 w 10785"/>
                <a:gd name="connsiteY2449" fmla="*/ 7299 h 10000"/>
                <a:gd name="connsiteX2450" fmla="*/ 221 w 10785"/>
                <a:gd name="connsiteY2450" fmla="*/ 7342 h 10000"/>
                <a:gd name="connsiteX2451" fmla="*/ 235 w 10785"/>
                <a:gd name="connsiteY2451" fmla="*/ 7342 h 10000"/>
                <a:gd name="connsiteX2452" fmla="*/ 235 w 10785"/>
                <a:gd name="connsiteY2452" fmla="*/ 7368 h 10000"/>
                <a:gd name="connsiteX2453" fmla="*/ 226 w 10785"/>
                <a:gd name="connsiteY2453" fmla="*/ 7393 h 10000"/>
                <a:gd name="connsiteX2454" fmla="*/ 226 w 10785"/>
                <a:gd name="connsiteY2454" fmla="*/ 7402 h 10000"/>
                <a:gd name="connsiteX2455" fmla="*/ 235 w 10785"/>
                <a:gd name="connsiteY2455" fmla="*/ 7419 h 10000"/>
                <a:gd name="connsiteX2456" fmla="*/ 240 w 10785"/>
                <a:gd name="connsiteY2456" fmla="*/ 7436 h 10000"/>
                <a:gd name="connsiteX2457" fmla="*/ 235 w 10785"/>
                <a:gd name="connsiteY2457" fmla="*/ 7462 h 10000"/>
                <a:gd name="connsiteX2458" fmla="*/ 226 w 10785"/>
                <a:gd name="connsiteY2458" fmla="*/ 7479 h 10000"/>
                <a:gd name="connsiteX2459" fmla="*/ 226 w 10785"/>
                <a:gd name="connsiteY2459" fmla="*/ 7504 h 10000"/>
                <a:gd name="connsiteX2460" fmla="*/ 226 w 10785"/>
                <a:gd name="connsiteY2460" fmla="*/ 7513 h 10000"/>
                <a:gd name="connsiteX2461" fmla="*/ 240 w 10785"/>
                <a:gd name="connsiteY2461" fmla="*/ 7538 h 10000"/>
                <a:gd name="connsiteX2462" fmla="*/ 267 w 10785"/>
                <a:gd name="connsiteY2462" fmla="*/ 7641 h 10000"/>
                <a:gd name="connsiteX2463" fmla="*/ 281 w 10785"/>
                <a:gd name="connsiteY2463" fmla="*/ 7667 h 10000"/>
                <a:gd name="connsiteX2464" fmla="*/ 286 w 10785"/>
                <a:gd name="connsiteY2464" fmla="*/ 7675 h 10000"/>
                <a:gd name="connsiteX2465" fmla="*/ 286 w 10785"/>
                <a:gd name="connsiteY2465" fmla="*/ 7692 h 10000"/>
                <a:gd name="connsiteX2466" fmla="*/ 286 w 10785"/>
                <a:gd name="connsiteY2466" fmla="*/ 7709 h 10000"/>
                <a:gd name="connsiteX2467" fmla="*/ 295 w 10785"/>
                <a:gd name="connsiteY2467" fmla="*/ 7726 h 10000"/>
                <a:gd name="connsiteX2468" fmla="*/ 318 w 10785"/>
                <a:gd name="connsiteY2468" fmla="*/ 7709 h 10000"/>
                <a:gd name="connsiteX2469" fmla="*/ 327 w 10785"/>
                <a:gd name="connsiteY2469" fmla="*/ 7726 h 10000"/>
                <a:gd name="connsiteX2470" fmla="*/ 341 w 10785"/>
                <a:gd name="connsiteY2470" fmla="*/ 7735 h 10000"/>
                <a:gd name="connsiteX2471" fmla="*/ 332 w 10785"/>
                <a:gd name="connsiteY2471" fmla="*/ 7752 h 10000"/>
                <a:gd name="connsiteX2472" fmla="*/ 341 w 10785"/>
                <a:gd name="connsiteY2472" fmla="*/ 7761 h 10000"/>
                <a:gd name="connsiteX2473" fmla="*/ 355 w 10785"/>
                <a:gd name="connsiteY2473" fmla="*/ 7761 h 10000"/>
                <a:gd name="connsiteX2474" fmla="*/ 355 w 10785"/>
                <a:gd name="connsiteY2474" fmla="*/ 7803 h 10000"/>
                <a:gd name="connsiteX2475" fmla="*/ 313 w 10785"/>
                <a:gd name="connsiteY2475" fmla="*/ 7846 h 10000"/>
                <a:gd name="connsiteX2476" fmla="*/ 295 w 10785"/>
                <a:gd name="connsiteY2476" fmla="*/ 7846 h 10000"/>
                <a:gd name="connsiteX2477" fmla="*/ 281 w 10785"/>
                <a:gd name="connsiteY2477" fmla="*/ 7821 h 10000"/>
                <a:gd name="connsiteX2478" fmla="*/ 272 w 10785"/>
                <a:gd name="connsiteY2478" fmla="*/ 7821 h 10000"/>
                <a:gd name="connsiteX2479" fmla="*/ 267 w 10785"/>
                <a:gd name="connsiteY2479" fmla="*/ 7838 h 10000"/>
                <a:gd name="connsiteX2480" fmla="*/ 258 w 10785"/>
                <a:gd name="connsiteY2480" fmla="*/ 7846 h 10000"/>
                <a:gd name="connsiteX2481" fmla="*/ 253 w 10785"/>
                <a:gd name="connsiteY2481" fmla="*/ 7863 h 10000"/>
                <a:gd name="connsiteX2482" fmla="*/ 253 w 10785"/>
                <a:gd name="connsiteY2482" fmla="*/ 7872 h 10000"/>
                <a:gd name="connsiteX2483" fmla="*/ 267 w 10785"/>
                <a:gd name="connsiteY2483" fmla="*/ 7897 h 10000"/>
                <a:gd name="connsiteX2484" fmla="*/ 272 w 10785"/>
                <a:gd name="connsiteY2484" fmla="*/ 7915 h 10000"/>
                <a:gd name="connsiteX2485" fmla="*/ 267 w 10785"/>
                <a:gd name="connsiteY2485" fmla="*/ 7940 h 10000"/>
                <a:gd name="connsiteX2486" fmla="*/ 272 w 10785"/>
                <a:gd name="connsiteY2486" fmla="*/ 7949 h 10000"/>
                <a:gd name="connsiteX2487" fmla="*/ 272 w 10785"/>
                <a:gd name="connsiteY2487" fmla="*/ 7957 h 10000"/>
                <a:gd name="connsiteX2488" fmla="*/ 281 w 10785"/>
                <a:gd name="connsiteY2488" fmla="*/ 7974 h 10000"/>
                <a:gd name="connsiteX2489" fmla="*/ 286 w 10785"/>
                <a:gd name="connsiteY2489" fmla="*/ 7983 h 10000"/>
                <a:gd name="connsiteX2490" fmla="*/ 281 w 10785"/>
                <a:gd name="connsiteY2490" fmla="*/ 8009 h 10000"/>
                <a:gd name="connsiteX2491" fmla="*/ 286 w 10785"/>
                <a:gd name="connsiteY2491" fmla="*/ 8060 h 10000"/>
                <a:gd name="connsiteX2492" fmla="*/ 286 w 10785"/>
                <a:gd name="connsiteY2492" fmla="*/ 8060 h 10000"/>
                <a:gd name="connsiteX2493" fmla="*/ 295 w 10785"/>
                <a:gd name="connsiteY2493" fmla="*/ 8077 h 10000"/>
                <a:gd name="connsiteX2494" fmla="*/ 309 w 10785"/>
                <a:gd name="connsiteY2494" fmla="*/ 8077 h 10000"/>
                <a:gd name="connsiteX2495" fmla="*/ 313 w 10785"/>
                <a:gd name="connsiteY2495" fmla="*/ 8060 h 10000"/>
                <a:gd name="connsiteX2496" fmla="*/ 318 w 10785"/>
                <a:gd name="connsiteY2496" fmla="*/ 8051 h 10000"/>
                <a:gd name="connsiteX2497" fmla="*/ 318 w 10785"/>
                <a:gd name="connsiteY2497" fmla="*/ 8034 h 10000"/>
                <a:gd name="connsiteX2498" fmla="*/ 332 w 10785"/>
                <a:gd name="connsiteY2498" fmla="*/ 8026 h 10000"/>
                <a:gd name="connsiteX2499" fmla="*/ 359 w 10785"/>
                <a:gd name="connsiteY2499" fmla="*/ 8034 h 10000"/>
                <a:gd name="connsiteX2500" fmla="*/ 378 w 10785"/>
                <a:gd name="connsiteY2500" fmla="*/ 8026 h 10000"/>
                <a:gd name="connsiteX2501" fmla="*/ 401 w 10785"/>
                <a:gd name="connsiteY2501" fmla="*/ 8026 h 10000"/>
                <a:gd name="connsiteX2502" fmla="*/ 419 w 10785"/>
                <a:gd name="connsiteY2502" fmla="*/ 8009 h 10000"/>
                <a:gd name="connsiteX2503" fmla="*/ 433 w 10785"/>
                <a:gd name="connsiteY2503" fmla="*/ 8034 h 10000"/>
                <a:gd name="connsiteX2504" fmla="*/ 442 w 10785"/>
                <a:gd name="connsiteY2504" fmla="*/ 8060 h 10000"/>
                <a:gd name="connsiteX2505" fmla="*/ 442 w 10785"/>
                <a:gd name="connsiteY2505" fmla="*/ 8077 h 10000"/>
                <a:gd name="connsiteX2506" fmla="*/ 461 w 10785"/>
                <a:gd name="connsiteY2506" fmla="*/ 8111 h 10000"/>
                <a:gd name="connsiteX2507" fmla="*/ 461 w 10785"/>
                <a:gd name="connsiteY2507" fmla="*/ 8137 h 10000"/>
                <a:gd name="connsiteX2508" fmla="*/ 447 w 10785"/>
                <a:gd name="connsiteY2508" fmla="*/ 8145 h 10000"/>
                <a:gd name="connsiteX2509" fmla="*/ 442 w 10785"/>
                <a:gd name="connsiteY2509" fmla="*/ 8145 h 10000"/>
                <a:gd name="connsiteX2510" fmla="*/ 442 w 10785"/>
                <a:gd name="connsiteY2510" fmla="*/ 8162 h 10000"/>
                <a:gd name="connsiteX2511" fmla="*/ 442 w 10785"/>
                <a:gd name="connsiteY2511" fmla="*/ 8171 h 10000"/>
                <a:gd name="connsiteX2512" fmla="*/ 447 w 10785"/>
                <a:gd name="connsiteY2512" fmla="*/ 8214 h 10000"/>
                <a:gd name="connsiteX2513" fmla="*/ 465 w 10785"/>
                <a:gd name="connsiteY2513" fmla="*/ 8231 h 10000"/>
                <a:gd name="connsiteX2514" fmla="*/ 488 w 10785"/>
                <a:gd name="connsiteY2514" fmla="*/ 8231 h 10000"/>
                <a:gd name="connsiteX2515" fmla="*/ 493 w 10785"/>
                <a:gd name="connsiteY2515" fmla="*/ 8231 h 10000"/>
                <a:gd name="connsiteX2516" fmla="*/ 502 w 10785"/>
                <a:gd name="connsiteY2516" fmla="*/ 8231 h 10000"/>
                <a:gd name="connsiteX2517" fmla="*/ 507 w 10785"/>
                <a:gd name="connsiteY2517" fmla="*/ 8248 h 10000"/>
                <a:gd name="connsiteX2518" fmla="*/ 521 w 10785"/>
                <a:gd name="connsiteY2518" fmla="*/ 8274 h 10000"/>
                <a:gd name="connsiteX2519" fmla="*/ 525 w 10785"/>
                <a:gd name="connsiteY2519" fmla="*/ 8333 h 10000"/>
                <a:gd name="connsiteX2520" fmla="*/ 525 w 10785"/>
                <a:gd name="connsiteY2520" fmla="*/ 8359 h 10000"/>
                <a:gd name="connsiteX2521" fmla="*/ 525 w 10785"/>
                <a:gd name="connsiteY2521" fmla="*/ 8368 h 10000"/>
                <a:gd name="connsiteX2522" fmla="*/ 548 w 10785"/>
                <a:gd name="connsiteY2522" fmla="*/ 8393 h 10000"/>
                <a:gd name="connsiteX2523" fmla="*/ 553 w 10785"/>
                <a:gd name="connsiteY2523" fmla="*/ 8385 h 10000"/>
                <a:gd name="connsiteX2524" fmla="*/ 562 w 10785"/>
                <a:gd name="connsiteY2524" fmla="*/ 8385 h 10000"/>
                <a:gd name="connsiteX2525" fmla="*/ 576 w 10785"/>
                <a:gd name="connsiteY2525" fmla="*/ 8385 h 10000"/>
                <a:gd name="connsiteX2526" fmla="*/ 585 w 10785"/>
                <a:gd name="connsiteY2526" fmla="*/ 8410 h 10000"/>
                <a:gd name="connsiteX2527" fmla="*/ 594 w 10785"/>
                <a:gd name="connsiteY2527" fmla="*/ 8410 h 10000"/>
                <a:gd name="connsiteX2528" fmla="*/ 608 w 10785"/>
                <a:gd name="connsiteY2528" fmla="*/ 8410 h 10000"/>
                <a:gd name="connsiteX2529" fmla="*/ 654 w 10785"/>
                <a:gd name="connsiteY2529" fmla="*/ 8385 h 10000"/>
                <a:gd name="connsiteX2530" fmla="*/ 659 w 10785"/>
                <a:gd name="connsiteY2530" fmla="*/ 8385 h 10000"/>
                <a:gd name="connsiteX2531" fmla="*/ 696 w 10785"/>
                <a:gd name="connsiteY2531" fmla="*/ 8470 h 10000"/>
                <a:gd name="connsiteX2532" fmla="*/ 700 w 10785"/>
                <a:gd name="connsiteY2532" fmla="*/ 8470 h 10000"/>
                <a:gd name="connsiteX2533" fmla="*/ 710 w 10785"/>
                <a:gd name="connsiteY2533" fmla="*/ 8462 h 10000"/>
                <a:gd name="connsiteX2534" fmla="*/ 714 w 10785"/>
                <a:gd name="connsiteY2534" fmla="*/ 8462 h 10000"/>
                <a:gd name="connsiteX2535" fmla="*/ 724 w 10785"/>
                <a:gd name="connsiteY2535" fmla="*/ 8470 h 10000"/>
                <a:gd name="connsiteX2536" fmla="*/ 733 w 10785"/>
                <a:gd name="connsiteY2536" fmla="*/ 8470 h 10000"/>
                <a:gd name="connsiteX2537" fmla="*/ 742 w 10785"/>
                <a:gd name="connsiteY2537" fmla="*/ 8487 h 10000"/>
                <a:gd name="connsiteX2538" fmla="*/ 747 w 10785"/>
                <a:gd name="connsiteY2538" fmla="*/ 8496 h 10000"/>
                <a:gd name="connsiteX2539" fmla="*/ 770 w 10785"/>
                <a:gd name="connsiteY2539" fmla="*/ 8496 h 10000"/>
                <a:gd name="connsiteX2540" fmla="*/ 783 w 10785"/>
                <a:gd name="connsiteY2540" fmla="*/ 8521 h 10000"/>
                <a:gd name="connsiteX2541" fmla="*/ 797 w 10785"/>
                <a:gd name="connsiteY2541" fmla="*/ 8521 h 10000"/>
                <a:gd name="connsiteX2542" fmla="*/ 806 w 10785"/>
                <a:gd name="connsiteY2542" fmla="*/ 8530 h 10000"/>
                <a:gd name="connsiteX2543" fmla="*/ 829 w 10785"/>
                <a:gd name="connsiteY2543" fmla="*/ 8547 h 10000"/>
                <a:gd name="connsiteX2544" fmla="*/ 834 w 10785"/>
                <a:gd name="connsiteY2544" fmla="*/ 8556 h 10000"/>
                <a:gd name="connsiteX2545" fmla="*/ 829 w 10785"/>
                <a:gd name="connsiteY2545" fmla="*/ 8556 h 10000"/>
                <a:gd name="connsiteX2546" fmla="*/ 834 w 10785"/>
                <a:gd name="connsiteY2546" fmla="*/ 8607 h 10000"/>
                <a:gd name="connsiteX2547" fmla="*/ 829 w 10785"/>
                <a:gd name="connsiteY2547" fmla="*/ 8641 h 10000"/>
                <a:gd name="connsiteX2548" fmla="*/ 806 w 10785"/>
                <a:gd name="connsiteY2548" fmla="*/ 8658 h 10000"/>
                <a:gd name="connsiteX2549" fmla="*/ 816 w 10785"/>
                <a:gd name="connsiteY2549" fmla="*/ 8667 h 10000"/>
                <a:gd name="connsiteX2550" fmla="*/ 820 w 10785"/>
                <a:gd name="connsiteY2550" fmla="*/ 8667 h 10000"/>
                <a:gd name="connsiteX2551" fmla="*/ 829 w 10785"/>
                <a:gd name="connsiteY2551" fmla="*/ 8684 h 10000"/>
                <a:gd name="connsiteX2552" fmla="*/ 806 w 10785"/>
                <a:gd name="connsiteY2552" fmla="*/ 8692 h 10000"/>
                <a:gd name="connsiteX2553" fmla="*/ 802 w 10785"/>
                <a:gd name="connsiteY2553" fmla="*/ 8709 h 10000"/>
                <a:gd name="connsiteX2554" fmla="*/ 802 w 10785"/>
                <a:gd name="connsiteY2554" fmla="*/ 8735 h 10000"/>
                <a:gd name="connsiteX2555" fmla="*/ 806 w 10785"/>
                <a:gd name="connsiteY2555" fmla="*/ 8744 h 10000"/>
                <a:gd name="connsiteX2556" fmla="*/ 816 w 10785"/>
                <a:gd name="connsiteY2556" fmla="*/ 8752 h 10000"/>
                <a:gd name="connsiteX2557" fmla="*/ 806 w 10785"/>
                <a:gd name="connsiteY2557" fmla="*/ 8778 h 10000"/>
                <a:gd name="connsiteX2558" fmla="*/ 820 w 10785"/>
                <a:gd name="connsiteY2558" fmla="*/ 8778 h 10000"/>
                <a:gd name="connsiteX2559" fmla="*/ 806 w 10785"/>
                <a:gd name="connsiteY2559" fmla="*/ 8880 h 10000"/>
                <a:gd name="connsiteX2560" fmla="*/ 797 w 10785"/>
                <a:gd name="connsiteY2560" fmla="*/ 8880 h 10000"/>
                <a:gd name="connsiteX2561" fmla="*/ 783 w 10785"/>
                <a:gd name="connsiteY2561" fmla="*/ 8872 h 10000"/>
                <a:gd name="connsiteX2562" fmla="*/ 770 w 10785"/>
                <a:gd name="connsiteY2562" fmla="*/ 8880 h 10000"/>
                <a:gd name="connsiteX2563" fmla="*/ 756 w 10785"/>
                <a:gd name="connsiteY2563" fmla="*/ 8855 h 10000"/>
                <a:gd name="connsiteX2564" fmla="*/ 733 w 10785"/>
                <a:gd name="connsiteY2564" fmla="*/ 8906 h 10000"/>
                <a:gd name="connsiteX2565" fmla="*/ 714 w 10785"/>
                <a:gd name="connsiteY2565" fmla="*/ 8915 h 10000"/>
                <a:gd name="connsiteX2566" fmla="*/ 710 w 10785"/>
                <a:gd name="connsiteY2566" fmla="*/ 8940 h 10000"/>
                <a:gd name="connsiteX2567" fmla="*/ 710 w 10785"/>
                <a:gd name="connsiteY2567" fmla="*/ 9009 h 10000"/>
                <a:gd name="connsiteX2568" fmla="*/ 728 w 10785"/>
                <a:gd name="connsiteY2568" fmla="*/ 8991 h 10000"/>
                <a:gd name="connsiteX2569" fmla="*/ 733 w 10785"/>
                <a:gd name="connsiteY2569" fmla="*/ 8991 h 10000"/>
                <a:gd name="connsiteX2570" fmla="*/ 747 w 10785"/>
                <a:gd name="connsiteY2570" fmla="*/ 8983 h 10000"/>
                <a:gd name="connsiteX2571" fmla="*/ 760 w 10785"/>
                <a:gd name="connsiteY2571" fmla="*/ 8983 h 10000"/>
                <a:gd name="connsiteX2572" fmla="*/ 770 w 10785"/>
                <a:gd name="connsiteY2572" fmla="*/ 8983 h 10000"/>
                <a:gd name="connsiteX2573" fmla="*/ 770 w 10785"/>
                <a:gd name="connsiteY2573" fmla="*/ 8991 h 10000"/>
                <a:gd name="connsiteX2574" fmla="*/ 783 w 10785"/>
                <a:gd name="connsiteY2574" fmla="*/ 8991 h 10000"/>
                <a:gd name="connsiteX2575" fmla="*/ 783 w 10785"/>
                <a:gd name="connsiteY2575" fmla="*/ 9009 h 10000"/>
                <a:gd name="connsiteX2576" fmla="*/ 783 w 10785"/>
                <a:gd name="connsiteY2576" fmla="*/ 9017 h 10000"/>
                <a:gd name="connsiteX2577" fmla="*/ 770 w 10785"/>
                <a:gd name="connsiteY2577" fmla="*/ 9017 h 10000"/>
                <a:gd name="connsiteX2578" fmla="*/ 724 w 10785"/>
                <a:gd name="connsiteY2578" fmla="*/ 9051 h 10000"/>
                <a:gd name="connsiteX2579" fmla="*/ 724 w 10785"/>
                <a:gd name="connsiteY2579" fmla="*/ 9068 h 10000"/>
                <a:gd name="connsiteX2580" fmla="*/ 728 w 10785"/>
                <a:gd name="connsiteY2580" fmla="*/ 9077 h 10000"/>
                <a:gd name="connsiteX2581" fmla="*/ 724 w 10785"/>
                <a:gd name="connsiteY2581" fmla="*/ 9077 h 10000"/>
                <a:gd name="connsiteX2582" fmla="*/ 710 w 10785"/>
                <a:gd name="connsiteY2582" fmla="*/ 9077 h 10000"/>
                <a:gd name="connsiteX2583" fmla="*/ 682 w 10785"/>
                <a:gd name="connsiteY2583" fmla="*/ 9077 h 10000"/>
                <a:gd name="connsiteX2584" fmla="*/ 673 w 10785"/>
                <a:gd name="connsiteY2584" fmla="*/ 9103 h 10000"/>
                <a:gd name="connsiteX2585" fmla="*/ 687 w 10785"/>
                <a:gd name="connsiteY2585" fmla="*/ 9128 h 10000"/>
                <a:gd name="connsiteX2586" fmla="*/ 700 w 10785"/>
                <a:gd name="connsiteY2586" fmla="*/ 9128 h 10000"/>
                <a:gd name="connsiteX2587" fmla="*/ 728 w 10785"/>
                <a:gd name="connsiteY2587" fmla="*/ 9179 h 10000"/>
                <a:gd name="connsiteX2588" fmla="*/ 724 w 10785"/>
                <a:gd name="connsiteY2588" fmla="*/ 9188 h 10000"/>
                <a:gd name="connsiteX2589" fmla="*/ 710 w 10785"/>
                <a:gd name="connsiteY2589" fmla="*/ 9179 h 10000"/>
                <a:gd name="connsiteX2590" fmla="*/ 700 w 10785"/>
                <a:gd name="connsiteY2590" fmla="*/ 9205 h 10000"/>
                <a:gd name="connsiteX2591" fmla="*/ 696 w 10785"/>
                <a:gd name="connsiteY2591" fmla="*/ 9205 h 10000"/>
                <a:gd name="connsiteX2592" fmla="*/ 654 w 10785"/>
                <a:gd name="connsiteY2592" fmla="*/ 9299 h 10000"/>
                <a:gd name="connsiteX2593" fmla="*/ 622 w 10785"/>
                <a:gd name="connsiteY2593" fmla="*/ 9299 h 10000"/>
                <a:gd name="connsiteX2594" fmla="*/ 613 w 10785"/>
                <a:gd name="connsiteY2594" fmla="*/ 9316 h 10000"/>
                <a:gd name="connsiteX2595" fmla="*/ 613 w 10785"/>
                <a:gd name="connsiteY2595" fmla="*/ 9325 h 10000"/>
                <a:gd name="connsiteX2596" fmla="*/ 608 w 10785"/>
                <a:gd name="connsiteY2596" fmla="*/ 9342 h 10000"/>
                <a:gd name="connsiteX2597" fmla="*/ 636 w 10785"/>
                <a:gd name="connsiteY2597" fmla="*/ 9376 h 10000"/>
                <a:gd name="connsiteX2598" fmla="*/ 641 w 10785"/>
                <a:gd name="connsiteY2598" fmla="*/ 9402 h 10000"/>
                <a:gd name="connsiteX2599" fmla="*/ 654 w 10785"/>
                <a:gd name="connsiteY2599" fmla="*/ 9427 h 10000"/>
                <a:gd name="connsiteX2600" fmla="*/ 668 w 10785"/>
                <a:gd name="connsiteY2600" fmla="*/ 9427 h 10000"/>
                <a:gd name="connsiteX2601" fmla="*/ 668 w 10785"/>
                <a:gd name="connsiteY2601" fmla="*/ 9427 h 10000"/>
                <a:gd name="connsiteX2602" fmla="*/ 774 w 10785"/>
                <a:gd name="connsiteY2602" fmla="*/ 9547 h 10000"/>
                <a:gd name="connsiteX2603" fmla="*/ 797 w 10785"/>
                <a:gd name="connsiteY2603" fmla="*/ 9598 h 10000"/>
                <a:gd name="connsiteX2604" fmla="*/ 802 w 10785"/>
                <a:gd name="connsiteY2604" fmla="*/ 9598 h 10000"/>
                <a:gd name="connsiteX2605" fmla="*/ 816 w 10785"/>
                <a:gd name="connsiteY2605" fmla="*/ 9624 h 10000"/>
                <a:gd name="connsiteX2606" fmla="*/ 843 w 10785"/>
                <a:gd name="connsiteY2606" fmla="*/ 9615 h 10000"/>
                <a:gd name="connsiteX2607" fmla="*/ 857 w 10785"/>
                <a:gd name="connsiteY2607" fmla="*/ 9624 h 10000"/>
                <a:gd name="connsiteX2608" fmla="*/ 862 w 10785"/>
                <a:gd name="connsiteY2608" fmla="*/ 9615 h 10000"/>
                <a:gd name="connsiteX2609" fmla="*/ 880 w 10785"/>
                <a:gd name="connsiteY2609" fmla="*/ 9624 h 10000"/>
                <a:gd name="connsiteX2610" fmla="*/ 889 w 10785"/>
                <a:gd name="connsiteY2610" fmla="*/ 9641 h 10000"/>
                <a:gd name="connsiteX2611" fmla="*/ 935 w 10785"/>
                <a:gd name="connsiteY2611" fmla="*/ 9675 h 10000"/>
                <a:gd name="connsiteX2612" fmla="*/ 977 w 10785"/>
                <a:gd name="connsiteY2612" fmla="*/ 9667 h 10000"/>
                <a:gd name="connsiteX2613" fmla="*/ 995 w 10785"/>
                <a:gd name="connsiteY2613" fmla="*/ 9675 h 10000"/>
                <a:gd name="connsiteX2614" fmla="*/ 1014 w 10785"/>
                <a:gd name="connsiteY2614" fmla="*/ 9675 h 10000"/>
                <a:gd name="connsiteX2615" fmla="*/ 1069 w 10785"/>
                <a:gd name="connsiteY2615" fmla="*/ 9752 h 10000"/>
                <a:gd name="connsiteX2616" fmla="*/ 1074 w 10785"/>
                <a:gd name="connsiteY2616" fmla="*/ 9761 h 10000"/>
                <a:gd name="connsiteX2617" fmla="*/ 1083 w 10785"/>
                <a:gd name="connsiteY2617" fmla="*/ 9778 h 10000"/>
                <a:gd name="connsiteX2618" fmla="*/ 1115 w 10785"/>
                <a:gd name="connsiteY2618" fmla="*/ 9752 h 10000"/>
                <a:gd name="connsiteX2619" fmla="*/ 1129 w 10785"/>
                <a:gd name="connsiteY2619" fmla="*/ 9752 h 10000"/>
                <a:gd name="connsiteX2620" fmla="*/ 1138 w 10785"/>
                <a:gd name="connsiteY2620" fmla="*/ 9761 h 10000"/>
                <a:gd name="connsiteX2621" fmla="*/ 1143 w 10785"/>
                <a:gd name="connsiteY2621" fmla="*/ 9752 h 10000"/>
                <a:gd name="connsiteX2622" fmla="*/ 1161 w 10785"/>
                <a:gd name="connsiteY2622" fmla="*/ 9761 h 10000"/>
                <a:gd name="connsiteX2623" fmla="*/ 1171 w 10785"/>
                <a:gd name="connsiteY2623" fmla="*/ 9778 h 10000"/>
                <a:gd name="connsiteX2624" fmla="*/ 1175 w 10785"/>
                <a:gd name="connsiteY2624" fmla="*/ 9778 h 10000"/>
                <a:gd name="connsiteX2625" fmla="*/ 1189 w 10785"/>
                <a:gd name="connsiteY2625" fmla="*/ 9778 h 10000"/>
                <a:gd name="connsiteX2626" fmla="*/ 1198 w 10785"/>
                <a:gd name="connsiteY2626" fmla="*/ 9786 h 10000"/>
                <a:gd name="connsiteX2627" fmla="*/ 1203 w 10785"/>
                <a:gd name="connsiteY2627" fmla="*/ 9803 h 10000"/>
                <a:gd name="connsiteX2628" fmla="*/ 1198 w 10785"/>
                <a:gd name="connsiteY2628" fmla="*/ 9838 h 10000"/>
                <a:gd name="connsiteX2629" fmla="*/ 1212 w 10785"/>
                <a:gd name="connsiteY2629" fmla="*/ 9863 h 10000"/>
                <a:gd name="connsiteX2630" fmla="*/ 1230 w 10785"/>
                <a:gd name="connsiteY2630" fmla="*/ 9872 h 10000"/>
                <a:gd name="connsiteX2631" fmla="*/ 1249 w 10785"/>
                <a:gd name="connsiteY2631" fmla="*/ 9897 h 10000"/>
                <a:gd name="connsiteX2632" fmla="*/ 1263 w 10785"/>
                <a:gd name="connsiteY2632" fmla="*/ 9897 h 10000"/>
                <a:gd name="connsiteX2633" fmla="*/ 1276 w 10785"/>
                <a:gd name="connsiteY2633" fmla="*/ 9923 h 10000"/>
                <a:gd name="connsiteX2634" fmla="*/ 1281 w 10785"/>
                <a:gd name="connsiteY2634" fmla="*/ 9949 h 10000"/>
                <a:gd name="connsiteX2635" fmla="*/ 1290 w 10785"/>
                <a:gd name="connsiteY2635" fmla="*/ 9949 h 10000"/>
                <a:gd name="connsiteX2636" fmla="*/ 1295 w 10785"/>
                <a:gd name="connsiteY2636" fmla="*/ 10000 h 10000"/>
                <a:gd name="connsiteX2637" fmla="*/ 1332 w 10785"/>
                <a:gd name="connsiteY2637" fmla="*/ 10000 h 10000"/>
                <a:gd name="connsiteX2638" fmla="*/ 1336 w 10785"/>
                <a:gd name="connsiteY2638" fmla="*/ 10000 h 10000"/>
                <a:gd name="connsiteX2639" fmla="*/ 1346 w 10785"/>
                <a:gd name="connsiteY2639" fmla="*/ 9983 h 10000"/>
                <a:gd name="connsiteX2640" fmla="*/ 1350 w 10785"/>
                <a:gd name="connsiteY2640" fmla="*/ 9949 h 10000"/>
                <a:gd name="connsiteX2641" fmla="*/ 1369 w 10785"/>
                <a:gd name="connsiteY2641" fmla="*/ 9940 h 10000"/>
                <a:gd name="connsiteX2642" fmla="*/ 1378 w 10785"/>
                <a:gd name="connsiteY2642" fmla="*/ 9897 h 10000"/>
                <a:gd name="connsiteX2643" fmla="*/ 1369 w 10785"/>
                <a:gd name="connsiteY2643" fmla="*/ 9889 h 10000"/>
                <a:gd name="connsiteX2644" fmla="*/ 1318 w 10785"/>
                <a:gd name="connsiteY2644" fmla="*/ 9701 h 10000"/>
                <a:gd name="connsiteX2645" fmla="*/ 1318 w 10785"/>
                <a:gd name="connsiteY2645" fmla="*/ 9650 h 10000"/>
                <a:gd name="connsiteX2646" fmla="*/ 1323 w 10785"/>
                <a:gd name="connsiteY2646" fmla="*/ 9590 h 10000"/>
                <a:gd name="connsiteX2647" fmla="*/ 1323 w 10785"/>
                <a:gd name="connsiteY2647" fmla="*/ 9564 h 10000"/>
                <a:gd name="connsiteX2648" fmla="*/ 1309 w 10785"/>
                <a:gd name="connsiteY2648" fmla="*/ 9598 h 10000"/>
                <a:gd name="connsiteX2649" fmla="*/ 1309 w 10785"/>
                <a:gd name="connsiteY2649" fmla="*/ 9590 h 10000"/>
                <a:gd name="connsiteX2650" fmla="*/ 1304 w 10785"/>
                <a:gd name="connsiteY2650" fmla="*/ 9547 h 10000"/>
                <a:gd name="connsiteX2651" fmla="*/ 1276 w 10785"/>
                <a:gd name="connsiteY2651" fmla="*/ 9479 h 10000"/>
                <a:gd name="connsiteX2652" fmla="*/ 1263 w 10785"/>
                <a:gd name="connsiteY2652" fmla="*/ 9479 h 10000"/>
                <a:gd name="connsiteX2653" fmla="*/ 1263 w 10785"/>
                <a:gd name="connsiteY2653" fmla="*/ 9453 h 10000"/>
                <a:gd name="connsiteX2654" fmla="*/ 1272 w 10785"/>
                <a:gd name="connsiteY2654" fmla="*/ 9410 h 10000"/>
                <a:gd name="connsiteX2655" fmla="*/ 1272 w 10785"/>
                <a:gd name="connsiteY2655" fmla="*/ 9393 h 10000"/>
                <a:gd name="connsiteX2656" fmla="*/ 1281 w 10785"/>
                <a:gd name="connsiteY2656" fmla="*/ 9368 h 10000"/>
                <a:gd name="connsiteX2657" fmla="*/ 1281 w 10785"/>
                <a:gd name="connsiteY2657" fmla="*/ 9368 h 10000"/>
                <a:gd name="connsiteX2658" fmla="*/ 1290 w 10785"/>
                <a:gd name="connsiteY2658" fmla="*/ 9368 h 10000"/>
                <a:gd name="connsiteX2659" fmla="*/ 1290 w 10785"/>
                <a:gd name="connsiteY2659" fmla="*/ 9342 h 10000"/>
                <a:gd name="connsiteX2660" fmla="*/ 1304 w 10785"/>
                <a:gd name="connsiteY2660" fmla="*/ 9325 h 10000"/>
                <a:gd name="connsiteX2661" fmla="*/ 1309 w 10785"/>
                <a:gd name="connsiteY2661" fmla="*/ 9239 h 10000"/>
                <a:gd name="connsiteX2662" fmla="*/ 1318 w 10785"/>
                <a:gd name="connsiteY2662" fmla="*/ 9256 h 10000"/>
                <a:gd name="connsiteX2663" fmla="*/ 1323 w 10785"/>
                <a:gd name="connsiteY2663" fmla="*/ 9179 h 10000"/>
                <a:gd name="connsiteX2664" fmla="*/ 1309 w 10785"/>
                <a:gd name="connsiteY2664" fmla="*/ 9145 h 10000"/>
                <a:gd name="connsiteX2665" fmla="*/ 1336 w 10785"/>
                <a:gd name="connsiteY2665" fmla="*/ 9154 h 10000"/>
                <a:gd name="connsiteX2666" fmla="*/ 1336 w 10785"/>
                <a:gd name="connsiteY2666" fmla="*/ 9162 h 10000"/>
                <a:gd name="connsiteX2667" fmla="*/ 1350 w 10785"/>
                <a:gd name="connsiteY2667" fmla="*/ 9231 h 10000"/>
                <a:gd name="connsiteX2668" fmla="*/ 1355 w 10785"/>
                <a:gd name="connsiteY2668" fmla="*/ 9231 h 10000"/>
                <a:gd name="connsiteX2669" fmla="*/ 1364 w 10785"/>
                <a:gd name="connsiteY2669" fmla="*/ 9214 h 10000"/>
                <a:gd name="connsiteX2670" fmla="*/ 1369 w 10785"/>
                <a:gd name="connsiteY2670" fmla="*/ 9214 h 10000"/>
                <a:gd name="connsiteX2671" fmla="*/ 1382 w 10785"/>
                <a:gd name="connsiteY2671" fmla="*/ 9154 h 10000"/>
                <a:gd name="connsiteX2672" fmla="*/ 1396 w 10785"/>
                <a:gd name="connsiteY2672" fmla="*/ 9154 h 10000"/>
                <a:gd name="connsiteX2673" fmla="*/ 1382 w 10785"/>
                <a:gd name="connsiteY2673" fmla="*/ 9145 h 10000"/>
                <a:gd name="connsiteX2674" fmla="*/ 1382 w 10785"/>
                <a:gd name="connsiteY2674" fmla="*/ 9128 h 10000"/>
                <a:gd name="connsiteX2675" fmla="*/ 1369 w 10785"/>
                <a:gd name="connsiteY2675" fmla="*/ 9128 h 10000"/>
                <a:gd name="connsiteX2676" fmla="*/ 1364 w 10785"/>
                <a:gd name="connsiteY2676" fmla="*/ 9128 h 10000"/>
                <a:gd name="connsiteX2677" fmla="*/ 1355 w 10785"/>
                <a:gd name="connsiteY2677" fmla="*/ 9120 h 10000"/>
                <a:gd name="connsiteX2678" fmla="*/ 1350 w 10785"/>
                <a:gd name="connsiteY2678" fmla="*/ 9103 h 10000"/>
                <a:gd name="connsiteX2679" fmla="*/ 1355 w 10785"/>
                <a:gd name="connsiteY2679" fmla="*/ 9094 h 10000"/>
                <a:gd name="connsiteX2680" fmla="*/ 1355 w 10785"/>
                <a:gd name="connsiteY2680" fmla="*/ 9068 h 10000"/>
                <a:gd name="connsiteX2681" fmla="*/ 1369 w 10785"/>
                <a:gd name="connsiteY2681" fmla="*/ 9068 h 10000"/>
                <a:gd name="connsiteX2682" fmla="*/ 1378 w 10785"/>
                <a:gd name="connsiteY2682" fmla="*/ 9077 h 10000"/>
                <a:gd name="connsiteX2683" fmla="*/ 1396 w 10785"/>
                <a:gd name="connsiteY2683" fmla="*/ 9068 h 10000"/>
                <a:gd name="connsiteX2684" fmla="*/ 1382 w 10785"/>
                <a:gd name="connsiteY2684" fmla="*/ 8940 h 10000"/>
                <a:gd name="connsiteX2685" fmla="*/ 1378 w 10785"/>
                <a:gd name="connsiteY2685" fmla="*/ 8940 h 10000"/>
                <a:gd name="connsiteX2686" fmla="*/ 1364 w 10785"/>
                <a:gd name="connsiteY2686" fmla="*/ 8889 h 10000"/>
                <a:gd name="connsiteX2687" fmla="*/ 1355 w 10785"/>
                <a:gd name="connsiteY2687" fmla="*/ 8880 h 10000"/>
                <a:gd name="connsiteX2688" fmla="*/ 1323 w 10785"/>
                <a:gd name="connsiteY2688" fmla="*/ 8880 h 10000"/>
                <a:gd name="connsiteX2689" fmla="*/ 1309 w 10785"/>
                <a:gd name="connsiteY2689" fmla="*/ 8880 h 10000"/>
                <a:gd name="connsiteX2690" fmla="*/ 1309 w 10785"/>
                <a:gd name="connsiteY2690" fmla="*/ 8889 h 10000"/>
                <a:gd name="connsiteX2691" fmla="*/ 1295 w 10785"/>
                <a:gd name="connsiteY2691" fmla="*/ 8872 h 10000"/>
                <a:gd name="connsiteX2692" fmla="*/ 1290 w 10785"/>
                <a:gd name="connsiteY2692" fmla="*/ 8855 h 10000"/>
                <a:gd name="connsiteX2693" fmla="*/ 1290 w 10785"/>
                <a:gd name="connsiteY2693" fmla="*/ 8829 h 10000"/>
                <a:gd name="connsiteX2694" fmla="*/ 1290 w 10785"/>
                <a:gd name="connsiteY2694" fmla="*/ 8821 h 10000"/>
                <a:gd name="connsiteX2695" fmla="*/ 1290 w 10785"/>
                <a:gd name="connsiteY2695" fmla="*/ 8803 h 10000"/>
                <a:gd name="connsiteX2696" fmla="*/ 1281 w 10785"/>
                <a:gd name="connsiteY2696" fmla="*/ 8795 h 10000"/>
                <a:gd name="connsiteX2697" fmla="*/ 1249 w 10785"/>
                <a:gd name="connsiteY2697" fmla="*/ 8769 h 10000"/>
                <a:gd name="connsiteX2698" fmla="*/ 1263 w 10785"/>
                <a:gd name="connsiteY2698" fmla="*/ 8667 h 10000"/>
                <a:gd name="connsiteX2699" fmla="*/ 1281 w 10785"/>
                <a:gd name="connsiteY2699" fmla="*/ 8658 h 10000"/>
                <a:gd name="connsiteX2700" fmla="*/ 1290 w 10785"/>
                <a:gd name="connsiteY2700" fmla="*/ 8632 h 10000"/>
                <a:gd name="connsiteX2701" fmla="*/ 1281 w 10785"/>
                <a:gd name="connsiteY2701" fmla="*/ 8615 h 10000"/>
                <a:gd name="connsiteX2702" fmla="*/ 1272 w 10785"/>
                <a:gd name="connsiteY2702" fmla="*/ 8598 h 10000"/>
                <a:gd name="connsiteX2703" fmla="*/ 1281 w 10785"/>
                <a:gd name="connsiteY2703" fmla="*/ 8496 h 10000"/>
                <a:gd name="connsiteX2704" fmla="*/ 1295 w 10785"/>
                <a:gd name="connsiteY2704" fmla="*/ 8470 h 10000"/>
                <a:gd name="connsiteX2705" fmla="*/ 1304 w 10785"/>
                <a:gd name="connsiteY2705" fmla="*/ 8462 h 10000"/>
                <a:gd name="connsiteX2706" fmla="*/ 1304 w 10785"/>
                <a:gd name="connsiteY2706" fmla="*/ 8444 h 10000"/>
                <a:gd name="connsiteX2707" fmla="*/ 1304 w 10785"/>
                <a:gd name="connsiteY2707" fmla="*/ 8419 h 10000"/>
                <a:gd name="connsiteX2708" fmla="*/ 1304 w 10785"/>
                <a:gd name="connsiteY2708" fmla="*/ 8410 h 10000"/>
                <a:gd name="connsiteX2709" fmla="*/ 1309 w 10785"/>
                <a:gd name="connsiteY2709" fmla="*/ 8393 h 10000"/>
                <a:gd name="connsiteX2710" fmla="*/ 1318 w 10785"/>
                <a:gd name="connsiteY2710" fmla="*/ 8385 h 10000"/>
                <a:gd name="connsiteX2711" fmla="*/ 1323 w 10785"/>
                <a:gd name="connsiteY2711" fmla="*/ 8385 h 10000"/>
                <a:gd name="connsiteX2712" fmla="*/ 1332 w 10785"/>
                <a:gd name="connsiteY2712" fmla="*/ 8410 h 10000"/>
                <a:gd name="connsiteX2713" fmla="*/ 1346 w 10785"/>
                <a:gd name="connsiteY2713" fmla="*/ 8419 h 10000"/>
                <a:gd name="connsiteX2714" fmla="*/ 1364 w 10785"/>
                <a:gd name="connsiteY2714" fmla="*/ 8504 h 10000"/>
                <a:gd name="connsiteX2715" fmla="*/ 1369 w 10785"/>
                <a:gd name="connsiteY2715" fmla="*/ 8521 h 10000"/>
                <a:gd name="connsiteX2716" fmla="*/ 1406 w 10785"/>
                <a:gd name="connsiteY2716" fmla="*/ 8470 h 10000"/>
                <a:gd name="connsiteX2717" fmla="*/ 1382 w 10785"/>
                <a:gd name="connsiteY2717" fmla="*/ 8359 h 10000"/>
                <a:gd name="connsiteX2718" fmla="*/ 1392 w 10785"/>
                <a:gd name="connsiteY2718" fmla="*/ 8359 h 10000"/>
                <a:gd name="connsiteX2719" fmla="*/ 1438 w 10785"/>
                <a:gd name="connsiteY2719" fmla="*/ 8308 h 10000"/>
                <a:gd name="connsiteX2720" fmla="*/ 1442 w 10785"/>
                <a:gd name="connsiteY2720" fmla="*/ 8299 h 10000"/>
                <a:gd name="connsiteX2721" fmla="*/ 1442 w 10785"/>
                <a:gd name="connsiteY2721" fmla="*/ 8256 h 10000"/>
                <a:gd name="connsiteX2722" fmla="*/ 1452 w 10785"/>
                <a:gd name="connsiteY2722" fmla="*/ 8256 h 10000"/>
                <a:gd name="connsiteX2723" fmla="*/ 1456 w 10785"/>
                <a:gd name="connsiteY2723" fmla="*/ 8256 h 10000"/>
                <a:gd name="connsiteX2724" fmla="*/ 1470 w 10785"/>
                <a:gd name="connsiteY2724" fmla="*/ 8248 h 10000"/>
                <a:gd name="connsiteX2725" fmla="*/ 1479 w 10785"/>
                <a:gd name="connsiteY2725" fmla="*/ 8231 h 10000"/>
                <a:gd name="connsiteX2726" fmla="*/ 1493 w 10785"/>
                <a:gd name="connsiteY2726" fmla="*/ 8222 h 10000"/>
                <a:gd name="connsiteX2727" fmla="*/ 1498 w 10785"/>
                <a:gd name="connsiteY2727" fmla="*/ 8214 h 10000"/>
                <a:gd name="connsiteX2728" fmla="*/ 1502 w 10785"/>
                <a:gd name="connsiteY2728" fmla="*/ 8197 h 10000"/>
                <a:gd name="connsiteX2729" fmla="*/ 1512 w 10785"/>
                <a:gd name="connsiteY2729" fmla="*/ 8188 h 10000"/>
                <a:gd name="connsiteX2730" fmla="*/ 1516 w 10785"/>
                <a:gd name="connsiteY2730" fmla="*/ 8171 h 10000"/>
                <a:gd name="connsiteX2731" fmla="*/ 1525 w 10785"/>
                <a:gd name="connsiteY2731" fmla="*/ 8162 h 10000"/>
                <a:gd name="connsiteX2732" fmla="*/ 1539 w 10785"/>
                <a:gd name="connsiteY2732" fmla="*/ 8145 h 10000"/>
                <a:gd name="connsiteX2733" fmla="*/ 1558 w 10785"/>
                <a:gd name="connsiteY2733" fmla="*/ 8145 h 10000"/>
                <a:gd name="connsiteX2734" fmla="*/ 1562 w 10785"/>
                <a:gd name="connsiteY2734" fmla="*/ 8188 h 10000"/>
                <a:gd name="connsiteX2735" fmla="*/ 1585 w 10785"/>
                <a:gd name="connsiteY2735" fmla="*/ 8171 h 10000"/>
                <a:gd name="connsiteX2736" fmla="*/ 1590 w 10785"/>
                <a:gd name="connsiteY2736" fmla="*/ 8188 h 10000"/>
                <a:gd name="connsiteX2737" fmla="*/ 1599 w 10785"/>
                <a:gd name="connsiteY2737" fmla="*/ 8171 h 10000"/>
                <a:gd name="connsiteX2738" fmla="*/ 1599 w 10785"/>
                <a:gd name="connsiteY2738" fmla="*/ 8162 h 10000"/>
                <a:gd name="connsiteX2739" fmla="*/ 1604 w 10785"/>
                <a:gd name="connsiteY2739" fmla="*/ 8137 h 10000"/>
                <a:gd name="connsiteX2740" fmla="*/ 1618 w 10785"/>
                <a:gd name="connsiteY2740" fmla="*/ 8145 h 10000"/>
                <a:gd name="connsiteX2741" fmla="*/ 1627 w 10785"/>
                <a:gd name="connsiteY2741" fmla="*/ 8137 h 10000"/>
                <a:gd name="connsiteX2742" fmla="*/ 1631 w 10785"/>
                <a:gd name="connsiteY2742" fmla="*/ 8137 h 10000"/>
                <a:gd name="connsiteX2743" fmla="*/ 1636 w 10785"/>
                <a:gd name="connsiteY2743" fmla="*/ 8171 h 10000"/>
                <a:gd name="connsiteX2744" fmla="*/ 1645 w 10785"/>
                <a:gd name="connsiteY2744" fmla="*/ 8188 h 10000"/>
                <a:gd name="connsiteX2745" fmla="*/ 1664 w 10785"/>
                <a:gd name="connsiteY2745" fmla="*/ 8171 h 10000"/>
                <a:gd name="connsiteX2746" fmla="*/ 1673 w 10785"/>
                <a:gd name="connsiteY2746" fmla="*/ 8188 h 10000"/>
                <a:gd name="connsiteX2747" fmla="*/ 1691 w 10785"/>
                <a:gd name="connsiteY2747" fmla="*/ 8171 h 10000"/>
                <a:gd name="connsiteX2748" fmla="*/ 1705 w 10785"/>
                <a:gd name="connsiteY2748" fmla="*/ 8171 h 10000"/>
                <a:gd name="connsiteX2749" fmla="*/ 1719 w 10785"/>
                <a:gd name="connsiteY2749" fmla="*/ 8197 h 10000"/>
                <a:gd name="connsiteX2750" fmla="*/ 1724 w 10785"/>
                <a:gd name="connsiteY2750" fmla="*/ 8231 h 10000"/>
                <a:gd name="connsiteX2751" fmla="*/ 1751 w 10785"/>
                <a:gd name="connsiteY2751" fmla="*/ 8256 h 10000"/>
                <a:gd name="connsiteX2752" fmla="*/ 1751 w 10785"/>
                <a:gd name="connsiteY2752" fmla="*/ 8274 h 10000"/>
                <a:gd name="connsiteX2753" fmla="*/ 1760 w 10785"/>
                <a:gd name="connsiteY2753" fmla="*/ 8282 h 10000"/>
                <a:gd name="connsiteX2754" fmla="*/ 1770 w 10785"/>
                <a:gd name="connsiteY2754" fmla="*/ 8325 h 10000"/>
                <a:gd name="connsiteX2755" fmla="*/ 1770 w 10785"/>
                <a:gd name="connsiteY2755" fmla="*/ 8350 h 10000"/>
                <a:gd name="connsiteX2756" fmla="*/ 1779 w 10785"/>
                <a:gd name="connsiteY2756" fmla="*/ 8368 h 10000"/>
                <a:gd name="connsiteX2757" fmla="*/ 1783 w 10785"/>
                <a:gd name="connsiteY2757" fmla="*/ 8359 h 10000"/>
                <a:gd name="connsiteX2758" fmla="*/ 1783 w 10785"/>
                <a:gd name="connsiteY2758" fmla="*/ 8308 h 10000"/>
                <a:gd name="connsiteX2759" fmla="*/ 1779 w 10785"/>
                <a:gd name="connsiteY2759" fmla="*/ 8299 h 10000"/>
                <a:gd name="connsiteX2760" fmla="*/ 1783 w 10785"/>
                <a:gd name="connsiteY2760" fmla="*/ 8282 h 10000"/>
                <a:gd name="connsiteX2761" fmla="*/ 1797 w 10785"/>
                <a:gd name="connsiteY2761" fmla="*/ 8274 h 10000"/>
                <a:gd name="connsiteX2762" fmla="*/ 1797 w 10785"/>
                <a:gd name="connsiteY2762" fmla="*/ 8299 h 10000"/>
                <a:gd name="connsiteX2763" fmla="*/ 1806 w 10785"/>
                <a:gd name="connsiteY2763" fmla="*/ 8308 h 10000"/>
                <a:gd name="connsiteX2764" fmla="*/ 1811 w 10785"/>
                <a:gd name="connsiteY2764" fmla="*/ 8325 h 10000"/>
                <a:gd name="connsiteX2765" fmla="*/ 1820 w 10785"/>
                <a:gd name="connsiteY2765" fmla="*/ 8333 h 10000"/>
                <a:gd name="connsiteX2766" fmla="*/ 1853 w 10785"/>
                <a:gd name="connsiteY2766" fmla="*/ 8359 h 10000"/>
                <a:gd name="connsiteX2767" fmla="*/ 1866 w 10785"/>
                <a:gd name="connsiteY2767" fmla="*/ 8359 h 10000"/>
                <a:gd name="connsiteX2768" fmla="*/ 1885 w 10785"/>
                <a:gd name="connsiteY2768" fmla="*/ 8325 h 10000"/>
                <a:gd name="connsiteX2769" fmla="*/ 1885 w 10785"/>
                <a:gd name="connsiteY2769" fmla="*/ 8308 h 10000"/>
                <a:gd name="connsiteX2770" fmla="*/ 1894 w 10785"/>
                <a:gd name="connsiteY2770" fmla="*/ 8299 h 10000"/>
                <a:gd name="connsiteX2771" fmla="*/ 1899 w 10785"/>
                <a:gd name="connsiteY2771" fmla="*/ 8282 h 10000"/>
                <a:gd name="connsiteX2772" fmla="*/ 1912 w 10785"/>
                <a:gd name="connsiteY2772" fmla="*/ 8282 h 10000"/>
                <a:gd name="connsiteX2773" fmla="*/ 1917 w 10785"/>
                <a:gd name="connsiteY2773" fmla="*/ 8299 h 10000"/>
                <a:gd name="connsiteX2774" fmla="*/ 1917 w 10785"/>
                <a:gd name="connsiteY2774" fmla="*/ 8274 h 10000"/>
                <a:gd name="connsiteX2775" fmla="*/ 1940 w 10785"/>
                <a:gd name="connsiteY2775" fmla="*/ 8282 h 10000"/>
                <a:gd name="connsiteX2776" fmla="*/ 1945 w 10785"/>
                <a:gd name="connsiteY2776" fmla="*/ 8274 h 10000"/>
                <a:gd name="connsiteX2777" fmla="*/ 1972 w 10785"/>
                <a:gd name="connsiteY2777" fmla="*/ 8308 h 10000"/>
                <a:gd name="connsiteX2778" fmla="*/ 1986 w 10785"/>
                <a:gd name="connsiteY2778" fmla="*/ 8282 h 10000"/>
                <a:gd name="connsiteX2779" fmla="*/ 1991 w 10785"/>
                <a:gd name="connsiteY2779" fmla="*/ 8274 h 10000"/>
                <a:gd name="connsiteX2780" fmla="*/ 2014 w 10785"/>
                <a:gd name="connsiteY2780" fmla="*/ 8274 h 10000"/>
                <a:gd name="connsiteX2781" fmla="*/ 2018 w 10785"/>
                <a:gd name="connsiteY2781" fmla="*/ 8256 h 10000"/>
                <a:gd name="connsiteX2782" fmla="*/ 2041 w 10785"/>
                <a:gd name="connsiteY2782" fmla="*/ 8274 h 10000"/>
                <a:gd name="connsiteX2783" fmla="*/ 2046 w 10785"/>
                <a:gd name="connsiteY2783" fmla="*/ 8282 h 10000"/>
                <a:gd name="connsiteX2784" fmla="*/ 2046 w 10785"/>
                <a:gd name="connsiteY2784" fmla="*/ 8325 h 10000"/>
                <a:gd name="connsiteX2785" fmla="*/ 2060 w 10785"/>
                <a:gd name="connsiteY2785" fmla="*/ 8350 h 10000"/>
                <a:gd name="connsiteX2786" fmla="*/ 2078 w 10785"/>
                <a:gd name="connsiteY2786" fmla="*/ 8350 h 10000"/>
                <a:gd name="connsiteX2787" fmla="*/ 2092 w 10785"/>
                <a:gd name="connsiteY2787" fmla="*/ 8350 h 10000"/>
                <a:gd name="connsiteX2788" fmla="*/ 2092 w 10785"/>
                <a:gd name="connsiteY2788" fmla="*/ 8350 h 10000"/>
                <a:gd name="connsiteX2789" fmla="*/ 2101 w 10785"/>
                <a:gd name="connsiteY2789" fmla="*/ 8368 h 10000"/>
                <a:gd name="connsiteX2790" fmla="*/ 2120 w 10785"/>
                <a:gd name="connsiteY2790" fmla="*/ 8368 h 10000"/>
                <a:gd name="connsiteX2791" fmla="*/ 2124 w 10785"/>
                <a:gd name="connsiteY2791" fmla="*/ 8359 h 10000"/>
                <a:gd name="connsiteX2792" fmla="*/ 2138 w 10785"/>
                <a:gd name="connsiteY2792" fmla="*/ 8325 h 10000"/>
                <a:gd name="connsiteX2793" fmla="*/ 2147 w 10785"/>
                <a:gd name="connsiteY2793" fmla="*/ 8325 h 10000"/>
                <a:gd name="connsiteX2794" fmla="*/ 2161 w 10785"/>
                <a:gd name="connsiteY2794" fmla="*/ 8350 h 10000"/>
                <a:gd name="connsiteX2795" fmla="*/ 2198 w 10785"/>
                <a:gd name="connsiteY2795" fmla="*/ 8350 h 10000"/>
                <a:gd name="connsiteX2796" fmla="*/ 2207 w 10785"/>
                <a:gd name="connsiteY2796" fmla="*/ 8333 h 10000"/>
                <a:gd name="connsiteX2797" fmla="*/ 2226 w 10785"/>
                <a:gd name="connsiteY2797" fmla="*/ 8325 h 10000"/>
                <a:gd name="connsiteX2798" fmla="*/ 2249 w 10785"/>
                <a:gd name="connsiteY2798" fmla="*/ 8222 h 10000"/>
                <a:gd name="connsiteX2799" fmla="*/ 2235 w 10785"/>
                <a:gd name="connsiteY2799" fmla="*/ 8197 h 10000"/>
                <a:gd name="connsiteX2800" fmla="*/ 2198 w 10785"/>
                <a:gd name="connsiteY2800" fmla="*/ 8197 h 10000"/>
                <a:gd name="connsiteX2801" fmla="*/ 2189 w 10785"/>
                <a:gd name="connsiteY2801" fmla="*/ 8171 h 10000"/>
                <a:gd name="connsiteX2802" fmla="*/ 2161 w 10785"/>
                <a:gd name="connsiteY2802" fmla="*/ 8145 h 10000"/>
                <a:gd name="connsiteX2803" fmla="*/ 2161 w 10785"/>
                <a:gd name="connsiteY2803" fmla="*/ 8137 h 10000"/>
                <a:gd name="connsiteX2804" fmla="*/ 2152 w 10785"/>
                <a:gd name="connsiteY2804" fmla="*/ 8120 h 10000"/>
                <a:gd name="connsiteX2805" fmla="*/ 2138 w 10785"/>
                <a:gd name="connsiteY2805" fmla="*/ 8111 h 10000"/>
                <a:gd name="connsiteX2806" fmla="*/ 2138 w 10785"/>
                <a:gd name="connsiteY2806" fmla="*/ 8094 h 10000"/>
                <a:gd name="connsiteX2807" fmla="*/ 2147 w 10785"/>
                <a:gd name="connsiteY2807" fmla="*/ 8085 h 10000"/>
                <a:gd name="connsiteX2808" fmla="*/ 2161 w 10785"/>
                <a:gd name="connsiteY2808" fmla="*/ 8060 h 10000"/>
                <a:gd name="connsiteX2809" fmla="*/ 2198 w 10785"/>
                <a:gd name="connsiteY2809" fmla="*/ 8034 h 10000"/>
                <a:gd name="connsiteX2810" fmla="*/ 2198 w 10785"/>
                <a:gd name="connsiteY2810" fmla="*/ 8026 h 10000"/>
                <a:gd name="connsiteX2811" fmla="*/ 2198 w 10785"/>
                <a:gd name="connsiteY2811" fmla="*/ 8000 h 10000"/>
                <a:gd name="connsiteX2812" fmla="*/ 2180 w 10785"/>
                <a:gd name="connsiteY2812" fmla="*/ 7940 h 10000"/>
                <a:gd name="connsiteX2813" fmla="*/ 2189 w 10785"/>
                <a:gd name="connsiteY2813" fmla="*/ 7940 h 10000"/>
                <a:gd name="connsiteX2814" fmla="*/ 2198 w 10785"/>
                <a:gd name="connsiteY2814" fmla="*/ 7923 h 10000"/>
                <a:gd name="connsiteX2815" fmla="*/ 2198 w 10785"/>
                <a:gd name="connsiteY2815" fmla="*/ 7897 h 10000"/>
                <a:gd name="connsiteX2816" fmla="*/ 2207 w 10785"/>
                <a:gd name="connsiteY2816" fmla="*/ 7889 h 10000"/>
                <a:gd name="connsiteX2817" fmla="*/ 2221 w 10785"/>
                <a:gd name="connsiteY2817" fmla="*/ 7889 h 10000"/>
                <a:gd name="connsiteX2818" fmla="*/ 2226 w 10785"/>
                <a:gd name="connsiteY2818" fmla="*/ 7897 h 10000"/>
                <a:gd name="connsiteX2819" fmla="*/ 2235 w 10785"/>
                <a:gd name="connsiteY2819" fmla="*/ 7889 h 10000"/>
                <a:gd name="connsiteX2820" fmla="*/ 2249 w 10785"/>
                <a:gd name="connsiteY2820" fmla="*/ 7897 h 10000"/>
                <a:gd name="connsiteX2821" fmla="*/ 2267 w 10785"/>
                <a:gd name="connsiteY2821" fmla="*/ 7897 h 10000"/>
                <a:gd name="connsiteX2822" fmla="*/ 2272 w 10785"/>
                <a:gd name="connsiteY2822" fmla="*/ 7889 h 10000"/>
                <a:gd name="connsiteX2823" fmla="*/ 2281 w 10785"/>
                <a:gd name="connsiteY2823" fmla="*/ 7872 h 10000"/>
                <a:gd name="connsiteX2824" fmla="*/ 2272 w 10785"/>
                <a:gd name="connsiteY2824" fmla="*/ 7846 h 10000"/>
                <a:gd name="connsiteX2825" fmla="*/ 2253 w 10785"/>
                <a:gd name="connsiteY2825" fmla="*/ 7838 h 10000"/>
                <a:gd name="connsiteX2826" fmla="*/ 2221 w 10785"/>
                <a:gd name="connsiteY2826" fmla="*/ 7821 h 10000"/>
                <a:gd name="connsiteX2827" fmla="*/ 2212 w 10785"/>
                <a:gd name="connsiteY2827" fmla="*/ 7812 h 10000"/>
                <a:gd name="connsiteX2828" fmla="*/ 2212 w 10785"/>
                <a:gd name="connsiteY2828" fmla="*/ 7803 h 10000"/>
                <a:gd name="connsiteX2829" fmla="*/ 2221 w 10785"/>
                <a:gd name="connsiteY2829" fmla="*/ 7803 h 10000"/>
                <a:gd name="connsiteX2830" fmla="*/ 2235 w 10785"/>
                <a:gd name="connsiteY2830" fmla="*/ 7786 h 10000"/>
                <a:gd name="connsiteX2831" fmla="*/ 2240 w 10785"/>
                <a:gd name="connsiteY2831" fmla="*/ 7778 h 10000"/>
                <a:gd name="connsiteX2832" fmla="*/ 2226 w 10785"/>
                <a:gd name="connsiteY2832" fmla="*/ 7761 h 10000"/>
                <a:gd name="connsiteX2833" fmla="*/ 2221 w 10785"/>
                <a:gd name="connsiteY2833" fmla="*/ 7778 h 10000"/>
                <a:gd name="connsiteX2834" fmla="*/ 2198 w 10785"/>
                <a:gd name="connsiteY2834" fmla="*/ 7778 h 10000"/>
                <a:gd name="connsiteX2835" fmla="*/ 2198 w 10785"/>
                <a:gd name="connsiteY2835" fmla="*/ 7752 h 10000"/>
                <a:gd name="connsiteX2836" fmla="*/ 2207 w 10785"/>
                <a:gd name="connsiteY2836" fmla="*/ 7735 h 10000"/>
                <a:gd name="connsiteX2837" fmla="*/ 2212 w 10785"/>
                <a:gd name="connsiteY2837" fmla="*/ 7726 h 10000"/>
                <a:gd name="connsiteX2838" fmla="*/ 2198 w 10785"/>
                <a:gd name="connsiteY2838" fmla="*/ 7692 h 10000"/>
                <a:gd name="connsiteX2839" fmla="*/ 2221 w 10785"/>
                <a:gd name="connsiteY2839" fmla="*/ 7692 h 10000"/>
                <a:gd name="connsiteX2840" fmla="*/ 2221 w 10785"/>
                <a:gd name="connsiteY2840" fmla="*/ 7675 h 10000"/>
                <a:gd name="connsiteX2841" fmla="*/ 2235 w 10785"/>
                <a:gd name="connsiteY2841" fmla="*/ 7675 h 10000"/>
                <a:gd name="connsiteX2842" fmla="*/ 2240 w 10785"/>
                <a:gd name="connsiteY2842" fmla="*/ 7692 h 10000"/>
                <a:gd name="connsiteX2843" fmla="*/ 2249 w 10785"/>
                <a:gd name="connsiteY2843" fmla="*/ 7692 h 10000"/>
                <a:gd name="connsiteX2844" fmla="*/ 2258 w 10785"/>
                <a:gd name="connsiteY2844" fmla="*/ 7692 h 10000"/>
                <a:gd name="connsiteX2845" fmla="*/ 2267 w 10785"/>
                <a:gd name="connsiteY2845" fmla="*/ 7692 h 10000"/>
                <a:gd name="connsiteX2846" fmla="*/ 2295 w 10785"/>
                <a:gd name="connsiteY2846" fmla="*/ 7692 h 10000"/>
                <a:gd name="connsiteX2847" fmla="*/ 2300 w 10785"/>
                <a:gd name="connsiteY2847" fmla="*/ 7701 h 10000"/>
                <a:gd name="connsiteX2848" fmla="*/ 2313 w 10785"/>
                <a:gd name="connsiteY2848" fmla="*/ 7675 h 10000"/>
                <a:gd name="connsiteX2849" fmla="*/ 2323 w 10785"/>
                <a:gd name="connsiteY2849" fmla="*/ 7675 h 10000"/>
                <a:gd name="connsiteX2850" fmla="*/ 2341 w 10785"/>
                <a:gd name="connsiteY2850" fmla="*/ 7675 h 10000"/>
                <a:gd name="connsiteX2851" fmla="*/ 2346 w 10785"/>
                <a:gd name="connsiteY2851" fmla="*/ 7667 h 10000"/>
                <a:gd name="connsiteX2852" fmla="*/ 2359 w 10785"/>
                <a:gd name="connsiteY2852" fmla="*/ 7650 h 10000"/>
                <a:gd name="connsiteX2853" fmla="*/ 2373 w 10785"/>
                <a:gd name="connsiteY2853" fmla="*/ 7624 h 10000"/>
                <a:gd name="connsiteX2854" fmla="*/ 2382 w 10785"/>
                <a:gd name="connsiteY2854" fmla="*/ 7641 h 10000"/>
                <a:gd name="connsiteX2855" fmla="*/ 2396 w 10785"/>
                <a:gd name="connsiteY2855" fmla="*/ 7650 h 10000"/>
                <a:gd name="connsiteX2856" fmla="*/ 2401 w 10785"/>
                <a:gd name="connsiteY2856" fmla="*/ 7650 h 10000"/>
                <a:gd name="connsiteX2857" fmla="*/ 2401 w 10785"/>
                <a:gd name="connsiteY2857" fmla="*/ 7624 h 10000"/>
                <a:gd name="connsiteX2858" fmla="*/ 2419 w 10785"/>
                <a:gd name="connsiteY2858" fmla="*/ 7624 h 10000"/>
                <a:gd name="connsiteX2859" fmla="*/ 2433 w 10785"/>
                <a:gd name="connsiteY2859" fmla="*/ 7615 h 10000"/>
                <a:gd name="connsiteX2860" fmla="*/ 2442 w 10785"/>
                <a:gd name="connsiteY2860" fmla="*/ 7615 h 10000"/>
                <a:gd name="connsiteX2861" fmla="*/ 2447 w 10785"/>
                <a:gd name="connsiteY2861" fmla="*/ 7598 h 10000"/>
                <a:gd name="connsiteX2862" fmla="*/ 2461 w 10785"/>
                <a:gd name="connsiteY2862" fmla="*/ 7598 h 10000"/>
                <a:gd name="connsiteX2863" fmla="*/ 2465 w 10785"/>
                <a:gd name="connsiteY2863" fmla="*/ 7615 h 10000"/>
                <a:gd name="connsiteX2864" fmla="*/ 2479 w 10785"/>
                <a:gd name="connsiteY2864" fmla="*/ 7564 h 10000"/>
                <a:gd name="connsiteX2865" fmla="*/ 2488 w 10785"/>
                <a:gd name="connsiteY2865" fmla="*/ 7556 h 10000"/>
                <a:gd name="connsiteX2866" fmla="*/ 2493 w 10785"/>
                <a:gd name="connsiteY2866" fmla="*/ 7556 h 10000"/>
                <a:gd name="connsiteX2867" fmla="*/ 2507 w 10785"/>
                <a:gd name="connsiteY2867" fmla="*/ 7556 h 10000"/>
                <a:gd name="connsiteX2868" fmla="*/ 2530 w 10785"/>
                <a:gd name="connsiteY2868" fmla="*/ 7538 h 10000"/>
                <a:gd name="connsiteX2869" fmla="*/ 2530 w 10785"/>
                <a:gd name="connsiteY2869" fmla="*/ 7556 h 10000"/>
                <a:gd name="connsiteX2870" fmla="*/ 2641 w 10785"/>
                <a:gd name="connsiteY2870" fmla="*/ 7504 h 10000"/>
                <a:gd name="connsiteX2871" fmla="*/ 2654 w 10785"/>
                <a:gd name="connsiteY2871" fmla="*/ 7487 h 10000"/>
                <a:gd name="connsiteX2872" fmla="*/ 2664 w 10785"/>
                <a:gd name="connsiteY2872" fmla="*/ 7487 h 10000"/>
                <a:gd name="connsiteX2873" fmla="*/ 2668 w 10785"/>
                <a:gd name="connsiteY2873" fmla="*/ 7479 h 10000"/>
                <a:gd name="connsiteX2874" fmla="*/ 2673 w 10785"/>
                <a:gd name="connsiteY2874" fmla="*/ 7462 h 10000"/>
                <a:gd name="connsiteX2875" fmla="*/ 2673 w 10785"/>
                <a:gd name="connsiteY2875" fmla="*/ 7427 h 10000"/>
                <a:gd name="connsiteX2876" fmla="*/ 2687 w 10785"/>
                <a:gd name="connsiteY2876" fmla="*/ 7436 h 10000"/>
                <a:gd name="connsiteX2877" fmla="*/ 2696 w 10785"/>
                <a:gd name="connsiteY2877" fmla="*/ 7427 h 10000"/>
                <a:gd name="connsiteX2878" fmla="*/ 2700 w 10785"/>
                <a:gd name="connsiteY2878" fmla="*/ 7419 h 10000"/>
                <a:gd name="connsiteX2879" fmla="*/ 2710 w 10785"/>
                <a:gd name="connsiteY2879" fmla="*/ 7402 h 10000"/>
                <a:gd name="connsiteX2880" fmla="*/ 2724 w 10785"/>
                <a:gd name="connsiteY2880" fmla="*/ 7402 h 10000"/>
                <a:gd name="connsiteX2881" fmla="*/ 2724 w 10785"/>
                <a:gd name="connsiteY2881" fmla="*/ 7393 h 10000"/>
                <a:gd name="connsiteX2882" fmla="*/ 2737 w 10785"/>
                <a:gd name="connsiteY2882" fmla="*/ 7393 h 10000"/>
                <a:gd name="connsiteX2883" fmla="*/ 2742 w 10785"/>
                <a:gd name="connsiteY2883" fmla="*/ 7402 h 10000"/>
                <a:gd name="connsiteX2884" fmla="*/ 2747 w 10785"/>
                <a:gd name="connsiteY2884" fmla="*/ 7402 h 10000"/>
                <a:gd name="connsiteX2885" fmla="*/ 2760 w 10785"/>
                <a:gd name="connsiteY2885" fmla="*/ 7402 h 10000"/>
                <a:gd name="connsiteX2886" fmla="*/ 2770 w 10785"/>
                <a:gd name="connsiteY2886" fmla="*/ 7402 h 10000"/>
                <a:gd name="connsiteX2887" fmla="*/ 2774 w 10785"/>
                <a:gd name="connsiteY2887" fmla="*/ 7402 h 10000"/>
                <a:gd name="connsiteX2888" fmla="*/ 2783 w 10785"/>
                <a:gd name="connsiteY2888" fmla="*/ 7419 h 10000"/>
                <a:gd name="connsiteX2889" fmla="*/ 2802 w 10785"/>
                <a:gd name="connsiteY2889" fmla="*/ 7436 h 10000"/>
                <a:gd name="connsiteX2890" fmla="*/ 2816 w 10785"/>
                <a:gd name="connsiteY2890" fmla="*/ 7419 h 10000"/>
                <a:gd name="connsiteX2891" fmla="*/ 2834 w 10785"/>
                <a:gd name="connsiteY2891" fmla="*/ 7419 h 10000"/>
                <a:gd name="connsiteX2892" fmla="*/ 2843 w 10785"/>
                <a:gd name="connsiteY2892" fmla="*/ 7419 h 10000"/>
                <a:gd name="connsiteX2893" fmla="*/ 2848 w 10785"/>
                <a:gd name="connsiteY2893" fmla="*/ 7436 h 10000"/>
                <a:gd name="connsiteX2894" fmla="*/ 2857 w 10785"/>
                <a:gd name="connsiteY2894" fmla="*/ 7453 h 10000"/>
                <a:gd name="connsiteX2895" fmla="*/ 2857 w 10785"/>
                <a:gd name="connsiteY2895" fmla="*/ 7504 h 10000"/>
                <a:gd name="connsiteX2896" fmla="*/ 2862 w 10785"/>
                <a:gd name="connsiteY2896" fmla="*/ 7530 h 10000"/>
                <a:gd name="connsiteX2897" fmla="*/ 2876 w 10785"/>
                <a:gd name="connsiteY2897" fmla="*/ 7538 h 10000"/>
                <a:gd name="connsiteX2898" fmla="*/ 2871 w 10785"/>
                <a:gd name="connsiteY2898" fmla="*/ 7564 h 10000"/>
                <a:gd name="connsiteX2899" fmla="*/ 2871 w 10785"/>
                <a:gd name="connsiteY2899" fmla="*/ 7598 h 10000"/>
                <a:gd name="connsiteX2900" fmla="*/ 2857 w 10785"/>
                <a:gd name="connsiteY2900" fmla="*/ 7624 h 10000"/>
                <a:gd name="connsiteX2901" fmla="*/ 2862 w 10785"/>
                <a:gd name="connsiteY2901" fmla="*/ 7641 h 10000"/>
                <a:gd name="connsiteX2902" fmla="*/ 2871 w 10785"/>
                <a:gd name="connsiteY2902" fmla="*/ 7667 h 10000"/>
                <a:gd name="connsiteX2903" fmla="*/ 2880 w 10785"/>
                <a:gd name="connsiteY2903" fmla="*/ 7650 h 10000"/>
                <a:gd name="connsiteX2904" fmla="*/ 2894 w 10785"/>
                <a:gd name="connsiteY2904" fmla="*/ 7667 h 10000"/>
                <a:gd name="connsiteX2905" fmla="*/ 2903 w 10785"/>
                <a:gd name="connsiteY2905" fmla="*/ 7667 h 10000"/>
                <a:gd name="connsiteX2906" fmla="*/ 2908 w 10785"/>
                <a:gd name="connsiteY2906" fmla="*/ 7641 h 10000"/>
                <a:gd name="connsiteX2907" fmla="*/ 2917 w 10785"/>
                <a:gd name="connsiteY2907" fmla="*/ 7641 h 10000"/>
                <a:gd name="connsiteX2908" fmla="*/ 2922 w 10785"/>
                <a:gd name="connsiteY2908" fmla="*/ 7641 h 10000"/>
                <a:gd name="connsiteX2909" fmla="*/ 2931 w 10785"/>
                <a:gd name="connsiteY2909" fmla="*/ 7615 h 10000"/>
                <a:gd name="connsiteX2910" fmla="*/ 2935 w 10785"/>
                <a:gd name="connsiteY2910" fmla="*/ 7615 h 10000"/>
                <a:gd name="connsiteX2911" fmla="*/ 2945 w 10785"/>
                <a:gd name="connsiteY2911" fmla="*/ 7650 h 10000"/>
                <a:gd name="connsiteX2912" fmla="*/ 2949 w 10785"/>
                <a:gd name="connsiteY2912" fmla="*/ 7667 h 10000"/>
                <a:gd name="connsiteX2913" fmla="*/ 2949 w 10785"/>
                <a:gd name="connsiteY2913" fmla="*/ 7675 h 10000"/>
                <a:gd name="connsiteX2914" fmla="*/ 2945 w 10785"/>
                <a:gd name="connsiteY2914" fmla="*/ 7692 h 10000"/>
                <a:gd name="connsiteX2915" fmla="*/ 2963 w 10785"/>
                <a:gd name="connsiteY2915" fmla="*/ 7701 h 10000"/>
                <a:gd name="connsiteX2916" fmla="*/ 2963 w 10785"/>
                <a:gd name="connsiteY2916" fmla="*/ 7675 h 10000"/>
                <a:gd name="connsiteX2917" fmla="*/ 2954 w 10785"/>
                <a:gd name="connsiteY2917" fmla="*/ 7667 h 10000"/>
                <a:gd name="connsiteX2918" fmla="*/ 2963 w 10785"/>
                <a:gd name="connsiteY2918" fmla="*/ 7667 h 10000"/>
                <a:gd name="connsiteX2919" fmla="*/ 2982 w 10785"/>
                <a:gd name="connsiteY2919" fmla="*/ 7667 h 10000"/>
                <a:gd name="connsiteX2920" fmla="*/ 2991 w 10785"/>
                <a:gd name="connsiteY2920" fmla="*/ 7675 h 10000"/>
                <a:gd name="connsiteX2921" fmla="*/ 2995 w 10785"/>
                <a:gd name="connsiteY2921" fmla="*/ 7692 h 10000"/>
                <a:gd name="connsiteX2922" fmla="*/ 3009 w 10785"/>
                <a:gd name="connsiteY2922" fmla="*/ 7701 h 10000"/>
                <a:gd name="connsiteX2923" fmla="*/ 3018 w 10785"/>
                <a:gd name="connsiteY2923" fmla="*/ 7701 h 10000"/>
                <a:gd name="connsiteX2924" fmla="*/ 3023 w 10785"/>
                <a:gd name="connsiteY2924" fmla="*/ 7692 h 10000"/>
                <a:gd name="connsiteX2925" fmla="*/ 3028 w 10785"/>
                <a:gd name="connsiteY2925" fmla="*/ 7675 h 10000"/>
                <a:gd name="connsiteX2926" fmla="*/ 3037 w 10785"/>
                <a:gd name="connsiteY2926" fmla="*/ 7692 h 10000"/>
                <a:gd name="connsiteX2927" fmla="*/ 3028 w 10785"/>
                <a:gd name="connsiteY2927" fmla="*/ 7709 h 10000"/>
                <a:gd name="connsiteX2928" fmla="*/ 3023 w 10785"/>
                <a:gd name="connsiteY2928" fmla="*/ 7709 h 10000"/>
                <a:gd name="connsiteX2929" fmla="*/ 3018 w 10785"/>
                <a:gd name="connsiteY2929" fmla="*/ 7726 h 10000"/>
                <a:gd name="connsiteX2930" fmla="*/ 3009 w 10785"/>
                <a:gd name="connsiteY2930" fmla="*/ 7735 h 10000"/>
                <a:gd name="connsiteX2931" fmla="*/ 3009 w 10785"/>
                <a:gd name="connsiteY2931" fmla="*/ 7761 h 10000"/>
                <a:gd name="connsiteX2932" fmla="*/ 3009 w 10785"/>
                <a:gd name="connsiteY2932" fmla="*/ 7778 h 10000"/>
                <a:gd name="connsiteX2933" fmla="*/ 3018 w 10785"/>
                <a:gd name="connsiteY2933" fmla="*/ 7786 h 10000"/>
                <a:gd name="connsiteX2934" fmla="*/ 3023 w 10785"/>
                <a:gd name="connsiteY2934" fmla="*/ 7786 h 10000"/>
                <a:gd name="connsiteX2935" fmla="*/ 3028 w 10785"/>
                <a:gd name="connsiteY2935" fmla="*/ 7778 h 10000"/>
                <a:gd name="connsiteX2936" fmla="*/ 3051 w 10785"/>
                <a:gd name="connsiteY2936" fmla="*/ 7761 h 10000"/>
                <a:gd name="connsiteX2937" fmla="*/ 3055 w 10785"/>
                <a:gd name="connsiteY2937" fmla="*/ 7778 h 10000"/>
                <a:gd name="connsiteX2938" fmla="*/ 3065 w 10785"/>
                <a:gd name="connsiteY2938" fmla="*/ 7761 h 10000"/>
                <a:gd name="connsiteX2939" fmla="*/ 3069 w 10785"/>
                <a:gd name="connsiteY2939" fmla="*/ 7786 h 10000"/>
                <a:gd name="connsiteX2940" fmla="*/ 3083 w 10785"/>
                <a:gd name="connsiteY2940" fmla="*/ 7786 h 10000"/>
                <a:gd name="connsiteX2941" fmla="*/ 3078 w 10785"/>
                <a:gd name="connsiteY2941" fmla="*/ 7761 h 10000"/>
                <a:gd name="connsiteX2942" fmla="*/ 3083 w 10785"/>
                <a:gd name="connsiteY2942" fmla="*/ 7752 h 10000"/>
                <a:gd name="connsiteX2943" fmla="*/ 3097 w 10785"/>
                <a:gd name="connsiteY2943" fmla="*/ 7752 h 10000"/>
                <a:gd name="connsiteX2944" fmla="*/ 3111 w 10785"/>
                <a:gd name="connsiteY2944" fmla="*/ 7726 h 10000"/>
                <a:gd name="connsiteX2945" fmla="*/ 3124 w 10785"/>
                <a:gd name="connsiteY2945" fmla="*/ 7709 h 10000"/>
                <a:gd name="connsiteX2946" fmla="*/ 3143 w 10785"/>
                <a:gd name="connsiteY2946" fmla="*/ 7692 h 10000"/>
                <a:gd name="connsiteX2947" fmla="*/ 3152 w 10785"/>
                <a:gd name="connsiteY2947" fmla="*/ 7667 h 10000"/>
                <a:gd name="connsiteX2948" fmla="*/ 3157 w 10785"/>
                <a:gd name="connsiteY2948" fmla="*/ 7650 h 10000"/>
                <a:gd name="connsiteX2949" fmla="*/ 3161 w 10785"/>
                <a:gd name="connsiteY2949" fmla="*/ 7650 h 10000"/>
                <a:gd name="connsiteX2950" fmla="*/ 3189 w 10785"/>
                <a:gd name="connsiteY2950" fmla="*/ 7641 h 10000"/>
                <a:gd name="connsiteX2951" fmla="*/ 3198 w 10785"/>
                <a:gd name="connsiteY2951" fmla="*/ 7624 h 10000"/>
                <a:gd name="connsiteX2952" fmla="*/ 3217 w 10785"/>
                <a:gd name="connsiteY2952" fmla="*/ 7615 h 10000"/>
                <a:gd name="connsiteX2953" fmla="*/ 3235 w 10785"/>
                <a:gd name="connsiteY2953" fmla="*/ 7598 h 10000"/>
                <a:gd name="connsiteX2954" fmla="*/ 3235 w 10785"/>
                <a:gd name="connsiteY2954" fmla="*/ 7615 h 10000"/>
                <a:gd name="connsiteX2955" fmla="*/ 3235 w 10785"/>
                <a:gd name="connsiteY2955" fmla="*/ 7641 h 10000"/>
                <a:gd name="connsiteX2956" fmla="*/ 3235 w 10785"/>
                <a:gd name="connsiteY2956" fmla="*/ 7650 h 10000"/>
                <a:gd name="connsiteX2957" fmla="*/ 3226 w 10785"/>
                <a:gd name="connsiteY2957" fmla="*/ 7650 h 10000"/>
                <a:gd name="connsiteX2958" fmla="*/ 3217 w 10785"/>
                <a:gd name="connsiteY2958" fmla="*/ 7650 h 10000"/>
                <a:gd name="connsiteX2959" fmla="*/ 3212 w 10785"/>
                <a:gd name="connsiteY2959" fmla="*/ 7675 h 10000"/>
                <a:gd name="connsiteX2960" fmla="*/ 3212 w 10785"/>
                <a:gd name="connsiteY2960"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274 w 10785"/>
                <a:gd name="connsiteY731" fmla="*/ 4822 h 10000"/>
                <a:gd name="connsiteX732" fmla="*/ 10139 w 10785"/>
                <a:gd name="connsiteY732" fmla="*/ 4708 h 10000"/>
                <a:gd name="connsiteX733" fmla="*/ 10233 w 10785"/>
                <a:gd name="connsiteY733" fmla="*/ 4530 h 10000"/>
                <a:gd name="connsiteX734" fmla="*/ 10334 w 10785"/>
                <a:gd name="connsiteY734" fmla="*/ 4810 h 10000"/>
                <a:gd name="connsiteX735" fmla="*/ 10422 w 10785"/>
                <a:gd name="connsiteY735" fmla="*/ 5051 h 10000"/>
                <a:gd name="connsiteX736" fmla="*/ 10691 w 10785"/>
                <a:gd name="connsiteY736" fmla="*/ 5255 h 10000"/>
                <a:gd name="connsiteX737" fmla="*/ 10619 w 10785"/>
                <a:gd name="connsiteY737" fmla="*/ 4708 h 10000"/>
                <a:gd name="connsiteX738" fmla="*/ 10785 w 10785"/>
                <a:gd name="connsiteY738" fmla="*/ 4708 h 10000"/>
                <a:gd name="connsiteX739" fmla="*/ 10689 w 10785"/>
                <a:gd name="connsiteY739" fmla="*/ 4467 h 10000"/>
                <a:gd name="connsiteX740" fmla="*/ 10354 w 10785"/>
                <a:gd name="connsiteY740" fmla="*/ 4302 h 10000"/>
                <a:gd name="connsiteX741" fmla="*/ 9912 w 10785"/>
                <a:gd name="connsiteY741" fmla="*/ 3675 h 10000"/>
                <a:gd name="connsiteX742" fmla="*/ 9903 w 10785"/>
                <a:gd name="connsiteY742" fmla="*/ 3667 h 10000"/>
                <a:gd name="connsiteX743" fmla="*/ 9894 w 10785"/>
                <a:gd name="connsiteY743" fmla="*/ 3641 h 10000"/>
                <a:gd name="connsiteX744" fmla="*/ 9889 w 10785"/>
                <a:gd name="connsiteY744" fmla="*/ 3650 h 10000"/>
                <a:gd name="connsiteX745" fmla="*/ 9848 w 10785"/>
                <a:gd name="connsiteY745" fmla="*/ 3598 h 10000"/>
                <a:gd name="connsiteX746" fmla="*/ 9829 w 10785"/>
                <a:gd name="connsiteY746" fmla="*/ 3581 h 10000"/>
                <a:gd name="connsiteX747" fmla="*/ 9820 w 10785"/>
                <a:gd name="connsiteY747" fmla="*/ 3581 h 10000"/>
                <a:gd name="connsiteX748" fmla="*/ 9793 w 10785"/>
                <a:gd name="connsiteY748" fmla="*/ 3556 h 10000"/>
                <a:gd name="connsiteX749" fmla="*/ 9779 w 10785"/>
                <a:gd name="connsiteY749" fmla="*/ 3556 h 10000"/>
                <a:gd name="connsiteX750" fmla="*/ 9747 w 10785"/>
                <a:gd name="connsiteY750" fmla="*/ 3487 h 10000"/>
                <a:gd name="connsiteX751" fmla="*/ 9668 w 10785"/>
                <a:gd name="connsiteY751" fmla="*/ 3479 h 10000"/>
                <a:gd name="connsiteX752" fmla="*/ 9659 w 10785"/>
                <a:gd name="connsiteY752" fmla="*/ 3487 h 10000"/>
                <a:gd name="connsiteX753" fmla="*/ 9645 w 10785"/>
                <a:gd name="connsiteY753" fmla="*/ 3504 h 10000"/>
                <a:gd name="connsiteX754" fmla="*/ 9631 w 10785"/>
                <a:gd name="connsiteY754" fmla="*/ 3487 h 10000"/>
                <a:gd name="connsiteX755" fmla="*/ 9613 w 10785"/>
                <a:gd name="connsiteY755" fmla="*/ 3479 h 10000"/>
                <a:gd name="connsiteX756" fmla="*/ 9599 w 10785"/>
                <a:gd name="connsiteY756" fmla="*/ 3479 h 10000"/>
                <a:gd name="connsiteX757" fmla="*/ 9571 w 10785"/>
                <a:gd name="connsiteY757" fmla="*/ 3479 h 10000"/>
                <a:gd name="connsiteX758" fmla="*/ 9562 w 10785"/>
                <a:gd name="connsiteY758" fmla="*/ 3487 h 10000"/>
                <a:gd name="connsiteX759" fmla="*/ 9539 w 10785"/>
                <a:gd name="connsiteY759" fmla="*/ 3487 h 10000"/>
                <a:gd name="connsiteX760" fmla="*/ 9507 w 10785"/>
                <a:gd name="connsiteY760" fmla="*/ 3453 h 10000"/>
                <a:gd name="connsiteX761" fmla="*/ 9498 w 10785"/>
                <a:gd name="connsiteY761" fmla="*/ 3453 h 10000"/>
                <a:gd name="connsiteX762" fmla="*/ 9387 w 10785"/>
                <a:gd name="connsiteY762" fmla="*/ 3419 h 10000"/>
                <a:gd name="connsiteX763" fmla="*/ 9373 w 10785"/>
                <a:gd name="connsiteY763" fmla="*/ 3427 h 10000"/>
                <a:gd name="connsiteX764" fmla="*/ 9373 w 10785"/>
                <a:gd name="connsiteY764" fmla="*/ 3462 h 10000"/>
                <a:gd name="connsiteX765" fmla="*/ 9378 w 10785"/>
                <a:gd name="connsiteY765" fmla="*/ 3479 h 10000"/>
                <a:gd name="connsiteX766" fmla="*/ 9378 w 10785"/>
                <a:gd name="connsiteY766" fmla="*/ 3530 h 10000"/>
                <a:gd name="connsiteX767" fmla="*/ 9355 w 10785"/>
                <a:gd name="connsiteY767" fmla="*/ 3538 h 10000"/>
                <a:gd name="connsiteX768" fmla="*/ 9355 w 10785"/>
                <a:gd name="connsiteY768" fmla="*/ 3581 h 10000"/>
                <a:gd name="connsiteX769" fmla="*/ 9387 w 10785"/>
                <a:gd name="connsiteY769" fmla="*/ 3590 h 10000"/>
                <a:gd name="connsiteX770" fmla="*/ 9401 w 10785"/>
                <a:gd name="connsiteY770" fmla="*/ 3667 h 10000"/>
                <a:gd name="connsiteX771" fmla="*/ 9406 w 10785"/>
                <a:gd name="connsiteY771" fmla="*/ 3675 h 10000"/>
                <a:gd name="connsiteX772" fmla="*/ 9406 w 10785"/>
                <a:gd name="connsiteY772" fmla="*/ 3701 h 10000"/>
                <a:gd name="connsiteX773" fmla="*/ 9415 w 10785"/>
                <a:gd name="connsiteY773" fmla="*/ 3752 h 10000"/>
                <a:gd name="connsiteX774" fmla="*/ 9373 w 10785"/>
                <a:gd name="connsiteY774" fmla="*/ 3838 h 10000"/>
                <a:gd name="connsiteX775" fmla="*/ 9355 w 10785"/>
                <a:gd name="connsiteY775" fmla="*/ 3863 h 10000"/>
                <a:gd name="connsiteX776" fmla="*/ 9327 w 10785"/>
                <a:gd name="connsiteY776" fmla="*/ 3863 h 10000"/>
                <a:gd name="connsiteX777" fmla="*/ 9313 w 10785"/>
                <a:gd name="connsiteY777" fmla="*/ 3846 h 10000"/>
                <a:gd name="connsiteX778" fmla="*/ 9300 w 10785"/>
                <a:gd name="connsiteY778" fmla="*/ 3778 h 10000"/>
                <a:gd name="connsiteX779" fmla="*/ 9281 w 10785"/>
                <a:gd name="connsiteY779" fmla="*/ 3752 h 10000"/>
                <a:gd name="connsiteX780" fmla="*/ 9281 w 10785"/>
                <a:gd name="connsiteY780" fmla="*/ 3735 h 10000"/>
                <a:gd name="connsiteX781" fmla="*/ 9267 w 10785"/>
                <a:gd name="connsiteY781" fmla="*/ 3726 h 10000"/>
                <a:gd name="connsiteX782" fmla="*/ 9240 w 10785"/>
                <a:gd name="connsiteY782" fmla="*/ 3726 h 10000"/>
                <a:gd name="connsiteX783" fmla="*/ 9230 w 10785"/>
                <a:gd name="connsiteY783" fmla="*/ 3718 h 10000"/>
                <a:gd name="connsiteX784" fmla="*/ 9226 w 10785"/>
                <a:gd name="connsiteY784" fmla="*/ 3590 h 10000"/>
                <a:gd name="connsiteX785" fmla="*/ 9207 w 10785"/>
                <a:gd name="connsiteY785" fmla="*/ 3581 h 10000"/>
                <a:gd name="connsiteX786" fmla="*/ 9207 w 10785"/>
                <a:gd name="connsiteY786" fmla="*/ 3556 h 10000"/>
                <a:gd name="connsiteX787" fmla="*/ 9217 w 10785"/>
                <a:gd name="connsiteY787" fmla="*/ 3538 h 10000"/>
                <a:gd name="connsiteX788" fmla="*/ 9212 w 10785"/>
                <a:gd name="connsiteY788" fmla="*/ 3538 h 10000"/>
                <a:gd name="connsiteX789" fmla="*/ 9198 w 10785"/>
                <a:gd name="connsiteY789" fmla="*/ 3513 h 10000"/>
                <a:gd name="connsiteX790" fmla="*/ 9194 w 10785"/>
                <a:gd name="connsiteY790" fmla="*/ 3530 h 10000"/>
                <a:gd name="connsiteX791" fmla="*/ 9143 w 10785"/>
                <a:gd name="connsiteY791" fmla="*/ 3615 h 10000"/>
                <a:gd name="connsiteX792" fmla="*/ 9138 w 10785"/>
                <a:gd name="connsiteY792" fmla="*/ 3615 h 10000"/>
                <a:gd name="connsiteX793" fmla="*/ 9134 w 10785"/>
                <a:gd name="connsiteY793" fmla="*/ 3615 h 10000"/>
                <a:gd name="connsiteX794" fmla="*/ 9106 w 10785"/>
                <a:gd name="connsiteY794" fmla="*/ 3615 h 10000"/>
                <a:gd name="connsiteX795" fmla="*/ 9078 w 10785"/>
                <a:gd name="connsiteY795" fmla="*/ 3590 h 10000"/>
                <a:gd name="connsiteX796" fmla="*/ 9037 w 10785"/>
                <a:gd name="connsiteY796" fmla="*/ 3581 h 10000"/>
                <a:gd name="connsiteX797" fmla="*/ 9023 w 10785"/>
                <a:gd name="connsiteY797" fmla="*/ 3590 h 10000"/>
                <a:gd name="connsiteX798" fmla="*/ 9018 w 10785"/>
                <a:gd name="connsiteY798" fmla="*/ 3590 h 10000"/>
                <a:gd name="connsiteX799" fmla="*/ 9018 w 10785"/>
                <a:gd name="connsiteY799" fmla="*/ 3590 h 10000"/>
                <a:gd name="connsiteX800" fmla="*/ 8991 w 10785"/>
                <a:gd name="connsiteY800" fmla="*/ 3590 h 10000"/>
                <a:gd name="connsiteX801" fmla="*/ 8972 w 10785"/>
                <a:gd name="connsiteY801" fmla="*/ 3581 h 10000"/>
                <a:gd name="connsiteX802" fmla="*/ 8959 w 10785"/>
                <a:gd name="connsiteY802" fmla="*/ 3513 h 10000"/>
                <a:gd name="connsiteX803" fmla="*/ 8931 w 10785"/>
                <a:gd name="connsiteY803" fmla="*/ 3538 h 10000"/>
                <a:gd name="connsiteX804" fmla="*/ 8889 w 10785"/>
                <a:gd name="connsiteY804" fmla="*/ 3538 h 10000"/>
                <a:gd name="connsiteX805" fmla="*/ 8871 w 10785"/>
                <a:gd name="connsiteY805" fmla="*/ 3556 h 10000"/>
                <a:gd name="connsiteX806" fmla="*/ 8857 w 10785"/>
                <a:gd name="connsiteY806" fmla="*/ 3538 h 10000"/>
                <a:gd name="connsiteX807" fmla="*/ 8843 w 10785"/>
                <a:gd name="connsiteY807" fmla="*/ 3538 h 10000"/>
                <a:gd name="connsiteX808" fmla="*/ 8839 w 10785"/>
                <a:gd name="connsiteY808" fmla="*/ 3556 h 10000"/>
                <a:gd name="connsiteX809" fmla="*/ 8839 w 10785"/>
                <a:gd name="connsiteY809" fmla="*/ 3581 h 10000"/>
                <a:gd name="connsiteX810" fmla="*/ 8825 w 10785"/>
                <a:gd name="connsiteY810" fmla="*/ 3564 h 10000"/>
                <a:gd name="connsiteX811" fmla="*/ 8825 w 10785"/>
                <a:gd name="connsiteY811" fmla="*/ 3615 h 10000"/>
                <a:gd name="connsiteX812" fmla="*/ 8802 w 10785"/>
                <a:gd name="connsiteY812" fmla="*/ 3598 h 10000"/>
                <a:gd name="connsiteX813" fmla="*/ 8797 w 10785"/>
                <a:gd name="connsiteY813" fmla="*/ 3641 h 10000"/>
                <a:gd name="connsiteX814" fmla="*/ 8783 w 10785"/>
                <a:gd name="connsiteY814" fmla="*/ 3667 h 10000"/>
                <a:gd name="connsiteX815" fmla="*/ 8779 w 10785"/>
                <a:gd name="connsiteY815" fmla="*/ 3650 h 10000"/>
                <a:gd name="connsiteX816" fmla="*/ 8779 w 10785"/>
                <a:gd name="connsiteY816" fmla="*/ 3615 h 10000"/>
                <a:gd name="connsiteX817" fmla="*/ 8770 w 10785"/>
                <a:gd name="connsiteY817" fmla="*/ 3590 h 10000"/>
                <a:gd name="connsiteX818" fmla="*/ 8765 w 10785"/>
                <a:gd name="connsiteY818" fmla="*/ 3598 h 10000"/>
                <a:gd name="connsiteX819" fmla="*/ 8756 w 10785"/>
                <a:gd name="connsiteY819" fmla="*/ 3590 h 10000"/>
                <a:gd name="connsiteX820" fmla="*/ 8737 w 10785"/>
                <a:gd name="connsiteY820" fmla="*/ 3556 h 10000"/>
                <a:gd name="connsiteX821" fmla="*/ 8724 w 10785"/>
                <a:gd name="connsiteY821" fmla="*/ 3538 h 10000"/>
                <a:gd name="connsiteX822" fmla="*/ 8696 w 10785"/>
                <a:gd name="connsiteY822" fmla="*/ 3538 h 10000"/>
                <a:gd name="connsiteX823" fmla="*/ 8691 w 10785"/>
                <a:gd name="connsiteY823" fmla="*/ 3513 h 10000"/>
                <a:gd name="connsiteX824" fmla="*/ 8668 w 10785"/>
                <a:gd name="connsiteY824" fmla="*/ 3504 h 10000"/>
                <a:gd name="connsiteX825" fmla="*/ 8668 w 10785"/>
                <a:gd name="connsiteY825" fmla="*/ 3487 h 10000"/>
                <a:gd name="connsiteX826" fmla="*/ 8691 w 10785"/>
                <a:gd name="connsiteY826" fmla="*/ 3350 h 10000"/>
                <a:gd name="connsiteX827" fmla="*/ 8691 w 10785"/>
                <a:gd name="connsiteY827" fmla="*/ 3291 h 10000"/>
                <a:gd name="connsiteX828" fmla="*/ 8677 w 10785"/>
                <a:gd name="connsiteY828" fmla="*/ 3239 h 10000"/>
                <a:gd name="connsiteX829" fmla="*/ 8677 w 10785"/>
                <a:gd name="connsiteY829" fmla="*/ 3231 h 10000"/>
                <a:gd name="connsiteX830" fmla="*/ 8636 w 10785"/>
                <a:gd name="connsiteY830" fmla="*/ 3128 h 10000"/>
                <a:gd name="connsiteX831" fmla="*/ 8622 w 10785"/>
                <a:gd name="connsiteY831" fmla="*/ 3120 h 10000"/>
                <a:gd name="connsiteX832" fmla="*/ 8618 w 10785"/>
                <a:gd name="connsiteY832" fmla="*/ 3094 h 10000"/>
                <a:gd name="connsiteX833" fmla="*/ 8594 w 10785"/>
                <a:gd name="connsiteY833" fmla="*/ 3077 h 10000"/>
                <a:gd name="connsiteX834" fmla="*/ 8548 w 10785"/>
                <a:gd name="connsiteY834" fmla="*/ 3077 h 10000"/>
                <a:gd name="connsiteX835" fmla="*/ 8535 w 10785"/>
                <a:gd name="connsiteY835" fmla="*/ 3068 h 10000"/>
                <a:gd name="connsiteX836" fmla="*/ 8429 w 10785"/>
                <a:gd name="connsiteY836" fmla="*/ 3077 h 10000"/>
                <a:gd name="connsiteX837" fmla="*/ 8424 w 10785"/>
                <a:gd name="connsiteY837" fmla="*/ 3077 h 10000"/>
                <a:gd name="connsiteX838" fmla="*/ 8396 w 10785"/>
                <a:gd name="connsiteY838" fmla="*/ 3077 h 10000"/>
                <a:gd name="connsiteX839" fmla="*/ 8387 w 10785"/>
                <a:gd name="connsiteY839" fmla="*/ 3094 h 10000"/>
                <a:gd name="connsiteX840" fmla="*/ 8378 w 10785"/>
                <a:gd name="connsiteY840" fmla="*/ 3094 h 10000"/>
                <a:gd name="connsiteX841" fmla="*/ 8341 w 10785"/>
                <a:gd name="connsiteY841" fmla="*/ 3077 h 10000"/>
                <a:gd name="connsiteX842" fmla="*/ 8336 w 10785"/>
                <a:gd name="connsiteY842" fmla="*/ 3077 h 10000"/>
                <a:gd name="connsiteX843" fmla="*/ 8327 w 10785"/>
                <a:gd name="connsiteY843" fmla="*/ 3103 h 10000"/>
                <a:gd name="connsiteX844" fmla="*/ 8309 w 10785"/>
                <a:gd name="connsiteY844" fmla="*/ 3120 h 10000"/>
                <a:gd name="connsiteX845" fmla="*/ 8304 w 10785"/>
                <a:gd name="connsiteY845" fmla="*/ 3103 h 10000"/>
                <a:gd name="connsiteX846" fmla="*/ 8276 w 10785"/>
                <a:gd name="connsiteY846" fmla="*/ 3103 h 10000"/>
                <a:gd name="connsiteX847" fmla="*/ 8267 w 10785"/>
                <a:gd name="connsiteY847" fmla="*/ 3120 h 10000"/>
                <a:gd name="connsiteX848" fmla="*/ 8253 w 10785"/>
                <a:gd name="connsiteY848" fmla="*/ 3103 h 10000"/>
                <a:gd name="connsiteX849" fmla="*/ 8230 w 10785"/>
                <a:gd name="connsiteY849" fmla="*/ 3128 h 10000"/>
                <a:gd name="connsiteX850" fmla="*/ 8217 w 10785"/>
                <a:gd name="connsiteY850" fmla="*/ 3128 h 10000"/>
                <a:gd name="connsiteX851" fmla="*/ 8203 w 10785"/>
                <a:gd name="connsiteY851" fmla="*/ 3154 h 10000"/>
                <a:gd name="connsiteX852" fmla="*/ 8175 w 10785"/>
                <a:gd name="connsiteY852" fmla="*/ 3094 h 10000"/>
                <a:gd name="connsiteX853" fmla="*/ 8161 w 10785"/>
                <a:gd name="connsiteY853" fmla="*/ 3094 h 10000"/>
                <a:gd name="connsiteX854" fmla="*/ 8157 w 10785"/>
                <a:gd name="connsiteY854" fmla="*/ 3077 h 10000"/>
                <a:gd name="connsiteX855" fmla="*/ 8180 w 10785"/>
                <a:gd name="connsiteY855" fmla="*/ 3068 h 10000"/>
                <a:gd name="connsiteX856" fmla="*/ 8189 w 10785"/>
                <a:gd name="connsiteY856" fmla="*/ 3043 h 10000"/>
                <a:gd name="connsiteX857" fmla="*/ 8189 w 10785"/>
                <a:gd name="connsiteY857" fmla="*/ 3017 h 10000"/>
                <a:gd name="connsiteX858" fmla="*/ 8147 w 10785"/>
                <a:gd name="connsiteY858" fmla="*/ 2940 h 10000"/>
                <a:gd name="connsiteX859" fmla="*/ 8143 w 10785"/>
                <a:gd name="connsiteY859" fmla="*/ 2915 h 10000"/>
                <a:gd name="connsiteX860" fmla="*/ 8143 w 10785"/>
                <a:gd name="connsiteY860" fmla="*/ 2906 h 10000"/>
                <a:gd name="connsiteX861" fmla="*/ 8097 w 10785"/>
                <a:gd name="connsiteY861" fmla="*/ 2932 h 10000"/>
                <a:gd name="connsiteX862" fmla="*/ 8083 w 10785"/>
                <a:gd name="connsiteY862" fmla="*/ 2932 h 10000"/>
                <a:gd name="connsiteX863" fmla="*/ 8074 w 10785"/>
                <a:gd name="connsiteY863" fmla="*/ 2906 h 10000"/>
                <a:gd name="connsiteX864" fmla="*/ 8074 w 10785"/>
                <a:gd name="connsiteY864" fmla="*/ 2897 h 10000"/>
                <a:gd name="connsiteX865" fmla="*/ 8055 w 10785"/>
                <a:gd name="connsiteY865" fmla="*/ 2872 h 10000"/>
                <a:gd name="connsiteX866" fmla="*/ 8046 w 10785"/>
                <a:gd name="connsiteY866" fmla="*/ 2829 h 10000"/>
                <a:gd name="connsiteX867" fmla="*/ 8041 w 10785"/>
                <a:gd name="connsiteY867" fmla="*/ 2829 h 10000"/>
                <a:gd name="connsiteX868" fmla="*/ 8023 w 10785"/>
                <a:gd name="connsiteY868" fmla="*/ 2803 h 10000"/>
                <a:gd name="connsiteX869" fmla="*/ 8014 w 10785"/>
                <a:gd name="connsiteY869" fmla="*/ 2829 h 10000"/>
                <a:gd name="connsiteX870" fmla="*/ 8000 w 10785"/>
                <a:gd name="connsiteY870" fmla="*/ 2829 h 10000"/>
                <a:gd name="connsiteX871" fmla="*/ 7995 w 10785"/>
                <a:gd name="connsiteY871" fmla="*/ 2821 h 10000"/>
                <a:gd name="connsiteX872" fmla="*/ 7972 w 10785"/>
                <a:gd name="connsiteY872" fmla="*/ 2803 h 10000"/>
                <a:gd name="connsiteX873" fmla="*/ 7968 w 10785"/>
                <a:gd name="connsiteY873" fmla="*/ 2821 h 10000"/>
                <a:gd name="connsiteX874" fmla="*/ 7968 w 10785"/>
                <a:gd name="connsiteY874" fmla="*/ 2803 h 10000"/>
                <a:gd name="connsiteX875" fmla="*/ 7995 w 10785"/>
                <a:gd name="connsiteY875" fmla="*/ 2735 h 10000"/>
                <a:gd name="connsiteX876" fmla="*/ 8000 w 10785"/>
                <a:gd name="connsiteY876" fmla="*/ 2735 h 10000"/>
                <a:gd name="connsiteX877" fmla="*/ 8014 w 10785"/>
                <a:gd name="connsiteY877" fmla="*/ 2744 h 10000"/>
                <a:gd name="connsiteX878" fmla="*/ 8023 w 10785"/>
                <a:gd name="connsiteY878" fmla="*/ 2769 h 10000"/>
                <a:gd name="connsiteX879" fmla="*/ 8032 w 10785"/>
                <a:gd name="connsiteY879" fmla="*/ 2744 h 10000"/>
                <a:gd name="connsiteX880" fmla="*/ 8032 w 10785"/>
                <a:gd name="connsiteY880" fmla="*/ 2709 h 10000"/>
                <a:gd name="connsiteX881" fmla="*/ 8023 w 10785"/>
                <a:gd name="connsiteY881" fmla="*/ 2632 h 10000"/>
                <a:gd name="connsiteX882" fmla="*/ 7986 w 10785"/>
                <a:gd name="connsiteY882" fmla="*/ 2581 h 10000"/>
                <a:gd name="connsiteX883" fmla="*/ 7968 w 10785"/>
                <a:gd name="connsiteY883" fmla="*/ 2581 h 10000"/>
                <a:gd name="connsiteX884" fmla="*/ 7963 w 10785"/>
                <a:gd name="connsiteY884" fmla="*/ 2556 h 10000"/>
                <a:gd name="connsiteX885" fmla="*/ 7935 w 10785"/>
                <a:gd name="connsiteY885" fmla="*/ 2547 h 10000"/>
                <a:gd name="connsiteX886" fmla="*/ 7912 w 10785"/>
                <a:gd name="connsiteY886" fmla="*/ 2547 h 10000"/>
                <a:gd name="connsiteX887" fmla="*/ 7912 w 10785"/>
                <a:gd name="connsiteY887" fmla="*/ 2556 h 10000"/>
                <a:gd name="connsiteX888" fmla="*/ 7908 w 10785"/>
                <a:gd name="connsiteY888" fmla="*/ 2547 h 10000"/>
                <a:gd name="connsiteX889" fmla="*/ 7862 w 10785"/>
                <a:gd name="connsiteY889" fmla="*/ 2547 h 10000"/>
                <a:gd name="connsiteX890" fmla="*/ 7848 w 10785"/>
                <a:gd name="connsiteY890" fmla="*/ 2556 h 10000"/>
                <a:gd name="connsiteX891" fmla="*/ 7820 w 10785"/>
                <a:gd name="connsiteY891" fmla="*/ 2547 h 10000"/>
                <a:gd name="connsiteX892" fmla="*/ 7806 w 10785"/>
                <a:gd name="connsiteY892" fmla="*/ 2513 h 10000"/>
                <a:gd name="connsiteX893" fmla="*/ 7788 w 10785"/>
                <a:gd name="connsiteY893" fmla="*/ 2513 h 10000"/>
                <a:gd name="connsiteX894" fmla="*/ 7760 w 10785"/>
                <a:gd name="connsiteY894" fmla="*/ 2470 h 10000"/>
                <a:gd name="connsiteX895" fmla="*/ 7751 w 10785"/>
                <a:gd name="connsiteY895" fmla="*/ 2470 h 10000"/>
                <a:gd name="connsiteX896" fmla="*/ 7705 w 10785"/>
                <a:gd name="connsiteY896" fmla="*/ 2462 h 10000"/>
                <a:gd name="connsiteX897" fmla="*/ 7673 w 10785"/>
                <a:gd name="connsiteY897" fmla="*/ 2419 h 10000"/>
                <a:gd name="connsiteX898" fmla="*/ 7627 w 10785"/>
                <a:gd name="connsiteY898" fmla="*/ 2419 h 10000"/>
                <a:gd name="connsiteX899" fmla="*/ 7613 w 10785"/>
                <a:gd name="connsiteY899" fmla="*/ 2410 h 10000"/>
                <a:gd name="connsiteX900" fmla="*/ 7493 w 10785"/>
                <a:gd name="connsiteY900" fmla="*/ 2393 h 10000"/>
                <a:gd name="connsiteX901" fmla="*/ 7479 w 10785"/>
                <a:gd name="connsiteY901" fmla="*/ 2385 h 10000"/>
                <a:gd name="connsiteX902" fmla="*/ 7479 w 10785"/>
                <a:gd name="connsiteY902" fmla="*/ 2376 h 10000"/>
                <a:gd name="connsiteX903" fmla="*/ 7465 w 10785"/>
                <a:gd name="connsiteY903" fmla="*/ 2359 h 10000"/>
                <a:gd name="connsiteX904" fmla="*/ 7447 w 10785"/>
                <a:gd name="connsiteY904" fmla="*/ 2350 h 10000"/>
                <a:gd name="connsiteX905" fmla="*/ 7433 w 10785"/>
                <a:gd name="connsiteY905" fmla="*/ 2376 h 10000"/>
                <a:gd name="connsiteX906" fmla="*/ 7433 w 10785"/>
                <a:gd name="connsiteY906" fmla="*/ 2385 h 10000"/>
                <a:gd name="connsiteX907" fmla="*/ 7447 w 10785"/>
                <a:gd name="connsiteY907" fmla="*/ 2410 h 10000"/>
                <a:gd name="connsiteX908" fmla="*/ 7447 w 10785"/>
                <a:gd name="connsiteY908" fmla="*/ 2436 h 10000"/>
                <a:gd name="connsiteX909" fmla="*/ 7452 w 10785"/>
                <a:gd name="connsiteY909" fmla="*/ 2462 h 10000"/>
                <a:gd name="connsiteX910" fmla="*/ 7447 w 10785"/>
                <a:gd name="connsiteY910" fmla="*/ 2470 h 10000"/>
                <a:gd name="connsiteX911" fmla="*/ 7424 w 10785"/>
                <a:gd name="connsiteY911" fmla="*/ 2513 h 10000"/>
                <a:gd name="connsiteX912" fmla="*/ 7419 w 10785"/>
                <a:gd name="connsiteY912" fmla="*/ 2556 h 10000"/>
                <a:gd name="connsiteX913" fmla="*/ 7406 w 10785"/>
                <a:gd name="connsiteY913" fmla="*/ 2624 h 10000"/>
                <a:gd name="connsiteX914" fmla="*/ 7392 w 10785"/>
                <a:gd name="connsiteY914" fmla="*/ 2624 h 10000"/>
                <a:gd name="connsiteX915" fmla="*/ 7373 w 10785"/>
                <a:gd name="connsiteY915" fmla="*/ 2650 h 10000"/>
                <a:gd name="connsiteX916" fmla="*/ 7364 w 10785"/>
                <a:gd name="connsiteY916" fmla="*/ 2684 h 10000"/>
                <a:gd name="connsiteX917" fmla="*/ 7364 w 10785"/>
                <a:gd name="connsiteY917" fmla="*/ 2692 h 10000"/>
                <a:gd name="connsiteX918" fmla="*/ 7373 w 10785"/>
                <a:gd name="connsiteY918" fmla="*/ 2718 h 10000"/>
                <a:gd name="connsiteX919" fmla="*/ 7373 w 10785"/>
                <a:gd name="connsiteY919" fmla="*/ 2744 h 10000"/>
                <a:gd name="connsiteX920" fmla="*/ 7359 w 10785"/>
                <a:gd name="connsiteY920" fmla="*/ 2744 h 10000"/>
                <a:gd name="connsiteX921" fmla="*/ 7359 w 10785"/>
                <a:gd name="connsiteY921" fmla="*/ 2795 h 10000"/>
                <a:gd name="connsiteX922" fmla="*/ 7364 w 10785"/>
                <a:gd name="connsiteY922" fmla="*/ 2821 h 10000"/>
                <a:gd name="connsiteX923" fmla="*/ 7378 w 10785"/>
                <a:gd name="connsiteY923" fmla="*/ 2846 h 10000"/>
                <a:gd name="connsiteX924" fmla="*/ 7378 w 10785"/>
                <a:gd name="connsiteY924" fmla="*/ 2855 h 10000"/>
                <a:gd name="connsiteX925" fmla="*/ 7378 w 10785"/>
                <a:gd name="connsiteY925" fmla="*/ 2880 h 10000"/>
                <a:gd name="connsiteX926" fmla="*/ 7378 w 10785"/>
                <a:gd name="connsiteY926" fmla="*/ 2906 h 10000"/>
                <a:gd name="connsiteX927" fmla="*/ 7364 w 10785"/>
                <a:gd name="connsiteY927" fmla="*/ 2906 h 10000"/>
                <a:gd name="connsiteX928" fmla="*/ 7346 w 10785"/>
                <a:gd name="connsiteY928" fmla="*/ 2880 h 10000"/>
                <a:gd name="connsiteX929" fmla="*/ 7332 w 10785"/>
                <a:gd name="connsiteY929" fmla="*/ 2915 h 10000"/>
                <a:gd name="connsiteX930" fmla="*/ 7318 w 10785"/>
                <a:gd name="connsiteY930" fmla="*/ 2906 h 10000"/>
                <a:gd name="connsiteX931" fmla="*/ 7313 w 10785"/>
                <a:gd name="connsiteY931" fmla="*/ 2915 h 10000"/>
                <a:gd name="connsiteX932" fmla="*/ 7313 w 10785"/>
                <a:gd name="connsiteY932" fmla="*/ 2906 h 10000"/>
                <a:gd name="connsiteX933" fmla="*/ 7286 w 10785"/>
                <a:gd name="connsiteY933" fmla="*/ 2940 h 10000"/>
                <a:gd name="connsiteX934" fmla="*/ 7276 w 10785"/>
                <a:gd name="connsiteY934" fmla="*/ 2966 h 10000"/>
                <a:gd name="connsiteX935" fmla="*/ 7272 w 10785"/>
                <a:gd name="connsiteY935" fmla="*/ 2983 h 10000"/>
                <a:gd name="connsiteX936" fmla="*/ 7267 w 10785"/>
                <a:gd name="connsiteY936" fmla="*/ 3009 h 10000"/>
                <a:gd name="connsiteX937" fmla="*/ 7253 w 10785"/>
                <a:gd name="connsiteY937" fmla="*/ 3009 h 10000"/>
                <a:gd name="connsiteX938" fmla="*/ 7244 w 10785"/>
                <a:gd name="connsiteY938" fmla="*/ 3017 h 10000"/>
                <a:gd name="connsiteX939" fmla="*/ 7240 w 10785"/>
                <a:gd name="connsiteY939" fmla="*/ 3009 h 10000"/>
                <a:gd name="connsiteX940" fmla="*/ 7230 w 10785"/>
                <a:gd name="connsiteY940" fmla="*/ 2991 h 10000"/>
                <a:gd name="connsiteX941" fmla="*/ 7226 w 10785"/>
                <a:gd name="connsiteY941" fmla="*/ 2983 h 10000"/>
                <a:gd name="connsiteX942" fmla="*/ 7226 w 10785"/>
                <a:gd name="connsiteY942" fmla="*/ 2966 h 10000"/>
                <a:gd name="connsiteX943" fmla="*/ 7212 w 10785"/>
                <a:gd name="connsiteY943" fmla="*/ 2957 h 10000"/>
                <a:gd name="connsiteX944" fmla="*/ 7212 w 10785"/>
                <a:gd name="connsiteY944" fmla="*/ 2932 h 10000"/>
                <a:gd name="connsiteX945" fmla="*/ 7198 w 10785"/>
                <a:gd name="connsiteY945" fmla="*/ 2915 h 10000"/>
                <a:gd name="connsiteX946" fmla="*/ 7194 w 10785"/>
                <a:gd name="connsiteY946" fmla="*/ 2915 h 10000"/>
                <a:gd name="connsiteX947" fmla="*/ 7157 w 10785"/>
                <a:gd name="connsiteY947" fmla="*/ 2880 h 10000"/>
                <a:gd name="connsiteX948" fmla="*/ 7138 w 10785"/>
                <a:gd name="connsiteY948" fmla="*/ 2880 h 10000"/>
                <a:gd name="connsiteX949" fmla="*/ 7120 w 10785"/>
                <a:gd name="connsiteY949" fmla="*/ 2872 h 10000"/>
                <a:gd name="connsiteX950" fmla="*/ 7111 w 10785"/>
                <a:gd name="connsiteY950" fmla="*/ 2846 h 10000"/>
                <a:gd name="connsiteX951" fmla="*/ 7106 w 10785"/>
                <a:gd name="connsiteY951" fmla="*/ 2846 h 10000"/>
                <a:gd name="connsiteX952" fmla="*/ 7092 w 10785"/>
                <a:gd name="connsiteY952" fmla="*/ 2829 h 10000"/>
                <a:gd name="connsiteX953" fmla="*/ 7051 w 10785"/>
                <a:gd name="connsiteY953" fmla="*/ 2829 h 10000"/>
                <a:gd name="connsiteX954" fmla="*/ 7037 w 10785"/>
                <a:gd name="connsiteY954" fmla="*/ 2880 h 10000"/>
                <a:gd name="connsiteX955" fmla="*/ 7037 w 10785"/>
                <a:gd name="connsiteY955" fmla="*/ 2906 h 10000"/>
                <a:gd name="connsiteX956" fmla="*/ 7037 w 10785"/>
                <a:gd name="connsiteY956" fmla="*/ 2932 h 10000"/>
                <a:gd name="connsiteX957" fmla="*/ 7037 w 10785"/>
                <a:gd name="connsiteY957" fmla="*/ 2940 h 10000"/>
                <a:gd name="connsiteX958" fmla="*/ 7023 w 10785"/>
                <a:gd name="connsiteY958" fmla="*/ 2906 h 10000"/>
                <a:gd name="connsiteX959" fmla="*/ 7023 w 10785"/>
                <a:gd name="connsiteY959" fmla="*/ 2915 h 10000"/>
                <a:gd name="connsiteX960" fmla="*/ 6991 w 10785"/>
                <a:gd name="connsiteY960" fmla="*/ 2906 h 10000"/>
                <a:gd name="connsiteX961" fmla="*/ 6977 w 10785"/>
                <a:gd name="connsiteY961" fmla="*/ 2915 h 10000"/>
                <a:gd name="connsiteX962" fmla="*/ 6963 w 10785"/>
                <a:gd name="connsiteY962" fmla="*/ 2915 h 10000"/>
                <a:gd name="connsiteX963" fmla="*/ 6949 w 10785"/>
                <a:gd name="connsiteY963" fmla="*/ 2872 h 10000"/>
                <a:gd name="connsiteX964" fmla="*/ 6935 w 10785"/>
                <a:gd name="connsiteY964" fmla="*/ 2855 h 10000"/>
                <a:gd name="connsiteX965" fmla="*/ 6922 w 10785"/>
                <a:gd name="connsiteY965" fmla="*/ 2803 h 10000"/>
                <a:gd name="connsiteX966" fmla="*/ 6917 w 10785"/>
                <a:gd name="connsiteY966" fmla="*/ 2786 h 10000"/>
                <a:gd name="connsiteX967" fmla="*/ 6903 w 10785"/>
                <a:gd name="connsiteY967" fmla="*/ 2709 h 10000"/>
                <a:gd name="connsiteX968" fmla="*/ 6903 w 10785"/>
                <a:gd name="connsiteY968" fmla="*/ 2692 h 10000"/>
                <a:gd name="connsiteX969" fmla="*/ 6899 w 10785"/>
                <a:gd name="connsiteY969" fmla="*/ 2709 h 10000"/>
                <a:gd name="connsiteX970" fmla="*/ 6857 w 10785"/>
                <a:gd name="connsiteY970" fmla="*/ 2872 h 10000"/>
                <a:gd name="connsiteX971" fmla="*/ 6857 w 10785"/>
                <a:gd name="connsiteY971" fmla="*/ 3009 h 10000"/>
                <a:gd name="connsiteX972" fmla="*/ 6848 w 10785"/>
                <a:gd name="connsiteY972" fmla="*/ 3017 h 10000"/>
                <a:gd name="connsiteX973" fmla="*/ 6839 w 10785"/>
                <a:gd name="connsiteY973" fmla="*/ 3068 h 10000"/>
                <a:gd name="connsiteX974" fmla="*/ 6829 w 10785"/>
                <a:gd name="connsiteY974" fmla="*/ 3077 h 10000"/>
                <a:gd name="connsiteX975" fmla="*/ 6829 w 10785"/>
                <a:gd name="connsiteY975" fmla="*/ 3128 h 10000"/>
                <a:gd name="connsiteX976" fmla="*/ 6816 w 10785"/>
                <a:gd name="connsiteY976" fmla="*/ 3154 h 10000"/>
                <a:gd name="connsiteX977" fmla="*/ 6811 w 10785"/>
                <a:gd name="connsiteY977" fmla="*/ 3179 h 10000"/>
                <a:gd name="connsiteX978" fmla="*/ 6797 w 10785"/>
                <a:gd name="connsiteY978" fmla="*/ 3171 h 10000"/>
                <a:gd name="connsiteX979" fmla="*/ 6783 w 10785"/>
                <a:gd name="connsiteY979" fmla="*/ 3103 h 10000"/>
                <a:gd name="connsiteX980" fmla="*/ 6779 w 10785"/>
                <a:gd name="connsiteY980" fmla="*/ 3094 h 10000"/>
                <a:gd name="connsiteX981" fmla="*/ 6779 w 10785"/>
                <a:gd name="connsiteY981" fmla="*/ 3120 h 10000"/>
                <a:gd name="connsiteX982" fmla="*/ 6770 w 10785"/>
                <a:gd name="connsiteY982" fmla="*/ 3128 h 10000"/>
                <a:gd name="connsiteX983" fmla="*/ 6765 w 10785"/>
                <a:gd name="connsiteY983" fmla="*/ 3103 h 10000"/>
                <a:gd name="connsiteX984" fmla="*/ 6756 w 10785"/>
                <a:gd name="connsiteY984" fmla="*/ 3103 h 10000"/>
                <a:gd name="connsiteX985" fmla="*/ 6742 w 10785"/>
                <a:gd name="connsiteY985" fmla="*/ 3103 h 10000"/>
                <a:gd name="connsiteX986" fmla="*/ 6737 w 10785"/>
                <a:gd name="connsiteY986" fmla="*/ 3077 h 10000"/>
                <a:gd name="connsiteX987" fmla="*/ 6737 w 10785"/>
                <a:gd name="connsiteY987" fmla="*/ 3068 h 10000"/>
                <a:gd name="connsiteX988" fmla="*/ 6728 w 10785"/>
                <a:gd name="connsiteY988" fmla="*/ 3043 h 10000"/>
                <a:gd name="connsiteX989" fmla="*/ 6724 w 10785"/>
                <a:gd name="connsiteY989" fmla="*/ 3051 h 10000"/>
                <a:gd name="connsiteX990" fmla="*/ 6714 w 10785"/>
                <a:gd name="connsiteY990" fmla="*/ 3043 h 10000"/>
                <a:gd name="connsiteX991" fmla="*/ 6710 w 10785"/>
                <a:gd name="connsiteY991" fmla="*/ 3034 h 10000"/>
                <a:gd name="connsiteX992" fmla="*/ 6705 w 10785"/>
                <a:gd name="connsiteY992" fmla="*/ 2983 h 10000"/>
                <a:gd name="connsiteX993" fmla="*/ 6696 w 10785"/>
                <a:gd name="connsiteY993" fmla="*/ 2966 h 10000"/>
                <a:gd name="connsiteX994" fmla="*/ 6691 w 10785"/>
                <a:gd name="connsiteY994" fmla="*/ 2983 h 10000"/>
                <a:gd name="connsiteX995" fmla="*/ 6677 w 10785"/>
                <a:gd name="connsiteY995" fmla="*/ 2897 h 10000"/>
                <a:gd name="connsiteX996" fmla="*/ 6677 w 10785"/>
                <a:gd name="connsiteY996" fmla="*/ 2897 h 10000"/>
                <a:gd name="connsiteX997" fmla="*/ 6677 w 10785"/>
                <a:gd name="connsiteY997" fmla="*/ 2872 h 10000"/>
                <a:gd name="connsiteX998" fmla="*/ 6668 w 10785"/>
                <a:gd name="connsiteY998" fmla="*/ 2821 h 10000"/>
                <a:gd name="connsiteX999" fmla="*/ 6664 w 10785"/>
                <a:gd name="connsiteY999" fmla="*/ 2829 h 10000"/>
                <a:gd name="connsiteX1000" fmla="*/ 6654 w 10785"/>
                <a:gd name="connsiteY1000" fmla="*/ 2846 h 10000"/>
                <a:gd name="connsiteX1001" fmla="*/ 6650 w 10785"/>
                <a:gd name="connsiteY1001" fmla="*/ 2829 h 10000"/>
                <a:gd name="connsiteX1002" fmla="*/ 6650 w 10785"/>
                <a:gd name="connsiteY1002" fmla="*/ 2803 h 10000"/>
                <a:gd name="connsiteX1003" fmla="*/ 6650 w 10785"/>
                <a:gd name="connsiteY1003" fmla="*/ 2795 h 10000"/>
                <a:gd name="connsiteX1004" fmla="*/ 6641 w 10785"/>
                <a:gd name="connsiteY1004" fmla="*/ 2786 h 10000"/>
                <a:gd name="connsiteX1005" fmla="*/ 6636 w 10785"/>
                <a:gd name="connsiteY1005" fmla="*/ 2735 h 10000"/>
                <a:gd name="connsiteX1006" fmla="*/ 6664 w 10785"/>
                <a:gd name="connsiteY1006" fmla="*/ 2667 h 10000"/>
                <a:gd name="connsiteX1007" fmla="*/ 6668 w 10785"/>
                <a:gd name="connsiteY1007" fmla="*/ 2684 h 10000"/>
                <a:gd name="connsiteX1008" fmla="*/ 6677 w 10785"/>
                <a:gd name="connsiteY1008" fmla="*/ 2667 h 10000"/>
                <a:gd name="connsiteX1009" fmla="*/ 6668 w 10785"/>
                <a:gd name="connsiteY1009" fmla="*/ 2667 h 10000"/>
                <a:gd name="connsiteX1010" fmla="*/ 6668 w 10785"/>
                <a:gd name="connsiteY1010" fmla="*/ 2650 h 10000"/>
                <a:gd name="connsiteX1011" fmla="*/ 6682 w 10785"/>
                <a:gd name="connsiteY1011" fmla="*/ 2650 h 10000"/>
                <a:gd name="connsiteX1012" fmla="*/ 6691 w 10785"/>
                <a:gd name="connsiteY1012" fmla="*/ 2624 h 10000"/>
                <a:gd name="connsiteX1013" fmla="*/ 6682 w 10785"/>
                <a:gd name="connsiteY1013" fmla="*/ 2632 h 10000"/>
                <a:gd name="connsiteX1014" fmla="*/ 6682 w 10785"/>
                <a:gd name="connsiteY1014" fmla="*/ 2624 h 10000"/>
                <a:gd name="connsiteX1015" fmla="*/ 6691 w 10785"/>
                <a:gd name="connsiteY1015" fmla="*/ 2607 h 10000"/>
                <a:gd name="connsiteX1016" fmla="*/ 6691 w 10785"/>
                <a:gd name="connsiteY1016" fmla="*/ 2598 h 10000"/>
                <a:gd name="connsiteX1017" fmla="*/ 6691 w 10785"/>
                <a:gd name="connsiteY1017" fmla="*/ 2581 h 10000"/>
                <a:gd name="connsiteX1018" fmla="*/ 6696 w 10785"/>
                <a:gd name="connsiteY1018" fmla="*/ 2530 h 10000"/>
                <a:gd name="connsiteX1019" fmla="*/ 6677 w 10785"/>
                <a:gd name="connsiteY1019" fmla="*/ 2513 h 10000"/>
                <a:gd name="connsiteX1020" fmla="*/ 6677 w 10785"/>
                <a:gd name="connsiteY1020" fmla="*/ 2496 h 10000"/>
                <a:gd name="connsiteX1021" fmla="*/ 6682 w 10785"/>
                <a:gd name="connsiteY1021" fmla="*/ 2470 h 10000"/>
                <a:gd name="connsiteX1022" fmla="*/ 6668 w 10785"/>
                <a:gd name="connsiteY1022" fmla="*/ 2462 h 10000"/>
                <a:gd name="connsiteX1023" fmla="*/ 6677 w 10785"/>
                <a:gd name="connsiteY1023" fmla="*/ 2436 h 10000"/>
                <a:gd name="connsiteX1024" fmla="*/ 6682 w 10785"/>
                <a:gd name="connsiteY1024" fmla="*/ 2419 h 10000"/>
                <a:gd name="connsiteX1025" fmla="*/ 6682 w 10785"/>
                <a:gd name="connsiteY1025" fmla="*/ 2393 h 10000"/>
                <a:gd name="connsiteX1026" fmla="*/ 6682 w 10785"/>
                <a:gd name="connsiteY1026" fmla="*/ 2385 h 10000"/>
                <a:gd name="connsiteX1027" fmla="*/ 6682 w 10785"/>
                <a:gd name="connsiteY1027" fmla="*/ 2385 h 10000"/>
                <a:gd name="connsiteX1028" fmla="*/ 6677 w 10785"/>
                <a:gd name="connsiteY1028" fmla="*/ 2376 h 10000"/>
                <a:gd name="connsiteX1029" fmla="*/ 6682 w 10785"/>
                <a:gd name="connsiteY1029" fmla="*/ 2359 h 10000"/>
                <a:gd name="connsiteX1030" fmla="*/ 6677 w 10785"/>
                <a:gd name="connsiteY1030" fmla="*/ 2333 h 10000"/>
                <a:gd name="connsiteX1031" fmla="*/ 6691 w 10785"/>
                <a:gd name="connsiteY1031" fmla="*/ 2333 h 10000"/>
                <a:gd name="connsiteX1032" fmla="*/ 6691 w 10785"/>
                <a:gd name="connsiteY1032" fmla="*/ 2325 h 10000"/>
                <a:gd name="connsiteX1033" fmla="*/ 6691 w 10785"/>
                <a:gd name="connsiteY1033" fmla="*/ 2308 h 10000"/>
                <a:gd name="connsiteX1034" fmla="*/ 6691 w 10785"/>
                <a:gd name="connsiteY1034" fmla="*/ 2299 h 10000"/>
                <a:gd name="connsiteX1035" fmla="*/ 6691 w 10785"/>
                <a:gd name="connsiteY1035" fmla="*/ 2282 h 10000"/>
                <a:gd name="connsiteX1036" fmla="*/ 6691 w 10785"/>
                <a:gd name="connsiteY1036" fmla="*/ 2274 h 10000"/>
                <a:gd name="connsiteX1037" fmla="*/ 6668 w 10785"/>
                <a:gd name="connsiteY1037" fmla="*/ 2248 h 10000"/>
                <a:gd name="connsiteX1038" fmla="*/ 6664 w 10785"/>
                <a:gd name="connsiteY1038" fmla="*/ 2222 h 10000"/>
                <a:gd name="connsiteX1039" fmla="*/ 6654 w 10785"/>
                <a:gd name="connsiteY1039" fmla="*/ 2214 h 10000"/>
                <a:gd name="connsiteX1040" fmla="*/ 6654 w 10785"/>
                <a:gd name="connsiteY1040" fmla="*/ 2188 h 10000"/>
                <a:gd name="connsiteX1041" fmla="*/ 6622 w 10785"/>
                <a:gd name="connsiteY1041" fmla="*/ 2162 h 10000"/>
                <a:gd name="connsiteX1042" fmla="*/ 6631 w 10785"/>
                <a:gd name="connsiteY1042" fmla="*/ 2145 h 10000"/>
                <a:gd name="connsiteX1043" fmla="*/ 6622 w 10785"/>
                <a:gd name="connsiteY1043" fmla="*/ 2120 h 10000"/>
                <a:gd name="connsiteX1044" fmla="*/ 6608 w 10785"/>
                <a:gd name="connsiteY1044" fmla="*/ 2120 h 10000"/>
                <a:gd name="connsiteX1045" fmla="*/ 6604 w 10785"/>
                <a:gd name="connsiteY1045" fmla="*/ 2111 h 10000"/>
                <a:gd name="connsiteX1046" fmla="*/ 6608 w 10785"/>
                <a:gd name="connsiteY1046" fmla="*/ 2111 h 10000"/>
                <a:gd name="connsiteX1047" fmla="*/ 6604 w 10785"/>
                <a:gd name="connsiteY1047" fmla="*/ 2085 h 10000"/>
                <a:gd name="connsiteX1048" fmla="*/ 6581 w 10785"/>
                <a:gd name="connsiteY1048" fmla="*/ 2077 h 10000"/>
                <a:gd name="connsiteX1049" fmla="*/ 6571 w 10785"/>
                <a:gd name="connsiteY1049" fmla="*/ 2085 h 10000"/>
                <a:gd name="connsiteX1050" fmla="*/ 6548 w 10785"/>
                <a:gd name="connsiteY1050" fmla="*/ 2077 h 10000"/>
                <a:gd name="connsiteX1051" fmla="*/ 6530 w 10785"/>
                <a:gd name="connsiteY1051" fmla="*/ 2060 h 10000"/>
                <a:gd name="connsiteX1052" fmla="*/ 6521 w 10785"/>
                <a:gd name="connsiteY1052" fmla="*/ 2060 h 10000"/>
                <a:gd name="connsiteX1053" fmla="*/ 6521 w 10785"/>
                <a:gd name="connsiteY1053" fmla="*/ 2085 h 10000"/>
                <a:gd name="connsiteX1054" fmla="*/ 6516 w 10785"/>
                <a:gd name="connsiteY1054" fmla="*/ 2085 h 10000"/>
                <a:gd name="connsiteX1055" fmla="*/ 6502 w 10785"/>
                <a:gd name="connsiteY1055" fmla="*/ 2111 h 10000"/>
                <a:gd name="connsiteX1056" fmla="*/ 6498 w 10785"/>
                <a:gd name="connsiteY1056" fmla="*/ 2111 h 10000"/>
                <a:gd name="connsiteX1057" fmla="*/ 6498 w 10785"/>
                <a:gd name="connsiteY1057" fmla="*/ 2103 h 10000"/>
                <a:gd name="connsiteX1058" fmla="*/ 6475 w 10785"/>
                <a:gd name="connsiteY1058" fmla="*/ 2051 h 10000"/>
                <a:gd name="connsiteX1059" fmla="*/ 6470 w 10785"/>
                <a:gd name="connsiteY1059" fmla="*/ 2060 h 10000"/>
                <a:gd name="connsiteX1060" fmla="*/ 6456 w 10785"/>
                <a:gd name="connsiteY1060" fmla="*/ 2051 h 10000"/>
                <a:gd name="connsiteX1061" fmla="*/ 6447 w 10785"/>
                <a:gd name="connsiteY1061" fmla="*/ 2051 h 10000"/>
                <a:gd name="connsiteX1062" fmla="*/ 6433 w 10785"/>
                <a:gd name="connsiteY1062" fmla="*/ 2026 h 10000"/>
                <a:gd name="connsiteX1063" fmla="*/ 6433 w 10785"/>
                <a:gd name="connsiteY1063" fmla="*/ 2034 h 10000"/>
                <a:gd name="connsiteX1064" fmla="*/ 6429 w 10785"/>
                <a:gd name="connsiteY1064" fmla="*/ 2026 h 10000"/>
                <a:gd name="connsiteX1065" fmla="*/ 6424 w 10785"/>
                <a:gd name="connsiteY1065" fmla="*/ 2034 h 10000"/>
                <a:gd name="connsiteX1066" fmla="*/ 6410 w 10785"/>
                <a:gd name="connsiteY1066" fmla="*/ 2026 h 10000"/>
                <a:gd name="connsiteX1067" fmla="*/ 6410 w 10785"/>
                <a:gd name="connsiteY1067" fmla="*/ 1991 h 10000"/>
                <a:gd name="connsiteX1068" fmla="*/ 6401 w 10785"/>
                <a:gd name="connsiteY1068" fmla="*/ 1991 h 10000"/>
                <a:gd name="connsiteX1069" fmla="*/ 6396 w 10785"/>
                <a:gd name="connsiteY1069" fmla="*/ 2000 h 10000"/>
                <a:gd name="connsiteX1070" fmla="*/ 6382 w 10785"/>
                <a:gd name="connsiteY1070" fmla="*/ 1966 h 10000"/>
                <a:gd name="connsiteX1071" fmla="*/ 6373 w 10785"/>
                <a:gd name="connsiteY1071" fmla="*/ 1974 h 10000"/>
                <a:gd name="connsiteX1072" fmla="*/ 6369 w 10785"/>
                <a:gd name="connsiteY1072" fmla="*/ 1966 h 10000"/>
                <a:gd name="connsiteX1073" fmla="*/ 6341 w 10785"/>
                <a:gd name="connsiteY1073" fmla="*/ 1949 h 10000"/>
                <a:gd name="connsiteX1074" fmla="*/ 6327 w 10785"/>
                <a:gd name="connsiteY1074" fmla="*/ 1923 h 10000"/>
                <a:gd name="connsiteX1075" fmla="*/ 6323 w 10785"/>
                <a:gd name="connsiteY1075" fmla="*/ 1923 h 10000"/>
                <a:gd name="connsiteX1076" fmla="*/ 6323 w 10785"/>
                <a:gd name="connsiteY1076" fmla="*/ 1966 h 10000"/>
                <a:gd name="connsiteX1077" fmla="*/ 6323 w 10785"/>
                <a:gd name="connsiteY1077" fmla="*/ 1991 h 10000"/>
                <a:gd name="connsiteX1078" fmla="*/ 6313 w 10785"/>
                <a:gd name="connsiteY1078" fmla="*/ 1991 h 10000"/>
                <a:gd name="connsiteX1079" fmla="*/ 6300 w 10785"/>
                <a:gd name="connsiteY1079" fmla="*/ 1991 h 10000"/>
                <a:gd name="connsiteX1080" fmla="*/ 6290 w 10785"/>
                <a:gd name="connsiteY1080" fmla="*/ 1949 h 10000"/>
                <a:gd name="connsiteX1081" fmla="*/ 6276 w 10785"/>
                <a:gd name="connsiteY1081" fmla="*/ 2103 h 10000"/>
                <a:gd name="connsiteX1082" fmla="*/ 6281 w 10785"/>
                <a:gd name="connsiteY1082" fmla="*/ 2103 h 10000"/>
                <a:gd name="connsiteX1083" fmla="*/ 6276 w 10785"/>
                <a:gd name="connsiteY1083" fmla="*/ 2111 h 10000"/>
                <a:gd name="connsiteX1084" fmla="*/ 6276 w 10785"/>
                <a:gd name="connsiteY1084" fmla="*/ 2120 h 10000"/>
                <a:gd name="connsiteX1085" fmla="*/ 6295 w 10785"/>
                <a:gd name="connsiteY1085" fmla="*/ 2239 h 10000"/>
                <a:gd name="connsiteX1086" fmla="*/ 6290 w 10785"/>
                <a:gd name="connsiteY1086" fmla="*/ 2248 h 10000"/>
                <a:gd name="connsiteX1087" fmla="*/ 6281 w 10785"/>
                <a:gd name="connsiteY1087" fmla="*/ 2274 h 10000"/>
                <a:gd name="connsiteX1088" fmla="*/ 6249 w 10785"/>
                <a:gd name="connsiteY1088" fmla="*/ 2274 h 10000"/>
                <a:gd name="connsiteX1089" fmla="*/ 6226 w 10785"/>
                <a:gd name="connsiteY1089" fmla="*/ 2308 h 10000"/>
                <a:gd name="connsiteX1090" fmla="*/ 6221 w 10785"/>
                <a:gd name="connsiteY1090" fmla="*/ 2299 h 10000"/>
                <a:gd name="connsiteX1091" fmla="*/ 6221 w 10785"/>
                <a:gd name="connsiteY1091" fmla="*/ 2308 h 10000"/>
                <a:gd name="connsiteX1092" fmla="*/ 6217 w 10785"/>
                <a:gd name="connsiteY1092" fmla="*/ 2299 h 10000"/>
                <a:gd name="connsiteX1093" fmla="*/ 6194 w 10785"/>
                <a:gd name="connsiteY1093" fmla="*/ 2308 h 10000"/>
                <a:gd name="connsiteX1094" fmla="*/ 6180 w 10785"/>
                <a:gd name="connsiteY1094" fmla="*/ 2299 h 10000"/>
                <a:gd name="connsiteX1095" fmla="*/ 6143 w 10785"/>
                <a:gd name="connsiteY1095" fmla="*/ 2308 h 10000"/>
                <a:gd name="connsiteX1096" fmla="*/ 6134 w 10785"/>
                <a:gd name="connsiteY1096" fmla="*/ 2325 h 10000"/>
                <a:gd name="connsiteX1097" fmla="*/ 6115 w 10785"/>
                <a:gd name="connsiteY1097" fmla="*/ 2282 h 10000"/>
                <a:gd name="connsiteX1098" fmla="*/ 6069 w 10785"/>
                <a:gd name="connsiteY1098" fmla="*/ 2274 h 10000"/>
                <a:gd name="connsiteX1099" fmla="*/ 6069 w 10785"/>
                <a:gd name="connsiteY1099" fmla="*/ 2282 h 10000"/>
                <a:gd name="connsiteX1100" fmla="*/ 6060 w 10785"/>
                <a:gd name="connsiteY1100" fmla="*/ 2299 h 10000"/>
                <a:gd name="connsiteX1101" fmla="*/ 5972 w 10785"/>
                <a:gd name="connsiteY1101" fmla="*/ 2214 h 10000"/>
                <a:gd name="connsiteX1102" fmla="*/ 5968 w 10785"/>
                <a:gd name="connsiteY1102" fmla="*/ 2197 h 10000"/>
                <a:gd name="connsiteX1103" fmla="*/ 5968 w 10785"/>
                <a:gd name="connsiteY1103" fmla="*/ 2171 h 10000"/>
                <a:gd name="connsiteX1104" fmla="*/ 5968 w 10785"/>
                <a:gd name="connsiteY1104" fmla="*/ 2162 h 10000"/>
                <a:gd name="connsiteX1105" fmla="*/ 5968 w 10785"/>
                <a:gd name="connsiteY1105" fmla="*/ 2120 h 10000"/>
                <a:gd name="connsiteX1106" fmla="*/ 5968 w 10785"/>
                <a:gd name="connsiteY1106" fmla="*/ 2111 h 10000"/>
                <a:gd name="connsiteX1107" fmla="*/ 5972 w 10785"/>
                <a:gd name="connsiteY1107" fmla="*/ 2103 h 10000"/>
                <a:gd name="connsiteX1108" fmla="*/ 5986 w 10785"/>
                <a:gd name="connsiteY1108" fmla="*/ 2103 h 10000"/>
                <a:gd name="connsiteX1109" fmla="*/ 5986 w 10785"/>
                <a:gd name="connsiteY1109" fmla="*/ 2085 h 10000"/>
                <a:gd name="connsiteX1110" fmla="*/ 5995 w 10785"/>
                <a:gd name="connsiteY1110" fmla="*/ 2085 h 10000"/>
                <a:gd name="connsiteX1111" fmla="*/ 5995 w 10785"/>
                <a:gd name="connsiteY1111" fmla="*/ 2077 h 10000"/>
                <a:gd name="connsiteX1112" fmla="*/ 5986 w 10785"/>
                <a:gd name="connsiteY1112" fmla="*/ 2060 h 10000"/>
                <a:gd name="connsiteX1113" fmla="*/ 5954 w 10785"/>
                <a:gd name="connsiteY1113" fmla="*/ 2060 h 10000"/>
                <a:gd name="connsiteX1114" fmla="*/ 5940 w 10785"/>
                <a:gd name="connsiteY1114" fmla="*/ 2051 h 10000"/>
                <a:gd name="connsiteX1115" fmla="*/ 5922 w 10785"/>
                <a:gd name="connsiteY1115" fmla="*/ 2060 h 10000"/>
                <a:gd name="connsiteX1116" fmla="*/ 5885 w 10785"/>
                <a:gd name="connsiteY1116" fmla="*/ 2051 h 10000"/>
                <a:gd name="connsiteX1117" fmla="*/ 5876 w 10785"/>
                <a:gd name="connsiteY1117" fmla="*/ 2026 h 10000"/>
                <a:gd name="connsiteX1118" fmla="*/ 5862 w 10785"/>
                <a:gd name="connsiteY1118" fmla="*/ 2026 h 10000"/>
                <a:gd name="connsiteX1119" fmla="*/ 5848 w 10785"/>
                <a:gd name="connsiteY1119" fmla="*/ 2026 h 10000"/>
                <a:gd name="connsiteX1120" fmla="*/ 5825 w 10785"/>
                <a:gd name="connsiteY1120" fmla="*/ 2026 h 10000"/>
                <a:gd name="connsiteX1121" fmla="*/ 5788 w 10785"/>
                <a:gd name="connsiteY1121" fmla="*/ 1991 h 10000"/>
                <a:gd name="connsiteX1122" fmla="*/ 5760 w 10785"/>
                <a:gd name="connsiteY1122" fmla="*/ 2000 h 10000"/>
                <a:gd name="connsiteX1123" fmla="*/ 5760 w 10785"/>
                <a:gd name="connsiteY1123" fmla="*/ 2026 h 10000"/>
                <a:gd name="connsiteX1124" fmla="*/ 5714 w 10785"/>
                <a:gd name="connsiteY1124" fmla="*/ 2051 h 10000"/>
                <a:gd name="connsiteX1125" fmla="*/ 5687 w 10785"/>
                <a:gd name="connsiteY1125" fmla="*/ 2034 h 10000"/>
                <a:gd name="connsiteX1126" fmla="*/ 5645 w 10785"/>
                <a:gd name="connsiteY1126" fmla="*/ 2077 h 10000"/>
                <a:gd name="connsiteX1127" fmla="*/ 5664 w 10785"/>
                <a:gd name="connsiteY1127" fmla="*/ 2120 h 10000"/>
                <a:gd name="connsiteX1128" fmla="*/ 5664 w 10785"/>
                <a:gd name="connsiteY1128" fmla="*/ 2162 h 10000"/>
                <a:gd name="connsiteX1129" fmla="*/ 5631 w 10785"/>
                <a:gd name="connsiteY1129" fmla="*/ 2197 h 10000"/>
                <a:gd name="connsiteX1130" fmla="*/ 5618 w 10785"/>
                <a:gd name="connsiteY1130" fmla="*/ 2188 h 10000"/>
                <a:gd name="connsiteX1131" fmla="*/ 5618 w 10785"/>
                <a:gd name="connsiteY1131" fmla="*/ 2171 h 10000"/>
                <a:gd name="connsiteX1132" fmla="*/ 5641 w 10785"/>
                <a:gd name="connsiteY1132" fmla="*/ 2171 h 10000"/>
                <a:gd name="connsiteX1133" fmla="*/ 5641 w 10785"/>
                <a:gd name="connsiteY1133" fmla="*/ 2162 h 10000"/>
                <a:gd name="connsiteX1134" fmla="*/ 5627 w 10785"/>
                <a:gd name="connsiteY1134" fmla="*/ 2145 h 10000"/>
                <a:gd name="connsiteX1135" fmla="*/ 5627 w 10785"/>
                <a:gd name="connsiteY1135" fmla="*/ 2120 h 10000"/>
                <a:gd name="connsiteX1136" fmla="*/ 5618 w 10785"/>
                <a:gd name="connsiteY1136" fmla="*/ 2111 h 10000"/>
                <a:gd name="connsiteX1137" fmla="*/ 5631 w 10785"/>
                <a:gd name="connsiteY1137" fmla="*/ 2051 h 10000"/>
                <a:gd name="connsiteX1138" fmla="*/ 5631 w 10785"/>
                <a:gd name="connsiteY1138" fmla="*/ 2026 h 10000"/>
                <a:gd name="connsiteX1139" fmla="*/ 5627 w 10785"/>
                <a:gd name="connsiteY1139" fmla="*/ 1991 h 10000"/>
                <a:gd name="connsiteX1140" fmla="*/ 5618 w 10785"/>
                <a:gd name="connsiteY1140" fmla="*/ 1974 h 10000"/>
                <a:gd name="connsiteX1141" fmla="*/ 5618 w 10785"/>
                <a:gd name="connsiteY1141" fmla="*/ 1940 h 10000"/>
                <a:gd name="connsiteX1142" fmla="*/ 5594 w 10785"/>
                <a:gd name="connsiteY1142" fmla="*/ 1855 h 10000"/>
                <a:gd name="connsiteX1143" fmla="*/ 5599 w 10785"/>
                <a:gd name="connsiteY1143" fmla="*/ 1915 h 10000"/>
                <a:gd name="connsiteX1144" fmla="*/ 5599 w 10785"/>
                <a:gd name="connsiteY1144" fmla="*/ 1949 h 10000"/>
                <a:gd name="connsiteX1145" fmla="*/ 5594 w 10785"/>
                <a:gd name="connsiteY1145" fmla="*/ 1991 h 10000"/>
                <a:gd name="connsiteX1146" fmla="*/ 5571 w 10785"/>
                <a:gd name="connsiteY1146" fmla="*/ 2000 h 10000"/>
                <a:gd name="connsiteX1147" fmla="*/ 5530 w 10785"/>
                <a:gd name="connsiteY1147" fmla="*/ 1991 h 10000"/>
                <a:gd name="connsiteX1148" fmla="*/ 5525 w 10785"/>
                <a:gd name="connsiteY1148" fmla="*/ 2000 h 10000"/>
                <a:gd name="connsiteX1149" fmla="*/ 5521 w 10785"/>
                <a:gd name="connsiteY1149" fmla="*/ 1991 h 10000"/>
                <a:gd name="connsiteX1150" fmla="*/ 5498 w 10785"/>
                <a:gd name="connsiteY1150" fmla="*/ 1949 h 10000"/>
                <a:gd name="connsiteX1151" fmla="*/ 5493 w 10785"/>
                <a:gd name="connsiteY1151" fmla="*/ 1889 h 10000"/>
                <a:gd name="connsiteX1152" fmla="*/ 5493 w 10785"/>
                <a:gd name="connsiteY1152" fmla="*/ 1863 h 10000"/>
                <a:gd name="connsiteX1153" fmla="*/ 5498 w 10785"/>
                <a:gd name="connsiteY1153" fmla="*/ 1889 h 10000"/>
                <a:gd name="connsiteX1154" fmla="*/ 5512 w 10785"/>
                <a:gd name="connsiteY1154" fmla="*/ 1855 h 10000"/>
                <a:gd name="connsiteX1155" fmla="*/ 5512 w 10785"/>
                <a:gd name="connsiteY1155" fmla="*/ 1838 h 10000"/>
                <a:gd name="connsiteX1156" fmla="*/ 5479 w 10785"/>
                <a:gd name="connsiteY1156" fmla="*/ 1855 h 10000"/>
                <a:gd name="connsiteX1157" fmla="*/ 5470 w 10785"/>
                <a:gd name="connsiteY1157" fmla="*/ 1872 h 10000"/>
                <a:gd name="connsiteX1158" fmla="*/ 5470 w 10785"/>
                <a:gd name="connsiteY1158" fmla="*/ 1889 h 10000"/>
                <a:gd name="connsiteX1159" fmla="*/ 5465 w 10785"/>
                <a:gd name="connsiteY1159" fmla="*/ 1897 h 10000"/>
                <a:gd name="connsiteX1160" fmla="*/ 5456 w 10785"/>
                <a:gd name="connsiteY1160" fmla="*/ 1872 h 10000"/>
                <a:gd name="connsiteX1161" fmla="*/ 5447 w 10785"/>
                <a:gd name="connsiteY1161" fmla="*/ 1872 h 10000"/>
                <a:gd name="connsiteX1162" fmla="*/ 5433 w 10785"/>
                <a:gd name="connsiteY1162" fmla="*/ 1855 h 10000"/>
                <a:gd name="connsiteX1163" fmla="*/ 5396 w 10785"/>
                <a:gd name="connsiteY1163" fmla="*/ 1863 h 10000"/>
                <a:gd name="connsiteX1164" fmla="*/ 5396 w 10785"/>
                <a:gd name="connsiteY1164" fmla="*/ 1897 h 10000"/>
                <a:gd name="connsiteX1165" fmla="*/ 5378 w 10785"/>
                <a:gd name="connsiteY1165" fmla="*/ 1949 h 10000"/>
                <a:gd name="connsiteX1166" fmla="*/ 5378 w 10785"/>
                <a:gd name="connsiteY1166" fmla="*/ 1966 h 10000"/>
                <a:gd name="connsiteX1167" fmla="*/ 5392 w 10785"/>
                <a:gd name="connsiteY1167" fmla="*/ 2026 h 10000"/>
                <a:gd name="connsiteX1168" fmla="*/ 5396 w 10785"/>
                <a:gd name="connsiteY1168" fmla="*/ 2026 h 10000"/>
                <a:gd name="connsiteX1169" fmla="*/ 5392 w 10785"/>
                <a:gd name="connsiteY1169" fmla="*/ 2009 h 10000"/>
                <a:gd name="connsiteX1170" fmla="*/ 5392 w 10785"/>
                <a:gd name="connsiteY1170" fmla="*/ 2000 h 10000"/>
                <a:gd name="connsiteX1171" fmla="*/ 5396 w 10785"/>
                <a:gd name="connsiteY1171" fmla="*/ 2009 h 10000"/>
                <a:gd name="connsiteX1172" fmla="*/ 5424 w 10785"/>
                <a:gd name="connsiteY1172" fmla="*/ 2009 h 10000"/>
                <a:gd name="connsiteX1173" fmla="*/ 5433 w 10785"/>
                <a:gd name="connsiteY1173" fmla="*/ 1991 h 10000"/>
                <a:gd name="connsiteX1174" fmla="*/ 5447 w 10785"/>
                <a:gd name="connsiteY1174" fmla="*/ 1974 h 10000"/>
                <a:gd name="connsiteX1175" fmla="*/ 5452 w 10785"/>
                <a:gd name="connsiteY1175" fmla="*/ 1966 h 10000"/>
                <a:gd name="connsiteX1176" fmla="*/ 5456 w 10785"/>
                <a:gd name="connsiteY1176" fmla="*/ 1966 h 10000"/>
                <a:gd name="connsiteX1177" fmla="*/ 5465 w 10785"/>
                <a:gd name="connsiteY1177" fmla="*/ 2009 h 10000"/>
                <a:gd name="connsiteX1178" fmla="*/ 5433 w 10785"/>
                <a:gd name="connsiteY1178" fmla="*/ 2034 h 10000"/>
                <a:gd name="connsiteX1179" fmla="*/ 5424 w 10785"/>
                <a:gd name="connsiteY1179" fmla="*/ 2060 h 10000"/>
                <a:gd name="connsiteX1180" fmla="*/ 5419 w 10785"/>
                <a:gd name="connsiteY1180" fmla="*/ 2060 h 10000"/>
                <a:gd name="connsiteX1181" fmla="*/ 5392 w 10785"/>
                <a:gd name="connsiteY1181" fmla="*/ 2111 h 10000"/>
                <a:gd name="connsiteX1182" fmla="*/ 5378 w 10785"/>
                <a:gd name="connsiteY1182" fmla="*/ 2111 h 10000"/>
                <a:gd name="connsiteX1183" fmla="*/ 5350 w 10785"/>
                <a:gd name="connsiteY1183" fmla="*/ 2060 h 10000"/>
                <a:gd name="connsiteX1184" fmla="*/ 5373 w 10785"/>
                <a:gd name="connsiteY1184" fmla="*/ 2111 h 10000"/>
                <a:gd name="connsiteX1185" fmla="*/ 5364 w 10785"/>
                <a:gd name="connsiteY1185" fmla="*/ 2111 h 10000"/>
                <a:gd name="connsiteX1186" fmla="*/ 5359 w 10785"/>
                <a:gd name="connsiteY1186" fmla="*/ 2103 h 10000"/>
                <a:gd name="connsiteX1187" fmla="*/ 5359 w 10785"/>
                <a:gd name="connsiteY1187" fmla="*/ 2120 h 10000"/>
                <a:gd name="connsiteX1188" fmla="*/ 5359 w 10785"/>
                <a:gd name="connsiteY1188" fmla="*/ 2137 h 10000"/>
                <a:gd name="connsiteX1189" fmla="*/ 5313 w 10785"/>
                <a:gd name="connsiteY1189" fmla="*/ 2162 h 10000"/>
                <a:gd name="connsiteX1190" fmla="*/ 5300 w 10785"/>
                <a:gd name="connsiteY1190" fmla="*/ 2162 h 10000"/>
                <a:gd name="connsiteX1191" fmla="*/ 5300 w 10785"/>
                <a:gd name="connsiteY1191" fmla="*/ 2171 h 10000"/>
                <a:gd name="connsiteX1192" fmla="*/ 5300 w 10785"/>
                <a:gd name="connsiteY1192" fmla="*/ 2197 h 10000"/>
                <a:gd name="connsiteX1193" fmla="*/ 5276 w 10785"/>
                <a:gd name="connsiteY1193" fmla="*/ 2188 h 10000"/>
                <a:gd name="connsiteX1194" fmla="*/ 5249 w 10785"/>
                <a:gd name="connsiteY1194" fmla="*/ 2222 h 10000"/>
                <a:gd name="connsiteX1195" fmla="*/ 5249 w 10785"/>
                <a:gd name="connsiteY1195" fmla="*/ 2222 h 10000"/>
                <a:gd name="connsiteX1196" fmla="*/ 5217 w 10785"/>
                <a:gd name="connsiteY1196" fmla="*/ 2214 h 10000"/>
                <a:gd name="connsiteX1197" fmla="*/ 5203 w 10785"/>
                <a:gd name="connsiteY1197" fmla="*/ 2239 h 10000"/>
                <a:gd name="connsiteX1198" fmla="*/ 5171 w 10785"/>
                <a:gd name="connsiteY1198" fmla="*/ 2214 h 10000"/>
                <a:gd name="connsiteX1199" fmla="*/ 5157 w 10785"/>
                <a:gd name="connsiteY1199" fmla="*/ 2239 h 10000"/>
                <a:gd name="connsiteX1200" fmla="*/ 5166 w 10785"/>
                <a:gd name="connsiteY1200" fmla="*/ 2256 h 10000"/>
                <a:gd name="connsiteX1201" fmla="*/ 5171 w 10785"/>
                <a:gd name="connsiteY1201" fmla="*/ 2308 h 10000"/>
                <a:gd name="connsiteX1202" fmla="*/ 5212 w 10785"/>
                <a:gd name="connsiteY1202" fmla="*/ 2350 h 10000"/>
                <a:gd name="connsiteX1203" fmla="*/ 5203 w 10785"/>
                <a:gd name="connsiteY1203" fmla="*/ 2350 h 10000"/>
                <a:gd name="connsiteX1204" fmla="*/ 5166 w 10785"/>
                <a:gd name="connsiteY1204" fmla="*/ 2325 h 10000"/>
                <a:gd name="connsiteX1205" fmla="*/ 5152 w 10785"/>
                <a:gd name="connsiteY1205" fmla="*/ 2308 h 10000"/>
                <a:gd name="connsiteX1206" fmla="*/ 5143 w 10785"/>
                <a:gd name="connsiteY1206" fmla="*/ 2333 h 10000"/>
                <a:gd name="connsiteX1207" fmla="*/ 5138 w 10785"/>
                <a:gd name="connsiteY1207" fmla="*/ 2333 h 10000"/>
                <a:gd name="connsiteX1208" fmla="*/ 5124 w 10785"/>
                <a:gd name="connsiteY1208" fmla="*/ 2376 h 10000"/>
                <a:gd name="connsiteX1209" fmla="*/ 5115 w 10785"/>
                <a:gd name="connsiteY1209" fmla="*/ 2385 h 10000"/>
                <a:gd name="connsiteX1210" fmla="*/ 5106 w 10785"/>
                <a:gd name="connsiteY1210" fmla="*/ 2385 h 10000"/>
                <a:gd name="connsiteX1211" fmla="*/ 5055 w 10785"/>
                <a:gd name="connsiteY1211" fmla="*/ 2470 h 10000"/>
                <a:gd name="connsiteX1212" fmla="*/ 5065 w 10785"/>
                <a:gd name="connsiteY1212" fmla="*/ 2462 h 10000"/>
                <a:gd name="connsiteX1213" fmla="*/ 5055 w 10785"/>
                <a:gd name="connsiteY1213" fmla="*/ 2444 h 10000"/>
                <a:gd name="connsiteX1214" fmla="*/ 5041 w 10785"/>
                <a:gd name="connsiteY1214" fmla="*/ 2462 h 10000"/>
                <a:gd name="connsiteX1215" fmla="*/ 5037 w 10785"/>
                <a:gd name="connsiteY1215" fmla="*/ 2470 h 10000"/>
                <a:gd name="connsiteX1216" fmla="*/ 5032 w 10785"/>
                <a:gd name="connsiteY1216" fmla="*/ 2470 h 10000"/>
                <a:gd name="connsiteX1217" fmla="*/ 5032 w 10785"/>
                <a:gd name="connsiteY1217" fmla="*/ 2444 h 10000"/>
                <a:gd name="connsiteX1218" fmla="*/ 5055 w 10785"/>
                <a:gd name="connsiteY1218" fmla="*/ 2410 h 10000"/>
                <a:gd name="connsiteX1219" fmla="*/ 5065 w 10785"/>
                <a:gd name="connsiteY1219" fmla="*/ 2393 h 10000"/>
                <a:gd name="connsiteX1220" fmla="*/ 5069 w 10785"/>
                <a:gd name="connsiteY1220" fmla="*/ 2385 h 10000"/>
                <a:gd name="connsiteX1221" fmla="*/ 5083 w 10785"/>
                <a:gd name="connsiteY1221" fmla="*/ 2376 h 10000"/>
                <a:gd name="connsiteX1222" fmla="*/ 5097 w 10785"/>
                <a:gd name="connsiteY1222" fmla="*/ 2376 h 10000"/>
                <a:gd name="connsiteX1223" fmla="*/ 5124 w 10785"/>
                <a:gd name="connsiteY1223" fmla="*/ 2325 h 10000"/>
                <a:gd name="connsiteX1224" fmla="*/ 5143 w 10785"/>
                <a:gd name="connsiteY1224" fmla="*/ 2248 h 10000"/>
                <a:gd name="connsiteX1225" fmla="*/ 5152 w 10785"/>
                <a:gd name="connsiteY1225" fmla="*/ 2239 h 10000"/>
                <a:gd name="connsiteX1226" fmla="*/ 5166 w 10785"/>
                <a:gd name="connsiteY1226" fmla="*/ 2162 h 10000"/>
                <a:gd name="connsiteX1227" fmla="*/ 5171 w 10785"/>
                <a:gd name="connsiteY1227" fmla="*/ 2171 h 10000"/>
                <a:gd name="connsiteX1228" fmla="*/ 5198 w 10785"/>
                <a:gd name="connsiteY1228" fmla="*/ 2145 h 10000"/>
                <a:gd name="connsiteX1229" fmla="*/ 5203 w 10785"/>
                <a:gd name="connsiteY1229" fmla="*/ 2111 h 10000"/>
                <a:gd name="connsiteX1230" fmla="*/ 5217 w 10785"/>
                <a:gd name="connsiteY1230" fmla="*/ 2060 h 10000"/>
                <a:gd name="connsiteX1231" fmla="*/ 5226 w 10785"/>
                <a:gd name="connsiteY1231" fmla="*/ 2026 h 10000"/>
                <a:gd name="connsiteX1232" fmla="*/ 5286 w 10785"/>
                <a:gd name="connsiteY1232" fmla="*/ 2026 h 10000"/>
                <a:gd name="connsiteX1233" fmla="*/ 5290 w 10785"/>
                <a:gd name="connsiteY1233" fmla="*/ 2034 h 10000"/>
                <a:gd name="connsiteX1234" fmla="*/ 5323 w 10785"/>
                <a:gd name="connsiteY1234" fmla="*/ 1923 h 10000"/>
                <a:gd name="connsiteX1235" fmla="*/ 5323 w 10785"/>
                <a:gd name="connsiteY1235" fmla="*/ 1889 h 10000"/>
                <a:gd name="connsiteX1236" fmla="*/ 5359 w 10785"/>
                <a:gd name="connsiteY1236" fmla="*/ 1829 h 10000"/>
                <a:gd name="connsiteX1237" fmla="*/ 5378 w 10785"/>
                <a:gd name="connsiteY1237" fmla="*/ 1812 h 10000"/>
                <a:gd name="connsiteX1238" fmla="*/ 5406 w 10785"/>
                <a:gd name="connsiteY1238" fmla="*/ 1752 h 10000"/>
                <a:gd name="connsiteX1239" fmla="*/ 5410 w 10785"/>
                <a:gd name="connsiteY1239" fmla="*/ 1718 h 10000"/>
                <a:gd name="connsiteX1240" fmla="*/ 5438 w 10785"/>
                <a:gd name="connsiteY1240" fmla="*/ 1667 h 10000"/>
                <a:gd name="connsiteX1241" fmla="*/ 5438 w 10785"/>
                <a:gd name="connsiteY1241" fmla="*/ 1650 h 10000"/>
                <a:gd name="connsiteX1242" fmla="*/ 5438 w 10785"/>
                <a:gd name="connsiteY1242" fmla="*/ 1641 h 10000"/>
                <a:gd name="connsiteX1243" fmla="*/ 5452 w 10785"/>
                <a:gd name="connsiteY1243" fmla="*/ 1641 h 10000"/>
                <a:gd name="connsiteX1244" fmla="*/ 5456 w 10785"/>
                <a:gd name="connsiteY1244" fmla="*/ 1615 h 10000"/>
                <a:gd name="connsiteX1245" fmla="*/ 5456 w 10785"/>
                <a:gd name="connsiteY1245" fmla="*/ 1615 h 10000"/>
                <a:gd name="connsiteX1246" fmla="*/ 5465 w 10785"/>
                <a:gd name="connsiteY1246" fmla="*/ 1598 h 10000"/>
                <a:gd name="connsiteX1247" fmla="*/ 5465 w 10785"/>
                <a:gd name="connsiteY1247" fmla="*/ 1615 h 10000"/>
                <a:gd name="connsiteX1248" fmla="*/ 5479 w 10785"/>
                <a:gd name="connsiteY1248" fmla="*/ 1598 h 10000"/>
                <a:gd name="connsiteX1249" fmla="*/ 5484 w 10785"/>
                <a:gd name="connsiteY1249" fmla="*/ 1581 h 10000"/>
                <a:gd name="connsiteX1250" fmla="*/ 5493 w 10785"/>
                <a:gd name="connsiteY1250" fmla="*/ 1581 h 10000"/>
                <a:gd name="connsiteX1251" fmla="*/ 5512 w 10785"/>
                <a:gd name="connsiteY1251" fmla="*/ 1538 h 10000"/>
                <a:gd name="connsiteX1252" fmla="*/ 5530 w 10785"/>
                <a:gd name="connsiteY1252" fmla="*/ 1564 h 10000"/>
                <a:gd name="connsiteX1253" fmla="*/ 5530 w 10785"/>
                <a:gd name="connsiteY1253" fmla="*/ 1538 h 10000"/>
                <a:gd name="connsiteX1254" fmla="*/ 5539 w 10785"/>
                <a:gd name="connsiteY1254" fmla="*/ 1530 h 10000"/>
                <a:gd name="connsiteX1255" fmla="*/ 5530 w 10785"/>
                <a:gd name="connsiteY1255" fmla="*/ 1504 h 10000"/>
                <a:gd name="connsiteX1256" fmla="*/ 5567 w 10785"/>
                <a:gd name="connsiteY1256" fmla="*/ 1479 h 10000"/>
                <a:gd name="connsiteX1257" fmla="*/ 5553 w 10785"/>
                <a:gd name="connsiteY1257" fmla="*/ 1479 h 10000"/>
                <a:gd name="connsiteX1258" fmla="*/ 5553 w 10785"/>
                <a:gd name="connsiteY1258" fmla="*/ 1453 h 10000"/>
                <a:gd name="connsiteX1259" fmla="*/ 5581 w 10785"/>
                <a:gd name="connsiteY1259" fmla="*/ 1444 h 10000"/>
                <a:gd name="connsiteX1260" fmla="*/ 5581 w 10785"/>
                <a:gd name="connsiteY1260" fmla="*/ 1453 h 10000"/>
                <a:gd name="connsiteX1261" fmla="*/ 5585 w 10785"/>
                <a:gd name="connsiteY1261" fmla="*/ 1444 h 10000"/>
                <a:gd name="connsiteX1262" fmla="*/ 5594 w 10785"/>
                <a:gd name="connsiteY1262" fmla="*/ 1427 h 10000"/>
                <a:gd name="connsiteX1263" fmla="*/ 5599 w 10785"/>
                <a:gd name="connsiteY1263" fmla="*/ 1419 h 10000"/>
                <a:gd name="connsiteX1264" fmla="*/ 5594 w 10785"/>
                <a:gd name="connsiteY1264" fmla="*/ 1402 h 10000"/>
                <a:gd name="connsiteX1265" fmla="*/ 5604 w 10785"/>
                <a:gd name="connsiteY1265" fmla="*/ 1393 h 10000"/>
                <a:gd name="connsiteX1266" fmla="*/ 5618 w 10785"/>
                <a:gd name="connsiteY1266" fmla="*/ 1393 h 10000"/>
                <a:gd name="connsiteX1267" fmla="*/ 5627 w 10785"/>
                <a:gd name="connsiteY1267" fmla="*/ 1368 h 10000"/>
                <a:gd name="connsiteX1268" fmla="*/ 5627 w 10785"/>
                <a:gd name="connsiteY1268" fmla="*/ 1325 h 10000"/>
                <a:gd name="connsiteX1269" fmla="*/ 5645 w 10785"/>
                <a:gd name="connsiteY1269" fmla="*/ 1291 h 10000"/>
                <a:gd name="connsiteX1270" fmla="*/ 5645 w 10785"/>
                <a:gd name="connsiteY1270" fmla="*/ 1282 h 10000"/>
                <a:gd name="connsiteX1271" fmla="*/ 5654 w 10785"/>
                <a:gd name="connsiteY1271" fmla="*/ 1265 h 10000"/>
                <a:gd name="connsiteX1272" fmla="*/ 5654 w 10785"/>
                <a:gd name="connsiteY1272" fmla="*/ 1214 h 10000"/>
                <a:gd name="connsiteX1273" fmla="*/ 5654 w 10785"/>
                <a:gd name="connsiteY1273" fmla="*/ 1214 h 10000"/>
                <a:gd name="connsiteX1274" fmla="*/ 5645 w 10785"/>
                <a:gd name="connsiteY1274" fmla="*/ 1197 h 10000"/>
                <a:gd name="connsiteX1275" fmla="*/ 5659 w 10785"/>
                <a:gd name="connsiteY1275" fmla="*/ 1197 h 10000"/>
                <a:gd name="connsiteX1276" fmla="*/ 5654 w 10785"/>
                <a:gd name="connsiteY1276" fmla="*/ 1154 h 10000"/>
                <a:gd name="connsiteX1277" fmla="*/ 5641 w 10785"/>
                <a:gd name="connsiteY1277" fmla="*/ 1154 h 10000"/>
                <a:gd name="connsiteX1278" fmla="*/ 5627 w 10785"/>
                <a:gd name="connsiteY1278" fmla="*/ 1128 h 10000"/>
                <a:gd name="connsiteX1279" fmla="*/ 5618 w 10785"/>
                <a:gd name="connsiteY1279" fmla="*/ 1094 h 10000"/>
                <a:gd name="connsiteX1280" fmla="*/ 5613 w 10785"/>
                <a:gd name="connsiteY1280" fmla="*/ 1094 h 10000"/>
                <a:gd name="connsiteX1281" fmla="*/ 5604 w 10785"/>
                <a:gd name="connsiteY1281" fmla="*/ 1120 h 10000"/>
                <a:gd name="connsiteX1282" fmla="*/ 5604 w 10785"/>
                <a:gd name="connsiteY1282" fmla="*/ 1128 h 10000"/>
                <a:gd name="connsiteX1283" fmla="*/ 5599 w 10785"/>
                <a:gd name="connsiteY1283" fmla="*/ 1103 h 10000"/>
                <a:gd name="connsiteX1284" fmla="*/ 5599 w 10785"/>
                <a:gd name="connsiteY1284" fmla="*/ 1103 h 10000"/>
                <a:gd name="connsiteX1285" fmla="*/ 5594 w 10785"/>
                <a:gd name="connsiteY1285" fmla="*/ 1068 h 10000"/>
                <a:gd name="connsiteX1286" fmla="*/ 5594 w 10785"/>
                <a:gd name="connsiteY1286" fmla="*/ 1060 h 10000"/>
                <a:gd name="connsiteX1287" fmla="*/ 5581 w 10785"/>
                <a:gd name="connsiteY1287" fmla="*/ 1034 h 10000"/>
                <a:gd name="connsiteX1288" fmla="*/ 5571 w 10785"/>
                <a:gd name="connsiteY1288" fmla="*/ 1009 h 10000"/>
                <a:gd name="connsiteX1289" fmla="*/ 5571 w 10785"/>
                <a:gd name="connsiteY1289" fmla="*/ 991 h 10000"/>
                <a:gd name="connsiteX1290" fmla="*/ 5585 w 10785"/>
                <a:gd name="connsiteY1290" fmla="*/ 1009 h 10000"/>
                <a:gd name="connsiteX1291" fmla="*/ 5604 w 10785"/>
                <a:gd name="connsiteY1291" fmla="*/ 1043 h 10000"/>
                <a:gd name="connsiteX1292" fmla="*/ 5641 w 10785"/>
                <a:gd name="connsiteY1292" fmla="*/ 1094 h 10000"/>
                <a:gd name="connsiteX1293" fmla="*/ 5631 w 10785"/>
                <a:gd name="connsiteY1293" fmla="*/ 1128 h 10000"/>
                <a:gd name="connsiteX1294" fmla="*/ 5641 w 10785"/>
                <a:gd name="connsiteY1294" fmla="*/ 1128 h 10000"/>
                <a:gd name="connsiteX1295" fmla="*/ 5659 w 10785"/>
                <a:gd name="connsiteY1295" fmla="*/ 1017 h 10000"/>
                <a:gd name="connsiteX1296" fmla="*/ 5659 w 10785"/>
                <a:gd name="connsiteY1296" fmla="*/ 983 h 10000"/>
                <a:gd name="connsiteX1297" fmla="*/ 5659 w 10785"/>
                <a:gd name="connsiteY1297" fmla="*/ 957 h 10000"/>
                <a:gd name="connsiteX1298" fmla="*/ 5654 w 10785"/>
                <a:gd name="connsiteY1298" fmla="*/ 966 h 10000"/>
                <a:gd name="connsiteX1299" fmla="*/ 5641 w 10785"/>
                <a:gd name="connsiteY1299" fmla="*/ 957 h 10000"/>
                <a:gd name="connsiteX1300" fmla="*/ 5631 w 10785"/>
                <a:gd name="connsiteY1300" fmla="*/ 897 h 10000"/>
                <a:gd name="connsiteX1301" fmla="*/ 5641 w 10785"/>
                <a:gd name="connsiteY1301" fmla="*/ 872 h 10000"/>
                <a:gd name="connsiteX1302" fmla="*/ 5618 w 10785"/>
                <a:gd name="connsiteY1302" fmla="*/ 803 h 10000"/>
                <a:gd name="connsiteX1303" fmla="*/ 5604 w 10785"/>
                <a:gd name="connsiteY1303" fmla="*/ 821 h 10000"/>
                <a:gd name="connsiteX1304" fmla="*/ 5613 w 10785"/>
                <a:gd name="connsiteY1304" fmla="*/ 846 h 10000"/>
                <a:gd name="connsiteX1305" fmla="*/ 5604 w 10785"/>
                <a:gd name="connsiteY1305" fmla="*/ 855 h 10000"/>
                <a:gd name="connsiteX1306" fmla="*/ 5599 w 10785"/>
                <a:gd name="connsiteY1306" fmla="*/ 880 h 10000"/>
                <a:gd name="connsiteX1307" fmla="*/ 5594 w 10785"/>
                <a:gd name="connsiteY1307" fmla="*/ 880 h 10000"/>
                <a:gd name="connsiteX1308" fmla="*/ 5585 w 10785"/>
                <a:gd name="connsiteY1308" fmla="*/ 829 h 10000"/>
                <a:gd name="connsiteX1309" fmla="*/ 5571 w 10785"/>
                <a:gd name="connsiteY1309" fmla="*/ 803 h 10000"/>
                <a:gd name="connsiteX1310" fmla="*/ 5585 w 10785"/>
                <a:gd name="connsiteY1310" fmla="*/ 795 h 10000"/>
                <a:gd name="connsiteX1311" fmla="*/ 5585 w 10785"/>
                <a:gd name="connsiteY1311" fmla="*/ 761 h 10000"/>
                <a:gd name="connsiteX1312" fmla="*/ 5558 w 10785"/>
                <a:gd name="connsiteY1312" fmla="*/ 709 h 10000"/>
                <a:gd name="connsiteX1313" fmla="*/ 5544 w 10785"/>
                <a:gd name="connsiteY1313" fmla="*/ 709 h 10000"/>
                <a:gd name="connsiteX1314" fmla="*/ 5544 w 10785"/>
                <a:gd name="connsiteY1314" fmla="*/ 684 h 10000"/>
                <a:gd name="connsiteX1315" fmla="*/ 5525 w 10785"/>
                <a:gd name="connsiteY1315" fmla="*/ 632 h 10000"/>
                <a:gd name="connsiteX1316" fmla="*/ 5507 w 10785"/>
                <a:gd name="connsiteY1316" fmla="*/ 607 h 10000"/>
                <a:gd name="connsiteX1317" fmla="*/ 5512 w 10785"/>
                <a:gd name="connsiteY1317" fmla="*/ 598 h 10000"/>
                <a:gd name="connsiteX1318" fmla="*/ 5507 w 10785"/>
                <a:gd name="connsiteY1318" fmla="*/ 581 h 10000"/>
                <a:gd name="connsiteX1319" fmla="*/ 5493 w 10785"/>
                <a:gd name="connsiteY1319" fmla="*/ 573 h 10000"/>
                <a:gd name="connsiteX1320" fmla="*/ 5484 w 10785"/>
                <a:gd name="connsiteY1320" fmla="*/ 581 h 10000"/>
                <a:gd name="connsiteX1321" fmla="*/ 5484 w 10785"/>
                <a:gd name="connsiteY1321" fmla="*/ 573 h 10000"/>
                <a:gd name="connsiteX1322" fmla="*/ 5484 w 10785"/>
                <a:gd name="connsiteY1322" fmla="*/ 547 h 10000"/>
                <a:gd name="connsiteX1323" fmla="*/ 5465 w 10785"/>
                <a:gd name="connsiteY1323" fmla="*/ 556 h 10000"/>
                <a:gd name="connsiteX1324" fmla="*/ 5433 w 10785"/>
                <a:gd name="connsiteY1324" fmla="*/ 547 h 10000"/>
                <a:gd name="connsiteX1325" fmla="*/ 5410 w 10785"/>
                <a:gd name="connsiteY1325" fmla="*/ 573 h 10000"/>
                <a:gd name="connsiteX1326" fmla="*/ 5406 w 10785"/>
                <a:gd name="connsiteY1326" fmla="*/ 573 h 10000"/>
                <a:gd name="connsiteX1327" fmla="*/ 5392 w 10785"/>
                <a:gd name="connsiteY1327" fmla="*/ 573 h 10000"/>
                <a:gd name="connsiteX1328" fmla="*/ 5364 w 10785"/>
                <a:gd name="connsiteY1328" fmla="*/ 530 h 10000"/>
                <a:gd name="connsiteX1329" fmla="*/ 5350 w 10785"/>
                <a:gd name="connsiteY1329" fmla="*/ 556 h 10000"/>
                <a:gd name="connsiteX1330" fmla="*/ 5346 w 10785"/>
                <a:gd name="connsiteY1330" fmla="*/ 556 h 10000"/>
                <a:gd name="connsiteX1331" fmla="*/ 5313 w 10785"/>
                <a:gd name="connsiteY1331" fmla="*/ 573 h 10000"/>
                <a:gd name="connsiteX1332" fmla="*/ 5304 w 10785"/>
                <a:gd name="connsiteY1332" fmla="*/ 556 h 10000"/>
                <a:gd name="connsiteX1333" fmla="*/ 5290 w 10785"/>
                <a:gd name="connsiteY1333" fmla="*/ 573 h 10000"/>
                <a:gd name="connsiteX1334" fmla="*/ 5290 w 10785"/>
                <a:gd name="connsiteY1334" fmla="*/ 556 h 10000"/>
                <a:gd name="connsiteX1335" fmla="*/ 5300 w 10785"/>
                <a:gd name="connsiteY1335" fmla="*/ 547 h 10000"/>
                <a:gd name="connsiteX1336" fmla="*/ 5300 w 10785"/>
                <a:gd name="connsiteY1336" fmla="*/ 530 h 10000"/>
                <a:gd name="connsiteX1337" fmla="*/ 5290 w 10785"/>
                <a:gd name="connsiteY1337" fmla="*/ 530 h 10000"/>
                <a:gd name="connsiteX1338" fmla="*/ 5286 w 10785"/>
                <a:gd name="connsiteY1338" fmla="*/ 547 h 10000"/>
                <a:gd name="connsiteX1339" fmla="*/ 5272 w 10785"/>
                <a:gd name="connsiteY1339" fmla="*/ 556 h 10000"/>
                <a:gd name="connsiteX1340" fmla="*/ 5272 w 10785"/>
                <a:gd name="connsiteY1340" fmla="*/ 598 h 10000"/>
                <a:gd name="connsiteX1341" fmla="*/ 5276 w 10785"/>
                <a:gd name="connsiteY1341" fmla="*/ 581 h 10000"/>
                <a:gd name="connsiteX1342" fmla="*/ 5272 w 10785"/>
                <a:gd name="connsiteY1342" fmla="*/ 607 h 10000"/>
                <a:gd name="connsiteX1343" fmla="*/ 5263 w 10785"/>
                <a:gd name="connsiteY1343" fmla="*/ 607 h 10000"/>
                <a:gd name="connsiteX1344" fmla="*/ 5263 w 10785"/>
                <a:gd name="connsiteY1344" fmla="*/ 632 h 10000"/>
                <a:gd name="connsiteX1345" fmla="*/ 5258 w 10785"/>
                <a:gd name="connsiteY1345" fmla="*/ 658 h 10000"/>
                <a:gd name="connsiteX1346" fmla="*/ 5244 w 10785"/>
                <a:gd name="connsiteY1346" fmla="*/ 667 h 10000"/>
                <a:gd name="connsiteX1347" fmla="*/ 5240 w 10785"/>
                <a:gd name="connsiteY1347" fmla="*/ 658 h 10000"/>
                <a:gd name="connsiteX1348" fmla="*/ 5240 w 10785"/>
                <a:gd name="connsiteY1348" fmla="*/ 684 h 10000"/>
                <a:gd name="connsiteX1349" fmla="*/ 5212 w 10785"/>
                <a:gd name="connsiteY1349" fmla="*/ 684 h 10000"/>
                <a:gd name="connsiteX1350" fmla="*/ 5198 w 10785"/>
                <a:gd name="connsiteY1350" fmla="*/ 692 h 10000"/>
                <a:gd name="connsiteX1351" fmla="*/ 5184 w 10785"/>
                <a:gd name="connsiteY1351" fmla="*/ 684 h 10000"/>
                <a:gd name="connsiteX1352" fmla="*/ 5157 w 10785"/>
                <a:gd name="connsiteY1352" fmla="*/ 684 h 10000"/>
                <a:gd name="connsiteX1353" fmla="*/ 5157 w 10785"/>
                <a:gd name="connsiteY1353" fmla="*/ 667 h 10000"/>
                <a:gd name="connsiteX1354" fmla="*/ 5157 w 10785"/>
                <a:gd name="connsiteY1354" fmla="*/ 667 h 10000"/>
                <a:gd name="connsiteX1355" fmla="*/ 5180 w 10785"/>
                <a:gd name="connsiteY1355" fmla="*/ 650 h 10000"/>
                <a:gd name="connsiteX1356" fmla="*/ 5184 w 10785"/>
                <a:gd name="connsiteY1356" fmla="*/ 658 h 10000"/>
                <a:gd name="connsiteX1357" fmla="*/ 5203 w 10785"/>
                <a:gd name="connsiteY1357" fmla="*/ 547 h 10000"/>
                <a:gd name="connsiteX1358" fmla="*/ 5226 w 10785"/>
                <a:gd name="connsiteY1358" fmla="*/ 530 h 10000"/>
                <a:gd name="connsiteX1359" fmla="*/ 5230 w 10785"/>
                <a:gd name="connsiteY1359" fmla="*/ 487 h 10000"/>
                <a:gd name="connsiteX1360" fmla="*/ 5230 w 10785"/>
                <a:gd name="connsiteY1360" fmla="*/ 487 h 10000"/>
                <a:gd name="connsiteX1361" fmla="*/ 5226 w 10785"/>
                <a:gd name="connsiteY1361" fmla="*/ 462 h 10000"/>
                <a:gd name="connsiteX1362" fmla="*/ 5226 w 10785"/>
                <a:gd name="connsiteY1362" fmla="*/ 462 h 10000"/>
                <a:gd name="connsiteX1363" fmla="*/ 5240 w 10785"/>
                <a:gd name="connsiteY1363" fmla="*/ 462 h 10000"/>
                <a:gd name="connsiteX1364" fmla="*/ 5240 w 10785"/>
                <a:gd name="connsiteY1364" fmla="*/ 444 h 10000"/>
                <a:gd name="connsiteX1365" fmla="*/ 5230 w 10785"/>
                <a:gd name="connsiteY1365" fmla="*/ 436 h 10000"/>
                <a:gd name="connsiteX1366" fmla="*/ 5230 w 10785"/>
                <a:gd name="connsiteY1366" fmla="*/ 419 h 10000"/>
                <a:gd name="connsiteX1367" fmla="*/ 5230 w 10785"/>
                <a:gd name="connsiteY1367" fmla="*/ 410 h 10000"/>
                <a:gd name="connsiteX1368" fmla="*/ 5198 w 10785"/>
                <a:gd name="connsiteY1368" fmla="*/ 402 h 10000"/>
                <a:gd name="connsiteX1369" fmla="*/ 5189 w 10785"/>
                <a:gd name="connsiteY1369" fmla="*/ 402 h 10000"/>
                <a:gd name="connsiteX1370" fmla="*/ 5184 w 10785"/>
                <a:gd name="connsiteY1370" fmla="*/ 376 h 10000"/>
                <a:gd name="connsiteX1371" fmla="*/ 5180 w 10785"/>
                <a:gd name="connsiteY1371" fmla="*/ 376 h 10000"/>
                <a:gd name="connsiteX1372" fmla="*/ 5166 w 10785"/>
                <a:gd name="connsiteY1372" fmla="*/ 376 h 10000"/>
                <a:gd name="connsiteX1373" fmla="*/ 5157 w 10785"/>
                <a:gd name="connsiteY1373" fmla="*/ 385 h 10000"/>
                <a:gd name="connsiteX1374" fmla="*/ 5152 w 10785"/>
                <a:gd name="connsiteY1374" fmla="*/ 376 h 10000"/>
                <a:gd name="connsiteX1375" fmla="*/ 5129 w 10785"/>
                <a:gd name="connsiteY1375" fmla="*/ 385 h 10000"/>
                <a:gd name="connsiteX1376" fmla="*/ 5129 w 10785"/>
                <a:gd name="connsiteY1376" fmla="*/ 350 h 10000"/>
                <a:gd name="connsiteX1377" fmla="*/ 5129 w 10785"/>
                <a:gd name="connsiteY1377" fmla="*/ 325 h 10000"/>
                <a:gd name="connsiteX1378" fmla="*/ 5124 w 10785"/>
                <a:gd name="connsiteY1378" fmla="*/ 359 h 10000"/>
                <a:gd name="connsiteX1379" fmla="*/ 5106 w 10785"/>
                <a:gd name="connsiteY1379" fmla="*/ 359 h 10000"/>
                <a:gd name="connsiteX1380" fmla="*/ 5037 w 10785"/>
                <a:gd name="connsiteY1380" fmla="*/ 419 h 10000"/>
                <a:gd name="connsiteX1381" fmla="*/ 5051 w 10785"/>
                <a:gd name="connsiteY1381" fmla="*/ 385 h 10000"/>
                <a:gd name="connsiteX1382" fmla="*/ 5055 w 10785"/>
                <a:gd name="connsiteY1382" fmla="*/ 376 h 10000"/>
                <a:gd name="connsiteX1383" fmla="*/ 5092 w 10785"/>
                <a:gd name="connsiteY1383" fmla="*/ 282 h 10000"/>
                <a:gd name="connsiteX1384" fmla="*/ 5106 w 10785"/>
                <a:gd name="connsiteY1384" fmla="*/ 265 h 10000"/>
                <a:gd name="connsiteX1385" fmla="*/ 5115 w 10785"/>
                <a:gd name="connsiteY1385" fmla="*/ 265 h 10000"/>
                <a:gd name="connsiteX1386" fmla="*/ 5124 w 10785"/>
                <a:gd name="connsiteY1386" fmla="*/ 222 h 10000"/>
                <a:gd name="connsiteX1387" fmla="*/ 5124 w 10785"/>
                <a:gd name="connsiteY1387" fmla="*/ 214 h 10000"/>
                <a:gd name="connsiteX1388" fmla="*/ 5143 w 10785"/>
                <a:gd name="connsiteY1388" fmla="*/ 197 h 10000"/>
                <a:gd name="connsiteX1389" fmla="*/ 5152 w 10785"/>
                <a:gd name="connsiteY1389" fmla="*/ 214 h 10000"/>
                <a:gd name="connsiteX1390" fmla="*/ 5143 w 10785"/>
                <a:gd name="connsiteY1390" fmla="*/ 188 h 10000"/>
                <a:gd name="connsiteX1391" fmla="*/ 5129 w 10785"/>
                <a:gd name="connsiteY1391" fmla="*/ 103 h 10000"/>
                <a:gd name="connsiteX1392" fmla="*/ 5115 w 10785"/>
                <a:gd name="connsiteY1392" fmla="*/ 85 h 10000"/>
                <a:gd name="connsiteX1393" fmla="*/ 5111 w 10785"/>
                <a:gd name="connsiteY1393" fmla="*/ 111 h 10000"/>
                <a:gd name="connsiteX1394" fmla="*/ 5092 w 10785"/>
                <a:gd name="connsiteY1394" fmla="*/ 103 h 10000"/>
                <a:gd name="connsiteX1395" fmla="*/ 5069 w 10785"/>
                <a:gd name="connsiteY1395" fmla="*/ 77 h 10000"/>
                <a:gd name="connsiteX1396" fmla="*/ 5051 w 10785"/>
                <a:gd name="connsiteY1396" fmla="*/ 26 h 10000"/>
                <a:gd name="connsiteX1397" fmla="*/ 5041 w 10785"/>
                <a:gd name="connsiteY1397" fmla="*/ 34 h 10000"/>
                <a:gd name="connsiteX1398" fmla="*/ 5037 w 10785"/>
                <a:gd name="connsiteY1398" fmla="*/ 34 h 10000"/>
                <a:gd name="connsiteX1399" fmla="*/ 5037 w 10785"/>
                <a:gd name="connsiteY1399" fmla="*/ 26 h 10000"/>
                <a:gd name="connsiteX1400" fmla="*/ 5037 w 10785"/>
                <a:gd name="connsiteY1400" fmla="*/ 9 h 10000"/>
                <a:gd name="connsiteX1401" fmla="*/ 5023 w 10785"/>
                <a:gd name="connsiteY1401" fmla="*/ 0 h 10000"/>
                <a:gd name="connsiteX1402" fmla="*/ 5009 w 10785"/>
                <a:gd name="connsiteY1402" fmla="*/ 9 h 10000"/>
                <a:gd name="connsiteX1403" fmla="*/ 4995 w 10785"/>
                <a:gd name="connsiteY1403" fmla="*/ 34 h 10000"/>
                <a:gd name="connsiteX1404" fmla="*/ 4991 w 10785"/>
                <a:gd name="connsiteY1404" fmla="*/ 60 h 10000"/>
                <a:gd name="connsiteX1405" fmla="*/ 4982 w 10785"/>
                <a:gd name="connsiteY1405" fmla="*/ 60 h 10000"/>
                <a:gd name="connsiteX1406" fmla="*/ 4949 w 10785"/>
                <a:gd name="connsiteY1406" fmla="*/ 51 h 10000"/>
                <a:gd name="connsiteX1407" fmla="*/ 4949 w 10785"/>
                <a:gd name="connsiteY1407" fmla="*/ 85 h 10000"/>
                <a:gd name="connsiteX1408" fmla="*/ 4903 w 10785"/>
                <a:gd name="connsiteY1408" fmla="*/ 197 h 10000"/>
                <a:gd name="connsiteX1409" fmla="*/ 4899 w 10785"/>
                <a:gd name="connsiteY1409" fmla="*/ 239 h 10000"/>
                <a:gd name="connsiteX1410" fmla="*/ 4871 w 10785"/>
                <a:gd name="connsiteY1410" fmla="*/ 274 h 10000"/>
                <a:gd name="connsiteX1411" fmla="*/ 4871 w 10785"/>
                <a:gd name="connsiteY1411" fmla="*/ 282 h 10000"/>
                <a:gd name="connsiteX1412" fmla="*/ 4834 w 10785"/>
                <a:gd name="connsiteY1412" fmla="*/ 376 h 10000"/>
                <a:gd name="connsiteX1413" fmla="*/ 4829 w 10785"/>
                <a:gd name="connsiteY1413" fmla="*/ 402 h 10000"/>
                <a:gd name="connsiteX1414" fmla="*/ 4834 w 10785"/>
                <a:gd name="connsiteY1414" fmla="*/ 410 h 10000"/>
                <a:gd name="connsiteX1415" fmla="*/ 4829 w 10785"/>
                <a:gd name="connsiteY1415" fmla="*/ 436 h 10000"/>
                <a:gd name="connsiteX1416" fmla="*/ 4825 w 10785"/>
                <a:gd name="connsiteY1416" fmla="*/ 436 h 10000"/>
                <a:gd name="connsiteX1417" fmla="*/ 4825 w 10785"/>
                <a:gd name="connsiteY1417" fmla="*/ 444 h 10000"/>
                <a:gd name="connsiteX1418" fmla="*/ 4811 w 10785"/>
                <a:gd name="connsiteY1418" fmla="*/ 496 h 10000"/>
                <a:gd name="connsiteX1419" fmla="*/ 4811 w 10785"/>
                <a:gd name="connsiteY1419" fmla="*/ 496 h 10000"/>
                <a:gd name="connsiteX1420" fmla="*/ 4811 w 10785"/>
                <a:gd name="connsiteY1420" fmla="*/ 521 h 10000"/>
                <a:gd name="connsiteX1421" fmla="*/ 4816 w 10785"/>
                <a:gd name="connsiteY1421" fmla="*/ 530 h 10000"/>
                <a:gd name="connsiteX1422" fmla="*/ 4834 w 10785"/>
                <a:gd name="connsiteY1422" fmla="*/ 547 h 10000"/>
                <a:gd name="connsiteX1423" fmla="*/ 4834 w 10785"/>
                <a:gd name="connsiteY1423" fmla="*/ 581 h 10000"/>
                <a:gd name="connsiteX1424" fmla="*/ 4843 w 10785"/>
                <a:gd name="connsiteY1424" fmla="*/ 581 h 10000"/>
                <a:gd name="connsiteX1425" fmla="*/ 4843 w 10785"/>
                <a:gd name="connsiteY1425" fmla="*/ 598 h 10000"/>
                <a:gd name="connsiteX1426" fmla="*/ 4829 w 10785"/>
                <a:gd name="connsiteY1426" fmla="*/ 598 h 10000"/>
                <a:gd name="connsiteX1427" fmla="*/ 4829 w 10785"/>
                <a:gd name="connsiteY1427" fmla="*/ 573 h 10000"/>
                <a:gd name="connsiteX1428" fmla="*/ 4829 w 10785"/>
                <a:gd name="connsiteY1428" fmla="*/ 632 h 10000"/>
                <a:gd name="connsiteX1429" fmla="*/ 4829 w 10785"/>
                <a:gd name="connsiteY1429" fmla="*/ 632 h 10000"/>
                <a:gd name="connsiteX1430" fmla="*/ 4829 w 10785"/>
                <a:gd name="connsiteY1430" fmla="*/ 650 h 10000"/>
                <a:gd name="connsiteX1431" fmla="*/ 4774 w 10785"/>
                <a:gd name="connsiteY1431" fmla="*/ 684 h 10000"/>
                <a:gd name="connsiteX1432" fmla="*/ 4756 w 10785"/>
                <a:gd name="connsiteY1432" fmla="*/ 684 h 10000"/>
                <a:gd name="connsiteX1433" fmla="*/ 4737 w 10785"/>
                <a:gd name="connsiteY1433" fmla="*/ 692 h 10000"/>
                <a:gd name="connsiteX1434" fmla="*/ 4677 w 10785"/>
                <a:gd name="connsiteY1434" fmla="*/ 667 h 10000"/>
                <a:gd name="connsiteX1435" fmla="*/ 4682 w 10785"/>
                <a:gd name="connsiteY1435" fmla="*/ 692 h 10000"/>
                <a:gd name="connsiteX1436" fmla="*/ 4682 w 10785"/>
                <a:gd name="connsiteY1436" fmla="*/ 709 h 10000"/>
                <a:gd name="connsiteX1437" fmla="*/ 4691 w 10785"/>
                <a:gd name="connsiteY1437" fmla="*/ 718 h 10000"/>
                <a:gd name="connsiteX1438" fmla="*/ 4691 w 10785"/>
                <a:gd name="connsiteY1438" fmla="*/ 744 h 10000"/>
                <a:gd name="connsiteX1439" fmla="*/ 4700 w 10785"/>
                <a:gd name="connsiteY1439" fmla="*/ 744 h 10000"/>
                <a:gd name="connsiteX1440" fmla="*/ 4714 w 10785"/>
                <a:gd name="connsiteY1440" fmla="*/ 769 h 10000"/>
                <a:gd name="connsiteX1441" fmla="*/ 4710 w 10785"/>
                <a:gd name="connsiteY1441" fmla="*/ 786 h 10000"/>
                <a:gd name="connsiteX1442" fmla="*/ 4737 w 10785"/>
                <a:gd name="connsiteY1442" fmla="*/ 786 h 10000"/>
                <a:gd name="connsiteX1443" fmla="*/ 4742 w 10785"/>
                <a:gd name="connsiteY1443" fmla="*/ 795 h 10000"/>
                <a:gd name="connsiteX1444" fmla="*/ 4742 w 10785"/>
                <a:gd name="connsiteY1444" fmla="*/ 803 h 10000"/>
                <a:gd name="connsiteX1445" fmla="*/ 4737 w 10785"/>
                <a:gd name="connsiteY1445" fmla="*/ 846 h 10000"/>
                <a:gd name="connsiteX1446" fmla="*/ 4737 w 10785"/>
                <a:gd name="connsiteY1446" fmla="*/ 880 h 10000"/>
                <a:gd name="connsiteX1447" fmla="*/ 4737 w 10785"/>
                <a:gd name="connsiteY1447" fmla="*/ 906 h 10000"/>
                <a:gd name="connsiteX1448" fmla="*/ 4724 w 10785"/>
                <a:gd name="connsiteY1448" fmla="*/ 897 h 10000"/>
                <a:gd name="connsiteX1449" fmla="*/ 4724 w 10785"/>
                <a:gd name="connsiteY1449" fmla="*/ 872 h 10000"/>
                <a:gd name="connsiteX1450" fmla="*/ 4714 w 10785"/>
                <a:gd name="connsiteY1450" fmla="*/ 855 h 10000"/>
                <a:gd name="connsiteX1451" fmla="*/ 4691 w 10785"/>
                <a:gd name="connsiteY1451" fmla="*/ 846 h 10000"/>
                <a:gd name="connsiteX1452" fmla="*/ 4691 w 10785"/>
                <a:gd name="connsiteY1452" fmla="*/ 846 h 10000"/>
                <a:gd name="connsiteX1453" fmla="*/ 4696 w 10785"/>
                <a:gd name="connsiteY1453" fmla="*/ 821 h 10000"/>
                <a:gd name="connsiteX1454" fmla="*/ 4691 w 10785"/>
                <a:gd name="connsiteY1454" fmla="*/ 803 h 10000"/>
                <a:gd name="connsiteX1455" fmla="*/ 4668 w 10785"/>
                <a:gd name="connsiteY1455" fmla="*/ 821 h 10000"/>
                <a:gd name="connsiteX1456" fmla="*/ 4668 w 10785"/>
                <a:gd name="connsiteY1456" fmla="*/ 786 h 10000"/>
                <a:gd name="connsiteX1457" fmla="*/ 4664 w 10785"/>
                <a:gd name="connsiteY1457" fmla="*/ 786 h 10000"/>
                <a:gd name="connsiteX1458" fmla="*/ 4622 w 10785"/>
                <a:gd name="connsiteY1458" fmla="*/ 846 h 10000"/>
                <a:gd name="connsiteX1459" fmla="*/ 4627 w 10785"/>
                <a:gd name="connsiteY1459" fmla="*/ 872 h 10000"/>
                <a:gd name="connsiteX1460" fmla="*/ 4622 w 10785"/>
                <a:gd name="connsiteY1460" fmla="*/ 880 h 10000"/>
                <a:gd name="connsiteX1461" fmla="*/ 4622 w 10785"/>
                <a:gd name="connsiteY1461" fmla="*/ 880 h 10000"/>
                <a:gd name="connsiteX1462" fmla="*/ 4618 w 10785"/>
                <a:gd name="connsiteY1462" fmla="*/ 872 h 10000"/>
                <a:gd name="connsiteX1463" fmla="*/ 4604 w 10785"/>
                <a:gd name="connsiteY1463" fmla="*/ 880 h 10000"/>
                <a:gd name="connsiteX1464" fmla="*/ 4594 w 10785"/>
                <a:gd name="connsiteY1464" fmla="*/ 906 h 10000"/>
                <a:gd name="connsiteX1465" fmla="*/ 4604 w 10785"/>
                <a:gd name="connsiteY1465" fmla="*/ 906 h 10000"/>
                <a:gd name="connsiteX1466" fmla="*/ 4608 w 10785"/>
                <a:gd name="connsiteY1466" fmla="*/ 906 h 10000"/>
                <a:gd name="connsiteX1467" fmla="*/ 4608 w 10785"/>
                <a:gd name="connsiteY1467" fmla="*/ 932 h 10000"/>
                <a:gd name="connsiteX1468" fmla="*/ 4604 w 10785"/>
                <a:gd name="connsiteY1468" fmla="*/ 932 h 10000"/>
                <a:gd name="connsiteX1469" fmla="*/ 4590 w 10785"/>
                <a:gd name="connsiteY1469" fmla="*/ 932 h 10000"/>
                <a:gd name="connsiteX1470" fmla="*/ 4567 w 10785"/>
                <a:gd name="connsiteY1470" fmla="*/ 957 h 10000"/>
                <a:gd name="connsiteX1471" fmla="*/ 4567 w 10785"/>
                <a:gd name="connsiteY1471" fmla="*/ 932 h 10000"/>
                <a:gd name="connsiteX1472" fmla="*/ 4567 w 10785"/>
                <a:gd name="connsiteY1472" fmla="*/ 923 h 10000"/>
                <a:gd name="connsiteX1473" fmla="*/ 4562 w 10785"/>
                <a:gd name="connsiteY1473" fmla="*/ 932 h 10000"/>
                <a:gd name="connsiteX1474" fmla="*/ 4548 w 10785"/>
                <a:gd name="connsiteY1474" fmla="*/ 957 h 10000"/>
                <a:gd name="connsiteX1475" fmla="*/ 4544 w 10785"/>
                <a:gd name="connsiteY1475" fmla="*/ 957 h 10000"/>
                <a:gd name="connsiteX1476" fmla="*/ 4521 w 10785"/>
                <a:gd name="connsiteY1476" fmla="*/ 983 h 10000"/>
                <a:gd name="connsiteX1477" fmla="*/ 4521 w 10785"/>
                <a:gd name="connsiteY1477" fmla="*/ 983 h 10000"/>
                <a:gd name="connsiteX1478" fmla="*/ 4530 w 10785"/>
                <a:gd name="connsiteY1478" fmla="*/ 957 h 10000"/>
                <a:gd name="connsiteX1479" fmla="*/ 4535 w 10785"/>
                <a:gd name="connsiteY1479" fmla="*/ 932 h 10000"/>
                <a:gd name="connsiteX1480" fmla="*/ 4521 w 10785"/>
                <a:gd name="connsiteY1480" fmla="*/ 932 h 10000"/>
                <a:gd name="connsiteX1481" fmla="*/ 4516 w 10785"/>
                <a:gd name="connsiteY1481" fmla="*/ 923 h 10000"/>
                <a:gd name="connsiteX1482" fmla="*/ 4516 w 10785"/>
                <a:gd name="connsiteY1482" fmla="*/ 932 h 10000"/>
                <a:gd name="connsiteX1483" fmla="*/ 4488 w 10785"/>
                <a:gd name="connsiteY1483" fmla="*/ 940 h 10000"/>
                <a:gd name="connsiteX1484" fmla="*/ 4484 w 10785"/>
                <a:gd name="connsiteY1484" fmla="*/ 983 h 10000"/>
                <a:gd name="connsiteX1485" fmla="*/ 4470 w 10785"/>
                <a:gd name="connsiteY1485" fmla="*/ 983 h 10000"/>
                <a:gd name="connsiteX1486" fmla="*/ 4470 w 10785"/>
                <a:gd name="connsiteY1486" fmla="*/ 966 h 10000"/>
                <a:gd name="connsiteX1487" fmla="*/ 4488 w 10785"/>
                <a:gd name="connsiteY1487" fmla="*/ 923 h 10000"/>
                <a:gd name="connsiteX1488" fmla="*/ 4493 w 10785"/>
                <a:gd name="connsiteY1488" fmla="*/ 880 h 10000"/>
                <a:gd name="connsiteX1489" fmla="*/ 4475 w 10785"/>
                <a:gd name="connsiteY1489" fmla="*/ 846 h 10000"/>
                <a:gd name="connsiteX1490" fmla="*/ 4442 w 10785"/>
                <a:gd name="connsiteY1490" fmla="*/ 855 h 10000"/>
                <a:gd name="connsiteX1491" fmla="*/ 4433 w 10785"/>
                <a:gd name="connsiteY1491" fmla="*/ 855 h 10000"/>
                <a:gd name="connsiteX1492" fmla="*/ 4433 w 10785"/>
                <a:gd name="connsiteY1492" fmla="*/ 880 h 10000"/>
                <a:gd name="connsiteX1493" fmla="*/ 4401 w 10785"/>
                <a:gd name="connsiteY1493" fmla="*/ 855 h 10000"/>
                <a:gd name="connsiteX1494" fmla="*/ 4396 w 10785"/>
                <a:gd name="connsiteY1494" fmla="*/ 872 h 10000"/>
                <a:gd name="connsiteX1495" fmla="*/ 4382 w 10785"/>
                <a:gd name="connsiteY1495" fmla="*/ 897 h 10000"/>
                <a:gd name="connsiteX1496" fmla="*/ 4373 w 10785"/>
                <a:gd name="connsiteY1496" fmla="*/ 872 h 10000"/>
                <a:gd name="connsiteX1497" fmla="*/ 4341 w 10785"/>
                <a:gd name="connsiteY1497" fmla="*/ 872 h 10000"/>
                <a:gd name="connsiteX1498" fmla="*/ 4336 w 10785"/>
                <a:gd name="connsiteY1498" fmla="*/ 880 h 10000"/>
                <a:gd name="connsiteX1499" fmla="*/ 4346 w 10785"/>
                <a:gd name="connsiteY1499" fmla="*/ 897 h 10000"/>
                <a:gd name="connsiteX1500" fmla="*/ 4346 w 10785"/>
                <a:gd name="connsiteY1500" fmla="*/ 897 h 10000"/>
                <a:gd name="connsiteX1501" fmla="*/ 4313 w 10785"/>
                <a:gd name="connsiteY1501" fmla="*/ 906 h 10000"/>
                <a:gd name="connsiteX1502" fmla="*/ 4313 w 10785"/>
                <a:gd name="connsiteY1502" fmla="*/ 906 h 10000"/>
                <a:gd name="connsiteX1503" fmla="*/ 4313 w 10785"/>
                <a:gd name="connsiteY1503" fmla="*/ 880 h 10000"/>
                <a:gd name="connsiteX1504" fmla="*/ 4309 w 10785"/>
                <a:gd name="connsiteY1504" fmla="*/ 897 h 10000"/>
                <a:gd name="connsiteX1505" fmla="*/ 4295 w 10785"/>
                <a:gd name="connsiteY1505" fmla="*/ 923 h 10000"/>
                <a:gd name="connsiteX1506" fmla="*/ 4286 w 10785"/>
                <a:gd name="connsiteY1506" fmla="*/ 897 h 10000"/>
                <a:gd name="connsiteX1507" fmla="*/ 4281 w 10785"/>
                <a:gd name="connsiteY1507" fmla="*/ 906 h 10000"/>
                <a:gd name="connsiteX1508" fmla="*/ 4281 w 10785"/>
                <a:gd name="connsiteY1508" fmla="*/ 940 h 10000"/>
                <a:gd name="connsiteX1509" fmla="*/ 4286 w 10785"/>
                <a:gd name="connsiteY1509" fmla="*/ 957 h 10000"/>
                <a:gd name="connsiteX1510" fmla="*/ 4309 w 10785"/>
                <a:gd name="connsiteY1510" fmla="*/ 932 h 10000"/>
                <a:gd name="connsiteX1511" fmla="*/ 4313 w 10785"/>
                <a:gd name="connsiteY1511" fmla="*/ 957 h 10000"/>
                <a:gd name="connsiteX1512" fmla="*/ 4313 w 10785"/>
                <a:gd name="connsiteY1512" fmla="*/ 966 h 10000"/>
                <a:gd name="connsiteX1513" fmla="*/ 4323 w 10785"/>
                <a:gd name="connsiteY1513" fmla="*/ 966 h 10000"/>
                <a:gd name="connsiteX1514" fmla="*/ 4323 w 10785"/>
                <a:gd name="connsiteY1514" fmla="*/ 940 h 10000"/>
                <a:gd name="connsiteX1515" fmla="*/ 4327 w 10785"/>
                <a:gd name="connsiteY1515" fmla="*/ 940 h 10000"/>
                <a:gd name="connsiteX1516" fmla="*/ 4327 w 10785"/>
                <a:gd name="connsiteY1516" fmla="*/ 957 h 10000"/>
                <a:gd name="connsiteX1517" fmla="*/ 4327 w 10785"/>
                <a:gd name="connsiteY1517" fmla="*/ 966 h 10000"/>
                <a:gd name="connsiteX1518" fmla="*/ 4323 w 10785"/>
                <a:gd name="connsiteY1518" fmla="*/ 991 h 10000"/>
                <a:gd name="connsiteX1519" fmla="*/ 4207 w 10785"/>
                <a:gd name="connsiteY1519" fmla="*/ 1060 h 10000"/>
                <a:gd name="connsiteX1520" fmla="*/ 4207 w 10785"/>
                <a:gd name="connsiteY1520" fmla="*/ 1060 h 10000"/>
                <a:gd name="connsiteX1521" fmla="*/ 4203 w 10785"/>
                <a:gd name="connsiteY1521" fmla="*/ 1068 h 10000"/>
                <a:gd name="connsiteX1522" fmla="*/ 4203 w 10785"/>
                <a:gd name="connsiteY1522" fmla="*/ 1094 h 10000"/>
                <a:gd name="connsiteX1523" fmla="*/ 4203 w 10785"/>
                <a:gd name="connsiteY1523" fmla="*/ 1094 h 10000"/>
                <a:gd name="connsiteX1524" fmla="*/ 4189 w 10785"/>
                <a:gd name="connsiteY1524" fmla="*/ 1094 h 10000"/>
                <a:gd name="connsiteX1525" fmla="*/ 4166 w 10785"/>
                <a:gd name="connsiteY1525" fmla="*/ 1103 h 10000"/>
                <a:gd name="connsiteX1526" fmla="*/ 4152 w 10785"/>
                <a:gd name="connsiteY1526" fmla="*/ 1094 h 10000"/>
                <a:gd name="connsiteX1527" fmla="*/ 4134 w 10785"/>
                <a:gd name="connsiteY1527" fmla="*/ 1120 h 10000"/>
                <a:gd name="connsiteX1528" fmla="*/ 4106 w 10785"/>
                <a:gd name="connsiteY1528" fmla="*/ 1120 h 10000"/>
                <a:gd name="connsiteX1529" fmla="*/ 4092 w 10785"/>
                <a:gd name="connsiteY1529" fmla="*/ 1154 h 10000"/>
                <a:gd name="connsiteX1530" fmla="*/ 4106 w 10785"/>
                <a:gd name="connsiteY1530" fmla="*/ 1171 h 10000"/>
                <a:gd name="connsiteX1531" fmla="*/ 4078 w 10785"/>
                <a:gd name="connsiteY1531" fmla="*/ 1179 h 10000"/>
                <a:gd name="connsiteX1532" fmla="*/ 4065 w 10785"/>
                <a:gd name="connsiteY1532" fmla="*/ 1205 h 10000"/>
                <a:gd name="connsiteX1533" fmla="*/ 4046 w 10785"/>
                <a:gd name="connsiteY1533" fmla="*/ 1179 h 10000"/>
                <a:gd name="connsiteX1534" fmla="*/ 4041 w 10785"/>
                <a:gd name="connsiteY1534" fmla="*/ 1197 h 10000"/>
                <a:gd name="connsiteX1535" fmla="*/ 4028 w 10785"/>
                <a:gd name="connsiteY1535" fmla="*/ 1205 h 10000"/>
                <a:gd name="connsiteX1536" fmla="*/ 4028 w 10785"/>
                <a:gd name="connsiteY1536" fmla="*/ 1205 h 10000"/>
                <a:gd name="connsiteX1537" fmla="*/ 4032 w 10785"/>
                <a:gd name="connsiteY1537" fmla="*/ 1205 h 10000"/>
                <a:gd name="connsiteX1538" fmla="*/ 4032 w 10785"/>
                <a:gd name="connsiteY1538" fmla="*/ 1231 h 10000"/>
                <a:gd name="connsiteX1539" fmla="*/ 4014 w 10785"/>
                <a:gd name="connsiteY1539" fmla="*/ 1239 h 10000"/>
                <a:gd name="connsiteX1540" fmla="*/ 4014 w 10785"/>
                <a:gd name="connsiteY1540" fmla="*/ 1256 h 10000"/>
                <a:gd name="connsiteX1541" fmla="*/ 4000 w 10785"/>
                <a:gd name="connsiteY1541" fmla="*/ 1265 h 10000"/>
                <a:gd name="connsiteX1542" fmla="*/ 3986 w 10785"/>
                <a:gd name="connsiteY1542" fmla="*/ 1308 h 10000"/>
                <a:gd name="connsiteX1543" fmla="*/ 3972 w 10785"/>
                <a:gd name="connsiteY1543" fmla="*/ 1316 h 10000"/>
                <a:gd name="connsiteX1544" fmla="*/ 3972 w 10785"/>
                <a:gd name="connsiteY1544" fmla="*/ 1325 h 10000"/>
                <a:gd name="connsiteX1545" fmla="*/ 3972 w 10785"/>
                <a:gd name="connsiteY1545" fmla="*/ 1342 h 10000"/>
                <a:gd name="connsiteX1546" fmla="*/ 3968 w 10785"/>
                <a:gd name="connsiteY1546" fmla="*/ 1350 h 10000"/>
                <a:gd name="connsiteX1547" fmla="*/ 3954 w 10785"/>
                <a:gd name="connsiteY1547" fmla="*/ 1368 h 10000"/>
                <a:gd name="connsiteX1548" fmla="*/ 3945 w 10785"/>
                <a:gd name="connsiteY1548" fmla="*/ 1350 h 10000"/>
                <a:gd name="connsiteX1549" fmla="*/ 3908 w 10785"/>
                <a:gd name="connsiteY1549" fmla="*/ 1342 h 10000"/>
                <a:gd name="connsiteX1550" fmla="*/ 3894 w 10785"/>
                <a:gd name="connsiteY1550" fmla="*/ 1368 h 10000"/>
                <a:gd name="connsiteX1551" fmla="*/ 3922 w 10785"/>
                <a:gd name="connsiteY1551" fmla="*/ 1393 h 10000"/>
                <a:gd name="connsiteX1552" fmla="*/ 3945 w 10785"/>
                <a:gd name="connsiteY1552" fmla="*/ 1393 h 10000"/>
                <a:gd name="connsiteX1553" fmla="*/ 3940 w 10785"/>
                <a:gd name="connsiteY1553" fmla="*/ 1419 h 10000"/>
                <a:gd name="connsiteX1554" fmla="*/ 3931 w 10785"/>
                <a:gd name="connsiteY1554" fmla="*/ 1427 h 10000"/>
                <a:gd name="connsiteX1555" fmla="*/ 3926 w 10785"/>
                <a:gd name="connsiteY1555" fmla="*/ 1427 h 10000"/>
                <a:gd name="connsiteX1556" fmla="*/ 3922 w 10785"/>
                <a:gd name="connsiteY1556" fmla="*/ 1419 h 10000"/>
                <a:gd name="connsiteX1557" fmla="*/ 3912 w 10785"/>
                <a:gd name="connsiteY1557" fmla="*/ 1427 h 10000"/>
                <a:gd name="connsiteX1558" fmla="*/ 3912 w 10785"/>
                <a:gd name="connsiteY1558" fmla="*/ 1444 h 10000"/>
                <a:gd name="connsiteX1559" fmla="*/ 3894 w 10785"/>
                <a:gd name="connsiteY1559" fmla="*/ 1513 h 10000"/>
                <a:gd name="connsiteX1560" fmla="*/ 3885 w 10785"/>
                <a:gd name="connsiteY1560" fmla="*/ 1513 h 10000"/>
                <a:gd name="connsiteX1561" fmla="*/ 3880 w 10785"/>
                <a:gd name="connsiteY1561" fmla="*/ 1538 h 10000"/>
                <a:gd name="connsiteX1562" fmla="*/ 3885 w 10785"/>
                <a:gd name="connsiteY1562" fmla="*/ 1564 h 10000"/>
                <a:gd name="connsiteX1563" fmla="*/ 3880 w 10785"/>
                <a:gd name="connsiteY1563" fmla="*/ 1581 h 10000"/>
                <a:gd name="connsiteX1564" fmla="*/ 3871 w 10785"/>
                <a:gd name="connsiteY1564" fmla="*/ 1538 h 10000"/>
                <a:gd name="connsiteX1565" fmla="*/ 3853 w 10785"/>
                <a:gd name="connsiteY1565" fmla="*/ 1530 h 10000"/>
                <a:gd name="connsiteX1566" fmla="*/ 3853 w 10785"/>
                <a:gd name="connsiteY1566" fmla="*/ 1504 h 10000"/>
                <a:gd name="connsiteX1567" fmla="*/ 3834 w 10785"/>
                <a:gd name="connsiteY1567" fmla="*/ 1487 h 10000"/>
                <a:gd name="connsiteX1568" fmla="*/ 3834 w 10785"/>
                <a:gd name="connsiteY1568" fmla="*/ 1487 h 10000"/>
                <a:gd name="connsiteX1569" fmla="*/ 3839 w 10785"/>
                <a:gd name="connsiteY1569" fmla="*/ 1513 h 10000"/>
                <a:gd name="connsiteX1570" fmla="*/ 3820 w 10785"/>
                <a:gd name="connsiteY1570" fmla="*/ 1538 h 10000"/>
                <a:gd name="connsiteX1571" fmla="*/ 3820 w 10785"/>
                <a:gd name="connsiteY1571" fmla="*/ 1556 h 10000"/>
                <a:gd name="connsiteX1572" fmla="*/ 3820 w 10785"/>
                <a:gd name="connsiteY1572" fmla="*/ 1564 h 10000"/>
                <a:gd name="connsiteX1573" fmla="*/ 3820 w 10785"/>
                <a:gd name="connsiteY1573" fmla="*/ 1581 h 10000"/>
                <a:gd name="connsiteX1574" fmla="*/ 3853 w 10785"/>
                <a:gd name="connsiteY1574" fmla="*/ 1581 h 10000"/>
                <a:gd name="connsiteX1575" fmla="*/ 3857 w 10785"/>
                <a:gd name="connsiteY1575" fmla="*/ 1598 h 10000"/>
                <a:gd name="connsiteX1576" fmla="*/ 3880 w 10785"/>
                <a:gd name="connsiteY1576" fmla="*/ 1615 h 10000"/>
                <a:gd name="connsiteX1577" fmla="*/ 3871 w 10785"/>
                <a:gd name="connsiteY1577" fmla="*/ 1615 h 10000"/>
                <a:gd name="connsiteX1578" fmla="*/ 3871 w 10785"/>
                <a:gd name="connsiteY1578" fmla="*/ 1641 h 10000"/>
                <a:gd name="connsiteX1579" fmla="*/ 3880 w 10785"/>
                <a:gd name="connsiteY1579" fmla="*/ 1641 h 10000"/>
                <a:gd name="connsiteX1580" fmla="*/ 3871 w 10785"/>
                <a:gd name="connsiteY1580" fmla="*/ 1650 h 10000"/>
                <a:gd name="connsiteX1581" fmla="*/ 3857 w 10785"/>
                <a:gd name="connsiteY1581" fmla="*/ 1650 h 10000"/>
                <a:gd name="connsiteX1582" fmla="*/ 3853 w 10785"/>
                <a:gd name="connsiteY1582" fmla="*/ 1650 h 10000"/>
                <a:gd name="connsiteX1583" fmla="*/ 3839 w 10785"/>
                <a:gd name="connsiteY1583" fmla="*/ 1667 h 10000"/>
                <a:gd name="connsiteX1584" fmla="*/ 3848 w 10785"/>
                <a:gd name="connsiteY1584" fmla="*/ 1692 h 10000"/>
                <a:gd name="connsiteX1585" fmla="*/ 3834 w 10785"/>
                <a:gd name="connsiteY1585" fmla="*/ 1692 h 10000"/>
                <a:gd name="connsiteX1586" fmla="*/ 3825 w 10785"/>
                <a:gd name="connsiteY1586" fmla="*/ 1692 h 10000"/>
                <a:gd name="connsiteX1587" fmla="*/ 3825 w 10785"/>
                <a:gd name="connsiteY1587" fmla="*/ 1718 h 10000"/>
                <a:gd name="connsiteX1588" fmla="*/ 3839 w 10785"/>
                <a:gd name="connsiteY1588" fmla="*/ 1726 h 10000"/>
                <a:gd name="connsiteX1589" fmla="*/ 3880 w 10785"/>
                <a:gd name="connsiteY1589" fmla="*/ 1752 h 10000"/>
                <a:gd name="connsiteX1590" fmla="*/ 3894 w 10785"/>
                <a:gd name="connsiteY1590" fmla="*/ 1829 h 10000"/>
                <a:gd name="connsiteX1591" fmla="*/ 3899 w 10785"/>
                <a:gd name="connsiteY1591" fmla="*/ 1838 h 10000"/>
                <a:gd name="connsiteX1592" fmla="*/ 3894 w 10785"/>
                <a:gd name="connsiteY1592" fmla="*/ 1855 h 10000"/>
                <a:gd name="connsiteX1593" fmla="*/ 3880 w 10785"/>
                <a:gd name="connsiteY1593" fmla="*/ 1838 h 10000"/>
                <a:gd name="connsiteX1594" fmla="*/ 3880 w 10785"/>
                <a:gd name="connsiteY1594" fmla="*/ 1855 h 10000"/>
                <a:gd name="connsiteX1595" fmla="*/ 3880 w 10785"/>
                <a:gd name="connsiteY1595" fmla="*/ 1863 h 10000"/>
                <a:gd name="connsiteX1596" fmla="*/ 3871 w 10785"/>
                <a:gd name="connsiteY1596" fmla="*/ 1872 h 10000"/>
                <a:gd name="connsiteX1597" fmla="*/ 3880 w 10785"/>
                <a:gd name="connsiteY1597" fmla="*/ 1889 h 10000"/>
                <a:gd name="connsiteX1598" fmla="*/ 3885 w 10785"/>
                <a:gd name="connsiteY1598" fmla="*/ 1889 h 10000"/>
                <a:gd name="connsiteX1599" fmla="*/ 3880 w 10785"/>
                <a:gd name="connsiteY1599" fmla="*/ 1897 h 10000"/>
                <a:gd name="connsiteX1600" fmla="*/ 3871 w 10785"/>
                <a:gd name="connsiteY1600" fmla="*/ 1915 h 10000"/>
                <a:gd name="connsiteX1601" fmla="*/ 3848 w 10785"/>
                <a:gd name="connsiteY1601" fmla="*/ 1923 h 10000"/>
                <a:gd name="connsiteX1602" fmla="*/ 3825 w 10785"/>
                <a:gd name="connsiteY1602" fmla="*/ 1940 h 10000"/>
                <a:gd name="connsiteX1603" fmla="*/ 3811 w 10785"/>
                <a:gd name="connsiteY1603" fmla="*/ 1940 h 10000"/>
                <a:gd name="connsiteX1604" fmla="*/ 3806 w 10785"/>
                <a:gd name="connsiteY1604" fmla="*/ 1949 h 10000"/>
                <a:gd name="connsiteX1605" fmla="*/ 3797 w 10785"/>
                <a:gd name="connsiteY1605" fmla="*/ 1966 h 10000"/>
                <a:gd name="connsiteX1606" fmla="*/ 3788 w 10785"/>
                <a:gd name="connsiteY1606" fmla="*/ 1991 h 10000"/>
                <a:gd name="connsiteX1607" fmla="*/ 3765 w 10785"/>
                <a:gd name="connsiteY1607" fmla="*/ 1974 h 10000"/>
                <a:gd name="connsiteX1608" fmla="*/ 3760 w 10785"/>
                <a:gd name="connsiteY1608" fmla="*/ 1966 h 10000"/>
                <a:gd name="connsiteX1609" fmla="*/ 3760 w 10785"/>
                <a:gd name="connsiteY1609" fmla="*/ 1966 h 10000"/>
                <a:gd name="connsiteX1610" fmla="*/ 3631 w 10785"/>
                <a:gd name="connsiteY1610" fmla="*/ 2009 h 10000"/>
                <a:gd name="connsiteX1611" fmla="*/ 3618 w 10785"/>
                <a:gd name="connsiteY1611" fmla="*/ 2000 h 10000"/>
                <a:gd name="connsiteX1612" fmla="*/ 3599 w 10785"/>
                <a:gd name="connsiteY1612" fmla="*/ 2009 h 10000"/>
                <a:gd name="connsiteX1613" fmla="*/ 3571 w 10785"/>
                <a:gd name="connsiteY1613" fmla="*/ 2000 h 10000"/>
                <a:gd name="connsiteX1614" fmla="*/ 3530 w 10785"/>
                <a:gd name="connsiteY1614" fmla="*/ 2026 h 10000"/>
                <a:gd name="connsiteX1615" fmla="*/ 3530 w 10785"/>
                <a:gd name="connsiteY1615" fmla="*/ 2034 h 10000"/>
                <a:gd name="connsiteX1616" fmla="*/ 3525 w 10785"/>
                <a:gd name="connsiteY1616" fmla="*/ 2051 h 10000"/>
                <a:gd name="connsiteX1617" fmla="*/ 3512 w 10785"/>
                <a:gd name="connsiteY1617" fmla="*/ 2034 h 10000"/>
                <a:gd name="connsiteX1618" fmla="*/ 3507 w 10785"/>
                <a:gd name="connsiteY1618" fmla="*/ 2034 h 10000"/>
                <a:gd name="connsiteX1619" fmla="*/ 3498 w 10785"/>
                <a:gd name="connsiteY1619" fmla="*/ 2051 h 10000"/>
                <a:gd name="connsiteX1620" fmla="*/ 3484 w 10785"/>
                <a:gd name="connsiteY1620" fmla="*/ 2060 h 10000"/>
                <a:gd name="connsiteX1621" fmla="*/ 3484 w 10785"/>
                <a:gd name="connsiteY1621" fmla="*/ 2085 h 10000"/>
                <a:gd name="connsiteX1622" fmla="*/ 3484 w 10785"/>
                <a:gd name="connsiteY1622" fmla="*/ 2103 h 10000"/>
                <a:gd name="connsiteX1623" fmla="*/ 3493 w 10785"/>
                <a:gd name="connsiteY1623" fmla="*/ 2103 h 10000"/>
                <a:gd name="connsiteX1624" fmla="*/ 3493 w 10785"/>
                <a:gd name="connsiteY1624" fmla="*/ 2085 h 10000"/>
                <a:gd name="connsiteX1625" fmla="*/ 3498 w 10785"/>
                <a:gd name="connsiteY1625" fmla="*/ 2085 h 10000"/>
                <a:gd name="connsiteX1626" fmla="*/ 3498 w 10785"/>
                <a:gd name="connsiteY1626" fmla="*/ 2111 h 10000"/>
                <a:gd name="connsiteX1627" fmla="*/ 3484 w 10785"/>
                <a:gd name="connsiteY1627" fmla="*/ 2120 h 10000"/>
                <a:gd name="connsiteX1628" fmla="*/ 3484 w 10785"/>
                <a:gd name="connsiteY1628" fmla="*/ 2145 h 10000"/>
                <a:gd name="connsiteX1629" fmla="*/ 3470 w 10785"/>
                <a:gd name="connsiteY1629" fmla="*/ 2137 h 10000"/>
                <a:gd name="connsiteX1630" fmla="*/ 3465 w 10785"/>
                <a:gd name="connsiteY1630" fmla="*/ 2145 h 10000"/>
                <a:gd name="connsiteX1631" fmla="*/ 3470 w 10785"/>
                <a:gd name="connsiteY1631" fmla="*/ 2171 h 10000"/>
                <a:gd name="connsiteX1632" fmla="*/ 3484 w 10785"/>
                <a:gd name="connsiteY1632" fmla="*/ 2171 h 10000"/>
                <a:gd name="connsiteX1633" fmla="*/ 3484 w 10785"/>
                <a:gd name="connsiteY1633" fmla="*/ 2197 h 10000"/>
                <a:gd name="connsiteX1634" fmla="*/ 3465 w 10785"/>
                <a:gd name="connsiteY1634" fmla="*/ 2214 h 10000"/>
                <a:gd name="connsiteX1635" fmla="*/ 3493 w 10785"/>
                <a:gd name="connsiteY1635" fmla="*/ 2248 h 10000"/>
                <a:gd name="connsiteX1636" fmla="*/ 3484 w 10785"/>
                <a:gd name="connsiteY1636" fmla="*/ 2256 h 10000"/>
                <a:gd name="connsiteX1637" fmla="*/ 3498 w 10785"/>
                <a:gd name="connsiteY1637" fmla="*/ 2274 h 10000"/>
                <a:gd name="connsiteX1638" fmla="*/ 3498 w 10785"/>
                <a:gd name="connsiteY1638" fmla="*/ 2256 h 10000"/>
                <a:gd name="connsiteX1639" fmla="*/ 3507 w 10785"/>
                <a:gd name="connsiteY1639" fmla="*/ 2308 h 10000"/>
                <a:gd name="connsiteX1640" fmla="*/ 3512 w 10785"/>
                <a:gd name="connsiteY1640" fmla="*/ 2325 h 10000"/>
                <a:gd name="connsiteX1641" fmla="*/ 3507 w 10785"/>
                <a:gd name="connsiteY1641" fmla="*/ 2333 h 10000"/>
                <a:gd name="connsiteX1642" fmla="*/ 3507 w 10785"/>
                <a:gd name="connsiteY1642" fmla="*/ 2359 h 10000"/>
                <a:gd name="connsiteX1643" fmla="*/ 3507 w 10785"/>
                <a:gd name="connsiteY1643" fmla="*/ 2376 h 10000"/>
                <a:gd name="connsiteX1644" fmla="*/ 3498 w 10785"/>
                <a:gd name="connsiteY1644" fmla="*/ 2410 h 10000"/>
                <a:gd name="connsiteX1645" fmla="*/ 3498 w 10785"/>
                <a:gd name="connsiteY1645" fmla="*/ 2436 h 10000"/>
                <a:gd name="connsiteX1646" fmla="*/ 3507 w 10785"/>
                <a:gd name="connsiteY1646" fmla="*/ 2462 h 10000"/>
                <a:gd name="connsiteX1647" fmla="*/ 3507 w 10785"/>
                <a:gd name="connsiteY1647" fmla="*/ 2496 h 10000"/>
                <a:gd name="connsiteX1648" fmla="*/ 3512 w 10785"/>
                <a:gd name="connsiteY1648" fmla="*/ 2521 h 10000"/>
                <a:gd name="connsiteX1649" fmla="*/ 3525 w 10785"/>
                <a:gd name="connsiteY1649" fmla="*/ 2556 h 10000"/>
                <a:gd name="connsiteX1650" fmla="*/ 3571 w 10785"/>
                <a:gd name="connsiteY1650" fmla="*/ 2573 h 10000"/>
                <a:gd name="connsiteX1651" fmla="*/ 3590 w 10785"/>
                <a:gd name="connsiteY1651" fmla="*/ 2598 h 10000"/>
                <a:gd name="connsiteX1652" fmla="*/ 3599 w 10785"/>
                <a:gd name="connsiteY1652" fmla="*/ 2598 h 10000"/>
                <a:gd name="connsiteX1653" fmla="*/ 3604 w 10785"/>
                <a:gd name="connsiteY1653" fmla="*/ 2632 h 10000"/>
                <a:gd name="connsiteX1654" fmla="*/ 3599 w 10785"/>
                <a:gd name="connsiteY1654" fmla="*/ 2658 h 10000"/>
                <a:gd name="connsiteX1655" fmla="*/ 3590 w 10785"/>
                <a:gd name="connsiteY1655" fmla="*/ 2667 h 10000"/>
                <a:gd name="connsiteX1656" fmla="*/ 3604 w 10785"/>
                <a:gd name="connsiteY1656" fmla="*/ 2667 h 10000"/>
                <a:gd name="connsiteX1657" fmla="*/ 3613 w 10785"/>
                <a:gd name="connsiteY1657" fmla="*/ 2692 h 10000"/>
                <a:gd name="connsiteX1658" fmla="*/ 3627 w 10785"/>
                <a:gd name="connsiteY1658" fmla="*/ 2735 h 10000"/>
                <a:gd name="connsiteX1659" fmla="*/ 3631 w 10785"/>
                <a:gd name="connsiteY1659" fmla="*/ 2744 h 10000"/>
                <a:gd name="connsiteX1660" fmla="*/ 3659 w 10785"/>
                <a:gd name="connsiteY1660" fmla="*/ 2761 h 10000"/>
                <a:gd name="connsiteX1661" fmla="*/ 3673 w 10785"/>
                <a:gd name="connsiteY1661" fmla="*/ 2769 h 10000"/>
                <a:gd name="connsiteX1662" fmla="*/ 3673 w 10785"/>
                <a:gd name="connsiteY1662" fmla="*/ 2761 h 10000"/>
                <a:gd name="connsiteX1663" fmla="*/ 3687 w 10785"/>
                <a:gd name="connsiteY1663" fmla="*/ 2829 h 10000"/>
                <a:gd name="connsiteX1664" fmla="*/ 3677 w 10785"/>
                <a:gd name="connsiteY1664" fmla="*/ 2897 h 10000"/>
                <a:gd name="connsiteX1665" fmla="*/ 3673 w 10785"/>
                <a:gd name="connsiteY1665" fmla="*/ 2915 h 10000"/>
                <a:gd name="connsiteX1666" fmla="*/ 3664 w 10785"/>
                <a:gd name="connsiteY1666" fmla="*/ 2957 h 10000"/>
                <a:gd name="connsiteX1667" fmla="*/ 3659 w 10785"/>
                <a:gd name="connsiteY1667" fmla="*/ 2983 h 10000"/>
                <a:gd name="connsiteX1668" fmla="*/ 3664 w 10785"/>
                <a:gd name="connsiteY1668" fmla="*/ 3017 h 10000"/>
                <a:gd name="connsiteX1669" fmla="*/ 3659 w 10785"/>
                <a:gd name="connsiteY1669" fmla="*/ 3043 h 10000"/>
                <a:gd name="connsiteX1670" fmla="*/ 3677 w 10785"/>
                <a:gd name="connsiteY1670" fmla="*/ 3094 h 10000"/>
                <a:gd name="connsiteX1671" fmla="*/ 3691 w 10785"/>
                <a:gd name="connsiteY1671" fmla="*/ 3282 h 10000"/>
                <a:gd name="connsiteX1672" fmla="*/ 3691 w 10785"/>
                <a:gd name="connsiteY1672" fmla="*/ 3308 h 10000"/>
                <a:gd name="connsiteX1673" fmla="*/ 3677 w 10785"/>
                <a:gd name="connsiteY1673" fmla="*/ 3342 h 10000"/>
                <a:gd name="connsiteX1674" fmla="*/ 3664 w 10785"/>
                <a:gd name="connsiteY1674" fmla="*/ 3342 h 10000"/>
                <a:gd name="connsiteX1675" fmla="*/ 3650 w 10785"/>
                <a:gd name="connsiteY1675" fmla="*/ 3342 h 10000"/>
                <a:gd name="connsiteX1676" fmla="*/ 3650 w 10785"/>
                <a:gd name="connsiteY1676" fmla="*/ 3350 h 10000"/>
                <a:gd name="connsiteX1677" fmla="*/ 3659 w 10785"/>
                <a:gd name="connsiteY1677" fmla="*/ 3402 h 10000"/>
                <a:gd name="connsiteX1678" fmla="*/ 3659 w 10785"/>
                <a:gd name="connsiteY1678" fmla="*/ 3419 h 10000"/>
                <a:gd name="connsiteX1679" fmla="*/ 3631 w 10785"/>
                <a:gd name="connsiteY1679" fmla="*/ 3402 h 10000"/>
                <a:gd name="connsiteX1680" fmla="*/ 3604 w 10785"/>
                <a:gd name="connsiteY1680" fmla="*/ 3393 h 10000"/>
                <a:gd name="connsiteX1681" fmla="*/ 3599 w 10785"/>
                <a:gd name="connsiteY1681" fmla="*/ 3368 h 10000"/>
                <a:gd name="connsiteX1682" fmla="*/ 3590 w 10785"/>
                <a:gd name="connsiteY1682" fmla="*/ 3239 h 10000"/>
                <a:gd name="connsiteX1683" fmla="*/ 3599 w 10785"/>
                <a:gd name="connsiteY1683" fmla="*/ 3179 h 10000"/>
                <a:gd name="connsiteX1684" fmla="*/ 3599 w 10785"/>
                <a:gd name="connsiteY1684" fmla="*/ 3171 h 10000"/>
                <a:gd name="connsiteX1685" fmla="*/ 3599 w 10785"/>
                <a:gd name="connsiteY1685" fmla="*/ 3009 h 10000"/>
                <a:gd name="connsiteX1686" fmla="*/ 3604 w 10785"/>
                <a:gd name="connsiteY1686" fmla="*/ 2983 h 10000"/>
                <a:gd name="connsiteX1687" fmla="*/ 3645 w 10785"/>
                <a:gd name="connsiteY1687" fmla="*/ 2932 h 10000"/>
                <a:gd name="connsiteX1688" fmla="*/ 3650 w 10785"/>
                <a:gd name="connsiteY1688" fmla="*/ 2872 h 10000"/>
                <a:gd name="connsiteX1689" fmla="*/ 3659 w 10785"/>
                <a:gd name="connsiteY1689" fmla="*/ 2855 h 10000"/>
                <a:gd name="connsiteX1690" fmla="*/ 3659 w 10785"/>
                <a:gd name="connsiteY1690" fmla="*/ 2821 h 10000"/>
                <a:gd name="connsiteX1691" fmla="*/ 3631 w 10785"/>
                <a:gd name="connsiteY1691" fmla="*/ 2795 h 10000"/>
                <a:gd name="connsiteX1692" fmla="*/ 3567 w 10785"/>
                <a:gd name="connsiteY1692" fmla="*/ 2821 h 10000"/>
                <a:gd name="connsiteX1693" fmla="*/ 3544 w 10785"/>
                <a:gd name="connsiteY1693" fmla="*/ 2795 h 10000"/>
                <a:gd name="connsiteX1694" fmla="*/ 3530 w 10785"/>
                <a:gd name="connsiteY1694" fmla="*/ 2769 h 10000"/>
                <a:gd name="connsiteX1695" fmla="*/ 3530 w 10785"/>
                <a:gd name="connsiteY1695" fmla="*/ 2786 h 10000"/>
                <a:gd name="connsiteX1696" fmla="*/ 3498 w 10785"/>
                <a:gd name="connsiteY1696" fmla="*/ 2692 h 10000"/>
                <a:gd name="connsiteX1697" fmla="*/ 3498 w 10785"/>
                <a:gd name="connsiteY1697" fmla="*/ 2667 h 10000"/>
                <a:gd name="connsiteX1698" fmla="*/ 3442 w 10785"/>
                <a:gd name="connsiteY1698" fmla="*/ 2607 h 10000"/>
                <a:gd name="connsiteX1699" fmla="*/ 3433 w 10785"/>
                <a:gd name="connsiteY1699" fmla="*/ 2581 h 10000"/>
                <a:gd name="connsiteX1700" fmla="*/ 3396 w 10785"/>
                <a:gd name="connsiteY1700" fmla="*/ 2556 h 10000"/>
                <a:gd name="connsiteX1701" fmla="*/ 3318 w 10785"/>
                <a:gd name="connsiteY1701" fmla="*/ 2556 h 10000"/>
                <a:gd name="connsiteX1702" fmla="*/ 3304 w 10785"/>
                <a:gd name="connsiteY1702" fmla="*/ 2607 h 10000"/>
                <a:gd name="connsiteX1703" fmla="*/ 3276 w 10785"/>
                <a:gd name="connsiteY1703" fmla="*/ 2632 h 10000"/>
                <a:gd name="connsiteX1704" fmla="*/ 3272 w 10785"/>
                <a:gd name="connsiteY1704" fmla="*/ 2667 h 10000"/>
                <a:gd name="connsiteX1705" fmla="*/ 3304 w 10785"/>
                <a:gd name="connsiteY1705" fmla="*/ 2667 h 10000"/>
                <a:gd name="connsiteX1706" fmla="*/ 3323 w 10785"/>
                <a:gd name="connsiteY1706" fmla="*/ 2692 h 10000"/>
                <a:gd name="connsiteX1707" fmla="*/ 3318 w 10785"/>
                <a:gd name="connsiteY1707" fmla="*/ 2735 h 10000"/>
                <a:gd name="connsiteX1708" fmla="*/ 3304 w 10785"/>
                <a:gd name="connsiteY1708" fmla="*/ 2761 h 10000"/>
                <a:gd name="connsiteX1709" fmla="*/ 3276 w 10785"/>
                <a:gd name="connsiteY1709" fmla="*/ 2769 h 10000"/>
                <a:gd name="connsiteX1710" fmla="*/ 3263 w 10785"/>
                <a:gd name="connsiteY1710" fmla="*/ 2795 h 10000"/>
                <a:gd name="connsiteX1711" fmla="*/ 3235 w 10785"/>
                <a:gd name="connsiteY1711" fmla="*/ 2803 h 10000"/>
                <a:gd name="connsiteX1712" fmla="*/ 3235 w 10785"/>
                <a:gd name="connsiteY1712" fmla="*/ 2786 h 10000"/>
                <a:gd name="connsiteX1713" fmla="*/ 3212 w 10785"/>
                <a:gd name="connsiteY1713" fmla="*/ 2709 h 10000"/>
                <a:gd name="connsiteX1714" fmla="*/ 3198 w 10785"/>
                <a:gd name="connsiteY1714" fmla="*/ 2709 h 10000"/>
                <a:gd name="connsiteX1715" fmla="*/ 3184 w 10785"/>
                <a:gd name="connsiteY1715" fmla="*/ 2735 h 10000"/>
                <a:gd name="connsiteX1716" fmla="*/ 3189 w 10785"/>
                <a:gd name="connsiteY1716" fmla="*/ 2761 h 10000"/>
                <a:gd name="connsiteX1717" fmla="*/ 3203 w 10785"/>
                <a:gd name="connsiteY1717" fmla="*/ 2855 h 10000"/>
                <a:gd name="connsiteX1718" fmla="*/ 3212 w 10785"/>
                <a:gd name="connsiteY1718" fmla="*/ 2872 h 10000"/>
                <a:gd name="connsiteX1719" fmla="*/ 3235 w 10785"/>
                <a:gd name="connsiteY1719" fmla="*/ 2906 h 10000"/>
                <a:gd name="connsiteX1720" fmla="*/ 3258 w 10785"/>
                <a:gd name="connsiteY1720" fmla="*/ 2915 h 10000"/>
                <a:gd name="connsiteX1721" fmla="*/ 3272 w 10785"/>
                <a:gd name="connsiteY1721" fmla="*/ 2957 h 10000"/>
                <a:gd name="connsiteX1722" fmla="*/ 3276 w 10785"/>
                <a:gd name="connsiteY1722" fmla="*/ 2957 h 10000"/>
                <a:gd name="connsiteX1723" fmla="*/ 3286 w 10785"/>
                <a:gd name="connsiteY1723" fmla="*/ 2966 h 10000"/>
                <a:gd name="connsiteX1724" fmla="*/ 3300 w 10785"/>
                <a:gd name="connsiteY1724" fmla="*/ 2957 h 10000"/>
                <a:gd name="connsiteX1725" fmla="*/ 3309 w 10785"/>
                <a:gd name="connsiteY1725" fmla="*/ 2932 h 10000"/>
                <a:gd name="connsiteX1726" fmla="*/ 3304 w 10785"/>
                <a:gd name="connsiteY1726" fmla="*/ 2966 h 10000"/>
                <a:gd name="connsiteX1727" fmla="*/ 3309 w 10785"/>
                <a:gd name="connsiteY1727" fmla="*/ 2983 h 10000"/>
                <a:gd name="connsiteX1728" fmla="*/ 3323 w 10785"/>
                <a:gd name="connsiteY1728" fmla="*/ 2966 h 10000"/>
                <a:gd name="connsiteX1729" fmla="*/ 3323 w 10785"/>
                <a:gd name="connsiteY1729" fmla="*/ 3043 h 10000"/>
                <a:gd name="connsiteX1730" fmla="*/ 3346 w 10785"/>
                <a:gd name="connsiteY1730" fmla="*/ 3068 h 10000"/>
                <a:gd name="connsiteX1731" fmla="*/ 3346 w 10785"/>
                <a:gd name="connsiteY1731" fmla="*/ 3094 h 10000"/>
                <a:gd name="connsiteX1732" fmla="*/ 3323 w 10785"/>
                <a:gd name="connsiteY1732" fmla="*/ 3094 h 10000"/>
                <a:gd name="connsiteX1733" fmla="*/ 3309 w 10785"/>
                <a:gd name="connsiteY1733" fmla="*/ 3077 h 10000"/>
                <a:gd name="connsiteX1734" fmla="*/ 3304 w 10785"/>
                <a:gd name="connsiteY1734" fmla="*/ 3051 h 10000"/>
                <a:gd name="connsiteX1735" fmla="*/ 3300 w 10785"/>
                <a:gd name="connsiteY1735" fmla="*/ 3043 h 10000"/>
                <a:gd name="connsiteX1736" fmla="*/ 3286 w 10785"/>
                <a:gd name="connsiteY1736" fmla="*/ 3017 h 10000"/>
                <a:gd name="connsiteX1737" fmla="*/ 3152 w 10785"/>
                <a:gd name="connsiteY1737" fmla="*/ 2966 h 10000"/>
                <a:gd name="connsiteX1738" fmla="*/ 3129 w 10785"/>
                <a:gd name="connsiteY1738" fmla="*/ 2915 h 10000"/>
                <a:gd name="connsiteX1739" fmla="*/ 3129 w 10785"/>
                <a:gd name="connsiteY1739" fmla="*/ 2906 h 10000"/>
                <a:gd name="connsiteX1740" fmla="*/ 3152 w 10785"/>
                <a:gd name="connsiteY1740" fmla="*/ 2906 h 10000"/>
                <a:gd name="connsiteX1741" fmla="*/ 3152 w 10785"/>
                <a:gd name="connsiteY1741" fmla="*/ 2846 h 10000"/>
                <a:gd name="connsiteX1742" fmla="*/ 3138 w 10785"/>
                <a:gd name="connsiteY1742" fmla="*/ 2795 h 10000"/>
                <a:gd name="connsiteX1743" fmla="*/ 3138 w 10785"/>
                <a:gd name="connsiteY1743" fmla="*/ 2769 h 10000"/>
                <a:gd name="connsiteX1744" fmla="*/ 3143 w 10785"/>
                <a:gd name="connsiteY1744" fmla="*/ 2718 h 10000"/>
                <a:gd name="connsiteX1745" fmla="*/ 3129 w 10785"/>
                <a:gd name="connsiteY1745" fmla="*/ 2692 h 10000"/>
                <a:gd name="connsiteX1746" fmla="*/ 3143 w 10785"/>
                <a:gd name="connsiteY1746" fmla="*/ 2667 h 10000"/>
                <a:gd name="connsiteX1747" fmla="*/ 3157 w 10785"/>
                <a:gd name="connsiteY1747" fmla="*/ 2581 h 10000"/>
                <a:gd name="connsiteX1748" fmla="*/ 3143 w 10785"/>
                <a:gd name="connsiteY1748" fmla="*/ 2496 h 10000"/>
                <a:gd name="connsiteX1749" fmla="*/ 3157 w 10785"/>
                <a:gd name="connsiteY1749" fmla="*/ 2487 h 10000"/>
                <a:gd name="connsiteX1750" fmla="*/ 3143 w 10785"/>
                <a:gd name="connsiteY1750" fmla="*/ 2444 h 10000"/>
                <a:gd name="connsiteX1751" fmla="*/ 3143 w 10785"/>
                <a:gd name="connsiteY1751" fmla="*/ 2419 h 10000"/>
                <a:gd name="connsiteX1752" fmla="*/ 3143 w 10785"/>
                <a:gd name="connsiteY1752" fmla="*/ 2410 h 10000"/>
                <a:gd name="connsiteX1753" fmla="*/ 3124 w 10785"/>
                <a:gd name="connsiteY1753" fmla="*/ 2376 h 10000"/>
                <a:gd name="connsiteX1754" fmla="*/ 3115 w 10785"/>
                <a:gd name="connsiteY1754" fmla="*/ 2350 h 10000"/>
                <a:gd name="connsiteX1755" fmla="*/ 3101 w 10785"/>
                <a:gd name="connsiteY1755" fmla="*/ 2359 h 10000"/>
                <a:gd name="connsiteX1756" fmla="*/ 3115 w 10785"/>
                <a:gd name="connsiteY1756" fmla="*/ 2581 h 10000"/>
                <a:gd name="connsiteX1757" fmla="*/ 3111 w 10785"/>
                <a:gd name="connsiteY1757" fmla="*/ 2624 h 10000"/>
                <a:gd name="connsiteX1758" fmla="*/ 3009 w 10785"/>
                <a:gd name="connsiteY1758" fmla="*/ 2761 h 10000"/>
                <a:gd name="connsiteX1759" fmla="*/ 3009 w 10785"/>
                <a:gd name="connsiteY1759" fmla="*/ 2803 h 10000"/>
                <a:gd name="connsiteX1760" fmla="*/ 3005 w 10785"/>
                <a:gd name="connsiteY1760" fmla="*/ 2829 h 10000"/>
                <a:gd name="connsiteX1761" fmla="*/ 2982 w 10785"/>
                <a:gd name="connsiteY1761" fmla="*/ 2872 h 10000"/>
                <a:gd name="connsiteX1762" fmla="*/ 2982 w 10785"/>
                <a:gd name="connsiteY1762" fmla="*/ 2880 h 10000"/>
                <a:gd name="connsiteX1763" fmla="*/ 3037 w 10785"/>
                <a:gd name="connsiteY1763" fmla="*/ 3034 h 10000"/>
                <a:gd name="connsiteX1764" fmla="*/ 3041 w 10785"/>
                <a:gd name="connsiteY1764" fmla="*/ 3103 h 10000"/>
                <a:gd name="connsiteX1765" fmla="*/ 3069 w 10785"/>
                <a:gd name="connsiteY1765" fmla="*/ 3188 h 10000"/>
                <a:gd name="connsiteX1766" fmla="*/ 3055 w 10785"/>
                <a:gd name="connsiteY1766" fmla="*/ 3325 h 10000"/>
                <a:gd name="connsiteX1767" fmla="*/ 3037 w 10785"/>
                <a:gd name="connsiteY1767" fmla="*/ 3368 h 10000"/>
                <a:gd name="connsiteX1768" fmla="*/ 3037 w 10785"/>
                <a:gd name="connsiteY1768" fmla="*/ 3444 h 10000"/>
                <a:gd name="connsiteX1769" fmla="*/ 3028 w 10785"/>
                <a:gd name="connsiteY1769" fmla="*/ 3453 h 10000"/>
                <a:gd name="connsiteX1770" fmla="*/ 3023 w 10785"/>
                <a:gd name="connsiteY1770" fmla="*/ 3530 h 10000"/>
                <a:gd name="connsiteX1771" fmla="*/ 3051 w 10785"/>
                <a:gd name="connsiteY1771" fmla="*/ 3624 h 10000"/>
                <a:gd name="connsiteX1772" fmla="*/ 3037 w 10785"/>
                <a:gd name="connsiteY1772" fmla="*/ 3718 h 10000"/>
                <a:gd name="connsiteX1773" fmla="*/ 3041 w 10785"/>
                <a:gd name="connsiteY1773" fmla="*/ 3752 h 10000"/>
                <a:gd name="connsiteX1774" fmla="*/ 3055 w 10785"/>
                <a:gd name="connsiteY1774" fmla="*/ 3761 h 10000"/>
                <a:gd name="connsiteX1775" fmla="*/ 3078 w 10785"/>
                <a:gd name="connsiteY1775" fmla="*/ 3752 h 10000"/>
                <a:gd name="connsiteX1776" fmla="*/ 3092 w 10785"/>
                <a:gd name="connsiteY1776" fmla="*/ 3752 h 10000"/>
                <a:gd name="connsiteX1777" fmla="*/ 3129 w 10785"/>
                <a:gd name="connsiteY1777" fmla="*/ 3761 h 10000"/>
                <a:gd name="connsiteX1778" fmla="*/ 3129 w 10785"/>
                <a:gd name="connsiteY1778" fmla="*/ 3735 h 10000"/>
                <a:gd name="connsiteX1779" fmla="*/ 3157 w 10785"/>
                <a:gd name="connsiteY1779" fmla="*/ 3718 h 10000"/>
                <a:gd name="connsiteX1780" fmla="*/ 3184 w 10785"/>
                <a:gd name="connsiteY1780" fmla="*/ 3718 h 10000"/>
                <a:gd name="connsiteX1781" fmla="*/ 3290 w 10785"/>
                <a:gd name="connsiteY1781" fmla="*/ 3838 h 10000"/>
                <a:gd name="connsiteX1782" fmla="*/ 3300 w 10785"/>
                <a:gd name="connsiteY1782" fmla="*/ 3846 h 10000"/>
                <a:gd name="connsiteX1783" fmla="*/ 3300 w 10785"/>
                <a:gd name="connsiteY1783" fmla="*/ 3915 h 10000"/>
                <a:gd name="connsiteX1784" fmla="*/ 3318 w 10785"/>
                <a:gd name="connsiteY1784" fmla="*/ 4000 h 10000"/>
                <a:gd name="connsiteX1785" fmla="*/ 3323 w 10785"/>
                <a:gd name="connsiteY1785" fmla="*/ 4000 h 10000"/>
                <a:gd name="connsiteX1786" fmla="*/ 3323 w 10785"/>
                <a:gd name="connsiteY1786" fmla="*/ 4034 h 10000"/>
                <a:gd name="connsiteX1787" fmla="*/ 3318 w 10785"/>
                <a:gd name="connsiteY1787" fmla="*/ 4051 h 10000"/>
                <a:gd name="connsiteX1788" fmla="*/ 3300 w 10785"/>
                <a:gd name="connsiteY1788" fmla="*/ 4051 h 10000"/>
                <a:gd name="connsiteX1789" fmla="*/ 3290 w 10785"/>
                <a:gd name="connsiteY1789" fmla="*/ 4077 h 10000"/>
                <a:gd name="connsiteX1790" fmla="*/ 3286 w 10785"/>
                <a:gd name="connsiteY1790" fmla="*/ 4103 h 10000"/>
                <a:gd name="connsiteX1791" fmla="*/ 3286 w 10785"/>
                <a:gd name="connsiteY1791" fmla="*/ 4197 h 10000"/>
                <a:gd name="connsiteX1792" fmla="*/ 3290 w 10785"/>
                <a:gd name="connsiteY1792" fmla="*/ 4214 h 10000"/>
                <a:gd name="connsiteX1793" fmla="*/ 3304 w 10785"/>
                <a:gd name="connsiteY1793" fmla="*/ 4214 h 10000"/>
                <a:gd name="connsiteX1794" fmla="*/ 3323 w 10785"/>
                <a:gd name="connsiteY1794" fmla="*/ 4239 h 10000"/>
                <a:gd name="connsiteX1795" fmla="*/ 3350 w 10785"/>
                <a:gd name="connsiteY1795" fmla="*/ 4222 h 10000"/>
                <a:gd name="connsiteX1796" fmla="*/ 3369 w 10785"/>
                <a:gd name="connsiteY1796" fmla="*/ 4256 h 10000"/>
                <a:gd name="connsiteX1797" fmla="*/ 3369 w 10785"/>
                <a:gd name="connsiteY1797" fmla="*/ 4256 h 10000"/>
                <a:gd name="connsiteX1798" fmla="*/ 3336 w 10785"/>
                <a:gd name="connsiteY1798" fmla="*/ 4274 h 10000"/>
                <a:gd name="connsiteX1799" fmla="*/ 3323 w 10785"/>
                <a:gd name="connsiteY1799" fmla="*/ 4274 h 10000"/>
                <a:gd name="connsiteX1800" fmla="*/ 3290 w 10785"/>
                <a:gd name="connsiteY1800" fmla="*/ 4274 h 10000"/>
                <a:gd name="connsiteX1801" fmla="*/ 3286 w 10785"/>
                <a:gd name="connsiteY1801" fmla="*/ 4239 h 10000"/>
                <a:gd name="connsiteX1802" fmla="*/ 3263 w 10785"/>
                <a:gd name="connsiteY1802" fmla="*/ 4214 h 10000"/>
                <a:gd name="connsiteX1803" fmla="*/ 3258 w 10785"/>
                <a:gd name="connsiteY1803" fmla="*/ 4188 h 10000"/>
                <a:gd name="connsiteX1804" fmla="*/ 3263 w 10785"/>
                <a:gd name="connsiteY1804" fmla="*/ 4171 h 10000"/>
                <a:gd name="connsiteX1805" fmla="*/ 3263 w 10785"/>
                <a:gd name="connsiteY1805" fmla="*/ 4103 h 10000"/>
                <a:gd name="connsiteX1806" fmla="*/ 3276 w 10785"/>
                <a:gd name="connsiteY1806" fmla="*/ 4060 h 10000"/>
                <a:gd name="connsiteX1807" fmla="*/ 3272 w 10785"/>
                <a:gd name="connsiteY1807" fmla="*/ 4051 h 10000"/>
                <a:gd name="connsiteX1808" fmla="*/ 3263 w 10785"/>
                <a:gd name="connsiteY1808" fmla="*/ 4051 h 10000"/>
                <a:gd name="connsiteX1809" fmla="*/ 3263 w 10785"/>
                <a:gd name="connsiteY1809" fmla="*/ 4034 h 10000"/>
                <a:gd name="connsiteX1810" fmla="*/ 3263 w 10785"/>
                <a:gd name="connsiteY1810" fmla="*/ 4000 h 10000"/>
                <a:gd name="connsiteX1811" fmla="*/ 3272 w 10785"/>
                <a:gd name="connsiteY1811" fmla="*/ 4000 h 10000"/>
                <a:gd name="connsiteX1812" fmla="*/ 3272 w 10785"/>
                <a:gd name="connsiteY1812" fmla="*/ 3974 h 10000"/>
                <a:gd name="connsiteX1813" fmla="*/ 3272 w 10785"/>
                <a:gd name="connsiteY1813" fmla="*/ 3966 h 10000"/>
                <a:gd name="connsiteX1814" fmla="*/ 3272 w 10785"/>
                <a:gd name="connsiteY1814" fmla="*/ 3949 h 10000"/>
                <a:gd name="connsiteX1815" fmla="*/ 3258 w 10785"/>
                <a:gd name="connsiteY1815" fmla="*/ 3923 h 10000"/>
                <a:gd name="connsiteX1816" fmla="*/ 3249 w 10785"/>
                <a:gd name="connsiteY1816" fmla="*/ 3915 h 10000"/>
                <a:gd name="connsiteX1817" fmla="*/ 3244 w 10785"/>
                <a:gd name="connsiteY1817" fmla="*/ 3897 h 10000"/>
                <a:gd name="connsiteX1818" fmla="*/ 3230 w 10785"/>
                <a:gd name="connsiteY1818" fmla="*/ 3889 h 10000"/>
                <a:gd name="connsiteX1819" fmla="*/ 3230 w 10785"/>
                <a:gd name="connsiteY1819" fmla="*/ 3863 h 10000"/>
                <a:gd name="connsiteX1820" fmla="*/ 3230 w 10785"/>
                <a:gd name="connsiteY1820" fmla="*/ 3838 h 10000"/>
                <a:gd name="connsiteX1821" fmla="*/ 3226 w 10785"/>
                <a:gd name="connsiteY1821" fmla="*/ 3803 h 10000"/>
                <a:gd name="connsiteX1822" fmla="*/ 3138 w 10785"/>
                <a:gd name="connsiteY1822" fmla="*/ 3838 h 10000"/>
                <a:gd name="connsiteX1823" fmla="*/ 3078 w 10785"/>
                <a:gd name="connsiteY1823" fmla="*/ 3889 h 10000"/>
                <a:gd name="connsiteX1824" fmla="*/ 3078 w 10785"/>
                <a:gd name="connsiteY1824" fmla="*/ 3940 h 10000"/>
                <a:gd name="connsiteX1825" fmla="*/ 3069 w 10785"/>
                <a:gd name="connsiteY1825" fmla="*/ 3983 h 10000"/>
                <a:gd name="connsiteX1826" fmla="*/ 3069 w 10785"/>
                <a:gd name="connsiteY1826" fmla="*/ 4009 h 10000"/>
                <a:gd name="connsiteX1827" fmla="*/ 3078 w 10785"/>
                <a:gd name="connsiteY1827" fmla="*/ 4026 h 10000"/>
                <a:gd name="connsiteX1828" fmla="*/ 3083 w 10785"/>
                <a:gd name="connsiteY1828" fmla="*/ 4034 h 10000"/>
                <a:gd name="connsiteX1829" fmla="*/ 3092 w 10785"/>
                <a:gd name="connsiteY1829" fmla="*/ 4060 h 10000"/>
                <a:gd name="connsiteX1830" fmla="*/ 3092 w 10785"/>
                <a:gd name="connsiteY1830" fmla="*/ 4077 h 10000"/>
                <a:gd name="connsiteX1831" fmla="*/ 3097 w 10785"/>
                <a:gd name="connsiteY1831" fmla="*/ 4103 h 10000"/>
                <a:gd name="connsiteX1832" fmla="*/ 3101 w 10785"/>
                <a:gd name="connsiteY1832" fmla="*/ 4162 h 10000"/>
                <a:gd name="connsiteX1833" fmla="*/ 3097 w 10785"/>
                <a:gd name="connsiteY1833" fmla="*/ 4222 h 10000"/>
                <a:gd name="connsiteX1834" fmla="*/ 3041 w 10785"/>
                <a:gd name="connsiteY1834" fmla="*/ 4325 h 10000"/>
                <a:gd name="connsiteX1835" fmla="*/ 3037 w 10785"/>
                <a:gd name="connsiteY1835" fmla="*/ 4419 h 10000"/>
                <a:gd name="connsiteX1836" fmla="*/ 3018 w 10785"/>
                <a:gd name="connsiteY1836" fmla="*/ 4470 h 10000"/>
                <a:gd name="connsiteX1837" fmla="*/ 2991 w 10785"/>
                <a:gd name="connsiteY1837" fmla="*/ 4513 h 10000"/>
                <a:gd name="connsiteX1838" fmla="*/ 2977 w 10785"/>
                <a:gd name="connsiteY1838" fmla="*/ 4530 h 10000"/>
                <a:gd name="connsiteX1839" fmla="*/ 2945 w 10785"/>
                <a:gd name="connsiteY1839" fmla="*/ 4556 h 10000"/>
                <a:gd name="connsiteX1840" fmla="*/ 2935 w 10785"/>
                <a:gd name="connsiteY1840" fmla="*/ 4581 h 10000"/>
                <a:gd name="connsiteX1841" fmla="*/ 2949 w 10785"/>
                <a:gd name="connsiteY1841" fmla="*/ 4624 h 10000"/>
                <a:gd name="connsiteX1842" fmla="*/ 2945 w 10785"/>
                <a:gd name="connsiteY1842" fmla="*/ 4658 h 10000"/>
                <a:gd name="connsiteX1843" fmla="*/ 2922 w 10785"/>
                <a:gd name="connsiteY1843" fmla="*/ 4667 h 10000"/>
                <a:gd name="connsiteX1844" fmla="*/ 2876 w 10785"/>
                <a:gd name="connsiteY1844" fmla="*/ 4632 h 10000"/>
                <a:gd name="connsiteX1845" fmla="*/ 2857 w 10785"/>
                <a:gd name="connsiteY1845" fmla="*/ 4632 h 10000"/>
                <a:gd name="connsiteX1846" fmla="*/ 2820 w 10785"/>
                <a:gd name="connsiteY1846" fmla="*/ 4641 h 10000"/>
                <a:gd name="connsiteX1847" fmla="*/ 2797 w 10785"/>
                <a:gd name="connsiteY1847" fmla="*/ 4632 h 10000"/>
                <a:gd name="connsiteX1848" fmla="*/ 2788 w 10785"/>
                <a:gd name="connsiteY1848" fmla="*/ 4624 h 10000"/>
                <a:gd name="connsiteX1849" fmla="*/ 2788 w 10785"/>
                <a:gd name="connsiteY1849" fmla="*/ 4598 h 10000"/>
                <a:gd name="connsiteX1850" fmla="*/ 2797 w 10785"/>
                <a:gd name="connsiteY1850" fmla="*/ 4581 h 10000"/>
                <a:gd name="connsiteX1851" fmla="*/ 2788 w 10785"/>
                <a:gd name="connsiteY1851" fmla="*/ 4530 h 10000"/>
                <a:gd name="connsiteX1852" fmla="*/ 2774 w 10785"/>
                <a:gd name="connsiteY1852" fmla="*/ 4530 h 10000"/>
                <a:gd name="connsiteX1853" fmla="*/ 2770 w 10785"/>
                <a:gd name="connsiteY1853" fmla="*/ 4513 h 10000"/>
                <a:gd name="connsiteX1854" fmla="*/ 2774 w 10785"/>
                <a:gd name="connsiteY1854" fmla="*/ 4513 h 10000"/>
                <a:gd name="connsiteX1855" fmla="*/ 2788 w 10785"/>
                <a:gd name="connsiteY1855" fmla="*/ 4496 h 10000"/>
                <a:gd name="connsiteX1856" fmla="*/ 2802 w 10785"/>
                <a:gd name="connsiteY1856" fmla="*/ 4513 h 10000"/>
                <a:gd name="connsiteX1857" fmla="*/ 2811 w 10785"/>
                <a:gd name="connsiteY1857" fmla="*/ 4530 h 10000"/>
                <a:gd name="connsiteX1858" fmla="*/ 2820 w 10785"/>
                <a:gd name="connsiteY1858" fmla="*/ 4521 h 10000"/>
                <a:gd name="connsiteX1859" fmla="*/ 2829 w 10785"/>
                <a:gd name="connsiteY1859" fmla="*/ 4513 h 10000"/>
                <a:gd name="connsiteX1860" fmla="*/ 2843 w 10785"/>
                <a:gd name="connsiteY1860" fmla="*/ 4513 h 10000"/>
                <a:gd name="connsiteX1861" fmla="*/ 2848 w 10785"/>
                <a:gd name="connsiteY1861" fmla="*/ 4470 h 10000"/>
                <a:gd name="connsiteX1862" fmla="*/ 2862 w 10785"/>
                <a:gd name="connsiteY1862" fmla="*/ 4487 h 10000"/>
                <a:gd name="connsiteX1863" fmla="*/ 2876 w 10785"/>
                <a:gd name="connsiteY1863" fmla="*/ 4470 h 10000"/>
                <a:gd name="connsiteX1864" fmla="*/ 2880 w 10785"/>
                <a:gd name="connsiteY1864" fmla="*/ 4462 h 10000"/>
                <a:gd name="connsiteX1865" fmla="*/ 2889 w 10785"/>
                <a:gd name="connsiteY1865" fmla="*/ 4444 h 10000"/>
                <a:gd name="connsiteX1866" fmla="*/ 2894 w 10785"/>
                <a:gd name="connsiteY1866" fmla="*/ 4462 h 10000"/>
                <a:gd name="connsiteX1867" fmla="*/ 2917 w 10785"/>
                <a:gd name="connsiteY1867" fmla="*/ 4444 h 10000"/>
                <a:gd name="connsiteX1868" fmla="*/ 2922 w 10785"/>
                <a:gd name="connsiteY1868" fmla="*/ 4436 h 10000"/>
                <a:gd name="connsiteX1869" fmla="*/ 2917 w 10785"/>
                <a:gd name="connsiteY1869" fmla="*/ 4410 h 10000"/>
                <a:gd name="connsiteX1870" fmla="*/ 2894 w 10785"/>
                <a:gd name="connsiteY1870" fmla="*/ 4410 h 10000"/>
                <a:gd name="connsiteX1871" fmla="*/ 2889 w 10785"/>
                <a:gd name="connsiteY1871" fmla="*/ 4419 h 10000"/>
                <a:gd name="connsiteX1872" fmla="*/ 2876 w 10785"/>
                <a:gd name="connsiteY1872" fmla="*/ 4410 h 10000"/>
                <a:gd name="connsiteX1873" fmla="*/ 2880 w 10785"/>
                <a:gd name="connsiteY1873" fmla="*/ 4376 h 10000"/>
                <a:gd name="connsiteX1874" fmla="*/ 2903 w 10785"/>
                <a:gd name="connsiteY1874" fmla="*/ 4393 h 10000"/>
                <a:gd name="connsiteX1875" fmla="*/ 2931 w 10785"/>
                <a:gd name="connsiteY1875" fmla="*/ 4393 h 10000"/>
                <a:gd name="connsiteX1876" fmla="*/ 2931 w 10785"/>
                <a:gd name="connsiteY1876" fmla="*/ 4385 h 10000"/>
                <a:gd name="connsiteX1877" fmla="*/ 2931 w 10785"/>
                <a:gd name="connsiteY1877" fmla="*/ 4350 h 10000"/>
                <a:gd name="connsiteX1878" fmla="*/ 2945 w 10785"/>
                <a:gd name="connsiteY1878" fmla="*/ 4350 h 10000"/>
                <a:gd name="connsiteX1879" fmla="*/ 2949 w 10785"/>
                <a:gd name="connsiteY1879" fmla="*/ 4325 h 10000"/>
                <a:gd name="connsiteX1880" fmla="*/ 2963 w 10785"/>
                <a:gd name="connsiteY1880" fmla="*/ 4256 h 10000"/>
                <a:gd name="connsiteX1881" fmla="*/ 2982 w 10785"/>
                <a:gd name="connsiteY1881" fmla="*/ 4239 h 10000"/>
                <a:gd name="connsiteX1882" fmla="*/ 2991 w 10785"/>
                <a:gd name="connsiteY1882" fmla="*/ 4214 h 10000"/>
                <a:gd name="connsiteX1883" fmla="*/ 2991 w 10785"/>
                <a:gd name="connsiteY1883" fmla="*/ 4197 h 10000"/>
                <a:gd name="connsiteX1884" fmla="*/ 2995 w 10785"/>
                <a:gd name="connsiteY1884" fmla="*/ 4171 h 10000"/>
                <a:gd name="connsiteX1885" fmla="*/ 2991 w 10785"/>
                <a:gd name="connsiteY1885" fmla="*/ 4077 h 10000"/>
                <a:gd name="connsiteX1886" fmla="*/ 2995 w 10785"/>
                <a:gd name="connsiteY1886" fmla="*/ 4034 h 10000"/>
                <a:gd name="connsiteX1887" fmla="*/ 3018 w 10785"/>
                <a:gd name="connsiteY1887" fmla="*/ 3983 h 10000"/>
                <a:gd name="connsiteX1888" fmla="*/ 3018 w 10785"/>
                <a:gd name="connsiteY1888" fmla="*/ 3915 h 10000"/>
                <a:gd name="connsiteX1889" fmla="*/ 2949 w 10785"/>
                <a:gd name="connsiteY1889" fmla="*/ 3778 h 10000"/>
                <a:gd name="connsiteX1890" fmla="*/ 2954 w 10785"/>
                <a:gd name="connsiteY1890" fmla="*/ 3675 h 10000"/>
                <a:gd name="connsiteX1891" fmla="*/ 2954 w 10785"/>
                <a:gd name="connsiteY1891" fmla="*/ 3650 h 10000"/>
                <a:gd name="connsiteX1892" fmla="*/ 2963 w 10785"/>
                <a:gd name="connsiteY1892" fmla="*/ 3624 h 10000"/>
                <a:gd name="connsiteX1893" fmla="*/ 2954 w 10785"/>
                <a:gd name="connsiteY1893" fmla="*/ 3564 h 10000"/>
                <a:gd name="connsiteX1894" fmla="*/ 2963 w 10785"/>
                <a:gd name="connsiteY1894" fmla="*/ 3538 h 10000"/>
                <a:gd name="connsiteX1895" fmla="*/ 2963 w 10785"/>
                <a:gd name="connsiteY1895" fmla="*/ 3487 h 10000"/>
                <a:gd name="connsiteX1896" fmla="*/ 2963 w 10785"/>
                <a:gd name="connsiteY1896" fmla="*/ 3479 h 10000"/>
                <a:gd name="connsiteX1897" fmla="*/ 2963 w 10785"/>
                <a:gd name="connsiteY1897" fmla="*/ 3462 h 10000"/>
                <a:gd name="connsiteX1898" fmla="*/ 2954 w 10785"/>
                <a:gd name="connsiteY1898" fmla="*/ 3453 h 10000"/>
                <a:gd name="connsiteX1899" fmla="*/ 2954 w 10785"/>
                <a:gd name="connsiteY1899" fmla="*/ 3444 h 10000"/>
                <a:gd name="connsiteX1900" fmla="*/ 2954 w 10785"/>
                <a:gd name="connsiteY1900" fmla="*/ 3402 h 10000"/>
                <a:gd name="connsiteX1901" fmla="*/ 2954 w 10785"/>
                <a:gd name="connsiteY1901" fmla="*/ 3393 h 10000"/>
                <a:gd name="connsiteX1902" fmla="*/ 2949 w 10785"/>
                <a:gd name="connsiteY1902" fmla="*/ 3376 h 10000"/>
                <a:gd name="connsiteX1903" fmla="*/ 2949 w 10785"/>
                <a:gd name="connsiteY1903" fmla="*/ 3342 h 10000"/>
                <a:gd name="connsiteX1904" fmla="*/ 2949 w 10785"/>
                <a:gd name="connsiteY1904" fmla="*/ 3316 h 10000"/>
                <a:gd name="connsiteX1905" fmla="*/ 2968 w 10785"/>
                <a:gd name="connsiteY1905" fmla="*/ 3291 h 10000"/>
                <a:gd name="connsiteX1906" fmla="*/ 2963 w 10785"/>
                <a:gd name="connsiteY1906" fmla="*/ 3205 h 10000"/>
                <a:gd name="connsiteX1907" fmla="*/ 2968 w 10785"/>
                <a:gd name="connsiteY1907" fmla="*/ 3171 h 10000"/>
                <a:gd name="connsiteX1908" fmla="*/ 2968 w 10785"/>
                <a:gd name="connsiteY1908" fmla="*/ 3128 h 10000"/>
                <a:gd name="connsiteX1909" fmla="*/ 2954 w 10785"/>
                <a:gd name="connsiteY1909" fmla="*/ 3051 h 10000"/>
                <a:gd name="connsiteX1910" fmla="*/ 2954 w 10785"/>
                <a:gd name="connsiteY1910" fmla="*/ 3009 h 10000"/>
                <a:gd name="connsiteX1911" fmla="*/ 2922 w 10785"/>
                <a:gd name="connsiteY1911" fmla="*/ 2940 h 10000"/>
                <a:gd name="connsiteX1912" fmla="*/ 2903 w 10785"/>
                <a:gd name="connsiteY1912" fmla="*/ 2880 h 10000"/>
                <a:gd name="connsiteX1913" fmla="*/ 2903 w 10785"/>
                <a:gd name="connsiteY1913" fmla="*/ 2855 h 10000"/>
                <a:gd name="connsiteX1914" fmla="*/ 2908 w 10785"/>
                <a:gd name="connsiteY1914" fmla="*/ 2846 h 10000"/>
                <a:gd name="connsiteX1915" fmla="*/ 2931 w 10785"/>
                <a:gd name="connsiteY1915" fmla="*/ 2821 h 10000"/>
                <a:gd name="connsiteX1916" fmla="*/ 2931 w 10785"/>
                <a:gd name="connsiteY1916" fmla="*/ 2803 h 10000"/>
                <a:gd name="connsiteX1917" fmla="*/ 2935 w 10785"/>
                <a:gd name="connsiteY1917" fmla="*/ 2786 h 10000"/>
                <a:gd name="connsiteX1918" fmla="*/ 2935 w 10785"/>
                <a:gd name="connsiteY1918" fmla="*/ 2744 h 10000"/>
                <a:gd name="connsiteX1919" fmla="*/ 2963 w 10785"/>
                <a:gd name="connsiteY1919" fmla="*/ 2607 h 10000"/>
                <a:gd name="connsiteX1920" fmla="*/ 2963 w 10785"/>
                <a:gd name="connsiteY1920" fmla="*/ 2419 h 10000"/>
                <a:gd name="connsiteX1921" fmla="*/ 2954 w 10785"/>
                <a:gd name="connsiteY1921" fmla="*/ 2410 h 10000"/>
                <a:gd name="connsiteX1922" fmla="*/ 2963 w 10785"/>
                <a:gd name="connsiteY1922" fmla="*/ 2393 h 10000"/>
                <a:gd name="connsiteX1923" fmla="*/ 2908 w 10785"/>
                <a:gd name="connsiteY1923" fmla="*/ 2359 h 10000"/>
                <a:gd name="connsiteX1924" fmla="*/ 2889 w 10785"/>
                <a:gd name="connsiteY1924" fmla="*/ 2325 h 10000"/>
                <a:gd name="connsiteX1925" fmla="*/ 2788 w 10785"/>
                <a:gd name="connsiteY1925" fmla="*/ 2333 h 10000"/>
                <a:gd name="connsiteX1926" fmla="*/ 2774 w 10785"/>
                <a:gd name="connsiteY1926" fmla="*/ 2325 h 10000"/>
                <a:gd name="connsiteX1927" fmla="*/ 2783 w 10785"/>
                <a:gd name="connsiteY1927" fmla="*/ 2308 h 10000"/>
                <a:gd name="connsiteX1928" fmla="*/ 2747 w 10785"/>
                <a:gd name="connsiteY1928" fmla="*/ 2308 h 10000"/>
                <a:gd name="connsiteX1929" fmla="*/ 2742 w 10785"/>
                <a:gd name="connsiteY1929" fmla="*/ 2333 h 10000"/>
                <a:gd name="connsiteX1930" fmla="*/ 2682 w 10785"/>
                <a:gd name="connsiteY1930" fmla="*/ 2769 h 10000"/>
                <a:gd name="connsiteX1931" fmla="*/ 2613 w 10785"/>
                <a:gd name="connsiteY1931" fmla="*/ 2940 h 10000"/>
                <a:gd name="connsiteX1932" fmla="*/ 2581 w 10785"/>
                <a:gd name="connsiteY1932" fmla="*/ 2966 h 10000"/>
                <a:gd name="connsiteX1933" fmla="*/ 2576 w 10785"/>
                <a:gd name="connsiteY1933" fmla="*/ 3051 h 10000"/>
                <a:gd name="connsiteX1934" fmla="*/ 2581 w 10785"/>
                <a:gd name="connsiteY1934" fmla="*/ 3051 h 10000"/>
                <a:gd name="connsiteX1935" fmla="*/ 2594 w 10785"/>
                <a:gd name="connsiteY1935" fmla="*/ 3017 h 10000"/>
                <a:gd name="connsiteX1936" fmla="*/ 2594 w 10785"/>
                <a:gd name="connsiteY1936" fmla="*/ 3034 h 10000"/>
                <a:gd name="connsiteX1937" fmla="*/ 2594 w 10785"/>
                <a:gd name="connsiteY1937" fmla="*/ 3051 h 10000"/>
                <a:gd name="connsiteX1938" fmla="*/ 2590 w 10785"/>
                <a:gd name="connsiteY1938" fmla="*/ 3077 h 10000"/>
                <a:gd name="connsiteX1939" fmla="*/ 2567 w 10785"/>
                <a:gd name="connsiteY1939" fmla="*/ 3103 h 10000"/>
                <a:gd name="connsiteX1940" fmla="*/ 2562 w 10785"/>
                <a:gd name="connsiteY1940" fmla="*/ 3145 h 10000"/>
                <a:gd name="connsiteX1941" fmla="*/ 2567 w 10785"/>
                <a:gd name="connsiteY1941" fmla="*/ 3179 h 10000"/>
                <a:gd name="connsiteX1942" fmla="*/ 2590 w 10785"/>
                <a:gd name="connsiteY1942" fmla="*/ 3171 h 10000"/>
                <a:gd name="connsiteX1943" fmla="*/ 2594 w 10785"/>
                <a:gd name="connsiteY1943" fmla="*/ 3145 h 10000"/>
                <a:gd name="connsiteX1944" fmla="*/ 2613 w 10785"/>
                <a:gd name="connsiteY1944" fmla="*/ 3154 h 10000"/>
                <a:gd name="connsiteX1945" fmla="*/ 2622 w 10785"/>
                <a:gd name="connsiteY1945" fmla="*/ 3179 h 10000"/>
                <a:gd name="connsiteX1946" fmla="*/ 2613 w 10785"/>
                <a:gd name="connsiteY1946" fmla="*/ 3214 h 10000"/>
                <a:gd name="connsiteX1947" fmla="*/ 2613 w 10785"/>
                <a:gd name="connsiteY1947" fmla="*/ 3308 h 10000"/>
                <a:gd name="connsiteX1948" fmla="*/ 2608 w 10785"/>
                <a:gd name="connsiteY1948" fmla="*/ 3325 h 10000"/>
                <a:gd name="connsiteX1949" fmla="*/ 2608 w 10785"/>
                <a:gd name="connsiteY1949" fmla="*/ 3376 h 10000"/>
                <a:gd name="connsiteX1950" fmla="*/ 2613 w 10785"/>
                <a:gd name="connsiteY1950" fmla="*/ 3419 h 10000"/>
                <a:gd name="connsiteX1951" fmla="*/ 2608 w 10785"/>
                <a:gd name="connsiteY1951" fmla="*/ 3444 h 10000"/>
                <a:gd name="connsiteX1952" fmla="*/ 2594 w 10785"/>
                <a:gd name="connsiteY1952" fmla="*/ 3444 h 10000"/>
                <a:gd name="connsiteX1953" fmla="*/ 2590 w 10785"/>
                <a:gd name="connsiteY1953" fmla="*/ 3427 h 10000"/>
                <a:gd name="connsiteX1954" fmla="*/ 2581 w 10785"/>
                <a:gd name="connsiteY1954" fmla="*/ 3564 h 10000"/>
                <a:gd name="connsiteX1955" fmla="*/ 2594 w 10785"/>
                <a:gd name="connsiteY1955" fmla="*/ 3598 h 10000"/>
                <a:gd name="connsiteX1956" fmla="*/ 2594 w 10785"/>
                <a:gd name="connsiteY1956" fmla="*/ 3581 h 10000"/>
                <a:gd name="connsiteX1957" fmla="*/ 2608 w 10785"/>
                <a:gd name="connsiteY1957" fmla="*/ 3556 h 10000"/>
                <a:gd name="connsiteX1958" fmla="*/ 2650 w 10785"/>
                <a:gd name="connsiteY1958" fmla="*/ 3615 h 10000"/>
                <a:gd name="connsiteX1959" fmla="*/ 2664 w 10785"/>
                <a:gd name="connsiteY1959" fmla="*/ 3615 h 10000"/>
                <a:gd name="connsiteX1960" fmla="*/ 2668 w 10785"/>
                <a:gd name="connsiteY1960" fmla="*/ 3615 h 10000"/>
                <a:gd name="connsiteX1961" fmla="*/ 2664 w 10785"/>
                <a:gd name="connsiteY1961" fmla="*/ 3667 h 10000"/>
                <a:gd name="connsiteX1962" fmla="*/ 2687 w 10785"/>
                <a:gd name="connsiteY1962" fmla="*/ 3786 h 10000"/>
                <a:gd name="connsiteX1963" fmla="*/ 2710 w 10785"/>
                <a:gd name="connsiteY1963" fmla="*/ 3812 h 10000"/>
                <a:gd name="connsiteX1964" fmla="*/ 2724 w 10785"/>
                <a:gd name="connsiteY1964" fmla="*/ 3812 h 10000"/>
                <a:gd name="connsiteX1965" fmla="*/ 2724 w 10785"/>
                <a:gd name="connsiteY1965" fmla="*/ 3829 h 10000"/>
                <a:gd name="connsiteX1966" fmla="*/ 2737 w 10785"/>
                <a:gd name="connsiteY1966" fmla="*/ 3838 h 10000"/>
                <a:gd name="connsiteX1967" fmla="*/ 2714 w 10785"/>
                <a:gd name="connsiteY1967" fmla="*/ 3872 h 10000"/>
                <a:gd name="connsiteX1968" fmla="*/ 2696 w 10785"/>
                <a:gd name="connsiteY1968" fmla="*/ 4026 h 10000"/>
                <a:gd name="connsiteX1969" fmla="*/ 2673 w 10785"/>
                <a:gd name="connsiteY1969" fmla="*/ 4051 h 10000"/>
                <a:gd name="connsiteX1970" fmla="*/ 2668 w 10785"/>
                <a:gd name="connsiteY1970" fmla="*/ 4034 h 10000"/>
                <a:gd name="connsiteX1971" fmla="*/ 2673 w 10785"/>
                <a:gd name="connsiteY1971" fmla="*/ 4000 h 10000"/>
                <a:gd name="connsiteX1972" fmla="*/ 2664 w 10785"/>
                <a:gd name="connsiteY1972" fmla="*/ 3974 h 10000"/>
                <a:gd name="connsiteX1973" fmla="*/ 2636 w 10785"/>
                <a:gd name="connsiteY1973" fmla="*/ 3949 h 10000"/>
                <a:gd name="connsiteX1974" fmla="*/ 2581 w 10785"/>
                <a:gd name="connsiteY1974" fmla="*/ 3838 h 10000"/>
                <a:gd name="connsiteX1975" fmla="*/ 2562 w 10785"/>
                <a:gd name="connsiteY1975" fmla="*/ 3829 h 10000"/>
                <a:gd name="connsiteX1976" fmla="*/ 2535 w 10785"/>
                <a:gd name="connsiteY1976" fmla="*/ 3778 h 10000"/>
                <a:gd name="connsiteX1977" fmla="*/ 2502 w 10785"/>
                <a:gd name="connsiteY1977" fmla="*/ 3761 h 10000"/>
                <a:gd name="connsiteX1978" fmla="*/ 2502 w 10785"/>
                <a:gd name="connsiteY1978" fmla="*/ 3735 h 10000"/>
                <a:gd name="connsiteX1979" fmla="*/ 2516 w 10785"/>
                <a:gd name="connsiteY1979" fmla="*/ 3735 h 10000"/>
                <a:gd name="connsiteX1980" fmla="*/ 2507 w 10785"/>
                <a:gd name="connsiteY1980" fmla="*/ 3726 h 10000"/>
                <a:gd name="connsiteX1981" fmla="*/ 2488 w 10785"/>
                <a:gd name="connsiteY1981" fmla="*/ 3726 h 10000"/>
                <a:gd name="connsiteX1982" fmla="*/ 2461 w 10785"/>
                <a:gd name="connsiteY1982" fmla="*/ 3692 h 10000"/>
                <a:gd name="connsiteX1983" fmla="*/ 2442 w 10785"/>
                <a:gd name="connsiteY1983" fmla="*/ 3675 h 10000"/>
                <a:gd name="connsiteX1984" fmla="*/ 2406 w 10785"/>
                <a:gd name="connsiteY1984" fmla="*/ 3598 h 10000"/>
                <a:gd name="connsiteX1985" fmla="*/ 2346 w 10785"/>
                <a:gd name="connsiteY1985" fmla="*/ 3564 h 10000"/>
                <a:gd name="connsiteX1986" fmla="*/ 2341 w 10785"/>
                <a:gd name="connsiteY1986" fmla="*/ 3564 h 10000"/>
                <a:gd name="connsiteX1987" fmla="*/ 2313 w 10785"/>
                <a:gd name="connsiteY1987" fmla="*/ 3530 h 10000"/>
                <a:gd name="connsiteX1988" fmla="*/ 2235 w 10785"/>
                <a:gd name="connsiteY1988" fmla="*/ 3530 h 10000"/>
                <a:gd name="connsiteX1989" fmla="*/ 2226 w 10785"/>
                <a:gd name="connsiteY1989" fmla="*/ 3513 h 10000"/>
                <a:gd name="connsiteX1990" fmla="*/ 2207 w 10785"/>
                <a:gd name="connsiteY1990" fmla="*/ 3504 h 10000"/>
                <a:gd name="connsiteX1991" fmla="*/ 2194 w 10785"/>
                <a:gd name="connsiteY1991" fmla="*/ 3504 h 10000"/>
                <a:gd name="connsiteX1992" fmla="*/ 2189 w 10785"/>
                <a:gd name="connsiteY1992" fmla="*/ 3504 h 10000"/>
                <a:gd name="connsiteX1993" fmla="*/ 2189 w 10785"/>
                <a:gd name="connsiteY1993" fmla="*/ 3530 h 10000"/>
                <a:gd name="connsiteX1994" fmla="*/ 2180 w 10785"/>
                <a:gd name="connsiteY1994" fmla="*/ 3538 h 10000"/>
                <a:gd name="connsiteX1995" fmla="*/ 2152 w 10785"/>
                <a:gd name="connsiteY1995" fmla="*/ 3581 h 10000"/>
                <a:gd name="connsiteX1996" fmla="*/ 2161 w 10785"/>
                <a:gd name="connsiteY1996" fmla="*/ 3598 h 10000"/>
                <a:gd name="connsiteX1997" fmla="*/ 2194 w 10785"/>
                <a:gd name="connsiteY1997" fmla="*/ 3752 h 10000"/>
                <a:gd name="connsiteX1998" fmla="*/ 2194 w 10785"/>
                <a:gd name="connsiteY1998" fmla="*/ 3735 h 10000"/>
                <a:gd name="connsiteX1999" fmla="*/ 2198 w 10785"/>
                <a:gd name="connsiteY1999" fmla="*/ 3735 h 10000"/>
                <a:gd name="connsiteX2000" fmla="*/ 2189 w 10785"/>
                <a:gd name="connsiteY2000" fmla="*/ 3838 h 10000"/>
                <a:gd name="connsiteX2001" fmla="*/ 2166 w 10785"/>
                <a:gd name="connsiteY2001" fmla="*/ 3889 h 10000"/>
                <a:gd name="connsiteX2002" fmla="*/ 2124 w 10785"/>
                <a:gd name="connsiteY2002" fmla="*/ 3889 h 10000"/>
                <a:gd name="connsiteX2003" fmla="*/ 2124 w 10785"/>
                <a:gd name="connsiteY2003" fmla="*/ 3923 h 10000"/>
                <a:gd name="connsiteX2004" fmla="*/ 2134 w 10785"/>
                <a:gd name="connsiteY2004" fmla="*/ 3940 h 10000"/>
                <a:gd name="connsiteX2005" fmla="*/ 2134 w 10785"/>
                <a:gd name="connsiteY2005" fmla="*/ 3966 h 10000"/>
                <a:gd name="connsiteX2006" fmla="*/ 2120 w 10785"/>
                <a:gd name="connsiteY2006" fmla="*/ 4000 h 10000"/>
                <a:gd name="connsiteX2007" fmla="*/ 2106 w 10785"/>
                <a:gd name="connsiteY2007" fmla="*/ 4009 h 10000"/>
                <a:gd name="connsiteX2008" fmla="*/ 2088 w 10785"/>
                <a:gd name="connsiteY2008" fmla="*/ 4000 h 10000"/>
                <a:gd name="connsiteX2009" fmla="*/ 2074 w 10785"/>
                <a:gd name="connsiteY2009" fmla="*/ 3974 h 10000"/>
                <a:gd name="connsiteX2010" fmla="*/ 2074 w 10785"/>
                <a:gd name="connsiteY2010" fmla="*/ 3940 h 10000"/>
                <a:gd name="connsiteX2011" fmla="*/ 2078 w 10785"/>
                <a:gd name="connsiteY2011" fmla="*/ 3915 h 10000"/>
                <a:gd name="connsiteX2012" fmla="*/ 2088 w 10785"/>
                <a:gd name="connsiteY2012" fmla="*/ 3889 h 10000"/>
                <a:gd name="connsiteX2013" fmla="*/ 2101 w 10785"/>
                <a:gd name="connsiteY2013" fmla="*/ 3872 h 10000"/>
                <a:gd name="connsiteX2014" fmla="*/ 2074 w 10785"/>
                <a:gd name="connsiteY2014" fmla="*/ 3812 h 10000"/>
                <a:gd name="connsiteX2015" fmla="*/ 2074 w 10785"/>
                <a:gd name="connsiteY2015" fmla="*/ 3786 h 10000"/>
                <a:gd name="connsiteX2016" fmla="*/ 2060 w 10785"/>
                <a:gd name="connsiteY2016" fmla="*/ 3786 h 10000"/>
                <a:gd name="connsiteX2017" fmla="*/ 2014 w 10785"/>
                <a:gd name="connsiteY2017" fmla="*/ 3829 h 10000"/>
                <a:gd name="connsiteX2018" fmla="*/ 2000 w 10785"/>
                <a:gd name="connsiteY2018" fmla="*/ 3863 h 10000"/>
                <a:gd name="connsiteX2019" fmla="*/ 1986 w 10785"/>
                <a:gd name="connsiteY2019" fmla="*/ 3872 h 10000"/>
                <a:gd name="connsiteX2020" fmla="*/ 1959 w 10785"/>
                <a:gd name="connsiteY2020" fmla="*/ 3940 h 10000"/>
                <a:gd name="connsiteX2021" fmla="*/ 1945 w 10785"/>
                <a:gd name="connsiteY2021" fmla="*/ 3949 h 10000"/>
                <a:gd name="connsiteX2022" fmla="*/ 1940 w 10785"/>
                <a:gd name="connsiteY2022" fmla="*/ 3923 h 10000"/>
                <a:gd name="connsiteX2023" fmla="*/ 1917 w 10785"/>
                <a:gd name="connsiteY2023" fmla="*/ 3915 h 10000"/>
                <a:gd name="connsiteX2024" fmla="*/ 1899 w 10785"/>
                <a:gd name="connsiteY2024" fmla="*/ 3923 h 10000"/>
                <a:gd name="connsiteX2025" fmla="*/ 1880 w 10785"/>
                <a:gd name="connsiteY2025" fmla="*/ 3915 h 10000"/>
                <a:gd name="connsiteX2026" fmla="*/ 1853 w 10785"/>
                <a:gd name="connsiteY2026" fmla="*/ 3940 h 10000"/>
                <a:gd name="connsiteX2027" fmla="*/ 1839 w 10785"/>
                <a:gd name="connsiteY2027" fmla="*/ 3940 h 10000"/>
                <a:gd name="connsiteX2028" fmla="*/ 1806 w 10785"/>
                <a:gd name="connsiteY2028" fmla="*/ 3983 h 10000"/>
                <a:gd name="connsiteX2029" fmla="*/ 1806 w 10785"/>
                <a:gd name="connsiteY2029" fmla="*/ 4000 h 10000"/>
                <a:gd name="connsiteX2030" fmla="*/ 1797 w 10785"/>
                <a:gd name="connsiteY2030" fmla="*/ 4077 h 10000"/>
                <a:gd name="connsiteX2031" fmla="*/ 1783 w 10785"/>
                <a:gd name="connsiteY2031" fmla="*/ 4077 h 10000"/>
                <a:gd name="connsiteX2032" fmla="*/ 1779 w 10785"/>
                <a:gd name="connsiteY2032" fmla="*/ 4051 h 10000"/>
                <a:gd name="connsiteX2033" fmla="*/ 1765 w 10785"/>
                <a:gd name="connsiteY2033" fmla="*/ 4026 h 10000"/>
                <a:gd name="connsiteX2034" fmla="*/ 1751 w 10785"/>
                <a:gd name="connsiteY2034" fmla="*/ 4051 h 10000"/>
                <a:gd name="connsiteX2035" fmla="*/ 1737 w 10785"/>
                <a:gd name="connsiteY2035" fmla="*/ 4009 h 10000"/>
                <a:gd name="connsiteX2036" fmla="*/ 1737 w 10785"/>
                <a:gd name="connsiteY2036" fmla="*/ 3966 h 10000"/>
                <a:gd name="connsiteX2037" fmla="*/ 1733 w 10785"/>
                <a:gd name="connsiteY2037" fmla="*/ 3940 h 10000"/>
                <a:gd name="connsiteX2038" fmla="*/ 1733 w 10785"/>
                <a:gd name="connsiteY2038" fmla="*/ 3923 h 10000"/>
                <a:gd name="connsiteX2039" fmla="*/ 1747 w 10785"/>
                <a:gd name="connsiteY2039" fmla="*/ 3889 h 10000"/>
                <a:gd name="connsiteX2040" fmla="*/ 1747 w 10785"/>
                <a:gd name="connsiteY2040" fmla="*/ 3863 h 10000"/>
                <a:gd name="connsiteX2041" fmla="*/ 1737 w 10785"/>
                <a:gd name="connsiteY2041" fmla="*/ 3838 h 10000"/>
                <a:gd name="connsiteX2042" fmla="*/ 1733 w 10785"/>
                <a:gd name="connsiteY2042" fmla="*/ 3829 h 10000"/>
                <a:gd name="connsiteX2043" fmla="*/ 1733 w 10785"/>
                <a:gd name="connsiteY2043" fmla="*/ 3846 h 10000"/>
                <a:gd name="connsiteX2044" fmla="*/ 1724 w 10785"/>
                <a:gd name="connsiteY2044" fmla="*/ 3846 h 10000"/>
                <a:gd name="connsiteX2045" fmla="*/ 1724 w 10785"/>
                <a:gd name="connsiteY2045" fmla="*/ 3829 h 10000"/>
                <a:gd name="connsiteX2046" fmla="*/ 1737 w 10785"/>
                <a:gd name="connsiteY2046" fmla="*/ 3812 h 10000"/>
                <a:gd name="connsiteX2047" fmla="*/ 1765 w 10785"/>
                <a:gd name="connsiteY2047" fmla="*/ 3812 h 10000"/>
                <a:gd name="connsiteX2048" fmla="*/ 1779 w 10785"/>
                <a:gd name="connsiteY2048" fmla="*/ 3786 h 10000"/>
                <a:gd name="connsiteX2049" fmla="*/ 1779 w 10785"/>
                <a:gd name="connsiteY2049" fmla="*/ 3786 h 10000"/>
                <a:gd name="connsiteX2050" fmla="*/ 1751 w 10785"/>
                <a:gd name="connsiteY2050" fmla="*/ 3803 h 10000"/>
                <a:gd name="connsiteX2051" fmla="*/ 1747 w 10785"/>
                <a:gd name="connsiteY2051" fmla="*/ 3803 h 10000"/>
                <a:gd name="connsiteX2052" fmla="*/ 1724 w 10785"/>
                <a:gd name="connsiteY2052" fmla="*/ 3803 h 10000"/>
                <a:gd name="connsiteX2053" fmla="*/ 1700 w 10785"/>
                <a:gd name="connsiteY2053" fmla="*/ 3829 h 10000"/>
                <a:gd name="connsiteX2054" fmla="*/ 1705 w 10785"/>
                <a:gd name="connsiteY2054" fmla="*/ 3846 h 10000"/>
                <a:gd name="connsiteX2055" fmla="*/ 1691 w 10785"/>
                <a:gd name="connsiteY2055" fmla="*/ 3846 h 10000"/>
                <a:gd name="connsiteX2056" fmla="*/ 1691 w 10785"/>
                <a:gd name="connsiteY2056" fmla="*/ 3863 h 10000"/>
                <a:gd name="connsiteX2057" fmla="*/ 1691 w 10785"/>
                <a:gd name="connsiteY2057" fmla="*/ 3915 h 10000"/>
                <a:gd name="connsiteX2058" fmla="*/ 1677 w 10785"/>
                <a:gd name="connsiteY2058" fmla="*/ 3923 h 10000"/>
                <a:gd name="connsiteX2059" fmla="*/ 1673 w 10785"/>
                <a:gd name="connsiteY2059" fmla="*/ 3915 h 10000"/>
                <a:gd name="connsiteX2060" fmla="*/ 1664 w 10785"/>
                <a:gd name="connsiteY2060" fmla="*/ 3889 h 10000"/>
                <a:gd name="connsiteX2061" fmla="*/ 1673 w 10785"/>
                <a:gd name="connsiteY2061" fmla="*/ 3872 h 10000"/>
                <a:gd name="connsiteX2062" fmla="*/ 1664 w 10785"/>
                <a:gd name="connsiteY2062" fmla="*/ 3872 h 10000"/>
                <a:gd name="connsiteX2063" fmla="*/ 1636 w 10785"/>
                <a:gd name="connsiteY2063" fmla="*/ 3923 h 10000"/>
                <a:gd name="connsiteX2064" fmla="*/ 1645 w 10785"/>
                <a:gd name="connsiteY2064" fmla="*/ 3923 h 10000"/>
                <a:gd name="connsiteX2065" fmla="*/ 1650 w 10785"/>
                <a:gd name="connsiteY2065" fmla="*/ 3949 h 10000"/>
                <a:gd name="connsiteX2066" fmla="*/ 1650 w 10785"/>
                <a:gd name="connsiteY2066" fmla="*/ 3983 h 10000"/>
                <a:gd name="connsiteX2067" fmla="*/ 1636 w 10785"/>
                <a:gd name="connsiteY2067" fmla="*/ 4000 h 10000"/>
                <a:gd name="connsiteX2068" fmla="*/ 1631 w 10785"/>
                <a:gd name="connsiteY2068" fmla="*/ 4009 h 10000"/>
                <a:gd name="connsiteX2069" fmla="*/ 1618 w 10785"/>
                <a:gd name="connsiteY2069" fmla="*/ 3949 h 10000"/>
                <a:gd name="connsiteX2070" fmla="*/ 1585 w 10785"/>
                <a:gd name="connsiteY2070" fmla="*/ 3966 h 10000"/>
                <a:gd name="connsiteX2071" fmla="*/ 1590 w 10785"/>
                <a:gd name="connsiteY2071" fmla="*/ 3974 h 10000"/>
                <a:gd name="connsiteX2072" fmla="*/ 1544 w 10785"/>
                <a:gd name="connsiteY2072" fmla="*/ 4009 h 10000"/>
                <a:gd name="connsiteX2073" fmla="*/ 1539 w 10785"/>
                <a:gd name="connsiteY2073" fmla="*/ 4009 h 10000"/>
                <a:gd name="connsiteX2074" fmla="*/ 1410 w 10785"/>
                <a:gd name="connsiteY2074" fmla="*/ 4188 h 10000"/>
                <a:gd name="connsiteX2075" fmla="*/ 1406 w 10785"/>
                <a:gd name="connsiteY2075" fmla="*/ 4171 h 10000"/>
                <a:gd name="connsiteX2076" fmla="*/ 1396 w 10785"/>
                <a:gd name="connsiteY2076" fmla="*/ 4214 h 10000"/>
                <a:gd name="connsiteX2077" fmla="*/ 1406 w 10785"/>
                <a:gd name="connsiteY2077" fmla="*/ 4222 h 10000"/>
                <a:gd name="connsiteX2078" fmla="*/ 1392 w 10785"/>
                <a:gd name="connsiteY2078" fmla="*/ 4239 h 10000"/>
                <a:gd name="connsiteX2079" fmla="*/ 1369 w 10785"/>
                <a:gd name="connsiteY2079" fmla="*/ 4248 h 10000"/>
                <a:gd name="connsiteX2080" fmla="*/ 1355 w 10785"/>
                <a:gd name="connsiteY2080" fmla="*/ 4256 h 10000"/>
                <a:gd name="connsiteX2081" fmla="*/ 1350 w 10785"/>
                <a:gd name="connsiteY2081" fmla="*/ 4248 h 10000"/>
                <a:gd name="connsiteX2082" fmla="*/ 1332 w 10785"/>
                <a:gd name="connsiteY2082" fmla="*/ 4376 h 10000"/>
                <a:gd name="connsiteX2083" fmla="*/ 1332 w 10785"/>
                <a:gd name="connsiteY2083" fmla="*/ 4436 h 10000"/>
                <a:gd name="connsiteX2084" fmla="*/ 1323 w 10785"/>
                <a:gd name="connsiteY2084" fmla="*/ 4462 h 10000"/>
                <a:gd name="connsiteX2085" fmla="*/ 1304 w 10785"/>
                <a:gd name="connsiteY2085" fmla="*/ 4487 h 10000"/>
                <a:gd name="connsiteX2086" fmla="*/ 1290 w 10785"/>
                <a:gd name="connsiteY2086" fmla="*/ 4470 h 10000"/>
                <a:gd name="connsiteX2087" fmla="*/ 1263 w 10785"/>
                <a:gd name="connsiteY2087" fmla="*/ 4496 h 10000"/>
                <a:gd name="connsiteX2088" fmla="*/ 1258 w 10785"/>
                <a:gd name="connsiteY2088" fmla="*/ 4547 h 10000"/>
                <a:gd name="connsiteX2089" fmla="*/ 1249 w 10785"/>
                <a:gd name="connsiteY2089" fmla="*/ 4487 h 10000"/>
                <a:gd name="connsiteX2090" fmla="*/ 1235 w 10785"/>
                <a:gd name="connsiteY2090" fmla="*/ 4496 h 10000"/>
                <a:gd name="connsiteX2091" fmla="*/ 1221 w 10785"/>
                <a:gd name="connsiteY2091" fmla="*/ 4496 h 10000"/>
                <a:gd name="connsiteX2092" fmla="*/ 1217 w 10785"/>
                <a:gd name="connsiteY2092" fmla="*/ 4487 h 10000"/>
                <a:gd name="connsiteX2093" fmla="*/ 1198 w 10785"/>
                <a:gd name="connsiteY2093" fmla="*/ 4410 h 10000"/>
                <a:gd name="connsiteX2094" fmla="*/ 1157 w 10785"/>
                <a:gd name="connsiteY2094" fmla="*/ 4333 h 10000"/>
                <a:gd name="connsiteX2095" fmla="*/ 1147 w 10785"/>
                <a:gd name="connsiteY2095" fmla="*/ 4299 h 10000"/>
                <a:gd name="connsiteX2096" fmla="*/ 1147 w 10785"/>
                <a:gd name="connsiteY2096" fmla="*/ 4274 h 10000"/>
                <a:gd name="connsiteX2097" fmla="*/ 1161 w 10785"/>
                <a:gd name="connsiteY2097" fmla="*/ 4256 h 10000"/>
                <a:gd name="connsiteX2098" fmla="*/ 1171 w 10785"/>
                <a:gd name="connsiteY2098" fmla="*/ 4248 h 10000"/>
                <a:gd name="connsiteX2099" fmla="*/ 1175 w 10785"/>
                <a:gd name="connsiteY2099" fmla="*/ 4214 h 10000"/>
                <a:gd name="connsiteX2100" fmla="*/ 1263 w 10785"/>
                <a:gd name="connsiteY2100" fmla="*/ 4171 h 10000"/>
                <a:gd name="connsiteX2101" fmla="*/ 1249 w 10785"/>
                <a:gd name="connsiteY2101" fmla="*/ 4137 h 10000"/>
                <a:gd name="connsiteX2102" fmla="*/ 1244 w 10785"/>
                <a:gd name="connsiteY2102" fmla="*/ 4060 h 10000"/>
                <a:gd name="connsiteX2103" fmla="*/ 1230 w 10785"/>
                <a:gd name="connsiteY2103" fmla="*/ 4077 h 10000"/>
                <a:gd name="connsiteX2104" fmla="*/ 1221 w 10785"/>
                <a:gd name="connsiteY2104" fmla="*/ 4026 h 10000"/>
                <a:gd name="connsiteX2105" fmla="*/ 1217 w 10785"/>
                <a:gd name="connsiteY2105" fmla="*/ 4026 h 10000"/>
                <a:gd name="connsiteX2106" fmla="*/ 1212 w 10785"/>
                <a:gd name="connsiteY2106" fmla="*/ 3983 h 10000"/>
                <a:gd name="connsiteX2107" fmla="*/ 1203 w 10785"/>
                <a:gd name="connsiteY2107" fmla="*/ 3966 h 10000"/>
                <a:gd name="connsiteX2108" fmla="*/ 1171 w 10785"/>
                <a:gd name="connsiteY2108" fmla="*/ 3949 h 10000"/>
                <a:gd name="connsiteX2109" fmla="*/ 1111 w 10785"/>
                <a:gd name="connsiteY2109" fmla="*/ 3940 h 10000"/>
                <a:gd name="connsiteX2110" fmla="*/ 1097 w 10785"/>
                <a:gd name="connsiteY2110" fmla="*/ 3949 h 10000"/>
                <a:gd name="connsiteX2111" fmla="*/ 1037 w 10785"/>
                <a:gd name="connsiteY2111" fmla="*/ 3897 h 10000"/>
                <a:gd name="connsiteX2112" fmla="*/ 1041 w 10785"/>
                <a:gd name="connsiteY2112" fmla="*/ 3923 h 10000"/>
                <a:gd name="connsiteX2113" fmla="*/ 1097 w 10785"/>
                <a:gd name="connsiteY2113" fmla="*/ 4009 h 10000"/>
                <a:gd name="connsiteX2114" fmla="*/ 1097 w 10785"/>
                <a:gd name="connsiteY2114" fmla="*/ 4120 h 10000"/>
                <a:gd name="connsiteX2115" fmla="*/ 1097 w 10785"/>
                <a:gd name="connsiteY2115" fmla="*/ 4162 h 10000"/>
                <a:gd name="connsiteX2116" fmla="*/ 1097 w 10785"/>
                <a:gd name="connsiteY2116" fmla="*/ 4197 h 10000"/>
                <a:gd name="connsiteX2117" fmla="*/ 1074 w 10785"/>
                <a:gd name="connsiteY2117" fmla="*/ 4333 h 10000"/>
                <a:gd name="connsiteX2118" fmla="*/ 1074 w 10785"/>
                <a:gd name="connsiteY2118" fmla="*/ 4376 h 10000"/>
                <a:gd name="connsiteX2119" fmla="*/ 1083 w 10785"/>
                <a:gd name="connsiteY2119" fmla="*/ 4385 h 10000"/>
                <a:gd name="connsiteX2120" fmla="*/ 1097 w 10785"/>
                <a:gd name="connsiteY2120" fmla="*/ 4385 h 10000"/>
                <a:gd name="connsiteX2121" fmla="*/ 1111 w 10785"/>
                <a:gd name="connsiteY2121" fmla="*/ 4410 h 10000"/>
                <a:gd name="connsiteX2122" fmla="*/ 1124 w 10785"/>
                <a:gd name="connsiteY2122" fmla="*/ 4444 h 10000"/>
                <a:gd name="connsiteX2123" fmla="*/ 1124 w 10785"/>
                <a:gd name="connsiteY2123" fmla="*/ 4470 h 10000"/>
                <a:gd name="connsiteX2124" fmla="*/ 1115 w 10785"/>
                <a:gd name="connsiteY2124" fmla="*/ 4513 h 10000"/>
                <a:gd name="connsiteX2125" fmla="*/ 1115 w 10785"/>
                <a:gd name="connsiteY2125" fmla="*/ 4530 h 10000"/>
                <a:gd name="connsiteX2126" fmla="*/ 1115 w 10785"/>
                <a:gd name="connsiteY2126" fmla="*/ 4573 h 10000"/>
                <a:gd name="connsiteX2127" fmla="*/ 1101 w 10785"/>
                <a:gd name="connsiteY2127" fmla="*/ 4607 h 10000"/>
                <a:gd name="connsiteX2128" fmla="*/ 1097 w 10785"/>
                <a:gd name="connsiteY2128" fmla="*/ 4658 h 10000"/>
                <a:gd name="connsiteX2129" fmla="*/ 1101 w 10785"/>
                <a:gd name="connsiteY2129" fmla="*/ 4692 h 10000"/>
                <a:gd name="connsiteX2130" fmla="*/ 1097 w 10785"/>
                <a:gd name="connsiteY2130" fmla="*/ 4778 h 10000"/>
                <a:gd name="connsiteX2131" fmla="*/ 1083 w 10785"/>
                <a:gd name="connsiteY2131" fmla="*/ 4744 h 10000"/>
                <a:gd name="connsiteX2132" fmla="*/ 1083 w 10785"/>
                <a:gd name="connsiteY2132" fmla="*/ 4718 h 10000"/>
                <a:gd name="connsiteX2133" fmla="*/ 1074 w 10785"/>
                <a:gd name="connsiteY2133" fmla="*/ 4692 h 10000"/>
                <a:gd name="connsiteX2134" fmla="*/ 1065 w 10785"/>
                <a:gd name="connsiteY2134" fmla="*/ 4692 h 10000"/>
                <a:gd name="connsiteX2135" fmla="*/ 1051 w 10785"/>
                <a:gd name="connsiteY2135" fmla="*/ 4718 h 10000"/>
                <a:gd name="connsiteX2136" fmla="*/ 1055 w 10785"/>
                <a:gd name="connsiteY2136" fmla="*/ 4692 h 10000"/>
                <a:gd name="connsiteX2137" fmla="*/ 1055 w 10785"/>
                <a:gd name="connsiteY2137" fmla="*/ 4667 h 10000"/>
                <a:gd name="connsiteX2138" fmla="*/ 1028 w 10785"/>
                <a:gd name="connsiteY2138" fmla="*/ 4624 h 10000"/>
                <a:gd name="connsiteX2139" fmla="*/ 1005 w 10785"/>
                <a:gd name="connsiteY2139" fmla="*/ 4624 h 10000"/>
                <a:gd name="connsiteX2140" fmla="*/ 977 w 10785"/>
                <a:gd name="connsiteY2140" fmla="*/ 4581 h 10000"/>
                <a:gd name="connsiteX2141" fmla="*/ 963 w 10785"/>
                <a:gd name="connsiteY2141" fmla="*/ 4607 h 10000"/>
                <a:gd name="connsiteX2142" fmla="*/ 963 w 10785"/>
                <a:gd name="connsiteY2142" fmla="*/ 4632 h 10000"/>
                <a:gd name="connsiteX2143" fmla="*/ 917 w 10785"/>
                <a:gd name="connsiteY2143" fmla="*/ 4718 h 10000"/>
                <a:gd name="connsiteX2144" fmla="*/ 889 w 10785"/>
                <a:gd name="connsiteY2144" fmla="*/ 4744 h 10000"/>
                <a:gd name="connsiteX2145" fmla="*/ 880 w 10785"/>
                <a:gd name="connsiteY2145" fmla="*/ 4744 h 10000"/>
                <a:gd name="connsiteX2146" fmla="*/ 862 w 10785"/>
                <a:gd name="connsiteY2146" fmla="*/ 4769 h 10000"/>
                <a:gd name="connsiteX2147" fmla="*/ 857 w 10785"/>
                <a:gd name="connsiteY2147" fmla="*/ 4795 h 10000"/>
                <a:gd name="connsiteX2148" fmla="*/ 829 w 10785"/>
                <a:gd name="connsiteY2148" fmla="*/ 4846 h 10000"/>
                <a:gd name="connsiteX2149" fmla="*/ 816 w 10785"/>
                <a:gd name="connsiteY2149" fmla="*/ 4855 h 10000"/>
                <a:gd name="connsiteX2150" fmla="*/ 816 w 10785"/>
                <a:gd name="connsiteY2150" fmla="*/ 4940 h 10000"/>
                <a:gd name="connsiteX2151" fmla="*/ 880 w 10785"/>
                <a:gd name="connsiteY2151" fmla="*/ 5179 h 10000"/>
                <a:gd name="connsiteX2152" fmla="*/ 880 w 10785"/>
                <a:gd name="connsiteY2152" fmla="*/ 5188 h 10000"/>
                <a:gd name="connsiteX2153" fmla="*/ 862 w 10785"/>
                <a:gd name="connsiteY2153" fmla="*/ 5171 h 10000"/>
                <a:gd name="connsiteX2154" fmla="*/ 857 w 10785"/>
                <a:gd name="connsiteY2154" fmla="*/ 5171 h 10000"/>
                <a:gd name="connsiteX2155" fmla="*/ 820 w 10785"/>
                <a:gd name="connsiteY2155" fmla="*/ 5145 h 10000"/>
                <a:gd name="connsiteX2156" fmla="*/ 820 w 10785"/>
                <a:gd name="connsiteY2156" fmla="*/ 5154 h 10000"/>
                <a:gd name="connsiteX2157" fmla="*/ 816 w 10785"/>
                <a:gd name="connsiteY2157" fmla="*/ 5171 h 10000"/>
                <a:gd name="connsiteX2158" fmla="*/ 783 w 10785"/>
                <a:gd name="connsiteY2158" fmla="*/ 5145 h 10000"/>
                <a:gd name="connsiteX2159" fmla="*/ 756 w 10785"/>
                <a:gd name="connsiteY2159" fmla="*/ 5103 h 10000"/>
                <a:gd name="connsiteX2160" fmla="*/ 742 w 10785"/>
                <a:gd name="connsiteY2160" fmla="*/ 5103 h 10000"/>
                <a:gd name="connsiteX2161" fmla="*/ 728 w 10785"/>
                <a:gd name="connsiteY2161" fmla="*/ 5094 h 10000"/>
                <a:gd name="connsiteX2162" fmla="*/ 710 w 10785"/>
                <a:gd name="connsiteY2162" fmla="*/ 5120 h 10000"/>
                <a:gd name="connsiteX2163" fmla="*/ 700 w 10785"/>
                <a:gd name="connsiteY2163" fmla="*/ 5145 h 10000"/>
                <a:gd name="connsiteX2164" fmla="*/ 696 w 10785"/>
                <a:gd name="connsiteY2164" fmla="*/ 5103 h 10000"/>
                <a:gd name="connsiteX2165" fmla="*/ 714 w 10785"/>
                <a:gd name="connsiteY2165" fmla="*/ 5077 h 10000"/>
                <a:gd name="connsiteX2166" fmla="*/ 682 w 10785"/>
                <a:gd name="connsiteY2166" fmla="*/ 5068 h 10000"/>
                <a:gd name="connsiteX2167" fmla="*/ 673 w 10785"/>
                <a:gd name="connsiteY2167" fmla="*/ 5034 h 10000"/>
                <a:gd name="connsiteX2168" fmla="*/ 636 w 10785"/>
                <a:gd name="connsiteY2168" fmla="*/ 4991 h 10000"/>
                <a:gd name="connsiteX2169" fmla="*/ 622 w 10785"/>
                <a:gd name="connsiteY2169" fmla="*/ 4983 h 10000"/>
                <a:gd name="connsiteX2170" fmla="*/ 622 w 10785"/>
                <a:gd name="connsiteY2170" fmla="*/ 5034 h 10000"/>
                <a:gd name="connsiteX2171" fmla="*/ 608 w 10785"/>
                <a:gd name="connsiteY2171" fmla="*/ 5051 h 10000"/>
                <a:gd name="connsiteX2172" fmla="*/ 594 w 10785"/>
                <a:gd name="connsiteY2172" fmla="*/ 5068 h 10000"/>
                <a:gd name="connsiteX2173" fmla="*/ 608 w 10785"/>
                <a:gd name="connsiteY2173" fmla="*/ 5120 h 10000"/>
                <a:gd name="connsiteX2174" fmla="*/ 613 w 10785"/>
                <a:gd name="connsiteY2174" fmla="*/ 5128 h 10000"/>
                <a:gd name="connsiteX2175" fmla="*/ 627 w 10785"/>
                <a:gd name="connsiteY2175" fmla="*/ 5179 h 10000"/>
                <a:gd name="connsiteX2176" fmla="*/ 650 w 10785"/>
                <a:gd name="connsiteY2176" fmla="*/ 5214 h 10000"/>
                <a:gd name="connsiteX2177" fmla="*/ 687 w 10785"/>
                <a:gd name="connsiteY2177" fmla="*/ 5188 h 10000"/>
                <a:gd name="connsiteX2178" fmla="*/ 700 w 10785"/>
                <a:gd name="connsiteY2178" fmla="*/ 5325 h 10000"/>
                <a:gd name="connsiteX2179" fmla="*/ 710 w 10785"/>
                <a:gd name="connsiteY2179" fmla="*/ 5350 h 10000"/>
                <a:gd name="connsiteX2180" fmla="*/ 687 w 10785"/>
                <a:gd name="connsiteY2180" fmla="*/ 5325 h 10000"/>
                <a:gd name="connsiteX2181" fmla="*/ 668 w 10785"/>
                <a:gd name="connsiteY2181" fmla="*/ 5350 h 10000"/>
                <a:gd name="connsiteX2182" fmla="*/ 668 w 10785"/>
                <a:gd name="connsiteY2182" fmla="*/ 5368 h 10000"/>
                <a:gd name="connsiteX2183" fmla="*/ 668 w 10785"/>
                <a:gd name="connsiteY2183" fmla="*/ 5376 h 10000"/>
                <a:gd name="connsiteX2184" fmla="*/ 581 w 10785"/>
                <a:gd name="connsiteY2184" fmla="*/ 5316 h 10000"/>
                <a:gd name="connsiteX2185" fmla="*/ 567 w 10785"/>
                <a:gd name="connsiteY2185" fmla="*/ 5265 h 10000"/>
                <a:gd name="connsiteX2186" fmla="*/ 562 w 10785"/>
                <a:gd name="connsiteY2186" fmla="*/ 5256 h 10000"/>
                <a:gd name="connsiteX2187" fmla="*/ 548 w 10785"/>
                <a:gd name="connsiteY2187" fmla="*/ 5231 h 10000"/>
                <a:gd name="connsiteX2188" fmla="*/ 535 w 10785"/>
                <a:gd name="connsiteY2188" fmla="*/ 5214 h 10000"/>
                <a:gd name="connsiteX2189" fmla="*/ 525 w 10785"/>
                <a:gd name="connsiteY2189" fmla="*/ 5231 h 10000"/>
                <a:gd name="connsiteX2190" fmla="*/ 521 w 10785"/>
                <a:gd name="connsiteY2190" fmla="*/ 5231 h 10000"/>
                <a:gd name="connsiteX2191" fmla="*/ 493 w 10785"/>
                <a:gd name="connsiteY2191" fmla="*/ 5205 h 10000"/>
                <a:gd name="connsiteX2192" fmla="*/ 488 w 10785"/>
                <a:gd name="connsiteY2192" fmla="*/ 5179 h 10000"/>
                <a:gd name="connsiteX2193" fmla="*/ 475 w 10785"/>
                <a:gd name="connsiteY2193" fmla="*/ 5188 h 10000"/>
                <a:gd name="connsiteX2194" fmla="*/ 475 w 10785"/>
                <a:gd name="connsiteY2194" fmla="*/ 5171 h 10000"/>
                <a:gd name="connsiteX2195" fmla="*/ 488 w 10785"/>
                <a:gd name="connsiteY2195" fmla="*/ 5154 h 10000"/>
                <a:gd name="connsiteX2196" fmla="*/ 488 w 10785"/>
                <a:gd name="connsiteY2196" fmla="*/ 5068 h 10000"/>
                <a:gd name="connsiteX2197" fmla="*/ 475 w 10785"/>
                <a:gd name="connsiteY2197" fmla="*/ 5051 h 10000"/>
                <a:gd name="connsiteX2198" fmla="*/ 475 w 10785"/>
                <a:gd name="connsiteY2198" fmla="*/ 5017 h 10000"/>
                <a:gd name="connsiteX2199" fmla="*/ 452 w 10785"/>
                <a:gd name="connsiteY2199" fmla="*/ 4932 h 10000"/>
                <a:gd name="connsiteX2200" fmla="*/ 461 w 10785"/>
                <a:gd name="connsiteY2200" fmla="*/ 4915 h 10000"/>
                <a:gd name="connsiteX2201" fmla="*/ 475 w 10785"/>
                <a:gd name="connsiteY2201" fmla="*/ 4906 h 10000"/>
                <a:gd name="connsiteX2202" fmla="*/ 479 w 10785"/>
                <a:gd name="connsiteY2202" fmla="*/ 4803 h 10000"/>
                <a:gd name="connsiteX2203" fmla="*/ 479 w 10785"/>
                <a:gd name="connsiteY2203" fmla="*/ 4778 h 10000"/>
                <a:gd name="connsiteX2204" fmla="*/ 475 w 10785"/>
                <a:gd name="connsiteY2204" fmla="*/ 4761 h 10000"/>
                <a:gd name="connsiteX2205" fmla="*/ 465 w 10785"/>
                <a:gd name="connsiteY2205" fmla="*/ 4718 h 10000"/>
                <a:gd name="connsiteX2206" fmla="*/ 461 w 10785"/>
                <a:gd name="connsiteY2206" fmla="*/ 4709 h 10000"/>
                <a:gd name="connsiteX2207" fmla="*/ 442 w 10785"/>
                <a:gd name="connsiteY2207" fmla="*/ 4692 h 10000"/>
                <a:gd name="connsiteX2208" fmla="*/ 433 w 10785"/>
                <a:gd name="connsiteY2208" fmla="*/ 4667 h 10000"/>
                <a:gd name="connsiteX2209" fmla="*/ 419 w 10785"/>
                <a:gd name="connsiteY2209" fmla="*/ 4667 h 10000"/>
                <a:gd name="connsiteX2210" fmla="*/ 401 w 10785"/>
                <a:gd name="connsiteY2210" fmla="*/ 4658 h 10000"/>
                <a:gd name="connsiteX2211" fmla="*/ 401 w 10785"/>
                <a:gd name="connsiteY2211" fmla="*/ 4624 h 10000"/>
                <a:gd name="connsiteX2212" fmla="*/ 401 w 10785"/>
                <a:gd name="connsiteY2212" fmla="*/ 4607 h 10000"/>
                <a:gd name="connsiteX2213" fmla="*/ 378 w 10785"/>
                <a:gd name="connsiteY2213" fmla="*/ 4607 h 10000"/>
                <a:gd name="connsiteX2214" fmla="*/ 341 w 10785"/>
                <a:gd name="connsiteY2214" fmla="*/ 4530 h 10000"/>
                <a:gd name="connsiteX2215" fmla="*/ 346 w 10785"/>
                <a:gd name="connsiteY2215" fmla="*/ 4521 h 10000"/>
                <a:gd name="connsiteX2216" fmla="*/ 332 w 10785"/>
                <a:gd name="connsiteY2216" fmla="*/ 4487 h 10000"/>
                <a:gd name="connsiteX2217" fmla="*/ 327 w 10785"/>
                <a:gd name="connsiteY2217" fmla="*/ 4462 h 10000"/>
                <a:gd name="connsiteX2218" fmla="*/ 313 w 10785"/>
                <a:gd name="connsiteY2218" fmla="*/ 4436 h 10000"/>
                <a:gd name="connsiteX2219" fmla="*/ 300 w 10785"/>
                <a:gd name="connsiteY2219" fmla="*/ 4419 h 10000"/>
                <a:gd name="connsiteX2220" fmla="*/ 309 w 10785"/>
                <a:gd name="connsiteY2220" fmla="*/ 4393 h 10000"/>
                <a:gd name="connsiteX2221" fmla="*/ 332 w 10785"/>
                <a:gd name="connsiteY2221" fmla="*/ 4385 h 10000"/>
                <a:gd name="connsiteX2222" fmla="*/ 355 w 10785"/>
                <a:gd name="connsiteY2222" fmla="*/ 4419 h 10000"/>
                <a:gd name="connsiteX2223" fmla="*/ 355 w 10785"/>
                <a:gd name="connsiteY2223" fmla="*/ 4444 h 10000"/>
                <a:gd name="connsiteX2224" fmla="*/ 369 w 10785"/>
                <a:gd name="connsiteY2224" fmla="*/ 4470 h 10000"/>
                <a:gd name="connsiteX2225" fmla="*/ 401 w 10785"/>
                <a:gd name="connsiteY2225" fmla="*/ 4521 h 10000"/>
                <a:gd name="connsiteX2226" fmla="*/ 406 w 10785"/>
                <a:gd name="connsiteY2226" fmla="*/ 4513 h 10000"/>
                <a:gd name="connsiteX2227" fmla="*/ 406 w 10785"/>
                <a:gd name="connsiteY2227" fmla="*/ 4496 h 10000"/>
                <a:gd name="connsiteX2228" fmla="*/ 419 w 10785"/>
                <a:gd name="connsiteY2228" fmla="*/ 4521 h 10000"/>
                <a:gd name="connsiteX2229" fmla="*/ 429 w 10785"/>
                <a:gd name="connsiteY2229" fmla="*/ 4530 h 10000"/>
                <a:gd name="connsiteX2230" fmla="*/ 433 w 10785"/>
                <a:gd name="connsiteY2230" fmla="*/ 4521 h 10000"/>
                <a:gd name="connsiteX2231" fmla="*/ 442 w 10785"/>
                <a:gd name="connsiteY2231" fmla="*/ 4530 h 10000"/>
                <a:gd name="connsiteX2232" fmla="*/ 447 w 10785"/>
                <a:gd name="connsiteY2232" fmla="*/ 4521 h 10000"/>
                <a:gd name="connsiteX2233" fmla="*/ 452 w 10785"/>
                <a:gd name="connsiteY2233" fmla="*/ 4521 h 10000"/>
                <a:gd name="connsiteX2234" fmla="*/ 461 w 10785"/>
                <a:gd name="connsiteY2234" fmla="*/ 4573 h 10000"/>
                <a:gd name="connsiteX2235" fmla="*/ 479 w 10785"/>
                <a:gd name="connsiteY2235" fmla="*/ 4556 h 10000"/>
                <a:gd name="connsiteX2236" fmla="*/ 502 w 10785"/>
                <a:gd name="connsiteY2236" fmla="*/ 4573 h 10000"/>
                <a:gd name="connsiteX2237" fmla="*/ 507 w 10785"/>
                <a:gd name="connsiteY2237" fmla="*/ 4598 h 10000"/>
                <a:gd name="connsiteX2238" fmla="*/ 525 w 10785"/>
                <a:gd name="connsiteY2238" fmla="*/ 4598 h 10000"/>
                <a:gd name="connsiteX2239" fmla="*/ 535 w 10785"/>
                <a:gd name="connsiteY2239" fmla="*/ 4624 h 10000"/>
                <a:gd name="connsiteX2240" fmla="*/ 594 w 10785"/>
                <a:gd name="connsiteY2240" fmla="*/ 4658 h 10000"/>
                <a:gd name="connsiteX2241" fmla="*/ 627 w 10785"/>
                <a:gd name="connsiteY2241" fmla="*/ 4658 h 10000"/>
                <a:gd name="connsiteX2242" fmla="*/ 654 w 10785"/>
                <a:gd name="connsiteY2242" fmla="*/ 4684 h 10000"/>
                <a:gd name="connsiteX2243" fmla="*/ 668 w 10785"/>
                <a:gd name="connsiteY2243" fmla="*/ 4709 h 10000"/>
                <a:gd name="connsiteX2244" fmla="*/ 747 w 10785"/>
                <a:gd name="connsiteY2244" fmla="*/ 4718 h 10000"/>
                <a:gd name="connsiteX2245" fmla="*/ 760 w 10785"/>
                <a:gd name="connsiteY2245" fmla="*/ 4709 h 10000"/>
                <a:gd name="connsiteX2246" fmla="*/ 774 w 10785"/>
                <a:gd name="connsiteY2246" fmla="*/ 4692 h 10000"/>
                <a:gd name="connsiteX2247" fmla="*/ 829 w 10785"/>
                <a:gd name="connsiteY2247" fmla="*/ 4658 h 10000"/>
                <a:gd name="connsiteX2248" fmla="*/ 903 w 10785"/>
                <a:gd name="connsiteY2248" fmla="*/ 4496 h 10000"/>
                <a:gd name="connsiteX2249" fmla="*/ 917 w 10785"/>
                <a:gd name="connsiteY2249" fmla="*/ 4385 h 10000"/>
                <a:gd name="connsiteX2250" fmla="*/ 903 w 10785"/>
                <a:gd name="connsiteY2250" fmla="*/ 4376 h 10000"/>
                <a:gd name="connsiteX2251" fmla="*/ 903 w 10785"/>
                <a:gd name="connsiteY2251" fmla="*/ 4376 h 10000"/>
                <a:gd name="connsiteX2252" fmla="*/ 889 w 10785"/>
                <a:gd name="connsiteY2252" fmla="*/ 4239 h 10000"/>
                <a:gd name="connsiteX2253" fmla="*/ 880 w 10785"/>
                <a:gd name="connsiteY2253" fmla="*/ 4214 h 10000"/>
                <a:gd name="connsiteX2254" fmla="*/ 862 w 10785"/>
                <a:gd name="connsiteY2254" fmla="*/ 4188 h 10000"/>
                <a:gd name="connsiteX2255" fmla="*/ 857 w 10785"/>
                <a:gd name="connsiteY2255" fmla="*/ 4197 h 10000"/>
                <a:gd name="connsiteX2256" fmla="*/ 848 w 10785"/>
                <a:gd name="connsiteY2256" fmla="*/ 4188 h 10000"/>
                <a:gd name="connsiteX2257" fmla="*/ 848 w 10785"/>
                <a:gd name="connsiteY2257" fmla="*/ 4162 h 10000"/>
                <a:gd name="connsiteX2258" fmla="*/ 829 w 10785"/>
                <a:gd name="connsiteY2258" fmla="*/ 4120 h 10000"/>
                <a:gd name="connsiteX2259" fmla="*/ 820 w 10785"/>
                <a:gd name="connsiteY2259" fmla="*/ 4103 h 10000"/>
                <a:gd name="connsiteX2260" fmla="*/ 806 w 10785"/>
                <a:gd name="connsiteY2260" fmla="*/ 4077 h 10000"/>
                <a:gd name="connsiteX2261" fmla="*/ 816 w 10785"/>
                <a:gd name="connsiteY2261" fmla="*/ 4111 h 10000"/>
                <a:gd name="connsiteX2262" fmla="*/ 802 w 10785"/>
                <a:gd name="connsiteY2262" fmla="*/ 4111 h 10000"/>
                <a:gd name="connsiteX2263" fmla="*/ 770 w 10785"/>
                <a:gd name="connsiteY2263" fmla="*/ 4060 h 10000"/>
                <a:gd name="connsiteX2264" fmla="*/ 760 w 10785"/>
                <a:gd name="connsiteY2264" fmla="*/ 4077 h 10000"/>
                <a:gd name="connsiteX2265" fmla="*/ 760 w 10785"/>
                <a:gd name="connsiteY2265" fmla="*/ 4060 h 10000"/>
                <a:gd name="connsiteX2266" fmla="*/ 756 w 10785"/>
                <a:gd name="connsiteY2266" fmla="*/ 4034 h 10000"/>
                <a:gd name="connsiteX2267" fmla="*/ 742 w 10785"/>
                <a:gd name="connsiteY2267" fmla="*/ 4000 h 10000"/>
                <a:gd name="connsiteX2268" fmla="*/ 747 w 10785"/>
                <a:gd name="connsiteY2268" fmla="*/ 4034 h 10000"/>
                <a:gd name="connsiteX2269" fmla="*/ 724 w 10785"/>
                <a:gd name="connsiteY2269" fmla="*/ 4026 h 10000"/>
                <a:gd name="connsiteX2270" fmla="*/ 714 w 10785"/>
                <a:gd name="connsiteY2270" fmla="*/ 4000 h 10000"/>
                <a:gd name="connsiteX2271" fmla="*/ 714 w 10785"/>
                <a:gd name="connsiteY2271" fmla="*/ 3983 h 10000"/>
                <a:gd name="connsiteX2272" fmla="*/ 553 w 10785"/>
                <a:gd name="connsiteY2272" fmla="*/ 3726 h 10000"/>
                <a:gd name="connsiteX2273" fmla="*/ 507 w 10785"/>
                <a:gd name="connsiteY2273" fmla="*/ 3718 h 10000"/>
                <a:gd name="connsiteX2274" fmla="*/ 516 w 10785"/>
                <a:gd name="connsiteY2274" fmla="*/ 3726 h 10000"/>
                <a:gd name="connsiteX2275" fmla="*/ 507 w 10785"/>
                <a:gd name="connsiteY2275" fmla="*/ 3735 h 10000"/>
                <a:gd name="connsiteX2276" fmla="*/ 502 w 10785"/>
                <a:gd name="connsiteY2276" fmla="*/ 3735 h 10000"/>
                <a:gd name="connsiteX2277" fmla="*/ 419 w 10785"/>
                <a:gd name="connsiteY2277" fmla="*/ 3675 h 10000"/>
                <a:gd name="connsiteX2278" fmla="*/ 419 w 10785"/>
                <a:gd name="connsiteY2278" fmla="*/ 3692 h 10000"/>
                <a:gd name="connsiteX2279" fmla="*/ 401 w 10785"/>
                <a:gd name="connsiteY2279" fmla="*/ 3701 h 10000"/>
                <a:gd name="connsiteX2280" fmla="*/ 387 w 10785"/>
                <a:gd name="connsiteY2280" fmla="*/ 3718 h 10000"/>
                <a:gd name="connsiteX2281" fmla="*/ 387 w 10785"/>
                <a:gd name="connsiteY2281" fmla="*/ 3692 h 10000"/>
                <a:gd name="connsiteX2282" fmla="*/ 378 w 10785"/>
                <a:gd name="connsiteY2282" fmla="*/ 3675 h 10000"/>
                <a:gd name="connsiteX2283" fmla="*/ 378 w 10785"/>
                <a:gd name="connsiteY2283" fmla="*/ 3650 h 10000"/>
                <a:gd name="connsiteX2284" fmla="*/ 378 w 10785"/>
                <a:gd name="connsiteY2284" fmla="*/ 3650 h 10000"/>
                <a:gd name="connsiteX2285" fmla="*/ 355 w 10785"/>
                <a:gd name="connsiteY2285" fmla="*/ 3675 h 10000"/>
                <a:gd name="connsiteX2286" fmla="*/ 359 w 10785"/>
                <a:gd name="connsiteY2286" fmla="*/ 3641 h 10000"/>
                <a:gd name="connsiteX2287" fmla="*/ 346 w 10785"/>
                <a:gd name="connsiteY2287" fmla="*/ 3650 h 10000"/>
                <a:gd name="connsiteX2288" fmla="*/ 355 w 10785"/>
                <a:gd name="connsiteY2288" fmla="*/ 3624 h 10000"/>
                <a:gd name="connsiteX2289" fmla="*/ 346 w 10785"/>
                <a:gd name="connsiteY2289" fmla="*/ 3624 h 10000"/>
                <a:gd name="connsiteX2290" fmla="*/ 341 w 10785"/>
                <a:gd name="connsiteY2290" fmla="*/ 3624 h 10000"/>
                <a:gd name="connsiteX2291" fmla="*/ 318 w 10785"/>
                <a:gd name="connsiteY2291" fmla="*/ 3641 h 10000"/>
                <a:gd name="connsiteX2292" fmla="*/ 327 w 10785"/>
                <a:gd name="connsiteY2292" fmla="*/ 3624 h 10000"/>
                <a:gd name="connsiteX2293" fmla="*/ 318 w 10785"/>
                <a:gd name="connsiteY2293" fmla="*/ 3615 h 10000"/>
                <a:gd name="connsiteX2294" fmla="*/ 318 w 10785"/>
                <a:gd name="connsiteY2294" fmla="*/ 3598 h 10000"/>
                <a:gd name="connsiteX2295" fmla="*/ 300 w 10785"/>
                <a:gd name="connsiteY2295" fmla="*/ 3598 h 10000"/>
                <a:gd name="connsiteX2296" fmla="*/ 309 w 10785"/>
                <a:gd name="connsiteY2296" fmla="*/ 3538 h 10000"/>
                <a:gd name="connsiteX2297" fmla="*/ 313 w 10785"/>
                <a:gd name="connsiteY2297" fmla="*/ 3564 h 10000"/>
                <a:gd name="connsiteX2298" fmla="*/ 318 w 10785"/>
                <a:gd name="connsiteY2298" fmla="*/ 3581 h 10000"/>
                <a:gd name="connsiteX2299" fmla="*/ 327 w 10785"/>
                <a:gd name="connsiteY2299" fmla="*/ 3564 h 10000"/>
                <a:gd name="connsiteX2300" fmla="*/ 332 w 10785"/>
                <a:gd name="connsiteY2300" fmla="*/ 3590 h 10000"/>
                <a:gd name="connsiteX2301" fmla="*/ 346 w 10785"/>
                <a:gd name="connsiteY2301" fmla="*/ 3590 h 10000"/>
                <a:gd name="connsiteX2302" fmla="*/ 355 w 10785"/>
                <a:gd name="connsiteY2302" fmla="*/ 3590 h 10000"/>
                <a:gd name="connsiteX2303" fmla="*/ 369 w 10785"/>
                <a:gd name="connsiteY2303" fmla="*/ 3556 h 10000"/>
                <a:gd name="connsiteX2304" fmla="*/ 369 w 10785"/>
                <a:gd name="connsiteY2304" fmla="*/ 3538 h 10000"/>
                <a:gd name="connsiteX2305" fmla="*/ 346 w 10785"/>
                <a:gd name="connsiteY2305" fmla="*/ 3513 h 10000"/>
                <a:gd name="connsiteX2306" fmla="*/ 341 w 10785"/>
                <a:gd name="connsiteY2306" fmla="*/ 3530 h 10000"/>
                <a:gd name="connsiteX2307" fmla="*/ 327 w 10785"/>
                <a:gd name="connsiteY2307" fmla="*/ 3513 h 10000"/>
                <a:gd name="connsiteX2308" fmla="*/ 327 w 10785"/>
                <a:gd name="connsiteY2308" fmla="*/ 3504 h 10000"/>
                <a:gd name="connsiteX2309" fmla="*/ 295 w 10785"/>
                <a:gd name="connsiteY2309" fmla="*/ 3462 h 10000"/>
                <a:gd name="connsiteX2310" fmla="*/ 300 w 10785"/>
                <a:gd name="connsiteY2310" fmla="*/ 3479 h 10000"/>
                <a:gd name="connsiteX2311" fmla="*/ 295 w 10785"/>
                <a:gd name="connsiteY2311" fmla="*/ 3513 h 10000"/>
                <a:gd name="connsiteX2312" fmla="*/ 286 w 10785"/>
                <a:gd name="connsiteY2312" fmla="*/ 3513 h 10000"/>
                <a:gd name="connsiteX2313" fmla="*/ 281 w 10785"/>
                <a:gd name="connsiteY2313" fmla="*/ 3513 h 10000"/>
                <a:gd name="connsiteX2314" fmla="*/ 281 w 10785"/>
                <a:gd name="connsiteY2314" fmla="*/ 3530 h 10000"/>
                <a:gd name="connsiteX2315" fmla="*/ 281 w 10785"/>
                <a:gd name="connsiteY2315" fmla="*/ 3556 h 10000"/>
                <a:gd name="connsiteX2316" fmla="*/ 272 w 10785"/>
                <a:gd name="connsiteY2316" fmla="*/ 3564 h 10000"/>
                <a:gd name="connsiteX2317" fmla="*/ 267 w 10785"/>
                <a:gd name="connsiteY2317" fmla="*/ 3564 h 10000"/>
                <a:gd name="connsiteX2318" fmla="*/ 253 w 10785"/>
                <a:gd name="connsiteY2318" fmla="*/ 3538 h 10000"/>
                <a:gd name="connsiteX2319" fmla="*/ 226 w 10785"/>
                <a:gd name="connsiteY2319" fmla="*/ 3513 h 10000"/>
                <a:gd name="connsiteX2320" fmla="*/ 226 w 10785"/>
                <a:gd name="connsiteY2320" fmla="*/ 3530 h 10000"/>
                <a:gd name="connsiteX2321" fmla="*/ 226 w 10785"/>
                <a:gd name="connsiteY2321" fmla="*/ 3530 h 10000"/>
                <a:gd name="connsiteX2322" fmla="*/ 226 w 10785"/>
                <a:gd name="connsiteY2322" fmla="*/ 3530 h 10000"/>
                <a:gd name="connsiteX2323" fmla="*/ 226 w 10785"/>
                <a:gd name="connsiteY2323" fmla="*/ 3556 h 10000"/>
                <a:gd name="connsiteX2324" fmla="*/ 221 w 10785"/>
                <a:gd name="connsiteY2324" fmla="*/ 3598 h 10000"/>
                <a:gd name="connsiteX2325" fmla="*/ 207 w 10785"/>
                <a:gd name="connsiteY2325" fmla="*/ 3598 h 10000"/>
                <a:gd name="connsiteX2326" fmla="*/ 180 w 10785"/>
                <a:gd name="connsiteY2326" fmla="*/ 3581 h 10000"/>
                <a:gd name="connsiteX2327" fmla="*/ 171 w 10785"/>
                <a:gd name="connsiteY2327" fmla="*/ 3641 h 10000"/>
                <a:gd name="connsiteX2328" fmla="*/ 166 w 10785"/>
                <a:gd name="connsiteY2328" fmla="*/ 3650 h 10000"/>
                <a:gd name="connsiteX2329" fmla="*/ 124 w 10785"/>
                <a:gd name="connsiteY2329" fmla="*/ 3701 h 10000"/>
                <a:gd name="connsiteX2330" fmla="*/ 124 w 10785"/>
                <a:gd name="connsiteY2330" fmla="*/ 3718 h 10000"/>
                <a:gd name="connsiteX2331" fmla="*/ 120 w 10785"/>
                <a:gd name="connsiteY2331" fmla="*/ 3735 h 10000"/>
                <a:gd name="connsiteX2332" fmla="*/ 120 w 10785"/>
                <a:gd name="connsiteY2332" fmla="*/ 3735 h 10000"/>
                <a:gd name="connsiteX2333" fmla="*/ 111 w 10785"/>
                <a:gd name="connsiteY2333" fmla="*/ 3761 h 10000"/>
                <a:gd name="connsiteX2334" fmla="*/ 106 w 10785"/>
                <a:gd name="connsiteY2334" fmla="*/ 3761 h 10000"/>
                <a:gd name="connsiteX2335" fmla="*/ 106 w 10785"/>
                <a:gd name="connsiteY2335" fmla="*/ 3761 h 10000"/>
                <a:gd name="connsiteX2336" fmla="*/ 74 w 10785"/>
                <a:gd name="connsiteY2336" fmla="*/ 3829 h 10000"/>
                <a:gd name="connsiteX2337" fmla="*/ 78 w 10785"/>
                <a:gd name="connsiteY2337" fmla="*/ 3838 h 10000"/>
                <a:gd name="connsiteX2338" fmla="*/ 88 w 10785"/>
                <a:gd name="connsiteY2338" fmla="*/ 3846 h 10000"/>
                <a:gd name="connsiteX2339" fmla="*/ 65 w 10785"/>
                <a:gd name="connsiteY2339" fmla="*/ 3923 h 10000"/>
                <a:gd name="connsiteX2340" fmla="*/ 78 w 10785"/>
                <a:gd name="connsiteY2340" fmla="*/ 4026 h 10000"/>
                <a:gd name="connsiteX2341" fmla="*/ 88 w 10785"/>
                <a:gd name="connsiteY2341" fmla="*/ 4051 h 10000"/>
                <a:gd name="connsiteX2342" fmla="*/ 92 w 10785"/>
                <a:gd name="connsiteY2342" fmla="*/ 4060 h 10000"/>
                <a:gd name="connsiteX2343" fmla="*/ 111 w 10785"/>
                <a:gd name="connsiteY2343" fmla="*/ 4060 h 10000"/>
                <a:gd name="connsiteX2344" fmla="*/ 124 w 10785"/>
                <a:gd name="connsiteY2344" fmla="*/ 4085 h 10000"/>
                <a:gd name="connsiteX2345" fmla="*/ 166 w 10785"/>
                <a:gd name="connsiteY2345" fmla="*/ 4197 h 10000"/>
                <a:gd name="connsiteX2346" fmla="*/ 166 w 10785"/>
                <a:gd name="connsiteY2346" fmla="*/ 4248 h 10000"/>
                <a:gd name="connsiteX2347" fmla="*/ 120 w 10785"/>
                <a:gd name="connsiteY2347" fmla="*/ 4462 h 10000"/>
                <a:gd name="connsiteX2348" fmla="*/ 120 w 10785"/>
                <a:gd name="connsiteY2348" fmla="*/ 4513 h 10000"/>
                <a:gd name="connsiteX2349" fmla="*/ 180 w 10785"/>
                <a:gd name="connsiteY2349" fmla="*/ 4829 h 10000"/>
                <a:gd name="connsiteX2350" fmla="*/ 161 w 10785"/>
                <a:gd name="connsiteY2350" fmla="*/ 4855 h 10000"/>
                <a:gd name="connsiteX2351" fmla="*/ 152 w 10785"/>
                <a:gd name="connsiteY2351" fmla="*/ 4940 h 10000"/>
                <a:gd name="connsiteX2352" fmla="*/ 161 w 10785"/>
                <a:gd name="connsiteY2352" fmla="*/ 4966 h 10000"/>
                <a:gd name="connsiteX2353" fmla="*/ 161 w 10785"/>
                <a:gd name="connsiteY2353" fmla="*/ 5009 h 10000"/>
                <a:gd name="connsiteX2354" fmla="*/ 152 w 10785"/>
                <a:gd name="connsiteY2354" fmla="*/ 5034 h 10000"/>
                <a:gd name="connsiteX2355" fmla="*/ 152 w 10785"/>
                <a:gd name="connsiteY2355" fmla="*/ 5077 h 10000"/>
                <a:gd name="connsiteX2356" fmla="*/ 171 w 10785"/>
                <a:gd name="connsiteY2356" fmla="*/ 5094 h 10000"/>
                <a:gd name="connsiteX2357" fmla="*/ 180 w 10785"/>
                <a:gd name="connsiteY2357" fmla="*/ 5128 h 10000"/>
                <a:gd name="connsiteX2358" fmla="*/ 180 w 10785"/>
                <a:gd name="connsiteY2358" fmla="*/ 5171 h 10000"/>
                <a:gd name="connsiteX2359" fmla="*/ 184 w 10785"/>
                <a:gd name="connsiteY2359" fmla="*/ 5205 h 10000"/>
                <a:gd name="connsiteX2360" fmla="*/ 207 w 10785"/>
                <a:gd name="connsiteY2360" fmla="*/ 5239 h 10000"/>
                <a:gd name="connsiteX2361" fmla="*/ 207 w 10785"/>
                <a:gd name="connsiteY2361" fmla="*/ 5282 h 10000"/>
                <a:gd name="connsiteX2362" fmla="*/ 180 w 10785"/>
                <a:gd name="connsiteY2362" fmla="*/ 5393 h 10000"/>
                <a:gd name="connsiteX2363" fmla="*/ 194 w 10785"/>
                <a:gd name="connsiteY2363" fmla="*/ 5427 h 10000"/>
                <a:gd name="connsiteX2364" fmla="*/ 198 w 10785"/>
                <a:gd name="connsiteY2364" fmla="*/ 5462 h 10000"/>
                <a:gd name="connsiteX2365" fmla="*/ 235 w 10785"/>
                <a:gd name="connsiteY2365" fmla="*/ 5513 h 10000"/>
                <a:gd name="connsiteX2366" fmla="*/ 240 w 10785"/>
                <a:gd name="connsiteY2366" fmla="*/ 5556 h 10000"/>
                <a:gd name="connsiteX2367" fmla="*/ 253 w 10785"/>
                <a:gd name="connsiteY2367" fmla="*/ 5590 h 10000"/>
                <a:gd name="connsiteX2368" fmla="*/ 258 w 10785"/>
                <a:gd name="connsiteY2368" fmla="*/ 5573 h 10000"/>
                <a:gd name="connsiteX2369" fmla="*/ 258 w 10785"/>
                <a:gd name="connsiteY2369" fmla="*/ 5667 h 10000"/>
                <a:gd name="connsiteX2370" fmla="*/ 14 w 10785"/>
                <a:gd name="connsiteY2370" fmla="*/ 6214 h 10000"/>
                <a:gd name="connsiteX2371" fmla="*/ 14 w 10785"/>
                <a:gd name="connsiteY2371" fmla="*/ 6214 h 10000"/>
                <a:gd name="connsiteX2372" fmla="*/ 37 w 10785"/>
                <a:gd name="connsiteY2372" fmla="*/ 6214 h 10000"/>
                <a:gd name="connsiteX2373" fmla="*/ 51 w 10785"/>
                <a:gd name="connsiteY2373" fmla="*/ 6188 h 10000"/>
                <a:gd name="connsiteX2374" fmla="*/ 78 w 10785"/>
                <a:gd name="connsiteY2374" fmla="*/ 6162 h 10000"/>
                <a:gd name="connsiteX2375" fmla="*/ 78 w 10785"/>
                <a:gd name="connsiteY2375" fmla="*/ 6188 h 10000"/>
                <a:gd name="connsiteX2376" fmla="*/ 74 w 10785"/>
                <a:gd name="connsiteY2376" fmla="*/ 6197 h 10000"/>
                <a:gd name="connsiteX2377" fmla="*/ 74 w 10785"/>
                <a:gd name="connsiteY2377" fmla="*/ 6231 h 10000"/>
                <a:gd name="connsiteX2378" fmla="*/ 74 w 10785"/>
                <a:gd name="connsiteY2378" fmla="*/ 6214 h 10000"/>
                <a:gd name="connsiteX2379" fmla="*/ 65 w 10785"/>
                <a:gd name="connsiteY2379" fmla="*/ 6214 h 10000"/>
                <a:gd name="connsiteX2380" fmla="*/ 65 w 10785"/>
                <a:gd name="connsiteY2380" fmla="*/ 6248 h 10000"/>
                <a:gd name="connsiteX2381" fmla="*/ 74 w 10785"/>
                <a:gd name="connsiteY2381" fmla="*/ 6256 h 10000"/>
                <a:gd name="connsiteX2382" fmla="*/ 78 w 10785"/>
                <a:gd name="connsiteY2382" fmla="*/ 6256 h 10000"/>
                <a:gd name="connsiteX2383" fmla="*/ 106 w 10785"/>
                <a:gd name="connsiteY2383" fmla="*/ 6308 h 10000"/>
                <a:gd name="connsiteX2384" fmla="*/ 138 w 10785"/>
                <a:gd name="connsiteY2384" fmla="*/ 6299 h 10000"/>
                <a:gd name="connsiteX2385" fmla="*/ 152 w 10785"/>
                <a:gd name="connsiteY2385" fmla="*/ 6299 h 10000"/>
                <a:gd name="connsiteX2386" fmla="*/ 166 w 10785"/>
                <a:gd name="connsiteY2386" fmla="*/ 6325 h 10000"/>
                <a:gd name="connsiteX2387" fmla="*/ 166 w 10785"/>
                <a:gd name="connsiteY2387" fmla="*/ 6333 h 10000"/>
                <a:gd name="connsiteX2388" fmla="*/ 171 w 10785"/>
                <a:gd name="connsiteY2388" fmla="*/ 6350 h 10000"/>
                <a:gd name="connsiteX2389" fmla="*/ 180 w 10785"/>
                <a:gd name="connsiteY2389" fmla="*/ 6350 h 10000"/>
                <a:gd name="connsiteX2390" fmla="*/ 180 w 10785"/>
                <a:gd name="connsiteY2390" fmla="*/ 6359 h 10000"/>
                <a:gd name="connsiteX2391" fmla="*/ 171 w 10785"/>
                <a:gd name="connsiteY2391" fmla="*/ 6368 h 10000"/>
                <a:gd name="connsiteX2392" fmla="*/ 106 w 10785"/>
                <a:gd name="connsiteY2392" fmla="*/ 6350 h 10000"/>
                <a:gd name="connsiteX2393" fmla="*/ 101 w 10785"/>
                <a:gd name="connsiteY2393" fmla="*/ 6359 h 10000"/>
                <a:gd name="connsiteX2394" fmla="*/ 101 w 10785"/>
                <a:gd name="connsiteY2394" fmla="*/ 6385 h 10000"/>
                <a:gd name="connsiteX2395" fmla="*/ 78 w 10785"/>
                <a:gd name="connsiteY2395" fmla="*/ 6393 h 10000"/>
                <a:gd name="connsiteX2396" fmla="*/ 74 w 10785"/>
                <a:gd name="connsiteY2396" fmla="*/ 6385 h 10000"/>
                <a:gd name="connsiteX2397" fmla="*/ 65 w 10785"/>
                <a:gd name="connsiteY2397" fmla="*/ 6393 h 10000"/>
                <a:gd name="connsiteX2398" fmla="*/ 60 w 10785"/>
                <a:gd name="connsiteY2398" fmla="*/ 6419 h 10000"/>
                <a:gd name="connsiteX2399" fmla="*/ 51 w 10785"/>
                <a:gd name="connsiteY2399" fmla="*/ 6419 h 10000"/>
                <a:gd name="connsiteX2400" fmla="*/ 46 w 10785"/>
                <a:gd name="connsiteY2400" fmla="*/ 6410 h 10000"/>
                <a:gd name="connsiteX2401" fmla="*/ 37 w 10785"/>
                <a:gd name="connsiteY2401" fmla="*/ 6393 h 10000"/>
                <a:gd name="connsiteX2402" fmla="*/ 32 w 10785"/>
                <a:gd name="connsiteY2402" fmla="*/ 6419 h 10000"/>
                <a:gd name="connsiteX2403" fmla="*/ 37 w 10785"/>
                <a:gd name="connsiteY2403" fmla="*/ 6462 h 10000"/>
                <a:gd name="connsiteX2404" fmla="*/ 46 w 10785"/>
                <a:gd name="connsiteY2404" fmla="*/ 6462 h 10000"/>
                <a:gd name="connsiteX2405" fmla="*/ 51 w 10785"/>
                <a:gd name="connsiteY2405" fmla="*/ 6470 h 10000"/>
                <a:gd name="connsiteX2406" fmla="*/ 51 w 10785"/>
                <a:gd name="connsiteY2406" fmla="*/ 6496 h 10000"/>
                <a:gd name="connsiteX2407" fmla="*/ 51 w 10785"/>
                <a:gd name="connsiteY2407" fmla="*/ 6504 h 10000"/>
                <a:gd name="connsiteX2408" fmla="*/ 37 w 10785"/>
                <a:gd name="connsiteY2408" fmla="*/ 6530 h 10000"/>
                <a:gd name="connsiteX2409" fmla="*/ 18 w 10785"/>
                <a:gd name="connsiteY2409" fmla="*/ 6598 h 10000"/>
                <a:gd name="connsiteX2410" fmla="*/ 28 w 10785"/>
                <a:gd name="connsiteY2410" fmla="*/ 6632 h 10000"/>
                <a:gd name="connsiteX2411" fmla="*/ 18 w 10785"/>
                <a:gd name="connsiteY2411" fmla="*/ 6667 h 10000"/>
                <a:gd name="connsiteX2412" fmla="*/ 28 w 10785"/>
                <a:gd name="connsiteY2412" fmla="*/ 6692 h 10000"/>
                <a:gd name="connsiteX2413" fmla="*/ 28 w 10785"/>
                <a:gd name="connsiteY2413" fmla="*/ 6709 h 10000"/>
                <a:gd name="connsiteX2414" fmla="*/ 18 w 10785"/>
                <a:gd name="connsiteY2414" fmla="*/ 6718 h 10000"/>
                <a:gd name="connsiteX2415" fmla="*/ 5 w 10785"/>
                <a:gd name="connsiteY2415" fmla="*/ 6744 h 10000"/>
                <a:gd name="connsiteX2416" fmla="*/ 0 w 10785"/>
                <a:gd name="connsiteY2416" fmla="*/ 6769 h 10000"/>
                <a:gd name="connsiteX2417" fmla="*/ 5 w 10785"/>
                <a:gd name="connsiteY2417" fmla="*/ 6778 h 10000"/>
                <a:gd name="connsiteX2418" fmla="*/ 32 w 10785"/>
                <a:gd name="connsiteY2418" fmla="*/ 6778 h 10000"/>
                <a:gd name="connsiteX2419" fmla="*/ 46 w 10785"/>
                <a:gd name="connsiteY2419" fmla="*/ 6821 h 10000"/>
                <a:gd name="connsiteX2420" fmla="*/ 46 w 10785"/>
                <a:gd name="connsiteY2420" fmla="*/ 6855 h 10000"/>
                <a:gd name="connsiteX2421" fmla="*/ 32 w 10785"/>
                <a:gd name="connsiteY2421" fmla="*/ 6855 h 10000"/>
                <a:gd name="connsiteX2422" fmla="*/ 14 w 10785"/>
                <a:gd name="connsiteY2422" fmla="*/ 6821 h 10000"/>
                <a:gd name="connsiteX2423" fmla="*/ 14 w 10785"/>
                <a:gd name="connsiteY2423" fmla="*/ 6846 h 10000"/>
                <a:gd name="connsiteX2424" fmla="*/ 0 w 10785"/>
                <a:gd name="connsiteY2424" fmla="*/ 6897 h 10000"/>
                <a:gd name="connsiteX2425" fmla="*/ 0 w 10785"/>
                <a:gd name="connsiteY2425" fmla="*/ 6915 h 10000"/>
                <a:gd name="connsiteX2426" fmla="*/ 5 w 10785"/>
                <a:gd name="connsiteY2426" fmla="*/ 6932 h 10000"/>
                <a:gd name="connsiteX2427" fmla="*/ 14 w 10785"/>
                <a:gd name="connsiteY2427" fmla="*/ 6940 h 10000"/>
                <a:gd name="connsiteX2428" fmla="*/ 18 w 10785"/>
                <a:gd name="connsiteY2428" fmla="*/ 6957 h 10000"/>
                <a:gd name="connsiteX2429" fmla="*/ 28 w 10785"/>
                <a:gd name="connsiteY2429" fmla="*/ 6966 h 10000"/>
                <a:gd name="connsiteX2430" fmla="*/ 28 w 10785"/>
                <a:gd name="connsiteY2430" fmla="*/ 6983 h 10000"/>
                <a:gd name="connsiteX2431" fmla="*/ 18 w 10785"/>
                <a:gd name="connsiteY2431" fmla="*/ 7051 h 10000"/>
                <a:gd name="connsiteX2432" fmla="*/ 28 w 10785"/>
                <a:gd name="connsiteY2432" fmla="*/ 7068 h 10000"/>
                <a:gd name="connsiteX2433" fmla="*/ 32 w 10785"/>
                <a:gd name="connsiteY2433" fmla="*/ 7068 h 10000"/>
                <a:gd name="connsiteX2434" fmla="*/ 32 w 10785"/>
                <a:gd name="connsiteY2434" fmla="*/ 7094 h 10000"/>
                <a:gd name="connsiteX2435" fmla="*/ 60 w 10785"/>
                <a:gd name="connsiteY2435" fmla="*/ 7162 h 10000"/>
                <a:gd name="connsiteX2436" fmla="*/ 60 w 10785"/>
                <a:gd name="connsiteY2436" fmla="*/ 7231 h 10000"/>
                <a:gd name="connsiteX2437" fmla="*/ 60 w 10785"/>
                <a:gd name="connsiteY2437" fmla="*/ 7239 h 10000"/>
                <a:gd name="connsiteX2438" fmla="*/ 78 w 10785"/>
                <a:gd name="connsiteY2438" fmla="*/ 7239 h 10000"/>
                <a:gd name="connsiteX2439" fmla="*/ 88 w 10785"/>
                <a:gd name="connsiteY2439" fmla="*/ 7239 h 10000"/>
                <a:gd name="connsiteX2440" fmla="*/ 92 w 10785"/>
                <a:gd name="connsiteY2440" fmla="*/ 7256 h 10000"/>
                <a:gd name="connsiteX2441" fmla="*/ 111 w 10785"/>
                <a:gd name="connsiteY2441" fmla="*/ 7256 h 10000"/>
                <a:gd name="connsiteX2442" fmla="*/ 120 w 10785"/>
                <a:gd name="connsiteY2442" fmla="*/ 7256 h 10000"/>
                <a:gd name="connsiteX2443" fmla="*/ 134 w 10785"/>
                <a:gd name="connsiteY2443" fmla="*/ 7282 h 10000"/>
                <a:gd name="connsiteX2444" fmla="*/ 134 w 10785"/>
                <a:gd name="connsiteY2444" fmla="*/ 7316 h 10000"/>
                <a:gd name="connsiteX2445" fmla="*/ 152 w 10785"/>
                <a:gd name="connsiteY2445" fmla="*/ 7299 h 10000"/>
                <a:gd name="connsiteX2446" fmla="*/ 161 w 10785"/>
                <a:gd name="connsiteY2446" fmla="*/ 7299 h 10000"/>
                <a:gd name="connsiteX2447" fmla="*/ 166 w 10785"/>
                <a:gd name="connsiteY2447" fmla="*/ 7291 h 10000"/>
                <a:gd name="connsiteX2448" fmla="*/ 194 w 10785"/>
                <a:gd name="connsiteY2448" fmla="*/ 7291 h 10000"/>
                <a:gd name="connsiteX2449" fmla="*/ 207 w 10785"/>
                <a:gd name="connsiteY2449" fmla="*/ 7299 h 10000"/>
                <a:gd name="connsiteX2450" fmla="*/ 221 w 10785"/>
                <a:gd name="connsiteY2450" fmla="*/ 7342 h 10000"/>
                <a:gd name="connsiteX2451" fmla="*/ 235 w 10785"/>
                <a:gd name="connsiteY2451" fmla="*/ 7342 h 10000"/>
                <a:gd name="connsiteX2452" fmla="*/ 235 w 10785"/>
                <a:gd name="connsiteY2452" fmla="*/ 7368 h 10000"/>
                <a:gd name="connsiteX2453" fmla="*/ 226 w 10785"/>
                <a:gd name="connsiteY2453" fmla="*/ 7393 h 10000"/>
                <a:gd name="connsiteX2454" fmla="*/ 226 w 10785"/>
                <a:gd name="connsiteY2454" fmla="*/ 7402 h 10000"/>
                <a:gd name="connsiteX2455" fmla="*/ 235 w 10785"/>
                <a:gd name="connsiteY2455" fmla="*/ 7419 h 10000"/>
                <a:gd name="connsiteX2456" fmla="*/ 240 w 10785"/>
                <a:gd name="connsiteY2456" fmla="*/ 7436 h 10000"/>
                <a:gd name="connsiteX2457" fmla="*/ 235 w 10785"/>
                <a:gd name="connsiteY2457" fmla="*/ 7462 h 10000"/>
                <a:gd name="connsiteX2458" fmla="*/ 226 w 10785"/>
                <a:gd name="connsiteY2458" fmla="*/ 7479 h 10000"/>
                <a:gd name="connsiteX2459" fmla="*/ 226 w 10785"/>
                <a:gd name="connsiteY2459" fmla="*/ 7504 h 10000"/>
                <a:gd name="connsiteX2460" fmla="*/ 226 w 10785"/>
                <a:gd name="connsiteY2460" fmla="*/ 7513 h 10000"/>
                <a:gd name="connsiteX2461" fmla="*/ 240 w 10785"/>
                <a:gd name="connsiteY2461" fmla="*/ 7538 h 10000"/>
                <a:gd name="connsiteX2462" fmla="*/ 267 w 10785"/>
                <a:gd name="connsiteY2462" fmla="*/ 7641 h 10000"/>
                <a:gd name="connsiteX2463" fmla="*/ 281 w 10785"/>
                <a:gd name="connsiteY2463" fmla="*/ 7667 h 10000"/>
                <a:gd name="connsiteX2464" fmla="*/ 286 w 10785"/>
                <a:gd name="connsiteY2464" fmla="*/ 7675 h 10000"/>
                <a:gd name="connsiteX2465" fmla="*/ 286 w 10785"/>
                <a:gd name="connsiteY2465" fmla="*/ 7692 h 10000"/>
                <a:gd name="connsiteX2466" fmla="*/ 286 w 10785"/>
                <a:gd name="connsiteY2466" fmla="*/ 7709 h 10000"/>
                <a:gd name="connsiteX2467" fmla="*/ 295 w 10785"/>
                <a:gd name="connsiteY2467" fmla="*/ 7726 h 10000"/>
                <a:gd name="connsiteX2468" fmla="*/ 318 w 10785"/>
                <a:gd name="connsiteY2468" fmla="*/ 7709 h 10000"/>
                <a:gd name="connsiteX2469" fmla="*/ 327 w 10785"/>
                <a:gd name="connsiteY2469" fmla="*/ 7726 h 10000"/>
                <a:gd name="connsiteX2470" fmla="*/ 341 w 10785"/>
                <a:gd name="connsiteY2470" fmla="*/ 7735 h 10000"/>
                <a:gd name="connsiteX2471" fmla="*/ 332 w 10785"/>
                <a:gd name="connsiteY2471" fmla="*/ 7752 h 10000"/>
                <a:gd name="connsiteX2472" fmla="*/ 341 w 10785"/>
                <a:gd name="connsiteY2472" fmla="*/ 7761 h 10000"/>
                <a:gd name="connsiteX2473" fmla="*/ 355 w 10785"/>
                <a:gd name="connsiteY2473" fmla="*/ 7761 h 10000"/>
                <a:gd name="connsiteX2474" fmla="*/ 355 w 10785"/>
                <a:gd name="connsiteY2474" fmla="*/ 7803 h 10000"/>
                <a:gd name="connsiteX2475" fmla="*/ 313 w 10785"/>
                <a:gd name="connsiteY2475" fmla="*/ 7846 h 10000"/>
                <a:gd name="connsiteX2476" fmla="*/ 295 w 10785"/>
                <a:gd name="connsiteY2476" fmla="*/ 7846 h 10000"/>
                <a:gd name="connsiteX2477" fmla="*/ 281 w 10785"/>
                <a:gd name="connsiteY2477" fmla="*/ 7821 h 10000"/>
                <a:gd name="connsiteX2478" fmla="*/ 272 w 10785"/>
                <a:gd name="connsiteY2478" fmla="*/ 7821 h 10000"/>
                <a:gd name="connsiteX2479" fmla="*/ 267 w 10785"/>
                <a:gd name="connsiteY2479" fmla="*/ 7838 h 10000"/>
                <a:gd name="connsiteX2480" fmla="*/ 258 w 10785"/>
                <a:gd name="connsiteY2480" fmla="*/ 7846 h 10000"/>
                <a:gd name="connsiteX2481" fmla="*/ 253 w 10785"/>
                <a:gd name="connsiteY2481" fmla="*/ 7863 h 10000"/>
                <a:gd name="connsiteX2482" fmla="*/ 253 w 10785"/>
                <a:gd name="connsiteY2482" fmla="*/ 7872 h 10000"/>
                <a:gd name="connsiteX2483" fmla="*/ 267 w 10785"/>
                <a:gd name="connsiteY2483" fmla="*/ 7897 h 10000"/>
                <a:gd name="connsiteX2484" fmla="*/ 272 w 10785"/>
                <a:gd name="connsiteY2484" fmla="*/ 7915 h 10000"/>
                <a:gd name="connsiteX2485" fmla="*/ 267 w 10785"/>
                <a:gd name="connsiteY2485" fmla="*/ 7940 h 10000"/>
                <a:gd name="connsiteX2486" fmla="*/ 272 w 10785"/>
                <a:gd name="connsiteY2486" fmla="*/ 7949 h 10000"/>
                <a:gd name="connsiteX2487" fmla="*/ 272 w 10785"/>
                <a:gd name="connsiteY2487" fmla="*/ 7957 h 10000"/>
                <a:gd name="connsiteX2488" fmla="*/ 281 w 10785"/>
                <a:gd name="connsiteY2488" fmla="*/ 7974 h 10000"/>
                <a:gd name="connsiteX2489" fmla="*/ 286 w 10785"/>
                <a:gd name="connsiteY2489" fmla="*/ 7983 h 10000"/>
                <a:gd name="connsiteX2490" fmla="*/ 281 w 10785"/>
                <a:gd name="connsiteY2490" fmla="*/ 8009 h 10000"/>
                <a:gd name="connsiteX2491" fmla="*/ 286 w 10785"/>
                <a:gd name="connsiteY2491" fmla="*/ 8060 h 10000"/>
                <a:gd name="connsiteX2492" fmla="*/ 286 w 10785"/>
                <a:gd name="connsiteY2492" fmla="*/ 8060 h 10000"/>
                <a:gd name="connsiteX2493" fmla="*/ 295 w 10785"/>
                <a:gd name="connsiteY2493" fmla="*/ 8077 h 10000"/>
                <a:gd name="connsiteX2494" fmla="*/ 309 w 10785"/>
                <a:gd name="connsiteY2494" fmla="*/ 8077 h 10000"/>
                <a:gd name="connsiteX2495" fmla="*/ 313 w 10785"/>
                <a:gd name="connsiteY2495" fmla="*/ 8060 h 10000"/>
                <a:gd name="connsiteX2496" fmla="*/ 318 w 10785"/>
                <a:gd name="connsiteY2496" fmla="*/ 8051 h 10000"/>
                <a:gd name="connsiteX2497" fmla="*/ 318 w 10785"/>
                <a:gd name="connsiteY2497" fmla="*/ 8034 h 10000"/>
                <a:gd name="connsiteX2498" fmla="*/ 332 w 10785"/>
                <a:gd name="connsiteY2498" fmla="*/ 8026 h 10000"/>
                <a:gd name="connsiteX2499" fmla="*/ 359 w 10785"/>
                <a:gd name="connsiteY2499" fmla="*/ 8034 h 10000"/>
                <a:gd name="connsiteX2500" fmla="*/ 378 w 10785"/>
                <a:gd name="connsiteY2500" fmla="*/ 8026 h 10000"/>
                <a:gd name="connsiteX2501" fmla="*/ 401 w 10785"/>
                <a:gd name="connsiteY2501" fmla="*/ 8026 h 10000"/>
                <a:gd name="connsiteX2502" fmla="*/ 419 w 10785"/>
                <a:gd name="connsiteY2502" fmla="*/ 8009 h 10000"/>
                <a:gd name="connsiteX2503" fmla="*/ 433 w 10785"/>
                <a:gd name="connsiteY2503" fmla="*/ 8034 h 10000"/>
                <a:gd name="connsiteX2504" fmla="*/ 442 w 10785"/>
                <a:gd name="connsiteY2504" fmla="*/ 8060 h 10000"/>
                <a:gd name="connsiteX2505" fmla="*/ 442 w 10785"/>
                <a:gd name="connsiteY2505" fmla="*/ 8077 h 10000"/>
                <a:gd name="connsiteX2506" fmla="*/ 461 w 10785"/>
                <a:gd name="connsiteY2506" fmla="*/ 8111 h 10000"/>
                <a:gd name="connsiteX2507" fmla="*/ 461 w 10785"/>
                <a:gd name="connsiteY2507" fmla="*/ 8137 h 10000"/>
                <a:gd name="connsiteX2508" fmla="*/ 447 w 10785"/>
                <a:gd name="connsiteY2508" fmla="*/ 8145 h 10000"/>
                <a:gd name="connsiteX2509" fmla="*/ 442 w 10785"/>
                <a:gd name="connsiteY2509" fmla="*/ 8145 h 10000"/>
                <a:gd name="connsiteX2510" fmla="*/ 442 w 10785"/>
                <a:gd name="connsiteY2510" fmla="*/ 8162 h 10000"/>
                <a:gd name="connsiteX2511" fmla="*/ 442 w 10785"/>
                <a:gd name="connsiteY2511" fmla="*/ 8171 h 10000"/>
                <a:gd name="connsiteX2512" fmla="*/ 447 w 10785"/>
                <a:gd name="connsiteY2512" fmla="*/ 8214 h 10000"/>
                <a:gd name="connsiteX2513" fmla="*/ 465 w 10785"/>
                <a:gd name="connsiteY2513" fmla="*/ 8231 h 10000"/>
                <a:gd name="connsiteX2514" fmla="*/ 488 w 10785"/>
                <a:gd name="connsiteY2514" fmla="*/ 8231 h 10000"/>
                <a:gd name="connsiteX2515" fmla="*/ 493 w 10785"/>
                <a:gd name="connsiteY2515" fmla="*/ 8231 h 10000"/>
                <a:gd name="connsiteX2516" fmla="*/ 502 w 10785"/>
                <a:gd name="connsiteY2516" fmla="*/ 8231 h 10000"/>
                <a:gd name="connsiteX2517" fmla="*/ 507 w 10785"/>
                <a:gd name="connsiteY2517" fmla="*/ 8248 h 10000"/>
                <a:gd name="connsiteX2518" fmla="*/ 521 w 10785"/>
                <a:gd name="connsiteY2518" fmla="*/ 8274 h 10000"/>
                <a:gd name="connsiteX2519" fmla="*/ 525 w 10785"/>
                <a:gd name="connsiteY2519" fmla="*/ 8333 h 10000"/>
                <a:gd name="connsiteX2520" fmla="*/ 525 w 10785"/>
                <a:gd name="connsiteY2520" fmla="*/ 8359 h 10000"/>
                <a:gd name="connsiteX2521" fmla="*/ 525 w 10785"/>
                <a:gd name="connsiteY2521" fmla="*/ 8368 h 10000"/>
                <a:gd name="connsiteX2522" fmla="*/ 548 w 10785"/>
                <a:gd name="connsiteY2522" fmla="*/ 8393 h 10000"/>
                <a:gd name="connsiteX2523" fmla="*/ 553 w 10785"/>
                <a:gd name="connsiteY2523" fmla="*/ 8385 h 10000"/>
                <a:gd name="connsiteX2524" fmla="*/ 562 w 10785"/>
                <a:gd name="connsiteY2524" fmla="*/ 8385 h 10000"/>
                <a:gd name="connsiteX2525" fmla="*/ 576 w 10785"/>
                <a:gd name="connsiteY2525" fmla="*/ 8385 h 10000"/>
                <a:gd name="connsiteX2526" fmla="*/ 585 w 10785"/>
                <a:gd name="connsiteY2526" fmla="*/ 8410 h 10000"/>
                <a:gd name="connsiteX2527" fmla="*/ 594 w 10785"/>
                <a:gd name="connsiteY2527" fmla="*/ 8410 h 10000"/>
                <a:gd name="connsiteX2528" fmla="*/ 608 w 10785"/>
                <a:gd name="connsiteY2528" fmla="*/ 8410 h 10000"/>
                <a:gd name="connsiteX2529" fmla="*/ 654 w 10785"/>
                <a:gd name="connsiteY2529" fmla="*/ 8385 h 10000"/>
                <a:gd name="connsiteX2530" fmla="*/ 659 w 10785"/>
                <a:gd name="connsiteY2530" fmla="*/ 8385 h 10000"/>
                <a:gd name="connsiteX2531" fmla="*/ 696 w 10785"/>
                <a:gd name="connsiteY2531" fmla="*/ 8470 h 10000"/>
                <a:gd name="connsiteX2532" fmla="*/ 700 w 10785"/>
                <a:gd name="connsiteY2532" fmla="*/ 8470 h 10000"/>
                <a:gd name="connsiteX2533" fmla="*/ 710 w 10785"/>
                <a:gd name="connsiteY2533" fmla="*/ 8462 h 10000"/>
                <a:gd name="connsiteX2534" fmla="*/ 714 w 10785"/>
                <a:gd name="connsiteY2534" fmla="*/ 8462 h 10000"/>
                <a:gd name="connsiteX2535" fmla="*/ 724 w 10785"/>
                <a:gd name="connsiteY2535" fmla="*/ 8470 h 10000"/>
                <a:gd name="connsiteX2536" fmla="*/ 733 w 10785"/>
                <a:gd name="connsiteY2536" fmla="*/ 8470 h 10000"/>
                <a:gd name="connsiteX2537" fmla="*/ 742 w 10785"/>
                <a:gd name="connsiteY2537" fmla="*/ 8487 h 10000"/>
                <a:gd name="connsiteX2538" fmla="*/ 747 w 10785"/>
                <a:gd name="connsiteY2538" fmla="*/ 8496 h 10000"/>
                <a:gd name="connsiteX2539" fmla="*/ 770 w 10785"/>
                <a:gd name="connsiteY2539" fmla="*/ 8496 h 10000"/>
                <a:gd name="connsiteX2540" fmla="*/ 783 w 10785"/>
                <a:gd name="connsiteY2540" fmla="*/ 8521 h 10000"/>
                <a:gd name="connsiteX2541" fmla="*/ 797 w 10785"/>
                <a:gd name="connsiteY2541" fmla="*/ 8521 h 10000"/>
                <a:gd name="connsiteX2542" fmla="*/ 806 w 10785"/>
                <a:gd name="connsiteY2542" fmla="*/ 8530 h 10000"/>
                <a:gd name="connsiteX2543" fmla="*/ 829 w 10785"/>
                <a:gd name="connsiteY2543" fmla="*/ 8547 h 10000"/>
                <a:gd name="connsiteX2544" fmla="*/ 834 w 10785"/>
                <a:gd name="connsiteY2544" fmla="*/ 8556 h 10000"/>
                <a:gd name="connsiteX2545" fmla="*/ 829 w 10785"/>
                <a:gd name="connsiteY2545" fmla="*/ 8556 h 10000"/>
                <a:gd name="connsiteX2546" fmla="*/ 834 w 10785"/>
                <a:gd name="connsiteY2546" fmla="*/ 8607 h 10000"/>
                <a:gd name="connsiteX2547" fmla="*/ 829 w 10785"/>
                <a:gd name="connsiteY2547" fmla="*/ 8641 h 10000"/>
                <a:gd name="connsiteX2548" fmla="*/ 806 w 10785"/>
                <a:gd name="connsiteY2548" fmla="*/ 8658 h 10000"/>
                <a:gd name="connsiteX2549" fmla="*/ 816 w 10785"/>
                <a:gd name="connsiteY2549" fmla="*/ 8667 h 10000"/>
                <a:gd name="connsiteX2550" fmla="*/ 820 w 10785"/>
                <a:gd name="connsiteY2550" fmla="*/ 8667 h 10000"/>
                <a:gd name="connsiteX2551" fmla="*/ 829 w 10785"/>
                <a:gd name="connsiteY2551" fmla="*/ 8684 h 10000"/>
                <a:gd name="connsiteX2552" fmla="*/ 806 w 10785"/>
                <a:gd name="connsiteY2552" fmla="*/ 8692 h 10000"/>
                <a:gd name="connsiteX2553" fmla="*/ 802 w 10785"/>
                <a:gd name="connsiteY2553" fmla="*/ 8709 h 10000"/>
                <a:gd name="connsiteX2554" fmla="*/ 802 w 10785"/>
                <a:gd name="connsiteY2554" fmla="*/ 8735 h 10000"/>
                <a:gd name="connsiteX2555" fmla="*/ 806 w 10785"/>
                <a:gd name="connsiteY2555" fmla="*/ 8744 h 10000"/>
                <a:gd name="connsiteX2556" fmla="*/ 816 w 10785"/>
                <a:gd name="connsiteY2556" fmla="*/ 8752 h 10000"/>
                <a:gd name="connsiteX2557" fmla="*/ 806 w 10785"/>
                <a:gd name="connsiteY2557" fmla="*/ 8778 h 10000"/>
                <a:gd name="connsiteX2558" fmla="*/ 820 w 10785"/>
                <a:gd name="connsiteY2558" fmla="*/ 8778 h 10000"/>
                <a:gd name="connsiteX2559" fmla="*/ 806 w 10785"/>
                <a:gd name="connsiteY2559" fmla="*/ 8880 h 10000"/>
                <a:gd name="connsiteX2560" fmla="*/ 797 w 10785"/>
                <a:gd name="connsiteY2560" fmla="*/ 8880 h 10000"/>
                <a:gd name="connsiteX2561" fmla="*/ 783 w 10785"/>
                <a:gd name="connsiteY2561" fmla="*/ 8872 h 10000"/>
                <a:gd name="connsiteX2562" fmla="*/ 770 w 10785"/>
                <a:gd name="connsiteY2562" fmla="*/ 8880 h 10000"/>
                <a:gd name="connsiteX2563" fmla="*/ 756 w 10785"/>
                <a:gd name="connsiteY2563" fmla="*/ 8855 h 10000"/>
                <a:gd name="connsiteX2564" fmla="*/ 733 w 10785"/>
                <a:gd name="connsiteY2564" fmla="*/ 8906 h 10000"/>
                <a:gd name="connsiteX2565" fmla="*/ 714 w 10785"/>
                <a:gd name="connsiteY2565" fmla="*/ 8915 h 10000"/>
                <a:gd name="connsiteX2566" fmla="*/ 710 w 10785"/>
                <a:gd name="connsiteY2566" fmla="*/ 8940 h 10000"/>
                <a:gd name="connsiteX2567" fmla="*/ 710 w 10785"/>
                <a:gd name="connsiteY2567" fmla="*/ 9009 h 10000"/>
                <a:gd name="connsiteX2568" fmla="*/ 728 w 10785"/>
                <a:gd name="connsiteY2568" fmla="*/ 8991 h 10000"/>
                <a:gd name="connsiteX2569" fmla="*/ 733 w 10785"/>
                <a:gd name="connsiteY2569" fmla="*/ 8991 h 10000"/>
                <a:gd name="connsiteX2570" fmla="*/ 747 w 10785"/>
                <a:gd name="connsiteY2570" fmla="*/ 8983 h 10000"/>
                <a:gd name="connsiteX2571" fmla="*/ 760 w 10785"/>
                <a:gd name="connsiteY2571" fmla="*/ 8983 h 10000"/>
                <a:gd name="connsiteX2572" fmla="*/ 770 w 10785"/>
                <a:gd name="connsiteY2572" fmla="*/ 8983 h 10000"/>
                <a:gd name="connsiteX2573" fmla="*/ 770 w 10785"/>
                <a:gd name="connsiteY2573" fmla="*/ 8991 h 10000"/>
                <a:gd name="connsiteX2574" fmla="*/ 783 w 10785"/>
                <a:gd name="connsiteY2574" fmla="*/ 8991 h 10000"/>
                <a:gd name="connsiteX2575" fmla="*/ 783 w 10785"/>
                <a:gd name="connsiteY2575" fmla="*/ 9009 h 10000"/>
                <a:gd name="connsiteX2576" fmla="*/ 783 w 10785"/>
                <a:gd name="connsiteY2576" fmla="*/ 9017 h 10000"/>
                <a:gd name="connsiteX2577" fmla="*/ 770 w 10785"/>
                <a:gd name="connsiteY2577" fmla="*/ 9017 h 10000"/>
                <a:gd name="connsiteX2578" fmla="*/ 724 w 10785"/>
                <a:gd name="connsiteY2578" fmla="*/ 9051 h 10000"/>
                <a:gd name="connsiteX2579" fmla="*/ 724 w 10785"/>
                <a:gd name="connsiteY2579" fmla="*/ 9068 h 10000"/>
                <a:gd name="connsiteX2580" fmla="*/ 728 w 10785"/>
                <a:gd name="connsiteY2580" fmla="*/ 9077 h 10000"/>
                <a:gd name="connsiteX2581" fmla="*/ 724 w 10785"/>
                <a:gd name="connsiteY2581" fmla="*/ 9077 h 10000"/>
                <a:gd name="connsiteX2582" fmla="*/ 710 w 10785"/>
                <a:gd name="connsiteY2582" fmla="*/ 9077 h 10000"/>
                <a:gd name="connsiteX2583" fmla="*/ 682 w 10785"/>
                <a:gd name="connsiteY2583" fmla="*/ 9077 h 10000"/>
                <a:gd name="connsiteX2584" fmla="*/ 673 w 10785"/>
                <a:gd name="connsiteY2584" fmla="*/ 9103 h 10000"/>
                <a:gd name="connsiteX2585" fmla="*/ 687 w 10785"/>
                <a:gd name="connsiteY2585" fmla="*/ 9128 h 10000"/>
                <a:gd name="connsiteX2586" fmla="*/ 700 w 10785"/>
                <a:gd name="connsiteY2586" fmla="*/ 9128 h 10000"/>
                <a:gd name="connsiteX2587" fmla="*/ 728 w 10785"/>
                <a:gd name="connsiteY2587" fmla="*/ 9179 h 10000"/>
                <a:gd name="connsiteX2588" fmla="*/ 724 w 10785"/>
                <a:gd name="connsiteY2588" fmla="*/ 9188 h 10000"/>
                <a:gd name="connsiteX2589" fmla="*/ 710 w 10785"/>
                <a:gd name="connsiteY2589" fmla="*/ 9179 h 10000"/>
                <a:gd name="connsiteX2590" fmla="*/ 700 w 10785"/>
                <a:gd name="connsiteY2590" fmla="*/ 9205 h 10000"/>
                <a:gd name="connsiteX2591" fmla="*/ 696 w 10785"/>
                <a:gd name="connsiteY2591" fmla="*/ 9205 h 10000"/>
                <a:gd name="connsiteX2592" fmla="*/ 654 w 10785"/>
                <a:gd name="connsiteY2592" fmla="*/ 9299 h 10000"/>
                <a:gd name="connsiteX2593" fmla="*/ 622 w 10785"/>
                <a:gd name="connsiteY2593" fmla="*/ 9299 h 10000"/>
                <a:gd name="connsiteX2594" fmla="*/ 613 w 10785"/>
                <a:gd name="connsiteY2594" fmla="*/ 9316 h 10000"/>
                <a:gd name="connsiteX2595" fmla="*/ 613 w 10785"/>
                <a:gd name="connsiteY2595" fmla="*/ 9325 h 10000"/>
                <a:gd name="connsiteX2596" fmla="*/ 608 w 10785"/>
                <a:gd name="connsiteY2596" fmla="*/ 9342 h 10000"/>
                <a:gd name="connsiteX2597" fmla="*/ 636 w 10785"/>
                <a:gd name="connsiteY2597" fmla="*/ 9376 h 10000"/>
                <a:gd name="connsiteX2598" fmla="*/ 641 w 10785"/>
                <a:gd name="connsiteY2598" fmla="*/ 9402 h 10000"/>
                <a:gd name="connsiteX2599" fmla="*/ 654 w 10785"/>
                <a:gd name="connsiteY2599" fmla="*/ 9427 h 10000"/>
                <a:gd name="connsiteX2600" fmla="*/ 668 w 10785"/>
                <a:gd name="connsiteY2600" fmla="*/ 9427 h 10000"/>
                <a:gd name="connsiteX2601" fmla="*/ 668 w 10785"/>
                <a:gd name="connsiteY2601" fmla="*/ 9427 h 10000"/>
                <a:gd name="connsiteX2602" fmla="*/ 774 w 10785"/>
                <a:gd name="connsiteY2602" fmla="*/ 9547 h 10000"/>
                <a:gd name="connsiteX2603" fmla="*/ 797 w 10785"/>
                <a:gd name="connsiteY2603" fmla="*/ 9598 h 10000"/>
                <a:gd name="connsiteX2604" fmla="*/ 802 w 10785"/>
                <a:gd name="connsiteY2604" fmla="*/ 9598 h 10000"/>
                <a:gd name="connsiteX2605" fmla="*/ 816 w 10785"/>
                <a:gd name="connsiteY2605" fmla="*/ 9624 h 10000"/>
                <a:gd name="connsiteX2606" fmla="*/ 843 w 10785"/>
                <a:gd name="connsiteY2606" fmla="*/ 9615 h 10000"/>
                <a:gd name="connsiteX2607" fmla="*/ 857 w 10785"/>
                <a:gd name="connsiteY2607" fmla="*/ 9624 h 10000"/>
                <a:gd name="connsiteX2608" fmla="*/ 862 w 10785"/>
                <a:gd name="connsiteY2608" fmla="*/ 9615 h 10000"/>
                <a:gd name="connsiteX2609" fmla="*/ 880 w 10785"/>
                <a:gd name="connsiteY2609" fmla="*/ 9624 h 10000"/>
                <a:gd name="connsiteX2610" fmla="*/ 889 w 10785"/>
                <a:gd name="connsiteY2610" fmla="*/ 9641 h 10000"/>
                <a:gd name="connsiteX2611" fmla="*/ 935 w 10785"/>
                <a:gd name="connsiteY2611" fmla="*/ 9675 h 10000"/>
                <a:gd name="connsiteX2612" fmla="*/ 977 w 10785"/>
                <a:gd name="connsiteY2612" fmla="*/ 9667 h 10000"/>
                <a:gd name="connsiteX2613" fmla="*/ 995 w 10785"/>
                <a:gd name="connsiteY2613" fmla="*/ 9675 h 10000"/>
                <a:gd name="connsiteX2614" fmla="*/ 1014 w 10785"/>
                <a:gd name="connsiteY2614" fmla="*/ 9675 h 10000"/>
                <a:gd name="connsiteX2615" fmla="*/ 1069 w 10785"/>
                <a:gd name="connsiteY2615" fmla="*/ 9752 h 10000"/>
                <a:gd name="connsiteX2616" fmla="*/ 1074 w 10785"/>
                <a:gd name="connsiteY2616" fmla="*/ 9761 h 10000"/>
                <a:gd name="connsiteX2617" fmla="*/ 1083 w 10785"/>
                <a:gd name="connsiteY2617" fmla="*/ 9778 h 10000"/>
                <a:gd name="connsiteX2618" fmla="*/ 1115 w 10785"/>
                <a:gd name="connsiteY2618" fmla="*/ 9752 h 10000"/>
                <a:gd name="connsiteX2619" fmla="*/ 1129 w 10785"/>
                <a:gd name="connsiteY2619" fmla="*/ 9752 h 10000"/>
                <a:gd name="connsiteX2620" fmla="*/ 1138 w 10785"/>
                <a:gd name="connsiteY2620" fmla="*/ 9761 h 10000"/>
                <a:gd name="connsiteX2621" fmla="*/ 1143 w 10785"/>
                <a:gd name="connsiteY2621" fmla="*/ 9752 h 10000"/>
                <a:gd name="connsiteX2622" fmla="*/ 1161 w 10785"/>
                <a:gd name="connsiteY2622" fmla="*/ 9761 h 10000"/>
                <a:gd name="connsiteX2623" fmla="*/ 1171 w 10785"/>
                <a:gd name="connsiteY2623" fmla="*/ 9778 h 10000"/>
                <a:gd name="connsiteX2624" fmla="*/ 1175 w 10785"/>
                <a:gd name="connsiteY2624" fmla="*/ 9778 h 10000"/>
                <a:gd name="connsiteX2625" fmla="*/ 1189 w 10785"/>
                <a:gd name="connsiteY2625" fmla="*/ 9778 h 10000"/>
                <a:gd name="connsiteX2626" fmla="*/ 1198 w 10785"/>
                <a:gd name="connsiteY2626" fmla="*/ 9786 h 10000"/>
                <a:gd name="connsiteX2627" fmla="*/ 1203 w 10785"/>
                <a:gd name="connsiteY2627" fmla="*/ 9803 h 10000"/>
                <a:gd name="connsiteX2628" fmla="*/ 1198 w 10785"/>
                <a:gd name="connsiteY2628" fmla="*/ 9838 h 10000"/>
                <a:gd name="connsiteX2629" fmla="*/ 1212 w 10785"/>
                <a:gd name="connsiteY2629" fmla="*/ 9863 h 10000"/>
                <a:gd name="connsiteX2630" fmla="*/ 1230 w 10785"/>
                <a:gd name="connsiteY2630" fmla="*/ 9872 h 10000"/>
                <a:gd name="connsiteX2631" fmla="*/ 1249 w 10785"/>
                <a:gd name="connsiteY2631" fmla="*/ 9897 h 10000"/>
                <a:gd name="connsiteX2632" fmla="*/ 1263 w 10785"/>
                <a:gd name="connsiteY2632" fmla="*/ 9897 h 10000"/>
                <a:gd name="connsiteX2633" fmla="*/ 1276 w 10785"/>
                <a:gd name="connsiteY2633" fmla="*/ 9923 h 10000"/>
                <a:gd name="connsiteX2634" fmla="*/ 1281 w 10785"/>
                <a:gd name="connsiteY2634" fmla="*/ 9949 h 10000"/>
                <a:gd name="connsiteX2635" fmla="*/ 1290 w 10785"/>
                <a:gd name="connsiteY2635" fmla="*/ 9949 h 10000"/>
                <a:gd name="connsiteX2636" fmla="*/ 1295 w 10785"/>
                <a:gd name="connsiteY2636" fmla="*/ 10000 h 10000"/>
                <a:gd name="connsiteX2637" fmla="*/ 1332 w 10785"/>
                <a:gd name="connsiteY2637" fmla="*/ 10000 h 10000"/>
                <a:gd name="connsiteX2638" fmla="*/ 1336 w 10785"/>
                <a:gd name="connsiteY2638" fmla="*/ 10000 h 10000"/>
                <a:gd name="connsiteX2639" fmla="*/ 1346 w 10785"/>
                <a:gd name="connsiteY2639" fmla="*/ 9983 h 10000"/>
                <a:gd name="connsiteX2640" fmla="*/ 1350 w 10785"/>
                <a:gd name="connsiteY2640" fmla="*/ 9949 h 10000"/>
                <a:gd name="connsiteX2641" fmla="*/ 1369 w 10785"/>
                <a:gd name="connsiteY2641" fmla="*/ 9940 h 10000"/>
                <a:gd name="connsiteX2642" fmla="*/ 1378 w 10785"/>
                <a:gd name="connsiteY2642" fmla="*/ 9897 h 10000"/>
                <a:gd name="connsiteX2643" fmla="*/ 1369 w 10785"/>
                <a:gd name="connsiteY2643" fmla="*/ 9889 h 10000"/>
                <a:gd name="connsiteX2644" fmla="*/ 1318 w 10785"/>
                <a:gd name="connsiteY2644" fmla="*/ 9701 h 10000"/>
                <a:gd name="connsiteX2645" fmla="*/ 1318 w 10785"/>
                <a:gd name="connsiteY2645" fmla="*/ 9650 h 10000"/>
                <a:gd name="connsiteX2646" fmla="*/ 1323 w 10785"/>
                <a:gd name="connsiteY2646" fmla="*/ 9590 h 10000"/>
                <a:gd name="connsiteX2647" fmla="*/ 1323 w 10785"/>
                <a:gd name="connsiteY2647" fmla="*/ 9564 h 10000"/>
                <a:gd name="connsiteX2648" fmla="*/ 1309 w 10785"/>
                <a:gd name="connsiteY2648" fmla="*/ 9598 h 10000"/>
                <a:gd name="connsiteX2649" fmla="*/ 1309 w 10785"/>
                <a:gd name="connsiteY2649" fmla="*/ 9590 h 10000"/>
                <a:gd name="connsiteX2650" fmla="*/ 1304 w 10785"/>
                <a:gd name="connsiteY2650" fmla="*/ 9547 h 10000"/>
                <a:gd name="connsiteX2651" fmla="*/ 1276 w 10785"/>
                <a:gd name="connsiteY2651" fmla="*/ 9479 h 10000"/>
                <a:gd name="connsiteX2652" fmla="*/ 1263 w 10785"/>
                <a:gd name="connsiteY2652" fmla="*/ 9479 h 10000"/>
                <a:gd name="connsiteX2653" fmla="*/ 1263 w 10785"/>
                <a:gd name="connsiteY2653" fmla="*/ 9453 h 10000"/>
                <a:gd name="connsiteX2654" fmla="*/ 1272 w 10785"/>
                <a:gd name="connsiteY2654" fmla="*/ 9410 h 10000"/>
                <a:gd name="connsiteX2655" fmla="*/ 1272 w 10785"/>
                <a:gd name="connsiteY2655" fmla="*/ 9393 h 10000"/>
                <a:gd name="connsiteX2656" fmla="*/ 1281 w 10785"/>
                <a:gd name="connsiteY2656" fmla="*/ 9368 h 10000"/>
                <a:gd name="connsiteX2657" fmla="*/ 1281 w 10785"/>
                <a:gd name="connsiteY2657" fmla="*/ 9368 h 10000"/>
                <a:gd name="connsiteX2658" fmla="*/ 1290 w 10785"/>
                <a:gd name="connsiteY2658" fmla="*/ 9368 h 10000"/>
                <a:gd name="connsiteX2659" fmla="*/ 1290 w 10785"/>
                <a:gd name="connsiteY2659" fmla="*/ 9342 h 10000"/>
                <a:gd name="connsiteX2660" fmla="*/ 1304 w 10785"/>
                <a:gd name="connsiteY2660" fmla="*/ 9325 h 10000"/>
                <a:gd name="connsiteX2661" fmla="*/ 1309 w 10785"/>
                <a:gd name="connsiteY2661" fmla="*/ 9239 h 10000"/>
                <a:gd name="connsiteX2662" fmla="*/ 1318 w 10785"/>
                <a:gd name="connsiteY2662" fmla="*/ 9256 h 10000"/>
                <a:gd name="connsiteX2663" fmla="*/ 1323 w 10785"/>
                <a:gd name="connsiteY2663" fmla="*/ 9179 h 10000"/>
                <a:gd name="connsiteX2664" fmla="*/ 1309 w 10785"/>
                <a:gd name="connsiteY2664" fmla="*/ 9145 h 10000"/>
                <a:gd name="connsiteX2665" fmla="*/ 1336 w 10785"/>
                <a:gd name="connsiteY2665" fmla="*/ 9154 h 10000"/>
                <a:gd name="connsiteX2666" fmla="*/ 1336 w 10785"/>
                <a:gd name="connsiteY2666" fmla="*/ 9162 h 10000"/>
                <a:gd name="connsiteX2667" fmla="*/ 1350 w 10785"/>
                <a:gd name="connsiteY2667" fmla="*/ 9231 h 10000"/>
                <a:gd name="connsiteX2668" fmla="*/ 1355 w 10785"/>
                <a:gd name="connsiteY2668" fmla="*/ 9231 h 10000"/>
                <a:gd name="connsiteX2669" fmla="*/ 1364 w 10785"/>
                <a:gd name="connsiteY2669" fmla="*/ 9214 h 10000"/>
                <a:gd name="connsiteX2670" fmla="*/ 1369 w 10785"/>
                <a:gd name="connsiteY2670" fmla="*/ 9214 h 10000"/>
                <a:gd name="connsiteX2671" fmla="*/ 1382 w 10785"/>
                <a:gd name="connsiteY2671" fmla="*/ 9154 h 10000"/>
                <a:gd name="connsiteX2672" fmla="*/ 1396 w 10785"/>
                <a:gd name="connsiteY2672" fmla="*/ 9154 h 10000"/>
                <a:gd name="connsiteX2673" fmla="*/ 1382 w 10785"/>
                <a:gd name="connsiteY2673" fmla="*/ 9145 h 10000"/>
                <a:gd name="connsiteX2674" fmla="*/ 1382 w 10785"/>
                <a:gd name="connsiteY2674" fmla="*/ 9128 h 10000"/>
                <a:gd name="connsiteX2675" fmla="*/ 1369 w 10785"/>
                <a:gd name="connsiteY2675" fmla="*/ 9128 h 10000"/>
                <a:gd name="connsiteX2676" fmla="*/ 1364 w 10785"/>
                <a:gd name="connsiteY2676" fmla="*/ 9128 h 10000"/>
                <a:gd name="connsiteX2677" fmla="*/ 1355 w 10785"/>
                <a:gd name="connsiteY2677" fmla="*/ 9120 h 10000"/>
                <a:gd name="connsiteX2678" fmla="*/ 1350 w 10785"/>
                <a:gd name="connsiteY2678" fmla="*/ 9103 h 10000"/>
                <a:gd name="connsiteX2679" fmla="*/ 1355 w 10785"/>
                <a:gd name="connsiteY2679" fmla="*/ 9094 h 10000"/>
                <a:gd name="connsiteX2680" fmla="*/ 1355 w 10785"/>
                <a:gd name="connsiteY2680" fmla="*/ 9068 h 10000"/>
                <a:gd name="connsiteX2681" fmla="*/ 1369 w 10785"/>
                <a:gd name="connsiteY2681" fmla="*/ 9068 h 10000"/>
                <a:gd name="connsiteX2682" fmla="*/ 1378 w 10785"/>
                <a:gd name="connsiteY2682" fmla="*/ 9077 h 10000"/>
                <a:gd name="connsiteX2683" fmla="*/ 1396 w 10785"/>
                <a:gd name="connsiteY2683" fmla="*/ 9068 h 10000"/>
                <a:gd name="connsiteX2684" fmla="*/ 1382 w 10785"/>
                <a:gd name="connsiteY2684" fmla="*/ 8940 h 10000"/>
                <a:gd name="connsiteX2685" fmla="*/ 1378 w 10785"/>
                <a:gd name="connsiteY2685" fmla="*/ 8940 h 10000"/>
                <a:gd name="connsiteX2686" fmla="*/ 1364 w 10785"/>
                <a:gd name="connsiteY2686" fmla="*/ 8889 h 10000"/>
                <a:gd name="connsiteX2687" fmla="*/ 1355 w 10785"/>
                <a:gd name="connsiteY2687" fmla="*/ 8880 h 10000"/>
                <a:gd name="connsiteX2688" fmla="*/ 1323 w 10785"/>
                <a:gd name="connsiteY2688" fmla="*/ 8880 h 10000"/>
                <a:gd name="connsiteX2689" fmla="*/ 1309 w 10785"/>
                <a:gd name="connsiteY2689" fmla="*/ 8880 h 10000"/>
                <a:gd name="connsiteX2690" fmla="*/ 1309 w 10785"/>
                <a:gd name="connsiteY2690" fmla="*/ 8889 h 10000"/>
                <a:gd name="connsiteX2691" fmla="*/ 1295 w 10785"/>
                <a:gd name="connsiteY2691" fmla="*/ 8872 h 10000"/>
                <a:gd name="connsiteX2692" fmla="*/ 1290 w 10785"/>
                <a:gd name="connsiteY2692" fmla="*/ 8855 h 10000"/>
                <a:gd name="connsiteX2693" fmla="*/ 1290 w 10785"/>
                <a:gd name="connsiteY2693" fmla="*/ 8829 h 10000"/>
                <a:gd name="connsiteX2694" fmla="*/ 1290 w 10785"/>
                <a:gd name="connsiteY2694" fmla="*/ 8821 h 10000"/>
                <a:gd name="connsiteX2695" fmla="*/ 1290 w 10785"/>
                <a:gd name="connsiteY2695" fmla="*/ 8803 h 10000"/>
                <a:gd name="connsiteX2696" fmla="*/ 1281 w 10785"/>
                <a:gd name="connsiteY2696" fmla="*/ 8795 h 10000"/>
                <a:gd name="connsiteX2697" fmla="*/ 1249 w 10785"/>
                <a:gd name="connsiteY2697" fmla="*/ 8769 h 10000"/>
                <a:gd name="connsiteX2698" fmla="*/ 1263 w 10785"/>
                <a:gd name="connsiteY2698" fmla="*/ 8667 h 10000"/>
                <a:gd name="connsiteX2699" fmla="*/ 1281 w 10785"/>
                <a:gd name="connsiteY2699" fmla="*/ 8658 h 10000"/>
                <a:gd name="connsiteX2700" fmla="*/ 1290 w 10785"/>
                <a:gd name="connsiteY2700" fmla="*/ 8632 h 10000"/>
                <a:gd name="connsiteX2701" fmla="*/ 1281 w 10785"/>
                <a:gd name="connsiteY2701" fmla="*/ 8615 h 10000"/>
                <a:gd name="connsiteX2702" fmla="*/ 1272 w 10785"/>
                <a:gd name="connsiteY2702" fmla="*/ 8598 h 10000"/>
                <a:gd name="connsiteX2703" fmla="*/ 1281 w 10785"/>
                <a:gd name="connsiteY2703" fmla="*/ 8496 h 10000"/>
                <a:gd name="connsiteX2704" fmla="*/ 1295 w 10785"/>
                <a:gd name="connsiteY2704" fmla="*/ 8470 h 10000"/>
                <a:gd name="connsiteX2705" fmla="*/ 1304 w 10785"/>
                <a:gd name="connsiteY2705" fmla="*/ 8462 h 10000"/>
                <a:gd name="connsiteX2706" fmla="*/ 1304 w 10785"/>
                <a:gd name="connsiteY2706" fmla="*/ 8444 h 10000"/>
                <a:gd name="connsiteX2707" fmla="*/ 1304 w 10785"/>
                <a:gd name="connsiteY2707" fmla="*/ 8419 h 10000"/>
                <a:gd name="connsiteX2708" fmla="*/ 1304 w 10785"/>
                <a:gd name="connsiteY2708" fmla="*/ 8410 h 10000"/>
                <a:gd name="connsiteX2709" fmla="*/ 1309 w 10785"/>
                <a:gd name="connsiteY2709" fmla="*/ 8393 h 10000"/>
                <a:gd name="connsiteX2710" fmla="*/ 1318 w 10785"/>
                <a:gd name="connsiteY2710" fmla="*/ 8385 h 10000"/>
                <a:gd name="connsiteX2711" fmla="*/ 1323 w 10785"/>
                <a:gd name="connsiteY2711" fmla="*/ 8385 h 10000"/>
                <a:gd name="connsiteX2712" fmla="*/ 1332 w 10785"/>
                <a:gd name="connsiteY2712" fmla="*/ 8410 h 10000"/>
                <a:gd name="connsiteX2713" fmla="*/ 1346 w 10785"/>
                <a:gd name="connsiteY2713" fmla="*/ 8419 h 10000"/>
                <a:gd name="connsiteX2714" fmla="*/ 1364 w 10785"/>
                <a:gd name="connsiteY2714" fmla="*/ 8504 h 10000"/>
                <a:gd name="connsiteX2715" fmla="*/ 1369 w 10785"/>
                <a:gd name="connsiteY2715" fmla="*/ 8521 h 10000"/>
                <a:gd name="connsiteX2716" fmla="*/ 1406 w 10785"/>
                <a:gd name="connsiteY2716" fmla="*/ 8470 h 10000"/>
                <a:gd name="connsiteX2717" fmla="*/ 1382 w 10785"/>
                <a:gd name="connsiteY2717" fmla="*/ 8359 h 10000"/>
                <a:gd name="connsiteX2718" fmla="*/ 1392 w 10785"/>
                <a:gd name="connsiteY2718" fmla="*/ 8359 h 10000"/>
                <a:gd name="connsiteX2719" fmla="*/ 1438 w 10785"/>
                <a:gd name="connsiteY2719" fmla="*/ 8308 h 10000"/>
                <a:gd name="connsiteX2720" fmla="*/ 1442 w 10785"/>
                <a:gd name="connsiteY2720" fmla="*/ 8299 h 10000"/>
                <a:gd name="connsiteX2721" fmla="*/ 1442 w 10785"/>
                <a:gd name="connsiteY2721" fmla="*/ 8256 h 10000"/>
                <a:gd name="connsiteX2722" fmla="*/ 1452 w 10785"/>
                <a:gd name="connsiteY2722" fmla="*/ 8256 h 10000"/>
                <a:gd name="connsiteX2723" fmla="*/ 1456 w 10785"/>
                <a:gd name="connsiteY2723" fmla="*/ 8256 h 10000"/>
                <a:gd name="connsiteX2724" fmla="*/ 1470 w 10785"/>
                <a:gd name="connsiteY2724" fmla="*/ 8248 h 10000"/>
                <a:gd name="connsiteX2725" fmla="*/ 1479 w 10785"/>
                <a:gd name="connsiteY2725" fmla="*/ 8231 h 10000"/>
                <a:gd name="connsiteX2726" fmla="*/ 1493 w 10785"/>
                <a:gd name="connsiteY2726" fmla="*/ 8222 h 10000"/>
                <a:gd name="connsiteX2727" fmla="*/ 1498 w 10785"/>
                <a:gd name="connsiteY2727" fmla="*/ 8214 h 10000"/>
                <a:gd name="connsiteX2728" fmla="*/ 1502 w 10785"/>
                <a:gd name="connsiteY2728" fmla="*/ 8197 h 10000"/>
                <a:gd name="connsiteX2729" fmla="*/ 1512 w 10785"/>
                <a:gd name="connsiteY2729" fmla="*/ 8188 h 10000"/>
                <a:gd name="connsiteX2730" fmla="*/ 1516 w 10785"/>
                <a:gd name="connsiteY2730" fmla="*/ 8171 h 10000"/>
                <a:gd name="connsiteX2731" fmla="*/ 1525 w 10785"/>
                <a:gd name="connsiteY2731" fmla="*/ 8162 h 10000"/>
                <a:gd name="connsiteX2732" fmla="*/ 1539 w 10785"/>
                <a:gd name="connsiteY2732" fmla="*/ 8145 h 10000"/>
                <a:gd name="connsiteX2733" fmla="*/ 1558 w 10785"/>
                <a:gd name="connsiteY2733" fmla="*/ 8145 h 10000"/>
                <a:gd name="connsiteX2734" fmla="*/ 1562 w 10785"/>
                <a:gd name="connsiteY2734" fmla="*/ 8188 h 10000"/>
                <a:gd name="connsiteX2735" fmla="*/ 1585 w 10785"/>
                <a:gd name="connsiteY2735" fmla="*/ 8171 h 10000"/>
                <a:gd name="connsiteX2736" fmla="*/ 1590 w 10785"/>
                <a:gd name="connsiteY2736" fmla="*/ 8188 h 10000"/>
                <a:gd name="connsiteX2737" fmla="*/ 1599 w 10785"/>
                <a:gd name="connsiteY2737" fmla="*/ 8171 h 10000"/>
                <a:gd name="connsiteX2738" fmla="*/ 1599 w 10785"/>
                <a:gd name="connsiteY2738" fmla="*/ 8162 h 10000"/>
                <a:gd name="connsiteX2739" fmla="*/ 1604 w 10785"/>
                <a:gd name="connsiteY2739" fmla="*/ 8137 h 10000"/>
                <a:gd name="connsiteX2740" fmla="*/ 1618 w 10785"/>
                <a:gd name="connsiteY2740" fmla="*/ 8145 h 10000"/>
                <a:gd name="connsiteX2741" fmla="*/ 1627 w 10785"/>
                <a:gd name="connsiteY2741" fmla="*/ 8137 h 10000"/>
                <a:gd name="connsiteX2742" fmla="*/ 1631 w 10785"/>
                <a:gd name="connsiteY2742" fmla="*/ 8137 h 10000"/>
                <a:gd name="connsiteX2743" fmla="*/ 1636 w 10785"/>
                <a:gd name="connsiteY2743" fmla="*/ 8171 h 10000"/>
                <a:gd name="connsiteX2744" fmla="*/ 1645 w 10785"/>
                <a:gd name="connsiteY2744" fmla="*/ 8188 h 10000"/>
                <a:gd name="connsiteX2745" fmla="*/ 1664 w 10785"/>
                <a:gd name="connsiteY2745" fmla="*/ 8171 h 10000"/>
                <a:gd name="connsiteX2746" fmla="*/ 1673 w 10785"/>
                <a:gd name="connsiteY2746" fmla="*/ 8188 h 10000"/>
                <a:gd name="connsiteX2747" fmla="*/ 1691 w 10785"/>
                <a:gd name="connsiteY2747" fmla="*/ 8171 h 10000"/>
                <a:gd name="connsiteX2748" fmla="*/ 1705 w 10785"/>
                <a:gd name="connsiteY2748" fmla="*/ 8171 h 10000"/>
                <a:gd name="connsiteX2749" fmla="*/ 1719 w 10785"/>
                <a:gd name="connsiteY2749" fmla="*/ 8197 h 10000"/>
                <a:gd name="connsiteX2750" fmla="*/ 1724 w 10785"/>
                <a:gd name="connsiteY2750" fmla="*/ 8231 h 10000"/>
                <a:gd name="connsiteX2751" fmla="*/ 1751 w 10785"/>
                <a:gd name="connsiteY2751" fmla="*/ 8256 h 10000"/>
                <a:gd name="connsiteX2752" fmla="*/ 1751 w 10785"/>
                <a:gd name="connsiteY2752" fmla="*/ 8274 h 10000"/>
                <a:gd name="connsiteX2753" fmla="*/ 1760 w 10785"/>
                <a:gd name="connsiteY2753" fmla="*/ 8282 h 10000"/>
                <a:gd name="connsiteX2754" fmla="*/ 1770 w 10785"/>
                <a:gd name="connsiteY2754" fmla="*/ 8325 h 10000"/>
                <a:gd name="connsiteX2755" fmla="*/ 1770 w 10785"/>
                <a:gd name="connsiteY2755" fmla="*/ 8350 h 10000"/>
                <a:gd name="connsiteX2756" fmla="*/ 1779 w 10785"/>
                <a:gd name="connsiteY2756" fmla="*/ 8368 h 10000"/>
                <a:gd name="connsiteX2757" fmla="*/ 1783 w 10785"/>
                <a:gd name="connsiteY2757" fmla="*/ 8359 h 10000"/>
                <a:gd name="connsiteX2758" fmla="*/ 1783 w 10785"/>
                <a:gd name="connsiteY2758" fmla="*/ 8308 h 10000"/>
                <a:gd name="connsiteX2759" fmla="*/ 1779 w 10785"/>
                <a:gd name="connsiteY2759" fmla="*/ 8299 h 10000"/>
                <a:gd name="connsiteX2760" fmla="*/ 1783 w 10785"/>
                <a:gd name="connsiteY2760" fmla="*/ 8282 h 10000"/>
                <a:gd name="connsiteX2761" fmla="*/ 1797 w 10785"/>
                <a:gd name="connsiteY2761" fmla="*/ 8274 h 10000"/>
                <a:gd name="connsiteX2762" fmla="*/ 1797 w 10785"/>
                <a:gd name="connsiteY2762" fmla="*/ 8299 h 10000"/>
                <a:gd name="connsiteX2763" fmla="*/ 1806 w 10785"/>
                <a:gd name="connsiteY2763" fmla="*/ 8308 h 10000"/>
                <a:gd name="connsiteX2764" fmla="*/ 1811 w 10785"/>
                <a:gd name="connsiteY2764" fmla="*/ 8325 h 10000"/>
                <a:gd name="connsiteX2765" fmla="*/ 1820 w 10785"/>
                <a:gd name="connsiteY2765" fmla="*/ 8333 h 10000"/>
                <a:gd name="connsiteX2766" fmla="*/ 1853 w 10785"/>
                <a:gd name="connsiteY2766" fmla="*/ 8359 h 10000"/>
                <a:gd name="connsiteX2767" fmla="*/ 1866 w 10785"/>
                <a:gd name="connsiteY2767" fmla="*/ 8359 h 10000"/>
                <a:gd name="connsiteX2768" fmla="*/ 1885 w 10785"/>
                <a:gd name="connsiteY2768" fmla="*/ 8325 h 10000"/>
                <a:gd name="connsiteX2769" fmla="*/ 1885 w 10785"/>
                <a:gd name="connsiteY2769" fmla="*/ 8308 h 10000"/>
                <a:gd name="connsiteX2770" fmla="*/ 1894 w 10785"/>
                <a:gd name="connsiteY2770" fmla="*/ 8299 h 10000"/>
                <a:gd name="connsiteX2771" fmla="*/ 1899 w 10785"/>
                <a:gd name="connsiteY2771" fmla="*/ 8282 h 10000"/>
                <a:gd name="connsiteX2772" fmla="*/ 1912 w 10785"/>
                <a:gd name="connsiteY2772" fmla="*/ 8282 h 10000"/>
                <a:gd name="connsiteX2773" fmla="*/ 1917 w 10785"/>
                <a:gd name="connsiteY2773" fmla="*/ 8299 h 10000"/>
                <a:gd name="connsiteX2774" fmla="*/ 1917 w 10785"/>
                <a:gd name="connsiteY2774" fmla="*/ 8274 h 10000"/>
                <a:gd name="connsiteX2775" fmla="*/ 1940 w 10785"/>
                <a:gd name="connsiteY2775" fmla="*/ 8282 h 10000"/>
                <a:gd name="connsiteX2776" fmla="*/ 1945 w 10785"/>
                <a:gd name="connsiteY2776" fmla="*/ 8274 h 10000"/>
                <a:gd name="connsiteX2777" fmla="*/ 1972 w 10785"/>
                <a:gd name="connsiteY2777" fmla="*/ 8308 h 10000"/>
                <a:gd name="connsiteX2778" fmla="*/ 1986 w 10785"/>
                <a:gd name="connsiteY2778" fmla="*/ 8282 h 10000"/>
                <a:gd name="connsiteX2779" fmla="*/ 1991 w 10785"/>
                <a:gd name="connsiteY2779" fmla="*/ 8274 h 10000"/>
                <a:gd name="connsiteX2780" fmla="*/ 2014 w 10785"/>
                <a:gd name="connsiteY2780" fmla="*/ 8274 h 10000"/>
                <a:gd name="connsiteX2781" fmla="*/ 2018 w 10785"/>
                <a:gd name="connsiteY2781" fmla="*/ 8256 h 10000"/>
                <a:gd name="connsiteX2782" fmla="*/ 2041 w 10785"/>
                <a:gd name="connsiteY2782" fmla="*/ 8274 h 10000"/>
                <a:gd name="connsiteX2783" fmla="*/ 2046 w 10785"/>
                <a:gd name="connsiteY2783" fmla="*/ 8282 h 10000"/>
                <a:gd name="connsiteX2784" fmla="*/ 2046 w 10785"/>
                <a:gd name="connsiteY2784" fmla="*/ 8325 h 10000"/>
                <a:gd name="connsiteX2785" fmla="*/ 2060 w 10785"/>
                <a:gd name="connsiteY2785" fmla="*/ 8350 h 10000"/>
                <a:gd name="connsiteX2786" fmla="*/ 2078 w 10785"/>
                <a:gd name="connsiteY2786" fmla="*/ 8350 h 10000"/>
                <a:gd name="connsiteX2787" fmla="*/ 2092 w 10785"/>
                <a:gd name="connsiteY2787" fmla="*/ 8350 h 10000"/>
                <a:gd name="connsiteX2788" fmla="*/ 2092 w 10785"/>
                <a:gd name="connsiteY2788" fmla="*/ 8350 h 10000"/>
                <a:gd name="connsiteX2789" fmla="*/ 2101 w 10785"/>
                <a:gd name="connsiteY2789" fmla="*/ 8368 h 10000"/>
                <a:gd name="connsiteX2790" fmla="*/ 2120 w 10785"/>
                <a:gd name="connsiteY2790" fmla="*/ 8368 h 10000"/>
                <a:gd name="connsiteX2791" fmla="*/ 2124 w 10785"/>
                <a:gd name="connsiteY2791" fmla="*/ 8359 h 10000"/>
                <a:gd name="connsiteX2792" fmla="*/ 2138 w 10785"/>
                <a:gd name="connsiteY2792" fmla="*/ 8325 h 10000"/>
                <a:gd name="connsiteX2793" fmla="*/ 2147 w 10785"/>
                <a:gd name="connsiteY2793" fmla="*/ 8325 h 10000"/>
                <a:gd name="connsiteX2794" fmla="*/ 2161 w 10785"/>
                <a:gd name="connsiteY2794" fmla="*/ 8350 h 10000"/>
                <a:gd name="connsiteX2795" fmla="*/ 2198 w 10785"/>
                <a:gd name="connsiteY2795" fmla="*/ 8350 h 10000"/>
                <a:gd name="connsiteX2796" fmla="*/ 2207 w 10785"/>
                <a:gd name="connsiteY2796" fmla="*/ 8333 h 10000"/>
                <a:gd name="connsiteX2797" fmla="*/ 2226 w 10785"/>
                <a:gd name="connsiteY2797" fmla="*/ 8325 h 10000"/>
                <a:gd name="connsiteX2798" fmla="*/ 2249 w 10785"/>
                <a:gd name="connsiteY2798" fmla="*/ 8222 h 10000"/>
                <a:gd name="connsiteX2799" fmla="*/ 2235 w 10785"/>
                <a:gd name="connsiteY2799" fmla="*/ 8197 h 10000"/>
                <a:gd name="connsiteX2800" fmla="*/ 2198 w 10785"/>
                <a:gd name="connsiteY2800" fmla="*/ 8197 h 10000"/>
                <a:gd name="connsiteX2801" fmla="*/ 2189 w 10785"/>
                <a:gd name="connsiteY2801" fmla="*/ 8171 h 10000"/>
                <a:gd name="connsiteX2802" fmla="*/ 2161 w 10785"/>
                <a:gd name="connsiteY2802" fmla="*/ 8145 h 10000"/>
                <a:gd name="connsiteX2803" fmla="*/ 2161 w 10785"/>
                <a:gd name="connsiteY2803" fmla="*/ 8137 h 10000"/>
                <a:gd name="connsiteX2804" fmla="*/ 2152 w 10785"/>
                <a:gd name="connsiteY2804" fmla="*/ 8120 h 10000"/>
                <a:gd name="connsiteX2805" fmla="*/ 2138 w 10785"/>
                <a:gd name="connsiteY2805" fmla="*/ 8111 h 10000"/>
                <a:gd name="connsiteX2806" fmla="*/ 2138 w 10785"/>
                <a:gd name="connsiteY2806" fmla="*/ 8094 h 10000"/>
                <a:gd name="connsiteX2807" fmla="*/ 2147 w 10785"/>
                <a:gd name="connsiteY2807" fmla="*/ 8085 h 10000"/>
                <a:gd name="connsiteX2808" fmla="*/ 2161 w 10785"/>
                <a:gd name="connsiteY2808" fmla="*/ 8060 h 10000"/>
                <a:gd name="connsiteX2809" fmla="*/ 2198 w 10785"/>
                <a:gd name="connsiteY2809" fmla="*/ 8034 h 10000"/>
                <a:gd name="connsiteX2810" fmla="*/ 2198 w 10785"/>
                <a:gd name="connsiteY2810" fmla="*/ 8026 h 10000"/>
                <a:gd name="connsiteX2811" fmla="*/ 2198 w 10785"/>
                <a:gd name="connsiteY2811" fmla="*/ 8000 h 10000"/>
                <a:gd name="connsiteX2812" fmla="*/ 2180 w 10785"/>
                <a:gd name="connsiteY2812" fmla="*/ 7940 h 10000"/>
                <a:gd name="connsiteX2813" fmla="*/ 2189 w 10785"/>
                <a:gd name="connsiteY2813" fmla="*/ 7940 h 10000"/>
                <a:gd name="connsiteX2814" fmla="*/ 2198 w 10785"/>
                <a:gd name="connsiteY2814" fmla="*/ 7923 h 10000"/>
                <a:gd name="connsiteX2815" fmla="*/ 2198 w 10785"/>
                <a:gd name="connsiteY2815" fmla="*/ 7897 h 10000"/>
                <a:gd name="connsiteX2816" fmla="*/ 2207 w 10785"/>
                <a:gd name="connsiteY2816" fmla="*/ 7889 h 10000"/>
                <a:gd name="connsiteX2817" fmla="*/ 2221 w 10785"/>
                <a:gd name="connsiteY2817" fmla="*/ 7889 h 10000"/>
                <a:gd name="connsiteX2818" fmla="*/ 2226 w 10785"/>
                <a:gd name="connsiteY2818" fmla="*/ 7897 h 10000"/>
                <a:gd name="connsiteX2819" fmla="*/ 2235 w 10785"/>
                <a:gd name="connsiteY2819" fmla="*/ 7889 h 10000"/>
                <a:gd name="connsiteX2820" fmla="*/ 2249 w 10785"/>
                <a:gd name="connsiteY2820" fmla="*/ 7897 h 10000"/>
                <a:gd name="connsiteX2821" fmla="*/ 2267 w 10785"/>
                <a:gd name="connsiteY2821" fmla="*/ 7897 h 10000"/>
                <a:gd name="connsiteX2822" fmla="*/ 2272 w 10785"/>
                <a:gd name="connsiteY2822" fmla="*/ 7889 h 10000"/>
                <a:gd name="connsiteX2823" fmla="*/ 2281 w 10785"/>
                <a:gd name="connsiteY2823" fmla="*/ 7872 h 10000"/>
                <a:gd name="connsiteX2824" fmla="*/ 2272 w 10785"/>
                <a:gd name="connsiteY2824" fmla="*/ 7846 h 10000"/>
                <a:gd name="connsiteX2825" fmla="*/ 2253 w 10785"/>
                <a:gd name="connsiteY2825" fmla="*/ 7838 h 10000"/>
                <a:gd name="connsiteX2826" fmla="*/ 2221 w 10785"/>
                <a:gd name="connsiteY2826" fmla="*/ 7821 h 10000"/>
                <a:gd name="connsiteX2827" fmla="*/ 2212 w 10785"/>
                <a:gd name="connsiteY2827" fmla="*/ 7812 h 10000"/>
                <a:gd name="connsiteX2828" fmla="*/ 2212 w 10785"/>
                <a:gd name="connsiteY2828" fmla="*/ 7803 h 10000"/>
                <a:gd name="connsiteX2829" fmla="*/ 2221 w 10785"/>
                <a:gd name="connsiteY2829" fmla="*/ 7803 h 10000"/>
                <a:gd name="connsiteX2830" fmla="*/ 2235 w 10785"/>
                <a:gd name="connsiteY2830" fmla="*/ 7786 h 10000"/>
                <a:gd name="connsiteX2831" fmla="*/ 2240 w 10785"/>
                <a:gd name="connsiteY2831" fmla="*/ 7778 h 10000"/>
                <a:gd name="connsiteX2832" fmla="*/ 2226 w 10785"/>
                <a:gd name="connsiteY2832" fmla="*/ 7761 h 10000"/>
                <a:gd name="connsiteX2833" fmla="*/ 2221 w 10785"/>
                <a:gd name="connsiteY2833" fmla="*/ 7778 h 10000"/>
                <a:gd name="connsiteX2834" fmla="*/ 2198 w 10785"/>
                <a:gd name="connsiteY2834" fmla="*/ 7778 h 10000"/>
                <a:gd name="connsiteX2835" fmla="*/ 2198 w 10785"/>
                <a:gd name="connsiteY2835" fmla="*/ 7752 h 10000"/>
                <a:gd name="connsiteX2836" fmla="*/ 2207 w 10785"/>
                <a:gd name="connsiteY2836" fmla="*/ 7735 h 10000"/>
                <a:gd name="connsiteX2837" fmla="*/ 2212 w 10785"/>
                <a:gd name="connsiteY2837" fmla="*/ 7726 h 10000"/>
                <a:gd name="connsiteX2838" fmla="*/ 2198 w 10785"/>
                <a:gd name="connsiteY2838" fmla="*/ 7692 h 10000"/>
                <a:gd name="connsiteX2839" fmla="*/ 2221 w 10785"/>
                <a:gd name="connsiteY2839" fmla="*/ 7692 h 10000"/>
                <a:gd name="connsiteX2840" fmla="*/ 2221 w 10785"/>
                <a:gd name="connsiteY2840" fmla="*/ 7675 h 10000"/>
                <a:gd name="connsiteX2841" fmla="*/ 2235 w 10785"/>
                <a:gd name="connsiteY2841" fmla="*/ 7675 h 10000"/>
                <a:gd name="connsiteX2842" fmla="*/ 2240 w 10785"/>
                <a:gd name="connsiteY2842" fmla="*/ 7692 h 10000"/>
                <a:gd name="connsiteX2843" fmla="*/ 2249 w 10785"/>
                <a:gd name="connsiteY2843" fmla="*/ 7692 h 10000"/>
                <a:gd name="connsiteX2844" fmla="*/ 2258 w 10785"/>
                <a:gd name="connsiteY2844" fmla="*/ 7692 h 10000"/>
                <a:gd name="connsiteX2845" fmla="*/ 2267 w 10785"/>
                <a:gd name="connsiteY2845" fmla="*/ 7692 h 10000"/>
                <a:gd name="connsiteX2846" fmla="*/ 2295 w 10785"/>
                <a:gd name="connsiteY2846" fmla="*/ 7692 h 10000"/>
                <a:gd name="connsiteX2847" fmla="*/ 2300 w 10785"/>
                <a:gd name="connsiteY2847" fmla="*/ 7701 h 10000"/>
                <a:gd name="connsiteX2848" fmla="*/ 2313 w 10785"/>
                <a:gd name="connsiteY2848" fmla="*/ 7675 h 10000"/>
                <a:gd name="connsiteX2849" fmla="*/ 2323 w 10785"/>
                <a:gd name="connsiteY2849" fmla="*/ 7675 h 10000"/>
                <a:gd name="connsiteX2850" fmla="*/ 2341 w 10785"/>
                <a:gd name="connsiteY2850" fmla="*/ 7675 h 10000"/>
                <a:gd name="connsiteX2851" fmla="*/ 2346 w 10785"/>
                <a:gd name="connsiteY2851" fmla="*/ 7667 h 10000"/>
                <a:gd name="connsiteX2852" fmla="*/ 2359 w 10785"/>
                <a:gd name="connsiteY2852" fmla="*/ 7650 h 10000"/>
                <a:gd name="connsiteX2853" fmla="*/ 2373 w 10785"/>
                <a:gd name="connsiteY2853" fmla="*/ 7624 h 10000"/>
                <a:gd name="connsiteX2854" fmla="*/ 2382 w 10785"/>
                <a:gd name="connsiteY2854" fmla="*/ 7641 h 10000"/>
                <a:gd name="connsiteX2855" fmla="*/ 2396 w 10785"/>
                <a:gd name="connsiteY2855" fmla="*/ 7650 h 10000"/>
                <a:gd name="connsiteX2856" fmla="*/ 2401 w 10785"/>
                <a:gd name="connsiteY2856" fmla="*/ 7650 h 10000"/>
                <a:gd name="connsiteX2857" fmla="*/ 2401 w 10785"/>
                <a:gd name="connsiteY2857" fmla="*/ 7624 h 10000"/>
                <a:gd name="connsiteX2858" fmla="*/ 2419 w 10785"/>
                <a:gd name="connsiteY2858" fmla="*/ 7624 h 10000"/>
                <a:gd name="connsiteX2859" fmla="*/ 2433 w 10785"/>
                <a:gd name="connsiteY2859" fmla="*/ 7615 h 10000"/>
                <a:gd name="connsiteX2860" fmla="*/ 2442 w 10785"/>
                <a:gd name="connsiteY2860" fmla="*/ 7615 h 10000"/>
                <a:gd name="connsiteX2861" fmla="*/ 2447 w 10785"/>
                <a:gd name="connsiteY2861" fmla="*/ 7598 h 10000"/>
                <a:gd name="connsiteX2862" fmla="*/ 2461 w 10785"/>
                <a:gd name="connsiteY2862" fmla="*/ 7598 h 10000"/>
                <a:gd name="connsiteX2863" fmla="*/ 2465 w 10785"/>
                <a:gd name="connsiteY2863" fmla="*/ 7615 h 10000"/>
                <a:gd name="connsiteX2864" fmla="*/ 2479 w 10785"/>
                <a:gd name="connsiteY2864" fmla="*/ 7564 h 10000"/>
                <a:gd name="connsiteX2865" fmla="*/ 2488 w 10785"/>
                <a:gd name="connsiteY2865" fmla="*/ 7556 h 10000"/>
                <a:gd name="connsiteX2866" fmla="*/ 2493 w 10785"/>
                <a:gd name="connsiteY2866" fmla="*/ 7556 h 10000"/>
                <a:gd name="connsiteX2867" fmla="*/ 2507 w 10785"/>
                <a:gd name="connsiteY2867" fmla="*/ 7556 h 10000"/>
                <a:gd name="connsiteX2868" fmla="*/ 2530 w 10785"/>
                <a:gd name="connsiteY2868" fmla="*/ 7538 h 10000"/>
                <a:gd name="connsiteX2869" fmla="*/ 2530 w 10785"/>
                <a:gd name="connsiteY2869" fmla="*/ 7556 h 10000"/>
                <a:gd name="connsiteX2870" fmla="*/ 2641 w 10785"/>
                <a:gd name="connsiteY2870" fmla="*/ 7504 h 10000"/>
                <a:gd name="connsiteX2871" fmla="*/ 2654 w 10785"/>
                <a:gd name="connsiteY2871" fmla="*/ 7487 h 10000"/>
                <a:gd name="connsiteX2872" fmla="*/ 2664 w 10785"/>
                <a:gd name="connsiteY2872" fmla="*/ 7487 h 10000"/>
                <a:gd name="connsiteX2873" fmla="*/ 2668 w 10785"/>
                <a:gd name="connsiteY2873" fmla="*/ 7479 h 10000"/>
                <a:gd name="connsiteX2874" fmla="*/ 2673 w 10785"/>
                <a:gd name="connsiteY2874" fmla="*/ 7462 h 10000"/>
                <a:gd name="connsiteX2875" fmla="*/ 2673 w 10785"/>
                <a:gd name="connsiteY2875" fmla="*/ 7427 h 10000"/>
                <a:gd name="connsiteX2876" fmla="*/ 2687 w 10785"/>
                <a:gd name="connsiteY2876" fmla="*/ 7436 h 10000"/>
                <a:gd name="connsiteX2877" fmla="*/ 2696 w 10785"/>
                <a:gd name="connsiteY2877" fmla="*/ 7427 h 10000"/>
                <a:gd name="connsiteX2878" fmla="*/ 2700 w 10785"/>
                <a:gd name="connsiteY2878" fmla="*/ 7419 h 10000"/>
                <a:gd name="connsiteX2879" fmla="*/ 2710 w 10785"/>
                <a:gd name="connsiteY2879" fmla="*/ 7402 h 10000"/>
                <a:gd name="connsiteX2880" fmla="*/ 2724 w 10785"/>
                <a:gd name="connsiteY2880" fmla="*/ 7402 h 10000"/>
                <a:gd name="connsiteX2881" fmla="*/ 2724 w 10785"/>
                <a:gd name="connsiteY2881" fmla="*/ 7393 h 10000"/>
                <a:gd name="connsiteX2882" fmla="*/ 2737 w 10785"/>
                <a:gd name="connsiteY2882" fmla="*/ 7393 h 10000"/>
                <a:gd name="connsiteX2883" fmla="*/ 2742 w 10785"/>
                <a:gd name="connsiteY2883" fmla="*/ 7402 h 10000"/>
                <a:gd name="connsiteX2884" fmla="*/ 2747 w 10785"/>
                <a:gd name="connsiteY2884" fmla="*/ 7402 h 10000"/>
                <a:gd name="connsiteX2885" fmla="*/ 2760 w 10785"/>
                <a:gd name="connsiteY2885" fmla="*/ 7402 h 10000"/>
                <a:gd name="connsiteX2886" fmla="*/ 2770 w 10785"/>
                <a:gd name="connsiteY2886" fmla="*/ 7402 h 10000"/>
                <a:gd name="connsiteX2887" fmla="*/ 2774 w 10785"/>
                <a:gd name="connsiteY2887" fmla="*/ 7402 h 10000"/>
                <a:gd name="connsiteX2888" fmla="*/ 2783 w 10785"/>
                <a:gd name="connsiteY2888" fmla="*/ 7419 h 10000"/>
                <a:gd name="connsiteX2889" fmla="*/ 2802 w 10785"/>
                <a:gd name="connsiteY2889" fmla="*/ 7436 h 10000"/>
                <a:gd name="connsiteX2890" fmla="*/ 2816 w 10785"/>
                <a:gd name="connsiteY2890" fmla="*/ 7419 h 10000"/>
                <a:gd name="connsiteX2891" fmla="*/ 2834 w 10785"/>
                <a:gd name="connsiteY2891" fmla="*/ 7419 h 10000"/>
                <a:gd name="connsiteX2892" fmla="*/ 2843 w 10785"/>
                <a:gd name="connsiteY2892" fmla="*/ 7419 h 10000"/>
                <a:gd name="connsiteX2893" fmla="*/ 2848 w 10785"/>
                <a:gd name="connsiteY2893" fmla="*/ 7436 h 10000"/>
                <a:gd name="connsiteX2894" fmla="*/ 2857 w 10785"/>
                <a:gd name="connsiteY2894" fmla="*/ 7453 h 10000"/>
                <a:gd name="connsiteX2895" fmla="*/ 2857 w 10785"/>
                <a:gd name="connsiteY2895" fmla="*/ 7504 h 10000"/>
                <a:gd name="connsiteX2896" fmla="*/ 2862 w 10785"/>
                <a:gd name="connsiteY2896" fmla="*/ 7530 h 10000"/>
                <a:gd name="connsiteX2897" fmla="*/ 2876 w 10785"/>
                <a:gd name="connsiteY2897" fmla="*/ 7538 h 10000"/>
                <a:gd name="connsiteX2898" fmla="*/ 2871 w 10785"/>
                <a:gd name="connsiteY2898" fmla="*/ 7564 h 10000"/>
                <a:gd name="connsiteX2899" fmla="*/ 2871 w 10785"/>
                <a:gd name="connsiteY2899" fmla="*/ 7598 h 10000"/>
                <a:gd name="connsiteX2900" fmla="*/ 2857 w 10785"/>
                <a:gd name="connsiteY2900" fmla="*/ 7624 h 10000"/>
                <a:gd name="connsiteX2901" fmla="*/ 2862 w 10785"/>
                <a:gd name="connsiteY2901" fmla="*/ 7641 h 10000"/>
                <a:gd name="connsiteX2902" fmla="*/ 2871 w 10785"/>
                <a:gd name="connsiteY2902" fmla="*/ 7667 h 10000"/>
                <a:gd name="connsiteX2903" fmla="*/ 2880 w 10785"/>
                <a:gd name="connsiteY2903" fmla="*/ 7650 h 10000"/>
                <a:gd name="connsiteX2904" fmla="*/ 2894 w 10785"/>
                <a:gd name="connsiteY2904" fmla="*/ 7667 h 10000"/>
                <a:gd name="connsiteX2905" fmla="*/ 2903 w 10785"/>
                <a:gd name="connsiteY2905" fmla="*/ 7667 h 10000"/>
                <a:gd name="connsiteX2906" fmla="*/ 2908 w 10785"/>
                <a:gd name="connsiteY2906" fmla="*/ 7641 h 10000"/>
                <a:gd name="connsiteX2907" fmla="*/ 2917 w 10785"/>
                <a:gd name="connsiteY2907" fmla="*/ 7641 h 10000"/>
                <a:gd name="connsiteX2908" fmla="*/ 2922 w 10785"/>
                <a:gd name="connsiteY2908" fmla="*/ 7641 h 10000"/>
                <a:gd name="connsiteX2909" fmla="*/ 2931 w 10785"/>
                <a:gd name="connsiteY2909" fmla="*/ 7615 h 10000"/>
                <a:gd name="connsiteX2910" fmla="*/ 2935 w 10785"/>
                <a:gd name="connsiteY2910" fmla="*/ 7615 h 10000"/>
                <a:gd name="connsiteX2911" fmla="*/ 2945 w 10785"/>
                <a:gd name="connsiteY2911" fmla="*/ 7650 h 10000"/>
                <a:gd name="connsiteX2912" fmla="*/ 2949 w 10785"/>
                <a:gd name="connsiteY2912" fmla="*/ 7667 h 10000"/>
                <a:gd name="connsiteX2913" fmla="*/ 2949 w 10785"/>
                <a:gd name="connsiteY2913" fmla="*/ 7675 h 10000"/>
                <a:gd name="connsiteX2914" fmla="*/ 2945 w 10785"/>
                <a:gd name="connsiteY2914" fmla="*/ 7692 h 10000"/>
                <a:gd name="connsiteX2915" fmla="*/ 2963 w 10785"/>
                <a:gd name="connsiteY2915" fmla="*/ 7701 h 10000"/>
                <a:gd name="connsiteX2916" fmla="*/ 2963 w 10785"/>
                <a:gd name="connsiteY2916" fmla="*/ 7675 h 10000"/>
                <a:gd name="connsiteX2917" fmla="*/ 2954 w 10785"/>
                <a:gd name="connsiteY2917" fmla="*/ 7667 h 10000"/>
                <a:gd name="connsiteX2918" fmla="*/ 2963 w 10785"/>
                <a:gd name="connsiteY2918" fmla="*/ 7667 h 10000"/>
                <a:gd name="connsiteX2919" fmla="*/ 2982 w 10785"/>
                <a:gd name="connsiteY2919" fmla="*/ 7667 h 10000"/>
                <a:gd name="connsiteX2920" fmla="*/ 2991 w 10785"/>
                <a:gd name="connsiteY2920" fmla="*/ 7675 h 10000"/>
                <a:gd name="connsiteX2921" fmla="*/ 2995 w 10785"/>
                <a:gd name="connsiteY2921" fmla="*/ 7692 h 10000"/>
                <a:gd name="connsiteX2922" fmla="*/ 3009 w 10785"/>
                <a:gd name="connsiteY2922" fmla="*/ 7701 h 10000"/>
                <a:gd name="connsiteX2923" fmla="*/ 3018 w 10785"/>
                <a:gd name="connsiteY2923" fmla="*/ 7701 h 10000"/>
                <a:gd name="connsiteX2924" fmla="*/ 3023 w 10785"/>
                <a:gd name="connsiteY2924" fmla="*/ 7692 h 10000"/>
                <a:gd name="connsiteX2925" fmla="*/ 3028 w 10785"/>
                <a:gd name="connsiteY2925" fmla="*/ 7675 h 10000"/>
                <a:gd name="connsiteX2926" fmla="*/ 3037 w 10785"/>
                <a:gd name="connsiteY2926" fmla="*/ 7692 h 10000"/>
                <a:gd name="connsiteX2927" fmla="*/ 3028 w 10785"/>
                <a:gd name="connsiteY2927" fmla="*/ 7709 h 10000"/>
                <a:gd name="connsiteX2928" fmla="*/ 3023 w 10785"/>
                <a:gd name="connsiteY2928" fmla="*/ 7709 h 10000"/>
                <a:gd name="connsiteX2929" fmla="*/ 3018 w 10785"/>
                <a:gd name="connsiteY2929" fmla="*/ 7726 h 10000"/>
                <a:gd name="connsiteX2930" fmla="*/ 3009 w 10785"/>
                <a:gd name="connsiteY2930" fmla="*/ 7735 h 10000"/>
                <a:gd name="connsiteX2931" fmla="*/ 3009 w 10785"/>
                <a:gd name="connsiteY2931" fmla="*/ 7761 h 10000"/>
                <a:gd name="connsiteX2932" fmla="*/ 3009 w 10785"/>
                <a:gd name="connsiteY2932" fmla="*/ 7778 h 10000"/>
                <a:gd name="connsiteX2933" fmla="*/ 3018 w 10785"/>
                <a:gd name="connsiteY2933" fmla="*/ 7786 h 10000"/>
                <a:gd name="connsiteX2934" fmla="*/ 3023 w 10785"/>
                <a:gd name="connsiteY2934" fmla="*/ 7786 h 10000"/>
                <a:gd name="connsiteX2935" fmla="*/ 3028 w 10785"/>
                <a:gd name="connsiteY2935" fmla="*/ 7778 h 10000"/>
                <a:gd name="connsiteX2936" fmla="*/ 3051 w 10785"/>
                <a:gd name="connsiteY2936" fmla="*/ 7761 h 10000"/>
                <a:gd name="connsiteX2937" fmla="*/ 3055 w 10785"/>
                <a:gd name="connsiteY2937" fmla="*/ 7778 h 10000"/>
                <a:gd name="connsiteX2938" fmla="*/ 3065 w 10785"/>
                <a:gd name="connsiteY2938" fmla="*/ 7761 h 10000"/>
                <a:gd name="connsiteX2939" fmla="*/ 3069 w 10785"/>
                <a:gd name="connsiteY2939" fmla="*/ 7786 h 10000"/>
                <a:gd name="connsiteX2940" fmla="*/ 3083 w 10785"/>
                <a:gd name="connsiteY2940" fmla="*/ 7786 h 10000"/>
                <a:gd name="connsiteX2941" fmla="*/ 3078 w 10785"/>
                <a:gd name="connsiteY2941" fmla="*/ 7761 h 10000"/>
                <a:gd name="connsiteX2942" fmla="*/ 3083 w 10785"/>
                <a:gd name="connsiteY2942" fmla="*/ 7752 h 10000"/>
                <a:gd name="connsiteX2943" fmla="*/ 3097 w 10785"/>
                <a:gd name="connsiteY2943" fmla="*/ 7752 h 10000"/>
                <a:gd name="connsiteX2944" fmla="*/ 3111 w 10785"/>
                <a:gd name="connsiteY2944" fmla="*/ 7726 h 10000"/>
                <a:gd name="connsiteX2945" fmla="*/ 3124 w 10785"/>
                <a:gd name="connsiteY2945" fmla="*/ 7709 h 10000"/>
                <a:gd name="connsiteX2946" fmla="*/ 3143 w 10785"/>
                <a:gd name="connsiteY2946" fmla="*/ 7692 h 10000"/>
                <a:gd name="connsiteX2947" fmla="*/ 3152 w 10785"/>
                <a:gd name="connsiteY2947" fmla="*/ 7667 h 10000"/>
                <a:gd name="connsiteX2948" fmla="*/ 3157 w 10785"/>
                <a:gd name="connsiteY2948" fmla="*/ 7650 h 10000"/>
                <a:gd name="connsiteX2949" fmla="*/ 3161 w 10785"/>
                <a:gd name="connsiteY2949" fmla="*/ 7650 h 10000"/>
                <a:gd name="connsiteX2950" fmla="*/ 3189 w 10785"/>
                <a:gd name="connsiteY2950" fmla="*/ 7641 h 10000"/>
                <a:gd name="connsiteX2951" fmla="*/ 3198 w 10785"/>
                <a:gd name="connsiteY2951" fmla="*/ 7624 h 10000"/>
                <a:gd name="connsiteX2952" fmla="*/ 3217 w 10785"/>
                <a:gd name="connsiteY2952" fmla="*/ 7615 h 10000"/>
                <a:gd name="connsiteX2953" fmla="*/ 3235 w 10785"/>
                <a:gd name="connsiteY2953" fmla="*/ 7598 h 10000"/>
                <a:gd name="connsiteX2954" fmla="*/ 3235 w 10785"/>
                <a:gd name="connsiteY2954" fmla="*/ 7615 h 10000"/>
                <a:gd name="connsiteX2955" fmla="*/ 3235 w 10785"/>
                <a:gd name="connsiteY2955" fmla="*/ 7641 h 10000"/>
                <a:gd name="connsiteX2956" fmla="*/ 3235 w 10785"/>
                <a:gd name="connsiteY2956" fmla="*/ 7650 h 10000"/>
                <a:gd name="connsiteX2957" fmla="*/ 3226 w 10785"/>
                <a:gd name="connsiteY2957" fmla="*/ 7650 h 10000"/>
                <a:gd name="connsiteX2958" fmla="*/ 3217 w 10785"/>
                <a:gd name="connsiteY2958" fmla="*/ 7650 h 10000"/>
                <a:gd name="connsiteX2959" fmla="*/ 3212 w 10785"/>
                <a:gd name="connsiteY2959" fmla="*/ 7675 h 10000"/>
                <a:gd name="connsiteX2960" fmla="*/ 3212 w 10785"/>
                <a:gd name="connsiteY2960"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227 w 10785"/>
                <a:gd name="connsiteY731" fmla="*/ 4860 h 10000"/>
                <a:gd name="connsiteX732" fmla="*/ 10139 w 10785"/>
                <a:gd name="connsiteY732" fmla="*/ 4708 h 10000"/>
                <a:gd name="connsiteX733" fmla="*/ 10233 w 10785"/>
                <a:gd name="connsiteY733" fmla="*/ 4530 h 10000"/>
                <a:gd name="connsiteX734" fmla="*/ 10334 w 10785"/>
                <a:gd name="connsiteY734" fmla="*/ 4810 h 10000"/>
                <a:gd name="connsiteX735" fmla="*/ 10422 w 10785"/>
                <a:gd name="connsiteY735" fmla="*/ 5051 h 10000"/>
                <a:gd name="connsiteX736" fmla="*/ 10691 w 10785"/>
                <a:gd name="connsiteY736" fmla="*/ 5255 h 10000"/>
                <a:gd name="connsiteX737" fmla="*/ 10619 w 10785"/>
                <a:gd name="connsiteY737" fmla="*/ 4708 h 10000"/>
                <a:gd name="connsiteX738" fmla="*/ 10785 w 10785"/>
                <a:gd name="connsiteY738" fmla="*/ 4708 h 10000"/>
                <a:gd name="connsiteX739" fmla="*/ 10689 w 10785"/>
                <a:gd name="connsiteY739" fmla="*/ 4467 h 10000"/>
                <a:gd name="connsiteX740" fmla="*/ 10354 w 10785"/>
                <a:gd name="connsiteY740" fmla="*/ 4302 h 10000"/>
                <a:gd name="connsiteX741" fmla="*/ 9912 w 10785"/>
                <a:gd name="connsiteY741" fmla="*/ 3675 h 10000"/>
                <a:gd name="connsiteX742" fmla="*/ 9903 w 10785"/>
                <a:gd name="connsiteY742" fmla="*/ 3667 h 10000"/>
                <a:gd name="connsiteX743" fmla="*/ 9894 w 10785"/>
                <a:gd name="connsiteY743" fmla="*/ 3641 h 10000"/>
                <a:gd name="connsiteX744" fmla="*/ 9889 w 10785"/>
                <a:gd name="connsiteY744" fmla="*/ 3650 h 10000"/>
                <a:gd name="connsiteX745" fmla="*/ 9848 w 10785"/>
                <a:gd name="connsiteY745" fmla="*/ 3598 h 10000"/>
                <a:gd name="connsiteX746" fmla="*/ 9829 w 10785"/>
                <a:gd name="connsiteY746" fmla="*/ 3581 h 10000"/>
                <a:gd name="connsiteX747" fmla="*/ 9820 w 10785"/>
                <a:gd name="connsiteY747" fmla="*/ 3581 h 10000"/>
                <a:gd name="connsiteX748" fmla="*/ 9793 w 10785"/>
                <a:gd name="connsiteY748" fmla="*/ 3556 h 10000"/>
                <a:gd name="connsiteX749" fmla="*/ 9779 w 10785"/>
                <a:gd name="connsiteY749" fmla="*/ 3556 h 10000"/>
                <a:gd name="connsiteX750" fmla="*/ 9747 w 10785"/>
                <a:gd name="connsiteY750" fmla="*/ 3487 h 10000"/>
                <a:gd name="connsiteX751" fmla="*/ 9668 w 10785"/>
                <a:gd name="connsiteY751" fmla="*/ 3479 h 10000"/>
                <a:gd name="connsiteX752" fmla="*/ 9659 w 10785"/>
                <a:gd name="connsiteY752" fmla="*/ 3487 h 10000"/>
                <a:gd name="connsiteX753" fmla="*/ 9645 w 10785"/>
                <a:gd name="connsiteY753" fmla="*/ 3504 h 10000"/>
                <a:gd name="connsiteX754" fmla="*/ 9631 w 10785"/>
                <a:gd name="connsiteY754" fmla="*/ 3487 h 10000"/>
                <a:gd name="connsiteX755" fmla="*/ 9613 w 10785"/>
                <a:gd name="connsiteY755" fmla="*/ 3479 h 10000"/>
                <a:gd name="connsiteX756" fmla="*/ 9599 w 10785"/>
                <a:gd name="connsiteY756" fmla="*/ 3479 h 10000"/>
                <a:gd name="connsiteX757" fmla="*/ 9571 w 10785"/>
                <a:gd name="connsiteY757" fmla="*/ 3479 h 10000"/>
                <a:gd name="connsiteX758" fmla="*/ 9562 w 10785"/>
                <a:gd name="connsiteY758" fmla="*/ 3487 h 10000"/>
                <a:gd name="connsiteX759" fmla="*/ 9539 w 10785"/>
                <a:gd name="connsiteY759" fmla="*/ 3487 h 10000"/>
                <a:gd name="connsiteX760" fmla="*/ 9507 w 10785"/>
                <a:gd name="connsiteY760" fmla="*/ 3453 h 10000"/>
                <a:gd name="connsiteX761" fmla="*/ 9498 w 10785"/>
                <a:gd name="connsiteY761" fmla="*/ 3453 h 10000"/>
                <a:gd name="connsiteX762" fmla="*/ 9387 w 10785"/>
                <a:gd name="connsiteY762" fmla="*/ 3419 h 10000"/>
                <a:gd name="connsiteX763" fmla="*/ 9373 w 10785"/>
                <a:gd name="connsiteY763" fmla="*/ 3427 h 10000"/>
                <a:gd name="connsiteX764" fmla="*/ 9373 w 10785"/>
                <a:gd name="connsiteY764" fmla="*/ 3462 h 10000"/>
                <a:gd name="connsiteX765" fmla="*/ 9378 w 10785"/>
                <a:gd name="connsiteY765" fmla="*/ 3479 h 10000"/>
                <a:gd name="connsiteX766" fmla="*/ 9378 w 10785"/>
                <a:gd name="connsiteY766" fmla="*/ 3530 h 10000"/>
                <a:gd name="connsiteX767" fmla="*/ 9355 w 10785"/>
                <a:gd name="connsiteY767" fmla="*/ 3538 h 10000"/>
                <a:gd name="connsiteX768" fmla="*/ 9355 w 10785"/>
                <a:gd name="connsiteY768" fmla="*/ 3581 h 10000"/>
                <a:gd name="connsiteX769" fmla="*/ 9387 w 10785"/>
                <a:gd name="connsiteY769" fmla="*/ 3590 h 10000"/>
                <a:gd name="connsiteX770" fmla="*/ 9401 w 10785"/>
                <a:gd name="connsiteY770" fmla="*/ 3667 h 10000"/>
                <a:gd name="connsiteX771" fmla="*/ 9406 w 10785"/>
                <a:gd name="connsiteY771" fmla="*/ 3675 h 10000"/>
                <a:gd name="connsiteX772" fmla="*/ 9406 w 10785"/>
                <a:gd name="connsiteY772" fmla="*/ 3701 h 10000"/>
                <a:gd name="connsiteX773" fmla="*/ 9415 w 10785"/>
                <a:gd name="connsiteY773" fmla="*/ 3752 h 10000"/>
                <a:gd name="connsiteX774" fmla="*/ 9373 w 10785"/>
                <a:gd name="connsiteY774" fmla="*/ 3838 h 10000"/>
                <a:gd name="connsiteX775" fmla="*/ 9355 w 10785"/>
                <a:gd name="connsiteY775" fmla="*/ 3863 h 10000"/>
                <a:gd name="connsiteX776" fmla="*/ 9327 w 10785"/>
                <a:gd name="connsiteY776" fmla="*/ 3863 h 10000"/>
                <a:gd name="connsiteX777" fmla="*/ 9313 w 10785"/>
                <a:gd name="connsiteY777" fmla="*/ 3846 h 10000"/>
                <a:gd name="connsiteX778" fmla="*/ 9300 w 10785"/>
                <a:gd name="connsiteY778" fmla="*/ 3778 h 10000"/>
                <a:gd name="connsiteX779" fmla="*/ 9281 w 10785"/>
                <a:gd name="connsiteY779" fmla="*/ 3752 h 10000"/>
                <a:gd name="connsiteX780" fmla="*/ 9281 w 10785"/>
                <a:gd name="connsiteY780" fmla="*/ 3735 h 10000"/>
                <a:gd name="connsiteX781" fmla="*/ 9267 w 10785"/>
                <a:gd name="connsiteY781" fmla="*/ 3726 h 10000"/>
                <a:gd name="connsiteX782" fmla="*/ 9240 w 10785"/>
                <a:gd name="connsiteY782" fmla="*/ 3726 h 10000"/>
                <a:gd name="connsiteX783" fmla="*/ 9230 w 10785"/>
                <a:gd name="connsiteY783" fmla="*/ 3718 h 10000"/>
                <a:gd name="connsiteX784" fmla="*/ 9226 w 10785"/>
                <a:gd name="connsiteY784" fmla="*/ 3590 h 10000"/>
                <a:gd name="connsiteX785" fmla="*/ 9207 w 10785"/>
                <a:gd name="connsiteY785" fmla="*/ 3581 h 10000"/>
                <a:gd name="connsiteX786" fmla="*/ 9207 w 10785"/>
                <a:gd name="connsiteY786" fmla="*/ 3556 h 10000"/>
                <a:gd name="connsiteX787" fmla="*/ 9217 w 10785"/>
                <a:gd name="connsiteY787" fmla="*/ 3538 h 10000"/>
                <a:gd name="connsiteX788" fmla="*/ 9212 w 10785"/>
                <a:gd name="connsiteY788" fmla="*/ 3538 h 10000"/>
                <a:gd name="connsiteX789" fmla="*/ 9198 w 10785"/>
                <a:gd name="connsiteY789" fmla="*/ 3513 h 10000"/>
                <a:gd name="connsiteX790" fmla="*/ 9194 w 10785"/>
                <a:gd name="connsiteY790" fmla="*/ 3530 h 10000"/>
                <a:gd name="connsiteX791" fmla="*/ 9143 w 10785"/>
                <a:gd name="connsiteY791" fmla="*/ 3615 h 10000"/>
                <a:gd name="connsiteX792" fmla="*/ 9138 w 10785"/>
                <a:gd name="connsiteY792" fmla="*/ 3615 h 10000"/>
                <a:gd name="connsiteX793" fmla="*/ 9134 w 10785"/>
                <a:gd name="connsiteY793" fmla="*/ 3615 h 10000"/>
                <a:gd name="connsiteX794" fmla="*/ 9106 w 10785"/>
                <a:gd name="connsiteY794" fmla="*/ 3615 h 10000"/>
                <a:gd name="connsiteX795" fmla="*/ 9078 w 10785"/>
                <a:gd name="connsiteY795" fmla="*/ 3590 h 10000"/>
                <a:gd name="connsiteX796" fmla="*/ 9037 w 10785"/>
                <a:gd name="connsiteY796" fmla="*/ 3581 h 10000"/>
                <a:gd name="connsiteX797" fmla="*/ 9023 w 10785"/>
                <a:gd name="connsiteY797" fmla="*/ 3590 h 10000"/>
                <a:gd name="connsiteX798" fmla="*/ 9018 w 10785"/>
                <a:gd name="connsiteY798" fmla="*/ 3590 h 10000"/>
                <a:gd name="connsiteX799" fmla="*/ 9018 w 10785"/>
                <a:gd name="connsiteY799" fmla="*/ 3590 h 10000"/>
                <a:gd name="connsiteX800" fmla="*/ 8991 w 10785"/>
                <a:gd name="connsiteY800" fmla="*/ 3590 h 10000"/>
                <a:gd name="connsiteX801" fmla="*/ 8972 w 10785"/>
                <a:gd name="connsiteY801" fmla="*/ 3581 h 10000"/>
                <a:gd name="connsiteX802" fmla="*/ 8959 w 10785"/>
                <a:gd name="connsiteY802" fmla="*/ 3513 h 10000"/>
                <a:gd name="connsiteX803" fmla="*/ 8931 w 10785"/>
                <a:gd name="connsiteY803" fmla="*/ 3538 h 10000"/>
                <a:gd name="connsiteX804" fmla="*/ 8889 w 10785"/>
                <a:gd name="connsiteY804" fmla="*/ 3538 h 10000"/>
                <a:gd name="connsiteX805" fmla="*/ 8871 w 10785"/>
                <a:gd name="connsiteY805" fmla="*/ 3556 h 10000"/>
                <a:gd name="connsiteX806" fmla="*/ 8857 w 10785"/>
                <a:gd name="connsiteY806" fmla="*/ 3538 h 10000"/>
                <a:gd name="connsiteX807" fmla="*/ 8843 w 10785"/>
                <a:gd name="connsiteY807" fmla="*/ 3538 h 10000"/>
                <a:gd name="connsiteX808" fmla="*/ 8839 w 10785"/>
                <a:gd name="connsiteY808" fmla="*/ 3556 h 10000"/>
                <a:gd name="connsiteX809" fmla="*/ 8839 w 10785"/>
                <a:gd name="connsiteY809" fmla="*/ 3581 h 10000"/>
                <a:gd name="connsiteX810" fmla="*/ 8825 w 10785"/>
                <a:gd name="connsiteY810" fmla="*/ 3564 h 10000"/>
                <a:gd name="connsiteX811" fmla="*/ 8825 w 10785"/>
                <a:gd name="connsiteY811" fmla="*/ 3615 h 10000"/>
                <a:gd name="connsiteX812" fmla="*/ 8802 w 10785"/>
                <a:gd name="connsiteY812" fmla="*/ 3598 h 10000"/>
                <a:gd name="connsiteX813" fmla="*/ 8797 w 10785"/>
                <a:gd name="connsiteY813" fmla="*/ 3641 h 10000"/>
                <a:gd name="connsiteX814" fmla="*/ 8783 w 10785"/>
                <a:gd name="connsiteY814" fmla="*/ 3667 h 10000"/>
                <a:gd name="connsiteX815" fmla="*/ 8779 w 10785"/>
                <a:gd name="connsiteY815" fmla="*/ 3650 h 10000"/>
                <a:gd name="connsiteX816" fmla="*/ 8779 w 10785"/>
                <a:gd name="connsiteY816" fmla="*/ 3615 h 10000"/>
                <a:gd name="connsiteX817" fmla="*/ 8770 w 10785"/>
                <a:gd name="connsiteY817" fmla="*/ 3590 h 10000"/>
                <a:gd name="connsiteX818" fmla="*/ 8765 w 10785"/>
                <a:gd name="connsiteY818" fmla="*/ 3598 h 10000"/>
                <a:gd name="connsiteX819" fmla="*/ 8756 w 10785"/>
                <a:gd name="connsiteY819" fmla="*/ 3590 h 10000"/>
                <a:gd name="connsiteX820" fmla="*/ 8737 w 10785"/>
                <a:gd name="connsiteY820" fmla="*/ 3556 h 10000"/>
                <a:gd name="connsiteX821" fmla="*/ 8724 w 10785"/>
                <a:gd name="connsiteY821" fmla="*/ 3538 h 10000"/>
                <a:gd name="connsiteX822" fmla="*/ 8696 w 10785"/>
                <a:gd name="connsiteY822" fmla="*/ 3538 h 10000"/>
                <a:gd name="connsiteX823" fmla="*/ 8691 w 10785"/>
                <a:gd name="connsiteY823" fmla="*/ 3513 h 10000"/>
                <a:gd name="connsiteX824" fmla="*/ 8668 w 10785"/>
                <a:gd name="connsiteY824" fmla="*/ 3504 h 10000"/>
                <a:gd name="connsiteX825" fmla="*/ 8668 w 10785"/>
                <a:gd name="connsiteY825" fmla="*/ 3487 h 10000"/>
                <a:gd name="connsiteX826" fmla="*/ 8691 w 10785"/>
                <a:gd name="connsiteY826" fmla="*/ 3350 h 10000"/>
                <a:gd name="connsiteX827" fmla="*/ 8691 w 10785"/>
                <a:gd name="connsiteY827" fmla="*/ 3291 h 10000"/>
                <a:gd name="connsiteX828" fmla="*/ 8677 w 10785"/>
                <a:gd name="connsiteY828" fmla="*/ 3239 h 10000"/>
                <a:gd name="connsiteX829" fmla="*/ 8677 w 10785"/>
                <a:gd name="connsiteY829" fmla="*/ 3231 h 10000"/>
                <a:gd name="connsiteX830" fmla="*/ 8636 w 10785"/>
                <a:gd name="connsiteY830" fmla="*/ 3128 h 10000"/>
                <a:gd name="connsiteX831" fmla="*/ 8622 w 10785"/>
                <a:gd name="connsiteY831" fmla="*/ 3120 h 10000"/>
                <a:gd name="connsiteX832" fmla="*/ 8618 w 10785"/>
                <a:gd name="connsiteY832" fmla="*/ 3094 h 10000"/>
                <a:gd name="connsiteX833" fmla="*/ 8594 w 10785"/>
                <a:gd name="connsiteY833" fmla="*/ 3077 h 10000"/>
                <a:gd name="connsiteX834" fmla="*/ 8548 w 10785"/>
                <a:gd name="connsiteY834" fmla="*/ 3077 h 10000"/>
                <a:gd name="connsiteX835" fmla="*/ 8535 w 10785"/>
                <a:gd name="connsiteY835" fmla="*/ 3068 h 10000"/>
                <a:gd name="connsiteX836" fmla="*/ 8429 w 10785"/>
                <a:gd name="connsiteY836" fmla="*/ 3077 h 10000"/>
                <a:gd name="connsiteX837" fmla="*/ 8424 w 10785"/>
                <a:gd name="connsiteY837" fmla="*/ 3077 h 10000"/>
                <a:gd name="connsiteX838" fmla="*/ 8396 w 10785"/>
                <a:gd name="connsiteY838" fmla="*/ 3077 h 10000"/>
                <a:gd name="connsiteX839" fmla="*/ 8387 w 10785"/>
                <a:gd name="connsiteY839" fmla="*/ 3094 h 10000"/>
                <a:gd name="connsiteX840" fmla="*/ 8378 w 10785"/>
                <a:gd name="connsiteY840" fmla="*/ 3094 h 10000"/>
                <a:gd name="connsiteX841" fmla="*/ 8341 w 10785"/>
                <a:gd name="connsiteY841" fmla="*/ 3077 h 10000"/>
                <a:gd name="connsiteX842" fmla="*/ 8336 w 10785"/>
                <a:gd name="connsiteY842" fmla="*/ 3077 h 10000"/>
                <a:gd name="connsiteX843" fmla="*/ 8327 w 10785"/>
                <a:gd name="connsiteY843" fmla="*/ 3103 h 10000"/>
                <a:gd name="connsiteX844" fmla="*/ 8309 w 10785"/>
                <a:gd name="connsiteY844" fmla="*/ 3120 h 10000"/>
                <a:gd name="connsiteX845" fmla="*/ 8304 w 10785"/>
                <a:gd name="connsiteY845" fmla="*/ 3103 h 10000"/>
                <a:gd name="connsiteX846" fmla="*/ 8276 w 10785"/>
                <a:gd name="connsiteY846" fmla="*/ 3103 h 10000"/>
                <a:gd name="connsiteX847" fmla="*/ 8267 w 10785"/>
                <a:gd name="connsiteY847" fmla="*/ 3120 h 10000"/>
                <a:gd name="connsiteX848" fmla="*/ 8253 w 10785"/>
                <a:gd name="connsiteY848" fmla="*/ 3103 h 10000"/>
                <a:gd name="connsiteX849" fmla="*/ 8230 w 10785"/>
                <a:gd name="connsiteY849" fmla="*/ 3128 h 10000"/>
                <a:gd name="connsiteX850" fmla="*/ 8217 w 10785"/>
                <a:gd name="connsiteY850" fmla="*/ 3128 h 10000"/>
                <a:gd name="connsiteX851" fmla="*/ 8203 w 10785"/>
                <a:gd name="connsiteY851" fmla="*/ 3154 h 10000"/>
                <a:gd name="connsiteX852" fmla="*/ 8175 w 10785"/>
                <a:gd name="connsiteY852" fmla="*/ 3094 h 10000"/>
                <a:gd name="connsiteX853" fmla="*/ 8161 w 10785"/>
                <a:gd name="connsiteY853" fmla="*/ 3094 h 10000"/>
                <a:gd name="connsiteX854" fmla="*/ 8157 w 10785"/>
                <a:gd name="connsiteY854" fmla="*/ 3077 h 10000"/>
                <a:gd name="connsiteX855" fmla="*/ 8180 w 10785"/>
                <a:gd name="connsiteY855" fmla="*/ 3068 h 10000"/>
                <a:gd name="connsiteX856" fmla="*/ 8189 w 10785"/>
                <a:gd name="connsiteY856" fmla="*/ 3043 h 10000"/>
                <a:gd name="connsiteX857" fmla="*/ 8189 w 10785"/>
                <a:gd name="connsiteY857" fmla="*/ 3017 h 10000"/>
                <a:gd name="connsiteX858" fmla="*/ 8147 w 10785"/>
                <a:gd name="connsiteY858" fmla="*/ 2940 h 10000"/>
                <a:gd name="connsiteX859" fmla="*/ 8143 w 10785"/>
                <a:gd name="connsiteY859" fmla="*/ 2915 h 10000"/>
                <a:gd name="connsiteX860" fmla="*/ 8143 w 10785"/>
                <a:gd name="connsiteY860" fmla="*/ 2906 h 10000"/>
                <a:gd name="connsiteX861" fmla="*/ 8097 w 10785"/>
                <a:gd name="connsiteY861" fmla="*/ 2932 h 10000"/>
                <a:gd name="connsiteX862" fmla="*/ 8083 w 10785"/>
                <a:gd name="connsiteY862" fmla="*/ 2932 h 10000"/>
                <a:gd name="connsiteX863" fmla="*/ 8074 w 10785"/>
                <a:gd name="connsiteY863" fmla="*/ 2906 h 10000"/>
                <a:gd name="connsiteX864" fmla="*/ 8074 w 10785"/>
                <a:gd name="connsiteY864" fmla="*/ 2897 h 10000"/>
                <a:gd name="connsiteX865" fmla="*/ 8055 w 10785"/>
                <a:gd name="connsiteY865" fmla="*/ 2872 h 10000"/>
                <a:gd name="connsiteX866" fmla="*/ 8046 w 10785"/>
                <a:gd name="connsiteY866" fmla="*/ 2829 h 10000"/>
                <a:gd name="connsiteX867" fmla="*/ 8041 w 10785"/>
                <a:gd name="connsiteY867" fmla="*/ 2829 h 10000"/>
                <a:gd name="connsiteX868" fmla="*/ 8023 w 10785"/>
                <a:gd name="connsiteY868" fmla="*/ 2803 h 10000"/>
                <a:gd name="connsiteX869" fmla="*/ 8014 w 10785"/>
                <a:gd name="connsiteY869" fmla="*/ 2829 h 10000"/>
                <a:gd name="connsiteX870" fmla="*/ 8000 w 10785"/>
                <a:gd name="connsiteY870" fmla="*/ 2829 h 10000"/>
                <a:gd name="connsiteX871" fmla="*/ 7995 w 10785"/>
                <a:gd name="connsiteY871" fmla="*/ 2821 h 10000"/>
                <a:gd name="connsiteX872" fmla="*/ 7972 w 10785"/>
                <a:gd name="connsiteY872" fmla="*/ 2803 h 10000"/>
                <a:gd name="connsiteX873" fmla="*/ 7968 w 10785"/>
                <a:gd name="connsiteY873" fmla="*/ 2821 h 10000"/>
                <a:gd name="connsiteX874" fmla="*/ 7968 w 10785"/>
                <a:gd name="connsiteY874" fmla="*/ 2803 h 10000"/>
                <a:gd name="connsiteX875" fmla="*/ 7995 w 10785"/>
                <a:gd name="connsiteY875" fmla="*/ 2735 h 10000"/>
                <a:gd name="connsiteX876" fmla="*/ 8000 w 10785"/>
                <a:gd name="connsiteY876" fmla="*/ 2735 h 10000"/>
                <a:gd name="connsiteX877" fmla="*/ 8014 w 10785"/>
                <a:gd name="connsiteY877" fmla="*/ 2744 h 10000"/>
                <a:gd name="connsiteX878" fmla="*/ 8023 w 10785"/>
                <a:gd name="connsiteY878" fmla="*/ 2769 h 10000"/>
                <a:gd name="connsiteX879" fmla="*/ 8032 w 10785"/>
                <a:gd name="connsiteY879" fmla="*/ 2744 h 10000"/>
                <a:gd name="connsiteX880" fmla="*/ 8032 w 10785"/>
                <a:gd name="connsiteY880" fmla="*/ 2709 h 10000"/>
                <a:gd name="connsiteX881" fmla="*/ 8023 w 10785"/>
                <a:gd name="connsiteY881" fmla="*/ 2632 h 10000"/>
                <a:gd name="connsiteX882" fmla="*/ 7986 w 10785"/>
                <a:gd name="connsiteY882" fmla="*/ 2581 h 10000"/>
                <a:gd name="connsiteX883" fmla="*/ 7968 w 10785"/>
                <a:gd name="connsiteY883" fmla="*/ 2581 h 10000"/>
                <a:gd name="connsiteX884" fmla="*/ 7963 w 10785"/>
                <a:gd name="connsiteY884" fmla="*/ 2556 h 10000"/>
                <a:gd name="connsiteX885" fmla="*/ 7935 w 10785"/>
                <a:gd name="connsiteY885" fmla="*/ 2547 h 10000"/>
                <a:gd name="connsiteX886" fmla="*/ 7912 w 10785"/>
                <a:gd name="connsiteY886" fmla="*/ 2547 h 10000"/>
                <a:gd name="connsiteX887" fmla="*/ 7912 w 10785"/>
                <a:gd name="connsiteY887" fmla="*/ 2556 h 10000"/>
                <a:gd name="connsiteX888" fmla="*/ 7908 w 10785"/>
                <a:gd name="connsiteY888" fmla="*/ 2547 h 10000"/>
                <a:gd name="connsiteX889" fmla="*/ 7862 w 10785"/>
                <a:gd name="connsiteY889" fmla="*/ 2547 h 10000"/>
                <a:gd name="connsiteX890" fmla="*/ 7848 w 10785"/>
                <a:gd name="connsiteY890" fmla="*/ 2556 h 10000"/>
                <a:gd name="connsiteX891" fmla="*/ 7820 w 10785"/>
                <a:gd name="connsiteY891" fmla="*/ 2547 h 10000"/>
                <a:gd name="connsiteX892" fmla="*/ 7806 w 10785"/>
                <a:gd name="connsiteY892" fmla="*/ 2513 h 10000"/>
                <a:gd name="connsiteX893" fmla="*/ 7788 w 10785"/>
                <a:gd name="connsiteY893" fmla="*/ 2513 h 10000"/>
                <a:gd name="connsiteX894" fmla="*/ 7760 w 10785"/>
                <a:gd name="connsiteY894" fmla="*/ 2470 h 10000"/>
                <a:gd name="connsiteX895" fmla="*/ 7751 w 10785"/>
                <a:gd name="connsiteY895" fmla="*/ 2470 h 10000"/>
                <a:gd name="connsiteX896" fmla="*/ 7705 w 10785"/>
                <a:gd name="connsiteY896" fmla="*/ 2462 h 10000"/>
                <a:gd name="connsiteX897" fmla="*/ 7673 w 10785"/>
                <a:gd name="connsiteY897" fmla="*/ 2419 h 10000"/>
                <a:gd name="connsiteX898" fmla="*/ 7627 w 10785"/>
                <a:gd name="connsiteY898" fmla="*/ 2419 h 10000"/>
                <a:gd name="connsiteX899" fmla="*/ 7613 w 10785"/>
                <a:gd name="connsiteY899" fmla="*/ 2410 h 10000"/>
                <a:gd name="connsiteX900" fmla="*/ 7493 w 10785"/>
                <a:gd name="connsiteY900" fmla="*/ 2393 h 10000"/>
                <a:gd name="connsiteX901" fmla="*/ 7479 w 10785"/>
                <a:gd name="connsiteY901" fmla="*/ 2385 h 10000"/>
                <a:gd name="connsiteX902" fmla="*/ 7479 w 10785"/>
                <a:gd name="connsiteY902" fmla="*/ 2376 h 10000"/>
                <a:gd name="connsiteX903" fmla="*/ 7465 w 10785"/>
                <a:gd name="connsiteY903" fmla="*/ 2359 h 10000"/>
                <a:gd name="connsiteX904" fmla="*/ 7447 w 10785"/>
                <a:gd name="connsiteY904" fmla="*/ 2350 h 10000"/>
                <a:gd name="connsiteX905" fmla="*/ 7433 w 10785"/>
                <a:gd name="connsiteY905" fmla="*/ 2376 h 10000"/>
                <a:gd name="connsiteX906" fmla="*/ 7433 w 10785"/>
                <a:gd name="connsiteY906" fmla="*/ 2385 h 10000"/>
                <a:gd name="connsiteX907" fmla="*/ 7447 w 10785"/>
                <a:gd name="connsiteY907" fmla="*/ 2410 h 10000"/>
                <a:gd name="connsiteX908" fmla="*/ 7447 w 10785"/>
                <a:gd name="connsiteY908" fmla="*/ 2436 h 10000"/>
                <a:gd name="connsiteX909" fmla="*/ 7452 w 10785"/>
                <a:gd name="connsiteY909" fmla="*/ 2462 h 10000"/>
                <a:gd name="connsiteX910" fmla="*/ 7447 w 10785"/>
                <a:gd name="connsiteY910" fmla="*/ 2470 h 10000"/>
                <a:gd name="connsiteX911" fmla="*/ 7424 w 10785"/>
                <a:gd name="connsiteY911" fmla="*/ 2513 h 10000"/>
                <a:gd name="connsiteX912" fmla="*/ 7419 w 10785"/>
                <a:gd name="connsiteY912" fmla="*/ 2556 h 10000"/>
                <a:gd name="connsiteX913" fmla="*/ 7406 w 10785"/>
                <a:gd name="connsiteY913" fmla="*/ 2624 h 10000"/>
                <a:gd name="connsiteX914" fmla="*/ 7392 w 10785"/>
                <a:gd name="connsiteY914" fmla="*/ 2624 h 10000"/>
                <a:gd name="connsiteX915" fmla="*/ 7373 w 10785"/>
                <a:gd name="connsiteY915" fmla="*/ 2650 h 10000"/>
                <a:gd name="connsiteX916" fmla="*/ 7364 w 10785"/>
                <a:gd name="connsiteY916" fmla="*/ 2684 h 10000"/>
                <a:gd name="connsiteX917" fmla="*/ 7364 w 10785"/>
                <a:gd name="connsiteY917" fmla="*/ 2692 h 10000"/>
                <a:gd name="connsiteX918" fmla="*/ 7373 w 10785"/>
                <a:gd name="connsiteY918" fmla="*/ 2718 h 10000"/>
                <a:gd name="connsiteX919" fmla="*/ 7373 w 10785"/>
                <a:gd name="connsiteY919" fmla="*/ 2744 h 10000"/>
                <a:gd name="connsiteX920" fmla="*/ 7359 w 10785"/>
                <a:gd name="connsiteY920" fmla="*/ 2744 h 10000"/>
                <a:gd name="connsiteX921" fmla="*/ 7359 w 10785"/>
                <a:gd name="connsiteY921" fmla="*/ 2795 h 10000"/>
                <a:gd name="connsiteX922" fmla="*/ 7364 w 10785"/>
                <a:gd name="connsiteY922" fmla="*/ 2821 h 10000"/>
                <a:gd name="connsiteX923" fmla="*/ 7378 w 10785"/>
                <a:gd name="connsiteY923" fmla="*/ 2846 h 10000"/>
                <a:gd name="connsiteX924" fmla="*/ 7378 w 10785"/>
                <a:gd name="connsiteY924" fmla="*/ 2855 h 10000"/>
                <a:gd name="connsiteX925" fmla="*/ 7378 w 10785"/>
                <a:gd name="connsiteY925" fmla="*/ 2880 h 10000"/>
                <a:gd name="connsiteX926" fmla="*/ 7378 w 10785"/>
                <a:gd name="connsiteY926" fmla="*/ 2906 h 10000"/>
                <a:gd name="connsiteX927" fmla="*/ 7364 w 10785"/>
                <a:gd name="connsiteY927" fmla="*/ 2906 h 10000"/>
                <a:gd name="connsiteX928" fmla="*/ 7346 w 10785"/>
                <a:gd name="connsiteY928" fmla="*/ 2880 h 10000"/>
                <a:gd name="connsiteX929" fmla="*/ 7332 w 10785"/>
                <a:gd name="connsiteY929" fmla="*/ 2915 h 10000"/>
                <a:gd name="connsiteX930" fmla="*/ 7318 w 10785"/>
                <a:gd name="connsiteY930" fmla="*/ 2906 h 10000"/>
                <a:gd name="connsiteX931" fmla="*/ 7313 w 10785"/>
                <a:gd name="connsiteY931" fmla="*/ 2915 h 10000"/>
                <a:gd name="connsiteX932" fmla="*/ 7313 w 10785"/>
                <a:gd name="connsiteY932" fmla="*/ 2906 h 10000"/>
                <a:gd name="connsiteX933" fmla="*/ 7286 w 10785"/>
                <a:gd name="connsiteY933" fmla="*/ 2940 h 10000"/>
                <a:gd name="connsiteX934" fmla="*/ 7276 w 10785"/>
                <a:gd name="connsiteY934" fmla="*/ 2966 h 10000"/>
                <a:gd name="connsiteX935" fmla="*/ 7272 w 10785"/>
                <a:gd name="connsiteY935" fmla="*/ 2983 h 10000"/>
                <a:gd name="connsiteX936" fmla="*/ 7267 w 10785"/>
                <a:gd name="connsiteY936" fmla="*/ 3009 h 10000"/>
                <a:gd name="connsiteX937" fmla="*/ 7253 w 10785"/>
                <a:gd name="connsiteY937" fmla="*/ 3009 h 10000"/>
                <a:gd name="connsiteX938" fmla="*/ 7244 w 10785"/>
                <a:gd name="connsiteY938" fmla="*/ 3017 h 10000"/>
                <a:gd name="connsiteX939" fmla="*/ 7240 w 10785"/>
                <a:gd name="connsiteY939" fmla="*/ 3009 h 10000"/>
                <a:gd name="connsiteX940" fmla="*/ 7230 w 10785"/>
                <a:gd name="connsiteY940" fmla="*/ 2991 h 10000"/>
                <a:gd name="connsiteX941" fmla="*/ 7226 w 10785"/>
                <a:gd name="connsiteY941" fmla="*/ 2983 h 10000"/>
                <a:gd name="connsiteX942" fmla="*/ 7226 w 10785"/>
                <a:gd name="connsiteY942" fmla="*/ 2966 h 10000"/>
                <a:gd name="connsiteX943" fmla="*/ 7212 w 10785"/>
                <a:gd name="connsiteY943" fmla="*/ 2957 h 10000"/>
                <a:gd name="connsiteX944" fmla="*/ 7212 w 10785"/>
                <a:gd name="connsiteY944" fmla="*/ 2932 h 10000"/>
                <a:gd name="connsiteX945" fmla="*/ 7198 w 10785"/>
                <a:gd name="connsiteY945" fmla="*/ 2915 h 10000"/>
                <a:gd name="connsiteX946" fmla="*/ 7194 w 10785"/>
                <a:gd name="connsiteY946" fmla="*/ 2915 h 10000"/>
                <a:gd name="connsiteX947" fmla="*/ 7157 w 10785"/>
                <a:gd name="connsiteY947" fmla="*/ 2880 h 10000"/>
                <a:gd name="connsiteX948" fmla="*/ 7138 w 10785"/>
                <a:gd name="connsiteY948" fmla="*/ 2880 h 10000"/>
                <a:gd name="connsiteX949" fmla="*/ 7120 w 10785"/>
                <a:gd name="connsiteY949" fmla="*/ 2872 h 10000"/>
                <a:gd name="connsiteX950" fmla="*/ 7111 w 10785"/>
                <a:gd name="connsiteY950" fmla="*/ 2846 h 10000"/>
                <a:gd name="connsiteX951" fmla="*/ 7106 w 10785"/>
                <a:gd name="connsiteY951" fmla="*/ 2846 h 10000"/>
                <a:gd name="connsiteX952" fmla="*/ 7092 w 10785"/>
                <a:gd name="connsiteY952" fmla="*/ 2829 h 10000"/>
                <a:gd name="connsiteX953" fmla="*/ 7051 w 10785"/>
                <a:gd name="connsiteY953" fmla="*/ 2829 h 10000"/>
                <a:gd name="connsiteX954" fmla="*/ 7037 w 10785"/>
                <a:gd name="connsiteY954" fmla="*/ 2880 h 10000"/>
                <a:gd name="connsiteX955" fmla="*/ 7037 w 10785"/>
                <a:gd name="connsiteY955" fmla="*/ 2906 h 10000"/>
                <a:gd name="connsiteX956" fmla="*/ 7037 w 10785"/>
                <a:gd name="connsiteY956" fmla="*/ 2932 h 10000"/>
                <a:gd name="connsiteX957" fmla="*/ 7037 w 10785"/>
                <a:gd name="connsiteY957" fmla="*/ 2940 h 10000"/>
                <a:gd name="connsiteX958" fmla="*/ 7023 w 10785"/>
                <a:gd name="connsiteY958" fmla="*/ 2906 h 10000"/>
                <a:gd name="connsiteX959" fmla="*/ 7023 w 10785"/>
                <a:gd name="connsiteY959" fmla="*/ 2915 h 10000"/>
                <a:gd name="connsiteX960" fmla="*/ 6991 w 10785"/>
                <a:gd name="connsiteY960" fmla="*/ 2906 h 10000"/>
                <a:gd name="connsiteX961" fmla="*/ 6977 w 10785"/>
                <a:gd name="connsiteY961" fmla="*/ 2915 h 10000"/>
                <a:gd name="connsiteX962" fmla="*/ 6963 w 10785"/>
                <a:gd name="connsiteY962" fmla="*/ 2915 h 10000"/>
                <a:gd name="connsiteX963" fmla="*/ 6949 w 10785"/>
                <a:gd name="connsiteY963" fmla="*/ 2872 h 10000"/>
                <a:gd name="connsiteX964" fmla="*/ 6935 w 10785"/>
                <a:gd name="connsiteY964" fmla="*/ 2855 h 10000"/>
                <a:gd name="connsiteX965" fmla="*/ 6922 w 10785"/>
                <a:gd name="connsiteY965" fmla="*/ 2803 h 10000"/>
                <a:gd name="connsiteX966" fmla="*/ 6917 w 10785"/>
                <a:gd name="connsiteY966" fmla="*/ 2786 h 10000"/>
                <a:gd name="connsiteX967" fmla="*/ 6903 w 10785"/>
                <a:gd name="connsiteY967" fmla="*/ 2709 h 10000"/>
                <a:gd name="connsiteX968" fmla="*/ 6903 w 10785"/>
                <a:gd name="connsiteY968" fmla="*/ 2692 h 10000"/>
                <a:gd name="connsiteX969" fmla="*/ 6899 w 10785"/>
                <a:gd name="connsiteY969" fmla="*/ 2709 h 10000"/>
                <a:gd name="connsiteX970" fmla="*/ 6857 w 10785"/>
                <a:gd name="connsiteY970" fmla="*/ 2872 h 10000"/>
                <a:gd name="connsiteX971" fmla="*/ 6857 w 10785"/>
                <a:gd name="connsiteY971" fmla="*/ 3009 h 10000"/>
                <a:gd name="connsiteX972" fmla="*/ 6848 w 10785"/>
                <a:gd name="connsiteY972" fmla="*/ 3017 h 10000"/>
                <a:gd name="connsiteX973" fmla="*/ 6839 w 10785"/>
                <a:gd name="connsiteY973" fmla="*/ 3068 h 10000"/>
                <a:gd name="connsiteX974" fmla="*/ 6829 w 10785"/>
                <a:gd name="connsiteY974" fmla="*/ 3077 h 10000"/>
                <a:gd name="connsiteX975" fmla="*/ 6829 w 10785"/>
                <a:gd name="connsiteY975" fmla="*/ 3128 h 10000"/>
                <a:gd name="connsiteX976" fmla="*/ 6816 w 10785"/>
                <a:gd name="connsiteY976" fmla="*/ 3154 h 10000"/>
                <a:gd name="connsiteX977" fmla="*/ 6811 w 10785"/>
                <a:gd name="connsiteY977" fmla="*/ 3179 h 10000"/>
                <a:gd name="connsiteX978" fmla="*/ 6797 w 10785"/>
                <a:gd name="connsiteY978" fmla="*/ 3171 h 10000"/>
                <a:gd name="connsiteX979" fmla="*/ 6783 w 10785"/>
                <a:gd name="connsiteY979" fmla="*/ 3103 h 10000"/>
                <a:gd name="connsiteX980" fmla="*/ 6779 w 10785"/>
                <a:gd name="connsiteY980" fmla="*/ 3094 h 10000"/>
                <a:gd name="connsiteX981" fmla="*/ 6779 w 10785"/>
                <a:gd name="connsiteY981" fmla="*/ 3120 h 10000"/>
                <a:gd name="connsiteX982" fmla="*/ 6770 w 10785"/>
                <a:gd name="connsiteY982" fmla="*/ 3128 h 10000"/>
                <a:gd name="connsiteX983" fmla="*/ 6765 w 10785"/>
                <a:gd name="connsiteY983" fmla="*/ 3103 h 10000"/>
                <a:gd name="connsiteX984" fmla="*/ 6756 w 10785"/>
                <a:gd name="connsiteY984" fmla="*/ 3103 h 10000"/>
                <a:gd name="connsiteX985" fmla="*/ 6742 w 10785"/>
                <a:gd name="connsiteY985" fmla="*/ 3103 h 10000"/>
                <a:gd name="connsiteX986" fmla="*/ 6737 w 10785"/>
                <a:gd name="connsiteY986" fmla="*/ 3077 h 10000"/>
                <a:gd name="connsiteX987" fmla="*/ 6737 w 10785"/>
                <a:gd name="connsiteY987" fmla="*/ 3068 h 10000"/>
                <a:gd name="connsiteX988" fmla="*/ 6728 w 10785"/>
                <a:gd name="connsiteY988" fmla="*/ 3043 h 10000"/>
                <a:gd name="connsiteX989" fmla="*/ 6724 w 10785"/>
                <a:gd name="connsiteY989" fmla="*/ 3051 h 10000"/>
                <a:gd name="connsiteX990" fmla="*/ 6714 w 10785"/>
                <a:gd name="connsiteY990" fmla="*/ 3043 h 10000"/>
                <a:gd name="connsiteX991" fmla="*/ 6710 w 10785"/>
                <a:gd name="connsiteY991" fmla="*/ 3034 h 10000"/>
                <a:gd name="connsiteX992" fmla="*/ 6705 w 10785"/>
                <a:gd name="connsiteY992" fmla="*/ 2983 h 10000"/>
                <a:gd name="connsiteX993" fmla="*/ 6696 w 10785"/>
                <a:gd name="connsiteY993" fmla="*/ 2966 h 10000"/>
                <a:gd name="connsiteX994" fmla="*/ 6691 w 10785"/>
                <a:gd name="connsiteY994" fmla="*/ 2983 h 10000"/>
                <a:gd name="connsiteX995" fmla="*/ 6677 w 10785"/>
                <a:gd name="connsiteY995" fmla="*/ 2897 h 10000"/>
                <a:gd name="connsiteX996" fmla="*/ 6677 w 10785"/>
                <a:gd name="connsiteY996" fmla="*/ 2897 h 10000"/>
                <a:gd name="connsiteX997" fmla="*/ 6677 w 10785"/>
                <a:gd name="connsiteY997" fmla="*/ 2872 h 10000"/>
                <a:gd name="connsiteX998" fmla="*/ 6668 w 10785"/>
                <a:gd name="connsiteY998" fmla="*/ 2821 h 10000"/>
                <a:gd name="connsiteX999" fmla="*/ 6664 w 10785"/>
                <a:gd name="connsiteY999" fmla="*/ 2829 h 10000"/>
                <a:gd name="connsiteX1000" fmla="*/ 6654 w 10785"/>
                <a:gd name="connsiteY1000" fmla="*/ 2846 h 10000"/>
                <a:gd name="connsiteX1001" fmla="*/ 6650 w 10785"/>
                <a:gd name="connsiteY1001" fmla="*/ 2829 h 10000"/>
                <a:gd name="connsiteX1002" fmla="*/ 6650 w 10785"/>
                <a:gd name="connsiteY1002" fmla="*/ 2803 h 10000"/>
                <a:gd name="connsiteX1003" fmla="*/ 6650 w 10785"/>
                <a:gd name="connsiteY1003" fmla="*/ 2795 h 10000"/>
                <a:gd name="connsiteX1004" fmla="*/ 6641 w 10785"/>
                <a:gd name="connsiteY1004" fmla="*/ 2786 h 10000"/>
                <a:gd name="connsiteX1005" fmla="*/ 6636 w 10785"/>
                <a:gd name="connsiteY1005" fmla="*/ 2735 h 10000"/>
                <a:gd name="connsiteX1006" fmla="*/ 6664 w 10785"/>
                <a:gd name="connsiteY1006" fmla="*/ 2667 h 10000"/>
                <a:gd name="connsiteX1007" fmla="*/ 6668 w 10785"/>
                <a:gd name="connsiteY1007" fmla="*/ 2684 h 10000"/>
                <a:gd name="connsiteX1008" fmla="*/ 6677 w 10785"/>
                <a:gd name="connsiteY1008" fmla="*/ 2667 h 10000"/>
                <a:gd name="connsiteX1009" fmla="*/ 6668 w 10785"/>
                <a:gd name="connsiteY1009" fmla="*/ 2667 h 10000"/>
                <a:gd name="connsiteX1010" fmla="*/ 6668 w 10785"/>
                <a:gd name="connsiteY1010" fmla="*/ 2650 h 10000"/>
                <a:gd name="connsiteX1011" fmla="*/ 6682 w 10785"/>
                <a:gd name="connsiteY1011" fmla="*/ 2650 h 10000"/>
                <a:gd name="connsiteX1012" fmla="*/ 6691 w 10785"/>
                <a:gd name="connsiteY1012" fmla="*/ 2624 h 10000"/>
                <a:gd name="connsiteX1013" fmla="*/ 6682 w 10785"/>
                <a:gd name="connsiteY1013" fmla="*/ 2632 h 10000"/>
                <a:gd name="connsiteX1014" fmla="*/ 6682 w 10785"/>
                <a:gd name="connsiteY1014" fmla="*/ 2624 h 10000"/>
                <a:gd name="connsiteX1015" fmla="*/ 6691 w 10785"/>
                <a:gd name="connsiteY1015" fmla="*/ 2607 h 10000"/>
                <a:gd name="connsiteX1016" fmla="*/ 6691 w 10785"/>
                <a:gd name="connsiteY1016" fmla="*/ 2598 h 10000"/>
                <a:gd name="connsiteX1017" fmla="*/ 6691 w 10785"/>
                <a:gd name="connsiteY1017" fmla="*/ 2581 h 10000"/>
                <a:gd name="connsiteX1018" fmla="*/ 6696 w 10785"/>
                <a:gd name="connsiteY1018" fmla="*/ 2530 h 10000"/>
                <a:gd name="connsiteX1019" fmla="*/ 6677 w 10785"/>
                <a:gd name="connsiteY1019" fmla="*/ 2513 h 10000"/>
                <a:gd name="connsiteX1020" fmla="*/ 6677 w 10785"/>
                <a:gd name="connsiteY1020" fmla="*/ 2496 h 10000"/>
                <a:gd name="connsiteX1021" fmla="*/ 6682 w 10785"/>
                <a:gd name="connsiteY1021" fmla="*/ 2470 h 10000"/>
                <a:gd name="connsiteX1022" fmla="*/ 6668 w 10785"/>
                <a:gd name="connsiteY1022" fmla="*/ 2462 h 10000"/>
                <a:gd name="connsiteX1023" fmla="*/ 6677 w 10785"/>
                <a:gd name="connsiteY1023" fmla="*/ 2436 h 10000"/>
                <a:gd name="connsiteX1024" fmla="*/ 6682 w 10785"/>
                <a:gd name="connsiteY1024" fmla="*/ 2419 h 10000"/>
                <a:gd name="connsiteX1025" fmla="*/ 6682 w 10785"/>
                <a:gd name="connsiteY1025" fmla="*/ 2393 h 10000"/>
                <a:gd name="connsiteX1026" fmla="*/ 6682 w 10785"/>
                <a:gd name="connsiteY1026" fmla="*/ 2385 h 10000"/>
                <a:gd name="connsiteX1027" fmla="*/ 6682 w 10785"/>
                <a:gd name="connsiteY1027" fmla="*/ 2385 h 10000"/>
                <a:gd name="connsiteX1028" fmla="*/ 6677 w 10785"/>
                <a:gd name="connsiteY1028" fmla="*/ 2376 h 10000"/>
                <a:gd name="connsiteX1029" fmla="*/ 6682 w 10785"/>
                <a:gd name="connsiteY1029" fmla="*/ 2359 h 10000"/>
                <a:gd name="connsiteX1030" fmla="*/ 6677 w 10785"/>
                <a:gd name="connsiteY1030" fmla="*/ 2333 h 10000"/>
                <a:gd name="connsiteX1031" fmla="*/ 6691 w 10785"/>
                <a:gd name="connsiteY1031" fmla="*/ 2333 h 10000"/>
                <a:gd name="connsiteX1032" fmla="*/ 6691 w 10785"/>
                <a:gd name="connsiteY1032" fmla="*/ 2325 h 10000"/>
                <a:gd name="connsiteX1033" fmla="*/ 6691 w 10785"/>
                <a:gd name="connsiteY1033" fmla="*/ 2308 h 10000"/>
                <a:gd name="connsiteX1034" fmla="*/ 6691 w 10785"/>
                <a:gd name="connsiteY1034" fmla="*/ 2299 h 10000"/>
                <a:gd name="connsiteX1035" fmla="*/ 6691 w 10785"/>
                <a:gd name="connsiteY1035" fmla="*/ 2282 h 10000"/>
                <a:gd name="connsiteX1036" fmla="*/ 6691 w 10785"/>
                <a:gd name="connsiteY1036" fmla="*/ 2274 h 10000"/>
                <a:gd name="connsiteX1037" fmla="*/ 6668 w 10785"/>
                <a:gd name="connsiteY1037" fmla="*/ 2248 h 10000"/>
                <a:gd name="connsiteX1038" fmla="*/ 6664 w 10785"/>
                <a:gd name="connsiteY1038" fmla="*/ 2222 h 10000"/>
                <a:gd name="connsiteX1039" fmla="*/ 6654 w 10785"/>
                <a:gd name="connsiteY1039" fmla="*/ 2214 h 10000"/>
                <a:gd name="connsiteX1040" fmla="*/ 6654 w 10785"/>
                <a:gd name="connsiteY1040" fmla="*/ 2188 h 10000"/>
                <a:gd name="connsiteX1041" fmla="*/ 6622 w 10785"/>
                <a:gd name="connsiteY1041" fmla="*/ 2162 h 10000"/>
                <a:gd name="connsiteX1042" fmla="*/ 6631 w 10785"/>
                <a:gd name="connsiteY1042" fmla="*/ 2145 h 10000"/>
                <a:gd name="connsiteX1043" fmla="*/ 6622 w 10785"/>
                <a:gd name="connsiteY1043" fmla="*/ 2120 h 10000"/>
                <a:gd name="connsiteX1044" fmla="*/ 6608 w 10785"/>
                <a:gd name="connsiteY1044" fmla="*/ 2120 h 10000"/>
                <a:gd name="connsiteX1045" fmla="*/ 6604 w 10785"/>
                <a:gd name="connsiteY1045" fmla="*/ 2111 h 10000"/>
                <a:gd name="connsiteX1046" fmla="*/ 6608 w 10785"/>
                <a:gd name="connsiteY1046" fmla="*/ 2111 h 10000"/>
                <a:gd name="connsiteX1047" fmla="*/ 6604 w 10785"/>
                <a:gd name="connsiteY1047" fmla="*/ 2085 h 10000"/>
                <a:gd name="connsiteX1048" fmla="*/ 6581 w 10785"/>
                <a:gd name="connsiteY1048" fmla="*/ 2077 h 10000"/>
                <a:gd name="connsiteX1049" fmla="*/ 6571 w 10785"/>
                <a:gd name="connsiteY1049" fmla="*/ 2085 h 10000"/>
                <a:gd name="connsiteX1050" fmla="*/ 6548 w 10785"/>
                <a:gd name="connsiteY1050" fmla="*/ 2077 h 10000"/>
                <a:gd name="connsiteX1051" fmla="*/ 6530 w 10785"/>
                <a:gd name="connsiteY1051" fmla="*/ 2060 h 10000"/>
                <a:gd name="connsiteX1052" fmla="*/ 6521 w 10785"/>
                <a:gd name="connsiteY1052" fmla="*/ 2060 h 10000"/>
                <a:gd name="connsiteX1053" fmla="*/ 6521 w 10785"/>
                <a:gd name="connsiteY1053" fmla="*/ 2085 h 10000"/>
                <a:gd name="connsiteX1054" fmla="*/ 6516 w 10785"/>
                <a:gd name="connsiteY1054" fmla="*/ 2085 h 10000"/>
                <a:gd name="connsiteX1055" fmla="*/ 6502 w 10785"/>
                <a:gd name="connsiteY1055" fmla="*/ 2111 h 10000"/>
                <a:gd name="connsiteX1056" fmla="*/ 6498 w 10785"/>
                <a:gd name="connsiteY1056" fmla="*/ 2111 h 10000"/>
                <a:gd name="connsiteX1057" fmla="*/ 6498 w 10785"/>
                <a:gd name="connsiteY1057" fmla="*/ 2103 h 10000"/>
                <a:gd name="connsiteX1058" fmla="*/ 6475 w 10785"/>
                <a:gd name="connsiteY1058" fmla="*/ 2051 h 10000"/>
                <a:gd name="connsiteX1059" fmla="*/ 6470 w 10785"/>
                <a:gd name="connsiteY1059" fmla="*/ 2060 h 10000"/>
                <a:gd name="connsiteX1060" fmla="*/ 6456 w 10785"/>
                <a:gd name="connsiteY1060" fmla="*/ 2051 h 10000"/>
                <a:gd name="connsiteX1061" fmla="*/ 6447 w 10785"/>
                <a:gd name="connsiteY1061" fmla="*/ 2051 h 10000"/>
                <a:gd name="connsiteX1062" fmla="*/ 6433 w 10785"/>
                <a:gd name="connsiteY1062" fmla="*/ 2026 h 10000"/>
                <a:gd name="connsiteX1063" fmla="*/ 6433 w 10785"/>
                <a:gd name="connsiteY1063" fmla="*/ 2034 h 10000"/>
                <a:gd name="connsiteX1064" fmla="*/ 6429 w 10785"/>
                <a:gd name="connsiteY1064" fmla="*/ 2026 h 10000"/>
                <a:gd name="connsiteX1065" fmla="*/ 6424 w 10785"/>
                <a:gd name="connsiteY1065" fmla="*/ 2034 h 10000"/>
                <a:gd name="connsiteX1066" fmla="*/ 6410 w 10785"/>
                <a:gd name="connsiteY1066" fmla="*/ 2026 h 10000"/>
                <a:gd name="connsiteX1067" fmla="*/ 6410 w 10785"/>
                <a:gd name="connsiteY1067" fmla="*/ 1991 h 10000"/>
                <a:gd name="connsiteX1068" fmla="*/ 6401 w 10785"/>
                <a:gd name="connsiteY1068" fmla="*/ 1991 h 10000"/>
                <a:gd name="connsiteX1069" fmla="*/ 6396 w 10785"/>
                <a:gd name="connsiteY1069" fmla="*/ 2000 h 10000"/>
                <a:gd name="connsiteX1070" fmla="*/ 6382 w 10785"/>
                <a:gd name="connsiteY1070" fmla="*/ 1966 h 10000"/>
                <a:gd name="connsiteX1071" fmla="*/ 6373 w 10785"/>
                <a:gd name="connsiteY1071" fmla="*/ 1974 h 10000"/>
                <a:gd name="connsiteX1072" fmla="*/ 6369 w 10785"/>
                <a:gd name="connsiteY1072" fmla="*/ 1966 h 10000"/>
                <a:gd name="connsiteX1073" fmla="*/ 6341 w 10785"/>
                <a:gd name="connsiteY1073" fmla="*/ 1949 h 10000"/>
                <a:gd name="connsiteX1074" fmla="*/ 6327 w 10785"/>
                <a:gd name="connsiteY1074" fmla="*/ 1923 h 10000"/>
                <a:gd name="connsiteX1075" fmla="*/ 6323 w 10785"/>
                <a:gd name="connsiteY1075" fmla="*/ 1923 h 10000"/>
                <a:gd name="connsiteX1076" fmla="*/ 6323 w 10785"/>
                <a:gd name="connsiteY1076" fmla="*/ 1966 h 10000"/>
                <a:gd name="connsiteX1077" fmla="*/ 6323 w 10785"/>
                <a:gd name="connsiteY1077" fmla="*/ 1991 h 10000"/>
                <a:gd name="connsiteX1078" fmla="*/ 6313 w 10785"/>
                <a:gd name="connsiteY1078" fmla="*/ 1991 h 10000"/>
                <a:gd name="connsiteX1079" fmla="*/ 6300 w 10785"/>
                <a:gd name="connsiteY1079" fmla="*/ 1991 h 10000"/>
                <a:gd name="connsiteX1080" fmla="*/ 6290 w 10785"/>
                <a:gd name="connsiteY1080" fmla="*/ 1949 h 10000"/>
                <a:gd name="connsiteX1081" fmla="*/ 6276 w 10785"/>
                <a:gd name="connsiteY1081" fmla="*/ 2103 h 10000"/>
                <a:gd name="connsiteX1082" fmla="*/ 6281 w 10785"/>
                <a:gd name="connsiteY1082" fmla="*/ 2103 h 10000"/>
                <a:gd name="connsiteX1083" fmla="*/ 6276 w 10785"/>
                <a:gd name="connsiteY1083" fmla="*/ 2111 h 10000"/>
                <a:gd name="connsiteX1084" fmla="*/ 6276 w 10785"/>
                <a:gd name="connsiteY1084" fmla="*/ 2120 h 10000"/>
                <a:gd name="connsiteX1085" fmla="*/ 6295 w 10785"/>
                <a:gd name="connsiteY1085" fmla="*/ 2239 h 10000"/>
                <a:gd name="connsiteX1086" fmla="*/ 6290 w 10785"/>
                <a:gd name="connsiteY1086" fmla="*/ 2248 h 10000"/>
                <a:gd name="connsiteX1087" fmla="*/ 6281 w 10785"/>
                <a:gd name="connsiteY1087" fmla="*/ 2274 h 10000"/>
                <a:gd name="connsiteX1088" fmla="*/ 6249 w 10785"/>
                <a:gd name="connsiteY1088" fmla="*/ 2274 h 10000"/>
                <a:gd name="connsiteX1089" fmla="*/ 6226 w 10785"/>
                <a:gd name="connsiteY1089" fmla="*/ 2308 h 10000"/>
                <a:gd name="connsiteX1090" fmla="*/ 6221 w 10785"/>
                <a:gd name="connsiteY1090" fmla="*/ 2299 h 10000"/>
                <a:gd name="connsiteX1091" fmla="*/ 6221 w 10785"/>
                <a:gd name="connsiteY1091" fmla="*/ 2308 h 10000"/>
                <a:gd name="connsiteX1092" fmla="*/ 6217 w 10785"/>
                <a:gd name="connsiteY1092" fmla="*/ 2299 h 10000"/>
                <a:gd name="connsiteX1093" fmla="*/ 6194 w 10785"/>
                <a:gd name="connsiteY1093" fmla="*/ 2308 h 10000"/>
                <a:gd name="connsiteX1094" fmla="*/ 6180 w 10785"/>
                <a:gd name="connsiteY1094" fmla="*/ 2299 h 10000"/>
                <a:gd name="connsiteX1095" fmla="*/ 6143 w 10785"/>
                <a:gd name="connsiteY1095" fmla="*/ 2308 h 10000"/>
                <a:gd name="connsiteX1096" fmla="*/ 6134 w 10785"/>
                <a:gd name="connsiteY1096" fmla="*/ 2325 h 10000"/>
                <a:gd name="connsiteX1097" fmla="*/ 6115 w 10785"/>
                <a:gd name="connsiteY1097" fmla="*/ 2282 h 10000"/>
                <a:gd name="connsiteX1098" fmla="*/ 6069 w 10785"/>
                <a:gd name="connsiteY1098" fmla="*/ 2274 h 10000"/>
                <a:gd name="connsiteX1099" fmla="*/ 6069 w 10785"/>
                <a:gd name="connsiteY1099" fmla="*/ 2282 h 10000"/>
                <a:gd name="connsiteX1100" fmla="*/ 6060 w 10785"/>
                <a:gd name="connsiteY1100" fmla="*/ 2299 h 10000"/>
                <a:gd name="connsiteX1101" fmla="*/ 5972 w 10785"/>
                <a:gd name="connsiteY1101" fmla="*/ 2214 h 10000"/>
                <a:gd name="connsiteX1102" fmla="*/ 5968 w 10785"/>
                <a:gd name="connsiteY1102" fmla="*/ 2197 h 10000"/>
                <a:gd name="connsiteX1103" fmla="*/ 5968 w 10785"/>
                <a:gd name="connsiteY1103" fmla="*/ 2171 h 10000"/>
                <a:gd name="connsiteX1104" fmla="*/ 5968 w 10785"/>
                <a:gd name="connsiteY1104" fmla="*/ 2162 h 10000"/>
                <a:gd name="connsiteX1105" fmla="*/ 5968 w 10785"/>
                <a:gd name="connsiteY1105" fmla="*/ 2120 h 10000"/>
                <a:gd name="connsiteX1106" fmla="*/ 5968 w 10785"/>
                <a:gd name="connsiteY1106" fmla="*/ 2111 h 10000"/>
                <a:gd name="connsiteX1107" fmla="*/ 5972 w 10785"/>
                <a:gd name="connsiteY1107" fmla="*/ 2103 h 10000"/>
                <a:gd name="connsiteX1108" fmla="*/ 5986 w 10785"/>
                <a:gd name="connsiteY1108" fmla="*/ 2103 h 10000"/>
                <a:gd name="connsiteX1109" fmla="*/ 5986 w 10785"/>
                <a:gd name="connsiteY1109" fmla="*/ 2085 h 10000"/>
                <a:gd name="connsiteX1110" fmla="*/ 5995 w 10785"/>
                <a:gd name="connsiteY1110" fmla="*/ 2085 h 10000"/>
                <a:gd name="connsiteX1111" fmla="*/ 5995 w 10785"/>
                <a:gd name="connsiteY1111" fmla="*/ 2077 h 10000"/>
                <a:gd name="connsiteX1112" fmla="*/ 5986 w 10785"/>
                <a:gd name="connsiteY1112" fmla="*/ 2060 h 10000"/>
                <a:gd name="connsiteX1113" fmla="*/ 5954 w 10785"/>
                <a:gd name="connsiteY1113" fmla="*/ 2060 h 10000"/>
                <a:gd name="connsiteX1114" fmla="*/ 5940 w 10785"/>
                <a:gd name="connsiteY1114" fmla="*/ 2051 h 10000"/>
                <a:gd name="connsiteX1115" fmla="*/ 5922 w 10785"/>
                <a:gd name="connsiteY1115" fmla="*/ 2060 h 10000"/>
                <a:gd name="connsiteX1116" fmla="*/ 5885 w 10785"/>
                <a:gd name="connsiteY1116" fmla="*/ 2051 h 10000"/>
                <a:gd name="connsiteX1117" fmla="*/ 5876 w 10785"/>
                <a:gd name="connsiteY1117" fmla="*/ 2026 h 10000"/>
                <a:gd name="connsiteX1118" fmla="*/ 5862 w 10785"/>
                <a:gd name="connsiteY1118" fmla="*/ 2026 h 10000"/>
                <a:gd name="connsiteX1119" fmla="*/ 5848 w 10785"/>
                <a:gd name="connsiteY1119" fmla="*/ 2026 h 10000"/>
                <a:gd name="connsiteX1120" fmla="*/ 5825 w 10785"/>
                <a:gd name="connsiteY1120" fmla="*/ 2026 h 10000"/>
                <a:gd name="connsiteX1121" fmla="*/ 5788 w 10785"/>
                <a:gd name="connsiteY1121" fmla="*/ 1991 h 10000"/>
                <a:gd name="connsiteX1122" fmla="*/ 5760 w 10785"/>
                <a:gd name="connsiteY1122" fmla="*/ 2000 h 10000"/>
                <a:gd name="connsiteX1123" fmla="*/ 5760 w 10785"/>
                <a:gd name="connsiteY1123" fmla="*/ 2026 h 10000"/>
                <a:gd name="connsiteX1124" fmla="*/ 5714 w 10785"/>
                <a:gd name="connsiteY1124" fmla="*/ 2051 h 10000"/>
                <a:gd name="connsiteX1125" fmla="*/ 5687 w 10785"/>
                <a:gd name="connsiteY1125" fmla="*/ 2034 h 10000"/>
                <a:gd name="connsiteX1126" fmla="*/ 5645 w 10785"/>
                <a:gd name="connsiteY1126" fmla="*/ 2077 h 10000"/>
                <a:gd name="connsiteX1127" fmla="*/ 5664 w 10785"/>
                <a:gd name="connsiteY1127" fmla="*/ 2120 h 10000"/>
                <a:gd name="connsiteX1128" fmla="*/ 5664 w 10785"/>
                <a:gd name="connsiteY1128" fmla="*/ 2162 h 10000"/>
                <a:gd name="connsiteX1129" fmla="*/ 5631 w 10785"/>
                <a:gd name="connsiteY1129" fmla="*/ 2197 h 10000"/>
                <a:gd name="connsiteX1130" fmla="*/ 5618 w 10785"/>
                <a:gd name="connsiteY1130" fmla="*/ 2188 h 10000"/>
                <a:gd name="connsiteX1131" fmla="*/ 5618 w 10785"/>
                <a:gd name="connsiteY1131" fmla="*/ 2171 h 10000"/>
                <a:gd name="connsiteX1132" fmla="*/ 5641 w 10785"/>
                <a:gd name="connsiteY1132" fmla="*/ 2171 h 10000"/>
                <a:gd name="connsiteX1133" fmla="*/ 5641 w 10785"/>
                <a:gd name="connsiteY1133" fmla="*/ 2162 h 10000"/>
                <a:gd name="connsiteX1134" fmla="*/ 5627 w 10785"/>
                <a:gd name="connsiteY1134" fmla="*/ 2145 h 10000"/>
                <a:gd name="connsiteX1135" fmla="*/ 5627 w 10785"/>
                <a:gd name="connsiteY1135" fmla="*/ 2120 h 10000"/>
                <a:gd name="connsiteX1136" fmla="*/ 5618 w 10785"/>
                <a:gd name="connsiteY1136" fmla="*/ 2111 h 10000"/>
                <a:gd name="connsiteX1137" fmla="*/ 5631 w 10785"/>
                <a:gd name="connsiteY1137" fmla="*/ 2051 h 10000"/>
                <a:gd name="connsiteX1138" fmla="*/ 5631 w 10785"/>
                <a:gd name="connsiteY1138" fmla="*/ 2026 h 10000"/>
                <a:gd name="connsiteX1139" fmla="*/ 5627 w 10785"/>
                <a:gd name="connsiteY1139" fmla="*/ 1991 h 10000"/>
                <a:gd name="connsiteX1140" fmla="*/ 5618 w 10785"/>
                <a:gd name="connsiteY1140" fmla="*/ 1974 h 10000"/>
                <a:gd name="connsiteX1141" fmla="*/ 5618 w 10785"/>
                <a:gd name="connsiteY1141" fmla="*/ 1940 h 10000"/>
                <a:gd name="connsiteX1142" fmla="*/ 5594 w 10785"/>
                <a:gd name="connsiteY1142" fmla="*/ 1855 h 10000"/>
                <a:gd name="connsiteX1143" fmla="*/ 5599 w 10785"/>
                <a:gd name="connsiteY1143" fmla="*/ 1915 h 10000"/>
                <a:gd name="connsiteX1144" fmla="*/ 5599 w 10785"/>
                <a:gd name="connsiteY1144" fmla="*/ 1949 h 10000"/>
                <a:gd name="connsiteX1145" fmla="*/ 5594 w 10785"/>
                <a:gd name="connsiteY1145" fmla="*/ 1991 h 10000"/>
                <a:gd name="connsiteX1146" fmla="*/ 5571 w 10785"/>
                <a:gd name="connsiteY1146" fmla="*/ 2000 h 10000"/>
                <a:gd name="connsiteX1147" fmla="*/ 5530 w 10785"/>
                <a:gd name="connsiteY1147" fmla="*/ 1991 h 10000"/>
                <a:gd name="connsiteX1148" fmla="*/ 5525 w 10785"/>
                <a:gd name="connsiteY1148" fmla="*/ 2000 h 10000"/>
                <a:gd name="connsiteX1149" fmla="*/ 5521 w 10785"/>
                <a:gd name="connsiteY1149" fmla="*/ 1991 h 10000"/>
                <a:gd name="connsiteX1150" fmla="*/ 5498 w 10785"/>
                <a:gd name="connsiteY1150" fmla="*/ 1949 h 10000"/>
                <a:gd name="connsiteX1151" fmla="*/ 5493 w 10785"/>
                <a:gd name="connsiteY1151" fmla="*/ 1889 h 10000"/>
                <a:gd name="connsiteX1152" fmla="*/ 5493 w 10785"/>
                <a:gd name="connsiteY1152" fmla="*/ 1863 h 10000"/>
                <a:gd name="connsiteX1153" fmla="*/ 5498 w 10785"/>
                <a:gd name="connsiteY1153" fmla="*/ 1889 h 10000"/>
                <a:gd name="connsiteX1154" fmla="*/ 5512 w 10785"/>
                <a:gd name="connsiteY1154" fmla="*/ 1855 h 10000"/>
                <a:gd name="connsiteX1155" fmla="*/ 5512 w 10785"/>
                <a:gd name="connsiteY1155" fmla="*/ 1838 h 10000"/>
                <a:gd name="connsiteX1156" fmla="*/ 5479 w 10785"/>
                <a:gd name="connsiteY1156" fmla="*/ 1855 h 10000"/>
                <a:gd name="connsiteX1157" fmla="*/ 5470 w 10785"/>
                <a:gd name="connsiteY1157" fmla="*/ 1872 h 10000"/>
                <a:gd name="connsiteX1158" fmla="*/ 5470 w 10785"/>
                <a:gd name="connsiteY1158" fmla="*/ 1889 h 10000"/>
                <a:gd name="connsiteX1159" fmla="*/ 5465 w 10785"/>
                <a:gd name="connsiteY1159" fmla="*/ 1897 h 10000"/>
                <a:gd name="connsiteX1160" fmla="*/ 5456 w 10785"/>
                <a:gd name="connsiteY1160" fmla="*/ 1872 h 10000"/>
                <a:gd name="connsiteX1161" fmla="*/ 5447 w 10785"/>
                <a:gd name="connsiteY1161" fmla="*/ 1872 h 10000"/>
                <a:gd name="connsiteX1162" fmla="*/ 5433 w 10785"/>
                <a:gd name="connsiteY1162" fmla="*/ 1855 h 10000"/>
                <a:gd name="connsiteX1163" fmla="*/ 5396 w 10785"/>
                <a:gd name="connsiteY1163" fmla="*/ 1863 h 10000"/>
                <a:gd name="connsiteX1164" fmla="*/ 5396 w 10785"/>
                <a:gd name="connsiteY1164" fmla="*/ 1897 h 10000"/>
                <a:gd name="connsiteX1165" fmla="*/ 5378 w 10785"/>
                <a:gd name="connsiteY1165" fmla="*/ 1949 h 10000"/>
                <a:gd name="connsiteX1166" fmla="*/ 5378 w 10785"/>
                <a:gd name="connsiteY1166" fmla="*/ 1966 h 10000"/>
                <a:gd name="connsiteX1167" fmla="*/ 5392 w 10785"/>
                <a:gd name="connsiteY1167" fmla="*/ 2026 h 10000"/>
                <a:gd name="connsiteX1168" fmla="*/ 5396 w 10785"/>
                <a:gd name="connsiteY1168" fmla="*/ 2026 h 10000"/>
                <a:gd name="connsiteX1169" fmla="*/ 5392 w 10785"/>
                <a:gd name="connsiteY1169" fmla="*/ 2009 h 10000"/>
                <a:gd name="connsiteX1170" fmla="*/ 5392 w 10785"/>
                <a:gd name="connsiteY1170" fmla="*/ 2000 h 10000"/>
                <a:gd name="connsiteX1171" fmla="*/ 5396 w 10785"/>
                <a:gd name="connsiteY1171" fmla="*/ 2009 h 10000"/>
                <a:gd name="connsiteX1172" fmla="*/ 5424 w 10785"/>
                <a:gd name="connsiteY1172" fmla="*/ 2009 h 10000"/>
                <a:gd name="connsiteX1173" fmla="*/ 5433 w 10785"/>
                <a:gd name="connsiteY1173" fmla="*/ 1991 h 10000"/>
                <a:gd name="connsiteX1174" fmla="*/ 5447 w 10785"/>
                <a:gd name="connsiteY1174" fmla="*/ 1974 h 10000"/>
                <a:gd name="connsiteX1175" fmla="*/ 5452 w 10785"/>
                <a:gd name="connsiteY1175" fmla="*/ 1966 h 10000"/>
                <a:gd name="connsiteX1176" fmla="*/ 5456 w 10785"/>
                <a:gd name="connsiteY1176" fmla="*/ 1966 h 10000"/>
                <a:gd name="connsiteX1177" fmla="*/ 5465 w 10785"/>
                <a:gd name="connsiteY1177" fmla="*/ 2009 h 10000"/>
                <a:gd name="connsiteX1178" fmla="*/ 5433 w 10785"/>
                <a:gd name="connsiteY1178" fmla="*/ 2034 h 10000"/>
                <a:gd name="connsiteX1179" fmla="*/ 5424 w 10785"/>
                <a:gd name="connsiteY1179" fmla="*/ 2060 h 10000"/>
                <a:gd name="connsiteX1180" fmla="*/ 5419 w 10785"/>
                <a:gd name="connsiteY1180" fmla="*/ 2060 h 10000"/>
                <a:gd name="connsiteX1181" fmla="*/ 5392 w 10785"/>
                <a:gd name="connsiteY1181" fmla="*/ 2111 h 10000"/>
                <a:gd name="connsiteX1182" fmla="*/ 5378 w 10785"/>
                <a:gd name="connsiteY1182" fmla="*/ 2111 h 10000"/>
                <a:gd name="connsiteX1183" fmla="*/ 5350 w 10785"/>
                <a:gd name="connsiteY1183" fmla="*/ 2060 h 10000"/>
                <a:gd name="connsiteX1184" fmla="*/ 5373 w 10785"/>
                <a:gd name="connsiteY1184" fmla="*/ 2111 h 10000"/>
                <a:gd name="connsiteX1185" fmla="*/ 5364 w 10785"/>
                <a:gd name="connsiteY1185" fmla="*/ 2111 h 10000"/>
                <a:gd name="connsiteX1186" fmla="*/ 5359 w 10785"/>
                <a:gd name="connsiteY1186" fmla="*/ 2103 h 10000"/>
                <a:gd name="connsiteX1187" fmla="*/ 5359 w 10785"/>
                <a:gd name="connsiteY1187" fmla="*/ 2120 h 10000"/>
                <a:gd name="connsiteX1188" fmla="*/ 5359 w 10785"/>
                <a:gd name="connsiteY1188" fmla="*/ 2137 h 10000"/>
                <a:gd name="connsiteX1189" fmla="*/ 5313 w 10785"/>
                <a:gd name="connsiteY1189" fmla="*/ 2162 h 10000"/>
                <a:gd name="connsiteX1190" fmla="*/ 5300 w 10785"/>
                <a:gd name="connsiteY1190" fmla="*/ 2162 h 10000"/>
                <a:gd name="connsiteX1191" fmla="*/ 5300 w 10785"/>
                <a:gd name="connsiteY1191" fmla="*/ 2171 h 10000"/>
                <a:gd name="connsiteX1192" fmla="*/ 5300 w 10785"/>
                <a:gd name="connsiteY1192" fmla="*/ 2197 h 10000"/>
                <a:gd name="connsiteX1193" fmla="*/ 5276 w 10785"/>
                <a:gd name="connsiteY1193" fmla="*/ 2188 h 10000"/>
                <a:gd name="connsiteX1194" fmla="*/ 5249 w 10785"/>
                <a:gd name="connsiteY1194" fmla="*/ 2222 h 10000"/>
                <a:gd name="connsiteX1195" fmla="*/ 5249 w 10785"/>
                <a:gd name="connsiteY1195" fmla="*/ 2222 h 10000"/>
                <a:gd name="connsiteX1196" fmla="*/ 5217 w 10785"/>
                <a:gd name="connsiteY1196" fmla="*/ 2214 h 10000"/>
                <a:gd name="connsiteX1197" fmla="*/ 5203 w 10785"/>
                <a:gd name="connsiteY1197" fmla="*/ 2239 h 10000"/>
                <a:gd name="connsiteX1198" fmla="*/ 5171 w 10785"/>
                <a:gd name="connsiteY1198" fmla="*/ 2214 h 10000"/>
                <a:gd name="connsiteX1199" fmla="*/ 5157 w 10785"/>
                <a:gd name="connsiteY1199" fmla="*/ 2239 h 10000"/>
                <a:gd name="connsiteX1200" fmla="*/ 5166 w 10785"/>
                <a:gd name="connsiteY1200" fmla="*/ 2256 h 10000"/>
                <a:gd name="connsiteX1201" fmla="*/ 5171 w 10785"/>
                <a:gd name="connsiteY1201" fmla="*/ 2308 h 10000"/>
                <a:gd name="connsiteX1202" fmla="*/ 5212 w 10785"/>
                <a:gd name="connsiteY1202" fmla="*/ 2350 h 10000"/>
                <a:gd name="connsiteX1203" fmla="*/ 5203 w 10785"/>
                <a:gd name="connsiteY1203" fmla="*/ 2350 h 10000"/>
                <a:gd name="connsiteX1204" fmla="*/ 5166 w 10785"/>
                <a:gd name="connsiteY1204" fmla="*/ 2325 h 10000"/>
                <a:gd name="connsiteX1205" fmla="*/ 5152 w 10785"/>
                <a:gd name="connsiteY1205" fmla="*/ 2308 h 10000"/>
                <a:gd name="connsiteX1206" fmla="*/ 5143 w 10785"/>
                <a:gd name="connsiteY1206" fmla="*/ 2333 h 10000"/>
                <a:gd name="connsiteX1207" fmla="*/ 5138 w 10785"/>
                <a:gd name="connsiteY1207" fmla="*/ 2333 h 10000"/>
                <a:gd name="connsiteX1208" fmla="*/ 5124 w 10785"/>
                <a:gd name="connsiteY1208" fmla="*/ 2376 h 10000"/>
                <a:gd name="connsiteX1209" fmla="*/ 5115 w 10785"/>
                <a:gd name="connsiteY1209" fmla="*/ 2385 h 10000"/>
                <a:gd name="connsiteX1210" fmla="*/ 5106 w 10785"/>
                <a:gd name="connsiteY1210" fmla="*/ 2385 h 10000"/>
                <a:gd name="connsiteX1211" fmla="*/ 5055 w 10785"/>
                <a:gd name="connsiteY1211" fmla="*/ 2470 h 10000"/>
                <a:gd name="connsiteX1212" fmla="*/ 5065 w 10785"/>
                <a:gd name="connsiteY1212" fmla="*/ 2462 h 10000"/>
                <a:gd name="connsiteX1213" fmla="*/ 5055 w 10785"/>
                <a:gd name="connsiteY1213" fmla="*/ 2444 h 10000"/>
                <a:gd name="connsiteX1214" fmla="*/ 5041 w 10785"/>
                <a:gd name="connsiteY1214" fmla="*/ 2462 h 10000"/>
                <a:gd name="connsiteX1215" fmla="*/ 5037 w 10785"/>
                <a:gd name="connsiteY1215" fmla="*/ 2470 h 10000"/>
                <a:gd name="connsiteX1216" fmla="*/ 5032 w 10785"/>
                <a:gd name="connsiteY1216" fmla="*/ 2470 h 10000"/>
                <a:gd name="connsiteX1217" fmla="*/ 5032 w 10785"/>
                <a:gd name="connsiteY1217" fmla="*/ 2444 h 10000"/>
                <a:gd name="connsiteX1218" fmla="*/ 5055 w 10785"/>
                <a:gd name="connsiteY1218" fmla="*/ 2410 h 10000"/>
                <a:gd name="connsiteX1219" fmla="*/ 5065 w 10785"/>
                <a:gd name="connsiteY1219" fmla="*/ 2393 h 10000"/>
                <a:gd name="connsiteX1220" fmla="*/ 5069 w 10785"/>
                <a:gd name="connsiteY1220" fmla="*/ 2385 h 10000"/>
                <a:gd name="connsiteX1221" fmla="*/ 5083 w 10785"/>
                <a:gd name="connsiteY1221" fmla="*/ 2376 h 10000"/>
                <a:gd name="connsiteX1222" fmla="*/ 5097 w 10785"/>
                <a:gd name="connsiteY1222" fmla="*/ 2376 h 10000"/>
                <a:gd name="connsiteX1223" fmla="*/ 5124 w 10785"/>
                <a:gd name="connsiteY1223" fmla="*/ 2325 h 10000"/>
                <a:gd name="connsiteX1224" fmla="*/ 5143 w 10785"/>
                <a:gd name="connsiteY1224" fmla="*/ 2248 h 10000"/>
                <a:gd name="connsiteX1225" fmla="*/ 5152 w 10785"/>
                <a:gd name="connsiteY1225" fmla="*/ 2239 h 10000"/>
                <a:gd name="connsiteX1226" fmla="*/ 5166 w 10785"/>
                <a:gd name="connsiteY1226" fmla="*/ 2162 h 10000"/>
                <a:gd name="connsiteX1227" fmla="*/ 5171 w 10785"/>
                <a:gd name="connsiteY1227" fmla="*/ 2171 h 10000"/>
                <a:gd name="connsiteX1228" fmla="*/ 5198 w 10785"/>
                <a:gd name="connsiteY1228" fmla="*/ 2145 h 10000"/>
                <a:gd name="connsiteX1229" fmla="*/ 5203 w 10785"/>
                <a:gd name="connsiteY1229" fmla="*/ 2111 h 10000"/>
                <a:gd name="connsiteX1230" fmla="*/ 5217 w 10785"/>
                <a:gd name="connsiteY1230" fmla="*/ 2060 h 10000"/>
                <a:gd name="connsiteX1231" fmla="*/ 5226 w 10785"/>
                <a:gd name="connsiteY1231" fmla="*/ 2026 h 10000"/>
                <a:gd name="connsiteX1232" fmla="*/ 5286 w 10785"/>
                <a:gd name="connsiteY1232" fmla="*/ 2026 h 10000"/>
                <a:gd name="connsiteX1233" fmla="*/ 5290 w 10785"/>
                <a:gd name="connsiteY1233" fmla="*/ 2034 h 10000"/>
                <a:gd name="connsiteX1234" fmla="*/ 5323 w 10785"/>
                <a:gd name="connsiteY1234" fmla="*/ 1923 h 10000"/>
                <a:gd name="connsiteX1235" fmla="*/ 5323 w 10785"/>
                <a:gd name="connsiteY1235" fmla="*/ 1889 h 10000"/>
                <a:gd name="connsiteX1236" fmla="*/ 5359 w 10785"/>
                <a:gd name="connsiteY1236" fmla="*/ 1829 h 10000"/>
                <a:gd name="connsiteX1237" fmla="*/ 5378 w 10785"/>
                <a:gd name="connsiteY1237" fmla="*/ 1812 h 10000"/>
                <a:gd name="connsiteX1238" fmla="*/ 5406 w 10785"/>
                <a:gd name="connsiteY1238" fmla="*/ 1752 h 10000"/>
                <a:gd name="connsiteX1239" fmla="*/ 5410 w 10785"/>
                <a:gd name="connsiteY1239" fmla="*/ 1718 h 10000"/>
                <a:gd name="connsiteX1240" fmla="*/ 5438 w 10785"/>
                <a:gd name="connsiteY1240" fmla="*/ 1667 h 10000"/>
                <a:gd name="connsiteX1241" fmla="*/ 5438 w 10785"/>
                <a:gd name="connsiteY1241" fmla="*/ 1650 h 10000"/>
                <a:gd name="connsiteX1242" fmla="*/ 5438 w 10785"/>
                <a:gd name="connsiteY1242" fmla="*/ 1641 h 10000"/>
                <a:gd name="connsiteX1243" fmla="*/ 5452 w 10785"/>
                <a:gd name="connsiteY1243" fmla="*/ 1641 h 10000"/>
                <a:gd name="connsiteX1244" fmla="*/ 5456 w 10785"/>
                <a:gd name="connsiteY1244" fmla="*/ 1615 h 10000"/>
                <a:gd name="connsiteX1245" fmla="*/ 5456 w 10785"/>
                <a:gd name="connsiteY1245" fmla="*/ 1615 h 10000"/>
                <a:gd name="connsiteX1246" fmla="*/ 5465 w 10785"/>
                <a:gd name="connsiteY1246" fmla="*/ 1598 h 10000"/>
                <a:gd name="connsiteX1247" fmla="*/ 5465 w 10785"/>
                <a:gd name="connsiteY1247" fmla="*/ 1615 h 10000"/>
                <a:gd name="connsiteX1248" fmla="*/ 5479 w 10785"/>
                <a:gd name="connsiteY1248" fmla="*/ 1598 h 10000"/>
                <a:gd name="connsiteX1249" fmla="*/ 5484 w 10785"/>
                <a:gd name="connsiteY1249" fmla="*/ 1581 h 10000"/>
                <a:gd name="connsiteX1250" fmla="*/ 5493 w 10785"/>
                <a:gd name="connsiteY1250" fmla="*/ 1581 h 10000"/>
                <a:gd name="connsiteX1251" fmla="*/ 5512 w 10785"/>
                <a:gd name="connsiteY1251" fmla="*/ 1538 h 10000"/>
                <a:gd name="connsiteX1252" fmla="*/ 5530 w 10785"/>
                <a:gd name="connsiteY1252" fmla="*/ 1564 h 10000"/>
                <a:gd name="connsiteX1253" fmla="*/ 5530 w 10785"/>
                <a:gd name="connsiteY1253" fmla="*/ 1538 h 10000"/>
                <a:gd name="connsiteX1254" fmla="*/ 5539 w 10785"/>
                <a:gd name="connsiteY1254" fmla="*/ 1530 h 10000"/>
                <a:gd name="connsiteX1255" fmla="*/ 5530 w 10785"/>
                <a:gd name="connsiteY1255" fmla="*/ 1504 h 10000"/>
                <a:gd name="connsiteX1256" fmla="*/ 5567 w 10785"/>
                <a:gd name="connsiteY1256" fmla="*/ 1479 h 10000"/>
                <a:gd name="connsiteX1257" fmla="*/ 5553 w 10785"/>
                <a:gd name="connsiteY1257" fmla="*/ 1479 h 10000"/>
                <a:gd name="connsiteX1258" fmla="*/ 5553 w 10785"/>
                <a:gd name="connsiteY1258" fmla="*/ 1453 h 10000"/>
                <a:gd name="connsiteX1259" fmla="*/ 5581 w 10785"/>
                <a:gd name="connsiteY1259" fmla="*/ 1444 h 10000"/>
                <a:gd name="connsiteX1260" fmla="*/ 5581 w 10785"/>
                <a:gd name="connsiteY1260" fmla="*/ 1453 h 10000"/>
                <a:gd name="connsiteX1261" fmla="*/ 5585 w 10785"/>
                <a:gd name="connsiteY1261" fmla="*/ 1444 h 10000"/>
                <a:gd name="connsiteX1262" fmla="*/ 5594 w 10785"/>
                <a:gd name="connsiteY1262" fmla="*/ 1427 h 10000"/>
                <a:gd name="connsiteX1263" fmla="*/ 5599 w 10785"/>
                <a:gd name="connsiteY1263" fmla="*/ 1419 h 10000"/>
                <a:gd name="connsiteX1264" fmla="*/ 5594 w 10785"/>
                <a:gd name="connsiteY1264" fmla="*/ 1402 h 10000"/>
                <a:gd name="connsiteX1265" fmla="*/ 5604 w 10785"/>
                <a:gd name="connsiteY1265" fmla="*/ 1393 h 10000"/>
                <a:gd name="connsiteX1266" fmla="*/ 5618 w 10785"/>
                <a:gd name="connsiteY1266" fmla="*/ 1393 h 10000"/>
                <a:gd name="connsiteX1267" fmla="*/ 5627 w 10785"/>
                <a:gd name="connsiteY1267" fmla="*/ 1368 h 10000"/>
                <a:gd name="connsiteX1268" fmla="*/ 5627 w 10785"/>
                <a:gd name="connsiteY1268" fmla="*/ 1325 h 10000"/>
                <a:gd name="connsiteX1269" fmla="*/ 5645 w 10785"/>
                <a:gd name="connsiteY1269" fmla="*/ 1291 h 10000"/>
                <a:gd name="connsiteX1270" fmla="*/ 5645 w 10785"/>
                <a:gd name="connsiteY1270" fmla="*/ 1282 h 10000"/>
                <a:gd name="connsiteX1271" fmla="*/ 5654 w 10785"/>
                <a:gd name="connsiteY1271" fmla="*/ 1265 h 10000"/>
                <a:gd name="connsiteX1272" fmla="*/ 5654 w 10785"/>
                <a:gd name="connsiteY1272" fmla="*/ 1214 h 10000"/>
                <a:gd name="connsiteX1273" fmla="*/ 5654 w 10785"/>
                <a:gd name="connsiteY1273" fmla="*/ 1214 h 10000"/>
                <a:gd name="connsiteX1274" fmla="*/ 5645 w 10785"/>
                <a:gd name="connsiteY1274" fmla="*/ 1197 h 10000"/>
                <a:gd name="connsiteX1275" fmla="*/ 5659 w 10785"/>
                <a:gd name="connsiteY1275" fmla="*/ 1197 h 10000"/>
                <a:gd name="connsiteX1276" fmla="*/ 5654 w 10785"/>
                <a:gd name="connsiteY1276" fmla="*/ 1154 h 10000"/>
                <a:gd name="connsiteX1277" fmla="*/ 5641 w 10785"/>
                <a:gd name="connsiteY1277" fmla="*/ 1154 h 10000"/>
                <a:gd name="connsiteX1278" fmla="*/ 5627 w 10785"/>
                <a:gd name="connsiteY1278" fmla="*/ 1128 h 10000"/>
                <a:gd name="connsiteX1279" fmla="*/ 5618 w 10785"/>
                <a:gd name="connsiteY1279" fmla="*/ 1094 h 10000"/>
                <a:gd name="connsiteX1280" fmla="*/ 5613 w 10785"/>
                <a:gd name="connsiteY1280" fmla="*/ 1094 h 10000"/>
                <a:gd name="connsiteX1281" fmla="*/ 5604 w 10785"/>
                <a:gd name="connsiteY1281" fmla="*/ 1120 h 10000"/>
                <a:gd name="connsiteX1282" fmla="*/ 5604 w 10785"/>
                <a:gd name="connsiteY1282" fmla="*/ 1128 h 10000"/>
                <a:gd name="connsiteX1283" fmla="*/ 5599 w 10785"/>
                <a:gd name="connsiteY1283" fmla="*/ 1103 h 10000"/>
                <a:gd name="connsiteX1284" fmla="*/ 5599 w 10785"/>
                <a:gd name="connsiteY1284" fmla="*/ 1103 h 10000"/>
                <a:gd name="connsiteX1285" fmla="*/ 5594 w 10785"/>
                <a:gd name="connsiteY1285" fmla="*/ 1068 h 10000"/>
                <a:gd name="connsiteX1286" fmla="*/ 5594 w 10785"/>
                <a:gd name="connsiteY1286" fmla="*/ 1060 h 10000"/>
                <a:gd name="connsiteX1287" fmla="*/ 5581 w 10785"/>
                <a:gd name="connsiteY1287" fmla="*/ 1034 h 10000"/>
                <a:gd name="connsiteX1288" fmla="*/ 5571 w 10785"/>
                <a:gd name="connsiteY1288" fmla="*/ 1009 h 10000"/>
                <a:gd name="connsiteX1289" fmla="*/ 5571 w 10785"/>
                <a:gd name="connsiteY1289" fmla="*/ 991 h 10000"/>
                <a:gd name="connsiteX1290" fmla="*/ 5585 w 10785"/>
                <a:gd name="connsiteY1290" fmla="*/ 1009 h 10000"/>
                <a:gd name="connsiteX1291" fmla="*/ 5604 w 10785"/>
                <a:gd name="connsiteY1291" fmla="*/ 1043 h 10000"/>
                <a:gd name="connsiteX1292" fmla="*/ 5641 w 10785"/>
                <a:gd name="connsiteY1292" fmla="*/ 1094 h 10000"/>
                <a:gd name="connsiteX1293" fmla="*/ 5631 w 10785"/>
                <a:gd name="connsiteY1293" fmla="*/ 1128 h 10000"/>
                <a:gd name="connsiteX1294" fmla="*/ 5641 w 10785"/>
                <a:gd name="connsiteY1294" fmla="*/ 1128 h 10000"/>
                <a:gd name="connsiteX1295" fmla="*/ 5659 w 10785"/>
                <a:gd name="connsiteY1295" fmla="*/ 1017 h 10000"/>
                <a:gd name="connsiteX1296" fmla="*/ 5659 w 10785"/>
                <a:gd name="connsiteY1296" fmla="*/ 983 h 10000"/>
                <a:gd name="connsiteX1297" fmla="*/ 5659 w 10785"/>
                <a:gd name="connsiteY1297" fmla="*/ 957 h 10000"/>
                <a:gd name="connsiteX1298" fmla="*/ 5654 w 10785"/>
                <a:gd name="connsiteY1298" fmla="*/ 966 h 10000"/>
                <a:gd name="connsiteX1299" fmla="*/ 5641 w 10785"/>
                <a:gd name="connsiteY1299" fmla="*/ 957 h 10000"/>
                <a:gd name="connsiteX1300" fmla="*/ 5631 w 10785"/>
                <a:gd name="connsiteY1300" fmla="*/ 897 h 10000"/>
                <a:gd name="connsiteX1301" fmla="*/ 5641 w 10785"/>
                <a:gd name="connsiteY1301" fmla="*/ 872 h 10000"/>
                <a:gd name="connsiteX1302" fmla="*/ 5618 w 10785"/>
                <a:gd name="connsiteY1302" fmla="*/ 803 h 10000"/>
                <a:gd name="connsiteX1303" fmla="*/ 5604 w 10785"/>
                <a:gd name="connsiteY1303" fmla="*/ 821 h 10000"/>
                <a:gd name="connsiteX1304" fmla="*/ 5613 w 10785"/>
                <a:gd name="connsiteY1304" fmla="*/ 846 h 10000"/>
                <a:gd name="connsiteX1305" fmla="*/ 5604 w 10785"/>
                <a:gd name="connsiteY1305" fmla="*/ 855 h 10000"/>
                <a:gd name="connsiteX1306" fmla="*/ 5599 w 10785"/>
                <a:gd name="connsiteY1306" fmla="*/ 880 h 10000"/>
                <a:gd name="connsiteX1307" fmla="*/ 5594 w 10785"/>
                <a:gd name="connsiteY1307" fmla="*/ 880 h 10000"/>
                <a:gd name="connsiteX1308" fmla="*/ 5585 w 10785"/>
                <a:gd name="connsiteY1308" fmla="*/ 829 h 10000"/>
                <a:gd name="connsiteX1309" fmla="*/ 5571 w 10785"/>
                <a:gd name="connsiteY1309" fmla="*/ 803 h 10000"/>
                <a:gd name="connsiteX1310" fmla="*/ 5585 w 10785"/>
                <a:gd name="connsiteY1310" fmla="*/ 795 h 10000"/>
                <a:gd name="connsiteX1311" fmla="*/ 5585 w 10785"/>
                <a:gd name="connsiteY1311" fmla="*/ 761 h 10000"/>
                <a:gd name="connsiteX1312" fmla="*/ 5558 w 10785"/>
                <a:gd name="connsiteY1312" fmla="*/ 709 h 10000"/>
                <a:gd name="connsiteX1313" fmla="*/ 5544 w 10785"/>
                <a:gd name="connsiteY1313" fmla="*/ 709 h 10000"/>
                <a:gd name="connsiteX1314" fmla="*/ 5544 w 10785"/>
                <a:gd name="connsiteY1314" fmla="*/ 684 h 10000"/>
                <a:gd name="connsiteX1315" fmla="*/ 5525 w 10785"/>
                <a:gd name="connsiteY1315" fmla="*/ 632 h 10000"/>
                <a:gd name="connsiteX1316" fmla="*/ 5507 w 10785"/>
                <a:gd name="connsiteY1316" fmla="*/ 607 h 10000"/>
                <a:gd name="connsiteX1317" fmla="*/ 5512 w 10785"/>
                <a:gd name="connsiteY1317" fmla="*/ 598 h 10000"/>
                <a:gd name="connsiteX1318" fmla="*/ 5507 w 10785"/>
                <a:gd name="connsiteY1318" fmla="*/ 581 h 10000"/>
                <a:gd name="connsiteX1319" fmla="*/ 5493 w 10785"/>
                <a:gd name="connsiteY1319" fmla="*/ 573 h 10000"/>
                <a:gd name="connsiteX1320" fmla="*/ 5484 w 10785"/>
                <a:gd name="connsiteY1320" fmla="*/ 581 h 10000"/>
                <a:gd name="connsiteX1321" fmla="*/ 5484 w 10785"/>
                <a:gd name="connsiteY1321" fmla="*/ 573 h 10000"/>
                <a:gd name="connsiteX1322" fmla="*/ 5484 w 10785"/>
                <a:gd name="connsiteY1322" fmla="*/ 547 h 10000"/>
                <a:gd name="connsiteX1323" fmla="*/ 5465 w 10785"/>
                <a:gd name="connsiteY1323" fmla="*/ 556 h 10000"/>
                <a:gd name="connsiteX1324" fmla="*/ 5433 w 10785"/>
                <a:gd name="connsiteY1324" fmla="*/ 547 h 10000"/>
                <a:gd name="connsiteX1325" fmla="*/ 5410 w 10785"/>
                <a:gd name="connsiteY1325" fmla="*/ 573 h 10000"/>
                <a:gd name="connsiteX1326" fmla="*/ 5406 w 10785"/>
                <a:gd name="connsiteY1326" fmla="*/ 573 h 10000"/>
                <a:gd name="connsiteX1327" fmla="*/ 5392 w 10785"/>
                <a:gd name="connsiteY1327" fmla="*/ 573 h 10000"/>
                <a:gd name="connsiteX1328" fmla="*/ 5364 w 10785"/>
                <a:gd name="connsiteY1328" fmla="*/ 530 h 10000"/>
                <a:gd name="connsiteX1329" fmla="*/ 5350 w 10785"/>
                <a:gd name="connsiteY1329" fmla="*/ 556 h 10000"/>
                <a:gd name="connsiteX1330" fmla="*/ 5346 w 10785"/>
                <a:gd name="connsiteY1330" fmla="*/ 556 h 10000"/>
                <a:gd name="connsiteX1331" fmla="*/ 5313 w 10785"/>
                <a:gd name="connsiteY1331" fmla="*/ 573 h 10000"/>
                <a:gd name="connsiteX1332" fmla="*/ 5304 w 10785"/>
                <a:gd name="connsiteY1332" fmla="*/ 556 h 10000"/>
                <a:gd name="connsiteX1333" fmla="*/ 5290 w 10785"/>
                <a:gd name="connsiteY1333" fmla="*/ 573 h 10000"/>
                <a:gd name="connsiteX1334" fmla="*/ 5290 w 10785"/>
                <a:gd name="connsiteY1334" fmla="*/ 556 h 10000"/>
                <a:gd name="connsiteX1335" fmla="*/ 5300 w 10785"/>
                <a:gd name="connsiteY1335" fmla="*/ 547 h 10000"/>
                <a:gd name="connsiteX1336" fmla="*/ 5300 w 10785"/>
                <a:gd name="connsiteY1336" fmla="*/ 530 h 10000"/>
                <a:gd name="connsiteX1337" fmla="*/ 5290 w 10785"/>
                <a:gd name="connsiteY1337" fmla="*/ 530 h 10000"/>
                <a:gd name="connsiteX1338" fmla="*/ 5286 w 10785"/>
                <a:gd name="connsiteY1338" fmla="*/ 547 h 10000"/>
                <a:gd name="connsiteX1339" fmla="*/ 5272 w 10785"/>
                <a:gd name="connsiteY1339" fmla="*/ 556 h 10000"/>
                <a:gd name="connsiteX1340" fmla="*/ 5272 w 10785"/>
                <a:gd name="connsiteY1340" fmla="*/ 598 h 10000"/>
                <a:gd name="connsiteX1341" fmla="*/ 5276 w 10785"/>
                <a:gd name="connsiteY1341" fmla="*/ 581 h 10000"/>
                <a:gd name="connsiteX1342" fmla="*/ 5272 w 10785"/>
                <a:gd name="connsiteY1342" fmla="*/ 607 h 10000"/>
                <a:gd name="connsiteX1343" fmla="*/ 5263 w 10785"/>
                <a:gd name="connsiteY1343" fmla="*/ 607 h 10000"/>
                <a:gd name="connsiteX1344" fmla="*/ 5263 w 10785"/>
                <a:gd name="connsiteY1344" fmla="*/ 632 h 10000"/>
                <a:gd name="connsiteX1345" fmla="*/ 5258 w 10785"/>
                <a:gd name="connsiteY1345" fmla="*/ 658 h 10000"/>
                <a:gd name="connsiteX1346" fmla="*/ 5244 w 10785"/>
                <a:gd name="connsiteY1346" fmla="*/ 667 h 10000"/>
                <a:gd name="connsiteX1347" fmla="*/ 5240 w 10785"/>
                <a:gd name="connsiteY1347" fmla="*/ 658 h 10000"/>
                <a:gd name="connsiteX1348" fmla="*/ 5240 w 10785"/>
                <a:gd name="connsiteY1348" fmla="*/ 684 h 10000"/>
                <a:gd name="connsiteX1349" fmla="*/ 5212 w 10785"/>
                <a:gd name="connsiteY1349" fmla="*/ 684 h 10000"/>
                <a:gd name="connsiteX1350" fmla="*/ 5198 w 10785"/>
                <a:gd name="connsiteY1350" fmla="*/ 692 h 10000"/>
                <a:gd name="connsiteX1351" fmla="*/ 5184 w 10785"/>
                <a:gd name="connsiteY1351" fmla="*/ 684 h 10000"/>
                <a:gd name="connsiteX1352" fmla="*/ 5157 w 10785"/>
                <a:gd name="connsiteY1352" fmla="*/ 684 h 10000"/>
                <a:gd name="connsiteX1353" fmla="*/ 5157 w 10785"/>
                <a:gd name="connsiteY1353" fmla="*/ 667 h 10000"/>
                <a:gd name="connsiteX1354" fmla="*/ 5157 w 10785"/>
                <a:gd name="connsiteY1354" fmla="*/ 667 h 10000"/>
                <a:gd name="connsiteX1355" fmla="*/ 5180 w 10785"/>
                <a:gd name="connsiteY1355" fmla="*/ 650 h 10000"/>
                <a:gd name="connsiteX1356" fmla="*/ 5184 w 10785"/>
                <a:gd name="connsiteY1356" fmla="*/ 658 h 10000"/>
                <a:gd name="connsiteX1357" fmla="*/ 5203 w 10785"/>
                <a:gd name="connsiteY1357" fmla="*/ 547 h 10000"/>
                <a:gd name="connsiteX1358" fmla="*/ 5226 w 10785"/>
                <a:gd name="connsiteY1358" fmla="*/ 530 h 10000"/>
                <a:gd name="connsiteX1359" fmla="*/ 5230 w 10785"/>
                <a:gd name="connsiteY1359" fmla="*/ 487 h 10000"/>
                <a:gd name="connsiteX1360" fmla="*/ 5230 w 10785"/>
                <a:gd name="connsiteY1360" fmla="*/ 487 h 10000"/>
                <a:gd name="connsiteX1361" fmla="*/ 5226 w 10785"/>
                <a:gd name="connsiteY1361" fmla="*/ 462 h 10000"/>
                <a:gd name="connsiteX1362" fmla="*/ 5226 w 10785"/>
                <a:gd name="connsiteY1362" fmla="*/ 462 h 10000"/>
                <a:gd name="connsiteX1363" fmla="*/ 5240 w 10785"/>
                <a:gd name="connsiteY1363" fmla="*/ 462 h 10000"/>
                <a:gd name="connsiteX1364" fmla="*/ 5240 w 10785"/>
                <a:gd name="connsiteY1364" fmla="*/ 444 h 10000"/>
                <a:gd name="connsiteX1365" fmla="*/ 5230 w 10785"/>
                <a:gd name="connsiteY1365" fmla="*/ 436 h 10000"/>
                <a:gd name="connsiteX1366" fmla="*/ 5230 w 10785"/>
                <a:gd name="connsiteY1366" fmla="*/ 419 h 10000"/>
                <a:gd name="connsiteX1367" fmla="*/ 5230 w 10785"/>
                <a:gd name="connsiteY1367" fmla="*/ 410 h 10000"/>
                <a:gd name="connsiteX1368" fmla="*/ 5198 w 10785"/>
                <a:gd name="connsiteY1368" fmla="*/ 402 h 10000"/>
                <a:gd name="connsiteX1369" fmla="*/ 5189 w 10785"/>
                <a:gd name="connsiteY1369" fmla="*/ 402 h 10000"/>
                <a:gd name="connsiteX1370" fmla="*/ 5184 w 10785"/>
                <a:gd name="connsiteY1370" fmla="*/ 376 h 10000"/>
                <a:gd name="connsiteX1371" fmla="*/ 5180 w 10785"/>
                <a:gd name="connsiteY1371" fmla="*/ 376 h 10000"/>
                <a:gd name="connsiteX1372" fmla="*/ 5166 w 10785"/>
                <a:gd name="connsiteY1372" fmla="*/ 376 h 10000"/>
                <a:gd name="connsiteX1373" fmla="*/ 5157 w 10785"/>
                <a:gd name="connsiteY1373" fmla="*/ 385 h 10000"/>
                <a:gd name="connsiteX1374" fmla="*/ 5152 w 10785"/>
                <a:gd name="connsiteY1374" fmla="*/ 376 h 10000"/>
                <a:gd name="connsiteX1375" fmla="*/ 5129 w 10785"/>
                <a:gd name="connsiteY1375" fmla="*/ 385 h 10000"/>
                <a:gd name="connsiteX1376" fmla="*/ 5129 w 10785"/>
                <a:gd name="connsiteY1376" fmla="*/ 350 h 10000"/>
                <a:gd name="connsiteX1377" fmla="*/ 5129 w 10785"/>
                <a:gd name="connsiteY1377" fmla="*/ 325 h 10000"/>
                <a:gd name="connsiteX1378" fmla="*/ 5124 w 10785"/>
                <a:gd name="connsiteY1378" fmla="*/ 359 h 10000"/>
                <a:gd name="connsiteX1379" fmla="*/ 5106 w 10785"/>
                <a:gd name="connsiteY1379" fmla="*/ 359 h 10000"/>
                <a:gd name="connsiteX1380" fmla="*/ 5037 w 10785"/>
                <a:gd name="connsiteY1380" fmla="*/ 419 h 10000"/>
                <a:gd name="connsiteX1381" fmla="*/ 5051 w 10785"/>
                <a:gd name="connsiteY1381" fmla="*/ 385 h 10000"/>
                <a:gd name="connsiteX1382" fmla="*/ 5055 w 10785"/>
                <a:gd name="connsiteY1382" fmla="*/ 376 h 10000"/>
                <a:gd name="connsiteX1383" fmla="*/ 5092 w 10785"/>
                <a:gd name="connsiteY1383" fmla="*/ 282 h 10000"/>
                <a:gd name="connsiteX1384" fmla="*/ 5106 w 10785"/>
                <a:gd name="connsiteY1384" fmla="*/ 265 h 10000"/>
                <a:gd name="connsiteX1385" fmla="*/ 5115 w 10785"/>
                <a:gd name="connsiteY1385" fmla="*/ 265 h 10000"/>
                <a:gd name="connsiteX1386" fmla="*/ 5124 w 10785"/>
                <a:gd name="connsiteY1386" fmla="*/ 222 h 10000"/>
                <a:gd name="connsiteX1387" fmla="*/ 5124 w 10785"/>
                <a:gd name="connsiteY1387" fmla="*/ 214 h 10000"/>
                <a:gd name="connsiteX1388" fmla="*/ 5143 w 10785"/>
                <a:gd name="connsiteY1388" fmla="*/ 197 h 10000"/>
                <a:gd name="connsiteX1389" fmla="*/ 5152 w 10785"/>
                <a:gd name="connsiteY1389" fmla="*/ 214 h 10000"/>
                <a:gd name="connsiteX1390" fmla="*/ 5143 w 10785"/>
                <a:gd name="connsiteY1390" fmla="*/ 188 h 10000"/>
                <a:gd name="connsiteX1391" fmla="*/ 5129 w 10785"/>
                <a:gd name="connsiteY1391" fmla="*/ 103 h 10000"/>
                <a:gd name="connsiteX1392" fmla="*/ 5115 w 10785"/>
                <a:gd name="connsiteY1392" fmla="*/ 85 h 10000"/>
                <a:gd name="connsiteX1393" fmla="*/ 5111 w 10785"/>
                <a:gd name="connsiteY1393" fmla="*/ 111 h 10000"/>
                <a:gd name="connsiteX1394" fmla="*/ 5092 w 10785"/>
                <a:gd name="connsiteY1394" fmla="*/ 103 h 10000"/>
                <a:gd name="connsiteX1395" fmla="*/ 5069 w 10785"/>
                <a:gd name="connsiteY1395" fmla="*/ 77 h 10000"/>
                <a:gd name="connsiteX1396" fmla="*/ 5051 w 10785"/>
                <a:gd name="connsiteY1396" fmla="*/ 26 h 10000"/>
                <a:gd name="connsiteX1397" fmla="*/ 5041 w 10785"/>
                <a:gd name="connsiteY1397" fmla="*/ 34 h 10000"/>
                <a:gd name="connsiteX1398" fmla="*/ 5037 w 10785"/>
                <a:gd name="connsiteY1398" fmla="*/ 34 h 10000"/>
                <a:gd name="connsiteX1399" fmla="*/ 5037 w 10785"/>
                <a:gd name="connsiteY1399" fmla="*/ 26 h 10000"/>
                <a:gd name="connsiteX1400" fmla="*/ 5037 w 10785"/>
                <a:gd name="connsiteY1400" fmla="*/ 9 h 10000"/>
                <a:gd name="connsiteX1401" fmla="*/ 5023 w 10785"/>
                <a:gd name="connsiteY1401" fmla="*/ 0 h 10000"/>
                <a:gd name="connsiteX1402" fmla="*/ 5009 w 10785"/>
                <a:gd name="connsiteY1402" fmla="*/ 9 h 10000"/>
                <a:gd name="connsiteX1403" fmla="*/ 4995 w 10785"/>
                <a:gd name="connsiteY1403" fmla="*/ 34 h 10000"/>
                <a:gd name="connsiteX1404" fmla="*/ 4991 w 10785"/>
                <a:gd name="connsiteY1404" fmla="*/ 60 h 10000"/>
                <a:gd name="connsiteX1405" fmla="*/ 4982 w 10785"/>
                <a:gd name="connsiteY1405" fmla="*/ 60 h 10000"/>
                <a:gd name="connsiteX1406" fmla="*/ 4949 w 10785"/>
                <a:gd name="connsiteY1406" fmla="*/ 51 h 10000"/>
                <a:gd name="connsiteX1407" fmla="*/ 4949 w 10785"/>
                <a:gd name="connsiteY1407" fmla="*/ 85 h 10000"/>
                <a:gd name="connsiteX1408" fmla="*/ 4903 w 10785"/>
                <a:gd name="connsiteY1408" fmla="*/ 197 h 10000"/>
                <a:gd name="connsiteX1409" fmla="*/ 4899 w 10785"/>
                <a:gd name="connsiteY1409" fmla="*/ 239 h 10000"/>
                <a:gd name="connsiteX1410" fmla="*/ 4871 w 10785"/>
                <a:gd name="connsiteY1410" fmla="*/ 274 h 10000"/>
                <a:gd name="connsiteX1411" fmla="*/ 4871 w 10785"/>
                <a:gd name="connsiteY1411" fmla="*/ 282 h 10000"/>
                <a:gd name="connsiteX1412" fmla="*/ 4834 w 10785"/>
                <a:gd name="connsiteY1412" fmla="*/ 376 h 10000"/>
                <a:gd name="connsiteX1413" fmla="*/ 4829 w 10785"/>
                <a:gd name="connsiteY1413" fmla="*/ 402 h 10000"/>
                <a:gd name="connsiteX1414" fmla="*/ 4834 w 10785"/>
                <a:gd name="connsiteY1414" fmla="*/ 410 h 10000"/>
                <a:gd name="connsiteX1415" fmla="*/ 4829 w 10785"/>
                <a:gd name="connsiteY1415" fmla="*/ 436 h 10000"/>
                <a:gd name="connsiteX1416" fmla="*/ 4825 w 10785"/>
                <a:gd name="connsiteY1416" fmla="*/ 436 h 10000"/>
                <a:gd name="connsiteX1417" fmla="*/ 4825 w 10785"/>
                <a:gd name="connsiteY1417" fmla="*/ 444 h 10000"/>
                <a:gd name="connsiteX1418" fmla="*/ 4811 w 10785"/>
                <a:gd name="connsiteY1418" fmla="*/ 496 h 10000"/>
                <a:gd name="connsiteX1419" fmla="*/ 4811 w 10785"/>
                <a:gd name="connsiteY1419" fmla="*/ 496 h 10000"/>
                <a:gd name="connsiteX1420" fmla="*/ 4811 w 10785"/>
                <a:gd name="connsiteY1420" fmla="*/ 521 h 10000"/>
                <a:gd name="connsiteX1421" fmla="*/ 4816 w 10785"/>
                <a:gd name="connsiteY1421" fmla="*/ 530 h 10000"/>
                <a:gd name="connsiteX1422" fmla="*/ 4834 w 10785"/>
                <a:gd name="connsiteY1422" fmla="*/ 547 h 10000"/>
                <a:gd name="connsiteX1423" fmla="*/ 4834 w 10785"/>
                <a:gd name="connsiteY1423" fmla="*/ 581 h 10000"/>
                <a:gd name="connsiteX1424" fmla="*/ 4843 w 10785"/>
                <a:gd name="connsiteY1424" fmla="*/ 581 h 10000"/>
                <a:gd name="connsiteX1425" fmla="*/ 4843 w 10785"/>
                <a:gd name="connsiteY1425" fmla="*/ 598 h 10000"/>
                <a:gd name="connsiteX1426" fmla="*/ 4829 w 10785"/>
                <a:gd name="connsiteY1426" fmla="*/ 598 h 10000"/>
                <a:gd name="connsiteX1427" fmla="*/ 4829 w 10785"/>
                <a:gd name="connsiteY1427" fmla="*/ 573 h 10000"/>
                <a:gd name="connsiteX1428" fmla="*/ 4829 w 10785"/>
                <a:gd name="connsiteY1428" fmla="*/ 632 h 10000"/>
                <a:gd name="connsiteX1429" fmla="*/ 4829 w 10785"/>
                <a:gd name="connsiteY1429" fmla="*/ 632 h 10000"/>
                <a:gd name="connsiteX1430" fmla="*/ 4829 w 10785"/>
                <a:gd name="connsiteY1430" fmla="*/ 650 h 10000"/>
                <a:gd name="connsiteX1431" fmla="*/ 4774 w 10785"/>
                <a:gd name="connsiteY1431" fmla="*/ 684 h 10000"/>
                <a:gd name="connsiteX1432" fmla="*/ 4756 w 10785"/>
                <a:gd name="connsiteY1432" fmla="*/ 684 h 10000"/>
                <a:gd name="connsiteX1433" fmla="*/ 4737 w 10785"/>
                <a:gd name="connsiteY1433" fmla="*/ 692 h 10000"/>
                <a:gd name="connsiteX1434" fmla="*/ 4677 w 10785"/>
                <a:gd name="connsiteY1434" fmla="*/ 667 h 10000"/>
                <a:gd name="connsiteX1435" fmla="*/ 4682 w 10785"/>
                <a:gd name="connsiteY1435" fmla="*/ 692 h 10000"/>
                <a:gd name="connsiteX1436" fmla="*/ 4682 w 10785"/>
                <a:gd name="connsiteY1436" fmla="*/ 709 h 10000"/>
                <a:gd name="connsiteX1437" fmla="*/ 4691 w 10785"/>
                <a:gd name="connsiteY1437" fmla="*/ 718 h 10000"/>
                <a:gd name="connsiteX1438" fmla="*/ 4691 w 10785"/>
                <a:gd name="connsiteY1438" fmla="*/ 744 h 10000"/>
                <a:gd name="connsiteX1439" fmla="*/ 4700 w 10785"/>
                <a:gd name="connsiteY1439" fmla="*/ 744 h 10000"/>
                <a:gd name="connsiteX1440" fmla="*/ 4714 w 10785"/>
                <a:gd name="connsiteY1440" fmla="*/ 769 h 10000"/>
                <a:gd name="connsiteX1441" fmla="*/ 4710 w 10785"/>
                <a:gd name="connsiteY1441" fmla="*/ 786 h 10000"/>
                <a:gd name="connsiteX1442" fmla="*/ 4737 w 10785"/>
                <a:gd name="connsiteY1442" fmla="*/ 786 h 10000"/>
                <a:gd name="connsiteX1443" fmla="*/ 4742 w 10785"/>
                <a:gd name="connsiteY1443" fmla="*/ 795 h 10000"/>
                <a:gd name="connsiteX1444" fmla="*/ 4742 w 10785"/>
                <a:gd name="connsiteY1444" fmla="*/ 803 h 10000"/>
                <a:gd name="connsiteX1445" fmla="*/ 4737 w 10785"/>
                <a:gd name="connsiteY1445" fmla="*/ 846 h 10000"/>
                <a:gd name="connsiteX1446" fmla="*/ 4737 w 10785"/>
                <a:gd name="connsiteY1446" fmla="*/ 880 h 10000"/>
                <a:gd name="connsiteX1447" fmla="*/ 4737 w 10785"/>
                <a:gd name="connsiteY1447" fmla="*/ 906 h 10000"/>
                <a:gd name="connsiteX1448" fmla="*/ 4724 w 10785"/>
                <a:gd name="connsiteY1448" fmla="*/ 897 h 10000"/>
                <a:gd name="connsiteX1449" fmla="*/ 4724 w 10785"/>
                <a:gd name="connsiteY1449" fmla="*/ 872 h 10000"/>
                <a:gd name="connsiteX1450" fmla="*/ 4714 w 10785"/>
                <a:gd name="connsiteY1450" fmla="*/ 855 h 10000"/>
                <a:gd name="connsiteX1451" fmla="*/ 4691 w 10785"/>
                <a:gd name="connsiteY1451" fmla="*/ 846 h 10000"/>
                <a:gd name="connsiteX1452" fmla="*/ 4691 w 10785"/>
                <a:gd name="connsiteY1452" fmla="*/ 846 h 10000"/>
                <a:gd name="connsiteX1453" fmla="*/ 4696 w 10785"/>
                <a:gd name="connsiteY1453" fmla="*/ 821 h 10000"/>
                <a:gd name="connsiteX1454" fmla="*/ 4691 w 10785"/>
                <a:gd name="connsiteY1454" fmla="*/ 803 h 10000"/>
                <a:gd name="connsiteX1455" fmla="*/ 4668 w 10785"/>
                <a:gd name="connsiteY1455" fmla="*/ 821 h 10000"/>
                <a:gd name="connsiteX1456" fmla="*/ 4668 w 10785"/>
                <a:gd name="connsiteY1456" fmla="*/ 786 h 10000"/>
                <a:gd name="connsiteX1457" fmla="*/ 4664 w 10785"/>
                <a:gd name="connsiteY1457" fmla="*/ 786 h 10000"/>
                <a:gd name="connsiteX1458" fmla="*/ 4622 w 10785"/>
                <a:gd name="connsiteY1458" fmla="*/ 846 h 10000"/>
                <a:gd name="connsiteX1459" fmla="*/ 4627 w 10785"/>
                <a:gd name="connsiteY1459" fmla="*/ 872 h 10000"/>
                <a:gd name="connsiteX1460" fmla="*/ 4622 w 10785"/>
                <a:gd name="connsiteY1460" fmla="*/ 880 h 10000"/>
                <a:gd name="connsiteX1461" fmla="*/ 4622 w 10785"/>
                <a:gd name="connsiteY1461" fmla="*/ 880 h 10000"/>
                <a:gd name="connsiteX1462" fmla="*/ 4618 w 10785"/>
                <a:gd name="connsiteY1462" fmla="*/ 872 h 10000"/>
                <a:gd name="connsiteX1463" fmla="*/ 4604 w 10785"/>
                <a:gd name="connsiteY1463" fmla="*/ 880 h 10000"/>
                <a:gd name="connsiteX1464" fmla="*/ 4594 w 10785"/>
                <a:gd name="connsiteY1464" fmla="*/ 906 h 10000"/>
                <a:gd name="connsiteX1465" fmla="*/ 4604 w 10785"/>
                <a:gd name="connsiteY1465" fmla="*/ 906 h 10000"/>
                <a:gd name="connsiteX1466" fmla="*/ 4608 w 10785"/>
                <a:gd name="connsiteY1466" fmla="*/ 906 h 10000"/>
                <a:gd name="connsiteX1467" fmla="*/ 4608 w 10785"/>
                <a:gd name="connsiteY1467" fmla="*/ 932 h 10000"/>
                <a:gd name="connsiteX1468" fmla="*/ 4604 w 10785"/>
                <a:gd name="connsiteY1468" fmla="*/ 932 h 10000"/>
                <a:gd name="connsiteX1469" fmla="*/ 4590 w 10785"/>
                <a:gd name="connsiteY1469" fmla="*/ 932 h 10000"/>
                <a:gd name="connsiteX1470" fmla="*/ 4567 w 10785"/>
                <a:gd name="connsiteY1470" fmla="*/ 957 h 10000"/>
                <a:gd name="connsiteX1471" fmla="*/ 4567 w 10785"/>
                <a:gd name="connsiteY1471" fmla="*/ 932 h 10000"/>
                <a:gd name="connsiteX1472" fmla="*/ 4567 w 10785"/>
                <a:gd name="connsiteY1472" fmla="*/ 923 h 10000"/>
                <a:gd name="connsiteX1473" fmla="*/ 4562 w 10785"/>
                <a:gd name="connsiteY1473" fmla="*/ 932 h 10000"/>
                <a:gd name="connsiteX1474" fmla="*/ 4548 w 10785"/>
                <a:gd name="connsiteY1474" fmla="*/ 957 h 10000"/>
                <a:gd name="connsiteX1475" fmla="*/ 4544 w 10785"/>
                <a:gd name="connsiteY1475" fmla="*/ 957 h 10000"/>
                <a:gd name="connsiteX1476" fmla="*/ 4521 w 10785"/>
                <a:gd name="connsiteY1476" fmla="*/ 983 h 10000"/>
                <a:gd name="connsiteX1477" fmla="*/ 4521 w 10785"/>
                <a:gd name="connsiteY1477" fmla="*/ 983 h 10000"/>
                <a:gd name="connsiteX1478" fmla="*/ 4530 w 10785"/>
                <a:gd name="connsiteY1478" fmla="*/ 957 h 10000"/>
                <a:gd name="connsiteX1479" fmla="*/ 4535 w 10785"/>
                <a:gd name="connsiteY1479" fmla="*/ 932 h 10000"/>
                <a:gd name="connsiteX1480" fmla="*/ 4521 w 10785"/>
                <a:gd name="connsiteY1480" fmla="*/ 932 h 10000"/>
                <a:gd name="connsiteX1481" fmla="*/ 4516 w 10785"/>
                <a:gd name="connsiteY1481" fmla="*/ 923 h 10000"/>
                <a:gd name="connsiteX1482" fmla="*/ 4516 w 10785"/>
                <a:gd name="connsiteY1482" fmla="*/ 932 h 10000"/>
                <a:gd name="connsiteX1483" fmla="*/ 4488 w 10785"/>
                <a:gd name="connsiteY1483" fmla="*/ 940 h 10000"/>
                <a:gd name="connsiteX1484" fmla="*/ 4484 w 10785"/>
                <a:gd name="connsiteY1484" fmla="*/ 983 h 10000"/>
                <a:gd name="connsiteX1485" fmla="*/ 4470 w 10785"/>
                <a:gd name="connsiteY1485" fmla="*/ 983 h 10000"/>
                <a:gd name="connsiteX1486" fmla="*/ 4470 w 10785"/>
                <a:gd name="connsiteY1486" fmla="*/ 966 h 10000"/>
                <a:gd name="connsiteX1487" fmla="*/ 4488 w 10785"/>
                <a:gd name="connsiteY1487" fmla="*/ 923 h 10000"/>
                <a:gd name="connsiteX1488" fmla="*/ 4493 w 10785"/>
                <a:gd name="connsiteY1488" fmla="*/ 880 h 10000"/>
                <a:gd name="connsiteX1489" fmla="*/ 4475 w 10785"/>
                <a:gd name="connsiteY1489" fmla="*/ 846 h 10000"/>
                <a:gd name="connsiteX1490" fmla="*/ 4442 w 10785"/>
                <a:gd name="connsiteY1490" fmla="*/ 855 h 10000"/>
                <a:gd name="connsiteX1491" fmla="*/ 4433 w 10785"/>
                <a:gd name="connsiteY1491" fmla="*/ 855 h 10000"/>
                <a:gd name="connsiteX1492" fmla="*/ 4433 w 10785"/>
                <a:gd name="connsiteY1492" fmla="*/ 880 h 10000"/>
                <a:gd name="connsiteX1493" fmla="*/ 4401 w 10785"/>
                <a:gd name="connsiteY1493" fmla="*/ 855 h 10000"/>
                <a:gd name="connsiteX1494" fmla="*/ 4396 w 10785"/>
                <a:gd name="connsiteY1494" fmla="*/ 872 h 10000"/>
                <a:gd name="connsiteX1495" fmla="*/ 4382 w 10785"/>
                <a:gd name="connsiteY1495" fmla="*/ 897 h 10000"/>
                <a:gd name="connsiteX1496" fmla="*/ 4373 w 10785"/>
                <a:gd name="connsiteY1496" fmla="*/ 872 h 10000"/>
                <a:gd name="connsiteX1497" fmla="*/ 4341 w 10785"/>
                <a:gd name="connsiteY1497" fmla="*/ 872 h 10000"/>
                <a:gd name="connsiteX1498" fmla="*/ 4336 w 10785"/>
                <a:gd name="connsiteY1498" fmla="*/ 880 h 10000"/>
                <a:gd name="connsiteX1499" fmla="*/ 4346 w 10785"/>
                <a:gd name="connsiteY1499" fmla="*/ 897 h 10000"/>
                <a:gd name="connsiteX1500" fmla="*/ 4346 w 10785"/>
                <a:gd name="connsiteY1500" fmla="*/ 897 h 10000"/>
                <a:gd name="connsiteX1501" fmla="*/ 4313 w 10785"/>
                <a:gd name="connsiteY1501" fmla="*/ 906 h 10000"/>
                <a:gd name="connsiteX1502" fmla="*/ 4313 w 10785"/>
                <a:gd name="connsiteY1502" fmla="*/ 906 h 10000"/>
                <a:gd name="connsiteX1503" fmla="*/ 4313 w 10785"/>
                <a:gd name="connsiteY1503" fmla="*/ 880 h 10000"/>
                <a:gd name="connsiteX1504" fmla="*/ 4309 w 10785"/>
                <a:gd name="connsiteY1504" fmla="*/ 897 h 10000"/>
                <a:gd name="connsiteX1505" fmla="*/ 4295 w 10785"/>
                <a:gd name="connsiteY1505" fmla="*/ 923 h 10000"/>
                <a:gd name="connsiteX1506" fmla="*/ 4286 w 10785"/>
                <a:gd name="connsiteY1506" fmla="*/ 897 h 10000"/>
                <a:gd name="connsiteX1507" fmla="*/ 4281 w 10785"/>
                <a:gd name="connsiteY1507" fmla="*/ 906 h 10000"/>
                <a:gd name="connsiteX1508" fmla="*/ 4281 w 10785"/>
                <a:gd name="connsiteY1508" fmla="*/ 940 h 10000"/>
                <a:gd name="connsiteX1509" fmla="*/ 4286 w 10785"/>
                <a:gd name="connsiteY1509" fmla="*/ 957 h 10000"/>
                <a:gd name="connsiteX1510" fmla="*/ 4309 w 10785"/>
                <a:gd name="connsiteY1510" fmla="*/ 932 h 10000"/>
                <a:gd name="connsiteX1511" fmla="*/ 4313 w 10785"/>
                <a:gd name="connsiteY1511" fmla="*/ 957 h 10000"/>
                <a:gd name="connsiteX1512" fmla="*/ 4313 w 10785"/>
                <a:gd name="connsiteY1512" fmla="*/ 966 h 10000"/>
                <a:gd name="connsiteX1513" fmla="*/ 4323 w 10785"/>
                <a:gd name="connsiteY1513" fmla="*/ 966 h 10000"/>
                <a:gd name="connsiteX1514" fmla="*/ 4323 w 10785"/>
                <a:gd name="connsiteY1514" fmla="*/ 940 h 10000"/>
                <a:gd name="connsiteX1515" fmla="*/ 4327 w 10785"/>
                <a:gd name="connsiteY1515" fmla="*/ 940 h 10000"/>
                <a:gd name="connsiteX1516" fmla="*/ 4327 w 10785"/>
                <a:gd name="connsiteY1516" fmla="*/ 957 h 10000"/>
                <a:gd name="connsiteX1517" fmla="*/ 4327 w 10785"/>
                <a:gd name="connsiteY1517" fmla="*/ 966 h 10000"/>
                <a:gd name="connsiteX1518" fmla="*/ 4323 w 10785"/>
                <a:gd name="connsiteY1518" fmla="*/ 991 h 10000"/>
                <a:gd name="connsiteX1519" fmla="*/ 4207 w 10785"/>
                <a:gd name="connsiteY1519" fmla="*/ 1060 h 10000"/>
                <a:gd name="connsiteX1520" fmla="*/ 4207 w 10785"/>
                <a:gd name="connsiteY1520" fmla="*/ 1060 h 10000"/>
                <a:gd name="connsiteX1521" fmla="*/ 4203 w 10785"/>
                <a:gd name="connsiteY1521" fmla="*/ 1068 h 10000"/>
                <a:gd name="connsiteX1522" fmla="*/ 4203 w 10785"/>
                <a:gd name="connsiteY1522" fmla="*/ 1094 h 10000"/>
                <a:gd name="connsiteX1523" fmla="*/ 4203 w 10785"/>
                <a:gd name="connsiteY1523" fmla="*/ 1094 h 10000"/>
                <a:gd name="connsiteX1524" fmla="*/ 4189 w 10785"/>
                <a:gd name="connsiteY1524" fmla="*/ 1094 h 10000"/>
                <a:gd name="connsiteX1525" fmla="*/ 4166 w 10785"/>
                <a:gd name="connsiteY1525" fmla="*/ 1103 h 10000"/>
                <a:gd name="connsiteX1526" fmla="*/ 4152 w 10785"/>
                <a:gd name="connsiteY1526" fmla="*/ 1094 h 10000"/>
                <a:gd name="connsiteX1527" fmla="*/ 4134 w 10785"/>
                <a:gd name="connsiteY1527" fmla="*/ 1120 h 10000"/>
                <a:gd name="connsiteX1528" fmla="*/ 4106 w 10785"/>
                <a:gd name="connsiteY1528" fmla="*/ 1120 h 10000"/>
                <a:gd name="connsiteX1529" fmla="*/ 4092 w 10785"/>
                <a:gd name="connsiteY1529" fmla="*/ 1154 h 10000"/>
                <a:gd name="connsiteX1530" fmla="*/ 4106 w 10785"/>
                <a:gd name="connsiteY1530" fmla="*/ 1171 h 10000"/>
                <a:gd name="connsiteX1531" fmla="*/ 4078 w 10785"/>
                <a:gd name="connsiteY1531" fmla="*/ 1179 h 10000"/>
                <a:gd name="connsiteX1532" fmla="*/ 4065 w 10785"/>
                <a:gd name="connsiteY1532" fmla="*/ 1205 h 10000"/>
                <a:gd name="connsiteX1533" fmla="*/ 4046 w 10785"/>
                <a:gd name="connsiteY1533" fmla="*/ 1179 h 10000"/>
                <a:gd name="connsiteX1534" fmla="*/ 4041 w 10785"/>
                <a:gd name="connsiteY1534" fmla="*/ 1197 h 10000"/>
                <a:gd name="connsiteX1535" fmla="*/ 4028 w 10785"/>
                <a:gd name="connsiteY1535" fmla="*/ 1205 h 10000"/>
                <a:gd name="connsiteX1536" fmla="*/ 4028 w 10785"/>
                <a:gd name="connsiteY1536" fmla="*/ 1205 h 10000"/>
                <a:gd name="connsiteX1537" fmla="*/ 4032 w 10785"/>
                <a:gd name="connsiteY1537" fmla="*/ 1205 h 10000"/>
                <a:gd name="connsiteX1538" fmla="*/ 4032 w 10785"/>
                <a:gd name="connsiteY1538" fmla="*/ 1231 h 10000"/>
                <a:gd name="connsiteX1539" fmla="*/ 4014 w 10785"/>
                <a:gd name="connsiteY1539" fmla="*/ 1239 h 10000"/>
                <a:gd name="connsiteX1540" fmla="*/ 4014 w 10785"/>
                <a:gd name="connsiteY1540" fmla="*/ 1256 h 10000"/>
                <a:gd name="connsiteX1541" fmla="*/ 4000 w 10785"/>
                <a:gd name="connsiteY1541" fmla="*/ 1265 h 10000"/>
                <a:gd name="connsiteX1542" fmla="*/ 3986 w 10785"/>
                <a:gd name="connsiteY1542" fmla="*/ 1308 h 10000"/>
                <a:gd name="connsiteX1543" fmla="*/ 3972 w 10785"/>
                <a:gd name="connsiteY1543" fmla="*/ 1316 h 10000"/>
                <a:gd name="connsiteX1544" fmla="*/ 3972 w 10785"/>
                <a:gd name="connsiteY1544" fmla="*/ 1325 h 10000"/>
                <a:gd name="connsiteX1545" fmla="*/ 3972 w 10785"/>
                <a:gd name="connsiteY1545" fmla="*/ 1342 h 10000"/>
                <a:gd name="connsiteX1546" fmla="*/ 3968 w 10785"/>
                <a:gd name="connsiteY1546" fmla="*/ 1350 h 10000"/>
                <a:gd name="connsiteX1547" fmla="*/ 3954 w 10785"/>
                <a:gd name="connsiteY1547" fmla="*/ 1368 h 10000"/>
                <a:gd name="connsiteX1548" fmla="*/ 3945 w 10785"/>
                <a:gd name="connsiteY1548" fmla="*/ 1350 h 10000"/>
                <a:gd name="connsiteX1549" fmla="*/ 3908 w 10785"/>
                <a:gd name="connsiteY1549" fmla="*/ 1342 h 10000"/>
                <a:gd name="connsiteX1550" fmla="*/ 3894 w 10785"/>
                <a:gd name="connsiteY1550" fmla="*/ 1368 h 10000"/>
                <a:gd name="connsiteX1551" fmla="*/ 3922 w 10785"/>
                <a:gd name="connsiteY1551" fmla="*/ 1393 h 10000"/>
                <a:gd name="connsiteX1552" fmla="*/ 3945 w 10785"/>
                <a:gd name="connsiteY1552" fmla="*/ 1393 h 10000"/>
                <a:gd name="connsiteX1553" fmla="*/ 3940 w 10785"/>
                <a:gd name="connsiteY1553" fmla="*/ 1419 h 10000"/>
                <a:gd name="connsiteX1554" fmla="*/ 3931 w 10785"/>
                <a:gd name="connsiteY1554" fmla="*/ 1427 h 10000"/>
                <a:gd name="connsiteX1555" fmla="*/ 3926 w 10785"/>
                <a:gd name="connsiteY1555" fmla="*/ 1427 h 10000"/>
                <a:gd name="connsiteX1556" fmla="*/ 3922 w 10785"/>
                <a:gd name="connsiteY1556" fmla="*/ 1419 h 10000"/>
                <a:gd name="connsiteX1557" fmla="*/ 3912 w 10785"/>
                <a:gd name="connsiteY1557" fmla="*/ 1427 h 10000"/>
                <a:gd name="connsiteX1558" fmla="*/ 3912 w 10785"/>
                <a:gd name="connsiteY1558" fmla="*/ 1444 h 10000"/>
                <a:gd name="connsiteX1559" fmla="*/ 3894 w 10785"/>
                <a:gd name="connsiteY1559" fmla="*/ 1513 h 10000"/>
                <a:gd name="connsiteX1560" fmla="*/ 3885 w 10785"/>
                <a:gd name="connsiteY1560" fmla="*/ 1513 h 10000"/>
                <a:gd name="connsiteX1561" fmla="*/ 3880 w 10785"/>
                <a:gd name="connsiteY1561" fmla="*/ 1538 h 10000"/>
                <a:gd name="connsiteX1562" fmla="*/ 3885 w 10785"/>
                <a:gd name="connsiteY1562" fmla="*/ 1564 h 10000"/>
                <a:gd name="connsiteX1563" fmla="*/ 3880 w 10785"/>
                <a:gd name="connsiteY1563" fmla="*/ 1581 h 10000"/>
                <a:gd name="connsiteX1564" fmla="*/ 3871 w 10785"/>
                <a:gd name="connsiteY1564" fmla="*/ 1538 h 10000"/>
                <a:gd name="connsiteX1565" fmla="*/ 3853 w 10785"/>
                <a:gd name="connsiteY1565" fmla="*/ 1530 h 10000"/>
                <a:gd name="connsiteX1566" fmla="*/ 3853 w 10785"/>
                <a:gd name="connsiteY1566" fmla="*/ 1504 h 10000"/>
                <a:gd name="connsiteX1567" fmla="*/ 3834 w 10785"/>
                <a:gd name="connsiteY1567" fmla="*/ 1487 h 10000"/>
                <a:gd name="connsiteX1568" fmla="*/ 3834 w 10785"/>
                <a:gd name="connsiteY1568" fmla="*/ 1487 h 10000"/>
                <a:gd name="connsiteX1569" fmla="*/ 3839 w 10785"/>
                <a:gd name="connsiteY1569" fmla="*/ 1513 h 10000"/>
                <a:gd name="connsiteX1570" fmla="*/ 3820 w 10785"/>
                <a:gd name="connsiteY1570" fmla="*/ 1538 h 10000"/>
                <a:gd name="connsiteX1571" fmla="*/ 3820 w 10785"/>
                <a:gd name="connsiteY1571" fmla="*/ 1556 h 10000"/>
                <a:gd name="connsiteX1572" fmla="*/ 3820 w 10785"/>
                <a:gd name="connsiteY1572" fmla="*/ 1564 h 10000"/>
                <a:gd name="connsiteX1573" fmla="*/ 3820 w 10785"/>
                <a:gd name="connsiteY1573" fmla="*/ 1581 h 10000"/>
                <a:gd name="connsiteX1574" fmla="*/ 3853 w 10785"/>
                <a:gd name="connsiteY1574" fmla="*/ 1581 h 10000"/>
                <a:gd name="connsiteX1575" fmla="*/ 3857 w 10785"/>
                <a:gd name="connsiteY1575" fmla="*/ 1598 h 10000"/>
                <a:gd name="connsiteX1576" fmla="*/ 3880 w 10785"/>
                <a:gd name="connsiteY1576" fmla="*/ 1615 h 10000"/>
                <a:gd name="connsiteX1577" fmla="*/ 3871 w 10785"/>
                <a:gd name="connsiteY1577" fmla="*/ 1615 h 10000"/>
                <a:gd name="connsiteX1578" fmla="*/ 3871 w 10785"/>
                <a:gd name="connsiteY1578" fmla="*/ 1641 h 10000"/>
                <a:gd name="connsiteX1579" fmla="*/ 3880 w 10785"/>
                <a:gd name="connsiteY1579" fmla="*/ 1641 h 10000"/>
                <a:gd name="connsiteX1580" fmla="*/ 3871 w 10785"/>
                <a:gd name="connsiteY1580" fmla="*/ 1650 h 10000"/>
                <a:gd name="connsiteX1581" fmla="*/ 3857 w 10785"/>
                <a:gd name="connsiteY1581" fmla="*/ 1650 h 10000"/>
                <a:gd name="connsiteX1582" fmla="*/ 3853 w 10785"/>
                <a:gd name="connsiteY1582" fmla="*/ 1650 h 10000"/>
                <a:gd name="connsiteX1583" fmla="*/ 3839 w 10785"/>
                <a:gd name="connsiteY1583" fmla="*/ 1667 h 10000"/>
                <a:gd name="connsiteX1584" fmla="*/ 3848 w 10785"/>
                <a:gd name="connsiteY1584" fmla="*/ 1692 h 10000"/>
                <a:gd name="connsiteX1585" fmla="*/ 3834 w 10785"/>
                <a:gd name="connsiteY1585" fmla="*/ 1692 h 10000"/>
                <a:gd name="connsiteX1586" fmla="*/ 3825 w 10785"/>
                <a:gd name="connsiteY1586" fmla="*/ 1692 h 10000"/>
                <a:gd name="connsiteX1587" fmla="*/ 3825 w 10785"/>
                <a:gd name="connsiteY1587" fmla="*/ 1718 h 10000"/>
                <a:gd name="connsiteX1588" fmla="*/ 3839 w 10785"/>
                <a:gd name="connsiteY1588" fmla="*/ 1726 h 10000"/>
                <a:gd name="connsiteX1589" fmla="*/ 3880 w 10785"/>
                <a:gd name="connsiteY1589" fmla="*/ 1752 h 10000"/>
                <a:gd name="connsiteX1590" fmla="*/ 3894 w 10785"/>
                <a:gd name="connsiteY1590" fmla="*/ 1829 h 10000"/>
                <a:gd name="connsiteX1591" fmla="*/ 3899 w 10785"/>
                <a:gd name="connsiteY1591" fmla="*/ 1838 h 10000"/>
                <a:gd name="connsiteX1592" fmla="*/ 3894 w 10785"/>
                <a:gd name="connsiteY1592" fmla="*/ 1855 h 10000"/>
                <a:gd name="connsiteX1593" fmla="*/ 3880 w 10785"/>
                <a:gd name="connsiteY1593" fmla="*/ 1838 h 10000"/>
                <a:gd name="connsiteX1594" fmla="*/ 3880 w 10785"/>
                <a:gd name="connsiteY1594" fmla="*/ 1855 h 10000"/>
                <a:gd name="connsiteX1595" fmla="*/ 3880 w 10785"/>
                <a:gd name="connsiteY1595" fmla="*/ 1863 h 10000"/>
                <a:gd name="connsiteX1596" fmla="*/ 3871 w 10785"/>
                <a:gd name="connsiteY1596" fmla="*/ 1872 h 10000"/>
                <a:gd name="connsiteX1597" fmla="*/ 3880 w 10785"/>
                <a:gd name="connsiteY1597" fmla="*/ 1889 h 10000"/>
                <a:gd name="connsiteX1598" fmla="*/ 3885 w 10785"/>
                <a:gd name="connsiteY1598" fmla="*/ 1889 h 10000"/>
                <a:gd name="connsiteX1599" fmla="*/ 3880 w 10785"/>
                <a:gd name="connsiteY1599" fmla="*/ 1897 h 10000"/>
                <a:gd name="connsiteX1600" fmla="*/ 3871 w 10785"/>
                <a:gd name="connsiteY1600" fmla="*/ 1915 h 10000"/>
                <a:gd name="connsiteX1601" fmla="*/ 3848 w 10785"/>
                <a:gd name="connsiteY1601" fmla="*/ 1923 h 10000"/>
                <a:gd name="connsiteX1602" fmla="*/ 3825 w 10785"/>
                <a:gd name="connsiteY1602" fmla="*/ 1940 h 10000"/>
                <a:gd name="connsiteX1603" fmla="*/ 3811 w 10785"/>
                <a:gd name="connsiteY1603" fmla="*/ 1940 h 10000"/>
                <a:gd name="connsiteX1604" fmla="*/ 3806 w 10785"/>
                <a:gd name="connsiteY1604" fmla="*/ 1949 h 10000"/>
                <a:gd name="connsiteX1605" fmla="*/ 3797 w 10785"/>
                <a:gd name="connsiteY1605" fmla="*/ 1966 h 10000"/>
                <a:gd name="connsiteX1606" fmla="*/ 3788 w 10785"/>
                <a:gd name="connsiteY1606" fmla="*/ 1991 h 10000"/>
                <a:gd name="connsiteX1607" fmla="*/ 3765 w 10785"/>
                <a:gd name="connsiteY1607" fmla="*/ 1974 h 10000"/>
                <a:gd name="connsiteX1608" fmla="*/ 3760 w 10785"/>
                <a:gd name="connsiteY1608" fmla="*/ 1966 h 10000"/>
                <a:gd name="connsiteX1609" fmla="*/ 3760 w 10785"/>
                <a:gd name="connsiteY1609" fmla="*/ 1966 h 10000"/>
                <a:gd name="connsiteX1610" fmla="*/ 3631 w 10785"/>
                <a:gd name="connsiteY1610" fmla="*/ 2009 h 10000"/>
                <a:gd name="connsiteX1611" fmla="*/ 3618 w 10785"/>
                <a:gd name="connsiteY1611" fmla="*/ 2000 h 10000"/>
                <a:gd name="connsiteX1612" fmla="*/ 3599 w 10785"/>
                <a:gd name="connsiteY1612" fmla="*/ 2009 h 10000"/>
                <a:gd name="connsiteX1613" fmla="*/ 3571 w 10785"/>
                <a:gd name="connsiteY1613" fmla="*/ 2000 h 10000"/>
                <a:gd name="connsiteX1614" fmla="*/ 3530 w 10785"/>
                <a:gd name="connsiteY1614" fmla="*/ 2026 h 10000"/>
                <a:gd name="connsiteX1615" fmla="*/ 3530 w 10785"/>
                <a:gd name="connsiteY1615" fmla="*/ 2034 h 10000"/>
                <a:gd name="connsiteX1616" fmla="*/ 3525 w 10785"/>
                <a:gd name="connsiteY1616" fmla="*/ 2051 h 10000"/>
                <a:gd name="connsiteX1617" fmla="*/ 3512 w 10785"/>
                <a:gd name="connsiteY1617" fmla="*/ 2034 h 10000"/>
                <a:gd name="connsiteX1618" fmla="*/ 3507 w 10785"/>
                <a:gd name="connsiteY1618" fmla="*/ 2034 h 10000"/>
                <a:gd name="connsiteX1619" fmla="*/ 3498 w 10785"/>
                <a:gd name="connsiteY1619" fmla="*/ 2051 h 10000"/>
                <a:gd name="connsiteX1620" fmla="*/ 3484 w 10785"/>
                <a:gd name="connsiteY1620" fmla="*/ 2060 h 10000"/>
                <a:gd name="connsiteX1621" fmla="*/ 3484 w 10785"/>
                <a:gd name="connsiteY1621" fmla="*/ 2085 h 10000"/>
                <a:gd name="connsiteX1622" fmla="*/ 3484 w 10785"/>
                <a:gd name="connsiteY1622" fmla="*/ 2103 h 10000"/>
                <a:gd name="connsiteX1623" fmla="*/ 3493 w 10785"/>
                <a:gd name="connsiteY1623" fmla="*/ 2103 h 10000"/>
                <a:gd name="connsiteX1624" fmla="*/ 3493 w 10785"/>
                <a:gd name="connsiteY1624" fmla="*/ 2085 h 10000"/>
                <a:gd name="connsiteX1625" fmla="*/ 3498 w 10785"/>
                <a:gd name="connsiteY1625" fmla="*/ 2085 h 10000"/>
                <a:gd name="connsiteX1626" fmla="*/ 3498 w 10785"/>
                <a:gd name="connsiteY1626" fmla="*/ 2111 h 10000"/>
                <a:gd name="connsiteX1627" fmla="*/ 3484 w 10785"/>
                <a:gd name="connsiteY1627" fmla="*/ 2120 h 10000"/>
                <a:gd name="connsiteX1628" fmla="*/ 3484 w 10785"/>
                <a:gd name="connsiteY1628" fmla="*/ 2145 h 10000"/>
                <a:gd name="connsiteX1629" fmla="*/ 3470 w 10785"/>
                <a:gd name="connsiteY1629" fmla="*/ 2137 h 10000"/>
                <a:gd name="connsiteX1630" fmla="*/ 3465 w 10785"/>
                <a:gd name="connsiteY1630" fmla="*/ 2145 h 10000"/>
                <a:gd name="connsiteX1631" fmla="*/ 3470 w 10785"/>
                <a:gd name="connsiteY1631" fmla="*/ 2171 h 10000"/>
                <a:gd name="connsiteX1632" fmla="*/ 3484 w 10785"/>
                <a:gd name="connsiteY1632" fmla="*/ 2171 h 10000"/>
                <a:gd name="connsiteX1633" fmla="*/ 3484 w 10785"/>
                <a:gd name="connsiteY1633" fmla="*/ 2197 h 10000"/>
                <a:gd name="connsiteX1634" fmla="*/ 3465 w 10785"/>
                <a:gd name="connsiteY1634" fmla="*/ 2214 h 10000"/>
                <a:gd name="connsiteX1635" fmla="*/ 3493 w 10785"/>
                <a:gd name="connsiteY1635" fmla="*/ 2248 h 10000"/>
                <a:gd name="connsiteX1636" fmla="*/ 3484 w 10785"/>
                <a:gd name="connsiteY1636" fmla="*/ 2256 h 10000"/>
                <a:gd name="connsiteX1637" fmla="*/ 3498 w 10785"/>
                <a:gd name="connsiteY1637" fmla="*/ 2274 h 10000"/>
                <a:gd name="connsiteX1638" fmla="*/ 3498 w 10785"/>
                <a:gd name="connsiteY1638" fmla="*/ 2256 h 10000"/>
                <a:gd name="connsiteX1639" fmla="*/ 3507 w 10785"/>
                <a:gd name="connsiteY1639" fmla="*/ 2308 h 10000"/>
                <a:gd name="connsiteX1640" fmla="*/ 3512 w 10785"/>
                <a:gd name="connsiteY1640" fmla="*/ 2325 h 10000"/>
                <a:gd name="connsiteX1641" fmla="*/ 3507 w 10785"/>
                <a:gd name="connsiteY1641" fmla="*/ 2333 h 10000"/>
                <a:gd name="connsiteX1642" fmla="*/ 3507 w 10785"/>
                <a:gd name="connsiteY1642" fmla="*/ 2359 h 10000"/>
                <a:gd name="connsiteX1643" fmla="*/ 3507 w 10785"/>
                <a:gd name="connsiteY1643" fmla="*/ 2376 h 10000"/>
                <a:gd name="connsiteX1644" fmla="*/ 3498 w 10785"/>
                <a:gd name="connsiteY1644" fmla="*/ 2410 h 10000"/>
                <a:gd name="connsiteX1645" fmla="*/ 3498 w 10785"/>
                <a:gd name="connsiteY1645" fmla="*/ 2436 h 10000"/>
                <a:gd name="connsiteX1646" fmla="*/ 3507 w 10785"/>
                <a:gd name="connsiteY1646" fmla="*/ 2462 h 10000"/>
                <a:gd name="connsiteX1647" fmla="*/ 3507 w 10785"/>
                <a:gd name="connsiteY1647" fmla="*/ 2496 h 10000"/>
                <a:gd name="connsiteX1648" fmla="*/ 3512 w 10785"/>
                <a:gd name="connsiteY1648" fmla="*/ 2521 h 10000"/>
                <a:gd name="connsiteX1649" fmla="*/ 3525 w 10785"/>
                <a:gd name="connsiteY1649" fmla="*/ 2556 h 10000"/>
                <a:gd name="connsiteX1650" fmla="*/ 3571 w 10785"/>
                <a:gd name="connsiteY1650" fmla="*/ 2573 h 10000"/>
                <a:gd name="connsiteX1651" fmla="*/ 3590 w 10785"/>
                <a:gd name="connsiteY1651" fmla="*/ 2598 h 10000"/>
                <a:gd name="connsiteX1652" fmla="*/ 3599 w 10785"/>
                <a:gd name="connsiteY1652" fmla="*/ 2598 h 10000"/>
                <a:gd name="connsiteX1653" fmla="*/ 3604 w 10785"/>
                <a:gd name="connsiteY1653" fmla="*/ 2632 h 10000"/>
                <a:gd name="connsiteX1654" fmla="*/ 3599 w 10785"/>
                <a:gd name="connsiteY1654" fmla="*/ 2658 h 10000"/>
                <a:gd name="connsiteX1655" fmla="*/ 3590 w 10785"/>
                <a:gd name="connsiteY1655" fmla="*/ 2667 h 10000"/>
                <a:gd name="connsiteX1656" fmla="*/ 3604 w 10785"/>
                <a:gd name="connsiteY1656" fmla="*/ 2667 h 10000"/>
                <a:gd name="connsiteX1657" fmla="*/ 3613 w 10785"/>
                <a:gd name="connsiteY1657" fmla="*/ 2692 h 10000"/>
                <a:gd name="connsiteX1658" fmla="*/ 3627 w 10785"/>
                <a:gd name="connsiteY1658" fmla="*/ 2735 h 10000"/>
                <a:gd name="connsiteX1659" fmla="*/ 3631 w 10785"/>
                <a:gd name="connsiteY1659" fmla="*/ 2744 h 10000"/>
                <a:gd name="connsiteX1660" fmla="*/ 3659 w 10785"/>
                <a:gd name="connsiteY1660" fmla="*/ 2761 h 10000"/>
                <a:gd name="connsiteX1661" fmla="*/ 3673 w 10785"/>
                <a:gd name="connsiteY1661" fmla="*/ 2769 h 10000"/>
                <a:gd name="connsiteX1662" fmla="*/ 3673 w 10785"/>
                <a:gd name="connsiteY1662" fmla="*/ 2761 h 10000"/>
                <a:gd name="connsiteX1663" fmla="*/ 3687 w 10785"/>
                <a:gd name="connsiteY1663" fmla="*/ 2829 h 10000"/>
                <a:gd name="connsiteX1664" fmla="*/ 3677 w 10785"/>
                <a:gd name="connsiteY1664" fmla="*/ 2897 h 10000"/>
                <a:gd name="connsiteX1665" fmla="*/ 3673 w 10785"/>
                <a:gd name="connsiteY1665" fmla="*/ 2915 h 10000"/>
                <a:gd name="connsiteX1666" fmla="*/ 3664 w 10785"/>
                <a:gd name="connsiteY1666" fmla="*/ 2957 h 10000"/>
                <a:gd name="connsiteX1667" fmla="*/ 3659 w 10785"/>
                <a:gd name="connsiteY1667" fmla="*/ 2983 h 10000"/>
                <a:gd name="connsiteX1668" fmla="*/ 3664 w 10785"/>
                <a:gd name="connsiteY1668" fmla="*/ 3017 h 10000"/>
                <a:gd name="connsiteX1669" fmla="*/ 3659 w 10785"/>
                <a:gd name="connsiteY1669" fmla="*/ 3043 h 10000"/>
                <a:gd name="connsiteX1670" fmla="*/ 3677 w 10785"/>
                <a:gd name="connsiteY1670" fmla="*/ 3094 h 10000"/>
                <a:gd name="connsiteX1671" fmla="*/ 3691 w 10785"/>
                <a:gd name="connsiteY1671" fmla="*/ 3282 h 10000"/>
                <a:gd name="connsiteX1672" fmla="*/ 3691 w 10785"/>
                <a:gd name="connsiteY1672" fmla="*/ 3308 h 10000"/>
                <a:gd name="connsiteX1673" fmla="*/ 3677 w 10785"/>
                <a:gd name="connsiteY1673" fmla="*/ 3342 h 10000"/>
                <a:gd name="connsiteX1674" fmla="*/ 3664 w 10785"/>
                <a:gd name="connsiteY1674" fmla="*/ 3342 h 10000"/>
                <a:gd name="connsiteX1675" fmla="*/ 3650 w 10785"/>
                <a:gd name="connsiteY1675" fmla="*/ 3342 h 10000"/>
                <a:gd name="connsiteX1676" fmla="*/ 3650 w 10785"/>
                <a:gd name="connsiteY1676" fmla="*/ 3350 h 10000"/>
                <a:gd name="connsiteX1677" fmla="*/ 3659 w 10785"/>
                <a:gd name="connsiteY1677" fmla="*/ 3402 h 10000"/>
                <a:gd name="connsiteX1678" fmla="*/ 3659 w 10785"/>
                <a:gd name="connsiteY1678" fmla="*/ 3419 h 10000"/>
                <a:gd name="connsiteX1679" fmla="*/ 3631 w 10785"/>
                <a:gd name="connsiteY1679" fmla="*/ 3402 h 10000"/>
                <a:gd name="connsiteX1680" fmla="*/ 3604 w 10785"/>
                <a:gd name="connsiteY1680" fmla="*/ 3393 h 10000"/>
                <a:gd name="connsiteX1681" fmla="*/ 3599 w 10785"/>
                <a:gd name="connsiteY1681" fmla="*/ 3368 h 10000"/>
                <a:gd name="connsiteX1682" fmla="*/ 3590 w 10785"/>
                <a:gd name="connsiteY1682" fmla="*/ 3239 h 10000"/>
                <a:gd name="connsiteX1683" fmla="*/ 3599 w 10785"/>
                <a:gd name="connsiteY1683" fmla="*/ 3179 h 10000"/>
                <a:gd name="connsiteX1684" fmla="*/ 3599 w 10785"/>
                <a:gd name="connsiteY1684" fmla="*/ 3171 h 10000"/>
                <a:gd name="connsiteX1685" fmla="*/ 3599 w 10785"/>
                <a:gd name="connsiteY1685" fmla="*/ 3009 h 10000"/>
                <a:gd name="connsiteX1686" fmla="*/ 3604 w 10785"/>
                <a:gd name="connsiteY1686" fmla="*/ 2983 h 10000"/>
                <a:gd name="connsiteX1687" fmla="*/ 3645 w 10785"/>
                <a:gd name="connsiteY1687" fmla="*/ 2932 h 10000"/>
                <a:gd name="connsiteX1688" fmla="*/ 3650 w 10785"/>
                <a:gd name="connsiteY1688" fmla="*/ 2872 h 10000"/>
                <a:gd name="connsiteX1689" fmla="*/ 3659 w 10785"/>
                <a:gd name="connsiteY1689" fmla="*/ 2855 h 10000"/>
                <a:gd name="connsiteX1690" fmla="*/ 3659 w 10785"/>
                <a:gd name="connsiteY1690" fmla="*/ 2821 h 10000"/>
                <a:gd name="connsiteX1691" fmla="*/ 3631 w 10785"/>
                <a:gd name="connsiteY1691" fmla="*/ 2795 h 10000"/>
                <a:gd name="connsiteX1692" fmla="*/ 3567 w 10785"/>
                <a:gd name="connsiteY1692" fmla="*/ 2821 h 10000"/>
                <a:gd name="connsiteX1693" fmla="*/ 3544 w 10785"/>
                <a:gd name="connsiteY1693" fmla="*/ 2795 h 10000"/>
                <a:gd name="connsiteX1694" fmla="*/ 3530 w 10785"/>
                <a:gd name="connsiteY1694" fmla="*/ 2769 h 10000"/>
                <a:gd name="connsiteX1695" fmla="*/ 3530 w 10785"/>
                <a:gd name="connsiteY1695" fmla="*/ 2786 h 10000"/>
                <a:gd name="connsiteX1696" fmla="*/ 3498 w 10785"/>
                <a:gd name="connsiteY1696" fmla="*/ 2692 h 10000"/>
                <a:gd name="connsiteX1697" fmla="*/ 3498 w 10785"/>
                <a:gd name="connsiteY1697" fmla="*/ 2667 h 10000"/>
                <a:gd name="connsiteX1698" fmla="*/ 3442 w 10785"/>
                <a:gd name="connsiteY1698" fmla="*/ 2607 h 10000"/>
                <a:gd name="connsiteX1699" fmla="*/ 3433 w 10785"/>
                <a:gd name="connsiteY1699" fmla="*/ 2581 h 10000"/>
                <a:gd name="connsiteX1700" fmla="*/ 3396 w 10785"/>
                <a:gd name="connsiteY1700" fmla="*/ 2556 h 10000"/>
                <a:gd name="connsiteX1701" fmla="*/ 3318 w 10785"/>
                <a:gd name="connsiteY1701" fmla="*/ 2556 h 10000"/>
                <a:gd name="connsiteX1702" fmla="*/ 3304 w 10785"/>
                <a:gd name="connsiteY1702" fmla="*/ 2607 h 10000"/>
                <a:gd name="connsiteX1703" fmla="*/ 3276 w 10785"/>
                <a:gd name="connsiteY1703" fmla="*/ 2632 h 10000"/>
                <a:gd name="connsiteX1704" fmla="*/ 3272 w 10785"/>
                <a:gd name="connsiteY1704" fmla="*/ 2667 h 10000"/>
                <a:gd name="connsiteX1705" fmla="*/ 3304 w 10785"/>
                <a:gd name="connsiteY1705" fmla="*/ 2667 h 10000"/>
                <a:gd name="connsiteX1706" fmla="*/ 3323 w 10785"/>
                <a:gd name="connsiteY1706" fmla="*/ 2692 h 10000"/>
                <a:gd name="connsiteX1707" fmla="*/ 3318 w 10785"/>
                <a:gd name="connsiteY1707" fmla="*/ 2735 h 10000"/>
                <a:gd name="connsiteX1708" fmla="*/ 3304 w 10785"/>
                <a:gd name="connsiteY1708" fmla="*/ 2761 h 10000"/>
                <a:gd name="connsiteX1709" fmla="*/ 3276 w 10785"/>
                <a:gd name="connsiteY1709" fmla="*/ 2769 h 10000"/>
                <a:gd name="connsiteX1710" fmla="*/ 3263 w 10785"/>
                <a:gd name="connsiteY1710" fmla="*/ 2795 h 10000"/>
                <a:gd name="connsiteX1711" fmla="*/ 3235 w 10785"/>
                <a:gd name="connsiteY1711" fmla="*/ 2803 h 10000"/>
                <a:gd name="connsiteX1712" fmla="*/ 3235 w 10785"/>
                <a:gd name="connsiteY1712" fmla="*/ 2786 h 10000"/>
                <a:gd name="connsiteX1713" fmla="*/ 3212 w 10785"/>
                <a:gd name="connsiteY1713" fmla="*/ 2709 h 10000"/>
                <a:gd name="connsiteX1714" fmla="*/ 3198 w 10785"/>
                <a:gd name="connsiteY1714" fmla="*/ 2709 h 10000"/>
                <a:gd name="connsiteX1715" fmla="*/ 3184 w 10785"/>
                <a:gd name="connsiteY1715" fmla="*/ 2735 h 10000"/>
                <a:gd name="connsiteX1716" fmla="*/ 3189 w 10785"/>
                <a:gd name="connsiteY1716" fmla="*/ 2761 h 10000"/>
                <a:gd name="connsiteX1717" fmla="*/ 3203 w 10785"/>
                <a:gd name="connsiteY1717" fmla="*/ 2855 h 10000"/>
                <a:gd name="connsiteX1718" fmla="*/ 3212 w 10785"/>
                <a:gd name="connsiteY1718" fmla="*/ 2872 h 10000"/>
                <a:gd name="connsiteX1719" fmla="*/ 3235 w 10785"/>
                <a:gd name="connsiteY1719" fmla="*/ 2906 h 10000"/>
                <a:gd name="connsiteX1720" fmla="*/ 3258 w 10785"/>
                <a:gd name="connsiteY1720" fmla="*/ 2915 h 10000"/>
                <a:gd name="connsiteX1721" fmla="*/ 3272 w 10785"/>
                <a:gd name="connsiteY1721" fmla="*/ 2957 h 10000"/>
                <a:gd name="connsiteX1722" fmla="*/ 3276 w 10785"/>
                <a:gd name="connsiteY1722" fmla="*/ 2957 h 10000"/>
                <a:gd name="connsiteX1723" fmla="*/ 3286 w 10785"/>
                <a:gd name="connsiteY1723" fmla="*/ 2966 h 10000"/>
                <a:gd name="connsiteX1724" fmla="*/ 3300 w 10785"/>
                <a:gd name="connsiteY1724" fmla="*/ 2957 h 10000"/>
                <a:gd name="connsiteX1725" fmla="*/ 3309 w 10785"/>
                <a:gd name="connsiteY1725" fmla="*/ 2932 h 10000"/>
                <a:gd name="connsiteX1726" fmla="*/ 3304 w 10785"/>
                <a:gd name="connsiteY1726" fmla="*/ 2966 h 10000"/>
                <a:gd name="connsiteX1727" fmla="*/ 3309 w 10785"/>
                <a:gd name="connsiteY1727" fmla="*/ 2983 h 10000"/>
                <a:gd name="connsiteX1728" fmla="*/ 3323 w 10785"/>
                <a:gd name="connsiteY1728" fmla="*/ 2966 h 10000"/>
                <a:gd name="connsiteX1729" fmla="*/ 3323 w 10785"/>
                <a:gd name="connsiteY1729" fmla="*/ 3043 h 10000"/>
                <a:gd name="connsiteX1730" fmla="*/ 3346 w 10785"/>
                <a:gd name="connsiteY1730" fmla="*/ 3068 h 10000"/>
                <a:gd name="connsiteX1731" fmla="*/ 3346 w 10785"/>
                <a:gd name="connsiteY1731" fmla="*/ 3094 h 10000"/>
                <a:gd name="connsiteX1732" fmla="*/ 3323 w 10785"/>
                <a:gd name="connsiteY1732" fmla="*/ 3094 h 10000"/>
                <a:gd name="connsiteX1733" fmla="*/ 3309 w 10785"/>
                <a:gd name="connsiteY1733" fmla="*/ 3077 h 10000"/>
                <a:gd name="connsiteX1734" fmla="*/ 3304 w 10785"/>
                <a:gd name="connsiteY1734" fmla="*/ 3051 h 10000"/>
                <a:gd name="connsiteX1735" fmla="*/ 3300 w 10785"/>
                <a:gd name="connsiteY1735" fmla="*/ 3043 h 10000"/>
                <a:gd name="connsiteX1736" fmla="*/ 3286 w 10785"/>
                <a:gd name="connsiteY1736" fmla="*/ 3017 h 10000"/>
                <a:gd name="connsiteX1737" fmla="*/ 3152 w 10785"/>
                <a:gd name="connsiteY1737" fmla="*/ 2966 h 10000"/>
                <a:gd name="connsiteX1738" fmla="*/ 3129 w 10785"/>
                <a:gd name="connsiteY1738" fmla="*/ 2915 h 10000"/>
                <a:gd name="connsiteX1739" fmla="*/ 3129 w 10785"/>
                <a:gd name="connsiteY1739" fmla="*/ 2906 h 10000"/>
                <a:gd name="connsiteX1740" fmla="*/ 3152 w 10785"/>
                <a:gd name="connsiteY1740" fmla="*/ 2906 h 10000"/>
                <a:gd name="connsiteX1741" fmla="*/ 3152 w 10785"/>
                <a:gd name="connsiteY1741" fmla="*/ 2846 h 10000"/>
                <a:gd name="connsiteX1742" fmla="*/ 3138 w 10785"/>
                <a:gd name="connsiteY1742" fmla="*/ 2795 h 10000"/>
                <a:gd name="connsiteX1743" fmla="*/ 3138 w 10785"/>
                <a:gd name="connsiteY1743" fmla="*/ 2769 h 10000"/>
                <a:gd name="connsiteX1744" fmla="*/ 3143 w 10785"/>
                <a:gd name="connsiteY1744" fmla="*/ 2718 h 10000"/>
                <a:gd name="connsiteX1745" fmla="*/ 3129 w 10785"/>
                <a:gd name="connsiteY1745" fmla="*/ 2692 h 10000"/>
                <a:gd name="connsiteX1746" fmla="*/ 3143 w 10785"/>
                <a:gd name="connsiteY1746" fmla="*/ 2667 h 10000"/>
                <a:gd name="connsiteX1747" fmla="*/ 3157 w 10785"/>
                <a:gd name="connsiteY1747" fmla="*/ 2581 h 10000"/>
                <a:gd name="connsiteX1748" fmla="*/ 3143 w 10785"/>
                <a:gd name="connsiteY1748" fmla="*/ 2496 h 10000"/>
                <a:gd name="connsiteX1749" fmla="*/ 3157 w 10785"/>
                <a:gd name="connsiteY1749" fmla="*/ 2487 h 10000"/>
                <a:gd name="connsiteX1750" fmla="*/ 3143 w 10785"/>
                <a:gd name="connsiteY1750" fmla="*/ 2444 h 10000"/>
                <a:gd name="connsiteX1751" fmla="*/ 3143 w 10785"/>
                <a:gd name="connsiteY1751" fmla="*/ 2419 h 10000"/>
                <a:gd name="connsiteX1752" fmla="*/ 3143 w 10785"/>
                <a:gd name="connsiteY1752" fmla="*/ 2410 h 10000"/>
                <a:gd name="connsiteX1753" fmla="*/ 3124 w 10785"/>
                <a:gd name="connsiteY1753" fmla="*/ 2376 h 10000"/>
                <a:gd name="connsiteX1754" fmla="*/ 3115 w 10785"/>
                <a:gd name="connsiteY1754" fmla="*/ 2350 h 10000"/>
                <a:gd name="connsiteX1755" fmla="*/ 3101 w 10785"/>
                <a:gd name="connsiteY1755" fmla="*/ 2359 h 10000"/>
                <a:gd name="connsiteX1756" fmla="*/ 3115 w 10785"/>
                <a:gd name="connsiteY1756" fmla="*/ 2581 h 10000"/>
                <a:gd name="connsiteX1757" fmla="*/ 3111 w 10785"/>
                <a:gd name="connsiteY1757" fmla="*/ 2624 h 10000"/>
                <a:gd name="connsiteX1758" fmla="*/ 3009 w 10785"/>
                <a:gd name="connsiteY1758" fmla="*/ 2761 h 10000"/>
                <a:gd name="connsiteX1759" fmla="*/ 3009 w 10785"/>
                <a:gd name="connsiteY1759" fmla="*/ 2803 h 10000"/>
                <a:gd name="connsiteX1760" fmla="*/ 3005 w 10785"/>
                <a:gd name="connsiteY1760" fmla="*/ 2829 h 10000"/>
                <a:gd name="connsiteX1761" fmla="*/ 2982 w 10785"/>
                <a:gd name="connsiteY1761" fmla="*/ 2872 h 10000"/>
                <a:gd name="connsiteX1762" fmla="*/ 2982 w 10785"/>
                <a:gd name="connsiteY1762" fmla="*/ 2880 h 10000"/>
                <a:gd name="connsiteX1763" fmla="*/ 3037 w 10785"/>
                <a:gd name="connsiteY1763" fmla="*/ 3034 h 10000"/>
                <a:gd name="connsiteX1764" fmla="*/ 3041 w 10785"/>
                <a:gd name="connsiteY1764" fmla="*/ 3103 h 10000"/>
                <a:gd name="connsiteX1765" fmla="*/ 3069 w 10785"/>
                <a:gd name="connsiteY1765" fmla="*/ 3188 h 10000"/>
                <a:gd name="connsiteX1766" fmla="*/ 3055 w 10785"/>
                <a:gd name="connsiteY1766" fmla="*/ 3325 h 10000"/>
                <a:gd name="connsiteX1767" fmla="*/ 3037 w 10785"/>
                <a:gd name="connsiteY1767" fmla="*/ 3368 h 10000"/>
                <a:gd name="connsiteX1768" fmla="*/ 3037 w 10785"/>
                <a:gd name="connsiteY1768" fmla="*/ 3444 h 10000"/>
                <a:gd name="connsiteX1769" fmla="*/ 3028 w 10785"/>
                <a:gd name="connsiteY1769" fmla="*/ 3453 h 10000"/>
                <a:gd name="connsiteX1770" fmla="*/ 3023 w 10785"/>
                <a:gd name="connsiteY1770" fmla="*/ 3530 h 10000"/>
                <a:gd name="connsiteX1771" fmla="*/ 3051 w 10785"/>
                <a:gd name="connsiteY1771" fmla="*/ 3624 h 10000"/>
                <a:gd name="connsiteX1772" fmla="*/ 3037 w 10785"/>
                <a:gd name="connsiteY1772" fmla="*/ 3718 h 10000"/>
                <a:gd name="connsiteX1773" fmla="*/ 3041 w 10785"/>
                <a:gd name="connsiteY1773" fmla="*/ 3752 h 10000"/>
                <a:gd name="connsiteX1774" fmla="*/ 3055 w 10785"/>
                <a:gd name="connsiteY1774" fmla="*/ 3761 h 10000"/>
                <a:gd name="connsiteX1775" fmla="*/ 3078 w 10785"/>
                <a:gd name="connsiteY1775" fmla="*/ 3752 h 10000"/>
                <a:gd name="connsiteX1776" fmla="*/ 3092 w 10785"/>
                <a:gd name="connsiteY1776" fmla="*/ 3752 h 10000"/>
                <a:gd name="connsiteX1777" fmla="*/ 3129 w 10785"/>
                <a:gd name="connsiteY1777" fmla="*/ 3761 h 10000"/>
                <a:gd name="connsiteX1778" fmla="*/ 3129 w 10785"/>
                <a:gd name="connsiteY1778" fmla="*/ 3735 h 10000"/>
                <a:gd name="connsiteX1779" fmla="*/ 3157 w 10785"/>
                <a:gd name="connsiteY1779" fmla="*/ 3718 h 10000"/>
                <a:gd name="connsiteX1780" fmla="*/ 3184 w 10785"/>
                <a:gd name="connsiteY1780" fmla="*/ 3718 h 10000"/>
                <a:gd name="connsiteX1781" fmla="*/ 3290 w 10785"/>
                <a:gd name="connsiteY1781" fmla="*/ 3838 h 10000"/>
                <a:gd name="connsiteX1782" fmla="*/ 3300 w 10785"/>
                <a:gd name="connsiteY1782" fmla="*/ 3846 h 10000"/>
                <a:gd name="connsiteX1783" fmla="*/ 3300 w 10785"/>
                <a:gd name="connsiteY1783" fmla="*/ 3915 h 10000"/>
                <a:gd name="connsiteX1784" fmla="*/ 3318 w 10785"/>
                <a:gd name="connsiteY1784" fmla="*/ 4000 h 10000"/>
                <a:gd name="connsiteX1785" fmla="*/ 3323 w 10785"/>
                <a:gd name="connsiteY1785" fmla="*/ 4000 h 10000"/>
                <a:gd name="connsiteX1786" fmla="*/ 3323 w 10785"/>
                <a:gd name="connsiteY1786" fmla="*/ 4034 h 10000"/>
                <a:gd name="connsiteX1787" fmla="*/ 3318 w 10785"/>
                <a:gd name="connsiteY1787" fmla="*/ 4051 h 10000"/>
                <a:gd name="connsiteX1788" fmla="*/ 3300 w 10785"/>
                <a:gd name="connsiteY1788" fmla="*/ 4051 h 10000"/>
                <a:gd name="connsiteX1789" fmla="*/ 3290 w 10785"/>
                <a:gd name="connsiteY1789" fmla="*/ 4077 h 10000"/>
                <a:gd name="connsiteX1790" fmla="*/ 3286 w 10785"/>
                <a:gd name="connsiteY1790" fmla="*/ 4103 h 10000"/>
                <a:gd name="connsiteX1791" fmla="*/ 3286 w 10785"/>
                <a:gd name="connsiteY1791" fmla="*/ 4197 h 10000"/>
                <a:gd name="connsiteX1792" fmla="*/ 3290 w 10785"/>
                <a:gd name="connsiteY1792" fmla="*/ 4214 h 10000"/>
                <a:gd name="connsiteX1793" fmla="*/ 3304 w 10785"/>
                <a:gd name="connsiteY1793" fmla="*/ 4214 h 10000"/>
                <a:gd name="connsiteX1794" fmla="*/ 3323 w 10785"/>
                <a:gd name="connsiteY1794" fmla="*/ 4239 h 10000"/>
                <a:gd name="connsiteX1795" fmla="*/ 3350 w 10785"/>
                <a:gd name="connsiteY1795" fmla="*/ 4222 h 10000"/>
                <a:gd name="connsiteX1796" fmla="*/ 3369 w 10785"/>
                <a:gd name="connsiteY1796" fmla="*/ 4256 h 10000"/>
                <a:gd name="connsiteX1797" fmla="*/ 3369 w 10785"/>
                <a:gd name="connsiteY1797" fmla="*/ 4256 h 10000"/>
                <a:gd name="connsiteX1798" fmla="*/ 3336 w 10785"/>
                <a:gd name="connsiteY1798" fmla="*/ 4274 h 10000"/>
                <a:gd name="connsiteX1799" fmla="*/ 3323 w 10785"/>
                <a:gd name="connsiteY1799" fmla="*/ 4274 h 10000"/>
                <a:gd name="connsiteX1800" fmla="*/ 3290 w 10785"/>
                <a:gd name="connsiteY1800" fmla="*/ 4274 h 10000"/>
                <a:gd name="connsiteX1801" fmla="*/ 3286 w 10785"/>
                <a:gd name="connsiteY1801" fmla="*/ 4239 h 10000"/>
                <a:gd name="connsiteX1802" fmla="*/ 3263 w 10785"/>
                <a:gd name="connsiteY1802" fmla="*/ 4214 h 10000"/>
                <a:gd name="connsiteX1803" fmla="*/ 3258 w 10785"/>
                <a:gd name="connsiteY1803" fmla="*/ 4188 h 10000"/>
                <a:gd name="connsiteX1804" fmla="*/ 3263 w 10785"/>
                <a:gd name="connsiteY1804" fmla="*/ 4171 h 10000"/>
                <a:gd name="connsiteX1805" fmla="*/ 3263 w 10785"/>
                <a:gd name="connsiteY1805" fmla="*/ 4103 h 10000"/>
                <a:gd name="connsiteX1806" fmla="*/ 3276 w 10785"/>
                <a:gd name="connsiteY1806" fmla="*/ 4060 h 10000"/>
                <a:gd name="connsiteX1807" fmla="*/ 3272 w 10785"/>
                <a:gd name="connsiteY1807" fmla="*/ 4051 h 10000"/>
                <a:gd name="connsiteX1808" fmla="*/ 3263 w 10785"/>
                <a:gd name="connsiteY1808" fmla="*/ 4051 h 10000"/>
                <a:gd name="connsiteX1809" fmla="*/ 3263 w 10785"/>
                <a:gd name="connsiteY1809" fmla="*/ 4034 h 10000"/>
                <a:gd name="connsiteX1810" fmla="*/ 3263 w 10785"/>
                <a:gd name="connsiteY1810" fmla="*/ 4000 h 10000"/>
                <a:gd name="connsiteX1811" fmla="*/ 3272 w 10785"/>
                <a:gd name="connsiteY1811" fmla="*/ 4000 h 10000"/>
                <a:gd name="connsiteX1812" fmla="*/ 3272 w 10785"/>
                <a:gd name="connsiteY1812" fmla="*/ 3974 h 10000"/>
                <a:gd name="connsiteX1813" fmla="*/ 3272 w 10785"/>
                <a:gd name="connsiteY1813" fmla="*/ 3966 h 10000"/>
                <a:gd name="connsiteX1814" fmla="*/ 3272 w 10785"/>
                <a:gd name="connsiteY1814" fmla="*/ 3949 h 10000"/>
                <a:gd name="connsiteX1815" fmla="*/ 3258 w 10785"/>
                <a:gd name="connsiteY1815" fmla="*/ 3923 h 10000"/>
                <a:gd name="connsiteX1816" fmla="*/ 3249 w 10785"/>
                <a:gd name="connsiteY1816" fmla="*/ 3915 h 10000"/>
                <a:gd name="connsiteX1817" fmla="*/ 3244 w 10785"/>
                <a:gd name="connsiteY1817" fmla="*/ 3897 h 10000"/>
                <a:gd name="connsiteX1818" fmla="*/ 3230 w 10785"/>
                <a:gd name="connsiteY1818" fmla="*/ 3889 h 10000"/>
                <a:gd name="connsiteX1819" fmla="*/ 3230 w 10785"/>
                <a:gd name="connsiteY1819" fmla="*/ 3863 h 10000"/>
                <a:gd name="connsiteX1820" fmla="*/ 3230 w 10785"/>
                <a:gd name="connsiteY1820" fmla="*/ 3838 h 10000"/>
                <a:gd name="connsiteX1821" fmla="*/ 3226 w 10785"/>
                <a:gd name="connsiteY1821" fmla="*/ 3803 h 10000"/>
                <a:gd name="connsiteX1822" fmla="*/ 3138 w 10785"/>
                <a:gd name="connsiteY1822" fmla="*/ 3838 h 10000"/>
                <a:gd name="connsiteX1823" fmla="*/ 3078 w 10785"/>
                <a:gd name="connsiteY1823" fmla="*/ 3889 h 10000"/>
                <a:gd name="connsiteX1824" fmla="*/ 3078 w 10785"/>
                <a:gd name="connsiteY1824" fmla="*/ 3940 h 10000"/>
                <a:gd name="connsiteX1825" fmla="*/ 3069 w 10785"/>
                <a:gd name="connsiteY1825" fmla="*/ 3983 h 10000"/>
                <a:gd name="connsiteX1826" fmla="*/ 3069 w 10785"/>
                <a:gd name="connsiteY1826" fmla="*/ 4009 h 10000"/>
                <a:gd name="connsiteX1827" fmla="*/ 3078 w 10785"/>
                <a:gd name="connsiteY1827" fmla="*/ 4026 h 10000"/>
                <a:gd name="connsiteX1828" fmla="*/ 3083 w 10785"/>
                <a:gd name="connsiteY1828" fmla="*/ 4034 h 10000"/>
                <a:gd name="connsiteX1829" fmla="*/ 3092 w 10785"/>
                <a:gd name="connsiteY1829" fmla="*/ 4060 h 10000"/>
                <a:gd name="connsiteX1830" fmla="*/ 3092 w 10785"/>
                <a:gd name="connsiteY1830" fmla="*/ 4077 h 10000"/>
                <a:gd name="connsiteX1831" fmla="*/ 3097 w 10785"/>
                <a:gd name="connsiteY1831" fmla="*/ 4103 h 10000"/>
                <a:gd name="connsiteX1832" fmla="*/ 3101 w 10785"/>
                <a:gd name="connsiteY1832" fmla="*/ 4162 h 10000"/>
                <a:gd name="connsiteX1833" fmla="*/ 3097 w 10785"/>
                <a:gd name="connsiteY1833" fmla="*/ 4222 h 10000"/>
                <a:gd name="connsiteX1834" fmla="*/ 3041 w 10785"/>
                <a:gd name="connsiteY1834" fmla="*/ 4325 h 10000"/>
                <a:gd name="connsiteX1835" fmla="*/ 3037 w 10785"/>
                <a:gd name="connsiteY1835" fmla="*/ 4419 h 10000"/>
                <a:gd name="connsiteX1836" fmla="*/ 3018 w 10785"/>
                <a:gd name="connsiteY1836" fmla="*/ 4470 h 10000"/>
                <a:gd name="connsiteX1837" fmla="*/ 2991 w 10785"/>
                <a:gd name="connsiteY1837" fmla="*/ 4513 h 10000"/>
                <a:gd name="connsiteX1838" fmla="*/ 2977 w 10785"/>
                <a:gd name="connsiteY1838" fmla="*/ 4530 h 10000"/>
                <a:gd name="connsiteX1839" fmla="*/ 2945 w 10785"/>
                <a:gd name="connsiteY1839" fmla="*/ 4556 h 10000"/>
                <a:gd name="connsiteX1840" fmla="*/ 2935 w 10785"/>
                <a:gd name="connsiteY1840" fmla="*/ 4581 h 10000"/>
                <a:gd name="connsiteX1841" fmla="*/ 2949 w 10785"/>
                <a:gd name="connsiteY1841" fmla="*/ 4624 h 10000"/>
                <a:gd name="connsiteX1842" fmla="*/ 2945 w 10785"/>
                <a:gd name="connsiteY1842" fmla="*/ 4658 h 10000"/>
                <a:gd name="connsiteX1843" fmla="*/ 2922 w 10785"/>
                <a:gd name="connsiteY1843" fmla="*/ 4667 h 10000"/>
                <a:gd name="connsiteX1844" fmla="*/ 2876 w 10785"/>
                <a:gd name="connsiteY1844" fmla="*/ 4632 h 10000"/>
                <a:gd name="connsiteX1845" fmla="*/ 2857 w 10785"/>
                <a:gd name="connsiteY1845" fmla="*/ 4632 h 10000"/>
                <a:gd name="connsiteX1846" fmla="*/ 2820 w 10785"/>
                <a:gd name="connsiteY1846" fmla="*/ 4641 h 10000"/>
                <a:gd name="connsiteX1847" fmla="*/ 2797 w 10785"/>
                <a:gd name="connsiteY1847" fmla="*/ 4632 h 10000"/>
                <a:gd name="connsiteX1848" fmla="*/ 2788 w 10785"/>
                <a:gd name="connsiteY1848" fmla="*/ 4624 h 10000"/>
                <a:gd name="connsiteX1849" fmla="*/ 2788 w 10785"/>
                <a:gd name="connsiteY1849" fmla="*/ 4598 h 10000"/>
                <a:gd name="connsiteX1850" fmla="*/ 2797 w 10785"/>
                <a:gd name="connsiteY1850" fmla="*/ 4581 h 10000"/>
                <a:gd name="connsiteX1851" fmla="*/ 2788 w 10785"/>
                <a:gd name="connsiteY1851" fmla="*/ 4530 h 10000"/>
                <a:gd name="connsiteX1852" fmla="*/ 2774 w 10785"/>
                <a:gd name="connsiteY1852" fmla="*/ 4530 h 10000"/>
                <a:gd name="connsiteX1853" fmla="*/ 2770 w 10785"/>
                <a:gd name="connsiteY1853" fmla="*/ 4513 h 10000"/>
                <a:gd name="connsiteX1854" fmla="*/ 2774 w 10785"/>
                <a:gd name="connsiteY1854" fmla="*/ 4513 h 10000"/>
                <a:gd name="connsiteX1855" fmla="*/ 2788 w 10785"/>
                <a:gd name="connsiteY1855" fmla="*/ 4496 h 10000"/>
                <a:gd name="connsiteX1856" fmla="*/ 2802 w 10785"/>
                <a:gd name="connsiteY1856" fmla="*/ 4513 h 10000"/>
                <a:gd name="connsiteX1857" fmla="*/ 2811 w 10785"/>
                <a:gd name="connsiteY1857" fmla="*/ 4530 h 10000"/>
                <a:gd name="connsiteX1858" fmla="*/ 2820 w 10785"/>
                <a:gd name="connsiteY1858" fmla="*/ 4521 h 10000"/>
                <a:gd name="connsiteX1859" fmla="*/ 2829 w 10785"/>
                <a:gd name="connsiteY1859" fmla="*/ 4513 h 10000"/>
                <a:gd name="connsiteX1860" fmla="*/ 2843 w 10785"/>
                <a:gd name="connsiteY1860" fmla="*/ 4513 h 10000"/>
                <a:gd name="connsiteX1861" fmla="*/ 2848 w 10785"/>
                <a:gd name="connsiteY1861" fmla="*/ 4470 h 10000"/>
                <a:gd name="connsiteX1862" fmla="*/ 2862 w 10785"/>
                <a:gd name="connsiteY1862" fmla="*/ 4487 h 10000"/>
                <a:gd name="connsiteX1863" fmla="*/ 2876 w 10785"/>
                <a:gd name="connsiteY1863" fmla="*/ 4470 h 10000"/>
                <a:gd name="connsiteX1864" fmla="*/ 2880 w 10785"/>
                <a:gd name="connsiteY1864" fmla="*/ 4462 h 10000"/>
                <a:gd name="connsiteX1865" fmla="*/ 2889 w 10785"/>
                <a:gd name="connsiteY1865" fmla="*/ 4444 h 10000"/>
                <a:gd name="connsiteX1866" fmla="*/ 2894 w 10785"/>
                <a:gd name="connsiteY1866" fmla="*/ 4462 h 10000"/>
                <a:gd name="connsiteX1867" fmla="*/ 2917 w 10785"/>
                <a:gd name="connsiteY1867" fmla="*/ 4444 h 10000"/>
                <a:gd name="connsiteX1868" fmla="*/ 2922 w 10785"/>
                <a:gd name="connsiteY1868" fmla="*/ 4436 h 10000"/>
                <a:gd name="connsiteX1869" fmla="*/ 2917 w 10785"/>
                <a:gd name="connsiteY1869" fmla="*/ 4410 h 10000"/>
                <a:gd name="connsiteX1870" fmla="*/ 2894 w 10785"/>
                <a:gd name="connsiteY1870" fmla="*/ 4410 h 10000"/>
                <a:gd name="connsiteX1871" fmla="*/ 2889 w 10785"/>
                <a:gd name="connsiteY1871" fmla="*/ 4419 h 10000"/>
                <a:gd name="connsiteX1872" fmla="*/ 2876 w 10785"/>
                <a:gd name="connsiteY1872" fmla="*/ 4410 h 10000"/>
                <a:gd name="connsiteX1873" fmla="*/ 2880 w 10785"/>
                <a:gd name="connsiteY1873" fmla="*/ 4376 h 10000"/>
                <a:gd name="connsiteX1874" fmla="*/ 2903 w 10785"/>
                <a:gd name="connsiteY1874" fmla="*/ 4393 h 10000"/>
                <a:gd name="connsiteX1875" fmla="*/ 2931 w 10785"/>
                <a:gd name="connsiteY1875" fmla="*/ 4393 h 10000"/>
                <a:gd name="connsiteX1876" fmla="*/ 2931 w 10785"/>
                <a:gd name="connsiteY1876" fmla="*/ 4385 h 10000"/>
                <a:gd name="connsiteX1877" fmla="*/ 2931 w 10785"/>
                <a:gd name="connsiteY1877" fmla="*/ 4350 h 10000"/>
                <a:gd name="connsiteX1878" fmla="*/ 2945 w 10785"/>
                <a:gd name="connsiteY1878" fmla="*/ 4350 h 10000"/>
                <a:gd name="connsiteX1879" fmla="*/ 2949 w 10785"/>
                <a:gd name="connsiteY1879" fmla="*/ 4325 h 10000"/>
                <a:gd name="connsiteX1880" fmla="*/ 2963 w 10785"/>
                <a:gd name="connsiteY1880" fmla="*/ 4256 h 10000"/>
                <a:gd name="connsiteX1881" fmla="*/ 2982 w 10785"/>
                <a:gd name="connsiteY1881" fmla="*/ 4239 h 10000"/>
                <a:gd name="connsiteX1882" fmla="*/ 2991 w 10785"/>
                <a:gd name="connsiteY1882" fmla="*/ 4214 h 10000"/>
                <a:gd name="connsiteX1883" fmla="*/ 2991 w 10785"/>
                <a:gd name="connsiteY1883" fmla="*/ 4197 h 10000"/>
                <a:gd name="connsiteX1884" fmla="*/ 2995 w 10785"/>
                <a:gd name="connsiteY1884" fmla="*/ 4171 h 10000"/>
                <a:gd name="connsiteX1885" fmla="*/ 2991 w 10785"/>
                <a:gd name="connsiteY1885" fmla="*/ 4077 h 10000"/>
                <a:gd name="connsiteX1886" fmla="*/ 2995 w 10785"/>
                <a:gd name="connsiteY1886" fmla="*/ 4034 h 10000"/>
                <a:gd name="connsiteX1887" fmla="*/ 3018 w 10785"/>
                <a:gd name="connsiteY1887" fmla="*/ 3983 h 10000"/>
                <a:gd name="connsiteX1888" fmla="*/ 3018 w 10785"/>
                <a:gd name="connsiteY1888" fmla="*/ 3915 h 10000"/>
                <a:gd name="connsiteX1889" fmla="*/ 2949 w 10785"/>
                <a:gd name="connsiteY1889" fmla="*/ 3778 h 10000"/>
                <a:gd name="connsiteX1890" fmla="*/ 2954 w 10785"/>
                <a:gd name="connsiteY1890" fmla="*/ 3675 h 10000"/>
                <a:gd name="connsiteX1891" fmla="*/ 2954 w 10785"/>
                <a:gd name="connsiteY1891" fmla="*/ 3650 h 10000"/>
                <a:gd name="connsiteX1892" fmla="*/ 2963 w 10785"/>
                <a:gd name="connsiteY1892" fmla="*/ 3624 h 10000"/>
                <a:gd name="connsiteX1893" fmla="*/ 2954 w 10785"/>
                <a:gd name="connsiteY1893" fmla="*/ 3564 h 10000"/>
                <a:gd name="connsiteX1894" fmla="*/ 2963 w 10785"/>
                <a:gd name="connsiteY1894" fmla="*/ 3538 h 10000"/>
                <a:gd name="connsiteX1895" fmla="*/ 2963 w 10785"/>
                <a:gd name="connsiteY1895" fmla="*/ 3487 h 10000"/>
                <a:gd name="connsiteX1896" fmla="*/ 2963 w 10785"/>
                <a:gd name="connsiteY1896" fmla="*/ 3479 h 10000"/>
                <a:gd name="connsiteX1897" fmla="*/ 2963 w 10785"/>
                <a:gd name="connsiteY1897" fmla="*/ 3462 h 10000"/>
                <a:gd name="connsiteX1898" fmla="*/ 2954 w 10785"/>
                <a:gd name="connsiteY1898" fmla="*/ 3453 h 10000"/>
                <a:gd name="connsiteX1899" fmla="*/ 2954 w 10785"/>
                <a:gd name="connsiteY1899" fmla="*/ 3444 h 10000"/>
                <a:gd name="connsiteX1900" fmla="*/ 2954 w 10785"/>
                <a:gd name="connsiteY1900" fmla="*/ 3402 h 10000"/>
                <a:gd name="connsiteX1901" fmla="*/ 2954 w 10785"/>
                <a:gd name="connsiteY1901" fmla="*/ 3393 h 10000"/>
                <a:gd name="connsiteX1902" fmla="*/ 2949 w 10785"/>
                <a:gd name="connsiteY1902" fmla="*/ 3376 h 10000"/>
                <a:gd name="connsiteX1903" fmla="*/ 2949 w 10785"/>
                <a:gd name="connsiteY1903" fmla="*/ 3342 h 10000"/>
                <a:gd name="connsiteX1904" fmla="*/ 2949 w 10785"/>
                <a:gd name="connsiteY1904" fmla="*/ 3316 h 10000"/>
                <a:gd name="connsiteX1905" fmla="*/ 2968 w 10785"/>
                <a:gd name="connsiteY1905" fmla="*/ 3291 h 10000"/>
                <a:gd name="connsiteX1906" fmla="*/ 2963 w 10785"/>
                <a:gd name="connsiteY1906" fmla="*/ 3205 h 10000"/>
                <a:gd name="connsiteX1907" fmla="*/ 2968 w 10785"/>
                <a:gd name="connsiteY1907" fmla="*/ 3171 h 10000"/>
                <a:gd name="connsiteX1908" fmla="*/ 2968 w 10785"/>
                <a:gd name="connsiteY1908" fmla="*/ 3128 h 10000"/>
                <a:gd name="connsiteX1909" fmla="*/ 2954 w 10785"/>
                <a:gd name="connsiteY1909" fmla="*/ 3051 h 10000"/>
                <a:gd name="connsiteX1910" fmla="*/ 2954 w 10785"/>
                <a:gd name="connsiteY1910" fmla="*/ 3009 h 10000"/>
                <a:gd name="connsiteX1911" fmla="*/ 2922 w 10785"/>
                <a:gd name="connsiteY1911" fmla="*/ 2940 h 10000"/>
                <a:gd name="connsiteX1912" fmla="*/ 2903 w 10785"/>
                <a:gd name="connsiteY1912" fmla="*/ 2880 h 10000"/>
                <a:gd name="connsiteX1913" fmla="*/ 2903 w 10785"/>
                <a:gd name="connsiteY1913" fmla="*/ 2855 h 10000"/>
                <a:gd name="connsiteX1914" fmla="*/ 2908 w 10785"/>
                <a:gd name="connsiteY1914" fmla="*/ 2846 h 10000"/>
                <a:gd name="connsiteX1915" fmla="*/ 2931 w 10785"/>
                <a:gd name="connsiteY1915" fmla="*/ 2821 h 10000"/>
                <a:gd name="connsiteX1916" fmla="*/ 2931 w 10785"/>
                <a:gd name="connsiteY1916" fmla="*/ 2803 h 10000"/>
                <a:gd name="connsiteX1917" fmla="*/ 2935 w 10785"/>
                <a:gd name="connsiteY1917" fmla="*/ 2786 h 10000"/>
                <a:gd name="connsiteX1918" fmla="*/ 2935 w 10785"/>
                <a:gd name="connsiteY1918" fmla="*/ 2744 h 10000"/>
                <a:gd name="connsiteX1919" fmla="*/ 2963 w 10785"/>
                <a:gd name="connsiteY1919" fmla="*/ 2607 h 10000"/>
                <a:gd name="connsiteX1920" fmla="*/ 2963 w 10785"/>
                <a:gd name="connsiteY1920" fmla="*/ 2419 h 10000"/>
                <a:gd name="connsiteX1921" fmla="*/ 2954 w 10785"/>
                <a:gd name="connsiteY1921" fmla="*/ 2410 h 10000"/>
                <a:gd name="connsiteX1922" fmla="*/ 2963 w 10785"/>
                <a:gd name="connsiteY1922" fmla="*/ 2393 h 10000"/>
                <a:gd name="connsiteX1923" fmla="*/ 2908 w 10785"/>
                <a:gd name="connsiteY1923" fmla="*/ 2359 h 10000"/>
                <a:gd name="connsiteX1924" fmla="*/ 2889 w 10785"/>
                <a:gd name="connsiteY1924" fmla="*/ 2325 h 10000"/>
                <a:gd name="connsiteX1925" fmla="*/ 2788 w 10785"/>
                <a:gd name="connsiteY1925" fmla="*/ 2333 h 10000"/>
                <a:gd name="connsiteX1926" fmla="*/ 2774 w 10785"/>
                <a:gd name="connsiteY1926" fmla="*/ 2325 h 10000"/>
                <a:gd name="connsiteX1927" fmla="*/ 2783 w 10785"/>
                <a:gd name="connsiteY1927" fmla="*/ 2308 h 10000"/>
                <a:gd name="connsiteX1928" fmla="*/ 2747 w 10785"/>
                <a:gd name="connsiteY1928" fmla="*/ 2308 h 10000"/>
                <a:gd name="connsiteX1929" fmla="*/ 2742 w 10785"/>
                <a:gd name="connsiteY1929" fmla="*/ 2333 h 10000"/>
                <a:gd name="connsiteX1930" fmla="*/ 2682 w 10785"/>
                <a:gd name="connsiteY1930" fmla="*/ 2769 h 10000"/>
                <a:gd name="connsiteX1931" fmla="*/ 2613 w 10785"/>
                <a:gd name="connsiteY1931" fmla="*/ 2940 h 10000"/>
                <a:gd name="connsiteX1932" fmla="*/ 2581 w 10785"/>
                <a:gd name="connsiteY1932" fmla="*/ 2966 h 10000"/>
                <a:gd name="connsiteX1933" fmla="*/ 2576 w 10785"/>
                <a:gd name="connsiteY1933" fmla="*/ 3051 h 10000"/>
                <a:gd name="connsiteX1934" fmla="*/ 2581 w 10785"/>
                <a:gd name="connsiteY1934" fmla="*/ 3051 h 10000"/>
                <a:gd name="connsiteX1935" fmla="*/ 2594 w 10785"/>
                <a:gd name="connsiteY1935" fmla="*/ 3017 h 10000"/>
                <a:gd name="connsiteX1936" fmla="*/ 2594 w 10785"/>
                <a:gd name="connsiteY1936" fmla="*/ 3034 h 10000"/>
                <a:gd name="connsiteX1937" fmla="*/ 2594 w 10785"/>
                <a:gd name="connsiteY1937" fmla="*/ 3051 h 10000"/>
                <a:gd name="connsiteX1938" fmla="*/ 2590 w 10785"/>
                <a:gd name="connsiteY1938" fmla="*/ 3077 h 10000"/>
                <a:gd name="connsiteX1939" fmla="*/ 2567 w 10785"/>
                <a:gd name="connsiteY1939" fmla="*/ 3103 h 10000"/>
                <a:gd name="connsiteX1940" fmla="*/ 2562 w 10785"/>
                <a:gd name="connsiteY1940" fmla="*/ 3145 h 10000"/>
                <a:gd name="connsiteX1941" fmla="*/ 2567 w 10785"/>
                <a:gd name="connsiteY1941" fmla="*/ 3179 h 10000"/>
                <a:gd name="connsiteX1942" fmla="*/ 2590 w 10785"/>
                <a:gd name="connsiteY1942" fmla="*/ 3171 h 10000"/>
                <a:gd name="connsiteX1943" fmla="*/ 2594 w 10785"/>
                <a:gd name="connsiteY1943" fmla="*/ 3145 h 10000"/>
                <a:gd name="connsiteX1944" fmla="*/ 2613 w 10785"/>
                <a:gd name="connsiteY1944" fmla="*/ 3154 h 10000"/>
                <a:gd name="connsiteX1945" fmla="*/ 2622 w 10785"/>
                <a:gd name="connsiteY1945" fmla="*/ 3179 h 10000"/>
                <a:gd name="connsiteX1946" fmla="*/ 2613 w 10785"/>
                <a:gd name="connsiteY1946" fmla="*/ 3214 h 10000"/>
                <a:gd name="connsiteX1947" fmla="*/ 2613 w 10785"/>
                <a:gd name="connsiteY1947" fmla="*/ 3308 h 10000"/>
                <a:gd name="connsiteX1948" fmla="*/ 2608 w 10785"/>
                <a:gd name="connsiteY1948" fmla="*/ 3325 h 10000"/>
                <a:gd name="connsiteX1949" fmla="*/ 2608 w 10785"/>
                <a:gd name="connsiteY1949" fmla="*/ 3376 h 10000"/>
                <a:gd name="connsiteX1950" fmla="*/ 2613 w 10785"/>
                <a:gd name="connsiteY1950" fmla="*/ 3419 h 10000"/>
                <a:gd name="connsiteX1951" fmla="*/ 2608 w 10785"/>
                <a:gd name="connsiteY1951" fmla="*/ 3444 h 10000"/>
                <a:gd name="connsiteX1952" fmla="*/ 2594 w 10785"/>
                <a:gd name="connsiteY1952" fmla="*/ 3444 h 10000"/>
                <a:gd name="connsiteX1953" fmla="*/ 2590 w 10785"/>
                <a:gd name="connsiteY1953" fmla="*/ 3427 h 10000"/>
                <a:gd name="connsiteX1954" fmla="*/ 2581 w 10785"/>
                <a:gd name="connsiteY1954" fmla="*/ 3564 h 10000"/>
                <a:gd name="connsiteX1955" fmla="*/ 2594 w 10785"/>
                <a:gd name="connsiteY1955" fmla="*/ 3598 h 10000"/>
                <a:gd name="connsiteX1956" fmla="*/ 2594 w 10785"/>
                <a:gd name="connsiteY1956" fmla="*/ 3581 h 10000"/>
                <a:gd name="connsiteX1957" fmla="*/ 2608 w 10785"/>
                <a:gd name="connsiteY1957" fmla="*/ 3556 h 10000"/>
                <a:gd name="connsiteX1958" fmla="*/ 2650 w 10785"/>
                <a:gd name="connsiteY1958" fmla="*/ 3615 h 10000"/>
                <a:gd name="connsiteX1959" fmla="*/ 2664 w 10785"/>
                <a:gd name="connsiteY1959" fmla="*/ 3615 h 10000"/>
                <a:gd name="connsiteX1960" fmla="*/ 2668 w 10785"/>
                <a:gd name="connsiteY1960" fmla="*/ 3615 h 10000"/>
                <a:gd name="connsiteX1961" fmla="*/ 2664 w 10785"/>
                <a:gd name="connsiteY1961" fmla="*/ 3667 h 10000"/>
                <a:gd name="connsiteX1962" fmla="*/ 2687 w 10785"/>
                <a:gd name="connsiteY1962" fmla="*/ 3786 h 10000"/>
                <a:gd name="connsiteX1963" fmla="*/ 2710 w 10785"/>
                <a:gd name="connsiteY1963" fmla="*/ 3812 h 10000"/>
                <a:gd name="connsiteX1964" fmla="*/ 2724 w 10785"/>
                <a:gd name="connsiteY1964" fmla="*/ 3812 h 10000"/>
                <a:gd name="connsiteX1965" fmla="*/ 2724 w 10785"/>
                <a:gd name="connsiteY1965" fmla="*/ 3829 h 10000"/>
                <a:gd name="connsiteX1966" fmla="*/ 2737 w 10785"/>
                <a:gd name="connsiteY1966" fmla="*/ 3838 h 10000"/>
                <a:gd name="connsiteX1967" fmla="*/ 2714 w 10785"/>
                <a:gd name="connsiteY1967" fmla="*/ 3872 h 10000"/>
                <a:gd name="connsiteX1968" fmla="*/ 2696 w 10785"/>
                <a:gd name="connsiteY1968" fmla="*/ 4026 h 10000"/>
                <a:gd name="connsiteX1969" fmla="*/ 2673 w 10785"/>
                <a:gd name="connsiteY1969" fmla="*/ 4051 h 10000"/>
                <a:gd name="connsiteX1970" fmla="*/ 2668 w 10785"/>
                <a:gd name="connsiteY1970" fmla="*/ 4034 h 10000"/>
                <a:gd name="connsiteX1971" fmla="*/ 2673 w 10785"/>
                <a:gd name="connsiteY1971" fmla="*/ 4000 h 10000"/>
                <a:gd name="connsiteX1972" fmla="*/ 2664 w 10785"/>
                <a:gd name="connsiteY1972" fmla="*/ 3974 h 10000"/>
                <a:gd name="connsiteX1973" fmla="*/ 2636 w 10785"/>
                <a:gd name="connsiteY1973" fmla="*/ 3949 h 10000"/>
                <a:gd name="connsiteX1974" fmla="*/ 2581 w 10785"/>
                <a:gd name="connsiteY1974" fmla="*/ 3838 h 10000"/>
                <a:gd name="connsiteX1975" fmla="*/ 2562 w 10785"/>
                <a:gd name="connsiteY1975" fmla="*/ 3829 h 10000"/>
                <a:gd name="connsiteX1976" fmla="*/ 2535 w 10785"/>
                <a:gd name="connsiteY1976" fmla="*/ 3778 h 10000"/>
                <a:gd name="connsiteX1977" fmla="*/ 2502 w 10785"/>
                <a:gd name="connsiteY1977" fmla="*/ 3761 h 10000"/>
                <a:gd name="connsiteX1978" fmla="*/ 2502 w 10785"/>
                <a:gd name="connsiteY1978" fmla="*/ 3735 h 10000"/>
                <a:gd name="connsiteX1979" fmla="*/ 2516 w 10785"/>
                <a:gd name="connsiteY1979" fmla="*/ 3735 h 10000"/>
                <a:gd name="connsiteX1980" fmla="*/ 2507 w 10785"/>
                <a:gd name="connsiteY1980" fmla="*/ 3726 h 10000"/>
                <a:gd name="connsiteX1981" fmla="*/ 2488 w 10785"/>
                <a:gd name="connsiteY1981" fmla="*/ 3726 h 10000"/>
                <a:gd name="connsiteX1982" fmla="*/ 2461 w 10785"/>
                <a:gd name="connsiteY1982" fmla="*/ 3692 h 10000"/>
                <a:gd name="connsiteX1983" fmla="*/ 2442 w 10785"/>
                <a:gd name="connsiteY1983" fmla="*/ 3675 h 10000"/>
                <a:gd name="connsiteX1984" fmla="*/ 2406 w 10785"/>
                <a:gd name="connsiteY1984" fmla="*/ 3598 h 10000"/>
                <a:gd name="connsiteX1985" fmla="*/ 2346 w 10785"/>
                <a:gd name="connsiteY1985" fmla="*/ 3564 h 10000"/>
                <a:gd name="connsiteX1986" fmla="*/ 2341 w 10785"/>
                <a:gd name="connsiteY1986" fmla="*/ 3564 h 10000"/>
                <a:gd name="connsiteX1987" fmla="*/ 2313 w 10785"/>
                <a:gd name="connsiteY1987" fmla="*/ 3530 h 10000"/>
                <a:gd name="connsiteX1988" fmla="*/ 2235 w 10785"/>
                <a:gd name="connsiteY1988" fmla="*/ 3530 h 10000"/>
                <a:gd name="connsiteX1989" fmla="*/ 2226 w 10785"/>
                <a:gd name="connsiteY1989" fmla="*/ 3513 h 10000"/>
                <a:gd name="connsiteX1990" fmla="*/ 2207 w 10785"/>
                <a:gd name="connsiteY1990" fmla="*/ 3504 h 10000"/>
                <a:gd name="connsiteX1991" fmla="*/ 2194 w 10785"/>
                <a:gd name="connsiteY1991" fmla="*/ 3504 h 10000"/>
                <a:gd name="connsiteX1992" fmla="*/ 2189 w 10785"/>
                <a:gd name="connsiteY1992" fmla="*/ 3504 h 10000"/>
                <a:gd name="connsiteX1993" fmla="*/ 2189 w 10785"/>
                <a:gd name="connsiteY1993" fmla="*/ 3530 h 10000"/>
                <a:gd name="connsiteX1994" fmla="*/ 2180 w 10785"/>
                <a:gd name="connsiteY1994" fmla="*/ 3538 h 10000"/>
                <a:gd name="connsiteX1995" fmla="*/ 2152 w 10785"/>
                <a:gd name="connsiteY1995" fmla="*/ 3581 h 10000"/>
                <a:gd name="connsiteX1996" fmla="*/ 2161 w 10785"/>
                <a:gd name="connsiteY1996" fmla="*/ 3598 h 10000"/>
                <a:gd name="connsiteX1997" fmla="*/ 2194 w 10785"/>
                <a:gd name="connsiteY1997" fmla="*/ 3752 h 10000"/>
                <a:gd name="connsiteX1998" fmla="*/ 2194 w 10785"/>
                <a:gd name="connsiteY1998" fmla="*/ 3735 h 10000"/>
                <a:gd name="connsiteX1999" fmla="*/ 2198 w 10785"/>
                <a:gd name="connsiteY1999" fmla="*/ 3735 h 10000"/>
                <a:gd name="connsiteX2000" fmla="*/ 2189 w 10785"/>
                <a:gd name="connsiteY2000" fmla="*/ 3838 h 10000"/>
                <a:gd name="connsiteX2001" fmla="*/ 2166 w 10785"/>
                <a:gd name="connsiteY2001" fmla="*/ 3889 h 10000"/>
                <a:gd name="connsiteX2002" fmla="*/ 2124 w 10785"/>
                <a:gd name="connsiteY2002" fmla="*/ 3889 h 10000"/>
                <a:gd name="connsiteX2003" fmla="*/ 2124 w 10785"/>
                <a:gd name="connsiteY2003" fmla="*/ 3923 h 10000"/>
                <a:gd name="connsiteX2004" fmla="*/ 2134 w 10785"/>
                <a:gd name="connsiteY2004" fmla="*/ 3940 h 10000"/>
                <a:gd name="connsiteX2005" fmla="*/ 2134 w 10785"/>
                <a:gd name="connsiteY2005" fmla="*/ 3966 h 10000"/>
                <a:gd name="connsiteX2006" fmla="*/ 2120 w 10785"/>
                <a:gd name="connsiteY2006" fmla="*/ 4000 h 10000"/>
                <a:gd name="connsiteX2007" fmla="*/ 2106 w 10785"/>
                <a:gd name="connsiteY2007" fmla="*/ 4009 h 10000"/>
                <a:gd name="connsiteX2008" fmla="*/ 2088 w 10785"/>
                <a:gd name="connsiteY2008" fmla="*/ 4000 h 10000"/>
                <a:gd name="connsiteX2009" fmla="*/ 2074 w 10785"/>
                <a:gd name="connsiteY2009" fmla="*/ 3974 h 10000"/>
                <a:gd name="connsiteX2010" fmla="*/ 2074 w 10785"/>
                <a:gd name="connsiteY2010" fmla="*/ 3940 h 10000"/>
                <a:gd name="connsiteX2011" fmla="*/ 2078 w 10785"/>
                <a:gd name="connsiteY2011" fmla="*/ 3915 h 10000"/>
                <a:gd name="connsiteX2012" fmla="*/ 2088 w 10785"/>
                <a:gd name="connsiteY2012" fmla="*/ 3889 h 10000"/>
                <a:gd name="connsiteX2013" fmla="*/ 2101 w 10785"/>
                <a:gd name="connsiteY2013" fmla="*/ 3872 h 10000"/>
                <a:gd name="connsiteX2014" fmla="*/ 2074 w 10785"/>
                <a:gd name="connsiteY2014" fmla="*/ 3812 h 10000"/>
                <a:gd name="connsiteX2015" fmla="*/ 2074 w 10785"/>
                <a:gd name="connsiteY2015" fmla="*/ 3786 h 10000"/>
                <a:gd name="connsiteX2016" fmla="*/ 2060 w 10785"/>
                <a:gd name="connsiteY2016" fmla="*/ 3786 h 10000"/>
                <a:gd name="connsiteX2017" fmla="*/ 2014 w 10785"/>
                <a:gd name="connsiteY2017" fmla="*/ 3829 h 10000"/>
                <a:gd name="connsiteX2018" fmla="*/ 2000 w 10785"/>
                <a:gd name="connsiteY2018" fmla="*/ 3863 h 10000"/>
                <a:gd name="connsiteX2019" fmla="*/ 1986 w 10785"/>
                <a:gd name="connsiteY2019" fmla="*/ 3872 h 10000"/>
                <a:gd name="connsiteX2020" fmla="*/ 1959 w 10785"/>
                <a:gd name="connsiteY2020" fmla="*/ 3940 h 10000"/>
                <a:gd name="connsiteX2021" fmla="*/ 1945 w 10785"/>
                <a:gd name="connsiteY2021" fmla="*/ 3949 h 10000"/>
                <a:gd name="connsiteX2022" fmla="*/ 1940 w 10785"/>
                <a:gd name="connsiteY2022" fmla="*/ 3923 h 10000"/>
                <a:gd name="connsiteX2023" fmla="*/ 1917 w 10785"/>
                <a:gd name="connsiteY2023" fmla="*/ 3915 h 10000"/>
                <a:gd name="connsiteX2024" fmla="*/ 1899 w 10785"/>
                <a:gd name="connsiteY2024" fmla="*/ 3923 h 10000"/>
                <a:gd name="connsiteX2025" fmla="*/ 1880 w 10785"/>
                <a:gd name="connsiteY2025" fmla="*/ 3915 h 10000"/>
                <a:gd name="connsiteX2026" fmla="*/ 1853 w 10785"/>
                <a:gd name="connsiteY2026" fmla="*/ 3940 h 10000"/>
                <a:gd name="connsiteX2027" fmla="*/ 1839 w 10785"/>
                <a:gd name="connsiteY2027" fmla="*/ 3940 h 10000"/>
                <a:gd name="connsiteX2028" fmla="*/ 1806 w 10785"/>
                <a:gd name="connsiteY2028" fmla="*/ 3983 h 10000"/>
                <a:gd name="connsiteX2029" fmla="*/ 1806 w 10785"/>
                <a:gd name="connsiteY2029" fmla="*/ 4000 h 10000"/>
                <a:gd name="connsiteX2030" fmla="*/ 1797 w 10785"/>
                <a:gd name="connsiteY2030" fmla="*/ 4077 h 10000"/>
                <a:gd name="connsiteX2031" fmla="*/ 1783 w 10785"/>
                <a:gd name="connsiteY2031" fmla="*/ 4077 h 10000"/>
                <a:gd name="connsiteX2032" fmla="*/ 1779 w 10785"/>
                <a:gd name="connsiteY2032" fmla="*/ 4051 h 10000"/>
                <a:gd name="connsiteX2033" fmla="*/ 1765 w 10785"/>
                <a:gd name="connsiteY2033" fmla="*/ 4026 h 10000"/>
                <a:gd name="connsiteX2034" fmla="*/ 1751 w 10785"/>
                <a:gd name="connsiteY2034" fmla="*/ 4051 h 10000"/>
                <a:gd name="connsiteX2035" fmla="*/ 1737 w 10785"/>
                <a:gd name="connsiteY2035" fmla="*/ 4009 h 10000"/>
                <a:gd name="connsiteX2036" fmla="*/ 1737 w 10785"/>
                <a:gd name="connsiteY2036" fmla="*/ 3966 h 10000"/>
                <a:gd name="connsiteX2037" fmla="*/ 1733 w 10785"/>
                <a:gd name="connsiteY2037" fmla="*/ 3940 h 10000"/>
                <a:gd name="connsiteX2038" fmla="*/ 1733 w 10785"/>
                <a:gd name="connsiteY2038" fmla="*/ 3923 h 10000"/>
                <a:gd name="connsiteX2039" fmla="*/ 1747 w 10785"/>
                <a:gd name="connsiteY2039" fmla="*/ 3889 h 10000"/>
                <a:gd name="connsiteX2040" fmla="*/ 1747 w 10785"/>
                <a:gd name="connsiteY2040" fmla="*/ 3863 h 10000"/>
                <a:gd name="connsiteX2041" fmla="*/ 1737 w 10785"/>
                <a:gd name="connsiteY2041" fmla="*/ 3838 h 10000"/>
                <a:gd name="connsiteX2042" fmla="*/ 1733 w 10785"/>
                <a:gd name="connsiteY2042" fmla="*/ 3829 h 10000"/>
                <a:gd name="connsiteX2043" fmla="*/ 1733 w 10785"/>
                <a:gd name="connsiteY2043" fmla="*/ 3846 h 10000"/>
                <a:gd name="connsiteX2044" fmla="*/ 1724 w 10785"/>
                <a:gd name="connsiteY2044" fmla="*/ 3846 h 10000"/>
                <a:gd name="connsiteX2045" fmla="*/ 1724 w 10785"/>
                <a:gd name="connsiteY2045" fmla="*/ 3829 h 10000"/>
                <a:gd name="connsiteX2046" fmla="*/ 1737 w 10785"/>
                <a:gd name="connsiteY2046" fmla="*/ 3812 h 10000"/>
                <a:gd name="connsiteX2047" fmla="*/ 1765 w 10785"/>
                <a:gd name="connsiteY2047" fmla="*/ 3812 h 10000"/>
                <a:gd name="connsiteX2048" fmla="*/ 1779 w 10785"/>
                <a:gd name="connsiteY2048" fmla="*/ 3786 h 10000"/>
                <a:gd name="connsiteX2049" fmla="*/ 1779 w 10785"/>
                <a:gd name="connsiteY2049" fmla="*/ 3786 h 10000"/>
                <a:gd name="connsiteX2050" fmla="*/ 1751 w 10785"/>
                <a:gd name="connsiteY2050" fmla="*/ 3803 h 10000"/>
                <a:gd name="connsiteX2051" fmla="*/ 1747 w 10785"/>
                <a:gd name="connsiteY2051" fmla="*/ 3803 h 10000"/>
                <a:gd name="connsiteX2052" fmla="*/ 1724 w 10785"/>
                <a:gd name="connsiteY2052" fmla="*/ 3803 h 10000"/>
                <a:gd name="connsiteX2053" fmla="*/ 1700 w 10785"/>
                <a:gd name="connsiteY2053" fmla="*/ 3829 h 10000"/>
                <a:gd name="connsiteX2054" fmla="*/ 1705 w 10785"/>
                <a:gd name="connsiteY2054" fmla="*/ 3846 h 10000"/>
                <a:gd name="connsiteX2055" fmla="*/ 1691 w 10785"/>
                <a:gd name="connsiteY2055" fmla="*/ 3846 h 10000"/>
                <a:gd name="connsiteX2056" fmla="*/ 1691 w 10785"/>
                <a:gd name="connsiteY2056" fmla="*/ 3863 h 10000"/>
                <a:gd name="connsiteX2057" fmla="*/ 1691 w 10785"/>
                <a:gd name="connsiteY2057" fmla="*/ 3915 h 10000"/>
                <a:gd name="connsiteX2058" fmla="*/ 1677 w 10785"/>
                <a:gd name="connsiteY2058" fmla="*/ 3923 h 10000"/>
                <a:gd name="connsiteX2059" fmla="*/ 1673 w 10785"/>
                <a:gd name="connsiteY2059" fmla="*/ 3915 h 10000"/>
                <a:gd name="connsiteX2060" fmla="*/ 1664 w 10785"/>
                <a:gd name="connsiteY2060" fmla="*/ 3889 h 10000"/>
                <a:gd name="connsiteX2061" fmla="*/ 1673 w 10785"/>
                <a:gd name="connsiteY2061" fmla="*/ 3872 h 10000"/>
                <a:gd name="connsiteX2062" fmla="*/ 1664 w 10785"/>
                <a:gd name="connsiteY2062" fmla="*/ 3872 h 10000"/>
                <a:gd name="connsiteX2063" fmla="*/ 1636 w 10785"/>
                <a:gd name="connsiteY2063" fmla="*/ 3923 h 10000"/>
                <a:gd name="connsiteX2064" fmla="*/ 1645 w 10785"/>
                <a:gd name="connsiteY2064" fmla="*/ 3923 h 10000"/>
                <a:gd name="connsiteX2065" fmla="*/ 1650 w 10785"/>
                <a:gd name="connsiteY2065" fmla="*/ 3949 h 10000"/>
                <a:gd name="connsiteX2066" fmla="*/ 1650 w 10785"/>
                <a:gd name="connsiteY2066" fmla="*/ 3983 h 10000"/>
                <a:gd name="connsiteX2067" fmla="*/ 1636 w 10785"/>
                <a:gd name="connsiteY2067" fmla="*/ 4000 h 10000"/>
                <a:gd name="connsiteX2068" fmla="*/ 1631 w 10785"/>
                <a:gd name="connsiteY2068" fmla="*/ 4009 h 10000"/>
                <a:gd name="connsiteX2069" fmla="*/ 1618 w 10785"/>
                <a:gd name="connsiteY2069" fmla="*/ 3949 h 10000"/>
                <a:gd name="connsiteX2070" fmla="*/ 1585 w 10785"/>
                <a:gd name="connsiteY2070" fmla="*/ 3966 h 10000"/>
                <a:gd name="connsiteX2071" fmla="*/ 1590 w 10785"/>
                <a:gd name="connsiteY2071" fmla="*/ 3974 h 10000"/>
                <a:gd name="connsiteX2072" fmla="*/ 1544 w 10785"/>
                <a:gd name="connsiteY2072" fmla="*/ 4009 h 10000"/>
                <a:gd name="connsiteX2073" fmla="*/ 1539 w 10785"/>
                <a:gd name="connsiteY2073" fmla="*/ 4009 h 10000"/>
                <a:gd name="connsiteX2074" fmla="*/ 1410 w 10785"/>
                <a:gd name="connsiteY2074" fmla="*/ 4188 h 10000"/>
                <a:gd name="connsiteX2075" fmla="*/ 1406 w 10785"/>
                <a:gd name="connsiteY2075" fmla="*/ 4171 h 10000"/>
                <a:gd name="connsiteX2076" fmla="*/ 1396 w 10785"/>
                <a:gd name="connsiteY2076" fmla="*/ 4214 h 10000"/>
                <a:gd name="connsiteX2077" fmla="*/ 1406 w 10785"/>
                <a:gd name="connsiteY2077" fmla="*/ 4222 h 10000"/>
                <a:gd name="connsiteX2078" fmla="*/ 1392 w 10785"/>
                <a:gd name="connsiteY2078" fmla="*/ 4239 h 10000"/>
                <a:gd name="connsiteX2079" fmla="*/ 1369 w 10785"/>
                <a:gd name="connsiteY2079" fmla="*/ 4248 h 10000"/>
                <a:gd name="connsiteX2080" fmla="*/ 1355 w 10785"/>
                <a:gd name="connsiteY2080" fmla="*/ 4256 h 10000"/>
                <a:gd name="connsiteX2081" fmla="*/ 1350 w 10785"/>
                <a:gd name="connsiteY2081" fmla="*/ 4248 h 10000"/>
                <a:gd name="connsiteX2082" fmla="*/ 1332 w 10785"/>
                <a:gd name="connsiteY2082" fmla="*/ 4376 h 10000"/>
                <a:gd name="connsiteX2083" fmla="*/ 1332 w 10785"/>
                <a:gd name="connsiteY2083" fmla="*/ 4436 h 10000"/>
                <a:gd name="connsiteX2084" fmla="*/ 1323 w 10785"/>
                <a:gd name="connsiteY2084" fmla="*/ 4462 h 10000"/>
                <a:gd name="connsiteX2085" fmla="*/ 1304 w 10785"/>
                <a:gd name="connsiteY2085" fmla="*/ 4487 h 10000"/>
                <a:gd name="connsiteX2086" fmla="*/ 1290 w 10785"/>
                <a:gd name="connsiteY2086" fmla="*/ 4470 h 10000"/>
                <a:gd name="connsiteX2087" fmla="*/ 1263 w 10785"/>
                <a:gd name="connsiteY2087" fmla="*/ 4496 h 10000"/>
                <a:gd name="connsiteX2088" fmla="*/ 1258 w 10785"/>
                <a:gd name="connsiteY2088" fmla="*/ 4547 h 10000"/>
                <a:gd name="connsiteX2089" fmla="*/ 1249 w 10785"/>
                <a:gd name="connsiteY2089" fmla="*/ 4487 h 10000"/>
                <a:gd name="connsiteX2090" fmla="*/ 1235 w 10785"/>
                <a:gd name="connsiteY2090" fmla="*/ 4496 h 10000"/>
                <a:gd name="connsiteX2091" fmla="*/ 1221 w 10785"/>
                <a:gd name="connsiteY2091" fmla="*/ 4496 h 10000"/>
                <a:gd name="connsiteX2092" fmla="*/ 1217 w 10785"/>
                <a:gd name="connsiteY2092" fmla="*/ 4487 h 10000"/>
                <a:gd name="connsiteX2093" fmla="*/ 1198 w 10785"/>
                <a:gd name="connsiteY2093" fmla="*/ 4410 h 10000"/>
                <a:gd name="connsiteX2094" fmla="*/ 1157 w 10785"/>
                <a:gd name="connsiteY2094" fmla="*/ 4333 h 10000"/>
                <a:gd name="connsiteX2095" fmla="*/ 1147 w 10785"/>
                <a:gd name="connsiteY2095" fmla="*/ 4299 h 10000"/>
                <a:gd name="connsiteX2096" fmla="*/ 1147 w 10785"/>
                <a:gd name="connsiteY2096" fmla="*/ 4274 h 10000"/>
                <a:gd name="connsiteX2097" fmla="*/ 1161 w 10785"/>
                <a:gd name="connsiteY2097" fmla="*/ 4256 h 10000"/>
                <a:gd name="connsiteX2098" fmla="*/ 1171 w 10785"/>
                <a:gd name="connsiteY2098" fmla="*/ 4248 h 10000"/>
                <a:gd name="connsiteX2099" fmla="*/ 1175 w 10785"/>
                <a:gd name="connsiteY2099" fmla="*/ 4214 h 10000"/>
                <a:gd name="connsiteX2100" fmla="*/ 1263 w 10785"/>
                <a:gd name="connsiteY2100" fmla="*/ 4171 h 10000"/>
                <a:gd name="connsiteX2101" fmla="*/ 1249 w 10785"/>
                <a:gd name="connsiteY2101" fmla="*/ 4137 h 10000"/>
                <a:gd name="connsiteX2102" fmla="*/ 1244 w 10785"/>
                <a:gd name="connsiteY2102" fmla="*/ 4060 h 10000"/>
                <a:gd name="connsiteX2103" fmla="*/ 1230 w 10785"/>
                <a:gd name="connsiteY2103" fmla="*/ 4077 h 10000"/>
                <a:gd name="connsiteX2104" fmla="*/ 1221 w 10785"/>
                <a:gd name="connsiteY2104" fmla="*/ 4026 h 10000"/>
                <a:gd name="connsiteX2105" fmla="*/ 1217 w 10785"/>
                <a:gd name="connsiteY2105" fmla="*/ 4026 h 10000"/>
                <a:gd name="connsiteX2106" fmla="*/ 1212 w 10785"/>
                <a:gd name="connsiteY2106" fmla="*/ 3983 h 10000"/>
                <a:gd name="connsiteX2107" fmla="*/ 1203 w 10785"/>
                <a:gd name="connsiteY2107" fmla="*/ 3966 h 10000"/>
                <a:gd name="connsiteX2108" fmla="*/ 1171 w 10785"/>
                <a:gd name="connsiteY2108" fmla="*/ 3949 h 10000"/>
                <a:gd name="connsiteX2109" fmla="*/ 1111 w 10785"/>
                <a:gd name="connsiteY2109" fmla="*/ 3940 h 10000"/>
                <a:gd name="connsiteX2110" fmla="*/ 1097 w 10785"/>
                <a:gd name="connsiteY2110" fmla="*/ 3949 h 10000"/>
                <a:gd name="connsiteX2111" fmla="*/ 1037 w 10785"/>
                <a:gd name="connsiteY2111" fmla="*/ 3897 h 10000"/>
                <a:gd name="connsiteX2112" fmla="*/ 1041 w 10785"/>
                <a:gd name="connsiteY2112" fmla="*/ 3923 h 10000"/>
                <a:gd name="connsiteX2113" fmla="*/ 1097 w 10785"/>
                <a:gd name="connsiteY2113" fmla="*/ 4009 h 10000"/>
                <a:gd name="connsiteX2114" fmla="*/ 1097 w 10785"/>
                <a:gd name="connsiteY2114" fmla="*/ 4120 h 10000"/>
                <a:gd name="connsiteX2115" fmla="*/ 1097 w 10785"/>
                <a:gd name="connsiteY2115" fmla="*/ 4162 h 10000"/>
                <a:gd name="connsiteX2116" fmla="*/ 1097 w 10785"/>
                <a:gd name="connsiteY2116" fmla="*/ 4197 h 10000"/>
                <a:gd name="connsiteX2117" fmla="*/ 1074 w 10785"/>
                <a:gd name="connsiteY2117" fmla="*/ 4333 h 10000"/>
                <a:gd name="connsiteX2118" fmla="*/ 1074 w 10785"/>
                <a:gd name="connsiteY2118" fmla="*/ 4376 h 10000"/>
                <a:gd name="connsiteX2119" fmla="*/ 1083 w 10785"/>
                <a:gd name="connsiteY2119" fmla="*/ 4385 h 10000"/>
                <a:gd name="connsiteX2120" fmla="*/ 1097 w 10785"/>
                <a:gd name="connsiteY2120" fmla="*/ 4385 h 10000"/>
                <a:gd name="connsiteX2121" fmla="*/ 1111 w 10785"/>
                <a:gd name="connsiteY2121" fmla="*/ 4410 h 10000"/>
                <a:gd name="connsiteX2122" fmla="*/ 1124 w 10785"/>
                <a:gd name="connsiteY2122" fmla="*/ 4444 h 10000"/>
                <a:gd name="connsiteX2123" fmla="*/ 1124 w 10785"/>
                <a:gd name="connsiteY2123" fmla="*/ 4470 h 10000"/>
                <a:gd name="connsiteX2124" fmla="*/ 1115 w 10785"/>
                <a:gd name="connsiteY2124" fmla="*/ 4513 h 10000"/>
                <a:gd name="connsiteX2125" fmla="*/ 1115 w 10785"/>
                <a:gd name="connsiteY2125" fmla="*/ 4530 h 10000"/>
                <a:gd name="connsiteX2126" fmla="*/ 1115 w 10785"/>
                <a:gd name="connsiteY2126" fmla="*/ 4573 h 10000"/>
                <a:gd name="connsiteX2127" fmla="*/ 1101 w 10785"/>
                <a:gd name="connsiteY2127" fmla="*/ 4607 h 10000"/>
                <a:gd name="connsiteX2128" fmla="*/ 1097 w 10785"/>
                <a:gd name="connsiteY2128" fmla="*/ 4658 h 10000"/>
                <a:gd name="connsiteX2129" fmla="*/ 1101 w 10785"/>
                <a:gd name="connsiteY2129" fmla="*/ 4692 h 10000"/>
                <a:gd name="connsiteX2130" fmla="*/ 1097 w 10785"/>
                <a:gd name="connsiteY2130" fmla="*/ 4778 h 10000"/>
                <a:gd name="connsiteX2131" fmla="*/ 1083 w 10785"/>
                <a:gd name="connsiteY2131" fmla="*/ 4744 h 10000"/>
                <a:gd name="connsiteX2132" fmla="*/ 1083 w 10785"/>
                <a:gd name="connsiteY2132" fmla="*/ 4718 h 10000"/>
                <a:gd name="connsiteX2133" fmla="*/ 1074 w 10785"/>
                <a:gd name="connsiteY2133" fmla="*/ 4692 h 10000"/>
                <a:gd name="connsiteX2134" fmla="*/ 1065 w 10785"/>
                <a:gd name="connsiteY2134" fmla="*/ 4692 h 10000"/>
                <a:gd name="connsiteX2135" fmla="*/ 1051 w 10785"/>
                <a:gd name="connsiteY2135" fmla="*/ 4718 h 10000"/>
                <a:gd name="connsiteX2136" fmla="*/ 1055 w 10785"/>
                <a:gd name="connsiteY2136" fmla="*/ 4692 h 10000"/>
                <a:gd name="connsiteX2137" fmla="*/ 1055 w 10785"/>
                <a:gd name="connsiteY2137" fmla="*/ 4667 h 10000"/>
                <a:gd name="connsiteX2138" fmla="*/ 1028 w 10785"/>
                <a:gd name="connsiteY2138" fmla="*/ 4624 h 10000"/>
                <a:gd name="connsiteX2139" fmla="*/ 1005 w 10785"/>
                <a:gd name="connsiteY2139" fmla="*/ 4624 h 10000"/>
                <a:gd name="connsiteX2140" fmla="*/ 977 w 10785"/>
                <a:gd name="connsiteY2140" fmla="*/ 4581 h 10000"/>
                <a:gd name="connsiteX2141" fmla="*/ 963 w 10785"/>
                <a:gd name="connsiteY2141" fmla="*/ 4607 h 10000"/>
                <a:gd name="connsiteX2142" fmla="*/ 963 w 10785"/>
                <a:gd name="connsiteY2142" fmla="*/ 4632 h 10000"/>
                <a:gd name="connsiteX2143" fmla="*/ 917 w 10785"/>
                <a:gd name="connsiteY2143" fmla="*/ 4718 h 10000"/>
                <a:gd name="connsiteX2144" fmla="*/ 889 w 10785"/>
                <a:gd name="connsiteY2144" fmla="*/ 4744 h 10000"/>
                <a:gd name="connsiteX2145" fmla="*/ 880 w 10785"/>
                <a:gd name="connsiteY2145" fmla="*/ 4744 h 10000"/>
                <a:gd name="connsiteX2146" fmla="*/ 862 w 10785"/>
                <a:gd name="connsiteY2146" fmla="*/ 4769 h 10000"/>
                <a:gd name="connsiteX2147" fmla="*/ 857 w 10785"/>
                <a:gd name="connsiteY2147" fmla="*/ 4795 h 10000"/>
                <a:gd name="connsiteX2148" fmla="*/ 829 w 10785"/>
                <a:gd name="connsiteY2148" fmla="*/ 4846 h 10000"/>
                <a:gd name="connsiteX2149" fmla="*/ 816 w 10785"/>
                <a:gd name="connsiteY2149" fmla="*/ 4855 h 10000"/>
                <a:gd name="connsiteX2150" fmla="*/ 816 w 10785"/>
                <a:gd name="connsiteY2150" fmla="*/ 4940 h 10000"/>
                <a:gd name="connsiteX2151" fmla="*/ 880 w 10785"/>
                <a:gd name="connsiteY2151" fmla="*/ 5179 h 10000"/>
                <a:gd name="connsiteX2152" fmla="*/ 880 w 10785"/>
                <a:gd name="connsiteY2152" fmla="*/ 5188 h 10000"/>
                <a:gd name="connsiteX2153" fmla="*/ 862 w 10785"/>
                <a:gd name="connsiteY2153" fmla="*/ 5171 h 10000"/>
                <a:gd name="connsiteX2154" fmla="*/ 857 w 10785"/>
                <a:gd name="connsiteY2154" fmla="*/ 5171 h 10000"/>
                <a:gd name="connsiteX2155" fmla="*/ 820 w 10785"/>
                <a:gd name="connsiteY2155" fmla="*/ 5145 h 10000"/>
                <a:gd name="connsiteX2156" fmla="*/ 820 w 10785"/>
                <a:gd name="connsiteY2156" fmla="*/ 5154 h 10000"/>
                <a:gd name="connsiteX2157" fmla="*/ 816 w 10785"/>
                <a:gd name="connsiteY2157" fmla="*/ 5171 h 10000"/>
                <a:gd name="connsiteX2158" fmla="*/ 783 w 10785"/>
                <a:gd name="connsiteY2158" fmla="*/ 5145 h 10000"/>
                <a:gd name="connsiteX2159" fmla="*/ 756 w 10785"/>
                <a:gd name="connsiteY2159" fmla="*/ 5103 h 10000"/>
                <a:gd name="connsiteX2160" fmla="*/ 742 w 10785"/>
                <a:gd name="connsiteY2160" fmla="*/ 5103 h 10000"/>
                <a:gd name="connsiteX2161" fmla="*/ 728 w 10785"/>
                <a:gd name="connsiteY2161" fmla="*/ 5094 h 10000"/>
                <a:gd name="connsiteX2162" fmla="*/ 710 w 10785"/>
                <a:gd name="connsiteY2162" fmla="*/ 5120 h 10000"/>
                <a:gd name="connsiteX2163" fmla="*/ 700 w 10785"/>
                <a:gd name="connsiteY2163" fmla="*/ 5145 h 10000"/>
                <a:gd name="connsiteX2164" fmla="*/ 696 w 10785"/>
                <a:gd name="connsiteY2164" fmla="*/ 5103 h 10000"/>
                <a:gd name="connsiteX2165" fmla="*/ 714 w 10785"/>
                <a:gd name="connsiteY2165" fmla="*/ 5077 h 10000"/>
                <a:gd name="connsiteX2166" fmla="*/ 682 w 10785"/>
                <a:gd name="connsiteY2166" fmla="*/ 5068 h 10000"/>
                <a:gd name="connsiteX2167" fmla="*/ 673 w 10785"/>
                <a:gd name="connsiteY2167" fmla="*/ 5034 h 10000"/>
                <a:gd name="connsiteX2168" fmla="*/ 636 w 10785"/>
                <a:gd name="connsiteY2168" fmla="*/ 4991 h 10000"/>
                <a:gd name="connsiteX2169" fmla="*/ 622 w 10785"/>
                <a:gd name="connsiteY2169" fmla="*/ 4983 h 10000"/>
                <a:gd name="connsiteX2170" fmla="*/ 622 w 10785"/>
                <a:gd name="connsiteY2170" fmla="*/ 5034 h 10000"/>
                <a:gd name="connsiteX2171" fmla="*/ 608 w 10785"/>
                <a:gd name="connsiteY2171" fmla="*/ 5051 h 10000"/>
                <a:gd name="connsiteX2172" fmla="*/ 594 w 10785"/>
                <a:gd name="connsiteY2172" fmla="*/ 5068 h 10000"/>
                <a:gd name="connsiteX2173" fmla="*/ 608 w 10785"/>
                <a:gd name="connsiteY2173" fmla="*/ 5120 h 10000"/>
                <a:gd name="connsiteX2174" fmla="*/ 613 w 10785"/>
                <a:gd name="connsiteY2174" fmla="*/ 5128 h 10000"/>
                <a:gd name="connsiteX2175" fmla="*/ 627 w 10785"/>
                <a:gd name="connsiteY2175" fmla="*/ 5179 h 10000"/>
                <a:gd name="connsiteX2176" fmla="*/ 650 w 10785"/>
                <a:gd name="connsiteY2176" fmla="*/ 5214 h 10000"/>
                <a:gd name="connsiteX2177" fmla="*/ 687 w 10785"/>
                <a:gd name="connsiteY2177" fmla="*/ 5188 h 10000"/>
                <a:gd name="connsiteX2178" fmla="*/ 700 w 10785"/>
                <a:gd name="connsiteY2178" fmla="*/ 5325 h 10000"/>
                <a:gd name="connsiteX2179" fmla="*/ 710 w 10785"/>
                <a:gd name="connsiteY2179" fmla="*/ 5350 h 10000"/>
                <a:gd name="connsiteX2180" fmla="*/ 687 w 10785"/>
                <a:gd name="connsiteY2180" fmla="*/ 5325 h 10000"/>
                <a:gd name="connsiteX2181" fmla="*/ 668 w 10785"/>
                <a:gd name="connsiteY2181" fmla="*/ 5350 h 10000"/>
                <a:gd name="connsiteX2182" fmla="*/ 668 w 10785"/>
                <a:gd name="connsiteY2182" fmla="*/ 5368 h 10000"/>
                <a:gd name="connsiteX2183" fmla="*/ 668 w 10785"/>
                <a:gd name="connsiteY2183" fmla="*/ 5376 h 10000"/>
                <a:gd name="connsiteX2184" fmla="*/ 581 w 10785"/>
                <a:gd name="connsiteY2184" fmla="*/ 5316 h 10000"/>
                <a:gd name="connsiteX2185" fmla="*/ 567 w 10785"/>
                <a:gd name="connsiteY2185" fmla="*/ 5265 h 10000"/>
                <a:gd name="connsiteX2186" fmla="*/ 562 w 10785"/>
                <a:gd name="connsiteY2186" fmla="*/ 5256 h 10000"/>
                <a:gd name="connsiteX2187" fmla="*/ 548 w 10785"/>
                <a:gd name="connsiteY2187" fmla="*/ 5231 h 10000"/>
                <a:gd name="connsiteX2188" fmla="*/ 535 w 10785"/>
                <a:gd name="connsiteY2188" fmla="*/ 5214 h 10000"/>
                <a:gd name="connsiteX2189" fmla="*/ 525 w 10785"/>
                <a:gd name="connsiteY2189" fmla="*/ 5231 h 10000"/>
                <a:gd name="connsiteX2190" fmla="*/ 521 w 10785"/>
                <a:gd name="connsiteY2190" fmla="*/ 5231 h 10000"/>
                <a:gd name="connsiteX2191" fmla="*/ 493 w 10785"/>
                <a:gd name="connsiteY2191" fmla="*/ 5205 h 10000"/>
                <a:gd name="connsiteX2192" fmla="*/ 488 w 10785"/>
                <a:gd name="connsiteY2192" fmla="*/ 5179 h 10000"/>
                <a:gd name="connsiteX2193" fmla="*/ 475 w 10785"/>
                <a:gd name="connsiteY2193" fmla="*/ 5188 h 10000"/>
                <a:gd name="connsiteX2194" fmla="*/ 475 w 10785"/>
                <a:gd name="connsiteY2194" fmla="*/ 5171 h 10000"/>
                <a:gd name="connsiteX2195" fmla="*/ 488 w 10785"/>
                <a:gd name="connsiteY2195" fmla="*/ 5154 h 10000"/>
                <a:gd name="connsiteX2196" fmla="*/ 488 w 10785"/>
                <a:gd name="connsiteY2196" fmla="*/ 5068 h 10000"/>
                <a:gd name="connsiteX2197" fmla="*/ 475 w 10785"/>
                <a:gd name="connsiteY2197" fmla="*/ 5051 h 10000"/>
                <a:gd name="connsiteX2198" fmla="*/ 475 w 10785"/>
                <a:gd name="connsiteY2198" fmla="*/ 5017 h 10000"/>
                <a:gd name="connsiteX2199" fmla="*/ 452 w 10785"/>
                <a:gd name="connsiteY2199" fmla="*/ 4932 h 10000"/>
                <a:gd name="connsiteX2200" fmla="*/ 461 w 10785"/>
                <a:gd name="connsiteY2200" fmla="*/ 4915 h 10000"/>
                <a:gd name="connsiteX2201" fmla="*/ 475 w 10785"/>
                <a:gd name="connsiteY2201" fmla="*/ 4906 h 10000"/>
                <a:gd name="connsiteX2202" fmla="*/ 479 w 10785"/>
                <a:gd name="connsiteY2202" fmla="*/ 4803 h 10000"/>
                <a:gd name="connsiteX2203" fmla="*/ 479 w 10785"/>
                <a:gd name="connsiteY2203" fmla="*/ 4778 h 10000"/>
                <a:gd name="connsiteX2204" fmla="*/ 475 w 10785"/>
                <a:gd name="connsiteY2204" fmla="*/ 4761 h 10000"/>
                <a:gd name="connsiteX2205" fmla="*/ 465 w 10785"/>
                <a:gd name="connsiteY2205" fmla="*/ 4718 h 10000"/>
                <a:gd name="connsiteX2206" fmla="*/ 461 w 10785"/>
                <a:gd name="connsiteY2206" fmla="*/ 4709 h 10000"/>
                <a:gd name="connsiteX2207" fmla="*/ 442 w 10785"/>
                <a:gd name="connsiteY2207" fmla="*/ 4692 h 10000"/>
                <a:gd name="connsiteX2208" fmla="*/ 433 w 10785"/>
                <a:gd name="connsiteY2208" fmla="*/ 4667 h 10000"/>
                <a:gd name="connsiteX2209" fmla="*/ 419 w 10785"/>
                <a:gd name="connsiteY2209" fmla="*/ 4667 h 10000"/>
                <a:gd name="connsiteX2210" fmla="*/ 401 w 10785"/>
                <a:gd name="connsiteY2210" fmla="*/ 4658 h 10000"/>
                <a:gd name="connsiteX2211" fmla="*/ 401 w 10785"/>
                <a:gd name="connsiteY2211" fmla="*/ 4624 h 10000"/>
                <a:gd name="connsiteX2212" fmla="*/ 401 w 10785"/>
                <a:gd name="connsiteY2212" fmla="*/ 4607 h 10000"/>
                <a:gd name="connsiteX2213" fmla="*/ 378 w 10785"/>
                <a:gd name="connsiteY2213" fmla="*/ 4607 h 10000"/>
                <a:gd name="connsiteX2214" fmla="*/ 341 w 10785"/>
                <a:gd name="connsiteY2214" fmla="*/ 4530 h 10000"/>
                <a:gd name="connsiteX2215" fmla="*/ 346 w 10785"/>
                <a:gd name="connsiteY2215" fmla="*/ 4521 h 10000"/>
                <a:gd name="connsiteX2216" fmla="*/ 332 w 10785"/>
                <a:gd name="connsiteY2216" fmla="*/ 4487 h 10000"/>
                <a:gd name="connsiteX2217" fmla="*/ 327 w 10785"/>
                <a:gd name="connsiteY2217" fmla="*/ 4462 h 10000"/>
                <a:gd name="connsiteX2218" fmla="*/ 313 w 10785"/>
                <a:gd name="connsiteY2218" fmla="*/ 4436 h 10000"/>
                <a:gd name="connsiteX2219" fmla="*/ 300 w 10785"/>
                <a:gd name="connsiteY2219" fmla="*/ 4419 h 10000"/>
                <a:gd name="connsiteX2220" fmla="*/ 309 w 10785"/>
                <a:gd name="connsiteY2220" fmla="*/ 4393 h 10000"/>
                <a:gd name="connsiteX2221" fmla="*/ 332 w 10785"/>
                <a:gd name="connsiteY2221" fmla="*/ 4385 h 10000"/>
                <a:gd name="connsiteX2222" fmla="*/ 355 w 10785"/>
                <a:gd name="connsiteY2222" fmla="*/ 4419 h 10000"/>
                <a:gd name="connsiteX2223" fmla="*/ 355 w 10785"/>
                <a:gd name="connsiteY2223" fmla="*/ 4444 h 10000"/>
                <a:gd name="connsiteX2224" fmla="*/ 369 w 10785"/>
                <a:gd name="connsiteY2224" fmla="*/ 4470 h 10000"/>
                <a:gd name="connsiteX2225" fmla="*/ 401 w 10785"/>
                <a:gd name="connsiteY2225" fmla="*/ 4521 h 10000"/>
                <a:gd name="connsiteX2226" fmla="*/ 406 w 10785"/>
                <a:gd name="connsiteY2226" fmla="*/ 4513 h 10000"/>
                <a:gd name="connsiteX2227" fmla="*/ 406 w 10785"/>
                <a:gd name="connsiteY2227" fmla="*/ 4496 h 10000"/>
                <a:gd name="connsiteX2228" fmla="*/ 419 w 10785"/>
                <a:gd name="connsiteY2228" fmla="*/ 4521 h 10000"/>
                <a:gd name="connsiteX2229" fmla="*/ 429 w 10785"/>
                <a:gd name="connsiteY2229" fmla="*/ 4530 h 10000"/>
                <a:gd name="connsiteX2230" fmla="*/ 433 w 10785"/>
                <a:gd name="connsiteY2230" fmla="*/ 4521 h 10000"/>
                <a:gd name="connsiteX2231" fmla="*/ 442 w 10785"/>
                <a:gd name="connsiteY2231" fmla="*/ 4530 h 10000"/>
                <a:gd name="connsiteX2232" fmla="*/ 447 w 10785"/>
                <a:gd name="connsiteY2232" fmla="*/ 4521 h 10000"/>
                <a:gd name="connsiteX2233" fmla="*/ 452 w 10785"/>
                <a:gd name="connsiteY2233" fmla="*/ 4521 h 10000"/>
                <a:gd name="connsiteX2234" fmla="*/ 461 w 10785"/>
                <a:gd name="connsiteY2234" fmla="*/ 4573 h 10000"/>
                <a:gd name="connsiteX2235" fmla="*/ 479 w 10785"/>
                <a:gd name="connsiteY2235" fmla="*/ 4556 h 10000"/>
                <a:gd name="connsiteX2236" fmla="*/ 502 w 10785"/>
                <a:gd name="connsiteY2236" fmla="*/ 4573 h 10000"/>
                <a:gd name="connsiteX2237" fmla="*/ 507 w 10785"/>
                <a:gd name="connsiteY2237" fmla="*/ 4598 h 10000"/>
                <a:gd name="connsiteX2238" fmla="*/ 525 w 10785"/>
                <a:gd name="connsiteY2238" fmla="*/ 4598 h 10000"/>
                <a:gd name="connsiteX2239" fmla="*/ 535 w 10785"/>
                <a:gd name="connsiteY2239" fmla="*/ 4624 h 10000"/>
                <a:gd name="connsiteX2240" fmla="*/ 594 w 10785"/>
                <a:gd name="connsiteY2240" fmla="*/ 4658 h 10000"/>
                <a:gd name="connsiteX2241" fmla="*/ 627 w 10785"/>
                <a:gd name="connsiteY2241" fmla="*/ 4658 h 10000"/>
                <a:gd name="connsiteX2242" fmla="*/ 654 w 10785"/>
                <a:gd name="connsiteY2242" fmla="*/ 4684 h 10000"/>
                <a:gd name="connsiteX2243" fmla="*/ 668 w 10785"/>
                <a:gd name="connsiteY2243" fmla="*/ 4709 h 10000"/>
                <a:gd name="connsiteX2244" fmla="*/ 747 w 10785"/>
                <a:gd name="connsiteY2244" fmla="*/ 4718 h 10000"/>
                <a:gd name="connsiteX2245" fmla="*/ 760 w 10785"/>
                <a:gd name="connsiteY2245" fmla="*/ 4709 h 10000"/>
                <a:gd name="connsiteX2246" fmla="*/ 774 w 10785"/>
                <a:gd name="connsiteY2246" fmla="*/ 4692 h 10000"/>
                <a:gd name="connsiteX2247" fmla="*/ 829 w 10785"/>
                <a:gd name="connsiteY2247" fmla="*/ 4658 h 10000"/>
                <a:gd name="connsiteX2248" fmla="*/ 903 w 10785"/>
                <a:gd name="connsiteY2248" fmla="*/ 4496 h 10000"/>
                <a:gd name="connsiteX2249" fmla="*/ 917 w 10785"/>
                <a:gd name="connsiteY2249" fmla="*/ 4385 h 10000"/>
                <a:gd name="connsiteX2250" fmla="*/ 903 w 10785"/>
                <a:gd name="connsiteY2250" fmla="*/ 4376 h 10000"/>
                <a:gd name="connsiteX2251" fmla="*/ 903 w 10785"/>
                <a:gd name="connsiteY2251" fmla="*/ 4376 h 10000"/>
                <a:gd name="connsiteX2252" fmla="*/ 889 w 10785"/>
                <a:gd name="connsiteY2252" fmla="*/ 4239 h 10000"/>
                <a:gd name="connsiteX2253" fmla="*/ 880 w 10785"/>
                <a:gd name="connsiteY2253" fmla="*/ 4214 h 10000"/>
                <a:gd name="connsiteX2254" fmla="*/ 862 w 10785"/>
                <a:gd name="connsiteY2254" fmla="*/ 4188 h 10000"/>
                <a:gd name="connsiteX2255" fmla="*/ 857 w 10785"/>
                <a:gd name="connsiteY2255" fmla="*/ 4197 h 10000"/>
                <a:gd name="connsiteX2256" fmla="*/ 848 w 10785"/>
                <a:gd name="connsiteY2256" fmla="*/ 4188 h 10000"/>
                <a:gd name="connsiteX2257" fmla="*/ 848 w 10785"/>
                <a:gd name="connsiteY2257" fmla="*/ 4162 h 10000"/>
                <a:gd name="connsiteX2258" fmla="*/ 829 w 10785"/>
                <a:gd name="connsiteY2258" fmla="*/ 4120 h 10000"/>
                <a:gd name="connsiteX2259" fmla="*/ 820 w 10785"/>
                <a:gd name="connsiteY2259" fmla="*/ 4103 h 10000"/>
                <a:gd name="connsiteX2260" fmla="*/ 806 w 10785"/>
                <a:gd name="connsiteY2260" fmla="*/ 4077 h 10000"/>
                <a:gd name="connsiteX2261" fmla="*/ 816 w 10785"/>
                <a:gd name="connsiteY2261" fmla="*/ 4111 h 10000"/>
                <a:gd name="connsiteX2262" fmla="*/ 802 w 10785"/>
                <a:gd name="connsiteY2262" fmla="*/ 4111 h 10000"/>
                <a:gd name="connsiteX2263" fmla="*/ 770 w 10785"/>
                <a:gd name="connsiteY2263" fmla="*/ 4060 h 10000"/>
                <a:gd name="connsiteX2264" fmla="*/ 760 w 10785"/>
                <a:gd name="connsiteY2264" fmla="*/ 4077 h 10000"/>
                <a:gd name="connsiteX2265" fmla="*/ 760 w 10785"/>
                <a:gd name="connsiteY2265" fmla="*/ 4060 h 10000"/>
                <a:gd name="connsiteX2266" fmla="*/ 756 w 10785"/>
                <a:gd name="connsiteY2266" fmla="*/ 4034 h 10000"/>
                <a:gd name="connsiteX2267" fmla="*/ 742 w 10785"/>
                <a:gd name="connsiteY2267" fmla="*/ 4000 h 10000"/>
                <a:gd name="connsiteX2268" fmla="*/ 747 w 10785"/>
                <a:gd name="connsiteY2268" fmla="*/ 4034 h 10000"/>
                <a:gd name="connsiteX2269" fmla="*/ 724 w 10785"/>
                <a:gd name="connsiteY2269" fmla="*/ 4026 h 10000"/>
                <a:gd name="connsiteX2270" fmla="*/ 714 w 10785"/>
                <a:gd name="connsiteY2270" fmla="*/ 4000 h 10000"/>
                <a:gd name="connsiteX2271" fmla="*/ 714 w 10785"/>
                <a:gd name="connsiteY2271" fmla="*/ 3983 h 10000"/>
                <a:gd name="connsiteX2272" fmla="*/ 553 w 10785"/>
                <a:gd name="connsiteY2272" fmla="*/ 3726 h 10000"/>
                <a:gd name="connsiteX2273" fmla="*/ 507 w 10785"/>
                <a:gd name="connsiteY2273" fmla="*/ 3718 h 10000"/>
                <a:gd name="connsiteX2274" fmla="*/ 516 w 10785"/>
                <a:gd name="connsiteY2274" fmla="*/ 3726 h 10000"/>
                <a:gd name="connsiteX2275" fmla="*/ 507 w 10785"/>
                <a:gd name="connsiteY2275" fmla="*/ 3735 h 10000"/>
                <a:gd name="connsiteX2276" fmla="*/ 502 w 10785"/>
                <a:gd name="connsiteY2276" fmla="*/ 3735 h 10000"/>
                <a:gd name="connsiteX2277" fmla="*/ 419 w 10785"/>
                <a:gd name="connsiteY2277" fmla="*/ 3675 h 10000"/>
                <a:gd name="connsiteX2278" fmla="*/ 419 w 10785"/>
                <a:gd name="connsiteY2278" fmla="*/ 3692 h 10000"/>
                <a:gd name="connsiteX2279" fmla="*/ 401 w 10785"/>
                <a:gd name="connsiteY2279" fmla="*/ 3701 h 10000"/>
                <a:gd name="connsiteX2280" fmla="*/ 387 w 10785"/>
                <a:gd name="connsiteY2280" fmla="*/ 3718 h 10000"/>
                <a:gd name="connsiteX2281" fmla="*/ 387 w 10785"/>
                <a:gd name="connsiteY2281" fmla="*/ 3692 h 10000"/>
                <a:gd name="connsiteX2282" fmla="*/ 378 w 10785"/>
                <a:gd name="connsiteY2282" fmla="*/ 3675 h 10000"/>
                <a:gd name="connsiteX2283" fmla="*/ 378 w 10785"/>
                <a:gd name="connsiteY2283" fmla="*/ 3650 h 10000"/>
                <a:gd name="connsiteX2284" fmla="*/ 378 w 10785"/>
                <a:gd name="connsiteY2284" fmla="*/ 3650 h 10000"/>
                <a:gd name="connsiteX2285" fmla="*/ 355 w 10785"/>
                <a:gd name="connsiteY2285" fmla="*/ 3675 h 10000"/>
                <a:gd name="connsiteX2286" fmla="*/ 359 w 10785"/>
                <a:gd name="connsiteY2286" fmla="*/ 3641 h 10000"/>
                <a:gd name="connsiteX2287" fmla="*/ 346 w 10785"/>
                <a:gd name="connsiteY2287" fmla="*/ 3650 h 10000"/>
                <a:gd name="connsiteX2288" fmla="*/ 355 w 10785"/>
                <a:gd name="connsiteY2288" fmla="*/ 3624 h 10000"/>
                <a:gd name="connsiteX2289" fmla="*/ 346 w 10785"/>
                <a:gd name="connsiteY2289" fmla="*/ 3624 h 10000"/>
                <a:gd name="connsiteX2290" fmla="*/ 341 w 10785"/>
                <a:gd name="connsiteY2290" fmla="*/ 3624 h 10000"/>
                <a:gd name="connsiteX2291" fmla="*/ 318 w 10785"/>
                <a:gd name="connsiteY2291" fmla="*/ 3641 h 10000"/>
                <a:gd name="connsiteX2292" fmla="*/ 327 w 10785"/>
                <a:gd name="connsiteY2292" fmla="*/ 3624 h 10000"/>
                <a:gd name="connsiteX2293" fmla="*/ 318 w 10785"/>
                <a:gd name="connsiteY2293" fmla="*/ 3615 h 10000"/>
                <a:gd name="connsiteX2294" fmla="*/ 318 w 10785"/>
                <a:gd name="connsiteY2294" fmla="*/ 3598 h 10000"/>
                <a:gd name="connsiteX2295" fmla="*/ 300 w 10785"/>
                <a:gd name="connsiteY2295" fmla="*/ 3598 h 10000"/>
                <a:gd name="connsiteX2296" fmla="*/ 309 w 10785"/>
                <a:gd name="connsiteY2296" fmla="*/ 3538 h 10000"/>
                <a:gd name="connsiteX2297" fmla="*/ 313 w 10785"/>
                <a:gd name="connsiteY2297" fmla="*/ 3564 h 10000"/>
                <a:gd name="connsiteX2298" fmla="*/ 318 w 10785"/>
                <a:gd name="connsiteY2298" fmla="*/ 3581 h 10000"/>
                <a:gd name="connsiteX2299" fmla="*/ 327 w 10785"/>
                <a:gd name="connsiteY2299" fmla="*/ 3564 h 10000"/>
                <a:gd name="connsiteX2300" fmla="*/ 332 w 10785"/>
                <a:gd name="connsiteY2300" fmla="*/ 3590 h 10000"/>
                <a:gd name="connsiteX2301" fmla="*/ 346 w 10785"/>
                <a:gd name="connsiteY2301" fmla="*/ 3590 h 10000"/>
                <a:gd name="connsiteX2302" fmla="*/ 355 w 10785"/>
                <a:gd name="connsiteY2302" fmla="*/ 3590 h 10000"/>
                <a:gd name="connsiteX2303" fmla="*/ 369 w 10785"/>
                <a:gd name="connsiteY2303" fmla="*/ 3556 h 10000"/>
                <a:gd name="connsiteX2304" fmla="*/ 369 w 10785"/>
                <a:gd name="connsiteY2304" fmla="*/ 3538 h 10000"/>
                <a:gd name="connsiteX2305" fmla="*/ 346 w 10785"/>
                <a:gd name="connsiteY2305" fmla="*/ 3513 h 10000"/>
                <a:gd name="connsiteX2306" fmla="*/ 341 w 10785"/>
                <a:gd name="connsiteY2306" fmla="*/ 3530 h 10000"/>
                <a:gd name="connsiteX2307" fmla="*/ 327 w 10785"/>
                <a:gd name="connsiteY2307" fmla="*/ 3513 h 10000"/>
                <a:gd name="connsiteX2308" fmla="*/ 327 w 10785"/>
                <a:gd name="connsiteY2308" fmla="*/ 3504 h 10000"/>
                <a:gd name="connsiteX2309" fmla="*/ 295 w 10785"/>
                <a:gd name="connsiteY2309" fmla="*/ 3462 h 10000"/>
                <a:gd name="connsiteX2310" fmla="*/ 300 w 10785"/>
                <a:gd name="connsiteY2310" fmla="*/ 3479 h 10000"/>
                <a:gd name="connsiteX2311" fmla="*/ 295 w 10785"/>
                <a:gd name="connsiteY2311" fmla="*/ 3513 h 10000"/>
                <a:gd name="connsiteX2312" fmla="*/ 286 w 10785"/>
                <a:gd name="connsiteY2312" fmla="*/ 3513 h 10000"/>
                <a:gd name="connsiteX2313" fmla="*/ 281 w 10785"/>
                <a:gd name="connsiteY2313" fmla="*/ 3513 h 10000"/>
                <a:gd name="connsiteX2314" fmla="*/ 281 w 10785"/>
                <a:gd name="connsiteY2314" fmla="*/ 3530 h 10000"/>
                <a:gd name="connsiteX2315" fmla="*/ 281 w 10785"/>
                <a:gd name="connsiteY2315" fmla="*/ 3556 h 10000"/>
                <a:gd name="connsiteX2316" fmla="*/ 272 w 10785"/>
                <a:gd name="connsiteY2316" fmla="*/ 3564 h 10000"/>
                <a:gd name="connsiteX2317" fmla="*/ 267 w 10785"/>
                <a:gd name="connsiteY2317" fmla="*/ 3564 h 10000"/>
                <a:gd name="connsiteX2318" fmla="*/ 253 w 10785"/>
                <a:gd name="connsiteY2318" fmla="*/ 3538 h 10000"/>
                <a:gd name="connsiteX2319" fmla="*/ 226 w 10785"/>
                <a:gd name="connsiteY2319" fmla="*/ 3513 h 10000"/>
                <a:gd name="connsiteX2320" fmla="*/ 226 w 10785"/>
                <a:gd name="connsiteY2320" fmla="*/ 3530 h 10000"/>
                <a:gd name="connsiteX2321" fmla="*/ 226 w 10785"/>
                <a:gd name="connsiteY2321" fmla="*/ 3530 h 10000"/>
                <a:gd name="connsiteX2322" fmla="*/ 226 w 10785"/>
                <a:gd name="connsiteY2322" fmla="*/ 3530 h 10000"/>
                <a:gd name="connsiteX2323" fmla="*/ 226 w 10785"/>
                <a:gd name="connsiteY2323" fmla="*/ 3556 h 10000"/>
                <a:gd name="connsiteX2324" fmla="*/ 221 w 10785"/>
                <a:gd name="connsiteY2324" fmla="*/ 3598 h 10000"/>
                <a:gd name="connsiteX2325" fmla="*/ 207 w 10785"/>
                <a:gd name="connsiteY2325" fmla="*/ 3598 h 10000"/>
                <a:gd name="connsiteX2326" fmla="*/ 180 w 10785"/>
                <a:gd name="connsiteY2326" fmla="*/ 3581 h 10000"/>
                <a:gd name="connsiteX2327" fmla="*/ 171 w 10785"/>
                <a:gd name="connsiteY2327" fmla="*/ 3641 h 10000"/>
                <a:gd name="connsiteX2328" fmla="*/ 166 w 10785"/>
                <a:gd name="connsiteY2328" fmla="*/ 3650 h 10000"/>
                <a:gd name="connsiteX2329" fmla="*/ 124 w 10785"/>
                <a:gd name="connsiteY2329" fmla="*/ 3701 h 10000"/>
                <a:gd name="connsiteX2330" fmla="*/ 124 w 10785"/>
                <a:gd name="connsiteY2330" fmla="*/ 3718 h 10000"/>
                <a:gd name="connsiteX2331" fmla="*/ 120 w 10785"/>
                <a:gd name="connsiteY2331" fmla="*/ 3735 h 10000"/>
                <a:gd name="connsiteX2332" fmla="*/ 120 w 10785"/>
                <a:gd name="connsiteY2332" fmla="*/ 3735 h 10000"/>
                <a:gd name="connsiteX2333" fmla="*/ 111 w 10785"/>
                <a:gd name="connsiteY2333" fmla="*/ 3761 h 10000"/>
                <a:gd name="connsiteX2334" fmla="*/ 106 w 10785"/>
                <a:gd name="connsiteY2334" fmla="*/ 3761 h 10000"/>
                <a:gd name="connsiteX2335" fmla="*/ 106 w 10785"/>
                <a:gd name="connsiteY2335" fmla="*/ 3761 h 10000"/>
                <a:gd name="connsiteX2336" fmla="*/ 74 w 10785"/>
                <a:gd name="connsiteY2336" fmla="*/ 3829 h 10000"/>
                <a:gd name="connsiteX2337" fmla="*/ 78 w 10785"/>
                <a:gd name="connsiteY2337" fmla="*/ 3838 h 10000"/>
                <a:gd name="connsiteX2338" fmla="*/ 88 w 10785"/>
                <a:gd name="connsiteY2338" fmla="*/ 3846 h 10000"/>
                <a:gd name="connsiteX2339" fmla="*/ 65 w 10785"/>
                <a:gd name="connsiteY2339" fmla="*/ 3923 h 10000"/>
                <a:gd name="connsiteX2340" fmla="*/ 78 w 10785"/>
                <a:gd name="connsiteY2340" fmla="*/ 4026 h 10000"/>
                <a:gd name="connsiteX2341" fmla="*/ 88 w 10785"/>
                <a:gd name="connsiteY2341" fmla="*/ 4051 h 10000"/>
                <a:gd name="connsiteX2342" fmla="*/ 92 w 10785"/>
                <a:gd name="connsiteY2342" fmla="*/ 4060 h 10000"/>
                <a:gd name="connsiteX2343" fmla="*/ 111 w 10785"/>
                <a:gd name="connsiteY2343" fmla="*/ 4060 h 10000"/>
                <a:gd name="connsiteX2344" fmla="*/ 124 w 10785"/>
                <a:gd name="connsiteY2344" fmla="*/ 4085 h 10000"/>
                <a:gd name="connsiteX2345" fmla="*/ 166 w 10785"/>
                <a:gd name="connsiteY2345" fmla="*/ 4197 h 10000"/>
                <a:gd name="connsiteX2346" fmla="*/ 166 w 10785"/>
                <a:gd name="connsiteY2346" fmla="*/ 4248 h 10000"/>
                <a:gd name="connsiteX2347" fmla="*/ 120 w 10785"/>
                <a:gd name="connsiteY2347" fmla="*/ 4462 h 10000"/>
                <a:gd name="connsiteX2348" fmla="*/ 120 w 10785"/>
                <a:gd name="connsiteY2348" fmla="*/ 4513 h 10000"/>
                <a:gd name="connsiteX2349" fmla="*/ 180 w 10785"/>
                <a:gd name="connsiteY2349" fmla="*/ 4829 h 10000"/>
                <a:gd name="connsiteX2350" fmla="*/ 161 w 10785"/>
                <a:gd name="connsiteY2350" fmla="*/ 4855 h 10000"/>
                <a:gd name="connsiteX2351" fmla="*/ 152 w 10785"/>
                <a:gd name="connsiteY2351" fmla="*/ 4940 h 10000"/>
                <a:gd name="connsiteX2352" fmla="*/ 161 w 10785"/>
                <a:gd name="connsiteY2352" fmla="*/ 4966 h 10000"/>
                <a:gd name="connsiteX2353" fmla="*/ 161 w 10785"/>
                <a:gd name="connsiteY2353" fmla="*/ 5009 h 10000"/>
                <a:gd name="connsiteX2354" fmla="*/ 152 w 10785"/>
                <a:gd name="connsiteY2354" fmla="*/ 5034 h 10000"/>
                <a:gd name="connsiteX2355" fmla="*/ 152 w 10785"/>
                <a:gd name="connsiteY2355" fmla="*/ 5077 h 10000"/>
                <a:gd name="connsiteX2356" fmla="*/ 171 w 10785"/>
                <a:gd name="connsiteY2356" fmla="*/ 5094 h 10000"/>
                <a:gd name="connsiteX2357" fmla="*/ 180 w 10785"/>
                <a:gd name="connsiteY2357" fmla="*/ 5128 h 10000"/>
                <a:gd name="connsiteX2358" fmla="*/ 180 w 10785"/>
                <a:gd name="connsiteY2358" fmla="*/ 5171 h 10000"/>
                <a:gd name="connsiteX2359" fmla="*/ 184 w 10785"/>
                <a:gd name="connsiteY2359" fmla="*/ 5205 h 10000"/>
                <a:gd name="connsiteX2360" fmla="*/ 207 w 10785"/>
                <a:gd name="connsiteY2360" fmla="*/ 5239 h 10000"/>
                <a:gd name="connsiteX2361" fmla="*/ 207 w 10785"/>
                <a:gd name="connsiteY2361" fmla="*/ 5282 h 10000"/>
                <a:gd name="connsiteX2362" fmla="*/ 180 w 10785"/>
                <a:gd name="connsiteY2362" fmla="*/ 5393 h 10000"/>
                <a:gd name="connsiteX2363" fmla="*/ 194 w 10785"/>
                <a:gd name="connsiteY2363" fmla="*/ 5427 h 10000"/>
                <a:gd name="connsiteX2364" fmla="*/ 198 w 10785"/>
                <a:gd name="connsiteY2364" fmla="*/ 5462 h 10000"/>
                <a:gd name="connsiteX2365" fmla="*/ 235 w 10785"/>
                <a:gd name="connsiteY2365" fmla="*/ 5513 h 10000"/>
                <a:gd name="connsiteX2366" fmla="*/ 240 w 10785"/>
                <a:gd name="connsiteY2366" fmla="*/ 5556 h 10000"/>
                <a:gd name="connsiteX2367" fmla="*/ 253 w 10785"/>
                <a:gd name="connsiteY2367" fmla="*/ 5590 h 10000"/>
                <a:gd name="connsiteX2368" fmla="*/ 258 w 10785"/>
                <a:gd name="connsiteY2368" fmla="*/ 5573 h 10000"/>
                <a:gd name="connsiteX2369" fmla="*/ 258 w 10785"/>
                <a:gd name="connsiteY2369" fmla="*/ 5667 h 10000"/>
                <a:gd name="connsiteX2370" fmla="*/ 14 w 10785"/>
                <a:gd name="connsiteY2370" fmla="*/ 6214 h 10000"/>
                <a:gd name="connsiteX2371" fmla="*/ 14 w 10785"/>
                <a:gd name="connsiteY2371" fmla="*/ 6214 h 10000"/>
                <a:gd name="connsiteX2372" fmla="*/ 37 w 10785"/>
                <a:gd name="connsiteY2372" fmla="*/ 6214 h 10000"/>
                <a:gd name="connsiteX2373" fmla="*/ 51 w 10785"/>
                <a:gd name="connsiteY2373" fmla="*/ 6188 h 10000"/>
                <a:gd name="connsiteX2374" fmla="*/ 78 w 10785"/>
                <a:gd name="connsiteY2374" fmla="*/ 6162 h 10000"/>
                <a:gd name="connsiteX2375" fmla="*/ 78 w 10785"/>
                <a:gd name="connsiteY2375" fmla="*/ 6188 h 10000"/>
                <a:gd name="connsiteX2376" fmla="*/ 74 w 10785"/>
                <a:gd name="connsiteY2376" fmla="*/ 6197 h 10000"/>
                <a:gd name="connsiteX2377" fmla="*/ 74 w 10785"/>
                <a:gd name="connsiteY2377" fmla="*/ 6231 h 10000"/>
                <a:gd name="connsiteX2378" fmla="*/ 74 w 10785"/>
                <a:gd name="connsiteY2378" fmla="*/ 6214 h 10000"/>
                <a:gd name="connsiteX2379" fmla="*/ 65 w 10785"/>
                <a:gd name="connsiteY2379" fmla="*/ 6214 h 10000"/>
                <a:gd name="connsiteX2380" fmla="*/ 65 w 10785"/>
                <a:gd name="connsiteY2380" fmla="*/ 6248 h 10000"/>
                <a:gd name="connsiteX2381" fmla="*/ 74 w 10785"/>
                <a:gd name="connsiteY2381" fmla="*/ 6256 h 10000"/>
                <a:gd name="connsiteX2382" fmla="*/ 78 w 10785"/>
                <a:gd name="connsiteY2382" fmla="*/ 6256 h 10000"/>
                <a:gd name="connsiteX2383" fmla="*/ 106 w 10785"/>
                <a:gd name="connsiteY2383" fmla="*/ 6308 h 10000"/>
                <a:gd name="connsiteX2384" fmla="*/ 138 w 10785"/>
                <a:gd name="connsiteY2384" fmla="*/ 6299 h 10000"/>
                <a:gd name="connsiteX2385" fmla="*/ 152 w 10785"/>
                <a:gd name="connsiteY2385" fmla="*/ 6299 h 10000"/>
                <a:gd name="connsiteX2386" fmla="*/ 166 w 10785"/>
                <a:gd name="connsiteY2386" fmla="*/ 6325 h 10000"/>
                <a:gd name="connsiteX2387" fmla="*/ 166 w 10785"/>
                <a:gd name="connsiteY2387" fmla="*/ 6333 h 10000"/>
                <a:gd name="connsiteX2388" fmla="*/ 171 w 10785"/>
                <a:gd name="connsiteY2388" fmla="*/ 6350 h 10000"/>
                <a:gd name="connsiteX2389" fmla="*/ 180 w 10785"/>
                <a:gd name="connsiteY2389" fmla="*/ 6350 h 10000"/>
                <a:gd name="connsiteX2390" fmla="*/ 180 w 10785"/>
                <a:gd name="connsiteY2390" fmla="*/ 6359 h 10000"/>
                <a:gd name="connsiteX2391" fmla="*/ 171 w 10785"/>
                <a:gd name="connsiteY2391" fmla="*/ 6368 h 10000"/>
                <a:gd name="connsiteX2392" fmla="*/ 106 w 10785"/>
                <a:gd name="connsiteY2392" fmla="*/ 6350 h 10000"/>
                <a:gd name="connsiteX2393" fmla="*/ 101 w 10785"/>
                <a:gd name="connsiteY2393" fmla="*/ 6359 h 10000"/>
                <a:gd name="connsiteX2394" fmla="*/ 101 w 10785"/>
                <a:gd name="connsiteY2394" fmla="*/ 6385 h 10000"/>
                <a:gd name="connsiteX2395" fmla="*/ 78 w 10785"/>
                <a:gd name="connsiteY2395" fmla="*/ 6393 h 10000"/>
                <a:gd name="connsiteX2396" fmla="*/ 74 w 10785"/>
                <a:gd name="connsiteY2396" fmla="*/ 6385 h 10000"/>
                <a:gd name="connsiteX2397" fmla="*/ 65 w 10785"/>
                <a:gd name="connsiteY2397" fmla="*/ 6393 h 10000"/>
                <a:gd name="connsiteX2398" fmla="*/ 60 w 10785"/>
                <a:gd name="connsiteY2398" fmla="*/ 6419 h 10000"/>
                <a:gd name="connsiteX2399" fmla="*/ 51 w 10785"/>
                <a:gd name="connsiteY2399" fmla="*/ 6419 h 10000"/>
                <a:gd name="connsiteX2400" fmla="*/ 46 w 10785"/>
                <a:gd name="connsiteY2400" fmla="*/ 6410 h 10000"/>
                <a:gd name="connsiteX2401" fmla="*/ 37 w 10785"/>
                <a:gd name="connsiteY2401" fmla="*/ 6393 h 10000"/>
                <a:gd name="connsiteX2402" fmla="*/ 32 w 10785"/>
                <a:gd name="connsiteY2402" fmla="*/ 6419 h 10000"/>
                <a:gd name="connsiteX2403" fmla="*/ 37 w 10785"/>
                <a:gd name="connsiteY2403" fmla="*/ 6462 h 10000"/>
                <a:gd name="connsiteX2404" fmla="*/ 46 w 10785"/>
                <a:gd name="connsiteY2404" fmla="*/ 6462 h 10000"/>
                <a:gd name="connsiteX2405" fmla="*/ 51 w 10785"/>
                <a:gd name="connsiteY2405" fmla="*/ 6470 h 10000"/>
                <a:gd name="connsiteX2406" fmla="*/ 51 w 10785"/>
                <a:gd name="connsiteY2406" fmla="*/ 6496 h 10000"/>
                <a:gd name="connsiteX2407" fmla="*/ 51 w 10785"/>
                <a:gd name="connsiteY2407" fmla="*/ 6504 h 10000"/>
                <a:gd name="connsiteX2408" fmla="*/ 37 w 10785"/>
                <a:gd name="connsiteY2408" fmla="*/ 6530 h 10000"/>
                <a:gd name="connsiteX2409" fmla="*/ 18 w 10785"/>
                <a:gd name="connsiteY2409" fmla="*/ 6598 h 10000"/>
                <a:gd name="connsiteX2410" fmla="*/ 28 w 10785"/>
                <a:gd name="connsiteY2410" fmla="*/ 6632 h 10000"/>
                <a:gd name="connsiteX2411" fmla="*/ 18 w 10785"/>
                <a:gd name="connsiteY2411" fmla="*/ 6667 h 10000"/>
                <a:gd name="connsiteX2412" fmla="*/ 28 w 10785"/>
                <a:gd name="connsiteY2412" fmla="*/ 6692 h 10000"/>
                <a:gd name="connsiteX2413" fmla="*/ 28 w 10785"/>
                <a:gd name="connsiteY2413" fmla="*/ 6709 h 10000"/>
                <a:gd name="connsiteX2414" fmla="*/ 18 w 10785"/>
                <a:gd name="connsiteY2414" fmla="*/ 6718 h 10000"/>
                <a:gd name="connsiteX2415" fmla="*/ 5 w 10785"/>
                <a:gd name="connsiteY2415" fmla="*/ 6744 h 10000"/>
                <a:gd name="connsiteX2416" fmla="*/ 0 w 10785"/>
                <a:gd name="connsiteY2416" fmla="*/ 6769 h 10000"/>
                <a:gd name="connsiteX2417" fmla="*/ 5 w 10785"/>
                <a:gd name="connsiteY2417" fmla="*/ 6778 h 10000"/>
                <a:gd name="connsiteX2418" fmla="*/ 32 w 10785"/>
                <a:gd name="connsiteY2418" fmla="*/ 6778 h 10000"/>
                <a:gd name="connsiteX2419" fmla="*/ 46 w 10785"/>
                <a:gd name="connsiteY2419" fmla="*/ 6821 h 10000"/>
                <a:gd name="connsiteX2420" fmla="*/ 46 w 10785"/>
                <a:gd name="connsiteY2420" fmla="*/ 6855 h 10000"/>
                <a:gd name="connsiteX2421" fmla="*/ 32 w 10785"/>
                <a:gd name="connsiteY2421" fmla="*/ 6855 h 10000"/>
                <a:gd name="connsiteX2422" fmla="*/ 14 w 10785"/>
                <a:gd name="connsiteY2422" fmla="*/ 6821 h 10000"/>
                <a:gd name="connsiteX2423" fmla="*/ 14 w 10785"/>
                <a:gd name="connsiteY2423" fmla="*/ 6846 h 10000"/>
                <a:gd name="connsiteX2424" fmla="*/ 0 w 10785"/>
                <a:gd name="connsiteY2424" fmla="*/ 6897 h 10000"/>
                <a:gd name="connsiteX2425" fmla="*/ 0 w 10785"/>
                <a:gd name="connsiteY2425" fmla="*/ 6915 h 10000"/>
                <a:gd name="connsiteX2426" fmla="*/ 5 w 10785"/>
                <a:gd name="connsiteY2426" fmla="*/ 6932 h 10000"/>
                <a:gd name="connsiteX2427" fmla="*/ 14 w 10785"/>
                <a:gd name="connsiteY2427" fmla="*/ 6940 h 10000"/>
                <a:gd name="connsiteX2428" fmla="*/ 18 w 10785"/>
                <a:gd name="connsiteY2428" fmla="*/ 6957 h 10000"/>
                <a:gd name="connsiteX2429" fmla="*/ 28 w 10785"/>
                <a:gd name="connsiteY2429" fmla="*/ 6966 h 10000"/>
                <a:gd name="connsiteX2430" fmla="*/ 28 w 10785"/>
                <a:gd name="connsiteY2430" fmla="*/ 6983 h 10000"/>
                <a:gd name="connsiteX2431" fmla="*/ 18 w 10785"/>
                <a:gd name="connsiteY2431" fmla="*/ 7051 h 10000"/>
                <a:gd name="connsiteX2432" fmla="*/ 28 w 10785"/>
                <a:gd name="connsiteY2432" fmla="*/ 7068 h 10000"/>
                <a:gd name="connsiteX2433" fmla="*/ 32 w 10785"/>
                <a:gd name="connsiteY2433" fmla="*/ 7068 h 10000"/>
                <a:gd name="connsiteX2434" fmla="*/ 32 w 10785"/>
                <a:gd name="connsiteY2434" fmla="*/ 7094 h 10000"/>
                <a:gd name="connsiteX2435" fmla="*/ 60 w 10785"/>
                <a:gd name="connsiteY2435" fmla="*/ 7162 h 10000"/>
                <a:gd name="connsiteX2436" fmla="*/ 60 w 10785"/>
                <a:gd name="connsiteY2436" fmla="*/ 7231 h 10000"/>
                <a:gd name="connsiteX2437" fmla="*/ 60 w 10785"/>
                <a:gd name="connsiteY2437" fmla="*/ 7239 h 10000"/>
                <a:gd name="connsiteX2438" fmla="*/ 78 w 10785"/>
                <a:gd name="connsiteY2438" fmla="*/ 7239 h 10000"/>
                <a:gd name="connsiteX2439" fmla="*/ 88 w 10785"/>
                <a:gd name="connsiteY2439" fmla="*/ 7239 h 10000"/>
                <a:gd name="connsiteX2440" fmla="*/ 92 w 10785"/>
                <a:gd name="connsiteY2440" fmla="*/ 7256 h 10000"/>
                <a:gd name="connsiteX2441" fmla="*/ 111 w 10785"/>
                <a:gd name="connsiteY2441" fmla="*/ 7256 h 10000"/>
                <a:gd name="connsiteX2442" fmla="*/ 120 w 10785"/>
                <a:gd name="connsiteY2442" fmla="*/ 7256 h 10000"/>
                <a:gd name="connsiteX2443" fmla="*/ 134 w 10785"/>
                <a:gd name="connsiteY2443" fmla="*/ 7282 h 10000"/>
                <a:gd name="connsiteX2444" fmla="*/ 134 w 10785"/>
                <a:gd name="connsiteY2444" fmla="*/ 7316 h 10000"/>
                <a:gd name="connsiteX2445" fmla="*/ 152 w 10785"/>
                <a:gd name="connsiteY2445" fmla="*/ 7299 h 10000"/>
                <a:gd name="connsiteX2446" fmla="*/ 161 w 10785"/>
                <a:gd name="connsiteY2446" fmla="*/ 7299 h 10000"/>
                <a:gd name="connsiteX2447" fmla="*/ 166 w 10785"/>
                <a:gd name="connsiteY2447" fmla="*/ 7291 h 10000"/>
                <a:gd name="connsiteX2448" fmla="*/ 194 w 10785"/>
                <a:gd name="connsiteY2448" fmla="*/ 7291 h 10000"/>
                <a:gd name="connsiteX2449" fmla="*/ 207 w 10785"/>
                <a:gd name="connsiteY2449" fmla="*/ 7299 h 10000"/>
                <a:gd name="connsiteX2450" fmla="*/ 221 w 10785"/>
                <a:gd name="connsiteY2450" fmla="*/ 7342 h 10000"/>
                <a:gd name="connsiteX2451" fmla="*/ 235 w 10785"/>
                <a:gd name="connsiteY2451" fmla="*/ 7342 h 10000"/>
                <a:gd name="connsiteX2452" fmla="*/ 235 w 10785"/>
                <a:gd name="connsiteY2452" fmla="*/ 7368 h 10000"/>
                <a:gd name="connsiteX2453" fmla="*/ 226 w 10785"/>
                <a:gd name="connsiteY2453" fmla="*/ 7393 h 10000"/>
                <a:gd name="connsiteX2454" fmla="*/ 226 w 10785"/>
                <a:gd name="connsiteY2454" fmla="*/ 7402 h 10000"/>
                <a:gd name="connsiteX2455" fmla="*/ 235 w 10785"/>
                <a:gd name="connsiteY2455" fmla="*/ 7419 h 10000"/>
                <a:gd name="connsiteX2456" fmla="*/ 240 w 10785"/>
                <a:gd name="connsiteY2456" fmla="*/ 7436 h 10000"/>
                <a:gd name="connsiteX2457" fmla="*/ 235 w 10785"/>
                <a:gd name="connsiteY2457" fmla="*/ 7462 h 10000"/>
                <a:gd name="connsiteX2458" fmla="*/ 226 w 10785"/>
                <a:gd name="connsiteY2458" fmla="*/ 7479 h 10000"/>
                <a:gd name="connsiteX2459" fmla="*/ 226 w 10785"/>
                <a:gd name="connsiteY2459" fmla="*/ 7504 h 10000"/>
                <a:gd name="connsiteX2460" fmla="*/ 226 w 10785"/>
                <a:gd name="connsiteY2460" fmla="*/ 7513 h 10000"/>
                <a:gd name="connsiteX2461" fmla="*/ 240 w 10785"/>
                <a:gd name="connsiteY2461" fmla="*/ 7538 h 10000"/>
                <a:gd name="connsiteX2462" fmla="*/ 267 w 10785"/>
                <a:gd name="connsiteY2462" fmla="*/ 7641 h 10000"/>
                <a:gd name="connsiteX2463" fmla="*/ 281 w 10785"/>
                <a:gd name="connsiteY2463" fmla="*/ 7667 h 10000"/>
                <a:gd name="connsiteX2464" fmla="*/ 286 w 10785"/>
                <a:gd name="connsiteY2464" fmla="*/ 7675 h 10000"/>
                <a:gd name="connsiteX2465" fmla="*/ 286 w 10785"/>
                <a:gd name="connsiteY2465" fmla="*/ 7692 h 10000"/>
                <a:gd name="connsiteX2466" fmla="*/ 286 w 10785"/>
                <a:gd name="connsiteY2466" fmla="*/ 7709 h 10000"/>
                <a:gd name="connsiteX2467" fmla="*/ 295 w 10785"/>
                <a:gd name="connsiteY2467" fmla="*/ 7726 h 10000"/>
                <a:gd name="connsiteX2468" fmla="*/ 318 w 10785"/>
                <a:gd name="connsiteY2468" fmla="*/ 7709 h 10000"/>
                <a:gd name="connsiteX2469" fmla="*/ 327 w 10785"/>
                <a:gd name="connsiteY2469" fmla="*/ 7726 h 10000"/>
                <a:gd name="connsiteX2470" fmla="*/ 341 w 10785"/>
                <a:gd name="connsiteY2470" fmla="*/ 7735 h 10000"/>
                <a:gd name="connsiteX2471" fmla="*/ 332 w 10785"/>
                <a:gd name="connsiteY2471" fmla="*/ 7752 h 10000"/>
                <a:gd name="connsiteX2472" fmla="*/ 341 w 10785"/>
                <a:gd name="connsiteY2472" fmla="*/ 7761 h 10000"/>
                <a:gd name="connsiteX2473" fmla="*/ 355 w 10785"/>
                <a:gd name="connsiteY2473" fmla="*/ 7761 h 10000"/>
                <a:gd name="connsiteX2474" fmla="*/ 355 w 10785"/>
                <a:gd name="connsiteY2474" fmla="*/ 7803 h 10000"/>
                <a:gd name="connsiteX2475" fmla="*/ 313 w 10785"/>
                <a:gd name="connsiteY2475" fmla="*/ 7846 h 10000"/>
                <a:gd name="connsiteX2476" fmla="*/ 295 w 10785"/>
                <a:gd name="connsiteY2476" fmla="*/ 7846 h 10000"/>
                <a:gd name="connsiteX2477" fmla="*/ 281 w 10785"/>
                <a:gd name="connsiteY2477" fmla="*/ 7821 h 10000"/>
                <a:gd name="connsiteX2478" fmla="*/ 272 w 10785"/>
                <a:gd name="connsiteY2478" fmla="*/ 7821 h 10000"/>
                <a:gd name="connsiteX2479" fmla="*/ 267 w 10785"/>
                <a:gd name="connsiteY2479" fmla="*/ 7838 h 10000"/>
                <a:gd name="connsiteX2480" fmla="*/ 258 w 10785"/>
                <a:gd name="connsiteY2480" fmla="*/ 7846 h 10000"/>
                <a:gd name="connsiteX2481" fmla="*/ 253 w 10785"/>
                <a:gd name="connsiteY2481" fmla="*/ 7863 h 10000"/>
                <a:gd name="connsiteX2482" fmla="*/ 253 w 10785"/>
                <a:gd name="connsiteY2482" fmla="*/ 7872 h 10000"/>
                <a:gd name="connsiteX2483" fmla="*/ 267 w 10785"/>
                <a:gd name="connsiteY2483" fmla="*/ 7897 h 10000"/>
                <a:gd name="connsiteX2484" fmla="*/ 272 w 10785"/>
                <a:gd name="connsiteY2484" fmla="*/ 7915 h 10000"/>
                <a:gd name="connsiteX2485" fmla="*/ 267 w 10785"/>
                <a:gd name="connsiteY2485" fmla="*/ 7940 h 10000"/>
                <a:gd name="connsiteX2486" fmla="*/ 272 w 10785"/>
                <a:gd name="connsiteY2486" fmla="*/ 7949 h 10000"/>
                <a:gd name="connsiteX2487" fmla="*/ 272 w 10785"/>
                <a:gd name="connsiteY2487" fmla="*/ 7957 h 10000"/>
                <a:gd name="connsiteX2488" fmla="*/ 281 w 10785"/>
                <a:gd name="connsiteY2488" fmla="*/ 7974 h 10000"/>
                <a:gd name="connsiteX2489" fmla="*/ 286 w 10785"/>
                <a:gd name="connsiteY2489" fmla="*/ 7983 h 10000"/>
                <a:gd name="connsiteX2490" fmla="*/ 281 w 10785"/>
                <a:gd name="connsiteY2490" fmla="*/ 8009 h 10000"/>
                <a:gd name="connsiteX2491" fmla="*/ 286 w 10785"/>
                <a:gd name="connsiteY2491" fmla="*/ 8060 h 10000"/>
                <a:gd name="connsiteX2492" fmla="*/ 286 w 10785"/>
                <a:gd name="connsiteY2492" fmla="*/ 8060 h 10000"/>
                <a:gd name="connsiteX2493" fmla="*/ 295 w 10785"/>
                <a:gd name="connsiteY2493" fmla="*/ 8077 h 10000"/>
                <a:gd name="connsiteX2494" fmla="*/ 309 w 10785"/>
                <a:gd name="connsiteY2494" fmla="*/ 8077 h 10000"/>
                <a:gd name="connsiteX2495" fmla="*/ 313 w 10785"/>
                <a:gd name="connsiteY2495" fmla="*/ 8060 h 10000"/>
                <a:gd name="connsiteX2496" fmla="*/ 318 w 10785"/>
                <a:gd name="connsiteY2496" fmla="*/ 8051 h 10000"/>
                <a:gd name="connsiteX2497" fmla="*/ 318 w 10785"/>
                <a:gd name="connsiteY2497" fmla="*/ 8034 h 10000"/>
                <a:gd name="connsiteX2498" fmla="*/ 332 w 10785"/>
                <a:gd name="connsiteY2498" fmla="*/ 8026 h 10000"/>
                <a:gd name="connsiteX2499" fmla="*/ 359 w 10785"/>
                <a:gd name="connsiteY2499" fmla="*/ 8034 h 10000"/>
                <a:gd name="connsiteX2500" fmla="*/ 378 w 10785"/>
                <a:gd name="connsiteY2500" fmla="*/ 8026 h 10000"/>
                <a:gd name="connsiteX2501" fmla="*/ 401 w 10785"/>
                <a:gd name="connsiteY2501" fmla="*/ 8026 h 10000"/>
                <a:gd name="connsiteX2502" fmla="*/ 419 w 10785"/>
                <a:gd name="connsiteY2502" fmla="*/ 8009 h 10000"/>
                <a:gd name="connsiteX2503" fmla="*/ 433 w 10785"/>
                <a:gd name="connsiteY2503" fmla="*/ 8034 h 10000"/>
                <a:gd name="connsiteX2504" fmla="*/ 442 w 10785"/>
                <a:gd name="connsiteY2504" fmla="*/ 8060 h 10000"/>
                <a:gd name="connsiteX2505" fmla="*/ 442 w 10785"/>
                <a:gd name="connsiteY2505" fmla="*/ 8077 h 10000"/>
                <a:gd name="connsiteX2506" fmla="*/ 461 w 10785"/>
                <a:gd name="connsiteY2506" fmla="*/ 8111 h 10000"/>
                <a:gd name="connsiteX2507" fmla="*/ 461 w 10785"/>
                <a:gd name="connsiteY2507" fmla="*/ 8137 h 10000"/>
                <a:gd name="connsiteX2508" fmla="*/ 447 w 10785"/>
                <a:gd name="connsiteY2508" fmla="*/ 8145 h 10000"/>
                <a:gd name="connsiteX2509" fmla="*/ 442 w 10785"/>
                <a:gd name="connsiteY2509" fmla="*/ 8145 h 10000"/>
                <a:gd name="connsiteX2510" fmla="*/ 442 w 10785"/>
                <a:gd name="connsiteY2510" fmla="*/ 8162 h 10000"/>
                <a:gd name="connsiteX2511" fmla="*/ 442 w 10785"/>
                <a:gd name="connsiteY2511" fmla="*/ 8171 h 10000"/>
                <a:gd name="connsiteX2512" fmla="*/ 447 w 10785"/>
                <a:gd name="connsiteY2512" fmla="*/ 8214 h 10000"/>
                <a:gd name="connsiteX2513" fmla="*/ 465 w 10785"/>
                <a:gd name="connsiteY2513" fmla="*/ 8231 h 10000"/>
                <a:gd name="connsiteX2514" fmla="*/ 488 w 10785"/>
                <a:gd name="connsiteY2514" fmla="*/ 8231 h 10000"/>
                <a:gd name="connsiteX2515" fmla="*/ 493 w 10785"/>
                <a:gd name="connsiteY2515" fmla="*/ 8231 h 10000"/>
                <a:gd name="connsiteX2516" fmla="*/ 502 w 10785"/>
                <a:gd name="connsiteY2516" fmla="*/ 8231 h 10000"/>
                <a:gd name="connsiteX2517" fmla="*/ 507 w 10785"/>
                <a:gd name="connsiteY2517" fmla="*/ 8248 h 10000"/>
                <a:gd name="connsiteX2518" fmla="*/ 521 w 10785"/>
                <a:gd name="connsiteY2518" fmla="*/ 8274 h 10000"/>
                <a:gd name="connsiteX2519" fmla="*/ 525 w 10785"/>
                <a:gd name="connsiteY2519" fmla="*/ 8333 h 10000"/>
                <a:gd name="connsiteX2520" fmla="*/ 525 w 10785"/>
                <a:gd name="connsiteY2520" fmla="*/ 8359 h 10000"/>
                <a:gd name="connsiteX2521" fmla="*/ 525 w 10785"/>
                <a:gd name="connsiteY2521" fmla="*/ 8368 h 10000"/>
                <a:gd name="connsiteX2522" fmla="*/ 548 w 10785"/>
                <a:gd name="connsiteY2522" fmla="*/ 8393 h 10000"/>
                <a:gd name="connsiteX2523" fmla="*/ 553 w 10785"/>
                <a:gd name="connsiteY2523" fmla="*/ 8385 h 10000"/>
                <a:gd name="connsiteX2524" fmla="*/ 562 w 10785"/>
                <a:gd name="connsiteY2524" fmla="*/ 8385 h 10000"/>
                <a:gd name="connsiteX2525" fmla="*/ 576 w 10785"/>
                <a:gd name="connsiteY2525" fmla="*/ 8385 h 10000"/>
                <a:gd name="connsiteX2526" fmla="*/ 585 w 10785"/>
                <a:gd name="connsiteY2526" fmla="*/ 8410 h 10000"/>
                <a:gd name="connsiteX2527" fmla="*/ 594 w 10785"/>
                <a:gd name="connsiteY2527" fmla="*/ 8410 h 10000"/>
                <a:gd name="connsiteX2528" fmla="*/ 608 w 10785"/>
                <a:gd name="connsiteY2528" fmla="*/ 8410 h 10000"/>
                <a:gd name="connsiteX2529" fmla="*/ 654 w 10785"/>
                <a:gd name="connsiteY2529" fmla="*/ 8385 h 10000"/>
                <a:gd name="connsiteX2530" fmla="*/ 659 w 10785"/>
                <a:gd name="connsiteY2530" fmla="*/ 8385 h 10000"/>
                <a:gd name="connsiteX2531" fmla="*/ 696 w 10785"/>
                <a:gd name="connsiteY2531" fmla="*/ 8470 h 10000"/>
                <a:gd name="connsiteX2532" fmla="*/ 700 w 10785"/>
                <a:gd name="connsiteY2532" fmla="*/ 8470 h 10000"/>
                <a:gd name="connsiteX2533" fmla="*/ 710 w 10785"/>
                <a:gd name="connsiteY2533" fmla="*/ 8462 h 10000"/>
                <a:gd name="connsiteX2534" fmla="*/ 714 w 10785"/>
                <a:gd name="connsiteY2534" fmla="*/ 8462 h 10000"/>
                <a:gd name="connsiteX2535" fmla="*/ 724 w 10785"/>
                <a:gd name="connsiteY2535" fmla="*/ 8470 h 10000"/>
                <a:gd name="connsiteX2536" fmla="*/ 733 w 10785"/>
                <a:gd name="connsiteY2536" fmla="*/ 8470 h 10000"/>
                <a:gd name="connsiteX2537" fmla="*/ 742 w 10785"/>
                <a:gd name="connsiteY2537" fmla="*/ 8487 h 10000"/>
                <a:gd name="connsiteX2538" fmla="*/ 747 w 10785"/>
                <a:gd name="connsiteY2538" fmla="*/ 8496 h 10000"/>
                <a:gd name="connsiteX2539" fmla="*/ 770 w 10785"/>
                <a:gd name="connsiteY2539" fmla="*/ 8496 h 10000"/>
                <a:gd name="connsiteX2540" fmla="*/ 783 w 10785"/>
                <a:gd name="connsiteY2540" fmla="*/ 8521 h 10000"/>
                <a:gd name="connsiteX2541" fmla="*/ 797 w 10785"/>
                <a:gd name="connsiteY2541" fmla="*/ 8521 h 10000"/>
                <a:gd name="connsiteX2542" fmla="*/ 806 w 10785"/>
                <a:gd name="connsiteY2542" fmla="*/ 8530 h 10000"/>
                <a:gd name="connsiteX2543" fmla="*/ 829 w 10785"/>
                <a:gd name="connsiteY2543" fmla="*/ 8547 h 10000"/>
                <a:gd name="connsiteX2544" fmla="*/ 834 w 10785"/>
                <a:gd name="connsiteY2544" fmla="*/ 8556 h 10000"/>
                <a:gd name="connsiteX2545" fmla="*/ 829 w 10785"/>
                <a:gd name="connsiteY2545" fmla="*/ 8556 h 10000"/>
                <a:gd name="connsiteX2546" fmla="*/ 834 w 10785"/>
                <a:gd name="connsiteY2546" fmla="*/ 8607 h 10000"/>
                <a:gd name="connsiteX2547" fmla="*/ 829 w 10785"/>
                <a:gd name="connsiteY2547" fmla="*/ 8641 h 10000"/>
                <a:gd name="connsiteX2548" fmla="*/ 806 w 10785"/>
                <a:gd name="connsiteY2548" fmla="*/ 8658 h 10000"/>
                <a:gd name="connsiteX2549" fmla="*/ 816 w 10785"/>
                <a:gd name="connsiteY2549" fmla="*/ 8667 h 10000"/>
                <a:gd name="connsiteX2550" fmla="*/ 820 w 10785"/>
                <a:gd name="connsiteY2550" fmla="*/ 8667 h 10000"/>
                <a:gd name="connsiteX2551" fmla="*/ 829 w 10785"/>
                <a:gd name="connsiteY2551" fmla="*/ 8684 h 10000"/>
                <a:gd name="connsiteX2552" fmla="*/ 806 w 10785"/>
                <a:gd name="connsiteY2552" fmla="*/ 8692 h 10000"/>
                <a:gd name="connsiteX2553" fmla="*/ 802 w 10785"/>
                <a:gd name="connsiteY2553" fmla="*/ 8709 h 10000"/>
                <a:gd name="connsiteX2554" fmla="*/ 802 w 10785"/>
                <a:gd name="connsiteY2554" fmla="*/ 8735 h 10000"/>
                <a:gd name="connsiteX2555" fmla="*/ 806 w 10785"/>
                <a:gd name="connsiteY2555" fmla="*/ 8744 h 10000"/>
                <a:gd name="connsiteX2556" fmla="*/ 816 w 10785"/>
                <a:gd name="connsiteY2556" fmla="*/ 8752 h 10000"/>
                <a:gd name="connsiteX2557" fmla="*/ 806 w 10785"/>
                <a:gd name="connsiteY2557" fmla="*/ 8778 h 10000"/>
                <a:gd name="connsiteX2558" fmla="*/ 820 w 10785"/>
                <a:gd name="connsiteY2558" fmla="*/ 8778 h 10000"/>
                <a:gd name="connsiteX2559" fmla="*/ 806 w 10785"/>
                <a:gd name="connsiteY2559" fmla="*/ 8880 h 10000"/>
                <a:gd name="connsiteX2560" fmla="*/ 797 w 10785"/>
                <a:gd name="connsiteY2560" fmla="*/ 8880 h 10000"/>
                <a:gd name="connsiteX2561" fmla="*/ 783 w 10785"/>
                <a:gd name="connsiteY2561" fmla="*/ 8872 h 10000"/>
                <a:gd name="connsiteX2562" fmla="*/ 770 w 10785"/>
                <a:gd name="connsiteY2562" fmla="*/ 8880 h 10000"/>
                <a:gd name="connsiteX2563" fmla="*/ 756 w 10785"/>
                <a:gd name="connsiteY2563" fmla="*/ 8855 h 10000"/>
                <a:gd name="connsiteX2564" fmla="*/ 733 w 10785"/>
                <a:gd name="connsiteY2564" fmla="*/ 8906 h 10000"/>
                <a:gd name="connsiteX2565" fmla="*/ 714 w 10785"/>
                <a:gd name="connsiteY2565" fmla="*/ 8915 h 10000"/>
                <a:gd name="connsiteX2566" fmla="*/ 710 w 10785"/>
                <a:gd name="connsiteY2566" fmla="*/ 8940 h 10000"/>
                <a:gd name="connsiteX2567" fmla="*/ 710 w 10785"/>
                <a:gd name="connsiteY2567" fmla="*/ 9009 h 10000"/>
                <a:gd name="connsiteX2568" fmla="*/ 728 w 10785"/>
                <a:gd name="connsiteY2568" fmla="*/ 8991 h 10000"/>
                <a:gd name="connsiteX2569" fmla="*/ 733 w 10785"/>
                <a:gd name="connsiteY2569" fmla="*/ 8991 h 10000"/>
                <a:gd name="connsiteX2570" fmla="*/ 747 w 10785"/>
                <a:gd name="connsiteY2570" fmla="*/ 8983 h 10000"/>
                <a:gd name="connsiteX2571" fmla="*/ 760 w 10785"/>
                <a:gd name="connsiteY2571" fmla="*/ 8983 h 10000"/>
                <a:gd name="connsiteX2572" fmla="*/ 770 w 10785"/>
                <a:gd name="connsiteY2572" fmla="*/ 8983 h 10000"/>
                <a:gd name="connsiteX2573" fmla="*/ 770 w 10785"/>
                <a:gd name="connsiteY2573" fmla="*/ 8991 h 10000"/>
                <a:gd name="connsiteX2574" fmla="*/ 783 w 10785"/>
                <a:gd name="connsiteY2574" fmla="*/ 8991 h 10000"/>
                <a:gd name="connsiteX2575" fmla="*/ 783 w 10785"/>
                <a:gd name="connsiteY2575" fmla="*/ 9009 h 10000"/>
                <a:gd name="connsiteX2576" fmla="*/ 783 w 10785"/>
                <a:gd name="connsiteY2576" fmla="*/ 9017 h 10000"/>
                <a:gd name="connsiteX2577" fmla="*/ 770 w 10785"/>
                <a:gd name="connsiteY2577" fmla="*/ 9017 h 10000"/>
                <a:gd name="connsiteX2578" fmla="*/ 724 w 10785"/>
                <a:gd name="connsiteY2578" fmla="*/ 9051 h 10000"/>
                <a:gd name="connsiteX2579" fmla="*/ 724 w 10785"/>
                <a:gd name="connsiteY2579" fmla="*/ 9068 h 10000"/>
                <a:gd name="connsiteX2580" fmla="*/ 728 w 10785"/>
                <a:gd name="connsiteY2580" fmla="*/ 9077 h 10000"/>
                <a:gd name="connsiteX2581" fmla="*/ 724 w 10785"/>
                <a:gd name="connsiteY2581" fmla="*/ 9077 h 10000"/>
                <a:gd name="connsiteX2582" fmla="*/ 710 w 10785"/>
                <a:gd name="connsiteY2582" fmla="*/ 9077 h 10000"/>
                <a:gd name="connsiteX2583" fmla="*/ 682 w 10785"/>
                <a:gd name="connsiteY2583" fmla="*/ 9077 h 10000"/>
                <a:gd name="connsiteX2584" fmla="*/ 673 w 10785"/>
                <a:gd name="connsiteY2584" fmla="*/ 9103 h 10000"/>
                <a:gd name="connsiteX2585" fmla="*/ 687 w 10785"/>
                <a:gd name="connsiteY2585" fmla="*/ 9128 h 10000"/>
                <a:gd name="connsiteX2586" fmla="*/ 700 w 10785"/>
                <a:gd name="connsiteY2586" fmla="*/ 9128 h 10000"/>
                <a:gd name="connsiteX2587" fmla="*/ 728 w 10785"/>
                <a:gd name="connsiteY2587" fmla="*/ 9179 h 10000"/>
                <a:gd name="connsiteX2588" fmla="*/ 724 w 10785"/>
                <a:gd name="connsiteY2588" fmla="*/ 9188 h 10000"/>
                <a:gd name="connsiteX2589" fmla="*/ 710 w 10785"/>
                <a:gd name="connsiteY2589" fmla="*/ 9179 h 10000"/>
                <a:gd name="connsiteX2590" fmla="*/ 700 w 10785"/>
                <a:gd name="connsiteY2590" fmla="*/ 9205 h 10000"/>
                <a:gd name="connsiteX2591" fmla="*/ 696 w 10785"/>
                <a:gd name="connsiteY2591" fmla="*/ 9205 h 10000"/>
                <a:gd name="connsiteX2592" fmla="*/ 654 w 10785"/>
                <a:gd name="connsiteY2592" fmla="*/ 9299 h 10000"/>
                <a:gd name="connsiteX2593" fmla="*/ 622 w 10785"/>
                <a:gd name="connsiteY2593" fmla="*/ 9299 h 10000"/>
                <a:gd name="connsiteX2594" fmla="*/ 613 w 10785"/>
                <a:gd name="connsiteY2594" fmla="*/ 9316 h 10000"/>
                <a:gd name="connsiteX2595" fmla="*/ 613 w 10785"/>
                <a:gd name="connsiteY2595" fmla="*/ 9325 h 10000"/>
                <a:gd name="connsiteX2596" fmla="*/ 608 w 10785"/>
                <a:gd name="connsiteY2596" fmla="*/ 9342 h 10000"/>
                <a:gd name="connsiteX2597" fmla="*/ 636 w 10785"/>
                <a:gd name="connsiteY2597" fmla="*/ 9376 h 10000"/>
                <a:gd name="connsiteX2598" fmla="*/ 641 w 10785"/>
                <a:gd name="connsiteY2598" fmla="*/ 9402 h 10000"/>
                <a:gd name="connsiteX2599" fmla="*/ 654 w 10785"/>
                <a:gd name="connsiteY2599" fmla="*/ 9427 h 10000"/>
                <a:gd name="connsiteX2600" fmla="*/ 668 w 10785"/>
                <a:gd name="connsiteY2600" fmla="*/ 9427 h 10000"/>
                <a:gd name="connsiteX2601" fmla="*/ 668 w 10785"/>
                <a:gd name="connsiteY2601" fmla="*/ 9427 h 10000"/>
                <a:gd name="connsiteX2602" fmla="*/ 774 w 10785"/>
                <a:gd name="connsiteY2602" fmla="*/ 9547 h 10000"/>
                <a:gd name="connsiteX2603" fmla="*/ 797 w 10785"/>
                <a:gd name="connsiteY2603" fmla="*/ 9598 h 10000"/>
                <a:gd name="connsiteX2604" fmla="*/ 802 w 10785"/>
                <a:gd name="connsiteY2604" fmla="*/ 9598 h 10000"/>
                <a:gd name="connsiteX2605" fmla="*/ 816 w 10785"/>
                <a:gd name="connsiteY2605" fmla="*/ 9624 h 10000"/>
                <a:gd name="connsiteX2606" fmla="*/ 843 w 10785"/>
                <a:gd name="connsiteY2606" fmla="*/ 9615 h 10000"/>
                <a:gd name="connsiteX2607" fmla="*/ 857 w 10785"/>
                <a:gd name="connsiteY2607" fmla="*/ 9624 h 10000"/>
                <a:gd name="connsiteX2608" fmla="*/ 862 w 10785"/>
                <a:gd name="connsiteY2608" fmla="*/ 9615 h 10000"/>
                <a:gd name="connsiteX2609" fmla="*/ 880 w 10785"/>
                <a:gd name="connsiteY2609" fmla="*/ 9624 h 10000"/>
                <a:gd name="connsiteX2610" fmla="*/ 889 w 10785"/>
                <a:gd name="connsiteY2610" fmla="*/ 9641 h 10000"/>
                <a:gd name="connsiteX2611" fmla="*/ 935 w 10785"/>
                <a:gd name="connsiteY2611" fmla="*/ 9675 h 10000"/>
                <a:gd name="connsiteX2612" fmla="*/ 977 w 10785"/>
                <a:gd name="connsiteY2612" fmla="*/ 9667 h 10000"/>
                <a:gd name="connsiteX2613" fmla="*/ 995 w 10785"/>
                <a:gd name="connsiteY2613" fmla="*/ 9675 h 10000"/>
                <a:gd name="connsiteX2614" fmla="*/ 1014 w 10785"/>
                <a:gd name="connsiteY2614" fmla="*/ 9675 h 10000"/>
                <a:gd name="connsiteX2615" fmla="*/ 1069 w 10785"/>
                <a:gd name="connsiteY2615" fmla="*/ 9752 h 10000"/>
                <a:gd name="connsiteX2616" fmla="*/ 1074 w 10785"/>
                <a:gd name="connsiteY2616" fmla="*/ 9761 h 10000"/>
                <a:gd name="connsiteX2617" fmla="*/ 1083 w 10785"/>
                <a:gd name="connsiteY2617" fmla="*/ 9778 h 10000"/>
                <a:gd name="connsiteX2618" fmla="*/ 1115 w 10785"/>
                <a:gd name="connsiteY2618" fmla="*/ 9752 h 10000"/>
                <a:gd name="connsiteX2619" fmla="*/ 1129 w 10785"/>
                <a:gd name="connsiteY2619" fmla="*/ 9752 h 10000"/>
                <a:gd name="connsiteX2620" fmla="*/ 1138 w 10785"/>
                <a:gd name="connsiteY2620" fmla="*/ 9761 h 10000"/>
                <a:gd name="connsiteX2621" fmla="*/ 1143 w 10785"/>
                <a:gd name="connsiteY2621" fmla="*/ 9752 h 10000"/>
                <a:gd name="connsiteX2622" fmla="*/ 1161 w 10785"/>
                <a:gd name="connsiteY2622" fmla="*/ 9761 h 10000"/>
                <a:gd name="connsiteX2623" fmla="*/ 1171 w 10785"/>
                <a:gd name="connsiteY2623" fmla="*/ 9778 h 10000"/>
                <a:gd name="connsiteX2624" fmla="*/ 1175 w 10785"/>
                <a:gd name="connsiteY2624" fmla="*/ 9778 h 10000"/>
                <a:gd name="connsiteX2625" fmla="*/ 1189 w 10785"/>
                <a:gd name="connsiteY2625" fmla="*/ 9778 h 10000"/>
                <a:gd name="connsiteX2626" fmla="*/ 1198 w 10785"/>
                <a:gd name="connsiteY2626" fmla="*/ 9786 h 10000"/>
                <a:gd name="connsiteX2627" fmla="*/ 1203 w 10785"/>
                <a:gd name="connsiteY2627" fmla="*/ 9803 h 10000"/>
                <a:gd name="connsiteX2628" fmla="*/ 1198 w 10785"/>
                <a:gd name="connsiteY2628" fmla="*/ 9838 h 10000"/>
                <a:gd name="connsiteX2629" fmla="*/ 1212 w 10785"/>
                <a:gd name="connsiteY2629" fmla="*/ 9863 h 10000"/>
                <a:gd name="connsiteX2630" fmla="*/ 1230 w 10785"/>
                <a:gd name="connsiteY2630" fmla="*/ 9872 h 10000"/>
                <a:gd name="connsiteX2631" fmla="*/ 1249 w 10785"/>
                <a:gd name="connsiteY2631" fmla="*/ 9897 h 10000"/>
                <a:gd name="connsiteX2632" fmla="*/ 1263 w 10785"/>
                <a:gd name="connsiteY2632" fmla="*/ 9897 h 10000"/>
                <a:gd name="connsiteX2633" fmla="*/ 1276 w 10785"/>
                <a:gd name="connsiteY2633" fmla="*/ 9923 h 10000"/>
                <a:gd name="connsiteX2634" fmla="*/ 1281 w 10785"/>
                <a:gd name="connsiteY2634" fmla="*/ 9949 h 10000"/>
                <a:gd name="connsiteX2635" fmla="*/ 1290 w 10785"/>
                <a:gd name="connsiteY2635" fmla="*/ 9949 h 10000"/>
                <a:gd name="connsiteX2636" fmla="*/ 1295 w 10785"/>
                <a:gd name="connsiteY2636" fmla="*/ 10000 h 10000"/>
                <a:gd name="connsiteX2637" fmla="*/ 1332 w 10785"/>
                <a:gd name="connsiteY2637" fmla="*/ 10000 h 10000"/>
                <a:gd name="connsiteX2638" fmla="*/ 1336 w 10785"/>
                <a:gd name="connsiteY2638" fmla="*/ 10000 h 10000"/>
                <a:gd name="connsiteX2639" fmla="*/ 1346 w 10785"/>
                <a:gd name="connsiteY2639" fmla="*/ 9983 h 10000"/>
                <a:gd name="connsiteX2640" fmla="*/ 1350 w 10785"/>
                <a:gd name="connsiteY2640" fmla="*/ 9949 h 10000"/>
                <a:gd name="connsiteX2641" fmla="*/ 1369 w 10785"/>
                <a:gd name="connsiteY2641" fmla="*/ 9940 h 10000"/>
                <a:gd name="connsiteX2642" fmla="*/ 1378 w 10785"/>
                <a:gd name="connsiteY2642" fmla="*/ 9897 h 10000"/>
                <a:gd name="connsiteX2643" fmla="*/ 1369 w 10785"/>
                <a:gd name="connsiteY2643" fmla="*/ 9889 h 10000"/>
                <a:gd name="connsiteX2644" fmla="*/ 1318 w 10785"/>
                <a:gd name="connsiteY2644" fmla="*/ 9701 h 10000"/>
                <a:gd name="connsiteX2645" fmla="*/ 1318 w 10785"/>
                <a:gd name="connsiteY2645" fmla="*/ 9650 h 10000"/>
                <a:gd name="connsiteX2646" fmla="*/ 1323 w 10785"/>
                <a:gd name="connsiteY2646" fmla="*/ 9590 h 10000"/>
                <a:gd name="connsiteX2647" fmla="*/ 1323 w 10785"/>
                <a:gd name="connsiteY2647" fmla="*/ 9564 h 10000"/>
                <a:gd name="connsiteX2648" fmla="*/ 1309 w 10785"/>
                <a:gd name="connsiteY2648" fmla="*/ 9598 h 10000"/>
                <a:gd name="connsiteX2649" fmla="*/ 1309 w 10785"/>
                <a:gd name="connsiteY2649" fmla="*/ 9590 h 10000"/>
                <a:gd name="connsiteX2650" fmla="*/ 1304 w 10785"/>
                <a:gd name="connsiteY2650" fmla="*/ 9547 h 10000"/>
                <a:gd name="connsiteX2651" fmla="*/ 1276 w 10785"/>
                <a:gd name="connsiteY2651" fmla="*/ 9479 h 10000"/>
                <a:gd name="connsiteX2652" fmla="*/ 1263 w 10785"/>
                <a:gd name="connsiteY2652" fmla="*/ 9479 h 10000"/>
                <a:gd name="connsiteX2653" fmla="*/ 1263 w 10785"/>
                <a:gd name="connsiteY2653" fmla="*/ 9453 h 10000"/>
                <a:gd name="connsiteX2654" fmla="*/ 1272 w 10785"/>
                <a:gd name="connsiteY2654" fmla="*/ 9410 h 10000"/>
                <a:gd name="connsiteX2655" fmla="*/ 1272 w 10785"/>
                <a:gd name="connsiteY2655" fmla="*/ 9393 h 10000"/>
                <a:gd name="connsiteX2656" fmla="*/ 1281 w 10785"/>
                <a:gd name="connsiteY2656" fmla="*/ 9368 h 10000"/>
                <a:gd name="connsiteX2657" fmla="*/ 1281 w 10785"/>
                <a:gd name="connsiteY2657" fmla="*/ 9368 h 10000"/>
                <a:gd name="connsiteX2658" fmla="*/ 1290 w 10785"/>
                <a:gd name="connsiteY2658" fmla="*/ 9368 h 10000"/>
                <a:gd name="connsiteX2659" fmla="*/ 1290 w 10785"/>
                <a:gd name="connsiteY2659" fmla="*/ 9342 h 10000"/>
                <a:gd name="connsiteX2660" fmla="*/ 1304 w 10785"/>
                <a:gd name="connsiteY2660" fmla="*/ 9325 h 10000"/>
                <a:gd name="connsiteX2661" fmla="*/ 1309 w 10785"/>
                <a:gd name="connsiteY2661" fmla="*/ 9239 h 10000"/>
                <a:gd name="connsiteX2662" fmla="*/ 1318 w 10785"/>
                <a:gd name="connsiteY2662" fmla="*/ 9256 h 10000"/>
                <a:gd name="connsiteX2663" fmla="*/ 1323 w 10785"/>
                <a:gd name="connsiteY2663" fmla="*/ 9179 h 10000"/>
                <a:gd name="connsiteX2664" fmla="*/ 1309 w 10785"/>
                <a:gd name="connsiteY2664" fmla="*/ 9145 h 10000"/>
                <a:gd name="connsiteX2665" fmla="*/ 1336 w 10785"/>
                <a:gd name="connsiteY2665" fmla="*/ 9154 h 10000"/>
                <a:gd name="connsiteX2666" fmla="*/ 1336 w 10785"/>
                <a:gd name="connsiteY2666" fmla="*/ 9162 h 10000"/>
                <a:gd name="connsiteX2667" fmla="*/ 1350 w 10785"/>
                <a:gd name="connsiteY2667" fmla="*/ 9231 h 10000"/>
                <a:gd name="connsiteX2668" fmla="*/ 1355 w 10785"/>
                <a:gd name="connsiteY2668" fmla="*/ 9231 h 10000"/>
                <a:gd name="connsiteX2669" fmla="*/ 1364 w 10785"/>
                <a:gd name="connsiteY2669" fmla="*/ 9214 h 10000"/>
                <a:gd name="connsiteX2670" fmla="*/ 1369 w 10785"/>
                <a:gd name="connsiteY2670" fmla="*/ 9214 h 10000"/>
                <a:gd name="connsiteX2671" fmla="*/ 1382 w 10785"/>
                <a:gd name="connsiteY2671" fmla="*/ 9154 h 10000"/>
                <a:gd name="connsiteX2672" fmla="*/ 1396 w 10785"/>
                <a:gd name="connsiteY2672" fmla="*/ 9154 h 10000"/>
                <a:gd name="connsiteX2673" fmla="*/ 1382 w 10785"/>
                <a:gd name="connsiteY2673" fmla="*/ 9145 h 10000"/>
                <a:gd name="connsiteX2674" fmla="*/ 1382 w 10785"/>
                <a:gd name="connsiteY2674" fmla="*/ 9128 h 10000"/>
                <a:gd name="connsiteX2675" fmla="*/ 1369 w 10785"/>
                <a:gd name="connsiteY2675" fmla="*/ 9128 h 10000"/>
                <a:gd name="connsiteX2676" fmla="*/ 1364 w 10785"/>
                <a:gd name="connsiteY2676" fmla="*/ 9128 h 10000"/>
                <a:gd name="connsiteX2677" fmla="*/ 1355 w 10785"/>
                <a:gd name="connsiteY2677" fmla="*/ 9120 h 10000"/>
                <a:gd name="connsiteX2678" fmla="*/ 1350 w 10785"/>
                <a:gd name="connsiteY2678" fmla="*/ 9103 h 10000"/>
                <a:gd name="connsiteX2679" fmla="*/ 1355 w 10785"/>
                <a:gd name="connsiteY2679" fmla="*/ 9094 h 10000"/>
                <a:gd name="connsiteX2680" fmla="*/ 1355 w 10785"/>
                <a:gd name="connsiteY2680" fmla="*/ 9068 h 10000"/>
                <a:gd name="connsiteX2681" fmla="*/ 1369 w 10785"/>
                <a:gd name="connsiteY2681" fmla="*/ 9068 h 10000"/>
                <a:gd name="connsiteX2682" fmla="*/ 1378 w 10785"/>
                <a:gd name="connsiteY2682" fmla="*/ 9077 h 10000"/>
                <a:gd name="connsiteX2683" fmla="*/ 1396 w 10785"/>
                <a:gd name="connsiteY2683" fmla="*/ 9068 h 10000"/>
                <a:gd name="connsiteX2684" fmla="*/ 1382 w 10785"/>
                <a:gd name="connsiteY2684" fmla="*/ 8940 h 10000"/>
                <a:gd name="connsiteX2685" fmla="*/ 1378 w 10785"/>
                <a:gd name="connsiteY2685" fmla="*/ 8940 h 10000"/>
                <a:gd name="connsiteX2686" fmla="*/ 1364 w 10785"/>
                <a:gd name="connsiteY2686" fmla="*/ 8889 h 10000"/>
                <a:gd name="connsiteX2687" fmla="*/ 1355 w 10785"/>
                <a:gd name="connsiteY2687" fmla="*/ 8880 h 10000"/>
                <a:gd name="connsiteX2688" fmla="*/ 1323 w 10785"/>
                <a:gd name="connsiteY2688" fmla="*/ 8880 h 10000"/>
                <a:gd name="connsiteX2689" fmla="*/ 1309 w 10785"/>
                <a:gd name="connsiteY2689" fmla="*/ 8880 h 10000"/>
                <a:gd name="connsiteX2690" fmla="*/ 1309 w 10785"/>
                <a:gd name="connsiteY2690" fmla="*/ 8889 h 10000"/>
                <a:gd name="connsiteX2691" fmla="*/ 1295 w 10785"/>
                <a:gd name="connsiteY2691" fmla="*/ 8872 h 10000"/>
                <a:gd name="connsiteX2692" fmla="*/ 1290 w 10785"/>
                <a:gd name="connsiteY2692" fmla="*/ 8855 h 10000"/>
                <a:gd name="connsiteX2693" fmla="*/ 1290 w 10785"/>
                <a:gd name="connsiteY2693" fmla="*/ 8829 h 10000"/>
                <a:gd name="connsiteX2694" fmla="*/ 1290 w 10785"/>
                <a:gd name="connsiteY2694" fmla="*/ 8821 h 10000"/>
                <a:gd name="connsiteX2695" fmla="*/ 1290 w 10785"/>
                <a:gd name="connsiteY2695" fmla="*/ 8803 h 10000"/>
                <a:gd name="connsiteX2696" fmla="*/ 1281 w 10785"/>
                <a:gd name="connsiteY2696" fmla="*/ 8795 h 10000"/>
                <a:gd name="connsiteX2697" fmla="*/ 1249 w 10785"/>
                <a:gd name="connsiteY2697" fmla="*/ 8769 h 10000"/>
                <a:gd name="connsiteX2698" fmla="*/ 1263 w 10785"/>
                <a:gd name="connsiteY2698" fmla="*/ 8667 h 10000"/>
                <a:gd name="connsiteX2699" fmla="*/ 1281 w 10785"/>
                <a:gd name="connsiteY2699" fmla="*/ 8658 h 10000"/>
                <a:gd name="connsiteX2700" fmla="*/ 1290 w 10785"/>
                <a:gd name="connsiteY2700" fmla="*/ 8632 h 10000"/>
                <a:gd name="connsiteX2701" fmla="*/ 1281 w 10785"/>
                <a:gd name="connsiteY2701" fmla="*/ 8615 h 10000"/>
                <a:gd name="connsiteX2702" fmla="*/ 1272 w 10785"/>
                <a:gd name="connsiteY2702" fmla="*/ 8598 h 10000"/>
                <a:gd name="connsiteX2703" fmla="*/ 1281 w 10785"/>
                <a:gd name="connsiteY2703" fmla="*/ 8496 h 10000"/>
                <a:gd name="connsiteX2704" fmla="*/ 1295 w 10785"/>
                <a:gd name="connsiteY2704" fmla="*/ 8470 h 10000"/>
                <a:gd name="connsiteX2705" fmla="*/ 1304 w 10785"/>
                <a:gd name="connsiteY2705" fmla="*/ 8462 h 10000"/>
                <a:gd name="connsiteX2706" fmla="*/ 1304 w 10785"/>
                <a:gd name="connsiteY2706" fmla="*/ 8444 h 10000"/>
                <a:gd name="connsiteX2707" fmla="*/ 1304 w 10785"/>
                <a:gd name="connsiteY2707" fmla="*/ 8419 h 10000"/>
                <a:gd name="connsiteX2708" fmla="*/ 1304 w 10785"/>
                <a:gd name="connsiteY2708" fmla="*/ 8410 h 10000"/>
                <a:gd name="connsiteX2709" fmla="*/ 1309 w 10785"/>
                <a:gd name="connsiteY2709" fmla="*/ 8393 h 10000"/>
                <a:gd name="connsiteX2710" fmla="*/ 1318 w 10785"/>
                <a:gd name="connsiteY2710" fmla="*/ 8385 h 10000"/>
                <a:gd name="connsiteX2711" fmla="*/ 1323 w 10785"/>
                <a:gd name="connsiteY2711" fmla="*/ 8385 h 10000"/>
                <a:gd name="connsiteX2712" fmla="*/ 1332 w 10785"/>
                <a:gd name="connsiteY2712" fmla="*/ 8410 h 10000"/>
                <a:gd name="connsiteX2713" fmla="*/ 1346 w 10785"/>
                <a:gd name="connsiteY2713" fmla="*/ 8419 h 10000"/>
                <a:gd name="connsiteX2714" fmla="*/ 1364 w 10785"/>
                <a:gd name="connsiteY2714" fmla="*/ 8504 h 10000"/>
                <a:gd name="connsiteX2715" fmla="*/ 1369 w 10785"/>
                <a:gd name="connsiteY2715" fmla="*/ 8521 h 10000"/>
                <a:gd name="connsiteX2716" fmla="*/ 1406 w 10785"/>
                <a:gd name="connsiteY2716" fmla="*/ 8470 h 10000"/>
                <a:gd name="connsiteX2717" fmla="*/ 1382 w 10785"/>
                <a:gd name="connsiteY2717" fmla="*/ 8359 h 10000"/>
                <a:gd name="connsiteX2718" fmla="*/ 1392 w 10785"/>
                <a:gd name="connsiteY2718" fmla="*/ 8359 h 10000"/>
                <a:gd name="connsiteX2719" fmla="*/ 1438 w 10785"/>
                <a:gd name="connsiteY2719" fmla="*/ 8308 h 10000"/>
                <a:gd name="connsiteX2720" fmla="*/ 1442 w 10785"/>
                <a:gd name="connsiteY2720" fmla="*/ 8299 h 10000"/>
                <a:gd name="connsiteX2721" fmla="*/ 1442 w 10785"/>
                <a:gd name="connsiteY2721" fmla="*/ 8256 h 10000"/>
                <a:gd name="connsiteX2722" fmla="*/ 1452 w 10785"/>
                <a:gd name="connsiteY2722" fmla="*/ 8256 h 10000"/>
                <a:gd name="connsiteX2723" fmla="*/ 1456 w 10785"/>
                <a:gd name="connsiteY2723" fmla="*/ 8256 h 10000"/>
                <a:gd name="connsiteX2724" fmla="*/ 1470 w 10785"/>
                <a:gd name="connsiteY2724" fmla="*/ 8248 h 10000"/>
                <a:gd name="connsiteX2725" fmla="*/ 1479 w 10785"/>
                <a:gd name="connsiteY2725" fmla="*/ 8231 h 10000"/>
                <a:gd name="connsiteX2726" fmla="*/ 1493 w 10785"/>
                <a:gd name="connsiteY2726" fmla="*/ 8222 h 10000"/>
                <a:gd name="connsiteX2727" fmla="*/ 1498 w 10785"/>
                <a:gd name="connsiteY2727" fmla="*/ 8214 h 10000"/>
                <a:gd name="connsiteX2728" fmla="*/ 1502 w 10785"/>
                <a:gd name="connsiteY2728" fmla="*/ 8197 h 10000"/>
                <a:gd name="connsiteX2729" fmla="*/ 1512 w 10785"/>
                <a:gd name="connsiteY2729" fmla="*/ 8188 h 10000"/>
                <a:gd name="connsiteX2730" fmla="*/ 1516 w 10785"/>
                <a:gd name="connsiteY2730" fmla="*/ 8171 h 10000"/>
                <a:gd name="connsiteX2731" fmla="*/ 1525 w 10785"/>
                <a:gd name="connsiteY2731" fmla="*/ 8162 h 10000"/>
                <a:gd name="connsiteX2732" fmla="*/ 1539 w 10785"/>
                <a:gd name="connsiteY2732" fmla="*/ 8145 h 10000"/>
                <a:gd name="connsiteX2733" fmla="*/ 1558 w 10785"/>
                <a:gd name="connsiteY2733" fmla="*/ 8145 h 10000"/>
                <a:gd name="connsiteX2734" fmla="*/ 1562 w 10785"/>
                <a:gd name="connsiteY2734" fmla="*/ 8188 h 10000"/>
                <a:gd name="connsiteX2735" fmla="*/ 1585 w 10785"/>
                <a:gd name="connsiteY2735" fmla="*/ 8171 h 10000"/>
                <a:gd name="connsiteX2736" fmla="*/ 1590 w 10785"/>
                <a:gd name="connsiteY2736" fmla="*/ 8188 h 10000"/>
                <a:gd name="connsiteX2737" fmla="*/ 1599 w 10785"/>
                <a:gd name="connsiteY2737" fmla="*/ 8171 h 10000"/>
                <a:gd name="connsiteX2738" fmla="*/ 1599 w 10785"/>
                <a:gd name="connsiteY2738" fmla="*/ 8162 h 10000"/>
                <a:gd name="connsiteX2739" fmla="*/ 1604 w 10785"/>
                <a:gd name="connsiteY2739" fmla="*/ 8137 h 10000"/>
                <a:gd name="connsiteX2740" fmla="*/ 1618 w 10785"/>
                <a:gd name="connsiteY2740" fmla="*/ 8145 h 10000"/>
                <a:gd name="connsiteX2741" fmla="*/ 1627 w 10785"/>
                <a:gd name="connsiteY2741" fmla="*/ 8137 h 10000"/>
                <a:gd name="connsiteX2742" fmla="*/ 1631 w 10785"/>
                <a:gd name="connsiteY2742" fmla="*/ 8137 h 10000"/>
                <a:gd name="connsiteX2743" fmla="*/ 1636 w 10785"/>
                <a:gd name="connsiteY2743" fmla="*/ 8171 h 10000"/>
                <a:gd name="connsiteX2744" fmla="*/ 1645 w 10785"/>
                <a:gd name="connsiteY2744" fmla="*/ 8188 h 10000"/>
                <a:gd name="connsiteX2745" fmla="*/ 1664 w 10785"/>
                <a:gd name="connsiteY2745" fmla="*/ 8171 h 10000"/>
                <a:gd name="connsiteX2746" fmla="*/ 1673 w 10785"/>
                <a:gd name="connsiteY2746" fmla="*/ 8188 h 10000"/>
                <a:gd name="connsiteX2747" fmla="*/ 1691 w 10785"/>
                <a:gd name="connsiteY2747" fmla="*/ 8171 h 10000"/>
                <a:gd name="connsiteX2748" fmla="*/ 1705 w 10785"/>
                <a:gd name="connsiteY2748" fmla="*/ 8171 h 10000"/>
                <a:gd name="connsiteX2749" fmla="*/ 1719 w 10785"/>
                <a:gd name="connsiteY2749" fmla="*/ 8197 h 10000"/>
                <a:gd name="connsiteX2750" fmla="*/ 1724 w 10785"/>
                <a:gd name="connsiteY2750" fmla="*/ 8231 h 10000"/>
                <a:gd name="connsiteX2751" fmla="*/ 1751 w 10785"/>
                <a:gd name="connsiteY2751" fmla="*/ 8256 h 10000"/>
                <a:gd name="connsiteX2752" fmla="*/ 1751 w 10785"/>
                <a:gd name="connsiteY2752" fmla="*/ 8274 h 10000"/>
                <a:gd name="connsiteX2753" fmla="*/ 1760 w 10785"/>
                <a:gd name="connsiteY2753" fmla="*/ 8282 h 10000"/>
                <a:gd name="connsiteX2754" fmla="*/ 1770 w 10785"/>
                <a:gd name="connsiteY2754" fmla="*/ 8325 h 10000"/>
                <a:gd name="connsiteX2755" fmla="*/ 1770 w 10785"/>
                <a:gd name="connsiteY2755" fmla="*/ 8350 h 10000"/>
                <a:gd name="connsiteX2756" fmla="*/ 1779 w 10785"/>
                <a:gd name="connsiteY2756" fmla="*/ 8368 h 10000"/>
                <a:gd name="connsiteX2757" fmla="*/ 1783 w 10785"/>
                <a:gd name="connsiteY2757" fmla="*/ 8359 h 10000"/>
                <a:gd name="connsiteX2758" fmla="*/ 1783 w 10785"/>
                <a:gd name="connsiteY2758" fmla="*/ 8308 h 10000"/>
                <a:gd name="connsiteX2759" fmla="*/ 1779 w 10785"/>
                <a:gd name="connsiteY2759" fmla="*/ 8299 h 10000"/>
                <a:gd name="connsiteX2760" fmla="*/ 1783 w 10785"/>
                <a:gd name="connsiteY2760" fmla="*/ 8282 h 10000"/>
                <a:gd name="connsiteX2761" fmla="*/ 1797 w 10785"/>
                <a:gd name="connsiteY2761" fmla="*/ 8274 h 10000"/>
                <a:gd name="connsiteX2762" fmla="*/ 1797 w 10785"/>
                <a:gd name="connsiteY2762" fmla="*/ 8299 h 10000"/>
                <a:gd name="connsiteX2763" fmla="*/ 1806 w 10785"/>
                <a:gd name="connsiteY2763" fmla="*/ 8308 h 10000"/>
                <a:gd name="connsiteX2764" fmla="*/ 1811 w 10785"/>
                <a:gd name="connsiteY2764" fmla="*/ 8325 h 10000"/>
                <a:gd name="connsiteX2765" fmla="*/ 1820 w 10785"/>
                <a:gd name="connsiteY2765" fmla="*/ 8333 h 10000"/>
                <a:gd name="connsiteX2766" fmla="*/ 1853 w 10785"/>
                <a:gd name="connsiteY2766" fmla="*/ 8359 h 10000"/>
                <a:gd name="connsiteX2767" fmla="*/ 1866 w 10785"/>
                <a:gd name="connsiteY2767" fmla="*/ 8359 h 10000"/>
                <a:gd name="connsiteX2768" fmla="*/ 1885 w 10785"/>
                <a:gd name="connsiteY2768" fmla="*/ 8325 h 10000"/>
                <a:gd name="connsiteX2769" fmla="*/ 1885 w 10785"/>
                <a:gd name="connsiteY2769" fmla="*/ 8308 h 10000"/>
                <a:gd name="connsiteX2770" fmla="*/ 1894 w 10785"/>
                <a:gd name="connsiteY2770" fmla="*/ 8299 h 10000"/>
                <a:gd name="connsiteX2771" fmla="*/ 1899 w 10785"/>
                <a:gd name="connsiteY2771" fmla="*/ 8282 h 10000"/>
                <a:gd name="connsiteX2772" fmla="*/ 1912 w 10785"/>
                <a:gd name="connsiteY2772" fmla="*/ 8282 h 10000"/>
                <a:gd name="connsiteX2773" fmla="*/ 1917 w 10785"/>
                <a:gd name="connsiteY2773" fmla="*/ 8299 h 10000"/>
                <a:gd name="connsiteX2774" fmla="*/ 1917 w 10785"/>
                <a:gd name="connsiteY2774" fmla="*/ 8274 h 10000"/>
                <a:gd name="connsiteX2775" fmla="*/ 1940 w 10785"/>
                <a:gd name="connsiteY2775" fmla="*/ 8282 h 10000"/>
                <a:gd name="connsiteX2776" fmla="*/ 1945 w 10785"/>
                <a:gd name="connsiteY2776" fmla="*/ 8274 h 10000"/>
                <a:gd name="connsiteX2777" fmla="*/ 1972 w 10785"/>
                <a:gd name="connsiteY2777" fmla="*/ 8308 h 10000"/>
                <a:gd name="connsiteX2778" fmla="*/ 1986 w 10785"/>
                <a:gd name="connsiteY2778" fmla="*/ 8282 h 10000"/>
                <a:gd name="connsiteX2779" fmla="*/ 1991 w 10785"/>
                <a:gd name="connsiteY2779" fmla="*/ 8274 h 10000"/>
                <a:gd name="connsiteX2780" fmla="*/ 2014 w 10785"/>
                <a:gd name="connsiteY2780" fmla="*/ 8274 h 10000"/>
                <a:gd name="connsiteX2781" fmla="*/ 2018 w 10785"/>
                <a:gd name="connsiteY2781" fmla="*/ 8256 h 10000"/>
                <a:gd name="connsiteX2782" fmla="*/ 2041 w 10785"/>
                <a:gd name="connsiteY2782" fmla="*/ 8274 h 10000"/>
                <a:gd name="connsiteX2783" fmla="*/ 2046 w 10785"/>
                <a:gd name="connsiteY2783" fmla="*/ 8282 h 10000"/>
                <a:gd name="connsiteX2784" fmla="*/ 2046 w 10785"/>
                <a:gd name="connsiteY2784" fmla="*/ 8325 h 10000"/>
                <a:gd name="connsiteX2785" fmla="*/ 2060 w 10785"/>
                <a:gd name="connsiteY2785" fmla="*/ 8350 h 10000"/>
                <a:gd name="connsiteX2786" fmla="*/ 2078 w 10785"/>
                <a:gd name="connsiteY2786" fmla="*/ 8350 h 10000"/>
                <a:gd name="connsiteX2787" fmla="*/ 2092 w 10785"/>
                <a:gd name="connsiteY2787" fmla="*/ 8350 h 10000"/>
                <a:gd name="connsiteX2788" fmla="*/ 2092 w 10785"/>
                <a:gd name="connsiteY2788" fmla="*/ 8350 h 10000"/>
                <a:gd name="connsiteX2789" fmla="*/ 2101 w 10785"/>
                <a:gd name="connsiteY2789" fmla="*/ 8368 h 10000"/>
                <a:gd name="connsiteX2790" fmla="*/ 2120 w 10785"/>
                <a:gd name="connsiteY2790" fmla="*/ 8368 h 10000"/>
                <a:gd name="connsiteX2791" fmla="*/ 2124 w 10785"/>
                <a:gd name="connsiteY2791" fmla="*/ 8359 h 10000"/>
                <a:gd name="connsiteX2792" fmla="*/ 2138 w 10785"/>
                <a:gd name="connsiteY2792" fmla="*/ 8325 h 10000"/>
                <a:gd name="connsiteX2793" fmla="*/ 2147 w 10785"/>
                <a:gd name="connsiteY2793" fmla="*/ 8325 h 10000"/>
                <a:gd name="connsiteX2794" fmla="*/ 2161 w 10785"/>
                <a:gd name="connsiteY2794" fmla="*/ 8350 h 10000"/>
                <a:gd name="connsiteX2795" fmla="*/ 2198 w 10785"/>
                <a:gd name="connsiteY2795" fmla="*/ 8350 h 10000"/>
                <a:gd name="connsiteX2796" fmla="*/ 2207 w 10785"/>
                <a:gd name="connsiteY2796" fmla="*/ 8333 h 10000"/>
                <a:gd name="connsiteX2797" fmla="*/ 2226 w 10785"/>
                <a:gd name="connsiteY2797" fmla="*/ 8325 h 10000"/>
                <a:gd name="connsiteX2798" fmla="*/ 2249 w 10785"/>
                <a:gd name="connsiteY2798" fmla="*/ 8222 h 10000"/>
                <a:gd name="connsiteX2799" fmla="*/ 2235 w 10785"/>
                <a:gd name="connsiteY2799" fmla="*/ 8197 h 10000"/>
                <a:gd name="connsiteX2800" fmla="*/ 2198 w 10785"/>
                <a:gd name="connsiteY2800" fmla="*/ 8197 h 10000"/>
                <a:gd name="connsiteX2801" fmla="*/ 2189 w 10785"/>
                <a:gd name="connsiteY2801" fmla="*/ 8171 h 10000"/>
                <a:gd name="connsiteX2802" fmla="*/ 2161 w 10785"/>
                <a:gd name="connsiteY2802" fmla="*/ 8145 h 10000"/>
                <a:gd name="connsiteX2803" fmla="*/ 2161 w 10785"/>
                <a:gd name="connsiteY2803" fmla="*/ 8137 h 10000"/>
                <a:gd name="connsiteX2804" fmla="*/ 2152 w 10785"/>
                <a:gd name="connsiteY2804" fmla="*/ 8120 h 10000"/>
                <a:gd name="connsiteX2805" fmla="*/ 2138 w 10785"/>
                <a:gd name="connsiteY2805" fmla="*/ 8111 h 10000"/>
                <a:gd name="connsiteX2806" fmla="*/ 2138 w 10785"/>
                <a:gd name="connsiteY2806" fmla="*/ 8094 h 10000"/>
                <a:gd name="connsiteX2807" fmla="*/ 2147 w 10785"/>
                <a:gd name="connsiteY2807" fmla="*/ 8085 h 10000"/>
                <a:gd name="connsiteX2808" fmla="*/ 2161 w 10785"/>
                <a:gd name="connsiteY2808" fmla="*/ 8060 h 10000"/>
                <a:gd name="connsiteX2809" fmla="*/ 2198 w 10785"/>
                <a:gd name="connsiteY2809" fmla="*/ 8034 h 10000"/>
                <a:gd name="connsiteX2810" fmla="*/ 2198 w 10785"/>
                <a:gd name="connsiteY2810" fmla="*/ 8026 h 10000"/>
                <a:gd name="connsiteX2811" fmla="*/ 2198 w 10785"/>
                <a:gd name="connsiteY2811" fmla="*/ 8000 h 10000"/>
                <a:gd name="connsiteX2812" fmla="*/ 2180 w 10785"/>
                <a:gd name="connsiteY2812" fmla="*/ 7940 h 10000"/>
                <a:gd name="connsiteX2813" fmla="*/ 2189 w 10785"/>
                <a:gd name="connsiteY2813" fmla="*/ 7940 h 10000"/>
                <a:gd name="connsiteX2814" fmla="*/ 2198 w 10785"/>
                <a:gd name="connsiteY2814" fmla="*/ 7923 h 10000"/>
                <a:gd name="connsiteX2815" fmla="*/ 2198 w 10785"/>
                <a:gd name="connsiteY2815" fmla="*/ 7897 h 10000"/>
                <a:gd name="connsiteX2816" fmla="*/ 2207 w 10785"/>
                <a:gd name="connsiteY2816" fmla="*/ 7889 h 10000"/>
                <a:gd name="connsiteX2817" fmla="*/ 2221 w 10785"/>
                <a:gd name="connsiteY2817" fmla="*/ 7889 h 10000"/>
                <a:gd name="connsiteX2818" fmla="*/ 2226 w 10785"/>
                <a:gd name="connsiteY2818" fmla="*/ 7897 h 10000"/>
                <a:gd name="connsiteX2819" fmla="*/ 2235 w 10785"/>
                <a:gd name="connsiteY2819" fmla="*/ 7889 h 10000"/>
                <a:gd name="connsiteX2820" fmla="*/ 2249 w 10785"/>
                <a:gd name="connsiteY2820" fmla="*/ 7897 h 10000"/>
                <a:gd name="connsiteX2821" fmla="*/ 2267 w 10785"/>
                <a:gd name="connsiteY2821" fmla="*/ 7897 h 10000"/>
                <a:gd name="connsiteX2822" fmla="*/ 2272 w 10785"/>
                <a:gd name="connsiteY2822" fmla="*/ 7889 h 10000"/>
                <a:gd name="connsiteX2823" fmla="*/ 2281 w 10785"/>
                <a:gd name="connsiteY2823" fmla="*/ 7872 h 10000"/>
                <a:gd name="connsiteX2824" fmla="*/ 2272 w 10785"/>
                <a:gd name="connsiteY2824" fmla="*/ 7846 h 10000"/>
                <a:gd name="connsiteX2825" fmla="*/ 2253 w 10785"/>
                <a:gd name="connsiteY2825" fmla="*/ 7838 h 10000"/>
                <a:gd name="connsiteX2826" fmla="*/ 2221 w 10785"/>
                <a:gd name="connsiteY2826" fmla="*/ 7821 h 10000"/>
                <a:gd name="connsiteX2827" fmla="*/ 2212 w 10785"/>
                <a:gd name="connsiteY2827" fmla="*/ 7812 h 10000"/>
                <a:gd name="connsiteX2828" fmla="*/ 2212 w 10785"/>
                <a:gd name="connsiteY2828" fmla="*/ 7803 h 10000"/>
                <a:gd name="connsiteX2829" fmla="*/ 2221 w 10785"/>
                <a:gd name="connsiteY2829" fmla="*/ 7803 h 10000"/>
                <a:gd name="connsiteX2830" fmla="*/ 2235 w 10785"/>
                <a:gd name="connsiteY2830" fmla="*/ 7786 h 10000"/>
                <a:gd name="connsiteX2831" fmla="*/ 2240 w 10785"/>
                <a:gd name="connsiteY2831" fmla="*/ 7778 h 10000"/>
                <a:gd name="connsiteX2832" fmla="*/ 2226 w 10785"/>
                <a:gd name="connsiteY2832" fmla="*/ 7761 h 10000"/>
                <a:gd name="connsiteX2833" fmla="*/ 2221 w 10785"/>
                <a:gd name="connsiteY2833" fmla="*/ 7778 h 10000"/>
                <a:gd name="connsiteX2834" fmla="*/ 2198 w 10785"/>
                <a:gd name="connsiteY2834" fmla="*/ 7778 h 10000"/>
                <a:gd name="connsiteX2835" fmla="*/ 2198 w 10785"/>
                <a:gd name="connsiteY2835" fmla="*/ 7752 h 10000"/>
                <a:gd name="connsiteX2836" fmla="*/ 2207 w 10785"/>
                <a:gd name="connsiteY2836" fmla="*/ 7735 h 10000"/>
                <a:gd name="connsiteX2837" fmla="*/ 2212 w 10785"/>
                <a:gd name="connsiteY2837" fmla="*/ 7726 h 10000"/>
                <a:gd name="connsiteX2838" fmla="*/ 2198 w 10785"/>
                <a:gd name="connsiteY2838" fmla="*/ 7692 h 10000"/>
                <a:gd name="connsiteX2839" fmla="*/ 2221 w 10785"/>
                <a:gd name="connsiteY2839" fmla="*/ 7692 h 10000"/>
                <a:gd name="connsiteX2840" fmla="*/ 2221 w 10785"/>
                <a:gd name="connsiteY2840" fmla="*/ 7675 h 10000"/>
                <a:gd name="connsiteX2841" fmla="*/ 2235 w 10785"/>
                <a:gd name="connsiteY2841" fmla="*/ 7675 h 10000"/>
                <a:gd name="connsiteX2842" fmla="*/ 2240 w 10785"/>
                <a:gd name="connsiteY2842" fmla="*/ 7692 h 10000"/>
                <a:gd name="connsiteX2843" fmla="*/ 2249 w 10785"/>
                <a:gd name="connsiteY2843" fmla="*/ 7692 h 10000"/>
                <a:gd name="connsiteX2844" fmla="*/ 2258 w 10785"/>
                <a:gd name="connsiteY2844" fmla="*/ 7692 h 10000"/>
                <a:gd name="connsiteX2845" fmla="*/ 2267 w 10785"/>
                <a:gd name="connsiteY2845" fmla="*/ 7692 h 10000"/>
                <a:gd name="connsiteX2846" fmla="*/ 2295 w 10785"/>
                <a:gd name="connsiteY2846" fmla="*/ 7692 h 10000"/>
                <a:gd name="connsiteX2847" fmla="*/ 2300 w 10785"/>
                <a:gd name="connsiteY2847" fmla="*/ 7701 h 10000"/>
                <a:gd name="connsiteX2848" fmla="*/ 2313 w 10785"/>
                <a:gd name="connsiteY2848" fmla="*/ 7675 h 10000"/>
                <a:gd name="connsiteX2849" fmla="*/ 2323 w 10785"/>
                <a:gd name="connsiteY2849" fmla="*/ 7675 h 10000"/>
                <a:gd name="connsiteX2850" fmla="*/ 2341 w 10785"/>
                <a:gd name="connsiteY2850" fmla="*/ 7675 h 10000"/>
                <a:gd name="connsiteX2851" fmla="*/ 2346 w 10785"/>
                <a:gd name="connsiteY2851" fmla="*/ 7667 h 10000"/>
                <a:gd name="connsiteX2852" fmla="*/ 2359 w 10785"/>
                <a:gd name="connsiteY2852" fmla="*/ 7650 h 10000"/>
                <a:gd name="connsiteX2853" fmla="*/ 2373 w 10785"/>
                <a:gd name="connsiteY2853" fmla="*/ 7624 h 10000"/>
                <a:gd name="connsiteX2854" fmla="*/ 2382 w 10785"/>
                <a:gd name="connsiteY2854" fmla="*/ 7641 h 10000"/>
                <a:gd name="connsiteX2855" fmla="*/ 2396 w 10785"/>
                <a:gd name="connsiteY2855" fmla="*/ 7650 h 10000"/>
                <a:gd name="connsiteX2856" fmla="*/ 2401 w 10785"/>
                <a:gd name="connsiteY2856" fmla="*/ 7650 h 10000"/>
                <a:gd name="connsiteX2857" fmla="*/ 2401 w 10785"/>
                <a:gd name="connsiteY2857" fmla="*/ 7624 h 10000"/>
                <a:gd name="connsiteX2858" fmla="*/ 2419 w 10785"/>
                <a:gd name="connsiteY2858" fmla="*/ 7624 h 10000"/>
                <a:gd name="connsiteX2859" fmla="*/ 2433 w 10785"/>
                <a:gd name="connsiteY2859" fmla="*/ 7615 h 10000"/>
                <a:gd name="connsiteX2860" fmla="*/ 2442 w 10785"/>
                <a:gd name="connsiteY2860" fmla="*/ 7615 h 10000"/>
                <a:gd name="connsiteX2861" fmla="*/ 2447 w 10785"/>
                <a:gd name="connsiteY2861" fmla="*/ 7598 h 10000"/>
                <a:gd name="connsiteX2862" fmla="*/ 2461 w 10785"/>
                <a:gd name="connsiteY2862" fmla="*/ 7598 h 10000"/>
                <a:gd name="connsiteX2863" fmla="*/ 2465 w 10785"/>
                <a:gd name="connsiteY2863" fmla="*/ 7615 h 10000"/>
                <a:gd name="connsiteX2864" fmla="*/ 2479 w 10785"/>
                <a:gd name="connsiteY2864" fmla="*/ 7564 h 10000"/>
                <a:gd name="connsiteX2865" fmla="*/ 2488 w 10785"/>
                <a:gd name="connsiteY2865" fmla="*/ 7556 h 10000"/>
                <a:gd name="connsiteX2866" fmla="*/ 2493 w 10785"/>
                <a:gd name="connsiteY2866" fmla="*/ 7556 h 10000"/>
                <a:gd name="connsiteX2867" fmla="*/ 2507 w 10785"/>
                <a:gd name="connsiteY2867" fmla="*/ 7556 h 10000"/>
                <a:gd name="connsiteX2868" fmla="*/ 2530 w 10785"/>
                <a:gd name="connsiteY2868" fmla="*/ 7538 h 10000"/>
                <a:gd name="connsiteX2869" fmla="*/ 2530 w 10785"/>
                <a:gd name="connsiteY2869" fmla="*/ 7556 h 10000"/>
                <a:gd name="connsiteX2870" fmla="*/ 2641 w 10785"/>
                <a:gd name="connsiteY2870" fmla="*/ 7504 h 10000"/>
                <a:gd name="connsiteX2871" fmla="*/ 2654 w 10785"/>
                <a:gd name="connsiteY2871" fmla="*/ 7487 h 10000"/>
                <a:gd name="connsiteX2872" fmla="*/ 2664 w 10785"/>
                <a:gd name="connsiteY2872" fmla="*/ 7487 h 10000"/>
                <a:gd name="connsiteX2873" fmla="*/ 2668 w 10785"/>
                <a:gd name="connsiteY2873" fmla="*/ 7479 h 10000"/>
                <a:gd name="connsiteX2874" fmla="*/ 2673 w 10785"/>
                <a:gd name="connsiteY2874" fmla="*/ 7462 h 10000"/>
                <a:gd name="connsiteX2875" fmla="*/ 2673 w 10785"/>
                <a:gd name="connsiteY2875" fmla="*/ 7427 h 10000"/>
                <a:gd name="connsiteX2876" fmla="*/ 2687 w 10785"/>
                <a:gd name="connsiteY2876" fmla="*/ 7436 h 10000"/>
                <a:gd name="connsiteX2877" fmla="*/ 2696 w 10785"/>
                <a:gd name="connsiteY2877" fmla="*/ 7427 h 10000"/>
                <a:gd name="connsiteX2878" fmla="*/ 2700 w 10785"/>
                <a:gd name="connsiteY2878" fmla="*/ 7419 h 10000"/>
                <a:gd name="connsiteX2879" fmla="*/ 2710 w 10785"/>
                <a:gd name="connsiteY2879" fmla="*/ 7402 h 10000"/>
                <a:gd name="connsiteX2880" fmla="*/ 2724 w 10785"/>
                <a:gd name="connsiteY2880" fmla="*/ 7402 h 10000"/>
                <a:gd name="connsiteX2881" fmla="*/ 2724 w 10785"/>
                <a:gd name="connsiteY2881" fmla="*/ 7393 h 10000"/>
                <a:gd name="connsiteX2882" fmla="*/ 2737 w 10785"/>
                <a:gd name="connsiteY2882" fmla="*/ 7393 h 10000"/>
                <a:gd name="connsiteX2883" fmla="*/ 2742 w 10785"/>
                <a:gd name="connsiteY2883" fmla="*/ 7402 h 10000"/>
                <a:gd name="connsiteX2884" fmla="*/ 2747 w 10785"/>
                <a:gd name="connsiteY2884" fmla="*/ 7402 h 10000"/>
                <a:gd name="connsiteX2885" fmla="*/ 2760 w 10785"/>
                <a:gd name="connsiteY2885" fmla="*/ 7402 h 10000"/>
                <a:gd name="connsiteX2886" fmla="*/ 2770 w 10785"/>
                <a:gd name="connsiteY2886" fmla="*/ 7402 h 10000"/>
                <a:gd name="connsiteX2887" fmla="*/ 2774 w 10785"/>
                <a:gd name="connsiteY2887" fmla="*/ 7402 h 10000"/>
                <a:gd name="connsiteX2888" fmla="*/ 2783 w 10785"/>
                <a:gd name="connsiteY2888" fmla="*/ 7419 h 10000"/>
                <a:gd name="connsiteX2889" fmla="*/ 2802 w 10785"/>
                <a:gd name="connsiteY2889" fmla="*/ 7436 h 10000"/>
                <a:gd name="connsiteX2890" fmla="*/ 2816 w 10785"/>
                <a:gd name="connsiteY2890" fmla="*/ 7419 h 10000"/>
                <a:gd name="connsiteX2891" fmla="*/ 2834 w 10785"/>
                <a:gd name="connsiteY2891" fmla="*/ 7419 h 10000"/>
                <a:gd name="connsiteX2892" fmla="*/ 2843 w 10785"/>
                <a:gd name="connsiteY2892" fmla="*/ 7419 h 10000"/>
                <a:gd name="connsiteX2893" fmla="*/ 2848 w 10785"/>
                <a:gd name="connsiteY2893" fmla="*/ 7436 h 10000"/>
                <a:gd name="connsiteX2894" fmla="*/ 2857 w 10785"/>
                <a:gd name="connsiteY2894" fmla="*/ 7453 h 10000"/>
                <a:gd name="connsiteX2895" fmla="*/ 2857 w 10785"/>
                <a:gd name="connsiteY2895" fmla="*/ 7504 h 10000"/>
                <a:gd name="connsiteX2896" fmla="*/ 2862 w 10785"/>
                <a:gd name="connsiteY2896" fmla="*/ 7530 h 10000"/>
                <a:gd name="connsiteX2897" fmla="*/ 2876 w 10785"/>
                <a:gd name="connsiteY2897" fmla="*/ 7538 h 10000"/>
                <a:gd name="connsiteX2898" fmla="*/ 2871 w 10785"/>
                <a:gd name="connsiteY2898" fmla="*/ 7564 h 10000"/>
                <a:gd name="connsiteX2899" fmla="*/ 2871 w 10785"/>
                <a:gd name="connsiteY2899" fmla="*/ 7598 h 10000"/>
                <a:gd name="connsiteX2900" fmla="*/ 2857 w 10785"/>
                <a:gd name="connsiteY2900" fmla="*/ 7624 h 10000"/>
                <a:gd name="connsiteX2901" fmla="*/ 2862 w 10785"/>
                <a:gd name="connsiteY2901" fmla="*/ 7641 h 10000"/>
                <a:gd name="connsiteX2902" fmla="*/ 2871 w 10785"/>
                <a:gd name="connsiteY2902" fmla="*/ 7667 h 10000"/>
                <a:gd name="connsiteX2903" fmla="*/ 2880 w 10785"/>
                <a:gd name="connsiteY2903" fmla="*/ 7650 h 10000"/>
                <a:gd name="connsiteX2904" fmla="*/ 2894 w 10785"/>
                <a:gd name="connsiteY2904" fmla="*/ 7667 h 10000"/>
                <a:gd name="connsiteX2905" fmla="*/ 2903 w 10785"/>
                <a:gd name="connsiteY2905" fmla="*/ 7667 h 10000"/>
                <a:gd name="connsiteX2906" fmla="*/ 2908 w 10785"/>
                <a:gd name="connsiteY2906" fmla="*/ 7641 h 10000"/>
                <a:gd name="connsiteX2907" fmla="*/ 2917 w 10785"/>
                <a:gd name="connsiteY2907" fmla="*/ 7641 h 10000"/>
                <a:gd name="connsiteX2908" fmla="*/ 2922 w 10785"/>
                <a:gd name="connsiteY2908" fmla="*/ 7641 h 10000"/>
                <a:gd name="connsiteX2909" fmla="*/ 2931 w 10785"/>
                <a:gd name="connsiteY2909" fmla="*/ 7615 h 10000"/>
                <a:gd name="connsiteX2910" fmla="*/ 2935 w 10785"/>
                <a:gd name="connsiteY2910" fmla="*/ 7615 h 10000"/>
                <a:gd name="connsiteX2911" fmla="*/ 2945 w 10785"/>
                <a:gd name="connsiteY2911" fmla="*/ 7650 h 10000"/>
                <a:gd name="connsiteX2912" fmla="*/ 2949 w 10785"/>
                <a:gd name="connsiteY2912" fmla="*/ 7667 h 10000"/>
                <a:gd name="connsiteX2913" fmla="*/ 2949 w 10785"/>
                <a:gd name="connsiteY2913" fmla="*/ 7675 h 10000"/>
                <a:gd name="connsiteX2914" fmla="*/ 2945 w 10785"/>
                <a:gd name="connsiteY2914" fmla="*/ 7692 h 10000"/>
                <a:gd name="connsiteX2915" fmla="*/ 2963 w 10785"/>
                <a:gd name="connsiteY2915" fmla="*/ 7701 h 10000"/>
                <a:gd name="connsiteX2916" fmla="*/ 2963 w 10785"/>
                <a:gd name="connsiteY2916" fmla="*/ 7675 h 10000"/>
                <a:gd name="connsiteX2917" fmla="*/ 2954 w 10785"/>
                <a:gd name="connsiteY2917" fmla="*/ 7667 h 10000"/>
                <a:gd name="connsiteX2918" fmla="*/ 2963 w 10785"/>
                <a:gd name="connsiteY2918" fmla="*/ 7667 h 10000"/>
                <a:gd name="connsiteX2919" fmla="*/ 2982 w 10785"/>
                <a:gd name="connsiteY2919" fmla="*/ 7667 h 10000"/>
                <a:gd name="connsiteX2920" fmla="*/ 2991 w 10785"/>
                <a:gd name="connsiteY2920" fmla="*/ 7675 h 10000"/>
                <a:gd name="connsiteX2921" fmla="*/ 2995 w 10785"/>
                <a:gd name="connsiteY2921" fmla="*/ 7692 h 10000"/>
                <a:gd name="connsiteX2922" fmla="*/ 3009 w 10785"/>
                <a:gd name="connsiteY2922" fmla="*/ 7701 h 10000"/>
                <a:gd name="connsiteX2923" fmla="*/ 3018 w 10785"/>
                <a:gd name="connsiteY2923" fmla="*/ 7701 h 10000"/>
                <a:gd name="connsiteX2924" fmla="*/ 3023 w 10785"/>
                <a:gd name="connsiteY2924" fmla="*/ 7692 h 10000"/>
                <a:gd name="connsiteX2925" fmla="*/ 3028 w 10785"/>
                <a:gd name="connsiteY2925" fmla="*/ 7675 h 10000"/>
                <a:gd name="connsiteX2926" fmla="*/ 3037 w 10785"/>
                <a:gd name="connsiteY2926" fmla="*/ 7692 h 10000"/>
                <a:gd name="connsiteX2927" fmla="*/ 3028 w 10785"/>
                <a:gd name="connsiteY2927" fmla="*/ 7709 h 10000"/>
                <a:gd name="connsiteX2928" fmla="*/ 3023 w 10785"/>
                <a:gd name="connsiteY2928" fmla="*/ 7709 h 10000"/>
                <a:gd name="connsiteX2929" fmla="*/ 3018 w 10785"/>
                <a:gd name="connsiteY2929" fmla="*/ 7726 h 10000"/>
                <a:gd name="connsiteX2930" fmla="*/ 3009 w 10785"/>
                <a:gd name="connsiteY2930" fmla="*/ 7735 h 10000"/>
                <a:gd name="connsiteX2931" fmla="*/ 3009 w 10785"/>
                <a:gd name="connsiteY2931" fmla="*/ 7761 h 10000"/>
                <a:gd name="connsiteX2932" fmla="*/ 3009 w 10785"/>
                <a:gd name="connsiteY2932" fmla="*/ 7778 h 10000"/>
                <a:gd name="connsiteX2933" fmla="*/ 3018 w 10785"/>
                <a:gd name="connsiteY2933" fmla="*/ 7786 h 10000"/>
                <a:gd name="connsiteX2934" fmla="*/ 3023 w 10785"/>
                <a:gd name="connsiteY2934" fmla="*/ 7786 h 10000"/>
                <a:gd name="connsiteX2935" fmla="*/ 3028 w 10785"/>
                <a:gd name="connsiteY2935" fmla="*/ 7778 h 10000"/>
                <a:gd name="connsiteX2936" fmla="*/ 3051 w 10785"/>
                <a:gd name="connsiteY2936" fmla="*/ 7761 h 10000"/>
                <a:gd name="connsiteX2937" fmla="*/ 3055 w 10785"/>
                <a:gd name="connsiteY2937" fmla="*/ 7778 h 10000"/>
                <a:gd name="connsiteX2938" fmla="*/ 3065 w 10785"/>
                <a:gd name="connsiteY2938" fmla="*/ 7761 h 10000"/>
                <a:gd name="connsiteX2939" fmla="*/ 3069 w 10785"/>
                <a:gd name="connsiteY2939" fmla="*/ 7786 h 10000"/>
                <a:gd name="connsiteX2940" fmla="*/ 3083 w 10785"/>
                <a:gd name="connsiteY2940" fmla="*/ 7786 h 10000"/>
                <a:gd name="connsiteX2941" fmla="*/ 3078 w 10785"/>
                <a:gd name="connsiteY2941" fmla="*/ 7761 h 10000"/>
                <a:gd name="connsiteX2942" fmla="*/ 3083 w 10785"/>
                <a:gd name="connsiteY2942" fmla="*/ 7752 h 10000"/>
                <a:gd name="connsiteX2943" fmla="*/ 3097 w 10785"/>
                <a:gd name="connsiteY2943" fmla="*/ 7752 h 10000"/>
                <a:gd name="connsiteX2944" fmla="*/ 3111 w 10785"/>
                <a:gd name="connsiteY2944" fmla="*/ 7726 h 10000"/>
                <a:gd name="connsiteX2945" fmla="*/ 3124 w 10785"/>
                <a:gd name="connsiteY2945" fmla="*/ 7709 h 10000"/>
                <a:gd name="connsiteX2946" fmla="*/ 3143 w 10785"/>
                <a:gd name="connsiteY2946" fmla="*/ 7692 h 10000"/>
                <a:gd name="connsiteX2947" fmla="*/ 3152 w 10785"/>
                <a:gd name="connsiteY2947" fmla="*/ 7667 h 10000"/>
                <a:gd name="connsiteX2948" fmla="*/ 3157 w 10785"/>
                <a:gd name="connsiteY2948" fmla="*/ 7650 h 10000"/>
                <a:gd name="connsiteX2949" fmla="*/ 3161 w 10785"/>
                <a:gd name="connsiteY2949" fmla="*/ 7650 h 10000"/>
                <a:gd name="connsiteX2950" fmla="*/ 3189 w 10785"/>
                <a:gd name="connsiteY2950" fmla="*/ 7641 h 10000"/>
                <a:gd name="connsiteX2951" fmla="*/ 3198 w 10785"/>
                <a:gd name="connsiteY2951" fmla="*/ 7624 h 10000"/>
                <a:gd name="connsiteX2952" fmla="*/ 3217 w 10785"/>
                <a:gd name="connsiteY2952" fmla="*/ 7615 h 10000"/>
                <a:gd name="connsiteX2953" fmla="*/ 3235 w 10785"/>
                <a:gd name="connsiteY2953" fmla="*/ 7598 h 10000"/>
                <a:gd name="connsiteX2954" fmla="*/ 3235 w 10785"/>
                <a:gd name="connsiteY2954" fmla="*/ 7615 h 10000"/>
                <a:gd name="connsiteX2955" fmla="*/ 3235 w 10785"/>
                <a:gd name="connsiteY2955" fmla="*/ 7641 h 10000"/>
                <a:gd name="connsiteX2956" fmla="*/ 3235 w 10785"/>
                <a:gd name="connsiteY2956" fmla="*/ 7650 h 10000"/>
                <a:gd name="connsiteX2957" fmla="*/ 3226 w 10785"/>
                <a:gd name="connsiteY2957" fmla="*/ 7650 h 10000"/>
                <a:gd name="connsiteX2958" fmla="*/ 3217 w 10785"/>
                <a:gd name="connsiteY2958" fmla="*/ 7650 h 10000"/>
                <a:gd name="connsiteX2959" fmla="*/ 3212 w 10785"/>
                <a:gd name="connsiteY2959" fmla="*/ 7675 h 10000"/>
                <a:gd name="connsiteX2960" fmla="*/ 3212 w 10785"/>
                <a:gd name="connsiteY2960" fmla="*/ 7675 h 10000"/>
                <a:gd name="connsiteX0" fmla="*/ 3212 w 10785"/>
                <a:gd name="connsiteY0" fmla="*/ 7675 h 10000"/>
                <a:gd name="connsiteX1" fmla="*/ 3217 w 10785"/>
                <a:gd name="connsiteY1" fmla="*/ 7692 h 10000"/>
                <a:gd name="connsiteX2" fmla="*/ 3226 w 10785"/>
                <a:gd name="connsiteY2" fmla="*/ 7692 h 10000"/>
                <a:gd name="connsiteX3" fmla="*/ 3309 w 10785"/>
                <a:gd name="connsiteY3" fmla="*/ 7838 h 10000"/>
                <a:gd name="connsiteX4" fmla="*/ 3452 w 10785"/>
                <a:gd name="connsiteY4" fmla="*/ 8325 h 10000"/>
                <a:gd name="connsiteX5" fmla="*/ 3470 w 10785"/>
                <a:gd name="connsiteY5" fmla="*/ 8299 h 10000"/>
                <a:gd name="connsiteX6" fmla="*/ 3470 w 10785"/>
                <a:gd name="connsiteY6" fmla="*/ 8282 h 10000"/>
                <a:gd name="connsiteX7" fmla="*/ 3470 w 10785"/>
                <a:gd name="connsiteY7" fmla="*/ 8274 h 10000"/>
                <a:gd name="connsiteX8" fmla="*/ 3484 w 10785"/>
                <a:gd name="connsiteY8" fmla="*/ 8231 h 10000"/>
                <a:gd name="connsiteX9" fmla="*/ 3498 w 10785"/>
                <a:gd name="connsiteY9" fmla="*/ 8231 h 10000"/>
                <a:gd name="connsiteX10" fmla="*/ 3498 w 10785"/>
                <a:gd name="connsiteY10" fmla="*/ 8248 h 10000"/>
                <a:gd name="connsiteX11" fmla="*/ 3512 w 10785"/>
                <a:gd name="connsiteY11" fmla="*/ 8256 h 10000"/>
                <a:gd name="connsiteX12" fmla="*/ 3525 w 10785"/>
                <a:gd name="connsiteY12" fmla="*/ 8274 h 10000"/>
                <a:gd name="connsiteX13" fmla="*/ 3525 w 10785"/>
                <a:gd name="connsiteY13" fmla="*/ 8282 h 10000"/>
                <a:gd name="connsiteX14" fmla="*/ 3525 w 10785"/>
                <a:gd name="connsiteY14" fmla="*/ 8308 h 10000"/>
                <a:gd name="connsiteX15" fmla="*/ 3530 w 10785"/>
                <a:gd name="connsiteY15" fmla="*/ 8308 h 10000"/>
                <a:gd name="connsiteX16" fmla="*/ 3539 w 10785"/>
                <a:gd name="connsiteY16" fmla="*/ 8333 h 10000"/>
                <a:gd name="connsiteX17" fmla="*/ 3571 w 10785"/>
                <a:gd name="connsiteY17" fmla="*/ 8333 h 10000"/>
                <a:gd name="connsiteX18" fmla="*/ 3590 w 10785"/>
                <a:gd name="connsiteY18" fmla="*/ 8350 h 10000"/>
                <a:gd name="connsiteX19" fmla="*/ 3599 w 10785"/>
                <a:gd name="connsiteY19" fmla="*/ 8333 h 10000"/>
                <a:gd name="connsiteX20" fmla="*/ 3618 w 10785"/>
                <a:gd name="connsiteY20" fmla="*/ 8333 h 10000"/>
                <a:gd name="connsiteX21" fmla="*/ 3618 w 10785"/>
                <a:gd name="connsiteY21" fmla="*/ 8325 h 10000"/>
                <a:gd name="connsiteX22" fmla="*/ 3627 w 10785"/>
                <a:gd name="connsiteY22" fmla="*/ 8308 h 10000"/>
                <a:gd name="connsiteX23" fmla="*/ 3641 w 10785"/>
                <a:gd name="connsiteY23" fmla="*/ 8308 h 10000"/>
                <a:gd name="connsiteX24" fmla="*/ 3645 w 10785"/>
                <a:gd name="connsiteY24" fmla="*/ 8308 h 10000"/>
                <a:gd name="connsiteX25" fmla="*/ 3650 w 10785"/>
                <a:gd name="connsiteY25" fmla="*/ 8299 h 10000"/>
                <a:gd name="connsiteX26" fmla="*/ 3659 w 10785"/>
                <a:gd name="connsiteY26" fmla="*/ 8282 h 10000"/>
                <a:gd name="connsiteX27" fmla="*/ 3677 w 10785"/>
                <a:gd name="connsiteY27" fmla="*/ 8299 h 10000"/>
                <a:gd name="connsiteX28" fmla="*/ 3687 w 10785"/>
                <a:gd name="connsiteY28" fmla="*/ 8299 h 10000"/>
                <a:gd name="connsiteX29" fmla="*/ 3691 w 10785"/>
                <a:gd name="connsiteY29" fmla="*/ 8325 h 10000"/>
                <a:gd name="connsiteX30" fmla="*/ 3700 w 10785"/>
                <a:gd name="connsiteY30" fmla="*/ 8325 h 10000"/>
                <a:gd name="connsiteX31" fmla="*/ 3714 w 10785"/>
                <a:gd name="connsiteY31" fmla="*/ 8359 h 10000"/>
                <a:gd name="connsiteX32" fmla="*/ 3719 w 10785"/>
                <a:gd name="connsiteY32" fmla="*/ 8359 h 10000"/>
                <a:gd name="connsiteX33" fmla="*/ 3724 w 10785"/>
                <a:gd name="connsiteY33" fmla="*/ 8368 h 10000"/>
                <a:gd name="connsiteX34" fmla="*/ 3719 w 10785"/>
                <a:gd name="connsiteY34" fmla="*/ 8393 h 10000"/>
                <a:gd name="connsiteX35" fmla="*/ 3724 w 10785"/>
                <a:gd name="connsiteY35" fmla="*/ 8410 h 10000"/>
                <a:gd name="connsiteX36" fmla="*/ 3724 w 10785"/>
                <a:gd name="connsiteY36" fmla="*/ 8436 h 10000"/>
                <a:gd name="connsiteX37" fmla="*/ 3737 w 10785"/>
                <a:gd name="connsiteY37" fmla="*/ 8436 h 10000"/>
                <a:gd name="connsiteX38" fmla="*/ 3765 w 10785"/>
                <a:gd name="connsiteY38" fmla="*/ 8462 h 10000"/>
                <a:gd name="connsiteX39" fmla="*/ 3765 w 10785"/>
                <a:gd name="connsiteY39" fmla="*/ 8470 h 10000"/>
                <a:gd name="connsiteX40" fmla="*/ 3765 w 10785"/>
                <a:gd name="connsiteY40" fmla="*/ 8496 h 10000"/>
                <a:gd name="connsiteX41" fmla="*/ 3774 w 10785"/>
                <a:gd name="connsiteY41" fmla="*/ 8496 h 10000"/>
                <a:gd name="connsiteX42" fmla="*/ 3779 w 10785"/>
                <a:gd name="connsiteY42" fmla="*/ 8504 h 10000"/>
                <a:gd name="connsiteX43" fmla="*/ 3793 w 10785"/>
                <a:gd name="connsiteY43" fmla="*/ 8547 h 10000"/>
                <a:gd name="connsiteX44" fmla="*/ 3797 w 10785"/>
                <a:gd name="connsiteY44" fmla="*/ 8547 h 10000"/>
                <a:gd name="connsiteX45" fmla="*/ 3820 w 10785"/>
                <a:gd name="connsiteY45" fmla="*/ 8556 h 10000"/>
                <a:gd name="connsiteX46" fmla="*/ 3834 w 10785"/>
                <a:gd name="connsiteY46" fmla="*/ 8573 h 10000"/>
                <a:gd name="connsiteX47" fmla="*/ 3853 w 10785"/>
                <a:gd name="connsiteY47" fmla="*/ 8573 h 10000"/>
                <a:gd name="connsiteX48" fmla="*/ 3857 w 10785"/>
                <a:gd name="connsiteY48" fmla="*/ 8556 h 10000"/>
                <a:gd name="connsiteX49" fmla="*/ 3866 w 10785"/>
                <a:gd name="connsiteY49" fmla="*/ 8547 h 10000"/>
                <a:gd name="connsiteX50" fmla="*/ 3880 w 10785"/>
                <a:gd name="connsiteY50" fmla="*/ 8530 h 10000"/>
                <a:gd name="connsiteX51" fmla="*/ 3885 w 10785"/>
                <a:gd name="connsiteY51" fmla="*/ 8547 h 10000"/>
                <a:gd name="connsiteX52" fmla="*/ 3885 w 10785"/>
                <a:gd name="connsiteY52" fmla="*/ 8573 h 10000"/>
                <a:gd name="connsiteX53" fmla="*/ 3899 w 10785"/>
                <a:gd name="connsiteY53" fmla="*/ 8573 h 10000"/>
                <a:gd name="connsiteX54" fmla="*/ 3908 w 10785"/>
                <a:gd name="connsiteY54" fmla="*/ 8607 h 10000"/>
                <a:gd name="connsiteX55" fmla="*/ 3912 w 10785"/>
                <a:gd name="connsiteY55" fmla="*/ 8615 h 10000"/>
                <a:gd name="connsiteX56" fmla="*/ 3922 w 10785"/>
                <a:gd name="connsiteY56" fmla="*/ 8632 h 10000"/>
                <a:gd name="connsiteX57" fmla="*/ 3908 w 10785"/>
                <a:gd name="connsiteY57" fmla="*/ 8692 h 10000"/>
                <a:gd name="connsiteX58" fmla="*/ 3908 w 10785"/>
                <a:gd name="connsiteY58" fmla="*/ 8692 h 10000"/>
                <a:gd name="connsiteX59" fmla="*/ 3931 w 10785"/>
                <a:gd name="connsiteY59" fmla="*/ 8709 h 10000"/>
                <a:gd name="connsiteX60" fmla="*/ 3954 w 10785"/>
                <a:gd name="connsiteY60" fmla="*/ 8667 h 10000"/>
                <a:gd name="connsiteX61" fmla="*/ 3959 w 10785"/>
                <a:gd name="connsiteY61" fmla="*/ 8667 h 10000"/>
                <a:gd name="connsiteX62" fmla="*/ 3972 w 10785"/>
                <a:gd name="connsiteY62" fmla="*/ 8615 h 10000"/>
                <a:gd name="connsiteX63" fmla="*/ 3995 w 10785"/>
                <a:gd name="connsiteY63" fmla="*/ 8581 h 10000"/>
                <a:gd name="connsiteX64" fmla="*/ 4032 w 10785"/>
                <a:gd name="connsiteY64" fmla="*/ 8556 h 10000"/>
                <a:gd name="connsiteX65" fmla="*/ 4138 w 10785"/>
                <a:gd name="connsiteY65" fmla="*/ 8419 h 10000"/>
                <a:gd name="connsiteX66" fmla="*/ 4249 w 10785"/>
                <a:gd name="connsiteY66" fmla="*/ 8359 h 10000"/>
                <a:gd name="connsiteX67" fmla="*/ 4295 w 10785"/>
                <a:gd name="connsiteY67" fmla="*/ 8385 h 10000"/>
                <a:gd name="connsiteX68" fmla="*/ 4309 w 10785"/>
                <a:gd name="connsiteY68" fmla="*/ 8410 h 10000"/>
                <a:gd name="connsiteX69" fmla="*/ 4355 w 10785"/>
                <a:gd name="connsiteY69" fmla="*/ 8393 h 10000"/>
                <a:gd name="connsiteX70" fmla="*/ 4382 w 10785"/>
                <a:gd name="connsiteY70" fmla="*/ 8393 h 10000"/>
                <a:gd name="connsiteX71" fmla="*/ 4419 w 10785"/>
                <a:gd name="connsiteY71" fmla="*/ 8487 h 10000"/>
                <a:gd name="connsiteX72" fmla="*/ 4442 w 10785"/>
                <a:gd name="connsiteY72" fmla="*/ 8487 h 10000"/>
                <a:gd name="connsiteX73" fmla="*/ 4493 w 10785"/>
                <a:gd name="connsiteY73" fmla="*/ 8470 h 10000"/>
                <a:gd name="connsiteX74" fmla="*/ 4516 w 10785"/>
                <a:gd name="connsiteY74" fmla="*/ 8487 h 10000"/>
                <a:gd name="connsiteX75" fmla="*/ 4608 w 10785"/>
                <a:gd name="connsiteY75" fmla="*/ 8470 h 10000"/>
                <a:gd name="connsiteX76" fmla="*/ 4622 w 10785"/>
                <a:gd name="connsiteY76" fmla="*/ 8470 h 10000"/>
                <a:gd name="connsiteX77" fmla="*/ 4618 w 10785"/>
                <a:gd name="connsiteY77" fmla="*/ 8419 h 10000"/>
                <a:gd name="connsiteX78" fmla="*/ 4622 w 10785"/>
                <a:gd name="connsiteY78" fmla="*/ 8385 h 10000"/>
                <a:gd name="connsiteX79" fmla="*/ 4636 w 10785"/>
                <a:gd name="connsiteY79" fmla="*/ 8350 h 10000"/>
                <a:gd name="connsiteX80" fmla="*/ 4636 w 10785"/>
                <a:gd name="connsiteY80" fmla="*/ 8325 h 10000"/>
                <a:gd name="connsiteX81" fmla="*/ 4622 w 10785"/>
                <a:gd name="connsiteY81" fmla="*/ 8282 h 10000"/>
                <a:gd name="connsiteX82" fmla="*/ 4618 w 10785"/>
                <a:gd name="connsiteY82" fmla="*/ 8248 h 10000"/>
                <a:gd name="connsiteX83" fmla="*/ 4618 w 10785"/>
                <a:gd name="connsiteY83" fmla="*/ 8214 h 10000"/>
                <a:gd name="connsiteX84" fmla="*/ 4691 w 10785"/>
                <a:gd name="connsiteY84" fmla="*/ 8077 h 10000"/>
                <a:gd name="connsiteX85" fmla="*/ 4700 w 10785"/>
                <a:gd name="connsiteY85" fmla="*/ 8060 h 10000"/>
                <a:gd name="connsiteX86" fmla="*/ 4728 w 10785"/>
                <a:gd name="connsiteY86" fmla="*/ 8077 h 10000"/>
                <a:gd name="connsiteX87" fmla="*/ 4751 w 10785"/>
                <a:gd name="connsiteY87" fmla="*/ 8094 h 10000"/>
                <a:gd name="connsiteX88" fmla="*/ 4788 w 10785"/>
                <a:gd name="connsiteY88" fmla="*/ 8120 h 10000"/>
                <a:gd name="connsiteX89" fmla="*/ 4802 w 10785"/>
                <a:gd name="connsiteY89" fmla="*/ 8162 h 10000"/>
                <a:gd name="connsiteX90" fmla="*/ 4885 w 10785"/>
                <a:gd name="connsiteY90" fmla="*/ 8197 h 10000"/>
                <a:gd name="connsiteX91" fmla="*/ 4889 w 10785"/>
                <a:gd name="connsiteY91" fmla="*/ 8231 h 10000"/>
                <a:gd name="connsiteX92" fmla="*/ 4899 w 10785"/>
                <a:gd name="connsiteY92" fmla="*/ 8333 h 10000"/>
                <a:gd name="connsiteX93" fmla="*/ 4903 w 10785"/>
                <a:gd name="connsiteY93" fmla="*/ 8333 h 10000"/>
                <a:gd name="connsiteX94" fmla="*/ 4949 w 10785"/>
                <a:gd name="connsiteY94" fmla="*/ 8410 h 10000"/>
                <a:gd name="connsiteX95" fmla="*/ 4991 w 10785"/>
                <a:gd name="connsiteY95" fmla="*/ 8436 h 10000"/>
                <a:gd name="connsiteX96" fmla="*/ 5023 w 10785"/>
                <a:gd name="connsiteY96" fmla="*/ 8419 h 10000"/>
                <a:gd name="connsiteX97" fmla="*/ 5092 w 10785"/>
                <a:gd name="connsiteY97" fmla="*/ 8359 h 10000"/>
                <a:gd name="connsiteX98" fmla="*/ 5180 w 10785"/>
                <a:gd name="connsiteY98" fmla="*/ 8410 h 10000"/>
                <a:gd name="connsiteX99" fmla="*/ 5189 w 10785"/>
                <a:gd name="connsiteY99" fmla="*/ 8436 h 10000"/>
                <a:gd name="connsiteX100" fmla="*/ 5198 w 10785"/>
                <a:gd name="connsiteY100" fmla="*/ 8436 h 10000"/>
                <a:gd name="connsiteX101" fmla="*/ 5226 w 10785"/>
                <a:gd name="connsiteY101" fmla="*/ 8487 h 10000"/>
                <a:gd name="connsiteX102" fmla="*/ 5276 w 10785"/>
                <a:gd name="connsiteY102" fmla="*/ 8504 h 10000"/>
                <a:gd name="connsiteX103" fmla="*/ 5290 w 10785"/>
                <a:gd name="connsiteY103" fmla="*/ 8556 h 10000"/>
                <a:gd name="connsiteX104" fmla="*/ 5323 w 10785"/>
                <a:gd name="connsiteY104" fmla="*/ 8598 h 10000"/>
                <a:gd name="connsiteX105" fmla="*/ 5447 w 10785"/>
                <a:gd name="connsiteY105" fmla="*/ 8615 h 10000"/>
                <a:gd name="connsiteX106" fmla="*/ 5465 w 10785"/>
                <a:gd name="connsiteY106" fmla="*/ 8632 h 10000"/>
                <a:gd name="connsiteX107" fmla="*/ 5604 w 10785"/>
                <a:gd name="connsiteY107" fmla="*/ 8556 h 10000"/>
                <a:gd name="connsiteX108" fmla="*/ 5677 w 10785"/>
                <a:gd name="connsiteY108" fmla="*/ 8462 h 10000"/>
                <a:gd name="connsiteX109" fmla="*/ 5705 w 10785"/>
                <a:gd name="connsiteY109" fmla="*/ 8444 h 10000"/>
                <a:gd name="connsiteX110" fmla="*/ 5737 w 10785"/>
                <a:gd name="connsiteY110" fmla="*/ 8470 h 10000"/>
                <a:gd name="connsiteX111" fmla="*/ 5760 w 10785"/>
                <a:gd name="connsiteY111" fmla="*/ 8496 h 10000"/>
                <a:gd name="connsiteX112" fmla="*/ 5788 w 10785"/>
                <a:gd name="connsiteY112" fmla="*/ 8504 h 10000"/>
                <a:gd name="connsiteX113" fmla="*/ 5806 w 10785"/>
                <a:gd name="connsiteY113" fmla="*/ 8496 h 10000"/>
                <a:gd name="connsiteX114" fmla="*/ 5820 w 10785"/>
                <a:gd name="connsiteY114" fmla="*/ 8487 h 10000"/>
                <a:gd name="connsiteX115" fmla="*/ 5825 w 10785"/>
                <a:gd name="connsiteY115" fmla="*/ 8487 h 10000"/>
                <a:gd name="connsiteX116" fmla="*/ 5825 w 10785"/>
                <a:gd name="connsiteY116" fmla="*/ 8487 h 10000"/>
                <a:gd name="connsiteX117" fmla="*/ 5926 w 10785"/>
                <a:gd name="connsiteY117" fmla="*/ 8556 h 10000"/>
                <a:gd name="connsiteX118" fmla="*/ 5940 w 10785"/>
                <a:gd name="connsiteY118" fmla="*/ 8556 h 10000"/>
                <a:gd name="connsiteX119" fmla="*/ 6014 w 10785"/>
                <a:gd name="connsiteY119" fmla="*/ 8470 h 10000"/>
                <a:gd name="connsiteX120" fmla="*/ 6018 w 10785"/>
                <a:gd name="connsiteY120" fmla="*/ 8444 h 10000"/>
                <a:gd name="connsiteX121" fmla="*/ 6014 w 10785"/>
                <a:gd name="connsiteY121" fmla="*/ 8419 h 10000"/>
                <a:gd name="connsiteX122" fmla="*/ 6018 w 10785"/>
                <a:gd name="connsiteY122" fmla="*/ 8393 h 10000"/>
                <a:gd name="connsiteX123" fmla="*/ 6041 w 10785"/>
                <a:gd name="connsiteY123" fmla="*/ 8333 h 10000"/>
                <a:gd name="connsiteX124" fmla="*/ 6069 w 10785"/>
                <a:gd name="connsiteY124" fmla="*/ 8188 h 10000"/>
                <a:gd name="connsiteX125" fmla="*/ 6088 w 10785"/>
                <a:gd name="connsiteY125" fmla="*/ 8162 h 10000"/>
                <a:gd name="connsiteX126" fmla="*/ 6115 w 10785"/>
                <a:gd name="connsiteY126" fmla="*/ 8094 h 10000"/>
                <a:gd name="connsiteX127" fmla="*/ 6115 w 10785"/>
                <a:gd name="connsiteY127" fmla="*/ 8094 h 10000"/>
                <a:gd name="connsiteX128" fmla="*/ 6106 w 10785"/>
                <a:gd name="connsiteY128" fmla="*/ 8077 h 10000"/>
                <a:gd name="connsiteX129" fmla="*/ 6106 w 10785"/>
                <a:gd name="connsiteY129" fmla="*/ 8009 h 10000"/>
                <a:gd name="connsiteX130" fmla="*/ 6101 w 10785"/>
                <a:gd name="connsiteY130" fmla="*/ 8000 h 10000"/>
                <a:gd name="connsiteX131" fmla="*/ 6069 w 10785"/>
                <a:gd name="connsiteY131" fmla="*/ 8009 h 10000"/>
                <a:gd name="connsiteX132" fmla="*/ 6069 w 10785"/>
                <a:gd name="connsiteY132" fmla="*/ 8000 h 10000"/>
                <a:gd name="connsiteX133" fmla="*/ 6069 w 10785"/>
                <a:gd name="connsiteY133" fmla="*/ 7974 h 10000"/>
                <a:gd name="connsiteX134" fmla="*/ 6101 w 10785"/>
                <a:gd name="connsiteY134" fmla="*/ 7923 h 10000"/>
                <a:gd name="connsiteX135" fmla="*/ 6106 w 10785"/>
                <a:gd name="connsiteY135" fmla="*/ 7889 h 10000"/>
                <a:gd name="connsiteX136" fmla="*/ 6129 w 10785"/>
                <a:gd name="connsiteY136" fmla="*/ 7863 h 10000"/>
                <a:gd name="connsiteX137" fmla="*/ 6300 w 10785"/>
                <a:gd name="connsiteY137" fmla="*/ 7812 h 10000"/>
                <a:gd name="connsiteX138" fmla="*/ 6359 w 10785"/>
                <a:gd name="connsiteY138" fmla="*/ 7872 h 10000"/>
                <a:gd name="connsiteX139" fmla="*/ 6373 w 10785"/>
                <a:gd name="connsiteY139" fmla="*/ 7889 h 10000"/>
                <a:gd name="connsiteX140" fmla="*/ 6401 w 10785"/>
                <a:gd name="connsiteY140" fmla="*/ 7889 h 10000"/>
                <a:gd name="connsiteX141" fmla="*/ 6433 w 10785"/>
                <a:gd name="connsiteY141" fmla="*/ 7915 h 10000"/>
                <a:gd name="connsiteX142" fmla="*/ 6461 w 10785"/>
                <a:gd name="connsiteY142" fmla="*/ 7974 h 10000"/>
                <a:gd name="connsiteX143" fmla="*/ 6461 w 10785"/>
                <a:gd name="connsiteY143" fmla="*/ 8000 h 10000"/>
                <a:gd name="connsiteX144" fmla="*/ 6484 w 10785"/>
                <a:gd name="connsiteY144" fmla="*/ 8034 h 10000"/>
                <a:gd name="connsiteX145" fmla="*/ 6484 w 10785"/>
                <a:gd name="connsiteY145" fmla="*/ 8051 h 10000"/>
                <a:gd name="connsiteX146" fmla="*/ 6484 w 10785"/>
                <a:gd name="connsiteY146" fmla="*/ 8034 h 10000"/>
                <a:gd name="connsiteX147" fmla="*/ 6558 w 10785"/>
                <a:gd name="connsiteY147" fmla="*/ 8444 h 10000"/>
                <a:gd name="connsiteX148" fmla="*/ 6558 w 10785"/>
                <a:gd name="connsiteY148" fmla="*/ 8462 h 10000"/>
                <a:gd name="connsiteX149" fmla="*/ 6558 w 10785"/>
                <a:gd name="connsiteY149" fmla="*/ 8462 h 10000"/>
                <a:gd name="connsiteX150" fmla="*/ 6562 w 10785"/>
                <a:gd name="connsiteY150" fmla="*/ 8547 h 10000"/>
                <a:gd name="connsiteX151" fmla="*/ 6576 w 10785"/>
                <a:gd name="connsiteY151" fmla="*/ 8573 h 10000"/>
                <a:gd name="connsiteX152" fmla="*/ 6604 w 10785"/>
                <a:gd name="connsiteY152" fmla="*/ 8581 h 10000"/>
                <a:gd name="connsiteX153" fmla="*/ 6631 w 10785"/>
                <a:gd name="connsiteY153" fmla="*/ 8556 h 10000"/>
                <a:gd name="connsiteX154" fmla="*/ 6691 w 10785"/>
                <a:gd name="connsiteY154" fmla="*/ 8607 h 10000"/>
                <a:gd name="connsiteX155" fmla="*/ 6728 w 10785"/>
                <a:gd name="connsiteY155" fmla="*/ 8667 h 10000"/>
                <a:gd name="connsiteX156" fmla="*/ 6742 w 10785"/>
                <a:gd name="connsiteY156" fmla="*/ 8684 h 10000"/>
                <a:gd name="connsiteX157" fmla="*/ 6765 w 10785"/>
                <a:gd name="connsiteY157" fmla="*/ 8684 h 10000"/>
                <a:gd name="connsiteX158" fmla="*/ 6765 w 10785"/>
                <a:gd name="connsiteY158" fmla="*/ 8709 h 10000"/>
                <a:gd name="connsiteX159" fmla="*/ 6765 w 10785"/>
                <a:gd name="connsiteY159" fmla="*/ 8709 h 10000"/>
                <a:gd name="connsiteX160" fmla="*/ 6770 w 10785"/>
                <a:gd name="connsiteY160" fmla="*/ 8709 h 10000"/>
                <a:gd name="connsiteX161" fmla="*/ 6770 w 10785"/>
                <a:gd name="connsiteY161" fmla="*/ 8744 h 10000"/>
                <a:gd name="connsiteX162" fmla="*/ 6779 w 10785"/>
                <a:gd name="connsiteY162" fmla="*/ 8769 h 10000"/>
                <a:gd name="connsiteX163" fmla="*/ 6779 w 10785"/>
                <a:gd name="connsiteY163" fmla="*/ 8846 h 10000"/>
                <a:gd name="connsiteX164" fmla="*/ 6797 w 10785"/>
                <a:gd name="connsiteY164" fmla="*/ 8906 h 10000"/>
                <a:gd name="connsiteX165" fmla="*/ 6816 w 10785"/>
                <a:gd name="connsiteY165" fmla="*/ 8906 h 10000"/>
                <a:gd name="connsiteX166" fmla="*/ 6843 w 10785"/>
                <a:gd name="connsiteY166" fmla="*/ 8915 h 10000"/>
                <a:gd name="connsiteX167" fmla="*/ 6862 w 10785"/>
                <a:gd name="connsiteY167" fmla="*/ 8906 h 10000"/>
                <a:gd name="connsiteX168" fmla="*/ 6935 w 10785"/>
                <a:gd name="connsiteY168" fmla="*/ 8829 h 10000"/>
                <a:gd name="connsiteX169" fmla="*/ 6963 w 10785"/>
                <a:gd name="connsiteY169" fmla="*/ 8829 h 10000"/>
                <a:gd name="connsiteX170" fmla="*/ 7046 w 10785"/>
                <a:gd name="connsiteY170" fmla="*/ 8769 h 10000"/>
                <a:gd name="connsiteX171" fmla="*/ 7046 w 10785"/>
                <a:gd name="connsiteY171" fmla="*/ 8769 h 10000"/>
                <a:gd name="connsiteX172" fmla="*/ 7032 w 10785"/>
                <a:gd name="connsiteY172" fmla="*/ 8803 h 10000"/>
                <a:gd name="connsiteX173" fmla="*/ 7032 w 10785"/>
                <a:gd name="connsiteY173" fmla="*/ 8846 h 10000"/>
                <a:gd name="connsiteX174" fmla="*/ 7037 w 10785"/>
                <a:gd name="connsiteY174" fmla="*/ 8880 h 10000"/>
                <a:gd name="connsiteX175" fmla="*/ 7037 w 10785"/>
                <a:gd name="connsiteY175" fmla="*/ 8932 h 10000"/>
                <a:gd name="connsiteX176" fmla="*/ 7005 w 10785"/>
                <a:gd name="connsiteY176" fmla="*/ 8983 h 10000"/>
                <a:gd name="connsiteX177" fmla="*/ 6977 w 10785"/>
                <a:gd name="connsiteY177" fmla="*/ 9188 h 10000"/>
                <a:gd name="connsiteX178" fmla="*/ 6935 w 10785"/>
                <a:gd name="connsiteY178" fmla="*/ 9316 h 10000"/>
                <a:gd name="connsiteX179" fmla="*/ 6931 w 10785"/>
                <a:gd name="connsiteY179" fmla="*/ 9368 h 10000"/>
                <a:gd name="connsiteX180" fmla="*/ 6917 w 10785"/>
                <a:gd name="connsiteY180" fmla="*/ 9376 h 10000"/>
                <a:gd name="connsiteX181" fmla="*/ 6912 w 10785"/>
                <a:gd name="connsiteY181" fmla="*/ 9376 h 10000"/>
                <a:gd name="connsiteX182" fmla="*/ 6848 w 10785"/>
                <a:gd name="connsiteY182" fmla="*/ 9342 h 10000"/>
                <a:gd name="connsiteX183" fmla="*/ 6788 w 10785"/>
                <a:gd name="connsiteY183" fmla="*/ 9436 h 10000"/>
                <a:gd name="connsiteX184" fmla="*/ 6802 w 10785"/>
                <a:gd name="connsiteY184" fmla="*/ 9462 h 10000"/>
                <a:gd name="connsiteX185" fmla="*/ 6811 w 10785"/>
                <a:gd name="connsiteY185" fmla="*/ 9667 h 10000"/>
                <a:gd name="connsiteX186" fmla="*/ 6788 w 10785"/>
                <a:gd name="connsiteY186" fmla="*/ 9709 h 10000"/>
                <a:gd name="connsiteX187" fmla="*/ 6765 w 10785"/>
                <a:gd name="connsiteY187" fmla="*/ 9752 h 10000"/>
                <a:gd name="connsiteX188" fmla="*/ 6765 w 10785"/>
                <a:gd name="connsiteY188" fmla="*/ 9803 h 10000"/>
                <a:gd name="connsiteX189" fmla="*/ 6770 w 10785"/>
                <a:gd name="connsiteY189" fmla="*/ 9821 h 10000"/>
                <a:gd name="connsiteX190" fmla="*/ 6779 w 10785"/>
                <a:gd name="connsiteY190" fmla="*/ 9812 h 10000"/>
                <a:gd name="connsiteX191" fmla="*/ 6779 w 10785"/>
                <a:gd name="connsiteY191" fmla="*/ 9803 h 10000"/>
                <a:gd name="connsiteX192" fmla="*/ 6770 w 10785"/>
                <a:gd name="connsiteY192" fmla="*/ 9786 h 10000"/>
                <a:gd name="connsiteX193" fmla="*/ 6811 w 10785"/>
                <a:gd name="connsiteY193" fmla="*/ 9786 h 10000"/>
                <a:gd name="connsiteX194" fmla="*/ 6816 w 10785"/>
                <a:gd name="connsiteY194" fmla="*/ 9761 h 10000"/>
                <a:gd name="connsiteX195" fmla="*/ 6825 w 10785"/>
                <a:gd name="connsiteY195" fmla="*/ 9752 h 10000"/>
                <a:gd name="connsiteX196" fmla="*/ 6825 w 10785"/>
                <a:gd name="connsiteY196" fmla="*/ 9726 h 10000"/>
                <a:gd name="connsiteX197" fmla="*/ 6843 w 10785"/>
                <a:gd name="connsiteY197" fmla="*/ 9701 h 10000"/>
                <a:gd name="connsiteX198" fmla="*/ 6848 w 10785"/>
                <a:gd name="connsiteY198" fmla="*/ 9650 h 10000"/>
                <a:gd name="connsiteX199" fmla="*/ 6848 w 10785"/>
                <a:gd name="connsiteY199" fmla="*/ 9675 h 10000"/>
                <a:gd name="connsiteX200" fmla="*/ 6862 w 10785"/>
                <a:gd name="connsiteY200" fmla="*/ 9675 h 10000"/>
                <a:gd name="connsiteX201" fmla="*/ 6857 w 10785"/>
                <a:gd name="connsiteY201" fmla="*/ 9701 h 10000"/>
                <a:gd name="connsiteX202" fmla="*/ 6857 w 10785"/>
                <a:gd name="connsiteY202" fmla="*/ 9701 h 10000"/>
                <a:gd name="connsiteX203" fmla="*/ 6876 w 10785"/>
                <a:gd name="connsiteY203" fmla="*/ 9684 h 10000"/>
                <a:gd name="connsiteX204" fmla="*/ 6885 w 10785"/>
                <a:gd name="connsiteY204" fmla="*/ 9675 h 10000"/>
                <a:gd name="connsiteX205" fmla="*/ 6876 w 10785"/>
                <a:gd name="connsiteY205" fmla="*/ 9735 h 10000"/>
                <a:gd name="connsiteX206" fmla="*/ 6885 w 10785"/>
                <a:gd name="connsiteY206" fmla="*/ 9752 h 10000"/>
                <a:gd name="connsiteX207" fmla="*/ 6903 w 10785"/>
                <a:gd name="connsiteY207" fmla="*/ 9752 h 10000"/>
                <a:gd name="connsiteX208" fmla="*/ 6917 w 10785"/>
                <a:gd name="connsiteY208" fmla="*/ 9761 h 10000"/>
                <a:gd name="connsiteX209" fmla="*/ 6917 w 10785"/>
                <a:gd name="connsiteY209" fmla="*/ 9761 h 10000"/>
                <a:gd name="connsiteX210" fmla="*/ 6922 w 10785"/>
                <a:gd name="connsiteY210" fmla="*/ 9778 h 10000"/>
                <a:gd name="connsiteX211" fmla="*/ 6945 w 10785"/>
                <a:gd name="connsiteY211" fmla="*/ 9778 h 10000"/>
                <a:gd name="connsiteX212" fmla="*/ 6972 w 10785"/>
                <a:gd name="connsiteY212" fmla="*/ 9752 h 10000"/>
                <a:gd name="connsiteX213" fmla="*/ 6977 w 10785"/>
                <a:gd name="connsiteY213" fmla="*/ 9752 h 10000"/>
                <a:gd name="connsiteX214" fmla="*/ 7069 w 10785"/>
                <a:gd name="connsiteY214" fmla="*/ 9624 h 10000"/>
                <a:gd name="connsiteX215" fmla="*/ 7097 w 10785"/>
                <a:gd name="connsiteY215" fmla="*/ 9547 h 10000"/>
                <a:gd name="connsiteX216" fmla="*/ 7106 w 10785"/>
                <a:gd name="connsiteY216" fmla="*/ 9530 h 10000"/>
                <a:gd name="connsiteX217" fmla="*/ 7124 w 10785"/>
                <a:gd name="connsiteY217" fmla="*/ 9479 h 10000"/>
                <a:gd name="connsiteX218" fmla="*/ 7138 w 10785"/>
                <a:gd name="connsiteY218" fmla="*/ 9462 h 10000"/>
                <a:gd name="connsiteX219" fmla="*/ 7378 w 10785"/>
                <a:gd name="connsiteY219" fmla="*/ 8795 h 10000"/>
                <a:gd name="connsiteX220" fmla="*/ 7392 w 10785"/>
                <a:gd name="connsiteY220" fmla="*/ 8795 h 10000"/>
                <a:gd name="connsiteX221" fmla="*/ 7401 w 10785"/>
                <a:gd name="connsiteY221" fmla="*/ 8769 h 10000"/>
                <a:gd name="connsiteX222" fmla="*/ 7406 w 10785"/>
                <a:gd name="connsiteY222" fmla="*/ 8692 h 10000"/>
                <a:gd name="connsiteX223" fmla="*/ 7406 w 10785"/>
                <a:gd name="connsiteY223" fmla="*/ 8667 h 10000"/>
                <a:gd name="connsiteX224" fmla="*/ 7419 w 10785"/>
                <a:gd name="connsiteY224" fmla="*/ 8598 h 10000"/>
                <a:gd name="connsiteX225" fmla="*/ 7419 w 10785"/>
                <a:gd name="connsiteY225" fmla="*/ 8496 h 10000"/>
                <a:gd name="connsiteX226" fmla="*/ 7424 w 10785"/>
                <a:gd name="connsiteY226" fmla="*/ 8470 h 10000"/>
                <a:gd name="connsiteX227" fmla="*/ 7424 w 10785"/>
                <a:gd name="connsiteY227" fmla="*/ 8462 h 10000"/>
                <a:gd name="connsiteX228" fmla="*/ 7419 w 10785"/>
                <a:gd name="connsiteY228" fmla="*/ 8462 h 10000"/>
                <a:gd name="connsiteX229" fmla="*/ 7410 w 10785"/>
                <a:gd name="connsiteY229" fmla="*/ 8350 h 10000"/>
                <a:gd name="connsiteX230" fmla="*/ 7419 w 10785"/>
                <a:gd name="connsiteY230" fmla="*/ 8325 h 10000"/>
                <a:gd name="connsiteX231" fmla="*/ 7424 w 10785"/>
                <a:gd name="connsiteY231" fmla="*/ 8248 h 10000"/>
                <a:gd name="connsiteX232" fmla="*/ 7433 w 10785"/>
                <a:gd name="connsiteY232" fmla="*/ 8248 h 10000"/>
                <a:gd name="connsiteX233" fmla="*/ 7433 w 10785"/>
                <a:gd name="connsiteY233" fmla="*/ 8231 h 10000"/>
                <a:gd name="connsiteX234" fmla="*/ 7433 w 10785"/>
                <a:gd name="connsiteY234" fmla="*/ 8222 h 10000"/>
                <a:gd name="connsiteX235" fmla="*/ 7433 w 10785"/>
                <a:gd name="connsiteY235" fmla="*/ 8214 h 10000"/>
                <a:gd name="connsiteX236" fmla="*/ 7447 w 10785"/>
                <a:gd name="connsiteY236" fmla="*/ 8162 h 10000"/>
                <a:gd name="connsiteX237" fmla="*/ 7461 w 10785"/>
                <a:gd name="connsiteY237" fmla="*/ 8162 h 10000"/>
                <a:gd name="connsiteX238" fmla="*/ 7475 w 10785"/>
                <a:gd name="connsiteY238" fmla="*/ 8111 h 10000"/>
                <a:gd name="connsiteX239" fmla="*/ 7475 w 10785"/>
                <a:gd name="connsiteY239" fmla="*/ 8085 h 10000"/>
                <a:gd name="connsiteX240" fmla="*/ 7479 w 10785"/>
                <a:gd name="connsiteY240" fmla="*/ 8060 h 10000"/>
                <a:gd name="connsiteX241" fmla="*/ 7452 w 10785"/>
                <a:gd name="connsiteY241" fmla="*/ 8009 h 10000"/>
                <a:gd name="connsiteX242" fmla="*/ 7465 w 10785"/>
                <a:gd name="connsiteY242" fmla="*/ 7974 h 10000"/>
                <a:gd name="connsiteX243" fmla="*/ 7452 w 10785"/>
                <a:gd name="connsiteY243" fmla="*/ 7923 h 10000"/>
                <a:gd name="connsiteX244" fmla="*/ 7433 w 10785"/>
                <a:gd name="connsiteY244" fmla="*/ 7889 h 10000"/>
                <a:gd name="connsiteX245" fmla="*/ 7419 w 10785"/>
                <a:gd name="connsiteY245" fmla="*/ 7889 h 10000"/>
                <a:gd name="connsiteX246" fmla="*/ 7401 w 10785"/>
                <a:gd name="connsiteY246" fmla="*/ 7863 h 10000"/>
                <a:gd name="connsiteX247" fmla="*/ 7387 w 10785"/>
                <a:gd name="connsiteY247" fmla="*/ 7863 h 10000"/>
                <a:gd name="connsiteX248" fmla="*/ 7373 w 10785"/>
                <a:gd name="connsiteY248" fmla="*/ 7863 h 10000"/>
                <a:gd name="connsiteX249" fmla="*/ 7387 w 10785"/>
                <a:gd name="connsiteY249" fmla="*/ 7846 h 10000"/>
                <a:gd name="connsiteX250" fmla="*/ 7401 w 10785"/>
                <a:gd name="connsiteY250" fmla="*/ 7846 h 10000"/>
                <a:gd name="connsiteX251" fmla="*/ 7410 w 10785"/>
                <a:gd name="connsiteY251" fmla="*/ 7863 h 10000"/>
                <a:gd name="connsiteX252" fmla="*/ 7424 w 10785"/>
                <a:gd name="connsiteY252" fmla="*/ 7872 h 10000"/>
                <a:gd name="connsiteX253" fmla="*/ 7433 w 10785"/>
                <a:gd name="connsiteY253" fmla="*/ 7863 h 10000"/>
                <a:gd name="connsiteX254" fmla="*/ 7461 w 10785"/>
                <a:gd name="connsiteY254" fmla="*/ 7897 h 10000"/>
                <a:gd name="connsiteX255" fmla="*/ 7465 w 10785"/>
                <a:gd name="connsiteY255" fmla="*/ 7889 h 10000"/>
                <a:gd name="connsiteX256" fmla="*/ 7475 w 10785"/>
                <a:gd name="connsiteY256" fmla="*/ 7863 h 10000"/>
                <a:gd name="connsiteX257" fmla="*/ 7475 w 10785"/>
                <a:gd name="connsiteY257" fmla="*/ 7838 h 10000"/>
                <a:gd name="connsiteX258" fmla="*/ 7465 w 10785"/>
                <a:gd name="connsiteY258" fmla="*/ 7838 h 10000"/>
                <a:gd name="connsiteX259" fmla="*/ 7406 w 10785"/>
                <a:gd name="connsiteY259" fmla="*/ 7752 h 10000"/>
                <a:gd name="connsiteX260" fmla="*/ 7401 w 10785"/>
                <a:gd name="connsiteY260" fmla="*/ 7735 h 10000"/>
                <a:gd name="connsiteX261" fmla="*/ 7401 w 10785"/>
                <a:gd name="connsiteY261" fmla="*/ 7701 h 10000"/>
                <a:gd name="connsiteX262" fmla="*/ 7378 w 10785"/>
                <a:gd name="connsiteY262" fmla="*/ 7675 h 10000"/>
                <a:gd name="connsiteX263" fmla="*/ 7373 w 10785"/>
                <a:gd name="connsiteY263" fmla="*/ 7667 h 10000"/>
                <a:gd name="connsiteX264" fmla="*/ 7364 w 10785"/>
                <a:gd name="connsiteY264" fmla="*/ 7650 h 10000"/>
                <a:gd name="connsiteX265" fmla="*/ 7364 w 10785"/>
                <a:gd name="connsiteY265" fmla="*/ 7641 h 10000"/>
                <a:gd name="connsiteX266" fmla="*/ 7350 w 10785"/>
                <a:gd name="connsiteY266" fmla="*/ 7641 h 10000"/>
                <a:gd name="connsiteX267" fmla="*/ 7336 w 10785"/>
                <a:gd name="connsiteY267" fmla="*/ 7650 h 10000"/>
                <a:gd name="connsiteX268" fmla="*/ 7327 w 10785"/>
                <a:gd name="connsiteY268" fmla="*/ 7650 h 10000"/>
                <a:gd name="connsiteX269" fmla="*/ 7300 w 10785"/>
                <a:gd name="connsiteY269" fmla="*/ 7641 h 10000"/>
                <a:gd name="connsiteX270" fmla="*/ 7300 w 10785"/>
                <a:gd name="connsiteY270" fmla="*/ 7675 h 10000"/>
                <a:gd name="connsiteX271" fmla="*/ 7300 w 10785"/>
                <a:gd name="connsiteY271" fmla="*/ 7692 h 10000"/>
                <a:gd name="connsiteX272" fmla="*/ 7286 w 10785"/>
                <a:gd name="connsiteY272" fmla="*/ 7786 h 10000"/>
                <a:gd name="connsiteX273" fmla="*/ 7272 w 10785"/>
                <a:gd name="connsiteY273" fmla="*/ 7803 h 10000"/>
                <a:gd name="connsiteX274" fmla="*/ 7276 w 10785"/>
                <a:gd name="connsiteY274" fmla="*/ 7761 h 10000"/>
                <a:gd name="connsiteX275" fmla="*/ 7286 w 10785"/>
                <a:gd name="connsiteY275" fmla="*/ 7735 h 10000"/>
                <a:gd name="connsiteX276" fmla="*/ 7276 w 10785"/>
                <a:gd name="connsiteY276" fmla="*/ 7709 h 10000"/>
                <a:gd name="connsiteX277" fmla="*/ 7258 w 10785"/>
                <a:gd name="connsiteY277" fmla="*/ 7761 h 10000"/>
                <a:gd name="connsiteX278" fmla="*/ 7217 w 10785"/>
                <a:gd name="connsiteY278" fmla="*/ 7786 h 10000"/>
                <a:gd name="connsiteX279" fmla="*/ 7203 w 10785"/>
                <a:gd name="connsiteY279" fmla="*/ 7786 h 10000"/>
                <a:gd name="connsiteX280" fmla="*/ 7198 w 10785"/>
                <a:gd name="connsiteY280" fmla="*/ 7778 h 10000"/>
                <a:gd name="connsiteX281" fmla="*/ 7212 w 10785"/>
                <a:gd name="connsiteY281" fmla="*/ 7761 h 10000"/>
                <a:gd name="connsiteX282" fmla="*/ 7230 w 10785"/>
                <a:gd name="connsiteY282" fmla="*/ 7726 h 10000"/>
                <a:gd name="connsiteX283" fmla="*/ 7226 w 10785"/>
                <a:gd name="connsiteY283" fmla="*/ 7709 h 10000"/>
                <a:gd name="connsiteX284" fmla="*/ 7212 w 10785"/>
                <a:gd name="connsiteY284" fmla="*/ 7701 h 10000"/>
                <a:gd name="connsiteX285" fmla="*/ 7203 w 10785"/>
                <a:gd name="connsiteY285" fmla="*/ 7675 h 10000"/>
                <a:gd name="connsiteX286" fmla="*/ 7217 w 10785"/>
                <a:gd name="connsiteY286" fmla="*/ 7675 h 10000"/>
                <a:gd name="connsiteX287" fmla="*/ 7226 w 10785"/>
                <a:gd name="connsiteY287" fmla="*/ 7650 h 10000"/>
                <a:gd name="connsiteX288" fmla="*/ 7226 w 10785"/>
                <a:gd name="connsiteY288" fmla="*/ 7641 h 10000"/>
                <a:gd name="connsiteX289" fmla="*/ 7203 w 10785"/>
                <a:gd name="connsiteY289" fmla="*/ 7641 h 10000"/>
                <a:gd name="connsiteX290" fmla="*/ 7198 w 10785"/>
                <a:gd name="connsiteY290" fmla="*/ 7650 h 10000"/>
                <a:gd name="connsiteX291" fmla="*/ 7194 w 10785"/>
                <a:gd name="connsiteY291" fmla="*/ 7675 h 10000"/>
                <a:gd name="connsiteX292" fmla="*/ 7198 w 10785"/>
                <a:gd name="connsiteY292" fmla="*/ 7692 h 10000"/>
                <a:gd name="connsiteX293" fmla="*/ 7198 w 10785"/>
                <a:gd name="connsiteY293" fmla="*/ 7709 h 10000"/>
                <a:gd name="connsiteX294" fmla="*/ 7184 w 10785"/>
                <a:gd name="connsiteY294" fmla="*/ 7726 h 10000"/>
                <a:gd name="connsiteX295" fmla="*/ 7180 w 10785"/>
                <a:gd name="connsiteY295" fmla="*/ 7726 h 10000"/>
                <a:gd name="connsiteX296" fmla="*/ 7171 w 10785"/>
                <a:gd name="connsiteY296" fmla="*/ 7752 h 10000"/>
                <a:gd name="connsiteX297" fmla="*/ 7166 w 10785"/>
                <a:gd name="connsiteY297" fmla="*/ 7735 h 10000"/>
                <a:gd name="connsiteX298" fmla="*/ 7171 w 10785"/>
                <a:gd name="connsiteY298" fmla="*/ 7624 h 10000"/>
                <a:gd name="connsiteX299" fmla="*/ 7171 w 10785"/>
                <a:gd name="connsiteY299" fmla="*/ 7615 h 10000"/>
                <a:gd name="connsiteX300" fmla="*/ 7171 w 10785"/>
                <a:gd name="connsiteY300" fmla="*/ 7590 h 10000"/>
                <a:gd name="connsiteX301" fmla="*/ 7166 w 10785"/>
                <a:gd name="connsiteY301" fmla="*/ 7564 h 10000"/>
                <a:gd name="connsiteX302" fmla="*/ 7157 w 10785"/>
                <a:gd name="connsiteY302" fmla="*/ 7564 h 10000"/>
                <a:gd name="connsiteX303" fmla="*/ 7097 w 10785"/>
                <a:gd name="connsiteY303" fmla="*/ 7573 h 10000"/>
                <a:gd name="connsiteX304" fmla="*/ 7065 w 10785"/>
                <a:gd name="connsiteY304" fmla="*/ 7538 h 10000"/>
                <a:gd name="connsiteX305" fmla="*/ 7069 w 10785"/>
                <a:gd name="connsiteY305" fmla="*/ 7504 h 10000"/>
                <a:gd name="connsiteX306" fmla="*/ 7106 w 10785"/>
                <a:gd name="connsiteY306" fmla="*/ 7453 h 10000"/>
                <a:gd name="connsiteX307" fmla="*/ 7111 w 10785"/>
                <a:gd name="connsiteY307" fmla="*/ 7436 h 10000"/>
                <a:gd name="connsiteX308" fmla="*/ 7138 w 10785"/>
                <a:gd name="connsiteY308" fmla="*/ 7402 h 10000"/>
                <a:gd name="connsiteX309" fmla="*/ 7143 w 10785"/>
                <a:gd name="connsiteY309" fmla="*/ 7376 h 10000"/>
                <a:gd name="connsiteX310" fmla="*/ 7152 w 10785"/>
                <a:gd name="connsiteY310" fmla="*/ 7368 h 10000"/>
                <a:gd name="connsiteX311" fmla="*/ 7157 w 10785"/>
                <a:gd name="connsiteY311" fmla="*/ 7350 h 10000"/>
                <a:gd name="connsiteX312" fmla="*/ 7230 w 10785"/>
                <a:gd name="connsiteY312" fmla="*/ 7239 h 10000"/>
                <a:gd name="connsiteX313" fmla="*/ 7240 w 10785"/>
                <a:gd name="connsiteY313" fmla="*/ 7205 h 10000"/>
                <a:gd name="connsiteX314" fmla="*/ 7253 w 10785"/>
                <a:gd name="connsiteY314" fmla="*/ 7188 h 10000"/>
                <a:gd name="connsiteX315" fmla="*/ 7258 w 10785"/>
                <a:gd name="connsiteY315" fmla="*/ 7162 h 10000"/>
                <a:gd name="connsiteX316" fmla="*/ 7258 w 10785"/>
                <a:gd name="connsiteY316" fmla="*/ 7154 h 10000"/>
                <a:gd name="connsiteX317" fmla="*/ 7272 w 10785"/>
                <a:gd name="connsiteY317" fmla="*/ 7120 h 10000"/>
                <a:gd name="connsiteX318" fmla="*/ 7276 w 10785"/>
                <a:gd name="connsiteY318" fmla="*/ 7094 h 10000"/>
                <a:gd name="connsiteX319" fmla="*/ 7286 w 10785"/>
                <a:gd name="connsiteY319" fmla="*/ 7094 h 10000"/>
                <a:gd name="connsiteX320" fmla="*/ 7290 w 10785"/>
                <a:gd name="connsiteY320" fmla="*/ 7068 h 10000"/>
                <a:gd name="connsiteX321" fmla="*/ 7332 w 10785"/>
                <a:gd name="connsiteY321" fmla="*/ 6991 h 10000"/>
                <a:gd name="connsiteX322" fmla="*/ 7336 w 10785"/>
                <a:gd name="connsiteY322" fmla="*/ 6991 h 10000"/>
                <a:gd name="connsiteX323" fmla="*/ 7364 w 10785"/>
                <a:gd name="connsiteY323" fmla="*/ 6940 h 10000"/>
                <a:gd name="connsiteX324" fmla="*/ 7373 w 10785"/>
                <a:gd name="connsiteY324" fmla="*/ 6906 h 10000"/>
                <a:gd name="connsiteX325" fmla="*/ 7378 w 10785"/>
                <a:gd name="connsiteY325" fmla="*/ 6915 h 10000"/>
                <a:gd name="connsiteX326" fmla="*/ 7406 w 10785"/>
                <a:gd name="connsiteY326" fmla="*/ 6880 h 10000"/>
                <a:gd name="connsiteX327" fmla="*/ 7410 w 10785"/>
                <a:gd name="connsiteY327" fmla="*/ 6846 h 10000"/>
                <a:gd name="connsiteX328" fmla="*/ 7419 w 10785"/>
                <a:gd name="connsiteY328" fmla="*/ 6803 h 10000"/>
                <a:gd name="connsiteX329" fmla="*/ 7585 w 10785"/>
                <a:gd name="connsiteY329" fmla="*/ 6504 h 10000"/>
                <a:gd name="connsiteX330" fmla="*/ 7765 w 10785"/>
                <a:gd name="connsiteY330" fmla="*/ 6504 h 10000"/>
                <a:gd name="connsiteX331" fmla="*/ 7765 w 10785"/>
                <a:gd name="connsiteY331" fmla="*/ 6530 h 10000"/>
                <a:gd name="connsiteX332" fmla="*/ 7774 w 10785"/>
                <a:gd name="connsiteY332" fmla="*/ 6556 h 10000"/>
                <a:gd name="connsiteX333" fmla="*/ 7779 w 10785"/>
                <a:gd name="connsiteY333" fmla="*/ 6556 h 10000"/>
                <a:gd name="connsiteX334" fmla="*/ 7793 w 10785"/>
                <a:gd name="connsiteY334" fmla="*/ 6547 h 10000"/>
                <a:gd name="connsiteX335" fmla="*/ 7793 w 10785"/>
                <a:gd name="connsiteY335" fmla="*/ 6530 h 10000"/>
                <a:gd name="connsiteX336" fmla="*/ 7802 w 10785"/>
                <a:gd name="connsiteY336" fmla="*/ 6496 h 10000"/>
                <a:gd name="connsiteX337" fmla="*/ 7806 w 10785"/>
                <a:gd name="connsiteY337" fmla="*/ 6487 h 10000"/>
                <a:gd name="connsiteX338" fmla="*/ 7876 w 10785"/>
                <a:gd name="connsiteY338" fmla="*/ 6530 h 10000"/>
                <a:gd name="connsiteX339" fmla="*/ 7894 w 10785"/>
                <a:gd name="connsiteY339" fmla="*/ 6530 h 10000"/>
                <a:gd name="connsiteX340" fmla="*/ 7894 w 10785"/>
                <a:gd name="connsiteY340" fmla="*/ 6504 h 10000"/>
                <a:gd name="connsiteX341" fmla="*/ 7899 w 10785"/>
                <a:gd name="connsiteY341" fmla="*/ 6504 h 10000"/>
                <a:gd name="connsiteX342" fmla="*/ 7926 w 10785"/>
                <a:gd name="connsiteY342" fmla="*/ 6504 h 10000"/>
                <a:gd name="connsiteX343" fmla="*/ 7940 w 10785"/>
                <a:gd name="connsiteY343" fmla="*/ 6547 h 10000"/>
                <a:gd name="connsiteX344" fmla="*/ 7949 w 10785"/>
                <a:gd name="connsiteY344" fmla="*/ 6547 h 10000"/>
                <a:gd name="connsiteX345" fmla="*/ 7963 w 10785"/>
                <a:gd name="connsiteY345" fmla="*/ 6530 h 10000"/>
                <a:gd name="connsiteX346" fmla="*/ 7963 w 10785"/>
                <a:gd name="connsiteY346" fmla="*/ 6504 h 10000"/>
                <a:gd name="connsiteX347" fmla="*/ 7963 w 10785"/>
                <a:gd name="connsiteY347" fmla="*/ 6504 h 10000"/>
                <a:gd name="connsiteX348" fmla="*/ 7954 w 10785"/>
                <a:gd name="connsiteY348" fmla="*/ 6496 h 10000"/>
                <a:gd name="connsiteX349" fmla="*/ 7963 w 10785"/>
                <a:gd name="connsiteY349" fmla="*/ 6487 h 10000"/>
                <a:gd name="connsiteX350" fmla="*/ 7982 w 10785"/>
                <a:gd name="connsiteY350" fmla="*/ 6487 h 10000"/>
                <a:gd name="connsiteX351" fmla="*/ 7982 w 10785"/>
                <a:gd name="connsiteY351" fmla="*/ 6470 h 10000"/>
                <a:gd name="connsiteX352" fmla="*/ 7972 w 10785"/>
                <a:gd name="connsiteY352" fmla="*/ 6462 h 10000"/>
                <a:gd name="connsiteX353" fmla="*/ 7972 w 10785"/>
                <a:gd name="connsiteY353" fmla="*/ 6436 h 10000"/>
                <a:gd name="connsiteX354" fmla="*/ 7986 w 10785"/>
                <a:gd name="connsiteY354" fmla="*/ 6419 h 10000"/>
                <a:gd name="connsiteX355" fmla="*/ 8000 w 10785"/>
                <a:gd name="connsiteY355" fmla="*/ 6419 h 10000"/>
                <a:gd name="connsiteX356" fmla="*/ 8055 w 10785"/>
                <a:gd name="connsiteY356" fmla="*/ 6462 h 10000"/>
                <a:gd name="connsiteX357" fmla="*/ 8069 w 10785"/>
                <a:gd name="connsiteY357" fmla="*/ 6444 h 10000"/>
                <a:gd name="connsiteX358" fmla="*/ 8083 w 10785"/>
                <a:gd name="connsiteY358" fmla="*/ 6470 h 10000"/>
                <a:gd name="connsiteX359" fmla="*/ 8083 w 10785"/>
                <a:gd name="connsiteY359" fmla="*/ 6487 h 10000"/>
                <a:gd name="connsiteX360" fmla="*/ 8097 w 10785"/>
                <a:gd name="connsiteY360" fmla="*/ 6487 h 10000"/>
                <a:gd name="connsiteX361" fmla="*/ 8101 w 10785"/>
                <a:gd name="connsiteY361" fmla="*/ 6462 h 10000"/>
                <a:gd name="connsiteX362" fmla="*/ 8115 w 10785"/>
                <a:gd name="connsiteY362" fmla="*/ 6462 h 10000"/>
                <a:gd name="connsiteX363" fmla="*/ 8129 w 10785"/>
                <a:gd name="connsiteY363" fmla="*/ 6462 h 10000"/>
                <a:gd name="connsiteX364" fmla="*/ 8157 w 10785"/>
                <a:gd name="connsiteY364" fmla="*/ 6496 h 10000"/>
                <a:gd name="connsiteX365" fmla="*/ 8157 w 10785"/>
                <a:gd name="connsiteY365" fmla="*/ 6521 h 10000"/>
                <a:gd name="connsiteX366" fmla="*/ 8180 w 10785"/>
                <a:gd name="connsiteY366" fmla="*/ 6530 h 10000"/>
                <a:gd name="connsiteX367" fmla="*/ 8180 w 10785"/>
                <a:gd name="connsiteY367" fmla="*/ 6547 h 10000"/>
                <a:gd name="connsiteX368" fmla="*/ 8171 w 10785"/>
                <a:gd name="connsiteY368" fmla="*/ 6556 h 10000"/>
                <a:gd name="connsiteX369" fmla="*/ 8129 w 10785"/>
                <a:gd name="connsiteY369" fmla="*/ 6556 h 10000"/>
                <a:gd name="connsiteX370" fmla="*/ 8106 w 10785"/>
                <a:gd name="connsiteY370" fmla="*/ 6573 h 10000"/>
                <a:gd name="connsiteX371" fmla="*/ 8115 w 10785"/>
                <a:gd name="connsiteY371" fmla="*/ 6581 h 10000"/>
                <a:gd name="connsiteX372" fmla="*/ 8129 w 10785"/>
                <a:gd name="connsiteY372" fmla="*/ 6632 h 10000"/>
                <a:gd name="connsiteX373" fmla="*/ 8171 w 10785"/>
                <a:gd name="connsiteY373" fmla="*/ 6632 h 10000"/>
                <a:gd name="connsiteX374" fmla="*/ 8180 w 10785"/>
                <a:gd name="connsiteY374" fmla="*/ 6624 h 10000"/>
                <a:gd name="connsiteX375" fmla="*/ 8189 w 10785"/>
                <a:gd name="connsiteY375" fmla="*/ 6598 h 10000"/>
                <a:gd name="connsiteX376" fmla="*/ 8203 w 10785"/>
                <a:gd name="connsiteY376" fmla="*/ 6581 h 10000"/>
                <a:gd name="connsiteX377" fmla="*/ 8207 w 10785"/>
                <a:gd name="connsiteY377" fmla="*/ 6607 h 10000"/>
                <a:gd name="connsiteX378" fmla="*/ 8221 w 10785"/>
                <a:gd name="connsiteY378" fmla="*/ 6624 h 10000"/>
                <a:gd name="connsiteX379" fmla="*/ 8235 w 10785"/>
                <a:gd name="connsiteY379" fmla="*/ 6607 h 10000"/>
                <a:gd name="connsiteX380" fmla="*/ 8240 w 10785"/>
                <a:gd name="connsiteY380" fmla="*/ 6581 h 10000"/>
                <a:gd name="connsiteX381" fmla="*/ 8253 w 10785"/>
                <a:gd name="connsiteY381" fmla="*/ 6573 h 10000"/>
                <a:gd name="connsiteX382" fmla="*/ 8263 w 10785"/>
                <a:gd name="connsiteY382" fmla="*/ 6556 h 10000"/>
                <a:gd name="connsiteX383" fmla="*/ 8276 w 10785"/>
                <a:gd name="connsiteY383" fmla="*/ 6547 h 10000"/>
                <a:gd name="connsiteX384" fmla="*/ 8290 w 10785"/>
                <a:gd name="connsiteY384" fmla="*/ 6556 h 10000"/>
                <a:gd name="connsiteX385" fmla="*/ 8304 w 10785"/>
                <a:gd name="connsiteY385" fmla="*/ 6581 h 10000"/>
                <a:gd name="connsiteX386" fmla="*/ 8309 w 10785"/>
                <a:gd name="connsiteY386" fmla="*/ 6581 h 10000"/>
                <a:gd name="connsiteX387" fmla="*/ 8327 w 10785"/>
                <a:gd name="connsiteY387" fmla="*/ 6573 h 10000"/>
                <a:gd name="connsiteX388" fmla="*/ 8327 w 10785"/>
                <a:gd name="connsiteY388" fmla="*/ 6556 h 10000"/>
                <a:gd name="connsiteX389" fmla="*/ 8350 w 10785"/>
                <a:gd name="connsiteY389" fmla="*/ 6556 h 10000"/>
                <a:gd name="connsiteX390" fmla="*/ 8355 w 10785"/>
                <a:gd name="connsiteY390" fmla="*/ 6573 h 10000"/>
                <a:gd name="connsiteX391" fmla="*/ 8364 w 10785"/>
                <a:gd name="connsiteY391" fmla="*/ 6556 h 10000"/>
                <a:gd name="connsiteX392" fmla="*/ 8369 w 10785"/>
                <a:gd name="connsiteY392" fmla="*/ 6556 h 10000"/>
                <a:gd name="connsiteX393" fmla="*/ 8378 w 10785"/>
                <a:gd name="connsiteY393" fmla="*/ 6530 h 10000"/>
                <a:gd name="connsiteX394" fmla="*/ 8369 w 10785"/>
                <a:gd name="connsiteY394" fmla="*/ 6504 h 10000"/>
                <a:gd name="connsiteX395" fmla="*/ 8364 w 10785"/>
                <a:gd name="connsiteY395" fmla="*/ 6496 h 10000"/>
                <a:gd name="connsiteX396" fmla="*/ 8336 w 10785"/>
                <a:gd name="connsiteY396" fmla="*/ 6470 h 10000"/>
                <a:gd name="connsiteX397" fmla="*/ 8309 w 10785"/>
                <a:gd name="connsiteY397" fmla="*/ 6487 h 10000"/>
                <a:gd name="connsiteX398" fmla="*/ 8313 w 10785"/>
                <a:gd name="connsiteY398" fmla="*/ 6462 h 10000"/>
                <a:gd name="connsiteX399" fmla="*/ 8323 w 10785"/>
                <a:gd name="connsiteY399" fmla="*/ 6444 h 10000"/>
                <a:gd name="connsiteX400" fmla="*/ 8309 w 10785"/>
                <a:gd name="connsiteY400" fmla="*/ 6393 h 10000"/>
                <a:gd name="connsiteX401" fmla="*/ 8313 w 10785"/>
                <a:gd name="connsiteY401" fmla="*/ 6385 h 10000"/>
                <a:gd name="connsiteX402" fmla="*/ 8323 w 10785"/>
                <a:gd name="connsiteY402" fmla="*/ 6393 h 10000"/>
                <a:gd name="connsiteX403" fmla="*/ 8323 w 10785"/>
                <a:gd name="connsiteY403" fmla="*/ 6393 h 10000"/>
                <a:gd name="connsiteX404" fmla="*/ 8355 w 10785"/>
                <a:gd name="connsiteY404" fmla="*/ 6282 h 10000"/>
                <a:gd name="connsiteX405" fmla="*/ 8369 w 10785"/>
                <a:gd name="connsiteY405" fmla="*/ 6256 h 10000"/>
                <a:gd name="connsiteX406" fmla="*/ 8382 w 10785"/>
                <a:gd name="connsiteY406" fmla="*/ 6248 h 10000"/>
                <a:gd name="connsiteX407" fmla="*/ 8424 w 10785"/>
                <a:gd name="connsiteY407" fmla="*/ 6162 h 10000"/>
                <a:gd name="connsiteX408" fmla="*/ 8429 w 10785"/>
                <a:gd name="connsiteY408" fmla="*/ 6145 h 10000"/>
                <a:gd name="connsiteX409" fmla="*/ 8470 w 10785"/>
                <a:gd name="connsiteY409" fmla="*/ 6051 h 10000"/>
                <a:gd name="connsiteX410" fmla="*/ 8475 w 10785"/>
                <a:gd name="connsiteY410" fmla="*/ 5983 h 10000"/>
                <a:gd name="connsiteX411" fmla="*/ 8512 w 10785"/>
                <a:gd name="connsiteY411" fmla="*/ 5940 h 10000"/>
                <a:gd name="connsiteX412" fmla="*/ 8521 w 10785"/>
                <a:gd name="connsiteY412" fmla="*/ 5923 h 10000"/>
                <a:gd name="connsiteX413" fmla="*/ 8535 w 10785"/>
                <a:gd name="connsiteY413" fmla="*/ 5915 h 10000"/>
                <a:gd name="connsiteX414" fmla="*/ 8562 w 10785"/>
                <a:gd name="connsiteY414" fmla="*/ 5915 h 10000"/>
                <a:gd name="connsiteX415" fmla="*/ 8618 w 10785"/>
                <a:gd name="connsiteY415" fmla="*/ 5889 h 10000"/>
                <a:gd name="connsiteX416" fmla="*/ 8622 w 10785"/>
                <a:gd name="connsiteY416" fmla="*/ 5889 h 10000"/>
                <a:gd name="connsiteX417" fmla="*/ 8622 w 10785"/>
                <a:gd name="connsiteY417" fmla="*/ 5872 h 10000"/>
                <a:gd name="connsiteX418" fmla="*/ 8636 w 10785"/>
                <a:gd name="connsiteY418" fmla="*/ 5872 h 10000"/>
                <a:gd name="connsiteX419" fmla="*/ 8650 w 10785"/>
                <a:gd name="connsiteY419" fmla="*/ 5889 h 10000"/>
                <a:gd name="connsiteX420" fmla="*/ 8659 w 10785"/>
                <a:gd name="connsiteY420" fmla="*/ 5915 h 10000"/>
                <a:gd name="connsiteX421" fmla="*/ 8664 w 10785"/>
                <a:gd name="connsiteY421" fmla="*/ 5940 h 10000"/>
                <a:gd name="connsiteX422" fmla="*/ 8682 w 10785"/>
                <a:gd name="connsiteY422" fmla="*/ 5923 h 10000"/>
                <a:gd name="connsiteX423" fmla="*/ 8719 w 10785"/>
                <a:gd name="connsiteY423" fmla="*/ 5863 h 10000"/>
                <a:gd name="connsiteX424" fmla="*/ 8705 w 10785"/>
                <a:gd name="connsiteY424" fmla="*/ 5966 h 10000"/>
                <a:gd name="connsiteX425" fmla="*/ 8696 w 10785"/>
                <a:gd name="connsiteY425" fmla="*/ 5983 h 10000"/>
                <a:gd name="connsiteX426" fmla="*/ 8682 w 10785"/>
                <a:gd name="connsiteY426" fmla="*/ 6026 h 10000"/>
                <a:gd name="connsiteX427" fmla="*/ 8682 w 10785"/>
                <a:gd name="connsiteY427" fmla="*/ 6051 h 10000"/>
                <a:gd name="connsiteX428" fmla="*/ 8691 w 10785"/>
                <a:gd name="connsiteY428" fmla="*/ 6077 h 10000"/>
                <a:gd name="connsiteX429" fmla="*/ 8691 w 10785"/>
                <a:gd name="connsiteY429" fmla="*/ 6085 h 10000"/>
                <a:gd name="connsiteX430" fmla="*/ 8682 w 10785"/>
                <a:gd name="connsiteY430" fmla="*/ 6103 h 10000"/>
                <a:gd name="connsiteX431" fmla="*/ 8682 w 10785"/>
                <a:gd name="connsiteY431" fmla="*/ 6111 h 10000"/>
                <a:gd name="connsiteX432" fmla="*/ 8691 w 10785"/>
                <a:gd name="connsiteY432" fmla="*/ 6120 h 10000"/>
                <a:gd name="connsiteX433" fmla="*/ 8719 w 10785"/>
                <a:gd name="connsiteY433" fmla="*/ 6103 h 10000"/>
                <a:gd name="connsiteX434" fmla="*/ 8705 w 10785"/>
                <a:gd name="connsiteY434" fmla="*/ 6188 h 10000"/>
                <a:gd name="connsiteX435" fmla="*/ 8705 w 10785"/>
                <a:gd name="connsiteY435" fmla="*/ 6214 h 10000"/>
                <a:gd name="connsiteX436" fmla="*/ 8710 w 10785"/>
                <a:gd name="connsiteY436" fmla="*/ 6197 h 10000"/>
                <a:gd name="connsiteX437" fmla="*/ 8728 w 10785"/>
                <a:gd name="connsiteY437" fmla="*/ 6171 h 10000"/>
                <a:gd name="connsiteX438" fmla="*/ 8737 w 10785"/>
                <a:gd name="connsiteY438" fmla="*/ 6171 h 10000"/>
                <a:gd name="connsiteX439" fmla="*/ 8843 w 10785"/>
                <a:gd name="connsiteY439" fmla="*/ 5949 h 10000"/>
                <a:gd name="connsiteX440" fmla="*/ 8866 w 10785"/>
                <a:gd name="connsiteY440" fmla="*/ 5949 h 10000"/>
                <a:gd name="connsiteX441" fmla="*/ 8871 w 10785"/>
                <a:gd name="connsiteY441" fmla="*/ 5940 h 10000"/>
                <a:gd name="connsiteX442" fmla="*/ 8876 w 10785"/>
                <a:gd name="connsiteY442" fmla="*/ 5923 h 10000"/>
                <a:gd name="connsiteX443" fmla="*/ 8885 w 10785"/>
                <a:gd name="connsiteY443" fmla="*/ 5940 h 10000"/>
                <a:gd name="connsiteX444" fmla="*/ 8885 w 10785"/>
                <a:gd name="connsiteY444" fmla="*/ 5949 h 10000"/>
                <a:gd name="connsiteX445" fmla="*/ 8885 w 10785"/>
                <a:gd name="connsiteY445" fmla="*/ 5974 h 10000"/>
                <a:gd name="connsiteX446" fmla="*/ 8889 w 10785"/>
                <a:gd name="connsiteY446" fmla="*/ 5974 h 10000"/>
                <a:gd name="connsiteX447" fmla="*/ 8903 w 10785"/>
                <a:gd name="connsiteY447" fmla="*/ 5923 h 10000"/>
                <a:gd name="connsiteX448" fmla="*/ 8889 w 10785"/>
                <a:gd name="connsiteY448" fmla="*/ 5923 h 10000"/>
                <a:gd name="connsiteX449" fmla="*/ 8889 w 10785"/>
                <a:gd name="connsiteY449" fmla="*/ 5897 h 10000"/>
                <a:gd name="connsiteX450" fmla="*/ 8899 w 10785"/>
                <a:gd name="connsiteY450" fmla="*/ 5838 h 10000"/>
                <a:gd name="connsiteX451" fmla="*/ 8889 w 10785"/>
                <a:gd name="connsiteY451" fmla="*/ 5812 h 10000"/>
                <a:gd name="connsiteX452" fmla="*/ 8903 w 10785"/>
                <a:gd name="connsiteY452" fmla="*/ 5778 h 10000"/>
                <a:gd name="connsiteX453" fmla="*/ 8903 w 10785"/>
                <a:gd name="connsiteY453" fmla="*/ 5761 h 10000"/>
                <a:gd name="connsiteX454" fmla="*/ 8912 w 10785"/>
                <a:gd name="connsiteY454" fmla="*/ 5735 h 10000"/>
                <a:gd name="connsiteX455" fmla="*/ 8931 w 10785"/>
                <a:gd name="connsiteY455" fmla="*/ 5701 h 10000"/>
                <a:gd name="connsiteX456" fmla="*/ 8977 w 10785"/>
                <a:gd name="connsiteY456" fmla="*/ 5675 h 10000"/>
                <a:gd name="connsiteX457" fmla="*/ 9000 w 10785"/>
                <a:gd name="connsiteY457" fmla="*/ 5675 h 10000"/>
                <a:gd name="connsiteX458" fmla="*/ 9018 w 10785"/>
                <a:gd name="connsiteY458" fmla="*/ 5709 h 10000"/>
                <a:gd name="connsiteX459" fmla="*/ 9009 w 10785"/>
                <a:gd name="connsiteY459" fmla="*/ 5735 h 10000"/>
                <a:gd name="connsiteX460" fmla="*/ 9000 w 10785"/>
                <a:gd name="connsiteY460" fmla="*/ 5735 h 10000"/>
                <a:gd name="connsiteX461" fmla="*/ 8963 w 10785"/>
                <a:gd name="connsiteY461" fmla="*/ 5786 h 10000"/>
                <a:gd name="connsiteX462" fmla="*/ 8949 w 10785"/>
                <a:gd name="connsiteY462" fmla="*/ 5940 h 10000"/>
                <a:gd name="connsiteX463" fmla="*/ 8945 w 10785"/>
                <a:gd name="connsiteY463" fmla="*/ 5966 h 10000"/>
                <a:gd name="connsiteX464" fmla="*/ 8945 w 10785"/>
                <a:gd name="connsiteY464" fmla="*/ 6000 h 10000"/>
                <a:gd name="connsiteX465" fmla="*/ 8945 w 10785"/>
                <a:gd name="connsiteY465" fmla="*/ 6009 h 10000"/>
                <a:gd name="connsiteX466" fmla="*/ 8945 w 10785"/>
                <a:gd name="connsiteY466" fmla="*/ 6034 h 10000"/>
                <a:gd name="connsiteX467" fmla="*/ 8931 w 10785"/>
                <a:gd name="connsiteY467" fmla="*/ 6060 h 10000"/>
                <a:gd name="connsiteX468" fmla="*/ 8926 w 10785"/>
                <a:gd name="connsiteY468" fmla="*/ 6077 h 10000"/>
                <a:gd name="connsiteX469" fmla="*/ 8926 w 10785"/>
                <a:gd name="connsiteY469" fmla="*/ 6111 h 10000"/>
                <a:gd name="connsiteX470" fmla="*/ 8931 w 10785"/>
                <a:gd name="connsiteY470" fmla="*/ 6120 h 10000"/>
                <a:gd name="connsiteX471" fmla="*/ 8931 w 10785"/>
                <a:gd name="connsiteY471" fmla="*/ 6137 h 10000"/>
                <a:gd name="connsiteX472" fmla="*/ 8912 w 10785"/>
                <a:gd name="connsiteY472" fmla="*/ 6171 h 10000"/>
                <a:gd name="connsiteX473" fmla="*/ 8899 w 10785"/>
                <a:gd name="connsiteY473" fmla="*/ 6162 h 10000"/>
                <a:gd name="connsiteX474" fmla="*/ 8885 w 10785"/>
                <a:gd name="connsiteY474" fmla="*/ 6171 h 10000"/>
                <a:gd name="connsiteX475" fmla="*/ 8866 w 10785"/>
                <a:gd name="connsiteY475" fmla="*/ 6214 h 10000"/>
                <a:gd name="connsiteX476" fmla="*/ 8853 w 10785"/>
                <a:gd name="connsiteY476" fmla="*/ 6214 h 10000"/>
                <a:gd name="connsiteX477" fmla="*/ 8816 w 10785"/>
                <a:gd name="connsiteY477" fmla="*/ 6248 h 10000"/>
                <a:gd name="connsiteX478" fmla="*/ 8816 w 10785"/>
                <a:gd name="connsiteY478" fmla="*/ 6248 h 10000"/>
                <a:gd name="connsiteX479" fmla="*/ 8816 w 10785"/>
                <a:gd name="connsiteY479" fmla="*/ 6282 h 10000"/>
                <a:gd name="connsiteX480" fmla="*/ 8811 w 10785"/>
                <a:gd name="connsiteY480" fmla="*/ 6308 h 10000"/>
                <a:gd name="connsiteX481" fmla="*/ 8751 w 10785"/>
                <a:gd name="connsiteY481" fmla="*/ 6436 h 10000"/>
                <a:gd name="connsiteX482" fmla="*/ 8724 w 10785"/>
                <a:gd name="connsiteY482" fmla="*/ 6470 h 10000"/>
                <a:gd name="connsiteX483" fmla="*/ 8710 w 10785"/>
                <a:gd name="connsiteY483" fmla="*/ 6504 h 10000"/>
                <a:gd name="connsiteX484" fmla="*/ 8705 w 10785"/>
                <a:gd name="connsiteY484" fmla="*/ 6521 h 10000"/>
                <a:gd name="connsiteX485" fmla="*/ 8677 w 10785"/>
                <a:gd name="connsiteY485" fmla="*/ 6573 h 10000"/>
                <a:gd name="connsiteX486" fmla="*/ 8677 w 10785"/>
                <a:gd name="connsiteY486" fmla="*/ 6624 h 10000"/>
                <a:gd name="connsiteX487" fmla="*/ 8590 w 10785"/>
                <a:gd name="connsiteY487" fmla="*/ 6803 h 10000"/>
                <a:gd name="connsiteX488" fmla="*/ 8562 w 10785"/>
                <a:gd name="connsiteY488" fmla="*/ 6829 h 10000"/>
                <a:gd name="connsiteX489" fmla="*/ 8544 w 10785"/>
                <a:gd name="connsiteY489" fmla="*/ 6829 h 10000"/>
                <a:gd name="connsiteX490" fmla="*/ 8521 w 10785"/>
                <a:gd name="connsiteY490" fmla="*/ 6880 h 10000"/>
                <a:gd name="connsiteX491" fmla="*/ 8498 w 10785"/>
                <a:gd name="connsiteY491" fmla="*/ 6872 h 10000"/>
                <a:gd name="connsiteX492" fmla="*/ 8488 w 10785"/>
                <a:gd name="connsiteY492" fmla="*/ 6872 h 10000"/>
                <a:gd name="connsiteX493" fmla="*/ 8498 w 10785"/>
                <a:gd name="connsiteY493" fmla="*/ 6940 h 10000"/>
                <a:gd name="connsiteX494" fmla="*/ 8484 w 10785"/>
                <a:gd name="connsiteY494" fmla="*/ 7026 h 10000"/>
                <a:gd name="connsiteX495" fmla="*/ 8429 w 10785"/>
                <a:gd name="connsiteY495" fmla="*/ 7094 h 10000"/>
                <a:gd name="connsiteX496" fmla="*/ 8401 w 10785"/>
                <a:gd name="connsiteY496" fmla="*/ 7291 h 10000"/>
                <a:gd name="connsiteX497" fmla="*/ 8424 w 10785"/>
                <a:gd name="connsiteY497" fmla="*/ 7692 h 10000"/>
                <a:gd name="connsiteX498" fmla="*/ 8424 w 10785"/>
                <a:gd name="connsiteY498" fmla="*/ 7701 h 10000"/>
                <a:gd name="connsiteX499" fmla="*/ 8484 w 10785"/>
                <a:gd name="connsiteY499" fmla="*/ 8308 h 10000"/>
                <a:gd name="connsiteX500" fmla="*/ 8576 w 10785"/>
                <a:gd name="connsiteY500" fmla="*/ 8120 h 10000"/>
                <a:gd name="connsiteX501" fmla="*/ 8590 w 10785"/>
                <a:gd name="connsiteY501" fmla="*/ 8026 h 10000"/>
                <a:gd name="connsiteX502" fmla="*/ 8590 w 10785"/>
                <a:gd name="connsiteY502" fmla="*/ 7983 h 10000"/>
                <a:gd name="connsiteX503" fmla="*/ 8594 w 10785"/>
                <a:gd name="connsiteY503" fmla="*/ 7974 h 10000"/>
                <a:gd name="connsiteX504" fmla="*/ 8594 w 10785"/>
                <a:gd name="connsiteY504" fmla="*/ 7940 h 10000"/>
                <a:gd name="connsiteX505" fmla="*/ 8594 w 10785"/>
                <a:gd name="connsiteY505" fmla="*/ 7923 h 10000"/>
                <a:gd name="connsiteX506" fmla="*/ 8594 w 10785"/>
                <a:gd name="connsiteY506" fmla="*/ 7915 h 10000"/>
                <a:gd name="connsiteX507" fmla="*/ 8604 w 10785"/>
                <a:gd name="connsiteY507" fmla="*/ 7915 h 10000"/>
                <a:gd name="connsiteX508" fmla="*/ 8608 w 10785"/>
                <a:gd name="connsiteY508" fmla="*/ 7923 h 10000"/>
                <a:gd name="connsiteX509" fmla="*/ 8645 w 10785"/>
                <a:gd name="connsiteY509" fmla="*/ 7872 h 10000"/>
                <a:gd name="connsiteX510" fmla="*/ 8668 w 10785"/>
                <a:gd name="connsiteY510" fmla="*/ 7846 h 10000"/>
                <a:gd name="connsiteX511" fmla="*/ 8691 w 10785"/>
                <a:gd name="connsiteY511" fmla="*/ 7863 h 10000"/>
                <a:gd name="connsiteX512" fmla="*/ 8691 w 10785"/>
                <a:gd name="connsiteY512" fmla="*/ 7846 h 10000"/>
                <a:gd name="connsiteX513" fmla="*/ 8682 w 10785"/>
                <a:gd name="connsiteY513" fmla="*/ 7838 h 10000"/>
                <a:gd name="connsiteX514" fmla="*/ 8682 w 10785"/>
                <a:gd name="connsiteY514" fmla="*/ 7692 h 10000"/>
                <a:gd name="connsiteX515" fmla="*/ 8728 w 10785"/>
                <a:gd name="connsiteY515" fmla="*/ 7598 h 10000"/>
                <a:gd name="connsiteX516" fmla="*/ 8751 w 10785"/>
                <a:gd name="connsiteY516" fmla="*/ 7573 h 10000"/>
                <a:gd name="connsiteX517" fmla="*/ 8770 w 10785"/>
                <a:gd name="connsiteY517" fmla="*/ 7573 h 10000"/>
                <a:gd name="connsiteX518" fmla="*/ 8779 w 10785"/>
                <a:gd name="connsiteY518" fmla="*/ 7590 h 10000"/>
                <a:gd name="connsiteX519" fmla="*/ 8793 w 10785"/>
                <a:gd name="connsiteY519" fmla="*/ 7590 h 10000"/>
                <a:gd name="connsiteX520" fmla="*/ 8811 w 10785"/>
                <a:gd name="connsiteY520" fmla="*/ 7590 h 10000"/>
                <a:gd name="connsiteX521" fmla="*/ 8825 w 10785"/>
                <a:gd name="connsiteY521" fmla="*/ 7556 h 10000"/>
                <a:gd name="connsiteX522" fmla="*/ 8829 w 10785"/>
                <a:gd name="connsiteY522" fmla="*/ 7530 h 10000"/>
                <a:gd name="connsiteX523" fmla="*/ 8802 w 10785"/>
                <a:gd name="connsiteY523" fmla="*/ 7462 h 10000"/>
                <a:gd name="connsiteX524" fmla="*/ 8797 w 10785"/>
                <a:gd name="connsiteY524" fmla="*/ 7402 h 10000"/>
                <a:gd name="connsiteX525" fmla="*/ 8816 w 10785"/>
                <a:gd name="connsiteY525" fmla="*/ 7291 h 10000"/>
                <a:gd name="connsiteX526" fmla="*/ 8825 w 10785"/>
                <a:gd name="connsiteY526" fmla="*/ 7256 h 10000"/>
                <a:gd name="connsiteX527" fmla="*/ 8843 w 10785"/>
                <a:gd name="connsiteY527" fmla="*/ 7231 h 10000"/>
                <a:gd name="connsiteX528" fmla="*/ 8839 w 10785"/>
                <a:gd name="connsiteY528" fmla="*/ 7205 h 10000"/>
                <a:gd name="connsiteX529" fmla="*/ 8839 w 10785"/>
                <a:gd name="connsiteY529" fmla="*/ 7188 h 10000"/>
                <a:gd name="connsiteX530" fmla="*/ 8876 w 10785"/>
                <a:gd name="connsiteY530" fmla="*/ 7162 h 10000"/>
                <a:gd name="connsiteX531" fmla="*/ 8885 w 10785"/>
                <a:gd name="connsiteY531" fmla="*/ 7154 h 10000"/>
                <a:gd name="connsiteX532" fmla="*/ 8885 w 10785"/>
                <a:gd name="connsiteY532" fmla="*/ 7162 h 10000"/>
                <a:gd name="connsiteX533" fmla="*/ 8876 w 10785"/>
                <a:gd name="connsiteY533" fmla="*/ 7188 h 10000"/>
                <a:gd name="connsiteX534" fmla="*/ 8871 w 10785"/>
                <a:gd name="connsiteY534" fmla="*/ 7205 h 10000"/>
                <a:gd name="connsiteX535" fmla="*/ 8866 w 10785"/>
                <a:gd name="connsiteY535" fmla="*/ 7214 h 10000"/>
                <a:gd name="connsiteX536" fmla="*/ 8876 w 10785"/>
                <a:gd name="connsiteY536" fmla="*/ 7265 h 10000"/>
                <a:gd name="connsiteX537" fmla="*/ 8885 w 10785"/>
                <a:gd name="connsiteY537" fmla="*/ 7282 h 10000"/>
                <a:gd name="connsiteX538" fmla="*/ 8889 w 10785"/>
                <a:gd name="connsiteY538" fmla="*/ 7282 h 10000"/>
                <a:gd name="connsiteX539" fmla="*/ 8903 w 10785"/>
                <a:gd name="connsiteY539" fmla="*/ 7239 h 10000"/>
                <a:gd name="connsiteX540" fmla="*/ 8903 w 10785"/>
                <a:gd name="connsiteY540" fmla="*/ 7214 h 10000"/>
                <a:gd name="connsiteX541" fmla="*/ 8899 w 10785"/>
                <a:gd name="connsiteY541" fmla="*/ 7128 h 10000"/>
                <a:gd name="connsiteX542" fmla="*/ 8889 w 10785"/>
                <a:gd name="connsiteY542" fmla="*/ 7120 h 10000"/>
                <a:gd name="connsiteX543" fmla="*/ 8871 w 10785"/>
                <a:gd name="connsiteY543" fmla="*/ 7120 h 10000"/>
                <a:gd name="connsiteX544" fmla="*/ 8871 w 10785"/>
                <a:gd name="connsiteY544" fmla="*/ 7120 h 10000"/>
                <a:gd name="connsiteX545" fmla="*/ 8871 w 10785"/>
                <a:gd name="connsiteY545" fmla="*/ 6991 h 10000"/>
                <a:gd name="connsiteX546" fmla="*/ 8871 w 10785"/>
                <a:gd name="connsiteY546" fmla="*/ 6966 h 10000"/>
                <a:gd name="connsiteX547" fmla="*/ 8889 w 10785"/>
                <a:gd name="connsiteY547" fmla="*/ 6940 h 10000"/>
                <a:gd name="connsiteX548" fmla="*/ 8903 w 10785"/>
                <a:gd name="connsiteY548" fmla="*/ 6906 h 10000"/>
                <a:gd name="connsiteX549" fmla="*/ 8899 w 10785"/>
                <a:gd name="connsiteY549" fmla="*/ 6880 h 10000"/>
                <a:gd name="connsiteX550" fmla="*/ 8866 w 10785"/>
                <a:gd name="connsiteY550" fmla="*/ 6846 h 10000"/>
                <a:gd name="connsiteX551" fmla="*/ 8853 w 10785"/>
                <a:gd name="connsiteY551" fmla="*/ 6846 h 10000"/>
                <a:gd name="connsiteX552" fmla="*/ 8843 w 10785"/>
                <a:gd name="connsiteY552" fmla="*/ 6880 h 10000"/>
                <a:gd name="connsiteX553" fmla="*/ 8843 w 10785"/>
                <a:gd name="connsiteY553" fmla="*/ 6897 h 10000"/>
                <a:gd name="connsiteX554" fmla="*/ 8829 w 10785"/>
                <a:gd name="connsiteY554" fmla="*/ 6880 h 10000"/>
                <a:gd name="connsiteX555" fmla="*/ 8825 w 10785"/>
                <a:gd name="connsiteY555" fmla="*/ 6872 h 10000"/>
                <a:gd name="connsiteX556" fmla="*/ 8816 w 10785"/>
                <a:gd name="connsiteY556" fmla="*/ 6846 h 10000"/>
                <a:gd name="connsiteX557" fmla="*/ 8816 w 10785"/>
                <a:gd name="connsiteY557" fmla="*/ 6803 h 10000"/>
                <a:gd name="connsiteX558" fmla="*/ 8876 w 10785"/>
                <a:gd name="connsiteY558" fmla="*/ 6598 h 10000"/>
                <a:gd name="connsiteX559" fmla="*/ 8876 w 10785"/>
                <a:gd name="connsiteY559" fmla="*/ 6573 h 10000"/>
                <a:gd name="connsiteX560" fmla="*/ 8885 w 10785"/>
                <a:gd name="connsiteY560" fmla="*/ 6556 h 10000"/>
                <a:gd name="connsiteX561" fmla="*/ 8899 w 10785"/>
                <a:gd name="connsiteY561" fmla="*/ 6573 h 10000"/>
                <a:gd name="connsiteX562" fmla="*/ 8889 w 10785"/>
                <a:gd name="connsiteY562" fmla="*/ 6556 h 10000"/>
                <a:gd name="connsiteX563" fmla="*/ 8889 w 10785"/>
                <a:gd name="connsiteY563" fmla="*/ 6530 h 10000"/>
                <a:gd name="connsiteX564" fmla="*/ 8903 w 10785"/>
                <a:gd name="connsiteY564" fmla="*/ 6521 h 10000"/>
                <a:gd name="connsiteX565" fmla="*/ 8903 w 10785"/>
                <a:gd name="connsiteY565" fmla="*/ 6504 h 10000"/>
                <a:gd name="connsiteX566" fmla="*/ 8903 w 10785"/>
                <a:gd name="connsiteY566" fmla="*/ 6487 h 10000"/>
                <a:gd name="connsiteX567" fmla="*/ 8903 w 10785"/>
                <a:gd name="connsiteY567" fmla="*/ 6462 h 10000"/>
                <a:gd name="connsiteX568" fmla="*/ 8912 w 10785"/>
                <a:gd name="connsiteY568" fmla="*/ 6419 h 10000"/>
                <a:gd name="connsiteX569" fmla="*/ 8917 w 10785"/>
                <a:gd name="connsiteY569" fmla="*/ 6393 h 10000"/>
                <a:gd name="connsiteX570" fmla="*/ 8926 w 10785"/>
                <a:gd name="connsiteY570" fmla="*/ 6385 h 10000"/>
                <a:gd name="connsiteX571" fmla="*/ 8931 w 10785"/>
                <a:gd name="connsiteY571" fmla="*/ 6385 h 10000"/>
                <a:gd name="connsiteX572" fmla="*/ 8949 w 10785"/>
                <a:gd name="connsiteY572" fmla="*/ 6359 h 10000"/>
                <a:gd name="connsiteX573" fmla="*/ 8959 w 10785"/>
                <a:gd name="connsiteY573" fmla="*/ 6368 h 10000"/>
                <a:gd name="connsiteX574" fmla="*/ 8963 w 10785"/>
                <a:gd name="connsiteY574" fmla="*/ 6385 h 10000"/>
                <a:gd name="connsiteX575" fmla="*/ 8972 w 10785"/>
                <a:gd name="connsiteY575" fmla="*/ 6359 h 10000"/>
                <a:gd name="connsiteX576" fmla="*/ 8991 w 10785"/>
                <a:gd name="connsiteY576" fmla="*/ 6350 h 10000"/>
                <a:gd name="connsiteX577" fmla="*/ 9000 w 10785"/>
                <a:gd name="connsiteY577" fmla="*/ 6368 h 10000"/>
                <a:gd name="connsiteX578" fmla="*/ 9005 w 10785"/>
                <a:gd name="connsiteY578" fmla="*/ 6393 h 10000"/>
                <a:gd name="connsiteX579" fmla="*/ 9018 w 10785"/>
                <a:gd name="connsiteY579" fmla="*/ 6393 h 10000"/>
                <a:gd name="connsiteX580" fmla="*/ 9023 w 10785"/>
                <a:gd name="connsiteY580" fmla="*/ 6359 h 10000"/>
                <a:gd name="connsiteX581" fmla="*/ 9023 w 10785"/>
                <a:gd name="connsiteY581" fmla="*/ 6333 h 10000"/>
                <a:gd name="connsiteX582" fmla="*/ 9037 w 10785"/>
                <a:gd name="connsiteY582" fmla="*/ 6308 h 10000"/>
                <a:gd name="connsiteX583" fmla="*/ 9074 w 10785"/>
                <a:gd name="connsiteY583" fmla="*/ 6274 h 10000"/>
                <a:gd name="connsiteX584" fmla="*/ 9092 w 10785"/>
                <a:gd name="connsiteY584" fmla="*/ 6222 h 10000"/>
                <a:gd name="connsiteX585" fmla="*/ 9097 w 10785"/>
                <a:gd name="connsiteY585" fmla="*/ 6231 h 10000"/>
                <a:gd name="connsiteX586" fmla="*/ 9097 w 10785"/>
                <a:gd name="connsiteY586" fmla="*/ 6248 h 10000"/>
                <a:gd name="connsiteX587" fmla="*/ 9097 w 10785"/>
                <a:gd name="connsiteY587" fmla="*/ 6274 h 10000"/>
                <a:gd name="connsiteX588" fmla="*/ 9097 w 10785"/>
                <a:gd name="connsiteY588" fmla="*/ 6308 h 10000"/>
                <a:gd name="connsiteX589" fmla="*/ 9092 w 10785"/>
                <a:gd name="connsiteY589" fmla="*/ 6368 h 10000"/>
                <a:gd name="connsiteX590" fmla="*/ 9092 w 10785"/>
                <a:gd name="connsiteY590" fmla="*/ 6385 h 10000"/>
                <a:gd name="connsiteX591" fmla="*/ 9092 w 10785"/>
                <a:gd name="connsiteY591" fmla="*/ 6393 h 10000"/>
                <a:gd name="connsiteX592" fmla="*/ 9092 w 10785"/>
                <a:gd name="connsiteY592" fmla="*/ 6393 h 10000"/>
                <a:gd name="connsiteX593" fmla="*/ 9143 w 10785"/>
                <a:gd name="connsiteY593" fmla="*/ 6299 h 10000"/>
                <a:gd name="connsiteX594" fmla="*/ 9143 w 10785"/>
                <a:gd name="connsiteY594" fmla="*/ 6282 h 10000"/>
                <a:gd name="connsiteX595" fmla="*/ 9143 w 10785"/>
                <a:gd name="connsiteY595" fmla="*/ 6256 h 10000"/>
                <a:gd name="connsiteX596" fmla="*/ 9143 w 10785"/>
                <a:gd name="connsiteY596" fmla="*/ 6256 h 10000"/>
                <a:gd name="connsiteX597" fmla="*/ 9157 w 10785"/>
                <a:gd name="connsiteY597" fmla="*/ 6274 h 10000"/>
                <a:gd name="connsiteX598" fmla="*/ 9166 w 10785"/>
                <a:gd name="connsiteY598" fmla="*/ 6248 h 10000"/>
                <a:gd name="connsiteX599" fmla="*/ 9180 w 10785"/>
                <a:gd name="connsiteY599" fmla="*/ 6248 h 10000"/>
                <a:gd name="connsiteX600" fmla="*/ 9198 w 10785"/>
                <a:gd name="connsiteY600" fmla="*/ 6222 h 10000"/>
                <a:gd name="connsiteX601" fmla="*/ 9212 w 10785"/>
                <a:gd name="connsiteY601" fmla="*/ 6222 h 10000"/>
                <a:gd name="connsiteX602" fmla="*/ 9226 w 10785"/>
                <a:gd name="connsiteY602" fmla="*/ 6197 h 10000"/>
                <a:gd name="connsiteX603" fmla="*/ 9230 w 10785"/>
                <a:gd name="connsiteY603" fmla="*/ 6214 h 10000"/>
                <a:gd name="connsiteX604" fmla="*/ 9272 w 10785"/>
                <a:gd name="connsiteY604" fmla="*/ 6214 h 10000"/>
                <a:gd name="connsiteX605" fmla="*/ 9304 w 10785"/>
                <a:gd name="connsiteY605" fmla="*/ 6231 h 10000"/>
                <a:gd name="connsiteX606" fmla="*/ 9318 w 10785"/>
                <a:gd name="connsiteY606" fmla="*/ 6248 h 10000"/>
                <a:gd name="connsiteX607" fmla="*/ 9327 w 10785"/>
                <a:gd name="connsiteY607" fmla="*/ 6282 h 10000"/>
                <a:gd name="connsiteX608" fmla="*/ 9355 w 10785"/>
                <a:gd name="connsiteY608" fmla="*/ 6350 h 10000"/>
                <a:gd name="connsiteX609" fmla="*/ 9355 w 10785"/>
                <a:gd name="connsiteY609" fmla="*/ 6359 h 10000"/>
                <a:gd name="connsiteX610" fmla="*/ 9364 w 10785"/>
                <a:gd name="connsiteY610" fmla="*/ 6368 h 10000"/>
                <a:gd name="connsiteX611" fmla="*/ 9373 w 10785"/>
                <a:gd name="connsiteY611" fmla="*/ 6359 h 10000"/>
                <a:gd name="connsiteX612" fmla="*/ 9373 w 10785"/>
                <a:gd name="connsiteY612" fmla="*/ 6325 h 10000"/>
                <a:gd name="connsiteX613" fmla="*/ 9387 w 10785"/>
                <a:gd name="connsiteY613" fmla="*/ 6256 h 10000"/>
                <a:gd name="connsiteX614" fmla="*/ 9387 w 10785"/>
                <a:gd name="connsiteY614" fmla="*/ 6248 h 10000"/>
                <a:gd name="connsiteX615" fmla="*/ 9378 w 10785"/>
                <a:gd name="connsiteY615" fmla="*/ 6248 h 10000"/>
                <a:gd name="connsiteX616" fmla="*/ 9406 w 10785"/>
                <a:gd name="connsiteY616" fmla="*/ 6222 h 10000"/>
                <a:gd name="connsiteX617" fmla="*/ 9415 w 10785"/>
                <a:gd name="connsiteY617" fmla="*/ 6222 h 10000"/>
                <a:gd name="connsiteX618" fmla="*/ 9415 w 10785"/>
                <a:gd name="connsiteY618" fmla="*/ 6197 h 10000"/>
                <a:gd name="connsiteX619" fmla="*/ 9419 w 10785"/>
                <a:gd name="connsiteY619" fmla="*/ 6214 h 10000"/>
                <a:gd name="connsiteX620" fmla="*/ 9424 w 10785"/>
                <a:gd name="connsiteY620" fmla="*/ 6214 h 10000"/>
                <a:gd name="connsiteX621" fmla="*/ 9447 w 10785"/>
                <a:gd name="connsiteY621" fmla="*/ 6171 h 10000"/>
                <a:gd name="connsiteX622" fmla="*/ 9452 w 10785"/>
                <a:gd name="connsiteY622" fmla="*/ 6171 h 10000"/>
                <a:gd name="connsiteX623" fmla="*/ 9452 w 10785"/>
                <a:gd name="connsiteY623" fmla="*/ 6162 h 10000"/>
                <a:gd name="connsiteX624" fmla="*/ 9461 w 10785"/>
                <a:gd name="connsiteY624" fmla="*/ 6137 h 10000"/>
                <a:gd name="connsiteX625" fmla="*/ 9475 w 10785"/>
                <a:gd name="connsiteY625" fmla="*/ 6137 h 10000"/>
                <a:gd name="connsiteX626" fmla="*/ 9475 w 10785"/>
                <a:gd name="connsiteY626" fmla="*/ 6137 h 10000"/>
                <a:gd name="connsiteX627" fmla="*/ 9479 w 10785"/>
                <a:gd name="connsiteY627" fmla="*/ 6120 h 10000"/>
                <a:gd name="connsiteX628" fmla="*/ 9488 w 10785"/>
                <a:gd name="connsiteY628" fmla="*/ 6120 h 10000"/>
                <a:gd name="connsiteX629" fmla="*/ 9488 w 10785"/>
                <a:gd name="connsiteY629" fmla="*/ 6111 h 10000"/>
                <a:gd name="connsiteX630" fmla="*/ 9479 w 10785"/>
                <a:gd name="connsiteY630" fmla="*/ 6103 h 10000"/>
                <a:gd name="connsiteX631" fmla="*/ 9479 w 10785"/>
                <a:gd name="connsiteY631" fmla="*/ 6085 h 10000"/>
                <a:gd name="connsiteX632" fmla="*/ 9488 w 10785"/>
                <a:gd name="connsiteY632" fmla="*/ 6103 h 10000"/>
                <a:gd name="connsiteX633" fmla="*/ 9493 w 10785"/>
                <a:gd name="connsiteY633" fmla="*/ 6111 h 10000"/>
                <a:gd name="connsiteX634" fmla="*/ 9498 w 10785"/>
                <a:gd name="connsiteY634" fmla="*/ 6103 h 10000"/>
                <a:gd name="connsiteX635" fmla="*/ 9507 w 10785"/>
                <a:gd name="connsiteY635" fmla="*/ 6077 h 10000"/>
                <a:gd name="connsiteX636" fmla="*/ 9498 w 10785"/>
                <a:gd name="connsiteY636" fmla="*/ 6060 h 10000"/>
                <a:gd name="connsiteX637" fmla="*/ 9512 w 10785"/>
                <a:gd name="connsiteY637" fmla="*/ 6060 h 10000"/>
                <a:gd name="connsiteX638" fmla="*/ 9525 w 10785"/>
                <a:gd name="connsiteY638" fmla="*/ 6034 h 10000"/>
                <a:gd name="connsiteX639" fmla="*/ 9535 w 10785"/>
                <a:gd name="connsiteY639" fmla="*/ 6034 h 10000"/>
                <a:gd name="connsiteX640" fmla="*/ 9535 w 10785"/>
                <a:gd name="connsiteY640" fmla="*/ 6026 h 10000"/>
                <a:gd name="connsiteX641" fmla="*/ 9525 w 10785"/>
                <a:gd name="connsiteY641" fmla="*/ 6009 h 10000"/>
                <a:gd name="connsiteX642" fmla="*/ 9535 w 10785"/>
                <a:gd name="connsiteY642" fmla="*/ 6000 h 10000"/>
                <a:gd name="connsiteX643" fmla="*/ 9539 w 10785"/>
                <a:gd name="connsiteY643" fmla="*/ 6009 h 10000"/>
                <a:gd name="connsiteX644" fmla="*/ 9548 w 10785"/>
                <a:gd name="connsiteY644" fmla="*/ 6009 h 10000"/>
                <a:gd name="connsiteX645" fmla="*/ 9553 w 10785"/>
                <a:gd name="connsiteY645" fmla="*/ 6000 h 10000"/>
                <a:gd name="connsiteX646" fmla="*/ 9562 w 10785"/>
                <a:gd name="connsiteY646" fmla="*/ 5983 h 10000"/>
                <a:gd name="connsiteX647" fmla="*/ 9562 w 10785"/>
                <a:gd name="connsiteY647" fmla="*/ 5974 h 10000"/>
                <a:gd name="connsiteX648" fmla="*/ 9567 w 10785"/>
                <a:gd name="connsiteY648" fmla="*/ 5974 h 10000"/>
                <a:gd name="connsiteX649" fmla="*/ 9567 w 10785"/>
                <a:gd name="connsiteY649" fmla="*/ 5966 h 10000"/>
                <a:gd name="connsiteX650" fmla="*/ 9567 w 10785"/>
                <a:gd name="connsiteY650" fmla="*/ 5940 h 10000"/>
                <a:gd name="connsiteX651" fmla="*/ 9571 w 10785"/>
                <a:gd name="connsiteY651" fmla="*/ 5915 h 10000"/>
                <a:gd name="connsiteX652" fmla="*/ 9581 w 10785"/>
                <a:gd name="connsiteY652" fmla="*/ 5923 h 10000"/>
                <a:gd name="connsiteX653" fmla="*/ 9585 w 10785"/>
                <a:gd name="connsiteY653" fmla="*/ 5940 h 10000"/>
                <a:gd name="connsiteX654" fmla="*/ 9594 w 10785"/>
                <a:gd name="connsiteY654" fmla="*/ 5949 h 10000"/>
                <a:gd name="connsiteX655" fmla="*/ 9599 w 10785"/>
                <a:gd name="connsiteY655" fmla="*/ 5940 h 10000"/>
                <a:gd name="connsiteX656" fmla="*/ 9613 w 10785"/>
                <a:gd name="connsiteY656" fmla="*/ 5915 h 10000"/>
                <a:gd name="connsiteX657" fmla="*/ 9645 w 10785"/>
                <a:gd name="connsiteY657" fmla="*/ 5889 h 10000"/>
                <a:gd name="connsiteX658" fmla="*/ 9654 w 10785"/>
                <a:gd name="connsiteY658" fmla="*/ 5872 h 10000"/>
                <a:gd name="connsiteX659" fmla="*/ 9673 w 10785"/>
                <a:gd name="connsiteY659" fmla="*/ 5863 h 10000"/>
                <a:gd name="connsiteX660" fmla="*/ 9682 w 10785"/>
                <a:gd name="connsiteY660" fmla="*/ 5838 h 10000"/>
                <a:gd name="connsiteX661" fmla="*/ 9682 w 10785"/>
                <a:gd name="connsiteY661" fmla="*/ 5829 h 10000"/>
                <a:gd name="connsiteX662" fmla="*/ 9682 w 10785"/>
                <a:gd name="connsiteY662" fmla="*/ 5812 h 10000"/>
                <a:gd name="connsiteX663" fmla="*/ 9687 w 10785"/>
                <a:gd name="connsiteY663" fmla="*/ 5812 h 10000"/>
                <a:gd name="connsiteX664" fmla="*/ 9687 w 10785"/>
                <a:gd name="connsiteY664" fmla="*/ 5829 h 10000"/>
                <a:gd name="connsiteX665" fmla="*/ 9687 w 10785"/>
                <a:gd name="connsiteY665" fmla="*/ 5829 h 10000"/>
                <a:gd name="connsiteX666" fmla="*/ 9719 w 10785"/>
                <a:gd name="connsiteY666" fmla="*/ 5803 h 10000"/>
                <a:gd name="connsiteX667" fmla="*/ 9728 w 10785"/>
                <a:gd name="connsiteY667" fmla="*/ 5803 h 10000"/>
                <a:gd name="connsiteX668" fmla="*/ 9779 w 10785"/>
                <a:gd name="connsiteY668" fmla="*/ 5726 h 10000"/>
                <a:gd name="connsiteX669" fmla="*/ 9816 w 10785"/>
                <a:gd name="connsiteY669" fmla="*/ 5709 h 10000"/>
                <a:gd name="connsiteX670" fmla="*/ 9820 w 10785"/>
                <a:gd name="connsiteY670" fmla="*/ 5701 h 10000"/>
                <a:gd name="connsiteX671" fmla="*/ 9816 w 10785"/>
                <a:gd name="connsiteY671" fmla="*/ 5692 h 10000"/>
                <a:gd name="connsiteX672" fmla="*/ 9816 w 10785"/>
                <a:gd name="connsiteY672" fmla="*/ 5692 h 10000"/>
                <a:gd name="connsiteX673" fmla="*/ 9802 w 10785"/>
                <a:gd name="connsiteY673" fmla="*/ 5624 h 10000"/>
                <a:gd name="connsiteX674" fmla="*/ 9806 w 10785"/>
                <a:gd name="connsiteY674" fmla="*/ 5624 h 10000"/>
                <a:gd name="connsiteX675" fmla="*/ 9820 w 10785"/>
                <a:gd name="connsiteY675" fmla="*/ 5675 h 10000"/>
                <a:gd name="connsiteX676" fmla="*/ 9829 w 10785"/>
                <a:gd name="connsiteY676" fmla="*/ 5675 h 10000"/>
                <a:gd name="connsiteX677" fmla="*/ 9829 w 10785"/>
                <a:gd name="connsiteY677" fmla="*/ 5692 h 10000"/>
                <a:gd name="connsiteX678" fmla="*/ 9829 w 10785"/>
                <a:gd name="connsiteY678" fmla="*/ 5701 h 10000"/>
                <a:gd name="connsiteX679" fmla="*/ 9839 w 10785"/>
                <a:gd name="connsiteY679" fmla="*/ 5701 h 10000"/>
                <a:gd name="connsiteX680" fmla="*/ 9839 w 10785"/>
                <a:gd name="connsiteY680" fmla="*/ 5692 h 10000"/>
                <a:gd name="connsiteX681" fmla="*/ 9839 w 10785"/>
                <a:gd name="connsiteY681" fmla="*/ 5675 h 10000"/>
                <a:gd name="connsiteX682" fmla="*/ 9848 w 10785"/>
                <a:gd name="connsiteY682" fmla="*/ 5675 h 10000"/>
                <a:gd name="connsiteX683" fmla="*/ 9848 w 10785"/>
                <a:gd name="connsiteY683" fmla="*/ 5692 h 10000"/>
                <a:gd name="connsiteX684" fmla="*/ 9853 w 10785"/>
                <a:gd name="connsiteY684" fmla="*/ 5701 h 10000"/>
                <a:gd name="connsiteX685" fmla="*/ 9880 w 10785"/>
                <a:gd name="connsiteY685" fmla="*/ 5709 h 10000"/>
                <a:gd name="connsiteX686" fmla="*/ 9912 w 10785"/>
                <a:gd name="connsiteY686" fmla="*/ 5752 h 10000"/>
                <a:gd name="connsiteX687" fmla="*/ 9926 w 10785"/>
                <a:gd name="connsiteY687" fmla="*/ 5761 h 10000"/>
                <a:gd name="connsiteX688" fmla="*/ 9935 w 10785"/>
                <a:gd name="connsiteY688" fmla="*/ 5761 h 10000"/>
                <a:gd name="connsiteX689" fmla="*/ 9940 w 10785"/>
                <a:gd name="connsiteY689" fmla="*/ 5735 h 10000"/>
                <a:gd name="connsiteX690" fmla="*/ 9949 w 10785"/>
                <a:gd name="connsiteY690" fmla="*/ 5735 h 10000"/>
                <a:gd name="connsiteX691" fmla="*/ 9968 w 10785"/>
                <a:gd name="connsiteY691" fmla="*/ 5692 h 10000"/>
                <a:gd name="connsiteX692" fmla="*/ 9968 w 10785"/>
                <a:gd name="connsiteY692" fmla="*/ 5650 h 10000"/>
                <a:gd name="connsiteX693" fmla="*/ 9968 w 10785"/>
                <a:gd name="connsiteY693" fmla="*/ 5624 h 10000"/>
                <a:gd name="connsiteX694" fmla="*/ 9935 w 10785"/>
                <a:gd name="connsiteY694" fmla="*/ 5598 h 10000"/>
                <a:gd name="connsiteX695" fmla="*/ 9935 w 10785"/>
                <a:gd name="connsiteY695" fmla="*/ 5590 h 10000"/>
                <a:gd name="connsiteX696" fmla="*/ 9935 w 10785"/>
                <a:gd name="connsiteY696" fmla="*/ 5573 h 10000"/>
                <a:gd name="connsiteX697" fmla="*/ 9935 w 10785"/>
                <a:gd name="connsiteY697" fmla="*/ 5573 h 10000"/>
                <a:gd name="connsiteX698" fmla="*/ 9940 w 10785"/>
                <a:gd name="connsiteY698" fmla="*/ 5573 h 10000"/>
                <a:gd name="connsiteX699" fmla="*/ 9954 w 10785"/>
                <a:gd name="connsiteY699" fmla="*/ 5573 h 10000"/>
                <a:gd name="connsiteX700" fmla="*/ 9963 w 10785"/>
                <a:gd name="connsiteY700" fmla="*/ 5564 h 10000"/>
                <a:gd name="connsiteX701" fmla="*/ 9954 w 10785"/>
                <a:gd name="connsiteY701" fmla="*/ 5530 h 10000"/>
                <a:gd name="connsiteX702" fmla="*/ 9949 w 10785"/>
                <a:gd name="connsiteY702" fmla="*/ 5530 h 10000"/>
                <a:gd name="connsiteX703" fmla="*/ 9926 w 10785"/>
                <a:gd name="connsiteY703" fmla="*/ 5479 h 10000"/>
                <a:gd name="connsiteX704" fmla="*/ 9912 w 10785"/>
                <a:gd name="connsiteY704" fmla="*/ 5325 h 10000"/>
                <a:gd name="connsiteX705" fmla="*/ 9903 w 10785"/>
                <a:gd name="connsiteY705" fmla="*/ 5342 h 10000"/>
                <a:gd name="connsiteX706" fmla="*/ 9889 w 10785"/>
                <a:gd name="connsiteY706" fmla="*/ 5316 h 10000"/>
                <a:gd name="connsiteX707" fmla="*/ 9889 w 10785"/>
                <a:gd name="connsiteY707" fmla="*/ 5291 h 10000"/>
                <a:gd name="connsiteX708" fmla="*/ 9903 w 10785"/>
                <a:gd name="connsiteY708" fmla="*/ 5291 h 10000"/>
                <a:gd name="connsiteX709" fmla="*/ 9903 w 10785"/>
                <a:gd name="connsiteY709" fmla="*/ 5291 h 10000"/>
                <a:gd name="connsiteX710" fmla="*/ 9894 w 10785"/>
                <a:gd name="connsiteY710" fmla="*/ 5214 h 10000"/>
                <a:gd name="connsiteX711" fmla="*/ 9880 w 10785"/>
                <a:gd name="connsiteY711" fmla="*/ 5239 h 10000"/>
                <a:gd name="connsiteX712" fmla="*/ 9876 w 10785"/>
                <a:gd name="connsiteY712" fmla="*/ 5256 h 10000"/>
                <a:gd name="connsiteX713" fmla="*/ 9862 w 10785"/>
                <a:gd name="connsiteY713" fmla="*/ 5239 h 10000"/>
                <a:gd name="connsiteX714" fmla="*/ 9853 w 10785"/>
                <a:gd name="connsiteY714" fmla="*/ 5214 h 10000"/>
                <a:gd name="connsiteX715" fmla="*/ 9839 w 10785"/>
                <a:gd name="connsiteY715" fmla="*/ 5214 h 10000"/>
                <a:gd name="connsiteX716" fmla="*/ 9834 w 10785"/>
                <a:gd name="connsiteY716" fmla="*/ 5188 h 10000"/>
                <a:gd name="connsiteX717" fmla="*/ 9834 w 10785"/>
                <a:gd name="connsiteY717" fmla="*/ 5103 h 10000"/>
                <a:gd name="connsiteX718" fmla="*/ 9839 w 10785"/>
                <a:gd name="connsiteY718" fmla="*/ 5094 h 10000"/>
                <a:gd name="connsiteX719" fmla="*/ 9853 w 10785"/>
                <a:gd name="connsiteY719" fmla="*/ 5103 h 10000"/>
                <a:gd name="connsiteX720" fmla="*/ 9876 w 10785"/>
                <a:gd name="connsiteY720" fmla="*/ 5128 h 10000"/>
                <a:gd name="connsiteX721" fmla="*/ 9889 w 10785"/>
                <a:gd name="connsiteY721" fmla="*/ 5103 h 10000"/>
                <a:gd name="connsiteX722" fmla="*/ 9880 w 10785"/>
                <a:gd name="connsiteY722" fmla="*/ 5120 h 10000"/>
                <a:gd name="connsiteX723" fmla="*/ 9889 w 10785"/>
                <a:gd name="connsiteY723" fmla="*/ 5128 h 10000"/>
                <a:gd name="connsiteX724" fmla="*/ 9912 w 10785"/>
                <a:gd name="connsiteY724" fmla="*/ 5128 h 10000"/>
                <a:gd name="connsiteX725" fmla="*/ 9908 w 10785"/>
                <a:gd name="connsiteY725" fmla="*/ 5145 h 10000"/>
                <a:gd name="connsiteX726" fmla="*/ 9908 w 10785"/>
                <a:gd name="connsiteY726" fmla="*/ 5154 h 10000"/>
                <a:gd name="connsiteX727" fmla="*/ 9922 w 10785"/>
                <a:gd name="connsiteY727" fmla="*/ 5128 h 10000"/>
                <a:gd name="connsiteX728" fmla="*/ 9935 w 10785"/>
                <a:gd name="connsiteY728" fmla="*/ 5103 h 10000"/>
                <a:gd name="connsiteX729" fmla="*/ 9968 w 10785"/>
                <a:gd name="connsiteY729" fmla="*/ 5077 h 10000"/>
                <a:gd name="connsiteX730" fmla="*/ 10000 w 10785"/>
                <a:gd name="connsiteY730" fmla="*/ 5017 h 10000"/>
                <a:gd name="connsiteX731" fmla="*/ 10227 w 10785"/>
                <a:gd name="connsiteY731" fmla="*/ 4860 h 10000"/>
                <a:gd name="connsiteX732" fmla="*/ 10139 w 10785"/>
                <a:gd name="connsiteY732" fmla="*/ 4708 h 10000"/>
                <a:gd name="connsiteX733" fmla="*/ 10233 w 10785"/>
                <a:gd name="connsiteY733" fmla="*/ 4530 h 10000"/>
                <a:gd name="connsiteX734" fmla="*/ 10334 w 10785"/>
                <a:gd name="connsiteY734" fmla="*/ 4810 h 10000"/>
                <a:gd name="connsiteX735" fmla="*/ 10422 w 10785"/>
                <a:gd name="connsiteY735" fmla="*/ 5051 h 10000"/>
                <a:gd name="connsiteX736" fmla="*/ 10691 w 10785"/>
                <a:gd name="connsiteY736" fmla="*/ 5255 h 10000"/>
                <a:gd name="connsiteX737" fmla="*/ 10619 w 10785"/>
                <a:gd name="connsiteY737" fmla="*/ 4708 h 10000"/>
                <a:gd name="connsiteX738" fmla="*/ 10785 w 10785"/>
                <a:gd name="connsiteY738" fmla="*/ 4708 h 10000"/>
                <a:gd name="connsiteX739" fmla="*/ 10689 w 10785"/>
                <a:gd name="connsiteY739" fmla="*/ 4467 h 10000"/>
                <a:gd name="connsiteX740" fmla="*/ 10354 w 10785"/>
                <a:gd name="connsiteY740" fmla="*/ 4302 h 10000"/>
                <a:gd name="connsiteX741" fmla="*/ 9912 w 10785"/>
                <a:gd name="connsiteY741" fmla="*/ 3675 h 10000"/>
                <a:gd name="connsiteX742" fmla="*/ 9903 w 10785"/>
                <a:gd name="connsiteY742" fmla="*/ 3667 h 10000"/>
                <a:gd name="connsiteX743" fmla="*/ 9894 w 10785"/>
                <a:gd name="connsiteY743" fmla="*/ 3641 h 10000"/>
                <a:gd name="connsiteX744" fmla="*/ 9889 w 10785"/>
                <a:gd name="connsiteY744" fmla="*/ 3650 h 10000"/>
                <a:gd name="connsiteX745" fmla="*/ 9848 w 10785"/>
                <a:gd name="connsiteY745" fmla="*/ 3598 h 10000"/>
                <a:gd name="connsiteX746" fmla="*/ 9829 w 10785"/>
                <a:gd name="connsiteY746" fmla="*/ 3581 h 10000"/>
                <a:gd name="connsiteX747" fmla="*/ 9820 w 10785"/>
                <a:gd name="connsiteY747" fmla="*/ 3581 h 10000"/>
                <a:gd name="connsiteX748" fmla="*/ 9793 w 10785"/>
                <a:gd name="connsiteY748" fmla="*/ 3556 h 10000"/>
                <a:gd name="connsiteX749" fmla="*/ 9779 w 10785"/>
                <a:gd name="connsiteY749" fmla="*/ 3556 h 10000"/>
                <a:gd name="connsiteX750" fmla="*/ 9747 w 10785"/>
                <a:gd name="connsiteY750" fmla="*/ 3487 h 10000"/>
                <a:gd name="connsiteX751" fmla="*/ 9668 w 10785"/>
                <a:gd name="connsiteY751" fmla="*/ 3479 h 10000"/>
                <a:gd name="connsiteX752" fmla="*/ 9659 w 10785"/>
                <a:gd name="connsiteY752" fmla="*/ 3487 h 10000"/>
                <a:gd name="connsiteX753" fmla="*/ 9645 w 10785"/>
                <a:gd name="connsiteY753" fmla="*/ 3504 h 10000"/>
                <a:gd name="connsiteX754" fmla="*/ 9631 w 10785"/>
                <a:gd name="connsiteY754" fmla="*/ 3487 h 10000"/>
                <a:gd name="connsiteX755" fmla="*/ 9613 w 10785"/>
                <a:gd name="connsiteY755" fmla="*/ 3479 h 10000"/>
                <a:gd name="connsiteX756" fmla="*/ 9599 w 10785"/>
                <a:gd name="connsiteY756" fmla="*/ 3479 h 10000"/>
                <a:gd name="connsiteX757" fmla="*/ 9571 w 10785"/>
                <a:gd name="connsiteY757" fmla="*/ 3479 h 10000"/>
                <a:gd name="connsiteX758" fmla="*/ 9562 w 10785"/>
                <a:gd name="connsiteY758" fmla="*/ 3487 h 10000"/>
                <a:gd name="connsiteX759" fmla="*/ 9539 w 10785"/>
                <a:gd name="connsiteY759" fmla="*/ 3487 h 10000"/>
                <a:gd name="connsiteX760" fmla="*/ 9507 w 10785"/>
                <a:gd name="connsiteY760" fmla="*/ 3453 h 10000"/>
                <a:gd name="connsiteX761" fmla="*/ 9498 w 10785"/>
                <a:gd name="connsiteY761" fmla="*/ 3453 h 10000"/>
                <a:gd name="connsiteX762" fmla="*/ 9387 w 10785"/>
                <a:gd name="connsiteY762" fmla="*/ 3419 h 10000"/>
                <a:gd name="connsiteX763" fmla="*/ 9373 w 10785"/>
                <a:gd name="connsiteY763" fmla="*/ 3427 h 10000"/>
                <a:gd name="connsiteX764" fmla="*/ 9373 w 10785"/>
                <a:gd name="connsiteY764" fmla="*/ 3462 h 10000"/>
                <a:gd name="connsiteX765" fmla="*/ 9378 w 10785"/>
                <a:gd name="connsiteY765" fmla="*/ 3479 h 10000"/>
                <a:gd name="connsiteX766" fmla="*/ 9378 w 10785"/>
                <a:gd name="connsiteY766" fmla="*/ 3530 h 10000"/>
                <a:gd name="connsiteX767" fmla="*/ 9355 w 10785"/>
                <a:gd name="connsiteY767" fmla="*/ 3538 h 10000"/>
                <a:gd name="connsiteX768" fmla="*/ 9355 w 10785"/>
                <a:gd name="connsiteY768" fmla="*/ 3581 h 10000"/>
                <a:gd name="connsiteX769" fmla="*/ 9387 w 10785"/>
                <a:gd name="connsiteY769" fmla="*/ 3590 h 10000"/>
                <a:gd name="connsiteX770" fmla="*/ 9401 w 10785"/>
                <a:gd name="connsiteY770" fmla="*/ 3667 h 10000"/>
                <a:gd name="connsiteX771" fmla="*/ 9406 w 10785"/>
                <a:gd name="connsiteY771" fmla="*/ 3675 h 10000"/>
                <a:gd name="connsiteX772" fmla="*/ 9406 w 10785"/>
                <a:gd name="connsiteY772" fmla="*/ 3701 h 10000"/>
                <a:gd name="connsiteX773" fmla="*/ 9415 w 10785"/>
                <a:gd name="connsiteY773" fmla="*/ 3752 h 10000"/>
                <a:gd name="connsiteX774" fmla="*/ 9373 w 10785"/>
                <a:gd name="connsiteY774" fmla="*/ 3838 h 10000"/>
                <a:gd name="connsiteX775" fmla="*/ 9355 w 10785"/>
                <a:gd name="connsiteY775" fmla="*/ 3863 h 10000"/>
                <a:gd name="connsiteX776" fmla="*/ 9327 w 10785"/>
                <a:gd name="connsiteY776" fmla="*/ 3863 h 10000"/>
                <a:gd name="connsiteX777" fmla="*/ 9313 w 10785"/>
                <a:gd name="connsiteY777" fmla="*/ 3846 h 10000"/>
                <a:gd name="connsiteX778" fmla="*/ 9300 w 10785"/>
                <a:gd name="connsiteY778" fmla="*/ 3778 h 10000"/>
                <a:gd name="connsiteX779" fmla="*/ 9281 w 10785"/>
                <a:gd name="connsiteY779" fmla="*/ 3752 h 10000"/>
                <a:gd name="connsiteX780" fmla="*/ 9281 w 10785"/>
                <a:gd name="connsiteY780" fmla="*/ 3735 h 10000"/>
                <a:gd name="connsiteX781" fmla="*/ 9267 w 10785"/>
                <a:gd name="connsiteY781" fmla="*/ 3726 h 10000"/>
                <a:gd name="connsiteX782" fmla="*/ 9240 w 10785"/>
                <a:gd name="connsiteY782" fmla="*/ 3726 h 10000"/>
                <a:gd name="connsiteX783" fmla="*/ 9230 w 10785"/>
                <a:gd name="connsiteY783" fmla="*/ 3718 h 10000"/>
                <a:gd name="connsiteX784" fmla="*/ 9226 w 10785"/>
                <a:gd name="connsiteY784" fmla="*/ 3590 h 10000"/>
                <a:gd name="connsiteX785" fmla="*/ 9207 w 10785"/>
                <a:gd name="connsiteY785" fmla="*/ 3581 h 10000"/>
                <a:gd name="connsiteX786" fmla="*/ 9207 w 10785"/>
                <a:gd name="connsiteY786" fmla="*/ 3556 h 10000"/>
                <a:gd name="connsiteX787" fmla="*/ 9217 w 10785"/>
                <a:gd name="connsiteY787" fmla="*/ 3538 h 10000"/>
                <a:gd name="connsiteX788" fmla="*/ 9212 w 10785"/>
                <a:gd name="connsiteY788" fmla="*/ 3538 h 10000"/>
                <a:gd name="connsiteX789" fmla="*/ 9198 w 10785"/>
                <a:gd name="connsiteY789" fmla="*/ 3513 h 10000"/>
                <a:gd name="connsiteX790" fmla="*/ 9194 w 10785"/>
                <a:gd name="connsiteY790" fmla="*/ 3530 h 10000"/>
                <a:gd name="connsiteX791" fmla="*/ 9143 w 10785"/>
                <a:gd name="connsiteY791" fmla="*/ 3615 h 10000"/>
                <a:gd name="connsiteX792" fmla="*/ 9138 w 10785"/>
                <a:gd name="connsiteY792" fmla="*/ 3615 h 10000"/>
                <a:gd name="connsiteX793" fmla="*/ 9134 w 10785"/>
                <a:gd name="connsiteY793" fmla="*/ 3615 h 10000"/>
                <a:gd name="connsiteX794" fmla="*/ 9106 w 10785"/>
                <a:gd name="connsiteY794" fmla="*/ 3615 h 10000"/>
                <a:gd name="connsiteX795" fmla="*/ 9078 w 10785"/>
                <a:gd name="connsiteY795" fmla="*/ 3590 h 10000"/>
                <a:gd name="connsiteX796" fmla="*/ 9037 w 10785"/>
                <a:gd name="connsiteY796" fmla="*/ 3581 h 10000"/>
                <a:gd name="connsiteX797" fmla="*/ 9023 w 10785"/>
                <a:gd name="connsiteY797" fmla="*/ 3590 h 10000"/>
                <a:gd name="connsiteX798" fmla="*/ 9018 w 10785"/>
                <a:gd name="connsiteY798" fmla="*/ 3590 h 10000"/>
                <a:gd name="connsiteX799" fmla="*/ 9018 w 10785"/>
                <a:gd name="connsiteY799" fmla="*/ 3590 h 10000"/>
                <a:gd name="connsiteX800" fmla="*/ 8991 w 10785"/>
                <a:gd name="connsiteY800" fmla="*/ 3590 h 10000"/>
                <a:gd name="connsiteX801" fmla="*/ 8972 w 10785"/>
                <a:gd name="connsiteY801" fmla="*/ 3581 h 10000"/>
                <a:gd name="connsiteX802" fmla="*/ 8959 w 10785"/>
                <a:gd name="connsiteY802" fmla="*/ 3513 h 10000"/>
                <a:gd name="connsiteX803" fmla="*/ 8931 w 10785"/>
                <a:gd name="connsiteY803" fmla="*/ 3538 h 10000"/>
                <a:gd name="connsiteX804" fmla="*/ 8889 w 10785"/>
                <a:gd name="connsiteY804" fmla="*/ 3538 h 10000"/>
                <a:gd name="connsiteX805" fmla="*/ 8871 w 10785"/>
                <a:gd name="connsiteY805" fmla="*/ 3556 h 10000"/>
                <a:gd name="connsiteX806" fmla="*/ 8857 w 10785"/>
                <a:gd name="connsiteY806" fmla="*/ 3538 h 10000"/>
                <a:gd name="connsiteX807" fmla="*/ 8843 w 10785"/>
                <a:gd name="connsiteY807" fmla="*/ 3538 h 10000"/>
                <a:gd name="connsiteX808" fmla="*/ 8839 w 10785"/>
                <a:gd name="connsiteY808" fmla="*/ 3556 h 10000"/>
                <a:gd name="connsiteX809" fmla="*/ 8839 w 10785"/>
                <a:gd name="connsiteY809" fmla="*/ 3581 h 10000"/>
                <a:gd name="connsiteX810" fmla="*/ 8825 w 10785"/>
                <a:gd name="connsiteY810" fmla="*/ 3564 h 10000"/>
                <a:gd name="connsiteX811" fmla="*/ 8825 w 10785"/>
                <a:gd name="connsiteY811" fmla="*/ 3615 h 10000"/>
                <a:gd name="connsiteX812" fmla="*/ 8802 w 10785"/>
                <a:gd name="connsiteY812" fmla="*/ 3598 h 10000"/>
                <a:gd name="connsiteX813" fmla="*/ 8797 w 10785"/>
                <a:gd name="connsiteY813" fmla="*/ 3641 h 10000"/>
                <a:gd name="connsiteX814" fmla="*/ 8783 w 10785"/>
                <a:gd name="connsiteY814" fmla="*/ 3667 h 10000"/>
                <a:gd name="connsiteX815" fmla="*/ 8779 w 10785"/>
                <a:gd name="connsiteY815" fmla="*/ 3650 h 10000"/>
                <a:gd name="connsiteX816" fmla="*/ 8779 w 10785"/>
                <a:gd name="connsiteY816" fmla="*/ 3615 h 10000"/>
                <a:gd name="connsiteX817" fmla="*/ 8770 w 10785"/>
                <a:gd name="connsiteY817" fmla="*/ 3590 h 10000"/>
                <a:gd name="connsiteX818" fmla="*/ 8765 w 10785"/>
                <a:gd name="connsiteY818" fmla="*/ 3598 h 10000"/>
                <a:gd name="connsiteX819" fmla="*/ 8756 w 10785"/>
                <a:gd name="connsiteY819" fmla="*/ 3590 h 10000"/>
                <a:gd name="connsiteX820" fmla="*/ 8737 w 10785"/>
                <a:gd name="connsiteY820" fmla="*/ 3556 h 10000"/>
                <a:gd name="connsiteX821" fmla="*/ 8724 w 10785"/>
                <a:gd name="connsiteY821" fmla="*/ 3538 h 10000"/>
                <a:gd name="connsiteX822" fmla="*/ 8696 w 10785"/>
                <a:gd name="connsiteY822" fmla="*/ 3538 h 10000"/>
                <a:gd name="connsiteX823" fmla="*/ 8691 w 10785"/>
                <a:gd name="connsiteY823" fmla="*/ 3513 h 10000"/>
                <a:gd name="connsiteX824" fmla="*/ 8668 w 10785"/>
                <a:gd name="connsiteY824" fmla="*/ 3504 h 10000"/>
                <a:gd name="connsiteX825" fmla="*/ 8668 w 10785"/>
                <a:gd name="connsiteY825" fmla="*/ 3487 h 10000"/>
                <a:gd name="connsiteX826" fmla="*/ 8691 w 10785"/>
                <a:gd name="connsiteY826" fmla="*/ 3350 h 10000"/>
                <a:gd name="connsiteX827" fmla="*/ 8691 w 10785"/>
                <a:gd name="connsiteY827" fmla="*/ 3291 h 10000"/>
                <a:gd name="connsiteX828" fmla="*/ 8677 w 10785"/>
                <a:gd name="connsiteY828" fmla="*/ 3239 h 10000"/>
                <a:gd name="connsiteX829" fmla="*/ 8677 w 10785"/>
                <a:gd name="connsiteY829" fmla="*/ 3231 h 10000"/>
                <a:gd name="connsiteX830" fmla="*/ 8636 w 10785"/>
                <a:gd name="connsiteY830" fmla="*/ 3128 h 10000"/>
                <a:gd name="connsiteX831" fmla="*/ 8622 w 10785"/>
                <a:gd name="connsiteY831" fmla="*/ 3120 h 10000"/>
                <a:gd name="connsiteX832" fmla="*/ 8618 w 10785"/>
                <a:gd name="connsiteY832" fmla="*/ 3094 h 10000"/>
                <a:gd name="connsiteX833" fmla="*/ 8594 w 10785"/>
                <a:gd name="connsiteY833" fmla="*/ 3077 h 10000"/>
                <a:gd name="connsiteX834" fmla="*/ 8548 w 10785"/>
                <a:gd name="connsiteY834" fmla="*/ 3077 h 10000"/>
                <a:gd name="connsiteX835" fmla="*/ 8535 w 10785"/>
                <a:gd name="connsiteY835" fmla="*/ 3068 h 10000"/>
                <a:gd name="connsiteX836" fmla="*/ 8429 w 10785"/>
                <a:gd name="connsiteY836" fmla="*/ 3077 h 10000"/>
                <a:gd name="connsiteX837" fmla="*/ 8424 w 10785"/>
                <a:gd name="connsiteY837" fmla="*/ 3077 h 10000"/>
                <a:gd name="connsiteX838" fmla="*/ 8396 w 10785"/>
                <a:gd name="connsiteY838" fmla="*/ 3077 h 10000"/>
                <a:gd name="connsiteX839" fmla="*/ 8387 w 10785"/>
                <a:gd name="connsiteY839" fmla="*/ 3094 h 10000"/>
                <a:gd name="connsiteX840" fmla="*/ 8378 w 10785"/>
                <a:gd name="connsiteY840" fmla="*/ 3094 h 10000"/>
                <a:gd name="connsiteX841" fmla="*/ 8341 w 10785"/>
                <a:gd name="connsiteY841" fmla="*/ 3077 h 10000"/>
                <a:gd name="connsiteX842" fmla="*/ 8336 w 10785"/>
                <a:gd name="connsiteY842" fmla="*/ 3077 h 10000"/>
                <a:gd name="connsiteX843" fmla="*/ 8327 w 10785"/>
                <a:gd name="connsiteY843" fmla="*/ 3103 h 10000"/>
                <a:gd name="connsiteX844" fmla="*/ 8309 w 10785"/>
                <a:gd name="connsiteY844" fmla="*/ 3120 h 10000"/>
                <a:gd name="connsiteX845" fmla="*/ 8304 w 10785"/>
                <a:gd name="connsiteY845" fmla="*/ 3103 h 10000"/>
                <a:gd name="connsiteX846" fmla="*/ 8276 w 10785"/>
                <a:gd name="connsiteY846" fmla="*/ 3103 h 10000"/>
                <a:gd name="connsiteX847" fmla="*/ 8267 w 10785"/>
                <a:gd name="connsiteY847" fmla="*/ 3120 h 10000"/>
                <a:gd name="connsiteX848" fmla="*/ 8253 w 10785"/>
                <a:gd name="connsiteY848" fmla="*/ 3103 h 10000"/>
                <a:gd name="connsiteX849" fmla="*/ 8230 w 10785"/>
                <a:gd name="connsiteY849" fmla="*/ 3128 h 10000"/>
                <a:gd name="connsiteX850" fmla="*/ 8217 w 10785"/>
                <a:gd name="connsiteY850" fmla="*/ 3128 h 10000"/>
                <a:gd name="connsiteX851" fmla="*/ 8203 w 10785"/>
                <a:gd name="connsiteY851" fmla="*/ 3154 h 10000"/>
                <a:gd name="connsiteX852" fmla="*/ 8175 w 10785"/>
                <a:gd name="connsiteY852" fmla="*/ 3094 h 10000"/>
                <a:gd name="connsiteX853" fmla="*/ 8161 w 10785"/>
                <a:gd name="connsiteY853" fmla="*/ 3094 h 10000"/>
                <a:gd name="connsiteX854" fmla="*/ 8157 w 10785"/>
                <a:gd name="connsiteY854" fmla="*/ 3077 h 10000"/>
                <a:gd name="connsiteX855" fmla="*/ 8180 w 10785"/>
                <a:gd name="connsiteY855" fmla="*/ 3068 h 10000"/>
                <a:gd name="connsiteX856" fmla="*/ 8189 w 10785"/>
                <a:gd name="connsiteY856" fmla="*/ 3043 h 10000"/>
                <a:gd name="connsiteX857" fmla="*/ 8189 w 10785"/>
                <a:gd name="connsiteY857" fmla="*/ 3017 h 10000"/>
                <a:gd name="connsiteX858" fmla="*/ 8147 w 10785"/>
                <a:gd name="connsiteY858" fmla="*/ 2940 h 10000"/>
                <a:gd name="connsiteX859" fmla="*/ 8143 w 10785"/>
                <a:gd name="connsiteY859" fmla="*/ 2915 h 10000"/>
                <a:gd name="connsiteX860" fmla="*/ 8143 w 10785"/>
                <a:gd name="connsiteY860" fmla="*/ 2906 h 10000"/>
                <a:gd name="connsiteX861" fmla="*/ 8097 w 10785"/>
                <a:gd name="connsiteY861" fmla="*/ 2932 h 10000"/>
                <a:gd name="connsiteX862" fmla="*/ 8083 w 10785"/>
                <a:gd name="connsiteY862" fmla="*/ 2932 h 10000"/>
                <a:gd name="connsiteX863" fmla="*/ 8074 w 10785"/>
                <a:gd name="connsiteY863" fmla="*/ 2906 h 10000"/>
                <a:gd name="connsiteX864" fmla="*/ 8074 w 10785"/>
                <a:gd name="connsiteY864" fmla="*/ 2897 h 10000"/>
                <a:gd name="connsiteX865" fmla="*/ 8055 w 10785"/>
                <a:gd name="connsiteY865" fmla="*/ 2872 h 10000"/>
                <a:gd name="connsiteX866" fmla="*/ 8046 w 10785"/>
                <a:gd name="connsiteY866" fmla="*/ 2829 h 10000"/>
                <a:gd name="connsiteX867" fmla="*/ 8041 w 10785"/>
                <a:gd name="connsiteY867" fmla="*/ 2829 h 10000"/>
                <a:gd name="connsiteX868" fmla="*/ 8023 w 10785"/>
                <a:gd name="connsiteY868" fmla="*/ 2803 h 10000"/>
                <a:gd name="connsiteX869" fmla="*/ 8014 w 10785"/>
                <a:gd name="connsiteY869" fmla="*/ 2829 h 10000"/>
                <a:gd name="connsiteX870" fmla="*/ 8000 w 10785"/>
                <a:gd name="connsiteY870" fmla="*/ 2829 h 10000"/>
                <a:gd name="connsiteX871" fmla="*/ 7995 w 10785"/>
                <a:gd name="connsiteY871" fmla="*/ 2821 h 10000"/>
                <a:gd name="connsiteX872" fmla="*/ 7972 w 10785"/>
                <a:gd name="connsiteY872" fmla="*/ 2803 h 10000"/>
                <a:gd name="connsiteX873" fmla="*/ 7968 w 10785"/>
                <a:gd name="connsiteY873" fmla="*/ 2821 h 10000"/>
                <a:gd name="connsiteX874" fmla="*/ 7968 w 10785"/>
                <a:gd name="connsiteY874" fmla="*/ 2803 h 10000"/>
                <a:gd name="connsiteX875" fmla="*/ 7995 w 10785"/>
                <a:gd name="connsiteY875" fmla="*/ 2735 h 10000"/>
                <a:gd name="connsiteX876" fmla="*/ 8000 w 10785"/>
                <a:gd name="connsiteY876" fmla="*/ 2735 h 10000"/>
                <a:gd name="connsiteX877" fmla="*/ 8014 w 10785"/>
                <a:gd name="connsiteY877" fmla="*/ 2744 h 10000"/>
                <a:gd name="connsiteX878" fmla="*/ 8023 w 10785"/>
                <a:gd name="connsiteY878" fmla="*/ 2769 h 10000"/>
                <a:gd name="connsiteX879" fmla="*/ 8032 w 10785"/>
                <a:gd name="connsiteY879" fmla="*/ 2744 h 10000"/>
                <a:gd name="connsiteX880" fmla="*/ 8032 w 10785"/>
                <a:gd name="connsiteY880" fmla="*/ 2709 h 10000"/>
                <a:gd name="connsiteX881" fmla="*/ 8023 w 10785"/>
                <a:gd name="connsiteY881" fmla="*/ 2632 h 10000"/>
                <a:gd name="connsiteX882" fmla="*/ 7986 w 10785"/>
                <a:gd name="connsiteY882" fmla="*/ 2581 h 10000"/>
                <a:gd name="connsiteX883" fmla="*/ 7968 w 10785"/>
                <a:gd name="connsiteY883" fmla="*/ 2581 h 10000"/>
                <a:gd name="connsiteX884" fmla="*/ 7963 w 10785"/>
                <a:gd name="connsiteY884" fmla="*/ 2556 h 10000"/>
                <a:gd name="connsiteX885" fmla="*/ 7935 w 10785"/>
                <a:gd name="connsiteY885" fmla="*/ 2547 h 10000"/>
                <a:gd name="connsiteX886" fmla="*/ 7912 w 10785"/>
                <a:gd name="connsiteY886" fmla="*/ 2547 h 10000"/>
                <a:gd name="connsiteX887" fmla="*/ 7912 w 10785"/>
                <a:gd name="connsiteY887" fmla="*/ 2556 h 10000"/>
                <a:gd name="connsiteX888" fmla="*/ 7908 w 10785"/>
                <a:gd name="connsiteY888" fmla="*/ 2547 h 10000"/>
                <a:gd name="connsiteX889" fmla="*/ 7862 w 10785"/>
                <a:gd name="connsiteY889" fmla="*/ 2547 h 10000"/>
                <a:gd name="connsiteX890" fmla="*/ 7848 w 10785"/>
                <a:gd name="connsiteY890" fmla="*/ 2556 h 10000"/>
                <a:gd name="connsiteX891" fmla="*/ 7820 w 10785"/>
                <a:gd name="connsiteY891" fmla="*/ 2547 h 10000"/>
                <a:gd name="connsiteX892" fmla="*/ 7806 w 10785"/>
                <a:gd name="connsiteY892" fmla="*/ 2513 h 10000"/>
                <a:gd name="connsiteX893" fmla="*/ 7788 w 10785"/>
                <a:gd name="connsiteY893" fmla="*/ 2513 h 10000"/>
                <a:gd name="connsiteX894" fmla="*/ 7760 w 10785"/>
                <a:gd name="connsiteY894" fmla="*/ 2470 h 10000"/>
                <a:gd name="connsiteX895" fmla="*/ 7751 w 10785"/>
                <a:gd name="connsiteY895" fmla="*/ 2470 h 10000"/>
                <a:gd name="connsiteX896" fmla="*/ 7705 w 10785"/>
                <a:gd name="connsiteY896" fmla="*/ 2462 h 10000"/>
                <a:gd name="connsiteX897" fmla="*/ 7673 w 10785"/>
                <a:gd name="connsiteY897" fmla="*/ 2419 h 10000"/>
                <a:gd name="connsiteX898" fmla="*/ 7627 w 10785"/>
                <a:gd name="connsiteY898" fmla="*/ 2419 h 10000"/>
                <a:gd name="connsiteX899" fmla="*/ 7613 w 10785"/>
                <a:gd name="connsiteY899" fmla="*/ 2410 h 10000"/>
                <a:gd name="connsiteX900" fmla="*/ 7493 w 10785"/>
                <a:gd name="connsiteY900" fmla="*/ 2393 h 10000"/>
                <a:gd name="connsiteX901" fmla="*/ 7479 w 10785"/>
                <a:gd name="connsiteY901" fmla="*/ 2385 h 10000"/>
                <a:gd name="connsiteX902" fmla="*/ 7479 w 10785"/>
                <a:gd name="connsiteY902" fmla="*/ 2376 h 10000"/>
                <a:gd name="connsiteX903" fmla="*/ 7465 w 10785"/>
                <a:gd name="connsiteY903" fmla="*/ 2359 h 10000"/>
                <a:gd name="connsiteX904" fmla="*/ 7447 w 10785"/>
                <a:gd name="connsiteY904" fmla="*/ 2350 h 10000"/>
                <a:gd name="connsiteX905" fmla="*/ 7433 w 10785"/>
                <a:gd name="connsiteY905" fmla="*/ 2376 h 10000"/>
                <a:gd name="connsiteX906" fmla="*/ 7433 w 10785"/>
                <a:gd name="connsiteY906" fmla="*/ 2385 h 10000"/>
                <a:gd name="connsiteX907" fmla="*/ 7447 w 10785"/>
                <a:gd name="connsiteY907" fmla="*/ 2410 h 10000"/>
                <a:gd name="connsiteX908" fmla="*/ 7447 w 10785"/>
                <a:gd name="connsiteY908" fmla="*/ 2436 h 10000"/>
                <a:gd name="connsiteX909" fmla="*/ 7452 w 10785"/>
                <a:gd name="connsiteY909" fmla="*/ 2462 h 10000"/>
                <a:gd name="connsiteX910" fmla="*/ 7447 w 10785"/>
                <a:gd name="connsiteY910" fmla="*/ 2470 h 10000"/>
                <a:gd name="connsiteX911" fmla="*/ 7424 w 10785"/>
                <a:gd name="connsiteY911" fmla="*/ 2513 h 10000"/>
                <a:gd name="connsiteX912" fmla="*/ 7419 w 10785"/>
                <a:gd name="connsiteY912" fmla="*/ 2556 h 10000"/>
                <a:gd name="connsiteX913" fmla="*/ 7406 w 10785"/>
                <a:gd name="connsiteY913" fmla="*/ 2624 h 10000"/>
                <a:gd name="connsiteX914" fmla="*/ 7392 w 10785"/>
                <a:gd name="connsiteY914" fmla="*/ 2624 h 10000"/>
                <a:gd name="connsiteX915" fmla="*/ 7373 w 10785"/>
                <a:gd name="connsiteY915" fmla="*/ 2650 h 10000"/>
                <a:gd name="connsiteX916" fmla="*/ 7364 w 10785"/>
                <a:gd name="connsiteY916" fmla="*/ 2684 h 10000"/>
                <a:gd name="connsiteX917" fmla="*/ 7364 w 10785"/>
                <a:gd name="connsiteY917" fmla="*/ 2692 h 10000"/>
                <a:gd name="connsiteX918" fmla="*/ 7373 w 10785"/>
                <a:gd name="connsiteY918" fmla="*/ 2718 h 10000"/>
                <a:gd name="connsiteX919" fmla="*/ 7373 w 10785"/>
                <a:gd name="connsiteY919" fmla="*/ 2744 h 10000"/>
                <a:gd name="connsiteX920" fmla="*/ 7359 w 10785"/>
                <a:gd name="connsiteY920" fmla="*/ 2744 h 10000"/>
                <a:gd name="connsiteX921" fmla="*/ 7359 w 10785"/>
                <a:gd name="connsiteY921" fmla="*/ 2795 h 10000"/>
                <a:gd name="connsiteX922" fmla="*/ 7364 w 10785"/>
                <a:gd name="connsiteY922" fmla="*/ 2821 h 10000"/>
                <a:gd name="connsiteX923" fmla="*/ 7378 w 10785"/>
                <a:gd name="connsiteY923" fmla="*/ 2846 h 10000"/>
                <a:gd name="connsiteX924" fmla="*/ 7378 w 10785"/>
                <a:gd name="connsiteY924" fmla="*/ 2855 h 10000"/>
                <a:gd name="connsiteX925" fmla="*/ 7378 w 10785"/>
                <a:gd name="connsiteY925" fmla="*/ 2880 h 10000"/>
                <a:gd name="connsiteX926" fmla="*/ 7378 w 10785"/>
                <a:gd name="connsiteY926" fmla="*/ 2906 h 10000"/>
                <a:gd name="connsiteX927" fmla="*/ 7364 w 10785"/>
                <a:gd name="connsiteY927" fmla="*/ 2906 h 10000"/>
                <a:gd name="connsiteX928" fmla="*/ 7346 w 10785"/>
                <a:gd name="connsiteY928" fmla="*/ 2880 h 10000"/>
                <a:gd name="connsiteX929" fmla="*/ 7332 w 10785"/>
                <a:gd name="connsiteY929" fmla="*/ 2915 h 10000"/>
                <a:gd name="connsiteX930" fmla="*/ 7318 w 10785"/>
                <a:gd name="connsiteY930" fmla="*/ 2906 h 10000"/>
                <a:gd name="connsiteX931" fmla="*/ 7313 w 10785"/>
                <a:gd name="connsiteY931" fmla="*/ 2915 h 10000"/>
                <a:gd name="connsiteX932" fmla="*/ 7313 w 10785"/>
                <a:gd name="connsiteY932" fmla="*/ 2906 h 10000"/>
                <a:gd name="connsiteX933" fmla="*/ 7286 w 10785"/>
                <a:gd name="connsiteY933" fmla="*/ 2940 h 10000"/>
                <a:gd name="connsiteX934" fmla="*/ 7276 w 10785"/>
                <a:gd name="connsiteY934" fmla="*/ 2966 h 10000"/>
                <a:gd name="connsiteX935" fmla="*/ 7272 w 10785"/>
                <a:gd name="connsiteY935" fmla="*/ 2983 h 10000"/>
                <a:gd name="connsiteX936" fmla="*/ 7267 w 10785"/>
                <a:gd name="connsiteY936" fmla="*/ 3009 h 10000"/>
                <a:gd name="connsiteX937" fmla="*/ 7253 w 10785"/>
                <a:gd name="connsiteY937" fmla="*/ 3009 h 10000"/>
                <a:gd name="connsiteX938" fmla="*/ 7244 w 10785"/>
                <a:gd name="connsiteY938" fmla="*/ 3017 h 10000"/>
                <a:gd name="connsiteX939" fmla="*/ 7240 w 10785"/>
                <a:gd name="connsiteY939" fmla="*/ 3009 h 10000"/>
                <a:gd name="connsiteX940" fmla="*/ 7230 w 10785"/>
                <a:gd name="connsiteY940" fmla="*/ 2991 h 10000"/>
                <a:gd name="connsiteX941" fmla="*/ 7226 w 10785"/>
                <a:gd name="connsiteY941" fmla="*/ 2983 h 10000"/>
                <a:gd name="connsiteX942" fmla="*/ 7226 w 10785"/>
                <a:gd name="connsiteY942" fmla="*/ 2966 h 10000"/>
                <a:gd name="connsiteX943" fmla="*/ 7212 w 10785"/>
                <a:gd name="connsiteY943" fmla="*/ 2957 h 10000"/>
                <a:gd name="connsiteX944" fmla="*/ 7212 w 10785"/>
                <a:gd name="connsiteY944" fmla="*/ 2932 h 10000"/>
                <a:gd name="connsiteX945" fmla="*/ 7198 w 10785"/>
                <a:gd name="connsiteY945" fmla="*/ 2915 h 10000"/>
                <a:gd name="connsiteX946" fmla="*/ 7194 w 10785"/>
                <a:gd name="connsiteY946" fmla="*/ 2915 h 10000"/>
                <a:gd name="connsiteX947" fmla="*/ 7157 w 10785"/>
                <a:gd name="connsiteY947" fmla="*/ 2880 h 10000"/>
                <a:gd name="connsiteX948" fmla="*/ 7138 w 10785"/>
                <a:gd name="connsiteY948" fmla="*/ 2880 h 10000"/>
                <a:gd name="connsiteX949" fmla="*/ 7120 w 10785"/>
                <a:gd name="connsiteY949" fmla="*/ 2872 h 10000"/>
                <a:gd name="connsiteX950" fmla="*/ 7111 w 10785"/>
                <a:gd name="connsiteY950" fmla="*/ 2846 h 10000"/>
                <a:gd name="connsiteX951" fmla="*/ 7106 w 10785"/>
                <a:gd name="connsiteY951" fmla="*/ 2846 h 10000"/>
                <a:gd name="connsiteX952" fmla="*/ 7092 w 10785"/>
                <a:gd name="connsiteY952" fmla="*/ 2829 h 10000"/>
                <a:gd name="connsiteX953" fmla="*/ 7051 w 10785"/>
                <a:gd name="connsiteY953" fmla="*/ 2829 h 10000"/>
                <a:gd name="connsiteX954" fmla="*/ 7037 w 10785"/>
                <a:gd name="connsiteY954" fmla="*/ 2880 h 10000"/>
                <a:gd name="connsiteX955" fmla="*/ 7037 w 10785"/>
                <a:gd name="connsiteY955" fmla="*/ 2906 h 10000"/>
                <a:gd name="connsiteX956" fmla="*/ 7037 w 10785"/>
                <a:gd name="connsiteY956" fmla="*/ 2932 h 10000"/>
                <a:gd name="connsiteX957" fmla="*/ 7037 w 10785"/>
                <a:gd name="connsiteY957" fmla="*/ 2940 h 10000"/>
                <a:gd name="connsiteX958" fmla="*/ 7023 w 10785"/>
                <a:gd name="connsiteY958" fmla="*/ 2906 h 10000"/>
                <a:gd name="connsiteX959" fmla="*/ 7023 w 10785"/>
                <a:gd name="connsiteY959" fmla="*/ 2915 h 10000"/>
                <a:gd name="connsiteX960" fmla="*/ 6991 w 10785"/>
                <a:gd name="connsiteY960" fmla="*/ 2906 h 10000"/>
                <a:gd name="connsiteX961" fmla="*/ 6977 w 10785"/>
                <a:gd name="connsiteY961" fmla="*/ 2915 h 10000"/>
                <a:gd name="connsiteX962" fmla="*/ 6963 w 10785"/>
                <a:gd name="connsiteY962" fmla="*/ 2915 h 10000"/>
                <a:gd name="connsiteX963" fmla="*/ 6949 w 10785"/>
                <a:gd name="connsiteY963" fmla="*/ 2872 h 10000"/>
                <a:gd name="connsiteX964" fmla="*/ 6935 w 10785"/>
                <a:gd name="connsiteY964" fmla="*/ 2855 h 10000"/>
                <a:gd name="connsiteX965" fmla="*/ 6922 w 10785"/>
                <a:gd name="connsiteY965" fmla="*/ 2803 h 10000"/>
                <a:gd name="connsiteX966" fmla="*/ 6917 w 10785"/>
                <a:gd name="connsiteY966" fmla="*/ 2786 h 10000"/>
                <a:gd name="connsiteX967" fmla="*/ 6903 w 10785"/>
                <a:gd name="connsiteY967" fmla="*/ 2709 h 10000"/>
                <a:gd name="connsiteX968" fmla="*/ 6903 w 10785"/>
                <a:gd name="connsiteY968" fmla="*/ 2692 h 10000"/>
                <a:gd name="connsiteX969" fmla="*/ 6899 w 10785"/>
                <a:gd name="connsiteY969" fmla="*/ 2709 h 10000"/>
                <a:gd name="connsiteX970" fmla="*/ 6857 w 10785"/>
                <a:gd name="connsiteY970" fmla="*/ 2872 h 10000"/>
                <a:gd name="connsiteX971" fmla="*/ 6857 w 10785"/>
                <a:gd name="connsiteY971" fmla="*/ 3009 h 10000"/>
                <a:gd name="connsiteX972" fmla="*/ 6848 w 10785"/>
                <a:gd name="connsiteY972" fmla="*/ 3017 h 10000"/>
                <a:gd name="connsiteX973" fmla="*/ 6839 w 10785"/>
                <a:gd name="connsiteY973" fmla="*/ 3068 h 10000"/>
                <a:gd name="connsiteX974" fmla="*/ 6829 w 10785"/>
                <a:gd name="connsiteY974" fmla="*/ 3077 h 10000"/>
                <a:gd name="connsiteX975" fmla="*/ 6829 w 10785"/>
                <a:gd name="connsiteY975" fmla="*/ 3128 h 10000"/>
                <a:gd name="connsiteX976" fmla="*/ 6816 w 10785"/>
                <a:gd name="connsiteY976" fmla="*/ 3154 h 10000"/>
                <a:gd name="connsiteX977" fmla="*/ 6811 w 10785"/>
                <a:gd name="connsiteY977" fmla="*/ 3179 h 10000"/>
                <a:gd name="connsiteX978" fmla="*/ 6797 w 10785"/>
                <a:gd name="connsiteY978" fmla="*/ 3171 h 10000"/>
                <a:gd name="connsiteX979" fmla="*/ 6783 w 10785"/>
                <a:gd name="connsiteY979" fmla="*/ 3103 h 10000"/>
                <a:gd name="connsiteX980" fmla="*/ 6779 w 10785"/>
                <a:gd name="connsiteY980" fmla="*/ 3094 h 10000"/>
                <a:gd name="connsiteX981" fmla="*/ 6779 w 10785"/>
                <a:gd name="connsiteY981" fmla="*/ 3120 h 10000"/>
                <a:gd name="connsiteX982" fmla="*/ 6770 w 10785"/>
                <a:gd name="connsiteY982" fmla="*/ 3128 h 10000"/>
                <a:gd name="connsiteX983" fmla="*/ 6765 w 10785"/>
                <a:gd name="connsiteY983" fmla="*/ 3103 h 10000"/>
                <a:gd name="connsiteX984" fmla="*/ 6756 w 10785"/>
                <a:gd name="connsiteY984" fmla="*/ 3103 h 10000"/>
                <a:gd name="connsiteX985" fmla="*/ 6742 w 10785"/>
                <a:gd name="connsiteY985" fmla="*/ 3103 h 10000"/>
                <a:gd name="connsiteX986" fmla="*/ 6737 w 10785"/>
                <a:gd name="connsiteY986" fmla="*/ 3077 h 10000"/>
                <a:gd name="connsiteX987" fmla="*/ 6737 w 10785"/>
                <a:gd name="connsiteY987" fmla="*/ 3068 h 10000"/>
                <a:gd name="connsiteX988" fmla="*/ 6728 w 10785"/>
                <a:gd name="connsiteY988" fmla="*/ 3043 h 10000"/>
                <a:gd name="connsiteX989" fmla="*/ 6724 w 10785"/>
                <a:gd name="connsiteY989" fmla="*/ 3051 h 10000"/>
                <a:gd name="connsiteX990" fmla="*/ 6714 w 10785"/>
                <a:gd name="connsiteY990" fmla="*/ 3043 h 10000"/>
                <a:gd name="connsiteX991" fmla="*/ 6710 w 10785"/>
                <a:gd name="connsiteY991" fmla="*/ 3034 h 10000"/>
                <a:gd name="connsiteX992" fmla="*/ 6705 w 10785"/>
                <a:gd name="connsiteY992" fmla="*/ 2983 h 10000"/>
                <a:gd name="connsiteX993" fmla="*/ 6696 w 10785"/>
                <a:gd name="connsiteY993" fmla="*/ 2966 h 10000"/>
                <a:gd name="connsiteX994" fmla="*/ 6691 w 10785"/>
                <a:gd name="connsiteY994" fmla="*/ 2983 h 10000"/>
                <a:gd name="connsiteX995" fmla="*/ 6677 w 10785"/>
                <a:gd name="connsiteY995" fmla="*/ 2897 h 10000"/>
                <a:gd name="connsiteX996" fmla="*/ 6677 w 10785"/>
                <a:gd name="connsiteY996" fmla="*/ 2897 h 10000"/>
                <a:gd name="connsiteX997" fmla="*/ 6677 w 10785"/>
                <a:gd name="connsiteY997" fmla="*/ 2872 h 10000"/>
                <a:gd name="connsiteX998" fmla="*/ 6668 w 10785"/>
                <a:gd name="connsiteY998" fmla="*/ 2821 h 10000"/>
                <a:gd name="connsiteX999" fmla="*/ 6664 w 10785"/>
                <a:gd name="connsiteY999" fmla="*/ 2829 h 10000"/>
                <a:gd name="connsiteX1000" fmla="*/ 6654 w 10785"/>
                <a:gd name="connsiteY1000" fmla="*/ 2846 h 10000"/>
                <a:gd name="connsiteX1001" fmla="*/ 6650 w 10785"/>
                <a:gd name="connsiteY1001" fmla="*/ 2829 h 10000"/>
                <a:gd name="connsiteX1002" fmla="*/ 6650 w 10785"/>
                <a:gd name="connsiteY1002" fmla="*/ 2803 h 10000"/>
                <a:gd name="connsiteX1003" fmla="*/ 6650 w 10785"/>
                <a:gd name="connsiteY1003" fmla="*/ 2795 h 10000"/>
                <a:gd name="connsiteX1004" fmla="*/ 6641 w 10785"/>
                <a:gd name="connsiteY1004" fmla="*/ 2786 h 10000"/>
                <a:gd name="connsiteX1005" fmla="*/ 6636 w 10785"/>
                <a:gd name="connsiteY1005" fmla="*/ 2735 h 10000"/>
                <a:gd name="connsiteX1006" fmla="*/ 6664 w 10785"/>
                <a:gd name="connsiteY1006" fmla="*/ 2667 h 10000"/>
                <a:gd name="connsiteX1007" fmla="*/ 6668 w 10785"/>
                <a:gd name="connsiteY1007" fmla="*/ 2684 h 10000"/>
                <a:gd name="connsiteX1008" fmla="*/ 6677 w 10785"/>
                <a:gd name="connsiteY1008" fmla="*/ 2667 h 10000"/>
                <a:gd name="connsiteX1009" fmla="*/ 6668 w 10785"/>
                <a:gd name="connsiteY1009" fmla="*/ 2667 h 10000"/>
                <a:gd name="connsiteX1010" fmla="*/ 6668 w 10785"/>
                <a:gd name="connsiteY1010" fmla="*/ 2650 h 10000"/>
                <a:gd name="connsiteX1011" fmla="*/ 6682 w 10785"/>
                <a:gd name="connsiteY1011" fmla="*/ 2650 h 10000"/>
                <a:gd name="connsiteX1012" fmla="*/ 6691 w 10785"/>
                <a:gd name="connsiteY1012" fmla="*/ 2624 h 10000"/>
                <a:gd name="connsiteX1013" fmla="*/ 6682 w 10785"/>
                <a:gd name="connsiteY1013" fmla="*/ 2632 h 10000"/>
                <a:gd name="connsiteX1014" fmla="*/ 6682 w 10785"/>
                <a:gd name="connsiteY1014" fmla="*/ 2624 h 10000"/>
                <a:gd name="connsiteX1015" fmla="*/ 6691 w 10785"/>
                <a:gd name="connsiteY1015" fmla="*/ 2607 h 10000"/>
                <a:gd name="connsiteX1016" fmla="*/ 6691 w 10785"/>
                <a:gd name="connsiteY1016" fmla="*/ 2598 h 10000"/>
                <a:gd name="connsiteX1017" fmla="*/ 6691 w 10785"/>
                <a:gd name="connsiteY1017" fmla="*/ 2581 h 10000"/>
                <a:gd name="connsiteX1018" fmla="*/ 6696 w 10785"/>
                <a:gd name="connsiteY1018" fmla="*/ 2530 h 10000"/>
                <a:gd name="connsiteX1019" fmla="*/ 6677 w 10785"/>
                <a:gd name="connsiteY1019" fmla="*/ 2513 h 10000"/>
                <a:gd name="connsiteX1020" fmla="*/ 6677 w 10785"/>
                <a:gd name="connsiteY1020" fmla="*/ 2496 h 10000"/>
                <a:gd name="connsiteX1021" fmla="*/ 6682 w 10785"/>
                <a:gd name="connsiteY1021" fmla="*/ 2470 h 10000"/>
                <a:gd name="connsiteX1022" fmla="*/ 6668 w 10785"/>
                <a:gd name="connsiteY1022" fmla="*/ 2462 h 10000"/>
                <a:gd name="connsiteX1023" fmla="*/ 6677 w 10785"/>
                <a:gd name="connsiteY1023" fmla="*/ 2436 h 10000"/>
                <a:gd name="connsiteX1024" fmla="*/ 6682 w 10785"/>
                <a:gd name="connsiteY1024" fmla="*/ 2419 h 10000"/>
                <a:gd name="connsiteX1025" fmla="*/ 6682 w 10785"/>
                <a:gd name="connsiteY1025" fmla="*/ 2393 h 10000"/>
                <a:gd name="connsiteX1026" fmla="*/ 6682 w 10785"/>
                <a:gd name="connsiteY1026" fmla="*/ 2385 h 10000"/>
                <a:gd name="connsiteX1027" fmla="*/ 6682 w 10785"/>
                <a:gd name="connsiteY1027" fmla="*/ 2385 h 10000"/>
                <a:gd name="connsiteX1028" fmla="*/ 6677 w 10785"/>
                <a:gd name="connsiteY1028" fmla="*/ 2376 h 10000"/>
                <a:gd name="connsiteX1029" fmla="*/ 6682 w 10785"/>
                <a:gd name="connsiteY1029" fmla="*/ 2359 h 10000"/>
                <a:gd name="connsiteX1030" fmla="*/ 6677 w 10785"/>
                <a:gd name="connsiteY1030" fmla="*/ 2333 h 10000"/>
                <a:gd name="connsiteX1031" fmla="*/ 6691 w 10785"/>
                <a:gd name="connsiteY1031" fmla="*/ 2333 h 10000"/>
                <a:gd name="connsiteX1032" fmla="*/ 6691 w 10785"/>
                <a:gd name="connsiteY1032" fmla="*/ 2325 h 10000"/>
                <a:gd name="connsiteX1033" fmla="*/ 6691 w 10785"/>
                <a:gd name="connsiteY1033" fmla="*/ 2308 h 10000"/>
                <a:gd name="connsiteX1034" fmla="*/ 6691 w 10785"/>
                <a:gd name="connsiteY1034" fmla="*/ 2299 h 10000"/>
                <a:gd name="connsiteX1035" fmla="*/ 6691 w 10785"/>
                <a:gd name="connsiteY1035" fmla="*/ 2282 h 10000"/>
                <a:gd name="connsiteX1036" fmla="*/ 6691 w 10785"/>
                <a:gd name="connsiteY1036" fmla="*/ 2274 h 10000"/>
                <a:gd name="connsiteX1037" fmla="*/ 6668 w 10785"/>
                <a:gd name="connsiteY1037" fmla="*/ 2248 h 10000"/>
                <a:gd name="connsiteX1038" fmla="*/ 6664 w 10785"/>
                <a:gd name="connsiteY1038" fmla="*/ 2222 h 10000"/>
                <a:gd name="connsiteX1039" fmla="*/ 6654 w 10785"/>
                <a:gd name="connsiteY1039" fmla="*/ 2214 h 10000"/>
                <a:gd name="connsiteX1040" fmla="*/ 6654 w 10785"/>
                <a:gd name="connsiteY1040" fmla="*/ 2188 h 10000"/>
                <a:gd name="connsiteX1041" fmla="*/ 6622 w 10785"/>
                <a:gd name="connsiteY1041" fmla="*/ 2162 h 10000"/>
                <a:gd name="connsiteX1042" fmla="*/ 6631 w 10785"/>
                <a:gd name="connsiteY1042" fmla="*/ 2145 h 10000"/>
                <a:gd name="connsiteX1043" fmla="*/ 6622 w 10785"/>
                <a:gd name="connsiteY1043" fmla="*/ 2120 h 10000"/>
                <a:gd name="connsiteX1044" fmla="*/ 6608 w 10785"/>
                <a:gd name="connsiteY1044" fmla="*/ 2120 h 10000"/>
                <a:gd name="connsiteX1045" fmla="*/ 6604 w 10785"/>
                <a:gd name="connsiteY1045" fmla="*/ 2111 h 10000"/>
                <a:gd name="connsiteX1046" fmla="*/ 6608 w 10785"/>
                <a:gd name="connsiteY1046" fmla="*/ 2111 h 10000"/>
                <a:gd name="connsiteX1047" fmla="*/ 6604 w 10785"/>
                <a:gd name="connsiteY1047" fmla="*/ 2085 h 10000"/>
                <a:gd name="connsiteX1048" fmla="*/ 6581 w 10785"/>
                <a:gd name="connsiteY1048" fmla="*/ 2077 h 10000"/>
                <a:gd name="connsiteX1049" fmla="*/ 6571 w 10785"/>
                <a:gd name="connsiteY1049" fmla="*/ 2085 h 10000"/>
                <a:gd name="connsiteX1050" fmla="*/ 6548 w 10785"/>
                <a:gd name="connsiteY1050" fmla="*/ 2077 h 10000"/>
                <a:gd name="connsiteX1051" fmla="*/ 6530 w 10785"/>
                <a:gd name="connsiteY1051" fmla="*/ 2060 h 10000"/>
                <a:gd name="connsiteX1052" fmla="*/ 6521 w 10785"/>
                <a:gd name="connsiteY1052" fmla="*/ 2060 h 10000"/>
                <a:gd name="connsiteX1053" fmla="*/ 6521 w 10785"/>
                <a:gd name="connsiteY1053" fmla="*/ 2085 h 10000"/>
                <a:gd name="connsiteX1054" fmla="*/ 6516 w 10785"/>
                <a:gd name="connsiteY1054" fmla="*/ 2085 h 10000"/>
                <a:gd name="connsiteX1055" fmla="*/ 6502 w 10785"/>
                <a:gd name="connsiteY1055" fmla="*/ 2111 h 10000"/>
                <a:gd name="connsiteX1056" fmla="*/ 6498 w 10785"/>
                <a:gd name="connsiteY1056" fmla="*/ 2111 h 10000"/>
                <a:gd name="connsiteX1057" fmla="*/ 6498 w 10785"/>
                <a:gd name="connsiteY1057" fmla="*/ 2103 h 10000"/>
                <a:gd name="connsiteX1058" fmla="*/ 6475 w 10785"/>
                <a:gd name="connsiteY1058" fmla="*/ 2051 h 10000"/>
                <a:gd name="connsiteX1059" fmla="*/ 6470 w 10785"/>
                <a:gd name="connsiteY1059" fmla="*/ 2060 h 10000"/>
                <a:gd name="connsiteX1060" fmla="*/ 6456 w 10785"/>
                <a:gd name="connsiteY1060" fmla="*/ 2051 h 10000"/>
                <a:gd name="connsiteX1061" fmla="*/ 6447 w 10785"/>
                <a:gd name="connsiteY1061" fmla="*/ 2051 h 10000"/>
                <a:gd name="connsiteX1062" fmla="*/ 6433 w 10785"/>
                <a:gd name="connsiteY1062" fmla="*/ 2026 h 10000"/>
                <a:gd name="connsiteX1063" fmla="*/ 6433 w 10785"/>
                <a:gd name="connsiteY1063" fmla="*/ 2034 h 10000"/>
                <a:gd name="connsiteX1064" fmla="*/ 6429 w 10785"/>
                <a:gd name="connsiteY1064" fmla="*/ 2026 h 10000"/>
                <a:gd name="connsiteX1065" fmla="*/ 6424 w 10785"/>
                <a:gd name="connsiteY1065" fmla="*/ 2034 h 10000"/>
                <a:gd name="connsiteX1066" fmla="*/ 6410 w 10785"/>
                <a:gd name="connsiteY1066" fmla="*/ 2026 h 10000"/>
                <a:gd name="connsiteX1067" fmla="*/ 6410 w 10785"/>
                <a:gd name="connsiteY1067" fmla="*/ 1991 h 10000"/>
                <a:gd name="connsiteX1068" fmla="*/ 6401 w 10785"/>
                <a:gd name="connsiteY1068" fmla="*/ 1991 h 10000"/>
                <a:gd name="connsiteX1069" fmla="*/ 6396 w 10785"/>
                <a:gd name="connsiteY1069" fmla="*/ 2000 h 10000"/>
                <a:gd name="connsiteX1070" fmla="*/ 6382 w 10785"/>
                <a:gd name="connsiteY1070" fmla="*/ 1966 h 10000"/>
                <a:gd name="connsiteX1071" fmla="*/ 6373 w 10785"/>
                <a:gd name="connsiteY1071" fmla="*/ 1974 h 10000"/>
                <a:gd name="connsiteX1072" fmla="*/ 6369 w 10785"/>
                <a:gd name="connsiteY1072" fmla="*/ 1966 h 10000"/>
                <a:gd name="connsiteX1073" fmla="*/ 6341 w 10785"/>
                <a:gd name="connsiteY1073" fmla="*/ 1949 h 10000"/>
                <a:gd name="connsiteX1074" fmla="*/ 6327 w 10785"/>
                <a:gd name="connsiteY1074" fmla="*/ 1923 h 10000"/>
                <a:gd name="connsiteX1075" fmla="*/ 6323 w 10785"/>
                <a:gd name="connsiteY1075" fmla="*/ 1923 h 10000"/>
                <a:gd name="connsiteX1076" fmla="*/ 6323 w 10785"/>
                <a:gd name="connsiteY1076" fmla="*/ 1966 h 10000"/>
                <a:gd name="connsiteX1077" fmla="*/ 6323 w 10785"/>
                <a:gd name="connsiteY1077" fmla="*/ 1991 h 10000"/>
                <a:gd name="connsiteX1078" fmla="*/ 6313 w 10785"/>
                <a:gd name="connsiteY1078" fmla="*/ 1991 h 10000"/>
                <a:gd name="connsiteX1079" fmla="*/ 6300 w 10785"/>
                <a:gd name="connsiteY1079" fmla="*/ 1991 h 10000"/>
                <a:gd name="connsiteX1080" fmla="*/ 6290 w 10785"/>
                <a:gd name="connsiteY1080" fmla="*/ 1949 h 10000"/>
                <a:gd name="connsiteX1081" fmla="*/ 6276 w 10785"/>
                <a:gd name="connsiteY1081" fmla="*/ 2103 h 10000"/>
                <a:gd name="connsiteX1082" fmla="*/ 6281 w 10785"/>
                <a:gd name="connsiteY1082" fmla="*/ 2103 h 10000"/>
                <a:gd name="connsiteX1083" fmla="*/ 6276 w 10785"/>
                <a:gd name="connsiteY1083" fmla="*/ 2111 h 10000"/>
                <a:gd name="connsiteX1084" fmla="*/ 6276 w 10785"/>
                <a:gd name="connsiteY1084" fmla="*/ 2120 h 10000"/>
                <a:gd name="connsiteX1085" fmla="*/ 6295 w 10785"/>
                <a:gd name="connsiteY1085" fmla="*/ 2239 h 10000"/>
                <a:gd name="connsiteX1086" fmla="*/ 6290 w 10785"/>
                <a:gd name="connsiteY1086" fmla="*/ 2248 h 10000"/>
                <a:gd name="connsiteX1087" fmla="*/ 6281 w 10785"/>
                <a:gd name="connsiteY1087" fmla="*/ 2274 h 10000"/>
                <a:gd name="connsiteX1088" fmla="*/ 6249 w 10785"/>
                <a:gd name="connsiteY1088" fmla="*/ 2274 h 10000"/>
                <a:gd name="connsiteX1089" fmla="*/ 6226 w 10785"/>
                <a:gd name="connsiteY1089" fmla="*/ 2308 h 10000"/>
                <a:gd name="connsiteX1090" fmla="*/ 6221 w 10785"/>
                <a:gd name="connsiteY1090" fmla="*/ 2299 h 10000"/>
                <a:gd name="connsiteX1091" fmla="*/ 6221 w 10785"/>
                <a:gd name="connsiteY1091" fmla="*/ 2308 h 10000"/>
                <a:gd name="connsiteX1092" fmla="*/ 6217 w 10785"/>
                <a:gd name="connsiteY1092" fmla="*/ 2299 h 10000"/>
                <a:gd name="connsiteX1093" fmla="*/ 6194 w 10785"/>
                <a:gd name="connsiteY1093" fmla="*/ 2308 h 10000"/>
                <a:gd name="connsiteX1094" fmla="*/ 6180 w 10785"/>
                <a:gd name="connsiteY1094" fmla="*/ 2299 h 10000"/>
                <a:gd name="connsiteX1095" fmla="*/ 6143 w 10785"/>
                <a:gd name="connsiteY1095" fmla="*/ 2308 h 10000"/>
                <a:gd name="connsiteX1096" fmla="*/ 6134 w 10785"/>
                <a:gd name="connsiteY1096" fmla="*/ 2325 h 10000"/>
                <a:gd name="connsiteX1097" fmla="*/ 6115 w 10785"/>
                <a:gd name="connsiteY1097" fmla="*/ 2282 h 10000"/>
                <a:gd name="connsiteX1098" fmla="*/ 6069 w 10785"/>
                <a:gd name="connsiteY1098" fmla="*/ 2274 h 10000"/>
                <a:gd name="connsiteX1099" fmla="*/ 6069 w 10785"/>
                <a:gd name="connsiteY1099" fmla="*/ 2282 h 10000"/>
                <a:gd name="connsiteX1100" fmla="*/ 6060 w 10785"/>
                <a:gd name="connsiteY1100" fmla="*/ 2299 h 10000"/>
                <a:gd name="connsiteX1101" fmla="*/ 5972 w 10785"/>
                <a:gd name="connsiteY1101" fmla="*/ 2214 h 10000"/>
                <a:gd name="connsiteX1102" fmla="*/ 5968 w 10785"/>
                <a:gd name="connsiteY1102" fmla="*/ 2197 h 10000"/>
                <a:gd name="connsiteX1103" fmla="*/ 5968 w 10785"/>
                <a:gd name="connsiteY1103" fmla="*/ 2171 h 10000"/>
                <a:gd name="connsiteX1104" fmla="*/ 5968 w 10785"/>
                <a:gd name="connsiteY1104" fmla="*/ 2162 h 10000"/>
                <a:gd name="connsiteX1105" fmla="*/ 5968 w 10785"/>
                <a:gd name="connsiteY1105" fmla="*/ 2120 h 10000"/>
                <a:gd name="connsiteX1106" fmla="*/ 5968 w 10785"/>
                <a:gd name="connsiteY1106" fmla="*/ 2111 h 10000"/>
                <a:gd name="connsiteX1107" fmla="*/ 5972 w 10785"/>
                <a:gd name="connsiteY1107" fmla="*/ 2103 h 10000"/>
                <a:gd name="connsiteX1108" fmla="*/ 5986 w 10785"/>
                <a:gd name="connsiteY1108" fmla="*/ 2103 h 10000"/>
                <a:gd name="connsiteX1109" fmla="*/ 5986 w 10785"/>
                <a:gd name="connsiteY1109" fmla="*/ 2085 h 10000"/>
                <a:gd name="connsiteX1110" fmla="*/ 5995 w 10785"/>
                <a:gd name="connsiteY1110" fmla="*/ 2085 h 10000"/>
                <a:gd name="connsiteX1111" fmla="*/ 5995 w 10785"/>
                <a:gd name="connsiteY1111" fmla="*/ 2077 h 10000"/>
                <a:gd name="connsiteX1112" fmla="*/ 5986 w 10785"/>
                <a:gd name="connsiteY1112" fmla="*/ 2060 h 10000"/>
                <a:gd name="connsiteX1113" fmla="*/ 5954 w 10785"/>
                <a:gd name="connsiteY1113" fmla="*/ 2060 h 10000"/>
                <a:gd name="connsiteX1114" fmla="*/ 5940 w 10785"/>
                <a:gd name="connsiteY1114" fmla="*/ 2051 h 10000"/>
                <a:gd name="connsiteX1115" fmla="*/ 5922 w 10785"/>
                <a:gd name="connsiteY1115" fmla="*/ 2060 h 10000"/>
                <a:gd name="connsiteX1116" fmla="*/ 5885 w 10785"/>
                <a:gd name="connsiteY1116" fmla="*/ 2051 h 10000"/>
                <a:gd name="connsiteX1117" fmla="*/ 5876 w 10785"/>
                <a:gd name="connsiteY1117" fmla="*/ 2026 h 10000"/>
                <a:gd name="connsiteX1118" fmla="*/ 5862 w 10785"/>
                <a:gd name="connsiteY1118" fmla="*/ 2026 h 10000"/>
                <a:gd name="connsiteX1119" fmla="*/ 5848 w 10785"/>
                <a:gd name="connsiteY1119" fmla="*/ 2026 h 10000"/>
                <a:gd name="connsiteX1120" fmla="*/ 5825 w 10785"/>
                <a:gd name="connsiteY1120" fmla="*/ 2026 h 10000"/>
                <a:gd name="connsiteX1121" fmla="*/ 5788 w 10785"/>
                <a:gd name="connsiteY1121" fmla="*/ 1991 h 10000"/>
                <a:gd name="connsiteX1122" fmla="*/ 5760 w 10785"/>
                <a:gd name="connsiteY1122" fmla="*/ 2000 h 10000"/>
                <a:gd name="connsiteX1123" fmla="*/ 5760 w 10785"/>
                <a:gd name="connsiteY1123" fmla="*/ 2026 h 10000"/>
                <a:gd name="connsiteX1124" fmla="*/ 5714 w 10785"/>
                <a:gd name="connsiteY1124" fmla="*/ 2051 h 10000"/>
                <a:gd name="connsiteX1125" fmla="*/ 5687 w 10785"/>
                <a:gd name="connsiteY1125" fmla="*/ 2034 h 10000"/>
                <a:gd name="connsiteX1126" fmla="*/ 5645 w 10785"/>
                <a:gd name="connsiteY1126" fmla="*/ 2077 h 10000"/>
                <a:gd name="connsiteX1127" fmla="*/ 5664 w 10785"/>
                <a:gd name="connsiteY1127" fmla="*/ 2120 h 10000"/>
                <a:gd name="connsiteX1128" fmla="*/ 5664 w 10785"/>
                <a:gd name="connsiteY1128" fmla="*/ 2162 h 10000"/>
                <a:gd name="connsiteX1129" fmla="*/ 5631 w 10785"/>
                <a:gd name="connsiteY1129" fmla="*/ 2197 h 10000"/>
                <a:gd name="connsiteX1130" fmla="*/ 5618 w 10785"/>
                <a:gd name="connsiteY1130" fmla="*/ 2188 h 10000"/>
                <a:gd name="connsiteX1131" fmla="*/ 5618 w 10785"/>
                <a:gd name="connsiteY1131" fmla="*/ 2171 h 10000"/>
                <a:gd name="connsiteX1132" fmla="*/ 5641 w 10785"/>
                <a:gd name="connsiteY1132" fmla="*/ 2171 h 10000"/>
                <a:gd name="connsiteX1133" fmla="*/ 5641 w 10785"/>
                <a:gd name="connsiteY1133" fmla="*/ 2162 h 10000"/>
                <a:gd name="connsiteX1134" fmla="*/ 5627 w 10785"/>
                <a:gd name="connsiteY1134" fmla="*/ 2145 h 10000"/>
                <a:gd name="connsiteX1135" fmla="*/ 5627 w 10785"/>
                <a:gd name="connsiteY1135" fmla="*/ 2120 h 10000"/>
                <a:gd name="connsiteX1136" fmla="*/ 5618 w 10785"/>
                <a:gd name="connsiteY1136" fmla="*/ 2111 h 10000"/>
                <a:gd name="connsiteX1137" fmla="*/ 5631 w 10785"/>
                <a:gd name="connsiteY1137" fmla="*/ 2051 h 10000"/>
                <a:gd name="connsiteX1138" fmla="*/ 5631 w 10785"/>
                <a:gd name="connsiteY1138" fmla="*/ 2026 h 10000"/>
                <a:gd name="connsiteX1139" fmla="*/ 5627 w 10785"/>
                <a:gd name="connsiteY1139" fmla="*/ 1991 h 10000"/>
                <a:gd name="connsiteX1140" fmla="*/ 5618 w 10785"/>
                <a:gd name="connsiteY1140" fmla="*/ 1974 h 10000"/>
                <a:gd name="connsiteX1141" fmla="*/ 5618 w 10785"/>
                <a:gd name="connsiteY1141" fmla="*/ 1940 h 10000"/>
                <a:gd name="connsiteX1142" fmla="*/ 5594 w 10785"/>
                <a:gd name="connsiteY1142" fmla="*/ 1855 h 10000"/>
                <a:gd name="connsiteX1143" fmla="*/ 5599 w 10785"/>
                <a:gd name="connsiteY1143" fmla="*/ 1915 h 10000"/>
                <a:gd name="connsiteX1144" fmla="*/ 5599 w 10785"/>
                <a:gd name="connsiteY1144" fmla="*/ 1949 h 10000"/>
                <a:gd name="connsiteX1145" fmla="*/ 5594 w 10785"/>
                <a:gd name="connsiteY1145" fmla="*/ 1991 h 10000"/>
                <a:gd name="connsiteX1146" fmla="*/ 5571 w 10785"/>
                <a:gd name="connsiteY1146" fmla="*/ 2000 h 10000"/>
                <a:gd name="connsiteX1147" fmla="*/ 5530 w 10785"/>
                <a:gd name="connsiteY1147" fmla="*/ 1991 h 10000"/>
                <a:gd name="connsiteX1148" fmla="*/ 5525 w 10785"/>
                <a:gd name="connsiteY1148" fmla="*/ 2000 h 10000"/>
                <a:gd name="connsiteX1149" fmla="*/ 5521 w 10785"/>
                <a:gd name="connsiteY1149" fmla="*/ 1991 h 10000"/>
                <a:gd name="connsiteX1150" fmla="*/ 5498 w 10785"/>
                <a:gd name="connsiteY1150" fmla="*/ 1949 h 10000"/>
                <a:gd name="connsiteX1151" fmla="*/ 5493 w 10785"/>
                <a:gd name="connsiteY1151" fmla="*/ 1889 h 10000"/>
                <a:gd name="connsiteX1152" fmla="*/ 5493 w 10785"/>
                <a:gd name="connsiteY1152" fmla="*/ 1863 h 10000"/>
                <a:gd name="connsiteX1153" fmla="*/ 5498 w 10785"/>
                <a:gd name="connsiteY1153" fmla="*/ 1889 h 10000"/>
                <a:gd name="connsiteX1154" fmla="*/ 5512 w 10785"/>
                <a:gd name="connsiteY1154" fmla="*/ 1855 h 10000"/>
                <a:gd name="connsiteX1155" fmla="*/ 5512 w 10785"/>
                <a:gd name="connsiteY1155" fmla="*/ 1838 h 10000"/>
                <a:gd name="connsiteX1156" fmla="*/ 5479 w 10785"/>
                <a:gd name="connsiteY1156" fmla="*/ 1855 h 10000"/>
                <a:gd name="connsiteX1157" fmla="*/ 5470 w 10785"/>
                <a:gd name="connsiteY1157" fmla="*/ 1872 h 10000"/>
                <a:gd name="connsiteX1158" fmla="*/ 5470 w 10785"/>
                <a:gd name="connsiteY1158" fmla="*/ 1889 h 10000"/>
                <a:gd name="connsiteX1159" fmla="*/ 5465 w 10785"/>
                <a:gd name="connsiteY1159" fmla="*/ 1897 h 10000"/>
                <a:gd name="connsiteX1160" fmla="*/ 5456 w 10785"/>
                <a:gd name="connsiteY1160" fmla="*/ 1872 h 10000"/>
                <a:gd name="connsiteX1161" fmla="*/ 5447 w 10785"/>
                <a:gd name="connsiteY1161" fmla="*/ 1872 h 10000"/>
                <a:gd name="connsiteX1162" fmla="*/ 5433 w 10785"/>
                <a:gd name="connsiteY1162" fmla="*/ 1855 h 10000"/>
                <a:gd name="connsiteX1163" fmla="*/ 5396 w 10785"/>
                <a:gd name="connsiteY1163" fmla="*/ 1863 h 10000"/>
                <a:gd name="connsiteX1164" fmla="*/ 5396 w 10785"/>
                <a:gd name="connsiteY1164" fmla="*/ 1897 h 10000"/>
                <a:gd name="connsiteX1165" fmla="*/ 5378 w 10785"/>
                <a:gd name="connsiteY1165" fmla="*/ 1949 h 10000"/>
                <a:gd name="connsiteX1166" fmla="*/ 5378 w 10785"/>
                <a:gd name="connsiteY1166" fmla="*/ 1966 h 10000"/>
                <a:gd name="connsiteX1167" fmla="*/ 5392 w 10785"/>
                <a:gd name="connsiteY1167" fmla="*/ 2026 h 10000"/>
                <a:gd name="connsiteX1168" fmla="*/ 5396 w 10785"/>
                <a:gd name="connsiteY1168" fmla="*/ 2026 h 10000"/>
                <a:gd name="connsiteX1169" fmla="*/ 5392 w 10785"/>
                <a:gd name="connsiteY1169" fmla="*/ 2009 h 10000"/>
                <a:gd name="connsiteX1170" fmla="*/ 5392 w 10785"/>
                <a:gd name="connsiteY1170" fmla="*/ 2000 h 10000"/>
                <a:gd name="connsiteX1171" fmla="*/ 5396 w 10785"/>
                <a:gd name="connsiteY1171" fmla="*/ 2009 h 10000"/>
                <a:gd name="connsiteX1172" fmla="*/ 5424 w 10785"/>
                <a:gd name="connsiteY1172" fmla="*/ 2009 h 10000"/>
                <a:gd name="connsiteX1173" fmla="*/ 5433 w 10785"/>
                <a:gd name="connsiteY1173" fmla="*/ 1991 h 10000"/>
                <a:gd name="connsiteX1174" fmla="*/ 5447 w 10785"/>
                <a:gd name="connsiteY1174" fmla="*/ 1974 h 10000"/>
                <a:gd name="connsiteX1175" fmla="*/ 5452 w 10785"/>
                <a:gd name="connsiteY1175" fmla="*/ 1966 h 10000"/>
                <a:gd name="connsiteX1176" fmla="*/ 5456 w 10785"/>
                <a:gd name="connsiteY1176" fmla="*/ 1966 h 10000"/>
                <a:gd name="connsiteX1177" fmla="*/ 5465 w 10785"/>
                <a:gd name="connsiteY1177" fmla="*/ 2009 h 10000"/>
                <a:gd name="connsiteX1178" fmla="*/ 5433 w 10785"/>
                <a:gd name="connsiteY1178" fmla="*/ 2034 h 10000"/>
                <a:gd name="connsiteX1179" fmla="*/ 5424 w 10785"/>
                <a:gd name="connsiteY1179" fmla="*/ 2060 h 10000"/>
                <a:gd name="connsiteX1180" fmla="*/ 5419 w 10785"/>
                <a:gd name="connsiteY1180" fmla="*/ 2060 h 10000"/>
                <a:gd name="connsiteX1181" fmla="*/ 5392 w 10785"/>
                <a:gd name="connsiteY1181" fmla="*/ 2111 h 10000"/>
                <a:gd name="connsiteX1182" fmla="*/ 5378 w 10785"/>
                <a:gd name="connsiteY1182" fmla="*/ 2111 h 10000"/>
                <a:gd name="connsiteX1183" fmla="*/ 5350 w 10785"/>
                <a:gd name="connsiteY1183" fmla="*/ 2060 h 10000"/>
                <a:gd name="connsiteX1184" fmla="*/ 5373 w 10785"/>
                <a:gd name="connsiteY1184" fmla="*/ 2111 h 10000"/>
                <a:gd name="connsiteX1185" fmla="*/ 5364 w 10785"/>
                <a:gd name="connsiteY1185" fmla="*/ 2111 h 10000"/>
                <a:gd name="connsiteX1186" fmla="*/ 5359 w 10785"/>
                <a:gd name="connsiteY1186" fmla="*/ 2103 h 10000"/>
                <a:gd name="connsiteX1187" fmla="*/ 5359 w 10785"/>
                <a:gd name="connsiteY1187" fmla="*/ 2120 h 10000"/>
                <a:gd name="connsiteX1188" fmla="*/ 5359 w 10785"/>
                <a:gd name="connsiteY1188" fmla="*/ 2137 h 10000"/>
                <a:gd name="connsiteX1189" fmla="*/ 5313 w 10785"/>
                <a:gd name="connsiteY1189" fmla="*/ 2162 h 10000"/>
                <a:gd name="connsiteX1190" fmla="*/ 5300 w 10785"/>
                <a:gd name="connsiteY1190" fmla="*/ 2162 h 10000"/>
                <a:gd name="connsiteX1191" fmla="*/ 5300 w 10785"/>
                <a:gd name="connsiteY1191" fmla="*/ 2171 h 10000"/>
                <a:gd name="connsiteX1192" fmla="*/ 5300 w 10785"/>
                <a:gd name="connsiteY1192" fmla="*/ 2197 h 10000"/>
                <a:gd name="connsiteX1193" fmla="*/ 5276 w 10785"/>
                <a:gd name="connsiteY1193" fmla="*/ 2188 h 10000"/>
                <a:gd name="connsiteX1194" fmla="*/ 5249 w 10785"/>
                <a:gd name="connsiteY1194" fmla="*/ 2222 h 10000"/>
                <a:gd name="connsiteX1195" fmla="*/ 5249 w 10785"/>
                <a:gd name="connsiteY1195" fmla="*/ 2222 h 10000"/>
                <a:gd name="connsiteX1196" fmla="*/ 5217 w 10785"/>
                <a:gd name="connsiteY1196" fmla="*/ 2214 h 10000"/>
                <a:gd name="connsiteX1197" fmla="*/ 5203 w 10785"/>
                <a:gd name="connsiteY1197" fmla="*/ 2239 h 10000"/>
                <a:gd name="connsiteX1198" fmla="*/ 5171 w 10785"/>
                <a:gd name="connsiteY1198" fmla="*/ 2214 h 10000"/>
                <a:gd name="connsiteX1199" fmla="*/ 5157 w 10785"/>
                <a:gd name="connsiteY1199" fmla="*/ 2239 h 10000"/>
                <a:gd name="connsiteX1200" fmla="*/ 5166 w 10785"/>
                <a:gd name="connsiteY1200" fmla="*/ 2256 h 10000"/>
                <a:gd name="connsiteX1201" fmla="*/ 5171 w 10785"/>
                <a:gd name="connsiteY1201" fmla="*/ 2308 h 10000"/>
                <a:gd name="connsiteX1202" fmla="*/ 5212 w 10785"/>
                <a:gd name="connsiteY1202" fmla="*/ 2350 h 10000"/>
                <a:gd name="connsiteX1203" fmla="*/ 5203 w 10785"/>
                <a:gd name="connsiteY1203" fmla="*/ 2350 h 10000"/>
                <a:gd name="connsiteX1204" fmla="*/ 5166 w 10785"/>
                <a:gd name="connsiteY1204" fmla="*/ 2325 h 10000"/>
                <a:gd name="connsiteX1205" fmla="*/ 5152 w 10785"/>
                <a:gd name="connsiteY1205" fmla="*/ 2308 h 10000"/>
                <a:gd name="connsiteX1206" fmla="*/ 5143 w 10785"/>
                <a:gd name="connsiteY1206" fmla="*/ 2333 h 10000"/>
                <a:gd name="connsiteX1207" fmla="*/ 5138 w 10785"/>
                <a:gd name="connsiteY1207" fmla="*/ 2333 h 10000"/>
                <a:gd name="connsiteX1208" fmla="*/ 5124 w 10785"/>
                <a:gd name="connsiteY1208" fmla="*/ 2376 h 10000"/>
                <a:gd name="connsiteX1209" fmla="*/ 5115 w 10785"/>
                <a:gd name="connsiteY1209" fmla="*/ 2385 h 10000"/>
                <a:gd name="connsiteX1210" fmla="*/ 5106 w 10785"/>
                <a:gd name="connsiteY1210" fmla="*/ 2385 h 10000"/>
                <a:gd name="connsiteX1211" fmla="*/ 5055 w 10785"/>
                <a:gd name="connsiteY1211" fmla="*/ 2470 h 10000"/>
                <a:gd name="connsiteX1212" fmla="*/ 5065 w 10785"/>
                <a:gd name="connsiteY1212" fmla="*/ 2462 h 10000"/>
                <a:gd name="connsiteX1213" fmla="*/ 5055 w 10785"/>
                <a:gd name="connsiteY1213" fmla="*/ 2444 h 10000"/>
                <a:gd name="connsiteX1214" fmla="*/ 5041 w 10785"/>
                <a:gd name="connsiteY1214" fmla="*/ 2462 h 10000"/>
                <a:gd name="connsiteX1215" fmla="*/ 5037 w 10785"/>
                <a:gd name="connsiteY1215" fmla="*/ 2470 h 10000"/>
                <a:gd name="connsiteX1216" fmla="*/ 5032 w 10785"/>
                <a:gd name="connsiteY1216" fmla="*/ 2470 h 10000"/>
                <a:gd name="connsiteX1217" fmla="*/ 5032 w 10785"/>
                <a:gd name="connsiteY1217" fmla="*/ 2444 h 10000"/>
                <a:gd name="connsiteX1218" fmla="*/ 5055 w 10785"/>
                <a:gd name="connsiteY1218" fmla="*/ 2410 h 10000"/>
                <a:gd name="connsiteX1219" fmla="*/ 5065 w 10785"/>
                <a:gd name="connsiteY1219" fmla="*/ 2393 h 10000"/>
                <a:gd name="connsiteX1220" fmla="*/ 5069 w 10785"/>
                <a:gd name="connsiteY1220" fmla="*/ 2385 h 10000"/>
                <a:gd name="connsiteX1221" fmla="*/ 5083 w 10785"/>
                <a:gd name="connsiteY1221" fmla="*/ 2376 h 10000"/>
                <a:gd name="connsiteX1222" fmla="*/ 5097 w 10785"/>
                <a:gd name="connsiteY1222" fmla="*/ 2376 h 10000"/>
                <a:gd name="connsiteX1223" fmla="*/ 5124 w 10785"/>
                <a:gd name="connsiteY1223" fmla="*/ 2325 h 10000"/>
                <a:gd name="connsiteX1224" fmla="*/ 5143 w 10785"/>
                <a:gd name="connsiteY1224" fmla="*/ 2248 h 10000"/>
                <a:gd name="connsiteX1225" fmla="*/ 5152 w 10785"/>
                <a:gd name="connsiteY1225" fmla="*/ 2239 h 10000"/>
                <a:gd name="connsiteX1226" fmla="*/ 5166 w 10785"/>
                <a:gd name="connsiteY1226" fmla="*/ 2162 h 10000"/>
                <a:gd name="connsiteX1227" fmla="*/ 5171 w 10785"/>
                <a:gd name="connsiteY1227" fmla="*/ 2171 h 10000"/>
                <a:gd name="connsiteX1228" fmla="*/ 5198 w 10785"/>
                <a:gd name="connsiteY1228" fmla="*/ 2145 h 10000"/>
                <a:gd name="connsiteX1229" fmla="*/ 5203 w 10785"/>
                <a:gd name="connsiteY1229" fmla="*/ 2111 h 10000"/>
                <a:gd name="connsiteX1230" fmla="*/ 5217 w 10785"/>
                <a:gd name="connsiteY1230" fmla="*/ 2060 h 10000"/>
                <a:gd name="connsiteX1231" fmla="*/ 5226 w 10785"/>
                <a:gd name="connsiteY1231" fmla="*/ 2026 h 10000"/>
                <a:gd name="connsiteX1232" fmla="*/ 5286 w 10785"/>
                <a:gd name="connsiteY1232" fmla="*/ 2026 h 10000"/>
                <a:gd name="connsiteX1233" fmla="*/ 5290 w 10785"/>
                <a:gd name="connsiteY1233" fmla="*/ 2034 h 10000"/>
                <a:gd name="connsiteX1234" fmla="*/ 5323 w 10785"/>
                <a:gd name="connsiteY1234" fmla="*/ 1923 h 10000"/>
                <a:gd name="connsiteX1235" fmla="*/ 5323 w 10785"/>
                <a:gd name="connsiteY1235" fmla="*/ 1889 h 10000"/>
                <a:gd name="connsiteX1236" fmla="*/ 5359 w 10785"/>
                <a:gd name="connsiteY1236" fmla="*/ 1829 h 10000"/>
                <a:gd name="connsiteX1237" fmla="*/ 5378 w 10785"/>
                <a:gd name="connsiteY1237" fmla="*/ 1812 h 10000"/>
                <a:gd name="connsiteX1238" fmla="*/ 5406 w 10785"/>
                <a:gd name="connsiteY1238" fmla="*/ 1752 h 10000"/>
                <a:gd name="connsiteX1239" fmla="*/ 5410 w 10785"/>
                <a:gd name="connsiteY1239" fmla="*/ 1718 h 10000"/>
                <a:gd name="connsiteX1240" fmla="*/ 5438 w 10785"/>
                <a:gd name="connsiteY1240" fmla="*/ 1667 h 10000"/>
                <a:gd name="connsiteX1241" fmla="*/ 5438 w 10785"/>
                <a:gd name="connsiteY1241" fmla="*/ 1650 h 10000"/>
                <a:gd name="connsiteX1242" fmla="*/ 5438 w 10785"/>
                <a:gd name="connsiteY1242" fmla="*/ 1641 h 10000"/>
                <a:gd name="connsiteX1243" fmla="*/ 5452 w 10785"/>
                <a:gd name="connsiteY1243" fmla="*/ 1641 h 10000"/>
                <a:gd name="connsiteX1244" fmla="*/ 5456 w 10785"/>
                <a:gd name="connsiteY1244" fmla="*/ 1615 h 10000"/>
                <a:gd name="connsiteX1245" fmla="*/ 5456 w 10785"/>
                <a:gd name="connsiteY1245" fmla="*/ 1615 h 10000"/>
                <a:gd name="connsiteX1246" fmla="*/ 5465 w 10785"/>
                <a:gd name="connsiteY1246" fmla="*/ 1598 h 10000"/>
                <a:gd name="connsiteX1247" fmla="*/ 5465 w 10785"/>
                <a:gd name="connsiteY1247" fmla="*/ 1615 h 10000"/>
                <a:gd name="connsiteX1248" fmla="*/ 5479 w 10785"/>
                <a:gd name="connsiteY1248" fmla="*/ 1598 h 10000"/>
                <a:gd name="connsiteX1249" fmla="*/ 5484 w 10785"/>
                <a:gd name="connsiteY1249" fmla="*/ 1581 h 10000"/>
                <a:gd name="connsiteX1250" fmla="*/ 5493 w 10785"/>
                <a:gd name="connsiteY1250" fmla="*/ 1581 h 10000"/>
                <a:gd name="connsiteX1251" fmla="*/ 5512 w 10785"/>
                <a:gd name="connsiteY1251" fmla="*/ 1538 h 10000"/>
                <a:gd name="connsiteX1252" fmla="*/ 5530 w 10785"/>
                <a:gd name="connsiteY1252" fmla="*/ 1564 h 10000"/>
                <a:gd name="connsiteX1253" fmla="*/ 5530 w 10785"/>
                <a:gd name="connsiteY1253" fmla="*/ 1538 h 10000"/>
                <a:gd name="connsiteX1254" fmla="*/ 5539 w 10785"/>
                <a:gd name="connsiteY1254" fmla="*/ 1530 h 10000"/>
                <a:gd name="connsiteX1255" fmla="*/ 5530 w 10785"/>
                <a:gd name="connsiteY1255" fmla="*/ 1504 h 10000"/>
                <a:gd name="connsiteX1256" fmla="*/ 5567 w 10785"/>
                <a:gd name="connsiteY1256" fmla="*/ 1479 h 10000"/>
                <a:gd name="connsiteX1257" fmla="*/ 5553 w 10785"/>
                <a:gd name="connsiteY1257" fmla="*/ 1479 h 10000"/>
                <a:gd name="connsiteX1258" fmla="*/ 5553 w 10785"/>
                <a:gd name="connsiteY1258" fmla="*/ 1453 h 10000"/>
                <a:gd name="connsiteX1259" fmla="*/ 5581 w 10785"/>
                <a:gd name="connsiteY1259" fmla="*/ 1444 h 10000"/>
                <a:gd name="connsiteX1260" fmla="*/ 5581 w 10785"/>
                <a:gd name="connsiteY1260" fmla="*/ 1453 h 10000"/>
                <a:gd name="connsiteX1261" fmla="*/ 5585 w 10785"/>
                <a:gd name="connsiteY1261" fmla="*/ 1444 h 10000"/>
                <a:gd name="connsiteX1262" fmla="*/ 5594 w 10785"/>
                <a:gd name="connsiteY1262" fmla="*/ 1427 h 10000"/>
                <a:gd name="connsiteX1263" fmla="*/ 5599 w 10785"/>
                <a:gd name="connsiteY1263" fmla="*/ 1419 h 10000"/>
                <a:gd name="connsiteX1264" fmla="*/ 5594 w 10785"/>
                <a:gd name="connsiteY1264" fmla="*/ 1402 h 10000"/>
                <a:gd name="connsiteX1265" fmla="*/ 5604 w 10785"/>
                <a:gd name="connsiteY1265" fmla="*/ 1393 h 10000"/>
                <a:gd name="connsiteX1266" fmla="*/ 5618 w 10785"/>
                <a:gd name="connsiteY1266" fmla="*/ 1393 h 10000"/>
                <a:gd name="connsiteX1267" fmla="*/ 5627 w 10785"/>
                <a:gd name="connsiteY1267" fmla="*/ 1368 h 10000"/>
                <a:gd name="connsiteX1268" fmla="*/ 5627 w 10785"/>
                <a:gd name="connsiteY1268" fmla="*/ 1325 h 10000"/>
                <a:gd name="connsiteX1269" fmla="*/ 5645 w 10785"/>
                <a:gd name="connsiteY1269" fmla="*/ 1291 h 10000"/>
                <a:gd name="connsiteX1270" fmla="*/ 5645 w 10785"/>
                <a:gd name="connsiteY1270" fmla="*/ 1282 h 10000"/>
                <a:gd name="connsiteX1271" fmla="*/ 5654 w 10785"/>
                <a:gd name="connsiteY1271" fmla="*/ 1265 h 10000"/>
                <a:gd name="connsiteX1272" fmla="*/ 5654 w 10785"/>
                <a:gd name="connsiteY1272" fmla="*/ 1214 h 10000"/>
                <a:gd name="connsiteX1273" fmla="*/ 5654 w 10785"/>
                <a:gd name="connsiteY1273" fmla="*/ 1214 h 10000"/>
                <a:gd name="connsiteX1274" fmla="*/ 5645 w 10785"/>
                <a:gd name="connsiteY1274" fmla="*/ 1197 h 10000"/>
                <a:gd name="connsiteX1275" fmla="*/ 5659 w 10785"/>
                <a:gd name="connsiteY1275" fmla="*/ 1197 h 10000"/>
                <a:gd name="connsiteX1276" fmla="*/ 5654 w 10785"/>
                <a:gd name="connsiteY1276" fmla="*/ 1154 h 10000"/>
                <a:gd name="connsiteX1277" fmla="*/ 5641 w 10785"/>
                <a:gd name="connsiteY1277" fmla="*/ 1154 h 10000"/>
                <a:gd name="connsiteX1278" fmla="*/ 5627 w 10785"/>
                <a:gd name="connsiteY1278" fmla="*/ 1128 h 10000"/>
                <a:gd name="connsiteX1279" fmla="*/ 5618 w 10785"/>
                <a:gd name="connsiteY1279" fmla="*/ 1094 h 10000"/>
                <a:gd name="connsiteX1280" fmla="*/ 5613 w 10785"/>
                <a:gd name="connsiteY1280" fmla="*/ 1094 h 10000"/>
                <a:gd name="connsiteX1281" fmla="*/ 5604 w 10785"/>
                <a:gd name="connsiteY1281" fmla="*/ 1120 h 10000"/>
                <a:gd name="connsiteX1282" fmla="*/ 5604 w 10785"/>
                <a:gd name="connsiteY1282" fmla="*/ 1128 h 10000"/>
                <a:gd name="connsiteX1283" fmla="*/ 5599 w 10785"/>
                <a:gd name="connsiteY1283" fmla="*/ 1103 h 10000"/>
                <a:gd name="connsiteX1284" fmla="*/ 5599 w 10785"/>
                <a:gd name="connsiteY1284" fmla="*/ 1103 h 10000"/>
                <a:gd name="connsiteX1285" fmla="*/ 5594 w 10785"/>
                <a:gd name="connsiteY1285" fmla="*/ 1068 h 10000"/>
                <a:gd name="connsiteX1286" fmla="*/ 5594 w 10785"/>
                <a:gd name="connsiteY1286" fmla="*/ 1060 h 10000"/>
                <a:gd name="connsiteX1287" fmla="*/ 5581 w 10785"/>
                <a:gd name="connsiteY1287" fmla="*/ 1034 h 10000"/>
                <a:gd name="connsiteX1288" fmla="*/ 5571 w 10785"/>
                <a:gd name="connsiteY1288" fmla="*/ 1009 h 10000"/>
                <a:gd name="connsiteX1289" fmla="*/ 5571 w 10785"/>
                <a:gd name="connsiteY1289" fmla="*/ 991 h 10000"/>
                <a:gd name="connsiteX1290" fmla="*/ 5585 w 10785"/>
                <a:gd name="connsiteY1290" fmla="*/ 1009 h 10000"/>
                <a:gd name="connsiteX1291" fmla="*/ 5604 w 10785"/>
                <a:gd name="connsiteY1291" fmla="*/ 1043 h 10000"/>
                <a:gd name="connsiteX1292" fmla="*/ 5641 w 10785"/>
                <a:gd name="connsiteY1292" fmla="*/ 1094 h 10000"/>
                <a:gd name="connsiteX1293" fmla="*/ 5631 w 10785"/>
                <a:gd name="connsiteY1293" fmla="*/ 1128 h 10000"/>
                <a:gd name="connsiteX1294" fmla="*/ 5641 w 10785"/>
                <a:gd name="connsiteY1294" fmla="*/ 1128 h 10000"/>
                <a:gd name="connsiteX1295" fmla="*/ 5659 w 10785"/>
                <a:gd name="connsiteY1295" fmla="*/ 1017 h 10000"/>
                <a:gd name="connsiteX1296" fmla="*/ 5659 w 10785"/>
                <a:gd name="connsiteY1296" fmla="*/ 983 h 10000"/>
                <a:gd name="connsiteX1297" fmla="*/ 5659 w 10785"/>
                <a:gd name="connsiteY1297" fmla="*/ 957 h 10000"/>
                <a:gd name="connsiteX1298" fmla="*/ 5654 w 10785"/>
                <a:gd name="connsiteY1298" fmla="*/ 966 h 10000"/>
                <a:gd name="connsiteX1299" fmla="*/ 5641 w 10785"/>
                <a:gd name="connsiteY1299" fmla="*/ 957 h 10000"/>
                <a:gd name="connsiteX1300" fmla="*/ 5631 w 10785"/>
                <a:gd name="connsiteY1300" fmla="*/ 897 h 10000"/>
                <a:gd name="connsiteX1301" fmla="*/ 5641 w 10785"/>
                <a:gd name="connsiteY1301" fmla="*/ 872 h 10000"/>
                <a:gd name="connsiteX1302" fmla="*/ 5618 w 10785"/>
                <a:gd name="connsiteY1302" fmla="*/ 803 h 10000"/>
                <a:gd name="connsiteX1303" fmla="*/ 5604 w 10785"/>
                <a:gd name="connsiteY1303" fmla="*/ 821 h 10000"/>
                <a:gd name="connsiteX1304" fmla="*/ 5613 w 10785"/>
                <a:gd name="connsiteY1304" fmla="*/ 846 h 10000"/>
                <a:gd name="connsiteX1305" fmla="*/ 5604 w 10785"/>
                <a:gd name="connsiteY1305" fmla="*/ 855 h 10000"/>
                <a:gd name="connsiteX1306" fmla="*/ 5599 w 10785"/>
                <a:gd name="connsiteY1306" fmla="*/ 880 h 10000"/>
                <a:gd name="connsiteX1307" fmla="*/ 5594 w 10785"/>
                <a:gd name="connsiteY1307" fmla="*/ 880 h 10000"/>
                <a:gd name="connsiteX1308" fmla="*/ 5585 w 10785"/>
                <a:gd name="connsiteY1308" fmla="*/ 829 h 10000"/>
                <a:gd name="connsiteX1309" fmla="*/ 5571 w 10785"/>
                <a:gd name="connsiteY1309" fmla="*/ 803 h 10000"/>
                <a:gd name="connsiteX1310" fmla="*/ 5585 w 10785"/>
                <a:gd name="connsiteY1310" fmla="*/ 795 h 10000"/>
                <a:gd name="connsiteX1311" fmla="*/ 5585 w 10785"/>
                <a:gd name="connsiteY1311" fmla="*/ 761 h 10000"/>
                <a:gd name="connsiteX1312" fmla="*/ 5558 w 10785"/>
                <a:gd name="connsiteY1312" fmla="*/ 709 h 10000"/>
                <a:gd name="connsiteX1313" fmla="*/ 5544 w 10785"/>
                <a:gd name="connsiteY1313" fmla="*/ 709 h 10000"/>
                <a:gd name="connsiteX1314" fmla="*/ 5544 w 10785"/>
                <a:gd name="connsiteY1314" fmla="*/ 684 h 10000"/>
                <a:gd name="connsiteX1315" fmla="*/ 5525 w 10785"/>
                <a:gd name="connsiteY1315" fmla="*/ 632 h 10000"/>
                <a:gd name="connsiteX1316" fmla="*/ 5507 w 10785"/>
                <a:gd name="connsiteY1316" fmla="*/ 607 h 10000"/>
                <a:gd name="connsiteX1317" fmla="*/ 5512 w 10785"/>
                <a:gd name="connsiteY1317" fmla="*/ 598 h 10000"/>
                <a:gd name="connsiteX1318" fmla="*/ 5507 w 10785"/>
                <a:gd name="connsiteY1318" fmla="*/ 581 h 10000"/>
                <a:gd name="connsiteX1319" fmla="*/ 5493 w 10785"/>
                <a:gd name="connsiteY1319" fmla="*/ 573 h 10000"/>
                <a:gd name="connsiteX1320" fmla="*/ 5484 w 10785"/>
                <a:gd name="connsiteY1320" fmla="*/ 581 h 10000"/>
                <a:gd name="connsiteX1321" fmla="*/ 5484 w 10785"/>
                <a:gd name="connsiteY1321" fmla="*/ 573 h 10000"/>
                <a:gd name="connsiteX1322" fmla="*/ 5484 w 10785"/>
                <a:gd name="connsiteY1322" fmla="*/ 547 h 10000"/>
                <a:gd name="connsiteX1323" fmla="*/ 5465 w 10785"/>
                <a:gd name="connsiteY1323" fmla="*/ 556 h 10000"/>
                <a:gd name="connsiteX1324" fmla="*/ 5433 w 10785"/>
                <a:gd name="connsiteY1324" fmla="*/ 547 h 10000"/>
                <a:gd name="connsiteX1325" fmla="*/ 5410 w 10785"/>
                <a:gd name="connsiteY1325" fmla="*/ 573 h 10000"/>
                <a:gd name="connsiteX1326" fmla="*/ 5406 w 10785"/>
                <a:gd name="connsiteY1326" fmla="*/ 573 h 10000"/>
                <a:gd name="connsiteX1327" fmla="*/ 5392 w 10785"/>
                <a:gd name="connsiteY1327" fmla="*/ 573 h 10000"/>
                <a:gd name="connsiteX1328" fmla="*/ 5364 w 10785"/>
                <a:gd name="connsiteY1328" fmla="*/ 530 h 10000"/>
                <a:gd name="connsiteX1329" fmla="*/ 5350 w 10785"/>
                <a:gd name="connsiteY1329" fmla="*/ 556 h 10000"/>
                <a:gd name="connsiteX1330" fmla="*/ 5346 w 10785"/>
                <a:gd name="connsiteY1330" fmla="*/ 556 h 10000"/>
                <a:gd name="connsiteX1331" fmla="*/ 5313 w 10785"/>
                <a:gd name="connsiteY1331" fmla="*/ 573 h 10000"/>
                <a:gd name="connsiteX1332" fmla="*/ 5304 w 10785"/>
                <a:gd name="connsiteY1332" fmla="*/ 556 h 10000"/>
                <a:gd name="connsiteX1333" fmla="*/ 5290 w 10785"/>
                <a:gd name="connsiteY1333" fmla="*/ 573 h 10000"/>
                <a:gd name="connsiteX1334" fmla="*/ 5290 w 10785"/>
                <a:gd name="connsiteY1334" fmla="*/ 556 h 10000"/>
                <a:gd name="connsiteX1335" fmla="*/ 5300 w 10785"/>
                <a:gd name="connsiteY1335" fmla="*/ 547 h 10000"/>
                <a:gd name="connsiteX1336" fmla="*/ 5300 w 10785"/>
                <a:gd name="connsiteY1336" fmla="*/ 530 h 10000"/>
                <a:gd name="connsiteX1337" fmla="*/ 5290 w 10785"/>
                <a:gd name="connsiteY1337" fmla="*/ 530 h 10000"/>
                <a:gd name="connsiteX1338" fmla="*/ 5286 w 10785"/>
                <a:gd name="connsiteY1338" fmla="*/ 547 h 10000"/>
                <a:gd name="connsiteX1339" fmla="*/ 5272 w 10785"/>
                <a:gd name="connsiteY1339" fmla="*/ 556 h 10000"/>
                <a:gd name="connsiteX1340" fmla="*/ 5272 w 10785"/>
                <a:gd name="connsiteY1340" fmla="*/ 598 h 10000"/>
                <a:gd name="connsiteX1341" fmla="*/ 5276 w 10785"/>
                <a:gd name="connsiteY1341" fmla="*/ 581 h 10000"/>
                <a:gd name="connsiteX1342" fmla="*/ 5272 w 10785"/>
                <a:gd name="connsiteY1342" fmla="*/ 607 h 10000"/>
                <a:gd name="connsiteX1343" fmla="*/ 5263 w 10785"/>
                <a:gd name="connsiteY1343" fmla="*/ 607 h 10000"/>
                <a:gd name="connsiteX1344" fmla="*/ 5263 w 10785"/>
                <a:gd name="connsiteY1344" fmla="*/ 632 h 10000"/>
                <a:gd name="connsiteX1345" fmla="*/ 5258 w 10785"/>
                <a:gd name="connsiteY1345" fmla="*/ 658 h 10000"/>
                <a:gd name="connsiteX1346" fmla="*/ 5244 w 10785"/>
                <a:gd name="connsiteY1346" fmla="*/ 667 h 10000"/>
                <a:gd name="connsiteX1347" fmla="*/ 5240 w 10785"/>
                <a:gd name="connsiteY1347" fmla="*/ 658 h 10000"/>
                <a:gd name="connsiteX1348" fmla="*/ 5240 w 10785"/>
                <a:gd name="connsiteY1348" fmla="*/ 684 h 10000"/>
                <a:gd name="connsiteX1349" fmla="*/ 5212 w 10785"/>
                <a:gd name="connsiteY1349" fmla="*/ 684 h 10000"/>
                <a:gd name="connsiteX1350" fmla="*/ 5198 w 10785"/>
                <a:gd name="connsiteY1350" fmla="*/ 692 h 10000"/>
                <a:gd name="connsiteX1351" fmla="*/ 5184 w 10785"/>
                <a:gd name="connsiteY1351" fmla="*/ 684 h 10000"/>
                <a:gd name="connsiteX1352" fmla="*/ 5157 w 10785"/>
                <a:gd name="connsiteY1352" fmla="*/ 684 h 10000"/>
                <a:gd name="connsiteX1353" fmla="*/ 5157 w 10785"/>
                <a:gd name="connsiteY1353" fmla="*/ 667 h 10000"/>
                <a:gd name="connsiteX1354" fmla="*/ 5157 w 10785"/>
                <a:gd name="connsiteY1354" fmla="*/ 667 h 10000"/>
                <a:gd name="connsiteX1355" fmla="*/ 5180 w 10785"/>
                <a:gd name="connsiteY1355" fmla="*/ 650 h 10000"/>
                <a:gd name="connsiteX1356" fmla="*/ 5184 w 10785"/>
                <a:gd name="connsiteY1356" fmla="*/ 658 h 10000"/>
                <a:gd name="connsiteX1357" fmla="*/ 5203 w 10785"/>
                <a:gd name="connsiteY1357" fmla="*/ 547 h 10000"/>
                <a:gd name="connsiteX1358" fmla="*/ 5226 w 10785"/>
                <a:gd name="connsiteY1358" fmla="*/ 530 h 10000"/>
                <a:gd name="connsiteX1359" fmla="*/ 5230 w 10785"/>
                <a:gd name="connsiteY1359" fmla="*/ 487 h 10000"/>
                <a:gd name="connsiteX1360" fmla="*/ 5230 w 10785"/>
                <a:gd name="connsiteY1360" fmla="*/ 487 h 10000"/>
                <a:gd name="connsiteX1361" fmla="*/ 5226 w 10785"/>
                <a:gd name="connsiteY1361" fmla="*/ 462 h 10000"/>
                <a:gd name="connsiteX1362" fmla="*/ 5226 w 10785"/>
                <a:gd name="connsiteY1362" fmla="*/ 462 h 10000"/>
                <a:gd name="connsiteX1363" fmla="*/ 5240 w 10785"/>
                <a:gd name="connsiteY1363" fmla="*/ 462 h 10000"/>
                <a:gd name="connsiteX1364" fmla="*/ 5240 w 10785"/>
                <a:gd name="connsiteY1364" fmla="*/ 444 h 10000"/>
                <a:gd name="connsiteX1365" fmla="*/ 5230 w 10785"/>
                <a:gd name="connsiteY1365" fmla="*/ 436 h 10000"/>
                <a:gd name="connsiteX1366" fmla="*/ 5230 w 10785"/>
                <a:gd name="connsiteY1366" fmla="*/ 419 h 10000"/>
                <a:gd name="connsiteX1367" fmla="*/ 5230 w 10785"/>
                <a:gd name="connsiteY1367" fmla="*/ 410 h 10000"/>
                <a:gd name="connsiteX1368" fmla="*/ 5198 w 10785"/>
                <a:gd name="connsiteY1368" fmla="*/ 402 h 10000"/>
                <a:gd name="connsiteX1369" fmla="*/ 5189 w 10785"/>
                <a:gd name="connsiteY1369" fmla="*/ 402 h 10000"/>
                <a:gd name="connsiteX1370" fmla="*/ 5184 w 10785"/>
                <a:gd name="connsiteY1370" fmla="*/ 376 h 10000"/>
                <a:gd name="connsiteX1371" fmla="*/ 5180 w 10785"/>
                <a:gd name="connsiteY1371" fmla="*/ 376 h 10000"/>
                <a:gd name="connsiteX1372" fmla="*/ 5166 w 10785"/>
                <a:gd name="connsiteY1372" fmla="*/ 376 h 10000"/>
                <a:gd name="connsiteX1373" fmla="*/ 5157 w 10785"/>
                <a:gd name="connsiteY1373" fmla="*/ 385 h 10000"/>
                <a:gd name="connsiteX1374" fmla="*/ 5152 w 10785"/>
                <a:gd name="connsiteY1374" fmla="*/ 376 h 10000"/>
                <a:gd name="connsiteX1375" fmla="*/ 5129 w 10785"/>
                <a:gd name="connsiteY1375" fmla="*/ 385 h 10000"/>
                <a:gd name="connsiteX1376" fmla="*/ 5129 w 10785"/>
                <a:gd name="connsiteY1376" fmla="*/ 350 h 10000"/>
                <a:gd name="connsiteX1377" fmla="*/ 5129 w 10785"/>
                <a:gd name="connsiteY1377" fmla="*/ 325 h 10000"/>
                <a:gd name="connsiteX1378" fmla="*/ 5124 w 10785"/>
                <a:gd name="connsiteY1378" fmla="*/ 359 h 10000"/>
                <a:gd name="connsiteX1379" fmla="*/ 5106 w 10785"/>
                <a:gd name="connsiteY1379" fmla="*/ 359 h 10000"/>
                <a:gd name="connsiteX1380" fmla="*/ 5037 w 10785"/>
                <a:gd name="connsiteY1380" fmla="*/ 419 h 10000"/>
                <a:gd name="connsiteX1381" fmla="*/ 5051 w 10785"/>
                <a:gd name="connsiteY1381" fmla="*/ 385 h 10000"/>
                <a:gd name="connsiteX1382" fmla="*/ 5055 w 10785"/>
                <a:gd name="connsiteY1382" fmla="*/ 376 h 10000"/>
                <a:gd name="connsiteX1383" fmla="*/ 5092 w 10785"/>
                <a:gd name="connsiteY1383" fmla="*/ 282 h 10000"/>
                <a:gd name="connsiteX1384" fmla="*/ 5106 w 10785"/>
                <a:gd name="connsiteY1384" fmla="*/ 265 h 10000"/>
                <a:gd name="connsiteX1385" fmla="*/ 5115 w 10785"/>
                <a:gd name="connsiteY1385" fmla="*/ 265 h 10000"/>
                <a:gd name="connsiteX1386" fmla="*/ 5124 w 10785"/>
                <a:gd name="connsiteY1386" fmla="*/ 222 h 10000"/>
                <a:gd name="connsiteX1387" fmla="*/ 5124 w 10785"/>
                <a:gd name="connsiteY1387" fmla="*/ 214 h 10000"/>
                <a:gd name="connsiteX1388" fmla="*/ 5143 w 10785"/>
                <a:gd name="connsiteY1388" fmla="*/ 197 h 10000"/>
                <a:gd name="connsiteX1389" fmla="*/ 5152 w 10785"/>
                <a:gd name="connsiteY1389" fmla="*/ 214 h 10000"/>
                <a:gd name="connsiteX1390" fmla="*/ 5143 w 10785"/>
                <a:gd name="connsiteY1390" fmla="*/ 188 h 10000"/>
                <a:gd name="connsiteX1391" fmla="*/ 5129 w 10785"/>
                <a:gd name="connsiteY1391" fmla="*/ 103 h 10000"/>
                <a:gd name="connsiteX1392" fmla="*/ 5115 w 10785"/>
                <a:gd name="connsiteY1392" fmla="*/ 85 h 10000"/>
                <a:gd name="connsiteX1393" fmla="*/ 5111 w 10785"/>
                <a:gd name="connsiteY1393" fmla="*/ 111 h 10000"/>
                <a:gd name="connsiteX1394" fmla="*/ 5092 w 10785"/>
                <a:gd name="connsiteY1394" fmla="*/ 103 h 10000"/>
                <a:gd name="connsiteX1395" fmla="*/ 5069 w 10785"/>
                <a:gd name="connsiteY1395" fmla="*/ 77 h 10000"/>
                <a:gd name="connsiteX1396" fmla="*/ 5051 w 10785"/>
                <a:gd name="connsiteY1396" fmla="*/ 26 h 10000"/>
                <a:gd name="connsiteX1397" fmla="*/ 5041 w 10785"/>
                <a:gd name="connsiteY1397" fmla="*/ 34 h 10000"/>
                <a:gd name="connsiteX1398" fmla="*/ 5037 w 10785"/>
                <a:gd name="connsiteY1398" fmla="*/ 34 h 10000"/>
                <a:gd name="connsiteX1399" fmla="*/ 5037 w 10785"/>
                <a:gd name="connsiteY1399" fmla="*/ 26 h 10000"/>
                <a:gd name="connsiteX1400" fmla="*/ 5037 w 10785"/>
                <a:gd name="connsiteY1400" fmla="*/ 9 h 10000"/>
                <a:gd name="connsiteX1401" fmla="*/ 5023 w 10785"/>
                <a:gd name="connsiteY1401" fmla="*/ 0 h 10000"/>
                <a:gd name="connsiteX1402" fmla="*/ 5009 w 10785"/>
                <a:gd name="connsiteY1402" fmla="*/ 9 h 10000"/>
                <a:gd name="connsiteX1403" fmla="*/ 4995 w 10785"/>
                <a:gd name="connsiteY1403" fmla="*/ 34 h 10000"/>
                <a:gd name="connsiteX1404" fmla="*/ 4991 w 10785"/>
                <a:gd name="connsiteY1404" fmla="*/ 60 h 10000"/>
                <a:gd name="connsiteX1405" fmla="*/ 4982 w 10785"/>
                <a:gd name="connsiteY1405" fmla="*/ 60 h 10000"/>
                <a:gd name="connsiteX1406" fmla="*/ 4949 w 10785"/>
                <a:gd name="connsiteY1406" fmla="*/ 51 h 10000"/>
                <a:gd name="connsiteX1407" fmla="*/ 4949 w 10785"/>
                <a:gd name="connsiteY1407" fmla="*/ 85 h 10000"/>
                <a:gd name="connsiteX1408" fmla="*/ 4903 w 10785"/>
                <a:gd name="connsiteY1408" fmla="*/ 197 h 10000"/>
                <a:gd name="connsiteX1409" fmla="*/ 4899 w 10785"/>
                <a:gd name="connsiteY1409" fmla="*/ 239 h 10000"/>
                <a:gd name="connsiteX1410" fmla="*/ 4871 w 10785"/>
                <a:gd name="connsiteY1410" fmla="*/ 274 h 10000"/>
                <a:gd name="connsiteX1411" fmla="*/ 4871 w 10785"/>
                <a:gd name="connsiteY1411" fmla="*/ 282 h 10000"/>
                <a:gd name="connsiteX1412" fmla="*/ 4834 w 10785"/>
                <a:gd name="connsiteY1412" fmla="*/ 376 h 10000"/>
                <a:gd name="connsiteX1413" fmla="*/ 4829 w 10785"/>
                <a:gd name="connsiteY1413" fmla="*/ 402 h 10000"/>
                <a:gd name="connsiteX1414" fmla="*/ 4834 w 10785"/>
                <a:gd name="connsiteY1414" fmla="*/ 410 h 10000"/>
                <a:gd name="connsiteX1415" fmla="*/ 4829 w 10785"/>
                <a:gd name="connsiteY1415" fmla="*/ 436 h 10000"/>
                <a:gd name="connsiteX1416" fmla="*/ 4825 w 10785"/>
                <a:gd name="connsiteY1416" fmla="*/ 436 h 10000"/>
                <a:gd name="connsiteX1417" fmla="*/ 4825 w 10785"/>
                <a:gd name="connsiteY1417" fmla="*/ 444 h 10000"/>
                <a:gd name="connsiteX1418" fmla="*/ 4811 w 10785"/>
                <a:gd name="connsiteY1418" fmla="*/ 496 h 10000"/>
                <a:gd name="connsiteX1419" fmla="*/ 4811 w 10785"/>
                <a:gd name="connsiteY1419" fmla="*/ 496 h 10000"/>
                <a:gd name="connsiteX1420" fmla="*/ 4811 w 10785"/>
                <a:gd name="connsiteY1420" fmla="*/ 521 h 10000"/>
                <a:gd name="connsiteX1421" fmla="*/ 4816 w 10785"/>
                <a:gd name="connsiteY1421" fmla="*/ 530 h 10000"/>
                <a:gd name="connsiteX1422" fmla="*/ 4834 w 10785"/>
                <a:gd name="connsiteY1422" fmla="*/ 547 h 10000"/>
                <a:gd name="connsiteX1423" fmla="*/ 4834 w 10785"/>
                <a:gd name="connsiteY1423" fmla="*/ 581 h 10000"/>
                <a:gd name="connsiteX1424" fmla="*/ 4843 w 10785"/>
                <a:gd name="connsiteY1424" fmla="*/ 581 h 10000"/>
                <a:gd name="connsiteX1425" fmla="*/ 4843 w 10785"/>
                <a:gd name="connsiteY1425" fmla="*/ 598 h 10000"/>
                <a:gd name="connsiteX1426" fmla="*/ 4829 w 10785"/>
                <a:gd name="connsiteY1426" fmla="*/ 598 h 10000"/>
                <a:gd name="connsiteX1427" fmla="*/ 4829 w 10785"/>
                <a:gd name="connsiteY1427" fmla="*/ 573 h 10000"/>
                <a:gd name="connsiteX1428" fmla="*/ 4829 w 10785"/>
                <a:gd name="connsiteY1428" fmla="*/ 632 h 10000"/>
                <a:gd name="connsiteX1429" fmla="*/ 4829 w 10785"/>
                <a:gd name="connsiteY1429" fmla="*/ 632 h 10000"/>
                <a:gd name="connsiteX1430" fmla="*/ 4829 w 10785"/>
                <a:gd name="connsiteY1430" fmla="*/ 650 h 10000"/>
                <a:gd name="connsiteX1431" fmla="*/ 4774 w 10785"/>
                <a:gd name="connsiteY1431" fmla="*/ 684 h 10000"/>
                <a:gd name="connsiteX1432" fmla="*/ 4756 w 10785"/>
                <a:gd name="connsiteY1432" fmla="*/ 684 h 10000"/>
                <a:gd name="connsiteX1433" fmla="*/ 4737 w 10785"/>
                <a:gd name="connsiteY1433" fmla="*/ 692 h 10000"/>
                <a:gd name="connsiteX1434" fmla="*/ 4677 w 10785"/>
                <a:gd name="connsiteY1434" fmla="*/ 667 h 10000"/>
                <a:gd name="connsiteX1435" fmla="*/ 4682 w 10785"/>
                <a:gd name="connsiteY1435" fmla="*/ 692 h 10000"/>
                <a:gd name="connsiteX1436" fmla="*/ 4682 w 10785"/>
                <a:gd name="connsiteY1436" fmla="*/ 709 h 10000"/>
                <a:gd name="connsiteX1437" fmla="*/ 4691 w 10785"/>
                <a:gd name="connsiteY1437" fmla="*/ 718 h 10000"/>
                <a:gd name="connsiteX1438" fmla="*/ 4691 w 10785"/>
                <a:gd name="connsiteY1438" fmla="*/ 744 h 10000"/>
                <a:gd name="connsiteX1439" fmla="*/ 4700 w 10785"/>
                <a:gd name="connsiteY1439" fmla="*/ 744 h 10000"/>
                <a:gd name="connsiteX1440" fmla="*/ 4714 w 10785"/>
                <a:gd name="connsiteY1440" fmla="*/ 769 h 10000"/>
                <a:gd name="connsiteX1441" fmla="*/ 4710 w 10785"/>
                <a:gd name="connsiteY1441" fmla="*/ 786 h 10000"/>
                <a:gd name="connsiteX1442" fmla="*/ 4737 w 10785"/>
                <a:gd name="connsiteY1442" fmla="*/ 786 h 10000"/>
                <a:gd name="connsiteX1443" fmla="*/ 4742 w 10785"/>
                <a:gd name="connsiteY1443" fmla="*/ 795 h 10000"/>
                <a:gd name="connsiteX1444" fmla="*/ 4742 w 10785"/>
                <a:gd name="connsiteY1444" fmla="*/ 803 h 10000"/>
                <a:gd name="connsiteX1445" fmla="*/ 4737 w 10785"/>
                <a:gd name="connsiteY1445" fmla="*/ 846 h 10000"/>
                <a:gd name="connsiteX1446" fmla="*/ 4737 w 10785"/>
                <a:gd name="connsiteY1446" fmla="*/ 880 h 10000"/>
                <a:gd name="connsiteX1447" fmla="*/ 4737 w 10785"/>
                <a:gd name="connsiteY1447" fmla="*/ 906 h 10000"/>
                <a:gd name="connsiteX1448" fmla="*/ 4724 w 10785"/>
                <a:gd name="connsiteY1448" fmla="*/ 897 h 10000"/>
                <a:gd name="connsiteX1449" fmla="*/ 4724 w 10785"/>
                <a:gd name="connsiteY1449" fmla="*/ 872 h 10000"/>
                <a:gd name="connsiteX1450" fmla="*/ 4714 w 10785"/>
                <a:gd name="connsiteY1450" fmla="*/ 855 h 10000"/>
                <a:gd name="connsiteX1451" fmla="*/ 4691 w 10785"/>
                <a:gd name="connsiteY1451" fmla="*/ 846 h 10000"/>
                <a:gd name="connsiteX1452" fmla="*/ 4691 w 10785"/>
                <a:gd name="connsiteY1452" fmla="*/ 846 h 10000"/>
                <a:gd name="connsiteX1453" fmla="*/ 4696 w 10785"/>
                <a:gd name="connsiteY1453" fmla="*/ 821 h 10000"/>
                <a:gd name="connsiteX1454" fmla="*/ 4691 w 10785"/>
                <a:gd name="connsiteY1454" fmla="*/ 803 h 10000"/>
                <a:gd name="connsiteX1455" fmla="*/ 4668 w 10785"/>
                <a:gd name="connsiteY1455" fmla="*/ 821 h 10000"/>
                <a:gd name="connsiteX1456" fmla="*/ 4668 w 10785"/>
                <a:gd name="connsiteY1456" fmla="*/ 786 h 10000"/>
                <a:gd name="connsiteX1457" fmla="*/ 4664 w 10785"/>
                <a:gd name="connsiteY1457" fmla="*/ 786 h 10000"/>
                <a:gd name="connsiteX1458" fmla="*/ 4622 w 10785"/>
                <a:gd name="connsiteY1458" fmla="*/ 846 h 10000"/>
                <a:gd name="connsiteX1459" fmla="*/ 4627 w 10785"/>
                <a:gd name="connsiteY1459" fmla="*/ 872 h 10000"/>
                <a:gd name="connsiteX1460" fmla="*/ 4622 w 10785"/>
                <a:gd name="connsiteY1460" fmla="*/ 880 h 10000"/>
                <a:gd name="connsiteX1461" fmla="*/ 4622 w 10785"/>
                <a:gd name="connsiteY1461" fmla="*/ 880 h 10000"/>
                <a:gd name="connsiteX1462" fmla="*/ 4618 w 10785"/>
                <a:gd name="connsiteY1462" fmla="*/ 872 h 10000"/>
                <a:gd name="connsiteX1463" fmla="*/ 4604 w 10785"/>
                <a:gd name="connsiteY1463" fmla="*/ 880 h 10000"/>
                <a:gd name="connsiteX1464" fmla="*/ 4594 w 10785"/>
                <a:gd name="connsiteY1464" fmla="*/ 906 h 10000"/>
                <a:gd name="connsiteX1465" fmla="*/ 4604 w 10785"/>
                <a:gd name="connsiteY1465" fmla="*/ 906 h 10000"/>
                <a:gd name="connsiteX1466" fmla="*/ 4608 w 10785"/>
                <a:gd name="connsiteY1466" fmla="*/ 906 h 10000"/>
                <a:gd name="connsiteX1467" fmla="*/ 4608 w 10785"/>
                <a:gd name="connsiteY1467" fmla="*/ 932 h 10000"/>
                <a:gd name="connsiteX1468" fmla="*/ 4604 w 10785"/>
                <a:gd name="connsiteY1468" fmla="*/ 932 h 10000"/>
                <a:gd name="connsiteX1469" fmla="*/ 4590 w 10785"/>
                <a:gd name="connsiteY1469" fmla="*/ 932 h 10000"/>
                <a:gd name="connsiteX1470" fmla="*/ 4567 w 10785"/>
                <a:gd name="connsiteY1470" fmla="*/ 957 h 10000"/>
                <a:gd name="connsiteX1471" fmla="*/ 4567 w 10785"/>
                <a:gd name="connsiteY1471" fmla="*/ 932 h 10000"/>
                <a:gd name="connsiteX1472" fmla="*/ 4567 w 10785"/>
                <a:gd name="connsiteY1472" fmla="*/ 923 h 10000"/>
                <a:gd name="connsiteX1473" fmla="*/ 4562 w 10785"/>
                <a:gd name="connsiteY1473" fmla="*/ 932 h 10000"/>
                <a:gd name="connsiteX1474" fmla="*/ 4548 w 10785"/>
                <a:gd name="connsiteY1474" fmla="*/ 957 h 10000"/>
                <a:gd name="connsiteX1475" fmla="*/ 4544 w 10785"/>
                <a:gd name="connsiteY1475" fmla="*/ 957 h 10000"/>
                <a:gd name="connsiteX1476" fmla="*/ 4521 w 10785"/>
                <a:gd name="connsiteY1476" fmla="*/ 983 h 10000"/>
                <a:gd name="connsiteX1477" fmla="*/ 4521 w 10785"/>
                <a:gd name="connsiteY1477" fmla="*/ 983 h 10000"/>
                <a:gd name="connsiteX1478" fmla="*/ 4530 w 10785"/>
                <a:gd name="connsiteY1478" fmla="*/ 957 h 10000"/>
                <a:gd name="connsiteX1479" fmla="*/ 4535 w 10785"/>
                <a:gd name="connsiteY1479" fmla="*/ 932 h 10000"/>
                <a:gd name="connsiteX1480" fmla="*/ 4521 w 10785"/>
                <a:gd name="connsiteY1480" fmla="*/ 932 h 10000"/>
                <a:gd name="connsiteX1481" fmla="*/ 4516 w 10785"/>
                <a:gd name="connsiteY1481" fmla="*/ 923 h 10000"/>
                <a:gd name="connsiteX1482" fmla="*/ 4516 w 10785"/>
                <a:gd name="connsiteY1482" fmla="*/ 932 h 10000"/>
                <a:gd name="connsiteX1483" fmla="*/ 4488 w 10785"/>
                <a:gd name="connsiteY1483" fmla="*/ 940 h 10000"/>
                <a:gd name="connsiteX1484" fmla="*/ 4484 w 10785"/>
                <a:gd name="connsiteY1484" fmla="*/ 983 h 10000"/>
                <a:gd name="connsiteX1485" fmla="*/ 4470 w 10785"/>
                <a:gd name="connsiteY1485" fmla="*/ 983 h 10000"/>
                <a:gd name="connsiteX1486" fmla="*/ 4470 w 10785"/>
                <a:gd name="connsiteY1486" fmla="*/ 966 h 10000"/>
                <a:gd name="connsiteX1487" fmla="*/ 4488 w 10785"/>
                <a:gd name="connsiteY1487" fmla="*/ 923 h 10000"/>
                <a:gd name="connsiteX1488" fmla="*/ 4493 w 10785"/>
                <a:gd name="connsiteY1488" fmla="*/ 880 h 10000"/>
                <a:gd name="connsiteX1489" fmla="*/ 4475 w 10785"/>
                <a:gd name="connsiteY1489" fmla="*/ 846 h 10000"/>
                <a:gd name="connsiteX1490" fmla="*/ 4442 w 10785"/>
                <a:gd name="connsiteY1490" fmla="*/ 855 h 10000"/>
                <a:gd name="connsiteX1491" fmla="*/ 4433 w 10785"/>
                <a:gd name="connsiteY1491" fmla="*/ 855 h 10000"/>
                <a:gd name="connsiteX1492" fmla="*/ 4433 w 10785"/>
                <a:gd name="connsiteY1492" fmla="*/ 880 h 10000"/>
                <a:gd name="connsiteX1493" fmla="*/ 4401 w 10785"/>
                <a:gd name="connsiteY1493" fmla="*/ 855 h 10000"/>
                <a:gd name="connsiteX1494" fmla="*/ 4396 w 10785"/>
                <a:gd name="connsiteY1494" fmla="*/ 872 h 10000"/>
                <a:gd name="connsiteX1495" fmla="*/ 4382 w 10785"/>
                <a:gd name="connsiteY1495" fmla="*/ 897 h 10000"/>
                <a:gd name="connsiteX1496" fmla="*/ 4373 w 10785"/>
                <a:gd name="connsiteY1496" fmla="*/ 872 h 10000"/>
                <a:gd name="connsiteX1497" fmla="*/ 4341 w 10785"/>
                <a:gd name="connsiteY1497" fmla="*/ 872 h 10000"/>
                <a:gd name="connsiteX1498" fmla="*/ 4336 w 10785"/>
                <a:gd name="connsiteY1498" fmla="*/ 880 h 10000"/>
                <a:gd name="connsiteX1499" fmla="*/ 4346 w 10785"/>
                <a:gd name="connsiteY1499" fmla="*/ 897 h 10000"/>
                <a:gd name="connsiteX1500" fmla="*/ 4346 w 10785"/>
                <a:gd name="connsiteY1500" fmla="*/ 897 h 10000"/>
                <a:gd name="connsiteX1501" fmla="*/ 4313 w 10785"/>
                <a:gd name="connsiteY1501" fmla="*/ 906 h 10000"/>
                <a:gd name="connsiteX1502" fmla="*/ 4313 w 10785"/>
                <a:gd name="connsiteY1502" fmla="*/ 906 h 10000"/>
                <a:gd name="connsiteX1503" fmla="*/ 4313 w 10785"/>
                <a:gd name="connsiteY1503" fmla="*/ 880 h 10000"/>
                <a:gd name="connsiteX1504" fmla="*/ 4309 w 10785"/>
                <a:gd name="connsiteY1504" fmla="*/ 897 h 10000"/>
                <a:gd name="connsiteX1505" fmla="*/ 4295 w 10785"/>
                <a:gd name="connsiteY1505" fmla="*/ 923 h 10000"/>
                <a:gd name="connsiteX1506" fmla="*/ 4286 w 10785"/>
                <a:gd name="connsiteY1506" fmla="*/ 897 h 10000"/>
                <a:gd name="connsiteX1507" fmla="*/ 4281 w 10785"/>
                <a:gd name="connsiteY1507" fmla="*/ 906 h 10000"/>
                <a:gd name="connsiteX1508" fmla="*/ 4281 w 10785"/>
                <a:gd name="connsiteY1508" fmla="*/ 940 h 10000"/>
                <a:gd name="connsiteX1509" fmla="*/ 4286 w 10785"/>
                <a:gd name="connsiteY1509" fmla="*/ 957 h 10000"/>
                <a:gd name="connsiteX1510" fmla="*/ 4309 w 10785"/>
                <a:gd name="connsiteY1510" fmla="*/ 932 h 10000"/>
                <a:gd name="connsiteX1511" fmla="*/ 4313 w 10785"/>
                <a:gd name="connsiteY1511" fmla="*/ 957 h 10000"/>
                <a:gd name="connsiteX1512" fmla="*/ 4313 w 10785"/>
                <a:gd name="connsiteY1512" fmla="*/ 966 h 10000"/>
                <a:gd name="connsiteX1513" fmla="*/ 4323 w 10785"/>
                <a:gd name="connsiteY1513" fmla="*/ 966 h 10000"/>
                <a:gd name="connsiteX1514" fmla="*/ 4323 w 10785"/>
                <a:gd name="connsiteY1514" fmla="*/ 940 h 10000"/>
                <a:gd name="connsiteX1515" fmla="*/ 4327 w 10785"/>
                <a:gd name="connsiteY1515" fmla="*/ 940 h 10000"/>
                <a:gd name="connsiteX1516" fmla="*/ 4327 w 10785"/>
                <a:gd name="connsiteY1516" fmla="*/ 957 h 10000"/>
                <a:gd name="connsiteX1517" fmla="*/ 4327 w 10785"/>
                <a:gd name="connsiteY1517" fmla="*/ 966 h 10000"/>
                <a:gd name="connsiteX1518" fmla="*/ 4323 w 10785"/>
                <a:gd name="connsiteY1518" fmla="*/ 991 h 10000"/>
                <a:gd name="connsiteX1519" fmla="*/ 4207 w 10785"/>
                <a:gd name="connsiteY1519" fmla="*/ 1060 h 10000"/>
                <a:gd name="connsiteX1520" fmla="*/ 4207 w 10785"/>
                <a:gd name="connsiteY1520" fmla="*/ 1060 h 10000"/>
                <a:gd name="connsiteX1521" fmla="*/ 4203 w 10785"/>
                <a:gd name="connsiteY1521" fmla="*/ 1068 h 10000"/>
                <a:gd name="connsiteX1522" fmla="*/ 4203 w 10785"/>
                <a:gd name="connsiteY1522" fmla="*/ 1094 h 10000"/>
                <a:gd name="connsiteX1523" fmla="*/ 4203 w 10785"/>
                <a:gd name="connsiteY1523" fmla="*/ 1094 h 10000"/>
                <a:gd name="connsiteX1524" fmla="*/ 4189 w 10785"/>
                <a:gd name="connsiteY1524" fmla="*/ 1094 h 10000"/>
                <a:gd name="connsiteX1525" fmla="*/ 4166 w 10785"/>
                <a:gd name="connsiteY1525" fmla="*/ 1103 h 10000"/>
                <a:gd name="connsiteX1526" fmla="*/ 4152 w 10785"/>
                <a:gd name="connsiteY1526" fmla="*/ 1094 h 10000"/>
                <a:gd name="connsiteX1527" fmla="*/ 4134 w 10785"/>
                <a:gd name="connsiteY1527" fmla="*/ 1120 h 10000"/>
                <a:gd name="connsiteX1528" fmla="*/ 4106 w 10785"/>
                <a:gd name="connsiteY1528" fmla="*/ 1120 h 10000"/>
                <a:gd name="connsiteX1529" fmla="*/ 4092 w 10785"/>
                <a:gd name="connsiteY1529" fmla="*/ 1154 h 10000"/>
                <a:gd name="connsiteX1530" fmla="*/ 4106 w 10785"/>
                <a:gd name="connsiteY1530" fmla="*/ 1171 h 10000"/>
                <a:gd name="connsiteX1531" fmla="*/ 4078 w 10785"/>
                <a:gd name="connsiteY1531" fmla="*/ 1179 h 10000"/>
                <a:gd name="connsiteX1532" fmla="*/ 4065 w 10785"/>
                <a:gd name="connsiteY1532" fmla="*/ 1205 h 10000"/>
                <a:gd name="connsiteX1533" fmla="*/ 4046 w 10785"/>
                <a:gd name="connsiteY1533" fmla="*/ 1179 h 10000"/>
                <a:gd name="connsiteX1534" fmla="*/ 4041 w 10785"/>
                <a:gd name="connsiteY1534" fmla="*/ 1197 h 10000"/>
                <a:gd name="connsiteX1535" fmla="*/ 4028 w 10785"/>
                <a:gd name="connsiteY1535" fmla="*/ 1205 h 10000"/>
                <a:gd name="connsiteX1536" fmla="*/ 4028 w 10785"/>
                <a:gd name="connsiteY1536" fmla="*/ 1205 h 10000"/>
                <a:gd name="connsiteX1537" fmla="*/ 4032 w 10785"/>
                <a:gd name="connsiteY1537" fmla="*/ 1205 h 10000"/>
                <a:gd name="connsiteX1538" fmla="*/ 4032 w 10785"/>
                <a:gd name="connsiteY1538" fmla="*/ 1231 h 10000"/>
                <a:gd name="connsiteX1539" fmla="*/ 4014 w 10785"/>
                <a:gd name="connsiteY1539" fmla="*/ 1239 h 10000"/>
                <a:gd name="connsiteX1540" fmla="*/ 4014 w 10785"/>
                <a:gd name="connsiteY1540" fmla="*/ 1256 h 10000"/>
                <a:gd name="connsiteX1541" fmla="*/ 4000 w 10785"/>
                <a:gd name="connsiteY1541" fmla="*/ 1265 h 10000"/>
                <a:gd name="connsiteX1542" fmla="*/ 3986 w 10785"/>
                <a:gd name="connsiteY1542" fmla="*/ 1308 h 10000"/>
                <a:gd name="connsiteX1543" fmla="*/ 3972 w 10785"/>
                <a:gd name="connsiteY1543" fmla="*/ 1316 h 10000"/>
                <a:gd name="connsiteX1544" fmla="*/ 3972 w 10785"/>
                <a:gd name="connsiteY1544" fmla="*/ 1325 h 10000"/>
                <a:gd name="connsiteX1545" fmla="*/ 3972 w 10785"/>
                <a:gd name="connsiteY1545" fmla="*/ 1342 h 10000"/>
                <a:gd name="connsiteX1546" fmla="*/ 3968 w 10785"/>
                <a:gd name="connsiteY1546" fmla="*/ 1350 h 10000"/>
                <a:gd name="connsiteX1547" fmla="*/ 3954 w 10785"/>
                <a:gd name="connsiteY1547" fmla="*/ 1368 h 10000"/>
                <a:gd name="connsiteX1548" fmla="*/ 3945 w 10785"/>
                <a:gd name="connsiteY1548" fmla="*/ 1350 h 10000"/>
                <a:gd name="connsiteX1549" fmla="*/ 3908 w 10785"/>
                <a:gd name="connsiteY1549" fmla="*/ 1342 h 10000"/>
                <a:gd name="connsiteX1550" fmla="*/ 3894 w 10785"/>
                <a:gd name="connsiteY1550" fmla="*/ 1368 h 10000"/>
                <a:gd name="connsiteX1551" fmla="*/ 3922 w 10785"/>
                <a:gd name="connsiteY1551" fmla="*/ 1393 h 10000"/>
                <a:gd name="connsiteX1552" fmla="*/ 3945 w 10785"/>
                <a:gd name="connsiteY1552" fmla="*/ 1393 h 10000"/>
                <a:gd name="connsiteX1553" fmla="*/ 3940 w 10785"/>
                <a:gd name="connsiteY1553" fmla="*/ 1419 h 10000"/>
                <a:gd name="connsiteX1554" fmla="*/ 3931 w 10785"/>
                <a:gd name="connsiteY1554" fmla="*/ 1427 h 10000"/>
                <a:gd name="connsiteX1555" fmla="*/ 3926 w 10785"/>
                <a:gd name="connsiteY1555" fmla="*/ 1427 h 10000"/>
                <a:gd name="connsiteX1556" fmla="*/ 3922 w 10785"/>
                <a:gd name="connsiteY1556" fmla="*/ 1419 h 10000"/>
                <a:gd name="connsiteX1557" fmla="*/ 3912 w 10785"/>
                <a:gd name="connsiteY1557" fmla="*/ 1427 h 10000"/>
                <a:gd name="connsiteX1558" fmla="*/ 3912 w 10785"/>
                <a:gd name="connsiteY1558" fmla="*/ 1444 h 10000"/>
                <a:gd name="connsiteX1559" fmla="*/ 3894 w 10785"/>
                <a:gd name="connsiteY1559" fmla="*/ 1513 h 10000"/>
                <a:gd name="connsiteX1560" fmla="*/ 3885 w 10785"/>
                <a:gd name="connsiteY1560" fmla="*/ 1513 h 10000"/>
                <a:gd name="connsiteX1561" fmla="*/ 3880 w 10785"/>
                <a:gd name="connsiteY1561" fmla="*/ 1538 h 10000"/>
                <a:gd name="connsiteX1562" fmla="*/ 3885 w 10785"/>
                <a:gd name="connsiteY1562" fmla="*/ 1564 h 10000"/>
                <a:gd name="connsiteX1563" fmla="*/ 3880 w 10785"/>
                <a:gd name="connsiteY1563" fmla="*/ 1581 h 10000"/>
                <a:gd name="connsiteX1564" fmla="*/ 3871 w 10785"/>
                <a:gd name="connsiteY1564" fmla="*/ 1538 h 10000"/>
                <a:gd name="connsiteX1565" fmla="*/ 3853 w 10785"/>
                <a:gd name="connsiteY1565" fmla="*/ 1530 h 10000"/>
                <a:gd name="connsiteX1566" fmla="*/ 3853 w 10785"/>
                <a:gd name="connsiteY1566" fmla="*/ 1504 h 10000"/>
                <a:gd name="connsiteX1567" fmla="*/ 3834 w 10785"/>
                <a:gd name="connsiteY1567" fmla="*/ 1487 h 10000"/>
                <a:gd name="connsiteX1568" fmla="*/ 3834 w 10785"/>
                <a:gd name="connsiteY1568" fmla="*/ 1487 h 10000"/>
                <a:gd name="connsiteX1569" fmla="*/ 3839 w 10785"/>
                <a:gd name="connsiteY1569" fmla="*/ 1513 h 10000"/>
                <a:gd name="connsiteX1570" fmla="*/ 3820 w 10785"/>
                <a:gd name="connsiteY1570" fmla="*/ 1538 h 10000"/>
                <a:gd name="connsiteX1571" fmla="*/ 3820 w 10785"/>
                <a:gd name="connsiteY1571" fmla="*/ 1556 h 10000"/>
                <a:gd name="connsiteX1572" fmla="*/ 3820 w 10785"/>
                <a:gd name="connsiteY1572" fmla="*/ 1564 h 10000"/>
                <a:gd name="connsiteX1573" fmla="*/ 3820 w 10785"/>
                <a:gd name="connsiteY1573" fmla="*/ 1581 h 10000"/>
                <a:gd name="connsiteX1574" fmla="*/ 3853 w 10785"/>
                <a:gd name="connsiteY1574" fmla="*/ 1581 h 10000"/>
                <a:gd name="connsiteX1575" fmla="*/ 3857 w 10785"/>
                <a:gd name="connsiteY1575" fmla="*/ 1598 h 10000"/>
                <a:gd name="connsiteX1576" fmla="*/ 3880 w 10785"/>
                <a:gd name="connsiteY1576" fmla="*/ 1615 h 10000"/>
                <a:gd name="connsiteX1577" fmla="*/ 3871 w 10785"/>
                <a:gd name="connsiteY1577" fmla="*/ 1615 h 10000"/>
                <a:gd name="connsiteX1578" fmla="*/ 3871 w 10785"/>
                <a:gd name="connsiteY1578" fmla="*/ 1641 h 10000"/>
                <a:gd name="connsiteX1579" fmla="*/ 3880 w 10785"/>
                <a:gd name="connsiteY1579" fmla="*/ 1641 h 10000"/>
                <a:gd name="connsiteX1580" fmla="*/ 3871 w 10785"/>
                <a:gd name="connsiteY1580" fmla="*/ 1650 h 10000"/>
                <a:gd name="connsiteX1581" fmla="*/ 3857 w 10785"/>
                <a:gd name="connsiteY1581" fmla="*/ 1650 h 10000"/>
                <a:gd name="connsiteX1582" fmla="*/ 3853 w 10785"/>
                <a:gd name="connsiteY1582" fmla="*/ 1650 h 10000"/>
                <a:gd name="connsiteX1583" fmla="*/ 3839 w 10785"/>
                <a:gd name="connsiteY1583" fmla="*/ 1667 h 10000"/>
                <a:gd name="connsiteX1584" fmla="*/ 3848 w 10785"/>
                <a:gd name="connsiteY1584" fmla="*/ 1692 h 10000"/>
                <a:gd name="connsiteX1585" fmla="*/ 3834 w 10785"/>
                <a:gd name="connsiteY1585" fmla="*/ 1692 h 10000"/>
                <a:gd name="connsiteX1586" fmla="*/ 3825 w 10785"/>
                <a:gd name="connsiteY1586" fmla="*/ 1692 h 10000"/>
                <a:gd name="connsiteX1587" fmla="*/ 3825 w 10785"/>
                <a:gd name="connsiteY1587" fmla="*/ 1718 h 10000"/>
                <a:gd name="connsiteX1588" fmla="*/ 3839 w 10785"/>
                <a:gd name="connsiteY1588" fmla="*/ 1726 h 10000"/>
                <a:gd name="connsiteX1589" fmla="*/ 3880 w 10785"/>
                <a:gd name="connsiteY1589" fmla="*/ 1752 h 10000"/>
                <a:gd name="connsiteX1590" fmla="*/ 3894 w 10785"/>
                <a:gd name="connsiteY1590" fmla="*/ 1829 h 10000"/>
                <a:gd name="connsiteX1591" fmla="*/ 3899 w 10785"/>
                <a:gd name="connsiteY1591" fmla="*/ 1838 h 10000"/>
                <a:gd name="connsiteX1592" fmla="*/ 3894 w 10785"/>
                <a:gd name="connsiteY1592" fmla="*/ 1855 h 10000"/>
                <a:gd name="connsiteX1593" fmla="*/ 3880 w 10785"/>
                <a:gd name="connsiteY1593" fmla="*/ 1838 h 10000"/>
                <a:gd name="connsiteX1594" fmla="*/ 3880 w 10785"/>
                <a:gd name="connsiteY1594" fmla="*/ 1855 h 10000"/>
                <a:gd name="connsiteX1595" fmla="*/ 3880 w 10785"/>
                <a:gd name="connsiteY1595" fmla="*/ 1863 h 10000"/>
                <a:gd name="connsiteX1596" fmla="*/ 3871 w 10785"/>
                <a:gd name="connsiteY1596" fmla="*/ 1872 h 10000"/>
                <a:gd name="connsiteX1597" fmla="*/ 3880 w 10785"/>
                <a:gd name="connsiteY1597" fmla="*/ 1889 h 10000"/>
                <a:gd name="connsiteX1598" fmla="*/ 3885 w 10785"/>
                <a:gd name="connsiteY1598" fmla="*/ 1889 h 10000"/>
                <a:gd name="connsiteX1599" fmla="*/ 3880 w 10785"/>
                <a:gd name="connsiteY1599" fmla="*/ 1897 h 10000"/>
                <a:gd name="connsiteX1600" fmla="*/ 3871 w 10785"/>
                <a:gd name="connsiteY1600" fmla="*/ 1915 h 10000"/>
                <a:gd name="connsiteX1601" fmla="*/ 3848 w 10785"/>
                <a:gd name="connsiteY1601" fmla="*/ 1923 h 10000"/>
                <a:gd name="connsiteX1602" fmla="*/ 3825 w 10785"/>
                <a:gd name="connsiteY1602" fmla="*/ 1940 h 10000"/>
                <a:gd name="connsiteX1603" fmla="*/ 3811 w 10785"/>
                <a:gd name="connsiteY1603" fmla="*/ 1940 h 10000"/>
                <a:gd name="connsiteX1604" fmla="*/ 3806 w 10785"/>
                <a:gd name="connsiteY1604" fmla="*/ 1949 h 10000"/>
                <a:gd name="connsiteX1605" fmla="*/ 3797 w 10785"/>
                <a:gd name="connsiteY1605" fmla="*/ 1966 h 10000"/>
                <a:gd name="connsiteX1606" fmla="*/ 3788 w 10785"/>
                <a:gd name="connsiteY1606" fmla="*/ 1991 h 10000"/>
                <a:gd name="connsiteX1607" fmla="*/ 3765 w 10785"/>
                <a:gd name="connsiteY1607" fmla="*/ 1974 h 10000"/>
                <a:gd name="connsiteX1608" fmla="*/ 3760 w 10785"/>
                <a:gd name="connsiteY1608" fmla="*/ 1966 h 10000"/>
                <a:gd name="connsiteX1609" fmla="*/ 3760 w 10785"/>
                <a:gd name="connsiteY1609" fmla="*/ 1966 h 10000"/>
                <a:gd name="connsiteX1610" fmla="*/ 3631 w 10785"/>
                <a:gd name="connsiteY1610" fmla="*/ 2009 h 10000"/>
                <a:gd name="connsiteX1611" fmla="*/ 3618 w 10785"/>
                <a:gd name="connsiteY1611" fmla="*/ 2000 h 10000"/>
                <a:gd name="connsiteX1612" fmla="*/ 3599 w 10785"/>
                <a:gd name="connsiteY1612" fmla="*/ 2009 h 10000"/>
                <a:gd name="connsiteX1613" fmla="*/ 3571 w 10785"/>
                <a:gd name="connsiteY1613" fmla="*/ 2000 h 10000"/>
                <a:gd name="connsiteX1614" fmla="*/ 3530 w 10785"/>
                <a:gd name="connsiteY1614" fmla="*/ 2026 h 10000"/>
                <a:gd name="connsiteX1615" fmla="*/ 3530 w 10785"/>
                <a:gd name="connsiteY1615" fmla="*/ 2034 h 10000"/>
                <a:gd name="connsiteX1616" fmla="*/ 3525 w 10785"/>
                <a:gd name="connsiteY1616" fmla="*/ 2051 h 10000"/>
                <a:gd name="connsiteX1617" fmla="*/ 3512 w 10785"/>
                <a:gd name="connsiteY1617" fmla="*/ 2034 h 10000"/>
                <a:gd name="connsiteX1618" fmla="*/ 3507 w 10785"/>
                <a:gd name="connsiteY1618" fmla="*/ 2034 h 10000"/>
                <a:gd name="connsiteX1619" fmla="*/ 3498 w 10785"/>
                <a:gd name="connsiteY1619" fmla="*/ 2051 h 10000"/>
                <a:gd name="connsiteX1620" fmla="*/ 3484 w 10785"/>
                <a:gd name="connsiteY1620" fmla="*/ 2060 h 10000"/>
                <a:gd name="connsiteX1621" fmla="*/ 3484 w 10785"/>
                <a:gd name="connsiteY1621" fmla="*/ 2085 h 10000"/>
                <a:gd name="connsiteX1622" fmla="*/ 3484 w 10785"/>
                <a:gd name="connsiteY1622" fmla="*/ 2103 h 10000"/>
                <a:gd name="connsiteX1623" fmla="*/ 3493 w 10785"/>
                <a:gd name="connsiteY1623" fmla="*/ 2103 h 10000"/>
                <a:gd name="connsiteX1624" fmla="*/ 3493 w 10785"/>
                <a:gd name="connsiteY1624" fmla="*/ 2085 h 10000"/>
                <a:gd name="connsiteX1625" fmla="*/ 3498 w 10785"/>
                <a:gd name="connsiteY1625" fmla="*/ 2085 h 10000"/>
                <a:gd name="connsiteX1626" fmla="*/ 3498 w 10785"/>
                <a:gd name="connsiteY1626" fmla="*/ 2111 h 10000"/>
                <a:gd name="connsiteX1627" fmla="*/ 3484 w 10785"/>
                <a:gd name="connsiteY1627" fmla="*/ 2120 h 10000"/>
                <a:gd name="connsiteX1628" fmla="*/ 3484 w 10785"/>
                <a:gd name="connsiteY1628" fmla="*/ 2145 h 10000"/>
                <a:gd name="connsiteX1629" fmla="*/ 3470 w 10785"/>
                <a:gd name="connsiteY1629" fmla="*/ 2137 h 10000"/>
                <a:gd name="connsiteX1630" fmla="*/ 3465 w 10785"/>
                <a:gd name="connsiteY1630" fmla="*/ 2145 h 10000"/>
                <a:gd name="connsiteX1631" fmla="*/ 3470 w 10785"/>
                <a:gd name="connsiteY1631" fmla="*/ 2171 h 10000"/>
                <a:gd name="connsiteX1632" fmla="*/ 3484 w 10785"/>
                <a:gd name="connsiteY1632" fmla="*/ 2171 h 10000"/>
                <a:gd name="connsiteX1633" fmla="*/ 3484 w 10785"/>
                <a:gd name="connsiteY1633" fmla="*/ 2197 h 10000"/>
                <a:gd name="connsiteX1634" fmla="*/ 3465 w 10785"/>
                <a:gd name="connsiteY1634" fmla="*/ 2214 h 10000"/>
                <a:gd name="connsiteX1635" fmla="*/ 3493 w 10785"/>
                <a:gd name="connsiteY1635" fmla="*/ 2248 h 10000"/>
                <a:gd name="connsiteX1636" fmla="*/ 3484 w 10785"/>
                <a:gd name="connsiteY1636" fmla="*/ 2256 h 10000"/>
                <a:gd name="connsiteX1637" fmla="*/ 3498 w 10785"/>
                <a:gd name="connsiteY1637" fmla="*/ 2274 h 10000"/>
                <a:gd name="connsiteX1638" fmla="*/ 3498 w 10785"/>
                <a:gd name="connsiteY1638" fmla="*/ 2256 h 10000"/>
                <a:gd name="connsiteX1639" fmla="*/ 3507 w 10785"/>
                <a:gd name="connsiteY1639" fmla="*/ 2308 h 10000"/>
                <a:gd name="connsiteX1640" fmla="*/ 3512 w 10785"/>
                <a:gd name="connsiteY1640" fmla="*/ 2325 h 10000"/>
                <a:gd name="connsiteX1641" fmla="*/ 3507 w 10785"/>
                <a:gd name="connsiteY1641" fmla="*/ 2333 h 10000"/>
                <a:gd name="connsiteX1642" fmla="*/ 3507 w 10785"/>
                <a:gd name="connsiteY1642" fmla="*/ 2359 h 10000"/>
                <a:gd name="connsiteX1643" fmla="*/ 3507 w 10785"/>
                <a:gd name="connsiteY1643" fmla="*/ 2376 h 10000"/>
                <a:gd name="connsiteX1644" fmla="*/ 3498 w 10785"/>
                <a:gd name="connsiteY1644" fmla="*/ 2410 h 10000"/>
                <a:gd name="connsiteX1645" fmla="*/ 3498 w 10785"/>
                <a:gd name="connsiteY1645" fmla="*/ 2436 h 10000"/>
                <a:gd name="connsiteX1646" fmla="*/ 3507 w 10785"/>
                <a:gd name="connsiteY1646" fmla="*/ 2462 h 10000"/>
                <a:gd name="connsiteX1647" fmla="*/ 3507 w 10785"/>
                <a:gd name="connsiteY1647" fmla="*/ 2496 h 10000"/>
                <a:gd name="connsiteX1648" fmla="*/ 3512 w 10785"/>
                <a:gd name="connsiteY1648" fmla="*/ 2521 h 10000"/>
                <a:gd name="connsiteX1649" fmla="*/ 3525 w 10785"/>
                <a:gd name="connsiteY1649" fmla="*/ 2556 h 10000"/>
                <a:gd name="connsiteX1650" fmla="*/ 3571 w 10785"/>
                <a:gd name="connsiteY1650" fmla="*/ 2573 h 10000"/>
                <a:gd name="connsiteX1651" fmla="*/ 3590 w 10785"/>
                <a:gd name="connsiteY1651" fmla="*/ 2598 h 10000"/>
                <a:gd name="connsiteX1652" fmla="*/ 3599 w 10785"/>
                <a:gd name="connsiteY1652" fmla="*/ 2598 h 10000"/>
                <a:gd name="connsiteX1653" fmla="*/ 3604 w 10785"/>
                <a:gd name="connsiteY1653" fmla="*/ 2632 h 10000"/>
                <a:gd name="connsiteX1654" fmla="*/ 3599 w 10785"/>
                <a:gd name="connsiteY1654" fmla="*/ 2658 h 10000"/>
                <a:gd name="connsiteX1655" fmla="*/ 3590 w 10785"/>
                <a:gd name="connsiteY1655" fmla="*/ 2667 h 10000"/>
                <a:gd name="connsiteX1656" fmla="*/ 3604 w 10785"/>
                <a:gd name="connsiteY1656" fmla="*/ 2667 h 10000"/>
                <a:gd name="connsiteX1657" fmla="*/ 3613 w 10785"/>
                <a:gd name="connsiteY1657" fmla="*/ 2692 h 10000"/>
                <a:gd name="connsiteX1658" fmla="*/ 3627 w 10785"/>
                <a:gd name="connsiteY1658" fmla="*/ 2735 h 10000"/>
                <a:gd name="connsiteX1659" fmla="*/ 3631 w 10785"/>
                <a:gd name="connsiteY1659" fmla="*/ 2744 h 10000"/>
                <a:gd name="connsiteX1660" fmla="*/ 3659 w 10785"/>
                <a:gd name="connsiteY1660" fmla="*/ 2761 h 10000"/>
                <a:gd name="connsiteX1661" fmla="*/ 3673 w 10785"/>
                <a:gd name="connsiteY1661" fmla="*/ 2769 h 10000"/>
                <a:gd name="connsiteX1662" fmla="*/ 3673 w 10785"/>
                <a:gd name="connsiteY1662" fmla="*/ 2761 h 10000"/>
                <a:gd name="connsiteX1663" fmla="*/ 3687 w 10785"/>
                <a:gd name="connsiteY1663" fmla="*/ 2829 h 10000"/>
                <a:gd name="connsiteX1664" fmla="*/ 3677 w 10785"/>
                <a:gd name="connsiteY1664" fmla="*/ 2897 h 10000"/>
                <a:gd name="connsiteX1665" fmla="*/ 3673 w 10785"/>
                <a:gd name="connsiteY1665" fmla="*/ 2915 h 10000"/>
                <a:gd name="connsiteX1666" fmla="*/ 3664 w 10785"/>
                <a:gd name="connsiteY1666" fmla="*/ 2957 h 10000"/>
                <a:gd name="connsiteX1667" fmla="*/ 3659 w 10785"/>
                <a:gd name="connsiteY1667" fmla="*/ 2983 h 10000"/>
                <a:gd name="connsiteX1668" fmla="*/ 3664 w 10785"/>
                <a:gd name="connsiteY1668" fmla="*/ 3017 h 10000"/>
                <a:gd name="connsiteX1669" fmla="*/ 3659 w 10785"/>
                <a:gd name="connsiteY1669" fmla="*/ 3043 h 10000"/>
                <a:gd name="connsiteX1670" fmla="*/ 3677 w 10785"/>
                <a:gd name="connsiteY1670" fmla="*/ 3094 h 10000"/>
                <a:gd name="connsiteX1671" fmla="*/ 3691 w 10785"/>
                <a:gd name="connsiteY1671" fmla="*/ 3282 h 10000"/>
                <a:gd name="connsiteX1672" fmla="*/ 3691 w 10785"/>
                <a:gd name="connsiteY1672" fmla="*/ 3308 h 10000"/>
                <a:gd name="connsiteX1673" fmla="*/ 3677 w 10785"/>
                <a:gd name="connsiteY1673" fmla="*/ 3342 h 10000"/>
                <a:gd name="connsiteX1674" fmla="*/ 3664 w 10785"/>
                <a:gd name="connsiteY1674" fmla="*/ 3342 h 10000"/>
                <a:gd name="connsiteX1675" fmla="*/ 3650 w 10785"/>
                <a:gd name="connsiteY1675" fmla="*/ 3342 h 10000"/>
                <a:gd name="connsiteX1676" fmla="*/ 3650 w 10785"/>
                <a:gd name="connsiteY1676" fmla="*/ 3350 h 10000"/>
                <a:gd name="connsiteX1677" fmla="*/ 3659 w 10785"/>
                <a:gd name="connsiteY1677" fmla="*/ 3402 h 10000"/>
                <a:gd name="connsiteX1678" fmla="*/ 3659 w 10785"/>
                <a:gd name="connsiteY1678" fmla="*/ 3419 h 10000"/>
                <a:gd name="connsiteX1679" fmla="*/ 3631 w 10785"/>
                <a:gd name="connsiteY1679" fmla="*/ 3402 h 10000"/>
                <a:gd name="connsiteX1680" fmla="*/ 3604 w 10785"/>
                <a:gd name="connsiteY1680" fmla="*/ 3393 h 10000"/>
                <a:gd name="connsiteX1681" fmla="*/ 3599 w 10785"/>
                <a:gd name="connsiteY1681" fmla="*/ 3368 h 10000"/>
                <a:gd name="connsiteX1682" fmla="*/ 3590 w 10785"/>
                <a:gd name="connsiteY1682" fmla="*/ 3239 h 10000"/>
                <a:gd name="connsiteX1683" fmla="*/ 3599 w 10785"/>
                <a:gd name="connsiteY1683" fmla="*/ 3179 h 10000"/>
                <a:gd name="connsiteX1684" fmla="*/ 3599 w 10785"/>
                <a:gd name="connsiteY1684" fmla="*/ 3171 h 10000"/>
                <a:gd name="connsiteX1685" fmla="*/ 3599 w 10785"/>
                <a:gd name="connsiteY1685" fmla="*/ 3009 h 10000"/>
                <a:gd name="connsiteX1686" fmla="*/ 3604 w 10785"/>
                <a:gd name="connsiteY1686" fmla="*/ 2983 h 10000"/>
                <a:gd name="connsiteX1687" fmla="*/ 3645 w 10785"/>
                <a:gd name="connsiteY1687" fmla="*/ 2932 h 10000"/>
                <a:gd name="connsiteX1688" fmla="*/ 3650 w 10785"/>
                <a:gd name="connsiteY1688" fmla="*/ 2872 h 10000"/>
                <a:gd name="connsiteX1689" fmla="*/ 3659 w 10785"/>
                <a:gd name="connsiteY1689" fmla="*/ 2855 h 10000"/>
                <a:gd name="connsiteX1690" fmla="*/ 3659 w 10785"/>
                <a:gd name="connsiteY1690" fmla="*/ 2821 h 10000"/>
                <a:gd name="connsiteX1691" fmla="*/ 3631 w 10785"/>
                <a:gd name="connsiteY1691" fmla="*/ 2795 h 10000"/>
                <a:gd name="connsiteX1692" fmla="*/ 3567 w 10785"/>
                <a:gd name="connsiteY1692" fmla="*/ 2821 h 10000"/>
                <a:gd name="connsiteX1693" fmla="*/ 3544 w 10785"/>
                <a:gd name="connsiteY1693" fmla="*/ 2795 h 10000"/>
                <a:gd name="connsiteX1694" fmla="*/ 3530 w 10785"/>
                <a:gd name="connsiteY1694" fmla="*/ 2769 h 10000"/>
                <a:gd name="connsiteX1695" fmla="*/ 3530 w 10785"/>
                <a:gd name="connsiteY1695" fmla="*/ 2786 h 10000"/>
                <a:gd name="connsiteX1696" fmla="*/ 3498 w 10785"/>
                <a:gd name="connsiteY1696" fmla="*/ 2692 h 10000"/>
                <a:gd name="connsiteX1697" fmla="*/ 3498 w 10785"/>
                <a:gd name="connsiteY1697" fmla="*/ 2667 h 10000"/>
                <a:gd name="connsiteX1698" fmla="*/ 3442 w 10785"/>
                <a:gd name="connsiteY1698" fmla="*/ 2607 h 10000"/>
                <a:gd name="connsiteX1699" fmla="*/ 3433 w 10785"/>
                <a:gd name="connsiteY1699" fmla="*/ 2581 h 10000"/>
                <a:gd name="connsiteX1700" fmla="*/ 3396 w 10785"/>
                <a:gd name="connsiteY1700" fmla="*/ 2556 h 10000"/>
                <a:gd name="connsiteX1701" fmla="*/ 3318 w 10785"/>
                <a:gd name="connsiteY1701" fmla="*/ 2556 h 10000"/>
                <a:gd name="connsiteX1702" fmla="*/ 3304 w 10785"/>
                <a:gd name="connsiteY1702" fmla="*/ 2607 h 10000"/>
                <a:gd name="connsiteX1703" fmla="*/ 3276 w 10785"/>
                <a:gd name="connsiteY1703" fmla="*/ 2632 h 10000"/>
                <a:gd name="connsiteX1704" fmla="*/ 3272 w 10785"/>
                <a:gd name="connsiteY1704" fmla="*/ 2667 h 10000"/>
                <a:gd name="connsiteX1705" fmla="*/ 3304 w 10785"/>
                <a:gd name="connsiteY1705" fmla="*/ 2667 h 10000"/>
                <a:gd name="connsiteX1706" fmla="*/ 3323 w 10785"/>
                <a:gd name="connsiteY1706" fmla="*/ 2692 h 10000"/>
                <a:gd name="connsiteX1707" fmla="*/ 3318 w 10785"/>
                <a:gd name="connsiteY1707" fmla="*/ 2735 h 10000"/>
                <a:gd name="connsiteX1708" fmla="*/ 3304 w 10785"/>
                <a:gd name="connsiteY1708" fmla="*/ 2761 h 10000"/>
                <a:gd name="connsiteX1709" fmla="*/ 3276 w 10785"/>
                <a:gd name="connsiteY1709" fmla="*/ 2769 h 10000"/>
                <a:gd name="connsiteX1710" fmla="*/ 3263 w 10785"/>
                <a:gd name="connsiteY1710" fmla="*/ 2795 h 10000"/>
                <a:gd name="connsiteX1711" fmla="*/ 3235 w 10785"/>
                <a:gd name="connsiteY1711" fmla="*/ 2803 h 10000"/>
                <a:gd name="connsiteX1712" fmla="*/ 3235 w 10785"/>
                <a:gd name="connsiteY1712" fmla="*/ 2786 h 10000"/>
                <a:gd name="connsiteX1713" fmla="*/ 3212 w 10785"/>
                <a:gd name="connsiteY1713" fmla="*/ 2709 h 10000"/>
                <a:gd name="connsiteX1714" fmla="*/ 3198 w 10785"/>
                <a:gd name="connsiteY1714" fmla="*/ 2709 h 10000"/>
                <a:gd name="connsiteX1715" fmla="*/ 3184 w 10785"/>
                <a:gd name="connsiteY1715" fmla="*/ 2735 h 10000"/>
                <a:gd name="connsiteX1716" fmla="*/ 3189 w 10785"/>
                <a:gd name="connsiteY1716" fmla="*/ 2761 h 10000"/>
                <a:gd name="connsiteX1717" fmla="*/ 3203 w 10785"/>
                <a:gd name="connsiteY1717" fmla="*/ 2855 h 10000"/>
                <a:gd name="connsiteX1718" fmla="*/ 3212 w 10785"/>
                <a:gd name="connsiteY1718" fmla="*/ 2872 h 10000"/>
                <a:gd name="connsiteX1719" fmla="*/ 3235 w 10785"/>
                <a:gd name="connsiteY1719" fmla="*/ 2906 h 10000"/>
                <a:gd name="connsiteX1720" fmla="*/ 3258 w 10785"/>
                <a:gd name="connsiteY1720" fmla="*/ 2915 h 10000"/>
                <a:gd name="connsiteX1721" fmla="*/ 3272 w 10785"/>
                <a:gd name="connsiteY1721" fmla="*/ 2957 h 10000"/>
                <a:gd name="connsiteX1722" fmla="*/ 3276 w 10785"/>
                <a:gd name="connsiteY1722" fmla="*/ 2957 h 10000"/>
                <a:gd name="connsiteX1723" fmla="*/ 3286 w 10785"/>
                <a:gd name="connsiteY1723" fmla="*/ 2966 h 10000"/>
                <a:gd name="connsiteX1724" fmla="*/ 3300 w 10785"/>
                <a:gd name="connsiteY1724" fmla="*/ 2957 h 10000"/>
                <a:gd name="connsiteX1725" fmla="*/ 3309 w 10785"/>
                <a:gd name="connsiteY1725" fmla="*/ 2932 h 10000"/>
                <a:gd name="connsiteX1726" fmla="*/ 3304 w 10785"/>
                <a:gd name="connsiteY1726" fmla="*/ 2966 h 10000"/>
                <a:gd name="connsiteX1727" fmla="*/ 3309 w 10785"/>
                <a:gd name="connsiteY1727" fmla="*/ 2983 h 10000"/>
                <a:gd name="connsiteX1728" fmla="*/ 3323 w 10785"/>
                <a:gd name="connsiteY1728" fmla="*/ 2966 h 10000"/>
                <a:gd name="connsiteX1729" fmla="*/ 3323 w 10785"/>
                <a:gd name="connsiteY1729" fmla="*/ 3043 h 10000"/>
                <a:gd name="connsiteX1730" fmla="*/ 3346 w 10785"/>
                <a:gd name="connsiteY1730" fmla="*/ 3068 h 10000"/>
                <a:gd name="connsiteX1731" fmla="*/ 3346 w 10785"/>
                <a:gd name="connsiteY1731" fmla="*/ 3094 h 10000"/>
                <a:gd name="connsiteX1732" fmla="*/ 3323 w 10785"/>
                <a:gd name="connsiteY1732" fmla="*/ 3094 h 10000"/>
                <a:gd name="connsiteX1733" fmla="*/ 3309 w 10785"/>
                <a:gd name="connsiteY1733" fmla="*/ 3077 h 10000"/>
                <a:gd name="connsiteX1734" fmla="*/ 3304 w 10785"/>
                <a:gd name="connsiteY1734" fmla="*/ 3051 h 10000"/>
                <a:gd name="connsiteX1735" fmla="*/ 3300 w 10785"/>
                <a:gd name="connsiteY1735" fmla="*/ 3043 h 10000"/>
                <a:gd name="connsiteX1736" fmla="*/ 3286 w 10785"/>
                <a:gd name="connsiteY1736" fmla="*/ 3017 h 10000"/>
                <a:gd name="connsiteX1737" fmla="*/ 3152 w 10785"/>
                <a:gd name="connsiteY1737" fmla="*/ 2966 h 10000"/>
                <a:gd name="connsiteX1738" fmla="*/ 3129 w 10785"/>
                <a:gd name="connsiteY1738" fmla="*/ 2915 h 10000"/>
                <a:gd name="connsiteX1739" fmla="*/ 3129 w 10785"/>
                <a:gd name="connsiteY1739" fmla="*/ 2906 h 10000"/>
                <a:gd name="connsiteX1740" fmla="*/ 3152 w 10785"/>
                <a:gd name="connsiteY1740" fmla="*/ 2906 h 10000"/>
                <a:gd name="connsiteX1741" fmla="*/ 3152 w 10785"/>
                <a:gd name="connsiteY1741" fmla="*/ 2846 h 10000"/>
                <a:gd name="connsiteX1742" fmla="*/ 3138 w 10785"/>
                <a:gd name="connsiteY1742" fmla="*/ 2795 h 10000"/>
                <a:gd name="connsiteX1743" fmla="*/ 3138 w 10785"/>
                <a:gd name="connsiteY1743" fmla="*/ 2769 h 10000"/>
                <a:gd name="connsiteX1744" fmla="*/ 3143 w 10785"/>
                <a:gd name="connsiteY1744" fmla="*/ 2718 h 10000"/>
                <a:gd name="connsiteX1745" fmla="*/ 3129 w 10785"/>
                <a:gd name="connsiteY1745" fmla="*/ 2692 h 10000"/>
                <a:gd name="connsiteX1746" fmla="*/ 3143 w 10785"/>
                <a:gd name="connsiteY1746" fmla="*/ 2667 h 10000"/>
                <a:gd name="connsiteX1747" fmla="*/ 3157 w 10785"/>
                <a:gd name="connsiteY1747" fmla="*/ 2581 h 10000"/>
                <a:gd name="connsiteX1748" fmla="*/ 3143 w 10785"/>
                <a:gd name="connsiteY1748" fmla="*/ 2496 h 10000"/>
                <a:gd name="connsiteX1749" fmla="*/ 3157 w 10785"/>
                <a:gd name="connsiteY1749" fmla="*/ 2487 h 10000"/>
                <a:gd name="connsiteX1750" fmla="*/ 3143 w 10785"/>
                <a:gd name="connsiteY1750" fmla="*/ 2444 h 10000"/>
                <a:gd name="connsiteX1751" fmla="*/ 3143 w 10785"/>
                <a:gd name="connsiteY1751" fmla="*/ 2419 h 10000"/>
                <a:gd name="connsiteX1752" fmla="*/ 3143 w 10785"/>
                <a:gd name="connsiteY1752" fmla="*/ 2410 h 10000"/>
                <a:gd name="connsiteX1753" fmla="*/ 3124 w 10785"/>
                <a:gd name="connsiteY1753" fmla="*/ 2376 h 10000"/>
                <a:gd name="connsiteX1754" fmla="*/ 3115 w 10785"/>
                <a:gd name="connsiteY1754" fmla="*/ 2350 h 10000"/>
                <a:gd name="connsiteX1755" fmla="*/ 3101 w 10785"/>
                <a:gd name="connsiteY1755" fmla="*/ 2359 h 10000"/>
                <a:gd name="connsiteX1756" fmla="*/ 3115 w 10785"/>
                <a:gd name="connsiteY1756" fmla="*/ 2581 h 10000"/>
                <a:gd name="connsiteX1757" fmla="*/ 3111 w 10785"/>
                <a:gd name="connsiteY1757" fmla="*/ 2624 h 10000"/>
                <a:gd name="connsiteX1758" fmla="*/ 3009 w 10785"/>
                <a:gd name="connsiteY1758" fmla="*/ 2761 h 10000"/>
                <a:gd name="connsiteX1759" fmla="*/ 3009 w 10785"/>
                <a:gd name="connsiteY1759" fmla="*/ 2803 h 10000"/>
                <a:gd name="connsiteX1760" fmla="*/ 3005 w 10785"/>
                <a:gd name="connsiteY1760" fmla="*/ 2829 h 10000"/>
                <a:gd name="connsiteX1761" fmla="*/ 2982 w 10785"/>
                <a:gd name="connsiteY1761" fmla="*/ 2872 h 10000"/>
                <a:gd name="connsiteX1762" fmla="*/ 2982 w 10785"/>
                <a:gd name="connsiteY1762" fmla="*/ 2880 h 10000"/>
                <a:gd name="connsiteX1763" fmla="*/ 3037 w 10785"/>
                <a:gd name="connsiteY1763" fmla="*/ 3034 h 10000"/>
                <a:gd name="connsiteX1764" fmla="*/ 3041 w 10785"/>
                <a:gd name="connsiteY1764" fmla="*/ 3103 h 10000"/>
                <a:gd name="connsiteX1765" fmla="*/ 3069 w 10785"/>
                <a:gd name="connsiteY1765" fmla="*/ 3188 h 10000"/>
                <a:gd name="connsiteX1766" fmla="*/ 3055 w 10785"/>
                <a:gd name="connsiteY1766" fmla="*/ 3325 h 10000"/>
                <a:gd name="connsiteX1767" fmla="*/ 3037 w 10785"/>
                <a:gd name="connsiteY1767" fmla="*/ 3368 h 10000"/>
                <a:gd name="connsiteX1768" fmla="*/ 3037 w 10785"/>
                <a:gd name="connsiteY1768" fmla="*/ 3444 h 10000"/>
                <a:gd name="connsiteX1769" fmla="*/ 3028 w 10785"/>
                <a:gd name="connsiteY1769" fmla="*/ 3453 h 10000"/>
                <a:gd name="connsiteX1770" fmla="*/ 3023 w 10785"/>
                <a:gd name="connsiteY1770" fmla="*/ 3530 h 10000"/>
                <a:gd name="connsiteX1771" fmla="*/ 3051 w 10785"/>
                <a:gd name="connsiteY1771" fmla="*/ 3624 h 10000"/>
                <a:gd name="connsiteX1772" fmla="*/ 3037 w 10785"/>
                <a:gd name="connsiteY1772" fmla="*/ 3718 h 10000"/>
                <a:gd name="connsiteX1773" fmla="*/ 3041 w 10785"/>
                <a:gd name="connsiteY1773" fmla="*/ 3752 h 10000"/>
                <a:gd name="connsiteX1774" fmla="*/ 3055 w 10785"/>
                <a:gd name="connsiteY1774" fmla="*/ 3761 h 10000"/>
                <a:gd name="connsiteX1775" fmla="*/ 3078 w 10785"/>
                <a:gd name="connsiteY1775" fmla="*/ 3752 h 10000"/>
                <a:gd name="connsiteX1776" fmla="*/ 3092 w 10785"/>
                <a:gd name="connsiteY1776" fmla="*/ 3752 h 10000"/>
                <a:gd name="connsiteX1777" fmla="*/ 3129 w 10785"/>
                <a:gd name="connsiteY1777" fmla="*/ 3761 h 10000"/>
                <a:gd name="connsiteX1778" fmla="*/ 3129 w 10785"/>
                <a:gd name="connsiteY1778" fmla="*/ 3735 h 10000"/>
                <a:gd name="connsiteX1779" fmla="*/ 3157 w 10785"/>
                <a:gd name="connsiteY1779" fmla="*/ 3718 h 10000"/>
                <a:gd name="connsiteX1780" fmla="*/ 3184 w 10785"/>
                <a:gd name="connsiteY1780" fmla="*/ 3718 h 10000"/>
                <a:gd name="connsiteX1781" fmla="*/ 3290 w 10785"/>
                <a:gd name="connsiteY1781" fmla="*/ 3838 h 10000"/>
                <a:gd name="connsiteX1782" fmla="*/ 3300 w 10785"/>
                <a:gd name="connsiteY1782" fmla="*/ 3846 h 10000"/>
                <a:gd name="connsiteX1783" fmla="*/ 3300 w 10785"/>
                <a:gd name="connsiteY1783" fmla="*/ 3915 h 10000"/>
                <a:gd name="connsiteX1784" fmla="*/ 3318 w 10785"/>
                <a:gd name="connsiteY1784" fmla="*/ 4000 h 10000"/>
                <a:gd name="connsiteX1785" fmla="*/ 3323 w 10785"/>
                <a:gd name="connsiteY1785" fmla="*/ 4000 h 10000"/>
                <a:gd name="connsiteX1786" fmla="*/ 3323 w 10785"/>
                <a:gd name="connsiteY1786" fmla="*/ 4034 h 10000"/>
                <a:gd name="connsiteX1787" fmla="*/ 3318 w 10785"/>
                <a:gd name="connsiteY1787" fmla="*/ 4051 h 10000"/>
                <a:gd name="connsiteX1788" fmla="*/ 3300 w 10785"/>
                <a:gd name="connsiteY1788" fmla="*/ 4051 h 10000"/>
                <a:gd name="connsiteX1789" fmla="*/ 3290 w 10785"/>
                <a:gd name="connsiteY1789" fmla="*/ 4077 h 10000"/>
                <a:gd name="connsiteX1790" fmla="*/ 3286 w 10785"/>
                <a:gd name="connsiteY1790" fmla="*/ 4103 h 10000"/>
                <a:gd name="connsiteX1791" fmla="*/ 3286 w 10785"/>
                <a:gd name="connsiteY1791" fmla="*/ 4197 h 10000"/>
                <a:gd name="connsiteX1792" fmla="*/ 3290 w 10785"/>
                <a:gd name="connsiteY1792" fmla="*/ 4214 h 10000"/>
                <a:gd name="connsiteX1793" fmla="*/ 3304 w 10785"/>
                <a:gd name="connsiteY1793" fmla="*/ 4214 h 10000"/>
                <a:gd name="connsiteX1794" fmla="*/ 3323 w 10785"/>
                <a:gd name="connsiteY1794" fmla="*/ 4239 h 10000"/>
                <a:gd name="connsiteX1795" fmla="*/ 3350 w 10785"/>
                <a:gd name="connsiteY1795" fmla="*/ 4222 h 10000"/>
                <a:gd name="connsiteX1796" fmla="*/ 3369 w 10785"/>
                <a:gd name="connsiteY1796" fmla="*/ 4256 h 10000"/>
                <a:gd name="connsiteX1797" fmla="*/ 3369 w 10785"/>
                <a:gd name="connsiteY1797" fmla="*/ 4256 h 10000"/>
                <a:gd name="connsiteX1798" fmla="*/ 3336 w 10785"/>
                <a:gd name="connsiteY1798" fmla="*/ 4274 h 10000"/>
                <a:gd name="connsiteX1799" fmla="*/ 3323 w 10785"/>
                <a:gd name="connsiteY1799" fmla="*/ 4274 h 10000"/>
                <a:gd name="connsiteX1800" fmla="*/ 3290 w 10785"/>
                <a:gd name="connsiteY1800" fmla="*/ 4274 h 10000"/>
                <a:gd name="connsiteX1801" fmla="*/ 3286 w 10785"/>
                <a:gd name="connsiteY1801" fmla="*/ 4239 h 10000"/>
                <a:gd name="connsiteX1802" fmla="*/ 3263 w 10785"/>
                <a:gd name="connsiteY1802" fmla="*/ 4214 h 10000"/>
                <a:gd name="connsiteX1803" fmla="*/ 3258 w 10785"/>
                <a:gd name="connsiteY1803" fmla="*/ 4188 h 10000"/>
                <a:gd name="connsiteX1804" fmla="*/ 3263 w 10785"/>
                <a:gd name="connsiteY1804" fmla="*/ 4171 h 10000"/>
                <a:gd name="connsiteX1805" fmla="*/ 3263 w 10785"/>
                <a:gd name="connsiteY1805" fmla="*/ 4103 h 10000"/>
                <a:gd name="connsiteX1806" fmla="*/ 3276 w 10785"/>
                <a:gd name="connsiteY1806" fmla="*/ 4060 h 10000"/>
                <a:gd name="connsiteX1807" fmla="*/ 3272 w 10785"/>
                <a:gd name="connsiteY1807" fmla="*/ 4051 h 10000"/>
                <a:gd name="connsiteX1808" fmla="*/ 3263 w 10785"/>
                <a:gd name="connsiteY1808" fmla="*/ 4051 h 10000"/>
                <a:gd name="connsiteX1809" fmla="*/ 3263 w 10785"/>
                <a:gd name="connsiteY1809" fmla="*/ 4034 h 10000"/>
                <a:gd name="connsiteX1810" fmla="*/ 3263 w 10785"/>
                <a:gd name="connsiteY1810" fmla="*/ 4000 h 10000"/>
                <a:gd name="connsiteX1811" fmla="*/ 3272 w 10785"/>
                <a:gd name="connsiteY1811" fmla="*/ 4000 h 10000"/>
                <a:gd name="connsiteX1812" fmla="*/ 3272 w 10785"/>
                <a:gd name="connsiteY1812" fmla="*/ 3974 h 10000"/>
                <a:gd name="connsiteX1813" fmla="*/ 3272 w 10785"/>
                <a:gd name="connsiteY1813" fmla="*/ 3966 h 10000"/>
                <a:gd name="connsiteX1814" fmla="*/ 3272 w 10785"/>
                <a:gd name="connsiteY1814" fmla="*/ 3949 h 10000"/>
                <a:gd name="connsiteX1815" fmla="*/ 3258 w 10785"/>
                <a:gd name="connsiteY1815" fmla="*/ 3923 h 10000"/>
                <a:gd name="connsiteX1816" fmla="*/ 3249 w 10785"/>
                <a:gd name="connsiteY1816" fmla="*/ 3915 h 10000"/>
                <a:gd name="connsiteX1817" fmla="*/ 3244 w 10785"/>
                <a:gd name="connsiteY1817" fmla="*/ 3897 h 10000"/>
                <a:gd name="connsiteX1818" fmla="*/ 3230 w 10785"/>
                <a:gd name="connsiteY1818" fmla="*/ 3889 h 10000"/>
                <a:gd name="connsiteX1819" fmla="*/ 3230 w 10785"/>
                <a:gd name="connsiteY1819" fmla="*/ 3863 h 10000"/>
                <a:gd name="connsiteX1820" fmla="*/ 3230 w 10785"/>
                <a:gd name="connsiteY1820" fmla="*/ 3838 h 10000"/>
                <a:gd name="connsiteX1821" fmla="*/ 3226 w 10785"/>
                <a:gd name="connsiteY1821" fmla="*/ 3803 h 10000"/>
                <a:gd name="connsiteX1822" fmla="*/ 3138 w 10785"/>
                <a:gd name="connsiteY1822" fmla="*/ 3838 h 10000"/>
                <a:gd name="connsiteX1823" fmla="*/ 3078 w 10785"/>
                <a:gd name="connsiteY1823" fmla="*/ 3889 h 10000"/>
                <a:gd name="connsiteX1824" fmla="*/ 3078 w 10785"/>
                <a:gd name="connsiteY1824" fmla="*/ 3940 h 10000"/>
                <a:gd name="connsiteX1825" fmla="*/ 3069 w 10785"/>
                <a:gd name="connsiteY1825" fmla="*/ 3983 h 10000"/>
                <a:gd name="connsiteX1826" fmla="*/ 3069 w 10785"/>
                <a:gd name="connsiteY1826" fmla="*/ 4009 h 10000"/>
                <a:gd name="connsiteX1827" fmla="*/ 3078 w 10785"/>
                <a:gd name="connsiteY1827" fmla="*/ 4026 h 10000"/>
                <a:gd name="connsiteX1828" fmla="*/ 3083 w 10785"/>
                <a:gd name="connsiteY1828" fmla="*/ 4034 h 10000"/>
                <a:gd name="connsiteX1829" fmla="*/ 3092 w 10785"/>
                <a:gd name="connsiteY1829" fmla="*/ 4060 h 10000"/>
                <a:gd name="connsiteX1830" fmla="*/ 3092 w 10785"/>
                <a:gd name="connsiteY1830" fmla="*/ 4077 h 10000"/>
                <a:gd name="connsiteX1831" fmla="*/ 3097 w 10785"/>
                <a:gd name="connsiteY1831" fmla="*/ 4103 h 10000"/>
                <a:gd name="connsiteX1832" fmla="*/ 3101 w 10785"/>
                <a:gd name="connsiteY1832" fmla="*/ 4162 h 10000"/>
                <a:gd name="connsiteX1833" fmla="*/ 3097 w 10785"/>
                <a:gd name="connsiteY1833" fmla="*/ 4222 h 10000"/>
                <a:gd name="connsiteX1834" fmla="*/ 3041 w 10785"/>
                <a:gd name="connsiteY1834" fmla="*/ 4325 h 10000"/>
                <a:gd name="connsiteX1835" fmla="*/ 3037 w 10785"/>
                <a:gd name="connsiteY1835" fmla="*/ 4419 h 10000"/>
                <a:gd name="connsiteX1836" fmla="*/ 3018 w 10785"/>
                <a:gd name="connsiteY1836" fmla="*/ 4470 h 10000"/>
                <a:gd name="connsiteX1837" fmla="*/ 2991 w 10785"/>
                <a:gd name="connsiteY1837" fmla="*/ 4513 h 10000"/>
                <a:gd name="connsiteX1838" fmla="*/ 2977 w 10785"/>
                <a:gd name="connsiteY1838" fmla="*/ 4530 h 10000"/>
                <a:gd name="connsiteX1839" fmla="*/ 2945 w 10785"/>
                <a:gd name="connsiteY1839" fmla="*/ 4556 h 10000"/>
                <a:gd name="connsiteX1840" fmla="*/ 2935 w 10785"/>
                <a:gd name="connsiteY1840" fmla="*/ 4581 h 10000"/>
                <a:gd name="connsiteX1841" fmla="*/ 2949 w 10785"/>
                <a:gd name="connsiteY1841" fmla="*/ 4624 h 10000"/>
                <a:gd name="connsiteX1842" fmla="*/ 2945 w 10785"/>
                <a:gd name="connsiteY1842" fmla="*/ 4658 h 10000"/>
                <a:gd name="connsiteX1843" fmla="*/ 2922 w 10785"/>
                <a:gd name="connsiteY1843" fmla="*/ 4667 h 10000"/>
                <a:gd name="connsiteX1844" fmla="*/ 2876 w 10785"/>
                <a:gd name="connsiteY1844" fmla="*/ 4632 h 10000"/>
                <a:gd name="connsiteX1845" fmla="*/ 2857 w 10785"/>
                <a:gd name="connsiteY1845" fmla="*/ 4632 h 10000"/>
                <a:gd name="connsiteX1846" fmla="*/ 2820 w 10785"/>
                <a:gd name="connsiteY1846" fmla="*/ 4641 h 10000"/>
                <a:gd name="connsiteX1847" fmla="*/ 2797 w 10785"/>
                <a:gd name="connsiteY1847" fmla="*/ 4632 h 10000"/>
                <a:gd name="connsiteX1848" fmla="*/ 2788 w 10785"/>
                <a:gd name="connsiteY1848" fmla="*/ 4624 h 10000"/>
                <a:gd name="connsiteX1849" fmla="*/ 2788 w 10785"/>
                <a:gd name="connsiteY1849" fmla="*/ 4598 h 10000"/>
                <a:gd name="connsiteX1850" fmla="*/ 2797 w 10785"/>
                <a:gd name="connsiteY1850" fmla="*/ 4581 h 10000"/>
                <a:gd name="connsiteX1851" fmla="*/ 2788 w 10785"/>
                <a:gd name="connsiteY1851" fmla="*/ 4530 h 10000"/>
                <a:gd name="connsiteX1852" fmla="*/ 2774 w 10785"/>
                <a:gd name="connsiteY1852" fmla="*/ 4530 h 10000"/>
                <a:gd name="connsiteX1853" fmla="*/ 2770 w 10785"/>
                <a:gd name="connsiteY1853" fmla="*/ 4513 h 10000"/>
                <a:gd name="connsiteX1854" fmla="*/ 2774 w 10785"/>
                <a:gd name="connsiteY1854" fmla="*/ 4513 h 10000"/>
                <a:gd name="connsiteX1855" fmla="*/ 2788 w 10785"/>
                <a:gd name="connsiteY1855" fmla="*/ 4496 h 10000"/>
                <a:gd name="connsiteX1856" fmla="*/ 2802 w 10785"/>
                <a:gd name="connsiteY1856" fmla="*/ 4513 h 10000"/>
                <a:gd name="connsiteX1857" fmla="*/ 2811 w 10785"/>
                <a:gd name="connsiteY1857" fmla="*/ 4530 h 10000"/>
                <a:gd name="connsiteX1858" fmla="*/ 2820 w 10785"/>
                <a:gd name="connsiteY1858" fmla="*/ 4521 h 10000"/>
                <a:gd name="connsiteX1859" fmla="*/ 2829 w 10785"/>
                <a:gd name="connsiteY1859" fmla="*/ 4513 h 10000"/>
                <a:gd name="connsiteX1860" fmla="*/ 2843 w 10785"/>
                <a:gd name="connsiteY1860" fmla="*/ 4513 h 10000"/>
                <a:gd name="connsiteX1861" fmla="*/ 2848 w 10785"/>
                <a:gd name="connsiteY1861" fmla="*/ 4470 h 10000"/>
                <a:gd name="connsiteX1862" fmla="*/ 2862 w 10785"/>
                <a:gd name="connsiteY1862" fmla="*/ 4487 h 10000"/>
                <a:gd name="connsiteX1863" fmla="*/ 2876 w 10785"/>
                <a:gd name="connsiteY1863" fmla="*/ 4470 h 10000"/>
                <a:gd name="connsiteX1864" fmla="*/ 2880 w 10785"/>
                <a:gd name="connsiteY1864" fmla="*/ 4462 h 10000"/>
                <a:gd name="connsiteX1865" fmla="*/ 2889 w 10785"/>
                <a:gd name="connsiteY1865" fmla="*/ 4444 h 10000"/>
                <a:gd name="connsiteX1866" fmla="*/ 2894 w 10785"/>
                <a:gd name="connsiteY1866" fmla="*/ 4462 h 10000"/>
                <a:gd name="connsiteX1867" fmla="*/ 2917 w 10785"/>
                <a:gd name="connsiteY1867" fmla="*/ 4444 h 10000"/>
                <a:gd name="connsiteX1868" fmla="*/ 2922 w 10785"/>
                <a:gd name="connsiteY1868" fmla="*/ 4436 h 10000"/>
                <a:gd name="connsiteX1869" fmla="*/ 2917 w 10785"/>
                <a:gd name="connsiteY1869" fmla="*/ 4410 h 10000"/>
                <a:gd name="connsiteX1870" fmla="*/ 2894 w 10785"/>
                <a:gd name="connsiteY1870" fmla="*/ 4410 h 10000"/>
                <a:gd name="connsiteX1871" fmla="*/ 2889 w 10785"/>
                <a:gd name="connsiteY1871" fmla="*/ 4419 h 10000"/>
                <a:gd name="connsiteX1872" fmla="*/ 2876 w 10785"/>
                <a:gd name="connsiteY1872" fmla="*/ 4410 h 10000"/>
                <a:gd name="connsiteX1873" fmla="*/ 2880 w 10785"/>
                <a:gd name="connsiteY1873" fmla="*/ 4376 h 10000"/>
                <a:gd name="connsiteX1874" fmla="*/ 2903 w 10785"/>
                <a:gd name="connsiteY1874" fmla="*/ 4393 h 10000"/>
                <a:gd name="connsiteX1875" fmla="*/ 2931 w 10785"/>
                <a:gd name="connsiteY1875" fmla="*/ 4393 h 10000"/>
                <a:gd name="connsiteX1876" fmla="*/ 2931 w 10785"/>
                <a:gd name="connsiteY1876" fmla="*/ 4385 h 10000"/>
                <a:gd name="connsiteX1877" fmla="*/ 2931 w 10785"/>
                <a:gd name="connsiteY1877" fmla="*/ 4350 h 10000"/>
                <a:gd name="connsiteX1878" fmla="*/ 2945 w 10785"/>
                <a:gd name="connsiteY1878" fmla="*/ 4350 h 10000"/>
                <a:gd name="connsiteX1879" fmla="*/ 2949 w 10785"/>
                <a:gd name="connsiteY1879" fmla="*/ 4325 h 10000"/>
                <a:gd name="connsiteX1880" fmla="*/ 2963 w 10785"/>
                <a:gd name="connsiteY1880" fmla="*/ 4256 h 10000"/>
                <a:gd name="connsiteX1881" fmla="*/ 2982 w 10785"/>
                <a:gd name="connsiteY1881" fmla="*/ 4239 h 10000"/>
                <a:gd name="connsiteX1882" fmla="*/ 2991 w 10785"/>
                <a:gd name="connsiteY1882" fmla="*/ 4214 h 10000"/>
                <a:gd name="connsiteX1883" fmla="*/ 2991 w 10785"/>
                <a:gd name="connsiteY1883" fmla="*/ 4197 h 10000"/>
                <a:gd name="connsiteX1884" fmla="*/ 2995 w 10785"/>
                <a:gd name="connsiteY1884" fmla="*/ 4171 h 10000"/>
                <a:gd name="connsiteX1885" fmla="*/ 2991 w 10785"/>
                <a:gd name="connsiteY1885" fmla="*/ 4077 h 10000"/>
                <a:gd name="connsiteX1886" fmla="*/ 2995 w 10785"/>
                <a:gd name="connsiteY1886" fmla="*/ 4034 h 10000"/>
                <a:gd name="connsiteX1887" fmla="*/ 3018 w 10785"/>
                <a:gd name="connsiteY1887" fmla="*/ 3983 h 10000"/>
                <a:gd name="connsiteX1888" fmla="*/ 3018 w 10785"/>
                <a:gd name="connsiteY1888" fmla="*/ 3915 h 10000"/>
                <a:gd name="connsiteX1889" fmla="*/ 2949 w 10785"/>
                <a:gd name="connsiteY1889" fmla="*/ 3778 h 10000"/>
                <a:gd name="connsiteX1890" fmla="*/ 2954 w 10785"/>
                <a:gd name="connsiteY1890" fmla="*/ 3675 h 10000"/>
                <a:gd name="connsiteX1891" fmla="*/ 2954 w 10785"/>
                <a:gd name="connsiteY1891" fmla="*/ 3650 h 10000"/>
                <a:gd name="connsiteX1892" fmla="*/ 2963 w 10785"/>
                <a:gd name="connsiteY1892" fmla="*/ 3624 h 10000"/>
                <a:gd name="connsiteX1893" fmla="*/ 2954 w 10785"/>
                <a:gd name="connsiteY1893" fmla="*/ 3564 h 10000"/>
                <a:gd name="connsiteX1894" fmla="*/ 2963 w 10785"/>
                <a:gd name="connsiteY1894" fmla="*/ 3538 h 10000"/>
                <a:gd name="connsiteX1895" fmla="*/ 2963 w 10785"/>
                <a:gd name="connsiteY1895" fmla="*/ 3487 h 10000"/>
                <a:gd name="connsiteX1896" fmla="*/ 2963 w 10785"/>
                <a:gd name="connsiteY1896" fmla="*/ 3479 h 10000"/>
                <a:gd name="connsiteX1897" fmla="*/ 2963 w 10785"/>
                <a:gd name="connsiteY1897" fmla="*/ 3462 h 10000"/>
                <a:gd name="connsiteX1898" fmla="*/ 2954 w 10785"/>
                <a:gd name="connsiteY1898" fmla="*/ 3453 h 10000"/>
                <a:gd name="connsiteX1899" fmla="*/ 2954 w 10785"/>
                <a:gd name="connsiteY1899" fmla="*/ 3444 h 10000"/>
                <a:gd name="connsiteX1900" fmla="*/ 2954 w 10785"/>
                <a:gd name="connsiteY1900" fmla="*/ 3402 h 10000"/>
                <a:gd name="connsiteX1901" fmla="*/ 2954 w 10785"/>
                <a:gd name="connsiteY1901" fmla="*/ 3393 h 10000"/>
                <a:gd name="connsiteX1902" fmla="*/ 2949 w 10785"/>
                <a:gd name="connsiteY1902" fmla="*/ 3376 h 10000"/>
                <a:gd name="connsiteX1903" fmla="*/ 2949 w 10785"/>
                <a:gd name="connsiteY1903" fmla="*/ 3342 h 10000"/>
                <a:gd name="connsiteX1904" fmla="*/ 2949 w 10785"/>
                <a:gd name="connsiteY1904" fmla="*/ 3316 h 10000"/>
                <a:gd name="connsiteX1905" fmla="*/ 2968 w 10785"/>
                <a:gd name="connsiteY1905" fmla="*/ 3291 h 10000"/>
                <a:gd name="connsiteX1906" fmla="*/ 2963 w 10785"/>
                <a:gd name="connsiteY1906" fmla="*/ 3205 h 10000"/>
                <a:gd name="connsiteX1907" fmla="*/ 2968 w 10785"/>
                <a:gd name="connsiteY1907" fmla="*/ 3171 h 10000"/>
                <a:gd name="connsiteX1908" fmla="*/ 2968 w 10785"/>
                <a:gd name="connsiteY1908" fmla="*/ 3128 h 10000"/>
                <a:gd name="connsiteX1909" fmla="*/ 2954 w 10785"/>
                <a:gd name="connsiteY1909" fmla="*/ 3051 h 10000"/>
                <a:gd name="connsiteX1910" fmla="*/ 2954 w 10785"/>
                <a:gd name="connsiteY1910" fmla="*/ 3009 h 10000"/>
                <a:gd name="connsiteX1911" fmla="*/ 2922 w 10785"/>
                <a:gd name="connsiteY1911" fmla="*/ 2940 h 10000"/>
                <a:gd name="connsiteX1912" fmla="*/ 2903 w 10785"/>
                <a:gd name="connsiteY1912" fmla="*/ 2880 h 10000"/>
                <a:gd name="connsiteX1913" fmla="*/ 2903 w 10785"/>
                <a:gd name="connsiteY1913" fmla="*/ 2855 h 10000"/>
                <a:gd name="connsiteX1914" fmla="*/ 2908 w 10785"/>
                <a:gd name="connsiteY1914" fmla="*/ 2846 h 10000"/>
                <a:gd name="connsiteX1915" fmla="*/ 2931 w 10785"/>
                <a:gd name="connsiteY1915" fmla="*/ 2821 h 10000"/>
                <a:gd name="connsiteX1916" fmla="*/ 2931 w 10785"/>
                <a:gd name="connsiteY1916" fmla="*/ 2803 h 10000"/>
                <a:gd name="connsiteX1917" fmla="*/ 2935 w 10785"/>
                <a:gd name="connsiteY1917" fmla="*/ 2786 h 10000"/>
                <a:gd name="connsiteX1918" fmla="*/ 2935 w 10785"/>
                <a:gd name="connsiteY1918" fmla="*/ 2744 h 10000"/>
                <a:gd name="connsiteX1919" fmla="*/ 2963 w 10785"/>
                <a:gd name="connsiteY1919" fmla="*/ 2607 h 10000"/>
                <a:gd name="connsiteX1920" fmla="*/ 2963 w 10785"/>
                <a:gd name="connsiteY1920" fmla="*/ 2419 h 10000"/>
                <a:gd name="connsiteX1921" fmla="*/ 2954 w 10785"/>
                <a:gd name="connsiteY1921" fmla="*/ 2410 h 10000"/>
                <a:gd name="connsiteX1922" fmla="*/ 2963 w 10785"/>
                <a:gd name="connsiteY1922" fmla="*/ 2393 h 10000"/>
                <a:gd name="connsiteX1923" fmla="*/ 2908 w 10785"/>
                <a:gd name="connsiteY1923" fmla="*/ 2359 h 10000"/>
                <a:gd name="connsiteX1924" fmla="*/ 2889 w 10785"/>
                <a:gd name="connsiteY1924" fmla="*/ 2325 h 10000"/>
                <a:gd name="connsiteX1925" fmla="*/ 2788 w 10785"/>
                <a:gd name="connsiteY1925" fmla="*/ 2333 h 10000"/>
                <a:gd name="connsiteX1926" fmla="*/ 2774 w 10785"/>
                <a:gd name="connsiteY1926" fmla="*/ 2325 h 10000"/>
                <a:gd name="connsiteX1927" fmla="*/ 2783 w 10785"/>
                <a:gd name="connsiteY1927" fmla="*/ 2308 h 10000"/>
                <a:gd name="connsiteX1928" fmla="*/ 2747 w 10785"/>
                <a:gd name="connsiteY1928" fmla="*/ 2308 h 10000"/>
                <a:gd name="connsiteX1929" fmla="*/ 2742 w 10785"/>
                <a:gd name="connsiteY1929" fmla="*/ 2333 h 10000"/>
                <a:gd name="connsiteX1930" fmla="*/ 2682 w 10785"/>
                <a:gd name="connsiteY1930" fmla="*/ 2769 h 10000"/>
                <a:gd name="connsiteX1931" fmla="*/ 2613 w 10785"/>
                <a:gd name="connsiteY1931" fmla="*/ 2940 h 10000"/>
                <a:gd name="connsiteX1932" fmla="*/ 2581 w 10785"/>
                <a:gd name="connsiteY1932" fmla="*/ 2966 h 10000"/>
                <a:gd name="connsiteX1933" fmla="*/ 2576 w 10785"/>
                <a:gd name="connsiteY1933" fmla="*/ 3051 h 10000"/>
                <a:gd name="connsiteX1934" fmla="*/ 2581 w 10785"/>
                <a:gd name="connsiteY1934" fmla="*/ 3051 h 10000"/>
                <a:gd name="connsiteX1935" fmla="*/ 2594 w 10785"/>
                <a:gd name="connsiteY1935" fmla="*/ 3017 h 10000"/>
                <a:gd name="connsiteX1936" fmla="*/ 2594 w 10785"/>
                <a:gd name="connsiteY1936" fmla="*/ 3034 h 10000"/>
                <a:gd name="connsiteX1937" fmla="*/ 2594 w 10785"/>
                <a:gd name="connsiteY1937" fmla="*/ 3051 h 10000"/>
                <a:gd name="connsiteX1938" fmla="*/ 2590 w 10785"/>
                <a:gd name="connsiteY1938" fmla="*/ 3077 h 10000"/>
                <a:gd name="connsiteX1939" fmla="*/ 2567 w 10785"/>
                <a:gd name="connsiteY1939" fmla="*/ 3103 h 10000"/>
                <a:gd name="connsiteX1940" fmla="*/ 2562 w 10785"/>
                <a:gd name="connsiteY1940" fmla="*/ 3145 h 10000"/>
                <a:gd name="connsiteX1941" fmla="*/ 2567 w 10785"/>
                <a:gd name="connsiteY1941" fmla="*/ 3179 h 10000"/>
                <a:gd name="connsiteX1942" fmla="*/ 2590 w 10785"/>
                <a:gd name="connsiteY1942" fmla="*/ 3171 h 10000"/>
                <a:gd name="connsiteX1943" fmla="*/ 2594 w 10785"/>
                <a:gd name="connsiteY1943" fmla="*/ 3145 h 10000"/>
                <a:gd name="connsiteX1944" fmla="*/ 2613 w 10785"/>
                <a:gd name="connsiteY1944" fmla="*/ 3154 h 10000"/>
                <a:gd name="connsiteX1945" fmla="*/ 2622 w 10785"/>
                <a:gd name="connsiteY1945" fmla="*/ 3179 h 10000"/>
                <a:gd name="connsiteX1946" fmla="*/ 2613 w 10785"/>
                <a:gd name="connsiteY1946" fmla="*/ 3214 h 10000"/>
                <a:gd name="connsiteX1947" fmla="*/ 2613 w 10785"/>
                <a:gd name="connsiteY1947" fmla="*/ 3308 h 10000"/>
                <a:gd name="connsiteX1948" fmla="*/ 2608 w 10785"/>
                <a:gd name="connsiteY1948" fmla="*/ 3325 h 10000"/>
                <a:gd name="connsiteX1949" fmla="*/ 2608 w 10785"/>
                <a:gd name="connsiteY1949" fmla="*/ 3376 h 10000"/>
                <a:gd name="connsiteX1950" fmla="*/ 2613 w 10785"/>
                <a:gd name="connsiteY1950" fmla="*/ 3419 h 10000"/>
                <a:gd name="connsiteX1951" fmla="*/ 2608 w 10785"/>
                <a:gd name="connsiteY1951" fmla="*/ 3444 h 10000"/>
                <a:gd name="connsiteX1952" fmla="*/ 2594 w 10785"/>
                <a:gd name="connsiteY1952" fmla="*/ 3444 h 10000"/>
                <a:gd name="connsiteX1953" fmla="*/ 2590 w 10785"/>
                <a:gd name="connsiteY1953" fmla="*/ 3427 h 10000"/>
                <a:gd name="connsiteX1954" fmla="*/ 2581 w 10785"/>
                <a:gd name="connsiteY1954" fmla="*/ 3564 h 10000"/>
                <a:gd name="connsiteX1955" fmla="*/ 2594 w 10785"/>
                <a:gd name="connsiteY1955" fmla="*/ 3598 h 10000"/>
                <a:gd name="connsiteX1956" fmla="*/ 2594 w 10785"/>
                <a:gd name="connsiteY1956" fmla="*/ 3581 h 10000"/>
                <a:gd name="connsiteX1957" fmla="*/ 2608 w 10785"/>
                <a:gd name="connsiteY1957" fmla="*/ 3556 h 10000"/>
                <a:gd name="connsiteX1958" fmla="*/ 2650 w 10785"/>
                <a:gd name="connsiteY1958" fmla="*/ 3615 h 10000"/>
                <a:gd name="connsiteX1959" fmla="*/ 2664 w 10785"/>
                <a:gd name="connsiteY1959" fmla="*/ 3615 h 10000"/>
                <a:gd name="connsiteX1960" fmla="*/ 2668 w 10785"/>
                <a:gd name="connsiteY1960" fmla="*/ 3615 h 10000"/>
                <a:gd name="connsiteX1961" fmla="*/ 2664 w 10785"/>
                <a:gd name="connsiteY1961" fmla="*/ 3667 h 10000"/>
                <a:gd name="connsiteX1962" fmla="*/ 2687 w 10785"/>
                <a:gd name="connsiteY1962" fmla="*/ 3786 h 10000"/>
                <a:gd name="connsiteX1963" fmla="*/ 2710 w 10785"/>
                <a:gd name="connsiteY1963" fmla="*/ 3812 h 10000"/>
                <a:gd name="connsiteX1964" fmla="*/ 2724 w 10785"/>
                <a:gd name="connsiteY1964" fmla="*/ 3812 h 10000"/>
                <a:gd name="connsiteX1965" fmla="*/ 2724 w 10785"/>
                <a:gd name="connsiteY1965" fmla="*/ 3829 h 10000"/>
                <a:gd name="connsiteX1966" fmla="*/ 2737 w 10785"/>
                <a:gd name="connsiteY1966" fmla="*/ 3838 h 10000"/>
                <a:gd name="connsiteX1967" fmla="*/ 2714 w 10785"/>
                <a:gd name="connsiteY1967" fmla="*/ 3872 h 10000"/>
                <a:gd name="connsiteX1968" fmla="*/ 2696 w 10785"/>
                <a:gd name="connsiteY1968" fmla="*/ 4026 h 10000"/>
                <a:gd name="connsiteX1969" fmla="*/ 2673 w 10785"/>
                <a:gd name="connsiteY1969" fmla="*/ 4051 h 10000"/>
                <a:gd name="connsiteX1970" fmla="*/ 2668 w 10785"/>
                <a:gd name="connsiteY1970" fmla="*/ 4034 h 10000"/>
                <a:gd name="connsiteX1971" fmla="*/ 2673 w 10785"/>
                <a:gd name="connsiteY1971" fmla="*/ 4000 h 10000"/>
                <a:gd name="connsiteX1972" fmla="*/ 2664 w 10785"/>
                <a:gd name="connsiteY1972" fmla="*/ 3974 h 10000"/>
                <a:gd name="connsiteX1973" fmla="*/ 2636 w 10785"/>
                <a:gd name="connsiteY1973" fmla="*/ 3949 h 10000"/>
                <a:gd name="connsiteX1974" fmla="*/ 2581 w 10785"/>
                <a:gd name="connsiteY1974" fmla="*/ 3838 h 10000"/>
                <a:gd name="connsiteX1975" fmla="*/ 2562 w 10785"/>
                <a:gd name="connsiteY1975" fmla="*/ 3829 h 10000"/>
                <a:gd name="connsiteX1976" fmla="*/ 2535 w 10785"/>
                <a:gd name="connsiteY1976" fmla="*/ 3778 h 10000"/>
                <a:gd name="connsiteX1977" fmla="*/ 2502 w 10785"/>
                <a:gd name="connsiteY1977" fmla="*/ 3761 h 10000"/>
                <a:gd name="connsiteX1978" fmla="*/ 2502 w 10785"/>
                <a:gd name="connsiteY1978" fmla="*/ 3735 h 10000"/>
                <a:gd name="connsiteX1979" fmla="*/ 2516 w 10785"/>
                <a:gd name="connsiteY1979" fmla="*/ 3735 h 10000"/>
                <a:gd name="connsiteX1980" fmla="*/ 2507 w 10785"/>
                <a:gd name="connsiteY1980" fmla="*/ 3726 h 10000"/>
                <a:gd name="connsiteX1981" fmla="*/ 2488 w 10785"/>
                <a:gd name="connsiteY1981" fmla="*/ 3726 h 10000"/>
                <a:gd name="connsiteX1982" fmla="*/ 2461 w 10785"/>
                <a:gd name="connsiteY1982" fmla="*/ 3692 h 10000"/>
                <a:gd name="connsiteX1983" fmla="*/ 2442 w 10785"/>
                <a:gd name="connsiteY1983" fmla="*/ 3675 h 10000"/>
                <a:gd name="connsiteX1984" fmla="*/ 2406 w 10785"/>
                <a:gd name="connsiteY1984" fmla="*/ 3598 h 10000"/>
                <a:gd name="connsiteX1985" fmla="*/ 2346 w 10785"/>
                <a:gd name="connsiteY1985" fmla="*/ 3564 h 10000"/>
                <a:gd name="connsiteX1986" fmla="*/ 2341 w 10785"/>
                <a:gd name="connsiteY1986" fmla="*/ 3564 h 10000"/>
                <a:gd name="connsiteX1987" fmla="*/ 2313 w 10785"/>
                <a:gd name="connsiteY1987" fmla="*/ 3530 h 10000"/>
                <a:gd name="connsiteX1988" fmla="*/ 2235 w 10785"/>
                <a:gd name="connsiteY1988" fmla="*/ 3530 h 10000"/>
                <a:gd name="connsiteX1989" fmla="*/ 2226 w 10785"/>
                <a:gd name="connsiteY1989" fmla="*/ 3513 h 10000"/>
                <a:gd name="connsiteX1990" fmla="*/ 2207 w 10785"/>
                <a:gd name="connsiteY1990" fmla="*/ 3504 h 10000"/>
                <a:gd name="connsiteX1991" fmla="*/ 2194 w 10785"/>
                <a:gd name="connsiteY1991" fmla="*/ 3504 h 10000"/>
                <a:gd name="connsiteX1992" fmla="*/ 2189 w 10785"/>
                <a:gd name="connsiteY1992" fmla="*/ 3504 h 10000"/>
                <a:gd name="connsiteX1993" fmla="*/ 2189 w 10785"/>
                <a:gd name="connsiteY1993" fmla="*/ 3530 h 10000"/>
                <a:gd name="connsiteX1994" fmla="*/ 2180 w 10785"/>
                <a:gd name="connsiteY1994" fmla="*/ 3538 h 10000"/>
                <a:gd name="connsiteX1995" fmla="*/ 2152 w 10785"/>
                <a:gd name="connsiteY1995" fmla="*/ 3581 h 10000"/>
                <a:gd name="connsiteX1996" fmla="*/ 2161 w 10785"/>
                <a:gd name="connsiteY1996" fmla="*/ 3598 h 10000"/>
                <a:gd name="connsiteX1997" fmla="*/ 2194 w 10785"/>
                <a:gd name="connsiteY1997" fmla="*/ 3752 h 10000"/>
                <a:gd name="connsiteX1998" fmla="*/ 2194 w 10785"/>
                <a:gd name="connsiteY1998" fmla="*/ 3735 h 10000"/>
                <a:gd name="connsiteX1999" fmla="*/ 2198 w 10785"/>
                <a:gd name="connsiteY1999" fmla="*/ 3735 h 10000"/>
                <a:gd name="connsiteX2000" fmla="*/ 2189 w 10785"/>
                <a:gd name="connsiteY2000" fmla="*/ 3838 h 10000"/>
                <a:gd name="connsiteX2001" fmla="*/ 2166 w 10785"/>
                <a:gd name="connsiteY2001" fmla="*/ 3889 h 10000"/>
                <a:gd name="connsiteX2002" fmla="*/ 2124 w 10785"/>
                <a:gd name="connsiteY2002" fmla="*/ 3889 h 10000"/>
                <a:gd name="connsiteX2003" fmla="*/ 2124 w 10785"/>
                <a:gd name="connsiteY2003" fmla="*/ 3923 h 10000"/>
                <a:gd name="connsiteX2004" fmla="*/ 2134 w 10785"/>
                <a:gd name="connsiteY2004" fmla="*/ 3940 h 10000"/>
                <a:gd name="connsiteX2005" fmla="*/ 2134 w 10785"/>
                <a:gd name="connsiteY2005" fmla="*/ 3966 h 10000"/>
                <a:gd name="connsiteX2006" fmla="*/ 2120 w 10785"/>
                <a:gd name="connsiteY2006" fmla="*/ 4000 h 10000"/>
                <a:gd name="connsiteX2007" fmla="*/ 2106 w 10785"/>
                <a:gd name="connsiteY2007" fmla="*/ 4009 h 10000"/>
                <a:gd name="connsiteX2008" fmla="*/ 2088 w 10785"/>
                <a:gd name="connsiteY2008" fmla="*/ 4000 h 10000"/>
                <a:gd name="connsiteX2009" fmla="*/ 2074 w 10785"/>
                <a:gd name="connsiteY2009" fmla="*/ 3974 h 10000"/>
                <a:gd name="connsiteX2010" fmla="*/ 2074 w 10785"/>
                <a:gd name="connsiteY2010" fmla="*/ 3940 h 10000"/>
                <a:gd name="connsiteX2011" fmla="*/ 2078 w 10785"/>
                <a:gd name="connsiteY2011" fmla="*/ 3915 h 10000"/>
                <a:gd name="connsiteX2012" fmla="*/ 2088 w 10785"/>
                <a:gd name="connsiteY2012" fmla="*/ 3889 h 10000"/>
                <a:gd name="connsiteX2013" fmla="*/ 2101 w 10785"/>
                <a:gd name="connsiteY2013" fmla="*/ 3872 h 10000"/>
                <a:gd name="connsiteX2014" fmla="*/ 2074 w 10785"/>
                <a:gd name="connsiteY2014" fmla="*/ 3812 h 10000"/>
                <a:gd name="connsiteX2015" fmla="*/ 2074 w 10785"/>
                <a:gd name="connsiteY2015" fmla="*/ 3786 h 10000"/>
                <a:gd name="connsiteX2016" fmla="*/ 2060 w 10785"/>
                <a:gd name="connsiteY2016" fmla="*/ 3786 h 10000"/>
                <a:gd name="connsiteX2017" fmla="*/ 2014 w 10785"/>
                <a:gd name="connsiteY2017" fmla="*/ 3829 h 10000"/>
                <a:gd name="connsiteX2018" fmla="*/ 2000 w 10785"/>
                <a:gd name="connsiteY2018" fmla="*/ 3863 h 10000"/>
                <a:gd name="connsiteX2019" fmla="*/ 1986 w 10785"/>
                <a:gd name="connsiteY2019" fmla="*/ 3872 h 10000"/>
                <a:gd name="connsiteX2020" fmla="*/ 1959 w 10785"/>
                <a:gd name="connsiteY2020" fmla="*/ 3940 h 10000"/>
                <a:gd name="connsiteX2021" fmla="*/ 1945 w 10785"/>
                <a:gd name="connsiteY2021" fmla="*/ 3949 h 10000"/>
                <a:gd name="connsiteX2022" fmla="*/ 1940 w 10785"/>
                <a:gd name="connsiteY2022" fmla="*/ 3923 h 10000"/>
                <a:gd name="connsiteX2023" fmla="*/ 1917 w 10785"/>
                <a:gd name="connsiteY2023" fmla="*/ 3915 h 10000"/>
                <a:gd name="connsiteX2024" fmla="*/ 1899 w 10785"/>
                <a:gd name="connsiteY2024" fmla="*/ 3923 h 10000"/>
                <a:gd name="connsiteX2025" fmla="*/ 1880 w 10785"/>
                <a:gd name="connsiteY2025" fmla="*/ 3915 h 10000"/>
                <a:gd name="connsiteX2026" fmla="*/ 1853 w 10785"/>
                <a:gd name="connsiteY2026" fmla="*/ 3940 h 10000"/>
                <a:gd name="connsiteX2027" fmla="*/ 1839 w 10785"/>
                <a:gd name="connsiteY2027" fmla="*/ 3940 h 10000"/>
                <a:gd name="connsiteX2028" fmla="*/ 1806 w 10785"/>
                <a:gd name="connsiteY2028" fmla="*/ 3983 h 10000"/>
                <a:gd name="connsiteX2029" fmla="*/ 1806 w 10785"/>
                <a:gd name="connsiteY2029" fmla="*/ 4000 h 10000"/>
                <a:gd name="connsiteX2030" fmla="*/ 1797 w 10785"/>
                <a:gd name="connsiteY2030" fmla="*/ 4077 h 10000"/>
                <a:gd name="connsiteX2031" fmla="*/ 1783 w 10785"/>
                <a:gd name="connsiteY2031" fmla="*/ 4077 h 10000"/>
                <a:gd name="connsiteX2032" fmla="*/ 1779 w 10785"/>
                <a:gd name="connsiteY2032" fmla="*/ 4051 h 10000"/>
                <a:gd name="connsiteX2033" fmla="*/ 1765 w 10785"/>
                <a:gd name="connsiteY2033" fmla="*/ 4026 h 10000"/>
                <a:gd name="connsiteX2034" fmla="*/ 1751 w 10785"/>
                <a:gd name="connsiteY2034" fmla="*/ 4051 h 10000"/>
                <a:gd name="connsiteX2035" fmla="*/ 1737 w 10785"/>
                <a:gd name="connsiteY2035" fmla="*/ 4009 h 10000"/>
                <a:gd name="connsiteX2036" fmla="*/ 1737 w 10785"/>
                <a:gd name="connsiteY2036" fmla="*/ 3966 h 10000"/>
                <a:gd name="connsiteX2037" fmla="*/ 1733 w 10785"/>
                <a:gd name="connsiteY2037" fmla="*/ 3940 h 10000"/>
                <a:gd name="connsiteX2038" fmla="*/ 1733 w 10785"/>
                <a:gd name="connsiteY2038" fmla="*/ 3923 h 10000"/>
                <a:gd name="connsiteX2039" fmla="*/ 1747 w 10785"/>
                <a:gd name="connsiteY2039" fmla="*/ 3889 h 10000"/>
                <a:gd name="connsiteX2040" fmla="*/ 1747 w 10785"/>
                <a:gd name="connsiteY2040" fmla="*/ 3863 h 10000"/>
                <a:gd name="connsiteX2041" fmla="*/ 1737 w 10785"/>
                <a:gd name="connsiteY2041" fmla="*/ 3838 h 10000"/>
                <a:gd name="connsiteX2042" fmla="*/ 1733 w 10785"/>
                <a:gd name="connsiteY2042" fmla="*/ 3829 h 10000"/>
                <a:gd name="connsiteX2043" fmla="*/ 1733 w 10785"/>
                <a:gd name="connsiteY2043" fmla="*/ 3846 h 10000"/>
                <a:gd name="connsiteX2044" fmla="*/ 1724 w 10785"/>
                <a:gd name="connsiteY2044" fmla="*/ 3846 h 10000"/>
                <a:gd name="connsiteX2045" fmla="*/ 1724 w 10785"/>
                <a:gd name="connsiteY2045" fmla="*/ 3829 h 10000"/>
                <a:gd name="connsiteX2046" fmla="*/ 1737 w 10785"/>
                <a:gd name="connsiteY2046" fmla="*/ 3812 h 10000"/>
                <a:gd name="connsiteX2047" fmla="*/ 1765 w 10785"/>
                <a:gd name="connsiteY2047" fmla="*/ 3812 h 10000"/>
                <a:gd name="connsiteX2048" fmla="*/ 1779 w 10785"/>
                <a:gd name="connsiteY2048" fmla="*/ 3786 h 10000"/>
                <a:gd name="connsiteX2049" fmla="*/ 1779 w 10785"/>
                <a:gd name="connsiteY2049" fmla="*/ 3786 h 10000"/>
                <a:gd name="connsiteX2050" fmla="*/ 1751 w 10785"/>
                <a:gd name="connsiteY2050" fmla="*/ 3803 h 10000"/>
                <a:gd name="connsiteX2051" fmla="*/ 1747 w 10785"/>
                <a:gd name="connsiteY2051" fmla="*/ 3803 h 10000"/>
                <a:gd name="connsiteX2052" fmla="*/ 1724 w 10785"/>
                <a:gd name="connsiteY2052" fmla="*/ 3803 h 10000"/>
                <a:gd name="connsiteX2053" fmla="*/ 1700 w 10785"/>
                <a:gd name="connsiteY2053" fmla="*/ 3829 h 10000"/>
                <a:gd name="connsiteX2054" fmla="*/ 1705 w 10785"/>
                <a:gd name="connsiteY2054" fmla="*/ 3846 h 10000"/>
                <a:gd name="connsiteX2055" fmla="*/ 1691 w 10785"/>
                <a:gd name="connsiteY2055" fmla="*/ 3846 h 10000"/>
                <a:gd name="connsiteX2056" fmla="*/ 1691 w 10785"/>
                <a:gd name="connsiteY2056" fmla="*/ 3863 h 10000"/>
                <a:gd name="connsiteX2057" fmla="*/ 1691 w 10785"/>
                <a:gd name="connsiteY2057" fmla="*/ 3915 h 10000"/>
                <a:gd name="connsiteX2058" fmla="*/ 1677 w 10785"/>
                <a:gd name="connsiteY2058" fmla="*/ 3923 h 10000"/>
                <a:gd name="connsiteX2059" fmla="*/ 1673 w 10785"/>
                <a:gd name="connsiteY2059" fmla="*/ 3915 h 10000"/>
                <a:gd name="connsiteX2060" fmla="*/ 1664 w 10785"/>
                <a:gd name="connsiteY2060" fmla="*/ 3889 h 10000"/>
                <a:gd name="connsiteX2061" fmla="*/ 1673 w 10785"/>
                <a:gd name="connsiteY2061" fmla="*/ 3872 h 10000"/>
                <a:gd name="connsiteX2062" fmla="*/ 1664 w 10785"/>
                <a:gd name="connsiteY2062" fmla="*/ 3872 h 10000"/>
                <a:gd name="connsiteX2063" fmla="*/ 1636 w 10785"/>
                <a:gd name="connsiteY2063" fmla="*/ 3923 h 10000"/>
                <a:gd name="connsiteX2064" fmla="*/ 1645 w 10785"/>
                <a:gd name="connsiteY2064" fmla="*/ 3923 h 10000"/>
                <a:gd name="connsiteX2065" fmla="*/ 1650 w 10785"/>
                <a:gd name="connsiteY2065" fmla="*/ 3949 h 10000"/>
                <a:gd name="connsiteX2066" fmla="*/ 1650 w 10785"/>
                <a:gd name="connsiteY2066" fmla="*/ 3983 h 10000"/>
                <a:gd name="connsiteX2067" fmla="*/ 1636 w 10785"/>
                <a:gd name="connsiteY2067" fmla="*/ 4000 h 10000"/>
                <a:gd name="connsiteX2068" fmla="*/ 1631 w 10785"/>
                <a:gd name="connsiteY2068" fmla="*/ 4009 h 10000"/>
                <a:gd name="connsiteX2069" fmla="*/ 1618 w 10785"/>
                <a:gd name="connsiteY2069" fmla="*/ 3949 h 10000"/>
                <a:gd name="connsiteX2070" fmla="*/ 1585 w 10785"/>
                <a:gd name="connsiteY2070" fmla="*/ 3966 h 10000"/>
                <a:gd name="connsiteX2071" fmla="*/ 1590 w 10785"/>
                <a:gd name="connsiteY2071" fmla="*/ 3974 h 10000"/>
                <a:gd name="connsiteX2072" fmla="*/ 1544 w 10785"/>
                <a:gd name="connsiteY2072" fmla="*/ 4009 h 10000"/>
                <a:gd name="connsiteX2073" fmla="*/ 1539 w 10785"/>
                <a:gd name="connsiteY2073" fmla="*/ 4009 h 10000"/>
                <a:gd name="connsiteX2074" fmla="*/ 1410 w 10785"/>
                <a:gd name="connsiteY2074" fmla="*/ 4188 h 10000"/>
                <a:gd name="connsiteX2075" fmla="*/ 1406 w 10785"/>
                <a:gd name="connsiteY2075" fmla="*/ 4171 h 10000"/>
                <a:gd name="connsiteX2076" fmla="*/ 1396 w 10785"/>
                <a:gd name="connsiteY2076" fmla="*/ 4214 h 10000"/>
                <a:gd name="connsiteX2077" fmla="*/ 1406 w 10785"/>
                <a:gd name="connsiteY2077" fmla="*/ 4222 h 10000"/>
                <a:gd name="connsiteX2078" fmla="*/ 1392 w 10785"/>
                <a:gd name="connsiteY2078" fmla="*/ 4239 h 10000"/>
                <a:gd name="connsiteX2079" fmla="*/ 1369 w 10785"/>
                <a:gd name="connsiteY2079" fmla="*/ 4248 h 10000"/>
                <a:gd name="connsiteX2080" fmla="*/ 1355 w 10785"/>
                <a:gd name="connsiteY2080" fmla="*/ 4256 h 10000"/>
                <a:gd name="connsiteX2081" fmla="*/ 1350 w 10785"/>
                <a:gd name="connsiteY2081" fmla="*/ 4248 h 10000"/>
                <a:gd name="connsiteX2082" fmla="*/ 1332 w 10785"/>
                <a:gd name="connsiteY2082" fmla="*/ 4376 h 10000"/>
                <a:gd name="connsiteX2083" fmla="*/ 1332 w 10785"/>
                <a:gd name="connsiteY2083" fmla="*/ 4436 h 10000"/>
                <a:gd name="connsiteX2084" fmla="*/ 1323 w 10785"/>
                <a:gd name="connsiteY2084" fmla="*/ 4462 h 10000"/>
                <a:gd name="connsiteX2085" fmla="*/ 1304 w 10785"/>
                <a:gd name="connsiteY2085" fmla="*/ 4487 h 10000"/>
                <a:gd name="connsiteX2086" fmla="*/ 1290 w 10785"/>
                <a:gd name="connsiteY2086" fmla="*/ 4470 h 10000"/>
                <a:gd name="connsiteX2087" fmla="*/ 1263 w 10785"/>
                <a:gd name="connsiteY2087" fmla="*/ 4496 h 10000"/>
                <a:gd name="connsiteX2088" fmla="*/ 1258 w 10785"/>
                <a:gd name="connsiteY2088" fmla="*/ 4547 h 10000"/>
                <a:gd name="connsiteX2089" fmla="*/ 1249 w 10785"/>
                <a:gd name="connsiteY2089" fmla="*/ 4487 h 10000"/>
                <a:gd name="connsiteX2090" fmla="*/ 1235 w 10785"/>
                <a:gd name="connsiteY2090" fmla="*/ 4496 h 10000"/>
                <a:gd name="connsiteX2091" fmla="*/ 1221 w 10785"/>
                <a:gd name="connsiteY2091" fmla="*/ 4496 h 10000"/>
                <a:gd name="connsiteX2092" fmla="*/ 1217 w 10785"/>
                <a:gd name="connsiteY2092" fmla="*/ 4487 h 10000"/>
                <a:gd name="connsiteX2093" fmla="*/ 1198 w 10785"/>
                <a:gd name="connsiteY2093" fmla="*/ 4410 h 10000"/>
                <a:gd name="connsiteX2094" fmla="*/ 1157 w 10785"/>
                <a:gd name="connsiteY2094" fmla="*/ 4333 h 10000"/>
                <a:gd name="connsiteX2095" fmla="*/ 1147 w 10785"/>
                <a:gd name="connsiteY2095" fmla="*/ 4299 h 10000"/>
                <a:gd name="connsiteX2096" fmla="*/ 1147 w 10785"/>
                <a:gd name="connsiteY2096" fmla="*/ 4274 h 10000"/>
                <a:gd name="connsiteX2097" fmla="*/ 1161 w 10785"/>
                <a:gd name="connsiteY2097" fmla="*/ 4256 h 10000"/>
                <a:gd name="connsiteX2098" fmla="*/ 1171 w 10785"/>
                <a:gd name="connsiteY2098" fmla="*/ 4248 h 10000"/>
                <a:gd name="connsiteX2099" fmla="*/ 1175 w 10785"/>
                <a:gd name="connsiteY2099" fmla="*/ 4214 h 10000"/>
                <a:gd name="connsiteX2100" fmla="*/ 1263 w 10785"/>
                <a:gd name="connsiteY2100" fmla="*/ 4171 h 10000"/>
                <a:gd name="connsiteX2101" fmla="*/ 1249 w 10785"/>
                <a:gd name="connsiteY2101" fmla="*/ 4137 h 10000"/>
                <a:gd name="connsiteX2102" fmla="*/ 1244 w 10785"/>
                <a:gd name="connsiteY2102" fmla="*/ 4060 h 10000"/>
                <a:gd name="connsiteX2103" fmla="*/ 1230 w 10785"/>
                <a:gd name="connsiteY2103" fmla="*/ 4077 h 10000"/>
                <a:gd name="connsiteX2104" fmla="*/ 1221 w 10785"/>
                <a:gd name="connsiteY2104" fmla="*/ 4026 h 10000"/>
                <a:gd name="connsiteX2105" fmla="*/ 1217 w 10785"/>
                <a:gd name="connsiteY2105" fmla="*/ 4026 h 10000"/>
                <a:gd name="connsiteX2106" fmla="*/ 1212 w 10785"/>
                <a:gd name="connsiteY2106" fmla="*/ 3983 h 10000"/>
                <a:gd name="connsiteX2107" fmla="*/ 1203 w 10785"/>
                <a:gd name="connsiteY2107" fmla="*/ 3966 h 10000"/>
                <a:gd name="connsiteX2108" fmla="*/ 1171 w 10785"/>
                <a:gd name="connsiteY2108" fmla="*/ 3949 h 10000"/>
                <a:gd name="connsiteX2109" fmla="*/ 1111 w 10785"/>
                <a:gd name="connsiteY2109" fmla="*/ 3940 h 10000"/>
                <a:gd name="connsiteX2110" fmla="*/ 1097 w 10785"/>
                <a:gd name="connsiteY2110" fmla="*/ 3949 h 10000"/>
                <a:gd name="connsiteX2111" fmla="*/ 1037 w 10785"/>
                <a:gd name="connsiteY2111" fmla="*/ 3897 h 10000"/>
                <a:gd name="connsiteX2112" fmla="*/ 1041 w 10785"/>
                <a:gd name="connsiteY2112" fmla="*/ 3923 h 10000"/>
                <a:gd name="connsiteX2113" fmla="*/ 1097 w 10785"/>
                <a:gd name="connsiteY2113" fmla="*/ 4009 h 10000"/>
                <a:gd name="connsiteX2114" fmla="*/ 1097 w 10785"/>
                <a:gd name="connsiteY2114" fmla="*/ 4120 h 10000"/>
                <a:gd name="connsiteX2115" fmla="*/ 1097 w 10785"/>
                <a:gd name="connsiteY2115" fmla="*/ 4162 h 10000"/>
                <a:gd name="connsiteX2116" fmla="*/ 1097 w 10785"/>
                <a:gd name="connsiteY2116" fmla="*/ 4197 h 10000"/>
                <a:gd name="connsiteX2117" fmla="*/ 1074 w 10785"/>
                <a:gd name="connsiteY2117" fmla="*/ 4333 h 10000"/>
                <a:gd name="connsiteX2118" fmla="*/ 1074 w 10785"/>
                <a:gd name="connsiteY2118" fmla="*/ 4376 h 10000"/>
                <a:gd name="connsiteX2119" fmla="*/ 1083 w 10785"/>
                <a:gd name="connsiteY2119" fmla="*/ 4385 h 10000"/>
                <a:gd name="connsiteX2120" fmla="*/ 1097 w 10785"/>
                <a:gd name="connsiteY2120" fmla="*/ 4385 h 10000"/>
                <a:gd name="connsiteX2121" fmla="*/ 1111 w 10785"/>
                <a:gd name="connsiteY2121" fmla="*/ 4410 h 10000"/>
                <a:gd name="connsiteX2122" fmla="*/ 1124 w 10785"/>
                <a:gd name="connsiteY2122" fmla="*/ 4444 h 10000"/>
                <a:gd name="connsiteX2123" fmla="*/ 1124 w 10785"/>
                <a:gd name="connsiteY2123" fmla="*/ 4470 h 10000"/>
                <a:gd name="connsiteX2124" fmla="*/ 1115 w 10785"/>
                <a:gd name="connsiteY2124" fmla="*/ 4513 h 10000"/>
                <a:gd name="connsiteX2125" fmla="*/ 1115 w 10785"/>
                <a:gd name="connsiteY2125" fmla="*/ 4530 h 10000"/>
                <a:gd name="connsiteX2126" fmla="*/ 1115 w 10785"/>
                <a:gd name="connsiteY2126" fmla="*/ 4573 h 10000"/>
                <a:gd name="connsiteX2127" fmla="*/ 1101 w 10785"/>
                <a:gd name="connsiteY2127" fmla="*/ 4607 h 10000"/>
                <a:gd name="connsiteX2128" fmla="*/ 1097 w 10785"/>
                <a:gd name="connsiteY2128" fmla="*/ 4658 h 10000"/>
                <a:gd name="connsiteX2129" fmla="*/ 1101 w 10785"/>
                <a:gd name="connsiteY2129" fmla="*/ 4692 h 10000"/>
                <a:gd name="connsiteX2130" fmla="*/ 1097 w 10785"/>
                <a:gd name="connsiteY2130" fmla="*/ 4778 h 10000"/>
                <a:gd name="connsiteX2131" fmla="*/ 1083 w 10785"/>
                <a:gd name="connsiteY2131" fmla="*/ 4744 h 10000"/>
                <a:gd name="connsiteX2132" fmla="*/ 1083 w 10785"/>
                <a:gd name="connsiteY2132" fmla="*/ 4718 h 10000"/>
                <a:gd name="connsiteX2133" fmla="*/ 1074 w 10785"/>
                <a:gd name="connsiteY2133" fmla="*/ 4692 h 10000"/>
                <a:gd name="connsiteX2134" fmla="*/ 1065 w 10785"/>
                <a:gd name="connsiteY2134" fmla="*/ 4692 h 10000"/>
                <a:gd name="connsiteX2135" fmla="*/ 1051 w 10785"/>
                <a:gd name="connsiteY2135" fmla="*/ 4718 h 10000"/>
                <a:gd name="connsiteX2136" fmla="*/ 1055 w 10785"/>
                <a:gd name="connsiteY2136" fmla="*/ 4692 h 10000"/>
                <a:gd name="connsiteX2137" fmla="*/ 1055 w 10785"/>
                <a:gd name="connsiteY2137" fmla="*/ 4667 h 10000"/>
                <a:gd name="connsiteX2138" fmla="*/ 1028 w 10785"/>
                <a:gd name="connsiteY2138" fmla="*/ 4624 h 10000"/>
                <a:gd name="connsiteX2139" fmla="*/ 1005 w 10785"/>
                <a:gd name="connsiteY2139" fmla="*/ 4624 h 10000"/>
                <a:gd name="connsiteX2140" fmla="*/ 977 w 10785"/>
                <a:gd name="connsiteY2140" fmla="*/ 4581 h 10000"/>
                <a:gd name="connsiteX2141" fmla="*/ 963 w 10785"/>
                <a:gd name="connsiteY2141" fmla="*/ 4607 h 10000"/>
                <a:gd name="connsiteX2142" fmla="*/ 963 w 10785"/>
                <a:gd name="connsiteY2142" fmla="*/ 4632 h 10000"/>
                <a:gd name="connsiteX2143" fmla="*/ 917 w 10785"/>
                <a:gd name="connsiteY2143" fmla="*/ 4718 h 10000"/>
                <a:gd name="connsiteX2144" fmla="*/ 889 w 10785"/>
                <a:gd name="connsiteY2144" fmla="*/ 4744 h 10000"/>
                <a:gd name="connsiteX2145" fmla="*/ 880 w 10785"/>
                <a:gd name="connsiteY2145" fmla="*/ 4744 h 10000"/>
                <a:gd name="connsiteX2146" fmla="*/ 862 w 10785"/>
                <a:gd name="connsiteY2146" fmla="*/ 4769 h 10000"/>
                <a:gd name="connsiteX2147" fmla="*/ 857 w 10785"/>
                <a:gd name="connsiteY2147" fmla="*/ 4795 h 10000"/>
                <a:gd name="connsiteX2148" fmla="*/ 829 w 10785"/>
                <a:gd name="connsiteY2148" fmla="*/ 4846 h 10000"/>
                <a:gd name="connsiteX2149" fmla="*/ 816 w 10785"/>
                <a:gd name="connsiteY2149" fmla="*/ 4855 h 10000"/>
                <a:gd name="connsiteX2150" fmla="*/ 816 w 10785"/>
                <a:gd name="connsiteY2150" fmla="*/ 4940 h 10000"/>
                <a:gd name="connsiteX2151" fmla="*/ 880 w 10785"/>
                <a:gd name="connsiteY2151" fmla="*/ 5179 h 10000"/>
                <a:gd name="connsiteX2152" fmla="*/ 880 w 10785"/>
                <a:gd name="connsiteY2152" fmla="*/ 5188 h 10000"/>
                <a:gd name="connsiteX2153" fmla="*/ 862 w 10785"/>
                <a:gd name="connsiteY2153" fmla="*/ 5171 h 10000"/>
                <a:gd name="connsiteX2154" fmla="*/ 857 w 10785"/>
                <a:gd name="connsiteY2154" fmla="*/ 5171 h 10000"/>
                <a:gd name="connsiteX2155" fmla="*/ 820 w 10785"/>
                <a:gd name="connsiteY2155" fmla="*/ 5145 h 10000"/>
                <a:gd name="connsiteX2156" fmla="*/ 820 w 10785"/>
                <a:gd name="connsiteY2156" fmla="*/ 5154 h 10000"/>
                <a:gd name="connsiteX2157" fmla="*/ 816 w 10785"/>
                <a:gd name="connsiteY2157" fmla="*/ 5171 h 10000"/>
                <a:gd name="connsiteX2158" fmla="*/ 783 w 10785"/>
                <a:gd name="connsiteY2158" fmla="*/ 5145 h 10000"/>
                <a:gd name="connsiteX2159" fmla="*/ 756 w 10785"/>
                <a:gd name="connsiteY2159" fmla="*/ 5103 h 10000"/>
                <a:gd name="connsiteX2160" fmla="*/ 742 w 10785"/>
                <a:gd name="connsiteY2160" fmla="*/ 5103 h 10000"/>
                <a:gd name="connsiteX2161" fmla="*/ 728 w 10785"/>
                <a:gd name="connsiteY2161" fmla="*/ 5094 h 10000"/>
                <a:gd name="connsiteX2162" fmla="*/ 710 w 10785"/>
                <a:gd name="connsiteY2162" fmla="*/ 5120 h 10000"/>
                <a:gd name="connsiteX2163" fmla="*/ 700 w 10785"/>
                <a:gd name="connsiteY2163" fmla="*/ 5145 h 10000"/>
                <a:gd name="connsiteX2164" fmla="*/ 696 w 10785"/>
                <a:gd name="connsiteY2164" fmla="*/ 5103 h 10000"/>
                <a:gd name="connsiteX2165" fmla="*/ 714 w 10785"/>
                <a:gd name="connsiteY2165" fmla="*/ 5077 h 10000"/>
                <a:gd name="connsiteX2166" fmla="*/ 682 w 10785"/>
                <a:gd name="connsiteY2166" fmla="*/ 5068 h 10000"/>
                <a:gd name="connsiteX2167" fmla="*/ 673 w 10785"/>
                <a:gd name="connsiteY2167" fmla="*/ 5034 h 10000"/>
                <a:gd name="connsiteX2168" fmla="*/ 636 w 10785"/>
                <a:gd name="connsiteY2168" fmla="*/ 4991 h 10000"/>
                <a:gd name="connsiteX2169" fmla="*/ 622 w 10785"/>
                <a:gd name="connsiteY2169" fmla="*/ 4983 h 10000"/>
                <a:gd name="connsiteX2170" fmla="*/ 622 w 10785"/>
                <a:gd name="connsiteY2170" fmla="*/ 5034 h 10000"/>
                <a:gd name="connsiteX2171" fmla="*/ 608 w 10785"/>
                <a:gd name="connsiteY2171" fmla="*/ 5051 h 10000"/>
                <a:gd name="connsiteX2172" fmla="*/ 594 w 10785"/>
                <a:gd name="connsiteY2172" fmla="*/ 5068 h 10000"/>
                <a:gd name="connsiteX2173" fmla="*/ 608 w 10785"/>
                <a:gd name="connsiteY2173" fmla="*/ 5120 h 10000"/>
                <a:gd name="connsiteX2174" fmla="*/ 613 w 10785"/>
                <a:gd name="connsiteY2174" fmla="*/ 5128 h 10000"/>
                <a:gd name="connsiteX2175" fmla="*/ 627 w 10785"/>
                <a:gd name="connsiteY2175" fmla="*/ 5179 h 10000"/>
                <a:gd name="connsiteX2176" fmla="*/ 650 w 10785"/>
                <a:gd name="connsiteY2176" fmla="*/ 5214 h 10000"/>
                <a:gd name="connsiteX2177" fmla="*/ 687 w 10785"/>
                <a:gd name="connsiteY2177" fmla="*/ 5188 h 10000"/>
                <a:gd name="connsiteX2178" fmla="*/ 700 w 10785"/>
                <a:gd name="connsiteY2178" fmla="*/ 5325 h 10000"/>
                <a:gd name="connsiteX2179" fmla="*/ 710 w 10785"/>
                <a:gd name="connsiteY2179" fmla="*/ 5350 h 10000"/>
                <a:gd name="connsiteX2180" fmla="*/ 687 w 10785"/>
                <a:gd name="connsiteY2180" fmla="*/ 5325 h 10000"/>
                <a:gd name="connsiteX2181" fmla="*/ 668 w 10785"/>
                <a:gd name="connsiteY2181" fmla="*/ 5350 h 10000"/>
                <a:gd name="connsiteX2182" fmla="*/ 668 w 10785"/>
                <a:gd name="connsiteY2182" fmla="*/ 5368 h 10000"/>
                <a:gd name="connsiteX2183" fmla="*/ 668 w 10785"/>
                <a:gd name="connsiteY2183" fmla="*/ 5376 h 10000"/>
                <a:gd name="connsiteX2184" fmla="*/ 581 w 10785"/>
                <a:gd name="connsiteY2184" fmla="*/ 5316 h 10000"/>
                <a:gd name="connsiteX2185" fmla="*/ 567 w 10785"/>
                <a:gd name="connsiteY2185" fmla="*/ 5265 h 10000"/>
                <a:gd name="connsiteX2186" fmla="*/ 562 w 10785"/>
                <a:gd name="connsiteY2186" fmla="*/ 5256 h 10000"/>
                <a:gd name="connsiteX2187" fmla="*/ 548 w 10785"/>
                <a:gd name="connsiteY2187" fmla="*/ 5231 h 10000"/>
                <a:gd name="connsiteX2188" fmla="*/ 535 w 10785"/>
                <a:gd name="connsiteY2188" fmla="*/ 5214 h 10000"/>
                <a:gd name="connsiteX2189" fmla="*/ 525 w 10785"/>
                <a:gd name="connsiteY2189" fmla="*/ 5231 h 10000"/>
                <a:gd name="connsiteX2190" fmla="*/ 521 w 10785"/>
                <a:gd name="connsiteY2190" fmla="*/ 5231 h 10000"/>
                <a:gd name="connsiteX2191" fmla="*/ 493 w 10785"/>
                <a:gd name="connsiteY2191" fmla="*/ 5205 h 10000"/>
                <a:gd name="connsiteX2192" fmla="*/ 488 w 10785"/>
                <a:gd name="connsiteY2192" fmla="*/ 5179 h 10000"/>
                <a:gd name="connsiteX2193" fmla="*/ 475 w 10785"/>
                <a:gd name="connsiteY2193" fmla="*/ 5188 h 10000"/>
                <a:gd name="connsiteX2194" fmla="*/ 475 w 10785"/>
                <a:gd name="connsiteY2194" fmla="*/ 5171 h 10000"/>
                <a:gd name="connsiteX2195" fmla="*/ 488 w 10785"/>
                <a:gd name="connsiteY2195" fmla="*/ 5154 h 10000"/>
                <a:gd name="connsiteX2196" fmla="*/ 488 w 10785"/>
                <a:gd name="connsiteY2196" fmla="*/ 5068 h 10000"/>
                <a:gd name="connsiteX2197" fmla="*/ 475 w 10785"/>
                <a:gd name="connsiteY2197" fmla="*/ 5051 h 10000"/>
                <a:gd name="connsiteX2198" fmla="*/ 475 w 10785"/>
                <a:gd name="connsiteY2198" fmla="*/ 5017 h 10000"/>
                <a:gd name="connsiteX2199" fmla="*/ 452 w 10785"/>
                <a:gd name="connsiteY2199" fmla="*/ 4932 h 10000"/>
                <a:gd name="connsiteX2200" fmla="*/ 461 w 10785"/>
                <a:gd name="connsiteY2200" fmla="*/ 4915 h 10000"/>
                <a:gd name="connsiteX2201" fmla="*/ 475 w 10785"/>
                <a:gd name="connsiteY2201" fmla="*/ 4906 h 10000"/>
                <a:gd name="connsiteX2202" fmla="*/ 479 w 10785"/>
                <a:gd name="connsiteY2202" fmla="*/ 4803 h 10000"/>
                <a:gd name="connsiteX2203" fmla="*/ 479 w 10785"/>
                <a:gd name="connsiteY2203" fmla="*/ 4778 h 10000"/>
                <a:gd name="connsiteX2204" fmla="*/ 475 w 10785"/>
                <a:gd name="connsiteY2204" fmla="*/ 4761 h 10000"/>
                <a:gd name="connsiteX2205" fmla="*/ 465 w 10785"/>
                <a:gd name="connsiteY2205" fmla="*/ 4718 h 10000"/>
                <a:gd name="connsiteX2206" fmla="*/ 461 w 10785"/>
                <a:gd name="connsiteY2206" fmla="*/ 4709 h 10000"/>
                <a:gd name="connsiteX2207" fmla="*/ 442 w 10785"/>
                <a:gd name="connsiteY2207" fmla="*/ 4692 h 10000"/>
                <a:gd name="connsiteX2208" fmla="*/ 433 w 10785"/>
                <a:gd name="connsiteY2208" fmla="*/ 4667 h 10000"/>
                <a:gd name="connsiteX2209" fmla="*/ 419 w 10785"/>
                <a:gd name="connsiteY2209" fmla="*/ 4667 h 10000"/>
                <a:gd name="connsiteX2210" fmla="*/ 401 w 10785"/>
                <a:gd name="connsiteY2210" fmla="*/ 4658 h 10000"/>
                <a:gd name="connsiteX2211" fmla="*/ 401 w 10785"/>
                <a:gd name="connsiteY2211" fmla="*/ 4624 h 10000"/>
                <a:gd name="connsiteX2212" fmla="*/ 401 w 10785"/>
                <a:gd name="connsiteY2212" fmla="*/ 4607 h 10000"/>
                <a:gd name="connsiteX2213" fmla="*/ 378 w 10785"/>
                <a:gd name="connsiteY2213" fmla="*/ 4607 h 10000"/>
                <a:gd name="connsiteX2214" fmla="*/ 341 w 10785"/>
                <a:gd name="connsiteY2214" fmla="*/ 4530 h 10000"/>
                <a:gd name="connsiteX2215" fmla="*/ 346 w 10785"/>
                <a:gd name="connsiteY2215" fmla="*/ 4521 h 10000"/>
                <a:gd name="connsiteX2216" fmla="*/ 332 w 10785"/>
                <a:gd name="connsiteY2216" fmla="*/ 4487 h 10000"/>
                <a:gd name="connsiteX2217" fmla="*/ 327 w 10785"/>
                <a:gd name="connsiteY2217" fmla="*/ 4462 h 10000"/>
                <a:gd name="connsiteX2218" fmla="*/ 313 w 10785"/>
                <a:gd name="connsiteY2218" fmla="*/ 4436 h 10000"/>
                <a:gd name="connsiteX2219" fmla="*/ 300 w 10785"/>
                <a:gd name="connsiteY2219" fmla="*/ 4419 h 10000"/>
                <a:gd name="connsiteX2220" fmla="*/ 309 w 10785"/>
                <a:gd name="connsiteY2220" fmla="*/ 4393 h 10000"/>
                <a:gd name="connsiteX2221" fmla="*/ 332 w 10785"/>
                <a:gd name="connsiteY2221" fmla="*/ 4385 h 10000"/>
                <a:gd name="connsiteX2222" fmla="*/ 355 w 10785"/>
                <a:gd name="connsiteY2222" fmla="*/ 4419 h 10000"/>
                <a:gd name="connsiteX2223" fmla="*/ 355 w 10785"/>
                <a:gd name="connsiteY2223" fmla="*/ 4444 h 10000"/>
                <a:gd name="connsiteX2224" fmla="*/ 369 w 10785"/>
                <a:gd name="connsiteY2224" fmla="*/ 4470 h 10000"/>
                <a:gd name="connsiteX2225" fmla="*/ 401 w 10785"/>
                <a:gd name="connsiteY2225" fmla="*/ 4521 h 10000"/>
                <a:gd name="connsiteX2226" fmla="*/ 406 w 10785"/>
                <a:gd name="connsiteY2226" fmla="*/ 4513 h 10000"/>
                <a:gd name="connsiteX2227" fmla="*/ 406 w 10785"/>
                <a:gd name="connsiteY2227" fmla="*/ 4496 h 10000"/>
                <a:gd name="connsiteX2228" fmla="*/ 419 w 10785"/>
                <a:gd name="connsiteY2228" fmla="*/ 4521 h 10000"/>
                <a:gd name="connsiteX2229" fmla="*/ 429 w 10785"/>
                <a:gd name="connsiteY2229" fmla="*/ 4530 h 10000"/>
                <a:gd name="connsiteX2230" fmla="*/ 433 w 10785"/>
                <a:gd name="connsiteY2230" fmla="*/ 4521 h 10000"/>
                <a:gd name="connsiteX2231" fmla="*/ 442 w 10785"/>
                <a:gd name="connsiteY2231" fmla="*/ 4530 h 10000"/>
                <a:gd name="connsiteX2232" fmla="*/ 447 w 10785"/>
                <a:gd name="connsiteY2232" fmla="*/ 4521 h 10000"/>
                <a:gd name="connsiteX2233" fmla="*/ 452 w 10785"/>
                <a:gd name="connsiteY2233" fmla="*/ 4521 h 10000"/>
                <a:gd name="connsiteX2234" fmla="*/ 461 w 10785"/>
                <a:gd name="connsiteY2234" fmla="*/ 4573 h 10000"/>
                <a:gd name="connsiteX2235" fmla="*/ 479 w 10785"/>
                <a:gd name="connsiteY2235" fmla="*/ 4556 h 10000"/>
                <a:gd name="connsiteX2236" fmla="*/ 502 w 10785"/>
                <a:gd name="connsiteY2236" fmla="*/ 4573 h 10000"/>
                <a:gd name="connsiteX2237" fmla="*/ 507 w 10785"/>
                <a:gd name="connsiteY2237" fmla="*/ 4598 h 10000"/>
                <a:gd name="connsiteX2238" fmla="*/ 525 w 10785"/>
                <a:gd name="connsiteY2238" fmla="*/ 4598 h 10000"/>
                <a:gd name="connsiteX2239" fmla="*/ 535 w 10785"/>
                <a:gd name="connsiteY2239" fmla="*/ 4624 h 10000"/>
                <a:gd name="connsiteX2240" fmla="*/ 594 w 10785"/>
                <a:gd name="connsiteY2240" fmla="*/ 4658 h 10000"/>
                <a:gd name="connsiteX2241" fmla="*/ 627 w 10785"/>
                <a:gd name="connsiteY2241" fmla="*/ 4658 h 10000"/>
                <a:gd name="connsiteX2242" fmla="*/ 654 w 10785"/>
                <a:gd name="connsiteY2242" fmla="*/ 4684 h 10000"/>
                <a:gd name="connsiteX2243" fmla="*/ 668 w 10785"/>
                <a:gd name="connsiteY2243" fmla="*/ 4709 h 10000"/>
                <a:gd name="connsiteX2244" fmla="*/ 747 w 10785"/>
                <a:gd name="connsiteY2244" fmla="*/ 4718 h 10000"/>
                <a:gd name="connsiteX2245" fmla="*/ 760 w 10785"/>
                <a:gd name="connsiteY2245" fmla="*/ 4709 h 10000"/>
                <a:gd name="connsiteX2246" fmla="*/ 774 w 10785"/>
                <a:gd name="connsiteY2246" fmla="*/ 4692 h 10000"/>
                <a:gd name="connsiteX2247" fmla="*/ 829 w 10785"/>
                <a:gd name="connsiteY2247" fmla="*/ 4658 h 10000"/>
                <a:gd name="connsiteX2248" fmla="*/ 903 w 10785"/>
                <a:gd name="connsiteY2248" fmla="*/ 4496 h 10000"/>
                <a:gd name="connsiteX2249" fmla="*/ 917 w 10785"/>
                <a:gd name="connsiteY2249" fmla="*/ 4385 h 10000"/>
                <a:gd name="connsiteX2250" fmla="*/ 903 w 10785"/>
                <a:gd name="connsiteY2250" fmla="*/ 4376 h 10000"/>
                <a:gd name="connsiteX2251" fmla="*/ 903 w 10785"/>
                <a:gd name="connsiteY2251" fmla="*/ 4376 h 10000"/>
                <a:gd name="connsiteX2252" fmla="*/ 889 w 10785"/>
                <a:gd name="connsiteY2252" fmla="*/ 4239 h 10000"/>
                <a:gd name="connsiteX2253" fmla="*/ 880 w 10785"/>
                <a:gd name="connsiteY2253" fmla="*/ 4214 h 10000"/>
                <a:gd name="connsiteX2254" fmla="*/ 862 w 10785"/>
                <a:gd name="connsiteY2254" fmla="*/ 4188 h 10000"/>
                <a:gd name="connsiteX2255" fmla="*/ 857 w 10785"/>
                <a:gd name="connsiteY2255" fmla="*/ 4197 h 10000"/>
                <a:gd name="connsiteX2256" fmla="*/ 848 w 10785"/>
                <a:gd name="connsiteY2256" fmla="*/ 4188 h 10000"/>
                <a:gd name="connsiteX2257" fmla="*/ 848 w 10785"/>
                <a:gd name="connsiteY2257" fmla="*/ 4162 h 10000"/>
                <a:gd name="connsiteX2258" fmla="*/ 829 w 10785"/>
                <a:gd name="connsiteY2258" fmla="*/ 4120 h 10000"/>
                <a:gd name="connsiteX2259" fmla="*/ 820 w 10785"/>
                <a:gd name="connsiteY2259" fmla="*/ 4103 h 10000"/>
                <a:gd name="connsiteX2260" fmla="*/ 806 w 10785"/>
                <a:gd name="connsiteY2260" fmla="*/ 4077 h 10000"/>
                <a:gd name="connsiteX2261" fmla="*/ 816 w 10785"/>
                <a:gd name="connsiteY2261" fmla="*/ 4111 h 10000"/>
                <a:gd name="connsiteX2262" fmla="*/ 802 w 10785"/>
                <a:gd name="connsiteY2262" fmla="*/ 4111 h 10000"/>
                <a:gd name="connsiteX2263" fmla="*/ 770 w 10785"/>
                <a:gd name="connsiteY2263" fmla="*/ 4060 h 10000"/>
                <a:gd name="connsiteX2264" fmla="*/ 760 w 10785"/>
                <a:gd name="connsiteY2264" fmla="*/ 4077 h 10000"/>
                <a:gd name="connsiteX2265" fmla="*/ 760 w 10785"/>
                <a:gd name="connsiteY2265" fmla="*/ 4060 h 10000"/>
                <a:gd name="connsiteX2266" fmla="*/ 756 w 10785"/>
                <a:gd name="connsiteY2266" fmla="*/ 4034 h 10000"/>
                <a:gd name="connsiteX2267" fmla="*/ 742 w 10785"/>
                <a:gd name="connsiteY2267" fmla="*/ 4000 h 10000"/>
                <a:gd name="connsiteX2268" fmla="*/ 747 w 10785"/>
                <a:gd name="connsiteY2268" fmla="*/ 4034 h 10000"/>
                <a:gd name="connsiteX2269" fmla="*/ 724 w 10785"/>
                <a:gd name="connsiteY2269" fmla="*/ 4026 h 10000"/>
                <a:gd name="connsiteX2270" fmla="*/ 714 w 10785"/>
                <a:gd name="connsiteY2270" fmla="*/ 4000 h 10000"/>
                <a:gd name="connsiteX2271" fmla="*/ 714 w 10785"/>
                <a:gd name="connsiteY2271" fmla="*/ 3983 h 10000"/>
                <a:gd name="connsiteX2272" fmla="*/ 553 w 10785"/>
                <a:gd name="connsiteY2272" fmla="*/ 3726 h 10000"/>
                <a:gd name="connsiteX2273" fmla="*/ 507 w 10785"/>
                <a:gd name="connsiteY2273" fmla="*/ 3718 h 10000"/>
                <a:gd name="connsiteX2274" fmla="*/ 516 w 10785"/>
                <a:gd name="connsiteY2274" fmla="*/ 3726 h 10000"/>
                <a:gd name="connsiteX2275" fmla="*/ 507 w 10785"/>
                <a:gd name="connsiteY2275" fmla="*/ 3735 h 10000"/>
                <a:gd name="connsiteX2276" fmla="*/ 502 w 10785"/>
                <a:gd name="connsiteY2276" fmla="*/ 3735 h 10000"/>
                <a:gd name="connsiteX2277" fmla="*/ 419 w 10785"/>
                <a:gd name="connsiteY2277" fmla="*/ 3675 h 10000"/>
                <a:gd name="connsiteX2278" fmla="*/ 419 w 10785"/>
                <a:gd name="connsiteY2278" fmla="*/ 3692 h 10000"/>
                <a:gd name="connsiteX2279" fmla="*/ 401 w 10785"/>
                <a:gd name="connsiteY2279" fmla="*/ 3701 h 10000"/>
                <a:gd name="connsiteX2280" fmla="*/ 387 w 10785"/>
                <a:gd name="connsiteY2280" fmla="*/ 3718 h 10000"/>
                <a:gd name="connsiteX2281" fmla="*/ 387 w 10785"/>
                <a:gd name="connsiteY2281" fmla="*/ 3692 h 10000"/>
                <a:gd name="connsiteX2282" fmla="*/ 378 w 10785"/>
                <a:gd name="connsiteY2282" fmla="*/ 3675 h 10000"/>
                <a:gd name="connsiteX2283" fmla="*/ 378 w 10785"/>
                <a:gd name="connsiteY2283" fmla="*/ 3650 h 10000"/>
                <a:gd name="connsiteX2284" fmla="*/ 378 w 10785"/>
                <a:gd name="connsiteY2284" fmla="*/ 3650 h 10000"/>
                <a:gd name="connsiteX2285" fmla="*/ 355 w 10785"/>
                <a:gd name="connsiteY2285" fmla="*/ 3675 h 10000"/>
                <a:gd name="connsiteX2286" fmla="*/ 359 w 10785"/>
                <a:gd name="connsiteY2286" fmla="*/ 3641 h 10000"/>
                <a:gd name="connsiteX2287" fmla="*/ 346 w 10785"/>
                <a:gd name="connsiteY2287" fmla="*/ 3650 h 10000"/>
                <a:gd name="connsiteX2288" fmla="*/ 355 w 10785"/>
                <a:gd name="connsiteY2288" fmla="*/ 3624 h 10000"/>
                <a:gd name="connsiteX2289" fmla="*/ 346 w 10785"/>
                <a:gd name="connsiteY2289" fmla="*/ 3624 h 10000"/>
                <a:gd name="connsiteX2290" fmla="*/ 341 w 10785"/>
                <a:gd name="connsiteY2290" fmla="*/ 3624 h 10000"/>
                <a:gd name="connsiteX2291" fmla="*/ 318 w 10785"/>
                <a:gd name="connsiteY2291" fmla="*/ 3641 h 10000"/>
                <a:gd name="connsiteX2292" fmla="*/ 327 w 10785"/>
                <a:gd name="connsiteY2292" fmla="*/ 3624 h 10000"/>
                <a:gd name="connsiteX2293" fmla="*/ 318 w 10785"/>
                <a:gd name="connsiteY2293" fmla="*/ 3615 h 10000"/>
                <a:gd name="connsiteX2294" fmla="*/ 318 w 10785"/>
                <a:gd name="connsiteY2294" fmla="*/ 3598 h 10000"/>
                <a:gd name="connsiteX2295" fmla="*/ 300 w 10785"/>
                <a:gd name="connsiteY2295" fmla="*/ 3598 h 10000"/>
                <a:gd name="connsiteX2296" fmla="*/ 309 w 10785"/>
                <a:gd name="connsiteY2296" fmla="*/ 3538 h 10000"/>
                <a:gd name="connsiteX2297" fmla="*/ 313 w 10785"/>
                <a:gd name="connsiteY2297" fmla="*/ 3564 h 10000"/>
                <a:gd name="connsiteX2298" fmla="*/ 318 w 10785"/>
                <a:gd name="connsiteY2298" fmla="*/ 3581 h 10000"/>
                <a:gd name="connsiteX2299" fmla="*/ 327 w 10785"/>
                <a:gd name="connsiteY2299" fmla="*/ 3564 h 10000"/>
                <a:gd name="connsiteX2300" fmla="*/ 332 w 10785"/>
                <a:gd name="connsiteY2300" fmla="*/ 3590 h 10000"/>
                <a:gd name="connsiteX2301" fmla="*/ 346 w 10785"/>
                <a:gd name="connsiteY2301" fmla="*/ 3590 h 10000"/>
                <a:gd name="connsiteX2302" fmla="*/ 355 w 10785"/>
                <a:gd name="connsiteY2302" fmla="*/ 3590 h 10000"/>
                <a:gd name="connsiteX2303" fmla="*/ 369 w 10785"/>
                <a:gd name="connsiteY2303" fmla="*/ 3556 h 10000"/>
                <a:gd name="connsiteX2304" fmla="*/ 369 w 10785"/>
                <a:gd name="connsiteY2304" fmla="*/ 3538 h 10000"/>
                <a:gd name="connsiteX2305" fmla="*/ 346 w 10785"/>
                <a:gd name="connsiteY2305" fmla="*/ 3513 h 10000"/>
                <a:gd name="connsiteX2306" fmla="*/ 341 w 10785"/>
                <a:gd name="connsiteY2306" fmla="*/ 3530 h 10000"/>
                <a:gd name="connsiteX2307" fmla="*/ 327 w 10785"/>
                <a:gd name="connsiteY2307" fmla="*/ 3513 h 10000"/>
                <a:gd name="connsiteX2308" fmla="*/ 327 w 10785"/>
                <a:gd name="connsiteY2308" fmla="*/ 3504 h 10000"/>
                <a:gd name="connsiteX2309" fmla="*/ 295 w 10785"/>
                <a:gd name="connsiteY2309" fmla="*/ 3462 h 10000"/>
                <a:gd name="connsiteX2310" fmla="*/ 300 w 10785"/>
                <a:gd name="connsiteY2310" fmla="*/ 3479 h 10000"/>
                <a:gd name="connsiteX2311" fmla="*/ 295 w 10785"/>
                <a:gd name="connsiteY2311" fmla="*/ 3513 h 10000"/>
                <a:gd name="connsiteX2312" fmla="*/ 286 w 10785"/>
                <a:gd name="connsiteY2312" fmla="*/ 3513 h 10000"/>
                <a:gd name="connsiteX2313" fmla="*/ 281 w 10785"/>
                <a:gd name="connsiteY2313" fmla="*/ 3513 h 10000"/>
                <a:gd name="connsiteX2314" fmla="*/ 281 w 10785"/>
                <a:gd name="connsiteY2314" fmla="*/ 3530 h 10000"/>
                <a:gd name="connsiteX2315" fmla="*/ 281 w 10785"/>
                <a:gd name="connsiteY2315" fmla="*/ 3556 h 10000"/>
                <a:gd name="connsiteX2316" fmla="*/ 272 w 10785"/>
                <a:gd name="connsiteY2316" fmla="*/ 3564 h 10000"/>
                <a:gd name="connsiteX2317" fmla="*/ 267 w 10785"/>
                <a:gd name="connsiteY2317" fmla="*/ 3564 h 10000"/>
                <a:gd name="connsiteX2318" fmla="*/ 253 w 10785"/>
                <a:gd name="connsiteY2318" fmla="*/ 3538 h 10000"/>
                <a:gd name="connsiteX2319" fmla="*/ 226 w 10785"/>
                <a:gd name="connsiteY2319" fmla="*/ 3513 h 10000"/>
                <a:gd name="connsiteX2320" fmla="*/ 226 w 10785"/>
                <a:gd name="connsiteY2320" fmla="*/ 3530 h 10000"/>
                <a:gd name="connsiteX2321" fmla="*/ 226 w 10785"/>
                <a:gd name="connsiteY2321" fmla="*/ 3530 h 10000"/>
                <a:gd name="connsiteX2322" fmla="*/ 226 w 10785"/>
                <a:gd name="connsiteY2322" fmla="*/ 3530 h 10000"/>
                <a:gd name="connsiteX2323" fmla="*/ 226 w 10785"/>
                <a:gd name="connsiteY2323" fmla="*/ 3556 h 10000"/>
                <a:gd name="connsiteX2324" fmla="*/ 221 w 10785"/>
                <a:gd name="connsiteY2324" fmla="*/ 3598 h 10000"/>
                <a:gd name="connsiteX2325" fmla="*/ 207 w 10785"/>
                <a:gd name="connsiteY2325" fmla="*/ 3598 h 10000"/>
                <a:gd name="connsiteX2326" fmla="*/ 180 w 10785"/>
                <a:gd name="connsiteY2326" fmla="*/ 3581 h 10000"/>
                <a:gd name="connsiteX2327" fmla="*/ 171 w 10785"/>
                <a:gd name="connsiteY2327" fmla="*/ 3641 h 10000"/>
                <a:gd name="connsiteX2328" fmla="*/ 166 w 10785"/>
                <a:gd name="connsiteY2328" fmla="*/ 3650 h 10000"/>
                <a:gd name="connsiteX2329" fmla="*/ 124 w 10785"/>
                <a:gd name="connsiteY2329" fmla="*/ 3701 h 10000"/>
                <a:gd name="connsiteX2330" fmla="*/ 124 w 10785"/>
                <a:gd name="connsiteY2330" fmla="*/ 3718 h 10000"/>
                <a:gd name="connsiteX2331" fmla="*/ 120 w 10785"/>
                <a:gd name="connsiteY2331" fmla="*/ 3735 h 10000"/>
                <a:gd name="connsiteX2332" fmla="*/ 120 w 10785"/>
                <a:gd name="connsiteY2332" fmla="*/ 3735 h 10000"/>
                <a:gd name="connsiteX2333" fmla="*/ 111 w 10785"/>
                <a:gd name="connsiteY2333" fmla="*/ 3761 h 10000"/>
                <a:gd name="connsiteX2334" fmla="*/ 106 w 10785"/>
                <a:gd name="connsiteY2334" fmla="*/ 3761 h 10000"/>
                <a:gd name="connsiteX2335" fmla="*/ 106 w 10785"/>
                <a:gd name="connsiteY2335" fmla="*/ 3761 h 10000"/>
                <a:gd name="connsiteX2336" fmla="*/ 74 w 10785"/>
                <a:gd name="connsiteY2336" fmla="*/ 3829 h 10000"/>
                <a:gd name="connsiteX2337" fmla="*/ 78 w 10785"/>
                <a:gd name="connsiteY2337" fmla="*/ 3838 h 10000"/>
                <a:gd name="connsiteX2338" fmla="*/ 88 w 10785"/>
                <a:gd name="connsiteY2338" fmla="*/ 3846 h 10000"/>
                <a:gd name="connsiteX2339" fmla="*/ 65 w 10785"/>
                <a:gd name="connsiteY2339" fmla="*/ 3923 h 10000"/>
                <a:gd name="connsiteX2340" fmla="*/ 78 w 10785"/>
                <a:gd name="connsiteY2340" fmla="*/ 4026 h 10000"/>
                <a:gd name="connsiteX2341" fmla="*/ 88 w 10785"/>
                <a:gd name="connsiteY2341" fmla="*/ 4051 h 10000"/>
                <a:gd name="connsiteX2342" fmla="*/ 92 w 10785"/>
                <a:gd name="connsiteY2342" fmla="*/ 4060 h 10000"/>
                <a:gd name="connsiteX2343" fmla="*/ 111 w 10785"/>
                <a:gd name="connsiteY2343" fmla="*/ 4060 h 10000"/>
                <a:gd name="connsiteX2344" fmla="*/ 124 w 10785"/>
                <a:gd name="connsiteY2344" fmla="*/ 4085 h 10000"/>
                <a:gd name="connsiteX2345" fmla="*/ 166 w 10785"/>
                <a:gd name="connsiteY2345" fmla="*/ 4197 h 10000"/>
                <a:gd name="connsiteX2346" fmla="*/ 166 w 10785"/>
                <a:gd name="connsiteY2346" fmla="*/ 4248 h 10000"/>
                <a:gd name="connsiteX2347" fmla="*/ 120 w 10785"/>
                <a:gd name="connsiteY2347" fmla="*/ 4462 h 10000"/>
                <a:gd name="connsiteX2348" fmla="*/ 120 w 10785"/>
                <a:gd name="connsiteY2348" fmla="*/ 4513 h 10000"/>
                <a:gd name="connsiteX2349" fmla="*/ 180 w 10785"/>
                <a:gd name="connsiteY2349" fmla="*/ 4829 h 10000"/>
                <a:gd name="connsiteX2350" fmla="*/ 161 w 10785"/>
                <a:gd name="connsiteY2350" fmla="*/ 4855 h 10000"/>
                <a:gd name="connsiteX2351" fmla="*/ 152 w 10785"/>
                <a:gd name="connsiteY2351" fmla="*/ 4940 h 10000"/>
                <a:gd name="connsiteX2352" fmla="*/ 161 w 10785"/>
                <a:gd name="connsiteY2352" fmla="*/ 4966 h 10000"/>
                <a:gd name="connsiteX2353" fmla="*/ 161 w 10785"/>
                <a:gd name="connsiteY2353" fmla="*/ 5009 h 10000"/>
                <a:gd name="connsiteX2354" fmla="*/ 152 w 10785"/>
                <a:gd name="connsiteY2354" fmla="*/ 5034 h 10000"/>
                <a:gd name="connsiteX2355" fmla="*/ 152 w 10785"/>
                <a:gd name="connsiteY2355" fmla="*/ 5077 h 10000"/>
                <a:gd name="connsiteX2356" fmla="*/ 171 w 10785"/>
                <a:gd name="connsiteY2356" fmla="*/ 5094 h 10000"/>
                <a:gd name="connsiteX2357" fmla="*/ 180 w 10785"/>
                <a:gd name="connsiteY2357" fmla="*/ 5128 h 10000"/>
                <a:gd name="connsiteX2358" fmla="*/ 180 w 10785"/>
                <a:gd name="connsiteY2358" fmla="*/ 5171 h 10000"/>
                <a:gd name="connsiteX2359" fmla="*/ 184 w 10785"/>
                <a:gd name="connsiteY2359" fmla="*/ 5205 h 10000"/>
                <a:gd name="connsiteX2360" fmla="*/ 207 w 10785"/>
                <a:gd name="connsiteY2360" fmla="*/ 5239 h 10000"/>
                <a:gd name="connsiteX2361" fmla="*/ 207 w 10785"/>
                <a:gd name="connsiteY2361" fmla="*/ 5282 h 10000"/>
                <a:gd name="connsiteX2362" fmla="*/ 180 w 10785"/>
                <a:gd name="connsiteY2362" fmla="*/ 5393 h 10000"/>
                <a:gd name="connsiteX2363" fmla="*/ 194 w 10785"/>
                <a:gd name="connsiteY2363" fmla="*/ 5427 h 10000"/>
                <a:gd name="connsiteX2364" fmla="*/ 198 w 10785"/>
                <a:gd name="connsiteY2364" fmla="*/ 5462 h 10000"/>
                <a:gd name="connsiteX2365" fmla="*/ 235 w 10785"/>
                <a:gd name="connsiteY2365" fmla="*/ 5513 h 10000"/>
                <a:gd name="connsiteX2366" fmla="*/ 240 w 10785"/>
                <a:gd name="connsiteY2366" fmla="*/ 5556 h 10000"/>
                <a:gd name="connsiteX2367" fmla="*/ 253 w 10785"/>
                <a:gd name="connsiteY2367" fmla="*/ 5590 h 10000"/>
                <a:gd name="connsiteX2368" fmla="*/ 258 w 10785"/>
                <a:gd name="connsiteY2368" fmla="*/ 5573 h 10000"/>
                <a:gd name="connsiteX2369" fmla="*/ 258 w 10785"/>
                <a:gd name="connsiteY2369" fmla="*/ 5667 h 10000"/>
                <a:gd name="connsiteX2370" fmla="*/ 14 w 10785"/>
                <a:gd name="connsiteY2370" fmla="*/ 6214 h 10000"/>
                <a:gd name="connsiteX2371" fmla="*/ 14 w 10785"/>
                <a:gd name="connsiteY2371" fmla="*/ 6214 h 10000"/>
                <a:gd name="connsiteX2372" fmla="*/ 37 w 10785"/>
                <a:gd name="connsiteY2372" fmla="*/ 6214 h 10000"/>
                <a:gd name="connsiteX2373" fmla="*/ 51 w 10785"/>
                <a:gd name="connsiteY2373" fmla="*/ 6188 h 10000"/>
                <a:gd name="connsiteX2374" fmla="*/ 78 w 10785"/>
                <a:gd name="connsiteY2374" fmla="*/ 6162 h 10000"/>
                <a:gd name="connsiteX2375" fmla="*/ 78 w 10785"/>
                <a:gd name="connsiteY2375" fmla="*/ 6188 h 10000"/>
                <a:gd name="connsiteX2376" fmla="*/ 74 w 10785"/>
                <a:gd name="connsiteY2376" fmla="*/ 6197 h 10000"/>
                <a:gd name="connsiteX2377" fmla="*/ 74 w 10785"/>
                <a:gd name="connsiteY2377" fmla="*/ 6231 h 10000"/>
                <a:gd name="connsiteX2378" fmla="*/ 74 w 10785"/>
                <a:gd name="connsiteY2378" fmla="*/ 6214 h 10000"/>
                <a:gd name="connsiteX2379" fmla="*/ 65 w 10785"/>
                <a:gd name="connsiteY2379" fmla="*/ 6214 h 10000"/>
                <a:gd name="connsiteX2380" fmla="*/ 65 w 10785"/>
                <a:gd name="connsiteY2380" fmla="*/ 6248 h 10000"/>
                <a:gd name="connsiteX2381" fmla="*/ 74 w 10785"/>
                <a:gd name="connsiteY2381" fmla="*/ 6256 h 10000"/>
                <a:gd name="connsiteX2382" fmla="*/ 78 w 10785"/>
                <a:gd name="connsiteY2382" fmla="*/ 6256 h 10000"/>
                <a:gd name="connsiteX2383" fmla="*/ 106 w 10785"/>
                <a:gd name="connsiteY2383" fmla="*/ 6308 h 10000"/>
                <a:gd name="connsiteX2384" fmla="*/ 138 w 10785"/>
                <a:gd name="connsiteY2384" fmla="*/ 6299 h 10000"/>
                <a:gd name="connsiteX2385" fmla="*/ 152 w 10785"/>
                <a:gd name="connsiteY2385" fmla="*/ 6299 h 10000"/>
                <a:gd name="connsiteX2386" fmla="*/ 166 w 10785"/>
                <a:gd name="connsiteY2386" fmla="*/ 6325 h 10000"/>
                <a:gd name="connsiteX2387" fmla="*/ 166 w 10785"/>
                <a:gd name="connsiteY2387" fmla="*/ 6333 h 10000"/>
                <a:gd name="connsiteX2388" fmla="*/ 171 w 10785"/>
                <a:gd name="connsiteY2388" fmla="*/ 6350 h 10000"/>
                <a:gd name="connsiteX2389" fmla="*/ 180 w 10785"/>
                <a:gd name="connsiteY2389" fmla="*/ 6350 h 10000"/>
                <a:gd name="connsiteX2390" fmla="*/ 180 w 10785"/>
                <a:gd name="connsiteY2390" fmla="*/ 6359 h 10000"/>
                <a:gd name="connsiteX2391" fmla="*/ 171 w 10785"/>
                <a:gd name="connsiteY2391" fmla="*/ 6368 h 10000"/>
                <a:gd name="connsiteX2392" fmla="*/ 106 w 10785"/>
                <a:gd name="connsiteY2392" fmla="*/ 6350 h 10000"/>
                <a:gd name="connsiteX2393" fmla="*/ 101 w 10785"/>
                <a:gd name="connsiteY2393" fmla="*/ 6359 h 10000"/>
                <a:gd name="connsiteX2394" fmla="*/ 101 w 10785"/>
                <a:gd name="connsiteY2394" fmla="*/ 6385 h 10000"/>
                <a:gd name="connsiteX2395" fmla="*/ 78 w 10785"/>
                <a:gd name="connsiteY2395" fmla="*/ 6393 h 10000"/>
                <a:gd name="connsiteX2396" fmla="*/ 74 w 10785"/>
                <a:gd name="connsiteY2396" fmla="*/ 6385 h 10000"/>
                <a:gd name="connsiteX2397" fmla="*/ 65 w 10785"/>
                <a:gd name="connsiteY2397" fmla="*/ 6393 h 10000"/>
                <a:gd name="connsiteX2398" fmla="*/ 60 w 10785"/>
                <a:gd name="connsiteY2398" fmla="*/ 6419 h 10000"/>
                <a:gd name="connsiteX2399" fmla="*/ 51 w 10785"/>
                <a:gd name="connsiteY2399" fmla="*/ 6419 h 10000"/>
                <a:gd name="connsiteX2400" fmla="*/ 46 w 10785"/>
                <a:gd name="connsiteY2400" fmla="*/ 6410 h 10000"/>
                <a:gd name="connsiteX2401" fmla="*/ 37 w 10785"/>
                <a:gd name="connsiteY2401" fmla="*/ 6393 h 10000"/>
                <a:gd name="connsiteX2402" fmla="*/ 32 w 10785"/>
                <a:gd name="connsiteY2402" fmla="*/ 6419 h 10000"/>
                <a:gd name="connsiteX2403" fmla="*/ 37 w 10785"/>
                <a:gd name="connsiteY2403" fmla="*/ 6462 h 10000"/>
                <a:gd name="connsiteX2404" fmla="*/ 46 w 10785"/>
                <a:gd name="connsiteY2404" fmla="*/ 6462 h 10000"/>
                <a:gd name="connsiteX2405" fmla="*/ 51 w 10785"/>
                <a:gd name="connsiteY2405" fmla="*/ 6470 h 10000"/>
                <a:gd name="connsiteX2406" fmla="*/ 51 w 10785"/>
                <a:gd name="connsiteY2406" fmla="*/ 6496 h 10000"/>
                <a:gd name="connsiteX2407" fmla="*/ 51 w 10785"/>
                <a:gd name="connsiteY2407" fmla="*/ 6504 h 10000"/>
                <a:gd name="connsiteX2408" fmla="*/ 37 w 10785"/>
                <a:gd name="connsiteY2408" fmla="*/ 6530 h 10000"/>
                <a:gd name="connsiteX2409" fmla="*/ 18 w 10785"/>
                <a:gd name="connsiteY2409" fmla="*/ 6598 h 10000"/>
                <a:gd name="connsiteX2410" fmla="*/ 28 w 10785"/>
                <a:gd name="connsiteY2410" fmla="*/ 6632 h 10000"/>
                <a:gd name="connsiteX2411" fmla="*/ 18 w 10785"/>
                <a:gd name="connsiteY2411" fmla="*/ 6667 h 10000"/>
                <a:gd name="connsiteX2412" fmla="*/ 28 w 10785"/>
                <a:gd name="connsiteY2412" fmla="*/ 6692 h 10000"/>
                <a:gd name="connsiteX2413" fmla="*/ 28 w 10785"/>
                <a:gd name="connsiteY2413" fmla="*/ 6709 h 10000"/>
                <a:gd name="connsiteX2414" fmla="*/ 18 w 10785"/>
                <a:gd name="connsiteY2414" fmla="*/ 6718 h 10000"/>
                <a:gd name="connsiteX2415" fmla="*/ 5 w 10785"/>
                <a:gd name="connsiteY2415" fmla="*/ 6744 h 10000"/>
                <a:gd name="connsiteX2416" fmla="*/ 0 w 10785"/>
                <a:gd name="connsiteY2416" fmla="*/ 6769 h 10000"/>
                <a:gd name="connsiteX2417" fmla="*/ 5 w 10785"/>
                <a:gd name="connsiteY2417" fmla="*/ 6778 h 10000"/>
                <a:gd name="connsiteX2418" fmla="*/ 32 w 10785"/>
                <a:gd name="connsiteY2418" fmla="*/ 6778 h 10000"/>
                <a:gd name="connsiteX2419" fmla="*/ 46 w 10785"/>
                <a:gd name="connsiteY2419" fmla="*/ 6821 h 10000"/>
                <a:gd name="connsiteX2420" fmla="*/ 46 w 10785"/>
                <a:gd name="connsiteY2420" fmla="*/ 6855 h 10000"/>
                <a:gd name="connsiteX2421" fmla="*/ 32 w 10785"/>
                <a:gd name="connsiteY2421" fmla="*/ 6855 h 10000"/>
                <a:gd name="connsiteX2422" fmla="*/ 14 w 10785"/>
                <a:gd name="connsiteY2422" fmla="*/ 6821 h 10000"/>
                <a:gd name="connsiteX2423" fmla="*/ 14 w 10785"/>
                <a:gd name="connsiteY2423" fmla="*/ 6846 h 10000"/>
                <a:gd name="connsiteX2424" fmla="*/ 0 w 10785"/>
                <a:gd name="connsiteY2424" fmla="*/ 6897 h 10000"/>
                <a:gd name="connsiteX2425" fmla="*/ 0 w 10785"/>
                <a:gd name="connsiteY2425" fmla="*/ 6915 h 10000"/>
                <a:gd name="connsiteX2426" fmla="*/ 5 w 10785"/>
                <a:gd name="connsiteY2426" fmla="*/ 6932 h 10000"/>
                <a:gd name="connsiteX2427" fmla="*/ 14 w 10785"/>
                <a:gd name="connsiteY2427" fmla="*/ 6940 h 10000"/>
                <a:gd name="connsiteX2428" fmla="*/ 18 w 10785"/>
                <a:gd name="connsiteY2428" fmla="*/ 6957 h 10000"/>
                <a:gd name="connsiteX2429" fmla="*/ 28 w 10785"/>
                <a:gd name="connsiteY2429" fmla="*/ 6966 h 10000"/>
                <a:gd name="connsiteX2430" fmla="*/ 28 w 10785"/>
                <a:gd name="connsiteY2430" fmla="*/ 6983 h 10000"/>
                <a:gd name="connsiteX2431" fmla="*/ 18 w 10785"/>
                <a:gd name="connsiteY2431" fmla="*/ 7051 h 10000"/>
                <a:gd name="connsiteX2432" fmla="*/ 28 w 10785"/>
                <a:gd name="connsiteY2432" fmla="*/ 7068 h 10000"/>
                <a:gd name="connsiteX2433" fmla="*/ 32 w 10785"/>
                <a:gd name="connsiteY2433" fmla="*/ 7068 h 10000"/>
                <a:gd name="connsiteX2434" fmla="*/ 32 w 10785"/>
                <a:gd name="connsiteY2434" fmla="*/ 7094 h 10000"/>
                <a:gd name="connsiteX2435" fmla="*/ 60 w 10785"/>
                <a:gd name="connsiteY2435" fmla="*/ 7162 h 10000"/>
                <a:gd name="connsiteX2436" fmla="*/ 60 w 10785"/>
                <a:gd name="connsiteY2436" fmla="*/ 7231 h 10000"/>
                <a:gd name="connsiteX2437" fmla="*/ 60 w 10785"/>
                <a:gd name="connsiteY2437" fmla="*/ 7239 h 10000"/>
                <a:gd name="connsiteX2438" fmla="*/ 78 w 10785"/>
                <a:gd name="connsiteY2438" fmla="*/ 7239 h 10000"/>
                <a:gd name="connsiteX2439" fmla="*/ 88 w 10785"/>
                <a:gd name="connsiteY2439" fmla="*/ 7239 h 10000"/>
                <a:gd name="connsiteX2440" fmla="*/ 92 w 10785"/>
                <a:gd name="connsiteY2440" fmla="*/ 7256 h 10000"/>
                <a:gd name="connsiteX2441" fmla="*/ 111 w 10785"/>
                <a:gd name="connsiteY2441" fmla="*/ 7256 h 10000"/>
                <a:gd name="connsiteX2442" fmla="*/ 120 w 10785"/>
                <a:gd name="connsiteY2442" fmla="*/ 7256 h 10000"/>
                <a:gd name="connsiteX2443" fmla="*/ 134 w 10785"/>
                <a:gd name="connsiteY2443" fmla="*/ 7282 h 10000"/>
                <a:gd name="connsiteX2444" fmla="*/ 134 w 10785"/>
                <a:gd name="connsiteY2444" fmla="*/ 7316 h 10000"/>
                <a:gd name="connsiteX2445" fmla="*/ 152 w 10785"/>
                <a:gd name="connsiteY2445" fmla="*/ 7299 h 10000"/>
                <a:gd name="connsiteX2446" fmla="*/ 161 w 10785"/>
                <a:gd name="connsiteY2446" fmla="*/ 7299 h 10000"/>
                <a:gd name="connsiteX2447" fmla="*/ 166 w 10785"/>
                <a:gd name="connsiteY2447" fmla="*/ 7291 h 10000"/>
                <a:gd name="connsiteX2448" fmla="*/ 194 w 10785"/>
                <a:gd name="connsiteY2448" fmla="*/ 7291 h 10000"/>
                <a:gd name="connsiteX2449" fmla="*/ 207 w 10785"/>
                <a:gd name="connsiteY2449" fmla="*/ 7299 h 10000"/>
                <a:gd name="connsiteX2450" fmla="*/ 221 w 10785"/>
                <a:gd name="connsiteY2450" fmla="*/ 7342 h 10000"/>
                <a:gd name="connsiteX2451" fmla="*/ 235 w 10785"/>
                <a:gd name="connsiteY2451" fmla="*/ 7342 h 10000"/>
                <a:gd name="connsiteX2452" fmla="*/ 235 w 10785"/>
                <a:gd name="connsiteY2452" fmla="*/ 7368 h 10000"/>
                <a:gd name="connsiteX2453" fmla="*/ 226 w 10785"/>
                <a:gd name="connsiteY2453" fmla="*/ 7393 h 10000"/>
                <a:gd name="connsiteX2454" fmla="*/ 226 w 10785"/>
                <a:gd name="connsiteY2454" fmla="*/ 7402 h 10000"/>
                <a:gd name="connsiteX2455" fmla="*/ 235 w 10785"/>
                <a:gd name="connsiteY2455" fmla="*/ 7419 h 10000"/>
                <a:gd name="connsiteX2456" fmla="*/ 240 w 10785"/>
                <a:gd name="connsiteY2456" fmla="*/ 7436 h 10000"/>
                <a:gd name="connsiteX2457" fmla="*/ 235 w 10785"/>
                <a:gd name="connsiteY2457" fmla="*/ 7462 h 10000"/>
                <a:gd name="connsiteX2458" fmla="*/ 226 w 10785"/>
                <a:gd name="connsiteY2458" fmla="*/ 7479 h 10000"/>
                <a:gd name="connsiteX2459" fmla="*/ 226 w 10785"/>
                <a:gd name="connsiteY2459" fmla="*/ 7504 h 10000"/>
                <a:gd name="connsiteX2460" fmla="*/ 226 w 10785"/>
                <a:gd name="connsiteY2460" fmla="*/ 7513 h 10000"/>
                <a:gd name="connsiteX2461" fmla="*/ 240 w 10785"/>
                <a:gd name="connsiteY2461" fmla="*/ 7538 h 10000"/>
                <a:gd name="connsiteX2462" fmla="*/ 267 w 10785"/>
                <a:gd name="connsiteY2462" fmla="*/ 7641 h 10000"/>
                <a:gd name="connsiteX2463" fmla="*/ 281 w 10785"/>
                <a:gd name="connsiteY2463" fmla="*/ 7667 h 10000"/>
                <a:gd name="connsiteX2464" fmla="*/ 286 w 10785"/>
                <a:gd name="connsiteY2464" fmla="*/ 7675 h 10000"/>
                <a:gd name="connsiteX2465" fmla="*/ 286 w 10785"/>
                <a:gd name="connsiteY2465" fmla="*/ 7692 h 10000"/>
                <a:gd name="connsiteX2466" fmla="*/ 286 w 10785"/>
                <a:gd name="connsiteY2466" fmla="*/ 7709 h 10000"/>
                <a:gd name="connsiteX2467" fmla="*/ 295 w 10785"/>
                <a:gd name="connsiteY2467" fmla="*/ 7726 h 10000"/>
                <a:gd name="connsiteX2468" fmla="*/ 318 w 10785"/>
                <a:gd name="connsiteY2468" fmla="*/ 7709 h 10000"/>
                <a:gd name="connsiteX2469" fmla="*/ 327 w 10785"/>
                <a:gd name="connsiteY2469" fmla="*/ 7726 h 10000"/>
                <a:gd name="connsiteX2470" fmla="*/ 341 w 10785"/>
                <a:gd name="connsiteY2470" fmla="*/ 7735 h 10000"/>
                <a:gd name="connsiteX2471" fmla="*/ 332 w 10785"/>
                <a:gd name="connsiteY2471" fmla="*/ 7752 h 10000"/>
                <a:gd name="connsiteX2472" fmla="*/ 341 w 10785"/>
                <a:gd name="connsiteY2472" fmla="*/ 7761 h 10000"/>
                <a:gd name="connsiteX2473" fmla="*/ 355 w 10785"/>
                <a:gd name="connsiteY2473" fmla="*/ 7761 h 10000"/>
                <a:gd name="connsiteX2474" fmla="*/ 355 w 10785"/>
                <a:gd name="connsiteY2474" fmla="*/ 7803 h 10000"/>
                <a:gd name="connsiteX2475" fmla="*/ 313 w 10785"/>
                <a:gd name="connsiteY2475" fmla="*/ 7846 h 10000"/>
                <a:gd name="connsiteX2476" fmla="*/ 295 w 10785"/>
                <a:gd name="connsiteY2476" fmla="*/ 7846 h 10000"/>
                <a:gd name="connsiteX2477" fmla="*/ 281 w 10785"/>
                <a:gd name="connsiteY2477" fmla="*/ 7821 h 10000"/>
                <a:gd name="connsiteX2478" fmla="*/ 272 w 10785"/>
                <a:gd name="connsiteY2478" fmla="*/ 7821 h 10000"/>
                <a:gd name="connsiteX2479" fmla="*/ 267 w 10785"/>
                <a:gd name="connsiteY2479" fmla="*/ 7838 h 10000"/>
                <a:gd name="connsiteX2480" fmla="*/ 258 w 10785"/>
                <a:gd name="connsiteY2480" fmla="*/ 7846 h 10000"/>
                <a:gd name="connsiteX2481" fmla="*/ 253 w 10785"/>
                <a:gd name="connsiteY2481" fmla="*/ 7863 h 10000"/>
                <a:gd name="connsiteX2482" fmla="*/ 253 w 10785"/>
                <a:gd name="connsiteY2482" fmla="*/ 7872 h 10000"/>
                <a:gd name="connsiteX2483" fmla="*/ 267 w 10785"/>
                <a:gd name="connsiteY2483" fmla="*/ 7897 h 10000"/>
                <a:gd name="connsiteX2484" fmla="*/ 272 w 10785"/>
                <a:gd name="connsiteY2484" fmla="*/ 7915 h 10000"/>
                <a:gd name="connsiteX2485" fmla="*/ 267 w 10785"/>
                <a:gd name="connsiteY2485" fmla="*/ 7940 h 10000"/>
                <a:gd name="connsiteX2486" fmla="*/ 272 w 10785"/>
                <a:gd name="connsiteY2486" fmla="*/ 7949 h 10000"/>
                <a:gd name="connsiteX2487" fmla="*/ 272 w 10785"/>
                <a:gd name="connsiteY2487" fmla="*/ 7957 h 10000"/>
                <a:gd name="connsiteX2488" fmla="*/ 281 w 10785"/>
                <a:gd name="connsiteY2488" fmla="*/ 7974 h 10000"/>
                <a:gd name="connsiteX2489" fmla="*/ 286 w 10785"/>
                <a:gd name="connsiteY2489" fmla="*/ 7983 h 10000"/>
                <a:gd name="connsiteX2490" fmla="*/ 281 w 10785"/>
                <a:gd name="connsiteY2490" fmla="*/ 8009 h 10000"/>
                <a:gd name="connsiteX2491" fmla="*/ 286 w 10785"/>
                <a:gd name="connsiteY2491" fmla="*/ 8060 h 10000"/>
                <a:gd name="connsiteX2492" fmla="*/ 286 w 10785"/>
                <a:gd name="connsiteY2492" fmla="*/ 8060 h 10000"/>
                <a:gd name="connsiteX2493" fmla="*/ 295 w 10785"/>
                <a:gd name="connsiteY2493" fmla="*/ 8077 h 10000"/>
                <a:gd name="connsiteX2494" fmla="*/ 309 w 10785"/>
                <a:gd name="connsiteY2494" fmla="*/ 8077 h 10000"/>
                <a:gd name="connsiteX2495" fmla="*/ 313 w 10785"/>
                <a:gd name="connsiteY2495" fmla="*/ 8060 h 10000"/>
                <a:gd name="connsiteX2496" fmla="*/ 318 w 10785"/>
                <a:gd name="connsiteY2496" fmla="*/ 8051 h 10000"/>
                <a:gd name="connsiteX2497" fmla="*/ 318 w 10785"/>
                <a:gd name="connsiteY2497" fmla="*/ 8034 h 10000"/>
                <a:gd name="connsiteX2498" fmla="*/ 332 w 10785"/>
                <a:gd name="connsiteY2498" fmla="*/ 8026 h 10000"/>
                <a:gd name="connsiteX2499" fmla="*/ 359 w 10785"/>
                <a:gd name="connsiteY2499" fmla="*/ 8034 h 10000"/>
                <a:gd name="connsiteX2500" fmla="*/ 378 w 10785"/>
                <a:gd name="connsiteY2500" fmla="*/ 8026 h 10000"/>
                <a:gd name="connsiteX2501" fmla="*/ 401 w 10785"/>
                <a:gd name="connsiteY2501" fmla="*/ 8026 h 10000"/>
                <a:gd name="connsiteX2502" fmla="*/ 419 w 10785"/>
                <a:gd name="connsiteY2502" fmla="*/ 8009 h 10000"/>
                <a:gd name="connsiteX2503" fmla="*/ 433 w 10785"/>
                <a:gd name="connsiteY2503" fmla="*/ 8034 h 10000"/>
                <a:gd name="connsiteX2504" fmla="*/ 442 w 10785"/>
                <a:gd name="connsiteY2504" fmla="*/ 8060 h 10000"/>
                <a:gd name="connsiteX2505" fmla="*/ 442 w 10785"/>
                <a:gd name="connsiteY2505" fmla="*/ 8077 h 10000"/>
                <a:gd name="connsiteX2506" fmla="*/ 461 w 10785"/>
                <a:gd name="connsiteY2506" fmla="*/ 8111 h 10000"/>
                <a:gd name="connsiteX2507" fmla="*/ 461 w 10785"/>
                <a:gd name="connsiteY2507" fmla="*/ 8137 h 10000"/>
                <a:gd name="connsiteX2508" fmla="*/ 447 w 10785"/>
                <a:gd name="connsiteY2508" fmla="*/ 8145 h 10000"/>
                <a:gd name="connsiteX2509" fmla="*/ 442 w 10785"/>
                <a:gd name="connsiteY2509" fmla="*/ 8145 h 10000"/>
                <a:gd name="connsiteX2510" fmla="*/ 442 w 10785"/>
                <a:gd name="connsiteY2510" fmla="*/ 8162 h 10000"/>
                <a:gd name="connsiteX2511" fmla="*/ 442 w 10785"/>
                <a:gd name="connsiteY2511" fmla="*/ 8171 h 10000"/>
                <a:gd name="connsiteX2512" fmla="*/ 447 w 10785"/>
                <a:gd name="connsiteY2512" fmla="*/ 8214 h 10000"/>
                <a:gd name="connsiteX2513" fmla="*/ 465 w 10785"/>
                <a:gd name="connsiteY2513" fmla="*/ 8231 h 10000"/>
                <a:gd name="connsiteX2514" fmla="*/ 488 w 10785"/>
                <a:gd name="connsiteY2514" fmla="*/ 8231 h 10000"/>
                <a:gd name="connsiteX2515" fmla="*/ 493 w 10785"/>
                <a:gd name="connsiteY2515" fmla="*/ 8231 h 10000"/>
                <a:gd name="connsiteX2516" fmla="*/ 502 w 10785"/>
                <a:gd name="connsiteY2516" fmla="*/ 8231 h 10000"/>
                <a:gd name="connsiteX2517" fmla="*/ 507 w 10785"/>
                <a:gd name="connsiteY2517" fmla="*/ 8248 h 10000"/>
                <a:gd name="connsiteX2518" fmla="*/ 521 w 10785"/>
                <a:gd name="connsiteY2518" fmla="*/ 8274 h 10000"/>
                <a:gd name="connsiteX2519" fmla="*/ 525 w 10785"/>
                <a:gd name="connsiteY2519" fmla="*/ 8333 h 10000"/>
                <a:gd name="connsiteX2520" fmla="*/ 525 w 10785"/>
                <a:gd name="connsiteY2520" fmla="*/ 8359 h 10000"/>
                <a:gd name="connsiteX2521" fmla="*/ 525 w 10785"/>
                <a:gd name="connsiteY2521" fmla="*/ 8368 h 10000"/>
                <a:gd name="connsiteX2522" fmla="*/ 548 w 10785"/>
                <a:gd name="connsiteY2522" fmla="*/ 8393 h 10000"/>
                <a:gd name="connsiteX2523" fmla="*/ 553 w 10785"/>
                <a:gd name="connsiteY2523" fmla="*/ 8385 h 10000"/>
                <a:gd name="connsiteX2524" fmla="*/ 562 w 10785"/>
                <a:gd name="connsiteY2524" fmla="*/ 8385 h 10000"/>
                <a:gd name="connsiteX2525" fmla="*/ 576 w 10785"/>
                <a:gd name="connsiteY2525" fmla="*/ 8385 h 10000"/>
                <a:gd name="connsiteX2526" fmla="*/ 585 w 10785"/>
                <a:gd name="connsiteY2526" fmla="*/ 8410 h 10000"/>
                <a:gd name="connsiteX2527" fmla="*/ 594 w 10785"/>
                <a:gd name="connsiteY2527" fmla="*/ 8410 h 10000"/>
                <a:gd name="connsiteX2528" fmla="*/ 608 w 10785"/>
                <a:gd name="connsiteY2528" fmla="*/ 8410 h 10000"/>
                <a:gd name="connsiteX2529" fmla="*/ 654 w 10785"/>
                <a:gd name="connsiteY2529" fmla="*/ 8385 h 10000"/>
                <a:gd name="connsiteX2530" fmla="*/ 659 w 10785"/>
                <a:gd name="connsiteY2530" fmla="*/ 8385 h 10000"/>
                <a:gd name="connsiteX2531" fmla="*/ 696 w 10785"/>
                <a:gd name="connsiteY2531" fmla="*/ 8470 h 10000"/>
                <a:gd name="connsiteX2532" fmla="*/ 700 w 10785"/>
                <a:gd name="connsiteY2532" fmla="*/ 8470 h 10000"/>
                <a:gd name="connsiteX2533" fmla="*/ 710 w 10785"/>
                <a:gd name="connsiteY2533" fmla="*/ 8462 h 10000"/>
                <a:gd name="connsiteX2534" fmla="*/ 714 w 10785"/>
                <a:gd name="connsiteY2534" fmla="*/ 8462 h 10000"/>
                <a:gd name="connsiteX2535" fmla="*/ 724 w 10785"/>
                <a:gd name="connsiteY2535" fmla="*/ 8470 h 10000"/>
                <a:gd name="connsiteX2536" fmla="*/ 733 w 10785"/>
                <a:gd name="connsiteY2536" fmla="*/ 8470 h 10000"/>
                <a:gd name="connsiteX2537" fmla="*/ 742 w 10785"/>
                <a:gd name="connsiteY2537" fmla="*/ 8487 h 10000"/>
                <a:gd name="connsiteX2538" fmla="*/ 747 w 10785"/>
                <a:gd name="connsiteY2538" fmla="*/ 8496 h 10000"/>
                <a:gd name="connsiteX2539" fmla="*/ 770 w 10785"/>
                <a:gd name="connsiteY2539" fmla="*/ 8496 h 10000"/>
                <a:gd name="connsiteX2540" fmla="*/ 783 w 10785"/>
                <a:gd name="connsiteY2540" fmla="*/ 8521 h 10000"/>
                <a:gd name="connsiteX2541" fmla="*/ 797 w 10785"/>
                <a:gd name="connsiteY2541" fmla="*/ 8521 h 10000"/>
                <a:gd name="connsiteX2542" fmla="*/ 806 w 10785"/>
                <a:gd name="connsiteY2542" fmla="*/ 8530 h 10000"/>
                <a:gd name="connsiteX2543" fmla="*/ 829 w 10785"/>
                <a:gd name="connsiteY2543" fmla="*/ 8547 h 10000"/>
                <a:gd name="connsiteX2544" fmla="*/ 834 w 10785"/>
                <a:gd name="connsiteY2544" fmla="*/ 8556 h 10000"/>
                <a:gd name="connsiteX2545" fmla="*/ 829 w 10785"/>
                <a:gd name="connsiteY2545" fmla="*/ 8556 h 10000"/>
                <a:gd name="connsiteX2546" fmla="*/ 834 w 10785"/>
                <a:gd name="connsiteY2546" fmla="*/ 8607 h 10000"/>
                <a:gd name="connsiteX2547" fmla="*/ 829 w 10785"/>
                <a:gd name="connsiteY2547" fmla="*/ 8641 h 10000"/>
                <a:gd name="connsiteX2548" fmla="*/ 806 w 10785"/>
                <a:gd name="connsiteY2548" fmla="*/ 8658 h 10000"/>
                <a:gd name="connsiteX2549" fmla="*/ 816 w 10785"/>
                <a:gd name="connsiteY2549" fmla="*/ 8667 h 10000"/>
                <a:gd name="connsiteX2550" fmla="*/ 820 w 10785"/>
                <a:gd name="connsiteY2550" fmla="*/ 8667 h 10000"/>
                <a:gd name="connsiteX2551" fmla="*/ 829 w 10785"/>
                <a:gd name="connsiteY2551" fmla="*/ 8684 h 10000"/>
                <a:gd name="connsiteX2552" fmla="*/ 806 w 10785"/>
                <a:gd name="connsiteY2552" fmla="*/ 8692 h 10000"/>
                <a:gd name="connsiteX2553" fmla="*/ 802 w 10785"/>
                <a:gd name="connsiteY2553" fmla="*/ 8709 h 10000"/>
                <a:gd name="connsiteX2554" fmla="*/ 802 w 10785"/>
                <a:gd name="connsiteY2554" fmla="*/ 8735 h 10000"/>
                <a:gd name="connsiteX2555" fmla="*/ 806 w 10785"/>
                <a:gd name="connsiteY2555" fmla="*/ 8744 h 10000"/>
                <a:gd name="connsiteX2556" fmla="*/ 816 w 10785"/>
                <a:gd name="connsiteY2556" fmla="*/ 8752 h 10000"/>
                <a:gd name="connsiteX2557" fmla="*/ 806 w 10785"/>
                <a:gd name="connsiteY2557" fmla="*/ 8778 h 10000"/>
                <a:gd name="connsiteX2558" fmla="*/ 820 w 10785"/>
                <a:gd name="connsiteY2558" fmla="*/ 8778 h 10000"/>
                <a:gd name="connsiteX2559" fmla="*/ 806 w 10785"/>
                <a:gd name="connsiteY2559" fmla="*/ 8880 h 10000"/>
                <a:gd name="connsiteX2560" fmla="*/ 797 w 10785"/>
                <a:gd name="connsiteY2560" fmla="*/ 8880 h 10000"/>
                <a:gd name="connsiteX2561" fmla="*/ 783 w 10785"/>
                <a:gd name="connsiteY2561" fmla="*/ 8872 h 10000"/>
                <a:gd name="connsiteX2562" fmla="*/ 770 w 10785"/>
                <a:gd name="connsiteY2562" fmla="*/ 8880 h 10000"/>
                <a:gd name="connsiteX2563" fmla="*/ 756 w 10785"/>
                <a:gd name="connsiteY2563" fmla="*/ 8855 h 10000"/>
                <a:gd name="connsiteX2564" fmla="*/ 733 w 10785"/>
                <a:gd name="connsiteY2564" fmla="*/ 8906 h 10000"/>
                <a:gd name="connsiteX2565" fmla="*/ 714 w 10785"/>
                <a:gd name="connsiteY2565" fmla="*/ 8915 h 10000"/>
                <a:gd name="connsiteX2566" fmla="*/ 710 w 10785"/>
                <a:gd name="connsiteY2566" fmla="*/ 8940 h 10000"/>
                <a:gd name="connsiteX2567" fmla="*/ 710 w 10785"/>
                <a:gd name="connsiteY2567" fmla="*/ 9009 h 10000"/>
                <a:gd name="connsiteX2568" fmla="*/ 728 w 10785"/>
                <a:gd name="connsiteY2568" fmla="*/ 8991 h 10000"/>
                <a:gd name="connsiteX2569" fmla="*/ 733 w 10785"/>
                <a:gd name="connsiteY2569" fmla="*/ 8991 h 10000"/>
                <a:gd name="connsiteX2570" fmla="*/ 747 w 10785"/>
                <a:gd name="connsiteY2570" fmla="*/ 8983 h 10000"/>
                <a:gd name="connsiteX2571" fmla="*/ 760 w 10785"/>
                <a:gd name="connsiteY2571" fmla="*/ 8983 h 10000"/>
                <a:gd name="connsiteX2572" fmla="*/ 770 w 10785"/>
                <a:gd name="connsiteY2572" fmla="*/ 8983 h 10000"/>
                <a:gd name="connsiteX2573" fmla="*/ 770 w 10785"/>
                <a:gd name="connsiteY2573" fmla="*/ 8991 h 10000"/>
                <a:gd name="connsiteX2574" fmla="*/ 783 w 10785"/>
                <a:gd name="connsiteY2574" fmla="*/ 8991 h 10000"/>
                <a:gd name="connsiteX2575" fmla="*/ 783 w 10785"/>
                <a:gd name="connsiteY2575" fmla="*/ 9009 h 10000"/>
                <a:gd name="connsiteX2576" fmla="*/ 783 w 10785"/>
                <a:gd name="connsiteY2576" fmla="*/ 9017 h 10000"/>
                <a:gd name="connsiteX2577" fmla="*/ 770 w 10785"/>
                <a:gd name="connsiteY2577" fmla="*/ 9017 h 10000"/>
                <a:gd name="connsiteX2578" fmla="*/ 724 w 10785"/>
                <a:gd name="connsiteY2578" fmla="*/ 9051 h 10000"/>
                <a:gd name="connsiteX2579" fmla="*/ 724 w 10785"/>
                <a:gd name="connsiteY2579" fmla="*/ 9068 h 10000"/>
                <a:gd name="connsiteX2580" fmla="*/ 728 w 10785"/>
                <a:gd name="connsiteY2580" fmla="*/ 9077 h 10000"/>
                <a:gd name="connsiteX2581" fmla="*/ 724 w 10785"/>
                <a:gd name="connsiteY2581" fmla="*/ 9077 h 10000"/>
                <a:gd name="connsiteX2582" fmla="*/ 710 w 10785"/>
                <a:gd name="connsiteY2582" fmla="*/ 9077 h 10000"/>
                <a:gd name="connsiteX2583" fmla="*/ 682 w 10785"/>
                <a:gd name="connsiteY2583" fmla="*/ 9077 h 10000"/>
                <a:gd name="connsiteX2584" fmla="*/ 673 w 10785"/>
                <a:gd name="connsiteY2584" fmla="*/ 9103 h 10000"/>
                <a:gd name="connsiteX2585" fmla="*/ 687 w 10785"/>
                <a:gd name="connsiteY2585" fmla="*/ 9128 h 10000"/>
                <a:gd name="connsiteX2586" fmla="*/ 700 w 10785"/>
                <a:gd name="connsiteY2586" fmla="*/ 9128 h 10000"/>
                <a:gd name="connsiteX2587" fmla="*/ 728 w 10785"/>
                <a:gd name="connsiteY2587" fmla="*/ 9179 h 10000"/>
                <a:gd name="connsiteX2588" fmla="*/ 724 w 10785"/>
                <a:gd name="connsiteY2588" fmla="*/ 9188 h 10000"/>
                <a:gd name="connsiteX2589" fmla="*/ 710 w 10785"/>
                <a:gd name="connsiteY2589" fmla="*/ 9179 h 10000"/>
                <a:gd name="connsiteX2590" fmla="*/ 700 w 10785"/>
                <a:gd name="connsiteY2590" fmla="*/ 9205 h 10000"/>
                <a:gd name="connsiteX2591" fmla="*/ 696 w 10785"/>
                <a:gd name="connsiteY2591" fmla="*/ 9205 h 10000"/>
                <a:gd name="connsiteX2592" fmla="*/ 654 w 10785"/>
                <a:gd name="connsiteY2592" fmla="*/ 9299 h 10000"/>
                <a:gd name="connsiteX2593" fmla="*/ 622 w 10785"/>
                <a:gd name="connsiteY2593" fmla="*/ 9299 h 10000"/>
                <a:gd name="connsiteX2594" fmla="*/ 613 w 10785"/>
                <a:gd name="connsiteY2594" fmla="*/ 9316 h 10000"/>
                <a:gd name="connsiteX2595" fmla="*/ 613 w 10785"/>
                <a:gd name="connsiteY2595" fmla="*/ 9325 h 10000"/>
                <a:gd name="connsiteX2596" fmla="*/ 608 w 10785"/>
                <a:gd name="connsiteY2596" fmla="*/ 9342 h 10000"/>
                <a:gd name="connsiteX2597" fmla="*/ 636 w 10785"/>
                <a:gd name="connsiteY2597" fmla="*/ 9376 h 10000"/>
                <a:gd name="connsiteX2598" fmla="*/ 641 w 10785"/>
                <a:gd name="connsiteY2598" fmla="*/ 9402 h 10000"/>
                <a:gd name="connsiteX2599" fmla="*/ 654 w 10785"/>
                <a:gd name="connsiteY2599" fmla="*/ 9427 h 10000"/>
                <a:gd name="connsiteX2600" fmla="*/ 668 w 10785"/>
                <a:gd name="connsiteY2600" fmla="*/ 9427 h 10000"/>
                <a:gd name="connsiteX2601" fmla="*/ 668 w 10785"/>
                <a:gd name="connsiteY2601" fmla="*/ 9427 h 10000"/>
                <a:gd name="connsiteX2602" fmla="*/ 774 w 10785"/>
                <a:gd name="connsiteY2602" fmla="*/ 9547 h 10000"/>
                <a:gd name="connsiteX2603" fmla="*/ 797 w 10785"/>
                <a:gd name="connsiteY2603" fmla="*/ 9598 h 10000"/>
                <a:gd name="connsiteX2604" fmla="*/ 802 w 10785"/>
                <a:gd name="connsiteY2604" fmla="*/ 9598 h 10000"/>
                <a:gd name="connsiteX2605" fmla="*/ 816 w 10785"/>
                <a:gd name="connsiteY2605" fmla="*/ 9624 h 10000"/>
                <a:gd name="connsiteX2606" fmla="*/ 843 w 10785"/>
                <a:gd name="connsiteY2606" fmla="*/ 9615 h 10000"/>
                <a:gd name="connsiteX2607" fmla="*/ 857 w 10785"/>
                <a:gd name="connsiteY2607" fmla="*/ 9624 h 10000"/>
                <a:gd name="connsiteX2608" fmla="*/ 862 w 10785"/>
                <a:gd name="connsiteY2608" fmla="*/ 9615 h 10000"/>
                <a:gd name="connsiteX2609" fmla="*/ 880 w 10785"/>
                <a:gd name="connsiteY2609" fmla="*/ 9624 h 10000"/>
                <a:gd name="connsiteX2610" fmla="*/ 889 w 10785"/>
                <a:gd name="connsiteY2610" fmla="*/ 9641 h 10000"/>
                <a:gd name="connsiteX2611" fmla="*/ 935 w 10785"/>
                <a:gd name="connsiteY2611" fmla="*/ 9675 h 10000"/>
                <a:gd name="connsiteX2612" fmla="*/ 977 w 10785"/>
                <a:gd name="connsiteY2612" fmla="*/ 9667 h 10000"/>
                <a:gd name="connsiteX2613" fmla="*/ 995 w 10785"/>
                <a:gd name="connsiteY2613" fmla="*/ 9675 h 10000"/>
                <a:gd name="connsiteX2614" fmla="*/ 1014 w 10785"/>
                <a:gd name="connsiteY2614" fmla="*/ 9675 h 10000"/>
                <a:gd name="connsiteX2615" fmla="*/ 1069 w 10785"/>
                <a:gd name="connsiteY2615" fmla="*/ 9752 h 10000"/>
                <a:gd name="connsiteX2616" fmla="*/ 1074 w 10785"/>
                <a:gd name="connsiteY2616" fmla="*/ 9761 h 10000"/>
                <a:gd name="connsiteX2617" fmla="*/ 1083 w 10785"/>
                <a:gd name="connsiteY2617" fmla="*/ 9778 h 10000"/>
                <a:gd name="connsiteX2618" fmla="*/ 1115 w 10785"/>
                <a:gd name="connsiteY2618" fmla="*/ 9752 h 10000"/>
                <a:gd name="connsiteX2619" fmla="*/ 1129 w 10785"/>
                <a:gd name="connsiteY2619" fmla="*/ 9752 h 10000"/>
                <a:gd name="connsiteX2620" fmla="*/ 1138 w 10785"/>
                <a:gd name="connsiteY2620" fmla="*/ 9761 h 10000"/>
                <a:gd name="connsiteX2621" fmla="*/ 1143 w 10785"/>
                <a:gd name="connsiteY2621" fmla="*/ 9752 h 10000"/>
                <a:gd name="connsiteX2622" fmla="*/ 1161 w 10785"/>
                <a:gd name="connsiteY2622" fmla="*/ 9761 h 10000"/>
                <a:gd name="connsiteX2623" fmla="*/ 1171 w 10785"/>
                <a:gd name="connsiteY2623" fmla="*/ 9778 h 10000"/>
                <a:gd name="connsiteX2624" fmla="*/ 1175 w 10785"/>
                <a:gd name="connsiteY2624" fmla="*/ 9778 h 10000"/>
                <a:gd name="connsiteX2625" fmla="*/ 1189 w 10785"/>
                <a:gd name="connsiteY2625" fmla="*/ 9778 h 10000"/>
                <a:gd name="connsiteX2626" fmla="*/ 1198 w 10785"/>
                <a:gd name="connsiteY2626" fmla="*/ 9786 h 10000"/>
                <a:gd name="connsiteX2627" fmla="*/ 1203 w 10785"/>
                <a:gd name="connsiteY2627" fmla="*/ 9803 h 10000"/>
                <a:gd name="connsiteX2628" fmla="*/ 1198 w 10785"/>
                <a:gd name="connsiteY2628" fmla="*/ 9838 h 10000"/>
                <a:gd name="connsiteX2629" fmla="*/ 1212 w 10785"/>
                <a:gd name="connsiteY2629" fmla="*/ 9863 h 10000"/>
                <a:gd name="connsiteX2630" fmla="*/ 1230 w 10785"/>
                <a:gd name="connsiteY2630" fmla="*/ 9872 h 10000"/>
                <a:gd name="connsiteX2631" fmla="*/ 1249 w 10785"/>
                <a:gd name="connsiteY2631" fmla="*/ 9897 h 10000"/>
                <a:gd name="connsiteX2632" fmla="*/ 1263 w 10785"/>
                <a:gd name="connsiteY2632" fmla="*/ 9897 h 10000"/>
                <a:gd name="connsiteX2633" fmla="*/ 1276 w 10785"/>
                <a:gd name="connsiteY2633" fmla="*/ 9923 h 10000"/>
                <a:gd name="connsiteX2634" fmla="*/ 1281 w 10785"/>
                <a:gd name="connsiteY2634" fmla="*/ 9949 h 10000"/>
                <a:gd name="connsiteX2635" fmla="*/ 1290 w 10785"/>
                <a:gd name="connsiteY2635" fmla="*/ 9949 h 10000"/>
                <a:gd name="connsiteX2636" fmla="*/ 1295 w 10785"/>
                <a:gd name="connsiteY2636" fmla="*/ 10000 h 10000"/>
                <a:gd name="connsiteX2637" fmla="*/ 1332 w 10785"/>
                <a:gd name="connsiteY2637" fmla="*/ 10000 h 10000"/>
                <a:gd name="connsiteX2638" fmla="*/ 1336 w 10785"/>
                <a:gd name="connsiteY2638" fmla="*/ 10000 h 10000"/>
                <a:gd name="connsiteX2639" fmla="*/ 1346 w 10785"/>
                <a:gd name="connsiteY2639" fmla="*/ 9983 h 10000"/>
                <a:gd name="connsiteX2640" fmla="*/ 1350 w 10785"/>
                <a:gd name="connsiteY2640" fmla="*/ 9949 h 10000"/>
                <a:gd name="connsiteX2641" fmla="*/ 1369 w 10785"/>
                <a:gd name="connsiteY2641" fmla="*/ 9940 h 10000"/>
                <a:gd name="connsiteX2642" fmla="*/ 1378 w 10785"/>
                <a:gd name="connsiteY2642" fmla="*/ 9897 h 10000"/>
                <a:gd name="connsiteX2643" fmla="*/ 1369 w 10785"/>
                <a:gd name="connsiteY2643" fmla="*/ 9889 h 10000"/>
                <a:gd name="connsiteX2644" fmla="*/ 1318 w 10785"/>
                <a:gd name="connsiteY2644" fmla="*/ 9701 h 10000"/>
                <a:gd name="connsiteX2645" fmla="*/ 1318 w 10785"/>
                <a:gd name="connsiteY2645" fmla="*/ 9650 h 10000"/>
                <a:gd name="connsiteX2646" fmla="*/ 1323 w 10785"/>
                <a:gd name="connsiteY2646" fmla="*/ 9590 h 10000"/>
                <a:gd name="connsiteX2647" fmla="*/ 1323 w 10785"/>
                <a:gd name="connsiteY2647" fmla="*/ 9564 h 10000"/>
                <a:gd name="connsiteX2648" fmla="*/ 1309 w 10785"/>
                <a:gd name="connsiteY2648" fmla="*/ 9598 h 10000"/>
                <a:gd name="connsiteX2649" fmla="*/ 1309 w 10785"/>
                <a:gd name="connsiteY2649" fmla="*/ 9590 h 10000"/>
                <a:gd name="connsiteX2650" fmla="*/ 1304 w 10785"/>
                <a:gd name="connsiteY2650" fmla="*/ 9547 h 10000"/>
                <a:gd name="connsiteX2651" fmla="*/ 1276 w 10785"/>
                <a:gd name="connsiteY2651" fmla="*/ 9479 h 10000"/>
                <a:gd name="connsiteX2652" fmla="*/ 1263 w 10785"/>
                <a:gd name="connsiteY2652" fmla="*/ 9479 h 10000"/>
                <a:gd name="connsiteX2653" fmla="*/ 1263 w 10785"/>
                <a:gd name="connsiteY2653" fmla="*/ 9453 h 10000"/>
                <a:gd name="connsiteX2654" fmla="*/ 1272 w 10785"/>
                <a:gd name="connsiteY2654" fmla="*/ 9410 h 10000"/>
                <a:gd name="connsiteX2655" fmla="*/ 1272 w 10785"/>
                <a:gd name="connsiteY2655" fmla="*/ 9393 h 10000"/>
                <a:gd name="connsiteX2656" fmla="*/ 1281 w 10785"/>
                <a:gd name="connsiteY2656" fmla="*/ 9368 h 10000"/>
                <a:gd name="connsiteX2657" fmla="*/ 1281 w 10785"/>
                <a:gd name="connsiteY2657" fmla="*/ 9368 h 10000"/>
                <a:gd name="connsiteX2658" fmla="*/ 1290 w 10785"/>
                <a:gd name="connsiteY2658" fmla="*/ 9368 h 10000"/>
                <a:gd name="connsiteX2659" fmla="*/ 1290 w 10785"/>
                <a:gd name="connsiteY2659" fmla="*/ 9342 h 10000"/>
                <a:gd name="connsiteX2660" fmla="*/ 1304 w 10785"/>
                <a:gd name="connsiteY2660" fmla="*/ 9325 h 10000"/>
                <a:gd name="connsiteX2661" fmla="*/ 1309 w 10785"/>
                <a:gd name="connsiteY2661" fmla="*/ 9239 h 10000"/>
                <a:gd name="connsiteX2662" fmla="*/ 1318 w 10785"/>
                <a:gd name="connsiteY2662" fmla="*/ 9256 h 10000"/>
                <a:gd name="connsiteX2663" fmla="*/ 1323 w 10785"/>
                <a:gd name="connsiteY2663" fmla="*/ 9179 h 10000"/>
                <a:gd name="connsiteX2664" fmla="*/ 1309 w 10785"/>
                <a:gd name="connsiteY2664" fmla="*/ 9145 h 10000"/>
                <a:gd name="connsiteX2665" fmla="*/ 1336 w 10785"/>
                <a:gd name="connsiteY2665" fmla="*/ 9154 h 10000"/>
                <a:gd name="connsiteX2666" fmla="*/ 1336 w 10785"/>
                <a:gd name="connsiteY2666" fmla="*/ 9162 h 10000"/>
                <a:gd name="connsiteX2667" fmla="*/ 1350 w 10785"/>
                <a:gd name="connsiteY2667" fmla="*/ 9231 h 10000"/>
                <a:gd name="connsiteX2668" fmla="*/ 1355 w 10785"/>
                <a:gd name="connsiteY2668" fmla="*/ 9231 h 10000"/>
                <a:gd name="connsiteX2669" fmla="*/ 1364 w 10785"/>
                <a:gd name="connsiteY2669" fmla="*/ 9214 h 10000"/>
                <a:gd name="connsiteX2670" fmla="*/ 1369 w 10785"/>
                <a:gd name="connsiteY2670" fmla="*/ 9214 h 10000"/>
                <a:gd name="connsiteX2671" fmla="*/ 1382 w 10785"/>
                <a:gd name="connsiteY2671" fmla="*/ 9154 h 10000"/>
                <a:gd name="connsiteX2672" fmla="*/ 1396 w 10785"/>
                <a:gd name="connsiteY2672" fmla="*/ 9154 h 10000"/>
                <a:gd name="connsiteX2673" fmla="*/ 1382 w 10785"/>
                <a:gd name="connsiteY2673" fmla="*/ 9145 h 10000"/>
                <a:gd name="connsiteX2674" fmla="*/ 1382 w 10785"/>
                <a:gd name="connsiteY2674" fmla="*/ 9128 h 10000"/>
                <a:gd name="connsiteX2675" fmla="*/ 1369 w 10785"/>
                <a:gd name="connsiteY2675" fmla="*/ 9128 h 10000"/>
                <a:gd name="connsiteX2676" fmla="*/ 1364 w 10785"/>
                <a:gd name="connsiteY2676" fmla="*/ 9128 h 10000"/>
                <a:gd name="connsiteX2677" fmla="*/ 1355 w 10785"/>
                <a:gd name="connsiteY2677" fmla="*/ 9120 h 10000"/>
                <a:gd name="connsiteX2678" fmla="*/ 1350 w 10785"/>
                <a:gd name="connsiteY2678" fmla="*/ 9103 h 10000"/>
                <a:gd name="connsiteX2679" fmla="*/ 1355 w 10785"/>
                <a:gd name="connsiteY2679" fmla="*/ 9094 h 10000"/>
                <a:gd name="connsiteX2680" fmla="*/ 1355 w 10785"/>
                <a:gd name="connsiteY2680" fmla="*/ 9068 h 10000"/>
                <a:gd name="connsiteX2681" fmla="*/ 1369 w 10785"/>
                <a:gd name="connsiteY2681" fmla="*/ 9068 h 10000"/>
                <a:gd name="connsiteX2682" fmla="*/ 1378 w 10785"/>
                <a:gd name="connsiteY2682" fmla="*/ 9077 h 10000"/>
                <a:gd name="connsiteX2683" fmla="*/ 1396 w 10785"/>
                <a:gd name="connsiteY2683" fmla="*/ 9068 h 10000"/>
                <a:gd name="connsiteX2684" fmla="*/ 1382 w 10785"/>
                <a:gd name="connsiteY2684" fmla="*/ 8940 h 10000"/>
                <a:gd name="connsiteX2685" fmla="*/ 1378 w 10785"/>
                <a:gd name="connsiteY2685" fmla="*/ 8940 h 10000"/>
                <a:gd name="connsiteX2686" fmla="*/ 1364 w 10785"/>
                <a:gd name="connsiteY2686" fmla="*/ 8889 h 10000"/>
                <a:gd name="connsiteX2687" fmla="*/ 1355 w 10785"/>
                <a:gd name="connsiteY2687" fmla="*/ 8880 h 10000"/>
                <a:gd name="connsiteX2688" fmla="*/ 1323 w 10785"/>
                <a:gd name="connsiteY2688" fmla="*/ 8880 h 10000"/>
                <a:gd name="connsiteX2689" fmla="*/ 1309 w 10785"/>
                <a:gd name="connsiteY2689" fmla="*/ 8880 h 10000"/>
                <a:gd name="connsiteX2690" fmla="*/ 1309 w 10785"/>
                <a:gd name="connsiteY2690" fmla="*/ 8889 h 10000"/>
                <a:gd name="connsiteX2691" fmla="*/ 1295 w 10785"/>
                <a:gd name="connsiteY2691" fmla="*/ 8872 h 10000"/>
                <a:gd name="connsiteX2692" fmla="*/ 1290 w 10785"/>
                <a:gd name="connsiteY2692" fmla="*/ 8855 h 10000"/>
                <a:gd name="connsiteX2693" fmla="*/ 1290 w 10785"/>
                <a:gd name="connsiteY2693" fmla="*/ 8829 h 10000"/>
                <a:gd name="connsiteX2694" fmla="*/ 1290 w 10785"/>
                <a:gd name="connsiteY2694" fmla="*/ 8821 h 10000"/>
                <a:gd name="connsiteX2695" fmla="*/ 1290 w 10785"/>
                <a:gd name="connsiteY2695" fmla="*/ 8803 h 10000"/>
                <a:gd name="connsiteX2696" fmla="*/ 1281 w 10785"/>
                <a:gd name="connsiteY2696" fmla="*/ 8795 h 10000"/>
                <a:gd name="connsiteX2697" fmla="*/ 1249 w 10785"/>
                <a:gd name="connsiteY2697" fmla="*/ 8769 h 10000"/>
                <a:gd name="connsiteX2698" fmla="*/ 1263 w 10785"/>
                <a:gd name="connsiteY2698" fmla="*/ 8667 h 10000"/>
                <a:gd name="connsiteX2699" fmla="*/ 1281 w 10785"/>
                <a:gd name="connsiteY2699" fmla="*/ 8658 h 10000"/>
                <a:gd name="connsiteX2700" fmla="*/ 1290 w 10785"/>
                <a:gd name="connsiteY2700" fmla="*/ 8632 h 10000"/>
                <a:gd name="connsiteX2701" fmla="*/ 1281 w 10785"/>
                <a:gd name="connsiteY2701" fmla="*/ 8615 h 10000"/>
                <a:gd name="connsiteX2702" fmla="*/ 1272 w 10785"/>
                <a:gd name="connsiteY2702" fmla="*/ 8598 h 10000"/>
                <a:gd name="connsiteX2703" fmla="*/ 1281 w 10785"/>
                <a:gd name="connsiteY2703" fmla="*/ 8496 h 10000"/>
                <a:gd name="connsiteX2704" fmla="*/ 1295 w 10785"/>
                <a:gd name="connsiteY2704" fmla="*/ 8470 h 10000"/>
                <a:gd name="connsiteX2705" fmla="*/ 1304 w 10785"/>
                <a:gd name="connsiteY2705" fmla="*/ 8462 h 10000"/>
                <a:gd name="connsiteX2706" fmla="*/ 1304 w 10785"/>
                <a:gd name="connsiteY2706" fmla="*/ 8444 h 10000"/>
                <a:gd name="connsiteX2707" fmla="*/ 1304 w 10785"/>
                <a:gd name="connsiteY2707" fmla="*/ 8419 h 10000"/>
                <a:gd name="connsiteX2708" fmla="*/ 1304 w 10785"/>
                <a:gd name="connsiteY2708" fmla="*/ 8410 h 10000"/>
                <a:gd name="connsiteX2709" fmla="*/ 1309 w 10785"/>
                <a:gd name="connsiteY2709" fmla="*/ 8393 h 10000"/>
                <a:gd name="connsiteX2710" fmla="*/ 1318 w 10785"/>
                <a:gd name="connsiteY2710" fmla="*/ 8385 h 10000"/>
                <a:gd name="connsiteX2711" fmla="*/ 1323 w 10785"/>
                <a:gd name="connsiteY2711" fmla="*/ 8385 h 10000"/>
                <a:gd name="connsiteX2712" fmla="*/ 1332 w 10785"/>
                <a:gd name="connsiteY2712" fmla="*/ 8410 h 10000"/>
                <a:gd name="connsiteX2713" fmla="*/ 1346 w 10785"/>
                <a:gd name="connsiteY2713" fmla="*/ 8419 h 10000"/>
                <a:gd name="connsiteX2714" fmla="*/ 1364 w 10785"/>
                <a:gd name="connsiteY2714" fmla="*/ 8504 h 10000"/>
                <a:gd name="connsiteX2715" fmla="*/ 1369 w 10785"/>
                <a:gd name="connsiteY2715" fmla="*/ 8521 h 10000"/>
                <a:gd name="connsiteX2716" fmla="*/ 1406 w 10785"/>
                <a:gd name="connsiteY2716" fmla="*/ 8470 h 10000"/>
                <a:gd name="connsiteX2717" fmla="*/ 1382 w 10785"/>
                <a:gd name="connsiteY2717" fmla="*/ 8359 h 10000"/>
                <a:gd name="connsiteX2718" fmla="*/ 1392 w 10785"/>
                <a:gd name="connsiteY2718" fmla="*/ 8359 h 10000"/>
                <a:gd name="connsiteX2719" fmla="*/ 1438 w 10785"/>
                <a:gd name="connsiteY2719" fmla="*/ 8308 h 10000"/>
                <a:gd name="connsiteX2720" fmla="*/ 1442 w 10785"/>
                <a:gd name="connsiteY2720" fmla="*/ 8299 h 10000"/>
                <a:gd name="connsiteX2721" fmla="*/ 1442 w 10785"/>
                <a:gd name="connsiteY2721" fmla="*/ 8256 h 10000"/>
                <a:gd name="connsiteX2722" fmla="*/ 1452 w 10785"/>
                <a:gd name="connsiteY2722" fmla="*/ 8256 h 10000"/>
                <a:gd name="connsiteX2723" fmla="*/ 1456 w 10785"/>
                <a:gd name="connsiteY2723" fmla="*/ 8256 h 10000"/>
                <a:gd name="connsiteX2724" fmla="*/ 1470 w 10785"/>
                <a:gd name="connsiteY2724" fmla="*/ 8248 h 10000"/>
                <a:gd name="connsiteX2725" fmla="*/ 1479 w 10785"/>
                <a:gd name="connsiteY2725" fmla="*/ 8231 h 10000"/>
                <a:gd name="connsiteX2726" fmla="*/ 1493 w 10785"/>
                <a:gd name="connsiteY2726" fmla="*/ 8222 h 10000"/>
                <a:gd name="connsiteX2727" fmla="*/ 1498 w 10785"/>
                <a:gd name="connsiteY2727" fmla="*/ 8214 h 10000"/>
                <a:gd name="connsiteX2728" fmla="*/ 1502 w 10785"/>
                <a:gd name="connsiteY2728" fmla="*/ 8197 h 10000"/>
                <a:gd name="connsiteX2729" fmla="*/ 1512 w 10785"/>
                <a:gd name="connsiteY2729" fmla="*/ 8188 h 10000"/>
                <a:gd name="connsiteX2730" fmla="*/ 1516 w 10785"/>
                <a:gd name="connsiteY2730" fmla="*/ 8171 h 10000"/>
                <a:gd name="connsiteX2731" fmla="*/ 1525 w 10785"/>
                <a:gd name="connsiteY2731" fmla="*/ 8162 h 10000"/>
                <a:gd name="connsiteX2732" fmla="*/ 1539 w 10785"/>
                <a:gd name="connsiteY2732" fmla="*/ 8145 h 10000"/>
                <a:gd name="connsiteX2733" fmla="*/ 1558 w 10785"/>
                <a:gd name="connsiteY2733" fmla="*/ 8145 h 10000"/>
                <a:gd name="connsiteX2734" fmla="*/ 1562 w 10785"/>
                <a:gd name="connsiteY2734" fmla="*/ 8188 h 10000"/>
                <a:gd name="connsiteX2735" fmla="*/ 1585 w 10785"/>
                <a:gd name="connsiteY2735" fmla="*/ 8171 h 10000"/>
                <a:gd name="connsiteX2736" fmla="*/ 1590 w 10785"/>
                <a:gd name="connsiteY2736" fmla="*/ 8188 h 10000"/>
                <a:gd name="connsiteX2737" fmla="*/ 1599 w 10785"/>
                <a:gd name="connsiteY2737" fmla="*/ 8171 h 10000"/>
                <a:gd name="connsiteX2738" fmla="*/ 1599 w 10785"/>
                <a:gd name="connsiteY2738" fmla="*/ 8162 h 10000"/>
                <a:gd name="connsiteX2739" fmla="*/ 1604 w 10785"/>
                <a:gd name="connsiteY2739" fmla="*/ 8137 h 10000"/>
                <a:gd name="connsiteX2740" fmla="*/ 1618 w 10785"/>
                <a:gd name="connsiteY2740" fmla="*/ 8145 h 10000"/>
                <a:gd name="connsiteX2741" fmla="*/ 1627 w 10785"/>
                <a:gd name="connsiteY2741" fmla="*/ 8137 h 10000"/>
                <a:gd name="connsiteX2742" fmla="*/ 1631 w 10785"/>
                <a:gd name="connsiteY2742" fmla="*/ 8137 h 10000"/>
                <a:gd name="connsiteX2743" fmla="*/ 1636 w 10785"/>
                <a:gd name="connsiteY2743" fmla="*/ 8171 h 10000"/>
                <a:gd name="connsiteX2744" fmla="*/ 1645 w 10785"/>
                <a:gd name="connsiteY2744" fmla="*/ 8188 h 10000"/>
                <a:gd name="connsiteX2745" fmla="*/ 1664 w 10785"/>
                <a:gd name="connsiteY2745" fmla="*/ 8171 h 10000"/>
                <a:gd name="connsiteX2746" fmla="*/ 1673 w 10785"/>
                <a:gd name="connsiteY2746" fmla="*/ 8188 h 10000"/>
                <a:gd name="connsiteX2747" fmla="*/ 1691 w 10785"/>
                <a:gd name="connsiteY2747" fmla="*/ 8171 h 10000"/>
                <a:gd name="connsiteX2748" fmla="*/ 1705 w 10785"/>
                <a:gd name="connsiteY2748" fmla="*/ 8171 h 10000"/>
                <a:gd name="connsiteX2749" fmla="*/ 1719 w 10785"/>
                <a:gd name="connsiteY2749" fmla="*/ 8197 h 10000"/>
                <a:gd name="connsiteX2750" fmla="*/ 1724 w 10785"/>
                <a:gd name="connsiteY2750" fmla="*/ 8231 h 10000"/>
                <a:gd name="connsiteX2751" fmla="*/ 1751 w 10785"/>
                <a:gd name="connsiteY2751" fmla="*/ 8256 h 10000"/>
                <a:gd name="connsiteX2752" fmla="*/ 1751 w 10785"/>
                <a:gd name="connsiteY2752" fmla="*/ 8274 h 10000"/>
                <a:gd name="connsiteX2753" fmla="*/ 1760 w 10785"/>
                <a:gd name="connsiteY2753" fmla="*/ 8282 h 10000"/>
                <a:gd name="connsiteX2754" fmla="*/ 1770 w 10785"/>
                <a:gd name="connsiteY2754" fmla="*/ 8325 h 10000"/>
                <a:gd name="connsiteX2755" fmla="*/ 1770 w 10785"/>
                <a:gd name="connsiteY2755" fmla="*/ 8350 h 10000"/>
                <a:gd name="connsiteX2756" fmla="*/ 1779 w 10785"/>
                <a:gd name="connsiteY2756" fmla="*/ 8368 h 10000"/>
                <a:gd name="connsiteX2757" fmla="*/ 1783 w 10785"/>
                <a:gd name="connsiteY2757" fmla="*/ 8359 h 10000"/>
                <a:gd name="connsiteX2758" fmla="*/ 1783 w 10785"/>
                <a:gd name="connsiteY2758" fmla="*/ 8308 h 10000"/>
                <a:gd name="connsiteX2759" fmla="*/ 1779 w 10785"/>
                <a:gd name="connsiteY2759" fmla="*/ 8299 h 10000"/>
                <a:gd name="connsiteX2760" fmla="*/ 1783 w 10785"/>
                <a:gd name="connsiteY2760" fmla="*/ 8282 h 10000"/>
                <a:gd name="connsiteX2761" fmla="*/ 1797 w 10785"/>
                <a:gd name="connsiteY2761" fmla="*/ 8274 h 10000"/>
                <a:gd name="connsiteX2762" fmla="*/ 1797 w 10785"/>
                <a:gd name="connsiteY2762" fmla="*/ 8299 h 10000"/>
                <a:gd name="connsiteX2763" fmla="*/ 1806 w 10785"/>
                <a:gd name="connsiteY2763" fmla="*/ 8308 h 10000"/>
                <a:gd name="connsiteX2764" fmla="*/ 1811 w 10785"/>
                <a:gd name="connsiteY2764" fmla="*/ 8325 h 10000"/>
                <a:gd name="connsiteX2765" fmla="*/ 1820 w 10785"/>
                <a:gd name="connsiteY2765" fmla="*/ 8333 h 10000"/>
                <a:gd name="connsiteX2766" fmla="*/ 1853 w 10785"/>
                <a:gd name="connsiteY2766" fmla="*/ 8359 h 10000"/>
                <a:gd name="connsiteX2767" fmla="*/ 1866 w 10785"/>
                <a:gd name="connsiteY2767" fmla="*/ 8359 h 10000"/>
                <a:gd name="connsiteX2768" fmla="*/ 1885 w 10785"/>
                <a:gd name="connsiteY2768" fmla="*/ 8325 h 10000"/>
                <a:gd name="connsiteX2769" fmla="*/ 1885 w 10785"/>
                <a:gd name="connsiteY2769" fmla="*/ 8308 h 10000"/>
                <a:gd name="connsiteX2770" fmla="*/ 1894 w 10785"/>
                <a:gd name="connsiteY2770" fmla="*/ 8299 h 10000"/>
                <a:gd name="connsiteX2771" fmla="*/ 1899 w 10785"/>
                <a:gd name="connsiteY2771" fmla="*/ 8282 h 10000"/>
                <a:gd name="connsiteX2772" fmla="*/ 1912 w 10785"/>
                <a:gd name="connsiteY2772" fmla="*/ 8282 h 10000"/>
                <a:gd name="connsiteX2773" fmla="*/ 1917 w 10785"/>
                <a:gd name="connsiteY2773" fmla="*/ 8299 h 10000"/>
                <a:gd name="connsiteX2774" fmla="*/ 1917 w 10785"/>
                <a:gd name="connsiteY2774" fmla="*/ 8274 h 10000"/>
                <a:gd name="connsiteX2775" fmla="*/ 1940 w 10785"/>
                <a:gd name="connsiteY2775" fmla="*/ 8282 h 10000"/>
                <a:gd name="connsiteX2776" fmla="*/ 1945 w 10785"/>
                <a:gd name="connsiteY2776" fmla="*/ 8274 h 10000"/>
                <a:gd name="connsiteX2777" fmla="*/ 1972 w 10785"/>
                <a:gd name="connsiteY2777" fmla="*/ 8308 h 10000"/>
                <a:gd name="connsiteX2778" fmla="*/ 1986 w 10785"/>
                <a:gd name="connsiteY2778" fmla="*/ 8282 h 10000"/>
                <a:gd name="connsiteX2779" fmla="*/ 1991 w 10785"/>
                <a:gd name="connsiteY2779" fmla="*/ 8274 h 10000"/>
                <a:gd name="connsiteX2780" fmla="*/ 2014 w 10785"/>
                <a:gd name="connsiteY2780" fmla="*/ 8274 h 10000"/>
                <a:gd name="connsiteX2781" fmla="*/ 2018 w 10785"/>
                <a:gd name="connsiteY2781" fmla="*/ 8256 h 10000"/>
                <a:gd name="connsiteX2782" fmla="*/ 2041 w 10785"/>
                <a:gd name="connsiteY2782" fmla="*/ 8274 h 10000"/>
                <a:gd name="connsiteX2783" fmla="*/ 2046 w 10785"/>
                <a:gd name="connsiteY2783" fmla="*/ 8282 h 10000"/>
                <a:gd name="connsiteX2784" fmla="*/ 2046 w 10785"/>
                <a:gd name="connsiteY2784" fmla="*/ 8325 h 10000"/>
                <a:gd name="connsiteX2785" fmla="*/ 2060 w 10785"/>
                <a:gd name="connsiteY2785" fmla="*/ 8350 h 10000"/>
                <a:gd name="connsiteX2786" fmla="*/ 2078 w 10785"/>
                <a:gd name="connsiteY2786" fmla="*/ 8350 h 10000"/>
                <a:gd name="connsiteX2787" fmla="*/ 2092 w 10785"/>
                <a:gd name="connsiteY2787" fmla="*/ 8350 h 10000"/>
                <a:gd name="connsiteX2788" fmla="*/ 2092 w 10785"/>
                <a:gd name="connsiteY2788" fmla="*/ 8350 h 10000"/>
                <a:gd name="connsiteX2789" fmla="*/ 2101 w 10785"/>
                <a:gd name="connsiteY2789" fmla="*/ 8368 h 10000"/>
                <a:gd name="connsiteX2790" fmla="*/ 2120 w 10785"/>
                <a:gd name="connsiteY2790" fmla="*/ 8368 h 10000"/>
                <a:gd name="connsiteX2791" fmla="*/ 2124 w 10785"/>
                <a:gd name="connsiteY2791" fmla="*/ 8359 h 10000"/>
                <a:gd name="connsiteX2792" fmla="*/ 2138 w 10785"/>
                <a:gd name="connsiteY2792" fmla="*/ 8325 h 10000"/>
                <a:gd name="connsiteX2793" fmla="*/ 2147 w 10785"/>
                <a:gd name="connsiteY2793" fmla="*/ 8325 h 10000"/>
                <a:gd name="connsiteX2794" fmla="*/ 2161 w 10785"/>
                <a:gd name="connsiteY2794" fmla="*/ 8350 h 10000"/>
                <a:gd name="connsiteX2795" fmla="*/ 2198 w 10785"/>
                <a:gd name="connsiteY2795" fmla="*/ 8350 h 10000"/>
                <a:gd name="connsiteX2796" fmla="*/ 2207 w 10785"/>
                <a:gd name="connsiteY2796" fmla="*/ 8333 h 10000"/>
                <a:gd name="connsiteX2797" fmla="*/ 2226 w 10785"/>
                <a:gd name="connsiteY2797" fmla="*/ 8325 h 10000"/>
                <a:gd name="connsiteX2798" fmla="*/ 2249 w 10785"/>
                <a:gd name="connsiteY2798" fmla="*/ 8222 h 10000"/>
                <a:gd name="connsiteX2799" fmla="*/ 2235 w 10785"/>
                <a:gd name="connsiteY2799" fmla="*/ 8197 h 10000"/>
                <a:gd name="connsiteX2800" fmla="*/ 2198 w 10785"/>
                <a:gd name="connsiteY2800" fmla="*/ 8197 h 10000"/>
                <a:gd name="connsiteX2801" fmla="*/ 2189 w 10785"/>
                <a:gd name="connsiteY2801" fmla="*/ 8171 h 10000"/>
                <a:gd name="connsiteX2802" fmla="*/ 2161 w 10785"/>
                <a:gd name="connsiteY2802" fmla="*/ 8145 h 10000"/>
                <a:gd name="connsiteX2803" fmla="*/ 2161 w 10785"/>
                <a:gd name="connsiteY2803" fmla="*/ 8137 h 10000"/>
                <a:gd name="connsiteX2804" fmla="*/ 2152 w 10785"/>
                <a:gd name="connsiteY2804" fmla="*/ 8120 h 10000"/>
                <a:gd name="connsiteX2805" fmla="*/ 2138 w 10785"/>
                <a:gd name="connsiteY2805" fmla="*/ 8111 h 10000"/>
                <a:gd name="connsiteX2806" fmla="*/ 2138 w 10785"/>
                <a:gd name="connsiteY2806" fmla="*/ 8094 h 10000"/>
                <a:gd name="connsiteX2807" fmla="*/ 2147 w 10785"/>
                <a:gd name="connsiteY2807" fmla="*/ 8085 h 10000"/>
                <a:gd name="connsiteX2808" fmla="*/ 2161 w 10785"/>
                <a:gd name="connsiteY2808" fmla="*/ 8060 h 10000"/>
                <a:gd name="connsiteX2809" fmla="*/ 2198 w 10785"/>
                <a:gd name="connsiteY2809" fmla="*/ 8034 h 10000"/>
                <a:gd name="connsiteX2810" fmla="*/ 2198 w 10785"/>
                <a:gd name="connsiteY2810" fmla="*/ 8026 h 10000"/>
                <a:gd name="connsiteX2811" fmla="*/ 2198 w 10785"/>
                <a:gd name="connsiteY2811" fmla="*/ 8000 h 10000"/>
                <a:gd name="connsiteX2812" fmla="*/ 2180 w 10785"/>
                <a:gd name="connsiteY2812" fmla="*/ 7940 h 10000"/>
                <a:gd name="connsiteX2813" fmla="*/ 2189 w 10785"/>
                <a:gd name="connsiteY2813" fmla="*/ 7940 h 10000"/>
                <a:gd name="connsiteX2814" fmla="*/ 2198 w 10785"/>
                <a:gd name="connsiteY2814" fmla="*/ 7923 h 10000"/>
                <a:gd name="connsiteX2815" fmla="*/ 2198 w 10785"/>
                <a:gd name="connsiteY2815" fmla="*/ 7897 h 10000"/>
                <a:gd name="connsiteX2816" fmla="*/ 2207 w 10785"/>
                <a:gd name="connsiteY2816" fmla="*/ 7889 h 10000"/>
                <a:gd name="connsiteX2817" fmla="*/ 2221 w 10785"/>
                <a:gd name="connsiteY2817" fmla="*/ 7889 h 10000"/>
                <a:gd name="connsiteX2818" fmla="*/ 2226 w 10785"/>
                <a:gd name="connsiteY2818" fmla="*/ 7897 h 10000"/>
                <a:gd name="connsiteX2819" fmla="*/ 2235 w 10785"/>
                <a:gd name="connsiteY2819" fmla="*/ 7889 h 10000"/>
                <a:gd name="connsiteX2820" fmla="*/ 2249 w 10785"/>
                <a:gd name="connsiteY2820" fmla="*/ 7897 h 10000"/>
                <a:gd name="connsiteX2821" fmla="*/ 2267 w 10785"/>
                <a:gd name="connsiteY2821" fmla="*/ 7897 h 10000"/>
                <a:gd name="connsiteX2822" fmla="*/ 2272 w 10785"/>
                <a:gd name="connsiteY2822" fmla="*/ 7889 h 10000"/>
                <a:gd name="connsiteX2823" fmla="*/ 2281 w 10785"/>
                <a:gd name="connsiteY2823" fmla="*/ 7872 h 10000"/>
                <a:gd name="connsiteX2824" fmla="*/ 2272 w 10785"/>
                <a:gd name="connsiteY2824" fmla="*/ 7846 h 10000"/>
                <a:gd name="connsiteX2825" fmla="*/ 2253 w 10785"/>
                <a:gd name="connsiteY2825" fmla="*/ 7838 h 10000"/>
                <a:gd name="connsiteX2826" fmla="*/ 2221 w 10785"/>
                <a:gd name="connsiteY2826" fmla="*/ 7821 h 10000"/>
                <a:gd name="connsiteX2827" fmla="*/ 2212 w 10785"/>
                <a:gd name="connsiteY2827" fmla="*/ 7812 h 10000"/>
                <a:gd name="connsiteX2828" fmla="*/ 2212 w 10785"/>
                <a:gd name="connsiteY2828" fmla="*/ 7803 h 10000"/>
                <a:gd name="connsiteX2829" fmla="*/ 2221 w 10785"/>
                <a:gd name="connsiteY2829" fmla="*/ 7803 h 10000"/>
                <a:gd name="connsiteX2830" fmla="*/ 2235 w 10785"/>
                <a:gd name="connsiteY2830" fmla="*/ 7786 h 10000"/>
                <a:gd name="connsiteX2831" fmla="*/ 2240 w 10785"/>
                <a:gd name="connsiteY2831" fmla="*/ 7778 h 10000"/>
                <a:gd name="connsiteX2832" fmla="*/ 2226 w 10785"/>
                <a:gd name="connsiteY2832" fmla="*/ 7761 h 10000"/>
                <a:gd name="connsiteX2833" fmla="*/ 2221 w 10785"/>
                <a:gd name="connsiteY2833" fmla="*/ 7778 h 10000"/>
                <a:gd name="connsiteX2834" fmla="*/ 2198 w 10785"/>
                <a:gd name="connsiteY2834" fmla="*/ 7778 h 10000"/>
                <a:gd name="connsiteX2835" fmla="*/ 2198 w 10785"/>
                <a:gd name="connsiteY2835" fmla="*/ 7752 h 10000"/>
                <a:gd name="connsiteX2836" fmla="*/ 2207 w 10785"/>
                <a:gd name="connsiteY2836" fmla="*/ 7735 h 10000"/>
                <a:gd name="connsiteX2837" fmla="*/ 2212 w 10785"/>
                <a:gd name="connsiteY2837" fmla="*/ 7726 h 10000"/>
                <a:gd name="connsiteX2838" fmla="*/ 2198 w 10785"/>
                <a:gd name="connsiteY2838" fmla="*/ 7692 h 10000"/>
                <a:gd name="connsiteX2839" fmla="*/ 2221 w 10785"/>
                <a:gd name="connsiteY2839" fmla="*/ 7692 h 10000"/>
                <a:gd name="connsiteX2840" fmla="*/ 2221 w 10785"/>
                <a:gd name="connsiteY2840" fmla="*/ 7675 h 10000"/>
                <a:gd name="connsiteX2841" fmla="*/ 2235 w 10785"/>
                <a:gd name="connsiteY2841" fmla="*/ 7675 h 10000"/>
                <a:gd name="connsiteX2842" fmla="*/ 2240 w 10785"/>
                <a:gd name="connsiteY2842" fmla="*/ 7692 h 10000"/>
                <a:gd name="connsiteX2843" fmla="*/ 2249 w 10785"/>
                <a:gd name="connsiteY2843" fmla="*/ 7692 h 10000"/>
                <a:gd name="connsiteX2844" fmla="*/ 2258 w 10785"/>
                <a:gd name="connsiteY2844" fmla="*/ 7692 h 10000"/>
                <a:gd name="connsiteX2845" fmla="*/ 2267 w 10785"/>
                <a:gd name="connsiteY2845" fmla="*/ 7692 h 10000"/>
                <a:gd name="connsiteX2846" fmla="*/ 2295 w 10785"/>
                <a:gd name="connsiteY2846" fmla="*/ 7692 h 10000"/>
                <a:gd name="connsiteX2847" fmla="*/ 2300 w 10785"/>
                <a:gd name="connsiteY2847" fmla="*/ 7701 h 10000"/>
                <a:gd name="connsiteX2848" fmla="*/ 2313 w 10785"/>
                <a:gd name="connsiteY2848" fmla="*/ 7675 h 10000"/>
                <a:gd name="connsiteX2849" fmla="*/ 2323 w 10785"/>
                <a:gd name="connsiteY2849" fmla="*/ 7675 h 10000"/>
                <a:gd name="connsiteX2850" fmla="*/ 2341 w 10785"/>
                <a:gd name="connsiteY2850" fmla="*/ 7675 h 10000"/>
                <a:gd name="connsiteX2851" fmla="*/ 2346 w 10785"/>
                <a:gd name="connsiteY2851" fmla="*/ 7667 h 10000"/>
                <a:gd name="connsiteX2852" fmla="*/ 2359 w 10785"/>
                <a:gd name="connsiteY2852" fmla="*/ 7650 h 10000"/>
                <a:gd name="connsiteX2853" fmla="*/ 2373 w 10785"/>
                <a:gd name="connsiteY2853" fmla="*/ 7624 h 10000"/>
                <a:gd name="connsiteX2854" fmla="*/ 2382 w 10785"/>
                <a:gd name="connsiteY2854" fmla="*/ 7641 h 10000"/>
                <a:gd name="connsiteX2855" fmla="*/ 2396 w 10785"/>
                <a:gd name="connsiteY2855" fmla="*/ 7650 h 10000"/>
                <a:gd name="connsiteX2856" fmla="*/ 2401 w 10785"/>
                <a:gd name="connsiteY2856" fmla="*/ 7650 h 10000"/>
                <a:gd name="connsiteX2857" fmla="*/ 2401 w 10785"/>
                <a:gd name="connsiteY2857" fmla="*/ 7624 h 10000"/>
                <a:gd name="connsiteX2858" fmla="*/ 2419 w 10785"/>
                <a:gd name="connsiteY2858" fmla="*/ 7624 h 10000"/>
                <a:gd name="connsiteX2859" fmla="*/ 2433 w 10785"/>
                <a:gd name="connsiteY2859" fmla="*/ 7615 h 10000"/>
                <a:gd name="connsiteX2860" fmla="*/ 2442 w 10785"/>
                <a:gd name="connsiteY2860" fmla="*/ 7615 h 10000"/>
                <a:gd name="connsiteX2861" fmla="*/ 2447 w 10785"/>
                <a:gd name="connsiteY2861" fmla="*/ 7598 h 10000"/>
                <a:gd name="connsiteX2862" fmla="*/ 2461 w 10785"/>
                <a:gd name="connsiteY2862" fmla="*/ 7598 h 10000"/>
                <a:gd name="connsiteX2863" fmla="*/ 2465 w 10785"/>
                <a:gd name="connsiteY2863" fmla="*/ 7615 h 10000"/>
                <a:gd name="connsiteX2864" fmla="*/ 2479 w 10785"/>
                <a:gd name="connsiteY2864" fmla="*/ 7564 h 10000"/>
                <a:gd name="connsiteX2865" fmla="*/ 2488 w 10785"/>
                <a:gd name="connsiteY2865" fmla="*/ 7556 h 10000"/>
                <a:gd name="connsiteX2866" fmla="*/ 2493 w 10785"/>
                <a:gd name="connsiteY2866" fmla="*/ 7556 h 10000"/>
                <a:gd name="connsiteX2867" fmla="*/ 2507 w 10785"/>
                <a:gd name="connsiteY2867" fmla="*/ 7556 h 10000"/>
                <a:gd name="connsiteX2868" fmla="*/ 2530 w 10785"/>
                <a:gd name="connsiteY2868" fmla="*/ 7538 h 10000"/>
                <a:gd name="connsiteX2869" fmla="*/ 2530 w 10785"/>
                <a:gd name="connsiteY2869" fmla="*/ 7556 h 10000"/>
                <a:gd name="connsiteX2870" fmla="*/ 2641 w 10785"/>
                <a:gd name="connsiteY2870" fmla="*/ 7504 h 10000"/>
                <a:gd name="connsiteX2871" fmla="*/ 2654 w 10785"/>
                <a:gd name="connsiteY2871" fmla="*/ 7487 h 10000"/>
                <a:gd name="connsiteX2872" fmla="*/ 2664 w 10785"/>
                <a:gd name="connsiteY2872" fmla="*/ 7487 h 10000"/>
                <a:gd name="connsiteX2873" fmla="*/ 2668 w 10785"/>
                <a:gd name="connsiteY2873" fmla="*/ 7479 h 10000"/>
                <a:gd name="connsiteX2874" fmla="*/ 2673 w 10785"/>
                <a:gd name="connsiteY2874" fmla="*/ 7462 h 10000"/>
                <a:gd name="connsiteX2875" fmla="*/ 2673 w 10785"/>
                <a:gd name="connsiteY2875" fmla="*/ 7427 h 10000"/>
                <a:gd name="connsiteX2876" fmla="*/ 2687 w 10785"/>
                <a:gd name="connsiteY2876" fmla="*/ 7436 h 10000"/>
                <a:gd name="connsiteX2877" fmla="*/ 2696 w 10785"/>
                <a:gd name="connsiteY2877" fmla="*/ 7427 h 10000"/>
                <a:gd name="connsiteX2878" fmla="*/ 2700 w 10785"/>
                <a:gd name="connsiteY2878" fmla="*/ 7419 h 10000"/>
                <a:gd name="connsiteX2879" fmla="*/ 2710 w 10785"/>
                <a:gd name="connsiteY2879" fmla="*/ 7402 h 10000"/>
                <a:gd name="connsiteX2880" fmla="*/ 2724 w 10785"/>
                <a:gd name="connsiteY2880" fmla="*/ 7402 h 10000"/>
                <a:gd name="connsiteX2881" fmla="*/ 2724 w 10785"/>
                <a:gd name="connsiteY2881" fmla="*/ 7393 h 10000"/>
                <a:gd name="connsiteX2882" fmla="*/ 2737 w 10785"/>
                <a:gd name="connsiteY2882" fmla="*/ 7393 h 10000"/>
                <a:gd name="connsiteX2883" fmla="*/ 2742 w 10785"/>
                <a:gd name="connsiteY2883" fmla="*/ 7402 h 10000"/>
                <a:gd name="connsiteX2884" fmla="*/ 2747 w 10785"/>
                <a:gd name="connsiteY2884" fmla="*/ 7402 h 10000"/>
                <a:gd name="connsiteX2885" fmla="*/ 2760 w 10785"/>
                <a:gd name="connsiteY2885" fmla="*/ 7402 h 10000"/>
                <a:gd name="connsiteX2886" fmla="*/ 2770 w 10785"/>
                <a:gd name="connsiteY2886" fmla="*/ 7402 h 10000"/>
                <a:gd name="connsiteX2887" fmla="*/ 2774 w 10785"/>
                <a:gd name="connsiteY2887" fmla="*/ 7402 h 10000"/>
                <a:gd name="connsiteX2888" fmla="*/ 2783 w 10785"/>
                <a:gd name="connsiteY2888" fmla="*/ 7419 h 10000"/>
                <a:gd name="connsiteX2889" fmla="*/ 2802 w 10785"/>
                <a:gd name="connsiteY2889" fmla="*/ 7436 h 10000"/>
                <a:gd name="connsiteX2890" fmla="*/ 2816 w 10785"/>
                <a:gd name="connsiteY2890" fmla="*/ 7419 h 10000"/>
                <a:gd name="connsiteX2891" fmla="*/ 2834 w 10785"/>
                <a:gd name="connsiteY2891" fmla="*/ 7419 h 10000"/>
                <a:gd name="connsiteX2892" fmla="*/ 2843 w 10785"/>
                <a:gd name="connsiteY2892" fmla="*/ 7419 h 10000"/>
                <a:gd name="connsiteX2893" fmla="*/ 2848 w 10785"/>
                <a:gd name="connsiteY2893" fmla="*/ 7436 h 10000"/>
                <a:gd name="connsiteX2894" fmla="*/ 2857 w 10785"/>
                <a:gd name="connsiteY2894" fmla="*/ 7453 h 10000"/>
                <a:gd name="connsiteX2895" fmla="*/ 2857 w 10785"/>
                <a:gd name="connsiteY2895" fmla="*/ 7504 h 10000"/>
                <a:gd name="connsiteX2896" fmla="*/ 2862 w 10785"/>
                <a:gd name="connsiteY2896" fmla="*/ 7530 h 10000"/>
                <a:gd name="connsiteX2897" fmla="*/ 2876 w 10785"/>
                <a:gd name="connsiteY2897" fmla="*/ 7538 h 10000"/>
                <a:gd name="connsiteX2898" fmla="*/ 2871 w 10785"/>
                <a:gd name="connsiteY2898" fmla="*/ 7564 h 10000"/>
                <a:gd name="connsiteX2899" fmla="*/ 2871 w 10785"/>
                <a:gd name="connsiteY2899" fmla="*/ 7598 h 10000"/>
                <a:gd name="connsiteX2900" fmla="*/ 2857 w 10785"/>
                <a:gd name="connsiteY2900" fmla="*/ 7624 h 10000"/>
                <a:gd name="connsiteX2901" fmla="*/ 2862 w 10785"/>
                <a:gd name="connsiteY2901" fmla="*/ 7641 h 10000"/>
                <a:gd name="connsiteX2902" fmla="*/ 2871 w 10785"/>
                <a:gd name="connsiteY2902" fmla="*/ 7667 h 10000"/>
                <a:gd name="connsiteX2903" fmla="*/ 2880 w 10785"/>
                <a:gd name="connsiteY2903" fmla="*/ 7650 h 10000"/>
                <a:gd name="connsiteX2904" fmla="*/ 2894 w 10785"/>
                <a:gd name="connsiteY2904" fmla="*/ 7667 h 10000"/>
                <a:gd name="connsiteX2905" fmla="*/ 2903 w 10785"/>
                <a:gd name="connsiteY2905" fmla="*/ 7667 h 10000"/>
                <a:gd name="connsiteX2906" fmla="*/ 2908 w 10785"/>
                <a:gd name="connsiteY2906" fmla="*/ 7641 h 10000"/>
                <a:gd name="connsiteX2907" fmla="*/ 2917 w 10785"/>
                <a:gd name="connsiteY2907" fmla="*/ 7641 h 10000"/>
                <a:gd name="connsiteX2908" fmla="*/ 2922 w 10785"/>
                <a:gd name="connsiteY2908" fmla="*/ 7641 h 10000"/>
                <a:gd name="connsiteX2909" fmla="*/ 2931 w 10785"/>
                <a:gd name="connsiteY2909" fmla="*/ 7615 h 10000"/>
                <a:gd name="connsiteX2910" fmla="*/ 2935 w 10785"/>
                <a:gd name="connsiteY2910" fmla="*/ 7615 h 10000"/>
                <a:gd name="connsiteX2911" fmla="*/ 2945 w 10785"/>
                <a:gd name="connsiteY2911" fmla="*/ 7650 h 10000"/>
                <a:gd name="connsiteX2912" fmla="*/ 2949 w 10785"/>
                <a:gd name="connsiteY2912" fmla="*/ 7667 h 10000"/>
                <a:gd name="connsiteX2913" fmla="*/ 2949 w 10785"/>
                <a:gd name="connsiteY2913" fmla="*/ 7675 h 10000"/>
                <a:gd name="connsiteX2914" fmla="*/ 2945 w 10785"/>
                <a:gd name="connsiteY2914" fmla="*/ 7692 h 10000"/>
                <a:gd name="connsiteX2915" fmla="*/ 2963 w 10785"/>
                <a:gd name="connsiteY2915" fmla="*/ 7701 h 10000"/>
                <a:gd name="connsiteX2916" fmla="*/ 2963 w 10785"/>
                <a:gd name="connsiteY2916" fmla="*/ 7675 h 10000"/>
                <a:gd name="connsiteX2917" fmla="*/ 2954 w 10785"/>
                <a:gd name="connsiteY2917" fmla="*/ 7667 h 10000"/>
                <a:gd name="connsiteX2918" fmla="*/ 2963 w 10785"/>
                <a:gd name="connsiteY2918" fmla="*/ 7667 h 10000"/>
                <a:gd name="connsiteX2919" fmla="*/ 2982 w 10785"/>
                <a:gd name="connsiteY2919" fmla="*/ 7667 h 10000"/>
                <a:gd name="connsiteX2920" fmla="*/ 2991 w 10785"/>
                <a:gd name="connsiteY2920" fmla="*/ 7675 h 10000"/>
                <a:gd name="connsiteX2921" fmla="*/ 2995 w 10785"/>
                <a:gd name="connsiteY2921" fmla="*/ 7692 h 10000"/>
                <a:gd name="connsiteX2922" fmla="*/ 3009 w 10785"/>
                <a:gd name="connsiteY2922" fmla="*/ 7701 h 10000"/>
                <a:gd name="connsiteX2923" fmla="*/ 3018 w 10785"/>
                <a:gd name="connsiteY2923" fmla="*/ 7701 h 10000"/>
                <a:gd name="connsiteX2924" fmla="*/ 3023 w 10785"/>
                <a:gd name="connsiteY2924" fmla="*/ 7692 h 10000"/>
                <a:gd name="connsiteX2925" fmla="*/ 3028 w 10785"/>
                <a:gd name="connsiteY2925" fmla="*/ 7675 h 10000"/>
                <a:gd name="connsiteX2926" fmla="*/ 3037 w 10785"/>
                <a:gd name="connsiteY2926" fmla="*/ 7692 h 10000"/>
                <a:gd name="connsiteX2927" fmla="*/ 3028 w 10785"/>
                <a:gd name="connsiteY2927" fmla="*/ 7709 h 10000"/>
                <a:gd name="connsiteX2928" fmla="*/ 3023 w 10785"/>
                <a:gd name="connsiteY2928" fmla="*/ 7709 h 10000"/>
                <a:gd name="connsiteX2929" fmla="*/ 3018 w 10785"/>
                <a:gd name="connsiteY2929" fmla="*/ 7726 h 10000"/>
                <a:gd name="connsiteX2930" fmla="*/ 3009 w 10785"/>
                <a:gd name="connsiteY2930" fmla="*/ 7735 h 10000"/>
                <a:gd name="connsiteX2931" fmla="*/ 3009 w 10785"/>
                <a:gd name="connsiteY2931" fmla="*/ 7761 h 10000"/>
                <a:gd name="connsiteX2932" fmla="*/ 3009 w 10785"/>
                <a:gd name="connsiteY2932" fmla="*/ 7778 h 10000"/>
                <a:gd name="connsiteX2933" fmla="*/ 3018 w 10785"/>
                <a:gd name="connsiteY2933" fmla="*/ 7786 h 10000"/>
                <a:gd name="connsiteX2934" fmla="*/ 3023 w 10785"/>
                <a:gd name="connsiteY2934" fmla="*/ 7786 h 10000"/>
                <a:gd name="connsiteX2935" fmla="*/ 3028 w 10785"/>
                <a:gd name="connsiteY2935" fmla="*/ 7778 h 10000"/>
                <a:gd name="connsiteX2936" fmla="*/ 3051 w 10785"/>
                <a:gd name="connsiteY2936" fmla="*/ 7761 h 10000"/>
                <a:gd name="connsiteX2937" fmla="*/ 3055 w 10785"/>
                <a:gd name="connsiteY2937" fmla="*/ 7778 h 10000"/>
                <a:gd name="connsiteX2938" fmla="*/ 3065 w 10785"/>
                <a:gd name="connsiteY2938" fmla="*/ 7761 h 10000"/>
                <a:gd name="connsiteX2939" fmla="*/ 3069 w 10785"/>
                <a:gd name="connsiteY2939" fmla="*/ 7786 h 10000"/>
                <a:gd name="connsiteX2940" fmla="*/ 3083 w 10785"/>
                <a:gd name="connsiteY2940" fmla="*/ 7786 h 10000"/>
                <a:gd name="connsiteX2941" fmla="*/ 3078 w 10785"/>
                <a:gd name="connsiteY2941" fmla="*/ 7761 h 10000"/>
                <a:gd name="connsiteX2942" fmla="*/ 3083 w 10785"/>
                <a:gd name="connsiteY2942" fmla="*/ 7752 h 10000"/>
                <a:gd name="connsiteX2943" fmla="*/ 3097 w 10785"/>
                <a:gd name="connsiteY2943" fmla="*/ 7752 h 10000"/>
                <a:gd name="connsiteX2944" fmla="*/ 3111 w 10785"/>
                <a:gd name="connsiteY2944" fmla="*/ 7726 h 10000"/>
                <a:gd name="connsiteX2945" fmla="*/ 3124 w 10785"/>
                <a:gd name="connsiteY2945" fmla="*/ 7709 h 10000"/>
                <a:gd name="connsiteX2946" fmla="*/ 3143 w 10785"/>
                <a:gd name="connsiteY2946" fmla="*/ 7692 h 10000"/>
                <a:gd name="connsiteX2947" fmla="*/ 3152 w 10785"/>
                <a:gd name="connsiteY2947" fmla="*/ 7667 h 10000"/>
                <a:gd name="connsiteX2948" fmla="*/ 3157 w 10785"/>
                <a:gd name="connsiteY2948" fmla="*/ 7650 h 10000"/>
                <a:gd name="connsiteX2949" fmla="*/ 3161 w 10785"/>
                <a:gd name="connsiteY2949" fmla="*/ 7650 h 10000"/>
                <a:gd name="connsiteX2950" fmla="*/ 3189 w 10785"/>
                <a:gd name="connsiteY2950" fmla="*/ 7641 h 10000"/>
                <a:gd name="connsiteX2951" fmla="*/ 3198 w 10785"/>
                <a:gd name="connsiteY2951" fmla="*/ 7624 h 10000"/>
                <a:gd name="connsiteX2952" fmla="*/ 3217 w 10785"/>
                <a:gd name="connsiteY2952" fmla="*/ 7615 h 10000"/>
                <a:gd name="connsiteX2953" fmla="*/ 3235 w 10785"/>
                <a:gd name="connsiteY2953" fmla="*/ 7598 h 10000"/>
                <a:gd name="connsiteX2954" fmla="*/ 3235 w 10785"/>
                <a:gd name="connsiteY2954" fmla="*/ 7615 h 10000"/>
                <a:gd name="connsiteX2955" fmla="*/ 3235 w 10785"/>
                <a:gd name="connsiteY2955" fmla="*/ 7641 h 10000"/>
                <a:gd name="connsiteX2956" fmla="*/ 3235 w 10785"/>
                <a:gd name="connsiteY2956" fmla="*/ 7650 h 10000"/>
                <a:gd name="connsiteX2957" fmla="*/ 3226 w 10785"/>
                <a:gd name="connsiteY2957" fmla="*/ 7650 h 10000"/>
                <a:gd name="connsiteX2958" fmla="*/ 3217 w 10785"/>
                <a:gd name="connsiteY2958" fmla="*/ 7650 h 10000"/>
                <a:gd name="connsiteX2959" fmla="*/ 3212 w 10785"/>
                <a:gd name="connsiteY2959" fmla="*/ 7675 h 10000"/>
                <a:gd name="connsiteX2960" fmla="*/ 3212 w 10785"/>
                <a:gd name="connsiteY2960" fmla="*/ 767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Lst>
              <a:rect l="l" t="t" r="r" b="b"/>
              <a:pathLst>
                <a:path w="10785" h="10000">
                  <a:moveTo>
                    <a:pt x="3212" y="7675"/>
                  </a:moveTo>
                  <a:cubicBezTo>
                    <a:pt x="3214" y="7681"/>
                    <a:pt x="3215" y="7686"/>
                    <a:pt x="3217" y="7692"/>
                  </a:cubicBezTo>
                  <a:lnTo>
                    <a:pt x="3226" y="7692"/>
                  </a:lnTo>
                  <a:lnTo>
                    <a:pt x="3309" y="7838"/>
                  </a:lnTo>
                  <a:cubicBezTo>
                    <a:pt x="3357" y="8000"/>
                    <a:pt x="3404" y="8163"/>
                    <a:pt x="3452" y="8325"/>
                  </a:cubicBezTo>
                  <a:cubicBezTo>
                    <a:pt x="3458" y="8316"/>
                    <a:pt x="3464" y="8308"/>
                    <a:pt x="3470" y="8299"/>
                  </a:cubicBezTo>
                  <a:lnTo>
                    <a:pt x="3470" y="8282"/>
                  </a:lnTo>
                  <a:lnTo>
                    <a:pt x="3470" y="8274"/>
                  </a:lnTo>
                  <a:cubicBezTo>
                    <a:pt x="3475" y="8260"/>
                    <a:pt x="3479" y="8245"/>
                    <a:pt x="3484" y="8231"/>
                  </a:cubicBezTo>
                  <a:lnTo>
                    <a:pt x="3498" y="8231"/>
                  </a:lnTo>
                  <a:lnTo>
                    <a:pt x="3498" y="8248"/>
                  </a:lnTo>
                  <a:cubicBezTo>
                    <a:pt x="3503" y="8251"/>
                    <a:pt x="3507" y="8253"/>
                    <a:pt x="3512" y="8256"/>
                  </a:cubicBezTo>
                  <a:cubicBezTo>
                    <a:pt x="3516" y="8262"/>
                    <a:pt x="3521" y="8268"/>
                    <a:pt x="3525" y="8274"/>
                  </a:cubicBezTo>
                  <a:lnTo>
                    <a:pt x="3525" y="8282"/>
                  </a:lnTo>
                  <a:lnTo>
                    <a:pt x="3525" y="8308"/>
                  </a:lnTo>
                  <a:lnTo>
                    <a:pt x="3530" y="8308"/>
                  </a:lnTo>
                  <a:cubicBezTo>
                    <a:pt x="3533" y="8316"/>
                    <a:pt x="3536" y="8325"/>
                    <a:pt x="3539" y="8333"/>
                  </a:cubicBezTo>
                  <a:lnTo>
                    <a:pt x="3571" y="8333"/>
                  </a:lnTo>
                  <a:cubicBezTo>
                    <a:pt x="3577" y="8339"/>
                    <a:pt x="3584" y="8344"/>
                    <a:pt x="3590" y="8350"/>
                  </a:cubicBezTo>
                  <a:cubicBezTo>
                    <a:pt x="3593" y="8344"/>
                    <a:pt x="3596" y="8339"/>
                    <a:pt x="3599" y="8333"/>
                  </a:cubicBezTo>
                  <a:lnTo>
                    <a:pt x="3618" y="8333"/>
                  </a:lnTo>
                  <a:lnTo>
                    <a:pt x="3618" y="8325"/>
                  </a:lnTo>
                  <a:cubicBezTo>
                    <a:pt x="3621" y="8319"/>
                    <a:pt x="3624" y="8314"/>
                    <a:pt x="3627" y="8308"/>
                  </a:cubicBezTo>
                  <a:lnTo>
                    <a:pt x="3641" y="8308"/>
                  </a:lnTo>
                  <a:lnTo>
                    <a:pt x="3645" y="8308"/>
                  </a:lnTo>
                  <a:cubicBezTo>
                    <a:pt x="3647" y="8305"/>
                    <a:pt x="3648" y="8302"/>
                    <a:pt x="3650" y="8299"/>
                  </a:cubicBezTo>
                  <a:cubicBezTo>
                    <a:pt x="3653" y="8293"/>
                    <a:pt x="3656" y="8288"/>
                    <a:pt x="3659" y="8282"/>
                  </a:cubicBezTo>
                  <a:cubicBezTo>
                    <a:pt x="3665" y="8288"/>
                    <a:pt x="3671" y="8293"/>
                    <a:pt x="3677" y="8299"/>
                  </a:cubicBezTo>
                  <a:lnTo>
                    <a:pt x="3687" y="8299"/>
                  </a:lnTo>
                  <a:cubicBezTo>
                    <a:pt x="3688" y="8308"/>
                    <a:pt x="3690" y="8316"/>
                    <a:pt x="3691" y="8325"/>
                  </a:cubicBezTo>
                  <a:lnTo>
                    <a:pt x="3700" y="8325"/>
                  </a:lnTo>
                  <a:cubicBezTo>
                    <a:pt x="3705" y="8336"/>
                    <a:pt x="3709" y="8348"/>
                    <a:pt x="3714" y="8359"/>
                  </a:cubicBezTo>
                  <a:lnTo>
                    <a:pt x="3719" y="8359"/>
                  </a:lnTo>
                  <a:cubicBezTo>
                    <a:pt x="3721" y="8362"/>
                    <a:pt x="3722" y="8365"/>
                    <a:pt x="3724" y="8368"/>
                  </a:cubicBezTo>
                  <a:cubicBezTo>
                    <a:pt x="3722" y="8376"/>
                    <a:pt x="3721" y="8385"/>
                    <a:pt x="3719" y="8393"/>
                  </a:cubicBezTo>
                  <a:cubicBezTo>
                    <a:pt x="3721" y="8399"/>
                    <a:pt x="3722" y="8404"/>
                    <a:pt x="3724" y="8410"/>
                  </a:cubicBezTo>
                  <a:lnTo>
                    <a:pt x="3724" y="8436"/>
                  </a:lnTo>
                  <a:lnTo>
                    <a:pt x="3737" y="8436"/>
                  </a:lnTo>
                  <a:cubicBezTo>
                    <a:pt x="3746" y="8445"/>
                    <a:pt x="3756" y="8453"/>
                    <a:pt x="3765" y="8462"/>
                  </a:cubicBezTo>
                  <a:lnTo>
                    <a:pt x="3765" y="8470"/>
                  </a:lnTo>
                  <a:lnTo>
                    <a:pt x="3765" y="8496"/>
                  </a:lnTo>
                  <a:lnTo>
                    <a:pt x="3774" y="8496"/>
                  </a:lnTo>
                  <a:cubicBezTo>
                    <a:pt x="3776" y="8499"/>
                    <a:pt x="3777" y="8501"/>
                    <a:pt x="3779" y="8504"/>
                  </a:cubicBezTo>
                  <a:cubicBezTo>
                    <a:pt x="3784" y="8518"/>
                    <a:pt x="3788" y="8533"/>
                    <a:pt x="3793" y="8547"/>
                  </a:cubicBezTo>
                  <a:lnTo>
                    <a:pt x="3797" y="8547"/>
                  </a:lnTo>
                  <a:cubicBezTo>
                    <a:pt x="3805" y="8550"/>
                    <a:pt x="3812" y="8553"/>
                    <a:pt x="3820" y="8556"/>
                  </a:cubicBezTo>
                  <a:cubicBezTo>
                    <a:pt x="3825" y="8562"/>
                    <a:pt x="3829" y="8567"/>
                    <a:pt x="3834" y="8573"/>
                  </a:cubicBezTo>
                  <a:lnTo>
                    <a:pt x="3853" y="8573"/>
                  </a:lnTo>
                  <a:cubicBezTo>
                    <a:pt x="3854" y="8567"/>
                    <a:pt x="3856" y="8562"/>
                    <a:pt x="3857" y="8556"/>
                  </a:cubicBezTo>
                  <a:lnTo>
                    <a:pt x="3866" y="8547"/>
                  </a:lnTo>
                  <a:cubicBezTo>
                    <a:pt x="3871" y="8541"/>
                    <a:pt x="3875" y="8536"/>
                    <a:pt x="3880" y="8530"/>
                  </a:cubicBezTo>
                  <a:cubicBezTo>
                    <a:pt x="3882" y="8536"/>
                    <a:pt x="3883" y="8541"/>
                    <a:pt x="3885" y="8547"/>
                  </a:cubicBezTo>
                  <a:lnTo>
                    <a:pt x="3885" y="8573"/>
                  </a:lnTo>
                  <a:lnTo>
                    <a:pt x="3899" y="8573"/>
                  </a:lnTo>
                  <a:cubicBezTo>
                    <a:pt x="3902" y="8584"/>
                    <a:pt x="3905" y="8596"/>
                    <a:pt x="3908" y="8607"/>
                  </a:cubicBezTo>
                  <a:cubicBezTo>
                    <a:pt x="3909" y="8610"/>
                    <a:pt x="3911" y="8612"/>
                    <a:pt x="3912" y="8615"/>
                  </a:cubicBezTo>
                  <a:cubicBezTo>
                    <a:pt x="3915" y="8621"/>
                    <a:pt x="3919" y="8626"/>
                    <a:pt x="3922" y="8632"/>
                  </a:cubicBezTo>
                  <a:cubicBezTo>
                    <a:pt x="3917" y="8652"/>
                    <a:pt x="3913" y="8672"/>
                    <a:pt x="3908" y="8692"/>
                  </a:cubicBezTo>
                  <a:lnTo>
                    <a:pt x="3908" y="8692"/>
                  </a:lnTo>
                  <a:cubicBezTo>
                    <a:pt x="3916" y="8698"/>
                    <a:pt x="3923" y="8703"/>
                    <a:pt x="3931" y="8709"/>
                  </a:cubicBezTo>
                  <a:cubicBezTo>
                    <a:pt x="3939" y="8695"/>
                    <a:pt x="3946" y="8681"/>
                    <a:pt x="3954" y="8667"/>
                  </a:cubicBezTo>
                  <a:lnTo>
                    <a:pt x="3959" y="8667"/>
                  </a:lnTo>
                  <a:cubicBezTo>
                    <a:pt x="3963" y="8650"/>
                    <a:pt x="3968" y="8632"/>
                    <a:pt x="3972" y="8615"/>
                  </a:cubicBezTo>
                  <a:cubicBezTo>
                    <a:pt x="3980" y="8604"/>
                    <a:pt x="3987" y="8592"/>
                    <a:pt x="3995" y="8581"/>
                  </a:cubicBezTo>
                  <a:lnTo>
                    <a:pt x="4032" y="8556"/>
                  </a:lnTo>
                  <a:cubicBezTo>
                    <a:pt x="4067" y="8510"/>
                    <a:pt x="4103" y="8465"/>
                    <a:pt x="4138" y="8419"/>
                  </a:cubicBezTo>
                  <a:lnTo>
                    <a:pt x="4249" y="8359"/>
                  </a:lnTo>
                  <a:cubicBezTo>
                    <a:pt x="4264" y="8368"/>
                    <a:pt x="4280" y="8376"/>
                    <a:pt x="4295" y="8385"/>
                  </a:cubicBezTo>
                  <a:cubicBezTo>
                    <a:pt x="4300" y="8393"/>
                    <a:pt x="4304" y="8402"/>
                    <a:pt x="4309" y="8410"/>
                  </a:cubicBezTo>
                  <a:cubicBezTo>
                    <a:pt x="4324" y="8404"/>
                    <a:pt x="4340" y="8399"/>
                    <a:pt x="4355" y="8393"/>
                  </a:cubicBezTo>
                  <a:lnTo>
                    <a:pt x="4382" y="8393"/>
                  </a:lnTo>
                  <a:cubicBezTo>
                    <a:pt x="4394" y="8424"/>
                    <a:pt x="4407" y="8456"/>
                    <a:pt x="4419" y="8487"/>
                  </a:cubicBezTo>
                  <a:lnTo>
                    <a:pt x="4442" y="8487"/>
                  </a:lnTo>
                  <a:cubicBezTo>
                    <a:pt x="4459" y="8481"/>
                    <a:pt x="4476" y="8476"/>
                    <a:pt x="4493" y="8470"/>
                  </a:cubicBezTo>
                  <a:cubicBezTo>
                    <a:pt x="4501" y="8476"/>
                    <a:pt x="4508" y="8481"/>
                    <a:pt x="4516" y="8487"/>
                  </a:cubicBezTo>
                  <a:lnTo>
                    <a:pt x="4608" y="8470"/>
                  </a:lnTo>
                  <a:lnTo>
                    <a:pt x="4622" y="8470"/>
                  </a:lnTo>
                  <a:cubicBezTo>
                    <a:pt x="4621" y="8453"/>
                    <a:pt x="4619" y="8436"/>
                    <a:pt x="4618" y="8419"/>
                  </a:cubicBezTo>
                  <a:cubicBezTo>
                    <a:pt x="4619" y="8408"/>
                    <a:pt x="4621" y="8396"/>
                    <a:pt x="4622" y="8385"/>
                  </a:cubicBezTo>
                  <a:cubicBezTo>
                    <a:pt x="4627" y="8373"/>
                    <a:pt x="4631" y="8362"/>
                    <a:pt x="4636" y="8350"/>
                  </a:cubicBezTo>
                  <a:lnTo>
                    <a:pt x="4636" y="8325"/>
                  </a:lnTo>
                  <a:cubicBezTo>
                    <a:pt x="4631" y="8311"/>
                    <a:pt x="4627" y="8296"/>
                    <a:pt x="4622" y="8282"/>
                  </a:cubicBezTo>
                  <a:cubicBezTo>
                    <a:pt x="4621" y="8271"/>
                    <a:pt x="4619" y="8259"/>
                    <a:pt x="4618" y="8248"/>
                  </a:cubicBezTo>
                  <a:lnTo>
                    <a:pt x="4618" y="8214"/>
                  </a:lnTo>
                  <a:cubicBezTo>
                    <a:pt x="4642" y="8168"/>
                    <a:pt x="4667" y="8123"/>
                    <a:pt x="4691" y="8077"/>
                  </a:cubicBezTo>
                  <a:cubicBezTo>
                    <a:pt x="4694" y="8071"/>
                    <a:pt x="4697" y="8066"/>
                    <a:pt x="4700" y="8060"/>
                  </a:cubicBezTo>
                  <a:cubicBezTo>
                    <a:pt x="4709" y="8066"/>
                    <a:pt x="4719" y="8071"/>
                    <a:pt x="4728" y="8077"/>
                  </a:cubicBezTo>
                  <a:cubicBezTo>
                    <a:pt x="4736" y="8083"/>
                    <a:pt x="4743" y="8088"/>
                    <a:pt x="4751" y="8094"/>
                  </a:cubicBezTo>
                  <a:cubicBezTo>
                    <a:pt x="4763" y="8103"/>
                    <a:pt x="4776" y="8111"/>
                    <a:pt x="4788" y="8120"/>
                  </a:cubicBezTo>
                  <a:cubicBezTo>
                    <a:pt x="4793" y="8134"/>
                    <a:pt x="4797" y="8148"/>
                    <a:pt x="4802" y="8162"/>
                  </a:cubicBezTo>
                  <a:lnTo>
                    <a:pt x="4885" y="8197"/>
                  </a:lnTo>
                  <a:cubicBezTo>
                    <a:pt x="4886" y="8208"/>
                    <a:pt x="4888" y="8220"/>
                    <a:pt x="4889" y="8231"/>
                  </a:cubicBezTo>
                  <a:cubicBezTo>
                    <a:pt x="4892" y="8265"/>
                    <a:pt x="4896" y="8299"/>
                    <a:pt x="4899" y="8333"/>
                  </a:cubicBezTo>
                  <a:lnTo>
                    <a:pt x="4903" y="8333"/>
                  </a:lnTo>
                  <a:cubicBezTo>
                    <a:pt x="4918" y="8359"/>
                    <a:pt x="4934" y="8384"/>
                    <a:pt x="4949" y="8410"/>
                  </a:cubicBezTo>
                  <a:cubicBezTo>
                    <a:pt x="4963" y="8419"/>
                    <a:pt x="4977" y="8427"/>
                    <a:pt x="4991" y="8436"/>
                  </a:cubicBezTo>
                  <a:cubicBezTo>
                    <a:pt x="5002" y="8430"/>
                    <a:pt x="5012" y="8425"/>
                    <a:pt x="5023" y="8419"/>
                  </a:cubicBezTo>
                  <a:lnTo>
                    <a:pt x="5092" y="8359"/>
                  </a:lnTo>
                  <a:lnTo>
                    <a:pt x="5180" y="8410"/>
                  </a:lnTo>
                  <a:cubicBezTo>
                    <a:pt x="5183" y="8419"/>
                    <a:pt x="5186" y="8427"/>
                    <a:pt x="5189" y="8436"/>
                  </a:cubicBezTo>
                  <a:lnTo>
                    <a:pt x="5198" y="8436"/>
                  </a:lnTo>
                  <a:cubicBezTo>
                    <a:pt x="5207" y="8453"/>
                    <a:pt x="5217" y="8470"/>
                    <a:pt x="5226" y="8487"/>
                  </a:cubicBezTo>
                  <a:cubicBezTo>
                    <a:pt x="5243" y="8493"/>
                    <a:pt x="5259" y="8498"/>
                    <a:pt x="5276" y="8504"/>
                  </a:cubicBezTo>
                  <a:cubicBezTo>
                    <a:pt x="5281" y="8521"/>
                    <a:pt x="5285" y="8539"/>
                    <a:pt x="5290" y="8556"/>
                  </a:cubicBezTo>
                  <a:lnTo>
                    <a:pt x="5323" y="8598"/>
                  </a:lnTo>
                  <a:lnTo>
                    <a:pt x="5447" y="8615"/>
                  </a:lnTo>
                  <a:cubicBezTo>
                    <a:pt x="5453" y="8621"/>
                    <a:pt x="5459" y="8626"/>
                    <a:pt x="5465" y="8632"/>
                  </a:cubicBezTo>
                  <a:lnTo>
                    <a:pt x="5604" y="8556"/>
                  </a:lnTo>
                  <a:lnTo>
                    <a:pt x="5677" y="8462"/>
                  </a:lnTo>
                  <a:cubicBezTo>
                    <a:pt x="5686" y="8456"/>
                    <a:pt x="5696" y="8450"/>
                    <a:pt x="5705" y="8444"/>
                  </a:cubicBezTo>
                  <a:lnTo>
                    <a:pt x="5737" y="8470"/>
                  </a:lnTo>
                  <a:lnTo>
                    <a:pt x="5760" y="8496"/>
                  </a:lnTo>
                  <a:cubicBezTo>
                    <a:pt x="5769" y="8499"/>
                    <a:pt x="5779" y="8501"/>
                    <a:pt x="5788" y="8504"/>
                  </a:cubicBezTo>
                  <a:cubicBezTo>
                    <a:pt x="5794" y="8501"/>
                    <a:pt x="5800" y="8499"/>
                    <a:pt x="5806" y="8496"/>
                  </a:cubicBezTo>
                  <a:cubicBezTo>
                    <a:pt x="5811" y="8493"/>
                    <a:pt x="5815" y="8490"/>
                    <a:pt x="5820" y="8487"/>
                  </a:cubicBezTo>
                  <a:lnTo>
                    <a:pt x="5825" y="8487"/>
                  </a:lnTo>
                  <a:lnTo>
                    <a:pt x="5825" y="8487"/>
                  </a:lnTo>
                  <a:lnTo>
                    <a:pt x="5926" y="8556"/>
                  </a:lnTo>
                  <a:lnTo>
                    <a:pt x="5940" y="8556"/>
                  </a:lnTo>
                  <a:lnTo>
                    <a:pt x="6014" y="8470"/>
                  </a:lnTo>
                  <a:cubicBezTo>
                    <a:pt x="6015" y="8461"/>
                    <a:pt x="6017" y="8453"/>
                    <a:pt x="6018" y="8444"/>
                  </a:cubicBezTo>
                  <a:cubicBezTo>
                    <a:pt x="6017" y="8436"/>
                    <a:pt x="6015" y="8427"/>
                    <a:pt x="6014" y="8419"/>
                  </a:cubicBezTo>
                  <a:cubicBezTo>
                    <a:pt x="6015" y="8410"/>
                    <a:pt x="6017" y="8402"/>
                    <a:pt x="6018" y="8393"/>
                  </a:cubicBezTo>
                  <a:cubicBezTo>
                    <a:pt x="6026" y="8373"/>
                    <a:pt x="6033" y="8353"/>
                    <a:pt x="6041" y="8333"/>
                  </a:cubicBezTo>
                  <a:cubicBezTo>
                    <a:pt x="6050" y="8285"/>
                    <a:pt x="6060" y="8236"/>
                    <a:pt x="6069" y="8188"/>
                  </a:cubicBezTo>
                  <a:cubicBezTo>
                    <a:pt x="6075" y="8179"/>
                    <a:pt x="6082" y="8171"/>
                    <a:pt x="6088" y="8162"/>
                  </a:cubicBezTo>
                  <a:cubicBezTo>
                    <a:pt x="6097" y="8139"/>
                    <a:pt x="6106" y="8117"/>
                    <a:pt x="6115" y="8094"/>
                  </a:cubicBezTo>
                  <a:lnTo>
                    <a:pt x="6115" y="8094"/>
                  </a:lnTo>
                  <a:cubicBezTo>
                    <a:pt x="6112" y="8088"/>
                    <a:pt x="6109" y="8083"/>
                    <a:pt x="6106" y="8077"/>
                  </a:cubicBezTo>
                  <a:lnTo>
                    <a:pt x="6106" y="8009"/>
                  </a:lnTo>
                  <a:cubicBezTo>
                    <a:pt x="6104" y="8006"/>
                    <a:pt x="6103" y="8003"/>
                    <a:pt x="6101" y="8000"/>
                  </a:cubicBezTo>
                  <a:lnTo>
                    <a:pt x="6069" y="8009"/>
                  </a:lnTo>
                  <a:lnTo>
                    <a:pt x="6069" y="8000"/>
                  </a:lnTo>
                  <a:lnTo>
                    <a:pt x="6069" y="7974"/>
                  </a:lnTo>
                  <a:cubicBezTo>
                    <a:pt x="6080" y="7957"/>
                    <a:pt x="6090" y="7940"/>
                    <a:pt x="6101" y="7923"/>
                  </a:cubicBezTo>
                  <a:cubicBezTo>
                    <a:pt x="6103" y="7912"/>
                    <a:pt x="6104" y="7900"/>
                    <a:pt x="6106" y="7889"/>
                  </a:cubicBezTo>
                  <a:lnTo>
                    <a:pt x="6129" y="7863"/>
                  </a:lnTo>
                  <a:lnTo>
                    <a:pt x="6300" y="7812"/>
                  </a:lnTo>
                  <a:cubicBezTo>
                    <a:pt x="6320" y="7832"/>
                    <a:pt x="6339" y="7852"/>
                    <a:pt x="6359" y="7872"/>
                  </a:cubicBezTo>
                  <a:cubicBezTo>
                    <a:pt x="6364" y="7878"/>
                    <a:pt x="6368" y="7883"/>
                    <a:pt x="6373" y="7889"/>
                  </a:cubicBezTo>
                  <a:lnTo>
                    <a:pt x="6401" y="7889"/>
                  </a:lnTo>
                  <a:lnTo>
                    <a:pt x="6433" y="7915"/>
                  </a:lnTo>
                  <a:cubicBezTo>
                    <a:pt x="6442" y="7935"/>
                    <a:pt x="6452" y="7954"/>
                    <a:pt x="6461" y="7974"/>
                  </a:cubicBezTo>
                  <a:lnTo>
                    <a:pt x="6461" y="8000"/>
                  </a:lnTo>
                  <a:cubicBezTo>
                    <a:pt x="6469" y="8011"/>
                    <a:pt x="6476" y="8023"/>
                    <a:pt x="6484" y="8034"/>
                  </a:cubicBezTo>
                  <a:lnTo>
                    <a:pt x="6484" y="8051"/>
                  </a:lnTo>
                  <a:lnTo>
                    <a:pt x="6484" y="8034"/>
                  </a:lnTo>
                  <a:cubicBezTo>
                    <a:pt x="6509" y="8171"/>
                    <a:pt x="6533" y="8307"/>
                    <a:pt x="6558" y="8444"/>
                  </a:cubicBezTo>
                  <a:lnTo>
                    <a:pt x="6558" y="8462"/>
                  </a:lnTo>
                  <a:lnTo>
                    <a:pt x="6558" y="8462"/>
                  </a:lnTo>
                  <a:cubicBezTo>
                    <a:pt x="6559" y="8490"/>
                    <a:pt x="6561" y="8519"/>
                    <a:pt x="6562" y="8547"/>
                  </a:cubicBezTo>
                  <a:cubicBezTo>
                    <a:pt x="6567" y="8556"/>
                    <a:pt x="6571" y="8564"/>
                    <a:pt x="6576" y="8573"/>
                  </a:cubicBezTo>
                  <a:cubicBezTo>
                    <a:pt x="6585" y="8576"/>
                    <a:pt x="6595" y="8578"/>
                    <a:pt x="6604" y="8581"/>
                  </a:cubicBezTo>
                  <a:cubicBezTo>
                    <a:pt x="6613" y="8573"/>
                    <a:pt x="6622" y="8564"/>
                    <a:pt x="6631" y="8556"/>
                  </a:cubicBezTo>
                  <a:lnTo>
                    <a:pt x="6691" y="8607"/>
                  </a:lnTo>
                  <a:cubicBezTo>
                    <a:pt x="6703" y="8627"/>
                    <a:pt x="6716" y="8647"/>
                    <a:pt x="6728" y="8667"/>
                  </a:cubicBezTo>
                  <a:cubicBezTo>
                    <a:pt x="6733" y="8673"/>
                    <a:pt x="6737" y="8678"/>
                    <a:pt x="6742" y="8684"/>
                  </a:cubicBezTo>
                  <a:lnTo>
                    <a:pt x="6765" y="8684"/>
                  </a:lnTo>
                  <a:lnTo>
                    <a:pt x="6765" y="8709"/>
                  </a:lnTo>
                  <a:lnTo>
                    <a:pt x="6765" y="8709"/>
                  </a:lnTo>
                  <a:lnTo>
                    <a:pt x="6770" y="8709"/>
                  </a:lnTo>
                  <a:lnTo>
                    <a:pt x="6770" y="8744"/>
                  </a:lnTo>
                  <a:cubicBezTo>
                    <a:pt x="6773" y="8752"/>
                    <a:pt x="6776" y="8761"/>
                    <a:pt x="6779" y="8769"/>
                  </a:cubicBezTo>
                  <a:lnTo>
                    <a:pt x="6779" y="8846"/>
                  </a:lnTo>
                  <a:lnTo>
                    <a:pt x="6797" y="8906"/>
                  </a:lnTo>
                  <a:lnTo>
                    <a:pt x="6816" y="8906"/>
                  </a:lnTo>
                  <a:lnTo>
                    <a:pt x="6843" y="8915"/>
                  </a:lnTo>
                  <a:cubicBezTo>
                    <a:pt x="6849" y="8912"/>
                    <a:pt x="6856" y="8909"/>
                    <a:pt x="6862" y="8906"/>
                  </a:cubicBezTo>
                  <a:cubicBezTo>
                    <a:pt x="6886" y="8880"/>
                    <a:pt x="6911" y="8855"/>
                    <a:pt x="6935" y="8829"/>
                  </a:cubicBezTo>
                  <a:lnTo>
                    <a:pt x="6963" y="8829"/>
                  </a:lnTo>
                  <a:lnTo>
                    <a:pt x="7046" y="8769"/>
                  </a:lnTo>
                  <a:lnTo>
                    <a:pt x="7046" y="8769"/>
                  </a:lnTo>
                  <a:cubicBezTo>
                    <a:pt x="7041" y="8780"/>
                    <a:pt x="7037" y="8792"/>
                    <a:pt x="7032" y="8803"/>
                  </a:cubicBezTo>
                  <a:lnTo>
                    <a:pt x="7032" y="8846"/>
                  </a:lnTo>
                  <a:cubicBezTo>
                    <a:pt x="7034" y="8857"/>
                    <a:pt x="7035" y="8869"/>
                    <a:pt x="7037" y="8880"/>
                  </a:cubicBezTo>
                  <a:lnTo>
                    <a:pt x="7037" y="8932"/>
                  </a:lnTo>
                  <a:cubicBezTo>
                    <a:pt x="7026" y="8949"/>
                    <a:pt x="7016" y="8966"/>
                    <a:pt x="7005" y="8983"/>
                  </a:cubicBezTo>
                  <a:cubicBezTo>
                    <a:pt x="6996" y="9051"/>
                    <a:pt x="6986" y="9120"/>
                    <a:pt x="6977" y="9188"/>
                  </a:cubicBezTo>
                  <a:cubicBezTo>
                    <a:pt x="6963" y="9231"/>
                    <a:pt x="6949" y="9273"/>
                    <a:pt x="6935" y="9316"/>
                  </a:cubicBezTo>
                  <a:cubicBezTo>
                    <a:pt x="6934" y="9333"/>
                    <a:pt x="6932" y="9351"/>
                    <a:pt x="6931" y="9368"/>
                  </a:cubicBezTo>
                  <a:cubicBezTo>
                    <a:pt x="6926" y="9371"/>
                    <a:pt x="6922" y="9373"/>
                    <a:pt x="6917" y="9376"/>
                  </a:cubicBezTo>
                  <a:lnTo>
                    <a:pt x="6912" y="9376"/>
                  </a:lnTo>
                  <a:lnTo>
                    <a:pt x="6848" y="9342"/>
                  </a:lnTo>
                  <a:cubicBezTo>
                    <a:pt x="6828" y="9373"/>
                    <a:pt x="6808" y="9405"/>
                    <a:pt x="6788" y="9436"/>
                  </a:cubicBezTo>
                  <a:cubicBezTo>
                    <a:pt x="6793" y="9445"/>
                    <a:pt x="6797" y="9453"/>
                    <a:pt x="6802" y="9462"/>
                  </a:cubicBezTo>
                  <a:cubicBezTo>
                    <a:pt x="6805" y="9530"/>
                    <a:pt x="6808" y="9599"/>
                    <a:pt x="6811" y="9667"/>
                  </a:cubicBezTo>
                  <a:cubicBezTo>
                    <a:pt x="6803" y="9681"/>
                    <a:pt x="6796" y="9695"/>
                    <a:pt x="6788" y="9709"/>
                  </a:cubicBezTo>
                  <a:cubicBezTo>
                    <a:pt x="6780" y="9723"/>
                    <a:pt x="6773" y="9738"/>
                    <a:pt x="6765" y="9752"/>
                  </a:cubicBezTo>
                  <a:lnTo>
                    <a:pt x="6765" y="9803"/>
                  </a:lnTo>
                  <a:cubicBezTo>
                    <a:pt x="6767" y="9809"/>
                    <a:pt x="6768" y="9815"/>
                    <a:pt x="6770" y="9821"/>
                  </a:cubicBezTo>
                  <a:lnTo>
                    <a:pt x="6779" y="9812"/>
                  </a:lnTo>
                  <a:lnTo>
                    <a:pt x="6779" y="9803"/>
                  </a:lnTo>
                  <a:cubicBezTo>
                    <a:pt x="6776" y="9797"/>
                    <a:pt x="6773" y="9792"/>
                    <a:pt x="6770" y="9786"/>
                  </a:cubicBezTo>
                  <a:lnTo>
                    <a:pt x="6811" y="9786"/>
                  </a:lnTo>
                  <a:cubicBezTo>
                    <a:pt x="6813" y="9778"/>
                    <a:pt x="6814" y="9769"/>
                    <a:pt x="6816" y="9761"/>
                  </a:cubicBezTo>
                  <a:lnTo>
                    <a:pt x="6825" y="9752"/>
                  </a:lnTo>
                  <a:lnTo>
                    <a:pt x="6825" y="9726"/>
                  </a:lnTo>
                  <a:cubicBezTo>
                    <a:pt x="6831" y="9718"/>
                    <a:pt x="6837" y="9709"/>
                    <a:pt x="6843" y="9701"/>
                  </a:cubicBezTo>
                  <a:cubicBezTo>
                    <a:pt x="6845" y="9684"/>
                    <a:pt x="6846" y="9667"/>
                    <a:pt x="6848" y="9650"/>
                  </a:cubicBezTo>
                  <a:lnTo>
                    <a:pt x="6848" y="9675"/>
                  </a:lnTo>
                  <a:lnTo>
                    <a:pt x="6862" y="9675"/>
                  </a:lnTo>
                  <a:cubicBezTo>
                    <a:pt x="6860" y="9684"/>
                    <a:pt x="6859" y="9692"/>
                    <a:pt x="6857" y="9701"/>
                  </a:cubicBezTo>
                  <a:lnTo>
                    <a:pt x="6857" y="9701"/>
                  </a:lnTo>
                  <a:cubicBezTo>
                    <a:pt x="6863" y="9695"/>
                    <a:pt x="6870" y="9690"/>
                    <a:pt x="6876" y="9684"/>
                  </a:cubicBezTo>
                  <a:lnTo>
                    <a:pt x="6885" y="9675"/>
                  </a:lnTo>
                  <a:lnTo>
                    <a:pt x="6876" y="9735"/>
                  </a:lnTo>
                  <a:cubicBezTo>
                    <a:pt x="6879" y="9741"/>
                    <a:pt x="6882" y="9746"/>
                    <a:pt x="6885" y="9752"/>
                  </a:cubicBezTo>
                  <a:lnTo>
                    <a:pt x="6903" y="9752"/>
                  </a:lnTo>
                  <a:cubicBezTo>
                    <a:pt x="6908" y="9755"/>
                    <a:pt x="6912" y="9758"/>
                    <a:pt x="6917" y="9761"/>
                  </a:cubicBezTo>
                  <a:lnTo>
                    <a:pt x="6917" y="9761"/>
                  </a:lnTo>
                  <a:cubicBezTo>
                    <a:pt x="6919" y="9767"/>
                    <a:pt x="6920" y="9772"/>
                    <a:pt x="6922" y="9778"/>
                  </a:cubicBezTo>
                  <a:lnTo>
                    <a:pt x="6945" y="9778"/>
                  </a:lnTo>
                  <a:cubicBezTo>
                    <a:pt x="6954" y="9769"/>
                    <a:pt x="6963" y="9761"/>
                    <a:pt x="6972" y="9752"/>
                  </a:cubicBezTo>
                  <a:lnTo>
                    <a:pt x="6977" y="9752"/>
                  </a:lnTo>
                  <a:lnTo>
                    <a:pt x="7069" y="9624"/>
                  </a:lnTo>
                  <a:cubicBezTo>
                    <a:pt x="7078" y="9598"/>
                    <a:pt x="7088" y="9573"/>
                    <a:pt x="7097" y="9547"/>
                  </a:cubicBezTo>
                  <a:cubicBezTo>
                    <a:pt x="7100" y="9541"/>
                    <a:pt x="7103" y="9536"/>
                    <a:pt x="7106" y="9530"/>
                  </a:cubicBezTo>
                  <a:lnTo>
                    <a:pt x="7124" y="9479"/>
                  </a:lnTo>
                  <a:cubicBezTo>
                    <a:pt x="7129" y="9473"/>
                    <a:pt x="7133" y="9468"/>
                    <a:pt x="7138" y="9462"/>
                  </a:cubicBezTo>
                  <a:lnTo>
                    <a:pt x="7378" y="8795"/>
                  </a:lnTo>
                  <a:lnTo>
                    <a:pt x="7392" y="8795"/>
                  </a:lnTo>
                  <a:cubicBezTo>
                    <a:pt x="7395" y="8786"/>
                    <a:pt x="7398" y="8778"/>
                    <a:pt x="7401" y="8769"/>
                  </a:cubicBezTo>
                  <a:cubicBezTo>
                    <a:pt x="7403" y="8743"/>
                    <a:pt x="7404" y="8718"/>
                    <a:pt x="7406" y="8692"/>
                  </a:cubicBezTo>
                  <a:lnTo>
                    <a:pt x="7406" y="8667"/>
                  </a:lnTo>
                  <a:cubicBezTo>
                    <a:pt x="7410" y="8644"/>
                    <a:pt x="7415" y="8621"/>
                    <a:pt x="7419" y="8598"/>
                  </a:cubicBezTo>
                  <a:lnTo>
                    <a:pt x="7419" y="8496"/>
                  </a:lnTo>
                  <a:cubicBezTo>
                    <a:pt x="7421" y="8487"/>
                    <a:pt x="7422" y="8479"/>
                    <a:pt x="7424" y="8470"/>
                  </a:cubicBezTo>
                  <a:lnTo>
                    <a:pt x="7424" y="8462"/>
                  </a:lnTo>
                  <a:lnTo>
                    <a:pt x="7419" y="8462"/>
                  </a:lnTo>
                  <a:cubicBezTo>
                    <a:pt x="7416" y="8425"/>
                    <a:pt x="7413" y="8387"/>
                    <a:pt x="7410" y="8350"/>
                  </a:cubicBezTo>
                  <a:cubicBezTo>
                    <a:pt x="7413" y="8342"/>
                    <a:pt x="7416" y="8333"/>
                    <a:pt x="7419" y="8325"/>
                  </a:cubicBezTo>
                  <a:cubicBezTo>
                    <a:pt x="7421" y="8299"/>
                    <a:pt x="7422" y="8274"/>
                    <a:pt x="7424" y="8248"/>
                  </a:cubicBezTo>
                  <a:lnTo>
                    <a:pt x="7433" y="8248"/>
                  </a:lnTo>
                  <a:lnTo>
                    <a:pt x="7433" y="8231"/>
                  </a:lnTo>
                  <a:lnTo>
                    <a:pt x="7433" y="8222"/>
                  </a:lnTo>
                  <a:lnTo>
                    <a:pt x="7433" y="8214"/>
                  </a:lnTo>
                  <a:cubicBezTo>
                    <a:pt x="7438" y="8197"/>
                    <a:pt x="7442" y="8179"/>
                    <a:pt x="7447" y="8162"/>
                  </a:cubicBezTo>
                  <a:lnTo>
                    <a:pt x="7461" y="8162"/>
                  </a:lnTo>
                  <a:cubicBezTo>
                    <a:pt x="7466" y="8145"/>
                    <a:pt x="7470" y="8128"/>
                    <a:pt x="7475" y="8111"/>
                  </a:cubicBezTo>
                  <a:lnTo>
                    <a:pt x="7475" y="8085"/>
                  </a:lnTo>
                  <a:cubicBezTo>
                    <a:pt x="7476" y="8077"/>
                    <a:pt x="7478" y="8068"/>
                    <a:pt x="7479" y="8060"/>
                  </a:cubicBezTo>
                  <a:lnTo>
                    <a:pt x="7452" y="8009"/>
                  </a:lnTo>
                  <a:cubicBezTo>
                    <a:pt x="7456" y="7997"/>
                    <a:pt x="7461" y="7986"/>
                    <a:pt x="7465" y="7974"/>
                  </a:cubicBezTo>
                  <a:cubicBezTo>
                    <a:pt x="7461" y="7957"/>
                    <a:pt x="7456" y="7940"/>
                    <a:pt x="7452" y="7923"/>
                  </a:cubicBezTo>
                  <a:cubicBezTo>
                    <a:pt x="7446" y="7912"/>
                    <a:pt x="7439" y="7900"/>
                    <a:pt x="7433" y="7889"/>
                  </a:cubicBezTo>
                  <a:lnTo>
                    <a:pt x="7419" y="7889"/>
                  </a:lnTo>
                  <a:cubicBezTo>
                    <a:pt x="7413" y="7880"/>
                    <a:pt x="7407" y="7872"/>
                    <a:pt x="7401" y="7863"/>
                  </a:cubicBezTo>
                  <a:lnTo>
                    <a:pt x="7387" y="7863"/>
                  </a:lnTo>
                  <a:lnTo>
                    <a:pt x="7373" y="7863"/>
                  </a:lnTo>
                  <a:cubicBezTo>
                    <a:pt x="7378" y="7857"/>
                    <a:pt x="7382" y="7852"/>
                    <a:pt x="7387" y="7846"/>
                  </a:cubicBezTo>
                  <a:lnTo>
                    <a:pt x="7401" y="7846"/>
                  </a:lnTo>
                  <a:cubicBezTo>
                    <a:pt x="7404" y="7852"/>
                    <a:pt x="7407" y="7857"/>
                    <a:pt x="7410" y="7863"/>
                  </a:cubicBezTo>
                  <a:cubicBezTo>
                    <a:pt x="7415" y="7866"/>
                    <a:pt x="7419" y="7869"/>
                    <a:pt x="7424" y="7872"/>
                  </a:cubicBezTo>
                  <a:lnTo>
                    <a:pt x="7433" y="7863"/>
                  </a:lnTo>
                  <a:lnTo>
                    <a:pt x="7461" y="7897"/>
                  </a:lnTo>
                  <a:cubicBezTo>
                    <a:pt x="7462" y="7894"/>
                    <a:pt x="7464" y="7892"/>
                    <a:pt x="7465" y="7889"/>
                  </a:cubicBezTo>
                  <a:cubicBezTo>
                    <a:pt x="7468" y="7880"/>
                    <a:pt x="7472" y="7872"/>
                    <a:pt x="7475" y="7863"/>
                  </a:cubicBezTo>
                  <a:lnTo>
                    <a:pt x="7475" y="7838"/>
                  </a:lnTo>
                  <a:lnTo>
                    <a:pt x="7465" y="7838"/>
                  </a:lnTo>
                  <a:lnTo>
                    <a:pt x="7406" y="7752"/>
                  </a:lnTo>
                  <a:cubicBezTo>
                    <a:pt x="7404" y="7746"/>
                    <a:pt x="7403" y="7741"/>
                    <a:pt x="7401" y="7735"/>
                  </a:cubicBezTo>
                  <a:lnTo>
                    <a:pt x="7401" y="7701"/>
                  </a:lnTo>
                  <a:lnTo>
                    <a:pt x="7378" y="7675"/>
                  </a:lnTo>
                  <a:cubicBezTo>
                    <a:pt x="7376" y="7672"/>
                    <a:pt x="7375" y="7670"/>
                    <a:pt x="7373" y="7667"/>
                  </a:cubicBezTo>
                  <a:cubicBezTo>
                    <a:pt x="7370" y="7661"/>
                    <a:pt x="7367" y="7656"/>
                    <a:pt x="7364" y="7650"/>
                  </a:cubicBezTo>
                  <a:lnTo>
                    <a:pt x="7364" y="7641"/>
                  </a:lnTo>
                  <a:lnTo>
                    <a:pt x="7350" y="7641"/>
                  </a:lnTo>
                  <a:cubicBezTo>
                    <a:pt x="7345" y="7644"/>
                    <a:pt x="7341" y="7647"/>
                    <a:pt x="7336" y="7650"/>
                  </a:cubicBezTo>
                  <a:lnTo>
                    <a:pt x="7327" y="7650"/>
                  </a:lnTo>
                  <a:lnTo>
                    <a:pt x="7300" y="7641"/>
                  </a:lnTo>
                  <a:lnTo>
                    <a:pt x="7300" y="7675"/>
                  </a:lnTo>
                  <a:lnTo>
                    <a:pt x="7300" y="7692"/>
                  </a:lnTo>
                  <a:cubicBezTo>
                    <a:pt x="7295" y="7723"/>
                    <a:pt x="7291" y="7755"/>
                    <a:pt x="7286" y="7786"/>
                  </a:cubicBezTo>
                  <a:cubicBezTo>
                    <a:pt x="7281" y="7792"/>
                    <a:pt x="7277" y="7797"/>
                    <a:pt x="7272" y="7803"/>
                  </a:cubicBezTo>
                  <a:cubicBezTo>
                    <a:pt x="7273" y="7789"/>
                    <a:pt x="7275" y="7775"/>
                    <a:pt x="7276" y="7761"/>
                  </a:cubicBezTo>
                  <a:cubicBezTo>
                    <a:pt x="7279" y="7752"/>
                    <a:pt x="7283" y="7744"/>
                    <a:pt x="7286" y="7735"/>
                  </a:cubicBezTo>
                  <a:cubicBezTo>
                    <a:pt x="7283" y="7726"/>
                    <a:pt x="7279" y="7718"/>
                    <a:pt x="7276" y="7709"/>
                  </a:cubicBezTo>
                  <a:cubicBezTo>
                    <a:pt x="7270" y="7726"/>
                    <a:pt x="7264" y="7744"/>
                    <a:pt x="7258" y="7761"/>
                  </a:cubicBezTo>
                  <a:cubicBezTo>
                    <a:pt x="7244" y="7769"/>
                    <a:pt x="7231" y="7778"/>
                    <a:pt x="7217" y="7786"/>
                  </a:cubicBezTo>
                  <a:lnTo>
                    <a:pt x="7203" y="7786"/>
                  </a:lnTo>
                  <a:cubicBezTo>
                    <a:pt x="7201" y="7783"/>
                    <a:pt x="7200" y="7781"/>
                    <a:pt x="7198" y="7778"/>
                  </a:cubicBezTo>
                  <a:cubicBezTo>
                    <a:pt x="7203" y="7772"/>
                    <a:pt x="7207" y="7767"/>
                    <a:pt x="7212" y="7761"/>
                  </a:cubicBezTo>
                  <a:cubicBezTo>
                    <a:pt x="7218" y="7749"/>
                    <a:pt x="7224" y="7738"/>
                    <a:pt x="7230" y="7726"/>
                  </a:cubicBezTo>
                  <a:cubicBezTo>
                    <a:pt x="7229" y="7720"/>
                    <a:pt x="7227" y="7715"/>
                    <a:pt x="7226" y="7709"/>
                  </a:cubicBezTo>
                  <a:cubicBezTo>
                    <a:pt x="7221" y="7706"/>
                    <a:pt x="7217" y="7704"/>
                    <a:pt x="7212" y="7701"/>
                  </a:cubicBezTo>
                  <a:cubicBezTo>
                    <a:pt x="7209" y="7692"/>
                    <a:pt x="7206" y="7684"/>
                    <a:pt x="7203" y="7675"/>
                  </a:cubicBezTo>
                  <a:lnTo>
                    <a:pt x="7217" y="7675"/>
                  </a:lnTo>
                  <a:cubicBezTo>
                    <a:pt x="7220" y="7667"/>
                    <a:pt x="7223" y="7658"/>
                    <a:pt x="7226" y="7650"/>
                  </a:cubicBezTo>
                  <a:lnTo>
                    <a:pt x="7226" y="7641"/>
                  </a:lnTo>
                  <a:lnTo>
                    <a:pt x="7203" y="7641"/>
                  </a:lnTo>
                  <a:cubicBezTo>
                    <a:pt x="7201" y="7644"/>
                    <a:pt x="7200" y="7647"/>
                    <a:pt x="7198" y="7650"/>
                  </a:cubicBezTo>
                  <a:cubicBezTo>
                    <a:pt x="7197" y="7658"/>
                    <a:pt x="7195" y="7667"/>
                    <a:pt x="7194" y="7675"/>
                  </a:cubicBezTo>
                  <a:cubicBezTo>
                    <a:pt x="7195" y="7681"/>
                    <a:pt x="7197" y="7686"/>
                    <a:pt x="7198" y="7692"/>
                  </a:cubicBezTo>
                  <a:lnTo>
                    <a:pt x="7198" y="7709"/>
                  </a:lnTo>
                  <a:cubicBezTo>
                    <a:pt x="7193" y="7715"/>
                    <a:pt x="7189" y="7720"/>
                    <a:pt x="7184" y="7726"/>
                  </a:cubicBezTo>
                  <a:lnTo>
                    <a:pt x="7180" y="7726"/>
                  </a:lnTo>
                  <a:cubicBezTo>
                    <a:pt x="7177" y="7735"/>
                    <a:pt x="7174" y="7743"/>
                    <a:pt x="7171" y="7752"/>
                  </a:cubicBezTo>
                  <a:cubicBezTo>
                    <a:pt x="7169" y="7746"/>
                    <a:pt x="7168" y="7741"/>
                    <a:pt x="7166" y="7735"/>
                  </a:cubicBezTo>
                  <a:cubicBezTo>
                    <a:pt x="7168" y="7698"/>
                    <a:pt x="7169" y="7661"/>
                    <a:pt x="7171" y="7624"/>
                  </a:cubicBezTo>
                  <a:lnTo>
                    <a:pt x="7171" y="7615"/>
                  </a:lnTo>
                  <a:lnTo>
                    <a:pt x="7171" y="7590"/>
                  </a:lnTo>
                  <a:cubicBezTo>
                    <a:pt x="7169" y="7581"/>
                    <a:pt x="7168" y="7573"/>
                    <a:pt x="7166" y="7564"/>
                  </a:cubicBezTo>
                  <a:lnTo>
                    <a:pt x="7157" y="7564"/>
                  </a:lnTo>
                  <a:lnTo>
                    <a:pt x="7097" y="7573"/>
                  </a:lnTo>
                  <a:lnTo>
                    <a:pt x="7065" y="7538"/>
                  </a:lnTo>
                  <a:cubicBezTo>
                    <a:pt x="7066" y="7527"/>
                    <a:pt x="7068" y="7515"/>
                    <a:pt x="7069" y="7504"/>
                  </a:cubicBezTo>
                  <a:cubicBezTo>
                    <a:pt x="7081" y="7487"/>
                    <a:pt x="7094" y="7470"/>
                    <a:pt x="7106" y="7453"/>
                  </a:cubicBezTo>
                  <a:cubicBezTo>
                    <a:pt x="7108" y="7447"/>
                    <a:pt x="7109" y="7442"/>
                    <a:pt x="7111" y="7436"/>
                  </a:cubicBezTo>
                  <a:cubicBezTo>
                    <a:pt x="7120" y="7425"/>
                    <a:pt x="7129" y="7413"/>
                    <a:pt x="7138" y="7402"/>
                  </a:cubicBezTo>
                  <a:cubicBezTo>
                    <a:pt x="7140" y="7393"/>
                    <a:pt x="7141" y="7385"/>
                    <a:pt x="7143" y="7376"/>
                  </a:cubicBezTo>
                  <a:cubicBezTo>
                    <a:pt x="7146" y="7373"/>
                    <a:pt x="7149" y="7371"/>
                    <a:pt x="7152" y="7368"/>
                  </a:cubicBezTo>
                  <a:cubicBezTo>
                    <a:pt x="7154" y="7362"/>
                    <a:pt x="7155" y="7356"/>
                    <a:pt x="7157" y="7350"/>
                  </a:cubicBezTo>
                  <a:cubicBezTo>
                    <a:pt x="7181" y="7313"/>
                    <a:pt x="7206" y="7276"/>
                    <a:pt x="7230" y="7239"/>
                  </a:cubicBezTo>
                  <a:cubicBezTo>
                    <a:pt x="7233" y="7228"/>
                    <a:pt x="7237" y="7216"/>
                    <a:pt x="7240" y="7205"/>
                  </a:cubicBezTo>
                  <a:cubicBezTo>
                    <a:pt x="7244" y="7199"/>
                    <a:pt x="7249" y="7194"/>
                    <a:pt x="7253" y="7188"/>
                  </a:cubicBezTo>
                  <a:cubicBezTo>
                    <a:pt x="7255" y="7179"/>
                    <a:pt x="7256" y="7171"/>
                    <a:pt x="7258" y="7162"/>
                  </a:cubicBezTo>
                  <a:lnTo>
                    <a:pt x="7258" y="7154"/>
                  </a:lnTo>
                  <a:cubicBezTo>
                    <a:pt x="7263" y="7143"/>
                    <a:pt x="7267" y="7131"/>
                    <a:pt x="7272" y="7120"/>
                  </a:cubicBezTo>
                  <a:cubicBezTo>
                    <a:pt x="7273" y="7111"/>
                    <a:pt x="7275" y="7103"/>
                    <a:pt x="7276" y="7094"/>
                  </a:cubicBezTo>
                  <a:lnTo>
                    <a:pt x="7286" y="7094"/>
                  </a:lnTo>
                  <a:cubicBezTo>
                    <a:pt x="7287" y="7085"/>
                    <a:pt x="7289" y="7077"/>
                    <a:pt x="7290" y="7068"/>
                  </a:cubicBezTo>
                  <a:cubicBezTo>
                    <a:pt x="7304" y="7042"/>
                    <a:pt x="7318" y="7017"/>
                    <a:pt x="7332" y="6991"/>
                  </a:cubicBezTo>
                  <a:lnTo>
                    <a:pt x="7336" y="6991"/>
                  </a:lnTo>
                  <a:cubicBezTo>
                    <a:pt x="7345" y="6974"/>
                    <a:pt x="7355" y="6957"/>
                    <a:pt x="7364" y="6940"/>
                  </a:cubicBezTo>
                  <a:cubicBezTo>
                    <a:pt x="7367" y="6929"/>
                    <a:pt x="7370" y="6917"/>
                    <a:pt x="7373" y="6906"/>
                  </a:cubicBezTo>
                  <a:cubicBezTo>
                    <a:pt x="7375" y="6909"/>
                    <a:pt x="7376" y="6912"/>
                    <a:pt x="7378" y="6915"/>
                  </a:cubicBezTo>
                  <a:cubicBezTo>
                    <a:pt x="7387" y="6903"/>
                    <a:pt x="7397" y="6892"/>
                    <a:pt x="7406" y="6880"/>
                  </a:cubicBezTo>
                  <a:cubicBezTo>
                    <a:pt x="7407" y="6869"/>
                    <a:pt x="7409" y="6857"/>
                    <a:pt x="7410" y="6846"/>
                  </a:cubicBezTo>
                  <a:cubicBezTo>
                    <a:pt x="7413" y="6832"/>
                    <a:pt x="7416" y="6817"/>
                    <a:pt x="7419" y="6803"/>
                  </a:cubicBezTo>
                  <a:cubicBezTo>
                    <a:pt x="7474" y="6703"/>
                    <a:pt x="7530" y="6604"/>
                    <a:pt x="7585" y="6504"/>
                  </a:cubicBezTo>
                  <a:lnTo>
                    <a:pt x="7765" y="6504"/>
                  </a:lnTo>
                  <a:lnTo>
                    <a:pt x="7765" y="6530"/>
                  </a:lnTo>
                  <a:cubicBezTo>
                    <a:pt x="7768" y="6539"/>
                    <a:pt x="7771" y="6547"/>
                    <a:pt x="7774" y="6556"/>
                  </a:cubicBezTo>
                  <a:lnTo>
                    <a:pt x="7779" y="6556"/>
                  </a:lnTo>
                  <a:cubicBezTo>
                    <a:pt x="7784" y="6553"/>
                    <a:pt x="7788" y="6550"/>
                    <a:pt x="7793" y="6547"/>
                  </a:cubicBezTo>
                  <a:lnTo>
                    <a:pt x="7793" y="6530"/>
                  </a:lnTo>
                  <a:cubicBezTo>
                    <a:pt x="7796" y="6519"/>
                    <a:pt x="7799" y="6507"/>
                    <a:pt x="7802" y="6496"/>
                  </a:cubicBezTo>
                  <a:cubicBezTo>
                    <a:pt x="7803" y="6493"/>
                    <a:pt x="7805" y="6490"/>
                    <a:pt x="7806" y="6487"/>
                  </a:cubicBezTo>
                  <a:lnTo>
                    <a:pt x="7876" y="6530"/>
                  </a:lnTo>
                  <a:lnTo>
                    <a:pt x="7894" y="6530"/>
                  </a:lnTo>
                  <a:lnTo>
                    <a:pt x="7894" y="6504"/>
                  </a:lnTo>
                  <a:lnTo>
                    <a:pt x="7899" y="6504"/>
                  </a:lnTo>
                  <a:lnTo>
                    <a:pt x="7926" y="6504"/>
                  </a:lnTo>
                  <a:cubicBezTo>
                    <a:pt x="7931" y="6518"/>
                    <a:pt x="7935" y="6533"/>
                    <a:pt x="7940" y="6547"/>
                  </a:cubicBezTo>
                  <a:lnTo>
                    <a:pt x="7949" y="6547"/>
                  </a:lnTo>
                  <a:cubicBezTo>
                    <a:pt x="7954" y="6541"/>
                    <a:pt x="7958" y="6536"/>
                    <a:pt x="7963" y="6530"/>
                  </a:cubicBezTo>
                  <a:lnTo>
                    <a:pt x="7963" y="6504"/>
                  </a:lnTo>
                  <a:lnTo>
                    <a:pt x="7963" y="6504"/>
                  </a:lnTo>
                  <a:cubicBezTo>
                    <a:pt x="7960" y="6501"/>
                    <a:pt x="7957" y="6499"/>
                    <a:pt x="7954" y="6496"/>
                  </a:cubicBezTo>
                  <a:lnTo>
                    <a:pt x="7963" y="6487"/>
                  </a:lnTo>
                  <a:lnTo>
                    <a:pt x="7982" y="6487"/>
                  </a:lnTo>
                  <a:lnTo>
                    <a:pt x="7982" y="6470"/>
                  </a:lnTo>
                  <a:cubicBezTo>
                    <a:pt x="7979" y="6467"/>
                    <a:pt x="7975" y="6465"/>
                    <a:pt x="7972" y="6462"/>
                  </a:cubicBezTo>
                  <a:lnTo>
                    <a:pt x="7972" y="6436"/>
                  </a:lnTo>
                  <a:cubicBezTo>
                    <a:pt x="7977" y="6430"/>
                    <a:pt x="7981" y="6425"/>
                    <a:pt x="7986" y="6419"/>
                  </a:cubicBezTo>
                  <a:lnTo>
                    <a:pt x="8000" y="6419"/>
                  </a:lnTo>
                  <a:lnTo>
                    <a:pt x="8055" y="6462"/>
                  </a:lnTo>
                  <a:cubicBezTo>
                    <a:pt x="8060" y="6456"/>
                    <a:pt x="8064" y="6450"/>
                    <a:pt x="8069" y="6444"/>
                  </a:cubicBezTo>
                  <a:cubicBezTo>
                    <a:pt x="8074" y="6453"/>
                    <a:pt x="8078" y="6461"/>
                    <a:pt x="8083" y="6470"/>
                  </a:cubicBezTo>
                  <a:lnTo>
                    <a:pt x="8083" y="6487"/>
                  </a:lnTo>
                  <a:lnTo>
                    <a:pt x="8097" y="6487"/>
                  </a:lnTo>
                  <a:cubicBezTo>
                    <a:pt x="8098" y="6479"/>
                    <a:pt x="8100" y="6470"/>
                    <a:pt x="8101" y="6462"/>
                  </a:cubicBezTo>
                  <a:lnTo>
                    <a:pt x="8115" y="6462"/>
                  </a:lnTo>
                  <a:lnTo>
                    <a:pt x="8129" y="6462"/>
                  </a:lnTo>
                  <a:lnTo>
                    <a:pt x="8157" y="6496"/>
                  </a:lnTo>
                  <a:lnTo>
                    <a:pt x="8157" y="6521"/>
                  </a:lnTo>
                  <a:cubicBezTo>
                    <a:pt x="8165" y="6524"/>
                    <a:pt x="8172" y="6527"/>
                    <a:pt x="8180" y="6530"/>
                  </a:cubicBezTo>
                  <a:lnTo>
                    <a:pt x="8180" y="6547"/>
                  </a:lnTo>
                  <a:lnTo>
                    <a:pt x="8171" y="6556"/>
                  </a:lnTo>
                  <a:lnTo>
                    <a:pt x="8129" y="6556"/>
                  </a:lnTo>
                  <a:cubicBezTo>
                    <a:pt x="8121" y="6562"/>
                    <a:pt x="8114" y="6567"/>
                    <a:pt x="8106" y="6573"/>
                  </a:cubicBezTo>
                  <a:cubicBezTo>
                    <a:pt x="8109" y="6576"/>
                    <a:pt x="8112" y="6578"/>
                    <a:pt x="8115" y="6581"/>
                  </a:cubicBezTo>
                  <a:cubicBezTo>
                    <a:pt x="8120" y="6598"/>
                    <a:pt x="8124" y="6615"/>
                    <a:pt x="8129" y="6632"/>
                  </a:cubicBezTo>
                  <a:lnTo>
                    <a:pt x="8171" y="6632"/>
                  </a:lnTo>
                  <a:cubicBezTo>
                    <a:pt x="8174" y="6629"/>
                    <a:pt x="8177" y="6627"/>
                    <a:pt x="8180" y="6624"/>
                  </a:cubicBezTo>
                  <a:cubicBezTo>
                    <a:pt x="8183" y="6615"/>
                    <a:pt x="8186" y="6607"/>
                    <a:pt x="8189" y="6598"/>
                  </a:cubicBezTo>
                  <a:cubicBezTo>
                    <a:pt x="8194" y="6592"/>
                    <a:pt x="8198" y="6587"/>
                    <a:pt x="8203" y="6581"/>
                  </a:cubicBezTo>
                  <a:cubicBezTo>
                    <a:pt x="8204" y="6590"/>
                    <a:pt x="8206" y="6598"/>
                    <a:pt x="8207" y="6607"/>
                  </a:cubicBezTo>
                  <a:cubicBezTo>
                    <a:pt x="8212" y="6613"/>
                    <a:pt x="8216" y="6618"/>
                    <a:pt x="8221" y="6624"/>
                  </a:cubicBezTo>
                  <a:cubicBezTo>
                    <a:pt x="8226" y="6618"/>
                    <a:pt x="8230" y="6613"/>
                    <a:pt x="8235" y="6607"/>
                  </a:cubicBezTo>
                  <a:cubicBezTo>
                    <a:pt x="8237" y="6598"/>
                    <a:pt x="8238" y="6590"/>
                    <a:pt x="8240" y="6581"/>
                  </a:cubicBezTo>
                  <a:cubicBezTo>
                    <a:pt x="8244" y="6578"/>
                    <a:pt x="8249" y="6576"/>
                    <a:pt x="8253" y="6573"/>
                  </a:cubicBezTo>
                  <a:cubicBezTo>
                    <a:pt x="8256" y="6567"/>
                    <a:pt x="8260" y="6562"/>
                    <a:pt x="8263" y="6556"/>
                  </a:cubicBezTo>
                  <a:cubicBezTo>
                    <a:pt x="8267" y="6553"/>
                    <a:pt x="8272" y="6550"/>
                    <a:pt x="8276" y="6547"/>
                  </a:cubicBezTo>
                  <a:cubicBezTo>
                    <a:pt x="8281" y="6550"/>
                    <a:pt x="8285" y="6553"/>
                    <a:pt x="8290" y="6556"/>
                  </a:cubicBezTo>
                  <a:cubicBezTo>
                    <a:pt x="8295" y="6564"/>
                    <a:pt x="8299" y="6573"/>
                    <a:pt x="8304" y="6581"/>
                  </a:cubicBezTo>
                  <a:lnTo>
                    <a:pt x="8309" y="6581"/>
                  </a:lnTo>
                  <a:cubicBezTo>
                    <a:pt x="8315" y="6578"/>
                    <a:pt x="8321" y="6576"/>
                    <a:pt x="8327" y="6573"/>
                  </a:cubicBezTo>
                  <a:lnTo>
                    <a:pt x="8327" y="6556"/>
                  </a:lnTo>
                  <a:lnTo>
                    <a:pt x="8350" y="6556"/>
                  </a:lnTo>
                  <a:cubicBezTo>
                    <a:pt x="8352" y="6562"/>
                    <a:pt x="8353" y="6567"/>
                    <a:pt x="8355" y="6573"/>
                  </a:cubicBezTo>
                  <a:cubicBezTo>
                    <a:pt x="8358" y="6567"/>
                    <a:pt x="8361" y="6562"/>
                    <a:pt x="8364" y="6556"/>
                  </a:cubicBezTo>
                  <a:lnTo>
                    <a:pt x="8369" y="6556"/>
                  </a:lnTo>
                  <a:cubicBezTo>
                    <a:pt x="8372" y="6547"/>
                    <a:pt x="8375" y="6539"/>
                    <a:pt x="8378" y="6530"/>
                  </a:cubicBezTo>
                  <a:cubicBezTo>
                    <a:pt x="8375" y="6521"/>
                    <a:pt x="8372" y="6513"/>
                    <a:pt x="8369" y="6504"/>
                  </a:cubicBezTo>
                  <a:cubicBezTo>
                    <a:pt x="8367" y="6501"/>
                    <a:pt x="8366" y="6499"/>
                    <a:pt x="8364" y="6496"/>
                  </a:cubicBezTo>
                  <a:cubicBezTo>
                    <a:pt x="8355" y="6487"/>
                    <a:pt x="8345" y="6479"/>
                    <a:pt x="8336" y="6470"/>
                  </a:cubicBezTo>
                  <a:cubicBezTo>
                    <a:pt x="8327" y="6476"/>
                    <a:pt x="8318" y="6481"/>
                    <a:pt x="8309" y="6487"/>
                  </a:cubicBezTo>
                  <a:cubicBezTo>
                    <a:pt x="8310" y="6479"/>
                    <a:pt x="8312" y="6470"/>
                    <a:pt x="8313" y="6462"/>
                  </a:cubicBezTo>
                  <a:cubicBezTo>
                    <a:pt x="8316" y="6456"/>
                    <a:pt x="8320" y="6450"/>
                    <a:pt x="8323" y="6444"/>
                  </a:cubicBezTo>
                  <a:cubicBezTo>
                    <a:pt x="8318" y="6427"/>
                    <a:pt x="8314" y="6410"/>
                    <a:pt x="8309" y="6393"/>
                  </a:cubicBezTo>
                  <a:cubicBezTo>
                    <a:pt x="8310" y="6390"/>
                    <a:pt x="8312" y="6388"/>
                    <a:pt x="8313" y="6385"/>
                  </a:cubicBezTo>
                  <a:cubicBezTo>
                    <a:pt x="8316" y="6388"/>
                    <a:pt x="8320" y="6390"/>
                    <a:pt x="8323" y="6393"/>
                  </a:cubicBezTo>
                  <a:lnTo>
                    <a:pt x="8323" y="6393"/>
                  </a:lnTo>
                  <a:cubicBezTo>
                    <a:pt x="8334" y="6356"/>
                    <a:pt x="8344" y="6319"/>
                    <a:pt x="8355" y="6282"/>
                  </a:cubicBezTo>
                  <a:cubicBezTo>
                    <a:pt x="8360" y="6273"/>
                    <a:pt x="8364" y="6265"/>
                    <a:pt x="8369" y="6256"/>
                  </a:cubicBezTo>
                  <a:cubicBezTo>
                    <a:pt x="8373" y="6253"/>
                    <a:pt x="8378" y="6251"/>
                    <a:pt x="8382" y="6248"/>
                  </a:cubicBezTo>
                  <a:cubicBezTo>
                    <a:pt x="8396" y="6219"/>
                    <a:pt x="8410" y="6191"/>
                    <a:pt x="8424" y="6162"/>
                  </a:cubicBezTo>
                  <a:cubicBezTo>
                    <a:pt x="8426" y="6156"/>
                    <a:pt x="8427" y="6151"/>
                    <a:pt x="8429" y="6145"/>
                  </a:cubicBezTo>
                  <a:cubicBezTo>
                    <a:pt x="8443" y="6114"/>
                    <a:pt x="8456" y="6082"/>
                    <a:pt x="8470" y="6051"/>
                  </a:cubicBezTo>
                  <a:cubicBezTo>
                    <a:pt x="8472" y="6028"/>
                    <a:pt x="8473" y="6006"/>
                    <a:pt x="8475" y="5983"/>
                  </a:cubicBezTo>
                  <a:lnTo>
                    <a:pt x="8512" y="5940"/>
                  </a:lnTo>
                  <a:cubicBezTo>
                    <a:pt x="8515" y="5934"/>
                    <a:pt x="8518" y="5929"/>
                    <a:pt x="8521" y="5923"/>
                  </a:cubicBezTo>
                  <a:cubicBezTo>
                    <a:pt x="8526" y="5920"/>
                    <a:pt x="8530" y="5918"/>
                    <a:pt x="8535" y="5915"/>
                  </a:cubicBezTo>
                  <a:lnTo>
                    <a:pt x="8562" y="5915"/>
                  </a:lnTo>
                  <a:lnTo>
                    <a:pt x="8618" y="5889"/>
                  </a:lnTo>
                  <a:lnTo>
                    <a:pt x="8622" y="5889"/>
                  </a:lnTo>
                  <a:lnTo>
                    <a:pt x="8622" y="5872"/>
                  </a:lnTo>
                  <a:lnTo>
                    <a:pt x="8636" y="5872"/>
                  </a:lnTo>
                  <a:cubicBezTo>
                    <a:pt x="8641" y="5878"/>
                    <a:pt x="8645" y="5883"/>
                    <a:pt x="8650" y="5889"/>
                  </a:cubicBezTo>
                  <a:cubicBezTo>
                    <a:pt x="8653" y="5898"/>
                    <a:pt x="8656" y="5906"/>
                    <a:pt x="8659" y="5915"/>
                  </a:cubicBezTo>
                  <a:cubicBezTo>
                    <a:pt x="8661" y="5923"/>
                    <a:pt x="8662" y="5932"/>
                    <a:pt x="8664" y="5940"/>
                  </a:cubicBezTo>
                  <a:cubicBezTo>
                    <a:pt x="8670" y="5934"/>
                    <a:pt x="8676" y="5929"/>
                    <a:pt x="8682" y="5923"/>
                  </a:cubicBezTo>
                  <a:cubicBezTo>
                    <a:pt x="8694" y="5903"/>
                    <a:pt x="8707" y="5883"/>
                    <a:pt x="8719" y="5863"/>
                  </a:cubicBezTo>
                  <a:cubicBezTo>
                    <a:pt x="8714" y="5897"/>
                    <a:pt x="8710" y="5932"/>
                    <a:pt x="8705" y="5966"/>
                  </a:cubicBezTo>
                  <a:cubicBezTo>
                    <a:pt x="8702" y="5972"/>
                    <a:pt x="8699" y="5977"/>
                    <a:pt x="8696" y="5983"/>
                  </a:cubicBezTo>
                  <a:cubicBezTo>
                    <a:pt x="8691" y="5997"/>
                    <a:pt x="8687" y="6012"/>
                    <a:pt x="8682" y="6026"/>
                  </a:cubicBezTo>
                  <a:lnTo>
                    <a:pt x="8682" y="6051"/>
                  </a:lnTo>
                  <a:cubicBezTo>
                    <a:pt x="8685" y="6060"/>
                    <a:pt x="8688" y="6068"/>
                    <a:pt x="8691" y="6077"/>
                  </a:cubicBezTo>
                  <a:lnTo>
                    <a:pt x="8691" y="6085"/>
                  </a:lnTo>
                  <a:lnTo>
                    <a:pt x="8682" y="6103"/>
                  </a:lnTo>
                  <a:lnTo>
                    <a:pt x="8682" y="6111"/>
                  </a:lnTo>
                  <a:lnTo>
                    <a:pt x="8691" y="6120"/>
                  </a:lnTo>
                  <a:cubicBezTo>
                    <a:pt x="8700" y="6114"/>
                    <a:pt x="8710" y="6109"/>
                    <a:pt x="8719" y="6103"/>
                  </a:cubicBezTo>
                  <a:cubicBezTo>
                    <a:pt x="8714" y="6131"/>
                    <a:pt x="8710" y="6160"/>
                    <a:pt x="8705" y="6188"/>
                  </a:cubicBezTo>
                  <a:lnTo>
                    <a:pt x="8705" y="6214"/>
                  </a:lnTo>
                  <a:cubicBezTo>
                    <a:pt x="8707" y="6208"/>
                    <a:pt x="8708" y="6203"/>
                    <a:pt x="8710" y="6197"/>
                  </a:cubicBezTo>
                  <a:cubicBezTo>
                    <a:pt x="8716" y="6188"/>
                    <a:pt x="8722" y="6180"/>
                    <a:pt x="8728" y="6171"/>
                  </a:cubicBezTo>
                  <a:lnTo>
                    <a:pt x="8737" y="6171"/>
                  </a:lnTo>
                  <a:cubicBezTo>
                    <a:pt x="8772" y="6097"/>
                    <a:pt x="8808" y="6023"/>
                    <a:pt x="8843" y="5949"/>
                  </a:cubicBezTo>
                  <a:lnTo>
                    <a:pt x="8866" y="5949"/>
                  </a:lnTo>
                  <a:cubicBezTo>
                    <a:pt x="8868" y="5946"/>
                    <a:pt x="8869" y="5943"/>
                    <a:pt x="8871" y="5940"/>
                  </a:cubicBezTo>
                  <a:cubicBezTo>
                    <a:pt x="8873" y="5934"/>
                    <a:pt x="8874" y="5929"/>
                    <a:pt x="8876" y="5923"/>
                  </a:cubicBezTo>
                  <a:cubicBezTo>
                    <a:pt x="8879" y="5929"/>
                    <a:pt x="8882" y="5934"/>
                    <a:pt x="8885" y="5940"/>
                  </a:cubicBezTo>
                  <a:lnTo>
                    <a:pt x="8885" y="5949"/>
                  </a:lnTo>
                  <a:lnTo>
                    <a:pt x="8885" y="5974"/>
                  </a:lnTo>
                  <a:lnTo>
                    <a:pt x="8889" y="5974"/>
                  </a:lnTo>
                  <a:cubicBezTo>
                    <a:pt x="8894" y="5957"/>
                    <a:pt x="8898" y="5940"/>
                    <a:pt x="8903" y="5923"/>
                  </a:cubicBezTo>
                  <a:lnTo>
                    <a:pt x="8889" y="5923"/>
                  </a:lnTo>
                  <a:lnTo>
                    <a:pt x="8889" y="5897"/>
                  </a:lnTo>
                  <a:cubicBezTo>
                    <a:pt x="8892" y="5877"/>
                    <a:pt x="8896" y="5858"/>
                    <a:pt x="8899" y="5838"/>
                  </a:cubicBezTo>
                  <a:cubicBezTo>
                    <a:pt x="8896" y="5829"/>
                    <a:pt x="8892" y="5821"/>
                    <a:pt x="8889" y="5812"/>
                  </a:cubicBezTo>
                  <a:cubicBezTo>
                    <a:pt x="8894" y="5801"/>
                    <a:pt x="8898" y="5789"/>
                    <a:pt x="8903" y="5778"/>
                  </a:cubicBezTo>
                  <a:lnTo>
                    <a:pt x="8903" y="5761"/>
                  </a:lnTo>
                  <a:cubicBezTo>
                    <a:pt x="8906" y="5752"/>
                    <a:pt x="8909" y="5744"/>
                    <a:pt x="8912" y="5735"/>
                  </a:cubicBezTo>
                  <a:cubicBezTo>
                    <a:pt x="8918" y="5724"/>
                    <a:pt x="8925" y="5712"/>
                    <a:pt x="8931" y="5701"/>
                  </a:cubicBezTo>
                  <a:cubicBezTo>
                    <a:pt x="8946" y="5692"/>
                    <a:pt x="8962" y="5684"/>
                    <a:pt x="8977" y="5675"/>
                  </a:cubicBezTo>
                  <a:lnTo>
                    <a:pt x="9000" y="5675"/>
                  </a:lnTo>
                  <a:cubicBezTo>
                    <a:pt x="9006" y="5686"/>
                    <a:pt x="9012" y="5698"/>
                    <a:pt x="9018" y="5709"/>
                  </a:cubicBezTo>
                  <a:cubicBezTo>
                    <a:pt x="9015" y="5718"/>
                    <a:pt x="9012" y="5726"/>
                    <a:pt x="9009" y="5735"/>
                  </a:cubicBezTo>
                  <a:lnTo>
                    <a:pt x="9000" y="5735"/>
                  </a:lnTo>
                  <a:cubicBezTo>
                    <a:pt x="8988" y="5752"/>
                    <a:pt x="8975" y="5769"/>
                    <a:pt x="8963" y="5786"/>
                  </a:cubicBezTo>
                  <a:cubicBezTo>
                    <a:pt x="8958" y="5837"/>
                    <a:pt x="8954" y="5889"/>
                    <a:pt x="8949" y="5940"/>
                  </a:cubicBezTo>
                  <a:cubicBezTo>
                    <a:pt x="8948" y="5949"/>
                    <a:pt x="8946" y="5957"/>
                    <a:pt x="8945" y="5966"/>
                  </a:cubicBezTo>
                  <a:lnTo>
                    <a:pt x="8945" y="6000"/>
                  </a:lnTo>
                  <a:lnTo>
                    <a:pt x="8945" y="6009"/>
                  </a:lnTo>
                  <a:lnTo>
                    <a:pt x="8945" y="6034"/>
                  </a:lnTo>
                  <a:cubicBezTo>
                    <a:pt x="8940" y="6043"/>
                    <a:pt x="8936" y="6051"/>
                    <a:pt x="8931" y="6060"/>
                  </a:cubicBezTo>
                  <a:cubicBezTo>
                    <a:pt x="8929" y="6066"/>
                    <a:pt x="8928" y="6071"/>
                    <a:pt x="8926" y="6077"/>
                  </a:cubicBezTo>
                  <a:lnTo>
                    <a:pt x="8926" y="6111"/>
                  </a:lnTo>
                  <a:cubicBezTo>
                    <a:pt x="8928" y="6114"/>
                    <a:pt x="8929" y="6117"/>
                    <a:pt x="8931" y="6120"/>
                  </a:cubicBezTo>
                  <a:lnTo>
                    <a:pt x="8931" y="6137"/>
                  </a:lnTo>
                  <a:cubicBezTo>
                    <a:pt x="8925" y="6148"/>
                    <a:pt x="8918" y="6160"/>
                    <a:pt x="8912" y="6171"/>
                  </a:cubicBezTo>
                  <a:cubicBezTo>
                    <a:pt x="8908" y="6168"/>
                    <a:pt x="8903" y="6165"/>
                    <a:pt x="8899" y="6162"/>
                  </a:cubicBezTo>
                  <a:cubicBezTo>
                    <a:pt x="8894" y="6165"/>
                    <a:pt x="8890" y="6168"/>
                    <a:pt x="8885" y="6171"/>
                  </a:cubicBezTo>
                  <a:cubicBezTo>
                    <a:pt x="8879" y="6185"/>
                    <a:pt x="8872" y="6200"/>
                    <a:pt x="8866" y="6214"/>
                  </a:cubicBezTo>
                  <a:lnTo>
                    <a:pt x="8853" y="6214"/>
                  </a:lnTo>
                  <a:lnTo>
                    <a:pt x="8816" y="6248"/>
                  </a:lnTo>
                  <a:lnTo>
                    <a:pt x="8816" y="6248"/>
                  </a:lnTo>
                  <a:lnTo>
                    <a:pt x="8816" y="6282"/>
                  </a:lnTo>
                  <a:cubicBezTo>
                    <a:pt x="8814" y="6291"/>
                    <a:pt x="8813" y="6299"/>
                    <a:pt x="8811" y="6308"/>
                  </a:cubicBezTo>
                  <a:cubicBezTo>
                    <a:pt x="8791" y="6351"/>
                    <a:pt x="8771" y="6393"/>
                    <a:pt x="8751" y="6436"/>
                  </a:cubicBezTo>
                  <a:cubicBezTo>
                    <a:pt x="8742" y="6447"/>
                    <a:pt x="8733" y="6459"/>
                    <a:pt x="8724" y="6470"/>
                  </a:cubicBezTo>
                  <a:cubicBezTo>
                    <a:pt x="8719" y="6481"/>
                    <a:pt x="8715" y="6493"/>
                    <a:pt x="8710" y="6504"/>
                  </a:cubicBezTo>
                  <a:cubicBezTo>
                    <a:pt x="8708" y="6510"/>
                    <a:pt x="8707" y="6515"/>
                    <a:pt x="8705" y="6521"/>
                  </a:cubicBezTo>
                  <a:cubicBezTo>
                    <a:pt x="8696" y="6538"/>
                    <a:pt x="8686" y="6556"/>
                    <a:pt x="8677" y="6573"/>
                  </a:cubicBezTo>
                  <a:lnTo>
                    <a:pt x="8677" y="6624"/>
                  </a:lnTo>
                  <a:cubicBezTo>
                    <a:pt x="8648" y="6684"/>
                    <a:pt x="8619" y="6743"/>
                    <a:pt x="8590" y="6803"/>
                  </a:cubicBezTo>
                  <a:cubicBezTo>
                    <a:pt x="8581" y="6812"/>
                    <a:pt x="8571" y="6820"/>
                    <a:pt x="8562" y="6829"/>
                  </a:cubicBezTo>
                  <a:lnTo>
                    <a:pt x="8544" y="6829"/>
                  </a:lnTo>
                  <a:cubicBezTo>
                    <a:pt x="8536" y="6846"/>
                    <a:pt x="8529" y="6863"/>
                    <a:pt x="8521" y="6880"/>
                  </a:cubicBezTo>
                  <a:cubicBezTo>
                    <a:pt x="8513" y="6877"/>
                    <a:pt x="8506" y="6875"/>
                    <a:pt x="8498" y="6872"/>
                  </a:cubicBezTo>
                  <a:lnTo>
                    <a:pt x="8488" y="6872"/>
                  </a:lnTo>
                  <a:cubicBezTo>
                    <a:pt x="8491" y="6895"/>
                    <a:pt x="8495" y="6917"/>
                    <a:pt x="8498" y="6940"/>
                  </a:cubicBezTo>
                  <a:cubicBezTo>
                    <a:pt x="8493" y="6969"/>
                    <a:pt x="8489" y="6997"/>
                    <a:pt x="8484" y="7026"/>
                  </a:cubicBezTo>
                  <a:cubicBezTo>
                    <a:pt x="8466" y="7049"/>
                    <a:pt x="8447" y="7071"/>
                    <a:pt x="8429" y="7094"/>
                  </a:cubicBezTo>
                  <a:cubicBezTo>
                    <a:pt x="8420" y="7160"/>
                    <a:pt x="8410" y="7225"/>
                    <a:pt x="8401" y="7291"/>
                  </a:cubicBezTo>
                  <a:cubicBezTo>
                    <a:pt x="8409" y="7425"/>
                    <a:pt x="8416" y="7558"/>
                    <a:pt x="8424" y="7692"/>
                  </a:cubicBezTo>
                  <a:lnTo>
                    <a:pt x="8424" y="7701"/>
                  </a:lnTo>
                  <a:cubicBezTo>
                    <a:pt x="8444" y="7903"/>
                    <a:pt x="8464" y="8106"/>
                    <a:pt x="8484" y="8308"/>
                  </a:cubicBezTo>
                  <a:cubicBezTo>
                    <a:pt x="8515" y="8245"/>
                    <a:pt x="8545" y="8183"/>
                    <a:pt x="8576" y="8120"/>
                  </a:cubicBezTo>
                  <a:cubicBezTo>
                    <a:pt x="8581" y="8089"/>
                    <a:pt x="8585" y="8057"/>
                    <a:pt x="8590" y="8026"/>
                  </a:cubicBezTo>
                  <a:lnTo>
                    <a:pt x="8590" y="7983"/>
                  </a:lnTo>
                  <a:cubicBezTo>
                    <a:pt x="8591" y="7980"/>
                    <a:pt x="8593" y="7977"/>
                    <a:pt x="8594" y="7974"/>
                  </a:cubicBezTo>
                  <a:lnTo>
                    <a:pt x="8594" y="7940"/>
                  </a:lnTo>
                  <a:lnTo>
                    <a:pt x="8594" y="7923"/>
                  </a:lnTo>
                  <a:lnTo>
                    <a:pt x="8594" y="7915"/>
                  </a:lnTo>
                  <a:lnTo>
                    <a:pt x="8604" y="7915"/>
                  </a:lnTo>
                  <a:cubicBezTo>
                    <a:pt x="8605" y="7918"/>
                    <a:pt x="8607" y="7920"/>
                    <a:pt x="8608" y="7923"/>
                  </a:cubicBezTo>
                  <a:cubicBezTo>
                    <a:pt x="8620" y="7906"/>
                    <a:pt x="8633" y="7889"/>
                    <a:pt x="8645" y="7872"/>
                  </a:cubicBezTo>
                  <a:lnTo>
                    <a:pt x="8668" y="7846"/>
                  </a:lnTo>
                  <a:cubicBezTo>
                    <a:pt x="8676" y="7852"/>
                    <a:pt x="8683" y="7857"/>
                    <a:pt x="8691" y="7863"/>
                  </a:cubicBezTo>
                  <a:lnTo>
                    <a:pt x="8691" y="7846"/>
                  </a:lnTo>
                  <a:cubicBezTo>
                    <a:pt x="8688" y="7843"/>
                    <a:pt x="8685" y="7841"/>
                    <a:pt x="8682" y="7838"/>
                  </a:cubicBezTo>
                  <a:lnTo>
                    <a:pt x="8682" y="7692"/>
                  </a:lnTo>
                  <a:cubicBezTo>
                    <a:pt x="8697" y="7661"/>
                    <a:pt x="8713" y="7629"/>
                    <a:pt x="8728" y="7598"/>
                  </a:cubicBezTo>
                  <a:cubicBezTo>
                    <a:pt x="8736" y="7590"/>
                    <a:pt x="8743" y="7581"/>
                    <a:pt x="8751" y="7573"/>
                  </a:cubicBezTo>
                  <a:lnTo>
                    <a:pt x="8770" y="7573"/>
                  </a:lnTo>
                  <a:cubicBezTo>
                    <a:pt x="8773" y="7579"/>
                    <a:pt x="8776" y="7584"/>
                    <a:pt x="8779" y="7590"/>
                  </a:cubicBezTo>
                  <a:lnTo>
                    <a:pt x="8793" y="7590"/>
                  </a:lnTo>
                  <a:lnTo>
                    <a:pt x="8811" y="7590"/>
                  </a:lnTo>
                  <a:cubicBezTo>
                    <a:pt x="8816" y="7579"/>
                    <a:pt x="8820" y="7567"/>
                    <a:pt x="8825" y="7556"/>
                  </a:cubicBezTo>
                  <a:cubicBezTo>
                    <a:pt x="8826" y="7547"/>
                    <a:pt x="8828" y="7539"/>
                    <a:pt x="8829" y="7530"/>
                  </a:cubicBezTo>
                  <a:cubicBezTo>
                    <a:pt x="8820" y="7507"/>
                    <a:pt x="8811" y="7485"/>
                    <a:pt x="8802" y="7462"/>
                  </a:cubicBezTo>
                  <a:cubicBezTo>
                    <a:pt x="8800" y="7442"/>
                    <a:pt x="8799" y="7422"/>
                    <a:pt x="8797" y="7402"/>
                  </a:cubicBezTo>
                  <a:cubicBezTo>
                    <a:pt x="8803" y="7365"/>
                    <a:pt x="8810" y="7328"/>
                    <a:pt x="8816" y="7291"/>
                  </a:cubicBezTo>
                  <a:cubicBezTo>
                    <a:pt x="8819" y="7279"/>
                    <a:pt x="8822" y="7268"/>
                    <a:pt x="8825" y="7256"/>
                  </a:cubicBezTo>
                  <a:cubicBezTo>
                    <a:pt x="8831" y="7248"/>
                    <a:pt x="8837" y="7239"/>
                    <a:pt x="8843" y="7231"/>
                  </a:cubicBezTo>
                  <a:cubicBezTo>
                    <a:pt x="8842" y="7222"/>
                    <a:pt x="8840" y="7214"/>
                    <a:pt x="8839" y="7205"/>
                  </a:cubicBezTo>
                  <a:lnTo>
                    <a:pt x="8839" y="7188"/>
                  </a:lnTo>
                  <a:cubicBezTo>
                    <a:pt x="8851" y="7179"/>
                    <a:pt x="8864" y="7171"/>
                    <a:pt x="8876" y="7162"/>
                  </a:cubicBezTo>
                  <a:cubicBezTo>
                    <a:pt x="8879" y="7159"/>
                    <a:pt x="8882" y="7157"/>
                    <a:pt x="8885" y="7154"/>
                  </a:cubicBezTo>
                  <a:lnTo>
                    <a:pt x="8885" y="7162"/>
                  </a:lnTo>
                  <a:cubicBezTo>
                    <a:pt x="8882" y="7171"/>
                    <a:pt x="8879" y="7179"/>
                    <a:pt x="8876" y="7188"/>
                  </a:cubicBezTo>
                  <a:cubicBezTo>
                    <a:pt x="8874" y="7194"/>
                    <a:pt x="8873" y="7199"/>
                    <a:pt x="8871" y="7205"/>
                  </a:cubicBezTo>
                  <a:cubicBezTo>
                    <a:pt x="8869" y="7208"/>
                    <a:pt x="8868" y="7211"/>
                    <a:pt x="8866" y="7214"/>
                  </a:cubicBezTo>
                  <a:cubicBezTo>
                    <a:pt x="8869" y="7231"/>
                    <a:pt x="8873" y="7248"/>
                    <a:pt x="8876" y="7265"/>
                  </a:cubicBezTo>
                  <a:cubicBezTo>
                    <a:pt x="8879" y="7271"/>
                    <a:pt x="8882" y="7276"/>
                    <a:pt x="8885" y="7282"/>
                  </a:cubicBezTo>
                  <a:lnTo>
                    <a:pt x="8889" y="7282"/>
                  </a:lnTo>
                  <a:cubicBezTo>
                    <a:pt x="8894" y="7268"/>
                    <a:pt x="8898" y="7253"/>
                    <a:pt x="8903" y="7239"/>
                  </a:cubicBezTo>
                  <a:lnTo>
                    <a:pt x="8903" y="7214"/>
                  </a:lnTo>
                  <a:cubicBezTo>
                    <a:pt x="8902" y="7185"/>
                    <a:pt x="8900" y="7157"/>
                    <a:pt x="8899" y="7128"/>
                  </a:cubicBezTo>
                  <a:cubicBezTo>
                    <a:pt x="8896" y="7125"/>
                    <a:pt x="8892" y="7123"/>
                    <a:pt x="8889" y="7120"/>
                  </a:cubicBezTo>
                  <a:lnTo>
                    <a:pt x="8871" y="7120"/>
                  </a:lnTo>
                  <a:lnTo>
                    <a:pt x="8871" y="7120"/>
                  </a:lnTo>
                  <a:lnTo>
                    <a:pt x="8871" y="6991"/>
                  </a:lnTo>
                  <a:lnTo>
                    <a:pt x="8871" y="6966"/>
                  </a:lnTo>
                  <a:cubicBezTo>
                    <a:pt x="8877" y="6957"/>
                    <a:pt x="8883" y="6949"/>
                    <a:pt x="8889" y="6940"/>
                  </a:cubicBezTo>
                  <a:cubicBezTo>
                    <a:pt x="8894" y="6929"/>
                    <a:pt x="8898" y="6917"/>
                    <a:pt x="8903" y="6906"/>
                  </a:cubicBezTo>
                  <a:cubicBezTo>
                    <a:pt x="8902" y="6897"/>
                    <a:pt x="8900" y="6889"/>
                    <a:pt x="8899" y="6880"/>
                  </a:cubicBezTo>
                  <a:cubicBezTo>
                    <a:pt x="8888" y="6869"/>
                    <a:pt x="8877" y="6857"/>
                    <a:pt x="8866" y="6846"/>
                  </a:cubicBezTo>
                  <a:lnTo>
                    <a:pt x="8853" y="6846"/>
                  </a:lnTo>
                  <a:cubicBezTo>
                    <a:pt x="8850" y="6857"/>
                    <a:pt x="8846" y="6869"/>
                    <a:pt x="8843" y="6880"/>
                  </a:cubicBezTo>
                  <a:lnTo>
                    <a:pt x="8843" y="6897"/>
                  </a:lnTo>
                  <a:cubicBezTo>
                    <a:pt x="8838" y="6891"/>
                    <a:pt x="8834" y="6886"/>
                    <a:pt x="8829" y="6880"/>
                  </a:cubicBezTo>
                  <a:cubicBezTo>
                    <a:pt x="8828" y="6877"/>
                    <a:pt x="8826" y="6875"/>
                    <a:pt x="8825" y="6872"/>
                  </a:cubicBezTo>
                  <a:cubicBezTo>
                    <a:pt x="8822" y="6863"/>
                    <a:pt x="8819" y="6855"/>
                    <a:pt x="8816" y="6846"/>
                  </a:cubicBezTo>
                  <a:lnTo>
                    <a:pt x="8816" y="6803"/>
                  </a:lnTo>
                  <a:cubicBezTo>
                    <a:pt x="8836" y="6735"/>
                    <a:pt x="8856" y="6666"/>
                    <a:pt x="8876" y="6598"/>
                  </a:cubicBezTo>
                  <a:lnTo>
                    <a:pt x="8876" y="6573"/>
                  </a:lnTo>
                  <a:cubicBezTo>
                    <a:pt x="8879" y="6567"/>
                    <a:pt x="8882" y="6562"/>
                    <a:pt x="8885" y="6556"/>
                  </a:cubicBezTo>
                  <a:cubicBezTo>
                    <a:pt x="8890" y="6562"/>
                    <a:pt x="8894" y="6567"/>
                    <a:pt x="8899" y="6573"/>
                  </a:cubicBezTo>
                  <a:cubicBezTo>
                    <a:pt x="8896" y="6567"/>
                    <a:pt x="8892" y="6562"/>
                    <a:pt x="8889" y="6556"/>
                  </a:cubicBezTo>
                  <a:lnTo>
                    <a:pt x="8889" y="6530"/>
                  </a:lnTo>
                  <a:cubicBezTo>
                    <a:pt x="8894" y="6527"/>
                    <a:pt x="8898" y="6524"/>
                    <a:pt x="8903" y="6521"/>
                  </a:cubicBezTo>
                  <a:lnTo>
                    <a:pt x="8903" y="6504"/>
                  </a:lnTo>
                  <a:lnTo>
                    <a:pt x="8903" y="6487"/>
                  </a:lnTo>
                  <a:lnTo>
                    <a:pt x="8903" y="6462"/>
                  </a:lnTo>
                  <a:cubicBezTo>
                    <a:pt x="8906" y="6448"/>
                    <a:pt x="8909" y="6433"/>
                    <a:pt x="8912" y="6419"/>
                  </a:cubicBezTo>
                  <a:cubicBezTo>
                    <a:pt x="8914" y="6410"/>
                    <a:pt x="8915" y="6402"/>
                    <a:pt x="8917" y="6393"/>
                  </a:cubicBezTo>
                  <a:cubicBezTo>
                    <a:pt x="8920" y="6390"/>
                    <a:pt x="8923" y="6388"/>
                    <a:pt x="8926" y="6385"/>
                  </a:cubicBezTo>
                  <a:lnTo>
                    <a:pt x="8931" y="6385"/>
                  </a:lnTo>
                  <a:cubicBezTo>
                    <a:pt x="8937" y="6376"/>
                    <a:pt x="8943" y="6368"/>
                    <a:pt x="8949" y="6359"/>
                  </a:cubicBezTo>
                  <a:cubicBezTo>
                    <a:pt x="8952" y="6362"/>
                    <a:pt x="8956" y="6365"/>
                    <a:pt x="8959" y="6368"/>
                  </a:cubicBezTo>
                  <a:cubicBezTo>
                    <a:pt x="8960" y="6374"/>
                    <a:pt x="8962" y="6379"/>
                    <a:pt x="8963" y="6385"/>
                  </a:cubicBezTo>
                  <a:cubicBezTo>
                    <a:pt x="8966" y="6376"/>
                    <a:pt x="8969" y="6368"/>
                    <a:pt x="8972" y="6359"/>
                  </a:cubicBezTo>
                  <a:cubicBezTo>
                    <a:pt x="8978" y="6356"/>
                    <a:pt x="8985" y="6353"/>
                    <a:pt x="8991" y="6350"/>
                  </a:cubicBezTo>
                  <a:lnTo>
                    <a:pt x="9000" y="6368"/>
                  </a:lnTo>
                  <a:cubicBezTo>
                    <a:pt x="9002" y="6376"/>
                    <a:pt x="9003" y="6385"/>
                    <a:pt x="9005" y="6393"/>
                  </a:cubicBezTo>
                  <a:lnTo>
                    <a:pt x="9018" y="6393"/>
                  </a:lnTo>
                  <a:cubicBezTo>
                    <a:pt x="9020" y="6382"/>
                    <a:pt x="9021" y="6370"/>
                    <a:pt x="9023" y="6359"/>
                  </a:cubicBezTo>
                  <a:lnTo>
                    <a:pt x="9023" y="6333"/>
                  </a:lnTo>
                  <a:cubicBezTo>
                    <a:pt x="9028" y="6325"/>
                    <a:pt x="9032" y="6316"/>
                    <a:pt x="9037" y="6308"/>
                  </a:cubicBezTo>
                  <a:lnTo>
                    <a:pt x="9074" y="6274"/>
                  </a:lnTo>
                  <a:cubicBezTo>
                    <a:pt x="9080" y="6257"/>
                    <a:pt x="9086" y="6239"/>
                    <a:pt x="9092" y="6222"/>
                  </a:cubicBezTo>
                  <a:cubicBezTo>
                    <a:pt x="9094" y="6225"/>
                    <a:pt x="9095" y="6228"/>
                    <a:pt x="9097" y="6231"/>
                  </a:cubicBezTo>
                  <a:lnTo>
                    <a:pt x="9097" y="6248"/>
                  </a:lnTo>
                  <a:lnTo>
                    <a:pt x="9097" y="6274"/>
                  </a:lnTo>
                  <a:lnTo>
                    <a:pt x="9097" y="6308"/>
                  </a:lnTo>
                  <a:cubicBezTo>
                    <a:pt x="9095" y="6328"/>
                    <a:pt x="9094" y="6348"/>
                    <a:pt x="9092" y="6368"/>
                  </a:cubicBezTo>
                  <a:lnTo>
                    <a:pt x="9092" y="6385"/>
                  </a:lnTo>
                  <a:lnTo>
                    <a:pt x="9092" y="6393"/>
                  </a:lnTo>
                  <a:lnTo>
                    <a:pt x="9092" y="6393"/>
                  </a:lnTo>
                  <a:cubicBezTo>
                    <a:pt x="9109" y="6362"/>
                    <a:pt x="9126" y="6330"/>
                    <a:pt x="9143" y="6299"/>
                  </a:cubicBezTo>
                  <a:lnTo>
                    <a:pt x="9143" y="6282"/>
                  </a:lnTo>
                  <a:lnTo>
                    <a:pt x="9143" y="6256"/>
                  </a:lnTo>
                  <a:lnTo>
                    <a:pt x="9143" y="6256"/>
                  </a:lnTo>
                  <a:cubicBezTo>
                    <a:pt x="9148" y="6262"/>
                    <a:pt x="9152" y="6268"/>
                    <a:pt x="9157" y="6274"/>
                  </a:cubicBezTo>
                  <a:cubicBezTo>
                    <a:pt x="9160" y="6265"/>
                    <a:pt x="9163" y="6257"/>
                    <a:pt x="9166" y="6248"/>
                  </a:cubicBezTo>
                  <a:lnTo>
                    <a:pt x="9180" y="6248"/>
                  </a:lnTo>
                  <a:cubicBezTo>
                    <a:pt x="9186" y="6239"/>
                    <a:pt x="9192" y="6231"/>
                    <a:pt x="9198" y="6222"/>
                  </a:cubicBezTo>
                  <a:lnTo>
                    <a:pt x="9212" y="6222"/>
                  </a:lnTo>
                  <a:cubicBezTo>
                    <a:pt x="9217" y="6214"/>
                    <a:pt x="9221" y="6205"/>
                    <a:pt x="9226" y="6197"/>
                  </a:cubicBezTo>
                  <a:cubicBezTo>
                    <a:pt x="9227" y="6203"/>
                    <a:pt x="9229" y="6208"/>
                    <a:pt x="9230" y="6214"/>
                  </a:cubicBezTo>
                  <a:lnTo>
                    <a:pt x="9272" y="6214"/>
                  </a:lnTo>
                  <a:cubicBezTo>
                    <a:pt x="9283" y="6220"/>
                    <a:pt x="9293" y="6225"/>
                    <a:pt x="9304" y="6231"/>
                  </a:cubicBezTo>
                  <a:cubicBezTo>
                    <a:pt x="9309" y="6237"/>
                    <a:pt x="9313" y="6242"/>
                    <a:pt x="9318" y="6248"/>
                  </a:cubicBezTo>
                  <a:cubicBezTo>
                    <a:pt x="9321" y="6259"/>
                    <a:pt x="9324" y="6271"/>
                    <a:pt x="9327" y="6282"/>
                  </a:cubicBezTo>
                  <a:cubicBezTo>
                    <a:pt x="9336" y="6305"/>
                    <a:pt x="9346" y="6327"/>
                    <a:pt x="9355" y="6350"/>
                  </a:cubicBezTo>
                  <a:lnTo>
                    <a:pt x="9355" y="6359"/>
                  </a:lnTo>
                  <a:lnTo>
                    <a:pt x="9364" y="6368"/>
                  </a:lnTo>
                  <a:lnTo>
                    <a:pt x="9373" y="6359"/>
                  </a:lnTo>
                  <a:lnTo>
                    <a:pt x="9373" y="6325"/>
                  </a:lnTo>
                  <a:cubicBezTo>
                    <a:pt x="9378" y="6302"/>
                    <a:pt x="9382" y="6279"/>
                    <a:pt x="9387" y="6256"/>
                  </a:cubicBezTo>
                  <a:lnTo>
                    <a:pt x="9387" y="6248"/>
                  </a:lnTo>
                  <a:lnTo>
                    <a:pt x="9378" y="6248"/>
                  </a:lnTo>
                  <a:cubicBezTo>
                    <a:pt x="9387" y="6239"/>
                    <a:pt x="9397" y="6231"/>
                    <a:pt x="9406" y="6222"/>
                  </a:cubicBezTo>
                  <a:lnTo>
                    <a:pt x="9415" y="6222"/>
                  </a:lnTo>
                  <a:lnTo>
                    <a:pt x="9415" y="6197"/>
                  </a:lnTo>
                  <a:cubicBezTo>
                    <a:pt x="9416" y="6203"/>
                    <a:pt x="9418" y="6208"/>
                    <a:pt x="9419" y="6214"/>
                  </a:cubicBezTo>
                  <a:lnTo>
                    <a:pt x="9424" y="6214"/>
                  </a:lnTo>
                  <a:cubicBezTo>
                    <a:pt x="9432" y="6200"/>
                    <a:pt x="9439" y="6185"/>
                    <a:pt x="9447" y="6171"/>
                  </a:cubicBezTo>
                  <a:lnTo>
                    <a:pt x="9452" y="6171"/>
                  </a:lnTo>
                  <a:lnTo>
                    <a:pt x="9452" y="6162"/>
                  </a:lnTo>
                  <a:cubicBezTo>
                    <a:pt x="9455" y="6154"/>
                    <a:pt x="9458" y="6145"/>
                    <a:pt x="9461" y="6137"/>
                  </a:cubicBezTo>
                  <a:lnTo>
                    <a:pt x="9475" y="6137"/>
                  </a:lnTo>
                  <a:lnTo>
                    <a:pt x="9475" y="6137"/>
                  </a:lnTo>
                  <a:cubicBezTo>
                    <a:pt x="9476" y="6131"/>
                    <a:pt x="9478" y="6126"/>
                    <a:pt x="9479" y="6120"/>
                  </a:cubicBezTo>
                  <a:lnTo>
                    <a:pt x="9488" y="6120"/>
                  </a:lnTo>
                  <a:lnTo>
                    <a:pt x="9488" y="6111"/>
                  </a:lnTo>
                  <a:cubicBezTo>
                    <a:pt x="9485" y="6108"/>
                    <a:pt x="9482" y="6106"/>
                    <a:pt x="9479" y="6103"/>
                  </a:cubicBezTo>
                  <a:lnTo>
                    <a:pt x="9479" y="6085"/>
                  </a:lnTo>
                  <a:lnTo>
                    <a:pt x="9488" y="6103"/>
                  </a:lnTo>
                  <a:cubicBezTo>
                    <a:pt x="9490" y="6106"/>
                    <a:pt x="9491" y="6108"/>
                    <a:pt x="9493" y="6111"/>
                  </a:cubicBezTo>
                  <a:cubicBezTo>
                    <a:pt x="9495" y="6108"/>
                    <a:pt x="9496" y="6106"/>
                    <a:pt x="9498" y="6103"/>
                  </a:cubicBezTo>
                  <a:cubicBezTo>
                    <a:pt x="9501" y="6094"/>
                    <a:pt x="9504" y="6086"/>
                    <a:pt x="9507" y="6077"/>
                  </a:cubicBezTo>
                  <a:cubicBezTo>
                    <a:pt x="9504" y="6071"/>
                    <a:pt x="9501" y="6066"/>
                    <a:pt x="9498" y="6060"/>
                  </a:cubicBezTo>
                  <a:lnTo>
                    <a:pt x="9512" y="6060"/>
                  </a:lnTo>
                  <a:cubicBezTo>
                    <a:pt x="9516" y="6051"/>
                    <a:pt x="9521" y="6043"/>
                    <a:pt x="9525" y="6034"/>
                  </a:cubicBezTo>
                  <a:lnTo>
                    <a:pt x="9535" y="6034"/>
                  </a:lnTo>
                  <a:lnTo>
                    <a:pt x="9535" y="6026"/>
                  </a:lnTo>
                  <a:cubicBezTo>
                    <a:pt x="9532" y="6020"/>
                    <a:pt x="9528" y="6015"/>
                    <a:pt x="9525" y="6009"/>
                  </a:cubicBezTo>
                  <a:cubicBezTo>
                    <a:pt x="9528" y="6006"/>
                    <a:pt x="9532" y="6003"/>
                    <a:pt x="9535" y="6000"/>
                  </a:cubicBezTo>
                  <a:cubicBezTo>
                    <a:pt x="9536" y="6003"/>
                    <a:pt x="9538" y="6006"/>
                    <a:pt x="9539" y="6009"/>
                  </a:cubicBezTo>
                  <a:lnTo>
                    <a:pt x="9548" y="6009"/>
                  </a:lnTo>
                  <a:cubicBezTo>
                    <a:pt x="9550" y="6006"/>
                    <a:pt x="9551" y="6003"/>
                    <a:pt x="9553" y="6000"/>
                  </a:cubicBezTo>
                  <a:cubicBezTo>
                    <a:pt x="9556" y="5994"/>
                    <a:pt x="9559" y="5989"/>
                    <a:pt x="9562" y="5983"/>
                  </a:cubicBezTo>
                  <a:lnTo>
                    <a:pt x="9562" y="5974"/>
                  </a:lnTo>
                  <a:lnTo>
                    <a:pt x="9567" y="5974"/>
                  </a:lnTo>
                  <a:lnTo>
                    <a:pt x="9567" y="5966"/>
                  </a:lnTo>
                  <a:lnTo>
                    <a:pt x="9567" y="5940"/>
                  </a:lnTo>
                  <a:cubicBezTo>
                    <a:pt x="9568" y="5932"/>
                    <a:pt x="9570" y="5923"/>
                    <a:pt x="9571" y="5915"/>
                  </a:cubicBezTo>
                  <a:cubicBezTo>
                    <a:pt x="9574" y="5918"/>
                    <a:pt x="9578" y="5920"/>
                    <a:pt x="9581" y="5923"/>
                  </a:cubicBezTo>
                  <a:cubicBezTo>
                    <a:pt x="9582" y="5929"/>
                    <a:pt x="9584" y="5934"/>
                    <a:pt x="9585" y="5940"/>
                  </a:cubicBezTo>
                  <a:lnTo>
                    <a:pt x="9594" y="5949"/>
                  </a:lnTo>
                  <a:cubicBezTo>
                    <a:pt x="9596" y="5946"/>
                    <a:pt x="9597" y="5943"/>
                    <a:pt x="9599" y="5940"/>
                  </a:cubicBezTo>
                  <a:cubicBezTo>
                    <a:pt x="9604" y="5932"/>
                    <a:pt x="9608" y="5923"/>
                    <a:pt x="9613" y="5915"/>
                  </a:cubicBezTo>
                  <a:lnTo>
                    <a:pt x="9645" y="5889"/>
                  </a:lnTo>
                  <a:cubicBezTo>
                    <a:pt x="9648" y="5883"/>
                    <a:pt x="9651" y="5878"/>
                    <a:pt x="9654" y="5872"/>
                  </a:cubicBezTo>
                  <a:cubicBezTo>
                    <a:pt x="9660" y="5869"/>
                    <a:pt x="9667" y="5866"/>
                    <a:pt x="9673" y="5863"/>
                  </a:cubicBezTo>
                  <a:cubicBezTo>
                    <a:pt x="9676" y="5855"/>
                    <a:pt x="9679" y="5846"/>
                    <a:pt x="9682" y="5838"/>
                  </a:cubicBezTo>
                  <a:lnTo>
                    <a:pt x="9682" y="5829"/>
                  </a:lnTo>
                  <a:lnTo>
                    <a:pt x="9682" y="5812"/>
                  </a:lnTo>
                  <a:lnTo>
                    <a:pt x="9687" y="5812"/>
                  </a:lnTo>
                  <a:lnTo>
                    <a:pt x="9687" y="5829"/>
                  </a:lnTo>
                  <a:lnTo>
                    <a:pt x="9687" y="5829"/>
                  </a:lnTo>
                  <a:lnTo>
                    <a:pt x="9719" y="5803"/>
                  </a:lnTo>
                  <a:lnTo>
                    <a:pt x="9728" y="5803"/>
                  </a:lnTo>
                  <a:cubicBezTo>
                    <a:pt x="9745" y="5777"/>
                    <a:pt x="9762" y="5752"/>
                    <a:pt x="9779" y="5726"/>
                  </a:cubicBezTo>
                  <a:cubicBezTo>
                    <a:pt x="9791" y="5720"/>
                    <a:pt x="9804" y="5715"/>
                    <a:pt x="9816" y="5709"/>
                  </a:cubicBezTo>
                  <a:cubicBezTo>
                    <a:pt x="9817" y="5706"/>
                    <a:pt x="9819" y="5704"/>
                    <a:pt x="9820" y="5701"/>
                  </a:cubicBezTo>
                  <a:cubicBezTo>
                    <a:pt x="9819" y="5698"/>
                    <a:pt x="9817" y="5695"/>
                    <a:pt x="9816" y="5692"/>
                  </a:cubicBezTo>
                  <a:lnTo>
                    <a:pt x="9816" y="5692"/>
                  </a:lnTo>
                  <a:cubicBezTo>
                    <a:pt x="9811" y="5669"/>
                    <a:pt x="9807" y="5647"/>
                    <a:pt x="9802" y="5624"/>
                  </a:cubicBezTo>
                  <a:lnTo>
                    <a:pt x="9806" y="5624"/>
                  </a:lnTo>
                  <a:cubicBezTo>
                    <a:pt x="9811" y="5641"/>
                    <a:pt x="9815" y="5658"/>
                    <a:pt x="9820" y="5675"/>
                  </a:cubicBezTo>
                  <a:lnTo>
                    <a:pt x="9829" y="5675"/>
                  </a:lnTo>
                  <a:lnTo>
                    <a:pt x="9829" y="5692"/>
                  </a:lnTo>
                  <a:lnTo>
                    <a:pt x="9829" y="5701"/>
                  </a:lnTo>
                  <a:lnTo>
                    <a:pt x="9839" y="5701"/>
                  </a:lnTo>
                  <a:lnTo>
                    <a:pt x="9839" y="5692"/>
                  </a:lnTo>
                  <a:lnTo>
                    <a:pt x="9839" y="5675"/>
                  </a:lnTo>
                  <a:lnTo>
                    <a:pt x="9848" y="5675"/>
                  </a:lnTo>
                  <a:lnTo>
                    <a:pt x="9848" y="5692"/>
                  </a:lnTo>
                  <a:cubicBezTo>
                    <a:pt x="9850" y="5695"/>
                    <a:pt x="9851" y="5698"/>
                    <a:pt x="9853" y="5701"/>
                  </a:cubicBezTo>
                  <a:cubicBezTo>
                    <a:pt x="9862" y="5704"/>
                    <a:pt x="9871" y="5706"/>
                    <a:pt x="9880" y="5709"/>
                  </a:cubicBezTo>
                  <a:cubicBezTo>
                    <a:pt x="9891" y="5723"/>
                    <a:pt x="9901" y="5738"/>
                    <a:pt x="9912" y="5752"/>
                  </a:cubicBezTo>
                  <a:cubicBezTo>
                    <a:pt x="9917" y="5755"/>
                    <a:pt x="9921" y="5758"/>
                    <a:pt x="9926" y="5761"/>
                  </a:cubicBezTo>
                  <a:lnTo>
                    <a:pt x="9935" y="5761"/>
                  </a:lnTo>
                  <a:cubicBezTo>
                    <a:pt x="9937" y="5752"/>
                    <a:pt x="9938" y="5744"/>
                    <a:pt x="9940" y="5735"/>
                  </a:cubicBezTo>
                  <a:lnTo>
                    <a:pt x="9949" y="5735"/>
                  </a:lnTo>
                  <a:cubicBezTo>
                    <a:pt x="9955" y="5721"/>
                    <a:pt x="9962" y="5706"/>
                    <a:pt x="9968" y="5692"/>
                  </a:cubicBezTo>
                  <a:lnTo>
                    <a:pt x="9968" y="5650"/>
                  </a:lnTo>
                  <a:lnTo>
                    <a:pt x="9968" y="5624"/>
                  </a:lnTo>
                  <a:cubicBezTo>
                    <a:pt x="9957" y="5615"/>
                    <a:pt x="9946" y="5607"/>
                    <a:pt x="9935" y="5598"/>
                  </a:cubicBezTo>
                  <a:lnTo>
                    <a:pt x="9935" y="5590"/>
                  </a:lnTo>
                  <a:lnTo>
                    <a:pt x="9935" y="5573"/>
                  </a:lnTo>
                  <a:lnTo>
                    <a:pt x="9935" y="5573"/>
                  </a:lnTo>
                  <a:lnTo>
                    <a:pt x="9940" y="5573"/>
                  </a:lnTo>
                  <a:lnTo>
                    <a:pt x="9954" y="5573"/>
                  </a:lnTo>
                  <a:lnTo>
                    <a:pt x="9963" y="5564"/>
                  </a:lnTo>
                  <a:cubicBezTo>
                    <a:pt x="9960" y="5553"/>
                    <a:pt x="9957" y="5541"/>
                    <a:pt x="9954" y="5530"/>
                  </a:cubicBezTo>
                  <a:lnTo>
                    <a:pt x="9949" y="5530"/>
                  </a:lnTo>
                  <a:cubicBezTo>
                    <a:pt x="9941" y="5513"/>
                    <a:pt x="9934" y="5496"/>
                    <a:pt x="9926" y="5479"/>
                  </a:cubicBezTo>
                  <a:cubicBezTo>
                    <a:pt x="9921" y="5428"/>
                    <a:pt x="9917" y="5376"/>
                    <a:pt x="9912" y="5325"/>
                  </a:cubicBezTo>
                  <a:cubicBezTo>
                    <a:pt x="9909" y="5331"/>
                    <a:pt x="9906" y="5336"/>
                    <a:pt x="9903" y="5342"/>
                  </a:cubicBezTo>
                  <a:cubicBezTo>
                    <a:pt x="9898" y="5333"/>
                    <a:pt x="9894" y="5325"/>
                    <a:pt x="9889" y="5316"/>
                  </a:cubicBezTo>
                  <a:lnTo>
                    <a:pt x="9889" y="5291"/>
                  </a:lnTo>
                  <a:lnTo>
                    <a:pt x="9903" y="5291"/>
                  </a:lnTo>
                  <a:lnTo>
                    <a:pt x="9903" y="5291"/>
                  </a:lnTo>
                  <a:cubicBezTo>
                    <a:pt x="9900" y="5265"/>
                    <a:pt x="9897" y="5240"/>
                    <a:pt x="9894" y="5214"/>
                  </a:cubicBezTo>
                  <a:cubicBezTo>
                    <a:pt x="9889" y="5222"/>
                    <a:pt x="9885" y="5231"/>
                    <a:pt x="9880" y="5239"/>
                  </a:cubicBezTo>
                  <a:cubicBezTo>
                    <a:pt x="9879" y="5245"/>
                    <a:pt x="9877" y="5250"/>
                    <a:pt x="9876" y="5256"/>
                  </a:cubicBezTo>
                  <a:cubicBezTo>
                    <a:pt x="9871" y="5250"/>
                    <a:pt x="9867" y="5245"/>
                    <a:pt x="9862" y="5239"/>
                  </a:cubicBezTo>
                  <a:cubicBezTo>
                    <a:pt x="9859" y="5231"/>
                    <a:pt x="9856" y="5222"/>
                    <a:pt x="9853" y="5214"/>
                  </a:cubicBezTo>
                  <a:lnTo>
                    <a:pt x="9839" y="5214"/>
                  </a:lnTo>
                  <a:cubicBezTo>
                    <a:pt x="9837" y="5205"/>
                    <a:pt x="9836" y="5197"/>
                    <a:pt x="9834" y="5188"/>
                  </a:cubicBezTo>
                  <a:lnTo>
                    <a:pt x="9834" y="5103"/>
                  </a:lnTo>
                  <a:cubicBezTo>
                    <a:pt x="9836" y="5100"/>
                    <a:pt x="9837" y="5097"/>
                    <a:pt x="9839" y="5094"/>
                  </a:cubicBezTo>
                  <a:cubicBezTo>
                    <a:pt x="9844" y="5097"/>
                    <a:pt x="9848" y="5100"/>
                    <a:pt x="9853" y="5103"/>
                  </a:cubicBezTo>
                  <a:cubicBezTo>
                    <a:pt x="9861" y="5111"/>
                    <a:pt x="9868" y="5120"/>
                    <a:pt x="9876" y="5128"/>
                  </a:cubicBezTo>
                  <a:cubicBezTo>
                    <a:pt x="9880" y="5120"/>
                    <a:pt x="9885" y="5111"/>
                    <a:pt x="9889" y="5103"/>
                  </a:cubicBezTo>
                  <a:cubicBezTo>
                    <a:pt x="9886" y="5109"/>
                    <a:pt x="9883" y="5114"/>
                    <a:pt x="9880" y="5120"/>
                  </a:cubicBezTo>
                  <a:cubicBezTo>
                    <a:pt x="9883" y="5123"/>
                    <a:pt x="9886" y="5125"/>
                    <a:pt x="9889" y="5128"/>
                  </a:cubicBezTo>
                  <a:lnTo>
                    <a:pt x="9912" y="5128"/>
                  </a:lnTo>
                  <a:cubicBezTo>
                    <a:pt x="9911" y="5134"/>
                    <a:pt x="9909" y="5139"/>
                    <a:pt x="9908" y="5145"/>
                  </a:cubicBezTo>
                  <a:lnTo>
                    <a:pt x="9908" y="5154"/>
                  </a:lnTo>
                  <a:cubicBezTo>
                    <a:pt x="9913" y="5145"/>
                    <a:pt x="9917" y="5137"/>
                    <a:pt x="9922" y="5128"/>
                  </a:cubicBezTo>
                  <a:cubicBezTo>
                    <a:pt x="9926" y="5120"/>
                    <a:pt x="9931" y="5111"/>
                    <a:pt x="9935" y="5103"/>
                  </a:cubicBezTo>
                  <a:cubicBezTo>
                    <a:pt x="9946" y="5094"/>
                    <a:pt x="9957" y="5086"/>
                    <a:pt x="9968" y="5077"/>
                  </a:cubicBezTo>
                  <a:cubicBezTo>
                    <a:pt x="9979" y="5057"/>
                    <a:pt x="9989" y="5037"/>
                    <a:pt x="10000" y="5017"/>
                  </a:cubicBezTo>
                  <a:cubicBezTo>
                    <a:pt x="10019" y="4983"/>
                    <a:pt x="10204" y="4911"/>
                    <a:pt x="10227" y="4860"/>
                  </a:cubicBezTo>
                  <a:cubicBezTo>
                    <a:pt x="10198" y="4809"/>
                    <a:pt x="10168" y="4759"/>
                    <a:pt x="10139" y="4708"/>
                  </a:cubicBezTo>
                  <a:lnTo>
                    <a:pt x="10233" y="4530"/>
                  </a:lnTo>
                  <a:cubicBezTo>
                    <a:pt x="10267" y="4623"/>
                    <a:pt x="10300" y="4717"/>
                    <a:pt x="10334" y="4810"/>
                  </a:cubicBezTo>
                  <a:cubicBezTo>
                    <a:pt x="10363" y="4890"/>
                    <a:pt x="10393" y="4971"/>
                    <a:pt x="10422" y="5051"/>
                  </a:cubicBezTo>
                  <a:lnTo>
                    <a:pt x="10691" y="5255"/>
                  </a:lnTo>
                  <a:cubicBezTo>
                    <a:pt x="10759" y="4971"/>
                    <a:pt x="10643" y="4890"/>
                    <a:pt x="10619" y="4708"/>
                  </a:cubicBezTo>
                  <a:lnTo>
                    <a:pt x="10785" y="4708"/>
                  </a:lnTo>
                  <a:cubicBezTo>
                    <a:pt x="10753" y="4628"/>
                    <a:pt x="10721" y="4547"/>
                    <a:pt x="10689" y="4467"/>
                  </a:cubicBezTo>
                  <a:cubicBezTo>
                    <a:pt x="10705" y="4429"/>
                    <a:pt x="10338" y="4340"/>
                    <a:pt x="10354" y="4302"/>
                  </a:cubicBezTo>
                  <a:cubicBezTo>
                    <a:pt x="10325" y="4256"/>
                    <a:pt x="9941" y="3721"/>
                    <a:pt x="9912" y="3675"/>
                  </a:cubicBezTo>
                  <a:cubicBezTo>
                    <a:pt x="9909" y="3672"/>
                    <a:pt x="9906" y="3670"/>
                    <a:pt x="9903" y="3667"/>
                  </a:cubicBezTo>
                  <a:cubicBezTo>
                    <a:pt x="9900" y="3658"/>
                    <a:pt x="9897" y="3650"/>
                    <a:pt x="9894" y="3641"/>
                  </a:cubicBezTo>
                  <a:cubicBezTo>
                    <a:pt x="9892" y="3644"/>
                    <a:pt x="9891" y="3647"/>
                    <a:pt x="9889" y="3650"/>
                  </a:cubicBezTo>
                  <a:cubicBezTo>
                    <a:pt x="9875" y="3633"/>
                    <a:pt x="9862" y="3615"/>
                    <a:pt x="9848" y="3598"/>
                  </a:cubicBezTo>
                  <a:cubicBezTo>
                    <a:pt x="9842" y="3592"/>
                    <a:pt x="9835" y="3587"/>
                    <a:pt x="9829" y="3581"/>
                  </a:cubicBezTo>
                  <a:lnTo>
                    <a:pt x="9820" y="3581"/>
                  </a:lnTo>
                  <a:cubicBezTo>
                    <a:pt x="9811" y="3573"/>
                    <a:pt x="9802" y="3564"/>
                    <a:pt x="9793" y="3556"/>
                  </a:cubicBezTo>
                  <a:lnTo>
                    <a:pt x="9779" y="3556"/>
                  </a:lnTo>
                  <a:cubicBezTo>
                    <a:pt x="9768" y="3533"/>
                    <a:pt x="9758" y="3510"/>
                    <a:pt x="9747" y="3487"/>
                  </a:cubicBezTo>
                  <a:cubicBezTo>
                    <a:pt x="9721" y="3484"/>
                    <a:pt x="9694" y="3482"/>
                    <a:pt x="9668" y="3479"/>
                  </a:cubicBezTo>
                  <a:cubicBezTo>
                    <a:pt x="9665" y="3482"/>
                    <a:pt x="9662" y="3484"/>
                    <a:pt x="9659" y="3487"/>
                  </a:cubicBezTo>
                  <a:cubicBezTo>
                    <a:pt x="9654" y="3493"/>
                    <a:pt x="9650" y="3498"/>
                    <a:pt x="9645" y="3504"/>
                  </a:cubicBezTo>
                  <a:cubicBezTo>
                    <a:pt x="9640" y="3498"/>
                    <a:pt x="9636" y="3493"/>
                    <a:pt x="9631" y="3487"/>
                  </a:cubicBezTo>
                  <a:cubicBezTo>
                    <a:pt x="9625" y="3484"/>
                    <a:pt x="9619" y="3482"/>
                    <a:pt x="9613" y="3479"/>
                  </a:cubicBezTo>
                  <a:lnTo>
                    <a:pt x="9599" y="3479"/>
                  </a:lnTo>
                  <a:lnTo>
                    <a:pt x="9571" y="3479"/>
                  </a:lnTo>
                  <a:cubicBezTo>
                    <a:pt x="9568" y="3482"/>
                    <a:pt x="9565" y="3484"/>
                    <a:pt x="9562" y="3487"/>
                  </a:cubicBezTo>
                  <a:lnTo>
                    <a:pt x="9539" y="3487"/>
                  </a:lnTo>
                  <a:cubicBezTo>
                    <a:pt x="9528" y="3476"/>
                    <a:pt x="9518" y="3464"/>
                    <a:pt x="9507" y="3453"/>
                  </a:cubicBezTo>
                  <a:lnTo>
                    <a:pt x="9498" y="3453"/>
                  </a:lnTo>
                  <a:lnTo>
                    <a:pt x="9387" y="3419"/>
                  </a:lnTo>
                  <a:cubicBezTo>
                    <a:pt x="9382" y="3422"/>
                    <a:pt x="9378" y="3424"/>
                    <a:pt x="9373" y="3427"/>
                  </a:cubicBezTo>
                  <a:lnTo>
                    <a:pt x="9373" y="3462"/>
                  </a:lnTo>
                  <a:cubicBezTo>
                    <a:pt x="9375" y="3468"/>
                    <a:pt x="9376" y="3473"/>
                    <a:pt x="9378" y="3479"/>
                  </a:cubicBezTo>
                  <a:lnTo>
                    <a:pt x="9378" y="3530"/>
                  </a:lnTo>
                  <a:cubicBezTo>
                    <a:pt x="9370" y="3533"/>
                    <a:pt x="9363" y="3535"/>
                    <a:pt x="9355" y="3538"/>
                  </a:cubicBezTo>
                  <a:lnTo>
                    <a:pt x="9355" y="3581"/>
                  </a:lnTo>
                  <a:lnTo>
                    <a:pt x="9387" y="3590"/>
                  </a:lnTo>
                  <a:cubicBezTo>
                    <a:pt x="9392" y="3616"/>
                    <a:pt x="9396" y="3641"/>
                    <a:pt x="9401" y="3667"/>
                  </a:cubicBezTo>
                  <a:cubicBezTo>
                    <a:pt x="9403" y="3670"/>
                    <a:pt x="9404" y="3672"/>
                    <a:pt x="9406" y="3675"/>
                  </a:cubicBezTo>
                  <a:lnTo>
                    <a:pt x="9406" y="3701"/>
                  </a:lnTo>
                  <a:lnTo>
                    <a:pt x="9415" y="3752"/>
                  </a:lnTo>
                  <a:cubicBezTo>
                    <a:pt x="9401" y="3781"/>
                    <a:pt x="9387" y="3809"/>
                    <a:pt x="9373" y="3838"/>
                  </a:cubicBezTo>
                  <a:cubicBezTo>
                    <a:pt x="9367" y="3846"/>
                    <a:pt x="9361" y="3855"/>
                    <a:pt x="9355" y="3863"/>
                  </a:cubicBezTo>
                  <a:lnTo>
                    <a:pt x="9327" y="3863"/>
                  </a:lnTo>
                  <a:cubicBezTo>
                    <a:pt x="9322" y="3857"/>
                    <a:pt x="9318" y="3852"/>
                    <a:pt x="9313" y="3846"/>
                  </a:cubicBezTo>
                  <a:cubicBezTo>
                    <a:pt x="9309" y="3823"/>
                    <a:pt x="9304" y="3801"/>
                    <a:pt x="9300" y="3778"/>
                  </a:cubicBezTo>
                  <a:cubicBezTo>
                    <a:pt x="9294" y="3769"/>
                    <a:pt x="9287" y="3761"/>
                    <a:pt x="9281" y="3752"/>
                  </a:cubicBezTo>
                  <a:lnTo>
                    <a:pt x="9281" y="3735"/>
                  </a:lnTo>
                  <a:cubicBezTo>
                    <a:pt x="9276" y="3732"/>
                    <a:pt x="9272" y="3729"/>
                    <a:pt x="9267" y="3726"/>
                  </a:cubicBezTo>
                  <a:lnTo>
                    <a:pt x="9240" y="3726"/>
                  </a:lnTo>
                  <a:cubicBezTo>
                    <a:pt x="9237" y="3723"/>
                    <a:pt x="9233" y="3721"/>
                    <a:pt x="9230" y="3718"/>
                  </a:cubicBezTo>
                  <a:cubicBezTo>
                    <a:pt x="9229" y="3675"/>
                    <a:pt x="9227" y="3633"/>
                    <a:pt x="9226" y="3590"/>
                  </a:cubicBezTo>
                  <a:cubicBezTo>
                    <a:pt x="9220" y="3587"/>
                    <a:pt x="9213" y="3584"/>
                    <a:pt x="9207" y="3581"/>
                  </a:cubicBezTo>
                  <a:lnTo>
                    <a:pt x="9207" y="3556"/>
                  </a:lnTo>
                  <a:cubicBezTo>
                    <a:pt x="9210" y="3550"/>
                    <a:pt x="9214" y="3544"/>
                    <a:pt x="9217" y="3538"/>
                  </a:cubicBezTo>
                  <a:lnTo>
                    <a:pt x="9212" y="3538"/>
                  </a:lnTo>
                  <a:cubicBezTo>
                    <a:pt x="9207" y="3530"/>
                    <a:pt x="9203" y="3521"/>
                    <a:pt x="9198" y="3513"/>
                  </a:cubicBezTo>
                  <a:cubicBezTo>
                    <a:pt x="9197" y="3519"/>
                    <a:pt x="9195" y="3524"/>
                    <a:pt x="9194" y="3530"/>
                  </a:cubicBezTo>
                  <a:cubicBezTo>
                    <a:pt x="9177" y="3558"/>
                    <a:pt x="9160" y="3587"/>
                    <a:pt x="9143" y="3615"/>
                  </a:cubicBezTo>
                  <a:lnTo>
                    <a:pt x="9138" y="3615"/>
                  </a:lnTo>
                  <a:lnTo>
                    <a:pt x="9134" y="3615"/>
                  </a:lnTo>
                  <a:lnTo>
                    <a:pt x="9106" y="3615"/>
                  </a:lnTo>
                  <a:lnTo>
                    <a:pt x="9078" y="3590"/>
                  </a:lnTo>
                  <a:lnTo>
                    <a:pt x="9037" y="3581"/>
                  </a:lnTo>
                  <a:cubicBezTo>
                    <a:pt x="9032" y="3584"/>
                    <a:pt x="9028" y="3587"/>
                    <a:pt x="9023" y="3590"/>
                  </a:cubicBezTo>
                  <a:lnTo>
                    <a:pt x="9018" y="3590"/>
                  </a:lnTo>
                  <a:lnTo>
                    <a:pt x="9018" y="3590"/>
                  </a:lnTo>
                  <a:lnTo>
                    <a:pt x="8991" y="3590"/>
                  </a:lnTo>
                  <a:cubicBezTo>
                    <a:pt x="8985" y="3587"/>
                    <a:pt x="8978" y="3584"/>
                    <a:pt x="8972" y="3581"/>
                  </a:cubicBezTo>
                  <a:cubicBezTo>
                    <a:pt x="8968" y="3558"/>
                    <a:pt x="8963" y="3536"/>
                    <a:pt x="8959" y="3513"/>
                  </a:cubicBezTo>
                  <a:lnTo>
                    <a:pt x="8931" y="3538"/>
                  </a:lnTo>
                  <a:lnTo>
                    <a:pt x="8889" y="3538"/>
                  </a:lnTo>
                  <a:lnTo>
                    <a:pt x="8871" y="3556"/>
                  </a:lnTo>
                  <a:cubicBezTo>
                    <a:pt x="8866" y="3550"/>
                    <a:pt x="8862" y="3544"/>
                    <a:pt x="8857" y="3538"/>
                  </a:cubicBezTo>
                  <a:lnTo>
                    <a:pt x="8843" y="3538"/>
                  </a:lnTo>
                  <a:cubicBezTo>
                    <a:pt x="8842" y="3544"/>
                    <a:pt x="8840" y="3550"/>
                    <a:pt x="8839" y="3556"/>
                  </a:cubicBezTo>
                  <a:lnTo>
                    <a:pt x="8839" y="3581"/>
                  </a:lnTo>
                  <a:cubicBezTo>
                    <a:pt x="8834" y="3575"/>
                    <a:pt x="8830" y="3570"/>
                    <a:pt x="8825" y="3564"/>
                  </a:cubicBezTo>
                  <a:lnTo>
                    <a:pt x="8825" y="3615"/>
                  </a:lnTo>
                  <a:cubicBezTo>
                    <a:pt x="8817" y="3609"/>
                    <a:pt x="8810" y="3604"/>
                    <a:pt x="8802" y="3598"/>
                  </a:cubicBezTo>
                  <a:cubicBezTo>
                    <a:pt x="8800" y="3612"/>
                    <a:pt x="8799" y="3627"/>
                    <a:pt x="8797" y="3641"/>
                  </a:cubicBezTo>
                  <a:cubicBezTo>
                    <a:pt x="8792" y="3650"/>
                    <a:pt x="8788" y="3658"/>
                    <a:pt x="8783" y="3667"/>
                  </a:cubicBezTo>
                  <a:cubicBezTo>
                    <a:pt x="8782" y="3661"/>
                    <a:pt x="8780" y="3656"/>
                    <a:pt x="8779" y="3650"/>
                  </a:cubicBezTo>
                  <a:lnTo>
                    <a:pt x="8779" y="3615"/>
                  </a:lnTo>
                  <a:cubicBezTo>
                    <a:pt x="8776" y="3607"/>
                    <a:pt x="8773" y="3598"/>
                    <a:pt x="8770" y="3590"/>
                  </a:cubicBezTo>
                  <a:cubicBezTo>
                    <a:pt x="8768" y="3593"/>
                    <a:pt x="8767" y="3595"/>
                    <a:pt x="8765" y="3598"/>
                  </a:cubicBezTo>
                  <a:cubicBezTo>
                    <a:pt x="8762" y="3595"/>
                    <a:pt x="8759" y="3593"/>
                    <a:pt x="8756" y="3590"/>
                  </a:cubicBezTo>
                  <a:cubicBezTo>
                    <a:pt x="8750" y="3579"/>
                    <a:pt x="8743" y="3567"/>
                    <a:pt x="8737" y="3556"/>
                  </a:cubicBezTo>
                  <a:cubicBezTo>
                    <a:pt x="8733" y="3550"/>
                    <a:pt x="8728" y="3544"/>
                    <a:pt x="8724" y="3538"/>
                  </a:cubicBezTo>
                  <a:lnTo>
                    <a:pt x="8696" y="3538"/>
                  </a:lnTo>
                  <a:cubicBezTo>
                    <a:pt x="8694" y="3530"/>
                    <a:pt x="8693" y="3521"/>
                    <a:pt x="8691" y="3513"/>
                  </a:cubicBezTo>
                  <a:cubicBezTo>
                    <a:pt x="8683" y="3510"/>
                    <a:pt x="8676" y="3507"/>
                    <a:pt x="8668" y="3504"/>
                  </a:cubicBezTo>
                  <a:lnTo>
                    <a:pt x="8668" y="3487"/>
                  </a:lnTo>
                  <a:cubicBezTo>
                    <a:pt x="8676" y="3441"/>
                    <a:pt x="8683" y="3396"/>
                    <a:pt x="8691" y="3350"/>
                  </a:cubicBezTo>
                  <a:lnTo>
                    <a:pt x="8691" y="3291"/>
                  </a:lnTo>
                  <a:cubicBezTo>
                    <a:pt x="8686" y="3274"/>
                    <a:pt x="8682" y="3256"/>
                    <a:pt x="8677" y="3239"/>
                  </a:cubicBezTo>
                  <a:lnTo>
                    <a:pt x="8677" y="3231"/>
                  </a:lnTo>
                  <a:cubicBezTo>
                    <a:pt x="8663" y="3197"/>
                    <a:pt x="8650" y="3162"/>
                    <a:pt x="8636" y="3128"/>
                  </a:cubicBezTo>
                  <a:cubicBezTo>
                    <a:pt x="8631" y="3125"/>
                    <a:pt x="8627" y="3123"/>
                    <a:pt x="8622" y="3120"/>
                  </a:cubicBezTo>
                  <a:cubicBezTo>
                    <a:pt x="8621" y="3111"/>
                    <a:pt x="8619" y="3103"/>
                    <a:pt x="8618" y="3094"/>
                  </a:cubicBezTo>
                  <a:cubicBezTo>
                    <a:pt x="8610" y="3088"/>
                    <a:pt x="8602" y="3083"/>
                    <a:pt x="8594" y="3077"/>
                  </a:cubicBezTo>
                  <a:lnTo>
                    <a:pt x="8548" y="3077"/>
                  </a:lnTo>
                  <a:cubicBezTo>
                    <a:pt x="8544" y="3074"/>
                    <a:pt x="8539" y="3071"/>
                    <a:pt x="8535" y="3068"/>
                  </a:cubicBezTo>
                  <a:lnTo>
                    <a:pt x="8429" y="3077"/>
                  </a:lnTo>
                  <a:lnTo>
                    <a:pt x="8424" y="3077"/>
                  </a:lnTo>
                  <a:lnTo>
                    <a:pt x="8396" y="3077"/>
                  </a:lnTo>
                  <a:cubicBezTo>
                    <a:pt x="8393" y="3083"/>
                    <a:pt x="8390" y="3088"/>
                    <a:pt x="8387" y="3094"/>
                  </a:cubicBezTo>
                  <a:lnTo>
                    <a:pt x="8378" y="3094"/>
                  </a:lnTo>
                  <a:cubicBezTo>
                    <a:pt x="8366" y="3088"/>
                    <a:pt x="8353" y="3083"/>
                    <a:pt x="8341" y="3077"/>
                  </a:cubicBezTo>
                  <a:lnTo>
                    <a:pt x="8336" y="3077"/>
                  </a:lnTo>
                  <a:cubicBezTo>
                    <a:pt x="8333" y="3086"/>
                    <a:pt x="8330" y="3094"/>
                    <a:pt x="8327" y="3103"/>
                  </a:cubicBezTo>
                  <a:cubicBezTo>
                    <a:pt x="8321" y="3109"/>
                    <a:pt x="8315" y="3114"/>
                    <a:pt x="8309" y="3120"/>
                  </a:cubicBezTo>
                  <a:cubicBezTo>
                    <a:pt x="8307" y="3114"/>
                    <a:pt x="8306" y="3109"/>
                    <a:pt x="8304" y="3103"/>
                  </a:cubicBezTo>
                  <a:lnTo>
                    <a:pt x="8276" y="3103"/>
                  </a:lnTo>
                  <a:cubicBezTo>
                    <a:pt x="8273" y="3109"/>
                    <a:pt x="8270" y="3114"/>
                    <a:pt x="8267" y="3120"/>
                  </a:cubicBezTo>
                  <a:cubicBezTo>
                    <a:pt x="8262" y="3114"/>
                    <a:pt x="8258" y="3109"/>
                    <a:pt x="8253" y="3103"/>
                  </a:cubicBezTo>
                  <a:cubicBezTo>
                    <a:pt x="8245" y="3111"/>
                    <a:pt x="8238" y="3120"/>
                    <a:pt x="8230" y="3128"/>
                  </a:cubicBezTo>
                  <a:lnTo>
                    <a:pt x="8217" y="3128"/>
                  </a:lnTo>
                  <a:cubicBezTo>
                    <a:pt x="8212" y="3137"/>
                    <a:pt x="8208" y="3145"/>
                    <a:pt x="8203" y="3154"/>
                  </a:cubicBezTo>
                  <a:cubicBezTo>
                    <a:pt x="8194" y="3134"/>
                    <a:pt x="8184" y="3114"/>
                    <a:pt x="8175" y="3094"/>
                  </a:cubicBezTo>
                  <a:lnTo>
                    <a:pt x="8161" y="3094"/>
                  </a:lnTo>
                  <a:cubicBezTo>
                    <a:pt x="8160" y="3088"/>
                    <a:pt x="8158" y="3083"/>
                    <a:pt x="8157" y="3077"/>
                  </a:cubicBezTo>
                  <a:cubicBezTo>
                    <a:pt x="8165" y="3074"/>
                    <a:pt x="8172" y="3071"/>
                    <a:pt x="8180" y="3068"/>
                  </a:cubicBezTo>
                  <a:cubicBezTo>
                    <a:pt x="8183" y="3060"/>
                    <a:pt x="8186" y="3051"/>
                    <a:pt x="8189" y="3043"/>
                  </a:cubicBezTo>
                  <a:lnTo>
                    <a:pt x="8189" y="3017"/>
                  </a:lnTo>
                  <a:cubicBezTo>
                    <a:pt x="8175" y="2991"/>
                    <a:pt x="8161" y="2966"/>
                    <a:pt x="8147" y="2940"/>
                  </a:cubicBezTo>
                  <a:cubicBezTo>
                    <a:pt x="8146" y="2932"/>
                    <a:pt x="8144" y="2923"/>
                    <a:pt x="8143" y="2915"/>
                  </a:cubicBezTo>
                  <a:lnTo>
                    <a:pt x="8143" y="2906"/>
                  </a:lnTo>
                  <a:cubicBezTo>
                    <a:pt x="8128" y="2915"/>
                    <a:pt x="8112" y="2923"/>
                    <a:pt x="8097" y="2932"/>
                  </a:cubicBezTo>
                  <a:lnTo>
                    <a:pt x="8083" y="2932"/>
                  </a:lnTo>
                  <a:cubicBezTo>
                    <a:pt x="8080" y="2923"/>
                    <a:pt x="8077" y="2915"/>
                    <a:pt x="8074" y="2906"/>
                  </a:cubicBezTo>
                  <a:lnTo>
                    <a:pt x="8074" y="2897"/>
                  </a:lnTo>
                  <a:cubicBezTo>
                    <a:pt x="8068" y="2889"/>
                    <a:pt x="8061" y="2880"/>
                    <a:pt x="8055" y="2872"/>
                  </a:cubicBezTo>
                  <a:cubicBezTo>
                    <a:pt x="8052" y="2858"/>
                    <a:pt x="8049" y="2843"/>
                    <a:pt x="8046" y="2829"/>
                  </a:cubicBezTo>
                  <a:lnTo>
                    <a:pt x="8041" y="2829"/>
                  </a:lnTo>
                  <a:cubicBezTo>
                    <a:pt x="8035" y="2820"/>
                    <a:pt x="8029" y="2812"/>
                    <a:pt x="8023" y="2803"/>
                  </a:cubicBezTo>
                  <a:cubicBezTo>
                    <a:pt x="8020" y="2812"/>
                    <a:pt x="8017" y="2820"/>
                    <a:pt x="8014" y="2829"/>
                  </a:cubicBezTo>
                  <a:lnTo>
                    <a:pt x="8000" y="2829"/>
                  </a:lnTo>
                  <a:cubicBezTo>
                    <a:pt x="7998" y="2826"/>
                    <a:pt x="7997" y="2824"/>
                    <a:pt x="7995" y="2821"/>
                  </a:cubicBezTo>
                  <a:cubicBezTo>
                    <a:pt x="7987" y="2815"/>
                    <a:pt x="7980" y="2809"/>
                    <a:pt x="7972" y="2803"/>
                  </a:cubicBezTo>
                  <a:cubicBezTo>
                    <a:pt x="7971" y="2809"/>
                    <a:pt x="7969" y="2815"/>
                    <a:pt x="7968" y="2821"/>
                  </a:cubicBezTo>
                  <a:lnTo>
                    <a:pt x="7968" y="2803"/>
                  </a:lnTo>
                  <a:cubicBezTo>
                    <a:pt x="7977" y="2780"/>
                    <a:pt x="7986" y="2758"/>
                    <a:pt x="7995" y="2735"/>
                  </a:cubicBezTo>
                  <a:lnTo>
                    <a:pt x="8000" y="2735"/>
                  </a:lnTo>
                  <a:cubicBezTo>
                    <a:pt x="8005" y="2738"/>
                    <a:pt x="8009" y="2741"/>
                    <a:pt x="8014" y="2744"/>
                  </a:cubicBezTo>
                  <a:cubicBezTo>
                    <a:pt x="8017" y="2752"/>
                    <a:pt x="8020" y="2761"/>
                    <a:pt x="8023" y="2769"/>
                  </a:cubicBezTo>
                  <a:cubicBezTo>
                    <a:pt x="8026" y="2761"/>
                    <a:pt x="8029" y="2752"/>
                    <a:pt x="8032" y="2744"/>
                  </a:cubicBezTo>
                  <a:lnTo>
                    <a:pt x="8032" y="2709"/>
                  </a:lnTo>
                  <a:cubicBezTo>
                    <a:pt x="8029" y="2683"/>
                    <a:pt x="8026" y="2658"/>
                    <a:pt x="8023" y="2632"/>
                  </a:cubicBezTo>
                  <a:cubicBezTo>
                    <a:pt x="8011" y="2615"/>
                    <a:pt x="7998" y="2598"/>
                    <a:pt x="7986" y="2581"/>
                  </a:cubicBezTo>
                  <a:lnTo>
                    <a:pt x="7968" y="2581"/>
                  </a:lnTo>
                  <a:cubicBezTo>
                    <a:pt x="7966" y="2573"/>
                    <a:pt x="7965" y="2564"/>
                    <a:pt x="7963" y="2556"/>
                  </a:cubicBezTo>
                  <a:cubicBezTo>
                    <a:pt x="7954" y="2553"/>
                    <a:pt x="7944" y="2550"/>
                    <a:pt x="7935" y="2547"/>
                  </a:cubicBezTo>
                  <a:lnTo>
                    <a:pt x="7912" y="2547"/>
                  </a:lnTo>
                  <a:lnTo>
                    <a:pt x="7912" y="2556"/>
                  </a:lnTo>
                  <a:cubicBezTo>
                    <a:pt x="7911" y="2553"/>
                    <a:pt x="7909" y="2550"/>
                    <a:pt x="7908" y="2547"/>
                  </a:cubicBezTo>
                  <a:lnTo>
                    <a:pt x="7862" y="2547"/>
                  </a:lnTo>
                  <a:cubicBezTo>
                    <a:pt x="7857" y="2550"/>
                    <a:pt x="7853" y="2553"/>
                    <a:pt x="7848" y="2556"/>
                  </a:cubicBezTo>
                  <a:cubicBezTo>
                    <a:pt x="7839" y="2553"/>
                    <a:pt x="7829" y="2550"/>
                    <a:pt x="7820" y="2547"/>
                  </a:cubicBezTo>
                  <a:cubicBezTo>
                    <a:pt x="7815" y="2536"/>
                    <a:pt x="7811" y="2524"/>
                    <a:pt x="7806" y="2513"/>
                  </a:cubicBezTo>
                  <a:lnTo>
                    <a:pt x="7788" y="2513"/>
                  </a:lnTo>
                  <a:cubicBezTo>
                    <a:pt x="7779" y="2499"/>
                    <a:pt x="7769" y="2484"/>
                    <a:pt x="7760" y="2470"/>
                  </a:cubicBezTo>
                  <a:lnTo>
                    <a:pt x="7751" y="2470"/>
                  </a:lnTo>
                  <a:cubicBezTo>
                    <a:pt x="7736" y="2467"/>
                    <a:pt x="7720" y="2465"/>
                    <a:pt x="7705" y="2462"/>
                  </a:cubicBezTo>
                  <a:cubicBezTo>
                    <a:pt x="7694" y="2448"/>
                    <a:pt x="7684" y="2433"/>
                    <a:pt x="7673" y="2419"/>
                  </a:cubicBezTo>
                  <a:lnTo>
                    <a:pt x="7627" y="2419"/>
                  </a:lnTo>
                  <a:cubicBezTo>
                    <a:pt x="7622" y="2416"/>
                    <a:pt x="7618" y="2413"/>
                    <a:pt x="7613" y="2410"/>
                  </a:cubicBezTo>
                  <a:lnTo>
                    <a:pt x="7493" y="2393"/>
                  </a:lnTo>
                  <a:cubicBezTo>
                    <a:pt x="7488" y="2390"/>
                    <a:pt x="7484" y="2388"/>
                    <a:pt x="7479" y="2385"/>
                  </a:cubicBezTo>
                  <a:lnTo>
                    <a:pt x="7479" y="2376"/>
                  </a:lnTo>
                  <a:cubicBezTo>
                    <a:pt x="7474" y="2370"/>
                    <a:pt x="7470" y="2365"/>
                    <a:pt x="7465" y="2359"/>
                  </a:cubicBezTo>
                  <a:lnTo>
                    <a:pt x="7447" y="2350"/>
                  </a:lnTo>
                  <a:cubicBezTo>
                    <a:pt x="7442" y="2359"/>
                    <a:pt x="7438" y="2367"/>
                    <a:pt x="7433" y="2376"/>
                  </a:cubicBezTo>
                  <a:lnTo>
                    <a:pt x="7433" y="2385"/>
                  </a:lnTo>
                  <a:cubicBezTo>
                    <a:pt x="7438" y="2393"/>
                    <a:pt x="7442" y="2402"/>
                    <a:pt x="7447" y="2410"/>
                  </a:cubicBezTo>
                  <a:lnTo>
                    <a:pt x="7447" y="2436"/>
                  </a:lnTo>
                  <a:cubicBezTo>
                    <a:pt x="7449" y="2445"/>
                    <a:pt x="7450" y="2453"/>
                    <a:pt x="7452" y="2462"/>
                  </a:cubicBezTo>
                  <a:cubicBezTo>
                    <a:pt x="7450" y="2465"/>
                    <a:pt x="7449" y="2467"/>
                    <a:pt x="7447" y="2470"/>
                  </a:cubicBezTo>
                  <a:cubicBezTo>
                    <a:pt x="7439" y="2484"/>
                    <a:pt x="7432" y="2499"/>
                    <a:pt x="7424" y="2513"/>
                  </a:cubicBezTo>
                  <a:cubicBezTo>
                    <a:pt x="7422" y="2527"/>
                    <a:pt x="7421" y="2542"/>
                    <a:pt x="7419" y="2556"/>
                  </a:cubicBezTo>
                  <a:cubicBezTo>
                    <a:pt x="7415" y="2579"/>
                    <a:pt x="7410" y="2601"/>
                    <a:pt x="7406" y="2624"/>
                  </a:cubicBezTo>
                  <a:lnTo>
                    <a:pt x="7392" y="2624"/>
                  </a:lnTo>
                  <a:cubicBezTo>
                    <a:pt x="7386" y="2633"/>
                    <a:pt x="7379" y="2641"/>
                    <a:pt x="7373" y="2650"/>
                  </a:cubicBezTo>
                  <a:cubicBezTo>
                    <a:pt x="7370" y="2661"/>
                    <a:pt x="7367" y="2673"/>
                    <a:pt x="7364" y="2684"/>
                  </a:cubicBezTo>
                  <a:lnTo>
                    <a:pt x="7364" y="2692"/>
                  </a:lnTo>
                  <a:cubicBezTo>
                    <a:pt x="7367" y="2701"/>
                    <a:pt x="7370" y="2709"/>
                    <a:pt x="7373" y="2718"/>
                  </a:cubicBezTo>
                  <a:lnTo>
                    <a:pt x="7373" y="2744"/>
                  </a:lnTo>
                  <a:lnTo>
                    <a:pt x="7359" y="2744"/>
                  </a:lnTo>
                  <a:lnTo>
                    <a:pt x="7359" y="2795"/>
                  </a:lnTo>
                  <a:cubicBezTo>
                    <a:pt x="7361" y="2804"/>
                    <a:pt x="7362" y="2812"/>
                    <a:pt x="7364" y="2821"/>
                  </a:cubicBezTo>
                  <a:cubicBezTo>
                    <a:pt x="7369" y="2829"/>
                    <a:pt x="7373" y="2838"/>
                    <a:pt x="7378" y="2846"/>
                  </a:cubicBezTo>
                  <a:lnTo>
                    <a:pt x="7378" y="2855"/>
                  </a:lnTo>
                  <a:lnTo>
                    <a:pt x="7378" y="2880"/>
                  </a:lnTo>
                  <a:lnTo>
                    <a:pt x="7378" y="2906"/>
                  </a:lnTo>
                  <a:lnTo>
                    <a:pt x="7364" y="2906"/>
                  </a:lnTo>
                  <a:cubicBezTo>
                    <a:pt x="7358" y="2897"/>
                    <a:pt x="7352" y="2889"/>
                    <a:pt x="7346" y="2880"/>
                  </a:cubicBezTo>
                  <a:cubicBezTo>
                    <a:pt x="7341" y="2892"/>
                    <a:pt x="7337" y="2903"/>
                    <a:pt x="7332" y="2915"/>
                  </a:cubicBezTo>
                  <a:cubicBezTo>
                    <a:pt x="7327" y="2912"/>
                    <a:pt x="7323" y="2909"/>
                    <a:pt x="7318" y="2906"/>
                  </a:cubicBezTo>
                  <a:cubicBezTo>
                    <a:pt x="7316" y="2909"/>
                    <a:pt x="7315" y="2912"/>
                    <a:pt x="7313" y="2915"/>
                  </a:cubicBezTo>
                  <a:lnTo>
                    <a:pt x="7313" y="2906"/>
                  </a:lnTo>
                  <a:cubicBezTo>
                    <a:pt x="7304" y="2917"/>
                    <a:pt x="7295" y="2929"/>
                    <a:pt x="7286" y="2940"/>
                  </a:cubicBezTo>
                  <a:cubicBezTo>
                    <a:pt x="7283" y="2949"/>
                    <a:pt x="7279" y="2957"/>
                    <a:pt x="7276" y="2966"/>
                  </a:cubicBezTo>
                  <a:cubicBezTo>
                    <a:pt x="7275" y="2972"/>
                    <a:pt x="7273" y="2977"/>
                    <a:pt x="7272" y="2983"/>
                  </a:cubicBezTo>
                  <a:cubicBezTo>
                    <a:pt x="7270" y="2992"/>
                    <a:pt x="7269" y="3000"/>
                    <a:pt x="7267" y="3009"/>
                  </a:cubicBezTo>
                  <a:lnTo>
                    <a:pt x="7253" y="3009"/>
                  </a:lnTo>
                  <a:cubicBezTo>
                    <a:pt x="7250" y="3012"/>
                    <a:pt x="7247" y="3014"/>
                    <a:pt x="7244" y="3017"/>
                  </a:cubicBezTo>
                  <a:cubicBezTo>
                    <a:pt x="7243" y="3014"/>
                    <a:pt x="7241" y="3012"/>
                    <a:pt x="7240" y="3009"/>
                  </a:cubicBezTo>
                  <a:cubicBezTo>
                    <a:pt x="7237" y="3003"/>
                    <a:pt x="7233" y="2997"/>
                    <a:pt x="7230" y="2991"/>
                  </a:cubicBezTo>
                  <a:cubicBezTo>
                    <a:pt x="7229" y="2988"/>
                    <a:pt x="7227" y="2986"/>
                    <a:pt x="7226" y="2983"/>
                  </a:cubicBezTo>
                  <a:lnTo>
                    <a:pt x="7226" y="2966"/>
                  </a:lnTo>
                  <a:cubicBezTo>
                    <a:pt x="7221" y="2963"/>
                    <a:pt x="7217" y="2960"/>
                    <a:pt x="7212" y="2957"/>
                  </a:cubicBezTo>
                  <a:lnTo>
                    <a:pt x="7212" y="2932"/>
                  </a:lnTo>
                  <a:cubicBezTo>
                    <a:pt x="7207" y="2926"/>
                    <a:pt x="7203" y="2921"/>
                    <a:pt x="7198" y="2915"/>
                  </a:cubicBezTo>
                  <a:lnTo>
                    <a:pt x="7194" y="2915"/>
                  </a:lnTo>
                  <a:cubicBezTo>
                    <a:pt x="7182" y="2903"/>
                    <a:pt x="7169" y="2892"/>
                    <a:pt x="7157" y="2880"/>
                  </a:cubicBezTo>
                  <a:lnTo>
                    <a:pt x="7138" y="2880"/>
                  </a:lnTo>
                  <a:cubicBezTo>
                    <a:pt x="7132" y="2877"/>
                    <a:pt x="7126" y="2875"/>
                    <a:pt x="7120" y="2872"/>
                  </a:cubicBezTo>
                  <a:cubicBezTo>
                    <a:pt x="7117" y="2863"/>
                    <a:pt x="7114" y="2855"/>
                    <a:pt x="7111" y="2846"/>
                  </a:cubicBezTo>
                  <a:lnTo>
                    <a:pt x="7106" y="2846"/>
                  </a:lnTo>
                  <a:cubicBezTo>
                    <a:pt x="7101" y="2840"/>
                    <a:pt x="7097" y="2835"/>
                    <a:pt x="7092" y="2829"/>
                  </a:cubicBezTo>
                  <a:lnTo>
                    <a:pt x="7051" y="2829"/>
                  </a:lnTo>
                  <a:cubicBezTo>
                    <a:pt x="7046" y="2846"/>
                    <a:pt x="7042" y="2863"/>
                    <a:pt x="7037" y="2880"/>
                  </a:cubicBezTo>
                  <a:lnTo>
                    <a:pt x="7037" y="2906"/>
                  </a:lnTo>
                  <a:lnTo>
                    <a:pt x="7037" y="2932"/>
                  </a:lnTo>
                  <a:lnTo>
                    <a:pt x="7037" y="2940"/>
                  </a:lnTo>
                  <a:cubicBezTo>
                    <a:pt x="7032" y="2929"/>
                    <a:pt x="7028" y="2917"/>
                    <a:pt x="7023" y="2906"/>
                  </a:cubicBezTo>
                  <a:lnTo>
                    <a:pt x="7023" y="2915"/>
                  </a:lnTo>
                  <a:lnTo>
                    <a:pt x="6991" y="2906"/>
                  </a:lnTo>
                  <a:cubicBezTo>
                    <a:pt x="6986" y="2909"/>
                    <a:pt x="6982" y="2912"/>
                    <a:pt x="6977" y="2915"/>
                  </a:cubicBezTo>
                  <a:lnTo>
                    <a:pt x="6963" y="2915"/>
                  </a:lnTo>
                  <a:cubicBezTo>
                    <a:pt x="6958" y="2901"/>
                    <a:pt x="6954" y="2886"/>
                    <a:pt x="6949" y="2872"/>
                  </a:cubicBezTo>
                  <a:cubicBezTo>
                    <a:pt x="6944" y="2866"/>
                    <a:pt x="6940" y="2861"/>
                    <a:pt x="6935" y="2855"/>
                  </a:cubicBezTo>
                  <a:cubicBezTo>
                    <a:pt x="6931" y="2838"/>
                    <a:pt x="6926" y="2820"/>
                    <a:pt x="6922" y="2803"/>
                  </a:cubicBezTo>
                  <a:cubicBezTo>
                    <a:pt x="6920" y="2797"/>
                    <a:pt x="6919" y="2792"/>
                    <a:pt x="6917" y="2786"/>
                  </a:cubicBezTo>
                  <a:cubicBezTo>
                    <a:pt x="6912" y="2760"/>
                    <a:pt x="6908" y="2735"/>
                    <a:pt x="6903" y="2709"/>
                  </a:cubicBezTo>
                  <a:lnTo>
                    <a:pt x="6903" y="2692"/>
                  </a:lnTo>
                  <a:cubicBezTo>
                    <a:pt x="6902" y="2698"/>
                    <a:pt x="6900" y="2703"/>
                    <a:pt x="6899" y="2709"/>
                  </a:cubicBezTo>
                  <a:cubicBezTo>
                    <a:pt x="6885" y="2763"/>
                    <a:pt x="6871" y="2818"/>
                    <a:pt x="6857" y="2872"/>
                  </a:cubicBezTo>
                  <a:lnTo>
                    <a:pt x="6857" y="3009"/>
                  </a:lnTo>
                  <a:cubicBezTo>
                    <a:pt x="6854" y="3012"/>
                    <a:pt x="6851" y="3014"/>
                    <a:pt x="6848" y="3017"/>
                  </a:cubicBezTo>
                  <a:lnTo>
                    <a:pt x="6839" y="3068"/>
                  </a:lnTo>
                  <a:cubicBezTo>
                    <a:pt x="6836" y="3071"/>
                    <a:pt x="6832" y="3074"/>
                    <a:pt x="6829" y="3077"/>
                  </a:cubicBezTo>
                  <a:lnTo>
                    <a:pt x="6829" y="3128"/>
                  </a:lnTo>
                  <a:cubicBezTo>
                    <a:pt x="6825" y="3137"/>
                    <a:pt x="6820" y="3145"/>
                    <a:pt x="6816" y="3154"/>
                  </a:cubicBezTo>
                  <a:cubicBezTo>
                    <a:pt x="6814" y="3162"/>
                    <a:pt x="6813" y="3171"/>
                    <a:pt x="6811" y="3179"/>
                  </a:cubicBezTo>
                  <a:cubicBezTo>
                    <a:pt x="6806" y="3176"/>
                    <a:pt x="6802" y="3174"/>
                    <a:pt x="6797" y="3171"/>
                  </a:cubicBezTo>
                  <a:cubicBezTo>
                    <a:pt x="6792" y="3148"/>
                    <a:pt x="6788" y="3126"/>
                    <a:pt x="6783" y="3103"/>
                  </a:cubicBezTo>
                  <a:cubicBezTo>
                    <a:pt x="6782" y="3100"/>
                    <a:pt x="6780" y="3097"/>
                    <a:pt x="6779" y="3094"/>
                  </a:cubicBezTo>
                  <a:lnTo>
                    <a:pt x="6779" y="3120"/>
                  </a:lnTo>
                  <a:cubicBezTo>
                    <a:pt x="6776" y="3123"/>
                    <a:pt x="6773" y="3125"/>
                    <a:pt x="6770" y="3128"/>
                  </a:cubicBezTo>
                  <a:cubicBezTo>
                    <a:pt x="6768" y="3120"/>
                    <a:pt x="6767" y="3111"/>
                    <a:pt x="6765" y="3103"/>
                  </a:cubicBezTo>
                  <a:lnTo>
                    <a:pt x="6756" y="3103"/>
                  </a:lnTo>
                  <a:lnTo>
                    <a:pt x="6742" y="3103"/>
                  </a:lnTo>
                  <a:cubicBezTo>
                    <a:pt x="6740" y="3094"/>
                    <a:pt x="6739" y="3086"/>
                    <a:pt x="6737" y="3077"/>
                  </a:cubicBezTo>
                  <a:lnTo>
                    <a:pt x="6737" y="3068"/>
                  </a:lnTo>
                  <a:cubicBezTo>
                    <a:pt x="6734" y="3060"/>
                    <a:pt x="6731" y="3051"/>
                    <a:pt x="6728" y="3043"/>
                  </a:cubicBezTo>
                  <a:cubicBezTo>
                    <a:pt x="6727" y="3046"/>
                    <a:pt x="6725" y="3048"/>
                    <a:pt x="6724" y="3051"/>
                  </a:cubicBezTo>
                  <a:cubicBezTo>
                    <a:pt x="6721" y="3048"/>
                    <a:pt x="6717" y="3046"/>
                    <a:pt x="6714" y="3043"/>
                  </a:cubicBezTo>
                  <a:cubicBezTo>
                    <a:pt x="6713" y="3040"/>
                    <a:pt x="6711" y="3037"/>
                    <a:pt x="6710" y="3034"/>
                  </a:cubicBezTo>
                  <a:cubicBezTo>
                    <a:pt x="6708" y="3017"/>
                    <a:pt x="6707" y="3000"/>
                    <a:pt x="6705" y="2983"/>
                  </a:cubicBezTo>
                  <a:cubicBezTo>
                    <a:pt x="6702" y="2977"/>
                    <a:pt x="6699" y="2972"/>
                    <a:pt x="6696" y="2966"/>
                  </a:cubicBezTo>
                  <a:cubicBezTo>
                    <a:pt x="6694" y="2972"/>
                    <a:pt x="6693" y="2977"/>
                    <a:pt x="6691" y="2983"/>
                  </a:cubicBezTo>
                  <a:cubicBezTo>
                    <a:pt x="6686" y="2954"/>
                    <a:pt x="6682" y="2926"/>
                    <a:pt x="6677" y="2897"/>
                  </a:cubicBezTo>
                  <a:lnTo>
                    <a:pt x="6677" y="2897"/>
                  </a:lnTo>
                  <a:lnTo>
                    <a:pt x="6677" y="2872"/>
                  </a:lnTo>
                  <a:lnTo>
                    <a:pt x="6668" y="2821"/>
                  </a:lnTo>
                  <a:cubicBezTo>
                    <a:pt x="6667" y="2824"/>
                    <a:pt x="6665" y="2826"/>
                    <a:pt x="6664" y="2829"/>
                  </a:cubicBezTo>
                  <a:cubicBezTo>
                    <a:pt x="6661" y="2835"/>
                    <a:pt x="6657" y="2840"/>
                    <a:pt x="6654" y="2846"/>
                  </a:cubicBezTo>
                  <a:cubicBezTo>
                    <a:pt x="6653" y="2840"/>
                    <a:pt x="6651" y="2835"/>
                    <a:pt x="6650" y="2829"/>
                  </a:cubicBezTo>
                  <a:lnTo>
                    <a:pt x="6650" y="2803"/>
                  </a:lnTo>
                  <a:lnTo>
                    <a:pt x="6650" y="2795"/>
                  </a:lnTo>
                  <a:lnTo>
                    <a:pt x="6641" y="2786"/>
                  </a:lnTo>
                  <a:cubicBezTo>
                    <a:pt x="6639" y="2769"/>
                    <a:pt x="6638" y="2752"/>
                    <a:pt x="6636" y="2735"/>
                  </a:cubicBezTo>
                  <a:cubicBezTo>
                    <a:pt x="6645" y="2712"/>
                    <a:pt x="6655" y="2690"/>
                    <a:pt x="6664" y="2667"/>
                  </a:cubicBezTo>
                  <a:cubicBezTo>
                    <a:pt x="6665" y="2673"/>
                    <a:pt x="6667" y="2678"/>
                    <a:pt x="6668" y="2684"/>
                  </a:cubicBezTo>
                  <a:cubicBezTo>
                    <a:pt x="6671" y="2678"/>
                    <a:pt x="6674" y="2673"/>
                    <a:pt x="6677" y="2667"/>
                  </a:cubicBezTo>
                  <a:lnTo>
                    <a:pt x="6668" y="2667"/>
                  </a:lnTo>
                  <a:lnTo>
                    <a:pt x="6668" y="2650"/>
                  </a:lnTo>
                  <a:lnTo>
                    <a:pt x="6682" y="2650"/>
                  </a:lnTo>
                  <a:cubicBezTo>
                    <a:pt x="6685" y="2641"/>
                    <a:pt x="6688" y="2633"/>
                    <a:pt x="6691" y="2624"/>
                  </a:cubicBezTo>
                  <a:cubicBezTo>
                    <a:pt x="6688" y="2627"/>
                    <a:pt x="6685" y="2629"/>
                    <a:pt x="6682" y="2632"/>
                  </a:cubicBezTo>
                  <a:lnTo>
                    <a:pt x="6682" y="2624"/>
                  </a:lnTo>
                  <a:cubicBezTo>
                    <a:pt x="6685" y="2618"/>
                    <a:pt x="6688" y="2613"/>
                    <a:pt x="6691" y="2607"/>
                  </a:cubicBezTo>
                  <a:lnTo>
                    <a:pt x="6691" y="2598"/>
                  </a:lnTo>
                  <a:lnTo>
                    <a:pt x="6691" y="2581"/>
                  </a:lnTo>
                  <a:cubicBezTo>
                    <a:pt x="6693" y="2564"/>
                    <a:pt x="6694" y="2547"/>
                    <a:pt x="6696" y="2530"/>
                  </a:cubicBezTo>
                  <a:cubicBezTo>
                    <a:pt x="6690" y="2524"/>
                    <a:pt x="6683" y="2519"/>
                    <a:pt x="6677" y="2513"/>
                  </a:cubicBezTo>
                  <a:lnTo>
                    <a:pt x="6677" y="2496"/>
                  </a:lnTo>
                  <a:cubicBezTo>
                    <a:pt x="6679" y="2487"/>
                    <a:pt x="6680" y="2479"/>
                    <a:pt x="6682" y="2470"/>
                  </a:cubicBezTo>
                  <a:cubicBezTo>
                    <a:pt x="6677" y="2467"/>
                    <a:pt x="6673" y="2465"/>
                    <a:pt x="6668" y="2462"/>
                  </a:cubicBezTo>
                  <a:cubicBezTo>
                    <a:pt x="6671" y="2453"/>
                    <a:pt x="6674" y="2445"/>
                    <a:pt x="6677" y="2436"/>
                  </a:cubicBezTo>
                  <a:cubicBezTo>
                    <a:pt x="6679" y="2430"/>
                    <a:pt x="6680" y="2425"/>
                    <a:pt x="6682" y="2419"/>
                  </a:cubicBezTo>
                  <a:lnTo>
                    <a:pt x="6682" y="2393"/>
                  </a:lnTo>
                  <a:lnTo>
                    <a:pt x="6682" y="2385"/>
                  </a:lnTo>
                  <a:lnTo>
                    <a:pt x="6682" y="2385"/>
                  </a:lnTo>
                  <a:cubicBezTo>
                    <a:pt x="6680" y="2382"/>
                    <a:pt x="6679" y="2379"/>
                    <a:pt x="6677" y="2376"/>
                  </a:cubicBezTo>
                  <a:cubicBezTo>
                    <a:pt x="6679" y="2370"/>
                    <a:pt x="6680" y="2365"/>
                    <a:pt x="6682" y="2359"/>
                  </a:cubicBezTo>
                  <a:cubicBezTo>
                    <a:pt x="6680" y="2350"/>
                    <a:pt x="6679" y="2342"/>
                    <a:pt x="6677" y="2333"/>
                  </a:cubicBezTo>
                  <a:lnTo>
                    <a:pt x="6691" y="2333"/>
                  </a:lnTo>
                  <a:lnTo>
                    <a:pt x="6691" y="2325"/>
                  </a:lnTo>
                  <a:lnTo>
                    <a:pt x="6691" y="2308"/>
                  </a:lnTo>
                  <a:lnTo>
                    <a:pt x="6691" y="2299"/>
                  </a:lnTo>
                  <a:lnTo>
                    <a:pt x="6691" y="2282"/>
                  </a:lnTo>
                  <a:lnTo>
                    <a:pt x="6691" y="2274"/>
                  </a:lnTo>
                  <a:lnTo>
                    <a:pt x="6668" y="2248"/>
                  </a:lnTo>
                  <a:cubicBezTo>
                    <a:pt x="6667" y="2239"/>
                    <a:pt x="6665" y="2231"/>
                    <a:pt x="6664" y="2222"/>
                  </a:cubicBezTo>
                  <a:cubicBezTo>
                    <a:pt x="6661" y="2219"/>
                    <a:pt x="6657" y="2217"/>
                    <a:pt x="6654" y="2214"/>
                  </a:cubicBezTo>
                  <a:lnTo>
                    <a:pt x="6654" y="2188"/>
                  </a:lnTo>
                  <a:lnTo>
                    <a:pt x="6622" y="2162"/>
                  </a:lnTo>
                  <a:cubicBezTo>
                    <a:pt x="6625" y="2156"/>
                    <a:pt x="6628" y="2151"/>
                    <a:pt x="6631" y="2145"/>
                  </a:cubicBezTo>
                  <a:cubicBezTo>
                    <a:pt x="6628" y="2137"/>
                    <a:pt x="6625" y="2128"/>
                    <a:pt x="6622" y="2120"/>
                  </a:cubicBezTo>
                  <a:lnTo>
                    <a:pt x="6608" y="2120"/>
                  </a:lnTo>
                  <a:cubicBezTo>
                    <a:pt x="6607" y="2117"/>
                    <a:pt x="6605" y="2114"/>
                    <a:pt x="6604" y="2111"/>
                  </a:cubicBezTo>
                  <a:lnTo>
                    <a:pt x="6608" y="2111"/>
                  </a:lnTo>
                  <a:cubicBezTo>
                    <a:pt x="6607" y="2102"/>
                    <a:pt x="6605" y="2094"/>
                    <a:pt x="6604" y="2085"/>
                  </a:cubicBezTo>
                  <a:cubicBezTo>
                    <a:pt x="6596" y="2082"/>
                    <a:pt x="6589" y="2080"/>
                    <a:pt x="6581" y="2077"/>
                  </a:cubicBezTo>
                  <a:cubicBezTo>
                    <a:pt x="6578" y="2080"/>
                    <a:pt x="6574" y="2082"/>
                    <a:pt x="6571" y="2085"/>
                  </a:cubicBezTo>
                  <a:cubicBezTo>
                    <a:pt x="6563" y="2082"/>
                    <a:pt x="6556" y="2080"/>
                    <a:pt x="6548" y="2077"/>
                  </a:cubicBezTo>
                  <a:cubicBezTo>
                    <a:pt x="6542" y="2071"/>
                    <a:pt x="6536" y="2066"/>
                    <a:pt x="6530" y="2060"/>
                  </a:cubicBezTo>
                  <a:lnTo>
                    <a:pt x="6521" y="2060"/>
                  </a:lnTo>
                  <a:lnTo>
                    <a:pt x="6521" y="2085"/>
                  </a:lnTo>
                  <a:lnTo>
                    <a:pt x="6516" y="2085"/>
                  </a:lnTo>
                  <a:cubicBezTo>
                    <a:pt x="6511" y="2094"/>
                    <a:pt x="6507" y="2102"/>
                    <a:pt x="6502" y="2111"/>
                  </a:cubicBezTo>
                  <a:lnTo>
                    <a:pt x="6498" y="2111"/>
                  </a:lnTo>
                  <a:lnTo>
                    <a:pt x="6498" y="2103"/>
                  </a:lnTo>
                  <a:cubicBezTo>
                    <a:pt x="6490" y="2086"/>
                    <a:pt x="6483" y="2068"/>
                    <a:pt x="6475" y="2051"/>
                  </a:cubicBezTo>
                  <a:cubicBezTo>
                    <a:pt x="6473" y="2054"/>
                    <a:pt x="6472" y="2057"/>
                    <a:pt x="6470" y="2060"/>
                  </a:cubicBezTo>
                  <a:cubicBezTo>
                    <a:pt x="6465" y="2057"/>
                    <a:pt x="6461" y="2054"/>
                    <a:pt x="6456" y="2051"/>
                  </a:cubicBezTo>
                  <a:lnTo>
                    <a:pt x="6447" y="2051"/>
                  </a:lnTo>
                  <a:cubicBezTo>
                    <a:pt x="6442" y="2043"/>
                    <a:pt x="6438" y="2034"/>
                    <a:pt x="6433" y="2026"/>
                  </a:cubicBezTo>
                  <a:lnTo>
                    <a:pt x="6433" y="2034"/>
                  </a:lnTo>
                  <a:cubicBezTo>
                    <a:pt x="6432" y="2031"/>
                    <a:pt x="6430" y="2029"/>
                    <a:pt x="6429" y="2026"/>
                  </a:cubicBezTo>
                  <a:cubicBezTo>
                    <a:pt x="6427" y="2029"/>
                    <a:pt x="6426" y="2031"/>
                    <a:pt x="6424" y="2034"/>
                  </a:cubicBezTo>
                  <a:cubicBezTo>
                    <a:pt x="6419" y="2031"/>
                    <a:pt x="6415" y="2029"/>
                    <a:pt x="6410" y="2026"/>
                  </a:cubicBezTo>
                  <a:lnTo>
                    <a:pt x="6410" y="1991"/>
                  </a:lnTo>
                  <a:lnTo>
                    <a:pt x="6401" y="1991"/>
                  </a:lnTo>
                  <a:cubicBezTo>
                    <a:pt x="6399" y="1994"/>
                    <a:pt x="6398" y="1997"/>
                    <a:pt x="6396" y="2000"/>
                  </a:cubicBezTo>
                  <a:cubicBezTo>
                    <a:pt x="6391" y="1989"/>
                    <a:pt x="6387" y="1977"/>
                    <a:pt x="6382" y="1966"/>
                  </a:cubicBezTo>
                  <a:cubicBezTo>
                    <a:pt x="6379" y="1969"/>
                    <a:pt x="6376" y="1971"/>
                    <a:pt x="6373" y="1974"/>
                  </a:cubicBezTo>
                  <a:cubicBezTo>
                    <a:pt x="6372" y="1971"/>
                    <a:pt x="6370" y="1969"/>
                    <a:pt x="6369" y="1966"/>
                  </a:cubicBezTo>
                  <a:cubicBezTo>
                    <a:pt x="6360" y="1960"/>
                    <a:pt x="6350" y="1955"/>
                    <a:pt x="6341" y="1949"/>
                  </a:cubicBezTo>
                  <a:cubicBezTo>
                    <a:pt x="6336" y="1940"/>
                    <a:pt x="6332" y="1932"/>
                    <a:pt x="6327" y="1923"/>
                  </a:cubicBezTo>
                  <a:lnTo>
                    <a:pt x="6323" y="1923"/>
                  </a:lnTo>
                  <a:lnTo>
                    <a:pt x="6323" y="1966"/>
                  </a:lnTo>
                  <a:lnTo>
                    <a:pt x="6323" y="1991"/>
                  </a:lnTo>
                  <a:lnTo>
                    <a:pt x="6313" y="1991"/>
                  </a:lnTo>
                  <a:lnTo>
                    <a:pt x="6300" y="1991"/>
                  </a:lnTo>
                  <a:cubicBezTo>
                    <a:pt x="6297" y="1977"/>
                    <a:pt x="6293" y="1963"/>
                    <a:pt x="6290" y="1949"/>
                  </a:cubicBezTo>
                  <a:cubicBezTo>
                    <a:pt x="6285" y="2000"/>
                    <a:pt x="6281" y="2052"/>
                    <a:pt x="6276" y="2103"/>
                  </a:cubicBezTo>
                  <a:lnTo>
                    <a:pt x="6281" y="2103"/>
                  </a:lnTo>
                  <a:cubicBezTo>
                    <a:pt x="6279" y="2106"/>
                    <a:pt x="6278" y="2108"/>
                    <a:pt x="6276" y="2111"/>
                  </a:cubicBezTo>
                  <a:lnTo>
                    <a:pt x="6276" y="2120"/>
                  </a:lnTo>
                  <a:cubicBezTo>
                    <a:pt x="6282" y="2160"/>
                    <a:pt x="6289" y="2199"/>
                    <a:pt x="6295" y="2239"/>
                  </a:cubicBezTo>
                  <a:cubicBezTo>
                    <a:pt x="6293" y="2242"/>
                    <a:pt x="6292" y="2245"/>
                    <a:pt x="6290" y="2248"/>
                  </a:cubicBezTo>
                  <a:cubicBezTo>
                    <a:pt x="6287" y="2257"/>
                    <a:pt x="6284" y="2265"/>
                    <a:pt x="6281" y="2274"/>
                  </a:cubicBezTo>
                  <a:lnTo>
                    <a:pt x="6249" y="2274"/>
                  </a:lnTo>
                  <a:cubicBezTo>
                    <a:pt x="6241" y="2285"/>
                    <a:pt x="6234" y="2297"/>
                    <a:pt x="6226" y="2308"/>
                  </a:cubicBezTo>
                  <a:cubicBezTo>
                    <a:pt x="6224" y="2305"/>
                    <a:pt x="6223" y="2302"/>
                    <a:pt x="6221" y="2299"/>
                  </a:cubicBezTo>
                  <a:lnTo>
                    <a:pt x="6221" y="2308"/>
                  </a:lnTo>
                  <a:cubicBezTo>
                    <a:pt x="6220" y="2305"/>
                    <a:pt x="6218" y="2302"/>
                    <a:pt x="6217" y="2299"/>
                  </a:cubicBezTo>
                  <a:cubicBezTo>
                    <a:pt x="6209" y="2302"/>
                    <a:pt x="6202" y="2305"/>
                    <a:pt x="6194" y="2308"/>
                  </a:cubicBezTo>
                  <a:cubicBezTo>
                    <a:pt x="6189" y="2305"/>
                    <a:pt x="6185" y="2302"/>
                    <a:pt x="6180" y="2299"/>
                  </a:cubicBezTo>
                  <a:lnTo>
                    <a:pt x="6143" y="2308"/>
                  </a:lnTo>
                  <a:cubicBezTo>
                    <a:pt x="6140" y="2314"/>
                    <a:pt x="6137" y="2319"/>
                    <a:pt x="6134" y="2325"/>
                  </a:cubicBezTo>
                  <a:cubicBezTo>
                    <a:pt x="6128" y="2311"/>
                    <a:pt x="6121" y="2296"/>
                    <a:pt x="6115" y="2282"/>
                  </a:cubicBezTo>
                  <a:cubicBezTo>
                    <a:pt x="6100" y="2279"/>
                    <a:pt x="6084" y="2277"/>
                    <a:pt x="6069" y="2274"/>
                  </a:cubicBezTo>
                  <a:lnTo>
                    <a:pt x="6069" y="2282"/>
                  </a:lnTo>
                  <a:cubicBezTo>
                    <a:pt x="6066" y="2288"/>
                    <a:pt x="6063" y="2293"/>
                    <a:pt x="6060" y="2299"/>
                  </a:cubicBezTo>
                  <a:lnTo>
                    <a:pt x="5972" y="2214"/>
                  </a:lnTo>
                  <a:cubicBezTo>
                    <a:pt x="5971" y="2208"/>
                    <a:pt x="5969" y="2203"/>
                    <a:pt x="5968" y="2197"/>
                  </a:cubicBezTo>
                  <a:lnTo>
                    <a:pt x="5968" y="2171"/>
                  </a:lnTo>
                  <a:lnTo>
                    <a:pt x="5968" y="2162"/>
                  </a:lnTo>
                  <a:lnTo>
                    <a:pt x="5968" y="2120"/>
                  </a:lnTo>
                  <a:lnTo>
                    <a:pt x="5968" y="2111"/>
                  </a:lnTo>
                  <a:cubicBezTo>
                    <a:pt x="5969" y="2108"/>
                    <a:pt x="5971" y="2106"/>
                    <a:pt x="5972" y="2103"/>
                  </a:cubicBezTo>
                  <a:lnTo>
                    <a:pt x="5986" y="2103"/>
                  </a:lnTo>
                  <a:lnTo>
                    <a:pt x="5986" y="2085"/>
                  </a:lnTo>
                  <a:lnTo>
                    <a:pt x="5995" y="2085"/>
                  </a:lnTo>
                  <a:lnTo>
                    <a:pt x="5995" y="2077"/>
                  </a:lnTo>
                  <a:cubicBezTo>
                    <a:pt x="5992" y="2071"/>
                    <a:pt x="5989" y="2066"/>
                    <a:pt x="5986" y="2060"/>
                  </a:cubicBezTo>
                  <a:lnTo>
                    <a:pt x="5954" y="2060"/>
                  </a:lnTo>
                  <a:cubicBezTo>
                    <a:pt x="5949" y="2057"/>
                    <a:pt x="5945" y="2054"/>
                    <a:pt x="5940" y="2051"/>
                  </a:cubicBezTo>
                  <a:lnTo>
                    <a:pt x="5922" y="2060"/>
                  </a:lnTo>
                  <a:lnTo>
                    <a:pt x="5885" y="2051"/>
                  </a:lnTo>
                  <a:cubicBezTo>
                    <a:pt x="5882" y="2043"/>
                    <a:pt x="5879" y="2034"/>
                    <a:pt x="5876" y="2026"/>
                  </a:cubicBezTo>
                  <a:lnTo>
                    <a:pt x="5862" y="2026"/>
                  </a:lnTo>
                  <a:lnTo>
                    <a:pt x="5848" y="2026"/>
                  </a:lnTo>
                  <a:lnTo>
                    <a:pt x="5825" y="2026"/>
                  </a:lnTo>
                  <a:cubicBezTo>
                    <a:pt x="5813" y="2014"/>
                    <a:pt x="5800" y="2003"/>
                    <a:pt x="5788" y="1991"/>
                  </a:cubicBezTo>
                  <a:cubicBezTo>
                    <a:pt x="5779" y="1994"/>
                    <a:pt x="5769" y="1997"/>
                    <a:pt x="5760" y="2000"/>
                  </a:cubicBezTo>
                  <a:lnTo>
                    <a:pt x="5760" y="2026"/>
                  </a:lnTo>
                  <a:cubicBezTo>
                    <a:pt x="5745" y="2034"/>
                    <a:pt x="5729" y="2043"/>
                    <a:pt x="5714" y="2051"/>
                  </a:cubicBezTo>
                  <a:cubicBezTo>
                    <a:pt x="5705" y="2045"/>
                    <a:pt x="5696" y="2040"/>
                    <a:pt x="5687" y="2034"/>
                  </a:cubicBezTo>
                  <a:cubicBezTo>
                    <a:pt x="5673" y="2048"/>
                    <a:pt x="5659" y="2063"/>
                    <a:pt x="5645" y="2077"/>
                  </a:cubicBezTo>
                  <a:cubicBezTo>
                    <a:pt x="5651" y="2091"/>
                    <a:pt x="5658" y="2106"/>
                    <a:pt x="5664" y="2120"/>
                  </a:cubicBezTo>
                  <a:lnTo>
                    <a:pt x="5664" y="2162"/>
                  </a:lnTo>
                  <a:cubicBezTo>
                    <a:pt x="5653" y="2174"/>
                    <a:pt x="5642" y="2185"/>
                    <a:pt x="5631" y="2197"/>
                  </a:cubicBezTo>
                  <a:cubicBezTo>
                    <a:pt x="5627" y="2194"/>
                    <a:pt x="5622" y="2191"/>
                    <a:pt x="5618" y="2188"/>
                  </a:cubicBezTo>
                  <a:lnTo>
                    <a:pt x="5618" y="2171"/>
                  </a:lnTo>
                  <a:lnTo>
                    <a:pt x="5641" y="2171"/>
                  </a:lnTo>
                  <a:lnTo>
                    <a:pt x="5641" y="2162"/>
                  </a:lnTo>
                  <a:cubicBezTo>
                    <a:pt x="5636" y="2156"/>
                    <a:pt x="5632" y="2151"/>
                    <a:pt x="5627" y="2145"/>
                  </a:cubicBezTo>
                  <a:lnTo>
                    <a:pt x="5627" y="2120"/>
                  </a:lnTo>
                  <a:lnTo>
                    <a:pt x="5618" y="2111"/>
                  </a:lnTo>
                  <a:cubicBezTo>
                    <a:pt x="5622" y="2091"/>
                    <a:pt x="5627" y="2071"/>
                    <a:pt x="5631" y="2051"/>
                  </a:cubicBezTo>
                  <a:lnTo>
                    <a:pt x="5631" y="2026"/>
                  </a:lnTo>
                  <a:cubicBezTo>
                    <a:pt x="5630" y="2014"/>
                    <a:pt x="5628" y="2003"/>
                    <a:pt x="5627" y="1991"/>
                  </a:cubicBezTo>
                  <a:cubicBezTo>
                    <a:pt x="5624" y="1985"/>
                    <a:pt x="5621" y="1980"/>
                    <a:pt x="5618" y="1974"/>
                  </a:cubicBezTo>
                  <a:lnTo>
                    <a:pt x="5618" y="1940"/>
                  </a:lnTo>
                  <a:cubicBezTo>
                    <a:pt x="5610" y="1912"/>
                    <a:pt x="5602" y="1883"/>
                    <a:pt x="5594" y="1855"/>
                  </a:cubicBezTo>
                  <a:cubicBezTo>
                    <a:pt x="5596" y="1875"/>
                    <a:pt x="5597" y="1895"/>
                    <a:pt x="5599" y="1915"/>
                  </a:cubicBezTo>
                  <a:lnTo>
                    <a:pt x="5599" y="1949"/>
                  </a:lnTo>
                  <a:cubicBezTo>
                    <a:pt x="5597" y="1963"/>
                    <a:pt x="5596" y="1977"/>
                    <a:pt x="5594" y="1991"/>
                  </a:cubicBezTo>
                  <a:cubicBezTo>
                    <a:pt x="5586" y="1994"/>
                    <a:pt x="5579" y="1997"/>
                    <a:pt x="5571" y="2000"/>
                  </a:cubicBezTo>
                  <a:lnTo>
                    <a:pt x="5530" y="1991"/>
                  </a:lnTo>
                  <a:cubicBezTo>
                    <a:pt x="5528" y="1994"/>
                    <a:pt x="5527" y="1997"/>
                    <a:pt x="5525" y="2000"/>
                  </a:cubicBezTo>
                  <a:cubicBezTo>
                    <a:pt x="5524" y="1997"/>
                    <a:pt x="5522" y="1994"/>
                    <a:pt x="5521" y="1991"/>
                  </a:cubicBezTo>
                  <a:cubicBezTo>
                    <a:pt x="5513" y="1977"/>
                    <a:pt x="5506" y="1963"/>
                    <a:pt x="5498" y="1949"/>
                  </a:cubicBezTo>
                  <a:cubicBezTo>
                    <a:pt x="5496" y="1929"/>
                    <a:pt x="5495" y="1909"/>
                    <a:pt x="5493" y="1889"/>
                  </a:cubicBezTo>
                  <a:lnTo>
                    <a:pt x="5493" y="1863"/>
                  </a:lnTo>
                  <a:cubicBezTo>
                    <a:pt x="5495" y="1872"/>
                    <a:pt x="5496" y="1880"/>
                    <a:pt x="5498" y="1889"/>
                  </a:cubicBezTo>
                  <a:cubicBezTo>
                    <a:pt x="5503" y="1878"/>
                    <a:pt x="5507" y="1866"/>
                    <a:pt x="5512" y="1855"/>
                  </a:cubicBezTo>
                  <a:lnTo>
                    <a:pt x="5512" y="1838"/>
                  </a:lnTo>
                  <a:cubicBezTo>
                    <a:pt x="5501" y="1844"/>
                    <a:pt x="5490" y="1849"/>
                    <a:pt x="5479" y="1855"/>
                  </a:cubicBezTo>
                  <a:cubicBezTo>
                    <a:pt x="5476" y="1861"/>
                    <a:pt x="5473" y="1866"/>
                    <a:pt x="5470" y="1872"/>
                  </a:cubicBezTo>
                  <a:lnTo>
                    <a:pt x="5470" y="1889"/>
                  </a:lnTo>
                  <a:cubicBezTo>
                    <a:pt x="5468" y="1892"/>
                    <a:pt x="5467" y="1894"/>
                    <a:pt x="5465" y="1897"/>
                  </a:cubicBezTo>
                  <a:cubicBezTo>
                    <a:pt x="5462" y="1889"/>
                    <a:pt x="5459" y="1880"/>
                    <a:pt x="5456" y="1872"/>
                  </a:cubicBezTo>
                  <a:lnTo>
                    <a:pt x="5447" y="1872"/>
                  </a:lnTo>
                  <a:cubicBezTo>
                    <a:pt x="5442" y="1866"/>
                    <a:pt x="5438" y="1861"/>
                    <a:pt x="5433" y="1855"/>
                  </a:cubicBezTo>
                  <a:cubicBezTo>
                    <a:pt x="5421" y="1858"/>
                    <a:pt x="5408" y="1860"/>
                    <a:pt x="5396" y="1863"/>
                  </a:cubicBezTo>
                  <a:lnTo>
                    <a:pt x="5396" y="1897"/>
                  </a:lnTo>
                  <a:cubicBezTo>
                    <a:pt x="5390" y="1914"/>
                    <a:pt x="5384" y="1932"/>
                    <a:pt x="5378" y="1949"/>
                  </a:cubicBezTo>
                  <a:lnTo>
                    <a:pt x="5378" y="1966"/>
                  </a:lnTo>
                  <a:cubicBezTo>
                    <a:pt x="5383" y="1986"/>
                    <a:pt x="5387" y="2006"/>
                    <a:pt x="5392" y="2026"/>
                  </a:cubicBezTo>
                  <a:lnTo>
                    <a:pt x="5396" y="2026"/>
                  </a:lnTo>
                  <a:cubicBezTo>
                    <a:pt x="5395" y="2020"/>
                    <a:pt x="5393" y="2015"/>
                    <a:pt x="5392" y="2009"/>
                  </a:cubicBezTo>
                  <a:lnTo>
                    <a:pt x="5392" y="2000"/>
                  </a:lnTo>
                  <a:cubicBezTo>
                    <a:pt x="5393" y="2003"/>
                    <a:pt x="5395" y="2006"/>
                    <a:pt x="5396" y="2009"/>
                  </a:cubicBezTo>
                  <a:lnTo>
                    <a:pt x="5424" y="2009"/>
                  </a:lnTo>
                  <a:lnTo>
                    <a:pt x="5433" y="1991"/>
                  </a:lnTo>
                  <a:cubicBezTo>
                    <a:pt x="5438" y="1985"/>
                    <a:pt x="5442" y="1980"/>
                    <a:pt x="5447" y="1974"/>
                  </a:cubicBezTo>
                  <a:cubicBezTo>
                    <a:pt x="5449" y="1971"/>
                    <a:pt x="5450" y="1969"/>
                    <a:pt x="5452" y="1966"/>
                  </a:cubicBezTo>
                  <a:lnTo>
                    <a:pt x="5456" y="1966"/>
                  </a:lnTo>
                  <a:cubicBezTo>
                    <a:pt x="5459" y="1980"/>
                    <a:pt x="5462" y="1995"/>
                    <a:pt x="5465" y="2009"/>
                  </a:cubicBezTo>
                  <a:cubicBezTo>
                    <a:pt x="5454" y="2017"/>
                    <a:pt x="5444" y="2026"/>
                    <a:pt x="5433" y="2034"/>
                  </a:cubicBezTo>
                  <a:cubicBezTo>
                    <a:pt x="5430" y="2043"/>
                    <a:pt x="5427" y="2051"/>
                    <a:pt x="5424" y="2060"/>
                  </a:cubicBezTo>
                  <a:lnTo>
                    <a:pt x="5419" y="2060"/>
                  </a:lnTo>
                  <a:lnTo>
                    <a:pt x="5392" y="2111"/>
                  </a:lnTo>
                  <a:lnTo>
                    <a:pt x="5378" y="2111"/>
                  </a:lnTo>
                  <a:cubicBezTo>
                    <a:pt x="5369" y="2094"/>
                    <a:pt x="5359" y="2077"/>
                    <a:pt x="5350" y="2060"/>
                  </a:cubicBezTo>
                  <a:cubicBezTo>
                    <a:pt x="5358" y="2077"/>
                    <a:pt x="5365" y="2094"/>
                    <a:pt x="5373" y="2111"/>
                  </a:cubicBezTo>
                  <a:lnTo>
                    <a:pt x="5364" y="2111"/>
                  </a:lnTo>
                  <a:cubicBezTo>
                    <a:pt x="5362" y="2108"/>
                    <a:pt x="5361" y="2106"/>
                    <a:pt x="5359" y="2103"/>
                  </a:cubicBezTo>
                  <a:lnTo>
                    <a:pt x="5359" y="2120"/>
                  </a:lnTo>
                  <a:lnTo>
                    <a:pt x="5359" y="2137"/>
                  </a:lnTo>
                  <a:cubicBezTo>
                    <a:pt x="5344" y="2145"/>
                    <a:pt x="5328" y="2154"/>
                    <a:pt x="5313" y="2162"/>
                  </a:cubicBezTo>
                  <a:lnTo>
                    <a:pt x="5300" y="2162"/>
                  </a:lnTo>
                  <a:lnTo>
                    <a:pt x="5300" y="2171"/>
                  </a:lnTo>
                  <a:lnTo>
                    <a:pt x="5300" y="2197"/>
                  </a:lnTo>
                  <a:lnTo>
                    <a:pt x="5276" y="2188"/>
                  </a:lnTo>
                  <a:cubicBezTo>
                    <a:pt x="5267" y="2199"/>
                    <a:pt x="5258" y="2211"/>
                    <a:pt x="5249" y="2222"/>
                  </a:cubicBezTo>
                  <a:lnTo>
                    <a:pt x="5249" y="2222"/>
                  </a:lnTo>
                  <a:cubicBezTo>
                    <a:pt x="5238" y="2219"/>
                    <a:pt x="5228" y="2217"/>
                    <a:pt x="5217" y="2214"/>
                  </a:cubicBezTo>
                  <a:cubicBezTo>
                    <a:pt x="5212" y="2222"/>
                    <a:pt x="5208" y="2231"/>
                    <a:pt x="5203" y="2239"/>
                  </a:cubicBezTo>
                  <a:cubicBezTo>
                    <a:pt x="5192" y="2231"/>
                    <a:pt x="5182" y="2222"/>
                    <a:pt x="5171" y="2214"/>
                  </a:cubicBezTo>
                  <a:cubicBezTo>
                    <a:pt x="5166" y="2222"/>
                    <a:pt x="5162" y="2231"/>
                    <a:pt x="5157" y="2239"/>
                  </a:cubicBezTo>
                  <a:cubicBezTo>
                    <a:pt x="5160" y="2245"/>
                    <a:pt x="5163" y="2250"/>
                    <a:pt x="5166" y="2256"/>
                  </a:cubicBezTo>
                  <a:cubicBezTo>
                    <a:pt x="5168" y="2273"/>
                    <a:pt x="5169" y="2291"/>
                    <a:pt x="5171" y="2308"/>
                  </a:cubicBezTo>
                  <a:cubicBezTo>
                    <a:pt x="5185" y="2322"/>
                    <a:pt x="5198" y="2336"/>
                    <a:pt x="5212" y="2350"/>
                  </a:cubicBezTo>
                  <a:lnTo>
                    <a:pt x="5203" y="2350"/>
                  </a:lnTo>
                  <a:lnTo>
                    <a:pt x="5166" y="2325"/>
                  </a:lnTo>
                  <a:cubicBezTo>
                    <a:pt x="5161" y="2319"/>
                    <a:pt x="5157" y="2314"/>
                    <a:pt x="5152" y="2308"/>
                  </a:cubicBezTo>
                  <a:cubicBezTo>
                    <a:pt x="5149" y="2316"/>
                    <a:pt x="5146" y="2325"/>
                    <a:pt x="5143" y="2333"/>
                  </a:cubicBezTo>
                  <a:lnTo>
                    <a:pt x="5138" y="2333"/>
                  </a:lnTo>
                  <a:cubicBezTo>
                    <a:pt x="5133" y="2347"/>
                    <a:pt x="5129" y="2362"/>
                    <a:pt x="5124" y="2376"/>
                  </a:cubicBezTo>
                  <a:lnTo>
                    <a:pt x="5115" y="2385"/>
                  </a:lnTo>
                  <a:lnTo>
                    <a:pt x="5106" y="2385"/>
                  </a:lnTo>
                  <a:cubicBezTo>
                    <a:pt x="5089" y="2413"/>
                    <a:pt x="5072" y="2442"/>
                    <a:pt x="5055" y="2470"/>
                  </a:cubicBezTo>
                  <a:cubicBezTo>
                    <a:pt x="5058" y="2467"/>
                    <a:pt x="5062" y="2465"/>
                    <a:pt x="5065" y="2462"/>
                  </a:cubicBezTo>
                  <a:cubicBezTo>
                    <a:pt x="5062" y="2456"/>
                    <a:pt x="5058" y="2450"/>
                    <a:pt x="5055" y="2444"/>
                  </a:cubicBezTo>
                  <a:cubicBezTo>
                    <a:pt x="5050" y="2450"/>
                    <a:pt x="5046" y="2456"/>
                    <a:pt x="5041" y="2462"/>
                  </a:cubicBezTo>
                  <a:cubicBezTo>
                    <a:pt x="5040" y="2465"/>
                    <a:pt x="5038" y="2467"/>
                    <a:pt x="5037" y="2470"/>
                  </a:cubicBezTo>
                  <a:lnTo>
                    <a:pt x="5032" y="2470"/>
                  </a:lnTo>
                  <a:lnTo>
                    <a:pt x="5032" y="2444"/>
                  </a:lnTo>
                  <a:cubicBezTo>
                    <a:pt x="5040" y="2433"/>
                    <a:pt x="5047" y="2421"/>
                    <a:pt x="5055" y="2410"/>
                  </a:cubicBezTo>
                  <a:cubicBezTo>
                    <a:pt x="5058" y="2404"/>
                    <a:pt x="5062" y="2399"/>
                    <a:pt x="5065" y="2393"/>
                  </a:cubicBezTo>
                  <a:cubicBezTo>
                    <a:pt x="5066" y="2390"/>
                    <a:pt x="5068" y="2388"/>
                    <a:pt x="5069" y="2385"/>
                  </a:cubicBezTo>
                  <a:cubicBezTo>
                    <a:pt x="5074" y="2382"/>
                    <a:pt x="5078" y="2379"/>
                    <a:pt x="5083" y="2376"/>
                  </a:cubicBezTo>
                  <a:lnTo>
                    <a:pt x="5097" y="2376"/>
                  </a:lnTo>
                  <a:lnTo>
                    <a:pt x="5124" y="2325"/>
                  </a:lnTo>
                  <a:cubicBezTo>
                    <a:pt x="5130" y="2299"/>
                    <a:pt x="5137" y="2274"/>
                    <a:pt x="5143" y="2248"/>
                  </a:cubicBezTo>
                  <a:lnTo>
                    <a:pt x="5152" y="2239"/>
                  </a:lnTo>
                  <a:cubicBezTo>
                    <a:pt x="5157" y="2213"/>
                    <a:pt x="5161" y="2188"/>
                    <a:pt x="5166" y="2162"/>
                  </a:cubicBezTo>
                  <a:cubicBezTo>
                    <a:pt x="5168" y="2165"/>
                    <a:pt x="5169" y="2168"/>
                    <a:pt x="5171" y="2171"/>
                  </a:cubicBezTo>
                  <a:cubicBezTo>
                    <a:pt x="5180" y="2162"/>
                    <a:pt x="5189" y="2154"/>
                    <a:pt x="5198" y="2145"/>
                  </a:cubicBezTo>
                  <a:cubicBezTo>
                    <a:pt x="5200" y="2134"/>
                    <a:pt x="5201" y="2122"/>
                    <a:pt x="5203" y="2111"/>
                  </a:cubicBezTo>
                  <a:cubicBezTo>
                    <a:pt x="5208" y="2094"/>
                    <a:pt x="5212" y="2077"/>
                    <a:pt x="5217" y="2060"/>
                  </a:cubicBezTo>
                  <a:cubicBezTo>
                    <a:pt x="5220" y="2049"/>
                    <a:pt x="5223" y="2037"/>
                    <a:pt x="5226" y="2026"/>
                  </a:cubicBezTo>
                  <a:lnTo>
                    <a:pt x="5286" y="2026"/>
                  </a:lnTo>
                  <a:cubicBezTo>
                    <a:pt x="5287" y="2029"/>
                    <a:pt x="5289" y="2031"/>
                    <a:pt x="5290" y="2034"/>
                  </a:cubicBezTo>
                  <a:lnTo>
                    <a:pt x="5323" y="1923"/>
                  </a:lnTo>
                  <a:lnTo>
                    <a:pt x="5323" y="1889"/>
                  </a:lnTo>
                  <a:lnTo>
                    <a:pt x="5359" y="1829"/>
                  </a:lnTo>
                  <a:cubicBezTo>
                    <a:pt x="5365" y="1823"/>
                    <a:pt x="5372" y="1818"/>
                    <a:pt x="5378" y="1812"/>
                  </a:cubicBezTo>
                  <a:cubicBezTo>
                    <a:pt x="5387" y="1792"/>
                    <a:pt x="5397" y="1772"/>
                    <a:pt x="5406" y="1752"/>
                  </a:cubicBezTo>
                  <a:cubicBezTo>
                    <a:pt x="5407" y="1741"/>
                    <a:pt x="5409" y="1729"/>
                    <a:pt x="5410" y="1718"/>
                  </a:cubicBezTo>
                  <a:cubicBezTo>
                    <a:pt x="5419" y="1701"/>
                    <a:pt x="5429" y="1684"/>
                    <a:pt x="5438" y="1667"/>
                  </a:cubicBezTo>
                  <a:lnTo>
                    <a:pt x="5438" y="1650"/>
                  </a:lnTo>
                  <a:lnTo>
                    <a:pt x="5438" y="1641"/>
                  </a:lnTo>
                  <a:lnTo>
                    <a:pt x="5452" y="1641"/>
                  </a:lnTo>
                  <a:cubicBezTo>
                    <a:pt x="5453" y="1632"/>
                    <a:pt x="5455" y="1624"/>
                    <a:pt x="5456" y="1615"/>
                  </a:cubicBezTo>
                  <a:lnTo>
                    <a:pt x="5456" y="1615"/>
                  </a:lnTo>
                  <a:cubicBezTo>
                    <a:pt x="5459" y="1609"/>
                    <a:pt x="5462" y="1604"/>
                    <a:pt x="5465" y="1598"/>
                  </a:cubicBezTo>
                  <a:lnTo>
                    <a:pt x="5465" y="1615"/>
                  </a:lnTo>
                  <a:cubicBezTo>
                    <a:pt x="5470" y="1609"/>
                    <a:pt x="5474" y="1604"/>
                    <a:pt x="5479" y="1598"/>
                  </a:cubicBezTo>
                  <a:cubicBezTo>
                    <a:pt x="5481" y="1592"/>
                    <a:pt x="5482" y="1587"/>
                    <a:pt x="5484" y="1581"/>
                  </a:cubicBezTo>
                  <a:lnTo>
                    <a:pt x="5493" y="1581"/>
                  </a:lnTo>
                  <a:cubicBezTo>
                    <a:pt x="5499" y="1567"/>
                    <a:pt x="5506" y="1552"/>
                    <a:pt x="5512" y="1538"/>
                  </a:cubicBezTo>
                  <a:cubicBezTo>
                    <a:pt x="5518" y="1547"/>
                    <a:pt x="5524" y="1555"/>
                    <a:pt x="5530" y="1564"/>
                  </a:cubicBezTo>
                  <a:lnTo>
                    <a:pt x="5530" y="1538"/>
                  </a:lnTo>
                  <a:cubicBezTo>
                    <a:pt x="5533" y="1535"/>
                    <a:pt x="5536" y="1533"/>
                    <a:pt x="5539" y="1530"/>
                  </a:cubicBezTo>
                  <a:cubicBezTo>
                    <a:pt x="5536" y="1521"/>
                    <a:pt x="5533" y="1513"/>
                    <a:pt x="5530" y="1504"/>
                  </a:cubicBezTo>
                  <a:lnTo>
                    <a:pt x="5567" y="1479"/>
                  </a:lnTo>
                  <a:lnTo>
                    <a:pt x="5553" y="1479"/>
                  </a:lnTo>
                  <a:lnTo>
                    <a:pt x="5553" y="1453"/>
                  </a:lnTo>
                  <a:cubicBezTo>
                    <a:pt x="5562" y="1450"/>
                    <a:pt x="5572" y="1447"/>
                    <a:pt x="5581" y="1444"/>
                  </a:cubicBezTo>
                  <a:lnTo>
                    <a:pt x="5581" y="1453"/>
                  </a:lnTo>
                  <a:cubicBezTo>
                    <a:pt x="5582" y="1450"/>
                    <a:pt x="5584" y="1447"/>
                    <a:pt x="5585" y="1444"/>
                  </a:cubicBezTo>
                  <a:cubicBezTo>
                    <a:pt x="5588" y="1438"/>
                    <a:pt x="5591" y="1433"/>
                    <a:pt x="5594" y="1427"/>
                  </a:cubicBezTo>
                  <a:cubicBezTo>
                    <a:pt x="5596" y="1424"/>
                    <a:pt x="5597" y="1422"/>
                    <a:pt x="5599" y="1419"/>
                  </a:cubicBezTo>
                  <a:cubicBezTo>
                    <a:pt x="5597" y="1413"/>
                    <a:pt x="5596" y="1408"/>
                    <a:pt x="5594" y="1402"/>
                  </a:cubicBezTo>
                  <a:cubicBezTo>
                    <a:pt x="5597" y="1399"/>
                    <a:pt x="5601" y="1396"/>
                    <a:pt x="5604" y="1393"/>
                  </a:cubicBezTo>
                  <a:lnTo>
                    <a:pt x="5618" y="1393"/>
                  </a:lnTo>
                  <a:cubicBezTo>
                    <a:pt x="5621" y="1385"/>
                    <a:pt x="5624" y="1376"/>
                    <a:pt x="5627" y="1368"/>
                  </a:cubicBezTo>
                  <a:lnTo>
                    <a:pt x="5627" y="1325"/>
                  </a:lnTo>
                  <a:cubicBezTo>
                    <a:pt x="5633" y="1314"/>
                    <a:pt x="5639" y="1302"/>
                    <a:pt x="5645" y="1291"/>
                  </a:cubicBezTo>
                  <a:lnTo>
                    <a:pt x="5645" y="1282"/>
                  </a:lnTo>
                  <a:cubicBezTo>
                    <a:pt x="5648" y="1276"/>
                    <a:pt x="5651" y="1271"/>
                    <a:pt x="5654" y="1265"/>
                  </a:cubicBezTo>
                  <a:lnTo>
                    <a:pt x="5654" y="1214"/>
                  </a:lnTo>
                  <a:lnTo>
                    <a:pt x="5654" y="1214"/>
                  </a:lnTo>
                  <a:cubicBezTo>
                    <a:pt x="5651" y="1208"/>
                    <a:pt x="5648" y="1203"/>
                    <a:pt x="5645" y="1197"/>
                  </a:cubicBezTo>
                  <a:lnTo>
                    <a:pt x="5659" y="1197"/>
                  </a:lnTo>
                  <a:cubicBezTo>
                    <a:pt x="5657" y="1183"/>
                    <a:pt x="5656" y="1168"/>
                    <a:pt x="5654" y="1154"/>
                  </a:cubicBezTo>
                  <a:lnTo>
                    <a:pt x="5641" y="1154"/>
                  </a:lnTo>
                  <a:cubicBezTo>
                    <a:pt x="5636" y="1145"/>
                    <a:pt x="5632" y="1137"/>
                    <a:pt x="5627" y="1128"/>
                  </a:cubicBezTo>
                  <a:cubicBezTo>
                    <a:pt x="5624" y="1117"/>
                    <a:pt x="5621" y="1105"/>
                    <a:pt x="5618" y="1094"/>
                  </a:cubicBezTo>
                  <a:lnTo>
                    <a:pt x="5613" y="1094"/>
                  </a:lnTo>
                  <a:cubicBezTo>
                    <a:pt x="5610" y="1103"/>
                    <a:pt x="5607" y="1111"/>
                    <a:pt x="5604" y="1120"/>
                  </a:cubicBezTo>
                  <a:lnTo>
                    <a:pt x="5604" y="1128"/>
                  </a:lnTo>
                  <a:cubicBezTo>
                    <a:pt x="5602" y="1120"/>
                    <a:pt x="5601" y="1111"/>
                    <a:pt x="5599" y="1103"/>
                  </a:cubicBezTo>
                  <a:lnTo>
                    <a:pt x="5599" y="1103"/>
                  </a:lnTo>
                  <a:cubicBezTo>
                    <a:pt x="5597" y="1091"/>
                    <a:pt x="5596" y="1080"/>
                    <a:pt x="5594" y="1068"/>
                  </a:cubicBezTo>
                  <a:lnTo>
                    <a:pt x="5594" y="1060"/>
                  </a:lnTo>
                  <a:cubicBezTo>
                    <a:pt x="5590" y="1051"/>
                    <a:pt x="5585" y="1043"/>
                    <a:pt x="5581" y="1034"/>
                  </a:cubicBezTo>
                  <a:cubicBezTo>
                    <a:pt x="5578" y="1026"/>
                    <a:pt x="5574" y="1017"/>
                    <a:pt x="5571" y="1009"/>
                  </a:cubicBezTo>
                  <a:lnTo>
                    <a:pt x="5571" y="991"/>
                  </a:lnTo>
                  <a:cubicBezTo>
                    <a:pt x="5576" y="997"/>
                    <a:pt x="5580" y="1003"/>
                    <a:pt x="5585" y="1009"/>
                  </a:cubicBezTo>
                  <a:cubicBezTo>
                    <a:pt x="5591" y="1020"/>
                    <a:pt x="5598" y="1032"/>
                    <a:pt x="5604" y="1043"/>
                  </a:cubicBezTo>
                  <a:cubicBezTo>
                    <a:pt x="5616" y="1060"/>
                    <a:pt x="5629" y="1077"/>
                    <a:pt x="5641" y="1094"/>
                  </a:cubicBezTo>
                  <a:cubicBezTo>
                    <a:pt x="5638" y="1105"/>
                    <a:pt x="5634" y="1117"/>
                    <a:pt x="5631" y="1128"/>
                  </a:cubicBezTo>
                  <a:lnTo>
                    <a:pt x="5641" y="1128"/>
                  </a:lnTo>
                  <a:lnTo>
                    <a:pt x="5659" y="1017"/>
                  </a:lnTo>
                  <a:lnTo>
                    <a:pt x="5659" y="983"/>
                  </a:lnTo>
                  <a:lnTo>
                    <a:pt x="5659" y="957"/>
                  </a:lnTo>
                  <a:cubicBezTo>
                    <a:pt x="5657" y="960"/>
                    <a:pt x="5656" y="963"/>
                    <a:pt x="5654" y="966"/>
                  </a:cubicBezTo>
                  <a:cubicBezTo>
                    <a:pt x="5650" y="963"/>
                    <a:pt x="5645" y="960"/>
                    <a:pt x="5641" y="957"/>
                  </a:cubicBezTo>
                  <a:cubicBezTo>
                    <a:pt x="5638" y="937"/>
                    <a:pt x="5634" y="917"/>
                    <a:pt x="5631" y="897"/>
                  </a:cubicBezTo>
                  <a:cubicBezTo>
                    <a:pt x="5634" y="889"/>
                    <a:pt x="5638" y="880"/>
                    <a:pt x="5641" y="872"/>
                  </a:cubicBezTo>
                  <a:cubicBezTo>
                    <a:pt x="5633" y="849"/>
                    <a:pt x="5626" y="826"/>
                    <a:pt x="5618" y="803"/>
                  </a:cubicBezTo>
                  <a:cubicBezTo>
                    <a:pt x="5613" y="809"/>
                    <a:pt x="5609" y="815"/>
                    <a:pt x="5604" y="821"/>
                  </a:cubicBezTo>
                  <a:cubicBezTo>
                    <a:pt x="5607" y="829"/>
                    <a:pt x="5610" y="838"/>
                    <a:pt x="5613" y="846"/>
                  </a:cubicBezTo>
                  <a:lnTo>
                    <a:pt x="5604" y="855"/>
                  </a:lnTo>
                  <a:cubicBezTo>
                    <a:pt x="5602" y="863"/>
                    <a:pt x="5601" y="872"/>
                    <a:pt x="5599" y="880"/>
                  </a:cubicBezTo>
                  <a:lnTo>
                    <a:pt x="5594" y="880"/>
                  </a:lnTo>
                  <a:lnTo>
                    <a:pt x="5585" y="829"/>
                  </a:lnTo>
                  <a:cubicBezTo>
                    <a:pt x="5580" y="820"/>
                    <a:pt x="5576" y="812"/>
                    <a:pt x="5571" y="803"/>
                  </a:cubicBezTo>
                  <a:cubicBezTo>
                    <a:pt x="5576" y="800"/>
                    <a:pt x="5580" y="798"/>
                    <a:pt x="5585" y="795"/>
                  </a:cubicBezTo>
                  <a:lnTo>
                    <a:pt x="5585" y="761"/>
                  </a:lnTo>
                  <a:cubicBezTo>
                    <a:pt x="5576" y="744"/>
                    <a:pt x="5567" y="726"/>
                    <a:pt x="5558" y="709"/>
                  </a:cubicBezTo>
                  <a:lnTo>
                    <a:pt x="5544" y="709"/>
                  </a:lnTo>
                  <a:lnTo>
                    <a:pt x="5544" y="684"/>
                  </a:lnTo>
                  <a:cubicBezTo>
                    <a:pt x="5538" y="667"/>
                    <a:pt x="5531" y="649"/>
                    <a:pt x="5525" y="632"/>
                  </a:cubicBezTo>
                  <a:cubicBezTo>
                    <a:pt x="5519" y="624"/>
                    <a:pt x="5513" y="615"/>
                    <a:pt x="5507" y="607"/>
                  </a:cubicBezTo>
                  <a:cubicBezTo>
                    <a:pt x="5509" y="604"/>
                    <a:pt x="5510" y="601"/>
                    <a:pt x="5512" y="598"/>
                  </a:cubicBezTo>
                  <a:cubicBezTo>
                    <a:pt x="5510" y="592"/>
                    <a:pt x="5509" y="587"/>
                    <a:pt x="5507" y="581"/>
                  </a:cubicBezTo>
                  <a:cubicBezTo>
                    <a:pt x="5502" y="578"/>
                    <a:pt x="5498" y="576"/>
                    <a:pt x="5493" y="573"/>
                  </a:cubicBezTo>
                  <a:cubicBezTo>
                    <a:pt x="5490" y="576"/>
                    <a:pt x="5487" y="578"/>
                    <a:pt x="5484" y="581"/>
                  </a:cubicBezTo>
                  <a:lnTo>
                    <a:pt x="5484" y="573"/>
                  </a:lnTo>
                  <a:lnTo>
                    <a:pt x="5484" y="547"/>
                  </a:lnTo>
                  <a:cubicBezTo>
                    <a:pt x="5478" y="550"/>
                    <a:pt x="5471" y="553"/>
                    <a:pt x="5465" y="556"/>
                  </a:cubicBezTo>
                  <a:lnTo>
                    <a:pt x="5433" y="547"/>
                  </a:lnTo>
                  <a:lnTo>
                    <a:pt x="5410" y="573"/>
                  </a:lnTo>
                  <a:lnTo>
                    <a:pt x="5406" y="573"/>
                  </a:lnTo>
                  <a:lnTo>
                    <a:pt x="5392" y="573"/>
                  </a:lnTo>
                  <a:cubicBezTo>
                    <a:pt x="5383" y="559"/>
                    <a:pt x="5373" y="544"/>
                    <a:pt x="5364" y="530"/>
                  </a:cubicBezTo>
                  <a:cubicBezTo>
                    <a:pt x="5359" y="539"/>
                    <a:pt x="5355" y="547"/>
                    <a:pt x="5350" y="556"/>
                  </a:cubicBezTo>
                  <a:lnTo>
                    <a:pt x="5346" y="556"/>
                  </a:lnTo>
                  <a:cubicBezTo>
                    <a:pt x="5335" y="562"/>
                    <a:pt x="5324" y="567"/>
                    <a:pt x="5313" y="573"/>
                  </a:cubicBezTo>
                  <a:cubicBezTo>
                    <a:pt x="5310" y="567"/>
                    <a:pt x="5307" y="562"/>
                    <a:pt x="5304" y="556"/>
                  </a:cubicBezTo>
                  <a:cubicBezTo>
                    <a:pt x="5299" y="562"/>
                    <a:pt x="5295" y="567"/>
                    <a:pt x="5290" y="573"/>
                  </a:cubicBezTo>
                  <a:lnTo>
                    <a:pt x="5290" y="556"/>
                  </a:lnTo>
                  <a:cubicBezTo>
                    <a:pt x="5293" y="553"/>
                    <a:pt x="5297" y="550"/>
                    <a:pt x="5300" y="547"/>
                  </a:cubicBezTo>
                  <a:lnTo>
                    <a:pt x="5300" y="530"/>
                  </a:lnTo>
                  <a:lnTo>
                    <a:pt x="5290" y="530"/>
                  </a:lnTo>
                  <a:cubicBezTo>
                    <a:pt x="5289" y="536"/>
                    <a:pt x="5287" y="541"/>
                    <a:pt x="5286" y="547"/>
                  </a:cubicBezTo>
                  <a:cubicBezTo>
                    <a:pt x="5281" y="550"/>
                    <a:pt x="5277" y="553"/>
                    <a:pt x="5272" y="556"/>
                  </a:cubicBezTo>
                  <a:lnTo>
                    <a:pt x="5272" y="598"/>
                  </a:lnTo>
                  <a:cubicBezTo>
                    <a:pt x="5273" y="592"/>
                    <a:pt x="5275" y="587"/>
                    <a:pt x="5276" y="581"/>
                  </a:cubicBezTo>
                  <a:cubicBezTo>
                    <a:pt x="5275" y="590"/>
                    <a:pt x="5273" y="598"/>
                    <a:pt x="5272" y="607"/>
                  </a:cubicBezTo>
                  <a:lnTo>
                    <a:pt x="5263" y="607"/>
                  </a:lnTo>
                  <a:lnTo>
                    <a:pt x="5263" y="632"/>
                  </a:lnTo>
                  <a:cubicBezTo>
                    <a:pt x="5261" y="641"/>
                    <a:pt x="5260" y="649"/>
                    <a:pt x="5258" y="658"/>
                  </a:cubicBezTo>
                  <a:cubicBezTo>
                    <a:pt x="5253" y="661"/>
                    <a:pt x="5249" y="664"/>
                    <a:pt x="5244" y="667"/>
                  </a:cubicBezTo>
                  <a:cubicBezTo>
                    <a:pt x="5243" y="664"/>
                    <a:pt x="5241" y="661"/>
                    <a:pt x="5240" y="658"/>
                  </a:cubicBezTo>
                  <a:lnTo>
                    <a:pt x="5240" y="684"/>
                  </a:lnTo>
                  <a:lnTo>
                    <a:pt x="5212" y="684"/>
                  </a:lnTo>
                  <a:cubicBezTo>
                    <a:pt x="5207" y="687"/>
                    <a:pt x="5203" y="689"/>
                    <a:pt x="5198" y="692"/>
                  </a:cubicBezTo>
                  <a:cubicBezTo>
                    <a:pt x="5193" y="689"/>
                    <a:pt x="5189" y="687"/>
                    <a:pt x="5184" y="684"/>
                  </a:cubicBezTo>
                  <a:lnTo>
                    <a:pt x="5157" y="684"/>
                  </a:lnTo>
                  <a:lnTo>
                    <a:pt x="5157" y="667"/>
                  </a:lnTo>
                  <a:lnTo>
                    <a:pt x="5157" y="667"/>
                  </a:lnTo>
                  <a:cubicBezTo>
                    <a:pt x="5165" y="661"/>
                    <a:pt x="5172" y="656"/>
                    <a:pt x="5180" y="650"/>
                  </a:cubicBezTo>
                  <a:cubicBezTo>
                    <a:pt x="5181" y="653"/>
                    <a:pt x="5183" y="655"/>
                    <a:pt x="5184" y="658"/>
                  </a:cubicBezTo>
                  <a:cubicBezTo>
                    <a:pt x="5190" y="621"/>
                    <a:pt x="5197" y="584"/>
                    <a:pt x="5203" y="547"/>
                  </a:cubicBezTo>
                  <a:cubicBezTo>
                    <a:pt x="5211" y="541"/>
                    <a:pt x="5218" y="536"/>
                    <a:pt x="5226" y="530"/>
                  </a:cubicBezTo>
                  <a:cubicBezTo>
                    <a:pt x="5227" y="516"/>
                    <a:pt x="5229" y="501"/>
                    <a:pt x="5230" y="487"/>
                  </a:cubicBezTo>
                  <a:lnTo>
                    <a:pt x="5230" y="487"/>
                  </a:lnTo>
                  <a:cubicBezTo>
                    <a:pt x="5229" y="479"/>
                    <a:pt x="5227" y="470"/>
                    <a:pt x="5226" y="462"/>
                  </a:cubicBezTo>
                  <a:lnTo>
                    <a:pt x="5226" y="462"/>
                  </a:lnTo>
                  <a:lnTo>
                    <a:pt x="5240" y="462"/>
                  </a:lnTo>
                  <a:lnTo>
                    <a:pt x="5240" y="444"/>
                  </a:lnTo>
                  <a:cubicBezTo>
                    <a:pt x="5237" y="441"/>
                    <a:pt x="5233" y="439"/>
                    <a:pt x="5230" y="436"/>
                  </a:cubicBezTo>
                  <a:lnTo>
                    <a:pt x="5230" y="419"/>
                  </a:lnTo>
                  <a:lnTo>
                    <a:pt x="5230" y="410"/>
                  </a:lnTo>
                  <a:cubicBezTo>
                    <a:pt x="5219" y="407"/>
                    <a:pt x="5209" y="405"/>
                    <a:pt x="5198" y="402"/>
                  </a:cubicBezTo>
                  <a:lnTo>
                    <a:pt x="5189" y="402"/>
                  </a:lnTo>
                  <a:cubicBezTo>
                    <a:pt x="5187" y="393"/>
                    <a:pt x="5186" y="385"/>
                    <a:pt x="5184" y="376"/>
                  </a:cubicBezTo>
                  <a:lnTo>
                    <a:pt x="5180" y="376"/>
                  </a:lnTo>
                  <a:lnTo>
                    <a:pt x="5166" y="376"/>
                  </a:lnTo>
                  <a:lnTo>
                    <a:pt x="5157" y="385"/>
                  </a:lnTo>
                  <a:cubicBezTo>
                    <a:pt x="5155" y="382"/>
                    <a:pt x="5154" y="379"/>
                    <a:pt x="5152" y="376"/>
                  </a:cubicBezTo>
                  <a:cubicBezTo>
                    <a:pt x="5144" y="379"/>
                    <a:pt x="5137" y="382"/>
                    <a:pt x="5129" y="385"/>
                  </a:cubicBezTo>
                  <a:lnTo>
                    <a:pt x="5129" y="350"/>
                  </a:lnTo>
                  <a:lnTo>
                    <a:pt x="5129" y="325"/>
                  </a:lnTo>
                  <a:cubicBezTo>
                    <a:pt x="5127" y="336"/>
                    <a:pt x="5126" y="348"/>
                    <a:pt x="5124" y="359"/>
                  </a:cubicBezTo>
                  <a:lnTo>
                    <a:pt x="5106" y="359"/>
                  </a:lnTo>
                  <a:lnTo>
                    <a:pt x="5037" y="419"/>
                  </a:lnTo>
                  <a:cubicBezTo>
                    <a:pt x="5042" y="408"/>
                    <a:pt x="5046" y="396"/>
                    <a:pt x="5051" y="385"/>
                  </a:cubicBezTo>
                  <a:cubicBezTo>
                    <a:pt x="5052" y="382"/>
                    <a:pt x="5054" y="379"/>
                    <a:pt x="5055" y="376"/>
                  </a:cubicBezTo>
                  <a:cubicBezTo>
                    <a:pt x="5067" y="345"/>
                    <a:pt x="5080" y="313"/>
                    <a:pt x="5092" y="282"/>
                  </a:cubicBezTo>
                  <a:cubicBezTo>
                    <a:pt x="5097" y="276"/>
                    <a:pt x="5101" y="271"/>
                    <a:pt x="5106" y="265"/>
                  </a:cubicBezTo>
                  <a:lnTo>
                    <a:pt x="5115" y="265"/>
                  </a:lnTo>
                  <a:cubicBezTo>
                    <a:pt x="5118" y="251"/>
                    <a:pt x="5121" y="236"/>
                    <a:pt x="5124" y="222"/>
                  </a:cubicBezTo>
                  <a:lnTo>
                    <a:pt x="5124" y="214"/>
                  </a:lnTo>
                  <a:cubicBezTo>
                    <a:pt x="5130" y="208"/>
                    <a:pt x="5137" y="203"/>
                    <a:pt x="5143" y="197"/>
                  </a:cubicBezTo>
                  <a:cubicBezTo>
                    <a:pt x="5146" y="203"/>
                    <a:pt x="5149" y="208"/>
                    <a:pt x="5152" y="214"/>
                  </a:cubicBezTo>
                  <a:cubicBezTo>
                    <a:pt x="5149" y="205"/>
                    <a:pt x="5146" y="197"/>
                    <a:pt x="5143" y="188"/>
                  </a:cubicBezTo>
                  <a:cubicBezTo>
                    <a:pt x="5138" y="160"/>
                    <a:pt x="5134" y="131"/>
                    <a:pt x="5129" y="103"/>
                  </a:cubicBezTo>
                  <a:cubicBezTo>
                    <a:pt x="5124" y="97"/>
                    <a:pt x="5120" y="91"/>
                    <a:pt x="5115" y="85"/>
                  </a:cubicBezTo>
                  <a:cubicBezTo>
                    <a:pt x="5114" y="94"/>
                    <a:pt x="5112" y="102"/>
                    <a:pt x="5111" y="111"/>
                  </a:cubicBezTo>
                  <a:cubicBezTo>
                    <a:pt x="5105" y="108"/>
                    <a:pt x="5098" y="106"/>
                    <a:pt x="5092" y="103"/>
                  </a:cubicBezTo>
                  <a:lnTo>
                    <a:pt x="5069" y="77"/>
                  </a:lnTo>
                  <a:lnTo>
                    <a:pt x="5051" y="26"/>
                  </a:lnTo>
                  <a:cubicBezTo>
                    <a:pt x="5048" y="29"/>
                    <a:pt x="5044" y="31"/>
                    <a:pt x="5041" y="34"/>
                  </a:cubicBezTo>
                  <a:lnTo>
                    <a:pt x="5037" y="34"/>
                  </a:lnTo>
                  <a:lnTo>
                    <a:pt x="5037" y="26"/>
                  </a:lnTo>
                  <a:lnTo>
                    <a:pt x="5037" y="9"/>
                  </a:lnTo>
                  <a:cubicBezTo>
                    <a:pt x="5032" y="6"/>
                    <a:pt x="5028" y="3"/>
                    <a:pt x="5023" y="0"/>
                  </a:cubicBezTo>
                  <a:cubicBezTo>
                    <a:pt x="5018" y="3"/>
                    <a:pt x="5014" y="6"/>
                    <a:pt x="5009" y="9"/>
                  </a:cubicBezTo>
                  <a:cubicBezTo>
                    <a:pt x="5004" y="17"/>
                    <a:pt x="5000" y="26"/>
                    <a:pt x="4995" y="34"/>
                  </a:cubicBezTo>
                  <a:cubicBezTo>
                    <a:pt x="4994" y="43"/>
                    <a:pt x="4992" y="51"/>
                    <a:pt x="4991" y="60"/>
                  </a:cubicBezTo>
                  <a:lnTo>
                    <a:pt x="4982" y="60"/>
                  </a:lnTo>
                  <a:lnTo>
                    <a:pt x="4949" y="51"/>
                  </a:lnTo>
                  <a:lnTo>
                    <a:pt x="4949" y="85"/>
                  </a:lnTo>
                  <a:cubicBezTo>
                    <a:pt x="4934" y="122"/>
                    <a:pt x="4918" y="160"/>
                    <a:pt x="4903" y="197"/>
                  </a:cubicBezTo>
                  <a:cubicBezTo>
                    <a:pt x="4902" y="211"/>
                    <a:pt x="4900" y="225"/>
                    <a:pt x="4899" y="239"/>
                  </a:cubicBezTo>
                  <a:cubicBezTo>
                    <a:pt x="4890" y="251"/>
                    <a:pt x="4880" y="262"/>
                    <a:pt x="4871" y="274"/>
                  </a:cubicBezTo>
                  <a:lnTo>
                    <a:pt x="4871" y="282"/>
                  </a:lnTo>
                  <a:cubicBezTo>
                    <a:pt x="4859" y="313"/>
                    <a:pt x="4846" y="345"/>
                    <a:pt x="4834" y="376"/>
                  </a:cubicBezTo>
                  <a:cubicBezTo>
                    <a:pt x="4832" y="385"/>
                    <a:pt x="4831" y="393"/>
                    <a:pt x="4829" y="402"/>
                  </a:cubicBezTo>
                  <a:cubicBezTo>
                    <a:pt x="4831" y="405"/>
                    <a:pt x="4832" y="407"/>
                    <a:pt x="4834" y="410"/>
                  </a:cubicBezTo>
                  <a:cubicBezTo>
                    <a:pt x="4832" y="419"/>
                    <a:pt x="4831" y="427"/>
                    <a:pt x="4829" y="436"/>
                  </a:cubicBezTo>
                  <a:lnTo>
                    <a:pt x="4825" y="436"/>
                  </a:lnTo>
                  <a:lnTo>
                    <a:pt x="4825" y="444"/>
                  </a:lnTo>
                  <a:cubicBezTo>
                    <a:pt x="4820" y="461"/>
                    <a:pt x="4816" y="479"/>
                    <a:pt x="4811" y="496"/>
                  </a:cubicBezTo>
                  <a:lnTo>
                    <a:pt x="4811" y="496"/>
                  </a:lnTo>
                  <a:lnTo>
                    <a:pt x="4811" y="521"/>
                  </a:lnTo>
                  <a:cubicBezTo>
                    <a:pt x="4813" y="524"/>
                    <a:pt x="4814" y="527"/>
                    <a:pt x="4816" y="530"/>
                  </a:cubicBezTo>
                  <a:cubicBezTo>
                    <a:pt x="4822" y="536"/>
                    <a:pt x="4828" y="541"/>
                    <a:pt x="4834" y="547"/>
                  </a:cubicBezTo>
                  <a:lnTo>
                    <a:pt x="4834" y="581"/>
                  </a:lnTo>
                  <a:lnTo>
                    <a:pt x="4843" y="581"/>
                  </a:lnTo>
                  <a:lnTo>
                    <a:pt x="4843" y="598"/>
                  </a:lnTo>
                  <a:lnTo>
                    <a:pt x="4829" y="598"/>
                  </a:lnTo>
                  <a:lnTo>
                    <a:pt x="4829" y="573"/>
                  </a:lnTo>
                  <a:lnTo>
                    <a:pt x="4829" y="632"/>
                  </a:lnTo>
                  <a:lnTo>
                    <a:pt x="4829" y="632"/>
                  </a:lnTo>
                  <a:lnTo>
                    <a:pt x="4829" y="650"/>
                  </a:lnTo>
                  <a:lnTo>
                    <a:pt x="4774" y="684"/>
                  </a:lnTo>
                  <a:lnTo>
                    <a:pt x="4756" y="684"/>
                  </a:lnTo>
                  <a:cubicBezTo>
                    <a:pt x="4750" y="687"/>
                    <a:pt x="4743" y="689"/>
                    <a:pt x="4737" y="692"/>
                  </a:cubicBezTo>
                  <a:cubicBezTo>
                    <a:pt x="4717" y="684"/>
                    <a:pt x="4697" y="675"/>
                    <a:pt x="4677" y="667"/>
                  </a:cubicBezTo>
                  <a:cubicBezTo>
                    <a:pt x="4679" y="675"/>
                    <a:pt x="4680" y="684"/>
                    <a:pt x="4682" y="692"/>
                  </a:cubicBezTo>
                  <a:lnTo>
                    <a:pt x="4682" y="709"/>
                  </a:lnTo>
                  <a:lnTo>
                    <a:pt x="4691" y="718"/>
                  </a:lnTo>
                  <a:lnTo>
                    <a:pt x="4691" y="744"/>
                  </a:lnTo>
                  <a:lnTo>
                    <a:pt x="4700" y="744"/>
                  </a:lnTo>
                  <a:cubicBezTo>
                    <a:pt x="4705" y="752"/>
                    <a:pt x="4709" y="761"/>
                    <a:pt x="4714" y="769"/>
                  </a:cubicBezTo>
                  <a:cubicBezTo>
                    <a:pt x="4713" y="775"/>
                    <a:pt x="4711" y="780"/>
                    <a:pt x="4710" y="786"/>
                  </a:cubicBezTo>
                  <a:lnTo>
                    <a:pt x="4737" y="786"/>
                  </a:lnTo>
                  <a:cubicBezTo>
                    <a:pt x="4739" y="789"/>
                    <a:pt x="4740" y="792"/>
                    <a:pt x="4742" y="795"/>
                  </a:cubicBezTo>
                  <a:lnTo>
                    <a:pt x="4742" y="803"/>
                  </a:lnTo>
                  <a:cubicBezTo>
                    <a:pt x="4740" y="817"/>
                    <a:pt x="4739" y="832"/>
                    <a:pt x="4737" y="846"/>
                  </a:cubicBezTo>
                  <a:lnTo>
                    <a:pt x="4737" y="880"/>
                  </a:lnTo>
                  <a:lnTo>
                    <a:pt x="4737" y="906"/>
                  </a:lnTo>
                  <a:cubicBezTo>
                    <a:pt x="4733" y="903"/>
                    <a:pt x="4728" y="900"/>
                    <a:pt x="4724" y="897"/>
                  </a:cubicBezTo>
                  <a:lnTo>
                    <a:pt x="4724" y="872"/>
                  </a:lnTo>
                  <a:cubicBezTo>
                    <a:pt x="4721" y="866"/>
                    <a:pt x="4717" y="861"/>
                    <a:pt x="4714" y="855"/>
                  </a:cubicBezTo>
                  <a:cubicBezTo>
                    <a:pt x="4706" y="852"/>
                    <a:pt x="4699" y="849"/>
                    <a:pt x="4691" y="846"/>
                  </a:cubicBezTo>
                  <a:lnTo>
                    <a:pt x="4691" y="846"/>
                  </a:lnTo>
                  <a:cubicBezTo>
                    <a:pt x="4693" y="838"/>
                    <a:pt x="4694" y="829"/>
                    <a:pt x="4696" y="821"/>
                  </a:cubicBezTo>
                  <a:cubicBezTo>
                    <a:pt x="4694" y="815"/>
                    <a:pt x="4693" y="809"/>
                    <a:pt x="4691" y="803"/>
                  </a:cubicBezTo>
                  <a:cubicBezTo>
                    <a:pt x="4683" y="809"/>
                    <a:pt x="4676" y="815"/>
                    <a:pt x="4668" y="821"/>
                  </a:cubicBezTo>
                  <a:lnTo>
                    <a:pt x="4668" y="786"/>
                  </a:lnTo>
                  <a:lnTo>
                    <a:pt x="4664" y="786"/>
                  </a:lnTo>
                  <a:lnTo>
                    <a:pt x="4622" y="846"/>
                  </a:lnTo>
                  <a:cubicBezTo>
                    <a:pt x="4624" y="855"/>
                    <a:pt x="4625" y="863"/>
                    <a:pt x="4627" y="872"/>
                  </a:cubicBezTo>
                  <a:cubicBezTo>
                    <a:pt x="4625" y="875"/>
                    <a:pt x="4624" y="877"/>
                    <a:pt x="4622" y="880"/>
                  </a:cubicBezTo>
                  <a:lnTo>
                    <a:pt x="4622" y="880"/>
                  </a:lnTo>
                  <a:cubicBezTo>
                    <a:pt x="4621" y="877"/>
                    <a:pt x="4619" y="875"/>
                    <a:pt x="4618" y="872"/>
                  </a:cubicBezTo>
                  <a:cubicBezTo>
                    <a:pt x="4613" y="875"/>
                    <a:pt x="4609" y="877"/>
                    <a:pt x="4604" y="880"/>
                  </a:cubicBezTo>
                  <a:cubicBezTo>
                    <a:pt x="4601" y="889"/>
                    <a:pt x="4597" y="897"/>
                    <a:pt x="4594" y="906"/>
                  </a:cubicBezTo>
                  <a:lnTo>
                    <a:pt x="4604" y="906"/>
                  </a:lnTo>
                  <a:lnTo>
                    <a:pt x="4608" y="906"/>
                  </a:lnTo>
                  <a:lnTo>
                    <a:pt x="4608" y="932"/>
                  </a:lnTo>
                  <a:lnTo>
                    <a:pt x="4604" y="932"/>
                  </a:lnTo>
                  <a:lnTo>
                    <a:pt x="4590" y="932"/>
                  </a:lnTo>
                  <a:cubicBezTo>
                    <a:pt x="4582" y="940"/>
                    <a:pt x="4575" y="949"/>
                    <a:pt x="4567" y="957"/>
                  </a:cubicBezTo>
                  <a:lnTo>
                    <a:pt x="4567" y="932"/>
                  </a:lnTo>
                  <a:lnTo>
                    <a:pt x="4567" y="923"/>
                  </a:lnTo>
                  <a:cubicBezTo>
                    <a:pt x="4565" y="926"/>
                    <a:pt x="4564" y="929"/>
                    <a:pt x="4562" y="932"/>
                  </a:cubicBezTo>
                  <a:cubicBezTo>
                    <a:pt x="4557" y="940"/>
                    <a:pt x="4553" y="949"/>
                    <a:pt x="4548" y="957"/>
                  </a:cubicBezTo>
                  <a:lnTo>
                    <a:pt x="4544" y="957"/>
                  </a:lnTo>
                  <a:lnTo>
                    <a:pt x="4521" y="983"/>
                  </a:lnTo>
                  <a:lnTo>
                    <a:pt x="4521" y="983"/>
                  </a:lnTo>
                  <a:cubicBezTo>
                    <a:pt x="4524" y="974"/>
                    <a:pt x="4527" y="966"/>
                    <a:pt x="4530" y="957"/>
                  </a:cubicBezTo>
                  <a:cubicBezTo>
                    <a:pt x="4532" y="949"/>
                    <a:pt x="4533" y="940"/>
                    <a:pt x="4535" y="932"/>
                  </a:cubicBezTo>
                  <a:lnTo>
                    <a:pt x="4521" y="932"/>
                  </a:lnTo>
                  <a:cubicBezTo>
                    <a:pt x="4519" y="929"/>
                    <a:pt x="4518" y="926"/>
                    <a:pt x="4516" y="923"/>
                  </a:cubicBezTo>
                  <a:lnTo>
                    <a:pt x="4516" y="932"/>
                  </a:lnTo>
                  <a:cubicBezTo>
                    <a:pt x="4507" y="935"/>
                    <a:pt x="4497" y="937"/>
                    <a:pt x="4488" y="940"/>
                  </a:cubicBezTo>
                  <a:cubicBezTo>
                    <a:pt x="4487" y="954"/>
                    <a:pt x="4485" y="969"/>
                    <a:pt x="4484" y="983"/>
                  </a:cubicBezTo>
                  <a:lnTo>
                    <a:pt x="4470" y="983"/>
                  </a:lnTo>
                  <a:lnTo>
                    <a:pt x="4470" y="966"/>
                  </a:lnTo>
                  <a:cubicBezTo>
                    <a:pt x="4476" y="952"/>
                    <a:pt x="4482" y="937"/>
                    <a:pt x="4488" y="923"/>
                  </a:cubicBezTo>
                  <a:cubicBezTo>
                    <a:pt x="4490" y="909"/>
                    <a:pt x="4491" y="894"/>
                    <a:pt x="4493" y="880"/>
                  </a:cubicBezTo>
                  <a:cubicBezTo>
                    <a:pt x="4487" y="869"/>
                    <a:pt x="4481" y="857"/>
                    <a:pt x="4475" y="846"/>
                  </a:cubicBezTo>
                  <a:lnTo>
                    <a:pt x="4442" y="855"/>
                  </a:lnTo>
                  <a:lnTo>
                    <a:pt x="4433" y="855"/>
                  </a:lnTo>
                  <a:lnTo>
                    <a:pt x="4433" y="880"/>
                  </a:lnTo>
                  <a:cubicBezTo>
                    <a:pt x="4422" y="872"/>
                    <a:pt x="4412" y="863"/>
                    <a:pt x="4401" y="855"/>
                  </a:cubicBezTo>
                  <a:cubicBezTo>
                    <a:pt x="4399" y="861"/>
                    <a:pt x="4398" y="866"/>
                    <a:pt x="4396" y="872"/>
                  </a:cubicBezTo>
                  <a:cubicBezTo>
                    <a:pt x="4391" y="880"/>
                    <a:pt x="4387" y="889"/>
                    <a:pt x="4382" y="897"/>
                  </a:cubicBezTo>
                  <a:cubicBezTo>
                    <a:pt x="4379" y="889"/>
                    <a:pt x="4376" y="880"/>
                    <a:pt x="4373" y="872"/>
                  </a:cubicBezTo>
                  <a:lnTo>
                    <a:pt x="4341" y="872"/>
                  </a:lnTo>
                  <a:cubicBezTo>
                    <a:pt x="4339" y="875"/>
                    <a:pt x="4338" y="877"/>
                    <a:pt x="4336" y="880"/>
                  </a:cubicBezTo>
                  <a:cubicBezTo>
                    <a:pt x="4339" y="886"/>
                    <a:pt x="4343" y="891"/>
                    <a:pt x="4346" y="897"/>
                  </a:cubicBezTo>
                  <a:lnTo>
                    <a:pt x="4346" y="897"/>
                  </a:lnTo>
                  <a:lnTo>
                    <a:pt x="4313" y="906"/>
                  </a:lnTo>
                  <a:lnTo>
                    <a:pt x="4313" y="906"/>
                  </a:lnTo>
                  <a:lnTo>
                    <a:pt x="4313" y="880"/>
                  </a:lnTo>
                  <a:cubicBezTo>
                    <a:pt x="4312" y="886"/>
                    <a:pt x="4310" y="891"/>
                    <a:pt x="4309" y="897"/>
                  </a:cubicBezTo>
                  <a:cubicBezTo>
                    <a:pt x="4304" y="906"/>
                    <a:pt x="4300" y="914"/>
                    <a:pt x="4295" y="923"/>
                  </a:cubicBezTo>
                  <a:cubicBezTo>
                    <a:pt x="4292" y="914"/>
                    <a:pt x="4289" y="906"/>
                    <a:pt x="4286" y="897"/>
                  </a:cubicBezTo>
                  <a:cubicBezTo>
                    <a:pt x="4284" y="900"/>
                    <a:pt x="4283" y="903"/>
                    <a:pt x="4281" y="906"/>
                  </a:cubicBezTo>
                  <a:lnTo>
                    <a:pt x="4281" y="940"/>
                  </a:lnTo>
                  <a:cubicBezTo>
                    <a:pt x="4283" y="946"/>
                    <a:pt x="4284" y="951"/>
                    <a:pt x="4286" y="957"/>
                  </a:cubicBezTo>
                  <a:cubicBezTo>
                    <a:pt x="4294" y="949"/>
                    <a:pt x="4301" y="940"/>
                    <a:pt x="4309" y="932"/>
                  </a:cubicBezTo>
                  <a:cubicBezTo>
                    <a:pt x="4310" y="940"/>
                    <a:pt x="4312" y="949"/>
                    <a:pt x="4313" y="957"/>
                  </a:cubicBezTo>
                  <a:lnTo>
                    <a:pt x="4313" y="966"/>
                  </a:lnTo>
                  <a:lnTo>
                    <a:pt x="4323" y="966"/>
                  </a:lnTo>
                  <a:lnTo>
                    <a:pt x="4323" y="940"/>
                  </a:lnTo>
                  <a:lnTo>
                    <a:pt x="4327" y="940"/>
                  </a:lnTo>
                  <a:lnTo>
                    <a:pt x="4327" y="957"/>
                  </a:lnTo>
                  <a:lnTo>
                    <a:pt x="4327" y="966"/>
                  </a:lnTo>
                  <a:cubicBezTo>
                    <a:pt x="4326" y="974"/>
                    <a:pt x="4324" y="983"/>
                    <a:pt x="4323" y="991"/>
                  </a:cubicBezTo>
                  <a:lnTo>
                    <a:pt x="4207" y="1060"/>
                  </a:lnTo>
                  <a:lnTo>
                    <a:pt x="4207" y="1060"/>
                  </a:lnTo>
                  <a:cubicBezTo>
                    <a:pt x="4206" y="1063"/>
                    <a:pt x="4204" y="1065"/>
                    <a:pt x="4203" y="1068"/>
                  </a:cubicBezTo>
                  <a:lnTo>
                    <a:pt x="4203" y="1094"/>
                  </a:lnTo>
                  <a:lnTo>
                    <a:pt x="4203" y="1094"/>
                  </a:lnTo>
                  <a:lnTo>
                    <a:pt x="4189" y="1094"/>
                  </a:lnTo>
                  <a:cubicBezTo>
                    <a:pt x="4181" y="1097"/>
                    <a:pt x="4174" y="1100"/>
                    <a:pt x="4166" y="1103"/>
                  </a:cubicBezTo>
                  <a:cubicBezTo>
                    <a:pt x="4161" y="1100"/>
                    <a:pt x="4157" y="1097"/>
                    <a:pt x="4152" y="1094"/>
                  </a:cubicBezTo>
                  <a:cubicBezTo>
                    <a:pt x="4146" y="1103"/>
                    <a:pt x="4140" y="1111"/>
                    <a:pt x="4134" y="1120"/>
                  </a:cubicBezTo>
                  <a:lnTo>
                    <a:pt x="4106" y="1120"/>
                  </a:lnTo>
                  <a:cubicBezTo>
                    <a:pt x="4101" y="1131"/>
                    <a:pt x="4097" y="1143"/>
                    <a:pt x="4092" y="1154"/>
                  </a:cubicBezTo>
                  <a:cubicBezTo>
                    <a:pt x="4097" y="1160"/>
                    <a:pt x="4101" y="1165"/>
                    <a:pt x="4106" y="1171"/>
                  </a:cubicBezTo>
                  <a:cubicBezTo>
                    <a:pt x="4097" y="1174"/>
                    <a:pt x="4087" y="1176"/>
                    <a:pt x="4078" y="1179"/>
                  </a:cubicBezTo>
                  <a:cubicBezTo>
                    <a:pt x="4074" y="1188"/>
                    <a:pt x="4069" y="1196"/>
                    <a:pt x="4065" y="1205"/>
                  </a:cubicBezTo>
                  <a:cubicBezTo>
                    <a:pt x="4059" y="1196"/>
                    <a:pt x="4052" y="1188"/>
                    <a:pt x="4046" y="1179"/>
                  </a:cubicBezTo>
                  <a:cubicBezTo>
                    <a:pt x="4044" y="1185"/>
                    <a:pt x="4043" y="1191"/>
                    <a:pt x="4041" y="1197"/>
                  </a:cubicBezTo>
                  <a:cubicBezTo>
                    <a:pt x="4037" y="1200"/>
                    <a:pt x="4032" y="1202"/>
                    <a:pt x="4028" y="1205"/>
                  </a:cubicBezTo>
                  <a:lnTo>
                    <a:pt x="4028" y="1205"/>
                  </a:lnTo>
                  <a:lnTo>
                    <a:pt x="4032" y="1205"/>
                  </a:lnTo>
                  <a:lnTo>
                    <a:pt x="4032" y="1231"/>
                  </a:lnTo>
                  <a:cubicBezTo>
                    <a:pt x="4026" y="1234"/>
                    <a:pt x="4020" y="1236"/>
                    <a:pt x="4014" y="1239"/>
                  </a:cubicBezTo>
                  <a:lnTo>
                    <a:pt x="4014" y="1256"/>
                  </a:lnTo>
                  <a:cubicBezTo>
                    <a:pt x="4009" y="1259"/>
                    <a:pt x="4005" y="1262"/>
                    <a:pt x="4000" y="1265"/>
                  </a:cubicBezTo>
                  <a:cubicBezTo>
                    <a:pt x="3995" y="1279"/>
                    <a:pt x="3991" y="1294"/>
                    <a:pt x="3986" y="1308"/>
                  </a:cubicBezTo>
                  <a:cubicBezTo>
                    <a:pt x="3981" y="1311"/>
                    <a:pt x="3977" y="1313"/>
                    <a:pt x="3972" y="1316"/>
                  </a:cubicBezTo>
                  <a:lnTo>
                    <a:pt x="3972" y="1325"/>
                  </a:lnTo>
                  <a:lnTo>
                    <a:pt x="3972" y="1342"/>
                  </a:lnTo>
                  <a:cubicBezTo>
                    <a:pt x="3971" y="1345"/>
                    <a:pt x="3969" y="1347"/>
                    <a:pt x="3968" y="1350"/>
                  </a:cubicBezTo>
                  <a:cubicBezTo>
                    <a:pt x="3963" y="1356"/>
                    <a:pt x="3959" y="1362"/>
                    <a:pt x="3954" y="1368"/>
                  </a:cubicBezTo>
                  <a:lnTo>
                    <a:pt x="3945" y="1350"/>
                  </a:lnTo>
                  <a:cubicBezTo>
                    <a:pt x="3933" y="1347"/>
                    <a:pt x="3920" y="1345"/>
                    <a:pt x="3908" y="1342"/>
                  </a:cubicBezTo>
                  <a:cubicBezTo>
                    <a:pt x="3903" y="1351"/>
                    <a:pt x="3899" y="1359"/>
                    <a:pt x="3894" y="1368"/>
                  </a:cubicBezTo>
                  <a:lnTo>
                    <a:pt x="3922" y="1393"/>
                  </a:lnTo>
                  <a:lnTo>
                    <a:pt x="3945" y="1393"/>
                  </a:lnTo>
                  <a:cubicBezTo>
                    <a:pt x="3943" y="1402"/>
                    <a:pt x="3942" y="1410"/>
                    <a:pt x="3940" y="1419"/>
                  </a:cubicBezTo>
                  <a:cubicBezTo>
                    <a:pt x="3937" y="1422"/>
                    <a:pt x="3934" y="1424"/>
                    <a:pt x="3931" y="1427"/>
                  </a:cubicBezTo>
                  <a:lnTo>
                    <a:pt x="3926" y="1427"/>
                  </a:lnTo>
                  <a:cubicBezTo>
                    <a:pt x="3925" y="1424"/>
                    <a:pt x="3923" y="1422"/>
                    <a:pt x="3922" y="1419"/>
                  </a:cubicBezTo>
                  <a:cubicBezTo>
                    <a:pt x="3919" y="1422"/>
                    <a:pt x="3915" y="1424"/>
                    <a:pt x="3912" y="1427"/>
                  </a:cubicBezTo>
                  <a:lnTo>
                    <a:pt x="3912" y="1444"/>
                  </a:lnTo>
                  <a:lnTo>
                    <a:pt x="3894" y="1513"/>
                  </a:lnTo>
                  <a:lnTo>
                    <a:pt x="3885" y="1513"/>
                  </a:lnTo>
                  <a:cubicBezTo>
                    <a:pt x="3883" y="1521"/>
                    <a:pt x="3882" y="1530"/>
                    <a:pt x="3880" y="1538"/>
                  </a:cubicBezTo>
                  <a:cubicBezTo>
                    <a:pt x="3882" y="1547"/>
                    <a:pt x="3883" y="1555"/>
                    <a:pt x="3885" y="1564"/>
                  </a:cubicBezTo>
                  <a:cubicBezTo>
                    <a:pt x="3883" y="1570"/>
                    <a:pt x="3882" y="1575"/>
                    <a:pt x="3880" y="1581"/>
                  </a:cubicBezTo>
                  <a:cubicBezTo>
                    <a:pt x="3877" y="1567"/>
                    <a:pt x="3874" y="1552"/>
                    <a:pt x="3871" y="1538"/>
                  </a:cubicBezTo>
                  <a:cubicBezTo>
                    <a:pt x="3865" y="1535"/>
                    <a:pt x="3859" y="1533"/>
                    <a:pt x="3853" y="1530"/>
                  </a:cubicBezTo>
                  <a:lnTo>
                    <a:pt x="3853" y="1504"/>
                  </a:lnTo>
                  <a:cubicBezTo>
                    <a:pt x="3847" y="1498"/>
                    <a:pt x="3840" y="1493"/>
                    <a:pt x="3834" y="1487"/>
                  </a:cubicBezTo>
                  <a:lnTo>
                    <a:pt x="3834" y="1487"/>
                  </a:lnTo>
                  <a:cubicBezTo>
                    <a:pt x="3836" y="1496"/>
                    <a:pt x="3837" y="1504"/>
                    <a:pt x="3839" y="1513"/>
                  </a:cubicBezTo>
                  <a:cubicBezTo>
                    <a:pt x="3833" y="1521"/>
                    <a:pt x="3826" y="1530"/>
                    <a:pt x="3820" y="1538"/>
                  </a:cubicBezTo>
                  <a:lnTo>
                    <a:pt x="3820" y="1556"/>
                  </a:lnTo>
                  <a:lnTo>
                    <a:pt x="3820" y="1564"/>
                  </a:lnTo>
                  <a:lnTo>
                    <a:pt x="3820" y="1581"/>
                  </a:lnTo>
                  <a:lnTo>
                    <a:pt x="3853" y="1581"/>
                  </a:lnTo>
                  <a:cubicBezTo>
                    <a:pt x="3854" y="1587"/>
                    <a:pt x="3856" y="1592"/>
                    <a:pt x="3857" y="1598"/>
                  </a:cubicBezTo>
                  <a:cubicBezTo>
                    <a:pt x="3865" y="1604"/>
                    <a:pt x="3872" y="1609"/>
                    <a:pt x="3880" y="1615"/>
                  </a:cubicBezTo>
                  <a:lnTo>
                    <a:pt x="3871" y="1615"/>
                  </a:lnTo>
                  <a:lnTo>
                    <a:pt x="3871" y="1641"/>
                  </a:lnTo>
                  <a:lnTo>
                    <a:pt x="3880" y="1641"/>
                  </a:lnTo>
                  <a:lnTo>
                    <a:pt x="3871" y="1650"/>
                  </a:lnTo>
                  <a:lnTo>
                    <a:pt x="3857" y="1650"/>
                  </a:lnTo>
                  <a:lnTo>
                    <a:pt x="3853" y="1650"/>
                  </a:lnTo>
                  <a:cubicBezTo>
                    <a:pt x="3848" y="1656"/>
                    <a:pt x="3844" y="1661"/>
                    <a:pt x="3839" y="1667"/>
                  </a:cubicBezTo>
                  <a:cubicBezTo>
                    <a:pt x="3842" y="1675"/>
                    <a:pt x="3845" y="1684"/>
                    <a:pt x="3848" y="1692"/>
                  </a:cubicBezTo>
                  <a:lnTo>
                    <a:pt x="3834" y="1692"/>
                  </a:lnTo>
                  <a:lnTo>
                    <a:pt x="3825" y="1692"/>
                  </a:lnTo>
                  <a:lnTo>
                    <a:pt x="3825" y="1718"/>
                  </a:lnTo>
                  <a:cubicBezTo>
                    <a:pt x="3830" y="1721"/>
                    <a:pt x="3834" y="1723"/>
                    <a:pt x="3839" y="1726"/>
                  </a:cubicBezTo>
                  <a:lnTo>
                    <a:pt x="3880" y="1752"/>
                  </a:lnTo>
                  <a:cubicBezTo>
                    <a:pt x="3885" y="1778"/>
                    <a:pt x="3889" y="1803"/>
                    <a:pt x="3894" y="1829"/>
                  </a:cubicBezTo>
                  <a:cubicBezTo>
                    <a:pt x="3896" y="1832"/>
                    <a:pt x="3897" y="1835"/>
                    <a:pt x="3899" y="1838"/>
                  </a:cubicBezTo>
                  <a:cubicBezTo>
                    <a:pt x="3897" y="1844"/>
                    <a:pt x="3896" y="1849"/>
                    <a:pt x="3894" y="1855"/>
                  </a:cubicBezTo>
                  <a:cubicBezTo>
                    <a:pt x="3889" y="1849"/>
                    <a:pt x="3885" y="1844"/>
                    <a:pt x="3880" y="1838"/>
                  </a:cubicBezTo>
                  <a:lnTo>
                    <a:pt x="3880" y="1855"/>
                  </a:lnTo>
                  <a:lnTo>
                    <a:pt x="3880" y="1863"/>
                  </a:lnTo>
                  <a:lnTo>
                    <a:pt x="3871" y="1872"/>
                  </a:lnTo>
                  <a:cubicBezTo>
                    <a:pt x="3874" y="1878"/>
                    <a:pt x="3877" y="1883"/>
                    <a:pt x="3880" y="1889"/>
                  </a:cubicBezTo>
                  <a:lnTo>
                    <a:pt x="3885" y="1889"/>
                  </a:lnTo>
                  <a:cubicBezTo>
                    <a:pt x="3883" y="1892"/>
                    <a:pt x="3882" y="1894"/>
                    <a:pt x="3880" y="1897"/>
                  </a:cubicBezTo>
                  <a:lnTo>
                    <a:pt x="3871" y="1915"/>
                  </a:lnTo>
                  <a:cubicBezTo>
                    <a:pt x="3863" y="1918"/>
                    <a:pt x="3856" y="1920"/>
                    <a:pt x="3848" y="1923"/>
                  </a:cubicBezTo>
                  <a:cubicBezTo>
                    <a:pt x="3840" y="1929"/>
                    <a:pt x="3833" y="1934"/>
                    <a:pt x="3825" y="1940"/>
                  </a:cubicBezTo>
                  <a:lnTo>
                    <a:pt x="3811" y="1940"/>
                  </a:lnTo>
                  <a:cubicBezTo>
                    <a:pt x="3809" y="1943"/>
                    <a:pt x="3808" y="1946"/>
                    <a:pt x="3806" y="1949"/>
                  </a:cubicBezTo>
                  <a:cubicBezTo>
                    <a:pt x="3803" y="1955"/>
                    <a:pt x="3800" y="1960"/>
                    <a:pt x="3797" y="1966"/>
                  </a:cubicBezTo>
                  <a:cubicBezTo>
                    <a:pt x="3794" y="1974"/>
                    <a:pt x="3791" y="1983"/>
                    <a:pt x="3788" y="1991"/>
                  </a:cubicBezTo>
                  <a:cubicBezTo>
                    <a:pt x="3780" y="1985"/>
                    <a:pt x="3773" y="1980"/>
                    <a:pt x="3765" y="1974"/>
                  </a:cubicBezTo>
                  <a:cubicBezTo>
                    <a:pt x="3763" y="1971"/>
                    <a:pt x="3762" y="1969"/>
                    <a:pt x="3760" y="1966"/>
                  </a:cubicBezTo>
                  <a:lnTo>
                    <a:pt x="3760" y="1966"/>
                  </a:lnTo>
                  <a:lnTo>
                    <a:pt x="3631" y="2009"/>
                  </a:lnTo>
                  <a:cubicBezTo>
                    <a:pt x="3627" y="2006"/>
                    <a:pt x="3622" y="2003"/>
                    <a:pt x="3618" y="2000"/>
                  </a:cubicBezTo>
                  <a:cubicBezTo>
                    <a:pt x="3612" y="2003"/>
                    <a:pt x="3605" y="2006"/>
                    <a:pt x="3599" y="2009"/>
                  </a:cubicBezTo>
                  <a:cubicBezTo>
                    <a:pt x="3590" y="2006"/>
                    <a:pt x="3580" y="2003"/>
                    <a:pt x="3571" y="2000"/>
                  </a:cubicBezTo>
                  <a:lnTo>
                    <a:pt x="3530" y="2026"/>
                  </a:lnTo>
                  <a:lnTo>
                    <a:pt x="3530" y="2034"/>
                  </a:lnTo>
                  <a:cubicBezTo>
                    <a:pt x="3528" y="2040"/>
                    <a:pt x="3527" y="2045"/>
                    <a:pt x="3525" y="2051"/>
                  </a:cubicBezTo>
                  <a:cubicBezTo>
                    <a:pt x="3521" y="2045"/>
                    <a:pt x="3516" y="2040"/>
                    <a:pt x="3512" y="2034"/>
                  </a:cubicBezTo>
                  <a:lnTo>
                    <a:pt x="3507" y="2034"/>
                  </a:lnTo>
                  <a:cubicBezTo>
                    <a:pt x="3504" y="2040"/>
                    <a:pt x="3501" y="2045"/>
                    <a:pt x="3498" y="2051"/>
                  </a:cubicBezTo>
                  <a:cubicBezTo>
                    <a:pt x="3493" y="2054"/>
                    <a:pt x="3489" y="2057"/>
                    <a:pt x="3484" y="2060"/>
                  </a:cubicBezTo>
                  <a:lnTo>
                    <a:pt x="3484" y="2085"/>
                  </a:lnTo>
                  <a:lnTo>
                    <a:pt x="3484" y="2103"/>
                  </a:lnTo>
                  <a:lnTo>
                    <a:pt x="3493" y="2103"/>
                  </a:lnTo>
                  <a:lnTo>
                    <a:pt x="3493" y="2085"/>
                  </a:lnTo>
                  <a:lnTo>
                    <a:pt x="3498" y="2085"/>
                  </a:lnTo>
                  <a:lnTo>
                    <a:pt x="3498" y="2111"/>
                  </a:lnTo>
                  <a:cubicBezTo>
                    <a:pt x="3493" y="2114"/>
                    <a:pt x="3489" y="2117"/>
                    <a:pt x="3484" y="2120"/>
                  </a:cubicBezTo>
                  <a:lnTo>
                    <a:pt x="3484" y="2145"/>
                  </a:lnTo>
                  <a:cubicBezTo>
                    <a:pt x="3479" y="2142"/>
                    <a:pt x="3475" y="2140"/>
                    <a:pt x="3470" y="2137"/>
                  </a:cubicBezTo>
                  <a:cubicBezTo>
                    <a:pt x="3468" y="2140"/>
                    <a:pt x="3467" y="2142"/>
                    <a:pt x="3465" y="2145"/>
                  </a:cubicBezTo>
                  <a:cubicBezTo>
                    <a:pt x="3467" y="2154"/>
                    <a:pt x="3468" y="2162"/>
                    <a:pt x="3470" y="2171"/>
                  </a:cubicBezTo>
                  <a:lnTo>
                    <a:pt x="3484" y="2171"/>
                  </a:lnTo>
                  <a:lnTo>
                    <a:pt x="3484" y="2197"/>
                  </a:lnTo>
                  <a:cubicBezTo>
                    <a:pt x="3478" y="2203"/>
                    <a:pt x="3471" y="2208"/>
                    <a:pt x="3465" y="2214"/>
                  </a:cubicBezTo>
                  <a:lnTo>
                    <a:pt x="3493" y="2248"/>
                  </a:lnTo>
                  <a:cubicBezTo>
                    <a:pt x="3490" y="2251"/>
                    <a:pt x="3487" y="2253"/>
                    <a:pt x="3484" y="2256"/>
                  </a:cubicBezTo>
                  <a:cubicBezTo>
                    <a:pt x="3489" y="2262"/>
                    <a:pt x="3493" y="2268"/>
                    <a:pt x="3498" y="2274"/>
                  </a:cubicBezTo>
                  <a:lnTo>
                    <a:pt x="3498" y="2256"/>
                  </a:lnTo>
                  <a:cubicBezTo>
                    <a:pt x="3501" y="2273"/>
                    <a:pt x="3504" y="2291"/>
                    <a:pt x="3507" y="2308"/>
                  </a:cubicBezTo>
                  <a:cubicBezTo>
                    <a:pt x="3509" y="2314"/>
                    <a:pt x="3510" y="2319"/>
                    <a:pt x="3512" y="2325"/>
                  </a:cubicBezTo>
                  <a:cubicBezTo>
                    <a:pt x="3510" y="2328"/>
                    <a:pt x="3509" y="2330"/>
                    <a:pt x="3507" y="2333"/>
                  </a:cubicBezTo>
                  <a:lnTo>
                    <a:pt x="3507" y="2359"/>
                  </a:lnTo>
                  <a:lnTo>
                    <a:pt x="3507" y="2376"/>
                  </a:lnTo>
                  <a:cubicBezTo>
                    <a:pt x="3504" y="2387"/>
                    <a:pt x="3501" y="2399"/>
                    <a:pt x="3498" y="2410"/>
                  </a:cubicBezTo>
                  <a:lnTo>
                    <a:pt x="3498" y="2436"/>
                  </a:lnTo>
                  <a:cubicBezTo>
                    <a:pt x="3501" y="2445"/>
                    <a:pt x="3504" y="2453"/>
                    <a:pt x="3507" y="2462"/>
                  </a:cubicBezTo>
                  <a:lnTo>
                    <a:pt x="3507" y="2496"/>
                  </a:lnTo>
                  <a:cubicBezTo>
                    <a:pt x="3509" y="2504"/>
                    <a:pt x="3510" y="2513"/>
                    <a:pt x="3512" y="2521"/>
                  </a:cubicBezTo>
                  <a:cubicBezTo>
                    <a:pt x="3516" y="2533"/>
                    <a:pt x="3521" y="2544"/>
                    <a:pt x="3525" y="2556"/>
                  </a:cubicBezTo>
                  <a:cubicBezTo>
                    <a:pt x="3540" y="2562"/>
                    <a:pt x="3556" y="2567"/>
                    <a:pt x="3571" y="2573"/>
                  </a:cubicBezTo>
                  <a:cubicBezTo>
                    <a:pt x="3577" y="2581"/>
                    <a:pt x="3584" y="2590"/>
                    <a:pt x="3590" y="2598"/>
                  </a:cubicBezTo>
                  <a:lnTo>
                    <a:pt x="3599" y="2598"/>
                  </a:lnTo>
                  <a:cubicBezTo>
                    <a:pt x="3601" y="2609"/>
                    <a:pt x="3602" y="2621"/>
                    <a:pt x="3604" y="2632"/>
                  </a:cubicBezTo>
                  <a:cubicBezTo>
                    <a:pt x="3602" y="2641"/>
                    <a:pt x="3601" y="2649"/>
                    <a:pt x="3599" y="2658"/>
                  </a:cubicBezTo>
                  <a:lnTo>
                    <a:pt x="3590" y="2667"/>
                  </a:lnTo>
                  <a:lnTo>
                    <a:pt x="3604" y="2667"/>
                  </a:lnTo>
                  <a:cubicBezTo>
                    <a:pt x="3607" y="2675"/>
                    <a:pt x="3610" y="2684"/>
                    <a:pt x="3613" y="2692"/>
                  </a:cubicBezTo>
                  <a:cubicBezTo>
                    <a:pt x="3618" y="2706"/>
                    <a:pt x="3622" y="2721"/>
                    <a:pt x="3627" y="2735"/>
                  </a:cubicBezTo>
                  <a:cubicBezTo>
                    <a:pt x="3628" y="2738"/>
                    <a:pt x="3630" y="2741"/>
                    <a:pt x="3631" y="2744"/>
                  </a:cubicBezTo>
                  <a:cubicBezTo>
                    <a:pt x="3640" y="2750"/>
                    <a:pt x="3650" y="2755"/>
                    <a:pt x="3659" y="2761"/>
                  </a:cubicBezTo>
                  <a:cubicBezTo>
                    <a:pt x="3664" y="2764"/>
                    <a:pt x="3668" y="2766"/>
                    <a:pt x="3673" y="2769"/>
                  </a:cubicBezTo>
                  <a:lnTo>
                    <a:pt x="3673" y="2761"/>
                  </a:lnTo>
                  <a:cubicBezTo>
                    <a:pt x="3678" y="2784"/>
                    <a:pt x="3682" y="2806"/>
                    <a:pt x="3687" y="2829"/>
                  </a:cubicBezTo>
                  <a:cubicBezTo>
                    <a:pt x="3684" y="2852"/>
                    <a:pt x="3680" y="2874"/>
                    <a:pt x="3677" y="2897"/>
                  </a:cubicBezTo>
                  <a:cubicBezTo>
                    <a:pt x="3676" y="2903"/>
                    <a:pt x="3674" y="2909"/>
                    <a:pt x="3673" y="2915"/>
                  </a:cubicBezTo>
                  <a:lnTo>
                    <a:pt x="3664" y="2957"/>
                  </a:lnTo>
                  <a:cubicBezTo>
                    <a:pt x="3662" y="2966"/>
                    <a:pt x="3661" y="2974"/>
                    <a:pt x="3659" y="2983"/>
                  </a:cubicBezTo>
                  <a:cubicBezTo>
                    <a:pt x="3661" y="2994"/>
                    <a:pt x="3662" y="3006"/>
                    <a:pt x="3664" y="3017"/>
                  </a:cubicBezTo>
                  <a:cubicBezTo>
                    <a:pt x="3662" y="3026"/>
                    <a:pt x="3661" y="3034"/>
                    <a:pt x="3659" y="3043"/>
                  </a:cubicBezTo>
                  <a:lnTo>
                    <a:pt x="3677" y="3094"/>
                  </a:lnTo>
                  <a:cubicBezTo>
                    <a:pt x="3682" y="3157"/>
                    <a:pt x="3686" y="3219"/>
                    <a:pt x="3691" y="3282"/>
                  </a:cubicBezTo>
                  <a:lnTo>
                    <a:pt x="3691" y="3308"/>
                  </a:lnTo>
                  <a:cubicBezTo>
                    <a:pt x="3686" y="3319"/>
                    <a:pt x="3682" y="3331"/>
                    <a:pt x="3677" y="3342"/>
                  </a:cubicBezTo>
                  <a:lnTo>
                    <a:pt x="3664" y="3342"/>
                  </a:lnTo>
                  <a:lnTo>
                    <a:pt x="3650" y="3342"/>
                  </a:lnTo>
                  <a:lnTo>
                    <a:pt x="3650" y="3350"/>
                  </a:lnTo>
                  <a:cubicBezTo>
                    <a:pt x="3653" y="3367"/>
                    <a:pt x="3656" y="3385"/>
                    <a:pt x="3659" y="3402"/>
                  </a:cubicBezTo>
                  <a:lnTo>
                    <a:pt x="3659" y="3419"/>
                  </a:lnTo>
                  <a:cubicBezTo>
                    <a:pt x="3650" y="3413"/>
                    <a:pt x="3640" y="3408"/>
                    <a:pt x="3631" y="3402"/>
                  </a:cubicBezTo>
                  <a:lnTo>
                    <a:pt x="3604" y="3393"/>
                  </a:lnTo>
                  <a:cubicBezTo>
                    <a:pt x="3602" y="3385"/>
                    <a:pt x="3601" y="3376"/>
                    <a:pt x="3599" y="3368"/>
                  </a:cubicBezTo>
                  <a:lnTo>
                    <a:pt x="3590" y="3239"/>
                  </a:lnTo>
                  <a:lnTo>
                    <a:pt x="3599" y="3179"/>
                  </a:lnTo>
                  <a:lnTo>
                    <a:pt x="3599" y="3171"/>
                  </a:lnTo>
                  <a:lnTo>
                    <a:pt x="3599" y="3009"/>
                  </a:lnTo>
                  <a:cubicBezTo>
                    <a:pt x="3601" y="3000"/>
                    <a:pt x="3602" y="2992"/>
                    <a:pt x="3604" y="2983"/>
                  </a:cubicBezTo>
                  <a:cubicBezTo>
                    <a:pt x="3618" y="2966"/>
                    <a:pt x="3631" y="2949"/>
                    <a:pt x="3645" y="2932"/>
                  </a:cubicBezTo>
                  <a:cubicBezTo>
                    <a:pt x="3647" y="2912"/>
                    <a:pt x="3648" y="2892"/>
                    <a:pt x="3650" y="2872"/>
                  </a:cubicBezTo>
                  <a:cubicBezTo>
                    <a:pt x="3653" y="2866"/>
                    <a:pt x="3656" y="2861"/>
                    <a:pt x="3659" y="2855"/>
                  </a:cubicBezTo>
                  <a:lnTo>
                    <a:pt x="3659" y="2821"/>
                  </a:lnTo>
                  <a:cubicBezTo>
                    <a:pt x="3650" y="2812"/>
                    <a:pt x="3640" y="2804"/>
                    <a:pt x="3631" y="2795"/>
                  </a:cubicBezTo>
                  <a:cubicBezTo>
                    <a:pt x="3610" y="2804"/>
                    <a:pt x="3588" y="2812"/>
                    <a:pt x="3567" y="2821"/>
                  </a:cubicBezTo>
                  <a:lnTo>
                    <a:pt x="3544" y="2795"/>
                  </a:lnTo>
                  <a:cubicBezTo>
                    <a:pt x="3539" y="2786"/>
                    <a:pt x="3535" y="2778"/>
                    <a:pt x="3530" y="2769"/>
                  </a:cubicBezTo>
                  <a:lnTo>
                    <a:pt x="3530" y="2786"/>
                  </a:lnTo>
                  <a:cubicBezTo>
                    <a:pt x="3519" y="2755"/>
                    <a:pt x="3509" y="2723"/>
                    <a:pt x="3498" y="2692"/>
                  </a:cubicBezTo>
                  <a:lnTo>
                    <a:pt x="3498" y="2667"/>
                  </a:lnTo>
                  <a:cubicBezTo>
                    <a:pt x="3479" y="2647"/>
                    <a:pt x="3461" y="2627"/>
                    <a:pt x="3442" y="2607"/>
                  </a:cubicBezTo>
                  <a:cubicBezTo>
                    <a:pt x="3439" y="2598"/>
                    <a:pt x="3436" y="2590"/>
                    <a:pt x="3433" y="2581"/>
                  </a:cubicBezTo>
                  <a:lnTo>
                    <a:pt x="3396" y="2556"/>
                  </a:lnTo>
                  <a:lnTo>
                    <a:pt x="3318" y="2556"/>
                  </a:lnTo>
                  <a:cubicBezTo>
                    <a:pt x="3313" y="2573"/>
                    <a:pt x="3309" y="2590"/>
                    <a:pt x="3304" y="2607"/>
                  </a:cubicBezTo>
                  <a:lnTo>
                    <a:pt x="3276" y="2632"/>
                  </a:lnTo>
                  <a:cubicBezTo>
                    <a:pt x="3275" y="2644"/>
                    <a:pt x="3273" y="2655"/>
                    <a:pt x="3272" y="2667"/>
                  </a:cubicBezTo>
                  <a:lnTo>
                    <a:pt x="3304" y="2667"/>
                  </a:lnTo>
                  <a:cubicBezTo>
                    <a:pt x="3310" y="2675"/>
                    <a:pt x="3317" y="2684"/>
                    <a:pt x="3323" y="2692"/>
                  </a:cubicBezTo>
                  <a:cubicBezTo>
                    <a:pt x="3321" y="2706"/>
                    <a:pt x="3320" y="2721"/>
                    <a:pt x="3318" y="2735"/>
                  </a:cubicBezTo>
                  <a:cubicBezTo>
                    <a:pt x="3313" y="2744"/>
                    <a:pt x="3309" y="2752"/>
                    <a:pt x="3304" y="2761"/>
                  </a:cubicBezTo>
                  <a:cubicBezTo>
                    <a:pt x="3295" y="2764"/>
                    <a:pt x="3285" y="2766"/>
                    <a:pt x="3276" y="2769"/>
                  </a:cubicBezTo>
                  <a:cubicBezTo>
                    <a:pt x="3272" y="2778"/>
                    <a:pt x="3267" y="2786"/>
                    <a:pt x="3263" y="2795"/>
                  </a:cubicBezTo>
                  <a:cubicBezTo>
                    <a:pt x="3254" y="2798"/>
                    <a:pt x="3244" y="2800"/>
                    <a:pt x="3235" y="2803"/>
                  </a:cubicBezTo>
                  <a:lnTo>
                    <a:pt x="3235" y="2786"/>
                  </a:lnTo>
                  <a:cubicBezTo>
                    <a:pt x="3227" y="2760"/>
                    <a:pt x="3220" y="2735"/>
                    <a:pt x="3212" y="2709"/>
                  </a:cubicBezTo>
                  <a:lnTo>
                    <a:pt x="3198" y="2709"/>
                  </a:lnTo>
                  <a:cubicBezTo>
                    <a:pt x="3193" y="2718"/>
                    <a:pt x="3189" y="2726"/>
                    <a:pt x="3184" y="2735"/>
                  </a:cubicBezTo>
                  <a:cubicBezTo>
                    <a:pt x="3186" y="2744"/>
                    <a:pt x="3187" y="2752"/>
                    <a:pt x="3189" y="2761"/>
                  </a:cubicBezTo>
                  <a:cubicBezTo>
                    <a:pt x="3194" y="2792"/>
                    <a:pt x="3198" y="2824"/>
                    <a:pt x="3203" y="2855"/>
                  </a:cubicBezTo>
                  <a:cubicBezTo>
                    <a:pt x="3206" y="2861"/>
                    <a:pt x="3209" y="2866"/>
                    <a:pt x="3212" y="2872"/>
                  </a:cubicBezTo>
                  <a:cubicBezTo>
                    <a:pt x="3220" y="2883"/>
                    <a:pt x="3227" y="2895"/>
                    <a:pt x="3235" y="2906"/>
                  </a:cubicBezTo>
                  <a:cubicBezTo>
                    <a:pt x="3243" y="2909"/>
                    <a:pt x="3250" y="2912"/>
                    <a:pt x="3258" y="2915"/>
                  </a:cubicBezTo>
                  <a:cubicBezTo>
                    <a:pt x="3263" y="2929"/>
                    <a:pt x="3267" y="2943"/>
                    <a:pt x="3272" y="2957"/>
                  </a:cubicBezTo>
                  <a:lnTo>
                    <a:pt x="3276" y="2957"/>
                  </a:lnTo>
                  <a:cubicBezTo>
                    <a:pt x="3279" y="2960"/>
                    <a:pt x="3283" y="2963"/>
                    <a:pt x="3286" y="2966"/>
                  </a:cubicBezTo>
                  <a:cubicBezTo>
                    <a:pt x="3291" y="2963"/>
                    <a:pt x="3295" y="2960"/>
                    <a:pt x="3300" y="2957"/>
                  </a:cubicBezTo>
                  <a:cubicBezTo>
                    <a:pt x="3303" y="2949"/>
                    <a:pt x="3306" y="2940"/>
                    <a:pt x="3309" y="2932"/>
                  </a:cubicBezTo>
                  <a:cubicBezTo>
                    <a:pt x="3307" y="2943"/>
                    <a:pt x="3306" y="2955"/>
                    <a:pt x="3304" y="2966"/>
                  </a:cubicBezTo>
                  <a:cubicBezTo>
                    <a:pt x="3306" y="2972"/>
                    <a:pt x="3307" y="2977"/>
                    <a:pt x="3309" y="2983"/>
                  </a:cubicBezTo>
                  <a:cubicBezTo>
                    <a:pt x="3314" y="2977"/>
                    <a:pt x="3318" y="2972"/>
                    <a:pt x="3323" y="2966"/>
                  </a:cubicBezTo>
                  <a:lnTo>
                    <a:pt x="3323" y="3043"/>
                  </a:lnTo>
                  <a:cubicBezTo>
                    <a:pt x="3331" y="3051"/>
                    <a:pt x="3338" y="3060"/>
                    <a:pt x="3346" y="3068"/>
                  </a:cubicBezTo>
                  <a:lnTo>
                    <a:pt x="3346" y="3094"/>
                  </a:lnTo>
                  <a:lnTo>
                    <a:pt x="3323" y="3094"/>
                  </a:lnTo>
                  <a:cubicBezTo>
                    <a:pt x="3318" y="3088"/>
                    <a:pt x="3314" y="3083"/>
                    <a:pt x="3309" y="3077"/>
                  </a:cubicBezTo>
                  <a:cubicBezTo>
                    <a:pt x="3307" y="3068"/>
                    <a:pt x="3306" y="3060"/>
                    <a:pt x="3304" y="3051"/>
                  </a:cubicBezTo>
                  <a:cubicBezTo>
                    <a:pt x="3303" y="3048"/>
                    <a:pt x="3301" y="3046"/>
                    <a:pt x="3300" y="3043"/>
                  </a:cubicBezTo>
                  <a:cubicBezTo>
                    <a:pt x="3295" y="3034"/>
                    <a:pt x="3291" y="3026"/>
                    <a:pt x="3286" y="3017"/>
                  </a:cubicBezTo>
                  <a:lnTo>
                    <a:pt x="3152" y="2966"/>
                  </a:lnTo>
                  <a:cubicBezTo>
                    <a:pt x="3144" y="2949"/>
                    <a:pt x="3137" y="2932"/>
                    <a:pt x="3129" y="2915"/>
                  </a:cubicBezTo>
                  <a:lnTo>
                    <a:pt x="3129" y="2906"/>
                  </a:lnTo>
                  <a:lnTo>
                    <a:pt x="3152" y="2906"/>
                  </a:lnTo>
                  <a:lnTo>
                    <a:pt x="3152" y="2846"/>
                  </a:lnTo>
                  <a:cubicBezTo>
                    <a:pt x="3147" y="2829"/>
                    <a:pt x="3143" y="2812"/>
                    <a:pt x="3138" y="2795"/>
                  </a:cubicBezTo>
                  <a:lnTo>
                    <a:pt x="3138" y="2769"/>
                  </a:lnTo>
                  <a:cubicBezTo>
                    <a:pt x="3140" y="2752"/>
                    <a:pt x="3141" y="2735"/>
                    <a:pt x="3143" y="2718"/>
                  </a:cubicBezTo>
                  <a:cubicBezTo>
                    <a:pt x="3138" y="2709"/>
                    <a:pt x="3134" y="2701"/>
                    <a:pt x="3129" y="2692"/>
                  </a:cubicBezTo>
                  <a:cubicBezTo>
                    <a:pt x="3134" y="2684"/>
                    <a:pt x="3138" y="2675"/>
                    <a:pt x="3143" y="2667"/>
                  </a:cubicBezTo>
                  <a:cubicBezTo>
                    <a:pt x="3148" y="2638"/>
                    <a:pt x="3152" y="2610"/>
                    <a:pt x="3157" y="2581"/>
                  </a:cubicBezTo>
                  <a:cubicBezTo>
                    <a:pt x="3152" y="2553"/>
                    <a:pt x="3148" y="2524"/>
                    <a:pt x="3143" y="2496"/>
                  </a:cubicBezTo>
                  <a:cubicBezTo>
                    <a:pt x="3148" y="2493"/>
                    <a:pt x="3152" y="2490"/>
                    <a:pt x="3157" y="2487"/>
                  </a:cubicBezTo>
                  <a:cubicBezTo>
                    <a:pt x="3152" y="2473"/>
                    <a:pt x="3148" y="2458"/>
                    <a:pt x="3143" y="2444"/>
                  </a:cubicBezTo>
                  <a:lnTo>
                    <a:pt x="3143" y="2419"/>
                  </a:lnTo>
                  <a:lnTo>
                    <a:pt x="3143" y="2410"/>
                  </a:lnTo>
                  <a:cubicBezTo>
                    <a:pt x="3137" y="2399"/>
                    <a:pt x="3130" y="2387"/>
                    <a:pt x="3124" y="2376"/>
                  </a:cubicBezTo>
                  <a:cubicBezTo>
                    <a:pt x="3121" y="2367"/>
                    <a:pt x="3118" y="2359"/>
                    <a:pt x="3115" y="2350"/>
                  </a:cubicBezTo>
                  <a:cubicBezTo>
                    <a:pt x="3110" y="2353"/>
                    <a:pt x="3106" y="2356"/>
                    <a:pt x="3101" y="2359"/>
                  </a:cubicBezTo>
                  <a:cubicBezTo>
                    <a:pt x="3106" y="2433"/>
                    <a:pt x="3110" y="2507"/>
                    <a:pt x="3115" y="2581"/>
                  </a:cubicBezTo>
                  <a:cubicBezTo>
                    <a:pt x="3114" y="2595"/>
                    <a:pt x="3112" y="2610"/>
                    <a:pt x="3111" y="2624"/>
                  </a:cubicBezTo>
                  <a:lnTo>
                    <a:pt x="3009" y="2761"/>
                  </a:lnTo>
                  <a:lnTo>
                    <a:pt x="3009" y="2803"/>
                  </a:lnTo>
                  <a:cubicBezTo>
                    <a:pt x="3008" y="2812"/>
                    <a:pt x="3006" y="2820"/>
                    <a:pt x="3005" y="2829"/>
                  </a:cubicBezTo>
                  <a:cubicBezTo>
                    <a:pt x="2997" y="2843"/>
                    <a:pt x="2990" y="2858"/>
                    <a:pt x="2982" y="2872"/>
                  </a:cubicBezTo>
                  <a:lnTo>
                    <a:pt x="2982" y="2880"/>
                  </a:lnTo>
                  <a:cubicBezTo>
                    <a:pt x="3000" y="2931"/>
                    <a:pt x="3019" y="2983"/>
                    <a:pt x="3037" y="3034"/>
                  </a:cubicBezTo>
                  <a:cubicBezTo>
                    <a:pt x="3038" y="3057"/>
                    <a:pt x="3040" y="3080"/>
                    <a:pt x="3041" y="3103"/>
                  </a:cubicBezTo>
                  <a:cubicBezTo>
                    <a:pt x="3050" y="3131"/>
                    <a:pt x="3060" y="3160"/>
                    <a:pt x="3069" y="3188"/>
                  </a:cubicBezTo>
                  <a:cubicBezTo>
                    <a:pt x="3064" y="3234"/>
                    <a:pt x="3060" y="3279"/>
                    <a:pt x="3055" y="3325"/>
                  </a:cubicBezTo>
                  <a:cubicBezTo>
                    <a:pt x="3049" y="3339"/>
                    <a:pt x="3043" y="3354"/>
                    <a:pt x="3037" y="3368"/>
                  </a:cubicBezTo>
                  <a:lnTo>
                    <a:pt x="3037" y="3444"/>
                  </a:lnTo>
                  <a:lnTo>
                    <a:pt x="3028" y="3453"/>
                  </a:lnTo>
                  <a:cubicBezTo>
                    <a:pt x="3026" y="3479"/>
                    <a:pt x="3025" y="3504"/>
                    <a:pt x="3023" y="3530"/>
                  </a:cubicBezTo>
                  <a:cubicBezTo>
                    <a:pt x="3032" y="3561"/>
                    <a:pt x="3042" y="3593"/>
                    <a:pt x="3051" y="3624"/>
                  </a:cubicBezTo>
                  <a:cubicBezTo>
                    <a:pt x="3046" y="3655"/>
                    <a:pt x="3042" y="3687"/>
                    <a:pt x="3037" y="3718"/>
                  </a:cubicBezTo>
                  <a:cubicBezTo>
                    <a:pt x="3038" y="3729"/>
                    <a:pt x="3040" y="3741"/>
                    <a:pt x="3041" y="3752"/>
                  </a:cubicBezTo>
                  <a:cubicBezTo>
                    <a:pt x="3046" y="3755"/>
                    <a:pt x="3050" y="3758"/>
                    <a:pt x="3055" y="3761"/>
                  </a:cubicBezTo>
                  <a:cubicBezTo>
                    <a:pt x="3063" y="3758"/>
                    <a:pt x="3070" y="3755"/>
                    <a:pt x="3078" y="3752"/>
                  </a:cubicBezTo>
                  <a:lnTo>
                    <a:pt x="3092" y="3752"/>
                  </a:lnTo>
                  <a:lnTo>
                    <a:pt x="3129" y="3761"/>
                  </a:lnTo>
                  <a:lnTo>
                    <a:pt x="3129" y="3735"/>
                  </a:lnTo>
                  <a:cubicBezTo>
                    <a:pt x="3138" y="3729"/>
                    <a:pt x="3148" y="3724"/>
                    <a:pt x="3157" y="3718"/>
                  </a:cubicBezTo>
                  <a:lnTo>
                    <a:pt x="3184" y="3718"/>
                  </a:lnTo>
                  <a:cubicBezTo>
                    <a:pt x="3219" y="3758"/>
                    <a:pt x="3255" y="3798"/>
                    <a:pt x="3290" y="3838"/>
                  </a:cubicBezTo>
                  <a:cubicBezTo>
                    <a:pt x="3293" y="3841"/>
                    <a:pt x="3297" y="3843"/>
                    <a:pt x="3300" y="3846"/>
                  </a:cubicBezTo>
                  <a:lnTo>
                    <a:pt x="3300" y="3915"/>
                  </a:lnTo>
                  <a:cubicBezTo>
                    <a:pt x="3306" y="3943"/>
                    <a:pt x="3312" y="3972"/>
                    <a:pt x="3318" y="4000"/>
                  </a:cubicBezTo>
                  <a:lnTo>
                    <a:pt x="3323" y="4000"/>
                  </a:lnTo>
                  <a:lnTo>
                    <a:pt x="3323" y="4034"/>
                  </a:lnTo>
                  <a:cubicBezTo>
                    <a:pt x="3321" y="4040"/>
                    <a:pt x="3320" y="4045"/>
                    <a:pt x="3318" y="4051"/>
                  </a:cubicBezTo>
                  <a:lnTo>
                    <a:pt x="3300" y="4051"/>
                  </a:lnTo>
                  <a:cubicBezTo>
                    <a:pt x="3297" y="4060"/>
                    <a:pt x="3293" y="4068"/>
                    <a:pt x="3290" y="4077"/>
                  </a:cubicBezTo>
                  <a:cubicBezTo>
                    <a:pt x="3289" y="4086"/>
                    <a:pt x="3287" y="4094"/>
                    <a:pt x="3286" y="4103"/>
                  </a:cubicBezTo>
                  <a:lnTo>
                    <a:pt x="3286" y="4197"/>
                  </a:lnTo>
                  <a:cubicBezTo>
                    <a:pt x="3287" y="4203"/>
                    <a:pt x="3289" y="4208"/>
                    <a:pt x="3290" y="4214"/>
                  </a:cubicBezTo>
                  <a:lnTo>
                    <a:pt x="3304" y="4214"/>
                  </a:lnTo>
                  <a:cubicBezTo>
                    <a:pt x="3310" y="4222"/>
                    <a:pt x="3317" y="4231"/>
                    <a:pt x="3323" y="4239"/>
                  </a:cubicBezTo>
                  <a:cubicBezTo>
                    <a:pt x="3332" y="4233"/>
                    <a:pt x="3341" y="4228"/>
                    <a:pt x="3350" y="4222"/>
                  </a:cubicBezTo>
                  <a:cubicBezTo>
                    <a:pt x="3356" y="4233"/>
                    <a:pt x="3363" y="4245"/>
                    <a:pt x="3369" y="4256"/>
                  </a:cubicBezTo>
                  <a:lnTo>
                    <a:pt x="3369" y="4256"/>
                  </a:lnTo>
                  <a:lnTo>
                    <a:pt x="3336" y="4274"/>
                  </a:lnTo>
                  <a:lnTo>
                    <a:pt x="3323" y="4274"/>
                  </a:lnTo>
                  <a:lnTo>
                    <a:pt x="3290" y="4274"/>
                  </a:lnTo>
                  <a:cubicBezTo>
                    <a:pt x="3289" y="4262"/>
                    <a:pt x="3287" y="4251"/>
                    <a:pt x="3286" y="4239"/>
                  </a:cubicBezTo>
                  <a:cubicBezTo>
                    <a:pt x="3278" y="4231"/>
                    <a:pt x="3271" y="4222"/>
                    <a:pt x="3263" y="4214"/>
                  </a:cubicBezTo>
                  <a:cubicBezTo>
                    <a:pt x="3261" y="4205"/>
                    <a:pt x="3260" y="4197"/>
                    <a:pt x="3258" y="4188"/>
                  </a:cubicBezTo>
                  <a:cubicBezTo>
                    <a:pt x="3260" y="4182"/>
                    <a:pt x="3261" y="4177"/>
                    <a:pt x="3263" y="4171"/>
                  </a:cubicBezTo>
                  <a:lnTo>
                    <a:pt x="3263" y="4103"/>
                  </a:lnTo>
                  <a:cubicBezTo>
                    <a:pt x="3267" y="4089"/>
                    <a:pt x="3272" y="4074"/>
                    <a:pt x="3276" y="4060"/>
                  </a:cubicBezTo>
                  <a:cubicBezTo>
                    <a:pt x="3275" y="4057"/>
                    <a:pt x="3273" y="4054"/>
                    <a:pt x="3272" y="4051"/>
                  </a:cubicBezTo>
                  <a:lnTo>
                    <a:pt x="3263" y="4051"/>
                  </a:lnTo>
                  <a:lnTo>
                    <a:pt x="3263" y="4034"/>
                  </a:lnTo>
                  <a:lnTo>
                    <a:pt x="3263" y="4000"/>
                  </a:lnTo>
                  <a:lnTo>
                    <a:pt x="3272" y="4000"/>
                  </a:lnTo>
                  <a:lnTo>
                    <a:pt x="3272" y="3974"/>
                  </a:lnTo>
                  <a:lnTo>
                    <a:pt x="3272" y="3966"/>
                  </a:lnTo>
                  <a:lnTo>
                    <a:pt x="3272" y="3949"/>
                  </a:lnTo>
                  <a:cubicBezTo>
                    <a:pt x="3267" y="3940"/>
                    <a:pt x="3263" y="3932"/>
                    <a:pt x="3258" y="3923"/>
                  </a:cubicBezTo>
                  <a:cubicBezTo>
                    <a:pt x="3255" y="3920"/>
                    <a:pt x="3252" y="3918"/>
                    <a:pt x="3249" y="3915"/>
                  </a:cubicBezTo>
                  <a:cubicBezTo>
                    <a:pt x="3247" y="3909"/>
                    <a:pt x="3246" y="3903"/>
                    <a:pt x="3244" y="3897"/>
                  </a:cubicBezTo>
                  <a:cubicBezTo>
                    <a:pt x="3239" y="3894"/>
                    <a:pt x="3235" y="3892"/>
                    <a:pt x="3230" y="3889"/>
                  </a:cubicBezTo>
                  <a:lnTo>
                    <a:pt x="3230" y="3863"/>
                  </a:lnTo>
                  <a:lnTo>
                    <a:pt x="3230" y="3838"/>
                  </a:lnTo>
                  <a:cubicBezTo>
                    <a:pt x="3229" y="3826"/>
                    <a:pt x="3227" y="3815"/>
                    <a:pt x="3226" y="3803"/>
                  </a:cubicBezTo>
                  <a:cubicBezTo>
                    <a:pt x="3197" y="3815"/>
                    <a:pt x="3167" y="3826"/>
                    <a:pt x="3138" y="3838"/>
                  </a:cubicBezTo>
                  <a:lnTo>
                    <a:pt x="3078" y="3889"/>
                  </a:lnTo>
                  <a:lnTo>
                    <a:pt x="3078" y="3940"/>
                  </a:lnTo>
                  <a:cubicBezTo>
                    <a:pt x="3075" y="3954"/>
                    <a:pt x="3072" y="3969"/>
                    <a:pt x="3069" y="3983"/>
                  </a:cubicBezTo>
                  <a:lnTo>
                    <a:pt x="3069" y="4009"/>
                  </a:lnTo>
                  <a:cubicBezTo>
                    <a:pt x="3072" y="4015"/>
                    <a:pt x="3075" y="4020"/>
                    <a:pt x="3078" y="4026"/>
                  </a:cubicBezTo>
                  <a:cubicBezTo>
                    <a:pt x="3080" y="4029"/>
                    <a:pt x="3081" y="4031"/>
                    <a:pt x="3083" y="4034"/>
                  </a:cubicBezTo>
                  <a:cubicBezTo>
                    <a:pt x="3086" y="4043"/>
                    <a:pt x="3089" y="4051"/>
                    <a:pt x="3092" y="4060"/>
                  </a:cubicBezTo>
                  <a:lnTo>
                    <a:pt x="3092" y="4077"/>
                  </a:lnTo>
                  <a:cubicBezTo>
                    <a:pt x="3094" y="4086"/>
                    <a:pt x="3095" y="4094"/>
                    <a:pt x="3097" y="4103"/>
                  </a:cubicBezTo>
                  <a:cubicBezTo>
                    <a:pt x="3098" y="4123"/>
                    <a:pt x="3100" y="4142"/>
                    <a:pt x="3101" y="4162"/>
                  </a:cubicBezTo>
                  <a:cubicBezTo>
                    <a:pt x="3100" y="4182"/>
                    <a:pt x="3098" y="4202"/>
                    <a:pt x="3097" y="4222"/>
                  </a:cubicBezTo>
                  <a:cubicBezTo>
                    <a:pt x="3078" y="4256"/>
                    <a:pt x="3060" y="4291"/>
                    <a:pt x="3041" y="4325"/>
                  </a:cubicBezTo>
                  <a:cubicBezTo>
                    <a:pt x="3040" y="4356"/>
                    <a:pt x="3038" y="4388"/>
                    <a:pt x="3037" y="4419"/>
                  </a:cubicBezTo>
                  <a:cubicBezTo>
                    <a:pt x="3031" y="4436"/>
                    <a:pt x="3024" y="4453"/>
                    <a:pt x="3018" y="4470"/>
                  </a:cubicBezTo>
                  <a:cubicBezTo>
                    <a:pt x="3009" y="4484"/>
                    <a:pt x="3000" y="4499"/>
                    <a:pt x="2991" y="4513"/>
                  </a:cubicBezTo>
                  <a:cubicBezTo>
                    <a:pt x="2986" y="4519"/>
                    <a:pt x="2982" y="4524"/>
                    <a:pt x="2977" y="4530"/>
                  </a:cubicBezTo>
                  <a:lnTo>
                    <a:pt x="2945" y="4556"/>
                  </a:lnTo>
                  <a:cubicBezTo>
                    <a:pt x="2942" y="4564"/>
                    <a:pt x="2938" y="4573"/>
                    <a:pt x="2935" y="4581"/>
                  </a:cubicBezTo>
                  <a:cubicBezTo>
                    <a:pt x="2940" y="4595"/>
                    <a:pt x="2944" y="4610"/>
                    <a:pt x="2949" y="4624"/>
                  </a:cubicBezTo>
                  <a:cubicBezTo>
                    <a:pt x="2948" y="4635"/>
                    <a:pt x="2946" y="4647"/>
                    <a:pt x="2945" y="4658"/>
                  </a:cubicBezTo>
                  <a:cubicBezTo>
                    <a:pt x="2937" y="4661"/>
                    <a:pt x="2930" y="4664"/>
                    <a:pt x="2922" y="4667"/>
                  </a:cubicBezTo>
                  <a:cubicBezTo>
                    <a:pt x="2907" y="4655"/>
                    <a:pt x="2891" y="4644"/>
                    <a:pt x="2876" y="4632"/>
                  </a:cubicBezTo>
                  <a:lnTo>
                    <a:pt x="2857" y="4632"/>
                  </a:lnTo>
                  <a:lnTo>
                    <a:pt x="2820" y="4641"/>
                  </a:lnTo>
                  <a:cubicBezTo>
                    <a:pt x="2812" y="4638"/>
                    <a:pt x="2805" y="4635"/>
                    <a:pt x="2797" y="4632"/>
                  </a:cubicBezTo>
                  <a:cubicBezTo>
                    <a:pt x="2794" y="4629"/>
                    <a:pt x="2791" y="4627"/>
                    <a:pt x="2788" y="4624"/>
                  </a:cubicBezTo>
                  <a:lnTo>
                    <a:pt x="2788" y="4598"/>
                  </a:lnTo>
                  <a:cubicBezTo>
                    <a:pt x="2791" y="4592"/>
                    <a:pt x="2794" y="4587"/>
                    <a:pt x="2797" y="4581"/>
                  </a:cubicBezTo>
                  <a:lnTo>
                    <a:pt x="2788" y="4530"/>
                  </a:lnTo>
                  <a:lnTo>
                    <a:pt x="2774" y="4530"/>
                  </a:lnTo>
                  <a:cubicBezTo>
                    <a:pt x="2773" y="4524"/>
                    <a:pt x="2771" y="4519"/>
                    <a:pt x="2770" y="4513"/>
                  </a:cubicBezTo>
                  <a:lnTo>
                    <a:pt x="2774" y="4513"/>
                  </a:lnTo>
                  <a:cubicBezTo>
                    <a:pt x="2779" y="4507"/>
                    <a:pt x="2783" y="4502"/>
                    <a:pt x="2788" y="4496"/>
                  </a:cubicBezTo>
                  <a:cubicBezTo>
                    <a:pt x="2793" y="4502"/>
                    <a:pt x="2797" y="4507"/>
                    <a:pt x="2802" y="4513"/>
                  </a:cubicBezTo>
                  <a:cubicBezTo>
                    <a:pt x="2805" y="4519"/>
                    <a:pt x="2808" y="4524"/>
                    <a:pt x="2811" y="4530"/>
                  </a:cubicBezTo>
                  <a:lnTo>
                    <a:pt x="2820" y="4521"/>
                  </a:lnTo>
                  <a:cubicBezTo>
                    <a:pt x="2823" y="4518"/>
                    <a:pt x="2826" y="4516"/>
                    <a:pt x="2829" y="4513"/>
                  </a:cubicBezTo>
                  <a:lnTo>
                    <a:pt x="2843" y="4513"/>
                  </a:lnTo>
                  <a:cubicBezTo>
                    <a:pt x="2845" y="4499"/>
                    <a:pt x="2846" y="4484"/>
                    <a:pt x="2848" y="4470"/>
                  </a:cubicBezTo>
                  <a:cubicBezTo>
                    <a:pt x="2853" y="4476"/>
                    <a:pt x="2857" y="4481"/>
                    <a:pt x="2862" y="4487"/>
                  </a:cubicBezTo>
                  <a:cubicBezTo>
                    <a:pt x="2867" y="4481"/>
                    <a:pt x="2871" y="4476"/>
                    <a:pt x="2876" y="4470"/>
                  </a:cubicBezTo>
                  <a:cubicBezTo>
                    <a:pt x="2877" y="4467"/>
                    <a:pt x="2879" y="4465"/>
                    <a:pt x="2880" y="4462"/>
                  </a:cubicBezTo>
                  <a:lnTo>
                    <a:pt x="2889" y="4444"/>
                  </a:lnTo>
                  <a:cubicBezTo>
                    <a:pt x="2891" y="4450"/>
                    <a:pt x="2892" y="4456"/>
                    <a:pt x="2894" y="4462"/>
                  </a:cubicBezTo>
                  <a:cubicBezTo>
                    <a:pt x="2902" y="4456"/>
                    <a:pt x="2909" y="4450"/>
                    <a:pt x="2917" y="4444"/>
                  </a:cubicBezTo>
                  <a:cubicBezTo>
                    <a:pt x="2919" y="4441"/>
                    <a:pt x="2920" y="4439"/>
                    <a:pt x="2922" y="4436"/>
                  </a:cubicBezTo>
                  <a:cubicBezTo>
                    <a:pt x="2920" y="4427"/>
                    <a:pt x="2919" y="4419"/>
                    <a:pt x="2917" y="4410"/>
                  </a:cubicBezTo>
                  <a:lnTo>
                    <a:pt x="2894" y="4410"/>
                  </a:lnTo>
                  <a:cubicBezTo>
                    <a:pt x="2892" y="4413"/>
                    <a:pt x="2891" y="4416"/>
                    <a:pt x="2889" y="4419"/>
                  </a:cubicBezTo>
                  <a:cubicBezTo>
                    <a:pt x="2885" y="4416"/>
                    <a:pt x="2880" y="4413"/>
                    <a:pt x="2876" y="4410"/>
                  </a:cubicBezTo>
                  <a:cubicBezTo>
                    <a:pt x="2877" y="4399"/>
                    <a:pt x="2879" y="4387"/>
                    <a:pt x="2880" y="4376"/>
                  </a:cubicBezTo>
                  <a:cubicBezTo>
                    <a:pt x="2888" y="4382"/>
                    <a:pt x="2895" y="4387"/>
                    <a:pt x="2903" y="4393"/>
                  </a:cubicBezTo>
                  <a:lnTo>
                    <a:pt x="2931" y="4393"/>
                  </a:lnTo>
                  <a:lnTo>
                    <a:pt x="2931" y="4385"/>
                  </a:lnTo>
                  <a:lnTo>
                    <a:pt x="2931" y="4350"/>
                  </a:lnTo>
                  <a:lnTo>
                    <a:pt x="2945" y="4350"/>
                  </a:lnTo>
                  <a:cubicBezTo>
                    <a:pt x="2946" y="4342"/>
                    <a:pt x="2948" y="4333"/>
                    <a:pt x="2949" y="4325"/>
                  </a:cubicBezTo>
                  <a:cubicBezTo>
                    <a:pt x="2954" y="4302"/>
                    <a:pt x="2958" y="4279"/>
                    <a:pt x="2963" y="4256"/>
                  </a:cubicBezTo>
                  <a:cubicBezTo>
                    <a:pt x="2969" y="4250"/>
                    <a:pt x="2976" y="4245"/>
                    <a:pt x="2982" y="4239"/>
                  </a:cubicBezTo>
                  <a:cubicBezTo>
                    <a:pt x="2985" y="4231"/>
                    <a:pt x="2988" y="4222"/>
                    <a:pt x="2991" y="4214"/>
                  </a:cubicBezTo>
                  <a:lnTo>
                    <a:pt x="2991" y="4197"/>
                  </a:lnTo>
                  <a:cubicBezTo>
                    <a:pt x="2992" y="4188"/>
                    <a:pt x="2994" y="4180"/>
                    <a:pt x="2995" y="4171"/>
                  </a:cubicBezTo>
                  <a:cubicBezTo>
                    <a:pt x="2994" y="4140"/>
                    <a:pt x="2992" y="4108"/>
                    <a:pt x="2991" y="4077"/>
                  </a:cubicBezTo>
                  <a:cubicBezTo>
                    <a:pt x="2992" y="4063"/>
                    <a:pt x="2994" y="4048"/>
                    <a:pt x="2995" y="4034"/>
                  </a:cubicBezTo>
                  <a:cubicBezTo>
                    <a:pt x="3003" y="4017"/>
                    <a:pt x="3010" y="4000"/>
                    <a:pt x="3018" y="3983"/>
                  </a:cubicBezTo>
                  <a:lnTo>
                    <a:pt x="3018" y="3915"/>
                  </a:lnTo>
                  <a:cubicBezTo>
                    <a:pt x="2995" y="3869"/>
                    <a:pt x="2972" y="3824"/>
                    <a:pt x="2949" y="3778"/>
                  </a:cubicBezTo>
                  <a:cubicBezTo>
                    <a:pt x="2951" y="3744"/>
                    <a:pt x="2952" y="3709"/>
                    <a:pt x="2954" y="3675"/>
                  </a:cubicBezTo>
                  <a:lnTo>
                    <a:pt x="2954" y="3650"/>
                  </a:lnTo>
                  <a:cubicBezTo>
                    <a:pt x="2957" y="3641"/>
                    <a:pt x="2960" y="3633"/>
                    <a:pt x="2963" y="3624"/>
                  </a:cubicBezTo>
                  <a:lnTo>
                    <a:pt x="2954" y="3564"/>
                  </a:lnTo>
                  <a:cubicBezTo>
                    <a:pt x="2957" y="3555"/>
                    <a:pt x="2960" y="3547"/>
                    <a:pt x="2963" y="3538"/>
                  </a:cubicBezTo>
                  <a:lnTo>
                    <a:pt x="2963" y="3487"/>
                  </a:lnTo>
                  <a:lnTo>
                    <a:pt x="2963" y="3479"/>
                  </a:lnTo>
                  <a:lnTo>
                    <a:pt x="2963" y="3462"/>
                  </a:lnTo>
                  <a:lnTo>
                    <a:pt x="2954" y="3453"/>
                  </a:lnTo>
                  <a:lnTo>
                    <a:pt x="2954" y="3444"/>
                  </a:lnTo>
                  <a:lnTo>
                    <a:pt x="2954" y="3402"/>
                  </a:lnTo>
                  <a:lnTo>
                    <a:pt x="2954" y="3393"/>
                  </a:lnTo>
                  <a:cubicBezTo>
                    <a:pt x="2952" y="3387"/>
                    <a:pt x="2951" y="3382"/>
                    <a:pt x="2949" y="3376"/>
                  </a:cubicBezTo>
                  <a:lnTo>
                    <a:pt x="2949" y="3342"/>
                  </a:lnTo>
                  <a:lnTo>
                    <a:pt x="2949" y="3316"/>
                  </a:lnTo>
                  <a:cubicBezTo>
                    <a:pt x="2955" y="3308"/>
                    <a:pt x="2962" y="3299"/>
                    <a:pt x="2968" y="3291"/>
                  </a:cubicBezTo>
                  <a:cubicBezTo>
                    <a:pt x="2966" y="3262"/>
                    <a:pt x="2965" y="3234"/>
                    <a:pt x="2963" y="3205"/>
                  </a:cubicBezTo>
                  <a:cubicBezTo>
                    <a:pt x="2965" y="3194"/>
                    <a:pt x="2966" y="3182"/>
                    <a:pt x="2968" y="3171"/>
                  </a:cubicBezTo>
                  <a:lnTo>
                    <a:pt x="2968" y="3128"/>
                  </a:lnTo>
                  <a:cubicBezTo>
                    <a:pt x="2963" y="3102"/>
                    <a:pt x="2959" y="3077"/>
                    <a:pt x="2954" y="3051"/>
                  </a:cubicBezTo>
                  <a:lnTo>
                    <a:pt x="2954" y="3009"/>
                  </a:lnTo>
                  <a:cubicBezTo>
                    <a:pt x="2943" y="2986"/>
                    <a:pt x="2933" y="2963"/>
                    <a:pt x="2922" y="2940"/>
                  </a:cubicBezTo>
                  <a:cubicBezTo>
                    <a:pt x="2916" y="2920"/>
                    <a:pt x="2909" y="2900"/>
                    <a:pt x="2903" y="2880"/>
                  </a:cubicBezTo>
                  <a:lnTo>
                    <a:pt x="2903" y="2855"/>
                  </a:lnTo>
                  <a:cubicBezTo>
                    <a:pt x="2905" y="2852"/>
                    <a:pt x="2906" y="2849"/>
                    <a:pt x="2908" y="2846"/>
                  </a:cubicBezTo>
                  <a:cubicBezTo>
                    <a:pt x="2916" y="2838"/>
                    <a:pt x="2923" y="2829"/>
                    <a:pt x="2931" y="2821"/>
                  </a:cubicBezTo>
                  <a:lnTo>
                    <a:pt x="2931" y="2803"/>
                  </a:lnTo>
                  <a:cubicBezTo>
                    <a:pt x="2932" y="2797"/>
                    <a:pt x="2934" y="2792"/>
                    <a:pt x="2935" y="2786"/>
                  </a:cubicBezTo>
                  <a:lnTo>
                    <a:pt x="2935" y="2744"/>
                  </a:lnTo>
                  <a:cubicBezTo>
                    <a:pt x="2944" y="2698"/>
                    <a:pt x="2954" y="2653"/>
                    <a:pt x="2963" y="2607"/>
                  </a:cubicBezTo>
                  <a:lnTo>
                    <a:pt x="2963" y="2419"/>
                  </a:lnTo>
                  <a:lnTo>
                    <a:pt x="2954" y="2410"/>
                  </a:lnTo>
                  <a:cubicBezTo>
                    <a:pt x="2957" y="2404"/>
                    <a:pt x="2960" y="2399"/>
                    <a:pt x="2963" y="2393"/>
                  </a:cubicBezTo>
                  <a:lnTo>
                    <a:pt x="2908" y="2359"/>
                  </a:lnTo>
                  <a:cubicBezTo>
                    <a:pt x="2902" y="2348"/>
                    <a:pt x="2895" y="2336"/>
                    <a:pt x="2889" y="2325"/>
                  </a:cubicBezTo>
                  <a:lnTo>
                    <a:pt x="2788" y="2333"/>
                  </a:lnTo>
                  <a:cubicBezTo>
                    <a:pt x="2783" y="2330"/>
                    <a:pt x="2779" y="2328"/>
                    <a:pt x="2774" y="2325"/>
                  </a:cubicBezTo>
                  <a:cubicBezTo>
                    <a:pt x="2777" y="2319"/>
                    <a:pt x="2780" y="2314"/>
                    <a:pt x="2783" y="2308"/>
                  </a:cubicBezTo>
                  <a:lnTo>
                    <a:pt x="2747" y="2308"/>
                  </a:lnTo>
                  <a:cubicBezTo>
                    <a:pt x="2745" y="2316"/>
                    <a:pt x="2744" y="2325"/>
                    <a:pt x="2742" y="2333"/>
                  </a:cubicBezTo>
                  <a:cubicBezTo>
                    <a:pt x="2722" y="2478"/>
                    <a:pt x="2702" y="2624"/>
                    <a:pt x="2682" y="2769"/>
                  </a:cubicBezTo>
                  <a:lnTo>
                    <a:pt x="2613" y="2940"/>
                  </a:lnTo>
                  <a:lnTo>
                    <a:pt x="2581" y="2966"/>
                  </a:lnTo>
                  <a:cubicBezTo>
                    <a:pt x="2579" y="2994"/>
                    <a:pt x="2578" y="3023"/>
                    <a:pt x="2576" y="3051"/>
                  </a:cubicBezTo>
                  <a:lnTo>
                    <a:pt x="2581" y="3051"/>
                  </a:lnTo>
                  <a:cubicBezTo>
                    <a:pt x="2585" y="3040"/>
                    <a:pt x="2590" y="3028"/>
                    <a:pt x="2594" y="3017"/>
                  </a:cubicBezTo>
                  <a:lnTo>
                    <a:pt x="2594" y="3034"/>
                  </a:lnTo>
                  <a:lnTo>
                    <a:pt x="2594" y="3051"/>
                  </a:lnTo>
                  <a:cubicBezTo>
                    <a:pt x="2593" y="3060"/>
                    <a:pt x="2591" y="3068"/>
                    <a:pt x="2590" y="3077"/>
                  </a:cubicBezTo>
                  <a:lnTo>
                    <a:pt x="2567" y="3103"/>
                  </a:lnTo>
                  <a:cubicBezTo>
                    <a:pt x="2565" y="3117"/>
                    <a:pt x="2564" y="3131"/>
                    <a:pt x="2562" y="3145"/>
                  </a:cubicBezTo>
                  <a:cubicBezTo>
                    <a:pt x="2564" y="3156"/>
                    <a:pt x="2565" y="3168"/>
                    <a:pt x="2567" y="3179"/>
                  </a:cubicBezTo>
                  <a:cubicBezTo>
                    <a:pt x="2575" y="3176"/>
                    <a:pt x="2582" y="3174"/>
                    <a:pt x="2590" y="3171"/>
                  </a:cubicBezTo>
                  <a:cubicBezTo>
                    <a:pt x="2591" y="3162"/>
                    <a:pt x="2593" y="3154"/>
                    <a:pt x="2594" y="3145"/>
                  </a:cubicBezTo>
                  <a:cubicBezTo>
                    <a:pt x="2600" y="3148"/>
                    <a:pt x="2607" y="3151"/>
                    <a:pt x="2613" y="3154"/>
                  </a:cubicBezTo>
                  <a:cubicBezTo>
                    <a:pt x="2616" y="3162"/>
                    <a:pt x="2619" y="3171"/>
                    <a:pt x="2622" y="3179"/>
                  </a:cubicBezTo>
                  <a:cubicBezTo>
                    <a:pt x="2619" y="3191"/>
                    <a:pt x="2616" y="3202"/>
                    <a:pt x="2613" y="3214"/>
                  </a:cubicBezTo>
                  <a:lnTo>
                    <a:pt x="2613" y="3308"/>
                  </a:lnTo>
                  <a:cubicBezTo>
                    <a:pt x="2611" y="3314"/>
                    <a:pt x="2610" y="3319"/>
                    <a:pt x="2608" y="3325"/>
                  </a:cubicBezTo>
                  <a:lnTo>
                    <a:pt x="2608" y="3376"/>
                  </a:lnTo>
                  <a:cubicBezTo>
                    <a:pt x="2610" y="3390"/>
                    <a:pt x="2611" y="3405"/>
                    <a:pt x="2613" y="3419"/>
                  </a:cubicBezTo>
                  <a:cubicBezTo>
                    <a:pt x="2611" y="3427"/>
                    <a:pt x="2610" y="3436"/>
                    <a:pt x="2608" y="3444"/>
                  </a:cubicBezTo>
                  <a:lnTo>
                    <a:pt x="2594" y="3444"/>
                  </a:lnTo>
                  <a:cubicBezTo>
                    <a:pt x="2593" y="3438"/>
                    <a:pt x="2591" y="3433"/>
                    <a:pt x="2590" y="3427"/>
                  </a:cubicBezTo>
                  <a:cubicBezTo>
                    <a:pt x="2587" y="3473"/>
                    <a:pt x="2584" y="3518"/>
                    <a:pt x="2581" y="3564"/>
                  </a:cubicBezTo>
                  <a:cubicBezTo>
                    <a:pt x="2585" y="3575"/>
                    <a:pt x="2590" y="3587"/>
                    <a:pt x="2594" y="3598"/>
                  </a:cubicBezTo>
                  <a:lnTo>
                    <a:pt x="2594" y="3581"/>
                  </a:lnTo>
                  <a:cubicBezTo>
                    <a:pt x="2599" y="3573"/>
                    <a:pt x="2603" y="3564"/>
                    <a:pt x="2608" y="3556"/>
                  </a:cubicBezTo>
                  <a:cubicBezTo>
                    <a:pt x="2622" y="3576"/>
                    <a:pt x="2636" y="3595"/>
                    <a:pt x="2650" y="3615"/>
                  </a:cubicBezTo>
                  <a:lnTo>
                    <a:pt x="2664" y="3615"/>
                  </a:lnTo>
                  <a:lnTo>
                    <a:pt x="2668" y="3615"/>
                  </a:lnTo>
                  <a:cubicBezTo>
                    <a:pt x="2667" y="3632"/>
                    <a:pt x="2665" y="3650"/>
                    <a:pt x="2664" y="3667"/>
                  </a:cubicBezTo>
                  <a:cubicBezTo>
                    <a:pt x="2672" y="3707"/>
                    <a:pt x="2679" y="3746"/>
                    <a:pt x="2687" y="3786"/>
                  </a:cubicBezTo>
                  <a:lnTo>
                    <a:pt x="2710" y="3812"/>
                  </a:lnTo>
                  <a:lnTo>
                    <a:pt x="2724" y="3812"/>
                  </a:lnTo>
                  <a:lnTo>
                    <a:pt x="2724" y="3829"/>
                  </a:lnTo>
                  <a:cubicBezTo>
                    <a:pt x="2728" y="3832"/>
                    <a:pt x="2733" y="3835"/>
                    <a:pt x="2737" y="3838"/>
                  </a:cubicBezTo>
                  <a:cubicBezTo>
                    <a:pt x="2729" y="3849"/>
                    <a:pt x="2722" y="3861"/>
                    <a:pt x="2714" y="3872"/>
                  </a:cubicBezTo>
                  <a:cubicBezTo>
                    <a:pt x="2708" y="3923"/>
                    <a:pt x="2702" y="3975"/>
                    <a:pt x="2696" y="4026"/>
                  </a:cubicBezTo>
                  <a:cubicBezTo>
                    <a:pt x="2688" y="4034"/>
                    <a:pt x="2681" y="4043"/>
                    <a:pt x="2673" y="4051"/>
                  </a:cubicBezTo>
                  <a:cubicBezTo>
                    <a:pt x="2671" y="4045"/>
                    <a:pt x="2670" y="4040"/>
                    <a:pt x="2668" y="4034"/>
                  </a:cubicBezTo>
                  <a:cubicBezTo>
                    <a:pt x="2670" y="4023"/>
                    <a:pt x="2671" y="4011"/>
                    <a:pt x="2673" y="4000"/>
                  </a:cubicBezTo>
                  <a:cubicBezTo>
                    <a:pt x="2670" y="3991"/>
                    <a:pt x="2667" y="3983"/>
                    <a:pt x="2664" y="3974"/>
                  </a:cubicBezTo>
                  <a:lnTo>
                    <a:pt x="2636" y="3949"/>
                  </a:lnTo>
                  <a:cubicBezTo>
                    <a:pt x="2618" y="3912"/>
                    <a:pt x="2599" y="3875"/>
                    <a:pt x="2581" y="3838"/>
                  </a:cubicBezTo>
                  <a:cubicBezTo>
                    <a:pt x="2575" y="3835"/>
                    <a:pt x="2568" y="3832"/>
                    <a:pt x="2562" y="3829"/>
                  </a:cubicBezTo>
                  <a:lnTo>
                    <a:pt x="2535" y="3778"/>
                  </a:lnTo>
                  <a:cubicBezTo>
                    <a:pt x="2524" y="3772"/>
                    <a:pt x="2513" y="3767"/>
                    <a:pt x="2502" y="3761"/>
                  </a:cubicBezTo>
                  <a:lnTo>
                    <a:pt x="2502" y="3735"/>
                  </a:lnTo>
                  <a:lnTo>
                    <a:pt x="2516" y="3735"/>
                  </a:lnTo>
                  <a:lnTo>
                    <a:pt x="2507" y="3726"/>
                  </a:lnTo>
                  <a:lnTo>
                    <a:pt x="2488" y="3726"/>
                  </a:lnTo>
                  <a:cubicBezTo>
                    <a:pt x="2479" y="3715"/>
                    <a:pt x="2470" y="3703"/>
                    <a:pt x="2461" y="3692"/>
                  </a:cubicBezTo>
                  <a:cubicBezTo>
                    <a:pt x="2455" y="3686"/>
                    <a:pt x="2448" y="3681"/>
                    <a:pt x="2442" y="3675"/>
                  </a:cubicBezTo>
                  <a:cubicBezTo>
                    <a:pt x="2430" y="3649"/>
                    <a:pt x="2418" y="3624"/>
                    <a:pt x="2406" y="3598"/>
                  </a:cubicBezTo>
                  <a:cubicBezTo>
                    <a:pt x="2386" y="3587"/>
                    <a:pt x="2366" y="3575"/>
                    <a:pt x="2346" y="3564"/>
                  </a:cubicBezTo>
                  <a:lnTo>
                    <a:pt x="2341" y="3564"/>
                  </a:lnTo>
                  <a:lnTo>
                    <a:pt x="2313" y="3530"/>
                  </a:lnTo>
                  <a:lnTo>
                    <a:pt x="2235" y="3530"/>
                  </a:lnTo>
                  <a:cubicBezTo>
                    <a:pt x="2232" y="3524"/>
                    <a:pt x="2229" y="3519"/>
                    <a:pt x="2226" y="3513"/>
                  </a:cubicBezTo>
                  <a:cubicBezTo>
                    <a:pt x="2220" y="3510"/>
                    <a:pt x="2213" y="3507"/>
                    <a:pt x="2207" y="3504"/>
                  </a:cubicBezTo>
                  <a:lnTo>
                    <a:pt x="2194" y="3504"/>
                  </a:lnTo>
                  <a:lnTo>
                    <a:pt x="2189" y="3504"/>
                  </a:lnTo>
                  <a:lnTo>
                    <a:pt x="2189" y="3530"/>
                  </a:lnTo>
                  <a:cubicBezTo>
                    <a:pt x="2186" y="3533"/>
                    <a:pt x="2183" y="3535"/>
                    <a:pt x="2180" y="3538"/>
                  </a:cubicBezTo>
                  <a:cubicBezTo>
                    <a:pt x="2171" y="3552"/>
                    <a:pt x="2161" y="3567"/>
                    <a:pt x="2152" y="3581"/>
                  </a:cubicBezTo>
                  <a:cubicBezTo>
                    <a:pt x="2155" y="3587"/>
                    <a:pt x="2158" y="3592"/>
                    <a:pt x="2161" y="3598"/>
                  </a:cubicBezTo>
                  <a:cubicBezTo>
                    <a:pt x="2172" y="3649"/>
                    <a:pt x="2183" y="3701"/>
                    <a:pt x="2194" y="3752"/>
                  </a:cubicBezTo>
                  <a:lnTo>
                    <a:pt x="2194" y="3735"/>
                  </a:lnTo>
                  <a:lnTo>
                    <a:pt x="2198" y="3735"/>
                  </a:lnTo>
                  <a:cubicBezTo>
                    <a:pt x="2195" y="3769"/>
                    <a:pt x="2192" y="3804"/>
                    <a:pt x="2189" y="3838"/>
                  </a:cubicBezTo>
                  <a:cubicBezTo>
                    <a:pt x="2181" y="3855"/>
                    <a:pt x="2174" y="3872"/>
                    <a:pt x="2166" y="3889"/>
                  </a:cubicBezTo>
                  <a:lnTo>
                    <a:pt x="2124" y="3889"/>
                  </a:lnTo>
                  <a:lnTo>
                    <a:pt x="2124" y="3923"/>
                  </a:lnTo>
                  <a:cubicBezTo>
                    <a:pt x="2127" y="3929"/>
                    <a:pt x="2131" y="3934"/>
                    <a:pt x="2134" y="3940"/>
                  </a:cubicBezTo>
                  <a:lnTo>
                    <a:pt x="2134" y="3966"/>
                  </a:lnTo>
                  <a:cubicBezTo>
                    <a:pt x="2129" y="3977"/>
                    <a:pt x="2125" y="3989"/>
                    <a:pt x="2120" y="4000"/>
                  </a:cubicBezTo>
                  <a:cubicBezTo>
                    <a:pt x="2115" y="4003"/>
                    <a:pt x="2111" y="4006"/>
                    <a:pt x="2106" y="4009"/>
                  </a:cubicBezTo>
                  <a:lnTo>
                    <a:pt x="2088" y="4000"/>
                  </a:lnTo>
                  <a:cubicBezTo>
                    <a:pt x="2083" y="3991"/>
                    <a:pt x="2079" y="3983"/>
                    <a:pt x="2074" y="3974"/>
                  </a:cubicBezTo>
                  <a:lnTo>
                    <a:pt x="2074" y="3940"/>
                  </a:lnTo>
                  <a:cubicBezTo>
                    <a:pt x="2075" y="3932"/>
                    <a:pt x="2077" y="3923"/>
                    <a:pt x="2078" y="3915"/>
                  </a:cubicBezTo>
                  <a:cubicBezTo>
                    <a:pt x="2081" y="3906"/>
                    <a:pt x="2085" y="3898"/>
                    <a:pt x="2088" y="3889"/>
                  </a:cubicBezTo>
                  <a:cubicBezTo>
                    <a:pt x="2092" y="3883"/>
                    <a:pt x="2097" y="3878"/>
                    <a:pt x="2101" y="3872"/>
                  </a:cubicBezTo>
                  <a:lnTo>
                    <a:pt x="2074" y="3812"/>
                  </a:lnTo>
                  <a:lnTo>
                    <a:pt x="2074" y="3786"/>
                  </a:lnTo>
                  <a:lnTo>
                    <a:pt x="2060" y="3786"/>
                  </a:lnTo>
                  <a:lnTo>
                    <a:pt x="2014" y="3829"/>
                  </a:lnTo>
                  <a:cubicBezTo>
                    <a:pt x="2009" y="3840"/>
                    <a:pt x="2005" y="3852"/>
                    <a:pt x="2000" y="3863"/>
                  </a:cubicBezTo>
                  <a:cubicBezTo>
                    <a:pt x="1995" y="3866"/>
                    <a:pt x="1991" y="3869"/>
                    <a:pt x="1986" y="3872"/>
                  </a:cubicBezTo>
                  <a:cubicBezTo>
                    <a:pt x="1977" y="3895"/>
                    <a:pt x="1968" y="3917"/>
                    <a:pt x="1959" y="3940"/>
                  </a:cubicBezTo>
                  <a:cubicBezTo>
                    <a:pt x="1954" y="3943"/>
                    <a:pt x="1950" y="3946"/>
                    <a:pt x="1945" y="3949"/>
                  </a:cubicBezTo>
                  <a:cubicBezTo>
                    <a:pt x="1943" y="3940"/>
                    <a:pt x="1942" y="3932"/>
                    <a:pt x="1940" y="3923"/>
                  </a:cubicBezTo>
                  <a:cubicBezTo>
                    <a:pt x="1932" y="3920"/>
                    <a:pt x="1925" y="3918"/>
                    <a:pt x="1917" y="3915"/>
                  </a:cubicBezTo>
                  <a:cubicBezTo>
                    <a:pt x="1911" y="3918"/>
                    <a:pt x="1905" y="3920"/>
                    <a:pt x="1899" y="3923"/>
                  </a:cubicBezTo>
                  <a:cubicBezTo>
                    <a:pt x="1893" y="3920"/>
                    <a:pt x="1886" y="3918"/>
                    <a:pt x="1880" y="3915"/>
                  </a:cubicBezTo>
                  <a:cubicBezTo>
                    <a:pt x="1871" y="3923"/>
                    <a:pt x="1862" y="3932"/>
                    <a:pt x="1853" y="3940"/>
                  </a:cubicBezTo>
                  <a:lnTo>
                    <a:pt x="1839" y="3940"/>
                  </a:lnTo>
                  <a:cubicBezTo>
                    <a:pt x="1828" y="3954"/>
                    <a:pt x="1817" y="3969"/>
                    <a:pt x="1806" y="3983"/>
                  </a:cubicBezTo>
                  <a:lnTo>
                    <a:pt x="1806" y="4000"/>
                  </a:lnTo>
                  <a:cubicBezTo>
                    <a:pt x="1803" y="4026"/>
                    <a:pt x="1800" y="4051"/>
                    <a:pt x="1797" y="4077"/>
                  </a:cubicBezTo>
                  <a:lnTo>
                    <a:pt x="1783" y="4077"/>
                  </a:lnTo>
                  <a:cubicBezTo>
                    <a:pt x="1782" y="4068"/>
                    <a:pt x="1780" y="4060"/>
                    <a:pt x="1779" y="4051"/>
                  </a:cubicBezTo>
                  <a:cubicBezTo>
                    <a:pt x="1774" y="4043"/>
                    <a:pt x="1770" y="4034"/>
                    <a:pt x="1765" y="4026"/>
                  </a:cubicBezTo>
                  <a:cubicBezTo>
                    <a:pt x="1760" y="4034"/>
                    <a:pt x="1756" y="4043"/>
                    <a:pt x="1751" y="4051"/>
                  </a:cubicBezTo>
                  <a:cubicBezTo>
                    <a:pt x="1746" y="4037"/>
                    <a:pt x="1742" y="4023"/>
                    <a:pt x="1737" y="4009"/>
                  </a:cubicBezTo>
                  <a:lnTo>
                    <a:pt x="1737" y="3966"/>
                  </a:lnTo>
                  <a:cubicBezTo>
                    <a:pt x="1736" y="3957"/>
                    <a:pt x="1734" y="3949"/>
                    <a:pt x="1733" y="3940"/>
                  </a:cubicBezTo>
                  <a:lnTo>
                    <a:pt x="1733" y="3923"/>
                  </a:lnTo>
                  <a:cubicBezTo>
                    <a:pt x="1738" y="3912"/>
                    <a:pt x="1742" y="3900"/>
                    <a:pt x="1747" y="3889"/>
                  </a:cubicBezTo>
                  <a:lnTo>
                    <a:pt x="1747" y="3863"/>
                  </a:lnTo>
                  <a:cubicBezTo>
                    <a:pt x="1744" y="3855"/>
                    <a:pt x="1740" y="3846"/>
                    <a:pt x="1737" y="3838"/>
                  </a:cubicBezTo>
                  <a:cubicBezTo>
                    <a:pt x="1736" y="3835"/>
                    <a:pt x="1734" y="3832"/>
                    <a:pt x="1733" y="3829"/>
                  </a:cubicBezTo>
                  <a:lnTo>
                    <a:pt x="1733" y="3846"/>
                  </a:lnTo>
                  <a:lnTo>
                    <a:pt x="1724" y="3846"/>
                  </a:lnTo>
                  <a:lnTo>
                    <a:pt x="1724" y="3829"/>
                  </a:lnTo>
                  <a:cubicBezTo>
                    <a:pt x="1728" y="3823"/>
                    <a:pt x="1733" y="3818"/>
                    <a:pt x="1737" y="3812"/>
                  </a:cubicBezTo>
                  <a:lnTo>
                    <a:pt x="1765" y="3812"/>
                  </a:lnTo>
                  <a:cubicBezTo>
                    <a:pt x="1770" y="3803"/>
                    <a:pt x="1774" y="3795"/>
                    <a:pt x="1779" y="3786"/>
                  </a:cubicBezTo>
                  <a:lnTo>
                    <a:pt x="1779" y="3786"/>
                  </a:lnTo>
                  <a:cubicBezTo>
                    <a:pt x="1770" y="3792"/>
                    <a:pt x="1760" y="3797"/>
                    <a:pt x="1751" y="3803"/>
                  </a:cubicBezTo>
                  <a:lnTo>
                    <a:pt x="1747" y="3803"/>
                  </a:lnTo>
                  <a:lnTo>
                    <a:pt x="1724" y="3803"/>
                  </a:lnTo>
                  <a:cubicBezTo>
                    <a:pt x="1716" y="3812"/>
                    <a:pt x="1708" y="3820"/>
                    <a:pt x="1700" y="3829"/>
                  </a:cubicBezTo>
                  <a:cubicBezTo>
                    <a:pt x="1702" y="3835"/>
                    <a:pt x="1703" y="3840"/>
                    <a:pt x="1705" y="3846"/>
                  </a:cubicBezTo>
                  <a:lnTo>
                    <a:pt x="1691" y="3846"/>
                  </a:lnTo>
                  <a:lnTo>
                    <a:pt x="1691" y="3863"/>
                  </a:lnTo>
                  <a:lnTo>
                    <a:pt x="1691" y="3915"/>
                  </a:lnTo>
                  <a:cubicBezTo>
                    <a:pt x="1686" y="3918"/>
                    <a:pt x="1682" y="3920"/>
                    <a:pt x="1677" y="3923"/>
                  </a:cubicBezTo>
                  <a:cubicBezTo>
                    <a:pt x="1676" y="3920"/>
                    <a:pt x="1674" y="3918"/>
                    <a:pt x="1673" y="3915"/>
                  </a:cubicBezTo>
                  <a:cubicBezTo>
                    <a:pt x="1670" y="3906"/>
                    <a:pt x="1667" y="3898"/>
                    <a:pt x="1664" y="3889"/>
                  </a:cubicBezTo>
                  <a:cubicBezTo>
                    <a:pt x="1667" y="3883"/>
                    <a:pt x="1670" y="3878"/>
                    <a:pt x="1673" y="3872"/>
                  </a:cubicBezTo>
                  <a:lnTo>
                    <a:pt x="1664" y="3872"/>
                  </a:lnTo>
                  <a:cubicBezTo>
                    <a:pt x="1655" y="3889"/>
                    <a:pt x="1645" y="3906"/>
                    <a:pt x="1636" y="3923"/>
                  </a:cubicBezTo>
                  <a:lnTo>
                    <a:pt x="1645" y="3923"/>
                  </a:lnTo>
                  <a:cubicBezTo>
                    <a:pt x="1647" y="3932"/>
                    <a:pt x="1648" y="3940"/>
                    <a:pt x="1650" y="3949"/>
                  </a:cubicBezTo>
                  <a:lnTo>
                    <a:pt x="1650" y="3983"/>
                  </a:lnTo>
                  <a:cubicBezTo>
                    <a:pt x="1645" y="3989"/>
                    <a:pt x="1641" y="3994"/>
                    <a:pt x="1636" y="4000"/>
                  </a:cubicBezTo>
                  <a:cubicBezTo>
                    <a:pt x="1634" y="4003"/>
                    <a:pt x="1633" y="4006"/>
                    <a:pt x="1631" y="4009"/>
                  </a:cubicBezTo>
                  <a:cubicBezTo>
                    <a:pt x="1627" y="3989"/>
                    <a:pt x="1622" y="3969"/>
                    <a:pt x="1618" y="3949"/>
                  </a:cubicBezTo>
                  <a:cubicBezTo>
                    <a:pt x="1607" y="3955"/>
                    <a:pt x="1596" y="3960"/>
                    <a:pt x="1585" y="3966"/>
                  </a:cubicBezTo>
                  <a:cubicBezTo>
                    <a:pt x="1587" y="3969"/>
                    <a:pt x="1588" y="3971"/>
                    <a:pt x="1590" y="3974"/>
                  </a:cubicBezTo>
                  <a:cubicBezTo>
                    <a:pt x="1575" y="3986"/>
                    <a:pt x="1559" y="3997"/>
                    <a:pt x="1544" y="4009"/>
                  </a:cubicBezTo>
                  <a:lnTo>
                    <a:pt x="1539" y="4009"/>
                  </a:lnTo>
                  <a:lnTo>
                    <a:pt x="1410" y="4188"/>
                  </a:lnTo>
                  <a:cubicBezTo>
                    <a:pt x="1409" y="4182"/>
                    <a:pt x="1407" y="4177"/>
                    <a:pt x="1406" y="4171"/>
                  </a:cubicBezTo>
                  <a:cubicBezTo>
                    <a:pt x="1403" y="4185"/>
                    <a:pt x="1399" y="4200"/>
                    <a:pt x="1396" y="4214"/>
                  </a:cubicBezTo>
                  <a:cubicBezTo>
                    <a:pt x="1399" y="4217"/>
                    <a:pt x="1403" y="4219"/>
                    <a:pt x="1406" y="4222"/>
                  </a:cubicBezTo>
                  <a:cubicBezTo>
                    <a:pt x="1401" y="4228"/>
                    <a:pt x="1397" y="4233"/>
                    <a:pt x="1392" y="4239"/>
                  </a:cubicBezTo>
                  <a:cubicBezTo>
                    <a:pt x="1384" y="4242"/>
                    <a:pt x="1377" y="4245"/>
                    <a:pt x="1369" y="4248"/>
                  </a:cubicBezTo>
                  <a:cubicBezTo>
                    <a:pt x="1364" y="4251"/>
                    <a:pt x="1360" y="4253"/>
                    <a:pt x="1355" y="4256"/>
                  </a:cubicBezTo>
                  <a:cubicBezTo>
                    <a:pt x="1353" y="4253"/>
                    <a:pt x="1352" y="4251"/>
                    <a:pt x="1350" y="4248"/>
                  </a:cubicBezTo>
                  <a:cubicBezTo>
                    <a:pt x="1344" y="4291"/>
                    <a:pt x="1338" y="4333"/>
                    <a:pt x="1332" y="4376"/>
                  </a:cubicBezTo>
                  <a:lnTo>
                    <a:pt x="1332" y="4436"/>
                  </a:lnTo>
                  <a:cubicBezTo>
                    <a:pt x="1329" y="4445"/>
                    <a:pt x="1326" y="4453"/>
                    <a:pt x="1323" y="4462"/>
                  </a:cubicBezTo>
                  <a:cubicBezTo>
                    <a:pt x="1317" y="4470"/>
                    <a:pt x="1310" y="4479"/>
                    <a:pt x="1304" y="4487"/>
                  </a:cubicBezTo>
                  <a:cubicBezTo>
                    <a:pt x="1299" y="4481"/>
                    <a:pt x="1295" y="4476"/>
                    <a:pt x="1290" y="4470"/>
                  </a:cubicBezTo>
                  <a:cubicBezTo>
                    <a:pt x="1281" y="4479"/>
                    <a:pt x="1272" y="4487"/>
                    <a:pt x="1263" y="4496"/>
                  </a:cubicBezTo>
                  <a:cubicBezTo>
                    <a:pt x="1261" y="4513"/>
                    <a:pt x="1260" y="4530"/>
                    <a:pt x="1258" y="4547"/>
                  </a:cubicBezTo>
                  <a:lnTo>
                    <a:pt x="1249" y="4487"/>
                  </a:lnTo>
                  <a:cubicBezTo>
                    <a:pt x="1244" y="4490"/>
                    <a:pt x="1240" y="4493"/>
                    <a:pt x="1235" y="4496"/>
                  </a:cubicBezTo>
                  <a:lnTo>
                    <a:pt x="1221" y="4496"/>
                  </a:lnTo>
                  <a:cubicBezTo>
                    <a:pt x="1220" y="4493"/>
                    <a:pt x="1218" y="4490"/>
                    <a:pt x="1217" y="4487"/>
                  </a:cubicBezTo>
                  <a:cubicBezTo>
                    <a:pt x="1211" y="4461"/>
                    <a:pt x="1204" y="4436"/>
                    <a:pt x="1198" y="4410"/>
                  </a:cubicBezTo>
                  <a:cubicBezTo>
                    <a:pt x="1184" y="4384"/>
                    <a:pt x="1171" y="4359"/>
                    <a:pt x="1157" y="4333"/>
                  </a:cubicBezTo>
                  <a:cubicBezTo>
                    <a:pt x="1154" y="4322"/>
                    <a:pt x="1150" y="4310"/>
                    <a:pt x="1147" y="4299"/>
                  </a:cubicBezTo>
                  <a:lnTo>
                    <a:pt x="1147" y="4274"/>
                  </a:lnTo>
                  <a:cubicBezTo>
                    <a:pt x="1152" y="4268"/>
                    <a:pt x="1156" y="4262"/>
                    <a:pt x="1161" y="4256"/>
                  </a:cubicBezTo>
                  <a:cubicBezTo>
                    <a:pt x="1164" y="4253"/>
                    <a:pt x="1168" y="4251"/>
                    <a:pt x="1171" y="4248"/>
                  </a:cubicBezTo>
                  <a:cubicBezTo>
                    <a:pt x="1172" y="4237"/>
                    <a:pt x="1174" y="4225"/>
                    <a:pt x="1175" y="4214"/>
                  </a:cubicBezTo>
                  <a:lnTo>
                    <a:pt x="1263" y="4171"/>
                  </a:lnTo>
                  <a:cubicBezTo>
                    <a:pt x="1258" y="4160"/>
                    <a:pt x="1254" y="4148"/>
                    <a:pt x="1249" y="4137"/>
                  </a:cubicBezTo>
                  <a:cubicBezTo>
                    <a:pt x="1247" y="4111"/>
                    <a:pt x="1246" y="4086"/>
                    <a:pt x="1244" y="4060"/>
                  </a:cubicBezTo>
                  <a:cubicBezTo>
                    <a:pt x="1239" y="4066"/>
                    <a:pt x="1235" y="4071"/>
                    <a:pt x="1230" y="4077"/>
                  </a:cubicBezTo>
                  <a:lnTo>
                    <a:pt x="1221" y="4026"/>
                  </a:lnTo>
                  <a:lnTo>
                    <a:pt x="1217" y="4026"/>
                  </a:lnTo>
                  <a:cubicBezTo>
                    <a:pt x="1215" y="4012"/>
                    <a:pt x="1214" y="3997"/>
                    <a:pt x="1212" y="3983"/>
                  </a:cubicBezTo>
                  <a:cubicBezTo>
                    <a:pt x="1209" y="3977"/>
                    <a:pt x="1206" y="3972"/>
                    <a:pt x="1203" y="3966"/>
                  </a:cubicBezTo>
                  <a:cubicBezTo>
                    <a:pt x="1192" y="3960"/>
                    <a:pt x="1182" y="3955"/>
                    <a:pt x="1171" y="3949"/>
                  </a:cubicBezTo>
                  <a:lnTo>
                    <a:pt x="1111" y="3940"/>
                  </a:lnTo>
                  <a:cubicBezTo>
                    <a:pt x="1106" y="3943"/>
                    <a:pt x="1102" y="3946"/>
                    <a:pt x="1097" y="3949"/>
                  </a:cubicBezTo>
                  <a:cubicBezTo>
                    <a:pt x="1077" y="3932"/>
                    <a:pt x="1057" y="3914"/>
                    <a:pt x="1037" y="3897"/>
                  </a:cubicBezTo>
                  <a:cubicBezTo>
                    <a:pt x="1038" y="3906"/>
                    <a:pt x="1040" y="3914"/>
                    <a:pt x="1041" y="3923"/>
                  </a:cubicBezTo>
                  <a:lnTo>
                    <a:pt x="1097" y="4009"/>
                  </a:lnTo>
                  <a:lnTo>
                    <a:pt x="1097" y="4120"/>
                  </a:lnTo>
                  <a:lnTo>
                    <a:pt x="1097" y="4162"/>
                  </a:lnTo>
                  <a:lnTo>
                    <a:pt x="1097" y="4197"/>
                  </a:lnTo>
                  <a:cubicBezTo>
                    <a:pt x="1089" y="4242"/>
                    <a:pt x="1082" y="4288"/>
                    <a:pt x="1074" y="4333"/>
                  </a:cubicBezTo>
                  <a:lnTo>
                    <a:pt x="1074" y="4376"/>
                  </a:lnTo>
                  <a:lnTo>
                    <a:pt x="1083" y="4385"/>
                  </a:lnTo>
                  <a:lnTo>
                    <a:pt x="1097" y="4385"/>
                  </a:lnTo>
                  <a:cubicBezTo>
                    <a:pt x="1102" y="4393"/>
                    <a:pt x="1106" y="4402"/>
                    <a:pt x="1111" y="4410"/>
                  </a:cubicBezTo>
                  <a:cubicBezTo>
                    <a:pt x="1115" y="4421"/>
                    <a:pt x="1120" y="4433"/>
                    <a:pt x="1124" y="4444"/>
                  </a:cubicBezTo>
                  <a:lnTo>
                    <a:pt x="1124" y="4470"/>
                  </a:lnTo>
                  <a:cubicBezTo>
                    <a:pt x="1121" y="4484"/>
                    <a:pt x="1118" y="4499"/>
                    <a:pt x="1115" y="4513"/>
                  </a:cubicBezTo>
                  <a:lnTo>
                    <a:pt x="1115" y="4530"/>
                  </a:lnTo>
                  <a:lnTo>
                    <a:pt x="1115" y="4573"/>
                  </a:lnTo>
                  <a:cubicBezTo>
                    <a:pt x="1110" y="4584"/>
                    <a:pt x="1106" y="4596"/>
                    <a:pt x="1101" y="4607"/>
                  </a:cubicBezTo>
                  <a:cubicBezTo>
                    <a:pt x="1100" y="4624"/>
                    <a:pt x="1098" y="4641"/>
                    <a:pt x="1097" y="4658"/>
                  </a:cubicBezTo>
                  <a:cubicBezTo>
                    <a:pt x="1098" y="4669"/>
                    <a:pt x="1100" y="4681"/>
                    <a:pt x="1101" y="4692"/>
                  </a:cubicBezTo>
                  <a:cubicBezTo>
                    <a:pt x="1100" y="4721"/>
                    <a:pt x="1098" y="4749"/>
                    <a:pt x="1097" y="4778"/>
                  </a:cubicBezTo>
                  <a:cubicBezTo>
                    <a:pt x="1092" y="4767"/>
                    <a:pt x="1088" y="4755"/>
                    <a:pt x="1083" y="4744"/>
                  </a:cubicBezTo>
                  <a:lnTo>
                    <a:pt x="1083" y="4718"/>
                  </a:lnTo>
                  <a:cubicBezTo>
                    <a:pt x="1080" y="4709"/>
                    <a:pt x="1077" y="4701"/>
                    <a:pt x="1074" y="4692"/>
                  </a:cubicBezTo>
                  <a:lnTo>
                    <a:pt x="1065" y="4692"/>
                  </a:lnTo>
                  <a:cubicBezTo>
                    <a:pt x="1060" y="4701"/>
                    <a:pt x="1056" y="4709"/>
                    <a:pt x="1051" y="4718"/>
                  </a:cubicBezTo>
                  <a:cubicBezTo>
                    <a:pt x="1052" y="4709"/>
                    <a:pt x="1054" y="4701"/>
                    <a:pt x="1055" y="4692"/>
                  </a:cubicBezTo>
                  <a:lnTo>
                    <a:pt x="1055" y="4667"/>
                  </a:lnTo>
                  <a:cubicBezTo>
                    <a:pt x="1046" y="4653"/>
                    <a:pt x="1037" y="4638"/>
                    <a:pt x="1028" y="4624"/>
                  </a:cubicBezTo>
                  <a:lnTo>
                    <a:pt x="1005" y="4624"/>
                  </a:lnTo>
                  <a:cubicBezTo>
                    <a:pt x="996" y="4610"/>
                    <a:pt x="986" y="4595"/>
                    <a:pt x="977" y="4581"/>
                  </a:cubicBezTo>
                  <a:cubicBezTo>
                    <a:pt x="972" y="4590"/>
                    <a:pt x="968" y="4598"/>
                    <a:pt x="963" y="4607"/>
                  </a:cubicBezTo>
                  <a:lnTo>
                    <a:pt x="963" y="4632"/>
                  </a:lnTo>
                  <a:cubicBezTo>
                    <a:pt x="948" y="4661"/>
                    <a:pt x="932" y="4689"/>
                    <a:pt x="917" y="4718"/>
                  </a:cubicBezTo>
                  <a:cubicBezTo>
                    <a:pt x="908" y="4727"/>
                    <a:pt x="898" y="4735"/>
                    <a:pt x="889" y="4744"/>
                  </a:cubicBezTo>
                  <a:lnTo>
                    <a:pt x="880" y="4744"/>
                  </a:lnTo>
                  <a:cubicBezTo>
                    <a:pt x="874" y="4752"/>
                    <a:pt x="868" y="4761"/>
                    <a:pt x="862" y="4769"/>
                  </a:cubicBezTo>
                  <a:cubicBezTo>
                    <a:pt x="860" y="4778"/>
                    <a:pt x="859" y="4786"/>
                    <a:pt x="857" y="4795"/>
                  </a:cubicBezTo>
                  <a:cubicBezTo>
                    <a:pt x="848" y="4812"/>
                    <a:pt x="838" y="4829"/>
                    <a:pt x="829" y="4846"/>
                  </a:cubicBezTo>
                  <a:cubicBezTo>
                    <a:pt x="825" y="4849"/>
                    <a:pt x="820" y="4852"/>
                    <a:pt x="816" y="4855"/>
                  </a:cubicBezTo>
                  <a:lnTo>
                    <a:pt x="816" y="4940"/>
                  </a:lnTo>
                  <a:cubicBezTo>
                    <a:pt x="837" y="5020"/>
                    <a:pt x="859" y="5099"/>
                    <a:pt x="880" y="5179"/>
                  </a:cubicBezTo>
                  <a:lnTo>
                    <a:pt x="880" y="5188"/>
                  </a:lnTo>
                  <a:cubicBezTo>
                    <a:pt x="874" y="5182"/>
                    <a:pt x="868" y="5177"/>
                    <a:pt x="862" y="5171"/>
                  </a:cubicBezTo>
                  <a:lnTo>
                    <a:pt x="857" y="5171"/>
                  </a:lnTo>
                  <a:cubicBezTo>
                    <a:pt x="845" y="5162"/>
                    <a:pt x="832" y="5154"/>
                    <a:pt x="820" y="5145"/>
                  </a:cubicBezTo>
                  <a:lnTo>
                    <a:pt x="820" y="5154"/>
                  </a:lnTo>
                  <a:cubicBezTo>
                    <a:pt x="819" y="5160"/>
                    <a:pt x="817" y="5165"/>
                    <a:pt x="816" y="5171"/>
                  </a:cubicBezTo>
                  <a:cubicBezTo>
                    <a:pt x="805" y="5162"/>
                    <a:pt x="794" y="5154"/>
                    <a:pt x="783" y="5145"/>
                  </a:cubicBezTo>
                  <a:lnTo>
                    <a:pt x="756" y="5103"/>
                  </a:lnTo>
                  <a:lnTo>
                    <a:pt x="742" y="5103"/>
                  </a:lnTo>
                  <a:cubicBezTo>
                    <a:pt x="737" y="5100"/>
                    <a:pt x="733" y="5097"/>
                    <a:pt x="728" y="5094"/>
                  </a:cubicBezTo>
                  <a:cubicBezTo>
                    <a:pt x="722" y="5103"/>
                    <a:pt x="716" y="5111"/>
                    <a:pt x="710" y="5120"/>
                  </a:cubicBezTo>
                  <a:cubicBezTo>
                    <a:pt x="707" y="5128"/>
                    <a:pt x="703" y="5137"/>
                    <a:pt x="700" y="5145"/>
                  </a:cubicBezTo>
                  <a:cubicBezTo>
                    <a:pt x="699" y="5131"/>
                    <a:pt x="697" y="5117"/>
                    <a:pt x="696" y="5103"/>
                  </a:cubicBezTo>
                  <a:cubicBezTo>
                    <a:pt x="702" y="5094"/>
                    <a:pt x="708" y="5086"/>
                    <a:pt x="714" y="5077"/>
                  </a:cubicBezTo>
                  <a:lnTo>
                    <a:pt x="682" y="5068"/>
                  </a:lnTo>
                  <a:cubicBezTo>
                    <a:pt x="679" y="5057"/>
                    <a:pt x="676" y="5045"/>
                    <a:pt x="673" y="5034"/>
                  </a:cubicBezTo>
                  <a:lnTo>
                    <a:pt x="636" y="4991"/>
                  </a:lnTo>
                  <a:cubicBezTo>
                    <a:pt x="631" y="4988"/>
                    <a:pt x="627" y="4986"/>
                    <a:pt x="622" y="4983"/>
                  </a:cubicBezTo>
                  <a:lnTo>
                    <a:pt x="622" y="5034"/>
                  </a:lnTo>
                  <a:cubicBezTo>
                    <a:pt x="617" y="5040"/>
                    <a:pt x="613" y="5045"/>
                    <a:pt x="608" y="5051"/>
                  </a:cubicBezTo>
                  <a:cubicBezTo>
                    <a:pt x="603" y="5057"/>
                    <a:pt x="599" y="5062"/>
                    <a:pt x="594" y="5068"/>
                  </a:cubicBezTo>
                  <a:cubicBezTo>
                    <a:pt x="599" y="5085"/>
                    <a:pt x="603" y="5103"/>
                    <a:pt x="608" y="5120"/>
                  </a:cubicBezTo>
                  <a:cubicBezTo>
                    <a:pt x="610" y="5123"/>
                    <a:pt x="611" y="5125"/>
                    <a:pt x="613" y="5128"/>
                  </a:cubicBezTo>
                  <a:cubicBezTo>
                    <a:pt x="618" y="5145"/>
                    <a:pt x="622" y="5162"/>
                    <a:pt x="627" y="5179"/>
                  </a:cubicBezTo>
                  <a:cubicBezTo>
                    <a:pt x="635" y="5191"/>
                    <a:pt x="642" y="5202"/>
                    <a:pt x="650" y="5214"/>
                  </a:cubicBezTo>
                  <a:cubicBezTo>
                    <a:pt x="662" y="5205"/>
                    <a:pt x="675" y="5197"/>
                    <a:pt x="687" y="5188"/>
                  </a:cubicBezTo>
                  <a:cubicBezTo>
                    <a:pt x="691" y="5234"/>
                    <a:pt x="696" y="5279"/>
                    <a:pt x="700" y="5325"/>
                  </a:cubicBezTo>
                  <a:cubicBezTo>
                    <a:pt x="703" y="5333"/>
                    <a:pt x="707" y="5342"/>
                    <a:pt x="710" y="5350"/>
                  </a:cubicBezTo>
                  <a:cubicBezTo>
                    <a:pt x="702" y="5342"/>
                    <a:pt x="695" y="5333"/>
                    <a:pt x="687" y="5325"/>
                  </a:cubicBezTo>
                  <a:cubicBezTo>
                    <a:pt x="681" y="5333"/>
                    <a:pt x="674" y="5342"/>
                    <a:pt x="668" y="5350"/>
                  </a:cubicBezTo>
                  <a:lnTo>
                    <a:pt x="668" y="5368"/>
                  </a:lnTo>
                  <a:lnTo>
                    <a:pt x="668" y="5376"/>
                  </a:lnTo>
                  <a:lnTo>
                    <a:pt x="581" y="5316"/>
                  </a:lnTo>
                  <a:cubicBezTo>
                    <a:pt x="576" y="5299"/>
                    <a:pt x="572" y="5282"/>
                    <a:pt x="567" y="5265"/>
                  </a:cubicBezTo>
                  <a:cubicBezTo>
                    <a:pt x="565" y="5262"/>
                    <a:pt x="564" y="5259"/>
                    <a:pt x="562" y="5256"/>
                  </a:cubicBezTo>
                  <a:cubicBezTo>
                    <a:pt x="557" y="5248"/>
                    <a:pt x="553" y="5239"/>
                    <a:pt x="548" y="5231"/>
                  </a:cubicBezTo>
                  <a:cubicBezTo>
                    <a:pt x="544" y="5225"/>
                    <a:pt x="539" y="5220"/>
                    <a:pt x="535" y="5214"/>
                  </a:cubicBezTo>
                  <a:cubicBezTo>
                    <a:pt x="532" y="5220"/>
                    <a:pt x="528" y="5225"/>
                    <a:pt x="525" y="5231"/>
                  </a:cubicBezTo>
                  <a:lnTo>
                    <a:pt x="521" y="5231"/>
                  </a:lnTo>
                  <a:cubicBezTo>
                    <a:pt x="512" y="5222"/>
                    <a:pt x="502" y="5214"/>
                    <a:pt x="493" y="5205"/>
                  </a:cubicBezTo>
                  <a:cubicBezTo>
                    <a:pt x="491" y="5196"/>
                    <a:pt x="490" y="5188"/>
                    <a:pt x="488" y="5179"/>
                  </a:cubicBezTo>
                  <a:cubicBezTo>
                    <a:pt x="484" y="5182"/>
                    <a:pt x="479" y="5185"/>
                    <a:pt x="475" y="5188"/>
                  </a:cubicBezTo>
                  <a:lnTo>
                    <a:pt x="475" y="5171"/>
                  </a:lnTo>
                  <a:cubicBezTo>
                    <a:pt x="479" y="5165"/>
                    <a:pt x="484" y="5160"/>
                    <a:pt x="488" y="5154"/>
                  </a:cubicBezTo>
                  <a:lnTo>
                    <a:pt x="488" y="5068"/>
                  </a:lnTo>
                  <a:cubicBezTo>
                    <a:pt x="484" y="5062"/>
                    <a:pt x="479" y="5057"/>
                    <a:pt x="475" y="5051"/>
                  </a:cubicBezTo>
                  <a:lnTo>
                    <a:pt x="475" y="5017"/>
                  </a:lnTo>
                  <a:cubicBezTo>
                    <a:pt x="467" y="4989"/>
                    <a:pt x="460" y="4960"/>
                    <a:pt x="452" y="4932"/>
                  </a:cubicBezTo>
                  <a:cubicBezTo>
                    <a:pt x="455" y="4926"/>
                    <a:pt x="458" y="4921"/>
                    <a:pt x="461" y="4915"/>
                  </a:cubicBezTo>
                  <a:cubicBezTo>
                    <a:pt x="466" y="4912"/>
                    <a:pt x="470" y="4909"/>
                    <a:pt x="475" y="4906"/>
                  </a:cubicBezTo>
                  <a:cubicBezTo>
                    <a:pt x="476" y="4872"/>
                    <a:pt x="478" y="4837"/>
                    <a:pt x="479" y="4803"/>
                  </a:cubicBezTo>
                  <a:lnTo>
                    <a:pt x="479" y="4778"/>
                  </a:lnTo>
                  <a:cubicBezTo>
                    <a:pt x="478" y="4772"/>
                    <a:pt x="476" y="4767"/>
                    <a:pt x="475" y="4761"/>
                  </a:cubicBezTo>
                  <a:cubicBezTo>
                    <a:pt x="472" y="4747"/>
                    <a:pt x="468" y="4732"/>
                    <a:pt x="465" y="4718"/>
                  </a:cubicBezTo>
                  <a:cubicBezTo>
                    <a:pt x="464" y="4715"/>
                    <a:pt x="462" y="4712"/>
                    <a:pt x="461" y="4709"/>
                  </a:cubicBezTo>
                  <a:cubicBezTo>
                    <a:pt x="455" y="4703"/>
                    <a:pt x="448" y="4698"/>
                    <a:pt x="442" y="4692"/>
                  </a:cubicBezTo>
                  <a:cubicBezTo>
                    <a:pt x="439" y="4684"/>
                    <a:pt x="436" y="4675"/>
                    <a:pt x="433" y="4667"/>
                  </a:cubicBezTo>
                  <a:lnTo>
                    <a:pt x="419" y="4667"/>
                  </a:lnTo>
                  <a:lnTo>
                    <a:pt x="401" y="4658"/>
                  </a:lnTo>
                  <a:lnTo>
                    <a:pt x="401" y="4624"/>
                  </a:lnTo>
                  <a:lnTo>
                    <a:pt x="401" y="4607"/>
                  </a:lnTo>
                  <a:lnTo>
                    <a:pt x="378" y="4607"/>
                  </a:lnTo>
                  <a:cubicBezTo>
                    <a:pt x="366" y="4581"/>
                    <a:pt x="353" y="4556"/>
                    <a:pt x="341" y="4530"/>
                  </a:cubicBezTo>
                  <a:cubicBezTo>
                    <a:pt x="343" y="4527"/>
                    <a:pt x="344" y="4524"/>
                    <a:pt x="346" y="4521"/>
                  </a:cubicBezTo>
                  <a:cubicBezTo>
                    <a:pt x="341" y="4510"/>
                    <a:pt x="337" y="4498"/>
                    <a:pt x="332" y="4487"/>
                  </a:cubicBezTo>
                  <a:cubicBezTo>
                    <a:pt x="330" y="4479"/>
                    <a:pt x="329" y="4470"/>
                    <a:pt x="327" y="4462"/>
                  </a:cubicBezTo>
                  <a:cubicBezTo>
                    <a:pt x="322" y="4453"/>
                    <a:pt x="318" y="4445"/>
                    <a:pt x="313" y="4436"/>
                  </a:cubicBezTo>
                  <a:cubicBezTo>
                    <a:pt x="309" y="4430"/>
                    <a:pt x="304" y="4425"/>
                    <a:pt x="300" y="4419"/>
                  </a:cubicBezTo>
                  <a:cubicBezTo>
                    <a:pt x="303" y="4410"/>
                    <a:pt x="306" y="4402"/>
                    <a:pt x="309" y="4393"/>
                  </a:cubicBezTo>
                  <a:cubicBezTo>
                    <a:pt x="317" y="4390"/>
                    <a:pt x="324" y="4388"/>
                    <a:pt x="332" y="4385"/>
                  </a:cubicBezTo>
                  <a:cubicBezTo>
                    <a:pt x="340" y="4396"/>
                    <a:pt x="347" y="4408"/>
                    <a:pt x="355" y="4419"/>
                  </a:cubicBezTo>
                  <a:lnTo>
                    <a:pt x="355" y="4444"/>
                  </a:lnTo>
                  <a:cubicBezTo>
                    <a:pt x="360" y="4453"/>
                    <a:pt x="364" y="4461"/>
                    <a:pt x="369" y="4470"/>
                  </a:cubicBezTo>
                  <a:cubicBezTo>
                    <a:pt x="380" y="4487"/>
                    <a:pt x="390" y="4504"/>
                    <a:pt x="401" y="4521"/>
                  </a:cubicBezTo>
                  <a:cubicBezTo>
                    <a:pt x="403" y="4518"/>
                    <a:pt x="404" y="4516"/>
                    <a:pt x="406" y="4513"/>
                  </a:cubicBezTo>
                  <a:lnTo>
                    <a:pt x="406" y="4496"/>
                  </a:lnTo>
                  <a:cubicBezTo>
                    <a:pt x="410" y="4504"/>
                    <a:pt x="415" y="4513"/>
                    <a:pt x="419" y="4521"/>
                  </a:cubicBezTo>
                  <a:cubicBezTo>
                    <a:pt x="422" y="4524"/>
                    <a:pt x="426" y="4527"/>
                    <a:pt x="429" y="4530"/>
                  </a:cubicBezTo>
                  <a:cubicBezTo>
                    <a:pt x="430" y="4527"/>
                    <a:pt x="432" y="4524"/>
                    <a:pt x="433" y="4521"/>
                  </a:cubicBezTo>
                  <a:lnTo>
                    <a:pt x="442" y="4530"/>
                  </a:lnTo>
                  <a:cubicBezTo>
                    <a:pt x="444" y="4527"/>
                    <a:pt x="445" y="4524"/>
                    <a:pt x="447" y="4521"/>
                  </a:cubicBezTo>
                  <a:lnTo>
                    <a:pt x="452" y="4521"/>
                  </a:lnTo>
                  <a:cubicBezTo>
                    <a:pt x="455" y="4538"/>
                    <a:pt x="458" y="4556"/>
                    <a:pt x="461" y="4573"/>
                  </a:cubicBezTo>
                  <a:cubicBezTo>
                    <a:pt x="467" y="4567"/>
                    <a:pt x="473" y="4562"/>
                    <a:pt x="479" y="4556"/>
                  </a:cubicBezTo>
                  <a:cubicBezTo>
                    <a:pt x="487" y="4562"/>
                    <a:pt x="494" y="4567"/>
                    <a:pt x="502" y="4573"/>
                  </a:cubicBezTo>
                  <a:cubicBezTo>
                    <a:pt x="504" y="4581"/>
                    <a:pt x="505" y="4590"/>
                    <a:pt x="507" y="4598"/>
                  </a:cubicBezTo>
                  <a:lnTo>
                    <a:pt x="525" y="4598"/>
                  </a:lnTo>
                  <a:cubicBezTo>
                    <a:pt x="528" y="4607"/>
                    <a:pt x="532" y="4615"/>
                    <a:pt x="535" y="4624"/>
                  </a:cubicBezTo>
                  <a:cubicBezTo>
                    <a:pt x="555" y="4635"/>
                    <a:pt x="574" y="4647"/>
                    <a:pt x="594" y="4658"/>
                  </a:cubicBezTo>
                  <a:lnTo>
                    <a:pt x="627" y="4658"/>
                  </a:lnTo>
                  <a:cubicBezTo>
                    <a:pt x="636" y="4667"/>
                    <a:pt x="645" y="4675"/>
                    <a:pt x="654" y="4684"/>
                  </a:cubicBezTo>
                  <a:cubicBezTo>
                    <a:pt x="659" y="4692"/>
                    <a:pt x="663" y="4701"/>
                    <a:pt x="668" y="4709"/>
                  </a:cubicBezTo>
                  <a:lnTo>
                    <a:pt x="747" y="4718"/>
                  </a:lnTo>
                  <a:cubicBezTo>
                    <a:pt x="751" y="4715"/>
                    <a:pt x="756" y="4712"/>
                    <a:pt x="760" y="4709"/>
                  </a:cubicBezTo>
                  <a:cubicBezTo>
                    <a:pt x="765" y="4703"/>
                    <a:pt x="769" y="4698"/>
                    <a:pt x="774" y="4692"/>
                  </a:cubicBezTo>
                  <a:lnTo>
                    <a:pt x="829" y="4658"/>
                  </a:lnTo>
                  <a:cubicBezTo>
                    <a:pt x="854" y="4604"/>
                    <a:pt x="878" y="4550"/>
                    <a:pt x="903" y="4496"/>
                  </a:cubicBezTo>
                  <a:cubicBezTo>
                    <a:pt x="908" y="4459"/>
                    <a:pt x="912" y="4422"/>
                    <a:pt x="917" y="4385"/>
                  </a:cubicBezTo>
                  <a:cubicBezTo>
                    <a:pt x="912" y="4382"/>
                    <a:pt x="908" y="4379"/>
                    <a:pt x="903" y="4376"/>
                  </a:cubicBezTo>
                  <a:lnTo>
                    <a:pt x="903" y="4376"/>
                  </a:lnTo>
                  <a:cubicBezTo>
                    <a:pt x="898" y="4330"/>
                    <a:pt x="894" y="4285"/>
                    <a:pt x="889" y="4239"/>
                  </a:cubicBezTo>
                  <a:cubicBezTo>
                    <a:pt x="886" y="4231"/>
                    <a:pt x="883" y="4222"/>
                    <a:pt x="880" y="4214"/>
                  </a:cubicBezTo>
                  <a:cubicBezTo>
                    <a:pt x="874" y="4205"/>
                    <a:pt x="868" y="4197"/>
                    <a:pt x="862" y="4188"/>
                  </a:cubicBezTo>
                  <a:cubicBezTo>
                    <a:pt x="860" y="4191"/>
                    <a:pt x="859" y="4194"/>
                    <a:pt x="857" y="4197"/>
                  </a:cubicBezTo>
                  <a:lnTo>
                    <a:pt x="848" y="4188"/>
                  </a:lnTo>
                  <a:lnTo>
                    <a:pt x="848" y="4162"/>
                  </a:lnTo>
                  <a:cubicBezTo>
                    <a:pt x="842" y="4148"/>
                    <a:pt x="835" y="4134"/>
                    <a:pt x="829" y="4120"/>
                  </a:cubicBezTo>
                  <a:cubicBezTo>
                    <a:pt x="826" y="4114"/>
                    <a:pt x="823" y="4109"/>
                    <a:pt x="820" y="4103"/>
                  </a:cubicBezTo>
                  <a:cubicBezTo>
                    <a:pt x="815" y="4094"/>
                    <a:pt x="811" y="4086"/>
                    <a:pt x="806" y="4077"/>
                  </a:cubicBezTo>
                  <a:cubicBezTo>
                    <a:pt x="809" y="4088"/>
                    <a:pt x="813" y="4100"/>
                    <a:pt x="816" y="4111"/>
                  </a:cubicBezTo>
                  <a:lnTo>
                    <a:pt x="802" y="4111"/>
                  </a:lnTo>
                  <a:cubicBezTo>
                    <a:pt x="791" y="4094"/>
                    <a:pt x="781" y="4077"/>
                    <a:pt x="770" y="4060"/>
                  </a:cubicBezTo>
                  <a:cubicBezTo>
                    <a:pt x="767" y="4066"/>
                    <a:pt x="763" y="4071"/>
                    <a:pt x="760" y="4077"/>
                  </a:cubicBezTo>
                  <a:lnTo>
                    <a:pt x="760" y="4060"/>
                  </a:lnTo>
                  <a:cubicBezTo>
                    <a:pt x="759" y="4051"/>
                    <a:pt x="757" y="4043"/>
                    <a:pt x="756" y="4034"/>
                  </a:cubicBezTo>
                  <a:cubicBezTo>
                    <a:pt x="751" y="4023"/>
                    <a:pt x="747" y="4011"/>
                    <a:pt x="742" y="4000"/>
                  </a:cubicBezTo>
                  <a:cubicBezTo>
                    <a:pt x="744" y="4011"/>
                    <a:pt x="745" y="4023"/>
                    <a:pt x="747" y="4034"/>
                  </a:cubicBezTo>
                  <a:cubicBezTo>
                    <a:pt x="739" y="4031"/>
                    <a:pt x="732" y="4029"/>
                    <a:pt x="724" y="4026"/>
                  </a:cubicBezTo>
                  <a:cubicBezTo>
                    <a:pt x="721" y="4017"/>
                    <a:pt x="717" y="4009"/>
                    <a:pt x="714" y="4000"/>
                  </a:cubicBezTo>
                  <a:lnTo>
                    <a:pt x="714" y="3983"/>
                  </a:lnTo>
                  <a:lnTo>
                    <a:pt x="553" y="3726"/>
                  </a:lnTo>
                  <a:cubicBezTo>
                    <a:pt x="538" y="3723"/>
                    <a:pt x="522" y="3721"/>
                    <a:pt x="507" y="3718"/>
                  </a:cubicBezTo>
                  <a:cubicBezTo>
                    <a:pt x="510" y="3721"/>
                    <a:pt x="513" y="3723"/>
                    <a:pt x="516" y="3726"/>
                  </a:cubicBezTo>
                  <a:lnTo>
                    <a:pt x="507" y="3735"/>
                  </a:lnTo>
                  <a:lnTo>
                    <a:pt x="502" y="3735"/>
                  </a:lnTo>
                  <a:lnTo>
                    <a:pt x="419" y="3675"/>
                  </a:lnTo>
                  <a:lnTo>
                    <a:pt x="419" y="3692"/>
                  </a:lnTo>
                  <a:lnTo>
                    <a:pt x="401" y="3701"/>
                  </a:lnTo>
                  <a:cubicBezTo>
                    <a:pt x="396" y="3707"/>
                    <a:pt x="392" y="3712"/>
                    <a:pt x="387" y="3718"/>
                  </a:cubicBezTo>
                  <a:lnTo>
                    <a:pt x="387" y="3692"/>
                  </a:lnTo>
                  <a:cubicBezTo>
                    <a:pt x="384" y="3686"/>
                    <a:pt x="381" y="3681"/>
                    <a:pt x="378" y="3675"/>
                  </a:cubicBezTo>
                  <a:lnTo>
                    <a:pt x="378" y="3650"/>
                  </a:lnTo>
                  <a:lnTo>
                    <a:pt x="378" y="3650"/>
                  </a:lnTo>
                  <a:cubicBezTo>
                    <a:pt x="370" y="3658"/>
                    <a:pt x="363" y="3667"/>
                    <a:pt x="355" y="3675"/>
                  </a:cubicBezTo>
                  <a:cubicBezTo>
                    <a:pt x="356" y="3664"/>
                    <a:pt x="358" y="3652"/>
                    <a:pt x="359" y="3641"/>
                  </a:cubicBezTo>
                  <a:cubicBezTo>
                    <a:pt x="355" y="3644"/>
                    <a:pt x="350" y="3647"/>
                    <a:pt x="346" y="3650"/>
                  </a:cubicBezTo>
                  <a:cubicBezTo>
                    <a:pt x="349" y="3641"/>
                    <a:pt x="352" y="3633"/>
                    <a:pt x="355" y="3624"/>
                  </a:cubicBezTo>
                  <a:lnTo>
                    <a:pt x="346" y="3624"/>
                  </a:lnTo>
                  <a:lnTo>
                    <a:pt x="341" y="3624"/>
                  </a:lnTo>
                  <a:cubicBezTo>
                    <a:pt x="333" y="3630"/>
                    <a:pt x="326" y="3635"/>
                    <a:pt x="318" y="3641"/>
                  </a:cubicBezTo>
                  <a:cubicBezTo>
                    <a:pt x="321" y="3635"/>
                    <a:pt x="324" y="3630"/>
                    <a:pt x="327" y="3624"/>
                  </a:cubicBezTo>
                  <a:lnTo>
                    <a:pt x="318" y="3615"/>
                  </a:lnTo>
                  <a:lnTo>
                    <a:pt x="318" y="3598"/>
                  </a:lnTo>
                  <a:lnTo>
                    <a:pt x="300" y="3598"/>
                  </a:lnTo>
                  <a:lnTo>
                    <a:pt x="309" y="3538"/>
                  </a:lnTo>
                  <a:cubicBezTo>
                    <a:pt x="310" y="3547"/>
                    <a:pt x="312" y="3555"/>
                    <a:pt x="313" y="3564"/>
                  </a:cubicBezTo>
                  <a:cubicBezTo>
                    <a:pt x="315" y="3570"/>
                    <a:pt x="316" y="3575"/>
                    <a:pt x="318" y="3581"/>
                  </a:cubicBezTo>
                  <a:cubicBezTo>
                    <a:pt x="321" y="3575"/>
                    <a:pt x="324" y="3570"/>
                    <a:pt x="327" y="3564"/>
                  </a:cubicBezTo>
                  <a:cubicBezTo>
                    <a:pt x="329" y="3573"/>
                    <a:pt x="330" y="3581"/>
                    <a:pt x="332" y="3590"/>
                  </a:cubicBezTo>
                  <a:lnTo>
                    <a:pt x="346" y="3590"/>
                  </a:lnTo>
                  <a:lnTo>
                    <a:pt x="355" y="3590"/>
                  </a:lnTo>
                  <a:cubicBezTo>
                    <a:pt x="360" y="3579"/>
                    <a:pt x="364" y="3567"/>
                    <a:pt x="369" y="3556"/>
                  </a:cubicBezTo>
                  <a:lnTo>
                    <a:pt x="369" y="3538"/>
                  </a:lnTo>
                  <a:cubicBezTo>
                    <a:pt x="361" y="3530"/>
                    <a:pt x="354" y="3521"/>
                    <a:pt x="346" y="3513"/>
                  </a:cubicBezTo>
                  <a:cubicBezTo>
                    <a:pt x="344" y="3519"/>
                    <a:pt x="343" y="3524"/>
                    <a:pt x="341" y="3530"/>
                  </a:cubicBezTo>
                  <a:cubicBezTo>
                    <a:pt x="336" y="3524"/>
                    <a:pt x="332" y="3519"/>
                    <a:pt x="327" y="3513"/>
                  </a:cubicBezTo>
                  <a:lnTo>
                    <a:pt x="327" y="3504"/>
                  </a:lnTo>
                  <a:cubicBezTo>
                    <a:pt x="316" y="3490"/>
                    <a:pt x="306" y="3476"/>
                    <a:pt x="295" y="3462"/>
                  </a:cubicBezTo>
                  <a:cubicBezTo>
                    <a:pt x="297" y="3468"/>
                    <a:pt x="298" y="3473"/>
                    <a:pt x="300" y="3479"/>
                  </a:cubicBezTo>
                  <a:cubicBezTo>
                    <a:pt x="298" y="3490"/>
                    <a:pt x="297" y="3502"/>
                    <a:pt x="295" y="3513"/>
                  </a:cubicBezTo>
                  <a:lnTo>
                    <a:pt x="286" y="3513"/>
                  </a:lnTo>
                  <a:lnTo>
                    <a:pt x="281" y="3513"/>
                  </a:lnTo>
                  <a:lnTo>
                    <a:pt x="281" y="3530"/>
                  </a:lnTo>
                  <a:lnTo>
                    <a:pt x="281" y="3556"/>
                  </a:lnTo>
                  <a:cubicBezTo>
                    <a:pt x="278" y="3559"/>
                    <a:pt x="275" y="3561"/>
                    <a:pt x="272" y="3564"/>
                  </a:cubicBezTo>
                  <a:lnTo>
                    <a:pt x="267" y="3564"/>
                  </a:lnTo>
                  <a:cubicBezTo>
                    <a:pt x="262" y="3555"/>
                    <a:pt x="258" y="3547"/>
                    <a:pt x="253" y="3538"/>
                  </a:cubicBezTo>
                  <a:cubicBezTo>
                    <a:pt x="244" y="3530"/>
                    <a:pt x="235" y="3521"/>
                    <a:pt x="226" y="3513"/>
                  </a:cubicBezTo>
                  <a:lnTo>
                    <a:pt x="226" y="3530"/>
                  </a:lnTo>
                  <a:lnTo>
                    <a:pt x="226" y="3530"/>
                  </a:lnTo>
                  <a:lnTo>
                    <a:pt x="226" y="3530"/>
                  </a:lnTo>
                  <a:lnTo>
                    <a:pt x="226" y="3556"/>
                  </a:lnTo>
                  <a:cubicBezTo>
                    <a:pt x="224" y="3570"/>
                    <a:pt x="223" y="3584"/>
                    <a:pt x="221" y="3598"/>
                  </a:cubicBezTo>
                  <a:lnTo>
                    <a:pt x="207" y="3598"/>
                  </a:lnTo>
                  <a:cubicBezTo>
                    <a:pt x="198" y="3592"/>
                    <a:pt x="189" y="3587"/>
                    <a:pt x="180" y="3581"/>
                  </a:cubicBezTo>
                  <a:lnTo>
                    <a:pt x="171" y="3641"/>
                  </a:lnTo>
                  <a:cubicBezTo>
                    <a:pt x="169" y="3644"/>
                    <a:pt x="168" y="3647"/>
                    <a:pt x="166" y="3650"/>
                  </a:cubicBezTo>
                  <a:lnTo>
                    <a:pt x="124" y="3701"/>
                  </a:lnTo>
                  <a:lnTo>
                    <a:pt x="124" y="3718"/>
                  </a:lnTo>
                  <a:cubicBezTo>
                    <a:pt x="123" y="3724"/>
                    <a:pt x="121" y="3729"/>
                    <a:pt x="120" y="3735"/>
                  </a:cubicBezTo>
                  <a:lnTo>
                    <a:pt x="120" y="3735"/>
                  </a:lnTo>
                  <a:cubicBezTo>
                    <a:pt x="117" y="3744"/>
                    <a:pt x="114" y="3752"/>
                    <a:pt x="111" y="3761"/>
                  </a:cubicBezTo>
                  <a:lnTo>
                    <a:pt x="106" y="3761"/>
                  </a:lnTo>
                  <a:lnTo>
                    <a:pt x="106" y="3761"/>
                  </a:lnTo>
                  <a:cubicBezTo>
                    <a:pt x="95" y="3784"/>
                    <a:pt x="85" y="3806"/>
                    <a:pt x="74" y="3829"/>
                  </a:cubicBezTo>
                  <a:cubicBezTo>
                    <a:pt x="75" y="3832"/>
                    <a:pt x="77" y="3835"/>
                    <a:pt x="78" y="3838"/>
                  </a:cubicBezTo>
                  <a:cubicBezTo>
                    <a:pt x="81" y="3841"/>
                    <a:pt x="85" y="3843"/>
                    <a:pt x="88" y="3846"/>
                  </a:cubicBezTo>
                  <a:cubicBezTo>
                    <a:pt x="80" y="3872"/>
                    <a:pt x="73" y="3897"/>
                    <a:pt x="65" y="3923"/>
                  </a:cubicBezTo>
                  <a:cubicBezTo>
                    <a:pt x="69" y="3957"/>
                    <a:pt x="74" y="3992"/>
                    <a:pt x="78" y="4026"/>
                  </a:cubicBezTo>
                  <a:cubicBezTo>
                    <a:pt x="81" y="4034"/>
                    <a:pt x="85" y="4043"/>
                    <a:pt x="88" y="4051"/>
                  </a:cubicBezTo>
                  <a:cubicBezTo>
                    <a:pt x="89" y="4054"/>
                    <a:pt x="91" y="4057"/>
                    <a:pt x="92" y="4060"/>
                  </a:cubicBezTo>
                  <a:lnTo>
                    <a:pt x="111" y="4060"/>
                  </a:lnTo>
                  <a:cubicBezTo>
                    <a:pt x="115" y="4068"/>
                    <a:pt x="120" y="4077"/>
                    <a:pt x="124" y="4085"/>
                  </a:cubicBezTo>
                  <a:cubicBezTo>
                    <a:pt x="138" y="4122"/>
                    <a:pt x="152" y="4160"/>
                    <a:pt x="166" y="4197"/>
                  </a:cubicBezTo>
                  <a:lnTo>
                    <a:pt x="166" y="4248"/>
                  </a:lnTo>
                  <a:cubicBezTo>
                    <a:pt x="151" y="4319"/>
                    <a:pt x="135" y="4391"/>
                    <a:pt x="120" y="4462"/>
                  </a:cubicBezTo>
                  <a:lnTo>
                    <a:pt x="120" y="4513"/>
                  </a:lnTo>
                  <a:cubicBezTo>
                    <a:pt x="140" y="4618"/>
                    <a:pt x="160" y="4724"/>
                    <a:pt x="180" y="4829"/>
                  </a:cubicBezTo>
                  <a:cubicBezTo>
                    <a:pt x="174" y="4838"/>
                    <a:pt x="167" y="4846"/>
                    <a:pt x="161" y="4855"/>
                  </a:cubicBezTo>
                  <a:cubicBezTo>
                    <a:pt x="158" y="4883"/>
                    <a:pt x="155" y="4912"/>
                    <a:pt x="152" y="4940"/>
                  </a:cubicBezTo>
                  <a:cubicBezTo>
                    <a:pt x="155" y="4949"/>
                    <a:pt x="158" y="4957"/>
                    <a:pt x="161" y="4966"/>
                  </a:cubicBezTo>
                  <a:lnTo>
                    <a:pt x="161" y="5009"/>
                  </a:lnTo>
                  <a:cubicBezTo>
                    <a:pt x="158" y="5017"/>
                    <a:pt x="155" y="5026"/>
                    <a:pt x="152" y="5034"/>
                  </a:cubicBezTo>
                  <a:lnTo>
                    <a:pt x="152" y="5077"/>
                  </a:lnTo>
                  <a:cubicBezTo>
                    <a:pt x="158" y="5083"/>
                    <a:pt x="165" y="5088"/>
                    <a:pt x="171" y="5094"/>
                  </a:cubicBezTo>
                  <a:cubicBezTo>
                    <a:pt x="174" y="5105"/>
                    <a:pt x="177" y="5117"/>
                    <a:pt x="180" y="5128"/>
                  </a:cubicBezTo>
                  <a:lnTo>
                    <a:pt x="180" y="5171"/>
                  </a:lnTo>
                  <a:cubicBezTo>
                    <a:pt x="181" y="5182"/>
                    <a:pt x="183" y="5194"/>
                    <a:pt x="184" y="5205"/>
                  </a:cubicBezTo>
                  <a:cubicBezTo>
                    <a:pt x="192" y="5216"/>
                    <a:pt x="199" y="5228"/>
                    <a:pt x="207" y="5239"/>
                  </a:cubicBezTo>
                  <a:lnTo>
                    <a:pt x="207" y="5282"/>
                  </a:lnTo>
                  <a:lnTo>
                    <a:pt x="180" y="5393"/>
                  </a:lnTo>
                  <a:cubicBezTo>
                    <a:pt x="185" y="5404"/>
                    <a:pt x="189" y="5416"/>
                    <a:pt x="194" y="5427"/>
                  </a:cubicBezTo>
                  <a:cubicBezTo>
                    <a:pt x="195" y="5439"/>
                    <a:pt x="197" y="5450"/>
                    <a:pt x="198" y="5462"/>
                  </a:cubicBezTo>
                  <a:cubicBezTo>
                    <a:pt x="210" y="5479"/>
                    <a:pt x="223" y="5496"/>
                    <a:pt x="235" y="5513"/>
                  </a:cubicBezTo>
                  <a:cubicBezTo>
                    <a:pt x="237" y="5527"/>
                    <a:pt x="238" y="5542"/>
                    <a:pt x="240" y="5556"/>
                  </a:cubicBezTo>
                  <a:cubicBezTo>
                    <a:pt x="244" y="5567"/>
                    <a:pt x="249" y="5579"/>
                    <a:pt x="253" y="5590"/>
                  </a:cubicBezTo>
                  <a:cubicBezTo>
                    <a:pt x="255" y="5584"/>
                    <a:pt x="256" y="5579"/>
                    <a:pt x="258" y="5573"/>
                  </a:cubicBezTo>
                  <a:lnTo>
                    <a:pt x="258" y="5667"/>
                  </a:lnTo>
                  <a:lnTo>
                    <a:pt x="14" y="6214"/>
                  </a:lnTo>
                  <a:lnTo>
                    <a:pt x="14" y="6214"/>
                  </a:lnTo>
                  <a:lnTo>
                    <a:pt x="37" y="6214"/>
                  </a:lnTo>
                  <a:cubicBezTo>
                    <a:pt x="42" y="6205"/>
                    <a:pt x="46" y="6197"/>
                    <a:pt x="51" y="6188"/>
                  </a:cubicBezTo>
                  <a:cubicBezTo>
                    <a:pt x="60" y="6179"/>
                    <a:pt x="69" y="6171"/>
                    <a:pt x="78" y="6162"/>
                  </a:cubicBezTo>
                  <a:lnTo>
                    <a:pt x="78" y="6188"/>
                  </a:lnTo>
                  <a:cubicBezTo>
                    <a:pt x="77" y="6191"/>
                    <a:pt x="75" y="6194"/>
                    <a:pt x="74" y="6197"/>
                  </a:cubicBezTo>
                  <a:lnTo>
                    <a:pt x="74" y="6231"/>
                  </a:lnTo>
                  <a:lnTo>
                    <a:pt x="74" y="6214"/>
                  </a:lnTo>
                  <a:lnTo>
                    <a:pt x="65" y="6214"/>
                  </a:lnTo>
                  <a:lnTo>
                    <a:pt x="65" y="6248"/>
                  </a:lnTo>
                  <a:cubicBezTo>
                    <a:pt x="68" y="6251"/>
                    <a:pt x="71" y="6253"/>
                    <a:pt x="74" y="6256"/>
                  </a:cubicBezTo>
                  <a:lnTo>
                    <a:pt x="78" y="6256"/>
                  </a:lnTo>
                  <a:cubicBezTo>
                    <a:pt x="87" y="6273"/>
                    <a:pt x="97" y="6291"/>
                    <a:pt x="106" y="6308"/>
                  </a:cubicBezTo>
                  <a:lnTo>
                    <a:pt x="138" y="6299"/>
                  </a:lnTo>
                  <a:lnTo>
                    <a:pt x="152" y="6299"/>
                  </a:lnTo>
                  <a:cubicBezTo>
                    <a:pt x="157" y="6308"/>
                    <a:pt x="161" y="6316"/>
                    <a:pt x="166" y="6325"/>
                  </a:cubicBezTo>
                  <a:lnTo>
                    <a:pt x="166" y="6333"/>
                  </a:lnTo>
                  <a:cubicBezTo>
                    <a:pt x="168" y="6339"/>
                    <a:pt x="169" y="6344"/>
                    <a:pt x="171" y="6350"/>
                  </a:cubicBezTo>
                  <a:lnTo>
                    <a:pt x="180" y="6350"/>
                  </a:lnTo>
                  <a:lnTo>
                    <a:pt x="180" y="6359"/>
                  </a:lnTo>
                  <a:lnTo>
                    <a:pt x="171" y="6368"/>
                  </a:lnTo>
                  <a:lnTo>
                    <a:pt x="106" y="6350"/>
                  </a:lnTo>
                  <a:cubicBezTo>
                    <a:pt x="104" y="6353"/>
                    <a:pt x="103" y="6356"/>
                    <a:pt x="101" y="6359"/>
                  </a:cubicBezTo>
                  <a:lnTo>
                    <a:pt x="101" y="6385"/>
                  </a:lnTo>
                  <a:cubicBezTo>
                    <a:pt x="93" y="6388"/>
                    <a:pt x="86" y="6390"/>
                    <a:pt x="78" y="6393"/>
                  </a:cubicBezTo>
                  <a:cubicBezTo>
                    <a:pt x="77" y="6390"/>
                    <a:pt x="75" y="6388"/>
                    <a:pt x="74" y="6385"/>
                  </a:cubicBezTo>
                  <a:cubicBezTo>
                    <a:pt x="71" y="6388"/>
                    <a:pt x="68" y="6390"/>
                    <a:pt x="65" y="6393"/>
                  </a:cubicBezTo>
                  <a:cubicBezTo>
                    <a:pt x="63" y="6402"/>
                    <a:pt x="62" y="6410"/>
                    <a:pt x="60" y="6419"/>
                  </a:cubicBezTo>
                  <a:lnTo>
                    <a:pt x="51" y="6419"/>
                  </a:lnTo>
                  <a:cubicBezTo>
                    <a:pt x="49" y="6416"/>
                    <a:pt x="48" y="6413"/>
                    <a:pt x="46" y="6410"/>
                  </a:cubicBezTo>
                  <a:cubicBezTo>
                    <a:pt x="43" y="6404"/>
                    <a:pt x="40" y="6399"/>
                    <a:pt x="37" y="6393"/>
                  </a:cubicBezTo>
                  <a:cubicBezTo>
                    <a:pt x="35" y="6402"/>
                    <a:pt x="34" y="6410"/>
                    <a:pt x="32" y="6419"/>
                  </a:cubicBezTo>
                  <a:cubicBezTo>
                    <a:pt x="34" y="6433"/>
                    <a:pt x="35" y="6448"/>
                    <a:pt x="37" y="6462"/>
                  </a:cubicBezTo>
                  <a:lnTo>
                    <a:pt x="46" y="6462"/>
                  </a:lnTo>
                  <a:cubicBezTo>
                    <a:pt x="48" y="6465"/>
                    <a:pt x="49" y="6467"/>
                    <a:pt x="51" y="6470"/>
                  </a:cubicBezTo>
                  <a:lnTo>
                    <a:pt x="51" y="6496"/>
                  </a:lnTo>
                  <a:lnTo>
                    <a:pt x="51" y="6504"/>
                  </a:lnTo>
                  <a:cubicBezTo>
                    <a:pt x="46" y="6513"/>
                    <a:pt x="42" y="6521"/>
                    <a:pt x="37" y="6530"/>
                  </a:cubicBezTo>
                  <a:cubicBezTo>
                    <a:pt x="31" y="6553"/>
                    <a:pt x="24" y="6575"/>
                    <a:pt x="18" y="6598"/>
                  </a:cubicBezTo>
                  <a:cubicBezTo>
                    <a:pt x="21" y="6609"/>
                    <a:pt x="25" y="6621"/>
                    <a:pt x="28" y="6632"/>
                  </a:cubicBezTo>
                  <a:cubicBezTo>
                    <a:pt x="25" y="6644"/>
                    <a:pt x="21" y="6655"/>
                    <a:pt x="18" y="6667"/>
                  </a:cubicBezTo>
                  <a:cubicBezTo>
                    <a:pt x="21" y="6675"/>
                    <a:pt x="25" y="6684"/>
                    <a:pt x="28" y="6692"/>
                  </a:cubicBezTo>
                  <a:lnTo>
                    <a:pt x="28" y="6709"/>
                  </a:lnTo>
                  <a:cubicBezTo>
                    <a:pt x="25" y="6712"/>
                    <a:pt x="21" y="6715"/>
                    <a:pt x="18" y="6718"/>
                  </a:cubicBezTo>
                  <a:cubicBezTo>
                    <a:pt x="14" y="6727"/>
                    <a:pt x="9" y="6735"/>
                    <a:pt x="5" y="6744"/>
                  </a:cubicBezTo>
                  <a:cubicBezTo>
                    <a:pt x="3" y="6752"/>
                    <a:pt x="2" y="6761"/>
                    <a:pt x="0" y="6769"/>
                  </a:cubicBezTo>
                  <a:cubicBezTo>
                    <a:pt x="2" y="6772"/>
                    <a:pt x="3" y="6775"/>
                    <a:pt x="5" y="6778"/>
                  </a:cubicBezTo>
                  <a:lnTo>
                    <a:pt x="32" y="6778"/>
                  </a:lnTo>
                  <a:cubicBezTo>
                    <a:pt x="37" y="6792"/>
                    <a:pt x="41" y="6807"/>
                    <a:pt x="46" y="6821"/>
                  </a:cubicBezTo>
                  <a:lnTo>
                    <a:pt x="46" y="6855"/>
                  </a:lnTo>
                  <a:lnTo>
                    <a:pt x="32" y="6855"/>
                  </a:lnTo>
                  <a:cubicBezTo>
                    <a:pt x="26" y="6844"/>
                    <a:pt x="20" y="6832"/>
                    <a:pt x="14" y="6821"/>
                  </a:cubicBezTo>
                  <a:lnTo>
                    <a:pt x="14" y="6846"/>
                  </a:lnTo>
                  <a:cubicBezTo>
                    <a:pt x="9" y="6863"/>
                    <a:pt x="5" y="6880"/>
                    <a:pt x="0" y="6897"/>
                  </a:cubicBezTo>
                  <a:lnTo>
                    <a:pt x="0" y="6915"/>
                  </a:lnTo>
                  <a:cubicBezTo>
                    <a:pt x="2" y="6921"/>
                    <a:pt x="3" y="6926"/>
                    <a:pt x="5" y="6932"/>
                  </a:cubicBezTo>
                  <a:cubicBezTo>
                    <a:pt x="8" y="6935"/>
                    <a:pt x="11" y="6937"/>
                    <a:pt x="14" y="6940"/>
                  </a:cubicBezTo>
                  <a:cubicBezTo>
                    <a:pt x="15" y="6946"/>
                    <a:pt x="17" y="6951"/>
                    <a:pt x="18" y="6957"/>
                  </a:cubicBezTo>
                  <a:cubicBezTo>
                    <a:pt x="21" y="6960"/>
                    <a:pt x="25" y="6963"/>
                    <a:pt x="28" y="6966"/>
                  </a:cubicBezTo>
                  <a:lnTo>
                    <a:pt x="28" y="6983"/>
                  </a:lnTo>
                  <a:cubicBezTo>
                    <a:pt x="25" y="7006"/>
                    <a:pt x="21" y="7028"/>
                    <a:pt x="18" y="7051"/>
                  </a:cubicBezTo>
                  <a:cubicBezTo>
                    <a:pt x="21" y="7057"/>
                    <a:pt x="25" y="7062"/>
                    <a:pt x="28" y="7068"/>
                  </a:cubicBezTo>
                  <a:lnTo>
                    <a:pt x="32" y="7068"/>
                  </a:lnTo>
                  <a:lnTo>
                    <a:pt x="32" y="7094"/>
                  </a:lnTo>
                  <a:cubicBezTo>
                    <a:pt x="41" y="7117"/>
                    <a:pt x="51" y="7139"/>
                    <a:pt x="60" y="7162"/>
                  </a:cubicBezTo>
                  <a:lnTo>
                    <a:pt x="60" y="7231"/>
                  </a:lnTo>
                  <a:lnTo>
                    <a:pt x="60" y="7239"/>
                  </a:lnTo>
                  <a:lnTo>
                    <a:pt x="78" y="7239"/>
                  </a:lnTo>
                  <a:lnTo>
                    <a:pt x="88" y="7239"/>
                  </a:lnTo>
                  <a:cubicBezTo>
                    <a:pt x="89" y="7245"/>
                    <a:pt x="91" y="7250"/>
                    <a:pt x="92" y="7256"/>
                  </a:cubicBezTo>
                  <a:lnTo>
                    <a:pt x="111" y="7256"/>
                  </a:lnTo>
                  <a:lnTo>
                    <a:pt x="120" y="7256"/>
                  </a:lnTo>
                  <a:cubicBezTo>
                    <a:pt x="125" y="7265"/>
                    <a:pt x="129" y="7273"/>
                    <a:pt x="134" y="7282"/>
                  </a:cubicBezTo>
                  <a:lnTo>
                    <a:pt x="134" y="7316"/>
                  </a:lnTo>
                  <a:cubicBezTo>
                    <a:pt x="140" y="7310"/>
                    <a:pt x="146" y="7305"/>
                    <a:pt x="152" y="7299"/>
                  </a:cubicBezTo>
                  <a:lnTo>
                    <a:pt x="161" y="7299"/>
                  </a:lnTo>
                  <a:cubicBezTo>
                    <a:pt x="163" y="7296"/>
                    <a:pt x="164" y="7294"/>
                    <a:pt x="166" y="7291"/>
                  </a:cubicBezTo>
                  <a:lnTo>
                    <a:pt x="194" y="7291"/>
                  </a:lnTo>
                  <a:cubicBezTo>
                    <a:pt x="198" y="7294"/>
                    <a:pt x="203" y="7296"/>
                    <a:pt x="207" y="7299"/>
                  </a:cubicBezTo>
                  <a:cubicBezTo>
                    <a:pt x="212" y="7313"/>
                    <a:pt x="216" y="7328"/>
                    <a:pt x="221" y="7342"/>
                  </a:cubicBezTo>
                  <a:lnTo>
                    <a:pt x="235" y="7342"/>
                  </a:lnTo>
                  <a:lnTo>
                    <a:pt x="235" y="7368"/>
                  </a:lnTo>
                  <a:cubicBezTo>
                    <a:pt x="232" y="7376"/>
                    <a:pt x="229" y="7385"/>
                    <a:pt x="226" y="7393"/>
                  </a:cubicBezTo>
                  <a:lnTo>
                    <a:pt x="226" y="7402"/>
                  </a:lnTo>
                  <a:cubicBezTo>
                    <a:pt x="229" y="7408"/>
                    <a:pt x="232" y="7413"/>
                    <a:pt x="235" y="7419"/>
                  </a:cubicBezTo>
                  <a:cubicBezTo>
                    <a:pt x="237" y="7425"/>
                    <a:pt x="238" y="7430"/>
                    <a:pt x="240" y="7436"/>
                  </a:cubicBezTo>
                  <a:cubicBezTo>
                    <a:pt x="238" y="7445"/>
                    <a:pt x="237" y="7453"/>
                    <a:pt x="235" y="7462"/>
                  </a:cubicBezTo>
                  <a:cubicBezTo>
                    <a:pt x="232" y="7468"/>
                    <a:pt x="229" y="7473"/>
                    <a:pt x="226" y="7479"/>
                  </a:cubicBezTo>
                  <a:lnTo>
                    <a:pt x="226" y="7504"/>
                  </a:lnTo>
                  <a:lnTo>
                    <a:pt x="226" y="7513"/>
                  </a:lnTo>
                  <a:cubicBezTo>
                    <a:pt x="231" y="7521"/>
                    <a:pt x="235" y="7530"/>
                    <a:pt x="240" y="7538"/>
                  </a:cubicBezTo>
                  <a:cubicBezTo>
                    <a:pt x="249" y="7572"/>
                    <a:pt x="258" y="7607"/>
                    <a:pt x="267" y="7641"/>
                  </a:cubicBezTo>
                  <a:cubicBezTo>
                    <a:pt x="272" y="7650"/>
                    <a:pt x="276" y="7658"/>
                    <a:pt x="281" y="7667"/>
                  </a:cubicBezTo>
                  <a:cubicBezTo>
                    <a:pt x="283" y="7670"/>
                    <a:pt x="284" y="7672"/>
                    <a:pt x="286" y="7675"/>
                  </a:cubicBezTo>
                  <a:lnTo>
                    <a:pt x="286" y="7692"/>
                  </a:lnTo>
                  <a:lnTo>
                    <a:pt x="286" y="7709"/>
                  </a:lnTo>
                  <a:cubicBezTo>
                    <a:pt x="289" y="7715"/>
                    <a:pt x="292" y="7720"/>
                    <a:pt x="295" y="7726"/>
                  </a:cubicBezTo>
                  <a:cubicBezTo>
                    <a:pt x="303" y="7720"/>
                    <a:pt x="310" y="7715"/>
                    <a:pt x="318" y="7709"/>
                  </a:cubicBezTo>
                  <a:cubicBezTo>
                    <a:pt x="321" y="7715"/>
                    <a:pt x="324" y="7720"/>
                    <a:pt x="327" y="7726"/>
                  </a:cubicBezTo>
                  <a:cubicBezTo>
                    <a:pt x="332" y="7729"/>
                    <a:pt x="336" y="7732"/>
                    <a:pt x="341" y="7735"/>
                  </a:cubicBezTo>
                  <a:cubicBezTo>
                    <a:pt x="338" y="7741"/>
                    <a:pt x="335" y="7746"/>
                    <a:pt x="332" y="7752"/>
                  </a:cubicBezTo>
                  <a:lnTo>
                    <a:pt x="341" y="7761"/>
                  </a:lnTo>
                  <a:lnTo>
                    <a:pt x="355" y="7761"/>
                  </a:lnTo>
                  <a:lnTo>
                    <a:pt x="355" y="7803"/>
                  </a:lnTo>
                  <a:cubicBezTo>
                    <a:pt x="341" y="7817"/>
                    <a:pt x="327" y="7832"/>
                    <a:pt x="313" y="7846"/>
                  </a:cubicBezTo>
                  <a:lnTo>
                    <a:pt x="295" y="7846"/>
                  </a:lnTo>
                  <a:cubicBezTo>
                    <a:pt x="290" y="7838"/>
                    <a:pt x="286" y="7829"/>
                    <a:pt x="281" y="7821"/>
                  </a:cubicBezTo>
                  <a:lnTo>
                    <a:pt x="272" y="7821"/>
                  </a:lnTo>
                  <a:cubicBezTo>
                    <a:pt x="270" y="7827"/>
                    <a:pt x="269" y="7832"/>
                    <a:pt x="267" y="7838"/>
                  </a:cubicBezTo>
                  <a:cubicBezTo>
                    <a:pt x="264" y="7841"/>
                    <a:pt x="261" y="7843"/>
                    <a:pt x="258" y="7846"/>
                  </a:cubicBezTo>
                  <a:cubicBezTo>
                    <a:pt x="256" y="7852"/>
                    <a:pt x="255" y="7857"/>
                    <a:pt x="253" y="7863"/>
                  </a:cubicBezTo>
                  <a:lnTo>
                    <a:pt x="253" y="7872"/>
                  </a:lnTo>
                  <a:cubicBezTo>
                    <a:pt x="258" y="7880"/>
                    <a:pt x="262" y="7889"/>
                    <a:pt x="267" y="7897"/>
                  </a:cubicBezTo>
                  <a:cubicBezTo>
                    <a:pt x="269" y="7903"/>
                    <a:pt x="270" y="7909"/>
                    <a:pt x="272" y="7915"/>
                  </a:cubicBezTo>
                  <a:cubicBezTo>
                    <a:pt x="270" y="7923"/>
                    <a:pt x="269" y="7932"/>
                    <a:pt x="267" y="7940"/>
                  </a:cubicBezTo>
                  <a:cubicBezTo>
                    <a:pt x="269" y="7943"/>
                    <a:pt x="270" y="7946"/>
                    <a:pt x="272" y="7949"/>
                  </a:cubicBezTo>
                  <a:lnTo>
                    <a:pt x="272" y="7957"/>
                  </a:lnTo>
                  <a:cubicBezTo>
                    <a:pt x="275" y="7963"/>
                    <a:pt x="278" y="7968"/>
                    <a:pt x="281" y="7974"/>
                  </a:cubicBezTo>
                  <a:cubicBezTo>
                    <a:pt x="283" y="7977"/>
                    <a:pt x="284" y="7980"/>
                    <a:pt x="286" y="7983"/>
                  </a:cubicBezTo>
                  <a:cubicBezTo>
                    <a:pt x="284" y="7992"/>
                    <a:pt x="283" y="8000"/>
                    <a:pt x="281" y="8009"/>
                  </a:cubicBezTo>
                  <a:cubicBezTo>
                    <a:pt x="283" y="8026"/>
                    <a:pt x="284" y="8043"/>
                    <a:pt x="286" y="8060"/>
                  </a:cubicBezTo>
                  <a:lnTo>
                    <a:pt x="286" y="8060"/>
                  </a:lnTo>
                  <a:cubicBezTo>
                    <a:pt x="289" y="8066"/>
                    <a:pt x="292" y="8071"/>
                    <a:pt x="295" y="8077"/>
                  </a:cubicBezTo>
                  <a:lnTo>
                    <a:pt x="309" y="8077"/>
                  </a:lnTo>
                  <a:cubicBezTo>
                    <a:pt x="310" y="8071"/>
                    <a:pt x="312" y="8066"/>
                    <a:pt x="313" y="8060"/>
                  </a:cubicBezTo>
                  <a:cubicBezTo>
                    <a:pt x="315" y="8057"/>
                    <a:pt x="316" y="8054"/>
                    <a:pt x="318" y="8051"/>
                  </a:cubicBezTo>
                  <a:lnTo>
                    <a:pt x="318" y="8034"/>
                  </a:lnTo>
                  <a:cubicBezTo>
                    <a:pt x="323" y="8031"/>
                    <a:pt x="327" y="8029"/>
                    <a:pt x="332" y="8026"/>
                  </a:cubicBezTo>
                  <a:cubicBezTo>
                    <a:pt x="341" y="8029"/>
                    <a:pt x="350" y="8031"/>
                    <a:pt x="359" y="8034"/>
                  </a:cubicBezTo>
                  <a:cubicBezTo>
                    <a:pt x="365" y="8031"/>
                    <a:pt x="372" y="8029"/>
                    <a:pt x="378" y="8026"/>
                  </a:cubicBezTo>
                  <a:lnTo>
                    <a:pt x="401" y="8026"/>
                  </a:lnTo>
                  <a:cubicBezTo>
                    <a:pt x="407" y="8020"/>
                    <a:pt x="413" y="8015"/>
                    <a:pt x="419" y="8009"/>
                  </a:cubicBezTo>
                  <a:cubicBezTo>
                    <a:pt x="424" y="8017"/>
                    <a:pt x="428" y="8026"/>
                    <a:pt x="433" y="8034"/>
                  </a:cubicBezTo>
                  <a:cubicBezTo>
                    <a:pt x="436" y="8043"/>
                    <a:pt x="439" y="8051"/>
                    <a:pt x="442" y="8060"/>
                  </a:cubicBezTo>
                  <a:lnTo>
                    <a:pt x="442" y="8077"/>
                  </a:lnTo>
                  <a:cubicBezTo>
                    <a:pt x="448" y="8088"/>
                    <a:pt x="455" y="8100"/>
                    <a:pt x="461" y="8111"/>
                  </a:cubicBezTo>
                  <a:lnTo>
                    <a:pt x="461" y="8137"/>
                  </a:lnTo>
                  <a:cubicBezTo>
                    <a:pt x="456" y="8140"/>
                    <a:pt x="452" y="8142"/>
                    <a:pt x="447" y="8145"/>
                  </a:cubicBezTo>
                  <a:lnTo>
                    <a:pt x="442" y="8145"/>
                  </a:lnTo>
                  <a:lnTo>
                    <a:pt x="442" y="8162"/>
                  </a:lnTo>
                  <a:lnTo>
                    <a:pt x="442" y="8171"/>
                  </a:lnTo>
                  <a:cubicBezTo>
                    <a:pt x="444" y="8185"/>
                    <a:pt x="445" y="8200"/>
                    <a:pt x="447" y="8214"/>
                  </a:cubicBezTo>
                  <a:cubicBezTo>
                    <a:pt x="453" y="8220"/>
                    <a:pt x="459" y="8225"/>
                    <a:pt x="465" y="8231"/>
                  </a:cubicBezTo>
                  <a:lnTo>
                    <a:pt x="488" y="8231"/>
                  </a:lnTo>
                  <a:lnTo>
                    <a:pt x="493" y="8231"/>
                  </a:lnTo>
                  <a:lnTo>
                    <a:pt x="502" y="8231"/>
                  </a:lnTo>
                  <a:cubicBezTo>
                    <a:pt x="504" y="8237"/>
                    <a:pt x="505" y="8242"/>
                    <a:pt x="507" y="8248"/>
                  </a:cubicBezTo>
                  <a:cubicBezTo>
                    <a:pt x="512" y="8257"/>
                    <a:pt x="516" y="8265"/>
                    <a:pt x="521" y="8274"/>
                  </a:cubicBezTo>
                  <a:cubicBezTo>
                    <a:pt x="522" y="8294"/>
                    <a:pt x="524" y="8313"/>
                    <a:pt x="525" y="8333"/>
                  </a:cubicBezTo>
                  <a:lnTo>
                    <a:pt x="525" y="8359"/>
                  </a:lnTo>
                  <a:lnTo>
                    <a:pt x="525" y="8368"/>
                  </a:lnTo>
                  <a:cubicBezTo>
                    <a:pt x="533" y="8376"/>
                    <a:pt x="540" y="8385"/>
                    <a:pt x="548" y="8393"/>
                  </a:cubicBezTo>
                  <a:cubicBezTo>
                    <a:pt x="550" y="8390"/>
                    <a:pt x="551" y="8388"/>
                    <a:pt x="553" y="8385"/>
                  </a:cubicBezTo>
                  <a:lnTo>
                    <a:pt x="562" y="8385"/>
                  </a:lnTo>
                  <a:lnTo>
                    <a:pt x="576" y="8385"/>
                  </a:lnTo>
                  <a:cubicBezTo>
                    <a:pt x="579" y="8393"/>
                    <a:pt x="582" y="8402"/>
                    <a:pt x="585" y="8410"/>
                  </a:cubicBezTo>
                  <a:lnTo>
                    <a:pt x="594" y="8410"/>
                  </a:lnTo>
                  <a:lnTo>
                    <a:pt x="608" y="8410"/>
                  </a:lnTo>
                  <a:cubicBezTo>
                    <a:pt x="623" y="8402"/>
                    <a:pt x="639" y="8393"/>
                    <a:pt x="654" y="8385"/>
                  </a:cubicBezTo>
                  <a:lnTo>
                    <a:pt x="659" y="8385"/>
                  </a:lnTo>
                  <a:cubicBezTo>
                    <a:pt x="671" y="8413"/>
                    <a:pt x="684" y="8442"/>
                    <a:pt x="696" y="8470"/>
                  </a:cubicBezTo>
                  <a:lnTo>
                    <a:pt x="700" y="8470"/>
                  </a:lnTo>
                  <a:cubicBezTo>
                    <a:pt x="703" y="8467"/>
                    <a:pt x="707" y="8465"/>
                    <a:pt x="710" y="8462"/>
                  </a:cubicBezTo>
                  <a:lnTo>
                    <a:pt x="714" y="8462"/>
                  </a:lnTo>
                  <a:cubicBezTo>
                    <a:pt x="717" y="8465"/>
                    <a:pt x="721" y="8467"/>
                    <a:pt x="724" y="8470"/>
                  </a:cubicBezTo>
                  <a:lnTo>
                    <a:pt x="733" y="8470"/>
                  </a:lnTo>
                  <a:cubicBezTo>
                    <a:pt x="736" y="8476"/>
                    <a:pt x="739" y="8481"/>
                    <a:pt x="742" y="8487"/>
                  </a:cubicBezTo>
                  <a:cubicBezTo>
                    <a:pt x="744" y="8490"/>
                    <a:pt x="745" y="8493"/>
                    <a:pt x="747" y="8496"/>
                  </a:cubicBezTo>
                  <a:lnTo>
                    <a:pt x="770" y="8496"/>
                  </a:lnTo>
                  <a:cubicBezTo>
                    <a:pt x="774" y="8504"/>
                    <a:pt x="779" y="8513"/>
                    <a:pt x="783" y="8521"/>
                  </a:cubicBezTo>
                  <a:lnTo>
                    <a:pt x="797" y="8521"/>
                  </a:lnTo>
                  <a:lnTo>
                    <a:pt x="806" y="8530"/>
                  </a:lnTo>
                  <a:cubicBezTo>
                    <a:pt x="814" y="8536"/>
                    <a:pt x="821" y="8541"/>
                    <a:pt x="829" y="8547"/>
                  </a:cubicBezTo>
                  <a:cubicBezTo>
                    <a:pt x="831" y="8550"/>
                    <a:pt x="832" y="8553"/>
                    <a:pt x="834" y="8556"/>
                  </a:cubicBezTo>
                  <a:lnTo>
                    <a:pt x="829" y="8556"/>
                  </a:lnTo>
                  <a:cubicBezTo>
                    <a:pt x="831" y="8573"/>
                    <a:pt x="832" y="8590"/>
                    <a:pt x="834" y="8607"/>
                  </a:cubicBezTo>
                  <a:cubicBezTo>
                    <a:pt x="832" y="8618"/>
                    <a:pt x="831" y="8630"/>
                    <a:pt x="829" y="8641"/>
                  </a:cubicBezTo>
                  <a:cubicBezTo>
                    <a:pt x="821" y="8647"/>
                    <a:pt x="814" y="8652"/>
                    <a:pt x="806" y="8658"/>
                  </a:cubicBezTo>
                  <a:cubicBezTo>
                    <a:pt x="809" y="8661"/>
                    <a:pt x="813" y="8664"/>
                    <a:pt x="816" y="8667"/>
                  </a:cubicBezTo>
                  <a:lnTo>
                    <a:pt x="820" y="8667"/>
                  </a:lnTo>
                  <a:cubicBezTo>
                    <a:pt x="823" y="8673"/>
                    <a:pt x="826" y="8678"/>
                    <a:pt x="829" y="8684"/>
                  </a:cubicBezTo>
                  <a:cubicBezTo>
                    <a:pt x="821" y="8687"/>
                    <a:pt x="814" y="8689"/>
                    <a:pt x="806" y="8692"/>
                  </a:cubicBezTo>
                  <a:cubicBezTo>
                    <a:pt x="805" y="8698"/>
                    <a:pt x="803" y="8703"/>
                    <a:pt x="802" y="8709"/>
                  </a:cubicBezTo>
                  <a:lnTo>
                    <a:pt x="802" y="8735"/>
                  </a:lnTo>
                  <a:cubicBezTo>
                    <a:pt x="803" y="8738"/>
                    <a:pt x="805" y="8741"/>
                    <a:pt x="806" y="8744"/>
                  </a:cubicBezTo>
                  <a:cubicBezTo>
                    <a:pt x="809" y="8747"/>
                    <a:pt x="813" y="8749"/>
                    <a:pt x="816" y="8752"/>
                  </a:cubicBezTo>
                  <a:cubicBezTo>
                    <a:pt x="813" y="8761"/>
                    <a:pt x="809" y="8769"/>
                    <a:pt x="806" y="8778"/>
                  </a:cubicBezTo>
                  <a:lnTo>
                    <a:pt x="820" y="8778"/>
                  </a:lnTo>
                  <a:cubicBezTo>
                    <a:pt x="815" y="8812"/>
                    <a:pt x="811" y="8846"/>
                    <a:pt x="806" y="8880"/>
                  </a:cubicBezTo>
                  <a:lnTo>
                    <a:pt x="797" y="8880"/>
                  </a:lnTo>
                  <a:cubicBezTo>
                    <a:pt x="792" y="8877"/>
                    <a:pt x="788" y="8875"/>
                    <a:pt x="783" y="8872"/>
                  </a:cubicBezTo>
                  <a:cubicBezTo>
                    <a:pt x="779" y="8875"/>
                    <a:pt x="774" y="8877"/>
                    <a:pt x="770" y="8880"/>
                  </a:cubicBezTo>
                  <a:cubicBezTo>
                    <a:pt x="765" y="8872"/>
                    <a:pt x="761" y="8863"/>
                    <a:pt x="756" y="8855"/>
                  </a:cubicBezTo>
                  <a:cubicBezTo>
                    <a:pt x="748" y="8872"/>
                    <a:pt x="741" y="8889"/>
                    <a:pt x="733" y="8906"/>
                  </a:cubicBezTo>
                  <a:cubicBezTo>
                    <a:pt x="727" y="8909"/>
                    <a:pt x="720" y="8912"/>
                    <a:pt x="714" y="8915"/>
                  </a:cubicBezTo>
                  <a:cubicBezTo>
                    <a:pt x="713" y="8923"/>
                    <a:pt x="711" y="8932"/>
                    <a:pt x="710" y="8940"/>
                  </a:cubicBezTo>
                  <a:lnTo>
                    <a:pt x="710" y="9009"/>
                  </a:lnTo>
                  <a:lnTo>
                    <a:pt x="728" y="8991"/>
                  </a:lnTo>
                  <a:lnTo>
                    <a:pt x="733" y="8991"/>
                  </a:lnTo>
                  <a:cubicBezTo>
                    <a:pt x="738" y="8988"/>
                    <a:pt x="742" y="8986"/>
                    <a:pt x="747" y="8983"/>
                  </a:cubicBezTo>
                  <a:lnTo>
                    <a:pt x="760" y="8983"/>
                  </a:lnTo>
                  <a:lnTo>
                    <a:pt x="770" y="8983"/>
                  </a:lnTo>
                  <a:lnTo>
                    <a:pt x="770" y="8991"/>
                  </a:lnTo>
                  <a:lnTo>
                    <a:pt x="783" y="8991"/>
                  </a:lnTo>
                  <a:lnTo>
                    <a:pt x="783" y="9009"/>
                  </a:lnTo>
                  <a:lnTo>
                    <a:pt x="783" y="9017"/>
                  </a:lnTo>
                  <a:lnTo>
                    <a:pt x="770" y="9017"/>
                  </a:lnTo>
                  <a:lnTo>
                    <a:pt x="724" y="9051"/>
                  </a:lnTo>
                  <a:lnTo>
                    <a:pt x="724" y="9068"/>
                  </a:lnTo>
                  <a:cubicBezTo>
                    <a:pt x="725" y="9071"/>
                    <a:pt x="727" y="9074"/>
                    <a:pt x="728" y="9077"/>
                  </a:cubicBezTo>
                  <a:lnTo>
                    <a:pt x="724" y="9077"/>
                  </a:lnTo>
                  <a:lnTo>
                    <a:pt x="710" y="9077"/>
                  </a:lnTo>
                  <a:lnTo>
                    <a:pt x="682" y="9077"/>
                  </a:lnTo>
                  <a:cubicBezTo>
                    <a:pt x="679" y="9086"/>
                    <a:pt x="676" y="9094"/>
                    <a:pt x="673" y="9103"/>
                  </a:cubicBezTo>
                  <a:cubicBezTo>
                    <a:pt x="678" y="9111"/>
                    <a:pt x="682" y="9120"/>
                    <a:pt x="687" y="9128"/>
                  </a:cubicBezTo>
                  <a:lnTo>
                    <a:pt x="700" y="9128"/>
                  </a:lnTo>
                  <a:cubicBezTo>
                    <a:pt x="709" y="9145"/>
                    <a:pt x="719" y="9162"/>
                    <a:pt x="728" y="9179"/>
                  </a:cubicBezTo>
                  <a:cubicBezTo>
                    <a:pt x="727" y="9182"/>
                    <a:pt x="725" y="9185"/>
                    <a:pt x="724" y="9188"/>
                  </a:cubicBezTo>
                  <a:cubicBezTo>
                    <a:pt x="719" y="9185"/>
                    <a:pt x="715" y="9182"/>
                    <a:pt x="710" y="9179"/>
                  </a:cubicBezTo>
                  <a:cubicBezTo>
                    <a:pt x="707" y="9188"/>
                    <a:pt x="703" y="9196"/>
                    <a:pt x="700" y="9205"/>
                  </a:cubicBezTo>
                  <a:lnTo>
                    <a:pt x="696" y="9205"/>
                  </a:lnTo>
                  <a:cubicBezTo>
                    <a:pt x="682" y="9236"/>
                    <a:pt x="668" y="9268"/>
                    <a:pt x="654" y="9299"/>
                  </a:cubicBezTo>
                  <a:lnTo>
                    <a:pt x="622" y="9299"/>
                  </a:lnTo>
                  <a:cubicBezTo>
                    <a:pt x="619" y="9305"/>
                    <a:pt x="616" y="9310"/>
                    <a:pt x="613" y="9316"/>
                  </a:cubicBezTo>
                  <a:lnTo>
                    <a:pt x="613" y="9325"/>
                  </a:lnTo>
                  <a:cubicBezTo>
                    <a:pt x="611" y="9331"/>
                    <a:pt x="610" y="9336"/>
                    <a:pt x="608" y="9342"/>
                  </a:cubicBezTo>
                  <a:lnTo>
                    <a:pt x="636" y="9376"/>
                  </a:lnTo>
                  <a:cubicBezTo>
                    <a:pt x="638" y="9385"/>
                    <a:pt x="639" y="9393"/>
                    <a:pt x="641" y="9402"/>
                  </a:cubicBezTo>
                  <a:cubicBezTo>
                    <a:pt x="645" y="9410"/>
                    <a:pt x="650" y="9419"/>
                    <a:pt x="654" y="9427"/>
                  </a:cubicBezTo>
                  <a:lnTo>
                    <a:pt x="668" y="9427"/>
                  </a:lnTo>
                  <a:lnTo>
                    <a:pt x="668" y="9427"/>
                  </a:lnTo>
                  <a:cubicBezTo>
                    <a:pt x="703" y="9467"/>
                    <a:pt x="739" y="9507"/>
                    <a:pt x="774" y="9547"/>
                  </a:cubicBezTo>
                  <a:cubicBezTo>
                    <a:pt x="782" y="9564"/>
                    <a:pt x="789" y="9581"/>
                    <a:pt x="797" y="9598"/>
                  </a:cubicBezTo>
                  <a:lnTo>
                    <a:pt x="802" y="9598"/>
                  </a:lnTo>
                  <a:cubicBezTo>
                    <a:pt x="807" y="9607"/>
                    <a:pt x="811" y="9615"/>
                    <a:pt x="816" y="9624"/>
                  </a:cubicBezTo>
                  <a:lnTo>
                    <a:pt x="843" y="9615"/>
                  </a:lnTo>
                  <a:cubicBezTo>
                    <a:pt x="848" y="9618"/>
                    <a:pt x="852" y="9621"/>
                    <a:pt x="857" y="9624"/>
                  </a:cubicBezTo>
                  <a:cubicBezTo>
                    <a:pt x="859" y="9621"/>
                    <a:pt x="860" y="9618"/>
                    <a:pt x="862" y="9615"/>
                  </a:cubicBezTo>
                  <a:lnTo>
                    <a:pt x="880" y="9624"/>
                  </a:lnTo>
                  <a:cubicBezTo>
                    <a:pt x="883" y="9630"/>
                    <a:pt x="886" y="9635"/>
                    <a:pt x="889" y="9641"/>
                  </a:cubicBezTo>
                  <a:lnTo>
                    <a:pt x="935" y="9675"/>
                  </a:lnTo>
                  <a:cubicBezTo>
                    <a:pt x="949" y="9672"/>
                    <a:pt x="963" y="9670"/>
                    <a:pt x="977" y="9667"/>
                  </a:cubicBezTo>
                  <a:cubicBezTo>
                    <a:pt x="983" y="9670"/>
                    <a:pt x="989" y="9672"/>
                    <a:pt x="995" y="9675"/>
                  </a:cubicBezTo>
                  <a:lnTo>
                    <a:pt x="1014" y="9675"/>
                  </a:lnTo>
                  <a:cubicBezTo>
                    <a:pt x="1032" y="9701"/>
                    <a:pt x="1051" y="9726"/>
                    <a:pt x="1069" y="9752"/>
                  </a:cubicBezTo>
                  <a:cubicBezTo>
                    <a:pt x="1071" y="9755"/>
                    <a:pt x="1072" y="9758"/>
                    <a:pt x="1074" y="9761"/>
                  </a:cubicBezTo>
                  <a:cubicBezTo>
                    <a:pt x="1077" y="9767"/>
                    <a:pt x="1080" y="9772"/>
                    <a:pt x="1083" y="9778"/>
                  </a:cubicBezTo>
                  <a:lnTo>
                    <a:pt x="1115" y="9752"/>
                  </a:lnTo>
                  <a:lnTo>
                    <a:pt x="1129" y="9752"/>
                  </a:lnTo>
                  <a:lnTo>
                    <a:pt x="1138" y="9761"/>
                  </a:lnTo>
                  <a:cubicBezTo>
                    <a:pt x="1140" y="9758"/>
                    <a:pt x="1141" y="9755"/>
                    <a:pt x="1143" y="9752"/>
                  </a:cubicBezTo>
                  <a:lnTo>
                    <a:pt x="1161" y="9761"/>
                  </a:lnTo>
                  <a:cubicBezTo>
                    <a:pt x="1164" y="9767"/>
                    <a:pt x="1168" y="9772"/>
                    <a:pt x="1171" y="9778"/>
                  </a:cubicBezTo>
                  <a:lnTo>
                    <a:pt x="1175" y="9778"/>
                  </a:lnTo>
                  <a:lnTo>
                    <a:pt x="1189" y="9778"/>
                  </a:lnTo>
                  <a:cubicBezTo>
                    <a:pt x="1192" y="9781"/>
                    <a:pt x="1195" y="9783"/>
                    <a:pt x="1198" y="9786"/>
                  </a:cubicBezTo>
                  <a:cubicBezTo>
                    <a:pt x="1200" y="9792"/>
                    <a:pt x="1201" y="9797"/>
                    <a:pt x="1203" y="9803"/>
                  </a:cubicBezTo>
                  <a:cubicBezTo>
                    <a:pt x="1201" y="9815"/>
                    <a:pt x="1200" y="9826"/>
                    <a:pt x="1198" y="9838"/>
                  </a:cubicBezTo>
                  <a:cubicBezTo>
                    <a:pt x="1203" y="9846"/>
                    <a:pt x="1207" y="9855"/>
                    <a:pt x="1212" y="9863"/>
                  </a:cubicBezTo>
                  <a:lnTo>
                    <a:pt x="1230" y="9872"/>
                  </a:lnTo>
                  <a:cubicBezTo>
                    <a:pt x="1236" y="9880"/>
                    <a:pt x="1243" y="9889"/>
                    <a:pt x="1249" y="9897"/>
                  </a:cubicBezTo>
                  <a:lnTo>
                    <a:pt x="1263" y="9897"/>
                  </a:lnTo>
                  <a:cubicBezTo>
                    <a:pt x="1267" y="9906"/>
                    <a:pt x="1272" y="9914"/>
                    <a:pt x="1276" y="9923"/>
                  </a:cubicBezTo>
                  <a:cubicBezTo>
                    <a:pt x="1278" y="9932"/>
                    <a:pt x="1279" y="9940"/>
                    <a:pt x="1281" y="9949"/>
                  </a:cubicBezTo>
                  <a:lnTo>
                    <a:pt x="1290" y="9949"/>
                  </a:lnTo>
                  <a:cubicBezTo>
                    <a:pt x="1292" y="9966"/>
                    <a:pt x="1293" y="9983"/>
                    <a:pt x="1295" y="10000"/>
                  </a:cubicBezTo>
                  <a:lnTo>
                    <a:pt x="1332" y="10000"/>
                  </a:lnTo>
                  <a:lnTo>
                    <a:pt x="1336" y="10000"/>
                  </a:lnTo>
                  <a:cubicBezTo>
                    <a:pt x="1339" y="9994"/>
                    <a:pt x="1343" y="9989"/>
                    <a:pt x="1346" y="9983"/>
                  </a:cubicBezTo>
                  <a:cubicBezTo>
                    <a:pt x="1347" y="9972"/>
                    <a:pt x="1349" y="9960"/>
                    <a:pt x="1350" y="9949"/>
                  </a:cubicBezTo>
                  <a:cubicBezTo>
                    <a:pt x="1356" y="9946"/>
                    <a:pt x="1363" y="9943"/>
                    <a:pt x="1369" y="9940"/>
                  </a:cubicBezTo>
                  <a:cubicBezTo>
                    <a:pt x="1372" y="9926"/>
                    <a:pt x="1375" y="9911"/>
                    <a:pt x="1378" y="9897"/>
                  </a:cubicBezTo>
                  <a:cubicBezTo>
                    <a:pt x="1375" y="9894"/>
                    <a:pt x="1372" y="9892"/>
                    <a:pt x="1369" y="9889"/>
                  </a:cubicBezTo>
                  <a:cubicBezTo>
                    <a:pt x="1352" y="9826"/>
                    <a:pt x="1335" y="9764"/>
                    <a:pt x="1318" y="9701"/>
                  </a:cubicBezTo>
                  <a:lnTo>
                    <a:pt x="1318" y="9650"/>
                  </a:lnTo>
                  <a:cubicBezTo>
                    <a:pt x="1320" y="9630"/>
                    <a:pt x="1321" y="9610"/>
                    <a:pt x="1323" y="9590"/>
                  </a:cubicBezTo>
                  <a:lnTo>
                    <a:pt x="1323" y="9564"/>
                  </a:lnTo>
                  <a:cubicBezTo>
                    <a:pt x="1318" y="9575"/>
                    <a:pt x="1314" y="9587"/>
                    <a:pt x="1309" y="9598"/>
                  </a:cubicBezTo>
                  <a:lnTo>
                    <a:pt x="1309" y="9590"/>
                  </a:lnTo>
                  <a:cubicBezTo>
                    <a:pt x="1307" y="9576"/>
                    <a:pt x="1306" y="9561"/>
                    <a:pt x="1304" y="9547"/>
                  </a:cubicBezTo>
                  <a:cubicBezTo>
                    <a:pt x="1295" y="9524"/>
                    <a:pt x="1285" y="9502"/>
                    <a:pt x="1276" y="9479"/>
                  </a:cubicBezTo>
                  <a:lnTo>
                    <a:pt x="1263" y="9479"/>
                  </a:lnTo>
                  <a:lnTo>
                    <a:pt x="1263" y="9453"/>
                  </a:lnTo>
                  <a:cubicBezTo>
                    <a:pt x="1266" y="9439"/>
                    <a:pt x="1269" y="9424"/>
                    <a:pt x="1272" y="9410"/>
                  </a:cubicBezTo>
                  <a:lnTo>
                    <a:pt x="1272" y="9393"/>
                  </a:lnTo>
                  <a:cubicBezTo>
                    <a:pt x="1275" y="9385"/>
                    <a:pt x="1278" y="9376"/>
                    <a:pt x="1281" y="9368"/>
                  </a:cubicBezTo>
                  <a:lnTo>
                    <a:pt x="1281" y="9368"/>
                  </a:lnTo>
                  <a:lnTo>
                    <a:pt x="1290" y="9368"/>
                  </a:lnTo>
                  <a:lnTo>
                    <a:pt x="1290" y="9342"/>
                  </a:lnTo>
                  <a:cubicBezTo>
                    <a:pt x="1295" y="9336"/>
                    <a:pt x="1299" y="9331"/>
                    <a:pt x="1304" y="9325"/>
                  </a:cubicBezTo>
                  <a:cubicBezTo>
                    <a:pt x="1306" y="9296"/>
                    <a:pt x="1307" y="9268"/>
                    <a:pt x="1309" y="9239"/>
                  </a:cubicBezTo>
                  <a:cubicBezTo>
                    <a:pt x="1312" y="9245"/>
                    <a:pt x="1315" y="9250"/>
                    <a:pt x="1318" y="9256"/>
                  </a:cubicBezTo>
                  <a:cubicBezTo>
                    <a:pt x="1320" y="9230"/>
                    <a:pt x="1321" y="9205"/>
                    <a:pt x="1323" y="9179"/>
                  </a:cubicBezTo>
                  <a:cubicBezTo>
                    <a:pt x="1318" y="9168"/>
                    <a:pt x="1314" y="9156"/>
                    <a:pt x="1309" y="9145"/>
                  </a:cubicBezTo>
                  <a:lnTo>
                    <a:pt x="1336" y="9154"/>
                  </a:lnTo>
                  <a:lnTo>
                    <a:pt x="1336" y="9162"/>
                  </a:lnTo>
                  <a:cubicBezTo>
                    <a:pt x="1341" y="9185"/>
                    <a:pt x="1345" y="9208"/>
                    <a:pt x="1350" y="9231"/>
                  </a:cubicBezTo>
                  <a:lnTo>
                    <a:pt x="1355" y="9231"/>
                  </a:lnTo>
                  <a:cubicBezTo>
                    <a:pt x="1358" y="9225"/>
                    <a:pt x="1361" y="9220"/>
                    <a:pt x="1364" y="9214"/>
                  </a:cubicBezTo>
                  <a:lnTo>
                    <a:pt x="1369" y="9214"/>
                  </a:lnTo>
                  <a:cubicBezTo>
                    <a:pt x="1373" y="9194"/>
                    <a:pt x="1378" y="9174"/>
                    <a:pt x="1382" y="9154"/>
                  </a:cubicBezTo>
                  <a:lnTo>
                    <a:pt x="1396" y="9154"/>
                  </a:lnTo>
                  <a:cubicBezTo>
                    <a:pt x="1391" y="9151"/>
                    <a:pt x="1387" y="9148"/>
                    <a:pt x="1382" y="9145"/>
                  </a:cubicBezTo>
                  <a:lnTo>
                    <a:pt x="1382" y="9128"/>
                  </a:lnTo>
                  <a:lnTo>
                    <a:pt x="1369" y="9128"/>
                  </a:lnTo>
                  <a:lnTo>
                    <a:pt x="1364" y="9128"/>
                  </a:lnTo>
                  <a:cubicBezTo>
                    <a:pt x="1361" y="9125"/>
                    <a:pt x="1358" y="9123"/>
                    <a:pt x="1355" y="9120"/>
                  </a:cubicBezTo>
                  <a:cubicBezTo>
                    <a:pt x="1353" y="9114"/>
                    <a:pt x="1352" y="9109"/>
                    <a:pt x="1350" y="9103"/>
                  </a:cubicBezTo>
                  <a:cubicBezTo>
                    <a:pt x="1352" y="9100"/>
                    <a:pt x="1353" y="9097"/>
                    <a:pt x="1355" y="9094"/>
                  </a:cubicBezTo>
                  <a:lnTo>
                    <a:pt x="1355" y="9068"/>
                  </a:lnTo>
                  <a:lnTo>
                    <a:pt x="1369" y="9068"/>
                  </a:lnTo>
                  <a:lnTo>
                    <a:pt x="1378" y="9077"/>
                  </a:lnTo>
                  <a:lnTo>
                    <a:pt x="1396" y="9068"/>
                  </a:lnTo>
                  <a:cubicBezTo>
                    <a:pt x="1391" y="9025"/>
                    <a:pt x="1387" y="8983"/>
                    <a:pt x="1382" y="8940"/>
                  </a:cubicBezTo>
                  <a:lnTo>
                    <a:pt x="1378" y="8940"/>
                  </a:lnTo>
                  <a:cubicBezTo>
                    <a:pt x="1373" y="8923"/>
                    <a:pt x="1369" y="8906"/>
                    <a:pt x="1364" y="8889"/>
                  </a:cubicBezTo>
                  <a:lnTo>
                    <a:pt x="1355" y="8880"/>
                  </a:lnTo>
                  <a:lnTo>
                    <a:pt x="1323" y="8880"/>
                  </a:lnTo>
                  <a:lnTo>
                    <a:pt x="1309" y="8880"/>
                  </a:lnTo>
                  <a:lnTo>
                    <a:pt x="1309" y="8889"/>
                  </a:lnTo>
                  <a:cubicBezTo>
                    <a:pt x="1304" y="8883"/>
                    <a:pt x="1300" y="8878"/>
                    <a:pt x="1295" y="8872"/>
                  </a:cubicBezTo>
                  <a:cubicBezTo>
                    <a:pt x="1293" y="8866"/>
                    <a:pt x="1292" y="8861"/>
                    <a:pt x="1290" y="8855"/>
                  </a:cubicBezTo>
                  <a:lnTo>
                    <a:pt x="1290" y="8829"/>
                  </a:lnTo>
                  <a:lnTo>
                    <a:pt x="1290" y="8821"/>
                  </a:lnTo>
                  <a:lnTo>
                    <a:pt x="1290" y="8803"/>
                  </a:lnTo>
                  <a:cubicBezTo>
                    <a:pt x="1287" y="8800"/>
                    <a:pt x="1284" y="8798"/>
                    <a:pt x="1281" y="8795"/>
                  </a:cubicBezTo>
                  <a:lnTo>
                    <a:pt x="1249" y="8769"/>
                  </a:lnTo>
                  <a:cubicBezTo>
                    <a:pt x="1254" y="8735"/>
                    <a:pt x="1258" y="8701"/>
                    <a:pt x="1263" y="8667"/>
                  </a:cubicBezTo>
                  <a:lnTo>
                    <a:pt x="1281" y="8658"/>
                  </a:lnTo>
                  <a:cubicBezTo>
                    <a:pt x="1284" y="8649"/>
                    <a:pt x="1287" y="8641"/>
                    <a:pt x="1290" y="8632"/>
                  </a:cubicBezTo>
                  <a:cubicBezTo>
                    <a:pt x="1287" y="8626"/>
                    <a:pt x="1284" y="8621"/>
                    <a:pt x="1281" y="8615"/>
                  </a:cubicBezTo>
                  <a:cubicBezTo>
                    <a:pt x="1278" y="8609"/>
                    <a:pt x="1275" y="8604"/>
                    <a:pt x="1272" y="8598"/>
                  </a:cubicBezTo>
                  <a:lnTo>
                    <a:pt x="1281" y="8496"/>
                  </a:lnTo>
                  <a:cubicBezTo>
                    <a:pt x="1286" y="8487"/>
                    <a:pt x="1290" y="8479"/>
                    <a:pt x="1295" y="8470"/>
                  </a:cubicBezTo>
                  <a:cubicBezTo>
                    <a:pt x="1298" y="8467"/>
                    <a:pt x="1301" y="8465"/>
                    <a:pt x="1304" y="8462"/>
                  </a:cubicBezTo>
                  <a:lnTo>
                    <a:pt x="1304" y="8444"/>
                  </a:lnTo>
                  <a:lnTo>
                    <a:pt x="1304" y="8419"/>
                  </a:lnTo>
                  <a:lnTo>
                    <a:pt x="1304" y="8410"/>
                  </a:lnTo>
                  <a:cubicBezTo>
                    <a:pt x="1306" y="8404"/>
                    <a:pt x="1307" y="8399"/>
                    <a:pt x="1309" y="8393"/>
                  </a:cubicBezTo>
                  <a:cubicBezTo>
                    <a:pt x="1312" y="8390"/>
                    <a:pt x="1315" y="8388"/>
                    <a:pt x="1318" y="8385"/>
                  </a:cubicBezTo>
                  <a:lnTo>
                    <a:pt x="1323" y="8385"/>
                  </a:lnTo>
                  <a:cubicBezTo>
                    <a:pt x="1326" y="8393"/>
                    <a:pt x="1329" y="8402"/>
                    <a:pt x="1332" y="8410"/>
                  </a:cubicBezTo>
                  <a:cubicBezTo>
                    <a:pt x="1337" y="8413"/>
                    <a:pt x="1341" y="8416"/>
                    <a:pt x="1346" y="8419"/>
                  </a:cubicBezTo>
                  <a:cubicBezTo>
                    <a:pt x="1352" y="8447"/>
                    <a:pt x="1358" y="8476"/>
                    <a:pt x="1364" y="8504"/>
                  </a:cubicBezTo>
                  <a:cubicBezTo>
                    <a:pt x="1366" y="8510"/>
                    <a:pt x="1367" y="8515"/>
                    <a:pt x="1369" y="8521"/>
                  </a:cubicBezTo>
                  <a:cubicBezTo>
                    <a:pt x="1381" y="8504"/>
                    <a:pt x="1394" y="8487"/>
                    <a:pt x="1406" y="8470"/>
                  </a:cubicBezTo>
                  <a:lnTo>
                    <a:pt x="1382" y="8359"/>
                  </a:lnTo>
                  <a:lnTo>
                    <a:pt x="1392" y="8359"/>
                  </a:lnTo>
                  <a:cubicBezTo>
                    <a:pt x="1407" y="8342"/>
                    <a:pt x="1423" y="8325"/>
                    <a:pt x="1438" y="8308"/>
                  </a:cubicBezTo>
                  <a:cubicBezTo>
                    <a:pt x="1439" y="8305"/>
                    <a:pt x="1441" y="8302"/>
                    <a:pt x="1442" y="8299"/>
                  </a:cubicBezTo>
                  <a:lnTo>
                    <a:pt x="1442" y="8256"/>
                  </a:lnTo>
                  <a:lnTo>
                    <a:pt x="1452" y="8256"/>
                  </a:lnTo>
                  <a:lnTo>
                    <a:pt x="1456" y="8256"/>
                  </a:lnTo>
                  <a:cubicBezTo>
                    <a:pt x="1461" y="8253"/>
                    <a:pt x="1465" y="8251"/>
                    <a:pt x="1470" y="8248"/>
                  </a:cubicBezTo>
                  <a:cubicBezTo>
                    <a:pt x="1473" y="8242"/>
                    <a:pt x="1476" y="8237"/>
                    <a:pt x="1479" y="8231"/>
                  </a:cubicBezTo>
                  <a:cubicBezTo>
                    <a:pt x="1484" y="8228"/>
                    <a:pt x="1488" y="8225"/>
                    <a:pt x="1493" y="8222"/>
                  </a:cubicBezTo>
                  <a:cubicBezTo>
                    <a:pt x="1495" y="8219"/>
                    <a:pt x="1496" y="8217"/>
                    <a:pt x="1498" y="8214"/>
                  </a:cubicBezTo>
                  <a:cubicBezTo>
                    <a:pt x="1499" y="8208"/>
                    <a:pt x="1501" y="8203"/>
                    <a:pt x="1502" y="8197"/>
                  </a:cubicBezTo>
                  <a:cubicBezTo>
                    <a:pt x="1505" y="8194"/>
                    <a:pt x="1509" y="8191"/>
                    <a:pt x="1512" y="8188"/>
                  </a:cubicBezTo>
                  <a:cubicBezTo>
                    <a:pt x="1513" y="8182"/>
                    <a:pt x="1515" y="8177"/>
                    <a:pt x="1516" y="8171"/>
                  </a:cubicBezTo>
                  <a:lnTo>
                    <a:pt x="1525" y="8162"/>
                  </a:lnTo>
                  <a:cubicBezTo>
                    <a:pt x="1530" y="8156"/>
                    <a:pt x="1534" y="8151"/>
                    <a:pt x="1539" y="8145"/>
                  </a:cubicBezTo>
                  <a:lnTo>
                    <a:pt x="1558" y="8145"/>
                  </a:lnTo>
                  <a:cubicBezTo>
                    <a:pt x="1559" y="8159"/>
                    <a:pt x="1561" y="8174"/>
                    <a:pt x="1562" y="8188"/>
                  </a:cubicBezTo>
                  <a:cubicBezTo>
                    <a:pt x="1570" y="8182"/>
                    <a:pt x="1577" y="8177"/>
                    <a:pt x="1585" y="8171"/>
                  </a:cubicBezTo>
                  <a:cubicBezTo>
                    <a:pt x="1587" y="8177"/>
                    <a:pt x="1588" y="8182"/>
                    <a:pt x="1590" y="8188"/>
                  </a:cubicBezTo>
                  <a:cubicBezTo>
                    <a:pt x="1593" y="8182"/>
                    <a:pt x="1596" y="8177"/>
                    <a:pt x="1599" y="8171"/>
                  </a:cubicBezTo>
                  <a:lnTo>
                    <a:pt x="1599" y="8162"/>
                  </a:lnTo>
                  <a:cubicBezTo>
                    <a:pt x="1601" y="8154"/>
                    <a:pt x="1602" y="8145"/>
                    <a:pt x="1604" y="8137"/>
                  </a:cubicBezTo>
                  <a:cubicBezTo>
                    <a:pt x="1609" y="8140"/>
                    <a:pt x="1613" y="8142"/>
                    <a:pt x="1618" y="8145"/>
                  </a:cubicBezTo>
                  <a:cubicBezTo>
                    <a:pt x="1621" y="8142"/>
                    <a:pt x="1624" y="8140"/>
                    <a:pt x="1627" y="8137"/>
                  </a:cubicBezTo>
                  <a:lnTo>
                    <a:pt x="1631" y="8137"/>
                  </a:lnTo>
                  <a:cubicBezTo>
                    <a:pt x="1633" y="8148"/>
                    <a:pt x="1634" y="8160"/>
                    <a:pt x="1636" y="8171"/>
                  </a:cubicBezTo>
                  <a:cubicBezTo>
                    <a:pt x="1639" y="8177"/>
                    <a:pt x="1642" y="8182"/>
                    <a:pt x="1645" y="8188"/>
                  </a:cubicBezTo>
                  <a:cubicBezTo>
                    <a:pt x="1651" y="8182"/>
                    <a:pt x="1658" y="8177"/>
                    <a:pt x="1664" y="8171"/>
                  </a:cubicBezTo>
                  <a:cubicBezTo>
                    <a:pt x="1667" y="8177"/>
                    <a:pt x="1670" y="8182"/>
                    <a:pt x="1673" y="8188"/>
                  </a:cubicBezTo>
                  <a:cubicBezTo>
                    <a:pt x="1679" y="8182"/>
                    <a:pt x="1685" y="8177"/>
                    <a:pt x="1691" y="8171"/>
                  </a:cubicBezTo>
                  <a:lnTo>
                    <a:pt x="1705" y="8171"/>
                  </a:lnTo>
                  <a:cubicBezTo>
                    <a:pt x="1710" y="8180"/>
                    <a:pt x="1714" y="8188"/>
                    <a:pt x="1719" y="8197"/>
                  </a:cubicBezTo>
                  <a:cubicBezTo>
                    <a:pt x="1721" y="8208"/>
                    <a:pt x="1722" y="8220"/>
                    <a:pt x="1724" y="8231"/>
                  </a:cubicBezTo>
                  <a:cubicBezTo>
                    <a:pt x="1733" y="8239"/>
                    <a:pt x="1742" y="8248"/>
                    <a:pt x="1751" y="8256"/>
                  </a:cubicBezTo>
                  <a:lnTo>
                    <a:pt x="1751" y="8274"/>
                  </a:lnTo>
                  <a:cubicBezTo>
                    <a:pt x="1754" y="8277"/>
                    <a:pt x="1757" y="8279"/>
                    <a:pt x="1760" y="8282"/>
                  </a:cubicBezTo>
                  <a:cubicBezTo>
                    <a:pt x="1763" y="8296"/>
                    <a:pt x="1767" y="8311"/>
                    <a:pt x="1770" y="8325"/>
                  </a:cubicBezTo>
                  <a:lnTo>
                    <a:pt x="1770" y="8350"/>
                  </a:lnTo>
                  <a:lnTo>
                    <a:pt x="1779" y="8368"/>
                  </a:lnTo>
                  <a:cubicBezTo>
                    <a:pt x="1780" y="8365"/>
                    <a:pt x="1782" y="8362"/>
                    <a:pt x="1783" y="8359"/>
                  </a:cubicBezTo>
                  <a:lnTo>
                    <a:pt x="1783" y="8308"/>
                  </a:lnTo>
                  <a:cubicBezTo>
                    <a:pt x="1782" y="8305"/>
                    <a:pt x="1780" y="8302"/>
                    <a:pt x="1779" y="8299"/>
                  </a:cubicBezTo>
                  <a:cubicBezTo>
                    <a:pt x="1780" y="8293"/>
                    <a:pt x="1782" y="8288"/>
                    <a:pt x="1783" y="8282"/>
                  </a:cubicBezTo>
                  <a:cubicBezTo>
                    <a:pt x="1788" y="8279"/>
                    <a:pt x="1792" y="8277"/>
                    <a:pt x="1797" y="8274"/>
                  </a:cubicBezTo>
                  <a:lnTo>
                    <a:pt x="1797" y="8299"/>
                  </a:lnTo>
                  <a:lnTo>
                    <a:pt x="1806" y="8308"/>
                  </a:lnTo>
                  <a:cubicBezTo>
                    <a:pt x="1808" y="8314"/>
                    <a:pt x="1809" y="8319"/>
                    <a:pt x="1811" y="8325"/>
                  </a:cubicBezTo>
                  <a:cubicBezTo>
                    <a:pt x="1814" y="8328"/>
                    <a:pt x="1817" y="8330"/>
                    <a:pt x="1820" y="8333"/>
                  </a:cubicBezTo>
                  <a:cubicBezTo>
                    <a:pt x="1831" y="8342"/>
                    <a:pt x="1842" y="8350"/>
                    <a:pt x="1853" y="8359"/>
                  </a:cubicBezTo>
                  <a:lnTo>
                    <a:pt x="1866" y="8359"/>
                  </a:lnTo>
                  <a:cubicBezTo>
                    <a:pt x="1872" y="8348"/>
                    <a:pt x="1879" y="8336"/>
                    <a:pt x="1885" y="8325"/>
                  </a:cubicBezTo>
                  <a:lnTo>
                    <a:pt x="1885" y="8308"/>
                  </a:lnTo>
                  <a:lnTo>
                    <a:pt x="1894" y="8299"/>
                  </a:lnTo>
                  <a:cubicBezTo>
                    <a:pt x="1896" y="8293"/>
                    <a:pt x="1897" y="8288"/>
                    <a:pt x="1899" y="8282"/>
                  </a:cubicBezTo>
                  <a:lnTo>
                    <a:pt x="1912" y="8282"/>
                  </a:lnTo>
                  <a:cubicBezTo>
                    <a:pt x="1914" y="8288"/>
                    <a:pt x="1915" y="8293"/>
                    <a:pt x="1917" y="8299"/>
                  </a:cubicBezTo>
                  <a:lnTo>
                    <a:pt x="1917" y="8274"/>
                  </a:lnTo>
                  <a:cubicBezTo>
                    <a:pt x="1925" y="8277"/>
                    <a:pt x="1932" y="8279"/>
                    <a:pt x="1940" y="8282"/>
                  </a:cubicBezTo>
                  <a:cubicBezTo>
                    <a:pt x="1942" y="8279"/>
                    <a:pt x="1943" y="8277"/>
                    <a:pt x="1945" y="8274"/>
                  </a:cubicBezTo>
                  <a:cubicBezTo>
                    <a:pt x="1954" y="8285"/>
                    <a:pt x="1963" y="8297"/>
                    <a:pt x="1972" y="8308"/>
                  </a:cubicBezTo>
                  <a:cubicBezTo>
                    <a:pt x="1977" y="8299"/>
                    <a:pt x="1981" y="8291"/>
                    <a:pt x="1986" y="8282"/>
                  </a:cubicBezTo>
                  <a:cubicBezTo>
                    <a:pt x="1988" y="8279"/>
                    <a:pt x="1989" y="8277"/>
                    <a:pt x="1991" y="8274"/>
                  </a:cubicBezTo>
                  <a:lnTo>
                    <a:pt x="2014" y="8274"/>
                  </a:lnTo>
                  <a:cubicBezTo>
                    <a:pt x="2015" y="8268"/>
                    <a:pt x="2017" y="8262"/>
                    <a:pt x="2018" y="8256"/>
                  </a:cubicBezTo>
                  <a:cubicBezTo>
                    <a:pt x="2026" y="8262"/>
                    <a:pt x="2033" y="8268"/>
                    <a:pt x="2041" y="8274"/>
                  </a:cubicBezTo>
                  <a:cubicBezTo>
                    <a:pt x="2043" y="8277"/>
                    <a:pt x="2044" y="8279"/>
                    <a:pt x="2046" y="8282"/>
                  </a:cubicBezTo>
                  <a:lnTo>
                    <a:pt x="2046" y="8325"/>
                  </a:lnTo>
                  <a:cubicBezTo>
                    <a:pt x="2051" y="8333"/>
                    <a:pt x="2055" y="8342"/>
                    <a:pt x="2060" y="8350"/>
                  </a:cubicBezTo>
                  <a:lnTo>
                    <a:pt x="2078" y="8350"/>
                  </a:lnTo>
                  <a:lnTo>
                    <a:pt x="2092" y="8350"/>
                  </a:lnTo>
                  <a:lnTo>
                    <a:pt x="2092" y="8350"/>
                  </a:lnTo>
                  <a:lnTo>
                    <a:pt x="2101" y="8368"/>
                  </a:lnTo>
                  <a:lnTo>
                    <a:pt x="2120" y="8368"/>
                  </a:lnTo>
                  <a:cubicBezTo>
                    <a:pt x="2121" y="8365"/>
                    <a:pt x="2123" y="8362"/>
                    <a:pt x="2124" y="8359"/>
                  </a:cubicBezTo>
                  <a:cubicBezTo>
                    <a:pt x="2129" y="8348"/>
                    <a:pt x="2133" y="8336"/>
                    <a:pt x="2138" y="8325"/>
                  </a:cubicBezTo>
                  <a:lnTo>
                    <a:pt x="2147" y="8325"/>
                  </a:lnTo>
                  <a:cubicBezTo>
                    <a:pt x="2152" y="8333"/>
                    <a:pt x="2156" y="8342"/>
                    <a:pt x="2161" y="8350"/>
                  </a:cubicBezTo>
                  <a:lnTo>
                    <a:pt x="2198" y="8350"/>
                  </a:lnTo>
                  <a:cubicBezTo>
                    <a:pt x="2201" y="8344"/>
                    <a:pt x="2204" y="8339"/>
                    <a:pt x="2207" y="8333"/>
                  </a:cubicBezTo>
                  <a:cubicBezTo>
                    <a:pt x="2213" y="8330"/>
                    <a:pt x="2220" y="8328"/>
                    <a:pt x="2226" y="8325"/>
                  </a:cubicBezTo>
                  <a:cubicBezTo>
                    <a:pt x="2234" y="8291"/>
                    <a:pt x="2241" y="8256"/>
                    <a:pt x="2249" y="8222"/>
                  </a:cubicBezTo>
                  <a:cubicBezTo>
                    <a:pt x="2244" y="8214"/>
                    <a:pt x="2240" y="8205"/>
                    <a:pt x="2235" y="8197"/>
                  </a:cubicBezTo>
                  <a:lnTo>
                    <a:pt x="2198" y="8197"/>
                  </a:lnTo>
                  <a:cubicBezTo>
                    <a:pt x="2195" y="8188"/>
                    <a:pt x="2192" y="8180"/>
                    <a:pt x="2189" y="8171"/>
                  </a:cubicBezTo>
                  <a:cubicBezTo>
                    <a:pt x="2180" y="8162"/>
                    <a:pt x="2170" y="8154"/>
                    <a:pt x="2161" y="8145"/>
                  </a:cubicBezTo>
                  <a:lnTo>
                    <a:pt x="2161" y="8137"/>
                  </a:lnTo>
                  <a:cubicBezTo>
                    <a:pt x="2158" y="8131"/>
                    <a:pt x="2155" y="8126"/>
                    <a:pt x="2152" y="8120"/>
                  </a:cubicBezTo>
                  <a:cubicBezTo>
                    <a:pt x="2147" y="8117"/>
                    <a:pt x="2143" y="8114"/>
                    <a:pt x="2138" y="8111"/>
                  </a:cubicBezTo>
                  <a:lnTo>
                    <a:pt x="2138" y="8094"/>
                  </a:lnTo>
                  <a:lnTo>
                    <a:pt x="2147" y="8085"/>
                  </a:lnTo>
                  <a:cubicBezTo>
                    <a:pt x="2152" y="8077"/>
                    <a:pt x="2156" y="8068"/>
                    <a:pt x="2161" y="8060"/>
                  </a:cubicBezTo>
                  <a:cubicBezTo>
                    <a:pt x="2173" y="8051"/>
                    <a:pt x="2186" y="8043"/>
                    <a:pt x="2198" y="8034"/>
                  </a:cubicBezTo>
                  <a:lnTo>
                    <a:pt x="2198" y="8026"/>
                  </a:lnTo>
                  <a:lnTo>
                    <a:pt x="2198" y="8000"/>
                  </a:lnTo>
                  <a:lnTo>
                    <a:pt x="2180" y="7940"/>
                  </a:lnTo>
                  <a:lnTo>
                    <a:pt x="2189" y="7940"/>
                  </a:lnTo>
                  <a:cubicBezTo>
                    <a:pt x="2192" y="7934"/>
                    <a:pt x="2195" y="7929"/>
                    <a:pt x="2198" y="7923"/>
                  </a:cubicBezTo>
                  <a:lnTo>
                    <a:pt x="2198" y="7897"/>
                  </a:lnTo>
                  <a:cubicBezTo>
                    <a:pt x="2201" y="7894"/>
                    <a:pt x="2204" y="7892"/>
                    <a:pt x="2207" y="7889"/>
                  </a:cubicBezTo>
                  <a:lnTo>
                    <a:pt x="2221" y="7889"/>
                  </a:lnTo>
                  <a:cubicBezTo>
                    <a:pt x="2223" y="7892"/>
                    <a:pt x="2224" y="7894"/>
                    <a:pt x="2226" y="7897"/>
                  </a:cubicBezTo>
                  <a:cubicBezTo>
                    <a:pt x="2229" y="7894"/>
                    <a:pt x="2232" y="7892"/>
                    <a:pt x="2235" y="7889"/>
                  </a:cubicBezTo>
                  <a:cubicBezTo>
                    <a:pt x="2240" y="7892"/>
                    <a:pt x="2244" y="7894"/>
                    <a:pt x="2249" y="7897"/>
                  </a:cubicBezTo>
                  <a:lnTo>
                    <a:pt x="2267" y="7897"/>
                  </a:lnTo>
                  <a:cubicBezTo>
                    <a:pt x="2269" y="7894"/>
                    <a:pt x="2270" y="7892"/>
                    <a:pt x="2272" y="7889"/>
                  </a:cubicBezTo>
                  <a:cubicBezTo>
                    <a:pt x="2275" y="7883"/>
                    <a:pt x="2278" y="7878"/>
                    <a:pt x="2281" y="7872"/>
                  </a:cubicBezTo>
                  <a:cubicBezTo>
                    <a:pt x="2278" y="7863"/>
                    <a:pt x="2275" y="7855"/>
                    <a:pt x="2272" y="7846"/>
                  </a:cubicBezTo>
                  <a:cubicBezTo>
                    <a:pt x="2266" y="7843"/>
                    <a:pt x="2259" y="7841"/>
                    <a:pt x="2253" y="7838"/>
                  </a:cubicBezTo>
                  <a:cubicBezTo>
                    <a:pt x="2242" y="7832"/>
                    <a:pt x="2232" y="7827"/>
                    <a:pt x="2221" y="7821"/>
                  </a:cubicBezTo>
                  <a:lnTo>
                    <a:pt x="2212" y="7812"/>
                  </a:lnTo>
                  <a:lnTo>
                    <a:pt x="2212" y="7803"/>
                  </a:lnTo>
                  <a:lnTo>
                    <a:pt x="2221" y="7803"/>
                  </a:lnTo>
                  <a:cubicBezTo>
                    <a:pt x="2226" y="7797"/>
                    <a:pt x="2230" y="7792"/>
                    <a:pt x="2235" y="7786"/>
                  </a:cubicBezTo>
                  <a:cubicBezTo>
                    <a:pt x="2237" y="7783"/>
                    <a:pt x="2238" y="7781"/>
                    <a:pt x="2240" y="7778"/>
                  </a:cubicBezTo>
                  <a:cubicBezTo>
                    <a:pt x="2235" y="7772"/>
                    <a:pt x="2231" y="7767"/>
                    <a:pt x="2226" y="7761"/>
                  </a:cubicBezTo>
                  <a:cubicBezTo>
                    <a:pt x="2224" y="7767"/>
                    <a:pt x="2223" y="7772"/>
                    <a:pt x="2221" y="7778"/>
                  </a:cubicBezTo>
                  <a:lnTo>
                    <a:pt x="2198" y="7778"/>
                  </a:lnTo>
                  <a:lnTo>
                    <a:pt x="2198" y="7752"/>
                  </a:lnTo>
                  <a:cubicBezTo>
                    <a:pt x="2201" y="7746"/>
                    <a:pt x="2204" y="7741"/>
                    <a:pt x="2207" y="7735"/>
                  </a:cubicBezTo>
                  <a:cubicBezTo>
                    <a:pt x="2209" y="7732"/>
                    <a:pt x="2210" y="7729"/>
                    <a:pt x="2212" y="7726"/>
                  </a:cubicBezTo>
                  <a:cubicBezTo>
                    <a:pt x="2207" y="7715"/>
                    <a:pt x="2203" y="7703"/>
                    <a:pt x="2198" y="7692"/>
                  </a:cubicBezTo>
                  <a:lnTo>
                    <a:pt x="2221" y="7692"/>
                  </a:lnTo>
                  <a:lnTo>
                    <a:pt x="2221" y="7675"/>
                  </a:lnTo>
                  <a:lnTo>
                    <a:pt x="2235" y="7675"/>
                  </a:lnTo>
                  <a:cubicBezTo>
                    <a:pt x="2237" y="7681"/>
                    <a:pt x="2238" y="7686"/>
                    <a:pt x="2240" y="7692"/>
                  </a:cubicBezTo>
                  <a:lnTo>
                    <a:pt x="2249" y="7692"/>
                  </a:lnTo>
                  <a:lnTo>
                    <a:pt x="2258" y="7692"/>
                  </a:lnTo>
                  <a:lnTo>
                    <a:pt x="2267" y="7692"/>
                  </a:lnTo>
                  <a:lnTo>
                    <a:pt x="2295" y="7692"/>
                  </a:lnTo>
                  <a:cubicBezTo>
                    <a:pt x="2297" y="7695"/>
                    <a:pt x="2298" y="7698"/>
                    <a:pt x="2300" y="7701"/>
                  </a:cubicBezTo>
                  <a:cubicBezTo>
                    <a:pt x="2304" y="7692"/>
                    <a:pt x="2309" y="7684"/>
                    <a:pt x="2313" y="7675"/>
                  </a:cubicBezTo>
                  <a:lnTo>
                    <a:pt x="2323" y="7675"/>
                  </a:lnTo>
                  <a:lnTo>
                    <a:pt x="2341" y="7675"/>
                  </a:lnTo>
                  <a:cubicBezTo>
                    <a:pt x="2343" y="7672"/>
                    <a:pt x="2344" y="7670"/>
                    <a:pt x="2346" y="7667"/>
                  </a:cubicBezTo>
                  <a:cubicBezTo>
                    <a:pt x="2350" y="7661"/>
                    <a:pt x="2355" y="7656"/>
                    <a:pt x="2359" y="7650"/>
                  </a:cubicBezTo>
                  <a:cubicBezTo>
                    <a:pt x="2364" y="7641"/>
                    <a:pt x="2368" y="7633"/>
                    <a:pt x="2373" y="7624"/>
                  </a:cubicBezTo>
                  <a:cubicBezTo>
                    <a:pt x="2376" y="7630"/>
                    <a:pt x="2379" y="7635"/>
                    <a:pt x="2382" y="7641"/>
                  </a:cubicBezTo>
                  <a:cubicBezTo>
                    <a:pt x="2387" y="7644"/>
                    <a:pt x="2391" y="7647"/>
                    <a:pt x="2396" y="7650"/>
                  </a:cubicBezTo>
                  <a:lnTo>
                    <a:pt x="2401" y="7650"/>
                  </a:lnTo>
                  <a:lnTo>
                    <a:pt x="2401" y="7624"/>
                  </a:lnTo>
                  <a:lnTo>
                    <a:pt x="2419" y="7624"/>
                  </a:lnTo>
                  <a:cubicBezTo>
                    <a:pt x="2424" y="7621"/>
                    <a:pt x="2428" y="7618"/>
                    <a:pt x="2433" y="7615"/>
                  </a:cubicBezTo>
                  <a:lnTo>
                    <a:pt x="2442" y="7615"/>
                  </a:lnTo>
                  <a:cubicBezTo>
                    <a:pt x="2444" y="7609"/>
                    <a:pt x="2445" y="7604"/>
                    <a:pt x="2447" y="7598"/>
                  </a:cubicBezTo>
                  <a:lnTo>
                    <a:pt x="2461" y="7598"/>
                  </a:lnTo>
                  <a:cubicBezTo>
                    <a:pt x="2462" y="7604"/>
                    <a:pt x="2464" y="7609"/>
                    <a:pt x="2465" y="7615"/>
                  </a:cubicBezTo>
                  <a:cubicBezTo>
                    <a:pt x="2470" y="7598"/>
                    <a:pt x="2474" y="7581"/>
                    <a:pt x="2479" y="7564"/>
                  </a:cubicBezTo>
                  <a:cubicBezTo>
                    <a:pt x="2482" y="7561"/>
                    <a:pt x="2485" y="7559"/>
                    <a:pt x="2488" y="7556"/>
                  </a:cubicBezTo>
                  <a:lnTo>
                    <a:pt x="2493" y="7556"/>
                  </a:lnTo>
                  <a:lnTo>
                    <a:pt x="2507" y="7556"/>
                  </a:lnTo>
                  <a:cubicBezTo>
                    <a:pt x="2515" y="7550"/>
                    <a:pt x="2522" y="7544"/>
                    <a:pt x="2530" y="7538"/>
                  </a:cubicBezTo>
                  <a:lnTo>
                    <a:pt x="2530" y="7556"/>
                  </a:lnTo>
                  <a:lnTo>
                    <a:pt x="2641" y="7504"/>
                  </a:lnTo>
                  <a:cubicBezTo>
                    <a:pt x="2645" y="7498"/>
                    <a:pt x="2650" y="7493"/>
                    <a:pt x="2654" y="7487"/>
                  </a:cubicBezTo>
                  <a:lnTo>
                    <a:pt x="2664" y="7487"/>
                  </a:lnTo>
                  <a:cubicBezTo>
                    <a:pt x="2665" y="7484"/>
                    <a:pt x="2667" y="7482"/>
                    <a:pt x="2668" y="7479"/>
                  </a:cubicBezTo>
                  <a:cubicBezTo>
                    <a:pt x="2670" y="7473"/>
                    <a:pt x="2671" y="7468"/>
                    <a:pt x="2673" y="7462"/>
                  </a:cubicBezTo>
                  <a:lnTo>
                    <a:pt x="2673" y="7427"/>
                  </a:lnTo>
                  <a:cubicBezTo>
                    <a:pt x="2678" y="7430"/>
                    <a:pt x="2682" y="7433"/>
                    <a:pt x="2687" y="7436"/>
                  </a:cubicBezTo>
                  <a:lnTo>
                    <a:pt x="2696" y="7427"/>
                  </a:lnTo>
                  <a:cubicBezTo>
                    <a:pt x="2697" y="7424"/>
                    <a:pt x="2699" y="7422"/>
                    <a:pt x="2700" y="7419"/>
                  </a:cubicBezTo>
                  <a:cubicBezTo>
                    <a:pt x="2703" y="7413"/>
                    <a:pt x="2707" y="7408"/>
                    <a:pt x="2710" y="7402"/>
                  </a:cubicBezTo>
                  <a:lnTo>
                    <a:pt x="2724" y="7402"/>
                  </a:lnTo>
                  <a:lnTo>
                    <a:pt x="2724" y="7393"/>
                  </a:lnTo>
                  <a:lnTo>
                    <a:pt x="2737" y="7393"/>
                  </a:lnTo>
                  <a:cubicBezTo>
                    <a:pt x="2739" y="7396"/>
                    <a:pt x="2740" y="7399"/>
                    <a:pt x="2742" y="7402"/>
                  </a:cubicBezTo>
                  <a:lnTo>
                    <a:pt x="2747" y="7402"/>
                  </a:lnTo>
                  <a:lnTo>
                    <a:pt x="2760" y="7402"/>
                  </a:lnTo>
                  <a:lnTo>
                    <a:pt x="2770" y="7402"/>
                  </a:lnTo>
                  <a:lnTo>
                    <a:pt x="2774" y="7402"/>
                  </a:lnTo>
                  <a:cubicBezTo>
                    <a:pt x="2777" y="7408"/>
                    <a:pt x="2780" y="7413"/>
                    <a:pt x="2783" y="7419"/>
                  </a:cubicBezTo>
                  <a:cubicBezTo>
                    <a:pt x="2789" y="7425"/>
                    <a:pt x="2796" y="7430"/>
                    <a:pt x="2802" y="7436"/>
                  </a:cubicBezTo>
                  <a:cubicBezTo>
                    <a:pt x="2807" y="7430"/>
                    <a:pt x="2811" y="7425"/>
                    <a:pt x="2816" y="7419"/>
                  </a:cubicBezTo>
                  <a:lnTo>
                    <a:pt x="2834" y="7419"/>
                  </a:lnTo>
                  <a:lnTo>
                    <a:pt x="2843" y="7419"/>
                  </a:lnTo>
                  <a:cubicBezTo>
                    <a:pt x="2845" y="7425"/>
                    <a:pt x="2846" y="7430"/>
                    <a:pt x="2848" y="7436"/>
                  </a:cubicBezTo>
                  <a:cubicBezTo>
                    <a:pt x="2851" y="7442"/>
                    <a:pt x="2854" y="7447"/>
                    <a:pt x="2857" y="7453"/>
                  </a:cubicBezTo>
                  <a:lnTo>
                    <a:pt x="2857" y="7504"/>
                  </a:lnTo>
                  <a:cubicBezTo>
                    <a:pt x="2859" y="7513"/>
                    <a:pt x="2860" y="7521"/>
                    <a:pt x="2862" y="7530"/>
                  </a:cubicBezTo>
                  <a:cubicBezTo>
                    <a:pt x="2867" y="7533"/>
                    <a:pt x="2871" y="7535"/>
                    <a:pt x="2876" y="7538"/>
                  </a:cubicBezTo>
                  <a:cubicBezTo>
                    <a:pt x="2874" y="7547"/>
                    <a:pt x="2873" y="7555"/>
                    <a:pt x="2871" y="7564"/>
                  </a:cubicBezTo>
                  <a:lnTo>
                    <a:pt x="2871" y="7598"/>
                  </a:lnTo>
                  <a:cubicBezTo>
                    <a:pt x="2866" y="7607"/>
                    <a:pt x="2862" y="7615"/>
                    <a:pt x="2857" y="7624"/>
                  </a:cubicBezTo>
                  <a:cubicBezTo>
                    <a:pt x="2859" y="7630"/>
                    <a:pt x="2860" y="7635"/>
                    <a:pt x="2862" y="7641"/>
                  </a:cubicBezTo>
                  <a:cubicBezTo>
                    <a:pt x="2865" y="7650"/>
                    <a:pt x="2868" y="7658"/>
                    <a:pt x="2871" y="7667"/>
                  </a:cubicBezTo>
                  <a:cubicBezTo>
                    <a:pt x="2874" y="7661"/>
                    <a:pt x="2877" y="7656"/>
                    <a:pt x="2880" y="7650"/>
                  </a:cubicBezTo>
                  <a:cubicBezTo>
                    <a:pt x="2885" y="7656"/>
                    <a:pt x="2889" y="7661"/>
                    <a:pt x="2894" y="7667"/>
                  </a:cubicBezTo>
                  <a:lnTo>
                    <a:pt x="2903" y="7667"/>
                  </a:lnTo>
                  <a:cubicBezTo>
                    <a:pt x="2905" y="7658"/>
                    <a:pt x="2906" y="7650"/>
                    <a:pt x="2908" y="7641"/>
                  </a:cubicBezTo>
                  <a:lnTo>
                    <a:pt x="2917" y="7641"/>
                  </a:lnTo>
                  <a:lnTo>
                    <a:pt x="2922" y="7641"/>
                  </a:lnTo>
                  <a:cubicBezTo>
                    <a:pt x="2925" y="7632"/>
                    <a:pt x="2928" y="7624"/>
                    <a:pt x="2931" y="7615"/>
                  </a:cubicBezTo>
                  <a:lnTo>
                    <a:pt x="2935" y="7615"/>
                  </a:lnTo>
                  <a:cubicBezTo>
                    <a:pt x="2938" y="7627"/>
                    <a:pt x="2942" y="7638"/>
                    <a:pt x="2945" y="7650"/>
                  </a:cubicBezTo>
                  <a:cubicBezTo>
                    <a:pt x="2946" y="7656"/>
                    <a:pt x="2948" y="7661"/>
                    <a:pt x="2949" y="7667"/>
                  </a:cubicBezTo>
                  <a:lnTo>
                    <a:pt x="2949" y="7675"/>
                  </a:lnTo>
                  <a:cubicBezTo>
                    <a:pt x="2948" y="7681"/>
                    <a:pt x="2946" y="7686"/>
                    <a:pt x="2945" y="7692"/>
                  </a:cubicBezTo>
                  <a:lnTo>
                    <a:pt x="2963" y="7701"/>
                  </a:lnTo>
                  <a:lnTo>
                    <a:pt x="2963" y="7675"/>
                  </a:lnTo>
                  <a:cubicBezTo>
                    <a:pt x="2960" y="7672"/>
                    <a:pt x="2957" y="7670"/>
                    <a:pt x="2954" y="7667"/>
                  </a:cubicBezTo>
                  <a:lnTo>
                    <a:pt x="2963" y="7667"/>
                  </a:lnTo>
                  <a:lnTo>
                    <a:pt x="2982" y="7667"/>
                  </a:lnTo>
                  <a:cubicBezTo>
                    <a:pt x="2985" y="7670"/>
                    <a:pt x="2988" y="7672"/>
                    <a:pt x="2991" y="7675"/>
                  </a:cubicBezTo>
                  <a:cubicBezTo>
                    <a:pt x="2992" y="7681"/>
                    <a:pt x="2994" y="7686"/>
                    <a:pt x="2995" y="7692"/>
                  </a:cubicBezTo>
                  <a:cubicBezTo>
                    <a:pt x="3000" y="7695"/>
                    <a:pt x="3004" y="7698"/>
                    <a:pt x="3009" y="7701"/>
                  </a:cubicBezTo>
                  <a:lnTo>
                    <a:pt x="3018" y="7701"/>
                  </a:lnTo>
                  <a:cubicBezTo>
                    <a:pt x="3020" y="7698"/>
                    <a:pt x="3021" y="7695"/>
                    <a:pt x="3023" y="7692"/>
                  </a:cubicBezTo>
                  <a:cubicBezTo>
                    <a:pt x="3025" y="7686"/>
                    <a:pt x="3026" y="7681"/>
                    <a:pt x="3028" y="7675"/>
                  </a:cubicBezTo>
                  <a:cubicBezTo>
                    <a:pt x="3031" y="7681"/>
                    <a:pt x="3034" y="7686"/>
                    <a:pt x="3037" y="7692"/>
                  </a:cubicBezTo>
                  <a:cubicBezTo>
                    <a:pt x="3034" y="7698"/>
                    <a:pt x="3031" y="7703"/>
                    <a:pt x="3028" y="7709"/>
                  </a:cubicBezTo>
                  <a:lnTo>
                    <a:pt x="3023" y="7709"/>
                  </a:lnTo>
                  <a:cubicBezTo>
                    <a:pt x="3021" y="7715"/>
                    <a:pt x="3020" y="7720"/>
                    <a:pt x="3018" y="7726"/>
                  </a:cubicBezTo>
                  <a:lnTo>
                    <a:pt x="3009" y="7735"/>
                  </a:lnTo>
                  <a:lnTo>
                    <a:pt x="3009" y="7761"/>
                  </a:lnTo>
                  <a:lnTo>
                    <a:pt x="3009" y="7778"/>
                  </a:lnTo>
                  <a:cubicBezTo>
                    <a:pt x="3012" y="7781"/>
                    <a:pt x="3015" y="7783"/>
                    <a:pt x="3018" y="7786"/>
                  </a:cubicBezTo>
                  <a:lnTo>
                    <a:pt x="3023" y="7786"/>
                  </a:lnTo>
                  <a:cubicBezTo>
                    <a:pt x="3025" y="7783"/>
                    <a:pt x="3026" y="7781"/>
                    <a:pt x="3028" y="7778"/>
                  </a:cubicBezTo>
                  <a:cubicBezTo>
                    <a:pt x="3036" y="7772"/>
                    <a:pt x="3043" y="7767"/>
                    <a:pt x="3051" y="7761"/>
                  </a:cubicBezTo>
                  <a:cubicBezTo>
                    <a:pt x="3052" y="7767"/>
                    <a:pt x="3054" y="7772"/>
                    <a:pt x="3055" y="7778"/>
                  </a:cubicBezTo>
                  <a:cubicBezTo>
                    <a:pt x="3058" y="7772"/>
                    <a:pt x="3062" y="7767"/>
                    <a:pt x="3065" y="7761"/>
                  </a:cubicBezTo>
                  <a:cubicBezTo>
                    <a:pt x="3066" y="7769"/>
                    <a:pt x="3068" y="7778"/>
                    <a:pt x="3069" y="7786"/>
                  </a:cubicBezTo>
                  <a:lnTo>
                    <a:pt x="3083" y="7786"/>
                  </a:lnTo>
                  <a:cubicBezTo>
                    <a:pt x="3081" y="7778"/>
                    <a:pt x="3080" y="7769"/>
                    <a:pt x="3078" y="7761"/>
                  </a:cubicBezTo>
                  <a:cubicBezTo>
                    <a:pt x="3080" y="7758"/>
                    <a:pt x="3081" y="7755"/>
                    <a:pt x="3083" y="7752"/>
                  </a:cubicBezTo>
                  <a:lnTo>
                    <a:pt x="3097" y="7752"/>
                  </a:lnTo>
                  <a:cubicBezTo>
                    <a:pt x="3102" y="7743"/>
                    <a:pt x="3106" y="7735"/>
                    <a:pt x="3111" y="7726"/>
                  </a:cubicBezTo>
                  <a:cubicBezTo>
                    <a:pt x="3115" y="7720"/>
                    <a:pt x="3120" y="7715"/>
                    <a:pt x="3124" y="7709"/>
                  </a:cubicBezTo>
                  <a:cubicBezTo>
                    <a:pt x="3130" y="7703"/>
                    <a:pt x="3137" y="7698"/>
                    <a:pt x="3143" y="7692"/>
                  </a:cubicBezTo>
                  <a:cubicBezTo>
                    <a:pt x="3146" y="7684"/>
                    <a:pt x="3149" y="7675"/>
                    <a:pt x="3152" y="7667"/>
                  </a:cubicBezTo>
                  <a:cubicBezTo>
                    <a:pt x="3154" y="7661"/>
                    <a:pt x="3155" y="7656"/>
                    <a:pt x="3157" y="7650"/>
                  </a:cubicBezTo>
                  <a:lnTo>
                    <a:pt x="3161" y="7650"/>
                  </a:lnTo>
                  <a:cubicBezTo>
                    <a:pt x="3170" y="7647"/>
                    <a:pt x="3180" y="7644"/>
                    <a:pt x="3189" y="7641"/>
                  </a:cubicBezTo>
                  <a:cubicBezTo>
                    <a:pt x="3192" y="7635"/>
                    <a:pt x="3195" y="7630"/>
                    <a:pt x="3198" y="7624"/>
                  </a:cubicBezTo>
                  <a:cubicBezTo>
                    <a:pt x="3204" y="7621"/>
                    <a:pt x="3211" y="7618"/>
                    <a:pt x="3217" y="7615"/>
                  </a:cubicBezTo>
                  <a:cubicBezTo>
                    <a:pt x="3223" y="7609"/>
                    <a:pt x="3229" y="7604"/>
                    <a:pt x="3235" y="7598"/>
                  </a:cubicBezTo>
                  <a:lnTo>
                    <a:pt x="3235" y="7615"/>
                  </a:lnTo>
                  <a:lnTo>
                    <a:pt x="3235" y="7641"/>
                  </a:lnTo>
                  <a:lnTo>
                    <a:pt x="3235" y="7650"/>
                  </a:lnTo>
                  <a:lnTo>
                    <a:pt x="3226" y="7650"/>
                  </a:lnTo>
                  <a:lnTo>
                    <a:pt x="3217" y="7650"/>
                  </a:lnTo>
                  <a:cubicBezTo>
                    <a:pt x="3215" y="7658"/>
                    <a:pt x="3214" y="7667"/>
                    <a:pt x="3212" y="7675"/>
                  </a:cubicBezTo>
                  <a:lnTo>
                    <a:pt x="3212" y="7675"/>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82" name="Freeform 696"/>
            <p:cNvSpPr>
              <a:spLocks/>
            </p:cNvSpPr>
            <p:nvPr/>
          </p:nvSpPr>
          <p:spPr bwMode="auto">
            <a:xfrm>
              <a:off x="6802776" y="2574875"/>
              <a:ext cx="185216" cy="144007"/>
            </a:xfrm>
            <a:custGeom>
              <a:avLst/>
              <a:gdLst/>
              <a:ahLst/>
              <a:cxnLst>
                <a:cxn ang="0">
                  <a:pos x="67" y="27"/>
                </a:cxn>
                <a:cxn ang="0">
                  <a:pos x="64" y="17"/>
                </a:cxn>
                <a:cxn ang="0">
                  <a:pos x="70" y="11"/>
                </a:cxn>
                <a:cxn ang="0">
                  <a:pos x="79" y="8"/>
                </a:cxn>
                <a:cxn ang="0">
                  <a:pos x="85" y="7"/>
                </a:cxn>
                <a:cxn ang="0">
                  <a:pos x="82" y="3"/>
                </a:cxn>
                <a:cxn ang="0">
                  <a:pos x="88" y="1"/>
                </a:cxn>
                <a:cxn ang="0">
                  <a:pos x="101" y="8"/>
                </a:cxn>
                <a:cxn ang="0">
                  <a:pos x="108" y="11"/>
                </a:cxn>
                <a:cxn ang="0">
                  <a:pos x="111" y="17"/>
                </a:cxn>
                <a:cxn ang="0">
                  <a:pos x="109" y="23"/>
                </a:cxn>
                <a:cxn ang="0">
                  <a:pos x="114" y="29"/>
                </a:cxn>
                <a:cxn ang="0">
                  <a:pos x="128" y="27"/>
                </a:cxn>
                <a:cxn ang="0">
                  <a:pos x="137" y="35"/>
                </a:cxn>
                <a:cxn ang="0">
                  <a:pos x="143" y="43"/>
                </a:cxn>
                <a:cxn ang="0">
                  <a:pos x="146" y="55"/>
                </a:cxn>
                <a:cxn ang="0">
                  <a:pos x="186" y="84"/>
                </a:cxn>
                <a:cxn ang="0">
                  <a:pos x="192" y="83"/>
                </a:cxn>
                <a:cxn ang="0">
                  <a:pos x="202" y="90"/>
                </a:cxn>
                <a:cxn ang="0">
                  <a:pos x="196" y="100"/>
                </a:cxn>
                <a:cxn ang="0">
                  <a:pos x="188" y="99"/>
                </a:cxn>
                <a:cxn ang="0">
                  <a:pos x="186" y="103"/>
                </a:cxn>
                <a:cxn ang="0">
                  <a:pos x="179" y="103"/>
                </a:cxn>
                <a:cxn ang="0">
                  <a:pos x="176" y="106"/>
                </a:cxn>
                <a:cxn ang="0">
                  <a:pos x="173" y="113"/>
                </a:cxn>
                <a:cxn ang="0">
                  <a:pos x="167" y="122"/>
                </a:cxn>
                <a:cxn ang="0">
                  <a:pos x="162" y="126"/>
                </a:cxn>
                <a:cxn ang="0">
                  <a:pos x="153" y="128"/>
                </a:cxn>
                <a:cxn ang="0">
                  <a:pos x="153" y="132"/>
                </a:cxn>
                <a:cxn ang="0">
                  <a:pos x="149" y="136"/>
                </a:cxn>
                <a:cxn ang="0">
                  <a:pos x="141" y="138"/>
                </a:cxn>
                <a:cxn ang="0">
                  <a:pos x="137" y="135"/>
                </a:cxn>
                <a:cxn ang="0">
                  <a:pos x="130" y="133"/>
                </a:cxn>
                <a:cxn ang="0">
                  <a:pos x="127" y="128"/>
                </a:cxn>
                <a:cxn ang="0">
                  <a:pos x="124" y="113"/>
                </a:cxn>
                <a:cxn ang="0">
                  <a:pos x="101" y="100"/>
                </a:cxn>
                <a:cxn ang="0">
                  <a:pos x="92" y="94"/>
                </a:cxn>
                <a:cxn ang="0">
                  <a:pos x="67" y="83"/>
                </a:cxn>
                <a:cxn ang="0">
                  <a:pos x="56" y="87"/>
                </a:cxn>
                <a:cxn ang="0">
                  <a:pos x="43" y="87"/>
                </a:cxn>
                <a:cxn ang="0">
                  <a:pos x="22" y="99"/>
                </a:cxn>
                <a:cxn ang="0">
                  <a:pos x="24" y="71"/>
                </a:cxn>
                <a:cxn ang="0">
                  <a:pos x="14" y="64"/>
                </a:cxn>
                <a:cxn ang="0">
                  <a:pos x="16" y="58"/>
                </a:cxn>
                <a:cxn ang="0">
                  <a:pos x="21" y="55"/>
                </a:cxn>
                <a:cxn ang="0">
                  <a:pos x="9" y="52"/>
                </a:cxn>
                <a:cxn ang="0">
                  <a:pos x="5" y="46"/>
                </a:cxn>
                <a:cxn ang="0">
                  <a:pos x="6" y="32"/>
                </a:cxn>
                <a:cxn ang="0">
                  <a:pos x="19" y="40"/>
                </a:cxn>
                <a:cxn ang="0">
                  <a:pos x="29" y="39"/>
                </a:cxn>
                <a:cxn ang="0">
                  <a:pos x="29" y="36"/>
                </a:cxn>
                <a:cxn ang="0">
                  <a:pos x="22" y="19"/>
                </a:cxn>
                <a:cxn ang="0">
                  <a:pos x="8" y="17"/>
                </a:cxn>
                <a:cxn ang="0">
                  <a:pos x="6" y="23"/>
                </a:cxn>
                <a:cxn ang="0">
                  <a:pos x="2" y="23"/>
                </a:cxn>
                <a:cxn ang="0">
                  <a:pos x="24" y="7"/>
                </a:cxn>
                <a:cxn ang="0">
                  <a:pos x="41" y="26"/>
                </a:cxn>
                <a:cxn ang="0">
                  <a:pos x="51" y="27"/>
                </a:cxn>
              </a:cxnLst>
              <a:rect l="0" t="0" r="r" b="b"/>
              <a:pathLst>
                <a:path w="202" h="138">
                  <a:moveTo>
                    <a:pt x="51" y="27"/>
                  </a:moveTo>
                  <a:lnTo>
                    <a:pt x="66" y="29"/>
                  </a:lnTo>
                  <a:lnTo>
                    <a:pt x="67" y="27"/>
                  </a:lnTo>
                  <a:lnTo>
                    <a:pt x="66" y="24"/>
                  </a:lnTo>
                  <a:lnTo>
                    <a:pt x="66" y="22"/>
                  </a:lnTo>
                  <a:lnTo>
                    <a:pt x="64" y="17"/>
                  </a:lnTo>
                  <a:lnTo>
                    <a:pt x="66" y="16"/>
                  </a:lnTo>
                  <a:lnTo>
                    <a:pt x="67" y="14"/>
                  </a:lnTo>
                  <a:lnTo>
                    <a:pt x="70" y="11"/>
                  </a:lnTo>
                  <a:lnTo>
                    <a:pt x="76" y="10"/>
                  </a:lnTo>
                  <a:lnTo>
                    <a:pt x="77" y="10"/>
                  </a:lnTo>
                  <a:lnTo>
                    <a:pt x="79" y="8"/>
                  </a:lnTo>
                  <a:lnTo>
                    <a:pt x="79" y="6"/>
                  </a:lnTo>
                  <a:lnTo>
                    <a:pt x="80" y="6"/>
                  </a:lnTo>
                  <a:lnTo>
                    <a:pt x="85" y="7"/>
                  </a:lnTo>
                  <a:lnTo>
                    <a:pt x="86" y="8"/>
                  </a:lnTo>
                  <a:lnTo>
                    <a:pt x="85" y="4"/>
                  </a:lnTo>
                  <a:lnTo>
                    <a:pt x="82" y="3"/>
                  </a:lnTo>
                  <a:lnTo>
                    <a:pt x="85" y="1"/>
                  </a:lnTo>
                  <a:lnTo>
                    <a:pt x="86" y="1"/>
                  </a:lnTo>
                  <a:lnTo>
                    <a:pt x="88" y="1"/>
                  </a:lnTo>
                  <a:lnTo>
                    <a:pt x="89" y="0"/>
                  </a:lnTo>
                  <a:lnTo>
                    <a:pt x="99" y="8"/>
                  </a:lnTo>
                  <a:lnTo>
                    <a:pt x="101" y="8"/>
                  </a:lnTo>
                  <a:lnTo>
                    <a:pt x="104" y="8"/>
                  </a:lnTo>
                  <a:lnTo>
                    <a:pt x="106" y="10"/>
                  </a:lnTo>
                  <a:lnTo>
                    <a:pt x="108" y="11"/>
                  </a:lnTo>
                  <a:lnTo>
                    <a:pt x="108" y="13"/>
                  </a:lnTo>
                  <a:lnTo>
                    <a:pt x="108" y="16"/>
                  </a:lnTo>
                  <a:lnTo>
                    <a:pt x="111" y="17"/>
                  </a:lnTo>
                  <a:lnTo>
                    <a:pt x="109" y="19"/>
                  </a:lnTo>
                  <a:lnTo>
                    <a:pt x="109" y="20"/>
                  </a:lnTo>
                  <a:lnTo>
                    <a:pt x="109" y="23"/>
                  </a:lnTo>
                  <a:lnTo>
                    <a:pt x="109" y="24"/>
                  </a:lnTo>
                  <a:lnTo>
                    <a:pt x="109" y="26"/>
                  </a:lnTo>
                  <a:lnTo>
                    <a:pt x="114" y="29"/>
                  </a:lnTo>
                  <a:lnTo>
                    <a:pt x="127" y="30"/>
                  </a:lnTo>
                  <a:lnTo>
                    <a:pt x="128" y="30"/>
                  </a:lnTo>
                  <a:lnTo>
                    <a:pt x="128" y="27"/>
                  </a:lnTo>
                  <a:lnTo>
                    <a:pt x="131" y="27"/>
                  </a:lnTo>
                  <a:lnTo>
                    <a:pt x="137" y="32"/>
                  </a:lnTo>
                  <a:lnTo>
                    <a:pt x="137" y="35"/>
                  </a:lnTo>
                  <a:lnTo>
                    <a:pt x="138" y="39"/>
                  </a:lnTo>
                  <a:lnTo>
                    <a:pt x="138" y="40"/>
                  </a:lnTo>
                  <a:lnTo>
                    <a:pt x="143" y="43"/>
                  </a:lnTo>
                  <a:lnTo>
                    <a:pt x="143" y="48"/>
                  </a:lnTo>
                  <a:lnTo>
                    <a:pt x="143" y="49"/>
                  </a:lnTo>
                  <a:lnTo>
                    <a:pt x="146" y="55"/>
                  </a:lnTo>
                  <a:lnTo>
                    <a:pt x="166" y="69"/>
                  </a:lnTo>
                  <a:lnTo>
                    <a:pt x="170" y="71"/>
                  </a:lnTo>
                  <a:lnTo>
                    <a:pt x="186" y="84"/>
                  </a:lnTo>
                  <a:lnTo>
                    <a:pt x="188" y="84"/>
                  </a:lnTo>
                  <a:lnTo>
                    <a:pt x="191" y="83"/>
                  </a:lnTo>
                  <a:lnTo>
                    <a:pt x="192" y="83"/>
                  </a:lnTo>
                  <a:lnTo>
                    <a:pt x="198" y="85"/>
                  </a:lnTo>
                  <a:lnTo>
                    <a:pt x="199" y="87"/>
                  </a:lnTo>
                  <a:lnTo>
                    <a:pt x="202" y="90"/>
                  </a:lnTo>
                  <a:lnTo>
                    <a:pt x="201" y="93"/>
                  </a:lnTo>
                  <a:lnTo>
                    <a:pt x="201" y="101"/>
                  </a:lnTo>
                  <a:lnTo>
                    <a:pt x="196" y="100"/>
                  </a:lnTo>
                  <a:lnTo>
                    <a:pt x="191" y="97"/>
                  </a:lnTo>
                  <a:lnTo>
                    <a:pt x="188" y="97"/>
                  </a:lnTo>
                  <a:lnTo>
                    <a:pt x="188" y="99"/>
                  </a:lnTo>
                  <a:lnTo>
                    <a:pt x="188" y="100"/>
                  </a:lnTo>
                  <a:lnTo>
                    <a:pt x="186" y="101"/>
                  </a:lnTo>
                  <a:lnTo>
                    <a:pt x="186" y="103"/>
                  </a:lnTo>
                  <a:lnTo>
                    <a:pt x="182" y="103"/>
                  </a:lnTo>
                  <a:lnTo>
                    <a:pt x="180" y="101"/>
                  </a:lnTo>
                  <a:lnTo>
                    <a:pt x="179" y="103"/>
                  </a:lnTo>
                  <a:lnTo>
                    <a:pt x="178" y="104"/>
                  </a:lnTo>
                  <a:lnTo>
                    <a:pt x="176" y="104"/>
                  </a:lnTo>
                  <a:lnTo>
                    <a:pt x="176" y="106"/>
                  </a:lnTo>
                  <a:lnTo>
                    <a:pt x="176" y="107"/>
                  </a:lnTo>
                  <a:lnTo>
                    <a:pt x="175" y="112"/>
                  </a:lnTo>
                  <a:lnTo>
                    <a:pt x="173" y="113"/>
                  </a:lnTo>
                  <a:lnTo>
                    <a:pt x="173" y="119"/>
                  </a:lnTo>
                  <a:lnTo>
                    <a:pt x="169" y="122"/>
                  </a:lnTo>
                  <a:lnTo>
                    <a:pt x="167" y="122"/>
                  </a:lnTo>
                  <a:lnTo>
                    <a:pt x="166" y="123"/>
                  </a:lnTo>
                  <a:lnTo>
                    <a:pt x="163" y="125"/>
                  </a:lnTo>
                  <a:lnTo>
                    <a:pt x="162" y="126"/>
                  </a:lnTo>
                  <a:lnTo>
                    <a:pt x="154" y="128"/>
                  </a:lnTo>
                  <a:lnTo>
                    <a:pt x="153" y="128"/>
                  </a:lnTo>
                  <a:lnTo>
                    <a:pt x="153" y="128"/>
                  </a:lnTo>
                  <a:lnTo>
                    <a:pt x="154" y="131"/>
                  </a:lnTo>
                  <a:lnTo>
                    <a:pt x="154" y="131"/>
                  </a:lnTo>
                  <a:lnTo>
                    <a:pt x="153" y="132"/>
                  </a:lnTo>
                  <a:lnTo>
                    <a:pt x="153" y="135"/>
                  </a:lnTo>
                  <a:lnTo>
                    <a:pt x="151" y="135"/>
                  </a:lnTo>
                  <a:lnTo>
                    <a:pt x="149" y="136"/>
                  </a:lnTo>
                  <a:lnTo>
                    <a:pt x="147" y="138"/>
                  </a:lnTo>
                  <a:lnTo>
                    <a:pt x="144" y="138"/>
                  </a:lnTo>
                  <a:lnTo>
                    <a:pt x="141" y="138"/>
                  </a:lnTo>
                  <a:lnTo>
                    <a:pt x="141" y="138"/>
                  </a:lnTo>
                  <a:lnTo>
                    <a:pt x="140" y="136"/>
                  </a:lnTo>
                  <a:lnTo>
                    <a:pt x="137" y="135"/>
                  </a:lnTo>
                  <a:lnTo>
                    <a:pt x="135" y="135"/>
                  </a:lnTo>
                  <a:lnTo>
                    <a:pt x="133" y="135"/>
                  </a:lnTo>
                  <a:lnTo>
                    <a:pt x="130" y="133"/>
                  </a:lnTo>
                  <a:lnTo>
                    <a:pt x="130" y="133"/>
                  </a:lnTo>
                  <a:lnTo>
                    <a:pt x="125" y="131"/>
                  </a:lnTo>
                  <a:lnTo>
                    <a:pt x="127" y="128"/>
                  </a:lnTo>
                  <a:lnTo>
                    <a:pt x="125" y="125"/>
                  </a:lnTo>
                  <a:lnTo>
                    <a:pt x="125" y="115"/>
                  </a:lnTo>
                  <a:lnTo>
                    <a:pt x="124" y="113"/>
                  </a:lnTo>
                  <a:lnTo>
                    <a:pt x="118" y="113"/>
                  </a:lnTo>
                  <a:lnTo>
                    <a:pt x="101" y="103"/>
                  </a:lnTo>
                  <a:lnTo>
                    <a:pt x="101" y="100"/>
                  </a:lnTo>
                  <a:lnTo>
                    <a:pt x="98" y="96"/>
                  </a:lnTo>
                  <a:lnTo>
                    <a:pt x="95" y="94"/>
                  </a:lnTo>
                  <a:lnTo>
                    <a:pt x="92" y="94"/>
                  </a:lnTo>
                  <a:lnTo>
                    <a:pt x="89" y="94"/>
                  </a:lnTo>
                  <a:lnTo>
                    <a:pt x="73" y="88"/>
                  </a:lnTo>
                  <a:lnTo>
                    <a:pt x="67" y="83"/>
                  </a:lnTo>
                  <a:lnTo>
                    <a:pt x="57" y="83"/>
                  </a:lnTo>
                  <a:lnTo>
                    <a:pt x="57" y="85"/>
                  </a:lnTo>
                  <a:lnTo>
                    <a:pt x="56" y="87"/>
                  </a:lnTo>
                  <a:lnTo>
                    <a:pt x="53" y="87"/>
                  </a:lnTo>
                  <a:lnTo>
                    <a:pt x="50" y="85"/>
                  </a:lnTo>
                  <a:lnTo>
                    <a:pt x="43" y="87"/>
                  </a:lnTo>
                  <a:lnTo>
                    <a:pt x="29" y="97"/>
                  </a:lnTo>
                  <a:lnTo>
                    <a:pt x="22" y="99"/>
                  </a:lnTo>
                  <a:lnTo>
                    <a:pt x="22" y="99"/>
                  </a:lnTo>
                  <a:lnTo>
                    <a:pt x="19" y="80"/>
                  </a:lnTo>
                  <a:lnTo>
                    <a:pt x="21" y="74"/>
                  </a:lnTo>
                  <a:lnTo>
                    <a:pt x="24" y="71"/>
                  </a:lnTo>
                  <a:lnTo>
                    <a:pt x="21" y="69"/>
                  </a:lnTo>
                  <a:lnTo>
                    <a:pt x="16" y="64"/>
                  </a:lnTo>
                  <a:lnTo>
                    <a:pt x="14" y="64"/>
                  </a:lnTo>
                  <a:lnTo>
                    <a:pt x="14" y="64"/>
                  </a:lnTo>
                  <a:lnTo>
                    <a:pt x="21" y="59"/>
                  </a:lnTo>
                  <a:lnTo>
                    <a:pt x="16" y="58"/>
                  </a:lnTo>
                  <a:lnTo>
                    <a:pt x="14" y="56"/>
                  </a:lnTo>
                  <a:lnTo>
                    <a:pt x="16" y="53"/>
                  </a:lnTo>
                  <a:lnTo>
                    <a:pt x="21" y="55"/>
                  </a:lnTo>
                  <a:lnTo>
                    <a:pt x="19" y="52"/>
                  </a:lnTo>
                  <a:lnTo>
                    <a:pt x="14" y="51"/>
                  </a:lnTo>
                  <a:lnTo>
                    <a:pt x="9" y="52"/>
                  </a:lnTo>
                  <a:lnTo>
                    <a:pt x="8" y="53"/>
                  </a:lnTo>
                  <a:lnTo>
                    <a:pt x="6" y="53"/>
                  </a:lnTo>
                  <a:lnTo>
                    <a:pt x="5" y="46"/>
                  </a:lnTo>
                  <a:lnTo>
                    <a:pt x="5" y="42"/>
                  </a:lnTo>
                  <a:lnTo>
                    <a:pt x="8" y="39"/>
                  </a:lnTo>
                  <a:lnTo>
                    <a:pt x="6" y="32"/>
                  </a:lnTo>
                  <a:lnTo>
                    <a:pt x="9" y="38"/>
                  </a:lnTo>
                  <a:lnTo>
                    <a:pt x="15" y="38"/>
                  </a:lnTo>
                  <a:lnTo>
                    <a:pt x="19" y="40"/>
                  </a:lnTo>
                  <a:lnTo>
                    <a:pt x="22" y="39"/>
                  </a:lnTo>
                  <a:lnTo>
                    <a:pt x="27" y="40"/>
                  </a:lnTo>
                  <a:lnTo>
                    <a:pt x="29" y="39"/>
                  </a:lnTo>
                  <a:lnTo>
                    <a:pt x="27" y="39"/>
                  </a:lnTo>
                  <a:lnTo>
                    <a:pt x="27" y="38"/>
                  </a:lnTo>
                  <a:lnTo>
                    <a:pt x="29" y="36"/>
                  </a:lnTo>
                  <a:lnTo>
                    <a:pt x="34" y="32"/>
                  </a:lnTo>
                  <a:lnTo>
                    <a:pt x="24" y="23"/>
                  </a:lnTo>
                  <a:lnTo>
                    <a:pt x="22" y="19"/>
                  </a:lnTo>
                  <a:lnTo>
                    <a:pt x="19" y="14"/>
                  </a:lnTo>
                  <a:lnTo>
                    <a:pt x="15" y="13"/>
                  </a:lnTo>
                  <a:lnTo>
                    <a:pt x="8" y="17"/>
                  </a:lnTo>
                  <a:lnTo>
                    <a:pt x="5" y="20"/>
                  </a:lnTo>
                  <a:lnTo>
                    <a:pt x="5" y="23"/>
                  </a:lnTo>
                  <a:lnTo>
                    <a:pt x="6" y="23"/>
                  </a:lnTo>
                  <a:lnTo>
                    <a:pt x="6" y="30"/>
                  </a:lnTo>
                  <a:lnTo>
                    <a:pt x="5" y="29"/>
                  </a:lnTo>
                  <a:lnTo>
                    <a:pt x="2" y="23"/>
                  </a:lnTo>
                  <a:lnTo>
                    <a:pt x="0" y="19"/>
                  </a:lnTo>
                  <a:lnTo>
                    <a:pt x="9" y="11"/>
                  </a:lnTo>
                  <a:lnTo>
                    <a:pt x="24" y="7"/>
                  </a:lnTo>
                  <a:lnTo>
                    <a:pt x="25" y="7"/>
                  </a:lnTo>
                  <a:lnTo>
                    <a:pt x="32" y="11"/>
                  </a:lnTo>
                  <a:lnTo>
                    <a:pt x="41" y="26"/>
                  </a:lnTo>
                  <a:lnTo>
                    <a:pt x="43" y="27"/>
                  </a:lnTo>
                  <a:lnTo>
                    <a:pt x="48" y="29"/>
                  </a:lnTo>
                  <a:lnTo>
                    <a:pt x="51" y="2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83" name="Freeform 697"/>
            <p:cNvSpPr>
              <a:spLocks/>
            </p:cNvSpPr>
            <p:nvPr/>
          </p:nvSpPr>
          <p:spPr bwMode="auto">
            <a:xfrm>
              <a:off x="6802776" y="2574875"/>
              <a:ext cx="185216" cy="144007"/>
            </a:xfrm>
            <a:custGeom>
              <a:avLst/>
              <a:gdLst/>
              <a:ahLst/>
              <a:cxnLst>
                <a:cxn ang="0">
                  <a:pos x="67" y="27"/>
                </a:cxn>
                <a:cxn ang="0">
                  <a:pos x="64" y="17"/>
                </a:cxn>
                <a:cxn ang="0">
                  <a:pos x="70" y="11"/>
                </a:cxn>
                <a:cxn ang="0">
                  <a:pos x="79" y="8"/>
                </a:cxn>
                <a:cxn ang="0">
                  <a:pos x="85" y="7"/>
                </a:cxn>
                <a:cxn ang="0">
                  <a:pos x="82" y="3"/>
                </a:cxn>
                <a:cxn ang="0">
                  <a:pos x="88" y="1"/>
                </a:cxn>
                <a:cxn ang="0">
                  <a:pos x="101" y="8"/>
                </a:cxn>
                <a:cxn ang="0">
                  <a:pos x="108" y="11"/>
                </a:cxn>
                <a:cxn ang="0">
                  <a:pos x="111" y="17"/>
                </a:cxn>
                <a:cxn ang="0">
                  <a:pos x="109" y="23"/>
                </a:cxn>
                <a:cxn ang="0">
                  <a:pos x="114" y="29"/>
                </a:cxn>
                <a:cxn ang="0">
                  <a:pos x="128" y="27"/>
                </a:cxn>
                <a:cxn ang="0">
                  <a:pos x="137" y="35"/>
                </a:cxn>
                <a:cxn ang="0">
                  <a:pos x="143" y="43"/>
                </a:cxn>
                <a:cxn ang="0">
                  <a:pos x="146" y="55"/>
                </a:cxn>
                <a:cxn ang="0">
                  <a:pos x="186" y="84"/>
                </a:cxn>
                <a:cxn ang="0">
                  <a:pos x="192" y="83"/>
                </a:cxn>
                <a:cxn ang="0">
                  <a:pos x="202" y="90"/>
                </a:cxn>
                <a:cxn ang="0">
                  <a:pos x="196" y="100"/>
                </a:cxn>
                <a:cxn ang="0">
                  <a:pos x="188" y="99"/>
                </a:cxn>
                <a:cxn ang="0">
                  <a:pos x="186" y="103"/>
                </a:cxn>
                <a:cxn ang="0">
                  <a:pos x="179" y="103"/>
                </a:cxn>
                <a:cxn ang="0">
                  <a:pos x="176" y="106"/>
                </a:cxn>
                <a:cxn ang="0">
                  <a:pos x="173" y="113"/>
                </a:cxn>
                <a:cxn ang="0">
                  <a:pos x="167" y="122"/>
                </a:cxn>
                <a:cxn ang="0">
                  <a:pos x="162" y="126"/>
                </a:cxn>
                <a:cxn ang="0">
                  <a:pos x="153" y="128"/>
                </a:cxn>
                <a:cxn ang="0">
                  <a:pos x="153" y="132"/>
                </a:cxn>
                <a:cxn ang="0">
                  <a:pos x="149" y="136"/>
                </a:cxn>
                <a:cxn ang="0">
                  <a:pos x="141" y="138"/>
                </a:cxn>
                <a:cxn ang="0">
                  <a:pos x="137" y="135"/>
                </a:cxn>
                <a:cxn ang="0">
                  <a:pos x="130" y="133"/>
                </a:cxn>
                <a:cxn ang="0">
                  <a:pos x="127" y="128"/>
                </a:cxn>
                <a:cxn ang="0">
                  <a:pos x="124" y="113"/>
                </a:cxn>
                <a:cxn ang="0">
                  <a:pos x="101" y="100"/>
                </a:cxn>
                <a:cxn ang="0">
                  <a:pos x="92" y="94"/>
                </a:cxn>
                <a:cxn ang="0">
                  <a:pos x="67" y="83"/>
                </a:cxn>
                <a:cxn ang="0">
                  <a:pos x="56" y="87"/>
                </a:cxn>
                <a:cxn ang="0">
                  <a:pos x="43" y="87"/>
                </a:cxn>
                <a:cxn ang="0">
                  <a:pos x="22" y="99"/>
                </a:cxn>
                <a:cxn ang="0">
                  <a:pos x="24" y="71"/>
                </a:cxn>
                <a:cxn ang="0">
                  <a:pos x="14" y="64"/>
                </a:cxn>
                <a:cxn ang="0">
                  <a:pos x="16" y="58"/>
                </a:cxn>
                <a:cxn ang="0">
                  <a:pos x="21" y="55"/>
                </a:cxn>
                <a:cxn ang="0">
                  <a:pos x="9" y="52"/>
                </a:cxn>
                <a:cxn ang="0">
                  <a:pos x="5" y="46"/>
                </a:cxn>
                <a:cxn ang="0">
                  <a:pos x="6" y="32"/>
                </a:cxn>
                <a:cxn ang="0">
                  <a:pos x="19" y="40"/>
                </a:cxn>
                <a:cxn ang="0">
                  <a:pos x="29" y="39"/>
                </a:cxn>
                <a:cxn ang="0">
                  <a:pos x="29" y="36"/>
                </a:cxn>
                <a:cxn ang="0">
                  <a:pos x="22" y="19"/>
                </a:cxn>
                <a:cxn ang="0">
                  <a:pos x="8" y="17"/>
                </a:cxn>
                <a:cxn ang="0">
                  <a:pos x="6" y="23"/>
                </a:cxn>
                <a:cxn ang="0">
                  <a:pos x="2" y="23"/>
                </a:cxn>
                <a:cxn ang="0">
                  <a:pos x="24" y="7"/>
                </a:cxn>
                <a:cxn ang="0">
                  <a:pos x="41" y="26"/>
                </a:cxn>
                <a:cxn ang="0">
                  <a:pos x="51" y="27"/>
                </a:cxn>
              </a:cxnLst>
              <a:rect l="0" t="0" r="r" b="b"/>
              <a:pathLst>
                <a:path w="202" h="138">
                  <a:moveTo>
                    <a:pt x="51" y="27"/>
                  </a:moveTo>
                  <a:lnTo>
                    <a:pt x="66" y="29"/>
                  </a:lnTo>
                  <a:lnTo>
                    <a:pt x="67" y="27"/>
                  </a:lnTo>
                  <a:lnTo>
                    <a:pt x="66" y="24"/>
                  </a:lnTo>
                  <a:lnTo>
                    <a:pt x="66" y="22"/>
                  </a:lnTo>
                  <a:lnTo>
                    <a:pt x="64" y="17"/>
                  </a:lnTo>
                  <a:lnTo>
                    <a:pt x="66" y="16"/>
                  </a:lnTo>
                  <a:lnTo>
                    <a:pt x="67" y="14"/>
                  </a:lnTo>
                  <a:lnTo>
                    <a:pt x="70" y="11"/>
                  </a:lnTo>
                  <a:lnTo>
                    <a:pt x="76" y="10"/>
                  </a:lnTo>
                  <a:lnTo>
                    <a:pt x="77" y="10"/>
                  </a:lnTo>
                  <a:lnTo>
                    <a:pt x="79" y="8"/>
                  </a:lnTo>
                  <a:lnTo>
                    <a:pt x="79" y="6"/>
                  </a:lnTo>
                  <a:lnTo>
                    <a:pt x="80" y="6"/>
                  </a:lnTo>
                  <a:lnTo>
                    <a:pt x="85" y="7"/>
                  </a:lnTo>
                  <a:lnTo>
                    <a:pt x="86" y="8"/>
                  </a:lnTo>
                  <a:lnTo>
                    <a:pt x="85" y="4"/>
                  </a:lnTo>
                  <a:lnTo>
                    <a:pt x="82" y="3"/>
                  </a:lnTo>
                  <a:lnTo>
                    <a:pt x="85" y="1"/>
                  </a:lnTo>
                  <a:lnTo>
                    <a:pt x="86" y="1"/>
                  </a:lnTo>
                  <a:lnTo>
                    <a:pt x="88" y="1"/>
                  </a:lnTo>
                  <a:lnTo>
                    <a:pt x="89" y="0"/>
                  </a:lnTo>
                  <a:lnTo>
                    <a:pt x="99" y="8"/>
                  </a:lnTo>
                  <a:lnTo>
                    <a:pt x="101" y="8"/>
                  </a:lnTo>
                  <a:lnTo>
                    <a:pt x="104" y="8"/>
                  </a:lnTo>
                  <a:lnTo>
                    <a:pt x="106" y="10"/>
                  </a:lnTo>
                  <a:lnTo>
                    <a:pt x="108" y="11"/>
                  </a:lnTo>
                  <a:lnTo>
                    <a:pt x="108" y="13"/>
                  </a:lnTo>
                  <a:lnTo>
                    <a:pt x="108" y="16"/>
                  </a:lnTo>
                  <a:lnTo>
                    <a:pt x="111" y="17"/>
                  </a:lnTo>
                  <a:lnTo>
                    <a:pt x="109" y="19"/>
                  </a:lnTo>
                  <a:lnTo>
                    <a:pt x="109" y="20"/>
                  </a:lnTo>
                  <a:lnTo>
                    <a:pt x="109" y="23"/>
                  </a:lnTo>
                  <a:lnTo>
                    <a:pt x="109" y="24"/>
                  </a:lnTo>
                  <a:lnTo>
                    <a:pt x="109" y="26"/>
                  </a:lnTo>
                  <a:lnTo>
                    <a:pt x="114" y="29"/>
                  </a:lnTo>
                  <a:lnTo>
                    <a:pt x="127" y="30"/>
                  </a:lnTo>
                  <a:lnTo>
                    <a:pt x="128" y="30"/>
                  </a:lnTo>
                  <a:lnTo>
                    <a:pt x="128" y="27"/>
                  </a:lnTo>
                  <a:lnTo>
                    <a:pt x="131" y="27"/>
                  </a:lnTo>
                  <a:lnTo>
                    <a:pt x="137" y="32"/>
                  </a:lnTo>
                  <a:lnTo>
                    <a:pt x="137" y="35"/>
                  </a:lnTo>
                  <a:lnTo>
                    <a:pt x="138" y="39"/>
                  </a:lnTo>
                  <a:lnTo>
                    <a:pt x="138" y="40"/>
                  </a:lnTo>
                  <a:lnTo>
                    <a:pt x="143" y="43"/>
                  </a:lnTo>
                  <a:lnTo>
                    <a:pt x="143" y="48"/>
                  </a:lnTo>
                  <a:lnTo>
                    <a:pt x="143" y="49"/>
                  </a:lnTo>
                  <a:lnTo>
                    <a:pt x="146" y="55"/>
                  </a:lnTo>
                  <a:lnTo>
                    <a:pt x="166" y="69"/>
                  </a:lnTo>
                  <a:lnTo>
                    <a:pt x="170" y="71"/>
                  </a:lnTo>
                  <a:lnTo>
                    <a:pt x="186" y="84"/>
                  </a:lnTo>
                  <a:lnTo>
                    <a:pt x="188" y="84"/>
                  </a:lnTo>
                  <a:lnTo>
                    <a:pt x="191" y="83"/>
                  </a:lnTo>
                  <a:lnTo>
                    <a:pt x="192" y="83"/>
                  </a:lnTo>
                  <a:lnTo>
                    <a:pt x="198" y="85"/>
                  </a:lnTo>
                  <a:lnTo>
                    <a:pt x="199" y="87"/>
                  </a:lnTo>
                  <a:lnTo>
                    <a:pt x="202" y="90"/>
                  </a:lnTo>
                  <a:lnTo>
                    <a:pt x="201" y="93"/>
                  </a:lnTo>
                  <a:lnTo>
                    <a:pt x="201" y="101"/>
                  </a:lnTo>
                  <a:lnTo>
                    <a:pt x="196" y="100"/>
                  </a:lnTo>
                  <a:lnTo>
                    <a:pt x="191" y="97"/>
                  </a:lnTo>
                  <a:lnTo>
                    <a:pt x="188" y="97"/>
                  </a:lnTo>
                  <a:lnTo>
                    <a:pt x="188" y="99"/>
                  </a:lnTo>
                  <a:lnTo>
                    <a:pt x="188" y="100"/>
                  </a:lnTo>
                  <a:lnTo>
                    <a:pt x="186" y="101"/>
                  </a:lnTo>
                  <a:lnTo>
                    <a:pt x="186" y="103"/>
                  </a:lnTo>
                  <a:lnTo>
                    <a:pt x="182" y="103"/>
                  </a:lnTo>
                  <a:lnTo>
                    <a:pt x="180" y="101"/>
                  </a:lnTo>
                  <a:lnTo>
                    <a:pt x="179" y="103"/>
                  </a:lnTo>
                  <a:lnTo>
                    <a:pt x="178" y="104"/>
                  </a:lnTo>
                  <a:lnTo>
                    <a:pt x="176" y="104"/>
                  </a:lnTo>
                  <a:lnTo>
                    <a:pt x="176" y="106"/>
                  </a:lnTo>
                  <a:lnTo>
                    <a:pt x="176" y="107"/>
                  </a:lnTo>
                  <a:lnTo>
                    <a:pt x="175" y="112"/>
                  </a:lnTo>
                  <a:lnTo>
                    <a:pt x="173" y="113"/>
                  </a:lnTo>
                  <a:lnTo>
                    <a:pt x="173" y="119"/>
                  </a:lnTo>
                  <a:lnTo>
                    <a:pt x="169" y="122"/>
                  </a:lnTo>
                  <a:lnTo>
                    <a:pt x="167" y="122"/>
                  </a:lnTo>
                  <a:lnTo>
                    <a:pt x="166" y="123"/>
                  </a:lnTo>
                  <a:lnTo>
                    <a:pt x="163" y="125"/>
                  </a:lnTo>
                  <a:lnTo>
                    <a:pt x="162" y="126"/>
                  </a:lnTo>
                  <a:lnTo>
                    <a:pt x="154" y="128"/>
                  </a:lnTo>
                  <a:lnTo>
                    <a:pt x="153" y="128"/>
                  </a:lnTo>
                  <a:lnTo>
                    <a:pt x="153" y="128"/>
                  </a:lnTo>
                  <a:lnTo>
                    <a:pt x="154" y="131"/>
                  </a:lnTo>
                  <a:lnTo>
                    <a:pt x="154" y="131"/>
                  </a:lnTo>
                  <a:lnTo>
                    <a:pt x="153" y="132"/>
                  </a:lnTo>
                  <a:lnTo>
                    <a:pt x="153" y="135"/>
                  </a:lnTo>
                  <a:lnTo>
                    <a:pt x="151" y="135"/>
                  </a:lnTo>
                  <a:lnTo>
                    <a:pt x="149" y="136"/>
                  </a:lnTo>
                  <a:lnTo>
                    <a:pt x="147" y="138"/>
                  </a:lnTo>
                  <a:lnTo>
                    <a:pt x="144" y="138"/>
                  </a:lnTo>
                  <a:lnTo>
                    <a:pt x="141" y="138"/>
                  </a:lnTo>
                  <a:lnTo>
                    <a:pt x="141" y="138"/>
                  </a:lnTo>
                  <a:lnTo>
                    <a:pt x="140" y="136"/>
                  </a:lnTo>
                  <a:lnTo>
                    <a:pt x="137" y="135"/>
                  </a:lnTo>
                  <a:lnTo>
                    <a:pt x="135" y="135"/>
                  </a:lnTo>
                  <a:lnTo>
                    <a:pt x="133" y="135"/>
                  </a:lnTo>
                  <a:lnTo>
                    <a:pt x="130" y="133"/>
                  </a:lnTo>
                  <a:lnTo>
                    <a:pt x="130" y="133"/>
                  </a:lnTo>
                  <a:lnTo>
                    <a:pt x="125" y="131"/>
                  </a:lnTo>
                  <a:lnTo>
                    <a:pt x="127" y="128"/>
                  </a:lnTo>
                  <a:lnTo>
                    <a:pt x="125" y="125"/>
                  </a:lnTo>
                  <a:lnTo>
                    <a:pt x="125" y="115"/>
                  </a:lnTo>
                  <a:lnTo>
                    <a:pt x="124" y="113"/>
                  </a:lnTo>
                  <a:lnTo>
                    <a:pt x="118" y="113"/>
                  </a:lnTo>
                  <a:lnTo>
                    <a:pt x="101" y="103"/>
                  </a:lnTo>
                  <a:lnTo>
                    <a:pt x="101" y="100"/>
                  </a:lnTo>
                  <a:lnTo>
                    <a:pt x="98" y="96"/>
                  </a:lnTo>
                  <a:lnTo>
                    <a:pt x="95" y="94"/>
                  </a:lnTo>
                  <a:lnTo>
                    <a:pt x="92" y="94"/>
                  </a:lnTo>
                  <a:lnTo>
                    <a:pt x="89" y="94"/>
                  </a:lnTo>
                  <a:lnTo>
                    <a:pt x="73" y="88"/>
                  </a:lnTo>
                  <a:lnTo>
                    <a:pt x="67" y="83"/>
                  </a:lnTo>
                  <a:lnTo>
                    <a:pt x="57" y="83"/>
                  </a:lnTo>
                  <a:lnTo>
                    <a:pt x="57" y="85"/>
                  </a:lnTo>
                  <a:lnTo>
                    <a:pt x="56" y="87"/>
                  </a:lnTo>
                  <a:lnTo>
                    <a:pt x="53" y="87"/>
                  </a:lnTo>
                  <a:lnTo>
                    <a:pt x="50" y="85"/>
                  </a:lnTo>
                  <a:lnTo>
                    <a:pt x="43" y="87"/>
                  </a:lnTo>
                  <a:lnTo>
                    <a:pt x="29" y="97"/>
                  </a:lnTo>
                  <a:lnTo>
                    <a:pt x="22" y="99"/>
                  </a:lnTo>
                  <a:lnTo>
                    <a:pt x="22" y="99"/>
                  </a:lnTo>
                  <a:lnTo>
                    <a:pt x="19" y="80"/>
                  </a:lnTo>
                  <a:lnTo>
                    <a:pt x="21" y="74"/>
                  </a:lnTo>
                  <a:lnTo>
                    <a:pt x="24" y="71"/>
                  </a:lnTo>
                  <a:lnTo>
                    <a:pt x="21" y="69"/>
                  </a:lnTo>
                  <a:lnTo>
                    <a:pt x="16" y="64"/>
                  </a:lnTo>
                  <a:lnTo>
                    <a:pt x="14" y="64"/>
                  </a:lnTo>
                  <a:lnTo>
                    <a:pt x="14" y="64"/>
                  </a:lnTo>
                  <a:lnTo>
                    <a:pt x="21" y="59"/>
                  </a:lnTo>
                  <a:lnTo>
                    <a:pt x="16" y="58"/>
                  </a:lnTo>
                  <a:lnTo>
                    <a:pt x="14" y="56"/>
                  </a:lnTo>
                  <a:lnTo>
                    <a:pt x="16" y="53"/>
                  </a:lnTo>
                  <a:lnTo>
                    <a:pt x="21" y="55"/>
                  </a:lnTo>
                  <a:lnTo>
                    <a:pt x="19" y="52"/>
                  </a:lnTo>
                  <a:lnTo>
                    <a:pt x="14" y="51"/>
                  </a:lnTo>
                  <a:lnTo>
                    <a:pt x="9" y="52"/>
                  </a:lnTo>
                  <a:lnTo>
                    <a:pt x="8" y="53"/>
                  </a:lnTo>
                  <a:lnTo>
                    <a:pt x="6" y="53"/>
                  </a:lnTo>
                  <a:lnTo>
                    <a:pt x="5" y="46"/>
                  </a:lnTo>
                  <a:lnTo>
                    <a:pt x="5" y="42"/>
                  </a:lnTo>
                  <a:lnTo>
                    <a:pt x="8" y="39"/>
                  </a:lnTo>
                  <a:lnTo>
                    <a:pt x="6" y="32"/>
                  </a:lnTo>
                  <a:lnTo>
                    <a:pt x="9" y="38"/>
                  </a:lnTo>
                  <a:lnTo>
                    <a:pt x="15" y="38"/>
                  </a:lnTo>
                  <a:lnTo>
                    <a:pt x="19" y="40"/>
                  </a:lnTo>
                  <a:lnTo>
                    <a:pt x="22" y="39"/>
                  </a:lnTo>
                  <a:lnTo>
                    <a:pt x="27" y="40"/>
                  </a:lnTo>
                  <a:lnTo>
                    <a:pt x="29" y="39"/>
                  </a:lnTo>
                  <a:lnTo>
                    <a:pt x="27" y="39"/>
                  </a:lnTo>
                  <a:lnTo>
                    <a:pt x="27" y="38"/>
                  </a:lnTo>
                  <a:lnTo>
                    <a:pt x="29" y="36"/>
                  </a:lnTo>
                  <a:lnTo>
                    <a:pt x="34" y="32"/>
                  </a:lnTo>
                  <a:lnTo>
                    <a:pt x="24" y="23"/>
                  </a:lnTo>
                  <a:lnTo>
                    <a:pt x="22" y="19"/>
                  </a:lnTo>
                  <a:lnTo>
                    <a:pt x="19" y="14"/>
                  </a:lnTo>
                  <a:lnTo>
                    <a:pt x="15" y="13"/>
                  </a:lnTo>
                  <a:lnTo>
                    <a:pt x="8" y="17"/>
                  </a:lnTo>
                  <a:lnTo>
                    <a:pt x="5" y="20"/>
                  </a:lnTo>
                  <a:lnTo>
                    <a:pt x="5" y="23"/>
                  </a:lnTo>
                  <a:lnTo>
                    <a:pt x="6" y="23"/>
                  </a:lnTo>
                  <a:lnTo>
                    <a:pt x="6" y="30"/>
                  </a:lnTo>
                  <a:lnTo>
                    <a:pt x="5" y="29"/>
                  </a:lnTo>
                  <a:lnTo>
                    <a:pt x="2" y="23"/>
                  </a:lnTo>
                  <a:lnTo>
                    <a:pt x="0" y="19"/>
                  </a:lnTo>
                  <a:lnTo>
                    <a:pt x="9" y="11"/>
                  </a:lnTo>
                  <a:lnTo>
                    <a:pt x="24" y="7"/>
                  </a:lnTo>
                  <a:lnTo>
                    <a:pt x="25" y="7"/>
                  </a:lnTo>
                  <a:lnTo>
                    <a:pt x="32" y="11"/>
                  </a:lnTo>
                  <a:lnTo>
                    <a:pt x="41" y="26"/>
                  </a:lnTo>
                  <a:lnTo>
                    <a:pt x="43" y="27"/>
                  </a:lnTo>
                  <a:lnTo>
                    <a:pt x="48" y="29"/>
                  </a:lnTo>
                  <a:lnTo>
                    <a:pt x="51" y="2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84" name="Freeform 698"/>
            <p:cNvSpPr>
              <a:spLocks/>
            </p:cNvSpPr>
            <p:nvPr/>
          </p:nvSpPr>
          <p:spPr bwMode="auto">
            <a:xfrm>
              <a:off x="7023104" y="2565747"/>
              <a:ext cx="143959" cy="77074"/>
            </a:xfrm>
            <a:custGeom>
              <a:avLst/>
              <a:gdLst/>
              <a:ahLst/>
              <a:cxnLst>
                <a:cxn ang="0">
                  <a:pos x="65" y="67"/>
                </a:cxn>
                <a:cxn ang="0">
                  <a:pos x="76" y="58"/>
                </a:cxn>
                <a:cxn ang="0">
                  <a:pos x="78" y="57"/>
                </a:cxn>
                <a:cxn ang="0">
                  <a:pos x="83" y="54"/>
                </a:cxn>
                <a:cxn ang="0">
                  <a:pos x="90" y="52"/>
                </a:cxn>
                <a:cxn ang="0">
                  <a:pos x="100" y="55"/>
                </a:cxn>
                <a:cxn ang="0">
                  <a:pos x="106" y="48"/>
                </a:cxn>
                <a:cxn ang="0">
                  <a:pos x="128" y="41"/>
                </a:cxn>
                <a:cxn ang="0">
                  <a:pos x="134" y="33"/>
                </a:cxn>
                <a:cxn ang="0">
                  <a:pos x="157" y="20"/>
                </a:cxn>
                <a:cxn ang="0">
                  <a:pos x="155" y="17"/>
                </a:cxn>
                <a:cxn ang="0">
                  <a:pos x="145" y="13"/>
                </a:cxn>
                <a:cxn ang="0">
                  <a:pos x="134" y="7"/>
                </a:cxn>
                <a:cxn ang="0">
                  <a:pos x="115" y="6"/>
                </a:cxn>
                <a:cxn ang="0">
                  <a:pos x="109" y="4"/>
                </a:cxn>
                <a:cxn ang="0">
                  <a:pos x="84" y="6"/>
                </a:cxn>
                <a:cxn ang="0">
                  <a:pos x="80" y="4"/>
                </a:cxn>
                <a:cxn ang="0">
                  <a:pos x="70" y="0"/>
                </a:cxn>
                <a:cxn ang="0">
                  <a:pos x="65" y="1"/>
                </a:cxn>
                <a:cxn ang="0">
                  <a:pos x="60" y="4"/>
                </a:cxn>
                <a:cxn ang="0">
                  <a:pos x="60" y="9"/>
                </a:cxn>
                <a:cxn ang="0">
                  <a:pos x="57" y="15"/>
                </a:cxn>
                <a:cxn ang="0">
                  <a:pos x="33" y="9"/>
                </a:cxn>
                <a:cxn ang="0">
                  <a:pos x="25" y="9"/>
                </a:cxn>
                <a:cxn ang="0">
                  <a:pos x="25" y="13"/>
                </a:cxn>
                <a:cxn ang="0">
                  <a:pos x="28" y="19"/>
                </a:cxn>
                <a:cxn ang="0">
                  <a:pos x="23" y="22"/>
                </a:cxn>
                <a:cxn ang="0">
                  <a:pos x="15" y="33"/>
                </a:cxn>
                <a:cxn ang="0">
                  <a:pos x="17" y="35"/>
                </a:cxn>
                <a:cxn ang="0">
                  <a:pos x="22" y="38"/>
                </a:cxn>
                <a:cxn ang="0">
                  <a:pos x="29" y="39"/>
                </a:cxn>
                <a:cxn ang="0">
                  <a:pos x="32" y="36"/>
                </a:cxn>
                <a:cxn ang="0">
                  <a:pos x="35" y="33"/>
                </a:cxn>
                <a:cxn ang="0">
                  <a:pos x="36" y="38"/>
                </a:cxn>
                <a:cxn ang="0">
                  <a:pos x="44" y="41"/>
                </a:cxn>
                <a:cxn ang="0">
                  <a:pos x="51" y="45"/>
                </a:cxn>
                <a:cxn ang="0">
                  <a:pos x="55" y="45"/>
                </a:cxn>
                <a:cxn ang="0">
                  <a:pos x="49" y="48"/>
                </a:cxn>
                <a:cxn ang="0">
                  <a:pos x="46" y="51"/>
                </a:cxn>
                <a:cxn ang="0">
                  <a:pos x="44" y="52"/>
                </a:cxn>
                <a:cxn ang="0">
                  <a:pos x="39" y="54"/>
                </a:cxn>
                <a:cxn ang="0">
                  <a:pos x="38" y="57"/>
                </a:cxn>
                <a:cxn ang="0">
                  <a:pos x="29" y="55"/>
                </a:cxn>
                <a:cxn ang="0">
                  <a:pos x="23" y="58"/>
                </a:cxn>
                <a:cxn ang="0">
                  <a:pos x="20" y="61"/>
                </a:cxn>
                <a:cxn ang="0">
                  <a:pos x="15" y="60"/>
                </a:cxn>
                <a:cxn ang="0">
                  <a:pos x="0" y="61"/>
                </a:cxn>
                <a:cxn ang="0">
                  <a:pos x="1" y="70"/>
                </a:cxn>
                <a:cxn ang="0">
                  <a:pos x="6" y="68"/>
                </a:cxn>
                <a:cxn ang="0">
                  <a:pos x="17" y="68"/>
                </a:cxn>
                <a:cxn ang="0">
                  <a:pos x="20" y="71"/>
                </a:cxn>
                <a:cxn ang="0">
                  <a:pos x="30" y="68"/>
                </a:cxn>
                <a:cxn ang="0">
                  <a:pos x="35" y="70"/>
                </a:cxn>
                <a:cxn ang="0">
                  <a:pos x="41" y="74"/>
                </a:cxn>
                <a:cxn ang="0">
                  <a:pos x="46" y="73"/>
                </a:cxn>
                <a:cxn ang="0">
                  <a:pos x="54" y="73"/>
                </a:cxn>
                <a:cxn ang="0">
                  <a:pos x="60" y="73"/>
                </a:cxn>
                <a:cxn ang="0">
                  <a:pos x="65" y="70"/>
                </a:cxn>
              </a:cxnLst>
              <a:rect l="0" t="0" r="r" b="b"/>
              <a:pathLst>
                <a:path w="157" h="74">
                  <a:moveTo>
                    <a:pt x="65" y="70"/>
                  </a:moveTo>
                  <a:lnTo>
                    <a:pt x="65" y="67"/>
                  </a:lnTo>
                  <a:lnTo>
                    <a:pt x="67" y="61"/>
                  </a:lnTo>
                  <a:lnTo>
                    <a:pt x="76" y="58"/>
                  </a:lnTo>
                  <a:lnTo>
                    <a:pt x="77" y="57"/>
                  </a:lnTo>
                  <a:lnTo>
                    <a:pt x="78" y="57"/>
                  </a:lnTo>
                  <a:lnTo>
                    <a:pt x="80" y="52"/>
                  </a:lnTo>
                  <a:lnTo>
                    <a:pt x="83" y="54"/>
                  </a:lnTo>
                  <a:lnTo>
                    <a:pt x="87" y="52"/>
                  </a:lnTo>
                  <a:lnTo>
                    <a:pt x="90" y="52"/>
                  </a:lnTo>
                  <a:lnTo>
                    <a:pt x="91" y="55"/>
                  </a:lnTo>
                  <a:lnTo>
                    <a:pt x="100" y="55"/>
                  </a:lnTo>
                  <a:lnTo>
                    <a:pt x="105" y="52"/>
                  </a:lnTo>
                  <a:lnTo>
                    <a:pt x="106" y="48"/>
                  </a:lnTo>
                  <a:lnTo>
                    <a:pt x="107" y="45"/>
                  </a:lnTo>
                  <a:lnTo>
                    <a:pt x="128" y="41"/>
                  </a:lnTo>
                  <a:lnTo>
                    <a:pt x="129" y="38"/>
                  </a:lnTo>
                  <a:lnTo>
                    <a:pt x="134" y="33"/>
                  </a:lnTo>
                  <a:lnTo>
                    <a:pt x="155" y="25"/>
                  </a:lnTo>
                  <a:lnTo>
                    <a:pt x="157" y="20"/>
                  </a:lnTo>
                  <a:lnTo>
                    <a:pt x="157" y="17"/>
                  </a:lnTo>
                  <a:lnTo>
                    <a:pt x="155" y="17"/>
                  </a:lnTo>
                  <a:lnTo>
                    <a:pt x="150" y="15"/>
                  </a:lnTo>
                  <a:lnTo>
                    <a:pt x="145" y="13"/>
                  </a:lnTo>
                  <a:lnTo>
                    <a:pt x="142" y="9"/>
                  </a:lnTo>
                  <a:lnTo>
                    <a:pt x="134" y="7"/>
                  </a:lnTo>
                  <a:lnTo>
                    <a:pt x="132" y="7"/>
                  </a:lnTo>
                  <a:lnTo>
                    <a:pt x="115" y="6"/>
                  </a:lnTo>
                  <a:lnTo>
                    <a:pt x="112" y="4"/>
                  </a:lnTo>
                  <a:lnTo>
                    <a:pt x="109" y="4"/>
                  </a:lnTo>
                  <a:lnTo>
                    <a:pt x="106" y="6"/>
                  </a:lnTo>
                  <a:lnTo>
                    <a:pt x="84" y="6"/>
                  </a:lnTo>
                  <a:lnTo>
                    <a:pt x="83" y="4"/>
                  </a:lnTo>
                  <a:lnTo>
                    <a:pt x="80" y="4"/>
                  </a:lnTo>
                  <a:lnTo>
                    <a:pt x="77" y="4"/>
                  </a:lnTo>
                  <a:lnTo>
                    <a:pt x="70" y="0"/>
                  </a:lnTo>
                  <a:lnTo>
                    <a:pt x="67" y="1"/>
                  </a:lnTo>
                  <a:lnTo>
                    <a:pt x="65" y="1"/>
                  </a:lnTo>
                  <a:lnTo>
                    <a:pt x="64" y="1"/>
                  </a:lnTo>
                  <a:lnTo>
                    <a:pt x="60" y="4"/>
                  </a:lnTo>
                  <a:lnTo>
                    <a:pt x="60" y="7"/>
                  </a:lnTo>
                  <a:lnTo>
                    <a:pt x="60" y="9"/>
                  </a:lnTo>
                  <a:lnTo>
                    <a:pt x="58" y="13"/>
                  </a:lnTo>
                  <a:lnTo>
                    <a:pt x="57" y="15"/>
                  </a:lnTo>
                  <a:lnTo>
                    <a:pt x="35" y="9"/>
                  </a:lnTo>
                  <a:lnTo>
                    <a:pt x="33" y="9"/>
                  </a:lnTo>
                  <a:lnTo>
                    <a:pt x="32" y="7"/>
                  </a:lnTo>
                  <a:lnTo>
                    <a:pt x="25" y="9"/>
                  </a:lnTo>
                  <a:lnTo>
                    <a:pt x="25" y="12"/>
                  </a:lnTo>
                  <a:lnTo>
                    <a:pt x="25" y="13"/>
                  </a:lnTo>
                  <a:lnTo>
                    <a:pt x="23" y="17"/>
                  </a:lnTo>
                  <a:lnTo>
                    <a:pt x="28" y="19"/>
                  </a:lnTo>
                  <a:lnTo>
                    <a:pt x="28" y="20"/>
                  </a:lnTo>
                  <a:lnTo>
                    <a:pt x="23" y="22"/>
                  </a:lnTo>
                  <a:lnTo>
                    <a:pt x="15" y="31"/>
                  </a:lnTo>
                  <a:lnTo>
                    <a:pt x="15" y="33"/>
                  </a:lnTo>
                  <a:lnTo>
                    <a:pt x="16" y="33"/>
                  </a:lnTo>
                  <a:lnTo>
                    <a:pt x="17" y="35"/>
                  </a:lnTo>
                  <a:lnTo>
                    <a:pt x="20" y="33"/>
                  </a:lnTo>
                  <a:lnTo>
                    <a:pt x="22" y="38"/>
                  </a:lnTo>
                  <a:lnTo>
                    <a:pt x="28" y="39"/>
                  </a:lnTo>
                  <a:lnTo>
                    <a:pt x="29" y="39"/>
                  </a:lnTo>
                  <a:lnTo>
                    <a:pt x="30" y="38"/>
                  </a:lnTo>
                  <a:lnTo>
                    <a:pt x="32" y="36"/>
                  </a:lnTo>
                  <a:lnTo>
                    <a:pt x="33" y="32"/>
                  </a:lnTo>
                  <a:lnTo>
                    <a:pt x="35" y="33"/>
                  </a:lnTo>
                  <a:lnTo>
                    <a:pt x="36" y="35"/>
                  </a:lnTo>
                  <a:lnTo>
                    <a:pt x="36" y="38"/>
                  </a:lnTo>
                  <a:lnTo>
                    <a:pt x="42" y="41"/>
                  </a:lnTo>
                  <a:lnTo>
                    <a:pt x="44" y="41"/>
                  </a:lnTo>
                  <a:lnTo>
                    <a:pt x="46" y="44"/>
                  </a:lnTo>
                  <a:lnTo>
                    <a:pt x="51" y="45"/>
                  </a:lnTo>
                  <a:lnTo>
                    <a:pt x="54" y="45"/>
                  </a:lnTo>
                  <a:lnTo>
                    <a:pt x="55" y="45"/>
                  </a:lnTo>
                  <a:lnTo>
                    <a:pt x="54" y="47"/>
                  </a:lnTo>
                  <a:lnTo>
                    <a:pt x="49" y="48"/>
                  </a:lnTo>
                  <a:lnTo>
                    <a:pt x="49" y="51"/>
                  </a:lnTo>
                  <a:lnTo>
                    <a:pt x="46" y="51"/>
                  </a:lnTo>
                  <a:lnTo>
                    <a:pt x="45" y="51"/>
                  </a:lnTo>
                  <a:lnTo>
                    <a:pt x="44" y="52"/>
                  </a:lnTo>
                  <a:lnTo>
                    <a:pt x="42" y="52"/>
                  </a:lnTo>
                  <a:lnTo>
                    <a:pt x="39" y="54"/>
                  </a:lnTo>
                  <a:lnTo>
                    <a:pt x="39" y="55"/>
                  </a:lnTo>
                  <a:lnTo>
                    <a:pt x="38" y="57"/>
                  </a:lnTo>
                  <a:lnTo>
                    <a:pt x="33" y="57"/>
                  </a:lnTo>
                  <a:lnTo>
                    <a:pt x="29" y="55"/>
                  </a:lnTo>
                  <a:lnTo>
                    <a:pt x="23" y="55"/>
                  </a:lnTo>
                  <a:lnTo>
                    <a:pt x="23" y="58"/>
                  </a:lnTo>
                  <a:lnTo>
                    <a:pt x="20" y="58"/>
                  </a:lnTo>
                  <a:lnTo>
                    <a:pt x="20" y="61"/>
                  </a:lnTo>
                  <a:lnTo>
                    <a:pt x="17" y="61"/>
                  </a:lnTo>
                  <a:lnTo>
                    <a:pt x="15" y="60"/>
                  </a:lnTo>
                  <a:lnTo>
                    <a:pt x="6" y="58"/>
                  </a:lnTo>
                  <a:lnTo>
                    <a:pt x="0" y="61"/>
                  </a:lnTo>
                  <a:lnTo>
                    <a:pt x="0" y="68"/>
                  </a:lnTo>
                  <a:lnTo>
                    <a:pt x="1" y="70"/>
                  </a:lnTo>
                  <a:lnTo>
                    <a:pt x="3" y="70"/>
                  </a:lnTo>
                  <a:lnTo>
                    <a:pt x="6" y="68"/>
                  </a:lnTo>
                  <a:lnTo>
                    <a:pt x="9" y="70"/>
                  </a:lnTo>
                  <a:lnTo>
                    <a:pt x="17" y="68"/>
                  </a:lnTo>
                  <a:lnTo>
                    <a:pt x="20" y="70"/>
                  </a:lnTo>
                  <a:lnTo>
                    <a:pt x="20" y="71"/>
                  </a:lnTo>
                  <a:lnTo>
                    <a:pt x="23" y="71"/>
                  </a:lnTo>
                  <a:lnTo>
                    <a:pt x="30" y="68"/>
                  </a:lnTo>
                  <a:lnTo>
                    <a:pt x="33" y="70"/>
                  </a:lnTo>
                  <a:lnTo>
                    <a:pt x="35" y="70"/>
                  </a:lnTo>
                  <a:lnTo>
                    <a:pt x="36" y="74"/>
                  </a:lnTo>
                  <a:lnTo>
                    <a:pt x="41" y="74"/>
                  </a:lnTo>
                  <a:lnTo>
                    <a:pt x="42" y="74"/>
                  </a:lnTo>
                  <a:lnTo>
                    <a:pt x="46" y="73"/>
                  </a:lnTo>
                  <a:lnTo>
                    <a:pt x="51" y="73"/>
                  </a:lnTo>
                  <a:lnTo>
                    <a:pt x="54" y="73"/>
                  </a:lnTo>
                  <a:lnTo>
                    <a:pt x="57" y="73"/>
                  </a:lnTo>
                  <a:lnTo>
                    <a:pt x="60" y="73"/>
                  </a:lnTo>
                  <a:lnTo>
                    <a:pt x="60" y="68"/>
                  </a:lnTo>
                  <a:lnTo>
                    <a:pt x="65" y="7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85" name="Freeform 699"/>
            <p:cNvSpPr>
              <a:spLocks/>
            </p:cNvSpPr>
            <p:nvPr/>
          </p:nvSpPr>
          <p:spPr bwMode="auto">
            <a:xfrm>
              <a:off x="7023104" y="2565747"/>
              <a:ext cx="143959" cy="77074"/>
            </a:xfrm>
            <a:custGeom>
              <a:avLst/>
              <a:gdLst/>
              <a:ahLst/>
              <a:cxnLst>
                <a:cxn ang="0">
                  <a:pos x="65" y="67"/>
                </a:cxn>
                <a:cxn ang="0">
                  <a:pos x="76" y="58"/>
                </a:cxn>
                <a:cxn ang="0">
                  <a:pos x="78" y="57"/>
                </a:cxn>
                <a:cxn ang="0">
                  <a:pos x="83" y="54"/>
                </a:cxn>
                <a:cxn ang="0">
                  <a:pos x="90" y="52"/>
                </a:cxn>
                <a:cxn ang="0">
                  <a:pos x="100" y="55"/>
                </a:cxn>
                <a:cxn ang="0">
                  <a:pos x="106" y="48"/>
                </a:cxn>
                <a:cxn ang="0">
                  <a:pos x="128" y="41"/>
                </a:cxn>
                <a:cxn ang="0">
                  <a:pos x="134" y="33"/>
                </a:cxn>
                <a:cxn ang="0">
                  <a:pos x="157" y="20"/>
                </a:cxn>
                <a:cxn ang="0">
                  <a:pos x="155" y="17"/>
                </a:cxn>
                <a:cxn ang="0">
                  <a:pos x="145" y="13"/>
                </a:cxn>
                <a:cxn ang="0">
                  <a:pos x="134" y="7"/>
                </a:cxn>
                <a:cxn ang="0">
                  <a:pos x="115" y="6"/>
                </a:cxn>
                <a:cxn ang="0">
                  <a:pos x="109" y="4"/>
                </a:cxn>
                <a:cxn ang="0">
                  <a:pos x="84" y="6"/>
                </a:cxn>
                <a:cxn ang="0">
                  <a:pos x="80" y="4"/>
                </a:cxn>
                <a:cxn ang="0">
                  <a:pos x="70" y="0"/>
                </a:cxn>
                <a:cxn ang="0">
                  <a:pos x="65" y="1"/>
                </a:cxn>
                <a:cxn ang="0">
                  <a:pos x="60" y="4"/>
                </a:cxn>
                <a:cxn ang="0">
                  <a:pos x="60" y="9"/>
                </a:cxn>
                <a:cxn ang="0">
                  <a:pos x="57" y="15"/>
                </a:cxn>
                <a:cxn ang="0">
                  <a:pos x="33" y="9"/>
                </a:cxn>
                <a:cxn ang="0">
                  <a:pos x="25" y="9"/>
                </a:cxn>
                <a:cxn ang="0">
                  <a:pos x="25" y="13"/>
                </a:cxn>
                <a:cxn ang="0">
                  <a:pos x="28" y="19"/>
                </a:cxn>
                <a:cxn ang="0">
                  <a:pos x="23" y="22"/>
                </a:cxn>
                <a:cxn ang="0">
                  <a:pos x="15" y="33"/>
                </a:cxn>
                <a:cxn ang="0">
                  <a:pos x="17" y="35"/>
                </a:cxn>
                <a:cxn ang="0">
                  <a:pos x="22" y="38"/>
                </a:cxn>
                <a:cxn ang="0">
                  <a:pos x="29" y="39"/>
                </a:cxn>
                <a:cxn ang="0">
                  <a:pos x="32" y="36"/>
                </a:cxn>
                <a:cxn ang="0">
                  <a:pos x="35" y="33"/>
                </a:cxn>
                <a:cxn ang="0">
                  <a:pos x="36" y="38"/>
                </a:cxn>
                <a:cxn ang="0">
                  <a:pos x="44" y="41"/>
                </a:cxn>
                <a:cxn ang="0">
                  <a:pos x="51" y="45"/>
                </a:cxn>
                <a:cxn ang="0">
                  <a:pos x="55" y="45"/>
                </a:cxn>
                <a:cxn ang="0">
                  <a:pos x="49" y="48"/>
                </a:cxn>
                <a:cxn ang="0">
                  <a:pos x="46" y="51"/>
                </a:cxn>
                <a:cxn ang="0">
                  <a:pos x="44" y="52"/>
                </a:cxn>
                <a:cxn ang="0">
                  <a:pos x="39" y="54"/>
                </a:cxn>
                <a:cxn ang="0">
                  <a:pos x="38" y="57"/>
                </a:cxn>
                <a:cxn ang="0">
                  <a:pos x="29" y="55"/>
                </a:cxn>
                <a:cxn ang="0">
                  <a:pos x="23" y="58"/>
                </a:cxn>
                <a:cxn ang="0">
                  <a:pos x="20" y="61"/>
                </a:cxn>
                <a:cxn ang="0">
                  <a:pos x="15" y="60"/>
                </a:cxn>
                <a:cxn ang="0">
                  <a:pos x="0" y="61"/>
                </a:cxn>
                <a:cxn ang="0">
                  <a:pos x="1" y="70"/>
                </a:cxn>
                <a:cxn ang="0">
                  <a:pos x="6" y="68"/>
                </a:cxn>
                <a:cxn ang="0">
                  <a:pos x="17" y="68"/>
                </a:cxn>
                <a:cxn ang="0">
                  <a:pos x="20" y="71"/>
                </a:cxn>
                <a:cxn ang="0">
                  <a:pos x="30" y="68"/>
                </a:cxn>
                <a:cxn ang="0">
                  <a:pos x="35" y="70"/>
                </a:cxn>
                <a:cxn ang="0">
                  <a:pos x="41" y="74"/>
                </a:cxn>
                <a:cxn ang="0">
                  <a:pos x="46" y="73"/>
                </a:cxn>
                <a:cxn ang="0">
                  <a:pos x="54" y="73"/>
                </a:cxn>
                <a:cxn ang="0">
                  <a:pos x="60" y="73"/>
                </a:cxn>
                <a:cxn ang="0">
                  <a:pos x="65" y="70"/>
                </a:cxn>
              </a:cxnLst>
              <a:rect l="0" t="0" r="r" b="b"/>
              <a:pathLst>
                <a:path w="157" h="74">
                  <a:moveTo>
                    <a:pt x="65" y="70"/>
                  </a:moveTo>
                  <a:lnTo>
                    <a:pt x="65" y="67"/>
                  </a:lnTo>
                  <a:lnTo>
                    <a:pt x="67" y="61"/>
                  </a:lnTo>
                  <a:lnTo>
                    <a:pt x="76" y="58"/>
                  </a:lnTo>
                  <a:lnTo>
                    <a:pt x="77" y="57"/>
                  </a:lnTo>
                  <a:lnTo>
                    <a:pt x="78" y="57"/>
                  </a:lnTo>
                  <a:lnTo>
                    <a:pt x="80" y="52"/>
                  </a:lnTo>
                  <a:lnTo>
                    <a:pt x="83" y="54"/>
                  </a:lnTo>
                  <a:lnTo>
                    <a:pt x="87" y="52"/>
                  </a:lnTo>
                  <a:lnTo>
                    <a:pt x="90" y="52"/>
                  </a:lnTo>
                  <a:lnTo>
                    <a:pt x="91" y="55"/>
                  </a:lnTo>
                  <a:lnTo>
                    <a:pt x="100" y="55"/>
                  </a:lnTo>
                  <a:lnTo>
                    <a:pt x="105" y="52"/>
                  </a:lnTo>
                  <a:lnTo>
                    <a:pt x="106" y="48"/>
                  </a:lnTo>
                  <a:lnTo>
                    <a:pt x="107" y="45"/>
                  </a:lnTo>
                  <a:lnTo>
                    <a:pt x="128" y="41"/>
                  </a:lnTo>
                  <a:lnTo>
                    <a:pt x="129" y="38"/>
                  </a:lnTo>
                  <a:lnTo>
                    <a:pt x="134" y="33"/>
                  </a:lnTo>
                  <a:lnTo>
                    <a:pt x="155" y="25"/>
                  </a:lnTo>
                  <a:lnTo>
                    <a:pt x="157" y="20"/>
                  </a:lnTo>
                  <a:lnTo>
                    <a:pt x="157" y="17"/>
                  </a:lnTo>
                  <a:lnTo>
                    <a:pt x="155" y="17"/>
                  </a:lnTo>
                  <a:lnTo>
                    <a:pt x="150" y="15"/>
                  </a:lnTo>
                  <a:lnTo>
                    <a:pt x="145" y="13"/>
                  </a:lnTo>
                  <a:lnTo>
                    <a:pt x="142" y="9"/>
                  </a:lnTo>
                  <a:lnTo>
                    <a:pt x="134" y="7"/>
                  </a:lnTo>
                  <a:lnTo>
                    <a:pt x="132" y="7"/>
                  </a:lnTo>
                  <a:lnTo>
                    <a:pt x="115" y="6"/>
                  </a:lnTo>
                  <a:lnTo>
                    <a:pt x="112" y="4"/>
                  </a:lnTo>
                  <a:lnTo>
                    <a:pt x="109" y="4"/>
                  </a:lnTo>
                  <a:lnTo>
                    <a:pt x="106" y="6"/>
                  </a:lnTo>
                  <a:lnTo>
                    <a:pt x="84" y="6"/>
                  </a:lnTo>
                  <a:lnTo>
                    <a:pt x="83" y="4"/>
                  </a:lnTo>
                  <a:lnTo>
                    <a:pt x="80" y="4"/>
                  </a:lnTo>
                  <a:lnTo>
                    <a:pt x="77" y="4"/>
                  </a:lnTo>
                  <a:lnTo>
                    <a:pt x="70" y="0"/>
                  </a:lnTo>
                  <a:lnTo>
                    <a:pt x="67" y="1"/>
                  </a:lnTo>
                  <a:lnTo>
                    <a:pt x="65" y="1"/>
                  </a:lnTo>
                  <a:lnTo>
                    <a:pt x="64" y="1"/>
                  </a:lnTo>
                  <a:lnTo>
                    <a:pt x="60" y="4"/>
                  </a:lnTo>
                  <a:lnTo>
                    <a:pt x="60" y="7"/>
                  </a:lnTo>
                  <a:lnTo>
                    <a:pt x="60" y="9"/>
                  </a:lnTo>
                  <a:lnTo>
                    <a:pt x="58" y="13"/>
                  </a:lnTo>
                  <a:lnTo>
                    <a:pt x="57" y="15"/>
                  </a:lnTo>
                  <a:lnTo>
                    <a:pt x="35" y="9"/>
                  </a:lnTo>
                  <a:lnTo>
                    <a:pt x="33" y="9"/>
                  </a:lnTo>
                  <a:lnTo>
                    <a:pt x="32" y="7"/>
                  </a:lnTo>
                  <a:lnTo>
                    <a:pt x="25" y="9"/>
                  </a:lnTo>
                  <a:lnTo>
                    <a:pt x="25" y="12"/>
                  </a:lnTo>
                  <a:lnTo>
                    <a:pt x="25" y="13"/>
                  </a:lnTo>
                  <a:lnTo>
                    <a:pt x="23" y="17"/>
                  </a:lnTo>
                  <a:lnTo>
                    <a:pt x="28" y="19"/>
                  </a:lnTo>
                  <a:lnTo>
                    <a:pt x="28" y="20"/>
                  </a:lnTo>
                  <a:lnTo>
                    <a:pt x="23" y="22"/>
                  </a:lnTo>
                  <a:lnTo>
                    <a:pt x="15" y="31"/>
                  </a:lnTo>
                  <a:lnTo>
                    <a:pt x="15" y="33"/>
                  </a:lnTo>
                  <a:lnTo>
                    <a:pt x="16" y="33"/>
                  </a:lnTo>
                  <a:lnTo>
                    <a:pt x="17" y="35"/>
                  </a:lnTo>
                  <a:lnTo>
                    <a:pt x="20" y="33"/>
                  </a:lnTo>
                  <a:lnTo>
                    <a:pt x="22" y="38"/>
                  </a:lnTo>
                  <a:lnTo>
                    <a:pt x="28" y="39"/>
                  </a:lnTo>
                  <a:lnTo>
                    <a:pt x="29" y="39"/>
                  </a:lnTo>
                  <a:lnTo>
                    <a:pt x="30" y="38"/>
                  </a:lnTo>
                  <a:lnTo>
                    <a:pt x="32" y="36"/>
                  </a:lnTo>
                  <a:lnTo>
                    <a:pt x="33" y="32"/>
                  </a:lnTo>
                  <a:lnTo>
                    <a:pt x="35" y="33"/>
                  </a:lnTo>
                  <a:lnTo>
                    <a:pt x="36" y="35"/>
                  </a:lnTo>
                  <a:lnTo>
                    <a:pt x="36" y="38"/>
                  </a:lnTo>
                  <a:lnTo>
                    <a:pt x="42" y="41"/>
                  </a:lnTo>
                  <a:lnTo>
                    <a:pt x="44" y="41"/>
                  </a:lnTo>
                  <a:lnTo>
                    <a:pt x="46" y="44"/>
                  </a:lnTo>
                  <a:lnTo>
                    <a:pt x="51" y="45"/>
                  </a:lnTo>
                  <a:lnTo>
                    <a:pt x="54" y="45"/>
                  </a:lnTo>
                  <a:lnTo>
                    <a:pt x="55" y="45"/>
                  </a:lnTo>
                  <a:lnTo>
                    <a:pt x="54" y="47"/>
                  </a:lnTo>
                  <a:lnTo>
                    <a:pt x="49" y="48"/>
                  </a:lnTo>
                  <a:lnTo>
                    <a:pt x="49" y="51"/>
                  </a:lnTo>
                  <a:lnTo>
                    <a:pt x="46" y="51"/>
                  </a:lnTo>
                  <a:lnTo>
                    <a:pt x="45" y="51"/>
                  </a:lnTo>
                  <a:lnTo>
                    <a:pt x="44" y="52"/>
                  </a:lnTo>
                  <a:lnTo>
                    <a:pt x="42" y="52"/>
                  </a:lnTo>
                  <a:lnTo>
                    <a:pt x="39" y="54"/>
                  </a:lnTo>
                  <a:lnTo>
                    <a:pt x="39" y="55"/>
                  </a:lnTo>
                  <a:lnTo>
                    <a:pt x="38" y="57"/>
                  </a:lnTo>
                  <a:lnTo>
                    <a:pt x="33" y="57"/>
                  </a:lnTo>
                  <a:lnTo>
                    <a:pt x="29" y="55"/>
                  </a:lnTo>
                  <a:lnTo>
                    <a:pt x="23" y="55"/>
                  </a:lnTo>
                  <a:lnTo>
                    <a:pt x="23" y="58"/>
                  </a:lnTo>
                  <a:lnTo>
                    <a:pt x="20" y="58"/>
                  </a:lnTo>
                  <a:lnTo>
                    <a:pt x="20" y="61"/>
                  </a:lnTo>
                  <a:lnTo>
                    <a:pt x="17" y="61"/>
                  </a:lnTo>
                  <a:lnTo>
                    <a:pt x="15" y="60"/>
                  </a:lnTo>
                  <a:lnTo>
                    <a:pt x="6" y="58"/>
                  </a:lnTo>
                  <a:lnTo>
                    <a:pt x="0" y="61"/>
                  </a:lnTo>
                  <a:lnTo>
                    <a:pt x="0" y="68"/>
                  </a:lnTo>
                  <a:lnTo>
                    <a:pt x="1" y="70"/>
                  </a:lnTo>
                  <a:lnTo>
                    <a:pt x="3" y="70"/>
                  </a:lnTo>
                  <a:lnTo>
                    <a:pt x="6" y="68"/>
                  </a:lnTo>
                  <a:lnTo>
                    <a:pt x="9" y="70"/>
                  </a:lnTo>
                  <a:lnTo>
                    <a:pt x="17" y="68"/>
                  </a:lnTo>
                  <a:lnTo>
                    <a:pt x="20" y="70"/>
                  </a:lnTo>
                  <a:lnTo>
                    <a:pt x="20" y="71"/>
                  </a:lnTo>
                  <a:lnTo>
                    <a:pt x="23" y="71"/>
                  </a:lnTo>
                  <a:lnTo>
                    <a:pt x="30" y="68"/>
                  </a:lnTo>
                  <a:lnTo>
                    <a:pt x="33" y="70"/>
                  </a:lnTo>
                  <a:lnTo>
                    <a:pt x="35" y="70"/>
                  </a:lnTo>
                  <a:lnTo>
                    <a:pt x="36" y="74"/>
                  </a:lnTo>
                  <a:lnTo>
                    <a:pt x="41" y="74"/>
                  </a:lnTo>
                  <a:lnTo>
                    <a:pt x="42" y="74"/>
                  </a:lnTo>
                  <a:lnTo>
                    <a:pt x="46" y="73"/>
                  </a:lnTo>
                  <a:lnTo>
                    <a:pt x="51" y="73"/>
                  </a:lnTo>
                  <a:lnTo>
                    <a:pt x="54" y="73"/>
                  </a:lnTo>
                  <a:lnTo>
                    <a:pt x="57" y="73"/>
                  </a:lnTo>
                  <a:lnTo>
                    <a:pt x="60" y="73"/>
                  </a:lnTo>
                  <a:lnTo>
                    <a:pt x="60" y="68"/>
                  </a:lnTo>
                  <a:lnTo>
                    <a:pt x="65" y="7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86" name="Freeform 700"/>
            <p:cNvSpPr>
              <a:spLocks/>
            </p:cNvSpPr>
            <p:nvPr/>
          </p:nvSpPr>
          <p:spPr bwMode="auto">
            <a:xfrm>
              <a:off x="5888986" y="3024134"/>
              <a:ext cx="82513" cy="66933"/>
            </a:xfrm>
            <a:custGeom>
              <a:avLst/>
              <a:gdLst/>
              <a:ahLst/>
              <a:cxnLst>
                <a:cxn ang="0">
                  <a:pos x="13" y="44"/>
                </a:cxn>
                <a:cxn ang="0">
                  <a:pos x="5" y="29"/>
                </a:cxn>
                <a:cxn ang="0">
                  <a:pos x="2" y="31"/>
                </a:cxn>
                <a:cxn ang="0">
                  <a:pos x="2" y="29"/>
                </a:cxn>
                <a:cxn ang="0">
                  <a:pos x="11" y="24"/>
                </a:cxn>
                <a:cxn ang="0">
                  <a:pos x="16" y="9"/>
                </a:cxn>
                <a:cxn ang="0">
                  <a:pos x="21" y="3"/>
                </a:cxn>
                <a:cxn ang="0">
                  <a:pos x="28" y="3"/>
                </a:cxn>
                <a:cxn ang="0">
                  <a:pos x="32" y="2"/>
                </a:cxn>
                <a:cxn ang="0">
                  <a:pos x="35" y="2"/>
                </a:cxn>
                <a:cxn ang="0">
                  <a:pos x="38" y="0"/>
                </a:cxn>
                <a:cxn ang="0">
                  <a:pos x="47" y="2"/>
                </a:cxn>
                <a:cxn ang="0">
                  <a:pos x="51" y="6"/>
                </a:cxn>
                <a:cxn ang="0">
                  <a:pos x="56" y="8"/>
                </a:cxn>
                <a:cxn ang="0">
                  <a:pos x="59" y="9"/>
                </a:cxn>
                <a:cxn ang="0">
                  <a:pos x="63" y="16"/>
                </a:cxn>
                <a:cxn ang="0">
                  <a:pos x="64" y="18"/>
                </a:cxn>
                <a:cxn ang="0">
                  <a:pos x="67" y="18"/>
                </a:cxn>
                <a:cxn ang="0">
                  <a:pos x="69" y="21"/>
                </a:cxn>
                <a:cxn ang="0">
                  <a:pos x="69" y="22"/>
                </a:cxn>
                <a:cxn ang="0">
                  <a:pos x="72" y="24"/>
                </a:cxn>
                <a:cxn ang="0">
                  <a:pos x="74" y="26"/>
                </a:cxn>
                <a:cxn ang="0">
                  <a:pos x="79" y="29"/>
                </a:cxn>
                <a:cxn ang="0">
                  <a:pos x="79" y="34"/>
                </a:cxn>
                <a:cxn ang="0">
                  <a:pos x="79" y="35"/>
                </a:cxn>
                <a:cxn ang="0">
                  <a:pos x="82" y="41"/>
                </a:cxn>
                <a:cxn ang="0">
                  <a:pos x="80" y="45"/>
                </a:cxn>
                <a:cxn ang="0">
                  <a:pos x="83" y="50"/>
                </a:cxn>
                <a:cxn ang="0">
                  <a:pos x="86" y="50"/>
                </a:cxn>
                <a:cxn ang="0">
                  <a:pos x="88" y="53"/>
                </a:cxn>
                <a:cxn ang="0">
                  <a:pos x="89" y="56"/>
                </a:cxn>
                <a:cxn ang="0">
                  <a:pos x="89" y="57"/>
                </a:cxn>
                <a:cxn ang="0">
                  <a:pos x="89" y="60"/>
                </a:cxn>
                <a:cxn ang="0">
                  <a:pos x="90" y="63"/>
                </a:cxn>
                <a:cxn ang="0">
                  <a:pos x="86" y="64"/>
                </a:cxn>
                <a:cxn ang="0">
                  <a:pos x="79" y="64"/>
                </a:cxn>
                <a:cxn ang="0">
                  <a:pos x="74" y="64"/>
                </a:cxn>
                <a:cxn ang="0">
                  <a:pos x="70" y="63"/>
                </a:cxn>
                <a:cxn ang="0">
                  <a:pos x="67" y="63"/>
                </a:cxn>
                <a:cxn ang="0">
                  <a:pos x="64" y="60"/>
                </a:cxn>
                <a:cxn ang="0">
                  <a:pos x="60" y="58"/>
                </a:cxn>
                <a:cxn ang="0">
                  <a:pos x="19" y="63"/>
                </a:cxn>
                <a:cxn ang="0">
                  <a:pos x="13" y="64"/>
                </a:cxn>
                <a:cxn ang="0">
                  <a:pos x="12" y="63"/>
                </a:cxn>
                <a:cxn ang="0">
                  <a:pos x="13" y="53"/>
                </a:cxn>
                <a:cxn ang="0">
                  <a:pos x="27" y="50"/>
                </a:cxn>
                <a:cxn ang="0">
                  <a:pos x="32" y="50"/>
                </a:cxn>
                <a:cxn ang="0">
                  <a:pos x="35" y="47"/>
                </a:cxn>
                <a:cxn ang="0">
                  <a:pos x="40" y="48"/>
                </a:cxn>
                <a:cxn ang="0">
                  <a:pos x="47" y="51"/>
                </a:cxn>
                <a:cxn ang="0">
                  <a:pos x="51" y="51"/>
                </a:cxn>
                <a:cxn ang="0">
                  <a:pos x="56" y="48"/>
                </a:cxn>
                <a:cxn ang="0">
                  <a:pos x="54" y="47"/>
                </a:cxn>
                <a:cxn ang="0">
                  <a:pos x="48" y="48"/>
                </a:cxn>
                <a:cxn ang="0">
                  <a:pos x="44" y="45"/>
                </a:cxn>
                <a:cxn ang="0">
                  <a:pos x="38" y="44"/>
                </a:cxn>
                <a:cxn ang="0">
                  <a:pos x="34" y="44"/>
                </a:cxn>
                <a:cxn ang="0">
                  <a:pos x="29" y="47"/>
                </a:cxn>
              </a:cxnLst>
              <a:rect l="0" t="0" r="r" b="b"/>
              <a:pathLst>
                <a:path w="90" h="64">
                  <a:moveTo>
                    <a:pt x="15" y="47"/>
                  </a:moveTo>
                  <a:lnTo>
                    <a:pt x="15" y="47"/>
                  </a:lnTo>
                  <a:lnTo>
                    <a:pt x="13" y="44"/>
                  </a:lnTo>
                  <a:lnTo>
                    <a:pt x="12" y="42"/>
                  </a:lnTo>
                  <a:lnTo>
                    <a:pt x="12" y="40"/>
                  </a:lnTo>
                  <a:lnTo>
                    <a:pt x="5" y="29"/>
                  </a:lnTo>
                  <a:lnTo>
                    <a:pt x="3" y="29"/>
                  </a:lnTo>
                  <a:lnTo>
                    <a:pt x="3" y="29"/>
                  </a:lnTo>
                  <a:lnTo>
                    <a:pt x="2" y="31"/>
                  </a:lnTo>
                  <a:lnTo>
                    <a:pt x="2" y="29"/>
                  </a:lnTo>
                  <a:lnTo>
                    <a:pt x="0" y="29"/>
                  </a:lnTo>
                  <a:lnTo>
                    <a:pt x="2" y="29"/>
                  </a:lnTo>
                  <a:lnTo>
                    <a:pt x="2" y="29"/>
                  </a:lnTo>
                  <a:lnTo>
                    <a:pt x="5" y="28"/>
                  </a:lnTo>
                  <a:lnTo>
                    <a:pt x="11" y="24"/>
                  </a:lnTo>
                  <a:lnTo>
                    <a:pt x="15" y="15"/>
                  </a:lnTo>
                  <a:lnTo>
                    <a:pt x="15" y="9"/>
                  </a:lnTo>
                  <a:lnTo>
                    <a:pt x="16" y="9"/>
                  </a:lnTo>
                  <a:lnTo>
                    <a:pt x="18" y="6"/>
                  </a:lnTo>
                  <a:lnTo>
                    <a:pt x="19" y="3"/>
                  </a:lnTo>
                  <a:lnTo>
                    <a:pt x="21" y="3"/>
                  </a:lnTo>
                  <a:lnTo>
                    <a:pt x="21" y="3"/>
                  </a:lnTo>
                  <a:lnTo>
                    <a:pt x="25" y="3"/>
                  </a:lnTo>
                  <a:lnTo>
                    <a:pt x="28" y="3"/>
                  </a:lnTo>
                  <a:lnTo>
                    <a:pt x="29" y="3"/>
                  </a:lnTo>
                  <a:lnTo>
                    <a:pt x="29" y="3"/>
                  </a:lnTo>
                  <a:lnTo>
                    <a:pt x="32" y="2"/>
                  </a:lnTo>
                  <a:lnTo>
                    <a:pt x="35" y="2"/>
                  </a:lnTo>
                  <a:lnTo>
                    <a:pt x="35" y="2"/>
                  </a:lnTo>
                  <a:lnTo>
                    <a:pt x="35" y="2"/>
                  </a:lnTo>
                  <a:lnTo>
                    <a:pt x="35" y="2"/>
                  </a:lnTo>
                  <a:lnTo>
                    <a:pt x="38" y="2"/>
                  </a:lnTo>
                  <a:lnTo>
                    <a:pt x="38" y="0"/>
                  </a:lnTo>
                  <a:lnTo>
                    <a:pt x="44" y="2"/>
                  </a:lnTo>
                  <a:lnTo>
                    <a:pt x="45" y="2"/>
                  </a:lnTo>
                  <a:lnTo>
                    <a:pt x="47" y="2"/>
                  </a:lnTo>
                  <a:lnTo>
                    <a:pt x="47" y="3"/>
                  </a:lnTo>
                  <a:lnTo>
                    <a:pt x="48" y="3"/>
                  </a:lnTo>
                  <a:lnTo>
                    <a:pt x="51" y="6"/>
                  </a:lnTo>
                  <a:lnTo>
                    <a:pt x="51" y="8"/>
                  </a:lnTo>
                  <a:lnTo>
                    <a:pt x="54" y="9"/>
                  </a:lnTo>
                  <a:lnTo>
                    <a:pt x="56" y="8"/>
                  </a:lnTo>
                  <a:lnTo>
                    <a:pt x="56" y="9"/>
                  </a:lnTo>
                  <a:lnTo>
                    <a:pt x="57" y="9"/>
                  </a:lnTo>
                  <a:lnTo>
                    <a:pt x="59" y="9"/>
                  </a:lnTo>
                  <a:lnTo>
                    <a:pt x="59" y="9"/>
                  </a:lnTo>
                  <a:lnTo>
                    <a:pt x="63" y="15"/>
                  </a:lnTo>
                  <a:lnTo>
                    <a:pt x="63" y="16"/>
                  </a:lnTo>
                  <a:lnTo>
                    <a:pt x="64" y="16"/>
                  </a:lnTo>
                  <a:lnTo>
                    <a:pt x="64" y="18"/>
                  </a:lnTo>
                  <a:lnTo>
                    <a:pt x="64" y="18"/>
                  </a:lnTo>
                  <a:lnTo>
                    <a:pt x="66" y="18"/>
                  </a:lnTo>
                  <a:lnTo>
                    <a:pt x="66" y="18"/>
                  </a:lnTo>
                  <a:lnTo>
                    <a:pt x="67" y="18"/>
                  </a:lnTo>
                  <a:lnTo>
                    <a:pt x="67" y="21"/>
                  </a:lnTo>
                  <a:lnTo>
                    <a:pt x="69" y="21"/>
                  </a:lnTo>
                  <a:lnTo>
                    <a:pt x="69" y="21"/>
                  </a:lnTo>
                  <a:lnTo>
                    <a:pt x="67" y="22"/>
                  </a:lnTo>
                  <a:lnTo>
                    <a:pt x="67" y="22"/>
                  </a:lnTo>
                  <a:lnTo>
                    <a:pt x="69" y="22"/>
                  </a:lnTo>
                  <a:lnTo>
                    <a:pt x="70" y="24"/>
                  </a:lnTo>
                  <a:lnTo>
                    <a:pt x="70" y="24"/>
                  </a:lnTo>
                  <a:lnTo>
                    <a:pt x="72" y="24"/>
                  </a:lnTo>
                  <a:lnTo>
                    <a:pt x="73" y="25"/>
                  </a:lnTo>
                  <a:lnTo>
                    <a:pt x="74" y="25"/>
                  </a:lnTo>
                  <a:lnTo>
                    <a:pt x="74" y="26"/>
                  </a:lnTo>
                  <a:lnTo>
                    <a:pt x="74" y="26"/>
                  </a:lnTo>
                  <a:lnTo>
                    <a:pt x="76" y="28"/>
                  </a:lnTo>
                  <a:lnTo>
                    <a:pt x="79" y="29"/>
                  </a:lnTo>
                  <a:lnTo>
                    <a:pt x="79" y="31"/>
                  </a:lnTo>
                  <a:lnTo>
                    <a:pt x="77" y="32"/>
                  </a:lnTo>
                  <a:lnTo>
                    <a:pt x="79" y="34"/>
                  </a:lnTo>
                  <a:lnTo>
                    <a:pt x="79" y="34"/>
                  </a:lnTo>
                  <a:lnTo>
                    <a:pt x="79" y="35"/>
                  </a:lnTo>
                  <a:lnTo>
                    <a:pt x="79" y="35"/>
                  </a:lnTo>
                  <a:lnTo>
                    <a:pt x="80" y="37"/>
                  </a:lnTo>
                  <a:lnTo>
                    <a:pt x="80" y="40"/>
                  </a:lnTo>
                  <a:lnTo>
                    <a:pt x="82" y="41"/>
                  </a:lnTo>
                  <a:lnTo>
                    <a:pt x="82" y="42"/>
                  </a:lnTo>
                  <a:lnTo>
                    <a:pt x="80" y="44"/>
                  </a:lnTo>
                  <a:lnTo>
                    <a:pt x="80" y="45"/>
                  </a:lnTo>
                  <a:lnTo>
                    <a:pt x="82" y="48"/>
                  </a:lnTo>
                  <a:lnTo>
                    <a:pt x="83" y="50"/>
                  </a:lnTo>
                  <a:lnTo>
                    <a:pt x="83" y="50"/>
                  </a:lnTo>
                  <a:lnTo>
                    <a:pt x="85" y="50"/>
                  </a:lnTo>
                  <a:lnTo>
                    <a:pt x="85" y="48"/>
                  </a:lnTo>
                  <a:lnTo>
                    <a:pt x="86" y="50"/>
                  </a:lnTo>
                  <a:lnTo>
                    <a:pt x="86" y="50"/>
                  </a:lnTo>
                  <a:lnTo>
                    <a:pt x="88" y="51"/>
                  </a:lnTo>
                  <a:lnTo>
                    <a:pt x="88" y="53"/>
                  </a:lnTo>
                  <a:lnTo>
                    <a:pt x="88" y="53"/>
                  </a:lnTo>
                  <a:lnTo>
                    <a:pt x="89" y="54"/>
                  </a:lnTo>
                  <a:lnTo>
                    <a:pt x="89" y="56"/>
                  </a:lnTo>
                  <a:lnTo>
                    <a:pt x="90" y="56"/>
                  </a:lnTo>
                  <a:lnTo>
                    <a:pt x="89" y="56"/>
                  </a:lnTo>
                  <a:lnTo>
                    <a:pt x="89" y="57"/>
                  </a:lnTo>
                  <a:lnTo>
                    <a:pt x="90" y="57"/>
                  </a:lnTo>
                  <a:lnTo>
                    <a:pt x="90" y="58"/>
                  </a:lnTo>
                  <a:lnTo>
                    <a:pt x="89" y="60"/>
                  </a:lnTo>
                  <a:lnTo>
                    <a:pt x="89" y="61"/>
                  </a:lnTo>
                  <a:lnTo>
                    <a:pt x="90" y="63"/>
                  </a:lnTo>
                  <a:lnTo>
                    <a:pt x="90" y="63"/>
                  </a:lnTo>
                  <a:lnTo>
                    <a:pt x="90" y="63"/>
                  </a:lnTo>
                  <a:lnTo>
                    <a:pt x="88" y="63"/>
                  </a:lnTo>
                  <a:lnTo>
                    <a:pt x="86" y="64"/>
                  </a:lnTo>
                  <a:lnTo>
                    <a:pt x="82" y="63"/>
                  </a:lnTo>
                  <a:lnTo>
                    <a:pt x="82" y="64"/>
                  </a:lnTo>
                  <a:lnTo>
                    <a:pt x="79" y="64"/>
                  </a:lnTo>
                  <a:lnTo>
                    <a:pt x="77" y="64"/>
                  </a:lnTo>
                  <a:lnTo>
                    <a:pt x="76" y="64"/>
                  </a:lnTo>
                  <a:lnTo>
                    <a:pt x="74" y="64"/>
                  </a:lnTo>
                  <a:lnTo>
                    <a:pt x="73" y="64"/>
                  </a:lnTo>
                  <a:lnTo>
                    <a:pt x="72" y="63"/>
                  </a:lnTo>
                  <a:lnTo>
                    <a:pt x="70" y="63"/>
                  </a:lnTo>
                  <a:lnTo>
                    <a:pt x="67" y="61"/>
                  </a:lnTo>
                  <a:lnTo>
                    <a:pt x="67" y="61"/>
                  </a:lnTo>
                  <a:lnTo>
                    <a:pt x="67" y="63"/>
                  </a:lnTo>
                  <a:lnTo>
                    <a:pt x="66" y="63"/>
                  </a:lnTo>
                  <a:lnTo>
                    <a:pt x="66" y="61"/>
                  </a:lnTo>
                  <a:lnTo>
                    <a:pt x="64" y="60"/>
                  </a:lnTo>
                  <a:lnTo>
                    <a:pt x="63" y="60"/>
                  </a:lnTo>
                  <a:lnTo>
                    <a:pt x="61" y="60"/>
                  </a:lnTo>
                  <a:lnTo>
                    <a:pt x="60" y="58"/>
                  </a:lnTo>
                  <a:lnTo>
                    <a:pt x="35" y="60"/>
                  </a:lnTo>
                  <a:lnTo>
                    <a:pt x="28" y="63"/>
                  </a:lnTo>
                  <a:lnTo>
                    <a:pt x="19" y="63"/>
                  </a:lnTo>
                  <a:lnTo>
                    <a:pt x="16" y="64"/>
                  </a:lnTo>
                  <a:lnTo>
                    <a:pt x="15" y="64"/>
                  </a:lnTo>
                  <a:lnTo>
                    <a:pt x="13" y="64"/>
                  </a:lnTo>
                  <a:lnTo>
                    <a:pt x="12" y="63"/>
                  </a:lnTo>
                  <a:lnTo>
                    <a:pt x="12" y="64"/>
                  </a:lnTo>
                  <a:lnTo>
                    <a:pt x="12" y="63"/>
                  </a:lnTo>
                  <a:lnTo>
                    <a:pt x="12" y="63"/>
                  </a:lnTo>
                  <a:lnTo>
                    <a:pt x="12" y="54"/>
                  </a:lnTo>
                  <a:lnTo>
                    <a:pt x="13" y="53"/>
                  </a:lnTo>
                  <a:lnTo>
                    <a:pt x="25" y="51"/>
                  </a:lnTo>
                  <a:lnTo>
                    <a:pt x="27" y="51"/>
                  </a:lnTo>
                  <a:lnTo>
                    <a:pt x="27" y="50"/>
                  </a:lnTo>
                  <a:lnTo>
                    <a:pt x="28" y="50"/>
                  </a:lnTo>
                  <a:lnTo>
                    <a:pt x="29" y="50"/>
                  </a:lnTo>
                  <a:lnTo>
                    <a:pt x="32" y="50"/>
                  </a:lnTo>
                  <a:lnTo>
                    <a:pt x="34" y="48"/>
                  </a:lnTo>
                  <a:lnTo>
                    <a:pt x="35" y="47"/>
                  </a:lnTo>
                  <a:lnTo>
                    <a:pt x="35" y="47"/>
                  </a:lnTo>
                  <a:lnTo>
                    <a:pt x="37" y="47"/>
                  </a:lnTo>
                  <a:lnTo>
                    <a:pt x="38" y="48"/>
                  </a:lnTo>
                  <a:lnTo>
                    <a:pt x="40" y="48"/>
                  </a:lnTo>
                  <a:lnTo>
                    <a:pt x="43" y="50"/>
                  </a:lnTo>
                  <a:lnTo>
                    <a:pt x="44" y="50"/>
                  </a:lnTo>
                  <a:lnTo>
                    <a:pt x="47" y="51"/>
                  </a:lnTo>
                  <a:lnTo>
                    <a:pt x="48" y="51"/>
                  </a:lnTo>
                  <a:lnTo>
                    <a:pt x="50" y="51"/>
                  </a:lnTo>
                  <a:lnTo>
                    <a:pt x="51" y="51"/>
                  </a:lnTo>
                  <a:lnTo>
                    <a:pt x="54" y="50"/>
                  </a:lnTo>
                  <a:lnTo>
                    <a:pt x="56" y="50"/>
                  </a:lnTo>
                  <a:lnTo>
                    <a:pt x="56" y="48"/>
                  </a:lnTo>
                  <a:lnTo>
                    <a:pt x="54" y="47"/>
                  </a:lnTo>
                  <a:lnTo>
                    <a:pt x="54" y="47"/>
                  </a:lnTo>
                  <a:lnTo>
                    <a:pt x="54" y="47"/>
                  </a:lnTo>
                  <a:lnTo>
                    <a:pt x="53" y="47"/>
                  </a:lnTo>
                  <a:lnTo>
                    <a:pt x="51" y="47"/>
                  </a:lnTo>
                  <a:lnTo>
                    <a:pt x="48" y="48"/>
                  </a:lnTo>
                  <a:lnTo>
                    <a:pt x="47" y="48"/>
                  </a:lnTo>
                  <a:lnTo>
                    <a:pt x="45" y="47"/>
                  </a:lnTo>
                  <a:lnTo>
                    <a:pt x="44" y="45"/>
                  </a:lnTo>
                  <a:lnTo>
                    <a:pt x="44" y="45"/>
                  </a:lnTo>
                  <a:lnTo>
                    <a:pt x="41" y="45"/>
                  </a:lnTo>
                  <a:lnTo>
                    <a:pt x="38" y="44"/>
                  </a:lnTo>
                  <a:lnTo>
                    <a:pt x="37" y="42"/>
                  </a:lnTo>
                  <a:lnTo>
                    <a:pt x="37" y="42"/>
                  </a:lnTo>
                  <a:lnTo>
                    <a:pt x="34" y="44"/>
                  </a:lnTo>
                  <a:lnTo>
                    <a:pt x="32" y="44"/>
                  </a:lnTo>
                  <a:lnTo>
                    <a:pt x="31" y="44"/>
                  </a:lnTo>
                  <a:lnTo>
                    <a:pt x="29" y="47"/>
                  </a:lnTo>
                  <a:lnTo>
                    <a:pt x="15" y="4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87" name="Freeform 703"/>
            <p:cNvSpPr>
              <a:spLocks/>
            </p:cNvSpPr>
            <p:nvPr/>
          </p:nvSpPr>
          <p:spPr bwMode="auto">
            <a:xfrm>
              <a:off x="4591596" y="2765531"/>
              <a:ext cx="394132" cy="292071"/>
            </a:xfrm>
            <a:custGeom>
              <a:avLst/>
              <a:gdLst/>
              <a:ahLst/>
              <a:cxnLst>
                <a:cxn ang="0">
                  <a:pos x="48" y="19"/>
                </a:cxn>
                <a:cxn ang="0">
                  <a:pos x="61" y="36"/>
                </a:cxn>
                <a:cxn ang="0">
                  <a:pos x="67" y="48"/>
                </a:cxn>
                <a:cxn ang="0">
                  <a:pos x="75" y="65"/>
                </a:cxn>
                <a:cxn ang="0">
                  <a:pos x="93" y="83"/>
                </a:cxn>
                <a:cxn ang="0">
                  <a:pos x="106" y="97"/>
                </a:cxn>
                <a:cxn ang="0">
                  <a:pos x="112" y="107"/>
                </a:cxn>
                <a:cxn ang="0">
                  <a:pos x="117" y="116"/>
                </a:cxn>
                <a:cxn ang="0">
                  <a:pos x="132" y="131"/>
                </a:cxn>
                <a:cxn ang="0">
                  <a:pos x="164" y="163"/>
                </a:cxn>
                <a:cxn ang="0">
                  <a:pos x="170" y="177"/>
                </a:cxn>
                <a:cxn ang="0">
                  <a:pos x="170" y="192"/>
                </a:cxn>
                <a:cxn ang="0">
                  <a:pos x="181" y="213"/>
                </a:cxn>
                <a:cxn ang="0">
                  <a:pos x="193" y="222"/>
                </a:cxn>
                <a:cxn ang="0">
                  <a:pos x="203" y="228"/>
                </a:cxn>
                <a:cxn ang="0">
                  <a:pos x="229" y="240"/>
                </a:cxn>
                <a:cxn ang="0">
                  <a:pos x="273" y="258"/>
                </a:cxn>
                <a:cxn ang="0">
                  <a:pos x="302" y="263"/>
                </a:cxn>
                <a:cxn ang="0">
                  <a:pos x="354" y="280"/>
                </a:cxn>
                <a:cxn ang="0">
                  <a:pos x="357" y="267"/>
                </a:cxn>
                <a:cxn ang="0">
                  <a:pos x="374" y="250"/>
                </a:cxn>
                <a:cxn ang="0">
                  <a:pos x="405" y="224"/>
                </a:cxn>
                <a:cxn ang="0">
                  <a:pos x="414" y="222"/>
                </a:cxn>
                <a:cxn ang="0">
                  <a:pos x="418" y="209"/>
                </a:cxn>
                <a:cxn ang="0">
                  <a:pos x="428" y="187"/>
                </a:cxn>
                <a:cxn ang="0">
                  <a:pos x="412" y="174"/>
                </a:cxn>
                <a:cxn ang="0">
                  <a:pos x="373" y="211"/>
                </a:cxn>
                <a:cxn ang="0">
                  <a:pos x="357" y="221"/>
                </a:cxn>
                <a:cxn ang="0">
                  <a:pos x="325" y="227"/>
                </a:cxn>
                <a:cxn ang="0">
                  <a:pos x="303" y="218"/>
                </a:cxn>
                <a:cxn ang="0">
                  <a:pos x="281" y="181"/>
                </a:cxn>
                <a:cxn ang="0">
                  <a:pos x="276" y="142"/>
                </a:cxn>
                <a:cxn ang="0">
                  <a:pos x="277" y="119"/>
                </a:cxn>
                <a:cxn ang="0">
                  <a:pos x="284" y="113"/>
                </a:cxn>
                <a:cxn ang="0">
                  <a:pos x="274" y="107"/>
                </a:cxn>
                <a:cxn ang="0">
                  <a:pos x="244" y="78"/>
                </a:cxn>
                <a:cxn ang="0">
                  <a:pos x="203" y="48"/>
                </a:cxn>
                <a:cxn ang="0">
                  <a:pos x="154" y="19"/>
                </a:cxn>
                <a:cxn ang="0">
                  <a:pos x="32" y="0"/>
                </a:cxn>
                <a:cxn ang="0">
                  <a:pos x="6" y="13"/>
                </a:cxn>
                <a:cxn ang="0">
                  <a:pos x="14" y="29"/>
                </a:cxn>
                <a:cxn ang="0">
                  <a:pos x="22" y="48"/>
                </a:cxn>
                <a:cxn ang="0">
                  <a:pos x="35" y="58"/>
                </a:cxn>
                <a:cxn ang="0">
                  <a:pos x="45" y="74"/>
                </a:cxn>
                <a:cxn ang="0">
                  <a:pos x="43" y="80"/>
                </a:cxn>
                <a:cxn ang="0">
                  <a:pos x="36" y="84"/>
                </a:cxn>
                <a:cxn ang="0">
                  <a:pos x="45" y="91"/>
                </a:cxn>
                <a:cxn ang="0">
                  <a:pos x="58" y="97"/>
                </a:cxn>
                <a:cxn ang="0">
                  <a:pos x="71" y="128"/>
                </a:cxn>
                <a:cxn ang="0">
                  <a:pos x="77" y="131"/>
                </a:cxn>
                <a:cxn ang="0">
                  <a:pos x="101" y="157"/>
                </a:cxn>
                <a:cxn ang="0">
                  <a:pos x="104" y="141"/>
                </a:cxn>
                <a:cxn ang="0">
                  <a:pos x="91" y="126"/>
                </a:cxn>
                <a:cxn ang="0">
                  <a:pos x="83" y="104"/>
                </a:cxn>
                <a:cxn ang="0">
                  <a:pos x="77" y="100"/>
                </a:cxn>
                <a:cxn ang="0">
                  <a:pos x="71" y="87"/>
                </a:cxn>
                <a:cxn ang="0">
                  <a:pos x="59" y="70"/>
                </a:cxn>
                <a:cxn ang="0">
                  <a:pos x="51" y="55"/>
                </a:cxn>
                <a:cxn ang="0">
                  <a:pos x="35" y="27"/>
                </a:cxn>
              </a:cxnLst>
              <a:rect l="0" t="0" r="r" b="b"/>
              <a:pathLst>
                <a:path w="430" h="280">
                  <a:moveTo>
                    <a:pt x="33" y="14"/>
                  </a:moveTo>
                  <a:lnTo>
                    <a:pt x="36" y="14"/>
                  </a:lnTo>
                  <a:lnTo>
                    <a:pt x="39" y="17"/>
                  </a:lnTo>
                  <a:lnTo>
                    <a:pt x="39" y="17"/>
                  </a:lnTo>
                  <a:lnTo>
                    <a:pt x="39" y="17"/>
                  </a:lnTo>
                  <a:lnTo>
                    <a:pt x="43" y="20"/>
                  </a:lnTo>
                  <a:lnTo>
                    <a:pt x="48" y="19"/>
                  </a:lnTo>
                  <a:lnTo>
                    <a:pt x="49" y="20"/>
                  </a:lnTo>
                  <a:lnTo>
                    <a:pt x="49" y="22"/>
                  </a:lnTo>
                  <a:lnTo>
                    <a:pt x="55" y="25"/>
                  </a:lnTo>
                  <a:lnTo>
                    <a:pt x="56" y="25"/>
                  </a:lnTo>
                  <a:lnTo>
                    <a:pt x="58" y="26"/>
                  </a:lnTo>
                  <a:lnTo>
                    <a:pt x="58" y="33"/>
                  </a:lnTo>
                  <a:lnTo>
                    <a:pt x="61" y="36"/>
                  </a:lnTo>
                  <a:lnTo>
                    <a:pt x="61" y="39"/>
                  </a:lnTo>
                  <a:lnTo>
                    <a:pt x="61" y="39"/>
                  </a:lnTo>
                  <a:lnTo>
                    <a:pt x="62" y="41"/>
                  </a:lnTo>
                  <a:lnTo>
                    <a:pt x="64" y="45"/>
                  </a:lnTo>
                  <a:lnTo>
                    <a:pt x="64" y="46"/>
                  </a:lnTo>
                  <a:lnTo>
                    <a:pt x="65" y="48"/>
                  </a:lnTo>
                  <a:lnTo>
                    <a:pt x="67" y="48"/>
                  </a:lnTo>
                  <a:lnTo>
                    <a:pt x="67" y="54"/>
                  </a:lnTo>
                  <a:lnTo>
                    <a:pt x="68" y="55"/>
                  </a:lnTo>
                  <a:lnTo>
                    <a:pt x="70" y="56"/>
                  </a:lnTo>
                  <a:lnTo>
                    <a:pt x="71" y="58"/>
                  </a:lnTo>
                  <a:lnTo>
                    <a:pt x="72" y="61"/>
                  </a:lnTo>
                  <a:lnTo>
                    <a:pt x="74" y="62"/>
                  </a:lnTo>
                  <a:lnTo>
                    <a:pt x="75" y="65"/>
                  </a:lnTo>
                  <a:lnTo>
                    <a:pt x="78" y="68"/>
                  </a:lnTo>
                  <a:lnTo>
                    <a:pt x="80" y="70"/>
                  </a:lnTo>
                  <a:lnTo>
                    <a:pt x="84" y="75"/>
                  </a:lnTo>
                  <a:lnTo>
                    <a:pt x="87" y="77"/>
                  </a:lnTo>
                  <a:lnTo>
                    <a:pt x="93" y="78"/>
                  </a:lnTo>
                  <a:lnTo>
                    <a:pt x="93" y="78"/>
                  </a:lnTo>
                  <a:lnTo>
                    <a:pt x="93" y="83"/>
                  </a:lnTo>
                  <a:lnTo>
                    <a:pt x="93" y="84"/>
                  </a:lnTo>
                  <a:lnTo>
                    <a:pt x="94" y="86"/>
                  </a:lnTo>
                  <a:lnTo>
                    <a:pt x="97" y="90"/>
                  </a:lnTo>
                  <a:lnTo>
                    <a:pt x="101" y="91"/>
                  </a:lnTo>
                  <a:lnTo>
                    <a:pt x="104" y="96"/>
                  </a:lnTo>
                  <a:lnTo>
                    <a:pt x="106" y="97"/>
                  </a:lnTo>
                  <a:lnTo>
                    <a:pt x="106" y="97"/>
                  </a:lnTo>
                  <a:lnTo>
                    <a:pt x="109" y="97"/>
                  </a:lnTo>
                  <a:lnTo>
                    <a:pt x="112" y="99"/>
                  </a:lnTo>
                  <a:lnTo>
                    <a:pt x="112" y="102"/>
                  </a:lnTo>
                  <a:lnTo>
                    <a:pt x="113" y="103"/>
                  </a:lnTo>
                  <a:lnTo>
                    <a:pt x="113" y="103"/>
                  </a:lnTo>
                  <a:lnTo>
                    <a:pt x="112" y="106"/>
                  </a:lnTo>
                  <a:lnTo>
                    <a:pt x="112" y="107"/>
                  </a:lnTo>
                  <a:lnTo>
                    <a:pt x="110" y="112"/>
                  </a:lnTo>
                  <a:lnTo>
                    <a:pt x="110" y="113"/>
                  </a:lnTo>
                  <a:lnTo>
                    <a:pt x="112" y="115"/>
                  </a:lnTo>
                  <a:lnTo>
                    <a:pt x="115" y="115"/>
                  </a:lnTo>
                  <a:lnTo>
                    <a:pt x="117" y="113"/>
                  </a:lnTo>
                  <a:lnTo>
                    <a:pt x="117" y="115"/>
                  </a:lnTo>
                  <a:lnTo>
                    <a:pt x="117" y="116"/>
                  </a:lnTo>
                  <a:lnTo>
                    <a:pt x="117" y="118"/>
                  </a:lnTo>
                  <a:lnTo>
                    <a:pt x="123" y="120"/>
                  </a:lnTo>
                  <a:lnTo>
                    <a:pt x="125" y="120"/>
                  </a:lnTo>
                  <a:lnTo>
                    <a:pt x="126" y="120"/>
                  </a:lnTo>
                  <a:lnTo>
                    <a:pt x="132" y="125"/>
                  </a:lnTo>
                  <a:lnTo>
                    <a:pt x="132" y="129"/>
                  </a:lnTo>
                  <a:lnTo>
                    <a:pt x="132" y="131"/>
                  </a:lnTo>
                  <a:lnTo>
                    <a:pt x="146" y="142"/>
                  </a:lnTo>
                  <a:lnTo>
                    <a:pt x="146" y="144"/>
                  </a:lnTo>
                  <a:lnTo>
                    <a:pt x="146" y="145"/>
                  </a:lnTo>
                  <a:lnTo>
                    <a:pt x="148" y="147"/>
                  </a:lnTo>
                  <a:lnTo>
                    <a:pt x="149" y="147"/>
                  </a:lnTo>
                  <a:lnTo>
                    <a:pt x="152" y="152"/>
                  </a:lnTo>
                  <a:lnTo>
                    <a:pt x="164" y="163"/>
                  </a:lnTo>
                  <a:lnTo>
                    <a:pt x="164" y="164"/>
                  </a:lnTo>
                  <a:lnTo>
                    <a:pt x="164" y="164"/>
                  </a:lnTo>
                  <a:lnTo>
                    <a:pt x="164" y="165"/>
                  </a:lnTo>
                  <a:lnTo>
                    <a:pt x="165" y="171"/>
                  </a:lnTo>
                  <a:lnTo>
                    <a:pt x="167" y="174"/>
                  </a:lnTo>
                  <a:lnTo>
                    <a:pt x="168" y="176"/>
                  </a:lnTo>
                  <a:lnTo>
                    <a:pt x="170" y="177"/>
                  </a:lnTo>
                  <a:lnTo>
                    <a:pt x="171" y="181"/>
                  </a:lnTo>
                  <a:lnTo>
                    <a:pt x="171" y="184"/>
                  </a:lnTo>
                  <a:lnTo>
                    <a:pt x="170" y="186"/>
                  </a:lnTo>
                  <a:lnTo>
                    <a:pt x="168" y="189"/>
                  </a:lnTo>
                  <a:lnTo>
                    <a:pt x="167" y="189"/>
                  </a:lnTo>
                  <a:lnTo>
                    <a:pt x="168" y="189"/>
                  </a:lnTo>
                  <a:lnTo>
                    <a:pt x="170" y="192"/>
                  </a:lnTo>
                  <a:lnTo>
                    <a:pt x="170" y="192"/>
                  </a:lnTo>
                  <a:lnTo>
                    <a:pt x="165" y="195"/>
                  </a:lnTo>
                  <a:lnTo>
                    <a:pt x="164" y="196"/>
                  </a:lnTo>
                  <a:lnTo>
                    <a:pt x="165" y="196"/>
                  </a:lnTo>
                  <a:lnTo>
                    <a:pt x="168" y="203"/>
                  </a:lnTo>
                  <a:lnTo>
                    <a:pt x="178" y="213"/>
                  </a:lnTo>
                  <a:lnTo>
                    <a:pt x="181" y="213"/>
                  </a:lnTo>
                  <a:lnTo>
                    <a:pt x="183" y="213"/>
                  </a:lnTo>
                  <a:lnTo>
                    <a:pt x="187" y="218"/>
                  </a:lnTo>
                  <a:lnTo>
                    <a:pt x="190" y="218"/>
                  </a:lnTo>
                  <a:lnTo>
                    <a:pt x="191" y="221"/>
                  </a:lnTo>
                  <a:lnTo>
                    <a:pt x="191" y="221"/>
                  </a:lnTo>
                  <a:lnTo>
                    <a:pt x="191" y="222"/>
                  </a:lnTo>
                  <a:lnTo>
                    <a:pt x="193" y="222"/>
                  </a:lnTo>
                  <a:lnTo>
                    <a:pt x="194" y="224"/>
                  </a:lnTo>
                  <a:lnTo>
                    <a:pt x="194" y="224"/>
                  </a:lnTo>
                  <a:lnTo>
                    <a:pt x="194" y="225"/>
                  </a:lnTo>
                  <a:lnTo>
                    <a:pt x="196" y="227"/>
                  </a:lnTo>
                  <a:lnTo>
                    <a:pt x="199" y="227"/>
                  </a:lnTo>
                  <a:lnTo>
                    <a:pt x="202" y="228"/>
                  </a:lnTo>
                  <a:lnTo>
                    <a:pt x="203" y="228"/>
                  </a:lnTo>
                  <a:lnTo>
                    <a:pt x="203" y="228"/>
                  </a:lnTo>
                  <a:lnTo>
                    <a:pt x="215" y="231"/>
                  </a:lnTo>
                  <a:lnTo>
                    <a:pt x="216" y="231"/>
                  </a:lnTo>
                  <a:lnTo>
                    <a:pt x="221" y="234"/>
                  </a:lnTo>
                  <a:lnTo>
                    <a:pt x="222" y="235"/>
                  </a:lnTo>
                  <a:lnTo>
                    <a:pt x="222" y="237"/>
                  </a:lnTo>
                  <a:lnTo>
                    <a:pt x="229" y="240"/>
                  </a:lnTo>
                  <a:lnTo>
                    <a:pt x="229" y="241"/>
                  </a:lnTo>
                  <a:lnTo>
                    <a:pt x="231" y="242"/>
                  </a:lnTo>
                  <a:lnTo>
                    <a:pt x="232" y="242"/>
                  </a:lnTo>
                  <a:lnTo>
                    <a:pt x="260" y="253"/>
                  </a:lnTo>
                  <a:lnTo>
                    <a:pt x="261" y="253"/>
                  </a:lnTo>
                  <a:lnTo>
                    <a:pt x="270" y="258"/>
                  </a:lnTo>
                  <a:lnTo>
                    <a:pt x="273" y="258"/>
                  </a:lnTo>
                  <a:lnTo>
                    <a:pt x="274" y="260"/>
                  </a:lnTo>
                  <a:lnTo>
                    <a:pt x="290" y="264"/>
                  </a:lnTo>
                  <a:lnTo>
                    <a:pt x="292" y="264"/>
                  </a:lnTo>
                  <a:lnTo>
                    <a:pt x="293" y="266"/>
                  </a:lnTo>
                  <a:lnTo>
                    <a:pt x="299" y="266"/>
                  </a:lnTo>
                  <a:lnTo>
                    <a:pt x="300" y="264"/>
                  </a:lnTo>
                  <a:lnTo>
                    <a:pt x="302" y="263"/>
                  </a:lnTo>
                  <a:lnTo>
                    <a:pt x="306" y="261"/>
                  </a:lnTo>
                  <a:lnTo>
                    <a:pt x="312" y="258"/>
                  </a:lnTo>
                  <a:lnTo>
                    <a:pt x="315" y="257"/>
                  </a:lnTo>
                  <a:lnTo>
                    <a:pt x="319" y="257"/>
                  </a:lnTo>
                  <a:lnTo>
                    <a:pt x="335" y="263"/>
                  </a:lnTo>
                  <a:lnTo>
                    <a:pt x="353" y="280"/>
                  </a:lnTo>
                  <a:lnTo>
                    <a:pt x="354" y="280"/>
                  </a:lnTo>
                  <a:lnTo>
                    <a:pt x="354" y="276"/>
                  </a:lnTo>
                  <a:lnTo>
                    <a:pt x="356" y="276"/>
                  </a:lnTo>
                  <a:lnTo>
                    <a:pt x="356" y="274"/>
                  </a:lnTo>
                  <a:lnTo>
                    <a:pt x="354" y="273"/>
                  </a:lnTo>
                  <a:lnTo>
                    <a:pt x="356" y="273"/>
                  </a:lnTo>
                  <a:lnTo>
                    <a:pt x="357" y="269"/>
                  </a:lnTo>
                  <a:lnTo>
                    <a:pt x="357" y="267"/>
                  </a:lnTo>
                  <a:lnTo>
                    <a:pt x="364" y="258"/>
                  </a:lnTo>
                  <a:lnTo>
                    <a:pt x="377" y="257"/>
                  </a:lnTo>
                  <a:lnTo>
                    <a:pt x="377" y="257"/>
                  </a:lnTo>
                  <a:lnTo>
                    <a:pt x="377" y="257"/>
                  </a:lnTo>
                  <a:lnTo>
                    <a:pt x="377" y="254"/>
                  </a:lnTo>
                  <a:lnTo>
                    <a:pt x="377" y="253"/>
                  </a:lnTo>
                  <a:lnTo>
                    <a:pt x="374" y="250"/>
                  </a:lnTo>
                  <a:lnTo>
                    <a:pt x="374" y="248"/>
                  </a:lnTo>
                  <a:lnTo>
                    <a:pt x="363" y="238"/>
                  </a:lnTo>
                  <a:lnTo>
                    <a:pt x="363" y="240"/>
                  </a:lnTo>
                  <a:lnTo>
                    <a:pt x="372" y="240"/>
                  </a:lnTo>
                  <a:lnTo>
                    <a:pt x="372" y="232"/>
                  </a:lnTo>
                  <a:lnTo>
                    <a:pt x="401" y="231"/>
                  </a:lnTo>
                  <a:lnTo>
                    <a:pt x="405" y="224"/>
                  </a:lnTo>
                  <a:lnTo>
                    <a:pt x="406" y="224"/>
                  </a:lnTo>
                  <a:lnTo>
                    <a:pt x="408" y="224"/>
                  </a:lnTo>
                  <a:lnTo>
                    <a:pt x="408" y="222"/>
                  </a:lnTo>
                  <a:lnTo>
                    <a:pt x="411" y="218"/>
                  </a:lnTo>
                  <a:lnTo>
                    <a:pt x="412" y="218"/>
                  </a:lnTo>
                  <a:lnTo>
                    <a:pt x="412" y="222"/>
                  </a:lnTo>
                  <a:lnTo>
                    <a:pt x="414" y="222"/>
                  </a:lnTo>
                  <a:lnTo>
                    <a:pt x="414" y="224"/>
                  </a:lnTo>
                  <a:lnTo>
                    <a:pt x="414" y="227"/>
                  </a:lnTo>
                  <a:lnTo>
                    <a:pt x="414" y="229"/>
                  </a:lnTo>
                  <a:lnTo>
                    <a:pt x="415" y="228"/>
                  </a:lnTo>
                  <a:lnTo>
                    <a:pt x="419" y="211"/>
                  </a:lnTo>
                  <a:lnTo>
                    <a:pt x="419" y="209"/>
                  </a:lnTo>
                  <a:lnTo>
                    <a:pt x="418" y="209"/>
                  </a:lnTo>
                  <a:lnTo>
                    <a:pt x="419" y="208"/>
                  </a:lnTo>
                  <a:lnTo>
                    <a:pt x="419" y="206"/>
                  </a:lnTo>
                  <a:lnTo>
                    <a:pt x="418" y="205"/>
                  </a:lnTo>
                  <a:lnTo>
                    <a:pt x="421" y="200"/>
                  </a:lnTo>
                  <a:lnTo>
                    <a:pt x="421" y="197"/>
                  </a:lnTo>
                  <a:lnTo>
                    <a:pt x="424" y="192"/>
                  </a:lnTo>
                  <a:lnTo>
                    <a:pt x="428" y="187"/>
                  </a:lnTo>
                  <a:lnTo>
                    <a:pt x="430" y="181"/>
                  </a:lnTo>
                  <a:lnTo>
                    <a:pt x="430" y="179"/>
                  </a:lnTo>
                  <a:lnTo>
                    <a:pt x="428" y="177"/>
                  </a:lnTo>
                  <a:lnTo>
                    <a:pt x="419" y="176"/>
                  </a:lnTo>
                  <a:lnTo>
                    <a:pt x="417" y="179"/>
                  </a:lnTo>
                  <a:lnTo>
                    <a:pt x="417" y="176"/>
                  </a:lnTo>
                  <a:lnTo>
                    <a:pt x="412" y="174"/>
                  </a:lnTo>
                  <a:lnTo>
                    <a:pt x="403" y="177"/>
                  </a:lnTo>
                  <a:lnTo>
                    <a:pt x="401" y="179"/>
                  </a:lnTo>
                  <a:lnTo>
                    <a:pt x="383" y="181"/>
                  </a:lnTo>
                  <a:lnTo>
                    <a:pt x="380" y="183"/>
                  </a:lnTo>
                  <a:lnTo>
                    <a:pt x="376" y="202"/>
                  </a:lnTo>
                  <a:lnTo>
                    <a:pt x="374" y="203"/>
                  </a:lnTo>
                  <a:lnTo>
                    <a:pt x="373" y="211"/>
                  </a:lnTo>
                  <a:lnTo>
                    <a:pt x="370" y="213"/>
                  </a:lnTo>
                  <a:lnTo>
                    <a:pt x="366" y="215"/>
                  </a:lnTo>
                  <a:lnTo>
                    <a:pt x="367" y="219"/>
                  </a:lnTo>
                  <a:lnTo>
                    <a:pt x="363" y="222"/>
                  </a:lnTo>
                  <a:lnTo>
                    <a:pt x="360" y="222"/>
                  </a:lnTo>
                  <a:lnTo>
                    <a:pt x="358" y="222"/>
                  </a:lnTo>
                  <a:lnTo>
                    <a:pt x="357" y="221"/>
                  </a:lnTo>
                  <a:lnTo>
                    <a:pt x="357" y="219"/>
                  </a:lnTo>
                  <a:lnTo>
                    <a:pt x="356" y="219"/>
                  </a:lnTo>
                  <a:lnTo>
                    <a:pt x="350" y="219"/>
                  </a:lnTo>
                  <a:lnTo>
                    <a:pt x="340" y="222"/>
                  </a:lnTo>
                  <a:lnTo>
                    <a:pt x="338" y="222"/>
                  </a:lnTo>
                  <a:lnTo>
                    <a:pt x="331" y="224"/>
                  </a:lnTo>
                  <a:lnTo>
                    <a:pt x="325" y="227"/>
                  </a:lnTo>
                  <a:lnTo>
                    <a:pt x="321" y="227"/>
                  </a:lnTo>
                  <a:lnTo>
                    <a:pt x="318" y="225"/>
                  </a:lnTo>
                  <a:lnTo>
                    <a:pt x="315" y="221"/>
                  </a:lnTo>
                  <a:lnTo>
                    <a:pt x="313" y="219"/>
                  </a:lnTo>
                  <a:lnTo>
                    <a:pt x="313" y="221"/>
                  </a:lnTo>
                  <a:lnTo>
                    <a:pt x="309" y="221"/>
                  </a:lnTo>
                  <a:lnTo>
                    <a:pt x="303" y="218"/>
                  </a:lnTo>
                  <a:lnTo>
                    <a:pt x="299" y="212"/>
                  </a:lnTo>
                  <a:lnTo>
                    <a:pt x="297" y="212"/>
                  </a:lnTo>
                  <a:lnTo>
                    <a:pt x="297" y="212"/>
                  </a:lnTo>
                  <a:lnTo>
                    <a:pt x="292" y="197"/>
                  </a:lnTo>
                  <a:lnTo>
                    <a:pt x="287" y="193"/>
                  </a:lnTo>
                  <a:lnTo>
                    <a:pt x="281" y="183"/>
                  </a:lnTo>
                  <a:lnTo>
                    <a:pt x="281" y="181"/>
                  </a:lnTo>
                  <a:lnTo>
                    <a:pt x="283" y="180"/>
                  </a:lnTo>
                  <a:lnTo>
                    <a:pt x="283" y="179"/>
                  </a:lnTo>
                  <a:lnTo>
                    <a:pt x="283" y="177"/>
                  </a:lnTo>
                  <a:lnTo>
                    <a:pt x="277" y="171"/>
                  </a:lnTo>
                  <a:lnTo>
                    <a:pt x="276" y="167"/>
                  </a:lnTo>
                  <a:lnTo>
                    <a:pt x="277" y="145"/>
                  </a:lnTo>
                  <a:lnTo>
                    <a:pt x="276" y="142"/>
                  </a:lnTo>
                  <a:lnTo>
                    <a:pt x="276" y="141"/>
                  </a:lnTo>
                  <a:lnTo>
                    <a:pt x="274" y="131"/>
                  </a:lnTo>
                  <a:lnTo>
                    <a:pt x="274" y="129"/>
                  </a:lnTo>
                  <a:lnTo>
                    <a:pt x="274" y="129"/>
                  </a:lnTo>
                  <a:lnTo>
                    <a:pt x="276" y="125"/>
                  </a:lnTo>
                  <a:lnTo>
                    <a:pt x="277" y="123"/>
                  </a:lnTo>
                  <a:lnTo>
                    <a:pt x="277" y="119"/>
                  </a:lnTo>
                  <a:lnTo>
                    <a:pt x="279" y="118"/>
                  </a:lnTo>
                  <a:lnTo>
                    <a:pt x="281" y="119"/>
                  </a:lnTo>
                  <a:lnTo>
                    <a:pt x="283" y="118"/>
                  </a:lnTo>
                  <a:lnTo>
                    <a:pt x="284" y="115"/>
                  </a:lnTo>
                  <a:lnTo>
                    <a:pt x="284" y="112"/>
                  </a:lnTo>
                  <a:lnTo>
                    <a:pt x="284" y="112"/>
                  </a:lnTo>
                  <a:lnTo>
                    <a:pt x="284" y="113"/>
                  </a:lnTo>
                  <a:lnTo>
                    <a:pt x="283" y="115"/>
                  </a:lnTo>
                  <a:lnTo>
                    <a:pt x="283" y="115"/>
                  </a:lnTo>
                  <a:lnTo>
                    <a:pt x="283" y="115"/>
                  </a:lnTo>
                  <a:lnTo>
                    <a:pt x="283" y="113"/>
                  </a:lnTo>
                  <a:lnTo>
                    <a:pt x="284" y="110"/>
                  </a:lnTo>
                  <a:lnTo>
                    <a:pt x="280" y="109"/>
                  </a:lnTo>
                  <a:lnTo>
                    <a:pt x="274" y="107"/>
                  </a:lnTo>
                  <a:lnTo>
                    <a:pt x="268" y="107"/>
                  </a:lnTo>
                  <a:lnTo>
                    <a:pt x="264" y="104"/>
                  </a:lnTo>
                  <a:lnTo>
                    <a:pt x="261" y="104"/>
                  </a:lnTo>
                  <a:lnTo>
                    <a:pt x="257" y="102"/>
                  </a:lnTo>
                  <a:lnTo>
                    <a:pt x="252" y="94"/>
                  </a:lnTo>
                  <a:lnTo>
                    <a:pt x="248" y="83"/>
                  </a:lnTo>
                  <a:lnTo>
                    <a:pt x="244" y="78"/>
                  </a:lnTo>
                  <a:lnTo>
                    <a:pt x="241" y="74"/>
                  </a:lnTo>
                  <a:lnTo>
                    <a:pt x="236" y="70"/>
                  </a:lnTo>
                  <a:lnTo>
                    <a:pt x="232" y="58"/>
                  </a:lnTo>
                  <a:lnTo>
                    <a:pt x="221" y="46"/>
                  </a:lnTo>
                  <a:lnTo>
                    <a:pt x="209" y="46"/>
                  </a:lnTo>
                  <a:lnTo>
                    <a:pt x="206" y="46"/>
                  </a:lnTo>
                  <a:lnTo>
                    <a:pt x="203" y="48"/>
                  </a:lnTo>
                  <a:lnTo>
                    <a:pt x="197" y="61"/>
                  </a:lnTo>
                  <a:lnTo>
                    <a:pt x="191" y="59"/>
                  </a:lnTo>
                  <a:lnTo>
                    <a:pt x="175" y="46"/>
                  </a:lnTo>
                  <a:lnTo>
                    <a:pt x="173" y="33"/>
                  </a:lnTo>
                  <a:lnTo>
                    <a:pt x="160" y="23"/>
                  </a:lnTo>
                  <a:lnTo>
                    <a:pt x="157" y="20"/>
                  </a:lnTo>
                  <a:lnTo>
                    <a:pt x="154" y="19"/>
                  </a:lnTo>
                  <a:lnTo>
                    <a:pt x="152" y="16"/>
                  </a:lnTo>
                  <a:lnTo>
                    <a:pt x="148" y="13"/>
                  </a:lnTo>
                  <a:lnTo>
                    <a:pt x="125" y="13"/>
                  </a:lnTo>
                  <a:lnTo>
                    <a:pt x="125" y="22"/>
                  </a:lnTo>
                  <a:lnTo>
                    <a:pt x="87" y="22"/>
                  </a:lnTo>
                  <a:lnTo>
                    <a:pt x="32" y="1"/>
                  </a:lnTo>
                  <a:lnTo>
                    <a:pt x="32" y="0"/>
                  </a:lnTo>
                  <a:lnTo>
                    <a:pt x="0" y="3"/>
                  </a:lnTo>
                  <a:lnTo>
                    <a:pt x="1" y="4"/>
                  </a:lnTo>
                  <a:lnTo>
                    <a:pt x="1" y="6"/>
                  </a:lnTo>
                  <a:lnTo>
                    <a:pt x="3" y="7"/>
                  </a:lnTo>
                  <a:lnTo>
                    <a:pt x="4" y="10"/>
                  </a:lnTo>
                  <a:lnTo>
                    <a:pt x="6" y="11"/>
                  </a:lnTo>
                  <a:lnTo>
                    <a:pt x="6" y="13"/>
                  </a:lnTo>
                  <a:lnTo>
                    <a:pt x="7" y="13"/>
                  </a:lnTo>
                  <a:lnTo>
                    <a:pt x="7" y="14"/>
                  </a:lnTo>
                  <a:lnTo>
                    <a:pt x="7" y="19"/>
                  </a:lnTo>
                  <a:lnTo>
                    <a:pt x="13" y="27"/>
                  </a:lnTo>
                  <a:lnTo>
                    <a:pt x="13" y="27"/>
                  </a:lnTo>
                  <a:lnTo>
                    <a:pt x="13" y="29"/>
                  </a:lnTo>
                  <a:lnTo>
                    <a:pt x="14" y="29"/>
                  </a:lnTo>
                  <a:lnTo>
                    <a:pt x="14" y="30"/>
                  </a:lnTo>
                  <a:lnTo>
                    <a:pt x="17" y="35"/>
                  </a:lnTo>
                  <a:lnTo>
                    <a:pt x="17" y="38"/>
                  </a:lnTo>
                  <a:lnTo>
                    <a:pt x="17" y="38"/>
                  </a:lnTo>
                  <a:lnTo>
                    <a:pt x="17" y="38"/>
                  </a:lnTo>
                  <a:lnTo>
                    <a:pt x="19" y="38"/>
                  </a:lnTo>
                  <a:lnTo>
                    <a:pt x="22" y="48"/>
                  </a:lnTo>
                  <a:lnTo>
                    <a:pt x="22" y="49"/>
                  </a:lnTo>
                  <a:lnTo>
                    <a:pt x="24" y="49"/>
                  </a:lnTo>
                  <a:lnTo>
                    <a:pt x="26" y="51"/>
                  </a:lnTo>
                  <a:lnTo>
                    <a:pt x="27" y="51"/>
                  </a:lnTo>
                  <a:lnTo>
                    <a:pt x="29" y="54"/>
                  </a:lnTo>
                  <a:lnTo>
                    <a:pt x="32" y="54"/>
                  </a:lnTo>
                  <a:lnTo>
                    <a:pt x="35" y="58"/>
                  </a:lnTo>
                  <a:lnTo>
                    <a:pt x="35" y="59"/>
                  </a:lnTo>
                  <a:lnTo>
                    <a:pt x="38" y="62"/>
                  </a:lnTo>
                  <a:lnTo>
                    <a:pt x="39" y="62"/>
                  </a:lnTo>
                  <a:lnTo>
                    <a:pt x="45" y="70"/>
                  </a:lnTo>
                  <a:lnTo>
                    <a:pt x="45" y="71"/>
                  </a:lnTo>
                  <a:lnTo>
                    <a:pt x="45" y="72"/>
                  </a:lnTo>
                  <a:lnTo>
                    <a:pt x="45" y="74"/>
                  </a:lnTo>
                  <a:lnTo>
                    <a:pt x="45" y="74"/>
                  </a:lnTo>
                  <a:lnTo>
                    <a:pt x="45" y="75"/>
                  </a:lnTo>
                  <a:lnTo>
                    <a:pt x="43" y="77"/>
                  </a:lnTo>
                  <a:lnTo>
                    <a:pt x="42" y="77"/>
                  </a:lnTo>
                  <a:lnTo>
                    <a:pt x="42" y="78"/>
                  </a:lnTo>
                  <a:lnTo>
                    <a:pt x="43" y="78"/>
                  </a:lnTo>
                  <a:lnTo>
                    <a:pt x="43" y="80"/>
                  </a:lnTo>
                  <a:lnTo>
                    <a:pt x="42" y="78"/>
                  </a:lnTo>
                  <a:lnTo>
                    <a:pt x="36" y="80"/>
                  </a:lnTo>
                  <a:lnTo>
                    <a:pt x="32" y="80"/>
                  </a:lnTo>
                  <a:lnTo>
                    <a:pt x="32" y="81"/>
                  </a:lnTo>
                  <a:lnTo>
                    <a:pt x="32" y="81"/>
                  </a:lnTo>
                  <a:lnTo>
                    <a:pt x="33" y="81"/>
                  </a:lnTo>
                  <a:lnTo>
                    <a:pt x="36" y="84"/>
                  </a:lnTo>
                  <a:lnTo>
                    <a:pt x="38" y="84"/>
                  </a:lnTo>
                  <a:lnTo>
                    <a:pt x="39" y="86"/>
                  </a:lnTo>
                  <a:lnTo>
                    <a:pt x="39" y="88"/>
                  </a:lnTo>
                  <a:lnTo>
                    <a:pt x="40" y="90"/>
                  </a:lnTo>
                  <a:lnTo>
                    <a:pt x="43" y="90"/>
                  </a:lnTo>
                  <a:lnTo>
                    <a:pt x="45" y="90"/>
                  </a:lnTo>
                  <a:lnTo>
                    <a:pt x="45" y="91"/>
                  </a:lnTo>
                  <a:lnTo>
                    <a:pt x="49" y="93"/>
                  </a:lnTo>
                  <a:lnTo>
                    <a:pt x="49" y="96"/>
                  </a:lnTo>
                  <a:lnTo>
                    <a:pt x="52" y="96"/>
                  </a:lnTo>
                  <a:lnTo>
                    <a:pt x="55" y="97"/>
                  </a:lnTo>
                  <a:lnTo>
                    <a:pt x="58" y="93"/>
                  </a:lnTo>
                  <a:lnTo>
                    <a:pt x="58" y="94"/>
                  </a:lnTo>
                  <a:lnTo>
                    <a:pt x="58" y="97"/>
                  </a:lnTo>
                  <a:lnTo>
                    <a:pt x="62" y="103"/>
                  </a:lnTo>
                  <a:lnTo>
                    <a:pt x="67" y="104"/>
                  </a:lnTo>
                  <a:lnTo>
                    <a:pt x="68" y="104"/>
                  </a:lnTo>
                  <a:lnTo>
                    <a:pt x="72" y="113"/>
                  </a:lnTo>
                  <a:lnTo>
                    <a:pt x="72" y="120"/>
                  </a:lnTo>
                  <a:lnTo>
                    <a:pt x="71" y="126"/>
                  </a:lnTo>
                  <a:lnTo>
                    <a:pt x="71" y="128"/>
                  </a:lnTo>
                  <a:lnTo>
                    <a:pt x="71" y="126"/>
                  </a:lnTo>
                  <a:lnTo>
                    <a:pt x="72" y="126"/>
                  </a:lnTo>
                  <a:lnTo>
                    <a:pt x="72" y="128"/>
                  </a:lnTo>
                  <a:lnTo>
                    <a:pt x="74" y="128"/>
                  </a:lnTo>
                  <a:lnTo>
                    <a:pt x="75" y="129"/>
                  </a:lnTo>
                  <a:lnTo>
                    <a:pt x="75" y="131"/>
                  </a:lnTo>
                  <a:lnTo>
                    <a:pt x="77" y="131"/>
                  </a:lnTo>
                  <a:lnTo>
                    <a:pt x="80" y="132"/>
                  </a:lnTo>
                  <a:lnTo>
                    <a:pt x="80" y="134"/>
                  </a:lnTo>
                  <a:lnTo>
                    <a:pt x="94" y="145"/>
                  </a:lnTo>
                  <a:lnTo>
                    <a:pt x="96" y="145"/>
                  </a:lnTo>
                  <a:lnTo>
                    <a:pt x="99" y="148"/>
                  </a:lnTo>
                  <a:lnTo>
                    <a:pt x="100" y="155"/>
                  </a:lnTo>
                  <a:lnTo>
                    <a:pt x="101" y="157"/>
                  </a:lnTo>
                  <a:lnTo>
                    <a:pt x="103" y="157"/>
                  </a:lnTo>
                  <a:lnTo>
                    <a:pt x="104" y="155"/>
                  </a:lnTo>
                  <a:lnTo>
                    <a:pt x="107" y="154"/>
                  </a:lnTo>
                  <a:lnTo>
                    <a:pt x="110" y="151"/>
                  </a:lnTo>
                  <a:lnTo>
                    <a:pt x="110" y="148"/>
                  </a:lnTo>
                  <a:lnTo>
                    <a:pt x="109" y="147"/>
                  </a:lnTo>
                  <a:lnTo>
                    <a:pt x="104" y="141"/>
                  </a:lnTo>
                  <a:lnTo>
                    <a:pt x="104" y="139"/>
                  </a:lnTo>
                  <a:lnTo>
                    <a:pt x="99" y="135"/>
                  </a:lnTo>
                  <a:lnTo>
                    <a:pt x="97" y="138"/>
                  </a:lnTo>
                  <a:lnTo>
                    <a:pt x="96" y="136"/>
                  </a:lnTo>
                  <a:lnTo>
                    <a:pt x="94" y="135"/>
                  </a:lnTo>
                  <a:lnTo>
                    <a:pt x="91" y="131"/>
                  </a:lnTo>
                  <a:lnTo>
                    <a:pt x="91" y="126"/>
                  </a:lnTo>
                  <a:lnTo>
                    <a:pt x="88" y="120"/>
                  </a:lnTo>
                  <a:lnTo>
                    <a:pt x="88" y="120"/>
                  </a:lnTo>
                  <a:lnTo>
                    <a:pt x="88" y="116"/>
                  </a:lnTo>
                  <a:lnTo>
                    <a:pt x="85" y="115"/>
                  </a:lnTo>
                  <a:lnTo>
                    <a:pt x="84" y="112"/>
                  </a:lnTo>
                  <a:lnTo>
                    <a:pt x="83" y="104"/>
                  </a:lnTo>
                  <a:lnTo>
                    <a:pt x="83" y="104"/>
                  </a:lnTo>
                  <a:lnTo>
                    <a:pt x="81" y="102"/>
                  </a:lnTo>
                  <a:lnTo>
                    <a:pt x="80" y="97"/>
                  </a:lnTo>
                  <a:lnTo>
                    <a:pt x="78" y="96"/>
                  </a:lnTo>
                  <a:lnTo>
                    <a:pt x="77" y="96"/>
                  </a:lnTo>
                  <a:lnTo>
                    <a:pt x="77" y="99"/>
                  </a:lnTo>
                  <a:lnTo>
                    <a:pt x="78" y="100"/>
                  </a:lnTo>
                  <a:lnTo>
                    <a:pt x="77" y="100"/>
                  </a:lnTo>
                  <a:lnTo>
                    <a:pt x="75" y="99"/>
                  </a:lnTo>
                  <a:lnTo>
                    <a:pt x="75" y="97"/>
                  </a:lnTo>
                  <a:lnTo>
                    <a:pt x="74" y="93"/>
                  </a:lnTo>
                  <a:lnTo>
                    <a:pt x="74" y="91"/>
                  </a:lnTo>
                  <a:lnTo>
                    <a:pt x="72" y="91"/>
                  </a:lnTo>
                  <a:lnTo>
                    <a:pt x="71" y="90"/>
                  </a:lnTo>
                  <a:lnTo>
                    <a:pt x="71" y="87"/>
                  </a:lnTo>
                  <a:lnTo>
                    <a:pt x="70" y="84"/>
                  </a:lnTo>
                  <a:lnTo>
                    <a:pt x="64" y="80"/>
                  </a:lnTo>
                  <a:lnTo>
                    <a:pt x="62" y="71"/>
                  </a:lnTo>
                  <a:lnTo>
                    <a:pt x="62" y="71"/>
                  </a:lnTo>
                  <a:lnTo>
                    <a:pt x="61" y="70"/>
                  </a:lnTo>
                  <a:lnTo>
                    <a:pt x="61" y="70"/>
                  </a:lnTo>
                  <a:lnTo>
                    <a:pt x="59" y="70"/>
                  </a:lnTo>
                  <a:lnTo>
                    <a:pt x="56" y="64"/>
                  </a:lnTo>
                  <a:lnTo>
                    <a:pt x="56" y="64"/>
                  </a:lnTo>
                  <a:lnTo>
                    <a:pt x="55" y="64"/>
                  </a:lnTo>
                  <a:lnTo>
                    <a:pt x="54" y="62"/>
                  </a:lnTo>
                  <a:lnTo>
                    <a:pt x="54" y="62"/>
                  </a:lnTo>
                  <a:lnTo>
                    <a:pt x="51" y="58"/>
                  </a:lnTo>
                  <a:lnTo>
                    <a:pt x="51" y="55"/>
                  </a:lnTo>
                  <a:lnTo>
                    <a:pt x="43" y="51"/>
                  </a:lnTo>
                  <a:lnTo>
                    <a:pt x="43" y="49"/>
                  </a:lnTo>
                  <a:lnTo>
                    <a:pt x="42" y="48"/>
                  </a:lnTo>
                  <a:lnTo>
                    <a:pt x="40" y="48"/>
                  </a:lnTo>
                  <a:lnTo>
                    <a:pt x="38" y="42"/>
                  </a:lnTo>
                  <a:lnTo>
                    <a:pt x="36" y="29"/>
                  </a:lnTo>
                  <a:lnTo>
                    <a:pt x="35" y="27"/>
                  </a:lnTo>
                  <a:lnTo>
                    <a:pt x="33" y="17"/>
                  </a:lnTo>
                  <a:lnTo>
                    <a:pt x="33" y="16"/>
                  </a:lnTo>
                  <a:lnTo>
                    <a:pt x="33" y="1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88" name="Freeform 705"/>
            <p:cNvSpPr>
              <a:spLocks/>
            </p:cNvSpPr>
            <p:nvPr/>
          </p:nvSpPr>
          <p:spPr bwMode="auto">
            <a:xfrm>
              <a:off x="5087553" y="3091067"/>
              <a:ext cx="158882" cy="245420"/>
            </a:xfrm>
            <a:custGeom>
              <a:avLst/>
              <a:gdLst/>
              <a:ahLst/>
              <a:cxnLst>
                <a:cxn ang="0">
                  <a:pos x="112" y="3"/>
                </a:cxn>
                <a:cxn ang="0">
                  <a:pos x="102" y="2"/>
                </a:cxn>
                <a:cxn ang="0">
                  <a:pos x="99" y="3"/>
                </a:cxn>
                <a:cxn ang="0">
                  <a:pos x="76" y="16"/>
                </a:cxn>
                <a:cxn ang="0">
                  <a:pos x="64" y="23"/>
                </a:cxn>
                <a:cxn ang="0">
                  <a:pos x="58" y="21"/>
                </a:cxn>
                <a:cxn ang="0">
                  <a:pos x="47" y="41"/>
                </a:cxn>
                <a:cxn ang="0">
                  <a:pos x="31" y="54"/>
                </a:cxn>
                <a:cxn ang="0">
                  <a:pos x="32" y="63"/>
                </a:cxn>
                <a:cxn ang="0">
                  <a:pos x="24" y="54"/>
                </a:cxn>
                <a:cxn ang="0">
                  <a:pos x="24" y="58"/>
                </a:cxn>
                <a:cxn ang="0">
                  <a:pos x="25" y="63"/>
                </a:cxn>
                <a:cxn ang="0">
                  <a:pos x="19" y="69"/>
                </a:cxn>
                <a:cxn ang="0">
                  <a:pos x="16" y="73"/>
                </a:cxn>
                <a:cxn ang="0">
                  <a:pos x="24" y="96"/>
                </a:cxn>
                <a:cxn ang="0">
                  <a:pos x="22" y="119"/>
                </a:cxn>
                <a:cxn ang="0">
                  <a:pos x="29" y="121"/>
                </a:cxn>
                <a:cxn ang="0">
                  <a:pos x="19" y="138"/>
                </a:cxn>
                <a:cxn ang="0">
                  <a:pos x="8" y="143"/>
                </a:cxn>
                <a:cxn ang="0">
                  <a:pos x="3" y="151"/>
                </a:cxn>
                <a:cxn ang="0">
                  <a:pos x="2" y="157"/>
                </a:cxn>
                <a:cxn ang="0">
                  <a:pos x="25" y="175"/>
                </a:cxn>
                <a:cxn ang="0">
                  <a:pos x="42" y="173"/>
                </a:cxn>
                <a:cxn ang="0">
                  <a:pos x="61" y="182"/>
                </a:cxn>
                <a:cxn ang="0">
                  <a:pos x="69" y="192"/>
                </a:cxn>
                <a:cxn ang="0">
                  <a:pos x="74" y="194"/>
                </a:cxn>
                <a:cxn ang="0">
                  <a:pos x="79" y="202"/>
                </a:cxn>
                <a:cxn ang="0">
                  <a:pos x="83" y="209"/>
                </a:cxn>
                <a:cxn ang="0">
                  <a:pos x="92" y="212"/>
                </a:cxn>
                <a:cxn ang="0">
                  <a:pos x="99" y="211"/>
                </a:cxn>
                <a:cxn ang="0">
                  <a:pos x="106" y="209"/>
                </a:cxn>
                <a:cxn ang="0">
                  <a:pos x="114" y="209"/>
                </a:cxn>
                <a:cxn ang="0">
                  <a:pos x="127" y="218"/>
                </a:cxn>
                <a:cxn ang="0">
                  <a:pos x="121" y="231"/>
                </a:cxn>
                <a:cxn ang="0">
                  <a:pos x="128" y="236"/>
                </a:cxn>
                <a:cxn ang="0">
                  <a:pos x="131" y="225"/>
                </a:cxn>
                <a:cxn ang="0">
                  <a:pos x="135" y="188"/>
                </a:cxn>
                <a:cxn ang="0">
                  <a:pos x="138" y="169"/>
                </a:cxn>
                <a:cxn ang="0">
                  <a:pos x="140" y="169"/>
                </a:cxn>
                <a:cxn ang="0">
                  <a:pos x="134" y="163"/>
                </a:cxn>
                <a:cxn ang="0">
                  <a:pos x="131" y="162"/>
                </a:cxn>
                <a:cxn ang="0">
                  <a:pos x="151" y="153"/>
                </a:cxn>
                <a:cxn ang="0">
                  <a:pos x="154" y="150"/>
                </a:cxn>
                <a:cxn ang="0">
                  <a:pos x="162" y="148"/>
                </a:cxn>
                <a:cxn ang="0">
                  <a:pos x="170" y="160"/>
                </a:cxn>
                <a:cxn ang="0">
                  <a:pos x="160" y="138"/>
                </a:cxn>
                <a:cxn ang="0">
                  <a:pos x="166" y="131"/>
                </a:cxn>
                <a:cxn ang="0">
                  <a:pos x="166" y="127"/>
                </a:cxn>
                <a:cxn ang="0">
                  <a:pos x="160" y="121"/>
                </a:cxn>
                <a:cxn ang="0">
                  <a:pos x="160" y="108"/>
                </a:cxn>
                <a:cxn ang="0">
                  <a:pos x="163" y="96"/>
                </a:cxn>
                <a:cxn ang="0">
                  <a:pos x="164" y="89"/>
                </a:cxn>
                <a:cxn ang="0">
                  <a:pos x="148" y="90"/>
                </a:cxn>
                <a:cxn ang="0">
                  <a:pos x="137" y="90"/>
                </a:cxn>
                <a:cxn ang="0">
                  <a:pos x="128" y="79"/>
                </a:cxn>
                <a:cxn ang="0">
                  <a:pos x="99" y="74"/>
                </a:cxn>
                <a:cxn ang="0">
                  <a:pos x="95" y="60"/>
                </a:cxn>
                <a:cxn ang="0">
                  <a:pos x="90" y="55"/>
                </a:cxn>
                <a:cxn ang="0">
                  <a:pos x="87" y="28"/>
                </a:cxn>
              </a:cxnLst>
              <a:rect l="0" t="0" r="r" b="b"/>
              <a:pathLst>
                <a:path w="173" h="236">
                  <a:moveTo>
                    <a:pt x="109" y="9"/>
                  </a:moveTo>
                  <a:lnTo>
                    <a:pt x="111" y="8"/>
                  </a:lnTo>
                  <a:lnTo>
                    <a:pt x="112" y="6"/>
                  </a:lnTo>
                  <a:lnTo>
                    <a:pt x="112" y="3"/>
                  </a:lnTo>
                  <a:lnTo>
                    <a:pt x="109" y="2"/>
                  </a:lnTo>
                  <a:lnTo>
                    <a:pt x="105" y="0"/>
                  </a:lnTo>
                  <a:lnTo>
                    <a:pt x="103" y="2"/>
                  </a:lnTo>
                  <a:lnTo>
                    <a:pt x="102" y="2"/>
                  </a:lnTo>
                  <a:lnTo>
                    <a:pt x="102" y="2"/>
                  </a:lnTo>
                  <a:lnTo>
                    <a:pt x="102" y="3"/>
                  </a:lnTo>
                  <a:lnTo>
                    <a:pt x="101" y="3"/>
                  </a:lnTo>
                  <a:lnTo>
                    <a:pt x="99" y="3"/>
                  </a:lnTo>
                  <a:lnTo>
                    <a:pt x="99" y="5"/>
                  </a:lnTo>
                  <a:lnTo>
                    <a:pt x="99" y="6"/>
                  </a:lnTo>
                  <a:lnTo>
                    <a:pt x="98" y="8"/>
                  </a:lnTo>
                  <a:lnTo>
                    <a:pt x="76" y="16"/>
                  </a:lnTo>
                  <a:lnTo>
                    <a:pt x="69" y="16"/>
                  </a:lnTo>
                  <a:lnTo>
                    <a:pt x="69" y="16"/>
                  </a:lnTo>
                  <a:lnTo>
                    <a:pt x="66" y="23"/>
                  </a:lnTo>
                  <a:lnTo>
                    <a:pt x="64" y="23"/>
                  </a:lnTo>
                  <a:lnTo>
                    <a:pt x="64" y="23"/>
                  </a:lnTo>
                  <a:lnTo>
                    <a:pt x="64" y="22"/>
                  </a:lnTo>
                  <a:lnTo>
                    <a:pt x="63" y="21"/>
                  </a:lnTo>
                  <a:lnTo>
                    <a:pt x="58" y="21"/>
                  </a:lnTo>
                  <a:lnTo>
                    <a:pt x="57" y="21"/>
                  </a:lnTo>
                  <a:lnTo>
                    <a:pt x="50" y="26"/>
                  </a:lnTo>
                  <a:lnTo>
                    <a:pt x="48" y="28"/>
                  </a:lnTo>
                  <a:lnTo>
                    <a:pt x="47" y="41"/>
                  </a:lnTo>
                  <a:lnTo>
                    <a:pt x="45" y="42"/>
                  </a:lnTo>
                  <a:lnTo>
                    <a:pt x="42" y="44"/>
                  </a:lnTo>
                  <a:lnTo>
                    <a:pt x="35" y="51"/>
                  </a:lnTo>
                  <a:lnTo>
                    <a:pt x="31" y="54"/>
                  </a:lnTo>
                  <a:lnTo>
                    <a:pt x="31" y="55"/>
                  </a:lnTo>
                  <a:lnTo>
                    <a:pt x="31" y="55"/>
                  </a:lnTo>
                  <a:lnTo>
                    <a:pt x="31" y="57"/>
                  </a:lnTo>
                  <a:lnTo>
                    <a:pt x="32" y="63"/>
                  </a:lnTo>
                  <a:lnTo>
                    <a:pt x="31" y="64"/>
                  </a:lnTo>
                  <a:lnTo>
                    <a:pt x="31" y="64"/>
                  </a:lnTo>
                  <a:lnTo>
                    <a:pt x="29" y="63"/>
                  </a:lnTo>
                  <a:lnTo>
                    <a:pt x="24" y="54"/>
                  </a:lnTo>
                  <a:lnTo>
                    <a:pt x="22" y="55"/>
                  </a:lnTo>
                  <a:lnTo>
                    <a:pt x="22" y="57"/>
                  </a:lnTo>
                  <a:lnTo>
                    <a:pt x="22" y="58"/>
                  </a:lnTo>
                  <a:lnTo>
                    <a:pt x="24" y="58"/>
                  </a:lnTo>
                  <a:lnTo>
                    <a:pt x="25" y="60"/>
                  </a:lnTo>
                  <a:lnTo>
                    <a:pt x="25" y="63"/>
                  </a:lnTo>
                  <a:lnTo>
                    <a:pt x="25" y="63"/>
                  </a:lnTo>
                  <a:lnTo>
                    <a:pt x="25" y="63"/>
                  </a:lnTo>
                  <a:lnTo>
                    <a:pt x="25" y="64"/>
                  </a:lnTo>
                  <a:lnTo>
                    <a:pt x="21" y="69"/>
                  </a:lnTo>
                  <a:lnTo>
                    <a:pt x="19" y="69"/>
                  </a:lnTo>
                  <a:lnTo>
                    <a:pt x="19" y="69"/>
                  </a:lnTo>
                  <a:lnTo>
                    <a:pt x="18" y="70"/>
                  </a:lnTo>
                  <a:lnTo>
                    <a:pt x="16" y="71"/>
                  </a:lnTo>
                  <a:lnTo>
                    <a:pt x="16" y="73"/>
                  </a:lnTo>
                  <a:lnTo>
                    <a:pt x="16" y="73"/>
                  </a:lnTo>
                  <a:lnTo>
                    <a:pt x="19" y="80"/>
                  </a:lnTo>
                  <a:lnTo>
                    <a:pt x="22" y="83"/>
                  </a:lnTo>
                  <a:lnTo>
                    <a:pt x="24" y="85"/>
                  </a:lnTo>
                  <a:lnTo>
                    <a:pt x="24" y="96"/>
                  </a:lnTo>
                  <a:lnTo>
                    <a:pt x="22" y="99"/>
                  </a:lnTo>
                  <a:lnTo>
                    <a:pt x="22" y="101"/>
                  </a:lnTo>
                  <a:lnTo>
                    <a:pt x="24" y="114"/>
                  </a:lnTo>
                  <a:lnTo>
                    <a:pt x="22" y="119"/>
                  </a:lnTo>
                  <a:lnTo>
                    <a:pt x="22" y="122"/>
                  </a:lnTo>
                  <a:lnTo>
                    <a:pt x="25" y="122"/>
                  </a:lnTo>
                  <a:lnTo>
                    <a:pt x="28" y="122"/>
                  </a:lnTo>
                  <a:lnTo>
                    <a:pt x="29" y="121"/>
                  </a:lnTo>
                  <a:lnTo>
                    <a:pt x="29" y="122"/>
                  </a:lnTo>
                  <a:lnTo>
                    <a:pt x="28" y="124"/>
                  </a:lnTo>
                  <a:lnTo>
                    <a:pt x="22" y="131"/>
                  </a:lnTo>
                  <a:lnTo>
                    <a:pt x="19" y="138"/>
                  </a:lnTo>
                  <a:lnTo>
                    <a:pt x="18" y="140"/>
                  </a:lnTo>
                  <a:lnTo>
                    <a:pt x="15" y="140"/>
                  </a:lnTo>
                  <a:lnTo>
                    <a:pt x="11" y="140"/>
                  </a:lnTo>
                  <a:lnTo>
                    <a:pt x="8" y="143"/>
                  </a:lnTo>
                  <a:lnTo>
                    <a:pt x="6" y="147"/>
                  </a:lnTo>
                  <a:lnTo>
                    <a:pt x="6" y="150"/>
                  </a:lnTo>
                  <a:lnTo>
                    <a:pt x="6" y="151"/>
                  </a:lnTo>
                  <a:lnTo>
                    <a:pt x="3" y="151"/>
                  </a:lnTo>
                  <a:lnTo>
                    <a:pt x="2" y="153"/>
                  </a:lnTo>
                  <a:lnTo>
                    <a:pt x="0" y="154"/>
                  </a:lnTo>
                  <a:lnTo>
                    <a:pt x="0" y="156"/>
                  </a:lnTo>
                  <a:lnTo>
                    <a:pt x="2" y="157"/>
                  </a:lnTo>
                  <a:lnTo>
                    <a:pt x="2" y="159"/>
                  </a:lnTo>
                  <a:lnTo>
                    <a:pt x="3" y="159"/>
                  </a:lnTo>
                  <a:lnTo>
                    <a:pt x="24" y="169"/>
                  </a:lnTo>
                  <a:lnTo>
                    <a:pt x="25" y="175"/>
                  </a:lnTo>
                  <a:lnTo>
                    <a:pt x="40" y="175"/>
                  </a:lnTo>
                  <a:lnTo>
                    <a:pt x="40" y="175"/>
                  </a:lnTo>
                  <a:lnTo>
                    <a:pt x="41" y="173"/>
                  </a:lnTo>
                  <a:lnTo>
                    <a:pt x="42" y="173"/>
                  </a:lnTo>
                  <a:lnTo>
                    <a:pt x="51" y="178"/>
                  </a:lnTo>
                  <a:lnTo>
                    <a:pt x="58" y="180"/>
                  </a:lnTo>
                  <a:lnTo>
                    <a:pt x="60" y="180"/>
                  </a:lnTo>
                  <a:lnTo>
                    <a:pt x="61" y="182"/>
                  </a:lnTo>
                  <a:lnTo>
                    <a:pt x="63" y="183"/>
                  </a:lnTo>
                  <a:lnTo>
                    <a:pt x="66" y="185"/>
                  </a:lnTo>
                  <a:lnTo>
                    <a:pt x="67" y="191"/>
                  </a:lnTo>
                  <a:lnTo>
                    <a:pt x="69" y="192"/>
                  </a:lnTo>
                  <a:lnTo>
                    <a:pt x="70" y="192"/>
                  </a:lnTo>
                  <a:lnTo>
                    <a:pt x="72" y="194"/>
                  </a:lnTo>
                  <a:lnTo>
                    <a:pt x="73" y="194"/>
                  </a:lnTo>
                  <a:lnTo>
                    <a:pt x="74" y="194"/>
                  </a:lnTo>
                  <a:lnTo>
                    <a:pt x="76" y="195"/>
                  </a:lnTo>
                  <a:lnTo>
                    <a:pt x="77" y="196"/>
                  </a:lnTo>
                  <a:lnTo>
                    <a:pt x="77" y="202"/>
                  </a:lnTo>
                  <a:lnTo>
                    <a:pt x="79" y="202"/>
                  </a:lnTo>
                  <a:lnTo>
                    <a:pt x="79" y="204"/>
                  </a:lnTo>
                  <a:lnTo>
                    <a:pt x="82" y="204"/>
                  </a:lnTo>
                  <a:lnTo>
                    <a:pt x="83" y="204"/>
                  </a:lnTo>
                  <a:lnTo>
                    <a:pt x="83" y="209"/>
                  </a:lnTo>
                  <a:lnTo>
                    <a:pt x="85" y="212"/>
                  </a:lnTo>
                  <a:lnTo>
                    <a:pt x="87" y="212"/>
                  </a:lnTo>
                  <a:lnTo>
                    <a:pt x="89" y="212"/>
                  </a:lnTo>
                  <a:lnTo>
                    <a:pt x="92" y="212"/>
                  </a:lnTo>
                  <a:lnTo>
                    <a:pt x="95" y="212"/>
                  </a:lnTo>
                  <a:lnTo>
                    <a:pt x="98" y="212"/>
                  </a:lnTo>
                  <a:lnTo>
                    <a:pt x="98" y="212"/>
                  </a:lnTo>
                  <a:lnTo>
                    <a:pt x="99" y="211"/>
                  </a:lnTo>
                  <a:lnTo>
                    <a:pt x="99" y="211"/>
                  </a:lnTo>
                  <a:lnTo>
                    <a:pt x="101" y="209"/>
                  </a:lnTo>
                  <a:lnTo>
                    <a:pt x="102" y="209"/>
                  </a:lnTo>
                  <a:lnTo>
                    <a:pt x="106" y="209"/>
                  </a:lnTo>
                  <a:lnTo>
                    <a:pt x="108" y="211"/>
                  </a:lnTo>
                  <a:lnTo>
                    <a:pt x="109" y="211"/>
                  </a:lnTo>
                  <a:lnTo>
                    <a:pt x="111" y="211"/>
                  </a:lnTo>
                  <a:lnTo>
                    <a:pt x="114" y="209"/>
                  </a:lnTo>
                  <a:lnTo>
                    <a:pt x="117" y="209"/>
                  </a:lnTo>
                  <a:lnTo>
                    <a:pt x="124" y="214"/>
                  </a:lnTo>
                  <a:lnTo>
                    <a:pt x="127" y="217"/>
                  </a:lnTo>
                  <a:lnTo>
                    <a:pt x="127" y="218"/>
                  </a:lnTo>
                  <a:lnTo>
                    <a:pt x="119" y="228"/>
                  </a:lnTo>
                  <a:lnTo>
                    <a:pt x="119" y="231"/>
                  </a:lnTo>
                  <a:lnTo>
                    <a:pt x="119" y="231"/>
                  </a:lnTo>
                  <a:lnTo>
                    <a:pt x="121" y="231"/>
                  </a:lnTo>
                  <a:lnTo>
                    <a:pt x="122" y="231"/>
                  </a:lnTo>
                  <a:lnTo>
                    <a:pt x="124" y="231"/>
                  </a:lnTo>
                  <a:lnTo>
                    <a:pt x="127" y="236"/>
                  </a:lnTo>
                  <a:lnTo>
                    <a:pt x="128" y="236"/>
                  </a:lnTo>
                  <a:lnTo>
                    <a:pt x="130" y="234"/>
                  </a:lnTo>
                  <a:lnTo>
                    <a:pt x="130" y="233"/>
                  </a:lnTo>
                  <a:lnTo>
                    <a:pt x="131" y="227"/>
                  </a:lnTo>
                  <a:lnTo>
                    <a:pt x="131" y="225"/>
                  </a:lnTo>
                  <a:lnTo>
                    <a:pt x="133" y="215"/>
                  </a:lnTo>
                  <a:lnTo>
                    <a:pt x="134" y="215"/>
                  </a:lnTo>
                  <a:lnTo>
                    <a:pt x="137" y="195"/>
                  </a:lnTo>
                  <a:lnTo>
                    <a:pt x="135" y="188"/>
                  </a:lnTo>
                  <a:lnTo>
                    <a:pt x="128" y="180"/>
                  </a:lnTo>
                  <a:lnTo>
                    <a:pt x="128" y="170"/>
                  </a:lnTo>
                  <a:lnTo>
                    <a:pt x="135" y="167"/>
                  </a:lnTo>
                  <a:lnTo>
                    <a:pt x="138" y="169"/>
                  </a:lnTo>
                  <a:lnTo>
                    <a:pt x="138" y="169"/>
                  </a:lnTo>
                  <a:lnTo>
                    <a:pt x="138" y="169"/>
                  </a:lnTo>
                  <a:lnTo>
                    <a:pt x="140" y="169"/>
                  </a:lnTo>
                  <a:lnTo>
                    <a:pt x="140" y="169"/>
                  </a:lnTo>
                  <a:lnTo>
                    <a:pt x="138" y="164"/>
                  </a:lnTo>
                  <a:lnTo>
                    <a:pt x="138" y="163"/>
                  </a:lnTo>
                  <a:lnTo>
                    <a:pt x="135" y="163"/>
                  </a:lnTo>
                  <a:lnTo>
                    <a:pt x="134" y="163"/>
                  </a:lnTo>
                  <a:lnTo>
                    <a:pt x="133" y="163"/>
                  </a:lnTo>
                  <a:lnTo>
                    <a:pt x="131" y="162"/>
                  </a:lnTo>
                  <a:lnTo>
                    <a:pt x="131" y="162"/>
                  </a:lnTo>
                  <a:lnTo>
                    <a:pt x="131" y="162"/>
                  </a:lnTo>
                  <a:lnTo>
                    <a:pt x="131" y="162"/>
                  </a:lnTo>
                  <a:lnTo>
                    <a:pt x="131" y="153"/>
                  </a:lnTo>
                  <a:lnTo>
                    <a:pt x="131" y="153"/>
                  </a:lnTo>
                  <a:lnTo>
                    <a:pt x="151" y="153"/>
                  </a:lnTo>
                  <a:lnTo>
                    <a:pt x="153" y="153"/>
                  </a:lnTo>
                  <a:lnTo>
                    <a:pt x="153" y="150"/>
                  </a:lnTo>
                  <a:lnTo>
                    <a:pt x="154" y="150"/>
                  </a:lnTo>
                  <a:lnTo>
                    <a:pt x="154" y="150"/>
                  </a:lnTo>
                  <a:lnTo>
                    <a:pt x="156" y="150"/>
                  </a:lnTo>
                  <a:lnTo>
                    <a:pt x="157" y="151"/>
                  </a:lnTo>
                  <a:lnTo>
                    <a:pt x="157" y="151"/>
                  </a:lnTo>
                  <a:lnTo>
                    <a:pt x="162" y="148"/>
                  </a:lnTo>
                  <a:lnTo>
                    <a:pt x="164" y="148"/>
                  </a:lnTo>
                  <a:lnTo>
                    <a:pt x="166" y="150"/>
                  </a:lnTo>
                  <a:lnTo>
                    <a:pt x="169" y="153"/>
                  </a:lnTo>
                  <a:lnTo>
                    <a:pt x="170" y="160"/>
                  </a:lnTo>
                  <a:lnTo>
                    <a:pt x="173" y="160"/>
                  </a:lnTo>
                  <a:lnTo>
                    <a:pt x="173" y="159"/>
                  </a:lnTo>
                  <a:lnTo>
                    <a:pt x="164" y="141"/>
                  </a:lnTo>
                  <a:lnTo>
                    <a:pt x="160" y="138"/>
                  </a:lnTo>
                  <a:lnTo>
                    <a:pt x="160" y="137"/>
                  </a:lnTo>
                  <a:lnTo>
                    <a:pt x="164" y="132"/>
                  </a:lnTo>
                  <a:lnTo>
                    <a:pt x="166" y="132"/>
                  </a:lnTo>
                  <a:lnTo>
                    <a:pt x="166" y="131"/>
                  </a:lnTo>
                  <a:lnTo>
                    <a:pt x="167" y="131"/>
                  </a:lnTo>
                  <a:lnTo>
                    <a:pt x="167" y="130"/>
                  </a:lnTo>
                  <a:lnTo>
                    <a:pt x="167" y="128"/>
                  </a:lnTo>
                  <a:lnTo>
                    <a:pt x="166" y="127"/>
                  </a:lnTo>
                  <a:lnTo>
                    <a:pt x="164" y="124"/>
                  </a:lnTo>
                  <a:lnTo>
                    <a:pt x="163" y="122"/>
                  </a:lnTo>
                  <a:lnTo>
                    <a:pt x="162" y="121"/>
                  </a:lnTo>
                  <a:lnTo>
                    <a:pt x="160" y="121"/>
                  </a:lnTo>
                  <a:lnTo>
                    <a:pt x="160" y="114"/>
                  </a:lnTo>
                  <a:lnTo>
                    <a:pt x="159" y="112"/>
                  </a:lnTo>
                  <a:lnTo>
                    <a:pt x="159" y="109"/>
                  </a:lnTo>
                  <a:lnTo>
                    <a:pt x="160" y="108"/>
                  </a:lnTo>
                  <a:lnTo>
                    <a:pt x="160" y="105"/>
                  </a:lnTo>
                  <a:lnTo>
                    <a:pt x="160" y="102"/>
                  </a:lnTo>
                  <a:lnTo>
                    <a:pt x="163" y="99"/>
                  </a:lnTo>
                  <a:lnTo>
                    <a:pt x="163" y="96"/>
                  </a:lnTo>
                  <a:lnTo>
                    <a:pt x="163" y="95"/>
                  </a:lnTo>
                  <a:lnTo>
                    <a:pt x="164" y="93"/>
                  </a:lnTo>
                  <a:lnTo>
                    <a:pt x="164" y="92"/>
                  </a:lnTo>
                  <a:lnTo>
                    <a:pt x="164" y="89"/>
                  </a:lnTo>
                  <a:lnTo>
                    <a:pt x="163" y="89"/>
                  </a:lnTo>
                  <a:lnTo>
                    <a:pt x="163" y="89"/>
                  </a:lnTo>
                  <a:lnTo>
                    <a:pt x="153" y="92"/>
                  </a:lnTo>
                  <a:lnTo>
                    <a:pt x="148" y="90"/>
                  </a:lnTo>
                  <a:lnTo>
                    <a:pt x="144" y="89"/>
                  </a:lnTo>
                  <a:lnTo>
                    <a:pt x="141" y="90"/>
                  </a:lnTo>
                  <a:lnTo>
                    <a:pt x="141" y="90"/>
                  </a:lnTo>
                  <a:lnTo>
                    <a:pt x="137" y="90"/>
                  </a:lnTo>
                  <a:lnTo>
                    <a:pt x="137" y="90"/>
                  </a:lnTo>
                  <a:lnTo>
                    <a:pt x="137" y="90"/>
                  </a:lnTo>
                  <a:lnTo>
                    <a:pt x="128" y="80"/>
                  </a:lnTo>
                  <a:lnTo>
                    <a:pt x="128" y="79"/>
                  </a:lnTo>
                  <a:lnTo>
                    <a:pt x="121" y="76"/>
                  </a:lnTo>
                  <a:lnTo>
                    <a:pt x="109" y="77"/>
                  </a:lnTo>
                  <a:lnTo>
                    <a:pt x="101" y="76"/>
                  </a:lnTo>
                  <a:lnTo>
                    <a:pt x="99" y="74"/>
                  </a:lnTo>
                  <a:lnTo>
                    <a:pt x="98" y="73"/>
                  </a:lnTo>
                  <a:lnTo>
                    <a:pt x="95" y="71"/>
                  </a:lnTo>
                  <a:lnTo>
                    <a:pt x="95" y="71"/>
                  </a:lnTo>
                  <a:lnTo>
                    <a:pt x="95" y="60"/>
                  </a:lnTo>
                  <a:lnTo>
                    <a:pt x="93" y="58"/>
                  </a:lnTo>
                  <a:lnTo>
                    <a:pt x="92" y="58"/>
                  </a:lnTo>
                  <a:lnTo>
                    <a:pt x="92" y="57"/>
                  </a:lnTo>
                  <a:lnTo>
                    <a:pt x="90" y="55"/>
                  </a:lnTo>
                  <a:lnTo>
                    <a:pt x="87" y="47"/>
                  </a:lnTo>
                  <a:lnTo>
                    <a:pt x="87" y="47"/>
                  </a:lnTo>
                  <a:lnTo>
                    <a:pt x="82" y="47"/>
                  </a:lnTo>
                  <a:lnTo>
                    <a:pt x="87" y="28"/>
                  </a:lnTo>
                  <a:lnTo>
                    <a:pt x="102" y="10"/>
                  </a:lnTo>
                  <a:lnTo>
                    <a:pt x="105" y="9"/>
                  </a:lnTo>
                  <a:lnTo>
                    <a:pt x="109" y="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89" name="Freeform 707"/>
            <p:cNvSpPr>
              <a:spLocks/>
            </p:cNvSpPr>
            <p:nvPr/>
          </p:nvSpPr>
          <p:spPr bwMode="auto">
            <a:xfrm>
              <a:off x="5209568" y="3417618"/>
              <a:ext cx="155371" cy="203841"/>
            </a:xfrm>
            <a:custGeom>
              <a:avLst/>
              <a:gdLst/>
              <a:ahLst/>
              <a:cxnLst>
                <a:cxn ang="0">
                  <a:pos x="1" y="18"/>
                </a:cxn>
                <a:cxn ang="0">
                  <a:pos x="7" y="19"/>
                </a:cxn>
                <a:cxn ang="0">
                  <a:pos x="30" y="15"/>
                </a:cxn>
                <a:cxn ang="0">
                  <a:pos x="60" y="0"/>
                </a:cxn>
                <a:cxn ang="0">
                  <a:pos x="62" y="3"/>
                </a:cxn>
                <a:cxn ang="0">
                  <a:pos x="60" y="22"/>
                </a:cxn>
                <a:cxn ang="0">
                  <a:pos x="62" y="29"/>
                </a:cxn>
                <a:cxn ang="0">
                  <a:pos x="74" y="39"/>
                </a:cxn>
                <a:cxn ang="0">
                  <a:pos x="91" y="44"/>
                </a:cxn>
                <a:cxn ang="0">
                  <a:pos x="94" y="47"/>
                </a:cxn>
                <a:cxn ang="0">
                  <a:pos x="111" y="55"/>
                </a:cxn>
                <a:cxn ang="0">
                  <a:pos x="127" y="60"/>
                </a:cxn>
                <a:cxn ang="0">
                  <a:pos x="132" y="70"/>
                </a:cxn>
                <a:cxn ang="0">
                  <a:pos x="133" y="80"/>
                </a:cxn>
                <a:cxn ang="0">
                  <a:pos x="130" y="83"/>
                </a:cxn>
                <a:cxn ang="0">
                  <a:pos x="158" y="97"/>
                </a:cxn>
                <a:cxn ang="0">
                  <a:pos x="161" y="97"/>
                </a:cxn>
                <a:cxn ang="0">
                  <a:pos x="159" y="103"/>
                </a:cxn>
                <a:cxn ang="0">
                  <a:pos x="165" y="112"/>
                </a:cxn>
                <a:cxn ang="0">
                  <a:pos x="169" y="121"/>
                </a:cxn>
                <a:cxn ang="0">
                  <a:pos x="166" y="144"/>
                </a:cxn>
                <a:cxn ang="0">
                  <a:pos x="168" y="150"/>
                </a:cxn>
                <a:cxn ang="0">
                  <a:pos x="168" y="153"/>
                </a:cxn>
                <a:cxn ang="0">
                  <a:pos x="165" y="154"/>
                </a:cxn>
                <a:cxn ang="0">
                  <a:pos x="140" y="141"/>
                </a:cxn>
                <a:cxn ang="0">
                  <a:pos x="110" y="154"/>
                </a:cxn>
                <a:cxn ang="0">
                  <a:pos x="104" y="173"/>
                </a:cxn>
                <a:cxn ang="0">
                  <a:pos x="97" y="186"/>
                </a:cxn>
                <a:cxn ang="0">
                  <a:pos x="79" y="182"/>
                </a:cxn>
                <a:cxn ang="0">
                  <a:pos x="76" y="192"/>
                </a:cxn>
                <a:cxn ang="0">
                  <a:pos x="72" y="189"/>
                </a:cxn>
                <a:cxn ang="0">
                  <a:pos x="71" y="186"/>
                </a:cxn>
                <a:cxn ang="0">
                  <a:pos x="55" y="185"/>
                </a:cxn>
                <a:cxn ang="0">
                  <a:pos x="50" y="179"/>
                </a:cxn>
                <a:cxn ang="0">
                  <a:pos x="39" y="192"/>
                </a:cxn>
                <a:cxn ang="0">
                  <a:pos x="36" y="195"/>
                </a:cxn>
                <a:cxn ang="0">
                  <a:pos x="33" y="195"/>
                </a:cxn>
                <a:cxn ang="0">
                  <a:pos x="26" y="196"/>
                </a:cxn>
                <a:cxn ang="0">
                  <a:pos x="21" y="175"/>
                </a:cxn>
                <a:cxn ang="0">
                  <a:pos x="18" y="166"/>
                </a:cxn>
                <a:cxn ang="0">
                  <a:pos x="15" y="161"/>
                </a:cxn>
                <a:cxn ang="0">
                  <a:pos x="14" y="157"/>
                </a:cxn>
                <a:cxn ang="0">
                  <a:pos x="13" y="151"/>
                </a:cxn>
                <a:cxn ang="0">
                  <a:pos x="15" y="150"/>
                </a:cxn>
                <a:cxn ang="0">
                  <a:pos x="15" y="148"/>
                </a:cxn>
                <a:cxn ang="0">
                  <a:pos x="15" y="145"/>
                </a:cxn>
                <a:cxn ang="0">
                  <a:pos x="15" y="141"/>
                </a:cxn>
                <a:cxn ang="0">
                  <a:pos x="7" y="122"/>
                </a:cxn>
                <a:cxn ang="0">
                  <a:pos x="4" y="119"/>
                </a:cxn>
                <a:cxn ang="0">
                  <a:pos x="1" y="115"/>
                </a:cxn>
                <a:cxn ang="0">
                  <a:pos x="0" y="113"/>
                </a:cxn>
                <a:cxn ang="0">
                  <a:pos x="8" y="100"/>
                </a:cxn>
                <a:cxn ang="0">
                  <a:pos x="8" y="96"/>
                </a:cxn>
                <a:cxn ang="0">
                  <a:pos x="5" y="95"/>
                </a:cxn>
                <a:cxn ang="0">
                  <a:pos x="4" y="93"/>
                </a:cxn>
                <a:cxn ang="0">
                  <a:pos x="5" y="83"/>
                </a:cxn>
                <a:cxn ang="0">
                  <a:pos x="7" y="80"/>
                </a:cxn>
                <a:cxn ang="0">
                  <a:pos x="7" y="77"/>
                </a:cxn>
                <a:cxn ang="0">
                  <a:pos x="4" y="73"/>
                </a:cxn>
                <a:cxn ang="0">
                  <a:pos x="8" y="70"/>
                </a:cxn>
                <a:cxn ang="0">
                  <a:pos x="8" y="47"/>
                </a:cxn>
                <a:cxn ang="0">
                  <a:pos x="13" y="41"/>
                </a:cxn>
                <a:cxn ang="0">
                  <a:pos x="0" y="19"/>
                </a:cxn>
              </a:cxnLst>
              <a:rect l="0" t="0" r="r" b="b"/>
              <a:pathLst>
                <a:path w="169" h="196">
                  <a:moveTo>
                    <a:pt x="0" y="19"/>
                  </a:moveTo>
                  <a:lnTo>
                    <a:pt x="1" y="18"/>
                  </a:lnTo>
                  <a:lnTo>
                    <a:pt x="2" y="18"/>
                  </a:lnTo>
                  <a:lnTo>
                    <a:pt x="7" y="19"/>
                  </a:lnTo>
                  <a:lnTo>
                    <a:pt x="18" y="20"/>
                  </a:lnTo>
                  <a:lnTo>
                    <a:pt x="30" y="15"/>
                  </a:lnTo>
                  <a:lnTo>
                    <a:pt x="43" y="2"/>
                  </a:lnTo>
                  <a:lnTo>
                    <a:pt x="60" y="0"/>
                  </a:lnTo>
                  <a:lnTo>
                    <a:pt x="60" y="2"/>
                  </a:lnTo>
                  <a:lnTo>
                    <a:pt x="62" y="3"/>
                  </a:lnTo>
                  <a:lnTo>
                    <a:pt x="62" y="19"/>
                  </a:lnTo>
                  <a:lnTo>
                    <a:pt x="60" y="22"/>
                  </a:lnTo>
                  <a:lnTo>
                    <a:pt x="60" y="23"/>
                  </a:lnTo>
                  <a:lnTo>
                    <a:pt x="62" y="29"/>
                  </a:lnTo>
                  <a:lnTo>
                    <a:pt x="66" y="35"/>
                  </a:lnTo>
                  <a:lnTo>
                    <a:pt x="74" y="39"/>
                  </a:lnTo>
                  <a:lnTo>
                    <a:pt x="90" y="42"/>
                  </a:lnTo>
                  <a:lnTo>
                    <a:pt x="91" y="44"/>
                  </a:lnTo>
                  <a:lnTo>
                    <a:pt x="92" y="45"/>
                  </a:lnTo>
                  <a:lnTo>
                    <a:pt x="94" y="47"/>
                  </a:lnTo>
                  <a:lnTo>
                    <a:pt x="105" y="50"/>
                  </a:lnTo>
                  <a:lnTo>
                    <a:pt x="111" y="55"/>
                  </a:lnTo>
                  <a:lnTo>
                    <a:pt x="121" y="55"/>
                  </a:lnTo>
                  <a:lnTo>
                    <a:pt x="127" y="60"/>
                  </a:lnTo>
                  <a:lnTo>
                    <a:pt x="132" y="66"/>
                  </a:lnTo>
                  <a:lnTo>
                    <a:pt x="132" y="70"/>
                  </a:lnTo>
                  <a:lnTo>
                    <a:pt x="133" y="73"/>
                  </a:lnTo>
                  <a:lnTo>
                    <a:pt x="133" y="80"/>
                  </a:lnTo>
                  <a:lnTo>
                    <a:pt x="130" y="80"/>
                  </a:lnTo>
                  <a:lnTo>
                    <a:pt x="130" y="83"/>
                  </a:lnTo>
                  <a:lnTo>
                    <a:pt x="136" y="96"/>
                  </a:lnTo>
                  <a:lnTo>
                    <a:pt x="158" y="97"/>
                  </a:lnTo>
                  <a:lnTo>
                    <a:pt x="159" y="97"/>
                  </a:lnTo>
                  <a:lnTo>
                    <a:pt x="161" y="97"/>
                  </a:lnTo>
                  <a:lnTo>
                    <a:pt x="161" y="99"/>
                  </a:lnTo>
                  <a:lnTo>
                    <a:pt x="159" y="103"/>
                  </a:lnTo>
                  <a:lnTo>
                    <a:pt x="161" y="111"/>
                  </a:lnTo>
                  <a:lnTo>
                    <a:pt x="165" y="112"/>
                  </a:lnTo>
                  <a:lnTo>
                    <a:pt x="166" y="112"/>
                  </a:lnTo>
                  <a:lnTo>
                    <a:pt x="169" y="121"/>
                  </a:lnTo>
                  <a:lnTo>
                    <a:pt x="169" y="138"/>
                  </a:lnTo>
                  <a:lnTo>
                    <a:pt x="166" y="144"/>
                  </a:lnTo>
                  <a:lnTo>
                    <a:pt x="166" y="148"/>
                  </a:lnTo>
                  <a:lnTo>
                    <a:pt x="168" y="150"/>
                  </a:lnTo>
                  <a:lnTo>
                    <a:pt x="168" y="153"/>
                  </a:lnTo>
                  <a:lnTo>
                    <a:pt x="168" y="153"/>
                  </a:lnTo>
                  <a:lnTo>
                    <a:pt x="165" y="153"/>
                  </a:lnTo>
                  <a:lnTo>
                    <a:pt x="165" y="154"/>
                  </a:lnTo>
                  <a:lnTo>
                    <a:pt x="155" y="141"/>
                  </a:lnTo>
                  <a:lnTo>
                    <a:pt x="140" y="141"/>
                  </a:lnTo>
                  <a:lnTo>
                    <a:pt x="111" y="148"/>
                  </a:lnTo>
                  <a:lnTo>
                    <a:pt x="110" y="154"/>
                  </a:lnTo>
                  <a:lnTo>
                    <a:pt x="104" y="163"/>
                  </a:lnTo>
                  <a:lnTo>
                    <a:pt x="104" y="173"/>
                  </a:lnTo>
                  <a:lnTo>
                    <a:pt x="100" y="188"/>
                  </a:lnTo>
                  <a:lnTo>
                    <a:pt x="97" y="186"/>
                  </a:lnTo>
                  <a:lnTo>
                    <a:pt x="94" y="183"/>
                  </a:lnTo>
                  <a:lnTo>
                    <a:pt x="79" y="182"/>
                  </a:lnTo>
                  <a:lnTo>
                    <a:pt x="76" y="192"/>
                  </a:lnTo>
                  <a:lnTo>
                    <a:pt x="76" y="192"/>
                  </a:lnTo>
                  <a:lnTo>
                    <a:pt x="74" y="190"/>
                  </a:lnTo>
                  <a:lnTo>
                    <a:pt x="72" y="189"/>
                  </a:lnTo>
                  <a:lnTo>
                    <a:pt x="72" y="189"/>
                  </a:lnTo>
                  <a:lnTo>
                    <a:pt x="71" y="186"/>
                  </a:lnTo>
                  <a:lnTo>
                    <a:pt x="71" y="186"/>
                  </a:lnTo>
                  <a:lnTo>
                    <a:pt x="55" y="185"/>
                  </a:lnTo>
                  <a:lnTo>
                    <a:pt x="50" y="179"/>
                  </a:lnTo>
                  <a:lnTo>
                    <a:pt x="50" y="179"/>
                  </a:lnTo>
                  <a:lnTo>
                    <a:pt x="39" y="190"/>
                  </a:lnTo>
                  <a:lnTo>
                    <a:pt x="39" y="192"/>
                  </a:lnTo>
                  <a:lnTo>
                    <a:pt x="37" y="193"/>
                  </a:lnTo>
                  <a:lnTo>
                    <a:pt x="36" y="195"/>
                  </a:lnTo>
                  <a:lnTo>
                    <a:pt x="34" y="195"/>
                  </a:lnTo>
                  <a:lnTo>
                    <a:pt x="33" y="195"/>
                  </a:lnTo>
                  <a:lnTo>
                    <a:pt x="31" y="196"/>
                  </a:lnTo>
                  <a:lnTo>
                    <a:pt x="26" y="196"/>
                  </a:lnTo>
                  <a:lnTo>
                    <a:pt x="24" y="195"/>
                  </a:lnTo>
                  <a:lnTo>
                    <a:pt x="21" y="175"/>
                  </a:lnTo>
                  <a:lnTo>
                    <a:pt x="20" y="172"/>
                  </a:lnTo>
                  <a:lnTo>
                    <a:pt x="18" y="166"/>
                  </a:lnTo>
                  <a:lnTo>
                    <a:pt x="15" y="163"/>
                  </a:lnTo>
                  <a:lnTo>
                    <a:pt x="15" y="161"/>
                  </a:lnTo>
                  <a:lnTo>
                    <a:pt x="15" y="157"/>
                  </a:lnTo>
                  <a:lnTo>
                    <a:pt x="14" y="157"/>
                  </a:lnTo>
                  <a:lnTo>
                    <a:pt x="13" y="156"/>
                  </a:lnTo>
                  <a:lnTo>
                    <a:pt x="13" y="151"/>
                  </a:lnTo>
                  <a:lnTo>
                    <a:pt x="13" y="150"/>
                  </a:lnTo>
                  <a:lnTo>
                    <a:pt x="15" y="150"/>
                  </a:lnTo>
                  <a:lnTo>
                    <a:pt x="15" y="150"/>
                  </a:lnTo>
                  <a:lnTo>
                    <a:pt x="15" y="148"/>
                  </a:lnTo>
                  <a:lnTo>
                    <a:pt x="15" y="147"/>
                  </a:lnTo>
                  <a:lnTo>
                    <a:pt x="15" y="145"/>
                  </a:lnTo>
                  <a:lnTo>
                    <a:pt x="15" y="144"/>
                  </a:lnTo>
                  <a:lnTo>
                    <a:pt x="15" y="141"/>
                  </a:lnTo>
                  <a:lnTo>
                    <a:pt x="10" y="135"/>
                  </a:lnTo>
                  <a:lnTo>
                    <a:pt x="7" y="122"/>
                  </a:lnTo>
                  <a:lnTo>
                    <a:pt x="5" y="119"/>
                  </a:lnTo>
                  <a:lnTo>
                    <a:pt x="4" y="119"/>
                  </a:lnTo>
                  <a:lnTo>
                    <a:pt x="1" y="115"/>
                  </a:lnTo>
                  <a:lnTo>
                    <a:pt x="1" y="115"/>
                  </a:lnTo>
                  <a:lnTo>
                    <a:pt x="0" y="113"/>
                  </a:lnTo>
                  <a:lnTo>
                    <a:pt x="0" y="113"/>
                  </a:lnTo>
                  <a:lnTo>
                    <a:pt x="0" y="112"/>
                  </a:lnTo>
                  <a:lnTo>
                    <a:pt x="8" y="100"/>
                  </a:lnTo>
                  <a:lnTo>
                    <a:pt x="10" y="97"/>
                  </a:lnTo>
                  <a:lnTo>
                    <a:pt x="8" y="96"/>
                  </a:lnTo>
                  <a:lnTo>
                    <a:pt x="7" y="95"/>
                  </a:lnTo>
                  <a:lnTo>
                    <a:pt x="5" y="95"/>
                  </a:lnTo>
                  <a:lnTo>
                    <a:pt x="5" y="93"/>
                  </a:lnTo>
                  <a:lnTo>
                    <a:pt x="4" y="93"/>
                  </a:lnTo>
                  <a:lnTo>
                    <a:pt x="4" y="86"/>
                  </a:lnTo>
                  <a:lnTo>
                    <a:pt x="5" y="83"/>
                  </a:lnTo>
                  <a:lnTo>
                    <a:pt x="7" y="82"/>
                  </a:lnTo>
                  <a:lnTo>
                    <a:pt x="7" y="80"/>
                  </a:lnTo>
                  <a:lnTo>
                    <a:pt x="7" y="79"/>
                  </a:lnTo>
                  <a:lnTo>
                    <a:pt x="7" y="77"/>
                  </a:lnTo>
                  <a:lnTo>
                    <a:pt x="4" y="74"/>
                  </a:lnTo>
                  <a:lnTo>
                    <a:pt x="4" y="73"/>
                  </a:lnTo>
                  <a:lnTo>
                    <a:pt x="5" y="71"/>
                  </a:lnTo>
                  <a:lnTo>
                    <a:pt x="8" y="70"/>
                  </a:lnTo>
                  <a:lnTo>
                    <a:pt x="10" y="70"/>
                  </a:lnTo>
                  <a:lnTo>
                    <a:pt x="8" y="47"/>
                  </a:lnTo>
                  <a:lnTo>
                    <a:pt x="10" y="44"/>
                  </a:lnTo>
                  <a:lnTo>
                    <a:pt x="13" y="41"/>
                  </a:lnTo>
                  <a:lnTo>
                    <a:pt x="13" y="39"/>
                  </a:lnTo>
                  <a:lnTo>
                    <a:pt x="0" y="1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90" name="Freeform 709"/>
            <p:cNvSpPr>
              <a:spLocks/>
            </p:cNvSpPr>
            <p:nvPr/>
          </p:nvSpPr>
          <p:spPr bwMode="auto">
            <a:xfrm>
              <a:off x="5355283" y="3740112"/>
              <a:ext cx="70224" cy="85187"/>
            </a:xfrm>
            <a:custGeom>
              <a:avLst/>
              <a:gdLst/>
              <a:ahLst/>
              <a:cxnLst>
                <a:cxn ang="0">
                  <a:pos x="0" y="65"/>
                </a:cxn>
                <a:cxn ang="0">
                  <a:pos x="0" y="65"/>
                </a:cxn>
                <a:cxn ang="0">
                  <a:pos x="3" y="65"/>
                </a:cxn>
                <a:cxn ang="0">
                  <a:pos x="7" y="71"/>
                </a:cxn>
                <a:cxn ang="0">
                  <a:pos x="7" y="72"/>
                </a:cxn>
                <a:cxn ang="0">
                  <a:pos x="18" y="74"/>
                </a:cxn>
                <a:cxn ang="0">
                  <a:pos x="32" y="81"/>
                </a:cxn>
                <a:cxn ang="0">
                  <a:pos x="42" y="80"/>
                </a:cxn>
                <a:cxn ang="0">
                  <a:pos x="51" y="81"/>
                </a:cxn>
                <a:cxn ang="0">
                  <a:pos x="58" y="78"/>
                </a:cxn>
                <a:cxn ang="0">
                  <a:pos x="66" y="72"/>
                </a:cxn>
                <a:cxn ang="0">
                  <a:pos x="66" y="71"/>
                </a:cxn>
                <a:cxn ang="0">
                  <a:pos x="70" y="65"/>
                </a:cxn>
                <a:cxn ang="0">
                  <a:pos x="71" y="62"/>
                </a:cxn>
                <a:cxn ang="0">
                  <a:pos x="73" y="61"/>
                </a:cxn>
                <a:cxn ang="0">
                  <a:pos x="71" y="61"/>
                </a:cxn>
                <a:cxn ang="0">
                  <a:pos x="71" y="59"/>
                </a:cxn>
                <a:cxn ang="0">
                  <a:pos x="71" y="52"/>
                </a:cxn>
                <a:cxn ang="0">
                  <a:pos x="73" y="48"/>
                </a:cxn>
                <a:cxn ang="0">
                  <a:pos x="74" y="48"/>
                </a:cxn>
                <a:cxn ang="0">
                  <a:pos x="74" y="46"/>
                </a:cxn>
                <a:cxn ang="0">
                  <a:pos x="76" y="45"/>
                </a:cxn>
                <a:cxn ang="0">
                  <a:pos x="76" y="45"/>
                </a:cxn>
                <a:cxn ang="0">
                  <a:pos x="76" y="42"/>
                </a:cxn>
                <a:cxn ang="0">
                  <a:pos x="70" y="39"/>
                </a:cxn>
                <a:cxn ang="0">
                  <a:pos x="68" y="33"/>
                </a:cxn>
                <a:cxn ang="0">
                  <a:pos x="67" y="32"/>
                </a:cxn>
                <a:cxn ang="0">
                  <a:pos x="63" y="29"/>
                </a:cxn>
                <a:cxn ang="0">
                  <a:pos x="63" y="29"/>
                </a:cxn>
                <a:cxn ang="0">
                  <a:pos x="60" y="27"/>
                </a:cxn>
                <a:cxn ang="0">
                  <a:pos x="58" y="27"/>
                </a:cxn>
                <a:cxn ang="0">
                  <a:pos x="57" y="23"/>
                </a:cxn>
                <a:cxn ang="0">
                  <a:pos x="55" y="23"/>
                </a:cxn>
                <a:cxn ang="0">
                  <a:pos x="52" y="21"/>
                </a:cxn>
                <a:cxn ang="0">
                  <a:pos x="50" y="20"/>
                </a:cxn>
                <a:cxn ang="0">
                  <a:pos x="48" y="20"/>
                </a:cxn>
                <a:cxn ang="0">
                  <a:pos x="47" y="20"/>
                </a:cxn>
                <a:cxn ang="0">
                  <a:pos x="47" y="19"/>
                </a:cxn>
                <a:cxn ang="0">
                  <a:pos x="44" y="14"/>
                </a:cxn>
                <a:cxn ang="0">
                  <a:pos x="42" y="13"/>
                </a:cxn>
                <a:cxn ang="0">
                  <a:pos x="42" y="13"/>
                </a:cxn>
                <a:cxn ang="0">
                  <a:pos x="38" y="16"/>
                </a:cxn>
                <a:cxn ang="0">
                  <a:pos x="38" y="16"/>
                </a:cxn>
                <a:cxn ang="0">
                  <a:pos x="35" y="16"/>
                </a:cxn>
                <a:cxn ang="0">
                  <a:pos x="34" y="8"/>
                </a:cxn>
                <a:cxn ang="0">
                  <a:pos x="23" y="1"/>
                </a:cxn>
                <a:cxn ang="0">
                  <a:pos x="22" y="0"/>
                </a:cxn>
                <a:cxn ang="0">
                  <a:pos x="21" y="0"/>
                </a:cxn>
                <a:cxn ang="0">
                  <a:pos x="19" y="1"/>
                </a:cxn>
                <a:cxn ang="0">
                  <a:pos x="19" y="3"/>
                </a:cxn>
                <a:cxn ang="0">
                  <a:pos x="16" y="3"/>
                </a:cxn>
                <a:cxn ang="0">
                  <a:pos x="12" y="3"/>
                </a:cxn>
                <a:cxn ang="0">
                  <a:pos x="12" y="4"/>
                </a:cxn>
                <a:cxn ang="0">
                  <a:pos x="9" y="7"/>
                </a:cxn>
                <a:cxn ang="0">
                  <a:pos x="7" y="26"/>
                </a:cxn>
                <a:cxn ang="0">
                  <a:pos x="6" y="32"/>
                </a:cxn>
                <a:cxn ang="0">
                  <a:pos x="5" y="48"/>
                </a:cxn>
                <a:cxn ang="0">
                  <a:pos x="5" y="49"/>
                </a:cxn>
                <a:cxn ang="0">
                  <a:pos x="3" y="52"/>
                </a:cxn>
                <a:cxn ang="0">
                  <a:pos x="0" y="65"/>
                </a:cxn>
              </a:cxnLst>
              <a:rect l="0" t="0" r="r" b="b"/>
              <a:pathLst>
                <a:path w="76" h="81">
                  <a:moveTo>
                    <a:pt x="0" y="65"/>
                  </a:moveTo>
                  <a:lnTo>
                    <a:pt x="0" y="65"/>
                  </a:lnTo>
                  <a:lnTo>
                    <a:pt x="3" y="65"/>
                  </a:lnTo>
                  <a:lnTo>
                    <a:pt x="7" y="71"/>
                  </a:lnTo>
                  <a:lnTo>
                    <a:pt x="7" y="72"/>
                  </a:lnTo>
                  <a:lnTo>
                    <a:pt x="18" y="74"/>
                  </a:lnTo>
                  <a:lnTo>
                    <a:pt x="32" y="81"/>
                  </a:lnTo>
                  <a:lnTo>
                    <a:pt x="42" y="80"/>
                  </a:lnTo>
                  <a:lnTo>
                    <a:pt x="51" y="81"/>
                  </a:lnTo>
                  <a:lnTo>
                    <a:pt x="58" y="78"/>
                  </a:lnTo>
                  <a:lnTo>
                    <a:pt x="66" y="72"/>
                  </a:lnTo>
                  <a:lnTo>
                    <a:pt x="66" y="71"/>
                  </a:lnTo>
                  <a:lnTo>
                    <a:pt x="70" y="65"/>
                  </a:lnTo>
                  <a:lnTo>
                    <a:pt x="71" y="62"/>
                  </a:lnTo>
                  <a:lnTo>
                    <a:pt x="73" y="61"/>
                  </a:lnTo>
                  <a:lnTo>
                    <a:pt x="71" y="61"/>
                  </a:lnTo>
                  <a:lnTo>
                    <a:pt x="71" y="59"/>
                  </a:lnTo>
                  <a:lnTo>
                    <a:pt x="71" y="52"/>
                  </a:lnTo>
                  <a:lnTo>
                    <a:pt x="73" y="48"/>
                  </a:lnTo>
                  <a:lnTo>
                    <a:pt x="74" y="48"/>
                  </a:lnTo>
                  <a:lnTo>
                    <a:pt x="74" y="46"/>
                  </a:lnTo>
                  <a:lnTo>
                    <a:pt x="76" y="45"/>
                  </a:lnTo>
                  <a:lnTo>
                    <a:pt x="76" y="45"/>
                  </a:lnTo>
                  <a:lnTo>
                    <a:pt x="76" y="42"/>
                  </a:lnTo>
                  <a:lnTo>
                    <a:pt x="70" y="39"/>
                  </a:lnTo>
                  <a:lnTo>
                    <a:pt x="68" y="33"/>
                  </a:lnTo>
                  <a:lnTo>
                    <a:pt x="67" y="32"/>
                  </a:lnTo>
                  <a:lnTo>
                    <a:pt x="63" y="29"/>
                  </a:lnTo>
                  <a:lnTo>
                    <a:pt x="63" y="29"/>
                  </a:lnTo>
                  <a:lnTo>
                    <a:pt x="60" y="27"/>
                  </a:lnTo>
                  <a:lnTo>
                    <a:pt x="58" y="27"/>
                  </a:lnTo>
                  <a:lnTo>
                    <a:pt x="57" y="23"/>
                  </a:lnTo>
                  <a:lnTo>
                    <a:pt x="55" y="23"/>
                  </a:lnTo>
                  <a:lnTo>
                    <a:pt x="52" y="21"/>
                  </a:lnTo>
                  <a:lnTo>
                    <a:pt x="50" y="20"/>
                  </a:lnTo>
                  <a:lnTo>
                    <a:pt x="48" y="20"/>
                  </a:lnTo>
                  <a:lnTo>
                    <a:pt x="47" y="20"/>
                  </a:lnTo>
                  <a:lnTo>
                    <a:pt x="47" y="19"/>
                  </a:lnTo>
                  <a:lnTo>
                    <a:pt x="44" y="14"/>
                  </a:lnTo>
                  <a:lnTo>
                    <a:pt x="42" y="13"/>
                  </a:lnTo>
                  <a:lnTo>
                    <a:pt x="42" y="13"/>
                  </a:lnTo>
                  <a:lnTo>
                    <a:pt x="38" y="16"/>
                  </a:lnTo>
                  <a:lnTo>
                    <a:pt x="38" y="16"/>
                  </a:lnTo>
                  <a:lnTo>
                    <a:pt x="35" y="16"/>
                  </a:lnTo>
                  <a:lnTo>
                    <a:pt x="34" y="8"/>
                  </a:lnTo>
                  <a:lnTo>
                    <a:pt x="23" y="1"/>
                  </a:lnTo>
                  <a:lnTo>
                    <a:pt x="22" y="0"/>
                  </a:lnTo>
                  <a:lnTo>
                    <a:pt x="21" y="0"/>
                  </a:lnTo>
                  <a:lnTo>
                    <a:pt x="19" y="1"/>
                  </a:lnTo>
                  <a:lnTo>
                    <a:pt x="19" y="3"/>
                  </a:lnTo>
                  <a:lnTo>
                    <a:pt x="16" y="3"/>
                  </a:lnTo>
                  <a:lnTo>
                    <a:pt x="12" y="3"/>
                  </a:lnTo>
                  <a:lnTo>
                    <a:pt x="12" y="4"/>
                  </a:lnTo>
                  <a:lnTo>
                    <a:pt x="9" y="7"/>
                  </a:lnTo>
                  <a:lnTo>
                    <a:pt x="7" y="26"/>
                  </a:lnTo>
                  <a:lnTo>
                    <a:pt x="6" y="32"/>
                  </a:lnTo>
                  <a:lnTo>
                    <a:pt x="5" y="48"/>
                  </a:lnTo>
                  <a:lnTo>
                    <a:pt x="5" y="49"/>
                  </a:lnTo>
                  <a:lnTo>
                    <a:pt x="3" y="52"/>
                  </a:lnTo>
                  <a:lnTo>
                    <a:pt x="0" y="6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91" name="Freeform 710"/>
            <p:cNvSpPr>
              <a:spLocks/>
            </p:cNvSpPr>
            <p:nvPr/>
          </p:nvSpPr>
          <p:spPr bwMode="auto">
            <a:xfrm>
              <a:off x="5355283" y="3740112"/>
              <a:ext cx="70224" cy="85187"/>
            </a:xfrm>
            <a:custGeom>
              <a:avLst/>
              <a:gdLst/>
              <a:ahLst/>
              <a:cxnLst>
                <a:cxn ang="0">
                  <a:pos x="0" y="65"/>
                </a:cxn>
                <a:cxn ang="0">
                  <a:pos x="0" y="65"/>
                </a:cxn>
                <a:cxn ang="0">
                  <a:pos x="3" y="65"/>
                </a:cxn>
                <a:cxn ang="0">
                  <a:pos x="7" y="71"/>
                </a:cxn>
                <a:cxn ang="0">
                  <a:pos x="7" y="72"/>
                </a:cxn>
                <a:cxn ang="0">
                  <a:pos x="18" y="74"/>
                </a:cxn>
                <a:cxn ang="0">
                  <a:pos x="32" y="81"/>
                </a:cxn>
                <a:cxn ang="0">
                  <a:pos x="42" y="80"/>
                </a:cxn>
                <a:cxn ang="0">
                  <a:pos x="51" y="81"/>
                </a:cxn>
                <a:cxn ang="0">
                  <a:pos x="58" y="78"/>
                </a:cxn>
                <a:cxn ang="0">
                  <a:pos x="66" y="72"/>
                </a:cxn>
                <a:cxn ang="0">
                  <a:pos x="66" y="71"/>
                </a:cxn>
                <a:cxn ang="0">
                  <a:pos x="70" y="65"/>
                </a:cxn>
                <a:cxn ang="0">
                  <a:pos x="71" y="62"/>
                </a:cxn>
                <a:cxn ang="0">
                  <a:pos x="73" y="61"/>
                </a:cxn>
                <a:cxn ang="0">
                  <a:pos x="71" y="61"/>
                </a:cxn>
                <a:cxn ang="0">
                  <a:pos x="71" y="59"/>
                </a:cxn>
                <a:cxn ang="0">
                  <a:pos x="71" y="52"/>
                </a:cxn>
                <a:cxn ang="0">
                  <a:pos x="73" y="48"/>
                </a:cxn>
                <a:cxn ang="0">
                  <a:pos x="74" y="48"/>
                </a:cxn>
                <a:cxn ang="0">
                  <a:pos x="74" y="46"/>
                </a:cxn>
                <a:cxn ang="0">
                  <a:pos x="76" y="45"/>
                </a:cxn>
                <a:cxn ang="0">
                  <a:pos x="76" y="45"/>
                </a:cxn>
                <a:cxn ang="0">
                  <a:pos x="76" y="42"/>
                </a:cxn>
                <a:cxn ang="0">
                  <a:pos x="70" y="39"/>
                </a:cxn>
                <a:cxn ang="0">
                  <a:pos x="68" y="33"/>
                </a:cxn>
                <a:cxn ang="0">
                  <a:pos x="67" y="32"/>
                </a:cxn>
                <a:cxn ang="0">
                  <a:pos x="63" y="29"/>
                </a:cxn>
                <a:cxn ang="0">
                  <a:pos x="63" y="29"/>
                </a:cxn>
                <a:cxn ang="0">
                  <a:pos x="60" y="27"/>
                </a:cxn>
                <a:cxn ang="0">
                  <a:pos x="58" y="27"/>
                </a:cxn>
                <a:cxn ang="0">
                  <a:pos x="57" y="23"/>
                </a:cxn>
                <a:cxn ang="0">
                  <a:pos x="55" y="23"/>
                </a:cxn>
                <a:cxn ang="0">
                  <a:pos x="52" y="21"/>
                </a:cxn>
                <a:cxn ang="0">
                  <a:pos x="50" y="20"/>
                </a:cxn>
                <a:cxn ang="0">
                  <a:pos x="48" y="20"/>
                </a:cxn>
                <a:cxn ang="0">
                  <a:pos x="47" y="20"/>
                </a:cxn>
                <a:cxn ang="0">
                  <a:pos x="47" y="19"/>
                </a:cxn>
                <a:cxn ang="0">
                  <a:pos x="44" y="14"/>
                </a:cxn>
                <a:cxn ang="0">
                  <a:pos x="42" y="13"/>
                </a:cxn>
                <a:cxn ang="0">
                  <a:pos x="42" y="13"/>
                </a:cxn>
                <a:cxn ang="0">
                  <a:pos x="38" y="16"/>
                </a:cxn>
                <a:cxn ang="0">
                  <a:pos x="38" y="16"/>
                </a:cxn>
                <a:cxn ang="0">
                  <a:pos x="35" y="16"/>
                </a:cxn>
                <a:cxn ang="0">
                  <a:pos x="34" y="8"/>
                </a:cxn>
                <a:cxn ang="0">
                  <a:pos x="23" y="1"/>
                </a:cxn>
                <a:cxn ang="0">
                  <a:pos x="22" y="0"/>
                </a:cxn>
                <a:cxn ang="0">
                  <a:pos x="21" y="0"/>
                </a:cxn>
                <a:cxn ang="0">
                  <a:pos x="19" y="1"/>
                </a:cxn>
                <a:cxn ang="0">
                  <a:pos x="19" y="3"/>
                </a:cxn>
                <a:cxn ang="0">
                  <a:pos x="16" y="3"/>
                </a:cxn>
                <a:cxn ang="0">
                  <a:pos x="12" y="3"/>
                </a:cxn>
                <a:cxn ang="0">
                  <a:pos x="12" y="4"/>
                </a:cxn>
                <a:cxn ang="0">
                  <a:pos x="9" y="7"/>
                </a:cxn>
                <a:cxn ang="0">
                  <a:pos x="7" y="26"/>
                </a:cxn>
                <a:cxn ang="0">
                  <a:pos x="6" y="32"/>
                </a:cxn>
                <a:cxn ang="0">
                  <a:pos x="5" y="48"/>
                </a:cxn>
                <a:cxn ang="0">
                  <a:pos x="5" y="49"/>
                </a:cxn>
                <a:cxn ang="0">
                  <a:pos x="3" y="52"/>
                </a:cxn>
                <a:cxn ang="0">
                  <a:pos x="0" y="65"/>
                </a:cxn>
              </a:cxnLst>
              <a:rect l="0" t="0" r="r" b="b"/>
              <a:pathLst>
                <a:path w="76" h="81">
                  <a:moveTo>
                    <a:pt x="0" y="65"/>
                  </a:moveTo>
                  <a:lnTo>
                    <a:pt x="0" y="65"/>
                  </a:lnTo>
                  <a:lnTo>
                    <a:pt x="3" y="65"/>
                  </a:lnTo>
                  <a:lnTo>
                    <a:pt x="7" y="71"/>
                  </a:lnTo>
                  <a:lnTo>
                    <a:pt x="7" y="72"/>
                  </a:lnTo>
                  <a:lnTo>
                    <a:pt x="18" y="74"/>
                  </a:lnTo>
                  <a:lnTo>
                    <a:pt x="32" y="81"/>
                  </a:lnTo>
                  <a:lnTo>
                    <a:pt x="42" y="80"/>
                  </a:lnTo>
                  <a:lnTo>
                    <a:pt x="51" y="81"/>
                  </a:lnTo>
                  <a:lnTo>
                    <a:pt x="58" y="78"/>
                  </a:lnTo>
                  <a:lnTo>
                    <a:pt x="66" y="72"/>
                  </a:lnTo>
                  <a:lnTo>
                    <a:pt x="66" y="71"/>
                  </a:lnTo>
                  <a:lnTo>
                    <a:pt x="70" y="65"/>
                  </a:lnTo>
                  <a:lnTo>
                    <a:pt x="71" y="62"/>
                  </a:lnTo>
                  <a:lnTo>
                    <a:pt x="73" y="61"/>
                  </a:lnTo>
                  <a:lnTo>
                    <a:pt x="71" y="61"/>
                  </a:lnTo>
                  <a:lnTo>
                    <a:pt x="71" y="59"/>
                  </a:lnTo>
                  <a:lnTo>
                    <a:pt x="71" y="52"/>
                  </a:lnTo>
                  <a:lnTo>
                    <a:pt x="73" y="48"/>
                  </a:lnTo>
                  <a:lnTo>
                    <a:pt x="74" y="48"/>
                  </a:lnTo>
                  <a:lnTo>
                    <a:pt x="74" y="46"/>
                  </a:lnTo>
                  <a:lnTo>
                    <a:pt x="76" y="45"/>
                  </a:lnTo>
                  <a:lnTo>
                    <a:pt x="76" y="45"/>
                  </a:lnTo>
                  <a:lnTo>
                    <a:pt x="76" y="42"/>
                  </a:lnTo>
                  <a:lnTo>
                    <a:pt x="70" y="39"/>
                  </a:lnTo>
                  <a:lnTo>
                    <a:pt x="68" y="33"/>
                  </a:lnTo>
                  <a:lnTo>
                    <a:pt x="67" y="32"/>
                  </a:lnTo>
                  <a:lnTo>
                    <a:pt x="63" y="29"/>
                  </a:lnTo>
                  <a:lnTo>
                    <a:pt x="63" y="29"/>
                  </a:lnTo>
                  <a:lnTo>
                    <a:pt x="60" y="27"/>
                  </a:lnTo>
                  <a:lnTo>
                    <a:pt x="58" y="27"/>
                  </a:lnTo>
                  <a:lnTo>
                    <a:pt x="57" y="23"/>
                  </a:lnTo>
                  <a:lnTo>
                    <a:pt x="55" y="23"/>
                  </a:lnTo>
                  <a:lnTo>
                    <a:pt x="52" y="21"/>
                  </a:lnTo>
                  <a:lnTo>
                    <a:pt x="50" y="20"/>
                  </a:lnTo>
                  <a:lnTo>
                    <a:pt x="48" y="20"/>
                  </a:lnTo>
                  <a:lnTo>
                    <a:pt x="47" y="20"/>
                  </a:lnTo>
                  <a:lnTo>
                    <a:pt x="47" y="19"/>
                  </a:lnTo>
                  <a:lnTo>
                    <a:pt x="44" y="14"/>
                  </a:lnTo>
                  <a:lnTo>
                    <a:pt x="42" y="13"/>
                  </a:lnTo>
                  <a:lnTo>
                    <a:pt x="42" y="13"/>
                  </a:lnTo>
                  <a:lnTo>
                    <a:pt x="38" y="16"/>
                  </a:lnTo>
                  <a:lnTo>
                    <a:pt x="38" y="16"/>
                  </a:lnTo>
                  <a:lnTo>
                    <a:pt x="35" y="16"/>
                  </a:lnTo>
                  <a:lnTo>
                    <a:pt x="34" y="8"/>
                  </a:lnTo>
                  <a:lnTo>
                    <a:pt x="23" y="1"/>
                  </a:lnTo>
                  <a:lnTo>
                    <a:pt x="22" y="0"/>
                  </a:lnTo>
                  <a:lnTo>
                    <a:pt x="21" y="0"/>
                  </a:lnTo>
                  <a:lnTo>
                    <a:pt x="19" y="1"/>
                  </a:lnTo>
                  <a:lnTo>
                    <a:pt x="19" y="3"/>
                  </a:lnTo>
                  <a:lnTo>
                    <a:pt x="16" y="3"/>
                  </a:lnTo>
                  <a:lnTo>
                    <a:pt x="12" y="3"/>
                  </a:lnTo>
                  <a:lnTo>
                    <a:pt x="12" y="4"/>
                  </a:lnTo>
                  <a:lnTo>
                    <a:pt x="9" y="7"/>
                  </a:lnTo>
                  <a:lnTo>
                    <a:pt x="7" y="26"/>
                  </a:lnTo>
                  <a:lnTo>
                    <a:pt x="6" y="32"/>
                  </a:lnTo>
                  <a:lnTo>
                    <a:pt x="5" y="48"/>
                  </a:lnTo>
                  <a:lnTo>
                    <a:pt x="5" y="49"/>
                  </a:lnTo>
                  <a:lnTo>
                    <a:pt x="3" y="52"/>
                  </a:lnTo>
                  <a:lnTo>
                    <a:pt x="0" y="6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92" name="Freeform 711"/>
            <p:cNvSpPr>
              <a:spLocks/>
            </p:cNvSpPr>
            <p:nvPr/>
          </p:nvSpPr>
          <p:spPr bwMode="auto">
            <a:xfrm>
              <a:off x="5320171" y="3150901"/>
              <a:ext cx="62324" cy="105469"/>
            </a:xfrm>
            <a:custGeom>
              <a:avLst/>
              <a:gdLst/>
              <a:ahLst/>
              <a:cxnLst>
                <a:cxn ang="0">
                  <a:pos x="22" y="2"/>
                </a:cxn>
                <a:cxn ang="0">
                  <a:pos x="25" y="2"/>
                </a:cxn>
                <a:cxn ang="0">
                  <a:pos x="39" y="15"/>
                </a:cxn>
                <a:cxn ang="0">
                  <a:pos x="48" y="24"/>
                </a:cxn>
                <a:cxn ang="0">
                  <a:pos x="55" y="29"/>
                </a:cxn>
                <a:cxn ang="0">
                  <a:pos x="60" y="37"/>
                </a:cxn>
                <a:cxn ang="0">
                  <a:pos x="57" y="43"/>
                </a:cxn>
                <a:cxn ang="0">
                  <a:pos x="57" y="44"/>
                </a:cxn>
                <a:cxn ang="0">
                  <a:pos x="57" y="45"/>
                </a:cxn>
                <a:cxn ang="0">
                  <a:pos x="55" y="48"/>
                </a:cxn>
                <a:cxn ang="0">
                  <a:pos x="48" y="50"/>
                </a:cxn>
                <a:cxn ang="0">
                  <a:pos x="48" y="51"/>
                </a:cxn>
                <a:cxn ang="0">
                  <a:pos x="45" y="60"/>
                </a:cxn>
                <a:cxn ang="0">
                  <a:pos x="49" y="67"/>
                </a:cxn>
                <a:cxn ang="0">
                  <a:pos x="52" y="69"/>
                </a:cxn>
                <a:cxn ang="0">
                  <a:pos x="52" y="72"/>
                </a:cxn>
                <a:cxn ang="0">
                  <a:pos x="57" y="72"/>
                </a:cxn>
                <a:cxn ang="0">
                  <a:pos x="57" y="74"/>
                </a:cxn>
                <a:cxn ang="0">
                  <a:pos x="58" y="79"/>
                </a:cxn>
                <a:cxn ang="0">
                  <a:pos x="68" y="90"/>
                </a:cxn>
                <a:cxn ang="0">
                  <a:pos x="62" y="92"/>
                </a:cxn>
                <a:cxn ang="0">
                  <a:pos x="61" y="92"/>
                </a:cxn>
                <a:cxn ang="0">
                  <a:pos x="58" y="90"/>
                </a:cxn>
                <a:cxn ang="0">
                  <a:pos x="54" y="95"/>
                </a:cxn>
                <a:cxn ang="0">
                  <a:pos x="46" y="98"/>
                </a:cxn>
                <a:cxn ang="0">
                  <a:pos x="41" y="98"/>
                </a:cxn>
                <a:cxn ang="0">
                  <a:pos x="38" y="101"/>
                </a:cxn>
                <a:cxn ang="0">
                  <a:pos x="28" y="98"/>
                </a:cxn>
                <a:cxn ang="0">
                  <a:pos x="25" y="95"/>
                </a:cxn>
                <a:cxn ang="0">
                  <a:pos x="23" y="93"/>
                </a:cxn>
                <a:cxn ang="0">
                  <a:pos x="20" y="85"/>
                </a:cxn>
                <a:cxn ang="0">
                  <a:pos x="20" y="76"/>
                </a:cxn>
                <a:cxn ang="0">
                  <a:pos x="22" y="67"/>
                </a:cxn>
                <a:cxn ang="0">
                  <a:pos x="25" y="63"/>
                </a:cxn>
                <a:cxn ang="0">
                  <a:pos x="23" y="60"/>
                </a:cxn>
                <a:cxn ang="0">
                  <a:pos x="20" y="56"/>
                </a:cxn>
                <a:cxn ang="0">
                  <a:pos x="17" y="54"/>
                </a:cxn>
                <a:cxn ang="0">
                  <a:pos x="19" y="47"/>
                </a:cxn>
                <a:cxn ang="0">
                  <a:pos x="15" y="45"/>
                </a:cxn>
                <a:cxn ang="0">
                  <a:pos x="9" y="45"/>
                </a:cxn>
                <a:cxn ang="0">
                  <a:pos x="9" y="45"/>
                </a:cxn>
                <a:cxn ang="0">
                  <a:pos x="0" y="34"/>
                </a:cxn>
                <a:cxn ang="0">
                  <a:pos x="0" y="32"/>
                </a:cxn>
                <a:cxn ang="0">
                  <a:pos x="3" y="25"/>
                </a:cxn>
                <a:cxn ang="0">
                  <a:pos x="10" y="21"/>
                </a:cxn>
                <a:cxn ang="0">
                  <a:pos x="10" y="18"/>
                </a:cxn>
                <a:cxn ang="0">
                  <a:pos x="9" y="18"/>
                </a:cxn>
                <a:cxn ang="0">
                  <a:pos x="6" y="12"/>
                </a:cxn>
                <a:cxn ang="0">
                  <a:pos x="7" y="11"/>
                </a:cxn>
                <a:cxn ang="0">
                  <a:pos x="10" y="9"/>
                </a:cxn>
                <a:cxn ang="0">
                  <a:pos x="16" y="6"/>
                </a:cxn>
                <a:cxn ang="0">
                  <a:pos x="19" y="5"/>
                </a:cxn>
                <a:cxn ang="0">
                  <a:pos x="20" y="3"/>
                </a:cxn>
              </a:cxnLst>
              <a:rect l="0" t="0" r="r" b="b"/>
              <a:pathLst>
                <a:path w="68" h="101">
                  <a:moveTo>
                    <a:pt x="20" y="2"/>
                  </a:moveTo>
                  <a:lnTo>
                    <a:pt x="22" y="2"/>
                  </a:lnTo>
                  <a:lnTo>
                    <a:pt x="23" y="0"/>
                  </a:lnTo>
                  <a:lnTo>
                    <a:pt x="25" y="2"/>
                  </a:lnTo>
                  <a:lnTo>
                    <a:pt x="36" y="12"/>
                  </a:lnTo>
                  <a:lnTo>
                    <a:pt x="39" y="15"/>
                  </a:lnTo>
                  <a:lnTo>
                    <a:pt x="39" y="22"/>
                  </a:lnTo>
                  <a:lnTo>
                    <a:pt x="48" y="24"/>
                  </a:lnTo>
                  <a:lnTo>
                    <a:pt x="51" y="27"/>
                  </a:lnTo>
                  <a:lnTo>
                    <a:pt x="55" y="29"/>
                  </a:lnTo>
                  <a:lnTo>
                    <a:pt x="58" y="32"/>
                  </a:lnTo>
                  <a:lnTo>
                    <a:pt x="60" y="37"/>
                  </a:lnTo>
                  <a:lnTo>
                    <a:pt x="60" y="37"/>
                  </a:lnTo>
                  <a:lnTo>
                    <a:pt x="57" y="43"/>
                  </a:lnTo>
                  <a:lnTo>
                    <a:pt x="55" y="43"/>
                  </a:lnTo>
                  <a:lnTo>
                    <a:pt x="57" y="44"/>
                  </a:lnTo>
                  <a:lnTo>
                    <a:pt x="57" y="44"/>
                  </a:lnTo>
                  <a:lnTo>
                    <a:pt x="57" y="45"/>
                  </a:lnTo>
                  <a:lnTo>
                    <a:pt x="55" y="47"/>
                  </a:lnTo>
                  <a:lnTo>
                    <a:pt x="55" y="48"/>
                  </a:lnTo>
                  <a:lnTo>
                    <a:pt x="51" y="48"/>
                  </a:lnTo>
                  <a:lnTo>
                    <a:pt x="48" y="50"/>
                  </a:lnTo>
                  <a:lnTo>
                    <a:pt x="48" y="50"/>
                  </a:lnTo>
                  <a:lnTo>
                    <a:pt x="48" y="51"/>
                  </a:lnTo>
                  <a:lnTo>
                    <a:pt x="46" y="56"/>
                  </a:lnTo>
                  <a:lnTo>
                    <a:pt x="45" y="60"/>
                  </a:lnTo>
                  <a:lnTo>
                    <a:pt x="45" y="61"/>
                  </a:lnTo>
                  <a:lnTo>
                    <a:pt x="49" y="67"/>
                  </a:lnTo>
                  <a:lnTo>
                    <a:pt x="49" y="67"/>
                  </a:lnTo>
                  <a:lnTo>
                    <a:pt x="52" y="69"/>
                  </a:lnTo>
                  <a:lnTo>
                    <a:pt x="52" y="70"/>
                  </a:lnTo>
                  <a:lnTo>
                    <a:pt x="52" y="72"/>
                  </a:lnTo>
                  <a:lnTo>
                    <a:pt x="54" y="72"/>
                  </a:lnTo>
                  <a:lnTo>
                    <a:pt x="57" y="72"/>
                  </a:lnTo>
                  <a:lnTo>
                    <a:pt x="57" y="73"/>
                  </a:lnTo>
                  <a:lnTo>
                    <a:pt x="57" y="74"/>
                  </a:lnTo>
                  <a:lnTo>
                    <a:pt x="58" y="76"/>
                  </a:lnTo>
                  <a:lnTo>
                    <a:pt x="58" y="79"/>
                  </a:lnTo>
                  <a:lnTo>
                    <a:pt x="68" y="90"/>
                  </a:lnTo>
                  <a:lnTo>
                    <a:pt x="68" y="90"/>
                  </a:lnTo>
                  <a:lnTo>
                    <a:pt x="68" y="92"/>
                  </a:lnTo>
                  <a:lnTo>
                    <a:pt x="62" y="92"/>
                  </a:lnTo>
                  <a:lnTo>
                    <a:pt x="61" y="92"/>
                  </a:lnTo>
                  <a:lnTo>
                    <a:pt x="61" y="92"/>
                  </a:lnTo>
                  <a:lnTo>
                    <a:pt x="60" y="90"/>
                  </a:lnTo>
                  <a:lnTo>
                    <a:pt x="58" y="90"/>
                  </a:lnTo>
                  <a:lnTo>
                    <a:pt x="55" y="92"/>
                  </a:lnTo>
                  <a:lnTo>
                    <a:pt x="54" y="95"/>
                  </a:lnTo>
                  <a:lnTo>
                    <a:pt x="49" y="95"/>
                  </a:lnTo>
                  <a:lnTo>
                    <a:pt x="46" y="98"/>
                  </a:lnTo>
                  <a:lnTo>
                    <a:pt x="44" y="98"/>
                  </a:lnTo>
                  <a:lnTo>
                    <a:pt x="41" y="98"/>
                  </a:lnTo>
                  <a:lnTo>
                    <a:pt x="39" y="101"/>
                  </a:lnTo>
                  <a:lnTo>
                    <a:pt x="38" y="101"/>
                  </a:lnTo>
                  <a:lnTo>
                    <a:pt x="35" y="101"/>
                  </a:lnTo>
                  <a:lnTo>
                    <a:pt x="28" y="98"/>
                  </a:lnTo>
                  <a:lnTo>
                    <a:pt x="25" y="95"/>
                  </a:lnTo>
                  <a:lnTo>
                    <a:pt x="25" y="95"/>
                  </a:lnTo>
                  <a:lnTo>
                    <a:pt x="23" y="93"/>
                  </a:lnTo>
                  <a:lnTo>
                    <a:pt x="23" y="93"/>
                  </a:lnTo>
                  <a:lnTo>
                    <a:pt x="23" y="88"/>
                  </a:lnTo>
                  <a:lnTo>
                    <a:pt x="20" y="85"/>
                  </a:lnTo>
                  <a:lnTo>
                    <a:pt x="20" y="83"/>
                  </a:lnTo>
                  <a:lnTo>
                    <a:pt x="20" y="76"/>
                  </a:lnTo>
                  <a:lnTo>
                    <a:pt x="22" y="70"/>
                  </a:lnTo>
                  <a:lnTo>
                    <a:pt x="22" y="67"/>
                  </a:lnTo>
                  <a:lnTo>
                    <a:pt x="25" y="64"/>
                  </a:lnTo>
                  <a:lnTo>
                    <a:pt x="25" y="63"/>
                  </a:lnTo>
                  <a:lnTo>
                    <a:pt x="25" y="61"/>
                  </a:lnTo>
                  <a:lnTo>
                    <a:pt x="23" y="60"/>
                  </a:lnTo>
                  <a:lnTo>
                    <a:pt x="23" y="56"/>
                  </a:lnTo>
                  <a:lnTo>
                    <a:pt x="20" y="56"/>
                  </a:lnTo>
                  <a:lnTo>
                    <a:pt x="20" y="56"/>
                  </a:lnTo>
                  <a:lnTo>
                    <a:pt x="17" y="54"/>
                  </a:lnTo>
                  <a:lnTo>
                    <a:pt x="19" y="50"/>
                  </a:lnTo>
                  <a:lnTo>
                    <a:pt x="19" y="47"/>
                  </a:lnTo>
                  <a:lnTo>
                    <a:pt x="17" y="45"/>
                  </a:lnTo>
                  <a:lnTo>
                    <a:pt x="15" y="45"/>
                  </a:lnTo>
                  <a:lnTo>
                    <a:pt x="12" y="47"/>
                  </a:lnTo>
                  <a:lnTo>
                    <a:pt x="9" y="45"/>
                  </a:lnTo>
                  <a:lnTo>
                    <a:pt x="9" y="45"/>
                  </a:lnTo>
                  <a:lnTo>
                    <a:pt x="9" y="45"/>
                  </a:lnTo>
                  <a:lnTo>
                    <a:pt x="0" y="34"/>
                  </a:lnTo>
                  <a:lnTo>
                    <a:pt x="0" y="34"/>
                  </a:lnTo>
                  <a:lnTo>
                    <a:pt x="0" y="32"/>
                  </a:lnTo>
                  <a:lnTo>
                    <a:pt x="0" y="32"/>
                  </a:lnTo>
                  <a:lnTo>
                    <a:pt x="3" y="28"/>
                  </a:lnTo>
                  <a:lnTo>
                    <a:pt x="3" y="25"/>
                  </a:lnTo>
                  <a:lnTo>
                    <a:pt x="3" y="24"/>
                  </a:lnTo>
                  <a:lnTo>
                    <a:pt x="10" y="21"/>
                  </a:lnTo>
                  <a:lnTo>
                    <a:pt x="12" y="19"/>
                  </a:lnTo>
                  <a:lnTo>
                    <a:pt x="10" y="18"/>
                  </a:lnTo>
                  <a:lnTo>
                    <a:pt x="10" y="18"/>
                  </a:lnTo>
                  <a:lnTo>
                    <a:pt x="9" y="18"/>
                  </a:lnTo>
                  <a:lnTo>
                    <a:pt x="7" y="18"/>
                  </a:lnTo>
                  <a:lnTo>
                    <a:pt x="6" y="12"/>
                  </a:lnTo>
                  <a:lnTo>
                    <a:pt x="7" y="11"/>
                  </a:lnTo>
                  <a:lnTo>
                    <a:pt x="7" y="11"/>
                  </a:lnTo>
                  <a:lnTo>
                    <a:pt x="10" y="9"/>
                  </a:lnTo>
                  <a:lnTo>
                    <a:pt x="10" y="9"/>
                  </a:lnTo>
                  <a:lnTo>
                    <a:pt x="12" y="8"/>
                  </a:lnTo>
                  <a:lnTo>
                    <a:pt x="16" y="6"/>
                  </a:lnTo>
                  <a:lnTo>
                    <a:pt x="17" y="5"/>
                  </a:lnTo>
                  <a:lnTo>
                    <a:pt x="19" y="5"/>
                  </a:lnTo>
                  <a:lnTo>
                    <a:pt x="20" y="5"/>
                  </a:lnTo>
                  <a:lnTo>
                    <a:pt x="20" y="3"/>
                  </a:lnTo>
                  <a:lnTo>
                    <a:pt x="20"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93" name="Freeform 712"/>
            <p:cNvSpPr>
              <a:spLocks/>
            </p:cNvSpPr>
            <p:nvPr/>
          </p:nvSpPr>
          <p:spPr bwMode="auto">
            <a:xfrm>
              <a:off x="5320171" y="3150901"/>
              <a:ext cx="62324" cy="105469"/>
            </a:xfrm>
            <a:custGeom>
              <a:avLst/>
              <a:gdLst/>
              <a:ahLst/>
              <a:cxnLst>
                <a:cxn ang="0">
                  <a:pos x="22" y="2"/>
                </a:cxn>
                <a:cxn ang="0">
                  <a:pos x="25" y="2"/>
                </a:cxn>
                <a:cxn ang="0">
                  <a:pos x="39" y="15"/>
                </a:cxn>
                <a:cxn ang="0">
                  <a:pos x="48" y="24"/>
                </a:cxn>
                <a:cxn ang="0">
                  <a:pos x="55" y="29"/>
                </a:cxn>
                <a:cxn ang="0">
                  <a:pos x="60" y="37"/>
                </a:cxn>
                <a:cxn ang="0">
                  <a:pos x="57" y="43"/>
                </a:cxn>
                <a:cxn ang="0">
                  <a:pos x="57" y="44"/>
                </a:cxn>
                <a:cxn ang="0">
                  <a:pos x="57" y="45"/>
                </a:cxn>
                <a:cxn ang="0">
                  <a:pos x="55" y="48"/>
                </a:cxn>
                <a:cxn ang="0">
                  <a:pos x="48" y="50"/>
                </a:cxn>
                <a:cxn ang="0">
                  <a:pos x="48" y="51"/>
                </a:cxn>
                <a:cxn ang="0">
                  <a:pos x="45" y="60"/>
                </a:cxn>
                <a:cxn ang="0">
                  <a:pos x="49" y="67"/>
                </a:cxn>
                <a:cxn ang="0">
                  <a:pos x="52" y="69"/>
                </a:cxn>
                <a:cxn ang="0">
                  <a:pos x="52" y="72"/>
                </a:cxn>
                <a:cxn ang="0">
                  <a:pos x="57" y="72"/>
                </a:cxn>
                <a:cxn ang="0">
                  <a:pos x="57" y="74"/>
                </a:cxn>
                <a:cxn ang="0">
                  <a:pos x="58" y="79"/>
                </a:cxn>
                <a:cxn ang="0">
                  <a:pos x="68" y="90"/>
                </a:cxn>
                <a:cxn ang="0">
                  <a:pos x="62" y="92"/>
                </a:cxn>
                <a:cxn ang="0">
                  <a:pos x="61" y="92"/>
                </a:cxn>
                <a:cxn ang="0">
                  <a:pos x="58" y="90"/>
                </a:cxn>
                <a:cxn ang="0">
                  <a:pos x="54" y="95"/>
                </a:cxn>
                <a:cxn ang="0">
                  <a:pos x="46" y="98"/>
                </a:cxn>
                <a:cxn ang="0">
                  <a:pos x="41" y="98"/>
                </a:cxn>
                <a:cxn ang="0">
                  <a:pos x="38" y="101"/>
                </a:cxn>
                <a:cxn ang="0">
                  <a:pos x="28" y="98"/>
                </a:cxn>
                <a:cxn ang="0">
                  <a:pos x="25" y="95"/>
                </a:cxn>
                <a:cxn ang="0">
                  <a:pos x="23" y="93"/>
                </a:cxn>
                <a:cxn ang="0">
                  <a:pos x="20" y="85"/>
                </a:cxn>
                <a:cxn ang="0">
                  <a:pos x="20" y="76"/>
                </a:cxn>
                <a:cxn ang="0">
                  <a:pos x="22" y="67"/>
                </a:cxn>
                <a:cxn ang="0">
                  <a:pos x="25" y="63"/>
                </a:cxn>
                <a:cxn ang="0">
                  <a:pos x="23" y="60"/>
                </a:cxn>
                <a:cxn ang="0">
                  <a:pos x="20" y="56"/>
                </a:cxn>
                <a:cxn ang="0">
                  <a:pos x="17" y="54"/>
                </a:cxn>
                <a:cxn ang="0">
                  <a:pos x="19" y="47"/>
                </a:cxn>
                <a:cxn ang="0">
                  <a:pos x="15" y="45"/>
                </a:cxn>
                <a:cxn ang="0">
                  <a:pos x="9" y="45"/>
                </a:cxn>
                <a:cxn ang="0">
                  <a:pos x="9" y="45"/>
                </a:cxn>
                <a:cxn ang="0">
                  <a:pos x="0" y="34"/>
                </a:cxn>
                <a:cxn ang="0">
                  <a:pos x="0" y="32"/>
                </a:cxn>
                <a:cxn ang="0">
                  <a:pos x="3" y="25"/>
                </a:cxn>
                <a:cxn ang="0">
                  <a:pos x="10" y="21"/>
                </a:cxn>
                <a:cxn ang="0">
                  <a:pos x="10" y="18"/>
                </a:cxn>
                <a:cxn ang="0">
                  <a:pos x="9" y="18"/>
                </a:cxn>
                <a:cxn ang="0">
                  <a:pos x="6" y="12"/>
                </a:cxn>
                <a:cxn ang="0">
                  <a:pos x="7" y="11"/>
                </a:cxn>
                <a:cxn ang="0">
                  <a:pos x="10" y="9"/>
                </a:cxn>
                <a:cxn ang="0">
                  <a:pos x="16" y="6"/>
                </a:cxn>
                <a:cxn ang="0">
                  <a:pos x="19" y="5"/>
                </a:cxn>
                <a:cxn ang="0">
                  <a:pos x="20" y="3"/>
                </a:cxn>
              </a:cxnLst>
              <a:rect l="0" t="0" r="r" b="b"/>
              <a:pathLst>
                <a:path w="68" h="101">
                  <a:moveTo>
                    <a:pt x="20" y="2"/>
                  </a:moveTo>
                  <a:lnTo>
                    <a:pt x="22" y="2"/>
                  </a:lnTo>
                  <a:lnTo>
                    <a:pt x="23" y="0"/>
                  </a:lnTo>
                  <a:lnTo>
                    <a:pt x="25" y="2"/>
                  </a:lnTo>
                  <a:lnTo>
                    <a:pt x="36" y="12"/>
                  </a:lnTo>
                  <a:lnTo>
                    <a:pt x="39" y="15"/>
                  </a:lnTo>
                  <a:lnTo>
                    <a:pt x="39" y="22"/>
                  </a:lnTo>
                  <a:lnTo>
                    <a:pt x="48" y="24"/>
                  </a:lnTo>
                  <a:lnTo>
                    <a:pt x="51" y="27"/>
                  </a:lnTo>
                  <a:lnTo>
                    <a:pt x="55" y="29"/>
                  </a:lnTo>
                  <a:lnTo>
                    <a:pt x="58" y="32"/>
                  </a:lnTo>
                  <a:lnTo>
                    <a:pt x="60" y="37"/>
                  </a:lnTo>
                  <a:lnTo>
                    <a:pt x="60" y="37"/>
                  </a:lnTo>
                  <a:lnTo>
                    <a:pt x="57" y="43"/>
                  </a:lnTo>
                  <a:lnTo>
                    <a:pt x="55" y="43"/>
                  </a:lnTo>
                  <a:lnTo>
                    <a:pt x="57" y="44"/>
                  </a:lnTo>
                  <a:lnTo>
                    <a:pt x="57" y="44"/>
                  </a:lnTo>
                  <a:lnTo>
                    <a:pt x="57" y="45"/>
                  </a:lnTo>
                  <a:lnTo>
                    <a:pt x="55" y="47"/>
                  </a:lnTo>
                  <a:lnTo>
                    <a:pt x="55" y="48"/>
                  </a:lnTo>
                  <a:lnTo>
                    <a:pt x="51" y="48"/>
                  </a:lnTo>
                  <a:lnTo>
                    <a:pt x="48" y="50"/>
                  </a:lnTo>
                  <a:lnTo>
                    <a:pt x="48" y="50"/>
                  </a:lnTo>
                  <a:lnTo>
                    <a:pt x="48" y="51"/>
                  </a:lnTo>
                  <a:lnTo>
                    <a:pt x="46" y="56"/>
                  </a:lnTo>
                  <a:lnTo>
                    <a:pt x="45" y="60"/>
                  </a:lnTo>
                  <a:lnTo>
                    <a:pt x="45" y="61"/>
                  </a:lnTo>
                  <a:lnTo>
                    <a:pt x="49" y="67"/>
                  </a:lnTo>
                  <a:lnTo>
                    <a:pt x="49" y="67"/>
                  </a:lnTo>
                  <a:lnTo>
                    <a:pt x="52" y="69"/>
                  </a:lnTo>
                  <a:lnTo>
                    <a:pt x="52" y="70"/>
                  </a:lnTo>
                  <a:lnTo>
                    <a:pt x="52" y="72"/>
                  </a:lnTo>
                  <a:lnTo>
                    <a:pt x="54" y="72"/>
                  </a:lnTo>
                  <a:lnTo>
                    <a:pt x="57" y="72"/>
                  </a:lnTo>
                  <a:lnTo>
                    <a:pt x="57" y="73"/>
                  </a:lnTo>
                  <a:lnTo>
                    <a:pt x="57" y="74"/>
                  </a:lnTo>
                  <a:lnTo>
                    <a:pt x="58" y="76"/>
                  </a:lnTo>
                  <a:lnTo>
                    <a:pt x="58" y="79"/>
                  </a:lnTo>
                  <a:lnTo>
                    <a:pt x="68" y="90"/>
                  </a:lnTo>
                  <a:lnTo>
                    <a:pt x="68" y="90"/>
                  </a:lnTo>
                  <a:lnTo>
                    <a:pt x="68" y="92"/>
                  </a:lnTo>
                  <a:lnTo>
                    <a:pt x="62" y="92"/>
                  </a:lnTo>
                  <a:lnTo>
                    <a:pt x="61" y="92"/>
                  </a:lnTo>
                  <a:lnTo>
                    <a:pt x="61" y="92"/>
                  </a:lnTo>
                  <a:lnTo>
                    <a:pt x="60" y="90"/>
                  </a:lnTo>
                  <a:lnTo>
                    <a:pt x="58" y="90"/>
                  </a:lnTo>
                  <a:lnTo>
                    <a:pt x="55" y="92"/>
                  </a:lnTo>
                  <a:lnTo>
                    <a:pt x="54" y="95"/>
                  </a:lnTo>
                  <a:lnTo>
                    <a:pt x="49" y="95"/>
                  </a:lnTo>
                  <a:lnTo>
                    <a:pt x="46" y="98"/>
                  </a:lnTo>
                  <a:lnTo>
                    <a:pt x="44" y="98"/>
                  </a:lnTo>
                  <a:lnTo>
                    <a:pt x="41" y="98"/>
                  </a:lnTo>
                  <a:lnTo>
                    <a:pt x="39" y="101"/>
                  </a:lnTo>
                  <a:lnTo>
                    <a:pt x="38" y="101"/>
                  </a:lnTo>
                  <a:lnTo>
                    <a:pt x="35" y="101"/>
                  </a:lnTo>
                  <a:lnTo>
                    <a:pt x="28" y="98"/>
                  </a:lnTo>
                  <a:lnTo>
                    <a:pt x="25" y="95"/>
                  </a:lnTo>
                  <a:lnTo>
                    <a:pt x="25" y="95"/>
                  </a:lnTo>
                  <a:lnTo>
                    <a:pt x="23" y="93"/>
                  </a:lnTo>
                  <a:lnTo>
                    <a:pt x="23" y="93"/>
                  </a:lnTo>
                  <a:lnTo>
                    <a:pt x="23" y="88"/>
                  </a:lnTo>
                  <a:lnTo>
                    <a:pt x="20" y="85"/>
                  </a:lnTo>
                  <a:lnTo>
                    <a:pt x="20" y="83"/>
                  </a:lnTo>
                  <a:lnTo>
                    <a:pt x="20" y="76"/>
                  </a:lnTo>
                  <a:lnTo>
                    <a:pt x="22" y="70"/>
                  </a:lnTo>
                  <a:lnTo>
                    <a:pt x="22" y="67"/>
                  </a:lnTo>
                  <a:lnTo>
                    <a:pt x="25" y="64"/>
                  </a:lnTo>
                  <a:lnTo>
                    <a:pt x="25" y="63"/>
                  </a:lnTo>
                  <a:lnTo>
                    <a:pt x="25" y="61"/>
                  </a:lnTo>
                  <a:lnTo>
                    <a:pt x="23" y="60"/>
                  </a:lnTo>
                  <a:lnTo>
                    <a:pt x="23" y="56"/>
                  </a:lnTo>
                  <a:lnTo>
                    <a:pt x="20" y="56"/>
                  </a:lnTo>
                  <a:lnTo>
                    <a:pt x="20" y="56"/>
                  </a:lnTo>
                  <a:lnTo>
                    <a:pt x="17" y="54"/>
                  </a:lnTo>
                  <a:lnTo>
                    <a:pt x="19" y="50"/>
                  </a:lnTo>
                  <a:lnTo>
                    <a:pt x="19" y="47"/>
                  </a:lnTo>
                  <a:lnTo>
                    <a:pt x="17" y="45"/>
                  </a:lnTo>
                  <a:lnTo>
                    <a:pt x="15" y="45"/>
                  </a:lnTo>
                  <a:lnTo>
                    <a:pt x="12" y="47"/>
                  </a:lnTo>
                  <a:lnTo>
                    <a:pt x="9" y="45"/>
                  </a:lnTo>
                  <a:lnTo>
                    <a:pt x="9" y="45"/>
                  </a:lnTo>
                  <a:lnTo>
                    <a:pt x="9" y="45"/>
                  </a:lnTo>
                  <a:lnTo>
                    <a:pt x="0" y="34"/>
                  </a:lnTo>
                  <a:lnTo>
                    <a:pt x="0" y="34"/>
                  </a:lnTo>
                  <a:lnTo>
                    <a:pt x="0" y="32"/>
                  </a:lnTo>
                  <a:lnTo>
                    <a:pt x="0" y="32"/>
                  </a:lnTo>
                  <a:lnTo>
                    <a:pt x="3" y="28"/>
                  </a:lnTo>
                  <a:lnTo>
                    <a:pt x="3" y="25"/>
                  </a:lnTo>
                  <a:lnTo>
                    <a:pt x="3" y="24"/>
                  </a:lnTo>
                  <a:lnTo>
                    <a:pt x="10" y="21"/>
                  </a:lnTo>
                  <a:lnTo>
                    <a:pt x="12" y="19"/>
                  </a:lnTo>
                  <a:lnTo>
                    <a:pt x="10" y="18"/>
                  </a:lnTo>
                  <a:lnTo>
                    <a:pt x="10" y="18"/>
                  </a:lnTo>
                  <a:lnTo>
                    <a:pt x="9" y="18"/>
                  </a:lnTo>
                  <a:lnTo>
                    <a:pt x="7" y="18"/>
                  </a:lnTo>
                  <a:lnTo>
                    <a:pt x="6" y="12"/>
                  </a:lnTo>
                  <a:lnTo>
                    <a:pt x="7" y="11"/>
                  </a:lnTo>
                  <a:lnTo>
                    <a:pt x="7" y="11"/>
                  </a:lnTo>
                  <a:lnTo>
                    <a:pt x="10" y="9"/>
                  </a:lnTo>
                  <a:lnTo>
                    <a:pt x="10" y="9"/>
                  </a:lnTo>
                  <a:lnTo>
                    <a:pt x="12" y="8"/>
                  </a:lnTo>
                  <a:lnTo>
                    <a:pt x="16" y="6"/>
                  </a:lnTo>
                  <a:lnTo>
                    <a:pt x="17" y="5"/>
                  </a:lnTo>
                  <a:lnTo>
                    <a:pt x="19" y="5"/>
                  </a:lnTo>
                  <a:lnTo>
                    <a:pt x="20" y="5"/>
                  </a:lnTo>
                  <a:lnTo>
                    <a:pt x="20" y="3"/>
                  </a:lnTo>
                  <a:lnTo>
                    <a:pt x="20"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94" name="Freeform 713"/>
            <p:cNvSpPr>
              <a:spLocks/>
            </p:cNvSpPr>
            <p:nvPr/>
          </p:nvSpPr>
          <p:spPr bwMode="auto">
            <a:xfrm>
              <a:off x="5408829" y="3192480"/>
              <a:ext cx="37745" cy="54763"/>
            </a:xfrm>
            <a:custGeom>
              <a:avLst/>
              <a:gdLst/>
              <a:ahLst/>
              <a:cxnLst>
                <a:cxn ang="0">
                  <a:pos x="0" y="46"/>
                </a:cxn>
                <a:cxn ang="0">
                  <a:pos x="5" y="43"/>
                </a:cxn>
                <a:cxn ang="0">
                  <a:pos x="8" y="27"/>
                </a:cxn>
                <a:cxn ang="0">
                  <a:pos x="6" y="26"/>
                </a:cxn>
                <a:cxn ang="0">
                  <a:pos x="5" y="26"/>
                </a:cxn>
                <a:cxn ang="0">
                  <a:pos x="5" y="26"/>
                </a:cxn>
                <a:cxn ang="0">
                  <a:pos x="2" y="18"/>
                </a:cxn>
                <a:cxn ang="0">
                  <a:pos x="2" y="8"/>
                </a:cxn>
                <a:cxn ang="0">
                  <a:pos x="3" y="5"/>
                </a:cxn>
                <a:cxn ang="0">
                  <a:pos x="6" y="3"/>
                </a:cxn>
                <a:cxn ang="0">
                  <a:pos x="6" y="3"/>
                </a:cxn>
                <a:cxn ang="0">
                  <a:pos x="6" y="1"/>
                </a:cxn>
                <a:cxn ang="0">
                  <a:pos x="8" y="1"/>
                </a:cxn>
                <a:cxn ang="0">
                  <a:pos x="9" y="0"/>
                </a:cxn>
                <a:cxn ang="0">
                  <a:pos x="10" y="0"/>
                </a:cxn>
                <a:cxn ang="0">
                  <a:pos x="21" y="4"/>
                </a:cxn>
                <a:cxn ang="0">
                  <a:pos x="22" y="5"/>
                </a:cxn>
                <a:cxn ang="0">
                  <a:pos x="41" y="18"/>
                </a:cxn>
                <a:cxn ang="0">
                  <a:pos x="41" y="21"/>
                </a:cxn>
                <a:cxn ang="0">
                  <a:pos x="41" y="21"/>
                </a:cxn>
                <a:cxn ang="0">
                  <a:pos x="31" y="36"/>
                </a:cxn>
                <a:cxn ang="0">
                  <a:pos x="28" y="42"/>
                </a:cxn>
                <a:cxn ang="0">
                  <a:pos x="21" y="49"/>
                </a:cxn>
                <a:cxn ang="0">
                  <a:pos x="19" y="50"/>
                </a:cxn>
                <a:cxn ang="0">
                  <a:pos x="16" y="50"/>
                </a:cxn>
                <a:cxn ang="0">
                  <a:pos x="15" y="49"/>
                </a:cxn>
                <a:cxn ang="0">
                  <a:pos x="12" y="49"/>
                </a:cxn>
                <a:cxn ang="0">
                  <a:pos x="8" y="52"/>
                </a:cxn>
                <a:cxn ang="0">
                  <a:pos x="6" y="50"/>
                </a:cxn>
                <a:cxn ang="0">
                  <a:pos x="3" y="49"/>
                </a:cxn>
                <a:cxn ang="0">
                  <a:pos x="0" y="46"/>
                </a:cxn>
              </a:cxnLst>
              <a:rect l="0" t="0" r="r" b="b"/>
              <a:pathLst>
                <a:path w="41" h="52">
                  <a:moveTo>
                    <a:pt x="0" y="46"/>
                  </a:moveTo>
                  <a:lnTo>
                    <a:pt x="5" y="43"/>
                  </a:lnTo>
                  <a:lnTo>
                    <a:pt x="8" y="27"/>
                  </a:lnTo>
                  <a:lnTo>
                    <a:pt x="6" y="26"/>
                  </a:lnTo>
                  <a:lnTo>
                    <a:pt x="5" y="26"/>
                  </a:lnTo>
                  <a:lnTo>
                    <a:pt x="5" y="26"/>
                  </a:lnTo>
                  <a:lnTo>
                    <a:pt x="2" y="18"/>
                  </a:lnTo>
                  <a:lnTo>
                    <a:pt x="2" y="8"/>
                  </a:lnTo>
                  <a:lnTo>
                    <a:pt x="3" y="5"/>
                  </a:lnTo>
                  <a:lnTo>
                    <a:pt x="6" y="3"/>
                  </a:lnTo>
                  <a:lnTo>
                    <a:pt x="6" y="3"/>
                  </a:lnTo>
                  <a:lnTo>
                    <a:pt x="6" y="1"/>
                  </a:lnTo>
                  <a:lnTo>
                    <a:pt x="8" y="1"/>
                  </a:lnTo>
                  <a:lnTo>
                    <a:pt x="9" y="0"/>
                  </a:lnTo>
                  <a:lnTo>
                    <a:pt x="10" y="0"/>
                  </a:lnTo>
                  <a:lnTo>
                    <a:pt x="21" y="4"/>
                  </a:lnTo>
                  <a:lnTo>
                    <a:pt x="22" y="5"/>
                  </a:lnTo>
                  <a:lnTo>
                    <a:pt x="41" y="18"/>
                  </a:lnTo>
                  <a:lnTo>
                    <a:pt x="41" y="21"/>
                  </a:lnTo>
                  <a:lnTo>
                    <a:pt x="41" y="21"/>
                  </a:lnTo>
                  <a:lnTo>
                    <a:pt x="31" y="36"/>
                  </a:lnTo>
                  <a:lnTo>
                    <a:pt x="28" y="42"/>
                  </a:lnTo>
                  <a:lnTo>
                    <a:pt x="21" y="49"/>
                  </a:lnTo>
                  <a:lnTo>
                    <a:pt x="19" y="50"/>
                  </a:lnTo>
                  <a:lnTo>
                    <a:pt x="16" y="50"/>
                  </a:lnTo>
                  <a:lnTo>
                    <a:pt x="15" y="49"/>
                  </a:lnTo>
                  <a:lnTo>
                    <a:pt x="12" y="49"/>
                  </a:lnTo>
                  <a:lnTo>
                    <a:pt x="8" y="52"/>
                  </a:lnTo>
                  <a:lnTo>
                    <a:pt x="6" y="50"/>
                  </a:lnTo>
                  <a:lnTo>
                    <a:pt x="3" y="49"/>
                  </a:lnTo>
                  <a:lnTo>
                    <a:pt x="0" y="4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95" name="Freeform 714"/>
            <p:cNvSpPr>
              <a:spLocks/>
            </p:cNvSpPr>
            <p:nvPr/>
          </p:nvSpPr>
          <p:spPr bwMode="auto">
            <a:xfrm>
              <a:off x="5408829" y="3192480"/>
              <a:ext cx="37745" cy="54763"/>
            </a:xfrm>
            <a:custGeom>
              <a:avLst/>
              <a:gdLst/>
              <a:ahLst/>
              <a:cxnLst>
                <a:cxn ang="0">
                  <a:pos x="0" y="46"/>
                </a:cxn>
                <a:cxn ang="0">
                  <a:pos x="5" y="43"/>
                </a:cxn>
                <a:cxn ang="0">
                  <a:pos x="8" y="27"/>
                </a:cxn>
                <a:cxn ang="0">
                  <a:pos x="6" y="26"/>
                </a:cxn>
                <a:cxn ang="0">
                  <a:pos x="5" y="26"/>
                </a:cxn>
                <a:cxn ang="0">
                  <a:pos x="5" y="26"/>
                </a:cxn>
                <a:cxn ang="0">
                  <a:pos x="2" y="18"/>
                </a:cxn>
                <a:cxn ang="0">
                  <a:pos x="2" y="8"/>
                </a:cxn>
                <a:cxn ang="0">
                  <a:pos x="3" y="5"/>
                </a:cxn>
                <a:cxn ang="0">
                  <a:pos x="6" y="3"/>
                </a:cxn>
                <a:cxn ang="0">
                  <a:pos x="6" y="3"/>
                </a:cxn>
                <a:cxn ang="0">
                  <a:pos x="6" y="1"/>
                </a:cxn>
                <a:cxn ang="0">
                  <a:pos x="8" y="1"/>
                </a:cxn>
                <a:cxn ang="0">
                  <a:pos x="9" y="0"/>
                </a:cxn>
                <a:cxn ang="0">
                  <a:pos x="10" y="0"/>
                </a:cxn>
                <a:cxn ang="0">
                  <a:pos x="21" y="4"/>
                </a:cxn>
                <a:cxn ang="0">
                  <a:pos x="22" y="5"/>
                </a:cxn>
                <a:cxn ang="0">
                  <a:pos x="41" y="18"/>
                </a:cxn>
                <a:cxn ang="0">
                  <a:pos x="41" y="21"/>
                </a:cxn>
                <a:cxn ang="0">
                  <a:pos x="41" y="21"/>
                </a:cxn>
                <a:cxn ang="0">
                  <a:pos x="31" y="36"/>
                </a:cxn>
                <a:cxn ang="0">
                  <a:pos x="28" y="42"/>
                </a:cxn>
                <a:cxn ang="0">
                  <a:pos x="21" y="49"/>
                </a:cxn>
                <a:cxn ang="0">
                  <a:pos x="19" y="50"/>
                </a:cxn>
                <a:cxn ang="0">
                  <a:pos x="16" y="50"/>
                </a:cxn>
                <a:cxn ang="0">
                  <a:pos x="15" y="49"/>
                </a:cxn>
                <a:cxn ang="0">
                  <a:pos x="12" y="49"/>
                </a:cxn>
                <a:cxn ang="0">
                  <a:pos x="8" y="52"/>
                </a:cxn>
                <a:cxn ang="0">
                  <a:pos x="6" y="50"/>
                </a:cxn>
                <a:cxn ang="0">
                  <a:pos x="3" y="49"/>
                </a:cxn>
                <a:cxn ang="0">
                  <a:pos x="0" y="46"/>
                </a:cxn>
              </a:cxnLst>
              <a:rect l="0" t="0" r="r" b="b"/>
              <a:pathLst>
                <a:path w="41" h="52">
                  <a:moveTo>
                    <a:pt x="0" y="46"/>
                  </a:moveTo>
                  <a:lnTo>
                    <a:pt x="5" y="43"/>
                  </a:lnTo>
                  <a:lnTo>
                    <a:pt x="8" y="27"/>
                  </a:lnTo>
                  <a:lnTo>
                    <a:pt x="6" y="26"/>
                  </a:lnTo>
                  <a:lnTo>
                    <a:pt x="5" y="26"/>
                  </a:lnTo>
                  <a:lnTo>
                    <a:pt x="5" y="26"/>
                  </a:lnTo>
                  <a:lnTo>
                    <a:pt x="2" y="18"/>
                  </a:lnTo>
                  <a:lnTo>
                    <a:pt x="2" y="8"/>
                  </a:lnTo>
                  <a:lnTo>
                    <a:pt x="3" y="5"/>
                  </a:lnTo>
                  <a:lnTo>
                    <a:pt x="6" y="3"/>
                  </a:lnTo>
                  <a:lnTo>
                    <a:pt x="6" y="3"/>
                  </a:lnTo>
                  <a:lnTo>
                    <a:pt x="6" y="1"/>
                  </a:lnTo>
                  <a:lnTo>
                    <a:pt x="8" y="1"/>
                  </a:lnTo>
                  <a:lnTo>
                    <a:pt x="9" y="0"/>
                  </a:lnTo>
                  <a:lnTo>
                    <a:pt x="10" y="0"/>
                  </a:lnTo>
                  <a:lnTo>
                    <a:pt x="21" y="4"/>
                  </a:lnTo>
                  <a:lnTo>
                    <a:pt x="22" y="5"/>
                  </a:lnTo>
                  <a:lnTo>
                    <a:pt x="41" y="18"/>
                  </a:lnTo>
                  <a:lnTo>
                    <a:pt x="41" y="21"/>
                  </a:lnTo>
                  <a:lnTo>
                    <a:pt x="41" y="21"/>
                  </a:lnTo>
                  <a:lnTo>
                    <a:pt x="31" y="36"/>
                  </a:lnTo>
                  <a:lnTo>
                    <a:pt x="28" y="42"/>
                  </a:lnTo>
                  <a:lnTo>
                    <a:pt x="21" y="49"/>
                  </a:lnTo>
                  <a:lnTo>
                    <a:pt x="19" y="50"/>
                  </a:lnTo>
                  <a:lnTo>
                    <a:pt x="16" y="50"/>
                  </a:lnTo>
                  <a:lnTo>
                    <a:pt x="15" y="49"/>
                  </a:lnTo>
                  <a:lnTo>
                    <a:pt x="12" y="49"/>
                  </a:lnTo>
                  <a:lnTo>
                    <a:pt x="8" y="52"/>
                  </a:lnTo>
                  <a:lnTo>
                    <a:pt x="6" y="50"/>
                  </a:lnTo>
                  <a:lnTo>
                    <a:pt x="3" y="49"/>
                  </a:lnTo>
                  <a:lnTo>
                    <a:pt x="0" y="4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96" name="Freeform 715"/>
            <p:cNvSpPr>
              <a:spLocks/>
            </p:cNvSpPr>
            <p:nvPr/>
          </p:nvSpPr>
          <p:spPr bwMode="auto">
            <a:xfrm>
              <a:off x="6459555" y="2590085"/>
              <a:ext cx="38623" cy="38536"/>
            </a:xfrm>
            <a:custGeom>
              <a:avLst/>
              <a:gdLst/>
              <a:ahLst/>
              <a:cxnLst>
                <a:cxn ang="0">
                  <a:pos x="27" y="3"/>
                </a:cxn>
                <a:cxn ang="0">
                  <a:pos x="25" y="2"/>
                </a:cxn>
                <a:cxn ang="0">
                  <a:pos x="19" y="3"/>
                </a:cxn>
                <a:cxn ang="0">
                  <a:pos x="14" y="0"/>
                </a:cxn>
                <a:cxn ang="0">
                  <a:pos x="6" y="3"/>
                </a:cxn>
                <a:cxn ang="0">
                  <a:pos x="4" y="5"/>
                </a:cxn>
                <a:cxn ang="0">
                  <a:pos x="4" y="6"/>
                </a:cxn>
                <a:cxn ang="0">
                  <a:pos x="7" y="9"/>
                </a:cxn>
                <a:cxn ang="0">
                  <a:pos x="6" y="12"/>
                </a:cxn>
                <a:cxn ang="0">
                  <a:pos x="3" y="13"/>
                </a:cxn>
                <a:cxn ang="0">
                  <a:pos x="1" y="22"/>
                </a:cxn>
                <a:cxn ang="0">
                  <a:pos x="0" y="25"/>
                </a:cxn>
                <a:cxn ang="0">
                  <a:pos x="0" y="26"/>
                </a:cxn>
                <a:cxn ang="0">
                  <a:pos x="1" y="28"/>
                </a:cxn>
                <a:cxn ang="0">
                  <a:pos x="10" y="26"/>
                </a:cxn>
                <a:cxn ang="0">
                  <a:pos x="9" y="28"/>
                </a:cxn>
                <a:cxn ang="0">
                  <a:pos x="1" y="31"/>
                </a:cxn>
                <a:cxn ang="0">
                  <a:pos x="1" y="37"/>
                </a:cxn>
                <a:cxn ang="0">
                  <a:pos x="4" y="37"/>
                </a:cxn>
                <a:cxn ang="0">
                  <a:pos x="6" y="34"/>
                </a:cxn>
                <a:cxn ang="0">
                  <a:pos x="22" y="21"/>
                </a:cxn>
                <a:cxn ang="0">
                  <a:pos x="35" y="19"/>
                </a:cxn>
                <a:cxn ang="0">
                  <a:pos x="38" y="21"/>
                </a:cxn>
                <a:cxn ang="0">
                  <a:pos x="41" y="19"/>
                </a:cxn>
                <a:cxn ang="0">
                  <a:pos x="42" y="18"/>
                </a:cxn>
                <a:cxn ang="0">
                  <a:pos x="42" y="15"/>
                </a:cxn>
                <a:cxn ang="0">
                  <a:pos x="39" y="15"/>
                </a:cxn>
                <a:cxn ang="0">
                  <a:pos x="32" y="12"/>
                </a:cxn>
                <a:cxn ang="0">
                  <a:pos x="27" y="8"/>
                </a:cxn>
                <a:cxn ang="0">
                  <a:pos x="27" y="5"/>
                </a:cxn>
                <a:cxn ang="0">
                  <a:pos x="27" y="3"/>
                </a:cxn>
              </a:cxnLst>
              <a:rect l="0" t="0" r="r" b="b"/>
              <a:pathLst>
                <a:path w="42" h="37">
                  <a:moveTo>
                    <a:pt x="27" y="3"/>
                  </a:moveTo>
                  <a:lnTo>
                    <a:pt x="25" y="2"/>
                  </a:lnTo>
                  <a:lnTo>
                    <a:pt x="19" y="3"/>
                  </a:lnTo>
                  <a:lnTo>
                    <a:pt x="14" y="0"/>
                  </a:lnTo>
                  <a:lnTo>
                    <a:pt x="6" y="3"/>
                  </a:lnTo>
                  <a:lnTo>
                    <a:pt x="4" y="5"/>
                  </a:lnTo>
                  <a:lnTo>
                    <a:pt x="4" y="6"/>
                  </a:lnTo>
                  <a:lnTo>
                    <a:pt x="7" y="9"/>
                  </a:lnTo>
                  <a:lnTo>
                    <a:pt x="6" y="12"/>
                  </a:lnTo>
                  <a:lnTo>
                    <a:pt x="3" y="13"/>
                  </a:lnTo>
                  <a:lnTo>
                    <a:pt x="1" y="22"/>
                  </a:lnTo>
                  <a:lnTo>
                    <a:pt x="0" y="25"/>
                  </a:lnTo>
                  <a:lnTo>
                    <a:pt x="0" y="26"/>
                  </a:lnTo>
                  <a:lnTo>
                    <a:pt x="1" y="28"/>
                  </a:lnTo>
                  <a:lnTo>
                    <a:pt x="10" y="26"/>
                  </a:lnTo>
                  <a:lnTo>
                    <a:pt x="9" y="28"/>
                  </a:lnTo>
                  <a:lnTo>
                    <a:pt x="1" y="31"/>
                  </a:lnTo>
                  <a:lnTo>
                    <a:pt x="1" y="37"/>
                  </a:lnTo>
                  <a:lnTo>
                    <a:pt x="4" y="37"/>
                  </a:lnTo>
                  <a:lnTo>
                    <a:pt x="6" y="34"/>
                  </a:lnTo>
                  <a:lnTo>
                    <a:pt x="22" y="21"/>
                  </a:lnTo>
                  <a:lnTo>
                    <a:pt x="35" y="19"/>
                  </a:lnTo>
                  <a:lnTo>
                    <a:pt x="38" y="21"/>
                  </a:lnTo>
                  <a:lnTo>
                    <a:pt x="41" y="19"/>
                  </a:lnTo>
                  <a:lnTo>
                    <a:pt x="42" y="18"/>
                  </a:lnTo>
                  <a:lnTo>
                    <a:pt x="42" y="15"/>
                  </a:lnTo>
                  <a:lnTo>
                    <a:pt x="39" y="15"/>
                  </a:lnTo>
                  <a:lnTo>
                    <a:pt x="32" y="12"/>
                  </a:lnTo>
                  <a:lnTo>
                    <a:pt x="27" y="8"/>
                  </a:lnTo>
                  <a:lnTo>
                    <a:pt x="27" y="5"/>
                  </a:lnTo>
                  <a:lnTo>
                    <a:pt x="27"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97" name="Freeform 716"/>
            <p:cNvSpPr>
              <a:spLocks/>
            </p:cNvSpPr>
            <p:nvPr/>
          </p:nvSpPr>
          <p:spPr bwMode="auto">
            <a:xfrm>
              <a:off x="6459555" y="2590085"/>
              <a:ext cx="38623" cy="38536"/>
            </a:xfrm>
            <a:custGeom>
              <a:avLst/>
              <a:gdLst/>
              <a:ahLst/>
              <a:cxnLst>
                <a:cxn ang="0">
                  <a:pos x="27" y="3"/>
                </a:cxn>
                <a:cxn ang="0">
                  <a:pos x="25" y="2"/>
                </a:cxn>
                <a:cxn ang="0">
                  <a:pos x="19" y="3"/>
                </a:cxn>
                <a:cxn ang="0">
                  <a:pos x="14" y="0"/>
                </a:cxn>
                <a:cxn ang="0">
                  <a:pos x="6" y="3"/>
                </a:cxn>
                <a:cxn ang="0">
                  <a:pos x="4" y="5"/>
                </a:cxn>
                <a:cxn ang="0">
                  <a:pos x="4" y="6"/>
                </a:cxn>
                <a:cxn ang="0">
                  <a:pos x="7" y="9"/>
                </a:cxn>
                <a:cxn ang="0">
                  <a:pos x="6" y="12"/>
                </a:cxn>
                <a:cxn ang="0">
                  <a:pos x="3" y="13"/>
                </a:cxn>
                <a:cxn ang="0">
                  <a:pos x="1" y="22"/>
                </a:cxn>
                <a:cxn ang="0">
                  <a:pos x="0" y="25"/>
                </a:cxn>
                <a:cxn ang="0">
                  <a:pos x="0" y="26"/>
                </a:cxn>
                <a:cxn ang="0">
                  <a:pos x="1" y="28"/>
                </a:cxn>
                <a:cxn ang="0">
                  <a:pos x="10" y="26"/>
                </a:cxn>
                <a:cxn ang="0">
                  <a:pos x="9" y="28"/>
                </a:cxn>
                <a:cxn ang="0">
                  <a:pos x="1" y="31"/>
                </a:cxn>
                <a:cxn ang="0">
                  <a:pos x="1" y="37"/>
                </a:cxn>
                <a:cxn ang="0">
                  <a:pos x="4" y="37"/>
                </a:cxn>
                <a:cxn ang="0">
                  <a:pos x="6" y="34"/>
                </a:cxn>
                <a:cxn ang="0">
                  <a:pos x="22" y="21"/>
                </a:cxn>
                <a:cxn ang="0">
                  <a:pos x="35" y="19"/>
                </a:cxn>
                <a:cxn ang="0">
                  <a:pos x="38" y="21"/>
                </a:cxn>
                <a:cxn ang="0">
                  <a:pos x="41" y="19"/>
                </a:cxn>
                <a:cxn ang="0">
                  <a:pos x="42" y="18"/>
                </a:cxn>
                <a:cxn ang="0">
                  <a:pos x="42" y="15"/>
                </a:cxn>
                <a:cxn ang="0">
                  <a:pos x="39" y="15"/>
                </a:cxn>
                <a:cxn ang="0">
                  <a:pos x="32" y="12"/>
                </a:cxn>
                <a:cxn ang="0">
                  <a:pos x="27" y="8"/>
                </a:cxn>
                <a:cxn ang="0">
                  <a:pos x="27" y="5"/>
                </a:cxn>
                <a:cxn ang="0">
                  <a:pos x="27" y="3"/>
                </a:cxn>
              </a:cxnLst>
              <a:rect l="0" t="0" r="r" b="b"/>
              <a:pathLst>
                <a:path w="42" h="37">
                  <a:moveTo>
                    <a:pt x="27" y="3"/>
                  </a:moveTo>
                  <a:lnTo>
                    <a:pt x="25" y="2"/>
                  </a:lnTo>
                  <a:lnTo>
                    <a:pt x="19" y="3"/>
                  </a:lnTo>
                  <a:lnTo>
                    <a:pt x="14" y="0"/>
                  </a:lnTo>
                  <a:lnTo>
                    <a:pt x="6" y="3"/>
                  </a:lnTo>
                  <a:lnTo>
                    <a:pt x="4" y="5"/>
                  </a:lnTo>
                  <a:lnTo>
                    <a:pt x="4" y="6"/>
                  </a:lnTo>
                  <a:lnTo>
                    <a:pt x="7" y="9"/>
                  </a:lnTo>
                  <a:lnTo>
                    <a:pt x="6" y="12"/>
                  </a:lnTo>
                  <a:lnTo>
                    <a:pt x="3" y="13"/>
                  </a:lnTo>
                  <a:lnTo>
                    <a:pt x="1" y="22"/>
                  </a:lnTo>
                  <a:lnTo>
                    <a:pt x="0" y="25"/>
                  </a:lnTo>
                  <a:lnTo>
                    <a:pt x="0" y="26"/>
                  </a:lnTo>
                  <a:lnTo>
                    <a:pt x="1" y="28"/>
                  </a:lnTo>
                  <a:lnTo>
                    <a:pt x="10" y="26"/>
                  </a:lnTo>
                  <a:lnTo>
                    <a:pt x="9" y="28"/>
                  </a:lnTo>
                  <a:lnTo>
                    <a:pt x="1" y="31"/>
                  </a:lnTo>
                  <a:lnTo>
                    <a:pt x="1" y="37"/>
                  </a:lnTo>
                  <a:lnTo>
                    <a:pt x="4" y="37"/>
                  </a:lnTo>
                  <a:lnTo>
                    <a:pt x="6" y="34"/>
                  </a:lnTo>
                  <a:lnTo>
                    <a:pt x="22" y="21"/>
                  </a:lnTo>
                  <a:lnTo>
                    <a:pt x="35" y="19"/>
                  </a:lnTo>
                  <a:lnTo>
                    <a:pt x="38" y="21"/>
                  </a:lnTo>
                  <a:lnTo>
                    <a:pt x="41" y="19"/>
                  </a:lnTo>
                  <a:lnTo>
                    <a:pt x="42" y="18"/>
                  </a:lnTo>
                  <a:lnTo>
                    <a:pt x="42" y="15"/>
                  </a:lnTo>
                  <a:lnTo>
                    <a:pt x="39" y="15"/>
                  </a:lnTo>
                  <a:lnTo>
                    <a:pt x="32" y="12"/>
                  </a:lnTo>
                  <a:lnTo>
                    <a:pt x="27" y="8"/>
                  </a:lnTo>
                  <a:lnTo>
                    <a:pt x="27" y="5"/>
                  </a:lnTo>
                  <a:lnTo>
                    <a:pt x="27"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98" name="Freeform 717"/>
            <p:cNvSpPr>
              <a:spLocks/>
            </p:cNvSpPr>
            <p:nvPr/>
          </p:nvSpPr>
          <p:spPr bwMode="auto">
            <a:xfrm>
              <a:off x="7322434" y="2839562"/>
              <a:ext cx="116748" cy="283957"/>
            </a:xfrm>
            <a:custGeom>
              <a:avLst/>
              <a:gdLst/>
              <a:ahLst/>
              <a:cxnLst>
                <a:cxn ang="0">
                  <a:pos x="32" y="158"/>
                </a:cxn>
                <a:cxn ang="0">
                  <a:pos x="24" y="142"/>
                </a:cxn>
                <a:cxn ang="0">
                  <a:pos x="19" y="141"/>
                </a:cxn>
                <a:cxn ang="0">
                  <a:pos x="21" y="138"/>
                </a:cxn>
                <a:cxn ang="0">
                  <a:pos x="20" y="134"/>
                </a:cxn>
                <a:cxn ang="0">
                  <a:pos x="7" y="125"/>
                </a:cxn>
                <a:cxn ang="0">
                  <a:pos x="4" y="122"/>
                </a:cxn>
                <a:cxn ang="0">
                  <a:pos x="3" y="108"/>
                </a:cxn>
                <a:cxn ang="0">
                  <a:pos x="5" y="100"/>
                </a:cxn>
                <a:cxn ang="0">
                  <a:pos x="10" y="99"/>
                </a:cxn>
                <a:cxn ang="0">
                  <a:pos x="13" y="96"/>
                </a:cxn>
                <a:cxn ang="0">
                  <a:pos x="11" y="86"/>
                </a:cxn>
                <a:cxn ang="0">
                  <a:pos x="16" y="73"/>
                </a:cxn>
                <a:cxn ang="0">
                  <a:pos x="26" y="70"/>
                </a:cxn>
                <a:cxn ang="0">
                  <a:pos x="35" y="49"/>
                </a:cxn>
                <a:cxn ang="0">
                  <a:pos x="42" y="41"/>
                </a:cxn>
                <a:cxn ang="0">
                  <a:pos x="46" y="26"/>
                </a:cxn>
                <a:cxn ang="0">
                  <a:pos x="61" y="17"/>
                </a:cxn>
                <a:cxn ang="0">
                  <a:pos x="68" y="16"/>
                </a:cxn>
                <a:cxn ang="0">
                  <a:pos x="71" y="7"/>
                </a:cxn>
                <a:cxn ang="0">
                  <a:pos x="75" y="1"/>
                </a:cxn>
                <a:cxn ang="0">
                  <a:pos x="81" y="1"/>
                </a:cxn>
                <a:cxn ang="0">
                  <a:pos x="85" y="12"/>
                </a:cxn>
                <a:cxn ang="0">
                  <a:pos x="87" y="47"/>
                </a:cxn>
                <a:cxn ang="0">
                  <a:pos x="81" y="52"/>
                </a:cxn>
                <a:cxn ang="0">
                  <a:pos x="80" y="67"/>
                </a:cxn>
                <a:cxn ang="0">
                  <a:pos x="84" y="67"/>
                </a:cxn>
                <a:cxn ang="0">
                  <a:pos x="96" y="74"/>
                </a:cxn>
                <a:cxn ang="0">
                  <a:pos x="100" y="96"/>
                </a:cxn>
                <a:cxn ang="0">
                  <a:pos x="114" y="105"/>
                </a:cxn>
                <a:cxn ang="0">
                  <a:pos x="126" y="102"/>
                </a:cxn>
                <a:cxn ang="0">
                  <a:pos x="126" y="106"/>
                </a:cxn>
                <a:cxn ang="0">
                  <a:pos x="116" y="116"/>
                </a:cxn>
                <a:cxn ang="0">
                  <a:pos x="113" y="119"/>
                </a:cxn>
                <a:cxn ang="0">
                  <a:pos x="94" y="134"/>
                </a:cxn>
                <a:cxn ang="0">
                  <a:pos x="80" y="151"/>
                </a:cxn>
                <a:cxn ang="0">
                  <a:pos x="87" y="170"/>
                </a:cxn>
                <a:cxn ang="0">
                  <a:pos x="93" y="185"/>
                </a:cxn>
                <a:cxn ang="0">
                  <a:pos x="90" y="193"/>
                </a:cxn>
                <a:cxn ang="0">
                  <a:pos x="85" y="202"/>
                </a:cxn>
                <a:cxn ang="0">
                  <a:pos x="97" y="218"/>
                </a:cxn>
                <a:cxn ang="0">
                  <a:pos x="106" y="249"/>
                </a:cxn>
                <a:cxn ang="0">
                  <a:pos x="97" y="260"/>
                </a:cxn>
                <a:cxn ang="0">
                  <a:pos x="94" y="251"/>
                </a:cxn>
                <a:cxn ang="0">
                  <a:pos x="93" y="247"/>
                </a:cxn>
                <a:cxn ang="0">
                  <a:pos x="87" y="221"/>
                </a:cxn>
                <a:cxn ang="0">
                  <a:pos x="78" y="182"/>
                </a:cxn>
                <a:cxn ang="0">
                  <a:pos x="66" y="176"/>
                </a:cxn>
                <a:cxn ang="0">
                  <a:pos x="45" y="192"/>
                </a:cxn>
                <a:cxn ang="0">
                  <a:pos x="40" y="190"/>
                </a:cxn>
                <a:cxn ang="0">
                  <a:pos x="32" y="189"/>
                </a:cxn>
                <a:cxn ang="0">
                  <a:pos x="29" y="187"/>
                </a:cxn>
              </a:cxnLst>
              <a:rect l="0" t="0" r="r" b="b"/>
              <a:pathLst>
                <a:path w="127" h="273">
                  <a:moveTo>
                    <a:pt x="29" y="183"/>
                  </a:moveTo>
                  <a:lnTo>
                    <a:pt x="33" y="171"/>
                  </a:lnTo>
                  <a:lnTo>
                    <a:pt x="32" y="158"/>
                  </a:lnTo>
                  <a:lnTo>
                    <a:pt x="30" y="156"/>
                  </a:lnTo>
                  <a:lnTo>
                    <a:pt x="30" y="154"/>
                  </a:lnTo>
                  <a:lnTo>
                    <a:pt x="24" y="142"/>
                  </a:lnTo>
                  <a:lnTo>
                    <a:pt x="23" y="145"/>
                  </a:lnTo>
                  <a:lnTo>
                    <a:pt x="20" y="144"/>
                  </a:lnTo>
                  <a:lnTo>
                    <a:pt x="19" y="141"/>
                  </a:lnTo>
                  <a:lnTo>
                    <a:pt x="20" y="138"/>
                  </a:lnTo>
                  <a:lnTo>
                    <a:pt x="23" y="140"/>
                  </a:lnTo>
                  <a:lnTo>
                    <a:pt x="21" y="138"/>
                  </a:lnTo>
                  <a:lnTo>
                    <a:pt x="20" y="137"/>
                  </a:lnTo>
                  <a:lnTo>
                    <a:pt x="20" y="135"/>
                  </a:lnTo>
                  <a:lnTo>
                    <a:pt x="20" y="134"/>
                  </a:lnTo>
                  <a:lnTo>
                    <a:pt x="10" y="128"/>
                  </a:lnTo>
                  <a:lnTo>
                    <a:pt x="10" y="125"/>
                  </a:lnTo>
                  <a:lnTo>
                    <a:pt x="7" y="125"/>
                  </a:lnTo>
                  <a:lnTo>
                    <a:pt x="5" y="122"/>
                  </a:lnTo>
                  <a:lnTo>
                    <a:pt x="5" y="124"/>
                  </a:lnTo>
                  <a:lnTo>
                    <a:pt x="4" y="122"/>
                  </a:lnTo>
                  <a:lnTo>
                    <a:pt x="0" y="116"/>
                  </a:lnTo>
                  <a:lnTo>
                    <a:pt x="1" y="109"/>
                  </a:lnTo>
                  <a:lnTo>
                    <a:pt x="3" y="108"/>
                  </a:lnTo>
                  <a:lnTo>
                    <a:pt x="5" y="109"/>
                  </a:lnTo>
                  <a:lnTo>
                    <a:pt x="4" y="100"/>
                  </a:lnTo>
                  <a:lnTo>
                    <a:pt x="5" y="100"/>
                  </a:lnTo>
                  <a:lnTo>
                    <a:pt x="5" y="99"/>
                  </a:lnTo>
                  <a:lnTo>
                    <a:pt x="7" y="99"/>
                  </a:lnTo>
                  <a:lnTo>
                    <a:pt x="10" y="99"/>
                  </a:lnTo>
                  <a:lnTo>
                    <a:pt x="11" y="99"/>
                  </a:lnTo>
                  <a:lnTo>
                    <a:pt x="13" y="97"/>
                  </a:lnTo>
                  <a:lnTo>
                    <a:pt x="13" y="96"/>
                  </a:lnTo>
                  <a:lnTo>
                    <a:pt x="11" y="94"/>
                  </a:lnTo>
                  <a:lnTo>
                    <a:pt x="11" y="93"/>
                  </a:lnTo>
                  <a:lnTo>
                    <a:pt x="11" y="86"/>
                  </a:lnTo>
                  <a:lnTo>
                    <a:pt x="14" y="86"/>
                  </a:lnTo>
                  <a:lnTo>
                    <a:pt x="16" y="84"/>
                  </a:lnTo>
                  <a:lnTo>
                    <a:pt x="16" y="73"/>
                  </a:lnTo>
                  <a:lnTo>
                    <a:pt x="17" y="70"/>
                  </a:lnTo>
                  <a:lnTo>
                    <a:pt x="21" y="70"/>
                  </a:lnTo>
                  <a:lnTo>
                    <a:pt x="26" y="70"/>
                  </a:lnTo>
                  <a:lnTo>
                    <a:pt x="27" y="68"/>
                  </a:lnTo>
                  <a:lnTo>
                    <a:pt x="35" y="51"/>
                  </a:lnTo>
                  <a:lnTo>
                    <a:pt x="35" y="49"/>
                  </a:lnTo>
                  <a:lnTo>
                    <a:pt x="36" y="47"/>
                  </a:lnTo>
                  <a:lnTo>
                    <a:pt x="40" y="44"/>
                  </a:lnTo>
                  <a:lnTo>
                    <a:pt x="42" y="41"/>
                  </a:lnTo>
                  <a:lnTo>
                    <a:pt x="42" y="33"/>
                  </a:lnTo>
                  <a:lnTo>
                    <a:pt x="43" y="29"/>
                  </a:lnTo>
                  <a:lnTo>
                    <a:pt x="46" y="26"/>
                  </a:lnTo>
                  <a:lnTo>
                    <a:pt x="51" y="25"/>
                  </a:lnTo>
                  <a:lnTo>
                    <a:pt x="55" y="19"/>
                  </a:lnTo>
                  <a:lnTo>
                    <a:pt x="61" y="17"/>
                  </a:lnTo>
                  <a:lnTo>
                    <a:pt x="64" y="16"/>
                  </a:lnTo>
                  <a:lnTo>
                    <a:pt x="68" y="17"/>
                  </a:lnTo>
                  <a:lnTo>
                    <a:pt x="68" y="16"/>
                  </a:lnTo>
                  <a:lnTo>
                    <a:pt x="68" y="13"/>
                  </a:lnTo>
                  <a:lnTo>
                    <a:pt x="69" y="9"/>
                  </a:lnTo>
                  <a:lnTo>
                    <a:pt x="71" y="7"/>
                  </a:lnTo>
                  <a:lnTo>
                    <a:pt x="74" y="6"/>
                  </a:lnTo>
                  <a:lnTo>
                    <a:pt x="74" y="3"/>
                  </a:lnTo>
                  <a:lnTo>
                    <a:pt x="75" y="1"/>
                  </a:lnTo>
                  <a:lnTo>
                    <a:pt x="77" y="0"/>
                  </a:lnTo>
                  <a:lnTo>
                    <a:pt x="77" y="0"/>
                  </a:lnTo>
                  <a:lnTo>
                    <a:pt x="81" y="1"/>
                  </a:lnTo>
                  <a:lnTo>
                    <a:pt x="84" y="6"/>
                  </a:lnTo>
                  <a:lnTo>
                    <a:pt x="84" y="10"/>
                  </a:lnTo>
                  <a:lnTo>
                    <a:pt x="85" y="12"/>
                  </a:lnTo>
                  <a:lnTo>
                    <a:pt x="90" y="13"/>
                  </a:lnTo>
                  <a:lnTo>
                    <a:pt x="91" y="36"/>
                  </a:lnTo>
                  <a:lnTo>
                    <a:pt x="87" y="47"/>
                  </a:lnTo>
                  <a:lnTo>
                    <a:pt x="85" y="47"/>
                  </a:lnTo>
                  <a:lnTo>
                    <a:pt x="84" y="49"/>
                  </a:lnTo>
                  <a:lnTo>
                    <a:pt x="81" y="52"/>
                  </a:lnTo>
                  <a:lnTo>
                    <a:pt x="78" y="61"/>
                  </a:lnTo>
                  <a:lnTo>
                    <a:pt x="80" y="64"/>
                  </a:lnTo>
                  <a:lnTo>
                    <a:pt x="80" y="67"/>
                  </a:lnTo>
                  <a:lnTo>
                    <a:pt x="77" y="71"/>
                  </a:lnTo>
                  <a:lnTo>
                    <a:pt x="78" y="73"/>
                  </a:lnTo>
                  <a:lnTo>
                    <a:pt x="84" y="67"/>
                  </a:lnTo>
                  <a:lnTo>
                    <a:pt x="94" y="67"/>
                  </a:lnTo>
                  <a:lnTo>
                    <a:pt x="94" y="70"/>
                  </a:lnTo>
                  <a:lnTo>
                    <a:pt x="96" y="74"/>
                  </a:lnTo>
                  <a:lnTo>
                    <a:pt x="96" y="78"/>
                  </a:lnTo>
                  <a:lnTo>
                    <a:pt x="103" y="84"/>
                  </a:lnTo>
                  <a:lnTo>
                    <a:pt x="100" y="96"/>
                  </a:lnTo>
                  <a:lnTo>
                    <a:pt x="109" y="97"/>
                  </a:lnTo>
                  <a:lnTo>
                    <a:pt x="110" y="100"/>
                  </a:lnTo>
                  <a:lnTo>
                    <a:pt x="114" y="105"/>
                  </a:lnTo>
                  <a:lnTo>
                    <a:pt x="120" y="105"/>
                  </a:lnTo>
                  <a:lnTo>
                    <a:pt x="123" y="102"/>
                  </a:lnTo>
                  <a:lnTo>
                    <a:pt x="126" y="102"/>
                  </a:lnTo>
                  <a:lnTo>
                    <a:pt x="127" y="103"/>
                  </a:lnTo>
                  <a:lnTo>
                    <a:pt x="126" y="105"/>
                  </a:lnTo>
                  <a:lnTo>
                    <a:pt x="126" y="106"/>
                  </a:lnTo>
                  <a:lnTo>
                    <a:pt x="119" y="112"/>
                  </a:lnTo>
                  <a:lnTo>
                    <a:pt x="119" y="115"/>
                  </a:lnTo>
                  <a:lnTo>
                    <a:pt x="116" y="116"/>
                  </a:lnTo>
                  <a:lnTo>
                    <a:pt x="114" y="116"/>
                  </a:lnTo>
                  <a:lnTo>
                    <a:pt x="114" y="118"/>
                  </a:lnTo>
                  <a:lnTo>
                    <a:pt x="113" y="119"/>
                  </a:lnTo>
                  <a:lnTo>
                    <a:pt x="110" y="125"/>
                  </a:lnTo>
                  <a:lnTo>
                    <a:pt x="106" y="125"/>
                  </a:lnTo>
                  <a:lnTo>
                    <a:pt x="94" y="134"/>
                  </a:lnTo>
                  <a:lnTo>
                    <a:pt x="82" y="135"/>
                  </a:lnTo>
                  <a:lnTo>
                    <a:pt x="78" y="148"/>
                  </a:lnTo>
                  <a:lnTo>
                    <a:pt x="80" y="151"/>
                  </a:lnTo>
                  <a:lnTo>
                    <a:pt x="77" y="153"/>
                  </a:lnTo>
                  <a:lnTo>
                    <a:pt x="81" y="166"/>
                  </a:lnTo>
                  <a:lnTo>
                    <a:pt x="87" y="170"/>
                  </a:lnTo>
                  <a:lnTo>
                    <a:pt x="90" y="173"/>
                  </a:lnTo>
                  <a:lnTo>
                    <a:pt x="90" y="183"/>
                  </a:lnTo>
                  <a:lnTo>
                    <a:pt x="93" y="185"/>
                  </a:lnTo>
                  <a:lnTo>
                    <a:pt x="94" y="186"/>
                  </a:lnTo>
                  <a:lnTo>
                    <a:pt x="93" y="187"/>
                  </a:lnTo>
                  <a:lnTo>
                    <a:pt x="90" y="193"/>
                  </a:lnTo>
                  <a:lnTo>
                    <a:pt x="90" y="196"/>
                  </a:lnTo>
                  <a:lnTo>
                    <a:pt x="87" y="201"/>
                  </a:lnTo>
                  <a:lnTo>
                    <a:pt x="85" y="202"/>
                  </a:lnTo>
                  <a:lnTo>
                    <a:pt x="85" y="205"/>
                  </a:lnTo>
                  <a:lnTo>
                    <a:pt x="87" y="209"/>
                  </a:lnTo>
                  <a:lnTo>
                    <a:pt x="97" y="218"/>
                  </a:lnTo>
                  <a:lnTo>
                    <a:pt x="100" y="235"/>
                  </a:lnTo>
                  <a:lnTo>
                    <a:pt x="100" y="235"/>
                  </a:lnTo>
                  <a:lnTo>
                    <a:pt x="106" y="249"/>
                  </a:lnTo>
                  <a:lnTo>
                    <a:pt x="106" y="250"/>
                  </a:lnTo>
                  <a:lnTo>
                    <a:pt x="100" y="259"/>
                  </a:lnTo>
                  <a:lnTo>
                    <a:pt x="97" y="260"/>
                  </a:lnTo>
                  <a:lnTo>
                    <a:pt x="93" y="273"/>
                  </a:lnTo>
                  <a:lnTo>
                    <a:pt x="90" y="272"/>
                  </a:lnTo>
                  <a:lnTo>
                    <a:pt x="94" y="251"/>
                  </a:lnTo>
                  <a:lnTo>
                    <a:pt x="90" y="249"/>
                  </a:lnTo>
                  <a:lnTo>
                    <a:pt x="90" y="246"/>
                  </a:lnTo>
                  <a:lnTo>
                    <a:pt x="93" y="247"/>
                  </a:lnTo>
                  <a:lnTo>
                    <a:pt x="91" y="244"/>
                  </a:lnTo>
                  <a:lnTo>
                    <a:pt x="93" y="240"/>
                  </a:lnTo>
                  <a:lnTo>
                    <a:pt x="87" y="221"/>
                  </a:lnTo>
                  <a:lnTo>
                    <a:pt x="85" y="222"/>
                  </a:lnTo>
                  <a:lnTo>
                    <a:pt x="85" y="224"/>
                  </a:lnTo>
                  <a:lnTo>
                    <a:pt x="78" y="182"/>
                  </a:lnTo>
                  <a:lnTo>
                    <a:pt x="75" y="180"/>
                  </a:lnTo>
                  <a:lnTo>
                    <a:pt x="68" y="174"/>
                  </a:lnTo>
                  <a:lnTo>
                    <a:pt x="66" y="176"/>
                  </a:lnTo>
                  <a:lnTo>
                    <a:pt x="64" y="167"/>
                  </a:lnTo>
                  <a:lnTo>
                    <a:pt x="62" y="179"/>
                  </a:lnTo>
                  <a:lnTo>
                    <a:pt x="45" y="192"/>
                  </a:lnTo>
                  <a:lnTo>
                    <a:pt x="43" y="190"/>
                  </a:lnTo>
                  <a:lnTo>
                    <a:pt x="42" y="192"/>
                  </a:lnTo>
                  <a:lnTo>
                    <a:pt x="40" y="190"/>
                  </a:lnTo>
                  <a:lnTo>
                    <a:pt x="37" y="192"/>
                  </a:lnTo>
                  <a:lnTo>
                    <a:pt x="33" y="190"/>
                  </a:lnTo>
                  <a:lnTo>
                    <a:pt x="32" y="189"/>
                  </a:lnTo>
                  <a:lnTo>
                    <a:pt x="33" y="186"/>
                  </a:lnTo>
                  <a:lnTo>
                    <a:pt x="30" y="189"/>
                  </a:lnTo>
                  <a:lnTo>
                    <a:pt x="29" y="187"/>
                  </a:lnTo>
                  <a:lnTo>
                    <a:pt x="29" y="18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499" name="Freeform 719"/>
            <p:cNvSpPr>
              <a:spLocks/>
            </p:cNvSpPr>
            <p:nvPr/>
          </p:nvSpPr>
          <p:spPr bwMode="auto">
            <a:xfrm>
              <a:off x="7454104" y="3056586"/>
              <a:ext cx="69346" cy="62876"/>
            </a:xfrm>
            <a:custGeom>
              <a:avLst/>
              <a:gdLst/>
              <a:ahLst/>
              <a:cxnLst>
                <a:cxn ang="0">
                  <a:pos x="29" y="61"/>
                </a:cxn>
                <a:cxn ang="0">
                  <a:pos x="28" y="59"/>
                </a:cxn>
                <a:cxn ang="0">
                  <a:pos x="21" y="59"/>
                </a:cxn>
                <a:cxn ang="0">
                  <a:pos x="18" y="56"/>
                </a:cxn>
                <a:cxn ang="0">
                  <a:pos x="19" y="52"/>
                </a:cxn>
                <a:cxn ang="0">
                  <a:pos x="16" y="52"/>
                </a:cxn>
                <a:cxn ang="0">
                  <a:pos x="13" y="55"/>
                </a:cxn>
                <a:cxn ang="0">
                  <a:pos x="11" y="48"/>
                </a:cxn>
                <a:cxn ang="0">
                  <a:pos x="12" y="48"/>
                </a:cxn>
                <a:cxn ang="0">
                  <a:pos x="9" y="43"/>
                </a:cxn>
                <a:cxn ang="0">
                  <a:pos x="9" y="41"/>
                </a:cxn>
                <a:cxn ang="0">
                  <a:pos x="3" y="30"/>
                </a:cxn>
                <a:cxn ang="0">
                  <a:pos x="0" y="17"/>
                </a:cxn>
                <a:cxn ang="0">
                  <a:pos x="3" y="13"/>
                </a:cxn>
                <a:cxn ang="0">
                  <a:pos x="11" y="6"/>
                </a:cxn>
                <a:cxn ang="0">
                  <a:pos x="37" y="4"/>
                </a:cxn>
                <a:cxn ang="0">
                  <a:pos x="41" y="6"/>
                </a:cxn>
                <a:cxn ang="0">
                  <a:pos x="51" y="10"/>
                </a:cxn>
                <a:cxn ang="0">
                  <a:pos x="54" y="6"/>
                </a:cxn>
                <a:cxn ang="0">
                  <a:pos x="63" y="3"/>
                </a:cxn>
                <a:cxn ang="0">
                  <a:pos x="67" y="4"/>
                </a:cxn>
                <a:cxn ang="0">
                  <a:pos x="73" y="1"/>
                </a:cxn>
                <a:cxn ang="0">
                  <a:pos x="73" y="13"/>
                </a:cxn>
                <a:cxn ang="0">
                  <a:pos x="74" y="33"/>
                </a:cxn>
                <a:cxn ang="0">
                  <a:pos x="70" y="35"/>
                </a:cxn>
                <a:cxn ang="0">
                  <a:pos x="64" y="38"/>
                </a:cxn>
                <a:cxn ang="0">
                  <a:pos x="59" y="42"/>
                </a:cxn>
                <a:cxn ang="0">
                  <a:pos x="51" y="48"/>
                </a:cxn>
                <a:cxn ang="0">
                  <a:pos x="48" y="54"/>
                </a:cxn>
                <a:cxn ang="0">
                  <a:pos x="43" y="56"/>
                </a:cxn>
                <a:cxn ang="0">
                  <a:pos x="38" y="55"/>
                </a:cxn>
                <a:cxn ang="0">
                  <a:pos x="37" y="59"/>
                </a:cxn>
              </a:cxnLst>
              <a:rect l="0" t="0" r="r" b="b"/>
              <a:pathLst>
                <a:path w="76" h="61">
                  <a:moveTo>
                    <a:pt x="31" y="61"/>
                  </a:moveTo>
                  <a:lnTo>
                    <a:pt x="29" y="61"/>
                  </a:lnTo>
                  <a:lnTo>
                    <a:pt x="29" y="59"/>
                  </a:lnTo>
                  <a:lnTo>
                    <a:pt x="28" y="59"/>
                  </a:lnTo>
                  <a:lnTo>
                    <a:pt x="24" y="59"/>
                  </a:lnTo>
                  <a:lnTo>
                    <a:pt x="21" y="59"/>
                  </a:lnTo>
                  <a:lnTo>
                    <a:pt x="18" y="59"/>
                  </a:lnTo>
                  <a:lnTo>
                    <a:pt x="18" y="56"/>
                  </a:lnTo>
                  <a:lnTo>
                    <a:pt x="19" y="55"/>
                  </a:lnTo>
                  <a:lnTo>
                    <a:pt x="19" y="52"/>
                  </a:lnTo>
                  <a:lnTo>
                    <a:pt x="18" y="52"/>
                  </a:lnTo>
                  <a:lnTo>
                    <a:pt x="16" y="52"/>
                  </a:lnTo>
                  <a:lnTo>
                    <a:pt x="15" y="55"/>
                  </a:lnTo>
                  <a:lnTo>
                    <a:pt x="13" y="55"/>
                  </a:lnTo>
                  <a:lnTo>
                    <a:pt x="11" y="48"/>
                  </a:lnTo>
                  <a:lnTo>
                    <a:pt x="11" y="48"/>
                  </a:lnTo>
                  <a:lnTo>
                    <a:pt x="12" y="48"/>
                  </a:lnTo>
                  <a:lnTo>
                    <a:pt x="12" y="48"/>
                  </a:lnTo>
                  <a:lnTo>
                    <a:pt x="9" y="45"/>
                  </a:lnTo>
                  <a:lnTo>
                    <a:pt x="9" y="43"/>
                  </a:lnTo>
                  <a:lnTo>
                    <a:pt x="9" y="42"/>
                  </a:lnTo>
                  <a:lnTo>
                    <a:pt x="9" y="41"/>
                  </a:lnTo>
                  <a:lnTo>
                    <a:pt x="6" y="33"/>
                  </a:lnTo>
                  <a:lnTo>
                    <a:pt x="3" y="30"/>
                  </a:lnTo>
                  <a:lnTo>
                    <a:pt x="0" y="22"/>
                  </a:lnTo>
                  <a:lnTo>
                    <a:pt x="0" y="17"/>
                  </a:lnTo>
                  <a:lnTo>
                    <a:pt x="2" y="16"/>
                  </a:lnTo>
                  <a:lnTo>
                    <a:pt x="3" y="13"/>
                  </a:lnTo>
                  <a:lnTo>
                    <a:pt x="6" y="11"/>
                  </a:lnTo>
                  <a:lnTo>
                    <a:pt x="11" y="6"/>
                  </a:lnTo>
                  <a:lnTo>
                    <a:pt x="13" y="4"/>
                  </a:lnTo>
                  <a:lnTo>
                    <a:pt x="37" y="4"/>
                  </a:lnTo>
                  <a:lnTo>
                    <a:pt x="40" y="7"/>
                  </a:lnTo>
                  <a:lnTo>
                    <a:pt x="41" y="6"/>
                  </a:lnTo>
                  <a:lnTo>
                    <a:pt x="44" y="9"/>
                  </a:lnTo>
                  <a:lnTo>
                    <a:pt x="51" y="10"/>
                  </a:lnTo>
                  <a:lnTo>
                    <a:pt x="54" y="10"/>
                  </a:lnTo>
                  <a:lnTo>
                    <a:pt x="54" y="6"/>
                  </a:lnTo>
                  <a:lnTo>
                    <a:pt x="60" y="3"/>
                  </a:lnTo>
                  <a:lnTo>
                    <a:pt x="63" y="3"/>
                  </a:lnTo>
                  <a:lnTo>
                    <a:pt x="64" y="4"/>
                  </a:lnTo>
                  <a:lnTo>
                    <a:pt x="67" y="4"/>
                  </a:lnTo>
                  <a:lnTo>
                    <a:pt x="70" y="3"/>
                  </a:lnTo>
                  <a:lnTo>
                    <a:pt x="73" y="1"/>
                  </a:lnTo>
                  <a:lnTo>
                    <a:pt x="73" y="0"/>
                  </a:lnTo>
                  <a:lnTo>
                    <a:pt x="73" y="13"/>
                  </a:lnTo>
                  <a:lnTo>
                    <a:pt x="76" y="17"/>
                  </a:lnTo>
                  <a:lnTo>
                    <a:pt x="74" y="33"/>
                  </a:lnTo>
                  <a:lnTo>
                    <a:pt x="73" y="35"/>
                  </a:lnTo>
                  <a:lnTo>
                    <a:pt x="70" y="35"/>
                  </a:lnTo>
                  <a:lnTo>
                    <a:pt x="66" y="38"/>
                  </a:lnTo>
                  <a:lnTo>
                    <a:pt x="64" y="38"/>
                  </a:lnTo>
                  <a:lnTo>
                    <a:pt x="59" y="41"/>
                  </a:lnTo>
                  <a:lnTo>
                    <a:pt x="59" y="42"/>
                  </a:lnTo>
                  <a:lnTo>
                    <a:pt x="51" y="43"/>
                  </a:lnTo>
                  <a:lnTo>
                    <a:pt x="51" y="48"/>
                  </a:lnTo>
                  <a:lnTo>
                    <a:pt x="51" y="52"/>
                  </a:lnTo>
                  <a:lnTo>
                    <a:pt x="48" y="54"/>
                  </a:lnTo>
                  <a:lnTo>
                    <a:pt x="45" y="55"/>
                  </a:lnTo>
                  <a:lnTo>
                    <a:pt x="43" y="56"/>
                  </a:lnTo>
                  <a:lnTo>
                    <a:pt x="40" y="55"/>
                  </a:lnTo>
                  <a:lnTo>
                    <a:pt x="38" y="55"/>
                  </a:lnTo>
                  <a:lnTo>
                    <a:pt x="38" y="58"/>
                  </a:lnTo>
                  <a:lnTo>
                    <a:pt x="37" y="59"/>
                  </a:lnTo>
                  <a:lnTo>
                    <a:pt x="31" y="6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00" name="Freeform 720"/>
            <p:cNvSpPr>
              <a:spLocks/>
            </p:cNvSpPr>
            <p:nvPr/>
          </p:nvSpPr>
          <p:spPr bwMode="auto">
            <a:xfrm>
              <a:off x="7454104" y="3056586"/>
              <a:ext cx="69346" cy="62876"/>
            </a:xfrm>
            <a:custGeom>
              <a:avLst/>
              <a:gdLst/>
              <a:ahLst/>
              <a:cxnLst>
                <a:cxn ang="0">
                  <a:pos x="29" y="61"/>
                </a:cxn>
                <a:cxn ang="0">
                  <a:pos x="28" y="59"/>
                </a:cxn>
                <a:cxn ang="0">
                  <a:pos x="21" y="59"/>
                </a:cxn>
                <a:cxn ang="0">
                  <a:pos x="18" y="56"/>
                </a:cxn>
                <a:cxn ang="0">
                  <a:pos x="19" y="52"/>
                </a:cxn>
                <a:cxn ang="0">
                  <a:pos x="16" y="52"/>
                </a:cxn>
                <a:cxn ang="0">
                  <a:pos x="13" y="55"/>
                </a:cxn>
                <a:cxn ang="0">
                  <a:pos x="11" y="48"/>
                </a:cxn>
                <a:cxn ang="0">
                  <a:pos x="12" y="48"/>
                </a:cxn>
                <a:cxn ang="0">
                  <a:pos x="9" y="43"/>
                </a:cxn>
                <a:cxn ang="0">
                  <a:pos x="9" y="41"/>
                </a:cxn>
                <a:cxn ang="0">
                  <a:pos x="3" y="30"/>
                </a:cxn>
                <a:cxn ang="0">
                  <a:pos x="0" y="17"/>
                </a:cxn>
                <a:cxn ang="0">
                  <a:pos x="3" y="13"/>
                </a:cxn>
                <a:cxn ang="0">
                  <a:pos x="11" y="6"/>
                </a:cxn>
                <a:cxn ang="0">
                  <a:pos x="37" y="4"/>
                </a:cxn>
                <a:cxn ang="0">
                  <a:pos x="41" y="6"/>
                </a:cxn>
                <a:cxn ang="0">
                  <a:pos x="51" y="10"/>
                </a:cxn>
                <a:cxn ang="0">
                  <a:pos x="54" y="6"/>
                </a:cxn>
                <a:cxn ang="0">
                  <a:pos x="63" y="3"/>
                </a:cxn>
                <a:cxn ang="0">
                  <a:pos x="67" y="4"/>
                </a:cxn>
                <a:cxn ang="0">
                  <a:pos x="73" y="1"/>
                </a:cxn>
                <a:cxn ang="0">
                  <a:pos x="73" y="13"/>
                </a:cxn>
                <a:cxn ang="0">
                  <a:pos x="74" y="33"/>
                </a:cxn>
                <a:cxn ang="0">
                  <a:pos x="70" y="35"/>
                </a:cxn>
                <a:cxn ang="0">
                  <a:pos x="64" y="38"/>
                </a:cxn>
                <a:cxn ang="0">
                  <a:pos x="59" y="42"/>
                </a:cxn>
                <a:cxn ang="0">
                  <a:pos x="51" y="48"/>
                </a:cxn>
                <a:cxn ang="0">
                  <a:pos x="48" y="54"/>
                </a:cxn>
                <a:cxn ang="0">
                  <a:pos x="43" y="56"/>
                </a:cxn>
                <a:cxn ang="0">
                  <a:pos x="38" y="55"/>
                </a:cxn>
                <a:cxn ang="0">
                  <a:pos x="37" y="59"/>
                </a:cxn>
              </a:cxnLst>
              <a:rect l="0" t="0" r="r" b="b"/>
              <a:pathLst>
                <a:path w="76" h="61">
                  <a:moveTo>
                    <a:pt x="31" y="61"/>
                  </a:moveTo>
                  <a:lnTo>
                    <a:pt x="29" y="61"/>
                  </a:lnTo>
                  <a:lnTo>
                    <a:pt x="29" y="59"/>
                  </a:lnTo>
                  <a:lnTo>
                    <a:pt x="28" y="59"/>
                  </a:lnTo>
                  <a:lnTo>
                    <a:pt x="24" y="59"/>
                  </a:lnTo>
                  <a:lnTo>
                    <a:pt x="21" y="59"/>
                  </a:lnTo>
                  <a:lnTo>
                    <a:pt x="18" y="59"/>
                  </a:lnTo>
                  <a:lnTo>
                    <a:pt x="18" y="56"/>
                  </a:lnTo>
                  <a:lnTo>
                    <a:pt x="19" y="55"/>
                  </a:lnTo>
                  <a:lnTo>
                    <a:pt x="19" y="52"/>
                  </a:lnTo>
                  <a:lnTo>
                    <a:pt x="18" y="52"/>
                  </a:lnTo>
                  <a:lnTo>
                    <a:pt x="16" y="52"/>
                  </a:lnTo>
                  <a:lnTo>
                    <a:pt x="15" y="55"/>
                  </a:lnTo>
                  <a:lnTo>
                    <a:pt x="13" y="55"/>
                  </a:lnTo>
                  <a:lnTo>
                    <a:pt x="11" y="48"/>
                  </a:lnTo>
                  <a:lnTo>
                    <a:pt x="11" y="48"/>
                  </a:lnTo>
                  <a:lnTo>
                    <a:pt x="12" y="48"/>
                  </a:lnTo>
                  <a:lnTo>
                    <a:pt x="12" y="48"/>
                  </a:lnTo>
                  <a:lnTo>
                    <a:pt x="9" y="45"/>
                  </a:lnTo>
                  <a:lnTo>
                    <a:pt x="9" y="43"/>
                  </a:lnTo>
                  <a:lnTo>
                    <a:pt x="9" y="42"/>
                  </a:lnTo>
                  <a:lnTo>
                    <a:pt x="9" y="41"/>
                  </a:lnTo>
                  <a:lnTo>
                    <a:pt x="6" y="33"/>
                  </a:lnTo>
                  <a:lnTo>
                    <a:pt x="3" y="30"/>
                  </a:lnTo>
                  <a:lnTo>
                    <a:pt x="0" y="22"/>
                  </a:lnTo>
                  <a:lnTo>
                    <a:pt x="0" y="17"/>
                  </a:lnTo>
                  <a:lnTo>
                    <a:pt x="2" y="16"/>
                  </a:lnTo>
                  <a:lnTo>
                    <a:pt x="3" y="13"/>
                  </a:lnTo>
                  <a:lnTo>
                    <a:pt x="6" y="11"/>
                  </a:lnTo>
                  <a:lnTo>
                    <a:pt x="11" y="6"/>
                  </a:lnTo>
                  <a:lnTo>
                    <a:pt x="13" y="4"/>
                  </a:lnTo>
                  <a:lnTo>
                    <a:pt x="37" y="4"/>
                  </a:lnTo>
                  <a:lnTo>
                    <a:pt x="40" y="7"/>
                  </a:lnTo>
                  <a:lnTo>
                    <a:pt x="41" y="6"/>
                  </a:lnTo>
                  <a:lnTo>
                    <a:pt x="44" y="9"/>
                  </a:lnTo>
                  <a:lnTo>
                    <a:pt x="51" y="10"/>
                  </a:lnTo>
                  <a:lnTo>
                    <a:pt x="54" y="10"/>
                  </a:lnTo>
                  <a:lnTo>
                    <a:pt x="54" y="6"/>
                  </a:lnTo>
                  <a:lnTo>
                    <a:pt x="60" y="3"/>
                  </a:lnTo>
                  <a:lnTo>
                    <a:pt x="63" y="3"/>
                  </a:lnTo>
                  <a:lnTo>
                    <a:pt x="64" y="4"/>
                  </a:lnTo>
                  <a:lnTo>
                    <a:pt x="67" y="4"/>
                  </a:lnTo>
                  <a:lnTo>
                    <a:pt x="70" y="3"/>
                  </a:lnTo>
                  <a:lnTo>
                    <a:pt x="73" y="1"/>
                  </a:lnTo>
                  <a:lnTo>
                    <a:pt x="73" y="0"/>
                  </a:lnTo>
                  <a:lnTo>
                    <a:pt x="73" y="13"/>
                  </a:lnTo>
                  <a:lnTo>
                    <a:pt x="76" y="17"/>
                  </a:lnTo>
                  <a:lnTo>
                    <a:pt x="74" y="33"/>
                  </a:lnTo>
                  <a:lnTo>
                    <a:pt x="73" y="35"/>
                  </a:lnTo>
                  <a:lnTo>
                    <a:pt x="70" y="35"/>
                  </a:lnTo>
                  <a:lnTo>
                    <a:pt x="66" y="38"/>
                  </a:lnTo>
                  <a:lnTo>
                    <a:pt x="64" y="38"/>
                  </a:lnTo>
                  <a:lnTo>
                    <a:pt x="59" y="41"/>
                  </a:lnTo>
                  <a:lnTo>
                    <a:pt x="59" y="42"/>
                  </a:lnTo>
                  <a:lnTo>
                    <a:pt x="51" y="43"/>
                  </a:lnTo>
                  <a:lnTo>
                    <a:pt x="51" y="48"/>
                  </a:lnTo>
                  <a:lnTo>
                    <a:pt x="51" y="52"/>
                  </a:lnTo>
                  <a:lnTo>
                    <a:pt x="48" y="54"/>
                  </a:lnTo>
                  <a:lnTo>
                    <a:pt x="45" y="55"/>
                  </a:lnTo>
                  <a:lnTo>
                    <a:pt x="43" y="56"/>
                  </a:lnTo>
                  <a:lnTo>
                    <a:pt x="40" y="55"/>
                  </a:lnTo>
                  <a:lnTo>
                    <a:pt x="38" y="55"/>
                  </a:lnTo>
                  <a:lnTo>
                    <a:pt x="38" y="58"/>
                  </a:lnTo>
                  <a:lnTo>
                    <a:pt x="37" y="59"/>
                  </a:lnTo>
                  <a:lnTo>
                    <a:pt x="31" y="6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01" name="Freeform 721"/>
            <p:cNvSpPr>
              <a:spLocks/>
            </p:cNvSpPr>
            <p:nvPr/>
          </p:nvSpPr>
          <p:spPr bwMode="auto">
            <a:xfrm>
              <a:off x="7605963" y="3199580"/>
              <a:ext cx="18434" cy="15212"/>
            </a:xfrm>
            <a:custGeom>
              <a:avLst/>
              <a:gdLst/>
              <a:ahLst/>
              <a:cxnLst>
                <a:cxn ang="0">
                  <a:pos x="17" y="3"/>
                </a:cxn>
                <a:cxn ang="0">
                  <a:pos x="19" y="3"/>
                </a:cxn>
                <a:cxn ang="0">
                  <a:pos x="20" y="6"/>
                </a:cxn>
                <a:cxn ang="0">
                  <a:pos x="20" y="9"/>
                </a:cxn>
                <a:cxn ang="0">
                  <a:pos x="20" y="10"/>
                </a:cxn>
                <a:cxn ang="0">
                  <a:pos x="19" y="10"/>
                </a:cxn>
                <a:cxn ang="0">
                  <a:pos x="17" y="9"/>
                </a:cxn>
                <a:cxn ang="0">
                  <a:pos x="16" y="6"/>
                </a:cxn>
                <a:cxn ang="0">
                  <a:pos x="14" y="4"/>
                </a:cxn>
                <a:cxn ang="0">
                  <a:pos x="14" y="4"/>
                </a:cxn>
                <a:cxn ang="0">
                  <a:pos x="13" y="4"/>
                </a:cxn>
                <a:cxn ang="0">
                  <a:pos x="12" y="6"/>
                </a:cxn>
                <a:cxn ang="0">
                  <a:pos x="12" y="13"/>
                </a:cxn>
                <a:cxn ang="0">
                  <a:pos x="10" y="14"/>
                </a:cxn>
                <a:cxn ang="0">
                  <a:pos x="10" y="14"/>
                </a:cxn>
                <a:cxn ang="0">
                  <a:pos x="9" y="14"/>
                </a:cxn>
                <a:cxn ang="0">
                  <a:pos x="1" y="7"/>
                </a:cxn>
                <a:cxn ang="0">
                  <a:pos x="0" y="7"/>
                </a:cxn>
                <a:cxn ang="0">
                  <a:pos x="1" y="7"/>
                </a:cxn>
                <a:cxn ang="0">
                  <a:pos x="7" y="6"/>
                </a:cxn>
                <a:cxn ang="0">
                  <a:pos x="14" y="0"/>
                </a:cxn>
                <a:cxn ang="0">
                  <a:pos x="14" y="1"/>
                </a:cxn>
                <a:cxn ang="0">
                  <a:pos x="17" y="3"/>
                </a:cxn>
              </a:cxnLst>
              <a:rect l="0" t="0" r="r" b="b"/>
              <a:pathLst>
                <a:path w="20" h="14">
                  <a:moveTo>
                    <a:pt x="17" y="3"/>
                  </a:moveTo>
                  <a:lnTo>
                    <a:pt x="19" y="3"/>
                  </a:lnTo>
                  <a:lnTo>
                    <a:pt x="20" y="6"/>
                  </a:lnTo>
                  <a:lnTo>
                    <a:pt x="20" y="9"/>
                  </a:lnTo>
                  <a:lnTo>
                    <a:pt x="20" y="10"/>
                  </a:lnTo>
                  <a:lnTo>
                    <a:pt x="19" y="10"/>
                  </a:lnTo>
                  <a:lnTo>
                    <a:pt x="17" y="9"/>
                  </a:lnTo>
                  <a:lnTo>
                    <a:pt x="16" y="6"/>
                  </a:lnTo>
                  <a:lnTo>
                    <a:pt x="14" y="4"/>
                  </a:lnTo>
                  <a:lnTo>
                    <a:pt x="14" y="4"/>
                  </a:lnTo>
                  <a:lnTo>
                    <a:pt x="13" y="4"/>
                  </a:lnTo>
                  <a:lnTo>
                    <a:pt x="12" y="6"/>
                  </a:lnTo>
                  <a:lnTo>
                    <a:pt x="12" y="13"/>
                  </a:lnTo>
                  <a:lnTo>
                    <a:pt x="10" y="14"/>
                  </a:lnTo>
                  <a:lnTo>
                    <a:pt x="10" y="14"/>
                  </a:lnTo>
                  <a:lnTo>
                    <a:pt x="9" y="14"/>
                  </a:lnTo>
                  <a:lnTo>
                    <a:pt x="1" y="7"/>
                  </a:lnTo>
                  <a:lnTo>
                    <a:pt x="0" y="7"/>
                  </a:lnTo>
                  <a:lnTo>
                    <a:pt x="1" y="7"/>
                  </a:lnTo>
                  <a:lnTo>
                    <a:pt x="7" y="6"/>
                  </a:lnTo>
                  <a:lnTo>
                    <a:pt x="14" y="0"/>
                  </a:lnTo>
                  <a:lnTo>
                    <a:pt x="14" y="1"/>
                  </a:lnTo>
                  <a:lnTo>
                    <a:pt x="17" y="3"/>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02" name="Freeform 722"/>
            <p:cNvSpPr>
              <a:spLocks/>
            </p:cNvSpPr>
            <p:nvPr/>
          </p:nvSpPr>
          <p:spPr bwMode="auto">
            <a:xfrm>
              <a:off x="7605963" y="3199580"/>
              <a:ext cx="18434" cy="15212"/>
            </a:xfrm>
            <a:custGeom>
              <a:avLst/>
              <a:gdLst/>
              <a:ahLst/>
              <a:cxnLst>
                <a:cxn ang="0">
                  <a:pos x="17" y="3"/>
                </a:cxn>
                <a:cxn ang="0">
                  <a:pos x="19" y="3"/>
                </a:cxn>
                <a:cxn ang="0">
                  <a:pos x="20" y="6"/>
                </a:cxn>
                <a:cxn ang="0">
                  <a:pos x="20" y="9"/>
                </a:cxn>
                <a:cxn ang="0">
                  <a:pos x="20" y="10"/>
                </a:cxn>
                <a:cxn ang="0">
                  <a:pos x="19" y="10"/>
                </a:cxn>
                <a:cxn ang="0">
                  <a:pos x="17" y="9"/>
                </a:cxn>
                <a:cxn ang="0">
                  <a:pos x="16" y="6"/>
                </a:cxn>
                <a:cxn ang="0">
                  <a:pos x="14" y="4"/>
                </a:cxn>
                <a:cxn ang="0">
                  <a:pos x="14" y="4"/>
                </a:cxn>
                <a:cxn ang="0">
                  <a:pos x="13" y="4"/>
                </a:cxn>
                <a:cxn ang="0">
                  <a:pos x="12" y="6"/>
                </a:cxn>
                <a:cxn ang="0">
                  <a:pos x="12" y="13"/>
                </a:cxn>
                <a:cxn ang="0">
                  <a:pos x="10" y="14"/>
                </a:cxn>
                <a:cxn ang="0">
                  <a:pos x="10" y="14"/>
                </a:cxn>
                <a:cxn ang="0">
                  <a:pos x="9" y="14"/>
                </a:cxn>
                <a:cxn ang="0">
                  <a:pos x="1" y="7"/>
                </a:cxn>
                <a:cxn ang="0">
                  <a:pos x="0" y="7"/>
                </a:cxn>
                <a:cxn ang="0">
                  <a:pos x="1" y="7"/>
                </a:cxn>
                <a:cxn ang="0">
                  <a:pos x="7" y="6"/>
                </a:cxn>
                <a:cxn ang="0">
                  <a:pos x="14" y="0"/>
                </a:cxn>
                <a:cxn ang="0">
                  <a:pos x="14" y="1"/>
                </a:cxn>
                <a:cxn ang="0">
                  <a:pos x="17" y="3"/>
                </a:cxn>
              </a:cxnLst>
              <a:rect l="0" t="0" r="r" b="b"/>
              <a:pathLst>
                <a:path w="20" h="14">
                  <a:moveTo>
                    <a:pt x="17" y="3"/>
                  </a:moveTo>
                  <a:lnTo>
                    <a:pt x="19" y="3"/>
                  </a:lnTo>
                  <a:lnTo>
                    <a:pt x="20" y="6"/>
                  </a:lnTo>
                  <a:lnTo>
                    <a:pt x="20" y="9"/>
                  </a:lnTo>
                  <a:lnTo>
                    <a:pt x="20" y="10"/>
                  </a:lnTo>
                  <a:lnTo>
                    <a:pt x="19" y="10"/>
                  </a:lnTo>
                  <a:lnTo>
                    <a:pt x="17" y="9"/>
                  </a:lnTo>
                  <a:lnTo>
                    <a:pt x="16" y="6"/>
                  </a:lnTo>
                  <a:lnTo>
                    <a:pt x="14" y="4"/>
                  </a:lnTo>
                  <a:lnTo>
                    <a:pt x="14" y="4"/>
                  </a:lnTo>
                  <a:lnTo>
                    <a:pt x="13" y="4"/>
                  </a:lnTo>
                  <a:lnTo>
                    <a:pt x="12" y="6"/>
                  </a:lnTo>
                  <a:lnTo>
                    <a:pt x="12" y="13"/>
                  </a:lnTo>
                  <a:lnTo>
                    <a:pt x="10" y="14"/>
                  </a:lnTo>
                  <a:lnTo>
                    <a:pt x="10" y="14"/>
                  </a:lnTo>
                  <a:lnTo>
                    <a:pt x="9" y="14"/>
                  </a:lnTo>
                  <a:lnTo>
                    <a:pt x="1" y="7"/>
                  </a:lnTo>
                  <a:lnTo>
                    <a:pt x="0" y="7"/>
                  </a:lnTo>
                  <a:lnTo>
                    <a:pt x="1" y="7"/>
                  </a:lnTo>
                  <a:lnTo>
                    <a:pt x="7" y="6"/>
                  </a:lnTo>
                  <a:lnTo>
                    <a:pt x="14" y="0"/>
                  </a:lnTo>
                  <a:lnTo>
                    <a:pt x="14" y="1"/>
                  </a:lnTo>
                  <a:lnTo>
                    <a:pt x="17" y="3"/>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03" name="Freeform 723"/>
            <p:cNvSpPr>
              <a:spLocks/>
            </p:cNvSpPr>
            <p:nvPr/>
          </p:nvSpPr>
          <p:spPr bwMode="auto">
            <a:xfrm>
              <a:off x="6506079" y="3289837"/>
              <a:ext cx="142204" cy="158205"/>
            </a:xfrm>
            <a:custGeom>
              <a:avLst/>
              <a:gdLst/>
              <a:ahLst/>
              <a:cxnLst>
                <a:cxn ang="0">
                  <a:pos x="138" y="52"/>
                </a:cxn>
                <a:cxn ang="0">
                  <a:pos x="136" y="80"/>
                </a:cxn>
                <a:cxn ang="0">
                  <a:pos x="141" y="87"/>
                </a:cxn>
                <a:cxn ang="0">
                  <a:pos x="139" y="90"/>
                </a:cxn>
                <a:cxn ang="0">
                  <a:pos x="139" y="98"/>
                </a:cxn>
                <a:cxn ang="0">
                  <a:pos x="138" y="101"/>
                </a:cxn>
                <a:cxn ang="0">
                  <a:pos x="141" y="110"/>
                </a:cxn>
                <a:cxn ang="0">
                  <a:pos x="143" y="117"/>
                </a:cxn>
                <a:cxn ang="0">
                  <a:pos x="143" y="122"/>
                </a:cxn>
                <a:cxn ang="0">
                  <a:pos x="145" y="126"/>
                </a:cxn>
                <a:cxn ang="0">
                  <a:pos x="149" y="132"/>
                </a:cxn>
                <a:cxn ang="0">
                  <a:pos x="155" y="133"/>
                </a:cxn>
                <a:cxn ang="0">
                  <a:pos x="129" y="148"/>
                </a:cxn>
                <a:cxn ang="0">
                  <a:pos x="122" y="146"/>
                </a:cxn>
                <a:cxn ang="0">
                  <a:pos x="103" y="151"/>
                </a:cxn>
                <a:cxn ang="0">
                  <a:pos x="95" y="152"/>
                </a:cxn>
                <a:cxn ang="0">
                  <a:pos x="90" y="149"/>
                </a:cxn>
                <a:cxn ang="0">
                  <a:pos x="75" y="151"/>
                </a:cxn>
                <a:cxn ang="0">
                  <a:pos x="71" y="145"/>
                </a:cxn>
                <a:cxn ang="0">
                  <a:pos x="68" y="126"/>
                </a:cxn>
                <a:cxn ang="0">
                  <a:pos x="61" y="123"/>
                </a:cxn>
                <a:cxn ang="0">
                  <a:pos x="58" y="122"/>
                </a:cxn>
                <a:cxn ang="0">
                  <a:pos x="53" y="122"/>
                </a:cxn>
                <a:cxn ang="0">
                  <a:pos x="46" y="119"/>
                </a:cxn>
                <a:cxn ang="0">
                  <a:pos x="24" y="107"/>
                </a:cxn>
                <a:cxn ang="0">
                  <a:pos x="13" y="91"/>
                </a:cxn>
                <a:cxn ang="0">
                  <a:pos x="3" y="77"/>
                </a:cxn>
                <a:cxn ang="0">
                  <a:pos x="4" y="69"/>
                </a:cxn>
                <a:cxn ang="0">
                  <a:pos x="1" y="58"/>
                </a:cxn>
                <a:cxn ang="0">
                  <a:pos x="1" y="48"/>
                </a:cxn>
                <a:cxn ang="0">
                  <a:pos x="17" y="29"/>
                </a:cxn>
                <a:cxn ang="0">
                  <a:pos x="13" y="26"/>
                </a:cxn>
                <a:cxn ang="0">
                  <a:pos x="13" y="21"/>
                </a:cxn>
                <a:cxn ang="0">
                  <a:pos x="11" y="0"/>
                </a:cxn>
                <a:cxn ang="0">
                  <a:pos x="19" y="0"/>
                </a:cxn>
                <a:cxn ang="0">
                  <a:pos x="30" y="21"/>
                </a:cxn>
                <a:cxn ang="0">
                  <a:pos x="33" y="24"/>
                </a:cxn>
                <a:cxn ang="0">
                  <a:pos x="36" y="20"/>
                </a:cxn>
                <a:cxn ang="0">
                  <a:pos x="43" y="21"/>
                </a:cxn>
                <a:cxn ang="0">
                  <a:pos x="48" y="26"/>
                </a:cxn>
                <a:cxn ang="0">
                  <a:pos x="49" y="21"/>
                </a:cxn>
                <a:cxn ang="0">
                  <a:pos x="58" y="18"/>
                </a:cxn>
                <a:cxn ang="0">
                  <a:pos x="53" y="17"/>
                </a:cxn>
                <a:cxn ang="0">
                  <a:pos x="55" y="13"/>
                </a:cxn>
                <a:cxn ang="0">
                  <a:pos x="56" y="11"/>
                </a:cxn>
                <a:cxn ang="0">
                  <a:pos x="59" y="7"/>
                </a:cxn>
                <a:cxn ang="0">
                  <a:pos x="62" y="5"/>
                </a:cxn>
                <a:cxn ang="0">
                  <a:pos x="62" y="1"/>
                </a:cxn>
              </a:cxnLst>
              <a:rect l="0" t="0" r="r" b="b"/>
              <a:pathLst>
                <a:path w="155" h="152">
                  <a:moveTo>
                    <a:pt x="114" y="29"/>
                  </a:moveTo>
                  <a:lnTo>
                    <a:pt x="117" y="39"/>
                  </a:lnTo>
                  <a:lnTo>
                    <a:pt x="138" y="52"/>
                  </a:lnTo>
                  <a:lnTo>
                    <a:pt x="130" y="72"/>
                  </a:lnTo>
                  <a:lnTo>
                    <a:pt x="132" y="77"/>
                  </a:lnTo>
                  <a:lnTo>
                    <a:pt x="136" y="80"/>
                  </a:lnTo>
                  <a:lnTo>
                    <a:pt x="138" y="81"/>
                  </a:lnTo>
                  <a:lnTo>
                    <a:pt x="139" y="84"/>
                  </a:lnTo>
                  <a:lnTo>
                    <a:pt x="141" y="87"/>
                  </a:lnTo>
                  <a:lnTo>
                    <a:pt x="141" y="88"/>
                  </a:lnTo>
                  <a:lnTo>
                    <a:pt x="141" y="88"/>
                  </a:lnTo>
                  <a:lnTo>
                    <a:pt x="139" y="90"/>
                  </a:lnTo>
                  <a:lnTo>
                    <a:pt x="139" y="96"/>
                  </a:lnTo>
                  <a:lnTo>
                    <a:pt x="139" y="97"/>
                  </a:lnTo>
                  <a:lnTo>
                    <a:pt x="139" y="98"/>
                  </a:lnTo>
                  <a:lnTo>
                    <a:pt x="139" y="100"/>
                  </a:lnTo>
                  <a:lnTo>
                    <a:pt x="139" y="101"/>
                  </a:lnTo>
                  <a:lnTo>
                    <a:pt x="138" y="101"/>
                  </a:lnTo>
                  <a:lnTo>
                    <a:pt x="138" y="104"/>
                  </a:lnTo>
                  <a:lnTo>
                    <a:pt x="139" y="110"/>
                  </a:lnTo>
                  <a:lnTo>
                    <a:pt x="141" y="110"/>
                  </a:lnTo>
                  <a:lnTo>
                    <a:pt x="141" y="112"/>
                  </a:lnTo>
                  <a:lnTo>
                    <a:pt x="139" y="112"/>
                  </a:lnTo>
                  <a:lnTo>
                    <a:pt x="143" y="117"/>
                  </a:lnTo>
                  <a:lnTo>
                    <a:pt x="143" y="119"/>
                  </a:lnTo>
                  <a:lnTo>
                    <a:pt x="143" y="120"/>
                  </a:lnTo>
                  <a:lnTo>
                    <a:pt x="143" y="122"/>
                  </a:lnTo>
                  <a:lnTo>
                    <a:pt x="145" y="123"/>
                  </a:lnTo>
                  <a:lnTo>
                    <a:pt x="145" y="125"/>
                  </a:lnTo>
                  <a:lnTo>
                    <a:pt x="145" y="126"/>
                  </a:lnTo>
                  <a:lnTo>
                    <a:pt x="145" y="127"/>
                  </a:lnTo>
                  <a:lnTo>
                    <a:pt x="148" y="130"/>
                  </a:lnTo>
                  <a:lnTo>
                    <a:pt x="149" y="132"/>
                  </a:lnTo>
                  <a:lnTo>
                    <a:pt x="152" y="133"/>
                  </a:lnTo>
                  <a:lnTo>
                    <a:pt x="154" y="133"/>
                  </a:lnTo>
                  <a:lnTo>
                    <a:pt x="155" y="133"/>
                  </a:lnTo>
                  <a:lnTo>
                    <a:pt x="155" y="136"/>
                  </a:lnTo>
                  <a:lnTo>
                    <a:pt x="146" y="142"/>
                  </a:lnTo>
                  <a:lnTo>
                    <a:pt x="129" y="148"/>
                  </a:lnTo>
                  <a:lnTo>
                    <a:pt x="127" y="148"/>
                  </a:lnTo>
                  <a:lnTo>
                    <a:pt x="123" y="146"/>
                  </a:lnTo>
                  <a:lnTo>
                    <a:pt x="122" y="146"/>
                  </a:lnTo>
                  <a:lnTo>
                    <a:pt x="117" y="146"/>
                  </a:lnTo>
                  <a:lnTo>
                    <a:pt x="114" y="151"/>
                  </a:lnTo>
                  <a:lnTo>
                    <a:pt x="103" y="151"/>
                  </a:lnTo>
                  <a:lnTo>
                    <a:pt x="100" y="152"/>
                  </a:lnTo>
                  <a:lnTo>
                    <a:pt x="98" y="152"/>
                  </a:lnTo>
                  <a:lnTo>
                    <a:pt x="95" y="152"/>
                  </a:lnTo>
                  <a:lnTo>
                    <a:pt x="95" y="152"/>
                  </a:lnTo>
                  <a:lnTo>
                    <a:pt x="93" y="149"/>
                  </a:lnTo>
                  <a:lnTo>
                    <a:pt x="90" y="149"/>
                  </a:lnTo>
                  <a:lnTo>
                    <a:pt x="88" y="149"/>
                  </a:lnTo>
                  <a:lnTo>
                    <a:pt x="87" y="151"/>
                  </a:lnTo>
                  <a:lnTo>
                    <a:pt x="75" y="151"/>
                  </a:lnTo>
                  <a:lnTo>
                    <a:pt x="75" y="149"/>
                  </a:lnTo>
                  <a:lnTo>
                    <a:pt x="74" y="148"/>
                  </a:lnTo>
                  <a:lnTo>
                    <a:pt x="71" y="145"/>
                  </a:lnTo>
                  <a:lnTo>
                    <a:pt x="71" y="143"/>
                  </a:lnTo>
                  <a:lnTo>
                    <a:pt x="71" y="139"/>
                  </a:lnTo>
                  <a:lnTo>
                    <a:pt x="68" y="126"/>
                  </a:lnTo>
                  <a:lnTo>
                    <a:pt x="65" y="123"/>
                  </a:lnTo>
                  <a:lnTo>
                    <a:pt x="61" y="122"/>
                  </a:lnTo>
                  <a:lnTo>
                    <a:pt x="61" y="123"/>
                  </a:lnTo>
                  <a:lnTo>
                    <a:pt x="59" y="122"/>
                  </a:lnTo>
                  <a:lnTo>
                    <a:pt x="58" y="122"/>
                  </a:lnTo>
                  <a:lnTo>
                    <a:pt x="58" y="122"/>
                  </a:lnTo>
                  <a:lnTo>
                    <a:pt x="55" y="123"/>
                  </a:lnTo>
                  <a:lnTo>
                    <a:pt x="53" y="123"/>
                  </a:lnTo>
                  <a:lnTo>
                    <a:pt x="53" y="122"/>
                  </a:lnTo>
                  <a:lnTo>
                    <a:pt x="50" y="122"/>
                  </a:lnTo>
                  <a:lnTo>
                    <a:pt x="48" y="120"/>
                  </a:lnTo>
                  <a:lnTo>
                    <a:pt x="46" y="119"/>
                  </a:lnTo>
                  <a:lnTo>
                    <a:pt x="46" y="117"/>
                  </a:lnTo>
                  <a:lnTo>
                    <a:pt x="30" y="113"/>
                  </a:lnTo>
                  <a:lnTo>
                    <a:pt x="24" y="107"/>
                  </a:lnTo>
                  <a:lnTo>
                    <a:pt x="23" y="107"/>
                  </a:lnTo>
                  <a:lnTo>
                    <a:pt x="21" y="107"/>
                  </a:lnTo>
                  <a:lnTo>
                    <a:pt x="13" y="91"/>
                  </a:lnTo>
                  <a:lnTo>
                    <a:pt x="13" y="85"/>
                  </a:lnTo>
                  <a:lnTo>
                    <a:pt x="8" y="80"/>
                  </a:lnTo>
                  <a:lnTo>
                    <a:pt x="3" y="77"/>
                  </a:lnTo>
                  <a:lnTo>
                    <a:pt x="1" y="74"/>
                  </a:lnTo>
                  <a:lnTo>
                    <a:pt x="3" y="71"/>
                  </a:lnTo>
                  <a:lnTo>
                    <a:pt x="4" y="69"/>
                  </a:lnTo>
                  <a:lnTo>
                    <a:pt x="3" y="64"/>
                  </a:lnTo>
                  <a:lnTo>
                    <a:pt x="3" y="59"/>
                  </a:lnTo>
                  <a:lnTo>
                    <a:pt x="1" y="58"/>
                  </a:lnTo>
                  <a:lnTo>
                    <a:pt x="0" y="56"/>
                  </a:lnTo>
                  <a:lnTo>
                    <a:pt x="0" y="48"/>
                  </a:lnTo>
                  <a:lnTo>
                    <a:pt x="1" y="48"/>
                  </a:lnTo>
                  <a:lnTo>
                    <a:pt x="7" y="46"/>
                  </a:lnTo>
                  <a:lnTo>
                    <a:pt x="17" y="30"/>
                  </a:lnTo>
                  <a:lnTo>
                    <a:pt x="17" y="29"/>
                  </a:lnTo>
                  <a:lnTo>
                    <a:pt x="16" y="27"/>
                  </a:lnTo>
                  <a:lnTo>
                    <a:pt x="14" y="26"/>
                  </a:lnTo>
                  <a:lnTo>
                    <a:pt x="13" y="26"/>
                  </a:lnTo>
                  <a:lnTo>
                    <a:pt x="13" y="24"/>
                  </a:lnTo>
                  <a:lnTo>
                    <a:pt x="13" y="23"/>
                  </a:lnTo>
                  <a:lnTo>
                    <a:pt x="13" y="21"/>
                  </a:lnTo>
                  <a:lnTo>
                    <a:pt x="17" y="16"/>
                  </a:lnTo>
                  <a:lnTo>
                    <a:pt x="17" y="13"/>
                  </a:lnTo>
                  <a:lnTo>
                    <a:pt x="11" y="0"/>
                  </a:lnTo>
                  <a:lnTo>
                    <a:pt x="17" y="1"/>
                  </a:lnTo>
                  <a:lnTo>
                    <a:pt x="19" y="0"/>
                  </a:lnTo>
                  <a:lnTo>
                    <a:pt x="19" y="0"/>
                  </a:lnTo>
                  <a:lnTo>
                    <a:pt x="30" y="0"/>
                  </a:lnTo>
                  <a:lnTo>
                    <a:pt x="29" y="16"/>
                  </a:lnTo>
                  <a:lnTo>
                    <a:pt x="30" y="21"/>
                  </a:lnTo>
                  <a:lnTo>
                    <a:pt x="30" y="23"/>
                  </a:lnTo>
                  <a:lnTo>
                    <a:pt x="32" y="24"/>
                  </a:lnTo>
                  <a:lnTo>
                    <a:pt x="33" y="24"/>
                  </a:lnTo>
                  <a:lnTo>
                    <a:pt x="35" y="21"/>
                  </a:lnTo>
                  <a:lnTo>
                    <a:pt x="36" y="21"/>
                  </a:lnTo>
                  <a:lnTo>
                    <a:pt x="36" y="20"/>
                  </a:lnTo>
                  <a:lnTo>
                    <a:pt x="37" y="18"/>
                  </a:lnTo>
                  <a:lnTo>
                    <a:pt x="42" y="23"/>
                  </a:lnTo>
                  <a:lnTo>
                    <a:pt x="43" y="21"/>
                  </a:lnTo>
                  <a:lnTo>
                    <a:pt x="45" y="21"/>
                  </a:lnTo>
                  <a:lnTo>
                    <a:pt x="46" y="27"/>
                  </a:lnTo>
                  <a:lnTo>
                    <a:pt x="48" y="26"/>
                  </a:lnTo>
                  <a:lnTo>
                    <a:pt x="48" y="24"/>
                  </a:lnTo>
                  <a:lnTo>
                    <a:pt x="48" y="21"/>
                  </a:lnTo>
                  <a:lnTo>
                    <a:pt x="49" y="21"/>
                  </a:lnTo>
                  <a:lnTo>
                    <a:pt x="53" y="21"/>
                  </a:lnTo>
                  <a:lnTo>
                    <a:pt x="55" y="20"/>
                  </a:lnTo>
                  <a:lnTo>
                    <a:pt x="58" y="18"/>
                  </a:lnTo>
                  <a:lnTo>
                    <a:pt x="59" y="17"/>
                  </a:lnTo>
                  <a:lnTo>
                    <a:pt x="58" y="16"/>
                  </a:lnTo>
                  <a:lnTo>
                    <a:pt x="53" y="17"/>
                  </a:lnTo>
                  <a:lnTo>
                    <a:pt x="52" y="16"/>
                  </a:lnTo>
                  <a:lnTo>
                    <a:pt x="52" y="14"/>
                  </a:lnTo>
                  <a:lnTo>
                    <a:pt x="55" y="13"/>
                  </a:lnTo>
                  <a:lnTo>
                    <a:pt x="53" y="13"/>
                  </a:lnTo>
                  <a:lnTo>
                    <a:pt x="55" y="11"/>
                  </a:lnTo>
                  <a:lnTo>
                    <a:pt x="56" y="11"/>
                  </a:lnTo>
                  <a:lnTo>
                    <a:pt x="56" y="10"/>
                  </a:lnTo>
                  <a:lnTo>
                    <a:pt x="58" y="8"/>
                  </a:lnTo>
                  <a:lnTo>
                    <a:pt x="59" y="7"/>
                  </a:lnTo>
                  <a:lnTo>
                    <a:pt x="59" y="7"/>
                  </a:lnTo>
                  <a:lnTo>
                    <a:pt x="61" y="4"/>
                  </a:lnTo>
                  <a:lnTo>
                    <a:pt x="62" y="5"/>
                  </a:lnTo>
                  <a:lnTo>
                    <a:pt x="62" y="4"/>
                  </a:lnTo>
                  <a:lnTo>
                    <a:pt x="61" y="3"/>
                  </a:lnTo>
                  <a:lnTo>
                    <a:pt x="62" y="1"/>
                  </a:lnTo>
                  <a:lnTo>
                    <a:pt x="65" y="0"/>
                  </a:lnTo>
                  <a:lnTo>
                    <a:pt x="114" y="2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04" name="Freeform 724"/>
            <p:cNvSpPr>
              <a:spLocks/>
            </p:cNvSpPr>
            <p:nvPr/>
          </p:nvSpPr>
          <p:spPr bwMode="auto">
            <a:xfrm>
              <a:off x="6506079" y="3289837"/>
              <a:ext cx="142204" cy="158205"/>
            </a:xfrm>
            <a:custGeom>
              <a:avLst/>
              <a:gdLst/>
              <a:ahLst/>
              <a:cxnLst>
                <a:cxn ang="0">
                  <a:pos x="138" y="52"/>
                </a:cxn>
                <a:cxn ang="0">
                  <a:pos x="136" y="80"/>
                </a:cxn>
                <a:cxn ang="0">
                  <a:pos x="141" y="87"/>
                </a:cxn>
                <a:cxn ang="0">
                  <a:pos x="139" y="90"/>
                </a:cxn>
                <a:cxn ang="0">
                  <a:pos x="139" y="98"/>
                </a:cxn>
                <a:cxn ang="0">
                  <a:pos x="138" y="101"/>
                </a:cxn>
                <a:cxn ang="0">
                  <a:pos x="141" y="110"/>
                </a:cxn>
                <a:cxn ang="0">
                  <a:pos x="143" y="117"/>
                </a:cxn>
                <a:cxn ang="0">
                  <a:pos x="143" y="122"/>
                </a:cxn>
                <a:cxn ang="0">
                  <a:pos x="145" y="126"/>
                </a:cxn>
                <a:cxn ang="0">
                  <a:pos x="149" y="132"/>
                </a:cxn>
                <a:cxn ang="0">
                  <a:pos x="155" y="133"/>
                </a:cxn>
                <a:cxn ang="0">
                  <a:pos x="129" y="148"/>
                </a:cxn>
                <a:cxn ang="0">
                  <a:pos x="122" y="146"/>
                </a:cxn>
                <a:cxn ang="0">
                  <a:pos x="103" y="151"/>
                </a:cxn>
                <a:cxn ang="0">
                  <a:pos x="95" y="152"/>
                </a:cxn>
                <a:cxn ang="0">
                  <a:pos x="90" y="149"/>
                </a:cxn>
                <a:cxn ang="0">
                  <a:pos x="75" y="151"/>
                </a:cxn>
                <a:cxn ang="0">
                  <a:pos x="71" y="145"/>
                </a:cxn>
                <a:cxn ang="0">
                  <a:pos x="68" y="126"/>
                </a:cxn>
                <a:cxn ang="0">
                  <a:pos x="61" y="123"/>
                </a:cxn>
                <a:cxn ang="0">
                  <a:pos x="58" y="122"/>
                </a:cxn>
                <a:cxn ang="0">
                  <a:pos x="53" y="122"/>
                </a:cxn>
                <a:cxn ang="0">
                  <a:pos x="46" y="119"/>
                </a:cxn>
                <a:cxn ang="0">
                  <a:pos x="24" y="107"/>
                </a:cxn>
                <a:cxn ang="0">
                  <a:pos x="13" y="91"/>
                </a:cxn>
                <a:cxn ang="0">
                  <a:pos x="3" y="77"/>
                </a:cxn>
                <a:cxn ang="0">
                  <a:pos x="4" y="69"/>
                </a:cxn>
                <a:cxn ang="0">
                  <a:pos x="1" y="58"/>
                </a:cxn>
                <a:cxn ang="0">
                  <a:pos x="1" y="48"/>
                </a:cxn>
                <a:cxn ang="0">
                  <a:pos x="17" y="29"/>
                </a:cxn>
                <a:cxn ang="0">
                  <a:pos x="13" y="26"/>
                </a:cxn>
                <a:cxn ang="0">
                  <a:pos x="13" y="21"/>
                </a:cxn>
                <a:cxn ang="0">
                  <a:pos x="11" y="0"/>
                </a:cxn>
                <a:cxn ang="0">
                  <a:pos x="19" y="0"/>
                </a:cxn>
                <a:cxn ang="0">
                  <a:pos x="30" y="21"/>
                </a:cxn>
                <a:cxn ang="0">
                  <a:pos x="33" y="24"/>
                </a:cxn>
                <a:cxn ang="0">
                  <a:pos x="36" y="20"/>
                </a:cxn>
                <a:cxn ang="0">
                  <a:pos x="43" y="21"/>
                </a:cxn>
                <a:cxn ang="0">
                  <a:pos x="48" y="26"/>
                </a:cxn>
                <a:cxn ang="0">
                  <a:pos x="49" y="21"/>
                </a:cxn>
                <a:cxn ang="0">
                  <a:pos x="58" y="18"/>
                </a:cxn>
                <a:cxn ang="0">
                  <a:pos x="53" y="17"/>
                </a:cxn>
                <a:cxn ang="0">
                  <a:pos x="55" y="13"/>
                </a:cxn>
                <a:cxn ang="0">
                  <a:pos x="56" y="11"/>
                </a:cxn>
                <a:cxn ang="0">
                  <a:pos x="59" y="7"/>
                </a:cxn>
                <a:cxn ang="0">
                  <a:pos x="62" y="5"/>
                </a:cxn>
                <a:cxn ang="0">
                  <a:pos x="62" y="1"/>
                </a:cxn>
              </a:cxnLst>
              <a:rect l="0" t="0" r="r" b="b"/>
              <a:pathLst>
                <a:path w="155" h="152">
                  <a:moveTo>
                    <a:pt x="114" y="29"/>
                  </a:moveTo>
                  <a:lnTo>
                    <a:pt x="117" y="39"/>
                  </a:lnTo>
                  <a:lnTo>
                    <a:pt x="138" y="52"/>
                  </a:lnTo>
                  <a:lnTo>
                    <a:pt x="130" y="72"/>
                  </a:lnTo>
                  <a:lnTo>
                    <a:pt x="132" y="77"/>
                  </a:lnTo>
                  <a:lnTo>
                    <a:pt x="136" y="80"/>
                  </a:lnTo>
                  <a:lnTo>
                    <a:pt x="138" y="81"/>
                  </a:lnTo>
                  <a:lnTo>
                    <a:pt x="139" y="84"/>
                  </a:lnTo>
                  <a:lnTo>
                    <a:pt x="141" y="87"/>
                  </a:lnTo>
                  <a:lnTo>
                    <a:pt x="141" y="88"/>
                  </a:lnTo>
                  <a:lnTo>
                    <a:pt x="141" y="88"/>
                  </a:lnTo>
                  <a:lnTo>
                    <a:pt x="139" y="90"/>
                  </a:lnTo>
                  <a:lnTo>
                    <a:pt x="139" y="96"/>
                  </a:lnTo>
                  <a:lnTo>
                    <a:pt x="139" y="97"/>
                  </a:lnTo>
                  <a:lnTo>
                    <a:pt x="139" y="98"/>
                  </a:lnTo>
                  <a:lnTo>
                    <a:pt x="139" y="100"/>
                  </a:lnTo>
                  <a:lnTo>
                    <a:pt x="139" y="101"/>
                  </a:lnTo>
                  <a:lnTo>
                    <a:pt x="138" y="101"/>
                  </a:lnTo>
                  <a:lnTo>
                    <a:pt x="138" y="104"/>
                  </a:lnTo>
                  <a:lnTo>
                    <a:pt x="139" y="110"/>
                  </a:lnTo>
                  <a:lnTo>
                    <a:pt x="141" y="110"/>
                  </a:lnTo>
                  <a:lnTo>
                    <a:pt x="141" y="112"/>
                  </a:lnTo>
                  <a:lnTo>
                    <a:pt x="139" y="112"/>
                  </a:lnTo>
                  <a:lnTo>
                    <a:pt x="143" y="117"/>
                  </a:lnTo>
                  <a:lnTo>
                    <a:pt x="143" y="119"/>
                  </a:lnTo>
                  <a:lnTo>
                    <a:pt x="143" y="120"/>
                  </a:lnTo>
                  <a:lnTo>
                    <a:pt x="143" y="122"/>
                  </a:lnTo>
                  <a:lnTo>
                    <a:pt x="145" y="123"/>
                  </a:lnTo>
                  <a:lnTo>
                    <a:pt x="145" y="125"/>
                  </a:lnTo>
                  <a:lnTo>
                    <a:pt x="145" y="126"/>
                  </a:lnTo>
                  <a:lnTo>
                    <a:pt x="145" y="127"/>
                  </a:lnTo>
                  <a:lnTo>
                    <a:pt x="148" y="130"/>
                  </a:lnTo>
                  <a:lnTo>
                    <a:pt x="149" y="132"/>
                  </a:lnTo>
                  <a:lnTo>
                    <a:pt x="152" y="133"/>
                  </a:lnTo>
                  <a:lnTo>
                    <a:pt x="154" y="133"/>
                  </a:lnTo>
                  <a:lnTo>
                    <a:pt x="155" y="133"/>
                  </a:lnTo>
                  <a:lnTo>
                    <a:pt x="155" y="136"/>
                  </a:lnTo>
                  <a:lnTo>
                    <a:pt x="146" y="142"/>
                  </a:lnTo>
                  <a:lnTo>
                    <a:pt x="129" y="148"/>
                  </a:lnTo>
                  <a:lnTo>
                    <a:pt x="127" y="148"/>
                  </a:lnTo>
                  <a:lnTo>
                    <a:pt x="123" y="146"/>
                  </a:lnTo>
                  <a:lnTo>
                    <a:pt x="122" y="146"/>
                  </a:lnTo>
                  <a:lnTo>
                    <a:pt x="117" y="146"/>
                  </a:lnTo>
                  <a:lnTo>
                    <a:pt x="114" y="151"/>
                  </a:lnTo>
                  <a:lnTo>
                    <a:pt x="103" y="151"/>
                  </a:lnTo>
                  <a:lnTo>
                    <a:pt x="100" y="152"/>
                  </a:lnTo>
                  <a:lnTo>
                    <a:pt x="98" y="152"/>
                  </a:lnTo>
                  <a:lnTo>
                    <a:pt x="95" y="152"/>
                  </a:lnTo>
                  <a:lnTo>
                    <a:pt x="95" y="152"/>
                  </a:lnTo>
                  <a:lnTo>
                    <a:pt x="93" y="149"/>
                  </a:lnTo>
                  <a:lnTo>
                    <a:pt x="90" y="149"/>
                  </a:lnTo>
                  <a:lnTo>
                    <a:pt x="88" y="149"/>
                  </a:lnTo>
                  <a:lnTo>
                    <a:pt x="87" y="151"/>
                  </a:lnTo>
                  <a:lnTo>
                    <a:pt x="75" y="151"/>
                  </a:lnTo>
                  <a:lnTo>
                    <a:pt x="75" y="149"/>
                  </a:lnTo>
                  <a:lnTo>
                    <a:pt x="74" y="148"/>
                  </a:lnTo>
                  <a:lnTo>
                    <a:pt x="71" y="145"/>
                  </a:lnTo>
                  <a:lnTo>
                    <a:pt x="71" y="143"/>
                  </a:lnTo>
                  <a:lnTo>
                    <a:pt x="71" y="139"/>
                  </a:lnTo>
                  <a:lnTo>
                    <a:pt x="68" y="126"/>
                  </a:lnTo>
                  <a:lnTo>
                    <a:pt x="65" y="123"/>
                  </a:lnTo>
                  <a:lnTo>
                    <a:pt x="61" y="122"/>
                  </a:lnTo>
                  <a:lnTo>
                    <a:pt x="61" y="123"/>
                  </a:lnTo>
                  <a:lnTo>
                    <a:pt x="59" y="122"/>
                  </a:lnTo>
                  <a:lnTo>
                    <a:pt x="58" y="122"/>
                  </a:lnTo>
                  <a:lnTo>
                    <a:pt x="58" y="122"/>
                  </a:lnTo>
                  <a:lnTo>
                    <a:pt x="55" y="123"/>
                  </a:lnTo>
                  <a:lnTo>
                    <a:pt x="53" y="123"/>
                  </a:lnTo>
                  <a:lnTo>
                    <a:pt x="53" y="122"/>
                  </a:lnTo>
                  <a:lnTo>
                    <a:pt x="50" y="122"/>
                  </a:lnTo>
                  <a:lnTo>
                    <a:pt x="48" y="120"/>
                  </a:lnTo>
                  <a:lnTo>
                    <a:pt x="46" y="119"/>
                  </a:lnTo>
                  <a:lnTo>
                    <a:pt x="46" y="117"/>
                  </a:lnTo>
                  <a:lnTo>
                    <a:pt x="30" y="113"/>
                  </a:lnTo>
                  <a:lnTo>
                    <a:pt x="24" y="107"/>
                  </a:lnTo>
                  <a:lnTo>
                    <a:pt x="23" y="107"/>
                  </a:lnTo>
                  <a:lnTo>
                    <a:pt x="21" y="107"/>
                  </a:lnTo>
                  <a:lnTo>
                    <a:pt x="13" y="91"/>
                  </a:lnTo>
                  <a:lnTo>
                    <a:pt x="13" y="85"/>
                  </a:lnTo>
                  <a:lnTo>
                    <a:pt x="8" y="80"/>
                  </a:lnTo>
                  <a:lnTo>
                    <a:pt x="3" y="77"/>
                  </a:lnTo>
                  <a:lnTo>
                    <a:pt x="1" y="74"/>
                  </a:lnTo>
                  <a:lnTo>
                    <a:pt x="3" y="71"/>
                  </a:lnTo>
                  <a:lnTo>
                    <a:pt x="4" y="69"/>
                  </a:lnTo>
                  <a:lnTo>
                    <a:pt x="3" y="64"/>
                  </a:lnTo>
                  <a:lnTo>
                    <a:pt x="3" y="59"/>
                  </a:lnTo>
                  <a:lnTo>
                    <a:pt x="1" y="58"/>
                  </a:lnTo>
                  <a:lnTo>
                    <a:pt x="0" y="56"/>
                  </a:lnTo>
                  <a:lnTo>
                    <a:pt x="0" y="48"/>
                  </a:lnTo>
                  <a:lnTo>
                    <a:pt x="1" y="48"/>
                  </a:lnTo>
                  <a:lnTo>
                    <a:pt x="7" y="46"/>
                  </a:lnTo>
                  <a:lnTo>
                    <a:pt x="17" y="30"/>
                  </a:lnTo>
                  <a:lnTo>
                    <a:pt x="17" y="29"/>
                  </a:lnTo>
                  <a:lnTo>
                    <a:pt x="16" y="27"/>
                  </a:lnTo>
                  <a:lnTo>
                    <a:pt x="14" y="26"/>
                  </a:lnTo>
                  <a:lnTo>
                    <a:pt x="13" y="26"/>
                  </a:lnTo>
                  <a:lnTo>
                    <a:pt x="13" y="24"/>
                  </a:lnTo>
                  <a:lnTo>
                    <a:pt x="13" y="23"/>
                  </a:lnTo>
                  <a:lnTo>
                    <a:pt x="13" y="21"/>
                  </a:lnTo>
                  <a:lnTo>
                    <a:pt x="17" y="16"/>
                  </a:lnTo>
                  <a:lnTo>
                    <a:pt x="17" y="13"/>
                  </a:lnTo>
                  <a:lnTo>
                    <a:pt x="11" y="0"/>
                  </a:lnTo>
                  <a:lnTo>
                    <a:pt x="17" y="1"/>
                  </a:lnTo>
                  <a:lnTo>
                    <a:pt x="19" y="0"/>
                  </a:lnTo>
                  <a:lnTo>
                    <a:pt x="19" y="0"/>
                  </a:lnTo>
                  <a:lnTo>
                    <a:pt x="30" y="0"/>
                  </a:lnTo>
                  <a:lnTo>
                    <a:pt x="29" y="16"/>
                  </a:lnTo>
                  <a:lnTo>
                    <a:pt x="30" y="21"/>
                  </a:lnTo>
                  <a:lnTo>
                    <a:pt x="30" y="23"/>
                  </a:lnTo>
                  <a:lnTo>
                    <a:pt x="32" y="24"/>
                  </a:lnTo>
                  <a:lnTo>
                    <a:pt x="33" y="24"/>
                  </a:lnTo>
                  <a:lnTo>
                    <a:pt x="35" y="21"/>
                  </a:lnTo>
                  <a:lnTo>
                    <a:pt x="36" y="21"/>
                  </a:lnTo>
                  <a:lnTo>
                    <a:pt x="36" y="20"/>
                  </a:lnTo>
                  <a:lnTo>
                    <a:pt x="37" y="18"/>
                  </a:lnTo>
                  <a:lnTo>
                    <a:pt x="42" y="23"/>
                  </a:lnTo>
                  <a:lnTo>
                    <a:pt x="43" y="21"/>
                  </a:lnTo>
                  <a:lnTo>
                    <a:pt x="45" y="21"/>
                  </a:lnTo>
                  <a:lnTo>
                    <a:pt x="46" y="27"/>
                  </a:lnTo>
                  <a:lnTo>
                    <a:pt x="48" y="26"/>
                  </a:lnTo>
                  <a:lnTo>
                    <a:pt x="48" y="24"/>
                  </a:lnTo>
                  <a:lnTo>
                    <a:pt x="48" y="21"/>
                  </a:lnTo>
                  <a:lnTo>
                    <a:pt x="49" y="21"/>
                  </a:lnTo>
                  <a:lnTo>
                    <a:pt x="53" y="21"/>
                  </a:lnTo>
                  <a:lnTo>
                    <a:pt x="55" y="20"/>
                  </a:lnTo>
                  <a:lnTo>
                    <a:pt x="58" y="18"/>
                  </a:lnTo>
                  <a:lnTo>
                    <a:pt x="59" y="17"/>
                  </a:lnTo>
                  <a:lnTo>
                    <a:pt x="58" y="16"/>
                  </a:lnTo>
                  <a:lnTo>
                    <a:pt x="53" y="17"/>
                  </a:lnTo>
                  <a:lnTo>
                    <a:pt x="52" y="16"/>
                  </a:lnTo>
                  <a:lnTo>
                    <a:pt x="52" y="14"/>
                  </a:lnTo>
                  <a:lnTo>
                    <a:pt x="55" y="13"/>
                  </a:lnTo>
                  <a:lnTo>
                    <a:pt x="53" y="13"/>
                  </a:lnTo>
                  <a:lnTo>
                    <a:pt x="55" y="11"/>
                  </a:lnTo>
                  <a:lnTo>
                    <a:pt x="56" y="11"/>
                  </a:lnTo>
                  <a:lnTo>
                    <a:pt x="56" y="10"/>
                  </a:lnTo>
                  <a:lnTo>
                    <a:pt x="58" y="8"/>
                  </a:lnTo>
                  <a:lnTo>
                    <a:pt x="59" y="7"/>
                  </a:lnTo>
                  <a:lnTo>
                    <a:pt x="59" y="7"/>
                  </a:lnTo>
                  <a:lnTo>
                    <a:pt x="61" y="4"/>
                  </a:lnTo>
                  <a:lnTo>
                    <a:pt x="62" y="5"/>
                  </a:lnTo>
                  <a:lnTo>
                    <a:pt x="62" y="4"/>
                  </a:lnTo>
                  <a:lnTo>
                    <a:pt x="61" y="3"/>
                  </a:lnTo>
                  <a:lnTo>
                    <a:pt x="62" y="1"/>
                  </a:lnTo>
                  <a:lnTo>
                    <a:pt x="65" y="0"/>
                  </a:lnTo>
                  <a:lnTo>
                    <a:pt x="114" y="29"/>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05" name="Freeform 725"/>
            <p:cNvSpPr>
              <a:spLocks/>
            </p:cNvSpPr>
            <p:nvPr/>
          </p:nvSpPr>
          <p:spPr bwMode="auto">
            <a:xfrm>
              <a:off x="5949553" y="2706711"/>
              <a:ext cx="157126" cy="141979"/>
            </a:xfrm>
            <a:custGeom>
              <a:avLst/>
              <a:gdLst/>
              <a:ahLst/>
              <a:cxnLst>
                <a:cxn ang="0">
                  <a:pos x="62" y="137"/>
                </a:cxn>
                <a:cxn ang="0">
                  <a:pos x="1" y="134"/>
                </a:cxn>
                <a:cxn ang="0">
                  <a:pos x="29" y="121"/>
                </a:cxn>
                <a:cxn ang="0">
                  <a:pos x="36" y="116"/>
                </a:cxn>
                <a:cxn ang="0">
                  <a:pos x="40" y="112"/>
                </a:cxn>
                <a:cxn ang="0">
                  <a:pos x="48" y="95"/>
                </a:cxn>
                <a:cxn ang="0">
                  <a:pos x="46" y="77"/>
                </a:cxn>
                <a:cxn ang="0">
                  <a:pos x="51" y="68"/>
                </a:cxn>
                <a:cxn ang="0">
                  <a:pos x="53" y="67"/>
                </a:cxn>
                <a:cxn ang="0">
                  <a:pos x="55" y="58"/>
                </a:cxn>
                <a:cxn ang="0">
                  <a:pos x="87" y="35"/>
                </a:cxn>
                <a:cxn ang="0">
                  <a:pos x="93" y="28"/>
                </a:cxn>
                <a:cxn ang="0">
                  <a:pos x="103" y="3"/>
                </a:cxn>
                <a:cxn ang="0">
                  <a:pos x="109" y="0"/>
                </a:cxn>
                <a:cxn ang="0">
                  <a:pos x="120" y="13"/>
                </a:cxn>
                <a:cxn ang="0">
                  <a:pos x="129" y="12"/>
                </a:cxn>
                <a:cxn ang="0">
                  <a:pos x="142" y="10"/>
                </a:cxn>
                <a:cxn ang="0">
                  <a:pos x="149" y="15"/>
                </a:cxn>
                <a:cxn ang="0">
                  <a:pos x="157" y="15"/>
                </a:cxn>
                <a:cxn ang="0">
                  <a:pos x="158" y="18"/>
                </a:cxn>
                <a:cxn ang="0">
                  <a:pos x="159" y="19"/>
                </a:cxn>
                <a:cxn ang="0">
                  <a:pos x="161" y="20"/>
                </a:cxn>
                <a:cxn ang="0">
                  <a:pos x="162" y="22"/>
                </a:cxn>
                <a:cxn ang="0">
                  <a:pos x="161" y="23"/>
                </a:cxn>
                <a:cxn ang="0">
                  <a:pos x="162" y="28"/>
                </a:cxn>
                <a:cxn ang="0">
                  <a:pos x="162" y="36"/>
                </a:cxn>
                <a:cxn ang="0">
                  <a:pos x="164" y="39"/>
                </a:cxn>
                <a:cxn ang="0">
                  <a:pos x="164" y="44"/>
                </a:cxn>
                <a:cxn ang="0">
                  <a:pos x="165" y="48"/>
                </a:cxn>
                <a:cxn ang="0">
                  <a:pos x="167" y="54"/>
                </a:cxn>
                <a:cxn ang="0">
                  <a:pos x="171" y="58"/>
                </a:cxn>
                <a:cxn ang="0">
                  <a:pos x="168" y="60"/>
                </a:cxn>
                <a:cxn ang="0">
                  <a:pos x="168" y="64"/>
                </a:cxn>
                <a:cxn ang="0">
                  <a:pos x="168" y="64"/>
                </a:cxn>
                <a:cxn ang="0">
                  <a:pos x="159" y="63"/>
                </a:cxn>
                <a:cxn ang="0">
                  <a:pos x="148" y="64"/>
                </a:cxn>
                <a:cxn ang="0">
                  <a:pos x="146" y="66"/>
                </a:cxn>
                <a:cxn ang="0">
                  <a:pos x="144" y="64"/>
                </a:cxn>
                <a:cxn ang="0">
                  <a:pos x="144" y="67"/>
                </a:cxn>
                <a:cxn ang="0">
                  <a:pos x="142" y="70"/>
                </a:cxn>
                <a:cxn ang="0">
                  <a:pos x="133" y="71"/>
                </a:cxn>
                <a:cxn ang="0">
                  <a:pos x="130" y="73"/>
                </a:cxn>
                <a:cxn ang="0">
                  <a:pos x="130" y="76"/>
                </a:cxn>
                <a:cxn ang="0">
                  <a:pos x="132" y="76"/>
                </a:cxn>
                <a:cxn ang="0">
                  <a:pos x="130" y="77"/>
                </a:cxn>
                <a:cxn ang="0">
                  <a:pos x="130" y="80"/>
                </a:cxn>
                <a:cxn ang="0">
                  <a:pos x="132" y="80"/>
                </a:cxn>
                <a:cxn ang="0">
                  <a:pos x="133" y="82"/>
                </a:cxn>
                <a:cxn ang="0">
                  <a:pos x="133" y="84"/>
                </a:cxn>
                <a:cxn ang="0">
                  <a:pos x="122" y="89"/>
                </a:cxn>
                <a:cxn ang="0">
                  <a:pos x="116" y="90"/>
                </a:cxn>
                <a:cxn ang="0">
                  <a:pos x="113" y="95"/>
                </a:cxn>
                <a:cxn ang="0">
                  <a:pos x="112" y="98"/>
                </a:cxn>
                <a:cxn ang="0">
                  <a:pos x="100" y="102"/>
                </a:cxn>
                <a:cxn ang="0">
                  <a:pos x="97" y="103"/>
                </a:cxn>
                <a:cxn ang="0">
                  <a:pos x="91" y="103"/>
                </a:cxn>
                <a:cxn ang="0">
                  <a:pos x="91" y="106"/>
                </a:cxn>
                <a:cxn ang="0">
                  <a:pos x="87" y="105"/>
                </a:cxn>
                <a:cxn ang="0">
                  <a:pos x="84" y="105"/>
                </a:cxn>
                <a:cxn ang="0">
                  <a:pos x="81" y="108"/>
                </a:cxn>
                <a:cxn ang="0">
                  <a:pos x="78" y="111"/>
                </a:cxn>
                <a:cxn ang="0">
                  <a:pos x="62" y="119"/>
                </a:cxn>
              </a:cxnLst>
              <a:rect l="0" t="0" r="r" b="b"/>
              <a:pathLst>
                <a:path w="171" h="137">
                  <a:moveTo>
                    <a:pt x="62" y="119"/>
                  </a:moveTo>
                  <a:lnTo>
                    <a:pt x="62" y="137"/>
                  </a:lnTo>
                  <a:lnTo>
                    <a:pt x="0" y="137"/>
                  </a:lnTo>
                  <a:lnTo>
                    <a:pt x="1" y="134"/>
                  </a:lnTo>
                  <a:lnTo>
                    <a:pt x="20" y="129"/>
                  </a:lnTo>
                  <a:lnTo>
                    <a:pt x="29" y="121"/>
                  </a:lnTo>
                  <a:lnTo>
                    <a:pt x="33" y="119"/>
                  </a:lnTo>
                  <a:lnTo>
                    <a:pt x="36" y="116"/>
                  </a:lnTo>
                  <a:lnTo>
                    <a:pt x="38" y="115"/>
                  </a:lnTo>
                  <a:lnTo>
                    <a:pt x="40" y="112"/>
                  </a:lnTo>
                  <a:lnTo>
                    <a:pt x="48" y="100"/>
                  </a:lnTo>
                  <a:lnTo>
                    <a:pt x="48" y="95"/>
                  </a:lnTo>
                  <a:lnTo>
                    <a:pt x="45" y="90"/>
                  </a:lnTo>
                  <a:lnTo>
                    <a:pt x="46" y="77"/>
                  </a:lnTo>
                  <a:lnTo>
                    <a:pt x="51" y="70"/>
                  </a:lnTo>
                  <a:lnTo>
                    <a:pt x="51" y="68"/>
                  </a:lnTo>
                  <a:lnTo>
                    <a:pt x="53" y="67"/>
                  </a:lnTo>
                  <a:lnTo>
                    <a:pt x="53" y="67"/>
                  </a:lnTo>
                  <a:lnTo>
                    <a:pt x="56" y="61"/>
                  </a:lnTo>
                  <a:lnTo>
                    <a:pt x="55" y="58"/>
                  </a:lnTo>
                  <a:lnTo>
                    <a:pt x="67" y="45"/>
                  </a:lnTo>
                  <a:lnTo>
                    <a:pt x="87" y="35"/>
                  </a:lnTo>
                  <a:lnTo>
                    <a:pt x="90" y="32"/>
                  </a:lnTo>
                  <a:lnTo>
                    <a:pt x="93" y="28"/>
                  </a:lnTo>
                  <a:lnTo>
                    <a:pt x="96" y="23"/>
                  </a:lnTo>
                  <a:lnTo>
                    <a:pt x="103" y="3"/>
                  </a:lnTo>
                  <a:lnTo>
                    <a:pt x="104" y="2"/>
                  </a:lnTo>
                  <a:lnTo>
                    <a:pt x="109" y="0"/>
                  </a:lnTo>
                  <a:lnTo>
                    <a:pt x="112" y="5"/>
                  </a:lnTo>
                  <a:lnTo>
                    <a:pt x="120" y="13"/>
                  </a:lnTo>
                  <a:lnTo>
                    <a:pt x="123" y="13"/>
                  </a:lnTo>
                  <a:lnTo>
                    <a:pt x="129" y="12"/>
                  </a:lnTo>
                  <a:lnTo>
                    <a:pt x="141" y="12"/>
                  </a:lnTo>
                  <a:lnTo>
                    <a:pt x="142" y="10"/>
                  </a:lnTo>
                  <a:lnTo>
                    <a:pt x="146" y="13"/>
                  </a:lnTo>
                  <a:lnTo>
                    <a:pt x="149" y="15"/>
                  </a:lnTo>
                  <a:lnTo>
                    <a:pt x="152" y="15"/>
                  </a:lnTo>
                  <a:lnTo>
                    <a:pt x="157" y="15"/>
                  </a:lnTo>
                  <a:lnTo>
                    <a:pt x="157" y="16"/>
                  </a:lnTo>
                  <a:lnTo>
                    <a:pt x="158" y="18"/>
                  </a:lnTo>
                  <a:lnTo>
                    <a:pt x="159" y="19"/>
                  </a:lnTo>
                  <a:lnTo>
                    <a:pt x="159" y="19"/>
                  </a:lnTo>
                  <a:lnTo>
                    <a:pt x="161" y="20"/>
                  </a:lnTo>
                  <a:lnTo>
                    <a:pt x="161" y="20"/>
                  </a:lnTo>
                  <a:lnTo>
                    <a:pt x="162" y="22"/>
                  </a:lnTo>
                  <a:lnTo>
                    <a:pt x="162" y="22"/>
                  </a:lnTo>
                  <a:lnTo>
                    <a:pt x="161" y="22"/>
                  </a:lnTo>
                  <a:lnTo>
                    <a:pt x="161" y="23"/>
                  </a:lnTo>
                  <a:lnTo>
                    <a:pt x="162" y="26"/>
                  </a:lnTo>
                  <a:lnTo>
                    <a:pt x="162" y="28"/>
                  </a:lnTo>
                  <a:lnTo>
                    <a:pt x="162" y="32"/>
                  </a:lnTo>
                  <a:lnTo>
                    <a:pt x="162" y="36"/>
                  </a:lnTo>
                  <a:lnTo>
                    <a:pt x="162" y="38"/>
                  </a:lnTo>
                  <a:lnTo>
                    <a:pt x="164" y="39"/>
                  </a:lnTo>
                  <a:lnTo>
                    <a:pt x="164" y="42"/>
                  </a:lnTo>
                  <a:lnTo>
                    <a:pt x="164" y="44"/>
                  </a:lnTo>
                  <a:lnTo>
                    <a:pt x="164" y="45"/>
                  </a:lnTo>
                  <a:lnTo>
                    <a:pt x="165" y="48"/>
                  </a:lnTo>
                  <a:lnTo>
                    <a:pt x="164" y="50"/>
                  </a:lnTo>
                  <a:lnTo>
                    <a:pt x="167" y="54"/>
                  </a:lnTo>
                  <a:lnTo>
                    <a:pt x="171" y="58"/>
                  </a:lnTo>
                  <a:lnTo>
                    <a:pt x="171" y="58"/>
                  </a:lnTo>
                  <a:lnTo>
                    <a:pt x="170" y="58"/>
                  </a:lnTo>
                  <a:lnTo>
                    <a:pt x="168" y="60"/>
                  </a:lnTo>
                  <a:lnTo>
                    <a:pt x="168" y="63"/>
                  </a:lnTo>
                  <a:lnTo>
                    <a:pt x="168" y="64"/>
                  </a:lnTo>
                  <a:lnTo>
                    <a:pt x="168" y="64"/>
                  </a:lnTo>
                  <a:lnTo>
                    <a:pt x="168" y="64"/>
                  </a:lnTo>
                  <a:lnTo>
                    <a:pt x="167" y="64"/>
                  </a:lnTo>
                  <a:lnTo>
                    <a:pt x="159" y="63"/>
                  </a:lnTo>
                  <a:lnTo>
                    <a:pt x="159" y="63"/>
                  </a:lnTo>
                  <a:lnTo>
                    <a:pt x="148" y="64"/>
                  </a:lnTo>
                  <a:lnTo>
                    <a:pt x="148" y="64"/>
                  </a:lnTo>
                  <a:lnTo>
                    <a:pt x="146" y="66"/>
                  </a:lnTo>
                  <a:lnTo>
                    <a:pt x="145" y="64"/>
                  </a:lnTo>
                  <a:lnTo>
                    <a:pt x="144" y="64"/>
                  </a:lnTo>
                  <a:lnTo>
                    <a:pt x="144" y="66"/>
                  </a:lnTo>
                  <a:lnTo>
                    <a:pt x="144" y="67"/>
                  </a:lnTo>
                  <a:lnTo>
                    <a:pt x="144" y="68"/>
                  </a:lnTo>
                  <a:lnTo>
                    <a:pt x="142" y="70"/>
                  </a:lnTo>
                  <a:lnTo>
                    <a:pt x="135" y="71"/>
                  </a:lnTo>
                  <a:lnTo>
                    <a:pt x="133" y="71"/>
                  </a:lnTo>
                  <a:lnTo>
                    <a:pt x="132" y="71"/>
                  </a:lnTo>
                  <a:lnTo>
                    <a:pt x="130" y="73"/>
                  </a:lnTo>
                  <a:lnTo>
                    <a:pt x="130" y="73"/>
                  </a:lnTo>
                  <a:lnTo>
                    <a:pt x="130" y="76"/>
                  </a:lnTo>
                  <a:lnTo>
                    <a:pt x="130" y="76"/>
                  </a:lnTo>
                  <a:lnTo>
                    <a:pt x="132" y="76"/>
                  </a:lnTo>
                  <a:lnTo>
                    <a:pt x="132" y="77"/>
                  </a:lnTo>
                  <a:lnTo>
                    <a:pt x="130" y="77"/>
                  </a:lnTo>
                  <a:lnTo>
                    <a:pt x="130" y="80"/>
                  </a:lnTo>
                  <a:lnTo>
                    <a:pt x="130" y="80"/>
                  </a:lnTo>
                  <a:lnTo>
                    <a:pt x="132" y="80"/>
                  </a:lnTo>
                  <a:lnTo>
                    <a:pt x="132" y="80"/>
                  </a:lnTo>
                  <a:lnTo>
                    <a:pt x="133" y="82"/>
                  </a:lnTo>
                  <a:lnTo>
                    <a:pt x="133" y="82"/>
                  </a:lnTo>
                  <a:lnTo>
                    <a:pt x="135" y="83"/>
                  </a:lnTo>
                  <a:lnTo>
                    <a:pt x="133" y="84"/>
                  </a:lnTo>
                  <a:lnTo>
                    <a:pt x="128" y="84"/>
                  </a:lnTo>
                  <a:lnTo>
                    <a:pt x="122" y="89"/>
                  </a:lnTo>
                  <a:lnTo>
                    <a:pt x="120" y="89"/>
                  </a:lnTo>
                  <a:lnTo>
                    <a:pt x="116" y="90"/>
                  </a:lnTo>
                  <a:lnTo>
                    <a:pt x="113" y="93"/>
                  </a:lnTo>
                  <a:lnTo>
                    <a:pt x="113" y="95"/>
                  </a:lnTo>
                  <a:lnTo>
                    <a:pt x="113" y="96"/>
                  </a:lnTo>
                  <a:lnTo>
                    <a:pt x="112" y="98"/>
                  </a:lnTo>
                  <a:lnTo>
                    <a:pt x="109" y="99"/>
                  </a:lnTo>
                  <a:lnTo>
                    <a:pt x="100" y="102"/>
                  </a:lnTo>
                  <a:lnTo>
                    <a:pt x="98" y="102"/>
                  </a:lnTo>
                  <a:lnTo>
                    <a:pt x="97" y="103"/>
                  </a:lnTo>
                  <a:lnTo>
                    <a:pt x="93" y="102"/>
                  </a:lnTo>
                  <a:lnTo>
                    <a:pt x="91" y="103"/>
                  </a:lnTo>
                  <a:lnTo>
                    <a:pt x="91" y="106"/>
                  </a:lnTo>
                  <a:lnTo>
                    <a:pt x="91" y="106"/>
                  </a:lnTo>
                  <a:lnTo>
                    <a:pt x="88" y="106"/>
                  </a:lnTo>
                  <a:lnTo>
                    <a:pt x="87" y="105"/>
                  </a:lnTo>
                  <a:lnTo>
                    <a:pt x="85" y="106"/>
                  </a:lnTo>
                  <a:lnTo>
                    <a:pt x="84" y="105"/>
                  </a:lnTo>
                  <a:lnTo>
                    <a:pt x="83" y="106"/>
                  </a:lnTo>
                  <a:lnTo>
                    <a:pt x="81" y="108"/>
                  </a:lnTo>
                  <a:lnTo>
                    <a:pt x="80" y="109"/>
                  </a:lnTo>
                  <a:lnTo>
                    <a:pt x="78" y="111"/>
                  </a:lnTo>
                  <a:lnTo>
                    <a:pt x="74" y="111"/>
                  </a:lnTo>
                  <a:lnTo>
                    <a:pt x="62" y="11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06" name="Freeform 727"/>
            <p:cNvSpPr>
              <a:spLocks/>
            </p:cNvSpPr>
            <p:nvPr/>
          </p:nvSpPr>
          <p:spPr bwMode="auto">
            <a:xfrm>
              <a:off x="5945165" y="3127576"/>
              <a:ext cx="40380" cy="43608"/>
            </a:xfrm>
            <a:custGeom>
              <a:avLst/>
              <a:gdLst/>
              <a:ahLst/>
              <a:cxnLst>
                <a:cxn ang="0">
                  <a:pos x="2" y="13"/>
                </a:cxn>
                <a:cxn ang="0">
                  <a:pos x="5" y="12"/>
                </a:cxn>
                <a:cxn ang="0">
                  <a:pos x="8" y="9"/>
                </a:cxn>
                <a:cxn ang="0">
                  <a:pos x="9" y="7"/>
                </a:cxn>
                <a:cxn ang="0">
                  <a:pos x="12" y="3"/>
                </a:cxn>
                <a:cxn ang="0">
                  <a:pos x="13" y="2"/>
                </a:cxn>
                <a:cxn ang="0">
                  <a:pos x="16" y="2"/>
                </a:cxn>
                <a:cxn ang="0">
                  <a:pos x="21" y="0"/>
                </a:cxn>
                <a:cxn ang="0">
                  <a:pos x="31" y="2"/>
                </a:cxn>
                <a:cxn ang="0">
                  <a:pos x="34" y="4"/>
                </a:cxn>
                <a:cxn ang="0">
                  <a:pos x="35" y="6"/>
                </a:cxn>
                <a:cxn ang="0">
                  <a:pos x="35" y="7"/>
                </a:cxn>
                <a:cxn ang="0">
                  <a:pos x="37" y="9"/>
                </a:cxn>
                <a:cxn ang="0">
                  <a:pos x="38" y="9"/>
                </a:cxn>
                <a:cxn ang="0">
                  <a:pos x="38" y="12"/>
                </a:cxn>
                <a:cxn ang="0">
                  <a:pos x="38" y="13"/>
                </a:cxn>
                <a:cxn ang="0">
                  <a:pos x="40" y="15"/>
                </a:cxn>
                <a:cxn ang="0">
                  <a:pos x="41" y="18"/>
                </a:cxn>
                <a:cxn ang="0">
                  <a:pos x="38" y="19"/>
                </a:cxn>
                <a:cxn ang="0">
                  <a:pos x="38" y="23"/>
                </a:cxn>
                <a:cxn ang="0">
                  <a:pos x="43" y="20"/>
                </a:cxn>
                <a:cxn ang="0">
                  <a:pos x="43" y="22"/>
                </a:cxn>
                <a:cxn ang="0">
                  <a:pos x="44" y="25"/>
                </a:cxn>
                <a:cxn ang="0">
                  <a:pos x="41" y="25"/>
                </a:cxn>
                <a:cxn ang="0">
                  <a:pos x="40" y="28"/>
                </a:cxn>
                <a:cxn ang="0">
                  <a:pos x="38" y="32"/>
                </a:cxn>
                <a:cxn ang="0">
                  <a:pos x="37" y="34"/>
                </a:cxn>
                <a:cxn ang="0">
                  <a:pos x="34" y="35"/>
                </a:cxn>
                <a:cxn ang="0">
                  <a:pos x="29" y="38"/>
                </a:cxn>
                <a:cxn ang="0">
                  <a:pos x="29" y="39"/>
                </a:cxn>
                <a:cxn ang="0">
                  <a:pos x="28" y="42"/>
                </a:cxn>
                <a:cxn ang="0">
                  <a:pos x="27" y="42"/>
                </a:cxn>
                <a:cxn ang="0">
                  <a:pos x="13" y="36"/>
                </a:cxn>
                <a:cxn ang="0">
                  <a:pos x="6" y="31"/>
                </a:cxn>
                <a:cxn ang="0">
                  <a:pos x="6" y="28"/>
                </a:cxn>
                <a:cxn ang="0">
                  <a:pos x="5" y="26"/>
                </a:cxn>
                <a:cxn ang="0">
                  <a:pos x="2" y="23"/>
                </a:cxn>
                <a:cxn ang="0">
                  <a:pos x="2" y="22"/>
                </a:cxn>
                <a:cxn ang="0">
                  <a:pos x="3" y="22"/>
                </a:cxn>
                <a:cxn ang="0">
                  <a:pos x="3" y="20"/>
                </a:cxn>
                <a:cxn ang="0">
                  <a:pos x="2" y="20"/>
                </a:cxn>
                <a:cxn ang="0">
                  <a:pos x="2" y="16"/>
                </a:cxn>
                <a:cxn ang="0">
                  <a:pos x="0" y="15"/>
                </a:cxn>
                <a:cxn ang="0">
                  <a:pos x="0" y="12"/>
                </a:cxn>
              </a:cxnLst>
              <a:rect l="0" t="0" r="r" b="b"/>
              <a:pathLst>
                <a:path w="44" h="42">
                  <a:moveTo>
                    <a:pt x="0" y="12"/>
                  </a:moveTo>
                  <a:lnTo>
                    <a:pt x="2" y="13"/>
                  </a:lnTo>
                  <a:lnTo>
                    <a:pt x="5" y="13"/>
                  </a:lnTo>
                  <a:lnTo>
                    <a:pt x="5" y="12"/>
                  </a:lnTo>
                  <a:lnTo>
                    <a:pt x="6" y="10"/>
                  </a:lnTo>
                  <a:lnTo>
                    <a:pt x="8" y="9"/>
                  </a:lnTo>
                  <a:lnTo>
                    <a:pt x="8" y="9"/>
                  </a:lnTo>
                  <a:lnTo>
                    <a:pt x="9" y="7"/>
                  </a:lnTo>
                  <a:lnTo>
                    <a:pt x="9" y="7"/>
                  </a:lnTo>
                  <a:lnTo>
                    <a:pt x="12" y="3"/>
                  </a:lnTo>
                  <a:lnTo>
                    <a:pt x="12" y="2"/>
                  </a:lnTo>
                  <a:lnTo>
                    <a:pt x="13" y="2"/>
                  </a:lnTo>
                  <a:lnTo>
                    <a:pt x="15" y="0"/>
                  </a:lnTo>
                  <a:lnTo>
                    <a:pt x="16" y="2"/>
                  </a:lnTo>
                  <a:lnTo>
                    <a:pt x="21" y="0"/>
                  </a:lnTo>
                  <a:lnTo>
                    <a:pt x="21" y="0"/>
                  </a:lnTo>
                  <a:lnTo>
                    <a:pt x="31" y="0"/>
                  </a:lnTo>
                  <a:lnTo>
                    <a:pt x="31" y="2"/>
                  </a:lnTo>
                  <a:lnTo>
                    <a:pt x="32" y="3"/>
                  </a:lnTo>
                  <a:lnTo>
                    <a:pt x="34" y="4"/>
                  </a:lnTo>
                  <a:lnTo>
                    <a:pt x="35" y="4"/>
                  </a:lnTo>
                  <a:lnTo>
                    <a:pt x="35" y="6"/>
                  </a:lnTo>
                  <a:lnTo>
                    <a:pt x="35" y="6"/>
                  </a:lnTo>
                  <a:lnTo>
                    <a:pt x="35" y="7"/>
                  </a:lnTo>
                  <a:lnTo>
                    <a:pt x="35" y="7"/>
                  </a:lnTo>
                  <a:lnTo>
                    <a:pt x="37" y="9"/>
                  </a:lnTo>
                  <a:lnTo>
                    <a:pt x="38" y="9"/>
                  </a:lnTo>
                  <a:lnTo>
                    <a:pt x="38" y="9"/>
                  </a:lnTo>
                  <a:lnTo>
                    <a:pt x="38" y="10"/>
                  </a:lnTo>
                  <a:lnTo>
                    <a:pt x="38" y="12"/>
                  </a:lnTo>
                  <a:lnTo>
                    <a:pt x="38" y="12"/>
                  </a:lnTo>
                  <a:lnTo>
                    <a:pt x="38" y="13"/>
                  </a:lnTo>
                  <a:lnTo>
                    <a:pt x="38" y="13"/>
                  </a:lnTo>
                  <a:lnTo>
                    <a:pt x="40" y="15"/>
                  </a:lnTo>
                  <a:lnTo>
                    <a:pt x="40" y="15"/>
                  </a:lnTo>
                  <a:lnTo>
                    <a:pt x="41" y="18"/>
                  </a:lnTo>
                  <a:lnTo>
                    <a:pt x="40" y="18"/>
                  </a:lnTo>
                  <a:lnTo>
                    <a:pt x="38" y="19"/>
                  </a:lnTo>
                  <a:lnTo>
                    <a:pt x="38" y="23"/>
                  </a:lnTo>
                  <a:lnTo>
                    <a:pt x="38" y="23"/>
                  </a:lnTo>
                  <a:lnTo>
                    <a:pt x="41" y="22"/>
                  </a:lnTo>
                  <a:lnTo>
                    <a:pt x="43" y="20"/>
                  </a:lnTo>
                  <a:lnTo>
                    <a:pt x="43" y="20"/>
                  </a:lnTo>
                  <a:lnTo>
                    <a:pt x="43" y="22"/>
                  </a:lnTo>
                  <a:lnTo>
                    <a:pt x="43" y="23"/>
                  </a:lnTo>
                  <a:lnTo>
                    <a:pt x="44" y="25"/>
                  </a:lnTo>
                  <a:lnTo>
                    <a:pt x="44" y="25"/>
                  </a:lnTo>
                  <a:lnTo>
                    <a:pt x="41" y="25"/>
                  </a:lnTo>
                  <a:lnTo>
                    <a:pt x="40" y="26"/>
                  </a:lnTo>
                  <a:lnTo>
                    <a:pt x="40" y="28"/>
                  </a:lnTo>
                  <a:lnTo>
                    <a:pt x="40" y="31"/>
                  </a:lnTo>
                  <a:lnTo>
                    <a:pt x="38" y="32"/>
                  </a:lnTo>
                  <a:lnTo>
                    <a:pt x="38" y="32"/>
                  </a:lnTo>
                  <a:lnTo>
                    <a:pt x="37" y="34"/>
                  </a:lnTo>
                  <a:lnTo>
                    <a:pt x="35" y="35"/>
                  </a:lnTo>
                  <a:lnTo>
                    <a:pt x="34" y="35"/>
                  </a:lnTo>
                  <a:lnTo>
                    <a:pt x="31" y="38"/>
                  </a:lnTo>
                  <a:lnTo>
                    <a:pt x="29" y="38"/>
                  </a:lnTo>
                  <a:lnTo>
                    <a:pt x="29" y="39"/>
                  </a:lnTo>
                  <a:lnTo>
                    <a:pt x="29" y="39"/>
                  </a:lnTo>
                  <a:lnTo>
                    <a:pt x="28" y="41"/>
                  </a:lnTo>
                  <a:lnTo>
                    <a:pt x="28" y="42"/>
                  </a:lnTo>
                  <a:lnTo>
                    <a:pt x="27" y="42"/>
                  </a:lnTo>
                  <a:lnTo>
                    <a:pt x="27" y="42"/>
                  </a:lnTo>
                  <a:lnTo>
                    <a:pt x="13" y="38"/>
                  </a:lnTo>
                  <a:lnTo>
                    <a:pt x="13" y="36"/>
                  </a:lnTo>
                  <a:lnTo>
                    <a:pt x="12" y="35"/>
                  </a:lnTo>
                  <a:lnTo>
                    <a:pt x="6" y="31"/>
                  </a:lnTo>
                  <a:lnTo>
                    <a:pt x="6" y="29"/>
                  </a:lnTo>
                  <a:lnTo>
                    <a:pt x="6" y="28"/>
                  </a:lnTo>
                  <a:lnTo>
                    <a:pt x="6" y="28"/>
                  </a:lnTo>
                  <a:lnTo>
                    <a:pt x="5" y="26"/>
                  </a:lnTo>
                  <a:lnTo>
                    <a:pt x="3" y="26"/>
                  </a:lnTo>
                  <a:lnTo>
                    <a:pt x="2" y="23"/>
                  </a:lnTo>
                  <a:lnTo>
                    <a:pt x="2" y="22"/>
                  </a:lnTo>
                  <a:lnTo>
                    <a:pt x="2" y="22"/>
                  </a:lnTo>
                  <a:lnTo>
                    <a:pt x="3" y="22"/>
                  </a:lnTo>
                  <a:lnTo>
                    <a:pt x="3" y="22"/>
                  </a:lnTo>
                  <a:lnTo>
                    <a:pt x="3" y="22"/>
                  </a:lnTo>
                  <a:lnTo>
                    <a:pt x="3" y="20"/>
                  </a:lnTo>
                  <a:lnTo>
                    <a:pt x="2" y="20"/>
                  </a:lnTo>
                  <a:lnTo>
                    <a:pt x="2" y="20"/>
                  </a:lnTo>
                  <a:lnTo>
                    <a:pt x="2" y="18"/>
                  </a:lnTo>
                  <a:lnTo>
                    <a:pt x="2" y="16"/>
                  </a:lnTo>
                  <a:lnTo>
                    <a:pt x="2" y="16"/>
                  </a:lnTo>
                  <a:lnTo>
                    <a:pt x="0" y="15"/>
                  </a:lnTo>
                  <a:lnTo>
                    <a:pt x="0" y="13"/>
                  </a:lnTo>
                  <a:lnTo>
                    <a:pt x="0" y="1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07" name="Freeform 728"/>
            <p:cNvSpPr>
              <a:spLocks/>
            </p:cNvSpPr>
            <p:nvPr/>
          </p:nvSpPr>
          <p:spPr bwMode="auto">
            <a:xfrm>
              <a:off x="5945165" y="3127576"/>
              <a:ext cx="40380" cy="43608"/>
            </a:xfrm>
            <a:custGeom>
              <a:avLst/>
              <a:gdLst/>
              <a:ahLst/>
              <a:cxnLst>
                <a:cxn ang="0">
                  <a:pos x="2" y="13"/>
                </a:cxn>
                <a:cxn ang="0">
                  <a:pos x="5" y="12"/>
                </a:cxn>
                <a:cxn ang="0">
                  <a:pos x="8" y="9"/>
                </a:cxn>
                <a:cxn ang="0">
                  <a:pos x="9" y="7"/>
                </a:cxn>
                <a:cxn ang="0">
                  <a:pos x="12" y="3"/>
                </a:cxn>
                <a:cxn ang="0">
                  <a:pos x="13" y="2"/>
                </a:cxn>
                <a:cxn ang="0">
                  <a:pos x="16" y="2"/>
                </a:cxn>
                <a:cxn ang="0">
                  <a:pos x="21" y="0"/>
                </a:cxn>
                <a:cxn ang="0">
                  <a:pos x="31" y="2"/>
                </a:cxn>
                <a:cxn ang="0">
                  <a:pos x="34" y="4"/>
                </a:cxn>
                <a:cxn ang="0">
                  <a:pos x="35" y="6"/>
                </a:cxn>
                <a:cxn ang="0">
                  <a:pos x="35" y="7"/>
                </a:cxn>
                <a:cxn ang="0">
                  <a:pos x="37" y="9"/>
                </a:cxn>
                <a:cxn ang="0">
                  <a:pos x="38" y="9"/>
                </a:cxn>
                <a:cxn ang="0">
                  <a:pos x="38" y="12"/>
                </a:cxn>
                <a:cxn ang="0">
                  <a:pos x="38" y="13"/>
                </a:cxn>
                <a:cxn ang="0">
                  <a:pos x="40" y="15"/>
                </a:cxn>
                <a:cxn ang="0">
                  <a:pos x="41" y="18"/>
                </a:cxn>
                <a:cxn ang="0">
                  <a:pos x="38" y="19"/>
                </a:cxn>
                <a:cxn ang="0">
                  <a:pos x="38" y="23"/>
                </a:cxn>
                <a:cxn ang="0">
                  <a:pos x="43" y="20"/>
                </a:cxn>
                <a:cxn ang="0">
                  <a:pos x="43" y="22"/>
                </a:cxn>
                <a:cxn ang="0">
                  <a:pos x="44" y="25"/>
                </a:cxn>
                <a:cxn ang="0">
                  <a:pos x="41" y="25"/>
                </a:cxn>
                <a:cxn ang="0">
                  <a:pos x="40" y="28"/>
                </a:cxn>
                <a:cxn ang="0">
                  <a:pos x="38" y="32"/>
                </a:cxn>
                <a:cxn ang="0">
                  <a:pos x="37" y="34"/>
                </a:cxn>
                <a:cxn ang="0">
                  <a:pos x="34" y="35"/>
                </a:cxn>
                <a:cxn ang="0">
                  <a:pos x="29" y="38"/>
                </a:cxn>
                <a:cxn ang="0">
                  <a:pos x="29" y="39"/>
                </a:cxn>
                <a:cxn ang="0">
                  <a:pos x="28" y="42"/>
                </a:cxn>
                <a:cxn ang="0">
                  <a:pos x="27" y="42"/>
                </a:cxn>
                <a:cxn ang="0">
                  <a:pos x="13" y="36"/>
                </a:cxn>
                <a:cxn ang="0">
                  <a:pos x="6" y="31"/>
                </a:cxn>
                <a:cxn ang="0">
                  <a:pos x="6" y="28"/>
                </a:cxn>
                <a:cxn ang="0">
                  <a:pos x="5" y="26"/>
                </a:cxn>
                <a:cxn ang="0">
                  <a:pos x="2" y="23"/>
                </a:cxn>
                <a:cxn ang="0">
                  <a:pos x="2" y="22"/>
                </a:cxn>
                <a:cxn ang="0">
                  <a:pos x="3" y="22"/>
                </a:cxn>
                <a:cxn ang="0">
                  <a:pos x="3" y="20"/>
                </a:cxn>
                <a:cxn ang="0">
                  <a:pos x="2" y="20"/>
                </a:cxn>
                <a:cxn ang="0">
                  <a:pos x="2" y="16"/>
                </a:cxn>
                <a:cxn ang="0">
                  <a:pos x="0" y="15"/>
                </a:cxn>
                <a:cxn ang="0">
                  <a:pos x="0" y="12"/>
                </a:cxn>
              </a:cxnLst>
              <a:rect l="0" t="0" r="r" b="b"/>
              <a:pathLst>
                <a:path w="44" h="42">
                  <a:moveTo>
                    <a:pt x="0" y="12"/>
                  </a:moveTo>
                  <a:lnTo>
                    <a:pt x="2" y="13"/>
                  </a:lnTo>
                  <a:lnTo>
                    <a:pt x="5" y="13"/>
                  </a:lnTo>
                  <a:lnTo>
                    <a:pt x="5" y="12"/>
                  </a:lnTo>
                  <a:lnTo>
                    <a:pt x="6" y="10"/>
                  </a:lnTo>
                  <a:lnTo>
                    <a:pt x="8" y="9"/>
                  </a:lnTo>
                  <a:lnTo>
                    <a:pt x="8" y="9"/>
                  </a:lnTo>
                  <a:lnTo>
                    <a:pt x="9" y="7"/>
                  </a:lnTo>
                  <a:lnTo>
                    <a:pt x="9" y="7"/>
                  </a:lnTo>
                  <a:lnTo>
                    <a:pt x="12" y="3"/>
                  </a:lnTo>
                  <a:lnTo>
                    <a:pt x="12" y="2"/>
                  </a:lnTo>
                  <a:lnTo>
                    <a:pt x="13" y="2"/>
                  </a:lnTo>
                  <a:lnTo>
                    <a:pt x="15" y="0"/>
                  </a:lnTo>
                  <a:lnTo>
                    <a:pt x="16" y="2"/>
                  </a:lnTo>
                  <a:lnTo>
                    <a:pt x="21" y="0"/>
                  </a:lnTo>
                  <a:lnTo>
                    <a:pt x="21" y="0"/>
                  </a:lnTo>
                  <a:lnTo>
                    <a:pt x="31" y="0"/>
                  </a:lnTo>
                  <a:lnTo>
                    <a:pt x="31" y="2"/>
                  </a:lnTo>
                  <a:lnTo>
                    <a:pt x="32" y="3"/>
                  </a:lnTo>
                  <a:lnTo>
                    <a:pt x="34" y="4"/>
                  </a:lnTo>
                  <a:lnTo>
                    <a:pt x="35" y="4"/>
                  </a:lnTo>
                  <a:lnTo>
                    <a:pt x="35" y="6"/>
                  </a:lnTo>
                  <a:lnTo>
                    <a:pt x="35" y="6"/>
                  </a:lnTo>
                  <a:lnTo>
                    <a:pt x="35" y="7"/>
                  </a:lnTo>
                  <a:lnTo>
                    <a:pt x="35" y="7"/>
                  </a:lnTo>
                  <a:lnTo>
                    <a:pt x="37" y="9"/>
                  </a:lnTo>
                  <a:lnTo>
                    <a:pt x="38" y="9"/>
                  </a:lnTo>
                  <a:lnTo>
                    <a:pt x="38" y="9"/>
                  </a:lnTo>
                  <a:lnTo>
                    <a:pt x="38" y="10"/>
                  </a:lnTo>
                  <a:lnTo>
                    <a:pt x="38" y="12"/>
                  </a:lnTo>
                  <a:lnTo>
                    <a:pt x="38" y="12"/>
                  </a:lnTo>
                  <a:lnTo>
                    <a:pt x="38" y="13"/>
                  </a:lnTo>
                  <a:lnTo>
                    <a:pt x="38" y="13"/>
                  </a:lnTo>
                  <a:lnTo>
                    <a:pt x="40" y="15"/>
                  </a:lnTo>
                  <a:lnTo>
                    <a:pt x="40" y="15"/>
                  </a:lnTo>
                  <a:lnTo>
                    <a:pt x="41" y="18"/>
                  </a:lnTo>
                  <a:lnTo>
                    <a:pt x="40" y="18"/>
                  </a:lnTo>
                  <a:lnTo>
                    <a:pt x="38" y="19"/>
                  </a:lnTo>
                  <a:lnTo>
                    <a:pt x="38" y="23"/>
                  </a:lnTo>
                  <a:lnTo>
                    <a:pt x="38" y="23"/>
                  </a:lnTo>
                  <a:lnTo>
                    <a:pt x="41" y="22"/>
                  </a:lnTo>
                  <a:lnTo>
                    <a:pt x="43" y="20"/>
                  </a:lnTo>
                  <a:lnTo>
                    <a:pt x="43" y="20"/>
                  </a:lnTo>
                  <a:lnTo>
                    <a:pt x="43" y="22"/>
                  </a:lnTo>
                  <a:lnTo>
                    <a:pt x="43" y="23"/>
                  </a:lnTo>
                  <a:lnTo>
                    <a:pt x="44" y="25"/>
                  </a:lnTo>
                  <a:lnTo>
                    <a:pt x="44" y="25"/>
                  </a:lnTo>
                  <a:lnTo>
                    <a:pt x="41" y="25"/>
                  </a:lnTo>
                  <a:lnTo>
                    <a:pt x="40" y="26"/>
                  </a:lnTo>
                  <a:lnTo>
                    <a:pt x="40" y="28"/>
                  </a:lnTo>
                  <a:lnTo>
                    <a:pt x="40" y="31"/>
                  </a:lnTo>
                  <a:lnTo>
                    <a:pt x="38" y="32"/>
                  </a:lnTo>
                  <a:lnTo>
                    <a:pt x="38" y="32"/>
                  </a:lnTo>
                  <a:lnTo>
                    <a:pt x="37" y="34"/>
                  </a:lnTo>
                  <a:lnTo>
                    <a:pt x="35" y="35"/>
                  </a:lnTo>
                  <a:lnTo>
                    <a:pt x="34" y="35"/>
                  </a:lnTo>
                  <a:lnTo>
                    <a:pt x="31" y="38"/>
                  </a:lnTo>
                  <a:lnTo>
                    <a:pt x="29" y="38"/>
                  </a:lnTo>
                  <a:lnTo>
                    <a:pt x="29" y="39"/>
                  </a:lnTo>
                  <a:lnTo>
                    <a:pt x="29" y="39"/>
                  </a:lnTo>
                  <a:lnTo>
                    <a:pt x="28" y="41"/>
                  </a:lnTo>
                  <a:lnTo>
                    <a:pt x="28" y="42"/>
                  </a:lnTo>
                  <a:lnTo>
                    <a:pt x="27" y="42"/>
                  </a:lnTo>
                  <a:lnTo>
                    <a:pt x="27" y="42"/>
                  </a:lnTo>
                  <a:lnTo>
                    <a:pt x="13" y="38"/>
                  </a:lnTo>
                  <a:lnTo>
                    <a:pt x="13" y="36"/>
                  </a:lnTo>
                  <a:lnTo>
                    <a:pt x="12" y="35"/>
                  </a:lnTo>
                  <a:lnTo>
                    <a:pt x="6" y="31"/>
                  </a:lnTo>
                  <a:lnTo>
                    <a:pt x="6" y="29"/>
                  </a:lnTo>
                  <a:lnTo>
                    <a:pt x="6" y="28"/>
                  </a:lnTo>
                  <a:lnTo>
                    <a:pt x="6" y="28"/>
                  </a:lnTo>
                  <a:lnTo>
                    <a:pt x="5" y="26"/>
                  </a:lnTo>
                  <a:lnTo>
                    <a:pt x="3" y="26"/>
                  </a:lnTo>
                  <a:lnTo>
                    <a:pt x="2" y="23"/>
                  </a:lnTo>
                  <a:lnTo>
                    <a:pt x="2" y="22"/>
                  </a:lnTo>
                  <a:lnTo>
                    <a:pt x="2" y="22"/>
                  </a:lnTo>
                  <a:lnTo>
                    <a:pt x="3" y="22"/>
                  </a:lnTo>
                  <a:lnTo>
                    <a:pt x="3" y="22"/>
                  </a:lnTo>
                  <a:lnTo>
                    <a:pt x="3" y="22"/>
                  </a:lnTo>
                  <a:lnTo>
                    <a:pt x="3" y="20"/>
                  </a:lnTo>
                  <a:lnTo>
                    <a:pt x="2" y="20"/>
                  </a:lnTo>
                  <a:lnTo>
                    <a:pt x="2" y="20"/>
                  </a:lnTo>
                  <a:lnTo>
                    <a:pt x="2" y="18"/>
                  </a:lnTo>
                  <a:lnTo>
                    <a:pt x="2" y="16"/>
                  </a:lnTo>
                  <a:lnTo>
                    <a:pt x="2" y="16"/>
                  </a:lnTo>
                  <a:lnTo>
                    <a:pt x="0" y="15"/>
                  </a:lnTo>
                  <a:lnTo>
                    <a:pt x="0" y="13"/>
                  </a:lnTo>
                  <a:lnTo>
                    <a:pt x="0" y="1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08" name="Freeform 729"/>
            <p:cNvSpPr>
              <a:spLocks/>
            </p:cNvSpPr>
            <p:nvPr/>
          </p:nvSpPr>
          <p:spPr bwMode="auto">
            <a:xfrm>
              <a:off x="6006611" y="3114393"/>
              <a:ext cx="81636" cy="96342"/>
            </a:xfrm>
            <a:custGeom>
              <a:avLst/>
              <a:gdLst/>
              <a:ahLst/>
              <a:cxnLst>
                <a:cxn ang="0">
                  <a:pos x="63" y="80"/>
                </a:cxn>
                <a:cxn ang="0">
                  <a:pos x="82" y="80"/>
                </a:cxn>
                <a:cxn ang="0">
                  <a:pos x="83" y="73"/>
                </a:cxn>
                <a:cxn ang="0">
                  <a:pos x="79" y="56"/>
                </a:cxn>
                <a:cxn ang="0">
                  <a:pos x="82" y="46"/>
                </a:cxn>
                <a:cxn ang="0">
                  <a:pos x="87" y="38"/>
                </a:cxn>
                <a:cxn ang="0">
                  <a:pos x="84" y="24"/>
                </a:cxn>
                <a:cxn ang="0">
                  <a:pos x="84" y="21"/>
                </a:cxn>
                <a:cxn ang="0">
                  <a:pos x="83" y="19"/>
                </a:cxn>
                <a:cxn ang="0">
                  <a:pos x="77" y="12"/>
                </a:cxn>
                <a:cxn ang="0">
                  <a:pos x="63" y="14"/>
                </a:cxn>
                <a:cxn ang="0">
                  <a:pos x="58" y="15"/>
                </a:cxn>
                <a:cxn ang="0">
                  <a:pos x="57" y="15"/>
                </a:cxn>
                <a:cxn ang="0">
                  <a:pos x="52" y="12"/>
                </a:cxn>
                <a:cxn ang="0">
                  <a:pos x="50" y="9"/>
                </a:cxn>
                <a:cxn ang="0">
                  <a:pos x="50" y="6"/>
                </a:cxn>
                <a:cxn ang="0">
                  <a:pos x="44" y="5"/>
                </a:cxn>
                <a:cxn ang="0">
                  <a:pos x="38" y="6"/>
                </a:cxn>
                <a:cxn ang="0">
                  <a:pos x="35" y="3"/>
                </a:cxn>
                <a:cxn ang="0">
                  <a:pos x="34" y="0"/>
                </a:cxn>
                <a:cxn ang="0">
                  <a:pos x="31" y="3"/>
                </a:cxn>
                <a:cxn ang="0">
                  <a:pos x="28" y="3"/>
                </a:cxn>
                <a:cxn ang="0">
                  <a:pos x="23" y="6"/>
                </a:cxn>
                <a:cxn ang="0">
                  <a:pos x="21" y="8"/>
                </a:cxn>
                <a:cxn ang="0">
                  <a:pos x="18" y="8"/>
                </a:cxn>
                <a:cxn ang="0">
                  <a:pos x="15" y="5"/>
                </a:cxn>
                <a:cxn ang="0">
                  <a:pos x="12" y="6"/>
                </a:cxn>
                <a:cxn ang="0">
                  <a:pos x="9" y="9"/>
                </a:cxn>
                <a:cxn ang="0">
                  <a:pos x="7" y="19"/>
                </a:cxn>
                <a:cxn ang="0">
                  <a:pos x="10" y="24"/>
                </a:cxn>
                <a:cxn ang="0">
                  <a:pos x="12" y="25"/>
                </a:cxn>
                <a:cxn ang="0">
                  <a:pos x="12" y="30"/>
                </a:cxn>
                <a:cxn ang="0">
                  <a:pos x="13" y="35"/>
                </a:cxn>
                <a:cxn ang="0">
                  <a:pos x="10" y="34"/>
                </a:cxn>
                <a:cxn ang="0">
                  <a:pos x="5" y="34"/>
                </a:cxn>
                <a:cxn ang="0">
                  <a:pos x="6" y="37"/>
                </a:cxn>
                <a:cxn ang="0">
                  <a:pos x="9" y="38"/>
                </a:cxn>
                <a:cxn ang="0">
                  <a:pos x="7" y="44"/>
                </a:cxn>
                <a:cxn ang="0">
                  <a:pos x="2" y="47"/>
                </a:cxn>
                <a:cxn ang="0">
                  <a:pos x="5" y="53"/>
                </a:cxn>
                <a:cxn ang="0">
                  <a:pos x="0" y="62"/>
                </a:cxn>
                <a:cxn ang="0">
                  <a:pos x="3" y="62"/>
                </a:cxn>
                <a:cxn ang="0">
                  <a:pos x="6" y="64"/>
                </a:cxn>
                <a:cxn ang="0">
                  <a:pos x="10" y="67"/>
                </a:cxn>
                <a:cxn ang="0">
                  <a:pos x="16" y="72"/>
                </a:cxn>
                <a:cxn ang="0">
                  <a:pos x="18" y="75"/>
                </a:cxn>
                <a:cxn ang="0">
                  <a:pos x="16" y="79"/>
                </a:cxn>
                <a:cxn ang="0">
                  <a:pos x="15" y="82"/>
                </a:cxn>
              </a:cxnLst>
              <a:rect l="0" t="0" r="r" b="b"/>
              <a:pathLst>
                <a:path w="89" h="92">
                  <a:moveTo>
                    <a:pt x="15" y="92"/>
                  </a:moveTo>
                  <a:lnTo>
                    <a:pt x="16" y="92"/>
                  </a:lnTo>
                  <a:lnTo>
                    <a:pt x="21" y="92"/>
                  </a:lnTo>
                  <a:lnTo>
                    <a:pt x="63" y="80"/>
                  </a:lnTo>
                  <a:lnTo>
                    <a:pt x="79" y="83"/>
                  </a:lnTo>
                  <a:lnTo>
                    <a:pt x="80" y="80"/>
                  </a:lnTo>
                  <a:lnTo>
                    <a:pt x="80" y="80"/>
                  </a:lnTo>
                  <a:lnTo>
                    <a:pt x="82" y="80"/>
                  </a:lnTo>
                  <a:lnTo>
                    <a:pt x="83" y="80"/>
                  </a:lnTo>
                  <a:lnTo>
                    <a:pt x="84" y="80"/>
                  </a:lnTo>
                  <a:lnTo>
                    <a:pt x="84" y="73"/>
                  </a:lnTo>
                  <a:lnTo>
                    <a:pt x="83" y="73"/>
                  </a:lnTo>
                  <a:lnTo>
                    <a:pt x="82" y="73"/>
                  </a:lnTo>
                  <a:lnTo>
                    <a:pt x="80" y="72"/>
                  </a:lnTo>
                  <a:lnTo>
                    <a:pt x="77" y="63"/>
                  </a:lnTo>
                  <a:lnTo>
                    <a:pt x="79" y="56"/>
                  </a:lnTo>
                  <a:lnTo>
                    <a:pt x="79" y="54"/>
                  </a:lnTo>
                  <a:lnTo>
                    <a:pt x="80" y="53"/>
                  </a:lnTo>
                  <a:lnTo>
                    <a:pt x="82" y="51"/>
                  </a:lnTo>
                  <a:lnTo>
                    <a:pt x="82" y="46"/>
                  </a:lnTo>
                  <a:lnTo>
                    <a:pt x="84" y="40"/>
                  </a:lnTo>
                  <a:lnTo>
                    <a:pt x="84" y="40"/>
                  </a:lnTo>
                  <a:lnTo>
                    <a:pt x="86" y="38"/>
                  </a:lnTo>
                  <a:lnTo>
                    <a:pt x="87" y="38"/>
                  </a:lnTo>
                  <a:lnTo>
                    <a:pt x="87" y="37"/>
                  </a:lnTo>
                  <a:lnTo>
                    <a:pt x="89" y="37"/>
                  </a:lnTo>
                  <a:lnTo>
                    <a:pt x="86" y="25"/>
                  </a:lnTo>
                  <a:lnTo>
                    <a:pt x="84" y="24"/>
                  </a:lnTo>
                  <a:lnTo>
                    <a:pt x="84" y="24"/>
                  </a:lnTo>
                  <a:lnTo>
                    <a:pt x="84" y="24"/>
                  </a:lnTo>
                  <a:lnTo>
                    <a:pt x="86" y="22"/>
                  </a:lnTo>
                  <a:lnTo>
                    <a:pt x="84" y="21"/>
                  </a:lnTo>
                  <a:lnTo>
                    <a:pt x="84" y="19"/>
                  </a:lnTo>
                  <a:lnTo>
                    <a:pt x="84" y="18"/>
                  </a:lnTo>
                  <a:lnTo>
                    <a:pt x="84" y="19"/>
                  </a:lnTo>
                  <a:lnTo>
                    <a:pt x="83" y="19"/>
                  </a:lnTo>
                  <a:lnTo>
                    <a:pt x="82" y="18"/>
                  </a:lnTo>
                  <a:lnTo>
                    <a:pt x="80" y="15"/>
                  </a:lnTo>
                  <a:lnTo>
                    <a:pt x="79" y="14"/>
                  </a:lnTo>
                  <a:lnTo>
                    <a:pt x="77" y="12"/>
                  </a:lnTo>
                  <a:lnTo>
                    <a:pt x="77" y="12"/>
                  </a:lnTo>
                  <a:lnTo>
                    <a:pt x="76" y="14"/>
                  </a:lnTo>
                  <a:lnTo>
                    <a:pt x="71" y="12"/>
                  </a:lnTo>
                  <a:lnTo>
                    <a:pt x="63" y="14"/>
                  </a:lnTo>
                  <a:lnTo>
                    <a:pt x="61" y="16"/>
                  </a:lnTo>
                  <a:lnTo>
                    <a:pt x="61" y="16"/>
                  </a:lnTo>
                  <a:lnTo>
                    <a:pt x="58" y="15"/>
                  </a:lnTo>
                  <a:lnTo>
                    <a:pt x="58" y="15"/>
                  </a:lnTo>
                  <a:lnTo>
                    <a:pt x="58" y="15"/>
                  </a:lnTo>
                  <a:lnTo>
                    <a:pt x="57" y="15"/>
                  </a:lnTo>
                  <a:lnTo>
                    <a:pt x="57" y="15"/>
                  </a:lnTo>
                  <a:lnTo>
                    <a:pt x="57" y="15"/>
                  </a:lnTo>
                  <a:lnTo>
                    <a:pt x="54" y="15"/>
                  </a:lnTo>
                  <a:lnTo>
                    <a:pt x="54" y="14"/>
                  </a:lnTo>
                  <a:lnTo>
                    <a:pt x="52" y="12"/>
                  </a:lnTo>
                  <a:lnTo>
                    <a:pt x="52" y="12"/>
                  </a:lnTo>
                  <a:lnTo>
                    <a:pt x="52" y="12"/>
                  </a:lnTo>
                  <a:lnTo>
                    <a:pt x="52" y="11"/>
                  </a:lnTo>
                  <a:lnTo>
                    <a:pt x="51" y="11"/>
                  </a:lnTo>
                  <a:lnTo>
                    <a:pt x="50" y="9"/>
                  </a:lnTo>
                  <a:lnTo>
                    <a:pt x="50" y="9"/>
                  </a:lnTo>
                  <a:lnTo>
                    <a:pt x="50" y="8"/>
                  </a:lnTo>
                  <a:lnTo>
                    <a:pt x="50" y="6"/>
                  </a:lnTo>
                  <a:lnTo>
                    <a:pt x="50" y="6"/>
                  </a:lnTo>
                  <a:lnTo>
                    <a:pt x="48" y="6"/>
                  </a:lnTo>
                  <a:lnTo>
                    <a:pt x="45" y="6"/>
                  </a:lnTo>
                  <a:lnTo>
                    <a:pt x="45" y="6"/>
                  </a:lnTo>
                  <a:lnTo>
                    <a:pt x="44" y="5"/>
                  </a:lnTo>
                  <a:lnTo>
                    <a:pt x="44" y="5"/>
                  </a:lnTo>
                  <a:lnTo>
                    <a:pt x="39" y="5"/>
                  </a:lnTo>
                  <a:lnTo>
                    <a:pt x="39" y="6"/>
                  </a:lnTo>
                  <a:lnTo>
                    <a:pt x="38" y="6"/>
                  </a:lnTo>
                  <a:lnTo>
                    <a:pt x="36" y="8"/>
                  </a:lnTo>
                  <a:lnTo>
                    <a:pt x="35" y="8"/>
                  </a:lnTo>
                  <a:lnTo>
                    <a:pt x="35" y="8"/>
                  </a:lnTo>
                  <a:lnTo>
                    <a:pt x="35" y="3"/>
                  </a:lnTo>
                  <a:lnTo>
                    <a:pt x="34" y="3"/>
                  </a:lnTo>
                  <a:lnTo>
                    <a:pt x="35" y="3"/>
                  </a:lnTo>
                  <a:lnTo>
                    <a:pt x="34" y="2"/>
                  </a:lnTo>
                  <a:lnTo>
                    <a:pt x="34" y="0"/>
                  </a:lnTo>
                  <a:lnTo>
                    <a:pt x="34" y="0"/>
                  </a:lnTo>
                  <a:lnTo>
                    <a:pt x="32" y="0"/>
                  </a:lnTo>
                  <a:lnTo>
                    <a:pt x="31" y="3"/>
                  </a:lnTo>
                  <a:lnTo>
                    <a:pt x="31" y="3"/>
                  </a:lnTo>
                  <a:lnTo>
                    <a:pt x="29" y="2"/>
                  </a:lnTo>
                  <a:lnTo>
                    <a:pt x="28" y="2"/>
                  </a:lnTo>
                  <a:lnTo>
                    <a:pt x="28" y="2"/>
                  </a:lnTo>
                  <a:lnTo>
                    <a:pt x="28" y="3"/>
                  </a:lnTo>
                  <a:lnTo>
                    <a:pt x="28" y="5"/>
                  </a:lnTo>
                  <a:lnTo>
                    <a:pt x="28" y="6"/>
                  </a:lnTo>
                  <a:lnTo>
                    <a:pt x="25" y="6"/>
                  </a:lnTo>
                  <a:lnTo>
                    <a:pt x="23" y="6"/>
                  </a:lnTo>
                  <a:lnTo>
                    <a:pt x="23" y="8"/>
                  </a:lnTo>
                  <a:lnTo>
                    <a:pt x="22" y="9"/>
                  </a:lnTo>
                  <a:lnTo>
                    <a:pt x="22" y="9"/>
                  </a:lnTo>
                  <a:lnTo>
                    <a:pt x="21" y="8"/>
                  </a:lnTo>
                  <a:lnTo>
                    <a:pt x="19" y="8"/>
                  </a:lnTo>
                  <a:lnTo>
                    <a:pt x="19" y="6"/>
                  </a:lnTo>
                  <a:lnTo>
                    <a:pt x="18" y="8"/>
                  </a:lnTo>
                  <a:lnTo>
                    <a:pt x="18" y="8"/>
                  </a:lnTo>
                  <a:lnTo>
                    <a:pt x="18" y="8"/>
                  </a:lnTo>
                  <a:lnTo>
                    <a:pt x="18" y="6"/>
                  </a:lnTo>
                  <a:lnTo>
                    <a:pt x="16" y="5"/>
                  </a:lnTo>
                  <a:lnTo>
                    <a:pt x="15" y="5"/>
                  </a:lnTo>
                  <a:lnTo>
                    <a:pt x="15" y="5"/>
                  </a:lnTo>
                  <a:lnTo>
                    <a:pt x="13" y="5"/>
                  </a:lnTo>
                  <a:lnTo>
                    <a:pt x="13" y="5"/>
                  </a:lnTo>
                  <a:lnTo>
                    <a:pt x="12" y="6"/>
                  </a:lnTo>
                  <a:lnTo>
                    <a:pt x="12" y="8"/>
                  </a:lnTo>
                  <a:lnTo>
                    <a:pt x="10" y="8"/>
                  </a:lnTo>
                  <a:lnTo>
                    <a:pt x="9" y="8"/>
                  </a:lnTo>
                  <a:lnTo>
                    <a:pt x="9" y="9"/>
                  </a:lnTo>
                  <a:lnTo>
                    <a:pt x="7" y="11"/>
                  </a:lnTo>
                  <a:lnTo>
                    <a:pt x="7" y="12"/>
                  </a:lnTo>
                  <a:lnTo>
                    <a:pt x="6" y="12"/>
                  </a:lnTo>
                  <a:lnTo>
                    <a:pt x="7" y="19"/>
                  </a:lnTo>
                  <a:lnTo>
                    <a:pt x="7" y="19"/>
                  </a:lnTo>
                  <a:lnTo>
                    <a:pt x="9" y="21"/>
                  </a:lnTo>
                  <a:lnTo>
                    <a:pt x="10" y="21"/>
                  </a:lnTo>
                  <a:lnTo>
                    <a:pt x="10" y="24"/>
                  </a:lnTo>
                  <a:lnTo>
                    <a:pt x="12" y="24"/>
                  </a:lnTo>
                  <a:lnTo>
                    <a:pt x="12" y="25"/>
                  </a:lnTo>
                  <a:lnTo>
                    <a:pt x="12" y="25"/>
                  </a:lnTo>
                  <a:lnTo>
                    <a:pt x="12" y="25"/>
                  </a:lnTo>
                  <a:lnTo>
                    <a:pt x="10" y="27"/>
                  </a:lnTo>
                  <a:lnTo>
                    <a:pt x="10" y="30"/>
                  </a:lnTo>
                  <a:lnTo>
                    <a:pt x="10" y="30"/>
                  </a:lnTo>
                  <a:lnTo>
                    <a:pt x="12" y="30"/>
                  </a:lnTo>
                  <a:lnTo>
                    <a:pt x="12" y="30"/>
                  </a:lnTo>
                  <a:lnTo>
                    <a:pt x="12" y="31"/>
                  </a:lnTo>
                  <a:lnTo>
                    <a:pt x="13" y="32"/>
                  </a:lnTo>
                  <a:lnTo>
                    <a:pt x="13" y="35"/>
                  </a:lnTo>
                  <a:lnTo>
                    <a:pt x="13" y="35"/>
                  </a:lnTo>
                  <a:lnTo>
                    <a:pt x="12" y="34"/>
                  </a:lnTo>
                  <a:lnTo>
                    <a:pt x="12" y="34"/>
                  </a:lnTo>
                  <a:lnTo>
                    <a:pt x="10" y="34"/>
                  </a:lnTo>
                  <a:lnTo>
                    <a:pt x="10" y="32"/>
                  </a:lnTo>
                  <a:lnTo>
                    <a:pt x="7" y="32"/>
                  </a:lnTo>
                  <a:lnTo>
                    <a:pt x="5" y="34"/>
                  </a:lnTo>
                  <a:lnTo>
                    <a:pt x="5" y="34"/>
                  </a:lnTo>
                  <a:lnTo>
                    <a:pt x="6" y="34"/>
                  </a:lnTo>
                  <a:lnTo>
                    <a:pt x="6" y="35"/>
                  </a:lnTo>
                  <a:lnTo>
                    <a:pt x="6" y="37"/>
                  </a:lnTo>
                  <a:lnTo>
                    <a:pt x="6" y="37"/>
                  </a:lnTo>
                  <a:lnTo>
                    <a:pt x="7" y="37"/>
                  </a:lnTo>
                  <a:lnTo>
                    <a:pt x="9" y="37"/>
                  </a:lnTo>
                  <a:lnTo>
                    <a:pt x="9" y="38"/>
                  </a:lnTo>
                  <a:lnTo>
                    <a:pt x="9" y="38"/>
                  </a:lnTo>
                  <a:lnTo>
                    <a:pt x="9" y="38"/>
                  </a:lnTo>
                  <a:lnTo>
                    <a:pt x="9" y="40"/>
                  </a:lnTo>
                  <a:lnTo>
                    <a:pt x="7" y="40"/>
                  </a:lnTo>
                  <a:lnTo>
                    <a:pt x="7" y="44"/>
                  </a:lnTo>
                  <a:lnTo>
                    <a:pt x="6" y="46"/>
                  </a:lnTo>
                  <a:lnTo>
                    <a:pt x="6" y="47"/>
                  </a:lnTo>
                  <a:lnTo>
                    <a:pt x="3" y="47"/>
                  </a:lnTo>
                  <a:lnTo>
                    <a:pt x="2" y="47"/>
                  </a:lnTo>
                  <a:lnTo>
                    <a:pt x="3" y="50"/>
                  </a:lnTo>
                  <a:lnTo>
                    <a:pt x="3" y="51"/>
                  </a:lnTo>
                  <a:lnTo>
                    <a:pt x="5" y="51"/>
                  </a:lnTo>
                  <a:lnTo>
                    <a:pt x="5" y="53"/>
                  </a:lnTo>
                  <a:lnTo>
                    <a:pt x="5" y="53"/>
                  </a:lnTo>
                  <a:lnTo>
                    <a:pt x="5" y="57"/>
                  </a:lnTo>
                  <a:lnTo>
                    <a:pt x="2" y="60"/>
                  </a:lnTo>
                  <a:lnTo>
                    <a:pt x="0" y="62"/>
                  </a:lnTo>
                  <a:lnTo>
                    <a:pt x="2" y="62"/>
                  </a:lnTo>
                  <a:lnTo>
                    <a:pt x="2" y="62"/>
                  </a:lnTo>
                  <a:lnTo>
                    <a:pt x="2" y="62"/>
                  </a:lnTo>
                  <a:lnTo>
                    <a:pt x="3" y="62"/>
                  </a:lnTo>
                  <a:lnTo>
                    <a:pt x="3" y="63"/>
                  </a:lnTo>
                  <a:lnTo>
                    <a:pt x="3" y="63"/>
                  </a:lnTo>
                  <a:lnTo>
                    <a:pt x="5" y="63"/>
                  </a:lnTo>
                  <a:lnTo>
                    <a:pt x="6" y="64"/>
                  </a:lnTo>
                  <a:lnTo>
                    <a:pt x="9" y="64"/>
                  </a:lnTo>
                  <a:lnTo>
                    <a:pt x="9" y="64"/>
                  </a:lnTo>
                  <a:lnTo>
                    <a:pt x="10" y="66"/>
                  </a:lnTo>
                  <a:lnTo>
                    <a:pt x="10" y="67"/>
                  </a:lnTo>
                  <a:lnTo>
                    <a:pt x="12" y="67"/>
                  </a:lnTo>
                  <a:lnTo>
                    <a:pt x="13" y="70"/>
                  </a:lnTo>
                  <a:lnTo>
                    <a:pt x="15" y="70"/>
                  </a:lnTo>
                  <a:lnTo>
                    <a:pt x="16" y="72"/>
                  </a:lnTo>
                  <a:lnTo>
                    <a:pt x="18" y="70"/>
                  </a:lnTo>
                  <a:lnTo>
                    <a:pt x="18" y="72"/>
                  </a:lnTo>
                  <a:lnTo>
                    <a:pt x="18" y="73"/>
                  </a:lnTo>
                  <a:lnTo>
                    <a:pt x="18" y="75"/>
                  </a:lnTo>
                  <a:lnTo>
                    <a:pt x="18" y="78"/>
                  </a:lnTo>
                  <a:lnTo>
                    <a:pt x="18" y="78"/>
                  </a:lnTo>
                  <a:lnTo>
                    <a:pt x="18" y="79"/>
                  </a:lnTo>
                  <a:lnTo>
                    <a:pt x="16" y="79"/>
                  </a:lnTo>
                  <a:lnTo>
                    <a:pt x="16" y="79"/>
                  </a:lnTo>
                  <a:lnTo>
                    <a:pt x="16" y="82"/>
                  </a:lnTo>
                  <a:lnTo>
                    <a:pt x="16" y="82"/>
                  </a:lnTo>
                  <a:lnTo>
                    <a:pt x="15" y="82"/>
                  </a:lnTo>
                  <a:lnTo>
                    <a:pt x="16" y="83"/>
                  </a:lnTo>
                  <a:lnTo>
                    <a:pt x="15" y="85"/>
                  </a:lnTo>
                  <a:lnTo>
                    <a:pt x="15" y="9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09" name="Freeform 730"/>
            <p:cNvSpPr>
              <a:spLocks/>
            </p:cNvSpPr>
            <p:nvPr/>
          </p:nvSpPr>
          <p:spPr bwMode="auto">
            <a:xfrm>
              <a:off x="6006611" y="3114393"/>
              <a:ext cx="81636" cy="96342"/>
            </a:xfrm>
            <a:custGeom>
              <a:avLst/>
              <a:gdLst/>
              <a:ahLst/>
              <a:cxnLst>
                <a:cxn ang="0">
                  <a:pos x="63" y="80"/>
                </a:cxn>
                <a:cxn ang="0">
                  <a:pos x="82" y="80"/>
                </a:cxn>
                <a:cxn ang="0">
                  <a:pos x="83" y="73"/>
                </a:cxn>
                <a:cxn ang="0">
                  <a:pos x="79" y="56"/>
                </a:cxn>
                <a:cxn ang="0">
                  <a:pos x="82" y="46"/>
                </a:cxn>
                <a:cxn ang="0">
                  <a:pos x="87" y="38"/>
                </a:cxn>
                <a:cxn ang="0">
                  <a:pos x="84" y="24"/>
                </a:cxn>
                <a:cxn ang="0">
                  <a:pos x="84" y="21"/>
                </a:cxn>
                <a:cxn ang="0">
                  <a:pos x="83" y="19"/>
                </a:cxn>
                <a:cxn ang="0">
                  <a:pos x="77" y="12"/>
                </a:cxn>
                <a:cxn ang="0">
                  <a:pos x="63" y="14"/>
                </a:cxn>
                <a:cxn ang="0">
                  <a:pos x="58" y="15"/>
                </a:cxn>
                <a:cxn ang="0">
                  <a:pos x="57" y="15"/>
                </a:cxn>
                <a:cxn ang="0">
                  <a:pos x="52" y="12"/>
                </a:cxn>
                <a:cxn ang="0">
                  <a:pos x="50" y="9"/>
                </a:cxn>
                <a:cxn ang="0">
                  <a:pos x="50" y="6"/>
                </a:cxn>
                <a:cxn ang="0">
                  <a:pos x="44" y="5"/>
                </a:cxn>
                <a:cxn ang="0">
                  <a:pos x="38" y="6"/>
                </a:cxn>
                <a:cxn ang="0">
                  <a:pos x="35" y="3"/>
                </a:cxn>
                <a:cxn ang="0">
                  <a:pos x="34" y="0"/>
                </a:cxn>
                <a:cxn ang="0">
                  <a:pos x="31" y="3"/>
                </a:cxn>
                <a:cxn ang="0">
                  <a:pos x="28" y="3"/>
                </a:cxn>
                <a:cxn ang="0">
                  <a:pos x="23" y="6"/>
                </a:cxn>
                <a:cxn ang="0">
                  <a:pos x="21" y="8"/>
                </a:cxn>
                <a:cxn ang="0">
                  <a:pos x="18" y="8"/>
                </a:cxn>
                <a:cxn ang="0">
                  <a:pos x="15" y="5"/>
                </a:cxn>
                <a:cxn ang="0">
                  <a:pos x="12" y="6"/>
                </a:cxn>
                <a:cxn ang="0">
                  <a:pos x="9" y="9"/>
                </a:cxn>
                <a:cxn ang="0">
                  <a:pos x="7" y="19"/>
                </a:cxn>
                <a:cxn ang="0">
                  <a:pos x="10" y="24"/>
                </a:cxn>
                <a:cxn ang="0">
                  <a:pos x="12" y="25"/>
                </a:cxn>
                <a:cxn ang="0">
                  <a:pos x="12" y="30"/>
                </a:cxn>
                <a:cxn ang="0">
                  <a:pos x="13" y="35"/>
                </a:cxn>
                <a:cxn ang="0">
                  <a:pos x="10" y="34"/>
                </a:cxn>
                <a:cxn ang="0">
                  <a:pos x="5" y="34"/>
                </a:cxn>
                <a:cxn ang="0">
                  <a:pos x="6" y="37"/>
                </a:cxn>
                <a:cxn ang="0">
                  <a:pos x="9" y="38"/>
                </a:cxn>
                <a:cxn ang="0">
                  <a:pos x="7" y="44"/>
                </a:cxn>
                <a:cxn ang="0">
                  <a:pos x="2" y="47"/>
                </a:cxn>
                <a:cxn ang="0">
                  <a:pos x="5" y="53"/>
                </a:cxn>
                <a:cxn ang="0">
                  <a:pos x="0" y="62"/>
                </a:cxn>
                <a:cxn ang="0">
                  <a:pos x="3" y="62"/>
                </a:cxn>
                <a:cxn ang="0">
                  <a:pos x="6" y="64"/>
                </a:cxn>
                <a:cxn ang="0">
                  <a:pos x="10" y="67"/>
                </a:cxn>
                <a:cxn ang="0">
                  <a:pos x="16" y="72"/>
                </a:cxn>
                <a:cxn ang="0">
                  <a:pos x="18" y="75"/>
                </a:cxn>
                <a:cxn ang="0">
                  <a:pos x="16" y="79"/>
                </a:cxn>
                <a:cxn ang="0">
                  <a:pos x="15" y="82"/>
                </a:cxn>
              </a:cxnLst>
              <a:rect l="0" t="0" r="r" b="b"/>
              <a:pathLst>
                <a:path w="89" h="92">
                  <a:moveTo>
                    <a:pt x="15" y="92"/>
                  </a:moveTo>
                  <a:lnTo>
                    <a:pt x="16" y="92"/>
                  </a:lnTo>
                  <a:lnTo>
                    <a:pt x="21" y="92"/>
                  </a:lnTo>
                  <a:lnTo>
                    <a:pt x="63" y="80"/>
                  </a:lnTo>
                  <a:lnTo>
                    <a:pt x="79" y="83"/>
                  </a:lnTo>
                  <a:lnTo>
                    <a:pt x="80" y="80"/>
                  </a:lnTo>
                  <a:lnTo>
                    <a:pt x="80" y="80"/>
                  </a:lnTo>
                  <a:lnTo>
                    <a:pt x="82" y="80"/>
                  </a:lnTo>
                  <a:lnTo>
                    <a:pt x="83" y="80"/>
                  </a:lnTo>
                  <a:lnTo>
                    <a:pt x="84" y="80"/>
                  </a:lnTo>
                  <a:lnTo>
                    <a:pt x="84" y="73"/>
                  </a:lnTo>
                  <a:lnTo>
                    <a:pt x="83" y="73"/>
                  </a:lnTo>
                  <a:lnTo>
                    <a:pt x="82" y="73"/>
                  </a:lnTo>
                  <a:lnTo>
                    <a:pt x="80" y="72"/>
                  </a:lnTo>
                  <a:lnTo>
                    <a:pt x="77" y="63"/>
                  </a:lnTo>
                  <a:lnTo>
                    <a:pt x="79" y="56"/>
                  </a:lnTo>
                  <a:lnTo>
                    <a:pt x="79" y="54"/>
                  </a:lnTo>
                  <a:lnTo>
                    <a:pt x="80" y="53"/>
                  </a:lnTo>
                  <a:lnTo>
                    <a:pt x="82" y="51"/>
                  </a:lnTo>
                  <a:lnTo>
                    <a:pt x="82" y="46"/>
                  </a:lnTo>
                  <a:lnTo>
                    <a:pt x="84" y="40"/>
                  </a:lnTo>
                  <a:lnTo>
                    <a:pt x="84" y="40"/>
                  </a:lnTo>
                  <a:lnTo>
                    <a:pt x="86" y="38"/>
                  </a:lnTo>
                  <a:lnTo>
                    <a:pt x="87" y="38"/>
                  </a:lnTo>
                  <a:lnTo>
                    <a:pt x="87" y="37"/>
                  </a:lnTo>
                  <a:lnTo>
                    <a:pt x="89" y="37"/>
                  </a:lnTo>
                  <a:lnTo>
                    <a:pt x="86" y="25"/>
                  </a:lnTo>
                  <a:lnTo>
                    <a:pt x="84" y="24"/>
                  </a:lnTo>
                  <a:lnTo>
                    <a:pt x="84" y="24"/>
                  </a:lnTo>
                  <a:lnTo>
                    <a:pt x="84" y="24"/>
                  </a:lnTo>
                  <a:lnTo>
                    <a:pt x="86" y="22"/>
                  </a:lnTo>
                  <a:lnTo>
                    <a:pt x="84" y="21"/>
                  </a:lnTo>
                  <a:lnTo>
                    <a:pt x="84" y="19"/>
                  </a:lnTo>
                  <a:lnTo>
                    <a:pt x="84" y="18"/>
                  </a:lnTo>
                  <a:lnTo>
                    <a:pt x="84" y="19"/>
                  </a:lnTo>
                  <a:lnTo>
                    <a:pt x="83" y="19"/>
                  </a:lnTo>
                  <a:lnTo>
                    <a:pt x="82" y="18"/>
                  </a:lnTo>
                  <a:lnTo>
                    <a:pt x="80" y="15"/>
                  </a:lnTo>
                  <a:lnTo>
                    <a:pt x="79" y="14"/>
                  </a:lnTo>
                  <a:lnTo>
                    <a:pt x="77" y="12"/>
                  </a:lnTo>
                  <a:lnTo>
                    <a:pt x="77" y="12"/>
                  </a:lnTo>
                  <a:lnTo>
                    <a:pt x="76" y="14"/>
                  </a:lnTo>
                  <a:lnTo>
                    <a:pt x="71" y="12"/>
                  </a:lnTo>
                  <a:lnTo>
                    <a:pt x="63" y="14"/>
                  </a:lnTo>
                  <a:lnTo>
                    <a:pt x="61" y="16"/>
                  </a:lnTo>
                  <a:lnTo>
                    <a:pt x="61" y="16"/>
                  </a:lnTo>
                  <a:lnTo>
                    <a:pt x="58" y="15"/>
                  </a:lnTo>
                  <a:lnTo>
                    <a:pt x="58" y="15"/>
                  </a:lnTo>
                  <a:lnTo>
                    <a:pt x="58" y="15"/>
                  </a:lnTo>
                  <a:lnTo>
                    <a:pt x="57" y="15"/>
                  </a:lnTo>
                  <a:lnTo>
                    <a:pt x="57" y="15"/>
                  </a:lnTo>
                  <a:lnTo>
                    <a:pt x="57" y="15"/>
                  </a:lnTo>
                  <a:lnTo>
                    <a:pt x="54" y="15"/>
                  </a:lnTo>
                  <a:lnTo>
                    <a:pt x="54" y="14"/>
                  </a:lnTo>
                  <a:lnTo>
                    <a:pt x="52" y="12"/>
                  </a:lnTo>
                  <a:lnTo>
                    <a:pt x="52" y="12"/>
                  </a:lnTo>
                  <a:lnTo>
                    <a:pt x="52" y="12"/>
                  </a:lnTo>
                  <a:lnTo>
                    <a:pt x="52" y="11"/>
                  </a:lnTo>
                  <a:lnTo>
                    <a:pt x="51" y="11"/>
                  </a:lnTo>
                  <a:lnTo>
                    <a:pt x="50" y="9"/>
                  </a:lnTo>
                  <a:lnTo>
                    <a:pt x="50" y="9"/>
                  </a:lnTo>
                  <a:lnTo>
                    <a:pt x="50" y="8"/>
                  </a:lnTo>
                  <a:lnTo>
                    <a:pt x="50" y="6"/>
                  </a:lnTo>
                  <a:lnTo>
                    <a:pt x="50" y="6"/>
                  </a:lnTo>
                  <a:lnTo>
                    <a:pt x="48" y="6"/>
                  </a:lnTo>
                  <a:lnTo>
                    <a:pt x="45" y="6"/>
                  </a:lnTo>
                  <a:lnTo>
                    <a:pt x="45" y="6"/>
                  </a:lnTo>
                  <a:lnTo>
                    <a:pt x="44" y="5"/>
                  </a:lnTo>
                  <a:lnTo>
                    <a:pt x="44" y="5"/>
                  </a:lnTo>
                  <a:lnTo>
                    <a:pt x="39" y="5"/>
                  </a:lnTo>
                  <a:lnTo>
                    <a:pt x="39" y="6"/>
                  </a:lnTo>
                  <a:lnTo>
                    <a:pt x="38" y="6"/>
                  </a:lnTo>
                  <a:lnTo>
                    <a:pt x="36" y="8"/>
                  </a:lnTo>
                  <a:lnTo>
                    <a:pt x="35" y="8"/>
                  </a:lnTo>
                  <a:lnTo>
                    <a:pt x="35" y="8"/>
                  </a:lnTo>
                  <a:lnTo>
                    <a:pt x="35" y="3"/>
                  </a:lnTo>
                  <a:lnTo>
                    <a:pt x="34" y="3"/>
                  </a:lnTo>
                  <a:lnTo>
                    <a:pt x="35" y="3"/>
                  </a:lnTo>
                  <a:lnTo>
                    <a:pt x="34" y="2"/>
                  </a:lnTo>
                  <a:lnTo>
                    <a:pt x="34" y="0"/>
                  </a:lnTo>
                  <a:lnTo>
                    <a:pt x="34" y="0"/>
                  </a:lnTo>
                  <a:lnTo>
                    <a:pt x="32" y="0"/>
                  </a:lnTo>
                  <a:lnTo>
                    <a:pt x="31" y="3"/>
                  </a:lnTo>
                  <a:lnTo>
                    <a:pt x="31" y="3"/>
                  </a:lnTo>
                  <a:lnTo>
                    <a:pt x="29" y="2"/>
                  </a:lnTo>
                  <a:lnTo>
                    <a:pt x="28" y="2"/>
                  </a:lnTo>
                  <a:lnTo>
                    <a:pt x="28" y="2"/>
                  </a:lnTo>
                  <a:lnTo>
                    <a:pt x="28" y="3"/>
                  </a:lnTo>
                  <a:lnTo>
                    <a:pt x="28" y="5"/>
                  </a:lnTo>
                  <a:lnTo>
                    <a:pt x="28" y="6"/>
                  </a:lnTo>
                  <a:lnTo>
                    <a:pt x="25" y="6"/>
                  </a:lnTo>
                  <a:lnTo>
                    <a:pt x="23" y="6"/>
                  </a:lnTo>
                  <a:lnTo>
                    <a:pt x="23" y="8"/>
                  </a:lnTo>
                  <a:lnTo>
                    <a:pt x="22" y="9"/>
                  </a:lnTo>
                  <a:lnTo>
                    <a:pt x="22" y="9"/>
                  </a:lnTo>
                  <a:lnTo>
                    <a:pt x="21" y="8"/>
                  </a:lnTo>
                  <a:lnTo>
                    <a:pt x="19" y="8"/>
                  </a:lnTo>
                  <a:lnTo>
                    <a:pt x="19" y="6"/>
                  </a:lnTo>
                  <a:lnTo>
                    <a:pt x="18" y="8"/>
                  </a:lnTo>
                  <a:lnTo>
                    <a:pt x="18" y="8"/>
                  </a:lnTo>
                  <a:lnTo>
                    <a:pt x="18" y="8"/>
                  </a:lnTo>
                  <a:lnTo>
                    <a:pt x="18" y="6"/>
                  </a:lnTo>
                  <a:lnTo>
                    <a:pt x="16" y="5"/>
                  </a:lnTo>
                  <a:lnTo>
                    <a:pt x="15" y="5"/>
                  </a:lnTo>
                  <a:lnTo>
                    <a:pt x="15" y="5"/>
                  </a:lnTo>
                  <a:lnTo>
                    <a:pt x="13" y="5"/>
                  </a:lnTo>
                  <a:lnTo>
                    <a:pt x="13" y="5"/>
                  </a:lnTo>
                  <a:lnTo>
                    <a:pt x="12" y="6"/>
                  </a:lnTo>
                  <a:lnTo>
                    <a:pt x="12" y="8"/>
                  </a:lnTo>
                  <a:lnTo>
                    <a:pt x="10" y="8"/>
                  </a:lnTo>
                  <a:lnTo>
                    <a:pt x="9" y="8"/>
                  </a:lnTo>
                  <a:lnTo>
                    <a:pt x="9" y="9"/>
                  </a:lnTo>
                  <a:lnTo>
                    <a:pt x="7" y="11"/>
                  </a:lnTo>
                  <a:lnTo>
                    <a:pt x="7" y="12"/>
                  </a:lnTo>
                  <a:lnTo>
                    <a:pt x="6" y="12"/>
                  </a:lnTo>
                  <a:lnTo>
                    <a:pt x="7" y="19"/>
                  </a:lnTo>
                  <a:lnTo>
                    <a:pt x="7" y="19"/>
                  </a:lnTo>
                  <a:lnTo>
                    <a:pt x="9" y="21"/>
                  </a:lnTo>
                  <a:lnTo>
                    <a:pt x="10" y="21"/>
                  </a:lnTo>
                  <a:lnTo>
                    <a:pt x="10" y="24"/>
                  </a:lnTo>
                  <a:lnTo>
                    <a:pt x="12" y="24"/>
                  </a:lnTo>
                  <a:lnTo>
                    <a:pt x="12" y="25"/>
                  </a:lnTo>
                  <a:lnTo>
                    <a:pt x="12" y="25"/>
                  </a:lnTo>
                  <a:lnTo>
                    <a:pt x="12" y="25"/>
                  </a:lnTo>
                  <a:lnTo>
                    <a:pt x="10" y="27"/>
                  </a:lnTo>
                  <a:lnTo>
                    <a:pt x="10" y="30"/>
                  </a:lnTo>
                  <a:lnTo>
                    <a:pt x="10" y="30"/>
                  </a:lnTo>
                  <a:lnTo>
                    <a:pt x="12" y="30"/>
                  </a:lnTo>
                  <a:lnTo>
                    <a:pt x="12" y="30"/>
                  </a:lnTo>
                  <a:lnTo>
                    <a:pt x="12" y="31"/>
                  </a:lnTo>
                  <a:lnTo>
                    <a:pt x="13" y="32"/>
                  </a:lnTo>
                  <a:lnTo>
                    <a:pt x="13" y="35"/>
                  </a:lnTo>
                  <a:lnTo>
                    <a:pt x="13" y="35"/>
                  </a:lnTo>
                  <a:lnTo>
                    <a:pt x="12" y="34"/>
                  </a:lnTo>
                  <a:lnTo>
                    <a:pt x="12" y="34"/>
                  </a:lnTo>
                  <a:lnTo>
                    <a:pt x="10" y="34"/>
                  </a:lnTo>
                  <a:lnTo>
                    <a:pt x="10" y="32"/>
                  </a:lnTo>
                  <a:lnTo>
                    <a:pt x="7" y="32"/>
                  </a:lnTo>
                  <a:lnTo>
                    <a:pt x="5" y="34"/>
                  </a:lnTo>
                  <a:lnTo>
                    <a:pt x="5" y="34"/>
                  </a:lnTo>
                  <a:lnTo>
                    <a:pt x="6" y="34"/>
                  </a:lnTo>
                  <a:lnTo>
                    <a:pt x="6" y="35"/>
                  </a:lnTo>
                  <a:lnTo>
                    <a:pt x="6" y="37"/>
                  </a:lnTo>
                  <a:lnTo>
                    <a:pt x="6" y="37"/>
                  </a:lnTo>
                  <a:lnTo>
                    <a:pt x="7" y="37"/>
                  </a:lnTo>
                  <a:lnTo>
                    <a:pt x="9" y="37"/>
                  </a:lnTo>
                  <a:lnTo>
                    <a:pt x="9" y="38"/>
                  </a:lnTo>
                  <a:lnTo>
                    <a:pt x="9" y="38"/>
                  </a:lnTo>
                  <a:lnTo>
                    <a:pt x="9" y="38"/>
                  </a:lnTo>
                  <a:lnTo>
                    <a:pt x="9" y="40"/>
                  </a:lnTo>
                  <a:lnTo>
                    <a:pt x="7" y="40"/>
                  </a:lnTo>
                  <a:lnTo>
                    <a:pt x="7" y="44"/>
                  </a:lnTo>
                  <a:lnTo>
                    <a:pt x="6" y="46"/>
                  </a:lnTo>
                  <a:lnTo>
                    <a:pt x="6" y="47"/>
                  </a:lnTo>
                  <a:lnTo>
                    <a:pt x="3" y="47"/>
                  </a:lnTo>
                  <a:lnTo>
                    <a:pt x="2" y="47"/>
                  </a:lnTo>
                  <a:lnTo>
                    <a:pt x="3" y="50"/>
                  </a:lnTo>
                  <a:lnTo>
                    <a:pt x="3" y="51"/>
                  </a:lnTo>
                  <a:lnTo>
                    <a:pt x="5" y="51"/>
                  </a:lnTo>
                  <a:lnTo>
                    <a:pt x="5" y="53"/>
                  </a:lnTo>
                  <a:lnTo>
                    <a:pt x="5" y="53"/>
                  </a:lnTo>
                  <a:lnTo>
                    <a:pt x="5" y="57"/>
                  </a:lnTo>
                  <a:lnTo>
                    <a:pt x="2" y="60"/>
                  </a:lnTo>
                  <a:lnTo>
                    <a:pt x="0" y="62"/>
                  </a:lnTo>
                  <a:lnTo>
                    <a:pt x="2" y="62"/>
                  </a:lnTo>
                  <a:lnTo>
                    <a:pt x="2" y="62"/>
                  </a:lnTo>
                  <a:lnTo>
                    <a:pt x="2" y="62"/>
                  </a:lnTo>
                  <a:lnTo>
                    <a:pt x="3" y="62"/>
                  </a:lnTo>
                  <a:lnTo>
                    <a:pt x="3" y="63"/>
                  </a:lnTo>
                  <a:lnTo>
                    <a:pt x="3" y="63"/>
                  </a:lnTo>
                  <a:lnTo>
                    <a:pt x="5" y="63"/>
                  </a:lnTo>
                  <a:lnTo>
                    <a:pt x="6" y="64"/>
                  </a:lnTo>
                  <a:lnTo>
                    <a:pt x="9" y="64"/>
                  </a:lnTo>
                  <a:lnTo>
                    <a:pt x="9" y="64"/>
                  </a:lnTo>
                  <a:lnTo>
                    <a:pt x="10" y="66"/>
                  </a:lnTo>
                  <a:lnTo>
                    <a:pt x="10" y="67"/>
                  </a:lnTo>
                  <a:lnTo>
                    <a:pt x="12" y="67"/>
                  </a:lnTo>
                  <a:lnTo>
                    <a:pt x="13" y="70"/>
                  </a:lnTo>
                  <a:lnTo>
                    <a:pt x="15" y="70"/>
                  </a:lnTo>
                  <a:lnTo>
                    <a:pt x="16" y="72"/>
                  </a:lnTo>
                  <a:lnTo>
                    <a:pt x="18" y="70"/>
                  </a:lnTo>
                  <a:lnTo>
                    <a:pt x="18" y="72"/>
                  </a:lnTo>
                  <a:lnTo>
                    <a:pt x="18" y="73"/>
                  </a:lnTo>
                  <a:lnTo>
                    <a:pt x="18" y="75"/>
                  </a:lnTo>
                  <a:lnTo>
                    <a:pt x="18" y="78"/>
                  </a:lnTo>
                  <a:lnTo>
                    <a:pt x="18" y="78"/>
                  </a:lnTo>
                  <a:lnTo>
                    <a:pt x="18" y="79"/>
                  </a:lnTo>
                  <a:lnTo>
                    <a:pt x="16" y="79"/>
                  </a:lnTo>
                  <a:lnTo>
                    <a:pt x="16" y="79"/>
                  </a:lnTo>
                  <a:lnTo>
                    <a:pt x="16" y="82"/>
                  </a:lnTo>
                  <a:lnTo>
                    <a:pt x="16" y="82"/>
                  </a:lnTo>
                  <a:lnTo>
                    <a:pt x="15" y="82"/>
                  </a:lnTo>
                  <a:lnTo>
                    <a:pt x="16" y="83"/>
                  </a:lnTo>
                  <a:lnTo>
                    <a:pt x="15" y="85"/>
                  </a:lnTo>
                  <a:lnTo>
                    <a:pt x="15" y="9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10" name="Freeform 731"/>
            <p:cNvSpPr>
              <a:spLocks/>
            </p:cNvSpPr>
            <p:nvPr/>
          </p:nvSpPr>
          <p:spPr bwMode="auto">
            <a:xfrm>
              <a:off x="6115458" y="3109322"/>
              <a:ext cx="29845" cy="77074"/>
            </a:xfrm>
            <a:custGeom>
              <a:avLst/>
              <a:gdLst/>
              <a:ahLst/>
              <a:cxnLst>
                <a:cxn ang="0">
                  <a:pos x="22" y="74"/>
                </a:cxn>
                <a:cxn ang="0">
                  <a:pos x="21" y="72"/>
                </a:cxn>
                <a:cxn ang="0">
                  <a:pos x="15" y="65"/>
                </a:cxn>
                <a:cxn ang="0">
                  <a:pos x="10" y="24"/>
                </a:cxn>
                <a:cxn ang="0">
                  <a:pos x="9" y="23"/>
                </a:cxn>
                <a:cxn ang="0">
                  <a:pos x="8" y="14"/>
                </a:cxn>
                <a:cxn ang="0">
                  <a:pos x="5" y="8"/>
                </a:cxn>
                <a:cxn ang="0">
                  <a:pos x="2" y="7"/>
                </a:cxn>
                <a:cxn ang="0">
                  <a:pos x="2" y="5"/>
                </a:cxn>
                <a:cxn ang="0">
                  <a:pos x="3" y="4"/>
                </a:cxn>
                <a:cxn ang="0">
                  <a:pos x="3" y="3"/>
                </a:cxn>
                <a:cxn ang="0">
                  <a:pos x="3" y="1"/>
                </a:cxn>
                <a:cxn ang="0">
                  <a:pos x="3" y="1"/>
                </a:cxn>
                <a:cxn ang="0">
                  <a:pos x="2" y="1"/>
                </a:cxn>
                <a:cxn ang="0">
                  <a:pos x="0" y="1"/>
                </a:cxn>
                <a:cxn ang="0">
                  <a:pos x="0" y="0"/>
                </a:cxn>
                <a:cxn ang="0">
                  <a:pos x="0" y="0"/>
                </a:cxn>
                <a:cxn ang="0">
                  <a:pos x="9" y="1"/>
                </a:cxn>
                <a:cxn ang="0">
                  <a:pos x="10" y="3"/>
                </a:cxn>
                <a:cxn ang="0">
                  <a:pos x="12" y="3"/>
                </a:cxn>
                <a:cxn ang="0">
                  <a:pos x="12" y="3"/>
                </a:cxn>
                <a:cxn ang="0">
                  <a:pos x="16" y="3"/>
                </a:cxn>
                <a:cxn ang="0">
                  <a:pos x="16" y="3"/>
                </a:cxn>
                <a:cxn ang="0">
                  <a:pos x="16" y="3"/>
                </a:cxn>
                <a:cxn ang="0">
                  <a:pos x="15" y="5"/>
                </a:cxn>
                <a:cxn ang="0">
                  <a:pos x="15" y="7"/>
                </a:cxn>
                <a:cxn ang="0">
                  <a:pos x="13" y="10"/>
                </a:cxn>
                <a:cxn ang="0">
                  <a:pos x="15" y="11"/>
                </a:cxn>
                <a:cxn ang="0">
                  <a:pos x="15" y="13"/>
                </a:cxn>
                <a:cxn ang="0">
                  <a:pos x="18" y="13"/>
                </a:cxn>
                <a:cxn ang="0">
                  <a:pos x="18" y="13"/>
                </a:cxn>
                <a:cxn ang="0">
                  <a:pos x="19" y="14"/>
                </a:cxn>
                <a:cxn ang="0">
                  <a:pos x="22" y="19"/>
                </a:cxn>
                <a:cxn ang="0">
                  <a:pos x="29" y="68"/>
                </a:cxn>
                <a:cxn ang="0">
                  <a:pos x="31" y="71"/>
                </a:cxn>
                <a:cxn ang="0">
                  <a:pos x="32" y="71"/>
                </a:cxn>
                <a:cxn ang="0">
                  <a:pos x="22" y="74"/>
                </a:cxn>
              </a:cxnLst>
              <a:rect l="0" t="0" r="r" b="b"/>
              <a:pathLst>
                <a:path w="32" h="74">
                  <a:moveTo>
                    <a:pt x="22" y="74"/>
                  </a:moveTo>
                  <a:lnTo>
                    <a:pt x="21" y="72"/>
                  </a:lnTo>
                  <a:lnTo>
                    <a:pt x="15" y="65"/>
                  </a:lnTo>
                  <a:lnTo>
                    <a:pt x="10" y="24"/>
                  </a:lnTo>
                  <a:lnTo>
                    <a:pt x="9" y="23"/>
                  </a:lnTo>
                  <a:lnTo>
                    <a:pt x="8" y="14"/>
                  </a:lnTo>
                  <a:lnTo>
                    <a:pt x="5" y="8"/>
                  </a:lnTo>
                  <a:lnTo>
                    <a:pt x="2" y="7"/>
                  </a:lnTo>
                  <a:lnTo>
                    <a:pt x="2" y="5"/>
                  </a:lnTo>
                  <a:lnTo>
                    <a:pt x="3" y="4"/>
                  </a:lnTo>
                  <a:lnTo>
                    <a:pt x="3" y="3"/>
                  </a:lnTo>
                  <a:lnTo>
                    <a:pt x="3" y="1"/>
                  </a:lnTo>
                  <a:lnTo>
                    <a:pt x="3" y="1"/>
                  </a:lnTo>
                  <a:lnTo>
                    <a:pt x="2" y="1"/>
                  </a:lnTo>
                  <a:lnTo>
                    <a:pt x="0" y="1"/>
                  </a:lnTo>
                  <a:lnTo>
                    <a:pt x="0" y="0"/>
                  </a:lnTo>
                  <a:lnTo>
                    <a:pt x="0" y="0"/>
                  </a:lnTo>
                  <a:lnTo>
                    <a:pt x="9" y="1"/>
                  </a:lnTo>
                  <a:lnTo>
                    <a:pt x="10" y="3"/>
                  </a:lnTo>
                  <a:lnTo>
                    <a:pt x="12" y="3"/>
                  </a:lnTo>
                  <a:lnTo>
                    <a:pt x="12" y="3"/>
                  </a:lnTo>
                  <a:lnTo>
                    <a:pt x="16" y="3"/>
                  </a:lnTo>
                  <a:lnTo>
                    <a:pt x="16" y="3"/>
                  </a:lnTo>
                  <a:lnTo>
                    <a:pt x="16" y="3"/>
                  </a:lnTo>
                  <a:lnTo>
                    <a:pt x="15" y="5"/>
                  </a:lnTo>
                  <a:lnTo>
                    <a:pt x="15" y="7"/>
                  </a:lnTo>
                  <a:lnTo>
                    <a:pt x="13" y="10"/>
                  </a:lnTo>
                  <a:lnTo>
                    <a:pt x="15" y="11"/>
                  </a:lnTo>
                  <a:lnTo>
                    <a:pt x="15" y="13"/>
                  </a:lnTo>
                  <a:lnTo>
                    <a:pt x="18" y="13"/>
                  </a:lnTo>
                  <a:lnTo>
                    <a:pt x="18" y="13"/>
                  </a:lnTo>
                  <a:lnTo>
                    <a:pt x="19" y="14"/>
                  </a:lnTo>
                  <a:lnTo>
                    <a:pt x="22" y="19"/>
                  </a:lnTo>
                  <a:lnTo>
                    <a:pt x="29" y="68"/>
                  </a:lnTo>
                  <a:lnTo>
                    <a:pt x="31" y="71"/>
                  </a:lnTo>
                  <a:lnTo>
                    <a:pt x="32" y="71"/>
                  </a:lnTo>
                  <a:lnTo>
                    <a:pt x="22" y="7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11" name="Freeform 732"/>
            <p:cNvSpPr>
              <a:spLocks/>
            </p:cNvSpPr>
            <p:nvPr/>
          </p:nvSpPr>
          <p:spPr bwMode="auto">
            <a:xfrm>
              <a:off x="6115458" y="3109322"/>
              <a:ext cx="29845" cy="77074"/>
            </a:xfrm>
            <a:custGeom>
              <a:avLst/>
              <a:gdLst/>
              <a:ahLst/>
              <a:cxnLst>
                <a:cxn ang="0">
                  <a:pos x="22" y="74"/>
                </a:cxn>
                <a:cxn ang="0">
                  <a:pos x="21" y="72"/>
                </a:cxn>
                <a:cxn ang="0">
                  <a:pos x="15" y="65"/>
                </a:cxn>
                <a:cxn ang="0">
                  <a:pos x="10" y="24"/>
                </a:cxn>
                <a:cxn ang="0">
                  <a:pos x="9" y="23"/>
                </a:cxn>
                <a:cxn ang="0">
                  <a:pos x="8" y="14"/>
                </a:cxn>
                <a:cxn ang="0">
                  <a:pos x="5" y="8"/>
                </a:cxn>
                <a:cxn ang="0">
                  <a:pos x="2" y="7"/>
                </a:cxn>
                <a:cxn ang="0">
                  <a:pos x="2" y="5"/>
                </a:cxn>
                <a:cxn ang="0">
                  <a:pos x="3" y="4"/>
                </a:cxn>
                <a:cxn ang="0">
                  <a:pos x="3" y="3"/>
                </a:cxn>
                <a:cxn ang="0">
                  <a:pos x="3" y="1"/>
                </a:cxn>
                <a:cxn ang="0">
                  <a:pos x="3" y="1"/>
                </a:cxn>
                <a:cxn ang="0">
                  <a:pos x="2" y="1"/>
                </a:cxn>
                <a:cxn ang="0">
                  <a:pos x="0" y="1"/>
                </a:cxn>
                <a:cxn ang="0">
                  <a:pos x="0" y="0"/>
                </a:cxn>
                <a:cxn ang="0">
                  <a:pos x="0" y="0"/>
                </a:cxn>
                <a:cxn ang="0">
                  <a:pos x="9" y="1"/>
                </a:cxn>
                <a:cxn ang="0">
                  <a:pos x="10" y="3"/>
                </a:cxn>
                <a:cxn ang="0">
                  <a:pos x="12" y="3"/>
                </a:cxn>
                <a:cxn ang="0">
                  <a:pos x="12" y="3"/>
                </a:cxn>
                <a:cxn ang="0">
                  <a:pos x="16" y="3"/>
                </a:cxn>
                <a:cxn ang="0">
                  <a:pos x="16" y="3"/>
                </a:cxn>
                <a:cxn ang="0">
                  <a:pos x="16" y="3"/>
                </a:cxn>
                <a:cxn ang="0">
                  <a:pos x="15" y="5"/>
                </a:cxn>
                <a:cxn ang="0">
                  <a:pos x="15" y="7"/>
                </a:cxn>
                <a:cxn ang="0">
                  <a:pos x="13" y="10"/>
                </a:cxn>
                <a:cxn ang="0">
                  <a:pos x="15" y="11"/>
                </a:cxn>
                <a:cxn ang="0">
                  <a:pos x="15" y="13"/>
                </a:cxn>
                <a:cxn ang="0">
                  <a:pos x="18" y="13"/>
                </a:cxn>
                <a:cxn ang="0">
                  <a:pos x="18" y="13"/>
                </a:cxn>
                <a:cxn ang="0">
                  <a:pos x="19" y="14"/>
                </a:cxn>
                <a:cxn ang="0">
                  <a:pos x="22" y="19"/>
                </a:cxn>
                <a:cxn ang="0">
                  <a:pos x="29" y="68"/>
                </a:cxn>
                <a:cxn ang="0">
                  <a:pos x="31" y="71"/>
                </a:cxn>
                <a:cxn ang="0">
                  <a:pos x="32" y="71"/>
                </a:cxn>
                <a:cxn ang="0">
                  <a:pos x="22" y="74"/>
                </a:cxn>
              </a:cxnLst>
              <a:rect l="0" t="0" r="r" b="b"/>
              <a:pathLst>
                <a:path w="32" h="74">
                  <a:moveTo>
                    <a:pt x="22" y="74"/>
                  </a:moveTo>
                  <a:lnTo>
                    <a:pt x="21" y="72"/>
                  </a:lnTo>
                  <a:lnTo>
                    <a:pt x="15" y="65"/>
                  </a:lnTo>
                  <a:lnTo>
                    <a:pt x="10" y="24"/>
                  </a:lnTo>
                  <a:lnTo>
                    <a:pt x="9" y="23"/>
                  </a:lnTo>
                  <a:lnTo>
                    <a:pt x="8" y="14"/>
                  </a:lnTo>
                  <a:lnTo>
                    <a:pt x="5" y="8"/>
                  </a:lnTo>
                  <a:lnTo>
                    <a:pt x="2" y="7"/>
                  </a:lnTo>
                  <a:lnTo>
                    <a:pt x="2" y="5"/>
                  </a:lnTo>
                  <a:lnTo>
                    <a:pt x="3" y="4"/>
                  </a:lnTo>
                  <a:lnTo>
                    <a:pt x="3" y="3"/>
                  </a:lnTo>
                  <a:lnTo>
                    <a:pt x="3" y="1"/>
                  </a:lnTo>
                  <a:lnTo>
                    <a:pt x="3" y="1"/>
                  </a:lnTo>
                  <a:lnTo>
                    <a:pt x="2" y="1"/>
                  </a:lnTo>
                  <a:lnTo>
                    <a:pt x="0" y="1"/>
                  </a:lnTo>
                  <a:lnTo>
                    <a:pt x="0" y="0"/>
                  </a:lnTo>
                  <a:lnTo>
                    <a:pt x="0" y="0"/>
                  </a:lnTo>
                  <a:lnTo>
                    <a:pt x="9" y="1"/>
                  </a:lnTo>
                  <a:lnTo>
                    <a:pt x="10" y="3"/>
                  </a:lnTo>
                  <a:lnTo>
                    <a:pt x="12" y="3"/>
                  </a:lnTo>
                  <a:lnTo>
                    <a:pt x="12" y="3"/>
                  </a:lnTo>
                  <a:lnTo>
                    <a:pt x="16" y="3"/>
                  </a:lnTo>
                  <a:lnTo>
                    <a:pt x="16" y="3"/>
                  </a:lnTo>
                  <a:lnTo>
                    <a:pt x="16" y="3"/>
                  </a:lnTo>
                  <a:lnTo>
                    <a:pt x="15" y="5"/>
                  </a:lnTo>
                  <a:lnTo>
                    <a:pt x="15" y="7"/>
                  </a:lnTo>
                  <a:lnTo>
                    <a:pt x="13" y="10"/>
                  </a:lnTo>
                  <a:lnTo>
                    <a:pt x="15" y="11"/>
                  </a:lnTo>
                  <a:lnTo>
                    <a:pt x="15" y="13"/>
                  </a:lnTo>
                  <a:lnTo>
                    <a:pt x="18" y="13"/>
                  </a:lnTo>
                  <a:lnTo>
                    <a:pt x="18" y="13"/>
                  </a:lnTo>
                  <a:lnTo>
                    <a:pt x="19" y="14"/>
                  </a:lnTo>
                  <a:lnTo>
                    <a:pt x="22" y="19"/>
                  </a:lnTo>
                  <a:lnTo>
                    <a:pt x="29" y="68"/>
                  </a:lnTo>
                  <a:lnTo>
                    <a:pt x="31" y="71"/>
                  </a:lnTo>
                  <a:lnTo>
                    <a:pt x="32" y="71"/>
                  </a:lnTo>
                  <a:lnTo>
                    <a:pt x="22" y="7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12" name="Freeform 733"/>
            <p:cNvSpPr>
              <a:spLocks/>
            </p:cNvSpPr>
            <p:nvPr/>
          </p:nvSpPr>
          <p:spPr bwMode="auto">
            <a:xfrm>
              <a:off x="6654428" y="3099181"/>
              <a:ext cx="133426" cy="200799"/>
            </a:xfrm>
            <a:custGeom>
              <a:avLst/>
              <a:gdLst/>
              <a:ahLst/>
              <a:cxnLst>
                <a:cxn ang="0">
                  <a:pos x="9" y="191"/>
                </a:cxn>
                <a:cxn ang="0">
                  <a:pos x="0" y="129"/>
                </a:cxn>
                <a:cxn ang="0">
                  <a:pos x="13" y="114"/>
                </a:cxn>
                <a:cxn ang="0">
                  <a:pos x="13" y="113"/>
                </a:cxn>
                <a:cxn ang="0">
                  <a:pos x="33" y="101"/>
                </a:cxn>
                <a:cxn ang="0">
                  <a:pos x="58" y="98"/>
                </a:cxn>
                <a:cxn ang="0">
                  <a:pos x="100" y="55"/>
                </a:cxn>
                <a:cxn ang="0">
                  <a:pos x="43" y="40"/>
                </a:cxn>
                <a:cxn ang="0">
                  <a:pos x="36" y="34"/>
                </a:cxn>
                <a:cxn ang="0">
                  <a:pos x="33" y="30"/>
                </a:cxn>
                <a:cxn ang="0">
                  <a:pos x="29" y="26"/>
                </a:cxn>
                <a:cxn ang="0">
                  <a:pos x="27" y="23"/>
                </a:cxn>
                <a:cxn ang="0">
                  <a:pos x="32" y="7"/>
                </a:cxn>
                <a:cxn ang="0">
                  <a:pos x="33" y="7"/>
                </a:cxn>
                <a:cxn ang="0">
                  <a:pos x="43" y="18"/>
                </a:cxn>
                <a:cxn ang="0">
                  <a:pos x="51" y="21"/>
                </a:cxn>
                <a:cxn ang="0">
                  <a:pos x="67" y="15"/>
                </a:cxn>
                <a:cxn ang="0">
                  <a:pos x="67" y="15"/>
                </a:cxn>
                <a:cxn ang="0">
                  <a:pos x="70" y="15"/>
                </a:cxn>
                <a:cxn ang="0">
                  <a:pos x="71" y="15"/>
                </a:cxn>
                <a:cxn ang="0">
                  <a:pos x="75" y="17"/>
                </a:cxn>
                <a:cxn ang="0">
                  <a:pos x="84" y="14"/>
                </a:cxn>
                <a:cxn ang="0">
                  <a:pos x="87" y="13"/>
                </a:cxn>
                <a:cxn ang="0">
                  <a:pos x="94" y="11"/>
                </a:cxn>
                <a:cxn ang="0">
                  <a:pos x="107" y="8"/>
                </a:cxn>
                <a:cxn ang="0">
                  <a:pos x="117" y="7"/>
                </a:cxn>
                <a:cxn ang="0">
                  <a:pos x="120" y="7"/>
                </a:cxn>
                <a:cxn ang="0">
                  <a:pos x="133" y="2"/>
                </a:cxn>
                <a:cxn ang="0">
                  <a:pos x="136" y="0"/>
                </a:cxn>
                <a:cxn ang="0">
                  <a:pos x="142" y="1"/>
                </a:cxn>
                <a:cxn ang="0">
                  <a:pos x="145" y="2"/>
                </a:cxn>
                <a:cxn ang="0">
                  <a:pos x="145" y="5"/>
                </a:cxn>
                <a:cxn ang="0">
                  <a:pos x="142" y="8"/>
                </a:cxn>
                <a:cxn ang="0">
                  <a:pos x="144" y="13"/>
                </a:cxn>
                <a:cxn ang="0">
                  <a:pos x="144" y="15"/>
                </a:cxn>
                <a:cxn ang="0">
                  <a:pos x="144" y="20"/>
                </a:cxn>
                <a:cxn ang="0">
                  <a:pos x="142" y="21"/>
                </a:cxn>
                <a:cxn ang="0">
                  <a:pos x="144" y="21"/>
                </a:cxn>
                <a:cxn ang="0">
                  <a:pos x="144" y="21"/>
                </a:cxn>
                <a:cxn ang="0">
                  <a:pos x="146" y="21"/>
                </a:cxn>
                <a:cxn ang="0">
                  <a:pos x="145" y="23"/>
                </a:cxn>
                <a:cxn ang="0">
                  <a:pos x="144" y="23"/>
                </a:cxn>
                <a:cxn ang="0">
                  <a:pos x="141" y="23"/>
                </a:cxn>
                <a:cxn ang="0">
                  <a:pos x="138" y="36"/>
                </a:cxn>
                <a:cxn ang="0">
                  <a:pos x="138" y="40"/>
                </a:cxn>
                <a:cxn ang="0">
                  <a:pos x="129" y="53"/>
                </a:cxn>
                <a:cxn ang="0">
                  <a:pos x="125" y="58"/>
                </a:cxn>
                <a:cxn ang="0">
                  <a:pos x="112" y="90"/>
                </a:cxn>
                <a:cxn ang="0">
                  <a:pos x="109" y="91"/>
                </a:cxn>
                <a:cxn ang="0">
                  <a:pos x="107" y="93"/>
                </a:cxn>
                <a:cxn ang="0">
                  <a:pos x="101" y="101"/>
                </a:cxn>
                <a:cxn ang="0">
                  <a:pos x="94" y="111"/>
                </a:cxn>
                <a:cxn ang="0">
                  <a:pos x="77" y="127"/>
                </a:cxn>
                <a:cxn ang="0">
                  <a:pos x="72" y="135"/>
                </a:cxn>
                <a:cxn ang="0">
                  <a:pos x="59" y="142"/>
                </a:cxn>
                <a:cxn ang="0">
                  <a:pos x="27" y="171"/>
                </a:cxn>
                <a:cxn ang="0">
                  <a:pos x="23" y="171"/>
                </a:cxn>
                <a:cxn ang="0">
                  <a:pos x="23" y="172"/>
                </a:cxn>
                <a:cxn ang="0">
                  <a:pos x="23" y="174"/>
                </a:cxn>
                <a:cxn ang="0">
                  <a:pos x="22" y="177"/>
                </a:cxn>
                <a:cxn ang="0">
                  <a:pos x="9" y="193"/>
                </a:cxn>
              </a:cxnLst>
              <a:rect l="0" t="0" r="r" b="b"/>
              <a:pathLst>
                <a:path w="146" h="193">
                  <a:moveTo>
                    <a:pt x="9" y="193"/>
                  </a:moveTo>
                  <a:lnTo>
                    <a:pt x="9" y="191"/>
                  </a:lnTo>
                  <a:lnTo>
                    <a:pt x="0" y="181"/>
                  </a:lnTo>
                  <a:lnTo>
                    <a:pt x="0" y="129"/>
                  </a:lnTo>
                  <a:lnTo>
                    <a:pt x="1" y="129"/>
                  </a:lnTo>
                  <a:lnTo>
                    <a:pt x="13" y="114"/>
                  </a:lnTo>
                  <a:lnTo>
                    <a:pt x="13" y="113"/>
                  </a:lnTo>
                  <a:lnTo>
                    <a:pt x="13" y="113"/>
                  </a:lnTo>
                  <a:lnTo>
                    <a:pt x="26" y="107"/>
                  </a:lnTo>
                  <a:lnTo>
                    <a:pt x="33" y="101"/>
                  </a:lnTo>
                  <a:lnTo>
                    <a:pt x="40" y="98"/>
                  </a:lnTo>
                  <a:lnTo>
                    <a:pt x="58" y="98"/>
                  </a:lnTo>
                  <a:lnTo>
                    <a:pt x="100" y="55"/>
                  </a:lnTo>
                  <a:lnTo>
                    <a:pt x="100" y="55"/>
                  </a:lnTo>
                  <a:lnTo>
                    <a:pt x="87" y="55"/>
                  </a:lnTo>
                  <a:lnTo>
                    <a:pt x="43" y="40"/>
                  </a:lnTo>
                  <a:lnTo>
                    <a:pt x="42" y="37"/>
                  </a:lnTo>
                  <a:lnTo>
                    <a:pt x="36" y="34"/>
                  </a:lnTo>
                  <a:lnTo>
                    <a:pt x="35" y="31"/>
                  </a:lnTo>
                  <a:lnTo>
                    <a:pt x="33" y="30"/>
                  </a:lnTo>
                  <a:lnTo>
                    <a:pt x="32" y="29"/>
                  </a:lnTo>
                  <a:lnTo>
                    <a:pt x="29" y="26"/>
                  </a:lnTo>
                  <a:lnTo>
                    <a:pt x="29" y="24"/>
                  </a:lnTo>
                  <a:lnTo>
                    <a:pt x="27" y="23"/>
                  </a:lnTo>
                  <a:lnTo>
                    <a:pt x="26" y="17"/>
                  </a:lnTo>
                  <a:lnTo>
                    <a:pt x="32" y="7"/>
                  </a:lnTo>
                  <a:lnTo>
                    <a:pt x="32" y="5"/>
                  </a:lnTo>
                  <a:lnTo>
                    <a:pt x="33" y="7"/>
                  </a:lnTo>
                  <a:lnTo>
                    <a:pt x="35" y="7"/>
                  </a:lnTo>
                  <a:lnTo>
                    <a:pt x="43" y="18"/>
                  </a:lnTo>
                  <a:lnTo>
                    <a:pt x="49" y="21"/>
                  </a:lnTo>
                  <a:lnTo>
                    <a:pt x="51" y="21"/>
                  </a:lnTo>
                  <a:lnTo>
                    <a:pt x="56" y="21"/>
                  </a:lnTo>
                  <a:lnTo>
                    <a:pt x="67" y="15"/>
                  </a:lnTo>
                  <a:lnTo>
                    <a:pt x="67" y="15"/>
                  </a:lnTo>
                  <a:lnTo>
                    <a:pt x="67" y="15"/>
                  </a:lnTo>
                  <a:lnTo>
                    <a:pt x="68" y="15"/>
                  </a:lnTo>
                  <a:lnTo>
                    <a:pt x="70" y="15"/>
                  </a:lnTo>
                  <a:lnTo>
                    <a:pt x="70" y="15"/>
                  </a:lnTo>
                  <a:lnTo>
                    <a:pt x="71" y="15"/>
                  </a:lnTo>
                  <a:lnTo>
                    <a:pt x="74" y="15"/>
                  </a:lnTo>
                  <a:lnTo>
                    <a:pt x="75" y="17"/>
                  </a:lnTo>
                  <a:lnTo>
                    <a:pt x="81" y="17"/>
                  </a:lnTo>
                  <a:lnTo>
                    <a:pt x="84" y="14"/>
                  </a:lnTo>
                  <a:lnTo>
                    <a:pt x="85" y="14"/>
                  </a:lnTo>
                  <a:lnTo>
                    <a:pt x="87" y="13"/>
                  </a:lnTo>
                  <a:lnTo>
                    <a:pt x="91" y="11"/>
                  </a:lnTo>
                  <a:lnTo>
                    <a:pt x="94" y="11"/>
                  </a:lnTo>
                  <a:lnTo>
                    <a:pt x="103" y="11"/>
                  </a:lnTo>
                  <a:lnTo>
                    <a:pt x="107" y="8"/>
                  </a:lnTo>
                  <a:lnTo>
                    <a:pt x="112" y="10"/>
                  </a:lnTo>
                  <a:lnTo>
                    <a:pt x="117" y="7"/>
                  </a:lnTo>
                  <a:lnTo>
                    <a:pt x="119" y="7"/>
                  </a:lnTo>
                  <a:lnTo>
                    <a:pt x="120" y="7"/>
                  </a:lnTo>
                  <a:lnTo>
                    <a:pt x="129" y="5"/>
                  </a:lnTo>
                  <a:lnTo>
                    <a:pt x="133" y="2"/>
                  </a:lnTo>
                  <a:lnTo>
                    <a:pt x="135" y="0"/>
                  </a:lnTo>
                  <a:lnTo>
                    <a:pt x="136" y="0"/>
                  </a:lnTo>
                  <a:lnTo>
                    <a:pt x="139" y="0"/>
                  </a:lnTo>
                  <a:lnTo>
                    <a:pt x="142" y="1"/>
                  </a:lnTo>
                  <a:lnTo>
                    <a:pt x="144" y="1"/>
                  </a:lnTo>
                  <a:lnTo>
                    <a:pt x="145" y="2"/>
                  </a:lnTo>
                  <a:lnTo>
                    <a:pt x="144" y="4"/>
                  </a:lnTo>
                  <a:lnTo>
                    <a:pt x="145" y="5"/>
                  </a:lnTo>
                  <a:lnTo>
                    <a:pt x="142" y="7"/>
                  </a:lnTo>
                  <a:lnTo>
                    <a:pt x="142" y="8"/>
                  </a:lnTo>
                  <a:lnTo>
                    <a:pt x="142" y="11"/>
                  </a:lnTo>
                  <a:lnTo>
                    <a:pt x="144" y="13"/>
                  </a:lnTo>
                  <a:lnTo>
                    <a:pt x="144" y="13"/>
                  </a:lnTo>
                  <a:lnTo>
                    <a:pt x="144" y="15"/>
                  </a:lnTo>
                  <a:lnTo>
                    <a:pt x="144" y="17"/>
                  </a:lnTo>
                  <a:lnTo>
                    <a:pt x="144" y="20"/>
                  </a:lnTo>
                  <a:lnTo>
                    <a:pt x="144" y="20"/>
                  </a:lnTo>
                  <a:lnTo>
                    <a:pt x="142" y="21"/>
                  </a:lnTo>
                  <a:lnTo>
                    <a:pt x="142" y="21"/>
                  </a:lnTo>
                  <a:lnTo>
                    <a:pt x="144" y="21"/>
                  </a:lnTo>
                  <a:lnTo>
                    <a:pt x="144" y="21"/>
                  </a:lnTo>
                  <a:lnTo>
                    <a:pt x="144" y="21"/>
                  </a:lnTo>
                  <a:lnTo>
                    <a:pt x="145" y="21"/>
                  </a:lnTo>
                  <a:lnTo>
                    <a:pt x="146" y="21"/>
                  </a:lnTo>
                  <a:lnTo>
                    <a:pt x="146" y="23"/>
                  </a:lnTo>
                  <a:lnTo>
                    <a:pt x="145" y="23"/>
                  </a:lnTo>
                  <a:lnTo>
                    <a:pt x="145" y="23"/>
                  </a:lnTo>
                  <a:lnTo>
                    <a:pt x="144" y="23"/>
                  </a:lnTo>
                  <a:lnTo>
                    <a:pt x="142" y="23"/>
                  </a:lnTo>
                  <a:lnTo>
                    <a:pt x="141" y="23"/>
                  </a:lnTo>
                  <a:lnTo>
                    <a:pt x="141" y="24"/>
                  </a:lnTo>
                  <a:lnTo>
                    <a:pt x="138" y="36"/>
                  </a:lnTo>
                  <a:lnTo>
                    <a:pt x="138" y="37"/>
                  </a:lnTo>
                  <a:lnTo>
                    <a:pt x="138" y="40"/>
                  </a:lnTo>
                  <a:lnTo>
                    <a:pt x="135" y="43"/>
                  </a:lnTo>
                  <a:lnTo>
                    <a:pt x="129" y="53"/>
                  </a:lnTo>
                  <a:lnTo>
                    <a:pt x="126" y="55"/>
                  </a:lnTo>
                  <a:lnTo>
                    <a:pt x="125" y="58"/>
                  </a:lnTo>
                  <a:lnTo>
                    <a:pt x="125" y="62"/>
                  </a:lnTo>
                  <a:lnTo>
                    <a:pt x="112" y="90"/>
                  </a:lnTo>
                  <a:lnTo>
                    <a:pt x="110" y="91"/>
                  </a:lnTo>
                  <a:lnTo>
                    <a:pt x="109" y="91"/>
                  </a:lnTo>
                  <a:lnTo>
                    <a:pt x="109" y="93"/>
                  </a:lnTo>
                  <a:lnTo>
                    <a:pt x="107" y="93"/>
                  </a:lnTo>
                  <a:lnTo>
                    <a:pt x="103" y="98"/>
                  </a:lnTo>
                  <a:lnTo>
                    <a:pt x="101" y="101"/>
                  </a:lnTo>
                  <a:lnTo>
                    <a:pt x="101" y="101"/>
                  </a:lnTo>
                  <a:lnTo>
                    <a:pt x="94" y="111"/>
                  </a:lnTo>
                  <a:lnTo>
                    <a:pt x="94" y="111"/>
                  </a:lnTo>
                  <a:lnTo>
                    <a:pt x="77" y="127"/>
                  </a:lnTo>
                  <a:lnTo>
                    <a:pt x="77" y="129"/>
                  </a:lnTo>
                  <a:lnTo>
                    <a:pt x="72" y="135"/>
                  </a:lnTo>
                  <a:lnTo>
                    <a:pt x="65" y="140"/>
                  </a:lnTo>
                  <a:lnTo>
                    <a:pt x="59" y="142"/>
                  </a:lnTo>
                  <a:lnTo>
                    <a:pt x="58" y="142"/>
                  </a:lnTo>
                  <a:lnTo>
                    <a:pt x="27" y="171"/>
                  </a:lnTo>
                  <a:lnTo>
                    <a:pt x="25" y="172"/>
                  </a:lnTo>
                  <a:lnTo>
                    <a:pt x="23" y="171"/>
                  </a:lnTo>
                  <a:lnTo>
                    <a:pt x="22" y="172"/>
                  </a:lnTo>
                  <a:lnTo>
                    <a:pt x="23" y="172"/>
                  </a:lnTo>
                  <a:lnTo>
                    <a:pt x="23" y="174"/>
                  </a:lnTo>
                  <a:lnTo>
                    <a:pt x="23" y="174"/>
                  </a:lnTo>
                  <a:lnTo>
                    <a:pt x="22" y="175"/>
                  </a:lnTo>
                  <a:lnTo>
                    <a:pt x="22" y="177"/>
                  </a:lnTo>
                  <a:lnTo>
                    <a:pt x="9" y="191"/>
                  </a:lnTo>
                  <a:lnTo>
                    <a:pt x="9" y="19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13" name="Freeform 735"/>
            <p:cNvSpPr>
              <a:spLocks/>
            </p:cNvSpPr>
            <p:nvPr/>
          </p:nvSpPr>
          <p:spPr bwMode="auto">
            <a:xfrm>
              <a:off x="6448144" y="3506862"/>
              <a:ext cx="100069" cy="110541"/>
            </a:xfrm>
            <a:custGeom>
              <a:avLst/>
              <a:gdLst/>
              <a:ahLst/>
              <a:cxnLst>
                <a:cxn ang="0">
                  <a:pos x="52" y="16"/>
                </a:cxn>
                <a:cxn ang="0">
                  <a:pos x="51" y="17"/>
                </a:cxn>
                <a:cxn ang="0">
                  <a:pos x="49" y="19"/>
                </a:cxn>
                <a:cxn ang="0">
                  <a:pos x="46" y="17"/>
                </a:cxn>
                <a:cxn ang="0">
                  <a:pos x="45" y="19"/>
                </a:cxn>
                <a:cxn ang="0">
                  <a:pos x="43" y="19"/>
                </a:cxn>
                <a:cxn ang="0">
                  <a:pos x="42" y="19"/>
                </a:cxn>
                <a:cxn ang="0">
                  <a:pos x="39" y="20"/>
                </a:cxn>
                <a:cxn ang="0">
                  <a:pos x="39" y="22"/>
                </a:cxn>
                <a:cxn ang="0">
                  <a:pos x="39" y="23"/>
                </a:cxn>
                <a:cxn ang="0">
                  <a:pos x="36" y="23"/>
                </a:cxn>
                <a:cxn ang="0">
                  <a:pos x="36" y="25"/>
                </a:cxn>
                <a:cxn ang="0">
                  <a:pos x="33" y="26"/>
                </a:cxn>
                <a:cxn ang="0">
                  <a:pos x="30" y="29"/>
                </a:cxn>
                <a:cxn ang="0">
                  <a:pos x="29" y="30"/>
                </a:cxn>
                <a:cxn ang="0">
                  <a:pos x="26" y="33"/>
                </a:cxn>
                <a:cxn ang="0">
                  <a:pos x="23" y="36"/>
                </a:cxn>
                <a:cxn ang="0">
                  <a:pos x="20" y="36"/>
                </a:cxn>
                <a:cxn ang="0">
                  <a:pos x="19" y="35"/>
                </a:cxn>
                <a:cxn ang="0">
                  <a:pos x="16" y="35"/>
                </a:cxn>
                <a:cxn ang="0">
                  <a:pos x="10" y="35"/>
                </a:cxn>
                <a:cxn ang="0">
                  <a:pos x="1" y="33"/>
                </a:cxn>
                <a:cxn ang="0">
                  <a:pos x="0" y="33"/>
                </a:cxn>
                <a:cxn ang="0">
                  <a:pos x="4" y="42"/>
                </a:cxn>
                <a:cxn ang="0">
                  <a:pos x="7" y="48"/>
                </a:cxn>
                <a:cxn ang="0">
                  <a:pos x="23" y="65"/>
                </a:cxn>
                <a:cxn ang="0">
                  <a:pos x="29" y="71"/>
                </a:cxn>
                <a:cxn ang="0">
                  <a:pos x="36" y="75"/>
                </a:cxn>
                <a:cxn ang="0">
                  <a:pos x="38" y="89"/>
                </a:cxn>
                <a:cxn ang="0">
                  <a:pos x="49" y="93"/>
                </a:cxn>
                <a:cxn ang="0">
                  <a:pos x="61" y="97"/>
                </a:cxn>
                <a:cxn ang="0">
                  <a:pos x="80" y="99"/>
                </a:cxn>
                <a:cxn ang="0">
                  <a:pos x="88" y="104"/>
                </a:cxn>
                <a:cxn ang="0">
                  <a:pos x="90" y="106"/>
                </a:cxn>
                <a:cxn ang="0">
                  <a:pos x="90" y="102"/>
                </a:cxn>
                <a:cxn ang="0">
                  <a:pos x="93" y="96"/>
                </a:cxn>
                <a:cxn ang="0">
                  <a:pos x="109" y="65"/>
                </a:cxn>
                <a:cxn ang="0">
                  <a:pos x="109" y="46"/>
                </a:cxn>
                <a:cxn ang="0">
                  <a:pos x="109" y="16"/>
                </a:cxn>
                <a:cxn ang="0">
                  <a:pos x="83" y="6"/>
                </a:cxn>
                <a:cxn ang="0">
                  <a:pos x="72" y="0"/>
                </a:cxn>
                <a:cxn ang="0">
                  <a:pos x="69" y="1"/>
                </a:cxn>
                <a:cxn ang="0">
                  <a:pos x="67" y="1"/>
                </a:cxn>
                <a:cxn ang="0">
                  <a:pos x="64" y="0"/>
                </a:cxn>
                <a:cxn ang="0">
                  <a:pos x="56" y="3"/>
                </a:cxn>
                <a:cxn ang="0">
                  <a:pos x="51" y="6"/>
                </a:cxn>
                <a:cxn ang="0">
                  <a:pos x="49" y="14"/>
                </a:cxn>
              </a:cxnLst>
              <a:rect l="0" t="0" r="r" b="b"/>
              <a:pathLst>
                <a:path w="110" h="106">
                  <a:moveTo>
                    <a:pt x="49" y="14"/>
                  </a:moveTo>
                  <a:lnTo>
                    <a:pt x="52" y="16"/>
                  </a:lnTo>
                  <a:lnTo>
                    <a:pt x="52" y="17"/>
                  </a:lnTo>
                  <a:lnTo>
                    <a:pt x="51" y="17"/>
                  </a:lnTo>
                  <a:lnTo>
                    <a:pt x="49" y="19"/>
                  </a:lnTo>
                  <a:lnTo>
                    <a:pt x="49" y="19"/>
                  </a:lnTo>
                  <a:lnTo>
                    <a:pt x="46" y="17"/>
                  </a:lnTo>
                  <a:lnTo>
                    <a:pt x="46" y="17"/>
                  </a:lnTo>
                  <a:lnTo>
                    <a:pt x="45" y="19"/>
                  </a:lnTo>
                  <a:lnTo>
                    <a:pt x="45" y="19"/>
                  </a:lnTo>
                  <a:lnTo>
                    <a:pt x="43" y="19"/>
                  </a:lnTo>
                  <a:lnTo>
                    <a:pt x="43" y="19"/>
                  </a:lnTo>
                  <a:lnTo>
                    <a:pt x="43" y="19"/>
                  </a:lnTo>
                  <a:lnTo>
                    <a:pt x="42" y="19"/>
                  </a:lnTo>
                  <a:lnTo>
                    <a:pt x="40" y="20"/>
                  </a:lnTo>
                  <a:lnTo>
                    <a:pt x="39" y="20"/>
                  </a:lnTo>
                  <a:lnTo>
                    <a:pt x="39" y="22"/>
                  </a:lnTo>
                  <a:lnTo>
                    <a:pt x="39" y="22"/>
                  </a:lnTo>
                  <a:lnTo>
                    <a:pt x="39" y="22"/>
                  </a:lnTo>
                  <a:lnTo>
                    <a:pt x="39" y="23"/>
                  </a:lnTo>
                  <a:lnTo>
                    <a:pt x="39" y="22"/>
                  </a:lnTo>
                  <a:lnTo>
                    <a:pt x="36" y="23"/>
                  </a:lnTo>
                  <a:lnTo>
                    <a:pt x="36" y="25"/>
                  </a:lnTo>
                  <a:lnTo>
                    <a:pt x="36" y="25"/>
                  </a:lnTo>
                  <a:lnTo>
                    <a:pt x="35" y="25"/>
                  </a:lnTo>
                  <a:lnTo>
                    <a:pt x="33" y="26"/>
                  </a:lnTo>
                  <a:lnTo>
                    <a:pt x="32" y="27"/>
                  </a:lnTo>
                  <a:lnTo>
                    <a:pt x="30" y="29"/>
                  </a:lnTo>
                  <a:lnTo>
                    <a:pt x="30" y="30"/>
                  </a:lnTo>
                  <a:lnTo>
                    <a:pt x="29" y="30"/>
                  </a:lnTo>
                  <a:lnTo>
                    <a:pt x="27" y="32"/>
                  </a:lnTo>
                  <a:lnTo>
                    <a:pt x="26" y="33"/>
                  </a:lnTo>
                  <a:lnTo>
                    <a:pt x="24" y="33"/>
                  </a:lnTo>
                  <a:lnTo>
                    <a:pt x="23" y="36"/>
                  </a:lnTo>
                  <a:lnTo>
                    <a:pt x="22" y="35"/>
                  </a:lnTo>
                  <a:lnTo>
                    <a:pt x="20" y="36"/>
                  </a:lnTo>
                  <a:lnTo>
                    <a:pt x="19" y="36"/>
                  </a:lnTo>
                  <a:lnTo>
                    <a:pt x="19" y="35"/>
                  </a:lnTo>
                  <a:lnTo>
                    <a:pt x="17" y="35"/>
                  </a:lnTo>
                  <a:lnTo>
                    <a:pt x="16" y="35"/>
                  </a:lnTo>
                  <a:lnTo>
                    <a:pt x="14" y="35"/>
                  </a:lnTo>
                  <a:lnTo>
                    <a:pt x="10" y="35"/>
                  </a:lnTo>
                  <a:lnTo>
                    <a:pt x="6" y="33"/>
                  </a:lnTo>
                  <a:lnTo>
                    <a:pt x="1" y="33"/>
                  </a:lnTo>
                  <a:lnTo>
                    <a:pt x="0" y="33"/>
                  </a:lnTo>
                  <a:lnTo>
                    <a:pt x="0" y="33"/>
                  </a:lnTo>
                  <a:lnTo>
                    <a:pt x="0" y="35"/>
                  </a:lnTo>
                  <a:lnTo>
                    <a:pt x="4" y="42"/>
                  </a:lnTo>
                  <a:lnTo>
                    <a:pt x="6" y="45"/>
                  </a:lnTo>
                  <a:lnTo>
                    <a:pt x="7" y="48"/>
                  </a:lnTo>
                  <a:lnTo>
                    <a:pt x="20" y="64"/>
                  </a:lnTo>
                  <a:lnTo>
                    <a:pt x="23" y="65"/>
                  </a:lnTo>
                  <a:lnTo>
                    <a:pt x="27" y="68"/>
                  </a:lnTo>
                  <a:lnTo>
                    <a:pt x="29" y="71"/>
                  </a:lnTo>
                  <a:lnTo>
                    <a:pt x="33" y="73"/>
                  </a:lnTo>
                  <a:lnTo>
                    <a:pt x="36" y="75"/>
                  </a:lnTo>
                  <a:lnTo>
                    <a:pt x="36" y="86"/>
                  </a:lnTo>
                  <a:lnTo>
                    <a:pt x="38" y="89"/>
                  </a:lnTo>
                  <a:lnTo>
                    <a:pt x="43" y="93"/>
                  </a:lnTo>
                  <a:lnTo>
                    <a:pt x="49" y="93"/>
                  </a:lnTo>
                  <a:lnTo>
                    <a:pt x="58" y="97"/>
                  </a:lnTo>
                  <a:lnTo>
                    <a:pt x="61" y="97"/>
                  </a:lnTo>
                  <a:lnTo>
                    <a:pt x="69" y="99"/>
                  </a:lnTo>
                  <a:lnTo>
                    <a:pt x="80" y="99"/>
                  </a:lnTo>
                  <a:lnTo>
                    <a:pt x="84" y="102"/>
                  </a:lnTo>
                  <a:lnTo>
                    <a:pt x="88" y="104"/>
                  </a:lnTo>
                  <a:lnTo>
                    <a:pt x="90" y="106"/>
                  </a:lnTo>
                  <a:lnTo>
                    <a:pt x="90" y="106"/>
                  </a:lnTo>
                  <a:lnTo>
                    <a:pt x="90" y="104"/>
                  </a:lnTo>
                  <a:lnTo>
                    <a:pt x="90" y="102"/>
                  </a:lnTo>
                  <a:lnTo>
                    <a:pt x="91" y="99"/>
                  </a:lnTo>
                  <a:lnTo>
                    <a:pt x="93" y="96"/>
                  </a:lnTo>
                  <a:lnTo>
                    <a:pt x="97" y="91"/>
                  </a:lnTo>
                  <a:lnTo>
                    <a:pt x="109" y="65"/>
                  </a:lnTo>
                  <a:lnTo>
                    <a:pt x="106" y="51"/>
                  </a:lnTo>
                  <a:lnTo>
                    <a:pt x="109" y="46"/>
                  </a:lnTo>
                  <a:lnTo>
                    <a:pt x="110" y="27"/>
                  </a:lnTo>
                  <a:lnTo>
                    <a:pt x="109" y="16"/>
                  </a:lnTo>
                  <a:lnTo>
                    <a:pt x="106" y="13"/>
                  </a:lnTo>
                  <a:lnTo>
                    <a:pt x="83" y="6"/>
                  </a:lnTo>
                  <a:lnTo>
                    <a:pt x="72" y="6"/>
                  </a:lnTo>
                  <a:lnTo>
                    <a:pt x="72" y="0"/>
                  </a:lnTo>
                  <a:lnTo>
                    <a:pt x="72" y="1"/>
                  </a:lnTo>
                  <a:lnTo>
                    <a:pt x="69" y="1"/>
                  </a:lnTo>
                  <a:lnTo>
                    <a:pt x="68" y="1"/>
                  </a:lnTo>
                  <a:lnTo>
                    <a:pt x="67" y="1"/>
                  </a:lnTo>
                  <a:lnTo>
                    <a:pt x="65" y="0"/>
                  </a:lnTo>
                  <a:lnTo>
                    <a:pt x="64" y="0"/>
                  </a:lnTo>
                  <a:lnTo>
                    <a:pt x="61" y="1"/>
                  </a:lnTo>
                  <a:lnTo>
                    <a:pt x="56" y="3"/>
                  </a:lnTo>
                  <a:lnTo>
                    <a:pt x="54" y="6"/>
                  </a:lnTo>
                  <a:lnTo>
                    <a:pt x="51" y="6"/>
                  </a:lnTo>
                  <a:lnTo>
                    <a:pt x="49" y="6"/>
                  </a:lnTo>
                  <a:lnTo>
                    <a:pt x="49" y="1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14" name="Freeform 736"/>
            <p:cNvSpPr>
              <a:spLocks/>
            </p:cNvSpPr>
            <p:nvPr/>
          </p:nvSpPr>
          <p:spPr bwMode="auto">
            <a:xfrm>
              <a:off x="6448144" y="3506862"/>
              <a:ext cx="100069" cy="110541"/>
            </a:xfrm>
            <a:custGeom>
              <a:avLst/>
              <a:gdLst/>
              <a:ahLst/>
              <a:cxnLst>
                <a:cxn ang="0">
                  <a:pos x="52" y="16"/>
                </a:cxn>
                <a:cxn ang="0">
                  <a:pos x="51" y="17"/>
                </a:cxn>
                <a:cxn ang="0">
                  <a:pos x="49" y="19"/>
                </a:cxn>
                <a:cxn ang="0">
                  <a:pos x="46" y="17"/>
                </a:cxn>
                <a:cxn ang="0">
                  <a:pos x="45" y="19"/>
                </a:cxn>
                <a:cxn ang="0">
                  <a:pos x="43" y="19"/>
                </a:cxn>
                <a:cxn ang="0">
                  <a:pos x="42" y="19"/>
                </a:cxn>
                <a:cxn ang="0">
                  <a:pos x="39" y="20"/>
                </a:cxn>
                <a:cxn ang="0">
                  <a:pos x="39" y="22"/>
                </a:cxn>
                <a:cxn ang="0">
                  <a:pos x="39" y="23"/>
                </a:cxn>
                <a:cxn ang="0">
                  <a:pos x="36" y="23"/>
                </a:cxn>
                <a:cxn ang="0">
                  <a:pos x="36" y="25"/>
                </a:cxn>
                <a:cxn ang="0">
                  <a:pos x="33" y="26"/>
                </a:cxn>
                <a:cxn ang="0">
                  <a:pos x="30" y="29"/>
                </a:cxn>
                <a:cxn ang="0">
                  <a:pos x="29" y="30"/>
                </a:cxn>
                <a:cxn ang="0">
                  <a:pos x="26" y="33"/>
                </a:cxn>
                <a:cxn ang="0">
                  <a:pos x="23" y="36"/>
                </a:cxn>
                <a:cxn ang="0">
                  <a:pos x="20" y="36"/>
                </a:cxn>
                <a:cxn ang="0">
                  <a:pos x="19" y="35"/>
                </a:cxn>
                <a:cxn ang="0">
                  <a:pos x="16" y="35"/>
                </a:cxn>
                <a:cxn ang="0">
                  <a:pos x="10" y="35"/>
                </a:cxn>
                <a:cxn ang="0">
                  <a:pos x="1" y="33"/>
                </a:cxn>
                <a:cxn ang="0">
                  <a:pos x="0" y="33"/>
                </a:cxn>
                <a:cxn ang="0">
                  <a:pos x="4" y="42"/>
                </a:cxn>
                <a:cxn ang="0">
                  <a:pos x="7" y="48"/>
                </a:cxn>
                <a:cxn ang="0">
                  <a:pos x="23" y="65"/>
                </a:cxn>
                <a:cxn ang="0">
                  <a:pos x="29" y="71"/>
                </a:cxn>
                <a:cxn ang="0">
                  <a:pos x="36" y="75"/>
                </a:cxn>
                <a:cxn ang="0">
                  <a:pos x="38" y="89"/>
                </a:cxn>
                <a:cxn ang="0">
                  <a:pos x="49" y="93"/>
                </a:cxn>
                <a:cxn ang="0">
                  <a:pos x="61" y="97"/>
                </a:cxn>
                <a:cxn ang="0">
                  <a:pos x="80" y="99"/>
                </a:cxn>
                <a:cxn ang="0">
                  <a:pos x="88" y="104"/>
                </a:cxn>
                <a:cxn ang="0">
                  <a:pos x="90" y="106"/>
                </a:cxn>
                <a:cxn ang="0">
                  <a:pos x="90" y="102"/>
                </a:cxn>
                <a:cxn ang="0">
                  <a:pos x="93" y="96"/>
                </a:cxn>
                <a:cxn ang="0">
                  <a:pos x="109" y="65"/>
                </a:cxn>
                <a:cxn ang="0">
                  <a:pos x="109" y="46"/>
                </a:cxn>
                <a:cxn ang="0">
                  <a:pos x="109" y="16"/>
                </a:cxn>
                <a:cxn ang="0">
                  <a:pos x="83" y="6"/>
                </a:cxn>
                <a:cxn ang="0">
                  <a:pos x="72" y="0"/>
                </a:cxn>
                <a:cxn ang="0">
                  <a:pos x="69" y="1"/>
                </a:cxn>
                <a:cxn ang="0">
                  <a:pos x="67" y="1"/>
                </a:cxn>
                <a:cxn ang="0">
                  <a:pos x="64" y="0"/>
                </a:cxn>
                <a:cxn ang="0">
                  <a:pos x="56" y="3"/>
                </a:cxn>
                <a:cxn ang="0">
                  <a:pos x="51" y="6"/>
                </a:cxn>
                <a:cxn ang="0">
                  <a:pos x="49" y="14"/>
                </a:cxn>
              </a:cxnLst>
              <a:rect l="0" t="0" r="r" b="b"/>
              <a:pathLst>
                <a:path w="110" h="106">
                  <a:moveTo>
                    <a:pt x="49" y="14"/>
                  </a:moveTo>
                  <a:lnTo>
                    <a:pt x="52" y="16"/>
                  </a:lnTo>
                  <a:lnTo>
                    <a:pt x="52" y="17"/>
                  </a:lnTo>
                  <a:lnTo>
                    <a:pt x="51" y="17"/>
                  </a:lnTo>
                  <a:lnTo>
                    <a:pt x="49" y="19"/>
                  </a:lnTo>
                  <a:lnTo>
                    <a:pt x="49" y="19"/>
                  </a:lnTo>
                  <a:lnTo>
                    <a:pt x="46" y="17"/>
                  </a:lnTo>
                  <a:lnTo>
                    <a:pt x="46" y="17"/>
                  </a:lnTo>
                  <a:lnTo>
                    <a:pt x="45" y="19"/>
                  </a:lnTo>
                  <a:lnTo>
                    <a:pt x="45" y="19"/>
                  </a:lnTo>
                  <a:lnTo>
                    <a:pt x="43" y="19"/>
                  </a:lnTo>
                  <a:lnTo>
                    <a:pt x="43" y="19"/>
                  </a:lnTo>
                  <a:lnTo>
                    <a:pt x="43" y="19"/>
                  </a:lnTo>
                  <a:lnTo>
                    <a:pt x="42" y="19"/>
                  </a:lnTo>
                  <a:lnTo>
                    <a:pt x="40" y="20"/>
                  </a:lnTo>
                  <a:lnTo>
                    <a:pt x="39" y="20"/>
                  </a:lnTo>
                  <a:lnTo>
                    <a:pt x="39" y="22"/>
                  </a:lnTo>
                  <a:lnTo>
                    <a:pt x="39" y="22"/>
                  </a:lnTo>
                  <a:lnTo>
                    <a:pt x="39" y="22"/>
                  </a:lnTo>
                  <a:lnTo>
                    <a:pt x="39" y="23"/>
                  </a:lnTo>
                  <a:lnTo>
                    <a:pt x="39" y="22"/>
                  </a:lnTo>
                  <a:lnTo>
                    <a:pt x="36" y="23"/>
                  </a:lnTo>
                  <a:lnTo>
                    <a:pt x="36" y="25"/>
                  </a:lnTo>
                  <a:lnTo>
                    <a:pt x="36" y="25"/>
                  </a:lnTo>
                  <a:lnTo>
                    <a:pt x="35" y="25"/>
                  </a:lnTo>
                  <a:lnTo>
                    <a:pt x="33" y="26"/>
                  </a:lnTo>
                  <a:lnTo>
                    <a:pt x="32" y="27"/>
                  </a:lnTo>
                  <a:lnTo>
                    <a:pt x="30" y="29"/>
                  </a:lnTo>
                  <a:lnTo>
                    <a:pt x="30" y="30"/>
                  </a:lnTo>
                  <a:lnTo>
                    <a:pt x="29" y="30"/>
                  </a:lnTo>
                  <a:lnTo>
                    <a:pt x="27" y="32"/>
                  </a:lnTo>
                  <a:lnTo>
                    <a:pt x="26" y="33"/>
                  </a:lnTo>
                  <a:lnTo>
                    <a:pt x="24" y="33"/>
                  </a:lnTo>
                  <a:lnTo>
                    <a:pt x="23" y="36"/>
                  </a:lnTo>
                  <a:lnTo>
                    <a:pt x="22" y="35"/>
                  </a:lnTo>
                  <a:lnTo>
                    <a:pt x="20" y="36"/>
                  </a:lnTo>
                  <a:lnTo>
                    <a:pt x="19" y="36"/>
                  </a:lnTo>
                  <a:lnTo>
                    <a:pt x="19" y="35"/>
                  </a:lnTo>
                  <a:lnTo>
                    <a:pt x="17" y="35"/>
                  </a:lnTo>
                  <a:lnTo>
                    <a:pt x="16" y="35"/>
                  </a:lnTo>
                  <a:lnTo>
                    <a:pt x="14" y="35"/>
                  </a:lnTo>
                  <a:lnTo>
                    <a:pt x="10" y="35"/>
                  </a:lnTo>
                  <a:lnTo>
                    <a:pt x="6" y="33"/>
                  </a:lnTo>
                  <a:lnTo>
                    <a:pt x="1" y="33"/>
                  </a:lnTo>
                  <a:lnTo>
                    <a:pt x="0" y="33"/>
                  </a:lnTo>
                  <a:lnTo>
                    <a:pt x="0" y="33"/>
                  </a:lnTo>
                  <a:lnTo>
                    <a:pt x="0" y="35"/>
                  </a:lnTo>
                  <a:lnTo>
                    <a:pt x="4" y="42"/>
                  </a:lnTo>
                  <a:lnTo>
                    <a:pt x="6" y="45"/>
                  </a:lnTo>
                  <a:lnTo>
                    <a:pt x="7" y="48"/>
                  </a:lnTo>
                  <a:lnTo>
                    <a:pt x="20" y="64"/>
                  </a:lnTo>
                  <a:lnTo>
                    <a:pt x="23" y="65"/>
                  </a:lnTo>
                  <a:lnTo>
                    <a:pt x="27" y="68"/>
                  </a:lnTo>
                  <a:lnTo>
                    <a:pt x="29" y="71"/>
                  </a:lnTo>
                  <a:lnTo>
                    <a:pt x="33" y="73"/>
                  </a:lnTo>
                  <a:lnTo>
                    <a:pt x="36" y="75"/>
                  </a:lnTo>
                  <a:lnTo>
                    <a:pt x="36" y="86"/>
                  </a:lnTo>
                  <a:lnTo>
                    <a:pt x="38" y="89"/>
                  </a:lnTo>
                  <a:lnTo>
                    <a:pt x="43" y="93"/>
                  </a:lnTo>
                  <a:lnTo>
                    <a:pt x="49" y="93"/>
                  </a:lnTo>
                  <a:lnTo>
                    <a:pt x="58" y="97"/>
                  </a:lnTo>
                  <a:lnTo>
                    <a:pt x="61" y="97"/>
                  </a:lnTo>
                  <a:lnTo>
                    <a:pt x="69" y="99"/>
                  </a:lnTo>
                  <a:lnTo>
                    <a:pt x="80" y="99"/>
                  </a:lnTo>
                  <a:lnTo>
                    <a:pt x="84" y="102"/>
                  </a:lnTo>
                  <a:lnTo>
                    <a:pt x="88" y="104"/>
                  </a:lnTo>
                  <a:lnTo>
                    <a:pt x="90" y="106"/>
                  </a:lnTo>
                  <a:lnTo>
                    <a:pt x="90" y="106"/>
                  </a:lnTo>
                  <a:lnTo>
                    <a:pt x="90" y="104"/>
                  </a:lnTo>
                  <a:lnTo>
                    <a:pt x="90" y="102"/>
                  </a:lnTo>
                  <a:lnTo>
                    <a:pt x="91" y="99"/>
                  </a:lnTo>
                  <a:lnTo>
                    <a:pt x="93" y="96"/>
                  </a:lnTo>
                  <a:lnTo>
                    <a:pt x="97" y="91"/>
                  </a:lnTo>
                  <a:lnTo>
                    <a:pt x="109" y="65"/>
                  </a:lnTo>
                  <a:lnTo>
                    <a:pt x="106" y="51"/>
                  </a:lnTo>
                  <a:lnTo>
                    <a:pt x="109" y="46"/>
                  </a:lnTo>
                  <a:lnTo>
                    <a:pt x="110" y="27"/>
                  </a:lnTo>
                  <a:lnTo>
                    <a:pt x="109" y="16"/>
                  </a:lnTo>
                  <a:lnTo>
                    <a:pt x="106" y="13"/>
                  </a:lnTo>
                  <a:lnTo>
                    <a:pt x="83" y="6"/>
                  </a:lnTo>
                  <a:lnTo>
                    <a:pt x="72" y="6"/>
                  </a:lnTo>
                  <a:lnTo>
                    <a:pt x="72" y="0"/>
                  </a:lnTo>
                  <a:lnTo>
                    <a:pt x="72" y="1"/>
                  </a:lnTo>
                  <a:lnTo>
                    <a:pt x="69" y="1"/>
                  </a:lnTo>
                  <a:lnTo>
                    <a:pt x="68" y="1"/>
                  </a:lnTo>
                  <a:lnTo>
                    <a:pt x="67" y="1"/>
                  </a:lnTo>
                  <a:lnTo>
                    <a:pt x="65" y="0"/>
                  </a:lnTo>
                  <a:lnTo>
                    <a:pt x="64" y="0"/>
                  </a:lnTo>
                  <a:lnTo>
                    <a:pt x="61" y="1"/>
                  </a:lnTo>
                  <a:lnTo>
                    <a:pt x="56" y="3"/>
                  </a:lnTo>
                  <a:lnTo>
                    <a:pt x="54" y="6"/>
                  </a:lnTo>
                  <a:lnTo>
                    <a:pt x="51" y="6"/>
                  </a:lnTo>
                  <a:lnTo>
                    <a:pt x="49" y="6"/>
                  </a:lnTo>
                  <a:lnTo>
                    <a:pt x="49" y="1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15" name="Freeform 737"/>
            <p:cNvSpPr>
              <a:spLocks/>
            </p:cNvSpPr>
            <p:nvPr/>
          </p:nvSpPr>
          <p:spPr bwMode="auto">
            <a:xfrm>
              <a:off x="6404255" y="2923736"/>
              <a:ext cx="216817" cy="297141"/>
            </a:xfrm>
            <a:custGeom>
              <a:avLst/>
              <a:gdLst/>
              <a:ahLst/>
              <a:cxnLst>
                <a:cxn ang="0">
                  <a:pos x="16" y="112"/>
                </a:cxn>
                <a:cxn ang="0">
                  <a:pos x="6" y="130"/>
                </a:cxn>
                <a:cxn ang="0">
                  <a:pos x="6" y="137"/>
                </a:cxn>
                <a:cxn ang="0">
                  <a:pos x="3" y="146"/>
                </a:cxn>
                <a:cxn ang="0">
                  <a:pos x="0" y="156"/>
                </a:cxn>
                <a:cxn ang="0">
                  <a:pos x="10" y="172"/>
                </a:cxn>
                <a:cxn ang="0">
                  <a:pos x="13" y="173"/>
                </a:cxn>
                <a:cxn ang="0">
                  <a:pos x="24" y="194"/>
                </a:cxn>
                <a:cxn ang="0">
                  <a:pos x="22" y="210"/>
                </a:cxn>
                <a:cxn ang="0">
                  <a:pos x="34" y="217"/>
                </a:cxn>
                <a:cxn ang="0">
                  <a:pos x="47" y="223"/>
                </a:cxn>
                <a:cxn ang="0">
                  <a:pos x="48" y="229"/>
                </a:cxn>
                <a:cxn ang="0">
                  <a:pos x="63" y="240"/>
                </a:cxn>
                <a:cxn ang="0">
                  <a:pos x="67" y="250"/>
                </a:cxn>
                <a:cxn ang="0">
                  <a:pos x="79" y="259"/>
                </a:cxn>
                <a:cxn ang="0">
                  <a:pos x="86" y="269"/>
                </a:cxn>
                <a:cxn ang="0">
                  <a:pos x="96" y="275"/>
                </a:cxn>
                <a:cxn ang="0">
                  <a:pos x="108" y="274"/>
                </a:cxn>
                <a:cxn ang="0">
                  <a:pos x="130" y="285"/>
                </a:cxn>
                <a:cxn ang="0">
                  <a:pos x="137" y="285"/>
                </a:cxn>
                <a:cxn ang="0">
                  <a:pos x="144" y="285"/>
                </a:cxn>
                <a:cxn ang="0">
                  <a:pos x="172" y="278"/>
                </a:cxn>
                <a:cxn ang="0">
                  <a:pos x="179" y="272"/>
                </a:cxn>
                <a:cxn ang="0">
                  <a:pos x="196" y="261"/>
                </a:cxn>
                <a:cxn ang="0">
                  <a:pos x="182" y="243"/>
                </a:cxn>
                <a:cxn ang="0">
                  <a:pos x="173" y="231"/>
                </a:cxn>
                <a:cxn ang="0">
                  <a:pos x="166" y="227"/>
                </a:cxn>
                <a:cxn ang="0">
                  <a:pos x="160" y="226"/>
                </a:cxn>
                <a:cxn ang="0">
                  <a:pos x="161" y="221"/>
                </a:cxn>
                <a:cxn ang="0">
                  <a:pos x="169" y="217"/>
                </a:cxn>
                <a:cxn ang="0">
                  <a:pos x="176" y="188"/>
                </a:cxn>
                <a:cxn ang="0">
                  <a:pos x="180" y="182"/>
                </a:cxn>
                <a:cxn ang="0">
                  <a:pos x="188" y="170"/>
                </a:cxn>
                <a:cxn ang="0">
                  <a:pos x="204" y="152"/>
                </a:cxn>
                <a:cxn ang="0">
                  <a:pos x="215" y="92"/>
                </a:cxn>
                <a:cxn ang="0">
                  <a:pos x="222" y="88"/>
                </a:cxn>
                <a:cxn ang="0">
                  <a:pos x="234" y="75"/>
                </a:cxn>
                <a:cxn ang="0">
                  <a:pos x="231" y="75"/>
                </a:cxn>
                <a:cxn ang="0">
                  <a:pos x="221" y="66"/>
                </a:cxn>
                <a:cxn ang="0">
                  <a:pos x="218" y="31"/>
                </a:cxn>
                <a:cxn ang="0">
                  <a:pos x="212" y="18"/>
                </a:cxn>
                <a:cxn ang="0">
                  <a:pos x="204" y="9"/>
                </a:cxn>
                <a:cxn ang="0">
                  <a:pos x="189" y="6"/>
                </a:cxn>
                <a:cxn ang="0">
                  <a:pos x="175" y="15"/>
                </a:cxn>
                <a:cxn ang="0">
                  <a:pos x="160" y="18"/>
                </a:cxn>
                <a:cxn ang="0">
                  <a:pos x="137" y="15"/>
                </a:cxn>
                <a:cxn ang="0">
                  <a:pos x="132" y="18"/>
                </a:cxn>
                <a:cxn ang="0">
                  <a:pos x="44" y="47"/>
                </a:cxn>
              </a:cxnLst>
              <a:rect l="0" t="0" r="r" b="b"/>
              <a:pathLst>
                <a:path w="236" h="285">
                  <a:moveTo>
                    <a:pt x="31" y="56"/>
                  </a:moveTo>
                  <a:lnTo>
                    <a:pt x="31" y="111"/>
                  </a:lnTo>
                  <a:lnTo>
                    <a:pt x="16" y="112"/>
                  </a:lnTo>
                  <a:lnTo>
                    <a:pt x="15" y="112"/>
                  </a:lnTo>
                  <a:lnTo>
                    <a:pt x="15" y="117"/>
                  </a:lnTo>
                  <a:lnTo>
                    <a:pt x="6" y="130"/>
                  </a:lnTo>
                  <a:lnTo>
                    <a:pt x="6" y="134"/>
                  </a:lnTo>
                  <a:lnTo>
                    <a:pt x="6" y="136"/>
                  </a:lnTo>
                  <a:lnTo>
                    <a:pt x="6" y="137"/>
                  </a:lnTo>
                  <a:lnTo>
                    <a:pt x="3" y="137"/>
                  </a:lnTo>
                  <a:lnTo>
                    <a:pt x="3" y="138"/>
                  </a:lnTo>
                  <a:lnTo>
                    <a:pt x="3" y="146"/>
                  </a:lnTo>
                  <a:lnTo>
                    <a:pt x="0" y="150"/>
                  </a:lnTo>
                  <a:lnTo>
                    <a:pt x="0" y="156"/>
                  </a:lnTo>
                  <a:lnTo>
                    <a:pt x="0" y="156"/>
                  </a:lnTo>
                  <a:lnTo>
                    <a:pt x="6" y="154"/>
                  </a:lnTo>
                  <a:lnTo>
                    <a:pt x="6" y="159"/>
                  </a:lnTo>
                  <a:lnTo>
                    <a:pt x="10" y="172"/>
                  </a:lnTo>
                  <a:lnTo>
                    <a:pt x="10" y="172"/>
                  </a:lnTo>
                  <a:lnTo>
                    <a:pt x="12" y="173"/>
                  </a:lnTo>
                  <a:lnTo>
                    <a:pt x="13" y="173"/>
                  </a:lnTo>
                  <a:lnTo>
                    <a:pt x="13" y="179"/>
                  </a:lnTo>
                  <a:lnTo>
                    <a:pt x="12" y="179"/>
                  </a:lnTo>
                  <a:lnTo>
                    <a:pt x="24" y="194"/>
                  </a:lnTo>
                  <a:lnTo>
                    <a:pt x="24" y="198"/>
                  </a:lnTo>
                  <a:lnTo>
                    <a:pt x="22" y="207"/>
                  </a:lnTo>
                  <a:lnTo>
                    <a:pt x="22" y="210"/>
                  </a:lnTo>
                  <a:lnTo>
                    <a:pt x="25" y="213"/>
                  </a:lnTo>
                  <a:lnTo>
                    <a:pt x="32" y="214"/>
                  </a:lnTo>
                  <a:lnTo>
                    <a:pt x="34" y="217"/>
                  </a:lnTo>
                  <a:lnTo>
                    <a:pt x="37" y="218"/>
                  </a:lnTo>
                  <a:lnTo>
                    <a:pt x="42" y="220"/>
                  </a:lnTo>
                  <a:lnTo>
                    <a:pt x="47" y="223"/>
                  </a:lnTo>
                  <a:lnTo>
                    <a:pt x="47" y="224"/>
                  </a:lnTo>
                  <a:lnTo>
                    <a:pt x="47" y="226"/>
                  </a:lnTo>
                  <a:lnTo>
                    <a:pt x="48" y="229"/>
                  </a:lnTo>
                  <a:lnTo>
                    <a:pt x="57" y="236"/>
                  </a:lnTo>
                  <a:lnTo>
                    <a:pt x="60" y="239"/>
                  </a:lnTo>
                  <a:lnTo>
                    <a:pt x="63" y="240"/>
                  </a:lnTo>
                  <a:lnTo>
                    <a:pt x="64" y="245"/>
                  </a:lnTo>
                  <a:lnTo>
                    <a:pt x="67" y="247"/>
                  </a:lnTo>
                  <a:lnTo>
                    <a:pt x="67" y="250"/>
                  </a:lnTo>
                  <a:lnTo>
                    <a:pt x="70" y="252"/>
                  </a:lnTo>
                  <a:lnTo>
                    <a:pt x="77" y="256"/>
                  </a:lnTo>
                  <a:lnTo>
                    <a:pt x="79" y="259"/>
                  </a:lnTo>
                  <a:lnTo>
                    <a:pt x="79" y="262"/>
                  </a:lnTo>
                  <a:lnTo>
                    <a:pt x="82" y="266"/>
                  </a:lnTo>
                  <a:lnTo>
                    <a:pt x="86" y="269"/>
                  </a:lnTo>
                  <a:lnTo>
                    <a:pt x="89" y="274"/>
                  </a:lnTo>
                  <a:lnTo>
                    <a:pt x="95" y="275"/>
                  </a:lnTo>
                  <a:lnTo>
                    <a:pt x="96" y="275"/>
                  </a:lnTo>
                  <a:lnTo>
                    <a:pt x="98" y="272"/>
                  </a:lnTo>
                  <a:lnTo>
                    <a:pt x="105" y="274"/>
                  </a:lnTo>
                  <a:lnTo>
                    <a:pt x="108" y="274"/>
                  </a:lnTo>
                  <a:lnTo>
                    <a:pt x="111" y="271"/>
                  </a:lnTo>
                  <a:lnTo>
                    <a:pt x="127" y="285"/>
                  </a:lnTo>
                  <a:lnTo>
                    <a:pt x="130" y="285"/>
                  </a:lnTo>
                  <a:lnTo>
                    <a:pt x="131" y="284"/>
                  </a:lnTo>
                  <a:lnTo>
                    <a:pt x="134" y="284"/>
                  </a:lnTo>
                  <a:lnTo>
                    <a:pt x="137" y="285"/>
                  </a:lnTo>
                  <a:lnTo>
                    <a:pt x="140" y="284"/>
                  </a:lnTo>
                  <a:lnTo>
                    <a:pt x="143" y="284"/>
                  </a:lnTo>
                  <a:lnTo>
                    <a:pt x="144" y="285"/>
                  </a:lnTo>
                  <a:lnTo>
                    <a:pt x="164" y="284"/>
                  </a:lnTo>
                  <a:lnTo>
                    <a:pt x="172" y="279"/>
                  </a:lnTo>
                  <a:lnTo>
                    <a:pt x="172" y="278"/>
                  </a:lnTo>
                  <a:lnTo>
                    <a:pt x="172" y="279"/>
                  </a:lnTo>
                  <a:lnTo>
                    <a:pt x="176" y="274"/>
                  </a:lnTo>
                  <a:lnTo>
                    <a:pt x="179" y="272"/>
                  </a:lnTo>
                  <a:lnTo>
                    <a:pt x="199" y="272"/>
                  </a:lnTo>
                  <a:lnTo>
                    <a:pt x="199" y="262"/>
                  </a:lnTo>
                  <a:lnTo>
                    <a:pt x="196" y="261"/>
                  </a:lnTo>
                  <a:lnTo>
                    <a:pt x="191" y="259"/>
                  </a:lnTo>
                  <a:lnTo>
                    <a:pt x="189" y="258"/>
                  </a:lnTo>
                  <a:lnTo>
                    <a:pt x="182" y="243"/>
                  </a:lnTo>
                  <a:lnTo>
                    <a:pt x="175" y="237"/>
                  </a:lnTo>
                  <a:lnTo>
                    <a:pt x="173" y="234"/>
                  </a:lnTo>
                  <a:lnTo>
                    <a:pt x="173" y="231"/>
                  </a:lnTo>
                  <a:lnTo>
                    <a:pt x="170" y="230"/>
                  </a:lnTo>
                  <a:lnTo>
                    <a:pt x="169" y="229"/>
                  </a:lnTo>
                  <a:lnTo>
                    <a:pt x="166" y="227"/>
                  </a:lnTo>
                  <a:lnTo>
                    <a:pt x="163" y="227"/>
                  </a:lnTo>
                  <a:lnTo>
                    <a:pt x="161" y="226"/>
                  </a:lnTo>
                  <a:lnTo>
                    <a:pt x="160" y="226"/>
                  </a:lnTo>
                  <a:lnTo>
                    <a:pt x="159" y="224"/>
                  </a:lnTo>
                  <a:lnTo>
                    <a:pt x="160" y="223"/>
                  </a:lnTo>
                  <a:lnTo>
                    <a:pt x="161" y="221"/>
                  </a:lnTo>
                  <a:lnTo>
                    <a:pt x="161" y="217"/>
                  </a:lnTo>
                  <a:lnTo>
                    <a:pt x="163" y="217"/>
                  </a:lnTo>
                  <a:lnTo>
                    <a:pt x="169" y="217"/>
                  </a:lnTo>
                  <a:lnTo>
                    <a:pt x="172" y="217"/>
                  </a:lnTo>
                  <a:lnTo>
                    <a:pt x="175" y="214"/>
                  </a:lnTo>
                  <a:lnTo>
                    <a:pt x="176" y="188"/>
                  </a:lnTo>
                  <a:lnTo>
                    <a:pt x="176" y="188"/>
                  </a:lnTo>
                  <a:lnTo>
                    <a:pt x="179" y="183"/>
                  </a:lnTo>
                  <a:lnTo>
                    <a:pt x="180" y="182"/>
                  </a:lnTo>
                  <a:lnTo>
                    <a:pt x="185" y="182"/>
                  </a:lnTo>
                  <a:lnTo>
                    <a:pt x="185" y="181"/>
                  </a:lnTo>
                  <a:lnTo>
                    <a:pt x="188" y="170"/>
                  </a:lnTo>
                  <a:lnTo>
                    <a:pt x="199" y="154"/>
                  </a:lnTo>
                  <a:lnTo>
                    <a:pt x="202" y="154"/>
                  </a:lnTo>
                  <a:lnTo>
                    <a:pt x="204" y="152"/>
                  </a:lnTo>
                  <a:lnTo>
                    <a:pt x="208" y="133"/>
                  </a:lnTo>
                  <a:lnTo>
                    <a:pt x="206" y="124"/>
                  </a:lnTo>
                  <a:lnTo>
                    <a:pt x="215" y="92"/>
                  </a:lnTo>
                  <a:lnTo>
                    <a:pt x="218" y="90"/>
                  </a:lnTo>
                  <a:lnTo>
                    <a:pt x="221" y="89"/>
                  </a:lnTo>
                  <a:lnTo>
                    <a:pt x="222" y="88"/>
                  </a:lnTo>
                  <a:lnTo>
                    <a:pt x="233" y="83"/>
                  </a:lnTo>
                  <a:lnTo>
                    <a:pt x="236" y="76"/>
                  </a:lnTo>
                  <a:lnTo>
                    <a:pt x="234" y="75"/>
                  </a:lnTo>
                  <a:lnTo>
                    <a:pt x="234" y="75"/>
                  </a:lnTo>
                  <a:lnTo>
                    <a:pt x="233" y="73"/>
                  </a:lnTo>
                  <a:lnTo>
                    <a:pt x="231" y="75"/>
                  </a:lnTo>
                  <a:lnTo>
                    <a:pt x="230" y="70"/>
                  </a:lnTo>
                  <a:lnTo>
                    <a:pt x="228" y="70"/>
                  </a:lnTo>
                  <a:lnTo>
                    <a:pt x="221" y="66"/>
                  </a:lnTo>
                  <a:lnTo>
                    <a:pt x="220" y="64"/>
                  </a:lnTo>
                  <a:lnTo>
                    <a:pt x="217" y="31"/>
                  </a:lnTo>
                  <a:lnTo>
                    <a:pt x="218" y="31"/>
                  </a:lnTo>
                  <a:lnTo>
                    <a:pt x="217" y="29"/>
                  </a:lnTo>
                  <a:lnTo>
                    <a:pt x="214" y="25"/>
                  </a:lnTo>
                  <a:lnTo>
                    <a:pt x="212" y="18"/>
                  </a:lnTo>
                  <a:lnTo>
                    <a:pt x="209" y="13"/>
                  </a:lnTo>
                  <a:lnTo>
                    <a:pt x="208" y="12"/>
                  </a:lnTo>
                  <a:lnTo>
                    <a:pt x="204" y="9"/>
                  </a:lnTo>
                  <a:lnTo>
                    <a:pt x="198" y="6"/>
                  </a:lnTo>
                  <a:lnTo>
                    <a:pt x="195" y="0"/>
                  </a:lnTo>
                  <a:lnTo>
                    <a:pt x="189" y="6"/>
                  </a:lnTo>
                  <a:lnTo>
                    <a:pt x="185" y="5"/>
                  </a:lnTo>
                  <a:lnTo>
                    <a:pt x="182" y="12"/>
                  </a:lnTo>
                  <a:lnTo>
                    <a:pt x="175" y="15"/>
                  </a:lnTo>
                  <a:lnTo>
                    <a:pt x="172" y="21"/>
                  </a:lnTo>
                  <a:lnTo>
                    <a:pt x="166" y="21"/>
                  </a:lnTo>
                  <a:lnTo>
                    <a:pt x="160" y="18"/>
                  </a:lnTo>
                  <a:lnTo>
                    <a:pt x="135" y="18"/>
                  </a:lnTo>
                  <a:lnTo>
                    <a:pt x="137" y="15"/>
                  </a:lnTo>
                  <a:lnTo>
                    <a:pt x="137" y="15"/>
                  </a:lnTo>
                  <a:lnTo>
                    <a:pt x="135" y="15"/>
                  </a:lnTo>
                  <a:lnTo>
                    <a:pt x="135" y="15"/>
                  </a:lnTo>
                  <a:lnTo>
                    <a:pt x="132" y="18"/>
                  </a:lnTo>
                  <a:lnTo>
                    <a:pt x="44" y="18"/>
                  </a:lnTo>
                  <a:lnTo>
                    <a:pt x="44" y="18"/>
                  </a:lnTo>
                  <a:lnTo>
                    <a:pt x="44" y="47"/>
                  </a:lnTo>
                  <a:lnTo>
                    <a:pt x="31" y="47"/>
                  </a:lnTo>
                  <a:lnTo>
                    <a:pt x="31" y="5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16" name="Freeform 738"/>
            <p:cNvSpPr>
              <a:spLocks/>
            </p:cNvSpPr>
            <p:nvPr/>
          </p:nvSpPr>
          <p:spPr bwMode="auto">
            <a:xfrm>
              <a:off x="6404255" y="2923736"/>
              <a:ext cx="216817" cy="297141"/>
            </a:xfrm>
            <a:custGeom>
              <a:avLst/>
              <a:gdLst/>
              <a:ahLst/>
              <a:cxnLst>
                <a:cxn ang="0">
                  <a:pos x="16" y="112"/>
                </a:cxn>
                <a:cxn ang="0">
                  <a:pos x="6" y="130"/>
                </a:cxn>
                <a:cxn ang="0">
                  <a:pos x="6" y="137"/>
                </a:cxn>
                <a:cxn ang="0">
                  <a:pos x="3" y="146"/>
                </a:cxn>
                <a:cxn ang="0">
                  <a:pos x="0" y="156"/>
                </a:cxn>
                <a:cxn ang="0">
                  <a:pos x="10" y="172"/>
                </a:cxn>
                <a:cxn ang="0">
                  <a:pos x="13" y="173"/>
                </a:cxn>
                <a:cxn ang="0">
                  <a:pos x="24" y="194"/>
                </a:cxn>
                <a:cxn ang="0">
                  <a:pos x="22" y="210"/>
                </a:cxn>
                <a:cxn ang="0">
                  <a:pos x="34" y="217"/>
                </a:cxn>
                <a:cxn ang="0">
                  <a:pos x="47" y="223"/>
                </a:cxn>
                <a:cxn ang="0">
                  <a:pos x="48" y="229"/>
                </a:cxn>
                <a:cxn ang="0">
                  <a:pos x="63" y="240"/>
                </a:cxn>
                <a:cxn ang="0">
                  <a:pos x="67" y="250"/>
                </a:cxn>
                <a:cxn ang="0">
                  <a:pos x="79" y="259"/>
                </a:cxn>
                <a:cxn ang="0">
                  <a:pos x="86" y="269"/>
                </a:cxn>
                <a:cxn ang="0">
                  <a:pos x="96" y="275"/>
                </a:cxn>
                <a:cxn ang="0">
                  <a:pos x="108" y="274"/>
                </a:cxn>
                <a:cxn ang="0">
                  <a:pos x="130" y="285"/>
                </a:cxn>
                <a:cxn ang="0">
                  <a:pos x="137" y="285"/>
                </a:cxn>
                <a:cxn ang="0">
                  <a:pos x="144" y="285"/>
                </a:cxn>
                <a:cxn ang="0">
                  <a:pos x="172" y="278"/>
                </a:cxn>
                <a:cxn ang="0">
                  <a:pos x="179" y="272"/>
                </a:cxn>
                <a:cxn ang="0">
                  <a:pos x="196" y="261"/>
                </a:cxn>
                <a:cxn ang="0">
                  <a:pos x="182" y="243"/>
                </a:cxn>
                <a:cxn ang="0">
                  <a:pos x="173" y="231"/>
                </a:cxn>
                <a:cxn ang="0">
                  <a:pos x="166" y="227"/>
                </a:cxn>
                <a:cxn ang="0">
                  <a:pos x="160" y="226"/>
                </a:cxn>
                <a:cxn ang="0">
                  <a:pos x="161" y="221"/>
                </a:cxn>
                <a:cxn ang="0">
                  <a:pos x="169" y="217"/>
                </a:cxn>
                <a:cxn ang="0">
                  <a:pos x="176" y="188"/>
                </a:cxn>
                <a:cxn ang="0">
                  <a:pos x="180" y="182"/>
                </a:cxn>
                <a:cxn ang="0">
                  <a:pos x="188" y="170"/>
                </a:cxn>
                <a:cxn ang="0">
                  <a:pos x="204" y="152"/>
                </a:cxn>
                <a:cxn ang="0">
                  <a:pos x="215" y="92"/>
                </a:cxn>
                <a:cxn ang="0">
                  <a:pos x="222" y="88"/>
                </a:cxn>
                <a:cxn ang="0">
                  <a:pos x="234" y="75"/>
                </a:cxn>
                <a:cxn ang="0">
                  <a:pos x="231" y="75"/>
                </a:cxn>
                <a:cxn ang="0">
                  <a:pos x="221" y="66"/>
                </a:cxn>
                <a:cxn ang="0">
                  <a:pos x="218" y="31"/>
                </a:cxn>
                <a:cxn ang="0">
                  <a:pos x="212" y="18"/>
                </a:cxn>
                <a:cxn ang="0">
                  <a:pos x="204" y="9"/>
                </a:cxn>
                <a:cxn ang="0">
                  <a:pos x="189" y="6"/>
                </a:cxn>
                <a:cxn ang="0">
                  <a:pos x="175" y="15"/>
                </a:cxn>
                <a:cxn ang="0">
                  <a:pos x="160" y="18"/>
                </a:cxn>
                <a:cxn ang="0">
                  <a:pos x="137" y="15"/>
                </a:cxn>
                <a:cxn ang="0">
                  <a:pos x="132" y="18"/>
                </a:cxn>
                <a:cxn ang="0">
                  <a:pos x="44" y="47"/>
                </a:cxn>
              </a:cxnLst>
              <a:rect l="0" t="0" r="r" b="b"/>
              <a:pathLst>
                <a:path w="236" h="285">
                  <a:moveTo>
                    <a:pt x="31" y="56"/>
                  </a:moveTo>
                  <a:lnTo>
                    <a:pt x="31" y="111"/>
                  </a:lnTo>
                  <a:lnTo>
                    <a:pt x="16" y="112"/>
                  </a:lnTo>
                  <a:lnTo>
                    <a:pt x="15" y="112"/>
                  </a:lnTo>
                  <a:lnTo>
                    <a:pt x="15" y="117"/>
                  </a:lnTo>
                  <a:lnTo>
                    <a:pt x="6" y="130"/>
                  </a:lnTo>
                  <a:lnTo>
                    <a:pt x="6" y="134"/>
                  </a:lnTo>
                  <a:lnTo>
                    <a:pt x="6" y="136"/>
                  </a:lnTo>
                  <a:lnTo>
                    <a:pt x="6" y="137"/>
                  </a:lnTo>
                  <a:lnTo>
                    <a:pt x="3" y="137"/>
                  </a:lnTo>
                  <a:lnTo>
                    <a:pt x="3" y="138"/>
                  </a:lnTo>
                  <a:lnTo>
                    <a:pt x="3" y="146"/>
                  </a:lnTo>
                  <a:lnTo>
                    <a:pt x="0" y="150"/>
                  </a:lnTo>
                  <a:lnTo>
                    <a:pt x="0" y="156"/>
                  </a:lnTo>
                  <a:lnTo>
                    <a:pt x="0" y="156"/>
                  </a:lnTo>
                  <a:lnTo>
                    <a:pt x="6" y="154"/>
                  </a:lnTo>
                  <a:lnTo>
                    <a:pt x="6" y="159"/>
                  </a:lnTo>
                  <a:lnTo>
                    <a:pt x="10" y="172"/>
                  </a:lnTo>
                  <a:lnTo>
                    <a:pt x="10" y="172"/>
                  </a:lnTo>
                  <a:lnTo>
                    <a:pt x="12" y="173"/>
                  </a:lnTo>
                  <a:lnTo>
                    <a:pt x="13" y="173"/>
                  </a:lnTo>
                  <a:lnTo>
                    <a:pt x="13" y="179"/>
                  </a:lnTo>
                  <a:lnTo>
                    <a:pt x="12" y="179"/>
                  </a:lnTo>
                  <a:lnTo>
                    <a:pt x="24" y="194"/>
                  </a:lnTo>
                  <a:lnTo>
                    <a:pt x="24" y="198"/>
                  </a:lnTo>
                  <a:lnTo>
                    <a:pt x="22" y="207"/>
                  </a:lnTo>
                  <a:lnTo>
                    <a:pt x="22" y="210"/>
                  </a:lnTo>
                  <a:lnTo>
                    <a:pt x="25" y="213"/>
                  </a:lnTo>
                  <a:lnTo>
                    <a:pt x="32" y="214"/>
                  </a:lnTo>
                  <a:lnTo>
                    <a:pt x="34" y="217"/>
                  </a:lnTo>
                  <a:lnTo>
                    <a:pt x="37" y="218"/>
                  </a:lnTo>
                  <a:lnTo>
                    <a:pt x="42" y="220"/>
                  </a:lnTo>
                  <a:lnTo>
                    <a:pt x="47" y="223"/>
                  </a:lnTo>
                  <a:lnTo>
                    <a:pt x="47" y="224"/>
                  </a:lnTo>
                  <a:lnTo>
                    <a:pt x="47" y="226"/>
                  </a:lnTo>
                  <a:lnTo>
                    <a:pt x="48" y="229"/>
                  </a:lnTo>
                  <a:lnTo>
                    <a:pt x="57" y="236"/>
                  </a:lnTo>
                  <a:lnTo>
                    <a:pt x="60" y="239"/>
                  </a:lnTo>
                  <a:lnTo>
                    <a:pt x="63" y="240"/>
                  </a:lnTo>
                  <a:lnTo>
                    <a:pt x="64" y="245"/>
                  </a:lnTo>
                  <a:lnTo>
                    <a:pt x="67" y="247"/>
                  </a:lnTo>
                  <a:lnTo>
                    <a:pt x="67" y="250"/>
                  </a:lnTo>
                  <a:lnTo>
                    <a:pt x="70" y="252"/>
                  </a:lnTo>
                  <a:lnTo>
                    <a:pt x="77" y="256"/>
                  </a:lnTo>
                  <a:lnTo>
                    <a:pt x="79" y="259"/>
                  </a:lnTo>
                  <a:lnTo>
                    <a:pt x="79" y="262"/>
                  </a:lnTo>
                  <a:lnTo>
                    <a:pt x="82" y="266"/>
                  </a:lnTo>
                  <a:lnTo>
                    <a:pt x="86" y="269"/>
                  </a:lnTo>
                  <a:lnTo>
                    <a:pt x="89" y="274"/>
                  </a:lnTo>
                  <a:lnTo>
                    <a:pt x="95" y="275"/>
                  </a:lnTo>
                  <a:lnTo>
                    <a:pt x="96" y="275"/>
                  </a:lnTo>
                  <a:lnTo>
                    <a:pt x="98" y="272"/>
                  </a:lnTo>
                  <a:lnTo>
                    <a:pt x="105" y="274"/>
                  </a:lnTo>
                  <a:lnTo>
                    <a:pt x="108" y="274"/>
                  </a:lnTo>
                  <a:lnTo>
                    <a:pt x="111" y="271"/>
                  </a:lnTo>
                  <a:lnTo>
                    <a:pt x="127" y="285"/>
                  </a:lnTo>
                  <a:lnTo>
                    <a:pt x="130" y="285"/>
                  </a:lnTo>
                  <a:lnTo>
                    <a:pt x="131" y="284"/>
                  </a:lnTo>
                  <a:lnTo>
                    <a:pt x="134" y="284"/>
                  </a:lnTo>
                  <a:lnTo>
                    <a:pt x="137" y="285"/>
                  </a:lnTo>
                  <a:lnTo>
                    <a:pt x="140" y="284"/>
                  </a:lnTo>
                  <a:lnTo>
                    <a:pt x="143" y="284"/>
                  </a:lnTo>
                  <a:lnTo>
                    <a:pt x="144" y="285"/>
                  </a:lnTo>
                  <a:lnTo>
                    <a:pt x="164" y="284"/>
                  </a:lnTo>
                  <a:lnTo>
                    <a:pt x="172" y="279"/>
                  </a:lnTo>
                  <a:lnTo>
                    <a:pt x="172" y="278"/>
                  </a:lnTo>
                  <a:lnTo>
                    <a:pt x="172" y="279"/>
                  </a:lnTo>
                  <a:lnTo>
                    <a:pt x="176" y="274"/>
                  </a:lnTo>
                  <a:lnTo>
                    <a:pt x="179" y="272"/>
                  </a:lnTo>
                  <a:lnTo>
                    <a:pt x="199" y="272"/>
                  </a:lnTo>
                  <a:lnTo>
                    <a:pt x="199" y="262"/>
                  </a:lnTo>
                  <a:lnTo>
                    <a:pt x="196" y="261"/>
                  </a:lnTo>
                  <a:lnTo>
                    <a:pt x="191" y="259"/>
                  </a:lnTo>
                  <a:lnTo>
                    <a:pt x="189" y="258"/>
                  </a:lnTo>
                  <a:lnTo>
                    <a:pt x="182" y="243"/>
                  </a:lnTo>
                  <a:lnTo>
                    <a:pt x="175" y="237"/>
                  </a:lnTo>
                  <a:lnTo>
                    <a:pt x="173" y="234"/>
                  </a:lnTo>
                  <a:lnTo>
                    <a:pt x="173" y="231"/>
                  </a:lnTo>
                  <a:lnTo>
                    <a:pt x="170" y="230"/>
                  </a:lnTo>
                  <a:lnTo>
                    <a:pt x="169" y="229"/>
                  </a:lnTo>
                  <a:lnTo>
                    <a:pt x="166" y="227"/>
                  </a:lnTo>
                  <a:lnTo>
                    <a:pt x="163" y="227"/>
                  </a:lnTo>
                  <a:lnTo>
                    <a:pt x="161" y="226"/>
                  </a:lnTo>
                  <a:lnTo>
                    <a:pt x="160" y="226"/>
                  </a:lnTo>
                  <a:lnTo>
                    <a:pt x="159" y="224"/>
                  </a:lnTo>
                  <a:lnTo>
                    <a:pt x="160" y="223"/>
                  </a:lnTo>
                  <a:lnTo>
                    <a:pt x="161" y="221"/>
                  </a:lnTo>
                  <a:lnTo>
                    <a:pt x="161" y="217"/>
                  </a:lnTo>
                  <a:lnTo>
                    <a:pt x="163" y="217"/>
                  </a:lnTo>
                  <a:lnTo>
                    <a:pt x="169" y="217"/>
                  </a:lnTo>
                  <a:lnTo>
                    <a:pt x="172" y="217"/>
                  </a:lnTo>
                  <a:lnTo>
                    <a:pt x="175" y="214"/>
                  </a:lnTo>
                  <a:lnTo>
                    <a:pt x="176" y="188"/>
                  </a:lnTo>
                  <a:lnTo>
                    <a:pt x="176" y="188"/>
                  </a:lnTo>
                  <a:lnTo>
                    <a:pt x="179" y="183"/>
                  </a:lnTo>
                  <a:lnTo>
                    <a:pt x="180" y="182"/>
                  </a:lnTo>
                  <a:lnTo>
                    <a:pt x="185" y="182"/>
                  </a:lnTo>
                  <a:lnTo>
                    <a:pt x="185" y="181"/>
                  </a:lnTo>
                  <a:lnTo>
                    <a:pt x="188" y="170"/>
                  </a:lnTo>
                  <a:lnTo>
                    <a:pt x="199" y="154"/>
                  </a:lnTo>
                  <a:lnTo>
                    <a:pt x="202" y="154"/>
                  </a:lnTo>
                  <a:lnTo>
                    <a:pt x="204" y="152"/>
                  </a:lnTo>
                  <a:lnTo>
                    <a:pt x="208" y="133"/>
                  </a:lnTo>
                  <a:lnTo>
                    <a:pt x="206" y="124"/>
                  </a:lnTo>
                  <a:lnTo>
                    <a:pt x="215" y="92"/>
                  </a:lnTo>
                  <a:lnTo>
                    <a:pt x="218" y="90"/>
                  </a:lnTo>
                  <a:lnTo>
                    <a:pt x="221" y="89"/>
                  </a:lnTo>
                  <a:lnTo>
                    <a:pt x="222" y="88"/>
                  </a:lnTo>
                  <a:lnTo>
                    <a:pt x="233" y="83"/>
                  </a:lnTo>
                  <a:lnTo>
                    <a:pt x="236" y="76"/>
                  </a:lnTo>
                  <a:lnTo>
                    <a:pt x="234" y="75"/>
                  </a:lnTo>
                  <a:lnTo>
                    <a:pt x="234" y="75"/>
                  </a:lnTo>
                  <a:lnTo>
                    <a:pt x="233" y="73"/>
                  </a:lnTo>
                  <a:lnTo>
                    <a:pt x="231" y="75"/>
                  </a:lnTo>
                  <a:lnTo>
                    <a:pt x="230" y="70"/>
                  </a:lnTo>
                  <a:lnTo>
                    <a:pt x="228" y="70"/>
                  </a:lnTo>
                  <a:lnTo>
                    <a:pt x="221" y="66"/>
                  </a:lnTo>
                  <a:lnTo>
                    <a:pt x="220" y="64"/>
                  </a:lnTo>
                  <a:lnTo>
                    <a:pt x="217" y="31"/>
                  </a:lnTo>
                  <a:lnTo>
                    <a:pt x="218" y="31"/>
                  </a:lnTo>
                  <a:lnTo>
                    <a:pt x="217" y="29"/>
                  </a:lnTo>
                  <a:lnTo>
                    <a:pt x="214" y="25"/>
                  </a:lnTo>
                  <a:lnTo>
                    <a:pt x="212" y="18"/>
                  </a:lnTo>
                  <a:lnTo>
                    <a:pt x="209" y="13"/>
                  </a:lnTo>
                  <a:lnTo>
                    <a:pt x="208" y="12"/>
                  </a:lnTo>
                  <a:lnTo>
                    <a:pt x="204" y="9"/>
                  </a:lnTo>
                  <a:lnTo>
                    <a:pt x="198" y="6"/>
                  </a:lnTo>
                  <a:lnTo>
                    <a:pt x="195" y="0"/>
                  </a:lnTo>
                  <a:lnTo>
                    <a:pt x="189" y="6"/>
                  </a:lnTo>
                  <a:lnTo>
                    <a:pt x="185" y="5"/>
                  </a:lnTo>
                  <a:lnTo>
                    <a:pt x="182" y="12"/>
                  </a:lnTo>
                  <a:lnTo>
                    <a:pt x="175" y="15"/>
                  </a:lnTo>
                  <a:lnTo>
                    <a:pt x="172" y="21"/>
                  </a:lnTo>
                  <a:lnTo>
                    <a:pt x="166" y="21"/>
                  </a:lnTo>
                  <a:lnTo>
                    <a:pt x="160" y="18"/>
                  </a:lnTo>
                  <a:lnTo>
                    <a:pt x="135" y="18"/>
                  </a:lnTo>
                  <a:lnTo>
                    <a:pt x="137" y="15"/>
                  </a:lnTo>
                  <a:lnTo>
                    <a:pt x="137" y="15"/>
                  </a:lnTo>
                  <a:lnTo>
                    <a:pt x="135" y="15"/>
                  </a:lnTo>
                  <a:lnTo>
                    <a:pt x="135" y="15"/>
                  </a:lnTo>
                  <a:lnTo>
                    <a:pt x="132" y="18"/>
                  </a:lnTo>
                  <a:lnTo>
                    <a:pt x="44" y="18"/>
                  </a:lnTo>
                  <a:lnTo>
                    <a:pt x="44" y="18"/>
                  </a:lnTo>
                  <a:lnTo>
                    <a:pt x="44" y="47"/>
                  </a:lnTo>
                  <a:lnTo>
                    <a:pt x="31" y="47"/>
                  </a:lnTo>
                  <a:lnTo>
                    <a:pt x="31" y="5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17" name="Freeform 739"/>
            <p:cNvSpPr>
              <a:spLocks/>
            </p:cNvSpPr>
            <p:nvPr/>
          </p:nvSpPr>
          <p:spPr bwMode="auto">
            <a:xfrm>
              <a:off x="6120724" y="2916637"/>
              <a:ext cx="207161" cy="183559"/>
            </a:xfrm>
            <a:custGeom>
              <a:avLst/>
              <a:gdLst/>
              <a:ahLst/>
              <a:cxnLst>
                <a:cxn ang="0">
                  <a:pos x="58" y="113"/>
                </a:cxn>
                <a:cxn ang="0">
                  <a:pos x="53" y="115"/>
                </a:cxn>
                <a:cxn ang="0">
                  <a:pos x="52" y="119"/>
                </a:cxn>
                <a:cxn ang="0">
                  <a:pos x="48" y="122"/>
                </a:cxn>
                <a:cxn ang="0">
                  <a:pos x="40" y="124"/>
                </a:cxn>
                <a:cxn ang="0">
                  <a:pos x="40" y="124"/>
                </a:cxn>
                <a:cxn ang="0">
                  <a:pos x="10" y="129"/>
                </a:cxn>
                <a:cxn ang="0">
                  <a:pos x="1" y="129"/>
                </a:cxn>
                <a:cxn ang="0">
                  <a:pos x="0" y="135"/>
                </a:cxn>
                <a:cxn ang="0">
                  <a:pos x="3" y="138"/>
                </a:cxn>
                <a:cxn ang="0">
                  <a:pos x="3" y="141"/>
                </a:cxn>
                <a:cxn ang="0">
                  <a:pos x="18" y="161"/>
                </a:cxn>
                <a:cxn ang="0">
                  <a:pos x="23" y="164"/>
                </a:cxn>
                <a:cxn ang="0">
                  <a:pos x="26" y="161"/>
                </a:cxn>
                <a:cxn ang="0">
                  <a:pos x="29" y="163"/>
                </a:cxn>
                <a:cxn ang="0">
                  <a:pos x="30" y="167"/>
                </a:cxn>
                <a:cxn ang="0">
                  <a:pos x="29" y="167"/>
                </a:cxn>
                <a:cxn ang="0">
                  <a:pos x="29" y="169"/>
                </a:cxn>
                <a:cxn ang="0">
                  <a:pos x="34" y="172"/>
                </a:cxn>
                <a:cxn ang="0">
                  <a:pos x="33" y="169"/>
                </a:cxn>
                <a:cxn ang="0">
                  <a:pos x="39" y="167"/>
                </a:cxn>
                <a:cxn ang="0">
                  <a:pos x="49" y="166"/>
                </a:cxn>
                <a:cxn ang="0">
                  <a:pos x="50" y="163"/>
                </a:cxn>
                <a:cxn ang="0">
                  <a:pos x="55" y="161"/>
                </a:cxn>
                <a:cxn ang="0">
                  <a:pos x="62" y="148"/>
                </a:cxn>
                <a:cxn ang="0">
                  <a:pos x="88" y="151"/>
                </a:cxn>
                <a:cxn ang="0">
                  <a:pos x="97" y="159"/>
                </a:cxn>
                <a:cxn ang="0">
                  <a:pos x="101" y="156"/>
                </a:cxn>
                <a:cxn ang="0">
                  <a:pos x="111" y="153"/>
                </a:cxn>
                <a:cxn ang="0">
                  <a:pos x="130" y="161"/>
                </a:cxn>
                <a:cxn ang="0">
                  <a:pos x="145" y="153"/>
                </a:cxn>
                <a:cxn ang="0">
                  <a:pos x="171" y="156"/>
                </a:cxn>
                <a:cxn ang="0">
                  <a:pos x="175" y="154"/>
                </a:cxn>
                <a:cxn ang="0">
                  <a:pos x="178" y="151"/>
                </a:cxn>
                <a:cxn ang="0">
                  <a:pos x="181" y="150"/>
                </a:cxn>
                <a:cxn ang="0">
                  <a:pos x="185" y="147"/>
                </a:cxn>
                <a:cxn ang="0">
                  <a:pos x="185" y="147"/>
                </a:cxn>
                <a:cxn ang="0">
                  <a:pos x="184" y="144"/>
                </a:cxn>
                <a:cxn ang="0">
                  <a:pos x="184" y="140"/>
                </a:cxn>
                <a:cxn ang="0">
                  <a:pos x="187" y="138"/>
                </a:cxn>
                <a:cxn ang="0">
                  <a:pos x="188" y="135"/>
                </a:cxn>
                <a:cxn ang="0">
                  <a:pos x="191" y="134"/>
                </a:cxn>
                <a:cxn ang="0">
                  <a:pos x="193" y="131"/>
                </a:cxn>
                <a:cxn ang="0">
                  <a:pos x="217" y="100"/>
                </a:cxn>
                <a:cxn ang="0">
                  <a:pos x="226" y="48"/>
                </a:cxn>
                <a:cxn ang="0">
                  <a:pos x="216" y="41"/>
                </a:cxn>
                <a:cxn ang="0">
                  <a:pos x="213" y="35"/>
                </a:cxn>
                <a:cxn ang="0">
                  <a:pos x="212" y="9"/>
                </a:cxn>
                <a:cxn ang="0">
                  <a:pos x="204" y="6"/>
                </a:cxn>
                <a:cxn ang="0">
                  <a:pos x="200" y="3"/>
                </a:cxn>
                <a:cxn ang="0">
                  <a:pos x="167" y="0"/>
                </a:cxn>
                <a:cxn ang="0">
                  <a:pos x="58" y="67"/>
                </a:cxn>
                <a:cxn ang="0">
                  <a:pos x="58" y="68"/>
                </a:cxn>
              </a:cxnLst>
              <a:rect l="0" t="0" r="r" b="b"/>
              <a:pathLst>
                <a:path w="226" h="176">
                  <a:moveTo>
                    <a:pt x="58" y="71"/>
                  </a:moveTo>
                  <a:lnTo>
                    <a:pt x="58" y="113"/>
                  </a:lnTo>
                  <a:lnTo>
                    <a:pt x="56" y="113"/>
                  </a:lnTo>
                  <a:lnTo>
                    <a:pt x="53" y="115"/>
                  </a:lnTo>
                  <a:lnTo>
                    <a:pt x="53" y="116"/>
                  </a:lnTo>
                  <a:lnTo>
                    <a:pt x="52" y="119"/>
                  </a:lnTo>
                  <a:lnTo>
                    <a:pt x="49" y="121"/>
                  </a:lnTo>
                  <a:lnTo>
                    <a:pt x="48" y="122"/>
                  </a:lnTo>
                  <a:lnTo>
                    <a:pt x="48" y="124"/>
                  </a:lnTo>
                  <a:lnTo>
                    <a:pt x="40" y="124"/>
                  </a:lnTo>
                  <a:lnTo>
                    <a:pt x="40" y="124"/>
                  </a:lnTo>
                  <a:lnTo>
                    <a:pt x="40" y="124"/>
                  </a:lnTo>
                  <a:lnTo>
                    <a:pt x="17" y="124"/>
                  </a:lnTo>
                  <a:lnTo>
                    <a:pt x="10" y="129"/>
                  </a:lnTo>
                  <a:lnTo>
                    <a:pt x="1" y="129"/>
                  </a:lnTo>
                  <a:lnTo>
                    <a:pt x="1" y="129"/>
                  </a:lnTo>
                  <a:lnTo>
                    <a:pt x="0" y="134"/>
                  </a:lnTo>
                  <a:lnTo>
                    <a:pt x="0" y="135"/>
                  </a:lnTo>
                  <a:lnTo>
                    <a:pt x="0" y="137"/>
                  </a:lnTo>
                  <a:lnTo>
                    <a:pt x="3" y="138"/>
                  </a:lnTo>
                  <a:lnTo>
                    <a:pt x="3" y="140"/>
                  </a:lnTo>
                  <a:lnTo>
                    <a:pt x="3" y="141"/>
                  </a:lnTo>
                  <a:lnTo>
                    <a:pt x="3" y="144"/>
                  </a:lnTo>
                  <a:lnTo>
                    <a:pt x="18" y="161"/>
                  </a:lnTo>
                  <a:lnTo>
                    <a:pt x="23" y="164"/>
                  </a:lnTo>
                  <a:lnTo>
                    <a:pt x="23" y="164"/>
                  </a:lnTo>
                  <a:lnTo>
                    <a:pt x="24" y="163"/>
                  </a:lnTo>
                  <a:lnTo>
                    <a:pt x="26" y="161"/>
                  </a:lnTo>
                  <a:lnTo>
                    <a:pt x="27" y="161"/>
                  </a:lnTo>
                  <a:lnTo>
                    <a:pt x="29" y="163"/>
                  </a:lnTo>
                  <a:lnTo>
                    <a:pt x="30" y="166"/>
                  </a:lnTo>
                  <a:lnTo>
                    <a:pt x="30" y="167"/>
                  </a:lnTo>
                  <a:lnTo>
                    <a:pt x="29" y="167"/>
                  </a:lnTo>
                  <a:lnTo>
                    <a:pt x="29" y="167"/>
                  </a:lnTo>
                  <a:lnTo>
                    <a:pt x="27" y="167"/>
                  </a:lnTo>
                  <a:lnTo>
                    <a:pt x="29" y="169"/>
                  </a:lnTo>
                  <a:lnTo>
                    <a:pt x="33" y="173"/>
                  </a:lnTo>
                  <a:lnTo>
                    <a:pt x="34" y="172"/>
                  </a:lnTo>
                  <a:lnTo>
                    <a:pt x="33" y="170"/>
                  </a:lnTo>
                  <a:lnTo>
                    <a:pt x="33" y="169"/>
                  </a:lnTo>
                  <a:lnTo>
                    <a:pt x="37" y="169"/>
                  </a:lnTo>
                  <a:lnTo>
                    <a:pt x="39" y="167"/>
                  </a:lnTo>
                  <a:lnTo>
                    <a:pt x="49" y="176"/>
                  </a:lnTo>
                  <a:lnTo>
                    <a:pt x="49" y="166"/>
                  </a:lnTo>
                  <a:lnTo>
                    <a:pt x="50" y="164"/>
                  </a:lnTo>
                  <a:lnTo>
                    <a:pt x="50" y="163"/>
                  </a:lnTo>
                  <a:lnTo>
                    <a:pt x="53" y="163"/>
                  </a:lnTo>
                  <a:lnTo>
                    <a:pt x="55" y="161"/>
                  </a:lnTo>
                  <a:lnTo>
                    <a:pt x="58" y="151"/>
                  </a:lnTo>
                  <a:lnTo>
                    <a:pt x="62" y="148"/>
                  </a:lnTo>
                  <a:lnTo>
                    <a:pt x="78" y="147"/>
                  </a:lnTo>
                  <a:lnTo>
                    <a:pt x="88" y="151"/>
                  </a:lnTo>
                  <a:lnTo>
                    <a:pt x="95" y="159"/>
                  </a:lnTo>
                  <a:lnTo>
                    <a:pt x="97" y="159"/>
                  </a:lnTo>
                  <a:lnTo>
                    <a:pt x="100" y="159"/>
                  </a:lnTo>
                  <a:lnTo>
                    <a:pt x="101" y="156"/>
                  </a:lnTo>
                  <a:lnTo>
                    <a:pt x="109" y="153"/>
                  </a:lnTo>
                  <a:lnTo>
                    <a:pt x="111" y="153"/>
                  </a:lnTo>
                  <a:lnTo>
                    <a:pt x="122" y="160"/>
                  </a:lnTo>
                  <a:lnTo>
                    <a:pt x="130" y="161"/>
                  </a:lnTo>
                  <a:lnTo>
                    <a:pt x="135" y="161"/>
                  </a:lnTo>
                  <a:lnTo>
                    <a:pt x="145" y="153"/>
                  </a:lnTo>
                  <a:lnTo>
                    <a:pt x="164" y="153"/>
                  </a:lnTo>
                  <a:lnTo>
                    <a:pt x="171" y="156"/>
                  </a:lnTo>
                  <a:lnTo>
                    <a:pt x="174" y="156"/>
                  </a:lnTo>
                  <a:lnTo>
                    <a:pt x="175" y="154"/>
                  </a:lnTo>
                  <a:lnTo>
                    <a:pt x="178" y="153"/>
                  </a:lnTo>
                  <a:lnTo>
                    <a:pt x="178" y="151"/>
                  </a:lnTo>
                  <a:lnTo>
                    <a:pt x="180" y="150"/>
                  </a:lnTo>
                  <a:lnTo>
                    <a:pt x="181" y="150"/>
                  </a:lnTo>
                  <a:lnTo>
                    <a:pt x="184" y="150"/>
                  </a:lnTo>
                  <a:lnTo>
                    <a:pt x="185" y="147"/>
                  </a:lnTo>
                  <a:lnTo>
                    <a:pt x="185" y="147"/>
                  </a:lnTo>
                  <a:lnTo>
                    <a:pt x="185" y="147"/>
                  </a:lnTo>
                  <a:lnTo>
                    <a:pt x="184" y="145"/>
                  </a:lnTo>
                  <a:lnTo>
                    <a:pt x="184" y="144"/>
                  </a:lnTo>
                  <a:lnTo>
                    <a:pt x="184" y="143"/>
                  </a:lnTo>
                  <a:lnTo>
                    <a:pt x="184" y="140"/>
                  </a:lnTo>
                  <a:lnTo>
                    <a:pt x="187" y="140"/>
                  </a:lnTo>
                  <a:lnTo>
                    <a:pt x="187" y="138"/>
                  </a:lnTo>
                  <a:lnTo>
                    <a:pt x="188" y="138"/>
                  </a:lnTo>
                  <a:lnTo>
                    <a:pt x="188" y="135"/>
                  </a:lnTo>
                  <a:lnTo>
                    <a:pt x="190" y="134"/>
                  </a:lnTo>
                  <a:lnTo>
                    <a:pt x="191" y="134"/>
                  </a:lnTo>
                  <a:lnTo>
                    <a:pt x="191" y="131"/>
                  </a:lnTo>
                  <a:lnTo>
                    <a:pt x="193" y="131"/>
                  </a:lnTo>
                  <a:lnTo>
                    <a:pt x="193" y="128"/>
                  </a:lnTo>
                  <a:lnTo>
                    <a:pt x="217" y="100"/>
                  </a:lnTo>
                  <a:lnTo>
                    <a:pt x="222" y="54"/>
                  </a:lnTo>
                  <a:lnTo>
                    <a:pt x="226" y="48"/>
                  </a:lnTo>
                  <a:lnTo>
                    <a:pt x="219" y="44"/>
                  </a:lnTo>
                  <a:lnTo>
                    <a:pt x="216" y="41"/>
                  </a:lnTo>
                  <a:lnTo>
                    <a:pt x="213" y="35"/>
                  </a:lnTo>
                  <a:lnTo>
                    <a:pt x="213" y="35"/>
                  </a:lnTo>
                  <a:lnTo>
                    <a:pt x="212" y="31"/>
                  </a:lnTo>
                  <a:lnTo>
                    <a:pt x="212" y="9"/>
                  </a:lnTo>
                  <a:lnTo>
                    <a:pt x="207" y="10"/>
                  </a:lnTo>
                  <a:lnTo>
                    <a:pt x="204" y="6"/>
                  </a:lnTo>
                  <a:lnTo>
                    <a:pt x="201" y="4"/>
                  </a:lnTo>
                  <a:lnTo>
                    <a:pt x="200" y="3"/>
                  </a:lnTo>
                  <a:lnTo>
                    <a:pt x="199" y="3"/>
                  </a:lnTo>
                  <a:lnTo>
                    <a:pt x="167" y="0"/>
                  </a:lnTo>
                  <a:lnTo>
                    <a:pt x="79" y="61"/>
                  </a:lnTo>
                  <a:lnTo>
                    <a:pt x="58" y="67"/>
                  </a:lnTo>
                  <a:lnTo>
                    <a:pt x="58" y="68"/>
                  </a:lnTo>
                  <a:lnTo>
                    <a:pt x="58" y="68"/>
                  </a:lnTo>
                  <a:lnTo>
                    <a:pt x="58" y="7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18" name="Freeform 740"/>
            <p:cNvSpPr>
              <a:spLocks/>
            </p:cNvSpPr>
            <p:nvPr/>
          </p:nvSpPr>
          <p:spPr bwMode="auto">
            <a:xfrm>
              <a:off x="6120724" y="2916637"/>
              <a:ext cx="207161" cy="183559"/>
            </a:xfrm>
            <a:custGeom>
              <a:avLst/>
              <a:gdLst/>
              <a:ahLst/>
              <a:cxnLst>
                <a:cxn ang="0">
                  <a:pos x="58" y="113"/>
                </a:cxn>
                <a:cxn ang="0">
                  <a:pos x="53" y="115"/>
                </a:cxn>
                <a:cxn ang="0">
                  <a:pos x="52" y="119"/>
                </a:cxn>
                <a:cxn ang="0">
                  <a:pos x="48" y="122"/>
                </a:cxn>
                <a:cxn ang="0">
                  <a:pos x="40" y="124"/>
                </a:cxn>
                <a:cxn ang="0">
                  <a:pos x="40" y="124"/>
                </a:cxn>
                <a:cxn ang="0">
                  <a:pos x="10" y="129"/>
                </a:cxn>
                <a:cxn ang="0">
                  <a:pos x="1" y="129"/>
                </a:cxn>
                <a:cxn ang="0">
                  <a:pos x="0" y="135"/>
                </a:cxn>
                <a:cxn ang="0">
                  <a:pos x="3" y="138"/>
                </a:cxn>
                <a:cxn ang="0">
                  <a:pos x="3" y="141"/>
                </a:cxn>
                <a:cxn ang="0">
                  <a:pos x="18" y="161"/>
                </a:cxn>
                <a:cxn ang="0">
                  <a:pos x="23" y="164"/>
                </a:cxn>
                <a:cxn ang="0">
                  <a:pos x="26" y="161"/>
                </a:cxn>
                <a:cxn ang="0">
                  <a:pos x="29" y="163"/>
                </a:cxn>
                <a:cxn ang="0">
                  <a:pos x="30" y="167"/>
                </a:cxn>
                <a:cxn ang="0">
                  <a:pos x="29" y="167"/>
                </a:cxn>
                <a:cxn ang="0">
                  <a:pos x="29" y="169"/>
                </a:cxn>
                <a:cxn ang="0">
                  <a:pos x="34" y="172"/>
                </a:cxn>
                <a:cxn ang="0">
                  <a:pos x="33" y="169"/>
                </a:cxn>
                <a:cxn ang="0">
                  <a:pos x="39" y="167"/>
                </a:cxn>
                <a:cxn ang="0">
                  <a:pos x="49" y="166"/>
                </a:cxn>
                <a:cxn ang="0">
                  <a:pos x="50" y="163"/>
                </a:cxn>
                <a:cxn ang="0">
                  <a:pos x="55" y="161"/>
                </a:cxn>
                <a:cxn ang="0">
                  <a:pos x="62" y="148"/>
                </a:cxn>
                <a:cxn ang="0">
                  <a:pos x="88" y="151"/>
                </a:cxn>
                <a:cxn ang="0">
                  <a:pos x="97" y="159"/>
                </a:cxn>
                <a:cxn ang="0">
                  <a:pos x="101" y="156"/>
                </a:cxn>
                <a:cxn ang="0">
                  <a:pos x="111" y="153"/>
                </a:cxn>
                <a:cxn ang="0">
                  <a:pos x="130" y="161"/>
                </a:cxn>
                <a:cxn ang="0">
                  <a:pos x="145" y="153"/>
                </a:cxn>
                <a:cxn ang="0">
                  <a:pos x="171" y="156"/>
                </a:cxn>
                <a:cxn ang="0">
                  <a:pos x="175" y="154"/>
                </a:cxn>
                <a:cxn ang="0">
                  <a:pos x="178" y="151"/>
                </a:cxn>
                <a:cxn ang="0">
                  <a:pos x="181" y="150"/>
                </a:cxn>
                <a:cxn ang="0">
                  <a:pos x="185" y="147"/>
                </a:cxn>
                <a:cxn ang="0">
                  <a:pos x="185" y="147"/>
                </a:cxn>
                <a:cxn ang="0">
                  <a:pos x="184" y="144"/>
                </a:cxn>
                <a:cxn ang="0">
                  <a:pos x="184" y="140"/>
                </a:cxn>
                <a:cxn ang="0">
                  <a:pos x="187" y="138"/>
                </a:cxn>
                <a:cxn ang="0">
                  <a:pos x="188" y="135"/>
                </a:cxn>
                <a:cxn ang="0">
                  <a:pos x="191" y="134"/>
                </a:cxn>
                <a:cxn ang="0">
                  <a:pos x="193" y="131"/>
                </a:cxn>
                <a:cxn ang="0">
                  <a:pos x="217" y="100"/>
                </a:cxn>
                <a:cxn ang="0">
                  <a:pos x="226" y="48"/>
                </a:cxn>
                <a:cxn ang="0">
                  <a:pos x="216" y="41"/>
                </a:cxn>
                <a:cxn ang="0">
                  <a:pos x="213" y="35"/>
                </a:cxn>
                <a:cxn ang="0">
                  <a:pos x="212" y="9"/>
                </a:cxn>
                <a:cxn ang="0">
                  <a:pos x="204" y="6"/>
                </a:cxn>
                <a:cxn ang="0">
                  <a:pos x="200" y="3"/>
                </a:cxn>
                <a:cxn ang="0">
                  <a:pos x="167" y="0"/>
                </a:cxn>
                <a:cxn ang="0">
                  <a:pos x="58" y="67"/>
                </a:cxn>
                <a:cxn ang="0">
                  <a:pos x="58" y="68"/>
                </a:cxn>
              </a:cxnLst>
              <a:rect l="0" t="0" r="r" b="b"/>
              <a:pathLst>
                <a:path w="226" h="176">
                  <a:moveTo>
                    <a:pt x="58" y="71"/>
                  </a:moveTo>
                  <a:lnTo>
                    <a:pt x="58" y="113"/>
                  </a:lnTo>
                  <a:lnTo>
                    <a:pt x="56" y="113"/>
                  </a:lnTo>
                  <a:lnTo>
                    <a:pt x="53" y="115"/>
                  </a:lnTo>
                  <a:lnTo>
                    <a:pt x="53" y="116"/>
                  </a:lnTo>
                  <a:lnTo>
                    <a:pt x="52" y="119"/>
                  </a:lnTo>
                  <a:lnTo>
                    <a:pt x="49" y="121"/>
                  </a:lnTo>
                  <a:lnTo>
                    <a:pt x="48" y="122"/>
                  </a:lnTo>
                  <a:lnTo>
                    <a:pt x="48" y="124"/>
                  </a:lnTo>
                  <a:lnTo>
                    <a:pt x="40" y="124"/>
                  </a:lnTo>
                  <a:lnTo>
                    <a:pt x="40" y="124"/>
                  </a:lnTo>
                  <a:lnTo>
                    <a:pt x="40" y="124"/>
                  </a:lnTo>
                  <a:lnTo>
                    <a:pt x="17" y="124"/>
                  </a:lnTo>
                  <a:lnTo>
                    <a:pt x="10" y="129"/>
                  </a:lnTo>
                  <a:lnTo>
                    <a:pt x="1" y="129"/>
                  </a:lnTo>
                  <a:lnTo>
                    <a:pt x="1" y="129"/>
                  </a:lnTo>
                  <a:lnTo>
                    <a:pt x="0" y="134"/>
                  </a:lnTo>
                  <a:lnTo>
                    <a:pt x="0" y="135"/>
                  </a:lnTo>
                  <a:lnTo>
                    <a:pt x="0" y="137"/>
                  </a:lnTo>
                  <a:lnTo>
                    <a:pt x="3" y="138"/>
                  </a:lnTo>
                  <a:lnTo>
                    <a:pt x="3" y="140"/>
                  </a:lnTo>
                  <a:lnTo>
                    <a:pt x="3" y="141"/>
                  </a:lnTo>
                  <a:lnTo>
                    <a:pt x="3" y="144"/>
                  </a:lnTo>
                  <a:lnTo>
                    <a:pt x="18" y="161"/>
                  </a:lnTo>
                  <a:lnTo>
                    <a:pt x="23" y="164"/>
                  </a:lnTo>
                  <a:lnTo>
                    <a:pt x="23" y="164"/>
                  </a:lnTo>
                  <a:lnTo>
                    <a:pt x="24" y="163"/>
                  </a:lnTo>
                  <a:lnTo>
                    <a:pt x="26" y="161"/>
                  </a:lnTo>
                  <a:lnTo>
                    <a:pt x="27" y="161"/>
                  </a:lnTo>
                  <a:lnTo>
                    <a:pt x="29" y="163"/>
                  </a:lnTo>
                  <a:lnTo>
                    <a:pt x="30" y="166"/>
                  </a:lnTo>
                  <a:lnTo>
                    <a:pt x="30" y="167"/>
                  </a:lnTo>
                  <a:lnTo>
                    <a:pt x="29" y="167"/>
                  </a:lnTo>
                  <a:lnTo>
                    <a:pt x="29" y="167"/>
                  </a:lnTo>
                  <a:lnTo>
                    <a:pt x="27" y="167"/>
                  </a:lnTo>
                  <a:lnTo>
                    <a:pt x="29" y="169"/>
                  </a:lnTo>
                  <a:lnTo>
                    <a:pt x="33" y="173"/>
                  </a:lnTo>
                  <a:lnTo>
                    <a:pt x="34" y="172"/>
                  </a:lnTo>
                  <a:lnTo>
                    <a:pt x="33" y="170"/>
                  </a:lnTo>
                  <a:lnTo>
                    <a:pt x="33" y="169"/>
                  </a:lnTo>
                  <a:lnTo>
                    <a:pt x="37" y="169"/>
                  </a:lnTo>
                  <a:lnTo>
                    <a:pt x="39" y="167"/>
                  </a:lnTo>
                  <a:lnTo>
                    <a:pt x="49" y="176"/>
                  </a:lnTo>
                  <a:lnTo>
                    <a:pt x="49" y="166"/>
                  </a:lnTo>
                  <a:lnTo>
                    <a:pt x="50" y="164"/>
                  </a:lnTo>
                  <a:lnTo>
                    <a:pt x="50" y="163"/>
                  </a:lnTo>
                  <a:lnTo>
                    <a:pt x="53" y="163"/>
                  </a:lnTo>
                  <a:lnTo>
                    <a:pt x="55" y="161"/>
                  </a:lnTo>
                  <a:lnTo>
                    <a:pt x="58" y="151"/>
                  </a:lnTo>
                  <a:lnTo>
                    <a:pt x="62" y="148"/>
                  </a:lnTo>
                  <a:lnTo>
                    <a:pt x="78" y="147"/>
                  </a:lnTo>
                  <a:lnTo>
                    <a:pt x="88" y="151"/>
                  </a:lnTo>
                  <a:lnTo>
                    <a:pt x="95" y="159"/>
                  </a:lnTo>
                  <a:lnTo>
                    <a:pt x="97" y="159"/>
                  </a:lnTo>
                  <a:lnTo>
                    <a:pt x="100" y="159"/>
                  </a:lnTo>
                  <a:lnTo>
                    <a:pt x="101" y="156"/>
                  </a:lnTo>
                  <a:lnTo>
                    <a:pt x="109" y="153"/>
                  </a:lnTo>
                  <a:lnTo>
                    <a:pt x="111" y="153"/>
                  </a:lnTo>
                  <a:lnTo>
                    <a:pt x="122" y="160"/>
                  </a:lnTo>
                  <a:lnTo>
                    <a:pt x="130" y="161"/>
                  </a:lnTo>
                  <a:lnTo>
                    <a:pt x="135" y="161"/>
                  </a:lnTo>
                  <a:lnTo>
                    <a:pt x="145" y="153"/>
                  </a:lnTo>
                  <a:lnTo>
                    <a:pt x="164" y="153"/>
                  </a:lnTo>
                  <a:lnTo>
                    <a:pt x="171" y="156"/>
                  </a:lnTo>
                  <a:lnTo>
                    <a:pt x="174" y="156"/>
                  </a:lnTo>
                  <a:lnTo>
                    <a:pt x="175" y="154"/>
                  </a:lnTo>
                  <a:lnTo>
                    <a:pt x="178" y="153"/>
                  </a:lnTo>
                  <a:lnTo>
                    <a:pt x="178" y="151"/>
                  </a:lnTo>
                  <a:lnTo>
                    <a:pt x="180" y="150"/>
                  </a:lnTo>
                  <a:lnTo>
                    <a:pt x="181" y="150"/>
                  </a:lnTo>
                  <a:lnTo>
                    <a:pt x="184" y="150"/>
                  </a:lnTo>
                  <a:lnTo>
                    <a:pt x="185" y="147"/>
                  </a:lnTo>
                  <a:lnTo>
                    <a:pt x="185" y="147"/>
                  </a:lnTo>
                  <a:lnTo>
                    <a:pt x="185" y="147"/>
                  </a:lnTo>
                  <a:lnTo>
                    <a:pt x="184" y="145"/>
                  </a:lnTo>
                  <a:lnTo>
                    <a:pt x="184" y="144"/>
                  </a:lnTo>
                  <a:lnTo>
                    <a:pt x="184" y="143"/>
                  </a:lnTo>
                  <a:lnTo>
                    <a:pt x="184" y="140"/>
                  </a:lnTo>
                  <a:lnTo>
                    <a:pt x="187" y="140"/>
                  </a:lnTo>
                  <a:lnTo>
                    <a:pt x="187" y="138"/>
                  </a:lnTo>
                  <a:lnTo>
                    <a:pt x="188" y="138"/>
                  </a:lnTo>
                  <a:lnTo>
                    <a:pt x="188" y="135"/>
                  </a:lnTo>
                  <a:lnTo>
                    <a:pt x="190" y="134"/>
                  </a:lnTo>
                  <a:lnTo>
                    <a:pt x="191" y="134"/>
                  </a:lnTo>
                  <a:lnTo>
                    <a:pt x="191" y="131"/>
                  </a:lnTo>
                  <a:lnTo>
                    <a:pt x="193" y="131"/>
                  </a:lnTo>
                  <a:lnTo>
                    <a:pt x="193" y="128"/>
                  </a:lnTo>
                  <a:lnTo>
                    <a:pt x="217" y="100"/>
                  </a:lnTo>
                  <a:lnTo>
                    <a:pt x="222" y="54"/>
                  </a:lnTo>
                  <a:lnTo>
                    <a:pt x="226" y="48"/>
                  </a:lnTo>
                  <a:lnTo>
                    <a:pt x="219" y="44"/>
                  </a:lnTo>
                  <a:lnTo>
                    <a:pt x="216" y="41"/>
                  </a:lnTo>
                  <a:lnTo>
                    <a:pt x="213" y="35"/>
                  </a:lnTo>
                  <a:lnTo>
                    <a:pt x="213" y="35"/>
                  </a:lnTo>
                  <a:lnTo>
                    <a:pt x="212" y="31"/>
                  </a:lnTo>
                  <a:lnTo>
                    <a:pt x="212" y="9"/>
                  </a:lnTo>
                  <a:lnTo>
                    <a:pt x="207" y="10"/>
                  </a:lnTo>
                  <a:lnTo>
                    <a:pt x="204" y="6"/>
                  </a:lnTo>
                  <a:lnTo>
                    <a:pt x="201" y="4"/>
                  </a:lnTo>
                  <a:lnTo>
                    <a:pt x="200" y="3"/>
                  </a:lnTo>
                  <a:lnTo>
                    <a:pt x="199" y="3"/>
                  </a:lnTo>
                  <a:lnTo>
                    <a:pt x="167" y="0"/>
                  </a:lnTo>
                  <a:lnTo>
                    <a:pt x="79" y="61"/>
                  </a:lnTo>
                  <a:lnTo>
                    <a:pt x="58" y="67"/>
                  </a:lnTo>
                  <a:lnTo>
                    <a:pt x="58" y="68"/>
                  </a:lnTo>
                  <a:lnTo>
                    <a:pt x="58" y="68"/>
                  </a:lnTo>
                  <a:lnTo>
                    <a:pt x="58" y="7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19" name="Freeform 741"/>
            <p:cNvSpPr>
              <a:spLocks/>
            </p:cNvSpPr>
            <p:nvPr/>
          </p:nvSpPr>
          <p:spPr bwMode="auto">
            <a:xfrm>
              <a:off x="5620378" y="4225882"/>
              <a:ext cx="31600" cy="22311"/>
            </a:xfrm>
            <a:custGeom>
              <a:avLst/>
              <a:gdLst/>
              <a:ahLst/>
              <a:cxnLst>
                <a:cxn ang="0">
                  <a:pos x="2" y="2"/>
                </a:cxn>
                <a:cxn ang="0">
                  <a:pos x="0" y="0"/>
                </a:cxn>
                <a:cxn ang="0">
                  <a:pos x="6" y="0"/>
                </a:cxn>
                <a:cxn ang="0">
                  <a:pos x="7" y="0"/>
                </a:cxn>
                <a:cxn ang="0">
                  <a:pos x="9" y="0"/>
                </a:cxn>
                <a:cxn ang="0">
                  <a:pos x="10" y="0"/>
                </a:cxn>
                <a:cxn ang="0">
                  <a:pos x="10" y="0"/>
                </a:cxn>
                <a:cxn ang="0">
                  <a:pos x="13" y="2"/>
                </a:cxn>
                <a:cxn ang="0">
                  <a:pos x="15" y="3"/>
                </a:cxn>
                <a:cxn ang="0">
                  <a:pos x="16" y="2"/>
                </a:cxn>
                <a:cxn ang="0">
                  <a:pos x="22" y="4"/>
                </a:cxn>
                <a:cxn ang="0">
                  <a:pos x="22" y="6"/>
                </a:cxn>
                <a:cxn ang="0">
                  <a:pos x="23" y="6"/>
                </a:cxn>
                <a:cxn ang="0">
                  <a:pos x="23" y="9"/>
                </a:cxn>
                <a:cxn ang="0">
                  <a:pos x="25" y="9"/>
                </a:cxn>
                <a:cxn ang="0">
                  <a:pos x="26" y="7"/>
                </a:cxn>
                <a:cxn ang="0">
                  <a:pos x="28" y="9"/>
                </a:cxn>
                <a:cxn ang="0">
                  <a:pos x="29" y="12"/>
                </a:cxn>
                <a:cxn ang="0">
                  <a:pos x="31" y="13"/>
                </a:cxn>
                <a:cxn ang="0">
                  <a:pos x="31" y="13"/>
                </a:cxn>
                <a:cxn ang="0">
                  <a:pos x="32" y="15"/>
                </a:cxn>
                <a:cxn ang="0">
                  <a:pos x="32" y="15"/>
                </a:cxn>
                <a:cxn ang="0">
                  <a:pos x="32" y="15"/>
                </a:cxn>
                <a:cxn ang="0">
                  <a:pos x="34" y="18"/>
                </a:cxn>
                <a:cxn ang="0">
                  <a:pos x="34" y="19"/>
                </a:cxn>
                <a:cxn ang="0">
                  <a:pos x="32" y="19"/>
                </a:cxn>
                <a:cxn ang="0">
                  <a:pos x="31" y="19"/>
                </a:cxn>
                <a:cxn ang="0">
                  <a:pos x="32" y="22"/>
                </a:cxn>
                <a:cxn ang="0">
                  <a:pos x="31" y="22"/>
                </a:cxn>
                <a:cxn ang="0">
                  <a:pos x="29" y="22"/>
                </a:cxn>
                <a:cxn ang="0">
                  <a:pos x="26" y="18"/>
                </a:cxn>
                <a:cxn ang="0">
                  <a:pos x="26" y="16"/>
                </a:cxn>
                <a:cxn ang="0">
                  <a:pos x="25" y="15"/>
                </a:cxn>
                <a:cxn ang="0">
                  <a:pos x="23" y="13"/>
                </a:cxn>
                <a:cxn ang="0">
                  <a:pos x="23" y="12"/>
                </a:cxn>
                <a:cxn ang="0">
                  <a:pos x="20" y="12"/>
                </a:cxn>
                <a:cxn ang="0">
                  <a:pos x="20" y="10"/>
                </a:cxn>
                <a:cxn ang="0">
                  <a:pos x="13" y="7"/>
                </a:cxn>
                <a:cxn ang="0">
                  <a:pos x="12" y="7"/>
                </a:cxn>
                <a:cxn ang="0">
                  <a:pos x="12" y="6"/>
                </a:cxn>
                <a:cxn ang="0">
                  <a:pos x="12" y="4"/>
                </a:cxn>
                <a:cxn ang="0">
                  <a:pos x="12" y="3"/>
                </a:cxn>
                <a:cxn ang="0">
                  <a:pos x="7" y="4"/>
                </a:cxn>
                <a:cxn ang="0">
                  <a:pos x="6" y="4"/>
                </a:cxn>
                <a:cxn ang="0">
                  <a:pos x="6" y="3"/>
                </a:cxn>
                <a:cxn ang="0">
                  <a:pos x="6" y="2"/>
                </a:cxn>
                <a:cxn ang="0">
                  <a:pos x="3" y="2"/>
                </a:cxn>
                <a:cxn ang="0">
                  <a:pos x="2" y="2"/>
                </a:cxn>
                <a:cxn ang="0">
                  <a:pos x="2" y="2"/>
                </a:cxn>
              </a:cxnLst>
              <a:rect l="0" t="0" r="r" b="b"/>
              <a:pathLst>
                <a:path w="34" h="22">
                  <a:moveTo>
                    <a:pt x="2" y="2"/>
                  </a:moveTo>
                  <a:lnTo>
                    <a:pt x="0" y="0"/>
                  </a:lnTo>
                  <a:lnTo>
                    <a:pt x="6" y="0"/>
                  </a:lnTo>
                  <a:lnTo>
                    <a:pt x="7" y="0"/>
                  </a:lnTo>
                  <a:lnTo>
                    <a:pt x="9" y="0"/>
                  </a:lnTo>
                  <a:lnTo>
                    <a:pt x="10" y="0"/>
                  </a:lnTo>
                  <a:lnTo>
                    <a:pt x="10" y="0"/>
                  </a:lnTo>
                  <a:lnTo>
                    <a:pt x="13" y="2"/>
                  </a:lnTo>
                  <a:lnTo>
                    <a:pt x="15" y="3"/>
                  </a:lnTo>
                  <a:lnTo>
                    <a:pt x="16" y="2"/>
                  </a:lnTo>
                  <a:lnTo>
                    <a:pt x="22" y="4"/>
                  </a:lnTo>
                  <a:lnTo>
                    <a:pt x="22" y="6"/>
                  </a:lnTo>
                  <a:lnTo>
                    <a:pt x="23" y="6"/>
                  </a:lnTo>
                  <a:lnTo>
                    <a:pt x="23" y="9"/>
                  </a:lnTo>
                  <a:lnTo>
                    <a:pt x="25" y="9"/>
                  </a:lnTo>
                  <a:lnTo>
                    <a:pt x="26" y="7"/>
                  </a:lnTo>
                  <a:lnTo>
                    <a:pt x="28" y="9"/>
                  </a:lnTo>
                  <a:lnTo>
                    <a:pt x="29" y="12"/>
                  </a:lnTo>
                  <a:lnTo>
                    <a:pt x="31" y="13"/>
                  </a:lnTo>
                  <a:lnTo>
                    <a:pt x="31" y="13"/>
                  </a:lnTo>
                  <a:lnTo>
                    <a:pt x="32" y="15"/>
                  </a:lnTo>
                  <a:lnTo>
                    <a:pt x="32" y="15"/>
                  </a:lnTo>
                  <a:lnTo>
                    <a:pt x="32" y="15"/>
                  </a:lnTo>
                  <a:lnTo>
                    <a:pt x="34" y="18"/>
                  </a:lnTo>
                  <a:lnTo>
                    <a:pt x="34" y="19"/>
                  </a:lnTo>
                  <a:lnTo>
                    <a:pt x="32" y="19"/>
                  </a:lnTo>
                  <a:lnTo>
                    <a:pt x="31" y="19"/>
                  </a:lnTo>
                  <a:lnTo>
                    <a:pt x="32" y="22"/>
                  </a:lnTo>
                  <a:lnTo>
                    <a:pt x="31" y="22"/>
                  </a:lnTo>
                  <a:lnTo>
                    <a:pt x="29" y="22"/>
                  </a:lnTo>
                  <a:lnTo>
                    <a:pt x="26" y="18"/>
                  </a:lnTo>
                  <a:lnTo>
                    <a:pt x="26" y="16"/>
                  </a:lnTo>
                  <a:lnTo>
                    <a:pt x="25" y="15"/>
                  </a:lnTo>
                  <a:lnTo>
                    <a:pt x="23" y="13"/>
                  </a:lnTo>
                  <a:lnTo>
                    <a:pt x="23" y="12"/>
                  </a:lnTo>
                  <a:lnTo>
                    <a:pt x="20" y="12"/>
                  </a:lnTo>
                  <a:lnTo>
                    <a:pt x="20" y="10"/>
                  </a:lnTo>
                  <a:lnTo>
                    <a:pt x="13" y="7"/>
                  </a:lnTo>
                  <a:lnTo>
                    <a:pt x="12" y="7"/>
                  </a:lnTo>
                  <a:lnTo>
                    <a:pt x="12" y="6"/>
                  </a:lnTo>
                  <a:lnTo>
                    <a:pt x="12" y="4"/>
                  </a:lnTo>
                  <a:lnTo>
                    <a:pt x="12" y="3"/>
                  </a:lnTo>
                  <a:lnTo>
                    <a:pt x="7" y="4"/>
                  </a:lnTo>
                  <a:lnTo>
                    <a:pt x="6" y="4"/>
                  </a:lnTo>
                  <a:lnTo>
                    <a:pt x="6" y="3"/>
                  </a:lnTo>
                  <a:lnTo>
                    <a:pt x="6" y="2"/>
                  </a:lnTo>
                  <a:lnTo>
                    <a:pt x="3" y="2"/>
                  </a:lnTo>
                  <a:lnTo>
                    <a:pt x="2" y="2"/>
                  </a:lnTo>
                  <a:lnTo>
                    <a:pt x="2"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20" name="Freeform 742"/>
            <p:cNvSpPr>
              <a:spLocks/>
            </p:cNvSpPr>
            <p:nvPr/>
          </p:nvSpPr>
          <p:spPr bwMode="auto">
            <a:xfrm>
              <a:off x="5620378" y="4225882"/>
              <a:ext cx="31600" cy="22311"/>
            </a:xfrm>
            <a:custGeom>
              <a:avLst/>
              <a:gdLst/>
              <a:ahLst/>
              <a:cxnLst>
                <a:cxn ang="0">
                  <a:pos x="2" y="2"/>
                </a:cxn>
                <a:cxn ang="0">
                  <a:pos x="0" y="0"/>
                </a:cxn>
                <a:cxn ang="0">
                  <a:pos x="6" y="0"/>
                </a:cxn>
                <a:cxn ang="0">
                  <a:pos x="7" y="0"/>
                </a:cxn>
                <a:cxn ang="0">
                  <a:pos x="9" y="0"/>
                </a:cxn>
                <a:cxn ang="0">
                  <a:pos x="10" y="0"/>
                </a:cxn>
                <a:cxn ang="0">
                  <a:pos x="10" y="0"/>
                </a:cxn>
                <a:cxn ang="0">
                  <a:pos x="13" y="2"/>
                </a:cxn>
                <a:cxn ang="0">
                  <a:pos x="15" y="3"/>
                </a:cxn>
                <a:cxn ang="0">
                  <a:pos x="16" y="2"/>
                </a:cxn>
                <a:cxn ang="0">
                  <a:pos x="22" y="4"/>
                </a:cxn>
                <a:cxn ang="0">
                  <a:pos x="22" y="6"/>
                </a:cxn>
                <a:cxn ang="0">
                  <a:pos x="23" y="6"/>
                </a:cxn>
                <a:cxn ang="0">
                  <a:pos x="23" y="9"/>
                </a:cxn>
                <a:cxn ang="0">
                  <a:pos x="25" y="9"/>
                </a:cxn>
                <a:cxn ang="0">
                  <a:pos x="26" y="7"/>
                </a:cxn>
                <a:cxn ang="0">
                  <a:pos x="28" y="9"/>
                </a:cxn>
                <a:cxn ang="0">
                  <a:pos x="29" y="12"/>
                </a:cxn>
                <a:cxn ang="0">
                  <a:pos x="31" y="13"/>
                </a:cxn>
                <a:cxn ang="0">
                  <a:pos x="31" y="13"/>
                </a:cxn>
                <a:cxn ang="0">
                  <a:pos x="32" y="15"/>
                </a:cxn>
                <a:cxn ang="0">
                  <a:pos x="32" y="15"/>
                </a:cxn>
                <a:cxn ang="0">
                  <a:pos x="32" y="15"/>
                </a:cxn>
                <a:cxn ang="0">
                  <a:pos x="34" y="18"/>
                </a:cxn>
                <a:cxn ang="0">
                  <a:pos x="34" y="19"/>
                </a:cxn>
                <a:cxn ang="0">
                  <a:pos x="32" y="19"/>
                </a:cxn>
                <a:cxn ang="0">
                  <a:pos x="31" y="19"/>
                </a:cxn>
                <a:cxn ang="0">
                  <a:pos x="32" y="22"/>
                </a:cxn>
                <a:cxn ang="0">
                  <a:pos x="31" y="22"/>
                </a:cxn>
                <a:cxn ang="0">
                  <a:pos x="29" y="22"/>
                </a:cxn>
                <a:cxn ang="0">
                  <a:pos x="26" y="18"/>
                </a:cxn>
                <a:cxn ang="0">
                  <a:pos x="26" y="16"/>
                </a:cxn>
                <a:cxn ang="0">
                  <a:pos x="25" y="15"/>
                </a:cxn>
                <a:cxn ang="0">
                  <a:pos x="23" y="13"/>
                </a:cxn>
                <a:cxn ang="0">
                  <a:pos x="23" y="12"/>
                </a:cxn>
                <a:cxn ang="0">
                  <a:pos x="20" y="12"/>
                </a:cxn>
                <a:cxn ang="0">
                  <a:pos x="20" y="10"/>
                </a:cxn>
                <a:cxn ang="0">
                  <a:pos x="13" y="7"/>
                </a:cxn>
                <a:cxn ang="0">
                  <a:pos x="12" y="7"/>
                </a:cxn>
                <a:cxn ang="0">
                  <a:pos x="12" y="6"/>
                </a:cxn>
                <a:cxn ang="0">
                  <a:pos x="12" y="4"/>
                </a:cxn>
                <a:cxn ang="0">
                  <a:pos x="12" y="3"/>
                </a:cxn>
                <a:cxn ang="0">
                  <a:pos x="7" y="4"/>
                </a:cxn>
                <a:cxn ang="0">
                  <a:pos x="6" y="4"/>
                </a:cxn>
                <a:cxn ang="0">
                  <a:pos x="6" y="3"/>
                </a:cxn>
                <a:cxn ang="0">
                  <a:pos x="6" y="2"/>
                </a:cxn>
                <a:cxn ang="0">
                  <a:pos x="3" y="2"/>
                </a:cxn>
                <a:cxn ang="0">
                  <a:pos x="2" y="2"/>
                </a:cxn>
                <a:cxn ang="0">
                  <a:pos x="2" y="2"/>
                </a:cxn>
              </a:cxnLst>
              <a:rect l="0" t="0" r="r" b="b"/>
              <a:pathLst>
                <a:path w="34" h="22">
                  <a:moveTo>
                    <a:pt x="2" y="2"/>
                  </a:moveTo>
                  <a:lnTo>
                    <a:pt x="0" y="0"/>
                  </a:lnTo>
                  <a:lnTo>
                    <a:pt x="6" y="0"/>
                  </a:lnTo>
                  <a:lnTo>
                    <a:pt x="7" y="0"/>
                  </a:lnTo>
                  <a:lnTo>
                    <a:pt x="9" y="0"/>
                  </a:lnTo>
                  <a:lnTo>
                    <a:pt x="10" y="0"/>
                  </a:lnTo>
                  <a:lnTo>
                    <a:pt x="10" y="0"/>
                  </a:lnTo>
                  <a:lnTo>
                    <a:pt x="13" y="2"/>
                  </a:lnTo>
                  <a:lnTo>
                    <a:pt x="15" y="3"/>
                  </a:lnTo>
                  <a:lnTo>
                    <a:pt x="16" y="2"/>
                  </a:lnTo>
                  <a:lnTo>
                    <a:pt x="22" y="4"/>
                  </a:lnTo>
                  <a:lnTo>
                    <a:pt x="22" y="6"/>
                  </a:lnTo>
                  <a:lnTo>
                    <a:pt x="23" y="6"/>
                  </a:lnTo>
                  <a:lnTo>
                    <a:pt x="23" y="9"/>
                  </a:lnTo>
                  <a:lnTo>
                    <a:pt x="25" y="9"/>
                  </a:lnTo>
                  <a:lnTo>
                    <a:pt x="26" y="7"/>
                  </a:lnTo>
                  <a:lnTo>
                    <a:pt x="28" y="9"/>
                  </a:lnTo>
                  <a:lnTo>
                    <a:pt x="29" y="12"/>
                  </a:lnTo>
                  <a:lnTo>
                    <a:pt x="31" y="13"/>
                  </a:lnTo>
                  <a:lnTo>
                    <a:pt x="31" y="13"/>
                  </a:lnTo>
                  <a:lnTo>
                    <a:pt x="32" y="15"/>
                  </a:lnTo>
                  <a:lnTo>
                    <a:pt x="32" y="15"/>
                  </a:lnTo>
                  <a:lnTo>
                    <a:pt x="32" y="15"/>
                  </a:lnTo>
                  <a:lnTo>
                    <a:pt x="34" y="18"/>
                  </a:lnTo>
                  <a:lnTo>
                    <a:pt x="34" y="19"/>
                  </a:lnTo>
                  <a:lnTo>
                    <a:pt x="32" y="19"/>
                  </a:lnTo>
                  <a:lnTo>
                    <a:pt x="31" y="19"/>
                  </a:lnTo>
                  <a:lnTo>
                    <a:pt x="32" y="22"/>
                  </a:lnTo>
                  <a:lnTo>
                    <a:pt x="31" y="22"/>
                  </a:lnTo>
                  <a:lnTo>
                    <a:pt x="29" y="22"/>
                  </a:lnTo>
                  <a:lnTo>
                    <a:pt x="26" y="18"/>
                  </a:lnTo>
                  <a:lnTo>
                    <a:pt x="26" y="16"/>
                  </a:lnTo>
                  <a:lnTo>
                    <a:pt x="25" y="15"/>
                  </a:lnTo>
                  <a:lnTo>
                    <a:pt x="23" y="13"/>
                  </a:lnTo>
                  <a:lnTo>
                    <a:pt x="23" y="12"/>
                  </a:lnTo>
                  <a:lnTo>
                    <a:pt x="20" y="12"/>
                  </a:lnTo>
                  <a:lnTo>
                    <a:pt x="20" y="10"/>
                  </a:lnTo>
                  <a:lnTo>
                    <a:pt x="13" y="7"/>
                  </a:lnTo>
                  <a:lnTo>
                    <a:pt x="12" y="7"/>
                  </a:lnTo>
                  <a:lnTo>
                    <a:pt x="12" y="6"/>
                  </a:lnTo>
                  <a:lnTo>
                    <a:pt x="12" y="4"/>
                  </a:lnTo>
                  <a:lnTo>
                    <a:pt x="12" y="3"/>
                  </a:lnTo>
                  <a:lnTo>
                    <a:pt x="7" y="4"/>
                  </a:lnTo>
                  <a:lnTo>
                    <a:pt x="6" y="4"/>
                  </a:lnTo>
                  <a:lnTo>
                    <a:pt x="6" y="3"/>
                  </a:lnTo>
                  <a:lnTo>
                    <a:pt x="6" y="2"/>
                  </a:lnTo>
                  <a:lnTo>
                    <a:pt x="3" y="2"/>
                  </a:lnTo>
                  <a:lnTo>
                    <a:pt x="2" y="2"/>
                  </a:lnTo>
                  <a:lnTo>
                    <a:pt x="2"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21" name="Freeform 743"/>
            <p:cNvSpPr>
              <a:spLocks/>
            </p:cNvSpPr>
            <p:nvPr/>
          </p:nvSpPr>
          <p:spPr bwMode="auto">
            <a:xfrm>
              <a:off x="6306818" y="2705697"/>
              <a:ext cx="2634" cy="3043"/>
            </a:xfrm>
            <a:custGeom>
              <a:avLst/>
              <a:gdLst/>
              <a:ahLst/>
              <a:cxnLst>
                <a:cxn ang="0">
                  <a:pos x="0" y="1"/>
                </a:cxn>
                <a:cxn ang="0">
                  <a:pos x="0" y="0"/>
                </a:cxn>
                <a:cxn ang="0">
                  <a:pos x="1" y="1"/>
                </a:cxn>
                <a:cxn ang="0">
                  <a:pos x="1" y="3"/>
                </a:cxn>
                <a:cxn ang="0">
                  <a:pos x="3" y="3"/>
                </a:cxn>
                <a:cxn ang="0">
                  <a:pos x="3" y="3"/>
                </a:cxn>
                <a:cxn ang="0">
                  <a:pos x="1" y="3"/>
                </a:cxn>
                <a:cxn ang="0">
                  <a:pos x="0" y="1"/>
                </a:cxn>
                <a:cxn ang="0">
                  <a:pos x="0" y="1"/>
                </a:cxn>
              </a:cxnLst>
              <a:rect l="0" t="0" r="r" b="b"/>
              <a:pathLst>
                <a:path w="3" h="3">
                  <a:moveTo>
                    <a:pt x="0" y="1"/>
                  </a:moveTo>
                  <a:lnTo>
                    <a:pt x="0" y="0"/>
                  </a:lnTo>
                  <a:lnTo>
                    <a:pt x="1" y="1"/>
                  </a:lnTo>
                  <a:lnTo>
                    <a:pt x="1" y="3"/>
                  </a:lnTo>
                  <a:lnTo>
                    <a:pt x="3" y="3"/>
                  </a:lnTo>
                  <a:lnTo>
                    <a:pt x="3" y="3"/>
                  </a:lnTo>
                  <a:lnTo>
                    <a:pt x="1" y="3"/>
                  </a:lnTo>
                  <a:lnTo>
                    <a:pt x="0" y="1"/>
                  </a:lnTo>
                  <a:lnTo>
                    <a:pt x="0"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22" name="Freeform 744"/>
            <p:cNvSpPr>
              <a:spLocks/>
            </p:cNvSpPr>
            <p:nvPr/>
          </p:nvSpPr>
          <p:spPr bwMode="auto">
            <a:xfrm>
              <a:off x="6306818" y="2705697"/>
              <a:ext cx="2634" cy="3043"/>
            </a:xfrm>
            <a:custGeom>
              <a:avLst/>
              <a:gdLst/>
              <a:ahLst/>
              <a:cxnLst>
                <a:cxn ang="0">
                  <a:pos x="0" y="1"/>
                </a:cxn>
                <a:cxn ang="0">
                  <a:pos x="0" y="0"/>
                </a:cxn>
                <a:cxn ang="0">
                  <a:pos x="1" y="1"/>
                </a:cxn>
                <a:cxn ang="0">
                  <a:pos x="1" y="3"/>
                </a:cxn>
                <a:cxn ang="0">
                  <a:pos x="3" y="3"/>
                </a:cxn>
                <a:cxn ang="0">
                  <a:pos x="3" y="3"/>
                </a:cxn>
                <a:cxn ang="0">
                  <a:pos x="1" y="3"/>
                </a:cxn>
                <a:cxn ang="0">
                  <a:pos x="0" y="1"/>
                </a:cxn>
                <a:cxn ang="0">
                  <a:pos x="0" y="1"/>
                </a:cxn>
              </a:cxnLst>
              <a:rect l="0" t="0" r="r" b="b"/>
              <a:pathLst>
                <a:path w="3" h="3">
                  <a:moveTo>
                    <a:pt x="0" y="1"/>
                  </a:moveTo>
                  <a:lnTo>
                    <a:pt x="0" y="0"/>
                  </a:lnTo>
                  <a:lnTo>
                    <a:pt x="1" y="1"/>
                  </a:lnTo>
                  <a:lnTo>
                    <a:pt x="1" y="3"/>
                  </a:lnTo>
                  <a:lnTo>
                    <a:pt x="3" y="3"/>
                  </a:lnTo>
                  <a:lnTo>
                    <a:pt x="3" y="3"/>
                  </a:lnTo>
                  <a:lnTo>
                    <a:pt x="1" y="3"/>
                  </a:lnTo>
                  <a:lnTo>
                    <a:pt x="0" y="1"/>
                  </a:lnTo>
                  <a:lnTo>
                    <a:pt x="0"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23" name="Freeform 745"/>
            <p:cNvSpPr>
              <a:spLocks/>
            </p:cNvSpPr>
            <p:nvPr/>
          </p:nvSpPr>
          <p:spPr bwMode="auto">
            <a:xfrm>
              <a:off x="5896885" y="2762488"/>
              <a:ext cx="4389" cy="3043"/>
            </a:xfrm>
            <a:custGeom>
              <a:avLst/>
              <a:gdLst/>
              <a:ahLst/>
              <a:cxnLst>
                <a:cxn ang="0">
                  <a:pos x="4" y="0"/>
                </a:cxn>
                <a:cxn ang="0">
                  <a:pos x="4" y="0"/>
                </a:cxn>
                <a:cxn ang="0">
                  <a:pos x="3" y="0"/>
                </a:cxn>
                <a:cxn ang="0">
                  <a:pos x="0" y="0"/>
                </a:cxn>
                <a:cxn ang="0">
                  <a:pos x="0" y="1"/>
                </a:cxn>
                <a:cxn ang="0">
                  <a:pos x="1" y="3"/>
                </a:cxn>
                <a:cxn ang="0">
                  <a:pos x="4" y="3"/>
                </a:cxn>
                <a:cxn ang="0">
                  <a:pos x="5" y="3"/>
                </a:cxn>
                <a:cxn ang="0">
                  <a:pos x="5" y="0"/>
                </a:cxn>
                <a:cxn ang="0">
                  <a:pos x="4" y="0"/>
                </a:cxn>
              </a:cxnLst>
              <a:rect l="0" t="0" r="r" b="b"/>
              <a:pathLst>
                <a:path w="5" h="3">
                  <a:moveTo>
                    <a:pt x="4" y="0"/>
                  </a:moveTo>
                  <a:lnTo>
                    <a:pt x="4" y="0"/>
                  </a:lnTo>
                  <a:lnTo>
                    <a:pt x="3" y="0"/>
                  </a:lnTo>
                  <a:lnTo>
                    <a:pt x="0" y="0"/>
                  </a:lnTo>
                  <a:lnTo>
                    <a:pt x="0" y="1"/>
                  </a:lnTo>
                  <a:lnTo>
                    <a:pt x="1" y="3"/>
                  </a:lnTo>
                  <a:lnTo>
                    <a:pt x="4" y="3"/>
                  </a:lnTo>
                  <a:lnTo>
                    <a:pt x="5" y="3"/>
                  </a:lnTo>
                  <a:lnTo>
                    <a:pt x="5" y="0"/>
                  </a:lnTo>
                  <a:lnTo>
                    <a:pt x="4"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24" name="Freeform 746"/>
            <p:cNvSpPr>
              <a:spLocks/>
            </p:cNvSpPr>
            <p:nvPr/>
          </p:nvSpPr>
          <p:spPr bwMode="auto">
            <a:xfrm>
              <a:off x="5896885" y="2762488"/>
              <a:ext cx="4389" cy="3043"/>
            </a:xfrm>
            <a:custGeom>
              <a:avLst/>
              <a:gdLst/>
              <a:ahLst/>
              <a:cxnLst>
                <a:cxn ang="0">
                  <a:pos x="4" y="0"/>
                </a:cxn>
                <a:cxn ang="0">
                  <a:pos x="4" y="0"/>
                </a:cxn>
                <a:cxn ang="0">
                  <a:pos x="3" y="0"/>
                </a:cxn>
                <a:cxn ang="0">
                  <a:pos x="0" y="0"/>
                </a:cxn>
                <a:cxn ang="0">
                  <a:pos x="0" y="1"/>
                </a:cxn>
                <a:cxn ang="0">
                  <a:pos x="1" y="3"/>
                </a:cxn>
                <a:cxn ang="0">
                  <a:pos x="4" y="3"/>
                </a:cxn>
                <a:cxn ang="0">
                  <a:pos x="5" y="3"/>
                </a:cxn>
                <a:cxn ang="0">
                  <a:pos x="5" y="0"/>
                </a:cxn>
                <a:cxn ang="0">
                  <a:pos x="4" y="0"/>
                </a:cxn>
              </a:cxnLst>
              <a:rect l="0" t="0" r="r" b="b"/>
              <a:pathLst>
                <a:path w="5" h="3">
                  <a:moveTo>
                    <a:pt x="4" y="0"/>
                  </a:moveTo>
                  <a:lnTo>
                    <a:pt x="4" y="0"/>
                  </a:lnTo>
                  <a:lnTo>
                    <a:pt x="3" y="0"/>
                  </a:lnTo>
                  <a:lnTo>
                    <a:pt x="0" y="0"/>
                  </a:lnTo>
                  <a:lnTo>
                    <a:pt x="0" y="1"/>
                  </a:lnTo>
                  <a:lnTo>
                    <a:pt x="1" y="3"/>
                  </a:lnTo>
                  <a:lnTo>
                    <a:pt x="4" y="3"/>
                  </a:lnTo>
                  <a:lnTo>
                    <a:pt x="5" y="3"/>
                  </a:lnTo>
                  <a:lnTo>
                    <a:pt x="5" y="0"/>
                  </a:lnTo>
                  <a:lnTo>
                    <a:pt x="4"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25" name="Freeform 747"/>
            <p:cNvSpPr>
              <a:spLocks/>
            </p:cNvSpPr>
            <p:nvPr/>
          </p:nvSpPr>
          <p:spPr bwMode="auto">
            <a:xfrm>
              <a:off x="5905663" y="2756403"/>
              <a:ext cx="2633" cy="3043"/>
            </a:xfrm>
            <a:custGeom>
              <a:avLst/>
              <a:gdLst/>
              <a:ahLst/>
              <a:cxnLst>
                <a:cxn ang="0">
                  <a:pos x="3" y="0"/>
                </a:cxn>
                <a:cxn ang="0">
                  <a:pos x="1" y="2"/>
                </a:cxn>
                <a:cxn ang="0">
                  <a:pos x="0" y="3"/>
                </a:cxn>
                <a:cxn ang="0">
                  <a:pos x="1" y="3"/>
                </a:cxn>
                <a:cxn ang="0">
                  <a:pos x="3" y="0"/>
                </a:cxn>
              </a:cxnLst>
              <a:rect l="0" t="0" r="r" b="b"/>
              <a:pathLst>
                <a:path w="3" h="3">
                  <a:moveTo>
                    <a:pt x="3" y="0"/>
                  </a:moveTo>
                  <a:lnTo>
                    <a:pt x="1" y="2"/>
                  </a:lnTo>
                  <a:lnTo>
                    <a:pt x="0" y="3"/>
                  </a:lnTo>
                  <a:lnTo>
                    <a:pt x="1" y="3"/>
                  </a:lnTo>
                  <a:lnTo>
                    <a:pt x="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26" name="Freeform 748"/>
            <p:cNvSpPr>
              <a:spLocks/>
            </p:cNvSpPr>
            <p:nvPr/>
          </p:nvSpPr>
          <p:spPr bwMode="auto">
            <a:xfrm>
              <a:off x="5905663" y="2756403"/>
              <a:ext cx="2633" cy="3043"/>
            </a:xfrm>
            <a:custGeom>
              <a:avLst/>
              <a:gdLst/>
              <a:ahLst/>
              <a:cxnLst>
                <a:cxn ang="0">
                  <a:pos x="3" y="0"/>
                </a:cxn>
                <a:cxn ang="0">
                  <a:pos x="1" y="2"/>
                </a:cxn>
                <a:cxn ang="0">
                  <a:pos x="0" y="3"/>
                </a:cxn>
                <a:cxn ang="0">
                  <a:pos x="1" y="3"/>
                </a:cxn>
                <a:cxn ang="0">
                  <a:pos x="3" y="0"/>
                </a:cxn>
              </a:cxnLst>
              <a:rect l="0" t="0" r="r" b="b"/>
              <a:pathLst>
                <a:path w="3" h="3">
                  <a:moveTo>
                    <a:pt x="3" y="0"/>
                  </a:moveTo>
                  <a:lnTo>
                    <a:pt x="1" y="2"/>
                  </a:lnTo>
                  <a:lnTo>
                    <a:pt x="0" y="3"/>
                  </a:lnTo>
                  <a:lnTo>
                    <a:pt x="1" y="3"/>
                  </a:lnTo>
                  <a:lnTo>
                    <a:pt x="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27" name="Freeform 749"/>
            <p:cNvSpPr>
              <a:spLocks/>
            </p:cNvSpPr>
            <p:nvPr/>
          </p:nvSpPr>
          <p:spPr bwMode="auto">
            <a:xfrm>
              <a:off x="7016959" y="4099114"/>
              <a:ext cx="22823" cy="23326"/>
            </a:xfrm>
            <a:custGeom>
              <a:avLst/>
              <a:gdLst/>
              <a:ahLst/>
              <a:cxnLst>
                <a:cxn ang="0">
                  <a:pos x="16" y="12"/>
                </a:cxn>
                <a:cxn ang="0">
                  <a:pos x="16" y="13"/>
                </a:cxn>
                <a:cxn ang="0">
                  <a:pos x="12" y="15"/>
                </a:cxn>
                <a:cxn ang="0">
                  <a:pos x="10" y="12"/>
                </a:cxn>
                <a:cxn ang="0">
                  <a:pos x="12" y="10"/>
                </a:cxn>
                <a:cxn ang="0">
                  <a:pos x="13" y="9"/>
                </a:cxn>
                <a:cxn ang="0">
                  <a:pos x="13" y="7"/>
                </a:cxn>
                <a:cxn ang="0">
                  <a:pos x="10" y="7"/>
                </a:cxn>
                <a:cxn ang="0">
                  <a:pos x="5" y="9"/>
                </a:cxn>
                <a:cxn ang="0">
                  <a:pos x="5" y="6"/>
                </a:cxn>
                <a:cxn ang="0">
                  <a:pos x="6" y="4"/>
                </a:cxn>
                <a:cxn ang="0">
                  <a:pos x="5" y="3"/>
                </a:cxn>
                <a:cxn ang="0">
                  <a:pos x="2" y="0"/>
                </a:cxn>
                <a:cxn ang="0">
                  <a:pos x="0" y="4"/>
                </a:cxn>
                <a:cxn ang="0">
                  <a:pos x="0" y="9"/>
                </a:cxn>
                <a:cxn ang="0">
                  <a:pos x="16" y="12"/>
                </a:cxn>
                <a:cxn ang="0">
                  <a:pos x="5" y="15"/>
                </a:cxn>
                <a:cxn ang="0">
                  <a:pos x="6" y="15"/>
                </a:cxn>
                <a:cxn ang="0">
                  <a:pos x="3" y="20"/>
                </a:cxn>
                <a:cxn ang="0">
                  <a:pos x="3" y="22"/>
                </a:cxn>
                <a:cxn ang="0">
                  <a:pos x="7" y="19"/>
                </a:cxn>
                <a:cxn ang="0">
                  <a:pos x="10" y="22"/>
                </a:cxn>
                <a:cxn ang="0">
                  <a:pos x="13" y="19"/>
                </a:cxn>
                <a:cxn ang="0">
                  <a:pos x="15" y="20"/>
                </a:cxn>
                <a:cxn ang="0">
                  <a:pos x="19" y="23"/>
                </a:cxn>
                <a:cxn ang="0">
                  <a:pos x="21" y="20"/>
                </a:cxn>
                <a:cxn ang="0">
                  <a:pos x="21" y="19"/>
                </a:cxn>
                <a:cxn ang="0">
                  <a:pos x="18" y="20"/>
                </a:cxn>
                <a:cxn ang="0">
                  <a:pos x="16" y="16"/>
                </a:cxn>
                <a:cxn ang="0">
                  <a:pos x="22" y="17"/>
                </a:cxn>
                <a:cxn ang="0">
                  <a:pos x="25" y="10"/>
                </a:cxn>
                <a:cxn ang="0">
                  <a:pos x="21" y="9"/>
                </a:cxn>
                <a:cxn ang="0">
                  <a:pos x="21" y="10"/>
                </a:cxn>
              </a:cxnLst>
              <a:rect l="0" t="0" r="r" b="b"/>
              <a:pathLst>
                <a:path w="25" h="23">
                  <a:moveTo>
                    <a:pt x="16" y="12"/>
                  </a:moveTo>
                  <a:lnTo>
                    <a:pt x="16" y="12"/>
                  </a:lnTo>
                  <a:lnTo>
                    <a:pt x="16" y="13"/>
                  </a:lnTo>
                  <a:lnTo>
                    <a:pt x="16" y="13"/>
                  </a:lnTo>
                  <a:lnTo>
                    <a:pt x="13" y="15"/>
                  </a:lnTo>
                  <a:lnTo>
                    <a:pt x="12" y="15"/>
                  </a:lnTo>
                  <a:lnTo>
                    <a:pt x="12" y="13"/>
                  </a:lnTo>
                  <a:lnTo>
                    <a:pt x="10" y="12"/>
                  </a:lnTo>
                  <a:lnTo>
                    <a:pt x="9" y="10"/>
                  </a:lnTo>
                  <a:lnTo>
                    <a:pt x="12" y="10"/>
                  </a:lnTo>
                  <a:lnTo>
                    <a:pt x="13" y="10"/>
                  </a:lnTo>
                  <a:lnTo>
                    <a:pt x="13" y="9"/>
                  </a:lnTo>
                  <a:lnTo>
                    <a:pt x="13" y="9"/>
                  </a:lnTo>
                  <a:lnTo>
                    <a:pt x="13" y="7"/>
                  </a:lnTo>
                  <a:lnTo>
                    <a:pt x="12" y="6"/>
                  </a:lnTo>
                  <a:lnTo>
                    <a:pt x="10" y="7"/>
                  </a:lnTo>
                  <a:lnTo>
                    <a:pt x="7" y="9"/>
                  </a:lnTo>
                  <a:lnTo>
                    <a:pt x="5" y="9"/>
                  </a:lnTo>
                  <a:lnTo>
                    <a:pt x="3" y="9"/>
                  </a:lnTo>
                  <a:lnTo>
                    <a:pt x="5" y="6"/>
                  </a:lnTo>
                  <a:lnTo>
                    <a:pt x="5" y="6"/>
                  </a:lnTo>
                  <a:lnTo>
                    <a:pt x="6" y="4"/>
                  </a:lnTo>
                  <a:lnTo>
                    <a:pt x="6" y="3"/>
                  </a:lnTo>
                  <a:lnTo>
                    <a:pt x="5" y="3"/>
                  </a:lnTo>
                  <a:lnTo>
                    <a:pt x="5" y="0"/>
                  </a:lnTo>
                  <a:lnTo>
                    <a:pt x="2" y="0"/>
                  </a:lnTo>
                  <a:lnTo>
                    <a:pt x="2" y="1"/>
                  </a:lnTo>
                  <a:lnTo>
                    <a:pt x="0" y="4"/>
                  </a:lnTo>
                  <a:lnTo>
                    <a:pt x="2" y="6"/>
                  </a:lnTo>
                  <a:lnTo>
                    <a:pt x="0" y="9"/>
                  </a:lnTo>
                  <a:lnTo>
                    <a:pt x="2" y="10"/>
                  </a:lnTo>
                  <a:lnTo>
                    <a:pt x="16" y="12"/>
                  </a:lnTo>
                  <a:lnTo>
                    <a:pt x="3" y="15"/>
                  </a:lnTo>
                  <a:lnTo>
                    <a:pt x="5" y="15"/>
                  </a:lnTo>
                  <a:lnTo>
                    <a:pt x="6" y="12"/>
                  </a:lnTo>
                  <a:lnTo>
                    <a:pt x="6" y="15"/>
                  </a:lnTo>
                  <a:lnTo>
                    <a:pt x="5" y="15"/>
                  </a:lnTo>
                  <a:lnTo>
                    <a:pt x="3" y="20"/>
                  </a:lnTo>
                  <a:lnTo>
                    <a:pt x="5" y="22"/>
                  </a:lnTo>
                  <a:lnTo>
                    <a:pt x="3" y="22"/>
                  </a:lnTo>
                  <a:lnTo>
                    <a:pt x="6" y="20"/>
                  </a:lnTo>
                  <a:lnTo>
                    <a:pt x="7" y="19"/>
                  </a:lnTo>
                  <a:lnTo>
                    <a:pt x="10" y="19"/>
                  </a:lnTo>
                  <a:lnTo>
                    <a:pt x="10" y="22"/>
                  </a:lnTo>
                  <a:lnTo>
                    <a:pt x="13" y="22"/>
                  </a:lnTo>
                  <a:lnTo>
                    <a:pt x="13" y="19"/>
                  </a:lnTo>
                  <a:lnTo>
                    <a:pt x="13" y="19"/>
                  </a:lnTo>
                  <a:lnTo>
                    <a:pt x="15" y="20"/>
                  </a:lnTo>
                  <a:lnTo>
                    <a:pt x="16" y="22"/>
                  </a:lnTo>
                  <a:lnTo>
                    <a:pt x="19" y="23"/>
                  </a:lnTo>
                  <a:lnTo>
                    <a:pt x="22" y="22"/>
                  </a:lnTo>
                  <a:lnTo>
                    <a:pt x="21" y="20"/>
                  </a:lnTo>
                  <a:lnTo>
                    <a:pt x="22" y="20"/>
                  </a:lnTo>
                  <a:lnTo>
                    <a:pt x="21" y="19"/>
                  </a:lnTo>
                  <a:lnTo>
                    <a:pt x="19" y="19"/>
                  </a:lnTo>
                  <a:lnTo>
                    <a:pt x="18" y="20"/>
                  </a:lnTo>
                  <a:lnTo>
                    <a:pt x="16" y="19"/>
                  </a:lnTo>
                  <a:lnTo>
                    <a:pt x="16" y="16"/>
                  </a:lnTo>
                  <a:lnTo>
                    <a:pt x="21" y="15"/>
                  </a:lnTo>
                  <a:lnTo>
                    <a:pt x="22" y="17"/>
                  </a:lnTo>
                  <a:lnTo>
                    <a:pt x="23" y="16"/>
                  </a:lnTo>
                  <a:lnTo>
                    <a:pt x="25" y="10"/>
                  </a:lnTo>
                  <a:lnTo>
                    <a:pt x="25" y="9"/>
                  </a:lnTo>
                  <a:lnTo>
                    <a:pt x="21" y="9"/>
                  </a:lnTo>
                  <a:lnTo>
                    <a:pt x="21" y="12"/>
                  </a:lnTo>
                  <a:lnTo>
                    <a:pt x="21" y="10"/>
                  </a:lnTo>
                  <a:lnTo>
                    <a:pt x="16" y="1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28" name="Freeform 750"/>
            <p:cNvSpPr>
              <a:spLocks/>
            </p:cNvSpPr>
            <p:nvPr/>
          </p:nvSpPr>
          <p:spPr bwMode="auto">
            <a:xfrm>
              <a:off x="7016959" y="4099114"/>
              <a:ext cx="22823" cy="23326"/>
            </a:xfrm>
            <a:custGeom>
              <a:avLst/>
              <a:gdLst/>
              <a:ahLst/>
              <a:cxnLst>
                <a:cxn ang="0">
                  <a:pos x="16" y="12"/>
                </a:cxn>
                <a:cxn ang="0">
                  <a:pos x="16" y="13"/>
                </a:cxn>
                <a:cxn ang="0">
                  <a:pos x="12" y="15"/>
                </a:cxn>
                <a:cxn ang="0">
                  <a:pos x="10" y="12"/>
                </a:cxn>
                <a:cxn ang="0">
                  <a:pos x="12" y="10"/>
                </a:cxn>
                <a:cxn ang="0">
                  <a:pos x="13" y="9"/>
                </a:cxn>
                <a:cxn ang="0">
                  <a:pos x="13" y="7"/>
                </a:cxn>
                <a:cxn ang="0">
                  <a:pos x="10" y="7"/>
                </a:cxn>
                <a:cxn ang="0">
                  <a:pos x="5" y="9"/>
                </a:cxn>
                <a:cxn ang="0">
                  <a:pos x="5" y="6"/>
                </a:cxn>
                <a:cxn ang="0">
                  <a:pos x="6" y="4"/>
                </a:cxn>
                <a:cxn ang="0">
                  <a:pos x="5" y="3"/>
                </a:cxn>
                <a:cxn ang="0">
                  <a:pos x="2" y="0"/>
                </a:cxn>
                <a:cxn ang="0">
                  <a:pos x="0" y="4"/>
                </a:cxn>
                <a:cxn ang="0">
                  <a:pos x="0" y="9"/>
                </a:cxn>
                <a:cxn ang="0">
                  <a:pos x="16" y="12"/>
                </a:cxn>
                <a:cxn ang="0">
                  <a:pos x="5" y="15"/>
                </a:cxn>
                <a:cxn ang="0">
                  <a:pos x="6" y="15"/>
                </a:cxn>
                <a:cxn ang="0">
                  <a:pos x="3" y="20"/>
                </a:cxn>
                <a:cxn ang="0">
                  <a:pos x="3" y="22"/>
                </a:cxn>
                <a:cxn ang="0">
                  <a:pos x="7" y="19"/>
                </a:cxn>
                <a:cxn ang="0">
                  <a:pos x="10" y="22"/>
                </a:cxn>
                <a:cxn ang="0">
                  <a:pos x="13" y="19"/>
                </a:cxn>
                <a:cxn ang="0">
                  <a:pos x="15" y="20"/>
                </a:cxn>
                <a:cxn ang="0">
                  <a:pos x="19" y="23"/>
                </a:cxn>
                <a:cxn ang="0">
                  <a:pos x="21" y="20"/>
                </a:cxn>
                <a:cxn ang="0">
                  <a:pos x="21" y="19"/>
                </a:cxn>
                <a:cxn ang="0">
                  <a:pos x="18" y="20"/>
                </a:cxn>
                <a:cxn ang="0">
                  <a:pos x="16" y="16"/>
                </a:cxn>
                <a:cxn ang="0">
                  <a:pos x="22" y="17"/>
                </a:cxn>
                <a:cxn ang="0">
                  <a:pos x="25" y="10"/>
                </a:cxn>
                <a:cxn ang="0">
                  <a:pos x="21" y="9"/>
                </a:cxn>
                <a:cxn ang="0">
                  <a:pos x="21" y="10"/>
                </a:cxn>
              </a:cxnLst>
              <a:rect l="0" t="0" r="r" b="b"/>
              <a:pathLst>
                <a:path w="25" h="23">
                  <a:moveTo>
                    <a:pt x="16" y="12"/>
                  </a:moveTo>
                  <a:lnTo>
                    <a:pt x="16" y="12"/>
                  </a:lnTo>
                  <a:lnTo>
                    <a:pt x="16" y="13"/>
                  </a:lnTo>
                  <a:lnTo>
                    <a:pt x="16" y="13"/>
                  </a:lnTo>
                  <a:lnTo>
                    <a:pt x="13" y="15"/>
                  </a:lnTo>
                  <a:lnTo>
                    <a:pt x="12" y="15"/>
                  </a:lnTo>
                  <a:lnTo>
                    <a:pt x="12" y="13"/>
                  </a:lnTo>
                  <a:lnTo>
                    <a:pt x="10" y="12"/>
                  </a:lnTo>
                  <a:lnTo>
                    <a:pt x="9" y="10"/>
                  </a:lnTo>
                  <a:lnTo>
                    <a:pt x="12" y="10"/>
                  </a:lnTo>
                  <a:lnTo>
                    <a:pt x="13" y="10"/>
                  </a:lnTo>
                  <a:lnTo>
                    <a:pt x="13" y="9"/>
                  </a:lnTo>
                  <a:lnTo>
                    <a:pt x="13" y="9"/>
                  </a:lnTo>
                  <a:lnTo>
                    <a:pt x="13" y="7"/>
                  </a:lnTo>
                  <a:lnTo>
                    <a:pt x="12" y="6"/>
                  </a:lnTo>
                  <a:lnTo>
                    <a:pt x="10" y="7"/>
                  </a:lnTo>
                  <a:lnTo>
                    <a:pt x="7" y="9"/>
                  </a:lnTo>
                  <a:lnTo>
                    <a:pt x="5" y="9"/>
                  </a:lnTo>
                  <a:lnTo>
                    <a:pt x="3" y="9"/>
                  </a:lnTo>
                  <a:lnTo>
                    <a:pt x="5" y="6"/>
                  </a:lnTo>
                  <a:lnTo>
                    <a:pt x="5" y="6"/>
                  </a:lnTo>
                  <a:lnTo>
                    <a:pt x="6" y="4"/>
                  </a:lnTo>
                  <a:lnTo>
                    <a:pt x="6" y="3"/>
                  </a:lnTo>
                  <a:lnTo>
                    <a:pt x="5" y="3"/>
                  </a:lnTo>
                  <a:lnTo>
                    <a:pt x="5" y="0"/>
                  </a:lnTo>
                  <a:lnTo>
                    <a:pt x="2" y="0"/>
                  </a:lnTo>
                  <a:lnTo>
                    <a:pt x="2" y="1"/>
                  </a:lnTo>
                  <a:lnTo>
                    <a:pt x="0" y="4"/>
                  </a:lnTo>
                  <a:lnTo>
                    <a:pt x="2" y="6"/>
                  </a:lnTo>
                  <a:lnTo>
                    <a:pt x="0" y="9"/>
                  </a:lnTo>
                  <a:lnTo>
                    <a:pt x="2" y="10"/>
                  </a:lnTo>
                  <a:lnTo>
                    <a:pt x="16" y="12"/>
                  </a:lnTo>
                  <a:lnTo>
                    <a:pt x="3" y="15"/>
                  </a:lnTo>
                  <a:lnTo>
                    <a:pt x="5" y="15"/>
                  </a:lnTo>
                  <a:lnTo>
                    <a:pt x="6" y="12"/>
                  </a:lnTo>
                  <a:lnTo>
                    <a:pt x="6" y="15"/>
                  </a:lnTo>
                  <a:lnTo>
                    <a:pt x="5" y="15"/>
                  </a:lnTo>
                  <a:lnTo>
                    <a:pt x="3" y="20"/>
                  </a:lnTo>
                  <a:lnTo>
                    <a:pt x="5" y="22"/>
                  </a:lnTo>
                  <a:lnTo>
                    <a:pt x="3" y="22"/>
                  </a:lnTo>
                  <a:lnTo>
                    <a:pt x="6" y="20"/>
                  </a:lnTo>
                  <a:lnTo>
                    <a:pt x="7" y="19"/>
                  </a:lnTo>
                  <a:lnTo>
                    <a:pt x="10" y="19"/>
                  </a:lnTo>
                  <a:lnTo>
                    <a:pt x="10" y="22"/>
                  </a:lnTo>
                  <a:lnTo>
                    <a:pt x="13" y="22"/>
                  </a:lnTo>
                  <a:lnTo>
                    <a:pt x="13" y="19"/>
                  </a:lnTo>
                  <a:lnTo>
                    <a:pt x="13" y="19"/>
                  </a:lnTo>
                  <a:lnTo>
                    <a:pt x="15" y="20"/>
                  </a:lnTo>
                  <a:lnTo>
                    <a:pt x="16" y="22"/>
                  </a:lnTo>
                  <a:lnTo>
                    <a:pt x="19" y="23"/>
                  </a:lnTo>
                  <a:lnTo>
                    <a:pt x="22" y="22"/>
                  </a:lnTo>
                  <a:lnTo>
                    <a:pt x="21" y="20"/>
                  </a:lnTo>
                  <a:lnTo>
                    <a:pt x="22" y="20"/>
                  </a:lnTo>
                  <a:lnTo>
                    <a:pt x="21" y="19"/>
                  </a:lnTo>
                  <a:lnTo>
                    <a:pt x="19" y="19"/>
                  </a:lnTo>
                  <a:lnTo>
                    <a:pt x="18" y="20"/>
                  </a:lnTo>
                  <a:lnTo>
                    <a:pt x="16" y="19"/>
                  </a:lnTo>
                  <a:lnTo>
                    <a:pt x="16" y="16"/>
                  </a:lnTo>
                  <a:lnTo>
                    <a:pt x="21" y="15"/>
                  </a:lnTo>
                  <a:lnTo>
                    <a:pt x="22" y="17"/>
                  </a:lnTo>
                  <a:lnTo>
                    <a:pt x="23" y="16"/>
                  </a:lnTo>
                  <a:lnTo>
                    <a:pt x="25" y="10"/>
                  </a:lnTo>
                  <a:lnTo>
                    <a:pt x="25" y="9"/>
                  </a:lnTo>
                  <a:lnTo>
                    <a:pt x="21" y="9"/>
                  </a:lnTo>
                  <a:lnTo>
                    <a:pt x="21" y="12"/>
                  </a:lnTo>
                  <a:lnTo>
                    <a:pt x="21" y="10"/>
                  </a:lnTo>
                  <a:lnTo>
                    <a:pt x="16" y="1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29" name="Freeform 751"/>
            <p:cNvSpPr>
              <a:spLocks/>
            </p:cNvSpPr>
            <p:nvPr/>
          </p:nvSpPr>
          <p:spPr bwMode="auto">
            <a:xfrm>
              <a:off x="6776442" y="2873029"/>
              <a:ext cx="2633" cy="6085"/>
            </a:xfrm>
            <a:custGeom>
              <a:avLst/>
              <a:gdLst/>
              <a:ahLst/>
              <a:cxnLst>
                <a:cxn ang="0">
                  <a:pos x="3" y="1"/>
                </a:cxn>
                <a:cxn ang="0">
                  <a:pos x="0" y="0"/>
                </a:cxn>
                <a:cxn ang="0">
                  <a:pos x="2" y="6"/>
                </a:cxn>
                <a:cxn ang="0">
                  <a:pos x="2" y="4"/>
                </a:cxn>
                <a:cxn ang="0">
                  <a:pos x="3" y="1"/>
                </a:cxn>
              </a:cxnLst>
              <a:rect l="0" t="0" r="r" b="b"/>
              <a:pathLst>
                <a:path w="3" h="6">
                  <a:moveTo>
                    <a:pt x="3" y="1"/>
                  </a:moveTo>
                  <a:lnTo>
                    <a:pt x="0" y="0"/>
                  </a:lnTo>
                  <a:lnTo>
                    <a:pt x="2" y="6"/>
                  </a:lnTo>
                  <a:lnTo>
                    <a:pt x="2" y="4"/>
                  </a:lnTo>
                  <a:lnTo>
                    <a:pt x="3"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30" name="Freeform 752"/>
            <p:cNvSpPr>
              <a:spLocks/>
            </p:cNvSpPr>
            <p:nvPr/>
          </p:nvSpPr>
          <p:spPr bwMode="auto">
            <a:xfrm>
              <a:off x="6776442" y="2873029"/>
              <a:ext cx="2633" cy="6085"/>
            </a:xfrm>
            <a:custGeom>
              <a:avLst/>
              <a:gdLst/>
              <a:ahLst/>
              <a:cxnLst>
                <a:cxn ang="0">
                  <a:pos x="3" y="1"/>
                </a:cxn>
                <a:cxn ang="0">
                  <a:pos x="0" y="0"/>
                </a:cxn>
                <a:cxn ang="0">
                  <a:pos x="2" y="6"/>
                </a:cxn>
                <a:cxn ang="0">
                  <a:pos x="2" y="4"/>
                </a:cxn>
                <a:cxn ang="0">
                  <a:pos x="3" y="1"/>
                </a:cxn>
              </a:cxnLst>
              <a:rect l="0" t="0" r="r" b="b"/>
              <a:pathLst>
                <a:path w="3" h="6">
                  <a:moveTo>
                    <a:pt x="3" y="1"/>
                  </a:moveTo>
                  <a:lnTo>
                    <a:pt x="0" y="0"/>
                  </a:lnTo>
                  <a:lnTo>
                    <a:pt x="2" y="6"/>
                  </a:lnTo>
                  <a:lnTo>
                    <a:pt x="2" y="4"/>
                  </a:lnTo>
                  <a:lnTo>
                    <a:pt x="3"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31" name="Freeform 753"/>
            <p:cNvSpPr>
              <a:spLocks/>
            </p:cNvSpPr>
            <p:nvPr/>
          </p:nvSpPr>
          <p:spPr bwMode="auto">
            <a:xfrm>
              <a:off x="6837888" y="3590020"/>
              <a:ext cx="7900" cy="8113"/>
            </a:xfrm>
            <a:custGeom>
              <a:avLst/>
              <a:gdLst/>
              <a:ahLst/>
              <a:cxnLst>
                <a:cxn ang="0">
                  <a:pos x="0" y="1"/>
                </a:cxn>
                <a:cxn ang="0">
                  <a:pos x="0" y="1"/>
                </a:cxn>
                <a:cxn ang="0">
                  <a:pos x="5" y="0"/>
                </a:cxn>
                <a:cxn ang="0">
                  <a:pos x="7" y="1"/>
                </a:cxn>
                <a:cxn ang="0">
                  <a:pos x="9" y="3"/>
                </a:cxn>
                <a:cxn ang="0">
                  <a:pos x="9" y="7"/>
                </a:cxn>
                <a:cxn ang="0">
                  <a:pos x="6" y="7"/>
                </a:cxn>
                <a:cxn ang="0">
                  <a:pos x="3" y="6"/>
                </a:cxn>
                <a:cxn ang="0">
                  <a:pos x="2" y="3"/>
                </a:cxn>
                <a:cxn ang="0">
                  <a:pos x="0" y="1"/>
                </a:cxn>
              </a:cxnLst>
              <a:rect l="0" t="0" r="r" b="b"/>
              <a:pathLst>
                <a:path w="9" h="7">
                  <a:moveTo>
                    <a:pt x="0" y="1"/>
                  </a:moveTo>
                  <a:lnTo>
                    <a:pt x="0" y="1"/>
                  </a:lnTo>
                  <a:lnTo>
                    <a:pt x="5" y="0"/>
                  </a:lnTo>
                  <a:lnTo>
                    <a:pt x="7" y="1"/>
                  </a:lnTo>
                  <a:lnTo>
                    <a:pt x="9" y="3"/>
                  </a:lnTo>
                  <a:lnTo>
                    <a:pt x="9" y="7"/>
                  </a:lnTo>
                  <a:lnTo>
                    <a:pt x="6" y="7"/>
                  </a:lnTo>
                  <a:lnTo>
                    <a:pt x="3" y="6"/>
                  </a:lnTo>
                  <a:lnTo>
                    <a:pt x="2" y="3"/>
                  </a:lnTo>
                  <a:lnTo>
                    <a:pt x="0"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32" name="Freeform 754"/>
            <p:cNvSpPr>
              <a:spLocks/>
            </p:cNvSpPr>
            <p:nvPr/>
          </p:nvSpPr>
          <p:spPr bwMode="auto">
            <a:xfrm>
              <a:off x="6837888" y="3590020"/>
              <a:ext cx="7900" cy="8113"/>
            </a:xfrm>
            <a:custGeom>
              <a:avLst/>
              <a:gdLst/>
              <a:ahLst/>
              <a:cxnLst>
                <a:cxn ang="0">
                  <a:pos x="0" y="1"/>
                </a:cxn>
                <a:cxn ang="0">
                  <a:pos x="0" y="1"/>
                </a:cxn>
                <a:cxn ang="0">
                  <a:pos x="5" y="0"/>
                </a:cxn>
                <a:cxn ang="0">
                  <a:pos x="7" y="1"/>
                </a:cxn>
                <a:cxn ang="0">
                  <a:pos x="9" y="3"/>
                </a:cxn>
                <a:cxn ang="0">
                  <a:pos x="9" y="7"/>
                </a:cxn>
                <a:cxn ang="0">
                  <a:pos x="6" y="7"/>
                </a:cxn>
                <a:cxn ang="0">
                  <a:pos x="3" y="6"/>
                </a:cxn>
                <a:cxn ang="0">
                  <a:pos x="2" y="3"/>
                </a:cxn>
                <a:cxn ang="0">
                  <a:pos x="0" y="1"/>
                </a:cxn>
              </a:cxnLst>
              <a:rect l="0" t="0" r="r" b="b"/>
              <a:pathLst>
                <a:path w="9" h="7">
                  <a:moveTo>
                    <a:pt x="0" y="1"/>
                  </a:moveTo>
                  <a:lnTo>
                    <a:pt x="0" y="1"/>
                  </a:lnTo>
                  <a:lnTo>
                    <a:pt x="5" y="0"/>
                  </a:lnTo>
                  <a:lnTo>
                    <a:pt x="7" y="1"/>
                  </a:lnTo>
                  <a:lnTo>
                    <a:pt x="9" y="3"/>
                  </a:lnTo>
                  <a:lnTo>
                    <a:pt x="9" y="7"/>
                  </a:lnTo>
                  <a:lnTo>
                    <a:pt x="6" y="7"/>
                  </a:lnTo>
                  <a:lnTo>
                    <a:pt x="3" y="6"/>
                  </a:lnTo>
                  <a:lnTo>
                    <a:pt x="2" y="3"/>
                  </a:lnTo>
                  <a:lnTo>
                    <a:pt x="0"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33" name="Freeform 755"/>
            <p:cNvSpPr>
              <a:spLocks/>
            </p:cNvSpPr>
            <p:nvPr/>
          </p:nvSpPr>
          <p:spPr bwMode="auto">
            <a:xfrm>
              <a:off x="5245558" y="2533295"/>
              <a:ext cx="2633" cy="5071"/>
            </a:xfrm>
            <a:custGeom>
              <a:avLst/>
              <a:gdLst/>
              <a:ahLst/>
              <a:cxnLst>
                <a:cxn ang="0">
                  <a:pos x="1" y="0"/>
                </a:cxn>
                <a:cxn ang="0">
                  <a:pos x="1" y="2"/>
                </a:cxn>
                <a:cxn ang="0">
                  <a:pos x="0" y="5"/>
                </a:cxn>
                <a:cxn ang="0">
                  <a:pos x="1" y="3"/>
                </a:cxn>
                <a:cxn ang="0">
                  <a:pos x="3" y="3"/>
                </a:cxn>
                <a:cxn ang="0">
                  <a:pos x="3" y="0"/>
                </a:cxn>
                <a:cxn ang="0">
                  <a:pos x="1" y="0"/>
                </a:cxn>
              </a:cxnLst>
              <a:rect l="0" t="0" r="r" b="b"/>
              <a:pathLst>
                <a:path w="3" h="5">
                  <a:moveTo>
                    <a:pt x="1" y="0"/>
                  </a:moveTo>
                  <a:lnTo>
                    <a:pt x="1" y="2"/>
                  </a:lnTo>
                  <a:lnTo>
                    <a:pt x="0" y="5"/>
                  </a:lnTo>
                  <a:lnTo>
                    <a:pt x="1" y="3"/>
                  </a:lnTo>
                  <a:lnTo>
                    <a:pt x="3" y="3"/>
                  </a:lnTo>
                  <a:lnTo>
                    <a:pt x="3" y="0"/>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34" name="Freeform 756"/>
            <p:cNvSpPr>
              <a:spLocks/>
            </p:cNvSpPr>
            <p:nvPr/>
          </p:nvSpPr>
          <p:spPr bwMode="auto">
            <a:xfrm>
              <a:off x="5245558" y="2533295"/>
              <a:ext cx="2633" cy="5071"/>
            </a:xfrm>
            <a:custGeom>
              <a:avLst/>
              <a:gdLst/>
              <a:ahLst/>
              <a:cxnLst>
                <a:cxn ang="0">
                  <a:pos x="1" y="0"/>
                </a:cxn>
                <a:cxn ang="0">
                  <a:pos x="1" y="2"/>
                </a:cxn>
                <a:cxn ang="0">
                  <a:pos x="0" y="5"/>
                </a:cxn>
                <a:cxn ang="0">
                  <a:pos x="1" y="3"/>
                </a:cxn>
                <a:cxn ang="0">
                  <a:pos x="3" y="3"/>
                </a:cxn>
                <a:cxn ang="0">
                  <a:pos x="3" y="0"/>
                </a:cxn>
                <a:cxn ang="0">
                  <a:pos x="1" y="0"/>
                </a:cxn>
              </a:cxnLst>
              <a:rect l="0" t="0" r="r" b="b"/>
              <a:pathLst>
                <a:path w="3" h="5">
                  <a:moveTo>
                    <a:pt x="1" y="0"/>
                  </a:moveTo>
                  <a:lnTo>
                    <a:pt x="1" y="2"/>
                  </a:lnTo>
                  <a:lnTo>
                    <a:pt x="0" y="5"/>
                  </a:lnTo>
                  <a:lnTo>
                    <a:pt x="1" y="3"/>
                  </a:lnTo>
                  <a:lnTo>
                    <a:pt x="3" y="3"/>
                  </a:lnTo>
                  <a:lnTo>
                    <a:pt x="3" y="0"/>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35" name="Freeform 757"/>
            <p:cNvSpPr>
              <a:spLocks/>
            </p:cNvSpPr>
            <p:nvPr/>
          </p:nvSpPr>
          <p:spPr bwMode="auto">
            <a:xfrm>
              <a:off x="6229572" y="3083968"/>
              <a:ext cx="100069" cy="167331"/>
            </a:xfrm>
            <a:custGeom>
              <a:avLst/>
              <a:gdLst/>
              <a:ahLst/>
              <a:cxnLst>
                <a:cxn ang="0">
                  <a:pos x="17" y="153"/>
                </a:cxn>
                <a:cxn ang="0">
                  <a:pos x="20" y="137"/>
                </a:cxn>
                <a:cxn ang="0">
                  <a:pos x="17" y="133"/>
                </a:cxn>
                <a:cxn ang="0">
                  <a:pos x="16" y="130"/>
                </a:cxn>
                <a:cxn ang="0">
                  <a:pos x="17" y="128"/>
                </a:cxn>
                <a:cxn ang="0">
                  <a:pos x="16" y="125"/>
                </a:cxn>
                <a:cxn ang="0">
                  <a:pos x="14" y="127"/>
                </a:cxn>
                <a:cxn ang="0">
                  <a:pos x="7" y="125"/>
                </a:cxn>
                <a:cxn ang="0">
                  <a:pos x="3" y="118"/>
                </a:cxn>
                <a:cxn ang="0">
                  <a:pos x="0" y="118"/>
                </a:cxn>
                <a:cxn ang="0">
                  <a:pos x="0" y="117"/>
                </a:cxn>
                <a:cxn ang="0">
                  <a:pos x="1" y="112"/>
                </a:cxn>
                <a:cxn ang="0">
                  <a:pos x="5" y="101"/>
                </a:cxn>
                <a:cxn ang="0">
                  <a:pos x="14" y="91"/>
                </a:cxn>
                <a:cxn ang="0">
                  <a:pos x="29" y="85"/>
                </a:cxn>
                <a:cxn ang="0">
                  <a:pos x="33" y="88"/>
                </a:cxn>
                <a:cxn ang="0">
                  <a:pos x="35" y="89"/>
                </a:cxn>
                <a:cxn ang="0">
                  <a:pos x="40" y="92"/>
                </a:cxn>
                <a:cxn ang="0">
                  <a:pos x="53" y="63"/>
                </a:cxn>
                <a:cxn ang="0">
                  <a:pos x="61" y="59"/>
                </a:cxn>
                <a:cxn ang="0">
                  <a:pos x="74" y="22"/>
                </a:cxn>
                <a:cxn ang="0">
                  <a:pos x="80" y="19"/>
                </a:cxn>
                <a:cxn ang="0">
                  <a:pos x="84" y="8"/>
                </a:cxn>
                <a:cxn ang="0">
                  <a:pos x="82" y="6"/>
                </a:cxn>
                <a:cxn ang="0">
                  <a:pos x="80" y="5"/>
                </a:cxn>
                <a:cxn ang="0">
                  <a:pos x="82" y="0"/>
                </a:cxn>
                <a:cxn ang="0">
                  <a:pos x="88" y="2"/>
                </a:cxn>
                <a:cxn ang="0">
                  <a:pos x="91" y="12"/>
                </a:cxn>
                <a:cxn ang="0">
                  <a:pos x="95" y="37"/>
                </a:cxn>
                <a:cxn ang="0">
                  <a:pos x="97" y="41"/>
                </a:cxn>
                <a:cxn ang="0">
                  <a:pos x="87" y="40"/>
                </a:cxn>
                <a:cxn ang="0">
                  <a:pos x="81" y="41"/>
                </a:cxn>
                <a:cxn ang="0">
                  <a:pos x="80" y="47"/>
                </a:cxn>
                <a:cxn ang="0">
                  <a:pos x="82" y="54"/>
                </a:cxn>
                <a:cxn ang="0">
                  <a:pos x="90" y="57"/>
                </a:cxn>
                <a:cxn ang="0">
                  <a:pos x="97" y="77"/>
                </a:cxn>
                <a:cxn ang="0">
                  <a:pos x="85" y="99"/>
                </a:cxn>
                <a:cxn ang="0">
                  <a:pos x="87" y="107"/>
                </a:cxn>
                <a:cxn ang="0">
                  <a:pos x="100" y="137"/>
                </a:cxn>
                <a:cxn ang="0">
                  <a:pos x="109" y="143"/>
                </a:cxn>
                <a:cxn ang="0">
                  <a:pos x="109" y="157"/>
                </a:cxn>
                <a:cxn ang="0">
                  <a:pos x="106" y="160"/>
                </a:cxn>
                <a:cxn ang="0">
                  <a:pos x="97" y="156"/>
                </a:cxn>
                <a:cxn ang="0">
                  <a:pos x="87" y="152"/>
                </a:cxn>
              </a:cxnLst>
              <a:rect l="0" t="0" r="r" b="b"/>
              <a:pathLst>
                <a:path w="109" h="160">
                  <a:moveTo>
                    <a:pt x="68" y="152"/>
                  </a:moveTo>
                  <a:lnTo>
                    <a:pt x="17" y="153"/>
                  </a:lnTo>
                  <a:lnTo>
                    <a:pt x="20" y="138"/>
                  </a:lnTo>
                  <a:lnTo>
                    <a:pt x="20" y="137"/>
                  </a:lnTo>
                  <a:lnTo>
                    <a:pt x="17" y="134"/>
                  </a:lnTo>
                  <a:lnTo>
                    <a:pt x="17" y="133"/>
                  </a:lnTo>
                  <a:lnTo>
                    <a:pt x="16" y="131"/>
                  </a:lnTo>
                  <a:lnTo>
                    <a:pt x="16" y="130"/>
                  </a:lnTo>
                  <a:lnTo>
                    <a:pt x="16" y="130"/>
                  </a:lnTo>
                  <a:lnTo>
                    <a:pt x="17" y="128"/>
                  </a:lnTo>
                  <a:lnTo>
                    <a:pt x="17" y="127"/>
                  </a:lnTo>
                  <a:lnTo>
                    <a:pt x="16" y="125"/>
                  </a:lnTo>
                  <a:lnTo>
                    <a:pt x="14" y="125"/>
                  </a:lnTo>
                  <a:lnTo>
                    <a:pt x="14" y="127"/>
                  </a:lnTo>
                  <a:lnTo>
                    <a:pt x="13" y="127"/>
                  </a:lnTo>
                  <a:lnTo>
                    <a:pt x="7" y="125"/>
                  </a:lnTo>
                  <a:lnTo>
                    <a:pt x="4" y="118"/>
                  </a:lnTo>
                  <a:lnTo>
                    <a:pt x="3" y="118"/>
                  </a:lnTo>
                  <a:lnTo>
                    <a:pt x="1" y="120"/>
                  </a:lnTo>
                  <a:lnTo>
                    <a:pt x="0" y="118"/>
                  </a:lnTo>
                  <a:lnTo>
                    <a:pt x="0" y="117"/>
                  </a:lnTo>
                  <a:lnTo>
                    <a:pt x="0" y="117"/>
                  </a:lnTo>
                  <a:lnTo>
                    <a:pt x="0" y="114"/>
                  </a:lnTo>
                  <a:lnTo>
                    <a:pt x="1" y="112"/>
                  </a:lnTo>
                  <a:lnTo>
                    <a:pt x="4" y="108"/>
                  </a:lnTo>
                  <a:lnTo>
                    <a:pt x="5" y="101"/>
                  </a:lnTo>
                  <a:lnTo>
                    <a:pt x="11" y="91"/>
                  </a:lnTo>
                  <a:lnTo>
                    <a:pt x="14" y="91"/>
                  </a:lnTo>
                  <a:lnTo>
                    <a:pt x="16" y="86"/>
                  </a:lnTo>
                  <a:lnTo>
                    <a:pt x="29" y="85"/>
                  </a:lnTo>
                  <a:lnTo>
                    <a:pt x="32" y="88"/>
                  </a:lnTo>
                  <a:lnTo>
                    <a:pt x="33" y="88"/>
                  </a:lnTo>
                  <a:lnTo>
                    <a:pt x="33" y="89"/>
                  </a:lnTo>
                  <a:lnTo>
                    <a:pt x="35" y="89"/>
                  </a:lnTo>
                  <a:lnTo>
                    <a:pt x="36" y="91"/>
                  </a:lnTo>
                  <a:lnTo>
                    <a:pt x="40" y="92"/>
                  </a:lnTo>
                  <a:lnTo>
                    <a:pt x="42" y="91"/>
                  </a:lnTo>
                  <a:lnTo>
                    <a:pt x="53" y="63"/>
                  </a:lnTo>
                  <a:lnTo>
                    <a:pt x="56" y="60"/>
                  </a:lnTo>
                  <a:lnTo>
                    <a:pt x="61" y="59"/>
                  </a:lnTo>
                  <a:lnTo>
                    <a:pt x="69" y="28"/>
                  </a:lnTo>
                  <a:lnTo>
                    <a:pt x="74" y="22"/>
                  </a:lnTo>
                  <a:lnTo>
                    <a:pt x="80" y="21"/>
                  </a:lnTo>
                  <a:lnTo>
                    <a:pt x="80" y="19"/>
                  </a:lnTo>
                  <a:lnTo>
                    <a:pt x="84" y="16"/>
                  </a:lnTo>
                  <a:lnTo>
                    <a:pt x="84" y="8"/>
                  </a:lnTo>
                  <a:lnTo>
                    <a:pt x="84" y="6"/>
                  </a:lnTo>
                  <a:lnTo>
                    <a:pt x="82" y="6"/>
                  </a:lnTo>
                  <a:lnTo>
                    <a:pt x="80" y="5"/>
                  </a:lnTo>
                  <a:lnTo>
                    <a:pt x="80" y="5"/>
                  </a:lnTo>
                  <a:lnTo>
                    <a:pt x="81" y="5"/>
                  </a:lnTo>
                  <a:lnTo>
                    <a:pt x="82" y="0"/>
                  </a:lnTo>
                  <a:lnTo>
                    <a:pt x="87" y="0"/>
                  </a:lnTo>
                  <a:lnTo>
                    <a:pt x="88" y="2"/>
                  </a:lnTo>
                  <a:lnTo>
                    <a:pt x="90" y="9"/>
                  </a:lnTo>
                  <a:lnTo>
                    <a:pt x="91" y="12"/>
                  </a:lnTo>
                  <a:lnTo>
                    <a:pt x="90" y="27"/>
                  </a:lnTo>
                  <a:lnTo>
                    <a:pt x="95" y="37"/>
                  </a:lnTo>
                  <a:lnTo>
                    <a:pt x="97" y="41"/>
                  </a:lnTo>
                  <a:lnTo>
                    <a:pt x="97" y="41"/>
                  </a:lnTo>
                  <a:lnTo>
                    <a:pt x="95" y="41"/>
                  </a:lnTo>
                  <a:lnTo>
                    <a:pt x="87" y="40"/>
                  </a:lnTo>
                  <a:lnTo>
                    <a:pt x="82" y="41"/>
                  </a:lnTo>
                  <a:lnTo>
                    <a:pt x="81" y="41"/>
                  </a:lnTo>
                  <a:lnTo>
                    <a:pt x="80" y="43"/>
                  </a:lnTo>
                  <a:lnTo>
                    <a:pt x="80" y="47"/>
                  </a:lnTo>
                  <a:lnTo>
                    <a:pt x="80" y="50"/>
                  </a:lnTo>
                  <a:lnTo>
                    <a:pt x="82" y="54"/>
                  </a:lnTo>
                  <a:lnTo>
                    <a:pt x="84" y="56"/>
                  </a:lnTo>
                  <a:lnTo>
                    <a:pt x="90" y="57"/>
                  </a:lnTo>
                  <a:lnTo>
                    <a:pt x="91" y="57"/>
                  </a:lnTo>
                  <a:lnTo>
                    <a:pt x="97" y="77"/>
                  </a:lnTo>
                  <a:lnTo>
                    <a:pt x="98" y="77"/>
                  </a:lnTo>
                  <a:lnTo>
                    <a:pt x="85" y="99"/>
                  </a:lnTo>
                  <a:lnTo>
                    <a:pt x="85" y="102"/>
                  </a:lnTo>
                  <a:lnTo>
                    <a:pt x="87" y="107"/>
                  </a:lnTo>
                  <a:lnTo>
                    <a:pt x="87" y="115"/>
                  </a:lnTo>
                  <a:lnTo>
                    <a:pt x="100" y="137"/>
                  </a:lnTo>
                  <a:lnTo>
                    <a:pt x="106" y="143"/>
                  </a:lnTo>
                  <a:lnTo>
                    <a:pt x="109" y="143"/>
                  </a:lnTo>
                  <a:lnTo>
                    <a:pt x="107" y="146"/>
                  </a:lnTo>
                  <a:lnTo>
                    <a:pt x="109" y="157"/>
                  </a:lnTo>
                  <a:lnTo>
                    <a:pt x="107" y="159"/>
                  </a:lnTo>
                  <a:lnTo>
                    <a:pt x="106" y="160"/>
                  </a:lnTo>
                  <a:lnTo>
                    <a:pt x="100" y="154"/>
                  </a:lnTo>
                  <a:lnTo>
                    <a:pt x="97" y="156"/>
                  </a:lnTo>
                  <a:lnTo>
                    <a:pt x="90" y="154"/>
                  </a:lnTo>
                  <a:lnTo>
                    <a:pt x="87" y="152"/>
                  </a:lnTo>
                  <a:lnTo>
                    <a:pt x="68" y="152"/>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36" name="Freeform 759"/>
            <p:cNvSpPr>
              <a:spLocks/>
            </p:cNvSpPr>
            <p:nvPr/>
          </p:nvSpPr>
          <p:spPr bwMode="auto">
            <a:xfrm>
              <a:off x="7276789" y="2839562"/>
              <a:ext cx="43890" cy="27381"/>
            </a:xfrm>
            <a:custGeom>
              <a:avLst/>
              <a:gdLst/>
              <a:ahLst/>
              <a:cxnLst>
                <a:cxn ang="0">
                  <a:pos x="42" y="9"/>
                </a:cxn>
                <a:cxn ang="0">
                  <a:pos x="42" y="9"/>
                </a:cxn>
                <a:cxn ang="0">
                  <a:pos x="40" y="6"/>
                </a:cxn>
                <a:cxn ang="0">
                  <a:pos x="38" y="6"/>
                </a:cxn>
                <a:cxn ang="0">
                  <a:pos x="38" y="4"/>
                </a:cxn>
                <a:cxn ang="0">
                  <a:pos x="34" y="6"/>
                </a:cxn>
                <a:cxn ang="0">
                  <a:pos x="25" y="4"/>
                </a:cxn>
                <a:cxn ang="0">
                  <a:pos x="24" y="3"/>
                </a:cxn>
                <a:cxn ang="0">
                  <a:pos x="24" y="3"/>
                </a:cxn>
                <a:cxn ang="0">
                  <a:pos x="22" y="1"/>
                </a:cxn>
                <a:cxn ang="0">
                  <a:pos x="21" y="0"/>
                </a:cxn>
                <a:cxn ang="0">
                  <a:pos x="16" y="1"/>
                </a:cxn>
                <a:cxn ang="0">
                  <a:pos x="13" y="1"/>
                </a:cxn>
                <a:cxn ang="0">
                  <a:pos x="10" y="4"/>
                </a:cxn>
                <a:cxn ang="0">
                  <a:pos x="9" y="9"/>
                </a:cxn>
                <a:cxn ang="0">
                  <a:pos x="3" y="15"/>
                </a:cxn>
                <a:cxn ang="0">
                  <a:pos x="2" y="16"/>
                </a:cxn>
                <a:cxn ang="0">
                  <a:pos x="0" y="19"/>
                </a:cxn>
                <a:cxn ang="0">
                  <a:pos x="0" y="20"/>
                </a:cxn>
                <a:cxn ang="0">
                  <a:pos x="2" y="20"/>
                </a:cxn>
                <a:cxn ang="0">
                  <a:pos x="2" y="22"/>
                </a:cxn>
                <a:cxn ang="0">
                  <a:pos x="2" y="23"/>
                </a:cxn>
                <a:cxn ang="0">
                  <a:pos x="2" y="23"/>
                </a:cxn>
                <a:cxn ang="0">
                  <a:pos x="3" y="23"/>
                </a:cxn>
                <a:cxn ang="0">
                  <a:pos x="5" y="25"/>
                </a:cxn>
                <a:cxn ang="0">
                  <a:pos x="18" y="26"/>
                </a:cxn>
                <a:cxn ang="0">
                  <a:pos x="24" y="23"/>
                </a:cxn>
                <a:cxn ang="0">
                  <a:pos x="29" y="25"/>
                </a:cxn>
                <a:cxn ang="0">
                  <a:pos x="47" y="22"/>
                </a:cxn>
                <a:cxn ang="0">
                  <a:pos x="48" y="22"/>
                </a:cxn>
                <a:cxn ang="0">
                  <a:pos x="48" y="20"/>
                </a:cxn>
                <a:cxn ang="0">
                  <a:pos x="48" y="19"/>
                </a:cxn>
                <a:cxn ang="0">
                  <a:pos x="48" y="16"/>
                </a:cxn>
                <a:cxn ang="0">
                  <a:pos x="47" y="15"/>
                </a:cxn>
                <a:cxn ang="0">
                  <a:pos x="42" y="12"/>
                </a:cxn>
                <a:cxn ang="0">
                  <a:pos x="42" y="12"/>
                </a:cxn>
                <a:cxn ang="0">
                  <a:pos x="42" y="10"/>
                </a:cxn>
                <a:cxn ang="0">
                  <a:pos x="42" y="10"/>
                </a:cxn>
                <a:cxn ang="0">
                  <a:pos x="42" y="9"/>
                </a:cxn>
              </a:cxnLst>
              <a:rect l="0" t="0" r="r" b="b"/>
              <a:pathLst>
                <a:path w="48" h="26">
                  <a:moveTo>
                    <a:pt x="42" y="9"/>
                  </a:moveTo>
                  <a:lnTo>
                    <a:pt x="42" y="9"/>
                  </a:lnTo>
                  <a:lnTo>
                    <a:pt x="40" y="6"/>
                  </a:lnTo>
                  <a:lnTo>
                    <a:pt x="38" y="6"/>
                  </a:lnTo>
                  <a:lnTo>
                    <a:pt x="38" y="4"/>
                  </a:lnTo>
                  <a:lnTo>
                    <a:pt x="34" y="6"/>
                  </a:lnTo>
                  <a:lnTo>
                    <a:pt x="25" y="4"/>
                  </a:lnTo>
                  <a:lnTo>
                    <a:pt x="24" y="3"/>
                  </a:lnTo>
                  <a:lnTo>
                    <a:pt x="24" y="3"/>
                  </a:lnTo>
                  <a:lnTo>
                    <a:pt x="22" y="1"/>
                  </a:lnTo>
                  <a:lnTo>
                    <a:pt x="21" y="0"/>
                  </a:lnTo>
                  <a:lnTo>
                    <a:pt x="16" y="1"/>
                  </a:lnTo>
                  <a:lnTo>
                    <a:pt x="13" y="1"/>
                  </a:lnTo>
                  <a:lnTo>
                    <a:pt x="10" y="4"/>
                  </a:lnTo>
                  <a:lnTo>
                    <a:pt x="9" y="9"/>
                  </a:lnTo>
                  <a:lnTo>
                    <a:pt x="3" y="15"/>
                  </a:lnTo>
                  <a:lnTo>
                    <a:pt x="2" y="16"/>
                  </a:lnTo>
                  <a:lnTo>
                    <a:pt x="0" y="19"/>
                  </a:lnTo>
                  <a:lnTo>
                    <a:pt x="0" y="20"/>
                  </a:lnTo>
                  <a:lnTo>
                    <a:pt x="2" y="20"/>
                  </a:lnTo>
                  <a:lnTo>
                    <a:pt x="2" y="22"/>
                  </a:lnTo>
                  <a:lnTo>
                    <a:pt x="2" y="23"/>
                  </a:lnTo>
                  <a:lnTo>
                    <a:pt x="2" y="23"/>
                  </a:lnTo>
                  <a:lnTo>
                    <a:pt x="3" y="23"/>
                  </a:lnTo>
                  <a:lnTo>
                    <a:pt x="5" y="25"/>
                  </a:lnTo>
                  <a:lnTo>
                    <a:pt x="18" y="26"/>
                  </a:lnTo>
                  <a:lnTo>
                    <a:pt x="24" y="23"/>
                  </a:lnTo>
                  <a:lnTo>
                    <a:pt x="29" y="25"/>
                  </a:lnTo>
                  <a:lnTo>
                    <a:pt x="47" y="22"/>
                  </a:lnTo>
                  <a:lnTo>
                    <a:pt x="48" y="22"/>
                  </a:lnTo>
                  <a:lnTo>
                    <a:pt x="48" y="20"/>
                  </a:lnTo>
                  <a:lnTo>
                    <a:pt x="48" y="19"/>
                  </a:lnTo>
                  <a:lnTo>
                    <a:pt x="48" y="16"/>
                  </a:lnTo>
                  <a:lnTo>
                    <a:pt x="47" y="15"/>
                  </a:lnTo>
                  <a:lnTo>
                    <a:pt x="42" y="12"/>
                  </a:lnTo>
                  <a:lnTo>
                    <a:pt x="42" y="12"/>
                  </a:lnTo>
                  <a:lnTo>
                    <a:pt x="42" y="10"/>
                  </a:lnTo>
                  <a:lnTo>
                    <a:pt x="42" y="10"/>
                  </a:lnTo>
                  <a:lnTo>
                    <a:pt x="42" y="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37" name="Freeform 760"/>
            <p:cNvSpPr>
              <a:spLocks/>
            </p:cNvSpPr>
            <p:nvPr/>
          </p:nvSpPr>
          <p:spPr bwMode="auto">
            <a:xfrm>
              <a:off x="7276789" y="2839562"/>
              <a:ext cx="43890" cy="27381"/>
            </a:xfrm>
            <a:custGeom>
              <a:avLst/>
              <a:gdLst/>
              <a:ahLst/>
              <a:cxnLst>
                <a:cxn ang="0">
                  <a:pos x="42" y="9"/>
                </a:cxn>
                <a:cxn ang="0">
                  <a:pos x="42" y="9"/>
                </a:cxn>
                <a:cxn ang="0">
                  <a:pos x="40" y="6"/>
                </a:cxn>
                <a:cxn ang="0">
                  <a:pos x="38" y="6"/>
                </a:cxn>
                <a:cxn ang="0">
                  <a:pos x="38" y="4"/>
                </a:cxn>
                <a:cxn ang="0">
                  <a:pos x="34" y="6"/>
                </a:cxn>
                <a:cxn ang="0">
                  <a:pos x="25" y="4"/>
                </a:cxn>
                <a:cxn ang="0">
                  <a:pos x="24" y="3"/>
                </a:cxn>
                <a:cxn ang="0">
                  <a:pos x="24" y="3"/>
                </a:cxn>
                <a:cxn ang="0">
                  <a:pos x="22" y="1"/>
                </a:cxn>
                <a:cxn ang="0">
                  <a:pos x="21" y="0"/>
                </a:cxn>
                <a:cxn ang="0">
                  <a:pos x="16" y="1"/>
                </a:cxn>
                <a:cxn ang="0">
                  <a:pos x="13" y="1"/>
                </a:cxn>
                <a:cxn ang="0">
                  <a:pos x="10" y="4"/>
                </a:cxn>
                <a:cxn ang="0">
                  <a:pos x="9" y="9"/>
                </a:cxn>
                <a:cxn ang="0">
                  <a:pos x="3" y="15"/>
                </a:cxn>
                <a:cxn ang="0">
                  <a:pos x="2" y="16"/>
                </a:cxn>
                <a:cxn ang="0">
                  <a:pos x="0" y="19"/>
                </a:cxn>
                <a:cxn ang="0">
                  <a:pos x="0" y="20"/>
                </a:cxn>
                <a:cxn ang="0">
                  <a:pos x="2" y="20"/>
                </a:cxn>
                <a:cxn ang="0">
                  <a:pos x="2" y="22"/>
                </a:cxn>
                <a:cxn ang="0">
                  <a:pos x="2" y="23"/>
                </a:cxn>
                <a:cxn ang="0">
                  <a:pos x="2" y="23"/>
                </a:cxn>
                <a:cxn ang="0">
                  <a:pos x="3" y="23"/>
                </a:cxn>
                <a:cxn ang="0">
                  <a:pos x="5" y="25"/>
                </a:cxn>
                <a:cxn ang="0">
                  <a:pos x="18" y="26"/>
                </a:cxn>
                <a:cxn ang="0">
                  <a:pos x="24" y="23"/>
                </a:cxn>
                <a:cxn ang="0">
                  <a:pos x="29" y="25"/>
                </a:cxn>
                <a:cxn ang="0">
                  <a:pos x="47" y="22"/>
                </a:cxn>
                <a:cxn ang="0">
                  <a:pos x="48" y="22"/>
                </a:cxn>
                <a:cxn ang="0">
                  <a:pos x="48" y="20"/>
                </a:cxn>
                <a:cxn ang="0">
                  <a:pos x="48" y="19"/>
                </a:cxn>
                <a:cxn ang="0">
                  <a:pos x="48" y="16"/>
                </a:cxn>
                <a:cxn ang="0">
                  <a:pos x="47" y="15"/>
                </a:cxn>
                <a:cxn ang="0">
                  <a:pos x="42" y="12"/>
                </a:cxn>
                <a:cxn ang="0">
                  <a:pos x="42" y="12"/>
                </a:cxn>
                <a:cxn ang="0">
                  <a:pos x="42" y="10"/>
                </a:cxn>
                <a:cxn ang="0">
                  <a:pos x="42" y="10"/>
                </a:cxn>
                <a:cxn ang="0">
                  <a:pos x="42" y="9"/>
                </a:cxn>
              </a:cxnLst>
              <a:rect l="0" t="0" r="r" b="b"/>
              <a:pathLst>
                <a:path w="48" h="26">
                  <a:moveTo>
                    <a:pt x="42" y="9"/>
                  </a:moveTo>
                  <a:lnTo>
                    <a:pt x="42" y="9"/>
                  </a:lnTo>
                  <a:lnTo>
                    <a:pt x="40" y="6"/>
                  </a:lnTo>
                  <a:lnTo>
                    <a:pt x="38" y="6"/>
                  </a:lnTo>
                  <a:lnTo>
                    <a:pt x="38" y="4"/>
                  </a:lnTo>
                  <a:lnTo>
                    <a:pt x="34" y="6"/>
                  </a:lnTo>
                  <a:lnTo>
                    <a:pt x="25" y="4"/>
                  </a:lnTo>
                  <a:lnTo>
                    <a:pt x="24" y="3"/>
                  </a:lnTo>
                  <a:lnTo>
                    <a:pt x="24" y="3"/>
                  </a:lnTo>
                  <a:lnTo>
                    <a:pt x="22" y="1"/>
                  </a:lnTo>
                  <a:lnTo>
                    <a:pt x="21" y="0"/>
                  </a:lnTo>
                  <a:lnTo>
                    <a:pt x="16" y="1"/>
                  </a:lnTo>
                  <a:lnTo>
                    <a:pt x="13" y="1"/>
                  </a:lnTo>
                  <a:lnTo>
                    <a:pt x="10" y="4"/>
                  </a:lnTo>
                  <a:lnTo>
                    <a:pt x="9" y="9"/>
                  </a:lnTo>
                  <a:lnTo>
                    <a:pt x="3" y="15"/>
                  </a:lnTo>
                  <a:lnTo>
                    <a:pt x="2" y="16"/>
                  </a:lnTo>
                  <a:lnTo>
                    <a:pt x="0" y="19"/>
                  </a:lnTo>
                  <a:lnTo>
                    <a:pt x="0" y="20"/>
                  </a:lnTo>
                  <a:lnTo>
                    <a:pt x="2" y="20"/>
                  </a:lnTo>
                  <a:lnTo>
                    <a:pt x="2" y="22"/>
                  </a:lnTo>
                  <a:lnTo>
                    <a:pt x="2" y="23"/>
                  </a:lnTo>
                  <a:lnTo>
                    <a:pt x="2" y="23"/>
                  </a:lnTo>
                  <a:lnTo>
                    <a:pt x="3" y="23"/>
                  </a:lnTo>
                  <a:lnTo>
                    <a:pt x="5" y="25"/>
                  </a:lnTo>
                  <a:lnTo>
                    <a:pt x="18" y="26"/>
                  </a:lnTo>
                  <a:lnTo>
                    <a:pt x="24" y="23"/>
                  </a:lnTo>
                  <a:lnTo>
                    <a:pt x="29" y="25"/>
                  </a:lnTo>
                  <a:lnTo>
                    <a:pt x="47" y="22"/>
                  </a:lnTo>
                  <a:lnTo>
                    <a:pt x="48" y="22"/>
                  </a:lnTo>
                  <a:lnTo>
                    <a:pt x="48" y="20"/>
                  </a:lnTo>
                  <a:lnTo>
                    <a:pt x="48" y="19"/>
                  </a:lnTo>
                  <a:lnTo>
                    <a:pt x="48" y="16"/>
                  </a:lnTo>
                  <a:lnTo>
                    <a:pt x="47" y="15"/>
                  </a:lnTo>
                  <a:lnTo>
                    <a:pt x="42" y="12"/>
                  </a:lnTo>
                  <a:lnTo>
                    <a:pt x="42" y="12"/>
                  </a:lnTo>
                  <a:lnTo>
                    <a:pt x="42" y="10"/>
                  </a:lnTo>
                  <a:lnTo>
                    <a:pt x="42" y="10"/>
                  </a:lnTo>
                  <a:lnTo>
                    <a:pt x="42" y="9"/>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38" name="Freeform 761"/>
            <p:cNvSpPr>
              <a:spLocks/>
            </p:cNvSpPr>
            <p:nvPr/>
          </p:nvSpPr>
          <p:spPr bwMode="auto">
            <a:xfrm>
              <a:off x="6359486" y="2502871"/>
              <a:ext cx="57057" cy="90258"/>
            </a:xfrm>
            <a:custGeom>
              <a:avLst/>
              <a:gdLst/>
              <a:ahLst/>
              <a:cxnLst>
                <a:cxn ang="0">
                  <a:pos x="6" y="9"/>
                </a:cxn>
                <a:cxn ang="0">
                  <a:pos x="6" y="11"/>
                </a:cxn>
                <a:cxn ang="0">
                  <a:pos x="6" y="14"/>
                </a:cxn>
                <a:cxn ang="0">
                  <a:pos x="9" y="14"/>
                </a:cxn>
                <a:cxn ang="0">
                  <a:pos x="7" y="14"/>
                </a:cxn>
                <a:cxn ang="0">
                  <a:pos x="7" y="16"/>
                </a:cxn>
                <a:cxn ang="0">
                  <a:pos x="10" y="18"/>
                </a:cxn>
                <a:cxn ang="0">
                  <a:pos x="13" y="18"/>
                </a:cxn>
                <a:cxn ang="0">
                  <a:pos x="13" y="19"/>
                </a:cxn>
                <a:cxn ang="0">
                  <a:pos x="10" y="21"/>
                </a:cxn>
                <a:cxn ang="0">
                  <a:pos x="10" y="24"/>
                </a:cxn>
                <a:cxn ang="0">
                  <a:pos x="13" y="27"/>
                </a:cxn>
                <a:cxn ang="0">
                  <a:pos x="10" y="34"/>
                </a:cxn>
                <a:cxn ang="0">
                  <a:pos x="10" y="35"/>
                </a:cxn>
                <a:cxn ang="0">
                  <a:pos x="10" y="38"/>
                </a:cxn>
                <a:cxn ang="0">
                  <a:pos x="13" y="40"/>
                </a:cxn>
                <a:cxn ang="0">
                  <a:pos x="14" y="41"/>
                </a:cxn>
                <a:cxn ang="0">
                  <a:pos x="17" y="43"/>
                </a:cxn>
                <a:cxn ang="0">
                  <a:pos x="13" y="44"/>
                </a:cxn>
                <a:cxn ang="0">
                  <a:pos x="12" y="44"/>
                </a:cxn>
                <a:cxn ang="0">
                  <a:pos x="14" y="51"/>
                </a:cxn>
                <a:cxn ang="0">
                  <a:pos x="13" y="51"/>
                </a:cxn>
                <a:cxn ang="0">
                  <a:pos x="10" y="53"/>
                </a:cxn>
                <a:cxn ang="0">
                  <a:pos x="9" y="53"/>
                </a:cxn>
                <a:cxn ang="0">
                  <a:pos x="7" y="54"/>
                </a:cxn>
                <a:cxn ang="0">
                  <a:pos x="9" y="57"/>
                </a:cxn>
                <a:cxn ang="0">
                  <a:pos x="9" y="59"/>
                </a:cxn>
                <a:cxn ang="0">
                  <a:pos x="7" y="57"/>
                </a:cxn>
                <a:cxn ang="0">
                  <a:pos x="3" y="60"/>
                </a:cxn>
                <a:cxn ang="0">
                  <a:pos x="1" y="63"/>
                </a:cxn>
                <a:cxn ang="0">
                  <a:pos x="0" y="66"/>
                </a:cxn>
                <a:cxn ang="0">
                  <a:pos x="0" y="69"/>
                </a:cxn>
                <a:cxn ang="0">
                  <a:pos x="0" y="73"/>
                </a:cxn>
                <a:cxn ang="0">
                  <a:pos x="10" y="85"/>
                </a:cxn>
                <a:cxn ang="0">
                  <a:pos x="13" y="79"/>
                </a:cxn>
                <a:cxn ang="0">
                  <a:pos x="17" y="72"/>
                </a:cxn>
                <a:cxn ang="0">
                  <a:pos x="25" y="77"/>
                </a:cxn>
                <a:cxn ang="0">
                  <a:pos x="32" y="83"/>
                </a:cxn>
                <a:cxn ang="0">
                  <a:pos x="33" y="80"/>
                </a:cxn>
                <a:cxn ang="0">
                  <a:pos x="41" y="80"/>
                </a:cxn>
                <a:cxn ang="0">
                  <a:pos x="44" y="77"/>
                </a:cxn>
                <a:cxn ang="0">
                  <a:pos x="52" y="79"/>
                </a:cxn>
                <a:cxn ang="0">
                  <a:pos x="57" y="73"/>
                </a:cxn>
                <a:cxn ang="0">
                  <a:pos x="57" y="54"/>
                </a:cxn>
                <a:cxn ang="0">
                  <a:pos x="58" y="41"/>
                </a:cxn>
                <a:cxn ang="0">
                  <a:pos x="57" y="31"/>
                </a:cxn>
                <a:cxn ang="0">
                  <a:pos x="44" y="28"/>
                </a:cxn>
                <a:cxn ang="0">
                  <a:pos x="38" y="19"/>
                </a:cxn>
                <a:cxn ang="0">
                  <a:pos x="29" y="5"/>
                </a:cxn>
                <a:cxn ang="0">
                  <a:pos x="20" y="2"/>
                </a:cxn>
                <a:cxn ang="0">
                  <a:pos x="9" y="5"/>
                </a:cxn>
              </a:cxnLst>
              <a:rect l="0" t="0" r="r" b="b"/>
              <a:pathLst>
                <a:path w="62" h="86">
                  <a:moveTo>
                    <a:pt x="3" y="6"/>
                  </a:moveTo>
                  <a:lnTo>
                    <a:pt x="6" y="8"/>
                  </a:lnTo>
                  <a:lnTo>
                    <a:pt x="6" y="9"/>
                  </a:lnTo>
                  <a:lnTo>
                    <a:pt x="6" y="9"/>
                  </a:lnTo>
                  <a:lnTo>
                    <a:pt x="6" y="11"/>
                  </a:lnTo>
                  <a:lnTo>
                    <a:pt x="6" y="11"/>
                  </a:lnTo>
                  <a:lnTo>
                    <a:pt x="6" y="12"/>
                  </a:lnTo>
                  <a:lnTo>
                    <a:pt x="6" y="12"/>
                  </a:lnTo>
                  <a:lnTo>
                    <a:pt x="6" y="14"/>
                  </a:lnTo>
                  <a:lnTo>
                    <a:pt x="7" y="12"/>
                  </a:lnTo>
                  <a:lnTo>
                    <a:pt x="7" y="12"/>
                  </a:lnTo>
                  <a:lnTo>
                    <a:pt x="9" y="14"/>
                  </a:lnTo>
                  <a:lnTo>
                    <a:pt x="9" y="14"/>
                  </a:lnTo>
                  <a:lnTo>
                    <a:pt x="7" y="14"/>
                  </a:lnTo>
                  <a:lnTo>
                    <a:pt x="7" y="14"/>
                  </a:lnTo>
                  <a:lnTo>
                    <a:pt x="7" y="15"/>
                  </a:lnTo>
                  <a:lnTo>
                    <a:pt x="7" y="15"/>
                  </a:lnTo>
                  <a:lnTo>
                    <a:pt x="7" y="16"/>
                  </a:lnTo>
                  <a:lnTo>
                    <a:pt x="7" y="16"/>
                  </a:lnTo>
                  <a:lnTo>
                    <a:pt x="9" y="16"/>
                  </a:lnTo>
                  <a:lnTo>
                    <a:pt x="10" y="18"/>
                  </a:lnTo>
                  <a:lnTo>
                    <a:pt x="10" y="18"/>
                  </a:lnTo>
                  <a:lnTo>
                    <a:pt x="12" y="18"/>
                  </a:lnTo>
                  <a:lnTo>
                    <a:pt x="13" y="18"/>
                  </a:lnTo>
                  <a:lnTo>
                    <a:pt x="13" y="19"/>
                  </a:lnTo>
                  <a:lnTo>
                    <a:pt x="13" y="19"/>
                  </a:lnTo>
                  <a:lnTo>
                    <a:pt x="13" y="19"/>
                  </a:lnTo>
                  <a:lnTo>
                    <a:pt x="10" y="19"/>
                  </a:lnTo>
                  <a:lnTo>
                    <a:pt x="10" y="19"/>
                  </a:lnTo>
                  <a:lnTo>
                    <a:pt x="10" y="21"/>
                  </a:lnTo>
                  <a:lnTo>
                    <a:pt x="9" y="21"/>
                  </a:lnTo>
                  <a:lnTo>
                    <a:pt x="9" y="24"/>
                  </a:lnTo>
                  <a:lnTo>
                    <a:pt x="10" y="24"/>
                  </a:lnTo>
                  <a:lnTo>
                    <a:pt x="10" y="25"/>
                  </a:lnTo>
                  <a:lnTo>
                    <a:pt x="13" y="25"/>
                  </a:lnTo>
                  <a:lnTo>
                    <a:pt x="13" y="27"/>
                  </a:lnTo>
                  <a:lnTo>
                    <a:pt x="13" y="28"/>
                  </a:lnTo>
                  <a:lnTo>
                    <a:pt x="13" y="28"/>
                  </a:lnTo>
                  <a:lnTo>
                    <a:pt x="10" y="34"/>
                  </a:lnTo>
                  <a:lnTo>
                    <a:pt x="10" y="34"/>
                  </a:lnTo>
                  <a:lnTo>
                    <a:pt x="10" y="34"/>
                  </a:lnTo>
                  <a:lnTo>
                    <a:pt x="10" y="35"/>
                  </a:lnTo>
                  <a:lnTo>
                    <a:pt x="9" y="37"/>
                  </a:lnTo>
                  <a:lnTo>
                    <a:pt x="10" y="38"/>
                  </a:lnTo>
                  <a:lnTo>
                    <a:pt x="10" y="38"/>
                  </a:lnTo>
                  <a:lnTo>
                    <a:pt x="12" y="38"/>
                  </a:lnTo>
                  <a:lnTo>
                    <a:pt x="12" y="38"/>
                  </a:lnTo>
                  <a:lnTo>
                    <a:pt x="13" y="40"/>
                  </a:lnTo>
                  <a:lnTo>
                    <a:pt x="14" y="41"/>
                  </a:lnTo>
                  <a:lnTo>
                    <a:pt x="14" y="41"/>
                  </a:lnTo>
                  <a:lnTo>
                    <a:pt x="14" y="41"/>
                  </a:lnTo>
                  <a:lnTo>
                    <a:pt x="14" y="41"/>
                  </a:lnTo>
                  <a:lnTo>
                    <a:pt x="16" y="43"/>
                  </a:lnTo>
                  <a:lnTo>
                    <a:pt x="17" y="43"/>
                  </a:lnTo>
                  <a:lnTo>
                    <a:pt x="17" y="44"/>
                  </a:lnTo>
                  <a:lnTo>
                    <a:pt x="16" y="44"/>
                  </a:lnTo>
                  <a:lnTo>
                    <a:pt x="13" y="44"/>
                  </a:lnTo>
                  <a:lnTo>
                    <a:pt x="13" y="44"/>
                  </a:lnTo>
                  <a:lnTo>
                    <a:pt x="12" y="44"/>
                  </a:lnTo>
                  <a:lnTo>
                    <a:pt x="12" y="44"/>
                  </a:lnTo>
                  <a:lnTo>
                    <a:pt x="14" y="48"/>
                  </a:lnTo>
                  <a:lnTo>
                    <a:pt x="16" y="48"/>
                  </a:lnTo>
                  <a:lnTo>
                    <a:pt x="14" y="51"/>
                  </a:lnTo>
                  <a:lnTo>
                    <a:pt x="14" y="53"/>
                  </a:lnTo>
                  <a:lnTo>
                    <a:pt x="13" y="51"/>
                  </a:lnTo>
                  <a:lnTo>
                    <a:pt x="13" y="51"/>
                  </a:lnTo>
                  <a:lnTo>
                    <a:pt x="12" y="53"/>
                  </a:lnTo>
                  <a:lnTo>
                    <a:pt x="12" y="53"/>
                  </a:lnTo>
                  <a:lnTo>
                    <a:pt x="10" y="53"/>
                  </a:lnTo>
                  <a:lnTo>
                    <a:pt x="10" y="54"/>
                  </a:lnTo>
                  <a:lnTo>
                    <a:pt x="9" y="54"/>
                  </a:lnTo>
                  <a:lnTo>
                    <a:pt x="9" y="53"/>
                  </a:lnTo>
                  <a:lnTo>
                    <a:pt x="7" y="53"/>
                  </a:lnTo>
                  <a:lnTo>
                    <a:pt x="7" y="54"/>
                  </a:lnTo>
                  <a:lnTo>
                    <a:pt x="7" y="54"/>
                  </a:lnTo>
                  <a:lnTo>
                    <a:pt x="9" y="56"/>
                  </a:lnTo>
                  <a:lnTo>
                    <a:pt x="9" y="56"/>
                  </a:lnTo>
                  <a:lnTo>
                    <a:pt x="9" y="57"/>
                  </a:lnTo>
                  <a:lnTo>
                    <a:pt x="9" y="59"/>
                  </a:lnTo>
                  <a:lnTo>
                    <a:pt x="9" y="59"/>
                  </a:lnTo>
                  <a:lnTo>
                    <a:pt x="9" y="59"/>
                  </a:lnTo>
                  <a:lnTo>
                    <a:pt x="7" y="59"/>
                  </a:lnTo>
                  <a:lnTo>
                    <a:pt x="7" y="57"/>
                  </a:lnTo>
                  <a:lnTo>
                    <a:pt x="7" y="57"/>
                  </a:lnTo>
                  <a:lnTo>
                    <a:pt x="6" y="57"/>
                  </a:lnTo>
                  <a:lnTo>
                    <a:pt x="3" y="59"/>
                  </a:lnTo>
                  <a:lnTo>
                    <a:pt x="3" y="60"/>
                  </a:lnTo>
                  <a:lnTo>
                    <a:pt x="3" y="60"/>
                  </a:lnTo>
                  <a:lnTo>
                    <a:pt x="3" y="63"/>
                  </a:lnTo>
                  <a:lnTo>
                    <a:pt x="1" y="63"/>
                  </a:lnTo>
                  <a:lnTo>
                    <a:pt x="1" y="63"/>
                  </a:lnTo>
                  <a:lnTo>
                    <a:pt x="0" y="64"/>
                  </a:lnTo>
                  <a:lnTo>
                    <a:pt x="0" y="66"/>
                  </a:lnTo>
                  <a:lnTo>
                    <a:pt x="0" y="66"/>
                  </a:lnTo>
                  <a:lnTo>
                    <a:pt x="0" y="67"/>
                  </a:lnTo>
                  <a:lnTo>
                    <a:pt x="0" y="69"/>
                  </a:lnTo>
                  <a:lnTo>
                    <a:pt x="1" y="69"/>
                  </a:lnTo>
                  <a:lnTo>
                    <a:pt x="1" y="70"/>
                  </a:lnTo>
                  <a:lnTo>
                    <a:pt x="0" y="73"/>
                  </a:lnTo>
                  <a:lnTo>
                    <a:pt x="0" y="75"/>
                  </a:lnTo>
                  <a:lnTo>
                    <a:pt x="9" y="82"/>
                  </a:lnTo>
                  <a:lnTo>
                    <a:pt x="10" y="85"/>
                  </a:lnTo>
                  <a:lnTo>
                    <a:pt x="12" y="86"/>
                  </a:lnTo>
                  <a:lnTo>
                    <a:pt x="13" y="82"/>
                  </a:lnTo>
                  <a:lnTo>
                    <a:pt x="13" y="79"/>
                  </a:lnTo>
                  <a:lnTo>
                    <a:pt x="14" y="76"/>
                  </a:lnTo>
                  <a:lnTo>
                    <a:pt x="16" y="75"/>
                  </a:lnTo>
                  <a:lnTo>
                    <a:pt x="17" y="72"/>
                  </a:lnTo>
                  <a:lnTo>
                    <a:pt x="20" y="73"/>
                  </a:lnTo>
                  <a:lnTo>
                    <a:pt x="23" y="75"/>
                  </a:lnTo>
                  <a:lnTo>
                    <a:pt x="25" y="77"/>
                  </a:lnTo>
                  <a:lnTo>
                    <a:pt x="28" y="77"/>
                  </a:lnTo>
                  <a:lnTo>
                    <a:pt x="30" y="82"/>
                  </a:lnTo>
                  <a:lnTo>
                    <a:pt x="32" y="83"/>
                  </a:lnTo>
                  <a:lnTo>
                    <a:pt x="32" y="83"/>
                  </a:lnTo>
                  <a:lnTo>
                    <a:pt x="33" y="82"/>
                  </a:lnTo>
                  <a:lnTo>
                    <a:pt x="33" y="80"/>
                  </a:lnTo>
                  <a:lnTo>
                    <a:pt x="38" y="79"/>
                  </a:lnTo>
                  <a:lnTo>
                    <a:pt x="39" y="79"/>
                  </a:lnTo>
                  <a:lnTo>
                    <a:pt x="41" y="80"/>
                  </a:lnTo>
                  <a:lnTo>
                    <a:pt x="41" y="80"/>
                  </a:lnTo>
                  <a:lnTo>
                    <a:pt x="41" y="79"/>
                  </a:lnTo>
                  <a:lnTo>
                    <a:pt x="44" y="77"/>
                  </a:lnTo>
                  <a:lnTo>
                    <a:pt x="48" y="79"/>
                  </a:lnTo>
                  <a:lnTo>
                    <a:pt x="48" y="77"/>
                  </a:lnTo>
                  <a:lnTo>
                    <a:pt x="52" y="79"/>
                  </a:lnTo>
                  <a:lnTo>
                    <a:pt x="55" y="77"/>
                  </a:lnTo>
                  <a:lnTo>
                    <a:pt x="57" y="79"/>
                  </a:lnTo>
                  <a:lnTo>
                    <a:pt x="57" y="73"/>
                  </a:lnTo>
                  <a:lnTo>
                    <a:pt x="59" y="66"/>
                  </a:lnTo>
                  <a:lnTo>
                    <a:pt x="62" y="63"/>
                  </a:lnTo>
                  <a:lnTo>
                    <a:pt x="57" y="54"/>
                  </a:lnTo>
                  <a:lnTo>
                    <a:pt x="57" y="44"/>
                  </a:lnTo>
                  <a:lnTo>
                    <a:pt x="61" y="41"/>
                  </a:lnTo>
                  <a:lnTo>
                    <a:pt x="58" y="41"/>
                  </a:lnTo>
                  <a:lnTo>
                    <a:pt x="57" y="37"/>
                  </a:lnTo>
                  <a:lnTo>
                    <a:pt x="59" y="34"/>
                  </a:lnTo>
                  <a:lnTo>
                    <a:pt x="57" y="31"/>
                  </a:lnTo>
                  <a:lnTo>
                    <a:pt x="54" y="34"/>
                  </a:lnTo>
                  <a:lnTo>
                    <a:pt x="46" y="31"/>
                  </a:lnTo>
                  <a:lnTo>
                    <a:pt x="44" y="28"/>
                  </a:lnTo>
                  <a:lnTo>
                    <a:pt x="42" y="21"/>
                  </a:lnTo>
                  <a:lnTo>
                    <a:pt x="39" y="19"/>
                  </a:lnTo>
                  <a:lnTo>
                    <a:pt x="38" y="19"/>
                  </a:lnTo>
                  <a:lnTo>
                    <a:pt x="35" y="16"/>
                  </a:lnTo>
                  <a:lnTo>
                    <a:pt x="32" y="8"/>
                  </a:lnTo>
                  <a:lnTo>
                    <a:pt x="29" y="5"/>
                  </a:lnTo>
                  <a:lnTo>
                    <a:pt x="25" y="2"/>
                  </a:lnTo>
                  <a:lnTo>
                    <a:pt x="23" y="0"/>
                  </a:lnTo>
                  <a:lnTo>
                    <a:pt x="20" y="2"/>
                  </a:lnTo>
                  <a:lnTo>
                    <a:pt x="17" y="2"/>
                  </a:lnTo>
                  <a:lnTo>
                    <a:pt x="13" y="5"/>
                  </a:lnTo>
                  <a:lnTo>
                    <a:pt x="9" y="5"/>
                  </a:lnTo>
                  <a:lnTo>
                    <a:pt x="7" y="6"/>
                  </a:lnTo>
                  <a:lnTo>
                    <a:pt x="3"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39" name="Freeform 762"/>
            <p:cNvSpPr>
              <a:spLocks/>
            </p:cNvSpPr>
            <p:nvPr/>
          </p:nvSpPr>
          <p:spPr bwMode="auto">
            <a:xfrm>
              <a:off x="6359486" y="2502871"/>
              <a:ext cx="57057" cy="90258"/>
            </a:xfrm>
            <a:custGeom>
              <a:avLst/>
              <a:gdLst/>
              <a:ahLst/>
              <a:cxnLst>
                <a:cxn ang="0">
                  <a:pos x="6" y="9"/>
                </a:cxn>
                <a:cxn ang="0">
                  <a:pos x="6" y="11"/>
                </a:cxn>
                <a:cxn ang="0">
                  <a:pos x="6" y="14"/>
                </a:cxn>
                <a:cxn ang="0">
                  <a:pos x="9" y="14"/>
                </a:cxn>
                <a:cxn ang="0">
                  <a:pos x="7" y="14"/>
                </a:cxn>
                <a:cxn ang="0">
                  <a:pos x="7" y="16"/>
                </a:cxn>
                <a:cxn ang="0">
                  <a:pos x="10" y="18"/>
                </a:cxn>
                <a:cxn ang="0">
                  <a:pos x="13" y="18"/>
                </a:cxn>
                <a:cxn ang="0">
                  <a:pos x="13" y="19"/>
                </a:cxn>
                <a:cxn ang="0">
                  <a:pos x="10" y="21"/>
                </a:cxn>
                <a:cxn ang="0">
                  <a:pos x="10" y="24"/>
                </a:cxn>
                <a:cxn ang="0">
                  <a:pos x="13" y="27"/>
                </a:cxn>
                <a:cxn ang="0">
                  <a:pos x="10" y="34"/>
                </a:cxn>
                <a:cxn ang="0">
                  <a:pos x="10" y="35"/>
                </a:cxn>
                <a:cxn ang="0">
                  <a:pos x="10" y="38"/>
                </a:cxn>
                <a:cxn ang="0">
                  <a:pos x="13" y="40"/>
                </a:cxn>
                <a:cxn ang="0">
                  <a:pos x="14" y="41"/>
                </a:cxn>
                <a:cxn ang="0">
                  <a:pos x="17" y="43"/>
                </a:cxn>
                <a:cxn ang="0">
                  <a:pos x="13" y="44"/>
                </a:cxn>
                <a:cxn ang="0">
                  <a:pos x="12" y="44"/>
                </a:cxn>
                <a:cxn ang="0">
                  <a:pos x="14" y="51"/>
                </a:cxn>
                <a:cxn ang="0">
                  <a:pos x="13" y="51"/>
                </a:cxn>
                <a:cxn ang="0">
                  <a:pos x="10" y="53"/>
                </a:cxn>
                <a:cxn ang="0">
                  <a:pos x="9" y="53"/>
                </a:cxn>
                <a:cxn ang="0">
                  <a:pos x="7" y="54"/>
                </a:cxn>
                <a:cxn ang="0">
                  <a:pos x="9" y="57"/>
                </a:cxn>
                <a:cxn ang="0">
                  <a:pos x="9" y="59"/>
                </a:cxn>
                <a:cxn ang="0">
                  <a:pos x="7" y="57"/>
                </a:cxn>
                <a:cxn ang="0">
                  <a:pos x="3" y="60"/>
                </a:cxn>
                <a:cxn ang="0">
                  <a:pos x="1" y="63"/>
                </a:cxn>
                <a:cxn ang="0">
                  <a:pos x="0" y="66"/>
                </a:cxn>
                <a:cxn ang="0">
                  <a:pos x="0" y="69"/>
                </a:cxn>
                <a:cxn ang="0">
                  <a:pos x="0" y="73"/>
                </a:cxn>
                <a:cxn ang="0">
                  <a:pos x="10" y="85"/>
                </a:cxn>
                <a:cxn ang="0">
                  <a:pos x="13" y="79"/>
                </a:cxn>
                <a:cxn ang="0">
                  <a:pos x="17" y="72"/>
                </a:cxn>
                <a:cxn ang="0">
                  <a:pos x="25" y="77"/>
                </a:cxn>
                <a:cxn ang="0">
                  <a:pos x="32" y="83"/>
                </a:cxn>
                <a:cxn ang="0">
                  <a:pos x="33" y="80"/>
                </a:cxn>
                <a:cxn ang="0">
                  <a:pos x="41" y="80"/>
                </a:cxn>
                <a:cxn ang="0">
                  <a:pos x="44" y="77"/>
                </a:cxn>
                <a:cxn ang="0">
                  <a:pos x="52" y="79"/>
                </a:cxn>
                <a:cxn ang="0">
                  <a:pos x="57" y="73"/>
                </a:cxn>
                <a:cxn ang="0">
                  <a:pos x="57" y="54"/>
                </a:cxn>
                <a:cxn ang="0">
                  <a:pos x="58" y="41"/>
                </a:cxn>
                <a:cxn ang="0">
                  <a:pos x="57" y="31"/>
                </a:cxn>
                <a:cxn ang="0">
                  <a:pos x="44" y="28"/>
                </a:cxn>
                <a:cxn ang="0">
                  <a:pos x="38" y="19"/>
                </a:cxn>
                <a:cxn ang="0">
                  <a:pos x="29" y="5"/>
                </a:cxn>
                <a:cxn ang="0">
                  <a:pos x="20" y="2"/>
                </a:cxn>
                <a:cxn ang="0">
                  <a:pos x="9" y="5"/>
                </a:cxn>
              </a:cxnLst>
              <a:rect l="0" t="0" r="r" b="b"/>
              <a:pathLst>
                <a:path w="62" h="86">
                  <a:moveTo>
                    <a:pt x="3" y="6"/>
                  </a:moveTo>
                  <a:lnTo>
                    <a:pt x="6" y="8"/>
                  </a:lnTo>
                  <a:lnTo>
                    <a:pt x="6" y="9"/>
                  </a:lnTo>
                  <a:lnTo>
                    <a:pt x="6" y="9"/>
                  </a:lnTo>
                  <a:lnTo>
                    <a:pt x="6" y="11"/>
                  </a:lnTo>
                  <a:lnTo>
                    <a:pt x="6" y="11"/>
                  </a:lnTo>
                  <a:lnTo>
                    <a:pt x="6" y="12"/>
                  </a:lnTo>
                  <a:lnTo>
                    <a:pt x="6" y="12"/>
                  </a:lnTo>
                  <a:lnTo>
                    <a:pt x="6" y="14"/>
                  </a:lnTo>
                  <a:lnTo>
                    <a:pt x="7" y="12"/>
                  </a:lnTo>
                  <a:lnTo>
                    <a:pt x="7" y="12"/>
                  </a:lnTo>
                  <a:lnTo>
                    <a:pt x="9" y="14"/>
                  </a:lnTo>
                  <a:lnTo>
                    <a:pt x="9" y="14"/>
                  </a:lnTo>
                  <a:lnTo>
                    <a:pt x="7" y="14"/>
                  </a:lnTo>
                  <a:lnTo>
                    <a:pt x="7" y="14"/>
                  </a:lnTo>
                  <a:lnTo>
                    <a:pt x="7" y="15"/>
                  </a:lnTo>
                  <a:lnTo>
                    <a:pt x="7" y="15"/>
                  </a:lnTo>
                  <a:lnTo>
                    <a:pt x="7" y="16"/>
                  </a:lnTo>
                  <a:lnTo>
                    <a:pt x="7" y="16"/>
                  </a:lnTo>
                  <a:lnTo>
                    <a:pt x="9" y="16"/>
                  </a:lnTo>
                  <a:lnTo>
                    <a:pt x="10" y="18"/>
                  </a:lnTo>
                  <a:lnTo>
                    <a:pt x="10" y="18"/>
                  </a:lnTo>
                  <a:lnTo>
                    <a:pt x="12" y="18"/>
                  </a:lnTo>
                  <a:lnTo>
                    <a:pt x="13" y="18"/>
                  </a:lnTo>
                  <a:lnTo>
                    <a:pt x="13" y="19"/>
                  </a:lnTo>
                  <a:lnTo>
                    <a:pt x="13" y="19"/>
                  </a:lnTo>
                  <a:lnTo>
                    <a:pt x="13" y="19"/>
                  </a:lnTo>
                  <a:lnTo>
                    <a:pt x="10" y="19"/>
                  </a:lnTo>
                  <a:lnTo>
                    <a:pt x="10" y="19"/>
                  </a:lnTo>
                  <a:lnTo>
                    <a:pt x="10" y="21"/>
                  </a:lnTo>
                  <a:lnTo>
                    <a:pt x="9" y="21"/>
                  </a:lnTo>
                  <a:lnTo>
                    <a:pt x="9" y="24"/>
                  </a:lnTo>
                  <a:lnTo>
                    <a:pt x="10" y="24"/>
                  </a:lnTo>
                  <a:lnTo>
                    <a:pt x="10" y="25"/>
                  </a:lnTo>
                  <a:lnTo>
                    <a:pt x="13" y="25"/>
                  </a:lnTo>
                  <a:lnTo>
                    <a:pt x="13" y="27"/>
                  </a:lnTo>
                  <a:lnTo>
                    <a:pt x="13" y="28"/>
                  </a:lnTo>
                  <a:lnTo>
                    <a:pt x="13" y="28"/>
                  </a:lnTo>
                  <a:lnTo>
                    <a:pt x="10" y="34"/>
                  </a:lnTo>
                  <a:lnTo>
                    <a:pt x="10" y="34"/>
                  </a:lnTo>
                  <a:lnTo>
                    <a:pt x="10" y="34"/>
                  </a:lnTo>
                  <a:lnTo>
                    <a:pt x="10" y="35"/>
                  </a:lnTo>
                  <a:lnTo>
                    <a:pt x="9" y="37"/>
                  </a:lnTo>
                  <a:lnTo>
                    <a:pt x="10" y="38"/>
                  </a:lnTo>
                  <a:lnTo>
                    <a:pt x="10" y="38"/>
                  </a:lnTo>
                  <a:lnTo>
                    <a:pt x="12" y="38"/>
                  </a:lnTo>
                  <a:lnTo>
                    <a:pt x="12" y="38"/>
                  </a:lnTo>
                  <a:lnTo>
                    <a:pt x="13" y="40"/>
                  </a:lnTo>
                  <a:lnTo>
                    <a:pt x="14" y="41"/>
                  </a:lnTo>
                  <a:lnTo>
                    <a:pt x="14" y="41"/>
                  </a:lnTo>
                  <a:lnTo>
                    <a:pt x="14" y="41"/>
                  </a:lnTo>
                  <a:lnTo>
                    <a:pt x="14" y="41"/>
                  </a:lnTo>
                  <a:lnTo>
                    <a:pt x="16" y="43"/>
                  </a:lnTo>
                  <a:lnTo>
                    <a:pt x="17" y="43"/>
                  </a:lnTo>
                  <a:lnTo>
                    <a:pt x="17" y="44"/>
                  </a:lnTo>
                  <a:lnTo>
                    <a:pt x="16" y="44"/>
                  </a:lnTo>
                  <a:lnTo>
                    <a:pt x="13" y="44"/>
                  </a:lnTo>
                  <a:lnTo>
                    <a:pt x="13" y="44"/>
                  </a:lnTo>
                  <a:lnTo>
                    <a:pt x="12" y="44"/>
                  </a:lnTo>
                  <a:lnTo>
                    <a:pt x="12" y="44"/>
                  </a:lnTo>
                  <a:lnTo>
                    <a:pt x="14" y="48"/>
                  </a:lnTo>
                  <a:lnTo>
                    <a:pt x="16" y="48"/>
                  </a:lnTo>
                  <a:lnTo>
                    <a:pt x="14" y="51"/>
                  </a:lnTo>
                  <a:lnTo>
                    <a:pt x="14" y="53"/>
                  </a:lnTo>
                  <a:lnTo>
                    <a:pt x="13" y="51"/>
                  </a:lnTo>
                  <a:lnTo>
                    <a:pt x="13" y="51"/>
                  </a:lnTo>
                  <a:lnTo>
                    <a:pt x="12" y="53"/>
                  </a:lnTo>
                  <a:lnTo>
                    <a:pt x="12" y="53"/>
                  </a:lnTo>
                  <a:lnTo>
                    <a:pt x="10" y="53"/>
                  </a:lnTo>
                  <a:lnTo>
                    <a:pt x="10" y="54"/>
                  </a:lnTo>
                  <a:lnTo>
                    <a:pt x="9" y="54"/>
                  </a:lnTo>
                  <a:lnTo>
                    <a:pt x="9" y="53"/>
                  </a:lnTo>
                  <a:lnTo>
                    <a:pt x="7" y="53"/>
                  </a:lnTo>
                  <a:lnTo>
                    <a:pt x="7" y="54"/>
                  </a:lnTo>
                  <a:lnTo>
                    <a:pt x="7" y="54"/>
                  </a:lnTo>
                  <a:lnTo>
                    <a:pt x="9" y="56"/>
                  </a:lnTo>
                  <a:lnTo>
                    <a:pt x="9" y="56"/>
                  </a:lnTo>
                  <a:lnTo>
                    <a:pt x="9" y="57"/>
                  </a:lnTo>
                  <a:lnTo>
                    <a:pt x="9" y="59"/>
                  </a:lnTo>
                  <a:lnTo>
                    <a:pt x="9" y="59"/>
                  </a:lnTo>
                  <a:lnTo>
                    <a:pt x="9" y="59"/>
                  </a:lnTo>
                  <a:lnTo>
                    <a:pt x="7" y="59"/>
                  </a:lnTo>
                  <a:lnTo>
                    <a:pt x="7" y="57"/>
                  </a:lnTo>
                  <a:lnTo>
                    <a:pt x="7" y="57"/>
                  </a:lnTo>
                  <a:lnTo>
                    <a:pt x="6" y="57"/>
                  </a:lnTo>
                  <a:lnTo>
                    <a:pt x="3" y="59"/>
                  </a:lnTo>
                  <a:lnTo>
                    <a:pt x="3" y="60"/>
                  </a:lnTo>
                  <a:lnTo>
                    <a:pt x="3" y="60"/>
                  </a:lnTo>
                  <a:lnTo>
                    <a:pt x="3" y="63"/>
                  </a:lnTo>
                  <a:lnTo>
                    <a:pt x="1" y="63"/>
                  </a:lnTo>
                  <a:lnTo>
                    <a:pt x="1" y="63"/>
                  </a:lnTo>
                  <a:lnTo>
                    <a:pt x="0" y="64"/>
                  </a:lnTo>
                  <a:lnTo>
                    <a:pt x="0" y="66"/>
                  </a:lnTo>
                  <a:lnTo>
                    <a:pt x="0" y="66"/>
                  </a:lnTo>
                  <a:lnTo>
                    <a:pt x="0" y="67"/>
                  </a:lnTo>
                  <a:lnTo>
                    <a:pt x="0" y="69"/>
                  </a:lnTo>
                  <a:lnTo>
                    <a:pt x="1" y="69"/>
                  </a:lnTo>
                  <a:lnTo>
                    <a:pt x="1" y="70"/>
                  </a:lnTo>
                  <a:lnTo>
                    <a:pt x="0" y="73"/>
                  </a:lnTo>
                  <a:lnTo>
                    <a:pt x="0" y="75"/>
                  </a:lnTo>
                  <a:lnTo>
                    <a:pt x="9" y="82"/>
                  </a:lnTo>
                  <a:lnTo>
                    <a:pt x="10" y="85"/>
                  </a:lnTo>
                  <a:lnTo>
                    <a:pt x="12" y="86"/>
                  </a:lnTo>
                  <a:lnTo>
                    <a:pt x="13" y="82"/>
                  </a:lnTo>
                  <a:lnTo>
                    <a:pt x="13" y="79"/>
                  </a:lnTo>
                  <a:lnTo>
                    <a:pt x="14" y="76"/>
                  </a:lnTo>
                  <a:lnTo>
                    <a:pt x="16" y="75"/>
                  </a:lnTo>
                  <a:lnTo>
                    <a:pt x="17" y="72"/>
                  </a:lnTo>
                  <a:lnTo>
                    <a:pt x="20" y="73"/>
                  </a:lnTo>
                  <a:lnTo>
                    <a:pt x="23" y="75"/>
                  </a:lnTo>
                  <a:lnTo>
                    <a:pt x="25" y="77"/>
                  </a:lnTo>
                  <a:lnTo>
                    <a:pt x="28" y="77"/>
                  </a:lnTo>
                  <a:lnTo>
                    <a:pt x="30" y="82"/>
                  </a:lnTo>
                  <a:lnTo>
                    <a:pt x="32" y="83"/>
                  </a:lnTo>
                  <a:lnTo>
                    <a:pt x="32" y="83"/>
                  </a:lnTo>
                  <a:lnTo>
                    <a:pt x="33" y="82"/>
                  </a:lnTo>
                  <a:lnTo>
                    <a:pt x="33" y="80"/>
                  </a:lnTo>
                  <a:lnTo>
                    <a:pt x="38" y="79"/>
                  </a:lnTo>
                  <a:lnTo>
                    <a:pt x="39" y="79"/>
                  </a:lnTo>
                  <a:lnTo>
                    <a:pt x="41" y="80"/>
                  </a:lnTo>
                  <a:lnTo>
                    <a:pt x="41" y="80"/>
                  </a:lnTo>
                  <a:lnTo>
                    <a:pt x="41" y="79"/>
                  </a:lnTo>
                  <a:lnTo>
                    <a:pt x="44" y="77"/>
                  </a:lnTo>
                  <a:lnTo>
                    <a:pt x="48" y="79"/>
                  </a:lnTo>
                  <a:lnTo>
                    <a:pt x="48" y="77"/>
                  </a:lnTo>
                  <a:lnTo>
                    <a:pt x="52" y="79"/>
                  </a:lnTo>
                  <a:lnTo>
                    <a:pt x="55" y="77"/>
                  </a:lnTo>
                  <a:lnTo>
                    <a:pt x="57" y="79"/>
                  </a:lnTo>
                  <a:lnTo>
                    <a:pt x="57" y="73"/>
                  </a:lnTo>
                  <a:lnTo>
                    <a:pt x="59" y="66"/>
                  </a:lnTo>
                  <a:lnTo>
                    <a:pt x="62" y="63"/>
                  </a:lnTo>
                  <a:lnTo>
                    <a:pt x="57" y="54"/>
                  </a:lnTo>
                  <a:lnTo>
                    <a:pt x="57" y="44"/>
                  </a:lnTo>
                  <a:lnTo>
                    <a:pt x="61" y="41"/>
                  </a:lnTo>
                  <a:lnTo>
                    <a:pt x="58" y="41"/>
                  </a:lnTo>
                  <a:lnTo>
                    <a:pt x="57" y="37"/>
                  </a:lnTo>
                  <a:lnTo>
                    <a:pt x="59" y="34"/>
                  </a:lnTo>
                  <a:lnTo>
                    <a:pt x="57" y="31"/>
                  </a:lnTo>
                  <a:lnTo>
                    <a:pt x="54" y="34"/>
                  </a:lnTo>
                  <a:lnTo>
                    <a:pt x="46" y="31"/>
                  </a:lnTo>
                  <a:lnTo>
                    <a:pt x="44" y="28"/>
                  </a:lnTo>
                  <a:lnTo>
                    <a:pt x="42" y="21"/>
                  </a:lnTo>
                  <a:lnTo>
                    <a:pt x="39" y="19"/>
                  </a:lnTo>
                  <a:lnTo>
                    <a:pt x="38" y="19"/>
                  </a:lnTo>
                  <a:lnTo>
                    <a:pt x="35" y="16"/>
                  </a:lnTo>
                  <a:lnTo>
                    <a:pt x="32" y="8"/>
                  </a:lnTo>
                  <a:lnTo>
                    <a:pt x="29" y="5"/>
                  </a:lnTo>
                  <a:lnTo>
                    <a:pt x="25" y="2"/>
                  </a:lnTo>
                  <a:lnTo>
                    <a:pt x="23" y="0"/>
                  </a:lnTo>
                  <a:lnTo>
                    <a:pt x="20" y="2"/>
                  </a:lnTo>
                  <a:lnTo>
                    <a:pt x="17" y="2"/>
                  </a:lnTo>
                  <a:lnTo>
                    <a:pt x="13" y="5"/>
                  </a:lnTo>
                  <a:lnTo>
                    <a:pt x="9" y="5"/>
                  </a:lnTo>
                  <a:lnTo>
                    <a:pt x="7" y="6"/>
                  </a:lnTo>
                  <a:lnTo>
                    <a:pt x="3"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40" name="Freeform 763"/>
            <p:cNvSpPr>
              <a:spLocks/>
            </p:cNvSpPr>
            <p:nvPr/>
          </p:nvSpPr>
          <p:spPr bwMode="auto">
            <a:xfrm>
              <a:off x="6374409" y="2279761"/>
              <a:ext cx="42134" cy="36509"/>
            </a:xfrm>
            <a:custGeom>
              <a:avLst/>
              <a:gdLst/>
              <a:ahLst/>
              <a:cxnLst>
                <a:cxn ang="0">
                  <a:pos x="0" y="31"/>
                </a:cxn>
                <a:cxn ang="0">
                  <a:pos x="0" y="31"/>
                </a:cxn>
                <a:cxn ang="0">
                  <a:pos x="3" y="28"/>
                </a:cxn>
                <a:cxn ang="0">
                  <a:pos x="4" y="24"/>
                </a:cxn>
                <a:cxn ang="0">
                  <a:pos x="4" y="21"/>
                </a:cxn>
                <a:cxn ang="0">
                  <a:pos x="6" y="19"/>
                </a:cxn>
                <a:cxn ang="0">
                  <a:pos x="12" y="19"/>
                </a:cxn>
                <a:cxn ang="0">
                  <a:pos x="20" y="9"/>
                </a:cxn>
                <a:cxn ang="0">
                  <a:pos x="22" y="0"/>
                </a:cxn>
                <a:cxn ang="0">
                  <a:pos x="20" y="8"/>
                </a:cxn>
                <a:cxn ang="0">
                  <a:pos x="14" y="18"/>
                </a:cxn>
                <a:cxn ang="0">
                  <a:pos x="16" y="19"/>
                </a:cxn>
                <a:cxn ang="0">
                  <a:pos x="17" y="19"/>
                </a:cxn>
                <a:cxn ang="0">
                  <a:pos x="19" y="19"/>
                </a:cxn>
                <a:cxn ang="0">
                  <a:pos x="22" y="19"/>
                </a:cxn>
                <a:cxn ang="0">
                  <a:pos x="23" y="13"/>
                </a:cxn>
                <a:cxn ang="0">
                  <a:pos x="23" y="12"/>
                </a:cxn>
                <a:cxn ang="0">
                  <a:pos x="23" y="11"/>
                </a:cxn>
                <a:cxn ang="0">
                  <a:pos x="26" y="11"/>
                </a:cxn>
                <a:cxn ang="0">
                  <a:pos x="28" y="12"/>
                </a:cxn>
                <a:cxn ang="0">
                  <a:pos x="30" y="12"/>
                </a:cxn>
                <a:cxn ang="0">
                  <a:pos x="32" y="13"/>
                </a:cxn>
                <a:cxn ang="0">
                  <a:pos x="38" y="15"/>
                </a:cxn>
                <a:cxn ang="0">
                  <a:pos x="42" y="15"/>
                </a:cxn>
                <a:cxn ang="0">
                  <a:pos x="43" y="16"/>
                </a:cxn>
                <a:cxn ang="0">
                  <a:pos x="46" y="22"/>
                </a:cxn>
                <a:cxn ang="0">
                  <a:pos x="45" y="27"/>
                </a:cxn>
                <a:cxn ang="0">
                  <a:pos x="45" y="32"/>
                </a:cxn>
                <a:cxn ang="0">
                  <a:pos x="32" y="35"/>
                </a:cxn>
                <a:cxn ang="0">
                  <a:pos x="0" y="31"/>
                </a:cxn>
              </a:cxnLst>
              <a:rect l="0" t="0" r="r" b="b"/>
              <a:pathLst>
                <a:path w="46" h="35">
                  <a:moveTo>
                    <a:pt x="0" y="31"/>
                  </a:moveTo>
                  <a:lnTo>
                    <a:pt x="0" y="31"/>
                  </a:lnTo>
                  <a:lnTo>
                    <a:pt x="3" y="28"/>
                  </a:lnTo>
                  <a:lnTo>
                    <a:pt x="4" y="24"/>
                  </a:lnTo>
                  <a:lnTo>
                    <a:pt x="4" y="21"/>
                  </a:lnTo>
                  <a:lnTo>
                    <a:pt x="6" y="19"/>
                  </a:lnTo>
                  <a:lnTo>
                    <a:pt x="12" y="19"/>
                  </a:lnTo>
                  <a:lnTo>
                    <a:pt x="20" y="9"/>
                  </a:lnTo>
                  <a:lnTo>
                    <a:pt x="22" y="0"/>
                  </a:lnTo>
                  <a:lnTo>
                    <a:pt x="20" y="8"/>
                  </a:lnTo>
                  <a:lnTo>
                    <a:pt x="14" y="18"/>
                  </a:lnTo>
                  <a:lnTo>
                    <a:pt x="16" y="19"/>
                  </a:lnTo>
                  <a:lnTo>
                    <a:pt x="17" y="19"/>
                  </a:lnTo>
                  <a:lnTo>
                    <a:pt x="19" y="19"/>
                  </a:lnTo>
                  <a:lnTo>
                    <a:pt x="22" y="19"/>
                  </a:lnTo>
                  <a:lnTo>
                    <a:pt x="23" y="13"/>
                  </a:lnTo>
                  <a:lnTo>
                    <a:pt x="23" y="12"/>
                  </a:lnTo>
                  <a:lnTo>
                    <a:pt x="23" y="11"/>
                  </a:lnTo>
                  <a:lnTo>
                    <a:pt x="26" y="11"/>
                  </a:lnTo>
                  <a:lnTo>
                    <a:pt x="28" y="12"/>
                  </a:lnTo>
                  <a:lnTo>
                    <a:pt x="30" y="12"/>
                  </a:lnTo>
                  <a:lnTo>
                    <a:pt x="32" y="13"/>
                  </a:lnTo>
                  <a:lnTo>
                    <a:pt x="38" y="15"/>
                  </a:lnTo>
                  <a:lnTo>
                    <a:pt x="42" y="15"/>
                  </a:lnTo>
                  <a:lnTo>
                    <a:pt x="43" y="16"/>
                  </a:lnTo>
                  <a:lnTo>
                    <a:pt x="46" y="22"/>
                  </a:lnTo>
                  <a:lnTo>
                    <a:pt x="45" y="27"/>
                  </a:lnTo>
                  <a:lnTo>
                    <a:pt x="45" y="32"/>
                  </a:lnTo>
                  <a:lnTo>
                    <a:pt x="32" y="35"/>
                  </a:lnTo>
                  <a:lnTo>
                    <a:pt x="0" y="3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41" name="Freeform 764"/>
            <p:cNvSpPr>
              <a:spLocks/>
            </p:cNvSpPr>
            <p:nvPr/>
          </p:nvSpPr>
          <p:spPr bwMode="auto">
            <a:xfrm>
              <a:off x="6374409" y="2279761"/>
              <a:ext cx="42134" cy="36509"/>
            </a:xfrm>
            <a:custGeom>
              <a:avLst/>
              <a:gdLst/>
              <a:ahLst/>
              <a:cxnLst>
                <a:cxn ang="0">
                  <a:pos x="0" y="31"/>
                </a:cxn>
                <a:cxn ang="0">
                  <a:pos x="0" y="31"/>
                </a:cxn>
                <a:cxn ang="0">
                  <a:pos x="3" y="28"/>
                </a:cxn>
                <a:cxn ang="0">
                  <a:pos x="4" y="24"/>
                </a:cxn>
                <a:cxn ang="0">
                  <a:pos x="4" y="21"/>
                </a:cxn>
                <a:cxn ang="0">
                  <a:pos x="6" y="19"/>
                </a:cxn>
                <a:cxn ang="0">
                  <a:pos x="12" y="19"/>
                </a:cxn>
                <a:cxn ang="0">
                  <a:pos x="20" y="9"/>
                </a:cxn>
                <a:cxn ang="0">
                  <a:pos x="22" y="0"/>
                </a:cxn>
                <a:cxn ang="0">
                  <a:pos x="20" y="8"/>
                </a:cxn>
                <a:cxn ang="0">
                  <a:pos x="14" y="18"/>
                </a:cxn>
                <a:cxn ang="0">
                  <a:pos x="16" y="19"/>
                </a:cxn>
                <a:cxn ang="0">
                  <a:pos x="17" y="19"/>
                </a:cxn>
                <a:cxn ang="0">
                  <a:pos x="19" y="19"/>
                </a:cxn>
                <a:cxn ang="0">
                  <a:pos x="22" y="19"/>
                </a:cxn>
                <a:cxn ang="0">
                  <a:pos x="23" y="13"/>
                </a:cxn>
                <a:cxn ang="0">
                  <a:pos x="23" y="12"/>
                </a:cxn>
                <a:cxn ang="0">
                  <a:pos x="23" y="11"/>
                </a:cxn>
                <a:cxn ang="0">
                  <a:pos x="26" y="11"/>
                </a:cxn>
                <a:cxn ang="0">
                  <a:pos x="28" y="12"/>
                </a:cxn>
                <a:cxn ang="0">
                  <a:pos x="30" y="12"/>
                </a:cxn>
                <a:cxn ang="0">
                  <a:pos x="32" y="13"/>
                </a:cxn>
                <a:cxn ang="0">
                  <a:pos x="38" y="15"/>
                </a:cxn>
                <a:cxn ang="0">
                  <a:pos x="42" y="15"/>
                </a:cxn>
                <a:cxn ang="0">
                  <a:pos x="43" y="16"/>
                </a:cxn>
                <a:cxn ang="0">
                  <a:pos x="46" y="22"/>
                </a:cxn>
                <a:cxn ang="0">
                  <a:pos x="45" y="27"/>
                </a:cxn>
                <a:cxn ang="0">
                  <a:pos x="45" y="32"/>
                </a:cxn>
                <a:cxn ang="0">
                  <a:pos x="32" y="35"/>
                </a:cxn>
                <a:cxn ang="0">
                  <a:pos x="0" y="31"/>
                </a:cxn>
              </a:cxnLst>
              <a:rect l="0" t="0" r="r" b="b"/>
              <a:pathLst>
                <a:path w="46" h="35">
                  <a:moveTo>
                    <a:pt x="0" y="31"/>
                  </a:moveTo>
                  <a:lnTo>
                    <a:pt x="0" y="31"/>
                  </a:lnTo>
                  <a:lnTo>
                    <a:pt x="3" y="28"/>
                  </a:lnTo>
                  <a:lnTo>
                    <a:pt x="4" y="24"/>
                  </a:lnTo>
                  <a:lnTo>
                    <a:pt x="4" y="21"/>
                  </a:lnTo>
                  <a:lnTo>
                    <a:pt x="6" y="19"/>
                  </a:lnTo>
                  <a:lnTo>
                    <a:pt x="12" y="19"/>
                  </a:lnTo>
                  <a:lnTo>
                    <a:pt x="20" y="9"/>
                  </a:lnTo>
                  <a:lnTo>
                    <a:pt x="22" y="0"/>
                  </a:lnTo>
                  <a:lnTo>
                    <a:pt x="20" y="8"/>
                  </a:lnTo>
                  <a:lnTo>
                    <a:pt x="14" y="18"/>
                  </a:lnTo>
                  <a:lnTo>
                    <a:pt x="16" y="19"/>
                  </a:lnTo>
                  <a:lnTo>
                    <a:pt x="17" y="19"/>
                  </a:lnTo>
                  <a:lnTo>
                    <a:pt x="19" y="19"/>
                  </a:lnTo>
                  <a:lnTo>
                    <a:pt x="22" y="19"/>
                  </a:lnTo>
                  <a:lnTo>
                    <a:pt x="23" y="13"/>
                  </a:lnTo>
                  <a:lnTo>
                    <a:pt x="23" y="12"/>
                  </a:lnTo>
                  <a:lnTo>
                    <a:pt x="23" y="11"/>
                  </a:lnTo>
                  <a:lnTo>
                    <a:pt x="26" y="11"/>
                  </a:lnTo>
                  <a:lnTo>
                    <a:pt x="28" y="12"/>
                  </a:lnTo>
                  <a:lnTo>
                    <a:pt x="30" y="12"/>
                  </a:lnTo>
                  <a:lnTo>
                    <a:pt x="32" y="13"/>
                  </a:lnTo>
                  <a:lnTo>
                    <a:pt x="38" y="15"/>
                  </a:lnTo>
                  <a:lnTo>
                    <a:pt x="42" y="15"/>
                  </a:lnTo>
                  <a:lnTo>
                    <a:pt x="43" y="16"/>
                  </a:lnTo>
                  <a:lnTo>
                    <a:pt x="46" y="22"/>
                  </a:lnTo>
                  <a:lnTo>
                    <a:pt x="45" y="27"/>
                  </a:lnTo>
                  <a:lnTo>
                    <a:pt x="45" y="32"/>
                  </a:lnTo>
                  <a:lnTo>
                    <a:pt x="32" y="35"/>
                  </a:lnTo>
                  <a:lnTo>
                    <a:pt x="0" y="3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42" name="Freeform 765"/>
            <p:cNvSpPr>
              <a:spLocks/>
            </p:cNvSpPr>
            <p:nvPr/>
          </p:nvSpPr>
          <p:spPr bwMode="auto">
            <a:xfrm>
              <a:off x="5270137" y="2998781"/>
              <a:ext cx="1756" cy="1014"/>
            </a:xfrm>
            <a:custGeom>
              <a:avLst/>
              <a:gdLst/>
              <a:ahLst/>
              <a:cxnLst>
                <a:cxn ang="0">
                  <a:pos x="2" y="0"/>
                </a:cxn>
                <a:cxn ang="0">
                  <a:pos x="0" y="1"/>
                </a:cxn>
                <a:cxn ang="0">
                  <a:pos x="0" y="1"/>
                </a:cxn>
                <a:cxn ang="0">
                  <a:pos x="2" y="1"/>
                </a:cxn>
                <a:cxn ang="0">
                  <a:pos x="2" y="0"/>
                </a:cxn>
              </a:cxnLst>
              <a:rect l="0" t="0" r="r" b="b"/>
              <a:pathLst>
                <a:path w="2" h="1">
                  <a:moveTo>
                    <a:pt x="2" y="0"/>
                  </a:moveTo>
                  <a:lnTo>
                    <a:pt x="0" y="1"/>
                  </a:lnTo>
                  <a:lnTo>
                    <a:pt x="0" y="1"/>
                  </a:lnTo>
                  <a:lnTo>
                    <a:pt x="2" y="1"/>
                  </a:lnTo>
                  <a:lnTo>
                    <a:pt x="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43" name="Freeform 766"/>
            <p:cNvSpPr>
              <a:spLocks/>
            </p:cNvSpPr>
            <p:nvPr/>
          </p:nvSpPr>
          <p:spPr bwMode="auto">
            <a:xfrm>
              <a:off x="5270137" y="2998781"/>
              <a:ext cx="1756" cy="1014"/>
            </a:xfrm>
            <a:custGeom>
              <a:avLst/>
              <a:gdLst/>
              <a:ahLst/>
              <a:cxnLst>
                <a:cxn ang="0">
                  <a:pos x="2" y="0"/>
                </a:cxn>
                <a:cxn ang="0">
                  <a:pos x="0" y="1"/>
                </a:cxn>
                <a:cxn ang="0">
                  <a:pos x="0" y="1"/>
                </a:cxn>
                <a:cxn ang="0">
                  <a:pos x="2" y="1"/>
                </a:cxn>
                <a:cxn ang="0">
                  <a:pos x="2" y="0"/>
                </a:cxn>
              </a:cxnLst>
              <a:rect l="0" t="0" r="r" b="b"/>
              <a:pathLst>
                <a:path w="2" h="1">
                  <a:moveTo>
                    <a:pt x="2" y="0"/>
                  </a:moveTo>
                  <a:lnTo>
                    <a:pt x="0" y="1"/>
                  </a:lnTo>
                  <a:lnTo>
                    <a:pt x="0" y="1"/>
                  </a:lnTo>
                  <a:lnTo>
                    <a:pt x="2" y="1"/>
                  </a:lnTo>
                  <a:lnTo>
                    <a:pt x="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44" name="Freeform 767"/>
            <p:cNvSpPr>
              <a:spLocks/>
            </p:cNvSpPr>
            <p:nvPr/>
          </p:nvSpPr>
          <p:spPr bwMode="auto">
            <a:xfrm>
              <a:off x="5272770" y="3008923"/>
              <a:ext cx="1756" cy="1014"/>
            </a:xfrm>
            <a:custGeom>
              <a:avLst/>
              <a:gdLst/>
              <a:ahLst/>
              <a:cxnLst>
                <a:cxn ang="0">
                  <a:pos x="0" y="0"/>
                </a:cxn>
                <a:cxn ang="0">
                  <a:pos x="0" y="0"/>
                </a:cxn>
                <a:cxn ang="0">
                  <a:pos x="0" y="1"/>
                </a:cxn>
                <a:cxn ang="0">
                  <a:pos x="2" y="0"/>
                </a:cxn>
                <a:cxn ang="0">
                  <a:pos x="0" y="0"/>
                </a:cxn>
              </a:cxnLst>
              <a:rect l="0" t="0" r="r" b="b"/>
              <a:pathLst>
                <a:path w="2" h="1">
                  <a:moveTo>
                    <a:pt x="0" y="0"/>
                  </a:moveTo>
                  <a:lnTo>
                    <a:pt x="0" y="0"/>
                  </a:lnTo>
                  <a:lnTo>
                    <a:pt x="0" y="1"/>
                  </a:lnTo>
                  <a:lnTo>
                    <a:pt x="2" y="0"/>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45" name="Freeform 768"/>
            <p:cNvSpPr>
              <a:spLocks/>
            </p:cNvSpPr>
            <p:nvPr/>
          </p:nvSpPr>
          <p:spPr bwMode="auto">
            <a:xfrm>
              <a:off x="5272770" y="3008923"/>
              <a:ext cx="1756" cy="1014"/>
            </a:xfrm>
            <a:custGeom>
              <a:avLst/>
              <a:gdLst/>
              <a:ahLst/>
              <a:cxnLst>
                <a:cxn ang="0">
                  <a:pos x="0" y="0"/>
                </a:cxn>
                <a:cxn ang="0">
                  <a:pos x="0" y="0"/>
                </a:cxn>
                <a:cxn ang="0">
                  <a:pos x="0" y="1"/>
                </a:cxn>
                <a:cxn ang="0">
                  <a:pos x="2" y="0"/>
                </a:cxn>
                <a:cxn ang="0">
                  <a:pos x="0" y="0"/>
                </a:cxn>
              </a:cxnLst>
              <a:rect l="0" t="0" r="r" b="b"/>
              <a:pathLst>
                <a:path w="2" h="1">
                  <a:moveTo>
                    <a:pt x="0" y="0"/>
                  </a:moveTo>
                  <a:lnTo>
                    <a:pt x="0" y="0"/>
                  </a:lnTo>
                  <a:lnTo>
                    <a:pt x="0" y="1"/>
                  </a:lnTo>
                  <a:lnTo>
                    <a:pt x="2" y="0"/>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46" name="Freeform 769"/>
            <p:cNvSpPr>
              <a:spLocks/>
            </p:cNvSpPr>
            <p:nvPr/>
          </p:nvSpPr>
          <p:spPr bwMode="auto">
            <a:xfrm>
              <a:off x="5319292" y="3042389"/>
              <a:ext cx="877" cy="6085"/>
            </a:xfrm>
            <a:custGeom>
              <a:avLst/>
              <a:gdLst/>
              <a:ahLst/>
              <a:cxnLst>
                <a:cxn ang="0">
                  <a:pos x="0" y="0"/>
                </a:cxn>
                <a:cxn ang="0">
                  <a:pos x="0" y="0"/>
                </a:cxn>
                <a:cxn ang="0">
                  <a:pos x="0" y="3"/>
                </a:cxn>
                <a:cxn ang="0">
                  <a:pos x="0" y="6"/>
                </a:cxn>
                <a:cxn ang="0">
                  <a:pos x="1" y="6"/>
                </a:cxn>
                <a:cxn ang="0">
                  <a:pos x="1" y="3"/>
                </a:cxn>
                <a:cxn ang="0">
                  <a:pos x="1" y="0"/>
                </a:cxn>
                <a:cxn ang="0">
                  <a:pos x="0" y="0"/>
                </a:cxn>
              </a:cxnLst>
              <a:rect l="0" t="0" r="r" b="b"/>
              <a:pathLst>
                <a:path w="1" h="6">
                  <a:moveTo>
                    <a:pt x="0" y="0"/>
                  </a:moveTo>
                  <a:lnTo>
                    <a:pt x="0" y="0"/>
                  </a:lnTo>
                  <a:lnTo>
                    <a:pt x="0" y="3"/>
                  </a:lnTo>
                  <a:lnTo>
                    <a:pt x="0" y="6"/>
                  </a:lnTo>
                  <a:lnTo>
                    <a:pt x="1" y="6"/>
                  </a:lnTo>
                  <a:lnTo>
                    <a:pt x="1" y="3"/>
                  </a:lnTo>
                  <a:lnTo>
                    <a:pt x="1" y="0"/>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47" name="Freeform 770"/>
            <p:cNvSpPr>
              <a:spLocks/>
            </p:cNvSpPr>
            <p:nvPr/>
          </p:nvSpPr>
          <p:spPr bwMode="auto">
            <a:xfrm>
              <a:off x="5319292" y="3042389"/>
              <a:ext cx="877" cy="6085"/>
            </a:xfrm>
            <a:custGeom>
              <a:avLst/>
              <a:gdLst/>
              <a:ahLst/>
              <a:cxnLst>
                <a:cxn ang="0">
                  <a:pos x="0" y="0"/>
                </a:cxn>
                <a:cxn ang="0">
                  <a:pos x="0" y="0"/>
                </a:cxn>
                <a:cxn ang="0">
                  <a:pos x="0" y="3"/>
                </a:cxn>
                <a:cxn ang="0">
                  <a:pos x="0" y="6"/>
                </a:cxn>
                <a:cxn ang="0">
                  <a:pos x="1" y="6"/>
                </a:cxn>
                <a:cxn ang="0">
                  <a:pos x="1" y="3"/>
                </a:cxn>
                <a:cxn ang="0">
                  <a:pos x="1" y="0"/>
                </a:cxn>
                <a:cxn ang="0">
                  <a:pos x="0" y="0"/>
                </a:cxn>
              </a:cxnLst>
              <a:rect l="0" t="0" r="r" b="b"/>
              <a:pathLst>
                <a:path w="1" h="6">
                  <a:moveTo>
                    <a:pt x="0" y="0"/>
                  </a:moveTo>
                  <a:lnTo>
                    <a:pt x="0" y="0"/>
                  </a:lnTo>
                  <a:lnTo>
                    <a:pt x="0" y="3"/>
                  </a:lnTo>
                  <a:lnTo>
                    <a:pt x="0" y="6"/>
                  </a:lnTo>
                  <a:lnTo>
                    <a:pt x="1" y="6"/>
                  </a:lnTo>
                  <a:lnTo>
                    <a:pt x="1" y="3"/>
                  </a:lnTo>
                  <a:lnTo>
                    <a:pt x="1" y="0"/>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48" name="Freeform 771"/>
            <p:cNvSpPr>
              <a:spLocks/>
            </p:cNvSpPr>
            <p:nvPr/>
          </p:nvSpPr>
          <p:spPr bwMode="auto">
            <a:xfrm>
              <a:off x="5314026" y="3094110"/>
              <a:ext cx="1756" cy="3042"/>
            </a:xfrm>
            <a:custGeom>
              <a:avLst/>
              <a:gdLst/>
              <a:ahLst/>
              <a:cxnLst>
                <a:cxn ang="0">
                  <a:pos x="2" y="0"/>
                </a:cxn>
                <a:cxn ang="0">
                  <a:pos x="0" y="2"/>
                </a:cxn>
                <a:cxn ang="0">
                  <a:pos x="0" y="3"/>
                </a:cxn>
                <a:cxn ang="0">
                  <a:pos x="2" y="2"/>
                </a:cxn>
                <a:cxn ang="0">
                  <a:pos x="2" y="0"/>
                </a:cxn>
              </a:cxnLst>
              <a:rect l="0" t="0" r="r" b="b"/>
              <a:pathLst>
                <a:path w="2" h="3">
                  <a:moveTo>
                    <a:pt x="2" y="0"/>
                  </a:moveTo>
                  <a:lnTo>
                    <a:pt x="0" y="2"/>
                  </a:lnTo>
                  <a:lnTo>
                    <a:pt x="0" y="3"/>
                  </a:lnTo>
                  <a:lnTo>
                    <a:pt x="2" y="2"/>
                  </a:lnTo>
                  <a:lnTo>
                    <a:pt x="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49" name="Freeform 772"/>
            <p:cNvSpPr>
              <a:spLocks/>
            </p:cNvSpPr>
            <p:nvPr/>
          </p:nvSpPr>
          <p:spPr bwMode="auto">
            <a:xfrm>
              <a:off x="5314026" y="3094110"/>
              <a:ext cx="1756" cy="3042"/>
            </a:xfrm>
            <a:custGeom>
              <a:avLst/>
              <a:gdLst/>
              <a:ahLst/>
              <a:cxnLst>
                <a:cxn ang="0">
                  <a:pos x="2" y="0"/>
                </a:cxn>
                <a:cxn ang="0">
                  <a:pos x="0" y="2"/>
                </a:cxn>
                <a:cxn ang="0">
                  <a:pos x="0" y="3"/>
                </a:cxn>
                <a:cxn ang="0">
                  <a:pos x="2" y="2"/>
                </a:cxn>
                <a:cxn ang="0">
                  <a:pos x="2" y="0"/>
                </a:cxn>
              </a:cxnLst>
              <a:rect l="0" t="0" r="r" b="b"/>
              <a:pathLst>
                <a:path w="2" h="3">
                  <a:moveTo>
                    <a:pt x="2" y="0"/>
                  </a:moveTo>
                  <a:lnTo>
                    <a:pt x="0" y="2"/>
                  </a:lnTo>
                  <a:lnTo>
                    <a:pt x="0" y="3"/>
                  </a:lnTo>
                  <a:lnTo>
                    <a:pt x="2" y="2"/>
                  </a:lnTo>
                  <a:lnTo>
                    <a:pt x="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50" name="Freeform 773"/>
            <p:cNvSpPr>
              <a:spLocks/>
            </p:cNvSpPr>
            <p:nvPr/>
          </p:nvSpPr>
          <p:spPr bwMode="auto">
            <a:xfrm>
              <a:off x="6574548" y="2752347"/>
              <a:ext cx="53546" cy="72004"/>
            </a:xfrm>
            <a:custGeom>
              <a:avLst/>
              <a:gdLst/>
              <a:ahLst/>
              <a:cxnLst>
                <a:cxn ang="0">
                  <a:pos x="55" y="24"/>
                </a:cxn>
                <a:cxn ang="0">
                  <a:pos x="59" y="20"/>
                </a:cxn>
                <a:cxn ang="0">
                  <a:pos x="56" y="0"/>
                </a:cxn>
                <a:cxn ang="0">
                  <a:pos x="24" y="17"/>
                </a:cxn>
                <a:cxn ang="0">
                  <a:pos x="23" y="19"/>
                </a:cxn>
                <a:cxn ang="0">
                  <a:pos x="20" y="17"/>
                </a:cxn>
                <a:cxn ang="0">
                  <a:pos x="14" y="14"/>
                </a:cxn>
                <a:cxn ang="0">
                  <a:pos x="13" y="11"/>
                </a:cxn>
                <a:cxn ang="0">
                  <a:pos x="11" y="11"/>
                </a:cxn>
                <a:cxn ang="0">
                  <a:pos x="8" y="11"/>
                </a:cxn>
                <a:cxn ang="0">
                  <a:pos x="8" y="17"/>
                </a:cxn>
                <a:cxn ang="0">
                  <a:pos x="8" y="17"/>
                </a:cxn>
                <a:cxn ang="0">
                  <a:pos x="7" y="24"/>
                </a:cxn>
                <a:cxn ang="0">
                  <a:pos x="8" y="27"/>
                </a:cxn>
                <a:cxn ang="0">
                  <a:pos x="7" y="30"/>
                </a:cxn>
                <a:cxn ang="0">
                  <a:pos x="7" y="32"/>
                </a:cxn>
                <a:cxn ang="0">
                  <a:pos x="7" y="33"/>
                </a:cxn>
                <a:cxn ang="0">
                  <a:pos x="6" y="36"/>
                </a:cxn>
                <a:cxn ang="0">
                  <a:pos x="7" y="38"/>
                </a:cxn>
                <a:cxn ang="0">
                  <a:pos x="0" y="67"/>
                </a:cxn>
                <a:cxn ang="0">
                  <a:pos x="0" y="67"/>
                </a:cxn>
                <a:cxn ang="0">
                  <a:pos x="1" y="68"/>
                </a:cxn>
                <a:cxn ang="0">
                  <a:pos x="17" y="69"/>
                </a:cxn>
                <a:cxn ang="0">
                  <a:pos x="21" y="65"/>
                </a:cxn>
                <a:cxn ang="0">
                  <a:pos x="24" y="58"/>
                </a:cxn>
                <a:cxn ang="0">
                  <a:pos x="36" y="56"/>
                </a:cxn>
                <a:cxn ang="0">
                  <a:pos x="37" y="51"/>
                </a:cxn>
                <a:cxn ang="0">
                  <a:pos x="43" y="46"/>
                </a:cxn>
                <a:cxn ang="0">
                  <a:pos x="43" y="46"/>
                </a:cxn>
                <a:cxn ang="0">
                  <a:pos x="29" y="30"/>
                </a:cxn>
                <a:cxn ang="0">
                  <a:pos x="55" y="24"/>
                </a:cxn>
              </a:cxnLst>
              <a:rect l="0" t="0" r="r" b="b"/>
              <a:pathLst>
                <a:path w="59" h="69">
                  <a:moveTo>
                    <a:pt x="55" y="24"/>
                  </a:moveTo>
                  <a:lnTo>
                    <a:pt x="59" y="20"/>
                  </a:lnTo>
                  <a:lnTo>
                    <a:pt x="56" y="0"/>
                  </a:lnTo>
                  <a:lnTo>
                    <a:pt x="24" y="17"/>
                  </a:lnTo>
                  <a:lnTo>
                    <a:pt x="23" y="19"/>
                  </a:lnTo>
                  <a:lnTo>
                    <a:pt x="20" y="17"/>
                  </a:lnTo>
                  <a:lnTo>
                    <a:pt x="14" y="14"/>
                  </a:lnTo>
                  <a:lnTo>
                    <a:pt x="13" y="11"/>
                  </a:lnTo>
                  <a:lnTo>
                    <a:pt x="11" y="11"/>
                  </a:lnTo>
                  <a:lnTo>
                    <a:pt x="8" y="11"/>
                  </a:lnTo>
                  <a:lnTo>
                    <a:pt x="8" y="17"/>
                  </a:lnTo>
                  <a:lnTo>
                    <a:pt x="8" y="17"/>
                  </a:lnTo>
                  <a:lnTo>
                    <a:pt x="7" y="24"/>
                  </a:lnTo>
                  <a:lnTo>
                    <a:pt x="8" y="27"/>
                  </a:lnTo>
                  <a:lnTo>
                    <a:pt x="7" y="30"/>
                  </a:lnTo>
                  <a:lnTo>
                    <a:pt x="7" y="32"/>
                  </a:lnTo>
                  <a:lnTo>
                    <a:pt x="7" y="33"/>
                  </a:lnTo>
                  <a:lnTo>
                    <a:pt x="6" y="36"/>
                  </a:lnTo>
                  <a:lnTo>
                    <a:pt x="7" y="38"/>
                  </a:lnTo>
                  <a:lnTo>
                    <a:pt x="0" y="67"/>
                  </a:lnTo>
                  <a:lnTo>
                    <a:pt x="0" y="67"/>
                  </a:lnTo>
                  <a:lnTo>
                    <a:pt x="1" y="68"/>
                  </a:lnTo>
                  <a:lnTo>
                    <a:pt x="17" y="69"/>
                  </a:lnTo>
                  <a:lnTo>
                    <a:pt x="21" y="65"/>
                  </a:lnTo>
                  <a:lnTo>
                    <a:pt x="24" y="58"/>
                  </a:lnTo>
                  <a:lnTo>
                    <a:pt x="36" y="56"/>
                  </a:lnTo>
                  <a:lnTo>
                    <a:pt x="37" y="51"/>
                  </a:lnTo>
                  <a:lnTo>
                    <a:pt x="43" y="46"/>
                  </a:lnTo>
                  <a:lnTo>
                    <a:pt x="43" y="46"/>
                  </a:lnTo>
                  <a:lnTo>
                    <a:pt x="29" y="30"/>
                  </a:lnTo>
                  <a:lnTo>
                    <a:pt x="55" y="2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51" name="Freeform 774"/>
            <p:cNvSpPr>
              <a:spLocks/>
            </p:cNvSpPr>
            <p:nvPr/>
          </p:nvSpPr>
          <p:spPr bwMode="auto">
            <a:xfrm>
              <a:off x="6574548" y="2752347"/>
              <a:ext cx="53546" cy="72004"/>
            </a:xfrm>
            <a:custGeom>
              <a:avLst/>
              <a:gdLst/>
              <a:ahLst/>
              <a:cxnLst>
                <a:cxn ang="0">
                  <a:pos x="55" y="24"/>
                </a:cxn>
                <a:cxn ang="0">
                  <a:pos x="59" y="20"/>
                </a:cxn>
                <a:cxn ang="0">
                  <a:pos x="56" y="0"/>
                </a:cxn>
                <a:cxn ang="0">
                  <a:pos x="24" y="17"/>
                </a:cxn>
                <a:cxn ang="0">
                  <a:pos x="23" y="19"/>
                </a:cxn>
                <a:cxn ang="0">
                  <a:pos x="20" y="17"/>
                </a:cxn>
                <a:cxn ang="0">
                  <a:pos x="14" y="14"/>
                </a:cxn>
                <a:cxn ang="0">
                  <a:pos x="13" y="11"/>
                </a:cxn>
                <a:cxn ang="0">
                  <a:pos x="11" y="11"/>
                </a:cxn>
                <a:cxn ang="0">
                  <a:pos x="8" y="11"/>
                </a:cxn>
                <a:cxn ang="0">
                  <a:pos x="8" y="17"/>
                </a:cxn>
                <a:cxn ang="0">
                  <a:pos x="8" y="17"/>
                </a:cxn>
                <a:cxn ang="0">
                  <a:pos x="7" y="24"/>
                </a:cxn>
                <a:cxn ang="0">
                  <a:pos x="8" y="27"/>
                </a:cxn>
                <a:cxn ang="0">
                  <a:pos x="7" y="30"/>
                </a:cxn>
                <a:cxn ang="0">
                  <a:pos x="7" y="32"/>
                </a:cxn>
                <a:cxn ang="0">
                  <a:pos x="7" y="33"/>
                </a:cxn>
                <a:cxn ang="0">
                  <a:pos x="6" y="36"/>
                </a:cxn>
                <a:cxn ang="0">
                  <a:pos x="7" y="38"/>
                </a:cxn>
                <a:cxn ang="0">
                  <a:pos x="0" y="67"/>
                </a:cxn>
                <a:cxn ang="0">
                  <a:pos x="0" y="67"/>
                </a:cxn>
                <a:cxn ang="0">
                  <a:pos x="1" y="68"/>
                </a:cxn>
                <a:cxn ang="0">
                  <a:pos x="17" y="69"/>
                </a:cxn>
                <a:cxn ang="0">
                  <a:pos x="21" y="65"/>
                </a:cxn>
                <a:cxn ang="0">
                  <a:pos x="24" y="58"/>
                </a:cxn>
                <a:cxn ang="0">
                  <a:pos x="36" y="56"/>
                </a:cxn>
                <a:cxn ang="0">
                  <a:pos x="37" y="51"/>
                </a:cxn>
                <a:cxn ang="0">
                  <a:pos x="43" y="46"/>
                </a:cxn>
                <a:cxn ang="0">
                  <a:pos x="43" y="46"/>
                </a:cxn>
                <a:cxn ang="0">
                  <a:pos x="29" y="30"/>
                </a:cxn>
                <a:cxn ang="0">
                  <a:pos x="55" y="24"/>
                </a:cxn>
              </a:cxnLst>
              <a:rect l="0" t="0" r="r" b="b"/>
              <a:pathLst>
                <a:path w="59" h="69">
                  <a:moveTo>
                    <a:pt x="55" y="24"/>
                  </a:moveTo>
                  <a:lnTo>
                    <a:pt x="59" y="20"/>
                  </a:lnTo>
                  <a:lnTo>
                    <a:pt x="56" y="0"/>
                  </a:lnTo>
                  <a:lnTo>
                    <a:pt x="24" y="17"/>
                  </a:lnTo>
                  <a:lnTo>
                    <a:pt x="23" y="19"/>
                  </a:lnTo>
                  <a:lnTo>
                    <a:pt x="20" y="17"/>
                  </a:lnTo>
                  <a:lnTo>
                    <a:pt x="14" y="14"/>
                  </a:lnTo>
                  <a:lnTo>
                    <a:pt x="13" y="11"/>
                  </a:lnTo>
                  <a:lnTo>
                    <a:pt x="11" y="11"/>
                  </a:lnTo>
                  <a:lnTo>
                    <a:pt x="8" y="11"/>
                  </a:lnTo>
                  <a:lnTo>
                    <a:pt x="8" y="17"/>
                  </a:lnTo>
                  <a:lnTo>
                    <a:pt x="8" y="17"/>
                  </a:lnTo>
                  <a:lnTo>
                    <a:pt x="7" y="24"/>
                  </a:lnTo>
                  <a:lnTo>
                    <a:pt x="8" y="27"/>
                  </a:lnTo>
                  <a:lnTo>
                    <a:pt x="7" y="30"/>
                  </a:lnTo>
                  <a:lnTo>
                    <a:pt x="7" y="32"/>
                  </a:lnTo>
                  <a:lnTo>
                    <a:pt x="7" y="33"/>
                  </a:lnTo>
                  <a:lnTo>
                    <a:pt x="6" y="36"/>
                  </a:lnTo>
                  <a:lnTo>
                    <a:pt x="7" y="38"/>
                  </a:lnTo>
                  <a:lnTo>
                    <a:pt x="0" y="67"/>
                  </a:lnTo>
                  <a:lnTo>
                    <a:pt x="0" y="67"/>
                  </a:lnTo>
                  <a:lnTo>
                    <a:pt x="1" y="68"/>
                  </a:lnTo>
                  <a:lnTo>
                    <a:pt x="17" y="69"/>
                  </a:lnTo>
                  <a:lnTo>
                    <a:pt x="21" y="65"/>
                  </a:lnTo>
                  <a:lnTo>
                    <a:pt x="24" y="58"/>
                  </a:lnTo>
                  <a:lnTo>
                    <a:pt x="36" y="56"/>
                  </a:lnTo>
                  <a:lnTo>
                    <a:pt x="37" y="51"/>
                  </a:lnTo>
                  <a:lnTo>
                    <a:pt x="43" y="46"/>
                  </a:lnTo>
                  <a:lnTo>
                    <a:pt x="43" y="46"/>
                  </a:lnTo>
                  <a:lnTo>
                    <a:pt x="29" y="30"/>
                  </a:lnTo>
                  <a:lnTo>
                    <a:pt x="55" y="2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52" name="Rectangle 775"/>
            <p:cNvSpPr>
              <a:spLocks noChangeArrowheads="1"/>
            </p:cNvSpPr>
            <p:nvPr/>
          </p:nvSpPr>
          <p:spPr bwMode="auto">
            <a:xfrm>
              <a:off x="6581570" y="2769587"/>
              <a:ext cx="877" cy="1014"/>
            </a:xfrm>
            <a:prstGeom prst="rect">
              <a:avLst/>
            </a:prstGeom>
            <a:solidFill>
              <a:srgbClr val="FFFFFF">
                <a:alpha val="25882"/>
              </a:srgbClr>
            </a:solidFill>
            <a:ln w="9525">
              <a:noFill/>
              <a:miter lim="800000"/>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53" name="Freeform 776"/>
            <p:cNvSpPr>
              <a:spLocks/>
            </p:cNvSpPr>
            <p:nvPr/>
          </p:nvSpPr>
          <p:spPr bwMode="auto">
            <a:xfrm>
              <a:off x="6581570" y="2769587"/>
              <a:ext cx="877" cy="1014"/>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54" name="Freeform 777"/>
            <p:cNvSpPr>
              <a:spLocks/>
            </p:cNvSpPr>
            <p:nvPr/>
          </p:nvSpPr>
          <p:spPr bwMode="auto">
            <a:xfrm>
              <a:off x="5255213" y="1209852"/>
              <a:ext cx="7901" cy="4057"/>
            </a:xfrm>
            <a:custGeom>
              <a:avLst/>
              <a:gdLst/>
              <a:ahLst/>
              <a:cxnLst>
                <a:cxn ang="0">
                  <a:pos x="8" y="0"/>
                </a:cxn>
                <a:cxn ang="0">
                  <a:pos x="0" y="0"/>
                </a:cxn>
                <a:cxn ang="0">
                  <a:pos x="3" y="4"/>
                </a:cxn>
                <a:cxn ang="0">
                  <a:pos x="8" y="0"/>
                </a:cxn>
                <a:cxn ang="0">
                  <a:pos x="8" y="0"/>
                </a:cxn>
              </a:cxnLst>
              <a:rect l="0" t="0" r="r" b="b"/>
              <a:pathLst>
                <a:path w="8" h="4">
                  <a:moveTo>
                    <a:pt x="8" y="0"/>
                  </a:moveTo>
                  <a:lnTo>
                    <a:pt x="0" y="0"/>
                  </a:lnTo>
                  <a:lnTo>
                    <a:pt x="3" y="4"/>
                  </a:lnTo>
                  <a:lnTo>
                    <a:pt x="8" y="0"/>
                  </a:lnTo>
                  <a:lnTo>
                    <a:pt x="8" y="0"/>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55" name="Freeform 778"/>
            <p:cNvSpPr>
              <a:spLocks/>
            </p:cNvSpPr>
            <p:nvPr/>
          </p:nvSpPr>
          <p:spPr bwMode="auto">
            <a:xfrm>
              <a:off x="5167434" y="1209852"/>
              <a:ext cx="721552" cy="951256"/>
            </a:xfrm>
            <a:custGeom>
              <a:avLst/>
              <a:gdLst/>
              <a:ahLst/>
              <a:cxnLst>
                <a:cxn ang="0">
                  <a:pos x="83" y="73"/>
                </a:cxn>
                <a:cxn ang="0">
                  <a:pos x="15" y="110"/>
                </a:cxn>
                <a:cxn ang="0">
                  <a:pos x="22" y="161"/>
                </a:cxn>
                <a:cxn ang="0">
                  <a:pos x="92" y="169"/>
                </a:cxn>
                <a:cxn ang="0">
                  <a:pos x="96" y="206"/>
                </a:cxn>
                <a:cxn ang="0">
                  <a:pos x="61" y="238"/>
                </a:cxn>
                <a:cxn ang="0">
                  <a:pos x="112" y="276"/>
                </a:cxn>
                <a:cxn ang="0">
                  <a:pos x="175" y="275"/>
                </a:cxn>
                <a:cxn ang="0">
                  <a:pos x="211" y="328"/>
                </a:cxn>
                <a:cxn ang="0">
                  <a:pos x="239" y="391"/>
                </a:cxn>
                <a:cxn ang="0">
                  <a:pos x="259" y="450"/>
                </a:cxn>
                <a:cxn ang="0">
                  <a:pos x="268" y="498"/>
                </a:cxn>
                <a:cxn ang="0">
                  <a:pos x="292" y="519"/>
                </a:cxn>
                <a:cxn ang="0">
                  <a:pos x="311" y="554"/>
                </a:cxn>
                <a:cxn ang="0">
                  <a:pos x="317" y="586"/>
                </a:cxn>
                <a:cxn ang="0">
                  <a:pos x="311" y="625"/>
                </a:cxn>
                <a:cxn ang="0">
                  <a:pos x="308" y="645"/>
                </a:cxn>
                <a:cxn ang="0">
                  <a:pos x="275" y="668"/>
                </a:cxn>
                <a:cxn ang="0">
                  <a:pos x="276" y="718"/>
                </a:cxn>
                <a:cxn ang="0">
                  <a:pos x="292" y="753"/>
                </a:cxn>
                <a:cxn ang="0">
                  <a:pos x="326" y="772"/>
                </a:cxn>
                <a:cxn ang="0">
                  <a:pos x="316" y="822"/>
                </a:cxn>
                <a:cxn ang="0">
                  <a:pos x="333" y="852"/>
                </a:cxn>
                <a:cxn ang="0">
                  <a:pos x="352" y="869"/>
                </a:cxn>
                <a:cxn ang="0">
                  <a:pos x="353" y="889"/>
                </a:cxn>
                <a:cxn ang="0">
                  <a:pos x="381" y="891"/>
                </a:cxn>
                <a:cxn ang="0">
                  <a:pos x="398" y="902"/>
                </a:cxn>
                <a:cxn ang="0">
                  <a:pos x="424" y="897"/>
                </a:cxn>
                <a:cxn ang="0">
                  <a:pos x="433" y="836"/>
                </a:cxn>
                <a:cxn ang="0">
                  <a:pos x="445" y="817"/>
                </a:cxn>
                <a:cxn ang="0">
                  <a:pos x="456" y="801"/>
                </a:cxn>
                <a:cxn ang="0">
                  <a:pos x="449" y="761"/>
                </a:cxn>
                <a:cxn ang="0">
                  <a:pos x="472" y="737"/>
                </a:cxn>
                <a:cxn ang="0">
                  <a:pos x="493" y="725"/>
                </a:cxn>
                <a:cxn ang="0">
                  <a:pos x="500" y="725"/>
                </a:cxn>
                <a:cxn ang="0">
                  <a:pos x="525" y="725"/>
                </a:cxn>
                <a:cxn ang="0">
                  <a:pos x="548" y="698"/>
                </a:cxn>
                <a:cxn ang="0">
                  <a:pos x="562" y="668"/>
                </a:cxn>
                <a:cxn ang="0">
                  <a:pos x="574" y="631"/>
                </a:cxn>
                <a:cxn ang="0">
                  <a:pos x="594" y="645"/>
                </a:cxn>
                <a:cxn ang="0">
                  <a:pos x="613" y="639"/>
                </a:cxn>
                <a:cxn ang="0">
                  <a:pos x="648" y="631"/>
                </a:cxn>
                <a:cxn ang="0">
                  <a:pos x="673" y="612"/>
                </a:cxn>
                <a:cxn ang="0">
                  <a:pos x="692" y="593"/>
                </a:cxn>
                <a:cxn ang="0">
                  <a:pos x="708" y="577"/>
                </a:cxn>
                <a:cxn ang="0">
                  <a:pos x="657" y="562"/>
                </a:cxn>
                <a:cxn ang="0">
                  <a:pos x="644" y="527"/>
                </a:cxn>
                <a:cxn ang="0">
                  <a:pos x="663" y="503"/>
                </a:cxn>
                <a:cxn ang="0">
                  <a:pos x="728" y="548"/>
                </a:cxn>
                <a:cxn ang="0">
                  <a:pos x="724" y="498"/>
                </a:cxn>
                <a:cxn ang="0">
                  <a:pos x="676" y="477"/>
                </a:cxn>
                <a:cxn ang="0">
                  <a:pos x="681" y="436"/>
                </a:cxn>
                <a:cxn ang="0">
                  <a:pos x="690" y="401"/>
                </a:cxn>
                <a:cxn ang="0">
                  <a:pos x="718" y="385"/>
                </a:cxn>
                <a:cxn ang="0">
                  <a:pos x="760" y="353"/>
                </a:cxn>
                <a:cxn ang="0">
                  <a:pos x="725" y="304"/>
                </a:cxn>
                <a:cxn ang="0">
                  <a:pos x="738" y="260"/>
                </a:cxn>
                <a:cxn ang="0">
                  <a:pos x="719" y="243"/>
                </a:cxn>
                <a:cxn ang="0">
                  <a:pos x="777" y="196"/>
                </a:cxn>
                <a:cxn ang="0">
                  <a:pos x="748" y="171"/>
                </a:cxn>
                <a:cxn ang="0">
                  <a:pos x="738" y="105"/>
                </a:cxn>
                <a:cxn ang="0">
                  <a:pos x="758" y="48"/>
                </a:cxn>
                <a:cxn ang="0">
                  <a:pos x="747" y="6"/>
                </a:cxn>
              </a:cxnLst>
              <a:rect l="0" t="0" r="r" b="b"/>
              <a:pathLst>
                <a:path w="787" h="913">
                  <a:moveTo>
                    <a:pt x="112" y="6"/>
                  </a:moveTo>
                  <a:lnTo>
                    <a:pt x="115" y="7"/>
                  </a:lnTo>
                  <a:lnTo>
                    <a:pt x="118" y="7"/>
                  </a:lnTo>
                  <a:lnTo>
                    <a:pt x="121" y="13"/>
                  </a:lnTo>
                  <a:lnTo>
                    <a:pt x="120" y="17"/>
                  </a:lnTo>
                  <a:lnTo>
                    <a:pt x="115" y="17"/>
                  </a:lnTo>
                  <a:lnTo>
                    <a:pt x="111" y="16"/>
                  </a:lnTo>
                  <a:lnTo>
                    <a:pt x="109" y="25"/>
                  </a:lnTo>
                  <a:lnTo>
                    <a:pt x="112" y="26"/>
                  </a:lnTo>
                  <a:lnTo>
                    <a:pt x="115" y="35"/>
                  </a:lnTo>
                  <a:lnTo>
                    <a:pt x="115" y="41"/>
                  </a:lnTo>
                  <a:lnTo>
                    <a:pt x="111" y="48"/>
                  </a:lnTo>
                  <a:lnTo>
                    <a:pt x="108" y="54"/>
                  </a:lnTo>
                  <a:lnTo>
                    <a:pt x="105" y="55"/>
                  </a:lnTo>
                  <a:lnTo>
                    <a:pt x="98" y="73"/>
                  </a:lnTo>
                  <a:lnTo>
                    <a:pt x="95" y="74"/>
                  </a:lnTo>
                  <a:lnTo>
                    <a:pt x="95" y="73"/>
                  </a:lnTo>
                  <a:lnTo>
                    <a:pt x="92" y="73"/>
                  </a:lnTo>
                  <a:lnTo>
                    <a:pt x="86" y="70"/>
                  </a:lnTo>
                  <a:lnTo>
                    <a:pt x="83" y="73"/>
                  </a:lnTo>
                  <a:lnTo>
                    <a:pt x="80" y="68"/>
                  </a:lnTo>
                  <a:lnTo>
                    <a:pt x="72" y="71"/>
                  </a:lnTo>
                  <a:lnTo>
                    <a:pt x="72" y="74"/>
                  </a:lnTo>
                  <a:lnTo>
                    <a:pt x="69" y="73"/>
                  </a:lnTo>
                  <a:lnTo>
                    <a:pt x="60" y="74"/>
                  </a:lnTo>
                  <a:lnTo>
                    <a:pt x="51" y="83"/>
                  </a:lnTo>
                  <a:lnTo>
                    <a:pt x="53" y="86"/>
                  </a:lnTo>
                  <a:lnTo>
                    <a:pt x="56" y="86"/>
                  </a:lnTo>
                  <a:lnTo>
                    <a:pt x="56" y="90"/>
                  </a:lnTo>
                  <a:lnTo>
                    <a:pt x="51" y="89"/>
                  </a:lnTo>
                  <a:lnTo>
                    <a:pt x="50" y="89"/>
                  </a:lnTo>
                  <a:lnTo>
                    <a:pt x="48" y="92"/>
                  </a:lnTo>
                  <a:lnTo>
                    <a:pt x="47" y="93"/>
                  </a:lnTo>
                  <a:lnTo>
                    <a:pt x="40" y="93"/>
                  </a:lnTo>
                  <a:lnTo>
                    <a:pt x="37" y="96"/>
                  </a:lnTo>
                  <a:lnTo>
                    <a:pt x="30" y="99"/>
                  </a:lnTo>
                  <a:lnTo>
                    <a:pt x="27" y="108"/>
                  </a:lnTo>
                  <a:lnTo>
                    <a:pt x="22" y="105"/>
                  </a:lnTo>
                  <a:lnTo>
                    <a:pt x="16" y="106"/>
                  </a:lnTo>
                  <a:lnTo>
                    <a:pt x="15" y="110"/>
                  </a:lnTo>
                  <a:lnTo>
                    <a:pt x="8" y="113"/>
                  </a:lnTo>
                  <a:lnTo>
                    <a:pt x="5" y="116"/>
                  </a:lnTo>
                  <a:lnTo>
                    <a:pt x="3" y="121"/>
                  </a:lnTo>
                  <a:lnTo>
                    <a:pt x="2" y="126"/>
                  </a:lnTo>
                  <a:lnTo>
                    <a:pt x="2" y="129"/>
                  </a:lnTo>
                  <a:lnTo>
                    <a:pt x="6" y="131"/>
                  </a:lnTo>
                  <a:lnTo>
                    <a:pt x="3" y="131"/>
                  </a:lnTo>
                  <a:lnTo>
                    <a:pt x="2" y="137"/>
                  </a:lnTo>
                  <a:lnTo>
                    <a:pt x="0" y="138"/>
                  </a:lnTo>
                  <a:lnTo>
                    <a:pt x="0" y="141"/>
                  </a:lnTo>
                  <a:lnTo>
                    <a:pt x="5" y="145"/>
                  </a:lnTo>
                  <a:lnTo>
                    <a:pt x="9" y="147"/>
                  </a:lnTo>
                  <a:lnTo>
                    <a:pt x="9" y="150"/>
                  </a:lnTo>
                  <a:lnTo>
                    <a:pt x="9" y="153"/>
                  </a:lnTo>
                  <a:lnTo>
                    <a:pt x="11" y="154"/>
                  </a:lnTo>
                  <a:lnTo>
                    <a:pt x="15" y="157"/>
                  </a:lnTo>
                  <a:lnTo>
                    <a:pt x="16" y="155"/>
                  </a:lnTo>
                  <a:lnTo>
                    <a:pt x="19" y="158"/>
                  </a:lnTo>
                  <a:lnTo>
                    <a:pt x="24" y="158"/>
                  </a:lnTo>
                  <a:lnTo>
                    <a:pt x="22" y="161"/>
                  </a:lnTo>
                  <a:lnTo>
                    <a:pt x="24" y="166"/>
                  </a:lnTo>
                  <a:lnTo>
                    <a:pt x="40" y="160"/>
                  </a:lnTo>
                  <a:lnTo>
                    <a:pt x="35" y="167"/>
                  </a:lnTo>
                  <a:lnTo>
                    <a:pt x="34" y="171"/>
                  </a:lnTo>
                  <a:lnTo>
                    <a:pt x="41" y="171"/>
                  </a:lnTo>
                  <a:lnTo>
                    <a:pt x="47" y="169"/>
                  </a:lnTo>
                  <a:lnTo>
                    <a:pt x="47" y="171"/>
                  </a:lnTo>
                  <a:lnTo>
                    <a:pt x="40" y="176"/>
                  </a:lnTo>
                  <a:lnTo>
                    <a:pt x="41" y="180"/>
                  </a:lnTo>
                  <a:lnTo>
                    <a:pt x="56" y="185"/>
                  </a:lnTo>
                  <a:lnTo>
                    <a:pt x="61" y="182"/>
                  </a:lnTo>
                  <a:lnTo>
                    <a:pt x="61" y="179"/>
                  </a:lnTo>
                  <a:lnTo>
                    <a:pt x="60" y="173"/>
                  </a:lnTo>
                  <a:lnTo>
                    <a:pt x="61" y="171"/>
                  </a:lnTo>
                  <a:lnTo>
                    <a:pt x="66" y="177"/>
                  </a:lnTo>
                  <a:lnTo>
                    <a:pt x="67" y="180"/>
                  </a:lnTo>
                  <a:lnTo>
                    <a:pt x="82" y="179"/>
                  </a:lnTo>
                  <a:lnTo>
                    <a:pt x="85" y="173"/>
                  </a:lnTo>
                  <a:lnTo>
                    <a:pt x="89" y="169"/>
                  </a:lnTo>
                  <a:lnTo>
                    <a:pt x="92" y="169"/>
                  </a:lnTo>
                  <a:lnTo>
                    <a:pt x="92" y="171"/>
                  </a:lnTo>
                  <a:lnTo>
                    <a:pt x="88" y="173"/>
                  </a:lnTo>
                  <a:lnTo>
                    <a:pt x="89" y="176"/>
                  </a:lnTo>
                  <a:lnTo>
                    <a:pt x="92" y="174"/>
                  </a:lnTo>
                  <a:lnTo>
                    <a:pt x="93" y="171"/>
                  </a:lnTo>
                  <a:lnTo>
                    <a:pt x="98" y="170"/>
                  </a:lnTo>
                  <a:lnTo>
                    <a:pt x="98" y="173"/>
                  </a:lnTo>
                  <a:lnTo>
                    <a:pt x="99" y="177"/>
                  </a:lnTo>
                  <a:lnTo>
                    <a:pt x="102" y="179"/>
                  </a:lnTo>
                  <a:lnTo>
                    <a:pt x="101" y="185"/>
                  </a:lnTo>
                  <a:lnTo>
                    <a:pt x="99" y="186"/>
                  </a:lnTo>
                  <a:lnTo>
                    <a:pt x="95" y="186"/>
                  </a:lnTo>
                  <a:lnTo>
                    <a:pt x="92" y="189"/>
                  </a:lnTo>
                  <a:lnTo>
                    <a:pt x="93" y="192"/>
                  </a:lnTo>
                  <a:lnTo>
                    <a:pt x="95" y="195"/>
                  </a:lnTo>
                  <a:lnTo>
                    <a:pt x="102" y="199"/>
                  </a:lnTo>
                  <a:lnTo>
                    <a:pt x="104" y="201"/>
                  </a:lnTo>
                  <a:lnTo>
                    <a:pt x="104" y="202"/>
                  </a:lnTo>
                  <a:lnTo>
                    <a:pt x="102" y="205"/>
                  </a:lnTo>
                  <a:lnTo>
                    <a:pt x="96" y="206"/>
                  </a:lnTo>
                  <a:lnTo>
                    <a:pt x="96" y="209"/>
                  </a:lnTo>
                  <a:lnTo>
                    <a:pt x="93" y="209"/>
                  </a:lnTo>
                  <a:lnTo>
                    <a:pt x="75" y="203"/>
                  </a:lnTo>
                  <a:lnTo>
                    <a:pt x="67" y="205"/>
                  </a:lnTo>
                  <a:lnTo>
                    <a:pt x="38" y="202"/>
                  </a:lnTo>
                  <a:lnTo>
                    <a:pt x="31" y="205"/>
                  </a:lnTo>
                  <a:lnTo>
                    <a:pt x="31" y="208"/>
                  </a:lnTo>
                  <a:lnTo>
                    <a:pt x="28" y="208"/>
                  </a:lnTo>
                  <a:lnTo>
                    <a:pt x="21" y="218"/>
                  </a:lnTo>
                  <a:lnTo>
                    <a:pt x="22" y="218"/>
                  </a:lnTo>
                  <a:lnTo>
                    <a:pt x="30" y="221"/>
                  </a:lnTo>
                  <a:lnTo>
                    <a:pt x="30" y="224"/>
                  </a:lnTo>
                  <a:lnTo>
                    <a:pt x="30" y="227"/>
                  </a:lnTo>
                  <a:lnTo>
                    <a:pt x="34" y="230"/>
                  </a:lnTo>
                  <a:lnTo>
                    <a:pt x="38" y="230"/>
                  </a:lnTo>
                  <a:lnTo>
                    <a:pt x="46" y="215"/>
                  </a:lnTo>
                  <a:lnTo>
                    <a:pt x="47" y="217"/>
                  </a:lnTo>
                  <a:lnTo>
                    <a:pt x="41" y="227"/>
                  </a:lnTo>
                  <a:lnTo>
                    <a:pt x="43" y="232"/>
                  </a:lnTo>
                  <a:lnTo>
                    <a:pt x="61" y="238"/>
                  </a:lnTo>
                  <a:lnTo>
                    <a:pt x="67" y="237"/>
                  </a:lnTo>
                  <a:lnTo>
                    <a:pt x="67" y="240"/>
                  </a:lnTo>
                  <a:lnTo>
                    <a:pt x="63" y="244"/>
                  </a:lnTo>
                  <a:lnTo>
                    <a:pt x="57" y="244"/>
                  </a:lnTo>
                  <a:lnTo>
                    <a:pt x="48" y="254"/>
                  </a:lnTo>
                  <a:lnTo>
                    <a:pt x="67" y="276"/>
                  </a:lnTo>
                  <a:lnTo>
                    <a:pt x="95" y="286"/>
                  </a:lnTo>
                  <a:lnTo>
                    <a:pt x="86" y="273"/>
                  </a:lnTo>
                  <a:lnTo>
                    <a:pt x="82" y="270"/>
                  </a:lnTo>
                  <a:lnTo>
                    <a:pt x="85" y="264"/>
                  </a:lnTo>
                  <a:lnTo>
                    <a:pt x="89" y="264"/>
                  </a:lnTo>
                  <a:lnTo>
                    <a:pt x="93" y="272"/>
                  </a:lnTo>
                  <a:lnTo>
                    <a:pt x="95" y="272"/>
                  </a:lnTo>
                  <a:lnTo>
                    <a:pt x="96" y="266"/>
                  </a:lnTo>
                  <a:lnTo>
                    <a:pt x="99" y="262"/>
                  </a:lnTo>
                  <a:lnTo>
                    <a:pt x="106" y="264"/>
                  </a:lnTo>
                  <a:lnTo>
                    <a:pt x="105" y="267"/>
                  </a:lnTo>
                  <a:lnTo>
                    <a:pt x="105" y="275"/>
                  </a:lnTo>
                  <a:lnTo>
                    <a:pt x="109" y="279"/>
                  </a:lnTo>
                  <a:lnTo>
                    <a:pt x="112" y="276"/>
                  </a:lnTo>
                  <a:lnTo>
                    <a:pt x="114" y="270"/>
                  </a:lnTo>
                  <a:lnTo>
                    <a:pt x="118" y="269"/>
                  </a:lnTo>
                  <a:lnTo>
                    <a:pt x="120" y="270"/>
                  </a:lnTo>
                  <a:lnTo>
                    <a:pt x="121" y="266"/>
                  </a:lnTo>
                  <a:lnTo>
                    <a:pt x="124" y="263"/>
                  </a:lnTo>
                  <a:lnTo>
                    <a:pt x="127" y="260"/>
                  </a:lnTo>
                  <a:lnTo>
                    <a:pt x="128" y="266"/>
                  </a:lnTo>
                  <a:lnTo>
                    <a:pt x="131" y="270"/>
                  </a:lnTo>
                  <a:lnTo>
                    <a:pt x="136" y="266"/>
                  </a:lnTo>
                  <a:lnTo>
                    <a:pt x="138" y="259"/>
                  </a:lnTo>
                  <a:lnTo>
                    <a:pt x="144" y="260"/>
                  </a:lnTo>
                  <a:lnTo>
                    <a:pt x="146" y="264"/>
                  </a:lnTo>
                  <a:lnTo>
                    <a:pt x="149" y="266"/>
                  </a:lnTo>
                  <a:lnTo>
                    <a:pt x="151" y="266"/>
                  </a:lnTo>
                  <a:lnTo>
                    <a:pt x="170" y="270"/>
                  </a:lnTo>
                  <a:lnTo>
                    <a:pt x="172" y="276"/>
                  </a:lnTo>
                  <a:lnTo>
                    <a:pt x="175" y="278"/>
                  </a:lnTo>
                  <a:lnTo>
                    <a:pt x="175" y="279"/>
                  </a:lnTo>
                  <a:lnTo>
                    <a:pt x="175" y="275"/>
                  </a:lnTo>
                  <a:lnTo>
                    <a:pt x="175" y="275"/>
                  </a:lnTo>
                  <a:lnTo>
                    <a:pt x="185" y="282"/>
                  </a:lnTo>
                  <a:lnTo>
                    <a:pt x="188" y="282"/>
                  </a:lnTo>
                  <a:lnTo>
                    <a:pt x="189" y="285"/>
                  </a:lnTo>
                  <a:lnTo>
                    <a:pt x="188" y="291"/>
                  </a:lnTo>
                  <a:lnTo>
                    <a:pt x="192" y="291"/>
                  </a:lnTo>
                  <a:lnTo>
                    <a:pt x="195" y="286"/>
                  </a:lnTo>
                  <a:lnTo>
                    <a:pt x="196" y="292"/>
                  </a:lnTo>
                  <a:lnTo>
                    <a:pt x="198" y="292"/>
                  </a:lnTo>
                  <a:lnTo>
                    <a:pt x="199" y="295"/>
                  </a:lnTo>
                  <a:lnTo>
                    <a:pt x="204" y="294"/>
                  </a:lnTo>
                  <a:lnTo>
                    <a:pt x="207" y="301"/>
                  </a:lnTo>
                  <a:lnTo>
                    <a:pt x="208" y="304"/>
                  </a:lnTo>
                  <a:lnTo>
                    <a:pt x="208" y="304"/>
                  </a:lnTo>
                  <a:lnTo>
                    <a:pt x="208" y="307"/>
                  </a:lnTo>
                  <a:lnTo>
                    <a:pt x="205" y="315"/>
                  </a:lnTo>
                  <a:lnTo>
                    <a:pt x="208" y="312"/>
                  </a:lnTo>
                  <a:lnTo>
                    <a:pt x="208" y="315"/>
                  </a:lnTo>
                  <a:lnTo>
                    <a:pt x="208" y="317"/>
                  </a:lnTo>
                  <a:lnTo>
                    <a:pt x="211" y="323"/>
                  </a:lnTo>
                  <a:lnTo>
                    <a:pt x="211" y="328"/>
                  </a:lnTo>
                  <a:lnTo>
                    <a:pt x="214" y="331"/>
                  </a:lnTo>
                  <a:lnTo>
                    <a:pt x="227" y="341"/>
                  </a:lnTo>
                  <a:lnTo>
                    <a:pt x="228" y="344"/>
                  </a:lnTo>
                  <a:lnTo>
                    <a:pt x="226" y="346"/>
                  </a:lnTo>
                  <a:lnTo>
                    <a:pt x="226" y="347"/>
                  </a:lnTo>
                  <a:lnTo>
                    <a:pt x="226" y="350"/>
                  </a:lnTo>
                  <a:lnTo>
                    <a:pt x="230" y="352"/>
                  </a:lnTo>
                  <a:lnTo>
                    <a:pt x="237" y="362"/>
                  </a:lnTo>
                  <a:lnTo>
                    <a:pt x="236" y="363"/>
                  </a:lnTo>
                  <a:lnTo>
                    <a:pt x="228" y="365"/>
                  </a:lnTo>
                  <a:lnTo>
                    <a:pt x="234" y="366"/>
                  </a:lnTo>
                  <a:lnTo>
                    <a:pt x="237" y="366"/>
                  </a:lnTo>
                  <a:lnTo>
                    <a:pt x="237" y="369"/>
                  </a:lnTo>
                  <a:lnTo>
                    <a:pt x="231" y="369"/>
                  </a:lnTo>
                  <a:lnTo>
                    <a:pt x="237" y="373"/>
                  </a:lnTo>
                  <a:lnTo>
                    <a:pt x="239" y="375"/>
                  </a:lnTo>
                  <a:lnTo>
                    <a:pt x="237" y="385"/>
                  </a:lnTo>
                  <a:lnTo>
                    <a:pt x="240" y="385"/>
                  </a:lnTo>
                  <a:lnTo>
                    <a:pt x="242" y="387"/>
                  </a:lnTo>
                  <a:lnTo>
                    <a:pt x="239" y="391"/>
                  </a:lnTo>
                  <a:lnTo>
                    <a:pt x="244" y="395"/>
                  </a:lnTo>
                  <a:lnTo>
                    <a:pt x="243" y="401"/>
                  </a:lnTo>
                  <a:lnTo>
                    <a:pt x="244" y="403"/>
                  </a:lnTo>
                  <a:lnTo>
                    <a:pt x="242" y="401"/>
                  </a:lnTo>
                  <a:lnTo>
                    <a:pt x="242" y="407"/>
                  </a:lnTo>
                  <a:lnTo>
                    <a:pt x="247" y="411"/>
                  </a:lnTo>
                  <a:lnTo>
                    <a:pt x="247" y="416"/>
                  </a:lnTo>
                  <a:lnTo>
                    <a:pt x="246" y="421"/>
                  </a:lnTo>
                  <a:lnTo>
                    <a:pt x="249" y="420"/>
                  </a:lnTo>
                  <a:lnTo>
                    <a:pt x="253" y="417"/>
                  </a:lnTo>
                  <a:lnTo>
                    <a:pt x="252" y="420"/>
                  </a:lnTo>
                  <a:lnTo>
                    <a:pt x="249" y="426"/>
                  </a:lnTo>
                  <a:lnTo>
                    <a:pt x="252" y="427"/>
                  </a:lnTo>
                  <a:lnTo>
                    <a:pt x="249" y="430"/>
                  </a:lnTo>
                  <a:lnTo>
                    <a:pt x="249" y="433"/>
                  </a:lnTo>
                  <a:lnTo>
                    <a:pt x="246" y="434"/>
                  </a:lnTo>
                  <a:lnTo>
                    <a:pt x="259" y="440"/>
                  </a:lnTo>
                  <a:lnTo>
                    <a:pt x="262" y="445"/>
                  </a:lnTo>
                  <a:lnTo>
                    <a:pt x="260" y="449"/>
                  </a:lnTo>
                  <a:lnTo>
                    <a:pt x="259" y="450"/>
                  </a:lnTo>
                  <a:lnTo>
                    <a:pt x="260" y="464"/>
                  </a:lnTo>
                  <a:lnTo>
                    <a:pt x="257" y="464"/>
                  </a:lnTo>
                  <a:lnTo>
                    <a:pt x="259" y="468"/>
                  </a:lnTo>
                  <a:lnTo>
                    <a:pt x="257" y="471"/>
                  </a:lnTo>
                  <a:lnTo>
                    <a:pt x="256" y="474"/>
                  </a:lnTo>
                  <a:lnTo>
                    <a:pt x="250" y="482"/>
                  </a:lnTo>
                  <a:lnTo>
                    <a:pt x="247" y="484"/>
                  </a:lnTo>
                  <a:lnTo>
                    <a:pt x="252" y="488"/>
                  </a:lnTo>
                  <a:lnTo>
                    <a:pt x="257" y="485"/>
                  </a:lnTo>
                  <a:lnTo>
                    <a:pt x="252" y="494"/>
                  </a:lnTo>
                  <a:lnTo>
                    <a:pt x="247" y="496"/>
                  </a:lnTo>
                  <a:lnTo>
                    <a:pt x="244" y="500"/>
                  </a:lnTo>
                  <a:lnTo>
                    <a:pt x="250" y="511"/>
                  </a:lnTo>
                  <a:lnTo>
                    <a:pt x="253" y="509"/>
                  </a:lnTo>
                  <a:lnTo>
                    <a:pt x="256" y="511"/>
                  </a:lnTo>
                  <a:lnTo>
                    <a:pt x="262" y="514"/>
                  </a:lnTo>
                  <a:lnTo>
                    <a:pt x="269" y="510"/>
                  </a:lnTo>
                  <a:lnTo>
                    <a:pt x="269" y="506"/>
                  </a:lnTo>
                  <a:lnTo>
                    <a:pt x="266" y="501"/>
                  </a:lnTo>
                  <a:lnTo>
                    <a:pt x="268" y="498"/>
                  </a:lnTo>
                  <a:lnTo>
                    <a:pt x="271" y="501"/>
                  </a:lnTo>
                  <a:lnTo>
                    <a:pt x="272" y="498"/>
                  </a:lnTo>
                  <a:lnTo>
                    <a:pt x="271" y="496"/>
                  </a:lnTo>
                  <a:lnTo>
                    <a:pt x="275" y="493"/>
                  </a:lnTo>
                  <a:lnTo>
                    <a:pt x="276" y="485"/>
                  </a:lnTo>
                  <a:lnTo>
                    <a:pt x="281" y="494"/>
                  </a:lnTo>
                  <a:lnTo>
                    <a:pt x="284" y="490"/>
                  </a:lnTo>
                  <a:lnTo>
                    <a:pt x="282" y="496"/>
                  </a:lnTo>
                  <a:lnTo>
                    <a:pt x="282" y="498"/>
                  </a:lnTo>
                  <a:lnTo>
                    <a:pt x="287" y="501"/>
                  </a:lnTo>
                  <a:lnTo>
                    <a:pt x="287" y="501"/>
                  </a:lnTo>
                  <a:lnTo>
                    <a:pt x="289" y="501"/>
                  </a:lnTo>
                  <a:lnTo>
                    <a:pt x="300" y="500"/>
                  </a:lnTo>
                  <a:lnTo>
                    <a:pt x="297" y="504"/>
                  </a:lnTo>
                  <a:lnTo>
                    <a:pt x="287" y="507"/>
                  </a:lnTo>
                  <a:lnTo>
                    <a:pt x="284" y="511"/>
                  </a:lnTo>
                  <a:lnTo>
                    <a:pt x="291" y="513"/>
                  </a:lnTo>
                  <a:lnTo>
                    <a:pt x="300" y="510"/>
                  </a:lnTo>
                  <a:lnTo>
                    <a:pt x="294" y="513"/>
                  </a:lnTo>
                  <a:lnTo>
                    <a:pt x="292" y="519"/>
                  </a:lnTo>
                  <a:lnTo>
                    <a:pt x="289" y="523"/>
                  </a:lnTo>
                  <a:lnTo>
                    <a:pt x="302" y="514"/>
                  </a:lnTo>
                  <a:lnTo>
                    <a:pt x="295" y="525"/>
                  </a:lnTo>
                  <a:lnTo>
                    <a:pt x="307" y="523"/>
                  </a:lnTo>
                  <a:lnTo>
                    <a:pt x="305" y="526"/>
                  </a:lnTo>
                  <a:lnTo>
                    <a:pt x="307" y="529"/>
                  </a:lnTo>
                  <a:lnTo>
                    <a:pt x="307" y="530"/>
                  </a:lnTo>
                  <a:lnTo>
                    <a:pt x="300" y="527"/>
                  </a:lnTo>
                  <a:lnTo>
                    <a:pt x="302" y="532"/>
                  </a:lnTo>
                  <a:lnTo>
                    <a:pt x="311" y="535"/>
                  </a:lnTo>
                  <a:lnTo>
                    <a:pt x="314" y="539"/>
                  </a:lnTo>
                  <a:lnTo>
                    <a:pt x="316" y="543"/>
                  </a:lnTo>
                  <a:lnTo>
                    <a:pt x="311" y="541"/>
                  </a:lnTo>
                  <a:lnTo>
                    <a:pt x="314" y="543"/>
                  </a:lnTo>
                  <a:lnTo>
                    <a:pt x="314" y="546"/>
                  </a:lnTo>
                  <a:lnTo>
                    <a:pt x="311" y="546"/>
                  </a:lnTo>
                  <a:lnTo>
                    <a:pt x="313" y="549"/>
                  </a:lnTo>
                  <a:lnTo>
                    <a:pt x="308" y="548"/>
                  </a:lnTo>
                  <a:lnTo>
                    <a:pt x="308" y="551"/>
                  </a:lnTo>
                  <a:lnTo>
                    <a:pt x="311" y="554"/>
                  </a:lnTo>
                  <a:lnTo>
                    <a:pt x="317" y="552"/>
                  </a:lnTo>
                  <a:lnTo>
                    <a:pt x="317" y="555"/>
                  </a:lnTo>
                  <a:lnTo>
                    <a:pt x="317" y="558"/>
                  </a:lnTo>
                  <a:lnTo>
                    <a:pt x="302" y="554"/>
                  </a:lnTo>
                  <a:lnTo>
                    <a:pt x="287" y="541"/>
                  </a:lnTo>
                  <a:lnTo>
                    <a:pt x="269" y="538"/>
                  </a:lnTo>
                  <a:lnTo>
                    <a:pt x="266" y="539"/>
                  </a:lnTo>
                  <a:lnTo>
                    <a:pt x="262" y="543"/>
                  </a:lnTo>
                  <a:lnTo>
                    <a:pt x="271" y="557"/>
                  </a:lnTo>
                  <a:lnTo>
                    <a:pt x="287" y="562"/>
                  </a:lnTo>
                  <a:lnTo>
                    <a:pt x="292" y="570"/>
                  </a:lnTo>
                  <a:lnTo>
                    <a:pt x="305" y="573"/>
                  </a:lnTo>
                  <a:lnTo>
                    <a:pt x="307" y="570"/>
                  </a:lnTo>
                  <a:lnTo>
                    <a:pt x="311" y="571"/>
                  </a:lnTo>
                  <a:lnTo>
                    <a:pt x="313" y="573"/>
                  </a:lnTo>
                  <a:lnTo>
                    <a:pt x="320" y="573"/>
                  </a:lnTo>
                  <a:lnTo>
                    <a:pt x="320" y="575"/>
                  </a:lnTo>
                  <a:lnTo>
                    <a:pt x="321" y="580"/>
                  </a:lnTo>
                  <a:lnTo>
                    <a:pt x="317" y="581"/>
                  </a:lnTo>
                  <a:lnTo>
                    <a:pt x="317" y="586"/>
                  </a:lnTo>
                  <a:lnTo>
                    <a:pt x="314" y="589"/>
                  </a:lnTo>
                  <a:lnTo>
                    <a:pt x="316" y="591"/>
                  </a:lnTo>
                  <a:lnTo>
                    <a:pt x="316" y="593"/>
                  </a:lnTo>
                  <a:lnTo>
                    <a:pt x="313" y="594"/>
                  </a:lnTo>
                  <a:lnTo>
                    <a:pt x="313" y="602"/>
                  </a:lnTo>
                  <a:lnTo>
                    <a:pt x="316" y="605"/>
                  </a:lnTo>
                  <a:lnTo>
                    <a:pt x="320" y="600"/>
                  </a:lnTo>
                  <a:lnTo>
                    <a:pt x="323" y="605"/>
                  </a:lnTo>
                  <a:lnTo>
                    <a:pt x="318" y="607"/>
                  </a:lnTo>
                  <a:lnTo>
                    <a:pt x="320" y="610"/>
                  </a:lnTo>
                  <a:lnTo>
                    <a:pt x="317" y="610"/>
                  </a:lnTo>
                  <a:lnTo>
                    <a:pt x="316" y="607"/>
                  </a:lnTo>
                  <a:lnTo>
                    <a:pt x="311" y="606"/>
                  </a:lnTo>
                  <a:lnTo>
                    <a:pt x="310" y="609"/>
                  </a:lnTo>
                  <a:lnTo>
                    <a:pt x="310" y="616"/>
                  </a:lnTo>
                  <a:lnTo>
                    <a:pt x="311" y="618"/>
                  </a:lnTo>
                  <a:lnTo>
                    <a:pt x="308" y="622"/>
                  </a:lnTo>
                  <a:lnTo>
                    <a:pt x="310" y="623"/>
                  </a:lnTo>
                  <a:lnTo>
                    <a:pt x="313" y="622"/>
                  </a:lnTo>
                  <a:lnTo>
                    <a:pt x="311" y="625"/>
                  </a:lnTo>
                  <a:lnTo>
                    <a:pt x="310" y="629"/>
                  </a:lnTo>
                  <a:lnTo>
                    <a:pt x="304" y="631"/>
                  </a:lnTo>
                  <a:lnTo>
                    <a:pt x="295" y="629"/>
                  </a:lnTo>
                  <a:lnTo>
                    <a:pt x="289" y="631"/>
                  </a:lnTo>
                  <a:lnTo>
                    <a:pt x="289" y="634"/>
                  </a:lnTo>
                  <a:lnTo>
                    <a:pt x="285" y="636"/>
                  </a:lnTo>
                  <a:lnTo>
                    <a:pt x="287" y="639"/>
                  </a:lnTo>
                  <a:lnTo>
                    <a:pt x="285" y="639"/>
                  </a:lnTo>
                  <a:lnTo>
                    <a:pt x="287" y="644"/>
                  </a:lnTo>
                  <a:lnTo>
                    <a:pt x="289" y="641"/>
                  </a:lnTo>
                  <a:lnTo>
                    <a:pt x="292" y="644"/>
                  </a:lnTo>
                  <a:lnTo>
                    <a:pt x="307" y="639"/>
                  </a:lnTo>
                  <a:lnTo>
                    <a:pt x="304" y="635"/>
                  </a:lnTo>
                  <a:lnTo>
                    <a:pt x="310" y="635"/>
                  </a:lnTo>
                  <a:lnTo>
                    <a:pt x="310" y="636"/>
                  </a:lnTo>
                  <a:lnTo>
                    <a:pt x="308" y="639"/>
                  </a:lnTo>
                  <a:lnTo>
                    <a:pt x="305" y="641"/>
                  </a:lnTo>
                  <a:lnTo>
                    <a:pt x="311" y="644"/>
                  </a:lnTo>
                  <a:lnTo>
                    <a:pt x="307" y="644"/>
                  </a:lnTo>
                  <a:lnTo>
                    <a:pt x="308" y="645"/>
                  </a:lnTo>
                  <a:lnTo>
                    <a:pt x="313" y="648"/>
                  </a:lnTo>
                  <a:lnTo>
                    <a:pt x="311" y="650"/>
                  </a:lnTo>
                  <a:lnTo>
                    <a:pt x="308" y="648"/>
                  </a:lnTo>
                  <a:lnTo>
                    <a:pt x="304" y="650"/>
                  </a:lnTo>
                  <a:lnTo>
                    <a:pt x="300" y="650"/>
                  </a:lnTo>
                  <a:lnTo>
                    <a:pt x="289" y="645"/>
                  </a:lnTo>
                  <a:lnTo>
                    <a:pt x="285" y="647"/>
                  </a:lnTo>
                  <a:lnTo>
                    <a:pt x="285" y="648"/>
                  </a:lnTo>
                  <a:lnTo>
                    <a:pt x="279" y="645"/>
                  </a:lnTo>
                  <a:lnTo>
                    <a:pt x="278" y="648"/>
                  </a:lnTo>
                  <a:lnTo>
                    <a:pt x="282" y="648"/>
                  </a:lnTo>
                  <a:lnTo>
                    <a:pt x="287" y="652"/>
                  </a:lnTo>
                  <a:lnTo>
                    <a:pt x="285" y="652"/>
                  </a:lnTo>
                  <a:lnTo>
                    <a:pt x="281" y="651"/>
                  </a:lnTo>
                  <a:lnTo>
                    <a:pt x="284" y="654"/>
                  </a:lnTo>
                  <a:lnTo>
                    <a:pt x="279" y="654"/>
                  </a:lnTo>
                  <a:lnTo>
                    <a:pt x="276" y="657"/>
                  </a:lnTo>
                  <a:lnTo>
                    <a:pt x="276" y="664"/>
                  </a:lnTo>
                  <a:lnTo>
                    <a:pt x="276" y="664"/>
                  </a:lnTo>
                  <a:lnTo>
                    <a:pt x="275" y="668"/>
                  </a:lnTo>
                  <a:lnTo>
                    <a:pt x="276" y="670"/>
                  </a:lnTo>
                  <a:lnTo>
                    <a:pt x="278" y="668"/>
                  </a:lnTo>
                  <a:lnTo>
                    <a:pt x="273" y="673"/>
                  </a:lnTo>
                  <a:lnTo>
                    <a:pt x="273" y="676"/>
                  </a:lnTo>
                  <a:lnTo>
                    <a:pt x="272" y="677"/>
                  </a:lnTo>
                  <a:lnTo>
                    <a:pt x="271" y="680"/>
                  </a:lnTo>
                  <a:lnTo>
                    <a:pt x="271" y="686"/>
                  </a:lnTo>
                  <a:lnTo>
                    <a:pt x="275" y="690"/>
                  </a:lnTo>
                  <a:lnTo>
                    <a:pt x="275" y="693"/>
                  </a:lnTo>
                  <a:lnTo>
                    <a:pt x="279" y="692"/>
                  </a:lnTo>
                  <a:lnTo>
                    <a:pt x="284" y="693"/>
                  </a:lnTo>
                  <a:lnTo>
                    <a:pt x="282" y="698"/>
                  </a:lnTo>
                  <a:lnTo>
                    <a:pt x="281" y="699"/>
                  </a:lnTo>
                  <a:lnTo>
                    <a:pt x="278" y="703"/>
                  </a:lnTo>
                  <a:lnTo>
                    <a:pt x="282" y="706"/>
                  </a:lnTo>
                  <a:lnTo>
                    <a:pt x="276" y="706"/>
                  </a:lnTo>
                  <a:lnTo>
                    <a:pt x="275" y="709"/>
                  </a:lnTo>
                  <a:lnTo>
                    <a:pt x="276" y="715"/>
                  </a:lnTo>
                  <a:lnTo>
                    <a:pt x="279" y="715"/>
                  </a:lnTo>
                  <a:lnTo>
                    <a:pt x="276" y="718"/>
                  </a:lnTo>
                  <a:lnTo>
                    <a:pt x="278" y="719"/>
                  </a:lnTo>
                  <a:lnTo>
                    <a:pt x="282" y="719"/>
                  </a:lnTo>
                  <a:lnTo>
                    <a:pt x="285" y="718"/>
                  </a:lnTo>
                  <a:lnTo>
                    <a:pt x="278" y="724"/>
                  </a:lnTo>
                  <a:lnTo>
                    <a:pt x="278" y="727"/>
                  </a:lnTo>
                  <a:lnTo>
                    <a:pt x="282" y="728"/>
                  </a:lnTo>
                  <a:lnTo>
                    <a:pt x="282" y="729"/>
                  </a:lnTo>
                  <a:lnTo>
                    <a:pt x="287" y="728"/>
                  </a:lnTo>
                  <a:lnTo>
                    <a:pt x="285" y="729"/>
                  </a:lnTo>
                  <a:lnTo>
                    <a:pt x="284" y="732"/>
                  </a:lnTo>
                  <a:lnTo>
                    <a:pt x="284" y="734"/>
                  </a:lnTo>
                  <a:lnTo>
                    <a:pt x="282" y="737"/>
                  </a:lnTo>
                  <a:lnTo>
                    <a:pt x="285" y="735"/>
                  </a:lnTo>
                  <a:lnTo>
                    <a:pt x="288" y="734"/>
                  </a:lnTo>
                  <a:lnTo>
                    <a:pt x="288" y="743"/>
                  </a:lnTo>
                  <a:lnTo>
                    <a:pt x="292" y="743"/>
                  </a:lnTo>
                  <a:lnTo>
                    <a:pt x="292" y="744"/>
                  </a:lnTo>
                  <a:lnTo>
                    <a:pt x="295" y="744"/>
                  </a:lnTo>
                  <a:lnTo>
                    <a:pt x="291" y="748"/>
                  </a:lnTo>
                  <a:lnTo>
                    <a:pt x="292" y="753"/>
                  </a:lnTo>
                  <a:lnTo>
                    <a:pt x="295" y="748"/>
                  </a:lnTo>
                  <a:lnTo>
                    <a:pt x="295" y="753"/>
                  </a:lnTo>
                  <a:lnTo>
                    <a:pt x="294" y="754"/>
                  </a:lnTo>
                  <a:lnTo>
                    <a:pt x="294" y="757"/>
                  </a:lnTo>
                  <a:lnTo>
                    <a:pt x="295" y="759"/>
                  </a:lnTo>
                  <a:lnTo>
                    <a:pt x="297" y="766"/>
                  </a:lnTo>
                  <a:lnTo>
                    <a:pt x="298" y="763"/>
                  </a:lnTo>
                  <a:lnTo>
                    <a:pt x="298" y="764"/>
                  </a:lnTo>
                  <a:lnTo>
                    <a:pt x="300" y="764"/>
                  </a:lnTo>
                  <a:lnTo>
                    <a:pt x="297" y="769"/>
                  </a:lnTo>
                  <a:lnTo>
                    <a:pt x="297" y="785"/>
                  </a:lnTo>
                  <a:lnTo>
                    <a:pt x="298" y="783"/>
                  </a:lnTo>
                  <a:lnTo>
                    <a:pt x="302" y="783"/>
                  </a:lnTo>
                  <a:lnTo>
                    <a:pt x="308" y="770"/>
                  </a:lnTo>
                  <a:lnTo>
                    <a:pt x="311" y="770"/>
                  </a:lnTo>
                  <a:lnTo>
                    <a:pt x="314" y="769"/>
                  </a:lnTo>
                  <a:lnTo>
                    <a:pt x="317" y="764"/>
                  </a:lnTo>
                  <a:lnTo>
                    <a:pt x="321" y="767"/>
                  </a:lnTo>
                  <a:lnTo>
                    <a:pt x="324" y="767"/>
                  </a:lnTo>
                  <a:lnTo>
                    <a:pt x="326" y="772"/>
                  </a:lnTo>
                  <a:lnTo>
                    <a:pt x="318" y="769"/>
                  </a:lnTo>
                  <a:lnTo>
                    <a:pt x="316" y="772"/>
                  </a:lnTo>
                  <a:lnTo>
                    <a:pt x="316" y="775"/>
                  </a:lnTo>
                  <a:lnTo>
                    <a:pt x="318" y="776"/>
                  </a:lnTo>
                  <a:lnTo>
                    <a:pt x="324" y="776"/>
                  </a:lnTo>
                  <a:lnTo>
                    <a:pt x="313" y="780"/>
                  </a:lnTo>
                  <a:lnTo>
                    <a:pt x="313" y="785"/>
                  </a:lnTo>
                  <a:lnTo>
                    <a:pt x="310" y="786"/>
                  </a:lnTo>
                  <a:lnTo>
                    <a:pt x="305" y="786"/>
                  </a:lnTo>
                  <a:lnTo>
                    <a:pt x="304" y="789"/>
                  </a:lnTo>
                  <a:lnTo>
                    <a:pt x="305" y="795"/>
                  </a:lnTo>
                  <a:lnTo>
                    <a:pt x="305" y="801"/>
                  </a:lnTo>
                  <a:lnTo>
                    <a:pt x="308" y="801"/>
                  </a:lnTo>
                  <a:lnTo>
                    <a:pt x="305" y="804"/>
                  </a:lnTo>
                  <a:lnTo>
                    <a:pt x="308" y="811"/>
                  </a:lnTo>
                  <a:lnTo>
                    <a:pt x="310" y="809"/>
                  </a:lnTo>
                  <a:lnTo>
                    <a:pt x="311" y="815"/>
                  </a:lnTo>
                  <a:lnTo>
                    <a:pt x="314" y="821"/>
                  </a:lnTo>
                  <a:lnTo>
                    <a:pt x="316" y="821"/>
                  </a:lnTo>
                  <a:lnTo>
                    <a:pt x="316" y="822"/>
                  </a:lnTo>
                  <a:lnTo>
                    <a:pt x="317" y="824"/>
                  </a:lnTo>
                  <a:lnTo>
                    <a:pt x="320" y="824"/>
                  </a:lnTo>
                  <a:lnTo>
                    <a:pt x="321" y="828"/>
                  </a:lnTo>
                  <a:lnTo>
                    <a:pt x="321" y="830"/>
                  </a:lnTo>
                  <a:lnTo>
                    <a:pt x="323" y="833"/>
                  </a:lnTo>
                  <a:lnTo>
                    <a:pt x="324" y="831"/>
                  </a:lnTo>
                  <a:lnTo>
                    <a:pt x="326" y="830"/>
                  </a:lnTo>
                  <a:lnTo>
                    <a:pt x="324" y="834"/>
                  </a:lnTo>
                  <a:lnTo>
                    <a:pt x="324" y="838"/>
                  </a:lnTo>
                  <a:lnTo>
                    <a:pt x="324" y="840"/>
                  </a:lnTo>
                  <a:lnTo>
                    <a:pt x="327" y="840"/>
                  </a:lnTo>
                  <a:lnTo>
                    <a:pt x="329" y="841"/>
                  </a:lnTo>
                  <a:lnTo>
                    <a:pt x="329" y="843"/>
                  </a:lnTo>
                  <a:lnTo>
                    <a:pt x="329" y="846"/>
                  </a:lnTo>
                  <a:lnTo>
                    <a:pt x="332" y="847"/>
                  </a:lnTo>
                  <a:lnTo>
                    <a:pt x="333" y="847"/>
                  </a:lnTo>
                  <a:lnTo>
                    <a:pt x="332" y="849"/>
                  </a:lnTo>
                  <a:lnTo>
                    <a:pt x="332" y="850"/>
                  </a:lnTo>
                  <a:lnTo>
                    <a:pt x="334" y="850"/>
                  </a:lnTo>
                  <a:lnTo>
                    <a:pt x="333" y="852"/>
                  </a:lnTo>
                  <a:lnTo>
                    <a:pt x="330" y="852"/>
                  </a:lnTo>
                  <a:lnTo>
                    <a:pt x="332" y="853"/>
                  </a:lnTo>
                  <a:lnTo>
                    <a:pt x="332" y="854"/>
                  </a:lnTo>
                  <a:lnTo>
                    <a:pt x="334" y="854"/>
                  </a:lnTo>
                  <a:lnTo>
                    <a:pt x="340" y="850"/>
                  </a:lnTo>
                  <a:lnTo>
                    <a:pt x="340" y="852"/>
                  </a:lnTo>
                  <a:lnTo>
                    <a:pt x="342" y="853"/>
                  </a:lnTo>
                  <a:lnTo>
                    <a:pt x="334" y="857"/>
                  </a:lnTo>
                  <a:lnTo>
                    <a:pt x="336" y="859"/>
                  </a:lnTo>
                  <a:lnTo>
                    <a:pt x="337" y="860"/>
                  </a:lnTo>
                  <a:lnTo>
                    <a:pt x="340" y="862"/>
                  </a:lnTo>
                  <a:lnTo>
                    <a:pt x="340" y="863"/>
                  </a:lnTo>
                  <a:lnTo>
                    <a:pt x="342" y="865"/>
                  </a:lnTo>
                  <a:lnTo>
                    <a:pt x="340" y="866"/>
                  </a:lnTo>
                  <a:lnTo>
                    <a:pt x="336" y="868"/>
                  </a:lnTo>
                  <a:lnTo>
                    <a:pt x="337" y="869"/>
                  </a:lnTo>
                  <a:lnTo>
                    <a:pt x="340" y="870"/>
                  </a:lnTo>
                  <a:lnTo>
                    <a:pt x="347" y="868"/>
                  </a:lnTo>
                  <a:lnTo>
                    <a:pt x="349" y="868"/>
                  </a:lnTo>
                  <a:lnTo>
                    <a:pt x="352" y="869"/>
                  </a:lnTo>
                  <a:lnTo>
                    <a:pt x="340" y="872"/>
                  </a:lnTo>
                  <a:lnTo>
                    <a:pt x="342" y="873"/>
                  </a:lnTo>
                  <a:lnTo>
                    <a:pt x="343" y="873"/>
                  </a:lnTo>
                  <a:lnTo>
                    <a:pt x="346" y="873"/>
                  </a:lnTo>
                  <a:lnTo>
                    <a:pt x="347" y="873"/>
                  </a:lnTo>
                  <a:lnTo>
                    <a:pt x="346" y="875"/>
                  </a:lnTo>
                  <a:lnTo>
                    <a:pt x="346" y="876"/>
                  </a:lnTo>
                  <a:lnTo>
                    <a:pt x="347" y="878"/>
                  </a:lnTo>
                  <a:lnTo>
                    <a:pt x="349" y="878"/>
                  </a:lnTo>
                  <a:lnTo>
                    <a:pt x="352" y="876"/>
                  </a:lnTo>
                  <a:lnTo>
                    <a:pt x="353" y="878"/>
                  </a:lnTo>
                  <a:lnTo>
                    <a:pt x="353" y="881"/>
                  </a:lnTo>
                  <a:lnTo>
                    <a:pt x="353" y="881"/>
                  </a:lnTo>
                  <a:lnTo>
                    <a:pt x="356" y="881"/>
                  </a:lnTo>
                  <a:lnTo>
                    <a:pt x="359" y="882"/>
                  </a:lnTo>
                  <a:lnTo>
                    <a:pt x="359" y="882"/>
                  </a:lnTo>
                  <a:lnTo>
                    <a:pt x="361" y="882"/>
                  </a:lnTo>
                  <a:lnTo>
                    <a:pt x="361" y="884"/>
                  </a:lnTo>
                  <a:lnTo>
                    <a:pt x="353" y="888"/>
                  </a:lnTo>
                  <a:lnTo>
                    <a:pt x="353" y="889"/>
                  </a:lnTo>
                  <a:lnTo>
                    <a:pt x="355" y="888"/>
                  </a:lnTo>
                  <a:lnTo>
                    <a:pt x="358" y="889"/>
                  </a:lnTo>
                  <a:lnTo>
                    <a:pt x="363" y="888"/>
                  </a:lnTo>
                  <a:lnTo>
                    <a:pt x="362" y="886"/>
                  </a:lnTo>
                  <a:lnTo>
                    <a:pt x="362" y="885"/>
                  </a:lnTo>
                  <a:lnTo>
                    <a:pt x="363" y="885"/>
                  </a:lnTo>
                  <a:lnTo>
                    <a:pt x="366" y="886"/>
                  </a:lnTo>
                  <a:lnTo>
                    <a:pt x="368" y="885"/>
                  </a:lnTo>
                  <a:lnTo>
                    <a:pt x="374" y="886"/>
                  </a:lnTo>
                  <a:lnTo>
                    <a:pt x="379" y="882"/>
                  </a:lnTo>
                  <a:lnTo>
                    <a:pt x="379" y="884"/>
                  </a:lnTo>
                  <a:lnTo>
                    <a:pt x="384" y="882"/>
                  </a:lnTo>
                  <a:lnTo>
                    <a:pt x="384" y="884"/>
                  </a:lnTo>
                  <a:lnTo>
                    <a:pt x="384" y="885"/>
                  </a:lnTo>
                  <a:lnTo>
                    <a:pt x="385" y="886"/>
                  </a:lnTo>
                  <a:lnTo>
                    <a:pt x="388" y="885"/>
                  </a:lnTo>
                  <a:lnTo>
                    <a:pt x="388" y="886"/>
                  </a:lnTo>
                  <a:lnTo>
                    <a:pt x="381" y="889"/>
                  </a:lnTo>
                  <a:lnTo>
                    <a:pt x="384" y="889"/>
                  </a:lnTo>
                  <a:lnTo>
                    <a:pt x="381" y="891"/>
                  </a:lnTo>
                  <a:lnTo>
                    <a:pt x="382" y="892"/>
                  </a:lnTo>
                  <a:lnTo>
                    <a:pt x="382" y="892"/>
                  </a:lnTo>
                  <a:lnTo>
                    <a:pt x="385" y="891"/>
                  </a:lnTo>
                  <a:lnTo>
                    <a:pt x="387" y="891"/>
                  </a:lnTo>
                  <a:lnTo>
                    <a:pt x="390" y="888"/>
                  </a:lnTo>
                  <a:lnTo>
                    <a:pt x="391" y="885"/>
                  </a:lnTo>
                  <a:lnTo>
                    <a:pt x="393" y="886"/>
                  </a:lnTo>
                  <a:lnTo>
                    <a:pt x="391" y="889"/>
                  </a:lnTo>
                  <a:lnTo>
                    <a:pt x="388" y="891"/>
                  </a:lnTo>
                  <a:lnTo>
                    <a:pt x="387" y="894"/>
                  </a:lnTo>
                  <a:lnTo>
                    <a:pt x="388" y="894"/>
                  </a:lnTo>
                  <a:lnTo>
                    <a:pt x="390" y="899"/>
                  </a:lnTo>
                  <a:lnTo>
                    <a:pt x="393" y="895"/>
                  </a:lnTo>
                  <a:lnTo>
                    <a:pt x="394" y="894"/>
                  </a:lnTo>
                  <a:lnTo>
                    <a:pt x="394" y="894"/>
                  </a:lnTo>
                  <a:lnTo>
                    <a:pt x="394" y="899"/>
                  </a:lnTo>
                  <a:lnTo>
                    <a:pt x="394" y="901"/>
                  </a:lnTo>
                  <a:lnTo>
                    <a:pt x="397" y="899"/>
                  </a:lnTo>
                  <a:lnTo>
                    <a:pt x="398" y="897"/>
                  </a:lnTo>
                  <a:lnTo>
                    <a:pt x="398" y="902"/>
                  </a:lnTo>
                  <a:lnTo>
                    <a:pt x="395" y="907"/>
                  </a:lnTo>
                  <a:lnTo>
                    <a:pt x="395" y="908"/>
                  </a:lnTo>
                  <a:lnTo>
                    <a:pt x="395" y="908"/>
                  </a:lnTo>
                  <a:lnTo>
                    <a:pt x="397" y="910"/>
                  </a:lnTo>
                  <a:lnTo>
                    <a:pt x="397" y="910"/>
                  </a:lnTo>
                  <a:lnTo>
                    <a:pt x="400" y="910"/>
                  </a:lnTo>
                  <a:lnTo>
                    <a:pt x="403" y="913"/>
                  </a:lnTo>
                  <a:lnTo>
                    <a:pt x="406" y="911"/>
                  </a:lnTo>
                  <a:lnTo>
                    <a:pt x="411" y="905"/>
                  </a:lnTo>
                  <a:lnTo>
                    <a:pt x="411" y="908"/>
                  </a:lnTo>
                  <a:lnTo>
                    <a:pt x="424" y="910"/>
                  </a:lnTo>
                  <a:lnTo>
                    <a:pt x="424" y="908"/>
                  </a:lnTo>
                  <a:lnTo>
                    <a:pt x="424" y="907"/>
                  </a:lnTo>
                  <a:lnTo>
                    <a:pt x="424" y="905"/>
                  </a:lnTo>
                  <a:lnTo>
                    <a:pt x="423" y="901"/>
                  </a:lnTo>
                  <a:lnTo>
                    <a:pt x="422" y="901"/>
                  </a:lnTo>
                  <a:lnTo>
                    <a:pt x="417" y="898"/>
                  </a:lnTo>
                  <a:lnTo>
                    <a:pt x="422" y="898"/>
                  </a:lnTo>
                  <a:lnTo>
                    <a:pt x="423" y="898"/>
                  </a:lnTo>
                  <a:lnTo>
                    <a:pt x="424" y="897"/>
                  </a:lnTo>
                  <a:lnTo>
                    <a:pt x="427" y="898"/>
                  </a:lnTo>
                  <a:lnTo>
                    <a:pt x="427" y="897"/>
                  </a:lnTo>
                  <a:lnTo>
                    <a:pt x="429" y="886"/>
                  </a:lnTo>
                  <a:lnTo>
                    <a:pt x="430" y="885"/>
                  </a:lnTo>
                  <a:lnTo>
                    <a:pt x="432" y="876"/>
                  </a:lnTo>
                  <a:lnTo>
                    <a:pt x="430" y="876"/>
                  </a:lnTo>
                  <a:lnTo>
                    <a:pt x="430" y="875"/>
                  </a:lnTo>
                  <a:lnTo>
                    <a:pt x="433" y="873"/>
                  </a:lnTo>
                  <a:lnTo>
                    <a:pt x="435" y="870"/>
                  </a:lnTo>
                  <a:lnTo>
                    <a:pt x="433" y="870"/>
                  </a:lnTo>
                  <a:lnTo>
                    <a:pt x="438" y="862"/>
                  </a:lnTo>
                  <a:lnTo>
                    <a:pt x="439" y="860"/>
                  </a:lnTo>
                  <a:lnTo>
                    <a:pt x="438" y="859"/>
                  </a:lnTo>
                  <a:lnTo>
                    <a:pt x="439" y="856"/>
                  </a:lnTo>
                  <a:lnTo>
                    <a:pt x="438" y="854"/>
                  </a:lnTo>
                  <a:lnTo>
                    <a:pt x="436" y="853"/>
                  </a:lnTo>
                  <a:lnTo>
                    <a:pt x="436" y="841"/>
                  </a:lnTo>
                  <a:lnTo>
                    <a:pt x="435" y="840"/>
                  </a:lnTo>
                  <a:lnTo>
                    <a:pt x="435" y="840"/>
                  </a:lnTo>
                  <a:lnTo>
                    <a:pt x="433" y="836"/>
                  </a:lnTo>
                  <a:lnTo>
                    <a:pt x="429" y="834"/>
                  </a:lnTo>
                  <a:lnTo>
                    <a:pt x="433" y="833"/>
                  </a:lnTo>
                  <a:lnTo>
                    <a:pt x="433" y="831"/>
                  </a:lnTo>
                  <a:lnTo>
                    <a:pt x="433" y="830"/>
                  </a:lnTo>
                  <a:lnTo>
                    <a:pt x="435" y="830"/>
                  </a:lnTo>
                  <a:lnTo>
                    <a:pt x="436" y="828"/>
                  </a:lnTo>
                  <a:lnTo>
                    <a:pt x="438" y="830"/>
                  </a:lnTo>
                  <a:lnTo>
                    <a:pt x="445" y="828"/>
                  </a:lnTo>
                  <a:lnTo>
                    <a:pt x="445" y="827"/>
                  </a:lnTo>
                  <a:lnTo>
                    <a:pt x="448" y="827"/>
                  </a:lnTo>
                  <a:lnTo>
                    <a:pt x="448" y="824"/>
                  </a:lnTo>
                  <a:lnTo>
                    <a:pt x="445" y="824"/>
                  </a:lnTo>
                  <a:lnTo>
                    <a:pt x="439" y="820"/>
                  </a:lnTo>
                  <a:lnTo>
                    <a:pt x="440" y="820"/>
                  </a:lnTo>
                  <a:lnTo>
                    <a:pt x="442" y="821"/>
                  </a:lnTo>
                  <a:lnTo>
                    <a:pt x="443" y="821"/>
                  </a:lnTo>
                  <a:lnTo>
                    <a:pt x="449" y="821"/>
                  </a:lnTo>
                  <a:lnTo>
                    <a:pt x="449" y="820"/>
                  </a:lnTo>
                  <a:lnTo>
                    <a:pt x="446" y="820"/>
                  </a:lnTo>
                  <a:lnTo>
                    <a:pt x="445" y="817"/>
                  </a:lnTo>
                  <a:lnTo>
                    <a:pt x="446" y="817"/>
                  </a:lnTo>
                  <a:lnTo>
                    <a:pt x="448" y="817"/>
                  </a:lnTo>
                  <a:lnTo>
                    <a:pt x="446" y="814"/>
                  </a:lnTo>
                  <a:lnTo>
                    <a:pt x="446" y="814"/>
                  </a:lnTo>
                  <a:lnTo>
                    <a:pt x="449" y="815"/>
                  </a:lnTo>
                  <a:lnTo>
                    <a:pt x="452" y="817"/>
                  </a:lnTo>
                  <a:lnTo>
                    <a:pt x="451" y="814"/>
                  </a:lnTo>
                  <a:lnTo>
                    <a:pt x="453" y="814"/>
                  </a:lnTo>
                  <a:lnTo>
                    <a:pt x="452" y="812"/>
                  </a:lnTo>
                  <a:lnTo>
                    <a:pt x="452" y="809"/>
                  </a:lnTo>
                  <a:lnTo>
                    <a:pt x="453" y="811"/>
                  </a:lnTo>
                  <a:lnTo>
                    <a:pt x="455" y="811"/>
                  </a:lnTo>
                  <a:lnTo>
                    <a:pt x="456" y="809"/>
                  </a:lnTo>
                  <a:lnTo>
                    <a:pt x="456" y="806"/>
                  </a:lnTo>
                  <a:lnTo>
                    <a:pt x="458" y="806"/>
                  </a:lnTo>
                  <a:lnTo>
                    <a:pt x="458" y="804"/>
                  </a:lnTo>
                  <a:lnTo>
                    <a:pt x="456" y="802"/>
                  </a:lnTo>
                  <a:lnTo>
                    <a:pt x="448" y="799"/>
                  </a:lnTo>
                  <a:lnTo>
                    <a:pt x="449" y="798"/>
                  </a:lnTo>
                  <a:lnTo>
                    <a:pt x="456" y="801"/>
                  </a:lnTo>
                  <a:lnTo>
                    <a:pt x="461" y="799"/>
                  </a:lnTo>
                  <a:lnTo>
                    <a:pt x="458" y="792"/>
                  </a:lnTo>
                  <a:lnTo>
                    <a:pt x="459" y="791"/>
                  </a:lnTo>
                  <a:lnTo>
                    <a:pt x="459" y="789"/>
                  </a:lnTo>
                  <a:lnTo>
                    <a:pt x="458" y="786"/>
                  </a:lnTo>
                  <a:lnTo>
                    <a:pt x="448" y="785"/>
                  </a:lnTo>
                  <a:lnTo>
                    <a:pt x="448" y="782"/>
                  </a:lnTo>
                  <a:lnTo>
                    <a:pt x="449" y="782"/>
                  </a:lnTo>
                  <a:lnTo>
                    <a:pt x="455" y="779"/>
                  </a:lnTo>
                  <a:lnTo>
                    <a:pt x="461" y="779"/>
                  </a:lnTo>
                  <a:lnTo>
                    <a:pt x="462" y="780"/>
                  </a:lnTo>
                  <a:lnTo>
                    <a:pt x="464" y="779"/>
                  </a:lnTo>
                  <a:lnTo>
                    <a:pt x="461" y="779"/>
                  </a:lnTo>
                  <a:lnTo>
                    <a:pt x="459" y="776"/>
                  </a:lnTo>
                  <a:lnTo>
                    <a:pt x="458" y="770"/>
                  </a:lnTo>
                  <a:lnTo>
                    <a:pt x="456" y="769"/>
                  </a:lnTo>
                  <a:lnTo>
                    <a:pt x="455" y="764"/>
                  </a:lnTo>
                  <a:lnTo>
                    <a:pt x="453" y="764"/>
                  </a:lnTo>
                  <a:lnTo>
                    <a:pt x="452" y="761"/>
                  </a:lnTo>
                  <a:lnTo>
                    <a:pt x="449" y="761"/>
                  </a:lnTo>
                  <a:lnTo>
                    <a:pt x="452" y="756"/>
                  </a:lnTo>
                  <a:lnTo>
                    <a:pt x="453" y="757"/>
                  </a:lnTo>
                  <a:lnTo>
                    <a:pt x="456" y="757"/>
                  </a:lnTo>
                  <a:lnTo>
                    <a:pt x="459" y="759"/>
                  </a:lnTo>
                  <a:lnTo>
                    <a:pt x="459" y="754"/>
                  </a:lnTo>
                  <a:lnTo>
                    <a:pt x="461" y="756"/>
                  </a:lnTo>
                  <a:lnTo>
                    <a:pt x="462" y="757"/>
                  </a:lnTo>
                  <a:lnTo>
                    <a:pt x="464" y="756"/>
                  </a:lnTo>
                  <a:lnTo>
                    <a:pt x="465" y="759"/>
                  </a:lnTo>
                  <a:lnTo>
                    <a:pt x="467" y="756"/>
                  </a:lnTo>
                  <a:lnTo>
                    <a:pt x="468" y="754"/>
                  </a:lnTo>
                  <a:lnTo>
                    <a:pt x="471" y="750"/>
                  </a:lnTo>
                  <a:lnTo>
                    <a:pt x="469" y="747"/>
                  </a:lnTo>
                  <a:lnTo>
                    <a:pt x="469" y="745"/>
                  </a:lnTo>
                  <a:lnTo>
                    <a:pt x="469" y="744"/>
                  </a:lnTo>
                  <a:lnTo>
                    <a:pt x="465" y="741"/>
                  </a:lnTo>
                  <a:lnTo>
                    <a:pt x="468" y="741"/>
                  </a:lnTo>
                  <a:lnTo>
                    <a:pt x="468" y="740"/>
                  </a:lnTo>
                  <a:lnTo>
                    <a:pt x="469" y="741"/>
                  </a:lnTo>
                  <a:lnTo>
                    <a:pt x="472" y="737"/>
                  </a:lnTo>
                  <a:lnTo>
                    <a:pt x="474" y="737"/>
                  </a:lnTo>
                  <a:lnTo>
                    <a:pt x="474" y="740"/>
                  </a:lnTo>
                  <a:lnTo>
                    <a:pt x="477" y="740"/>
                  </a:lnTo>
                  <a:lnTo>
                    <a:pt x="478" y="735"/>
                  </a:lnTo>
                  <a:lnTo>
                    <a:pt x="481" y="738"/>
                  </a:lnTo>
                  <a:lnTo>
                    <a:pt x="481" y="740"/>
                  </a:lnTo>
                  <a:lnTo>
                    <a:pt x="487" y="738"/>
                  </a:lnTo>
                  <a:lnTo>
                    <a:pt x="485" y="735"/>
                  </a:lnTo>
                  <a:lnTo>
                    <a:pt x="490" y="735"/>
                  </a:lnTo>
                  <a:lnTo>
                    <a:pt x="493" y="737"/>
                  </a:lnTo>
                  <a:lnTo>
                    <a:pt x="493" y="735"/>
                  </a:lnTo>
                  <a:lnTo>
                    <a:pt x="494" y="735"/>
                  </a:lnTo>
                  <a:lnTo>
                    <a:pt x="494" y="732"/>
                  </a:lnTo>
                  <a:lnTo>
                    <a:pt x="494" y="731"/>
                  </a:lnTo>
                  <a:lnTo>
                    <a:pt x="493" y="731"/>
                  </a:lnTo>
                  <a:lnTo>
                    <a:pt x="491" y="731"/>
                  </a:lnTo>
                  <a:lnTo>
                    <a:pt x="490" y="728"/>
                  </a:lnTo>
                  <a:lnTo>
                    <a:pt x="490" y="725"/>
                  </a:lnTo>
                  <a:lnTo>
                    <a:pt x="493" y="728"/>
                  </a:lnTo>
                  <a:lnTo>
                    <a:pt x="493" y="725"/>
                  </a:lnTo>
                  <a:lnTo>
                    <a:pt x="494" y="727"/>
                  </a:lnTo>
                  <a:lnTo>
                    <a:pt x="496" y="727"/>
                  </a:lnTo>
                  <a:lnTo>
                    <a:pt x="497" y="724"/>
                  </a:lnTo>
                  <a:lnTo>
                    <a:pt x="494" y="721"/>
                  </a:lnTo>
                  <a:lnTo>
                    <a:pt x="497" y="719"/>
                  </a:lnTo>
                  <a:lnTo>
                    <a:pt x="497" y="718"/>
                  </a:lnTo>
                  <a:lnTo>
                    <a:pt x="498" y="716"/>
                  </a:lnTo>
                  <a:lnTo>
                    <a:pt x="500" y="716"/>
                  </a:lnTo>
                  <a:lnTo>
                    <a:pt x="496" y="713"/>
                  </a:lnTo>
                  <a:lnTo>
                    <a:pt x="496" y="712"/>
                  </a:lnTo>
                  <a:lnTo>
                    <a:pt x="498" y="713"/>
                  </a:lnTo>
                  <a:lnTo>
                    <a:pt x="498" y="709"/>
                  </a:lnTo>
                  <a:lnTo>
                    <a:pt x="501" y="713"/>
                  </a:lnTo>
                  <a:lnTo>
                    <a:pt x="504" y="713"/>
                  </a:lnTo>
                  <a:lnTo>
                    <a:pt x="506" y="713"/>
                  </a:lnTo>
                  <a:lnTo>
                    <a:pt x="509" y="713"/>
                  </a:lnTo>
                  <a:lnTo>
                    <a:pt x="503" y="719"/>
                  </a:lnTo>
                  <a:lnTo>
                    <a:pt x="501" y="722"/>
                  </a:lnTo>
                  <a:lnTo>
                    <a:pt x="500" y="724"/>
                  </a:lnTo>
                  <a:lnTo>
                    <a:pt x="500" y="725"/>
                  </a:lnTo>
                  <a:lnTo>
                    <a:pt x="500" y="727"/>
                  </a:lnTo>
                  <a:lnTo>
                    <a:pt x="501" y="728"/>
                  </a:lnTo>
                  <a:lnTo>
                    <a:pt x="503" y="728"/>
                  </a:lnTo>
                  <a:lnTo>
                    <a:pt x="507" y="731"/>
                  </a:lnTo>
                  <a:lnTo>
                    <a:pt x="507" y="729"/>
                  </a:lnTo>
                  <a:lnTo>
                    <a:pt x="506" y="727"/>
                  </a:lnTo>
                  <a:lnTo>
                    <a:pt x="507" y="728"/>
                  </a:lnTo>
                  <a:lnTo>
                    <a:pt x="507" y="721"/>
                  </a:lnTo>
                  <a:lnTo>
                    <a:pt x="510" y="724"/>
                  </a:lnTo>
                  <a:lnTo>
                    <a:pt x="512" y="728"/>
                  </a:lnTo>
                  <a:lnTo>
                    <a:pt x="514" y="728"/>
                  </a:lnTo>
                  <a:lnTo>
                    <a:pt x="516" y="731"/>
                  </a:lnTo>
                  <a:lnTo>
                    <a:pt x="519" y="724"/>
                  </a:lnTo>
                  <a:lnTo>
                    <a:pt x="520" y="722"/>
                  </a:lnTo>
                  <a:lnTo>
                    <a:pt x="519" y="727"/>
                  </a:lnTo>
                  <a:lnTo>
                    <a:pt x="520" y="725"/>
                  </a:lnTo>
                  <a:lnTo>
                    <a:pt x="522" y="727"/>
                  </a:lnTo>
                  <a:lnTo>
                    <a:pt x="523" y="725"/>
                  </a:lnTo>
                  <a:lnTo>
                    <a:pt x="525" y="728"/>
                  </a:lnTo>
                  <a:lnTo>
                    <a:pt x="525" y="725"/>
                  </a:lnTo>
                  <a:lnTo>
                    <a:pt x="526" y="721"/>
                  </a:lnTo>
                  <a:lnTo>
                    <a:pt x="529" y="722"/>
                  </a:lnTo>
                  <a:lnTo>
                    <a:pt x="529" y="719"/>
                  </a:lnTo>
                  <a:lnTo>
                    <a:pt x="530" y="716"/>
                  </a:lnTo>
                  <a:lnTo>
                    <a:pt x="528" y="713"/>
                  </a:lnTo>
                  <a:lnTo>
                    <a:pt x="528" y="712"/>
                  </a:lnTo>
                  <a:lnTo>
                    <a:pt x="528" y="709"/>
                  </a:lnTo>
                  <a:lnTo>
                    <a:pt x="530" y="713"/>
                  </a:lnTo>
                  <a:lnTo>
                    <a:pt x="536" y="715"/>
                  </a:lnTo>
                  <a:lnTo>
                    <a:pt x="538" y="715"/>
                  </a:lnTo>
                  <a:lnTo>
                    <a:pt x="536" y="712"/>
                  </a:lnTo>
                  <a:lnTo>
                    <a:pt x="538" y="709"/>
                  </a:lnTo>
                  <a:lnTo>
                    <a:pt x="539" y="712"/>
                  </a:lnTo>
                  <a:lnTo>
                    <a:pt x="541" y="713"/>
                  </a:lnTo>
                  <a:lnTo>
                    <a:pt x="542" y="712"/>
                  </a:lnTo>
                  <a:lnTo>
                    <a:pt x="544" y="712"/>
                  </a:lnTo>
                  <a:lnTo>
                    <a:pt x="545" y="711"/>
                  </a:lnTo>
                  <a:lnTo>
                    <a:pt x="545" y="708"/>
                  </a:lnTo>
                  <a:lnTo>
                    <a:pt x="545" y="706"/>
                  </a:lnTo>
                  <a:lnTo>
                    <a:pt x="548" y="698"/>
                  </a:lnTo>
                  <a:lnTo>
                    <a:pt x="548" y="702"/>
                  </a:lnTo>
                  <a:lnTo>
                    <a:pt x="549" y="699"/>
                  </a:lnTo>
                  <a:lnTo>
                    <a:pt x="551" y="702"/>
                  </a:lnTo>
                  <a:lnTo>
                    <a:pt x="552" y="698"/>
                  </a:lnTo>
                  <a:lnTo>
                    <a:pt x="552" y="696"/>
                  </a:lnTo>
                  <a:lnTo>
                    <a:pt x="554" y="696"/>
                  </a:lnTo>
                  <a:lnTo>
                    <a:pt x="552" y="695"/>
                  </a:lnTo>
                  <a:lnTo>
                    <a:pt x="555" y="696"/>
                  </a:lnTo>
                  <a:lnTo>
                    <a:pt x="554" y="693"/>
                  </a:lnTo>
                  <a:lnTo>
                    <a:pt x="554" y="692"/>
                  </a:lnTo>
                  <a:lnTo>
                    <a:pt x="555" y="690"/>
                  </a:lnTo>
                  <a:lnTo>
                    <a:pt x="557" y="689"/>
                  </a:lnTo>
                  <a:lnTo>
                    <a:pt x="559" y="686"/>
                  </a:lnTo>
                  <a:lnTo>
                    <a:pt x="559" y="680"/>
                  </a:lnTo>
                  <a:lnTo>
                    <a:pt x="561" y="680"/>
                  </a:lnTo>
                  <a:lnTo>
                    <a:pt x="561" y="677"/>
                  </a:lnTo>
                  <a:lnTo>
                    <a:pt x="559" y="676"/>
                  </a:lnTo>
                  <a:lnTo>
                    <a:pt x="561" y="676"/>
                  </a:lnTo>
                  <a:lnTo>
                    <a:pt x="561" y="673"/>
                  </a:lnTo>
                  <a:lnTo>
                    <a:pt x="562" y="668"/>
                  </a:lnTo>
                  <a:lnTo>
                    <a:pt x="565" y="668"/>
                  </a:lnTo>
                  <a:lnTo>
                    <a:pt x="564" y="663"/>
                  </a:lnTo>
                  <a:lnTo>
                    <a:pt x="567" y="664"/>
                  </a:lnTo>
                  <a:lnTo>
                    <a:pt x="570" y="663"/>
                  </a:lnTo>
                  <a:lnTo>
                    <a:pt x="573" y="658"/>
                  </a:lnTo>
                  <a:lnTo>
                    <a:pt x="573" y="657"/>
                  </a:lnTo>
                  <a:lnTo>
                    <a:pt x="575" y="655"/>
                  </a:lnTo>
                  <a:lnTo>
                    <a:pt x="575" y="657"/>
                  </a:lnTo>
                  <a:lnTo>
                    <a:pt x="578" y="655"/>
                  </a:lnTo>
                  <a:lnTo>
                    <a:pt x="578" y="657"/>
                  </a:lnTo>
                  <a:lnTo>
                    <a:pt x="578" y="654"/>
                  </a:lnTo>
                  <a:lnTo>
                    <a:pt x="580" y="654"/>
                  </a:lnTo>
                  <a:lnTo>
                    <a:pt x="580" y="650"/>
                  </a:lnTo>
                  <a:lnTo>
                    <a:pt x="581" y="650"/>
                  </a:lnTo>
                  <a:lnTo>
                    <a:pt x="580" y="647"/>
                  </a:lnTo>
                  <a:lnTo>
                    <a:pt x="575" y="644"/>
                  </a:lnTo>
                  <a:lnTo>
                    <a:pt x="577" y="644"/>
                  </a:lnTo>
                  <a:lnTo>
                    <a:pt x="571" y="634"/>
                  </a:lnTo>
                  <a:lnTo>
                    <a:pt x="571" y="631"/>
                  </a:lnTo>
                  <a:lnTo>
                    <a:pt x="574" y="631"/>
                  </a:lnTo>
                  <a:lnTo>
                    <a:pt x="574" y="628"/>
                  </a:lnTo>
                  <a:lnTo>
                    <a:pt x="577" y="631"/>
                  </a:lnTo>
                  <a:lnTo>
                    <a:pt x="577" y="636"/>
                  </a:lnTo>
                  <a:lnTo>
                    <a:pt x="578" y="634"/>
                  </a:lnTo>
                  <a:lnTo>
                    <a:pt x="580" y="634"/>
                  </a:lnTo>
                  <a:lnTo>
                    <a:pt x="580" y="636"/>
                  </a:lnTo>
                  <a:lnTo>
                    <a:pt x="581" y="639"/>
                  </a:lnTo>
                  <a:lnTo>
                    <a:pt x="581" y="641"/>
                  </a:lnTo>
                  <a:lnTo>
                    <a:pt x="587" y="642"/>
                  </a:lnTo>
                  <a:lnTo>
                    <a:pt x="586" y="644"/>
                  </a:lnTo>
                  <a:lnTo>
                    <a:pt x="584" y="644"/>
                  </a:lnTo>
                  <a:lnTo>
                    <a:pt x="584" y="647"/>
                  </a:lnTo>
                  <a:lnTo>
                    <a:pt x="587" y="648"/>
                  </a:lnTo>
                  <a:lnTo>
                    <a:pt x="587" y="650"/>
                  </a:lnTo>
                  <a:lnTo>
                    <a:pt x="589" y="648"/>
                  </a:lnTo>
                  <a:lnTo>
                    <a:pt x="591" y="648"/>
                  </a:lnTo>
                  <a:lnTo>
                    <a:pt x="596" y="650"/>
                  </a:lnTo>
                  <a:lnTo>
                    <a:pt x="594" y="647"/>
                  </a:lnTo>
                  <a:lnTo>
                    <a:pt x="594" y="647"/>
                  </a:lnTo>
                  <a:lnTo>
                    <a:pt x="594" y="645"/>
                  </a:lnTo>
                  <a:lnTo>
                    <a:pt x="596" y="645"/>
                  </a:lnTo>
                  <a:lnTo>
                    <a:pt x="596" y="645"/>
                  </a:lnTo>
                  <a:lnTo>
                    <a:pt x="600" y="650"/>
                  </a:lnTo>
                  <a:lnTo>
                    <a:pt x="603" y="650"/>
                  </a:lnTo>
                  <a:lnTo>
                    <a:pt x="603" y="647"/>
                  </a:lnTo>
                  <a:lnTo>
                    <a:pt x="600" y="645"/>
                  </a:lnTo>
                  <a:lnTo>
                    <a:pt x="600" y="641"/>
                  </a:lnTo>
                  <a:lnTo>
                    <a:pt x="602" y="642"/>
                  </a:lnTo>
                  <a:lnTo>
                    <a:pt x="604" y="642"/>
                  </a:lnTo>
                  <a:lnTo>
                    <a:pt x="604" y="645"/>
                  </a:lnTo>
                  <a:lnTo>
                    <a:pt x="607" y="648"/>
                  </a:lnTo>
                  <a:lnTo>
                    <a:pt x="609" y="645"/>
                  </a:lnTo>
                  <a:lnTo>
                    <a:pt x="607" y="644"/>
                  </a:lnTo>
                  <a:lnTo>
                    <a:pt x="607" y="642"/>
                  </a:lnTo>
                  <a:lnTo>
                    <a:pt x="610" y="644"/>
                  </a:lnTo>
                  <a:lnTo>
                    <a:pt x="609" y="639"/>
                  </a:lnTo>
                  <a:lnTo>
                    <a:pt x="610" y="638"/>
                  </a:lnTo>
                  <a:lnTo>
                    <a:pt x="612" y="636"/>
                  </a:lnTo>
                  <a:lnTo>
                    <a:pt x="612" y="636"/>
                  </a:lnTo>
                  <a:lnTo>
                    <a:pt x="613" y="639"/>
                  </a:lnTo>
                  <a:lnTo>
                    <a:pt x="618" y="642"/>
                  </a:lnTo>
                  <a:lnTo>
                    <a:pt x="618" y="642"/>
                  </a:lnTo>
                  <a:lnTo>
                    <a:pt x="619" y="641"/>
                  </a:lnTo>
                  <a:lnTo>
                    <a:pt x="619" y="639"/>
                  </a:lnTo>
                  <a:lnTo>
                    <a:pt x="622" y="641"/>
                  </a:lnTo>
                  <a:lnTo>
                    <a:pt x="622" y="638"/>
                  </a:lnTo>
                  <a:lnTo>
                    <a:pt x="629" y="636"/>
                  </a:lnTo>
                  <a:lnTo>
                    <a:pt x="632" y="635"/>
                  </a:lnTo>
                  <a:lnTo>
                    <a:pt x="634" y="636"/>
                  </a:lnTo>
                  <a:lnTo>
                    <a:pt x="634" y="634"/>
                  </a:lnTo>
                  <a:lnTo>
                    <a:pt x="636" y="634"/>
                  </a:lnTo>
                  <a:lnTo>
                    <a:pt x="638" y="634"/>
                  </a:lnTo>
                  <a:lnTo>
                    <a:pt x="638" y="631"/>
                  </a:lnTo>
                  <a:lnTo>
                    <a:pt x="641" y="632"/>
                  </a:lnTo>
                  <a:lnTo>
                    <a:pt x="642" y="634"/>
                  </a:lnTo>
                  <a:lnTo>
                    <a:pt x="642" y="634"/>
                  </a:lnTo>
                  <a:lnTo>
                    <a:pt x="642" y="631"/>
                  </a:lnTo>
                  <a:lnTo>
                    <a:pt x="645" y="631"/>
                  </a:lnTo>
                  <a:lnTo>
                    <a:pt x="647" y="632"/>
                  </a:lnTo>
                  <a:lnTo>
                    <a:pt x="648" y="631"/>
                  </a:lnTo>
                  <a:lnTo>
                    <a:pt x="648" y="629"/>
                  </a:lnTo>
                  <a:lnTo>
                    <a:pt x="649" y="629"/>
                  </a:lnTo>
                  <a:lnTo>
                    <a:pt x="651" y="629"/>
                  </a:lnTo>
                  <a:lnTo>
                    <a:pt x="652" y="629"/>
                  </a:lnTo>
                  <a:lnTo>
                    <a:pt x="654" y="626"/>
                  </a:lnTo>
                  <a:lnTo>
                    <a:pt x="654" y="626"/>
                  </a:lnTo>
                  <a:lnTo>
                    <a:pt x="657" y="625"/>
                  </a:lnTo>
                  <a:lnTo>
                    <a:pt x="658" y="626"/>
                  </a:lnTo>
                  <a:lnTo>
                    <a:pt x="658" y="625"/>
                  </a:lnTo>
                  <a:lnTo>
                    <a:pt x="663" y="625"/>
                  </a:lnTo>
                  <a:lnTo>
                    <a:pt x="663" y="623"/>
                  </a:lnTo>
                  <a:lnTo>
                    <a:pt x="663" y="622"/>
                  </a:lnTo>
                  <a:lnTo>
                    <a:pt x="668" y="620"/>
                  </a:lnTo>
                  <a:lnTo>
                    <a:pt x="668" y="619"/>
                  </a:lnTo>
                  <a:lnTo>
                    <a:pt x="668" y="618"/>
                  </a:lnTo>
                  <a:lnTo>
                    <a:pt x="671" y="618"/>
                  </a:lnTo>
                  <a:lnTo>
                    <a:pt x="673" y="615"/>
                  </a:lnTo>
                  <a:lnTo>
                    <a:pt x="674" y="615"/>
                  </a:lnTo>
                  <a:lnTo>
                    <a:pt x="673" y="613"/>
                  </a:lnTo>
                  <a:lnTo>
                    <a:pt x="673" y="612"/>
                  </a:lnTo>
                  <a:lnTo>
                    <a:pt x="673" y="609"/>
                  </a:lnTo>
                  <a:lnTo>
                    <a:pt x="677" y="612"/>
                  </a:lnTo>
                  <a:lnTo>
                    <a:pt x="677" y="609"/>
                  </a:lnTo>
                  <a:lnTo>
                    <a:pt x="679" y="609"/>
                  </a:lnTo>
                  <a:lnTo>
                    <a:pt x="680" y="609"/>
                  </a:lnTo>
                  <a:lnTo>
                    <a:pt x="680" y="607"/>
                  </a:lnTo>
                  <a:lnTo>
                    <a:pt x="680" y="605"/>
                  </a:lnTo>
                  <a:lnTo>
                    <a:pt x="677" y="605"/>
                  </a:lnTo>
                  <a:lnTo>
                    <a:pt x="680" y="602"/>
                  </a:lnTo>
                  <a:lnTo>
                    <a:pt x="681" y="603"/>
                  </a:lnTo>
                  <a:lnTo>
                    <a:pt x="684" y="605"/>
                  </a:lnTo>
                  <a:lnTo>
                    <a:pt x="684" y="603"/>
                  </a:lnTo>
                  <a:lnTo>
                    <a:pt x="683" y="603"/>
                  </a:lnTo>
                  <a:lnTo>
                    <a:pt x="684" y="602"/>
                  </a:lnTo>
                  <a:lnTo>
                    <a:pt x="687" y="600"/>
                  </a:lnTo>
                  <a:lnTo>
                    <a:pt x="687" y="597"/>
                  </a:lnTo>
                  <a:lnTo>
                    <a:pt x="690" y="597"/>
                  </a:lnTo>
                  <a:lnTo>
                    <a:pt x="690" y="594"/>
                  </a:lnTo>
                  <a:lnTo>
                    <a:pt x="693" y="596"/>
                  </a:lnTo>
                  <a:lnTo>
                    <a:pt x="692" y="593"/>
                  </a:lnTo>
                  <a:lnTo>
                    <a:pt x="695" y="594"/>
                  </a:lnTo>
                  <a:lnTo>
                    <a:pt x="693" y="591"/>
                  </a:lnTo>
                  <a:lnTo>
                    <a:pt x="690" y="590"/>
                  </a:lnTo>
                  <a:lnTo>
                    <a:pt x="692" y="590"/>
                  </a:lnTo>
                  <a:lnTo>
                    <a:pt x="695" y="590"/>
                  </a:lnTo>
                  <a:lnTo>
                    <a:pt x="696" y="589"/>
                  </a:lnTo>
                  <a:lnTo>
                    <a:pt x="696" y="590"/>
                  </a:lnTo>
                  <a:lnTo>
                    <a:pt x="699" y="591"/>
                  </a:lnTo>
                  <a:lnTo>
                    <a:pt x="700" y="589"/>
                  </a:lnTo>
                  <a:lnTo>
                    <a:pt x="699" y="587"/>
                  </a:lnTo>
                  <a:lnTo>
                    <a:pt x="700" y="587"/>
                  </a:lnTo>
                  <a:lnTo>
                    <a:pt x="697" y="584"/>
                  </a:lnTo>
                  <a:lnTo>
                    <a:pt x="700" y="583"/>
                  </a:lnTo>
                  <a:lnTo>
                    <a:pt x="705" y="581"/>
                  </a:lnTo>
                  <a:lnTo>
                    <a:pt x="706" y="578"/>
                  </a:lnTo>
                  <a:lnTo>
                    <a:pt x="710" y="581"/>
                  </a:lnTo>
                  <a:lnTo>
                    <a:pt x="709" y="580"/>
                  </a:lnTo>
                  <a:lnTo>
                    <a:pt x="708" y="580"/>
                  </a:lnTo>
                  <a:lnTo>
                    <a:pt x="706" y="578"/>
                  </a:lnTo>
                  <a:lnTo>
                    <a:pt x="708" y="577"/>
                  </a:lnTo>
                  <a:lnTo>
                    <a:pt x="708" y="575"/>
                  </a:lnTo>
                  <a:lnTo>
                    <a:pt x="710" y="575"/>
                  </a:lnTo>
                  <a:lnTo>
                    <a:pt x="712" y="574"/>
                  </a:lnTo>
                  <a:lnTo>
                    <a:pt x="713" y="575"/>
                  </a:lnTo>
                  <a:lnTo>
                    <a:pt x="716" y="575"/>
                  </a:lnTo>
                  <a:lnTo>
                    <a:pt x="716" y="573"/>
                  </a:lnTo>
                  <a:lnTo>
                    <a:pt x="719" y="575"/>
                  </a:lnTo>
                  <a:lnTo>
                    <a:pt x="722" y="570"/>
                  </a:lnTo>
                  <a:lnTo>
                    <a:pt x="724" y="567"/>
                  </a:lnTo>
                  <a:lnTo>
                    <a:pt x="722" y="567"/>
                  </a:lnTo>
                  <a:lnTo>
                    <a:pt x="716" y="570"/>
                  </a:lnTo>
                  <a:lnTo>
                    <a:pt x="699" y="568"/>
                  </a:lnTo>
                  <a:lnTo>
                    <a:pt x="683" y="559"/>
                  </a:lnTo>
                  <a:lnTo>
                    <a:pt x="681" y="561"/>
                  </a:lnTo>
                  <a:lnTo>
                    <a:pt x="681" y="558"/>
                  </a:lnTo>
                  <a:lnTo>
                    <a:pt x="680" y="558"/>
                  </a:lnTo>
                  <a:lnTo>
                    <a:pt x="677" y="559"/>
                  </a:lnTo>
                  <a:lnTo>
                    <a:pt x="676" y="557"/>
                  </a:lnTo>
                  <a:lnTo>
                    <a:pt x="661" y="565"/>
                  </a:lnTo>
                  <a:lnTo>
                    <a:pt x="657" y="562"/>
                  </a:lnTo>
                  <a:lnTo>
                    <a:pt x="651" y="565"/>
                  </a:lnTo>
                  <a:lnTo>
                    <a:pt x="648" y="573"/>
                  </a:lnTo>
                  <a:lnTo>
                    <a:pt x="629" y="571"/>
                  </a:lnTo>
                  <a:lnTo>
                    <a:pt x="635" y="567"/>
                  </a:lnTo>
                  <a:lnTo>
                    <a:pt x="639" y="568"/>
                  </a:lnTo>
                  <a:lnTo>
                    <a:pt x="651" y="561"/>
                  </a:lnTo>
                  <a:lnTo>
                    <a:pt x="655" y="559"/>
                  </a:lnTo>
                  <a:lnTo>
                    <a:pt x="660" y="558"/>
                  </a:lnTo>
                  <a:lnTo>
                    <a:pt x="658" y="555"/>
                  </a:lnTo>
                  <a:lnTo>
                    <a:pt x="632" y="557"/>
                  </a:lnTo>
                  <a:lnTo>
                    <a:pt x="629" y="554"/>
                  </a:lnTo>
                  <a:lnTo>
                    <a:pt x="625" y="552"/>
                  </a:lnTo>
                  <a:lnTo>
                    <a:pt x="634" y="549"/>
                  </a:lnTo>
                  <a:lnTo>
                    <a:pt x="635" y="546"/>
                  </a:lnTo>
                  <a:lnTo>
                    <a:pt x="638" y="539"/>
                  </a:lnTo>
                  <a:lnTo>
                    <a:pt x="635" y="535"/>
                  </a:lnTo>
                  <a:lnTo>
                    <a:pt x="635" y="532"/>
                  </a:lnTo>
                  <a:lnTo>
                    <a:pt x="639" y="532"/>
                  </a:lnTo>
                  <a:lnTo>
                    <a:pt x="642" y="533"/>
                  </a:lnTo>
                  <a:lnTo>
                    <a:pt x="644" y="527"/>
                  </a:lnTo>
                  <a:lnTo>
                    <a:pt x="647" y="532"/>
                  </a:lnTo>
                  <a:lnTo>
                    <a:pt x="658" y="532"/>
                  </a:lnTo>
                  <a:lnTo>
                    <a:pt x="667" y="526"/>
                  </a:lnTo>
                  <a:lnTo>
                    <a:pt x="671" y="522"/>
                  </a:lnTo>
                  <a:lnTo>
                    <a:pt x="668" y="517"/>
                  </a:lnTo>
                  <a:lnTo>
                    <a:pt x="673" y="520"/>
                  </a:lnTo>
                  <a:lnTo>
                    <a:pt x="673" y="513"/>
                  </a:lnTo>
                  <a:lnTo>
                    <a:pt x="668" y="509"/>
                  </a:lnTo>
                  <a:lnTo>
                    <a:pt x="663" y="509"/>
                  </a:lnTo>
                  <a:lnTo>
                    <a:pt x="658" y="510"/>
                  </a:lnTo>
                  <a:lnTo>
                    <a:pt x="652" y="507"/>
                  </a:lnTo>
                  <a:lnTo>
                    <a:pt x="648" y="509"/>
                  </a:lnTo>
                  <a:lnTo>
                    <a:pt x="649" y="506"/>
                  </a:lnTo>
                  <a:lnTo>
                    <a:pt x="641" y="503"/>
                  </a:lnTo>
                  <a:lnTo>
                    <a:pt x="645" y="501"/>
                  </a:lnTo>
                  <a:lnTo>
                    <a:pt x="644" y="494"/>
                  </a:lnTo>
                  <a:lnTo>
                    <a:pt x="649" y="498"/>
                  </a:lnTo>
                  <a:lnTo>
                    <a:pt x="654" y="504"/>
                  </a:lnTo>
                  <a:lnTo>
                    <a:pt x="658" y="504"/>
                  </a:lnTo>
                  <a:lnTo>
                    <a:pt x="663" y="503"/>
                  </a:lnTo>
                  <a:lnTo>
                    <a:pt x="665" y="504"/>
                  </a:lnTo>
                  <a:lnTo>
                    <a:pt x="670" y="506"/>
                  </a:lnTo>
                  <a:lnTo>
                    <a:pt x="680" y="516"/>
                  </a:lnTo>
                  <a:lnTo>
                    <a:pt x="684" y="516"/>
                  </a:lnTo>
                  <a:lnTo>
                    <a:pt x="687" y="517"/>
                  </a:lnTo>
                  <a:lnTo>
                    <a:pt x="687" y="522"/>
                  </a:lnTo>
                  <a:lnTo>
                    <a:pt x="692" y="527"/>
                  </a:lnTo>
                  <a:lnTo>
                    <a:pt x="695" y="541"/>
                  </a:lnTo>
                  <a:lnTo>
                    <a:pt x="697" y="548"/>
                  </a:lnTo>
                  <a:lnTo>
                    <a:pt x="703" y="552"/>
                  </a:lnTo>
                  <a:lnTo>
                    <a:pt x="709" y="555"/>
                  </a:lnTo>
                  <a:lnTo>
                    <a:pt x="715" y="554"/>
                  </a:lnTo>
                  <a:lnTo>
                    <a:pt x="716" y="538"/>
                  </a:lnTo>
                  <a:lnTo>
                    <a:pt x="718" y="538"/>
                  </a:lnTo>
                  <a:lnTo>
                    <a:pt x="719" y="552"/>
                  </a:lnTo>
                  <a:lnTo>
                    <a:pt x="724" y="551"/>
                  </a:lnTo>
                  <a:lnTo>
                    <a:pt x="725" y="555"/>
                  </a:lnTo>
                  <a:lnTo>
                    <a:pt x="729" y="552"/>
                  </a:lnTo>
                  <a:lnTo>
                    <a:pt x="729" y="548"/>
                  </a:lnTo>
                  <a:lnTo>
                    <a:pt x="728" y="548"/>
                  </a:lnTo>
                  <a:lnTo>
                    <a:pt x="728" y="542"/>
                  </a:lnTo>
                  <a:lnTo>
                    <a:pt x="726" y="538"/>
                  </a:lnTo>
                  <a:lnTo>
                    <a:pt x="728" y="536"/>
                  </a:lnTo>
                  <a:lnTo>
                    <a:pt x="726" y="532"/>
                  </a:lnTo>
                  <a:lnTo>
                    <a:pt x="726" y="530"/>
                  </a:lnTo>
                  <a:lnTo>
                    <a:pt x="725" y="527"/>
                  </a:lnTo>
                  <a:lnTo>
                    <a:pt x="722" y="527"/>
                  </a:lnTo>
                  <a:lnTo>
                    <a:pt x="726" y="525"/>
                  </a:lnTo>
                  <a:lnTo>
                    <a:pt x="726" y="520"/>
                  </a:lnTo>
                  <a:lnTo>
                    <a:pt x="725" y="517"/>
                  </a:lnTo>
                  <a:lnTo>
                    <a:pt x="726" y="516"/>
                  </a:lnTo>
                  <a:lnTo>
                    <a:pt x="728" y="509"/>
                  </a:lnTo>
                  <a:lnTo>
                    <a:pt x="725" y="507"/>
                  </a:lnTo>
                  <a:lnTo>
                    <a:pt x="722" y="511"/>
                  </a:lnTo>
                  <a:lnTo>
                    <a:pt x="719" y="510"/>
                  </a:lnTo>
                  <a:lnTo>
                    <a:pt x="718" y="517"/>
                  </a:lnTo>
                  <a:lnTo>
                    <a:pt x="716" y="517"/>
                  </a:lnTo>
                  <a:lnTo>
                    <a:pt x="716" y="510"/>
                  </a:lnTo>
                  <a:lnTo>
                    <a:pt x="722" y="501"/>
                  </a:lnTo>
                  <a:lnTo>
                    <a:pt x="724" y="498"/>
                  </a:lnTo>
                  <a:lnTo>
                    <a:pt x="721" y="498"/>
                  </a:lnTo>
                  <a:lnTo>
                    <a:pt x="716" y="503"/>
                  </a:lnTo>
                  <a:lnTo>
                    <a:pt x="715" y="504"/>
                  </a:lnTo>
                  <a:lnTo>
                    <a:pt x="716" y="500"/>
                  </a:lnTo>
                  <a:lnTo>
                    <a:pt x="716" y="496"/>
                  </a:lnTo>
                  <a:lnTo>
                    <a:pt x="712" y="498"/>
                  </a:lnTo>
                  <a:lnTo>
                    <a:pt x="709" y="503"/>
                  </a:lnTo>
                  <a:lnTo>
                    <a:pt x="708" y="504"/>
                  </a:lnTo>
                  <a:lnTo>
                    <a:pt x="709" y="498"/>
                  </a:lnTo>
                  <a:lnTo>
                    <a:pt x="713" y="496"/>
                  </a:lnTo>
                  <a:lnTo>
                    <a:pt x="716" y="490"/>
                  </a:lnTo>
                  <a:lnTo>
                    <a:pt x="708" y="485"/>
                  </a:lnTo>
                  <a:lnTo>
                    <a:pt x="706" y="482"/>
                  </a:lnTo>
                  <a:lnTo>
                    <a:pt x="699" y="480"/>
                  </a:lnTo>
                  <a:lnTo>
                    <a:pt x="697" y="477"/>
                  </a:lnTo>
                  <a:lnTo>
                    <a:pt x="686" y="466"/>
                  </a:lnTo>
                  <a:lnTo>
                    <a:pt x="683" y="465"/>
                  </a:lnTo>
                  <a:lnTo>
                    <a:pt x="679" y="468"/>
                  </a:lnTo>
                  <a:lnTo>
                    <a:pt x="677" y="471"/>
                  </a:lnTo>
                  <a:lnTo>
                    <a:pt x="676" y="477"/>
                  </a:lnTo>
                  <a:lnTo>
                    <a:pt x="674" y="481"/>
                  </a:lnTo>
                  <a:lnTo>
                    <a:pt x="676" y="468"/>
                  </a:lnTo>
                  <a:lnTo>
                    <a:pt x="673" y="468"/>
                  </a:lnTo>
                  <a:lnTo>
                    <a:pt x="673" y="465"/>
                  </a:lnTo>
                  <a:lnTo>
                    <a:pt x="684" y="462"/>
                  </a:lnTo>
                  <a:lnTo>
                    <a:pt x="683" y="453"/>
                  </a:lnTo>
                  <a:lnTo>
                    <a:pt x="674" y="448"/>
                  </a:lnTo>
                  <a:lnTo>
                    <a:pt x="670" y="448"/>
                  </a:lnTo>
                  <a:lnTo>
                    <a:pt x="661" y="456"/>
                  </a:lnTo>
                  <a:lnTo>
                    <a:pt x="661" y="456"/>
                  </a:lnTo>
                  <a:lnTo>
                    <a:pt x="661" y="452"/>
                  </a:lnTo>
                  <a:lnTo>
                    <a:pt x="655" y="452"/>
                  </a:lnTo>
                  <a:lnTo>
                    <a:pt x="657" y="450"/>
                  </a:lnTo>
                  <a:lnTo>
                    <a:pt x="660" y="449"/>
                  </a:lnTo>
                  <a:lnTo>
                    <a:pt x="657" y="448"/>
                  </a:lnTo>
                  <a:lnTo>
                    <a:pt x="664" y="448"/>
                  </a:lnTo>
                  <a:lnTo>
                    <a:pt x="670" y="446"/>
                  </a:lnTo>
                  <a:lnTo>
                    <a:pt x="673" y="443"/>
                  </a:lnTo>
                  <a:lnTo>
                    <a:pt x="677" y="442"/>
                  </a:lnTo>
                  <a:lnTo>
                    <a:pt x="681" y="436"/>
                  </a:lnTo>
                  <a:lnTo>
                    <a:pt x="679" y="434"/>
                  </a:lnTo>
                  <a:lnTo>
                    <a:pt x="673" y="434"/>
                  </a:lnTo>
                  <a:lnTo>
                    <a:pt x="670" y="430"/>
                  </a:lnTo>
                  <a:lnTo>
                    <a:pt x="665" y="429"/>
                  </a:lnTo>
                  <a:lnTo>
                    <a:pt x="660" y="430"/>
                  </a:lnTo>
                  <a:lnTo>
                    <a:pt x="655" y="433"/>
                  </a:lnTo>
                  <a:lnTo>
                    <a:pt x="652" y="430"/>
                  </a:lnTo>
                  <a:lnTo>
                    <a:pt x="658" y="429"/>
                  </a:lnTo>
                  <a:lnTo>
                    <a:pt x="660" y="426"/>
                  </a:lnTo>
                  <a:lnTo>
                    <a:pt x="654" y="423"/>
                  </a:lnTo>
                  <a:lnTo>
                    <a:pt x="660" y="421"/>
                  </a:lnTo>
                  <a:lnTo>
                    <a:pt x="664" y="426"/>
                  </a:lnTo>
                  <a:lnTo>
                    <a:pt x="668" y="426"/>
                  </a:lnTo>
                  <a:lnTo>
                    <a:pt x="674" y="421"/>
                  </a:lnTo>
                  <a:lnTo>
                    <a:pt x="676" y="417"/>
                  </a:lnTo>
                  <a:lnTo>
                    <a:pt x="683" y="414"/>
                  </a:lnTo>
                  <a:lnTo>
                    <a:pt x="681" y="405"/>
                  </a:lnTo>
                  <a:lnTo>
                    <a:pt x="686" y="410"/>
                  </a:lnTo>
                  <a:lnTo>
                    <a:pt x="689" y="410"/>
                  </a:lnTo>
                  <a:lnTo>
                    <a:pt x="690" y="401"/>
                  </a:lnTo>
                  <a:lnTo>
                    <a:pt x="692" y="400"/>
                  </a:lnTo>
                  <a:lnTo>
                    <a:pt x="695" y="400"/>
                  </a:lnTo>
                  <a:lnTo>
                    <a:pt x="696" y="407"/>
                  </a:lnTo>
                  <a:lnTo>
                    <a:pt x="709" y="421"/>
                  </a:lnTo>
                  <a:lnTo>
                    <a:pt x="718" y="426"/>
                  </a:lnTo>
                  <a:lnTo>
                    <a:pt x="722" y="424"/>
                  </a:lnTo>
                  <a:lnTo>
                    <a:pt x="724" y="421"/>
                  </a:lnTo>
                  <a:lnTo>
                    <a:pt x="728" y="418"/>
                  </a:lnTo>
                  <a:lnTo>
                    <a:pt x="732" y="414"/>
                  </a:lnTo>
                  <a:lnTo>
                    <a:pt x="737" y="416"/>
                  </a:lnTo>
                  <a:lnTo>
                    <a:pt x="742" y="416"/>
                  </a:lnTo>
                  <a:lnTo>
                    <a:pt x="745" y="413"/>
                  </a:lnTo>
                  <a:lnTo>
                    <a:pt x="744" y="410"/>
                  </a:lnTo>
                  <a:lnTo>
                    <a:pt x="745" y="403"/>
                  </a:lnTo>
                  <a:lnTo>
                    <a:pt x="747" y="398"/>
                  </a:lnTo>
                  <a:lnTo>
                    <a:pt x="747" y="395"/>
                  </a:lnTo>
                  <a:lnTo>
                    <a:pt x="731" y="389"/>
                  </a:lnTo>
                  <a:lnTo>
                    <a:pt x="729" y="387"/>
                  </a:lnTo>
                  <a:lnTo>
                    <a:pt x="722" y="388"/>
                  </a:lnTo>
                  <a:lnTo>
                    <a:pt x="718" y="385"/>
                  </a:lnTo>
                  <a:lnTo>
                    <a:pt x="718" y="384"/>
                  </a:lnTo>
                  <a:lnTo>
                    <a:pt x="719" y="384"/>
                  </a:lnTo>
                  <a:lnTo>
                    <a:pt x="719" y="379"/>
                  </a:lnTo>
                  <a:lnTo>
                    <a:pt x="722" y="376"/>
                  </a:lnTo>
                  <a:lnTo>
                    <a:pt x="722" y="373"/>
                  </a:lnTo>
                  <a:lnTo>
                    <a:pt x="716" y="373"/>
                  </a:lnTo>
                  <a:lnTo>
                    <a:pt x="725" y="369"/>
                  </a:lnTo>
                  <a:lnTo>
                    <a:pt x="724" y="359"/>
                  </a:lnTo>
                  <a:lnTo>
                    <a:pt x="726" y="360"/>
                  </a:lnTo>
                  <a:lnTo>
                    <a:pt x="728" y="363"/>
                  </a:lnTo>
                  <a:lnTo>
                    <a:pt x="735" y="363"/>
                  </a:lnTo>
                  <a:lnTo>
                    <a:pt x="740" y="365"/>
                  </a:lnTo>
                  <a:lnTo>
                    <a:pt x="744" y="363"/>
                  </a:lnTo>
                  <a:lnTo>
                    <a:pt x="748" y="365"/>
                  </a:lnTo>
                  <a:lnTo>
                    <a:pt x="751" y="375"/>
                  </a:lnTo>
                  <a:lnTo>
                    <a:pt x="758" y="376"/>
                  </a:lnTo>
                  <a:lnTo>
                    <a:pt x="766" y="366"/>
                  </a:lnTo>
                  <a:lnTo>
                    <a:pt x="764" y="362"/>
                  </a:lnTo>
                  <a:lnTo>
                    <a:pt x="761" y="359"/>
                  </a:lnTo>
                  <a:lnTo>
                    <a:pt x="760" y="353"/>
                  </a:lnTo>
                  <a:lnTo>
                    <a:pt x="754" y="356"/>
                  </a:lnTo>
                  <a:lnTo>
                    <a:pt x="750" y="355"/>
                  </a:lnTo>
                  <a:lnTo>
                    <a:pt x="742" y="353"/>
                  </a:lnTo>
                  <a:lnTo>
                    <a:pt x="738" y="353"/>
                  </a:lnTo>
                  <a:lnTo>
                    <a:pt x="738" y="353"/>
                  </a:lnTo>
                  <a:lnTo>
                    <a:pt x="741" y="352"/>
                  </a:lnTo>
                  <a:lnTo>
                    <a:pt x="742" y="334"/>
                  </a:lnTo>
                  <a:lnTo>
                    <a:pt x="740" y="331"/>
                  </a:lnTo>
                  <a:lnTo>
                    <a:pt x="737" y="331"/>
                  </a:lnTo>
                  <a:lnTo>
                    <a:pt x="734" y="334"/>
                  </a:lnTo>
                  <a:lnTo>
                    <a:pt x="729" y="336"/>
                  </a:lnTo>
                  <a:lnTo>
                    <a:pt x="734" y="330"/>
                  </a:lnTo>
                  <a:lnTo>
                    <a:pt x="740" y="327"/>
                  </a:lnTo>
                  <a:lnTo>
                    <a:pt x="744" y="327"/>
                  </a:lnTo>
                  <a:lnTo>
                    <a:pt x="742" y="324"/>
                  </a:lnTo>
                  <a:lnTo>
                    <a:pt x="731" y="311"/>
                  </a:lnTo>
                  <a:lnTo>
                    <a:pt x="725" y="311"/>
                  </a:lnTo>
                  <a:lnTo>
                    <a:pt x="722" y="308"/>
                  </a:lnTo>
                  <a:lnTo>
                    <a:pt x="731" y="308"/>
                  </a:lnTo>
                  <a:lnTo>
                    <a:pt x="725" y="304"/>
                  </a:lnTo>
                  <a:lnTo>
                    <a:pt x="750" y="317"/>
                  </a:lnTo>
                  <a:lnTo>
                    <a:pt x="753" y="320"/>
                  </a:lnTo>
                  <a:lnTo>
                    <a:pt x="753" y="325"/>
                  </a:lnTo>
                  <a:lnTo>
                    <a:pt x="755" y="327"/>
                  </a:lnTo>
                  <a:lnTo>
                    <a:pt x="758" y="327"/>
                  </a:lnTo>
                  <a:lnTo>
                    <a:pt x="758" y="294"/>
                  </a:lnTo>
                  <a:lnTo>
                    <a:pt x="751" y="283"/>
                  </a:lnTo>
                  <a:lnTo>
                    <a:pt x="748" y="285"/>
                  </a:lnTo>
                  <a:lnTo>
                    <a:pt x="745" y="283"/>
                  </a:lnTo>
                  <a:lnTo>
                    <a:pt x="742" y="280"/>
                  </a:lnTo>
                  <a:lnTo>
                    <a:pt x="738" y="280"/>
                  </a:lnTo>
                  <a:lnTo>
                    <a:pt x="738" y="279"/>
                  </a:lnTo>
                  <a:lnTo>
                    <a:pt x="748" y="278"/>
                  </a:lnTo>
                  <a:lnTo>
                    <a:pt x="753" y="276"/>
                  </a:lnTo>
                  <a:lnTo>
                    <a:pt x="755" y="275"/>
                  </a:lnTo>
                  <a:lnTo>
                    <a:pt x="755" y="272"/>
                  </a:lnTo>
                  <a:lnTo>
                    <a:pt x="754" y="266"/>
                  </a:lnTo>
                  <a:lnTo>
                    <a:pt x="750" y="264"/>
                  </a:lnTo>
                  <a:lnTo>
                    <a:pt x="745" y="266"/>
                  </a:lnTo>
                  <a:lnTo>
                    <a:pt x="738" y="260"/>
                  </a:lnTo>
                  <a:lnTo>
                    <a:pt x="744" y="269"/>
                  </a:lnTo>
                  <a:lnTo>
                    <a:pt x="741" y="269"/>
                  </a:lnTo>
                  <a:lnTo>
                    <a:pt x="738" y="264"/>
                  </a:lnTo>
                  <a:lnTo>
                    <a:pt x="735" y="263"/>
                  </a:lnTo>
                  <a:lnTo>
                    <a:pt x="737" y="267"/>
                  </a:lnTo>
                  <a:lnTo>
                    <a:pt x="732" y="266"/>
                  </a:lnTo>
                  <a:lnTo>
                    <a:pt x="732" y="264"/>
                  </a:lnTo>
                  <a:lnTo>
                    <a:pt x="729" y="264"/>
                  </a:lnTo>
                  <a:lnTo>
                    <a:pt x="729" y="257"/>
                  </a:lnTo>
                  <a:lnTo>
                    <a:pt x="729" y="256"/>
                  </a:lnTo>
                  <a:lnTo>
                    <a:pt x="729" y="253"/>
                  </a:lnTo>
                  <a:lnTo>
                    <a:pt x="721" y="254"/>
                  </a:lnTo>
                  <a:lnTo>
                    <a:pt x="716" y="251"/>
                  </a:lnTo>
                  <a:lnTo>
                    <a:pt x="718" y="250"/>
                  </a:lnTo>
                  <a:lnTo>
                    <a:pt x="726" y="251"/>
                  </a:lnTo>
                  <a:lnTo>
                    <a:pt x="725" y="250"/>
                  </a:lnTo>
                  <a:lnTo>
                    <a:pt x="726" y="247"/>
                  </a:lnTo>
                  <a:lnTo>
                    <a:pt x="722" y="246"/>
                  </a:lnTo>
                  <a:lnTo>
                    <a:pt x="721" y="243"/>
                  </a:lnTo>
                  <a:lnTo>
                    <a:pt x="719" y="243"/>
                  </a:lnTo>
                  <a:lnTo>
                    <a:pt x="716" y="246"/>
                  </a:lnTo>
                  <a:lnTo>
                    <a:pt x="716" y="243"/>
                  </a:lnTo>
                  <a:lnTo>
                    <a:pt x="715" y="235"/>
                  </a:lnTo>
                  <a:lnTo>
                    <a:pt x="718" y="232"/>
                  </a:lnTo>
                  <a:lnTo>
                    <a:pt x="718" y="230"/>
                  </a:lnTo>
                  <a:lnTo>
                    <a:pt x="722" y="230"/>
                  </a:lnTo>
                  <a:lnTo>
                    <a:pt x="728" y="238"/>
                  </a:lnTo>
                  <a:lnTo>
                    <a:pt x="732" y="235"/>
                  </a:lnTo>
                  <a:lnTo>
                    <a:pt x="735" y="231"/>
                  </a:lnTo>
                  <a:lnTo>
                    <a:pt x="741" y="230"/>
                  </a:lnTo>
                  <a:lnTo>
                    <a:pt x="729" y="225"/>
                  </a:lnTo>
                  <a:lnTo>
                    <a:pt x="731" y="224"/>
                  </a:lnTo>
                  <a:lnTo>
                    <a:pt x="741" y="225"/>
                  </a:lnTo>
                  <a:lnTo>
                    <a:pt x="742" y="224"/>
                  </a:lnTo>
                  <a:lnTo>
                    <a:pt x="742" y="222"/>
                  </a:lnTo>
                  <a:lnTo>
                    <a:pt x="728" y="219"/>
                  </a:lnTo>
                  <a:lnTo>
                    <a:pt x="757" y="222"/>
                  </a:lnTo>
                  <a:lnTo>
                    <a:pt x="774" y="230"/>
                  </a:lnTo>
                  <a:lnTo>
                    <a:pt x="777" y="225"/>
                  </a:lnTo>
                  <a:lnTo>
                    <a:pt x="777" y="196"/>
                  </a:lnTo>
                  <a:lnTo>
                    <a:pt x="777" y="196"/>
                  </a:lnTo>
                  <a:lnTo>
                    <a:pt x="774" y="198"/>
                  </a:lnTo>
                  <a:lnTo>
                    <a:pt x="769" y="193"/>
                  </a:lnTo>
                  <a:lnTo>
                    <a:pt x="767" y="196"/>
                  </a:lnTo>
                  <a:lnTo>
                    <a:pt x="767" y="201"/>
                  </a:lnTo>
                  <a:lnTo>
                    <a:pt x="766" y="202"/>
                  </a:lnTo>
                  <a:lnTo>
                    <a:pt x="761" y="201"/>
                  </a:lnTo>
                  <a:lnTo>
                    <a:pt x="761" y="196"/>
                  </a:lnTo>
                  <a:lnTo>
                    <a:pt x="757" y="192"/>
                  </a:lnTo>
                  <a:lnTo>
                    <a:pt x="744" y="190"/>
                  </a:lnTo>
                  <a:lnTo>
                    <a:pt x="750" y="190"/>
                  </a:lnTo>
                  <a:lnTo>
                    <a:pt x="750" y="187"/>
                  </a:lnTo>
                  <a:lnTo>
                    <a:pt x="742" y="185"/>
                  </a:lnTo>
                  <a:lnTo>
                    <a:pt x="745" y="185"/>
                  </a:lnTo>
                  <a:lnTo>
                    <a:pt x="745" y="182"/>
                  </a:lnTo>
                  <a:lnTo>
                    <a:pt x="750" y="182"/>
                  </a:lnTo>
                  <a:lnTo>
                    <a:pt x="742" y="176"/>
                  </a:lnTo>
                  <a:lnTo>
                    <a:pt x="742" y="174"/>
                  </a:lnTo>
                  <a:lnTo>
                    <a:pt x="744" y="169"/>
                  </a:lnTo>
                  <a:lnTo>
                    <a:pt x="748" y="171"/>
                  </a:lnTo>
                  <a:lnTo>
                    <a:pt x="755" y="171"/>
                  </a:lnTo>
                  <a:lnTo>
                    <a:pt x="763" y="179"/>
                  </a:lnTo>
                  <a:lnTo>
                    <a:pt x="767" y="177"/>
                  </a:lnTo>
                  <a:lnTo>
                    <a:pt x="766" y="171"/>
                  </a:lnTo>
                  <a:lnTo>
                    <a:pt x="764" y="169"/>
                  </a:lnTo>
                  <a:lnTo>
                    <a:pt x="744" y="158"/>
                  </a:lnTo>
                  <a:lnTo>
                    <a:pt x="744" y="154"/>
                  </a:lnTo>
                  <a:lnTo>
                    <a:pt x="741" y="153"/>
                  </a:lnTo>
                  <a:lnTo>
                    <a:pt x="738" y="154"/>
                  </a:lnTo>
                  <a:lnTo>
                    <a:pt x="732" y="173"/>
                  </a:lnTo>
                  <a:lnTo>
                    <a:pt x="728" y="173"/>
                  </a:lnTo>
                  <a:lnTo>
                    <a:pt x="726" y="169"/>
                  </a:lnTo>
                  <a:lnTo>
                    <a:pt x="731" y="151"/>
                  </a:lnTo>
                  <a:lnTo>
                    <a:pt x="734" y="147"/>
                  </a:lnTo>
                  <a:lnTo>
                    <a:pt x="734" y="144"/>
                  </a:lnTo>
                  <a:lnTo>
                    <a:pt x="732" y="139"/>
                  </a:lnTo>
                  <a:lnTo>
                    <a:pt x="740" y="108"/>
                  </a:lnTo>
                  <a:lnTo>
                    <a:pt x="735" y="108"/>
                  </a:lnTo>
                  <a:lnTo>
                    <a:pt x="734" y="106"/>
                  </a:lnTo>
                  <a:lnTo>
                    <a:pt x="738" y="105"/>
                  </a:lnTo>
                  <a:lnTo>
                    <a:pt x="738" y="97"/>
                  </a:lnTo>
                  <a:lnTo>
                    <a:pt x="737" y="96"/>
                  </a:lnTo>
                  <a:lnTo>
                    <a:pt x="738" y="93"/>
                  </a:lnTo>
                  <a:lnTo>
                    <a:pt x="740" y="94"/>
                  </a:lnTo>
                  <a:lnTo>
                    <a:pt x="745" y="90"/>
                  </a:lnTo>
                  <a:lnTo>
                    <a:pt x="750" y="92"/>
                  </a:lnTo>
                  <a:lnTo>
                    <a:pt x="754" y="87"/>
                  </a:lnTo>
                  <a:lnTo>
                    <a:pt x="754" y="71"/>
                  </a:lnTo>
                  <a:lnTo>
                    <a:pt x="754" y="71"/>
                  </a:lnTo>
                  <a:lnTo>
                    <a:pt x="757" y="70"/>
                  </a:lnTo>
                  <a:lnTo>
                    <a:pt x="758" y="71"/>
                  </a:lnTo>
                  <a:lnTo>
                    <a:pt x="758" y="71"/>
                  </a:lnTo>
                  <a:lnTo>
                    <a:pt x="758" y="65"/>
                  </a:lnTo>
                  <a:lnTo>
                    <a:pt x="760" y="61"/>
                  </a:lnTo>
                  <a:lnTo>
                    <a:pt x="763" y="60"/>
                  </a:lnTo>
                  <a:lnTo>
                    <a:pt x="763" y="65"/>
                  </a:lnTo>
                  <a:lnTo>
                    <a:pt x="766" y="57"/>
                  </a:lnTo>
                  <a:lnTo>
                    <a:pt x="758" y="55"/>
                  </a:lnTo>
                  <a:lnTo>
                    <a:pt x="755" y="68"/>
                  </a:lnTo>
                  <a:lnTo>
                    <a:pt x="758" y="48"/>
                  </a:lnTo>
                  <a:lnTo>
                    <a:pt x="757" y="45"/>
                  </a:lnTo>
                  <a:lnTo>
                    <a:pt x="760" y="28"/>
                  </a:lnTo>
                  <a:lnTo>
                    <a:pt x="761" y="22"/>
                  </a:lnTo>
                  <a:lnTo>
                    <a:pt x="764" y="20"/>
                  </a:lnTo>
                  <a:lnTo>
                    <a:pt x="773" y="23"/>
                  </a:lnTo>
                  <a:lnTo>
                    <a:pt x="780" y="20"/>
                  </a:lnTo>
                  <a:lnTo>
                    <a:pt x="783" y="15"/>
                  </a:lnTo>
                  <a:lnTo>
                    <a:pt x="783" y="10"/>
                  </a:lnTo>
                  <a:lnTo>
                    <a:pt x="786" y="6"/>
                  </a:lnTo>
                  <a:lnTo>
                    <a:pt x="787" y="1"/>
                  </a:lnTo>
                  <a:lnTo>
                    <a:pt x="787" y="0"/>
                  </a:lnTo>
                  <a:lnTo>
                    <a:pt x="757" y="0"/>
                  </a:lnTo>
                  <a:lnTo>
                    <a:pt x="753" y="7"/>
                  </a:lnTo>
                  <a:lnTo>
                    <a:pt x="751" y="13"/>
                  </a:lnTo>
                  <a:lnTo>
                    <a:pt x="751" y="16"/>
                  </a:lnTo>
                  <a:lnTo>
                    <a:pt x="754" y="17"/>
                  </a:lnTo>
                  <a:lnTo>
                    <a:pt x="750" y="20"/>
                  </a:lnTo>
                  <a:lnTo>
                    <a:pt x="747" y="13"/>
                  </a:lnTo>
                  <a:lnTo>
                    <a:pt x="744" y="13"/>
                  </a:lnTo>
                  <a:lnTo>
                    <a:pt x="747" y="6"/>
                  </a:lnTo>
                  <a:lnTo>
                    <a:pt x="747" y="3"/>
                  </a:lnTo>
                  <a:lnTo>
                    <a:pt x="745" y="0"/>
                  </a:lnTo>
                  <a:lnTo>
                    <a:pt x="117" y="0"/>
                  </a:lnTo>
                  <a:lnTo>
                    <a:pt x="112" y="6"/>
                  </a:lnTo>
                  <a:lnTo>
                    <a:pt x="112" y="6"/>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56" name="Freeform 779"/>
            <p:cNvSpPr>
              <a:spLocks/>
            </p:cNvSpPr>
            <p:nvPr/>
          </p:nvSpPr>
          <p:spPr bwMode="auto">
            <a:xfrm>
              <a:off x="7307511" y="1209852"/>
              <a:ext cx="33356" cy="30424"/>
            </a:xfrm>
            <a:custGeom>
              <a:avLst/>
              <a:gdLst/>
              <a:ahLst/>
              <a:cxnLst>
                <a:cxn ang="0">
                  <a:pos x="0" y="6"/>
                </a:cxn>
                <a:cxn ang="0">
                  <a:pos x="4" y="9"/>
                </a:cxn>
                <a:cxn ang="0">
                  <a:pos x="4" y="13"/>
                </a:cxn>
                <a:cxn ang="0">
                  <a:pos x="3" y="15"/>
                </a:cxn>
                <a:cxn ang="0">
                  <a:pos x="11" y="17"/>
                </a:cxn>
                <a:cxn ang="0">
                  <a:pos x="16" y="22"/>
                </a:cxn>
                <a:cxn ang="0">
                  <a:pos x="16" y="23"/>
                </a:cxn>
                <a:cxn ang="0">
                  <a:pos x="13" y="23"/>
                </a:cxn>
                <a:cxn ang="0">
                  <a:pos x="10" y="26"/>
                </a:cxn>
                <a:cxn ang="0">
                  <a:pos x="7" y="23"/>
                </a:cxn>
                <a:cxn ang="0">
                  <a:pos x="3" y="22"/>
                </a:cxn>
                <a:cxn ang="0">
                  <a:pos x="3" y="23"/>
                </a:cxn>
                <a:cxn ang="0">
                  <a:pos x="10" y="29"/>
                </a:cxn>
                <a:cxn ang="0">
                  <a:pos x="14" y="26"/>
                </a:cxn>
                <a:cxn ang="0">
                  <a:pos x="17" y="26"/>
                </a:cxn>
                <a:cxn ang="0">
                  <a:pos x="20" y="28"/>
                </a:cxn>
                <a:cxn ang="0">
                  <a:pos x="24" y="25"/>
                </a:cxn>
                <a:cxn ang="0">
                  <a:pos x="33" y="15"/>
                </a:cxn>
                <a:cxn ang="0">
                  <a:pos x="35" y="15"/>
                </a:cxn>
                <a:cxn ang="0">
                  <a:pos x="36" y="10"/>
                </a:cxn>
                <a:cxn ang="0">
                  <a:pos x="36" y="9"/>
                </a:cxn>
                <a:cxn ang="0">
                  <a:pos x="29" y="3"/>
                </a:cxn>
                <a:cxn ang="0">
                  <a:pos x="3" y="0"/>
                </a:cxn>
                <a:cxn ang="0">
                  <a:pos x="0" y="4"/>
                </a:cxn>
                <a:cxn ang="0">
                  <a:pos x="0" y="6"/>
                </a:cxn>
                <a:cxn ang="0">
                  <a:pos x="0" y="6"/>
                </a:cxn>
              </a:cxnLst>
              <a:rect l="0" t="0" r="r" b="b"/>
              <a:pathLst>
                <a:path w="36" h="29">
                  <a:moveTo>
                    <a:pt x="0" y="6"/>
                  </a:moveTo>
                  <a:lnTo>
                    <a:pt x="4" y="9"/>
                  </a:lnTo>
                  <a:lnTo>
                    <a:pt x="4" y="13"/>
                  </a:lnTo>
                  <a:lnTo>
                    <a:pt x="3" y="15"/>
                  </a:lnTo>
                  <a:lnTo>
                    <a:pt x="11" y="17"/>
                  </a:lnTo>
                  <a:lnTo>
                    <a:pt x="16" y="22"/>
                  </a:lnTo>
                  <a:lnTo>
                    <a:pt x="16" y="23"/>
                  </a:lnTo>
                  <a:lnTo>
                    <a:pt x="13" y="23"/>
                  </a:lnTo>
                  <a:lnTo>
                    <a:pt x="10" y="26"/>
                  </a:lnTo>
                  <a:lnTo>
                    <a:pt x="7" y="23"/>
                  </a:lnTo>
                  <a:lnTo>
                    <a:pt x="3" y="22"/>
                  </a:lnTo>
                  <a:lnTo>
                    <a:pt x="3" y="23"/>
                  </a:lnTo>
                  <a:lnTo>
                    <a:pt x="10" y="29"/>
                  </a:lnTo>
                  <a:lnTo>
                    <a:pt x="14" y="26"/>
                  </a:lnTo>
                  <a:lnTo>
                    <a:pt x="17" y="26"/>
                  </a:lnTo>
                  <a:lnTo>
                    <a:pt x="20" y="28"/>
                  </a:lnTo>
                  <a:lnTo>
                    <a:pt x="24" y="25"/>
                  </a:lnTo>
                  <a:lnTo>
                    <a:pt x="33" y="15"/>
                  </a:lnTo>
                  <a:lnTo>
                    <a:pt x="35" y="15"/>
                  </a:lnTo>
                  <a:lnTo>
                    <a:pt x="36" y="10"/>
                  </a:lnTo>
                  <a:lnTo>
                    <a:pt x="36" y="9"/>
                  </a:lnTo>
                  <a:lnTo>
                    <a:pt x="29" y="3"/>
                  </a:lnTo>
                  <a:lnTo>
                    <a:pt x="3" y="0"/>
                  </a:lnTo>
                  <a:lnTo>
                    <a:pt x="0" y="4"/>
                  </a:lnTo>
                  <a:lnTo>
                    <a:pt x="0" y="6"/>
                  </a:lnTo>
                  <a:lnTo>
                    <a:pt x="0" y="6"/>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57" name="Freeform 780"/>
            <p:cNvSpPr>
              <a:spLocks/>
            </p:cNvSpPr>
            <p:nvPr/>
          </p:nvSpPr>
          <p:spPr bwMode="auto">
            <a:xfrm>
              <a:off x="7341745" y="1209852"/>
              <a:ext cx="1756" cy="1014"/>
            </a:xfrm>
            <a:custGeom>
              <a:avLst/>
              <a:gdLst/>
              <a:ahLst/>
              <a:cxnLst>
                <a:cxn ang="0">
                  <a:pos x="2" y="0"/>
                </a:cxn>
                <a:cxn ang="0">
                  <a:pos x="0" y="0"/>
                </a:cxn>
                <a:cxn ang="0">
                  <a:pos x="2" y="0"/>
                </a:cxn>
                <a:cxn ang="0">
                  <a:pos x="2" y="0"/>
                </a:cxn>
                <a:cxn ang="0">
                  <a:pos x="2" y="0"/>
                </a:cxn>
              </a:cxnLst>
              <a:rect l="0" t="0" r="r" b="b"/>
              <a:pathLst>
                <a:path w="2">
                  <a:moveTo>
                    <a:pt x="2" y="0"/>
                  </a:moveTo>
                  <a:lnTo>
                    <a:pt x="0" y="0"/>
                  </a:lnTo>
                  <a:lnTo>
                    <a:pt x="2" y="0"/>
                  </a:lnTo>
                  <a:lnTo>
                    <a:pt x="2" y="0"/>
                  </a:lnTo>
                  <a:lnTo>
                    <a:pt x="2" y="0"/>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58" name="Freeform 781"/>
            <p:cNvSpPr>
              <a:spLocks/>
            </p:cNvSpPr>
            <p:nvPr/>
          </p:nvSpPr>
          <p:spPr bwMode="auto">
            <a:xfrm>
              <a:off x="7330334" y="1209852"/>
              <a:ext cx="95680" cy="101413"/>
            </a:xfrm>
            <a:custGeom>
              <a:avLst/>
              <a:gdLst/>
              <a:ahLst/>
              <a:cxnLst>
                <a:cxn ang="0">
                  <a:pos x="21" y="13"/>
                </a:cxn>
                <a:cxn ang="0">
                  <a:pos x="24" y="17"/>
                </a:cxn>
                <a:cxn ang="0">
                  <a:pos x="15" y="20"/>
                </a:cxn>
                <a:cxn ang="0">
                  <a:pos x="5" y="38"/>
                </a:cxn>
                <a:cxn ang="0">
                  <a:pos x="3" y="39"/>
                </a:cxn>
                <a:cxn ang="0">
                  <a:pos x="5" y="44"/>
                </a:cxn>
                <a:cxn ang="0">
                  <a:pos x="8" y="38"/>
                </a:cxn>
                <a:cxn ang="0">
                  <a:pos x="12" y="41"/>
                </a:cxn>
                <a:cxn ang="0">
                  <a:pos x="13" y="44"/>
                </a:cxn>
                <a:cxn ang="0">
                  <a:pos x="19" y="42"/>
                </a:cxn>
                <a:cxn ang="0">
                  <a:pos x="22" y="65"/>
                </a:cxn>
                <a:cxn ang="0">
                  <a:pos x="27" y="73"/>
                </a:cxn>
                <a:cxn ang="0">
                  <a:pos x="31" y="78"/>
                </a:cxn>
                <a:cxn ang="0">
                  <a:pos x="43" y="78"/>
                </a:cxn>
                <a:cxn ang="0">
                  <a:pos x="45" y="78"/>
                </a:cxn>
                <a:cxn ang="0">
                  <a:pos x="48" y="81"/>
                </a:cxn>
                <a:cxn ang="0">
                  <a:pos x="61" y="89"/>
                </a:cxn>
                <a:cxn ang="0">
                  <a:pos x="67" y="93"/>
                </a:cxn>
                <a:cxn ang="0">
                  <a:pos x="85" y="97"/>
                </a:cxn>
                <a:cxn ang="0">
                  <a:pos x="90" y="96"/>
                </a:cxn>
                <a:cxn ang="0">
                  <a:pos x="95" y="92"/>
                </a:cxn>
                <a:cxn ang="0">
                  <a:pos x="98" y="84"/>
                </a:cxn>
                <a:cxn ang="0">
                  <a:pos x="98" y="77"/>
                </a:cxn>
                <a:cxn ang="0">
                  <a:pos x="95" y="68"/>
                </a:cxn>
                <a:cxn ang="0">
                  <a:pos x="88" y="61"/>
                </a:cxn>
                <a:cxn ang="0">
                  <a:pos x="96" y="61"/>
                </a:cxn>
                <a:cxn ang="0">
                  <a:pos x="98" y="42"/>
                </a:cxn>
                <a:cxn ang="0">
                  <a:pos x="101" y="31"/>
                </a:cxn>
                <a:cxn ang="0">
                  <a:pos x="103" y="28"/>
                </a:cxn>
                <a:cxn ang="0">
                  <a:pos x="101" y="23"/>
                </a:cxn>
                <a:cxn ang="0">
                  <a:pos x="101" y="17"/>
                </a:cxn>
                <a:cxn ang="0">
                  <a:pos x="96" y="6"/>
                </a:cxn>
                <a:cxn ang="0">
                  <a:pos x="93" y="0"/>
                </a:cxn>
                <a:cxn ang="0">
                  <a:pos x="88" y="1"/>
                </a:cxn>
                <a:cxn ang="0">
                  <a:pos x="79" y="0"/>
                </a:cxn>
                <a:cxn ang="0">
                  <a:pos x="79" y="9"/>
                </a:cxn>
                <a:cxn ang="0">
                  <a:pos x="70" y="20"/>
                </a:cxn>
                <a:cxn ang="0">
                  <a:pos x="61" y="25"/>
                </a:cxn>
                <a:cxn ang="0">
                  <a:pos x="67" y="17"/>
                </a:cxn>
                <a:cxn ang="0">
                  <a:pos x="69" y="12"/>
                </a:cxn>
                <a:cxn ang="0">
                  <a:pos x="76" y="1"/>
                </a:cxn>
                <a:cxn ang="0">
                  <a:pos x="25" y="0"/>
                </a:cxn>
                <a:cxn ang="0">
                  <a:pos x="21" y="9"/>
                </a:cxn>
              </a:cxnLst>
              <a:rect l="0" t="0" r="r" b="b"/>
              <a:pathLst>
                <a:path w="105" h="97">
                  <a:moveTo>
                    <a:pt x="21" y="9"/>
                  </a:moveTo>
                  <a:lnTo>
                    <a:pt x="21" y="13"/>
                  </a:lnTo>
                  <a:lnTo>
                    <a:pt x="24" y="15"/>
                  </a:lnTo>
                  <a:lnTo>
                    <a:pt x="24" y="17"/>
                  </a:lnTo>
                  <a:lnTo>
                    <a:pt x="21" y="19"/>
                  </a:lnTo>
                  <a:lnTo>
                    <a:pt x="15" y="20"/>
                  </a:lnTo>
                  <a:lnTo>
                    <a:pt x="12" y="28"/>
                  </a:lnTo>
                  <a:lnTo>
                    <a:pt x="5" y="38"/>
                  </a:lnTo>
                  <a:lnTo>
                    <a:pt x="0" y="36"/>
                  </a:lnTo>
                  <a:lnTo>
                    <a:pt x="3" y="39"/>
                  </a:lnTo>
                  <a:lnTo>
                    <a:pt x="5" y="44"/>
                  </a:lnTo>
                  <a:lnTo>
                    <a:pt x="5" y="44"/>
                  </a:lnTo>
                  <a:lnTo>
                    <a:pt x="6" y="38"/>
                  </a:lnTo>
                  <a:lnTo>
                    <a:pt x="8" y="38"/>
                  </a:lnTo>
                  <a:lnTo>
                    <a:pt x="11" y="42"/>
                  </a:lnTo>
                  <a:lnTo>
                    <a:pt x="12" y="41"/>
                  </a:lnTo>
                  <a:lnTo>
                    <a:pt x="13" y="42"/>
                  </a:lnTo>
                  <a:lnTo>
                    <a:pt x="13" y="44"/>
                  </a:lnTo>
                  <a:lnTo>
                    <a:pt x="16" y="42"/>
                  </a:lnTo>
                  <a:lnTo>
                    <a:pt x="19" y="42"/>
                  </a:lnTo>
                  <a:lnTo>
                    <a:pt x="21" y="61"/>
                  </a:lnTo>
                  <a:lnTo>
                    <a:pt x="22" y="65"/>
                  </a:lnTo>
                  <a:lnTo>
                    <a:pt x="25" y="67"/>
                  </a:lnTo>
                  <a:lnTo>
                    <a:pt x="27" y="73"/>
                  </a:lnTo>
                  <a:lnTo>
                    <a:pt x="29" y="76"/>
                  </a:lnTo>
                  <a:lnTo>
                    <a:pt x="31" y="78"/>
                  </a:lnTo>
                  <a:lnTo>
                    <a:pt x="41" y="67"/>
                  </a:lnTo>
                  <a:lnTo>
                    <a:pt x="43" y="78"/>
                  </a:lnTo>
                  <a:lnTo>
                    <a:pt x="43" y="80"/>
                  </a:lnTo>
                  <a:lnTo>
                    <a:pt x="45" y="78"/>
                  </a:lnTo>
                  <a:lnTo>
                    <a:pt x="48" y="80"/>
                  </a:lnTo>
                  <a:lnTo>
                    <a:pt x="48" y="81"/>
                  </a:lnTo>
                  <a:lnTo>
                    <a:pt x="60" y="86"/>
                  </a:lnTo>
                  <a:lnTo>
                    <a:pt x="61" y="89"/>
                  </a:lnTo>
                  <a:lnTo>
                    <a:pt x="66" y="90"/>
                  </a:lnTo>
                  <a:lnTo>
                    <a:pt x="67" y="93"/>
                  </a:lnTo>
                  <a:lnTo>
                    <a:pt x="69" y="96"/>
                  </a:lnTo>
                  <a:lnTo>
                    <a:pt x="85" y="97"/>
                  </a:lnTo>
                  <a:lnTo>
                    <a:pt x="88" y="96"/>
                  </a:lnTo>
                  <a:lnTo>
                    <a:pt x="90" y="96"/>
                  </a:lnTo>
                  <a:lnTo>
                    <a:pt x="92" y="92"/>
                  </a:lnTo>
                  <a:lnTo>
                    <a:pt x="95" y="92"/>
                  </a:lnTo>
                  <a:lnTo>
                    <a:pt x="98" y="89"/>
                  </a:lnTo>
                  <a:lnTo>
                    <a:pt x="98" y="84"/>
                  </a:lnTo>
                  <a:lnTo>
                    <a:pt x="98" y="81"/>
                  </a:lnTo>
                  <a:lnTo>
                    <a:pt x="98" y="77"/>
                  </a:lnTo>
                  <a:lnTo>
                    <a:pt x="95" y="73"/>
                  </a:lnTo>
                  <a:lnTo>
                    <a:pt x="95" y="68"/>
                  </a:lnTo>
                  <a:lnTo>
                    <a:pt x="92" y="68"/>
                  </a:lnTo>
                  <a:lnTo>
                    <a:pt x="88" y="61"/>
                  </a:lnTo>
                  <a:lnTo>
                    <a:pt x="88" y="55"/>
                  </a:lnTo>
                  <a:lnTo>
                    <a:pt x="96" y="61"/>
                  </a:lnTo>
                  <a:lnTo>
                    <a:pt x="98" y="57"/>
                  </a:lnTo>
                  <a:lnTo>
                    <a:pt x="98" y="42"/>
                  </a:lnTo>
                  <a:lnTo>
                    <a:pt x="98" y="42"/>
                  </a:lnTo>
                  <a:lnTo>
                    <a:pt x="101" y="31"/>
                  </a:lnTo>
                  <a:lnTo>
                    <a:pt x="105" y="28"/>
                  </a:lnTo>
                  <a:lnTo>
                    <a:pt x="103" y="28"/>
                  </a:lnTo>
                  <a:lnTo>
                    <a:pt x="101" y="28"/>
                  </a:lnTo>
                  <a:lnTo>
                    <a:pt x="101" y="23"/>
                  </a:lnTo>
                  <a:lnTo>
                    <a:pt x="102" y="16"/>
                  </a:lnTo>
                  <a:lnTo>
                    <a:pt x="101" y="17"/>
                  </a:lnTo>
                  <a:lnTo>
                    <a:pt x="101" y="15"/>
                  </a:lnTo>
                  <a:lnTo>
                    <a:pt x="96" y="6"/>
                  </a:lnTo>
                  <a:lnTo>
                    <a:pt x="95" y="1"/>
                  </a:lnTo>
                  <a:lnTo>
                    <a:pt x="93" y="0"/>
                  </a:lnTo>
                  <a:lnTo>
                    <a:pt x="89" y="0"/>
                  </a:lnTo>
                  <a:lnTo>
                    <a:pt x="88" y="1"/>
                  </a:lnTo>
                  <a:lnTo>
                    <a:pt x="86" y="0"/>
                  </a:lnTo>
                  <a:lnTo>
                    <a:pt x="79" y="0"/>
                  </a:lnTo>
                  <a:lnTo>
                    <a:pt x="80" y="1"/>
                  </a:lnTo>
                  <a:lnTo>
                    <a:pt x="79" y="9"/>
                  </a:lnTo>
                  <a:lnTo>
                    <a:pt x="73" y="13"/>
                  </a:lnTo>
                  <a:lnTo>
                    <a:pt x="70" y="20"/>
                  </a:lnTo>
                  <a:lnTo>
                    <a:pt x="66" y="20"/>
                  </a:lnTo>
                  <a:lnTo>
                    <a:pt x="61" y="25"/>
                  </a:lnTo>
                  <a:lnTo>
                    <a:pt x="58" y="25"/>
                  </a:lnTo>
                  <a:lnTo>
                    <a:pt x="67" y="17"/>
                  </a:lnTo>
                  <a:lnTo>
                    <a:pt x="69" y="17"/>
                  </a:lnTo>
                  <a:lnTo>
                    <a:pt x="69" y="12"/>
                  </a:lnTo>
                  <a:lnTo>
                    <a:pt x="76" y="9"/>
                  </a:lnTo>
                  <a:lnTo>
                    <a:pt x="76" y="1"/>
                  </a:lnTo>
                  <a:lnTo>
                    <a:pt x="76" y="0"/>
                  </a:lnTo>
                  <a:lnTo>
                    <a:pt x="25" y="0"/>
                  </a:lnTo>
                  <a:lnTo>
                    <a:pt x="22" y="4"/>
                  </a:lnTo>
                  <a:lnTo>
                    <a:pt x="21" y="9"/>
                  </a:lnTo>
                  <a:lnTo>
                    <a:pt x="21" y="9"/>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59" name="Freeform 782"/>
            <p:cNvSpPr>
              <a:spLocks/>
            </p:cNvSpPr>
            <p:nvPr/>
          </p:nvSpPr>
          <p:spPr bwMode="auto">
            <a:xfrm>
              <a:off x="6740452" y="1209852"/>
              <a:ext cx="4389" cy="4057"/>
            </a:xfrm>
            <a:custGeom>
              <a:avLst/>
              <a:gdLst/>
              <a:ahLst/>
              <a:cxnLst>
                <a:cxn ang="0">
                  <a:pos x="5" y="1"/>
                </a:cxn>
                <a:cxn ang="0">
                  <a:pos x="5" y="0"/>
                </a:cxn>
                <a:cxn ang="0">
                  <a:pos x="0" y="0"/>
                </a:cxn>
                <a:cxn ang="0">
                  <a:pos x="0" y="4"/>
                </a:cxn>
                <a:cxn ang="0">
                  <a:pos x="5" y="1"/>
                </a:cxn>
                <a:cxn ang="0">
                  <a:pos x="5" y="1"/>
                </a:cxn>
              </a:cxnLst>
              <a:rect l="0" t="0" r="r" b="b"/>
              <a:pathLst>
                <a:path w="5" h="4">
                  <a:moveTo>
                    <a:pt x="5" y="1"/>
                  </a:moveTo>
                  <a:lnTo>
                    <a:pt x="5" y="0"/>
                  </a:lnTo>
                  <a:lnTo>
                    <a:pt x="0" y="0"/>
                  </a:lnTo>
                  <a:lnTo>
                    <a:pt x="0" y="4"/>
                  </a:lnTo>
                  <a:lnTo>
                    <a:pt x="5" y="1"/>
                  </a:lnTo>
                  <a:lnTo>
                    <a:pt x="5" y="1"/>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60" name="Freeform 783"/>
            <p:cNvSpPr>
              <a:spLocks/>
            </p:cNvSpPr>
            <p:nvPr/>
          </p:nvSpPr>
          <p:spPr bwMode="auto">
            <a:xfrm>
              <a:off x="6883534" y="1209852"/>
              <a:ext cx="15800" cy="13183"/>
            </a:xfrm>
            <a:custGeom>
              <a:avLst/>
              <a:gdLst/>
              <a:ahLst/>
              <a:cxnLst>
                <a:cxn ang="0">
                  <a:pos x="0" y="4"/>
                </a:cxn>
                <a:cxn ang="0">
                  <a:pos x="2" y="7"/>
                </a:cxn>
                <a:cxn ang="0">
                  <a:pos x="2" y="9"/>
                </a:cxn>
                <a:cxn ang="0">
                  <a:pos x="2" y="10"/>
                </a:cxn>
                <a:cxn ang="0">
                  <a:pos x="4" y="7"/>
                </a:cxn>
                <a:cxn ang="0">
                  <a:pos x="7" y="10"/>
                </a:cxn>
                <a:cxn ang="0">
                  <a:pos x="7" y="10"/>
                </a:cxn>
                <a:cxn ang="0">
                  <a:pos x="7" y="12"/>
                </a:cxn>
                <a:cxn ang="0">
                  <a:pos x="7" y="13"/>
                </a:cxn>
                <a:cxn ang="0">
                  <a:pos x="13" y="10"/>
                </a:cxn>
                <a:cxn ang="0">
                  <a:pos x="13" y="9"/>
                </a:cxn>
                <a:cxn ang="0">
                  <a:pos x="16" y="9"/>
                </a:cxn>
                <a:cxn ang="0">
                  <a:pos x="17" y="7"/>
                </a:cxn>
                <a:cxn ang="0">
                  <a:pos x="16" y="6"/>
                </a:cxn>
                <a:cxn ang="0">
                  <a:pos x="16" y="0"/>
                </a:cxn>
                <a:cxn ang="0">
                  <a:pos x="16" y="0"/>
                </a:cxn>
                <a:cxn ang="0">
                  <a:pos x="2" y="0"/>
                </a:cxn>
                <a:cxn ang="0">
                  <a:pos x="0" y="1"/>
                </a:cxn>
                <a:cxn ang="0">
                  <a:pos x="0" y="4"/>
                </a:cxn>
                <a:cxn ang="0">
                  <a:pos x="0" y="4"/>
                </a:cxn>
              </a:cxnLst>
              <a:rect l="0" t="0" r="r" b="b"/>
              <a:pathLst>
                <a:path w="17" h="13">
                  <a:moveTo>
                    <a:pt x="0" y="4"/>
                  </a:moveTo>
                  <a:lnTo>
                    <a:pt x="2" y="7"/>
                  </a:lnTo>
                  <a:lnTo>
                    <a:pt x="2" y="9"/>
                  </a:lnTo>
                  <a:lnTo>
                    <a:pt x="2" y="10"/>
                  </a:lnTo>
                  <a:lnTo>
                    <a:pt x="4" y="7"/>
                  </a:lnTo>
                  <a:lnTo>
                    <a:pt x="7" y="10"/>
                  </a:lnTo>
                  <a:lnTo>
                    <a:pt x="7" y="10"/>
                  </a:lnTo>
                  <a:lnTo>
                    <a:pt x="7" y="12"/>
                  </a:lnTo>
                  <a:lnTo>
                    <a:pt x="7" y="13"/>
                  </a:lnTo>
                  <a:lnTo>
                    <a:pt x="13" y="10"/>
                  </a:lnTo>
                  <a:lnTo>
                    <a:pt x="13" y="9"/>
                  </a:lnTo>
                  <a:lnTo>
                    <a:pt x="16" y="9"/>
                  </a:lnTo>
                  <a:lnTo>
                    <a:pt x="17" y="7"/>
                  </a:lnTo>
                  <a:lnTo>
                    <a:pt x="16" y="6"/>
                  </a:lnTo>
                  <a:lnTo>
                    <a:pt x="16" y="0"/>
                  </a:lnTo>
                  <a:lnTo>
                    <a:pt x="16" y="0"/>
                  </a:lnTo>
                  <a:lnTo>
                    <a:pt x="2" y="0"/>
                  </a:lnTo>
                  <a:lnTo>
                    <a:pt x="0" y="1"/>
                  </a:lnTo>
                  <a:lnTo>
                    <a:pt x="0" y="4"/>
                  </a:lnTo>
                  <a:lnTo>
                    <a:pt x="0" y="4"/>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61" name="Freeform 784"/>
            <p:cNvSpPr>
              <a:spLocks/>
            </p:cNvSpPr>
            <p:nvPr/>
          </p:nvSpPr>
          <p:spPr bwMode="auto">
            <a:xfrm>
              <a:off x="6790487" y="2876071"/>
              <a:ext cx="63202" cy="55777"/>
            </a:xfrm>
            <a:custGeom>
              <a:avLst/>
              <a:gdLst/>
              <a:ahLst/>
              <a:cxnLst>
                <a:cxn ang="0">
                  <a:pos x="51" y="54"/>
                </a:cxn>
                <a:cxn ang="0">
                  <a:pos x="0" y="30"/>
                </a:cxn>
                <a:cxn ang="0">
                  <a:pos x="2" y="29"/>
                </a:cxn>
                <a:cxn ang="0">
                  <a:pos x="3" y="29"/>
                </a:cxn>
                <a:cxn ang="0">
                  <a:pos x="5" y="32"/>
                </a:cxn>
                <a:cxn ang="0">
                  <a:pos x="12" y="32"/>
                </a:cxn>
                <a:cxn ang="0">
                  <a:pos x="16" y="30"/>
                </a:cxn>
                <a:cxn ang="0">
                  <a:pos x="24" y="30"/>
                </a:cxn>
                <a:cxn ang="0">
                  <a:pos x="28" y="32"/>
                </a:cxn>
                <a:cxn ang="0">
                  <a:pos x="37" y="30"/>
                </a:cxn>
                <a:cxn ang="0">
                  <a:pos x="40" y="29"/>
                </a:cxn>
                <a:cxn ang="0">
                  <a:pos x="41" y="28"/>
                </a:cxn>
                <a:cxn ang="0">
                  <a:pos x="41" y="26"/>
                </a:cxn>
                <a:cxn ang="0">
                  <a:pos x="41" y="26"/>
                </a:cxn>
                <a:cxn ang="0">
                  <a:pos x="44" y="25"/>
                </a:cxn>
                <a:cxn ang="0">
                  <a:pos x="44" y="23"/>
                </a:cxn>
                <a:cxn ang="0">
                  <a:pos x="45" y="22"/>
                </a:cxn>
                <a:cxn ang="0">
                  <a:pos x="48" y="19"/>
                </a:cxn>
                <a:cxn ang="0">
                  <a:pos x="50" y="17"/>
                </a:cxn>
                <a:cxn ang="0">
                  <a:pos x="53" y="14"/>
                </a:cxn>
                <a:cxn ang="0">
                  <a:pos x="56" y="13"/>
                </a:cxn>
                <a:cxn ang="0">
                  <a:pos x="56" y="12"/>
                </a:cxn>
                <a:cxn ang="0">
                  <a:pos x="57" y="9"/>
                </a:cxn>
                <a:cxn ang="0">
                  <a:pos x="58" y="9"/>
                </a:cxn>
                <a:cxn ang="0">
                  <a:pos x="60" y="6"/>
                </a:cxn>
                <a:cxn ang="0">
                  <a:pos x="64" y="0"/>
                </a:cxn>
                <a:cxn ang="0">
                  <a:pos x="66" y="3"/>
                </a:cxn>
                <a:cxn ang="0">
                  <a:pos x="66" y="4"/>
                </a:cxn>
                <a:cxn ang="0">
                  <a:pos x="66" y="6"/>
                </a:cxn>
                <a:cxn ang="0">
                  <a:pos x="69" y="9"/>
                </a:cxn>
                <a:cxn ang="0">
                  <a:pos x="60" y="19"/>
                </a:cxn>
                <a:cxn ang="0">
                  <a:pos x="60" y="29"/>
                </a:cxn>
                <a:cxn ang="0">
                  <a:pos x="63" y="29"/>
                </a:cxn>
                <a:cxn ang="0">
                  <a:pos x="58" y="33"/>
                </a:cxn>
                <a:cxn ang="0">
                  <a:pos x="53" y="52"/>
                </a:cxn>
              </a:cxnLst>
              <a:rect l="0" t="0" r="r" b="b"/>
              <a:pathLst>
                <a:path w="69" h="54">
                  <a:moveTo>
                    <a:pt x="53" y="52"/>
                  </a:moveTo>
                  <a:lnTo>
                    <a:pt x="51" y="54"/>
                  </a:lnTo>
                  <a:lnTo>
                    <a:pt x="15" y="49"/>
                  </a:lnTo>
                  <a:lnTo>
                    <a:pt x="0" y="30"/>
                  </a:lnTo>
                  <a:lnTo>
                    <a:pt x="0" y="29"/>
                  </a:lnTo>
                  <a:lnTo>
                    <a:pt x="2" y="29"/>
                  </a:lnTo>
                  <a:lnTo>
                    <a:pt x="2" y="28"/>
                  </a:lnTo>
                  <a:lnTo>
                    <a:pt x="3" y="29"/>
                  </a:lnTo>
                  <a:lnTo>
                    <a:pt x="3" y="32"/>
                  </a:lnTo>
                  <a:lnTo>
                    <a:pt x="5" y="32"/>
                  </a:lnTo>
                  <a:lnTo>
                    <a:pt x="12" y="33"/>
                  </a:lnTo>
                  <a:lnTo>
                    <a:pt x="12" y="32"/>
                  </a:lnTo>
                  <a:lnTo>
                    <a:pt x="13" y="30"/>
                  </a:lnTo>
                  <a:lnTo>
                    <a:pt x="16" y="30"/>
                  </a:lnTo>
                  <a:lnTo>
                    <a:pt x="22" y="30"/>
                  </a:lnTo>
                  <a:lnTo>
                    <a:pt x="24" y="30"/>
                  </a:lnTo>
                  <a:lnTo>
                    <a:pt x="27" y="30"/>
                  </a:lnTo>
                  <a:lnTo>
                    <a:pt x="28" y="32"/>
                  </a:lnTo>
                  <a:lnTo>
                    <a:pt x="35" y="32"/>
                  </a:lnTo>
                  <a:lnTo>
                    <a:pt x="37" y="30"/>
                  </a:lnTo>
                  <a:lnTo>
                    <a:pt x="38" y="29"/>
                  </a:lnTo>
                  <a:lnTo>
                    <a:pt x="40" y="29"/>
                  </a:lnTo>
                  <a:lnTo>
                    <a:pt x="40" y="28"/>
                  </a:lnTo>
                  <a:lnTo>
                    <a:pt x="41" y="28"/>
                  </a:lnTo>
                  <a:lnTo>
                    <a:pt x="42" y="28"/>
                  </a:lnTo>
                  <a:lnTo>
                    <a:pt x="41" y="26"/>
                  </a:lnTo>
                  <a:lnTo>
                    <a:pt x="41" y="26"/>
                  </a:lnTo>
                  <a:lnTo>
                    <a:pt x="41" y="26"/>
                  </a:lnTo>
                  <a:lnTo>
                    <a:pt x="44" y="25"/>
                  </a:lnTo>
                  <a:lnTo>
                    <a:pt x="44" y="25"/>
                  </a:lnTo>
                  <a:lnTo>
                    <a:pt x="44" y="25"/>
                  </a:lnTo>
                  <a:lnTo>
                    <a:pt x="44" y="23"/>
                  </a:lnTo>
                  <a:lnTo>
                    <a:pt x="45" y="22"/>
                  </a:lnTo>
                  <a:lnTo>
                    <a:pt x="45" y="22"/>
                  </a:lnTo>
                  <a:lnTo>
                    <a:pt x="45" y="20"/>
                  </a:lnTo>
                  <a:lnTo>
                    <a:pt x="48" y="19"/>
                  </a:lnTo>
                  <a:lnTo>
                    <a:pt x="48" y="17"/>
                  </a:lnTo>
                  <a:lnTo>
                    <a:pt x="50" y="17"/>
                  </a:lnTo>
                  <a:lnTo>
                    <a:pt x="51" y="16"/>
                  </a:lnTo>
                  <a:lnTo>
                    <a:pt x="53" y="14"/>
                  </a:lnTo>
                  <a:lnTo>
                    <a:pt x="54" y="13"/>
                  </a:lnTo>
                  <a:lnTo>
                    <a:pt x="56" y="13"/>
                  </a:lnTo>
                  <a:lnTo>
                    <a:pt x="56" y="12"/>
                  </a:lnTo>
                  <a:lnTo>
                    <a:pt x="56" y="12"/>
                  </a:lnTo>
                  <a:lnTo>
                    <a:pt x="56" y="10"/>
                  </a:lnTo>
                  <a:lnTo>
                    <a:pt x="57" y="9"/>
                  </a:lnTo>
                  <a:lnTo>
                    <a:pt x="57" y="9"/>
                  </a:lnTo>
                  <a:lnTo>
                    <a:pt x="58" y="9"/>
                  </a:lnTo>
                  <a:lnTo>
                    <a:pt x="58" y="7"/>
                  </a:lnTo>
                  <a:lnTo>
                    <a:pt x="60" y="6"/>
                  </a:lnTo>
                  <a:lnTo>
                    <a:pt x="63" y="3"/>
                  </a:lnTo>
                  <a:lnTo>
                    <a:pt x="64" y="0"/>
                  </a:lnTo>
                  <a:lnTo>
                    <a:pt x="64" y="1"/>
                  </a:lnTo>
                  <a:lnTo>
                    <a:pt x="66" y="3"/>
                  </a:lnTo>
                  <a:lnTo>
                    <a:pt x="64" y="4"/>
                  </a:lnTo>
                  <a:lnTo>
                    <a:pt x="66" y="4"/>
                  </a:lnTo>
                  <a:lnTo>
                    <a:pt x="64" y="6"/>
                  </a:lnTo>
                  <a:lnTo>
                    <a:pt x="66" y="6"/>
                  </a:lnTo>
                  <a:lnTo>
                    <a:pt x="67" y="7"/>
                  </a:lnTo>
                  <a:lnTo>
                    <a:pt x="69" y="9"/>
                  </a:lnTo>
                  <a:lnTo>
                    <a:pt x="69" y="19"/>
                  </a:lnTo>
                  <a:lnTo>
                    <a:pt x="60" y="19"/>
                  </a:lnTo>
                  <a:lnTo>
                    <a:pt x="61" y="28"/>
                  </a:lnTo>
                  <a:lnTo>
                    <a:pt x="60" y="29"/>
                  </a:lnTo>
                  <a:lnTo>
                    <a:pt x="61" y="30"/>
                  </a:lnTo>
                  <a:lnTo>
                    <a:pt x="63" y="29"/>
                  </a:lnTo>
                  <a:lnTo>
                    <a:pt x="61" y="32"/>
                  </a:lnTo>
                  <a:lnTo>
                    <a:pt x="58" y="33"/>
                  </a:lnTo>
                  <a:lnTo>
                    <a:pt x="53" y="52"/>
                  </a:lnTo>
                  <a:lnTo>
                    <a:pt x="53" y="52"/>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62" name="Freeform 785"/>
            <p:cNvSpPr>
              <a:spLocks/>
            </p:cNvSpPr>
            <p:nvPr/>
          </p:nvSpPr>
          <p:spPr bwMode="auto">
            <a:xfrm>
              <a:off x="6675495" y="2989653"/>
              <a:ext cx="135181" cy="97357"/>
            </a:xfrm>
            <a:custGeom>
              <a:avLst/>
              <a:gdLst/>
              <a:ahLst/>
              <a:cxnLst>
                <a:cxn ang="0">
                  <a:pos x="141" y="39"/>
                </a:cxn>
                <a:cxn ang="0">
                  <a:pos x="137" y="46"/>
                </a:cxn>
                <a:cxn ang="0">
                  <a:pos x="137" y="51"/>
                </a:cxn>
                <a:cxn ang="0">
                  <a:pos x="135" y="51"/>
                </a:cxn>
                <a:cxn ang="0">
                  <a:pos x="128" y="52"/>
                </a:cxn>
                <a:cxn ang="0">
                  <a:pos x="92" y="67"/>
                </a:cxn>
                <a:cxn ang="0">
                  <a:pos x="84" y="74"/>
                </a:cxn>
                <a:cxn ang="0">
                  <a:pos x="74" y="75"/>
                </a:cxn>
                <a:cxn ang="0">
                  <a:pos x="70" y="78"/>
                </a:cxn>
                <a:cxn ang="0">
                  <a:pos x="57" y="83"/>
                </a:cxn>
                <a:cxn ang="0">
                  <a:pos x="45" y="83"/>
                </a:cxn>
                <a:cxn ang="0">
                  <a:pos x="41" y="89"/>
                </a:cxn>
                <a:cxn ang="0">
                  <a:pos x="26" y="93"/>
                </a:cxn>
                <a:cxn ang="0">
                  <a:pos x="20" y="93"/>
                </a:cxn>
                <a:cxn ang="0">
                  <a:pos x="16" y="93"/>
                </a:cxn>
                <a:cxn ang="0">
                  <a:pos x="10" y="89"/>
                </a:cxn>
                <a:cxn ang="0">
                  <a:pos x="7" y="77"/>
                </a:cxn>
                <a:cxn ang="0">
                  <a:pos x="3" y="59"/>
                </a:cxn>
                <a:cxn ang="0">
                  <a:pos x="0" y="55"/>
                </a:cxn>
                <a:cxn ang="0">
                  <a:pos x="2" y="55"/>
                </a:cxn>
                <a:cxn ang="0">
                  <a:pos x="0" y="52"/>
                </a:cxn>
                <a:cxn ang="0">
                  <a:pos x="0" y="49"/>
                </a:cxn>
                <a:cxn ang="0">
                  <a:pos x="2" y="46"/>
                </a:cxn>
                <a:cxn ang="0">
                  <a:pos x="0" y="39"/>
                </a:cxn>
                <a:cxn ang="0">
                  <a:pos x="4" y="36"/>
                </a:cxn>
                <a:cxn ang="0">
                  <a:pos x="9" y="32"/>
                </a:cxn>
                <a:cxn ang="0">
                  <a:pos x="12" y="29"/>
                </a:cxn>
                <a:cxn ang="0">
                  <a:pos x="23" y="23"/>
                </a:cxn>
                <a:cxn ang="0">
                  <a:pos x="62" y="30"/>
                </a:cxn>
                <a:cxn ang="0">
                  <a:pos x="68" y="29"/>
                </a:cxn>
                <a:cxn ang="0">
                  <a:pos x="78" y="13"/>
                </a:cxn>
                <a:cxn ang="0">
                  <a:pos x="134" y="0"/>
                </a:cxn>
                <a:cxn ang="0">
                  <a:pos x="148" y="36"/>
                </a:cxn>
              </a:cxnLst>
              <a:rect l="0" t="0" r="r" b="b"/>
              <a:pathLst>
                <a:path w="148" h="94">
                  <a:moveTo>
                    <a:pt x="148" y="36"/>
                  </a:moveTo>
                  <a:lnTo>
                    <a:pt x="141" y="39"/>
                  </a:lnTo>
                  <a:lnTo>
                    <a:pt x="138" y="42"/>
                  </a:lnTo>
                  <a:lnTo>
                    <a:pt x="137" y="46"/>
                  </a:lnTo>
                  <a:lnTo>
                    <a:pt x="137" y="49"/>
                  </a:lnTo>
                  <a:lnTo>
                    <a:pt x="137" y="51"/>
                  </a:lnTo>
                  <a:lnTo>
                    <a:pt x="137" y="51"/>
                  </a:lnTo>
                  <a:lnTo>
                    <a:pt x="135" y="51"/>
                  </a:lnTo>
                  <a:lnTo>
                    <a:pt x="134" y="51"/>
                  </a:lnTo>
                  <a:lnTo>
                    <a:pt x="128" y="52"/>
                  </a:lnTo>
                  <a:lnTo>
                    <a:pt x="126" y="55"/>
                  </a:lnTo>
                  <a:lnTo>
                    <a:pt x="92" y="67"/>
                  </a:lnTo>
                  <a:lnTo>
                    <a:pt x="90" y="71"/>
                  </a:lnTo>
                  <a:lnTo>
                    <a:pt x="84" y="74"/>
                  </a:lnTo>
                  <a:lnTo>
                    <a:pt x="84" y="75"/>
                  </a:lnTo>
                  <a:lnTo>
                    <a:pt x="74" y="75"/>
                  </a:lnTo>
                  <a:lnTo>
                    <a:pt x="71" y="77"/>
                  </a:lnTo>
                  <a:lnTo>
                    <a:pt x="70" y="78"/>
                  </a:lnTo>
                  <a:lnTo>
                    <a:pt x="60" y="83"/>
                  </a:lnTo>
                  <a:lnTo>
                    <a:pt x="57" y="83"/>
                  </a:lnTo>
                  <a:lnTo>
                    <a:pt x="54" y="83"/>
                  </a:lnTo>
                  <a:lnTo>
                    <a:pt x="45" y="83"/>
                  </a:lnTo>
                  <a:lnTo>
                    <a:pt x="42" y="86"/>
                  </a:lnTo>
                  <a:lnTo>
                    <a:pt x="41" y="89"/>
                  </a:lnTo>
                  <a:lnTo>
                    <a:pt x="32" y="93"/>
                  </a:lnTo>
                  <a:lnTo>
                    <a:pt x="26" y="93"/>
                  </a:lnTo>
                  <a:lnTo>
                    <a:pt x="22" y="94"/>
                  </a:lnTo>
                  <a:lnTo>
                    <a:pt x="20" y="93"/>
                  </a:lnTo>
                  <a:lnTo>
                    <a:pt x="17" y="94"/>
                  </a:lnTo>
                  <a:lnTo>
                    <a:pt x="16" y="93"/>
                  </a:lnTo>
                  <a:lnTo>
                    <a:pt x="12" y="93"/>
                  </a:lnTo>
                  <a:lnTo>
                    <a:pt x="10" y="89"/>
                  </a:lnTo>
                  <a:lnTo>
                    <a:pt x="9" y="86"/>
                  </a:lnTo>
                  <a:lnTo>
                    <a:pt x="7" y="77"/>
                  </a:lnTo>
                  <a:lnTo>
                    <a:pt x="6" y="75"/>
                  </a:lnTo>
                  <a:lnTo>
                    <a:pt x="3" y="59"/>
                  </a:lnTo>
                  <a:lnTo>
                    <a:pt x="0" y="55"/>
                  </a:lnTo>
                  <a:lnTo>
                    <a:pt x="0" y="55"/>
                  </a:lnTo>
                  <a:lnTo>
                    <a:pt x="0" y="55"/>
                  </a:lnTo>
                  <a:lnTo>
                    <a:pt x="2" y="55"/>
                  </a:lnTo>
                  <a:lnTo>
                    <a:pt x="2" y="54"/>
                  </a:lnTo>
                  <a:lnTo>
                    <a:pt x="0" y="52"/>
                  </a:lnTo>
                  <a:lnTo>
                    <a:pt x="0" y="51"/>
                  </a:lnTo>
                  <a:lnTo>
                    <a:pt x="0" y="49"/>
                  </a:lnTo>
                  <a:lnTo>
                    <a:pt x="2" y="48"/>
                  </a:lnTo>
                  <a:lnTo>
                    <a:pt x="2" y="46"/>
                  </a:lnTo>
                  <a:lnTo>
                    <a:pt x="2" y="39"/>
                  </a:lnTo>
                  <a:lnTo>
                    <a:pt x="0" y="39"/>
                  </a:lnTo>
                  <a:lnTo>
                    <a:pt x="3" y="38"/>
                  </a:lnTo>
                  <a:lnTo>
                    <a:pt x="4" y="36"/>
                  </a:lnTo>
                  <a:lnTo>
                    <a:pt x="6" y="35"/>
                  </a:lnTo>
                  <a:lnTo>
                    <a:pt x="9" y="32"/>
                  </a:lnTo>
                  <a:lnTo>
                    <a:pt x="10" y="30"/>
                  </a:lnTo>
                  <a:lnTo>
                    <a:pt x="12" y="29"/>
                  </a:lnTo>
                  <a:lnTo>
                    <a:pt x="17" y="29"/>
                  </a:lnTo>
                  <a:lnTo>
                    <a:pt x="23" y="23"/>
                  </a:lnTo>
                  <a:lnTo>
                    <a:pt x="58" y="25"/>
                  </a:lnTo>
                  <a:lnTo>
                    <a:pt x="62" y="30"/>
                  </a:lnTo>
                  <a:lnTo>
                    <a:pt x="64" y="30"/>
                  </a:lnTo>
                  <a:lnTo>
                    <a:pt x="68" y="29"/>
                  </a:lnTo>
                  <a:lnTo>
                    <a:pt x="70" y="23"/>
                  </a:lnTo>
                  <a:lnTo>
                    <a:pt x="78" y="13"/>
                  </a:lnTo>
                  <a:lnTo>
                    <a:pt x="92" y="6"/>
                  </a:lnTo>
                  <a:lnTo>
                    <a:pt x="134" y="0"/>
                  </a:lnTo>
                  <a:lnTo>
                    <a:pt x="148" y="36"/>
                  </a:lnTo>
                  <a:lnTo>
                    <a:pt x="148" y="36"/>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63" name="Freeform 786"/>
            <p:cNvSpPr>
              <a:spLocks/>
            </p:cNvSpPr>
            <p:nvPr/>
          </p:nvSpPr>
          <p:spPr bwMode="auto">
            <a:xfrm>
              <a:off x="6270829" y="3360827"/>
              <a:ext cx="163271" cy="183559"/>
            </a:xfrm>
            <a:custGeom>
              <a:avLst/>
              <a:gdLst/>
              <a:ahLst/>
              <a:cxnLst>
                <a:cxn ang="0">
                  <a:pos x="1" y="147"/>
                </a:cxn>
                <a:cxn ang="0">
                  <a:pos x="10" y="116"/>
                </a:cxn>
                <a:cxn ang="0">
                  <a:pos x="11" y="113"/>
                </a:cxn>
                <a:cxn ang="0">
                  <a:pos x="13" y="107"/>
                </a:cxn>
                <a:cxn ang="0">
                  <a:pos x="17" y="102"/>
                </a:cxn>
                <a:cxn ang="0">
                  <a:pos x="27" y="93"/>
                </a:cxn>
                <a:cxn ang="0">
                  <a:pos x="30" y="73"/>
                </a:cxn>
                <a:cxn ang="0">
                  <a:pos x="26" y="65"/>
                </a:cxn>
                <a:cxn ang="0">
                  <a:pos x="23" y="61"/>
                </a:cxn>
                <a:cxn ang="0">
                  <a:pos x="20" y="46"/>
                </a:cxn>
                <a:cxn ang="0">
                  <a:pos x="23" y="39"/>
                </a:cxn>
                <a:cxn ang="0">
                  <a:pos x="20" y="33"/>
                </a:cxn>
                <a:cxn ang="0">
                  <a:pos x="10" y="7"/>
                </a:cxn>
                <a:cxn ang="0">
                  <a:pos x="10" y="6"/>
                </a:cxn>
                <a:cxn ang="0">
                  <a:pos x="39" y="0"/>
                </a:cxn>
                <a:cxn ang="0">
                  <a:pos x="65" y="0"/>
                </a:cxn>
                <a:cxn ang="0">
                  <a:pos x="66" y="3"/>
                </a:cxn>
                <a:cxn ang="0">
                  <a:pos x="69" y="3"/>
                </a:cxn>
                <a:cxn ang="0">
                  <a:pos x="84" y="32"/>
                </a:cxn>
                <a:cxn ang="0">
                  <a:pos x="91" y="33"/>
                </a:cxn>
                <a:cxn ang="0">
                  <a:pos x="109" y="30"/>
                </a:cxn>
                <a:cxn ang="0">
                  <a:pos x="110" y="25"/>
                </a:cxn>
                <a:cxn ang="0">
                  <a:pos x="123" y="17"/>
                </a:cxn>
                <a:cxn ang="0">
                  <a:pos x="130" y="16"/>
                </a:cxn>
                <a:cxn ang="0">
                  <a:pos x="142" y="22"/>
                </a:cxn>
                <a:cxn ang="0">
                  <a:pos x="146" y="45"/>
                </a:cxn>
                <a:cxn ang="0">
                  <a:pos x="145" y="55"/>
                </a:cxn>
                <a:cxn ang="0">
                  <a:pos x="151" y="70"/>
                </a:cxn>
                <a:cxn ang="0">
                  <a:pos x="146" y="75"/>
                </a:cxn>
                <a:cxn ang="0">
                  <a:pos x="148" y="77"/>
                </a:cxn>
                <a:cxn ang="0">
                  <a:pos x="149" y="78"/>
                </a:cxn>
                <a:cxn ang="0">
                  <a:pos x="152" y="78"/>
                </a:cxn>
                <a:cxn ang="0">
                  <a:pos x="155" y="74"/>
                </a:cxn>
                <a:cxn ang="0">
                  <a:pos x="171" y="74"/>
                </a:cxn>
                <a:cxn ang="0">
                  <a:pos x="174" y="74"/>
                </a:cxn>
                <a:cxn ang="0">
                  <a:pos x="177" y="73"/>
                </a:cxn>
                <a:cxn ang="0">
                  <a:pos x="177" y="74"/>
                </a:cxn>
                <a:cxn ang="0">
                  <a:pos x="177" y="75"/>
                </a:cxn>
                <a:cxn ang="0">
                  <a:pos x="175" y="100"/>
                </a:cxn>
                <a:cxn ang="0">
                  <a:pos x="177" y="102"/>
                </a:cxn>
                <a:cxn ang="0">
                  <a:pos x="148" y="103"/>
                </a:cxn>
                <a:cxn ang="0">
                  <a:pos x="149" y="157"/>
                </a:cxn>
                <a:cxn ang="0">
                  <a:pos x="161" y="168"/>
                </a:cxn>
                <a:cxn ang="0">
                  <a:pos x="165" y="171"/>
                </a:cxn>
                <a:cxn ang="0">
                  <a:pos x="139" y="177"/>
                </a:cxn>
                <a:cxn ang="0">
                  <a:pos x="100" y="173"/>
                </a:cxn>
                <a:cxn ang="0">
                  <a:pos x="94" y="167"/>
                </a:cxn>
                <a:cxn ang="0">
                  <a:pos x="29" y="164"/>
                </a:cxn>
                <a:cxn ang="0">
                  <a:pos x="23" y="161"/>
                </a:cxn>
                <a:cxn ang="0">
                  <a:pos x="13" y="161"/>
                </a:cxn>
                <a:cxn ang="0">
                  <a:pos x="8" y="164"/>
                </a:cxn>
                <a:cxn ang="0">
                  <a:pos x="0" y="167"/>
                </a:cxn>
                <a:cxn ang="0">
                  <a:pos x="0" y="157"/>
                </a:cxn>
              </a:cxnLst>
              <a:rect l="0" t="0" r="r" b="b"/>
              <a:pathLst>
                <a:path w="178" h="177">
                  <a:moveTo>
                    <a:pt x="0" y="154"/>
                  </a:moveTo>
                  <a:lnTo>
                    <a:pt x="1" y="147"/>
                  </a:lnTo>
                  <a:lnTo>
                    <a:pt x="3" y="144"/>
                  </a:lnTo>
                  <a:lnTo>
                    <a:pt x="10" y="116"/>
                  </a:lnTo>
                  <a:lnTo>
                    <a:pt x="10" y="115"/>
                  </a:lnTo>
                  <a:lnTo>
                    <a:pt x="11" y="113"/>
                  </a:lnTo>
                  <a:lnTo>
                    <a:pt x="11" y="112"/>
                  </a:lnTo>
                  <a:lnTo>
                    <a:pt x="13" y="107"/>
                  </a:lnTo>
                  <a:lnTo>
                    <a:pt x="17" y="105"/>
                  </a:lnTo>
                  <a:lnTo>
                    <a:pt x="17" y="102"/>
                  </a:lnTo>
                  <a:lnTo>
                    <a:pt x="23" y="99"/>
                  </a:lnTo>
                  <a:lnTo>
                    <a:pt x="27" y="93"/>
                  </a:lnTo>
                  <a:lnTo>
                    <a:pt x="29" y="75"/>
                  </a:lnTo>
                  <a:lnTo>
                    <a:pt x="30" y="73"/>
                  </a:lnTo>
                  <a:lnTo>
                    <a:pt x="29" y="68"/>
                  </a:lnTo>
                  <a:lnTo>
                    <a:pt x="26" y="65"/>
                  </a:lnTo>
                  <a:lnTo>
                    <a:pt x="24" y="62"/>
                  </a:lnTo>
                  <a:lnTo>
                    <a:pt x="23" y="61"/>
                  </a:lnTo>
                  <a:lnTo>
                    <a:pt x="20" y="48"/>
                  </a:lnTo>
                  <a:lnTo>
                    <a:pt x="20" y="46"/>
                  </a:lnTo>
                  <a:lnTo>
                    <a:pt x="23" y="44"/>
                  </a:lnTo>
                  <a:lnTo>
                    <a:pt x="23" y="39"/>
                  </a:lnTo>
                  <a:lnTo>
                    <a:pt x="23" y="35"/>
                  </a:lnTo>
                  <a:lnTo>
                    <a:pt x="20" y="33"/>
                  </a:lnTo>
                  <a:lnTo>
                    <a:pt x="16" y="17"/>
                  </a:lnTo>
                  <a:lnTo>
                    <a:pt x="10" y="7"/>
                  </a:lnTo>
                  <a:lnTo>
                    <a:pt x="10" y="7"/>
                  </a:lnTo>
                  <a:lnTo>
                    <a:pt x="10" y="6"/>
                  </a:lnTo>
                  <a:lnTo>
                    <a:pt x="23" y="1"/>
                  </a:lnTo>
                  <a:lnTo>
                    <a:pt x="39" y="0"/>
                  </a:lnTo>
                  <a:lnTo>
                    <a:pt x="40" y="1"/>
                  </a:lnTo>
                  <a:lnTo>
                    <a:pt x="65" y="0"/>
                  </a:lnTo>
                  <a:lnTo>
                    <a:pt x="66" y="0"/>
                  </a:lnTo>
                  <a:lnTo>
                    <a:pt x="66" y="3"/>
                  </a:lnTo>
                  <a:lnTo>
                    <a:pt x="68" y="3"/>
                  </a:lnTo>
                  <a:lnTo>
                    <a:pt x="69" y="3"/>
                  </a:lnTo>
                  <a:lnTo>
                    <a:pt x="75" y="22"/>
                  </a:lnTo>
                  <a:lnTo>
                    <a:pt x="84" y="32"/>
                  </a:lnTo>
                  <a:lnTo>
                    <a:pt x="87" y="33"/>
                  </a:lnTo>
                  <a:lnTo>
                    <a:pt x="91" y="33"/>
                  </a:lnTo>
                  <a:lnTo>
                    <a:pt x="100" y="30"/>
                  </a:lnTo>
                  <a:lnTo>
                    <a:pt x="109" y="30"/>
                  </a:lnTo>
                  <a:lnTo>
                    <a:pt x="110" y="26"/>
                  </a:lnTo>
                  <a:lnTo>
                    <a:pt x="110" y="25"/>
                  </a:lnTo>
                  <a:lnTo>
                    <a:pt x="113" y="17"/>
                  </a:lnTo>
                  <a:lnTo>
                    <a:pt x="123" y="17"/>
                  </a:lnTo>
                  <a:lnTo>
                    <a:pt x="125" y="16"/>
                  </a:lnTo>
                  <a:lnTo>
                    <a:pt x="130" y="16"/>
                  </a:lnTo>
                  <a:lnTo>
                    <a:pt x="130" y="22"/>
                  </a:lnTo>
                  <a:lnTo>
                    <a:pt x="142" y="22"/>
                  </a:lnTo>
                  <a:lnTo>
                    <a:pt x="143" y="25"/>
                  </a:lnTo>
                  <a:lnTo>
                    <a:pt x="146" y="45"/>
                  </a:lnTo>
                  <a:lnTo>
                    <a:pt x="145" y="49"/>
                  </a:lnTo>
                  <a:lnTo>
                    <a:pt x="145" y="55"/>
                  </a:lnTo>
                  <a:lnTo>
                    <a:pt x="151" y="68"/>
                  </a:lnTo>
                  <a:lnTo>
                    <a:pt x="151" y="70"/>
                  </a:lnTo>
                  <a:lnTo>
                    <a:pt x="146" y="74"/>
                  </a:lnTo>
                  <a:lnTo>
                    <a:pt x="146" y="75"/>
                  </a:lnTo>
                  <a:lnTo>
                    <a:pt x="146" y="75"/>
                  </a:lnTo>
                  <a:lnTo>
                    <a:pt x="148" y="77"/>
                  </a:lnTo>
                  <a:lnTo>
                    <a:pt x="148" y="77"/>
                  </a:lnTo>
                  <a:lnTo>
                    <a:pt x="149" y="78"/>
                  </a:lnTo>
                  <a:lnTo>
                    <a:pt x="151" y="78"/>
                  </a:lnTo>
                  <a:lnTo>
                    <a:pt x="152" y="78"/>
                  </a:lnTo>
                  <a:lnTo>
                    <a:pt x="154" y="75"/>
                  </a:lnTo>
                  <a:lnTo>
                    <a:pt x="155" y="74"/>
                  </a:lnTo>
                  <a:lnTo>
                    <a:pt x="168" y="74"/>
                  </a:lnTo>
                  <a:lnTo>
                    <a:pt x="171" y="74"/>
                  </a:lnTo>
                  <a:lnTo>
                    <a:pt x="172" y="74"/>
                  </a:lnTo>
                  <a:lnTo>
                    <a:pt x="174" y="74"/>
                  </a:lnTo>
                  <a:lnTo>
                    <a:pt x="175" y="73"/>
                  </a:lnTo>
                  <a:lnTo>
                    <a:pt x="177" y="73"/>
                  </a:lnTo>
                  <a:lnTo>
                    <a:pt x="177" y="73"/>
                  </a:lnTo>
                  <a:lnTo>
                    <a:pt x="177" y="74"/>
                  </a:lnTo>
                  <a:lnTo>
                    <a:pt x="177" y="74"/>
                  </a:lnTo>
                  <a:lnTo>
                    <a:pt x="177" y="75"/>
                  </a:lnTo>
                  <a:lnTo>
                    <a:pt x="177" y="77"/>
                  </a:lnTo>
                  <a:lnTo>
                    <a:pt x="175" y="100"/>
                  </a:lnTo>
                  <a:lnTo>
                    <a:pt x="175" y="102"/>
                  </a:lnTo>
                  <a:lnTo>
                    <a:pt x="177" y="102"/>
                  </a:lnTo>
                  <a:lnTo>
                    <a:pt x="178" y="103"/>
                  </a:lnTo>
                  <a:lnTo>
                    <a:pt x="148" y="103"/>
                  </a:lnTo>
                  <a:lnTo>
                    <a:pt x="148" y="155"/>
                  </a:lnTo>
                  <a:lnTo>
                    <a:pt x="149" y="157"/>
                  </a:lnTo>
                  <a:lnTo>
                    <a:pt x="151" y="160"/>
                  </a:lnTo>
                  <a:lnTo>
                    <a:pt x="161" y="168"/>
                  </a:lnTo>
                  <a:lnTo>
                    <a:pt x="162" y="170"/>
                  </a:lnTo>
                  <a:lnTo>
                    <a:pt x="165" y="171"/>
                  </a:lnTo>
                  <a:lnTo>
                    <a:pt x="164" y="171"/>
                  </a:lnTo>
                  <a:lnTo>
                    <a:pt x="139" y="177"/>
                  </a:lnTo>
                  <a:lnTo>
                    <a:pt x="139" y="177"/>
                  </a:lnTo>
                  <a:lnTo>
                    <a:pt x="100" y="173"/>
                  </a:lnTo>
                  <a:lnTo>
                    <a:pt x="98" y="170"/>
                  </a:lnTo>
                  <a:lnTo>
                    <a:pt x="94" y="167"/>
                  </a:lnTo>
                  <a:lnTo>
                    <a:pt x="32" y="167"/>
                  </a:lnTo>
                  <a:lnTo>
                    <a:pt x="29" y="164"/>
                  </a:lnTo>
                  <a:lnTo>
                    <a:pt x="24" y="163"/>
                  </a:lnTo>
                  <a:lnTo>
                    <a:pt x="23" y="161"/>
                  </a:lnTo>
                  <a:lnTo>
                    <a:pt x="14" y="160"/>
                  </a:lnTo>
                  <a:lnTo>
                    <a:pt x="13" y="161"/>
                  </a:lnTo>
                  <a:lnTo>
                    <a:pt x="10" y="164"/>
                  </a:lnTo>
                  <a:lnTo>
                    <a:pt x="8" y="164"/>
                  </a:lnTo>
                  <a:lnTo>
                    <a:pt x="5" y="163"/>
                  </a:lnTo>
                  <a:lnTo>
                    <a:pt x="0" y="167"/>
                  </a:lnTo>
                  <a:lnTo>
                    <a:pt x="0" y="157"/>
                  </a:lnTo>
                  <a:lnTo>
                    <a:pt x="0" y="157"/>
                  </a:lnTo>
                  <a:lnTo>
                    <a:pt x="0" y="154"/>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64" name="Freeform 788"/>
            <p:cNvSpPr>
              <a:spLocks/>
            </p:cNvSpPr>
            <p:nvPr/>
          </p:nvSpPr>
          <p:spPr bwMode="auto">
            <a:xfrm>
              <a:off x="6274340" y="3340544"/>
              <a:ext cx="14045" cy="21296"/>
            </a:xfrm>
            <a:custGeom>
              <a:avLst/>
              <a:gdLst/>
              <a:ahLst/>
              <a:cxnLst>
                <a:cxn ang="0">
                  <a:pos x="15" y="3"/>
                </a:cxn>
                <a:cxn ang="0">
                  <a:pos x="13" y="0"/>
                </a:cxn>
                <a:cxn ang="0">
                  <a:pos x="12" y="0"/>
                </a:cxn>
                <a:cxn ang="0">
                  <a:pos x="9" y="1"/>
                </a:cxn>
                <a:cxn ang="0">
                  <a:pos x="7" y="4"/>
                </a:cxn>
                <a:cxn ang="0">
                  <a:pos x="0" y="9"/>
                </a:cxn>
                <a:cxn ang="0">
                  <a:pos x="1" y="10"/>
                </a:cxn>
                <a:cxn ang="0">
                  <a:pos x="3" y="17"/>
                </a:cxn>
                <a:cxn ang="0">
                  <a:pos x="6" y="20"/>
                </a:cxn>
                <a:cxn ang="0">
                  <a:pos x="7" y="19"/>
                </a:cxn>
                <a:cxn ang="0">
                  <a:pos x="9" y="7"/>
                </a:cxn>
                <a:cxn ang="0">
                  <a:pos x="15" y="3"/>
                </a:cxn>
                <a:cxn ang="0">
                  <a:pos x="15" y="3"/>
                </a:cxn>
              </a:cxnLst>
              <a:rect l="0" t="0" r="r" b="b"/>
              <a:pathLst>
                <a:path w="15" h="20">
                  <a:moveTo>
                    <a:pt x="15" y="3"/>
                  </a:moveTo>
                  <a:lnTo>
                    <a:pt x="13" y="0"/>
                  </a:lnTo>
                  <a:lnTo>
                    <a:pt x="12" y="0"/>
                  </a:lnTo>
                  <a:lnTo>
                    <a:pt x="9" y="1"/>
                  </a:lnTo>
                  <a:lnTo>
                    <a:pt x="7" y="4"/>
                  </a:lnTo>
                  <a:lnTo>
                    <a:pt x="0" y="9"/>
                  </a:lnTo>
                  <a:lnTo>
                    <a:pt x="1" y="10"/>
                  </a:lnTo>
                  <a:lnTo>
                    <a:pt x="3" y="17"/>
                  </a:lnTo>
                  <a:lnTo>
                    <a:pt x="6" y="20"/>
                  </a:lnTo>
                  <a:lnTo>
                    <a:pt x="7" y="19"/>
                  </a:lnTo>
                  <a:lnTo>
                    <a:pt x="9" y="7"/>
                  </a:lnTo>
                  <a:lnTo>
                    <a:pt x="15" y="3"/>
                  </a:lnTo>
                  <a:lnTo>
                    <a:pt x="15"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65" name="Freeform 789"/>
            <p:cNvSpPr>
              <a:spLocks/>
            </p:cNvSpPr>
            <p:nvPr/>
          </p:nvSpPr>
          <p:spPr bwMode="auto">
            <a:xfrm>
              <a:off x="6274340" y="3340544"/>
              <a:ext cx="14045" cy="21296"/>
            </a:xfrm>
            <a:custGeom>
              <a:avLst/>
              <a:gdLst/>
              <a:ahLst/>
              <a:cxnLst>
                <a:cxn ang="0">
                  <a:pos x="15" y="3"/>
                </a:cxn>
                <a:cxn ang="0">
                  <a:pos x="13" y="0"/>
                </a:cxn>
                <a:cxn ang="0">
                  <a:pos x="12" y="0"/>
                </a:cxn>
                <a:cxn ang="0">
                  <a:pos x="9" y="1"/>
                </a:cxn>
                <a:cxn ang="0">
                  <a:pos x="7" y="4"/>
                </a:cxn>
                <a:cxn ang="0">
                  <a:pos x="0" y="9"/>
                </a:cxn>
                <a:cxn ang="0">
                  <a:pos x="1" y="10"/>
                </a:cxn>
                <a:cxn ang="0">
                  <a:pos x="3" y="17"/>
                </a:cxn>
                <a:cxn ang="0">
                  <a:pos x="6" y="20"/>
                </a:cxn>
                <a:cxn ang="0">
                  <a:pos x="7" y="19"/>
                </a:cxn>
                <a:cxn ang="0">
                  <a:pos x="9" y="7"/>
                </a:cxn>
                <a:cxn ang="0">
                  <a:pos x="15" y="3"/>
                </a:cxn>
                <a:cxn ang="0">
                  <a:pos x="15" y="3"/>
                </a:cxn>
              </a:cxnLst>
              <a:rect l="0" t="0" r="r" b="b"/>
              <a:pathLst>
                <a:path w="15" h="20">
                  <a:moveTo>
                    <a:pt x="15" y="3"/>
                  </a:moveTo>
                  <a:lnTo>
                    <a:pt x="13" y="0"/>
                  </a:lnTo>
                  <a:lnTo>
                    <a:pt x="12" y="0"/>
                  </a:lnTo>
                  <a:lnTo>
                    <a:pt x="9" y="1"/>
                  </a:lnTo>
                  <a:lnTo>
                    <a:pt x="7" y="4"/>
                  </a:lnTo>
                  <a:lnTo>
                    <a:pt x="0" y="9"/>
                  </a:lnTo>
                  <a:lnTo>
                    <a:pt x="1" y="10"/>
                  </a:lnTo>
                  <a:lnTo>
                    <a:pt x="3" y="17"/>
                  </a:lnTo>
                  <a:lnTo>
                    <a:pt x="6" y="20"/>
                  </a:lnTo>
                  <a:lnTo>
                    <a:pt x="7" y="19"/>
                  </a:lnTo>
                  <a:lnTo>
                    <a:pt x="9" y="7"/>
                  </a:lnTo>
                  <a:lnTo>
                    <a:pt x="15" y="3"/>
                  </a:lnTo>
                  <a:lnTo>
                    <a:pt x="15"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66" name="Freeform 790"/>
            <p:cNvSpPr>
              <a:spLocks/>
            </p:cNvSpPr>
            <p:nvPr/>
          </p:nvSpPr>
          <p:spPr bwMode="auto">
            <a:xfrm>
              <a:off x="6333152" y="3608274"/>
              <a:ext cx="214183" cy="212968"/>
            </a:xfrm>
            <a:custGeom>
              <a:avLst/>
              <a:gdLst/>
              <a:ahLst/>
              <a:cxnLst>
                <a:cxn ang="0">
                  <a:pos x="49" y="100"/>
                </a:cxn>
                <a:cxn ang="0">
                  <a:pos x="36" y="109"/>
                </a:cxn>
                <a:cxn ang="0">
                  <a:pos x="23" y="109"/>
                </a:cxn>
                <a:cxn ang="0">
                  <a:pos x="16" y="106"/>
                </a:cxn>
                <a:cxn ang="0">
                  <a:pos x="9" y="98"/>
                </a:cxn>
                <a:cxn ang="0">
                  <a:pos x="3" y="103"/>
                </a:cxn>
                <a:cxn ang="0">
                  <a:pos x="0" y="103"/>
                </a:cxn>
                <a:cxn ang="0">
                  <a:pos x="1" y="106"/>
                </a:cxn>
                <a:cxn ang="0">
                  <a:pos x="26" y="157"/>
                </a:cxn>
                <a:cxn ang="0">
                  <a:pos x="23" y="173"/>
                </a:cxn>
                <a:cxn ang="0">
                  <a:pos x="20" y="173"/>
                </a:cxn>
                <a:cxn ang="0">
                  <a:pos x="20" y="176"/>
                </a:cxn>
                <a:cxn ang="0">
                  <a:pos x="23" y="179"/>
                </a:cxn>
                <a:cxn ang="0">
                  <a:pos x="23" y="182"/>
                </a:cxn>
                <a:cxn ang="0">
                  <a:pos x="28" y="188"/>
                </a:cxn>
                <a:cxn ang="0">
                  <a:pos x="28" y="192"/>
                </a:cxn>
                <a:cxn ang="0">
                  <a:pos x="29" y="199"/>
                </a:cxn>
                <a:cxn ang="0">
                  <a:pos x="29" y="195"/>
                </a:cxn>
                <a:cxn ang="0">
                  <a:pos x="33" y="195"/>
                </a:cxn>
                <a:cxn ang="0">
                  <a:pos x="33" y="199"/>
                </a:cxn>
                <a:cxn ang="0">
                  <a:pos x="39" y="199"/>
                </a:cxn>
                <a:cxn ang="0">
                  <a:pos x="41" y="202"/>
                </a:cxn>
                <a:cxn ang="0">
                  <a:pos x="45" y="205"/>
                </a:cxn>
                <a:cxn ang="0">
                  <a:pos x="51" y="205"/>
                </a:cxn>
                <a:cxn ang="0">
                  <a:pos x="55" y="201"/>
                </a:cxn>
                <a:cxn ang="0">
                  <a:pos x="61" y="199"/>
                </a:cxn>
                <a:cxn ang="0">
                  <a:pos x="68" y="201"/>
                </a:cxn>
                <a:cxn ang="0">
                  <a:pos x="75" y="199"/>
                </a:cxn>
                <a:cxn ang="0">
                  <a:pos x="77" y="198"/>
                </a:cxn>
                <a:cxn ang="0">
                  <a:pos x="83" y="193"/>
                </a:cxn>
                <a:cxn ang="0">
                  <a:pos x="94" y="195"/>
                </a:cxn>
                <a:cxn ang="0">
                  <a:pos x="99" y="193"/>
                </a:cxn>
                <a:cxn ang="0">
                  <a:pos x="119" y="196"/>
                </a:cxn>
                <a:cxn ang="0">
                  <a:pos x="125" y="192"/>
                </a:cxn>
                <a:cxn ang="0">
                  <a:pos x="132" y="192"/>
                </a:cxn>
                <a:cxn ang="0">
                  <a:pos x="133" y="189"/>
                </a:cxn>
                <a:cxn ang="0">
                  <a:pos x="218" y="109"/>
                </a:cxn>
                <a:cxn ang="0">
                  <a:pos x="225" y="103"/>
                </a:cxn>
                <a:cxn ang="0">
                  <a:pos x="234" y="73"/>
                </a:cxn>
                <a:cxn ang="0">
                  <a:pos x="221" y="73"/>
                </a:cxn>
                <a:cxn ang="0">
                  <a:pos x="218" y="80"/>
                </a:cxn>
                <a:cxn ang="0">
                  <a:pos x="205" y="70"/>
                </a:cxn>
                <a:cxn ang="0">
                  <a:pos x="213" y="57"/>
                </a:cxn>
                <a:cxn ang="0">
                  <a:pos x="222" y="58"/>
                </a:cxn>
                <a:cxn ang="0">
                  <a:pos x="215" y="9"/>
                </a:cxn>
                <a:cxn ang="0">
                  <a:pos x="209" y="5"/>
                </a:cxn>
                <a:cxn ang="0">
                  <a:pos x="197" y="3"/>
                </a:cxn>
                <a:cxn ang="0">
                  <a:pos x="183" y="0"/>
                </a:cxn>
                <a:cxn ang="0">
                  <a:pos x="167" y="10"/>
                </a:cxn>
                <a:cxn ang="0">
                  <a:pos x="145" y="34"/>
                </a:cxn>
                <a:cxn ang="0">
                  <a:pos x="133" y="44"/>
                </a:cxn>
                <a:cxn ang="0">
                  <a:pos x="129" y="54"/>
                </a:cxn>
                <a:cxn ang="0">
                  <a:pos x="113" y="55"/>
                </a:cxn>
                <a:cxn ang="0">
                  <a:pos x="100" y="51"/>
                </a:cxn>
                <a:cxn ang="0">
                  <a:pos x="88" y="64"/>
                </a:cxn>
                <a:cxn ang="0">
                  <a:pos x="81" y="71"/>
                </a:cxn>
                <a:cxn ang="0">
                  <a:pos x="61" y="73"/>
                </a:cxn>
                <a:cxn ang="0">
                  <a:pos x="62" y="61"/>
                </a:cxn>
                <a:cxn ang="0">
                  <a:pos x="49" y="41"/>
                </a:cxn>
              </a:cxnLst>
              <a:rect l="0" t="0" r="r" b="b"/>
              <a:pathLst>
                <a:path w="234" h="205">
                  <a:moveTo>
                    <a:pt x="49" y="41"/>
                  </a:moveTo>
                  <a:lnTo>
                    <a:pt x="49" y="100"/>
                  </a:lnTo>
                  <a:lnTo>
                    <a:pt x="45" y="103"/>
                  </a:lnTo>
                  <a:lnTo>
                    <a:pt x="36" y="109"/>
                  </a:lnTo>
                  <a:lnTo>
                    <a:pt x="26" y="108"/>
                  </a:lnTo>
                  <a:lnTo>
                    <a:pt x="23" y="109"/>
                  </a:lnTo>
                  <a:lnTo>
                    <a:pt x="19" y="109"/>
                  </a:lnTo>
                  <a:lnTo>
                    <a:pt x="16" y="106"/>
                  </a:lnTo>
                  <a:lnTo>
                    <a:pt x="16" y="102"/>
                  </a:lnTo>
                  <a:lnTo>
                    <a:pt x="9" y="98"/>
                  </a:lnTo>
                  <a:lnTo>
                    <a:pt x="6" y="98"/>
                  </a:lnTo>
                  <a:lnTo>
                    <a:pt x="3" y="103"/>
                  </a:lnTo>
                  <a:lnTo>
                    <a:pt x="1" y="103"/>
                  </a:lnTo>
                  <a:lnTo>
                    <a:pt x="0" y="103"/>
                  </a:lnTo>
                  <a:lnTo>
                    <a:pt x="1" y="105"/>
                  </a:lnTo>
                  <a:lnTo>
                    <a:pt x="1" y="106"/>
                  </a:lnTo>
                  <a:lnTo>
                    <a:pt x="4" y="111"/>
                  </a:lnTo>
                  <a:lnTo>
                    <a:pt x="26" y="157"/>
                  </a:lnTo>
                  <a:lnTo>
                    <a:pt x="26" y="169"/>
                  </a:lnTo>
                  <a:lnTo>
                    <a:pt x="23" y="173"/>
                  </a:lnTo>
                  <a:lnTo>
                    <a:pt x="20" y="172"/>
                  </a:lnTo>
                  <a:lnTo>
                    <a:pt x="20" y="173"/>
                  </a:lnTo>
                  <a:lnTo>
                    <a:pt x="20" y="176"/>
                  </a:lnTo>
                  <a:lnTo>
                    <a:pt x="20" y="176"/>
                  </a:lnTo>
                  <a:lnTo>
                    <a:pt x="22" y="178"/>
                  </a:lnTo>
                  <a:lnTo>
                    <a:pt x="23" y="179"/>
                  </a:lnTo>
                  <a:lnTo>
                    <a:pt x="22" y="179"/>
                  </a:lnTo>
                  <a:lnTo>
                    <a:pt x="23" y="182"/>
                  </a:lnTo>
                  <a:lnTo>
                    <a:pt x="25" y="183"/>
                  </a:lnTo>
                  <a:lnTo>
                    <a:pt x="28" y="188"/>
                  </a:lnTo>
                  <a:lnTo>
                    <a:pt x="28" y="191"/>
                  </a:lnTo>
                  <a:lnTo>
                    <a:pt x="28" y="192"/>
                  </a:lnTo>
                  <a:lnTo>
                    <a:pt x="28" y="198"/>
                  </a:lnTo>
                  <a:lnTo>
                    <a:pt x="29" y="199"/>
                  </a:lnTo>
                  <a:lnTo>
                    <a:pt x="29" y="199"/>
                  </a:lnTo>
                  <a:lnTo>
                    <a:pt x="29" y="195"/>
                  </a:lnTo>
                  <a:lnTo>
                    <a:pt x="29" y="195"/>
                  </a:lnTo>
                  <a:lnTo>
                    <a:pt x="33" y="195"/>
                  </a:lnTo>
                  <a:lnTo>
                    <a:pt x="33" y="198"/>
                  </a:lnTo>
                  <a:lnTo>
                    <a:pt x="33" y="199"/>
                  </a:lnTo>
                  <a:lnTo>
                    <a:pt x="35" y="199"/>
                  </a:lnTo>
                  <a:lnTo>
                    <a:pt x="39" y="199"/>
                  </a:lnTo>
                  <a:lnTo>
                    <a:pt x="41" y="201"/>
                  </a:lnTo>
                  <a:lnTo>
                    <a:pt x="41" y="202"/>
                  </a:lnTo>
                  <a:lnTo>
                    <a:pt x="43" y="205"/>
                  </a:lnTo>
                  <a:lnTo>
                    <a:pt x="45" y="205"/>
                  </a:lnTo>
                  <a:lnTo>
                    <a:pt x="48" y="205"/>
                  </a:lnTo>
                  <a:lnTo>
                    <a:pt x="51" y="205"/>
                  </a:lnTo>
                  <a:lnTo>
                    <a:pt x="54" y="205"/>
                  </a:lnTo>
                  <a:lnTo>
                    <a:pt x="55" y="201"/>
                  </a:lnTo>
                  <a:lnTo>
                    <a:pt x="61" y="201"/>
                  </a:lnTo>
                  <a:lnTo>
                    <a:pt x="61" y="199"/>
                  </a:lnTo>
                  <a:lnTo>
                    <a:pt x="64" y="199"/>
                  </a:lnTo>
                  <a:lnTo>
                    <a:pt x="68" y="201"/>
                  </a:lnTo>
                  <a:lnTo>
                    <a:pt x="70" y="199"/>
                  </a:lnTo>
                  <a:lnTo>
                    <a:pt x="75" y="199"/>
                  </a:lnTo>
                  <a:lnTo>
                    <a:pt x="77" y="199"/>
                  </a:lnTo>
                  <a:lnTo>
                    <a:pt x="77" y="198"/>
                  </a:lnTo>
                  <a:lnTo>
                    <a:pt x="81" y="195"/>
                  </a:lnTo>
                  <a:lnTo>
                    <a:pt x="83" y="193"/>
                  </a:lnTo>
                  <a:lnTo>
                    <a:pt x="88" y="193"/>
                  </a:lnTo>
                  <a:lnTo>
                    <a:pt x="94" y="195"/>
                  </a:lnTo>
                  <a:lnTo>
                    <a:pt x="97" y="195"/>
                  </a:lnTo>
                  <a:lnTo>
                    <a:pt x="99" y="193"/>
                  </a:lnTo>
                  <a:lnTo>
                    <a:pt x="103" y="193"/>
                  </a:lnTo>
                  <a:lnTo>
                    <a:pt x="119" y="196"/>
                  </a:lnTo>
                  <a:lnTo>
                    <a:pt x="122" y="193"/>
                  </a:lnTo>
                  <a:lnTo>
                    <a:pt x="125" y="192"/>
                  </a:lnTo>
                  <a:lnTo>
                    <a:pt x="132" y="195"/>
                  </a:lnTo>
                  <a:lnTo>
                    <a:pt x="132" y="192"/>
                  </a:lnTo>
                  <a:lnTo>
                    <a:pt x="131" y="191"/>
                  </a:lnTo>
                  <a:lnTo>
                    <a:pt x="133" y="189"/>
                  </a:lnTo>
                  <a:lnTo>
                    <a:pt x="147" y="188"/>
                  </a:lnTo>
                  <a:lnTo>
                    <a:pt x="218" y="109"/>
                  </a:lnTo>
                  <a:lnTo>
                    <a:pt x="219" y="108"/>
                  </a:lnTo>
                  <a:lnTo>
                    <a:pt x="225" y="103"/>
                  </a:lnTo>
                  <a:lnTo>
                    <a:pt x="228" y="100"/>
                  </a:lnTo>
                  <a:lnTo>
                    <a:pt x="234" y="73"/>
                  </a:lnTo>
                  <a:lnTo>
                    <a:pt x="222" y="73"/>
                  </a:lnTo>
                  <a:lnTo>
                    <a:pt x="221" y="73"/>
                  </a:lnTo>
                  <a:lnTo>
                    <a:pt x="219" y="77"/>
                  </a:lnTo>
                  <a:lnTo>
                    <a:pt x="218" y="80"/>
                  </a:lnTo>
                  <a:lnTo>
                    <a:pt x="208" y="79"/>
                  </a:lnTo>
                  <a:lnTo>
                    <a:pt x="205" y="70"/>
                  </a:lnTo>
                  <a:lnTo>
                    <a:pt x="210" y="58"/>
                  </a:lnTo>
                  <a:lnTo>
                    <a:pt x="213" y="57"/>
                  </a:lnTo>
                  <a:lnTo>
                    <a:pt x="219" y="60"/>
                  </a:lnTo>
                  <a:lnTo>
                    <a:pt x="222" y="58"/>
                  </a:lnTo>
                  <a:lnTo>
                    <a:pt x="215" y="9"/>
                  </a:lnTo>
                  <a:lnTo>
                    <a:pt x="215" y="9"/>
                  </a:lnTo>
                  <a:lnTo>
                    <a:pt x="213" y="7"/>
                  </a:lnTo>
                  <a:lnTo>
                    <a:pt x="209" y="5"/>
                  </a:lnTo>
                  <a:lnTo>
                    <a:pt x="205" y="2"/>
                  </a:lnTo>
                  <a:lnTo>
                    <a:pt x="197" y="3"/>
                  </a:lnTo>
                  <a:lnTo>
                    <a:pt x="186" y="0"/>
                  </a:lnTo>
                  <a:lnTo>
                    <a:pt x="183" y="0"/>
                  </a:lnTo>
                  <a:lnTo>
                    <a:pt x="183" y="2"/>
                  </a:lnTo>
                  <a:lnTo>
                    <a:pt x="167" y="10"/>
                  </a:lnTo>
                  <a:lnTo>
                    <a:pt x="152" y="22"/>
                  </a:lnTo>
                  <a:lnTo>
                    <a:pt x="145" y="34"/>
                  </a:lnTo>
                  <a:lnTo>
                    <a:pt x="138" y="38"/>
                  </a:lnTo>
                  <a:lnTo>
                    <a:pt x="133" y="44"/>
                  </a:lnTo>
                  <a:lnTo>
                    <a:pt x="131" y="53"/>
                  </a:lnTo>
                  <a:lnTo>
                    <a:pt x="129" y="54"/>
                  </a:lnTo>
                  <a:lnTo>
                    <a:pt x="118" y="57"/>
                  </a:lnTo>
                  <a:lnTo>
                    <a:pt x="113" y="55"/>
                  </a:lnTo>
                  <a:lnTo>
                    <a:pt x="104" y="51"/>
                  </a:lnTo>
                  <a:lnTo>
                    <a:pt x="100" y="51"/>
                  </a:lnTo>
                  <a:lnTo>
                    <a:pt x="97" y="53"/>
                  </a:lnTo>
                  <a:lnTo>
                    <a:pt x="88" y="64"/>
                  </a:lnTo>
                  <a:lnTo>
                    <a:pt x="86" y="66"/>
                  </a:lnTo>
                  <a:lnTo>
                    <a:pt x="81" y="71"/>
                  </a:lnTo>
                  <a:lnTo>
                    <a:pt x="73" y="74"/>
                  </a:lnTo>
                  <a:lnTo>
                    <a:pt x="61" y="73"/>
                  </a:lnTo>
                  <a:lnTo>
                    <a:pt x="59" y="70"/>
                  </a:lnTo>
                  <a:lnTo>
                    <a:pt x="62" y="61"/>
                  </a:lnTo>
                  <a:lnTo>
                    <a:pt x="62" y="55"/>
                  </a:lnTo>
                  <a:lnTo>
                    <a:pt x="49" y="41"/>
                  </a:lnTo>
                  <a:lnTo>
                    <a:pt x="49" y="4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67" name="Freeform 791"/>
            <p:cNvSpPr>
              <a:spLocks/>
            </p:cNvSpPr>
            <p:nvPr/>
          </p:nvSpPr>
          <p:spPr bwMode="auto">
            <a:xfrm>
              <a:off x="6333120" y="3608199"/>
              <a:ext cx="214590" cy="213487"/>
            </a:xfrm>
            <a:custGeom>
              <a:avLst/>
              <a:gdLst>
                <a:gd name="T0" fmla="*/ 2147483647 w 234"/>
                <a:gd name="T1" fmla="*/ 2147483647 h 205"/>
                <a:gd name="T2" fmla="*/ 2147483647 w 234"/>
                <a:gd name="T3" fmla="*/ 2147483647 h 205"/>
                <a:gd name="T4" fmla="*/ 2147483647 w 234"/>
                <a:gd name="T5" fmla="*/ 2147483647 h 205"/>
                <a:gd name="T6" fmla="*/ 2147483647 w 234"/>
                <a:gd name="T7" fmla="*/ 2147483647 h 205"/>
                <a:gd name="T8" fmla="*/ 2147483647 w 234"/>
                <a:gd name="T9" fmla="*/ 2147483647 h 205"/>
                <a:gd name="T10" fmla="*/ 2147483647 w 234"/>
                <a:gd name="T11" fmla="*/ 2147483647 h 205"/>
                <a:gd name="T12" fmla="*/ 0 w 234"/>
                <a:gd name="T13" fmla="*/ 2147483647 h 205"/>
                <a:gd name="T14" fmla="*/ 2147483647 w 234"/>
                <a:gd name="T15" fmla="*/ 2147483647 h 205"/>
                <a:gd name="T16" fmla="*/ 2147483647 w 234"/>
                <a:gd name="T17" fmla="*/ 2147483647 h 205"/>
                <a:gd name="T18" fmla="*/ 2147483647 w 234"/>
                <a:gd name="T19" fmla="*/ 2147483647 h 205"/>
                <a:gd name="T20" fmla="*/ 2147483647 w 234"/>
                <a:gd name="T21" fmla="*/ 2147483647 h 205"/>
                <a:gd name="T22" fmla="*/ 2147483647 w 234"/>
                <a:gd name="T23" fmla="*/ 2147483647 h 205"/>
                <a:gd name="T24" fmla="*/ 2147483647 w 234"/>
                <a:gd name="T25" fmla="*/ 2147483647 h 205"/>
                <a:gd name="T26" fmla="*/ 2147483647 w 234"/>
                <a:gd name="T27" fmla="*/ 2147483647 h 205"/>
                <a:gd name="T28" fmla="*/ 2147483647 w 234"/>
                <a:gd name="T29" fmla="*/ 2147483647 h 205"/>
                <a:gd name="T30" fmla="*/ 2147483647 w 234"/>
                <a:gd name="T31" fmla="*/ 2147483647 h 205"/>
                <a:gd name="T32" fmla="*/ 2147483647 w 234"/>
                <a:gd name="T33" fmla="*/ 2147483647 h 205"/>
                <a:gd name="T34" fmla="*/ 2147483647 w 234"/>
                <a:gd name="T35" fmla="*/ 2147483647 h 205"/>
                <a:gd name="T36" fmla="*/ 2147483647 w 234"/>
                <a:gd name="T37" fmla="*/ 2147483647 h 205"/>
                <a:gd name="T38" fmla="*/ 2147483647 w 234"/>
                <a:gd name="T39" fmla="*/ 2147483647 h 205"/>
                <a:gd name="T40" fmla="*/ 2147483647 w 234"/>
                <a:gd name="T41" fmla="*/ 2147483647 h 205"/>
                <a:gd name="T42" fmla="*/ 2147483647 w 234"/>
                <a:gd name="T43" fmla="*/ 2147483647 h 205"/>
                <a:gd name="T44" fmla="*/ 2147483647 w 234"/>
                <a:gd name="T45" fmla="*/ 2147483647 h 205"/>
                <a:gd name="T46" fmla="*/ 2147483647 w 234"/>
                <a:gd name="T47" fmla="*/ 2147483647 h 205"/>
                <a:gd name="T48" fmla="*/ 2147483647 w 234"/>
                <a:gd name="T49" fmla="*/ 2147483647 h 205"/>
                <a:gd name="T50" fmla="*/ 2147483647 w 234"/>
                <a:gd name="T51" fmla="*/ 2147483647 h 205"/>
                <a:gd name="T52" fmla="*/ 2147483647 w 234"/>
                <a:gd name="T53" fmla="*/ 2147483647 h 205"/>
                <a:gd name="T54" fmla="*/ 2147483647 w 234"/>
                <a:gd name="T55" fmla="*/ 2147483647 h 205"/>
                <a:gd name="T56" fmla="*/ 2147483647 w 234"/>
                <a:gd name="T57" fmla="*/ 2147483647 h 205"/>
                <a:gd name="T58" fmla="*/ 2147483647 w 234"/>
                <a:gd name="T59" fmla="*/ 2147483647 h 205"/>
                <a:gd name="T60" fmla="*/ 2147483647 w 234"/>
                <a:gd name="T61" fmla="*/ 2147483647 h 205"/>
                <a:gd name="T62" fmla="*/ 2147483647 w 234"/>
                <a:gd name="T63" fmla="*/ 2147483647 h 205"/>
                <a:gd name="T64" fmla="*/ 2147483647 w 234"/>
                <a:gd name="T65" fmla="*/ 2147483647 h 205"/>
                <a:gd name="T66" fmla="*/ 2147483647 w 234"/>
                <a:gd name="T67" fmla="*/ 2147483647 h 205"/>
                <a:gd name="T68" fmla="*/ 2147483647 w 234"/>
                <a:gd name="T69" fmla="*/ 2147483647 h 205"/>
                <a:gd name="T70" fmla="*/ 2147483647 w 234"/>
                <a:gd name="T71" fmla="*/ 2147483647 h 205"/>
                <a:gd name="T72" fmla="*/ 2147483647 w 234"/>
                <a:gd name="T73" fmla="*/ 2147483647 h 205"/>
                <a:gd name="T74" fmla="*/ 2147483647 w 234"/>
                <a:gd name="T75" fmla="*/ 2147483647 h 205"/>
                <a:gd name="T76" fmla="*/ 2147483647 w 234"/>
                <a:gd name="T77" fmla="*/ 2147483647 h 205"/>
                <a:gd name="T78" fmla="*/ 2147483647 w 234"/>
                <a:gd name="T79" fmla="*/ 2147483647 h 205"/>
                <a:gd name="T80" fmla="*/ 2147483647 w 234"/>
                <a:gd name="T81" fmla="*/ 2147483647 h 205"/>
                <a:gd name="T82" fmla="*/ 2147483647 w 234"/>
                <a:gd name="T83" fmla="*/ 2147483647 h 205"/>
                <a:gd name="T84" fmla="*/ 2147483647 w 234"/>
                <a:gd name="T85" fmla="*/ 2147483647 h 205"/>
                <a:gd name="T86" fmla="*/ 2147483647 w 234"/>
                <a:gd name="T87" fmla="*/ 2147483647 h 205"/>
                <a:gd name="T88" fmla="*/ 2147483647 w 234"/>
                <a:gd name="T89" fmla="*/ 2147483647 h 205"/>
                <a:gd name="T90" fmla="*/ 2147483647 w 234"/>
                <a:gd name="T91" fmla="*/ 2147483647 h 205"/>
                <a:gd name="T92" fmla="*/ 2147483647 w 234"/>
                <a:gd name="T93" fmla="*/ 2147483647 h 205"/>
                <a:gd name="T94" fmla="*/ 2147483647 w 234"/>
                <a:gd name="T95" fmla="*/ 0 h 205"/>
                <a:gd name="T96" fmla="*/ 2147483647 w 234"/>
                <a:gd name="T97" fmla="*/ 2147483647 h 205"/>
                <a:gd name="T98" fmla="*/ 2147483647 w 234"/>
                <a:gd name="T99" fmla="*/ 2147483647 h 205"/>
                <a:gd name="T100" fmla="*/ 2147483647 w 234"/>
                <a:gd name="T101" fmla="*/ 2147483647 h 205"/>
                <a:gd name="T102" fmla="*/ 2147483647 w 234"/>
                <a:gd name="T103" fmla="*/ 2147483647 h 205"/>
                <a:gd name="T104" fmla="*/ 2147483647 w 234"/>
                <a:gd name="T105" fmla="*/ 2147483647 h 205"/>
                <a:gd name="T106" fmla="*/ 2147483647 w 234"/>
                <a:gd name="T107" fmla="*/ 2147483647 h 205"/>
                <a:gd name="T108" fmla="*/ 2147483647 w 234"/>
                <a:gd name="T109" fmla="*/ 2147483647 h 205"/>
                <a:gd name="T110" fmla="*/ 2147483647 w 234"/>
                <a:gd name="T111" fmla="*/ 2147483647 h 205"/>
                <a:gd name="T112" fmla="*/ 2147483647 w 234"/>
                <a:gd name="T113" fmla="*/ 2147483647 h 205"/>
                <a:gd name="T114" fmla="*/ 2147483647 w 234"/>
                <a:gd name="T115" fmla="*/ 2147483647 h 205"/>
                <a:gd name="T116" fmla="*/ 2147483647 w 234"/>
                <a:gd name="T117" fmla="*/ 2147483647 h 2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205"/>
                <a:gd name="T179" fmla="*/ 234 w 234"/>
                <a:gd name="T180" fmla="*/ 205 h 20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205">
                  <a:moveTo>
                    <a:pt x="49" y="41"/>
                  </a:moveTo>
                  <a:lnTo>
                    <a:pt x="49" y="100"/>
                  </a:lnTo>
                  <a:lnTo>
                    <a:pt x="45" y="103"/>
                  </a:lnTo>
                  <a:lnTo>
                    <a:pt x="36" y="109"/>
                  </a:lnTo>
                  <a:lnTo>
                    <a:pt x="26" y="108"/>
                  </a:lnTo>
                  <a:lnTo>
                    <a:pt x="23" y="109"/>
                  </a:lnTo>
                  <a:lnTo>
                    <a:pt x="19" y="109"/>
                  </a:lnTo>
                  <a:lnTo>
                    <a:pt x="16" y="106"/>
                  </a:lnTo>
                  <a:lnTo>
                    <a:pt x="16" y="102"/>
                  </a:lnTo>
                  <a:lnTo>
                    <a:pt x="9" y="98"/>
                  </a:lnTo>
                  <a:lnTo>
                    <a:pt x="6" y="98"/>
                  </a:lnTo>
                  <a:lnTo>
                    <a:pt x="3" y="103"/>
                  </a:lnTo>
                  <a:lnTo>
                    <a:pt x="1" y="103"/>
                  </a:lnTo>
                  <a:lnTo>
                    <a:pt x="0" y="103"/>
                  </a:lnTo>
                  <a:lnTo>
                    <a:pt x="1" y="105"/>
                  </a:lnTo>
                  <a:lnTo>
                    <a:pt x="1" y="106"/>
                  </a:lnTo>
                  <a:lnTo>
                    <a:pt x="4" y="111"/>
                  </a:lnTo>
                  <a:lnTo>
                    <a:pt x="26" y="157"/>
                  </a:lnTo>
                  <a:lnTo>
                    <a:pt x="26" y="169"/>
                  </a:lnTo>
                  <a:lnTo>
                    <a:pt x="23" y="173"/>
                  </a:lnTo>
                  <a:lnTo>
                    <a:pt x="20" y="172"/>
                  </a:lnTo>
                  <a:lnTo>
                    <a:pt x="20" y="173"/>
                  </a:lnTo>
                  <a:lnTo>
                    <a:pt x="20" y="176"/>
                  </a:lnTo>
                  <a:lnTo>
                    <a:pt x="22" y="178"/>
                  </a:lnTo>
                  <a:lnTo>
                    <a:pt x="23" y="179"/>
                  </a:lnTo>
                  <a:lnTo>
                    <a:pt x="22" y="179"/>
                  </a:lnTo>
                  <a:lnTo>
                    <a:pt x="23" y="182"/>
                  </a:lnTo>
                  <a:lnTo>
                    <a:pt x="25" y="183"/>
                  </a:lnTo>
                  <a:lnTo>
                    <a:pt x="28" y="188"/>
                  </a:lnTo>
                  <a:lnTo>
                    <a:pt x="28" y="191"/>
                  </a:lnTo>
                  <a:lnTo>
                    <a:pt x="28" y="192"/>
                  </a:lnTo>
                  <a:lnTo>
                    <a:pt x="28" y="198"/>
                  </a:lnTo>
                  <a:lnTo>
                    <a:pt x="29" y="199"/>
                  </a:lnTo>
                  <a:lnTo>
                    <a:pt x="29" y="195"/>
                  </a:lnTo>
                  <a:lnTo>
                    <a:pt x="33" y="195"/>
                  </a:lnTo>
                  <a:lnTo>
                    <a:pt x="33" y="198"/>
                  </a:lnTo>
                  <a:lnTo>
                    <a:pt x="33" y="199"/>
                  </a:lnTo>
                  <a:lnTo>
                    <a:pt x="35" y="199"/>
                  </a:lnTo>
                  <a:lnTo>
                    <a:pt x="39" y="199"/>
                  </a:lnTo>
                  <a:lnTo>
                    <a:pt x="41" y="201"/>
                  </a:lnTo>
                  <a:lnTo>
                    <a:pt x="41" y="202"/>
                  </a:lnTo>
                  <a:lnTo>
                    <a:pt x="43" y="205"/>
                  </a:lnTo>
                  <a:lnTo>
                    <a:pt x="45" y="205"/>
                  </a:lnTo>
                  <a:lnTo>
                    <a:pt x="48" y="205"/>
                  </a:lnTo>
                  <a:lnTo>
                    <a:pt x="51" y="205"/>
                  </a:lnTo>
                  <a:lnTo>
                    <a:pt x="54" y="205"/>
                  </a:lnTo>
                  <a:lnTo>
                    <a:pt x="55" y="201"/>
                  </a:lnTo>
                  <a:lnTo>
                    <a:pt x="61" y="201"/>
                  </a:lnTo>
                  <a:lnTo>
                    <a:pt x="61" y="199"/>
                  </a:lnTo>
                  <a:lnTo>
                    <a:pt x="64" y="199"/>
                  </a:lnTo>
                  <a:lnTo>
                    <a:pt x="68" y="201"/>
                  </a:lnTo>
                  <a:lnTo>
                    <a:pt x="70" y="199"/>
                  </a:lnTo>
                  <a:lnTo>
                    <a:pt x="75" y="199"/>
                  </a:lnTo>
                  <a:lnTo>
                    <a:pt x="77" y="199"/>
                  </a:lnTo>
                  <a:lnTo>
                    <a:pt x="77" y="198"/>
                  </a:lnTo>
                  <a:lnTo>
                    <a:pt x="81" y="195"/>
                  </a:lnTo>
                  <a:lnTo>
                    <a:pt x="83" y="193"/>
                  </a:lnTo>
                  <a:lnTo>
                    <a:pt x="88" y="193"/>
                  </a:lnTo>
                  <a:lnTo>
                    <a:pt x="94" y="195"/>
                  </a:lnTo>
                  <a:lnTo>
                    <a:pt x="97" y="195"/>
                  </a:lnTo>
                  <a:lnTo>
                    <a:pt x="99" y="193"/>
                  </a:lnTo>
                  <a:lnTo>
                    <a:pt x="103" y="193"/>
                  </a:lnTo>
                  <a:lnTo>
                    <a:pt x="119" y="196"/>
                  </a:lnTo>
                  <a:lnTo>
                    <a:pt x="122" y="193"/>
                  </a:lnTo>
                  <a:lnTo>
                    <a:pt x="125" y="192"/>
                  </a:lnTo>
                  <a:lnTo>
                    <a:pt x="132" y="195"/>
                  </a:lnTo>
                  <a:lnTo>
                    <a:pt x="132" y="192"/>
                  </a:lnTo>
                  <a:lnTo>
                    <a:pt x="131" y="191"/>
                  </a:lnTo>
                  <a:lnTo>
                    <a:pt x="133" y="189"/>
                  </a:lnTo>
                  <a:lnTo>
                    <a:pt x="147" y="188"/>
                  </a:lnTo>
                  <a:lnTo>
                    <a:pt x="218" y="109"/>
                  </a:lnTo>
                  <a:lnTo>
                    <a:pt x="219" y="108"/>
                  </a:lnTo>
                  <a:lnTo>
                    <a:pt x="225" y="103"/>
                  </a:lnTo>
                  <a:lnTo>
                    <a:pt x="228" y="100"/>
                  </a:lnTo>
                  <a:lnTo>
                    <a:pt x="234" y="73"/>
                  </a:lnTo>
                  <a:lnTo>
                    <a:pt x="222" y="73"/>
                  </a:lnTo>
                  <a:lnTo>
                    <a:pt x="221" y="73"/>
                  </a:lnTo>
                  <a:lnTo>
                    <a:pt x="219" y="77"/>
                  </a:lnTo>
                  <a:lnTo>
                    <a:pt x="218" y="80"/>
                  </a:lnTo>
                  <a:lnTo>
                    <a:pt x="208" y="79"/>
                  </a:lnTo>
                  <a:lnTo>
                    <a:pt x="205" y="70"/>
                  </a:lnTo>
                  <a:lnTo>
                    <a:pt x="210" y="58"/>
                  </a:lnTo>
                  <a:lnTo>
                    <a:pt x="213" y="57"/>
                  </a:lnTo>
                  <a:lnTo>
                    <a:pt x="219" y="60"/>
                  </a:lnTo>
                  <a:lnTo>
                    <a:pt x="222" y="58"/>
                  </a:lnTo>
                  <a:lnTo>
                    <a:pt x="215" y="9"/>
                  </a:lnTo>
                  <a:lnTo>
                    <a:pt x="213" y="7"/>
                  </a:lnTo>
                  <a:lnTo>
                    <a:pt x="209" y="5"/>
                  </a:lnTo>
                  <a:lnTo>
                    <a:pt x="205" y="2"/>
                  </a:lnTo>
                  <a:lnTo>
                    <a:pt x="197" y="3"/>
                  </a:lnTo>
                  <a:lnTo>
                    <a:pt x="186" y="0"/>
                  </a:lnTo>
                  <a:lnTo>
                    <a:pt x="183" y="0"/>
                  </a:lnTo>
                  <a:lnTo>
                    <a:pt x="183" y="2"/>
                  </a:lnTo>
                  <a:lnTo>
                    <a:pt x="167" y="10"/>
                  </a:lnTo>
                  <a:lnTo>
                    <a:pt x="152" y="22"/>
                  </a:lnTo>
                  <a:lnTo>
                    <a:pt x="145" y="34"/>
                  </a:lnTo>
                  <a:lnTo>
                    <a:pt x="138" y="38"/>
                  </a:lnTo>
                  <a:lnTo>
                    <a:pt x="133" y="44"/>
                  </a:lnTo>
                  <a:lnTo>
                    <a:pt x="131" y="53"/>
                  </a:lnTo>
                  <a:lnTo>
                    <a:pt x="129" y="54"/>
                  </a:lnTo>
                  <a:lnTo>
                    <a:pt x="118" y="57"/>
                  </a:lnTo>
                  <a:lnTo>
                    <a:pt x="113" y="55"/>
                  </a:lnTo>
                  <a:lnTo>
                    <a:pt x="104" y="51"/>
                  </a:lnTo>
                  <a:lnTo>
                    <a:pt x="100" y="51"/>
                  </a:lnTo>
                  <a:lnTo>
                    <a:pt x="97" y="53"/>
                  </a:lnTo>
                  <a:lnTo>
                    <a:pt x="88" y="64"/>
                  </a:lnTo>
                  <a:lnTo>
                    <a:pt x="86" y="66"/>
                  </a:lnTo>
                  <a:lnTo>
                    <a:pt x="81" y="71"/>
                  </a:lnTo>
                  <a:lnTo>
                    <a:pt x="73" y="74"/>
                  </a:lnTo>
                  <a:lnTo>
                    <a:pt x="61" y="73"/>
                  </a:lnTo>
                  <a:lnTo>
                    <a:pt x="59" y="70"/>
                  </a:lnTo>
                  <a:lnTo>
                    <a:pt x="62" y="61"/>
                  </a:lnTo>
                  <a:lnTo>
                    <a:pt x="62" y="55"/>
                  </a:lnTo>
                  <a:lnTo>
                    <a:pt x="49" y="4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68" name="Freeform 792"/>
            <p:cNvSpPr>
              <a:spLocks/>
            </p:cNvSpPr>
            <p:nvPr/>
          </p:nvSpPr>
          <p:spPr bwMode="auto">
            <a:xfrm>
              <a:off x="5217468" y="3091067"/>
              <a:ext cx="4389" cy="5071"/>
            </a:xfrm>
            <a:custGeom>
              <a:avLst/>
              <a:gdLst/>
              <a:ahLst/>
              <a:cxnLst>
                <a:cxn ang="0">
                  <a:pos x="2" y="2"/>
                </a:cxn>
                <a:cxn ang="0">
                  <a:pos x="0" y="0"/>
                </a:cxn>
                <a:cxn ang="0">
                  <a:pos x="0" y="2"/>
                </a:cxn>
                <a:cxn ang="0">
                  <a:pos x="2" y="3"/>
                </a:cxn>
                <a:cxn ang="0">
                  <a:pos x="5" y="5"/>
                </a:cxn>
                <a:cxn ang="0">
                  <a:pos x="5" y="3"/>
                </a:cxn>
                <a:cxn ang="0">
                  <a:pos x="3" y="3"/>
                </a:cxn>
                <a:cxn ang="0">
                  <a:pos x="2" y="2"/>
                </a:cxn>
              </a:cxnLst>
              <a:rect l="0" t="0" r="r" b="b"/>
              <a:pathLst>
                <a:path w="5" h="5">
                  <a:moveTo>
                    <a:pt x="2" y="2"/>
                  </a:moveTo>
                  <a:lnTo>
                    <a:pt x="0" y="0"/>
                  </a:lnTo>
                  <a:lnTo>
                    <a:pt x="0" y="2"/>
                  </a:lnTo>
                  <a:lnTo>
                    <a:pt x="2" y="3"/>
                  </a:lnTo>
                  <a:lnTo>
                    <a:pt x="5" y="5"/>
                  </a:lnTo>
                  <a:lnTo>
                    <a:pt x="5" y="3"/>
                  </a:lnTo>
                  <a:lnTo>
                    <a:pt x="3" y="3"/>
                  </a:lnTo>
                  <a:lnTo>
                    <a:pt x="2"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69" name="Freeform 793"/>
            <p:cNvSpPr>
              <a:spLocks/>
            </p:cNvSpPr>
            <p:nvPr/>
          </p:nvSpPr>
          <p:spPr bwMode="auto">
            <a:xfrm>
              <a:off x="5217468" y="3091067"/>
              <a:ext cx="4389" cy="5071"/>
            </a:xfrm>
            <a:custGeom>
              <a:avLst/>
              <a:gdLst/>
              <a:ahLst/>
              <a:cxnLst>
                <a:cxn ang="0">
                  <a:pos x="2" y="2"/>
                </a:cxn>
                <a:cxn ang="0">
                  <a:pos x="0" y="0"/>
                </a:cxn>
                <a:cxn ang="0">
                  <a:pos x="0" y="2"/>
                </a:cxn>
                <a:cxn ang="0">
                  <a:pos x="2" y="3"/>
                </a:cxn>
                <a:cxn ang="0">
                  <a:pos x="5" y="5"/>
                </a:cxn>
                <a:cxn ang="0">
                  <a:pos x="5" y="3"/>
                </a:cxn>
                <a:cxn ang="0">
                  <a:pos x="3" y="3"/>
                </a:cxn>
                <a:cxn ang="0">
                  <a:pos x="2" y="2"/>
                </a:cxn>
              </a:cxnLst>
              <a:rect l="0" t="0" r="r" b="b"/>
              <a:pathLst>
                <a:path w="5" h="5">
                  <a:moveTo>
                    <a:pt x="2" y="2"/>
                  </a:moveTo>
                  <a:lnTo>
                    <a:pt x="0" y="0"/>
                  </a:lnTo>
                  <a:lnTo>
                    <a:pt x="0" y="2"/>
                  </a:lnTo>
                  <a:lnTo>
                    <a:pt x="2" y="3"/>
                  </a:lnTo>
                  <a:lnTo>
                    <a:pt x="5" y="5"/>
                  </a:lnTo>
                  <a:lnTo>
                    <a:pt x="5" y="3"/>
                  </a:lnTo>
                  <a:lnTo>
                    <a:pt x="3" y="3"/>
                  </a:lnTo>
                  <a:lnTo>
                    <a:pt x="2"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70" name="Freeform 794"/>
            <p:cNvSpPr>
              <a:spLocks/>
            </p:cNvSpPr>
            <p:nvPr/>
          </p:nvSpPr>
          <p:spPr bwMode="auto">
            <a:xfrm>
              <a:off x="5226246" y="3093096"/>
              <a:ext cx="2633" cy="3043"/>
            </a:xfrm>
            <a:custGeom>
              <a:avLst/>
              <a:gdLst/>
              <a:ahLst/>
              <a:cxnLst>
                <a:cxn ang="0">
                  <a:pos x="0" y="0"/>
                </a:cxn>
                <a:cxn ang="0">
                  <a:pos x="0" y="0"/>
                </a:cxn>
                <a:cxn ang="0">
                  <a:pos x="0" y="0"/>
                </a:cxn>
                <a:cxn ang="0">
                  <a:pos x="2" y="1"/>
                </a:cxn>
                <a:cxn ang="0">
                  <a:pos x="2" y="3"/>
                </a:cxn>
                <a:cxn ang="0">
                  <a:pos x="3" y="3"/>
                </a:cxn>
                <a:cxn ang="0">
                  <a:pos x="3" y="1"/>
                </a:cxn>
                <a:cxn ang="0">
                  <a:pos x="2" y="0"/>
                </a:cxn>
                <a:cxn ang="0">
                  <a:pos x="0" y="0"/>
                </a:cxn>
              </a:cxnLst>
              <a:rect l="0" t="0" r="r" b="b"/>
              <a:pathLst>
                <a:path w="3" h="3">
                  <a:moveTo>
                    <a:pt x="0" y="0"/>
                  </a:moveTo>
                  <a:lnTo>
                    <a:pt x="0" y="0"/>
                  </a:lnTo>
                  <a:lnTo>
                    <a:pt x="0" y="0"/>
                  </a:lnTo>
                  <a:lnTo>
                    <a:pt x="2" y="1"/>
                  </a:lnTo>
                  <a:lnTo>
                    <a:pt x="2" y="3"/>
                  </a:lnTo>
                  <a:lnTo>
                    <a:pt x="3" y="3"/>
                  </a:lnTo>
                  <a:lnTo>
                    <a:pt x="3" y="1"/>
                  </a:lnTo>
                  <a:lnTo>
                    <a:pt x="2" y="0"/>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71" name="Freeform 795"/>
            <p:cNvSpPr>
              <a:spLocks/>
            </p:cNvSpPr>
            <p:nvPr/>
          </p:nvSpPr>
          <p:spPr bwMode="auto">
            <a:xfrm>
              <a:off x="5226246" y="3093096"/>
              <a:ext cx="2633" cy="3043"/>
            </a:xfrm>
            <a:custGeom>
              <a:avLst/>
              <a:gdLst/>
              <a:ahLst/>
              <a:cxnLst>
                <a:cxn ang="0">
                  <a:pos x="0" y="0"/>
                </a:cxn>
                <a:cxn ang="0">
                  <a:pos x="0" y="0"/>
                </a:cxn>
                <a:cxn ang="0">
                  <a:pos x="0" y="0"/>
                </a:cxn>
                <a:cxn ang="0">
                  <a:pos x="2" y="1"/>
                </a:cxn>
                <a:cxn ang="0">
                  <a:pos x="2" y="3"/>
                </a:cxn>
                <a:cxn ang="0">
                  <a:pos x="3" y="3"/>
                </a:cxn>
                <a:cxn ang="0">
                  <a:pos x="3" y="1"/>
                </a:cxn>
                <a:cxn ang="0">
                  <a:pos x="2" y="0"/>
                </a:cxn>
                <a:cxn ang="0">
                  <a:pos x="0" y="0"/>
                </a:cxn>
              </a:cxnLst>
              <a:rect l="0" t="0" r="r" b="b"/>
              <a:pathLst>
                <a:path w="3" h="3">
                  <a:moveTo>
                    <a:pt x="0" y="0"/>
                  </a:moveTo>
                  <a:lnTo>
                    <a:pt x="0" y="0"/>
                  </a:lnTo>
                  <a:lnTo>
                    <a:pt x="0" y="0"/>
                  </a:lnTo>
                  <a:lnTo>
                    <a:pt x="2" y="1"/>
                  </a:lnTo>
                  <a:lnTo>
                    <a:pt x="2" y="3"/>
                  </a:lnTo>
                  <a:lnTo>
                    <a:pt x="3" y="3"/>
                  </a:lnTo>
                  <a:lnTo>
                    <a:pt x="3" y="1"/>
                  </a:lnTo>
                  <a:lnTo>
                    <a:pt x="2" y="0"/>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72" name="Freeform 796"/>
            <p:cNvSpPr>
              <a:spLocks/>
            </p:cNvSpPr>
            <p:nvPr/>
          </p:nvSpPr>
          <p:spPr bwMode="auto">
            <a:xfrm>
              <a:off x="5326316" y="3106279"/>
              <a:ext cx="2633" cy="3042"/>
            </a:xfrm>
            <a:custGeom>
              <a:avLst/>
              <a:gdLst/>
              <a:ahLst/>
              <a:cxnLst>
                <a:cxn ang="0">
                  <a:pos x="3" y="0"/>
                </a:cxn>
                <a:cxn ang="0">
                  <a:pos x="2" y="1"/>
                </a:cxn>
                <a:cxn ang="0">
                  <a:pos x="0" y="3"/>
                </a:cxn>
                <a:cxn ang="0">
                  <a:pos x="0" y="3"/>
                </a:cxn>
                <a:cxn ang="0">
                  <a:pos x="3" y="1"/>
                </a:cxn>
                <a:cxn ang="0">
                  <a:pos x="3" y="0"/>
                </a:cxn>
              </a:cxnLst>
              <a:rect l="0" t="0" r="r" b="b"/>
              <a:pathLst>
                <a:path w="3" h="3">
                  <a:moveTo>
                    <a:pt x="3" y="0"/>
                  </a:moveTo>
                  <a:lnTo>
                    <a:pt x="2" y="1"/>
                  </a:lnTo>
                  <a:lnTo>
                    <a:pt x="0" y="3"/>
                  </a:lnTo>
                  <a:lnTo>
                    <a:pt x="0" y="3"/>
                  </a:lnTo>
                  <a:lnTo>
                    <a:pt x="3" y="1"/>
                  </a:lnTo>
                  <a:lnTo>
                    <a:pt x="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73" name="Freeform 797"/>
            <p:cNvSpPr>
              <a:spLocks/>
            </p:cNvSpPr>
            <p:nvPr/>
          </p:nvSpPr>
          <p:spPr bwMode="auto">
            <a:xfrm>
              <a:off x="5326316" y="3106279"/>
              <a:ext cx="2633" cy="3042"/>
            </a:xfrm>
            <a:custGeom>
              <a:avLst/>
              <a:gdLst/>
              <a:ahLst/>
              <a:cxnLst>
                <a:cxn ang="0">
                  <a:pos x="3" y="0"/>
                </a:cxn>
                <a:cxn ang="0">
                  <a:pos x="2" y="1"/>
                </a:cxn>
                <a:cxn ang="0">
                  <a:pos x="0" y="3"/>
                </a:cxn>
                <a:cxn ang="0">
                  <a:pos x="0" y="3"/>
                </a:cxn>
                <a:cxn ang="0">
                  <a:pos x="3" y="1"/>
                </a:cxn>
                <a:cxn ang="0">
                  <a:pos x="3" y="0"/>
                </a:cxn>
              </a:cxnLst>
              <a:rect l="0" t="0" r="r" b="b"/>
              <a:pathLst>
                <a:path w="3" h="3">
                  <a:moveTo>
                    <a:pt x="3" y="0"/>
                  </a:moveTo>
                  <a:lnTo>
                    <a:pt x="2" y="1"/>
                  </a:lnTo>
                  <a:lnTo>
                    <a:pt x="0" y="3"/>
                  </a:lnTo>
                  <a:lnTo>
                    <a:pt x="0" y="3"/>
                  </a:lnTo>
                  <a:lnTo>
                    <a:pt x="3" y="1"/>
                  </a:lnTo>
                  <a:lnTo>
                    <a:pt x="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74" name="Freeform 798"/>
            <p:cNvSpPr>
              <a:spLocks/>
            </p:cNvSpPr>
            <p:nvPr/>
          </p:nvSpPr>
          <p:spPr bwMode="auto">
            <a:xfrm>
              <a:off x="5311393" y="3114393"/>
              <a:ext cx="12289" cy="11155"/>
            </a:xfrm>
            <a:custGeom>
              <a:avLst/>
              <a:gdLst/>
              <a:ahLst/>
              <a:cxnLst>
                <a:cxn ang="0">
                  <a:pos x="13" y="0"/>
                </a:cxn>
                <a:cxn ang="0">
                  <a:pos x="12" y="2"/>
                </a:cxn>
                <a:cxn ang="0">
                  <a:pos x="12" y="5"/>
                </a:cxn>
                <a:cxn ang="0">
                  <a:pos x="12" y="6"/>
                </a:cxn>
                <a:cxn ang="0">
                  <a:pos x="12" y="6"/>
                </a:cxn>
                <a:cxn ang="0">
                  <a:pos x="12" y="9"/>
                </a:cxn>
                <a:cxn ang="0">
                  <a:pos x="10" y="11"/>
                </a:cxn>
                <a:cxn ang="0">
                  <a:pos x="0" y="11"/>
                </a:cxn>
                <a:cxn ang="0">
                  <a:pos x="0" y="11"/>
                </a:cxn>
                <a:cxn ang="0">
                  <a:pos x="5" y="9"/>
                </a:cxn>
                <a:cxn ang="0">
                  <a:pos x="6" y="8"/>
                </a:cxn>
                <a:cxn ang="0">
                  <a:pos x="6" y="3"/>
                </a:cxn>
                <a:cxn ang="0">
                  <a:pos x="6" y="3"/>
                </a:cxn>
                <a:cxn ang="0">
                  <a:pos x="5" y="3"/>
                </a:cxn>
                <a:cxn ang="0">
                  <a:pos x="3" y="3"/>
                </a:cxn>
                <a:cxn ang="0">
                  <a:pos x="3" y="2"/>
                </a:cxn>
                <a:cxn ang="0">
                  <a:pos x="5" y="2"/>
                </a:cxn>
                <a:cxn ang="0">
                  <a:pos x="5" y="0"/>
                </a:cxn>
                <a:cxn ang="0">
                  <a:pos x="13" y="0"/>
                </a:cxn>
                <a:cxn ang="0">
                  <a:pos x="13" y="0"/>
                </a:cxn>
              </a:cxnLst>
              <a:rect l="0" t="0" r="r" b="b"/>
              <a:pathLst>
                <a:path w="13" h="11">
                  <a:moveTo>
                    <a:pt x="13" y="0"/>
                  </a:moveTo>
                  <a:lnTo>
                    <a:pt x="12" y="2"/>
                  </a:lnTo>
                  <a:lnTo>
                    <a:pt x="12" y="5"/>
                  </a:lnTo>
                  <a:lnTo>
                    <a:pt x="12" y="6"/>
                  </a:lnTo>
                  <a:lnTo>
                    <a:pt x="12" y="6"/>
                  </a:lnTo>
                  <a:lnTo>
                    <a:pt x="12" y="9"/>
                  </a:lnTo>
                  <a:lnTo>
                    <a:pt x="10" y="11"/>
                  </a:lnTo>
                  <a:lnTo>
                    <a:pt x="0" y="11"/>
                  </a:lnTo>
                  <a:lnTo>
                    <a:pt x="0" y="11"/>
                  </a:lnTo>
                  <a:lnTo>
                    <a:pt x="5" y="9"/>
                  </a:lnTo>
                  <a:lnTo>
                    <a:pt x="6" y="8"/>
                  </a:lnTo>
                  <a:lnTo>
                    <a:pt x="6" y="3"/>
                  </a:lnTo>
                  <a:lnTo>
                    <a:pt x="6" y="3"/>
                  </a:lnTo>
                  <a:lnTo>
                    <a:pt x="5" y="3"/>
                  </a:lnTo>
                  <a:lnTo>
                    <a:pt x="3" y="3"/>
                  </a:lnTo>
                  <a:lnTo>
                    <a:pt x="3" y="2"/>
                  </a:lnTo>
                  <a:lnTo>
                    <a:pt x="5" y="2"/>
                  </a:lnTo>
                  <a:lnTo>
                    <a:pt x="5" y="0"/>
                  </a:lnTo>
                  <a:lnTo>
                    <a:pt x="13" y="0"/>
                  </a:lnTo>
                  <a:lnTo>
                    <a:pt x="1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75" name="Freeform 799"/>
            <p:cNvSpPr>
              <a:spLocks/>
            </p:cNvSpPr>
            <p:nvPr/>
          </p:nvSpPr>
          <p:spPr bwMode="auto">
            <a:xfrm>
              <a:off x="5311393" y="3114393"/>
              <a:ext cx="12289" cy="11155"/>
            </a:xfrm>
            <a:custGeom>
              <a:avLst/>
              <a:gdLst/>
              <a:ahLst/>
              <a:cxnLst>
                <a:cxn ang="0">
                  <a:pos x="13" y="0"/>
                </a:cxn>
                <a:cxn ang="0">
                  <a:pos x="12" y="2"/>
                </a:cxn>
                <a:cxn ang="0">
                  <a:pos x="12" y="5"/>
                </a:cxn>
                <a:cxn ang="0">
                  <a:pos x="12" y="6"/>
                </a:cxn>
                <a:cxn ang="0">
                  <a:pos x="12" y="6"/>
                </a:cxn>
                <a:cxn ang="0">
                  <a:pos x="12" y="9"/>
                </a:cxn>
                <a:cxn ang="0">
                  <a:pos x="10" y="11"/>
                </a:cxn>
                <a:cxn ang="0">
                  <a:pos x="0" y="11"/>
                </a:cxn>
                <a:cxn ang="0">
                  <a:pos x="0" y="11"/>
                </a:cxn>
                <a:cxn ang="0">
                  <a:pos x="5" y="9"/>
                </a:cxn>
                <a:cxn ang="0">
                  <a:pos x="6" y="8"/>
                </a:cxn>
                <a:cxn ang="0">
                  <a:pos x="6" y="3"/>
                </a:cxn>
                <a:cxn ang="0">
                  <a:pos x="6" y="3"/>
                </a:cxn>
                <a:cxn ang="0">
                  <a:pos x="5" y="3"/>
                </a:cxn>
                <a:cxn ang="0">
                  <a:pos x="3" y="3"/>
                </a:cxn>
                <a:cxn ang="0">
                  <a:pos x="3" y="2"/>
                </a:cxn>
                <a:cxn ang="0">
                  <a:pos x="5" y="2"/>
                </a:cxn>
                <a:cxn ang="0">
                  <a:pos x="5" y="0"/>
                </a:cxn>
                <a:cxn ang="0">
                  <a:pos x="13" y="0"/>
                </a:cxn>
                <a:cxn ang="0">
                  <a:pos x="13" y="0"/>
                </a:cxn>
              </a:cxnLst>
              <a:rect l="0" t="0" r="r" b="b"/>
              <a:pathLst>
                <a:path w="13" h="11">
                  <a:moveTo>
                    <a:pt x="13" y="0"/>
                  </a:moveTo>
                  <a:lnTo>
                    <a:pt x="12" y="2"/>
                  </a:lnTo>
                  <a:lnTo>
                    <a:pt x="12" y="5"/>
                  </a:lnTo>
                  <a:lnTo>
                    <a:pt x="12" y="6"/>
                  </a:lnTo>
                  <a:lnTo>
                    <a:pt x="12" y="6"/>
                  </a:lnTo>
                  <a:lnTo>
                    <a:pt x="12" y="9"/>
                  </a:lnTo>
                  <a:lnTo>
                    <a:pt x="10" y="11"/>
                  </a:lnTo>
                  <a:lnTo>
                    <a:pt x="0" y="11"/>
                  </a:lnTo>
                  <a:lnTo>
                    <a:pt x="0" y="11"/>
                  </a:lnTo>
                  <a:lnTo>
                    <a:pt x="5" y="9"/>
                  </a:lnTo>
                  <a:lnTo>
                    <a:pt x="6" y="8"/>
                  </a:lnTo>
                  <a:lnTo>
                    <a:pt x="6" y="3"/>
                  </a:lnTo>
                  <a:lnTo>
                    <a:pt x="6" y="3"/>
                  </a:lnTo>
                  <a:lnTo>
                    <a:pt x="5" y="3"/>
                  </a:lnTo>
                  <a:lnTo>
                    <a:pt x="3" y="3"/>
                  </a:lnTo>
                  <a:lnTo>
                    <a:pt x="3" y="2"/>
                  </a:lnTo>
                  <a:lnTo>
                    <a:pt x="5" y="2"/>
                  </a:lnTo>
                  <a:lnTo>
                    <a:pt x="5" y="0"/>
                  </a:lnTo>
                  <a:lnTo>
                    <a:pt x="13" y="0"/>
                  </a:lnTo>
                  <a:lnTo>
                    <a:pt x="1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76" name="Freeform 800"/>
            <p:cNvSpPr>
              <a:spLocks/>
            </p:cNvSpPr>
            <p:nvPr/>
          </p:nvSpPr>
          <p:spPr bwMode="auto">
            <a:xfrm>
              <a:off x="5461497" y="3267526"/>
              <a:ext cx="8777" cy="8113"/>
            </a:xfrm>
            <a:custGeom>
              <a:avLst/>
              <a:gdLst/>
              <a:ahLst/>
              <a:cxnLst>
                <a:cxn ang="0">
                  <a:pos x="2" y="0"/>
                </a:cxn>
                <a:cxn ang="0">
                  <a:pos x="0" y="3"/>
                </a:cxn>
                <a:cxn ang="0">
                  <a:pos x="0" y="5"/>
                </a:cxn>
                <a:cxn ang="0">
                  <a:pos x="2" y="6"/>
                </a:cxn>
                <a:cxn ang="0">
                  <a:pos x="6" y="8"/>
                </a:cxn>
                <a:cxn ang="0">
                  <a:pos x="8" y="8"/>
                </a:cxn>
                <a:cxn ang="0">
                  <a:pos x="9" y="5"/>
                </a:cxn>
                <a:cxn ang="0">
                  <a:pos x="8" y="3"/>
                </a:cxn>
                <a:cxn ang="0">
                  <a:pos x="5" y="3"/>
                </a:cxn>
                <a:cxn ang="0">
                  <a:pos x="3" y="2"/>
                </a:cxn>
                <a:cxn ang="0">
                  <a:pos x="2" y="0"/>
                </a:cxn>
              </a:cxnLst>
              <a:rect l="0" t="0" r="r" b="b"/>
              <a:pathLst>
                <a:path w="9" h="8">
                  <a:moveTo>
                    <a:pt x="2" y="0"/>
                  </a:moveTo>
                  <a:lnTo>
                    <a:pt x="0" y="3"/>
                  </a:lnTo>
                  <a:lnTo>
                    <a:pt x="0" y="5"/>
                  </a:lnTo>
                  <a:lnTo>
                    <a:pt x="2" y="6"/>
                  </a:lnTo>
                  <a:lnTo>
                    <a:pt x="6" y="8"/>
                  </a:lnTo>
                  <a:lnTo>
                    <a:pt x="8" y="8"/>
                  </a:lnTo>
                  <a:lnTo>
                    <a:pt x="9" y="5"/>
                  </a:lnTo>
                  <a:lnTo>
                    <a:pt x="8" y="3"/>
                  </a:lnTo>
                  <a:lnTo>
                    <a:pt x="5" y="3"/>
                  </a:lnTo>
                  <a:lnTo>
                    <a:pt x="3" y="2"/>
                  </a:lnTo>
                  <a:lnTo>
                    <a:pt x="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77" name="Freeform 801"/>
            <p:cNvSpPr>
              <a:spLocks/>
            </p:cNvSpPr>
            <p:nvPr/>
          </p:nvSpPr>
          <p:spPr bwMode="auto">
            <a:xfrm>
              <a:off x="5461497" y="3267526"/>
              <a:ext cx="8777" cy="8113"/>
            </a:xfrm>
            <a:custGeom>
              <a:avLst/>
              <a:gdLst/>
              <a:ahLst/>
              <a:cxnLst>
                <a:cxn ang="0">
                  <a:pos x="2" y="0"/>
                </a:cxn>
                <a:cxn ang="0">
                  <a:pos x="0" y="3"/>
                </a:cxn>
                <a:cxn ang="0">
                  <a:pos x="0" y="5"/>
                </a:cxn>
                <a:cxn ang="0">
                  <a:pos x="2" y="6"/>
                </a:cxn>
                <a:cxn ang="0">
                  <a:pos x="6" y="8"/>
                </a:cxn>
                <a:cxn ang="0">
                  <a:pos x="8" y="8"/>
                </a:cxn>
                <a:cxn ang="0">
                  <a:pos x="9" y="5"/>
                </a:cxn>
                <a:cxn ang="0">
                  <a:pos x="8" y="3"/>
                </a:cxn>
                <a:cxn ang="0">
                  <a:pos x="5" y="3"/>
                </a:cxn>
                <a:cxn ang="0">
                  <a:pos x="3" y="2"/>
                </a:cxn>
                <a:cxn ang="0">
                  <a:pos x="2" y="0"/>
                </a:cxn>
              </a:cxnLst>
              <a:rect l="0" t="0" r="r" b="b"/>
              <a:pathLst>
                <a:path w="9" h="8">
                  <a:moveTo>
                    <a:pt x="2" y="0"/>
                  </a:moveTo>
                  <a:lnTo>
                    <a:pt x="0" y="3"/>
                  </a:lnTo>
                  <a:lnTo>
                    <a:pt x="0" y="5"/>
                  </a:lnTo>
                  <a:lnTo>
                    <a:pt x="2" y="6"/>
                  </a:lnTo>
                  <a:lnTo>
                    <a:pt x="6" y="8"/>
                  </a:lnTo>
                  <a:lnTo>
                    <a:pt x="8" y="8"/>
                  </a:lnTo>
                  <a:lnTo>
                    <a:pt x="9" y="5"/>
                  </a:lnTo>
                  <a:lnTo>
                    <a:pt x="8" y="3"/>
                  </a:lnTo>
                  <a:lnTo>
                    <a:pt x="5" y="3"/>
                  </a:lnTo>
                  <a:lnTo>
                    <a:pt x="3" y="2"/>
                  </a:lnTo>
                  <a:lnTo>
                    <a:pt x="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78" name="Freeform 802"/>
            <p:cNvSpPr>
              <a:spLocks/>
            </p:cNvSpPr>
            <p:nvPr/>
          </p:nvSpPr>
          <p:spPr bwMode="auto">
            <a:xfrm>
              <a:off x="5470275" y="3273610"/>
              <a:ext cx="5267" cy="4057"/>
            </a:xfrm>
            <a:custGeom>
              <a:avLst/>
              <a:gdLst/>
              <a:ahLst/>
              <a:cxnLst>
                <a:cxn ang="0">
                  <a:pos x="4" y="3"/>
                </a:cxn>
                <a:cxn ang="0">
                  <a:pos x="3" y="4"/>
                </a:cxn>
                <a:cxn ang="0">
                  <a:pos x="2" y="4"/>
                </a:cxn>
                <a:cxn ang="0">
                  <a:pos x="0" y="3"/>
                </a:cxn>
                <a:cxn ang="0">
                  <a:pos x="0" y="3"/>
                </a:cxn>
                <a:cxn ang="0">
                  <a:pos x="2" y="3"/>
                </a:cxn>
                <a:cxn ang="0">
                  <a:pos x="2" y="3"/>
                </a:cxn>
                <a:cxn ang="0">
                  <a:pos x="3" y="2"/>
                </a:cxn>
                <a:cxn ang="0">
                  <a:pos x="3" y="0"/>
                </a:cxn>
                <a:cxn ang="0">
                  <a:pos x="4" y="0"/>
                </a:cxn>
                <a:cxn ang="0">
                  <a:pos x="6" y="2"/>
                </a:cxn>
                <a:cxn ang="0">
                  <a:pos x="6" y="2"/>
                </a:cxn>
                <a:cxn ang="0">
                  <a:pos x="4" y="3"/>
                </a:cxn>
              </a:cxnLst>
              <a:rect l="0" t="0" r="r" b="b"/>
              <a:pathLst>
                <a:path w="6" h="4">
                  <a:moveTo>
                    <a:pt x="4" y="3"/>
                  </a:moveTo>
                  <a:lnTo>
                    <a:pt x="3" y="4"/>
                  </a:lnTo>
                  <a:lnTo>
                    <a:pt x="2" y="4"/>
                  </a:lnTo>
                  <a:lnTo>
                    <a:pt x="0" y="3"/>
                  </a:lnTo>
                  <a:lnTo>
                    <a:pt x="0" y="3"/>
                  </a:lnTo>
                  <a:lnTo>
                    <a:pt x="2" y="3"/>
                  </a:lnTo>
                  <a:lnTo>
                    <a:pt x="2" y="3"/>
                  </a:lnTo>
                  <a:lnTo>
                    <a:pt x="3" y="2"/>
                  </a:lnTo>
                  <a:lnTo>
                    <a:pt x="3" y="0"/>
                  </a:lnTo>
                  <a:lnTo>
                    <a:pt x="4" y="0"/>
                  </a:lnTo>
                  <a:lnTo>
                    <a:pt x="6" y="2"/>
                  </a:lnTo>
                  <a:lnTo>
                    <a:pt x="6" y="2"/>
                  </a:lnTo>
                  <a:lnTo>
                    <a:pt x="4"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79" name="Freeform 803"/>
            <p:cNvSpPr>
              <a:spLocks/>
            </p:cNvSpPr>
            <p:nvPr/>
          </p:nvSpPr>
          <p:spPr bwMode="auto">
            <a:xfrm>
              <a:off x="5470275" y="3273610"/>
              <a:ext cx="5267" cy="4057"/>
            </a:xfrm>
            <a:custGeom>
              <a:avLst/>
              <a:gdLst/>
              <a:ahLst/>
              <a:cxnLst>
                <a:cxn ang="0">
                  <a:pos x="4" y="3"/>
                </a:cxn>
                <a:cxn ang="0">
                  <a:pos x="3" y="4"/>
                </a:cxn>
                <a:cxn ang="0">
                  <a:pos x="2" y="4"/>
                </a:cxn>
                <a:cxn ang="0">
                  <a:pos x="0" y="3"/>
                </a:cxn>
                <a:cxn ang="0">
                  <a:pos x="0" y="3"/>
                </a:cxn>
                <a:cxn ang="0">
                  <a:pos x="2" y="3"/>
                </a:cxn>
                <a:cxn ang="0">
                  <a:pos x="2" y="3"/>
                </a:cxn>
                <a:cxn ang="0">
                  <a:pos x="3" y="2"/>
                </a:cxn>
                <a:cxn ang="0">
                  <a:pos x="3" y="0"/>
                </a:cxn>
                <a:cxn ang="0">
                  <a:pos x="4" y="0"/>
                </a:cxn>
                <a:cxn ang="0">
                  <a:pos x="6" y="2"/>
                </a:cxn>
                <a:cxn ang="0">
                  <a:pos x="6" y="2"/>
                </a:cxn>
                <a:cxn ang="0">
                  <a:pos x="4" y="3"/>
                </a:cxn>
              </a:cxnLst>
              <a:rect l="0" t="0" r="r" b="b"/>
              <a:pathLst>
                <a:path w="6" h="4">
                  <a:moveTo>
                    <a:pt x="4" y="3"/>
                  </a:moveTo>
                  <a:lnTo>
                    <a:pt x="3" y="4"/>
                  </a:lnTo>
                  <a:lnTo>
                    <a:pt x="2" y="4"/>
                  </a:lnTo>
                  <a:lnTo>
                    <a:pt x="0" y="3"/>
                  </a:lnTo>
                  <a:lnTo>
                    <a:pt x="0" y="3"/>
                  </a:lnTo>
                  <a:lnTo>
                    <a:pt x="2" y="3"/>
                  </a:lnTo>
                  <a:lnTo>
                    <a:pt x="2" y="3"/>
                  </a:lnTo>
                  <a:lnTo>
                    <a:pt x="3" y="2"/>
                  </a:lnTo>
                  <a:lnTo>
                    <a:pt x="3" y="0"/>
                  </a:lnTo>
                  <a:lnTo>
                    <a:pt x="4" y="0"/>
                  </a:lnTo>
                  <a:lnTo>
                    <a:pt x="6" y="2"/>
                  </a:lnTo>
                  <a:lnTo>
                    <a:pt x="6" y="2"/>
                  </a:lnTo>
                  <a:lnTo>
                    <a:pt x="4"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80" name="Freeform 804"/>
            <p:cNvSpPr>
              <a:spLocks/>
            </p:cNvSpPr>
            <p:nvPr/>
          </p:nvSpPr>
          <p:spPr bwMode="auto">
            <a:xfrm>
              <a:off x="5458864" y="3277668"/>
              <a:ext cx="28968" cy="23326"/>
            </a:xfrm>
            <a:custGeom>
              <a:avLst/>
              <a:gdLst/>
              <a:ahLst/>
              <a:cxnLst>
                <a:cxn ang="0">
                  <a:pos x="31" y="2"/>
                </a:cxn>
                <a:cxn ang="0">
                  <a:pos x="31" y="9"/>
                </a:cxn>
                <a:cxn ang="0">
                  <a:pos x="25" y="16"/>
                </a:cxn>
                <a:cxn ang="0">
                  <a:pos x="18" y="21"/>
                </a:cxn>
                <a:cxn ang="0">
                  <a:pos x="11" y="22"/>
                </a:cxn>
                <a:cxn ang="0">
                  <a:pos x="11" y="22"/>
                </a:cxn>
                <a:cxn ang="0">
                  <a:pos x="5" y="22"/>
                </a:cxn>
                <a:cxn ang="0">
                  <a:pos x="2" y="21"/>
                </a:cxn>
                <a:cxn ang="0">
                  <a:pos x="2" y="19"/>
                </a:cxn>
                <a:cxn ang="0">
                  <a:pos x="0" y="3"/>
                </a:cxn>
                <a:cxn ang="0">
                  <a:pos x="2" y="3"/>
                </a:cxn>
                <a:cxn ang="0">
                  <a:pos x="3" y="2"/>
                </a:cxn>
                <a:cxn ang="0">
                  <a:pos x="5" y="0"/>
                </a:cxn>
                <a:cxn ang="0">
                  <a:pos x="6" y="0"/>
                </a:cxn>
                <a:cxn ang="0">
                  <a:pos x="12" y="0"/>
                </a:cxn>
                <a:cxn ang="0">
                  <a:pos x="15" y="2"/>
                </a:cxn>
                <a:cxn ang="0">
                  <a:pos x="25" y="0"/>
                </a:cxn>
                <a:cxn ang="0">
                  <a:pos x="28" y="0"/>
                </a:cxn>
                <a:cxn ang="0">
                  <a:pos x="29" y="0"/>
                </a:cxn>
                <a:cxn ang="0">
                  <a:pos x="29" y="2"/>
                </a:cxn>
                <a:cxn ang="0">
                  <a:pos x="29" y="2"/>
                </a:cxn>
                <a:cxn ang="0">
                  <a:pos x="31" y="2"/>
                </a:cxn>
              </a:cxnLst>
              <a:rect l="0" t="0" r="r" b="b"/>
              <a:pathLst>
                <a:path w="31" h="22">
                  <a:moveTo>
                    <a:pt x="31" y="2"/>
                  </a:moveTo>
                  <a:lnTo>
                    <a:pt x="31" y="9"/>
                  </a:lnTo>
                  <a:lnTo>
                    <a:pt x="25" y="16"/>
                  </a:lnTo>
                  <a:lnTo>
                    <a:pt x="18" y="21"/>
                  </a:lnTo>
                  <a:lnTo>
                    <a:pt x="11" y="22"/>
                  </a:lnTo>
                  <a:lnTo>
                    <a:pt x="11" y="22"/>
                  </a:lnTo>
                  <a:lnTo>
                    <a:pt x="5" y="22"/>
                  </a:lnTo>
                  <a:lnTo>
                    <a:pt x="2" y="21"/>
                  </a:lnTo>
                  <a:lnTo>
                    <a:pt x="2" y="19"/>
                  </a:lnTo>
                  <a:lnTo>
                    <a:pt x="0" y="3"/>
                  </a:lnTo>
                  <a:lnTo>
                    <a:pt x="2" y="3"/>
                  </a:lnTo>
                  <a:lnTo>
                    <a:pt x="3" y="2"/>
                  </a:lnTo>
                  <a:lnTo>
                    <a:pt x="5" y="0"/>
                  </a:lnTo>
                  <a:lnTo>
                    <a:pt x="6" y="0"/>
                  </a:lnTo>
                  <a:lnTo>
                    <a:pt x="12" y="0"/>
                  </a:lnTo>
                  <a:lnTo>
                    <a:pt x="15" y="2"/>
                  </a:lnTo>
                  <a:lnTo>
                    <a:pt x="25" y="0"/>
                  </a:lnTo>
                  <a:lnTo>
                    <a:pt x="28" y="0"/>
                  </a:lnTo>
                  <a:lnTo>
                    <a:pt x="29" y="0"/>
                  </a:lnTo>
                  <a:lnTo>
                    <a:pt x="29" y="2"/>
                  </a:lnTo>
                  <a:lnTo>
                    <a:pt x="29" y="2"/>
                  </a:lnTo>
                  <a:lnTo>
                    <a:pt x="31"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81" name="Freeform 805"/>
            <p:cNvSpPr>
              <a:spLocks/>
            </p:cNvSpPr>
            <p:nvPr/>
          </p:nvSpPr>
          <p:spPr bwMode="auto">
            <a:xfrm>
              <a:off x="5458864" y="3277668"/>
              <a:ext cx="28968" cy="23326"/>
            </a:xfrm>
            <a:custGeom>
              <a:avLst/>
              <a:gdLst/>
              <a:ahLst/>
              <a:cxnLst>
                <a:cxn ang="0">
                  <a:pos x="31" y="2"/>
                </a:cxn>
                <a:cxn ang="0">
                  <a:pos x="31" y="9"/>
                </a:cxn>
                <a:cxn ang="0">
                  <a:pos x="25" y="16"/>
                </a:cxn>
                <a:cxn ang="0">
                  <a:pos x="18" y="21"/>
                </a:cxn>
                <a:cxn ang="0">
                  <a:pos x="11" y="22"/>
                </a:cxn>
                <a:cxn ang="0">
                  <a:pos x="11" y="22"/>
                </a:cxn>
                <a:cxn ang="0">
                  <a:pos x="5" y="22"/>
                </a:cxn>
                <a:cxn ang="0">
                  <a:pos x="2" y="21"/>
                </a:cxn>
                <a:cxn ang="0">
                  <a:pos x="2" y="19"/>
                </a:cxn>
                <a:cxn ang="0">
                  <a:pos x="0" y="3"/>
                </a:cxn>
                <a:cxn ang="0">
                  <a:pos x="2" y="3"/>
                </a:cxn>
                <a:cxn ang="0">
                  <a:pos x="3" y="2"/>
                </a:cxn>
                <a:cxn ang="0">
                  <a:pos x="5" y="0"/>
                </a:cxn>
                <a:cxn ang="0">
                  <a:pos x="6" y="0"/>
                </a:cxn>
                <a:cxn ang="0">
                  <a:pos x="12" y="0"/>
                </a:cxn>
                <a:cxn ang="0">
                  <a:pos x="15" y="2"/>
                </a:cxn>
                <a:cxn ang="0">
                  <a:pos x="25" y="0"/>
                </a:cxn>
                <a:cxn ang="0">
                  <a:pos x="28" y="0"/>
                </a:cxn>
                <a:cxn ang="0">
                  <a:pos x="29" y="0"/>
                </a:cxn>
                <a:cxn ang="0">
                  <a:pos x="29" y="2"/>
                </a:cxn>
                <a:cxn ang="0">
                  <a:pos x="29" y="2"/>
                </a:cxn>
                <a:cxn ang="0">
                  <a:pos x="31" y="2"/>
                </a:cxn>
              </a:cxnLst>
              <a:rect l="0" t="0" r="r" b="b"/>
              <a:pathLst>
                <a:path w="31" h="22">
                  <a:moveTo>
                    <a:pt x="31" y="2"/>
                  </a:moveTo>
                  <a:lnTo>
                    <a:pt x="31" y="9"/>
                  </a:lnTo>
                  <a:lnTo>
                    <a:pt x="25" y="16"/>
                  </a:lnTo>
                  <a:lnTo>
                    <a:pt x="18" y="21"/>
                  </a:lnTo>
                  <a:lnTo>
                    <a:pt x="11" y="22"/>
                  </a:lnTo>
                  <a:lnTo>
                    <a:pt x="11" y="22"/>
                  </a:lnTo>
                  <a:lnTo>
                    <a:pt x="5" y="22"/>
                  </a:lnTo>
                  <a:lnTo>
                    <a:pt x="2" y="21"/>
                  </a:lnTo>
                  <a:lnTo>
                    <a:pt x="2" y="19"/>
                  </a:lnTo>
                  <a:lnTo>
                    <a:pt x="0" y="3"/>
                  </a:lnTo>
                  <a:lnTo>
                    <a:pt x="2" y="3"/>
                  </a:lnTo>
                  <a:lnTo>
                    <a:pt x="3" y="2"/>
                  </a:lnTo>
                  <a:lnTo>
                    <a:pt x="5" y="0"/>
                  </a:lnTo>
                  <a:lnTo>
                    <a:pt x="6" y="0"/>
                  </a:lnTo>
                  <a:lnTo>
                    <a:pt x="12" y="0"/>
                  </a:lnTo>
                  <a:lnTo>
                    <a:pt x="15" y="2"/>
                  </a:lnTo>
                  <a:lnTo>
                    <a:pt x="25" y="0"/>
                  </a:lnTo>
                  <a:lnTo>
                    <a:pt x="28" y="0"/>
                  </a:lnTo>
                  <a:lnTo>
                    <a:pt x="29" y="0"/>
                  </a:lnTo>
                  <a:lnTo>
                    <a:pt x="29" y="2"/>
                  </a:lnTo>
                  <a:lnTo>
                    <a:pt x="29" y="2"/>
                  </a:lnTo>
                  <a:lnTo>
                    <a:pt x="31"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82" name="Freeform 806"/>
            <p:cNvSpPr>
              <a:spLocks/>
            </p:cNvSpPr>
            <p:nvPr/>
          </p:nvSpPr>
          <p:spPr bwMode="auto">
            <a:xfrm>
              <a:off x="5452719" y="3275639"/>
              <a:ext cx="6144" cy="11156"/>
            </a:xfrm>
            <a:custGeom>
              <a:avLst/>
              <a:gdLst/>
              <a:ahLst/>
              <a:cxnLst>
                <a:cxn ang="0">
                  <a:pos x="7" y="4"/>
                </a:cxn>
                <a:cxn ang="0">
                  <a:pos x="7" y="4"/>
                </a:cxn>
                <a:cxn ang="0">
                  <a:pos x="6" y="5"/>
                </a:cxn>
                <a:cxn ang="0">
                  <a:pos x="6" y="7"/>
                </a:cxn>
                <a:cxn ang="0">
                  <a:pos x="3" y="10"/>
                </a:cxn>
                <a:cxn ang="0">
                  <a:pos x="0" y="10"/>
                </a:cxn>
                <a:cxn ang="0">
                  <a:pos x="0" y="8"/>
                </a:cxn>
                <a:cxn ang="0">
                  <a:pos x="0" y="7"/>
                </a:cxn>
                <a:cxn ang="0">
                  <a:pos x="0" y="7"/>
                </a:cxn>
                <a:cxn ang="0">
                  <a:pos x="0" y="5"/>
                </a:cxn>
                <a:cxn ang="0">
                  <a:pos x="2" y="4"/>
                </a:cxn>
                <a:cxn ang="0">
                  <a:pos x="2" y="2"/>
                </a:cxn>
                <a:cxn ang="0">
                  <a:pos x="3" y="1"/>
                </a:cxn>
                <a:cxn ang="0">
                  <a:pos x="3" y="1"/>
                </a:cxn>
                <a:cxn ang="0">
                  <a:pos x="6" y="0"/>
                </a:cxn>
                <a:cxn ang="0">
                  <a:pos x="6" y="0"/>
                </a:cxn>
                <a:cxn ang="0">
                  <a:pos x="7" y="0"/>
                </a:cxn>
                <a:cxn ang="0">
                  <a:pos x="7" y="0"/>
                </a:cxn>
                <a:cxn ang="0">
                  <a:pos x="6" y="1"/>
                </a:cxn>
                <a:cxn ang="0">
                  <a:pos x="5" y="2"/>
                </a:cxn>
                <a:cxn ang="0">
                  <a:pos x="5" y="2"/>
                </a:cxn>
                <a:cxn ang="0">
                  <a:pos x="7" y="2"/>
                </a:cxn>
                <a:cxn ang="0">
                  <a:pos x="7" y="4"/>
                </a:cxn>
                <a:cxn ang="0">
                  <a:pos x="7" y="4"/>
                </a:cxn>
              </a:cxnLst>
              <a:rect l="0" t="0" r="r" b="b"/>
              <a:pathLst>
                <a:path w="7" h="10">
                  <a:moveTo>
                    <a:pt x="7" y="4"/>
                  </a:moveTo>
                  <a:lnTo>
                    <a:pt x="7" y="4"/>
                  </a:lnTo>
                  <a:lnTo>
                    <a:pt x="6" y="5"/>
                  </a:lnTo>
                  <a:lnTo>
                    <a:pt x="6" y="7"/>
                  </a:lnTo>
                  <a:lnTo>
                    <a:pt x="3" y="10"/>
                  </a:lnTo>
                  <a:lnTo>
                    <a:pt x="0" y="10"/>
                  </a:lnTo>
                  <a:lnTo>
                    <a:pt x="0" y="8"/>
                  </a:lnTo>
                  <a:lnTo>
                    <a:pt x="0" y="7"/>
                  </a:lnTo>
                  <a:lnTo>
                    <a:pt x="0" y="7"/>
                  </a:lnTo>
                  <a:lnTo>
                    <a:pt x="0" y="5"/>
                  </a:lnTo>
                  <a:lnTo>
                    <a:pt x="2" y="4"/>
                  </a:lnTo>
                  <a:lnTo>
                    <a:pt x="2" y="2"/>
                  </a:lnTo>
                  <a:lnTo>
                    <a:pt x="3" y="1"/>
                  </a:lnTo>
                  <a:lnTo>
                    <a:pt x="3" y="1"/>
                  </a:lnTo>
                  <a:lnTo>
                    <a:pt x="6" y="0"/>
                  </a:lnTo>
                  <a:lnTo>
                    <a:pt x="6" y="0"/>
                  </a:lnTo>
                  <a:lnTo>
                    <a:pt x="7" y="0"/>
                  </a:lnTo>
                  <a:lnTo>
                    <a:pt x="7" y="0"/>
                  </a:lnTo>
                  <a:lnTo>
                    <a:pt x="6" y="1"/>
                  </a:lnTo>
                  <a:lnTo>
                    <a:pt x="5" y="2"/>
                  </a:lnTo>
                  <a:lnTo>
                    <a:pt x="5" y="2"/>
                  </a:lnTo>
                  <a:lnTo>
                    <a:pt x="7" y="2"/>
                  </a:lnTo>
                  <a:lnTo>
                    <a:pt x="7" y="4"/>
                  </a:lnTo>
                  <a:lnTo>
                    <a:pt x="7"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83" name="Freeform 807"/>
            <p:cNvSpPr>
              <a:spLocks/>
            </p:cNvSpPr>
            <p:nvPr/>
          </p:nvSpPr>
          <p:spPr bwMode="auto">
            <a:xfrm>
              <a:off x="5452719" y="3275639"/>
              <a:ext cx="6144" cy="11156"/>
            </a:xfrm>
            <a:custGeom>
              <a:avLst/>
              <a:gdLst/>
              <a:ahLst/>
              <a:cxnLst>
                <a:cxn ang="0">
                  <a:pos x="7" y="4"/>
                </a:cxn>
                <a:cxn ang="0">
                  <a:pos x="7" y="4"/>
                </a:cxn>
                <a:cxn ang="0">
                  <a:pos x="6" y="5"/>
                </a:cxn>
                <a:cxn ang="0">
                  <a:pos x="6" y="7"/>
                </a:cxn>
                <a:cxn ang="0">
                  <a:pos x="3" y="10"/>
                </a:cxn>
                <a:cxn ang="0">
                  <a:pos x="0" y="10"/>
                </a:cxn>
                <a:cxn ang="0">
                  <a:pos x="0" y="8"/>
                </a:cxn>
                <a:cxn ang="0">
                  <a:pos x="0" y="7"/>
                </a:cxn>
                <a:cxn ang="0">
                  <a:pos x="0" y="7"/>
                </a:cxn>
                <a:cxn ang="0">
                  <a:pos x="0" y="5"/>
                </a:cxn>
                <a:cxn ang="0">
                  <a:pos x="2" y="4"/>
                </a:cxn>
                <a:cxn ang="0">
                  <a:pos x="2" y="2"/>
                </a:cxn>
                <a:cxn ang="0">
                  <a:pos x="3" y="1"/>
                </a:cxn>
                <a:cxn ang="0">
                  <a:pos x="3" y="1"/>
                </a:cxn>
                <a:cxn ang="0">
                  <a:pos x="6" y="0"/>
                </a:cxn>
                <a:cxn ang="0">
                  <a:pos x="6" y="0"/>
                </a:cxn>
                <a:cxn ang="0">
                  <a:pos x="7" y="0"/>
                </a:cxn>
                <a:cxn ang="0">
                  <a:pos x="7" y="0"/>
                </a:cxn>
                <a:cxn ang="0">
                  <a:pos x="6" y="1"/>
                </a:cxn>
                <a:cxn ang="0">
                  <a:pos x="5" y="2"/>
                </a:cxn>
                <a:cxn ang="0">
                  <a:pos x="5" y="2"/>
                </a:cxn>
                <a:cxn ang="0">
                  <a:pos x="7" y="2"/>
                </a:cxn>
                <a:cxn ang="0">
                  <a:pos x="7" y="4"/>
                </a:cxn>
                <a:cxn ang="0">
                  <a:pos x="7" y="4"/>
                </a:cxn>
              </a:cxnLst>
              <a:rect l="0" t="0" r="r" b="b"/>
              <a:pathLst>
                <a:path w="7" h="10">
                  <a:moveTo>
                    <a:pt x="7" y="4"/>
                  </a:moveTo>
                  <a:lnTo>
                    <a:pt x="7" y="4"/>
                  </a:lnTo>
                  <a:lnTo>
                    <a:pt x="6" y="5"/>
                  </a:lnTo>
                  <a:lnTo>
                    <a:pt x="6" y="7"/>
                  </a:lnTo>
                  <a:lnTo>
                    <a:pt x="3" y="10"/>
                  </a:lnTo>
                  <a:lnTo>
                    <a:pt x="0" y="10"/>
                  </a:lnTo>
                  <a:lnTo>
                    <a:pt x="0" y="8"/>
                  </a:lnTo>
                  <a:lnTo>
                    <a:pt x="0" y="7"/>
                  </a:lnTo>
                  <a:lnTo>
                    <a:pt x="0" y="7"/>
                  </a:lnTo>
                  <a:lnTo>
                    <a:pt x="0" y="5"/>
                  </a:lnTo>
                  <a:lnTo>
                    <a:pt x="2" y="4"/>
                  </a:lnTo>
                  <a:lnTo>
                    <a:pt x="2" y="2"/>
                  </a:lnTo>
                  <a:lnTo>
                    <a:pt x="3" y="1"/>
                  </a:lnTo>
                  <a:lnTo>
                    <a:pt x="3" y="1"/>
                  </a:lnTo>
                  <a:lnTo>
                    <a:pt x="6" y="0"/>
                  </a:lnTo>
                  <a:lnTo>
                    <a:pt x="6" y="0"/>
                  </a:lnTo>
                  <a:lnTo>
                    <a:pt x="7" y="0"/>
                  </a:lnTo>
                  <a:lnTo>
                    <a:pt x="7" y="0"/>
                  </a:lnTo>
                  <a:lnTo>
                    <a:pt x="6" y="1"/>
                  </a:lnTo>
                  <a:lnTo>
                    <a:pt x="5" y="2"/>
                  </a:lnTo>
                  <a:lnTo>
                    <a:pt x="5" y="2"/>
                  </a:lnTo>
                  <a:lnTo>
                    <a:pt x="7" y="2"/>
                  </a:lnTo>
                  <a:lnTo>
                    <a:pt x="7" y="4"/>
                  </a:lnTo>
                  <a:lnTo>
                    <a:pt x="7"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84" name="Freeform 808"/>
            <p:cNvSpPr>
              <a:spLocks/>
            </p:cNvSpPr>
            <p:nvPr/>
          </p:nvSpPr>
          <p:spPr bwMode="auto">
            <a:xfrm>
              <a:off x="5466764" y="3267526"/>
              <a:ext cx="877" cy="2029"/>
            </a:xfrm>
            <a:custGeom>
              <a:avLst/>
              <a:gdLst/>
              <a:ahLst/>
              <a:cxnLst>
                <a:cxn ang="0">
                  <a:pos x="1" y="0"/>
                </a:cxn>
                <a:cxn ang="0">
                  <a:pos x="1" y="2"/>
                </a:cxn>
                <a:cxn ang="0">
                  <a:pos x="1" y="2"/>
                </a:cxn>
                <a:cxn ang="0">
                  <a:pos x="0" y="2"/>
                </a:cxn>
                <a:cxn ang="0">
                  <a:pos x="0" y="2"/>
                </a:cxn>
                <a:cxn ang="0">
                  <a:pos x="0" y="0"/>
                </a:cxn>
                <a:cxn ang="0">
                  <a:pos x="0" y="0"/>
                </a:cxn>
                <a:cxn ang="0">
                  <a:pos x="1" y="0"/>
                </a:cxn>
              </a:cxnLst>
              <a:rect l="0" t="0" r="r" b="b"/>
              <a:pathLst>
                <a:path w="1" h="2">
                  <a:moveTo>
                    <a:pt x="1" y="0"/>
                  </a:moveTo>
                  <a:lnTo>
                    <a:pt x="1" y="2"/>
                  </a:lnTo>
                  <a:lnTo>
                    <a:pt x="1" y="2"/>
                  </a:lnTo>
                  <a:lnTo>
                    <a:pt x="0" y="2"/>
                  </a:lnTo>
                  <a:lnTo>
                    <a:pt x="0" y="2"/>
                  </a:lnTo>
                  <a:lnTo>
                    <a:pt x="0" y="0"/>
                  </a:lnTo>
                  <a:lnTo>
                    <a:pt x="0" y="0"/>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85" name="Freeform 810"/>
            <p:cNvSpPr>
              <a:spLocks/>
            </p:cNvSpPr>
            <p:nvPr/>
          </p:nvSpPr>
          <p:spPr bwMode="auto">
            <a:xfrm>
              <a:off x="5466764" y="3267526"/>
              <a:ext cx="877" cy="2029"/>
            </a:xfrm>
            <a:custGeom>
              <a:avLst/>
              <a:gdLst/>
              <a:ahLst/>
              <a:cxnLst>
                <a:cxn ang="0">
                  <a:pos x="1" y="0"/>
                </a:cxn>
                <a:cxn ang="0">
                  <a:pos x="1" y="2"/>
                </a:cxn>
                <a:cxn ang="0">
                  <a:pos x="1" y="2"/>
                </a:cxn>
                <a:cxn ang="0">
                  <a:pos x="0" y="2"/>
                </a:cxn>
                <a:cxn ang="0">
                  <a:pos x="0" y="2"/>
                </a:cxn>
                <a:cxn ang="0">
                  <a:pos x="0" y="0"/>
                </a:cxn>
                <a:cxn ang="0">
                  <a:pos x="0" y="0"/>
                </a:cxn>
                <a:cxn ang="0">
                  <a:pos x="1" y="0"/>
                </a:cxn>
              </a:cxnLst>
              <a:rect l="0" t="0" r="r" b="b"/>
              <a:pathLst>
                <a:path w="1" h="2">
                  <a:moveTo>
                    <a:pt x="1" y="0"/>
                  </a:moveTo>
                  <a:lnTo>
                    <a:pt x="1" y="2"/>
                  </a:lnTo>
                  <a:lnTo>
                    <a:pt x="1" y="2"/>
                  </a:lnTo>
                  <a:lnTo>
                    <a:pt x="0" y="2"/>
                  </a:lnTo>
                  <a:lnTo>
                    <a:pt x="0" y="2"/>
                  </a:lnTo>
                  <a:lnTo>
                    <a:pt x="0" y="0"/>
                  </a:lnTo>
                  <a:lnTo>
                    <a:pt x="0" y="0"/>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86" name="Freeform 811"/>
            <p:cNvSpPr>
              <a:spLocks/>
            </p:cNvSpPr>
            <p:nvPr/>
          </p:nvSpPr>
          <p:spPr bwMode="auto">
            <a:xfrm>
              <a:off x="5460619" y="3273610"/>
              <a:ext cx="3511" cy="3043"/>
            </a:xfrm>
            <a:custGeom>
              <a:avLst/>
              <a:gdLst/>
              <a:ahLst/>
              <a:cxnLst>
                <a:cxn ang="0">
                  <a:pos x="1" y="0"/>
                </a:cxn>
                <a:cxn ang="0">
                  <a:pos x="3" y="2"/>
                </a:cxn>
                <a:cxn ang="0">
                  <a:pos x="3" y="3"/>
                </a:cxn>
                <a:cxn ang="0">
                  <a:pos x="1" y="3"/>
                </a:cxn>
                <a:cxn ang="0">
                  <a:pos x="0" y="2"/>
                </a:cxn>
                <a:cxn ang="0">
                  <a:pos x="1" y="0"/>
                </a:cxn>
              </a:cxnLst>
              <a:rect l="0" t="0" r="r" b="b"/>
              <a:pathLst>
                <a:path w="3" h="3">
                  <a:moveTo>
                    <a:pt x="1" y="0"/>
                  </a:moveTo>
                  <a:lnTo>
                    <a:pt x="3" y="2"/>
                  </a:lnTo>
                  <a:lnTo>
                    <a:pt x="3" y="3"/>
                  </a:lnTo>
                  <a:lnTo>
                    <a:pt x="1" y="3"/>
                  </a:lnTo>
                  <a:lnTo>
                    <a:pt x="0" y="2"/>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87" name="Freeform 812"/>
            <p:cNvSpPr>
              <a:spLocks/>
            </p:cNvSpPr>
            <p:nvPr/>
          </p:nvSpPr>
          <p:spPr bwMode="auto">
            <a:xfrm>
              <a:off x="5460619" y="3273610"/>
              <a:ext cx="3511" cy="3043"/>
            </a:xfrm>
            <a:custGeom>
              <a:avLst/>
              <a:gdLst/>
              <a:ahLst/>
              <a:cxnLst>
                <a:cxn ang="0">
                  <a:pos x="1" y="0"/>
                </a:cxn>
                <a:cxn ang="0">
                  <a:pos x="3" y="2"/>
                </a:cxn>
                <a:cxn ang="0">
                  <a:pos x="3" y="3"/>
                </a:cxn>
                <a:cxn ang="0">
                  <a:pos x="1" y="3"/>
                </a:cxn>
                <a:cxn ang="0">
                  <a:pos x="0" y="2"/>
                </a:cxn>
                <a:cxn ang="0">
                  <a:pos x="1" y="0"/>
                </a:cxn>
              </a:cxnLst>
              <a:rect l="0" t="0" r="r" b="b"/>
              <a:pathLst>
                <a:path w="3" h="3">
                  <a:moveTo>
                    <a:pt x="1" y="0"/>
                  </a:moveTo>
                  <a:lnTo>
                    <a:pt x="3" y="2"/>
                  </a:lnTo>
                  <a:lnTo>
                    <a:pt x="3" y="3"/>
                  </a:lnTo>
                  <a:lnTo>
                    <a:pt x="1" y="3"/>
                  </a:lnTo>
                  <a:lnTo>
                    <a:pt x="0" y="2"/>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88" name="Freeform 813"/>
            <p:cNvSpPr>
              <a:spLocks/>
            </p:cNvSpPr>
            <p:nvPr/>
          </p:nvSpPr>
          <p:spPr bwMode="auto">
            <a:xfrm>
              <a:off x="6098780" y="2141839"/>
              <a:ext cx="7022" cy="23326"/>
            </a:xfrm>
            <a:custGeom>
              <a:avLst/>
              <a:gdLst/>
              <a:ahLst/>
              <a:cxnLst>
                <a:cxn ang="0">
                  <a:pos x="5" y="0"/>
                </a:cxn>
                <a:cxn ang="0">
                  <a:pos x="5" y="0"/>
                </a:cxn>
                <a:cxn ang="0">
                  <a:pos x="3" y="2"/>
                </a:cxn>
                <a:cxn ang="0">
                  <a:pos x="2" y="3"/>
                </a:cxn>
                <a:cxn ang="0">
                  <a:pos x="2" y="3"/>
                </a:cxn>
                <a:cxn ang="0">
                  <a:pos x="2" y="4"/>
                </a:cxn>
                <a:cxn ang="0">
                  <a:pos x="2" y="7"/>
                </a:cxn>
                <a:cxn ang="0">
                  <a:pos x="3" y="9"/>
                </a:cxn>
                <a:cxn ang="0">
                  <a:pos x="0" y="12"/>
                </a:cxn>
                <a:cxn ang="0">
                  <a:pos x="0" y="13"/>
                </a:cxn>
                <a:cxn ang="0">
                  <a:pos x="2" y="13"/>
                </a:cxn>
                <a:cxn ang="0">
                  <a:pos x="5" y="12"/>
                </a:cxn>
                <a:cxn ang="0">
                  <a:pos x="5" y="13"/>
                </a:cxn>
                <a:cxn ang="0">
                  <a:pos x="3" y="22"/>
                </a:cxn>
                <a:cxn ang="0">
                  <a:pos x="8" y="18"/>
                </a:cxn>
                <a:cxn ang="0">
                  <a:pos x="8" y="10"/>
                </a:cxn>
                <a:cxn ang="0">
                  <a:pos x="8" y="10"/>
                </a:cxn>
                <a:cxn ang="0">
                  <a:pos x="8" y="6"/>
                </a:cxn>
                <a:cxn ang="0">
                  <a:pos x="5" y="4"/>
                </a:cxn>
                <a:cxn ang="0">
                  <a:pos x="5" y="0"/>
                </a:cxn>
              </a:cxnLst>
              <a:rect l="0" t="0" r="r" b="b"/>
              <a:pathLst>
                <a:path w="8" h="22">
                  <a:moveTo>
                    <a:pt x="5" y="0"/>
                  </a:moveTo>
                  <a:lnTo>
                    <a:pt x="5" y="0"/>
                  </a:lnTo>
                  <a:lnTo>
                    <a:pt x="3" y="2"/>
                  </a:lnTo>
                  <a:lnTo>
                    <a:pt x="2" y="3"/>
                  </a:lnTo>
                  <a:lnTo>
                    <a:pt x="2" y="3"/>
                  </a:lnTo>
                  <a:lnTo>
                    <a:pt x="2" y="4"/>
                  </a:lnTo>
                  <a:lnTo>
                    <a:pt x="2" y="7"/>
                  </a:lnTo>
                  <a:lnTo>
                    <a:pt x="3" y="9"/>
                  </a:lnTo>
                  <a:lnTo>
                    <a:pt x="0" y="12"/>
                  </a:lnTo>
                  <a:lnTo>
                    <a:pt x="0" y="13"/>
                  </a:lnTo>
                  <a:lnTo>
                    <a:pt x="2" y="13"/>
                  </a:lnTo>
                  <a:lnTo>
                    <a:pt x="5" y="12"/>
                  </a:lnTo>
                  <a:lnTo>
                    <a:pt x="5" y="13"/>
                  </a:lnTo>
                  <a:lnTo>
                    <a:pt x="3" y="22"/>
                  </a:lnTo>
                  <a:lnTo>
                    <a:pt x="8" y="18"/>
                  </a:lnTo>
                  <a:lnTo>
                    <a:pt x="8" y="10"/>
                  </a:lnTo>
                  <a:lnTo>
                    <a:pt x="8" y="10"/>
                  </a:lnTo>
                  <a:lnTo>
                    <a:pt x="8" y="6"/>
                  </a:lnTo>
                  <a:lnTo>
                    <a:pt x="5" y="4"/>
                  </a:lnTo>
                  <a:lnTo>
                    <a:pt x="5"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89" name="Freeform 814"/>
            <p:cNvSpPr>
              <a:spLocks/>
            </p:cNvSpPr>
            <p:nvPr/>
          </p:nvSpPr>
          <p:spPr bwMode="auto">
            <a:xfrm>
              <a:off x="6098780" y="2141839"/>
              <a:ext cx="7022" cy="23326"/>
            </a:xfrm>
            <a:custGeom>
              <a:avLst/>
              <a:gdLst/>
              <a:ahLst/>
              <a:cxnLst>
                <a:cxn ang="0">
                  <a:pos x="5" y="0"/>
                </a:cxn>
                <a:cxn ang="0">
                  <a:pos x="5" y="0"/>
                </a:cxn>
                <a:cxn ang="0">
                  <a:pos x="3" y="2"/>
                </a:cxn>
                <a:cxn ang="0">
                  <a:pos x="2" y="3"/>
                </a:cxn>
                <a:cxn ang="0">
                  <a:pos x="2" y="3"/>
                </a:cxn>
                <a:cxn ang="0">
                  <a:pos x="2" y="4"/>
                </a:cxn>
                <a:cxn ang="0">
                  <a:pos x="2" y="7"/>
                </a:cxn>
                <a:cxn ang="0">
                  <a:pos x="3" y="9"/>
                </a:cxn>
                <a:cxn ang="0">
                  <a:pos x="0" y="12"/>
                </a:cxn>
                <a:cxn ang="0">
                  <a:pos x="0" y="13"/>
                </a:cxn>
                <a:cxn ang="0">
                  <a:pos x="2" y="13"/>
                </a:cxn>
                <a:cxn ang="0">
                  <a:pos x="5" y="12"/>
                </a:cxn>
                <a:cxn ang="0">
                  <a:pos x="5" y="13"/>
                </a:cxn>
                <a:cxn ang="0">
                  <a:pos x="3" y="22"/>
                </a:cxn>
                <a:cxn ang="0">
                  <a:pos x="8" y="18"/>
                </a:cxn>
                <a:cxn ang="0">
                  <a:pos x="8" y="10"/>
                </a:cxn>
                <a:cxn ang="0">
                  <a:pos x="8" y="10"/>
                </a:cxn>
                <a:cxn ang="0">
                  <a:pos x="8" y="6"/>
                </a:cxn>
                <a:cxn ang="0">
                  <a:pos x="5" y="4"/>
                </a:cxn>
                <a:cxn ang="0">
                  <a:pos x="5" y="0"/>
                </a:cxn>
              </a:cxnLst>
              <a:rect l="0" t="0" r="r" b="b"/>
              <a:pathLst>
                <a:path w="8" h="22">
                  <a:moveTo>
                    <a:pt x="5" y="0"/>
                  </a:moveTo>
                  <a:lnTo>
                    <a:pt x="5" y="0"/>
                  </a:lnTo>
                  <a:lnTo>
                    <a:pt x="3" y="2"/>
                  </a:lnTo>
                  <a:lnTo>
                    <a:pt x="2" y="3"/>
                  </a:lnTo>
                  <a:lnTo>
                    <a:pt x="2" y="3"/>
                  </a:lnTo>
                  <a:lnTo>
                    <a:pt x="2" y="4"/>
                  </a:lnTo>
                  <a:lnTo>
                    <a:pt x="2" y="7"/>
                  </a:lnTo>
                  <a:lnTo>
                    <a:pt x="3" y="9"/>
                  </a:lnTo>
                  <a:lnTo>
                    <a:pt x="0" y="12"/>
                  </a:lnTo>
                  <a:lnTo>
                    <a:pt x="0" y="13"/>
                  </a:lnTo>
                  <a:lnTo>
                    <a:pt x="2" y="13"/>
                  </a:lnTo>
                  <a:lnTo>
                    <a:pt x="5" y="12"/>
                  </a:lnTo>
                  <a:lnTo>
                    <a:pt x="5" y="13"/>
                  </a:lnTo>
                  <a:lnTo>
                    <a:pt x="3" y="22"/>
                  </a:lnTo>
                  <a:lnTo>
                    <a:pt x="8" y="18"/>
                  </a:lnTo>
                  <a:lnTo>
                    <a:pt x="8" y="10"/>
                  </a:lnTo>
                  <a:lnTo>
                    <a:pt x="8" y="10"/>
                  </a:lnTo>
                  <a:lnTo>
                    <a:pt x="8" y="6"/>
                  </a:lnTo>
                  <a:lnTo>
                    <a:pt x="5" y="4"/>
                  </a:lnTo>
                  <a:lnTo>
                    <a:pt x="5"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90" name="Freeform 815"/>
            <p:cNvSpPr>
              <a:spLocks/>
            </p:cNvSpPr>
            <p:nvPr/>
          </p:nvSpPr>
          <p:spPr bwMode="auto">
            <a:xfrm>
              <a:off x="6027678" y="2205731"/>
              <a:ext cx="12289" cy="19269"/>
            </a:xfrm>
            <a:custGeom>
              <a:avLst/>
              <a:gdLst/>
              <a:ahLst/>
              <a:cxnLst>
                <a:cxn ang="0">
                  <a:pos x="12" y="0"/>
                </a:cxn>
                <a:cxn ang="0">
                  <a:pos x="11" y="0"/>
                </a:cxn>
                <a:cxn ang="0">
                  <a:pos x="3" y="5"/>
                </a:cxn>
                <a:cxn ang="0">
                  <a:pos x="3" y="6"/>
                </a:cxn>
                <a:cxn ang="0">
                  <a:pos x="5" y="7"/>
                </a:cxn>
                <a:cxn ang="0">
                  <a:pos x="3" y="9"/>
                </a:cxn>
                <a:cxn ang="0">
                  <a:pos x="0" y="7"/>
                </a:cxn>
                <a:cxn ang="0">
                  <a:pos x="0" y="9"/>
                </a:cxn>
                <a:cxn ang="0">
                  <a:pos x="0" y="13"/>
                </a:cxn>
                <a:cxn ang="0">
                  <a:pos x="2" y="15"/>
                </a:cxn>
                <a:cxn ang="0">
                  <a:pos x="0" y="16"/>
                </a:cxn>
                <a:cxn ang="0">
                  <a:pos x="0" y="18"/>
                </a:cxn>
                <a:cxn ang="0">
                  <a:pos x="0" y="19"/>
                </a:cxn>
                <a:cxn ang="0">
                  <a:pos x="3" y="18"/>
                </a:cxn>
                <a:cxn ang="0">
                  <a:pos x="3" y="16"/>
                </a:cxn>
                <a:cxn ang="0">
                  <a:pos x="5" y="16"/>
                </a:cxn>
                <a:cxn ang="0">
                  <a:pos x="6" y="15"/>
                </a:cxn>
                <a:cxn ang="0">
                  <a:pos x="8" y="15"/>
                </a:cxn>
                <a:cxn ang="0">
                  <a:pos x="9" y="13"/>
                </a:cxn>
                <a:cxn ang="0">
                  <a:pos x="11" y="10"/>
                </a:cxn>
                <a:cxn ang="0">
                  <a:pos x="9" y="10"/>
                </a:cxn>
                <a:cxn ang="0">
                  <a:pos x="9" y="9"/>
                </a:cxn>
                <a:cxn ang="0">
                  <a:pos x="11" y="7"/>
                </a:cxn>
                <a:cxn ang="0">
                  <a:pos x="12" y="7"/>
                </a:cxn>
                <a:cxn ang="0">
                  <a:pos x="13" y="6"/>
                </a:cxn>
                <a:cxn ang="0">
                  <a:pos x="12" y="6"/>
                </a:cxn>
                <a:cxn ang="0">
                  <a:pos x="12" y="6"/>
                </a:cxn>
                <a:cxn ang="0">
                  <a:pos x="12" y="0"/>
                </a:cxn>
              </a:cxnLst>
              <a:rect l="0" t="0" r="r" b="b"/>
              <a:pathLst>
                <a:path w="13" h="19">
                  <a:moveTo>
                    <a:pt x="12" y="0"/>
                  </a:moveTo>
                  <a:lnTo>
                    <a:pt x="11" y="0"/>
                  </a:lnTo>
                  <a:lnTo>
                    <a:pt x="3" y="5"/>
                  </a:lnTo>
                  <a:lnTo>
                    <a:pt x="3" y="6"/>
                  </a:lnTo>
                  <a:lnTo>
                    <a:pt x="5" y="7"/>
                  </a:lnTo>
                  <a:lnTo>
                    <a:pt x="3" y="9"/>
                  </a:lnTo>
                  <a:lnTo>
                    <a:pt x="0" y="7"/>
                  </a:lnTo>
                  <a:lnTo>
                    <a:pt x="0" y="9"/>
                  </a:lnTo>
                  <a:lnTo>
                    <a:pt x="0" y="13"/>
                  </a:lnTo>
                  <a:lnTo>
                    <a:pt x="2" y="15"/>
                  </a:lnTo>
                  <a:lnTo>
                    <a:pt x="0" y="16"/>
                  </a:lnTo>
                  <a:lnTo>
                    <a:pt x="0" y="18"/>
                  </a:lnTo>
                  <a:lnTo>
                    <a:pt x="0" y="19"/>
                  </a:lnTo>
                  <a:lnTo>
                    <a:pt x="3" y="18"/>
                  </a:lnTo>
                  <a:lnTo>
                    <a:pt x="3" y="16"/>
                  </a:lnTo>
                  <a:lnTo>
                    <a:pt x="5" y="16"/>
                  </a:lnTo>
                  <a:lnTo>
                    <a:pt x="6" y="15"/>
                  </a:lnTo>
                  <a:lnTo>
                    <a:pt x="8" y="15"/>
                  </a:lnTo>
                  <a:lnTo>
                    <a:pt x="9" y="13"/>
                  </a:lnTo>
                  <a:lnTo>
                    <a:pt x="11" y="10"/>
                  </a:lnTo>
                  <a:lnTo>
                    <a:pt x="9" y="10"/>
                  </a:lnTo>
                  <a:lnTo>
                    <a:pt x="9" y="9"/>
                  </a:lnTo>
                  <a:lnTo>
                    <a:pt x="11" y="7"/>
                  </a:lnTo>
                  <a:lnTo>
                    <a:pt x="12" y="7"/>
                  </a:lnTo>
                  <a:lnTo>
                    <a:pt x="13" y="6"/>
                  </a:lnTo>
                  <a:lnTo>
                    <a:pt x="12" y="6"/>
                  </a:lnTo>
                  <a:lnTo>
                    <a:pt x="12" y="6"/>
                  </a:lnTo>
                  <a:lnTo>
                    <a:pt x="1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91" name="Freeform 816"/>
            <p:cNvSpPr>
              <a:spLocks/>
            </p:cNvSpPr>
            <p:nvPr/>
          </p:nvSpPr>
          <p:spPr bwMode="auto">
            <a:xfrm>
              <a:off x="6027678" y="2205731"/>
              <a:ext cx="12289" cy="19269"/>
            </a:xfrm>
            <a:custGeom>
              <a:avLst/>
              <a:gdLst/>
              <a:ahLst/>
              <a:cxnLst>
                <a:cxn ang="0">
                  <a:pos x="12" y="0"/>
                </a:cxn>
                <a:cxn ang="0">
                  <a:pos x="11" y="0"/>
                </a:cxn>
                <a:cxn ang="0">
                  <a:pos x="3" y="5"/>
                </a:cxn>
                <a:cxn ang="0">
                  <a:pos x="3" y="6"/>
                </a:cxn>
                <a:cxn ang="0">
                  <a:pos x="5" y="7"/>
                </a:cxn>
                <a:cxn ang="0">
                  <a:pos x="3" y="9"/>
                </a:cxn>
                <a:cxn ang="0">
                  <a:pos x="0" y="7"/>
                </a:cxn>
                <a:cxn ang="0">
                  <a:pos x="0" y="9"/>
                </a:cxn>
                <a:cxn ang="0">
                  <a:pos x="0" y="13"/>
                </a:cxn>
                <a:cxn ang="0">
                  <a:pos x="2" y="15"/>
                </a:cxn>
                <a:cxn ang="0">
                  <a:pos x="0" y="16"/>
                </a:cxn>
                <a:cxn ang="0">
                  <a:pos x="0" y="18"/>
                </a:cxn>
                <a:cxn ang="0">
                  <a:pos x="0" y="19"/>
                </a:cxn>
                <a:cxn ang="0">
                  <a:pos x="3" y="18"/>
                </a:cxn>
                <a:cxn ang="0">
                  <a:pos x="3" y="16"/>
                </a:cxn>
                <a:cxn ang="0">
                  <a:pos x="5" y="16"/>
                </a:cxn>
                <a:cxn ang="0">
                  <a:pos x="6" y="15"/>
                </a:cxn>
                <a:cxn ang="0">
                  <a:pos x="8" y="15"/>
                </a:cxn>
                <a:cxn ang="0">
                  <a:pos x="9" y="13"/>
                </a:cxn>
                <a:cxn ang="0">
                  <a:pos x="11" y="10"/>
                </a:cxn>
                <a:cxn ang="0">
                  <a:pos x="9" y="10"/>
                </a:cxn>
                <a:cxn ang="0">
                  <a:pos x="9" y="9"/>
                </a:cxn>
                <a:cxn ang="0">
                  <a:pos x="11" y="7"/>
                </a:cxn>
                <a:cxn ang="0">
                  <a:pos x="12" y="7"/>
                </a:cxn>
                <a:cxn ang="0">
                  <a:pos x="13" y="6"/>
                </a:cxn>
                <a:cxn ang="0">
                  <a:pos x="12" y="6"/>
                </a:cxn>
                <a:cxn ang="0">
                  <a:pos x="12" y="6"/>
                </a:cxn>
                <a:cxn ang="0">
                  <a:pos x="12" y="0"/>
                </a:cxn>
              </a:cxnLst>
              <a:rect l="0" t="0" r="r" b="b"/>
              <a:pathLst>
                <a:path w="13" h="19">
                  <a:moveTo>
                    <a:pt x="12" y="0"/>
                  </a:moveTo>
                  <a:lnTo>
                    <a:pt x="11" y="0"/>
                  </a:lnTo>
                  <a:lnTo>
                    <a:pt x="3" y="5"/>
                  </a:lnTo>
                  <a:lnTo>
                    <a:pt x="3" y="6"/>
                  </a:lnTo>
                  <a:lnTo>
                    <a:pt x="5" y="7"/>
                  </a:lnTo>
                  <a:lnTo>
                    <a:pt x="3" y="9"/>
                  </a:lnTo>
                  <a:lnTo>
                    <a:pt x="0" y="7"/>
                  </a:lnTo>
                  <a:lnTo>
                    <a:pt x="0" y="9"/>
                  </a:lnTo>
                  <a:lnTo>
                    <a:pt x="0" y="13"/>
                  </a:lnTo>
                  <a:lnTo>
                    <a:pt x="2" y="15"/>
                  </a:lnTo>
                  <a:lnTo>
                    <a:pt x="0" y="16"/>
                  </a:lnTo>
                  <a:lnTo>
                    <a:pt x="0" y="18"/>
                  </a:lnTo>
                  <a:lnTo>
                    <a:pt x="0" y="19"/>
                  </a:lnTo>
                  <a:lnTo>
                    <a:pt x="3" y="18"/>
                  </a:lnTo>
                  <a:lnTo>
                    <a:pt x="3" y="16"/>
                  </a:lnTo>
                  <a:lnTo>
                    <a:pt x="5" y="16"/>
                  </a:lnTo>
                  <a:lnTo>
                    <a:pt x="6" y="15"/>
                  </a:lnTo>
                  <a:lnTo>
                    <a:pt x="8" y="15"/>
                  </a:lnTo>
                  <a:lnTo>
                    <a:pt x="9" y="13"/>
                  </a:lnTo>
                  <a:lnTo>
                    <a:pt x="11" y="10"/>
                  </a:lnTo>
                  <a:lnTo>
                    <a:pt x="9" y="10"/>
                  </a:lnTo>
                  <a:lnTo>
                    <a:pt x="9" y="9"/>
                  </a:lnTo>
                  <a:lnTo>
                    <a:pt x="11" y="7"/>
                  </a:lnTo>
                  <a:lnTo>
                    <a:pt x="12" y="7"/>
                  </a:lnTo>
                  <a:lnTo>
                    <a:pt x="13" y="6"/>
                  </a:lnTo>
                  <a:lnTo>
                    <a:pt x="12" y="6"/>
                  </a:lnTo>
                  <a:lnTo>
                    <a:pt x="12" y="6"/>
                  </a:lnTo>
                  <a:lnTo>
                    <a:pt x="1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92" name="Freeform 817"/>
            <p:cNvSpPr>
              <a:spLocks/>
            </p:cNvSpPr>
            <p:nvPr/>
          </p:nvSpPr>
          <p:spPr bwMode="auto">
            <a:xfrm>
              <a:off x="6023289" y="2228041"/>
              <a:ext cx="4389" cy="3042"/>
            </a:xfrm>
            <a:custGeom>
              <a:avLst/>
              <a:gdLst/>
              <a:ahLst/>
              <a:cxnLst>
                <a:cxn ang="0">
                  <a:pos x="4" y="1"/>
                </a:cxn>
                <a:cxn ang="0">
                  <a:pos x="5" y="0"/>
                </a:cxn>
                <a:cxn ang="0">
                  <a:pos x="4" y="0"/>
                </a:cxn>
                <a:cxn ang="0">
                  <a:pos x="0" y="0"/>
                </a:cxn>
                <a:cxn ang="0">
                  <a:pos x="0" y="1"/>
                </a:cxn>
                <a:cxn ang="0">
                  <a:pos x="1" y="3"/>
                </a:cxn>
                <a:cxn ang="0">
                  <a:pos x="4" y="3"/>
                </a:cxn>
                <a:cxn ang="0">
                  <a:pos x="4" y="1"/>
                </a:cxn>
              </a:cxnLst>
              <a:rect l="0" t="0" r="r" b="b"/>
              <a:pathLst>
                <a:path w="5" h="3">
                  <a:moveTo>
                    <a:pt x="4" y="1"/>
                  </a:moveTo>
                  <a:lnTo>
                    <a:pt x="5" y="0"/>
                  </a:lnTo>
                  <a:lnTo>
                    <a:pt x="4" y="0"/>
                  </a:lnTo>
                  <a:lnTo>
                    <a:pt x="0" y="0"/>
                  </a:lnTo>
                  <a:lnTo>
                    <a:pt x="0" y="1"/>
                  </a:lnTo>
                  <a:lnTo>
                    <a:pt x="1" y="3"/>
                  </a:lnTo>
                  <a:lnTo>
                    <a:pt x="4" y="3"/>
                  </a:lnTo>
                  <a:lnTo>
                    <a:pt x="4"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93" name="Freeform 818"/>
            <p:cNvSpPr>
              <a:spLocks/>
            </p:cNvSpPr>
            <p:nvPr/>
          </p:nvSpPr>
          <p:spPr bwMode="auto">
            <a:xfrm>
              <a:off x="6023289" y="2228041"/>
              <a:ext cx="4389" cy="3042"/>
            </a:xfrm>
            <a:custGeom>
              <a:avLst/>
              <a:gdLst/>
              <a:ahLst/>
              <a:cxnLst>
                <a:cxn ang="0">
                  <a:pos x="4" y="1"/>
                </a:cxn>
                <a:cxn ang="0">
                  <a:pos x="5" y="0"/>
                </a:cxn>
                <a:cxn ang="0">
                  <a:pos x="4" y="0"/>
                </a:cxn>
                <a:cxn ang="0">
                  <a:pos x="0" y="0"/>
                </a:cxn>
                <a:cxn ang="0">
                  <a:pos x="0" y="1"/>
                </a:cxn>
                <a:cxn ang="0">
                  <a:pos x="1" y="3"/>
                </a:cxn>
                <a:cxn ang="0">
                  <a:pos x="4" y="3"/>
                </a:cxn>
                <a:cxn ang="0">
                  <a:pos x="4" y="1"/>
                </a:cxn>
              </a:cxnLst>
              <a:rect l="0" t="0" r="r" b="b"/>
              <a:pathLst>
                <a:path w="5" h="3">
                  <a:moveTo>
                    <a:pt x="4" y="1"/>
                  </a:moveTo>
                  <a:lnTo>
                    <a:pt x="5" y="0"/>
                  </a:lnTo>
                  <a:lnTo>
                    <a:pt x="4" y="0"/>
                  </a:lnTo>
                  <a:lnTo>
                    <a:pt x="0" y="0"/>
                  </a:lnTo>
                  <a:lnTo>
                    <a:pt x="0" y="1"/>
                  </a:lnTo>
                  <a:lnTo>
                    <a:pt x="1" y="3"/>
                  </a:lnTo>
                  <a:lnTo>
                    <a:pt x="4" y="3"/>
                  </a:lnTo>
                  <a:lnTo>
                    <a:pt x="4"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94" name="Freeform 819"/>
            <p:cNvSpPr>
              <a:spLocks/>
            </p:cNvSpPr>
            <p:nvPr/>
          </p:nvSpPr>
          <p:spPr bwMode="auto">
            <a:xfrm>
              <a:off x="6076835" y="2185447"/>
              <a:ext cx="8777" cy="6085"/>
            </a:xfrm>
            <a:custGeom>
              <a:avLst/>
              <a:gdLst/>
              <a:ahLst/>
              <a:cxnLst>
                <a:cxn ang="0">
                  <a:pos x="7" y="6"/>
                </a:cxn>
                <a:cxn ang="0">
                  <a:pos x="9" y="5"/>
                </a:cxn>
                <a:cxn ang="0">
                  <a:pos x="7" y="5"/>
                </a:cxn>
                <a:cxn ang="0">
                  <a:pos x="3" y="5"/>
                </a:cxn>
                <a:cxn ang="0">
                  <a:pos x="3" y="2"/>
                </a:cxn>
                <a:cxn ang="0">
                  <a:pos x="2" y="0"/>
                </a:cxn>
                <a:cxn ang="0">
                  <a:pos x="0" y="0"/>
                </a:cxn>
                <a:cxn ang="0">
                  <a:pos x="0" y="5"/>
                </a:cxn>
                <a:cxn ang="0">
                  <a:pos x="2" y="6"/>
                </a:cxn>
                <a:cxn ang="0">
                  <a:pos x="5" y="5"/>
                </a:cxn>
                <a:cxn ang="0">
                  <a:pos x="7" y="6"/>
                </a:cxn>
                <a:cxn ang="0">
                  <a:pos x="7" y="6"/>
                </a:cxn>
              </a:cxnLst>
              <a:rect l="0" t="0" r="r" b="b"/>
              <a:pathLst>
                <a:path w="9" h="6">
                  <a:moveTo>
                    <a:pt x="7" y="6"/>
                  </a:moveTo>
                  <a:lnTo>
                    <a:pt x="9" y="5"/>
                  </a:lnTo>
                  <a:lnTo>
                    <a:pt x="7" y="5"/>
                  </a:lnTo>
                  <a:lnTo>
                    <a:pt x="3" y="5"/>
                  </a:lnTo>
                  <a:lnTo>
                    <a:pt x="3" y="2"/>
                  </a:lnTo>
                  <a:lnTo>
                    <a:pt x="2" y="0"/>
                  </a:lnTo>
                  <a:lnTo>
                    <a:pt x="0" y="0"/>
                  </a:lnTo>
                  <a:lnTo>
                    <a:pt x="0" y="5"/>
                  </a:lnTo>
                  <a:lnTo>
                    <a:pt x="2" y="6"/>
                  </a:lnTo>
                  <a:lnTo>
                    <a:pt x="5" y="5"/>
                  </a:lnTo>
                  <a:lnTo>
                    <a:pt x="7" y="6"/>
                  </a:lnTo>
                  <a:lnTo>
                    <a:pt x="7"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95" name="Freeform 820"/>
            <p:cNvSpPr>
              <a:spLocks/>
            </p:cNvSpPr>
            <p:nvPr/>
          </p:nvSpPr>
          <p:spPr bwMode="auto">
            <a:xfrm>
              <a:off x="6076835" y="2185447"/>
              <a:ext cx="8777" cy="6085"/>
            </a:xfrm>
            <a:custGeom>
              <a:avLst/>
              <a:gdLst/>
              <a:ahLst/>
              <a:cxnLst>
                <a:cxn ang="0">
                  <a:pos x="7" y="6"/>
                </a:cxn>
                <a:cxn ang="0">
                  <a:pos x="9" y="5"/>
                </a:cxn>
                <a:cxn ang="0">
                  <a:pos x="7" y="5"/>
                </a:cxn>
                <a:cxn ang="0">
                  <a:pos x="3" y="5"/>
                </a:cxn>
                <a:cxn ang="0">
                  <a:pos x="3" y="2"/>
                </a:cxn>
                <a:cxn ang="0">
                  <a:pos x="2" y="0"/>
                </a:cxn>
                <a:cxn ang="0">
                  <a:pos x="0" y="0"/>
                </a:cxn>
                <a:cxn ang="0">
                  <a:pos x="0" y="5"/>
                </a:cxn>
                <a:cxn ang="0">
                  <a:pos x="2" y="6"/>
                </a:cxn>
                <a:cxn ang="0">
                  <a:pos x="5" y="5"/>
                </a:cxn>
                <a:cxn ang="0">
                  <a:pos x="7" y="6"/>
                </a:cxn>
                <a:cxn ang="0">
                  <a:pos x="7" y="6"/>
                </a:cxn>
              </a:cxnLst>
              <a:rect l="0" t="0" r="r" b="b"/>
              <a:pathLst>
                <a:path w="9" h="6">
                  <a:moveTo>
                    <a:pt x="7" y="6"/>
                  </a:moveTo>
                  <a:lnTo>
                    <a:pt x="9" y="5"/>
                  </a:lnTo>
                  <a:lnTo>
                    <a:pt x="7" y="5"/>
                  </a:lnTo>
                  <a:lnTo>
                    <a:pt x="3" y="5"/>
                  </a:lnTo>
                  <a:lnTo>
                    <a:pt x="3" y="2"/>
                  </a:lnTo>
                  <a:lnTo>
                    <a:pt x="2" y="0"/>
                  </a:lnTo>
                  <a:lnTo>
                    <a:pt x="0" y="0"/>
                  </a:lnTo>
                  <a:lnTo>
                    <a:pt x="0" y="5"/>
                  </a:lnTo>
                  <a:lnTo>
                    <a:pt x="2" y="6"/>
                  </a:lnTo>
                  <a:lnTo>
                    <a:pt x="5" y="5"/>
                  </a:lnTo>
                  <a:lnTo>
                    <a:pt x="7" y="6"/>
                  </a:lnTo>
                  <a:lnTo>
                    <a:pt x="7"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96" name="Freeform 821"/>
            <p:cNvSpPr>
              <a:spLocks/>
            </p:cNvSpPr>
            <p:nvPr/>
          </p:nvSpPr>
          <p:spPr bwMode="auto">
            <a:xfrm>
              <a:off x="6075957" y="2191532"/>
              <a:ext cx="3511" cy="3042"/>
            </a:xfrm>
            <a:custGeom>
              <a:avLst/>
              <a:gdLst/>
              <a:ahLst/>
              <a:cxnLst>
                <a:cxn ang="0">
                  <a:pos x="3" y="3"/>
                </a:cxn>
                <a:cxn ang="0">
                  <a:pos x="3" y="2"/>
                </a:cxn>
                <a:cxn ang="0">
                  <a:pos x="1" y="0"/>
                </a:cxn>
                <a:cxn ang="0">
                  <a:pos x="0" y="0"/>
                </a:cxn>
                <a:cxn ang="0">
                  <a:pos x="0" y="3"/>
                </a:cxn>
                <a:cxn ang="0">
                  <a:pos x="0" y="3"/>
                </a:cxn>
                <a:cxn ang="0">
                  <a:pos x="3" y="3"/>
                </a:cxn>
              </a:cxnLst>
              <a:rect l="0" t="0" r="r" b="b"/>
              <a:pathLst>
                <a:path w="3" h="3">
                  <a:moveTo>
                    <a:pt x="3" y="3"/>
                  </a:moveTo>
                  <a:lnTo>
                    <a:pt x="3" y="2"/>
                  </a:lnTo>
                  <a:lnTo>
                    <a:pt x="1" y="0"/>
                  </a:lnTo>
                  <a:lnTo>
                    <a:pt x="0" y="0"/>
                  </a:lnTo>
                  <a:lnTo>
                    <a:pt x="0" y="3"/>
                  </a:lnTo>
                  <a:lnTo>
                    <a:pt x="0" y="3"/>
                  </a:lnTo>
                  <a:lnTo>
                    <a:pt x="3"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97" name="Freeform 822"/>
            <p:cNvSpPr>
              <a:spLocks/>
            </p:cNvSpPr>
            <p:nvPr/>
          </p:nvSpPr>
          <p:spPr bwMode="auto">
            <a:xfrm>
              <a:off x="6075957" y="2191532"/>
              <a:ext cx="3511" cy="3042"/>
            </a:xfrm>
            <a:custGeom>
              <a:avLst/>
              <a:gdLst/>
              <a:ahLst/>
              <a:cxnLst>
                <a:cxn ang="0">
                  <a:pos x="3" y="3"/>
                </a:cxn>
                <a:cxn ang="0">
                  <a:pos x="3" y="2"/>
                </a:cxn>
                <a:cxn ang="0">
                  <a:pos x="1" y="0"/>
                </a:cxn>
                <a:cxn ang="0">
                  <a:pos x="0" y="0"/>
                </a:cxn>
                <a:cxn ang="0">
                  <a:pos x="0" y="3"/>
                </a:cxn>
                <a:cxn ang="0">
                  <a:pos x="0" y="3"/>
                </a:cxn>
                <a:cxn ang="0">
                  <a:pos x="3" y="3"/>
                </a:cxn>
              </a:cxnLst>
              <a:rect l="0" t="0" r="r" b="b"/>
              <a:pathLst>
                <a:path w="3" h="3">
                  <a:moveTo>
                    <a:pt x="3" y="3"/>
                  </a:moveTo>
                  <a:lnTo>
                    <a:pt x="3" y="2"/>
                  </a:lnTo>
                  <a:lnTo>
                    <a:pt x="1" y="0"/>
                  </a:lnTo>
                  <a:lnTo>
                    <a:pt x="0" y="0"/>
                  </a:lnTo>
                  <a:lnTo>
                    <a:pt x="0" y="3"/>
                  </a:lnTo>
                  <a:lnTo>
                    <a:pt x="0" y="3"/>
                  </a:lnTo>
                  <a:lnTo>
                    <a:pt x="3"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98" name="Freeform 823"/>
            <p:cNvSpPr>
              <a:spLocks/>
            </p:cNvSpPr>
            <p:nvPr/>
          </p:nvSpPr>
          <p:spPr bwMode="auto">
            <a:xfrm>
              <a:off x="6039967" y="2201673"/>
              <a:ext cx="102703" cy="219053"/>
            </a:xfrm>
            <a:custGeom>
              <a:avLst/>
              <a:gdLst/>
              <a:ahLst/>
              <a:cxnLst>
                <a:cxn ang="0">
                  <a:pos x="59" y="197"/>
                </a:cxn>
                <a:cxn ang="0">
                  <a:pos x="69" y="193"/>
                </a:cxn>
                <a:cxn ang="0">
                  <a:pos x="75" y="193"/>
                </a:cxn>
                <a:cxn ang="0">
                  <a:pos x="102" y="189"/>
                </a:cxn>
                <a:cxn ang="0">
                  <a:pos x="98" y="179"/>
                </a:cxn>
                <a:cxn ang="0">
                  <a:pos x="101" y="173"/>
                </a:cxn>
                <a:cxn ang="0">
                  <a:pos x="105" y="170"/>
                </a:cxn>
                <a:cxn ang="0">
                  <a:pos x="111" y="163"/>
                </a:cxn>
                <a:cxn ang="0">
                  <a:pos x="95" y="144"/>
                </a:cxn>
                <a:cxn ang="0">
                  <a:pos x="92" y="139"/>
                </a:cxn>
                <a:cxn ang="0">
                  <a:pos x="83" y="125"/>
                </a:cxn>
                <a:cxn ang="0">
                  <a:pos x="89" y="123"/>
                </a:cxn>
                <a:cxn ang="0">
                  <a:pos x="72" y="103"/>
                </a:cxn>
                <a:cxn ang="0">
                  <a:pos x="51" y="68"/>
                </a:cxn>
                <a:cxn ang="0">
                  <a:pos x="41" y="67"/>
                </a:cxn>
                <a:cxn ang="0">
                  <a:pos x="47" y="58"/>
                </a:cxn>
                <a:cxn ang="0">
                  <a:pos x="51" y="52"/>
                </a:cxn>
                <a:cxn ang="0">
                  <a:pos x="60" y="26"/>
                </a:cxn>
                <a:cxn ang="0">
                  <a:pos x="28" y="29"/>
                </a:cxn>
                <a:cxn ang="0">
                  <a:pos x="31" y="25"/>
                </a:cxn>
                <a:cxn ang="0">
                  <a:pos x="32" y="17"/>
                </a:cxn>
                <a:cxn ang="0">
                  <a:pos x="40" y="0"/>
                </a:cxn>
                <a:cxn ang="0">
                  <a:pos x="15" y="7"/>
                </a:cxn>
                <a:cxn ang="0">
                  <a:pos x="11" y="16"/>
                </a:cxn>
                <a:cxn ang="0">
                  <a:pos x="8" y="29"/>
                </a:cxn>
                <a:cxn ang="0">
                  <a:pos x="9" y="33"/>
                </a:cxn>
                <a:cxn ang="0">
                  <a:pos x="8" y="40"/>
                </a:cxn>
                <a:cxn ang="0">
                  <a:pos x="5" y="45"/>
                </a:cxn>
                <a:cxn ang="0">
                  <a:pos x="3" y="52"/>
                </a:cxn>
                <a:cxn ang="0">
                  <a:pos x="12" y="55"/>
                </a:cxn>
                <a:cxn ang="0">
                  <a:pos x="9" y="75"/>
                </a:cxn>
                <a:cxn ang="0">
                  <a:pos x="12" y="75"/>
                </a:cxn>
                <a:cxn ang="0">
                  <a:pos x="12" y="72"/>
                </a:cxn>
                <a:cxn ang="0">
                  <a:pos x="16" y="71"/>
                </a:cxn>
                <a:cxn ang="0">
                  <a:pos x="19" y="71"/>
                </a:cxn>
                <a:cxn ang="0">
                  <a:pos x="21" y="83"/>
                </a:cxn>
                <a:cxn ang="0">
                  <a:pos x="16" y="102"/>
                </a:cxn>
                <a:cxn ang="0">
                  <a:pos x="19" y="99"/>
                </a:cxn>
                <a:cxn ang="0">
                  <a:pos x="35" y="97"/>
                </a:cxn>
                <a:cxn ang="0">
                  <a:pos x="41" y="96"/>
                </a:cxn>
                <a:cxn ang="0">
                  <a:pos x="40" y="113"/>
                </a:cxn>
                <a:cxn ang="0">
                  <a:pos x="48" y="113"/>
                </a:cxn>
                <a:cxn ang="0">
                  <a:pos x="46" y="123"/>
                </a:cxn>
                <a:cxn ang="0">
                  <a:pos x="47" y="132"/>
                </a:cxn>
                <a:cxn ang="0">
                  <a:pos x="22" y="147"/>
                </a:cxn>
                <a:cxn ang="0">
                  <a:pos x="30" y="160"/>
                </a:cxn>
                <a:cxn ang="0">
                  <a:pos x="18" y="174"/>
                </a:cxn>
                <a:cxn ang="0">
                  <a:pos x="27" y="174"/>
                </a:cxn>
                <a:cxn ang="0">
                  <a:pos x="34" y="174"/>
                </a:cxn>
                <a:cxn ang="0">
                  <a:pos x="44" y="177"/>
                </a:cxn>
                <a:cxn ang="0">
                  <a:pos x="44" y="183"/>
                </a:cxn>
                <a:cxn ang="0">
                  <a:pos x="9" y="208"/>
                </a:cxn>
                <a:cxn ang="0">
                  <a:pos x="12" y="211"/>
                </a:cxn>
                <a:cxn ang="0">
                  <a:pos x="19" y="206"/>
                </a:cxn>
                <a:cxn ang="0">
                  <a:pos x="37" y="203"/>
                </a:cxn>
                <a:cxn ang="0">
                  <a:pos x="53" y="199"/>
                </a:cxn>
              </a:cxnLst>
              <a:rect l="0" t="0" r="r" b="b"/>
              <a:pathLst>
                <a:path w="112" h="211">
                  <a:moveTo>
                    <a:pt x="53" y="199"/>
                  </a:moveTo>
                  <a:lnTo>
                    <a:pt x="53" y="199"/>
                  </a:lnTo>
                  <a:lnTo>
                    <a:pt x="53" y="197"/>
                  </a:lnTo>
                  <a:lnTo>
                    <a:pt x="56" y="197"/>
                  </a:lnTo>
                  <a:lnTo>
                    <a:pt x="59" y="197"/>
                  </a:lnTo>
                  <a:lnTo>
                    <a:pt x="60" y="197"/>
                  </a:lnTo>
                  <a:lnTo>
                    <a:pt x="59" y="196"/>
                  </a:lnTo>
                  <a:lnTo>
                    <a:pt x="66" y="195"/>
                  </a:lnTo>
                  <a:lnTo>
                    <a:pt x="66" y="195"/>
                  </a:lnTo>
                  <a:lnTo>
                    <a:pt x="69" y="193"/>
                  </a:lnTo>
                  <a:lnTo>
                    <a:pt x="69" y="192"/>
                  </a:lnTo>
                  <a:lnTo>
                    <a:pt x="70" y="192"/>
                  </a:lnTo>
                  <a:lnTo>
                    <a:pt x="72" y="193"/>
                  </a:lnTo>
                  <a:lnTo>
                    <a:pt x="75" y="192"/>
                  </a:lnTo>
                  <a:lnTo>
                    <a:pt x="75" y="193"/>
                  </a:lnTo>
                  <a:lnTo>
                    <a:pt x="76" y="195"/>
                  </a:lnTo>
                  <a:lnTo>
                    <a:pt x="86" y="193"/>
                  </a:lnTo>
                  <a:lnTo>
                    <a:pt x="89" y="193"/>
                  </a:lnTo>
                  <a:lnTo>
                    <a:pt x="102" y="190"/>
                  </a:lnTo>
                  <a:lnTo>
                    <a:pt x="102" y="189"/>
                  </a:lnTo>
                  <a:lnTo>
                    <a:pt x="108" y="184"/>
                  </a:lnTo>
                  <a:lnTo>
                    <a:pt x="108" y="181"/>
                  </a:lnTo>
                  <a:lnTo>
                    <a:pt x="108" y="181"/>
                  </a:lnTo>
                  <a:lnTo>
                    <a:pt x="98" y="181"/>
                  </a:lnTo>
                  <a:lnTo>
                    <a:pt x="98" y="179"/>
                  </a:lnTo>
                  <a:lnTo>
                    <a:pt x="96" y="177"/>
                  </a:lnTo>
                  <a:lnTo>
                    <a:pt x="99" y="176"/>
                  </a:lnTo>
                  <a:lnTo>
                    <a:pt x="99" y="174"/>
                  </a:lnTo>
                  <a:lnTo>
                    <a:pt x="101" y="173"/>
                  </a:lnTo>
                  <a:lnTo>
                    <a:pt x="101" y="173"/>
                  </a:lnTo>
                  <a:lnTo>
                    <a:pt x="99" y="171"/>
                  </a:lnTo>
                  <a:lnTo>
                    <a:pt x="101" y="170"/>
                  </a:lnTo>
                  <a:lnTo>
                    <a:pt x="102" y="170"/>
                  </a:lnTo>
                  <a:lnTo>
                    <a:pt x="104" y="171"/>
                  </a:lnTo>
                  <a:lnTo>
                    <a:pt x="105" y="170"/>
                  </a:lnTo>
                  <a:lnTo>
                    <a:pt x="106" y="168"/>
                  </a:lnTo>
                  <a:lnTo>
                    <a:pt x="105" y="165"/>
                  </a:lnTo>
                  <a:lnTo>
                    <a:pt x="106" y="167"/>
                  </a:lnTo>
                  <a:lnTo>
                    <a:pt x="108" y="165"/>
                  </a:lnTo>
                  <a:lnTo>
                    <a:pt x="111" y="163"/>
                  </a:lnTo>
                  <a:lnTo>
                    <a:pt x="112" y="154"/>
                  </a:lnTo>
                  <a:lnTo>
                    <a:pt x="111" y="149"/>
                  </a:lnTo>
                  <a:lnTo>
                    <a:pt x="109" y="147"/>
                  </a:lnTo>
                  <a:lnTo>
                    <a:pt x="105" y="144"/>
                  </a:lnTo>
                  <a:lnTo>
                    <a:pt x="95" y="144"/>
                  </a:lnTo>
                  <a:lnTo>
                    <a:pt x="93" y="148"/>
                  </a:lnTo>
                  <a:lnTo>
                    <a:pt x="92" y="147"/>
                  </a:lnTo>
                  <a:lnTo>
                    <a:pt x="88" y="147"/>
                  </a:lnTo>
                  <a:lnTo>
                    <a:pt x="89" y="144"/>
                  </a:lnTo>
                  <a:lnTo>
                    <a:pt x="92" y="139"/>
                  </a:lnTo>
                  <a:lnTo>
                    <a:pt x="93" y="138"/>
                  </a:lnTo>
                  <a:lnTo>
                    <a:pt x="93" y="136"/>
                  </a:lnTo>
                  <a:lnTo>
                    <a:pt x="88" y="129"/>
                  </a:lnTo>
                  <a:lnTo>
                    <a:pt x="86" y="129"/>
                  </a:lnTo>
                  <a:lnTo>
                    <a:pt x="83" y="125"/>
                  </a:lnTo>
                  <a:lnTo>
                    <a:pt x="85" y="125"/>
                  </a:lnTo>
                  <a:lnTo>
                    <a:pt x="86" y="128"/>
                  </a:lnTo>
                  <a:lnTo>
                    <a:pt x="91" y="128"/>
                  </a:lnTo>
                  <a:lnTo>
                    <a:pt x="91" y="128"/>
                  </a:lnTo>
                  <a:lnTo>
                    <a:pt x="89" y="123"/>
                  </a:lnTo>
                  <a:lnTo>
                    <a:pt x="85" y="119"/>
                  </a:lnTo>
                  <a:lnTo>
                    <a:pt x="85" y="115"/>
                  </a:lnTo>
                  <a:lnTo>
                    <a:pt x="79" y="106"/>
                  </a:lnTo>
                  <a:lnTo>
                    <a:pt x="73" y="104"/>
                  </a:lnTo>
                  <a:lnTo>
                    <a:pt x="72" y="103"/>
                  </a:lnTo>
                  <a:lnTo>
                    <a:pt x="66" y="90"/>
                  </a:lnTo>
                  <a:lnTo>
                    <a:pt x="66" y="81"/>
                  </a:lnTo>
                  <a:lnTo>
                    <a:pt x="60" y="75"/>
                  </a:lnTo>
                  <a:lnTo>
                    <a:pt x="59" y="72"/>
                  </a:lnTo>
                  <a:lnTo>
                    <a:pt x="51" y="68"/>
                  </a:lnTo>
                  <a:lnTo>
                    <a:pt x="50" y="68"/>
                  </a:lnTo>
                  <a:lnTo>
                    <a:pt x="46" y="70"/>
                  </a:lnTo>
                  <a:lnTo>
                    <a:pt x="41" y="70"/>
                  </a:lnTo>
                  <a:lnTo>
                    <a:pt x="41" y="68"/>
                  </a:lnTo>
                  <a:lnTo>
                    <a:pt x="41" y="67"/>
                  </a:lnTo>
                  <a:lnTo>
                    <a:pt x="43" y="65"/>
                  </a:lnTo>
                  <a:lnTo>
                    <a:pt x="48" y="64"/>
                  </a:lnTo>
                  <a:lnTo>
                    <a:pt x="50" y="62"/>
                  </a:lnTo>
                  <a:lnTo>
                    <a:pt x="48" y="59"/>
                  </a:lnTo>
                  <a:lnTo>
                    <a:pt x="47" y="58"/>
                  </a:lnTo>
                  <a:lnTo>
                    <a:pt x="46" y="56"/>
                  </a:lnTo>
                  <a:lnTo>
                    <a:pt x="48" y="58"/>
                  </a:lnTo>
                  <a:lnTo>
                    <a:pt x="50" y="56"/>
                  </a:lnTo>
                  <a:lnTo>
                    <a:pt x="51" y="54"/>
                  </a:lnTo>
                  <a:lnTo>
                    <a:pt x="51" y="52"/>
                  </a:lnTo>
                  <a:lnTo>
                    <a:pt x="56" y="46"/>
                  </a:lnTo>
                  <a:lnTo>
                    <a:pt x="59" y="38"/>
                  </a:lnTo>
                  <a:lnTo>
                    <a:pt x="61" y="33"/>
                  </a:lnTo>
                  <a:lnTo>
                    <a:pt x="61" y="27"/>
                  </a:lnTo>
                  <a:lnTo>
                    <a:pt x="60" y="26"/>
                  </a:lnTo>
                  <a:lnTo>
                    <a:pt x="44" y="26"/>
                  </a:lnTo>
                  <a:lnTo>
                    <a:pt x="41" y="25"/>
                  </a:lnTo>
                  <a:lnTo>
                    <a:pt x="31" y="27"/>
                  </a:lnTo>
                  <a:lnTo>
                    <a:pt x="30" y="29"/>
                  </a:lnTo>
                  <a:lnTo>
                    <a:pt x="28" y="29"/>
                  </a:lnTo>
                  <a:lnTo>
                    <a:pt x="30" y="27"/>
                  </a:lnTo>
                  <a:lnTo>
                    <a:pt x="30" y="26"/>
                  </a:lnTo>
                  <a:lnTo>
                    <a:pt x="27" y="26"/>
                  </a:lnTo>
                  <a:lnTo>
                    <a:pt x="27" y="26"/>
                  </a:lnTo>
                  <a:lnTo>
                    <a:pt x="31" y="25"/>
                  </a:lnTo>
                  <a:lnTo>
                    <a:pt x="32" y="22"/>
                  </a:lnTo>
                  <a:lnTo>
                    <a:pt x="28" y="22"/>
                  </a:lnTo>
                  <a:lnTo>
                    <a:pt x="30" y="19"/>
                  </a:lnTo>
                  <a:lnTo>
                    <a:pt x="30" y="20"/>
                  </a:lnTo>
                  <a:lnTo>
                    <a:pt x="32" y="17"/>
                  </a:lnTo>
                  <a:lnTo>
                    <a:pt x="37" y="13"/>
                  </a:lnTo>
                  <a:lnTo>
                    <a:pt x="40" y="10"/>
                  </a:lnTo>
                  <a:lnTo>
                    <a:pt x="43" y="7"/>
                  </a:lnTo>
                  <a:lnTo>
                    <a:pt x="43" y="1"/>
                  </a:lnTo>
                  <a:lnTo>
                    <a:pt x="40" y="0"/>
                  </a:lnTo>
                  <a:lnTo>
                    <a:pt x="25" y="3"/>
                  </a:lnTo>
                  <a:lnTo>
                    <a:pt x="25" y="3"/>
                  </a:lnTo>
                  <a:lnTo>
                    <a:pt x="21" y="1"/>
                  </a:lnTo>
                  <a:lnTo>
                    <a:pt x="18" y="1"/>
                  </a:lnTo>
                  <a:lnTo>
                    <a:pt x="15" y="7"/>
                  </a:lnTo>
                  <a:lnTo>
                    <a:pt x="15" y="10"/>
                  </a:lnTo>
                  <a:lnTo>
                    <a:pt x="12" y="10"/>
                  </a:lnTo>
                  <a:lnTo>
                    <a:pt x="12" y="14"/>
                  </a:lnTo>
                  <a:lnTo>
                    <a:pt x="11" y="14"/>
                  </a:lnTo>
                  <a:lnTo>
                    <a:pt x="11" y="16"/>
                  </a:lnTo>
                  <a:lnTo>
                    <a:pt x="14" y="19"/>
                  </a:lnTo>
                  <a:lnTo>
                    <a:pt x="6" y="22"/>
                  </a:lnTo>
                  <a:lnTo>
                    <a:pt x="6" y="27"/>
                  </a:lnTo>
                  <a:lnTo>
                    <a:pt x="8" y="29"/>
                  </a:lnTo>
                  <a:lnTo>
                    <a:pt x="8" y="29"/>
                  </a:lnTo>
                  <a:lnTo>
                    <a:pt x="6" y="29"/>
                  </a:lnTo>
                  <a:lnTo>
                    <a:pt x="5" y="29"/>
                  </a:lnTo>
                  <a:lnTo>
                    <a:pt x="5" y="33"/>
                  </a:lnTo>
                  <a:lnTo>
                    <a:pt x="6" y="33"/>
                  </a:lnTo>
                  <a:lnTo>
                    <a:pt x="9" y="33"/>
                  </a:lnTo>
                  <a:lnTo>
                    <a:pt x="9" y="35"/>
                  </a:lnTo>
                  <a:lnTo>
                    <a:pt x="8" y="35"/>
                  </a:lnTo>
                  <a:lnTo>
                    <a:pt x="9" y="36"/>
                  </a:lnTo>
                  <a:lnTo>
                    <a:pt x="8" y="39"/>
                  </a:lnTo>
                  <a:lnTo>
                    <a:pt x="8" y="40"/>
                  </a:lnTo>
                  <a:lnTo>
                    <a:pt x="8" y="40"/>
                  </a:lnTo>
                  <a:lnTo>
                    <a:pt x="6" y="42"/>
                  </a:lnTo>
                  <a:lnTo>
                    <a:pt x="6" y="43"/>
                  </a:lnTo>
                  <a:lnTo>
                    <a:pt x="6" y="43"/>
                  </a:lnTo>
                  <a:lnTo>
                    <a:pt x="5" y="45"/>
                  </a:lnTo>
                  <a:lnTo>
                    <a:pt x="5" y="49"/>
                  </a:lnTo>
                  <a:lnTo>
                    <a:pt x="2" y="51"/>
                  </a:lnTo>
                  <a:lnTo>
                    <a:pt x="0" y="51"/>
                  </a:lnTo>
                  <a:lnTo>
                    <a:pt x="0" y="52"/>
                  </a:lnTo>
                  <a:lnTo>
                    <a:pt x="3" y="52"/>
                  </a:lnTo>
                  <a:lnTo>
                    <a:pt x="3" y="55"/>
                  </a:lnTo>
                  <a:lnTo>
                    <a:pt x="6" y="56"/>
                  </a:lnTo>
                  <a:lnTo>
                    <a:pt x="12" y="52"/>
                  </a:lnTo>
                  <a:lnTo>
                    <a:pt x="12" y="54"/>
                  </a:lnTo>
                  <a:lnTo>
                    <a:pt x="12" y="55"/>
                  </a:lnTo>
                  <a:lnTo>
                    <a:pt x="8" y="71"/>
                  </a:lnTo>
                  <a:lnTo>
                    <a:pt x="8" y="72"/>
                  </a:lnTo>
                  <a:lnTo>
                    <a:pt x="9" y="72"/>
                  </a:lnTo>
                  <a:lnTo>
                    <a:pt x="9" y="74"/>
                  </a:lnTo>
                  <a:lnTo>
                    <a:pt x="9" y="75"/>
                  </a:lnTo>
                  <a:lnTo>
                    <a:pt x="8" y="80"/>
                  </a:lnTo>
                  <a:lnTo>
                    <a:pt x="6" y="86"/>
                  </a:lnTo>
                  <a:lnTo>
                    <a:pt x="8" y="86"/>
                  </a:lnTo>
                  <a:lnTo>
                    <a:pt x="8" y="86"/>
                  </a:lnTo>
                  <a:lnTo>
                    <a:pt x="12" y="75"/>
                  </a:lnTo>
                  <a:lnTo>
                    <a:pt x="11" y="68"/>
                  </a:lnTo>
                  <a:lnTo>
                    <a:pt x="15" y="64"/>
                  </a:lnTo>
                  <a:lnTo>
                    <a:pt x="15" y="65"/>
                  </a:lnTo>
                  <a:lnTo>
                    <a:pt x="12" y="70"/>
                  </a:lnTo>
                  <a:lnTo>
                    <a:pt x="12" y="72"/>
                  </a:lnTo>
                  <a:lnTo>
                    <a:pt x="14" y="72"/>
                  </a:lnTo>
                  <a:lnTo>
                    <a:pt x="14" y="71"/>
                  </a:lnTo>
                  <a:lnTo>
                    <a:pt x="15" y="71"/>
                  </a:lnTo>
                  <a:lnTo>
                    <a:pt x="15" y="70"/>
                  </a:lnTo>
                  <a:lnTo>
                    <a:pt x="16" y="71"/>
                  </a:lnTo>
                  <a:lnTo>
                    <a:pt x="18" y="71"/>
                  </a:lnTo>
                  <a:lnTo>
                    <a:pt x="18" y="67"/>
                  </a:lnTo>
                  <a:lnTo>
                    <a:pt x="19" y="68"/>
                  </a:lnTo>
                  <a:lnTo>
                    <a:pt x="21" y="70"/>
                  </a:lnTo>
                  <a:lnTo>
                    <a:pt x="19" y="71"/>
                  </a:lnTo>
                  <a:lnTo>
                    <a:pt x="19" y="72"/>
                  </a:lnTo>
                  <a:lnTo>
                    <a:pt x="18" y="77"/>
                  </a:lnTo>
                  <a:lnTo>
                    <a:pt x="19" y="78"/>
                  </a:lnTo>
                  <a:lnTo>
                    <a:pt x="21" y="80"/>
                  </a:lnTo>
                  <a:lnTo>
                    <a:pt x="21" y="83"/>
                  </a:lnTo>
                  <a:lnTo>
                    <a:pt x="16" y="94"/>
                  </a:lnTo>
                  <a:lnTo>
                    <a:pt x="16" y="96"/>
                  </a:lnTo>
                  <a:lnTo>
                    <a:pt x="15" y="94"/>
                  </a:lnTo>
                  <a:lnTo>
                    <a:pt x="14" y="96"/>
                  </a:lnTo>
                  <a:lnTo>
                    <a:pt x="16" y="102"/>
                  </a:lnTo>
                  <a:lnTo>
                    <a:pt x="18" y="103"/>
                  </a:lnTo>
                  <a:lnTo>
                    <a:pt x="18" y="103"/>
                  </a:lnTo>
                  <a:lnTo>
                    <a:pt x="18" y="99"/>
                  </a:lnTo>
                  <a:lnTo>
                    <a:pt x="18" y="99"/>
                  </a:lnTo>
                  <a:lnTo>
                    <a:pt x="19" y="99"/>
                  </a:lnTo>
                  <a:lnTo>
                    <a:pt x="25" y="102"/>
                  </a:lnTo>
                  <a:lnTo>
                    <a:pt x="25" y="100"/>
                  </a:lnTo>
                  <a:lnTo>
                    <a:pt x="25" y="99"/>
                  </a:lnTo>
                  <a:lnTo>
                    <a:pt x="31" y="99"/>
                  </a:lnTo>
                  <a:lnTo>
                    <a:pt x="35" y="97"/>
                  </a:lnTo>
                  <a:lnTo>
                    <a:pt x="37" y="96"/>
                  </a:lnTo>
                  <a:lnTo>
                    <a:pt x="38" y="94"/>
                  </a:lnTo>
                  <a:lnTo>
                    <a:pt x="44" y="96"/>
                  </a:lnTo>
                  <a:lnTo>
                    <a:pt x="43" y="96"/>
                  </a:lnTo>
                  <a:lnTo>
                    <a:pt x="41" y="96"/>
                  </a:lnTo>
                  <a:lnTo>
                    <a:pt x="40" y="99"/>
                  </a:lnTo>
                  <a:lnTo>
                    <a:pt x="35" y="107"/>
                  </a:lnTo>
                  <a:lnTo>
                    <a:pt x="37" y="109"/>
                  </a:lnTo>
                  <a:lnTo>
                    <a:pt x="38" y="112"/>
                  </a:lnTo>
                  <a:lnTo>
                    <a:pt x="40" y="113"/>
                  </a:lnTo>
                  <a:lnTo>
                    <a:pt x="40" y="113"/>
                  </a:lnTo>
                  <a:lnTo>
                    <a:pt x="40" y="113"/>
                  </a:lnTo>
                  <a:lnTo>
                    <a:pt x="41" y="116"/>
                  </a:lnTo>
                  <a:lnTo>
                    <a:pt x="46" y="115"/>
                  </a:lnTo>
                  <a:lnTo>
                    <a:pt x="48" y="113"/>
                  </a:lnTo>
                  <a:lnTo>
                    <a:pt x="48" y="113"/>
                  </a:lnTo>
                  <a:lnTo>
                    <a:pt x="48" y="115"/>
                  </a:lnTo>
                  <a:lnTo>
                    <a:pt x="47" y="119"/>
                  </a:lnTo>
                  <a:lnTo>
                    <a:pt x="46" y="120"/>
                  </a:lnTo>
                  <a:lnTo>
                    <a:pt x="46" y="123"/>
                  </a:lnTo>
                  <a:lnTo>
                    <a:pt x="47" y="125"/>
                  </a:lnTo>
                  <a:lnTo>
                    <a:pt x="46" y="126"/>
                  </a:lnTo>
                  <a:lnTo>
                    <a:pt x="44" y="131"/>
                  </a:lnTo>
                  <a:lnTo>
                    <a:pt x="46" y="132"/>
                  </a:lnTo>
                  <a:lnTo>
                    <a:pt x="47" y="132"/>
                  </a:lnTo>
                  <a:lnTo>
                    <a:pt x="46" y="133"/>
                  </a:lnTo>
                  <a:lnTo>
                    <a:pt x="44" y="135"/>
                  </a:lnTo>
                  <a:lnTo>
                    <a:pt x="34" y="135"/>
                  </a:lnTo>
                  <a:lnTo>
                    <a:pt x="21" y="147"/>
                  </a:lnTo>
                  <a:lnTo>
                    <a:pt x="22" y="147"/>
                  </a:lnTo>
                  <a:lnTo>
                    <a:pt x="27" y="145"/>
                  </a:lnTo>
                  <a:lnTo>
                    <a:pt x="30" y="144"/>
                  </a:lnTo>
                  <a:lnTo>
                    <a:pt x="30" y="152"/>
                  </a:lnTo>
                  <a:lnTo>
                    <a:pt x="31" y="154"/>
                  </a:lnTo>
                  <a:lnTo>
                    <a:pt x="30" y="160"/>
                  </a:lnTo>
                  <a:lnTo>
                    <a:pt x="14" y="168"/>
                  </a:lnTo>
                  <a:lnTo>
                    <a:pt x="14" y="170"/>
                  </a:lnTo>
                  <a:lnTo>
                    <a:pt x="15" y="174"/>
                  </a:lnTo>
                  <a:lnTo>
                    <a:pt x="16" y="174"/>
                  </a:lnTo>
                  <a:lnTo>
                    <a:pt x="18" y="174"/>
                  </a:lnTo>
                  <a:lnTo>
                    <a:pt x="19" y="174"/>
                  </a:lnTo>
                  <a:lnTo>
                    <a:pt x="22" y="171"/>
                  </a:lnTo>
                  <a:lnTo>
                    <a:pt x="24" y="171"/>
                  </a:lnTo>
                  <a:lnTo>
                    <a:pt x="25" y="171"/>
                  </a:lnTo>
                  <a:lnTo>
                    <a:pt x="27" y="174"/>
                  </a:lnTo>
                  <a:lnTo>
                    <a:pt x="27" y="176"/>
                  </a:lnTo>
                  <a:lnTo>
                    <a:pt x="30" y="176"/>
                  </a:lnTo>
                  <a:lnTo>
                    <a:pt x="32" y="174"/>
                  </a:lnTo>
                  <a:lnTo>
                    <a:pt x="32" y="174"/>
                  </a:lnTo>
                  <a:lnTo>
                    <a:pt x="34" y="174"/>
                  </a:lnTo>
                  <a:lnTo>
                    <a:pt x="37" y="179"/>
                  </a:lnTo>
                  <a:lnTo>
                    <a:pt x="40" y="180"/>
                  </a:lnTo>
                  <a:lnTo>
                    <a:pt x="41" y="180"/>
                  </a:lnTo>
                  <a:lnTo>
                    <a:pt x="43" y="179"/>
                  </a:lnTo>
                  <a:lnTo>
                    <a:pt x="44" y="177"/>
                  </a:lnTo>
                  <a:lnTo>
                    <a:pt x="51" y="171"/>
                  </a:lnTo>
                  <a:lnTo>
                    <a:pt x="51" y="174"/>
                  </a:lnTo>
                  <a:lnTo>
                    <a:pt x="46" y="180"/>
                  </a:lnTo>
                  <a:lnTo>
                    <a:pt x="46" y="183"/>
                  </a:lnTo>
                  <a:lnTo>
                    <a:pt x="44" y="183"/>
                  </a:lnTo>
                  <a:lnTo>
                    <a:pt x="30" y="184"/>
                  </a:lnTo>
                  <a:lnTo>
                    <a:pt x="28" y="187"/>
                  </a:lnTo>
                  <a:lnTo>
                    <a:pt x="25" y="189"/>
                  </a:lnTo>
                  <a:lnTo>
                    <a:pt x="24" y="193"/>
                  </a:lnTo>
                  <a:lnTo>
                    <a:pt x="9" y="208"/>
                  </a:lnTo>
                  <a:lnTo>
                    <a:pt x="8" y="209"/>
                  </a:lnTo>
                  <a:lnTo>
                    <a:pt x="8" y="211"/>
                  </a:lnTo>
                  <a:lnTo>
                    <a:pt x="9" y="209"/>
                  </a:lnTo>
                  <a:lnTo>
                    <a:pt x="9" y="208"/>
                  </a:lnTo>
                  <a:lnTo>
                    <a:pt x="12" y="211"/>
                  </a:lnTo>
                  <a:lnTo>
                    <a:pt x="14" y="209"/>
                  </a:lnTo>
                  <a:lnTo>
                    <a:pt x="15" y="211"/>
                  </a:lnTo>
                  <a:lnTo>
                    <a:pt x="16" y="209"/>
                  </a:lnTo>
                  <a:lnTo>
                    <a:pt x="16" y="208"/>
                  </a:lnTo>
                  <a:lnTo>
                    <a:pt x="19" y="206"/>
                  </a:lnTo>
                  <a:lnTo>
                    <a:pt x="21" y="203"/>
                  </a:lnTo>
                  <a:lnTo>
                    <a:pt x="28" y="203"/>
                  </a:lnTo>
                  <a:lnTo>
                    <a:pt x="34" y="205"/>
                  </a:lnTo>
                  <a:lnTo>
                    <a:pt x="35" y="205"/>
                  </a:lnTo>
                  <a:lnTo>
                    <a:pt x="37" y="203"/>
                  </a:lnTo>
                  <a:lnTo>
                    <a:pt x="38" y="197"/>
                  </a:lnTo>
                  <a:lnTo>
                    <a:pt x="40" y="196"/>
                  </a:lnTo>
                  <a:lnTo>
                    <a:pt x="41" y="196"/>
                  </a:lnTo>
                  <a:lnTo>
                    <a:pt x="48" y="195"/>
                  </a:lnTo>
                  <a:lnTo>
                    <a:pt x="53" y="19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599" name="Freeform 824"/>
            <p:cNvSpPr>
              <a:spLocks/>
            </p:cNvSpPr>
            <p:nvPr/>
          </p:nvSpPr>
          <p:spPr bwMode="auto">
            <a:xfrm>
              <a:off x="6039967" y="2201673"/>
              <a:ext cx="102703" cy="219053"/>
            </a:xfrm>
            <a:custGeom>
              <a:avLst/>
              <a:gdLst/>
              <a:ahLst/>
              <a:cxnLst>
                <a:cxn ang="0">
                  <a:pos x="59" y="197"/>
                </a:cxn>
                <a:cxn ang="0">
                  <a:pos x="69" y="193"/>
                </a:cxn>
                <a:cxn ang="0">
                  <a:pos x="75" y="193"/>
                </a:cxn>
                <a:cxn ang="0">
                  <a:pos x="102" y="189"/>
                </a:cxn>
                <a:cxn ang="0">
                  <a:pos x="98" y="179"/>
                </a:cxn>
                <a:cxn ang="0">
                  <a:pos x="101" y="173"/>
                </a:cxn>
                <a:cxn ang="0">
                  <a:pos x="105" y="170"/>
                </a:cxn>
                <a:cxn ang="0">
                  <a:pos x="111" y="163"/>
                </a:cxn>
                <a:cxn ang="0">
                  <a:pos x="95" y="144"/>
                </a:cxn>
                <a:cxn ang="0">
                  <a:pos x="92" y="139"/>
                </a:cxn>
                <a:cxn ang="0">
                  <a:pos x="83" y="125"/>
                </a:cxn>
                <a:cxn ang="0">
                  <a:pos x="89" y="123"/>
                </a:cxn>
                <a:cxn ang="0">
                  <a:pos x="72" y="103"/>
                </a:cxn>
                <a:cxn ang="0">
                  <a:pos x="51" y="68"/>
                </a:cxn>
                <a:cxn ang="0">
                  <a:pos x="41" y="67"/>
                </a:cxn>
                <a:cxn ang="0">
                  <a:pos x="47" y="58"/>
                </a:cxn>
                <a:cxn ang="0">
                  <a:pos x="51" y="52"/>
                </a:cxn>
                <a:cxn ang="0">
                  <a:pos x="60" y="26"/>
                </a:cxn>
                <a:cxn ang="0">
                  <a:pos x="28" y="29"/>
                </a:cxn>
                <a:cxn ang="0">
                  <a:pos x="31" y="25"/>
                </a:cxn>
                <a:cxn ang="0">
                  <a:pos x="32" y="17"/>
                </a:cxn>
                <a:cxn ang="0">
                  <a:pos x="40" y="0"/>
                </a:cxn>
                <a:cxn ang="0">
                  <a:pos x="15" y="7"/>
                </a:cxn>
                <a:cxn ang="0">
                  <a:pos x="11" y="16"/>
                </a:cxn>
                <a:cxn ang="0">
                  <a:pos x="8" y="29"/>
                </a:cxn>
                <a:cxn ang="0">
                  <a:pos x="9" y="33"/>
                </a:cxn>
                <a:cxn ang="0">
                  <a:pos x="8" y="40"/>
                </a:cxn>
                <a:cxn ang="0">
                  <a:pos x="5" y="45"/>
                </a:cxn>
                <a:cxn ang="0">
                  <a:pos x="3" y="52"/>
                </a:cxn>
                <a:cxn ang="0">
                  <a:pos x="12" y="55"/>
                </a:cxn>
                <a:cxn ang="0">
                  <a:pos x="9" y="75"/>
                </a:cxn>
                <a:cxn ang="0">
                  <a:pos x="12" y="75"/>
                </a:cxn>
                <a:cxn ang="0">
                  <a:pos x="12" y="72"/>
                </a:cxn>
                <a:cxn ang="0">
                  <a:pos x="16" y="71"/>
                </a:cxn>
                <a:cxn ang="0">
                  <a:pos x="19" y="71"/>
                </a:cxn>
                <a:cxn ang="0">
                  <a:pos x="21" y="83"/>
                </a:cxn>
                <a:cxn ang="0">
                  <a:pos x="16" y="102"/>
                </a:cxn>
                <a:cxn ang="0">
                  <a:pos x="19" y="99"/>
                </a:cxn>
                <a:cxn ang="0">
                  <a:pos x="35" y="97"/>
                </a:cxn>
                <a:cxn ang="0">
                  <a:pos x="41" y="96"/>
                </a:cxn>
                <a:cxn ang="0">
                  <a:pos x="40" y="113"/>
                </a:cxn>
                <a:cxn ang="0">
                  <a:pos x="48" y="113"/>
                </a:cxn>
                <a:cxn ang="0">
                  <a:pos x="46" y="123"/>
                </a:cxn>
                <a:cxn ang="0">
                  <a:pos x="47" y="132"/>
                </a:cxn>
                <a:cxn ang="0">
                  <a:pos x="22" y="147"/>
                </a:cxn>
                <a:cxn ang="0">
                  <a:pos x="30" y="160"/>
                </a:cxn>
                <a:cxn ang="0">
                  <a:pos x="18" y="174"/>
                </a:cxn>
                <a:cxn ang="0">
                  <a:pos x="27" y="174"/>
                </a:cxn>
                <a:cxn ang="0">
                  <a:pos x="34" y="174"/>
                </a:cxn>
                <a:cxn ang="0">
                  <a:pos x="44" y="177"/>
                </a:cxn>
                <a:cxn ang="0">
                  <a:pos x="44" y="183"/>
                </a:cxn>
                <a:cxn ang="0">
                  <a:pos x="9" y="208"/>
                </a:cxn>
                <a:cxn ang="0">
                  <a:pos x="12" y="211"/>
                </a:cxn>
                <a:cxn ang="0">
                  <a:pos x="19" y="206"/>
                </a:cxn>
                <a:cxn ang="0">
                  <a:pos x="37" y="203"/>
                </a:cxn>
                <a:cxn ang="0">
                  <a:pos x="53" y="199"/>
                </a:cxn>
              </a:cxnLst>
              <a:rect l="0" t="0" r="r" b="b"/>
              <a:pathLst>
                <a:path w="112" h="211">
                  <a:moveTo>
                    <a:pt x="53" y="199"/>
                  </a:moveTo>
                  <a:lnTo>
                    <a:pt x="53" y="199"/>
                  </a:lnTo>
                  <a:lnTo>
                    <a:pt x="53" y="197"/>
                  </a:lnTo>
                  <a:lnTo>
                    <a:pt x="56" y="197"/>
                  </a:lnTo>
                  <a:lnTo>
                    <a:pt x="59" y="197"/>
                  </a:lnTo>
                  <a:lnTo>
                    <a:pt x="60" y="197"/>
                  </a:lnTo>
                  <a:lnTo>
                    <a:pt x="59" y="196"/>
                  </a:lnTo>
                  <a:lnTo>
                    <a:pt x="66" y="195"/>
                  </a:lnTo>
                  <a:lnTo>
                    <a:pt x="66" y="195"/>
                  </a:lnTo>
                  <a:lnTo>
                    <a:pt x="69" y="193"/>
                  </a:lnTo>
                  <a:lnTo>
                    <a:pt x="69" y="192"/>
                  </a:lnTo>
                  <a:lnTo>
                    <a:pt x="70" y="192"/>
                  </a:lnTo>
                  <a:lnTo>
                    <a:pt x="72" y="193"/>
                  </a:lnTo>
                  <a:lnTo>
                    <a:pt x="75" y="192"/>
                  </a:lnTo>
                  <a:lnTo>
                    <a:pt x="75" y="193"/>
                  </a:lnTo>
                  <a:lnTo>
                    <a:pt x="76" y="195"/>
                  </a:lnTo>
                  <a:lnTo>
                    <a:pt x="86" y="193"/>
                  </a:lnTo>
                  <a:lnTo>
                    <a:pt x="89" y="193"/>
                  </a:lnTo>
                  <a:lnTo>
                    <a:pt x="102" y="190"/>
                  </a:lnTo>
                  <a:lnTo>
                    <a:pt x="102" y="189"/>
                  </a:lnTo>
                  <a:lnTo>
                    <a:pt x="108" y="184"/>
                  </a:lnTo>
                  <a:lnTo>
                    <a:pt x="108" y="181"/>
                  </a:lnTo>
                  <a:lnTo>
                    <a:pt x="108" y="181"/>
                  </a:lnTo>
                  <a:lnTo>
                    <a:pt x="98" y="181"/>
                  </a:lnTo>
                  <a:lnTo>
                    <a:pt x="98" y="179"/>
                  </a:lnTo>
                  <a:lnTo>
                    <a:pt x="96" y="177"/>
                  </a:lnTo>
                  <a:lnTo>
                    <a:pt x="99" y="176"/>
                  </a:lnTo>
                  <a:lnTo>
                    <a:pt x="99" y="174"/>
                  </a:lnTo>
                  <a:lnTo>
                    <a:pt x="101" y="173"/>
                  </a:lnTo>
                  <a:lnTo>
                    <a:pt x="101" y="173"/>
                  </a:lnTo>
                  <a:lnTo>
                    <a:pt x="99" y="171"/>
                  </a:lnTo>
                  <a:lnTo>
                    <a:pt x="101" y="170"/>
                  </a:lnTo>
                  <a:lnTo>
                    <a:pt x="102" y="170"/>
                  </a:lnTo>
                  <a:lnTo>
                    <a:pt x="104" y="171"/>
                  </a:lnTo>
                  <a:lnTo>
                    <a:pt x="105" y="170"/>
                  </a:lnTo>
                  <a:lnTo>
                    <a:pt x="106" y="168"/>
                  </a:lnTo>
                  <a:lnTo>
                    <a:pt x="105" y="165"/>
                  </a:lnTo>
                  <a:lnTo>
                    <a:pt x="106" y="167"/>
                  </a:lnTo>
                  <a:lnTo>
                    <a:pt x="108" y="165"/>
                  </a:lnTo>
                  <a:lnTo>
                    <a:pt x="111" y="163"/>
                  </a:lnTo>
                  <a:lnTo>
                    <a:pt x="112" y="154"/>
                  </a:lnTo>
                  <a:lnTo>
                    <a:pt x="111" y="149"/>
                  </a:lnTo>
                  <a:lnTo>
                    <a:pt x="109" y="147"/>
                  </a:lnTo>
                  <a:lnTo>
                    <a:pt x="105" y="144"/>
                  </a:lnTo>
                  <a:lnTo>
                    <a:pt x="95" y="144"/>
                  </a:lnTo>
                  <a:lnTo>
                    <a:pt x="93" y="148"/>
                  </a:lnTo>
                  <a:lnTo>
                    <a:pt x="92" y="147"/>
                  </a:lnTo>
                  <a:lnTo>
                    <a:pt x="88" y="147"/>
                  </a:lnTo>
                  <a:lnTo>
                    <a:pt x="89" y="144"/>
                  </a:lnTo>
                  <a:lnTo>
                    <a:pt x="92" y="139"/>
                  </a:lnTo>
                  <a:lnTo>
                    <a:pt x="93" y="138"/>
                  </a:lnTo>
                  <a:lnTo>
                    <a:pt x="93" y="136"/>
                  </a:lnTo>
                  <a:lnTo>
                    <a:pt x="88" y="129"/>
                  </a:lnTo>
                  <a:lnTo>
                    <a:pt x="86" y="129"/>
                  </a:lnTo>
                  <a:lnTo>
                    <a:pt x="83" y="125"/>
                  </a:lnTo>
                  <a:lnTo>
                    <a:pt x="85" y="125"/>
                  </a:lnTo>
                  <a:lnTo>
                    <a:pt x="86" y="128"/>
                  </a:lnTo>
                  <a:lnTo>
                    <a:pt x="91" y="128"/>
                  </a:lnTo>
                  <a:lnTo>
                    <a:pt x="91" y="128"/>
                  </a:lnTo>
                  <a:lnTo>
                    <a:pt x="89" y="123"/>
                  </a:lnTo>
                  <a:lnTo>
                    <a:pt x="85" y="119"/>
                  </a:lnTo>
                  <a:lnTo>
                    <a:pt x="85" y="115"/>
                  </a:lnTo>
                  <a:lnTo>
                    <a:pt x="79" y="106"/>
                  </a:lnTo>
                  <a:lnTo>
                    <a:pt x="73" y="104"/>
                  </a:lnTo>
                  <a:lnTo>
                    <a:pt x="72" y="103"/>
                  </a:lnTo>
                  <a:lnTo>
                    <a:pt x="66" y="90"/>
                  </a:lnTo>
                  <a:lnTo>
                    <a:pt x="66" y="81"/>
                  </a:lnTo>
                  <a:lnTo>
                    <a:pt x="60" y="75"/>
                  </a:lnTo>
                  <a:lnTo>
                    <a:pt x="59" y="72"/>
                  </a:lnTo>
                  <a:lnTo>
                    <a:pt x="51" y="68"/>
                  </a:lnTo>
                  <a:lnTo>
                    <a:pt x="50" y="68"/>
                  </a:lnTo>
                  <a:lnTo>
                    <a:pt x="46" y="70"/>
                  </a:lnTo>
                  <a:lnTo>
                    <a:pt x="41" y="70"/>
                  </a:lnTo>
                  <a:lnTo>
                    <a:pt x="41" y="68"/>
                  </a:lnTo>
                  <a:lnTo>
                    <a:pt x="41" y="67"/>
                  </a:lnTo>
                  <a:lnTo>
                    <a:pt x="43" y="65"/>
                  </a:lnTo>
                  <a:lnTo>
                    <a:pt x="48" y="64"/>
                  </a:lnTo>
                  <a:lnTo>
                    <a:pt x="50" y="62"/>
                  </a:lnTo>
                  <a:lnTo>
                    <a:pt x="48" y="59"/>
                  </a:lnTo>
                  <a:lnTo>
                    <a:pt x="47" y="58"/>
                  </a:lnTo>
                  <a:lnTo>
                    <a:pt x="46" y="56"/>
                  </a:lnTo>
                  <a:lnTo>
                    <a:pt x="48" y="58"/>
                  </a:lnTo>
                  <a:lnTo>
                    <a:pt x="50" y="56"/>
                  </a:lnTo>
                  <a:lnTo>
                    <a:pt x="51" y="54"/>
                  </a:lnTo>
                  <a:lnTo>
                    <a:pt x="51" y="52"/>
                  </a:lnTo>
                  <a:lnTo>
                    <a:pt x="56" y="46"/>
                  </a:lnTo>
                  <a:lnTo>
                    <a:pt x="59" y="38"/>
                  </a:lnTo>
                  <a:lnTo>
                    <a:pt x="61" y="33"/>
                  </a:lnTo>
                  <a:lnTo>
                    <a:pt x="61" y="27"/>
                  </a:lnTo>
                  <a:lnTo>
                    <a:pt x="60" y="26"/>
                  </a:lnTo>
                  <a:lnTo>
                    <a:pt x="44" y="26"/>
                  </a:lnTo>
                  <a:lnTo>
                    <a:pt x="41" y="25"/>
                  </a:lnTo>
                  <a:lnTo>
                    <a:pt x="31" y="27"/>
                  </a:lnTo>
                  <a:lnTo>
                    <a:pt x="30" y="29"/>
                  </a:lnTo>
                  <a:lnTo>
                    <a:pt x="28" y="29"/>
                  </a:lnTo>
                  <a:lnTo>
                    <a:pt x="30" y="27"/>
                  </a:lnTo>
                  <a:lnTo>
                    <a:pt x="30" y="26"/>
                  </a:lnTo>
                  <a:lnTo>
                    <a:pt x="27" y="26"/>
                  </a:lnTo>
                  <a:lnTo>
                    <a:pt x="27" y="26"/>
                  </a:lnTo>
                  <a:lnTo>
                    <a:pt x="31" y="25"/>
                  </a:lnTo>
                  <a:lnTo>
                    <a:pt x="32" y="22"/>
                  </a:lnTo>
                  <a:lnTo>
                    <a:pt x="28" y="22"/>
                  </a:lnTo>
                  <a:lnTo>
                    <a:pt x="30" y="19"/>
                  </a:lnTo>
                  <a:lnTo>
                    <a:pt x="30" y="20"/>
                  </a:lnTo>
                  <a:lnTo>
                    <a:pt x="32" y="17"/>
                  </a:lnTo>
                  <a:lnTo>
                    <a:pt x="37" y="13"/>
                  </a:lnTo>
                  <a:lnTo>
                    <a:pt x="40" y="10"/>
                  </a:lnTo>
                  <a:lnTo>
                    <a:pt x="43" y="7"/>
                  </a:lnTo>
                  <a:lnTo>
                    <a:pt x="43" y="1"/>
                  </a:lnTo>
                  <a:lnTo>
                    <a:pt x="40" y="0"/>
                  </a:lnTo>
                  <a:lnTo>
                    <a:pt x="25" y="3"/>
                  </a:lnTo>
                  <a:lnTo>
                    <a:pt x="25" y="3"/>
                  </a:lnTo>
                  <a:lnTo>
                    <a:pt x="21" y="1"/>
                  </a:lnTo>
                  <a:lnTo>
                    <a:pt x="18" y="1"/>
                  </a:lnTo>
                  <a:lnTo>
                    <a:pt x="15" y="7"/>
                  </a:lnTo>
                  <a:lnTo>
                    <a:pt x="15" y="10"/>
                  </a:lnTo>
                  <a:lnTo>
                    <a:pt x="12" y="10"/>
                  </a:lnTo>
                  <a:lnTo>
                    <a:pt x="12" y="14"/>
                  </a:lnTo>
                  <a:lnTo>
                    <a:pt x="11" y="14"/>
                  </a:lnTo>
                  <a:lnTo>
                    <a:pt x="11" y="16"/>
                  </a:lnTo>
                  <a:lnTo>
                    <a:pt x="14" y="19"/>
                  </a:lnTo>
                  <a:lnTo>
                    <a:pt x="6" y="22"/>
                  </a:lnTo>
                  <a:lnTo>
                    <a:pt x="6" y="27"/>
                  </a:lnTo>
                  <a:lnTo>
                    <a:pt x="8" y="29"/>
                  </a:lnTo>
                  <a:lnTo>
                    <a:pt x="8" y="29"/>
                  </a:lnTo>
                  <a:lnTo>
                    <a:pt x="6" y="29"/>
                  </a:lnTo>
                  <a:lnTo>
                    <a:pt x="5" y="29"/>
                  </a:lnTo>
                  <a:lnTo>
                    <a:pt x="5" y="33"/>
                  </a:lnTo>
                  <a:lnTo>
                    <a:pt x="6" y="33"/>
                  </a:lnTo>
                  <a:lnTo>
                    <a:pt x="9" y="33"/>
                  </a:lnTo>
                  <a:lnTo>
                    <a:pt x="9" y="35"/>
                  </a:lnTo>
                  <a:lnTo>
                    <a:pt x="8" y="35"/>
                  </a:lnTo>
                  <a:lnTo>
                    <a:pt x="9" y="36"/>
                  </a:lnTo>
                  <a:lnTo>
                    <a:pt x="8" y="39"/>
                  </a:lnTo>
                  <a:lnTo>
                    <a:pt x="8" y="40"/>
                  </a:lnTo>
                  <a:lnTo>
                    <a:pt x="8" y="40"/>
                  </a:lnTo>
                  <a:lnTo>
                    <a:pt x="6" y="42"/>
                  </a:lnTo>
                  <a:lnTo>
                    <a:pt x="6" y="43"/>
                  </a:lnTo>
                  <a:lnTo>
                    <a:pt x="6" y="43"/>
                  </a:lnTo>
                  <a:lnTo>
                    <a:pt x="5" y="45"/>
                  </a:lnTo>
                  <a:lnTo>
                    <a:pt x="5" y="49"/>
                  </a:lnTo>
                  <a:lnTo>
                    <a:pt x="2" y="51"/>
                  </a:lnTo>
                  <a:lnTo>
                    <a:pt x="0" y="51"/>
                  </a:lnTo>
                  <a:lnTo>
                    <a:pt x="0" y="52"/>
                  </a:lnTo>
                  <a:lnTo>
                    <a:pt x="3" y="52"/>
                  </a:lnTo>
                  <a:lnTo>
                    <a:pt x="3" y="55"/>
                  </a:lnTo>
                  <a:lnTo>
                    <a:pt x="6" y="56"/>
                  </a:lnTo>
                  <a:lnTo>
                    <a:pt x="12" y="52"/>
                  </a:lnTo>
                  <a:lnTo>
                    <a:pt x="12" y="54"/>
                  </a:lnTo>
                  <a:lnTo>
                    <a:pt x="12" y="55"/>
                  </a:lnTo>
                  <a:lnTo>
                    <a:pt x="8" y="71"/>
                  </a:lnTo>
                  <a:lnTo>
                    <a:pt x="8" y="72"/>
                  </a:lnTo>
                  <a:lnTo>
                    <a:pt x="9" y="72"/>
                  </a:lnTo>
                  <a:lnTo>
                    <a:pt x="9" y="74"/>
                  </a:lnTo>
                  <a:lnTo>
                    <a:pt x="9" y="75"/>
                  </a:lnTo>
                  <a:lnTo>
                    <a:pt x="8" y="80"/>
                  </a:lnTo>
                  <a:lnTo>
                    <a:pt x="6" y="86"/>
                  </a:lnTo>
                  <a:lnTo>
                    <a:pt x="8" y="86"/>
                  </a:lnTo>
                  <a:lnTo>
                    <a:pt x="8" y="86"/>
                  </a:lnTo>
                  <a:lnTo>
                    <a:pt x="12" y="75"/>
                  </a:lnTo>
                  <a:lnTo>
                    <a:pt x="11" y="68"/>
                  </a:lnTo>
                  <a:lnTo>
                    <a:pt x="15" y="64"/>
                  </a:lnTo>
                  <a:lnTo>
                    <a:pt x="15" y="65"/>
                  </a:lnTo>
                  <a:lnTo>
                    <a:pt x="12" y="70"/>
                  </a:lnTo>
                  <a:lnTo>
                    <a:pt x="12" y="72"/>
                  </a:lnTo>
                  <a:lnTo>
                    <a:pt x="14" y="72"/>
                  </a:lnTo>
                  <a:lnTo>
                    <a:pt x="14" y="71"/>
                  </a:lnTo>
                  <a:lnTo>
                    <a:pt x="15" y="71"/>
                  </a:lnTo>
                  <a:lnTo>
                    <a:pt x="15" y="70"/>
                  </a:lnTo>
                  <a:lnTo>
                    <a:pt x="16" y="71"/>
                  </a:lnTo>
                  <a:lnTo>
                    <a:pt x="18" y="71"/>
                  </a:lnTo>
                  <a:lnTo>
                    <a:pt x="18" y="67"/>
                  </a:lnTo>
                  <a:lnTo>
                    <a:pt x="19" y="68"/>
                  </a:lnTo>
                  <a:lnTo>
                    <a:pt x="21" y="70"/>
                  </a:lnTo>
                  <a:lnTo>
                    <a:pt x="19" y="71"/>
                  </a:lnTo>
                  <a:lnTo>
                    <a:pt x="19" y="72"/>
                  </a:lnTo>
                  <a:lnTo>
                    <a:pt x="18" y="77"/>
                  </a:lnTo>
                  <a:lnTo>
                    <a:pt x="19" y="78"/>
                  </a:lnTo>
                  <a:lnTo>
                    <a:pt x="21" y="80"/>
                  </a:lnTo>
                  <a:lnTo>
                    <a:pt x="21" y="83"/>
                  </a:lnTo>
                  <a:lnTo>
                    <a:pt x="16" y="94"/>
                  </a:lnTo>
                  <a:lnTo>
                    <a:pt x="16" y="96"/>
                  </a:lnTo>
                  <a:lnTo>
                    <a:pt x="15" y="94"/>
                  </a:lnTo>
                  <a:lnTo>
                    <a:pt x="14" y="96"/>
                  </a:lnTo>
                  <a:lnTo>
                    <a:pt x="16" y="102"/>
                  </a:lnTo>
                  <a:lnTo>
                    <a:pt x="18" y="103"/>
                  </a:lnTo>
                  <a:lnTo>
                    <a:pt x="18" y="103"/>
                  </a:lnTo>
                  <a:lnTo>
                    <a:pt x="18" y="99"/>
                  </a:lnTo>
                  <a:lnTo>
                    <a:pt x="18" y="99"/>
                  </a:lnTo>
                  <a:lnTo>
                    <a:pt x="19" y="99"/>
                  </a:lnTo>
                  <a:lnTo>
                    <a:pt x="25" y="102"/>
                  </a:lnTo>
                  <a:lnTo>
                    <a:pt x="25" y="100"/>
                  </a:lnTo>
                  <a:lnTo>
                    <a:pt x="25" y="99"/>
                  </a:lnTo>
                  <a:lnTo>
                    <a:pt x="31" y="99"/>
                  </a:lnTo>
                  <a:lnTo>
                    <a:pt x="35" y="97"/>
                  </a:lnTo>
                  <a:lnTo>
                    <a:pt x="37" y="96"/>
                  </a:lnTo>
                  <a:lnTo>
                    <a:pt x="38" y="94"/>
                  </a:lnTo>
                  <a:lnTo>
                    <a:pt x="44" y="96"/>
                  </a:lnTo>
                  <a:lnTo>
                    <a:pt x="43" y="96"/>
                  </a:lnTo>
                  <a:lnTo>
                    <a:pt x="41" y="96"/>
                  </a:lnTo>
                  <a:lnTo>
                    <a:pt x="40" y="99"/>
                  </a:lnTo>
                  <a:lnTo>
                    <a:pt x="35" y="107"/>
                  </a:lnTo>
                  <a:lnTo>
                    <a:pt x="37" y="109"/>
                  </a:lnTo>
                  <a:lnTo>
                    <a:pt x="38" y="112"/>
                  </a:lnTo>
                  <a:lnTo>
                    <a:pt x="40" y="113"/>
                  </a:lnTo>
                  <a:lnTo>
                    <a:pt x="40" y="113"/>
                  </a:lnTo>
                  <a:lnTo>
                    <a:pt x="40" y="113"/>
                  </a:lnTo>
                  <a:lnTo>
                    <a:pt x="41" y="116"/>
                  </a:lnTo>
                  <a:lnTo>
                    <a:pt x="46" y="115"/>
                  </a:lnTo>
                  <a:lnTo>
                    <a:pt x="48" y="113"/>
                  </a:lnTo>
                  <a:lnTo>
                    <a:pt x="48" y="113"/>
                  </a:lnTo>
                  <a:lnTo>
                    <a:pt x="48" y="115"/>
                  </a:lnTo>
                  <a:lnTo>
                    <a:pt x="47" y="119"/>
                  </a:lnTo>
                  <a:lnTo>
                    <a:pt x="46" y="120"/>
                  </a:lnTo>
                  <a:lnTo>
                    <a:pt x="46" y="123"/>
                  </a:lnTo>
                  <a:lnTo>
                    <a:pt x="47" y="125"/>
                  </a:lnTo>
                  <a:lnTo>
                    <a:pt x="46" y="126"/>
                  </a:lnTo>
                  <a:lnTo>
                    <a:pt x="44" y="131"/>
                  </a:lnTo>
                  <a:lnTo>
                    <a:pt x="46" y="132"/>
                  </a:lnTo>
                  <a:lnTo>
                    <a:pt x="47" y="132"/>
                  </a:lnTo>
                  <a:lnTo>
                    <a:pt x="46" y="133"/>
                  </a:lnTo>
                  <a:lnTo>
                    <a:pt x="44" y="135"/>
                  </a:lnTo>
                  <a:lnTo>
                    <a:pt x="34" y="135"/>
                  </a:lnTo>
                  <a:lnTo>
                    <a:pt x="21" y="147"/>
                  </a:lnTo>
                  <a:lnTo>
                    <a:pt x="22" y="147"/>
                  </a:lnTo>
                  <a:lnTo>
                    <a:pt x="27" y="145"/>
                  </a:lnTo>
                  <a:lnTo>
                    <a:pt x="30" y="144"/>
                  </a:lnTo>
                  <a:lnTo>
                    <a:pt x="30" y="152"/>
                  </a:lnTo>
                  <a:lnTo>
                    <a:pt x="31" y="154"/>
                  </a:lnTo>
                  <a:lnTo>
                    <a:pt x="30" y="160"/>
                  </a:lnTo>
                  <a:lnTo>
                    <a:pt x="14" y="168"/>
                  </a:lnTo>
                  <a:lnTo>
                    <a:pt x="14" y="170"/>
                  </a:lnTo>
                  <a:lnTo>
                    <a:pt x="15" y="174"/>
                  </a:lnTo>
                  <a:lnTo>
                    <a:pt x="16" y="174"/>
                  </a:lnTo>
                  <a:lnTo>
                    <a:pt x="18" y="174"/>
                  </a:lnTo>
                  <a:lnTo>
                    <a:pt x="19" y="174"/>
                  </a:lnTo>
                  <a:lnTo>
                    <a:pt x="22" y="171"/>
                  </a:lnTo>
                  <a:lnTo>
                    <a:pt x="24" y="171"/>
                  </a:lnTo>
                  <a:lnTo>
                    <a:pt x="25" y="171"/>
                  </a:lnTo>
                  <a:lnTo>
                    <a:pt x="27" y="174"/>
                  </a:lnTo>
                  <a:lnTo>
                    <a:pt x="27" y="176"/>
                  </a:lnTo>
                  <a:lnTo>
                    <a:pt x="30" y="176"/>
                  </a:lnTo>
                  <a:lnTo>
                    <a:pt x="32" y="174"/>
                  </a:lnTo>
                  <a:lnTo>
                    <a:pt x="32" y="174"/>
                  </a:lnTo>
                  <a:lnTo>
                    <a:pt x="34" y="174"/>
                  </a:lnTo>
                  <a:lnTo>
                    <a:pt x="37" y="179"/>
                  </a:lnTo>
                  <a:lnTo>
                    <a:pt x="40" y="180"/>
                  </a:lnTo>
                  <a:lnTo>
                    <a:pt x="41" y="180"/>
                  </a:lnTo>
                  <a:lnTo>
                    <a:pt x="43" y="179"/>
                  </a:lnTo>
                  <a:lnTo>
                    <a:pt x="44" y="177"/>
                  </a:lnTo>
                  <a:lnTo>
                    <a:pt x="51" y="171"/>
                  </a:lnTo>
                  <a:lnTo>
                    <a:pt x="51" y="174"/>
                  </a:lnTo>
                  <a:lnTo>
                    <a:pt x="46" y="180"/>
                  </a:lnTo>
                  <a:lnTo>
                    <a:pt x="46" y="183"/>
                  </a:lnTo>
                  <a:lnTo>
                    <a:pt x="44" y="183"/>
                  </a:lnTo>
                  <a:lnTo>
                    <a:pt x="30" y="184"/>
                  </a:lnTo>
                  <a:lnTo>
                    <a:pt x="28" y="187"/>
                  </a:lnTo>
                  <a:lnTo>
                    <a:pt x="25" y="189"/>
                  </a:lnTo>
                  <a:lnTo>
                    <a:pt x="24" y="193"/>
                  </a:lnTo>
                  <a:lnTo>
                    <a:pt x="9" y="208"/>
                  </a:lnTo>
                  <a:lnTo>
                    <a:pt x="8" y="209"/>
                  </a:lnTo>
                  <a:lnTo>
                    <a:pt x="8" y="211"/>
                  </a:lnTo>
                  <a:lnTo>
                    <a:pt x="9" y="209"/>
                  </a:lnTo>
                  <a:lnTo>
                    <a:pt x="9" y="208"/>
                  </a:lnTo>
                  <a:lnTo>
                    <a:pt x="12" y="211"/>
                  </a:lnTo>
                  <a:lnTo>
                    <a:pt x="14" y="209"/>
                  </a:lnTo>
                  <a:lnTo>
                    <a:pt x="15" y="211"/>
                  </a:lnTo>
                  <a:lnTo>
                    <a:pt x="16" y="209"/>
                  </a:lnTo>
                  <a:lnTo>
                    <a:pt x="16" y="208"/>
                  </a:lnTo>
                  <a:lnTo>
                    <a:pt x="19" y="206"/>
                  </a:lnTo>
                  <a:lnTo>
                    <a:pt x="21" y="203"/>
                  </a:lnTo>
                  <a:lnTo>
                    <a:pt x="28" y="203"/>
                  </a:lnTo>
                  <a:lnTo>
                    <a:pt x="34" y="205"/>
                  </a:lnTo>
                  <a:lnTo>
                    <a:pt x="35" y="205"/>
                  </a:lnTo>
                  <a:lnTo>
                    <a:pt x="37" y="203"/>
                  </a:lnTo>
                  <a:lnTo>
                    <a:pt x="38" y="197"/>
                  </a:lnTo>
                  <a:lnTo>
                    <a:pt x="40" y="196"/>
                  </a:lnTo>
                  <a:lnTo>
                    <a:pt x="41" y="196"/>
                  </a:lnTo>
                  <a:lnTo>
                    <a:pt x="48" y="195"/>
                  </a:lnTo>
                  <a:lnTo>
                    <a:pt x="53" y="199"/>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00" name="Freeform 825"/>
            <p:cNvSpPr>
              <a:spLocks/>
            </p:cNvSpPr>
            <p:nvPr/>
          </p:nvSpPr>
          <p:spPr bwMode="auto">
            <a:xfrm>
              <a:off x="6101413" y="2404500"/>
              <a:ext cx="5267" cy="2029"/>
            </a:xfrm>
            <a:custGeom>
              <a:avLst/>
              <a:gdLst/>
              <a:ahLst/>
              <a:cxnLst>
                <a:cxn ang="0">
                  <a:pos x="3" y="0"/>
                </a:cxn>
                <a:cxn ang="0">
                  <a:pos x="3" y="0"/>
                </a:cxn>
                <a:cxn ang="0">
                  <a:pos x="2" y="0"/>
                </a:cxn>
                <a:cxn ang="0">
                  <a:pos x="0" y="1"/>
                </a:cxn>
                <a:cxn ang="0">
                  <a:pos x="0" y="1"/>
                </a:cxn>
                <a:cxn ang="0">
                  <a:pos x="0" y="2"/>
                </a:cxn>
                <a:cxn ang="0">
                  <a:pos x="3" y="2"/>
                </a:cxn>
                <a:cxn ang="0">
                  <a:pos x="5" y="2"/>
                </a:cxn>
                <a:cxn ang="0">
                  <a:pos x="6" y="1"/>
                </a:cxn>
                <a:cxn ang="0">
                  <a:pos x="6" y="1"/>
                </a:cxn>
                <a:cxn ang="0">
                  <a:pos x="3" y="0"/>
                </a:cxn>
              </a:cxnLst>
              <a:rect l="0" t="0" r="r" b="b"/>
              <a:pathLst>
                <a:path w="6" h="2">
                  <a:moveTo>
                    <a:pt x="3" y="0"/>
                  </a:moveTo>
                  <a:lnTo>
                    <a:pt x="3" y="0"/>
                  </a:lnTo>
                  <a:lnTo>
                    <a:pt x="2" y="0"/>
                  </a:lnTo>
                  <a:lnTo>
                    <a:pt x="0" y="1"/>
                  </a:lnTo>
                  <a:lnTo>
                    <a:pt x="0" y="1"/>
                  </a:lnTo>
                  <a:lnTo>
                    <a:pt x="0" y="2"/>
                  </a:lnTo>
                  <a:lnTo>
                    <a:pt x="3" y="2"/>
                  </a:lnTo>
                  <a:lnTo>
                    <a:pt x="5" y="2"/>
                  </a:lnTo>
                  <a:lnTo>
                    <a:pt x="6" y="1"/>
                  </a:lnTo>
                  <a:lnTo>
                    <a:pt x="6" y="1"/>
                  </a:lnTo>
                  <a:lnTo>
                    <a:pt x="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01" name="Freeform 826"/>
            <p:cNvSpPr>
              <a:spLocks/>
            </p:cNvSpPr>
            <p:nvPr/>
          </p:nvSpPr>
          <p:spPr bwMode="auto">
            <a:xfrm>
              <a:off x="6101413" y="2404500"/>
              <a:ext cx="5267" cy="2029"/>
            </a:xfrm>
            <a:custGeom>
              <a:avLst/>
              <a:gdLst/>
              <a:ahLst/>
              <a:cxnLst>
                <a:cxn ang="0">
                  <a:pos x="3" y="0"/>
                </a:cxn>
                <a:cxn ang="0">
                  <a:pos x="3" y="0"/>
                </a:cxn>
                <a:cxn ang="0">
                  <a:pos x="2" y="0"/>
                </a:cxn>
                <a:cxn ang="0">
                  <a:pos x="0" y="1"/>
                </a:cxn>
                <a:cxn ang="0">
                  <a:pos x="0" y="1"/>
                </a:cxn>
                <a:cxn ang="0">
                  <a:pos x="0" y="2"/>
                </a:cxn>
                <a:cxn ang="0">
                  <a:pos x="3" y="2"/>
                </a:cxn>
                <a:cxn ang="0">
                  <a:pos x="5" y="2"/>
                </a:cxn>
                <a:cxn ang="0">
                  <a:pos x="6" y="1"/>
                </a:cxn>
                <a:cxn ang="0">
                  <a:pos x="6" y="1"/>
                </a:cxn>
                <a:cxn ang="0">
                  <a:pos x="3" y="0"/>
                </a:cxn>
              </a:cxnLst>
              <a:rect l="0" t="0" r="r" b="b"/>
              <a:pathLst>
                <a:path w="6" h="2">
                  <a:moveTo>
                    <a:pt x="3" y="0"/>
                  </a:moveTo>
                  <a:lnTo>
                    <a:pt x="3" y="0"/>
                  </a:lnTo>
                  <a:lnTo>
                    <a:pt x="2" y="0"/>
                  </a:lnTo>
                  <a:lnTo>
                    <a:pt x="0" y="1"/>
                  </a:lnTo>
                  <a:lnTo>
                    <a:pt x="0" y="1"/>
                  </a:lnTo>
                  <a:lnTo>
                    <a:pt x="0" y="2"/>
                  </a:lnTo>
                  <a:lnTo>
                    <a:pt x="3" y="2"/>
                  </a:lnTo>
                  <a:lnTo>
                    <a:pt x="5" y="2"/>
                  </a:lnTo>
                  <a:lnTo>
                    <a:pt x="6" y="1"/>
                  </a:lnTo>
                  <a:lnTo>
                    <a:pt x="6" y="1"/>
                  </a:lnTo>
                  <a:lnTo>
                    <a:pt x="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02" name="Freeform 827"/>
            <p:cNvSpPr>
              <a:spLocks/>
            </p:cNvSpPr>
            <p:nvPr/>
          </p:nvSpPr>
          <p:spPr bwMode="auto">
            <a:xfrm>
              <a:off x="6062790" y="2338581"/>
              <a:ext cx="4389" cy="4057"/>
            </a:xfrm>
            <a:custGeom>
              <a:avLst/>
              <a:gdLst/>
              <a:ahLst/>
              <a:cxnLst>
                <a:cxn ang="0">
                  <a:pos x="3" y="4"/>
                </a:cxn>
                <a:cxn ang="0">
                  <a:pos x="5" y="3"/>
                </a:cxn>
                <a:cxn ang="0">
                  <a:pos x="2" y="1"/>
                </a:cxn>
                <a:cxn ang="0">
                  <a:pos x="0" y="0"/>
                </a:cxn>
                <a:cxn ang="0">
                  <a:pos x="3" y="4"/>
                </a:cxn>
              </a:cxnLst>
              <a:rect l="0" t="0" r="r" b="b"/>
              <a:pathLst>
                <a:path w="5" h="4">
                  <a:moveTo>
                    <a:pt x="3" y="4"/>
                  </a:moveTo>
                  <a:lnTo>
                    <a:pt x="5" y="3"/>
                  </a:lnTo>
                  <a:lnTo>
                    <a:pt x="2" y="1"/>
                  </a:lnTo>
                  <a:lnTo>
                    <a:pt x="0" y="0"/>
                  </a:lnTo>
                  <a:lnTo>
                    <a:pt x="3"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03" name="Freeform 828"/>
            <p:cNvSpPr>
              <a:spLocks/>
            </p:cNvSpPr>
            <p:nvPr/>
          </p:nvSpPr>
          <p:spPr bwMode="auto">
            <a:xfrm>
              <a:off x="6062790" y="2338581"/>
              <a:ext cx="4389" cy="4057"/>
            </a:xfrm>
            <a:custGeom>
              <a:avLst/>
              <a:gdLst/>
              <a:ahLst/>
              <a:cxnLst>
                <a:cxn ang="0">
                  <a:pos x="3" y="4"/>
                </a:cxn>
                <a:cxn ang="0">
                  <a:pos x="5" y="3"/>
                </a:cxn>
                <a:cxn ang="0">
                  <a:pos x="2" y="1"/>
                </a:cxn>
                <a:cxn ang="0">
                  <a:pos x="0" y="0"/>
                </a:cxn>
                <a:cxn ang="0">
                  <a:pos x="3" y="4"/>
                </a:cxn>
              </a:cxnLst>
              <a:rect l="0" t="0" r="r" b="b"/>
              <a:pathLst>
                <a:path w="5" h="4">
                  <a:moveTo>
                    <a:pt x="3" y="4"/>
                  </a:moveTo>
                  <a:lnTo>
                    <a:pt x="5" y="3"/>
                  </a:lnTo>
                  <a:lnTo>
                    <a:pt x="2" y="1"/>
                  </a:lnTo>
                  <a:lnTo>
                    <a:pt x="0" y="0"/>
                  </a:lnTo>
                  <a:lnTo>
                    <a:pt x="3"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04" name="Freeform 829"/>
            <p:cNvSpPr>
              <a:spLocks/>
            </p:cNvSpPr>
            <p:nvPr/>
          </p:nvSpPr>
          <p:spPr bwMode="auto">
            <a:xfrm>
              <a:off x="6057523" y="2315256"/>
              <a:ext cx="7022" cy="9127"/>
            </a:xfrm>
            <a:custGeom>
              <a:avLst/>
              <a:gdLst/>
              <a:ahLst/>
              <a:cxnLst>
                <a:cxn ang="0">
                  <a:pos x="6" y="0"/>
                </a:cxn>
                <a:cxn ang="0">
                  <a:pos x="0" y="9"/>
                </a:cxn>
                <a:cxn ang="0">
                  <a:pos x="3" y="7"/>
                </a:cxn>
                <a:cxn ang="0">
                  <a:pos x="6" y="6"/>
                </a:cxn>
                <a:cxn ang="0">
                  <a:pos x="8" y="4"/>
                </a:cxn>
                <a:cxn ang="0">
                  <a:pos x="8" y="1"/>
                </a:cxn>
                <a:cxn ang="0">
                  <a:pos x="6" y="0"/>
                </a:cxn>
              </a:cxnLst>
              <a:rect l="0" t="0" r="r" b="b"/>
              <a:pathLst>
                <a:path w="8" h="9">
                  <a:moveTo>
                    <a:pt x="6" y="0"/>
                  </a:moveTo>
                  <a:lnTo>
                    <a:pt x="0" y="9"/>
                  </a:lnTo>
                  <a:lnTo>
                    <a:pt x="3" y="7"/>
                  </a:lnTo>
                  <a:lnTo>
                    <a:pt x="6" y="6"/>
                  </a:lnTo>
                  <a:lnTo>
                    <a:pt x="8" y="4"/>
                  </a:lnTo>
                  <a:lnTo>
                    <a:pt x="8" y="1"/>
                  </a:lnTo>
                  <a:lnTo>
                    <a:pt x="6"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05" name="Freeform 830"/>
            <p:cNvSpPr>
              <a:spLocks/>
            </p:cNvSpPr>
            <p:nvPr/>
          </p:nvSpPr>
          <p:spPr bwMode="auto">
            <a:xfrm>
              <a:off x="6057523" y="2315256"/>
              <a:ext cx="7022" cy="9127"/>
            </a:xfrm>
            <a:custGeom>
              <a:avLst/>
              <a:gdLst/>
              <a:ahLst/>
              <a:cxnLst>
                <a:cxn ang="0">
                  <a:pos x="6" y="0"/>
                </a:cxn>
                <a:cxn ang="0">
                  <a:pos x="0" y="9"/>
                </a:cxn>
                <a:cxn ang="0">
                  <a:pos x="3" y="7"/>
                </a:cxn>
                <a:cxn ang="0">
                  <a:pos x="6" y="6"/>
                </a:cxn>
                <a:cxn ang="0">
                  <a:pos x="8" y="4"/>
                </a:cxn>
                <a:cxn ang="0">
                  <a:pos x="8" y="1"/>
                </a:cxn>
                <a:cxn ang="0">
                  <a:pos x="6" y="0"/>
                </a:cxn>
              </a:cxnLst>
              <a:rect l="0" t="0" r="r" b="b"/>
              <a:pathLst>
                <a:path w="8" h="9">
                  <a:moveTo>
                    <a:pt x="6" y="0"/>
                  </a:moveTo>
                  <a:lnTo>
                    <a:pt x="0" y="9"/>
                  </a:lnTo>
                  <a:lnTo>
                    <a:pt x="3" y="7"/>
                  </a:lnTo>
                  <a:lnTo>
                    <a:pt x="6" y="6"/>
                  </a:lnTo>
                  <a:lnTo>
                    <a:pt x="8" y="4"/>
                  </a:lnTo>
                  <a:lnTo>
                    <a:pt x="8" y="1"/>
                  </a:lnTo>
                  <a:lnTo>
                    <a:pt x="6"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06" name="Freeform 831"/>
            <p:cNvSpPr>
              <a:spLocks/>
            </p:cNvSpPr>
            <p:nvPr/>
          </p:nvSpPr>
          <p:spPr bwMode="auto">
            <a:xfrm>
              <a:off x="6050501" y="2281790"/>
              <a:ext cx="2634" cy="7099"/>
            </a:xfrm>
            <a:custGeom>
              <a:avLst/>
              <a:gdLst/>
              <a:ahLst/>
              <a:cxnLst>
                <a:cxn ang="0">
                  <a:pos x="0" y="0"/>
                </a:cxn>
                <a:cxn ang="0">
                  <a:pos x="0" y="0"/>
                </a:cxn>
                <a:cxn ang="0">
                  <a:pos x="0" y="4"/>
                </a:cxn>
                <a:cxn ang="0">
                  <a:pos x="2" y="7"/>
                </a:cxn>
                <a:cxn ang="0">
                  <a:pos x="3" y="6"/>
                </a:cxn>
                <a:cxn ang="0">
                  <a:pos x="3" y="3"/>
                </a:cxn>
                <a:cxn ang="0">
                  <a:pos x="3" y="0"/>
                </a:cxn>
                <a:cxn ang="0">
                  <a:pos x="0" y="0"/>
                </a:cxn>
              </a:cxnLst>
              <a:rect l="0" t="0" r="r" b="b"/>
              <a:pathLst>
                <a:path w="3" h="7">
                  <a:moveTo>
                    <a:pt x="0" y="0"/>
                  </a:moveTo>
                  <a:lnTo>
                    <a:pt x="0" y="0"/>
                  </a:lnTo>
                  <a:lnTo>
                    <a:pt x="0" y="4"/>
                  </a:lnTo>
                  <a:lnTo>
                    <a:pt x="2" y="7"/>
                  </a:lnTo>
                  <a:lnTo>
                    <a:pt x="3" y="6"/>
                  </a:lnTo>
                  <a:lnTo>
                    <a:pt x="3" y="3"/>
                  </a:lnTo>
                  <a:lnTo>
                    <a:pt x="3" y="0"/>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07" name="Freeform 832"/>
            <p:cNvSpPr>
              <a:spLocks/>
            </p:cNvSpPr>
            <p:nvPr/>
          </p:nvSpPr>
          <p:spPr bwMode="auto">
            <a:xfrm>
              <a:off x="6050501" y="2281790"/>
              <a:ext cx="2634" cy="7099"/>
            </a:xfrm>
            <a:custGeom>
              <a:avLst/>
              <a:gdLst/>
              <a:ahLst/>
              <a:cxnLst>
                <a:cxn ang="0">
                  <a:pos x="0" y="0"/>
                </a:cxn>
                <a:cxn ang="0">
                  <a:pos x="0" y="0"/>
                </a:cxn>
                <a:cxn ang="0">
                  <a:pos x="0" y="4"/>
                </a:cxn>
                <a:cxn ang="0">
                  <a:pos x="2" y="7"/>
                </a:cxn>
                <a:cxn ang="0">
                  <a:pos x="3" y="6"/>
                </a:cxn>
                <a:cxn ang="0">
                  <a:pos x="3" y="3"/>
                </a:cxn>
                <a:cxn ang="0">
                  <a:pos x="3" y="0"/>
                </a:cxn>
                <a:cxn ang="0">
                  <a:pos x="0" y="0"/>
                </a:cxn>
              </a:cxnLst>
              <a:rect l="0" t="0" r="r" b="b"/>
              <a:pathLst>
                <a:path w="3" h="7">
                  <a:moveTo>
                    <a:pt x="0" y="0"/>
                  </a:moveTo>
                  <a:lnTo>
                    <a:pt x="0" y="0"/>
                  </a:lnTo>
                  <a:lnTo>
                    <a:pt x="0" y="4"/>
                  </a:lnTo>
                  <a:lnTo>
                    <a:pt x="2" y="7"/>
                  </a:lnTo>
                  <a:lnTo>
                    <a:pt x="3" y="6"/>
                  </a:lnTo>
                  <a:lnTo>
                    <a:pt x="3" y="3"/>
                  </a:lnTo>
                  <a:lnTo>
                    <a:pt x="3" y="0"/>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08" name="Freeform 833"/>
            <p:cNvSpPr>
              <a:spLocks/>
            </p:cNvSpPr>
            <p:nvPr/>
          </p:nvSpPr>
          <p:spPr bwMode="auto">
            <a:xfrm>
              <a:off x="6034700" y="2276719"/>
              <a:ext cx="5267" cy="6085"/>
            </a:xfrm>
            <a:custGeom>
              <a:avLst/>
              <a:gdLst/>
              <a:ahLst/>
              <a:cxnLst>
                <a:cxn ang="0">
                  <a:pos x="5" y="0"/>
                </a:cxn>
                <a:cxn ang="0">
                  <a:pos x="5" y="0"/>
                </a:cxn>
                <a:cxn ang="0">
                  <a:pos x="4" y="0"/>
                </a:cxn>
                <a:cxn ang="0">
                  <a:pos x="1" y="2"/>
                </a:cxn>
                <a:cxn ang="0">
                  <a:pos x="0" y="5"/>
                </a:cxn>
                <a:cxn ang="0">
                  <a:pos x="1" y="5"/>
                </a:cxn>
                <a:cxn ang="0">
                  <a:pos x="3" y="3"/>
                </a:cxn>
                <a:cxn ang="0">
                  <a:pos x="4" y="6"/>
                </a:cxn>
                <a:cxn ang="0">
                  <a:pos x="5" y="5"/>
                </a:cxn>
                <a:cxn ang="0">
                  <a:pos x="5" y="3"/>
                </a:cxn>
                <a:cxn ang="0">
                  <a:pos x="5" y="0"/>
                </a:cxn>
              </a:cxnLst>
              <a:rect l="0" t="0" r="r" b="b"/>
              <a:pathLst>
                <a:path w="5" h="6">
                  <a:moveTo>
                    <a:pt x="5" y="0"/>
                  </a:moveTo>
                  <a:lnTo>
                    <a:pt x="5" y="0"/>
                  </a:lnTo>
                  <a:lnTo>
                    <a:pt x="4" y="0"/>
                  </a:lnTo>
                  <a:lnTo>
                    <a:pt x="1" y="2"/>
                  </a:lnTo>
                  <a:lnTo>
                    <a:pt x="0" y="5"/>
                  </a:lnTo>
                  <a:lnTo>
                    <a:pt x="1" y="5"/>
                  </a:lnTo>
                  <a:lnTo>
                    <a:pt x="3" y="3"/>
                  </a:lnTo>
                  <a:lnTo>
                    <a:pt x="4" y="6"/>
                  </a:lnTo>
                  <a:lnTo>
                    <a:pt x="5" y="5"/>
                  </a:lnTo>
                  <a:lnTo>
                    <a:pt x="5" y="3"/>
                  </a:lnTo>
                  <a:lnTo>
                    <a:pt x="5"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09" name="Freeform 834"/>
            <p:cNvSpPr>
              <a:spLocks/>
            </p:cNvSpPr>
            <p:nvPr/>
          </p:nvSpPr>
          <p:spPr bwMode="auto">
            <a:xfrm>
              <a:off x="6034700" y="2276719"/>
              <a:ext cx="5267" cy="6085"/>
            </a:xfrm>
            <a:custGeom>
              <a:avLst/>
              <a:gdLst/>
              <a:ahLst/>
              <a:cxnLst>
                <a:cxn ang="0">
                  <a:pos x="5" y="0"/>
                </a:cxn>
                <a:cxn ang="0">
                  <a:pos x="5" y="0"/>
                </a:cxn>
                <a:cxn ang="0">
                  <a:pos x="4" y="0"/>
                </a:cxn>
                <a:cxn ang="0">
                  <a:pos x="1" y="2"/>
                </a:cxn>
                <a:cxn ang="0">
                  <a:pos x="0" y="5"/>
                </a:cxn>
                <a:cxn ang="0">
                  <a:pos x="1" y="5"/>
                </a:cxn>
                <a:cxn ang="0">
                  <a:pos x="3" y="3"/>
                </a:cxn>
                <a:cxn ang="0">
                  <a:pos x="4" y="6"/>
                </a:cxn>
                <a:cxn ang="0">
                  <a:pos x="5" y="5"/>
                </a:cxn>
                <a:cxn ang="0">
                  <a:pos x="5" y="3"/>
                </a:cxn>
                <a:cxn ang="0">
                  <a:pos x="5" y="0"/>
                </a:cxn>
              </a:cxnLst>
              <a:rect l="0" t="0" r="r" b="b"/>
              <a:pathLst>
                <a:path w="5" h="6">
                  <a:moveTo>
                    <a:pt x="5" y="0"/>
                  </a:moveTo>
                  <a:lnTo>
                    <a:pt x="5" y="0"/>
                  </a:lnTo>
                  <a:lnTo>
                    <a:pt x="4" y="0"/>
                  </a:lnTo>
                  <a:lnTo>
                    <a:pt x="1" y="2"/>
                  </a:lnTo>
                  <a:lnTo>
                    <a:pt x="0" y="5"/>
                  </a:lnTo>
                  <a:lnTo>
                    <a:pt x="1" y="5"/>
                  </a:lnTo>
                  <a:lnTo>
                    <a:pt x="3" y="3"/>
                  </a:lnTo>
                  <a:lnTo>
                    <a:pt x="4" y="6"/>
                  </a:lnTo>
                  <a:lnTo>
                    <a:pt x="5" y="5"/>
                  </a:lnTo>
                  <a:lnTo>
                    <a:pt x="5" y="3"/>
                  </a:lnTo>
                  <a:lnTo>
                    <a:pt x="5"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10" name="Freeform 835"/>
            <p:cNvSpPr>
              <a:spLocks/>
            </p:cNvSpPr>
            <p:nvPr/>
          </p:nvSpPr>
          <p:spPr bwMode="auto">
            <a:xfrm>
              <a:off x="6041722" y="2270635"/>
              <a:ext cx="3511" cy="8113"/>
            </a:xfrm>
            <a:custGeom>
              <a:avLst/>
              <a:gdLst/>
              <a:ahLst/>
              <a:cxnLst>
                <a:cxn ang="0">
                  <a:pos x="4" y="0"/>
                </a:cxn>
                <a:cxn ang="0">
                  <a:pos x="3" y="1"/>
                </a:cxn>
                <a:cxn ang="0">
                  <a:pos x="1" y="3"/>
                </a:cxn>
                <a:cxn ang="0">
                  <a:pos x="1" y="4"/>
                </a:cxn>
                <a:cxn ang="0">
                  <a:pos x="0" y="5"/>
                </a:cxn>
                <a:cxn ang="0">
                  <a:pos x="0" y="7"/>
                </a:cxn>
                <a:cxn ang="0">
                  <a:pos x="1" y="7"/>
                </a:cxn>
                <a:cxn ang="0">
                  <a:pos x="4" y="0"/>
                </a:cxn>
              </a:cxnLst>
              <a:rect l="0" t="0" r="r" b="b"/>
              <a:pathLst>
                <a:path w="4" h="7">
                  <a:moveTo>
                    <a:pt x="4" y="0"/>
                  </a:moveTo>
                  <a:lnTo>
                    <a:pt x="3" y="1"/>
                  </a:lnTo>
                  <a:lnTo>
                    <a:pt x="1" y="3"/>
                  </a:lnTo>
                  <a:lnTo>
                    <a:pt x="1" y="4"/>
                  </a:lnTo>
                  <a:lnTo>
                    <a:pt x="0" y="5"/>
                  </a:lnTo>
                  <a:lnTo>
                    <a:pt x="0" y="7"/>
                  </a:lnTo>
                  <a:lnTo>
                    <a:pt x="1" y="7"/>
                  </a:lnTo>
                  <a:lnTo>
                    <a:pt x="4"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11" name="Freeform 836"/>
            <p:cNvSpPr>
              <a:spLocks/>
            </p:cNvSpPr>
            <p:nvPr/>
          </p:nvSpPr>
          <p:spPr bwMode="auto">
            <a:xfrm>
              <a:off x="6041722" y="2270635"/>
              <a:ext cx="3511" cy="8113"/>
            </a:xfrm>
            <a:custGeom>
              <a:avLst/>
              <a:gdLst/>
              <a:ahLst/>
              <a:cxnLst>
                <a:cxn ang="0">
                  <a:pos x="4" y="0"/>
                </a:cxn>
                <a:cxn ang="0">
                  <a:pos x="3" y="1"/>
                </a:cxn>
                <a:cxn ang="0">
                  <a:pos x="1" y="3"/>
                </a:cxn>
                <a:cxn ang="0">
                  <a:pos x="1" y="4"/>
                </a:cxn>
                <a:cxn ang="0">
                  <a:pos x="0" y="5"/>
                </a:cxn>
                <a:cxn ang="0">
                  <a:pos x="0" y="7"/>
                </a:cxn>
                <a:cxn ang="0">
                  <a:pos x="1" y="7"/>
                </a:cxn>
                <a:cxn ang="0">
                  <a:pos x="4" y="0"/>
                </a:cxn>
              </a:cxnLst>
              <a:rect l="0" t="0" r="r" b="b"/>
              <a:pathLst>
                <a:path w="4" h="7">
                  <a:moveTo>
                    <a:pt x="4" y="0"/>
                  </a:moveTo>
                  <a:lnTo>
                    <a:pt x="3" y="1"/>
                  </a:lnTo>
                  <a:lnTo>
                    <a:pt x="1" y="3"/>
                  </a:lnTo>
                  <a:lnTo>
                    <a:pt x="1" y="4"/>
                  </a:lnTo>
                  <a:lnTo>
                    <a:pt x="0" y="5"/>
                  </a:lnTo>
                  <a:lnTo>
                    <a:pt x="0" y="7"/>
                  </a:lnTo>
                  <a:lnTo>
                    <a:pt x="1" y="7"/>
                  </a:lnTo>
                  <a:lnTo>
                    <a:pt x="4"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12" name="Freeform 837"/>
            <p:cNvSpPr>
              <a:spLocks/>
            </p:cNvSpPr>
            <p:nvPr/>
          </p:nvSpPr>
          <p:spPr bwMode="auto">
            <a:xfrm>
              <a:off x="6038212" y="2257450"/>
              <a:ext cx="7022" cy="8113"/>
            </a:xfrm>
            <a:custGeom>
              <a:avLst/>
              <a:gdLst/>
              <a:ahLst/>
              <a:cxnLst>
                <a:cxn ang="0">
                  <a:pos x="0" y="7"/>
                </a:cxn>
                <a:cxn ang="0">
                  <a:pos x="0" y="7"/>
                </a:cxn>
                <a:cxn ang="0">
                  <a:pos x="0" y="8"/>
                </a:cxn>
                <a:cxn ang="0">
                  <a:pos x="1" y="8"/>
                </a:cxn>
                <a:cxn ang="0">
                  <a:pos x="4" y="8"/>
                </a:cxn>
                <a:cxn ang="0">
                  <a:pos x="5" y="7"/>
                </a:cxn>
                <a:cxn ang="0">
                  <a:pos x="8" y="5"/>
                </a:cxn>
                <a:cxn ang="0">
                  <a:pos x="8" y="4"/>
                </a:cxn>
                <a:cxn ang="0">
                  <a:pos x="4" y="1"/>
                </a:cxn>
                <a:cxn ang="0">
                  <a:pos x="2" y="0"/>
                </a:cxn>
                <a:cxn ang="0">
                  <a:pos x="1" y="0"/>
                </a:cxn>
                <a:cxn ang="0">
                  <a:pos x="1" y="1"/>
                </a:cxn>
                <a:cxn ang="0">
                  <a:pos x="1" y="2"/>
                </a:cxn>
                <a:cxn ang="0">
                  <a:pos x="2" y="4"/>
                </a:cxn>
                <a:cxn ang="0">
                  <a:pos x="2" y="5"/>
                </a:cxn>
                <a:cxn ang="0">
                  <a:pos x="2" y="5"/>
                </a:cxn>
                <a:cxn ang="0">
                  <a:pos x="2" y="7"/>
                </a:cxn>
                <a:cxn ang="0">
                  <a:pos x="1" y="7"/>
                </a:cxn>
                <a:cxn ang="0">
                  <a:pos x="0" y="7"/>
                </a:cxn>
              </a:cxnLst>
              <a:rect l="0" t="0" r="r" b="b"/>
              <a:pathLst>
                <a:path w="8" h="8">
                  <a:moveTo>
                    <a:pt x="0" y="7"/>
                  </a:moveTo>
                  <a:lnTo>
                    <a:pt x="0" y="7"/>
                  </a:lnTo>
                  <a:lnTo>
                    <a:pt x="0" y="8"/>
                  </a:lnTo>
                  <a:lnTo>
                    <a:pt x="1" y="8"/>
                  </a:lnTo>
                  <a:lnTo>
                    <a:pt x="4" y="8"/>
                  </a:lnTo>
                  <a:lnTo>
                    <a:pt x="5" y="7"/>
                  </a:lnTo>
                  <a:lnTo>
                    <a:pt x="8" y="5"/>
                  </a:lnTo>
                  <a:lnTo>
                    <a:pt x="8" y="4"/>
                  </a:lnTo>
                  <a:lnTo>
                    <a:pt x="4" y="1"/>
                  </a:lnTo>
                  <a:lnTo>
                    <a:pt x="2" y="0"/>
                  </a:lnTo>
                  <a:lnTo>
                    <a:pt x="1" y="0"/>
                  </a:lnTo>
                  <a:lnTo>
                    <a:pt x="1" y="1"/>
                  </a:lnTo>
                  <a:lnTo>
                    <a:pt x="1" y="2"/>
                  </a:lnTo>
                  <a:lnTo>
                    <a:pt x="2" y="4"/>
                  </a:lnTo>
                  <a:lnTo>
                    <a:pt x="2" y="5"/>
                  </a:lnTo>
                  <a:lnTo>
                    <a:pt x="2" y="5"/>
                  </a:lnTo>
                  <a:lnTo>
                    <a:pt x="2" y="7"/>
                  </a:lnTo>
                  <a:lnTo>
                    <a:pt x="1" y="7"/>
                  </a:lnTo>
                  <a:lnTo>
                    <a:pt x="0" y="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13" name="Freeform 838"/>
            <p:cNvSpPr>
              <a:spLocks/>
            </p:cNvSpPr>
            <p:nvPr/>
          </p:nvSpPr>
          <p:spPr bwMode="auto">
            <a:xfrm>
              <a:off x="6038212" y="2257450"/>
              <a:ext cx="7022" cy="8113"/>
            </a:xfrm>
            <a:custGeom>
              <a:avLst/>
              <a:gdLst/>
              <a:ahLst/>
              <a:cxnLst>
                <a:cxn ang="0">
                  <a:pos x="0" y="7"/>
                </a:cxn>
                <a:cxn ang="0">
                  <a:pos x="0" y="7"/>
                </a:cxn>
                <a:cxn ang="0">
                  <a:pos x="0" y="8"/>
                </a:cxn>
                <a:cxn ang="0">
                  <a:pos x="1" y="8"/>
                </a:cxn>
                <a:cxn ang="0">
                  <a:pos x="4" y="8"/>
                </a:cxn>
                <a:cxn ang="0">
                  <a:pos x="5" y="7"/>
                </a:cxn>
                <a:cxn ang="0">
                  <a:pos x="8" y="5"/>
                </a:cxn>
                <a:cxn ang="0">
                  <a:pos x="8" y="4"/>
                </a:cxn>
                <a:cxn ang="0">
                  <a:pos x="4" y="1"/>
                </a:cxn>
                <a:cxn ang="0">
                  <a:pos x="2" y="0"/>
                </a:cxn>
                <a:cxn ang="0">
                  <a:pos x="1" y="0"/>
                </a:cxn>
                <a:cxn ang="0">
                  <a:pos x="1" y="1"/>
                </a:cxn>
                <a:cxn ang="0">
                  <a:pos x="1" y="2"/>
                </a:cxn>
                <a:cxn ang="0">
                  <a:pos x="2" y="4"/>
                </a:cxn>
                <a:cxn ang="0">
                  <a:pos x="2" y="5"/>
                </a:cxn>
                <a:cxn ang="0">
                  <a:pos x="2" y="5"/>
                </a:cxn>
                <a:cxn ang="0">
                  <a:pos x="2" y="7"/>
                </a:cxn>
                <a:cxn ang="0">
                  <a:pos x="1" y="7"/>
                </a:cxn>
                <a:cxn ang="0">
                  <a:pos x="0" y="7"/>
                </a:cxn>
              </a:cxnLst>
              <a:rect l="0" t="0" r="r" b="b"/>
              <a:pathLst>
                <a:path w="8" h="8">
                  <a:moveTo>
                    <a:pt x="0" y="7"/>
                  </a:moveTo>
                  <a:lnTo>
                    <a:pt x="0" y="7"/>
                  </a:lnTo>
                  <a:lnTo>
                    <a:pt x="0" y="8"/>
                  </a:lnTo>
                  <a:lnTo>
                    <a:pt x="1" y="8"/>
                  </a:lnTo>
                  <a:lnTo>
                    <a:pt x="4" y="8"/>
                  </a:lnTo>
                  <a:lnTo>
                    <a:pt x="5" y="7"/>
                  </a:lnTo>
                  <a:lnTo>
                    <a:pt x="8" y="5"/>
                  </a:lnTo>
                  <a:lnTo>
                    <a:pt x="8" y="4"/>
                  </a:lnTo>
                  <a:lnTo>
                    <a:pt x="4" y="1"/>
                  </a:lnTo>
                  <a:lnTo>
                    <a:pt x="2" y="0"/>
                  </a:lnTo>
                  <a:lnTo>
                    <a:pt x="1" y="0"/>
                  </a:lnTo>
                  <a:lnTo>
                    <a:pt x="1" y="1"/>
                  </a:lnTo>
                  <a:lnTo>
                    <a:pt x="1" y="2"/>
                  </a:lnTo>
                  <a:lnTo>
                    <a:pt x="2" y="4"/>
                  </a:lnTo>
                  <a:lnTo>
                    <a:pt x="2" y="5"/>
                  </a:lnTo>
                  <a:lnTo>
                    <a:pt x="2" y="5"/>
                  </a:lnTo>
                  <a:lnTo>
                    <a:pt x="2" y="7"/>
                  </a:lnTo>
                  <a:lnTo>
                    <a:pt x="1" y="7"/>
                  </a:lnTo>
                  <a:lnTo>
                    <a:pt x="0" y="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14" name="Freeform 839"/>
            <p:cNvSpPr>
              <a:spLocks/>
            </p:cNvSpPr>
            <p:nvPr/>
          </p:nvSpPr>
          <p:spPr bwMode="auto">
            <a:xfrm>
              <a:off x="6032067" y="2227026"/>
              <a:ext cx="13166" cy="18254"/>
            </a:xfrm>
            <a:custGeom>
              <a:avLst/>
              <a:gdLst/>
              <a:ahLst/>
              <a:cxnLst>
                <a:cxn ang="0">
                  <a:pos x="6" y="0"/>
                </a:cxn>
                <a:cxn ang="0">
                  <a:pos x="6" y="0"/>
                </a:cxn>
                <a:cxn ang="0">
                  <a:pos x="4" y="5"/>
                </a:cxn>
                <a:cxn ang="0">
                  <a:pos x="3" y="4"/>
                </a:cxn>
                <a:cxn ang="0">
                  <a:pos x="1" y="5"/>
                </a:cxn>
                <a:cxn ang="0">
                  <a:pos x="0" y="8"/>
                </a:cxn>
                <a:cxn ang="0">
                  <a:pos x="1" y="8"/>
                </a:cxn>
                <a:cxn ang="0">
                  <a:pos x="3" y="8"/>
                </a:cxn>
                <a:cxn ang="0">
                  <a:pos x="4" y="11"/>
                </a:cxn>
                <a:cxn ang="0">
                  <a:pos x="6" y="13"/>
                </a:cxn>
                <a:cxn ang="0">
                  <a:pos x="6" y="14"/>
                </a:cxn>
                <a:cxn ang="0">
                  <a:pos x="11" y="14"/>
                </a:cxn>
                <a:cxn ang="0">
                  <a:pos x="11" y="17"/>
                </a:cxn>
                <a:cxn ang="0">
                  <a:pos x="13" y="15"/>
                </a:cxn>
                <a:cxn ang="0">
                  <a:pos x="14" y="13"/>
                </a:cxn>
                <a:cxn ang="0">
                  <a:pos x="10" y="11"/>
                </a:cxn>
                <a:cxn ang="0">
                  <a:pos x="10" y="11"/>
                </a:cxn>
                <a:cxn ang="0">
                  <a:pos x="10" y="8"/>
                </a:cxn>
                <a:cxn ang="0">
                  <a:pos x="8" y="5"/>
                </a:cxn>
                <a:cxn ang="0">
                  <a:pos x="7" y="2"/>
                </a:cxn>
                <a:cxn ang="0">
                  <a:pos x="6" y="0"/>
                </a:cxn>
              </a:cxnLst>
              <a:rect l="0" t="0" r="r" b="b"/>
              <a:pathLst>
                <a:path w="14" h="17">
                  <a:moveTo>
                    <a:pt x="6" y="0"/>
                  </a:moveTo>
                  <a:lnTo>
                    <a:pt x="6" y="0"/>
                  </a:lnTo>
                  <a:lnTo>
                    <a:pt x="4" y="5"/>
                  </a:lnTo>
                  <a:lnTo>
                    <a:pt x="3" y="4"/>
                  </a:lnTo>
                  <a:lnTo>
                    <a:pt x="1" y="5"/>
                  </a:lnTo>
                  <a:lnTo>
                    <a:pt x="0" y="8"/>
                  </a:lnTo>
                  <a:lnTo>
                    <a:pt x="1" y="8"/>
                  </a:lnTo>
                  <a:lnTo>
                    <a:pt x="3" y="8"/>
                  </a:lnTo>
                  <a:lnTo>
                    <a:pt x="4" y="11"/>
                  </a:lnTo>
                  <a:lnTo>
                    <a:pt x="6" y="13"/>
                  </a:lnTo>
                  <a:lnTo>
                    <a:pt x="6" y="14"/>
                  </a:lnTo>
                  <a:lnTo>
                    <a:pt x="11" y="14"/>
                  </a:lnTo>
                  <a:lnTo>
                    <a:pt x="11" y="17"/>
                  </a:lnTo>
                  <a:lnTo>
                    <a:pt x="13" y="15"/>
                  </a:lnTo>
                  <a:lnTo>
                    <a:pt x="14" y="13"/>
                  </a:lnTo>
                  <a:lnTo>
                    <a:pt x="10" y="11"/>
                  </a:lnTo>
                  <a:lnTo>
                    <a:pt x="10" y="11"/>
                  </a:lnTo>
                  <a:lnTo>
                    <a:pt x="10" y="8"/>
                  </a:lnTo>
                  <a:lnTo>
                    <a:pt x="8" y="5"/>
                  </a:lnTo>
                  <a:lnTo>
                    <a:pt x="7" y="2"/>
                  </a:lnTo>
                  <a:lnTo>
                    <a:pt x="6"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15" name="Freeform 840"/>
            <p:cNvSpPr>
              <a:spLocks/>
            </p:cNvSpPr>
            <p:nvPr/>
          </p:nvSpPr>
          <p:spPr bwMode="auto">
            <a:xfrm>
              <a:off x="6032067" y="2227026"/>
              <a:ext cx="13166" cy="18254"/>
            </a:xfrm>
            <a:custGeom>
              <a:avLst/>
              <a:gdLst/>
              <a:ahLst/>
              <a:cxnLst>
                <a:cxn ang="0">
                  <a:pos x="6" y="0"/>
                </a:cxn>
                <a:cxn ang="0">
                  <a:pos x="6" y="0"/>
                </a:cxn>
                <a:cxn ang="0">
                  <a:pos x="4" y="5"/>
                </a:cxn>
                <a:cxn ang="0">
                  <a:pos x="3" y="4"/>
                </a:cxn>
                <a:cxn ang="0">
                  <a:pos x="1" y="5"/>
                </a:cxn>
                <a:cxn ang="0">
                  <a:pos x="0" y="8"/>
                </a:cxn>
                <a:cxn ang="0">
                  <a:pos x="1" y="8"/>
                </a:cxn>
                <a:cxn ang="0">
                  <a:pos x="3" y="8"/>
                </a:cxn>
                <a:cxn ang="0">
                  <a:pos x="4" y="11"/>
                </a:cxn>
                <a:cxn ang="0">
                  <a:pos x="6" y="13"/>
                </a:cxn>
                <a:cxn ang="0">
                  <a:pos x="6" y="14"/>
                </a:cxn>
                <a:cxn ang="0">
                  <a:pos x="11" y="14"/>
                </a:cxn>
                <a:cxn ang="0">
                  <a:pos x="11" y="17"/>
                </a:cxn>
                <a:cxn ang="0">
                  <a:pos x="13" y="15"/>
                </a:cxn>
                <a:cxn ang="0">
                  <a:pos x="14" y="13"/>
                </a:cxn>
                <a:cxn ang="0">
                  <a:pos x="10" y="11"/>
                </a:cxn>
                <a:cxn ang="0">
                  <a:pos x="10" y="11"/>
                </a:cxn>
                <a:cxn ang="0">
                  <a:pos x="10" y="8"/>
                </a:cxn>
                <a:cxn ang="0">
                  <a:pos x="8" y="5"/>
                </a:cxn>
                <a:cxn ang="0">
                  <a:pos x="7" y="2"/>
                </a:cxn>
                <a:cxn ang="0">
                  <a:pos x="6" y="0"/>
                </a:cxn>
              </a:cxnLst>
              <a:rect l="0" t="0" r="r" b="b"/>
              <a:pathLst>
                <a:path w="14" h="17">
                  <a:moveTo>
                    <a:pt x="6" y="0"/>
                  </a:moveTo>
                  <a:lnTo>
                    <a:pt x="6" y="0"/>
                  </a:lnTo>
                  <a:lnTo>
                    <a:pt x="4" y="5"/>
                  </a:lnTo>
                  <a:lnTo>
                    <a:pt x="3" y="4"/>
                  </a:lnTo>
                  <a:lnTo>
                    <a:pt x="1" y="5"/>
                  </a:lnTo>
                  <a:lnTo>
                    <a:pt x="0" y="8"/>
                  </a:lnTo>
                  <a:lnTo>
                    <a:pt x="1" y="8"/>
                  </a:lnTo>
                  <a:lnTo>
                    <a:pt x="3" y="8"/>
                  </a:lnTo>
                  <a:lnTo>
                    <a:pt x="4" y="11"/>
                  </a:lnTo>
                  <a:lnTo>
                    <a:pt x="6" y="13"/>
                  </a:lnTo>
                  <a:lnTo>
                    <a:pt x="6" y="14"/>
                  </a:lnTo>
                  <a:lnTo>
                    <a:pt x="11" y="14"/>
                  </a:lnTo>
                  <a:lnTo>
                    <a:pt x="11" y="17"/>
                  </a:lnTo>
                  <a:lnTo>
                    <a:pt x="13" y="15"/>
                  </a:lnTo>
                  <a:lnTo>
                    <a:pt x="14" y="13"/>
                  </a:lnTo>
                  <a:lnTo>
                    <a:pt x="10" y="11"/>
                  </a:lnTo>
                  <a:lnTo>
                    <a:pt x="10" y="11"/>
                  </a:lnTo>
                  <a:lnTo>
                    <a:pt x="10" y="8"/>
                  </a:lnTo>
                  <a:lnTo>
                    <a:pt x="8" y="5"/>
                  </a:lnTo>
                  <a:lnTo>
                    <a:pt x="7" y="2"/>
                  </a:lnTo>
                  <a:lnTo>
                    <a:pt x="6"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16" name="Freeform 841"/>
            <p:cNvSpPr>
              <a:spLocks/>
            </p:cNvSpPr>
            <p:nvPr/>
          </p:nvSpPr>
          <p:spPr bwMode="auto">
            <a:xfrm>
              <a:off x="6305063" y="1850784"/>
              <a:ext cx="28968" cy="30424"/>
            </a:xfrm>
            <a:custGeom>
              <a:avLst/>
              <a:gdLst/>
              <a:ahLst/>
              <a:cxnLst>
                <a:cxn ang="0">
                  <a:pos x="19" y="1"/>
                </a:cxn>
                <a:cxn ang="0">
                  <a:pos x="22" y="0"/>
                </a:cxn>
                <a:cxn ang="0">
                  <a:pos x="24" y="4"/>
                </a:cxn>
                <a:cxn ang="0">
                  <a:pos x="22" y="7"/>
                </a:cxn>
                <a:cxn ang="0">
                  <a:pos x="24" y="5"/>
                </a:cxn>
                <a:cxn ang="0">
                  <a:pos x="24" y="8"/>
                </a:cxn>
                <a:cxn ang="0">
                  <a:pos x="22" y="14"/>
                </a:cxn>
                <a:cxn ang="0">
                  <a:pos x="22" y="13"/>
                </a:cxn>
                <a:cxn ang="0">
                  <a:pos x="24" y="13"/>
                </a:cxn>
                <a:cxn ang="0">
                  <a:pos x="25" y="8"/>
                </a:cxn>
                <a:cxn ang="0">
                  <a:pos x="28" y="7"/>
                </a:cxn>
                <a:cxn ang="0">
                  <a:pos x="27" y="5"/>
                </a:cxn>
                <a:cxn ang="0">
                  <a:pos x="28" y="3"/>
                </a:cxn>
                <a:cxn ang="0">
                  <a:pos x="31" y="4"/>
                </a:cxn>
                <a:cxn ang="0">
                  <a:pos x="32" y="7"/>
                </a:cxn>
                <a:cxn ang="0">
                  <a:pos x="32" y="10"/>
                </a:cxn>
                <a:cxn ang="0">
                  <a:pos x="32" y="13"/>
                </a:cxn>
                <a:cxn ang="0">
                  <a:pos x="31" y="14"/>
                </a:cxn>
                <a:cxn ang="0">
                  <a:pos x="28" y="16"/>
                </a:cxn>
                <a:cxn ang="0">
                  <a:pos x="27" y="17"/>
                </a:cxn>
                <a:cxn ang="0">
                  <a:pos x="25" y="20"/>
                </a:cxn>
                <a:cxn ang="0">
                  <a:pos x="24" y="19"/>
                </a:cxn>
                <a:cxn ang="0">
                  <a:pos x="21" y="21"/>
                </a:cxn>
                <a:cxn ang="0">
                  <a:pos x="21" y="23"/>
                </a:cxn>
                <a:cxn ang="0">
                  <a:pos x="19" y="24"/>
                </a:cxn>
                <a:cxn ang="0">
                  <a:pos x="18" y="23"/>
                </a:cxn>
                <a:cxn ang="0">
                  <a:pos x="18" y="20"/>
                </a:cxn>
                <a:cxn ang="0">
                  <a:pos x="18" y="19"/>
                </a:cxn>
                <a:cxn ang="0">
                  <a:pos x="13" y="24"/>
                </a:cxn>
                <a:cxn ang="0">
                  <a:pos x="8" y="29"/>
                </a:cxn>
                <a:cxn ang="0">
                  <a:pos x="9" y="26"/>
                </a:cxn>
                <a:cxn ang="0">
                  <a:pos x="6" y="26"/>
                </a:cxn>
                <a:cxn ang="0">
                  <a:pos x="5" y="29"/>
                </a:cxn>
                <a:cxn ang="0">
                  <a:pos x="0" y="30"/>
                </a:cxn>
                <a:cxn ang="0">
                  <a:pos x="0" y="29"/>
                </a:cxn>
                <a:cxn ang="0">
                  <a:pos x="0" y="26"/>
                </a:cxn>
                <a:cxn ang="0">
                  <a:pos x="2" y="24"/>
                </a:cxn>
                <a:cxn ang="0">
                  <a:pos x="3" y="23"/>
                </a:cxn>
                <a:cxn ang="0">
                  <a:pos x="5" y="23"/>
                </a:cxn>
                <a:cxn ang="0">
                  <a:pos x="6" y="21"/>
                </a:cxn>
                <a:cxn ang="0">
                  <a:pos x="8" y="21"/>
                </a:cxn>
                <a:cxn ang="0">
                  <a:pos x="9" y="20"/>
                </a:cxn>
                <a:cxn ang="0">
                  <a:pos x="15" y="19"/>
                </a:cxn>
                <a:cxn ang="0">
                  <a:pos x="13" y="16"/>
                </a:cxn>
                <a:cxn ang="0">
                  <a:pos x="18" y="13"/>
                </a:cxn>
                <a:cxn ang="0">
                  <a:pos x="18" y="10"/>
                </a:cxn>
                <a:cxn ang="0">
                  <a:pos x="18" y="8"/>
                </a:cxn>
                <a:cxn ang="0">
                  <a:pos x="19" y="4"/>
                </a:cxn>
                <a:cxn ang="0">
                  <a:pos x="19" y="1"/>
                </a:cxn>
              </a:cxnLst>
              <a:rect l="0" t="0" r="r" b="b"/>
              <a:pathLst>
                <a:path w="32" h="30">
                  <a:moveTo>
                    <a:pt x="19" y="1"/>
                  </a:moveTo>
                  <a:lnTo>
                    <a:pt x="22" y="0"/>
                  </a:lnTo>
                  <a:lnTo>
                    <a:pt x="24" y="4"/>
                  </a:lnTo>
                  <a:lnTo>
                    <a:pt x="22" y="7"/>
                  </a:lnTo>
                  <a:lnTo>
                    <a:pt x="24" y="5"/>
                  </a:lnTo>
                  <a:lnTo>
                    <a:pt x="24" y="8"/>
                  </a:lnTo>
                  <a:lnTo>
                    <a:pt x="22" y="14"/>
                  </a:lnTo>
                  <a:lnTo>
                    <a:pt x="22" y="13"/>
                  </a:lnTo>
                  <a:lnTo>
                    <a:pt x="24" y="13"/>
                  </a:lnTo>
                  <a:lnTo>
                    <a:pt x="25" y="8"/>
                  </a:lnTo>
                  <a:lnTo>
                    <a:pt x="28" y="7"/>
                  </a:lnTo>
                  <a:lnTo>
                    <a:pt x="27" y="5"/>
                  </a:lnTo>
                  <a:lnTo>
                    <a:pt x="28" y="3"/>
                  </a:lnTo>
                  <a:lnTo>
                    <a:pt x="31" y="4"/>
                  </a:lnTo>
                  <a:lnTo>
                    <a:pt x="32" y="7"/>
                  </a:lnTo>
                  <a:lnTo>
                    <a:pt x="32" y="10"/>
                  </a:lnTo>
                  <a:lnTo>
                    <a:pt x="32" y="13"/>
                  </a:lnTo>
                  <a:lnTo>
                    <a:pt x="31" y="14"/>
                  </a:lnTo>
                  <a:lnTo>
                    <a:pt x="28" y="16"/>
                  </a:lnTo>
                  <a:lnTo>
                    <a:pt x="27" y="17"/>
                  </a:lnTo>
                  <a:lnTo>
                    <a:pt x="25" y="20"/>
                  </a:lnTo>
                  <a:lnTo>
                    <a:pt x="24" y="19"/>
                  </a:lnTo>
                  <a:lnTo>
                    <a:pt x="21" y="21"/>
                  </a:lnTo>
                  <a:lnTo>
                    <a:pt x="21" y="23"/>
                  </a:lnTo>
                  <a:lnTo>
                    <a:pt x="19" y="24"/>
                  </a:lnTo>
                  <a:lnTo>
                    <a:pt x="18" y="23"/>
                  </a:lnTo>
                  <a:lnTo>
                    <a:pt x="18" y="20"/>
                  </a:lnTo>
                  <a:lnTo>
                    <a:pt x="18" y="19"/>
                  </a:lnTo>
                  <a:lnTo>
                    <a:pt x="13" y="24"/>
                  </a:lnTo>
                  <a:lnTo>
                    <a:pt x="8" y="29"/>
                  </a:lnTo>
                  <a:lnTo>
                    <a:pt x="9" y="26"/>
                  </a:lnTo>
                  <a:lnTo>
                    <a:pt x="6" y="26"/>
                  </a:lnTo>
                  <a:lnTo>
                    <a:pt x="5" y="29"/>
                  </a:lnTo>
                  <a:lnTo>
                    <a:pt x="0" y="30"/>
                  </a:lnTo>
                  <a:lnTo>
                    <a:pt x="0" y="29"/>
                  </a:lnTo>
                  <a:lnTo>
                    <a:pt x="0" y="26"/>
                  </a:lnTo>
                  <a:lnTo>
                    <a:pt x="2" y="24"/>
                  </a:lnTo>
                  <a:lnTo>
                    <a:pt x="3" y="23"/>
                  </a:lnTo>
                  <a:lnTo>
                    <a:pt x="5" y="23"/>
                  </a:lnTo>
                  <a:lnTo>
                    <a:pt x="6" y="21"/>
                  </a:lnTo>
                  <a:lnTo>
                    <a:pt x="8" y="21"/>
                  </a:lnTo>
                  <a:lnTo>
                    <a:pt x="9" y="20"/>
                  </a:lnTo>
                  <a:lnTo>
                    <a:pt x="15" y="19"/>
                  </a:lnTo>
                  <a:lnTo>
                    <a:pt x="13" y="16"/>
                  </a:lnTo>
                  <a:lnTo>
                    <a:pt x="18" y="13"/>
                  </a:lnTo>
                  <a:lnTo>
                    <a:pt x="18" y="10"/>
                  </a:lnTo>
                  <a:lnTo>
                    <a:pt x="18" y="8"/>
                  </a:lnTo>
                  <a:lnTo>
                    <a:pt x="19" y="4"/>
                  </a:lnTo>
                  <a:lnTo>
                    <a:pt x="19"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17" name="Freeform 842"/>
            <p:cNvSpPr>
              <a:spLocks/>
            </p:cNvSpPr>
            <p:nvPr/>
          </p:nvSpPr>
          <p:spPr bwMode="auto">
            <a:xfrm>
              <a:off x="6305063" y="1850784"/>
              <a:ext cx="28968" cy="30424"/>
            </a:xfrm>
            <a:custGeom>
              <a:avLst/>
              <a:gdLst/>
              <a:ahLst/>
              <a:cxnLst>
                <a:cxn ang="0">
                  <a:pos x="19" y="1"/>
                </a:cxn>
                <a:cxn ang="0">
                  <a:pos x="22" y="0"/>
                </a:cxn>
                <a:cxn ang="0">
                  <a:pos x="24" y="4"/>
                </a:cxn>
                <a:cxn ang="0">
                  <a:pos x="22" y="7"/>
                </a:cxn>
                <a:cxn ang="0">
                  <a:pos x="24" y="5"/>
                </a:cxn>
                <a:cxn ang="0">
                  <a:pos x="24" y="8"/>
                </a:cxn>
                <a:cxn ang="0">
                  <a:pos x="22" y="14"/>
                </a:cxn>
                <a:cxn ang="0">
                  <a:pos x="22" y="13"/>
                </a:cxn>
                <a:cxn ang="0">
                  <a:pos x="24" y="13"/>
                </a:cxn>
                <a:cxn ang="0">
                  <a:pos x="25" y="8"/>
                </a:cxn>
                <a:cxn ang="0">
                  <a:pos x="28" y="7"/>
                </a:cxn>
                <a:cxn ang="0">
                  <a:pos x="27" y="5"/>
                </a:cxn>
                <a:cxn ang="0">
                  <a:pos x="28" y="3"/>
                </a:cxn>
                <a:cxn ang="0">
                  <a:pos x="31" y="4"/>
                </a:cxn>
                <a:cxn ang="0">
                  <a:pos x="32" y="7"/>
                </a:cxn>
                <a:cxn ang="0">
                  <a:pos x="32" y="10"/>
                </a:cxn>
                <a:cxn ang="0">
                  <a:pos x="32" y="13"/>
                </a:cxn>
                <a:cxn ang="0">
                  <a:pos x="31" y="14"/>
                </a:cxn>
                <a:cxn ang="0">
                  <a:pos x="28" y="16"/>
                </a:cxn>
                <a:cxn ang="0">
                  <a:pos x="27" y="17"/>
                </a:cxn>
                <a:cxn ang="0">
                  <a:pos x="25" y="20"/>
                </a:cxn>
                <a:cxn ang="0">
                  <a:pos x="24" y="19"/>
                </a:cxn>
                <a:cxn ang="0">
                  <a:pos x="21" y="21"/>
                </a:cxn>
                <a:cxn ang="0">
                  <a:pos x="21" y="23"/>
                </a:cxn>
                <a:cxn ang="0">
                  <a:pos x="19" y="24"/>
                </a:cxn>
                <a:cxn ang="0">
                  <a:pos x="18" y="23"/>
                </a:cxn>
                <a:cxn ang="0">
                  <a:pos x="18" y="20"/>
                </a:cxn>
                <a:cxn ang="0">
                  <a:pos x="18" y="19"/>
                </a:cxn>
                <a:cxn ang="0">
                  <a:pos x="13" y="24"/>
                </a:cxn>
                <a:cxn ang="0">
                  <a:pos x="8" y="29"/>
                </a:cxn>
                <a:cxn ang="0">
                  <a:pos x="9" y="26"/>
                </a:cxn>
                <a:cxn ang="0">
                  <a:pos x="6" y="26"/>
                </a:cxn>
                <a:cxn ang="0">
                  <a:pos x="5" y="29"/>
                </a:cxn>
                <a:cxn ang="0">
                  <a:pos x="0" y="30"/>
                </a:cxn>
                <a:cxn ang="0">
                  <a:pos x="0" y="29"/>
                </a:cxn>
                <a:cxn ang="0">
                  <a:pos x="0" y="26"/>
                </a:cxn>
                <a:cxn ang="0">
                  <a:pos x="2" y="24"/>
                </a:cxn>
                <a:cxn ang="0">
                  <a:pos x="3" y="23"/>
                </a:cxn>
                <a:cxn ang="0">
                  <a:pos x="5" y="23"/>
                </a:cxn>
                <a:cxn ang="0">
                  <a:pos x="6" y="21"/>
                </a:cxn>
                <a:cxn ang="0">
                  <a:pos x="8" y="21"/>
                </a:cxn>
                <a:cxn ang="0">
                  <a:pos x="9" y="20"/>
                </a:cxn>
                <a:cxn ang="0">
                  <a:pos x="15" y="19"/>
                </a:cxn>
                <a:cxn ang="0">
                  <a:pos x="13" y="16"/>
                </a:cxn>
                <a:cxn ang="0">
                  <a:pos x="18" y="13"/>
                </a:cxn>
                <a:cxn ang="0">
                  <a:pos x="18" y="10"/>
                </a:cxn>
                <a:cxn ang="0">
                  <a:pos x="18" y="8"/>
                </a:cxn>
                <a:cxn ang="0">
                  <a:pos x="19" y="4"/>
                </a:cxn>
                <a:cxn ang="0">
                  <a:pos x="19" y="1"/>
                </a:cxn>
              </a:cxnLst>
              <a:rect l="0" t="0" r="r" b="b"/>
              <a:pathLst>
                <a:path w="32" h="30">
                  <a:moveTo>
                    <a:pt x="19" y="1"/>
                  </a:moveTo>
                  <a:lnTo>
                    <a:pt x="22" y="0"/>
                  </a:lnTo>
                  <a:lnTo>
                    <a:pt x="24" y="4"/>
                  </a:lnTo>
                  <a:lnTo>
                    <a:pt x="22" y="7"/>
                  </a:lnTo>
                  <a:lnTo>
                    <a:pt x="24" y="5"/>
                  </a:lnTo>
                  <a:lnTo>
                    <a:pt x="24" y="8"/>
                  </a:lnTo>
                  <a:lnTo>
                    <a:pt x="22" y="14"/>
                  </a:lnTo>
                  <a:lnTo>
                    <a:pt x="22" y="13"/>
                  </a:lnTo>
                  <a:lnTo>
                    <a:pt x="24" y="13"/>
                  </a:lnTo>
                  <a:lnTo>
                    <a:pt x="25" y="8"/>
                  </a:lnTo>
                  <a:lnTo>
                    <a:pt x="28" y="7"/>
                  </a:lnTo>
                  <a:lnTo>
                    <a:pt x="27" y="5"/>
                  </a:lnTo>
                  <a:lnTo>
                    <a:pt x="28" y="3"/>
                  </a:lnTo>
                  <a:lnTo>
                    <a:pt x="31" y="4"/>
                  </a:lnTo>
                  <a:lnTo>
                    <a:pt x="32" y="7"/>
                  </a:lnTo>
                  <a:lnTo>
                    <a:pt x="32" y="10"/>
                  </a:lnTo>
                  <a:lnTo>
                    <a:pt x="32" y="13"/>
                  </a:lnTo>
                  <a:lnTo>
                    <a:pt x="31" y="14"/>
                  </a:lnTo>
                  <a:lnTo>
                    <a:pt x="28" y="16"/>
                  </a:lnTo>
                  <a:lnTo>
                    <a:pt x="27" y="17"/>
                  </a:lnTo>
                  <a:lnTo>
                    <a:pt x="25" y="20"/>
                  </a:lnTo>
                  <a:lnTo>
                    <a:pt x="24" y="19"/>
                  </a:lnTo>
                  <a:lnTo>
                    <a:pt x="21" y="21"/>
                  </a:lnTo>
                  <a:lnTo>
                    <a:pt x="21" y="23"/>
                  </a:lnTo>
                  <a:lnTo>
                    <a:pt x="19" y="24"/>
                  </a:lnTo>
                  <a:lnTo>
                    <a:pt x="18" y="23"/>
                  </a:lnTo>
                  <a:lnTo>
                    <a:pt x="18" y="20"/>
                  </a:lnTo>
                  <a:lnTo>
                    <a:pt x="18" y="19"/>
                  </a:lnTo>
                  <a:lnTo>
                    <a:pt x="13" y="24"/>
                  </a:lnTo>
                  <a:lnTo>
                    <a:pt x="8" y="29"/>
                  </a:lnTo>
                  <a:lnTo>
                    <a:pt x="9" y="26"/>
                  </a:lnTo>
                  <a:lnTo>
                    <a:pt x="6" y="26"/>
                  </a:lnTo>
                  <a:lnTo>
                    <a:pt x="5" y="29"/>
                  </a:lnTo>
                  <a:lnTo>
                    <a:pt x="0" y="30"/>
                  </a:lnTo>
                  <a:lnTo>
                    <a:pt x="0" y="29"/>
                  </a:lnTo>
                  <a:lnTo>
                    <a:pt x="0" y="26"/>
                  </a:lnTo>
                  <a:lnTo>
                    <a:pt x="2" y="24"/>
                  </a:lnTo>
                  <a:lnTo>
                    <a:pt x="3" y="23"/>
                  </a:lnTo>
                  <a:lnTo>
                    <a:pt x="5" y="23"/>
                  </a:lnTo>
                  <a:lnTo>
                    <a:pt x="6" y="21"/>
                  </a:lnTo>
                  <a:lnTo>
                    <a:pt x="8" y="21"/>
                  </a:lnTo>
                  <a:lnTo>
                    <a:pt x="9" y="20"/>
                  </a:lnTo>
                  <a:lnTo>
                    <a:pt x="15" y="19"/>
                  </a:lnTo>
                  <a:lnTo>
                    <a:pt x="13" y="16"/>
                  </a:lnTo>
                  <a:lnTo>
                    <a:pt x="18" y="13"/>
                  </a:lnTo>
                  <a:lnTo>
                    <a:pt x="18" y="10"/>
                  </a:lnTo>
                  <a:lnTo>
                    <a:pt x="18" y="8"/>
                  </a:lnTo>
                  <a:lnTo>
                    <a:pt x="19" y="4"/>
                  </a:lnTo>
                  <a:lnTo>
                    <a:pt x="19"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18" name="Freeform 843"/>
            <p:cNvSpPr>
              <a:spLocks/>
            </p:cNvSpPr>
            <p:nvPr/>
          </p:nvSpPr>
          <p:spPr bwMode="auto">
            <a:xfrm>
              <a:off x="6306818" y="1850784"/>
              <a:ext cx="11412" cy="14198"/>
            </a:xfrm>
            <a:custGeom>
              <a:avLst/>
              <a:gdLst/>
              <a:ahLst/>
              <a:cxnLst>
                <a:cxn ang="0">
                  <a:pos x="1" y="10"/>
                </a:cxn>
                <a:cxn ang="0">
                  <a:pos x="1" y="10"/>
                </a:cxn>
                <a:cxn ang="0">
                  <a:pos x="1" y="8"/>
                </a:cxn>
                <a:cxn ang="0">
                  <a:pos x="1" y="7"/>
                </a:cxn>
                <a:cxn ang="0">
                  <a:pos x="3" y="8"/>
                </a:cxn>
                <a:cxn ang="0">
                  <a:pos x="3" y="7"/>
                </a:cxn>
                <a:cxn ang="0">
                  <a:pos x="6" y="7"/>
                </a:cxn>
                <a:cxn ang="0">
                  <a:pos x="6" y="5"/>
                </a:cxn>
                <a:cxn ang="0">
                  <a:pos x="6" y="3"/>
                </a:cxn>
                <a:cxn ang="0">
                  <a:pos x="7" y="5"/>
                </a:cxn>
                <a:cxn ang="0">
                  <a:pos x="10" y="5"/>
                </a:cxn>
                <a:cxn ang="0">
                  <a:pos x="10" y="0"/>
                </a:cxn>
                <a:cxn ang="0">
                  <a:pos x="13" y="5"/>
                </a:cxn>
                <a:cxn ang="0">
                  <a:pos x="13" y="13"/>
                </a:cxn>
                <a:cxn ang="0">
                  <a:pos x="11" y="13"/>
                </a:cxn>
                <a:cxn ang="0">
                  <a:pos x="10" y="14"/>
                </a:cxn>
                <a:cxn ang="0">
                  <a:pos x="7" y="14"/>
                </a:cxn>
                <a:cxn ang="0">
                  <a:pos x="7" y="13"/>
                </a:cxn>
                <a:cxn ang="0">
                  <a:pos x="9" y="11"/>
                </a:cxn>
                <a:cxn ang="0">
                  <a:pos x="10" y="8"/>
                </a:cxn>
                <a:cxn ang="0">
                  <a:pos x="7" y="11"/>
                </a:cxn>
                <a:cxn ang="0">
                  <a:pos x="6" y="11"/>
                </a:cxn>
                <a:cxn ang="0">
                  <a:pos x="1" y="14"/>
                </a:cxn>
                <a:cxn ang="0">
                  <a:pos x="0" y="13"/>
                </a:cxn>
                <a:cxn ang="0">
                  <a:pos x="1" y="10"/>
                </a:cxn>
              </a:cxnLst>
              <a:rect l="0" t="0" r="r" b="b"/>
              <a:pathLst>
                <a:path w="13" h="14">
                  <a:moveTo>
                    <a:pt x="1" y="10"/>
                  </a:moveTo>
                  <a:lnTo>
                    <a:pt x="1" y="10"/>
                  </a:lnTo>
                  <a:lnTo>
                    <a:pt x="1" y="8"/>
                  </a:lnTo>
                  <a:lnTo>
                    <a:pt x="1" y="7"/>
                  </a:lnTo>
                  <a:lnTo>
                    <a:pt x="3" y="8"/>
                  </a:lnTo>
                  <a:lnTo>
                    <a:pt x="3" y="7"/>
                  </a:lnTo>
                  <a:lnTo>
                    <a:pt x="6" y="7"/>
                  </a:lnTo>
                  <a:lnTo>
                    <a:pt x="6" y="5"/>
                  </a:lnTo>
                  <a:lnTo>
                    <a:pt x="6" y="3"/>
                  </a:lnTo>
                  <a:lnTo>
                    <a:pt x="7" y="5"/>
                  </a:lnTo>
                  <a:lnTo>
                    <a:pt x="10" y="5"/>
                  </a:lnTo>
                  <a:lnTo>
                    <a:pt x="10" y="0"/>
                  </a:lnTo>
                  <a:lnTo>
                    <a:pt x="13" y="5"/>
                  </a:lnTo>
                  <a:lnTo>
                    <a:pt x="13" y="13"/>
                  </a:lnTo>
                  <a:lnTo>
                    <a:pt x="11" y="13"/>
                  </a:lnTo>
                  <a:lnTo>
                    <a:pt x="10" y="14"/>
                  </a:lnTo>
                  <a:lnTo>
                    <a:pt x="7" y="14"/>
                  </a:lnTo>
                  <a:lnTo>
                    <a:pt x="7" y="13"/>
                  </a:lnTo>
                  <a:lnTo>
                    <a:pt x="9" y="11"/>
                  </a:lnTo>
                  <a:lnTo>
                    <a:pt x="10" y="8"/>
                  </a:lnTo>
                  <a:lnTo>
                    <a:pt x="7" y="11"/>
                  </a:lnTo>
                  <a:lnTo>
                    <a:pt x="6" y="11"/>
                  </a:lnTo>
                  <a:lnTo>
                    <a:pt x="1" y="14"/>
                  </a:lnTo>
                  <a:lnTo>
                    <a:pt x="0" y="13"/>
                  </a:lnTo>
                  <a:lnTo>
                    <a:pt x="1" y="1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19" name="Freeform 844"/>
            <p:cNvSpPr>
              <a:spLocks/>
            </p:cNvSpPr>
            <p:nvPr/>
          </p:nvSpPr>
          <p:spPr bwMode="auto">
            <a:xfrm>
              <a:off x="6306818" y="1850784"/>
              <a:ext cx="11412" cy="14198"/>
            </a:xfrm>
            <a:custGeom>
              <a:avLst/>
              <a:gdLst/>
              <a:ahLst/>
              <a:cxnLst>
                <a:cxn ang="0">
                  <a:pos x="1" y="10"/>
                </a:cxn>
                <a:cxn ang="0">
                  <a:pos x="1" y="10"/>
                </a:cxn>
                <a:cxn ang="0">
                  <a:pos x="1" y="8"/>
                </a:cxn>
                <a:cxn ang="0">
                  <a:pos x="1" y="7"/>
                </a:cxn>
                <a:cxn ang="0">
                  <a:pos x="3" y="8"/>
                </a:cxn>
                <a:cxn ang="0">
                  <a:pos x="3" y="7"/>
                </a:cxn>
                <a:cxn ang="0">
                  <a:pos x="6" y="7"/>
                </a:cxn>
                <a:cxn ang="0">
                  <a:pos x="6" y="5"/>
                </a:cxn>
                <a:cxn ang="0">
                  <a:pos x="6" y="3"/>
                </a:cxn>
                <a:cxn ang="0">
                  <a:pos x="7" y="5"/>
                </a:cxn>
                <a:cxn ang="0">
                  <a:pos x="10" y="5"/>
                </a:cxn>
                <a:cxn ang="0">
                  <a:pos x="10" y="0"/>
                </a:cxn>
                <a:cxn ang="0">
                  <a:pos x="13" y="5"/>
                </a:cxn>
                <a:cxn ang="0">
                  <a:pos x="13" y="13"/>
                </a:cxn>
                <a:cxn ang="0">
                  <a:pos x="11" y="13"/>
                </a:cxn>
                <a:cxn ang="0">
                  <a:pos x="10" y="14"/>
                </a:cxn>
                <a:cxn ang="0">
                  <a:pos x="7" y="14"/>
                </a:cxn>
                <a:cxn ang="0">
                  <a:pos x="7" y="13"/>
                </a:cxn>
                <a:cxn ang="0">
                  <a:pos x="9" y="11"/>
                </a:cxn>
                <a:cxn ang="0">
                  <a:pos x="10" y="8"/>
                </a:cxn>
                <a:cxn ang="0">
                  <a:pos x="7" y="11"/>
                </a:cxn>
                <a:cxn ang="0">
                  <a:pos x="6" y="11"/>
                </a:cxn>
                <a:cxn ang="0">
                  <a:pos x="1" y="14"/>
                </a:cxn>
                <a:cxn ang="0">
                  <a:pos x="0" y="13"/>
                </a:cxn>
                <a:cxn ang="0">
                  <a:pos x="1" y="10"/>
                </a:cxn>
              </a:cxnLst>
              <a:rect l="0" t="0" r="r" b="b"/>
              <a:pathLst>
                <a:path w="13" h="14">
                  <a:moveTo>
                    <a:pt x="1" y="10"/>
                  </a:moveTo>
                  <a:lnTo>
                    <a:pt x="1" y="10"/>
                  </a:lnTo>
                  <a:lnTo>
                    <a:pt x="1" y="8"/>
                  </a:lnTo>
                  <a:lnTo>
                    <a:pt x="1" y="7"/>
                  </a:lnTo>
                  <a:lnTo>
                    <a:pt x="3" y="8"/>
                  </a:lnTo>
                  <a:lnTo>
                    <a:pt x="3" y="7"/>
                  </a:lnTo>
                  <a:lnTo>
                    <a:pt x="6" y="7"/>
                  </a:lnTo>
                  <a:lnTo>
                    <a:pt x="6" y="5"/>
                  </a:lnTo>
                  <a:lnTo>
                    <a:pt x="6" y="3"/>
                  </a:lnTo>
                  <a:lnTo>
                    <a:pt x="7" y="5"/>
                  </a:lnTo>
                  <a:lnTo>
                    <a:pt x="10" y="5"/>
                  </a:lnTo>
                  <a:lnTo>
                    <a:pt x="10" y="0"/>
                  </a:lnTo>
                  <a:lnTo>
                    <a:pt x="13" y="5"/>
                  </a:lnTo>
                  <a:lnTo>
                    <a:pt x="13" y="13"/>
                  </a:lnTo>
                  <a:lnTo>
                    <a:pt x="11" y="13"/>
                  </a:lnTo>
                  <a:lnTo>
                    <a:pt x="10" y="14"/>
                  </a:lnTo>
                  <a:lnTo>
                    <a:pt x="7" y="14"/>
                  </a:lnTo>
                  <a:lnTo>
                    <a:pt x="7" y="13"/>
                  </a:lnTo>
                  <a:lnTo>
                    <a:pt x="9" y="11"/>
                  </a:lnTo>
                  <a:lnTo>
                    <a:pt x="10" y="8"/>
                  </a:lnTo>
                  <a:lnTo>
                    <a:pt x="7" y="11"/>
                  </a:lnTo>
                  <a:lnTo>
                    <a:pt x="6" y="11"/>
                  </a:lnTo>
                  <a:lnTo>
                    <a:pt x="1" y="14"/>
                  </a:lnTo>
                  <a:lnTo>
                    <a:pt x="0" y="13"/>
                  </a:lnTo>
                  <a:lnTo>
                    <a:pt x="1" y="1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20" name="Freeform 845"/>
            <p:cNvSpPr>
              <a:spLocks/>
            </p:cNvSpPr>
            <p:nvPr/>
          </p:nvSpPr>
          <p:spPr bwMode="auto">
            <a:xfrm>
              <a:off x="6320863" y="1834558"/>
              <a:ext cx="9656" cy="13183"/>
            </a:xfrm>
            <a:custGeom>
              <a:avLst/>
              <a:gdLst/>
              <a:ahLst/>
              <a:cxnLst>
                <a:cxn ang="0">
                  <a:pos x="4" y="5"/>
                </a:cxn>
                <a:cxn ang="0">
                  <a:pos x="6" y="5"/>
                </a:cxn>
                <a:cxn ang="0">
                  <a:pos x="6" y="0"/>
                </a:cxn>
                <a:cxn ang="0">
                  <a:pos x="7" y="0"/>
                </a:cxn>
                <a:cxn ang="0">
                  <a:pos x="10" y="2"/>
                </a:cxn>
                <a:cxn ang="0">
                  <a:pos x="7" y="10"/>
                </a:cxn>
                <a:cxn ang="0">
                  <a:pos x="3" y="13"/>
                </a:cxn>
                <a:cxn ang="0">
                  <a:pos x="1" y="13"/>
                </a:cxn>
                <a:cxn ang="0">
                  <a:pos x="0" y="12"/>
                </a:cxn>
                <a:cxn ang="0">
                  <a:pos x="1" y="9"/>
                </a:cxn>
                <a:cxn ang="0">
                  <a:pos x="4" y="6"/>
                </a:cxn>
                <a:cxn ang="0">
                  <a:pos x="4" y="5"/>
                </a:cxn>
              </a:cxnLst>
              <a:rect l="0" t="0" r="r" b="b"/>
              <a:pathLst>
                <a:path w="10" h="13">
                  <a:moveTo>
                    <a:pt x="4" y="5"/>
                  </a:moveTo>
                  <a:lnTo>
                    <a:pt x="6" y="5"/>
                  </a:lnTo>
                  <a:lnTo>
                    <a:pt x="6" y="0"/>
                  </a:lnTo>
                  <a:lnTo>
                    <a:pt x="7" y="0"/>
                  </a:lnTo>
                  <a:lnTo>
                    <a:pt x="10" y="2"/>
                  </a:lnTo>
                  <a:lnTo>
                    <a:pt x="7" y="10"/>
                  </a:lnTo>
                  <a:lnTo>
                    <a:pt x="3" y="13"/>
                  </a:lnTo>
                  <a:lnTo>
                    <a:pt x="1" y="13"/>
                  </a:lnTo>
                  <a:lnTo>
                    <a:pt x="0" y="12"/>
                  </a:lnTo>
                  <a:lnTo>
                    <a:pt x="1" y="9"/>
                  </a:lnTo>
                  <a:lnTo>
                    <a:pt x="4" y="6"/>
                  </a:lnTo>
                  <a:lnTo>
                    <a:pt x="4" y="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21" name="Freeform 846"/>
            <p:cNvSpPr>
              <a:spLocks/>
            </p:cNvSpPr>
            <p:nvPr/>
          </p:nvSpPr>
          <p:spPr bwMode="auto">
            <a:xfrm>
              <a:off x="6320863" y="1834558"/>
              <a:ext cx="9656" cy="13183"/>
            </a:xfrm>
            <a:custGeom>
              <a:avLst/>
              <a:gdLst/>
              <a:ahLst/>
              <a:cxnLst>
                <a:cxn ang="0">
                  <a:pos x="4" y="5"/>
                </a:cxn>
                <a:cxn ang="0">
                  <a:pos x="6" y="5"/>
                </a:cxn>
                <a:cxn ang="0">
                  <a:pos x="6" y="0"/>
                </a:cxn>
                <a:cxn ang="0">
                  <a:pos x="7" y="0"/>
                </a:cxn>
                <a:cxn ang="0">
                  <a:pos x="10" y="2"/>
                </a:cxn>
                <a:cxn ang="0">
                  <a:pos x="7" y="10"/>
                </a:cxn>
                <a:cxn ang="0">
                  <a:pos x="3" y="13"/>
                </a:cxn>
                <a:cxn ang="0">
                  <a:pos x="1" y="13"/>
                </a:cxn>
                <a:cxn ang="0">
                  <a:pos x="0" y="12"/>
                </a:cxn>
                <a:cxn ang="0">
                  <a:pos x="1" y="9"/>
                </a:cxn>
                <a:cxn ang="0">
                  <a:pos x="4" y="6"/>
                </a:cxn>
                <a:cxn ang="0">
                  <a:pos x="4" y="5"/>
                </a:cxn>
              </a:cxnLst>
              <a:rect l="0" t="0" r="r" b="b"/>
              <a:pathLst>
                <a:path w="10" h="13">
                  <a:moveTo>
                    <a:pt x="4" y="5"/>
                  </a:moveTo>
                  <a:lnTo>
                    <a:pt x="6" y="5"/>
                  </a:lnTo>
                  <a:lnTo>
                    <a:pt x="6" y="0"/>
                  </a:lnTo>
                  <a:lnTo>
                    <a:pt x="7" y="0"/>
                  </a:lnTo>
                  <a:lnTo>
                    <a:pt x="10" y="2"/>
                  </a:lnTo>
                  <a:lnTo>
                    <a:pt x="7" y="10"/>
                  </a:lnTo>
                  <a:lnTo>
                    <a:pt x="3" y="13"/>
                  </a:lnTo>
                  <a:lnTo>
                    <a:pt x="1" y="13"/>
                  </a:lnTo>
                  <a:lnTo>
                    <a:pt x="0" y="12"/>
                  </a:lnTo>
                  <a:lnTo>
                    <a:pt x="1" y="9"/>
                  </a:lnTo>
                  <a:lnTo>
                    <a:pt x="4" y="6"/>
                  </a:lnTo>
                  <a:lnTo>
                    <a:pt x="4" y="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22" name="Freeform 847"/>
            <p:cNvSpPr>
              <a:spLocks/>
            </p:cNvSpPr>
            <p:nvPr/>
          </p:nvSpPr>
          <p:spPr bwMode="auto">
            <a:xfrm>
              <a:off x="6310329" y="1892362"/>
              <a:ext cx="7901" cy="9128"/>
            </a:xfrm>
            <a:custGeom>
              <a:avLst/>
              <a:gdLst/>
              <a:ahLst/>
              <a:cxnLst>
                <a:cxn ang="0">
                  <a:pos x="3" y="5"/>
                </a:cxn>
                <a:cxn ang="0">
                  <a:pos x="3" y="5"/>
                </a:cxn>
                <a:cxn ang="0">
                  <a:pos x="2" y="2"/>
                </a:cxn>
                <a:cxn ang="0">
                  <a:pos x="5" y="3"/>
                </a:cxn>
                <a:cxn ang="0">
                  <a:pos x="6" y="2"/>
                </a:cxn>
                <a:cxn ang="0">
                  <a:pos x="9" y="0"/>
                </a:cxn>
                <a:cxn ang="0">
                  <a:pos x="9" y="2"/>
                </a:cxn>
                <a:cxn ang="0">
                  <a:pos x="9" y="3"/>
                </a:cxn>
                <a:cxn ang="0">
                  <a:pos x="7" y="5"/>
                </a:cxn>
                <a:cxn ang="0">
                  <a:pos x="6" y="8"/>
                </a:cxn>
                <a:cxn ang="0">
                  <a:pos x="3" y="9"/>
                </a:cxn>
                <a:cxn ang="0">
                  <a:pos x="2" y="9"/>
                </a:cxn>
                <a:cxn ang="0">
                  <a:pos x="0" y="8"/>
                </a:cxn>
                <a:cxn ang="0">
                  <a:pos x="2" y="6"/>
                </a:cxn>
                <a:cxn ang="0">
                  <a:pos x="5" y="5"/>
                </a:cxn>
                <a:cxn ang="0">
                  <a:pos x="3" y="5"/>
                </a:cxn>
              </a:cxnLst>
              <a:rect l="0" t="0" r="r" b="b"/>
              <a:pathLst>
                <a:path w="9" h="9">
                  <a:moveTo>
                    <a:pt x="3" y="5"/>
                  </a:moveTo>
                  <a:lnTo>
                    <a:pt x="3" y="5"/>
                  </a:lnTo>
                  <a:lnTo>
                    <a:pt x="2" y="2"/>
                  </a:lnTo>
                  <a:lnTo>
                    <a:pt x="5" y="3"/>
                  </a:lnTo>
                  <a:lnTo>
                    <a:pt x="6" y="2"/>
                  </a:lnTo>
                  <a:lnTo>
                    <a:pt x="9" y="0"/>
                  </a:lnTo>
                  <a:lnTo>
                    <a:pt x="9" y="2"/>
                  </a:lnTo>
                  <a:lnTo>
                    <a:pt x="9" y="3"/>
                  </a:lnTo>
                  <a:lnTo>
                    <a:pt x="7" y="5"/>
                  </a:lnTo>
                  <a:lnTo>
                    <a:pt x="6" y="8"/>
                  </a:lnTo>
                  <a:lnTo>
                    <a:pt x="3" y="9"/>
                  </a:lnTo>
                  <a:lnTo>
                    <a:pt x="2" y="9"/>
                  </a:lnTo>
                  <a:lnTo>
                    <a:pt x="0" y="8"/>
                  </a:lnTo>
                  <a:lnTo>
                    <a:pt x="2" y="6"/>
                  </a:lnTo>
                  <a:lnTo>
                    <a:pt x="5" y="5"/>
                  </a:lnTo>
                  <a:lnTo>
                    <a:pt x="3" y="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23" name="Freeform 848"/>
            <p:cNvSpPr>
              <a:spLocks/>
            </p:cNvSpPr>
            <p:nvPr/>
          </p:nvSpPr>
          <p:spPr bwMode="auto">
            <a:xfrm>
              <a:off x="6310329" y="1892362"/>
              <a:ext cx="7901" cy="9128"/>
            </a:xfrm>
            <a:custGeom>
              <a:avLst/>
              <a:gdLst/>
              <a:ahLst/>
              <a:cxnLst>
                <a:cxn ang="0">
                  <a:pos x="3" y="5"/>
                </a:cxn>
                <a:cxn ang="0">
                  <a:pos x="3" y="5"/>
                </a:cxn>
                <a:cxn ang="0">
                  <a:pos x="2" y="2"/>
                </a:cxn>
                <a:cxn ang="0">
                  <a:pos x="5" y="3"/>
                </a:cxn>
                <a:cxn ang="0">
                  <a:pos x="6" y="2"/>
                </a:cxn>
                <a:cxn ang="0">
                  <a:pos x="9" y="0"/>
                </a:cxn>
                <a:cxn ang="0">
                  <a:pos x="9" y="2"/>
                </a:cxn>
                <a:cxn ang="0">
                  <a:pos x="9" y="3"/>
                </a:cxn>
                <a:cxn ang="0">
                  <a:pos x="7" y="5"/>
                </a:cxn>
                <a:cxn ang="0">
                  <a:pos x="6" y="8"/>
                </a:cxn>
                <a:cxn ang="0">
                  <a:pos x="3" y="9"/>
                </a:cxn>
                <a:cxn ang="0">
                  <a:pos x="2" y="9"/>
                </a:cxn>
                <a:cxn ang="0">
                  <a:pos x="0" y="8"/>
                </a:cxn>
                <a:cxn ang="0">
                  <a:pos x="2" y="6"/>
                </a:cxn>
                <a:cxn ang="0">
                  <a:pos x="5" y="5"/>
                </a:cxn>
                <a:cxn ang="0">
                  <a:pos x="3" y="5"/>
                </a:cxn>
              </a:cxnLst>
              <a:rect l="0" t="0" r="r" b="b"/>
              <a:pathLst>
                <a:path w="9" h="9">
                  <a:moveTo>
                    <a:pt x="3" y="5"/>
                  </a:moveTo>
                  <a:lnTo>
                    <a:pt x="3" y="5"/>
                  </a:lnTo>
                  <a:lnTo>
                    <a:pt x="2" y="2"/>
                  </a:lnTo>
                  <a:lnTo>
                    <a:pt x="5" y="3"/>
                  </a:lnTo>
                  <a:lnTo>
                    <a:pt x="6" y="2"/>
                  </a:lnTo>
                  <a:lnTo>
                    <a:pt x="9" y="0"/>
                  </a:lnTo>
                  <a:lnTo>
                    <a:pt x="9" y="2"/>
                  </a:lnTo>
                  <a:lnTo>
                    <a:pt x="9" y="3"/>
                  </a:lnTo>
                  <a:lnTo>
                    <a:pt x="7" y="5"/>
                  </a:lnTo>
                  <a:lnTo>
                    <a:pt x="6" y="8"/>
                  </a:lnTo>
                  <a:lnTo>
                    <a:pt x="3" y="9"/>
                  </a:lnTo>
                  <a:lnTo>
                    <a:pt x="2" y="9"/>
                  </a:lnTo>
                  <a:lnTo>
                    <a:pt x="0" y="8"/>
                  </a:lnTo>
                  <a:lnTo>
                    <a:pt x="2" y="6"/>
                  </a:lnTo>
                  <a:lnTo>
                    <a:pt x="5" y="5"/>
                  </a:lnTo>
                  <a:lnTo>
                    <a:pt x="3" y="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24" name="Freeform 849"/>
            <p:cNvSpPr>
              <a:spLocks/>
            </p:cNvSpPr>
            <p:nvPr/>
          </p:nvSpPr>
          <p:spPr bwMode="auto">
            <a:xfrm>
              <a:off x="6338419" y="1824416"/>
              <a:ext cx="14923" cy="22311"/>
            </a:xfrm>
            <a:custGeom>
              <a:avLst/>
              <a:gdLst/>
              <a:ahLst/>
              <a:cxnLst>
                <a:cxn ang="0">
                  <a:pos x="1" y="15"/>
                </a:cxn>
                <a:cxn ang="0">
                  <a:pos x="0" y="13"/>
                </a:cxn>
                <a:cxn ang="0">
                  <a:pos x="1" y="15"/>
                </a:cxn>
                <a:cxn ang="0">
                  <a:pos x="3" y="13"/>
                </a:cxn>
                <a:cxn ang="0">
                  <a:pos x="3" y="12"/>
                </a:cxn>
                <a:cxn ang="0">
                  <a:pos x="1" y="10"/>
                </a:cxn>
                <a:cxn ang="0">
                  <a:pos x="3" y="10"/>
                </a:cxn>
                <a:cxn ang="0">
                  <a:pos x="1" y="9"/>
                </a:cxn>
                <a:cxn ang="0">
                  <a:pos x="3" y="7"/>
                </a:cxn>
                <a:cxn ang="0">
                  <a:pos x="6" y="9"/>
                </a:cxn>
                <a:cxn ang="0">
                  <a:pos x="7" y="6"/>
                </a:cxn>
                <a:cxn ang="0">
                  <a:pos x="6" y="4"/>
                </a:cxn>
                <a:cxn ang="0">
                  <a:pos x="7" y="3"/>
                </a:cxn>
                <a:cxn ang="0">
                  <a:pos x="8" y="4"/>
                </a:cxn>
                <a:cxn ang="0">
                  <a:pos x="10" y="3"/>
                </a:cxn>
                <a:cxn ang="0">
                  <a:pos x="8" y="0"/>
                </a:cxn>
                <a:cxn ang="0">
                  <a:pos x="10" y="3"/>
                </a:cxn>
                <a:cxn ang="0">
                  <a:pos x="11" y="0"/>
                </a:cxn>
                <a:cxn ang="0">
                  <a:pos x="13" y="0"/>
                </a:cxn>
                <a:cxn ang="0">
                  <a:pos x="14" y="3"/>
                </a:cxn>
                <a:cxn ang="0">
                  <a:pos x="16" y="4"/>
                </a:cxn>
                <a:cxn ang="0">
                  <a:pos x="16" y="9"/>
                </a:cxn>
                <a:cxn ang="0">
                  <a:pos x="14" y="12"/>
                </a:cxn>
                <a:cxn ang="0">
                  <a:pos x="14" y="16"/>
                </a:cxn>
                <a:cxn ang="0">
                  <a:pos x="10" y="17"/>
                </a:cxn>
                <a:cxn ang="0">
                  <a:pos x="10" y="15"/>
                </a:cxn>
                <a:cxn ang="0">
                  <a:pos x="8" y="16"/>
                </a:cxn>
                <a:cxn ang="0">
                  <a:pos x="7" y="19"/>
                </a:cxn>
                <a:cxn ang="0">
                  <a:pos x="3" y="20"/>
                </a:cxn>
                <a:cxn ang="0">
                  <a:pos x="0" y="22"/>
                </a:cxn>
                <a:cxn ang="0">
                  <a:pos x="0" y="19"/>
                </a:cxn>
                <a:cxn ang="0">
                  <a:pos x="3" y="17"/>
                </a:cxn>
                <a:cxn ang="0">
                  <a:pos x="3" y="16"/>
                </a:cxn>
                <a:cxn ang="0">
                  <a:pos x="1" y="15"/>
                </a:cxn>
              </a:cxnLst>
              <a:rect l="0" t="0" r="r" b="b"/>
              <a:pathLst>
                <a:path w="16" h="22">
                  <a:moveTo>
                    <a:pt x="1" y="15"/>
                  </a:moveTo>
                  <a:lnTo>
                    <a:pt x="0" y="13"/>
                  </a:lnTo>
                  <a:lnTo>
                    <a:pt x="1" y="15"/>
                  </a:lnTo>
                  <a:lnTo>
                    <a:pt x="3" y="13"/>
                  </a:lnTo>
                  <a:lnTo>
                    <a:pt x="3" y="12"/>
                  </a:lnTo>
                  <a:lnTo>
                    <a:pt x="1" y="10"/>
                  </a:lnTo>
                  <a:lnTo>
                    <a:pt x="3" y="10"/>
                  </a:lnTo>
                  <a:lnTo>
                    <a:pt x="1" y="9"/>
                  </a:lnTo>
                  <a:lnTo>
                    <a:pt x="3" y="7"/>
                  </a:lnTo>
                  <a:lnTo>
                    <a:pt x="6" y="9"/>
                  </a:lnTo>
                  <a:lnTo>
                    <a:pt x="7" y="6"/>
                  </a:lnTo>
                  <a:lnTo>
                    <a:pt x="6" y="4"/>
                  </a:lnTo>
                  <a:lnTo>
                    <a:pt x="7" y="3"/>
                  </a:lnTo>
                  <a:lnTo>
                    <a:pt x="8" y="4"/>
                  </a:lnTo>
                  <a:lnTo>
                    <a:pt x="10" y="3"/>
                  </a:lnTo>
                  <a:lnTo>
                    <a:pt x="8" y="0"/>
                  </a:lnTo>
                  <a:lnTo>
                    <a:pt x="10" y="3"/>
                  </a:lnTo>
                  <a:lnTo>
                    <a:pt x="11" y="0"/>
                  </a:lnTo>
                  <a:lnTo>
                    <a:pt x="13" y="0"/>
                  </a:lnTo>
                  <a:lnTo>
                    <a:pt x="14" y="3"/>
                  </a:lnTo>
                  <a:lnTo>
                    <a:pt x="16" y="4"/>
                  </a:lnTo>
                  <a:lnTo>
                    <a:pt x="16" y="9"/>
                  </a:lnTo>
                  <a:lnTo>
                    <a:pt x="14" y="12"/>
                  </a:lnTo>
                  <a:lnTo>
                    <a:pt x="14" y="16"/>
                  </a:lnTo>
                  <a:lnTo>
                    <a:pt x="10" y="17"/>
                  </a:lnTo>
                  <a:lnTo>
                    <a:pt x="10" y="15"/>
                  </a:lnTo>
                  <a:lnTo>
                    <a:pt x="8" y="16"/>
                  </a:lnTo>
                  <a:lnTo>
                    <a:pt x="7" y="19"/>
                  </a:lnTo>
                  <a:lnTo>
                    <a:pt x="3" y="20"/>
                  </a:lnTo>
                  <a:lnTo>
                    <a:pt x="0" y="22"/>
                  </a:lnTo>
                  <a:lnTo>
                    <a:pt x="0" y="19"/>
                  </a:lnTo>
                  <a:lnTo>
                    <a:pt x="3" y="17"/>
                  </a:lnTo>
                  <a:lnTo>
                    <a:pt x="3" y="16"/>
                  </a:lnTo>
                  <a:lnTo>
                    <a:pt x="1" y="1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25" name="Freeform 851"/>
            <p:cNvSpPr>
              <a:spLocks/>
            </p:cNvSpPr>
            <p:nvPr/>
          </p:nvSpPr>
          <p:spPr bwMode="auto">
            <a:xfrm>
              <a:off x="6354219" y="1812247"/>
              <a:ext cx="12289" cy="13183"/>
            </a:xfrm>
            <a:custGeom>
              <a:avLst/>
              <a:gdLst/>
              <a:ahLst/>
              <a:cxnLst>
                <a:cxn ang="0">
                  <a:pos x="3" y="6"/>
                </a:cxn>
                <a:cxn ang="0">
                  <a:pos x="6" y="6"/>
                </a:cxn>
                <a:cxn ang="0">
                  <a:pos x="7" y="6"/>
                </a:cxn>
                <a:cxn ang="0">
                  <a:pos x="7" y="3"/>
                </a:cxn>
                <a:cxn ang="0">
                  <a:pos x="9" y="5"/>
                </a:cxn>
                <a:cxn ang="0">
                  <a:pos x="9" y="5"/>
                </a:cxn>
                <a:cxn ang="0">
                  <a:pos x="10" y="2"/>
                </a:cxn>
                <a:cxn ang="0">
                  <a:pos x="10" y="0"/>
                </a:cxn>
                <a:cxn ang="0">
                  <a:pos x="13" y="2"/>
                </a:cxn>
                <a:cxn ang="0">
                  <a:pos x="13" y="3"/>
                </a:cxn>
                <a:cxn ang="0">
                  <a:pos x="12" y="8"/>
                </a:cxn>
                <a:cxn ang="0">
                  <a:pos x="12" y="11"/>
                </a:cxn>
                <a:cxn ang="0">
                  <a:pos x="5" y="13"/>
                </a:cxn>
                <a:cxn ang="0">
                  <a:pos x="0" y="12"/>
                </a:cxn>
                <a:cxn ang="0">
                  <a:pos x="0" y="11"/>
                </a:cxn>
                <a:cxn ang="0">
                  <a:pos x="3" y="11"/>
                </a:cxn>
                <a:cxn ang="0">
                  <a:pos x="3" y="9"/>
                </a:cxn>
                <a:cxn ang="0">
                  <a:pos x="3" y="6"/>
                </a:cxn>
              </a:cxnLst>
              <a:rect l="0" t="0" r="r" b="b"/>
              <a:pathLst>
                <a:path w="13" h="13">
                  <a:moveTo>
                    <a:pt x="3" y="6"/>
                  </a:moveTo>
                  <a:lnTo>
                    <a:pt x="6" y="6"/>
                  </a:lnTo>
                  <a:lnTo>
                    <a:pt x="7" y="6"/>
                  </a:lnTo>
                  <a:lnTo>
                    <a:pt x="7" y="3"/>
                  </a:lnTo>
                  <a:lnTo>
                    <a:pt x="9" y="5"/>
                  </a:lnTo>
                  <a:lnTo>
                    <a:pt x="9" y="5"/>
                  </a:lnTo>
                  <a:lnTo>
                    <a:pt x="10" y="2"/>
                  </a:lnTo>
                  <a:lnTo>
                    <a:pt x="10" y="0"/>
                  </a:lnTo>
                  <a:lnTo>
                    <a:pt x="13" y="2"/>
                  </a:lnTo>
                  <a:lnTo>
                    <a:pt x="13" y="3"/>
                  </a:lnTo>
                  <a:lnTo>
                    <a:pt x="12" y="8"/>
                  </a:lnTo>
                  <a:lnTo>
                    <a:pt x="12" y="11"/>
                  </a:lnTo>
                  <a:lnTo>
                    <a:pt x="5" y="13"/>
                  </a:lnTo>
                  <a:lnTo>
                    <a:pt x="0" y="12"/>
                  </a:lnTo>
                  <a:lnTo>
                    <a:pt x="0" y="11"/>
                  </a:lnTo>
                  <a:lnTo>
                    <a:pt x="3" y="11"/>
                  </a:lnTo>
                  <a:lnTo>
                    <a:pt x="3" y="9"/>
                  </a:lnTo>
                  <a:lnTo>
                    <a:pt x="3"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26" name="Freeform 852"/>
            <p:cNvSpPr>
              <a:spLocks/>
            </p:cNvSpPr>
            <p:nvPr/>
          </p:nvSpPr>
          <p:spPr bwMode="auto">
            <a:xfrm>
              <a:off x="6354219" y="1812247"/>
              <a:ext cx="12289" cy="13183"/>
            </a:xfrm>
            <a:custGeom>
              <a:avLst/>
              <a:gdLst/>
              <a:ahLst/>
              <a:cxnLst>
                <a:cxn ang="0">
                  <a:pos x="3" y="6"/>
                </a:cxn>
                <a:cxn ang="0">
                  <a:pos x="6" y="6"/>
                </a:cxn>
                <a:cxn ang="0">
                  <a:pos x="7" y="6"/>
                </a:cxn>
                <a:cxn ang="0">
                  <a:pos x="7" y="3"/>
                </a:cxn>
                <a:cxn ang="0">
                  <a:pos x="9" y="5"/>
                </a:cxn>
                <a:cxn ang="0">
                  <a:pos x="9" y="5"/>
                </a:cxn>
                <a:cxn ang="0">
                  <a:pos x="10" y="2"/>
                </a:cxn>
                <a:cxn ang="0">
                  <a:pos x="10" y="0"/>
                </a:cxn>
                <a:cxn ang="0">
                  <a:pos x="13" y="2"/>
                </a:cxn>
                <a:cxn ang="0">
                  <a:pos x="13" y="3"/>
                </a:cxn>
                <a:cxn ang="0">
                  <a:pos x="12" y="8"/>
                </a:cxn>
                <a:cxn ang="0">
                  <a:pos x="12" y="11"/>
                </a:cxn>
                <a:cxn ang="0">
                  <a:pos x="5" y="13"/>
                </a:cxn>
                <a:cxn ang="0">
                  <a:pos x="0" y="12"/>
                </a:cxn>
                <a:cxn ang="0">
                  <a:pos x="0" y="11"/>
                </a:cxn>
                <a:cxn ang="0">
                  <a:pos x="3" y="11"/>
                </a:cxn>
                <a:cxn ang="0">
                  <a:pos x="3" y="9"/>
                </a:cxn>
                <a:cxn ang="0">
                  <a:pos x="3" y="6"/>
                </a:cxn>
              </a:cxnLst>
              <a:rect l="0" t="0" r="r" b="b"/>
              <a:pathLst>
                <a:path w="13" h="13">
                  <a:moveTo>
                    <a:pt x="3" y="6"/>
                  </a:moveTo>
                  <a:lnTo>
                    <a:pt x="6" y="6"/>
                  </a:lnTo>
                  <a:lnTo>
                    <a:pt x="7" y="6"/>
                  </a:lnTo>
                  <a:lnTo>
                    <a:pt x="7" y="3"/>
                  </a:lnTo>
                  <a:lnTo>
                    <a:pt x="9" y="5"/>
                  </a:lnTo>
                  <a:lnTo>
                    <a:pt x="9" y="5"/>
                  </a:lnTo>
                  <a:lnTo>
                    <a:pt x="10" y="2"/>
                  </a:lnTo>
                  <a:lnTo>
                    <a:pt x="10" y="0"/>
                  </a:lnTo>
                  <a:lnTo>
                    <a:pt x="13" y="2"/>
                  </a:lnTo>
                  <a:lnTo>
                    <a:pt x="13" y="3"/>
                  </a:lnTo>
                  <a:lnTo>
                    <a:pt x="12" y="8"/>
                  </a:lnTo>
                  <a:lnTo>
                    <a:pt x="12" y="11"/>
                  </a:lnTo>
                  <a:lnTo>
                    <a:pt x="5" y="13"/>
                  </a:lnTo>
                  <a:lnTo>
                    <a:pt x="0" y="12"/>
                  </a:lnTo>
                  <a:lnTo>
                    <a:pt x="0" y="11"/>
                  </a:lnTo>
                  <a:lnTo>
                    <a:pt x="3" y="11"/>
                  </a:lnTo>
                  <a:lnTo>
                    <a:pt x="3" y="9"/>
                  </a:lnTo>
                  <a:lnTo>
                    <a:pt x="3"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27" name="Freeform 853"/>
            <p:cNvSpPr>
              <a:spLocks/>
            </p:cNvSpPr>
            <p:nvPr/>
          </p:nvSpPr>
          <p:spPr bwMode="auto">
            <a:xfrm>
              <a:off x="6362120" y="1801092"/>
              <a:ext cx="12289" cy="13184"/>
            </a:xfrm>
            <a:custGeom>
              <a:avLst/>
              <a:gdLst/>
              <a:ahLst/>
              <a:cxnLst>
                <a:cxn ang="0">
                  <a:pos x="3" y="3"/>
                </a:cxn>
                <a:cxn ang="0">
                  <a:pos x="1" y="5"/>
                </a:cxn>
                <a:cxn ang="0">
                  <a:pos x="1" y="5"/>
                </a:cxn>
                <a:cxn ang="0">
                  <a:pos x="0" y="2"/>
                </a:cxn>
                <a:cxn ang="0">
                  <a:pos x="1" y="0"/>
                </a:cxn>
                <a:cxn ang="0">
                  <a:pos x="3" y="2"/>
                </a:cxn>
                <a:cxn ang="0">
                  <a:pos x="6" y="2"/>
                </a:cxn>
                <a:cxn ang="0">
                  <a:pos x="7" y="2"/>
                </a:cxn>
                <a:cxn ang="0">
                  <a:pos x="7" y="3"/>
                </a:cxn>
                <a:cxn ang="0">
                  <a:pos x="7" y="6"/>
                </a:cxn>
                <a:cxn ang="0">
                  <a:pos x="7" y="6"/>
                </a:cxn>
                <a:cxn ang="0">
                  <a:pos x="9" y="5"/>
                </a:cxn>
                <a:cxn ang="0">
                  <a:pos x="10" y="5"/>
                </a:cxn>
                <a:cxn ang="0">
                  <a:pos x="13" y="5"/>
                </a:cxn>
                <a:cxn ang="0">
                  <a:pos x="10" y="12"/>
                </a:cxn>
                <a:cxn ang="0">
                  <a:pos x="9" y="12"/>
                </a:cxn>
                <a:cxn ang="0">
                  <a:pos x="3" y="9"/>
                </a:cxn>
                <a:cxn ang="0">
                  <a:pos x="1" y="6"/>
                </a:cxn>
                <a:cxn ang="0">
                  <a:pos x="3" y="7"/>
                </a:cxn>
                <a:cxn ang="0">
                  <a:pos x="4" y="3"/>
                </a:cxn>
                <a:cxn ang="0">
                  <a:pos x="3" y="3"/>
                </a:cxn>
              </a:cxnLst>
              <a:rect l="0" t="0" r="r" b="b"/>
              <a:pathLst>
                <a:path w="13" h="12">
                  <a:moveTo>
                    <a:pt x="3" y="3"/>
                  </a:moveTo>
                  <a:lnTo>
                    <a:pt x="1" y="5"/>
                  </a:lnTo>
                  <a:lnTo>
                    <a:pt x="1" y="5"/>
                  </a:lnTo>
                  <a:lnTo>
                    <a:pt x="0" y="2"/>
                  </a:lnTo>
                  <a:lnTo>
                    <a:pt x="1" y="0"/>
                  </a:lnTo>
                  <a:lnTo>
                    <a:pt x="3" y="2"/>
                  </a:lnTo>
                  <a:lnTo>
                    <a:pt x="6" y="2"/>
                  </a:lnTo>
                  <a:lnTo>
                    <a:pt x="7" y="2"/>
                  </a:lnTo>
                  <a:lnTo>
                    <a:pt x="7" y="3"/>
                  </a:lnTo>
                  <a:lnTo>
                    <a:pt x="7" y="6"/>
                  </a:lnTo>
                  <a:lnTo>
                    <a:pt x="7" y="6"/>
                  </a:lnTo>
                  <a:lnTo>
                    <a:pt x="9" y="5"/>
                  </a:lnTo>
                  <a:lnTo>
                    <a:pt x="10" y="5"/>
                  </a:lnTo>
                  <a:lnTo>
                    <a:pt x="13" y="5"/>
                  </a:lnTo>
                  <a:lnTo>
                    <a:pt x="10" y="12"/>
                  </a:lnTo>
                  <a:lnTo>
                    <a:pt x="9" y="12"/>
                  </a:lnTo>
                  <a:lnTo>
                    <a:pt x="3" y="9"/>
                  </a:lnTo>
                  <a:lnTo>
                    <a:pt x="1" y="6"/>
                  </a:lnTo>
                  <a:lnTo>
                    <a:pt x="3" y="7"/>
                  </a:lnTo>
                  <a:lnTo>
                    <a:pt x="4" y="3"/>
                  </a:lnTo>
                  <a:lnTo>
                    <a:pt x="3"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28" name="Freeform 854"/>
            <p:cNvSpPr>
              <a:spLocks/>
            </p:cNvSpPr>
            <p:nvPr/>
          </p:nvSpPr>
          <p:spPr bwMode="auto">
            <a:xfrm>
              <a:off x="6362120" y="1801092"/>
              <a:ext cx="12289" cy="13184"/>
            </a:xfrm>
            <a:custGeom>
              <a:avLst/>
              <a:gdLst/>
              <a:ahLst/>
              <a:cxnLst>
                <a:cxn ang="0">
                  <a:pos x="3" y="3"/>
                </a:cxn>
                <a:cxn ang="0">
                  <a:pos x="1" y="5"/>
                </a:cxn>
                <a:cxn ang="0">
                  <a:pos x="1" y="5"/>
                </a:cxn>
                <a:cxn ang="0">
                  <a:pos x="0" y="2"/>
                </a:cxn>
                <a:cxn ang="0">
                  <a:pos x="1" y="0"/>
                </a:cxn>
                <a:cxn ang="0">
                  <a:pos x="3" y="2"/>
                </a:cxn>
                <a:cxn ang="0">
                  <a:pos x="6" y="2"/>
                </a:cxn>
                <a:cxn ang="0">
                  <a:pos x="7" y="2"/>
                </a:cxn>
                <a:cxn ang="0">
                  <a:pos x="7" y="3"/>
                </a:cxn>
                <a:cxn ang="0">
                  <a:pos x="7" y="6"/>
                </a:cxn>
                <a:cxn ang="0">
                  <a:pos x="7" y="6"/>
                </a:cxn>
                <a:cxn ang="0">
                  <a:pos x="9" y="5"/>
                </a:cxn>
                <a:cxn ang="0">
                  <a:pos x="10" y="5"/>
                </a:cxn>
                <a:cxn ang="0">
                  <a:pos x="13" y="5"/>
                </a:cxn>
                <a:cxn ang="0">
                  <a:pos x="10" y="12"/>
                </a:cxn>
                <a:cxn ang="0">
                  <a:pos x="9" y="12"/>
                </a:cxn>
                <a:cxn ang="0">
                  <a:pos x="3" y="9"/>
                </a:cxn>
                <a:cxn ang="0">
                  <a:pos x="1" y="6"/>
                </a:cxn>
                <a:cxn ang="0">
                  <a:pos x="3" y="7"/>
                </a:cxn>
                <a:cxn ang="0">
                  <a:pos x="4" y="3"/>
                </a:cxn>
                <a:cxn ang="0">
                  <a:pos x="3" y="3"/>
                </a:cxn>
              </a:cxnLst>
              <a:rect l="0" t="0" r="r" b="b"/>
              <a:pathLst>
                <a:path w="13" h="12">
                  <a:moveTo>
                    <a:pt x="3" y="3"/>
                  </a:moveTo>
                  <a:lnTo>
                    <a:pt x="1" y="5"/>
                  </a:lnTo>
                  <a:lnTo>
                    <a:pt x="1" y="5"/>
                  </a:lnTo>
                  <a:lnTo>
                    <a:pt x="0" y="2"/>
                  </a:lnTo>
                  <a:lnTo>
                    <a:pt x="1" y="0"/>
                  </a:lnTo>
                  <a:lnTo>
                    <a:pt x="3" y="2"/>
                  </a:lnTo>
                  <a:lnTo>
                    <a:pt x="6" y="2"/>
                  </a:lnTo>
                  <a:lnTo>
                    <a:pt x="7" y="2"/>
                  </a:lnTo>
                  <a:lnTo>
                    <a:pt x="7" y="3"/>
                  </a:lnTo>
                  <a:lnTo>
                    <a:pt x="7" y="6"/>
                  </a:lnTo>
                  <a:lnTo>
                    <a:pt x="7" y="6"/>
                  </a:lnTo>
                  <a:lnTo>
                    <a:pt x="9" y="5"/>
                  </a:lnTo>
                  <a:lnTo>
                    <a:pt x="10" y="5"/>
                  </a:lnTo>
                  <a:lnTo>
                    <a:pt x="13" y="5"/>
                  </a:lnTo>
                  <a:lnTo>
                    <a:pt x="10" y="12"/>
                  </a:lnTo>
                  <a:lnTo>
                    <a:pt x="9" y="12"/>
                  </a:lnTo>
                  <a:lnTo>
                    <a:pt x="3" y="9"/>
                  </a:lnTo>
                  <a:lnTo>
                    <a:pt x="1" y="6"/>
                  </a:lnTo>
                  <a:lnTo>
                    <a:pt x="3" y="7"/>
                  </a:lnTo>
                  <a:lnTo>
                    <a:pt x="4" y="3"/>
                  </a:lnTo>
                  <a:lnTo>
                    <a:pt x="3"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29" name="Freeform 855"/>
            <p:cNvSpPr>
              <a:spLocks/>
            </p:cNvSpPr>
            <p:nvPr/>
          </p:nvSpPr>
          <p:spPr bwMode="auto">
            <a:xfrm>
              <a:off x="6374409" y="1795007"/>
              <a:ext cx="6144" cy="9128"/>
            </a:xfrm>
            <a:custGeom>
              <a:avLst/>
              <a:gdLst/>
              <a:ahLst/>
              <a:cxnLst>
                <a:cxn ang="0">
                  <a:pos x="3" y="3"/>
                </a:cxn>
                <a:cxn ang="0">
                  <a:pos x="4" y="3"/>
                </a:cxn>
                <a:cxn ang="0">
                  <a:pos x="4" y="5"/>
                </a:cxn>
                <a:cxn ang="0">
                  <a:pos x="6" y="5"/>
                </a:cxn>
                <a:cxn ang="0">
                  <a:pos x="7" y="8"/>
                </a:cxn>
                <a:cxn ang="0">
                  <a:pos x="6" y="9"/>
                </a:cxn>
                <a:cxn ang="0">
                  <a:pos x="1" y="8"/>
                </a:cxn>
                <a:cxn ang="0">
                  <a:pos x="0" y="0"/>
                </a:cxn>
                <a:cxn ang="0">
                  <a:pos x="0" y="0"/>
                </a:cxn>
                <a:cxn ang="0">
                  <a:pos x="1" y="0"/>
                </a:cxn>
                <a:cxn ang="0">
                  <a:pos x="3" y="5"/>
                </a:cxn>
                <a:cxn ang="0">
                  <a:pos x="3" y="3"/>
                </a:cxn>
              </a:cxnLst>
              <a:rect l="0" t="0" r="r" b="b"/>
              <a:pathLst>
                <a:path w="7" h="9">
                  <a:moveTo>
                    <a:pt x="3" y="3"/>
                  </a:moveTo>
                  <a:lnTo>
                    <a:pt x="4" y="3"/>
                  </a:lnTo>
                  <a:lnTo>
                    <a:pt x="4" y="5"/>
                  </a:lnTo>
                  <a:lnTo>
                    <a:pt x="6" y="5"/>
                  </a:lnTo>
                  <a:lnTo>
                    <a:pt x="7" y="8"/>
                  </a:lnTo>
                  <a:lnTo>
                    <a:pt x="6" y="9"/>
                  </a:lnTo>
                  <a:lnTo>
                    <a:pt x="1" y="8"/>
                  </a:lnTo>
                  <a:lnTo>
                    <a:pt x="0" y="0"/>
                  </a:lnTo>
                  <a:lnTo>
                    <a:pt x="0" y="0"/>
                  </a:lnTo>
                  <a:lnTo>
                    <a:pt x="1" y="0"/>
                  </a:lnTo>
                  <a:lnTo>
                    <a:pt x="3" y="5"/>
                  </a:lnTo>
                  <a:lnTo>
                    <a:pt x="3"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30" name="Freeform 856"/>
            <p:cNvSpPr>
              <a:spLocks/>
            </p:cNvSpPr>
            <p:nvPr/>
          </p:nvSpPr>
          <p:spPr bwMode="auto">
            <a:xfrm>
              <a:off x="6374409" y="1795007"/>
              <a:ext cx="6144" cy="9128"/>
            </a:xfrm>
            <a:custGeom>
              <a:avLst/>
              <a:gdLst/>
              <a:ahLst/>
              <a:cxnLst>
                <a:cxn ang="0">
                  <a:pos x="3" y="3"/>
                </a:cxn>
                <a:cxn ang="0">
                  <a:pos x="4" y="3"/>
                </a:cxn>
                <a:cxn ang="0">
                  <a:pos x="4" y="5"/>
                </a:cxn>
                <a:cxn ang="0">
                  <a:pos x="6" y="5"/>
                </a:cxn>
                <a:cxn ang="0">
                  <a:pos x="7" y="8"/>
                </a:cxn>
                <a:cxn ang="0">
                  <a:pos x="6" y="9"/>
                </a:cxn>
                <a:cxn ang="0">
                  <a:pos x="1" y="8"/>
                </a:cxn>
                <a:cxn ang="0">
                  <a:pos x="0" y="0"/>
                </a:cxn>
                <a:cxn ang="0">
                  <a:pos x="0" y="0"/>
                </a:cxn>
                <a:cxn ang="0">
                  <a:pos x="1" y="0"/>
                </a:cxn>
                <a:cxn ang="0">
                  <a:pos x="3" y="5"/>
                </a:cxn>
                <a:cxn ang="0">
                  <a:pos x="3" y="3"/>
                </a:cxn>
              </a:cxnLst>
              <a:rect l="0" t="0" r="r" b="b"/>
              <a:pathLst>
                <a:path w="7" h="9">
                  <a:moveTo>
                    <a:pt x="3" y="3"/>
                  </a:moveTo>
                  <a:lnTo>
                    <a:pt x="4" y="3"/>
                  </a:lnTo>
                  <a:lnTo>
                    <a:pt x="4" y="5"/>
                  </a:lnTo>
                  <a:lnTo>
                    <a:pt x="6" y="5"/>
                  </a:lnTo>
                  <a:lnTo>
                    <a:pt x="7" y="8"/>
                  </a:lnTo>
                  <a:lnTo>
                    <a:pt x="6" y="9"/>
                  </a:lnTo>
                  <a:lnTo>
                    <a:pt x="1" y="8"/>
                  </a:lnTo>
                  <a:lnTo>
                    <a:pt x="0" y="0"/>
                  </a:lnTo>
                  <a:lnTo>
                    <a:pt x="0" y="0"/>
                  </a:lnTo>
                  <a:lnTo>
                    <a:pt x="1" y="0"/>
                  </a:lnTo>
                  <a:lnTo>
                    <a:pt x="3" y="5"/>
                  </a:lnTo>
                  <a:lnTo>
                    <a:pt x="3"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31" name="Freeform 857"/>
            <p:cNvSpPr>
              <a:spLocks/>
            </p:cNvSpPr>
            <p:nvPr/>
          </p:nvSpPr>
          <p:spPr bwMode="auto">
            <a:xfrm>
              <a:off x="6386698" y="1795007"/>
              <a:ext cx="3511" cy="9128"/>
            </a:xfrm>
            <a:custGeom>
              <a:avLst/>
              <a:gdLst/>
              <a:ahLst/>
              <a:cxnLst>
                <a:cxn ang="0">
                  <a:pos x="3" y="2"/>
                </a:cxn>
                <a:cxn ang="0">
                  <a:pos x="3" y="0"/>
                </a:cxn>
                <a:cxn ang="0">
                  <a:pos x="4" y="3"/>
                </a:cxn>
                <a:cxn ang="0">
                  <a:pos x="4" y="8"/>
                </a:cxn>
                <a:cxn ang="0">
                  <a:pos x="3" y="9"/>
                </a:cxn>
                <a:cxn ang="0">
                  <a:pos x="1" y="9"/>
                </a:cxn>
                <a:cxn ang="0">
                  <a:pos x="1" y="6"/>
                </a:cxn>
                <a:cxn ang="0">
                  <a:pos x="1" y="8"/>
                </a:cxn>
                <a:cxn ang="0">
                  <a:pos x="0" y="6"/>
                </a:cxn>
                <a:cxn ang="0">
                  <a:pos x="0" y="3"/>
                </a:cxn>
                <a:cxn ang="0">
                  <a:pos x="0" y="2"/>
                </a:cxn>
                <a:cxn ang="0">
                  <a:pos x="3" y="2"/>
                </a:cxn>
              </a:cxnLst>
              <a:rect l="0" t="0" r="r" b="b"/>
              <a:pathLst>
                <a:path w="4" h="9">
                  <a:moveTo>
                    <a:pt x="3" y="2"/>
                  </a:moveTo>
                  <a:lnTo>
                    <a:pt x="3" y="0"/>
                  </a:lnTo>
                  <a:lnTo>
                    <a:pt x="4" y="3"/>
                  </a:lnTo>
                  <a:lnTo>
                    <a:pt x="4" y="8"/>
                  </a:lnTo>
                  <a:lnTo>
                    <a:pt x="3" y="9"/>
                  </a:lnTo>
                  <a:lnTo>
                    <a:pt x="1" y="9"/>
                  </a:lnTo>
                  <a:lnTo>
                    <a:pt x="1" y="6"/>
                  </a:lnTo>
                  <a:lnTo>
                    <a:pt x="1" y="8"/>
                  </a:lnTo>
                  <a:lnTo>
                    <a:pt x="0" y="6"/>
                  </a:lnTo>
                  <a:lnTo>
                    <a:pt x="0" y="3"/>
                  </a:lnTo>
                  <a:lnTo>
                    <a:pt x="0" y="2"/>
                  </a:lnTo>
                  <a:lnTo>
                    <a:pt x="3"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32" name="Freeform 858"/>
            <p:cNvSpPr>
              <a:spLocks/>
            </p:cNvSpPr>
            <p:nvPr/>
          </p:nvSpPr>
          <p:spPr bwMode="auto">
            <a:xfrm>
              <a:off x="6386698" y="1795007"/>
              <a:ext cx="3511" cy="9128"/>
            </a:xfrm>
            <a:custGeom>
              <a:avLst/>
              <a:gdLst/>
              <a:ahLst/>
              <a:cxnLst>
                <a:cxn ang="0">
                  <a:pos x="3" y="2"/>
                </a:cxn>
                <a:cxn ang="0">
                  <a:pos x="3" y="0"/>
                </a:cxn>
                <a:cxn ang="0">
                  <a:pos x="4" y="3"/>
                </a:cxn>
                <a:cxn ang="0">
                  <a:pos x="4" y="8"/>
                </a:cxn>
                <a:cxn ang="0">
                  <a:pos x="3" y="9"/>
                </a:cxn>
                <a:cxn ang="0">
                  <a:pos x="1" y="9"/>
                </a:cxn>
                <a:cxn ang="0">
                  <a:pos x="1" y="6"/>
                </a:cxn>
                <a:cxn ang="0">
                  <a:pos x="1" y="8"/>
                </a:cxn>
                <a:cxn ang="0">
                  <a:pos x="0" y="6"/>
                </a:cxn>
                <a:cxn ang="0">
                  <a:pos x="0" y="3"/>
                </a:cxn>
                <a:cxn ang="0">
                  <a:pos x="0" y="2"/>
                </a:cxn>
                <a:cxn ang="0">
                  <a:pos x="3" y="2"/>
                </a:cxn>
              </a:cxnLst>
              <a:rect l="0" t="0" r="r" b="b"/>
              <a:pathLst>
                <a:path w="4" h="9">
                  <a:moveTo>
                    <a:pt x="3" y="2"/>
                  </a:moveTo>
                  <a:lnTo>
                    <a:pt x="3" y="0"/>
                  </a:lnTo>
                  <a:lnTo>
                    <a:pt x="4" y="3"/>
                  </a:lnTo>
                  <a:lnTo>
                    <a:pt x="4" y="8"/>
                  </a:lnTo>
                  <a:lnTo>
                    <a:pt x="3" y="9"/>
                  </a:lnTo>
                  <a:lnTo>
                    <a:pt x="1" y="9"/>
                  </a:lnTo>
                  <a:lnTo>
                    <a:pt x="1" y="6"/>
                  </a:lnTo>
                  <a:lnTo>
                    <a:pt x="1" y="8"/>
                  </a:lnTo>
                  <a:lnTo>
                    <a:pt x="0" y="6"/>
                  </a:lnTo>
                  <a:lnTo>
                    <a:pt x="0" y="3"/>
                  </a:lnTo>
                  <a:lnTo>
                    <a:pt x="0" y="2"/>
                  </a:lnTo>
                  <a:lnTo>
                    <a:pt x="3"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33" name="Freeform 859"/>
            <p:cNvSpPr>
              <a:spLocks/>
            </p:cNvSpPr>
            <p:nvPr/>
          </p:nvSpPr>
          <p:spPr bwMode="auto">
            <a:xfrm>
              <a:off x="6412154" y="1789936"/>
              <a:ext cx="6145" cy="5071"/>
            </a:xfrm>
            <a:custGeom>
              <a:avLst/>
              <a:gdLst/>
              <a:ahLst/>
              <a:cxnLst>
                <a:cxn ang="0">
                  <a:pos x="4" y="5"/>
                </a:cxn>
                <a:cxn ang="0">
                  <a:pos x="0" y="2"/>
                </a:cxn>
                <a:cxn ang="0">
                  <a:pos x="0" y="1"/>
                </a:cxn>
                <a:cxn ang="0">
                  <a:pos x="1" y="0"/>
                </a:cxn>
                <a:cxn ang="0">
                  <a:pos x="5" y="1"/>
                </a:cxn>
                <a:cxn ang="0">
                  <a:pos x="7" y="2"/>
                </a:cxn>
                <a:cxn ang="0">
                  <a:pos x="7" y="5"/>
                </a:cxn>
                <a:cxn ang="0">
                  <a:pos x="4" y="5"/>
                </a:cxn>
              </a:cxnLst>
              <a:rect l="0" t="0" r="r" b="b"/>
              <a:pathLst>
                <a:path w="7" h="5">
                  <a:moveTo>
                    <a:pt x="4" y="5"/>
                  </a:moveTo>
                  <a:lnTo>
                    <a:pt x="0" y="2"/>
                  </a:lnTo>
                  <a:lnTo>
                    <a:pt x="0" y="1"/>
                  </a:lnTo>
                  <a:lnTo>
                    <a:pt x="1" y="0"/>
                  </a:lnTo>
                  <a:lnTo>
                    <a:pt x="5" y="1"/>
                  </a:lnTo>
                  <a:lnTo>
                    <a:pt x="7" y="2"/>
                  </a:lnTo>
                  <a:lnTo>
                    <a:pt x="7" y="5"/>
                  </a:lnTo>
                  <a:lnTo>
                    <a:pt x="4" y="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34" name="Freeform 860"/>
            <p:cNvSpPr>
              <a:spLocks/>
            </p:cNvSpPr>
            <p:nvPr/>
          </p:nvSpPr>
          <p:spPr bwMode="auto">
            <a:xfrm>
              <a:off x="6412154" y="1789936"/>
              <a:ext cx="6145" cy="5071"/>
            </a:xfrm>
            <a:custGeom>
              <a:avLst/>
              <a:gdLst/>
              <a:ahLst/>
              <a:cxnLst>
                <a:cxn ang="0">
                  <a:pos x="4" y="5"/>
                </a:cxn>
                <a:cxn ang="0">
                  <a:pos x="0" y="2"/>
                </a:cxn>
                <a:cxn ang="0">
                  <a:pos x="0" y="1"/>
                </a:cxn>
                <a:cxn ang="0">
                  <a:pos x="1" y="0"/>
                </a:cxn>
                <a:cxn ang="0">
                  <a:pos x="5" y="1"/>
                </a:cxn>
                <a:cxn ang="0">
                  <a:pos x="7" y="2"/>
                </a:cxn>
                <a:cxn ang="0">
                  <a:pos x="7" y="5"/>
                </a:cxn>
                <a:cxn ang="0">
                  <a:pos x="4" y="5"/>
                </a:cxn>
              </a:cxnLst>
              <a:rect l="0" t="0" r="r" b="b"/>
              <a:pathLst>
                <a:path w="7" h="5">
                  <a:moveTo>
                    <a:pt x="4" y="5"/>
                  </a:moveTo>
                  <a:lnTo>
                    <a:pt x="0" y="2"/>
                  </a:lnTo>
                  <a:lnTo>
                    <a:pt x="0" y="1"/>
                  </a:lnTo>
                  <a:lnTo>
                    <a:pt x="1" y="0"/>
                  </a:lnTo>
                  <a:lnTo>
                    <a:pt x="5" y="1"/>
                  </a:lnTo>
                  <a:lnTo>
                    <a:pt x="7" y="2"/>
                  </a:lnTo>
                  <a:lnTo>
                    <a:pt x="7" y="5"/>
                  </a:lnTo>
                  <a:lnTo>
                    <a:pt x="4" y="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35" name="Freeform 861"/>
            <p:cNvSpPr>
              <a:spLocks/>
            </p:cNvSpPr>
            <p:nvPr/>
          </p:nvSpPr>
          <p:spPr bwMode="auto">
            <a:xfrm>
              <a:off x="6406887" y="1774723"/>
              <a:ext cx="14045" cy="12170"/>
            </a:xfrm>
            <a:custGeom>
              <a:avLst/>
              <a:gdLst/>
              <a:ahLst/>
              <a:cxnLst>
                <a:cxn ang="0">
                  <a:pos x="4" y="3"/>
                </a:cxn>
                <a:cxn ang="0">
                  <a:pos x="6" y="3"/>
                </a:cxn>
                <a:cxn ang="0">
                  <a:pos x="6" y="1"/>
                </a:cxn>
                <a:cxn ang="0">
                  <a:pos x="7" y="1"/>
                </a:cxn>
                <a:cxn ang="0">
                  <a:pos x="7" y="0"/>
                </a:cxn>
                <a:cxn ang="0">
                  <a:pos x="7" y="1"/>
                </a:cxn>
                <a:cxn ang="0">
                  <a:pos x="7" y="4"/>
                </a:cxn>
                <a:cxn ang="0">
                  <a:pos x="10" y="3"/>
                </a:cxn>
                <a:cxn ang="0">
                  <a:pos x="10" y="0"/>
                </a:cxn>
                <a:cxn ang="0">
                  <a:pos x="11" y="0"/>
                </a:cxn>
                <a:cxn ang="0">
                  <a:pos x="13" y="1"/>
                </a:cxn>
                <a:cxn ang="0">
                  <a:pos x="14" y="3"/>
                </a:cxn>
                <a:cxn ang="0">
                  <a:pos x="16" y="4"/>
                </a:cxn>
                <a:cxn ang="0">
                  <a:pos x="14" y="6"/>
                </a:cxn>
                <a:cxn ang="0">
                  <a:pos x="13" y="6"/>
                </a:cxn>
                <a:cxn ang="0">
                  <a:pos x="13" y="7"/>
                </a:cxn>
                <a:cxn ang="0">
                  <a:pos x="11" y="9"/>
                </a:cxn>
                <a:cxn ang="0">
                  <a:pos x="10" y="7"/>
                </a:cxn>
                <a:cxn ang="0">
                  <a:pos x="8" y="9"/>
                </a:cxn>
                <a:cxn ang="0">
                  <a:pos x="7" y="10"/>
                </a:cxn>
                <a:cxn ang="0">
                  <a:pos x="7" y="9"/>
                </a:cxn>
                <a:cxn ang="0">
                  <a:pos x="4" y="10"/>
                </a:cxn>
                <a:cxn ang="0">
                  <a:pos x="4" y="9"/>
                </a:cxn>
                <a:cxn ang="0">
                  <a:pos x="3" y="12"/>
                </a:cxn>
                <a:cxn ang="0">
                  <a:pos x="3" y="6"/>
                </a:cxn>
                <a:cxn ang="0">
                  <a:pos x="0" y="6"/>
                </a:cxn>
                <a:cxn ang="0">
                  <a:pos x="1" y="3"/>
                </a:cxn>
                <a:cxn ang="0">
                  <a:pos x="4" y="4"/>
                </a:cxn>
                <a:cxn ang="0">
                  <a:pos x="4" y="3"/>
                </a:cxn>
              </a:cxnLst>
              <a:rect l="0" t="0" r="r" b="b"/>
              <a:pathLst>
                <a:path w="16" h="12">
                  <a:moveTo>
                    <a:pt x="4" y="3"/>
                  </a:moveTo>
                  <a:lnTo>
                    <a:pt x="6" y="3"/>
                  </a:lnTo>
                  <a:lnTo>
                    <a:pt x="6" y="1"/>
                  </a:lnTo>
                  <a:lnTo>
                    <a:pt x="7" y="1"/>
                  </a:lnTo>
                  <a:lnTo>
                    <a:pt x="7" y="0"/>
                  </a:lnTo>
                  <a:lnTo>
                    <a:pt x="7" y="1"/>
                  </a:lnTo>
                  <a:lnTo>
                    <a:pt x="7" y="4"/>
                  </a:lnTo>
                  <a:lnTo>
                    <a:pt x="10" y="3"/>
                  </a:lnTo>
                  <a:lnTo>
                    <a:pt x="10" y="0"/>
                  </a:lnTo>
                  <a:lnTo>
                    <a:pt x="11" y="0"/>
                  </a:lnTo>
                  <a:lnTo>
                    <a:pt x="13" y="1"/>
                  </a:lnTo>
                  <a:lnTo>
                    <a:pt x="14" y="3"/>
                  </a:lnTo>
                  <a:lnTo>
                    <a:pt x="16" y="4"/>
                  </a:lnTo>
                  <a:lnTo>
                    <a:pt x="14" y="6"/>
                  </a:lnTo>
                  <a:lnTo>
                    <a:pt x="13" y="6"/>
                  </a:lnTo>
                  <a:lnTo>
                    <a:pt x="13" y="7"/>
                  </a:lnTo>
                  <a:lnTo>
                    <a:pt x="11" y="9"/>
                  </a:lnTo>
                  <a:lnTo>
                    <a:pt x="10" y="7"/>
                  </a:lnTo>
                  <a:lnTo>
                    <a:pt x="8" y="9"/>
                  </a:lnTo>
                  <a:lnTo>
                    <a:pt x="7" y="10"/>
                  </a:lnTo>
                  <a:lnTo>
                    <a:pt x="7" y="9"/>
                  </a:lnTo>
                  <a:lnTo>
                    <a:pt x="4" y="10"/>
                  </a:lnTo>
                  <a:lnTo>
                    <a:pt x="4" y="9"/>
                  </a:lnTo>
                  <a:lnTo>
                    <a:pt x="3" y="12"/>
                  </a:lnTo>
                  <a:lnTo>
                    <a:pt x="3" y="6"/>
                  </a:lnTo>
                  <a:lnTo>
                    <a:pt x="0" y="6"/>
                  </a:lnTo>
                  <a:lnTo>
                    <a:pt x="1" y="3"/>
                  </a:lnTo>
                  <a:lnTo>
                    <a:pt x="4" y="4"/>
                  </a:lnTo>
                  <a:lnTo>
                    <a:pt x="4"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36" name="Freeform 862"/>
            <p:cNvSpPr>
              <a:spLocks/>
            </p:cNvSpPr>
            <p:nvPr/>
          </p:nvSpPr>
          <p:spPr bwMode="auto">
            <a:xfrm>
              <a:off x="6406887" y="1774723"/>
              <a:ext cx="14045" cy="12170"/>
            </a:xfrm>
            <a:custGeom>
              <a:avLst/>
              <a:gdLst/>
              <a:ahLst/>
              <a:cxnLst>
                <a:cxn ang="0">
                  <a:pos x="4" y="3"/>
                </a:cxn>
                <a:cxn ang="0">
                  <a:pos x="6" y="3"/>
                </a:cxn>
                <a:cxn ang="0">
                  <a:pos x="6" y="1"/>
                </a:cxn>
                <a:cxn ang="0">
                  <a:pos x="7" y="1"/>
                </a:cxn>
                <a:cxn ang="0">
                  <a:pos x="7" y="0"/>
                </a:cxn>
                <a:cxn ang="0">
                  <a:pos x="7" y="1"/>
                </a:cxn>
                <a:cxn ang="0">
                  <a:pos x="7" y="4"/>
                </a:cxn>
                <a:cxn ang="0">
                  <a:pos x="10" y="3"/>
                </a:cxn>
                <a:cxn ang="0">
                  <a:pos x="10" y="0"/>
                </a:cxn>
                <a:cxn ang="0">
                  <a:pos x="11" y="0"/>
                </a:cxn>
                <a:cxn ang="0">
                  <a:pos x="13" y="1"/>
                </a:cxn>
                <a:cxn ang="0">
                  <a:pos x="14" y="3"/>
                </a:cxn>
                <a:cxn ang="0">
                  <a:pos x="16" y="4"/>
                </a:cxn>
                <a:cxn ang="0">
                  <a:pos x="14" y="6"/>
                </a:cxn>
                <a:cxn ang="0">
                  <a:pos x="13" y="6"/>
                </a:cxn>
                <a:cxn ang="0">
                  <a:pos x="13" y="7"/>
                </a:cxn>
                <a:cxn ang="0">
                  <a:pos x="11" y="9"/>
                </a:cxn>
                <a:cxn ang="0">
                  <a:pos x="10" y="7"/>
                </a:cxn>
                <a:cxn ang="0">
                  <a:pos x="8" y="9"/>
                </a:cxn>
                <a:cxn ang="0">
                  <a:pos x="7" y="10"/>
                </a:cxn>
                <a:cxn ang="0">
                  <a:pos x="7" y="9"/>
                </a:cxn>
                <a:cxn ang="0">
                  <a:pos x="4" y="10"/>
                </a:cxn>
                <a:cxn ang="0">
                  <a:pos x="4" y="9"/>
                </a:cxn>
                <a:cxn ang="0">
                  <a:pos x="3" y="12"/>
                </a:cxn>
                <a:cxn ang="0">
                  <a:pos x="3" y="6"/>
                </a:cxn>
                <a:cxn ang="0">
                  <a:pos x="0" y="6"/>
                </a:cxn>
                <a:cxn ang="0">
                  <a:pos x="1" y="3"/>
                </a:cxn>
                <a:cxn ang="0">
                  <a:pos x="4" y="4"/>
                </a:cxn>
                <a:cxn ang="0">
                  <a:pos x="4" y="3"/>
                </a:cxn>
              </a:cxnLst>
              <a:rect l="0" t="0" r="r" b="b"/>
              <a:pathLst>
                <a:path w="16" h="12">
                  <a:moveTo>
                    <a:pt x="4" y="3"/>
                  </a:moveTo>
                  <a:lnTo>
                    <a:pt x="6" y="3"/>
                  </a:lnTo>
                  <a:lnTo>
                    <a:pt x="6" y="1"/>
                  </a:lnTo>
                  <a:lnTo>
                    <a:pt x="7" y="1"/>
                  </a:lnTo>
                  <a:lnTo>
                    <a:pt x="7" y="0"/>
                  </a:lnTo>
                  <a:lnTo>
                    <a:pt x="7" y="1"/>
                  </a:lnTo>
                  <a:lnTo>
                    <a:pt x="7" y="4"/>
                  </a:lnTo>
                  <a:lnTo>
                    <a:pt x="10" y="3"/>
                  </a:lnTo>
                  <a:lnTo>
                    <a:pt x="10" y="0"/>
                  </a:lnTo>
                  <a:lnTo>
                    <a:pt x="11" y="0"/>
                  </a:lnTo>
                  <a:lnTo>
                    <a:pt x="13" y="1"/>
                  </a:lnTo>
                  <a:lnTo>
                    <a:pt x="14" y="3"/>
                  </a:lnTo>
                  <a:lnTo>
                    <a:pt x="16" y="4"/>
                  </a:lnTo>
                  <a:lnTo>
                    <a:pt x="14" y="6"/>
                  </a:lnTo>
                  <a:lnTo>
                    <a:pt x="13" y="6"/>
                  </a:lnTo>
                  <a:lnTo>
                    <a:pt x="13" y="7"/>
                  </a:lnTo>
                  <a:lnTo>
                    <a:pt x="11" y="9"/>
                  </a:lnTo>
                  <a:lnTo>
                    <a:pt x="10" y="7"/>
                  </a:lnTo>
                  <a:lnTo>
                    <a:pt x="8" y="9"/>
                  </a:lnTo>
                  <a:lnTo>
                    <a:pt x="7" y="10"/>
                  </a:lnTo>
                  <a:lnTo>
                    <a:pt x="7" y="9"/>
                  </a:lnTo>
                  <a:lnTo>
                    <a:pt x="4" y="10"/>
                  </a:lnTo>
                  <a:lnTo>
                    <a:pt x="4" y="9"/>
                  </a:lnTo>
                  <a:lnTo>
                    <a:pt x="3" y="12"/>
                  </a:lnTo>
                  <a:lnTo>
                    <a:pt x="3" y="6"/>
                  </a:lnTo>
                  <a:lnTo>
                    <a:pt x="0" y="6"/>
                  </a:lnTo>
                  <a:lnTo>
                    <a:pt x="1" y="3"/>
                  </a:lnTo>
                  <a:lnTo>
                    <a:pt x="4" y="4"/>
                  </a:lnTo>
                  <a:lnTo>
                    <a:pt x="4"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37" name="Freeform 863"/>
            <p:cNvSpPr>
              <a:spLocks/>
            </p:cNvSpPr>
            <p:nvPr/>
          </p:nvSpPr>
          <p:spPr bwMode="auto">
            <a:xfrm>
              <a:off x="6418299" y="1780808"/>
              <a:ext cx="8777" cy="13184"/>
            </a:xfrm>
            <a:custGeom>
              <a:avLst/>
              <a:gdLst/>
              <a:ahLst/>
              <a:cxnLst>
                <a:cxn ang="0">
                  <a:pos x="6" y="10"/>
                </a:cxn>
                <a:cxn ang="0">
                  <a:pos x="6" y="10"/>
                </a:cxn>
                <a:cxn ang="0">
                  <a:pos x="6" y="11"/>
                </a:cxn>
                <a:cxn ang="0">
                  <a:pos x="4" y="13"/>
                </a:cxn>
                <a:cxn ang="0">
                  <a:pos x="1" y="11"/>
                </a:cxn>
                <a:cxn ang="0">
                  <a:pos x="0" y="10"/>
                </a:cxn>
                <a:cxn ang="0">
                  <a:pos x="0" y="9"/>
                </a:cxn>
                <a:cxn ang="0">
                  <a:pos x="0" y="7"/>
                </a:cxn>
                <a:cxn ang="0">
                  <a:pos x="0" y="6"/>
                </a:cxn>
                <a:cxn ang="0">
                  <a:pos x="1" y="4"/>
                </a:cxn>
                <a:cxn ang="0">
                  <a:pos x="3" y="4"/>
                </a:cxn>
                <a:cxn ang="0">
                  <a:pos x="3" y="1"/>
                </a:cxn>
                <a:cxn ang="0">
                  <a:pos x="6" y="3"/>
                </a:cxn>
                <a:cxn ang="0">
                  <a:pos x="7" y="0"/>
                </a:cxn>
                <a:cxn ang="0">
                  <a:pos x="9" y="3"/>
                </a:cxn>
                <a:cxn ang="0">
                  <a:pos x="9" y="6"/>
                </a:cxn>
                <a:cxn ang="0">
                  <a:pos x="6" y="10"/>
                </a:cxn>
              </a:cxnLst>
              <a:rect l="0" t="0" r="r" b="b"/>
              <a:pathLst>
                <a:path w="9" h="13">
                  <a:moveTo>
                    <a:pt x="6" y="10"/>
                  </a:moveTo>
                  <a:lnTo>
                    <a:pt x="6" y="10"/>
                  </a:lnTo>
                  <a:lnTo>
                    <a:pt x="6" y="11"/>
                  </a:lnTo>
                  <a:lnTo>
                    <a:pt x="4" y="13"/>
                  </a:lnTo>
                  <a:lnTo>
                    <a:pt x="1" y="11"/>
                  </a:lnTo>
                  <a:lnTo>
                    <a:pt x="0" y="10"/>
                  </a:lnTo>
                  <a:lnTo>
                    <a:pt x="0" y="9"/>
                  </a:lnTo>
                  <a:lnTo>
                    <a:pt x="0" y="7"/>
                  </a:lnTo>
                  <a:lnTo>
                    <a:pt x="0" y="6"/>
                  </a:lnTo>
                  <a:lnTo>
                    <a:pt x="1" y="4"/>
                  </a:lnTo>
                  <a:lnTo>
                    <a:pt x="3" y="4"/>
                  </a:lnTo>
                  <a:lnTo>
                    <a:pt x="3" y="1"/>
                  </a:lnTo>
                  <a:lnTo>
                    <a:pt x="6" y="3"/>
                  </a:lnTo>
                  <a:lnTo>
                    <a:pt x="7" y="0"/>
                  </a:lnTo>
                  <a:lnTo>
                    <a:pt x="9" y="3"/>
                  </a:lnTo>
                  <a:lnTo>
                    <a:pt x="9" y="6"/>
                  </a:lnTo>
                  <a:lnTo>
                    <a:pt x="6" y="1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38" name="Freeform 864"/>
            <p:cNvSpPr>
              <a:spLocks/>
            </p:cNvSpPr>
            <p:nvPr/>
          </p:nvSpPr>
          <p:spPr bwMode="auto">
            <a:xfrm>
              <a:off x="6418299" y="1780808"/>
              <a:ext cx="8777" cy="13184"/>
            </a:xfrm>
            <a:custGeom>
              <a:avLst/>
              <a:gdLst/>
              <a:ahLst/>
              <a:cxnLst>
                <a:cxn ang="0">
                  <a:pos x="6" y="10"/>
                </a:cxn>
                <a:cxn ang="0">
                  <a:pos x="6" y="10"/>
                </a:cxn>
                <a:cxn ang="0">
                  <a:pos x="6" y="11"/>
                </a:cxn>
                <a:cxn ang="0">
                  <a:pos x="4" y="13"/>
                </a:cxn>
                <a:cxn ang="0">
                  <a:pos x="1" y="11"/>
                </a:cxn>
                <a:cxn ang="0">
                  <a:pos x="0" y="10"/>
                </a:cxn>
                <a:cxn ang="0">
                  <a:pos x="0" y="9"/>
                </a:cxn>
                <a:cxn ang="0">
                  <a:pos x="0" y="7"/>
                </a:cxn>
                <a:cxn ang="0">
                  <a:pos x="0" y="6"/>
                </a:cxn>
                <a:cxn ang="0">
                  <a:pos x="1" y="4"/>
                </a:cxn>
                <a:cxn ang="0">
                  <a:pos x="3" y="4"/>
                </a:cxn>
                <a:cxn ang="0">
                  <a:pos x="3" y="1"/>
                </a:cxn>
                <a:cxn ang="0">
                  <a:pos x="6" y="3"/>
                </a:cxn>
                <a:cxn ang="0">
                  <a:pos x="7" y="0"/>
                </a:cxn>
                <a:cxn ang="0">
                  <a:pos x="9" y="3"/>
                </a:cxn>
                <a:cxn ang="0">
                  <a:pos x="9" y="6"/>
                </a:cxn>
                <a:cxn ang="0">
                  <a:pos x="6" y="10"/>
                </a:cxn>
              </a:cxnLst>
              <a:rect l="0" t="0" r="r" b="b"/>
              <a:pathLst>
                <a:path w="9" h="13">
                  <a:moveTo>
                    <a:pt x="6" y="10"/>
                  </a:moveTo>
                  <a:lnTo>
                    <a:pt x="6" y="10"/>
                  </a:lnTo>
                  <a:lnTo>
                    <a:pt x="6" y="11"/>
                  </a:lnTo>
                  <a:lnTo>
                    <a:pt x="4" y="13"/>
                  </a:lnTo>
                  <a:lnTo>
                    <a:pt x="1" y="11"/>
                  </a:lnTo>
                  <a:lnTo>
                    <a:pt x="0" y="10"/>
                  </a:lnTo>
                  <a:lnTo>
                    <a:pt x="0" y="9"/>
                  </a:lnTo>
                  <a:lnTo>
                    <a:pt x="0" y="7"/>
                  </a:lnTo>
                  <a:lnTo>
                    <a:pt x="0" y="6"/>
                  </a:lnTo>
                  <a:lnTo>
                    <a:pt x="1" y="4"/>
                  </a:lnTo>
                  <a:lnTo>
                    <a:pt x="3" y="4"/>
                  </a:lnTo>
                  <a:lnTo>
                    <a:pt x="3" y="1"/>
                  </a:lnTo>
                  <a:lnTo>
                    <a:pt x="6" y="3"/>
                  </a:lnTo>
                  <a:lnTo>
                    <a:pt x="7" y="0"/>
                  </a:lnTo>
                  <a:lnTo>
                    <a:pt x="9" y="3"/>
                  </a:lnTo>
                  <a:lnTo>
                    <a:pt x="9" y="6"/>
                  </a:lnTo>
                  <a:lnTo>
                    <a:pt x="6" y="1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39" name="Freeform 865"/>
            <p:cNvSpPr>
              <a:spLocks/>
            </p:cNvSpPr>
            <p:nvPr/>
          </p:nvSpPr>
          <p:spPr bwMode="auto">
            <a:xfrm>
              <a:off x="6427955" y="1773710"/>
              <a:ext cx="5267" cy="10141"/>
            </a:xfrm>
            <a:custGeom>
              <a:avLst/>
              <a:gdLst/>
              <a:ahLst/>
              <a:cxnLst>
                <a:cxn ang="0">
                  <a:pos x="4" y="10"/>
                </a:cxn>
                <a:cxn ang="0">
                  <a:pos x="3" y="10"/>
                </a:cxn>
                <a:cxn ang="0">
                  <a:pos x="0" y="1"/>
                </a:cxn>
                <a:cxn ang="0">
                  <a:pos x="1" y="0"/>
                </a:cxn>
                <a:cxn ang="0">
                  <a:pos x="1" y="2"/>
                </a:cxn>
                <a:cxn ang="0">
                  <a:pos x="3" y="2"/>
                </a:cxn>
                <a:cxn ang="0">
                  <a:pos x="4" y="4"/>
                </a:cxn>
                <a:cxn ang="0">
                  <a:pos x="6" y="7"/>
                </a:cxn>
                <a:cxn ang="0">
                  <a:pos x="6" y="8"/>
                </a:cxn>
                <a:cxn ang="0">
                  <a:pos x="4" y="10"/>
                </a:cxn>
              </a:cxnLst>
              <a:rect l="0" t="0" r="r" b="b"/>
              <a:pathLst>
                <a:path w="6" h="10">
                  <a:moveTo>
                    <a:pt x="4" y="10"/>
                  </a:moveTo>
                  <a:lnTo>
                    <a:pt x="3" y="10"/>
                  </a:lnTo>
                  <a:lnTo>
                    <a:pt x="0" y="1"/>
                  </a:lnTo>
                  <a:lnTo>
                    <a:pt x="1" y="0"/>
                  </a:lnTo>
                  <a:lnTo>
                    <a:pt x="1" y="2"/>
                  </a:lnTo>
                  <a:lnTo>
                    <a:pt x="3" y="2"/>
                  </a:lnTo>
                  <a:lnTo>
                    <a:pt x="4" y="4"/>
                  </a:lnTo>
                  <a:lnTo>
                    <a:pt x="6" y="7"/>
                  </a:lnTo>
                  <a:lnTo>
                    <a:pt x="6" y="8"/>
                  </a:lnTo>
                  <a:lnTo>
                    <a:pt x="4" y="1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40" name="Freeform 866"/>
            <p:cNvSpPr>
              <a:spLocks/>
            </p:cNvSpPr>
            <p:nvPr/>
          </p:nvSpPr>
          <p:spPr bwMode="auto">
            <a:xfrm>
              <a:off x="6427955" y="1773710"/>
              <a:ext cx="5267" cy="10141"/>
            </a:xfrm>
            <a:custGeom>
              <a:avLst/>
              <a:gdLst/>
              <a:ahLst/>
              <a:cxnLst>
                <a:cxn ang="0">
                  <a:pos x="4" y="10"/>
                </a:cxn>
                <a:cxn ang="0">
                  <a:pos x="3" y="10"/>
                </a:cxn>
                <a:cxn ang="0">
                  <a:pos x="0" y="1"/>
                </a:cxn>
                <a:cxn ang="0">
                  <a:pos x="1" y="0"/>
                </a:cxn>
                <a:cxn ang="0">
                  <a:pos x="1" y="2"/>
                </a:cxn>
                <a:cxn ang="0">
                  <a:pos x="3" y="2"/>
                </a:cxn>
                <a:cxn ang="0">
                  <a:pos x="4" y="4"/>
                </a:cxn>
                <a:cxn ang="0">
                  <a:pos x="6" y="7"/>
                </a:cxn>
                <a:cxn ang="0">
                  <a:pos x="6" y="8"/>
                </a:cxn>
                <a:cxn ang="0">
                  <a:pos x="4" y="10"/>
                </a:cxn>
              </a:cxnLst>
              <a:rect l="0" t="0" r="r" b="b"/>
              <a:pathLst>
                <a:path w="6" h="10">
                  <a:moveTo>
                    <a:pt x="4" y="10"/>
                  </a:moveTo>
                  <a:lnTo>
                    <a:pt x="3" y="10"/>
                  </a:lnTo>
                  <a:lnTo>
                    <a:pt x="0" y="1"/>
                  </a:lnTo>
                  <a:lnTo>
                    <a:pt x="1" y="0"/>
                  </a:lnTo>
                  <a:lnTo>
                    <a:pt x="1" y="2"/>
                  </a:lnTo>
                  <a:lnTo>
                    <a:pt x="3" y="2"/>
                  </a:lnTo>
                  <a:lnTo>
                    <a:pt x="4" y="4"/>
                  </a:lnTo>
                  <a:lnTo>
                    <a:pt x="6" y="7"/>
                  </a:lnTo>
                  <a:lnTo>
                    <a:pt x="6" y="8"/>
                  </a:lnTo>
                  <a:lnTo>
                    <a:pt x="4" y="1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41" name="Freeform 867"/>
            <p:cNvSpPr>
              <a:spLocks/>
            </p:cNvSpPr>
            <p:nvPr/>
          </p:nvSpPr>
          <p:spPr bwMode="auto">
            <a:xfrm>
              <a:off x="6449022" y="1756469"/>
              <a:ext cx="8777" cy="8113"/>
            </a:xfrm>
            <a:custGeom>
              <a:avLst/>
              <a:gdLst/>
              <a:ahLst/>
              <a:cxnLst>
                <a:cxn ang="0">
                  <a:pos x="7" y="2"/>
                </a:cxn>
                <a:cxn ang="0">
                  <a:pos x="10" y="5"/>
                </a:cxn>
                <a:cxn ang="0">
                  <a:pos x="10" y="7"/>
                </a:cxn>
                <a:cxn ang="0">
                  <a:pos x="7" y="7"/>
                </a:cxn>
                <a:cxn ang="0">
                  <a:pos x="6" y="8"/>
                </a:cxn>
                <a:cxn ang="0">
                  <a:pos x="5" y="7"/>
                </a:cxn>
                <a:cxn ang="0">
                  <a:pos x="2" y="8"/>
                </a:cxn>
                <a:cxn ang="0">
                  <a:pos x="2" y="7"/>
                </a:cxn>
                <a:cxn ang="0">
                  <a:pos x="3" y="5"/>
                </a:cxn>
                <a:cxn ang="0">
                  <a:pos x="5" y="4"/>
                </a:cxn>
                <a:cxn ang="0">
                  <a:pos x="0" y="4"/>
                </a:cxn>
                <a:cxn ang="0">
                  <a:pos x="0" y="2"/>
                </a:cxn>
                <a:cxn ang="0">
                  <a:pos x="3" y="2"/>
                </a:cxn>
                <a:cxn ang="0">
                  <a:pos x="5" y="2"/>
                </a:cxn>
                <a:cxn ang="0">
                  <a:pos x="6" y="1"/>
                </a:cxn>
                <a:cxn ang="0">
                  <a:pos x="5" y="0"/>
                </a:cxn>
                <a:cxn ang="0">
                  <a:pos x="7" y="2"/>
                </a:cxn>
              </a:cxnLst>
              <a:rect l="0" t="0" r="r" b="b"/>
              <a:pathLst>
                <a:path w="10" h="8">
                  <a:moveTo>
                    <a:pt x="7" y="2"/>
                  </a:moveTo>
                  <a:lnTo>
                    <a:pt x="10" y="5"/>
                  </a:lnTo>
                  <a:lnTo>
                    <a:pt x="10" y="7"/>
                  </a:lnTo>
                  <a:lnTo>
                    <a:pt x="7" y="7"/>
                  </a:lnTo>
                  <a:lnTo>
                    <a:pt x="6" y="8"/>
                  </a:lnTo>
                  <a:lnTo>
                    <a:pt x="5" y="7"/>
                  </a:lnTo>
                  <a:lnTo>
                    <a:pt x="2" y="8"/>
                  </a:lnTo>
                  <a:lnTo>
                    <a:pt x="2" y="7"/>
                  </a:lnTo>
                  <a:lnTo>
                    <a:pt x="3" y="5"/>
                  </a:lnTo>
                  <a:lnTo>
                    <a:pt x="5" y="4"/>
                  </a:lnTo>
                  <a:lnTo>
                    <a:pt x="0" y="4"/>
                  </a:lnTo>
                  <a:lnTo>
                    <a:pt x="0" y="2"/>
                  </a:lnTo>
                  <a:lnTo>
                    <a:pt x="3" y="2"/>
                  </a:lnTo>
                  <a:lnTo>
                    <a:pt x="5" y="2"/>
                  </a:lnTo>
                  <a:lnTo>
                    <a:pt x="6" y="1"/>
                  </a:lnTo>
                  <a:lnTo>
                    <a:pt x="5" y="0"/>
                  </a:lnTo>
                  <a:lnTo>
                    <a:pt x="7"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42" name="Freeform 868"/>
            <p:cNvSpPr>
              <a:spLocks/>
            </p:cNvSpPr>
            <p:nvPr/>
          </p:nvSpPr>
          <p:spPr bwMode="auto">
            <a:xfrm>
              <a:off x="6449022" y="1756469"/>
              <a:ext cx="8777" cy="8113"/>
            </a:xfrm>
            <a:custGeom>
              <a:avLst/>
              <a:gdLst/>
              <a:ahLst/>
              <a:cxnLst>
                <a:cxn ang="0">
                  <a:pos x="7" y="2"/>
                </a:cxn>
                <a:cxn ang="0">
                  <a:pos x="10" y="5"/>
                </a:cxn>
                <a:cxn ang="0">
                  <a:pos x="10" y="7"/>
                </a:cxn>
                <a:cxn ang="0">
                  <a:pos x="7" y="7"/>
                </a:cxn>
                <a:cxn ang="0">
                  <a:pos x="6" y="8"/>
                </a:cxn>
                <a:cxn ang="0">
                  <a:pos x="5" y="7"/>
                </a:cxn>
                <a:cxn ang="0">
                  <a:pos x="2" y="8"/>
                </a:cxn>
                <a:cxn ang="0">
                  <a:pos x="2" y="7"/>
                </a:cxn>
                <a:cxn ang="0">
                  <a:pos x="3" y="5"/>
                </a:cxn>
                <a:cxn ang="0">
                  <a:pos x="5" y="4"/>
                </a:cxn>
                <a:cxn ang="0">
                  <a:pos x="0" y="4"/>
                </a:cxn>
                <a:cxn ang="0">
                  <a:pos x="0" y="2"/>
                </a:cxn>
                <a:cxn ang="0">
                  <a:pos x="3" y="2"/>
                </a:cxn>
                <a:cxn ang="0">
                  <a:pos x="5" y="2"/>
                </a:cxn>
                <a:cxn ang="0">
                  <a:pos x="6" y="1"/>
                </a:cxn>
                <a:cxn ang="0">
                  <a:pos x="5" y="0"/>
                </a:cxn>
                <a:cxn ang="0">
                  <a:pos x="7" y="2"/>
                </a:cxn>
              </a:cxnLst>
              <a:rect l="0" t="0" r="r" b="b"/>
              <a:pathLst>
                <a:path w="10" h="8">
                  <a:moveTo>
                    <a:pt x="7" y="2"/>
                  </a:moveTo>
                  <a:lnTo>
                    <a:pt x="10" y="5"/>
                  </a:lnTo>
                  <a:lnTo>
                    <a:pt x="10" y="7"/>
                  </a:lnTo>
                  <a:lnTo>
                    <a:pt x="7" y="7"/>
                  </a:lnTo>
                  <a:lnTo>
                    <a:pt x="6" y="8"/>
                  </a:lnTo>
                  <a:lnTo>
                    <a:pt x="5" y="7"/>
                  </a:lnTo>
                  <a:lnTo>
                    <a:pt x="2" y="8"/>
                  </a:lnTo>
                  <a:lnTo>
                    <a:pt x="2" y="7"/>
                  </a:lnTo>
                  <a:lnTo>
                    <a:pt x="3" y="5"/>
                  </a:lnTo>
                  <a:lnTo>
                    <a:pt x="5" y="4"/>
                  </a:lnTo>
                  <a:lnTo>
                    <a:pt x="0" y="4"/>
                  </a:lnTo>
                  <a:lnTo>
                    <a:pt x="0" y="2"/>
                  </a:lnTo>
                  <a:lnTo>
                    <a:pt x="3" y="2"/>
                  </a:lnTo>
                  <a:lnTo>
                    <a:pt x="5" y="2"/>
                  </a:lnTo>
                  <a:lnTo>
                    <a:pt x="6" y="1"/>
                  </a:lnTo>
                  <a:lnTo>
                    <a:pt x="5" y="0"/>
                  </a:lnTo>
                  <a:lnTo>
                    <a:pt x="7"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43" name="Freeform 869"/>
            <p:cNvSpPr>
              <a:spLocks/>
            </p:cNvSpPr>
            <p:nvPr/>
          </p:nvSpPr>
          <p:spPr bwMode="auto">
            <a:xfrm>
              <a:off x="6229572" y="2045497"/>
              <a:ext cx="8777" cy="7098"/>
            </a:xfrm>
            <a:custGeom>
              <a:avLst/>
              <a:gdLst/>
              <a:ahLst/>
              <a:cxnLst>
                <a:cxn ang="0">
                  <a:pos x="0" y="3"/>
                </a:cxn>
                <a:cxn ang="0">
                  <a:pos x="1" y="3"/>
                </a:cxn>
                <a:cxn ang="0">
                  <a:pos x="1" y="3"/>
                </a:cxn>
                <a:cxn ang="0">
                  <a:pos x="3" y="3"/>
                </a:cxn>
                <a:cxn ang="0">
                  <a:pos x="4" y="2"/>
                </a:cxn>
                <a:cxn ang="0">
                  <a:pos x="4" y="2"/>
                </a:cxn>
                <a:cxn ang="0">
                  <a:pos x="7" y="0"/>
                </a:cxn>
                <a:cxn ang="0">
                  <a:pos x="10" y="0"/>
                </a:cxn>
                <a:cxn ang="0">
                  <a:pos x="8" y="0"/>
                </a:cxn>
                <a:cxn ang="0">
                  <a:pos x="10" y="2"/>
                </a:cxn>
                <a:cxn ang="0">
                  <a:pos x="10" y="3"/>
                </a:cxn>
                <a:cxn ang="0">
                  <a:pos x="4" y="4"/>
                </a:cxn>
                <a:cxn ang="0">
                  <a:pos x="1" y="7"/>
                </a:cxn>
                <a:cxn ang="0">
                  <a:pos x="0" y="4"/>
                </a:cxn>
                <a:cxn ang="0">
                  <a:pos x="0" y="3"/>
                </a:cxn>
              </a:cxnLst>
              <a:rect l="0" t="0" r="r" b="b"/>
              <a:pathLst>
                <a:path w="10" h="7">
                  <a:moveTo>
                    <a:pt x="0" y="3"/>
                  </a:moveTo>
                  <a:lnTo>
                    <a:pt x="1" y="3"/>
                  </a:lnTo>
                  <a:lnTo>
                    <a:pt x="1" y="3"/>
                  </a:lnTo>
                  <a:lnTo>
                    <a:pt x="3" y="3"/>
                  </a:lnTo>
                  <a:lnTo>
                    <a:pt x="4" y="2"/>
                  </a:lnTo>
                  <a:lnTo>
                    <a:pt x="4" y="2"/>
                  </a:lnTo>
                  <a:lnTo>
                    <a:pt x="7" y="0"/>
                  </a:lnTo>
                  <a:lnTo>
                    <a:pt x="10" y="0"/>
                  </a:lnTo>
                  <a:lnTo>
                    <a:pt x="8" y="0"/>
                  </a:lnTo>
                  <a:lnTo>
                    <a:pt x="10" y="2"/>
                  </a:lnTo>
                  <a:lnTo>
                    <a:pt x="10" y="3"/>
                  </a:lnTo>
                  <a:lnTo>
                    <a:pt x="4" y="4"/>
                  </a:lnTo>
                  <a:lnTo>
                    <a:pt x="1" y="7"/>
                  </a:lnTo>
                  <a:lnTo>
                    <a:pt x="0" y="4"/>
                  </a:lnTo>
                  <a:lnTo>
                    <a:pt x="0"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44" name="Freeform 870"/>
            <p:cNvSpPr>
              <a:spLocks/>
            </p:cNvSpPr>
            <p:nvPr/>
          </p:nvSpPr>
          <p:spPr bwMode="auto">
            <a:xfrm>
              <a:off x="6229572" y="2045497"/>
              <a:ext cx="8777" cy="7098"/>
            </a:xfrm>
            <a:custGeom>
              <a:avLst/>
              <a:gdLst/>
              <a:ahLst/>
              <a:cxnLst>
                <a:cxn ang="0">
                  <a:pos x="0" y="3"/>
                </a:cxn>
                <a:cxn ang="0">
                  <a:pos x="1" y="3"/>
                </a:cxn>
                <a:cxn ang="0">
                  <a:pos x="1" y="3"/>
                </a:cxn>
                <a:cxn ang="0">
                  <a:pos x="3" y="3"/>
                </a:cxn>
                <a:cxn ang="0">
                  <a:pos x="4" y="2"/>
                </a:cxn>
                <a:cxn ang="0">
                  <a:pos x="4" y="2"/>
                </a:cxn>
                <a:cxn ang="0">
                  <a:pos x="7" y="0"/>
                </a:cxn>
                <a:cxn ang="0">
                  <a:pos x="10" y="0"/>
                </a:cxn>
                <a:cxn ang="0">
                  <a:pos x="8" y="0"/>
                </a:cxn>
                <a:cxn ang="0">
                  <a:pos x="10" y="2"/>
                </a:cxn>
                <a:cxn ang="0">
                  <a:pos x="10" y="3"/>
                </a:cxn>
                <a:cxn ang="0">
                  <a:pos x="4" y="4"/>
                </a:cxn>
                <a:cxn ang="0">
                  <a:pos x="1" y="7"/>
                </a:cxn>
                <a:cxn ang="0">
                  <a:pos x="0" y="4"/>
                </a:cxn>
                <a:cxn ang="0">
                  <a:pos x="0" y="3"/>
                </a:cxn>
              </a:cxnLst>
              <a:rect l="0" t="0" r="r" b="b"/>
              <a:pathLst>
                <a:path w="10" h="7">
                  <a:moveTo>
                    <a:pt x="0" y="3"/>
                  </a:moveTo>
                  <a:lnTo>
                    <a:pt x="1" y="3"/>
                  </a:lnTo>
                  <a:lnTo>
                    <a:pt x="1" y="3"/>
                  </a:lnTo>
                  <a:lnTo>
                    <a:pt x="3" y="3"/>
                  </a:lnTo>
                  <a:lnTo>
                    <a:pt x="4" y="2"/>
                  </a:lnTo>
                  <a:lnTo>
                    <a:pt x="4" y="2"/>
                  </a:lnTo>
                  <a:lnTo>
                    <a:pt x="7" y="0"/>
                  </a:lnTo>
                  <a:lnTo>
                    <a:pt x="10" y="0"/>
                  </a:lnTo>
                  <a:lnTo>
                    <a:pt x="8" y="0"/>
                  </a:lnTo>
                  <a:lnTo>
                    <a:pt x="10" y="2"/>
                  </a:lnTo>
                  <a:lnTo>
                    <a:pt x="10" y="3"/>
                  </a:lnTo>
                  <a:lnTo>
                    <a:pt x="4" y="4"/>
                  </a:lnTo>
                  <a:lnTo>
                    <a:pt x="1" y="7"/>
                  </a:lnTo>
                  <a:lnTo>
                    <a:pt x="0" y="4"/>
                  </a:lnTo>
                  <a:lnTo>
                    <a:pt x="0"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45" name="Freeform 871"/>
            <p:cNvSpPr>
              <a:spLocks/>
            </p:cNvSpPr>
            <p:nvPr/>
          </p:nvSpPr>
          <p:spPr bwMode="auto">
            <a:xfrm>
              <a:off x="6181293" y="2127642"/>
              <a:ext cx="2633" cy="4057"/>
            </a:xfrm>
            <a:custGeom>
              <a:avLst/>
              <a:gdLst/>
              <a:ahLst/>
              <a:cxnLst>
                <a:cxn ang="0">
                  <a:pos x="3" y="0"/>
                </a:cxn>
                <a:cxn ang="0">
                  <a:pos x="3" y="0"/>
                </a:cxn>
                <a:cxn ang="0">
                  <a:pos x="0" y="1"/>
                </a:cxn>
                <a:cxn ang="0">
                  <a:pos x="0" y="4"/>
                </a:cxn>
                <a:cxn ang="0">
                  <a:pos x="0" y="4"/>
                </a:cxn>
                <a:cxn ang="0">
                  <a:pos x="2" y="3"/>
                </a:cxn>
                <a:cxn ang="0">
                  <a:pos x="3" y="0"/>
                </a:cxn>
              </a:cxnLst>
              <a:rect l="0" t="0" r="r" b="b"/>
              <a:pathLst>
                <a:path w="3" h="4">
                  <a:moveTo>
                    <a:pt x="3" y="0"/>
                  </a:moveTo>
                  <a:lnTo>
                    <a:pt x="3" y="0"/>
                  </a:lnTo>
                  <a:lnTo>
                    <a:pt x="0" y="1"/>
                  </a:lnTo>
                  <a:lnTo>
                    <a:pt x="0" y="4"/>
                  </a:lnTo>
                  <a:lnTo>
                    <a:pt x="0" y="4"/>
                  </a:lnTo>
                  <a:lnTo>
                    <a:pt x="2" y="3"/>
                  </a:lnTo>
                  <a:lnTo>
                    <a:pt x="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46" name="Freeform 872"/>
            <p:cNvSpPr>
              <a:spLocks/>
            </p:cNvSpPr>
            <p:nvPr/>
          </p:nvSpPr>
          <p:spPr bwMode="auto">
            <a:xfrm>
              <a:off x="6181293" y="2127642"/>
              <a:ext cx="2633" cy="4057"/>
            </a:xfrm>
            <a:custGeom>
              <a:avLst/>
              <a:gdLst/>
              <a:ahLst/>
              <a:cxnLst>
                <a:cxn ang="0">
                  <a:pos x="3" y="0"/>
                </a:cxn>
                <a:cxn ang="0">
                  <a:pos x="3" y="0"/>
                </a:cxn>
                <a:cxn ang="0">
                  <a:pos x="0" y="1"/>
                </a:cxn>
                <a:cxn ang="0">
                  <a:pos x="0" y="4"/>
                </a:cxn>
                <a:cxn ang="0">
                  <a:pos x="0" y="4"/>
                </a:cxn>
                <a:cxn ang="0">
                  <a:pos x="2" y="3"/>
                </a:cxn>
                <a:cxn ang="0">
                  <a:pos x="3" y="0"/>
                </a:cxn>
              </a:cxnLst>
              <a:rect l="0" t="0" r="r" b="b"/>
              <a:pathLst>
                <a:path w="3" h="4">
                  <a:moveTo>
                    <a:pt x="3" y="0"/>
                  </a:moveTo>
                  <a:lnTo>
                    <a:pt x="3" y="0"/>
                  </a:lnTo>
                  <a:lnTo>
                    <a:pt x="0" y="1"/>
                  </a:lnTo>
                  <a:lnTo>
                    <a:pt x="0" y="4"/>
                  </a:lnTo>
                  <a:lnTo>
                    <a:pt x="0" y="4"/>
                  </a:lnTo>
                  <a:lnTo>
                    <a:pt x="2" y="3"/>
                  </a:lnTo>
                  <a:lnTo>
                    <a:pt x="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47" name="Freeform 873"/>
            <p:cNvSpPr>
              <a:spLocks/>
            </p:cNvSpPr>
            <p:nvPr/>
          </p:nvSpPr>
          <p:spPr bwMode="auto">
            <a:xfrm>
              <a:off x="6194460" y="2088091"/>
              <a:ext cx="2634" cy="4057"/>
            </a:xfrm>
            <a:custGeom>
              <a:avLst/>
              <a:gdLst/>
              <a:ahLst/>
              <a:cxnLst>
                <a:cxn ang="0">
                  <a:pos x="1" y="4"/>
                </a:cxn>
                <a:cxn ang="0">
                  <a:pos x="3" y="1"/>
                </a:cxn>
                <a:cxn ang="0">
                  <a:pos x="3" y="0"/>
                </a:cxn>
                <a:cxn ang="0">
                  <a:pos x="1" y="0"/>
                </a:cxn>
                <a:cxn ang="0">
                  <a:pos x="0" y="0"/>
                </a:cxn>
                <a:cxn ang="0">
                  <a:pos x="0" y="4"/>
                </a:cxn>
                <a:cxn ang="0">
                  <a:pos x="1" y="4"/>
                </a:cxn>
              </a:cxnLst>
              <a:rect l="0" t="0" r="r" b="b"/>
              <a:pathLst>
                <a:path w="3" h="4">
                  <a:moveTo>
                    <a:pt x="1" y="4"/>
                  </a:moveTo>
                  <a:lnTo>
                    <a:pt x="3" y="1"/>
                  </a:lnTo>
                  <a:lnTo>
                    <a:pt x="3" y="0"/>
                  </a:lnTo>
                  <a:lnTo>
                    <a:pt x="1" y="0"/>
                  </a:lnTo>
                  <a:lnTo>
                    <a:pt x="0" y="0"/>
                  </a:lnTo>
                  <a:lnTo>
                    <a:pt x="0" y="4"/>
                  </a:lnTo>
                  <a:lnTo>
                    <a:pt x="1"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48" name="Freeform 874"/>
            <p:cNvSpPr>
              <a:spLocks/>
            </p:cNvSpPr>
            <p:nvPr/>
          </p:nvSpPr>
          <p:spPr bwMode="auto">
            <a:xfrm>
              <a:off x="6194460" y="2088091"/>
              <a:ext cx="2634" cy="4057"/>
            </a:xfrm>
            <a:custGeom>
              <a:avLst/>
              <a:gdLst/>
              <a:ahLst/>
              <a:cxnLst>
                <a:cxn ang="0">
                  <a:pos x="1" y="4"/>
                </a:cxn>
                <a:cxn ang="0">
                  <a:pos x="3" y="1"/>
                </a:cxn>
                <a:cxn ang="0">
                  <a:pos x="3" y="0"/>
                </a:cxn>
                <a:cxn ang="0">
                  <a:pos x="1" y="0"/>
                </a:cxn>
                <a:cxn ang="0">
                  <a:pos x="0" y="0"/>
                </a:cxn>
                <a:cxn ang="0">
                  <a:pos x="0" y="4"/>
                </a:cxn>
                <a:cxn ang="0">
                  <a:pos x="1" y="4"/>
                </a:cxn>
              </a:cxnLst>
              <a:rect l="0" t="0" r="r" b="b"/>
              <a:pathLst>
                <a:path w="3" h="4">
                  <a:moveTo>
                    <a:pt x="1" y="4"/>
                  </a:moveTo>
                  <a:lnTo>
                    <a:pt x="3" y="1"/>
                  </a:lnTo>
                  <a:lnTo>
                    <a:pt x="3" y="0"/>
                  </a:lnTo>
                  <a:lnTo>
                    <a:pt x="1" y="0"/>
                  </a:lnTo>
                  <a:lnTo>
                    <a:pt x="0" y="0"/>
                  </a:lnTo>
                  <a:lnTo>
                    <a:pt x="0" y="4"/>
                  </a:lnTo>
                  <a:lnTo>
                    <a:pt x="1"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49" name="Freeform 875"/>
            <p:cNvSpPr>
              <a:spLocks/>
            </p:cNvSpPr>
            <p:nvPr/>
          </p:nvSpPr>
          <p:spPr bwMode="auto">
            <a:xfrm>
              <a:off x="6183926" y="2104317"/>
              <a:ext cx="2634" cy="3042"/>
            </a:xfrm>
            <a:custGeom>
              <a:avLst/>
              <a:gdLst/>
              <a:ahLst/>
              <a:cxnLst>
                <a:cxn ang="0">
                  <a:pos x="0" y="3"/>
                </a:cxn>
                <a:cxn ang="0">
                  <a:pos x="2" y="1"/>
                </a:cxn>
                <a:cxn ang="0">
                  <a:pos x="3" y="1"/>
                </a:cxn>
                <a:cxn ang="0">
                  <a:pos x="3" y="0"/>
                </a:cxn>
                <a:cxn ang="0">
                  <a:pos x="0" y="0"/>
                </a:cxn>
                <a:cxn ang="0">
                  <a:pos x="0" y="3"/>
                </a:cxn>
              </a:cxnLst>
              <a:rect l="0" t="0" r="r" b="b"/>
              <a:pathLst>
                <a:path w="3" h="3">
                  <a:moveTo>
                    <a:pt x="0" y="3"/>
                  </a:moveTo>
                  <a:lnTo>
                    <a:pt x="2" y="1"/>
                  </a:lnTo>
                  <a:lnTo>
                    <a:pt x="3" y="1"/>
                  </a:lnTo>
                  <a:lnTo>
                    <a:pt x="3" y="0"/>
                  </a:lnTo>
                  <a:lnTo>
                    <a:pt x="0" y="0"/>
                  </a:lnTo>
                  <a:lnTo>
                    <a:pt x="0"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50" name="Freeform 876"/>
            <p:cNvSpPr>
              <a:spLocks/>
            </p:cNvSpPr>
            <p:nvPr/>
          </p:nvSpPr>
          <p:spPr bwMode="auto">
            <a:xfrm>
              <a:off x="6183926" y="2104317"/>
              <a:ext cx="2634" cy="3042"/>
            </a:xfrm>
            <a:custGeom>
              <a:avLst/>
              <a:gdLst/>
              <a:ahLst/>
              <a:cxnLst>
                <a:cxn ang="0">
                  <a:pos x="0" y="3"/>
                </a:cxn>
                <a:cxn ang="0">
                  <a:pos x="2" y="1"/>
                </a:cxn>
                <a:cxn ang="0">
                  <a:pos x="3" y="1"/>
                </a:cxn>
                <a:cxn ang="0">
                  <a:pos x="3" y="0"/>
                </a:cxn>
                <a:cxn ang="0">
                  <a:pos x="0" y="0"/>
                </a:cxn>
                <a:cxn ang="0">
                  <a:pos x="0" y="3"/>
                </a:cxn>
              </a:cxnLst>
              <a:rect l="0" t="0" r="r" b="b"/>
              <a:pathLst>
                <a:path w="3" h="3">
                  <a:moveTo>
                    <a:pt x="0" y="3"/>
                  </a:moveTo>
                  <a:lnTo>
                    <a:pt x="2" y="1"/>
                  </a:lnTo>
                  <a:lnTo>
                    <a:pt x="3" y="1"/>
                  </a:lnTo>
                  <a:lnTo>
                    <a:pt x="3" y="0"/>
                  </a:lnTo>
                  <a:lnTo>
                    <a:pt x="0" y="0"/>
                  </a:lnTo>
                  <a:lnTo>
                    <a:pt x="0"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51" name="Freeform 877"/>
            <p:cNvSpPr>
              <a:spLocks/>
            </p:cNvSpPr>
            <p:nvPr/>
          </p:nvSpPr>
          <p:spPr bwMode="auto">
            <a:xfrm>
              <a:off x="6188316" y="2162122"/>
              <a:ext cx="2633" cy="6085"/>
            </a:xfrm>
            <a:custGeom>
              <a:avLst/>
              <a:gdLst/>
              <a:ahLst/>
              <a:cxnLst>
                <a:cxn ang="0">
                  <a:pos x="3" y="6"/>
                </a:cxn>
                <a:cxn ang="0">
                  <a:pos x="3" y="3"/>
                </a:cxn>
                <a:cxn ang="0">
                  <a:pos x="1" y="0"/>
                </a:cxn>
                <a:cxn ang="0">
                  <a:pos x="0" y="1"/>
                </a:cxn>
                <a:cxn ang="0">
                  <a:pos x="0" y="4"/>
                </a:cxn>
                <a:cxn ang="0">
                  <a:pos x="3" y="6"/>
                </a:cxn>
              </a:cxnLst>
              <a:rect l="0" t="0" r="r" b="b"/>
              <a:pathLst>
                <a:path w="3" h="6">
                  <a:moveTo>
                    <a:pt x="3" y="6"/>
                  </a:moveTo>
                  <a:lnTo>
                    <a:pt x="3" y="3"/>
                  </a:lnTo>
                  <a:lnTo>
                    <a:pt x="1" y="0"/>
                  </a:lnTo>
                  <a:lnTo>
                    <a:pt x="0" y="1"/>
                  </a:lnTo>
                  <a:lnTo>
                    <a:pt x="0" y="4"/>
                  </a:lnTo>
                  <a:lnTo>
                    <a:pt x="3"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52" name="Freeform 878"/>
            <p:cNvSpPr>
              <a:spLocks/>
            </p:cNvSpPr>
            <p:nvPr/>
          </p:nvSpPr>
          <p:spPr bwMode="auto">
            <a:xfrm>
              <a:off x="6188316" y="2162122"/>
              <a:ext cx="2633" cy="6085"/>
            </a:xfrm>
            <a:custGeom>
              <a:avLst/>
              <a:gdLst/>
              <a:ahLst/>
              <a:cxnLst>
                <a:cxn ang="0">
                  <a:pos x="3" y="6"/>
                </a:cxn>
                <a:cxn ang="0">
                  <a:pos x="3" y="3"/>
                </a:cxn>
                <a:cxn ang="0">
                  <a:pos x="1" y="0"/>
                </a:cxn>
                <a:cxn ang="0">
                  <a:pos x="0" y="1"/>
                </a:cxn>
                <a:cxn ang="0">
                  <a:pos x="0" y="4"/>
                </a:cxn>
                <a:cxn ang="0">
                  <a:pos x="3" y="6"/>
                </a:cxn>
              </a:cxnLst>
              <a:rect l="0" t="0" r="r" b="b"/>
              <a:pathLst>
                <a:path w="3" h="6">
                  <a:moveTo>
                    <a:pt x="3" y="6"/>
                  </a:moveTo>
                  <a:lnTo>
                    <a:pt x="3" y="3"/>
                  </a:lnTo>
                  <a:lnTo>
                    <a:pt x="1" y="0"/>
                  </a:lnTo>
                  <a:lnTo>
                    <a:pt x="0" y="1"/>
                  </a:lnTo>
                  <a:lnTo>
                    <a:pt x="0" y="4"/>
                  </a:lnTo>
                  <a:lnTo>
                    <a:pt x="3"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53" name="Freeform 879"/>
            <p:cNvSpPr>
              <a:spLocks/>
            </p:cNvSpPr>
            <p:nvPr/>
          </p:nvSpPr>
          <p:spPr bwMode="auto">
            <a:xfrm>
              <a:off x="6186560" y="2179362"/>
              <a:ext cx="1756" cy="6085"/>
            </a:xfrm>
            <a:custGeom>
              <a:avLst/>
              <a:gdLst/>
              <a:ahLst/>
              <a:cxnLst>
                <a:cxn ang="0">
                  <a:pos x="2" y="6"/>
                </a:cxn>
                <a:cxn ang="0">
                  <a:pos x="2" y="0"/>
                </a:cxn>
                <a:cxn ang="0">
                  <a:pos x="0" y="0"/>
                </a:cxn>
                <a:cxn ang="0">
                  <a:pos x="0" y="0"/>
                </a:cxn>
                <a:cxn ang="0">
                  <a:pos x="0" y="6"/>
                </a:cxn>
                <a:cxn ang="0">
                  <a:pos x="2" y="6"/>
                </a:cxn>
              </a:cxnLst>
              <a:rect l="0" t="0" r="r" b="b"/>
              <a:pathLst>
                <a:path w="2" h="6">
                  <a:moveTo>
                    <a:pt x="2" y="6"/>
                  </a:moveTo>
                  <a:lnTo>
                    <a:pt x="2" y="0"/>
                  </a:lnTo>
                  <a:lnTo>
                    <a:pt x="0" y="0"/>
                  </a:lnTo>
                  <a:lnTo>
                    <a:pt x="0" y="0"/>
                  </a:lnTo>
                  <a:lnTo>
                    <a:pt x="0" y="6"/>
                  </a:lnTo>
                  <a:lnTo>
                    <a:pt x="2"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54" name="Freeform 880"/>
            <p:cNvSpPr>
              <a:spLocks/>
            </p:cNvSpPr>
            <p:nvPr/>
          </p:nvSpPr>
          <p:spPr bwMode="auto">
            <a:xfrm>
              <a:off x="6186560" y="2179362"/>
              <a:ext cx="1756" cy="6085"/>
            </a:xfrm>
            <a:custGeom>
              <a:avLst/>
              <a:gdLst/>
              <a:ahLst/>
              <a:cxnLst>
                <a:cxn ang="0">
                  <a:pos x="2" y="6"/>
                </a:cxn>
                <a:cxn ang="0">
                  <a:pos x="2" y="0"/>
                </a:cxn>
                <a:cxn ang="0">
                  <a:pos x="0" y="0"/>
                </a:cxn>
                <a:cxn ang="0">
                  <a:pos x="0" y="0"/>
                </a:cxn>
                <a:cxn ang="0">
                  <a:pos x="0" y="6"/>
                </a:cxn>
                <a:cxn ang="0">
                  <a:pos x="2" y="6"/>
                </a:cxn>
              </a:cxnLst>
              <a:rect l="0" t="0" r="r" b="b"/>
              <a:pathLst>
                <a:path w="2" h="6">
                  <a:moveTo>
                    <a:pt x="2" y="6"/>
                  </a:moveTo>
                  <a:lnTo>
                    <a:pt x="2" y="0"/>
                  </a:lnTo>
                  <a:lnTo>
                    <a:pt x="0" y="0"/>
                  </a:lnTo>
                  <a:lnTo>
                    <a:pt x="0" y="0"/>
                  </a:lnTo>
                  <a:lnTo>
                    <a:pt x="0" y="6"/>
                  </a:lnTo>
                  <a:lnTo>
                    <a:pt x="2"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55" name="Freeform 881"/>
            <p:cNvSpPr>
              <a:spLocks/>
            </p:cNvSpPr>
            <p:nvPr/>
          </p:nvSpPr>
          <p:spPr bwMode="auto">
            <a:xfrm>
              <a:off x="6136525" y="2646877"/>
              <a:ext cx="5267" cy="5071"/>
            </a:xfrm>
            <a:custGeom>
              <a:avLst/>
              <a:gdLst/>
              <a:ahLst/>
              <a:cxnLst>
                <a:cxn ang="0">
                  <a:pos x="3" y="0"/>
                </a:cxn>
                <a:cxn ang="0">
                  <a:pos x="3" y="0"/>
                </a:cxn>
                <a:cxn ang="0">
                  <a:pos x="3" y="0"/>
                </a:cxn>
                <a:cxn ang="0">
                  <a:pos x="5" y="2"/>
                </a:cxn>
                <a:cxn ang="0">
                  <a:pos x="2" y="5"/>
                </a:cxn>
                <a:cxn ang="0">
                  <a:pos x="0" y="3"/>
                </a:cxn>
                <a:cxn ang="0">
                  <a:pos x="0" y="2"/>
                </a:cxn>
                <a:cxn ang="0">
                  <a:pos x="3" y="0"/>
                </a:cxn>
              </a:cxnLst>
              <a:rect l="0" t="0" r="r" b="b"/>
              <a:pathLst>
                <a:path w="5" h="5">
                  <a:moveTo>
                    <a:pt x="3" y="0"/>
                  </a:moveTo>
                  <a:lnTo>
                    <a:pt x="3" y="0"/>
                  </a:lnTo>
                  <a:lnTo>
                    <a:pt x="3" y="0"/>
                  </a:lnTo>
                  <a:lnTo>
                    <a:pt x="5" y="2"/>
                  </a:lnTo>
                  <a:lnTo>
                    <a:pt x="2" y="5"/>
                  </a:lnTo>
                  <a:lnTo>
                    <a:pt x="0" y="3"/>
                  </a:lnTo>
                  <a:lnTo>
                    <a:pt x="0" y="2"/>
                  </a:lnTo>
                  <a:lnTo>
                    <a:pt x="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56" name="Freeform 882"/>
            <p:cNvSpPr>
              <a:spLocks/>
            </p:cNvSpPr>
            <p:nvPr/>
          </p:nvSpPr>
          <p:spPr bwMode="auto">
            <a:xfrm>
              <a:off x="6136525" y="2646877"/>
              <a:ext cx="5267" cy="5071"/>
            </a:xfrm>
            <a:custGeom>
              <a:avLst/>
              <a:gdLst/>
              <a:ahLst/>
              <a:cxnLst>
                <a:cxn ang="0">
                  <a:pos x="3" y="0"/>
                </a:cxn>
                <a:cxn ang="0">
                  <a:pos x="3" y="0"/>
                </a:cxn>
                <a:cxn ang="0">
                  <a:pos x="3" y="0"/>
                </a:cxn>
                <a:cxn ang="0">
                  <a:pos x="5" y="2"/>
                </a:cxn>
                <a:cxn ang="0">
                  <a:pos x="2" y="5"/>
                </a:cxn>
                <a:cxn ang="0">
                  <a:pos x="0" y="3"/>
                </a:cxn>
                <a:cxn ang="0">
                  <a:pos x="0" y="2"/>
                </a:cxn>
                <a:cxn ang="0">
                  <a:pos x="3" y="0"/>
                </a:cxn>
              </a:cxnLst>
              <a:rect l="0" t="0" r="r" b="b"/>
              <a:pathLst>
                <a:path w="5" h="5">
                  <a:moveTo>
                    <a:pt x="3" y="0"/>
                  </a:moveTo>
                  <a:lnTo>
                    <a:pt x="3" y="0"/>
                  </a:lnTo>
                  <a:lnTo>
                    <a:pt x="3" y="0"/>
                  </a:lnTo>
                  <a:lnTo>
                    <a:pt x="5" y="2"/>
                  </a:lnTo>
                  <a:lnTo>
                    <a:pt x="2" y="5"/>
                  </a:lnTo>
                  <a:lnTo>
                    <a:pt x="0" y="3"/>
                  </a:lnTo>
                  <a:lnTo>
                    <a:pt x="0" y="2"/>
                  </a:lnTo>
                  <a:lnTo>
                    <a:pt x="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57" name="Freeform 883"/>
            <p:cNvSpPr>
              <a:spLocks/>
            </p:cNvSpPr>
            <p:nvPr/>
          </p:nvSpPr>
          <p:spPr bwMode="auto">
            <a:xfrm>
              <a:off x="6151448" y="2630651"/>
              <a:ext cx="14045" cy="14198"/>
            </a:xfrm>
            <a:custGeom>
              <a:avLst/>
              <a:gdLst/>
              <a:ahLst/>
              <a:cxnLst>
                <a:cxn ang="0">
                  <a:pos x="11" y="0"/>
                </a:cxn>
                <a:cxn ang="0">
                  <a:pos x="11" y="3"/>
                </a:cxn>
                <a:cxn ang="0">
                  <a:pos x="11" y="5"/>
                </a:cxn>
                <a:cxn ang="0">
                  <a:pos x="14" y="5"/>
                </a:cxn>
                <a:cxn ang="0">
                  <a:pos x="15" y="6"/>
                </a:cxn>
                <a:cxn ang="0">
                  <a:pos x="14" y="11"/>
                </a:cxn>
                <a:cxn ang="0">
                  <a:pos x="11" y="14"/>
                </a:cxn>
                <a:cxn ang="0">
                  <a:pos x="6" y="11"/>
                </a:cxn>
                <a:cxn ang="0">
                  <a:pos x="5" y="9"/>
                </a:cxn>
                <a:cxn ang="0">
                  <a:pos x="3" y="9"/>
                </a:cxn>
                <a:cxn ang="0">
                  <a:pos x="2" y="9"/>
                </a:cxn>
                <a:cxn ang="0">
                  <a:pos x="0" y="8"/>
                </a:cxn>
                <a:cxn ang="0">
                  <a:pos x="3" y="5"/>
                </a:cxn>
                <a:cxn ang="0">
                  <a:pos x="11" y="0"/>
                </a:cxn>
                <a:cxn ang="0">
                  <a:pos x="12" y="0"/>
                </a:cxn>
                <a:cxn ang="0">
                  <a:pos x="11" y="0"/>
                </a:cxn>
              </a:cxnLst>
              <a:rect l="0" t="0" r="r" b="b"/>
              <a:pathLst>
                <a:path w="15" h="14">
                  <a:moveTo>
                    <a:pt x="11" y="0"/>
                  </a:moveTo>
                  <a:lnTo>
                    <a:pt x="11" y="3"/>
                  </a:lnTo>
                  <a:lnTo>
                    <a:pt x="11" y="5"/>
                  </a:lnTo>
                  <a:lnTo>
                    <a:pt x="14" y="5"/>
                  </a:lnTo>
                  <a:lnTo>
                    <a:pt x="15" y="6"/>
                  </a:lnTo>
                  <a:lnTo>
                    <a:pt x="14" y="11"/>
                  </a:lnTo>
                  <a:lnTo>
                    <a:pt x="11" y="14"/>
                  </a:lnTo>
                  <a:lnTo>
                    <a:pt x="6" y="11"/>
                  </a:lnTo>
                  <a:lnTo>
                    <a:pt x="5" y="9"/>
                  </a:lnTo>
                  <a:lnTo>
                    <a:pt x="3" y="9"/>
                  </a:lnTo>
                  <a:lnTo>
                    <a:pt x="2" y="9"/>
                  </a:lnTo>
                  <a:lnTo>
                    <a:pt x="0" y="8"/>
                  </a:lnTo>
                  <a:lnTo>
                    <a:pt x="3" y="5"/>
                  </a:lnTo>
                  <a:lnTo>
                    <a:pt x="11" y="0"/>
                  </a:lnTo>
                  <a:lnTo>
                    <a:pt x="12" y="0"/>
                  </a:lnTo>
                  <a:lnTo>
                    <a:pt x="1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58" name="Freeform 884"/>
            <p:cNvSpPr>
              <a:spLocks/>
            </p:cNvSpPr>
            <p:nvPr/>
          </p:nvSpPr>
          <p:spPr bwMode="auto">
            <a:xfrm>
              <a:off x="6151448" y="2630651"/>
              <a:ext cx="14045" cy="14198"/>
            </a:xfrm>
            <a:custGeom>
              <a:avLst/>
              <a:gdLst/>
              <a:ahLst/>
              <a:cxnLst>
                <a:cxn ang="0">
                  <a:pos x="11" y="0"/>
                </a:cxn>
                <a:cxn ang="0">
                  <a:pos x="11" y="3"/>
                </a:cxn>
                <a:cxn ang="0">
                  <a:pos x="11" y="5"/>
                </a:cxn>
                <a:cxn ang="0">
                  <a:pos x="14" y="5"/>
                </a:cxn>
                <a:cxn ang="0">
                  <a:pos x="15" y="6"/>
                </a:cxn>
                <a:cxn ang="0">
                  <a:pos x="14" y="11"/>
                </a:cxn>
                <a:cxn ang="0">
                  <a:pos x="11" y="14"/>
                </a:cxn>
                <a:cxn ang="0">
                  <a:pos x="6" y="11"/>
                </a:cxn>
                <a:cxn ang="0">
                  <a:pos x="5" y="9"/>
                </a:cxn>
                <a:cxn ang="0">
                  <a:pos x="3" y="9"/>
                </a:cxn>
                <a:cxn ang="0">
                  <a:pos x="2" y="9"/>
                </a:cxn>
                <a:cxn ang="0">
                  <a:pos x="0" y="8"/>
                </a:cxn>
                <a:cxn ang="0">
                  <a:pos x="3" y="5"/>
                </a:cxn>
                <a:cxn ang="0">
                  <a:pos x="11" y="0"/>
                </a:cxn>
                <a:cxn ang="0">
                  <a:pos x="12" y="0"/>
                </a:cxn>
                <a:cxn ang="0">
                  <a:pos x="11" y="0"/>
                </a:cxn>
              </a:cxnLst>
              <a:rect l="0" t="0" r="r" b="b"/>
              <a:pathLst>
                <a:path w="15" h="14">
                  <a:moveTo>
                    <a:pt x="11" y="0"/>
                  </a:moveTo>
                  <a:lnTo>
                    <a:pt x="11" y="3"/>
                  </a:lnTo>
                  <a:lnTo>
                    <a:pt x="11" y="5"/>
                  </a:lnTo>
                  <a:lnTo>
                    <a:pt x="14" y="5"/>
                  </a:lnTo>
                  <a:lnTo>
                    <a:pt x="15" y="6"/>
                  </a:lnTo>
                  <a:lnTo>
                    <a:pt x="14" y="11"/>
                  </a:lnTo>
                  <a:lnTo>
                    <a:pt x="11" y="14"/>
                  </a:lnTo>
                  <a:lnTo>
                    <a:pt x="6" y="11"/>
                  </a:lnTo>
                  <a:lnTo>
                    <a:pt x="5" y="9"/>
                  </a:lnTo>
                  <a:lnTo>
                    <a:pt x="3" y="9"/>
                  </a:lnTo>
                  <a:lnTo>
                    <a:pt x="2" y="9"/>
                  </a:lnTo>
                  <a:lnTo>
                    <a:pt x="0" y="8"/>
                  </a:lnTo>
                  <a:lnTo>
                    <a:pt x="3" y="5"/>
                  </a:lnTo>
                  <a:lnTo>
                    <a:pt x="11" y="0"/>
                  </a:lnTo>
                  <a:lnTo>
                    <a:pt x="12" y="0"/>
                  </a:lnTo>
                  <a:lnTo>
                    <a:pt x="1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59" name="Freeform 885"/>
            <p:cNvSpPr>
              <a:spLocks/>
            </p:cNvSpPr>
            <p:nvPr/>
          </p:nvSpPr>
          <p:spPr bwMode="auto">
            <a:xfrm>
              <a:off x="6170760" y="2629637"/>
              <a:ext cx="5267" cy="3042"/>
            </a:xfrm>
            <a:custGeom>
              <a:avLst/>
              <a:gdLst/>
              <a:ahLst/>
              <a:cxnLst>
                <a:cxn ang="0">
                  <a:pos x="4" y="0"/>
                </a:cxn>
                <a:cxn ang="0">
                  <a:pos x="6" y="0"/>
                </a:cxn>
                <a:cxn ang="0">
                  <a:pos x="6" y="3"/>
                </a:cxn>
                <a:cxn ang="0">
                  <a:pos x="4" y="3"/>
                </a:cxn>
                <a:cxn ang="0">
                  <a:pos x="1" y="3"/>
                </a:cxn>
                <a:cxn ang="0">
                  <a:pos x="0" y="1"/>
                </a:cxn>
                <a:cxn ang="0">
                  <a:pos x="1" y="0"/>
                </a:cxn>
                <a:cxn ang="0">
                  <a:pos x="3" y="0"/>
                </a:cxn>
                <a:cxn ang="0">
                  <a:pos x="4" y="0"/>
                </a:cxn>
                <a:cxn ang="0">
                  <a:pos x="4" y="0"/>
                </a:cxn>
              </a:cxnLst>
              <a:rect l="0" t="0" r="r" b="b"/>
              <a:pathLst>
                <a:path w="6" h="3">
                  <a:moveTo>
                    <a:pt x="4" y="0"/>
                  </a:moveTo>
                  <a:lnTo>
                    <a:pt x="6" y="0"/>
                  </a:lnTo>
                  <a:lnTo>
                    <a:pt x="6" y="3"/>
                  </a:lnTo>
                  <a:lnTo>
                    <a:pt x="4" y="3"/>
                  </a:lnTo>
                  <a:lnTo>
                    <a:pt x="1" y="3"/>
                  </a:lnTo>
                  <a:lnTo>
                    <a:pt x="0" y="1"/>
                  </a:lnTo>
                  <a:lnTo>
                    <a:pt x="1" y="0"/>
                  </a:lnTo>
                  <a:lnTo>
                    <a:pt x="3" y="0"/>
                  </a:lnTo>
                  <a:lnTo>
                    <a:pt x="4" y="0"/>
                  </a:lnTo>
                  <a:lnTo>
                    <a:pt x="4"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60" name="Freeform 886"/>
            <p:cNvSpPr>
              <a:spLocks/>
            </p:cNvSpPr>
            <p:nvPr/>
          </p:nvSpPr>
          <p:spPr bwMode="auto">
            <a:xfrm>
              <a:off x="6170760" y="2629637"/>
              <a:ext cx="5267" cy="3042"/>
            </a:xfrm>
            <a:custGeom>
              <a:avLst/>
              <a:gdLst/>
              <a:ahLst/>
              <a:cxnLst>
                <a:cxn ang="0">
                  <a:pos x="4" y="0"/>
                </a:cxn>
                <a:cxn ang="0">
                  <a:pos x="6" y="0"/>
                </a:cxn>
                <a:cxn ang="0">
                  <a:pos x="6" y="3"/>
                </a:cxn>
                <a:cxn ang="0">
                  <a:pos x="4" y="3"/>
                </a:cxn>
                <a:cxn ang="0">
                  <a:pos x="1" y="3"/>
                </a:cxn>
                <a:cxn ang="0">
                  <a:pos x="0" y="1"/>
                </a:cxn>
                <a:cxn ang="0">
                  <a:pos x="1" y="0"/>
                </a:cxn>
                <a:cxn ang="0">
                  <a:pos x="3" y="0"/>
                </a:cxn>
                <a:cxn ang="0">
                  <a:pos x="4" y="0"/>
                </a:cxn>
                <a:cxn ang="0">
                  <a:pos x="4" y="0"/>
                </a:cxn>
              </a:cxnLst>
              <a:rect l="0" t="0" r="r" b="b"/>
              <a:pathLst>
                <a:path w="6" h="3">
                  <a:moveTo>
                    <a:pt x="4" y="0"/>
                  </a:moveTo>
                  <a:lnTo>
                    <a:pt x="6" y="0"/>
                  </a:lnTo>
                  <a:lnTo>
                    <a:pt x="6" y="3"/>
                  </a:lnTo>
                  <a:lnTo>
                    <a:pt x="4" y="3"/>
                  </a:lnTo>
                  <a:lnTo>
                    <a:pt x="1" y="3"/>
                  </a:lnTo>
                  <a:lnTo>
                    <a:pt x="0" y="1"/>
                  </a:lnTo>
                  <a:lnTo>
                    <a:pt x="1" y="0"/>
                  </a:lnTo>
                  <a:lnTo>
                    <a:pt x="3" y="0"/>
                  </a:lnTo>
                  <a:lnTo>
                    <a:pt x="4" y="0"/>
                  </a:lnTo>
                  <a:lnTo>
                    <a:pt x="4"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61" name="Freeform 887"/>
            <p:cNvSpPr>
              <a:spLocks/>
            </p:cNvSpPr>
            <p:nvPr/>
          </p:nvSpPr>
          <p:spPr bwMode="auto">
            <a:xfrm>
              <a:off x="7473416" y="3251300"/>
              <a:ext cx="3511" cy="5071"/>
            </a:xfrm>
            <a:custGeom>
              <a:avLst/>
              <a:gdLst/>
              <a:ahLst/>
              <a:cxnLst>
                <a:cxn ang="0">
                  <a:pos x="4" y="3"/>
                </a:cxn>
                <a:cxn ang="0">
                  <a:pos x="4" y="2"/>
                </a:cxn>
                <a:cxn ang="0">
                  <a:pos x="3" y="0"/>
                </a:cxn>
                <a:cxn ang="0">
                  <a:pos x="0" y="2"/>
                </a:cxn>
                <a:cxn ang="0">
                  <a:pos x="0" y="3"/>
                </a:cxn>
                <a:cxn ang="0">
                  <a:pos x="0" y="5"/>
                </a:cxn>
                <a:cxn ang="0">
                  <a:pos x="1" y="5"/>
                </a:cxn>
                <a:cxn ang="0">
                  <a:pos x="3" y="3"/>
                </a:cxn>
                <a:cxn ang="0">
                  <a:pos x="4" y="3"/>
                </a:cxn>
              </a:cxnLst>
              <a:rect l="0" t="0" r="r" b="b"/>
              <a:pathLst>
                <a:path w="4" h="5">
                  <a:moveTo>
                    <a:pt x="4" y="3"/>
                  </a:moveTo>
                  <a:lnTo>
                    <a:pt x="4" y="2"/>
                  </a:lnTo>
                  <a:lnTo>
                    <a:pt x="3" y="0"/>
                  </a:lnTo>
                  <a:lnTo>
                    <a:pt x="0" y="2"/>
                  </a:lnTo>
                  <a:lnTo>
                    <a:pt x="0" y="3"/>
                  </a:lnTo>
                  <a:lnTo>
                    <a:pt x="0" y="5"/>
                  </a:lnTo>
                  <a:lnTo>
                    <a:pt x="1" y="5"/>
                  </a:lnTo>
                  <a:lnTo>
                    <a:pt x="3" y="3"/>
                  </a:lnTo>
                  <a:lnTo>
                    <a:pt x="4" y="3"/>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62" name="Freeform 888"/>
            <p:cNvSpPr>
              <a:spLocks/>
            </p:cNvSpPr>
            <p:nvPr/>
          </p:nvSpPr>
          <p:spPr bwMode="auto">
            <a:xfrm>
              <a:off x="7473416" y="3251300"/>
              <a:ext cx="3511" cy="5071"/>
            </a:xfrm>
            <a:custGeom>
              <a:avLst/>
              <a:gdLst/>
              <a:ahLst/>
              <a:cxnLst>
                <a:cxn ang="0">
                  <a:pos x="4" y="3"/>
                </a:cxn>
                <a:cxn ang="0">
                  <a:pos x="4" y="2"/>
                </a:cxn>
                <a:cxn ang="0">
                  <a:pos x="3" y="0"/>
                </a:cxn>
                <a:cxn ang="0">
                  <a:pos x="0" y="2"/>
                </a:cxn>
                <a:cxn ang="0">
                  <a:pos x="0" y="3"/>
                </a:cxn>
                <a:cxn ang="0">
                  <a:pos x="0" y="5"/>
                </a:cxn>
                <a:cxn ang="0">
                  <a:pos x="1" y="5"/>
                </a:cxn>
                <a:cxn ang="0">
                  <a:pos x="3" y="3"/>
                </a:cxn>
                <a:cxn ang="0">
                  <a:pos x="4" y="3"/>
                </a:cxn>
              </a:cxnLst>
              <a:rect l="0" t="0" r="r" b="b"/>
              <a:pathLst>
                <a:path w="4" h="5">
                  <a:moveTo>
                    <a:pt x="4" y="3"/>
                  </a:moveTo>
                  <a:lnTo>
                    <a:pt x="4" y="2"/>
                  </a:lnTo>
                  <a:lnTo>
                    <a:pt x="3" y="0"/>
                  </a:lnTo>
                  <a:lnTo>
                    <a:pt x="0" y="2"/>
                  </a:lnTo>
                  <a:lnTo>
                    <a:pt x="0" y="3"/>
                  </a:lnTo>
                  <a:lnTo>
                    <a:pt x="0" y="5"/>
                  </a:lnTo>
                  <a:lnTo>
                    <a:pt x="1" y="5"/>
                  </a:lnTo>
                  <a:lnTo>
                    <a:pt x="3" y="3"/>
                  </a:lnTo>
                  <a:lnTo>
                    <a:pt x="4" y="3"/>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63" name="Freeform 889"/>
            <p:cNvSpPr>
              <a:spLocks/>
            </p:cNvSpPr>
            <p:nvPr/>
          </p:nvSpPr>
          <p:spPr bwMode="auto">
            <a:xfrm>
              <a:off x="8033452" y="3304035"/>
              <a:ext cx="6144" cy="4057"/>
            </a:xfrm>
            <a:custGeom>
              <a:avLst/>
              <a:gdLst/>
              <a:ahLst/>
              <a:cxnLst>
                <a:cxn ang="0">
                  <a:pos x="0" y="0"/>
                </a:cxn>
                <a:cxn ang="0">
                  <a:pos x="0" y="0"/>
                </a:cxn>
                <a:cxn ang="0">
                  <a:pos x="1" y="0"/>
                </a:cxn>
                <a:cxn ang="0">
                  <a:pos x="1" y="0"/>
                </a:cxn>
                <a:cxn ang="0">
                  <a:pos x="7" y="0"/>
                </a:cxn>
                <a:cxn ang="0">
                  <a:pos x="6" y="3"/>
                </a:cxn>
                <a:cxn ang="0">
                  <a:pos x="4" y="3"/>
                </a:cxn>
                <a:cxn ang="0">
                  <a:pos x="3" y="3"/>
                </a:cxn>
                <a:cxn ang="0">
                  <a:pos x="3" y="3"/>
                </a:cxn>
                <a:cxn ang="0">
                  <a:pos x="0" y="4"/>
                </a:cxn>
                <a:cxn ang="0">
                  <a:pos x="0" y="3"/>
                </a:cxn>
                <a:cxn ang="0">
                  <a:pos x="0" y="2"/>
                </a:cxn>
                <a:cxn ang="0">
                  <a:pos x="0" y="2"/>
                </a:cxn>
                <a:cxn ang="0">
                  <a:pos x="0" y="0"/>
                </a:cxn>
              </a:cxnLst>
              <a:rect l="0" t="0" r="r" b="b"/>
              <a:pathLst>
                <a:path w="7" h="4">
                  <a:moveTo>
                    <a:pt x="0" y="0"/>
                  </a:moveTo>
                  <a:lnTo>
                    <a:pt x="0" y="0"/>
                  </a:lnTo>
                  <a:lnTo>
                    <a:pt x="1" y="0"/>
                  </a:lnTo>
                  <a:lnTo>
                    <a:pt x="1" y="0"/>
                  </a:lnTo>
                  <a:lnTo>
                    <a:pt x="7" y="0"/>
                  </a:lnTo>
                  <a:lnTo>
                    <a:pt x="6" y="3"/>
                  </a:lnTo>
                  <a:lnTo>
                    <a:pt x="4" y="3"/>
                  </a:lnTo>
                  <a:lnTo>
                    <a:pt x="3" y="3"/>
                  </a:lnTo>
                  <a:lnTo>
                    <a:pt x="3" y="3"/>
                  </a:lnTo>
                  <a:lnTo>
                    <a:pt x="0" y="4"/>
                  </a:lnTo>
                  <a:lnTo>
                    <a:pt x="0" y="3"/>
                  </a:lnTo>
                  <a:lnTo>
                    <a:pt x="0" y="2"/>
                  </a:lnTo>
                  <a:lnTo>
                    <a:pt x="0" y="2"/>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64" name="Freeform 890"/>
            <p:cNvSpPr>
              <a:spLocks/>
            </p:cNvSpPr>
            <p:nvPr/>
          </p:nvSpPr>
          <p:spPr bwMode="auto">
            <a:xfrm>
              <a:off x="8033452" y="3304035"/>
              <a:ext cx="6144" cy="4057"/>
            </a:xfrm>
            <a:custGeom>
              <a:avLst/>
              <a:gdLst/>
              <a:ahLst/>
              <a:cxnLst>
                <a:cxn ang="0">
                  <a:pos x="0" y="0"/>
                </a:cxn>
                <a:cxn ang="0">
                  <a:pos x="0" y="0"/>
                </a:cxn>
                <a:cxn ang="0">
                  <a:pos x="1" y="0"/>
                </a:cxn>
                <a:cxn ang="0">
                  <a:pos x="1" y="0"/>
                </a:cxn>
                <a:cxn ang="0">
                  <a:pos x="7" y="0"/>
                </a:cxn>
                <a:cxn ang="0">
                  <a:pos x="6" y="3"/>
                </a:cxn>
                <a:cxn ang="0">
                  <a:pos x="4" y="3"/>
                </a:cxn>
                <a:cxn ang="0">
                  <a:pos x="3" y="3"/>
                </a:cxn>
                <a:cxn ang="0">
                  <a:pos x="3" y="3"/>
                </a:cxn>
                <a:cxn ang="0">
                  <a:pos x="0" y="4"/>
                </a:cxn>
                <a:cxn ang="0">
                  <a:pos x="0" y="3"/>
                </a:cxn>
                <a:cxn ang="0">
                  <a:pos x="0" y="2"/>
                </a:cxn>
                <a:cxn ang="0">
                  <a:pos x="0" y="2"/>
                </a:cxn>
                <a:cxn ang="0">
                  <a:pos x="0" y="0"/>
                </a:cxn>
              </a:cxnLst>
              <a:rect l="0" t="0" r="r" b="b"/>
              <a:pathLst>
                <a:path w="7" h="4">
                  <a:moveTo>
                    <a:pt x="0" y="0"/>
                  </a:moveTo>
                  <a:lnTo>
                    <a:pt x="0" y="0"/>
                  </a:lnTo>
                  <a:lnTo>
                    <a:pt x="1" y="0"/>
                  </a:lnTo>
                  <a:lnTo>
                    <a:pt x="1" y="0"/>
                  </a:lnTo>
                  <a:lnTo>
                    <a:pt x="7" y="0"/>
                  </a:lnTo>
                  <a:lnTo>
                    <a:pt x="6" y="3"/>
                  </a:lnTo>
                  <a:lnTo>
                    <a:pt x="4" y="3"/>
                  </a:lnTo>
                  <a:lnTo>
                    <a:pt x="3" y="3"/>
                  </a:lnTo>
                  <a:lnTo>
                    <a:pt x="3" y="3"/>
                  </a:lnTo>
                  <a:lnTo>
                    <a:pt x="0" y="4"/>
                  </a:lnTo>
                  <a:lnTo>
                    <a:pt x="0" y="3"/>
                  </a:lnTo>
                  <a:lnTo>
                    <a:pt x="0" y="2"/>
                  </a:lnTo>
                  <a:lnTo>
                    <a:pt x="0" y="2"/>
                  </a:lnTo>
                  <a:lnTo>
                    <a:pt x="0"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65" name="Freeform 891"/>
            <p:cNvSpPr>
              <a:spLocks/>
            </p:cNvSpPr>
            <p:nvPr/>
          </p:nvSpPr>
          <p:spPr bwMode="auto">
            <a:xfrm>
              <a:off x="8071198" y="3293894"/>
              <a:ext cx="3511" cy="4057"/>
            </a:xfrm>
            <a:custGeom>
              <a:avLst/>
              <a:gdLst/>
              <a:ahLst/>
              <a:cxnLst>
                <a:cxn ang="0">
                  <a:pos x="1" y="1"/>
                </a:cxn>
                <a:cxn ang="0">
                  <a:pos x="1" y="0"/>
                </a:cxn>
                <a:cxn ang="0">
                  <a:pos x="4" y="3"/>
                </a:cxn>
                <a:cxn ang="0">
                  <a:pos x="3" y="4"/>
                </a:cxn>
                <a:cxn ang="0">
                  <a:pos x="1" y="3"/>
                </a:cxn>
                <a:cxn ang="0">
                  <a:pos x="0" y="1"/>
                </a:cxn>
                <a:cxn ang="0">
                  <a:pos x="1" y="1"/>
                </a:cxn>
              </a:cxnLst>
              <a:rect l="0" t="0" r="r" b="b"/>
              <a:pathLst>
                <a:path w="4" h="4">
                  <a:moveTo>
                    <a:pt x="1" y="1"/>
                  </a:moveTo>
                  <a:lnTo>
                    <a:pt x="1" y="0"/>
                  </a:lnTo>
                  <a:lnTo>
                    <a:pt x="4" y="3"/>
                  </a:lnTo>
                  <a:lnTo>
                    <a:pt x="3" y="4"/>
                  </a:lnTo>
                  <a:lnTo>
                    <a:pt x="1" y="3"/>
                  </a:lnTo>
                  <a:lnTo>
                    <a:pt x="0" y="1"/>
                  </a:lnTo>
                  <a:lnTo>
                    <a:pt x="1"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66" name="Freeform 892"/>
            <p:cNvSpPr>
              <a:spLocks/>
            </p:cNvSpPr>
            <p:nvPr/>
          </p:nvSpPr>
          <p:spPr bwMode="auto">
            <a:xfrm>
              <a:off x="8071198" y="3293894"/>
              <a:ext cx="3511" cy="4057"/>
            </a:xfrm>
            <a:custGeom>
              <a:avLst/>
              <a:gdLst/>
              <a:ahLst/>
              <a:cxnLst>
                <a:cxn ang="0">
                  <a:pos x="1" y="1"/>
                </a:cxn>
                <a:cxn ang="0">
                  <a:pos x="1" y="0"/>
                </a:cxn>
                <a:cxn ang="0">
                  <a:pos x="4" y="3"/>
                </a:cxn>
                <a:cxn ang="0">
                  <a:pos x="3" y="4"/>
                </a:cxn>
                <a:cxn ang="0">
                  <a:pos x="1" y="3"/>
                </a:cxn>
                <a:cxn ang="0">
                  <a:pos x="0" y="1"/>
                </a:cxn>
                <a:cxn ang="0">
                  <a:pos x="1" y="1"/>
                </a:cxn>
              </a:cxnLst>
              <a:rect l="0" t="0" r="r" b="b"/>
              <a:pathLst>
                <a:path w="4" h="4">
                  <a:moveTo>
                    <a:pt x="1" y="1"/>
                  </a:moveTo>
                  <a:lnTo>
                    <a:pt x="1" y="0"/>
                  </a:lnTo>
                  <a:lnTo>
                    <a:pt x="4" y="3"/>
                  </a:lnTo>
                  <a:lnTo>
                    <a:pt x="3" y="4"/>
                  </a:lnTo>
                  <a:lnTo>
                    <a:pt x="1" y="3"/>
                  </a:lnTo>
                  <a:lnTo>
                    <a:pt x="0" y="1"/>
                  </a:lnTo>
                  <a:lnTo>
                    <a:pt x="1" y="1"/>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67" name="Freeform 893"/>
            <p:cNvSpPr>
              <a:spLocks/>
            </p:cNvSpPr>
            <p:nvPr/>
          </p:nvSpPr>
          <p:spPr bwMode="auto">
            <a:xfrm>
              <a:off x="8077343" y="3310120"/>
              <a:ext cx="5267" cy="4057"/>
            </a:xfrm>
            <a:custGeom>
              <a:avLst/>
              <a:gdLst/>
              <a:ahLst/>
              <a:cxnLst>
                <a:cxn ang="0">
                  <a:pos x="0" y="1"/>
                </a:cxn>
                <a:cxn ang="0">
                  <a:pos x="0" y="0"/>
                </a:cxn>
                <a:cxn ang="0">
                  <a:pos x="6" y="0"/>
                </a:cxn>
                <a:cxn ang="0">
                  <a:pos x="6" y="3"/>
                </a:cxn>
                <a:cxn ang="0">
                  <a:pos x="6" y="3"/>
                </a:cxn>
                <a:cxn ang="0">
                  <a:pos x="3" y="4"/>
                </a:cxn>
                <a:cxn ang="0">
                  <a:pos x="0" y="1"/>
                </a:cxn>
                <a:cxn ang="0">
                  <a:pos x="0" y="1"/>
                </a:cxn>
              </a:cxnLst>
              <a:rect l="0" t="0" r="r" b="b"/>
              <a:pathLst>
                <a:path w="6" h="4">
                  <a:moveTo>
                    <a:pt x="0" y="1"/>
                  </a:moveTo>
                  <a:lnTo>
                    <a:pt x="0" y="0"/>
                  </a:lnTo>
                  <a:lnTo>
                    <a:pt x="6" y="0"/>
                  </a:lnTo>
                  <a:lnTo>
                    <a:pt x="6" y="3"/>
                  </a:lnTo>
                  <a:lnTo>
                    <a:pt x="6" y="3"/>
                  </a:lnTo>
                  <a:lnTo>
                    <a:pt x="3" y="4"/>
                  </a:lnTo>
                  <a:lnTo>
                    <a:pt x="0" y="1"/>
                  </a:lnTo>
                  <a:lnTo>
                    <a:pt x="0"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68" name="Freeform 894"/>
            <p:cNvSpPr>
              <a:spLocks/>
            </p:cNvSpPr>
            <p:nvPr/>
          </p:nvSpPr>
          <p:spPr bwMode="auto">
            <a:xfrm>
              <a:off x="8077343" y="3310120"/>
              <a:ext cx="5267" cy="4057"/>
            </a:xfrm>
            <a:custGeom>
              <a:avLst/>
              <a:gdLst/>
              <a:ahLst/>
              <a:cxnLst>
                <a:cxn ang="0">
                  <a:pos x="0" y="1"/>
                </a:cxn>
                <a:cxn ang="0">
                  <a:pos x="0" y="0"/>
                </a:cxn>
                <a:cxn ang="0">
                  <a:pos x="6" y="0"/>
                </a:cxn>
                <a:cxn ang="0">
                  <a:pos x="6" y="3"/>
                </a:cxn>
                <a:cxn ang="0">
                  <a:pos x="6" y="3"/>
                </a:cxn>
                <a:cxn ang="0">
                  <a:pos x="3" y="4"/>
                </a:cxn>
                <a:cxn ang="0">
                  <a:pos x="0" y="1"/>
                </a:cxn>
                <a:cxn ang="0">
                  <a:pos x="0" y="1"/>
                </a:cxn>
              </a:cxnLst>
              <a:rect l="0" t="0" r="r" b="b"/>
              <a:pathLst>
                <a:path w="6" h="4">
                  <a:moveTo>
                    <a:pt x="0" y="1"/>
                  </a:moveTo>
                  <a:lnTo>
                    <a:pt x="0" y="0"/>
                  </a:lnTo>
                  <a:lnTo>
                    <a:pt x="6" y="0"/>
                  </a:lnTo>
                  <a:lnTo>
                    <a:pt x="6" y="3"/>
                  </a:lnTo>
                  <a:lnTo>
                    <a:pt x="6" y="3"/>
                  </a:lnTo>
                  <a:lnTo>
                    <a:pt x="3" y="4"/>
                  </a:lnTo>
                  <a:lnTo>
                    <a:pt x="0" y="1"/>
                  </a:lnTo>
                  <a:lnTo>
                    <a:pt x="0" y="1"/>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69" name="Freeform 895"/>
            <p:cNvSpPr>
              <a:spLocks/>
            </p:cNvSpPr>
            <p:nvPr/>
          </p:nvSpPr>
          <p:spPr bwMode="auto">
            <a:xfrm>
              <a:off x="8088754" y="3313163"/>
              <a:ext cx="29845" cy="31438"/>
            </a:xfrm>
            <a:custGeom>
              <a:avLst/>
              <a:gdLst/>
              <a:ahLst/>
              <a:cxnLst>
                <a:cxn ang="0">
                  <a:pos x="0" y="0"/>
                </a:cxn>
                <a:cxn ang="0">
                  <a:pos x="0" y="0"/>
                </a:cxn>
                <a:cxn ang="0">
                  <a:pos x="14" y="9"/>
                </a:cxn>
                <a:cxn ang="0">
                  <a:pos x="17" y="9"/>
                </a:cxn>
                <a:cxn ang="0">
                  <a:pos x="24" y="14"/>
                </a:cxn>
                <a:cxn ang="0">
                  <a:pos x="26" y="17"/>
                </a:cxn>
                <a:cxn ang="0">
                  <a:pos x="27" y="19"/>
                </a:cxn>
                <a:cxn ang="0">
                  <a:pos x="30" y="19"/>
                </a:cxn>
                <a:cxn ang="0">
                  <a:pos x="31" y="20"/>
                </a:cxn>
                <a:cxn ang="0">
                  <a:pos x="33" y="25"/>
                </a:cxn>
                <a:cxn ang="0">
                  <a:pos x="33" y="26"/>
                </a:cxn>
                <a:cxn ang="0">
                  <a:pos x="31" y="30"/>
                </a:cxn>
                <a:cxn ang="0">
                  <a:pos x="29" y="30"/>
                </a:cxn>
                <a:cxn ang="0">
                  <a:pos x="23" y="13"/>
                </a:cxn>
                <a:cxn ang="0">
                  <a:pos x="21" y="13"/>
                </a:cxn>
                <a:cxn ang="0">
                  <a:pos x="17" y="11"/>
                </a:cxn>
                <a:cxn ang="0">
                  <a:pos x="11" y="7"/>
                </a:cxn>
                <a:cxn ang="0">
                  <a:pos x="10" y="7"/>
                </a:cxn>
                <a:cxn ang="0">
                  <a:pos x="2" y="3"/>
                </a:cxn>
                <a:cxn ang="0">
                  <a:pos x="0" y="1"/>
                </a:cxn>
                <a:cxn ang="0">
                  <a:pos x="0" y="0"/>
                </a:cxn>
              </a:cxnLst>
              <a:rect l="0" t="0" r="r" b="b"/>
              <a:pathLst>
                <a:path w="33" h="30">
                  <a:moveTo>
                    <a:pt x="0" y="0"/>
                  </a:moveTo>
                  <a:lnTo>
                    <a:pt x="0" y="0"/>
                  </a:lnTo>
                  <a:lnTo>
                    <a:pt x="14" y="9"/>
                  </a:lnTo>
                  <a:lnTo>
                    <a:pt x="17" y="9"/>
                  </a:lnTo>
                  <a:lnTo>
                    <a:pt x="24" y="14"/>
                  </a:lnTo>
                  <a:lnTo>
                    <a:pt x="26" y="17"/>
                  </a:lnTo>
                  <a:lnTo>
                    <a:pt x="27" y="19"/>
                  </a:lnTo>
                  <a:lnTo>
                    <a:pt x="30" y="19"/>
                  </a:lnTo>
                  <a:lnTo>
                    <a:pt x="31" y="20"/>
                  </a:lnTo>
                  <a:lnTo>
                    <a:pt x="33" y="25"/>
                  </a:lnTo>
                  <a:lnTo>
                    <a:pt x="33" y="26"/>
                  </a:lnTo>
                  <a:lnTo>
                    <a:pt x="31" y="30"/>
                  </a:lnTo>
                  <a:lnTo>
                    <a:pt x="29" y="30"/>
                  </a:lnTo>
                  <a:lnTo>
                    <a:pt x="23" y="13"/>
                  </a:lnTo>
                  <a:lnTo>
                    <a:pt x="21" y="13"/>
                  </a:lnTo>
                  <a:lnTo>
                    <a:pt x="17" y="11"/>
                  </a:lnTo>
                  <a:lnTo>
                    <a:pt x="11" y="7"/>
                  </a:lnTo>
                  <a:lnTo>
                    <a:pt x="10" y="7"/>
                  </a:lnTo>
                  <a:lnTo>
                    <a:pt x="2" y="3"/>
                  </a:lnTo>
                  <a:lnTo>
                    <a:pt x="0" y="1"/>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70" name="Freeform 896"/>
            <p:cNvSpPr>
              <a:spLocks/>
            </p:cNvSpPr>
            <p:nvPr/>
          </p:nvSpPr>
          <p:spPr bwMode="auto">
            <a:xfrm>
              <a:off x="8088754" y="3313163"/>
              <a:ext cx="29845" cy="31438"/>
            </a:xfrm>
            <a:custGeom>
              <a:avLst/>
              <a:gdLst/>
              <a:ahLst/>
              <a:cxnLst>
                <a:cxn ang="0">
                  <a:pos x="0" y="0"/>
                </a:cxn>
                <a:cxn ang="0">
                  <a:pos x="0" y="0"/>
                </a:cxn>
                <a:cxn ang="0">
                  <a:pos x="14" y="9"/>
                </a:cxn>
                <a:cxn ang="0">
                  <a:pos x="17" y="9"/>
                </a:cxn>
                <a:cxn ang="0">
                  <a:pos x="24" y="14"/>
                </a:cxn>
                <a:cxn ang="0">
                  <a:pos x="26" y="17"/>
                </a:cxn>
                <a:cxn ang="0">
                  <a:pos x="27" y="19"/>
                </a:cxn>
                <a:cxn ang="0">
                  <a:pos x="30" y="19"/>
                </a:cxn>
                <a:cxn ang="0">
                  <a:pos x="31" y="20"/>
                </a:cxn>
                <a:cxn ang="0">
                  <a:pos x="33" y="25"/>
                </a:cxn>
                <a:cxn ang="0">
                  <a:pos x="33" y="26"/>
                </a:cxn>
                <a:cxn ang="0">
                  <a:pos x="31" y="30"/>
                </a:cxn>
                <a:cxn ang="0">
                  <a:pos x="29" y="30"/>
                </a:cxn>
                <a:cxn ang="0">
                  <a:pos x="23" y="13"/>
                </a:cxn>
                <a:cxn ang="0">
                  <a:pos x="21" y="13"/>
                </a:cxn>
                <a:cxn ang="0">
                  <a:pos x="17" y="11"/>
                </a:cxn>
                <a:cxn ang="0">
                  <a:pos x="11" y="7"/>
                </a:cxn>
                <a:cxn ang="0">
                  <a:pos x="10" y="7"/>
                </a:cxn>
                <a:cxn ang="0">
                  <a:pos x="2" y="3"/>
                </a:cxn>
                <a:cxn ang="0">
                  <a:pos x="0" y="1"/>
                </a:cxn>
                <a:cxn ang="0">
                  <a:pos x="0" y="0"/>
                </a:cxn>
              </a:cxnLst>
              <a:rect l="0" t="0" r="r" b="b"/>
              <a:pathLst>
                <a:path w="33" h="30">
                  <a:moveTo>
                    <a:pt x="0" y="0"/>
                  </a:moveTo>
                  <a:lnTo>
                    <a:pt x="0" y="0"/>
                  </a:lnTo>
                  <a:lnTo>
                    <a:pt x="14" y="9"/>
                  </a:lnTo>
                  <a:lnTo>
                    <a:pt x="17" y="9"/>
                  </a:lnTo>
                  <a:lnTo>
                    <a:pt x="24" y="14"/>
                  </a:lnTo>
                  <a:lnTo>
                    <a:pt x="26" y="17"/>
                  </a:lnTo>
                  <a:lnTo>
                    <a:pt x="27" y="19"/>
                  </a:lnTo>
                  <a:lnTo>
                    <a:pt x="30" y="19"/>
                  </a:lnTo>
                  <a:lnTo>
                    <a:pt x="31" y="20"/>
                  </a:lnTo>
                  <a:lnTo>
                    <a:pt x="33" y="25"/>
                  </a:lnTo>
                  <a:lnTo>
                    <a:pt x="33" y="26"/>
                  </a:lnTo>
                  <a:lnTo>
                    <a:pt x="31" y="30"/>
                  </a:lnTo>
                  <a:lnTo>
                    <a:pt x="29" y="30"/>
                  </a:lnTo>
                  <a:lnTo>
                    <a:pt x="23" y="13"/>
                  </a:lnTo>
                  <a:lnTo>
                    <a:pt x="21" y="13"/>
                  </a:lnTo>
                  <a:lnTo>
                    <a:pt x="17" y="11"/>
                  </a:lnTo>
                  <a:lnTo>
                    <a:pt x="11" y="7"/>
                  </a:lnTo>
                  <a:lnTo>
                    <a:pt x="10" y="7"/>
                  </a:lnTo>
                  <a:lnTo>
                    <a:pt x="2" y="3"/>
                  </a:lnTo>
                  <a:lnTo>
                    <a:pt x="0" y="1"/>
                  </a:lnTo>
                  <a:lnTo>
                    <a:pt x="0"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71" name="Freeform 897"/>
            <p:cNvSpPr>
              <a:spLocks/>
            </p:cNvSpPr>
            <p:nvPr/>
          </p:nvSpPr>
          <p:spPr bwMode="auto">
            <a:xfrm>
              <a:off x="8038719" y="3352713"/>
              <a:ext cx="2633" cy="3043"/>
            </a:xfrm>
            <a:custGeom>
              <a:avLst/>
              <a:gdLst/>
              <a:ahLst/>
              <a:cxnLst>
                <a:cxn ang="0">
                  <a:pos x="0" y="0"/>
                </a:cxn>
                <a:cxn ang="0">
                  <a:pos x="1" y="0"/>
                </a:cxn>
                <a:cxn ang="0">
                  <a:pos x="3" y="0"/>
                </a:cxn>
                <a:cxn ang="0">
                  <a:pos x="3" y="1"/>
                </a:cxn>
                <a:cxn ang="0">
                  <a:pos x="1" y="3"/>
                </a:cxn>
                <a:cxn ang="0">
                  <a:pos x="1" y="3"/>
                </a:cxn>
                <a:cxn ang="0">
                  <a:pos x="0" y="1"/>
                </a:cxn>
                <a:cxn ang="0">
                  <a:pos x="0" y="0"/>
                </a:cxn>
              </a:cxnLst>
              <a:rect l="0" t="0" r="r" b="b"/>
              <a:pathLst>
                <a:path w="3" h="3">
                  <a:moveTo>
                    <a:pt x="0" y="0"/>
                  </a:moveTo>
                  <a:lnTo>
                    <a:pt x="1" y="0"/>
                  </a:lnTo>
                  <a:lnTo>
                    <a:pt x="3" y="0"/>
                  </a:lnTo>
                  <a:lnTo>
                    <a:pt x="3" y="1"/>
                  </a:lnTo>
                  <a:lnTo>
                    <a:pt x="1" y="3"/>
                  </a:lnTo>
                  <a:lnTo>
                    <a:pt x="1" y="3"/>
                  </a:lnTo>
                  <a:lnTo>
                    <a:pt x="0" y="1"/>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72" name="Freeform 898"/>
            <p:cNvSpPr>
              <a:spLocks/>
            </p:cNvSpPr>
            <p:nvPr/>
          </p:nvSpPr>
          <p:spPr bwMode="auto">
            <a:xfrm>
              <a:off x="8038719" y="3352713"/>
              <a:ext cx="2633" cy="3043"/>
            </a:xfrm>
            <a:custGeom>
              <a:avLst/>
              <a:gdLst/>
              <a:ahLst/>
              <a:cxnLst>
                <a:cxn ang="0">
                  <a:pos x="0" y="0"/>
                </a:cxn>
                <a:cxn ang="0">
                  <a:pos x="1" y="0"/>
                </a:cxn>
                <a:cxn ang="0">
                  <a:pos x="3" y="0"/>
                </a:cxn>
                <a:cxn ang="0">
                  <a:pos x="3" y="1"/>
                </a:cxn>
                <a:cxn ang="0">
                  <a:pos x="1" y="3"/>
                </a:cxn>
                <a:cxn ang="0">
                  <a:pos x="1" y="3"/>
                </a:cxn>
                <a:cxn ang="0">
                  <a:pos x="0" y="1"/>
                </a:cxn>
                <a:cxn ang="0">
                  <a:pos x="0" y="0"/>
                </a:cxn>
              </a:cxnLst>
              <a:rect l="0" t="0" r="r" b="b"/>
              <a:pathLst>
                <a:path w="3" h="3">
                  <a:moveTo>
                    <a:pt x="0" y="0"/>
                  </a:moveTo>
                  <a:lnTo>
                    <a:pt x="1" y="0"/>
                  </a:lnTo>
                  <a:lnTo>
                    <a:pt x="3" y="0"/>
                  </a:lnTo>
                  <a:lnTo>
                    <a:pt x="3" y="1"/>
                  </a:lnTo>
                  <a:lnTo>
                    <a:pt x="1" y="3"/>
                  </a:lnTo>
                  <a:lnTo>
                    <a:pt x="1" y="3"/>
                  </a:lnTo>
                  <a:lnTo>
                    <a:pt x="0" y="1"/>
                  </a:lnTo>
                  <a:lnTo>
                    <a:pt x="0"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73" name="Freeform 899"/>
            <p:cNvSpPr>
              <a:spLocks/>
            </p:cNvSpPr>
            <p:nvPr/>
          </p:nvSpPr>
          <p:spPr bwMode="auto">
            <a:xfrm>
              <a:off x="8049253" y="3355755"/>
              <a:ext cx="2633" cy="5071"/>
            </a:xfrm>
            <a:custGeom>
              <a:avLst/>
              <a:gdLst/>
              <a:ahLst/>
              <a:cxnLst>
                <a:cxn ang="0">
                  <a:pos x="0" y="1"/>
                </a:cxn>
                <a:cxn ang="0">
                  <a:pos x="0" y="0"/>
                </a:cxn>
                <a:cxn ang="0">
                  <a:pos x="2" y="1"/>
                </a:cxn>
                <a:cxn ang="0">
                  <a:pos x="3" y="1"/>
                </a:cxn>
                <a:cxn ang="0">
                  <a:pos x="3" y="4"/>
                </a:cxn>
                <a:cxn ang="0">
                  <a:pos x="2" y="4"/>
                </a:cxn>
                <a:cxn ang="0">
                  <a:pos x="0" y="1"/>
                </a:cxn>
              </a:cxnLst>
              <a:rect l="0" t="0" r="r" b="b"/>
              <a:pathLst>
                <a:path w="3" h="4">
                  <a:moveTo>
                    <a:pt x="0" y="1"/>
                  </a:moveTo>
                  <a:lnTo>
                    <a:pt x="0" y="0"/>
                  </a:lnTo>
                  <a:lnTo>
                    <a:pt x="2" y="1"/>
                  </a:lnTo>
                  <a:lnTo>
                    <a:pt x="3" y="1"/>
                  </a:lnTo>
                  <a:lnTo>
                    <a:pt x="3" y="4"/>
                  </a:lnTo>
                  <a:lnTo>
                    <a:pt x="2" y="4"/>
                  </a:lnTo>
                  <a:lnTo>
                    <a:pt x="0"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74" name="Freeform 900"/>
            <p:cNvSpPr>
              <a:spLocks/>
            </p:cNvSpPr>
            <p:nvPr/>
          </p:nvSpPr>
          <p:spPr bwMode="auto">
            <a:xfrm>
              <a:off x="8049253" y="3355755"/>
              <a:ext cx="2633" cy="5071"/>
            </a:xfrm>
            <a:custGeom>
              <a:avLst/>
              <a:gdLst/>
              <a:ahLst/>
              <a:cxnLst>
                <a:cxn ang="0">
                  <a:pos x="0" y="1"/>
                </a:cxn>
                <a:cxn ang="0">
                  <a:pos x="0" y="0"/>
                </a:cxn>
                <a:cxn ang="0">
                  <a:pos x="2" y="1"/>
                </a:cxn>
                <a:cxn ang="0">
                  <a:pos x="3" y="1"/>
                </a:cxn>
                <a:cxn ang="0">
                  <a:pos x="3" y="4"/>
                </a:cxn>
                <a:cxn ang="0">
                  <a:pos x="2" y="4"/>
                </a:cxn>
                <a:cxn ang="0">
                  <a:pos x="0" y="1"/>
                </a:cxn>
              </a:cxnLst>
              <a:rect l="0" t="0" r="r" b="b"/>
              <a:pathLst>
                <a:path w="3" h="4">
                  <a:moveTo>
                    <a:pt x="0" y="1"/>
                  </a:moveTo>
                  <a:lnTo>
                    <a:pt x="0" y="0"/>
                  </a:lnTo>
                  <a:lnTo>
                    <a:pt x="2" y="1"/>
                  </a:lnTo>
                  <a:lnTo>
                    <a:pt x="3" y="1"/>
                  </a:lnTo>
                  <a:lnTo>
                    <a:pt x="3" y="4"/>
                  </a:lnTo>
                  <a:lnTo>
                    <a:pt x="2" y="4"/>
                  </a:lnTo>
                  <a:lnTo>
                    <a:pt x="0" y="1"/>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75" name="Freeform 901"/>
            <p:cNvSpPr>
              <a:spLocks/>
            </p:cNvSpPr>
            <p:nvPr/>
          </p:nvSpPr>
          <p:spPr bwMode="auto">
            <a:xfrm>
              <a:off x="8056275" y="3337502"/>
              <a:ext cx="53546" cy="30424"/>
            </a:xfrm>
            <a:custGeom>
              <a:avLst/>
              <a:gdLst/>
              <a:ahLst/>
              <a:cxnLst>
                <a:cxn ang="0">
                  <a:pos x="0" y="18"/>
                </a:cxn>
                <a:cxn ang="0">
                  <a:pos x="1" y="18"/>
                </a:cxn>
                <a:cxn ang="0">
                  <a:pos x="3" y="18"/>
                </a:cxn>
                <a:cxn ang="0">
                  <a:pos x="20" y="18"/>
                </a:cxn>
                <a:cxn ang="0">
                  <a:pos x="21" y="18"/>
                </a:cxn>
                <a:cxn ang="0">
                  <a:pos x="21" y="15"/>
                </a:cxn>
                <a:cxn ang="0">
                  <a:pos x="23" y="12"/>
                </a:cxn>
                <a:cxn ang="0">
                  <a:pos x="24" y="12"/>
                </a:cxn>
                <a:cxn ang="0">
                  <a:pos x="26" y="12"/>
                </a:cxn>
                <a:cxn ang="0">
                  <a:pos x="24" y="15"/>
                </a:cxn>
                <a:cxn ang="0">
                  <a:pos x="24" y="18"/>
                </a:cxn>
                <a:cxn ang="0">
                  <a:pos x="26" y="18"/>
                </a:cxn>
                <a:cxn ang="0">
                  <a:pos x="30" y="18"/>
                </a:cxn>
                <a:cxn ang="0">
                  <a:pos x="32" y="18"/>
                </a:cxn>
                <a:cxn ang="0">
                  <a:pos x="35" y="18"/>
                </a:cxn>
                <a:cxn ang="0">
                  <a:pos x="36" y="18"/>
                </a:cxn>
                <a:cxn ang="0">
                  <a:pos x="40" y="12"/>
                </a:cxn>
                <a:cxn ang="0">
                  <a:pos x="43" y="10"/>
                </a:cxn>
                <a:cxn ang="0">
                  <a:pos x="45" y="10"/>
                </a:cxn>
                <a:cxn ang="0">
                  <a:pos x="48" y="9"/>
                </a:cxn>
                <a:cxn ang="0">
                  <a:pos x="48" y="6"/>
                </a:cxn>
                <a:cxn ang="0">
                  <a:pos x="46" y="2"/>
                </a:cxn>
                <a:cxn ang="0">
                  <a:pos x="46" y="0"/>
                </a:cxn>
                <a:cxn ang="0">
                  <a:pos x="48" y="0"/>
                </a:cxn>
                <a:cxn ang="0">
                  <a:pos x="51" y="0"/>
                </a:cxn>
                <a:cxn ang="0">
                  <a:pos x="52" y="0"/>
                </a:cxn>
                <a:cxn ang="0">
                  <a:pos x="52" y="0"/>
                </a:cxn>
                <a:cxn ang="0">
                  <a:pos x="53" y="0"/>
                </a:cxn>
                <a:cxn ang="0">
                  <a:pos x="56" y="0"/>
                </a:cxn>
                <a:cxn ang="0">
                  <a:pos x="58" y="3"/>
                </a:cxn>
                <a:cxn ang="0">
                  <a:pos x="58" y="6"/>
                </a:cxn>
                <a:cxn ang="0">
                  <a:pos x="56" y="9"/>
                </a:cxn>
                <a:cxn ang="0">
                  <a:pos x="55" y="10"/>
                </a:cxn>
                <a:cxn ang="0">
                  <a:pos x="53" y="10"/>
                </a:cxn>
                <a:cxn ang="0">
                  <a:pos x="53" y="13"/>
                </a:cxn>
                <a:cxn ang="0">
                  <a:pos x="53" y="16"/>
                </a:cxn>
                <a:cxn ang="0">
                  <a:pos x="52" y="19"/>
                </a:cxn>
                <a:cxn ang="0">
                  <a:pos x="51" y="19"/>
                </a:cxn>
                <a:cxn ang="0">
                  <a:pos x="46" y="19"/>
                </a:cxn>
                <a:cxn ang="0">
                  <a:pos x="46" y="20"/>
                </a:cxn>
                <a:cxn ang="0">
                  <a:pos x="46" y="22"/>
                </a:cxn>
                <a:cxn ang="0">
                  <a:pos x="43" y="25"/>
                </a:cxn>
                <a:cxn ang="0">
                  <a:pos x="33" y="29"/>
                </a:cxn>
                <a:cxn ang="0">
                  <a:pos x="20" y="29"/>
                </a:cxn>
                <a:cxn ang="0">
                  <a:pos x="16" y="26"/>
                </a:cxn>
                <a:cxn ang="0">
                  <a:pos x="11" y="28"/>
                </a:cxn>
                <a:cxn ang="0">
                  <a:pos x="6" y="25"/>
                </a:cxn>
                <a:cxn ang="0">
                  <a:pos x="3" y="23"/>
                </a:cxn>
                <a:cxn ang="0">
                  <a:pos x="0" y="20"/>
                </a:cxn>
                <a:cxn ang="0">
                  <a:pos x="0" y="18"/>
                </a:cxn>
              </a:cxnLst>
              <a:rect l="0" t="0" r="r" b="b"/>
              <a:pathLst>
                <a:path w="58" h="29">
                  <a:moveTo>
                    <a:pt x="0" y="18"/>
                  </a:moveTo>
                  <a:lnTo>
                    <a:pt x="1" y="18"/>
                  </a:lnTo>
                  <a:lnTo>
                    <a:pt x="3" y="18"/>
                  </a:lnTo>
                  <a:lnTo>
                    <a:pt x="20" y="18"/>
                  </a:lnTo>
                  <a:lnTo>
                    <a:pt x="21" y="18"/>
                  </a:lnTo>
                  <a:lnTo>
                    <a:pt x="21" y="15"/>
                  </a:lnTo>
                  <a:lnTo>
                    <a:pt x="23" y="12"/>
                  </a:lnTo>
                  <a:lnTo>
                    <a:pt x="24" y="12"/>
                  </a:lnTo>
                  <a:lnTo>
                    <a:pt x="26" y="12"/>
                  </a:lnTo>
                  <a:lnTo>
                    <a:pt x="24" y="15"/>
                  </a:lnTo>
                  <a:lnTo>
                    <a:pt x="24" y="18"/>
                  </a:lnTo>
                  <a:lnTo>
                    <a:pt x="26" y="18"/>
                  </a:lnTo>
                  <a:lnTo>
                    <a:pt x="30" y="18"/>
                  </a:lnTo>
                  <a:lnTo>
                    <a:pt x="32" y="18"/>
                  </a:lnTo>
                  <a:lnTo>
                    <a:pt x="35" y="18"/>
                  </a:lnTo>
                  <a:lnTo>
                    <a:pt x="36" y="18"/>
                  </a:lnTo>
                  <a:lnTo>
                    <a:pt x="40" y="12"/>
                  </a:lnTo>
                  <a:lnTo>
                    <a:pt x="43" y="10"/>
                  </a:lnTo>
                  <a:lnTo>
                    <a:pt x="45" y="10"/>
                  </a:lnTo>
                  <a:lnTo>
                    <a:pt x="48" y="9"/>
                  </a:lnTo>
                  <a:lnTo>
                    <a:pt x="48" y="6"/>
                  </a:lnTo>
                  <a:lnTo>
                    <a:pt x="46" y="2"/>
                  </a:lnTo>
                  <a:lnTo>
                    <a:pt x="46" y="0"/>
                  </a:lnTo>
                  <a:lnTo>
                    <a:pt x="48" y="0"/>
                  </a:lnTo>
                  <a:lnTo>
                    <a:pt x="51" y="0"/>
                  </a:lnTo>
                  <a:lnTo>
                    <a:pt x="52" y="0"/>
                  </a:lnTo>
                  <a:lnTo>
                    <a:pt x="52" y="0"/>
                  </a:lnTo>
                  <a:lnTo>
                    <a:pt x="53" y="0"/>
                  </a:lnTo>
                  <a:lnTo>
                    <a:pt x="56" y="0"/>
                  </a:lnTo>
                  <a:lnTo>
                    <a:pt x="58" y="3"/>
                  </a:lnTo>
                  <a:lnTo>
                    <a:pt x="58" y="6"/>
                  </a:lnTo>
                  <a:lnTo>
                    <a:pt x="56" y="9"/>
                  </a:lnTo>
                  <a:lnTo>
                    <a:pt x="55" y="10"/>
                  </a:lnTo>
                  <a:lnTo>
                    <a:pt x="53" y="10"/>
                  </a:lnTo>
                  <a:lnTo>
                    <a:pt x="53" y="13"/>
                  </a:lnTo>
                  <a:lnTo>
                    <a:pt x="53" y="16"/>
                  </a:lnTo>
                  <a:lnTo>
                    <a:pt x="52" y="19"/>
                  </a:lnTo>
                  <a:lnTo>
                    <a:pt x="51" y="19"/>
                  </a:lnTo>
                  <a:lnTo>
                    <a:pt x="46" y="19"/>
                  </a:lnTo>
                  <a:lnTo>
                    <a:pt x="46" y="20"/>
                  </a:lnTo>
                  <a:lnTo>
                    <a:pt x="46" y="22"/>
                  </a:lnTo>
                  <a:lnTo>
                    <a:pt x="43" y="25"/>
                  </a:lnTo>
                  <a:lnTo>
                    <a:pt x="33" y="29"/>
                  </a:lnTo>
                  <a:lnTo>
                    <a:pt x="20" y="29"/>
                  </a:lnTo>
                  <a:lnTo>
                    <a:pt x="16" y="26"/>
                  </a:lnTo>
                  <a:lnTo>
                    <a:pt x="11" y="28"/>
                  </a:lnTo>
                  <a:lnTo>
                    <a:pt x="6" y="25"/>
                  </a:lnTo>
                  <a:lnTo>
                    <a:pt x="3" y="23"/>
                  </a:lnTo>
                  <a:lnTo>
                    <a:pt x="0" y="20"/>
                  </a:lnTo>
                  <a:lnTo>
                    <a:pt x="0" y="18"/>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76" name="Freeform 902"/>
            <p:cNvSpPr>
              <a:spLocks/>
            </p:cNvSpPr>
            <p:nvPr/>
          </p:nvSpPr>
          <p:spPr bwMode="auto">
            <a:xfrm>
              <a:off x="8056275" y="3337502"/>
              <a:ext cx="53546" cy="30424"/>
            </a:xfrm>
            <a:custGeom>
              <a:avLst/>
              <a:gdLst/>
              <a:ahLst/>
              <a:cxnLst>
                <a:cxn ang="0">
                  <a:pos x="0" y="18"/>
                </a:cxn>
                <a:cxn ang="0">
                  <a:pos x="1" y="18"/>
                </a:cxn>
                <a:cxn ang="0">
                  <a:pos x="3" y="18"/>
                </a:cxn>
                <a:cxn ang="0">
                  <a:pos x="20" y="18"/>
                </a:cxn>
                <a:cxn ang="0">
                  <a:pos x="21" y="18"/>
                </a:cxn>
                <a:cxn ang="0">
                  <a:pos x="21" y="15"/>
                </a:cxn>
                <a:cxn ang="0">
                  <a:pos x="23" y="12"/>
                </a:cxn>
                <a:cxn ang="0">
                  <a:pos x="24" y="12"/>
                </a:cxn>
                <a:cxn ang="0">
                  <a:pos x="26" y="12"/>
                </a:cxn>
                <a:cxn ang="0">
                  <a:pos x="24" y="15"/>
                </a:cxn>
                <a:cxn ang="0">
                  <a:pos x="24" y="18"/>
                </a:cxn>
                <a:cxn ang="0">
                  <a:pos x="26" y="18"/>
                </a:cxn>
                <a:cxn ang="0">
                  <a:pos x="30" y="18"/>
                </a:cxn>
                <a:cxn ang="0">
                  <a:pos x="32" y="18"/>
                </a:cxn>
                <a:cxn ang="0">
                  <a:pos x="35" y="18"/>
                </a:cxn>
                <a:cxn ang="0">
                  <a:pos x="36" y="18"/>
                </a:cxn>
                <a:cxn ang="0">
                  <a:pos x="40" y="12"/>
                </a:cxn>
                <a:cxn ang="0">
                  <a:pos x="43" y="10"/>
                </a:cxn>
                <a:cxn ang="0">
                  <a:pos x="45" y="10"/>
                </a:cxn>
                <a:cxn ang="0">
                  <a:pos x="48" y="9"/>
                </a:cxn>
                <a:cxn ang="0">
                  <a:pos x="48" y="6"/>
                </a:cxn>
                <a:cxn ang="0">
                  <a:pos x="46" y="2"/>
                </a:cxn>
                <a:cxn ang="0">
                  <a:pos x="46" y="0"/>
                </a:cxn>
                <a:cxn ang="0">
                  <a:pos x="48" y="0"/>
                </a:cxn>
                <a:cxn ang="0">
                  <a:pos x="51" y="0"/>
                </a:cxn>
                <a:cxn ang="0">
                  <a:pos x="52" y="0"/>
                </a:cxn>
                <a:cxn ang="0">
                  <a:pos x="52" y="0"/>
                </a:cxn>
                <a:cxn ang="0">
                  <a:pos x="53" y="0"/>
                </a:cxn>
                <a:cxn ang="0">
                  <a:pos x="56" y="0"/>
                </a:cxn>
                <a:cxn ang="0">
                  <a:pos x="58" y="3"/>
                </a:cxn>
                <a:cxn ang="0">
                  <a:pos x="58" y="6"/>
                </a:cxn>
                <a:cxn ang="0">
                  <a:pos x="56" y="9"/>
                </a:cxn>
                <a:cxn ang="0">
                  <a:pos x="55" y="10"/>
                </a:cxn>
                <a:cxn ang="0">
                  <a:pos x="53" y="10"/>
                </a:cxn>
                <a:cxn ang="0">
                  <a:pos x="53" y="13"/>
                </a:cxn>
                <a:cxn ang="0">
                  <a:pos x="53" y="16"/>
                </a:cxn>
                <a:cxn ang="0">
                  <a:pos x="52" y="19"/>
                </a:cxn>
                <a:cxn ang="0">
                  <a:pos x="51" y="19"/>
                </a:cxn>
                <a:cxn ang="0">
                  <a:pos x="46" y="19"/>
                </a:cxn>
                <a:cxn ang="0">
                  <a:pos x="46" y="20"/>
                </a:cxn>
                <a:cxn ang="0">
                  <a:pos x="46" y="22"/>
                </a:cxn>
                <a:cxn ang="0">
                  <a:pos x="43" y="25"/>
                </a:cxn>
                <a:cxn ang="0">
                  <a:pos x="33" y="29"/>
                </a:cxn>
                <a:cxn ang="0">
                  <a:pos x="20" y="29"/>
                </a:cxn>
                <a:cxn ang="0">
                  <a:pos x="16" y="26"/>
                </a:cxn>
                <a:cxn ang="0">
                  <a:pos x="11" y="28"/>
                </a:cxn>
                <a:cxn ang="0">
                  <a:pos x="6" y="25"/>
                </a:cxn>
                <a:cxn ang="0">
                  <a:pos x="3" y="23"/>
                </a:cxn>
                <a:cxn ang="0">
                  <a:pos x="0" y="20"/>
                </a:cxn>
                <a:cxn ang="0">
                  <a:pos x="0" y="18"/>
                </a:cxn>
              </a:cxnLst>
              <a:rect l="0" t="0" r="r" b="b"/>
              <a:pathLst>
                <a:path w="58" h="29">
                  <a:moveTo>
                    <a:pt x="0" y="18"/>
                  </a:moveTo>
                  <a:lnTo>
                    <a:pt x="1" y="18"/>
                  </a:lnTo>
                  <a:lnTo>
                    <a:pt x="3" y="18"/>
                  </a:lnTo>
                  <a:lnTo>
                    <a:pt x="20" y="18"/>
                  </a:lnTo>
                  <a:lnTo>
                    <a:pt x="21" y="18"/>
                  </a:lnTo>
                  <a:lnTo>
                    <a:pt x="21" y="15"/>
                  </a:lnTo>
                  <a:lnTo>
                    <a:pt x="23" y="12"/>
                  </a:lnTo>
                  <a:lnTo>
                    <a:pt x="24" y="12"/>
                  </a:lnTo>
                  <a:lnTo>
                    <a:pt x="26" y="12"/>
                  </a:lnTo>
                  <a:lnTo>
                    <a:pt x="24" y="15"/>
                  </a:lnTo>
                  <a:lnTo>
                    <a:pt x="24" y="18"/>
                  </a:lnTo>
                  <a:lnTo>
                    <a:pt x="26" y="18"/>
                  </a:lnTo>
                  <a:lnTo>
                    <a:pt x="30" y="18"/>
                  </a:lnTo>
                  <a:lnTo>
                    <a:pt x="32" y="18"/>
                  </a:lnTo>
                  <a:lnTo>
                    <a:pt x="35" y="18"/>
                  </a:lnTo>
                  <a:lnTo>
                    <a:pt x="36" y="18"/>
                  </a:lnTo>
                  <a:lnTo>
                    <a:pt x="40" y="12"/>
                  </a:lnTo>
                  <a:lnTo>
                    <a:pt x="43" y="10"/>
                  </a:lnTo>
                  <a:lnTo>
                    <a:pt x="45" y="10"/>
                  </a:lnTo>
                  <a:lnTo>
                    <a:pt x="48" y="9"/>
                  </a:lnTo>
                  <a:lnTo>
                    <a:pt x="48" y="6"/>
                  </a:lnTo>
                  <a:lnTo>
                    <a:pt x="46" y="2"/>
                  </a:lnTo>
                  <a:lnTo>
                    <a:pt x="46" y="0"/>
                  </a:lnTo>
                  <a:lnTo>
                    <a:pt x="48" y="0"/>
                  </a:lnTo>
                  <a:lnTo>
                    <a:pt x="51" y="0"/>
                  </a:lnTo>
                  <a:lnTo>
                    <a:pt x="52" y="0"/>
                  </a:lnTo>
                  <a:lnTo>
                    <a:pt x="52" y="0"/>
                  </a:lnTo>
                  <a:lnTo>
                    <a:pt x="53" y="0"/>
                  </a:lnTo>
                  <a:lnTo>
                    <a:pt x="56" y="0"/>
                  </a:lnTo>
                  <a:lnTo>
                    <a:pt x="58" y="3"/>
                  </a:lnTo>
                  <a:lnTo>
                    <a:pt x="58" y="6"/>
                  </a:lnTo>
                  <a:lnTo>
                    <a:pt x="56" y="9"/>
                  </a:lnTo>
                  <a:lnTo>
                    <a:pt x="55" y="10"/>
                  </a:lnTo>
                  <a:lnTo>
                    <a:pt x="53" y="10"/>
                  </a:lnTo>
                  <a:lnTo>
                    <a:pt x="53" y="13"/>
                  </a:lnTo>
                  <a:lnTo>
                    <a:pt x="53" y="16"/>
                  </a:lnTo>
                  <a:lnTo>
                    <a:pt x="52" y="19"/>
                  </a:lnTo>
                  <a:lnTo>
                    <a:pt x="51" y="19"/>
                  </a:lnTo>
                  <a:lnTo>
                    <a:pt x="46" y="19"/>
                  </a:lnTo>
                  <a:lnTo>
                    <a:pt x="46" y="20"/>
                  </a:lnTo>
                  <a:lnTo>
                    <a:pt x="46" y="22"/>
                  </a:lnTo>
                  <a:lnTo>
                    <a:pt x="43" y="25"/>
                  </a:lnTo>
                  <a:lnTo>
                    <a:pt x="33" y="29"/>
                  </a:lnTo>
                  <a:lnTo>
                    <a:pt x="20" y="29"/>
                  </a:lnTo>
                  <a:lnTo>
                    <a:pt x="16" y="26"/>
                  </a:lnTo>
                  <a:lnTo>
                    <a:pt x="11" y="28"/>
                  </a:lnTo>
                  <a:lnTo>
                    <a:pt x="6" y="25"/>
                  </a:lnTo>
                  <a:lnTo>
                    <a:pt x="3" y="23"/>
                  </a:lnTo>
                  <a:lnTo>
                    <a:pt x="0" y="20"/>
                  </a:lnTo>
                  <a:lnTo>
                    <a:pt x="0" y="18"/>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77" name="Freeform 903"/>
            <p:cNvSpPr>
              <a:spLocks/>
            </p:cNvSpPr>
            <p:nvPr/>
          </p:nvSpPr>
          <p:spPr bwMode="auto">
            <a:xfrm>
              <a:off x="8112454" y="3407478"/>
              <a:ext cx="3511" cy="4057"/>
            </a:xfrm>
            <a:custGeom>
              <a:avLst/>
              <a:gdLst/>
              <a:ahLst/>
              <a:cxnLst>
                <a:cxn ang="0">
                  <a:pos x="0" y="0"/>
                </a:cxn>
                <a:cxn ang="0">
                  <a:pos x="4" y="3"/>
                </a:cxn>
                <a:cxn ang="0">
                  <a:pos x="4" y="4"/>
                </a:cxn>
                <a:cxn ang="0">
                  <a:pos x="3" y="4"/>
                </a:cxn>
                <a:cxn ang="0">
                  <a:pos x="1" y="3"/>
                </a:cxn>
                <a:cxn ang="0">
                  <a:pos x="0" y="0"/>
                </a:cxn>
              </a:cxnLst>
              <a:rect l="0" t="0" r="r" b="b"/>
              <a:pathLst>
                <a:path w="4" h="4">
                  <a:moveTo>
                    <a:pt x="0" y="0"/>
                  </a:moveTo>
                  <a:lnTo>
                    <a:pt x="4" y="3"/>
                  </a:lnTo>
                  <a:lnTo>
                    <a:pt x="4" y="4"/>
                  </a:lnTo>
                  <a:lnTo>
                    <a:pt x="3" y="4"/>
                  </a:lnTo>
                  <a:lnTo>
                    <a:pt x="1" y="3"/>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78" name="Freeform 904"/>
            <p:cNvSpPr>
              <a:spLocks/>
            </p:cNvSpPr>
            <p:nvPr/>
          </p:nvSpPr>
          <p:spPr bwMode="auto">
            <a:xfrm>
              <a:off x="8112454" y="3407478"/>
              <a:ext cx="3511" cy="4057"/>
            </a:xfrm>
            <a:custGeom>
              <a:avLst/>
              <a:gdLst/>
              <a:ahLst/>
              <a:cxnLst>
                <a:cxn ang="0">
                  <a:pos x="0" y="0"/>
                </a:cxn>
                <a:cxn ang="0">
                  <a:pos x="4" y="3"/>
                </a:cxn>
                <a:cxn ang="0">
                  <a:pos x="4" y="4"/>
                </a:cxn>
                <a:cxn ang="0">
                  <a:pos x="3" y="4"/>
                </a:cxn>
                <a:cxn ang="0">
                  <a:pos x="1" y="3"/>
                </a:cxn>
                <a:cxn ang="0">
                  <a:pos x="0" y="0"/>
                </a:cxn>
              </a:cxnLst>
              <a:rect l="0" t="0" r="r" b="b"/>
              <a:pathLst>
                <a:path w="4" h="4">
                  <a:moveTo>
                    <a:pt x="0" y="0"/>
                  </a:moveTo>
                  <a:lnTo>
                    <a:pt x="4" y="3"/>
                  </a:lnTo>
                  <a:lnTo>
                    <a:pt x="4" y="4"/>
                  </a:lnTo>
                  <a:lnTo>
                    <a:pt x="3" y="4"/>
                  </a:lnTo>
                  <a:lnTo>
                    <a:pt x="1" y="3"/>
                  </a:lnTo>
                  <a:lnTo>
                    <a:pt x="0"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79" name="Freeform 905"/>
            <p:cNvSpPr>
              <a:spLocks/>
            </p:cNvSpPr>
            <p:nvPr/>
          </p:nvSpPr>
          <p:spPr bwMode="auto">
            <a:xfrm>
              <a:off x="8083487" y="3413561"/>
              <a:ext cx="7022" cy="6085"/>
            </a:xfrm>
            <a:custGeom>
              <a:avLst/>
              <a:gdLst/>
              <a:ahLst/>
              <a:cxnLst>
                <a:cxn ang="0">
                  <a:pos x="0" y="0"/>
                </a:cxn>
                <a:cxn ang="0">
                  <a:pos x="5" y="1"/>
                </a:cxn>
                <a:cxn ang="0">
                  <a:pos x="6" y="3"/>
                </a:cxn>
                <a:cxn ang="0">
                  <a:pos x="7" y="6"/>
                </a:cxn>
                <a:cxn ang="0">
                  <a:pos x="2" y="4"/>
                </a:cxn>
                <a:cxn ang="0">
                  <a:pos x="0" y="1"/>
                </a:cxn>
                <a:cxn ang="0">
                  <a:pos x="0" y="0"/>
                </a:cxn>
              </a:cxnLst>
              <a:rect l="0" t="0" r="r" b="b"/>
              <a:pathLst>
                <a:path w="7" h="6">
                  <a:moveTo>
                    <a:pt x="0" y="0"/>
                  </a:moveTo>
                  <a:lnTo>
                    <a:pt x="5" y="1"/>
                  </a:lnTo>
                  <a:lnTo>
                    <a:pt x="6" y="3"/>
                  </a:lnTo>
                  <a:lnTo>
                    <a:pt x="7" y="6"/>
                  </a:lnTo>
                  <a:lnTo>
                    <a:pt x="2" y="4"/>
                  </a:lnTo>
                  <a:lnTo>
                    <a:pt x="0" y="1"/>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80" name="Freeform 906"/>
            <p:cNvSpPr>
              <a:spLocks/>
            </p:cNvSpPr>
            <p:nvPr/>
          </p:nvSpPr>
          <p:spPr bwMode="auto">
            <a:xfrm>
              <a:off x="8083487" y="3413561"/>
              <a:ext cx="7022" cy="6085"/>
            </a:xfrm>
            <a:custGeom>
              <a:avLst/>
              <a:gdLst/>
              <a:ahLst/>
              <a:cxnLst>
                <a:cxn ang="0">
                  <a:pos x="0" y="0"/>
                </a:cxn>
                <a:cxn ang="0">
                  <a:pos x="5" y="1"/>
                </a:cxn>
                <a:cxn ang="0">
                  <a:pos x="6" y="3"/>
                </a:cxn>
                <a:cxn ang="0">
                  <a:pos x="7" y="6"/>
                </a:cxn>
                <a:cxn ang="0">
                  <a:pos x="2" y="4"/>
                </a:cxn>
                <a:cxn ang="0">
                  <a:pos x="0" y="1"/>
                </a:cxn>
                <a:cxn ang="0">
                  <a:pos x="0" y="0"/>
                </a:cxn>
              </a:cxnLst>
              <a:rect l="0" t="0" r="r" b="b"/>
              <a:pathLst>
                <a:path w="7" h="6">
                  <a:moveTo>
                    <a:pt x="0" y="0"/>
                  </a:moveTo>
                  <a:lnTo>
                    <a:pt x="5" y="1"/>
                  </a:lnTo>
                  <a:lnTo>
                    <a:pt x="6" y="3"/>
                  </a:lnTo>
                  <a:lnTo>
                    <a:pt x="7" y="6"/>
                  </a:lnTo>
                  <a:lnTo>
                    <a:pt x="2" y="4"/>
                  </a:lnTo>
                  <a:lnTo>
                    <a:pt x="0" y="1"/>
                  </a:lnTo>
                  <a:lnTo>
                    <a:pt x="0"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81" name="Freeform 907"/>
            <p:cNvSpPr>
              <a:spLocks/>
            </p:cNvSpPr>
            <p:nvPr/>
          </p:nvSpPr>
          <p:spPr bwMode="auto">
            <a:xfrm>
              <a:off x="8088754" y="3420660"/>
              <a:ext cx="6145" cy="4057"/>
            </a:xfrm>
            <a:custGeom>
              <a:avLst/>
              <a:gdLst/>
              <a:ahLst/>
              <a:cxnLst>
                <a:cxn ang="0">
                  <a:pos x="0" y="0"/>
                </a:cxn>
                <a:cxn ang="0">
                  <a:pos x="2" y="1"/>
                </a:cxn>
                <a:cxn ang="0">
                  <a:pos x="4" y="1"/>
                </a:cxn>
                <a:cxn ang="0">
                  <a:pos x="5" y="1"/>
                </a:cxn>
                <a:cxn ang="0">
                  <a:pos x="5" y="1"/>
                </a:cxn>
                <a:cxn ang="0">
                  <a:pos x="7" y="4"/>
                </a:cxn>
                <a:cxn ang="0">
                  <a:pos x="4" y="4"/>
                </a:cxn>
                <a:cxn ang="0">
                  <a:pos x="1" y="1"/>
                </a:cxn>
                <a:cxn ang="0">
                  <a:pos x="0" y="0"/>
                </a:cxn>
              </a:cxnLst>
              <a:rect l="0" t="0" r="r" b="b"/>
              <a:pathLst>
                <a:path w="7" h="4">
                  <a:moveTo>
                    <a:pt x="0" y="0"/>
                  </a:moveTo>
                  <a:lnTo>
                    <a:pt x="2" y="1"/>
                  </a:lnTo>
                  <a:lnTo>
                    <a:pt x="4" y="1"/>
                  </a:lnTo>
                  <a:lnTo>
                    <a:pt x="5" y="1"/>
                  </a:lnTo>
                  <a:lnTo>
                    <a:pt x="5" y="1"/>
                  </a:lnTo>
                  <a:lnTo>
                    <a:pt x="7" y="4"/>
                  </a:lnTo>
                  <a:lnTo>
                    <a:pt x="4" y="4"/>
                  </a:lnTo>
                  <a:lnTo>
                    <a:pt x="1" y="1"/>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82" name="Freeform 908"/>
            <p:cNvSpPr>
              <a:spLocks/>
            </p:cNvSpPr>
            <p:nvPr/>
          </p:nvSpPr>
          <p:spPr bwMode="auto">
            <a:xfrm>
              <a:off x="8088754" y="3420660"/>
              <a:ext cx="6145" cy="4057"/>
            </a:xfrm>
            <a:custGeom>
              <a:avLst/>
              <a:gdLst/>
              <a:ahLst/>
              <a:cxnLst>
                <a:cxn ang="0">
                  <a:pos x="0" y="0"/>
                </a:cxn>
                <a:cxn ang="0">
                  <a:pos x="2" y="1"/>
                </a:cxn>
                <a:cxn ang="0">
                  <a:pos x="4" y="1"/>
                </a:cxn>
                <a:cxn ang="0">
                  <a:pos x="5" y="1"/>
                </a:cxn>
                <a:cxn ang="0">
                  <a:pos x="5" y="1"/>
                </a:cxn>
                <a:cxn ang="0">
                  <a:pos x="7" y="4"/>
                </a:cxn>
                <a:cxn ang="0">
                  <a:pos x="4" y="4"/>
                </a:cxn>
                <a:cxn ang="0">
                  <a:pos x="1" y="1"/>
                </a:cxn>
                <a:cxn ang="0">
                  <a:pos x="0" y="0"/>
                </a:cxn>
              </a:cxnLst>
              <a:rect l="0" t="0" r="r" b="b"/>
              <a:pathLst>
                <a:path w="7" h="4">
                  <a:moveTo>
                    <a:pt x="0" y="0"/>
                  </a:moveTo>
                  <a:lnTo>
                    <a:pt x="2" y="1"/>
                  </a:lnTo>
                  <a:lnTo>
                    <a:pt x="4" y="1"/>
                  </a:lnTo>
                  <a:lnTo>
                    <a:pt x="5" y="1"/>
                  </a:lnTo>
                  <a:lnTo>
                    <a:pt x="5" y="1"/>
                  </a:lnTo>
                  <a:lnTo>
                    <a:pt x="7" y="4"/>
                  </a:lnTo>
                  <a:lnTo>
                    <a:pt x="4" y="4"/>
                  </a:lnTo>
                  <a:lnTo>
                    <a:pt x="1" y="1"/>
                  </a:lnTo>
                  <a:lnTo>
                    <a:pt x="0"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83" name="Freeform 909"/>
            <p:cNvSpPr>
              <a:spLocks/>
            </p:cNvSpPr>
            <p:nvPr/>
          </p:nvSpPr>
          <p:spPr bwMode="auto">
            <a:xfrm>
              <a:off x="8430218" y="3534243"/>
              <a:ext cx="17556" cy="13183"/>
            </a:xfrm>
            <a:custGeom>
              <a:avLst/>
              <a:gdLst/>
              <a:ahLst/>
              <a:cxnLst>
                <a:cxn ang="0">
                  <a:pos x="8" y="1"/>
                </a:cxn>
                <a:cxn ang="0">
                  <a:pos x="10" y="1"/>
                </a:cxn>
                <a:cxn ang="0">
                  <a:pos x="13" y="0"/>
                </a:cxn>
                <a:cxn ang="0">
                  <a:pos x="13" y="1"/>
                </a:cxn>
                <a:cxn ang="0">
                  <a:pos x="14" y="3"/>
                </a:cxn>
                <a:cxn ang="0">
                  <a:pos x="16" y="3"/>
                </a:cxn>
                <a:cxn ang="0">
                  <a:pos x="17" y="4"/>
                </a:cxn>
                <a:cxn ang="0">
                  <a:pos x="19" y="10"/>
                </a:cxn>
                <a:cxn ang="0">
                  <a:pos x="19" y="12"/>
                </a:cxn>
                <a:cxn ang="0">
                  <a:pos x="14" y="12"/>
                </a:cxn>
                <a:cxn ang="0">
                  <a:pos x="13" y="13"/>
                </a:cxn>
                <a:cxn ang="0">
                  <a:pos x="5" y="13"/>
                </a:cxn>
                <a:cxn ang="0">
                  <a:pos x="5" y="12"/>
                </a:cxn>
                <a:cxn ang="0">
                  <a:pos x="1" y="12"/>
                </a:cxn>
                <a:cxn ang="0">
                  <a:pos x="0" y="10"/>
                </a:cxn>
                <a:cxn ang="0">
                  <a:pos x="0" y="9"/>
                </a:cxn>
                <a:cxn ang="0">
                  <a:pos x="1" y="4"/>
                </a:cxn>
                <a:cxn ang="0">
                  <a:pos x="4" y="1"/>
                </a:cxn>
                <a:cxn ang="0">
                  <a:pos x="5" y="1"/>
                </a:cxn>
                <a:cxn ang="0">
                  <a:pos x="7" y="1"/>
                </a:cxn>
                <a:cxn ang="0">
                  <a:pos x="8" y="1"/>
                </a:cxn>
              </a:cxnLst>
              <a:rect l="0" t="0" r="r" b="b"/>
              <a:pathLst>
                <a:path w="19" h="13">
                  <a:moveTo>
                    <a:pt x="8" y="1"/>
                  </a:moveTo>
                  <a:lnTo>
                    <a:pt x="10" y="1"/>
                  </a:lnTo>
                  <a:lnTo>
                    <a:pt x="13" y="0"/>
                  </a:lnTo>
                  <a:lnTo>
                    <a:pt x="13" y="1"/>
                  </a:lnTo>
                  <a:lnTo>
                    <a:pt x="14" y="3"/>
                  </a:lnTo>
                  <a:lnTo>
                    <a:pt x="16" y="3"/>
                  </a:lnTo>
                  <a:lnTo>
                    <a:pt x="17" y="4"/>
                  </a:lnTo>
                  <a:lnTo>
                    <a:pt x="19" y="10"/>
                  </a:lnTo>
                  <a:lnTo>
                    <a:pt x="19" y="12"/>
                  </a:lnTo>
                  <a:lnTo>
                    <a:pt x="14" y="12"/>
                  </a:lnTo>
                  <a:lnTo>
                    <a:pt x="13" y="13"/>
                  </a:lnTo>
                  <a:lnTo>
                    <a:pt x="5" y="13"/>
                  </a:lnTo>
                  <a:lnTo>
                    <a:pt x="5" y="12"/>
                  </a:lnTo>
                  <a:lnTo>
                    <a:pt x="1" y="12"/>
                  </a:lnTo>
                  <a:lnTo>
                    <a:pt x="0" y="10"/>
                  </a:lnTo>
                  <a:lnTo>
                    <a:pt x="0" y="9"/>
                  </a:lnTo>
                  <a:lnTo>
                    <a:pt x="1" y="4"/>
                  </a:lnTo>
                  <a:lnTo>
                    <a:pt x="4" y="1"/>
                  </a:lnTo>
                  <a:lnTo>
                    <a:pt x="5" y="1"/>
                  </a:lnTo>
                  <a:lnTo>
                    <a:pt x="7" y="1"/>
                  </a:lnTo>
                  <a:lnTo>
                    <a:pt x="8"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84" name="Freeform 910"/>
            <p:cNvSpPr>
              <a:spLocks/>
            </p:cNvSpPr>
            <p:nvPr/>
          </p:nvSpPr>
          <p:spPr bwMode="auto">
            <a:xfrm>
              <a:off x="8430218" y="3534243"/>
              <a:ext cx="17556" cy="13183"/>
            </a:xfrm>
            <a:custGeom>
              <a:avLst/>
              <a:gdLst/>
              <a:ahLst/>
              <a:cxnLst>
                <a:cxn ang="0">
                  <a:pos x="8" y="1"/>
                </a:cxn>
                <a:cxn ang="0">
                  <a:pos x="10" y="1"/>
                </a:cxn>
                <a:cxn ang="0">
                  <a:pos x="13" y="0"/>
                </a:cxn>
                <a:cxn ang="0">
                  <a:pos x="13" y="1"/>
                </a:cxn>
                <a:cxn ang="0">
                  <a:pos x="14" y="3"/>
                </a:cxn>
                <a:cxn ang="0">
                  <a:pos x="16" y="3"/>
                </a:cxn>
                <a:cxn ang="0">
                  <a:pos x="17" y="4"/>
                </a:cxn>
                <a:cxn ang="0">
                  <a:pos x="19" y="10"/>
                </a:cxn>
                <a:cxn ang="0">
                  <a:pos x="19" y="12"/>
                </a:cxn>
                <a:cxn ang="0">
                  <a:pos x="14" y="12"/>
                </a:cxn>
                <a:cxn ang="0">
                  <a:pos x="13" y="13"/>
                </a:cxn>
                <a:cxn ang="0">
                  <a:pos x="5" y="13"/>
                </a:cxn>
                <a:cxn ang="0">
                  <a:pos x="5" y="12"/>
                </a:cxn>
                <a:cxn ang="0">
                  <a:pos x="1" y="12"/>
                </a:cxn>
                <a:cxn ang="0">
                  <a:pos x="0" y="10"/>
                </a:cxn>
                <a:cxn ang="0">
                  <a:pos x="0" y="9"/>
                </a:cxn>
                <a:cxn ang="0">
                  <a:pos x="1" y="4"/>
                </a:cxn>
                <a:cxn ang="0">
                  <a:pos x="4" y="1"/>
                </a:cxn>
                <a:cxn ang="0">
                  <a:pos x="5" y="1"/>
                </a:cxn>
                <a:cxn ang="0">
                  <a:pos x="7" y="1"/>
                </a:cxn>
                <a:cxn ang="0">
                  <a:pos x="8" y="1"/>
                </a:cxn>
              </a:cxnLst>
              <a:rect l="0" t="0" r="r" b="b"/>
              <a:pathLst>
                <a:path w="19" h="13">
                  <a:moveTo>
                    <a:pt x="8" y="1"/>
                  </a:moveTo>
                  <a:lnTo>
                    <a:pt x="10" y="1"/>
                  </a:lnTo>
                  <a:lnTo>
                    <a:pt x="13" y="0"/>
                  </a:lnTo>
                  <a:lnTo>
                    <a:pt x="13" y="1"/>
                  </a:lnTo>
                  <a:lnTo>
                    <a:pt x="14" y="3"/>
                  </a:lnTo>
                  <a:lnTo>
                    <a:pt x="16" y="3"/>
                  </a:lnTo>
                  <a:lnTo>
                    <a:pt x="17" y="4"/>
                  </a:lnTo>
                  <a:lnTo>
                    <a:pt x="19" y="10"/>
                  </a:lnTo>
                  <a:lnTo>
                    <a:pt x="19" y="12"/>
                  </a:lnTo>
                  <a:lnTo>
                    <a:pt x="14" y="12"/>
                  </a:lnTo>
                  <a:lnTo>
                    <a:pt x="13" y="13"/>
                  </a:lnTo>
                  <a:lnTo>
                    <a:pt x="5" y="13"/>
                  </a:lnTo>
                  <a:lnTo>
                    <a:pt x="5" y="12"/>
                  </a:lnTo>
                  <a:lnTo>
                    <a:pt x="1" y="12"/>
                  </a:lnTo>
                  <a:lnTo>
                    <a:pt x="0" y="10"/>
                  </a:lnTo>
                  <a:lnTo>
                    <a:pt x="0" y="9"/>
                  </a:lnTo>
                  <a:lnTo>
                    <a:pt x="1" y="4"/>
                  </a:lnTo>
                  <a:lnTo>
                    <a:pt x="4" y="1"/>
                  </a:lnTo>
                  <a:lnTo>
                    <a:pt x="5" y="1"/>
                  </a:lnTo>
                  <a:lnTo>
                    <a:pt x="7" y="1"/>
                  </a:lnTo>
                  <a:lnTo>
                    <a:pt x="8"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85" name="Freeform 911"/>
            <p:cNvSpPr>
              <a:spLocks/>
            </p:cNvSpPr>
            <p:nvPr/>
          </p:nvSpPr>
          <p:spPr bwMode="auto">
            <a:xfrm>
              <a:off x="8446019" y="3517002"/>
              <a:ext cx="18433" cy="13184"/>
            </a:xfrm>
            <a:custGeom>
              <a:avLst/>
              <a:gdLst/>
              <a:ahLst/>
              <a:cxnLst>
                <a:cxn ang="0">
                  <a:pos x="6" y="4"/>
                </a:cxn>
                <a:cxn ang="0">
                  <a:pos x="6" y="5"/>
                </a:cxn>
                <a:cxn ang="0">
                  <a:pos x="7" y="4"/>
                </a:cxn>
                <a:cxn ang="0">
                  <a:pos x="20" y="0"/>
                </a:cxn>
                <a:cxn ang="0">
                  <a:pos x="20" y="1"/>
                </a:cxn>
                <a:cxn ang="0">
                  <a:pos x="16" y="4"/>
                </a:cxn>
                <a:cxn ang="0">
                  <a:pos x="15" y="7"/>
                </a:cxn>
                <a:cxn ang="0">
                  <a:pos x="19" y="4"/>
                </a:cxn>
                <a:cxn ang="0">
                  <a:pos x="19" y="8"/>
                </a:cxn>
                <a:cxn ang="0">
                  <a:pos x="12" y="10"/>
                </a:cxn>
                <a:cxn ang="0">
                  <a:pos x="10" y="7"/>
                </a:cxn>
                <a:cxn ang="0">
                  <a:pos x="10" y="7"/>
                </a:cxn>
                <a:cxn ang="0">
                  <a:pos x="9" y="8"/>
                </a:cxn>
                <a:cxn ang="0">
                  <a:pos x="7" y="11"/>
                </a:cxn>
                <a:cxn ang="0">
                  <a:pos x="6" y="11"/>
                </a:cxn>
                <a:cxn ang="0">
                  <a:pos x="4" y="11"/>
                </a:cxn>
                <a:cxn ang="0">
                  <a:pos x="4" y="13"/>
                </a:cxn>
                <a:cxn ang="0">
                  <a:pos x="2" y="10"/>
                </a:cxn>
                <a:cxn ang="0">
                  <a:pos x="0" y="10"/>
                </a:cxn>
                <a:cxn ang="0">
                  <a:pos x="0" y="7"/>
                </a:cxn>
                <a:cxn ang="0">
                  <a:pos x="2" y="7"/>
                </a:cxn>
                <a:cxn ang="0">
                  <a:pos x="6" y="4"/>
                </a:cxn>
              </a:cxnLst>
              <a:rect l="0" t="0" r="r" b="b"/>
              <a:pathLst>
                <a:path w="20" h="13">
                  <a:moveTo>
                    <a:pt x="6" y="4"/>
                  </a:moveTo>
                  <a:lnTo>
                    <a:pt x="6" y="5"/>
                  </a:lnTo>
                  <a:lnTo>
                    <a:pt x="7" y="4"/>
                  </a:lnTo>
                  <a:lnTo>
                    <a:pt x="20" y="0"/>
                  </a:lnTo>
                  <a:lnTo>
                    <a:pt x="20" y="1"/>
                  </a:lnTo>
                  <a:lnTo>
                    <a:pt x="16" y="4"/>
                  </a:lnTo>
                  <a:lnTo>
                    <a:pt x="15" y="7"/>
                  </a:lnTo>
                  <a:lnTo>
                    <a:pt x="19" y="4"/>
                  </a:lnTo>
                  <a:lnTo>
                    <a:pt x="19" y="8"/>
                  </a:lnTo>
                  <a:lnTo>
                    <a:pt x="12" y="10"/>
                  </a:lnTo>
                  <a:lnTo>
                    <a:pt x="10" y="7"/>
                  </a:lnTo>
                  <a:lnTo>
                    <a:pt x="10" y="7"/>
                  </a:lnTo>
                  <a:lnTo>
                    <a:pt x="9" y="8"/>
                  </a:lnTo>
                  <a:lnTo>
                    <a:pt x="7" y="11"/>
                  </a:lnTo>
                  <a:lnTo>
                    <a:pt x="6" y="11"/>
                  </a:lnTo>
                  <a:lnTo>
                    <a:pt x="4" y="11"/>
                  </a:lnTo>
                  <a:lnTo>
                    <a:pt x="4" y="13"/>
                  </a:lnTo>
                  <a:lnTo>
                    <a:pt x="2" y="10"/>
                  </a:lnTo>
                  <a:lnTo>
                    <a:pt x="0" y="10"/>
                  </a:lnTo>
                  <a:lnTo>
                    <a:pt x="0" y="7"/>
                  </a:lnTo>
                  <a:lnTo>
                    <a:pt x="2" y="7"/>
                  </a:lnTo>
                  <a:lnTo>
                    <a:pt x="6"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86" name="Freeform 912"/>
            <p:cNvSpPr>
              <a:spLocks/>
            </p:cNvSpPr>
            <p:nvPr/>
          </p:nvSpPr>
          <p:spPr bwMode="auto">
            <a:xfrm>
              <a:off x="8446019" y="3517002"/>
              <a:ext cx="18433" cy="13184"/>
            </a:xfrm>
            <a:custGeom>
              <a:avLst/>
              <a:gdLst/>
              <a:ahLst/>
              <a:cxnLst>
                <a:cxn ang="0">
                  <a:pos x="6" y="4"/>
                </a:cxn>
                <a:cxn ang="0">
                  <a:pos x="6" y="5"/>
                </a:cxn>
                <a:cxn ang="0">
                  <a:pos x="7" y="4"/>
                </a:cxn>
                <a:cxn ang="0">
                  <a:pos x="20" y="0"/>
                </a:cxn>
                <a:cxn ang="0">
                  <a:pos x="20" y="1"/>
                </a:cxn>
                <a:cxn ang="0">
                  <a:pos x="16" y="4"/>
                </a:cxn>
                <a:cxn ang="0">
                  <a:pos x="15" y="7"/>
                </a:cxn>
                <a:cxn ang="0">
                  <a:pos x="19" y="4"/>
                </a:cxn>
                <a:cxn ang="0">
                  <a:pos x="19" y="8"/>
                </a:cxn>
                <a:cxn ang="0">
                  <a:pos x="12" y="10"/>
                </a:cxn>
                <a:cxn ang="0">
                  <a:pos x="10" y="7"/>
                </a:cxn>
                <a:cxn ang="0">
                  <a:pos x="10" y="7"/>
                </a:cxn>
                <a:cxn ang="0">
                  <a:pos x="9" y="8"/>
                </a:cxn>
                <a:cxn ang="0">
                  <a:pos x="7" y="11"/>
                </a:cxn>
                <a:cxn ang="0">
                  <a:pos x="6" y="11"/>
                </a:cxn>
                <a:cxn ang="0">
                  <a:pos x="4" y="11"/>
                </a:cxn>
                <a:cxn ang="0">
                  <a:pos x="4" y="13"/>
                </a:cxn>
                <a:cxn ang="0">
                  <a:pos x="2" y="10"/>
                </a:cxn>
                <a:cxn ang="0">
                  <a:pos x="0" y="10"/>
                </a:cxn>
                <a:cxn ang="0">
                  <a:pos x="0" y="7"/>
                </a:cxn>
                <a:cxn ang="0">
                  <a:pos x="2" y="7"/>
                </a:cxn>
                <a:cxn ang="0">
                  <a:pos x="6" y="4"/>
                </a:cxn>
              </a:cxnLst>
              <a:rect l="0" t="0" r="r" b="b"/>
              <a:pathLst>
                <a:path w="20" h="13">
                  <a:moveTo>
                    <a:pt x="6" y="4"/>
                  </a:moveTo>
                  <a:lnTo>
                    <a:pt x="6" y="5"/>
                  </a:lnTo>
                  <a:lnTo>
                    <a:pt x="7" y="4"/>
                  </a:lnTo>
                  <a:lnTo>
                    <a:pt x="20" y="0"/>
                  </a:lnTo>
                  <a:lnTo>
                    <a:pt x="20" y="1"/>
                  </a:lnTo>
                  <a:lnTo>
                    <a:pt x="16" y="4"/>
                  </a:lnTo>
                  <a:lnTo>
                    <a:pt x="15" y="7"/>
                  </a:lnTo>
                  <a:lnTo>
                    <a:pt x="19" y="4"/>
                  </a:lnTo>
                  <a:lnTo>
                    <a:pt x="19" y="8"/>
                  </a:lnTo>
                  <a:lnTo>
                    <a:pt x="12" y="10"/>
                  </a:lnTo>
                  <a:lnTo>
                    <a:pt x="10" y="7"/>
                  </a:lnTo>
                  <a:lnTo>
                    <a:pt x="10" y="7"/>
                  </a:lnTo>
                  <a:lnTo>
                    <a:pt x="9" y="8"/>
                  </a:lnTo>
                  <a:lnTo>
                    <a:pt x="7" y="11"/>
                  </a:lnTo>
                  <a:lnTo>
                    <a:pt x="6" y="11"/>
                  </a:lnTo>
                  <a:lnTo>
                    <a:pt x="4" y="11"/>
                  </a:lnTo>
                  <a:lnTo>
                    <a:pt x="4" y="13"/>
                  </a:lnTo>
                  <a:lnTo>
                    <a:pt x="2" y="10"/>
                  </a:lnTo>
                  <a:lnTo>
                    <a:pt x="0" y="10"/>
                  </a:lnTo>
                  <a:lnTo>
                    <a:pt x="0" y="7"/>
                  </a:lnTo>
                  <a:lnTo>
                    <a:pt x="2" y="7"/>
                  </a:lnTo>
                  <a:lnTo>
                    <a:pt x="6"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87" name="Freeform 913"/>
            <p:cNvSpPr>
              <a:spLocks/>
            </p:cNvSpPr>
            <p:nvPr/>
          </p:nvSpPr>
          <p:spPr bwMode="auto">
            <a:xfrm>
              <a:off x="6681640" y="3455141"/>
              <a:ext cx="92168" cy="209925"/>
            </a:xfrm>
            <a:custGeom>
              <a:avLst/>
              <a:gdLst/>
              <a:ahLst/>
              <a:cxnLst>
                <a:cxn ang="0">
                  <a:pos x="18" y="59"/>
                </a:cxn>
                <a:cxn ang="0">
                  <a:pos x="24" y="59"/>
                </a:cxn>
                <a:cxn ang="0">
                  <a:pos x="28" y="56"/>
                </a:cxn>
                <a:cxn ang="0">
                  <a:pos x="29" y="59"/>
                </a:cxn>
                <a:cxn ang="0">
                  <a:pos x="32" y="57"/>
                </a:cxn>
                <a:cxn ang="0">
                  <a:pos x="34" y="54"/>
                </a:cxn>
                <a:cxn ang="0">
                  <a:pos x="38" y="54"/>
                </a:cxn>
                <a:cxn ang="0">
                  <a:pos x="41" y="53"/>
                </a:cxn>
                <a:cxn ang="0">
                  <a:pos x="44" y="57"/>
                </a:cxn>
                <a:cxn ang="0">
                  <a:pos x="48" y="57"/>
                </a:cxn>
                <a:cxn ang="0">
                  <a:pos x="45" y="53"/>
                </a:cxn>
                <a:cxn ang="0">
                  <a:pos x="48" y="47"/>
                </a:cxn>
                <a:cxn ang="0">
                  <a:pos x="53" y="47"/>
                </a:cxn>
                <a:cxn ang="0">
                  <a:pos x="55" y="50"/>
                </a:cxn>
                <a:cxn ang="0">
                  <a:pos x="54" y="44"/>
                </a:cxn>
                <a:cxn ang="0">
                  <a:pos x="57" y="40"/>
                </a:cxn>
                <a:cxn ang="0">
                  <a:pos x="60" y="40"/>
                </a:cxn>
                <a:cxn ang="0">
                  <a:pos x="64" y="37"/>
                </a:cxn>
                <a:cxn ang="0">
                  <a:pos x="67" y="37"/>
                </a:cxn>
                <a:cxn ang="0">
                  <a:pos x="64" y="35"/>
                </a:cxn>
                <a:cxn ang="0">
                  <a:pos x="66" y="28"/>
                </a:cxn>
                <a:cxn ang="0">
                  <a:pos x="67" y="27"/>
                </a:cxn>
                <a:cxn ang="0">
                  <a:pos x="67" y="21"/>
                </a:cxn>
                <a:cxn ang="0">
                  <a:pos x="70" y="24"/>
                </a:cxn>
                <a:cxn ang="0">
                  <a:pos x="74" y="16"/>
                </a:cxn>
                <a:cxn ang="0">
                  <a:pos x="79" y="16"/>
                </a:cxn>
                <a:cxn ang="0">
                  <a:pos x="79" y="5"/>
                </a:cxn>
                <a:cxn ang="0">
                  <a:pos x="82" y="2"/>
                </a:cxn>
                <a:cxn ang="0">
                  <a:pos x="92" y="9"/>
                </a:cxn>
                <a:cxn ang="0">
                  <a:pos x="99" y="56"/>
                </a:cxn>
                <a:cxn ang="0">
                  <a:pos x="95" y="48"/>
                </a:cxn>
                <a:cxn ang="0">
                  <a:pos x="92" y="59"/>
                </a:cxn>
                <a:cxn ang="0">
                  <a:pos x="93" y="66"/>
                </a:cxn>
                <a:cxn ang="0">
                  <a:pos x="83" y="104"/>
                </a:cxn>
                <a:cxn ang="0">
                  <a:pos x="54" y="192"/>
                </a:cxn>
                <a:cxn ang="0">
                  <a:pos x="50" y="195"/>
                </a:cxn>
                <a:cxn ang="0">
                  <a:pos x="40" y="197"/>
                </a:cxn>
                <a:cxn ang="0">
                  <a:pos x="28" y="202"/>
                </a:cxn>
                <a:cxn ang="0">
                  <a:pos x="9" y="186"/>
                </a:cxn>
                <a:cxn ang="0">
                  <a:pos x="8" y="170"/>
                </a:cxn>
                <a:cxn ang="0">
                  <a:pos x="2" y="160"/>
                </a:cxn>
                <a:cxn ang="0">
                  <a:pos x="0" y="144"/>
                </a:cxn>
                <a:cxn ang="0">
                  <a:pos x="8" y="134"/>
                </a:cxn>
                <a:cxn ang="0">
                  <a:pos x="16" y="117"/>
                </a:cxn>
                <a:cxn ang="0">
                  <a:pos x="18" y="111"/>
                </a:cxn>
                <a:cxn ang="0">
                  <a:pos x="13" y="91"/>
                </a:cxn>
                <a:cxn ang="0">
                  <a:pos x="9" y="79"/>
                </a:cxn>
                <a:cxn ang="0">
                  <a:pos x="16" y="60"/>
                </a:cxn>
              </a:cxnLst>
              <a:rect l="0" t="0" r="r" b="b"/>
              <a:pathLst>
                <a:path w="101" h="202">
                  <a:moveTo>
                    <a:pt x="16" y="60"/>
                  </a:moveTo>
                  <a:lnTo>
                    <a:pt x="18" y="59"/>
                  </a:lnTo>
                  <a:lnTo>
                    <a:pt x="19" y="60"/>
                  </a:lnTo>
                  <a:lnTo>
                    <a:pt x="24" y="59"/>
                  </a:lnTo>
                  <a:lnTo>
                    <a:pt x="25" y="59"/>
                  </a:lnTo>
                  <a:lnTo>
                    <a:pt x="28" y="56"/>
                  </a:lnTo>
                  <a:lnTo>
                    <a:pt x="28" y="57"/>
                  </a:lnTo>
                  <a:lnTo>
                    <a:pt x="29" y="59"/>
                  </a:lnTo>
                  <a:lnTo>
                    <a:pt x="31" y="57"/>
                  </a:lnTo>
                  <a:lnTo>
                    <a:pt x="32" y="57"/>
                  </a:lnTo>
                  <a:lnTo>
                    <a:pt x="34" y="56"/>
                  </a:lnTo>
                  <a:lnTo>
                    <a:pt x="34" y="54"/>
                  </a:lnTo>
                  <a:lnTo>
                    <a:pt x="37" y="53"/>
                  </a:lnTo>
                  <a:lnTo>
                    <a:pt x="38" y="54"/>
                  </a:lnTo>
                  <a:lnTo>
                    <a:pt x="40" y="53"/>
                  </a:lnTo>
                  <a:lnTo>
                    <a:pt x="41" y="53"/>
                  </a:lnTo>
                  <a:lnTo>
                    <a:pt x="42" y="56"/>
                  </a:lnTo>
                  <a:lnTo>
                    <a:pt x="44" y="57"/>
                  </a:lnTo>
                  <a:lnTo>
                    <a:pt x="47" y="57"/>
                  </a:lnTo>
                  <a:lnTo>
                    <a:pt x="48" y="57"/>
                  </a:lnTo>
                  <a:lnTo>
                    <a:pt x="47" y="56"/>
                  </a:lnTo>
                  <a:lnTo>
                    <a:pt x="45" y="53"/>
                  </a:lnTo>
                  <a:lnTo>
                    <a:pt x="45" y="50"/>
                  </a:lnTo>
                  <a:lnTo>
                    <a:pt x="48" y="47"/>
                  </a:lnTo>
                  <a:lnTo>
                    <a:pt x="51" y="46"/>
                  </a:lnTo>
                  <a:lnTo>
                    <a:pt x="53" y="47"/>
                  </a:lnTo>
                  <a:lnTo>
                    <a:pt x="53" y="50"/>
                  </a:lnTo>
                  <a:lnTo>
                    <a:pt x="55" y="50"/>
                  </a:lnTo>
                  <a:lnTo>
                    <a:pt x="57" y="48"/>
                  </a:lnTo>
                  <a:lnTo>
                    <a:pt x="54" y="44"/>
                  </a:lnTo>
                  <a:lnTo>
                    <a:pt x="58" y="40"/>
                  </a:lnTo>
                  <a:lnTo>
                    <a:pt x="57" y="40"/>
                  </a:lnTo>
                  <a:lnTo>
                    <a:pt x="60" y="37"/>
                  </a:lnTo>
                  <a:lnTo>
                    <a:pt x="60" y="40"/>
                  </a:lnTo>
                  <a:lnTo>
                    <a:pt x="60" y="43"/>
                  </a:lnTo>
                  <a:lnTo>
                    <a:pt x="64" y="37"/>
                  </a:lnTo>
                  <a:lnTo>
                    <a:pt x="66" y="37"/>
                  </a:lnTo>
                  <a:lnTo>
                    <a:pt x="67" y="37"/>
                  </a:lnTo>
                  <a:lnTo>
                    <a:pt x="67" y="35"/>
                  </a:lnTo>
                  <a:lnTo>
                    <a:pt x="64" y="35"/>
                  </a:lnTo>
                  <a:lnTo>
                    <a:pt x="63" y="32"/>
                  </a:lnTo>
                  <a:lnTo>
                    <a:pt x="66" y="28"/>
                  </a:lnTo>
                  <a:lnTo>
                    <a:pt x="67" y="30"/>
                  </a:lnTo>
                  <a:lnTo>
                    <a:pt x="67" y="27"/>
                  </a:lnTo>
                  <a:lnTo>
                    <a:pt x="66" y="22"/>
                  </a:lnTo>
                  <a:lnTo>
                    <a:pt x="67" y="21"/>
                  </a:lnTo>
                  <a:lnTo>
                    <a:pt x="69" y="22"/>
                  </a:lnTo>
                  <a:lnTo>
                    <a:pt x="70" y="24"/>
                  </a:lnTo>
                  <a:lnTo>
                    <a:pt x="73" y="19"/>
                  </a:lnTo>
                  <a:lnTo>
                    <a:pt x="74" y="16"/>
                  </a:lnTo>
                  <a:lnTo>
                    <a:pt x="76" y="18"/>
                  </a:lnTo>
                  <a:lnTo>
                    <a:pt x="79" y="16"/>
                  </a:lnTo>
                  <a:lnTo>
                    <a:pt x="80" y="6"/>
                  </a:lnTo>
                  <a:lnTo>
                    <a:pt x="79" y="5"/>
                  </a:lnTo>
                  <a:lnTo>
                    <a:pt x="80" y="5"/>
                  </a:lnTo>
                  <a:lnTo>
                    <a:pt x="82" y="2"/>
                  </a:lnTo>
                  <a:lnTo>
                    <a:pt x="85" y="0"/>
                  </a:lnTo>
                  <a:lnTo>
                    <a:pt x="92" y="9"/>
                  </a:lnTo>
                  <a:lnTo>
                    <a:pt x="101" y="51"/>
                  </a:lnTo>
                  <a:lnTo>
                    <a:pt x="99" y="56"/>
                  </a:lnTo>
                  <a:lnTo>
                    <a:pt x="98" y="56"/>
                  </a:lnTo>
                  <a:lnTo>
                    <a:pt x="95" y="48"/>
                  </a:lnTo>
                  <a:lnTo>
                    <a:pt x="93" y="48"/>
                  </a:lnTo>
                  <a:lnTo>
                    <a:pt x="92" y="59"/>
                  </a:lnTo>
                  <a:lnTo>
                    <a:pt x="93" y="61"/>
                  </a:lnTo>
                  <a:lnTo>
                    <a:pt x="93" y="66"/>
                  </a:lnTo>
                  <a:lnTo>
                    <a:pt x="89" y="75"/>
                  </a:lnTo>
                  <a:lnTo>
                    <a:pt x="83" y="104"/>
                  </a:lnTo>
                  <a:lnTo>
                    <a:pt x="83" y="104"/>
                  </a:lnTo>
                  <a:lnTo>
                    <a:pt x="54" y="192"/>
                  </a:lnTo>
                  <a:lnTo>
                    <a:pt x="53" y="194"/>
                  </a:lnTo>
                  <a:lnTo>
                    <a:pt x="50" y="195"/>
                  </a:lnTo>
                  <a:lnTo>
                    <a:pt x="48" y="195"/>
                  </a:lnTo>
                  <a:lnTo>
                    <a:pt x="40" y="197"/>
                  </a:lnTo>
                  <a:lnTo>
                    <a:pt x="31" y="201"/>
                  </a:lnTo>
                  <a:lnTo>
                    <a:pt x="28" y="202"/>
                  </a:lnTo>
                  <a:lnTo>
                    <a:pt x="12" y="192"/>
                  </a:lnTo>
                  <a:lnTo>
                    <a:pt x="9" y="186"/>
                  </a:lnTo>
                  <a:lnTo>
                    <a:pt x="6" y="173"/>
                  </a:lnTo>
                  <a:lnTo>
                    <a:pt x="8" y="170"/>
                  </a:lnTo>
                  <a:lnTo>
                    <a:pt x="5" y="163"/>
                  </a:lnTo>
                  <a:lnTo>
                    <a:pt x="2" y="160"/>
                  </a:lnTo>
                  <a:lnTo>
                    <a:pt x="0" y="156"/>
                  </a:lnTo>
                  <a:lnTo>
                    <a:pt x="0" y="144"/>
                  </a:lnTo>
                  <a:lnTo>
                    <a:pt x="6" y="136"/>
                  </a:lnTo>
                  <a:lnTo>
                    <a:pt x="8" y="134"/>
                  </a:lnTo>
                  <a:lnTo>
                    <a:pt x="15" y="120"/>
                  </a:lnTo>
                  <a:lnTo>
                    <a:pt x="16" y="117"/>
                  </a:lnTo>
                  <a:lnTo>
                    <a:pt x="18" y="114"/>
                  </a:lnTo>
                  <a:lnTo>
                    <a:pt x="18" y="111"/>
                  </a:lnTo>
                  <a:lnTo>
                    <a:pt x="19" y="109"/>
                  </a:lnTo>
                  <a:lnTo>
                    <a:pt x="13" y="91"/>
                  </a:lnTo>
                  <a:lnTo>
                    <a:pt x="12" y="83"/>
                  </a:lnTo>
                  <a:lnTo>
                    <a:pt x="9" y="79"/>
                  </a:lnTo>
                  <a:lnTo>
                    <a:pt x="16" y="64"/>
                  </a:lnTo>
                  <a:lnTo>
                    <a:pt x="16" y="6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88" name="Freeform 915"/>
            <p:cNvSpPr>
              <a:spLocks/>
            </p:cNvSpPr>
            <p:nvPr/>
          </p:nvSpPr>
          <p:spPr bwMode="auto">
            <a:xfrm>
              <a:off x="6256784" y="2743220"/>
              <a:ext cx="2633" cy="4057"/>
            </a:xfrm>
            <a:custGeom>
              <a:avLst/>
              <a:gdLst/>
              <a:ahLst/>
              <a:cxnLst>
                <a:cxn ang="0">
                  <a:pos x="3" y="1"/>
                </a:cxn>
                <a:cxn ang="0">
                  <a:pos x="3" y="0"/>
                </a:cxn>
                <a:cxn ang="0">
                  <a:pos x="3" y="1"/>
                </a:cxn>
                <a:cxn ang="0">
                  <a:pos x="3" y="4"/>
                </a:cxn>
                <a:cxn ang="0">
                  <a:pos x="0" y="4"/>
                </a:cxn>
                <a:cxn ang="0">
                  <a:pos x="0" y="1"/>
                </a:cxn>
                <a:cxn ang="0">
                  <a:pos x="2" y="0"/>
                </a:cxn>
                <a:cxn ang="0">
                  <a:pos x="3" y="1"/>
                </a:cxn>
              </a:cxnLst>
              <a:rect l="0" t="0" r="r" b="b"/>
              <a:pathLst>
                <a:path w="3" h="4">
                  <a:moveTo>
                    <a:pt x="3" y="1"/>
                  </a:moveTo>
                  <a:lnTo>
                    <a:pt x="3" y="0"/>
                  </a:lnTo>
                  <a:lnTo>
                    <a:pt x="3" y="1"/>
                  </a:lnTo>
                  <a:lnTo>
                    <a:pt x="3" y="4"/>
                  </a:lnTo>
                  <a:lnTo>
                    <a:pt x="0" y="4"/>
                  </a:lnTo>
                  <a:lnTo>
                    <a:pt x="0" y="1"/>
                  </a:lnTo>
                  <a:lnTo>
                    <a:pt x="2" y="0"/>
                  </a:lnTo>
                  <a:lnTo>
                    <a:pt x="3"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89" name="Freeform 916"/>
            <p:cNvSpPr>
              <a:spLocks/>
            </p:cNvSpPr>
            <p:nvPr/>
          </p:nvSpPr>
          <p:spPr bwMode="auto">
            <a:xfrm>
              <a:off x="6256784" y="2743220"/>
              <a:ext cx="2633" cy="4057"/>
            </a:xfrm>
            <a:custGeom>
              <a:avLst/>
              <a:gdLst/>
              <a:ahLst/>
              <a:cxnLst>
                <a:cxn ang="0">
                  <a:pos x="3" y="1"/>
                </a:cxn>
                <a:cxn ang="0">
                  <a:pos x="3" y="0"/>
                </a:cxn>
                <a:cxn ang="0">
                  <a:pos x="3" y="1"/>
                </a:cxn>
                <a:cxn ang="0">
                  <a:pos x="3" y="4"/>
                </a:cxn>
                <a:cxn ang="0">
                  <a:pos x="0" y="4"/>
                </a:cxn>
                <a:cxn ang="0">
                  <a:pos x="0" y="1"/>
                </a:cxn>
                <a:cxn ang="0">
                  <a:pos x="2" y="0"/>
                </a:cxn>
                <a:cxn ang="0">
                  <a:pos x="3" y="1"/>
                </a:cxn>
              </a:cxnLst>
              <a:rect l="0" t="0" r="r" b="b"/>
              <a:pathLst>
                <a:path w="3" h="4">
                  <a:moveTo>
                    <a:pt x="3" y="1"/>
                  </a:moveTo>
                  <a:lnTo>
                    <a:pt x="3" y="0"/>
                  </a:lnTo>
                  <a:lnTo>
                    <a:pt x="3" y="1"/>
                  </a:lnTo>
                  <a:lnTo>
                    <a:pt x="3" y="4"/>
                  </a:lnTo>
                  <a:lnTo>
                    <a:pt x="0" y="4"/>
                  </a:lnTo>
                  <a:lnTo>
                    <a:pt x="0" y="1"/>
                  </a:lnTo>
                  <a:lnTo>
                    <a:pt x="2" y="0"/>
                  </a:lnTo>
                  <a:lnTo>
                    <a:pt x="3"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90" name="Freeform 917"/>
            <p:cNvSpPr>
              <a:spLocks/>
            </p:cNvSpPr>
            <p:nvPr/>
          </p:nvSpPr>
          <p:spPr bwMode="auto">
            <a:xfrm>
              <a:off x="8366139" y="2348722"/>
              <a:ext cx="12289" cy="7099"/>
            </a:xfrm>
            <a:custGeom>
              <a:avLst/>
              <a:gdLst/>
              <a:ahLst/>
              <a:cxnLst>
                <a:cxn ang="0">
                  <a:pos x="1" y="2"/>
                </a:cxn>
                <a:cxn ang="0">
                  <a:pos x="0" y="2"/>
                </a:cxn>
                <a:cxn ang="0">
                  <a:pos x="3" y="0"/>
                </a:cxn>
                <a:cxn ang="0">
                  <a:pos x="3" y="0"/>
                </a:cxn>
                <a:cxn ang="0">
                  <a:pos x="6" y="0"/>
                </a:cxn>
                <a:cxn ang="0">
                  <a:pos x="7" y="0"/>
                </a:cxn>
                <a:cxn ang="0">
                  <a:pos x="10" y="0"/>
                </a:cxn>
                <a:cxn ang="0">
                  <a:pos x="10" y="2"/>
                </a:cxn>
                <a:cxn ang="0">
                  <a:pos x="12" y="2"/>
                </a:cxn>
                <a:cxn ang="0">
                  <a:pos x="13" y="3"/>
                </a:cxn>
                <a:cxn ang="0">
                  <a:pos x="12" y="5"/>
                </a:cxn>
                <a:cxn ang="0">
                  <a:pos x="9" y="5"/>
                </a:cxn>
                <a:cxn ang="0">
                  <a:pos x="7" y="6"/>
                </a:cxn>
                <a:cxn ang="0">
                  <a:pos x="6" y="5"/>
                </a:cxn>
                <a:cxn ang="0">
                  <a:pos x="6" y="5"/>
                </a:cxn>
                <a:cxn ang="0">
                  <a:pos x="6" y="3"/>
                </a:cxn>
                <a:cxn ang="0">
                  <a:pos x="4" y="3"/>
                </a:cxn>
                <a:cxn ang="0">
                  <a:pos x="1" y="2"/>
                </a:cxn>
                <a:cxn ang="0">
                  <a:pos x="1" y="2"/>
                </a:cxn>
              </a:cxnLst>
              <a:rect l="0" t="0" r="r" b="b"/>
              <a:pathLst>
                <a:path w="13" h="6">
                  <a:moveTo>
                    <a:pt x="1" y="2"/>
                  </a:moveTo>
                  <a:lnTo>
                    <a:pt x="0" y="2"/>
                  </a:lnTo>
                  <a:lnTo>
                    <a:pt x="3" y="0"/>
                  </a:lnTo>
                  <a:lnTo>
                    <a:pt x="3" y="0"/>
                  </a:lnTo>
                  <a:lnTo>
                    <a:pt x="6" y="0"/>
                  </a:lnTo>
                  <a:lnTo>
                    <a:pt x="7" y="0"/>
                  </a:lnTo>
                  <a:lnTo>
                    <a:pt x="10" y="0"/>
                  </a:lnTo>
                  <a:lnTo>
                    <a:pt x="10" y="2"/>
                  </a:lnTo>
                  <a:lnTo>
                    <a:pt x="12" y="2"/>
                  </a:lnTo>
                  <a:lnTo>
                    <a:pt x="13" y="3"/>
                  </a:lnTo>
                  <a:lnTo>
                    <a:pt x="12" y="5"/>
                  </a:lnTo>
                  <a:lnTo>
                    <a:pt x="9" y="5"/>
                  </a:lnTo>
                  <a:lnTo>
                    <a:pt x="7" y="6"/>
                  </a:lnTo>
                  <a:lnTo>
                    <a:pt x="6" y="5"/>
                  </a:lnTo>
                  <a:lnTo>
                    <a:pt x="6" y="5"/>
                  </a:lnTo>
                  <a:lnTo>
                    <a:pt x="6" y="3"/>
                  </a:lnTo>
                  <a:lnTo>
                    <a:pt x="4" y="3"/>
                  </a:lnTo>
                  <a:lnTo>
                    <a:pt x="1" y="2"/>
                  </a:lnTo>
                  <a:lnTo>
                    <a:pt x="1"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91" name="Freeform 918"/>
            <p:cNvSpPr>
              <a:spLocks/>
            </p:cNvSpPr>
            <p:nvPr/>
          </p:nvSpPr>
          <p:spPr bwMode="auto">
            <a:xfrm>
              <a:off x="8366139" y="2348722"/>
              <a:ext cx="12289" cy="7099"/>
            </a:xfrm>
            <a:custGeom>
              <a:avLst/>
              <a:gdLst/>
              <a:ahLst/>
              <a:cxnLst>
                <a:cxn ang="0">
                  <a:pos x="1" y="2"/>
                </a:cxn>
                <a:cxn ang="0">
                  <a:pos x="0" y="2"/>
                </a:cxn>
                <a:cxn ang="0">
                  <a:pos x="3" y="0"/>
                </a:cxn>
                <a:cxn ang="0">
                  <a:pos x="3" y="0"/>
                </a:cxn>
                <a:cxn ang="0">
                  <a:pos x="6" y="0"/>
                </a:cxn>
                <a:cxn ang="0">
                  <a:pos x="7" y="0"/>
                </a:cxn>
                <a:cxn ang="0">
                  <a:pos x="10" y="0"/>
                </a:cxn>
                <a:cxn ang="0">
                  <a:pos x="10" y="2"/>
                </a:cxn>
                <a:cxn ang="0">
                  <a:pos x="12" y="2"/>
                </a:cxn>
                <a:cxn ang="0">
                  <a:pos x="13" y="3"/>
                </a:cxn>
                <a:cxn ang="0">
                  <a:pos x="12" y="5"/>
                </a:cxn>
                <a:cxn ang="0">
                  <a:pos x="9" y="5"/>
                </a:cxn>
                <a:cxn ang="0">
                  <a:pos x="7" y="6"/>
                </a:cxn>
                <a:cxn ang="0">
                  <a:pos x="6" y="5"/>
                </a:cxn>
                <a:cxn ang="0">
                  <a:pos x="6" y="5"/>
                </a:cxn>
                <a:cxn ang="0">
                  <a:pos x="6" y="3"/>
                </a:cxn>
                <a:cxn ang="0">
                  <a:pos x="4" y="3"/>
                </a:cxn>
                <a:cxn ang="0">
                  <a:pos x="1" y="2"/>
                </a:cxn>
                <a:cxn ang="0">
                  <a:pos x="1" y="2"/>
                </a:cxn>
              </a:cxnLst>
              <a:rect l="0" t="0" r="r" b="b"/>
              <a:pathLst>
                <a:path w="13" h="6">
                  <a:moveTo>
                    <a:pt x="1" y="2"/>
                  </a:moveTo>
                  <a:lnTo>
                    <a:pt x="0" y="2"/>
                  </a:lnTo>
                  <a:lnTo>
                    <a:pt x="3" y="0"/>
                  </a:lnTo>
                  <a:lnTo>
                    <a:pt x="3" y="0"/>
                  </a:lnTo>
                  <a:lnTo>
                    <a:pt x="6" y="0"/>
                  </a:lnTo>
                  <a:lnTo>
                    <a:pt x="7" y="0"/>
                  </a:lnTo>
                  <a:lnTo>
                    <a:pt x="10" y="0"/>
                  </a:lnTo>
                  <a:lnTo>
                    <a:pt x="10" y="2"/>
                  </a:lnTo>
                  <a:lnTo>
                    <a:pt x="12" y="2"/>
                  </a:lnTo>
                  <a:lnTo>
                    <a:pt x="13" y="3"/>
                  </a:lnTo>
                  <a:lnTo>
                    <a:pt x="12" y="5"/>
                  </a:lnTo>
                  <a:lnTo>
                    <a:pt x="9" y="5"/>
                  </a:lnTo>
                  <a:lnTo>
                    <a:pt x="7" y="6"/>
                  </a:lnTo>
                  <a:lnTo>
                    <a:pt x="6" y="5"/>
                  </a:lnTo>
                  <a:lnTo>
                    <a:pt x="6" y="5"/>
                  </a:lnTo>
                  <a:lnTo>
                    <a:pt x="6" y="3"/>
                  </a:lnTo>
                  <a:lnTo>
                    <a:pt x="4" y="3"/>
                  </a:lnTo>
                  <a:lnTo>
                    <a:pt x="1" y="2"/>
                  </a:lnTo>
                  <a:lnTo>
                    <a:pt x="1"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92" name="Freeform 919"/>
            <p:cNvSpPr>
              <a:spLocks/>
            </p:cNvSpPr>
            <p:nvPr/>
          </p:nvSpPr>
          <p:spPr bwMode="auto">
            <a:xfrm>
              <a:off x="8430218" y="2369005"/>
              <a:ext cx="4389" cy="9128"/>
            </a:xfrm>
            <a:custGeom>
              <a:avLst/>
              <a:gdLst/>
              <a:ahLst/>
              <a:cxnLst>
                <a:cxn ang="0">
                  <a:pos x="4" y="2"/>
                </a:cxn>
                <a:cxn ang="0">
                  <a:pos x="4" y="0"/>
                </a:cxn>
                <a:cxn ang="0">
                  <a:pos x="5" y="3"/>
                </a:cxn>
                <a:cxn ang="0">
                  <a:pos x="4" y="4"/>
                </a:cxn>
                <a:cxn ang="0">
                  <a:pos x="4" y="4"/>
                </a:cxn>
                <a:cxn ang="0">
                  <a:pos x="1" y="6"/>
                </a:cxn>
                <a:cxn ang="0">
                  <a:pos x="0" y="9"/>
                </a:cxn>
                <a:cxn ang="0">
                  <a:pos x="0" y="6"/>
                </a:cxn>
                <a:cxn ang="0">
                  <a:pos x="3" y="3"/>
                </a:cxn>
                <a:cxn ang="0">
                  <a:pos x="4" y="2"/>
                </a:cxn>
              </a:cxnLst>
              <a:rect l="0" t="0" r="r" b="b"/>
              <a:pathLst>
                <a:path w="5" h="9">
                  <a:moveTo>
                    <a:pt x="4" y="2"/>
                  </a:moveTo>
                  <a:lnTo>
                    <a:pt x="4" y="0"/>
                  </a:lnTo>
                  <a:lnTo>
                    <a:pt x="5" y="3"/>
                  </a:lnTo>
                  <a:lnTo>
                    <a:pt x="4" y="4"/>
                  </a:lnTo>
                  <a:lnTo>
                    <a:pt x="4" y="4"/>
                  </a:lnTo>
                  <a:lnTo>
                    <a:pt x="1" y="6"/>
                  </a:lnTo>
                  <a:lnTo>
                    <a:pt x="0" y="9"/>
                  </a:lnTo>
                  <a:lnTo>
                    <a:pt x="0" y="6"/>
                  </a:lnTo>
                  <a:lnTo>
                    <a:pt x="3" y="3"/>
                  </a:lnTo>
                  <a:lnTo>
                    <a:pt x="4"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93" name="Freeform 920"/>
            <p:cNvSpPr>
              <a:spLocks/>
            </p:cNvSpPr>
            <p:nvPr/>
          </p:nvSpPr>
          <p:spPr bwMode="auto">
            <a:xfrm>
              <a:off x="8430218" y="2369005"/>
              <a:ext cx="4389" cy="9128"/>
            </a:xfrm>
            <a:custGeom>
              <a:avLst/>
              <a:gdLst/>
              <a:ahLst/>
              <a:cxnLst>
                <a:cxn ang="0">
                  <a:pos x="4" y="2"/>
                </a:cxn>
                <a:cxn ang="0">
                  <a:pos x="4" y="0"/>
                </a:cxn>
                <a:cxn ang="0">
                  <a:pos x="5" y="3"/>
                </a:cxn>
                <a:cxn ang="0">
                  <a:pos x="4" y="4"/>
                </a:cxn>
                <a:cxn ang="0">
                  <a:pos x="4" y="4"/>
                </a:cxn>
                <a:cxn ang="0">
                  <a:pos x="1" y="6"/>
                </a:cxn>
                <a:cxn ang="0">
                  <a:pos x="0" y="9"/>
                </a:cxn>
                <a:cxn ang="0">
                  <a:pos x="0" y="6"/>
                </a:cxn>
                <a:cxn ang="0">
                  <a:pos x="3" y="3"/>
                </a:cxn>
                <a:cxn ang="0">
                  <a:pos x="4" y="2"/>
                </a:cxn>
              </a:cxnLst>
              <a:rect l="0" t="0" r="r" b="b"/>
              <a:pathLst>
                <a:path w="5" h="9">
                  <a:moveTo>
                    <a:pt x="4" y="2"/>
                  </a:moveTo>
                  <a:lnTo>
                    <a:pt x="4" y="0"/>
                  </a:lnTo>
                  <a:lnTo>
                    <a:pt x="5" y="3"/>
                  </a:lnTo>
                  <a:lnTo>
                    <a:pt x="4" y="4"/>
                  </a:lnTo>
                  <a:lnTo>
                    <a:pt x="4" y="4"/>
                  </a:lnTo>
                  <a:lnTo>
                    <a:pt x="1" y="6"/>
                  </a:lnTo>
                  <a:lnTo>
                    <a:pt x="0" y="9"/>
                  </a:lnTo>
                  <a:lnTo>
                    <a:pt x="0" y="6"/>
                  </a:lnTo>
                  <a:lnTo>
                    <a:pt x="3" y="3"/>
                  </a:lnTo>
                  <a:lnTo>
                    <a:pt x="4"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94" name="Freeform 921"/>
            <p:cNvSpPr>
              <a:spLocks/>
            </p:cNvSpPr>
            <p:nvPr/>
          </p:nvSpPr>
          <p:spPr bwMode="auto">
            <a:xfrm>
              <a:off x="8447774" y="2381175"/>
              <a:ext cx="10534" cy="7099"/>
            </a:xfrm>
            <a:custGeom>
              <a:avLst/>
              <a:gdLst/>
              <a:ahLst/>
              <a:cxnLst>
                <a:cxn ang="0">
                  <a:pos x="0" y="0"/>
                </a:cxn>
                <a:cxn ang="0">
                  <a:pos x="1" y="0"/>
                </a:cxn>
                <a:cxn ang="0">
                  <a:pos x="2" y="0"/>
                </a:cxn>
                <a:cxn ang="0">
                  <a:pos x="8" y="4"/>
                </a:cxn>
                <a:cxn ang="0">
                  <a:pos x="11" y="6"/>
                </a:cxn>
                <a:cxn ang="0">
                  <a:pos x="11" y="7"/>
                </a:cxn>
                <a:cxn ang="0">
                  <a:pos x="10" y="7"/>
                </a:cxn>
                <a:cxn ang="0">
                  <a:pos x="8" y="7"/>
                </a:cxn>
                <a:cxn ang="0">
                  <a:pos x="0" y="1"/>
                </a:cxn>
                <a:cxn ang="0">
                  <a:pos x="0" y="0"/>
                </a:cxn>
              </a:cxnLst>
              <a:rect l="0" t="0" r="r" b="b"/>
              <a:pathLst>
                <a:path w="11" h="7">
                  <a:moveTo>
                    <a:pt x="0" y="0"/>
                  </a:moveTo>
                  <a:lnTo>
                    <a:pt x="1" y="0"/>
                  </a:lnTo>
                  <a:lnTo>
                    <a:pt x="2" y="0"/>
                  </a:lnTo>
                  <a:lnTo>
                    <a:pt x="8" y="4"/>
                  </a:lnTo>
                  <a:lnTo>
                    <a:pt x="11" y="6"/>
                  </a:lnTo>
                  <a:lnTo>
                    <a:pt x="11" y="7"/>
                  </a:lnTo>
                  <a:lnTo>
                    <a:pt x="10" y="7"/>
                  </a:lnTo>
                  <a:lnTo>
                    <a:pt x="8" y="7"/>
                  </a:lnTo>
                  <a:lnTo>
                    <a:pt x="0" y="1"/>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95" name="Freeform 922"/>
            <p:cNvSpPr>
              <a:spLocks/>
            </p:cNvSpPr>
            <p:nvPr/>
          </p:nvSpPr>
          <p:spPr bwMode="auto">
            <a:xfrm>
              <a:off x="8447774" y="2381175"/>
              <a:ext cx="10534" cy="7099"/>
            </a:xfrm>
            <a:custGeom>
              <a:avLst/>
              <a:gdLst/>
              <a:ahLst/>
              <a:cxnLst>
                <a:cxn ang="0">
                  <a:pos x="0" y="0"/>
                </a:cxn>
                <a:cxn ang="0">
                  <a:pos x="1" y="0"/>
                </a:cxn>
                <a:cxn ang="0">
                  <a:pos x="2" y="0"/>
                </a:cxn>
                <a:cxn ang="0">
                  <a:pos x="8" y="4"/>
                </a:cxn>
                <a:cxn ang="0">
                  <a:pos x="11" y="6"/>
                </a:cxn>
                <a:cxn ang="0">
                  <a:pos x="11" y="7"/>
                </a:cxn>
                <a:cxn ang="0">
                  <a:pos x="10" y="7"/>
                </a:cxn>
                <a:cxn ang="0">
                  <a:pos x="8" y="7"/>
                </a:cxn>
                <a:cxn ang="0">
                  <a:pos x="0" y="1"/>
                </a:cxn>
                <a:cxn ang="0">
                  <a:pos x="0" y="0"/>
                </a:cxn>
              </a:cxnLst>
              <a:rect l="0" t="0" r="r" b="b"/>
              <a:pathLst>
                <a:path w="11" h="7">
                  <a:moveTo>
                    <a:pt x="0" y="0"/>
                  </a:moveTo>
                  <a:lnTo>
                    <a:pt x="1" y="0"/>
                  </a:lnTo>
                  <a:lnTo>
                    <a:pt x="2" y="0"/>
                  </a:lnTo>
                  <a:lnTo>
                    <a:pt x="8" y="4"/>
                  </a:lnTo>
                  <a:lnTo>
                    <a:pt x="11" y="6"/>
                  </a:lnTo>
                  <a:lnTo>
                    <a:pt x="11" y="7"/>
                  </a:lnTo>
                  <a:lnTo>
                    <a:pt x="10" y="7"/>
                  </a:lnTo>
                  <a:lnTo>
                    <a:pt x="8" y="7"/>
                  </a:lnTo>
                  <a:lnTo>
                    <a:pt x="0" y="1"/>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96" name="Freeform 923"/>
            <p:cNvSpPr>
              <a:spLocks/>
            </p:cNvSpPr>
            <p:nvPr/>
          </p:nvSpPr>
          <p:spPr bwMode="auto">
            <a:xfrm>
              <a:off x="8458308" y="2372048"/>
              <a:ext cx="4389" cy="4057"/>
            </a:xfrm>
            <a:custGeom>
              <a:avLst/>
              <a:gdLst/>
              <a:ahLst/>
              <a:cxnLst>
                <a:cxn ang="0">
                  <a:pos x="2" y="0"/>
                </a:cxn>
                <a:cxn ang="0">
                  <a:pos x="5" y="1"/>
                </a:cxn>
                <a:cxn ang="0">
                  <a:pos x="5" y="3"/>
                </a:cxn>
                <a:cxn ang="0">
                  <a:pos x="3" y="3"/>
                </a:cxn>
                <a:cxn ang="0">
                  <a:pos x="2" y="4"/>
                </a:cxn>
                <a:cxn ang="0">
                  <a:pos x="0" y="3"/>
                </a:cxn>
                <a:cxn ang="0">
                  <a:pos x="2" y="0"/>
                </a:cxn>
              </a:cxnLst>
              <a:rect l="0" t="0" r="r" b="b"/>
              <a:pathLst>
                <a:path w="5" h="4">
                  <a:moveTo>
                    <a:pt x="2" y="0"/>
                  </a:moveTo>
                  <a:lnTo>
                    <a:pt x="5" y="1"/>
                  </a:lnTo>
                  <a:lnTo>
                    <a:pt x="5" y="3"/>
                  </a:lnTo>
                  <a:lnTo>
                    <a:pt x="3" y="3"/>
                  </a:lnTo>
                  <a:lnTo>
                    <a:pt x="2" y="4"/>
                  </a:lnTo>
                  <a:lnTo>
                    <a:pt x="0" y="3"/>
                  </a:lnTo>
                  <a:lnTo>
                    <a:pt x="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97" name="Freeform 924"/>
            <p:cNvSpPr>
              <a:spLocks/>
            </p:cNvSpPr>
            <p:nvPr/>
          </p:nvSpPr>
          <p:spPr bwMode="auto">
            <a:xfrm>
              <a:off x="8458308" y="2372048"/>
              <a:ext cx="4389" cy="4057"/>
            </a:xfrm>
            <a:custGeom>
              <a:avLst/>
              <a:gdLst/>
              <a:ahLst/>
              <a:cxnLst>
                <a:cxn ang="0">
                  <a:pos x="2" y="0"/>
                </a:cxn>
                <a:cxn ang="0">
                  <a:pos x="5" y="1"/>
                </a:cxn>
                <a:cxn ang="0">
                  <a:pos x="5" y="3"/>
                </a:cxn>
                <a:cxn ang="0">
                  <a:pos x="3" y="3"/>
                </a:cxn>
                <a:cxn ang="0">
                  <a:pos x="2" y="4"/>
                </a:cxn>
                <a:cxn ang="0">
                  <a:pos x="0" y="3"/>
                </a:cxn>
                <a:cxn ang="0">
                  <a:pos x="2" y="0"/>
                </a:cxn>
              </a:cxnLst>
              <a:rect l="0" t="0" r="r" b="b"/>
              <a:pathLst>
                <a:path w="5" h="4">
                  <a:moveTo>
                    <a:pt x="2" y="0"/>
                  </a:moveTo>
                  <a:lnTo>
                    <a:pt x="5" y="1"/>
                  </a:lnTo>
                  <a:lnTo>
                    <a:pt x="5" y="3"/>
                  </a:lnTo>
                  <a:lnTo>
                    <a:pt x="3" y="3"/>
                  </a:lnTo>
                  <a:lnTo>
                    <a:pt x="2" y="4"/>
                  </a:lnTo>
                  <a:lnTo>
                    <a:pt x="0" y="3"/>
                  </a:lnTo>
                  <a:lnTo>
                    <a:pt x="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98" name="Freeform 925"/>
            <p:cNvSpPr>
              <a:spLocks/>
            </p:cNvSpPr>
            <p:nvPr/>
          </p:nvSpPr>
          <p:spPr bwMode="auto">
            <a:xfrm>
              <a:off x="6365631" y="1585081"/>
              <a:ext cx="5267" cy="9127"/>
            </a:xfrm>
            <a:custGeom>
              <a:avLst/>
              <a:gdLst/>
              <a:ahLst/>
              <a:cxnLst>
                <a:cxn ang="0">
                  <a:pos x="0" y="3"/>
                </a:cxn>
                <a:cxn ang="0">
                  <a:pos x="0" y="5"/>
                </a:cxn>
                <a:cxn ang="0">
                  <a:pos x="3" y="6"/>
                </a:cxn>
                <a:cxn ang="0">
                  <a:pos x="1" y="9"/>
                </a:cxn>
                <a:cxn ang="0">
                  <a:pos x="3" y="9"/>
                </a:cxn>
                <a:cxn ang="0">
                  <a:pos x="4" y="8"/>
                </a:cxn>
                <a:cxn ang="0">
                  <a:pos x="6" y="2"/>
                </a:cxn>
                <a:cxn ang="0">
                  <a:pos x="3" y="0"/>
                </a:cxn>
                <a:cxn ang="0">
                  <a:pos x="3" y="2"/>
                </a:cxn>
                <a:cxn ang="0">
                  <a:pos x="0" y="2"/>
                </a:cxn>
                <a:cxn ang="0">
                  <a:pos x="0" y="3"/>
                </a:cxn>
              </a:cxnLst>
              <a:rect l="0" t="0" r="r" b="b"/>
              <a:pathLst>
                <a:path w="6" h="9">
                  <a:moveTo>
                    <a:pt x="0" y="3"/>
                  </a:moveTo>
                  <a:lnTo>
                    <a:pt x="0" y="5"/>
                  </a:lnTo>
                  <a:lnTo>
                    <a:pt x="3" y="6"/>
                  </a:lnTo>
                  <a:lnTo>
                    <a:pt x="1" y="9"/>
                  </a:lnTo>
                  <a:lnTo>
                    <a:pt x="3" y="9"/>
                  </a:lnTo>
                  <a:lnTo>
                    <a:pt x="4" y="8"/>
                  </a:lnTo>
                  <a:lnTo>
                    <a:pt x="6" y="2"/>
                  </a:lnTo>
                  <a:lnTo>
                    <a:pt x="3" y="0"/>
                  </a:lnTo>
                  <a:lnTo>
                    <a:pt x="3" y="2"/>
                  </a:lnTo>
                  <a:lnTo>
                    <a:pt x="0" y="2"/>
                  </a:lnTo>
                  <a:lnTo>
                    <a:pt x="0"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699" name="Freeform 926"/>
            <p:cNvSpPr>
              <a:spLocks/>
            </p:cNvSpPr>
            <p:nvPr/>
          </p:nvSpPr>
          <p:spPr bwMode="auto">
            <a:xfrm>
              <a:off x="6365631" y="1585081"/>
              <a:ext cx="5267" cy="9127"/>
            </a:xfrm>
            <a:custGeom>
              <a:avLst/>
              <a:gdLst/>
              <a:ahLst/>
              <a:cxnLst>
                <a:cxn ang="0">
                  <a:pos x="0" y="3"/>
                </a:cxn>
                <a:cxn ang="0">
                  <a:pos x="0" y="5"/>
                </a:cxn>
                <a:cxn ang="0">
                  <a:pos x="3" y="6"/>
                </a:cxn>
                <a:cxn ang="0">
                  <a:pos x="1" y="9"/>
                </a:cxn>
                <a:cxn ang="0">
                  <a:pos x="3" y="9"/>
                </a:cxn>
                <a:cxn ang="0">
                  <a:pos x="4" y="8"/>
                </a:cxn>
                <a:cxn ang="0">
                  <a:pos x="6" y="2"/>
                </a:cxn>
                <a:cxn ang="0">
                  <a:pos x="3" y="0"/>
                </a:cxn>
                <a:cxn ang="0">
                  <a:pos x="3" y="2"/>
                </a:cxn>
                <a:cxn ang="0">
                  <a:pos x="0" y="2"/>
                </a:cxn>
                <a:cxn ang="0">
                  <a:pos x="0" y="3"/>
                </a:cxn>
              </a:cxnLst>
              <a:rect l="0" t="0" r="r" b="b"/>
              <a:pathLst>
                <a:path w="6" h="9">
                  <a:moveTo>
                    <a:pt x="0" y="3"/>
                  </a:moveTo>
                  <a:lnTo>
                    <a:pt x="0" y="5"/>
                  </a:lnTo>
                  <a:lnTo>
                    <a:pt x="3" y="6"/>
                  </a:lnTo>
                  <a:lnTo>
                    <a:pt x="1" y="9"/>
                  </a:lnTo>
                  <a:lnTo>
                    <a:pt x="3" y="9"/>
                  </a:lnTo>
                  <a:lnTo>
                    <a:pt x="4" y="8"/>
                  </a:lnTo>
                  <a:lnTo>
                    <a:pt x="6" y="2"/>
                  </a:lnTo>
                  <a:lnTo>
                    <a:pt x="3" y="0"/>
                  </a:lnTo>
                  <a:lnTo>
                    <a:pt x="3" y="2"/>
                  </a:lnTo>
                  <a:lnTo>
                    <a:pt x="0" y="2"/>
                  </a:lnTo>
                  <a:lnTo>
                    <a:pt x="0"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00" name="Freeform 927"/>
            <p:cNvSpPr>
              <a:spLocks/>
            </p:cNvSpPr>
            <p:nvPr/>
          </p:nvSpPr>
          <p:spPr bwMode="auto">
            <a:xfrm>
              <a:off x="4955005" y="2998781"/>
              <a:ext cx="14045" cy="37523"/>
            </a:xfrm>
            <a:custGeom>
              <a:avLst/>
              <a:gdLst/>
              <a:ahLst/>
              <a:cxnLst>
                <a:cxn ang="0">
                  <a:pos x="12" y="0"/>
                </a:cxn>
                <a:cxn ang="0">
                  <a:pos x="10" y="0"/>
                </a:cxn>
                <a:cxn ang="0">
                  <a:pos x="9" y="0"/>
                </a:cxn>
                <a:cxn ang="0">
                  <a:pos x="5" y="7"/>
                </a:cxn>
                <a:cxn ang="0">
                  <a:pos x="0" y="8"/>
                </a:cxn>
                <a:cxn ang="0">
                  <a:pos x="0" y="36"/>
                </a:cxn>
                <a:cxn ang="0">
                  <a:pos x="0" y="36"/>
                </a:cxn>
                <a:cxn ang="0">
                  <a:pos x="2" y="36"/>
                </a:cxn>
                <a:cxn ang="0">
                  <a:pos x="5" y="36"/>
                </a:cxn>
                <a:cxn ang="0">
                  <a:pos x="5" y="36"/>
                </a:cxn>
                <a:cxn ang="0">
                  <a:pos x="5" y="34"/>
                </a:cxn>
                <a:cxn ang="0">
                  <a:pos x="5" y="33"/>
                </a:cxn>
                <a:cxn ang="0">
                  <a:pos x="12" y="27"/>
                </a:cxn>
                <a:cxn ang="0">
                  <a:pos x="12" y="26"/>
                </a:cxn>
                <a:cxn ang="0">
                  <a:pos x="12" y="26"/>
                </a:cxn>
                <a:cxn ang="0">
                  <a:pos x="13" y="10"/>
                </a:cxn>
                <a:cxn ang="0">
                  <a:pos x="16" y="4"/>
                </a:cxn>
                <a:cxn ang="0">
                  <a:pos x="16" y="3"/>
                </a:cxn>
                <a:cxn ang="0">
                  <a:pos x="15" y="1"/>
                </a:cxn>
                <a:cxn ang="0">
                  <a:pos x="12" y="0"/>
                </a:cxn>
                <a:cxn ang="0">
                  <a:pos x="12" y="0"/>
                </a:cxn>
              </a:cxnLst>
              <a:rect l="0" t="0" r="r" b="b"/>
              <a:pathLst>
                <a:path w="16" h="36">
                  <a:moveTo>
                    <a:pt x="12" y="0"/>
                  </a:moveTo>
                  <a:lnTo>
                    <a:pt x="10" y="0"/>
                  </a:lnTo>
                  <a:lnTo>
                    <a:pt x="9" y="0"/>
                  </a:lnTo>
                  <a:lnTo>
                    <a:pt x="5" y="7"/>
                  </a:lnTo>
                  <a:lnTo>
                    <a:pt x="0" y="8"/>
                  </a:lnTo>
                  <a:lnTo>
                    <a:pt x="0" y="36"/>
                  </a:lnTo>
                  <a:lnTo>
                    <a:pt x="0" y="36"/>
                  </a:lnTo>
                  <a:lnTo>
                    <a:pt x="2" y="36"/>
                  </a:lnTo>
                  <a:lnTo>
                    <a:pt x="5" y="36"/>
                  </a:lnTo>
                  <a:lnTo>
                    <a:pt x="5" y="36"/>
                  </a:lnTo>
                  <a:lnTo>
                    <a:pt x="5" y="34"/>
                  </a:lnTo>
                  <a:lnTo>
                    <a:pt x="5" y="33"/>
                  </a:lnTo>
                  <a:lnTo>
                    <a:pt x="12" y="27"/>
                  </a:lnTo>
                  <a:lnTo>
                    <a:pt x="12" y="26"/>
                  </a:lnTo>
                  <a:lnTo>
                    <a:pt x="12" y="26"/>
                  </a:lnTo>
                  <a:lnTo>
                    <a:pt x="13" y="10"/>
                  </a:lnTo>
                  <a:lnTo>
                    <a:pt x="16" y="4"/>
                  </a:lnTo>
                  <a:lnTo>
                    <a:pt x="16" y="3"/>
                  </a:lnTo>
                  <a:lnTo>
                    <a:pt x="15" y="1"/>
                  </a:lnTo>
                  <a:lnTo>
                    <a:pt x="12" y="0"/>
                  </a:lnTo>
                  <a:lnTo>
                    <a:pt x="1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01" name="Freeform 928"/>
            <p:cNvSpPr>
              <a:spLocks/>
            </p:cNvSpPr>
            <p:nvPr/>
          </p:nvSpPr>
          <p:spPr bwMode="auto">
            <a:xfrm>
              <a:off x="4955005" y="2998781"/>
              <a:ext cx="14045" cy="37523"/>
            </a:xfrm>
            <a:custGeom>
              <a:avLst/>
              <a:gdLst/>
              <a:ahLst/>
              <a:cxnLst>
                <a:cxn ang="0">
                  <a:pos x="12" y="0"/>
                </a:cxn>
                <a:cxn ang="0">
                  <a:pos x="10" y="0"/>
                </a:cxn>
                <a:cxn ang="0">
                  <a:pos x="9" y="0"/>
                </a:cxn>
                <a:cxn ang="0">
                  <a:pos x="5" y="7"/>
                </a:cxn>
                <a:cxn ang="0">
                  <a:pos x="0" y="8"/>
                </a:cxn>
                <a:cxn ang="0">
                  <a:pos x="0" y="36"/>
                </a:cxn>
                <a:cxn ang="0">
                  <a:pos x="0" y="36"/>
                </a:cxn>
                <a:cxn ang="0">
                  <a:pos x="2" y="36"/>
                </a:cxn>
                <a:cxn ang="0">
                  <a:pos x="5" y="36"/>
                </a:cxn>
                <a:cxn ang="0">
                  <a:pos x="5" y="36"/>
                </a:cxn>
                <a:cxn ang="0">
                  <a:pos x="5" y="34"/>
                </a:cxn>
                <a:cxn ang="0">
                  <a:pos x="5" y="33"/>
                </a:cxn>
                <a:cxn ang="0">
                  <a:pos x="12" y="27"/>
                </a:cxn>
                <a:cxn ang="0">
                  <a:pos x="12" y="26"/>
                </a:cxn>
                <a:cxn ang="0">
                  <a:pos x="12" y="26"/>
                </a:cxn>
                <a:cxn ang="0">
                  <a:pos x="13" y="10"/>
                </a:cxn>
                <a:cxn ang="0">
                  <a:pos x="16" y="4"/>
                </a:cxn>
                <a:cxn ang="0">
                  <a:pos x="16" y="3"/>
                </a:cxn>
                <a:cxn ang="0">
                  <a:pos x="15" y="1"/>
                </a:cxn>
                <a:cxn ang="0">
                  <a:pos x="12" y="0"/>
                </a:cxn>
                <a:cxn ang="0">
                  <a:pos x="12" y="0"/>
                </a:cxn>
              </a:cxnLst>
              <a:rect l="0" t="0" r="r" b="b"/>
              <a:pathLst>
                <a:path w="16" h="36">
                  <a:moveTo>
                    <a:pt x="12" y="0"/>
                  </a:moveTo>
                  <a:lnTo>
                    <a:pt x="10" y="0"/>
                  </a:lnTo>
                  <a:lnTo>
                    <a:pt x="9" y="0"/>
                  </a:lnTo>
                  <a:lnTo>
                    <a:pt x="5" y="7"/>
                  </a:lnTo>
                  <a:lnTo>
                    <a:pt x="0" y="8"/>
                  </a:lnTo>
                  <a:lnTo>
                    <a:pt x="0" y="36"/>
                  </a:lnTo>
                  <a:lnTo>
                    <a:pt x="0" y="36"/>
                  </a:lnTo>
                  <a:lnTo>
                    <a:pt x="2" y="36"/>
                  </a:lnTo>
                  <a:lnTo>
                    <a:pt x="5" y="36"/>
                  </a:lnTo>
                  <a:lnTo>
                    <a:pt x="5" y="36"/>
                  </a:lnTo>
                  <a:lnTo>
                    <a:pt x="5" y="34"/>
                  </a:lnTo>
                  <a:lnTo>
                    <a:pt x="5" y="33"/>
                  </a:lnTo>
                  <a:lnTo>
                    <a:pt x="12" y="27"/>
                  </a:lnTo>
                  <a:lnTo>
                    <a:pt x="12" y="26"/>
                  </a:lnTo>
                  <a:lnTo>
                    <a:pt x="12" y="26"/>
                  </a:lnTo>
                  <a:lnTo>
                    <a:pt x="13" y="10"/>
                  </a:lnTo>
                  <a:lnTo>
                    <a:pt x="16" y="4"/>
                  </a:lnTo>
                  <a:lnTo>
                    <a:pt x="16" y="3"/>
                  </a:lnTo>
                  <a:lnTo>
                    <a:pt x="15" y="1"/>
                  </a:lnTo>
                  <a:lnTo>
                    <a:pt x="12" y="0"/>
                  </a:lnTo>
                  <a:lnTo>
                    <a:pt x="1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02" name="Freeform 929"/>
            <p:cNvSpPr>
              <a:spLocks/>
            </p:cNvSpPr>
            <p:nvPr/>
          </p:nvSpPr>
          <p:spPr bwMode="auto">
            <a:xfrm>
              <a:off x="4944472" y="3059629"/>
              <a:ext cx="29845" cy="19269"/>
            </a:xfrm>
            <a:custGeom>
              <a:avLst/>
              <a:gdLst/>
              <a:ahLst/>
              <a:cxnLst>
                <a:cxn ang="0">
                  <a:pos x="8" y="0"/>
                </a:cxn>
                <a:cxn ang="0">
                  <a:pos x="7" y="1"/>
                </a:cxn>
                <a:cxn ang="0">
                  <a:pos x="7" y="3"/>
                </a:cxn>
                <a:cxn ang="0">
                  <a:pos x="5" y="4"/>
                </a:cxn>
                <a:cxn ang="0">
                  <a:pos x="4" y="6"/>
                </a:cxn>
                <a:cxn ang="0">
                  <a:pos x="2" y="7"/>
                </a:cxn>
                <a:cxn ang="0">
                  <a:pos x="1" y="7"/>
                </a:cxn>
                <a:cxn ang="0">
                  <a:pos x="0" y="10"/>
                </a:cxn>
                <a:cxn ang="0">
                  <a:pos x="0" y="11"/>
                </a:cxn>
                <a:cxn ang="0">
                  <a:pos x="1" y="13"/>
                </a:cxn>
                <a:cxn ang="0">
                  <a:pos x="18" y="19"/>
                </a:cxn>
                <a:cxn ang="0">
                  <a:pos x="26" y="19"/>
                </a:cxn>
                <a:cxn ang="0">
                  <a:pos x="30" y="17"/>
                </a:cxn>
                <a:cxn ang="0">
                  <a:pos x="32" y="16"/>
                </a:cxn>
                <a:cxn ang="0">
                  <a:pos x="32" y="16"/>
                </a:cxn>
                <a:cxn ang="0">
                  <a:pos x="32" y="10"/>
                </a:cxn>
                <a:cxn ang="0">
                  <a:pos x="32" y="10"/>
                </a:cxn>
                <a:cxn ang="0">
                  <a:pos x="30" y="8"/>
                </a:cxn>
                <a:cxn ang="0">
                  <a:pos x="27" y="8"/>
                </a:cxn>
                <a:cxn ang="0">
                  <a:pos x="27" y="7"/>
                </a:cxn>
                <a:cxn ang="0">
                  <a:pos x="26" y="7"/>
                </a:cxn>
                <a:cxn ang="0">
                  <a:pos x="24" y="8"/>
                </a:cxn>
                <a:cxn ang="0">
                  <a:pos x="23" y="8"/>
                </a:cxn>
                <a:cxn ang="0">
                  <a:pos x="21" y="8"/>
                </a:cxn>
                <a:cxn ang="0">
                  <a:pos x="20" y="7"/>
                </a:cxn>
                <a:cxn ang="0">
                  <a:pos x="20" y="7"/>
                </a:cxn>
                <a:cxn ang="0">
                  <a:pos x="18" y="7"/>
                </a:cxn>
                <a:cxn ang="0">
                  <a:pos x="18" y="7"/>
                </a:cxn>
                <a:cxn ang="0">
                  <a:pos x="17" y="6"/>
                </a:cxn>
                <a:cxn ang="0">
                  <a:pos x="17" y="6"/>
                </a:cxn>
                <a:cxn ang="0">
                  <a:pos x="14" y="4"/>
                </a:cxn>
                <a:cxn ang="0">
                  <a:pos x="13" y="1"/>
                </a:cxn>
                <a:cxn ang="0">
                  <a:pos x="10" y="1"/>
                </a:cxn>
                <a:cxn ang="0">
                  <a:pos x="8" y="0"/>
                </a:cxn>
              </a:cxnLst>
              <a:rect l="0" t="0" r="r" b="b"/>
              <a:pathLst>
                <a:path w="32" h="19">
                  <a:moveTo>
                    <a:pt x="8" y="0"/>
                  </a:moveTo>
                  <a:lnTo>
                    <a:pt x="7" y="1"/>
                  </a:lnTo>
                  <a:lnTo>
                    <a:pt x="7" y="3"/>
                  </a:lnTo>
                  <a:lnTo>
                    <a:pt x="5" y="4"/>
                  </a:lnTo>
                  <a:lnTo>
                    <a:pt x="4" y="6"/>
                  </a:lnTo>
                  <a:lnTo>
                    <a:pt x="2" y="7"/>
                  </a:lnTo>
                  <a:lnTo>
                    <a:pt x="1" y="7"/>
                  </a:lnTo>
                  <a:lnTo>
                    <a:pt x="0" y="10"/>
                  </a:lnTo>
                  <a:lnTo>
                    <a:pt x="0" y="11"/>
                  </a:lnTo>
                  <a:lnTo>
                    <a:pt x="1" y="13"/>
                  </a:lnTo>
                  <a:lnTo>
                    <a:pt x="18" y="19"/>
                  </a:lnTo>
                  <a:lnTo>
                    <a:pt x="26" y="19"/>
                  </a:lnTo>
                  <a:lnTo>
                    <a:pt x="30" y="17"/>
                  </a:lnTo>
                  <a:lnTo>
                    <a:pt x="32" y="16"/>
                  </a:lnTo>
                  <a:lnTo>
                    <a:pt x="32" y="16"/>
                  </a:lnTo>
                  <a:lnTo>
                    <a:pt x="32" y="10"/>
                  </a:lnTo>
                  <a:lnTo>
                    <a:pt x="32" y="10"/>
                  </a:lnTo>
                  <a:lnTo>
                    <a:pt x="30" y="8"/>
                  </a:lnTo>
                  <a:lnTo>
                    <a:pt x="27" y="8"/>
                  </a:lnTo>
                  <a:lnTo>
                    <a:pt x="27" y="7"/>
                  </a:lnTo>
                  <a:lnTo>
                    <a:pt x="26" y="7"/>
                  </a:lnTo>
                  <a:lnTo>
                    <a:pt x="24" y="8"/>
                  </a:lnTo>
                  <a:lnTo>
                    <a:pt x="23" y="8"/>
                  </a:lnTo>
                  <a:lnTo>
                    <a:pt x="21" y="8"/>
                  </a:lnTo>
                  <a:lnTo>
                    <a:pt x="20" y="7"/>
                  </a:lnTo>
                  <a:lnTo>
                    <a:pt x="20" y="7"/>
                  </a:lnTo>
                  <a:lnTo>
                    <a:pt x="18" y="7"/>
                  </a:lnTo>
                  <a:lnTo>
                    <a:pt x="18" y="7"/>
                  </a:lnTo>
                  <a:lnTo>
                    <a:pt x="17" y="6"/>
                  </a:lnTo>
                  <a:lnTo>
                    <a:pt x="17" y="6"/>
                  </a:lnTo>
                  <a:lnTo>
                    <a:pt x="14" y="4"/>
                  </a:lnTo>
                  <a:lnTo>
                    <a:pt x="13" y="1"/>
                  </a:lnTo>
                  <a:lnTo>
                    <a:pt x="10" y="1"/>
                  </a:lnTo>
                  <a:lnTo>
                    <a:pt x="8"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03" name="Freeform 930"/>
            <p:cNvSpPr>
              <a:spLocks/>
            </p:cNvSpPr>
            <p:nvPr/>
          </p:nvSpPr>
          <p:spPr bwMode="auto">
            <a:xfrm>
              <a:off x="4944472" y="3059629"/>
              <a:ext cx="29845" cy="19269"/>
            </a:xfrm>
            <a:custGeom>
              <a:avLst/>
              <a:gdLst/>
              <a:ahLst/>
              <a:cxnLst>
                <a:cxn ang="0">
                  <a:pos x="8" y="0"/>
                </a:cxn>
                <a:cxn ang="0">
                  <a:pos x="7" y="1"/>
                </a:cxn>
                <a:cxn ang="0">
                  <a:pos x="7" y="3"/>
                </a:cxn>
                <a:cxn ang="0">
                  <a:pos x="5" y="4"/>
                </a:cxn>
                <a:cxn ang="0">
                  <a:pos x="4" y="6"/>
                </a:cxn>
                <a:cxn ang="0">
                  <a:pos x="2" y="7"/>
                </a:cxn>
                <a:cxn ang="0">
                  <a:pos x="1" y="7"/>
                </a:cxn>
                <a:cxn ang="0">
                  <a:pos x="0" y="10"/>
                </a:cxn>
                <a:cxn ang="0">
                  <a:pos x="0" y="11"/>
                </a:cxn>
                <a:cxn ang="0">
                  <a:pos x="1" y="13"/>
                </a:cxn>
                <a:cxn ang="0">
                  <a:pos x="18" y="19"/>
                </a:cxn>
                <a:cxn ang="0">
                  <a:pos x="26" y="19"/>
                </a:cxn>
                <a:cxn ang="0">
                  <a:pos x="30" y="17"/>
                </a:cxn>
                <a:cxn ang="0">
                  <a:pos x="32" y="16"/>
                </a:cxn>
                <a:cxn ang="0">
                  <a:pos x="32" y="16"/>
                </a:cxn>
                <a:cxn ang="0">
                  <a:pos x="32" y="10"/>
                </a:cxn>
                <a:cxn ang="0">
                  <a:pos x="32" y="10"/>
                </a:cxn>
                <a:cxn ang="0">
                  <a:pos x="30" y="8"/>
                </a:cxn>
                <a:cxn ang="0">
                  <a:pos x="27" y="8"/>
                </a:cxn>
                <a:cxn ang="0">
                  <a:pos x="27" y="7"/>
                </a:cxn>
                <a:cxn ang="0">
                  <a:pos x="26" y="7"/>
                </a:cxn>
                <a:cxn ang="0">
                  <a:pos x="24" y="8"/>
                </a:cxn>
                <a:cxn ang="0">
                  <a:pos x="23" y="8"/>
                </a:cxn>
                <a:cxn ang="0">
                  <a:pos x="21" y="8"/>
                </a:cxn>
                <a:cxn ang="0">
                  <a:pos x="20" y="7"/>
                </a:cxn>
                <a:cxn ang="0">
                  <a:pos x="20" y="7"/>
                </a:cxn>
                <a:cxn ang="0">
                  <a:pos x="18" y="7"/>
                </a:cxn>
                <a:cxn ang="0">
                  <a:pos x="18" y="7"/>
                </a:cxn>
                <a:cxn ang="0">
                  <a:pos x="17" y="6"/>
                </a:cxn>
                <a:cxn ang="0">
                  <a:pos x="17" y="6"/>
                </a:cxn>
                <a:cxn ang="0">
                  <a:pos x="14" y="4"/>
                </a:cxn>
                <a:cxn ang="0">
                  <a:pos x="13" y="1"/>
                </a:cxn>
                <a:cxn ang="0">
                  <a:pos x="10" y="1"/>
                </a:cxn>
                <a:cxn ang="0">
                  <a:pos x="8" y="0"/>
                </a:cxn>
              </a:cxnLst>
              <a:rect l="0" t="0" r="r" b="b"/>
              <a:pathLst>
                <a:path w="32" h="19">
                  <a:moveTo>
                    <a:pt x="8" y="0"/>
                  </a:moveTo>
                  <a:lnTo>
                    <a:pt x="7" y="1"/>
                  </a:lnTo>
                  <a:lnTo>
                    <a:pt x="7" y="3"/>
                  </a:lnTo>
                  <a:lnTo>
                    <a:pt x="5" y="4"/>
                  </a:lnTo>
                  <a:lnTo>
                    <a:pt x="4" y="6"/>
                  </a:lnTo>
                  <a:lnTo>
                    <a:pt x="2" y="7"/>
                  </a:lnTo>
                  <a:lnTo>
                    <a:pt x="1" y="7"/>
                  </a:lnTo>
                  <a:lnTo>
                    <a:pt x="0" y="10"/>
                  </a:lnTo>
                  <a:lnTo>
                    <a:pt x="0" y="11"/>
                  </a:lnTo>
                  <a:lnTo>
                    <a:pt x="1" y="13"/>
                  </a:lnTo>
                  <a:lnTo>
                    <a:pt x="18" y="19"/>
                  </a:lnTo>
                  <a:lnTo>
                    <a:pt x="26" y="19"/>
                  </a:lnTo>
                  <a:lnTo>
                    <a:pt x="30" y="17"/>
                  </a:lnTo>
                  <a:lnTo>
                    <a:pt x="32" y="16"/>
                  </a:lnTo>
                  <a:lnTo>
                    <a:pt x="32" y="16"/>
                  </a:lnTo>
                  <a:lnTo>
                    <a:pt x="32" y="10"/>
                  </a:lnTo>
                  <a:lnTo>
                    <a:pt x="32" y="10"/>
                  </a:lnTo>
                  <a:lnTo>
                    <a:pt x="30" y="8"/>
                  </a:lnTo>
                  <a:lnTo>
                    <a:pt x="27" y="8"/>
                  </a:lnTo>
                  <a:lnTo>
                    <a:pt x="27" y="7"/>
                  </a:lnTo>
                  <a:lnTo>
                    <a:pt x="26" y="7"/>
                  </a:lnTo>
                  <a:lnTo>
                    <a:pt x="24" y="8"/>
                  </a:lnTo>
                  <a:lnTo>
                    <a:pt x="23" y="8"/>
                  </a:lnTo>
                  <a:lnTo>
                    <a:pt x="21" y="8"/>
                  </a:lnTo>
                  <a:lnTo>
                    <a:pt x="20" y="7"/>
                  </a:lnTo>
                  <a:lnTo>
                    <a:pt x="20" y="7"/>
                  </a:lnTo>
                  <a:lnTo>
                    <a:pt x="18" y="7"/>
                  </a:lnTo>
                  <a:lnTo>
                    <a:pt x="18" y="7"/>
                  </a:lnTo>
                  <a:lnTo>
                    <a:pt x="17" y="6"/>
                  </a:lnTo>
                  <a:lnTo>
                    <a:pt x="17" y="6"/>
                  </a:lnTo>
                  <a:lnTo>
                    <a:pt x="14" y="4"/>
                  </a:lnTo>
                  <a:lnTo>
                    <a:pt x="13" y="1"/>
                  </a:lnTo>
                  <a:lnTo>
                    <a:pt x="10" y="1"/>
                  </a:lnTo>
                  <a:lnTo>
                    <a:pt x="8"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04" name="Freeform 931"/>
            <p:cNvSpPr>
              <a:spLocks/>
            </p:cNvSpPr>
            <p:nvPr/>
          </p:nvSpPr>
          <p:spPr bwMode="auto">
            <a:xfrm>
              <a:off x="4998896" y="3109322"/>
              <a:ext cx="43013" cy="41580"/>
            </a:xfrm>
            <a:custGeom>
              <a:avLst/>
              <a:gdLst/>
              <a:ahLst/>
              <a:cxnLst>
                <a:cxn ang="0">
                  <a:pos x="31" y="4"/>
                </a:cxn>
                <a:cxn ang="0">
                  <a:pos x="25" y="5"/>
                </a:cxn>
                <a:cxn ang="0">
                  <a:pos x="19" y="3"/>
                </a:cxn>
                <a:cxn ang="0">
                  <a:pos x="13" y="3"/>
                </a:cxn>
                <a:cxn ang="0">
                  <a:pos x="4" y="0"/>
                </a:cxn>
                <a:cxn ang="0">
                  <a:pos x="3" y="0"/>
                </a:cxn>
                <a:cxn ang="0">
                  <a:pos x="0" y="1"/>
                </a:cxn>
                <a:cxn ang="0">
                  <a:pos x="0" y="3"/>
                </a:cxn>
                <a:cxn ang="0">
                  <a:pos x="0" y="4"/>
                </a:cxn>
                <a:cxn ang="0">
                  <a:pos x="2" y="5"/>
                </a:cxn>
                <a:cxn ang="0">
                  <a:pos x="2" y="8"/>
                </a:cxn>
                <a:cxn ang="0">
                  <a:pos x="0" y="11"/>
                </a:cxn>
                <a:cxn ang="0">
                  <a:pos x="2" y="16"/>
                </a:cxn>
                <a:cxn ang="0">
                  <a:pos x="3" y="17"/>
                </a:cxn>
                <a:cxn ang="0">
                  <a:pos x="4" y="19"/>
                </a:cxn>
                <a:cxn ang="0">
                  <a:pos x="6" y="19"/>
                </a:cxn>
                <a:cxn ang="0">
                  <a:pos x="10" y="21"/>
                </a:cxn>
                <a:cxn ang="0">
                  <a:pos x="12" y="21"/>
                </a:cxn>
                <a:cxn ang="0">
                  <a:pos x="13" y="19"/>
                </a:cxn>
                <a:cxn ang="0">
                  <a:pos x="12" y="17"/>
                </a:cxn>
                <a:cxn ang="0">
                  <a:pos x="10" y="17"/>
                </a:cxn>
                <a:cxn ang="0">
                  <a:pos x="10" y="16"/>
                </a:cxn>
                <a:cxn ang="0">
                  <a:pos x="12" y="16"/>
                </a:cxn>
                <a:cxn ang="0">
                  <a:pos x="13" y="16"/>
                </a:cxn>
                <a:cxn ang="0">
                  <a:pos x="16" y="20"/>
                </a:cxn>
                <a:cxn ang="0">
                  <a:pos x="18" y="21"/>
                </a:cxn>
                <a:cxn ang="0">
                  <a:pos x="19" y="24"/>
                </a:cxn>
                <a:cxn ang="0">
                  <a:pos x="20" y="24"/>
                </a:cxn>
                <a:cxn ang="0">
                  <a:pos x="28" y="27"/>
                </a:cxn>
                <a:cxn ang="0">
                  <a:pos x="31" y="30"/>
                </a:cxn>
                <a:cxn ang="0">
                  <a:pos x="31" y="37"/>
                </a:cxn>
                <a:cxn ang="0">
                  <a:pos x="31" y="37"/>
                </a:cxn>
                <a:cxn ang="0">
                  <a:pos x="33" y="39"/>
                </a:cxn>
                <a:cxn ang="0">
                  <a:pos x="35" y="39"/>
                </a:cxn>
                <a:cxn ang="0">
                  <a:pos x="36" y="39"/>
                </a:cxn>
                <a:cxn ang="0">
                  <a:pos x="35" y="36"/>
                </a:cxn>
                <a:cxn ang="0">
                  <a:pos x="36" y="35"/>
                </a:cxn>
                <a:cxn ang="0">
                  <a:pos x="38" y="36"/>
                </a:cxn>
                <a:cxn ang="0">
                  <a:pos x="39" y="37"/>
                </a:cxn>
                <a:cxn ang="0">
                  <a:pos x="39" y="40"/>
                </a:cxn>
                <a:cxn ang="0">
                  <a:pos x="41" y="40"/>
                </a:cxn>
                <a:cxn ang="0">
                  <a:pos x="42" y="39"/>
                </a:cxn>
                <a:cxn ang="0">
                  <a:pos x="44" y="37"/>
                </a:cxn>
                <a:cxn ang="0">
                  <a:pos x="42" y="33"/>
                </a:cxn>
                <a:cxn ang="0">
                  <a:pos x="44" y="33"/>
                </a:cxn>
                <a:cxn ang="0">
                  <a:pos x="44" y="32"/>
                </a:cxn>
                <a:cxn ang="0">
                  <a:pos x="45" y="30"/>
                </a:cxn>
                <a:cxn ang="0">
                  <a:pos x="42" y="29"/>
                </a:cxn>
                <a:cxn ang="0">
                  <a:pos x="42" y="24"/>
                </a:cxn>
                <a:cxn ang="0">
                  <a:pos x="44" y="23"/>
                </a:cxn>
                <a:cxn ang="0">
                  <a:pos x="45" y="23"/>
                </a:cxn>
                <a:cxn ang="0">
                  <a:pos x="45" y="23"/>
                </a:cxn>
                <a:cxn ang="0">
                  <a:pos x="47" y="23"/>
                </a:cxn>
                <a:cxn ang="0">
                  <a:pos x="47" y="23"/>
                </a:cxn>
                <a:cxn ang="0">
                  <a:pos x="33" y="11"/>
                </a:cxn>
                <a:cxn ang="0">
                  <a:pos x="31" y="4"/>
                </a:cxn>
                <a:cxn ang="0">
                  <a:pos x="31" y="4"/>
                </a:cxn>
              </a:cxnLst>
              <a:rect l="0" t="0" r="r" b="b"/>
              <a:pathLst>
                <a:path w="47" h="40">
                  <a:moveTo>
                    <a:pt x="31" y="4"/>
                  </a:moveTo>
                  <a:lnTo>
                    <a:pt x="25" y="5"/>
                  </a:lnTo>
                  <a:lnTo>
                    <a:pt x="19" y="3"/>
                  </a:lnTo>
                  <a:lnTo>
                    <a:pt x="13" y="3"/>
                  </a:lnTo>
                  <a:lnTo>
                    <a:pt x="4" y="0"/>
                  </a:lnTo>
                  <a:lnTo>
                    <a:pt x="3" y="0"/>
                  </a:lnTo>
                  <a:lnTo>
                    <a:pt x="0" y="1"/>
                  </a:lnTo>
                  <a:lnTo>
                    <a:pt x="0" y="3"/>
                  </a:lnTo>
                  <a:lnTo>
                    <a:pt x="0" y="4"/>
                  </a:lnTo>
                  <a:lnTo>
                    <a:pt x="2" y="5"/>
                  </a:lnTo>
                  <a:lnTo>
                    <a:pt x="2" y="8"/>
                  </a:lnTo>
                  <a:lnTo>
                    <a:pt x="0" y="11"/>
                  </a:lnTo>
                  <a:lnTo>
                    <a:pt x="2" y="16"/>
                  </a:lnTo>
                  <a:lnTo>
                    <a:pt x="3" y="17"/>
                  </a:lnTo>
                  <a:lnTo>
                    <a:pt x="4" y="19"/>
                  </a:lnTo>
                  <a:lnTo>
                    <a:pt x="6" y="19"/>
                  </a:lnTo>
                  <a:lnTo>
                    <a:pt x="10" y="21"/>
                  </a:lnTo>
                  <a:lnTo>
                    <a:pt x="12" y="21"/>
                  </a:lnTo>
                  <a:lnTo>
                    <a:pt x="13" y="19"/>
                  </a:lnTo>
                  <a:lnTo>
                    <a:pt x="12" y="17"/>
                  </a:lnTo>
                  <a:lnTo>
                    <a:pt x="10" y="17"/>
                  </a:lnTo>
                  <a:lnTo>
                    <a:pt x="10" y="16"/>
                  </a:lnTo>
                  <a:lnTo>
                    <a:pt x="12" y="16"/>
                  </a:lnTo>
                  <a:lnTo>
                    <a:pt x="13" y="16"/>
                  </a:lnTo>
                  <a:lnTo>
                    <a:pt x="16" y="20"/>
                  </a:lnTo>
                  <a:lnTo>
                    <a:pt x="18" y="21"/>
                  </a:lnTo>
                  <a:lnTo>
                    <a:pt x="19" y="24"/>
                  </a:lnTo>
                  <a:lnTo>
                    <a:pt x="20" y="24"/>
                  </a:lnTo>
                  <a:lnTo>
                    <a:pt x="28" y="27"/>
                  </a:lnTo>
                  <a:lnTo>
                    <a:pt x="31" y="30"/>
                  </a:lnTo>
                  <a:lnTo>
                    <a:pt x="31" y="37"/>
                  </a:lnTo>
                  <a:lnTo>
                    <a:pt x="31" y="37"/>
                  </a:lnTo>
                  <a:lnTo>
                    <a:pt x="33" y="39"/>
                  </a:lnTo>
                  <a:lnTo>
                    <a:pt x="35" y="39"/>
                  </a:lnTo>
                  <a:lnTo>
                    <a:pt x="36" y="39"/>
                  </a:lnTo>
                  <a:lnTo>
                    <a:pt x="35" y="36"/>
                  </a:lnTo>
                  <a:lnTo>
                    <a:pt x="36" y="35"/>
                  </a:lnTo>
                  <a:lnTo>
                    <a:pt x="38" y="36"/>
                  </a:lnTo>
                  <a:lnTo>
                    <a:pt x="39" y="37"/>
                  </a:lnTo>
                  <a:lnTo>
                    <a:pt x="39" y="40"/>
                  </a:lnTo>
                  <a:lnTo>
                    <a:pt x="41" y="40"/>
                  </a:lnTo>
                  <a:lnTo>
                    <a:pt x="42" y="39"/>
                  </a:lnTo>
                  <a:lnTo>
                    <a:pt x="44" y="37"/>
                  </a:lnTo>
                  <a:lnTo>
                    <a:pt x="42" y="33"/>
                  </a:lnTo>
                  <a:lnTo>
                    <a:pt x="44" y="33"/>
                  </a:lnTo>
                  <a:lnTo>
                    <a:pt x="44" y="32"/>
                  </a:lnTo>
                  <a:lnTo>
                    <a:pt x="45" y="30"/>
                  </a:lnTo>
                  <a:lnTo>
                    <a:pt x="42" y="29"/>
                  </a:lnTo>
                  <a:lnTo>
                    <a:pt x="42" y="24"/>
                  </a:lnTo>
                  <a:lnTo>
                    <a:pt x="44" y="23"/>
                  </a:lnTo>
                  <a:lnTo>
                    <a:pt x="45" y="23"/>
                  </a:lnTo>
                  <a:lnTo>
                    <a:pt x="45" y="23"/>
                  </a:lnTo>
                  <a:lnTo>
                    <a:pt x="47" y="23"/>
                  </a:lnTo>
                  <a:lnTo>
                    <a:pt x="47" y="23"/>
                  </a:lnTo>
                  <a:lnTo>
                    <a:pt x="33" y="11"/>
                  </a:lnTo>
                  <a:lnTo>
                    <a:pt x="31" y="4"/>
                  </a:lnTo>
                  <a:lnTo>
                    <a:pt x="31"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05" name="Freeform 932"/>
            <p:cNvSpPr>
              <a:spLocks/>
            </p:cNvSpPr>
            <p:nvPr/>
          </p:nvSpPr>
          <p:spPr bwMode="auto">
            <a:xfrm>
              <a:off x="4998896" y="3109322"/>
              <a:ext cx="43013" cy="41580"/>
            </a:xfrm>
            <a:custGeom>
              <a:avLst/>
              <a:gdLst/>
              <a:ahLst/>
              <a:cxnLst>
                <a:cxn ang="0">
                  <a:pos x="31" y="4"/>
                </a:cxn>
                <a:cxn ang="0">
                  <a:pos x="25" y="5"/>
                </a:cxn>
                <a:cxn ang="0">
                  <a:pos x="19" y="3"/>
                </a:cxn>
                <a:cxn ang="0">
                  <a:pos x="13" y="3"/>
                </a:cxn>
                <a:cxn ang="0">
                  <a:pos x="4" y="0"/>
                </a:cxn>
                <a:cxn ang="0">
                  <a:pos x="3" y="0"/>
                </a:cxn>
                <a:cxn ang="0">
                  <a:pos x="0" y="1"/>
                </a:cxn>
                <a:cxn ang="0">
                  <a:pos x="0" y="3"/>
                </a:cxn>
                <a:cxn ang="0">
                  <a:pos x="0" y="4"/>
                </a:cxn>
                <a:cxn ang="0">
                  <a:pos x="2" y="5"/>
                </a:cxn>
                <a:cxn ang="0">
                  <a:pos x="2" y="8"/>
                </a:cxn>
                <a:cxn ang="0">
                  <a:pos x="0" y="11"/>
                </a:cxn>
                <a:cxn ang="0">
                  <a:pos x="2" y="16"/>
                </a:cxn>
                <a:cxn ang="0">
                  <a:pos x="3" y="17"/>
                </a:cxn>
                <a:cxn ang="0">
                  <a:pos x="4" y="19"/>
                </a:cxn>
                <a:cxn ang="0">
                  <a:pos x="6" y="19"/>
                </a:cxn>
                <a:cxn ang="0">
                  <a:pos x="10" y="21"/>
                </a:cxn>
                <a:cxn ang="0">
                  <a:pos x="12" y="21"/>
                </a:cxn>
                <a:cxn ang="0">
                  <a:pos x="13" y="19"/>
                </a:cxn>
                <a:cxn ang="0">
                  <a:pos x="12" y="17"/>
                </a:cxn>
                <a:cxn ang="0">
                  <a:pos x="10" y="17"/>
                </a:cxn>
                <a:cxn ang="0">
                  <a:pos x="10" y="16"/>
                </a:cxn>
                <a:cxn ang="0">
                  <a:pos x="12" y="16"/>
                </a:cxn>
                <a:cxn ang="0">
                  <a:pos x="13" y="16"/>
                </a:cxn>
                <a:cxn ang="0">
                  <a:pos x="16" y="20"/>
                </a:cxn>
                <a:cxn ang="0">
                  <a:pos x="18" y="21"/>
                </a:cxn>
                <a:cxn ang="0">
                  <a:pos x="19" y="24"/>
                </a:cxn>
                <a:cxn ang="0">
                  <a:pos x="20" y="24"/>
                </a:cxn>
                <a:cxn ang="0">
                  <a:pos x="28" y="27"/>
                </a:cxn>
                <a:cxn ang="0">
                  <a:pos x="31" y="30"/>
                </a:cxn>
                <a:cxn ang="0">
                  <a:pos x="31" y="37"/>
                </a:cxn>
                <a:cxn ang="0">
                  <a:pos x="31" y="37"/>
                </a:cxn>
                <a:cxn ang="0">
                  <a:pos x="33" y="39"/>
                </a:cxn>
                <a:cxn ang="0">
                  <a:pos x="35" y="39"/>
                </a:cxn>
                <a:cxn ang="0">
                  <a:pos x="36" y="39"/>
                </a:cxn>
                <a:cxn ang="0">
                  <a:pos x="35" y="36"/>
                </a:cxn>
                <a:cxn ang="0">
                  <a:pos x="36" y="35"/>
                </a:cxn>
                <a:cxn ang="0">
                  <a:pos x="38" y="36"/>
                </a:cxn>
                <a:cxn ang="0">
                  <a:pos x="39" y="37"/>
                </a:cxn>
                <a:cxn ang="0">
                  <a:pos x="39" y="40"/>
                </a:cxn>
                <a:cxn ang="0">
                  <a:pos x="41" y="40"/>
                </a:cxn>
                <a:cxn ang="0">
                  <a:pos x="42" y="39"/>
                </a:cxn>
                <a:cxn ang="0">
                  <a:pos x="44" y="37"/>
                </a:cxn>
                <a:cxn ang="0">
                  <a:pos x="42" y="33"/>
                </a:cxn>
                <a:cxn ang="0">
                  <a:pos x="44" y="33"/>
                </a:cxn>
                <a:cxn ang="0">
                  <a:pos x="44" y="32"/>
                </a:cxn>
                <a:cxn ang="0">
                  <a:pos x="45" y="30"/>
                </a:cxn>
                <a:cxn ang="0">
                  <a:pos x="42" y="29"/>
                </a:cxn>
                <a:cxn ang="0">
                  <a:pos x="42" y="24"/>
                </a:cxn>
                <a:cxn ang="0">
                  <a:pos x="44" y="23"/>
                </a:cxn>
                <a:cxn ang="0">
                  <a:pos x="45" y="23"/>
                </a:cxn>
                <a:cxn ang="0">
                  <a:pos x="45" y="23"/>
                </a:cxn>
                <a:cxn ang="0">
                  <a:pos x="47" y="23"/>
                </a:cxn>
                <a:cxn ang="0">
                  <a:pos x="47" y="23"/>
                </a:cxn>
                <a:cxn ang="0">
                  <a:pos x="33" y="11"/>
                </a:cxn>
                <a:cxn ang="0">
                  <a:pos x="31" y="4"/>
                </a:cxn>
                <a:cxn ang="0">
                  <a:pos x="31" y="4"/>
                </a:cxn>
              </a:cxnLst>
              <a:rect l="0" t="0" r="r" b="b"/>
              <a:pathLst>
                <a:path w="47" h="40">
                  <a:moveTo>
                    <a:pt x="31" y="4"/>
                  </a:moveTo>
                  <a:lnTo>
                    <a:pt x="25" y="5"/>
                  </a:lnTo>
                  <a:lnTo>
                    <a:pt x="19" y="3"/>
                  </a:lnTo>
                  <a:lnTo>
                    <a:pt x="13" y="3"/>
                  </a:lnTo>
                  <a:lnTo>
                    <a:pt x="4" y="0"/>
                  </a:lnTo>
                  <a:lnTo>
                    <a:pt x="3" y="0"/>
                  </a:lnTo>
                  <a:lnTo>
                    <a:pt x="0" y="1"/>
                  </a:lnTo>
                  <a:lnTo>
                    <a:pt x="0" y="3"/>
                  </a:lnTo>
                  <a:lnTo>
                    <a:pt x="0" y="4"/>
                  </a:lnTo>
                  <a:lnTo>
                    <a:pt x="2" y="5"/>
                  </a:lnTo>
                  <a:lnTo>
                    <a:pt x="2" y="8"/>
                  </a:lnTo>
                  <a:lnTo>
                    <a:pt x="0" y="11"/>
                  </a:lnTo>
                  <a:lnTo>
                    <a:pt x="2" y="16"/>
                  </a:lnTo>
                  <a:lnTo>
                    <a:pt x="3" y="17"/>
                  </a:lnTo>
                  <a:lnTo>
                    <a:pt x="4" y="19"/>
                  </a:lnTo>
                  <a:lnTo>
                    <a:pt x="6" y="19"/>
                  </a:lnTo>
                  <a:lnTo>
                    <a:pt x="10" y="21"/>
                  </a:lnTo>
                  <a:lnTo>
                    <a:pt x="12" y="21"/>
                  </a:lnTo>
                  <a:lnTo>
                    <a:pt x="13" y="19"/>
                  </a:lnTo>
                  <a:lnTo>
                    <a:pt x="12" y="17"/>
                  </a:lnTo>
                  <a:lnTo>
                    <a:pt x="10" y="17"/>
                  </a:lnTo>
                  <a:lnTo>
                    <a:pt x="10" y="16"/>
                  </a:lnTo>
                  <a:lnTo>
                    <a:pt x="12" y="16"/>
                  </a:lnTo>
                  <a:lnTo>
                    <a:pt x="13" y="16"/>
                  </a:lnTo>
                  <a:lnTo>
                    <a:pt x="16" y="20"/>
                  </a:lnTo>
                  <a:lnTo>
                    <a:pt x="18" y="21"/>
                  </a:lnTo>
                  <a:lnTo>
                    <a:pt x="19" y="24"/>
                  </a:lnTo>
                  <a:lnTo>
                    <a:pt x="20" y="24"/>
                  </a:lnTo>
                  <a:lnTo>
                    <a:pt x="28" y="27"/>
                  </a:lnTo>
                  <a:lnTo>
                    <a:pt x="31" y="30"/>
                  </a:lnTo>
                  <a:lnTo>
                    <a:pt x="31" y="37"/>
                  </a:lnTo>
                  <a:lnTo>
                    <a:pt x="31" y="37"/>
                  </a:lnTo>
                  <a:lnTo>
                    <a:pt x="33" y="39"/>
                  </a:lnTo>
                  <a:lnTo>
                    <a:pt x="35" y="39"/>
                  </a:lnTo>
                  <a:lnTo>
                    <a:pt x="36" y="39"/>
                  </a:lnTo>
                  <a:lnTo>
                    <a:pt x="35" y="36"/>
                  </a:lnTo>
                  <a:lnTo>
                    <a:pt x="36" y="35"/>
                  </a:lnTo>
                  <a:lnTo>
                    <a:pt x="38" y="36"/>
                  </a:lnTo>
                  <a:lnTo>
                    <a:pt x="39" y="37"/>
                  </a:lnTo>
                  <a:lnTo>
                    <a:pt x="39" y="40"/>
                  </a:lnTo>
                  <a:lnTo>
                    <a:pt x="41" y="40"/>
                  </a:lnTo>
                  <a:lnTo>
                    <a:pt x="42" y="39"/>
                  </a:lnTo>
                  <a:lnTo>
                    <a:pt x="44" y="37"/>
                  </a:lnTo>
                  <a:lnTo>
                    <a:pt x="42" y="33"/>
                  </a:lnTo>
                  <a:lnTo>
                    <a:pt x="44" y="33"/>
                  </a:lnTo>
                  <a:lnTo>
                    <a:pt x="44" y="32"/>
                  </a:lnTo>
                  <a:lnTo>
                    <a:pt x="45" y="30"/>
                  </a:lnTo>
                  <a:lnTo>
                    <a:pt x="42" y="29"/>
                  </a:lnTo>
                  <a:lnTo>
                    <a:pt x="42" y="24"/>
                  </a:lnTo>
                  <a:lnTo>
                    <a:pt x="44" y="23"/>
                  </a:lnTo>
                  <a:lnTo>
                    <a:pt x="45" y="23"/>
                  </a:lnTo>
                  <a:lnTo>
                    <a:pt x="45" y="23"/>
                  </a:lnTo>
                  <a:lnTo>
                    <a:pt x="47" y="23"/>
                  </a:lnTo>
                  <a:lnTo>
                    <a:pt x="47" y="23"/>
                  </a:lnTo>
                  <a:lnTo>
                    <a:pt x="33" y="11"/>
                  </a:lnTo>
                  <a:lnTo>
                    <a:pt x="31" y="4"/>
                  </a:lnTo>
                  <a:lnTo>
                    <a:pt x="31"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06" name="Freeform 933"/>
            <p:cNvSpPr>
              <a:spLocks/>
            </p:cNvSpPr>
            <p:nvPr/>
          </p:nvSpPr>
          <p:spPr bwMode="auto">
            <a:xfrm>
              <a:off x="5167434" y="2973427"/>
              <a:ext cx="2634" cy="1015"/>
            </a:xfrm>
            <a:custGeom>
              <a:avLst/>
              <a:gdLst/>
              <a:ahLst/>
              <a:cxnLst>
                <a:cxn ang="0">
                  <a:pos x="2" y="0"/>
                </a:cxn>
                <a:cxn ang="0">
                  <a:pos x="2" y="0"/>
                </a:cxn>
                <a:cxn ang="0">
                  <a:pos x="3" y="0"/>
                </a:cxn>
                <a:cxn ang="0">
                  <a:pos x="3" y="1"/>
                </a:cxn>
                <a:cxn ang="0">
                  <a:pos x="0" y="1"/>
                </a:cxn>
                <a:cxn ang="0">
                  <a:pos x="0" y="1"/>
                </a:cxn>
                <a:cxn ang="0">
                  <a:pos x="0" y="0"/>
                </a:cxn>
                <a:cxn ang="0">
                  <a:pos x="0" y="0"/>
                </a:cxn>
                <a:cxn ang="0">
                  <a:pos x="0" y="0"/>
                </a:cxn>
                <a:cxn ang="0">
                  <a:pos x="2" y="0"/>
                </a:cxn>
              </a:cxnLst>
              <a:rect l="0" t="0" r="r" b="b"/>
              <a:pathLst>
                <a:path w="3" h="1">
                  <a:moveTo>
                    <a:pt x="2" y="0"/>
                  </a:moveTo>
                  <a:lnTo>
                    <a:pt x="2" y="0"/>
                  </a:lnTo>
                  <a:lnTo>
                    <a:pt x="3" y="0"/>
                  </a:lnTo>
                  <a:lnTo>
                    <a:pt x="3" y="1"/>
                  </a:lnTo>
                  <a:lnTo>
                    <a:pt x="0" y="1"/>
                  </a:lnTo>
                  <a:lnTo>
                    <a:pt x="0" y="1"/>
                  </a:lnTo>
                  <a:lnTo>
                    <a:pt x="0" y="0"/>
                  </a:lnTo>
                  <a:lnTo>
                    <a:pt x="0" y="0"/>
                  </a:lnTo>
                  <a:lnTo>
                    <a:pt x="0" y="0"/>
                  </a:lnTo>
                  <a:lnTo>
                    <a:pt x="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07" name="Freeform 934"/>
            <p:cNvSpPr>
              <a:spLocks/>
            </p:cNvSpPr>
            <p:nvPr/>
          </p:nvSpPr>
          <p:spPr bwMode="auto">
            <a:xfrm>
              <a:off x="5167434" y="2973427"/>
              <a:ext cx="2634" cy="1015"/>
            </a:xfrm>
            <a:custGeom>
              <a:avLst/>
              <a:gdLst/>
              <a:ahLst/>
              <a:cxnLst>
                <a:cxn ang="0">
                  <a:pos x="2" y="0"/>
                </a:cxn>
                <a:cxn ang="0">
                  <a:pos x="2" y="0"/>
                </a:cxn>
                <a:cxn ang="0">
                  <a:pos x="3" y="0"/>
                </a:cxn>
                <a:cxn ang="0">
                  <a:pos x="3" y="1"/>
                </a:cxn>
                <a:cxn ang="0">
                  <a:pos x="0" y="1"/>
                </a:cxn>
                <a:cxn ang="0">
                  <a:pos x="0" y="1"/>
                </a:cxn>
                <a:cxn ang="0">
                  <a:pos x="0" y="0"/>
                </a:cxn>
                <a:cxn ang="0">
                  <a:pos x="0" y="0"/>
                </a:cxn>
                <a:cxn ang="0">
                  <a:pos x="0" y="0"/>
                </a:cxn>
                <a:cxn ang="0">
                  <a:pos x="2" y="0"/>
                </a:cxn>
              </a:cxnLst>
              <a:rect l="0" t="0" r="r" b="b"/>
              <a:pathLst>
                <a:path w="3" h="1">
                  <a:moveTo>
                    <a:pt x="2" y="0"/>
                  </a:moveTo>
                  <a:lnTo>
                    <a:pt x="2" y="0"/>
                  </a:lnTo>
                  <a:lnTo>
                    <a:pt x="3" y="0"/>
                  </a:lnTo>
                  <a:lnTo>
                    <a:pt x="3" y="1"/>
                  </a:lnTo>
                  <a:lnTo>
                    <a:pt x="0" y="1"/>
                  </a:lnTo>
                  <a:lnTo>
                    <a:pt x="0" y="1"/>
                  </a:lnTo>
                  <a:lnTo>
                    <a:pt x="0" y="0"/>
                  </a:lnTo>
                  <a:lnTo>
                    <a:pt x="0" y="0"/>
                  </a:lnTo>
                  <a:lnTo>
                    <a:pt x="0" y="0"/>
                  </a:lnTo>
                  <a:lnTo>
                    <a:pt x="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08" name="Freeform 935"/>
            <p:cNvSpPr>
              <a:spLocks/>
            </p:cNvSpPr>
            <p:nvPr/>
          </p:nvSpPr>
          <p:spPr bwMode="auto">
            <a:xfrm>
              <a:off x="5163044" y="2989653"/>
              <a:ext cx="4389" cy="4057"/>
            </a:xfrm>
            <a:custGeom>
              <a:avLst/>
              <a:gdLst/>
              <a:ahLst/>
              <a:cxnLst>
                <a:cxn ang="0">
                  <a:pos x="3" y="1"/>
                </a:cxn>
                <a:cxn ang="0">
                  <a:pos x="5" y="1"/>
                </a:cxn>
                <a:cxn ang="0">
                  <a:pos x="5" y="4"/>
                </a:cxn>
                <a:cxn ang="0">
                  <a:pos x="4" y="3"/>
                </a:cxn>
                <a:cxn ang="0">
                  <a:pos x="1" y="3"/>
                </a:cxn>
                <a:cxn ang="0">
                  <a:pos x="0" y="1"/>
                </a:cxn>
                <a:cxn ang="0">
                  <a:pos x="1" y="0"/>
                </a:cxn>
                <a:cxn ang="0">
                  <a:pos x="3" y="1"/>
                </a:cxn>
              </a:cxnLst>
              <a:rect l="0" t="0" r="r" b="b"/>
              <a:pathLst>
                <a:path w="5" h="4">
                  <a:moveTo>
                    <a:pt x="3" y="1"/>
                  </a:moveTo>
                  <a:lnTo>
                    <a:pt x="5" y="1"/>
                  </a:lnTo>
                  <a:lnTo>
                    <a:pt x="5" y="4"/>
                  </a:lnTo>
                  <a:lnTo>
                    <a:pt x="4" y="3"/>
                  </a:lnTo>
                  <a:lnTo>
                    <a:pt x="1" y="3"/>
                  </a:lnTo>
                  <a:lnTo>
                    <a:pt x="0" y="1"/>
                  </a:lnTo>
                  <a:lnTo>
                    <a:pt x="1" y="0"/>
                  </a:lnTo>
                  <a:lnTo>
                    <a:pt x="3"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09" name="Freeform 936"/>
            <p:cNvSpPr>
              <a:spLocks/>
            </p:cNvSpPr>
            <p:nvPr/>
          </p:nvSpPr>
          <p:spPr bwMode="auto">
            <a:xfrm>
              <a:off x="5163044" y="2989653"/>
              <a:ext cx="4389" cy="4057"/>
            </a:xfrm>
            <a:custGeom>
              <a:avLst/>
              <a:gdLst/>
              <a:ahLst/>
              <a:cxnLst>
                <a:cxn ang="0">
                  <a:pos x="3" y="1"/>
                </a:cxn>
                <a:cxn ang="0">
                  <a:pos x="5" y="1"/>
                </a:cxn>
                <a:cxn ang="0">
                  <a:pos x="5" y="4"/>
                </a:cxn>
                <a:cxn ang="0">
                  <a:pos x="4" y="3"/>
                </a:cxn>
                <a:cxn ang="0">
                  <a:pos x="1" y="3"/>
                </a:cxn>
                <a:cxn ang="0">
                  <a:pos x="0" y="1"/>
                </a:cxn>
                <a:cxn ang="0">
                  <a:pos x="1" y="0"/>
                </a:cxn>
                <a:cxn ang="0">
                  <a:pos x="3" y="1"/>
                </a:cxn>
              </a:cxnLst>
              <a:rect l="0" t="0" r="r" b="b"/>
              <a:pathLst>
                <a:path w="5" h="4">
                  <a:moveTo>
                    <a:pt x="3" y="1"/>
                  </a:moveTo>
                  <a:lnTo>
                    <a:pt x="5" y="1"/>
                  </a:lnTo>
                  <a:lnTo>
                    <a:pt x="5" y="4"/>
                  </a:lnTo>
                  <a:lnTo>
                    <a:pt x="4" y="3"/>
                  </a:lnTo>
                  <a:lnTo>
                    <a:pt x="1" y="3"/>
                  </a:lnTo>
                  <a:lnTo>
                    <a:pt x="0" y="1"/>
                  </a:lnTo>
                  <a:lnTo>
                    <a:pt x="1" y="0"/>
                  </a:lnTo>
                  <a:lnTo>
                    <a:pt x="3"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10" name="Freeform 937"/>
            <p:cNvSpPr>
              <a:spLocks/>
            </p:cNvSpPr>
            <p:nvPr/>
          </p:nvSpPr>
          <p:spPr bwMode="auto">
            <a:xfrm>
              <a:off x="5148122" y="2974443"/>
              <a:ext cx="36867" cy="29409"/>
            </a:xfrm>
            <a:custGeom>
              <a:avLst/>
              <a:gdLst/>
              <a:ahLst/>
              <a:cxnLst>
                <a:cxn ang="0">
                  <a:pos x="37" y="29"/>
                </a:cxn>
                <a:cxn ang="0">
                  <a:pos x="37" y="29"/>
                </a:cxn>
                <a:cxn ang="0">
                  <a:pos x="37" y="25"/>
                </a:cxn>
                <a:cxn ang="0">
                  <a:pos x="37" y="24"/>
                </a:cxn>
                <a:cxn ang="0">
                  <a:pos x="36" y="22"/>
                </a:cxn>
                <a:cxn ang="0">
                  <a:pos x="36" y="21"/>
                </a:cxn>
                <a:cxn ang="0">
                  <a:pos x="36" y="21"/>
                </a:cxn>
                <a:cxn ang="0">
                  <a:pos x="39" y="19"/>
                </a:cxn>
                <a:cxn ang="0">
                  <a:pos x="39" y="15"/>
                </a:cxn>
                <a:cxn ang="0">
                  <a:pos x="39" y="13"/>
                </a:cxn>
                <a:cxn ang="0">
                  <a:pos x="40" y="12"/>
                </a:cxn>
                <a:cxn ang="0">
                  <a:pos x="39" y="11"/>
                </a:cxn>
                <a:cxn ang="0">
                  <a:pos x="39" y="8"/>
                </a:cxn>
                <a:cxn ang="0">
                  <a:pos x="39" y="5"/>
                </a:cxn>
                <a:cxn ang="0">
                  <a:pos x="37" y="3"/>
                </a:cxn>
                <a:cxn ang="0">
                  <a:pos x="37" y="3"/>
                </a:cxn>
                <a:cxn ang="0">
                  <a:pos x="36" y="3"/>
                </a:cxn>
                <a:cxn ang="0">
                  <a:pos x="35" y="3"/>
                </a:cxn>
                <a:cxn ang="0">
                  <a:pos x="27" y="3"/>
                </a:cxn>
                <a:cxn ang="0">
                  <a:pos x="23" y="2"/>
                </a:cxn>
                <a:cxn ang="0">
                  <a:pos x="20" y="0"/>
                </a:cxn>
                <a:cxn ang="0">
                  <a:pos x="16" y="2"/>
                </a:cxn>
                <a:cxn ang="0">
                  <a:pos x="14" y="3"/>
                </a:cxn>
                <a:cxn ang="0">
                  <a:pos x="14" y="3"/>
                </a:cxn>
                <a:cxn ang="0">
                  <a:pos x="14" y="6"/>
                </a:cxn>
                <a:cxn ang="0">
                  <a:pos x="14" y="6"/>
                </a:cxn>
                <a:cxn ang="0">
                  <a:pos x="20" y="6"/>
                </a:cxn>
                <a:cxn ang="0">
                  <a:pos x="23" y="8"/>
                </a:cxn>
                <a:cxn ang="0">
                  <a:pos x="23" y="9"/>
                </a:cxn>
                <a:cxn ang="0">
                  <a:pos x="23" y="15"/>
                </a:cxn>
                <a:cxn ang="0">
                  <a:pos x="23" y="16"/>
                </a:cxn>
                <a:cxn ang="0">
                  <a:pos x="29" y="19"/>
                </a:cxn>
                <a:cxn ang="0">
                  <a:pos x="29" y="21"/>
                </a:cxn>
                <a:cxn ang="0">
                  <a:pos x="27" y="22"/>
                </a:cxn>
                <a:cxn ang="0">
                  <a:pos x="11" y="22"/>
                </a:cxn>
                <a:cxn ang="0">
                  <a:pos x="8" y="21"/>
                </a:cxn>
                <a:cxn ang="0">
                  <a:pos x="0" y="21"/>
                </a:cxn>
                <a:cxn ang="0">
                  <a:pos x="0" y="22"/>
                </a:cxn>
                <a:cxn ang="0">
                  <a:pos x="0" y="24"/>
                </a:cxn>
                <a:cxn ang="0">
                  <a:pos x="3" y="27"/>
                </a:cxn>
                <a:cxn ang="0">
                  <a:pos x="6" y="28"/>
                </a:cxn>
                <a:cxn ang="0">
                  <a:pos x="7" y="29"/>
                </a:cxn>
                <a:cxn ang="0">
                  <a:pos x="8" y="29"/>
                </a:cxn>
                <a:cxn ang="0">
                  <a:pos x="8" y="28"/>
                </a:cxn>
                <a:cxn ang="0">
                  <a:pos x="8" y="27"/>
                </a:cxn>
                <a:cxn ang="0">
                  <a:pos x="10" y="27"/>
                </a:cxn>
                <a:cxn ang="0">
                  <a:pos x="23" y="28"/>
                </a:cxn>
                <a:cxn ang="0">
                  <a:pos x="29" y="27"/>
                </a:cxn>
                <a:cxn ang="0">
                  <a:pos x="33" y="27"/>
                </a:cxn>
                <a:cxn ang="0">
                  <a:pos x="37" y="29"/>
                </a:cxn>
                <a:cxn ang="0">
                  <a:pos x="37" y="29"/>
                </a:cxn>
              </a:cxnLst>
              <a:rect l="0" t="0" r="r" b="b"/>
              <a:pathLst>
                <a:path w="40" h="29">
                  <a:moveTo>
                    <a:pt x="37" y="29"/>
                  </a:moveTo>
                  <a:lnTo>
                    <a:pt x="37" y="29"/>
                  </a:lnTo>
                  <a:lnTo>
                    <a:pt x="37" y="25"/>
                  </a:lnTo>
                  <a:lnTo>
                    <a:pt x="37" y="24"/>
                  </a:lnTo>
                  <a:lnTo>
                    <a:pt x="36" y="22"/>
                  </a:lnTo>
                  <a:lnTo>
                    <a:pt x="36" y="21"/>
                  </a:lnTo>
                  <a:lnTo>
                    <a:pt x="36" y="21"/>
                  </a:lnTo>
                  <a:lnTo>
                    <a:pt x="39" y="19"/>
                  </a:lnTo>
                  <a:lnTo>
                    <a:pt x="39" y="15"/>
                  </a:lnTo>
                  <a:lnTo>
                    <a:pt x="39" y="13"/>
                  </a:lnTo>
                  <a:lnTo>
                    <a:pt x="40" y="12"/>
                  </a:lnTo>
                  <a:lnTo>
                    <a:pt x="39" y="11"/>
                  </a:lnTo>
                  <a:lnTo>
                    <a:pt x="39" y="8"/>
                  </a:lnTo>
                  <a:lnTo>
                    <a:pt x="39" y="5"/>
                  </a:lnTo>
                  <a:lnTo>
                    <a:pt x="37" y="3"/>
                  </a:lnTo>
                  <a:lnTo>
                    <a:pt x="37" y="3"/>
                  </a:lnTo>
                  <a:lnTo>
                    <a:pt x="36" y="3"/>
                  </a:lnTo>
                  <a:lnTo>
                    <a:pt x="35" y="3"/>
                  </a:lnTo>
                  <a:lnTo>
                    <a:pt x="27" y="3"/>
                  </a:lnTo>
                  <a:lnTo>
                    <a:pt x="23" y="2"/>
                  </a:lnTo>
                  <a:lnTo>
                    <a:pt x="20" y="0"/>
                  </a:lnTo>
                  <a:lnTo>
                    <a:pt x="16" y="2"/>
                  </a:lnTo>
                  <a:lnTo>
                    <a:pt x="14" y="3"/>
                  </a:lnTo>
                  <a:lnTo>
                    <a:pt x="14" y="3"/>
                  </a:lnTo>
                  <a:lnTo>
                    <a:pt x="14" y="6"/>
                  </a:lnTo>
                  <a:lnTo>
                    <a:pt x="14" y="6"/>
                  </a:lnTo>
                  <a:lnTo>
                    <a:pt x="20" y="6"/>
                  </a:lnTo>
                  <a:lnTo>
                    <a:pt x="23" y="8"/>
                  </a:lnTo>
                  <a:lnTo>
                    <a:pt x="23" y="9"/>
                  </a:lnTo>
                  <a:lnTo>
                    <a:pt x="23" y="15"/>
                  </a:lnTo>
                  <a:lnTo>
                    <a:pt x="23" y="16"/>
                  </a:lnTo>
                  <a:lnTo>
                    <a:pt x="29" y="19"/>
                  </a:lnTo>
                  <a:lnTo>
                    <a:pt x="29" y="21"/>
                  </a:lnTo>
                  <a:lnTo>
                    <a:pt x="27" y="22"/>
                  </a:lnTo>
                  <a:lnTo>
                    <a:pt x="11" y="22"/>
                  </a:lnTo>
                  <a:lnTo>
                    <a:pt x="8" y="21"/>
                  </a:lnTo>
                  <a:lnTo>
                    <a:pt x="0" y="21"/>
                  </a:lnTo>
                  <a:lnTo>
                    <a:pt x="0" y="22"/>
                  </a:lnTo>
                  <a:lnTo>
                    <a:pt x="0" y="24"/>
                  </a:lnTo>
                  <a:lnTo>
                    <a:pt x="3" y="27"/>
                  </a:lnTo>
                  <a:lnTo>
                    <a:pt x="6" y="28"/>
                  </a:lnTo>
                  <a:lnTo>
                    <a:pt x="7" y="29"/>
                  </a:lnTo>
                  <a:lnTo>
                    <a:pt x="8" y="29"/>
                  </a:lnTo>
                  <a:lnTo>
                    <a:pt x="8" y="28"/>
                  </a:lnTo>
                  <a:lnTo>
                    <a:pt x="8" y="27"/>
                  </a:lnTo>
                  <a:lnTo>
                    <a:pt x="10" y="27"/>
                  </a:lnTo>
                  <a:lnTo>
                    <a:pt x="23" y="28"/>
                  </a:lnTo>
                  <a:lnTo>
                    <a:pt x="29" y="27"/>
                  </a:lnTo>
                  <a:lnTo>
                    <a:pt x="33" y="27"/>
                  </a:lnTo>
                  <a:lnTo>
                    <a:pt x="37" y="29"/>
                  </a:lnTo>
                  <a:lnTo>
                    <a:pt x="37" y="2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11" name="Freeform 938"/>
            <p:cNvSpPr>
              <a:spLocks/>
            </p:cNvSpPr>
            <p:nvPr/>
          </p:nvSpPr>
          <p:spPr bwMode="auto">
            <a:xfrm>
              <a:off x="5148122" y="2974443"/>
              <a:ext cx="36867" cy="29409"/>
            </a:xfrm>
            <a:custGeom>
              <a:avLst/>
              <a:gdLst/>
              <a:ahLst/>
              <a:cxnLst>
                <a:cxn ang="0">
                  <a:pos x="37" y="29"/>
                </a:cxn>
                <a:cxn ang="0">
                  <a:pos x="37" y="29"/>
                </a:cxn>
                <a:cxn ang="0">
                  <a:pos x="37" y="25"/>
                </a:cxn>
                <a:cxn ang="0">
                  <a:pos x="37" y="24"/>
                </a:cxn>
                <a:cxn ang="0">
                  <a:pos x="36" y="22"/>
                </a:cxn>
                <a:cxn ang="0">
                  <a:pos x="36" y="21"/>
                </a:cxn>
                <a:cxn ang="0">
                  <a:pos x="36" y="21"/>
                </a:cxn>
                <a:cxn ang="0">
                  <a:pos x="39" y="19"/>
                </a:cxn>
                <a:cxn ang="0">
                  <a:pos x="39" y="15"/>
                </a:cxn>
                <a:cxn ang="0">
                  <a:pos x="39" y="13"/>
                </a:cxn>
                <a:cxn ang="0">
                  <a:pos x="40" y="12"/>
                </a:cxn>
                <a:cxn ang="0">
                  <a:pos x="39" y="11"/>
                </a:cxn>
                <a:cxn ang="0">
                  <a:pos x="39" y="8"/>
                </a:cxn>
                <a:cxn ang="0">
                  <a:pos x="39" y="5"/>
                </a:cxn>
                <a:cxn ang="0">
                  <a:pos x="37" y="3"/>
                </a:cxn>
                <a:cxn ang="0">
                  <a:pos x="37" y="3"/>
                </a:cxn>
                <a:cxn ang="0">
                  <a:pos x="36" y="3"/>
                </a:cxn>
                <a:cxn ang="0">
                  <a:pos x="35" y="3"/>
                </a:cxn>
                <a:cxn ang="0">
                  <a:pos x="27" y="3"/>
                </a:cxn>
                <a:cxn ang="0">
                  <a:pos x="23" y="2"/>
                </a:cxn>
                <a:cxn ang="0">
                  <a:pos x="20" y="0"/>
                </a:cxn>
                <a:cxn ang="0">
                  <a:pos x="16" y="2"/>
                </a:cxn>
                <a:cxn ang="0">
                  <a:pos x="14" y="3"/>
                </a:cxn>
                <a:cxn ang="0">
                  <a:pos x="14" y="3"/>
                </a:cxn>
                <a:cxn ang="0">
                  <a:pos x="14" y="6"/>
                </a:cxn>
                <a:cxn ang="0">
                  <a:pos x="14" y="6"/>
                </a:cxn>
                <a:cxn ang="0">
                  <a:pos x="20" y="6"/>
                </a:cxn>
                <a:cxn ang="0">
                  <a:pos x="23" y="8"/>
                </a:cxn>
                <a:cxn ang="0">
                  <a:pos x="23" y="9"/>
                </a:cxn>
                <a:cxn ang="0">
                  <a:pos x="23" y="15"/>
                </a:cxn>
                <a:cxn ang="0">
                  <a:pos x="23" y="16"/>
                </a:cxn>
                <a:cxn ang="0">
                  <a:pos x="29" y="19"/>
                </a:cxn>
                <a:cxn ang="0">
                  <a:pos x="29" y="21"/>
                </a:cxn>
                <a:cxn ang="0">
                  <a:pos x="27" y="22"/>
                </a:cxn>
                <a:cxn ang="0">
                  <a:pos x="11" y="22"/>
                </a:cxn>
                <a:cxn ang="0">
                  <a:pos x="8" y="21"/>
                </a:cxn>
                <a:cxn ang="0">
                  <a:pos x="0" y="21"/>
                </a:cxn>
                <a:cxn ang="0">
                  <a:pos x="0" y="22"/>
                </a:cxn>
                <a:cxn ang="0">
                  <a:pos x="0" y="24"/>
                </a:cxn>
                <a:cxn ang="0">
                  <a:pos x="3" y="27"/>
                </a:cxn>
                <a:cxn ang="0">
                  <a:pos x="6" y="28"/>
                </a:cxn>
                <a:cxn ang="0">
                  <a:pos x="7" y="29"/>
                </a:cxn>
                <a:cxn ang="0">
                  <a:pos x="8" y="29"/>
                </a:cxn>
                <a:cxn ang="0">
                  <a:pos x="8" y="28"/>
                </a:cxn>
                <a:cxn ang="0">
                  <a:pos x="8" y="27"/>
                </a:cxn>
                <a:cxn ang="0">
                  <a:pos x="10" y="27"/>
                </a:cxn>
                <a:cxn ang="0">
                  <a:pos x="23" y="28"/>
                </a:cxn>
                <a:cxn ang="0">
                  <a:pos x="29" y="27"/>
                </a:cxn>
                <a:cxn ang="0">
                  <a:pos x="33" y="27"/>
                </a:cxn>
                <a:cxn ang="0">
                  <a:pos x="37" y="29"/>
                </a:cxn>
                <a:cxn ang="0">
                  <a:pos x="37" y="29"/>
                </a:cxn>
              </a:cxnLst>
              <a:rect l="0" t="0" r="r" b="b"/>
              <a:pathLst>
                <a:path w="40" h="29">
                  <a:moveTo>
                    <a:pt x="37" y="29"/>
                  </a:moveTo>
                  <a:lnTo>
                    <a:pt x="37" y="29"/>
                  </a:lnTo>
                  <a:lnTo>
                    <a:pt x="37" y="25"/>
                  </a:lnTo>
                  <a:lnTo>
                    <a:pt x="37" y="24"/>
                  </a:lnTo>
                  <a:lnTo>
                    <a:pt x="36" y="22"/>
                  </a:lnTo>
                  <a:lnTo>
                    <a:pt x="36" y="21"/>
                  </a:lnTo>
                  <a:lnTo>
                    <a:pt x="36" y="21"/>
                  </a:lnTo>
                  <a:lnTo>
                    <a:pt x="39" y="19"/>
                  </a:lnTo>
                  <a:lnTo>
                    <a:pt x="39" y="15"/>
                  </a:lnTo>
                  <a:lnTo>
                    <a:pt x="39" y="13"/>
                  </a:lnTo>
                  <a:lnTo>
                    <a:pt x="40" y="12"/>
                  </a:lnTo>
                  <a:lnTo>
                    <a:pt x="39" y="11"/>
                  </a:lnTo>
                  <a:lnTo>
                    <a:pt x="39" y="8"/>
                  </a:lnTo>
                  <a:lnTo>
                    <a:pt x="39" y="5"/>
                  </a:lnTo>
                  <a:lnTo>
                    <a:pt x="37" y="3"/>
                  </a:lnTo>
                  <a:lnTo>
                    <a:pt x="37" y="3"/>
                  </a:lnTo>
                  <a:lnTo>
                    <a:pt x="36" y="3"/>
                  </a:lnTo>
                  <a:lnTo>
                    <a:pt x="35" y="3"/>
                  </a:lnTo>
                  <a:lnTo>
                    <a:pt x="27" y="3"/>
                  </a:lnTo>
                  <a:lnTo>
                    <a:pt x="23" y="2"/>
                  </a:lnTo>
                  <a:lnTo>
                    <a:pt x="20" y="0"/>
                  </a:lnTo>
                  <a:lnTo>
                    <a:pt x="16" y="2"/>
                  </a:lnTo>
                  <a:lnTo>
                    <a:pt x="14" y="3"/>
                  </a:lnTo>
                  <a:lnTo>
                    <a:pt x="14" y="3"/>
                  </a:lnTo>
                  <a:lnTo>
                    <a:pt x="14" y="6"/>
                  </a:lnTo>
                  <a:lnTo>
                    <a:pt x="14" y="6"/>
                  </a:lnTo>
                  <a:lnTo>
                    <a:pt x="20" y="6"/>
                  </a:lnTo>
                  <a:lnTo>
                    <a:pt x="23" y="8"/>
                  </a:lnTo>
                  <a:lnTo>
                    <a:pt x="23" y="9"/>
                  </a:lnTo>
                  <a:lnTo>
                    <a:pt x="23" y="15"/>
                  </a:lnTo>
                  <a:lnTo>
                    <a:pt x="23" y="16"/>
                  </a:lnTo>
                  <a:lnTo>
                    <a:pt x="29" y="19"/>
                  </a:lnTo>
                  <a:lnTo>
                    <a:pt x="29" y="21"/>
                  </a:lnTo>
                  <a:lnTo>
                    <a:pt x="27" y="22"/>
                  </a:lnTo>
                  <a:lnTo>
                    <a:pt x="11" y="22"/>
                  </a:lnTo>
                  <a:lnTo>
                    <a:pt x="8" y="21"/>
                  </a:lnTo>
                  <a:lnTo>
                    <a:pt x="0" y="21"/>
                  </a:lnTo>
                  <a:lnTo>
                    <a:pt x="0" y="22"/>
                  </a:lnTo>
                  <a:lnTo>
                    <a:pt x="0" y="24"/>
                  </a:lnTo>
                  <a:lnTo>
                    <a:pt x="3" y="27"/>
                  </a:lnTo>
                  <a:lnTo>
                    <a:pt x="6" y="28"/>
                  </a:lnTo>
                  <a:lnTo>
                    <a:pt x="7" y="29"/>
                  </a:lnTo>
                  <a:lnTo>
                    <a:pt x="8" y="29"/>
                  </a:lnTo>
                  <a:lnTo>
                    <a:pt x="8" y="28"/>
                  </a:lnTo>
                  <a:lnTo>
                    <a:pt x="8" y="27"/>
                  </a:lnTo>
                  <a:lnTo>
                    <a:pt x="10" y="27"/>
                  </a:lnTo>
                  <a:lnTo>
                    <a:pt x="23" y="28"/>
                  </a:lnTo>
                  <a:lnTo>
                    <a:pt x="29" y="27"/>
                  </a:lnTo>
                  <a:lnTo>
                    <a:pt x="33" y="27"/>
                  </a:lnTo>
                  <a:lnTo>
                    <a:pt x="37" y="29"/>
                  </a:lnTo>
                  <a:lnTo>
                    <a:pt x="37" y="29"/>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12" name="Freeform 939"/>
            <p:cNvSpPr>
              <a:spLocks/>
            </p:cNvSpPr>
            <p:nvPr/>
          </p:nvSpPr>
          <p:spPr bwMode="auto">
            <a:xfrm>
              <a:off x="5156022" y="3197551"/>
              <a:ext cx="507369" cy="606451"/>
            </a:xfrm>
            <a:custGeom>
              <a:avLst/>
              <a:gdLst/>
              <a:ahLst/>
              <a:cxnLst>
                <a:cxn ang="0">
                  <a:pos x="172" y="15"/>
                </a:cxn>
                <a:cxn ang="0">
                  <a:pos x="130" y="16"/>
                </a:cxn>
                <a:cxn ang="0">
                  <a:pos x="149" y="41"/>
                </a:cxn>
                <a:cxn ang="0">
                  <a:pos x="138" y="48"/>
                </a:cxn>
                <a:cxn ang="0">
                  <a:pos x="117" y="63"/>
                </a:cxn>
                <a:cxn ang="0">
                  <a:pos x="95" y="50"/>
                </a:cxn>
                <a:cxn ang="0">
                  <a:pos x="79" y="47"/>
                </a:cxn>
                <a:cxn ang="0">
                  <a:pos x="59" y="59"/>
                </a:cxn>
                <a:cxn ang="0">
                  <a:pos x="64" y="66"/>
                </a:cxn>
                <a:cxn ang="0">
                  <a:pos x="60" y="112"/>
                </a:cxn>
                <a:cxn ang="0">
                  <a:pos x="11" y="157"/>
                </a:cxn>
                <a:cxn ang="0">
                  <a:pos x="3" y="191"/>
                </a:cxn>
                <a:cxn ang="0">
                  <a:pos x="22" y="211"/>
                </a:cxn>
                <a:cxn ang="0">
                  <a:pos x="48" y="230"/>
                </a:cxn>
                <a:cxn ang="0">
                  <a:pos x="66" y="230"/>
                </a:cxn>
                <a:cxn ang="0">
                  <a:pos x="119" y="233"/>
                </a:cxn>
                <a:cxn ang="0">
                  <a:pos x="153" y="258"/>
                </a:cxn>
                <a:cxn ang="0">
                  <a:pos x="192" y="284"/>
                </a:cxn>
                <a:cxn ang="0">
                  <a:pos x="218" y="314"/>
                </a:cxn>
                <a:cxn ang="0">
                  <a:pos x="227" y="361"/>
                </a:cxn>
                <a:cxn ang="0">
                  <a:pos x="225" y="371"/>
                </a:cxn>
                <a:cxn ang="0">
                  <a:pos x="256" y="399"/>
                </a:cxn>
                <a:cxn ang="0">
                  <a:pos x="276" y="423"/>
                </a:cxn>
                <a:cxn ang="0">
                  <a:pos x="279" y="477"/>
                </a:cxn>
                <a:cxn ang="0">
                  <a:pos x="230" y="524"/>
                </a:cxn>
                <a:cxn ang="0">
                  <a:pos x="256" y="537"/>
                </a:cxn>
                <a:cxn ang="0">
                  <a:pos x="270" y="542"/>
                </a:cxn>
                <a:cxn ang="0">
                  <a:pos x="294" y="563"/>
                </a:cxn>
                <a:cxn ang="0">
                  <a:pos x="289" y="580"/>
                </a:cxn>
                <a:cxn ang="0">
                  <a:pos x="349" y="500"/>
                </a:cxn>
                <a:cxn ang="0">
                  <a:pos x="359" y="470"/>
                </a:cxn>
                <a:cxn ang="0">
                  <a:pos x="371" y="438"/>
                </a:cxn>
                <a:cxn ang="0">
                  <a:pos x="407" y="417"/>
                </a:cxn>
                <a:cxn ang="0">
                  <a:pos x="417" y="407"/>
                </a:cxn>
                <a:cxn ang="0">
                  <a:pos x="430" y="407"/>
                </a:cxn>
                <a:cxn ang="0">
                  <a:pos x="466" y="381"/>
                </a:cxn>
                <a:cxn ang="0">
                  <a:pos x="503" y="259"/>
                </a:cxn>
                <a:cxn ang="0">
                  <a:pos x="527" y="147"/>
                </a:cxn>
                <a:cxn ang="0">
                  <a:pos x="433" y="109"/>
                </a:cxn>
                <a:cxn ang="0">
                  <a:pos x="420" y="105"/>
                </a:cxn>
                <a:cxn ang="0">
                  <a:pos x="413" y="95"/>
                </a:cxn>
                <a:cxn ang="0">
                  <a:pos x="398" y="91"/>
                </a:cxn>
                <a:cxn ang="0">
                  <a:pos x="365" y="89"/>
                </a:cxn>
                <a:cxn ang="0">
                  <a:pos x="349" y="109"/>
                </a:cxn>
                <a:cxn ang="0">
                  <a:pos x="334" y="101"/>
                </a:cxn>
                <a:cxn ang="0">
                  <a:pos x="320" y="101"/>
                </a:cxn>
                <a:cxn ang="0">
                  <a:pos x="324" y="101"/>
                </a:cxn>
                <a:cxn ang="0">
                  <a:pos x="329" y="91"/>
                </a:cxn>
                <a:cxn ang="0">
                  <a:pos x="327" y="86"/>
                </a:cxn>
                <a:cxn ang="0">
                  <a:pos x="320" y="79"/>
                </a:cxn>
                <a:cxn ang="0">
                  <a:pos x="334" y="48"/>
                </a:cxn>
                <a:cxn ang="0">
                  <a:pos x="304" y="37"/>
                </a:cxn>
                <a:cxn ang="0">
                  <a:pos x="279" y="44"/>
                </a:cxn>
                <a:cxn ang="0">
                  <a:pos x="256" y="47"/>
                </a:cxn>
                <a:cxn ang="0">
                  <a:pos x="237" y="45"/>
                </a:cxn>
                <a:cxn ang="0">
                  <a:pos x="217" y="56"/>
                </a:cxn>
                <a:cxn ang="0">
                  <a:pos x="199" y="40"/>
                </a:cxn>
                <a:cxn ang="0">
                  <a:pos x="202" y="15"/>
                </a:cxn>
                <a:cxn ang="0">
                  <a:pos x="194" y="0"/>
                </a:cxn>
              </a:cxnLst>
              <a:rect l="0" t="0" r="r" b="b"/>
              <a:pathLst>
                <a:path w="554" h="582">
                  <a:moveTo>
                    <a:pt x="188" y="0"/>
                  </a:moveTo>
                  <a:lnTo>
                    <a:pt x="188" y="5"/>
                  </a:lnTo>
                  <a:lnTo>
                    <a:pt x="183" y="9"/>
                  </a:lnTo>
                  <a:lnTo>
                    <a:pt x="183" y="9"/>
                  </a:lnTo>
                  <a:lnTo>
                    <a:pt x="179" y="11"/>
                  </a:lnTo>
                  <a:lnTo>
                    <a:pt x="175" y="12"/>
                  </a:lnTo>
                  <a:lnTo>
                    <a:pt x="173" y="15"/>
                  </a:lnTo>
                  <a:lnTo>
                    <a:pt x="172" y="15"/>
                  </a:lnTo>
                  <a:lnTo>
                    <a:pt x="156" y="18"/>
                  </a:lnTo>
                  <a:lnTo>
                    <a:pt x="154" y="19"/>
                  </a:lnTo>
                  <a:lnTo>
                    <a:pt x="154" y="19"/>
                  </a:lnTo>
                  <a:lnTo>
                    <a:pt x="149" y="19"/>
                  </a:lnTo>
                  <a:lnTo>
                    <a:pt x="130" y="13"/>
                  </a:lnTo>
                  <a:lnTo>
                    <a:pt x="130" y="13"/>
                  </a:lnTo>
                  <a:lnTo>
                    <a:pt x="128" y="13"/>
                  </a:lnTo>
                  <a:lnTo>
                    <a:pt x="130" y="16"/>
                  </a:lnTo>
                  <a:lnTo>
                    <a:pt x="130" y="18"/>
                  </a:lnTo>
                  <a:lnTo>
                    <a:pt x="135" y="21"/>
                  </a:lnTo>
                  <a:lnTo>
                    <a:pt x="137" y="22"/>
                  </a:lnTo>
                  <a:lnTo>
                    <a:pt x="135" y="32"/>
                  </a:lnTo>
                  <a:lnTo>
                    <a:pt x="138" y="40"/>
                  </a:lnTo>
                  <a:lnTo>
                    <a:pt x="141" y="41"/>
                  </a:lnTo>
                  <a:lnTo>
                    <a:pt x="143" y="41"/>
                  </a:lnTo>
                  <a:lnTo>
                    <a:pt x="149" y="41"/>
                  </a:lnTo>
                  <a:lnTo>
                    <a:pt x="149" y="43"/>
                  </a:lnTo>
                  <a:lnTo>
                    <a:pt x="149" y="44"/>
                  </a:lnTo>
                  <a:lnTo>
                    <a:pt x="146" y="44"/>
                  </a:lnTo>
                  <a:lnTo>
                    <a:pt x="144" y="45"/>
                  </a:lnTo>
                  <a:lnTo>
                    <a:pt x="143" y="45"/>
                  </a:lnTo>
                  <a:lnTo>
                    <a:pt x="141" y="47"/>
                  </a:lnTo>
                  <a:lnTo>
                    <a:pt x="140" y="47"/>
                  </a:lnTo>
                  <a:lnTo>
                    <a:pt x="138" y="48"/>
                  </a:lnTo>
                  <a:lnTo>
                    <a:pt x="137" y="53"/>
                  </a:lnTo>
                  <a:lnTo>
                    <a:pt x="135" y="54"/>
                  </a:lnTo>
                  <a:lnTo>
                    <a:pt x="134" y="54"/>
                  </a:lnTo>
                  <a:lnTo>
                    <a:pt x="133" y="54"/>
                  </a:lnTo>
                  <a:lnTo>
                    <a:pt x="131" y="56"/>
                  </a:lnTo>
                  <a:lnTo>
                    <a:pt x="130" y="57"/>
                  </a:lnTo>
                  <a:lnTo>
                    <a:pt x="119" y="60"/>
                  </a:lnTo>
                  <a:lnTo>
                    <a:pt x="117" y="63"/>
                  </a:lnTo>
                  <a:lnTo>
                    <a:pt x="108" y="64"/>
                  </a:lnTo>
                  <a:lnTo>
                    <a:pt x="106" y="63"/>
                  </a:lnTo>
                  <a:lnTo>
                    <a:pt x="106" y="63"/>
                  </a:lnTo>
                  <a:lnTo>
                    <a:pt x="102" y="60"/>
                  </a:lnTo>
                  <a:lnTo>
                    <a:pt x="99" y="56"/>
                  </a:lnTo>
                  <a:lnTo>
                    <a:pt x="99" y="57"/>
                  </a:lnTo>
                  <a:lnTo>
                    <a:pt x="96" y="57"/>
                  </a:lnTo>
                  <a:lnTo>
                    <a:pt x="95" y="50"/>
                  </a:lnTo>
                  <a:lnTo>
                    <a:pt x="90" y="45"/>
                  </a:lnTo>
                  <a:lnTo>
                    <a:pt x="88" y="45"/>
                  </a:lnTo>
                  <a:lnTo>
                    <a:pt x="83" y="48"/>
                  </a:lnTo>
                  <a:lnTo>
                    <a:pt x="83" y="48"/>
                  </a:lnTo>
                  <a:lnTo>
                    <a:pt x="82" y="47"/>
                  </a:lnTo>
                  <a:lnTo>
                    <a:pt x="80" y="47"/>
                  </a:lnTo>
                  <a:lnTo>
                    <a:pt x="80" y="47"/>
                  </a:lnTo>
                  <a:lnTo>
                    <a:pt x="79" y="47"/>
                  </a:lnTo>
                  <a:lnTo>
                    <a:pt x="79" y="50"/>
                  </a:lnTo>
                  <a:lnTo>
                    <a:pt x="77" y="50"/>
                  </a:lnTo>
                  <a:lnTo>
                    <a:pt x="57" y="50"/>
                  </a:lnTo>
                  <a:lnTo>
                    <a:pt x="57" y="50"/>
                  </a:lnTo>
                  <a:lnTo>
                    <a:pt x="57" y="59"/>
                  </a:lnTo>
                  <a:lnTo>
                    <a:pt x="57" y="59"/>
                  </a:lnTo>
                  <a:lnTo>
                    <a:pt x="57" y="59"/>
                  </a:lnTo>
                  <a:lnTo>
                    <a:pt x="59" y="59"/>
                  </a:lnTo>
                  <a:lnTo>
                    <a:pt x="59" y="60"/>
                  </a:lnTo>
                  <a:lnTo>
                    <a:pt x="60" y="60"/>
                  </a:lnTo>
                  <a:lnTo>
                    <a:pt x="61" y="60"/>
                  </a:lnTo>
                  <a:lnTo>
                    <a:pt x="64" y="60"/>
                  </a:lnTo>
                  <a:lnTo>
                    <a:pt x="66" y="61"/>
                  </a:lnTo>
                  <a:lnTo>
                    <a:pt x="66" y="66"/>
                  </a:lnTo>
                  <a:lnTo>
                    <a:pt x="66" y="66"/>
                  </a:lnTo>
                  <a:lnTo>
                    <a:pt x="64" y="66"/>
                  </a:lnTo>
                  <a:lnTo>
                    <a:pt x="64" y="66"/>
                  </a:lnTo>
                  <a:lnTo>
                    <a:pt x="64" y="66"/>
                  </a:lnTo>
                  <a:lnTo>
                    <a:pt x="61" y="64"/>
                  </a:lnTo>
                  <a:lnTo>
                    <a:pt x="54" y="67"/>
                  </a:lnTo>
                  <a:lnTo>
                    <a:pt x="54" y="77"/>
                  </a:lnTo>
                  <a:lnTo>
                    <a:pt x="61" y="85"/>
                  </a:lnTo>
                  <a:lnTo>
                    <a:pt x="63" y="92"/>
                  </a:lnTo>
                  <a:lnTo>
                    <a:pt x="60" y="112"/>
                  </a:lnTo>
                  <a:lnTo>
                    <a:pt x="59" y="112"/>
                  </a:lnTo>
                  <a:lnTo>
                    <a:pt x="57" y="122"/>
                  </a:lnTo>
                  <a:lnTo>
                    <a:pt x="57" y="124"/>
                  </a:lnTo>
                  <a:lnTo>
                    <a:pt x="54" y="134"/>
                  </a:lnTo>
                  <a:lnTo>
                    <a:pt x="53" y="134"/>
                  </a:lnTo>
                  <a:lnTo>
                    <a:pt x="47" y="134"/>
                  </a:lnTo>
                  <a:lnTo>
                    <a:pt x="22" y="144"/>
                  </a:lnTo>
                  <a:lnTo>
                    <a:pt x="11" y="157"/>
                  </a:lnTo>
                  <a:lnTo>
                    <a:pt x="11" y="159"/>
                  </a:lnTo>
                  <a:lnTo>
                    <a:pt x="11" y="168"/>
                  </a:lnTo>
                  <a:lnTo>
                    <a:pt x="6" y="168"/>
                  </a:lnTo>
                  <a:lnTo>
                    <a:pt x="5" y="169"/>
                  </a:lnTo>
                  <a:lnTo>
                    <a:pt x="0" y="181"/>
                  </a:lnTo>
                  <a:lnTo>
                    <a:pt x="0" y="182"/>
                  </a:lnTo>
                  <a:lnTo>
                    <a:pt x="3" y="188"/>
                  </a:lnTo>
                  <a:lnTo>
                    <a:pt x="3" y="191"/>
                  </a:lnTo>
                  <a:lnTo>
                    <a:pt x="11" y="200"/>
                  </a:lnTo>
                  <a:lnTo>
                    <a:pt x="13" y="201"/>
                  </a:lnTo>
                  <a:lnTo>
                    <a:pt x="13" y="204"/>
                  </a:lnTo>
                  <a:lnTo>
                    <a:pt x="12" y="207"/>
                  </a:lnTo>
                  <a:lnTo>
                    <a:pt x="12" y="208"/>
                  </a:lnTo>
                  <a:lnTo>
                    <a:pt x="21" y="208"/>
                  </a:lnTo>
                  <a:lnTo>
                    <a:pt x="22" y="210"/>
                  </a:lnTo>
                  <a:lnTo>
                    <a:pt x="22" y="211"/>
                  </a:lnTo>
                  <a:lnTo>
                    <a:pt x="24" y="214"/>
                  </a:lnTo>
                  <a:lnTo>
                    <a:pt x="24" y="214"/>
                  </a:lnTo>
                  <a:lnTo>
                    <a:pt x="28" y="215"/>
                  </a:lnTo>
                  <a:lnTo>
                    <a:pt x="34" y="215"/>
                  </a:lnTo>
                  <a:lnTo>
                    <a:pt x="47" y="205"/>
                  </a:lnTo>
                  <a:lnTo>
                    <a:pt x="47" y="207"/>
                  </a:lnTo>
                  <a:lnTo>
                    <a:pt x="47" y="230"/>
                  </a:lnTo>
                  <a:lnTo>
                    <a:pt x="48" y="230"/>
                  </a:lnTo>
                  <a:lnTo>
                    <a:pt x="50" y="231"/>
                  </a:lnTo>
                  <a:lnTo>
                    <a:pt x="53" y="231"/>
                  </a:lnTo>
                  <a:lnTo>
                    <a:pt x="53" y="230"/>
                  </a:lnTo>
                  <a:lnTo>
                    <a:pt x="54" y="230"/>
                  </a:lnTo>
                  <a:lnTo>
                    <a:pt x="59" y="230"/>
                  </a:lnTo>
                  <a:lnTo>
                    <a:pt x="60" y="229"/>
                  </a:lnTo>
                  <a:lnTo>
                    <a:pt x="61" y="229"/>
                  </a:lnTo>
                  <a:lnTo>
                    <a:pt x="66" y="230"/>
                  </a:lnTo>
                  <a:lnTo>
                    <a:pt x="77" y="231"/>
                  </a:lnTo>
                  <a:lnTo>
                    <a:pt x="89" y="226"/>
                  </a:lnTo>
                  <a:lnTo>
                    <a:pt x="102" y="213"/>
                  </a:lnTo>
                  <a:lnTo>
                    <a:pt x="119" y="211"/>
                  </a:lnTo>
                  <a:lnTo>
                    <a:pt x="119" y="213"/>
                  </a:lnTo>
                  <a:lnTo>
                    <a:pt x="121" y="214"/>
                  </a:lnTo>
                  <a:lnTo>
                    <a:pt x="121" y="230"/>
                  </a:lnTo>
                  <a:lnTo>
                    <a:pt x="119" y="233"/>
                  </a:lnTo>
                  <a:lnTo>
                    <a:pt x="119" y="234"/>
                  </a:lnTo>
                  <a:lnTo>
                    <a:pt x="121" y="240"/>
                  </a:lnTo>
                  <a:lnTo>
                    <a:pt x="124" y="243"/>
                  </a:lnTo>
                  <a:lnTo>
                    <a:pt x="133" y="250"/>
                  </a:lnTo>
                  <a:lnTo>
                    <a:pt x="149" y="253"/>
                  </a:lnTo>
                  <a:lnTo>
                    <a:pt x="150" y="255"/>
                  </a:lnTo>
                  <a:lnTo>
                    <a:pt x="151" y="256"/>
                  </a:lnTo>
                  <a:lnTo>
                    <a:pt x="153" y="258"/>
                  </a:lnTo>
                  <a:lnTo>
                    <a:pt x="164" y="261"/>
                  </a:lnTo>
                  <a:lnTo>
                    <a:pt x="170" y="266"/>
                  </a:lnTo>
                  <a:lnTo>
                    <a:pt x="180" y="266"/>
                  </a:lnTo>
                  <a:lnTo>
                    <a:pt x="186" y="271"/>
                  </a:lnTo>
                  <a:lnTo>
                    <a:pt x="191" y="277"/>
                  </a:lnTo>
                  <a:lnTo>
                    <a:pt x="191" y="281"/>
                  </a:lnTo>
                  <a:lnTo>
                    <a:pt x="191" y="282"/>
                  </a:lnTo>
                  <a:lnTo>
                    <a:pt x="192" y="284"/>
                  </a:lnTo>
                  <a:lnTo>
                    <a:pt x="192" y="291"/>
                  </a:lnTo>
                  <a:lnTo>
                    <a:pt x="189" y="291"/>
                  </a:lnTo>
                  <a:lnTo>
                    <a:pt x="189" y="294"/>
                  </a:lnTo>
                  <a:lnTo>
                    <a:pt x="195" y="307"/>
                  </a:lnTo>
                  <a:lnTo>
                    <a:pt x="218" y="308"/>
                  </a:lnTo>
                  <a:lnTo>
                    <a:pt x="220" y="308"/>
                  </a:lnTo>
                  <a:lnTo>
                    <a:pt x="220" y="310"/>
                  </a:lnTo>
                  <a:lnTo>
                    <a:pt x="218" y="314"/>
                  </a:lnTo>
                  <a:lnTo>
                    <a:pt x="220" y="322"/>
                  </a:lnTo>
                  <a:lnTo>
                    <a:pt x="224" y="323"/>
                  </a:lnTo>
                  <a:lnTo>
                    <a:pt x="225" y="323"/>
                  </a:lnTo>
                  <a:lnTo>
                    <a:pt x="230" y="335"/>
                  </a:lnTo>
                  <a:lnTo>
                    <a:pt x="230" y="349"/>
                  </a:lnTo>
                  <a:lnTo>
                    <a:pt x="225" y="355"/>
                  </a:lnTo>
                  <a:lnTo>
                    <a:pt x="225" y="359"/>
                  </a:lnTo>
                  <a:lnTo>
                    <a:pt x="227" y="361"/>
                  </a:lnTo>
                  <a:lnTo>
                    <a:pt x="227" y="364"/>
                  </a:lnTo>
                  <a:lnTo>
                    <a:pt x="227" y="364"/>
                  </a:lnTo>
                  <a:lnTo>
                    <a:pt x="224" y="364"/>
                  </a:lnTo>
                  <a:lnTo>
                    <a:pt x="224" y="365"/>
                  </a:lnTo>
                  <a:lnTo>
                    <a:pt x="224" y="365"/>
                  </a:lnTo>
                  <a:lnTo>
                    <a:pt x="224" y="367"/>
                  </a:lnTo>
                  <a:lnTo>
                    <a:pt x="225" y="370"/>
                  </a:lnTo>
                  <a:lnTo>
                    <a:pt x="225" y="371"/>
                  </a:lnTo>
                  <a:lnTo>
                    <a:pt x="225" y="391"/>
                  </a:lnTo>
                  <a:lnTo>
                    <a:pt x="227" y="394"/>
                  </a:lnTo>
                  <a:lnTo>
                    <a:pt x="234" y="397"/>
                  </a:lnTo>
                  <a:lnTo>
                    <a:pt x="246" y="397"/>
                  </a:lnTo>
                  <a:lnTo>
                    <a:pt x="246" y="396"/>
                  </a:lnTo>
                  <a:lnTo>
                    <a:pt x="249" y="396"/>
                  </a:lnTo>
                  <a:lnTo>
                    <a:pt x="250" y="397"/>
                  </a:lnTo>
                  <a:lnTo>
                    <a:pt x="256" y="399"/>
                  </a:lnTo>
                  <a:lnTo>
                    <a:pt x="257" y="400"/>
                  </a:lnTo>
                  <a:lnTo>
                    <a:pt x="260" y="419"/>
                  </a:lnTo>
                  <a:lnTo>
                    <a:pt x="262" y="422"/>
                  </a:lnTo>
                  <a:lnTo>
                    <a:pt x="265" y="423"/>
                  </a:lnTo>
                  <a:lnTo>
                    <a:pt x="268" y="423"/>
                  </a:lnTo>
                  <a:lnTo>
                    <a:pt x="269" y="422"/>
                  </a:lnTo>
                  <a:lnTo>
                    <a:pt x="275" y="422"/>
                  </a:lnTo>
                  <a:lnTo>
                    <a:pt x="276" y="423"/>
                  </a:lnTo>
                  <a:lnTo>
                    <a:pt x="278" y="425"/>
                  </a:lnTo>
                  <a:lnTo>
                    <a:pt x="275" y="448"/>
                  </a:lnTo>
                  <a:lnTo>
                    <a:pt x="282" y="448"/>
                  </a:lnTo>
                  <a:lnTo>
                    <a:pt x="284" y="449"/>
                  </a:lnTo>
                  <a:lnTo>
                    <a:pt x="286" y="460"/>
                  </a:lnTo>
                  <a:lnTo>
                    <a:pt x="286" y="471"/>
                  </a:lnTo>
                  <a:lnTo>
                    <a:pt x="285" y="473"/>
                  </a:lnTo>
                  <a:lnTo>
                    <a:pt x="279" y="477"/>
                  </a:lnTo>
                  <a:lnTo>
                    <a:pt x="272" y="480"/>
                  </a:lnTo>
                  <a:lnTo>
                    <a:pt x="256" y="494"/>
                  </a:lnTo>
                  <a:lnTo>
                    <a:pt x="256" y="496"/>
                  </a:lnTo>
                  <a:lnTo>
                    <a:pt x="249" y="505"/>
                  </a:lnTo>
                  <a:lnTo>
                    <a:pt x="249" y="506"/>
                  </a:lnTo>
                  <a:lnTo>
                    <a:pt x="236" y="518"/>
                  </a:lnTo>
                  <a:lnTo>
                    <a:pt x="234" y="519"/>
                  </a:lnTo>
                  <a:lnTo>
                    <a:pt x="230" y="524"/>
                  </a:lnTo>
                  <a:lnTo>
                    <a:pt x="234" y="524"/>
                  </a:lnTo>
                  <a:lnTo>
                    <a:pt x="237" y="524"/>
                  </a:lnTo>
                  <a:lnTo>
                    <a:pt x="237" y="522"/>
                  </a:lnTo>
                  <a:lnTo>
                    <a:pt x="239" y="521"/>
                  </a:lnTo>
                  <a:lnTo>
                    <a:pt x="240" y="521"/>
                  </a:lnTo>
                  <a:lnTo>
                    <a:pt x="252" y="529"/>
                  </a:lnTo>
                  <a:lnTo>
                    <a:pt x="253" y="537"/>
                  </a:lnTo>
                  <a:lnTo>
                    <a:pt x="256" y="537"/>
                  </a:lnTo>
                  <a:lnTo>
                    <a:pt x="256" y="537"/>
                  </a:lnTo>
                  <a:lnTo>
                    <a:pt x="260" y="534"/>
                  </a:lnTo>
                  <a:lnTo>
                    <a:pt x="262" y="534"/>
                  </a:lnTo>
                  <a:lnTo>
                    <a:pt x="263" y="538"/>
                  </a:lnTo>
                  <a:lnTo>
                    <a:pt x="265" y="541"/>
                  </a:lnTo>
                  <a:lnTo>
                    <a:pt x="266" y="541"/>
                  </a:lnTo>
                  <a:lnTo>
                    <a:pt x="268" y="541"/>
                  </a:lnTo>
                  <a:lnTo>
                    <a:pt x="270" y="542"/>
                  </a:lnTo>
                  <a:lnTo>
                    <a:pt x="273" y="544"/>
                  </a:lnTo>
                  <a:lnTo>
                    <a:pt x="275" y="544"/>
                  </a:lnTo>
                  <a:lnTo>
                    <a:pt x="276" y="548"/>
                  </a:lnTo>
                  <a:lnTo>
                    <a:pt x="278" y="548"/>
                  </a:lnTo>
                  <a:lnTo>
                    <a:pt x="285" y="553"/>
                  </a:lnTo>
                  <a:lnTo>
                    <a:pt x="286" y="554"/>
                  </a:lnTo>
                  <a:lnTo>
                    <a:pt x="288" y="560"/>
                  </a:lnTo>
                  <a:lnTo>
                    <a:pt x="294" y="563"/>
                  </a:lnTo>
                  <a:lnTo>
                    <a:pt x="294" y="566"/>
                  </a:lnTo>
                  <a:lnTo>
                    <a:pt x="294" y="566"/>
                  </a:lnTo>
                  <a:lnTo>
                    <a:pt x="292" y="567"/>
                  </a:lnTo>
                  <a:lnTo>
                    <a:pt x="292" y="569"/>
                  </a:lnTo>
                  <a:lnTo>
                    <a:pt x="291" y="569"/>
                  </a:lnTo>
                  <a:lnTo>
                    <a:pt x="289" y="573"/>
                  </a:lnTo>
                  <a:lnTo>
                    <a:pt x="289" y="580"/>
                  </a:lnTo>
                  <a:lnTo>
                    <a:pt x="289" y="580"/>
                  </a:lnTo>
                  <a:lnTo>
                    <a:pt x="291" y="582"/>
                  </a:lnTo>
                  <a:lnTo>
                    <a:pt x="291" y="582"/>
                  </a:lnTo>
                  <a:lnTo>
                    <a:pt x="291" y="580"/>
                  </a:lnTo>
                  <a:lnTo>
                    <a:pt x="297" y="576"/>
                  </a:lnTo>
                  <a:lnTo>
                    <a:pt x="302" y="567"/>
                  </a:lnTo>
                  <a:lnTo>
                    <a:pt x="305" y="558"/>
                  </a:lnTo>
                  <a:lnTo>
                    <a:pt x="321" y="547"/>
                  </a:lnTo>
                  <a:lnTo>
                    <a:pt x="349" y="500"/>
                  </a:lnTo>
                  <a:lnTo>
                    <a:pt x="355" y="497"/>
                  </a:lnTo>
                  <a:lnTo>
                    <a:pt x="356" y="494"/>
                  </a:lnTo>
                  <a:lnTo>
                    <a:pt x="358" y="493"/>
                  </a:lnTo>
                  <a:lnTo>
                    <a:pt x="359" y="477"/>
                  </a:lnTo>
                  <a:lnTo>
                    <a:pt x="359" y="476"/>
                  </a:lnTo>
                  <a:lnTo>
                    <a:pt x="360" y="476"/>
                  </a:lnTo>
                  <a:lnTo>
                    <a:pt x="362" y="474"/>
                  </a:lnTo>
                  <a:lnTo>
                    <a:pt x="359" y="470"/>
                  </a:lnTo>
                  <a:lnTo>
                    <a:pt x="359" y="467"/>
                  </a:lnTo>
                  <a:lnTo>
                    <a:pt x="358" y="465"/>
                  </a:lnTo>
                  <a:lnTo>
                    <a:pt x="358" y="463"/>
                  </a:lnTo>
                  <a:lnTo>
                    <a:pt x="358" y="460"/>
                  </a:lnTo>
                  <a:lnTo>
                    <a:pt x="358" y="458"/>
                  </a:lnTo>
                  <a:lnTo>
                    <a:pt x="358" y="457"/>
                  </a:lnTo>
                  <a:lnTo>
                    <a:pt x="359" y="452"/>
                  </a:lnTo>
                  <a:lnTo>
                    <a:pt x="371" y="438"/>
                  </a:lnTo>
                  <a:lnTo>
                    <a:pt x="372" y="438"/>
                  </a:lnTo>
                  <a:lnTo>
                    <a:pt x="390" y="423"/>
                  </a:lnTo>
                  <a:lnTo>
                    <a:pt x="392" y="423"/>
                  </a:lnTo>
                  <a:lnTo>
                    <a:pt x="394" y="422"/>
                  </a:lnTo>
                  <a:lnTo>
                    <a:pt x="395" y="420"/>
                  </a:lnTo>
                  <a:lnTo>
                    <a:pt x="403" y="419"/>
                  </a:lnTo>
                  <a:lnTo>
                    <a:pt x="406" y="417"/>
                  </a:lnTo>
                  <a:lnTo>
                    <a:pt x="407" y="417"/>
                  </a:lnTo>
                  <a:lnTo>
                    <a:pt x="408" y="415"/>
                  </a:lnTo>
                  <a:lnTo>
                    <a:pt x="413" y="413"/>
                  </a:lnTo>
                  <a:lnTo>
                    <a:pt x="416" y="413"/>
                  </a:lnTo>
                  <a:lnTo>
                    <a:pt x="416" y="412"/>
                  </a:lnTo>
                  <a:lnTo>
                    <a:pt x="416" y="412"/>
                  </a:lnTo>
                  <a:lnTo>
                    <a:pt x="414" y="410"/>
                  </a:lnTo>
                  <a:lnTo>
                    <a:pt x="414" y="410"/>
                  </a:lnTo>
                  <a:lnTo>
                    <a:pt x="417" y="407"/>
                  </a:lnTo>
                  <a:lnTo>
                    <a:pt x="417" y="407"/>
                  </a:lnTo>
                  <a:lnTo>
                    <a:pt x="417" y="407"/>
                  </a:lnTo>
                  <a:lnTo>
                    <a:pt x="417" y="409"/>
                  </a:lnTo>
                  <a:lnTo>
                    <a:pt x="420" y="409"/>
                  </a:lnTo>
                  <a:lnTo>
                    <a:pt x="426" y="407"/>
                  </a:lnTo>
                  <a:lnTo>
                    <a:pt x="427" y="407"/>
                  </a:lnTo>
                  <a:lnTo>
                    <a:pt x="427" y="407"/>
                  </a:lnTo>
                  <a:lnTo>
                    <a:pt x="430" y="407"/>
                  </a:lnTo>
                  <a:lnTo>
                    <a:pt x="435" y="406"/>
                  </a:lnTo>
                  <a:lnTo>
                    <a:pt x="436" y="406"/>
                  </a:lnTo>
                  <a:lnTo>
                    <a:pt x="437" y="407"/>
                  </a:lnTo>
                  <a:lnTo>
                    <a:pt x="451" y="406"/>
                  </a:lnTo>
                  <a:lnTo>
                    <a:pt x="452" y="400"/>
                  </a:lnTo>
                  <a:lnTo>
                    <a:pt x="462" y="396"/>
                  </a:lnTo>
                  <a:lnTo>
                    <a:pt x="464" y="393"/>
                  </a:lnTo>
                  <a:lnTo>
                    <a:pt x="466" y="381"/>
                  </a:lnTo>
                  <a:lnTo>
                    <a:pt x="484" y="355"/>
                  </a:lnTo>
                  <a:lnTo>
                    <a:pt x="487" y="336"/>
                  </a:lnTo>
                  <a:lnTo>
                    <a:pt x="491" y="329"/>
                  </a:lnTo>
                  <a:lnTo>
                    <a:pt x="496" y="262"/>
                  </a:lnTo>
                  <a:lnTo>
                    <a:pt x="497" y="262"/>
                  </a:lnTo>
                  <a:lnTo>
                    <a:pt x="498" y="259"/>
                  </a:lnTo>
                  <a:lnTo>
                    <a:pt x="500" y="259"/>
                  </a:lnTo>
                  <a:lnTo>
                    <a:pt x="503" y="259"/>
                  </a:lnTo>
                  <a:lnTo>
                    <a:pt x="503" y="259"/>
                  </a:lnTo>
                  <a:lnTo>
                    <a:pt x="551" y="200"/>
                  </a:lnTo>
                  <a:lnTo>
                    <a:pt x="551" y="200"/>
                  </a:lnTo>
                  <a:lnTo>
                    <a:pt x="554" y="169"/>
                  </a:lnTo>
                  <a:lnTo>
                    <a:pt x="551" y="156"/>
                  </a:lnTo>
                  <a:lnTo>
                    <a:pt x="545" y="149"/>
                  </a:lnTo>
                  <a:lnTo>
                    <a:pt x="543" y="147"/>
                  </a:lnTo>
                  <a:lnTo>
                    <a:pt x="527" y="147"/>
                  </a:lnTo>
                  <a:lnTo>
                    <a:pt x="527" y="146"/>
                  </a:lnTo>
                  <a:lnTo>
                    <a:pt x="525" y="146"/>
                  </a:lnTo>
                  <a:lnTo>
                    <a:pt x="523" y="146"/>
                  </a:lnTo>
                  <a:lnTo>
                    <a:pt x="482" y="115"/>
                  </a:lnTo>
                  <a:lnTo>
                    <a:pt x="458" y="115"/>
                  </a:lnTo>
                  <a:lnTo>
                    <a:pt x="436" y="109"/>
                  </a:lnTo>
                  <a:lnTo>
                    <a:pt x="433" y="109"/>
                  </a:lnTo>
                  <a:lnTo>
                    <a:pt x="433" y="109"/>
                  </a:lnTo>
                  <a:lnTo>
                    <a:pt x="432" y="108"/>
                  </a:lnTo>
                  <a:lnTo>
                    <a:pt x="421" y="112"/>
                  </a:lnTo>
                  <a:lnTo>
                    <a:pt x="419" y="112"/>
                  </a:lnTo>
                  <a:lnTo>
                    <a:pt x="419" y="111"/>
                  </a:lnTo>
                  <a:lnTo>
                    <a:pt x="419" y="109"/>
                  </a:lnTo>
                  <a:lnTo>
                    <a:pt x="420" y="108"/>
                  </a:lnTo>
                  <a:lnTo>
                    <a:pt x="420" y="106"/>
                  </a:lnTo>
                  <a:lnTo>
                    <a:pt x="420" y="105"/>
                  </a:lnTo>
                  <a:lnTo>
                    <a:pt x="417" y="105"/>
                  </a:lnTo>
                  <a:lnTo>
                    <a:pt x="417" y="105"/>
                  </a:lnTo>
                  <a:lnTo>
                    <a:pt x="416" y="105"/>
                  </a:lnTo>
                  <a:lnTo>
                    <a:pt x="416" y="105"/>
                  </a:lnTo>
                  <a:lnTo>
                    <a:pt x="416" y="104"/>
                  </a:lnTo>
                  <a:lnTo>
                    <a:pt x="417" y="104"/>
                  </a:lnTo>
                  <a:lnTo>
                    <a:pt x="417" y="101"/>
                  </a:lnTo>
                  <a:lnTo>
                    <a:pt x="413" y="95"/>
                  </a:lnTo>
                  <a:lnTo>
                    <a:pt x="411" y="96"/>
                  </a:lnTo>
                  <a:lnTo>
                    <a:pt x="410" y="96"/>
                  </a:lnTo>
                  <a:lnTo>
                    <a:pt x="408" y="98"/>
                  </a:lnTo>
                  <a:lnTo>
                    <a:pt x="406" y="99"/>
                  </a:lnTo>
                  <a:lnTo>
                    <a:pt x="406" y="95"/>
                  </a:lnTo>
                  <a:lnTo>
                    <a:pt x="404" y="92"/>
                  </a:lnTo>
                  <a:lnTo>
                    <a:pt x="401" y="92"/>
                  </a:lnTo>
                  <a:lnTo>
                    <a:pt x="398" y="91"/>
                  </a:lnTo>
                  <a:lnTo>
                    <a:pt x="395" y="91"/>
                  </a:lnTo>
                  <a:lnTo>
                    <a:pt x="394" y="89"/>
                  </a:lnTo>
                  <a:lnTo>
                    <a:pt x="388" y="88"/>
                  </a:lnTo>
                  <a:lnTo>
                    <a:pt x="378" y="83"/>
                  </a:lnTo>
                  <a:lnTo>
                    <a:pt x="371" y="83"/>
                  </a:lnTo>
                  <a:lnTo>
                    <a:pt x="368" y="85"/>
                  </a:lnTo>
                  <a:lnTo>
                    <a:pt x="366" y="88"/>
                  </a:lnTo>
                  <a:lnTo>
                    <a:pt x="365" y="89"/>
                  </a:lnTo>
                  <a:lnTo>
                    <a:pt x="362" y="95"/>
                  </a:lnTo>
                  <a:lnTo>
                    <a:pt x="356" y="96"/>
                  </a:lnTo>
                  <a:lnTo>
                    <a:pt x="355" y="98"/>
                  </a:lnTo>
                  <a:lnTo>
                    <a:pt x="352" y="105"/>
                  </a:lnTo>
                  <a:lnTo>
                    <a:pt x="352" y="105"/>
                  </a:lnTo>
                  <a:lnTo>
                    <a:pt x="350" y="106"/>
                  </a:lnTo>
                  <a:lnTo>
                    <a:pt x="350" y="109"/>
                  </a:lnTo>
                  <a:lnTo>
                    <a:pt x="349" y="109"/>
                  </a:lnTo>
                  <a:lnTo>
                    <a:pt x="349" y="109"/>
                  </a:lnTo>
                  <a:lnTo>
                    <a:pt x="349" y="105"/>
                  </a:lnTo>
                  <a:lnTo>
                    <a:pt x="349" y="101"/>
                  </a:lnTo>
                  <a:lnTo>
                    <a:pt x="349" y="101"/>
                  </a:lnTo>
                  <a:lnTo>
                    <a:pt x="346" y="101"/>
                  </a:lnTo>
                  <a:lnTo>
                    <a:pt x="345" y="101"/>
                  </a:lnTo>
                  <a:lnTo>
                    <a:pt x="334" y="101"/>
                  </a:lnTo>
                  <a:lnTo>
                    <a:pt x="334" y="101"/>
                  </a:lnTo>
                  <a:lnTo>
                    <a:pt x="333" y="101"/>
                  </a:lnTo>
                  <a:lnTo>
                    <a:pt x="331" y="101"/>
                  </a:lnTo>
                  <a:lnTo>
                    <a:pt x="330" y="101"/>
                  </a:lnTo>
                  <a:lnTo>
                    <a:pt x="327" y="102"/>
                  </a:lnTo>
                  <a:lnTo>
                    <a:pt x="324" y="102"/>
                  </a:lnTo>
                  <a:lnTo>
                    <a:pt x="321" y="101"/>
                  </a:lnTo>
                  <a:lnTo>
                    <a:pt x="320" y="101"/>
                  </a:lnTo>
                  <a:lnTo>
                    <a:pt x="320" y="101"/>
                  </a:lnTo>
                  <a:lnTo>
                    <a:pt x="320" y="104"/>
                  </a:lnTo>
                  <a:lnTo>
                    <a:pt x="318" y="104"/>
                  </a:lnTo>
                  <a:lnTo>
                    <a:pt x="318" y="104"/>
                  </a:lnTo>
                  <a:lnTo>
                    <a:pt x="318" y="102"/>
                  </a:lnTo>
                  <a:lnTo>
                    <a:pt x="318" y="101"/>
                  </a:lnTo>
                  <a:lnTo>
                    <a:pt x="320" y="99"/>
                  </a:lnTo>
                  <a:lnTo>
                    <a:pt x="321" y="99"/>
                  </a:lnTo>
                  <a:lnTo>
                    <a:pt x="324" y="101"/>
                  </a:lnTo>
                  <a:lnTo>
                    <a:pt x="327" y="101"/>
                  </a:lnTo>
                  <a:lnTo>
                    <a:pt x="330" y="99"/>
                  </a:lnTo>
                  <a:lnTo>
                    <a:pt x="330" y="99"/>
                  </a:lnTo>
                  <a:lnTo>
                    <a:pt x="330" y="98"/>
                  </a:lnTo>
                  <a:lnTo>
                    <a:pt x="330" y="92"/>
                  </a:lnTo>
                  <a:lnTo>
                    <a:pt x="330" y="92"/>
                  </a:lnTo>
                  <a:lnTo>
                    <a:pt x="329" y="92"/>
                  </a:lnTo>
                  <a:lnTo>
                    <a:pt x="329" y="91"/>
                  </a:lnTo>
                  <a:lnTo>
                    <a:pt x="327" y="91"/>
                  </a:lnTo>
                  <a:lnTo>
                    <a:pt x="327" y="89"/>
                  </a:lnTo>
                  <a:lnTo>
                    <a:pt x="327" y="89"/>
                  </a:lnTo>
                  <a:lnTo>
                    <a:pt x="327" y="88"/>
                  </a:lnTo>
                  <a:lnTo>
                    <a:pt x="329" y="88"/>
                  </a:lnTo>
                  <a:lnTo>
                    <a:pt x="329" y="86"/>
                  </a:lnTo>
                  <a:lnTo>
                    <a:pt x="327" y="86"/>
                  </a:lnTo>
                  <a:lnTo>
                    <a:pt x="327" y="86"/>
                  </a:lnTo>
                  <a:lnTo>
                    <a:pt x="326" y="86"/>
                  </a:lnTo>
                  <a:lnTo>
                    <a:pt x="324" y="89"/>
                  </a:lnTo>
                  <a:lnTo>
                    <a:pt x="324" y="91"/>
                  </a:lnTo>
                  <a:lnTo>
                    <a:pt x="321" y="91"/>
                  </a:lnTo>
                  <a:lnTo>
                    <a:pt x="320" y="89"/>
                  </a:lnTo>
                  <a:lnTo>
                    <a:pt x="321" y="85"/>
                  </a:lnTo>
                  <a:lnTo>
                    <a:pt x="320" y="83"/>
                  </a:lnTo>
                  <a:lnTo>
                    <a:pt x="320" y="79"/>
                  </a:lnTo>
                  <a:lnTo>
                    <a:pt x="336" y="63"/>
                  </a:lnTo>
                  <a:lnTo>
                    <a:pt x="337" y="63"/>
                  </a:lnTo>
                  <a:lnTo>
                    <a:pt x="339" y="60"/>
                  </a:lnTo>
                  <a:lnTo>
                    <a:pt x="340" y="51"/>
                  </a:lnTo>
                  <a:lnTo>
                    <a:pt x="340" y="51"/>
                  </a:lnTo>
                  <a:lnTo>
                    <a:pt x="340" y="50"/>
                  </a:lnTo>
                  <a:lnTo>
                    <a:pt x="337" y="50"/>
                  </a:lnTo>
                  <a:lnTo>
                    <a:pt x="334" y="48"/>
                  </a:lnTo>
                  <a:lnTo>
                    <a:pt x="326" y="21"/>
                  </a:lnTo>
                  <a:lnTo>
                    <a:pt x="321" y="15"/>
                  </a:lnTo>
                  <a:lnTo>
                    <a:pt x="320" y="13"/>
                  </a:lnTo>
                  <a:lnTo>
                    <a:pt x="320" y="15"/>
                  </a:lnTo>
                  <a:lnTo>
                    <a:pt x="318" y="16"/>
                  </a:lnTo>
                  <a:lnTo>
                    <a:pt x="317" y="16"/>
                  </a:lnTo>
                  <a:lnTo>
                    <a:pt x="307" y="31"/>
                  </a:lnTo>
                  <a:lnTo>
                    <a:pt x="304" y="37"/>
                  </a:lnTo>
                  <a:lnTo>
                    <a:pt x="297" y="44"/>
                  </a:lnTo>
                  <a:lnTo>
                    <a:pt x="295" y="45"/>
                  </a:lnTo>
                  <a:lnTo>
                    <a:pt x="292" y="45"/>
                  </a:lnTo>
                  <a:lnTo>
                    <a:pt x="291" y="44"/>
                  </a:lnTo>
                  <a:lnTo>
                    <a:pt x="288" y="44"/>
                  </a:lnTo>
                  <a:lnTo>
                    <a:pt x="284" y="47"/>
                  </a:lnTo>
                  <a:lnTo>
                    <a:pt x="282" y="45"/>
                  </a:lnTo>
                  <a:lnTo>
                    <a:pt x="279" y="44"/>
                  </a:lnTo>
                  <a:lnTo>
                    <a:pt x="276" y="41"/>
                  </a:lnTo>
                  <a:lnTo>
                    <a:pt x="269" y="38"/>
                  </a:lnTo>
                  <a:lnTo>
                    <a:pt x="263" y="41"/>
                  </a:lnTo>
                  <a:lnTo>
                    <a:pt x="262" y="41"/>
                  </a:lnTo>
                  <a:lnTo>
                    <a:pt x="259" y="40"/>
                  </a:lnTo>
                  <a:lnTo>
                    <a:pt x="257" y="40"/>
                  </a:lnTo>
                  <a:lnTo>
                    <a:pt x="256" y="41"/>
                  </a:lnTo>
                  <a:lnTo>
                    <a:pt x="256" y="47"/>
                  </a:lnTo>
                  <a:lnTo>
                    <a:pt x="256" y="48"/>
                  </a:lnTo>
                  <a:lnTo>
                    <a:pt x="252" y="48"/>
                  </a:lnTo>
                  <a:lnTo>
                    <a:pt x="247" y="47"/>
                  </a:lnTo>
                  <a:lnTo>
                    <a:pt x="241" y="47"/>
                  </a:lnTo>
                  <a:lnTo>
                    <a:pt x="240" y="47"/>
                  </a:lnTo>
                  <a:lnTo>
                    <a:pt x="240" y="47"/>
                  </a:lnTo>
                  <a:lnTo>
                    <a:pt x="239" y="45"/>
                  </a:lnTo>
                  <a:lnTo>
                    <a:pt x="237" y="45"/>
                  </a:lnTo>
                  <a:lnTo>
                    <a:pt x="234" y="47"/>
                  </a:lnTo>
                  <a:lnTo>
                    <a:pt x="233" y="50"/>
                  </a:lnTo>
                  <a:lnTo>
                    <a:pt x="228" y="50"/>
                  </a:lnTo>
                  <a:lnTo>
                    <a:pt x="225" y="53"/>
                  </a:lnTo>
                  <a:lnTo>
                    <a:pt x="223" y="53"/>
                  </a:lnTo>
                  <a:lnTo>
                    <a:pt x="220" y="53"/>
                  </a:lnTo>
                  <a:lnTo>
                    <a:pt x="218" y="56"/>
                  </a:lnTo>
                  <a:lnTo>
                    <a:pt x="217" y="56"/>
                  </a:lnTo>
                  <a:lnTo>
                    <a:pt x="214" y="56"/>
                  </a:lnTo>
                  <a:lnTo>
                    <a:pt x="207" y="53"/>
                  </a:lnTo>
                  <a:lnTo>
                    <a:pt x="204" y="50"/>
                  </a:lnTo>
                  <a:lnTo>
                    <a:pt x="204" y="50"/>
                  </a:lnTo>
                  <a:lnTo>
                    <a:pt x="202" y="48"/>
                  </a:lnTo>
                  <a:lnTo>
                    <a:pt x="202" y="48"/>
                  </a:lnTo>
                  <a:lnTo>
                    <a:pt x="202" y="43"/>
                  </a:lnTo>
                  <a:lnTo>
                    <a:pt x="199" y="40"/>
                  </a:lnTo>
                  <a:lnTo>
                    <a:pt x="199" y="38"/>
                  </a:lnTo>
                  <a:lnTo>
                    <a:pt x="199" y="31"/>
                  </a:lnTo>
                  <a:lnTo>
                    <a:pt x="201" y="25"/>
                  </a:lnTo>
                  <a:lnTo>
                    <a:pt x="201" y="22"/>
                  </a:lnTo>
                  <a:lnTo>
                    <a:pt x="204" y="19"/>
                  </a:lnTo>
                  <a:lnTo>
                    <a:pt x="204" y="18"/>
                  </a:lnTo>
                  <a:lnTo>
                    <a:pt x="204" y="16"/>
                  </a:lnTo>
                  <a:lnTo>
                    <a:pt x="202" y="15"/>
                  </a:lnTo>
                  <a:lnTo>
                    <a:pt x="202" y="11"/>
                  </a:lnTo>
                  <a:lnTo>
                    <a:pt x="199" y="11"/>
                  </a:lnTo>
                  <a:lnTo>
                    <a:pt x="199" y="11"/>
                  </a:lnTo>
                  <a:lnTo>
                    <a:pt x="196" y="9"/>
                  </a:lnTo>
                  <a:lnTo>
                    <a:pt x="198" y="5"/>
                  </a:lnTo>
                  <a:lnTo>
                    <a:pt x="198" y="2"/>
                  </a:lnTo>
                  <a:lnTo>
                    <a:pt x="196" y="0"/>
                  </a:lnTo>
                  <a:lnTo>
                    <a:pt x="194" y="0"/>
                  </a:lnTo>
                  <a:lnTo>
                    <a:pt x="191" y="2"/>
                  </a:lnTo>
                  <a:lnTo>
                    <a:pt x="188"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13" name="Freeform 941"/>
            <p:cNvSpPr>
              <a:spLocks/>
            </p:cNvSpPr>
            <p:nvPr/>
          </p:nvSpPr>
          <p:spPr bwMode="auto">
            <a:xfrm>
              <a:off x="6014512" y="2290917"/>
              <a:ext cx="33356" cy="34481"/>
            </a:xfrm>
            <a:custGeom>
              <a:avLst/>
              <a:gdLst/>
              <a:ahLst/>
              <a:cxnLst>
                <a:cxn ang="0">
                  <a:pos x="7" y="10"/>
                </a:cxn>
                <a:cxn ang="0">
                  <a:pos x="7" y="13"/>
                </a:cxn>
                <a:cxn ang="0">
                  <a:pos x="6" y="16"/>
                </a:cxn>
                <a:cxn ang="0">
                  <a:pos x="3" y="16"/>
                </a:cxn>
                <a:cxn ang="0">
                  <a:pos x="3" y="18"/>
                </a:cxn>
                <a:cxn ang="0">
                  <a:pos x="0" y="21"/>
                </a:cxn>
                <a:cxn ang="0">
                  <a:pos x="4" y="24"/>
                </a:cxn>
                <a:cxn ang="0">
                  <a:pos x="6" y="29"/>
                </a:cxn>
                <a:cxn ang="0">
                  <a:pos x="9" y="30"/>
                </a:cxn>
                <a:cxn ang="0">
                  <a:pos x="12" y="27"/>
                </a:cxn>
                <a:cxn ang="0">
                  <a:pos x="14" y="24"/>
                </a:cxn>
                <a:cxn ang="0">
                  <a:pos x="22" y="21"/>
                </a:cxn>
                <a:cxn ang="0">
                  <a:pos x="25" y="26"/>
                </a:cxn>
                <a:cxn ang="0">
                  <a:pos x="26" y="32"/>
                </a:cxn>
                <a:cxn ang="0">
                  <a:pos x="26" y="33"/>
                </a:cxn>
                <a:cxn ang="0">
                  <a:pos x="27" y="33"/>
                </a:cxn>
                <a:cxn ang="0">
                  <a:pos x="30" y="30"/>
                </a:cxn>
                <a:cxn ang="0">
                  <a:pos x="30" y="27"/>
                </a:cxn>
                <a:cxn ang="0">
                  <a:pos x="35" y="27"/>
                </a:cxn>
                <a:cxn ang="0">
                  <a:pos x="36" y="26"/>
                </a:cxn>
                <a:cxn ang="0">
                  <a:pos x="33" y="20"/>
                </a:cxn>
                <a:cxn ang="0">
                  <a:pos x="36" y="23"/>
                </a:cxn>
                <a:cxn ang="0">
                  <a:pos x="36" y="20"/>
                </a:cxn>
                <a:cxn ang="0">
                  <a:pos x="35" y="17"/>
                </a:cxn>
                <a:cxn ang="0">
                  <a:pos x="33" y="17"/>
                </a:cxn>
                <a:cxn ang="0">
                  <a:pos x="30" y="17"/>
                </a:cxn>
                <a:cxn ang="0">
                  <a:pos x="32" y="14"/>
                </a:cxn>
                <a:cxn ang="0">
                  <a:pos x="32" y="10"/>
                </a:cxn>
                <a:cxn ang="0">
                  <a:pos x="27" y="4"/>
                </a:cxn>
                <a:cxn ang="0">
                  <a:pos x="23" y="2"/>
                </a:cxn>
                <a:cxn ang="0">
                  <a:pos x="17" y="4"/>
                </a:cxn>
                <a:cxn ang="0">
                  <a:pos x="14" y="5"/>
                </a:cxn>
                <a:cxn ang="0">
                  <a:pos x="13" y="7"/>
                </a:cxn>
                <a:cxn ang="0">
                  <a:pos x="13" y="5"/>
                </a:cxn>
                <a:cxn ang="0">
                  <a:pos x="16" y="2"/>
                </a:cxn>
                <a:cxn ang="0">
                  <a:pos x="14" y="1"/>
                </a:cxn>
                <a:cxn ang="0">
                  <a:pos x="13" y="0"/>
                </a:cxn>
                <a:cxn ang="0">
                  <a:pos x="10" y="0"/>
                </a:cxn>
                <a:cxn ang="0">
                  <a:pos x="10" y="1"/>
                </a:cxn>
                <a:cxn ang="0">
                  <a:pos x="9" y="1"/>
                </a:cxn>
                <a:cxn ang="0">
                  <a:pos x="9" y="4"/>
                </a:cxn>
                <a:cxn ang="0">
                  <a:pos x="9" y="7"/>
                </a:cxn>
                <a:cxn ang="0">
                  <a:pos x="9" y="8"/>
                </a:cxn>
                <a:cxn ang="0">
                  <a:pos x="7" y="10"/>
                </a:cxn>
              </a:cxnLst>
              <a:rect l="0" t="0" r="r" b="b"/>
              <a:pathLst>
                <a:path w="36" h="33">
                  <a:moveTo>
                    <a:pt x="7" y="10"/>
                  </a:moveTo>
                  <a:lnTo>
                    <a:pt x="7" y="13"/>
                  </a:lnTo>
                  <a:lnTo>
                    <a:pt x="6" y="16"/>
                  </a:lnTo>
                  <a:lnTo>
                    <a:pt x="3" y="16"/>
                  </a:lnTo>
                  <a:lnTo>
                    <a:pt x="3" y="18"/>
                  </a:lnTo>
                  <a:lnTo>
                    <a:pt x="0" y="21"/>
                  </a:lnTo>
                  <a:lnTo>
                    <a:pt x="4" y="24"/>
                  </a:lnTo>
                  <a:lnTo>
                    <a:pt x="6" y="29"/>
                  </a:lnTo>
                  <a:lnTo>
                    <a:pt x="9" y="30"/>
                  </a:lnTo>
                  <a:lnTo>
                    <a:pt x="12" y="27"/>
                  </a:lnTo>
                  <a:lnTo>
                    <a:pt x="14" y="24"/>
                  </a:lnTo>
                  <a:lnTo>
                    <a:pt x="22" y="21"/>
                  </a:lnTo>
                  <a:lnTo>
                    <a:pt x="25" y="26"/>
                  </a:lnTo>
                  <a:lnTo>
                    <a:pt x="26" y="32"/>
                  </a:lnTo>
                  <a:lnTo>
                    <a:pt x="26" y="33"/>
                  </a:lnTo>
                  <a:lnTo>
                    <a:pt x="27" y="33"/>
                  </a:lnTo>
                  <a:lnTo>
                    <a:pt x="30" y="30"/>
                  </a:lnTo>
                  <a:lnTo>
                    <a:pt x="30" y="27"/>
                  </a:lnTo>
                  <a:lnTo>
                    <a:pt x="35" y="27"/>
                  </a:lnTo>
                  <a:lnTo>
                    <a:pt x="36" y="26"/>
                  </a:lnTo>
                  <a:lnTo>
                    <a:pt x="33" y="20"/>
                  </a:lnTo>
                  <a:lnTo>
                    <a:pt x="36" y="23"/>
                  </a:lnTo>
                  <a:lnTo>
                    <a:pt x="36" y="20"/>
                  </a:lnTo>
                  <a:lnTo>
                    <a:pt x="35" y="17"/>
                  </a:lnTo>
                  <a:lnTo>
                    <a:pt x="33" y="17"/>
                  </a:lnTo>
                  <a:lnTo>
                    <a:pt x="30" y="17"/>
                  </a:lnTo>
                  <a:lnTo>
                    <a:pt x="32" y="14"/>
                  </a:lnTo>
                  <a:lnTo>
                    <a:pt x="32" y="10"/>
                  </a:lnTo>
                  <a:lnTo>
                    <a:pt x="27" y="4"/>
                  </a:lnTo>
                  <a:lnTo>
                    <a:pt x="23" y="2"/>
                  </a:lnTo>
                  <a:lnTo>
                    <a:pt x="17" y="4"/>
                  </a:lnTo>
                  <a:lnTo>
                    <a:pt x="14" y="5"/>
                  </a:lnTo>
                  <a:lnTo>
                    <a:pt x="13" y="7"/>
                  </a:lnTo>
                  <a:lnTo>
                    <a:pt x="13" y="5"/>
                  </a:lnTo>
                  <a:lnTo>
                    <a:pt x="16" y="2"/>
                  </a:lnTo>
                  <a:lnTo>
                    <a:pt x="14" y="1"/>
                  </a:lnTo>
                  <a:lnTo>
                    <a:pt x="13" y="0"/>
                  </a:lnTo>
                  <a:lnTo>
                    <a:pt x="10" y="0"/>
                  </a:lnTo>
                  <a:lnTo>
                    <a:pt x="10" y="1"/>
                  </a:lnTo>
                  <a:lnTo>
                    <a:pt x="9" y="1"/>
                  </a:lnTo>
                  <a:lnTo>
                    <a:pt x="9" y="4"/>
                  </a:lnTo>
                  <a:lnTo>
                    <a:pt x="9" y="7"/>
                  </a:lnTo>
                  <a:lnTo>
                    <a:pt x="9" y="8"/>
                  </a:lnTo>
                  <a:lnTo>
                    <a:pt x="7" y="1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14" name="Freeform 942"/>
            <p:cNvSpPr>
              <a:spLocks/>
            </p:cNvSpPr>
            <p:nvPr/>
          </p:nvSpPr>
          <p:spPr bwMode="auto">
            <a:xfrm>
              <a:off x="6014512" y="2290917"/>
              <a:ext cx="33356" cy="34481"/>
            </a:xfrm>
            <a:custGeom>
              <a:avLst/>
              <a:gdLst/>
              <a:ahLst/>
              <a:cxnLst>
                <a:cxn ang="0">
                  <a:pos x="7" y="10"/>
                </a:cxn>
                <a:cxn ang="0">
                  <a:pos x="7" y="13"/>
                </a:cxn>
                <a:cxn ang="0">
                  <a:pos x="6" y="16"/>
                </a:cxn>
                <a:cxn ang="0">
                  <a:pos x="3" y="16"/>
                </a:cxn>
                <a:cxn ang="0">
                  <a:pos x="3" y="18"/>
                </a:cxn>
                <a:cxn ang="0">
                  <a:pos x="0" y="21"/>
                </a:cxn>
                <a:cxn ang="0">
                  <a:pos x="4" y="24"/>
                </a:cxn>
                <a:cxn ang="0">
                  <a:pos x="6" y="29"/>
                </a:cxn>
                <a:cxn ang="0">
                  <a:pos x="9" y="30"/>
                </a:cxn>
                <a:cxn ang="0">
                  <a:pos x="12" y="27"/>
                </a:cxn>
                <a:cxn ang="0">
                  <a:pos x="14" y="24"/>
                </a:cxn>
                <a:cxn ang="0">
                  <a:pos x="22" y="21"/>
                </a:cxn>
                <a:cxn ang="0">
                  <a:pos x="25" y="26"/>
                </a:cxn>
                <a:cxn ang="0">
                  <a:pos x="26" y="32"/>
                </a:cxn>
                <a:cxn ang="0">
                  <a:pos x="26" y="33"/>
                </a:cxn>
                <a:cxn ang="0">
                  <a:pos x="27" y="33"/>
                </a:cxn>
                <a:cxn ang="0">
                  <a:pos x="30" y="30"/>
                </a:cxn>
                <a:cxn ang="0">
                  <a:pos x="30" y="27"/>
                </a:cxn>
                <a:cxn ang="0">
                  <a:pos x="35" y="27"/>
                </a:cxn>
                <a:cxn ang="0">
                  <a:pos x="36" y="26"/>
                </a:cxn>
                <a:cxn ang="0">
                  <a:pos x="33" y="20"/>
                </a:cxn>
                <a:cxn ang="0">
                  <a:pos x="36" y="23"/>
                </a:cxn>
                <a:cxn ang="0">
                  <a:pos x="36" y="20"/>
                </a:cxn>
                <a:cxn ang="0">
                  <a:pos x="35" y="17"/>
                </a:cxn>
                <a:cxn ang="0">
                  <a:pos x="33" y="17"/>
                </a:cxn>
                <a:cxn ang="0">
                  <a:pos x="30" y="17"/>
                </a:cxn>
                <a:cxn ang="0">
                  <a:pos x="32" y="14"/>
                </a:cxn>
                <a:cxn ang="0">
                  <a:pos x="32" y="10"/>
                </a:cxn>
                <a:cxn ang="0">
                  <a:pos x="27" y="4"/>
                </a:cxn>
                <a:cxn ang="0">
                  <a:pos x="23" y="2"/>
                </a:cxn>
                <a:cxn ang="0">
                  <a:pos x="17" y="4"/>
                </a:cxn>
                <a:cxn ang="0">
                  <a:pos x="14" y="5"/>
                </a:cxn>
                <a:cxn ang="0">
                  <a:pos x="13" y="7"/>
                </a:cxn>
                <a:cxn ang="0">
                  <a:pos x="13" y="5"/>
                </a:cxn>
                <a:cxn ang="0">
                  <a:pos x="16" y="2"/>
                </a:cxn>
                <a:cxn ang="0">
                  <a:pos x="14" y="1"/>
                </a:cxn>
                <a:cxn ang="0">
                  <a:pos x="13" y="0"/>
                </a:cxn>
                <a:cxn ang="0">
                  <a:pos x="10" y="0"/>
                </a:cxn>
                <a:cxn ang="0">
                  <a:pos x="10" y="1"/>
                </a:cxn>
                <a:cxn ang="0">
                  <a:pos x="9" y="1"/>
                </a:cxn>
                <a:cxn ang="0">
                  <a:pos x="9" y="4"/>
                </a:cxn>
                <a:cxn ang="0">
                  <a:pos x="9" y="7"/>
                </a:cxn>
                <a:cxn ang="0">
                  <a:pos x="9" y="8"/>
                </a:cxn>
                <a:cxn ang="0">
                  <a:pos x="7" y="10"/>
                </a:cxn>
              </a:cxnLst>
              <a:rect l="0" t="0" r="r" b="b"/>
              <a:pathLst>
                <a:path w="36" h="33">
                  <a:moveTo>
                    <a:pt x="7" y="10"/>
                  </a:moveTo>
                  <a:lnTo>
                    <a:pt x="7" y="13"/>
                  </a:lnTo>
                  <a:lnTo>
                    <a:pt x="6" y="16"/>
                  </a:lnTo>
                  <a:lnTo>
                    <a:pt x="3" y="16"/>
                  </a:lnTo>
                  <a:lnTo>
                    <a:pt x="3" y="18"/>
                  </a:lnTo>
                  <a:lnTo>
                    <a:pt x="0" y="21"/>
                  </a:lnTo>
                  <a:lnTo>
                    <a:pt x="4" y="24"/>
                  </a:lnTo>
                  <a:lnTo>
                    <a:pt x="6" y="29"/>
                  </a:lnTo>
                  <a:lnTo>
                    <a:pt x="9" y="30"/>
                  </a:lnTo>
                  <a:lnTo>
                    <a:pt x="12" y="27"/>
                  </a:lnTo>
                  <a:lnTo>
                    <a:pt x="14" y="24"/>
                  </a:lnTo>
                  <a:lnTo>
                    <a:pt x="22" y="21"/>
                  </a:lnTo>
                  <a:lnTo>
                    <a:pt x="25" y="26"/>
                  </a:lnTo>
                  <a:lnTo>
                    <a:pt x="26" y="32"/>
                  </a:lnTo>
                  <a:lnTo>
                    <a:pt x="26" y="33"/>
                  </a:lnTo>
                  <a:lnTo>
                    <a:pt x="27" y="33"/>
                  </a:lnTo>
                  <a:lnTo>
                    <a:pt x="30" y="30"/>
                  </a:lnTo>
                  <a:lnTo>
                    <a:pt x="30" y="27"/>
                  </a:lnTo>
                  <a:lnTo>
                    <a:pt x="35" y="27"/>
                  </a:lnTo>
                  <a:lnTo>
                    <a:pt x="36" y="26"/>
                  </a:lnTo>
                  <a:lnTo>
                    <a:pt x="33" y="20"/>
                  </a:lnTo>
                  <a:lnTo>
                    <a:pt x="36" y="23"/>
                  </a:lnTo>
                  <a:lnTo>
                    <a:pt x="36" y="20"/>
                  </a:lnTo>
                  <a:lnTo>
                    <a:pt x="35" y="17"/>
                  </a:lnTo>
                  <a:lnTo>
                    <a:pt x="33" y="17"/>
                  </a:lnTo>
                  <a:lnTo>
                    <a:pt x="30" y="17"/>
                  </a:lnTo>
                  <a:lnTo>
                    <a:pt x="32" y="14"/>
                  </a:lnTo>
                  <a:lnTo>
                    <a:pt x="32" y="10"/>
                  </a:lnTo>
                  <a:lnTo>
                    <a:pt x="27" y="4"/>
                  </a:lnTo>
                  <a:lnTo>
                    <a:pt x="23" y="2"/>
                  </a:lnTo>
                  <a:lnTo>
                    <a:pt x="17" y="4"/>
                  </a:lnTo>
                  <a:lnTo>
                    <a:pt x="14" y="5"/>
                  </a:lnTo>
                  <a:lnTo>
                    <a:pt x="13" y="7"/>
                  </a:lnTo>
                  <a:lnTo>
                    <a:pt x="13" y="5"/>
                  </a:lnTo>
                  <a:lnTo>
                    <a:pt x="16" y="2"/>
                  </a:lnTo>
                  <a:lnTo>
                    <a:pt x="14" y="1"/>
                  </a:lnTo>
                  <a:lnTo>
                    <a:pt x="13" y="0"/>
                  </a:lnTo>
                  <a:lnTo>
                    <a:pt x="10" y="0"/>
                  </a:lnTo>
                  <a:lnTo>
                    <a:pt x="10" y="1"/>
                  </a:lnTo>
                  <a:lnTo>
                    <a:pt x="9" y="1"/>
                  </a:lnTo>
                  <a:lnTo>
                    <a:pt x="9" y="4"/>
                  </a:lnTo>
                  <a:lnTo>
                    <a:pt x="9" y="7"/>
                  </a:lnTo>
                  <a:lnTo>
                    <a:pt x="9" y="8"/>
                  </a:lnTo>
                  <a:lnTo>
                    <a:pt x="7" y="1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15" name="Freeform 943"/>
            <p:cNvSpPr>
              <a:spLocks/>
            </p:cNvSpPr>
            <p:nvPr/>
          </p:nvSpPr>
          <p:spPr bwMode="auto">
            <a:xfrm>
              <a:off x="6183926" y="1757484"/>
              <a:ext cx="339709" cy="460416"/>
            </a:xfrm>
            <a:custGeom>
              <a:avLst/>
              <a:gdLst/>
              <a:ahLst/>
              <a:cxnLst>
                <a:cxn ang="0">
                  <a:pos x="350" y="57"/>
                </a:cxn>
                <a:cxn ang="0">
                  <a:pos x="337" y="39"/>
                </a:cxn>
                <a:cxn ang="0">
                  <a:pos x="356" y="16"/>
                </a:cxn>
                <a:cxn ang="0">
                  <a:pos x="340" y="10"/>
                </a:cxn>
                <a:cxn ang="0">
                  <a:pos x="328" y="17"/>
                </a:cxn>
                <a:cxn ang="0">
                  <a:pos x="317" y="20"/>
                </a:cxn>
                <a:cxn ang="0">
                  <a:pos x="292" y="35"/>
                </a:cxn>
                <a:cxn ang="0">
                  <a:pos x="288" y="10"/>
                </a:cxn>
                <a:cxn ang="0">
                  <a:pos x="273" y="23"/>
                </a:cxn>
                <a:cxn ang="0">
                  <a:pos x="254" y="42"/>
                </a:cxn>
                <a:cxn ang="0">
                  <a:pos x="240" y="36"/>
                </a:cxn>
                <a:cxn ang="0">
                  <a:pos x="231" y="54"/>
                </a:cxn>
                <a:cxn ang="0">
                  <a:pos x="215" y="74"/>
                </a:cxn>
                <a:cxn ang="0">
                  <a:pos x="206" y="79"/>
                </a:cxn>
                <a:cxn ang="0">
                  <a:pos x="189" y="73"/>
                </a:cxn>
                <a:cxn ang="0">
                  <a:pos x="182" y="97"/>
                </a:cxn>
                <a:cxn ang="0">
                  <a:pos x="170" y="106"/>
                </a:cxn>
                <a:cxn ang="0">
                  <a:pos x="161" y="112"/>
                </a:cxn>
                <a:cxn ang="0">
                  <a:pos x="153" y="122"/>
                </a:cxn>
                <a:cxn ang="0">
                  <a:pos x="147" y="141"/>
                </a:cxn>
                <a:cxn ang="0">
                  <a:pos x="134" y="154"/>
                </a:cxn>
                <a:cxn ang="0">
                  <a:pos x="119" y="173"/>
                </a:cxn>
                <a:cxn ang="0">
                  <a:pos x="115" y="189"/>
                </a:cxn>
                <a:cxn ang="0">
                  <a:pos x="112" y="203"/>
                </a:cxn>
                <a:cxn ang="0">
                  <a:pos x="105" y="218"/>
                </a:cxn>
                <a:cxn ang="0">
                  <a:pos x="98" y="228"/>
                </a:cxn>
                <a:cxn ang="0">
                  <a:pos x="89" y="249"/>
                </a:cxn>
                <a:cxn ang="0">
                  <a:pos x="70" y="276"/>
                </a:cxn>
                <a:cxn ang="0">
                  <a:pos x="74" y="282"/>
                </a:cxn>
                <a:cxn ang="0">
                  <a:pos x="63" y="283"/>
                </a:cxn>
                <a:cxn ang="0">
                  <a:pos x="45" y="291"/>
                </a:cxn>
                <a:cxn ang="0">
                  <a:pos x="31" y="304"/>
                </a:cxn>
                <a:cxn ang="0">
                  <a:pos x="21" y="312"/>
                </a:cxn>
                <a:cxn ang="0">
                  <a:pos x="16" y="326"/>
                </a:cxn>
                <a:cxn ang="0">
                  <a:pos x="18" y="330"/>
                </a:cxn>
                <a:cxn ang="0">
                  <a:pos x="0" y="339"/>
                </a:cxn>
                <a:cxn ang="0">
                  <a:pos x="19" y="353"/>
                </a:cxn>
                <a:cxn ang="0">
                  <a:pos x="34" y="352"/>
                </a:cxn>
                <a:cxn ang="0">
                  <a:pos x="18" y="356"/>
                </a:cxn>
                <a:cxn ang="0">
                  <a:pos x="2" y="365"/>
                </a:cxn>
                <a:cxn ang="0">
                  <a:pos x="5" y="382"/>
                </a:cxn>
                <a:cxn ang="0">
                  <a:pos x="19" y="372"/>
                </a:cxn>
                <a:cxn ang="0">
                  <a:pos x="16" y="385"/>
                </a:cxn>
                <a:cxn ang="0">
                  <a:pos x="3" y="404"/>
                </a:cxn>
                <a:cxn ang="0">
                  <a:pos x="16" y="405"/>
                </a:cxn>
                <a:cxn ang="0">
                  <a:pos x="25" y="432"/>
                </a:cxn>
                <a:cxn ang="0">
                  <a:pos x="55" y="427"/>
                </a:cxn>
                <a:cxn ang="0">
                  <a:pos x="74" y="403"/>
                </a:cxn>
                <a:cxn ang="0">
                  <a:pos x="79" y="391"/>
                </a:cxn>
                <a:cxn ang="0">
                  <a:pos x="93" y="417"/>
                </a:cxn>
                <a:cxn ang="0">
                  <a:pos x="106" y="356"/>
                </a:cxn>
                <a:cxn ang="0">
                  <a:pos x="100" y="285"/>
                </a:cxn>
                <a:cxn ang="0">
                  <a:pos x="141" y="195"/>
                </a:cxn>
                <a:cxn ang="0">
                  <a:pos x="183" y="128"/>
                </a:cxn>
                <a:cxn ang="0">
                  <a:pos x="217" y="94"/>
                </a:cxn>
                <a:cxn ang="0">
                  <a:pos x="236" y="76"/>
                </a:cxn>
                <a:cxn ang="0">
                  <a:pos x="289" y="92"/>
                </a:cxn>
                <a:cxn ang="0">
                  <a:pos x="340" y="80"/>
                </a:cxn>
                <a:cxn ang="0">
                  <a:pos x="369" y="60"/>
                </a:cxn>
              </a:cxnLst>
              <a:rect l="0" t="0" r="r" b="b"/>
              <a:pathLst>
                <a:path w="371" h="442">
                  <a:moveTo>
                    <a:pt x="369" y="57"/>
                  </a:moveTo>
                  <a:lnTo>
                    <a:pt x="363" y="55"/>
                  </a:lnTo>
                  <a:lnTo>
                    <a:pt x="362" y="61"/>
                  </a:lnTo>
                  <a:lnTo>
                    <a:pt x="360" y="61"/>
                  </a:lnTo>
                  <a:lnTo>
                    <a:pt x="360" y="60"/>
                  </a:lnTo>
                  <a:lnTo>
                    <a:pt x="359" y="58"/>
                  </a:lnTo>
                  <a:lnTo>
                    <a:pt x="357" y="57"/>
                  </a:lnTo>
                  <a:lnTo>
                    <a:pt x="357" y="60"/>
                  </a:lnTo>
                  <a:lnTo>
                    <a:pt x="357" y="61"/>
                  </a:lnTo>
                  <a:lnTo>
                    <a:pt x="356" y="58"/>
                  </a:lnTo>
                  <a:lnTo>
                    <a:pt x="353" y="58"/>
                  </a:lnTo>
                  <a:lnTo>
                    <a:pt x="350" y="61"/>
                  </a:lnTo>
                  <a:lnTo>
                    <a:pt x="350" y="57"/>
                  </a:lnTo>
                  <a:lnTo>
                    <a:pt x="353" y="55"/>
                  </a:lnTo>
                  <a:lnTo>
                    <a:pt x="355" y="55"/>
                  </a:lnTo>
                  <a:lnTo>
                    <a:pt x="356" y="54"/>
                  </a:lnTo>
                  <a:lnTo>
                    <a:pt x="355" y="52"/>
                  </a:lnTo>
                  <a:lnTo>
                    <a:pt x="353" y="51"/>
                  </a:lnTo>
                  <a:lnTo>
                    <a:pt x="349" y="51"/>
                  </a:lnTo>
                  <a:lnTo>
                    <a:pt x="349" y="49"/>
                  </a:lnTo>
                  <a:lnTo>
                    <a:pt x="347" y="48"/>
                  </a:lnTo>
                  <a:lnTo>
                    <a:pt x="344" y="47"/>
                  </a:lnTo>
                  <a:lnTo>
                    <a:pt x="342" y="44"/>
                  </a:lnTo>
                  <a:lnTo>
                    <a:pt x="339" y="42"/>
                  </a:lnTo>
                  <a:lnTo>
                    <a:pt x="337" y="41"/>
                  </a:lnTo>
                  <a:lnTo>
                    <a:pt x="337" y="39"/>
                  </a:lnTo>
                  <a:lnTo>
                    <a:pt x="337" y="39"/>
                  </a:lnTo>
                  <a:lnTo>
                    <a:pt x="356" y="44"/>
                  </a:lnTo>
                  <a:lnTo>
                    <a:pt x="366" y="36"/>
                  </a:lnTo>
                  <a:lnTo>
                    <a:pt x="369" y="35"/>
                  </a:lnTo>
                  <a:lnTo>
                    <a:pt x="371" y="32"/>
                  </a:lnTo>
                  <a:lnTo>
                    <a:pt x="371" y="29"/>
                  </a:lnTo>
                  <a:lnTo>
                    <a:pt x="368" y="28"/>
                  </a:lnTo>
                  <a:lnTo>
                    <a:pt x="365" y="23"/>
                  </a:lnTo>
                  <a:lnTo>
                    <a:pt x="360" y="23"/>
                  </a:lnTo>
                  <a:lnTo>
                    <a:pt x="359" y="23"/>
                  </a:lnTo>
                  <a:lnTo>
                    <a:pt x="360" y="22"/>
                  </a:lnTo>
                  <a:lnTo>
                    <a:pt x="357" y="19"/>
                  </a:lnTo>
                  <a:lnTo>
                    <a:pt x="356" y="16"/>
                  </a:lnTo>
                  <a:lnTo>
                    <a:pt x="355" y="19"/>
                  </a:lnTo>
                  <a:lnTo>
                    <a:pt x="352" y="19"/>
                  </a:lnTo>
                  <a:lnTo>
                    <a:pt x="352" y="17"/>
                  </a:lnTo>
                  <a:lnTo>
                    <a:pt x="352" y="16"/>
                  </a:lnTo>
                  <a:lnTo>
                    <a:pt x="347" y="19"/>
                  </a:lnTo>
                  <a:lnTo>
                    <a:pt x="346" y="17"/>
                  </a:lnTo>
                  <a:lnTo>
                    <a:pt x="346" y="16"/>
                  </a:lnTo>
                  <a:lnTo>
                    <a:pt x="346" y="16"/>
                  </a:lnTo>
                  <a:lnTo>
                    <a:pt x="346" y="13"/>
                  </a:lnTo>
                  <a:lnTo>
                    <a:pt x="344" y="12"/>
                  </a:lnTo>
                  <a:lnTo>
                    <a:pt x="344" y="10"/>
                  </a:lnTo>
                  <a:lnTo>
                    <a:pt x="342" y="12"/>
                  </a:lnTo>
                  <a:lnTo>
                    <a:pt x="340" y="10"/>
                  </a:lnTo>
                  <a:lnTo>
                    <a:pt x="339" y="10"/>
                  </a:lnTo>
                  <a:lnTo>
                    <a:pt x="336" y="15"/>
                  </a:lnTo>
                  <a:lnTo>
                    <a:pt x="336" y="28"/>
                  </a:lnTo>
                  <a:lnTo>
                    <a:pt x="333" y="29"/>
                  </a:lnTo>
                  <a:lnTo>
                    <a:pt x="330" y="26"/>
                  </a:lnTo>
                  <a:lnTo>
                    <a:pt x="327" y="28"/>
                  </a:lnTo>
                  <a:lnTo>
                    <a:pt x="327" y="26"/>
                  </a:lnTo>
                  <a:lnTo>
                    <a:pt x="330" y="23"/>
                  </a:lnTo>
                  <a:lnTo>
                    <a:pt x="331" y="20"/>
                  </a:lnTo>
                  <a:lnTo>
                    <a:pt x="331" y="17"/>
                  </a:lnTo>
                  <a:lnTo>
                    <a:pt x="327" y="20"/>
                  </a:lnTo>
                  <a:lnTo>
                    <a:pt x="324" y="20"/>
                  </a:lnTo>
                  <a:lnTo>
                    <a:pt x="328" y="17"/>
                  </a:lnTo>
                  <a:lnTo>
                    <a:pt x="326" y="15"/>
                  </a:lnTo>
                  <a:lnTo>
                    <a:pt x="327" y="12"/>
                  </a:lnTo>
                  <a:lnTo>
                    <a:pt x="331" y="13"/>
                  </a:lnTo>
                  <a:lnTo>
                    <a:pt x="334" y="9"/>
                  </a:lnTo>
                  <a:lnTo>
                    <a:pt x="334" y="4"/>
                  </a:lnTo>
                  <a:lnTo>
                    <a:pt x="331" y="4"/>
                  </a:lnTo>
                  <a:lnTo>
                    <a:pt x="331" y="3"/>
                  </a:lnTo>
                  <a:lnTo>
                    <a:pt x="330" y="1"/>
                  </a:lnTo>
                  <a:lnTo>
                    <a:pt x="328" y="1"/>
                  </a:lnTo>
                  <a:lnTo>
                    <a:pt x="324" y="3"/>
                  </a:lnTo>
                  <a:lnTo>
                    <a:pt x="321" y="0"/>
                  </a:lnTo>
                  <a:lnTo>
                    <a:pt x="317" y="17"/>
                  </a:lnTo>
                  <a:lnTo>
                    <a:pt x="317" y="20"/>
                  </a:lnTo>
                  <a:lnTo>
                    <a:pt x="315" y="20"/>
                  </a:lnTo>
                  <a:lnTo>
                    <a:pt x="314" y="23"/>
                  </a:lnTo>
                  <a:lnTo>
                    <a:pt x="314" y="28"/>
                  </a:lnTo>
                  <a:lnTo>
                    <a:pt x="311" y="28"/>
                  </a:lnTo>
                  <a:lnTo>
                    <a:pt x="307" y="31"/>
                  </a:lnTo>
                  <a:lnTo>
                    <a:pt x="310" y="22"/>
                  </a:lnTo>
                  <a:lnTo>
                    <a:pt x="307" y="19"/>
                  </a:lnTo>
                  <a:lnTo>
                    <a:pt x="308" y="16"/>
                  </a:lnTo>
                  <a:lnTo>
                    <a:pt x="308" y="7"/>
                  </a:lnTo>
                  <a:lnTo>
                    <a:pt x="307" y="7"/>
                  </a:lnTo>
                  <a:lnTo>
                    <a:pt x="305" y="9"/>
                  </a:lnTo>
                  <a:lnTo>
                    <a:pt x="289" y="36"/>
                  </a:lnTo>
                  <a:lnTo>
                    <a:pt x="292" y="35"/>
                  </a:lnTo>
                  <a:lnTo>
                    <a:pt x="286" y="44"/>
                  </a:lnTo>
                  <a:lnTo>
                    <a:pt x="283" y="45"/>
                  </a:lnTo>
                  <a:lnTo>
                    <a:pt x="283" y="38"/>
                  </a:lnTo>
                  <a:lnTo>
                    <a:pt x="285" y="36"/>
                  </a:lnTo>
                  <a:lnTo>
                    <a:pt x="286" y="35"/>
                  </a:lnTo>
                  <a:lnTo>
                    <a:pt x="286" y="33"/>
                  </a:lnTo>
                  <a:lnTo>
                    <a:pt x="288" y="29"/>
                  </a:lnTo>
                  <a:lnTo>
                    <a:pt x="288" y="28"/>
                  </a:lnTo>
                  <a:lnTo>
                    <a:pt x="296" y="12"/>
                  </a:lnTo>
                  <a:lnTo>
                    <a:pt x="294" y="10"/>
                  </a:lnTo>
                  <a:lnTo>
                    <a:pt x="291" y="13"/>
                  </a:lnTo>
                  <a:lnTo>
                    <a:pt x="288" y="13"/>
                  </a:lnTo>
                  <a:lnTo>
                    <a:pt x="288" y="10"/>
                  </a:lnTo>
                  <a:lnTo>
                    <a:pt x="286" y="9"/>
                  </a:lnTo>
                  <a:lnTo>
                    <a:pt x="285" y="7"/>
                  </a:lnTo>
                  <a:lnTo>
                    <a:pt x="285" y="6"/>
                  </a:lnTo>
                  <a:lnTo>
                    <a:pt x="282" y="9"/>
                  </a:lnTo>
                  <a:lnTo>
                    <a:pt x="282" y="7"/>
                  </a:lnTo>
                  <a:lnTo>
                    <a:pt x="279" y="7"/>
                  </a:lnTo>
                  <a:lnTo>
                    <a:pt x="279" y="13"/>
                  </a:lnTo>
                  <a:lnTo>
                    <a:pt x="275" y="12"/>
                  </a:lnTo>
                  <a:lnTo>
                    <a:pt x="276" y="16"/>
                  </a:lnTo>
                  <a:lnTo>
                    <a:pt x="279" y="17"/>
                  </a:lnTo>
                  <a:lnTo>
                    <a:pt x="279" y="19"/>
                  </a:lnTo>
                  <a:lnTo>
                    <a:pt x="276" y="20"/>
                  </a:lnTo>
                  <a:lnTo>
                    <a:pt x="273" y="23"/>
                  </a:lnTo>
                  <a:lnTo>
                    <a:pt x="275" y="28"/>
                  </a:lnTo>
                  <a:lnTo>
                    <a:pt x="269" y="28"/>
                  </a:lnTo>
                  <a:lnTo>
                    <a:pt x="265" y="31"/>
                  </a:lnTo>
                  <a:lnTo>
                    <a:pt x="265" y="33"/>
                  </a:lnTo>
                  <a:lnTo>
                    <a:pt x="260" y="38"/>
                  </a:lnTo>
                  <a:lnTo>
                    <a:pt x="260" y="39"/>
                  </a:lnTo>
                  <a:lnTo>
                    <a:pt x="260" y="41"/>
                  </a:lnTo>
                  <a:lnTo>
                    <a:pt x="260" y="48"/>
                  </a:lnTo>
                  <a:lnTo>
                    <a:pt x="257" y="48"/>
                  </a:lnTo>
                  <a:lnTo>
                    <a:pt x="256" y="47"/>
                  </a:lnTo>
                  <a:lnTo>
                    <a:pt x="256" y="44"/>
                  </a:lnTo>
                  <a:lnTo>
                    <a:pt x="257" y="44"/>
                  </a:lnTo>
                  <a:lnTo>
                    <a:pt x="254" y="42"/>
                  </a:lnTo>
                  <a:lnTo>
                    <a:pt x="256" y="39"/>
                  </a:lnTo>
                  <a:lnTo>
                    <a:pt x="256" y="39"/>
                  </a:lnTo>
                  <a:lnTo>
                    <a:pt x="249" y="38"/>
                  </a:lnTo>
                  <a:lnTo>
                    <a:pt x="249" y="41"/>
                  </a:lnTo>
                  <a:lnTo>
                    <a:pt x="247" y="42"/>
                  </a:lnTo>
                  <a:lnTo>
                    <a:pt x="246" y="41"/>
                  </a:lnTo>
                  <a:lnTo>
                    <a:pt x="246" y="39"/>
                  </a:lnTo>
                  <a:lnTo>
                    <a:pt x="244" y="36"/>
                  </a:lnTo>
                  <a:lnTo>
                    <a:pt x="244" y="38"/>
                  </a:lnTo>
                  <a:lnTo>
                    <a:pt x="243" y="35"/>
                  </a:lnTo>
                  <a:lnTo>
                    <a:pt x="241" y="36"/>
                  </a:lnTo>
                  <a:lnTo>
                    <a:pt x="241" y="35"/>
                  </a:lnTo>
                  <a:lnTo>
                    <a:pt x="240" y="36"/>
                  </a:lnTo>
                  <a:lnTo>
                    <a:pt x="240" y="41"/>
                  </a:lnTo>
                  <a:lnTo>
                    <a:pt x="237" y="35"/>
                  </a:lnTo>
                  <a:lnTo>
                    <a:pt x="236" y="35"/>
                  </a:lnTo>
                  <a:lnTo>
                    <a:pt x="236" y="41"/>
                  </a:lnTo>
                  <a:lnTo>
                    <a:pt x="240" y="44"/>
                  </a:lnTo>
                  <a:lnTo>
                    <a:pt x="241" y="44"/>
                  </a:lnTo>
                  <a:lnTo>
                    <a:pt x="241" y="52"/>
                  </a:lnTo>
                  <a:lnTo>
                    <a:pt x="243" y="55"/>
                  </a:lnTo>
                  <a:lnTo>
                    <a:pt x="243" y="58"/>
                  </a:lnTo>
                  <a:lnTo>
                    <a:pt x="233" y="45"/>
                  </a:lnTo>
                  <a:lnTo>
                    <a:pt x="233" y="51"/>
                  </a:lnTo>
                  <a:lnTo>
                    <a:pt x="231" y="51"/>
                  </a:lnTo>
                  <a:lnTo>
                    <a:pt x="231" y="54"/>
                  </a:lnTo>
                  <a:lnTo>
                    <a:pt x="230" y="54"/>
                  </a:lnTo>
                  <a:lnTo>
                    <a:pt x="228" y="55"/>
                  </a:lnTo>
                  <a:lnTo>
                    <a:pt x="227" y="54"/>
                  </a:lnTo>
                  <a:lnTo>
                    <a:pt x="227" y="52"/>
                  </a:lnTo>
                  <a:lnTo>
                    <a:pt x="228" y="49"/>
                  </a:lnTo>
                  <a:lnTo>
                    <a:pt x="227" y="51"/>
                  </a:lnTo>
                  <a:lnTo>
                    <a:pt x="224" y="54"/>
                  </a:lnTo>
                  <a:lnTo>
                    <a:pt x="224" y="57"/>
                  </a:lnTo>
                  <a:lnTo>
                    <a:pt x="222" y="57"/>
                  </a:lnTo>
                  <a:lnTo>
                    <a:pt x="222" y="63"/>
                  </a:lnTo>
                  <a:lnTo>
                    <a:pt x="220" y="67"/>
                  </a:lnTo>
                  <a:lnTo>
                    <a:pt x="217" y="71"/>
                  </a:lnTo>
                  <a:lnTo>
                    <a:pt x="215" y="74"/>
                  </a:lnTo>
                  <a:lnTo>
                    <a:pt x="218" y="68"/>
                  </a:lnTo>
                  <a:lnTo>
                    <a:pt x="218" y="49"/>
                  </a:lnTo>
                  <a:lnTo>
                    <a:pt x="215" y="51"/>
                  </a:lnTo>
                  <a:lnTo>
                    <a:pt x="211" y="58"/>
                  </a:lnTo>
                  <a:lnTo>
                    <a:pt x="209" y="70"/>
                  </a:lnTo>
                  <a:lnTo>
                    <a:pt x="209" y="55"/>
                  </a:lnTo>
                  <a:lnTo>
                    <a:pt x="202" y="57"/>
                  </a:lnTo>
                  <a:lnTo>
                    <a:pt x="199" y="61"/>
                  </a:lnTo>
                  <a:lnTo>
                    <a:pt x="201" y="68"/>
                  </a:lnTo>
                  <a:lnTo>
                    <a:pt x="202" y="71"/>
                  </a:lnTo>
                  <a:lnTo>
                    <a:pt x="205" y="73"/>
                  </a:lnTo>
                  <a:lnTo>
                    <a:pt x="206" y="76"/>
                  </a:lnTo>
                  <a:lnTo>
                    <a:pt x="206" y="79"/>
                  </a:lnTo>
                  <a:lnTo>
                    <a:pt x="205" y="79"/>
                  </a:lnTo>
                  <a:lnTo>
                    <a:pt x="202" y="74"/>
                  </a:lnTo>
                  <a:lnTo>
                    <a:pt x="199" y="73"/>
                  </a:lnTo>
                  <a:lnTo>
                    <a:pt x="195" y="65"/>
                  </a:lnTo>
                  <a:lnTo>
                    <a:pt x="192" y="67"/>
                  </a:lnTo>
                  <a:lnTo>
                    <a:pt x="193" y="71"/>
                  </a:lnTo>
                  <a:lnTo>
                    <a:pt x="198" y="74"/>
                  </a:lnTo>
                  <a:lnTo>
                    <a:pt x="195" y="77"/>
                  </a:lnTo>
                  <a:lnTo>
                    <a:pt x="193" y="74"/>
                  </a:lnTo>
                  <a:lnTo>
                    <a:pt x="192" y="76"/>
                  </a:lnTo>
                  <a:lnTo>
                    <a:pt x="191" y="73"/>
                  </a:lnTo>
                  <a:lnTo>
                    <a:pt x="189" y="74"/>
                  </a:lnTo>
                  <a:lnTo>
                    <a:pt x="189" y="73"/>
                  </a:lnTo>
                  <a:lnTo>
                    <a:pt x="191" y="70"/>
                  </a:lnTo>
                  <a:lnTo>
                    <a:pt x="189" y="68"/>
                  </a:lnTo>
                  <a:lnTo>
                    <a:pt x="186" y="76"/>
                  </a:lnTo>
                  <a:lnTo>
                    <a:pt x="186" y="77"/>
                  </a:lnTo>
                  <a:lnTo>
                    <a:pt x="188" y="80"/>
                  </a:lnTo>
                  <a:lnTo>
                    <a:pt x="180" y="84"/>
                  </a:lnTo>
                  <a:lnTo>
                    <a:pt x="179" y="89"/>
                  </a:lnTo>
                  <a:lnTo>
                    <a:pt x="179" y="92"/>
                  </a:lnTo>
                  <a:lnTo>
                    <a:pt x="182" y="90"/>
                  </a:lnTo>
                  <a:lnTo>
                    <a:pt x="183" y="93"/>
                  </a:lnTo>
                  <a:lnTo>
                    <a:pt x="180" y="93"/>
                  </a:lnTo>
                  <a:lnTo>
                    <a:pt x="182" y="94"/>
                  </a:lnTo>
                  <a:lnTo>
                    <a:pt x="182" y="97"/>
                  </a:lnTo>
                  <a:lnTo>
                    <a:pt x="177" y="96"/>
                  </a:lnTo>
                  <a:lnTo>
                    <a:pt x="176" y="96"/>
                  </a:lnTo>
                  <a:lnTo>
                    <a:pt x="179" y="99"/>
                  </a:lnTo>
                  <a:lnTo>
                    <a:pt x="177" y="100"/>
                  </a:lnTo>
                  <a:lnTo>
                    <a:pt x="175" y="99"/>
                  </a:lnTo>
                  <a:lnTo>
                    <a:pt x="173" y="100"/>
                  </a:lnTo>
                  <a:lnTo>
                    <a:pt x="172" y="100"/>
                  </a:lnTo>
                  <a:lnTo>
                    <a:pt x="167" y="102"/>
                  </a:lnTo>
                  <a:lnTo>
                    <a:pt x="166" y="103"/>
                  </a:lnTo>
                  <a:lnTo>
                    <a:pt x="164" y="105"/>
                  </a:lnTo>
                  <a:lnTo>
                    <a:pt x="164" y="106"/>
                  </a:lnTo>
                  <a:lnTo>
                    <a:pt x="167" y="108"/>
                  </a:lnTo>
                  <a:lnTo>
                    <a:pt x="170" y="106"/>
                  </a:lnTo>
                  <a:lnTo>
                    <a:pt x="172" y="105"/>
                  </a:lnTo>
                  <a:lnTo>
                    <a:pt x="175" y="108"/>
                  </a:lnTo>
                  <a:lnTo>
                    <a:pt x="177" y="106"/>
                  </a:lnTo>
                  <a:lnTo>
                    <a:pt x="179" y="106"/>
                  </a:lnTo>
                  <a:lnTo>
                    <a:pt x="180" y="109"/>
                  </a:lnTo>
                  <a:lnTo>
                    <a:pt x="177" y="109"/>
                  </a:lnTo>
                  <a:lnTo>
                    <a:pt x="176" y="110"/>
                  </a:lnTo>
                  <a:lnTo>
                    <a:pt x="176" y="113"/>
                  </a:lnTo>
                  <a:lnTo>
                    <a:pt x="172" y="112"/>
                  </a:lnTo>
                  <a:lnTo>
                    <a:pt x="169" y="112"/>
                  </a:lnTo>
                  <a:lnTo>
                    <a:pt x="169" y="110"/>
                  </a:lnTo>
                  <a:lnTo>
                    <a:pt x="164" y="109"/>
                  </a:lnTo>
                  <a:lnTo>
                    <a:pt x="161" y="112"/>
                  </a:lnTo>
                  <a:lnTo>
                    <a:pt x="160" y="113"/>
                  </a:lnTo>
                  <a:lnTo>
                    <a:pt x="163" y="118"/>
                  </a:lnTo>
                  <a:lnTo>
                    <a:pt x="163" y="121"/>
                  </a:lnTo>
                  <a:lnTo>
                    <a:pt x="161" y="119"/>
                  </a:lnTo>
                  <a:lnTo>
                    <a:pt x="163" y="124"/>
                  </a:lnTo>
                  <a:lnTo>
                    <a:pt x="163" y="126"/>
                  </a:lnTo>
                  <a:lnTo>
                    <a:pt x="161" y="125"/>
                  </a:lnTo>
                  <a:lnTo>
                    <a:pt x="161" y="128"/>
                  </a:lnTo>
                  <a:lnTo>
                    <a:pt x="159" y="129"/>
                  </a:lnTo>
                  <a:lnTo>
                    <a:pt x="157" y="119"/>
                  </a:lnTo>
                  <a:lnTo>
                    <a:pt x="156" y="119"/>
                  </a:lnTo>
                  <a:lnTo>
                    <a:pt x="154" y="124"/>
                  </a:lnTo>
                  <a:lnTo>
                    <a:pt x="153" y="122"/>
                  </a:lnTo>
                  <a:lnTo>
                    <a:pt x="151" y="124"/>
                  </a:lnTo>
                  <a:lnTo>
                    <a:pt x="154" y="125"/>
                  </a:lnTo>
                  <a:lnTo>
                    <a:pt x="154" y="125"/>
                  </a:lnTo>
                  <a:lnTo>
                    <a:pt x="151" y="126"/>
                  </a:lnTo>
                  <a:lnTo>
                    <a:pt x="150" y="128"/>
                  </a:lnTo>
                  <a:lnTo>
                    <a:pt x="150" y="129"/>
                  </a:lnTo>
                  <a:lnTo>
                    <a:pt x="150" y="132"/>
                  </a:lnTo>
                  <a:lnTo>
                    <a:pt x="151" y="134"/>
                  </a:lnTo>
                  <a:lnTo>
                    <a:pt x="150" y="135"/>
                  </a:lnTo>
                  <a:lnTo>
                    <a:pt x="151" y="137"/>
                  </a:lnTo>
                  <a:lnTo>
                    <a:pt x="150" y="137"/>
                  </a:lnTo>
                  <a:lnTo>
                    <a:pt x="148" y="140"/>
                  </a:lnTo>
                  <a:lnTo>
                    <a:pt x="147" y="141"/>
                  </a:lnTo>
                  <a:lnTo>
                    <a:pt x="145" y="141"/>
                  </a:lnTo>
                  <a:lnTo>
                    <a:pt x="147" y="142"/>
                  </a:lnTo>
                  <a:lnTo>
                    <a:pt x="148" y="142"/>
                  </a:lnTo>
                  <a:lnTo>
                    <a:pt x="154" y="141"/>
                  </a:lnTo>
                  <a:lnTo>
                    <a:pt x="148" y="145"/>
                  </a:lnTo>
                  <a:lnTo>
                    <a:pt x="144" y="145"/>
                  </a:lnTo>
                  <a:lnTo>
                    <a:pt x="143" y="144"/>
                  </a:lnTo>
                  <a:lnTo>
                    <a:pt x="143" y="142"/>
                  </a:lnTo>
                  <a:lnTo>
                    <a:pt x="141" y="142"/>
                  </a:lnTo>
                  <a:lnTo>
                    <a:pt x="138" y="145"/>
                  </a:lnTo>
                  <a:lnTo>
                    <a:pt x="137" y="150"/>
                  </a:lnTo>
                  <a:lnTo>
                    <a:pt x="134" y="151"/>
                  </a:lnTo>
                  <a:lnTo>
                    <a:pt x="134" y="154"/>
                  </a:lnTo>
                  <a:lnTo>
                    <a:pt x="135" y="154"/>
                  </a:lnTo>
                  <a:lnTo>
                    <a:pt x="135" y="157"/>
                  </a:lnTo>
                  <a:lnTo>
                    <a:pt x="132" y="158"/>
                  </a:lnTo>
                  <a:lnTo>
                    <a:pt x="131" y="163"/>
                  </a:lnTo>
                  <a:lnTo>
                    <a:pt x="130" y="163"/>
                  </a:lnTo>
                  <a:lnTo>
                    <a:pt x="128" y="163"/>
                  </a:lnTo>
                  <a:lnTo>
                    <a:pt x="127" y="163"/>
                  </a:lnTo>
                  <a:lnTo>
                    <a:pt x="124" y="166"/>
                  </a:lnTo>
                  <a:lnTo>
                    <a:pt x="125" y="169"/>
                  </a:lnTo>
                  <a:lnTo>
                    <a:pt x="125" y="170"/>
                  </a:lnTo>
                  <a:lnTo>
                    <a:pt x="122" y="170"/>
                  </a:lnTo>
                  <a:lnTo>
                    <a:pt x="122" y="173"/>
                  </a:lnTo>
                  <a:lnTo>
                    <a:pt x="119" y="173"/>
                  </a:lnTo>
                  <a:lnTo>
                    <a:pt x="119" y="174"/>
                  </a:lnTo>
                  <a:lnTo>
                    <a:pt x="118" y="176"/>
                  </a:lnTo>
                  <a:lnTo>
                    <a:pt x="118" y="179"/>
                  </a:lnTo>
                  <a:lnTo>
                    <a:pt x="121" y="179"/>
                  </a:lnTo>
                  <a:lnTo>
                    <a:pt x="121" y="180"/>
                  </a:lnTo>
                  <a:lnTo>
                    <a:pt x="118" y="182"/>
                  </a:lnTo>
                  <a:lnTo>
                    <a:pt x="116" y="180"/>
                  </a:lnTo>
                  <a:lnTo>
                    <a:pt x="116" y="185"/>
                  </a:lnTo>
                  <a:lnTo>
                    <a:pt x="118" y="187"/>
                  </a:lnTo>
                  <a:lnTo>
                    <a:pt x="119" y="185"/>
                  </a:lnTo>
                  <a:lnTo>
                    <a:pt x="121" y="186"/>
                  </a:lnTo>
                  <a:lnTo>
                    <a:pt x="121" y="189"/>
                  </a:lnTo>
                  <a:lnTo>
                    <a:pt x="115" y="189"/>
                  </a:lnTo>
                  <a:lnTo>
                    <a:pt x="114" y="190"/>
                  </a:lnTo>
                  <a:lnTo>
                    <a:pt x="114" y="195"/>
                  </a:lnTo>
                  <a:lnTo>
                    <a:pt x="111" y="196"/>
                  </a:lnTo>
                  <a:lnTo>
                    <a:pt x="109" y="196"/>
                  </a:lnTo>
                  <a:lnTo>
                    <a:pt x="108" y="201"/>
                  </a:lnTo>
                  <a:lnTo>
                    <a:pt x="109" y="201"/>
                  </a:lnTo>
                  <a:lnTo>
                    <a:pt x="112" y="198"/>
                  </a:lnTo>
                  <a:lnTo>
                    <a:pt x="115" y="196"/>
                  </a:lnTo>
                  <a:lnTo>
                    <a:pt x="115" y="199"/>
                  </a:lnTo>
                  <a:lnTo>
                    <a:pt x="116" y="202"/>
                  </a:lnTo>
                  <a:lnTo>
                    <a:pt x="111" y="201"/>
                  </a:lnTo>
                  <a:lnTo>
                    <a:pt x="111" y="203"/>
                  </a:lnTo>
                  <a:lnTo>
                    <a:pt x="112" y="203"/>
                  </a:lnTo>
                  <a:lnTo>
                    <a:pt x="111" y="205"/>
                  </a:lnTo>
                  <a:lnTo>
                    <a:pt x="109" y="206"/>
                  </a:lnTo>
                  <a:lnTo>
                    <a:pt x="111" y="209"/>
                  </a:lnTo>
                  <a:lnTo>
                    <a:pt x="109" y="209"/>
                  </a:lnTo>
                  <a:lnTo>
                    <a:pt x="108" y="209"/>
                  </a:lnTo>
                  <a:lnTo>
                    <a:pt x="106" y="211"/>
                  </a:lnTo>
                  <a:lnTo>
                    <a:pt x="108" y="214"/>
                  </a:lnTo>
                  <a:lnTo>
                    <a:pt x="109" y="215"/>
                  </a:lnTo>
                  <a:lnTo>
                    <a:pt x="109" y="219"/>
                  </a:lnTo>
                  <a:lnTo>
                    <a:pt x="108" y="218"/>
                  </a:lnTo>
                  <a:lnTo>
                    <a:pt x="106" y="217"/>
                  </a:lnTo>
                  <a:lnTo>
                    <a:pt x="105" y="214"/>
                  </a:lnTo>
                  <a:lnTo>
                    <a:pt x="105" y="218"/>
                  </a:lnTo>
                  <a:lnTo>
                    <a:pt x="103" y="219"/>
                  </a:lnTo>
                  <a:lnTo>
                    <a:pt x="102" y="219"/>
                  </a:lnTo>
                  <a:lnTo>
                    <a:pt x="100" y="222"/>
                  </a:lnTo>
                  <a:lnTo>
                    <a:pt x="102" y="224"/>
                  </a:lnTo>
                  <a:lnTo>
                    <a:pt x="103" y="222"/>
                  </a:lnTo>
                  <a:lnTo>
                    <a:pt x="105" y="221"/>
                  </a:lnTo>
                  <a:lnTo>
                    <a:pt x="105" y="221"/>
                  </a:lnTo>
                  <a:lnTo>
                    <a:pt x="105" y="224"/>
                  </a:lnTo>
                  <a:lnTo>
                    <a:pt x="106" y="227"/>
                  </a:lnTo>
                  <a:lnTo>
                    <a:pt x="103" y="228"/>
                  </a:lnTo>
                  <a:lnTo>
                    <a:pt x="100" y="227"/>
                  </a:lnTo>
                  <a:lnTo>
                    <a:pt x="99" y="228"/>
                  </a:lnTo>
                  <a:lnTo>
                    <a:pt x="98" y="228"/>
                  </a:lnTo>
                  <a:lnTo>
                    <a:pt x="96" y="230"/>
                  </a:lnTo>
                  <a:lnTo>
                    <a:pt x="96" y="233"/>
                  </a:lnTo>
                  <a:lnTo>
                    <a:pt x="93" y="234"/>
                  </a:lnTo>
                  <a:lnTo>
                    <a:pt x="92" y="235"/>
                  </a:lnTo>
                  <a:lnTo>
                    <a:pt x="90" y="240"/>
                  </a:lnTo>
                  <a:lnTo>
                    <a:pt x="93" y="240"/>
                  </a:lnTo>
                  <a:lnTo>
                    <a:pt x="96" y="238"/>
                  </a:lnTo>
                  <a:lnTo>
                    <a:pt x="96" y="238"/>
                  </a:lnTo>
                  <a:lnTo>
                    <a:pt x="92" y="241"/>
                  </a:lnTo>
                  <a:lnTo>
                    <a:pt x="92" y="244"/>
                  </a:lnTo>
                  <a:lnTo>
                    <a:pt x="93" y="246"/>
                  </a:lnTo>
                  <a:lnTo>
                    <a:pt x="92" y="249"/>
                  </a:lnTo>
                  <a:lnTo>
                    <a:pt x="89" y="249"/>
                  </a:lnTo>
                  <a:lnTo>
                    <a:pt x="86" y="246"/>
                  </a:lnTo>
                  <a:lnTo>
                    <a:pt x="85" y="246"/>
                  </a:lnTo>
                  <a:lnTo>
                    <a:pt x="83" y="250"/>
                  </a:lnTo>
                  <a:lnTo>
                    <a:pt x="80" y="251"/>
                  </a:lnTo>
                  <a:lnTo>
                    <a:pt x="79" y="253"/>
                  </a:lnTo>
                  <a:lnTo>
                    <a:pt x="73" y="263"/>
                  </a:lnTo>
                  <a:lnTo>
                    <a:pt x="73" y="266"/>
                  </a:lnTo>
                  <a:lnTo>
                    <a:pt x="73" y="266"/>
                  </a:lnTo>
                  <a:lnTo>
                    <a:pt x="67" y="270"/>
                  </a:lnTo>
                  <a:lnTo>
                    <a:pt x="67" y="272"/>
                  </a:lnTo>
                  <a:lnTo>
                    <a:pt x="69" y="273"/>
                  </a:lnTo>
                  <a:lnTo>
                    <a:pt x="71" y="272"/>
                  </a:lnTo>
                  <a:lnTo>
                    <a:pt x="70" y="276"/>
                  </a:lnTo>
                  <a:lnTo>
                    <a:pt x="73" y="279"/>
                  </a:lnTo>
                  <a:lnTo>
                    <a:pt x="74" y="280"/>
                  </a:lnTo>
                  <a:lnTo>
                    <a:pt x="89" y="270"/>
                  </a:lnTo>
                  <a:lnTo>
                    <a:pt x="90" y="269"/>
                  </a:lnTo>
                  <a:lnTo>
                    <a:pt x="92" y="270"/>
                  </a:lnTo>
                  <a:lnTo>
                    <a:pt x="90" y="272"/>
                  </a:lnTo>
                  <a:lnTo>
                    <a:pt x="87" y="273"/>
                  </a:lnTo>
                  <a:lnTo>
                    <a:pt x="86" y="273"/>
                  </a:lnTo>
                  <a:lnTo>
                    <a:pt x="80" y="278"/>
                  </a:lnTo>
                  <a:lnTo>
                    <a:pt x="82" y="279"/>
                  </a:lnTo>
                  <a:lnTo>
                    <a:pt x="82" y="280"/>
                  </a:lnTo>
                  <a:lnTo>
                    <a:pt x="77" y="282"/>
                  </a:lnTo>
                  <a:lnTo>
                    <a:pt x="74" y="282"/>
                  </a:lnTo>
                  <a:lnTo>
                    <a:pt x="74" y="283"/>
                  </a:lnTo>
                  <a:lnTo>
                    <a:pt x="74" y="285"/>
                  </a:lnTo>
                  <a:lnTo>
                    <a:pt x="73" y="285"/>
                  </a:lnTo>
                  <a:lnTo>
                    <a:pt x="71" y="285"/>
                  </a:lnTo>
                  <a:lnTo>
                    <a:pt x="71" y="282"/>
                  </a:lnTo>
                  <a:lnTo>
                    <a:pt x="69" y="279"/>
                  </a:lnTo>
                  <a:lnTo>
                    <a:pt x="67" y="278"/>
                  </a:lnTo>
                  <a:lnTo>
                    <a:pt x="66" y="278"/>
                  </a:lnTo>
                  <a:lnTo>
                    <a:pt x="66" y="279"/>
                  </a:lnTo>
                  <a:lnTo>
                    <a:pt x="64" y="279"/>
                  </a:lnTo>
                  <a:lnTo>
                    <a:pt x="61" y="280"/>
                  </a:lnTo>
                  <a:lnTo>
                    <a:pt x="61" y="282"/>
                  </a:lnTo>
                  <a:lnTo>
                    <a:pt x="63" y="283"/>
                  </a:lnTo>
                  <a:lnTo>
                    <a:pt x="64" y="285"/>
                  </a:lnTo>
                  <a:lnTo>
                    <a:pt x="60" y="286"/>
                  </a:lnTo>
                  <a:lnTo>
                    <a:pt x="60" y="285"/>
                  </a:lnTo>
                  <a:lnTo>
                    <a:pt x="60" y="283"/>
                  </a:lnTo>
                  <a:lnTo>
                    <a:pt x="58" y="280"/>
                  </a:lnTo>
                  <a:lnTo>
                    <a:pt x="53" y="283"/>
                  </a:lnTo>
                  <a:lnTo>
                    <a:pt x="51" y="285"/>
                  </a:lnTo>
                  <a:lnTo>
                    <a:pt x="50" y="288"/>
                  </a:lnTo>
                  <a:lnTo>
                    <a:pt x="48" y="288"/>
                  </a:lnTo>
                  <a:lnTo>
                    <a:pt x="48" y="291"/>
                  </a:lnTo>
                  <a:lnTo>
                    <a:pt x="48" y="291"/>
                  </a:lnTo>
                  <a:lnTo>
                    <a:pt x="45" y="291"/>
                  </a:lnTo>
                  <a:lnTo>
                    <a:pt x="45" y="291"/>
                  </a:lnTo>
                  <a:lnTo>
                    <a:pt x="45" y="289"/>
                  </a:lnTo>
                  <a:lnTo>
                    <a:pt x="44" y="289"/>
                  </a:lnTo>
                  <a:lnTo>
                    <a:pt x="44" y="291"/>
                  </a:lnTo>
                  <a:lnTo>
                    <a:pt x="44" y="292"/>
                  </a:lnTo>
                  <a:lnTo>
                    <a:pt x="44" y="292"/>
                  </a:lnTo>
                  <a:lnTo>
                    <a:pt x="41" y="292"/>
                  </a:lnTo>
                  <a:lnTo>
                    <a:pt x="38" y="294"/>
                  </a:lnTo>
                  <a:lnTo>
                    <a:pt x="35" y="301"/>
                  </a:lnTo>
                  <a:lnTo>
                    <a:pt x="34" y="299"/>
                  </a:lnTo>
                  <a:lnTo>
                    <a:pt x="31" y="299"/>
                  </a:lnTo>
                  <a:lnTo>
                    <a:pt x="29" y="301"/>
                  </a:lnTo>
                  <a:lnTo>
                    <a:pt x="28" y="302"/>
                  </a:lnTo>
                  <a:lnTo>
                    <a:pt x="31" y="304"/>
                  </a:lnTo>
                  <a:lnTo>
                    <a:pt x="29" y="305"/>
                  </a:lnTo>
                  <a:lnTo>
                    <a:pt x="32" y="307"/>
                  </a:lnTo>
                  <a:lnTo>
                    <a:pt x="35" y="305"/>
                  </a:lnTo>
                  <a:lnTo>
                    <a:pt x="37" y="307"/>
                  </a:lnTo>
                  <a:lnTo>
                    <a:pt x="37" y="308"/>
                  </a:lnTo>
                  <a:lnTo>
                    <a:pt x="35" y="310"/>
                  </a:lnTo>
                  <a:lnTo>
                    <a:pt x="37" y="311"/>
                  </a:lnTo>
                  <a:lnTo>
                    <a:pt x="34" y="311"/>
                  </a:lnTo>
                  <a:lnTo>
                    <a:pt x="25" y="310"/>
                  </a:lnTo>
                  <a:lnTo>
                    <a:pt x="24" y="311"/>
                  </a:lnTo>
                  <a:lnTo>
                    <a:pt x="22" y="311"/>
                  </a:lnTo>
                  <a:lnTo>
                    <a:pt x="19" y="312"/>
                  </a:lnTo>
                  <a:lnTo>
                    <a:pt x="21" y="312"/>
                  </a:lnTo>
                  <a:lnTo>
                    <a:pt x="22" y="314"/>
                  </a:lnTo>
                  <a:lnTo>
                    <a:pt x="21" y="314"/>
                  </a:lnTo>
                  <a:lnTo>
                    <a:pt x="21" y="315"/>
                  </a:lnTo>
                  <a:lnTo>
                    <a:pt x="22" y="315"/>
                  </a:lnTo>
                  <a:lnTo>
                    <a:pt x="24" y="314"/>
                  </a:lnTo>
                  <a:lnTo>
                    <a:pt x="22" y="317"/>
                  </a:lnTo>
                  <a:lnTo>
                    <a:pt x="24" y="323"/>
                  </a:lnTo>
                  <a:lnTo>
                    <a:pt x="22" y="323"/>
                  </a:lnTo>
                  <a:lnTo>
                    <a:pt x="21" y="320"/>
                  </a:lnTo>
                  <a:lnTo>
                    <a:pt x="19" y="318"/>
                  </a:lnTo>
                  <a:lnTo>
                    <a:pt x="18" y="320"/>
                  </a:lnTo>
                  <a:lnTo>
                    <a:pt x="15" y="324"/>
                  </a:lnTo>
                  <a:lnTo>
                    <a:pt x="16" y="326"/>
                  </a:lnTo>
                  <a:lnTo>
                    <a:pt x="16" y="327"/>
                  </a:lnTo>
                  <a:lnTo>
                    <a:pt x="15" y="326"/>
                  </a:lnTo>
                  <a:lnTo>
                    <a:pt x="13" y="324"/>
                  </a:lnTo>
                  <a:lnTo>
                    <a:pt x="12" y="324"/>
                  </a:lnTo>
                  <a:lnTo>
                    <a:pt x="8" y="324"/>
                  </a:lnTo>
                  <a:lnTo>
                    <a:pt x="8" y="326"/>
                  </a:lnTo>
                  <a:lnTo>
                    <a:pt x="8" y="327"/>
                  </a:lnTo>
                  <a:lnTo>
                    <a:pt x="3" y="324"/>
                  </a:lnTo>
                  <a:lnTo>
                    <a:pt x="3" y="326"/>
                  </a:lnTo>
                  <a:lnTo>
                    <a:pt x="5" y="328"/>
                  </a:lnTo>
                  <a:lnTo>
                    <a:pt x="3" y="330"/>
                  </a:lnTo>
                  <a:lnTo>
                    <a:pt x="3" y="331"/>
                  </a:lnTo>
                  <a:lnTo>
                    <a:pt x="18" y="330"/>
                  </a:lnTo>
                  <a:lnTo>
                    <a:pt x="13" y="331"/>
                  </a:lnTo>
                  <a:lnTo>
                    <a:pt x="15" y="333"/>
                  </a:lnTo>
                  <a:lnTo>
                    <a:pt x="19" y="331"/>
                  </a:lnTo>
                  <a:lnTo>
                    <a:pt x="21" y="331"/>
                  </a:lnTo>
                  <a:lnTo>
                    <a:pt x="18" y="334"/>
                  </a:lnTo>
                  <a:lnTo>
                    <a:pt x="10" y="334"/>
                  </a:lnTo>
                  <a:lnTo>
                    <a:pt x="8" y="333"/>
                  </a:lnTo>
                  <a:lnTo>
                    <a:pt x="6" y="333"/>
                  </a:lnTo>
                  <a:lnTo>
                    <a:pt x="3" y="336"/>
                  </a:lnTo>
                  <a:lnTo>
                    <a:pt x="3" y="337"/>
                  </a:lnTo>
                  <a:lnTo>
                    <a:pt x="2" y="337"/>
                  </a:lnTo>
                  <a:lnTo>
                    <a:pt x="2" y="337"/>
                  </a:lnTo>
                  <a:lnTo>
                    <a:pt x="0" y="339"/>
                  </a:lnTo>
                  <a:lnTo>
                    <a:pt x="5" y="340"/>
                  </a:lnTo>
                  <a:lnTo>
                    <a:pt x="5" y="342"/>
                  </a:lnTo>
                  <a:lnTo>
                    <a:pt x="5" y="343"/>
                  </a:lnTo>
                  <a:lnTo>
                    <a:pt x="2" y="347"/>
                  </a:lnTo>
                  <a:lnTo>
                    <a:pt x="2" y="349"/>
                  </a:lnTo>
                  <a:lnTo>
                    <a:pt x="2" y="350"/>
                  </a:lnTo>
                  <a:lnTo>
                    <a:pt x="2" y="352"/>
                  </a:lnTo>
                  <a:lnTo>
                    <a:pt x="2" y="353"/>
                  </a:lnTo>
                  <a:lnTo>
                    <a:pt x="2" y="355"/>
                  </a:lnTo>
                  <a:lnTo>
                    <a:pt x="6" y="355"/>
                  </a:lnTo>
                  <a:lnTo>
                    <a:pt x="15" y="352"/>
                  </a:lnTo>
                  <a:lnTo>
                    <a:pt x="16" y="353"/>
                  </a:lnTo>
                  <a:lnTo>
                    <a:pt x="19" y="353"/>
                  </a:lnTo>
                  <a:lnTo>
                    <a:pt x="22" y="346"/>
                  </a:lnTo>
                  <a:lnTo>
                    <a:pt x="22" y="349"/>
                  </a:lnTo>
                  <a:lnTo>
                    <a:pt x="22" y="352"/>
                  </a:lnTo>
                  <a:lnTo>
                    <a:pt x="24" y="353"/>
                  </a:lnTo>
                  <a:lnTo>
                    <a:pt x="26" y="353"/>
                  </a:lnTo>
                  <a:lnTo>
                    <a:pt x="28" y="352"/>
                  </a:lnTo>
                  <a:lnTo>
                    <a:pt x="29" y="353"/>
                  </a:lnTo>
                  <a:lnTo>
                    <a:pt x="32" y="350"/>
                  </a:lnTo>
                  <a:lnTo>
                    <a:pt x="34" y="344"/>
                  </a:lnTo>
                  <a:lnTo>
                    <a:pt x="37" y="343"/>
                  </a:lnTo>
                  <a:lnTo>
                    <a:pt x="37" y="343"/>
                  </a:lnTo>
                  <a:lnTo>
                    <a:pt x="35" y="347"/>
                  </a:lnTo>
                  <a:lnTo>
                    <a:pt x="34" y="352"/>
                  </a:lnTo>
                  <a:lnTo>
                    <a:pt x="35" y="352"/>
                  </a:lnTo>
                  <a:lnTo>
                    <a:pt x="37" y="350"/>
                  </a:lnTo>
                  <a:lnTo>
                    <a:pt x="38" y="352"/>
                  </a:lnTo>
                  <a:lnTo>
                    <a:pt x="35" y="355"/>
                  </a:lnTo>
                  <a:lnTo>
                    <a:pt x="29" y="356"/>
                  </a:lnTo>
                  <a:lnTo>
                    <a:pt x="29" y="358"/>
                  </a:lnTo>
                  <a:lnTo>
                    <a:pt x="31" y="360"/>
                  </a:lnTo>
                  <a:lnTo>
                    <a:pt x="28" y="362"/>
                  </a:lnTo>
                  <a:lnTo>
                    <a:pt x="28" y="359"/>
                  </a:lnTo>
                  <a:lnTo>
                    <a:pt x="26" y="358"/>
                  </a:lnTo>
                  <a:lnTo>
                    <a:pt x="25" y="356"/>
                  </a:lnTo>
                  <a:lnTo>
                    <a:pt x="22" y="356"/>
                  </a:lnTo>
                  <a:lnTo>
                    <a:pt x="18" y="356"/>
                  </a:lnTo>
                  <a:lnTo>
                    <a:pt x="15" y="356"/>
                  </a:lnTo>
                  <a:lnTo>
                    <a:pt x="13" y="356"/>
                  </a:lnTo>
                  <a:lnTo>
                    <a:pt x="10" y="356"/>
                  </a:lnTo>
                  <a:lnTo>
                    <a:pt x="8" y="358"/>
                  </a:lnTo>
                  <a:lnTo>
                    <a:pt x="3" y="358"/>
                  </a:lnTo>
                  <a:lnTo>
                    <a:pt x="2" y="360"/>
                  </a:lnTo>
                  <a:lnTo>
                    <a:pt x="2" y="363"/>
                  </a:lnTo>
                  <a:lnTo>
                    <a:pt x="5" y="363"/>
                  </a:lnTo>
                  <a:lnTo>
                    <a:pt x="5" y="362"/>
                  </a:lnTo>
                  <a:lnTo>
                    <a:pt x="5" y="366"/>
                  </a:lnTo>
                  <a:lnTo>
                    <a:pt x="3" y="365"/>
                  </a:lnTo>
                  <a:lnTo>
                    <a:pt x="2" y="363"/>
                  </a:lnTo>
                  <a:lnTo>
                    <a:pt x="2" y="365"/>
                  </a:lnTo>
                  <a:lnTo>
                    <a:pt x="0" y="365"/>
                  </a:lnTo>
                  <a:lnTo>
                    <a:pt x="0" y="365"/>
                  </a:lnTo>
                  <a:lnTo>
                    <a:pt x="3" y="371"/>
                  </a:lnTo>
                  <a:lnTo>
                    <a:pt x="5" y="371"/>
                  </a:lnTo>
                  <a:lnTo>
                    <a:pt x="8" y="368"/>
                  </a:lnTo>
                  <a:lnTo>
                    <a:pt x="10" y="368"/>
                  </a:lnTo>
                  <a:lnTo>
                    <a:pt x="6" y="373"/>
                  </a:lnTo>
                  <a:lnTo>
                    <a:pt x="8" y="373"/>
                  </a:lnTo>
                  <a:lnTo>
                    <a:pt x="5" y="376"/>
                  </a:lnTo>
                  <a:lnTo>
                    <a:pt x="3" y="378"/>
                  </a:lnTo>
                  <a:lnTo>
                    <a:pt x="3" y="379"/>
                  </a:lnTo>
                  <a:lnTo>
                    <a:pt x="5" y="381"/>
                  </a:lnTo>
                  <a:lnTo>
                    <a:pt x="5" y="382"/>
                  </a:lnTo>
                  <a:lnTo>
                    <a:pt x="8" y="381"/>
                  </a:lnTo>
                  <a:lnTo>
                    <a:pt x="9" y="379"/>
                  </a:lnTo>
                  <a:lnTo>
                    <a:pt x="9" y="382"/>
                  </a:lnTo>
                  <a:lnTo>
                    <a:pt x="10" y="385"/>
                  </a:lnTo>
                  <a:lnTo>
                    <a:pt x="9" y="385"/>
                  </a:lnTo>
                  <a:lnTo>
                    <a:pt x="6" y="387"/>
                  </a:lnTo>
                  <a:lnTo>
                    <a:pt x="6" y="388"/>
                  </a:lnTo>
                  <a:lnTo>
                    <a:pt x="8" y="389"/>
                  </a:lnTo>
                  <a:lnTo>
                    <a:pt x="10" y="388"/>
                  </a:lnTo>
                  <a:lnTo>
                    <a:pt x="12" y="385"/>
                  </a:lnTo>
                  <a:lnTo>
                    <a:pt x="12" y="382"/>
                  </a:lnTo>
                  <a:lnTo>
                    <a:pt x="15" y="381"/>
                  </a:lnTo>
                  <a:lnTo>
                    <a:pt x="19" y="372"/>
                  </a:lnTo>
                  <a:lnTo>
                    <a:pt x="22" y="369"/>
                  </a:lnTo>
                  <a:lnTo>
                    <a:pt x="24" y="371"/>
                  </a:lnTo>
                  <a:lnTo>
                    <a:pt x="24" y="372"/>
                  </a:lnTo>
                  <a:lnTo>
                    <a:pt x="26" y="371"/>
                  </a:lnTo>
                  <a:lnTo>
                    <a:pt x="29" y="372"/>
                  </a:lnTo>
                  <a:lnTo>
                    <a:pt x="25" y="373"/>
                  </a:lnTo>
                  <a:lnTo>
                    <a:pt x="24" y="378"/>
                  </a:lnTo>
                  <a:lnTo>
                    <a:pt x="24" y="375"/>
                  </a:lnTo>
                  <a:lnTo>
                    <a:pt x="22" y="375"/>
                  </a:lnTo>
                  <a:lnTo>
                    <a:pt x="18" y="381"/>
                  </a:lnTo>
                  <a:lnTo>
                    <a:pt x="19" y="382"/>
                  </a:lnTo>
                  <a:lnTo>
                    <a:pt x="19" y="384"/>
                  </a:lnTo>
                  <a:lnTo>
                    <a:pt x="16" y="385"/>
                  </a:lnTo>
                  <a:lnTo>
                    <a:pt x="10" y="391"/>
                  </a:lnTo>
                  <a:lnTo>
                    <a:pt x="13" y="392"/>
                  </a:lnTo>
                  <a:lnTo>
                    <a:pt x="18" y="392"/>
                  </a:lnTo>
                  <a:lnTo>
                    <a:pt x="19" y="391"/>
                  </a:lnTo>
                  <a:lnTo>
                    <a:pt x="19" y="392"/>
                  </a:lnTo>
                  <a:lnTo>
                    <a:pt x="15" y="394"/>
                  </a:lnTo>
                  <a:lnTo>
                    <a:pt x="13" y="395"/>
                  </a:lnTo>
                  <a:lnTo>
                    <a:pt x="13" y="397"/>
                  </a:lnTo>
                  <a:lnTo>
                    <a:pt x="10" y="397"/>
                  </a:lnTo>
                  <a:lnTo>
                    <a:pt x="9" y="398"/>
                  </a:lnTo>
                  <a:lnTo>
                    <a:pt x="8" y="397"/>
                  </a:lnTo>
                  <a:lnTo>
                    <a:pt x="3" y="403"/>
                  </a:lnTo>
                  <a:lnTo>
                    <a:pt x="3" y="404"/>
                  </a:lnTo>
                  <a:lnTo>
                    <a:pt x="5" y="405"/>
                  </a:lnTo>
                  <a:lnTo>
                    <a:pt x="5" y="407"/>
                  </a:lnTo>
                  <a:lnTo>
                    <a:pt x="8" y="405"/>
                  </a:lnTo>
                  <a:lnTo>
                    <a:pt x="9" y="404"/>
                  </a:lnTo>
                  <a:lnTo>
                    <a:pt x="9" y="405"/>
                  </a:lnTo>
                  <a:lnTo>
                    <a:pt x="10" y="405"/>
                  </a:lnTo>
                  <a:lnTo>
                    <a:pt x="12" y="404"/>
                  </a:lnTo>
                  <a:lnTo>
                    <a:pt x="10" y="403"/>
                  </a:lnTo>
                  <a:lnTo>
                    <a:pt x="13" y="404"/>
                  </a:lnTo>
                  <a:lnTo>
                    <a:pt x="16" y="403"/>
                  </a:lnTo>
                  <a:lnTo>
                    <a:pt x="18" y="400"/>
                  </a:lnTo>
                  <a:lnTo>
                    <a:pt x="19" y="401"/>
                  </a:lnTo>
                  <a:lnTo>
                    <a:pt x="16" y="405"/>
                  </a:lnTo>
                  <a:lnTo>
                    <a:pt x="18" y="405"/>
                  </a:lnTo>
                  <a:lnTo>
                    <a:pt x="18" y="408"/>
                  </a:lnTo>
                  <a:lnTo>
                    <a:pt x="15" y="413"/>
                  </a:lnTo>
                  <a:lnTo>
                    <a:pt x="13" y="414"/>
                  </a:lnTo>
                  <a:lnTo>
                    <a:pt x="13" y="417"/>
                  </a:lnTo>
                  <a:lnTo>
                    <a:pt x="12" y="417"/>
                  </a:lnTo>
                  <a:lnTo>
                    <a:pt x="10" y="417"/>
                  </a:lnTo>
                  <a:lnTo>
                    <a:pt x="10" y="416"/>
                  </a:lnTo>
                  <a:lnTo>
                    <a:pt x="9" y="416"/>
                  </a:lnTo>
                  <a:lnTo>
                    <a:pt x="8" y="423"/>
                  </a:lnTo>
                  <a:lnTo>
                    <a:pt x="19" y="435"/>
                  </a:lnTo>
                  <a:lnTo>
                    <a:pt x="22" y="436"/>
                  </a:lnTo>
                  <a:lnTo>
                    <a:pt x="25" y="432"/>
                  </a:lnTo>
                  <a:lnTo>
                    <a:pt x="24" y="440"/>
                  </a:lnTo>
                  <a:lnTo>
                    <a:pt x="25" y="439"/>
                  </a:lnTo>
                  <a:lnTo>
                    <a:pt x="28" y="440"/>
                  </a:lnTo>
                  <a:lnTo>
                    <a:pt x="29" y="437"/>
                  </a:lnTo>
                  <a:lnTo>
                    <a:pt x="32" y="439"/>
                  </a:lnTo>
                  <a:lnTo>
                    <a:pt x="31" y="440"/>
                  </a:lnTo>
                  <a:lnTo>
                    <a:pt x="35" y="442"/>
                  </a:lnTo>
                  <a:lnTo>
                    <a:pt x="38" y="440"/>
                  </a:lnTo>
                  <a:lnTo>
                    <a:pt x="41" y="437"/>
                  </a:lnTo>
                  <a:lnTo>
                    <a:pt x="42" y="435"/>
                  </a:lnTo>
                  <a:lnTo>
                    <a:pt x="45" y="437"/>
                  </a:lnTo>
                  <a:lnTo>
                    <a:pt x="50" y="435"/>
                  </a:lnTo>
                  <a:lnTo>
                    <a:pt x="55" y="427"/>
                  </a:lnTo>
                  <a:lnTo>
                    <a:pt x="58" y="426"/>
                  </a:lnTo>
                  <a:lnTo>
                    <a:pt x="58" y="423"/>
                  </a:lnTo>
                  <a:lnTo>
                    <a:pt x="61" y="421"/>
                  </a:lnTo>
                  <a:lnTo>
                    <a:pt x="61" y="420"/>
                  </a:lnTo>
                  <a:lnTo>
                    <a:pt x="66" y="416"/>
                  </a:lnTo>
                  <a:lnTo>
                    <a:pt x="66" y="413"/>
                  </a:lnTo>
                  <a:lnTo>
                    <a:pt x="69" y="414"/>
                  </a:lnTo>
                  <a:lnTo>
                    <a:pt x="71" y="414"/>
                  </a:lnTo>
                  <a:lnTo>
                    <a:pt x="74" y="414"/>
                  </a:lnTo>
                  <a:lnTo>
                    <a:pt x="74" y="408"/>
                  </a:lnTo>
                  <a:lnTo>
                    <a:pt x="77" y="407"/>
                  </a:lnTo>
                  <a:lnTo>
                    <a:pt x="77" y="404"/>
                  </a:lnTo>
                  <a:lnTo>
                    <a:pt x="74" y="403"/>
                  </a:lnTo>
                  <a:lnTo>
                    <a:pt x="74" y="400"/>
                  </a:lnTo>
                  <a:lnTo>
                    <a:pt x="74" y="400"/>
                  </a:lnTo>
                  <a:lnTo>
                    <a:pt x="74" y="398"/>
                  </a:lnTo>
                  <a:lnTo>
                    <a:pt x="74" y="395"/>
                  </a:lnTo>
                  <a:lnTo>
                    <a:pt x="76" y="397"/>
                  </a:lnTo>
                  <a:lnTo>
                    <a:pt x="76" y="398"/>
                  </a:lnTo>
                  <a:lnTo>
                    <a:pt x="76" y="400"/>
                  </a:lnTo>
                  <a:lnTo>
                    <a:pt x="79" y="400"/>
                  </a:lnTo>
                  <a:lnTo>
                    <a:pt x="79" y="398"/>
                  </a:lnTo>
                  <a:lnTo>
                    <a:pt x="77" y="395"/>
                  </a:lnTo>
                  <a:lnTo>
                    <a:pt x="77" y="392"/>
                  </a:lnTo>
                  <a:lnTo>
                    <a:pt x="77" y="391"/>
                  </a:lnTo>
                  <a:lnTo>
                    <a:pt x="79" y="391"/>
                  </a:lnTo>
                  <a:lnTo>
                    <a:pt x="80" y="391"/>
                  </a:lnTo>
                  <a:lnTo>
                    <a:pt x="82" y="391"/>
                  </a:lnTo>
                  <a:lnTo>
                    <a:pt x="82" y="392"/>
                  </a:lnTo>
                  <a:lnTo>
                    <a:pt x="79" y="394"/>
                  </a:lnTo>
                  <a:lnTo>
                    <a:pt x="82" y="408"/>
                  </a:lnTo>
                  <a:lnTo>
                    <a:pt x="83" y="408"/>
                  </a:lnTo>
                  <a:lnTo>
                    <a:pt x="86" y="411"/>
                  </a:lnTo>
                  <a:lnTo>
                    <a:pt x="87" y="410"/>
                  </a:lnTo>
                  <a:lnTo>
                    <a:pt x="89" y="413"/>
                  </a:lnTo>
                  <a:lnTo>
                    <a:pt x="89" y="420"/>
                  </a:lnTo>
                  <a:lnTo>
                    <a:pt x="89" y="416"/>
                  </a:lnTo>
                  <a:lnTo>
                    <a:pt x="90" y="419"/>
                  </a:lnTo>
                  <a:lnTo>
                    <a:pt x="93" y="417"/>
                  </a:lnTo>
                  <a:lnTo>
                    <a:pt x="95" y="407"/>
                  </a:lnTo>
                  <a:lnTo>
                    <a:pt x="93" y="400"/>
                  </a:lnTo>
                  <a:lnTo>
                    <a:pt x="96" y="394"/>
                  </a:lnTo>
                  <a:lnTo>
                    <a:pt x="96" y="391"/>
                  </a:lnTo>
                  <a:lnTo>
                    <a:pt x="103" y="388"/>
                  </a:lnTo>
                  <a:lnTo>
                    <a:pt x="105" y="385"/>
                  </a:lnTo>
                  <a:lnTo>
                    <a:pt x="106" y="381"/>
                  </a:lnTo>
                  <a:lnTo>
                    <a:pt x="105" y="378"/>
                  </a:lnTo>
                  <a:lnTo>
                    <a:pt x="106" y="371"/>
                  </a:lnTo>
                  <a:lnTo>
                    <a:pt x="105" y="362"/>
                  </a:lnTo>
                  <a:lnTo>
                    <a:pt x="102" y="359"/>
                  </a:lnTo>
                  <a:lnTo>
                    <a:pt x="102" y="358"/>
                  </a:lnTo>
                  <a:lnTo>
                    <a:pt x="106" y="356"/>
                  </a:lnTo>
                  <a:lnTo>
                    <a:pt x="109" y="353"/>
                  </a:lnTo>
                  <a:lnTo>
                    <a:pt x="111" y="347"/>
                  </a:lnTo>
                  <a:lnTo>
                    <a:pt x="109" y="343"/>
                  </a:lnTo>
                  <a:lnTo>
                    <a:pt x="105" y="339"/>
                  </a:lnTo>
                  <a:lnTo>
                    <a:pt x="102" y="334"/>
                  </a:lnTo>
                  <a:lnTo>
                    <a:pt x="102" y="318"/>
                  </a:lnTo>
                  <a:lnTo>
                    <a:pt x="100" y="314"/>
                  </a:lnTo>
                  <a:lnTo>
                    <a:pt x="100" y="314"/>
                  </a:lnTo>
                  <a:lnTo>
                    <a:pt x="102" y="296"/>
                  </a:lnTo>
                  <a:lnTo>
                    <a:pt x="103" y="295"/>
                  </a:lnTo>
                  <a:lnTo>
                    <a:pt x="102" y="294"/>
                  </a:lnTo>
                  <a:lnTo>
                    <a:pt x="100" y="289"/>
                  </a:lnTo>
                  <a:lnTo>
                    <a:pt x="100" y="285"/>
                  </a:lnTo>
                  <a:lnTo>
                    <a:pt x="102" y="276"/>
                  </a:lnTo>
                  <a:lnTo>
                    <a:pt x="109" y="267"/>
                  </a:lnTo>
                  <a:lnTo>
                    <a:pt x="114" y="265"/>
                  </a:lnTo>
                  <a:lnTo>
                    <a:pt x="119" y="263"/>
                  </a:lnTo>
                  <a:lnTo>
                    <a:pt x="127" y="265"/>
                  </a:lnTo>
                  <a:lnTo>
                    <a:pt x="130" y="262"/>
                  </a:lnTo>
                  <a:lnTo>
                    <a:pt x="131" y="253"/>
                  </a:lnTo>
                  <a:lnTo>
                    <a:pt x="125" y="247"/>
                  </a:lnTo>
                  <a:lnTo>
                    <a:pt x="125" y="244"/>
                  </a:lnTo>
                  <a:lnTo>
                    <a:pt x="134" y="227"/>
                  </a:lnTo>
                  <a:lnTo>
                    <a:pt x="137" y="196"/>
                  </a:lnTo>
                  <a:lnTo>
                    <a:pt x="138" y="195"/>
                  </a:lnTo>
                  <a:lnTo>
                    <a:pt x="141" y="195"/>
                  </a:lnTo>
                  <a:lnTo>
                    <a:pt x="145" y="192"/>
                  </a:lnTo>
                  <a:lnTo>
                    <a:pt x="150" y="179"/>
                  </a:lnTo>
                  <a:lnTo>
                    <a:pt x="163" y="158"/>
                  </a:lnTo>
                  <a:lnTo>
                    <a:pt x="161" y="156"/>
                  </a:lnTo>
                  <a:lnTo>
                    <a:pt x="159" y="150"/>
                  </a:lnTo>
                  <a:lnTo>
                    <a:pt x="160" y="145"/>
                  </a:lnTo>
                  <a:lnTo>
                    <a:pt x="164" y="138"/>
                  </a:lnTo>
                  <a:lnTo>
                    <a:pt x="166" y="131"/>
                  </a:lnTo>
                  <a:lnTo>
                    <a:pt x="173" y="122"/>
                  </a:lnTo>
                  <a:lnTo>
                    <a:pt x="176" y="122"/>
                  </a:lnTo>
                  <a:lnTo>
                    <a:pt x="180" y="124"/>
                  </a:lnTo>
                  <a:lnTo>
                    <a:pt x="182" y="126"/>
                  </a:lnTo>
                  <a:lnTo>
                    <a:pt x="183" y="128"/>
                  </a:lnTo>
                  <a:lnTo>
                    <a:pt x="188" y="115"/>
                  </a:lnTo>
                  <a:lnTo>
                    <a:pt x="188" y="109"/>
                  </a:lnTo>
                  <a:lnTo>
                    <a:pt x="189" y="106"/>
                  </a:lnTo>
                  <a:lnTo>
                    <a:pt x="191" y="105"/>
                  </a:lnTo>
                  <a:lnTo>
                    <a:pt x="192" y="105"/>
                  </a:lnTo>
                  <a:lnTo>
                    <a:pt x="211" y="110"/>
                  </a:lnTo>
                  <a:lnTo>
                    <a:pt x="214" y="109"/>
                  </a:lnTo>
                  <a:lnTo>
                    <a:pt x="215" y="108"/>
                  </a:lnTo>
                  <a:lnTo>
                    <a:pt x="212" y="105"/>
                  </a:lnTo>
                  <a:lnTo>
                    <a:pt x="212" y="102"/>
                  </a:lnTo>
                  <a:lnTo>
                    <a:pt x="214" y="99"/>
                  </a:lnTo>
                  <a:lnTo>
                    <a:pt x="215" y="96"/>
                  </a:lnTo>
                  <a:lnTo>
                    <a:pt x="217" y="94"/>
                  </a:lnTo>
                  <a:lnTo>
                    <a:pt x="217" y="92"/>
                  </a:lnTo>
                  <a:lnTo>
                    <a:pt x="217" y="89"/>
                  </a:lnTo>
                  <a:lnTo>
                    <a:pt x="215" y="87"/>
                  </a:lnTo>
                  <a:lnTo>
                    <a:pt x="215" y="84"/>
                  </a:lnTo>
                  <a:lnTo>
                    <a:pt x="217" y="84"/>
                  </a:lnTo>
                  <a:lnTo>
                    <a:pt x="222" y="84"/>
                  </a:lnTo>
                  <a:lnTo>
                    <a:pt x="222" y="83"/>
                  </a:lnTo>
                  <a:lnTo>
                    <a:pt x="225" y="81"/>
                  </a:lnTo>
                  <a:lnTo>
                    <a:pt x="227" y="83"/>
                  </a:lnTo>
                  <a:lnTo>
                    <a:pt x="230" y="81"/>
                  </a:lnTo>
                  <a:lnTo>
                    <a:pt x="228" y="76"/>
                  </a:lnTo>
                  <a:lnTo>
                    <a:pt x="233" y="74"/>
                  </a:lnTo>
                  <a:lnTo>
                    <a:pt x="236" y="76"/>
                  </a:lnTo>
                  <a:lnTo>
                    <a:pt x="246" y="90"/>
                  </a:lnTo>
                  <a:lnTo>
                    <a:pt x="247" y="94"/>
                  </a:lnTo>
                  <a:lnTo>
                    <a:pt x="249" y="96"/>
                  </a:lnTo>
                  <a:lnTo>
                    <a:pt x="256" y="97"/>
                  </a:lnTo>
                  <a:lnTo>
                    <a:pt x="260" y="100"/>
                  </a:lnTo>
                  <a:lnTo>
                    <a:pt x="263" y="99"/>
                  </a:lnTo>
                  <a:lnTo>
                    <a:pt x="266" y="97"/>
                  </a:lnTo>
                  <a:lnTo>
                    <a:pt x="270" y="92"/>
                  </a:lnTo>
                  <a:lnTo>
                    <a:pt x="273" y="93"/>
                  </a:lnTo>
                  <a:lnTo>
                    <a:pt x="276" y="99"/>
                  </a:lnTo>
                  <a:lnTo>
                    <a:pt x="279" y="100"/>
                  </a:lnTo>
                  <a:lnTo>
                    <a:pt x="286" y="96"/>
                  </a:lnTo>
                  <a:lnTo>
                    <a:pt x="289" y="92"/>
                  </a:lnTo>
                  <a:lnTo>
                    <a:pt x="295" y="87"/>
                  </a:lnTo>
                  <a:lnTo>
                    <a:pt x="296" y="64"/>
                  </a:lnTo>
                  <a:lnTo>
                    <a:pt x="299" y="55"/>
                  </a:lnTo>
                  <a:lnTo>
                    <a:pt x="302" y="52"/>
                  </a:lnTo>
                  <a:lnTo>
                    <a:pt x="328" y="44"/>
                  </a:lnTo>
                  <a:lnTo>
                    <a:pt x="330" y="45"/>
                  </a:lnTo>
                  <a:lnTo>
                    <a:pt x="333" y="51"/>
                  </a:lnTo>
                  <a:lnTo>
                    <a:pt x="336" y="52"/>
                  </a:lnTo>
                  <a:lnTo>
                    <a:pt x="340" y="54"/>
                  </a:lnTo>
                  <a:lnTo>
                    <a:pt x="344" y="58"/>
                  </a:lnTo>
                  <a:lnTo>
                    <a:pt x="347" y="70"/>
                  </a:lnTo>
                  <a:lnTo>
                    <a:pt x="342" y="77"/>
                  </a:lnTo>
                  <a:lnTo>
                    <a:pt x="340" y="80"/>
                  </a:lnTo>
                  <a:lnTo>
                    <a:pt x="340" y="83"/>
                  </a:lnTo>
                  <a:lnTo>
                    <a:pt x="343" y="84"/>
                  </a:lnTo>
                  <a:lnTo>
                    <a:pt x="344" y="84"/>
                  </a:lnTo>
                  <a:lnTo>
                    <a:pt x="346" y="81"/>
                  </a:lnTo>
                  <a:lnTo>
                    <a:pt x="346" y="81"/>
                  </a:lnTo>
                  <a:lnTo>
                    <a:pt x="347" y="79"/>
                  </a:lnTo>
                  <a:lnTo>
                    <a:pt x="347" y="77"/>
                  </a:lnTo>
                  <a:lnTo>
                    <a:pt x="356" y="71"/>
                  </a:lnTo>
                  <a:lnTo>
                    <a:pt x="357" y="70"/>
                  </a:lnTo>
                  <a:lnTo>
                    <a:pt x="359" y="63"/>
                  </a:lnTo>
                  <a:lnTo>
                    <a:pt x="365" y="65"/>
                  </a:lnTo>
                  <a:lnTo>
                    <a:pt x="368" y="65"/>
                  </a:lnTo>
                  <a:lnTo>
                    <a:pt x="369" y="60"/>
                  </a:lnTo>
                  <a:lnTo>
                    <a:pt x="369" y="57"/>
                  </a:lnTo>
                  <a:lnTo>
                    <a:pt x="369" y="5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16" name="Freeform 945"/>
            <p:cNvSpPr>
              <a:spLocks/>
            </p:cNvSpPr>
            <p:nvPr/>
          </p:nvSpPr>
          <p:spPr bwMode="auto">
            <a:xfrm>
              <a:off x="6406887" y="2362920"/>
              <a:ext cx="236129" cy="178488"/>
            </a:xfrm>
            <a:custGeom>
              <a:avLst/>
              <a:gdLst/>
              <a:ahLst/>
              <a:cxnLst>
                <a:cxn ang="0">
                  <a:pos x="36" y="98"/>
                </a:cxn>
                <a:cxn ang="0">
                  <a:pos x="6" y="74"/>
                </a:cxn>
                <a:cxn ang="0">
                  <a:pos x="29" y="41"/>
                </a:cxn>
                <a:cxn ang="0">
                  <a:pos x="24" y="18"/>
                </a:cxn>
                <a:cxn ang="0">
                  <a:pos x="46" y="10"/>
                </a:cxn>
                <a:cxn ang="0">
                  <a:pos x="72" y="19"/>
                </a:cxn>
                <a:cxn ang="0">
                  <a:pos x="83" y="21"/>
                </a:cxn>
                <a:cxn ang="0">
                  <a:pos x="94" y="22"/>
                </a:cxn>
                <a:cxn ang="0">
                  <a:pos x="107" y="24"/>
                </a:cxn>
                <a:cxn ang="0">
                  <a:pos x="122" y="19"/>
                </a:cxn>
                <a:cxn ang="0">
                  <a:pos x="132" y="8"/>
                </a:cxn>
                <a:cxn ang="0">
                  <a:pos x="145" y="6"/>
                </a:cxn>
                <a:cxn ang="0">
                  <a:pos x="164" y="2"/>
                </a:cxn>
                <a:cxn ang="0">
                  <a:pos x="177" y="15"/>
                </a:cxn>
                <a:cxn ang="0">
                  <a:pos x="186" y="26"/>
                </a:cxn>
                <a:cxn ang="0">
                  <a:pos x="196" y="45"/>
                </a:cxn>
                <a:cxn ang="0">
                  <a:pos x="209" y="47"/>
                </a:cxn>
                <a:cxn ang="0">
                  <a:pos x="232" y="53"/>
                </a:cxn>
                <a:cxn ang="0">
                  <a:pos x="250" y="60"/>
                </a:cxn>
                <a:cxn ang="0">
                  <a:pos x="257" y="74"/>
                </a:cxn>
                <a:cxn ang="0">
                  <a:pos x="251" y="82"/>
                </a:cxn>
                <a:cxn ang="0">
                  <a:pos x="252" y="102"/>
                </a:cxn>
                <a:cxn ang="0">
                  <a:pos x="236" y="105"/>
                </a:cxn>
                <a:cxn ang="0">
                  <a:pos x="218" y="119"/>
                </a:cxn>
                <a:cxn ang="0">
                  <a:pos x="202" y="125"/>
                </a:cxn>
                <a:cxn ang="0">
                  <a:pos x="186" y="137"/>
                </a:cxn>
                <a:cxn ang="0">
                  <a:pos x="186" y="134"/>
                </a:cxn>
                <a:cxn ang="0">
                  <a:pos x="181" y="138"/>
                </a:cxn>
                <a:cxn ang="0">
                  <a:pos x="178" y="137"/>
                </a:cxn>
                <a:cxn ang="0">
                  <a:pos x="173" y="137"/>
                </a:cxn>
                <a:cxn ang="0">
                  <a:pos x="173" y="141"/>
                </a:cxn>
                <a:cxn ang="0">
                  <a:pos x="180" y="141"/>
                </a:cxn>
                <a:cxn ang="0">
                  <a:pos x="184" y="146"/>
                </a:cxn>
                <a:cxn ang="0">
                  <a:pos x="194" y="154"/>
                </a:cxn>
                <a:cxn ang="0">
                  <a:pos x="207" y="151"/>
                </a:cxn>
                <a:cxn ang="0">
                  <a:pos x="193" y="157"/>
                </a:cxn>
                <a:cxn ang="0">
                  <a:pos x="177" y="167"/>
                </a:cxn>
                <a:cxn ang="0">
                  <a:pos x="167" y="172"/>
                </a:cxn>
                <a:cxn ang="0">
                  <a:pos x="159" y="157"/>
                </a:cxn>
                <a:cxn ang="0">
                  <a:pos x="159" y="144"/>
                </a:cxn>
                <a:cxn ang="0">
                  <a:pos x="164" y="138"/>
                </a:cxn>
                <a:cxn ang="0">
                  <a:pos x="146" y="137"/>
                </a:cxn>
                <a:cxn ang="0">
                  <a:pos x="142" y="131"/>
                </a:cxn>
                <a:cxn ang="0">
                  <a:pos x="145" y="128"/>
                </a:cxn>
                <a:cxn ang="0">
                  <a:pos x="132" y="127"/>
                </a:cxn>
                <a:cxn ang="0">
                  <a:pos x="117" y="134"/>
                </a:cxn>
                <a:cxn ang="0">
                  <a:pos x="113" y="143"/>
                </a:cxn>
                <a:cxn ang="0">
                  <a:pos x="109" y="143"/>
                </a:cxn>
                <a:cxn ang="0">
                  <a:pos x="96" y="154"/>
                </a:cxn>
                <a:cxn ang="0">
                  <a:pos x="91" y="149"/>
                </a:cxn>
                <a:cxn ang="0">
                  <a:pos x="97" y="138"/>
                </a:cxn>
                <a:cxn ang="0">
                  <a:pos x="110" y="131"/>
                </a:cxn>
                <a:cxn ang="0">
                  <a:pos x="112" y="121"/>
                </a:cxn>
                <a:cxn ang="0">
                  <a:pos x="103" y="109"/>
                </a:cxn>
                <a:cxn ang="0">
                  <a:pos x="93" y="95"/>
                </a:cxn>
                <a:cxn ang="0">
                  <a:pos x="68" y="89"/>
                </a:cxn>
              </a:cxnLst>
              <a:rect l="0" t="0" r="r" b="b"/>
              <a:pathLst>
                <a:path w="258" h="172">
                  <a:moveTo>
                    <a:pt x="65" y="93"/>
                  </a:moveTo>
                  <a:lnTo>
                    <a:pt x="62" y="93"/>
                  </a:lnTo>
                  <a:lnTo>
                    <a:pt x="53" y="98"/>
                  </a:lnTo>
                  <a:lnTo>
                    <a:pt x="45" y="99"/>
                  </a:lnTo>
                  <a:lnTo>
                    <a:pt x="40" y="102"/>
                  </a:lnTo>
                  <a:lnTo>
                    <a:pt x="36" y="98"/>
                  </a:lnTo>
                  <a:lnTo>
                    <a:pt x="13" y="98"/>
                  </a:lnTo>
                  <a:lnTo>
                    <a:pt x="10" y="99"/>
                  </a:lnTo>
                  <a:lnTo>
                    <a:pt x="10" y="96"/>
                  </a:lnTo>
                  <a:lnTo>
                    <a:pt x="0" y="90"/>
                  </a:lnTo>
                  <a:lnTo>
                    <a:pt x="6" y="74"/>
                  </a:lnTo>
                  <a:lnTo>
                    <a:pt x="6" y="74"/>
                  </a:lnTo>
                  <a:lnTo>
                    <a:pt x="8" y="74"/>
                  </a:lnTo>
                  <a:lnTo>
                    <a:pt x="8" y="71"/>
                  </a:lnTo>
                  <a:lnTo>
                    <a:pt x="8" y="67"/>
                  </a:lnTo>
                  <a:lnTo>
                    <a:pt x="17" y="53"/>
                  </a:lnTo>
                  <a:lnTo>
                    <a:pt x="27" y="45"/>
                  </a:lnTo>
                  <a:lnTo>
                    <a:pt x="29" y="41"/>
                  </a:lnTo>
                  <a:lnTo>
                    <a:pt x="26" y="38"/>
                  </a:lnTo>
                  <a:lnTo>
                    <a:pt x="27" y="35"/>
                  </a:lnTo>
                  <a:lnTo>
                    <a:pt x="24" y="31"/>
                  </a:lnTo>
                  <a:lnTo>
                    <a:pt x="20" y="19"/>
                  </a:lnTo>
                  <a:lnTo>
                    <a:pt x="22" y="18"/>
                  </a:lnTo>
                  <a:lnTo>
                    <a:pt x="24" y="18"/>
                  </a:lnTo>
                  <a:lnTo>
                    <a:pt x="26" y="18"/>
                  </a:lnTo>
                  <a:lnTo>
                    <a:pt x="30" y="16"/>
                  </a:lnTo>
                  <a:lnTo>
                    <a:pt x="32" y="15"/>
                  </a:lnTo>
                  <a:lnTo>
                    <a:pt x="32" y="12"/>
                  </a:lnTo>
                  <a:lnTo>
                    <a:pt x="45" y="10"/>
                  </a:lnTo>
                  <a:lnTo>
                    <a:pt x="46" y="10"/>
                  </a:lnTo>
                  <a:lnTo>
                    <a:pt x="53" y="10"/>
                  </a:lnTo>
                  <a:lnTo>
                    <a:pt x="61" y="13"/>
                  </a:lnTo>
                  <a:lnTo>
                    <a:pt x="64" y="15"/>
                  </a:lnTo>
                  <a:lnTo>
                    <a:pt x="65" y="13"/>
                  </a:lnTo>
                  <a:lnTo>
                    <a:pt x="71" y="16"/>
                  </a:lnTo>
                  <a:lnTo>
                    <a:pt x="72" y="19"/>
                  </a:lnTo>
                  <a:lnTo>
                    <a:pt x="74" y="21"/>
                  </a:lnTo>
                  <a:lnTo>
                    <a:pt x="78" y="19"/>
                  </a:lnTo>
                  <a:lnTo>
                    <a:pt x="78" y="22"/>
                  </a:lnTo>
                  <a:lnTo>
                    <a:pt x="80" y="24"/>
                  </a:lnTo>
                  <a:lnTo>
                    <a:pt x="81" y="22"/>
                  </a:lnTo>
                  <a:lnTo>
                    <a:pt x="83" y="21"/>
                  </a:lnTo>
                  <a:lnTo>
                    <a:pt x="85" y="21"/>
                  </a:lnTo>
                  <a:lnTo>
                    <a:pt x="87" y="19"/>
                  </a:lnTo>
                  <a:lnTo>
                    <a:pt x="88" y="21"/>
                  </a:lnTo>
                  <a:lnTo>
                    <a:pt x="91" y="22"/>
                  </a:lnTo>
                  <a:lnTo>
                    <a:pt x="93" y="21"/>
                  </a:lnTo>
                  <a:lnTo>
                    <a:pt x="94" y="22"/>
                  </a:lnTo>
                  <a:lnTo>
                    <a:pt x="96" y="24"/>
                  </a:lnTo>
                  <a:lnTo>
                    <a:pt x="100" y="19"/>
                  </a:lnTo>
                  <a:lnTo>
                    <a:pt x="104" y="22"/>
                  </a:lnTo>
                  <a:lnTo>
                    <a:pt x="104" y="24"/>
                  </a:lnTo>
                  <a:lnTo>
                    <a:pt x="106" y="25"/>
                  </a:lnTo>
                  <a:lnTo>
                    <a:pt x="107" y="24"/>
                  </a:lnTo>
                  <a:lnTo>
                    <a:pt x="116" y="24"/>
                  </a:lnTo>
                  <a:lnTo>
                    <a:pt x="119" y="24"/>
                  </a:lnTo>
                  <a:lnTo>
                    <a:pt x="120" y="26"/>
                  </a:lnTo>
                  <a:lnTo>
                    <a:pt x="122" y="25"/>
                  </a:lnTo>
                  <a:lnTo>
                    <a:pt x="123" y="24"/>
                  </a:lnTo>
                  <a:lnTo>
                    <a:pt x="122" y="19"/>
                  </a:lnTo>
                  <a:lnTo>
                    <a:pt x="123" y="16"/>
                  </a:lnTo>
                  <a:lnTo>
                    <a:pt x="123" y="15"/>
                  </a:lnTo>
                  <a:lnTo>
                    <a:pt x="123" y="13"/>
                  </a:lnTo>
                  <a:lnTo>
                    <a:pt x="128" y="8"/>
                  </a:lnTo>
                  <a:lnTo>
                    <a:pt x="130" y="8"/>
                  </a:lnTo>
                  <a:lnTo>
                    <a:pt x="132" y="8"/>
                  </a:lnTo>
                  <a:lnTo>
                    <a:pt x="135" y="6"/>
                  </a:lnTo>
                  <a:lnTo>
                    <a:pt x="139" y="6"/>
                  </a:lnTo>
                  <a:lnTo>
                    <a:pt x="139" y="6"/>
                  </a:lnTo>
                  <a:lnTo>
                    <a:pt x="141" y="8"/>
                  </a:lnTo>
                  <a:lnTo>
                    <a:pt x="144" y="8"/>
                  </a:lnTo>
                  <a:lnTo>
                    <a:pt x="145" y="6"/>
                  </a:lnTo>
                  <a:lnTo>
                    <a:pt x="146" y="5"/>
                  </a:lnTo>
                  <a:lnTo>
                    <a:pt x="146" y="3"/>
                  </a:lnTo>
                  <a:lnTo>
                    <a:pt x="149" y="2"/>
                  </a:lnTo>
                  <a:lnTo>
                    <a:pt x="155" y="3"/>
                  </a:lnTo>
                  <a:lnTo>
                    <a:pt x="159" y="2"/>
                  </a:lnTo>
                  <a:lnTo>
                    <a:pt x="164" y="2"/>
                  </a:lnTo>
                  <a:lnTo>
                    <a:pt x="168" y="0"/>
                  </a:lnTo>
                  <a:lnTo>
                    <a:pt x="171" y="3"/>
                  </a:lnTo>
                  <a:lnTo>
                    <a:pt x="173" y="6"/>
                  </a:lnTo>
                  <a:lnTo>
                    <a:pt x="173" y="8"/>
                  </a:lnTo>
                  <a:lnTo>
                    <a:pt x="177" y="12"/>
                  </a:lnTo>
                  <a:lnTo>
                    <a:pt x="177" y="15"/>
                  </a:lnTo>
                  <a:lnTo>
                    <a:pt x="174" y="16"/>
                  </a:lnTo>
                  <a:lnTo>
                    <a:pt x="173" y="16"/>
                  </a:lnTo>
                  <a:lnTo>
                    <a:pt x="174" y="24"/>
                  </a:lnTo>
                  <a:lnTo>
                    <a:pt x="183" y="28"/>
                  </a:lnTo>
                  <a:lnTo>
                    <a:pt x="184" y="26"/>
                  </a:lnTo>
                  <a:lnTo>
                    <a:pt x="186" y="26"/>
                  </a:lnTo>
                  <a:lnTo>
                    <a:pt x="187" y="28"/>
                  </a:lnTo>
                  <a:lnTo>
                    <a:pt x="190" y="31"/>
                  </a:lnTo>
                  <a:lnTo>
                    <a:pt x="191" y="38"/>
                  </a:lnTo>
                  <a:lnTo>
                    <a:pt x="191" y="41"/>
                  </a:lnTo>
                  <a:lnTo>
                    <a:pt x="191" y="42"/>
                  </a:lnTo>
                  <a:lnTo>
                    <a:pt x="196" y="45"/>
                  </a:lnTo>
                  <a:lnTo>
                    <a:pt x="197" y="44"/>
                  </a:lnTo>
                  <a:lnTo>
                    <a:pt x="199" y="44"/>
                  </a:lnTo>
                  <a:lnTo>
                    <a:pt x="202" y="44"/>
                  </a:lnTo>
                  <a:lnTo>
                    <a:pt x="204" y="47"/>
                  </a:lnTo>
                  <a:lnTo>
                    <a:pt x="206" y="47"/>
                  </a:lnTo>
                  <a:lnTo>
                    <a:pt x="209" y="47"/>
                  </a:lnTo>
                  <a:lnTo>
                    <a:pt x="219" y="44"/>
                  </a:lnTo>
                  <a:lnTo>
                    <a:pt x="220" y="44"/>
                  </a:lnTo>
                  <a:lnTo>
                    <a:pt x="228" y="56"/>
                  </a:lnTo>
                  <a:lnTo>
                    <a:pt x="229" y="54"/>
                  </a:lnTo>
                  <a:lnTo>
                    <a:pt x="231" y="53"/>
                  </a:lnTo>
                  <a:lnTo>
                    <a:pt x="232" y="53"/>
                  </a:lnTo>
                  <a:lnTo>
                    <a:pt x="234" y="54"/>
                  </a:lnTo>
                  <a:lnTo>
                    <a:pt x="238" y="56"/>
                  </a:lnTo>
                  <a:lnTo>
                    <a:pt x="239" y="57"/>
                  </a:lnTo>
                  <a:lnTo>
                    <a:pt x="244" y="57"/>
                  </a:lnTo>
                  <a:lnTo>
                    <a:pt x="247" y="60"/>
                  </a:lnTo>
                  <a:lnTo>
                    <a:pt x="250" y="60"/>
                  </a:lnTo>
                  <a:lnTo>
                    <a:pt x="252" y="61"/>
                  </a:lnTo>
                  <a:lnTo>
                    <a:pt x="257" y="63"/>
                  </a:lnTo>
                  <a:lnTo>
                    <a:pt x="258" y="64"/>
                  </a:lnTo>
                  <a:lnTo>
                    <a:pt x="257" y="64"/>
                  </a:lnTo>
                  <a:lnTo>
                    <a:pt x="258" y="70"/>
                  </a:lnTo>
                  <a:lnTo>
                    <a:pt x="257" y="74"/>
                  </a:lnTo>
                  <a:lnTo>
                    <a:pt x="252" y="76"/>
                  </a:lnTo>
                  <a:lnTo>
                    <a:pt x="254" y="77"/>
                  </a:lnTo>
                  <a:lnTo>
                    <a:pt x="255" y="77"/>
                  </a:lnTo>
                  <a:lnTo>
                    <a:pt x="257" y="79"/>
                  </a:lnTo>
                  <a:lnTo>
                    <a:pt x="252" y="80"/>
                  </a:lnTo>
                  <a:lnTo>
                    <a:pt x="251" y="82"/>
                  </a:lnTo>
                  <a:lnTo>
                    <a:pt x="251" y="85"/>
                  </a:lnTo>
                  <a:lnTo>
                    <a:pt x="252" y="86"/>
                  </a:lnTo>
                  <a:lnTo>
                    <a:pt x="254" y="87"/>
                  </a:lnTo>
                  <a:lnTo>
                    <a:pt x="252" y="90"/>
                  </a:lnTo>
                  <a:lnTo>
                    <a:pt x="255" y="90"/>
                  </a:lnTo>
                  <a:lnTo>
                    <a:pt x="252" y="102"/>
                  </a:lnTo>
                  <a:lnTo>
                    <a:pt x="250" y="102"/>
                  </a:lnTo>
                  <a:lnTo>
                    <a:pt x="247" y="101"/>
                  </a:lnTo>
                  <a:lnTo>
                    <a:pt x="244" y="102"/>
                  </a:lnTo>
                  <a:lnTo>
                    <a:pt x="241" y="99"/>
                  </a:lnTo>
                  <a:lnTo>
                    <a:pt x="239" y="101"/>
                  </a:lnTo>
                  <a:lnTo>
                    <a:pt x="236" y="105"/>
                  </a:lnTo>
                  <a:lnTo>
                    <a:pt x="232" y="106"/>
                  </a:lnTo>
                  <a:lnTo>
                    <a:pt x="231" y="109"/>
                  </a:lnTo>
                  <a:lnTo>
                    <a:pt x="231" y="117"/>
                  </a:lnTo>
                  <a:lnTo>
                    <a:pt x="222" y="118"/>
                  </a:lnTo>
                  <a:lnTo>
                    <a:pt x="219" y="121"/>
                  </a:lnTo>
                  <a:lnTo>
                    <a:pt x="218" y="119"/>
                  </a:lnTo>
                  <a:lnTo>
                    <a:pt x="212" y="122"/>
                  </a:lnTo>
                  <a:lnTo>
                    <a:pt x="212" y="125"/>
                  </a:lnTo>
                  <a:lnTo>
                    <a:pt x="209" y="124"/>
                  </a:lnTo>
                  <a:lnTo>
                    <a:pt x="203" y="127"/>
                  </a:lnTo>
                  <a:lnTo>
                    <a:pt x="202" y="127"/>
                  </a:lnTo>
                  <a:lnTo>
                    <a:pt x="202" y="125"/>
                  </a:lnTo>
                  <a:lnTo>
                    <a:pt x="199" y="127"/>
                  </a:lnTo>
                  <a:lnTo>
                    <a:pt x="196" y="127"/>
                  </a:lnTo>
                  <a:lnTo>
                    <a:pt x="193" y="131"/>
                  </a:lnTo>
                  <a:lnTo>
                    <a:pt x="191" y="131"/>
                  </a:lnTo>
                  <a:lnTo>
                    <a:pt x="189" y="137"/>
                  </a:lnTo>
                  <a:lnTo>
                    <a:pt x="186" y="137"/>
                  </a:lnTo>
                  <a:lnTo>
                    <a:pt x="187" y="137"/>
                  </a:lnTo>
                  <a:lnTo>
                    <a:pt x="189" y="135"/>
                  </a:lnTo>
                  <a:lnTo>
                    <a:pt x="190" y="134"/>
                  </a:lnTo>
                  <a:lnTo>
                    <a:pt x="189" y="130"/>
                  </a:lnTo>
                  <a:lnTo>
                    <a:pt x="187" y="130"/>
                  </a:lnTo>
                  <a:lnTo>
                    <a:pt x="186" y="134"/>
                  </a:lnTo>
                  <a:lnTo>
                    <a:pt x="184" y="137"/>
                  </a:lnTo>
                  <a:lnTo>
                    <a:pt x="184" y="143"/>
                  </a:lnTo>
                  <a:lnTo>
                    <a:pt x="183" y="143"/>
                  </a:lnTo>
                  <a:lnTo>
                    <a:pt x="183" y="141"/>
                  </a:lnTo>
                  <a:lnTo>
                    <a:pt x="181" y="138"/>
                  </a:lnTo>
                  <a:lnTo>
                    <a:pt x="181" y="138"/>
                  </a:lnTo>
                  <a:lnTo>
                    <a:pt x="181" y="137"/>
                  </a:lnTo>
                  <a:lnTo>
                    <a:pt x="180" y="138"/>
                  </a:lnTo>
                  <a:lnTo>
                    <a:pt x="178" y="140"/>
                  </a:lnTo>
                  <a:lnTo>
                    <a:pt x="178" y="140"/>
                  </a:lnTo>
                  <a:lnTo>
                    <a:pt x="178" y="138"/>
                  </a:lnTo>
                  <a:lnTo>
                    <a:pt x="178" y="137"/>
                  </a:lnTo>
                  <a:lnTo>
                    <a:pt x="174" y="137"/>
                  </a:lnTo>
                  <a:lnTo>
                    <a:pt x="174" y="137"/>
                  </a:lnTo>
                  <a:lnTo>
                    <a:pt x="174" y="134"/>
                  </a:lnTo>
                  <a:lnTo>
                    <a:pt x="173" y="133"/>
                  </a:lnTo>
                  <a:lnTo>
                    <a:pt x="173" y="137"/>
                  </a:lnTo>
                  <a:lnTo>
                    <a:pt x="173" y="137"/>
                  </a:lnTo>
                  <a:lnTo>
                    <a:pt x="167" y="135"/>
                  </a:lnTo>
                  <a:lnTo>
                    <a:pt x="170" y="138"/>
                  </a:lnTo>
                  <a:lnTo>
                    <a:pt x="171" y="137"/>
                  </a:lnTo>
                  <a:lnTo>
                    <a:pt x="171" y="138"/>
                  </a:lnTo>
                  <a:lnTo>
                    <a:pt x="173" y="140"/>
                  </a:lnTo>
                  <a:lnTo>
                    <a:pt x="173" y="141"/>
                  </a:lnTo>
                  <a:lnTo>
                    <a:pt x="173" y="143"/>
                  </a:lnTo>
                  <a:lnTo>
                    <a:pt x="174" y="141"/>
                  </a:lnTo>
                  <a:lnTo>
                    <a:pt x="174" y="140"/>
                  </a:lnTo>
                  <a:lnTo>
                    <a:pt x="177" y="140"/>
                  </a:lnTo>
                  <a:lnTo>
                    <a:pt x="178" y="141"/>
                  </a:lnTo>
                  <a:lnTo>
                    <a:pt x="180" y="141"/>
                  </a:lnTo>
                  <a:lnTo>
                    <a:pt x="178" y="144"/>
                  </a:lnTo>
                  <a:lnTo>
                    <a:pt x="178" y="144"/>
                  </a:lnTo>
                  <a:lnTo>
                    <a:pt x="180" y="144"/>
                  </a:lnTo>
                  <a:lnTo>
                    <a:pt x="181" y="144"/>
                  </a:lnTo>
                  <a:lnTo>
                    <a:pt x="180" y="147"/>
                  </a:lnTo>
                  <a:lnTo>
                    <a:pt x="184" y="146"/>
                  </a:lnTo>
                  <a:lnTo>
                    <a:pt x="186" y="149"/>
                  </a:lnTo>
                  <a:lnTo>
                    <a:pt x="186" y="154"/>
                  </a:lnTo>
                  <a:lnTo>
                    <a:pt x="187" y="153"/>
                  </a:lnTo>
                  <a:lnTo>
                    <a:pt x="191" y="154"/>
                  </a:lnTo>
                  <a:lnTo>
                    <a:pt x="191" y="153"/>
                  </a:lnTo>
                  <a:lnTo>
                    <a:pt x="194" y="154"/>
                  </a:lnTo>
                  <a:lnTo>
                    <a:pt x="197" y="151"/>
                  </a:lnTo>
                  <a:lnTo>
                    <a:pt x="199" y="151"/>
                  </a:lnTo>
                  <a:lnTo>
                    <a:pt x="200" y="153"/>
                  </a:lnTo>
                  <a:lnTo>
                    <a:pt x="202" y="151"/>
                  </a:lnTo>
                  <a:lnTo>
                    <a:pt x="204" y="150"/>
                  </a:lnTo>
                  <a:lnTo>
                    <a:pt x="207" y="151"/>
                  </a:lnTo>
                  <a:lnTo>
                    <a:pt x="207" y="153"/>
                  </a:lnTo>
                  <a:lnTo>
                    <a:pt x="206" y="154"/>
                  </a:lnTo>
                  <a:lnTo>
                    <a:pt x="206" y="159"/>
                  </a:lnTo>
                  <a:lnTo>
                    <a:pt x="202" y="159"/>
                  </a:lnTo>
                  <a:lnTo>
                    <a:pt x="200" y="160"/>
                  </a:lnTo>
                  <a:lnTo>
                    <a:pt x="193" y="157"/>
                  </a:lnTo>
                  <a:lnTo>
                    <a:pt x="186" y="164"/>
                  </a:lnTo>
                  <a:lnTo>
                    <a:pt x="183" y="163"/>
                  </a:lnTo>
                  <a:lnTo>
                    <a:pt x="178" y="164"/>
                  </a:lnTo>
                  <a:lnTo>
                    <a:pt x="180" y="166"/>
                  </a:lnTo>
                  <a:lnTo>
                    <a:pt x="178" y="166"/>
                  </a:lnTo>
                  <a:lnTo>
                    <a:pt x="177" y="167"/>
                  </a:lnTo>
                  <a:lnTo>
                    <a:pt x="177" y="169"/>
                  </a:lnTo>
                  <a:lnTo>
                    <a:pt x="175" y="170"/>
                  </a:lnTo>
                  <a:lnTo>
                    <a:pt x="174" y="170"/>
                  </a:lnTo>
                  <a:lnTo>
                    <a:pt x="171" y="172"/>
                  </a:lnTo>
                  <a:lnTo>
                    <a:pt x="167" y="172"/>
                  </a:lnTo>
                  <a:lnTo>
                    <a:pt x="167" y="172"/>
                  </a:lnTo>
                  <a:lnTo>
                    <a:pt x="162" y="169"/>
                  </a:lnTo>
                  <a:lnTo>
                    <a:pt x="164" y="167"/>
                  </a:lnTo>
                  <a:lnTo>
                    <a:pt x="164" y="160"/>
                  </a:lnTo>
                  <a:lnTo>
                    <a:pt x="162" y="157"/>
                  </a:lnTo>
                  <a:lnTo>
                    <a:pt x="161" y="156"/>
                  </a:lnTo>
                  <a:lnTo>
                    <a:pt x="159" y="157"/>
                  </a:lnTo>
                  <a:lnTo>
                    <a:pt x="155" y="153"/>
                  </a:lnTo>
                  <a:lnTo>
                    <a:pt x="151" y="153"/>
                  </a:lnTo>
                  <a:lnTo>
                    <a:pt x="151" y="151"/>
                  </a:lnTo>
                  <a:lnTo>
                    <a:pt x="151" y="150"/>
                  </a:lnTo>
                  <a:lnTo>
                    <a:pt x="154" y="149"/>
                  </a:lnTo>
                  <a:lnTo>
                    <a:pt x="159" y="144"/>
                  </a:lnTo>
                  <a:lnTo>
                    <a:pt x="167" y="141"/>
                  </a:lnTo>
                  <a:lnTo>
                    <a:pt x="168" y="141"/>
                  </a:lnTo>
                  <a:lnTo>
                    <a:pt x="167" y="140"/>
                  </a:lnTo>
                  <a:lnTo>
                    <a:pt x="167" y="138"/>
                  </a:lnTo>
                  <a:lnTo>
                    <a:pt x="164" y="137"/>
                  </a:lnTo>
                  <a:lnTo>
                    <a:pt x="164" y="138"/>
                  </a:lnTo>
                  <a:lnTo>
                    <a:pt x="161" y="137"/>
                  </a:lnTo>
                  <a:lnTo>
                    <a:pt x="161" y="135"/>
                  </a:lnTo>
                  <a:lnTo>
                    <a:pt x="158" y="137"/>
                  </a:lnTo>
                  <a:lnTo>
                    <a:pt x="158" y="137"/>
                  </a:lnTo>
                  <a:lnTo>
                    <a:pt x="151" y="138"/>
                  </a:lnTo>
                  <a:lnTo>
                    <a:pt x="146" y="137"/>
                  </a:lnTo>
                  <a:lnTo>
                    <a:pt x="145" y="135"/>
                  </a:lnTo>
                  <a:lnTo>
                    <a:pt x="144" y="135"/>
                  </a:lnTo>
                  <a:lnTo>
                    <a:pt x="141" y="135"/>
                  </a:lnTo>
                  <a:lnTo>
                    <a:pt x="139" y="134"/>
                  </a:lnTo>
                  <a:lnTo>
                    <a:pt x="144" y="131"/>
                  </a:lnTo>
                  <a:lnTo>
                    <a:pt x="142" y="131"/>
                  </a:lnTo>
                  <a:lnTo>
                    <a:pt x="139" y="131"/>
                  </a:lnTo>
                  <a:lnTo>
                    <a:pt x="138" y="130"/>
                  </a:lnTo>
                  <a:lnTo>
                    <a:pt x="139" y="130"/>
                  </a:lnTo>
                  <a:lnTo>
                    <a:pt x="145" y="130"/>
                  </a:lnTo>
                  <a:lnTo>
                    <a:pt x="146" y="130"/>
                  </a:lnTo>
                  <a:lnTo>
                    <a:pt x="145" y="128"/>
                  </a:lnTo>
                  <a:lnTo>
                    <a:pt x="144" y="128"/>
                  </a:lnTo>
                  <a:lnTo>
                    <a:pt x="141" y="124"/>
                  </a:lnTo>
                  <a:lnTo>
                    <a:pt x="141" y="125"/>
                  </a:lnTo>
                  <a:lnTo>
                    <a:pt x="136" y="127"/>
                  </a:lnTo>
                  <a:lnTo>
                    <a:pt x="136" y="124"/>
                  </a:lnTo>
                  <a:lnTo>
                    <a:pt x="132" y="127"/>
                  </a:lnTo>
                  <a:lnTo>
                    <a:pt x="125" y="130"/>
                  </a:lnTo>
                  <a:lnTo>
                    <a:pt x="123" y="131"/>
                  </a:lnTo>
                  <a:lnTo>
                    <a:pt x="120" y="137"/>
                  </a:lnTo>
                  <a:lnTo>
                    <a:pt x="120" y="135"/>
                  </a:lnTo>
                  <a:lnTo>
                    <a:pt x="119" y="134"/>
                  </a:lnTo>
                  <a:lnTo>
                    <a:pt x="117" y="134"/>
                  </a:lnTo>
                  <a:lnTo>
                    <a:pt x="116" y="133"/>
                  </a:lnTo>
                  <a:lnTo>
                    <a:pt x="116" y="134"/>
                  </a:lnTo>
                  <a:lnTo>
                    <a:pt x="119" y="135"/>
                  </a:lnTo>
                  <a:lnTo>
                    <a:pt x="119" y="138"/>
                  </a:lnTo>
                  <a:lnTo>
                    <a:pt x="116" y="143"/>
                  </a:lnTo>
                  <a:lnTo>
                    <a:pt x="113" y="143"/>
                  </a:lnTo>
                  <a:lnTo>
                    <a:pt x="112" y="144"/>
                  </a:lnTo>
                  <a:lnTo>
                    <a:pt x="110" y="146"/>
                  </a:lnTo>
                  <a:lnTo>
                    <a:pt x="110" y="147"/>
                  </a:lnTo>
                  <a:lnTo>
                    <a:pt x="109" y="147"/>
                  </a:lnTo>
                  <a:lnTo>
                    <a:pt x="109" y="144"/>
                  </a:lnTo>
                  <a:lnTo>
                    <a:pt x="109" y="143"/>
                  </a:lnTo>
                  <a:lnTo>
                    <a:pt x="109" y="151"/>
                  </a:lnTo>
                  <a:lnTo>
                    <a:pt x="109" y="153"/>
                  </a:lnTo>
                  <a:lnTo>
                    <a:pt x="107" y="151"/>
                  </a:lnTo>
                  <a:lnTo>
                    <a:pt x="104" y="151"/>
                  </a:lnTo>
                  <a:lnTo>
                    <a:pt x="99" y="153"/>
                  </a:lnTo>
                  <a:lnTo>
                    <a:pt x="96" y="154"/>
                  </a:lnTo>
                  <a:lnTo>
                    <a:pt x="93" y="154"/>
                  </a:lnTo>
                  <a:lnTo>
                    <a:pt x="90" y="150"/>
                  </a:lnTo>
                  <a:lnTo>
                    <a:pt x="87" y="151"/>
                  </a:lnTo>
                  <a:lnTo>
                    <a:pt x="87" y="150"/>
                  </a:lnTo>
                  <a:lnTo>
                    <a:pt x="90" y="150"/>
                  </a:lnTo>
                  <a:lnTo>
                    <a:pt x="91" y="149"/>
                  </a:lnTo>
                  <a:lnTo>
                    <a:pt x="91" y="147"/>
                  </a:lnTo>
                  <a:lnTo>
                    <a:pt x="93" y="144"/>
                  </a:lnTo>
                  <a:lnTo>
                    <a:pt x="94" y="143"/>
                  </a:lnTo>
                  <a:lnTo>
                    <a:pt x="94" y="141"/>
                  </a:lnTo>
                  <a:lnTo>
                    <a:pt x="96" y="140"/>
                  </a:lnTo>
                  <a:lnTo>
                    <a:pt x="97" y="138"/>
                  </a:lnTo>
                  <a:lnTo>
                    <a:pt x="99" y="133"/>
                  </a:lnTo>
                  <a:lnTo>
                    <a:pt x="100" y="131"/>
                  </a:lnTo>
                  <a:lnTo>
                    <a:pt x="101" y="130"/>
                  </a:lnTo>
                  <a:lnTo>
                    <a:pt x="103" y="131"/>
                  </a:lnTo>
                  <a:lnTo>
                    <a:pt x="104" y="130"/>
                  </a:lnTo>
                  <a:lnTo>
                    <a:pt x="110" y="131"/>
                  </a:lnTo>
                  <a:lnTo>
                    <a:pt x="112" y="131"/>
                  </a:lnTo>
                  <a:lnTo>
                    <a:pt x="113" y="128"/>
                  </a:lnTo>
                  <a:lnTo>
                    <a:pt x="112" y="127"/>
                  </a:lnTo>
                  <a:lnTo>
                    <a:pt x="113" y="125"/>
                  </a:lnTo>
                  <a:lnTo>
                    <a:pt x="112" y="122"/>
                  </a:lnTo>
                  <a:lnTo>
                    <a:pt x="112" y="121"/>
                  </a:lnTo>
                  <a:lnTo>
                    <a:pt x="107" y="119"/>
                  </a:lnTo>
                  <a:lnTo>
                    <a:pt x="106" y="115"/>
                  </a:lnTo>
                  <a:lnTo>
                    <a:pt x="106" y="114"/>
                  </a:lnTo>
                  <a:lnTo>
                    <a:pt x="106" y="111"/>
                  </a:lnTo>
                  <a:lnTo>
                    <a:pt x="103" y="111"/>
                  </a:lnTo>
                  <a:lnTo>
                    <a:pt x="103" y="109"/>
                  </a:lnTo>
                  <a:lnTo>
                    <a:pt x="101" y="108"/>
                  </a:lnTo>
                  <a:lnTo>
                    <a:pt x="101" y="99"/>
                  </a:lnTo>
                  <a:lnTo>
                    <a:pt x="100" y="98"/>
                  </a:lnTo>
                  <a:lnTo>
                    <a:pt x="99" y="98"/>
                  </a:lnTo>
                  <a:lnTo>
                    <a:pt x="96" y="95"/>
                  </a:lnTo>
                  <a:lnTo>
                    <a:pt x="93" y="95"/>
                  </a:lnTo>
                  <a:lnTo>
                    <a:pt x="90" y="95"/>
                  </a:lnTo>
                  <a:lnTo>
                    <a:pt x="87" y="95"/>
                  </a:lnTo>
                  <a:lnTo>
                    <a:pt x="81" y="89"/>
                  </a:lnTo>
                  <a:lnTo>
                    <a:pt x="77" y="87"/>
                  </a:lnTo>
                  <a:lnTo>
                    <a:pt x="69" y="89"/>
                  </a:lnTo>
                  <a:lnTo>
                    <a:pt x="68" y="89"/>
                  </a:lnTo>
                  <a:lnTo>
                    <a:pt x="67" y="90"/>
                  </a:lnTo>
                  <a:lnTo>
                    <a:pt x="65" y="9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17" name="Freeform 946"/>
            <p:cNvSpPr>
              <a:spLocks/>
            </p:cNvSpPr>
            <p:nvPr/>
          </p:nvSpPr>
          <p:spPr bwMode="auto">
            <a:xfrm>
              <a:off x="6406887" y="2362920"/>
              <a:ext cx="236129" cy="178488"/>
            </a:xfrm>
            <a:custGeom>
              <a:avLst/>
              <a:gdLst/>
              <a:ahLst/>
              <a:cxnLst>
                <a:cxn ang="0">
                  <a:pos x="36" y="98"/>
                </a:cxn>
                <a:cxn ang="0">
                  <a:pos x="6" y="74"/>
                </a:cxn>
                <a:cxn ang="0">
                  <a:pos x="29" y="41"/>
                </a:cxn>
                <a:cxn ang="0">
                  <a:pos x="24" y="18"/>
                </a:cxn>
                <a:cxn ang="0">
                  <a:pos x="46" y="10"/>
                </a:cxn>
                <a:cxn ang="0">
                  <a:pos x="72" y="19"/>
                </a:cxn>
                <a:cxn ang="0">
                  <a:pos x="83" y="21"/>
                </a:cxn>
                <a:cxn ang="0">
                  <a:pos x="94" y="22"/>
                </a:cxn>
                <a:cxn ang="0">
                  <a:pos x="107" y="24"/>
                </a:cxn>
                <a:cxn ang="0">
                  <a:pos x="122" y="19"/>
                </a:cxn>
                <a:cxn ang="0">
                  <a:pos x="132" y="8"/>
                </a:cxn>
                <a:cxn ang="0">
                  <a:pos x="145" y="6"/>
                </a:cxn>
                <a:cxn ang="0">
                  <a:pos x="164" y="2"/>
                </a:cxn>
                <a:cxn ang="0">
                  <a:pos x="177" y="15"/>
                </a:cxn>
                <a:cxn ang="0">
                  <a:pos x="186" y="26"/>
                </a:cxn>
                <a:cxn ang="0">
                  <a:pos x="196" y="45"/>
                </a:cxn>
                <a:cxn ang="0">
                  <a:pos x="209" y="47"/>
                </a:cxn>
                <a:cxn ang="0">
                  <a:pos x="232" y="53"/>
                </a:cxn>
                <a:cxn ang="0">
                  <a:pos x="250" y="60"/>
                </a:cxn>
                <a:cxn ang="0">
                  <a:pos x="257" y="74"/>
                </a:cxn>
                <a:cxn ang="0">
                  <a:pos x="251" y="82"/>
                </a:cxn>
                <a:cxn ang="0">
                  <a:pos x="252" y="102"/>
                </a:cxn>
                <a:cxn ang="0">
                  <a:pos x="236" y="105"/>
                </a:cxn>
                <a:cxn ang="0">
                  <a:pos x="218" y="119"/>
                </a:cxn>
                <a:cxn ang="0">
                  <a:pos x="202" y="125"/>
                </a:cxn>
                <a:cxn ang="0">
                  <a:pos x="186" y="137"/>
                </a:cxn>
                <a:cxn ang="0">
                  <a:pos x="186" y="134"/>
                </a:cxn>
                <a:cxn ang="0">
                  <a:pos x="181" y="138"/>
                </a:cxn>
                <a:cxn ang="0">
                  <a:pos x="178" y="137"/>
                </a:cxn>
                <a:cxn ang="0">
                  <a:pos x="173" y="137"/>
                </a:cxn>
                <a:cxn ang="0">
                  <a:pos x="173" y="141"/>
                </a:cxn>
                <a:cxn ang="0">
                  <a:pos x="180" y="141"/>
                </a:cxn>
                <a:cxn ang="0">
                  <a:pos x="184" y="146"/>
                </a:cxn>
                <a:cxn ang="0">
                  <a:pos x="194" y="154"/>
                </a:cxn>
                <a:cxn ang="0">
                  <a:pos x="207" y="151"/>
                </a:cxn>
                <a:cxn ang="0">
                  <a:pos x="193" y="157"/>
                </a:cxn>
                <a:cxn ang="0">
                  <a:pos x="177" y="167"/>
                </a:cxn>
                <a:cxn ang="0">
                  <a:pos x="167" y="172"/>
                </a:cxn>
                <a:cxn ang="0">
                  <a:pos x="159" y="157"/>
                </a:cxn>
                <a:cxn ang="0">
                  <a:pos x="159" y="144"/>
                </a:cxn>
                <a:cxn ang="0">
                  <a:pos x="164" y="138"/>
                </a:cxn>
                <a:cxn ang="0">
                  <a:pos x="146" y="137"/>
                </a:cxn>
                <a:cxn ang="0">
                  <a:pos x="142" y="131"/>
                </a:cxn>
                <a:cxn ang="0">
                  <a:pos x="145" y="128"/>
                </a:cxn>
                <a:cxn ang="0">
                  <a:pos x="132" y="127"/>
                </a:cxn>
                <a:cxn ang="0">
                  <a:pos x="117" y="134"/>
                </a:cxn>
                <a:cxn ang="0">
                  <a:pos x="113" y="143"/>
                </a:cxn>
                <a:cxn ang="0">
                  <a:pos x="109" y="143"/>
                </a:cxn>
                <a:cxn ang="0">
                  <a:pos x="96" y="154"/>
                </a:cxn>
                <a:cxn ang="0">
                  <a:pos x="91" y="149"/>
                </a:cxn>
                <a:cxn ang="0">
                  <a:pos x="97" y="138"/>
                </a:cxn>
                <a:cxn ang="0">
                  <a:pos x="110" y="131"/>
                </a:cxn>
                <a:cxn ang="0">
                  <a:pos x="112" y="121"/>
                </a:cxn>
                <a:cxn ang="0">
                  <a:pos x="103" y="109"/>
                </a:cxn>
                <a:cxn ang="0">
                  <a:pos x="93" y="95"/>
                </a:cxn>
                <a:cxn ang="0">
                  <a:pos x="68" y="89"/>
                </a:cxn>
              </a:cxnLst>
              <a:rect l="0" t="0" r="r" b="b"/>
              <a:pathLst>
                <a:path w="258" h="172">
                  <a:moveTo>
                    <a:pt x="65" y="93"/>
                  </a:moveTo>
                  <a:lnTo>
                    <a:pt x="62" y="93"/>
                  </a:lnTo>
                  <a:lnTo>
                    <a:pt x="53" y="98"/>
                  </a:lnTo>
                  <a:lnTo>
                    <a:pt x="45" y="99"/>
                  </a:lnTo>
                  <a:lnTo>
                    <a:pt x="40" y="102"/>
                  </a:lnTo>
                  <a:lnTo>
                    <a:pt x="36" y="98"/>
                  </a:lnTo>
                  <a:lnTo>
                    <a:pt x="13" y="98"/>
                  </a:lnTo>
                  <a:lnTo>
                    <a:pt x="10" y="99"/>
                  </a:lnTo>
                  <a:lnTo>
                    <a:pt x="10" y="96"/>
                  </a:lnTo>
                  <a:lnTo>
                    <a:pt x="0" y="90"/>
                  </a:lnTo>
                  <a:lnTo>
                    <a:pt x="6" y="74"/>
                  </a:lnTo>
                  <a:lnTo>
                    <a:pt x="6" y="74"/>
                  </a:lnTo>
                  <a:lnTo>
                    <a:pt x="8" y="74"/>
                  </a:lnTo>
                  <a:lnTo>
                    <a:pt x="8" y="71"/>
                  </a:lnTo>
                  <a:lnTo>
                    <a:pt x="8" y="67"/>
                  </a:lnTo>
                  <a:lnTo>
                    <a:pt x="17" y="53"/>
                  </a:lnTo>
                  <a:lnTo>
                    <a:pt x="27" y="45"/>
                  </a:lnTo>
                  <a:lnTo>
                    <a:pt x="29" y="41"/>
                  </a:lnTo>
                  <a:lnTo>
                    <a:pt x="26" y="38"/>
                  </a:lnTo>
                  <a:lnTo>
                    <a:pt x="27" y="35"/>
                  </a:lnTo>
                  <a:lnTo>
                    <a:pt x="24" y="31"/>
                  </a:lnTo>
                  <a:lnTo>
                    <a:pt x="20" y="19"/>
                  </a:lnTo>
                  <a:lnTo>
                    <a:pt x="22" y="18"/>
                  </a:lnTo>
                  <a:lnTo>
                    <a:pt x="24" y="18"/>
                  </a:lnTo>
                  <a:lnTo>
                    <a:pt x="26" y="18"/>
                  </a:lnTo>
                  <a:lnTo>
                    <a:pt x="30" y="16"/>
                  </a:lnTo>
                  <a:lnTo>
                    <a:pt x="32" y="15"/>
                  </a:lnTo>
                  <a:lnTo>
                    <a:pt x="32" y="12"/>
                  </a:lnTo>
                  <a:lnTo>
                    <a:pt x="45" y="10"/>
                  </a:lnTo>
                  <a:lnTo>
                    <a:pt x="46" y="10"/>
                  </a:lnTo>
                  <a:lnTo>
                    <a:pt x="53" y="10"/>
                  </a:lnTo>
                  <a:lnTo>
                    <a:pt x="61" y="13"/>
                  </a:lnTo>
                  <a:lnTo>
                    <a:pt x="64" y="15"/>
                  </a:lnTo>
                  <a:lnTo>
                    <a:pt x="65" y="13"/>
                  </a:lnTo>
                  <a:lnTo>
                    <a:pt x="71" y="16"/>
                  </a:lnTo>
                  <a:lnTo>
                    <a:pt x="72" y="19"/>
                  </a:lnTo>
                  <a:lnTo>
                    <a:pt x="74" y="21"/>
                  </a:lnTo>
                  <a:lnTo>
                    <a:pt x="78" y="19"/>
                  </a:lnTo>
                  <a:lnTo>
                    <a:pt x="78" y="22"/>
                  </a:lnTo>
                  <a:lnTo>
                    <a:pt x="80" y="24"/>
                  </a:lnTo>
                  <a:lnTo>
                    <a:pt x="81" y="22"/>
                  </a:lnTo>
                  <a:lnTo>
                    <a:pt x="83" y="21"/>
                  </a:lnTo>
                  <a:lnTo>
                    <a:pt x="85" y="21"/>
                  </a:lnTo>
                  <a:lnTo>
                    <a:pt x="87" y="19"/>
                  </a:lnTo>
                  <a:lnTo>
                    <a:pt x="88" y="21"/>
                  </a:lnTo>
                  <a:lnTo>
                    <a:pt x="91" y="22"/>
                  </a:lnTo>
                  <a:lnTo>
                    <a:pt x="93" y="21"/>
                  </a:lnTo>
                  <a:lnTo>
                    <a:pt x="94" y="22"/>
                  </a:lnTo>
                  <a:lnTo>
                    <a:pt x="96" y="24"/>
                  </a:lnTo>
                  <a:lnTo>
                    <a:pt x="100" y="19"/>
                  </a:lnTo>
                  <a:lnTo>
                    <a:pt x="104" y="22"/>
                  </a:lnTo>
                  <a:lnTo>
                    <a:pt x="104" y="24"/>
                  </a:lnTo>
                  <a:lnTo>
                    <a:pt x="106" y="25"/>
                  </a:lnTo>
                  <a:lnTo>
                    <a:pt x="107" y="24"/>
                  </a:lnTo>
                  <a:lnTo>
                    <a:pt x="116" y="24"/>
                  </a:lnTo>
                  <a:lnTo>
                    <a:pt x="119" y="24"/>
                  </a:lnTo>
                  <a:lnTo>
                    <a:pt x="120" y="26"/>
                  </a:lnTo>
                  <a:lnTo>
                    <a:pt x="122" y="25"/>
                  </a:lnTo>
                  <a:lnTo>
                    <a:pt x="123" y="24"/>
                  </a:lnTo>
                  <a:lnTo>
                    <a:pt x="122" y="19"/>
                  </a:lnTo>
                  <a:lnTo>
                    <a:pt x="123" y="16"/>
                  </a:lnTo>
                  <a:lnTo>
                    <a:pt x="123" y="15"/>
                  </a:lnTo>
                  <a:lnTo>
                    <a:pt x="123" y="13"/>
                  </a:lnTo>
                  <a:lnTo>
                    <a:pt x="128" y="8"/>
                  </a:lnTo>
                  <a:lnTo>
                    <a:pt x="130" y="8"/>
                  </a:lnTo>
                  <a:lnTo>
                    <a:pt x="132" y="8"/>
                  </a:lnTo>
                  <a:lnTo>
                    <a:pt x="135" y="6"/>
                  </a:lnTo>
                  <a:lnTo>
                    <a:pt x="139" y="6"/>
                  </a:lnTo>
                  <a:lnTo>
                    <a:pt x="139" y="6"/>
                  </a:lnTo>
                  <a:lnTo>
                    <a:pt x="141" y="8"/>
                  </a:lnTo>
                  <a:lnTo>
                    <a:pt x="144" y="8"/>
                  </a:lnTo>
                  <a:lnTo>
                    <a:pt x="145" y="6"/>
                  </a:lnTo>
                  <a:lnTo>
                    <a:pt x="146" y="5"/>
                  </a:lnTo>
                  <a:lnTo>
                    <a:pt x="146" y="3"/>
                  </a:lnTo>
                  <a:lnTo>
                    <a:pt x="149" y="2"/>
                  </a:lnTo>
                  <a:lnTo>
                    <a:pt x="155" y="3"/>
                  </a:lnTo>
                  <a:lnTo>
                    <a:pt x="159" y="2"/>
                  </a:lnTo>
                  <a:lnTo>
                    <a:pt x="164" y="2"/>
                  </a:lnTo>
                  <a:lnTo>
                    <a:pt x="168" y="0"/>
                  </a:lnTo>
                  <a:lnTo>
                    <a:pt x="171" y="3"/>
                  </a:lnTo>
                  <a:lnTo>
                    <a:pt x="173" y="6"/>
                  </a:lnTo>
                  <a:lnTo>
                    <a:pt x="173" y="8"/>
                  </a:lnTo>
                  <a:lnTo>
                    <a:pt x="177" y="12"/>
                  </a:lnTo>
                  <a:lnTo>
                    <a:pt x="177" y="15"/>
                  </a:lnTo>
                  <a:lnTo>
                    <a:pt x="174" y="16"/>
                  </a:lnTo>
                  <a:lnTo>
                    <a:pt x="173" y="16"/>
                  </a:lnTo>
                  <a:lnTo>
                    <a:pt x="174" y="24"/>
                  </a:lnTo>
                  <a:lnTo>
                    <a:pt x="183" y="28"/>
                  </a:lnTo>
                  <a:lnTo>
                    <a:pt x="184" y="26"/>
                  </a:lnTo>
                  <a:lnTo>
                    <a:pt x="186" y="26"/>
                  </a:lnTo>
                  <a:lnTo>
                    <a:pt x="187" y="28"/>
                  </a:lnTo>
                  <a:lnTo>
                    <a:pt x="190" y="31"/>
                  </a:lnTo>
                  <a:lnTo>
                    <a:pt x="191" y="38"/>
                  </a:lnTo>
                  <a:lnTo>
                    <a:pt x="191" y="41"/>
                  </a:lnTo>
                  <a:lnTo>
                    <a:pt x="191" y="42"/>
                  </a:lnTo>
                  <a:lnTo>
                    <a:pt x="196" y="45"/>
                  </a:lnTo>
                  <a:lnTo>
                    <a:pt x="197" y="44"/>
                  </a:lnTo>
                  <a:lnTo>
                    <a:pt x="199" y="44"/>
                  </a:lnTo>
                  <a:lnTo>
                    <a:pt x="202" y="44"/>
                  </a:lnTo>
                  <a:lnTo>
                    <a:pt x="204" y="47"/>
                  </a:lnTo>
                  <a:lnTo>
                    <a:pt x="206" y="47"/>
                  </a:lnTo>
                  <a:lnTo>
                    <a:pt x="209" y="47"/>
                  </a:lnTo>
                  <a:lnTo>
                    <a:pt x="219" y="44"/>
                  </a:lnTo>
                  <a:lnTo>
                    <a:pt x="220" y="44"/>
                  </a:lnTo>
                  <a:lnTo>
                    <a:pt x="228" y="56"/>
                  </a:lnTo>
                  <a:lnTo>
                    <a:pt x="229" y="54"/>
                  </a:lnTo>
                  <a:lnTo>
                    <a:pt x="231" y="53"/>
                  </a:lnTo>
                  <a:lnTo>
                    <a:pt x="232" y="53"/>
                  </a:lnTo>
                  <a:lnTo>
                    <a:pt x="234" y="54"/>
                  </a:lnTo>
                  <a:lnTo>
                    <a:pt x="238" y="56"/>
                  </a:lnTo>
                  <a:lnTo>
                    <a:pt x="239" y="57"/>
                  </a:lnTo>
                  <a:lnTo>
                    <a:pt x="244" y="57"/>
                  </a:lnTo>
                  <a:lnTo>
                    <a:pt x="247" y="60"/>
                  </a:lnTo>
                  <a:lnTo>
                    <a:pt x="250" y="60"/>
                  </a:lnTo>
                  <a:lnTo>
                    <a:pt x="252" y="61"/>
                  </a:lnTo>
                  <a:lnTo>
                    <a:pt x="257" y="63"/>
                  </a:lnTo>
                  <a:lnTo>
                    <a:pt x="258" y="64"/>
                  </a:lnTo>
                  <a:lnTo>
                    <a:pt x="257" y="64"/>
                  </a:lnTo>
                  <a:lnTo>
                    <a:pt x="258" y="70"/>
                  </a:lnTo>
                  <a:lnTo>
                    <a:pt x="257" y="74"/>
                  </a:lnTo>
                  <a:lnTo>
                    <a:pt x="252" y="76"/>
                  </a:lnTo>
                  <a:lnTo>
                    <a:pt x="254" y="77"/>
                  </a:lnTo>
                  <a:lnTo>
                    <a:pt x="255" y="77"/>
                  </a:lnTo>
                  <a:lnTo>
                    <a:pt x="257" y="79"/>
                  </a:lnTo>
                  <a:lnTo>
                    <a:pt x="252" y="80"/>
                  </a:lnTo>
                  <a:lnTo>
                    <a:pt x="251" y="82"/>
                  </a:lnTo>
                  <a:lnTo>
                    <a:pt x="251" y="85"/>
                  </a:lnTo>
                  <a:lnTo>
                    <a:pt x="252" y="86"/>
                  </a:lnTo>
                  <a:lnTo>
                    <a:pt x="254" y="87"/>
                  </a:lnTo>
                  <a:lnTo>
                    <a:pt x="252" y="90"/>
                  </a:lnTo>
                  <a:lnTo>
                    <a:pt x="255" y="90"/>
                  </a:lnTo>
                  <a:lnTo>
                    <a:pt x="252" y="102"/>
                  </a:lnTo>
                  <a:lnTo>
                    <a:pt x="250" y="102"/>
                  </a:lnTo>
                  <a:lnTo>
                    <a:pt x="247" y="101"/>
                  </a:lnTo>
                  <a:lnTo>
                    <a:pt x="244" y="102"/>
                  </a:lnTo>
                  <a:lnTo>
                    <a:pt x="241" y="99"/>
                  </a:lnTo>
                  <a:lnTo>
                    <a:pt x="239" y="101"/>
                  </a:lnTo>
                  <a:lnTo>
                    <a:pt x="236" y="105"/>
                  </a:lnTo>
                  <a:lnTo>
                    <a:pt x="232" y="106"/>
                  </a:lnTo>
                  <a:lnTo>
                    <a:pt x="231" y="109"/>
                  </a:lnTo>
                  <a:lnTo>
                    <a:pt x="231" y="117"/>
                  </a:lnTo>
                  <a:lnTo>
                    <a:pt x="222" y="118"/>
                  </a:lnTo>
                  <a:lnTo>
                    <a:pt x="219" y="121"/>
                  </a:lnTo>
                  <a:lnTo>
                    <a:pt x="218" y="119"/>
                  </a:lnTo>
                  <a:lnTo>
                    <a:pt x="212" y="122"/>
                  </a:lnTo>
                  <a:lnTo>
                    <a:pt x="212" y="125"/>
                  </a:lnTo>
                  <a:lnTo>
                    <a:pt x="209" y="124"/>
                  </a:lnTo>
                  <a:lnTo>
                    <a:pt x="203" y="127"/>
                  </a:lnTo>
                  <a:lnTo>
                    <a:pt x="202" y="127"/>
                  </a:lnTo>
                  <a:lnTo>
                    <a:pt x="202" y="125"/>
                  </a:lnTo>
                  <a:lnTo>
                    <a:pt x="199" y="127"/>
                  </a:lnTo>
                  <a:lnTo>
                    <a:pt x="196" y="127"/>
                  </a:lnTo>
                  <a:lnTo>
                    <a:pt x="193" y="131"/>
                  </a:lnTo>
                  <a:lnTo>
                    <a:pt x="191" y="131"/>
                  </a:lnTo>
                  <a:lnTo>
                    <a:pt x="189" y="137"/>
                  </a:lnTo>
                  <a:lnTo>
                    <a:pt x="186" y="137"/>
                  </a:lnTo>
                  <a:lnTo>
                    <a:pt x="187" y="137"/>
                  </a:lnTo>
                  <a:lnTo>
                    <a:pt x="189" y="135"/>
                  </a:lnTo>
                  <a:lnTo>
                    <a:pt x="190" y="134"/>
                  </a:lnTo>
                  <a:lnTo>
                    <a:pt x="189" y="130"/>
                  </a:lnTo>
                  <a:lnTo>
                    <a:pt x="187" y="130"/>
                  </a:lnTo>
                  <a:lnTo>
                    <a:pt x="186" y="134"/>
                  </a:lnTo>
                  <a:lnTo>
                    <a:pt x="184" y="137"/>
                  </a:lnTo>
                  <a:lnTo>
                    <a:pt x="184" y="143"/>
                  </a:lnTo>
                  <a:lnTo>
                    <a:pt x="183" y="143"/>
                  </a:lnTo>
                  <a:lnTo>
                    <a:pt x="183" y="141"/>
                  </a:lnTo>
                  <a:lnTo>
                    <a:pt x="181" y="138"/>
                  </a:lnTo>
                  <a:lnTo>
                    <a:pt x="181" y="138"/>
                  </a:lnTo>
                  <a:lnTo>
                    <a:pt x="181" y="137"/>
                  </a:lnTo>
                  <a:lnTo>
                    <a:pt x="180" y="138"/>
                  </a:lnTo>
                  <a:lnTo>
                    <a:pt x="178" y="140"/>
                  </a:lnTo>
                  <a:lnTo>
                    <a:pt x="178" y="140"/>
                  </a:lnTo>
                  <a:lnTo>
                    <a:pt x="178" y="138"/>
                  </a:lnTo>
                  <a:lnTo>
                    <a:pt x="178" y="137"/>
                  </a:lnTo>
                  <a:lnTo>
                    <a:pt x="174" y="137"/>
                  </a:lnTo>
                  <a:lnTo>
                    <a:pt x="174" y="137"/>
                  </a:lnTo>
                  <a:lnTo>
                    <a:pt x="174" y="134"/>
                  </a:lnTo>
                  <a:lnTo>
                    <a:pt x="173" y="133"/>
                  </a:lnTo>
                  <a:lnTo>
                    <a:pt x="173" y="137"/>
                  </a:lnTo>
                  <a:lnTo>
                    <a:pt x="173" y="137"/>
                  </a:lnTo>
                  <a:lnTo>
                    <a:pt x="167" y="135"/>
                  </a:lnTo>
                  <a:lnTo>
                    <a:pt x="170" y="138"/>
                  </a:lnTo>
                  <a:lnTo>
                    <a:pt x="171" y="137"/>
                  </a:lnTo>
                  <a:lnTo>
                    <a:pt x="171" y="138"/>
                  </a:lnTo>
                  <a:lnTo>
                    <a:pt x="173" y="140"/>
                  </a:lnTo>
                  <a:lnTo>
                    <a:pt x="173" y="141"/>
                  </a:lnTo>
                  <a:lnTo>
                    <a:pt x="173" y="143"/>
                  </a:lnTo>
                  <a:lnTo>
                    <a:pt x="174" y="141"/>
                  </a:lnTo>
                  <a:lnTo>
                    <a:pt x="174" y="140"/>
                  </a:lnTo>
                  <a:lnTo>
                    <a:pt x="177" y="140"/>
                  </a:lnTo>
                  <a:lnTo>
                    <a:pt x="178" y="141"/>
                  </a:lnTo>
                  <a:lnTo>
                    <a:pt x="180" y="141"/>
                  </a:lnTo>
                  <a:lnTo>
                    <a:pt x="178" y="144"/>
                  </a:lnTo>
                  <a:lnTo>
                    <a:pt x="178" y="144"/>
                  </a:lnTo>
                  <a:lnTo>
                    <a:pt x="180" y="144"/>
                  </a:lnTo>
                  <a:lnTo>
                    <a:pt x="181" y="144"/>
                  </a:lnTo>
                  <a:lnTo>
                    <a:pt x="180" y="147"/>
                  </a:lnTo>
                  <a:lnTo>
                    <a:pt x="184" y="146"/>
                  </a:lnTo>
                  <a:lnTo>
                    <a:pt x="186" y="149"/>
                  </a:lnTo>
                  <a:lnTo>
                    <a:pt x="186" y="154"/>
                  </a:lnTo>
                  <a:lnTo>
                    <a:pt x="187" y="153"/>
                  </a:lnTo>
                  <a:lnTo>
                    <a:pt x="191" y="154"/>
                  </a:lnTo>
                  <a:lnTo>
                    <a:pt x="191" y="153"/>
                  </a:lnTo>
                  <a:lnTo>
                    <a:pt x="194" y="154"/>
                  </a:lnTo>
                  <a:lnTo>
                    <a:pt x="197" y="151"/>
                  </a:lnTo>
                  <a:lnTo>
                    <a:pt x="199" y="151"/>
                  </a:lnTo>
                  <a:lnTo>
                    <a:pt x="200" y="153"/>
                  </a:lnTo>
                  <a:lnTo>
                    <a:pt x="202" y="151"/>
                  </a:lnTo>
                  <a:lnTo>
                    <a:pt x="204" y="150"/>
                  </a:lnTo>
                  <a:lnTo>
                    <a:pt x="207" y="151"/>
                  </a:lnTo>
                  <a:lnTo>
                    <a:pt x="207" y="153"/>
                  </a:lnTo>
                  <a:lnTo>
                    <a:pt x="206" y="154"/>
                  </a:lnTo>
                  <a:lnTo>
                    <a:pt x="206" y="159"/>
                  </a:lnTo>
                  <a:lnTo>
                    <a:pt x="202" y="159"/>
                  </a:lnTo>
                  <a:lnTo>
                    <a:pt x="200" y="160"/>
                  </a:lnTo>
                  <a:lnTo>
                    <a:pt x="193" y="157"/>
                  </a:lnTo>
                  <a:lnTo>
                    <a:pt x="186" y="164"/>
                  </a:lnTo>
                  <a:lnTo>
                    <a:pt x="183" y="163"/>
                  </a:lnTo>
                  <a:lnTo>
                    <a:pt x="178" y="164"/>
                  </a:lnTo>
                  <a:lnTo>
                    <a:pt x="180" y="166"/>
                  </a:lnTo>
                  <a:lnTo>
                    <a:pt x="178" y="166"/>
                  </a:lnTo>
                  <a:lnTo>
                    <a:pt x="177" y="167"/>
                  </a:lnTo>
                  <a:lnTo>
                    <a:pt x="177" y="169"/>
                  </a:lnTo>
                  <a:lnTo>
                    <a:pt x="175" y="170"/>
                  </a:lnTo>
                  <a:lnTo>
                    <a:pt x="174" y="170"/>
                  </a:lnTo>
                  <a:lnTo>
                    <a:pt x="171" y="172"/>
                  </a:lnTo>
                  <a:lnTo>
                    <a:pt x="167" y="172"/>
                  </a:lnTo>
                  <a:lnTo>
                    <a:pt x="167" y="172"/>
                  </a:lnTo>
                  <a:lnTo>
                    <a:pt x="162" y="169"/>
                  </a:lnTo>
                  <a:lnTo>
                    <a:pt x="164" y="167"/>
                  </a:lnTo>
                  <a:lnTo>
                    <a:pt x="164" y="160"/>
                  </a:lnTo>
                  <a:lnTo>
                    <a:pt x="162" y="157"/>
                  </a:lnTo>
                  <a:lnTo>
                    <a:pt x="161" y="156"/>
                  </a:lnTo>
                  <a:lnTo>
                    <a:pt x="159" y="157"/>
                  </a:lnTo>
                  <a:lnTo>
                    <a:pt x="155" y="153"/>
                  </a:lnTo>
                  <a:lnTo>
                    <a:pt x="151" y="153"/>
                  </a:lnTo>
                  <a:lnTo>
                    <a:pt x="151" y="151"/>
                  </a:lnTo>
                  <a:lnTo>
                    <a:pt x="151" y="150"/>
                  </a:lnTo>
                  <a:lnTo>
                    <a:pt x="154" y="149"/>
                  </a:lnTo>
                  <a:lnTo>
                    <a:pt x="159" y="144"/>
                  </a:lnTo>
                  <a:lnTo>
                    <a:pt x="167" y="141"/>
                  </a:lnTo>
                  <a:lnTo>
                    <a:pt x="168" y="141"/>
                  </a:lnTo>
                  <a:lnTo>
                    <a:pt x="167" y="140"/>
                  </a:lnTo>
                  <a:lnTo>
                    <a:pt x="167" y="138"/>
                  </a:lnTo>
                  <a:lnTo>
                    <a:pt x="164" y="137"/>
                  </a:lnTo>
                  <a:lnTo>
                    <a:pt x="164" y="138"/>
                  </a:lnTo>
                  <a:lnTo>
                    <a:pt x="161" y="137"/>
                  </a:lnTo>
                  <a:lnTo>
                    <a:pt x="161" y="135"/>
                  </a:lnTo>
                  <a:lnTo>
                    <a:pt x="158" y="137"/>
                  </a:lnTo>
                  <a:lnTo>
                    <a:pt x="158" y="137"/>
                  </a:lnTo>
                  <a:lnTo>
                    <a:pt x="151" y="138"/>
                  </a:lnTo>
                  <a:lnTo>
                    <a:pt x="146" y="137"/>
                  </a:lnTo>
                  <a:lnTo>
                    <a:pt x="145" y="135"/>
                  </a:lnTo>
                  <a:lnTo>
                    <a:pt x="144" y="135"/>
                  </a:lnTo>
                  <a:lnTo>
                    <a:pt x="141" y="135"/>
                  </a:lnTo>
                  <a:lnTo>
                    <a:pt x="139" y="134"/>
                  </a:lnTo>
                  <a:lnTo>
                    <a:pt x="144" y="131"/>
                  </a:lnTo>
                  <a:lnTo>
                    <a:pt x="142" y="131"/>
                  </a:lnTo>
                  <a:lnTo>
                    <a:pt x="139" y="131"/>
                  </a:lnTo>
                  <a:lnTo>
                    <a:pt x="138" y="130"/>
                  </a:lnTo>
                  <a:lnTo>
                    <a:pt x="139" y="130"/>
                  </a:lnTo>
                  <a:lnTo>
                    <a:pt x="145" y="130"/>
                  </a:lnTo>
                  <a:lnTo>
                    <a:pt x="146" y="130"/>
                  </a:lnTo>
                  <a:lnTo>
                    <a:pt x="145" y="128"/>
                  </a:lnTo>
                  <a:lnTo>
                    <a:pt x="144" y="128"/>
                  </a:lnTo>
                  <a:lnTo>
                    <a:pt x="141" y="124"/>
                  </a:lnTo>
                  <a:lnTo>
                    <a:pt x="141" y="125"/>
                  </a:lnTo>
                  <a:lnTo>
                    <a:pt x="136" y="127"/>
                  </a:lnTo>
                  <a:lnTo>
                    <a:pt x="136" y="124"/>
                  </a:lnTo>
                  <a:lnTo>
                    <a:pt x="132" y="127"/>
                  </a:lnTo>
                  <a:lnTo>
                    <a:pt x="125" y="130"/>
                  </a:lnTo>
                  <a:lnTo>
                    <a:pt x="123" y="131"/>
                  </a:lnTo>
                  <a:lnTo>
                    <a:pt x="120" y="137"/>
                  </a:lnTo>
                  <a:lnTo>
                    <a:pt x="120" y="135"/>
                  </a:lnTo>
                  <a:lnTo>
                    <a:pt x="119" y="134"/>
                  </a:lnTo>
                  <a:lnTo>
                    <a:pt x="117" y="134"/>
                  </a:lnTo>
                  <a:lnTo>
                    <a:pt x="116" y="133"/>
                  </a:lnTo>
                  <a:lnTo>
                    <a:pt x="116" y="134"/>
                  </a:lnTo>
                  <a:lnTo>
                    <a:pt x="119" y="135"/>
                  </a:lnTo>
                  <a:lnTo>
                    <a:pt x="119" y="138"/>
                  </a:lnTo>
                  <a:lnTo>
                    <a:pt x="116" y="143"/>
                  </a:lnTo>
                  <a:lnTo>
                    <a:pt x="113" y="143"/>
                  </a:lnTo>
                  <a:lnTo>
                    <a:pt x="112" y="144"/>
                  </a:lnTo>
                  <a:lnTo>
                    <a:pt x="110" y="146"/>
                  </a:lnTo>
                  <a:lnTo>
                    <a:pt x="110" y="147"/>
                  </a:lnTo>
                  <a:lnTo>
                    <a:pt x="109" y="147"/>
                  </a:lnTo>
                  <a:lnTo>
                    <a:pt x="109" y="144"/>
                  </a:lnTo>
                  <a:lnTo>
                    <a:pt x="109" y="143"/>
                  </a:lnTo>
                  <a:lnTo>
                    <a:pt x="109" y="151"/>
                  </a:lnTo>
                  <a:lnTo>
                    <a:pt x="109" y="153"/>
                  </a:lnTo>
                  <a:lnTo>
                    <a:pt x="107" y="151"/>
                  </a:lnTo>
                  <a:lnTo>
                    <a:pt x="104" y="151"/>
                  </a:lnTo>
                  <a:lnTo>
                    <a:pt x="99" y="153"/>
                  </a:lnTo>
                  <a:lnTo>
                    <a:pt x="96" y="154"/>
                  </a:lnTo>
                  <a:lnTo>
                    <a:pt x="93" y="154"/>
                  </a:lnTo>
                  <a:lnTo>
                    <a:pt x="90" y="150"/>
                  </a:lnTo>
                  <a:lnTo>
                    <a:pt x="87" y="151"/>
                  </a:lnTo>
                  <a:lnTo>
                    <a:pt x="87" y="150"/>
                  </a:lnTo>
                  <a:lnTo>
                    <a:pt x="90" y="150"/>
                  </a:lnTo>
                  <a:lnTo>
                    <a:pt x="91" y="149"/>
                  </a:lnTo>
                  <a:lnTo>
                    <a:pt x="91" y="147"/>
                  </a:lnTo>
                  <a:lnTo>
                    <a:pt x="93" y="144"/>
                  </a:lnTo>
                  <a:lnTo>
                    <a:pt x="94" y="143"/>
                  </a:lnTo>
                  <a:lnTo>
                    <a:pt x="94" y="141"/>
                  </a:lnTo>
                  <a:lnTo>
                    <a:pt x="96" y="140"/>
                  </a:lnTo>
                  <a:lnTo>
                    <a:pt x="97" y="138"/>
                  </a:lnTo>
                  <a:lnTo>
                    <a:pt x="99" y="133"/>
                  </a:lnTo>
                  <a:lnTo>
                    <a:pt x="100" y="131"/>
                  </a:lnTo>
                  <a:lnTo>
                    <a:pt x="101" y="130"/>
                  </a:lnTo>
                  <a:lnTo>
                    <a:pt x="103" y="131"/>
                  </a:lnTo>
                  <a:lnTo>
                    <a:pt x="104" y="130"/>
                  </a:lnTo>
                  <a:lnTo>
                    <a:pt x="110" y="131"/>
                  </a:lnTo>
                  <a:lnTo>
                    <a:pt x="112" y="131"/>
                  </a:lnTo>
                  <a:lnTo>
                    <a:pt x="113" y="128"/>
                  </a:lnTo>
                  <a:lnTo>
                    <a:pt x="112" y="127"/>
                  </a:lnTo>
                  <a:lnTo>
                    <a:pt x="113" y="125"/>
                  </a:lnTo>
                  <a:lnTo>
                    <a:pt x="112" y="122"/>
                  </a:lnTo>
                  <a:lnTo>
                    <a:pt x="112" y="121"/>
                  </a:lnTo>
                  <a:lnTo>
                    <a:pt x="107" y="119"/>
                  </a:lnTo>
                  <a:lnTo>
                    <a:pt x="106" y="115"/>
                  </a:lnTo>
                  <a:lnTo>
                    <a:pt x="106" y="114"/>
                  </a:lnTo>
                  <a:lnTo>
                    <a:pt x="106" y="111"/>
                  </a:lnTo>
                  <a:lnTo>
                    <a:pt x="103" y="111"/>
                  </a:lnTo>
                  <a:lnTo>
                    <a:pt x="103" y="109"/>
                  </a:lnTo>
                  <a:lnTo>
                    <a:pt x="101" y="108"/>
                  </a:lnTo>
                  <a:lnTo>
                    <a:pt x="101" y="99"/>
                  </a:lnTo>
                  <a:lnTo>
                    <a:pt x="100" y="98"/>
                  </a:lnTo>
                  <a:lnTo>
                    <a:pt x="99" y="98"/>
                  </a:lnTo>
                  <a:lnTo>
                    <a:pt x="96" y="95"/>
                  </a:lnTo>
                  <a:lnTo>
                    <a:pt x="93" y="95"/>
                  </a:lnTo>
                  <a:lnTo>
                    <a:pt x="90" y="95"/>
                  </a:lnTo>
                  <a:lnTo>
                    <a:pt x="87" y="95"/>
                  </a:lnTo>
                  <a:lnTo>
                    <a:pt x="81" y="89"/>
                  </a:lnTo>
                  <a:lnTo>
                    <a:pt x="77" y="87"/>
                  </a:lnTo>
                  <a:lnTo>
                    <a:pt x="69" y="89"/>
                  </a:lnTo>
                  <a:lnTo>
                    <a:pt x="68" y="89"/>
                  </a:lnTo>
                  <a:lnTo>
                    <a:pt x="67" y="90"/>
                  </a:lnTo>
                  <a:lnTo>
                    <a:pt x="65" y="9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18" name="Freeform 949"/>
            <p:cNvSpPr>
              <a:spLocks/>
            </p:cNvSpPr>
            <p:nvPr/>
          </p:nvSpPr>
          <p:spPr bwMode="auto">
            <a:xfrm>
              <a:off x="6197094" y="2473461"/>
              <a:ext cx="57056" cy="38536"/>
            </a:xfrm>
            <a:custGeom>
              <a:avLst/>
              <a:gdLst/>
              <a:ahLst/>
              <a:cxnLst>
                <a:cxn ang="0">
                  <a:pos x="14" y="37"/>
                </a:cxn>
                <a:cxn ang="0">
                  <a:pos x="13" y="34"/>
                </a:cxn>
                <a:cxn ang="0">
                  <a:pos x="11" y="34"/>
                </a:cxn>
                <a:cxn ang="0">
                  <a:pos x="10" y="27"/>
                </a:cxn>
                <a:cxn ang="0">
                  <a:pos x="10" y="25"/>
                </a:cxn>
                <a:cxn ang="0">
                  <a:pos x="6" y="25"/>
                </a:cxn>
                <a:cxn ang="0">
                  <a:pos x="3" y="31"/>
                </a:cxn>
                <a:cxn ang="0">
                  <a:pos x="0" y="31"/>
                </a:cxn>
                <a:cxn ang="0">
                  <a:pos x="0" y="31"/>
                </a:cxn>
                <a:cxn ang="0">
                  <a:pos x="1" y="22"/>
                </a:cxn>
                <a:cxn ang="0">
                  <a:pos x="1" y="21"/>
                </a:cxn>
                <a:cxn ang="0">
                  <a:pos x="3" y="19"/>
                </a:cxn>
                <a:cxn ang="0">
                  <a:pos x="4" y="18"/>
                </a:cxn>
                <a:cxn ang="0">
                  <a:pos x="6" y="18"/>
                </a:cxn>
                <a:cxn ang="0">
                  <a:pos x="6" y="15"/>
                </a:cxn>
                <a:cxn ang="0">
                  <a:pos x="13" y="6"/>
                </a:cxn>
                <a:cxn ang="0">
                  <a:pos x="13" y="5"/>
                </a:cxn>
                <a:cxn ang="0">
                  <a:pos x="13" y="3"/>
                </a:cxn>
                <a:cxn ang="0">
                  <a:pos x="17" y="3"/>
                </a:cxn>
                <a:cxn ang="0">
                  <a:pos x="20" y="2"/>
                </a:cxn>
                <a:cxn ang="0">
                  <a:pos x="22" y="0"/>
                </a:cxn>
                <a:cxn ang="0">
                  <a:pos x="23" y="2"/>
                </a:cxn>
                <a:cxn ang="0">
                  <a:pos x="39" y="0"/>
                </a:cxn>
                <a:cxn ang="0">
                  <a:pos x="49" y="3"/>
                </a:cxn>
                <a:cxn ang="0">
                  <a:pos x="51" y="5"/>
                </a:cxn>
                <a:cxn ang="0">
                  <a:pos x="49" y="11"/>
                </a:cxn>
                <a:cxn ang="0">
                  <a:pos x="52" y="13"/>
                </a:cxn>
                <a:cxn ang="0">
                  <a:pos x="56" y="16"/>
                </a:cxn>
                <a:cxn ang="0">
                  <a:pos x="58" y="16"/>
                </a:cxn>
                <a:cxn ang="0">
                  <a:pos x="61" y="15"/>
                </a:cxn>
                <a:cxn ang="0">
                  <a:pos x="62" y="16"/>
                </a:cxn>
                <a:cxn ang="0">
                  <a:pos x="61" y="19"/>
                </a:cxn>
                <a:cxn ang="0">
                  <a:pos x="62" y="21"/>
                </a:cxn>
                <a:cxn ang="0">
                  <a:pos x="61" y="22"/>
                </a:cxn>
                <a:cxn ang="0">
                  <a:pos x="58" y="22"/>
                </a:cxn>
                <a:cxn ang="0">
                  <a:pos x="58" y="24"/>
                </a:cxn>
                <a:cxn ang="0">
                  <a:pos x="58" y="25"/>
                </a:cxn>
                <a:cxn ang="0">
                  <a:pos x="58" y="27"/>
                </a:cxn>
                <a:cxn ang="0">
                  <a:pos x="58" y="28"/>
                </a:cxn>
                <a:cxn ang="0">
                  <a:pos x="49" y="27"/>
                </a:cxn>
                <a:cxn ang="0">
                  <a:pos x="48" y="25"/>
                </a:cxn>
                <a:cxn ang="0">
                  <a:pos x="46" y="25"/>
                </a:cxn>
                <a:cxn ang="0">
                  <a:pos x="45" y="28"/>
                </a:cxn>
                <a:cxn ang="0">
                  <a:pos x="43" y="32"/>
                </a:cxn>
                <a:cxn ang="0">
                  <a:pos x="42" y="35"/>
                </a:cxn>
                <a:cxn ang="0">
                  <a:pos x="42" y="37"/>
                </a:cxn>
                <a:cxn ang="0">
                  <a:pos x="40" y="35"/>
                </a:cxn>
                <a:cxn ang="0">
                  <a:pos x="39" y="32"/>
                </a:cxn>
                <a:cxn ang="0">
                  <a:pos x="35" y="31"/>
                </a:cxn>
                <a:cxn ang="0">
                  <a:pos x="33" y="25"/>
                </a:cxn>
                <a:cxn ang="0">
                  <a:pos x="30" y="28"/>
                </a:cxn>
                <a:cxn ang="0">
                  <a:pos x="29" y="29"/>
                </a:cxn>
                <a:cxn ang="0">
                  <a:pos x="29" y="31"/>
                </a:cxn>
                <a:cxn ang="0">
                  <a:pos x="26" y="35"/>
                </a:cxn>
                <a:cxn ang="0">
                  <a:pos x="14" y="37"/>
                </a:cxn>
              </a:cxnLst>
              <a:rect l="0" t="0" r="r" b="b"/>
              <a:pathLst>
                <a:path w="62" h="37">
                  <a:moveTo>
                    <a:pt x="14" y="37"/>
                  </a:moveTo>
                  <a:lnTo>
                    <a:pt x="13" y="34"/>
                  </a:lnTo>
                  <a:lnTo>
                    <a:pt x="11" y="34"/>
                  </a:lnTo>
                  <a:lnTo>
                    <a:pt x="10" y="27"/>
                  </a:lnTo>
                  <a:lnTo>
                    <a:pt x="10" y="25"/>
                  </a:lnTo>
                  <a:lnTo>
                    <a:pt x="6" y="25"/>
                  </a:lnTo>
                  <a:lnTo>
                    <a:pt x="3" y="31"/>
                  </a:lnTo>
                  <a:lnTo>
                    <a:pt x="0" y="31"/>
                  </a:lnTo>
                  <a:lnTo>
                    <a:pt x="0" y="31"/>
                  </a:lnTo>
                  <a:lnTo>
                    <a:pt x="1" y="22"/>
                  </a:lnTo>
                  <a:lnTo>
                    <a:pt x="1" y="21"/>
                  </a:lnTo>
                  <a:lnTo>
                    <a:pt x="3" y="19"/>
                  </a:lnTo>
                  <a:lnTo>
                    <a:pt x="4" y="18"/>
                  </a:lnTo>
                  <a:lnTo>
                    <a:pt x="6" y="18"/>
                  </a:lnTo>
                  <a:lnTo>
                    <a:pt x="6" y="15"/>
                  </a:lnTo>
                  <a:lnTo>
                    <a:pt x="13" y="6"/>
                  </a:lnTo>
                  <a:lnTo>
                    <a:pt x="13" y="5"/>
                  </a:lnTo>
                  <a:lnTo>
                    <a:pt x="13" y="3"/>
                  </a:lnTo>
                  <a:lnTo>
                    <a:pt x="17" y="3"/>
                  </a:lnTo>
                  <a:lnTo>
                    <a:pt x="20" y="2"/>
                  </a:lnTo>
                  <a:lnTo>
                    <a:pt x="22" y="0"/>
                  </a:lnTo>
                  <a:lnTo>
                    <a:pt x="23" y="2"/>
                  </a:lnTo>
                  <a:lnTo>
                    <a:pt x="39" y="0"/>
                  </a:lnTo>
                  <a:lnTo>
                    <a:pt x="49" y="3"/>
                  </a:lnTo>
                  <a:lnTo>
                    <a:pt x="51" y="5"/>
                  </a:lnTo>
                  <a:lnTo>
                    <a:pt x="49" y="11"/>
                  </a:lnTo>
                  <a:lnTo>
                    <a:pt x="52" y="13"/>
                  </a:lnTo>
                  <a:lnTo>
                    <a:pt x="56" y="16"/>
                  </a:lnTo>
                  <a:lnTo>
                    <a:pt x="58" y="16"/>
                  </a:lnTo>
                  <a:lnTo>
                    <a:pt x="61" y="15"/>
                  </a:lnTo>
                  <a:lnTo>
                    <a:pt x="62" y="16"/>
                  </a:lnTo>
                  <a:lnTo>
                    <a:pt x="61" y="19"/>
                  </a:lnTo>
                  <a:lnTo>
                    <a:pt x="62" y="21"/>
                  </a:lnTo>
                  <a:lnTo>
                    <a:pt x="61" y="22"/>
                  </a:lnTo>
                  <a:lnTo>
                    <a:pt x="58" y="22"/>
                  </a:lnTo>
                  <a:lnTo>
                    <a:pt x="58" y="24"/>
                  </a:lnTo>
                  <a:lnTo>
                    <a:pt x="58" y="25"/>
                  </a:lnTo>
                  <a:lnTo>
                    <a:pt x="58" y="27"/>
                  </a:lnTo>
                  <a:lnTo>
                    <a:pt x="58" y="28"/>
                  </a:lnTo>
                  <a:lnTo>
                    <a:pt x="49" y="27"/>
                  </a:lnTo>
                  <a:lnTo>
                    <a:pt x="48" y="25"/>
                  </a:lnTo>
                  <a:lnTo>
                    <a:pt x="46" y="25"/>
                  </a:lnTo>
                  <a:lnTo>
                    <a:pt x="45" y="28"/>
                  </a:lnTo>
                  <a:lnTo>
                    <a:pt x="43" y="32"/>
                  </a:lnTo>
                  <a:lnTo>
                    <a:pt x="42" y="35"/>
                  </a:lnTo>
                  <a:lnTo>
                    <a:pt x="42" y="37"/>
                  </a:lnTo>
                  <a:lnTo>
                    <a:pt x="40" y="35"/>
                  </a:lnTo>
                  <a:lnTo>
                    <a:pt x="39" y="32"/>
                  </a:lnTo>
                  <a:lnTo>
                    <a:pt x="35" y="31"/>
                  </a:lnTo>
                  <a:lnTo>
                    <a:pt x="33" y="25"/>
                  </a:lnTo>
                  <a:lnTo>
                    <a:pt x="30" y="28"/>
                  </a:lnTo>
                  <a:lnTo>
                    <a:pt x="29" y="29"/>
                  </a:lnTo>
                  <a:lnTo>
                    <a:pt x="29" y="31"/>
                  </a:lnTo>
                  <a:lnTo>
                    <a:pt x="26" y="35"/>
                  </a:lnTo>
                  <a:lnTo>
                    <a:pt x="14" y="3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19" name="Freeform 950"/>
            <p:cNvSpPr>
              <a:spLocks/>
            </p:cNvSpPr>
            <p:nvPr/>
          </p:nvSpPr>
          <p:spPr bwMode="auto">
            <a:xfrm>
              <a:off x="6197094" y="2473461"/>
              <a:ext cx="57056" cy="38536"/>
            </a:xfrm>
            <a:custGeom>
              <a:avLst/>
              <a:gdLst/>
              <a:ahLst/>
              <a:cxnLst>
                <a:cxn ang="0">
                  <a:pos x="14" y="37"/>
                </a:cxn>
                <a:cxn ang="0">
                  <a:pos x="13" y="34"/>
                </a:cxn>
                <a:cxn ang="0">
                  <a:pos x="11" y="34"/>
                </a:cxn>
                <a:cxn ang="0">
                  <a:pos x="10" y="27"/>
                </a:cxn>
                <a:cxn ang="0">
                  <a:pos x="10" y="25"/>
                </a:cxn>
                <a:cxn ang="0">
                  <a:pos x="6" y="25"/>
                </a:cxn>
                <a:cxn ang="0">
                  <a:pos x="3" y="31"/>
                </a:cxn>
                <a:cxn ang="0">
                  <a:pos x="0" y="31"/>
                </a:cxn>
                <a:cxn ang="0">
                  <a:pos x="0" y="31"/>
                </a:cxn>
                <a:cxn ang="0">
                  <a:pos x="1" y="22"/>
                </a:cxn>
                <a:cxn ang="0">
                  <a:pos x="1" y="21"/>
                </a:cxn>
                <a:cxn ang="0">
                  <a:pos x="3" y="19"/>
                </a:cxn>
                <a:cxn ang="0">
                  <a:pos x="4" y="18"/>
                </a:cxn>
                <a:cxn ang="0">
                  <a:pos x="6" y="18"/>
                </a:cxn>
                <a:cxn ang="0">
                  <a:pos x="6" y="15"/>
                </a:cxn>
                <a:cxn ang="0">
                  <a:pos x="13" y="6"/>
                </a:cxn>
                <a:cxn ang="0">
                  <a:pos x="13" y="5"/>
                </a:cxn>
                <a:cxn ang="0">
                  <a:pos x="13" y="3"/>
                </a:cxn>
                <a:cxn ang="0">
                  <a:pos x="17" y="3"/>
                </a:cxn>
                <a:cxn ang="0">
                  <a:pos x="20" y="2"/>
                </a:cxn>
                <a:cxn ang="0">
                  <a:pos x="22" y="0"/>
                </a:cxn>
                <a:cxn ang="0">
                  <a:pos x="23" y="2"/>
                </a:cxn>
                <a:cxn ang="0">
                  <a:pos x="39" y="0"/>
                </a:cxn>
                <a:cxn ang="0">
                  <a:pos x="49" y="3"/>
                </a:cxn>
                <a:cxn ang="0">
                  <a:pos x="51" y="5"/>
                </a:cxn>
                <a:cxn ang="0">
                  <a:pos x="49" y="11"/>
                </a:cxn>
                <a:cxn ang="0">
                  <a:pos x="52" y="13"/>
                </a:cxn>
                <a:cxn ang="0">
                  <a:pos x="56" y="16"/>
                </a:cxn>
                <a:cxn ang="0">
                  <a:pos x="58" y="16"/>
                </a:cxn>
                <a:cxn ang="0">
                  <a:pos x="61" y="15"/>
                </a:cxn>
                <a:cxn ang="0">
                  <a:pos x="62" y="16"/>
                </a:cxn>
                <a:cxn ang="0">
                  <a:pos x="61" y="19"/>
                </a:cxn>
                <a:cxn ang="0">
                  <a:pos x="62" y="21"/>
                </a:cxn>
                <a:cxn ang="0">
                  <a:pos x="61" y="22"/>
                </a:cxn>
                <a:cxn ang="0">
                  <a:pos x="58" y="22"/>
                </a:cxn>
                <a:cxn ang="0">
                  <a:pos x="58" y="24"/>
                </a:cxn>
                <a:cxn ang="0">
                  <a:pos x="58" y="25"/>
                </a:cxn>
                <a:cxn ang="0">
                  <a:pos x="58" y="27"/>
                </a:cxn>
                <a:cxn ang="0">
                  <a:pos x="58" y="28"/>
                </a:cxn>
                <a:cxn ang="0">
                  <a:pos x="49" y="27"/>
                </a:cxn>
                <a:cxn ang="0">
                  <a:pos x="48" y="25"/>
                </a:cxn>
                <a:cxn ang="0">
                  <a:pos x="46" y="25"/>
                </a:cxn>
                <a:cxn ang="0">
                  <a:pos x="45" y="28"/>
                </a:cxn>
                <a:cxn ang="0">
                  <a:pos x="43" y="32"/>
                </a:cxn>
                <a:cxn ang="0">
                  <a:pos x="42" y="35"/>
                </a:cxn>
                <a:cxn ang="0">
                  <a:pos x="42" y="37"/>
                </a:cxn>
                <a:cxn ang="0">
                  <a:pos x="40" y="35"/>
                </a:cxn>
                <a:cxn ang="0">
                  <a:pos x="39" y="32"/>
                </a:cxn>
                <a:cxn ang="0">
                  <a:pos x="35" y="31"/>
                </a:cxn>
                <a:cxn ang="0">
                  <a:pos x="33" y="25"/>
                </a:cxn>
                <a:cxn ang="0">
                  <a:pos x="30" y="28"/>
                </a:cxn>
                <a:cxn ang="0">
                  <a:pos x="29" y="29"/>
                </a:cxn>
                <a:cxn ang="0">
                  <a:pos x="29" y="31"/>
                </a:cxn>
                <a:cxn ang="0">
                  <a:pos x="26" y="35"/>
                </a:cxn>
                <a:cxn ang="0">
                  <a:pos x="14" y="37"/>
                </a:cxn>
              </a:cxnLst>
              <a:rect l="0" t="0" r="r" b="b"/>
              <a:pathLst>
                <a:path w="62" h="37">
                  <a:moveTo>
                    <a:pt x="14" y="37"/>
                  </a:moveTo>
                  <a:lnTo>
                    <a:pt x="13" y="34"/>
                  </a:lnTo>
                  <a:lnTo>
                    <a:pt x="11" y="34"/>
                  </a:lnTo>
                  <a:lnTo>
                    <a:pt x="10" y="27"/>
                  </a:lnTo>
                  <a:lnTo>
                    <a:pt x="10" y="25"/>
                  </a:lnTo>
                  <a:lnTo>
                    <a:pt x="6" y="25"/>
                  </a:lnTo>
                  <a:lnTo>
                    <a:pt x="3" y="31"/>
                  </a:lnTo>
                  <a:lnTo>
                    <a:pt x="0" y="31"/>
                  </a:lnTo>
                  <a:lnTo>
                    <a:pt x="0" y="31"/>
                  </a:lnTo>
                  <a:lnTo>
                    <a:pt x="1" y="22"/>
                  </a:lnTo>
                  <a:lnTo>
                    <a:pt x="1" y="21"/>
                  </a:lnTo>
                  <a:lnTo>
                    <a:pt x="3" y="19"/>
                  </a:lnTo>
                  <a:lnTo>
                    <a:pt x="4" y="18"/>
                  </a:lnTo>
                  <a:lnTo>
                    <a:pt x="6" y="18"/>
                  </a:lnTo>
                  <a:lnTo>
                    <a:pt x="6" y="15"/>
                  </a:lnTo>
                  <a:lnTo>
                    <a:pt x="13" y="6"/>
                  </a:lnTo>
                  <a:lnTo>
                    <a:pt x="13" y="5"/>
                  </a:lnTo>
                  <a:lnTo>
                    <a:pt x="13" y="3"/>
                  </a:lnTo>
                  <a:lnTo>
                    <a:pt x="17" y="3"/>
                  </a:lnTo>
                  <a:lnTo>
                    <a:pt x="20" y="2"/>
                  </a:lnTo>
                  <a:lnTo>
                    <a:pt x="22" y="0"/>
                  </a:lnTo>
                  <a:lnTo>
                    <a:pt x="23" y="2"/>
                  </a:lnTo>
                  <a:lnTo>
                    <a:pt x="39" y="0"/>
                  </a:lnTo>
                  <a:lnTo>
                    <a:pt x="49" y="3"/>
                  </a:lnTo>
                  <a:lnTo>
                    <a:pt x="51" y="5"/>
                  </a:lnTo>
                  <a:lnTo>
                    <a:pt x="49" y="11"/>
                  </a:lnTo>
                  <a:lnTo>
                    <a:pt x="52" y="13"/>
                  </a:lnTo>
                  <a:lnTo>
                    <a:pt x="56" y="16"/>
                  </a:lnTo>
                  <a:lnTo>
                    <a:pt x="58" y="16"/>
                  </a:lnTo>
                  <a:lnTo>
                    <a:pt x="61" y="15"/>
                  </a:lnTo>
                  <a:lnTo>
                    <a:pt x="62" y="16"/>
                  </a:lnTo>
                  <a:lnTo>
                    <a:pt x="61" y="19"/>
                  </a:lnTo>
                  <a:lnTo>
                    <a:pt x="62" y="21"/>
                  </a:lnTo>
                  <a:lnTo>
                    <a:pt x="61" y="22"/>
                  </a:lnTo>
                  <a:lnTo>
                    <a:pt x="58" y="22"/>
                  </a:lnTo>
                  <a:lnTo>
                    <a:pt x="58" y="24"/>
                  </a:lnTo>
                  <a:lnTo>
                    <a:pt x="58" y="25"/>
                  </a:lnTo>
                  <a:lnTo>
                    <a:pt x="58" y="27"/>
                  </a:lnTo>
                  <a:lnTo>
                    <a:pt x="58" y="28"/>
                  </a:lnTo>
                  <a:lnTo>
                    <a:pt x="49" y="27"/>
                  </a:lnTo>
                  <a:lnTo>
                    <a:pt x="48" y="25"/>
                  </a:lnTo>
                  <a:lnTo>
                    <a:pt x="46" y="25"/>
                  </a:lnTo>
                  <a:lnTo>
                    <a:pt x="45" y="28"/>
                  </a:lnTo>
                  <a:lnTo>
                    <a:pt x="43" y="32"/>
                  </a:lnTo>
                  <a:lnTo>
                    <a:pt x="42" y="35"/>
                  </a:lnTo>
                  <a:lnTo>
                    <a:pt x="42" y="37"/>
                  </a:lnTo>
                  <a:lnTo>
                    <a:pt x="40" y="35"/>
                  </a:lnTo>
                  <a:lnTo>
                    <a:pt x="39" y="32"/>
                  </a:lnTo>
                  <a:lnTo>
                    <a:pt x="35" y="31"/>
                  </a:lnTo>
                  <a:lnTo>
                    <a:pt x="33" y="25"/>
                  </a:lnTo>
                  <a:lnTo>
                    <a:pt x="30" y="28"/>
                  </a:lnTo>
                  <a:lnTo>
                    <a:pt x="29" y="29"/>
                  </a:lnTo>
                  <a:lnTo>
                    <a:pt x="29" y="31"/>
                  </a:lnTo>
                  <a:lnTo>
                    <a:pt x="26" y="35"/>
                  </a:lnTo>
                  <a:lnTo>
                    <a:pt x="14" y="3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20" name="Freeform 953"/>
            <p:cNvSpPr>
              <a:spLocks/>
            </p:cNvSpPr>
            <p:nvPr/>
          </p:nvSpPr>
          <p:spPr bwMode="auto">
            <a:xfrm>
              <a:off x="6136525" y="2578930"/>
              <a:ext cx="6145" cy="3042"/>
            </a:xfrm>
            <a:custGeom>
              <a:avLst/>
              <a:gdLst/>
              <a:ahLst/>
              <a:cxnLst>
                <a:cxn ang="0">
                  <a:pos x="5" y="2"/>
                </a:cxn>
                <a:cxn ang="0">
                  <a:pos x="6" y="3"/>
                </a:cxn>
                <a:cxn ang="0">
                  <a:pos x="5" y="3"/>
                </a:cxn>
                <a:cxn ang="0">
                  <a:pos x="3" y="3"/>
                </a:cxn>
                <a:cxn ang="0">
                  <a:pos x="2" y="2"/>
                </a:cxn>
                <a:cxn ang="0">
                  <a:pos x="0" y="0"/>
                </a:cxn>
                <a:cxn ang="0">
                  <a:pos x="3" y="0"/>
                </a:cxn>
                <a:cxn ang="0">
                  <a:pos x="5" y="2"/>
                </a:cxn>
              </a:cxnLst>
              <a:rect l="0" t="0" r="r" b="b"/>
              <a:pathLst>
                <a:path w="6" h="3">
                  <a:moveTo>
                    <a:pt x="5" y="2"/>
                  </a:moveTo>
                  <a:lnTo>
                    <a:pt x="6" y="3"/>
                  </a:lnTo>
                  <a:lnTo>
                    <a:pt x="5" y="3"/>
                  </a:lnTo>
                  <a:lnTo>
                    <a:pt x="3" y="3"/>
                  </a:lnTo>
                  <a:lnTo>
                    <a:pt x="2" y="2"/>
                  </a:lnTo>
                  <a:lnTo>
                    <a:pt x="0" y="0"/>
                  </a:lnTo>
                  <a:lnTo>
                    <a:pt x="3" y="0"/>
                  </a:lnTo>
                  <a:lnTo>
                    <a:pt x="5"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21" name="Freeform 954"/>
            <p:cNvSpPr>
              <a:spLocks/>
            </p:cNvSpPr>
            <p:nvPr/>
          </p:nvSpPr>
          <p:spPr bwMode="auto">
            <a:xfrm>
              <a:off x="6136525" y="2578930"/>
              <a:ext cx="6145" cy="3042"/>
            </a:xfrm>
            <a:custGeom>
              <a:avLst/>
              <a:gdLst/>
              <a:ahLst/>
              <a:cxnLst>
                <a:cxn ang="0">
                  <a:pos x="5" y="2"/>
                </a:cxn>
                <a:cxn ang="0">
                  <a:pos x="6" y="3"/>
                </a:cxn>
                <a:cxn ang="0">
                  <a:pos x="5" y="3"/>
                </a:cxn>
                <a:cxn ang="0">
                  <a:pos x="3" y="3"/>
                </a:cxn>
                <a:cxn ang="0">
                  <a:pos x="2" y="2"/>
                </a:cxn>
                <a:cxn ang="0">
                  <a:pos x="0" y="0"/>
                </a:cxn>
                <a:cxn ang="0">
                  <a:pos x="3" y="0"/>
                </a:cxn>
                <a:cxn ang="0">
                  <a:pos x="5" y="2"/>
                </a:cxn>
              </a:cxnLst>
              <a:rect l="0" t="0" r="r" b="b"/>
              <a:pathLst>
                <a:path w="6" h="3">
                  <a:moveTo>
                    <a:pt x="5" y="2"/>
                  </a:moveTo>
                  <a:lnTo>
                    <a:pt x="6" y="3"/>
                  </a:lnTo>
                  <a:lnTo>
                    <a:pt x="5" y="3"/>
                  </a:lnTo>
                  <a:lnTo>
                    <a:pt x="3" y="3"/>
                  </a:lnTo>
                  <a:lnTo>
                    <a:pt x="2" y="2"/>
                  </a:lnTo>
                  <a:lnTo>
                    <a:pt x="0" y="0"/>
                  </a:lnTo>
                  <a:lnTo>
                    <a:pt x="3" y="0"/>
                  </a:lnTo>
                  <a:lnTo>
                    <a:pt x="5"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22" name="Freeform 955"/>
            <p:cNvSpPr>
              <a:spLocks/>
            </p:cNvSpPr>
            <p:nvPr/>
          </p:nvSpPr>
          <p:spPr bwMode="auto">
            <a:xfrm>
              <a:off x="6000466" y="2556620"/>
              <a:ext cx="162393" cy="147048"/>
            </a:xfrm>
            <a:custGeom>
              <a:avLst/>
              <a:gdLst/>
              <a:ahLst/>
              <a:cxnLst>
                <a:cxn ang="0">
                  <a:pos x="26" y="114"/>
                </a:cxn>
                <a:cxn ang="0">
                  <a:pos x="32" y="103"/>
                </a:cxn>
                <a:cxn ang="0">
                  <a:pos x="29" y="98"/>
                </a:cxn>
                <a:cxn ang="0">
                  <a:pos x="32" y="89"/>
                </a:cxn>
                <a:cxn ang="0">
                  <a:pos x="28" y="79"/>
                </a:cxn>
                <a:cxn ang="0">
                  <a:pos x="32" y="76"/>
                </a:cxn>
                <a:cxn ang="0">
                  <a:pos x="35" y="70"/>
                </a:cxn>
                <a:cxn ang="0">
                  <a:pos x="36" y="53"/>
                </a:cxn>
                <a:cxn ang="0">
                  <a:pos x="43" y="41"/>
                </a:cxn>
                <a:cxn ang="0">
                  <a:pos x="32" y="35"/>
                </a:cxn>
                <a:cxn ang="0">
                  <a:pos x="19" y="37"/>
                </a:cxn>
                <a:cxn ang="0">
                  <a:pos x="16" y="32"/>
                </a:cxn>
                <a:cxn ang="0">
                  <a:pos x="7" y="37"/>
                </a:cxn>
                <a:cxn ang="0">
                  <a:pos x="6" y="34"/>
                </a:cxn>
                <a:cxn ang="0">
                  <a:pos x="9" y="28"/>
                </a:cxn>
                <a:cxn ang="0">
                  <a:pos x="7" y="26"/>
                </a:cxn>
                <a:cxn ang="0">
                  <a:pos x="6" y="21"/>
                </a:cxn>
                <a:cxn ang="0">
                  <a:pos x="3" y="21"/>
                </a:cxn>
                <a:cxn ang="0">
                  <a:pos x="0" y="15"/>
                </a:cxn>
                <a:cxn ang="0">
                  <a:pos x="4" y="9"/>
                </a:cxn>
                <a:cxn ang="0">
                  <a:pos x="12" y="8"/>
                </a:cxn>
                <a:cxn ang="0">
                  <a:pos x="13" y="5"/>
                </a:cxn>
                <a:cxn ang="0">
                  <a:pos x="22" y="0"/>
                </a:cxn>
                <a:cxn ang="0">
                  <a:pos x="43" y="3"/>
                </a:cxn>
                <a:cxn ang="0">
                  <a:pos x="106" y="8"/>
                </a:cxn>
                <a:cxn ang="0">
                  <a:pos x="113" y="13"/>
                </a:cxn>
                <a:cxn ang="0">
                  <a:pos x="122" y="18"/>
                </a:cxn>
                <a:cxn ang="0">
                  <a:pos x="139" y="21"/>
                </a:cxn>
                <a:cxn ang="0">
                  <a:pos x="144" y="19"/>
                </a:cxn>
                <a:cxn ang="0">
                  <a:pos x="152" y="25"/>
                </a:cxn>
                <a:cxn ang="0">
                  <a:pos x="155" y="25"/>
                </a:cxn>
                <a:cxn ang="0">
                  <a:pos x="157" y="26"/>
                </a:cxn>
                <a:cxn ang="0">
                  <a:pos x="176" y="26"/>
                </a:cxn>
                <a:cxn ang="0">
                  <a:pos x="177" y="28"/>
                </a:cxn>
                <a:cxn ang="0">
                  <a:pos x="176" y="32"/>
                </a:cxn>
                <a:cxn ang="0">
                  <a:pos x="174" y="38"/>
                </a:cxn>
                <a:cxn ang="0">
                  <a:pos x="145" y="53"/>
                </a:cxn>
                <a:cxn ang="0">
                  <a:pos x="142" y="58"/>
                </a:cxn>
                <a:cxn ang="0">
                  <a:pos x="126" y="83"/>
                </a:cxn>
                <a:cxn ang="0">
                  <a:pos x="128" y="85"/>
                </a:cxn>
                <a:cxn ang="0">
                  <a:pos x="129" y="90"/>
                </a:cxn>
                <a:cxn ang="0">
                  <a:pos x="134" y="92"/>
                </a:cxn>
                <a:cxn ang="0">
                  <a:pos x="132" y="96"/>
                </a:cxn>
                <a:cxn ang="0">
                  <a:pos x="120" y="114"/>
                </a:cxn>
                <a:cxn ang="0">
                  <a:pos x="112" y="115"/>
                </a:cxn>
                <a:cxn ang="0">
                  <a:pos x="104" y="127"/>
                </a:cxn>
                <a:cxn ang="0">
                  <a:pos x="102" y="130"/>
                </a:cxn>
                <a:cxn ang="0">
                  <a:pos x="94" y="130"/>
                </a:cxn>
                <a:cxn ang="0">
                  <a:pos x="83" y="130"/>
                </a:cxn>
                <a:cxn ang="0">
                  <a:pos x="70" y="131"/>
                </a:cxn>
                <a:cxn ang="0">
                  <a:pos x="64" y="134"/>
                </a:cxn>
                <a:cxn ang="0">
                  <a:pos x="58" y="138"/>
                </a:cxn>
                <a:cxn ang="0">
                  <a:pos x="57" y="140"/>
                </a:cxn>
                <a:cxn ang="0">
                  <a:pos x="49" y="141"/>
                </a:cxn>
                <a:cxn ang="0">
                  <a:pos x="43" y="134"/>
                </a:cxn>
                <a:cxn ang="0">
                  <a:pos x="42" y="131"/>
                </a:cxn>
                <a:cxn ang="0">
                  <a:pos x="38" y="124"/>
                </a:cxn>
                <a:cxn ang="0">
                  <a:pos x="32" y="121"/>
                </a:cxn>
              </a:cxnLst>
              <a:rect l="0" t="0" r="r" b="b"/>
              <a:pathLst>
                <a:path w="177" h="141">
                  <a:moveTo>
                    <a:pt x="26" y="121"/>
                  </a:moveTo>
                  <a:lnTo>
                    <a:pt x="26" y="114"/>
                  </a:lnTo>
                  <a:lnTo>
                    <a:pt x="33" y="106"/>
                  </a:lnTo>
                  <a:lnTo>
                    <a:pt x="32" y="103"/>
                  </a:lnTo>
                  <a:lnTo>
                    <a:pt x="29" y="101"/>
                  </a:lnTo>
                  <a:lnTo>
                    <a:pt x="29" y="98"/>
                  </a:lnTo>
                  <a:lnTo>
                    <a:pt x="29" y="93"/>
                  </a:lnTo>
                  <a:lnTo>
                    <a:pt x="32" y="89"/>
                  </a:lnTo>
                  <a:lnTo>
                    <a:pt x="28" y="82"/>
                  </a:lnTo>
                  <a:lnTo>
                    <a:pt x="28" y="79"/>
                  </a:lnTo>
                  <a:lnTo>
                    <a:pt x="29" y="76"/>
                  </a:lnTo>
                  <a:lnTo>
                    <a:pt x="32" y="76"/>
                  </a:lnTo>
                  <a:lnTo>
                    <a:pt x="35" y="73"/>
                  </a:lnTo>
                  <a:lnTo>
                    <a:pt x="35" y="70"/>
                  </a:lnTo>
                  <a:lnTo>
                    <a:pt x="33" y="67"/>
                  </a:lnTo>
                  <a:lnTo>
                    <a:pt x="36" y="53"/>
                  </a:lnTo>
                  <a:lnTo>
                    <a:pt x="43" y="42"/>
                  </a:lnTo>
                  <a:lnTo>
                    <a:pt x="43" y="41"/>
                  </a:lnTo>
                  <a:lnTo>
                    <a:pt x="39" y="35"/>
                  </a:lnTo>
                  <a:lnTo>
                    <a:pt x="32" y="35"/>
                  </a:lnTo>
                  <a:lnTo>
                    <a:pt x="28" y="37"/>
                  </a:lnTo>
                  <a:lnTo>
                    <a:pt x="19" y="37"/>
                  </a:lnTo>
                  <a:lnTo>
                    <a:pt x="16" y="35"/>
                  </a:lnTo>
                  <a:lnTo>
                    <a:pt x="16" y="32"/>
                  </a:lnTo>
                  <a:lnTo>
                    <a:pt x="9" y="34"/>
                  </a:lnTo>
                  <a:lnTo>
                    <a:pt x="7" y="37"/>
                  </a:lnTo>
                  <a:lnTo>
                    <a:pt x="6" y="35"/>
                  </a:lnTo>
                  <a:lnTo>
                    <a:pt x="6" y="34"/>
                  </a:lnTo>
                  <a:lnTo>
                    <a:pt x="7" y="31"/>
                  </a:lnTo>
                  <a:lnTo>
                    <a:pt x="9" y="28"/>
                  </a:lnTo>
                  <a:lnTo>
                    <a:pt x="6" y="28"/>
                  </a:lnTo>
                  <a:lnTo>
                    <a:pt x="7" y="26"/>
                  </a:lnTo>
                  <a:lnTo>
                    <a:pt x="4" y="25"/>
                  </a:lnTo>
                  <a:lnTo>
                    <a:pt x="6" y="21"/>
                  </a:lnTo>
                  <a:lnTo>
                    <a:pt x="6" y="22"/>
                  </a:lnTo>
                  <a:lnTo>
                    <a:pt x="3" y="21"/>
                  </a:lnTo>
                  <a:lnTo>
                    <a:pt x="4" y="18"/>
                  </a:lnTo>
                  <a:lnTo>
                    <a:pt x="0" y="15"/>
                  </a:lnTo>
                  <a:lnTo>
                    <a:pt x="1" y="12"/>
                  </a:lnTo>
                  <a:lnTo>
                    <a:pt x="4" y="9"/>
                  </a:lnTo>
                  <a:lnTo>
                    <a:pt x="7" y="8"/>
                  </a:lnTo>
                  <a:lnTo>
                    <a:pt x="12" y="8"/>
                  </a:lnTo>
                  <a:lnTo>
                    <a:pt x="14" y="6"/>
                  </a:lnTo>
                  <a:lnTo>
                    <a:pt x="13" y="5"/>
                  </a:lnTo>
                  <a:lnTo>
                    <a:pt x="16" y="2"/>
                  </a:lnTo>
                  <a:lnTo>
                    <a:pt x="22" y="0"/>
                  </a:lnTo>
                  <a:lnTo>
                    <a:pt x="28" y="2"/>
                  </a:lnTo>
                  <a:lnTo>
                    <a:pt x="43" y="3"/>
                  </a:lnTo>
                  <a:lnTo>
                    <a:pt x="46" y="2"/>
                  </a:lnTo>
                  <a:lnTo>
                    <a:pt x="106" y="8"/>
                  </a:lnTo>
                  <a:lnTo>
                    <a:pt x="106" y="8"/>
                  </a:lnTo>
                  <a:lnTo>
                    <a:pt x="113" y="13"/>
                  </a:lnTo>
                  <a:lnTo>
                    <a:pt x="116" y="15"/>
                  </a:lnTo>
                  <a:lnTo>
                    <a:pt x="122" y="18"/>
                  </a:lnTo>
                  <a:lnTo>
                    <a:pt x="136" y="22"/>
                  </a:lnTo>
                  <a:lnTo>
                    <a:pt x="139" y="21"/>
                  </a:lnTo>
                  <a:lnTo>
                    <a:pt x="141" y="19"/>
                  </a:lnTo>
                  <a:lnTo>
                    <a:pt x="144" y="19"/>
                  </a:lnTo>
                  <a:lnTo>
                    <a:pt x="151" y="24"/>
                  </a:lnTo>
                  <a:lnTo>
                    <a:pt x="152" y="25"/>
                  </a:lnTo>
                  <a:lnTo>
                    <a:pt x="154" y="25"/>
                  </a:lnTo>
                  <a:lnTo>
                    <a:pt x="155" y="25"/>
                  </a:lnTo>
                  <a:lnTo>
                    <a:pt x="154" y="24"/>
                  </a:lnTo>
                  <a:lnTo>
                    <a:pt x="157" y="26"/>
                  </a:lnTo>
                  <a:lnTo>
                    <a:pt x="160" y="26"/>
                  </a:lnTo>
                  <a:lnTo>
                    <a:pt x="176" y="26"/>
                  </a:lnTo>
                  <a:lnTo>
                    <a:pt x="177" y="26"/>
                  </a:lnTo>
                  <a:lnTo>
                    <a:pt x="177" y="28"/>
                  </a:lnTo>
                  <a:lnTo>
                    <a:pt x="176" y="29"/>
                  </a:lnTo>
                  <a:lnTo>
                    <a:pt x="176" y="32"/>
                  </a:lnTo>
                  <a:lnTo>
                    <a:pt x="177" y="34"/>
                  </a:lnTo>
                  <a:lnTo>
                    <a:pt x="174" y="38"/>
                  </a:lnTo>
                  <a:lnTo>
                    <a:pt x="161" y="47"/>
                  </a:lnTo>
                  <a:lnTo>
                    <a:pt x="145" y="53"/>
                  </a:lnTo>
                  <a:lnTo>
                    <a:pt x="142" y="57"/>
                  </a:lnTo>
                  <a:lnTo>
                    <a:pt x="142" y="58"/>
                  </a:lnTo>
                  <a:lnTo>
                    <a:pt x="128" y="77"/>
                  </a:lnTo>
                  <a:lnTo>
                    <a:pt x="126" y="83"/>
                  </a:lnTo>
                  <a:lnTo>
                    <a:pt x="126" y="83"/>
                  </a:lnTo>
                  <a:lnTo>
                    <a:pt x="128" y="85"/>
                  </a:lnTo>
                  <a:lnTo>
                    <a:pt x="128" y="89"/>
                  </a:lnTo>
                  <a:lnTo>
                    <a:pt x="129" y="90"/>
                  </a:lnTo>
                  <a:lnTo>
                    <a:pt x="131" y="92"/>
                  </a:lnTo>
                  <a:lnTo>
                    <a:pt x="134" y="92"/>
                  </a:lnTo>
                  <a:lnTo>
                    <a:pt x="134" y="93"/>
                  </a:lnTo>
                  <a:lnTo>
                    <a:pt x="132" y="96"/>
                  </a:lnTo>
                  <a:lnTo>
                    <a:pt x="125" y="102"/>
                  </a:lnTo>
                  <a:lnTo>
                    <a:pt x="120" y="114"/>
                  </a:lnTo>
                  <a:lnTo>
                    <a:pt x="120" y="115"/>
                  </a:lnTo>
                  <a:lnTo>
                    <a:pt x="112" y="115"/>
                  </a:lnTo>
                  <a:lnTo>
                    <a:pt x="107" y="121"/>
                  </a:lnTo>
                  <a:lnTo>
                    <a:pt x="104" y="127"/>
                  </a:lnTo>
                  <a:lnTo>
                    <a:pt x="103" y="130"/>
                  </a:lnTo>
                  <a:lnTo>
                    <a:pt x="102" y="130"/>
                  </a:lnTo>
                  <a:lnTo>
                    <a:pt x="97" y="128"/>
                  </a:lnTo>
                  <a:lnTo>
                    <a:pt x="94" y="130"/>
                  </a:lnTo>
                  <a:lnTo>
                    <a:pt x="87" y="130"/>
                  </a:lnTo>
                  <a:lnTo>
                    <a:pt x="83" y="130"/>
                  </a:lnTo>
                  <a:lnTo>
                    <a:pt x="78" y="130"/>
                  </a:lnTo>
                  <a:lnTo>
                    <a:pt x="70" y="131"/>
                  </a:lnTo>
                  <a:lnTo>
                    <a:pt x="67" y="134"/>
                  </a:lnTo>
                  <a:lnTo>
                    <a:pt x="64" y="134"/>
                  </a:lnTo>
                  <a:lnTo>
                    <a:pt x="61" y="135"/>
                  </a:lnTo>
                  <a:lnTo>
                    <a:pt x="58" y="138"/>
                  </a:lnTo>
                  <a:lnTo>
                    <a:pt x="57" y="140"/>
                  </a:lnTo>
                  <a:lnTo>
                    <a:pt x="57" y="140"/>
                  </a:lnTo>
                  <a:lnTo>
                    <a:pt x="54" y="141"/>
                  </a:lnTo>
                  <a:lnTo>
                    <a:pt x="49" y="141"/>
                  </a:lnTo>
                  <a:lnTo>
                    <a:pt x="46" y="138"/>
                  </a:lnTo>
                  <a:lnTo>
                    <a:pt x="43" y="134"/>
                  </a:lnTo>
                  <a:lnTo>
                    <a:pt x="43" y="133"/>
                  </a:lnTo>
                  <a:lnTo>
                    <a:pt x="42" y="131"/>
                  </a:lnTo>
                  <a:lnTo>
                    <a:pt x="41" y="127"/>
                  </a:lnTo>
                  <a:lnTo>
                    <a:pt x="38" y="124"/>
                  </a:lnTo>
                  <a:lnTo>
                    <a:pt x="33" y="121"/>
                  </a:lnTo>
                  <a:lnTo>
                    <a:pt x="32" y="121"/>
                  </a:lnTo>
                  <a:lnTo>
                    <a:pt x="26" y="121"/>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23" name="Freeform 957"/>
            <p:cNvSpPr>
              <a:spLocks/>
            </p:cNvSpPr>
            <p:nvPr/>
          </p:nvSpPr>
          <p:spPr bwMode="auto">
            <a:xfrm>
              <a:off x="6563136" y="2753362"/>
              <a:ext cx="20190" cy="68961"/>
            </a:xfrm>
            <a:custGeom>
              <a:avLst/>
              <a:gdLst/>
              <a:ahLst/>
              <a:cxnLst>
                <a:cxn ang="0">
                  <a:pos x="12" y="66"/>
                </a:cxn>
                <a:cxn ang="0">
                  <a:pos x="16" y="42"/>
                </a:cxn>
                <a:cxn ang="0">
                  <a:pos x="19" y="37"/>
                </a:cxn>
                <a:cxn ang="0">
                  <a:pos x="18" y="35"/>
                </a:cxn>
                <a:cxn ang="0">
                  <a:pos x="19" y="32"/>
                </a:cxn>
                <a:cxn ang="0">
                  <a:pos x="19" y="31"/>
                </a:cxn>
                <a:cxn ang="0">
                  <a:pos x="18" y="31"/>
                </a:cxn>
                <a:cxn ang="0">
                  <a:pos x="15" y="32"/>
                </a:cxn>
                <a:cxn ang="0">
                  <a:pos x="12" y="34"/>
                </a:cxn>
                <a:cxn ang="0">
                  <a:pos x="12" y="34"/>
                </a:cxn>
                <a:cxn ang="0">
                  <a:pos x="10" y="32"/>
                </a:cxn>
                <a:cxn ang="0">
                  <a:pos x="10" y="31"/>
                </a:cxn>
                <a:cxn ang="0">
                  <a:pos x="12" y="31"/>
                </a:cxn>
                <a:cxn ang="0">
                  <a:pos x="13" y="28"/>
                </a:cxn>
                <a:cxn ang="0">
                  <a:pos x="13" y="26"/>
                </a:cxn>
                <a:cxn ang="0">
                  <a:pos x="15" y="26"/>
                </a:cxn>
                <a:cxn ang="0">
                  <a:pos x="16" y="26"/>
                </a:cxn>
                <a:cxn ang="0">
                  <a:pos x="15" y="25"/>
                </a:cxn>
                <a:cxn ang="0">
                  <a:pos x="15" y="25"/>
                </a:cxn>
                <a:cxn ang="0">
                  <a:pos x="12" y="25"/>
                </a:cxn>
                <a:cxn ang="0">
                  <a:pos x="12" y="23"/>
                </a:cxn>
                <a:cxn ang="0">
                  <a:pos x="12" y="22"/>
                </a:cxn>
                <a:cxn ang="0">
                  <a:pos x="12" y="19"/>
                </a:cxn>
                <a:cxn ang="0">
                  <a:pos x="13" y="16"/>
                </a:cxn>
                <a:cxn ang="0">
                  <a:pos x="13" y="15"/>
                </a:cxn>
                <a:cxn ang="0">
                  <a:pos x="13" y="13"/>
                </a:cxn>
                <a:cxn ang="0">
                  <a:pos x="15" y="13"/>
                </a:cxn>
                <a:cxn ang="0">
                  <a:pos x="16" y="13"/>
                </a:cxn>
                <a:cxn ang="0">
                  <a:pos x="18" y="13"/>
                </a:cxn>
                <a:cxn ang="0">
                  <a:pos x="18" y="15"/>
                </a:cxn>
                <a:cxn ang="0">
                  <a:pos x="19" y="16"/>
                </a:cxn>
                <a:cxn ang="0">
                  <a:pos x="20" y="16"/>
                </a:cxn>
                <a:cxn ang="0">
                  <a:pos x="20" y="10"/>
                </a:cxn>
                <a:cxn ang="0">
                  <a:pos x="22" y="9"/>
                </a:cxn>
                <a:cxn ang="0">
                  <a:pos x="20" y="7"/>
                </a:cxn>
                <a:cxn ang="0">
                  <a:pos x="20" y="6"/>
                </a:cxn>
                <a:cxn ang="0">
                  <a:pos x="20" y="5"/>
                </a:cxn>
                <a:cxn ang="0">
                  <a:pos x="22" y="5"/>
                </a:cxn>
                <a:cxn ang="0">
                  <a:pos x="22" y="0"/>
                </a:cxn>
                <a:cxn ang="0">
                  <a:pos x="20" y="0"/>
                </a:cxn>
                <a:cxn ang="0">
                  <a:pos x="20" y="2"/>
                </a:cxn>
                <a:cxn ang="0">
                  <a:pos x="20" y="5"/>
                </a:cxn>
                <a:cxn ang="0">
                  <a:pos x="19" y="5"/>
                </a:cxn>
                <a:cxn ang="0">
                  <a:pos x="18" y="5"/>
                </a:cxn>
                <a:cxn ang="0">
                  <a:pos x="18" y="5"/>
                </a:cxn>
                <a:cxn ang="0">
                  <a:pos x="16" y="5"/>
                </a:cxn>
                <a:cxn ang="0">
                  <a:pos x="13" y="5"/>
                </a:cxn>
                <a:cxn ang="0">
                  <a:pos x="13" y="3"/>
                </a:cxn>
                <a:cxn ang="0">
                  <a:pos x="6" y="28"/>
                </a:cxn>
                <a:cxn ang="0">
                  <a:pos x="4" y="29"/>
                </a:cxn>
                <a:cxn ang="0">
                  <a:pos x="4" y="31"/>
                </a:cxn>
                <a:cxn ang="0">
                  <a:pos x="2" y="34"/>
                </a:cxn>
                <a:cxn ang="0">
                  <a:pos x="2" y="35"/>
                </a:cxn>
                <a:cxn ang="0">
                  <a:pos x="0" y="37"/>
                </a:cxn>
                <a:cxn ang="0">
                  <a:pos x="10" y="66"/>
                </a:cxn>
                <a:cxn ang="0">
                  <a:pos x="12" y="66"/>
                </a:cxn>
              </a:cxnLst>
              <a:rect l="0" t="0" r="r" b="b"/>
              <a:pathLst>
                <a:path w="22" h="66">
                  <a:moveTo>
                    <a:pt x="12" y="66"/>
                  </a:moveTo>
                  <a:lnTo>
                    <a:pt x="16" y="42"/>
                  </a:lnTo>
                  <a:lnTo>
                    <a:pt x="19" y="37"/>
                  </a:lnTo>
                  <a:lnTo>
                    <a:pt x="18" y="35"/>
                  </a:lnTo>
                  <a:lnTo>
                    <a:pt x="19" y="32"/>
                  </a:lnTo>
                  <a:lnTo>
                    <a:pt x="19" y="31"/>
                  </a:lnTo>
                  <a:lnTo>
                    <a:pt x="18" y="31"/>
                  </a:lnTo>
                  <a:lnTo>
                    <a:pt x="15" y="32"/>
                  </a:lnTo>
                  <a:lnTo>
                    <a:pt x="12" y="34"/>
                  </a:lnTo>
                  <a:lnTo>
                    <a:pt x="12" y="34"/>
                  </a:lnTo>
                  <a:lnTo>
                    <a:pt x="10" y="32"/>
                  </a:lnTo>
                  <a:lnTo>
                    <a:pt x="10" y="31"/>
                  </a:lnTo>
                  <a:lnTo>
                    <a:pt x="12" y="31"/>
                  </a:lnTo>
                  <a:lnTo>
                    <a:pt x="13" y="28"/>
                  </a:lnTo>
                  <a:lnTo>
                    <a:pt x="13" y="26"/>
                  </a:lnTo>
                  <a:lnTo>
                    <a:pt x="15" y="26"/>
                  </a:lnTo>
                  <a:lnTo>
                    <a:pt x="16" y="26"/>
                  </a:lnTo>
                  <a:lnTo>
                    <a:pt x="15" y="25"/>
                  </a:lnTo>
                  <a:lnTo>
                    <a:pt x="15" y="25"/>
                  </a:lnTo>
                  <a:lnTo>
                    <a:pt x="12" y="25"/>
                  </a:lnTo>
                  <a:lnTo>
                    <a:pt x="12" y="23"/>
                  </a:lnTo>
                  <a:lnTo>
                    <a:pt x="12" y="22"/>
                  </a:lnTo>
                  <a:lnTo>
                    <a:pt x="12" y="19"/>
                  </a:lnTo>
                  <a:lnTo>
                    <a:pt x="13" y="16"/>
                  </a:lnTo>
                  <a:lnTo>
                    <a:pt x="13" y="15"/>
                  </a:lnTo>
                  <a:lnTo>
                    <a:pt x="13" y="13"/>
                  </a:lnTo>
                  <a:lnTo>
                    <a:pt x="15" y="13"/>
                  </a:lnTo>
                  <a:lnTo>
                    <a:pt x="16" y="13"/>
                  </a:lnTo>
                  <a:lnTo>
                    <a:pt x="18" y="13"/>
                  </a:lnTo>
                  <a:lnTo>
                    <a:pt x="18" y="15"/>
                  </a:lnTo>
                  <a:lnTo>
                    <a:pt x="19" y="16"/>
                  </a:lnTo>
                  <a:lnTo>
                    <a:pt x="20" y="16"/>
                  </a:lnTo>
                  <a:lnTo>
                    <a:pt x="20" y="10"/>
                  </a:lnTo>
                  <a:lnTo>
                    <a:pt x="22" y="9"/>
                  </a:lnTo>
                  <a:lnTo>
                    <a:pt x="20" y="7"/>
                  </a:lnTo>
                  <a:lnTo>
                    <a:pt x="20" y="6"/>
                  </a:lnTo>
                  <a:lnTo>
                    <a:pt x="20" y="5"/>
                  </a:lnTo>
                  <a:lnTo>
                    <a:pt x="22" y="5"/>
                  </a:lnTo>
                  <a:lnTo>
                    <a:pt x="22" y="0"/>
                  </a:lnTo>
                  <a:lnTo>
                    <a:pt x="20" y="0"/>
                  </a:lnTo>
                  <a:lnTo>
                    <a:pt x="20" y="2"/>
                  </a:lnTo>
                  <a:lnTo>
                    <a:pt x="20" y="5"/>
                  </a:lnTo>
                  <a:lnTo>
                    <a:pt x="19" y="5"/>
                  </a:lnTo>
                  <a:lnTo>
                    <a:pt x="18" y="5"/>
                  </a:lnTo>
                  <a:lnTo>
                    <a:pt x="18" y="5"/>
                  </a:lnTo>
                  <a:lnTo>
                    <a:pt x="16" y="5"/>
                  </a:lnTo>
                  <a:lnTo>
                    <a:pt x="13" y="5"/>
                  </a:lnTo>
                  <a:lnTo>
                    <a:pt x="13" y="3"/>
                  </a:lnTo>
                  <a:lnTo>
                    <a:pt x="6" y="28"/>
                  </a:lnTo>
                  <a:lnTo>
                    <a:pt x="4" y="29"/>
                  </a:lnTo>
                  <a:lnTo>
                    <a:pt x="4" y="31"/>
                  </a:lnTo>
                  <a:lnTo>
                    <a:pt x="2" y="34"/>
                  </a:lnTo>
                  <a:lnTo>
                    <a:pt x="2" y="35"/>
                  </a:lnTo>
                  <a:lnTo>
                    <a:pt x="0" y="37"/>
                  </a:lnTo>
                  <a:lnTo>
                    <a:pt x="10" y="66"/>
                  </a:lnTo>
                  <a:lnTo>
                    <a:pt x="12" y="6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24" name="Freeform 958"/>
            <p:cNvSpPr>
              <a:spLocks/>
            </p:cNvSpPr>
            <p:nvPr/>
          </p:nvSpPr>
          <p:spPr bwMode="auto">
            <a:xfrm>
              <a:off x="6563136" y="2753362"/>
              <a:ext cx="20190" cy="68961"/>
            </a:xfrm>
            <a:custGeom>
              <a:avLst/>
              <a:gdLst/>
              <a:ahLst/>
              <a:cxnLst>
                <a:cxn ang="0">
                  <a:pos x="12" y="66"/>
                </a:cxn>
                <a:cxn ang="0">
                  <a:pos x="16" y="42"/>
                </a:cxn>
                <a:cxn ang="0">
                  <a:pos x="19" y="37"/>
                </a:cxn>
                <a:cxn ang="0">
                  <a:pos x="18" y="35"/>
                </a:cxn>
                <a:cxn ang="0">
                  <a:pos x="19" y="32"/>
                </a:cxn>
                <a:cxn ang="0">
                  <a:pos x="19" y="31"/>
                </a:cxn>
                <a:cxn ang="0">
                  <a:pos x="18" y="31"/>
                </a:cxn>
                <a:cxn ang="0">
                  <a:pos x="15" y="32"/>
                </a:cxn>
                <a:cxn ang="0">
                  <a:pos x="12" y="34"/>
                </a:cxn>
                <a:cxn ang="0">
                  <a:pos x="12" y="34"/>
                </a:cxn>
                <a:cxn ang="0">
                  <a:pos x="10" y="32"/>
                </a:cxn>
                <a:cxn ang="0">
                  <a:pos x="10" y="31"/>
                </a:cxn>
                <a:cxn ang="0">
                  <a:pos x="12" y="31"/>
                </a:cxn>
                <a:cxn ang="0">
                  <a:pos x="13" y="28"/>
                </a:cxn>
                <a:cxn ang="0">
                  <a:pos x="13" y="26"/>
                </a:cxn>
                <a:cxn ang="0">
                  <a:pos x="15" y="26"/>
                </a:cxn>
                <a:cxn ang="0">
                  <a:pos x="16" y="26"/>
                </a:cxn>
                <a:cxn ang="0">
                  <a:pos x="15" y="25"/>
                </a:cxn>
                <a:cxn ang="0">
                  <a:pos x="15" y="25"/>
                </a:cxn>
                <a:cxn ang="0">
                  <a:pos x="12" y="25"/>
                </a:cxn>
                <a:cxn ang="0">
                  <a:pos x="12" y="23"/>
                </a:cxn>
                <a:cxn ang="0">
                  <a:pos x="12" y="22"/>
                </a:cxn>
                <a:cxn ang="0">
                  <a:pos x="12" y="19"/>
                </a:cxn>
                <a:cxn ang="0">
                  <a:pos x="13" y="16"/>
                </a:cxn>
                <a:cxn ang="0">
                  <a:pos x="13" y="15"/>
                </a:cxn>
                <a:cxn ang="0">
                  <a:pos x="13" y="13"/>
                </a:cxn>
                <a:cxn ang="0">
                  <a:pos x="15" y="13"/>
                </a:cxn>
                <a:cxn ang="0">
                  <a:pos x="16" y="13"/>
                </a:cxn>
                <a:cxn ang="0">
                  <a:pos x="18" y="13"/>
                </a:cxn>
                <a:cxn ang="0">
                  <a:pos x="18" y="15"/>
                </a:cxn>
                <a:cxn ang="0">
                  <a:pos x="19" y="16"/>
                </a:cxn>
                <a:cxn ang="0">
                  <a:pos x="20" y="16"/>
                </a:cxn>
                <a:cxn ang="0">
                  <a:pos x="20" y="10"/>
                </a:cxn>
                <a:cxn ang="0">
                  <a:pos x="22" y="9"/>
                </a:cxn>
                <a:cxn ang="0">
                  <a:pos x="20" y="7"/>
                </a:cxn>
                <a:cxn ang="0">
                  <a:pos x="20" y="6"/>
                </a:cxn>
                <a:cxn ang="0">
                  <a:pos x="20" y="5"/>
                </a:cxn>
                <a:cxn ang="0">
                  <a:pos x="22" y="5"/>
                </a:cxn>
                <a:cxn ang="0">
                  <a:pos x="22" y="0"/>
                </a:cxn>
                <a:cxn ang="0">
                  <a:pos x="20" y="0"/>
                </a:cxn>
                <a:cxn ang="0">
                  <a:pos x="20" y="2"/>
                </a:cxn>
                <a:cxn ang="0">
                  <a:pos x="20" y="5"/>
                </a:cxn>
                <a:cxn ang="0">
                  <a:pos x="19" y="5"/>
                </a:cxn>
                <a:cxn ang="0">
                  <a:pos x="18" y="5"/>
                </a:cxn>
                <a:cxn ang="0">
                  <a:pos x="18" y="5"/>
                </a:cxn>
                <a:cxn ang="0">
                  <a:pos x="16" y="5"/>
                </a:cxn>
                <a:cxn ang="0">
                  <a:pos x="13" y="5"/>
                </a:cxn>
                <a:cxn ang="0">
                  <a:pos x="13" y="3"/>
                </a:cxn>
                <a:cxn ang="0">
                  <a:pos x="6" y="28"/>
                </a:cxn>
                <a:cxn ang="0">
                  <a:pos x="4" y="29"/>
                </a:cxn>
                <a:cxn ang="0">
                  <a:pos x="4" y="31"/>
                </a:cxn>
                <a:cxn ang="0">
                  <a:pos x="2" y="34"/>
                </a:cxn>
                <a:cxn ang="0">
                  <a:pos x="2" y="35"/>
                </a:cxn>
                <a:cxn ang="0">
                  <a:pos x="0" y="37"/>
                </a:cxn>
                <a:cxn ang="0">
                  <a:pos x="10" y="66"/>
                </a:cxn>
                <a:cxn ang="0">
                  <a:pos x="12" y="66"/>
                </a:cxn>
              </a:cxnLst>
              <a:rect l="0" t="0" r="r" b="b"/>
              <a:pathLst>
                <a:path w="22" h="66">
                  <a:moveTo>
                    <a:pt x="12" y="66"/>
                  </a:moveTo>
                  <a:lnTo>
                    <a:pt x="16" y="42"/>
                  </a:lnTo>
                  <a:lnTo>
                    <a:pt x="19" y="37"/>
                  </a:lnTo>
                  <a:lnTo>
                    <a:pt x="18" y="35"/>
                  </a:lnTo>
                  <a:lnTo>
                    <a:pt x="19" y="32"/>
                  </a:lnTo>
                  <a:lnTo>
                    <a:pt x="19" y="31"/>
                  </a:lnTo>
                  <a:lnTo>
                    <a:pt x="18" y="31"/>
                  </a:lnTo>
                  <a:lnTo>
                    <a:pt x="15" y="32"/>
                  </a:lnTo>
                  <a:lnTo>
                    <a:pt x="12" y="34"/>
                  </a:lnTo>
                  <a:lnTo>
                    <a:pt x="12" y="34"/>
                  </a:lnTo>
                  <a:lnTo>
                    <a:pt x="10" y="32"/>
                  </a:lnTo>
                  <a:lnTo>
                    <a:pt x="10" y="31"/>
                  </a:lnTo>
                  <a:lnTo>
                    <a:pt x="12" y="31"/>
                  </a:lnTo>
                  <a:lnTo>
                    <a:pt x="13" y="28"/>
                  </a:lnTo>
                  <a:lnTo>
                    <a:pt x="13" y="26"/>
                  </a:lnTo>
                  <a:lnTo>
                    <a:pt x="15" y="26"/>
                  </a:lnTo>
                  <a:lnTo>
                    <a:pt x="16" y="26"/>
                  </a:lnTo>
                  <a:lnTo>
                    <a:pt x="15" y="25"/>
                  </a:lnTo>
                  <a:lnTo>
                    <a:pt x="15" y="25"/>
                  </a:lnTo>
                  <a:lnTo>
                    <a:pt x="12" y="25"/>
                  </a:lnTo>
                  <a:lnTo>
                    <a:pt x="12" y="23"/>
                  </a:lnTo>
                  <a:lnTo>
                    <a:pt x="12" y="22"/>
                  </a:lnTo>
                  <a:lnTo>
                    <a:pt x="12" y="19"/>
                  </a:lnTo>
                  <a:lnTo>
                    <a:pt x="13" y="16"/>
                  </a:lnTo>
                  <a:lnTo>
                    <a:pt x="13" y="15"/>
                  </a:lnTo>
                  <a:lnTo>
                    <a:pt x="13" y="13"/>
                  </a:lnTo>
                  <a:lnTo>
                    <a:pt x="15" y="13"/>
                  </a:lnTo>
                  <a:lnTo>
                    <a:pt x="16" y="13"/>
                  </a:lnTo>
                  <a:lnTo>
                    <a:pt x="18" y="13"/>
                  </a:lnTo>
                  <a:lnTo>
                    <a:pt x="18" y="15"/>
                  </a:lnTo>
                  <a:lnTo>
                    <a:pt x="19" y="16"/>
                  </a:lnTo>
                  <a:lnTo>
                    <a:pt x="20" y="16"/>
                  </a:lnTo>
                  <a:lnTo>
                    <a:pt x="20" y="10"/>
                  </a:lnTo>
                  <a:lnTo>
                    <a:pt x="22" y="9"/>
                  </a:lnTo>
                  <a:lnTo>
                    <a:pt x="20" y="7"/>
                  </a:lnTo>
                  <a:lnTo>
                    <a:pt x="20" y="6"/>
                  </a:lnTo>
                  <a:lnTo>
                    <a:pt x="20" y="5"/>
                  </a:lnTo>
                  <a:lnTo>
                    <a:pt x="22" y="5"/>
                  </a:lnTo>
                  <a:lnTo>
                    <a:pt x="22" y="0"/>
                  </a:lnTo>
                  <a:lnTo>
                    <a:pt x="20" y="0"/>
                  </a:lnTo>
                  <a:lnTo>
                    <a:pt x="20" y="2"/>
                  </a:lnTo>
                  <a:lnTo>
                    <a:pt x="20" y="5"/>
                  </a:lnTo>
                  <a:lnTo>
                    <a:pt x="19" y="5"/>
                  </a:lnTo>
                  <a:lnTo>
                    <a:pt x="18" y="5"/>
                  </a:lnTo>
                  <a:lnTo>
                    <a:pt x="18" y="5"/>
                  </a:lnTo>
                  <a:lnTo>
                    <a:pt x="16" y="5"/>
                  </a:lnTo>
                  <a:lnTo>
                    <a:pt x="13" y="5"/>
                  </a:lnTo>
                  <a:lnTo>
                    <a:pt x="13" y="3"/>
                  </a:lnTo>
                  <a:lnTo>
                    <a:pt x="6" y="28"/>
                  </a:lnTo>
                  <a:lnTo>
                    <a:pt x="4" y="29"/>
                  </a:lnTo>
                  <a:lnTo>
                    <a:pt x="4" y="31"/>
                  </a:lnTo>
                  <a:lnTo>
                    <a:pt x="2" y="34"/>
                  </a:lnTo>
                  <a:lnTo>
                    <a:pt x="2" y="35"/>
                  </a:lnTo>
                  <a:lnTo>
                    <a:pt x="0" y="37"/>
                  </a:lnTo>
                  <a:lnTo>
                    <a:pt x="10" y="66"/>
                  </a:lnTo>
                  <a:lnTo>
                    <a:pt x="12" y="6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25" name="Freeform 959"/>
            <p:cNvSpPr>
              <a:spLocks/>
            </p:cNvSpPr>
            <p:nvPr/>
          </p:nvSpPr>
          <p:spPr bwMode="auto">
            <a:xfrm>
              <a:off x="6625460" y="2678315"/>
              <a:ext cx="126403" cy="148064"/>
            </a:xfrm>
            <a:custGeom>
              <a:avLst/>
              <a:gdLst/>
              <a:ahLst/>
              <a:cxnLst>
                <a:cxn ang="0">
                  <a:pos x="138" y="126"/>
                </a:cxn>
                <a:cxn ang="0">
                  <a:pos x="137" y="129"/>
                </a:cxn>
                <a:cxn ang="0">
                  <a:pos x="132" y="126"/>
                </a:cxn>
                <a:cxn ang="0">
                  <a:pos x="131" y="126"/>
                </a:cxn>
                <a:cxn ang="0">
                  <a:pos x="131" y="127"/>
                </a:cxn>
                <a:cxn ang="0">
                  <a:pos x="124" y="126"/>
                </a:cxn>
                <a:cxn ang="0">
                  <a:pos x="119" y="127"/>
                </a:cxn>
                <a:cxn ang="0">
                  <a:pos x="115" y="138"/>
                </a:cxn>
                <a:cxn ang="0">
                  <a:pos x="111" y="142"/>
                </a:cxn>
                <a:cxn ang="0">
                  <a:pos x="85" y="140"/>
                </a:cxn>
                <a:cxn ang="0">
                  <a:pos x="69" y="133"/>
                </a:cxn>
                <a:cxn ang="0">
                  <a:pos x="69" y="132"/>
                </a:cxn>
                <a:cxn ang="0">
                  <a:pos x="69" y="122"/>
                </a:cxn>
                <a:cxn ang="0">
                  <a:pos x="67" y="122"/>
                </a:cxn>
                <a:cxn ang="0">
                  <a:pos x="60" y="120"/>
                </a:cxn>
                <a:cxn ang="0">
                  <a:pos x="58" y="116"/>
                </a:cxn>
                <a:cxn ang="0">
                  <a:pos x="3" y="91"/>
                </a:cxn>
                <a:cxn ang="0">
                  <a:pos x="3" y="91"/>
                </a:cxn>
                <a:cxn ang="0">
                  <a:pos x="0" y="71"/>
                </a:cxn>
                <a:cxn ang="0">
                  <a:pos x="31" y="52"/>
                </a:cxn>
                <a:cxn ang="0">
                  <a:pos x="34" y="46"/>
                </a:cxn>
                <a:cxn ang="0">
                  <a:pos x="35" y="18"/>
                </a:cxn>
                <a:cxn ang="0">
                  <a:pos x="44" y="16"/>
                </a:cxn>
                <a:cxn ang="0">
                  <a:pos x="48" y="7"/>
                </a:cxn>
                <a:cxn ang="0">
                  <a:pos x="58" y="0"/>
                </a:cxn>
                <a:cxn ang="0">
                  <a:pos x="64" y="1"/>
                </a:cxn>
                <a:cxn ang="0">
                  <a:pos x="77" y="1"/>
                </a:cxn>
                <a:cxn ang="0">
                  <a:pos x="79" y="4"/>
                </a:cxn>
                <a:cxn ang="0">
                  <a:pos x="83" y="5"/>
                </a:cxn>
                <a:cxn ang="0">
                  <a:pos x="85" y="2"/>
                </a:cxn>
                <a:cxn ang="0">
                  <a:pos x="86" y="11"/>
                </a:cxn>
                <a:cxn ang="0">
                  <a:pos x="89" y="16"/>
                </a:cxn>
                <a:cxn ang="0">
                  <a:pos x="92" y="18"/>
                </a:cxn>
                <a:cxn ang="0">
                  <a:pos x="93" y="24"/>
                </a:cxn>
                <a:cxn ang="0">
                  <a:pos x="96" y="27"/>
                </a:cxn>
                <a:cxn ang="0">
                  <a:pos x="106" y="29"/>
                </a:cxn>
                <a:cxn ang="0">
                  <a:pos x="105" y="30"/>
                </a:cxn>
                <a:cxn ang="0">
                  <a:pos x="103" y="34"/>
                </a:cxn>
                <a:cxn ang="0">
                  <a:pos x="105" y="39"/>
                </a:cxn>
                <a:cxn ang="0">
                  <a:pos x="99" y="47"/>
                </a:cxn>
                <a:cxn ang="0">
                  <a:pos x="99" y="49"/>
                </a:cxn>
                <a:cxn ang="0">
                  <a:pos x="96" y="50"/>
                </a:cxn>
                <a:cxn ang="0">
                  <a:pos x="96" y="52"/>
                </a:cxn>
                <a:cxn ang="0">
                  <a:pos x="95" y="58"/>
                </a:cxn>
                <a:cxn ang="0">
                  <a:pos x="93" y="59"/>
                </a:cxn>
                <a:cxn ang="0">
                  <a:pos x="93" y="61"/>
                </a:cxn>
                <a:cxn ang="0">
                  <a:pos x="93" y="63"/>
                </a:cxn>
                <a:cxn ang="0">
                  <a:pos x="95" y="65"/>
                </a:cxn>
                <a:cxn ang="0">
                  <a:pos x="98" y="65"/>
                </a:cxn>
                <a:cxn ang="0">
                  <a:pos x="98" y="68"/>
                </a:cxn>
                <a:cxn ang="0">
                  <a:pos x="101" y="69"/>
                </a:cxn>
                <a:cxn ang="0">
                  <a:pos x="102" y="72"/>
                </a:cxn>
                <a:cxn ang="0">
                  <a:pos x="102" y="75"/>
                </a:cxn>
                <a:cxn ang="0">
                  <a:pos x="115" y="84"/>
                </a:cxn>
                <a:cxn ang="0">
                  <a:pos x="118" y="85"/>
                </a:cxn>
                <a:cxn ang="0">
                  <a:pos x="125" y="98"/>
                </a:cxn>
                <a:cxn ang="0">
                  <a:pos x="125" y="110"/>
                </a:cxn>
                <a:cxn ang="0">
                  <a:pos x="128" y="113"/>
                </a:cxn>
                <a:cxn ang="0">
                  <a:pos x="130" y="117"/>
                </a:cxn>
                <a:cxn ang="0">
                  <a:pos x="138" y="126"/>
                </a:cxn>
              </a:cxnLst>
              <a:rect l="0" t="0" r="r" b="b"/>
              <a:pathLst>
                <a:path w="138" h="142">
                  <a:moveTo>
                    <a:pt x="138" y="126"/>
                  </a:moveTo>
                  <a:lnTo>
                    <a:pt x="137" y="129"/>
                  </a:lnTo>
                  <a:lnTo>
                    <a:pt x="132" y="126"/>
                  </a:lnTo>
                  <a:lnTo>
                    <a:pt x="131" y="126"/>
                  </a:lnTo>
                  <a:lnTo>
                    <a:pt x="131" y="127"/>
                  </a:lnTo>
                  <a:lnTo>
                    <a:pt x="124" y="126"/>
                  </a:lnTo>
                  <a:lnTo>
                    <a:pt x="119" y="127"/>
                  </a:lnTo>
                  <a:lnTo>
                    <a:pt x="115" y="138"/>
                  </a:lnTo>
                  <a:lnTo>
                    <a:pt x="111" y="142"/>
                  </a:lnTo>
                  <a:lnTo>
                    <a:pt x="85" y="140"/>
                  </a:lnTo>
                  <a:lnTo>
                    <a:pt x="69" y="133"/>
                  </a:lnTo>
                  <a:lnTo>
                    <a:pt x="69" y="132"/>
                  </a:lnTo>
                  <a:lnTo>
                    <a:pt x="69" y="122"/>
                  </a:lnTo>
                  <a:lnTo>
                    <a:pt x="67" y="122"/>
                  </a:lnTo>
                  <a:lnTo>
                    <a:pt x="60" y="120"/>
                  </a:lnTo>
                  <a:lnTo>
                    <a:pt x="58" y="116"/>
                  </a:lnTo>
                  <a:lnTo>
                    <a:pt x="3" y="91"/>
                  </a:lnTo>
                  <a:lnTo>
                    <a:pt x="3" y="91"/>
                  </a:lnTo>
                  <a:lnTo>
                    <a:pt x="0" y="71"/>
                  </a:lnTo>
                  <a:lnTo>
                    <a:pt x="31" y="52"/>
                  </a:lnTo>
                  <a:lnTo>
                    <a:pt x="34" y="46"/>
                  </a:lnTo>
                  <a:lnTo>
                    <a:pt x="35" y="18"/>
                  </a:lnTo>
                  <a:lnTo>
                    <a:pt x="44" y="16"/>
                  </a:lnTo>
                  <a:lnTo>
                    <a:pt x="48" y="7"/>
                  </a:lnTo>
                  <a:lnTo>
                    <a:pt x="58" y="0"/>
                  </a:lnTo>
                  <a:lnTo>
                    <a:pt x="64" y="1"/>
                  </a:lnTo>
                  <a:lnTo>
                    <a:pt x="77" y="1"/>
                  </a:lnTo>
                  <a:lnTo>
                    <a:pt x="79" y="4"/>
                  </a:lnTo>
                  <a:lnTo>
                    <a:pt x="83" y="5"/>
                  </a:lnTo>
                  <a:lnTo>
                    <a:pt x="85" y="2"/>
                  </a:lnTo>
                  <a:lnTo>
                    <a:pt x="86" y="11"/>
                  </a:lnTo>
                  <a:lnTo>
                    <a:pt x="89" y="16"/>
                  </a:lnTo>
                  <a:lnTo>
                    <a:pt x="92" y="18"/>
                  </a:lnTo>
                  <a:lnTo>
                    <a:pt x="93" y="24"/>
                  </a:lnTo>
                  <a:lnTo>
                    <a:pt x="96" y="27"/>
                  </a:lnTo>
                  <a:lnTo>
                    <a:pt x="106" y="29"/>
                  </a:lnTo>
                  <a:lnTo>
                    <a:pt x="105" y="30"/>
                  </a:lnTo>
                  <a:lnTo>
                    <a:pt x="103" y="34"/>
                  </a:lnTo>
                  <a:lnTo>
                    <a:pt x="105" y="39"/>
                  </a:lnTo>
                  <a:lnTo>
                    <a:pt x="99" y="47"/>
                  </a:lnTo>
                  <a:lnTo>
                    <a:pt x="99" y="49"/>
                  </a:lnTo>
                  <a:lnTo>
                    <a:pt x="96" y="50"/>
                  </a:lnTo>
                  <a:lnTo>
                    <a:pt x="96" y="52"/>
                  </a:lnTo>
                  <a:lnTo>
                    <a:pt x="95" y="58"/>
                  </a:lnTo>
                  <a:lnTo>
                    <a:pt x="93" y="59"/>
                  </a:lnTo>
                  <a:lnTo>
                    <a:pt x="93" y="61"/>
                  </a:lnTo>
                  <a:lnTo>
                    <a:pt x="93" y="63"/>
                  </a:lnTo>
                  <a:lnTo>
                    <a:pt x="95" y="65"/>
                  </a:lnTo>
                  <a:lnTo>
                    <a:pt x="98" y="65"/>
                  </a:lnTo>
                  <a:lnTo>
                    <a:pt x="98" y="68"/>
                  </a:lnTo>
                  <a:lnTo>
                    <a:pt x="101" y="69"/>
                  </a:lnTo>
                  <a:lnTo>
                    <a:pt x="102" y="72"/>
                  </a:lnTo>
                  <a:lnTo>
                    <a:pt x="102" y="75"/>
                  </a:lnTo>
                  <a:lnTo>
                    <a:pt x="115" y="84"/>
                  </a:lnTo>
                  <a:lnTo>
                    <a:pt x="118" y="85"/>
                  </a:lnTo>
                  <a:lnTo>
                    <a:pt x="125" y="98"/>
                  </a:lnTo>
                  <a:lnTo>
                    <a:pt x="125" y="110"/>
                  </a:lnTo>
                  <a:lnTo>
                    <a:pt x="128" y="113"/>
                  </a:lnTo>
                  <a:lnTo>
                    <a:pt x="130" y="117"/>
                  </a:lnTo>
                  <a:lnTo>
                    <a:pt x="138" y="12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26" name="Freeform 960"/>
            <p:cNvSpPr>
              <a:spLocks/>
            </p:cNvSpPr>
            <p:nvPr/>
          </p:nvSpPr>
          <p:spPr bwMode="auto">
            <a:xfrm>
              <a:off x="6625460" y="2678315"/>
              <a:ext cx="126403" cy="148064"/>
            </a:xfrm>
            <a:custGeom>
              <a:avLst/>
              <a:gdLst/>
              <a:ahLst/>
              <a:cxnLst>
                <a:cxn ang="0">
                  <a:pos x="138" y="126"/>
                </a:cxn>
                <a:cxn ang="0">
                  <a:pos x="137" y="129"/>
                </a:cxn>
                <a:cxn ang="0">
                  <a:pos x="132" y="126"/>
                </a:cxn>
                <a:cxn ang="0">
                  <a:pos x="131" y="126"/>
                </a:cxn>
                <a:cxn ang="0">
                  <a:pos x="131" y="127"/>
                </a:cxn>
                <a:cxn ang="0">
                  <a:pos x="124" y="126"/>
                </a:cxn>
                <a:cxn ang="0">
                  <a:pos x="119" y="127"/>
                </a:cxn>
                <a:cxn ang="0">
                  <a:pos x="115" y="138"/>
                </a:cxn>
                <a:cxn ang="0">
                  <a:pos x="111" y="142"/>
                </a:cxn>
                <a:cxn ang="0">
                  <a:pos x="85" y="140"/>
                </a:cxn>
                <a:cxn ang="0">
                  <a:pos x="69" y="133"/>
                </a:cxn>
                <a:cxn ang="0">
                  <a:pos x="69" y="132"/>
                </a:cxn>
                <a:cxn ang="0">
                  <a:pos x="69" y="122"/>
                </a:cxn>
                <a:cxn ang="0">
                  <a:pos x="67" y="122"/>
                </a:cxn>
                <a:cxn ang="0">
                  <a:pos x="60" y="120"/>
                </a:cxn>
                <a:cxn ang="0">
                  <a:pos x="58" y="116"/>
                </a:cxn>
                <a:cxn ang="0">
                  <a:pos x="3" y="91"/>
                </a:cxn>
                <a:cxn ang="0">
                  <a:pos x="3" y="91"/>
                </a:cxn>
                <a:cxn ang="0">
                  <a:pos x="0" y="71"/>
                </a:cxn>
                <a:cxn ang="0">
                  <a:pos x="31" y="52"/>
                </a:cxn>
                <a:cxn ang="0">
                  <a:pos x="34" y="46"/>
                </a:cxn>
                <a:cxn ang="0">
                  <a:pos x="35" y="18"/>
                </a:cxn>
                <a:cxn ang="0">
                  <a:pos x="44" y="16"/>
                </a:cxn>
                <a:cxn ang="0">
                  <a:pos x="48" y="7"/>
                </a:cxn>
                <a:cxn ang="0">
                  <a:pos x="58" y="0"/>
                </a:cxn>
                <a:cxn ang="0">
                  <a:pos x="64" y="1"/>
                </a:cxn>
                <a:cxn ang="0">
                  <a:pos x="77" y="1"/>
                </a:cxn>
                <a:cxn ang="0">
                  <a:pos x="79" y="4"/>
                </a:cxn>
                <a:cxn ang="0">
                  <a:pos x="83" y="5"/>
                </a:cxn>
                <a:cxn ang="0">
                  <a:pos x="85" y="2"/>
                </a:cxn>
                <a:cxn ang="0">
                  <a:pos x="86" y="11"/>
                </a:cxn>
                <a:cxn ang="0">
                  <a:pos x="89" y="16"/>
                </a:cxn>
                <a:cxn ang="0">
                  <a:pos x="92" y="18"/>
                </a:cxn>
                <a:cxn ang="0">
                  <a:pos x="93" y="24"/>
                </a:cxn>
                <a:cxn ang="0">
                  <a:pos x="96" y="27"/>
                </a:cxn>
                <a:cxn ang="0">
                  <a:pos x="106" y="29"/>
                </a:cxn>
                <a:cxn ang="0">
                  <a:pos x="105" y="30"/>
                </a:cxn>
                <a:cxn ang="0">
                  <a:pos x="103" y="34"/>
                </a:cxn>
                <a:cxn ang="0">
                  <a:pos x="105" y="39"/>
                </a:cxn>
                <a:cxn ang="0">
                  <a:pos x="99" y="47"/>
                </a:cxn>
                <a:cxn ang="0">
                  <a:pos x="99" y="49"/>
                </a:cxn>
                <a:cxn ang="0">
                  <a:pos x="96" y="50"/>
                </a:cxn>
                <a:cxn ang="0">
                  <a:pos x="96" y="52"/>
                </a:cxn>
                <a:cxn ang="0">
                  <a:pos x="95" y="58"/>
                </a:cxn>
                <a:cxn ang="0">
                  <a:pos x="93" y="59"/>
                </a:cxn>
                <a:cxn ang="0">
                  <a:pos x="93" y="61"/>
                </a:cxn>
                <a:cxn ang="0">
                  <a:pos x="93" y="63"/>
                </a:cxn>
                <a:cxn ang="0">
                  <a:pos x="95" y="65"/>
                </a:cxn>
                <a:cxn ang="0">
                  <a:pos x="98" y="65"/>
                </a:cxn>
                <a:cxn ang="0">
                  <a:pos x="98" y="68"/>
                </a:cxn>
                <a:cxn ang="0">
                  <a:pos x="101" y="69"/>
                </a:cxn>
                <a:cxn ang="0">
                  <a:pos x="102" y="72"/>
                </a:cxn>
                <a:cxn ang="0">
                  <a:pos x="102" y="75"/>
                </a:cxn>
                <a:cxn ang="0">
                  <a:pos x="115" y="84"/>
                </a:cxn>
                <a:cxn ang="0">
                  <a:pos x="118" y="85"/>
                </a:cxn>
                <a:cxn ang="0">
                  <a:pos x="125" y="98"/>
                </a:cxn>
                <a:cxn ang="0">
                  <a:pos x="125" y="110"/>
                </a:cxn>
                <a:cxn ang="0">
                  <a:pos x="128" y="113"/>
                </a:cxn>
                <a:cxn ang="0">
                  <a:pos x="130" y="117"/>
                </a:cxn>
                <a:cxn ang="0">
                  <a:pos x="138" y="126"/>
                </a:cxn>
              </a:cxnLst>
              <a:rect l="0" t="0" r="r" b="b"/>
              <a:pathLst>
                <a:path w="138" h="142">
                  <a:moveTo>
                    <a:pt x="138" y="126"/>
                  </a:moveTo>
                  <a:lnTo>
                    <a:pt x="137" y="129"/>
                  </a:lnTo>
                  <a:lnTo>
                    <a:pt x="132" y="126"/>
                  </a:lnTo>
                  <a:lnTo>
                    <a:pt x="131" y="126"/>
                  </a:lnTo>
                  <a:lnTo>
                    <a:pt x="131" y="127"/>
                  </a:lnTo>
                  <a:lnTo>
                    <a:pt x="124" y="126"/>
                  </a:lnTo>
                  <a:lnTo>
                    <a:pt x="119" y="127"/>
                  </a:lnTo>
                  <a:lnTo>
                    <a:pt x="115" y="138"/>
                  </a:lnTo>
                  <a:lnTo>
                    <a:pt x="111" y="142"/>
                  </a:lnTo>
                  <a:lnTo>
                    <a:pt x="85" y="140"/>
                  </a:lnTo>
                  <a:lnTo>
                    <a:pt x="69" y="133"/>
                  </a:lnTo>
                  <a:lnTo>
                    <a:pt x="69" y="132"/>
                  </a:lnTo>
                  <a:lnTo>
                    <a:pt x="69" y="122"/>
                  </a:lnTo>
                  <a:lnTo>
                    <a:pt x="67" y="122"/>
                  </a:lnTo>
                  <a:lnTo>
                    <a:pt x="60" y="120"/>
                  </a:lnTo>
                  <a:lnTo>
                    <a:pt x="58" y="116"/>
                  </a:lnTo>
                  <a:lnTo>
                    <a:pt x="3" y="91"/>
                  </a:lnTo>
                  <a:lnTo>
                    <a:pt x="3" y="91"/>
                  </a:lnTo>
                  <a:lnTo>
                    <a:pt x="0" y="71"/>
                  </a:lnTo>
                  <a:lnTo>
                    <a:pt x="31" y="52"/>
                  </a:lnTo>
                  <a:lnTo>
                    <a:pt x="34" y="46"/>
                  </a:lnTo>
                  <a:lnTo>
                    <a:pt x="35" y="18"/>
                  </a:lnTo>
                  <a:lnTo>
                    <a:pt x="44" y="16"/>
                  </a:lnTo>
                  <a:lnTo>
                    <a:pt x="48" y="7"/>
                  </a:lnTo>
                  <a:lnTo>
                    <a:pt x="58" y="0"/>
                  </a:lnTo>
                  <a:lnTo>
                    <a:pt x="64" y="1"/>
                  </a:lnTo>
                  <a:lnTo>
                    <a:pt x="77" y="1"/>
                  </a:lnTo>
                  <a:lnTo>
                    <a:pt x="79" y="4"/>
                  </a:lnTo>
                  <a:lnTo>
                    <a:pt x="83" y="5"/>
                  </a:lnTo>
                  <a:lnTo>
                    <a:pt x="85" y="2"/>
                  </a:lnTo>
                  <a:lnTo>
                    <a:pt x="86" y="11"/>
                  </a:lnTo>
                  <a:lnTo>
                    <a:pt x="89" y="16"/>
                  </a:lnTo>
                  <a:lnTo>
                    <a:pt x="92" y="18"/>
                  </a:lnTo>
                  <a:lnTo>
                    <a:pt x="93" y="24"/>
                  </a:lnTo>
                  <a:lnTo>
                    <a:pt x="96" y="27"/>
                  </a:lnTo>
                  <a:lnTo>
                    <a:pt x="106" y="29"/>
                  </a:lnTo>
                  <a:lnTo>
                    <a:pt x="105" y="30"/>
                  </a:lnTo>
                  <a:lnTo>
                    <a:pt x="103" y="34"/>
                  </a:lnTo>
                  <a:lnTo>
                    <a:pt x="105" y="39"/>
                  </a:lnTo>
                  <a:lnTo>
                    <a:pt x="99" y="47"/>
                  </a:lnTo>
                  <a:lnTo>
                    <a:pt x="99" y="49"/>
                  </a:lnTo>
                  <a:lnTo>
                    <a:pt x="96" y="50"/>
                  </a:lnTo>
                  <a:lnTo>
                    <a:pt x="96" y="52"/>
                  </a:lnTo>
                  <a:lnTo>
                    <a:pt x="95" y="58"/>
                  </a:lnTo>
                  <a:lnTo>
                    <a:pt x="93" y="59"/>
                  </a:lnTo>
                  <a:lnTo>
                    <a:pt x="93" y="61"/>
                  </a:lnTo>
                  <a:lnTo>
                    <a:pt x="93" y="63"/>
                  </a:lnTo>
                  <a:lnTo>
                    <a:pt x="95" y="65"/>
                  </a:lnTo>
                  <a:lnTo>
                    <a:pt x="98" y="65"/>
                  </a:lnTo>
                  <a:lnTo>
                    <a:pt x="98" y="68"/>
                  </a:lnTo>
                  <a:lnTo>
                    <a:pt x="101" y="69"/>
                  </a:lnTo>
                  <a:lnTo>
                    <a:pt x="102" y="72"/>
                  </a:lnTo>
                  <a:lnTo>
                    <a:pt x="102" y="75"/>
                  </a:lnTo>
                  <a:lnTo>
                    <a:pt x="115" y="84"/>
                  </a:lnTo>
                  <a:lnTo>
                    <a:pt x="118" y="85"/>
                  </a:lnTo>
                  <a:lnTo>
                    <a:pt x="125" y="98"/>
                  </a:lnTo>
                  <a:lnTo>
                    <a:pt x="125" y="110"/>
                  </a:lnTo>
                  <a:lnTo>
                    <a:pt x="128" y="113"/>
                  </a:lnTo>
                  <a:lnTo>
                    <a:pt x="130" y="117"/>
                  </a:lnTo>
                  <a:lnTo>
                    <a:pt x="138" y="12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27" name="Freeform 961"/>
            <p:cNvSpPr>
              <a:spLocks/>
            </p:cNvSpPr>
            <p:nvPr/>
          </p:nvSpPr>
          <p:spPr bwMode="auto">
            <a:xfrm>
              <a:off x="6780830" y="2874043"/>
              <a:ext cx="9656" cy="28396"/>
            </a:xfrm>
            <a:custGeom>
              <a:avLst/>
              <a:gdLst/>
              <a:ahLst/>
              <a:cxnLst>
                <a:cxn ang="0">
                  <a:pos x="4" y="27"/>
                </a:cxn>
                <a:cxn ang="0">
                  <a:pos x="10" y="24"/>
                </a:cxn>
                <a:cxn ang="0">
                  <a:pos x="10" y="24"/>
                </a:cxn>
                <a:cxn ang="0">
                  <a:pos x="10" y="22"/>
                </a:cxn>
                <a:cxn ang="0">
                  <a:pos x="11" y="21"/>
                </a:cxn>
                <a:cxn ang="0">
                  <a:pos x="11" y="19"/>
                </a:cxn>
                <a:cxn ang="0">
                  <a:pos x="11" y="15"/>
                </a:cxn>
                <a:cxn ang="0">
                  <a:pos x="11" y="14"/>
                </a:cxn>
                <a:cxn ang="0">
                  <a:pos x="11" y="9"/>
                </a:cxn>
                <a:cxn ang="0">
                  <a:pos x="11" y="9"/>
                </a:cxn>
                <a:cxn ang="0">
                  <a:pos x="11" y="9"/>
                </a:cxn>
                <a:cxn ang="0">
                  <a:pos x="11" y="8"/>
                </a:cxn>
                <a:cxn ang="0">
                  <a:pos x="11" y="6"/>
                </a:cxn>
                <a:cxn ang="0">
                  <a:pos x="11" y="5"/>
                </a:cxn>
                <a:cxn ang="0">
                  <a:pos x="11" y="5"/>
                </a:cxn>
                <a:cxn ang="0">
                  <a:pos x="10" y="5"/>
                </a:cxn>
                <a:cxn ang="0">
                  <a:pos x="8" y="2"/>
                </a:cxn>
                <a:cxn ang="0">
                  <a:pos x="8" y="2"/>
                </a:cxn>
                <a:cxn ang="0">
                  <a:pos x="7" y="0"/>
                </a:cxn>
                <a:cxn ang="0">
                  <a:pos x="6" y="2"/>
                </a:cxn>
                <a:cxn ang="0">
                  <a:pos x="3" y="11"/>
                </a:cxn>
                <a:cxn ang="0">
                  <a:pos x="1" y="12"/>
                </a:cxn>
                <a:cxn ang="0">
                  <a:pos x="1" y="14"/>
                </a:cxn>
                <a:cxn ang="0">
                  <a:pos x="0" y="15"/>
                </a:cxn>
                <a:cxn ang="0">
                  <a:pos x="1" y="16"/>
                </a:cxn>
                <a:cxn ang="0">
                  <a:pos x="0" y="18"/>
                </a:cxn>
                <a:cxn ang="0">
                  <a:pos x="1" y="19"/>
                </a:cxn>
                <a:cxn ang="0">
                  <a:pos x="1" y="21"/>
                </a:cxn>
                <a:cxn ang="0">
                  <a:pos x="1" y="22"/>
                </a:cxn>
                <a:cxn ang="0">
                  <a:pos x="1" y="22"/>
                </a:cxn>
                <a:cxn ang="0">
                  <a:pos x="1" y="24"/>
                </a:cxn>
                <a:cxn ang="0">
                  <a:pos x="3" y="27"/>
                </a:cxn>
                <a:cxn ang="0">
                  <a:pos x="4" y="27"/>
                </a:cxn>
              </a:cxnLst>
              <a:rect l="0" t="0" r="r" b="b"/>
              <a:pathLst>
                <a:path w="11" h="27">
                  <a:moveTo>
                    <a:pt x="4" y="27"/>
                  </a:moveTo>
                  <a:lnTo>
                    <a:pt x="10" y="24"/>
                  </a:lnTo>
                  <a:lnTo>
                    <a:pt x="10" y="24"/>
                  </a:lnTo>
                  <a:lnTo>
                    <a:pt x="10" y="22"/>
                  </a:lnTo>
                  <a:lnTo>
                    <a:pt x="11" y="21"/>
                  </a:lnTo>
                  <a:lnTo>
                    <a:pt x="11" y="19"/>
                  </a:lnTo>
                  <a:lnTo>
                    <a:pt x="11" y="15"/>
                  </a:lnTo>
                  <a:lnTo>
                    <a:pt x="11" y="14"/>
                  </a:lnTo>
                  <a:lnTo>
                    <a:pt x="11" y="9"/>
                  </a:lnTo>
                  <a:lnTo>
                    <a:pt x="11" y="9"/>
                  </a:lnTo>
                  <a:lnTo>
                    <a:pt x="11" y="9"/>
                  </a:lnTo>
                  <a:lnTo>
                    <a:pt x="11" y="8"/>
                  </a:lnTo>
                  <a:lnTo>
                    <a:pt x="11" y="6"/>
                  </a:lnTo>
                  <a:lnTo>
                    <a:pt x="11" y="5"/>
                  </a:lnTo>
                  <a:lnTo>
                    <a:pt x="11" y="5"/>
                  </a:lnTo>
                  <a:lnTo>
                    <a:pt x="10" y="5"/>
                  </a:lnTo>
                  <a:lnTo>
                    <a:pt x="8" y="2"/>
                  </a:lnTo>
                  <a:lnTo>
                    <a:pt x="8" y="2"/>
                  </a:lnTo>
                  <a:lnTo>
                    <a:pt x="7" y="0"/>
                  </a:lnTo>
                  <a:lnTo>
                    <a:pt x="6" y="2"/>
                  </a:lnTo>
                  <a:lnTo>
                    <a:pt x="3" y="11"/>
                  </a:lnTo>
                  <a:lnTo>
                    <a:pt x="1" y="12"/>
                  </a:lnTo>
                  <a:lnTo>
                    <a:pt x="1" y="14"/>
                  </a:lnTo>
                  <a:lnTo>
                    <a:pt x="0" y="15"/>
                  </a:lnTo>
                  <a:lnTo>
                    <a:pt x="1" y="16"/>
                  </a:lnTo>
                  <a:lnTo>
                    <a:pt x="0" y="18"/>
                  </a:lnTo>
                  <a:lnTo>
                    <a:pt x="1" y="19"/>
                  </a:lnTo>
                  <a:lnTo>
                    <a:pt x="1" y="21"/>
                  </a:lnTo>
                  <a:lnTo>
                    <a:pt x="1" y="22"/>
                  </a:lnTo>
                  <a:lnTo>
                    <a:pt x="1" y="22"/>
                  </a:lnTo>
                  <a:lnTo>
                    <a:pt x="1" y="24"/>
                  </a:lnTo>
                  <a:lnTo>
                    <a:pt x="3" y="27"/>
                  </a:lnTo>
                  <a:lnTo>
                    <a:pt x="4" y="2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28" name="Freeform 962"/>
            <p:cNvSpPr>
              <a:spLocks/>
            </p:cNvSpPr>
            <p:nvPr/>
          </p:nvSpPr>
          <p:spPr bwMode="auto">
            <a:xfrm>
              <a:off x="6780830" y="2874043"/>
              <a:ext cx="9656" cy="28396"/>
            </a:xfrm>
            <a:custGeom>
              <a:avLst/>
              <a:gdLst/>
              <a:ahLst/>
              <a:cxnLst>
                <a:cxn ang="0">
                  <a:pos x="4" y="27"/>
                </a:cxn>
                <a:cxn ang="0">
                  <a:pos x="10" y="24"/>
                </a:cxn>
                <a:cxn ang="0">
                  <a:pos x="10" y="24"/>
                </a:cxn>
                <a:cxn ang="0">
                  <a:pos x="10" y="22"/>
                </a:cxn>
                <a:cxn ang="0">
                  <a:pos x="11" y="21"/>
                </a:cxn>
                <a:cxn ang="0">
                  <a:pos x="11" y="19"/>
                </a:cxn>
                <a:cxn ang="0">
                  <a:pos x="11" y="15"/>
                </a:cxn>
                <a:cxn ang="0">
                  <a:pos x="11" y="14"/>
                </a:cxn>
                <a:cxn ang="0">
                  <a:pos x="11" y="9"/>
                </a:cxn>
                <a:cxn ang="0">
                  <a:pos x="11" y="9"/>
                </a:cxn>
                <a:cxn ang="0">
                  <a:pos x="11" y="9"/>
                </a:cxn>
                <a:cxn ang="0">
                  <a:pos x="11" y="8"/>
                </a:cxn>
                <a:cxn ang="0">
                  <a:pos x="11" y="6"/>
                </a:cxn>
                <a:cxn ang="0">
                  <a:pos x="11" y="5"/>
                </a:cxn>
                <a:cxn ang="0">
                  <a:pos x="11" y="5"/>
                </a:cxn>
                <a:cxn ang="0">
                  <a:pos x="10" y="5"/>
                </a:cxn>
                <a:cxn ang="0">
                  <a:pos x="8" y="2"/>
                </a:cxn>
                <a:cxn ang="0">
                  <a:pos x="8" y="2"/>
                </a:cxn>
                <a:cxn ang="0">
                  <a:pos x="7" y="0"/>
                </a:cxn>
                <a:cxn ang="0">
                  <a:pos x="6" y="2"/>
                </a:cxn>
                <a:cxn ang="0">
                  <a:pos x="3" y="11"/>
                </a:cxn>
                <a:cxn ang="0">
                  <a:pos x="1" y="12"/>
                </a:cxn>
                <a:cxn ang="0">
                  <a:pos x="1" y="14"/>
                </a:cxn>
                <a:cxn ang="0">
                  <a:pos x="0" y="15"/>
                </a:cxn>
                <a:cxn ang="0">
                  <a:pos x="1" y="16"/>
                </a:cxn>
                <a:cxn ang="0">
                  <a:pos x="0" y="18"/>
                </a:cxn>
                <a:cxn ang="0">
                  <a:pos x="1" y="19"/>
                </a:cxn>
                <a:cxn ang="0">
                  <a:pos x="1" y="21"/>
                </a:cxn>
                <a:cxn ang="0">
                  <a:pos x="1" y="22"/>
                </a:cxn>
                <a:cxn ang="0">
                  <a:pos x="1" y="22"/>
                </a:cxn>
                <a:cxn ang="0">
                  <a:pos x="1" y="24"/>
                </a:cxn>
                <a:cxn ang="0">
                  <a:pos x="3" y="27"/>
                </a:cxn>
                <a:cxn ang="0">
                  <a:pos x="4" y="27"/>
                </a:cxn>
              </a:cxnLst>
              <a:rect l="0" t="0" r="r" b="b"/>
              <a:pathLst>
                <a:path w="11" h="27">
                  <a:moveTo>
                    <a:pt x="4" y="27"/>
                  </a:moveTo>
                  <a:lnTo>
                    <a:pt x="10" y="24"/>
                  </a:lnTo>
                  <a:lnTo>
                    <a:pt x="10" y="24"/>
                  </a:lnTo>
                  <a:lnTo>
                    <a:pt x="10" y="22"/>
                  </a:lnTo>
                  <a:lnTo>
                    <a:pt x="11" y="21"/>
                  </a:lnTo>
                  <a:lnTo>
                    <a:pt x="11" y="19"/>
                  </a:lnTo>
                  <a:lnTo>
                    <a:pt x="11" y="15"/>
                  </a:lnTo>
                  <a:lnTo>
                    <a:pt x="11" y="14"/>
                  </a:lnTo>
                  <a:lnTo>
                    <a:pt x="11" y="9"/>
                  </a:lnTo>
                  <a:lnTo>
                    <a:pt x="11" y="9"/>
                  </a:lnTo>
                  <a:lnTo>
                    <a:pt x="11" y="9"/>
                  </a:lnTo>
                  <a:lnTo>
                    <a:pt x="11" y="8"/>
                  </a:lnTo>
                  <a:lnTo>
                    <a:pt x="11" y="6"/>
                  </a:lnTo>
                  <a:lnTo>
                    <a:pt x="11" y="5"/>
                  </a:lnTo>
                  <a:lnTo>
                    <a:pt x="11" y="5"/>
                  </a:lnTo>
                  <a:lnTo>
                    <a:pt x="10" y="5"/>
                  </a:lnTo>
                  <a:lnTo>
                    <a:pt x="8" y="2"/>
                  </a:lnTo>
                  <a:lnTo>
                    <a:pt x="8" y="2"/>
                  </a:lnTo>
                  <a:lnTo>
                    <a:pt x="7" y="0"/>
                  </a:lnTo>
                  <a:lnTo>
                    <a:pt x="6" y="2"/>
                  </a:lnTo>
                  <a:lnTo>
                    <a:pt x="3" y="11"/>
                  </a:lnTo>
                  <a:lnTo>
                    <a:pt x="1" y="12"/>
                  </a:lnTo>
                  <a:lnTo>
                    <a:pt x="1" y="14"/>
                  </a:lnTo>
                  <a:lnTo>
                    <a:pt x="0" y="15"/>
                  </a:lnTo>
                  <a:lnTo>
                    <a:pt x="1" y="16"/>
                  </a:lnTo>
                  <a:lnTo>
                    <a:pt x="0" y="18"/>
                  </a:lnTo>
                  <a:lnTo>
                    <a:pt x="1" y="19"/>
                  </a:lnTo>
                  <a:lnTo>
                    <a:pt x="1" y="21"/>
                  </a:lnTo>
                  <a:lnTo>
                    <a:pt x="1" y="22"/>
                  </a:lnTo>
                  <a:lnTo>
                    <a:pt x="1" y="22"/>
                  </a:lnTo>
                  <a:lnTo>
                    <a:pt x="1" y="24"/>
                  </a:lnTo>
                  <a:lnTo>
                    <a:pt x="3" y="27"/>
                  </a:lnTo>
                  <a:lnTo>
                    <a:pt x="4" y="2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29" name="Freeform 963"/>
            <p:cNvSpPr>
              <a:spLocks/>
            </p:cNvSpPr>
            <p:nvPr/>
          </p:nvSpPr>
          <p:spPr bwMode="auto">
            <a:xfrm>
              <a:off x="7959717" y="3313163"/>
              <a:ext cx="129914" cy="119668"/>
            </a:xfrm>
            <a:custGeom>
              <a:avLst/>
              <a:gdLst/>
              <a:ahLst/>
              <a:cxnLst>
                <a:cxn ang="0">
                  <a:pos x="0" y="58"/>
                </a:cxn>
                <a:cxn ang="0">
                  <a:pos x="2" y="64"/>
                </a:cxn>
                <a:cxn ang="0">
                  <a:pos x="6" y="93"/>
                </a:cxn>
                <a:cxn ang="0">
                  <a:pos x="12" y="94"/>
                </a:cxn>
                <a:cxn ang="0">
                  <a:pos x="23" y="94"/>
                </a:cxn>
                <a:cxn ang="0">
                  <a:pos x="34" y="90"/>
                </a:cxn>
                <a:cxn ang="0">
                  <a:pos x="29" y="81"/>
                </a:cxn>
                <a:cxn ang="0">
                  <a:pos x="35" y="78"/>
                </a:cxn>
                <a:cxn ang="0">
                  <a:pos x="39" y="77"/>
                </a:cxn>
                <a:cxn ang="0">
                  <a:pos x="39" y="70"/>
                </a:cxn>
                <a:cxn ang="0">
                  <a:pos x="45" y="73"/>
                </a:cxn>
                <a:cxn ang="0">
                  <a:pos x="50" y="70"/>
                </a:cxn>
                <a:cxn ang="0">
                  <a:pos x="52" y="70"/>
                </a:cxn>
                <a:cxn ang="0">
                  <a:pos x="54" y="71"/>
                </a:cxn>
                <a:cxn ang="0">
                  <a:pos x="61" y="74"/>
                </a:cxn>
                <a:cxn ang="0">
                  <a:pos x="71" y="78"/>
                </a:cxn>
                <a:cxn ang="0">
                  <a:pos x="76" y="83"/>
                </a:cxn>
                <a:cxn ang="0">
                  <a:pos x="86" y="91"/>
                </a:cxn>
                <a:cxn ang="0">
                  <a:pos x="86" y="94"/>
                </a:cxn>
                <a:cxn ang="0">
                  <a:pos x="90" y="99"/>
                </a:cxn>
                <a:cxn ang="0">
                  <a:pos x="97" y="106"/>
                </a:cxn>
                <a:cxn ang="0">
                  <a:pos x="128" y="112"/>
                </a:cxn>
                <a:cxn ang="0">
                  <a:pos x="129" y="115"/>
                </a:cxn>
                <a:cxn ang="0">
                  <a:pos x="137" y="115"/>
                </a:cxn>
                <a:cxn ang="0">
                  <a:pos x="135" y="110"/>
                </a:cxn>
                <a:cxn ang="0">
                  <a:pos x="138" y="110"/>
                </a:cxn>
                <a:cxn ang="0">
                  <a:pos x="141" y="109"/>
                </a:cxn>
                <a:cxn ang="0">
                  <a:pos x="126" y="104"/>
                </a:cxn>
                <a:cxn ang="0">
                  <a:pos x="128" y="100"/>
                </a:cxn>
                <a:cxn ang="0">
                  <a:pos x="119" y="99"/>
                </a:cxn>
                <a:cxn ang="0">
                  <a:pos x="118" y="93"/>
                </a:cxn>
                <a:cxn ang="0">
                  <a:pos x="111" y="91"/>
                </a:cxn>
                <a:cxn ang="0">
                  <a:pos x="106" y="87"/>
                </a:cxn>
                <a:cxn ang="0">
                  <a:pos x="103" y="83"/>
                </a:cxn>
                <a:cxn ang="0">
                  <a:pos x="102" y="78"/>
                </a:cxn>
                <a:cxn ang="0">
                  <a:pos x="92" y="70"/>
                </a:cxn>
                <a:cxn ang="0">
                  <a:pos x="86" y="61"/>
                </a:cxn>
                <a:cxn ang="0">
                  <a:pos x="95" y="59"/>
                </a:cxn>
                <a:cxn ang="0">
                  <a:pos x="97" y="58"/>
                </a:cxn>
                <a:cxn ang="0">
                  <a:pos x="95" y="49"/>
                </a:cxn>
                <a:cxn ang="0">
                  <a:pos x="90" y="48"/>
                </a:cxn>
                <a:cxn ang="0">
                  <a:pos x="77" y="42"/>
                </a:cxn>
                <a:cxn ang="0">
                  <a:pos x="68" y="39"/>
                </a:cxn>
                <a:cxn ang="0">
                  <a:pos x="67" y="32"/>
                </a:cxn>
                <a:cxn ang="0">
                  <a:pos x="52" y="20"/>
                </a:cxn>
                <a:cxn ang="0">
                  <a:pos x="45" y="16"/>
                </a:cxn>
              </a:cxnLst>
              <a:rect l="0" t="0" r="r" b="b"/>
              <a:pathLst>
                <a:path w="141" h="115">
                  <a:moveTo>
                    <a:pt x="0" y="0"/>
                  </a:moveTo>
                  <a:lnTo>
                    <a:pt x="0" y="58"/>
                  </a:lnTo>
                  <a:lnTo>
                    <a:pt x="0" y="59"/>
                  </a:lnTo>
                  <a:lnTo>
                    <a:pt x="2" y="64"/>
                  </a:lnTo>
                  <a:lnTo>
                    <a:pt x="3" y="93"/>
                  </a:lnTo>
                  <a:lnTo>
                    <a:pt x="6" y="93"/>
                  </a:lnTo>
                  <a:lnTo>
                    <a:pt x="7" y="93"/>
                  </a:lnTo>
                  <a:lnTo>
                    <a:pt x="12" y="94"/>
                  </a:lnTo>
                  <a:lnTo>
                    <a:pt x="19" y="93"/>
                  </a:lnTo>
                  <a:lnTo>
                    <a:pt x="23" y="94"/>
                  </a:lnTo>
                  <a:lnTo>
                    <a:pt x="32" y="91"/>
                  </a:lnTo>
                  <a:lnTo>
                    <a:pt x="34" y="90"/>
                  </a:lnTo>
                  <a:lnTo>
                    <a:pt x="32" y="86"/>
                  </a:lnTo>
                  <a:lnTo>
                    <a:pt x="29" y="81"/>
                  </a:lnTo>
                  <a:lnTo>
                    <a:pt x="35" y="80"/>
                  </a:lnTo>
                  <a:lnTo>
                    <a:pt x="35" y="78"/>
                  </a:lnTo>
                  <a:lnTo>
                    <a:pt x="36" y="77"/>
                  </a:lnTo>
                  <a:lnTo>
                    <a:pt x="39" y="77"/>
                  </a:lnTo>
                  <a:lnTo>
                    <a:pt x="41" y="75"/>
                  </a:lnTo>
                  <a:lnTo>
                    <a:pt x="39" y="70"/>
                  </a:lnTo>
                  <a:lnTo>
                    <a:pt x="42" y="71"/>
                  </a:lnTo>
                  <a:lnTo>
                    <a:pt x="45" y="73"/>
                  </a:lnTo>
                  <a:lnTo>
                    <a:pt x="47" y="71"/>
                  </a:lnTo>
                  <a:lnTo>
                    <a:pt x="50" y="70"/>
                  </a:lnTo>
                  <a:lnTo>
                    <a:pt x="51" y="71"/>
                  </a:lnTo>
                  <a:lnTo>
                    <a:pt x="52" y="70"/>
                  </a:lnTo>
                  <a:lnTo>
                    <a:pt x="54" y="71"/>
                  </a:lnTo>
                  <a:lnTo>
                    <a:pt x="54" y="71"/>
                  </a:lnTo>
                  <a:lnTo>
                    <a:pt x="60" y="74"/>
                  </a:lnTo>
                  <a:lnTo>
                    <a:pt x="61" y="74"/>
                  </a:lnTo>
                  <a:lnTo>
                    <a:pt x="64" y="75"/>
                  </a:lnTo>
                  <a:lnTo>
                    <a:pt x="71" y="78"/>
                  </a:lnTo>
                  <a:lnTo>
                    <a:pt x="74" y="80"/>
                  </a:lnTo>
                  <a:lnTo>
                    <a:pt x="76" y="83"/>
                  </a:lnTo>
                  <a:lnTo>
                    <a:pt x="80" y="91"/>
                  </a:lnTo>
                  <a:lnTo>
                    <a:pt x="86" y="91"/>
                  </a:lnTo>
                  <a:lnTo>
                    <a:pt x="84" y="94"/>
                  </a:lnTo>
                  <a:lnTo>
                    <a:pt x="86" y="94"/>
                  </a:lnTo>
                  <a:lnTo>
                    <a:pt x="87" y="97"/>
                  </a:lnTo>
                  <a:lnTo>
                    <a:pt x="90" y="99"/>
                  </a:lnTo>
                  <a:lnTo>
                    <a:pt x="96" y="106"/>
                  </a:lnTo>
                  <a:lnTo>
                    <a:pt x="97" y="106"/>
                  </a:lnTo>
                  <a:lnTo>
                    <a:pt x="100" y="107"/>
                  </a:lnTo>
                  <a:lnTo>
                    <a:pt x="128" y="112"/>
                  </a:lnTo>
                  <a:lnTo>
                    <a:pt x="128" y="112"/>
                  </a:lnTo>
                  <a:lnTo>
                    <a:pt x="129" y="115"/>
                  </a:lnTo>
                  <a:lnTo>
                    <a:pt x="132" y="115"/>
                  </a:lnTo>
                  <a:lnTo>
                    <a:pt x="137" y="115"/>
                  </a:lnTo>
                  <a:lnTo>
                    <a:pt x="138" y="112"/>
                  </a:lnTo>
                  <a:lnTo>
                    <a:pt x="135" y="110"/>
                  </a:lnTo>
                  <a:lnTo>
                    <a:pt x="134" y="110"/>
                  </a:lnTo>
                  <a:lnTo>
                    <a:pt x="138" y="110"/>
                  </a:lnTo>
                  <a:lnTo>
                    <a:pt x="141" y="110"/>
                  </a:lnTo>
                  <a:lnTo>
                    <a:pt x="141" y="109"/>
                  </a:lnTo>
                  <a:lnTo>
                    <a:pt x="131" y="106"/>
                  </a:lnTo>
                  <a:lnTo>
                    <a:pt x="126" y="104"/>
                  </a:lnTo>
                  <a:lnTo>
                    <a:pt x="126" y="102"/>
                  </a:lnTo>
                  <a:lnTo>
                    <a:pt x="128" y="100"/>
                  </a:lnTo>
                  <a:lnTo>
                    <a:pt x="126" y="99"/>
                  </a:lnTo>
                  <a:lnTo>
                    <a:pt x="119" y="99"/>
                  </a:lnTo>
                  <a:lnTo>
                    <a:pt x="118" y="97"/>
                  </a:lnTo>
                  <a:lnTo>
                    <a:pt x="118" y="93"/>
                  </a:lnTo>
                  <a:lnTo>
                    <a:pt x="116" y="91"/>
                  </a:lnTo>
                  <a:lnTo>
                    <a:pt x="111" y="91"/>
                  </a:lnTo>
                  <a:lnTo>
                    <a:pt x="108" y="91"/>
                  </a:lnTo>
                  <a:lnTo>
                    <a:pt x="106" y="87"/>
                  </a:lnTo>
                  <a:lnTo>
                    <a:pt x="105" y="86"/>
                  </a:lnTo>
                  <a:lnTo>
                    <a:pt x="103" y="83"/>
                  </a:lnTo>
                  <a:lnTo>
                    <a:pt x="102" y="78"/>
                  </a:lnTo>
                  <a:lnTo>
                    <a:pt x="102" y="78"/>
                  </a:lnTo>
                  <a:lnTo>
                    <a:pt x="100" y="77"/>
                  </a:lnTo>
                  <a:lnTo>
                    <a:pt x="92" y="70"/>
                  </a:lnTo>
                  <a:lnTo>
                    <a:pt x="90" y="70"/>
                  </a:lnTo>
                  <a:lnTo>
                    <a:pt x="86" y="61"/>
                  </a:lnTo>
                  <a:lnTo>
                    <a:pt x="87" y="59"/>
                  </a:lnTo>
                  <a:lnTo>
                    <a:pt x="95" y="59"/>
                  </a:lnTo>
                  <a:lnTo>
                    <a:pt x="96" y="58"/>
                  </a:lnTo>
                  <a:lnTo>
                    <a:pt x="97" y="58"/>
                  </a:lnTo>
                  <a:lnTo>
                    <a:pt x="99" y="55"/>
                  </a:lnTo>
                  <a:lnTo>
                    <a:pt x="95" y="49"/>
                  </a:lnTo>
                  <a:lnTo>
                    <a:pt x="92" y="48"/>
                  </a:lnTo>
                  <a:lnTo>
                    <a:pt x="90" y="48"/>
                  </a:lnTo>
                  <a:lnTo>
                    <a:pt x="81" y="45"/>
                  </a:lnTo>
                  <a:lnTo>
                    <a:pt x="77" y="42"/>
                  </a:lnTo>
                  <a:lnTo>
                    <a:pt x="70" y="41"/>
                  </a:lnTo>
                  <a:lnTo>
                    <a:pt x="68" y="39"/>
                  </a:lnTo>
                  <a:lnTo>
                    <a:pt x="68" y="35"/>
                  </a:lnTo>
                  <a:lnTo>
                    <a:pt x="67" y="32"/>
                  </a:lnTo>
                  <a:lnTo>
                    <a:pt x="65" y="29"/>
                  </a:lnTo>
                  <a:lnTo>
                    <a:pt x="52" y="20"/>
                  </a:lnTo>
                  <a:lnTo>
                    <a:pt x="48" y="16"/>
                  </a:lnTo>
                  <a:lnTo>
                    <a:pt x="45" y="16"/>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30" name="Freeform 965"/>
            <p:cNvSpPr>
              <a:spLocks/>
            </p:cNvSpPr>
            <p:nvPr/>
          </p:nvSpPr>
          <p:spPr bwMode="auto">
            <a:xfrm>
              <a:off x="6050501" y="3051517"/>
              <a:ext cx="100069" cy="83159"/>
            </a:xfrm>
            <a:custGeom>
              <a:avLst/>
              <a:gdLst/>
              <a:ahLst/>
              <a:cxnLst>
                <a:cxn ang="0">
                  <a:pos x="68" y="0"/>
                </a:cxn>
                <a:cxn ang="0">
                  <a:pos x="44" y="16"/>
                </a:cxn>
                <a:cxn ang="0">
                  <a:pos x="22" y="25"/>
                </a:cxn>
                <a:cxn ang="0">
                  <a:pos x="12" y="43"/>
                </a:cxn>
                <a:cxn ang="0">
                  <a:pos x="0" y="59"/>
                </a:cxn>
                <a:cxn ang="0">
                  <a:pos x="2" y="67"/>
                </a:cxn>
                <a:cxn ang="0">
                  <a:pos x="2" y="69"/>
                </a:cxn>
                <a:cxn ang="0">
                  <a:pos x="2" y="70"/>
                </a:cxn>
                <a:cxn ang="0">
                  <a:pos x="4" y="72"/>
                </a:cxn>
                <a:cxn ang="0">
                  <a:pos x="4" y="73"/>
                </a:cxn>
                <a:cxn ang="0">
                  <a:pos x="6" y="75"/>
                </a:cxn>
                <a:cxn ang="0">
                  <a:pos x="9" y="76"/>
                </a:cxn>
                <a:cxn ang="0">
                  <a:pos x="9" y="76"/>
                </a:cxn>
                <a:cxn ang="0">
                  <a:pos x="10" y="76"/>
                </a:cxn>
                <a:cxn ang="0">
                  <a:pos x="13" y="77"/>
                </a:cxn>
                <a:cxn ang="0">
                  <a:pos x="15" y="75"/>
                </a:cxn>
                <a:cxn ang="0">
                  <a:pos x="28" y="75"/>
                </a:cxn>
                <a:cxn ang="0">
                  <a:pos x="29" y="73"/>
                </a:cxn>
                <a:cxn ang="0">
                  <a:pos x="32" y="76"/>
                </a:cxn>
                <a:cxn ang="0">
                  <a:pos x="35" y="80"/>
                </a:cxn>
                <a:cxn ang="0">
                  <a:pos x="36" y="79"/>
                </a:cxn>
                <a:cxn ang="0">
                  <a:pos x="36" y="73"/>
                </a:cxn>
                <a:cxn ang="0">
                  <a:pos x="35" y="67"/>
                </a:cxn>
                <a:cxn ang="0">
                  <a:pos x="35" y="66"/>
                </a:cxn>
                <a:cxn ang="0">
                  <a:pos x="34" y="63"/>
                </a:cxn>
                <a:cxn ang="0">
                  <a:pos x="35" y="59"/>
                </a:cxn>
                <a:cxn ang="0">
                  <a:pos x="64" y="59"/>
                </a:cxn>
                <a:cxn ang="0">
                  <a:pos x="71" y="56"/>
                </a:cxn>
                <a:cxn ang="0">
                  <a:pos x="80" y="57"/>
                </a:cxn>
                <a:cxn ang="0">
                  <a:pos x="83" y="59"/>
                </a:cxn>
                <a:cxn ang="0">
                  <a:pos x="87" y="59"/>
                </a:cxn>
                <a:cxn ang="0">
                  <a:pos x="89" y="57"/>
                </a:cxn>
                <a:cxn ang="0">
                  <a:pos x="90" y="56"/>
                </a:cxn>
                <a:cxn ang="0">
                  <a:pos x="92" y="54"/>
                </a:cxn>
                <a:cxn ang="0">
                  <a:pos x="94" y="51"/>
                </a:cxn>
                <a:cxn ang="0">
                  <a:pos x="96" y="51"/>
                </a:cxn>
                <a:cxn ang="0">
                  <a:pos x="100" y="51"/>
                </a:cxn>
                <a:cxn ang="0">
                  <a:pos x="103" y="51"/>
                </a:cxn>
                <a:cxn ang="0">
                  <a:pos x="108" y="47"/>
                </a:cxn>
                <a:cxn ang="0">
                  <a:pos x="108" y="46"/>
                </a:cxn>
                <a:cxn ang="0">
                  <a:pos x="109" y="44"/>
                </a:cxn>
                <a:cxn ang="0">
                  <a:pos x="105" y="40"/>
                </a:cxn>
                <a:cxn ang="0">
                  <a:pos x="105" y="38"/>
                </a:cxn>
                <a:cxn ang="0">
                  <a:pos x="106" y="38"/>
                </a:cxn>
                <a:cxn ang="0">
                  <a:pos x="105" y="34"/>
                </a:cxn>
                <a:cxn ang="0">
                  <a:pos x="102" y="32"/>
                </a:cxn>
                <a:cxn ang="0">
                  <a:pos x="99" y="35"/>
                </a:cxn>
                <a:cxn ang="0">
                  <a:pos x="94" y="32"/>
                </a:cxn>
                <a:cxn ang="0">
                  <a:pos x="79" y="12"/>
                </a:cxn>
                <a:cxn ang="0">
                  <a:pos x="79" y="9"/>
                </a:cxn>
                <a:cxn ang="0">
                  <a:pos x="76" y="6"/>
                </a:cxn>
                <a:cxn ang="0">
                  <a:pos x="77" y="2"/>
                </a:cxn>
              </a:cxnLst>
              <a:rect l="0" t="0" r="r" b="b"/>
              <a:pathLst>
                <a:path w="109" h="80">
                  <a:moveTo>
                    <a:pt x="77" y="0"/>
                  </a:moveTo>
                  <a:lnTo>
                    <a:pt x="68" y="0"/>
                  </a:lnTo>
                  <a:lnTo>
                    <a:pt x="48" y="14"/>
                  </a:lnTo>
                  <a:lnTo>
                    <a:pt x="44" y="16"/>
                  </a:lnTo>
                  <a:lnTo>
                    <a:pt x="39" y="21"/>
                  </a:lnTo>
                  <a:lnTo>
                    <a:pt x="22" y="25"/>
                  </a:lnTo>
                  <a:lnTo>
                    <a:pt x="19" y="27"/>
                  </a:lnTo>
                  <a:lnTo>
                    <a:pt x="12" y="43"/>
                  </a:lnTo>
                  <a:lnTo>
                    <a:pt x="4" y="48"/>
                  </a:lnTo>
                  <a:lnTo>
                    <a:pt x="0" y="59"/>
                  </a:lnTo>
                  <a:lnTo>
                    <a:pt x="0" y="67"/>
                  </a:lnTo>
                  <a:lnTo>
                    <a:pt x="2" y="67"/>
                  </a:lnTo>
                  <a:lnTo>
                    <a:pt x="2" y="67"/>
                  </a:lnTo>
                  <a:lnTo>
                    <a:pt x="2" y="69"/>
                  </a:lnTo>
                  <a:lnTo>
                    <a:pt x="2" y="70"/>
                  </a:lnTo>
                  <a:lnTo>
                    <a:pt x="2" y="70"/>
                  </a:lnTo>
                  <a:lnTo>
                    <a:pt x="3" y="72"/>
                  </a:lnTo>
                  <a:lnTo>
                    <a:pt x="4" y="72"/>
                  </a:lnTo>
                  <a:lnTo>
                    <a:pt x="4" y="73"/>
                  </a:lnTo>
                  <a:lnTo>
                    <a:pt x="4" y="73"/>
                  </a:lnTo>
                  <a:lnTo>
                    <a:pt x="4" y="73"/>
                  </a:lnTo>
                  <a:lnTo>
                    <a:pt x="6" y="75"/>
                  </a:lnTo>
                  <a:lnTo>
                    <a:pt x="6" y="76"/>
                  </a:lnTo>
                  <a:lnTo>
                    <a:pt x="9" y="76"/>
                  </a:lnTo>
                  <a:lnTo>
                    <a:pt x="9" y="76"/>
                  </a:lnTo>
                  <a:lnTo>
                    <a:pt x="9" y="76"/>
                  </a:lnTo>
                  <a:lnTo>
                    <a:pt x="10" y="76"/>
                  </a:lnTo>
                  <a:lnTo>
                    <a:pt x="10" y="76"/>
                  </a:lnTo>
                  <a:lnTo>
                    <a:pt x="10" y="76"/>
                  </a:lnTo>
                  <a:lnTo>
                    <a:pt x="13" y="77"/>
                  </a:lnTo>
                  <a:lnTo>
                    <a:pt x="13" y="77"/>
                  </a:lnTo>
                  <a:lnTo>
                    <a:pt x="15" y="75"/>
                  </a:lnTo>
                  <a:lnTo>
                    <a:pt x="23" y="73"/>
                  </a:lnTo>
                  <a:lnTo>
                    <a:pt x="28" y="75"/>
                  </a:lnTo>
                  <a:lnTo>
                    <a:pt x="29" y="73"/>
                  </a:lnTo>
                  <a:lnTo>
                    <a:pt x="29" y="73"/>
                  </a:lnTo>
                  <a:lnTo>
                    <a:pt x="31" y="75"/>
                  </a:lnTo>
                  <a:lnTo>
                    <a:pt x="32" y="76"/>
                  </a:lnTo>
                  <a:lnTo>
                    <a:pt x="34" y="79"/>
                  </a:lnTo>
                  <a:lnTo>
                    <a:pt x="35" y="80"/>
                  </a:lnTo>
                  <a:lnTo>
                    <a:pt x="36" y="80"/>
                  </a:lnTo>
                  <a:lnTo>
                    <a:pt x="36" y="79"/>
                  </a:lnTo>
                  <a:lnTo>
                    <a:pt x="36" y="77"/>
                  </a:lnTo>
                  <a:lnTo>
                    <a:pt x="36" y="73"/>
                  </a:lnTo>
                  <a:lnTo>
                    <a:pt x="35" y="70"/>
                  </a:lnTo>
                  <a:lnTo>
                    <a:pt x="35" y="67"/>
                  </a:lnTo>
                  <a:lnTo>
                    <a:pt x="35" y="67"/>
                  </a:lnTo>
                  <a:lnTo>
                    <a:pt x="35" y="66"/>
                  </a:lnTo>
                  <a:lnTo>
                    <a:pt x="34" y="64"/>
                  </a:lnTo>
                  <a:lnTo>
                    <a:pt x="34" y="63"/>
                  </a:lnTo>
                  <a:lnTo>
                    <a:pt x="34" y="60"/>
                  </a:lnTo>
                  <a:lnTo>
                    <a:pt x="35" y="59"/>
                  </a:lnTo>
                  <a:lnTo>
                    <a:pt x="63" y="59"/>
                  </a:lnTo>
                  <a:lnTo>
                    <a:pt x="64" y="59"/>
                  </a:lnTo>
                  <a:lnTo>
                    <a:pt x="67" y="57"/>
                  </a:lnTo>
                  <a:lnTo>
                    <a:pt x="71" y="56"/>
                  </a:lnTo>
                  <a:lnTo>
                    <a:pt x="71" y="56"/>
                  </a:lnTo>
                  <a:lnTo>
                    <a:pt x="80" y="57"/>
                  </a:lnTo>
                  <a:lnTo>
                    <a:pt x="81" y="59"/>
                  </a:lnTo>
                  <a:lnTo>
                    <a:pt x="83" y="59"/>
                  </a:lnTo>
                  <a:lnTo>
                    <a:pt x="83" y="59"/>
                  </a:lnTo>
                  <a:lnTo>
                    <a:pt x="87" y="59"/>
                  </a:lnTo>
                  <a:lnTo>
                    <a:pt x="89" y="57"/>
                  </a:lnTo>
                  <a:lnTo>
                    <a:pt x="89" y="57"/>
                  </a:lnTo>
                  <a:lnTo>
                    <a:pt x="90" y="56"/>
                  </a:lnTo>
                  <a:lnTo>
                    <a:pt x="90" y="56"/>
                  </a:lnTo>
                  <a:lnTo>
                    <a:pt x="90" y="54"/>
                  </a:lnTo>
                  <a:lnTo>
                    <a:pt x="92" y="54"/>
                  </a:lnTo>
                  <a:lnTo>
                    <a:pt x="92" y="54"/>
                  </a:lnTo>
                  <a:lnTo>
                    <a:pt x="94" y="51"/>
                  </a:lnTo>
                  <a:lnTo>
                    <a:pt x="94" y="51"/>
                  </a:lnTo>
                  <a:lnTo>
                    <a:pt x="96" y="51"/>
                  </a:lnTo>
                  <a:lnTo>
                    <a:pt x="99" y="51"/>
                  </a:lnTo>
                  <a:lnTo>
                    <a:pt x="100" y="51"/>
                  </a:lnTo>
                  <a:lnTo>
                    <a:pt x="102" y="51"/>
                  </a:lnTo>
                  <a:lnTo>
                    <a:pt x="103" y="51"/>
                  </a:lnTo>
                  <a:lnTo>
                    <a:pt x="106" y="48"/>
                  </a:lnTo>
                  <a:lnTo>
                    <a:pt x="108" y="47"/>
                  </a:lnTo>
                  <a:lnTo>
                    <a:pt x="108" y="47"/>
                  </a:lnTo>
                  <a:lnTo>
                    <a:pt x="108" y="46"/>
                  </a:lnTo>
                  <a:lnTo>
                    <a:pt x="109" y="44"/>
                  </a:lnTo>
                  <a:lnTo>
                    <a:pt x="109" y="44"/>
                  </a:lnTo>
                  <a:lnTo>
                    <a:pt x="109" y="44"/>
                  </a:lnTo>
                  <a:lnTo>
                    <a:pt x="105" y="40"/>
                  </a:lnTo>
                  <a:lnTo>
                    <a:pt x="103" y="38"/>
                  </a:lnTo>
                  <a:lnTo>
                    <a:pt x="105" y="38"/>
                  </a:lnTo>
                  <a:lnTo>
                    <a:pt x="105" y="38"/>
                  </a:lnTo>
                  <a:lnTo>
                    <a:pt x="106" y="38"/>
                  </a:lnTo>
                  <a:lnTo>
                    <a:pt x="106" y="37"/>
                  </a:lnTo>
                  <a:lnTo>
                    <a:pt x="105" y="34"/>
                  </a:lnTo>
                  <a:lnTo>
                    <a:pt x="103" y="32"/>
                  </a:lnTo>
                  <a:lnTo>
                    <a:pt x="102" y="32"/>
                  </a:lnTo>
                  <a:lnTo>
                    <a:pt x="100" y="34"/>
                  </a:lnTo>
                  <a:lnTo>
                    <a:pt x="99" y="35"/>
                  </a:lnTo>
                  <a:lnTo>
                    <a:pt x="99" y="35"/>
                  </a:lnTo>
                  <a:lnTo>
                    <a:pt x="94" y="32"/>
                  </a:lnTo>
                  <a:lnTo>
                    <a:pt x="79" y="15"/>
                  </a:lnTo>
                  <a:lnTo>
                    <a:pt x="79" y="12"/>
                  </a:lnTo>
                  <a:lnTo>
                    <a:pt x="79" y="11"/>
                  </a:lnTo>
                  <a:lnTo>
                    <a:pt x="79" y="9"/>
                  </a:lnTo>
                  <a:lnTo>
                    <a:pt x="76" y="8"/>
                  </a:lnTo>
                  <a:lnTo>
                    <a:pt x="76" y="6"/>
                  </a:lnTo>
                  <a:lnTo>
                    <a:pt x="76" y="5"/>
                  </a:lnTo>
                  <a:lnTo>
                    <a:pt x="77" y="2"/>
                  </a:lnTo>
                  <a:lnTo>
                    <a:pt x="77"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31" name="Freeform 966"/>
            <p:cNvSpPr>
              <a:spLocks/>
            </p:cNvSpPr>
            <p:nvPr/>
          </p:nvSpPr>
          <p:spPr bwMode="auto">
            <a:xfrm>
              <a:off x="6050501" y="3051517"/>
              <a:ext cx="100069" cy="83159"/>
            </a:xfrm>
            <a:custGeom>
              <a:avLst/>
              <a:gdLst/>
              <a:ahLst/>
              <a:cxnLst>
                <a:cxn ang="0">
                  <a:pos x="68" y="0"/>
                </a:cxn>
                <a:cxn ang="0">
                  <a:pos x="44" y="16"/>
                </a:cxn>
                <a:cxn ang="0">
                  <a:pos x="22" y="25"/>
                </a:cxn>
                <a:cxn ang="0">
                  <a:pos x="12" y="43"/>
                </a:cxn>
                <a:cxn ang="0">
                  <a:pos x="0" y="59"/>
                </a:cxn>
                <a:cxn ang="0">
                  <a:pos x="2" y="67"/>
                </a:cxn>
                <a:cxn ang="0">
                  <a:pos x="2" y="69"/>
                </a:cxn>
                <a:cxn ang="0">
                  <a:pos x="2" y="70"/>
                </a:cxn>
                <a:cxn ang="0">
                  <a:pos x="4" y="72"/>
                </a:cxn>
                <a:cxn ang="0">
                  <a:pos x="4" y="73"/>
                </a:cxn>
                <a:cxn ang="0">
                  <a:pos x="6" y="75"/>
                </a:cxn>
                <a:cxn ang="0">
                  <a:pos x="9" y="76"/>
                </a:cxn>
                <a:cxn ang="0">
                  <a:pos x="9" y="76"/>
                </a:cxn>
                <a:cxn ang="0">
                  <a:pos x="10" y="76"/>
                </a:cxn>
                <a:cxn ang="0">
                  <a:pos x="13" y="77"/>
                </a:cxn>
                <a:cxn ang="0">
                  <a:pos x="15" y="75"/>
                </a:cxn>
                <a:cxn ang="0">
                  <a:pos x="28" y="75"/>
                </a:cxn>
                <a:cxn ang="0">
                  <a:pos x="29" y="73"/>
                </a:cxn>
                <a:cxn ang="0">
                  <a:pos x="32" y="76"/>
                </a:cxn>
                <a:cxn ang="0">
                  <a:pos x="35" y="80"/>
                </a:cxn>
                <a:cxn ang="0">
                  <a:pos x="36" y="79"/>
                </a:cxn>
                <a:cxn ang="0">
                  <a:pos x="36" y="73"/>
                </a:cxn>
                <a:cxn ang="0">
                  <a:pos x="35" y="67"/>
                </a:cxn>
                <a:cxn ang="0">
                  <a:pos x="35" y="66"/>
                </a:cxn>
                <a:cxn ang="0">
                  <a:pos x="34" y="63"/>
                </a:cxn>
                <a:cxn ang="0">
                  <a:pos x="35" y="59"/>
                </a:cxn>
                <a:cxn ang="0">
                  <a:pos x="64" y="59"/>
                </a:cxn>
                <a:cxn ang="0">
                  <a:pos x="71" y="56"/>
                </a:cxn>
                <a:cxn ang="0">
                  <a:pos x="80" y="57"/>
                </a:cxn>
                <a:cxn ang="0">
                  <a:pos x="83" y="59"/>
                </a:cxn>
                <a:cxn ang="0">
                  <a:pos x="87" y="59"/>
                </a:cxn>
                <a:cxn ang="0">
                  <a:pos x="89" y="57"/>
                </a:cxn>
                <a:cxn ang="0">
                  <a:pos x="90" y="56"/>
                </a:cxn>
                <a:cxn ang="0">
                  <a:pos x="92" y="54"/>
                </a:cxn>
                <a:cxn ang="0">
                  <a:pos x="94" y="51"/>
                </a:cxn>
                <a:cxn ang="0">
                  <a:pos x="96" y="51"/>
                </a:cxn>
                <a:cxn ang="0">
                  <a:pos x="100" y="51"/>
                </a:cxn>
                <a:cxn ang="0">
                  <a:pos x="103" y="51"/>
                </a:cxn>
                <a:cxn ang="0">
                  <a:pos x="108" y="47"/>
                </a:cxn>
                <a:cxn ang="0">
                  <a:pos x="108" y="46"/>
                </a:cxn>
                <a:cxn ang="0">
                  <a:pos x="109" y="44"/>
                </a:cxn>
                <a:cxn ang="0">
                  <a:pos x="105" y="40"/>
                </a:cxn>
                <a:cxn ang="0">
                  <a:pos x="105" y="38"/>
                </a:cxn>
                <a:cxn ang="0">
                  <a:pos x="106" y="38"/>
                </a:cxn>
                <a:cxn ang="0">
                  <a:pos x="105" y="34"/>
                </a:cxn>
                <a:cxn ang="0">
                  <a:pos x="102" y="32"/>
                </a:cxn>
                <a:cxn ang="0">
                  <a:pos x="99" y="35"/>
                </a:cxn>
                <a:cxn ang="0">
                  <a:pos x="94" y="32"/>
                </a:cxn>
                <a:cxn ang="0">
                  <a:pos x="79" y="12"/>
                </a:cxn>
                <a:cxn ang="0">
                  <a:pos x="79" y="9"/>
                </a:cxn>
                <a:cxn ang="0">
                  <a:pos x="76" y="6"/>
                </a:cxn>
                <a:cxn ang="0">
                  <a:pos x="77" y="2"/>
                </a:cxn>
              </a:cxnLst>
              <a:rect l="0" t="0" r="r" b="b"/>
              <a:pathLst>
                <a:path w="109" h="80">
                  <a:moveTo>
                    <a:pt x="77" y="0"/>
                  </a:moveTo>
                  <a:lnTo>
                    <a:pt x="68" y="0"/>
                  </a:lnTo>
                  <a:lnTo>
                    <a:pt x="48" y="14"/>
                  </a:lnTo>
                  <a:lnTo>
                    <a:pt x="44" y="16"/>
                  </a:lnTo>
                  <a:lnTo>
                    <a:pt x="39" y="21"/>
                  </a:lnTo>
                  <a:lnTo>
                    <a:pt x="22" y="25"/>
                  </a:lnTo>
                  <a:lnTo>
                    <a:pt x="19" y="27"/>
                  </a:lnTo>
                  <a:lnTo>
                    <a:pt x="12" y="43"/>
                  </a:lnTo>
                  <a:lnTo>
                    <a:pt x="4" y="48"/>
                  </a:lnTo>
                  <a:lnTo>
                    <a:pt x="0" y="59"/>
                  </a:lnTo>
                  <a:lnTo>
                    <a:pt x="0" y="67"/>
                  </a:lnTo>
                  <a:lnTo>
                    <a:pt x="2" y="67"/>
                  </a:lnTo>
                  <a:lnTo>
                    <a:pt x="2" y="67"/>
                  </a:lnTo>
                  <a:lnTo>
                    <a:pt x="2" y="69"/>
                  </a:lnTo>
                  <a:lnTo>
                    <a:pt x="2" y="70"/>
                  </a:lnTo>
                  <a:lnTo>
                    <a:pt x="2" y="70"/>
                  </a:lnTo>
                  <a:lnTo>
                    <a:pt x="3" y="72"/>
                  </a:lnTo>
                  <a:lnTo>
                    <a:pt x="4" y="72"/>
                  </a:lnTo>
                  <a:lnTo>
                    <a:pt x="4" y="73"/>
                  </a:lnTo>
                  <a:lnTo>
                    <a:pt x="4" y="73"/>
                  </a:lnTo>
                  <a:lnTo>
                    <a:pt x="4" y="73"/>
                  </a:lnTo>
                  <a:lnTo>
                    <a:pt x="6" y="75"/>
                  </a:lnTo>
                  <a:lnTo>
                    <a:pt x="6" y="76"/>
                  </a:lnTo>
                  <a:lnTo>
                    <a:pt x="9" y="76"/>
                  </a:lnTo>
                  <a:lnTo>
                    <a:pt x="9" y="76"/>
                  </a:lnTo>
                  <a:lnTo>
                    <a:pt x="9" y="76"/>
                  </a:lnTo>
                  <a:lnTo>
                    <a:pt x="10" y="76"/>
                  </a:lnTo>
                  <a:lnTo>
                    <a:pt x="10" y="76"/>
                  </a:lnTo>
                  <a:lnTo>
                    <a:pt x="10" y="76"/>
                  </a:lnTo>
                  <a:lnTo>
                    <a:pt x="13" y="77"/>
                  </a:lnTo>
                  <a:lnTo>
                    <a:pt x="13" y="77"/>
                  </a:lnTo>
                  <a:lnTo>
                    <a:pt x="15" y="75"/>
                  </a:lnTo>
                  <a:lnTo>
                    <a:pt x="23" y="73"/>
                  </a:lnTo>
                  <a:lnTo>
                    <a:pt x="28" y="75"/>
                  </a:lnTo>
                  <a:lnTo>
                    <a:pt x="29" y="73"/>
                  </a:lnTo>
                  <a:lnTo>
                    <a:pt x="29" y="73"/>
                  </a:lnTo>
                  <a:lnTo>
                    <a:pt x="31" y="75"/>
                  </a:lnTo>
                  <a:lnTo>
                    <a:pt x="32" y="76"/>
                  </a:lnTo>
                  <a:lnTo>
                    <a:pt x="34" y="79"/>
                  </a:lnTo>
                  <a:lnTo>
                    <a:pt x="35" y="80"/>
                  </a:lnTo>
                  <a:lnTo>
                    <a:pt x="36" y="80"/>
                  </a:lnTo>
                  <a:lnTo>
                    <a:pt x="36" y="79"/>
                  </a:lnTo>
                  <a:lnTo>
                    <a:pt x="36" y="77"/>
                  </a:lnTo>
                  <a:lnTo>
                    <a:pt x="36" y="73"/>
                  </a:lnTo>
                  <a:lnTo>
                    <a:pt x="35" y="70"/>
                  </a:lnTo>
                  <a:lnTo>
                    <a:pt x="35" y="67"/>
                  </a:lnTo>
                  <a:lnTo>
                    <a:pt x="35" y="67"/>
                  </a:lnTo>
                  <a:lnTo>
                    <a:pt x="35" y="66"/>
                  </a:lnTo>
                  <a:lnTo>
                    <a:pt x="34" y="64"/>
                  </a:lnTo>
                  <a:lnTo>
                    <a:pt x="34" y="63"/>
                  </a:lnTo>
                  <a:lnTo>
                    <a:pt x="34" y="60"/>
                  </a:lnTo>
                  <a:lnTo>
                    <a:pt x="35" y="59"/>
                  </a:lnTo>
                  <a:lnTo>
                    <a:pt x="63" y="59"/>
                  </a:lnTo>
                  <a:lnTo>
                    <a:pt x="64" y="59"/>
                  </a:lnTo>
                  <a:lnTo>
                    <a:pt x="67" y="57"/>
                  </a:lnTo>
                  <a:lnTo>
                    <a:pt x="71" y="56"/>
                  </a:lnTo>
                  <a:lnTo>
                    <a:pt x="71" y="56"/>
                  </a:lnTo>
                  <a:lnTo>
                    <a:pt x="80" y="57"/>
                  </a:lnTo>
                  <a:lnTo>
                    <a:pt x="81" y="59"/>
                  </a:lnTo>
                  <a:lnTo>
                    <a:pt x="83" y="59"/>
                  </a:lnTo>
                  <a:lnTo>
                    <a:pt x="83" y="59"/>
                  </a:lnTo>
                  <a:lnTo>
                    <a:pt x="87" y="59"/>
                  </a:lnTo>
                  <a:lnTo>
                    <a:pt x="89" y="57"/>
                  </a:lnTo>
                  <a:lnTo>
                    <a:pt x="89" y="57"/>
                  </a:lnTo>
                  <a:lnTo>
                    <a:pt x="90" y="56"/>
                  </a:lnTo>
                  <a:lnTo>
                    <a:pt x="90" y="56"/>
                  </a:lnTo>
                  <a:lnTo>
                    <a:pt x="90" y="54"/>
                  </a:lnTo>
                  <a:lnTo>
                    <a:pt x="92" y="54"/>
                  </a:lnTo>
                  <a:lnTo>
                    <a:pt x="92" y="54"/>
                  </a:lnTo>
                  <a:lnTo>
                    <a:pt x="94" y="51"/>
                  </a:lnTo>
                  <a:lnTo>
                    <a:pt x="94" y="51"/>
                  </a:lnTo>
                  <a:lnTo>
                    <a:pt x="96" y="51"/>
                  </a:lnTo>
                  <a:lnTo>
                    <a:pt x="99" y="51"/>
                  </a:lnTo>
                  <a:lnTo>
                    <a:pt x="100" y="51"/>
                  </a:lnTo>
                  <a:lnTo>
                    <a:pt x="102" y="51"/>
                  </a:lnTo>
                  <a:lnTo>
                    <a:pt x="103" y="51"/>
                  </a:lnTo>
                  <a:lnTo>
                    <a:pt x="106" y="48"/>
                  </a:lnTo>
                  <a:lnTo>
                    <a:pt x="108" y="47"/>
                  </a:lnTo>
                  <a:lnTo>
                    <a:pt x="108" y="47"/>
                  </a:lnTo>
                  <a:lnTo>
                    <a:pt x="108" y="46"/>
                  </a:lnTo>
                  <a:lnTo>
                    <a:pt x="109" y="44"/>
                  </a:lnTo>
                  <a:lnTo>
                    <a:pt x="109" y="44"/>
                  </a:lnTo>
                  <a:lnTo>
                    <a:pt x="109" y="44"/>
                  </a:lnTo>
                  <a:lnTo>
                    <a:pt x="105" y="40"/>
                  </a:lnTo>
                  <a:lnTo>
                    <a:pt x="103" y="38"/>
                  </a:lnTo>
                  <a:lnTo>
                    <a:pt x="105" y="38"/>
                  </a:lnTo>
                  <a:lnTo>
                    <a:pt x="105" y="38"/>
                  </a:lnTo>
                  <a:lnTo>
                    <a:pt x="106" y="38"/>
                  </a:lnTo>
                  <a:lnTo>
                    <a:pt x="106" y="37"/>
                  </a:lnTo>
                  <a:lnTo>
                    <a:pt x="105" y="34"/>
                  </a:lnTo>
                  <a:lnTo>
                    <a:pt x="103" y="32"/>
                  </a:lnTo>
                  <a:lnTo>
                    <a:pt x="102" y="32"/>
                  </a:lnTo>
                  <a:lnTo>
                    <a:pt x="100" y="34"/>
                  </a:lnTo>
                  <a:lnTo>
                    <a:pt x="99" y="35"/>
                  </a:lnTo>
                  <a:lnTo>
                    <a:pt x="99" y="35"/>
                  </a:lnTo>
                  <a:lnTo>
                    <a:pt x="94" y="32"/>
                  </a:lnTo>
                  <a:lnTo>
                    <a:pt x="79" y="15"/>
                  </a:lnTo>
                  <a:lnTo>
                    <a:pt x="79" y="12"/>
                  </a:lnTo>
                  <a:lnTo>
                    <a:pt x="79" y="11"/>
                  </a:lnTo>
                  <a:lnTo>
                    <a:pt x="79" y="9"/>
                  </a:lnTo>
                  <a:lnTo>
                    <a:pt x="76" y="8"/>
                  </a:lnTo>
                  <a:lnTo>
                    <a:pt x="76" y="6"/>
                  </a:lnTo>
                  <a:lnTo>
                    <a:pt x="76" y="5"/>
                  </a:lnTo>
                  <a:lnTo>
                    <a:pt x="77" y="2"/>
                  </a:lnTo>
                  <a:lnTo>
                    <a:pt x="77"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32" name="Freeform 967"/>
            <p:cNvSpPr>
              <a:spLocks/>
            </p:cNvSpPr>
            <p:nvPr/>
          </p:nvSpPr>
          <p:spPr bwMode="auto">
            <a:xfrm>
              <a:off x="5923220" y="3083968"/>
              <a:ext cx="95680" cy="84173"/>
            </a:xfrm>
            <a:custGeom>
              <a:avLst/>
              <a:gdLst/>
              <a:ahLst/>
              <a:cxnLst>
                <a:cxn ang="0">
                  <a:pos x="45" y="5"/>
                </a:cxn>
                <a:cxn ang="0">
                  <a:pos x="39" y="6"/>
                </a:cxn>
                <a:cxn ang="0">
                  <a:pos x="33" y="5"/>
                </a:cxn>
                <a:cxn ang="0">
                  <a:pos x="29" y="5"/>
                </a:cxn>
                <a:cxn ang="0">
                  <a:pos x="24" y="2"/>
                </a:cxn>
                <a:cxn ang="0">
                  <a:pos x="20" y="5"/>
                </a:cxn>
                <a:cxn ang="0">
                  <a:pos x="17" y="8"/>
                </a:cxn>
                <a:cxn ang="0">
                  <a:pos x="19" y="11"/>
                </a:cxn>
                <a:cxn ang="0">
                  <a:pos x="11" y="16"/>
                </a:cxn>
                <a:cxn ang="0">
                  <a:pos x="1" y="27"/>
                </a:cxn>
                <a:cxn ang="0">
                  <a:pos x="1" y="29"/>
                </a:cxn>
                <a:cxn ang="0">
                  <a:pos x="4" y="27"/>
                </a:cxn>
                <a:cxn ang="0">
                  <a:pos x="7" y="34"/>
                </a:cxn>
                <a:cxn ang="0">
                  <a:pos x="19" y="47"/>
                </a:cxn>
                <a:cxn ang="0">
                  <a:pos x="23" y="51"/>
                </a:cxn>
                <a:cxn ang="0">
                  <a:pos x="29" y="54"/>
                </a:cxn>
                <a:cxn ang="0">
                  <a:pos x="32" y="50"/>
                </a:cxn>
                <a:cxn ang="0">
                  <a:pos x="36" y="43"/>
                </a:cxn>
                <a:cxn ang="0">
                  <a:pos x="45" y="41"/>
                </a:cxn>
                <a:cxn ang="0">
                  <a:pos x="56" y="44"/>
                </a:cxn>
                <a:cxn ang="0">
                  <a:pos x="59" y="47"/>
                </a:cxn>
                <a:cxn ang="0">
                  <a:pos x="62" y="50"/>
                </a:cxn>
                <a:cxn ang="0">
                  <a:pos x="62" y="53"/>
                </a:cxn>
                <a:cxn ang="0">
                  <a:pos x="64" y="56"/>
                </a:cxn>
                <a:cxn ang="0">
                  <a:pos x="62" y="64"/>
                </a:cxn>
                <a:cxn ang="0">
                  <a:pos x="67" y="61"/>
                </a:cxn>
                <a:cxn ang="0">
                  <a:pos x="68" y="61"/>
                </a:cxn>
                <a:cxn ang="0">
                  <a:pos x="72" y="63"/>
                </a:cxn>
                <a:cxn ang="0">
                  <a:pos x="77" y="63"/>
                </a:cxn>
                <a:cxn ang="0">
                  <a:pos x="80" y="72"/>
                </a:cxn>
                <a:cxn ang="0">
                  <a:pos x="78" y="77"/>
                </a:cxn>
                <a:cxn ang="0">
                  <a:pos x="81" y="77"/>
                </a:cxn>
                <a:cxn ang="0">
                  <a:pos x="87" y="80"/>
                </a:cxn>
                <a:cxn ang="0">
                  <a:pos x="90" y="75"/>
                </a:cxn>
                <a:cxn ang="0">
                  <a:pos x="94" y="76"/>
                </a:cxn>
                <a:cxn ang="0">
                  <a:pos x="98" y="69"/>
                </a:cxn>
                <a:cxn ang="0">
                  <a:pos x="100" y="67"/>
                </a:cxn>
                <a:cxn ang="0">
                  <a:pos x="97" y="66"/>
                </a:cxn>
                <a:cxn ang="0">
                  <a:pos x="96" y="63"/>
                </a:cxn>
                <a:cxn ang="0">
                  <a:pos x="103" y="63"/>
                </a:cxn>
                <a:cxn ang="0">
                  <a:pos x="104" y="61"/>
                </a:cxn>
                <a:cxn ang="0">
                  <a:pos x="101" y="59"/>
                </a:cxn>
                <a:cxn ang="0">
                  <a:pos x="103" y="54"/>
                </a:cxn>
                <a:cxn ang="0">
                  <a:pos x="101" y="50"/>
                </a:cxn>
                <a:cxn ang="0">
                  <a:pos x="97" y="41"/>
                </a:cxn>
                <a:cxn ang="0">
                  <a:pos x="100" y="37"/>
                </a:cxn>
                <a:cxn ang="0">
                  <a:pos x="97" y="34"/>
                </a:cxn>
                <a:cxn ang="0">
                  <a:pos x="93" y="25"/>
                </a:cxn>
                <a:cxn ang="0">
                  <a:pos x="91" y="24"/>
                </a:cxn>
                <a:cxn ang="0">
                  <a:pos x="94" y="22"/>
                </a:cxn>
                <a:cxn ang="0">
                  <a:pos x="93" y="19"/>
                </a:cxn>
                <a:cxn ang="0">
                  <a:pos x="88" y="16"/>
                </a:cxn>
                <a:cxn ang="0">
                  <a:pos x="87" y="11"/>
                </a:cxn>
                <a:cxn ang="0">
                  <a:pos x="85" y="8"/>
                </a:cxn>
                <a:cxn ang="0">
                  <a:pos x="84" y="3"/>
                </a:cxn>
                <a:cxn ang="0">
                  <a:pos x="81" y="3"/>
                </a:cxn>
                <a:cxn ang="0">
                  <a:pos x="77" y="8"/>
                </a:cxn>
                <a:cxn ang="0">
                  <a:pos x="69" y="8"/>
                </a:cxn>
                <a:cxn ang="0">
                  <a:pos x="64" y="11"/>
                </a:cxn>
                <a:cxn ang="0">
                  <a:pos x="58" y="8"/>
                </a:cxn>
                <a:cxn ang="0">
                  <a:pos x="53" y="11"/>
                </a:cxn>
                <a:cxn ang="0">
                  <a:pos x="52" y="6"/>
                </a:cxn>
              </a:cxnLst>
              <a:rect l="0" t="0" r="r" b="b"/>
              <a:pathLst>
                <a:path w="104" h="80">
                  <a:moveTo>
                    <a:pt x="53" y="5"/>
                  </a:moveTo>
                  <a:lnTo>
                    <a:pt x="51" y="5"/>
                  </a:lnTo>
                  <a:lnTo>
                    <a:pt x="49" y="6"/>
                  </a:lnTo>
                  <a:lnTo>
                    <a:pt x="45" y="5"/>
                  </a:lnTo>
                  <a:lnTo>
                    <a:pt x="45" y="6"/>
                  </a:lnTo>
                  <a:lnTo>
                    <a:pt x="42" y="6"/>
                  </a:lnTo>
                  <a:lnTo>
                    <a:pt x="40" y="6"/>
                  </a:lnTo>
                  <a:lnTo>
                    <a:pt x="39" y="6"/>
                  </a:lnTo>
                  <a:lnTo>
                    <a:pt x="37" y="6"/>
                  </a:lnTo>
                  <a:lnTo>
                    <a:pt x="36" y="6"/>
                  </a:lnTo>
                  <a:lnTo>
                    <a:pt x="35" y="5"/>
                  </a:lnTo>
                  <a:lnTo>
                    <a:pt x="33" y="5"/>
                  </a:lnTo>
                  <a:lnTo>
                    <a:pt x="30" y="3"/>
                  </a:lnTo>
                  <a:lnTo>
                    <a:pt x="30" y="3"/>
                  </a:lnTo>
                  <a:lnTo>
                    <a:pt x="30" y="5"/>
                  </a:lnTo>
                  <a:lnTo>
                    <a:pt x="29" y="5"/>
                  </a:lnTo>
                  <a:lnTo>
                    <a:pt x="29" y="3"/>
                  </a:lnTo>
                  <a:lnTo>
                    <a:pt x="27" y="2"/>
                  </a:lnTo>
                  <a:lnTo>
                    <a:pt x="26" y="2"/>
                  </a:lnTo>
                  <a:lnTo>
                    <a:pt x="24" y="2"/>
                  </a:lnTo>
                  <a:lnTo>
                    <a:pt x="23" y="0"/>
                  </a:lnTo>
                  <a:lnTo>
                    <a:pt x="19" y="0"/>
                  </a:lnTo>
                  <a:lnTo>
                    <a:pt x="19" y="3"/>
                  </a:lnTo>
                  <a:lnTo>
                    <a:pt x="20" y="5"/>
                  </a:lnTo>
                  <a:lnTo>
                    <a:pt x="20" y="6"/>
                  </a:lnTo>
                  <a:lnTo>
                    <a:pt x="20" y="8"/>
                  </a:lnTo>
                  <a:lnTo>
                    <a:pt x="19" y="8"/>
                  </a:lnTo>
                  <a:lnTo>
                    <a:pt x="17" y="8"/>
                  </a:lnTo>
                  <a:lnTo>
                    <a:pt x="17" y="8"/>
                  </a:lnTo>
                  <a:lnTo>
                    <a:pt x="16" y="9"/>
                  </a:lnTo>
                  <a:lnTo>
                    <a:pt x="17" y="11"/>
                  </a:lnTo>
                  <a:lnTo>
                    <a:pt x="19" y="11"/>
                  </a:lnTo>
                  <a:lnTo>
                    <a:pt x="19" y="16"/>
                  </a:lnTo>
                  <a:lnTo>
                    <a:pt x="17" y="16"/>
                  </a:lnTo>
                  <a:lnTo>
                    <a:pt x="16" y="16"/>
                  </a:lnTo>
                  <a:lnTo>
                    <a:pt x="11" y="16"/>
                  </a:lnTo>
                  <a:lnTo>
                    <a:pt x="7" y="18"/>
                  </a:lnTo>
                  <a:lnTo>
                    <a:pt x="6" y="19"/>
                  </a:lnTo>
                  <a:lnTo>
                    <a:pt x="3" y="25"/>
                  </a:lnTo>
                  <a:lnTo>
                    <a:pt x="1" y="27"/>
                  </a:lnTo>
                  <a:lnTo>
                    <a:pt x="0" y="27"/>
                  </a:lnTo>
                  <a:lnTo>
                    <a:pt x="0" y="29"/>
                  </a:lnTo>
                  <a:lnTo>
                    <a:pt x="1" y="29"/>
                  </a:lnTo>
                  <a:lnTo>
                    <a:pt x="1" y="29"/>
                  </a:lnTo>
                  <a:lnTo>
                    <a:pt x="1" y="29"/>
                  </a:lnTo>
                  <a:lnTo>
                    <a:pt x="3" y="28"/>
                  </a:lnTo>
                  <a:lnTo>
                    <a:pt x="4" y="27"/>
                  </a:lnTo>
                  <a:lnTo>
                    <a:pt x="4" y="27"/>
                  </a:lnTo>
                  <a:lnTo>
                    <a:pt x="4" y="31"/>
                  </a:lnTo>
                  <a:lnTo>
                    <a:pt x="7" y="31"/>
                  </a:lnTo>
                  <a:lnTo>
                    <a:pt x="7" y="31"/>
                  </a:lnTo>
                  <a:lnTo>
                    <a:pt x="7" y="34"/>
                  </a:lnTo>
                  <a:lnTo>
                    <a:pt x="10" y="38"/>
                  </a:lnTo>
                  <a:lnTo>
                    <a:pt x="17" y="43"/>
                  </a:lnTo>
                  <a:lnTo>
                    <a:pt x="19" y="44"/>
                  </a:lnTo>
                  <a:lnTo>
                    <a:pt x="19" y="47"/>
                  </a:lnTo>
                  <a:lnTo>
                    <a:pt x="22" y="48"/>
                  </a:lnTo>
                  <a:lnTo>
                    <a:pt x="22" y="50"/>
                  </a:lnTo>
                  <a:lnTo>
                    <a:pt x="23" y="50"/>
                  </a:lnTo>
                  <a:lnTo>
                    <a:pt x="23" y="51"/>
                  </a:lnTo>
                  <a:lnTo>
                    <a:pt x="23" y="51"/>
                  </a:lnTo>
                  <a:lnTo>
                    <a:pt x="24" y="53"/>
                  </a:lnTo>
                  <a:lnTo>
                    <a:pt x="26" y="54"/>
                  </a:lnTo>
                  <a:lnTo>
                    <a:pt x="29" y="54"/>
                  </a:lnTo>
                  <a:lnTo>
                    <a:pt x="29" y="53"/>
                  </a:lnTo>
                  <a:lnTo>
                    <a:pt x="30" y="51"/>
                  </a:lnTo>
                  <a:lnTo>
                    <a:pt x="32" y="50"/>
                  </a:lnTo>
                  <a:lnTo>
                    <a:pt x="32" y="50"/>
                  </a:lnTo>
                  <a:lnTo>
                    <a:pt x="33" y="48"/>
                  </a:lnTo>
                  <a:lnTo>
                    <a:pt x="33" y="48"/>
                  </a:lnTo>
                  <a:lnTo>
                    <a:pt x="36" y="44"/>
                  </a:lnTo>
                  <a:lnTo>
                    <a:pt x="36" y="43"/>
                  </a:lnTo>
                  <a:lnTo>
                    <a:pt x="37" y="43"/>
                  </a:lnTo>
                  <a:lnTo>
                    <a:pt x="39" y="41"/>
                  </a:lnTo>
                  <a:lnTo>
                    <a:pt x="40" y="43"/>
                  </a:lnTo>
                  <a:lnTo>
                    <a:pt x="45" y="41"/>
                  </a:lnTo>
                  <a:lnTo>
                    <a:pt x="45" y="41"/>
                  </a:lnTo>
                  <a:lnTo>
                    <a:pt x="55" y="41"/>
                  </a:lnTo>
                  <a:lnTo>
                    <a:pt x="55" y="43"/>
                  </a:lnTo>
                  <a:lnTo>
                    <a:pt x="56" y="44"/>
                  </a:lnTo>
                  <a:lnTo>
                    <a:pt x="58" y="45"/>
                  </a:lnTo>
                  <a:lnTo>
                    <a:pt x="59" y="45"/>
                  </a:lnTo>
                  <a:lnTo>
                    <a:pt x="59" y="47"/>
                  </a:lnTo>
                  <a:lnTo>
                    <a:pt x="59" y="47"/>
                  </a:lnTo>
                  <a:lnTo>
                    <a:pt x="59" y="48"/>
                  </a:lnTo>
                  <a:lnTo>
                    <a:pt x="59" y="48"/>
                  </a:lnTo>
                  <a:lnTo>
                    <a:pt x="61" y="50"/>
                  </a:lnTo>
                  <a:lnTo>
                    <a:pt x="62" y="50"/>
                  </a:lnTo>
                  <a:lnTo>
                    <a:pt x="62" y="50"/>
                  </a:lnTo>
                  <a:lnTo>
                    <a:pt x="62" y="51"/>
                  </a:lnTo>
                  <a:lnTo>
                    <a:pt x="62" y="53"/>
                  </a:lnTo>
                  <a:lnTo>
                    <a:pt x="62" y="53"/>
                  </a:lnTo>
                  <a:lnTo>
                    <a:pt x="62" y="54"/>
                  </a:lnTo>
                  <a:lnTo>
                    <a:pt x="62" y="54"/>
                  </a:lnTo>
                  <a:lnTo>
                    <a:pt x="64" y="56"/>
                  </a:lnTo>
                  <a:lnTo>
                    <a:pt x="64" y="56"/>
                  </a:lnTo>
                  <a:lnTo>
                    <a:pt x="65" y="59"/>
                  </a:lnTo>
                  <a:lnTo>
                    <a:pt x="64" y="59"/>
                  </a:lnTo>
                  <a:lnTo>
                    <a:pt x="62" y="60"/>
                  </a:lnTo>
                  <a:lnTo>
                    <a:pt x="62" y="64"/>
                  </a:lnTo>
                  <a:lnTo>
                    <a:pt x="62" y="64"/>
                  </a:lnTo>
                  <a:lnTo>
                    <a:pt x="65" y="63"/>
                  </a:lnTo>
                  <a:lnTo>
                    <a:pt x="67" y="61"/>
                  </a:lnTo>
                  <a:lnTo>
                    <a:pt x="67" y="61"/>
                  </a:lnTo>
                  <a:lnTo>
                    <a:pt x="67" y="63"/>
                  </a:lnTo>
                  <a:lnTo>
                    <a:pt x="67" y="63"/>
                  </a:lnTo>
                  <a:lnTo>
                    <a:pt x="68" y="63"/>
                  </a:lnTo>
                  <a:lnTo>
                    <a:pt x="68" y="61"/>
                  </a:lnTo>
                  <a:lnTo>
                    <a:pt x="69" y="61"/>
                  </a:lnTo>
                  <a:lnTo>
                    <a:pt x="72" y="63"/>
                  </a:lnTo>
                  <a:lnTo>
                    <a:pt x="72" y="63"/>
                  </a:lnTo>
                  <a:lnTo>
                    <a:pt x="72" y="63"/>
                  </a:lnTo>
                  <a:lnTo>
                    <a:pt x="75" y="61"/>
                  </a:lnTo>
                  <a:lnTo>
                    <a:pt x="75" y="61"/>
                  </a:lnTo>
                  <a:lnTo>
                    <a:pt x="75" y="61"/>
                  </a:lnTo>
                  <a:lnTo>
                    <a:pt x="77" y="63"/>
                  </a:lnTo>
                  <a:lnTo>
                    <a:pt x="78" y="64"/>
                  </a:lnTo>
                  <a:lnTo>
                    <a:pt x="78" y="66"/>
                  </a:lnTo>
                  <a:lnTo>
                    <a:pt x="80" y="67"/>
                  </a:lnTo>
                  <a:lnTo>
                    <a:pt x="80" y="72"/>
                  </a:lnTo>
                  <a:lnTo>
                    <a:pt x="81" y="72"/>
                  </a:lnTo>
                  <a:lnTo>
                    <a:pt x="81" y="76"/>
                  </a:lnTo>
                  <a:lnTo>
                    <a:pt x="80" y="77"/>
                  </a:lnTo>
                  <a:lnTo>
                    <a:pt x="78" y="77"/>
                  </a:lnTo>
                  <a:lnTo>
                    <a:pt x="78" y="77"/>
                  </a:lnTo>
                  <a:lnTo>
                    <a:pt x="78" y="79"/>
                  </a:lnTo>
                  <a:lnTo>
                    <a:pt x="80" y="79"/>
                  </a:lnTo>
                  <a:lnTo>
                    <a:pt x="81" y="77"/>
                  </a:lnTo>
                  <a:lnTo>
                    <a:pt x="81" y="77"/>
                  </a:lnTo>
                  <a:lnTo>
                    <a:pt x="84" y="80"/>
                  </a:lnTo>
                  <a:lnTo>
                    <a:pt x="85" y="80"/>
                  </a:lnTo>
                  <a:lnTo>
                    <a:pt x="87" y="80"/>
                  </a:lnTo>
                  <a:lnTo>
                    <a:pt x="88" y="79"/>
                  </a:lnTo>
                  <a:lnTo>
                    <a:pt x="88" y="79"/>
                  </a:lnTo>
                  <a:lnTo>
                    <a:pt x="90" y="77"/>
                  </a:lnTo>
                  <a:lnTo>
                    <a:pt x="90" y="75"/>
                  </a:lnTo>
                  <a:lnTo>
                    <a:pt x="90" y="75"/>
                  </a:lnTo>
                  <a:lnTo>
                    <a:pt x="93" y="75"/>
                  </a:lnTo>
                  <a:lnTo>
                    <a:pt x="93" y="76"/>
                  </a:lnTo>
                  <a:lnTo>
                    <a:pt x="94" y="76"/>
                  </a:lnTo>
                  <a:lnTo>
                    <a:pt x="97" y="76"/>
                  </a:lnTo>
                  <a:lnTo>
                    <a:pt x="97" y="75"/>
                  </a:lnTo>
                  <a:lnTo>
                    <a:pt x="98" y="73"/>
                  </a:lnTo>
                  <a:lnTo>
                    <a:pt x="98" y="69"/>
                  </a:lnTo>
                  <a:lnTo>
                    <a:pt x="100" y="69"/>
                  </a:lnTo>
                  <a:lnTo>
                    <a:pt x="100" y="67"/>
                  </a:lnTo>
                  <a:lnTo>
                    <a:pt x="100" y="67"/>
                  </a:lnTo>
                  <a:lnTo>
                    <a:pt x="100" y="67"/>
                  </a:lnTo>
                  <a:lnTo>
                    <a:pt x="100" y="66"/>
                  </a:lnTo>
                  <a:lnTo>
                    <a:pt x="98" y="66"/>
                  </a:lnTo>
                  <a:lnTo>
                    <a:pt x="97" y="66"/>
                  </a:lnTo>
                  <a:lnTo>
                    <a:pt x="97" y="66"/>
                  </a:lnTo>
                  <a:lnTo>
                    <a:pt x="97" y="64"/>
                  </a:lnTo>
                  <a:lnTo>
                    <a:pt x="97" y="63"/>
                  </a:lnTo>
                  <a:lnTo>
                    <a:pt x="96" y="63"/>
                  </a:lnTo>
                  <a:lnTo>
                    <a:pt x="96" y="63"/>
                  </a:lnTo>
                  <a:lnTo>
                    <a:pt x="98" y="61"/>
                  </a:lnTo>
                  <a:lnTo>
                    <a:pt x="101" y="61"/>
                  </a:lnTo>
                  <a:lnTo>
                    <a:pt x="101" y="63"/>
                  </a:lnTo>
                  <a:lnTo>
                    <a:pt x="103" y="63"/>
                  </a:lnTo>
                  <a:lnTo>
                    <a:pt x="103" y="63"/>
                  </a:lnTo>
                  <a:lnTo>
                    <a:pt x="104" y="64"/>
                  </a:lnTo>
                  <a:lnTo>
                    <a:pt x="104" y="64"/>
                  </a:lnTo>
                  <a:lnTo>
                    <a:pt x="104" y="61"/>
                  </a:lnTo>
                  <a:lnTo>
                    <a:pt x="103" y="60"/>
                  </a:lnTo>
                  <a:lnTo>
                    <a:pt x="103" y="59"/>
                  </a:lnTo>
                  <a:lnTo>
                    <a:pt x="103" y="59"/>
                  </a:lnTo>
                  <a:lnTo>
                    <a:pt x="101" y="59"/>
                  </a:lnTo>
                  <a:lnTo>
                    <a:pt x="101" y="59"/>
                  </a:lnTo>
                  <a:lnTo>
                    <a:pt x="101" y="56"/>
                  </a:lnTo>
                  <a:lnTo>
                    <a:pt x="103" y="54"/>
                  </a:lnTo>
                  <a:lnTo>
                    <a:pt x="103" y="54"/>
                  </a:lnTo>
                  <a:lnTo>
                    <a:pt x="103" y="54"/>
                  </a:lnTo>
                  <a:lnTo>
                    <a:pt x="103" y="53"/>
                  </a:lnTo>
                  <a:lnTo>
                    <a:pt x="101" y="53"/>
                  </a:lnTo>
                  <a:lnTo>
                    <a:pt x="101" y="50"/>
                  </a:lnTo>
                  <a:lnTo>
                    <a:pt x="100" y="50"/>
                  </a:lnTo>
                  <a:lnTo>
                    <a:pt x="98" y="48"/>
                  </a:lnTo>
                  <a:lnTo>
                    <a:pt x="98" y="48"/>
                  </a:lnTo>
                  <a:lnTo>
                    <a:pt x="97" y="41"/>
                  </a:lnTo>
                  <a:lnTo>
                    <a:pt x="98" y="41"/>
                  </a:lnTo>
                  <a:lnTo>
                    <a:pt x="98" y="40"/>
                  </a:lnTo>
                  <a:lnTo>
                    <a:pt x="100" y="38"/>
                  </a:lnTo>
                  <a:lnTo>
                    <a:pt x="100" y="37"/>
                  </a:lnTo>
                  <a:lnTo>
                    <a:pt x="100" y="35"/>
                  </a:lnTo>
                  <a:lnTo>
                    <a:pt x="98" y="35"/>
                  </a:lnTo>
                  <a:lnTo>
                    <a:pt x="98" y="34"/>
                  </a:lnTo>
                  <a:lnTo>
                    <a:pt x="97" y="34"/>
                  </a:lnTo>
                  <a:lnTo>
                    <a:pt x="96" y="32"/>
                  </a:lnTo>
                  <a:lnTo>
                    <a:pt x="96" y="25"/>
                  </a:lnTo>
                  <a:lnTo>
                    <a:pt x="94" y="25"/>
                  </a:lnTo>
                  <a:lnTo>
                    <a:pt x="93" y="25"/>
                  </a:lnTo>
                  <a:lnTo>
                    <a:pt x="91" y="27"/>
                  </a:lnTo>
                  <a:lnTo>
                    <a:pt x="91" y="27"/>
                  </a:lnTo>
                  <a:lnTo>
                    <a:pt x="91" y="25"/>
                  </a:lnTo>
                  <a:lnTo>
                    <a:pt x="91" y="24"/>
                  </a:lnTo>
                  <a:lnTo>
                    <a:pt x="93" y="24"/>
                  </a:lnTo>
                  <a:lnTo>
                    <a:pt x="93" y="22"/>
                  </a:lnTo>
                  <a:lnTo>
                    <a:pt x="93" y="22"/>
                  </a:lnTo>
                  <a:lnTo>
                    <a:pt x="94" y="22"/>
                  </a:lnTo>
                  <a:lnTo>
                    <a:pt x="94" y="22"/>
                  </a:lnTo>
                  <a:lnTo>
                    <a:pt x="94" y="21"/>
                  </a:lnTo>
                  <a:lnTo>
                    <a:pt x="94" y="19"/>
                  </a:lnTo>
                  <a:lnTo>
                    <a:pt x="93" y="19"/>
                  </a:lnTo>
                  <a:lnTo>
                    <a:pt x="93" y="19"/>
                  </a:lnTo>
                  <a:lnTo>
                    <a:pt x="91" y="18"/>
                  </a:lnTo>
                  <a:lnTo>
                    <a:pt x="90" y="16"/>
                  </a:lnTo>
                  <a:lnTo>
                    <a:pt x="88" y="16"/>
                  </a:lnTo>
                  <a:lnTo>
                    <a:pt x="88" y="16"/>
                  </a:lnTo>
                  <a:lnTo>
                    <a:pt x="88" y="12"/>
                  </a:lnTo>
                  <a:lnTo>
                    <a:pt x="88" y="11"/>
                  </a:lnTo>
                  <a:lnTo>
                    <a:pt x="87" y="11"/>
                  </a:lnTo>
                  <a:lnTo>
                    <a:pt x="87" y="9"/>
                  </a:lnTo>
                  <a:lnTo>
                    <a:pt x="87" y="8"/>
                  </a:lnTo>
                  <a:lnTo>
                    <a:pt x="85" y="8"/>
                  </a:lnTo>
                  <a:lnTo>
                    <a:pt x="85" y="8"/>
                  </a:lnTo>
                  <a:lnTo>
                    <a:pt x="85" y="5"/>
                  </a:lnTo>
                  <a:lnTo>
                    <a:pt x="85" y="5"/>
                  </a:lnTo>
                  <a:lnTo>
                    <a:pt x="85" y="3"/>
                  </a:lnTo>
                  <a:lnTo>
                    <a:pt x="84" y="3"/>
                  </a:lnTo>
                  <a:lnTo>
                    <a:pt x="84" y="5"/>
                  </a:lnTo>
                  <a:lnTo>
                    <a:pt x="82" y="5"/>
                  </a:lnTo>
                  <a:lnTo>
                    <a:pt x="81" y="3"/>
                  </a:lnTo>
                  <a:lnTo>
                    <a:pt x="81" y="3"/>
                  </a:lnTo>
                  <a:lnTo>
                    <a:pt x="81" y="5"/>
                  </a:lnTo>
                  <a:lnTo>
                    <a:pt x="81" y="6"/>
                  </a:lnTo>
                  <a:lnTo>
                    <a:pt x="80" y="8"/>
                  </a:lnTo>
                  <a:lnTo>
                    <a:pt x="77" y="8"/>
                  </a:lnTo>
                  <a:lnTo>
                    <a:pt x="77" y="9"/>
                  </a:lnTo>
                  <a:lnTo>
                    <a:pt x="75" y="11"/>
                  </a:lnTo>
                  <a:lnTo>
                    <a:pt x="72" y="9"/>
                  </a:lnTo>
                  <a:lnTo>
                    <a:pt x="69" y="8"/>
                  </a:lnTo>
                  <a:lnTo>
                    <a:pt x="68" y="8"/>
                  </a:lnTo>
                  <a:lnTo>
                    <a:pt x="67" y="8"/>
                  </a:lnTo>
                  <a:lnTo>
                    <a:pt x="65" y="9"/>
                  </a:lnTo>
                  <a:lnTo>
                    <a:pt x="64" y="11"/>
                  </a:lnTo>
                  <a:lnTo>
                    <a:pt x="64" y="12"/>
                  </a:lnTo>
                  <a:lnTo>
                    <a:pt x="62" y="12"/>
                  </a:lnTo>
                  <a:lnTo>
                    <a:pt x="61" y="12"/>
                  </a:lnTo>
                  <a:lnTo>
                    <a:pt x="58" y="8"/>
                  </a:lnTo>
                  <a:lnTo>
                    <a:pt x="56" y="8"/>
                  </a:lnTo>
                  <a:lnTo>
                    <a:pt x="55" y="11"/>
                  </a:lnTo>
                  <a:lnTo>
                    <a:pt x="55" y="11"/>
                  </a:lnTo>
                  <a:lnTo>
                    <a:pt x="53" y="11"/>
                  </a:lnTo>
                  <a:lnTo>
                    <a:pt x="52" y="11"/>
                  </a:lnTo>
                  <a:lnTo>
                    <a:pt x="51" y="9"/>
                  </a:lnTo>
                  <a:lnTo>
                    <a:pt x="51" y="8"/>
                  </a:lnTo>
                  <a:lnTo>
                    <a:pt x="52" y="6"/>
                  </a:lnTo>
                  <a:lnTo>
                    <a:pt x="52" y="6"/>
                  </a:lnTo>
                  <a:lnTo>
                    <a:pt x="53" y="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33" name="Freeform 968"/>
            <p:cNvSpPr>
              <a:spLocks/>
            </p:cNvSpPr>
            <p:nvPr/>
          </p:nvSpPr>
          <p:spPr bwMode="auto">
            <a:xfrm>
              <a:off x="5923220" y="3083968"/>
              <a:ext cx="95680" cy="84173"/>
            </a:xfrm>
            <a:custGeom>
              <a:avLst/>
              <a:gdLst/>
              <a:ahLst/>
              <a:cxnLst>
                <a:cxn ang="0">
                  <a:pos x="45" y="5"/>
                </a:cxn>
                <a:cxn ang="0">
                  <a:pos x="39" y="6"/>
                </a:cxn>
                <a:cxn ang="0">
                  <a:pos x="33" y="5"/>
                </a:cxn>
                <a:cxn ang="0">
                  <a:pos x="29" y="5"/>
                </a:cxn>
                <a:cxn ang="0">
                  <a:pos x="24" y="2"/>
                </a:cxn>
                <a:cxn ang="0">
                  <a:pos x="20" y="5"/>
                </a:cxn>
                <a:cxn ang="0">
                  <a:pos x="17" y="8"/>
                </a:cxn>
                <a:cxn ang="0">
                  <a:pos x="19" y="11"/>
                </a:cxn>
                <a:cxn ang="0">
                  <a:pos x="11" y="16"/>
                </a:cxn>
                <a:cxn ang="0">
                  <a:pos x="1" y="27"/>
                </a:cxn>
                <a:cxn ang="0">
                  <a:pos x="1" y="29"/>
                </a:cxn>
                <a:cxn ang="0">
                  <a:pos x="4" y="27"/>
                </a:cxn>
                <a:cxn ang="0">
                  <a:pos x="7" y="34"/>
                </a:cxn>
                <a:cxn ang="0">
                  <a:pos x="19" y="47"/>
                </a:cxn>
                <a:cxn ang="0">
                  <a:pos x="23" y="51"/>
                </a:cxn>
                <a:cxn ang="0">
                  <a:pos x="29" y="54"/>
                </a:cxn>
                <a:cxn ang="0">
                  <a:pos x="32" y="50"/>
                </a:cxn>
                <a:cxn ang="0">
                  <a:pos x="36" y="43"/>
                </a:cxn>
                <a:cxn ang="0">
                  <a:pos x="45" y="41"/>
                </a:cxn>
                <a:cxn ang="0">
                  <a:pos x="56" y="44"/>
                </a:cxn>
                <a:cxn ang="0">
                  <a:pos x="59" y="47"/>
                </a:cxn>
                <a:cxn ang="0">
                  <a:pos x="62" y="50"/>
                </a:cxn>
                <a:cxn ang="0">
                  <a:pos x="62" y="53"/>
                </a:cxn>
                <a:cxn ang="0">
                  <a:pos x="64" y="56"/>
                </a:cxn>
                <a:cxn ang="0">
                  <a:pos x="62" y="64"/>
                </a:cxn>
                <a:cxn ang="0">
                  <a:pos x="67" y="61"/>
                </a:cxn>
                <a:cxn ang="0">
                  <a:pos x="68" y="61"/>
                </a:cxn>
                <a:cxn ang="0">
                  <a:pos x="72" y="63"/>
                </a:cxn>
                <a:cxn ang="0">
                  <a:pos x="77" y="63"/>
                </a:cxn>
                <a:cxn ang="0">
                  <a:pos x="80" y="72"/>
                </a:cxn>
                <a:cxn ang="0">
                  <a:pos x="78" y="77"/>
                </a:cxn>
                <a:cxn ang="0">
                  <a:pos x="81" y="77"/>
                </a:cxn>
                <a:cxn ang="0">
                  <a:pos x="87" y="80"/>
                </a:cxn>
                <a:cxn ang="0">
                  <a:pos x="90" y="75"/>
                </a:cxn>
                <a:cxn ang="0">
                  <a:pos x="94" y="76"/>
                </a:cxn>
                <a:cxn ang="0">
                  <a:pos x="98" y="69"/>
                </a:cxn>
                <a:cxn ang="0">
                  <a:pos x="100" y="67"/>
                </a:cxn>
                <a:cxn ang="0">
                  <a:pos x="97" y="66"/>
                </a:cxn>
                <a:cxn ang="0">
                  <a:pos x="96" y="63"/>
                </a:cxn>
                <a:cxn ang="0">
                  <a:pos x="103" y="63"/>
                </a:cxn>
                <a:cxn ang="0">
                  <a:pos x="104" y="61"/>
                </a:cxn>
                <a:cxn ang="0">
                  <a:pos x="101" y="59"/>
                </a:cxn>
                <a:cxn ang="0">
                  <a:pos x="103" y="54"/>
                </a:cxn>
                <a:cxn ang="0">
                  <a:pos x="101" y="50"/>
                </a:cxn>
                <a:cxn ang="0">
                  <a:pos x="97" y="41"/>
                </a:cxn>
                <a:cxn ang="0">
                  <a:pos x="100" y="37"/>
                </a:cxn>
                <a:cxn ang="0">
                  <a:pos x="97" y="34"/>
                </a:cxn>
                <a:cxn ang="0">
                  <a:pos x="93" y="25"/>
                </a:cxn>
                <a:cxn ang="0">
                  <a:pos x="91" y="24"/>
                </a:cxn>
                <a:cxn ang="0">
                  <a:pos x="94" y="22"/>
                </a:cxn>
                <a:cxn ang="0">
                  <a:pos x="93" y="19"/>
                </a:cxn>
                <a:cxn ang="0">
                  <a:pos x="88" y="16"/>
                </a:cxn>
                <a:cxn ang="0">
                  <a:pos x="87" y="11"/>
                </a:cxn>
                <a:cxn ang="0">
                  <a:pos x="85" y="8"/>
                </a:cxn>
                <a:cxn ang="0">
                  <a:pos x="84" y="3"/>
                </a:cxn>
                <a:cxn ang="0">
                  <a:pos x="81" y="3"/>
                </a:cxn>
                <a:cxn ang="0">
                  <a:pos x="77" y="8"/>
                </a:cxn>
                <a:cxn ang="0">
                  <a:pos x="69" y="8"/>
                </a:cxn>
                <a:cxn ang="0">
                  <a:pos x="64" y="11"/>
                </a:cxn>
                <a:cxn ang="0">
                  <a:pos x="58" y="8"/>
                </a:cxn>
                <a:cxn ang="0">
                  <a:pos x="53" y="11"/>
                </a:cxn>
                <a:cxn ang="0">
                  <a:pos x="52" y="6"/>
                </a:cxn>
              </a:cxnLst>
              <a:rect l="0" t="0" r="r" b="b"/>
              <a:pathLst>
                <a:path w="104" h="80">
                  <a:moveTo>
                    <a:pt x="53" y="5"/>
                  </a:moveTo>
                  <a:lnTo>
                    <a:pt x="51" y="5"/>
                  </a:lnTo>
                  <a:lnTo>
                    <a:pt x="49" y="6"/>
                  </a:lnTo>
                  <a:lnTo>
                    <a:pt x="45" y="5"/>
                  </a:lnTo>
                  <a:lnTo>
                    <a:pt x="45" y="6"/>
                  </a:lnTo>
                  <a:lnTo>
                    <a:pt x="42" y="6"/>
                  </a:lnTo>
                  <a:lnTo>
                    <a:pt x="40" y="6"/>
                  </a:lnTo>
                  <a:lnTo>
                    <a:pt x="39" y="6"/>
                  </a:lnTo>
                  <a:lnTo>
                    <a:pt x="37" y="6"/>
                  </a:lnTo>
                  <a:lnTo>
                    <a:pt x="36" y="6"/>
                  </a:lnTo>
                  <a:lnTo>
                    <a:pt x="35" y="5"/>
                  </a:lnTo>
                  <a:lnTo>
                    <a:pt x="33" y="5"/>
                  </a:lnTo>
                  <a:lnTo>
                    <a:pt x="30" y="3"/>
                  </a:lnTo>
                  <a:lnTo>
                    <a:pt x="30" y="3"/>
                  </a:lnTo>
                  <a:lnTo>
                    <a:pt x="30" y="5"/>
                  </a:lnTo>
                  <a:lnTo>
                    <a:pt x="29" y="5"/>
                  </a:lnTo>
                  <a:lnTo>
                    <a:pt x="29" y="3"/>
                  </a:lnTo>
                  <a:lnTo>
                    <a:pt x="27" y="2"/>
                  </a:lnTo>
                  <a:lnTo>
                    <a:pt x="26" y="2"/>
                  </a:lnTo>
                  <a:lnTo>
                    <a:pt x="24" y="2"/>
                  </a:lnTo>
                  <a:lnTo>
                    <a:pt x="23" y="0"/>
                  </a:lnTo>
                  <a:lnTo>
                    <a:pt x="19" y="0"/>
                  </a:lnTo>
                  <a:lnTo>
                    <a:pt x="19" y="3"/>
                  </a:lnTo>
                  <a:lnTo>
                    <a:pt x="20" y="5"/>
                  </a:lnTo>
                  <a:lnTo>
                    <a:pt x="20" y="6"/>
                  </a:lnTo>
                  <a:lnTo>
                    <a:pt x="20" y="8"/>
                  </a:lnTo>
                  <a:lnTo>
                    <a:pt x="19" y="8"/>
                  </a:lnTo>
                  <a:lnTo>
                    <a:pt x="17" y="8"/>
                  </a:lnTo>
                  <a:lnTo>
                    <a:pt x="17" y="8"/>
                  </a:lnTo>
                  <a:lnTo>
                    <a:pt x="16" y="9"/>
                  </a:lnTo>
                  <a:lnTo>
                    <a:pt x="17" y="11"/>
                  </a:lnTo>
                  <a:lnTo>
                    <a:pt x="19" y="11"/>
                  </a:lnTo>
                  <a:lnTo>
                    <a:pt x="19" y="16"/>
                  </a:lnTo>
                  <a:lnTo>
                    <a:pt x="17" y="16"/>
                  </a:lnTo>
                  <a:lnTo>
                    <a:pt x="16" y="16"/>
                  </a:lnTo>
                  <a:lnTo>
                    <a:pt x="11" y="16"/>
                  </a:lnTo>
                  <a:lnTo>
                    <a:pt x="7" y="18"/>
                  </a:lnTo>
                  <a:lnTo>
                    <a:pt x="6" y="19"/>
                  </a:lnTo>
                  <a:lnTo>
                    <a:pt x="3" y="25"/>
                  </a:lnTo>
                  <a:lnTo>
                    <a:pt x="1" y="27"/>
                  </a:lnTo>
                  <a:lnTo>
                    <a:pt x="0" y="27"/>
                  </a:lnTo>
                  <a:lnTo>
                    <a:pt x="0" y="29"/>
                  </a:lnTo>
                  <a:lnTo>
                    <a:pt x="1" y="29"/>
                  </a:lnTo>
                  <a:lnTo>
                    <a:pt x="1" y="29"/>
                  </a:lnTo>
                  <a:lnTo>
                    <a:pt x="1" y="29"/>
                  </a:lnTo>
                  <a:lnTo>
                    <a:pt x="3" y="28"/>
                  </a:lnTo>
                  <a:lnTo>
                    <a:pt x="4" y="27"/>
                  </a:lnTo>
                  <a:lnTo>
                    <a:pt x="4" y="27"/>
                  </a:lnTo>
                  <a:lnTo>
                    <a:pt x="4" y="31"/>
                  </a:lnTo>
                  <a:lnTo>
                    <a:pt x="7" y="31"/>
                  </a:lnTo>
                  <a:lnTo>
                    <a:pt x="7" y="31"/>
                  </a:lnTo>
                  <a:lnTo>
                    <a:pt x="7" y="34"/>
                  </a:lnTo>
                  <a:lnTo>
                    <a:pt x="10" y="38"/>
                  </a:lnTo>
                  <a:lnTo>
                    <a:pt x="17" y="43"/>
                  </a:lnTo>
                  <a:lnTo>
                    <a:pt x="19" y="44"/>
                  </a:lnTo>
                  <a:lnTo>
                    <a:pt x="19" y="47"/>
                  </a:lnTo>
                  <a:lnTo>
                    <a:pt x="22" y="48"/>
                  </a:lnTo>
                  <a:lnTo>
                    <a:pt x="22" y="50"/>
                  </a:lnTo>
                  <a:lnTo>
                    <a:pt x="23" y="50"/>
                  </a:lnTo>
                  <a:lnTo>
                    <a:pt x="23" y="51"/>
                  </a:lnTo>
                  <a:lnTo>
                    <a:pt x="23" y="51"/>
                  </a:lnTo>
                  <a:lnTo>
                    <a:pt x="24" y="53"/>
                  </a:lnTo>
                  <a:lnTo>
                    <a:pt x="26" y="54"/>
                  </a:lnTo>
                  <a:lnTo>
                    <a:pt x="29" y="54"/>
                  </a:lnTo>
                  <a:lnTo>
                    <a:pt x="29" y="53"/>
                  </a:lnTo>
                  <a:lnTo>
                    <a:pt x="30" y="51"/>
                  </a:lnTo>
                  <a:lnTo>
                    <a:pt x="32" y="50"/>
                  </a:lnTo>
                  <a:lnTo>
                    <a:pt x="32" y="50"/>
                  </a:lnTo>
                  <a:lnTo>
                    <a:pt x="33" y="48"/>
                  </a:lnTo>
                  <a:lnTo>
                    <a:pt x="33" y="48"/>
                  </a:lnTo>
                  <a:lnTo>
                    <a:pt x="36" y="44"/>
                  </a:lnTo>
                  <a:lnTo>
                    <a:pt x="36" y="43"/>
                  </a:lnTo>
                  <a:lnTo>
                    <a:pt x="37" y="43"/>
                  </a:lnTo>
                  <a:lnTo>
                    <a:pt x="39" y="41"/>
                  </a:lnTo>
                  <a:lnTo>
                    <a:pt x="40" y="43"/>
                  </a:lnTo>
                  <a:lnTo>
                    <a:pt x="45" y="41"/>
                  </a:lnTo>
                  <a:lnTo>
                    <a:pt x="45" y="41"/>
                  </a:lnTo>
                  <a:lnTo>
                    <a:pt x="55" y="41"/>
                  </a:lnTo>
                  <a:lnTo>
                    <a:pt x="55" y="43"/>
                  </a:lnTo>
                  <a:lnTo>
                    <a:pt x="56" y="44"/>
                  </a:lnTo>
                  <a:lnTo>
                    <a:pt x="58" y="45"/>
                  </a:lnTo>
                  <a:lnTo>
                    <a:pt x="59" y="45"/>
                  </a:lnTo>
                  <a:lnTo>
                    <a:pt x="59" y="47"/>
                  </a:lnTo>
                  <a:lnTo>
                    <a:pt x="59" y="47"/>
                  </a:lnTo>
                  <a:lnTo>
                    <a:pt x="59" y="48"/>
                  </a:lnTo>
                  <a:lnTo>
                    <a:pt x="59" y="48"/>
                  </a:lnTo>
                  <a:lnTo>
                    <a:pt x="61" y="50"/>
                  </a:lnTo>
                  <a:lnTo>
                    <a:pt x="62" y="50"/>
                  </a:lnTo>
                  <a:lnTo>
                    <a:pt x="62" y="50"/>
                  </a:lnTo>
                  <a:lnTo>
                    <a:pt x="62" y="51"/>
                  </a:lnTo>
                  <a:lnTo>
                    <a:pt x="62" y="53"/>
                  </a:lnTo>
                  <a:lnTo>
                    <a:pt x="62" y="53"/>
                  </a:lnTo>
                  <a:lnTo>
                    <a:pt x="62" y="54"/>
                  </a:lnTo>
                  <a:lnTo>
                    <a:pt x="62" y="54"/>
                  </a:lnTo>
                  <a:lnTo>
                    <a:pt x="64" y="56"/>
                  </a:lnTo>
                  <a:lnTo>
                    <a:pt x="64" y="56"/>
                  </a:lnTo>
                  <a:lnTo>
                    <a:pt x="65" y="59"/>
                  </a:lnTo>
                  <a:lnTo>
                    <a:pt x="64" y="59"/>
                  </a:lnTo>
                  <a:lnTo>
                    <a:pt x="62" y="60"/>
                  </a:lnTo>
                  <a:lnTo>
                    <a:pt x="62" y="64"/>
                  </a:lnTo>
                  <a:lnTo>
                    <a:pt x="62" y="64"/>
                  </a:lnTo>
                  <a:lnTo>
                    <a:pt x="65" y="63"/>
                  </a:lnTo>
                  <a:lnTo>
                    <a:pt x="67" y="61"/>
                  </a:lnTo>
                  <a:lnTo>
                    <a:pt x="67" y="61"/>
                  </a:lnTo>
                  <a:lnTo>
                    <a:pt x="67" y="63"/>
                  </a:lnTo>
                  <a:lnTo>
                    <a:pt x="67" y="63"/>
                  </a:lnTo>
                  <a:lnTo>
                    <a:pt x="68" y="63"/>
                  </a:lnTo>
                  <a:lnTo>
                    <a:pt x="68" y="61"/>
                  </a:lnTo>
                  <a:lnTo>
                    <a:pt x="69" y="61"/>
                  </a:lnTo>
                  <a:lnTo>
                    <a:pt x="72" y="63"/>
                  </a:lnTo>
                  <a:lnTo>
                    <a:pt x="72" y="63"/>
                  </a:lnTo>
                  <a:lnTo>
                    <a:pt x="72" y="63"/>
                  </a:lnTo>
                  <a:lnTo>
                    <a:pt x="75" y="61"/>
                  </a:lnTo>
                  <a:lnTo>
                    <a:pt x="75" y="61"/>
                  </a:lnTo>
                  <a:lnTo>
                    <a:pt x="75" y="61"/>
                  </a:lnTo>
                  <a:lnTo>
                    <a:pt x="77" y="63"/>
                  </a:lnTo>
                  <a:lnTo>
                    <a:pt x="78" y="64"/>
                  </a:lnTo>
                  <a:lnTo>
                    <a:pt x="78" y="66"/>
                  </a:lnTo>
                  <a:lnTo>
                    <a:pt x="80" y="67"/>
                  </a:lnTo>
                  <a:lnTo>
                    <a:pt x="80" y="72"/>
                  </a:lnTo>
                  <a:lnTo>
                    <a:pt x="81" y="72"/>
                  </a:lnTo>
                  <a:lnTo>
                    <a:pt x="81" y="76"/>
                  </a:lnTo>
                  <a:lnTo>
                    <a:pt x="80" y="77"/>
                  </a:lnTo>
                  <a:lnTo>
                    <a:pt x="78" y="77"/>
                  </a:lnTo>
                  <a:lnTo>
                    <a:pt x="78" y="77"/>
                  </a:lnTo>
                  <a:lnTo>
                    <a:pt x="78" y="79"/>
                  </a:lnTo>
                  <a:lnTo>
                    <a:pt x="80" y="79"/>
                  </a:lnTo>
                  <a:lnTo>
                    <a:pt x="81" y="77"/>
                  </a:lnTo>
                  <a:lnTo>
                    <a:pt x="81" y="77"/>
                  </a:lnTo>
                  <a:lnTo>
                    <a:pt x="84" y="80"/>
                  </a:lnTo>
                  <a:lnTo>
                    <a:pt x="85" y="80"/>
                  </a:lnTo>
                  <a:lnTo>
                    <a:pt x="87" y="80"/>
                  </a:lnTo>
                  <a:lnTo>
                    <a:pt x="88" y="79"/>
                  </a:lnTo>
                  <a:lnTo>
                    <a:pt x="88" y="79"/>
                  </a:lnTo>
                  <a:lnTo>
                    <a:pt x="90" y="77"/>
                  </a:lnTo>
                  <a:lnTo>
                    <a:pt x="90" y="75"/>
                  </a:lnTo>
                  <a:lnTo>
                    <a:pt x="90" y="75"/>
                  </a:lnTo>
                  <a:lnTo>
                    <a:pt x="93" y="75"/>
                  </a:lnTo>
                  <a:lnTo>
                    <a:pt x="93" y="76"/>
                  </a:lnTo>
                  <a:lnTo>
                    <a:pt x="94" y="76"/>
                  </a:lnTo>
                  <a:lnTo>
                    <a:pt x="97" y="76"/>
                  </a:lnTo>
                  <a:lnTo>
                    <a:pt x="97" y="75"/>
                  </a:lnTo>
                  <a:lnTo>
                    <a:pt x="98" y="73"/>
                  </a:lnTo>
                  <a:lnTo>
                    <a:pt x="98" y="69"/>
                  </a:lnTo>
                  <a:lnTo>
                    <a:pt x="100" y="69"/>
                  </a:lnTo>
                  <a:lnTo>
                    <a:pt x="100" y="67"/>
                  </a:lnTo>
                  <a:lnTo>
                    <a:pt x="100" y="67"/>
                  </a:lnTo>
                  <a:lnTo>
                    <a:pt x="100" y="67"/>
                  </a:lnTo>
                  <a:lnTo>
                    <a:pt x="100" y="66"/>
                  </a:lnTo>
                  <a:lnTo>
                    <a:pt x="98" y="66"/>
                  </a:lnTo>
                  <a:lnTo>
                    <a:pt x="97" y="66"/>
                  </a:lnTo>
                  <a:lnTo>
                    <a:pt x="97" y="66"/>
                  </a:lnTo>
                  <a:lnTo>
                    <a:pt x="97" y="64"/>
                  </a:lnTo>
                  <a:lnTo>
                    <a:pt x="97" y="63"/>
                  </a:lnTo>
                  <a:lnTo>
                    <a:pt x="96" y="63"/>
                  </a:lnTo>
                  <a:lnTo>
                    <a:pt x="96" y="63"/>
                  </a:lnTo>
                  <a:lnTo>
                    <a:pt x="98" y="61"/>
                  </a:lnTo>
                  <a:lnTo>
                    <a:pt x="101" y="61"/>
                  </a:lnTo>
                  <a:lnTo>
                    <a:pt x="101" y="63"/>
                  </a:lnTo>
                  <a:lnTo>
                    <a:pt x="103" y="63"/>
                  </a:lnTo>
                  <a:lnTo>
                    <a:pt x="103" y="63"/>
                  </a:lnTo>
                  <a:lnTo>
                    <a:pt x="104" y="64"/>
                  </a:lnTo>
                  <a:lnTo>
                    <a:pt x="104" y="64"/>
                  </a:lnTo>
                  <a:lnTo>
                    <a:pt x="104" y="61"/>
                  </a:lnTo>
                  <a:lnTo>
                    <a:pt x="103" y="60"/>
                  </a:lnTo>
                  <a:lnTo>
                    <a:pt x="103" y="59"/>
                  </a:lnTo>
                  <a:lnTo>
                    <a:pt x="103" y="59"/>
                  </a:lnTo>
                  <a:lnTo>
                    <a:pt x="101" y="59"/>
                  </a:lnTo>
                  <a:lnTo>
                    <a:pt x="101" y="59"/>
                  </a:lnTo>
                  <a:lnTo>
                    <a:pt x="101" y="56"/>
                  </a:lnTo>
                  <a:lnTo>
                    <a:pt x="103" y="54"/>
                  </a:lnTo>
                  <a:lnTo>
                    <a:pt x="103" y="54"/>
                  </a:lnTo>
                  <a:lnTo>
                    <a:pt x="103" y="54"/>
                  </a:lnTo>
                  <a:lnTo>
                    <a:pt x="103" y="53"/>
                  </a:lnTo>
                  <a:lnTo>
                    <a:pt x="101" y="53"/>
                  </a:lnTo>
                  <a:lnTo>
                    <a:pt x="101" y="50"/>
                  </a:lnTo>
                  <a:lnTo>
                    <a:pt x="100" y="50"/>
                  </a:lnTo>
                  <a:lnTo>
                    <a:pt x="98" y="48"/>
                  </a:lnTo>
                  <a:lnTo>
                    <a:pt x="98" y="48"/>
                  </a:lnTo>
                  <a:lnTo>
                    <a:pt x="97" y="41"/>
                  </a:lnTo>
                  <a:lnTo>
                    <a:pt x="98" y="41"/>
                  </a:lnTo>
                  <a:lnTo>
                    <a:pt x="98" y="40"/>
                  </a:lnTo>
                  <a:lnTo>
                    <a:pt x="100" y="38"/>
                  </a:lnTo>
                  <a:lnTo>
                    <a:pt x="100" y="37"/>
                  </a:lnTo>
                  <a:lnTo>
                    <a:pt x="100" y="35"/>
                  </a:lnTo>
                  <a:lnTo>
                    <a:pt x="98" y="35"/>
                  </a:lnTo>
                  <a:lnTo>
                    <a:pt x="98" y="34"/>
                  </a:lnTo>
                  <a:lnTo>
                    <a:pt x="97" y="34"/>
                  </a:lnTo>
                  <a:lnTo>
                    <a:pt x="96" y="32"/>
                  </a:lnTo>
                  <a:lnTo>
                    <a:pt x="96" y="25"/>
                  </a:lnTo>
                  <a:lnTo>
                    <a:pt x="94" y="25"/>
                  </a:lnTo>
                  <a:lnTo>
                    <a:pt x="93" y="25"/>
                  </a:lnTo>
                  <a:lnTo>
                    <a:pt x="91" y="27"/>
                  </a:lnTo>
                  <a:lnTo>
                    <a:pt x="91" y="27"/>
                  </a:lnTo>
                  <a:lnTo>
                    <a:pt x="91" y="25"/>
                  </a:lnTo>
                  <a:lnTo>
                    <a:pt x="91" y="24"/>
                  </a:lnTo>
                  <a:lnTo>
                    <a:pt x="93" y="24"/>
                  </a:lnTo>
                  <a:lnTo>
                    <a:pt x="93" y="22"/>
                  </a:lnTo>
                  <a:lnTo>
                    <a:pt x="93" y="22"/>
                  </a:lnTo>
                  <a:lnTo>
                    <a:pt x="94" y="22"/>
                  </a:lnTo>
                  <a:lnTo>
                    <a:pt x="94" y="22"/>
                  </a:lnTo>
                  <a:lnTo>
                    <a:pt x="94" y="21"/>
                  </a:lnTo>
                  <a:lnTo>
                    <a:pt x="94" y="19"/>
                  </a:lnTo>
                  <a:lnTo>
                    <a:pt x="93" y="19"/>
                  </a:lnTo>
                  <a:lnTo>
                    <a:pt x="93" y="19"/>
                  </a:lnTo>
                  <a:lnTo>
                    <a:pt x="91" y="18"/>
                  </a:lnTo>
                  <a:lnTo>
                    <a:pt x="90" y="16"/>
                  </a:lnTo>
                  <a:lnTo>
                    <a:pt x="88" y="16"/>
                  </a:lnTo>
                  <a:lnTo>
                    <a:pt x="88" y="16"/>
                  </a:lnTo>
                  <a:lnTo>
                    <a:pt x="88" y="12"/>
                  </a:lnTo>
                  <a:lnTo>
                    <a:pt x="88" y="11"/>
                  </a:lnTo>
                  <a:lnTo>
                    <a:pt x="87" y="11"/>
                  </a:lnTo>
                  <a:lnTo>
                    <a:pt x="87" y="9"/>
                  </a:lnTo>
                  <a:lnTo>
                    <a:pt x="87" y="8"/>
                  </a:lnTo>
                  <a:lnTo>
                    <a:pt x="85" y="8"/>
                  </a:lnTo>
                  <a:lnTo>
                    <a:pt x="85" y="8"/>
                  </a:lnTo>
                  <a:lnTo>
                    <a:pt x="85" y="5"/>
                  </a:lnTo>
                  <a:lnTo>
                    <a:pt x="85" y="5"/>
                  </a:lnTo>
                  <a:lnTo>
                    <a:pt x="85" y="3"/>
                  </a:lnTo>
                  <a:lnTo>
                    <a:pt x="84" y="3"/>
                  </a:lnTo>
                  <a:lnTo>
                    <a:pt x="84" y="5"/>
                  </a:lnTo>
                  <a:lnTo>
                    <a:pt x="82" y="5"/>
                  </a:lnTo>
                  <a:lnTo>
                    <a:pt x="81" y="3"/>
                  </a:lnTo>
                  <a:lnTo>
                    <a:pt x="81" y="3"/>
                  </a:lnTo>
                  <a:lnTo>
                    <a:pt x="81" y="5"/>
                  </a:lnTo>
                  <a:lnTo>
                    <a:pt x="81" y="6"/>
                  </a:lnTo>
                  <a:lnTo>
                    <a:pt x="80" y="8"/>
                  </a:lnTo>
                  <a:lnTo>
                    <a:pt x="77" y="8"/>
                  </a:lnTo>
                  <a:lnTo>
                    <a:pt x="77" y="9"/>
                  </a:lnTo>
                  <a:lnTo>
                    <a:pt x="75" y="11"/>
                  </a:lnTo>
                  <a:lnTo>
                    <a:pt x="72" y="9"/>
                  </a:lnTo>
                  <a:lnTo>
                    <a:pt x="69" y="8"/>
                  </a:lnTo>
                  <a:lnTo>
                    <a:pt x="68" y="8"/>
                  </a:lnTo>
                  <a:lnTo>
                    <a:pt x="67" y="8"/>
                  </a:lnTo>
                  <a:lnTo>
                    <a:pt x="65" y="9"/>
                  </a:lnTo>
                  <a:lnTo>
                    <a:pt x="64" y="11"/>
                  </a:lnTo>
                  <a:lnTo>
                    <a:pt x="64" y="12"/>
                  </a:lnTo>
                  <a:lnTo>
                    <a:pt x="62" y="12"/>
                  </a:lnTo>
                  <a:lnTo>
                    <a:pt x="61" y="12"/>
                  </a:lnTo>
                  <a:lnTo>
                    <a:pt x="58" y="8"/>
                  </a:lnTo>
                  <a:lnTo>
                    <a:pt x="56" y="8"/>
                  </a:lnTo>
                  <a:lnTo>
                    <a:pt x="55" y="11"/>
                  </a:lnTo>
                  <a:lnTo>
                    <a:pt x="55" y="11"/>
                  </a:lnTo>
                  <a:lnTo>
                    <a:pt x="53" y="11"/>
                  </a:lnTo>
                  <a:lnTo>
                    <a:pt x="52" y="11"/>
                  </a:lnTo>
                  <a:lnTo>
                    <a:pt x="51" y="9"/>
                  </a:lnTo>
                  <a:lnTo>
                    <a:pt x="51" y="8"/>
                  </a:lnTo>
                  <a:lnTo>
                    <a:pt x="52" y="6"/>
                  </a:lnTo>
                  <a:lnTo>
                    <a:pt x="52" y="6"/>
                  </a:lnTo>
                  <a:lnTo>
                    <a:pt x="53" y="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34" name="Freeform 969"/>
            <p:cNvSpPr>
              <a:spLocks/>
            </p:cNvSpPr>
            <p:nvPr/>
          </p:nvSpPr>
          <p:spPr bwMode="auto">
            <a:xfrm>
              <a:off x="6214650" y="2680344"/>
              <a:ext cx="51789" cy="124738"/>
            </a:xfrm>
            <a:custGeom>
              <a:avLst/>
              <a:gdLst/>
              <a:ahLst/>
              <a:cxnLst>
                <a:cxn ang="0">
                  <a:pos x="32" y="120"/>
                </a:cxn>
                <a:cxn ang="0">
                  <a:pos x="39" y="112"/>
                </a:cxn>
                <a:cxn ang="0">
                  <a:pos x="37" y="104"/>
                </a:cxn>
                <a:cxn ang="0">
                  <a:pos x="39" y="98"/>
                </a:cxn>
                <a:cxn ang="0">
                  <a:pos x="46" y="92"/>
                </a:cxn>
                <a:cxn ang="0">
                  <a:pos x="56" y="83"/>
                </a:cxn>
                <a:cxn ang="0">
                  <a:pos x="55" y="72"/>
                </a:cxn>
                <a:cxn ang="0">
                  <a:pos x="52" y="72"/>
                </a:cxn>
                <a:cxn ang="0">
                  <a:pos x="52" y="70"/>
                </a:cxn>
                <a:cxn ang="0">
                  <a:pos x="49" y="66"/>
                </a:cxn>
                <a:cxn ang="0">
                  <a:pos x="45" y="66"/>
                </a:cxn>
                <a:cxn ang="0">
                  <a:pos x="43" y="64"/>
                </a:cxn>
                <a:cxn ang="0">
                  <a:pos x="36" y="61"/>
                </a:cxn>
                <a:cxn ang="0">
                  <a:pos x="36" y="56"/>
                </a:cxn>
                <a:cxn ang="0">
                  <a:pos x="39" y="53"/>
                </a:cxn>
                <a:cxn ang="0">
                  <a:pos x="43" y="51"/>
                </a:cxn>
                <a:cxn ang="0">
                  <a:pos x="51" y="45"/>
                </a:cxn>
                <a:cxn ang="0">
                  <a:pos x="52" y="31"/>
                </a:cxn>
                <a:cxn ang="0">
                  <a:pos x="49" y="27"/>
                </a:cxn>
                <a:cxn ang="0">
                  <a:pos x="46" y="25"/>
                </a:cxn>
                <a:cxn ang="0">
                  <a:pos x="46" y="18"/>
                </a:cxn>
                <a:cxn ang="0">
                  <a:pos x="51" y="15"/>
                </a:cxn>
                <a:cxn ang="0">
                  <a:pos x="52" y="5"/>
                </a:cxn>
                <a:cxn ang="0">
                  <a:pos x="49" y="8"/>
                </a:cxn>
                <a:cxn ang="0">
                  <a:pos x="46" y="9"/>
                </a:cxn>
                <a:cxn ang="0">
                  <a:pos x="42" y="9"/>
                </a:cxn>
                <a:cxn ang="0">
                  <a:pos x="40" y="3"/>
                </a:cxn>
                <a:cxn ang="0">
                  <a:pos x="33" y="0"/>
                </a:cxn>
                <a:cxn ang="0">
                  <a:pos x="21" y="5"/>
                </a:cxn>
                <a:cxn ang="0">
                  <a:pos x="20" y="6"/>
                </a:cxn>
                <a:cxn ang="0">
                  <a:pos x="14" y="14"/>
                </a:cxn>
                <a:cxn ang="0">
                  <a:pos x="14" y="15"/>
                </a:cxn>
                <a:cxn ang="0">
                  <a:pos x="14" y="35"/>
                </a:cxn>
                <a:cxn ang="0">
                  <a:pos x="13" y="48"/>
                </a:cxn>
                <a:cxn ang="0">
                  <a:pos x="7" y="54"/>
                </a:cxn>
                <a:cxn ang="0">
                  <a:pos x="4" y="57"/>
                </a:cxn>
                <a:cxn ang="0">
                  <a:pos x="1" y="59"/>
                </a:cxn>
                <a:cxn ang="0">
                  <a:pos x="4" y="70"/>
                </a:cxn>
                <a:cxn ang="0">
                  <a:pos x="10" y="75"/>
                </a:cxn>
                <a:cxn ang="0">
                  <a:pos x="11" y="85"/>
                </a:cxn>
                <a:cxn ang="0">
                  <a:pos x="24" y="91"/>
                </a:cxn>
              </a:cxnLst>
              <a:rect l="0" t="0" r="r" b="b"/>
              <a:pathLst>
                <a:path w="56" h="120">
                  <a:moveTo>
                    <a:pt x="29" y="120"/>
                  </a:moveTo>
                  <a:lnTo>
                    <a:pt x="32" y="120"/>
                  </a:lnTo>
                  <a:lnTo>
                    <a:pt x="37" y="115"/>
                  </a:lnTo>
                  <a:lnTo>
                    <a:pt x="39" y="112"/>
                  </a:lnTo>
                  <a:lnTo>
                    <a:pt x="39" y="111"/>
                  </a:lnTo>
                  <a:lnTo>
                    <a:pt x="37" y="104"/>
                  </a:lnTo>
                  <a:lnTo>
                    <a:pt x="39" y="101"/>
                  </a:lnTo>
                  <a:lnTo>
                    <a:pt x="39" y="98"/>
                  </a:lnTo>
                  <a:lnTo>
                    <a:pt x="45" y="95"/>
                  </a:lnTo>
                  <a:lnTo>
                    <a:pt x="46" y="92"/>
                  </a:lnTo>
                  <a:lnTo>
                    <a:pt x="55" y="86"/>
                  </a:lnTo>
                  <a:lnTo>
                    <a:pt x="56" y="83"/>
                  </a:lnTo>
                  <a:lnTo>
                    <a:pt x="56" y="73"/>
                  </a:lnTo>
                  <a:lnTo>
                    <a:pt x="55" y="72"/>
                  </a:lnTo>
                  <a:lnTo>
                    <a:pt x="53" y="72"/>
                  </a:lnTo>
                  <a:lnTo>
                    <a:pt x="52" y="72"/>
                  </a:lnTo>
                  <a:lnTo>
                    <a:pt x="52" y="72"/>
                  </a:lnTo>
                  <a:lnTo>
                    <a:pt x="52" y="70"/>
                  </a:lnTo>
                  <a:lnTo>
                    <a:pt x="49" y="66"/>
                  </a:lnTo>
                  <a:lnTo>
                    <a:pt x="49" y="66"/>
                  </a:lnTo>
                  <a:lnTo>
                    <a:pt x="46" y="67"/>
                  </a:lnTo>
                  <a:lnTo>
                    <a:pt x="45" y="66"/>
                  </a:lnTo>
                  <a:lnTo>
                    <a:pt x="45" y="64"/>
                  </a:lnTo>
                  <a:lnTo>
                    <a:pt x="43" y="64"/>
                  </a:lnTo>
                  <a:lnTo>
                    <a:pt x="42" y="64"/>
                  </a:lnTo>
                  <a:lnTo>
                    <a:pt x="36" y="61"/>
                  </a:lnTo>
                  <a:lnTo>
                    <a:pt x="36" y="59"/>
                  </a:lnTo>
                  <a:lnTo>
                    <a:pt x="36" y="56"/>
                  </a:lnTo>
                  <a:lnTo>
                    <a:pt x="39" y="57"/>
                  </a:lnTo>
                  <a:lnTo>
                    <a:pt x="39" y="53"/>
                  </a:lnTo>
                  <a:lnTo>
                    <a:pt x="42" y="53"/>
                  </a:lnTo>
                  <a:lnTo>
                    <a:pt x="43" y="51"/>
                  </a:lnTo>
                  <a:lnTo>
                    <a:pt x="45" y="50"/>
                  </a:lnTo>
                  <a:lnTo>
                    <a:pt x="51" y="45"/>
                  </a:lnTo>
                  <a:lnTo>
                    <a:pt x="53" y="37"/>
                  </a:lnTo>
                  <a:lnTo>
                    <a:pt x="52" y="31"/>
                  </a:lnTo>
                  <a:lnTo>
                    <a:pt x="51" y="30"/>
                  </a:lnTo>
                  <a:lnTo>
                    <a:pt x="49" y="27"/>
                  </a:lnTo>
                  <a:lnTo>
                    <a:pt x="48" y="27"/>
                  </a:lnTo>
                  <a:lnTo>
                    <a:pt x="46" y="25"/>
                  </a:lnTo>
                  <a:lnTo>
                    <a:pt x="45" y="21"/>
                  </a:lnTo>
                  <a:lnTo>
                    <a:pt x="46" y="18"/>
                  </a:lnTo>
                  <a:lnTo>
                    <a:pt x="48" y="15"/>
                  </a:lnTo>
                  <a:lnTo>
                    <a:pt x="51" y="15"/>
                  </a:lnTo>
                  <a:lnTo>
                    <a:pt x="53" y="8"/>
                  </a:lnTo>
                  <a:lnTo>
                    <a:pt x="52" y="5"/>
                  </a:lnTo>
                  <a:lnTo>
                    <a:pt x="51" y="5"/>
                  </a:lnTo>
                  <a:lnTo>
                    <a:pt x="49" y="8"/>
                  </a:lnTo>
                  <a:lnTo>
                    <a:pt x="48" y="9"/>
                  </a:lnTo>
                  <a:lnTo>
                    <a:pt x="46" y="9"/>
                  </a:lnTo>
                  <a:lnTo>
                    <a:pt x="45" y="11"/>
                  </a:lnTo>
                  <a:lnTo>
                    <a:pt x="42" y="9"/>
                  </a:lnTo>
                  <a:lnTo>
                    <a:pt x="42" y="6"/>
                  </a:lnTo>
                  <a:lnTo>
                    <a:pt x="40" y="3"/>
                  </a:lnTo>
                  <a:lnTo>
                    <a:pt x="40" y="2"/>
                  </a:lnTo>
                  <a:lnTo>
                    <a:pt x="33" y="0"/>
                  </a:lnTo>
                  <a:lnTo>
                    <a:pt x="27" y="2"/>
                  </a:lnTo>
                  <a:lnTo>
                    <a:pt x="21" y="5"/>
                  </a:lnTo>
                  <a:lnTo>
                    <a:pt x="20" y="6"/>
                  </a:lnTo>
                  <a:lnTo>
                    <a:pt x="20" y="6"/>
                  </a:lnTo>
                  <a:lnTo>
                    <a:pt x="19" y="8"/>
                  </a:lnTo>
                  <a:lnTo>
                    <a:pt x="14" y="14"/>
                  </a:lnTo>
                  <a:lnTo>
                    <a:pt x="13" y="15"/>
                  </a:lnTo>
                  <a:lnTo>
                    <a:pt x="14" y="15"/>
                  </a:lnTo>
                  <a:lnTo>
                    <a:pt x="16" y="16"/>
                  </a:lnTo>
                  <a:lnTo>
                    <a:pt x="14" y="35"/>
                  </a:lnTo>
                  <a:lnTo>
                    <a:pt x="16" y="37"/>
                  </a:lnTo>
                  <a:lnTo>
                    <a:pt x="13" y="48"/>
                  </a:lnTo>
                  <a:lnTo>
                    <a:pt x="8" y="51"/>
                  </a:lnTo>
                  <a:lnTo>
                    <a:pt x="7" y="54"/>
                  </a:lnTo>
                  <a:lnTo>
                    <a:pt x="6" y="56"/>
                  </a:lnTo>
                  <a:lnTo>
                    <a:pt x="4" y="57"/>
                  </a:lnTo>
                  <a:lnTo>
                    <a:pt x="3" y="57"/>
                  </a:lnTo>
                  <a:lnTo>
                    <a:pt x="1" y="59"/>
                  </a:lnTo>
                  <a:lnTo>
                    <a:pt x="0" y="59"/>
                  </a:lnTo>
                  <a:lnTo>
                    <a:pt x="4" y="70"/>
                  </a:lnTo>
                  <a:lnTo>
                    <a:pt x="8" y="73"/>
                  </a:lnTo>
                  <a:lnTo>
                    <a:pt x="10" y="75"/>
                  </a:lnTo>
                  <a:lnTo>
                    <a:pt x="11" y="79"/>
                  </a:lnTo>
                  <a:lnTo>
                    <a:pt x="11" y="85"/>
                  </a:lnTo>
                  <a:lnTo>
                    <a:pt x="23" y="91"/>
                  </a:lnTo>
                  <a:lnTo>
                    <a:pt x="24" y="91"/>
                  </a:lnTo>
                  <a:lnTo>
                    <a:pt x="29" y="12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35" name="Freeform 970"/>
            <p:cNvSpPr>
              <a:spLocks/>
            </p:cNvSpPr>
            <p:nvPr/>
          </p:nvSpPr>
          <p:spPr bwMode="auto">
            <a:xfrm>
              <a:off x="6214650" y="2680344"/>
              <a:ext cx="51789" cy="124738"/>
            </a:xfrm>
            <a:custGeom>
              <a:avLst/>
              <a:gdLst/>
              <a:ahLst/>
              <a:cxnLst>
                <a:cxn ang="0">
                  <a:pos x="32" y="120"/>
                </a:cxn>
                <a:cxn ang="0">
                  <a:pos x="39" y="112"/>
                </a:cxn>
                <a:cxn ang="0">
                  <a:pos x="37" y="104"/>
                </a:cxn>
                <a:cxn ang="0">
                  <a:pos x="39" y="98"/>
                </a:cxn>
                <a:cxn ang="0">
                  <a:pos x="46" y="92"/>
                </a:cxn>
                <a:cxn ang="0">
                  <a:pos x="56" y="83"/>
                </a:cxn>
                <a:cxn ang="0">
                  <a:pos x="55" y="72"/>
                </a:cxn>
                <a:cxn ang="0">
                  <a:pos x="52" y="72"/>
                </a:cxn>
                <a:cxn ang="0">
                  <a:pos x="52" y="70"/>
                </a:cxn>
                <a:cxn ang="0">
                  <a:pos x="49" y="66"/>
                </a:cxn>
                <a:cxn ang="0">
                  <a:pos x="45" y="66"/>
                </a:cxn>
                <a:cxn ang="0">
                  <a:pos x="43" y="64"/>
                </a:cxn>
                <a:cxn ang="0">
                  <a:pos x="36" y="61"/>
                </a:cxn>
                <a:cxn ang="0">
                  <a:pos x="36" y="56"/>
                </a:cxn>
                <a:cxn ang="0">
                  <a:pos x="39" y="53"/>
                </a:cxn>
                <a:cxn ang="0">
                  <a:pos x="43" y="51"/>
                </a:cxn>
                <a:cxn ang="0">
                  <a:pos x="51" y="45"/>
                </a:cxn>
                <a:cxn ang="0">
                  <a:pos x="52" y="31"/>
                </a:cxn>
                <a:cxn ang="0">
                  <a:pos x="49" y="27"/>
                </a:cxn>
                <a:cxn ang="0">
                  <a:pos x="46" y="25"/>
                </a:cxn>
                <a:cxn ang="0">
                  <a:pos x="46" y="18"/>
                </a:cxn>
                <a:cxn ang="0">
                  <a:pos x="51" y="15"/>
                </a:cxn>
                <a:cxn ang="0">
                  <a:pos x="52" y="5"/>
                </a:cxn>
                <a:cxn ang="0">
                  <a:pos x="49" y="8"/>
                </a:cxn>
                <a:cxn ang="0">
                  <a:pos x="46" y="9"/>
                </a:cxn>
                <a:cxn ang="0">
                  <a:pos x="42" y="9"/>
                </a:cxn>
                <a:cxn ang="0">
                  <a:pos x="40" y="3"/>
                </a:cxn>
                <a:cxn ang="0">
                  <a:pos x="33" y="0"/>
                </a:cxn>
                <a:cxn ang="0">
                  <a:pos x="21" y="5"/>
                </a:cxn>
                <a:cxn ang="0">
                  <a:pos x="20" y="6"/>
                </a:cxn>
                <a:cxn ang="0">
                  <a:pos x="14" y="14"/>
                </a:cxn>
                <a:cxn ang="0">
                  <a:pos x="14" y="15"/>
                </a:cxn>
                <a:cxn ang="0">
                  <a:pos x="14" y="35"/>
                </a:cxn>
                <a:cxn ang="0">
                  <a:pos x="13" y="48"/>
                </a:cxn>
                <a:cxn ang="0">
                  <a:pos x="7" y="54"/>
                </a:cxn>
                <a:cxn ang="0">
                  <a:pos x="4" y="57"/>
                </a:cxn>
                <a:cxn ang="0">
                  <a:pos x="1" y="59"/>
                </a:cxn>
                <a:cxn ang="0">
                  <a:pos x="4" y="70"/>
                </a:cxn>
                <a:cxn ang="0">
                  <a:pos x="10" y="75"/>
                </a:cxn>
                <a:cxn ang="0">
                  <a:pos x="11" y="85"/>
                </a:cxn>
                <a:cxn ang="0">
                  <a:pos x="24" y="91"/>
                </a:cxn>
              </a:cxnLst>
              <a:rect l="0" t="0" r="r" b="b"/>
              <a:pathLst>
                <a:path w="56" h="120">
                  <a:moveTo>
                    <a:pt x="29" y="120"/>
                  </a:moveTo>
                  <a:lnTo>
                    <a:pt x="32" y="120"/>
                  </a:lnTo>
                  <a:lnTo>
                    <a:pt x="37" y="115"/>
                  </a:lnTo>
                  <a:lnTo>
                    <a:pt x="39" y="112"/>
                  </a:lnTo>
                  <a:lnTo>
                    <a:pt x="39" y="111"/>
                  </a:lnTo>
                  <a:lnTo>
                    <a:pt x="37" y="104"/>
                  </a:lnTo>
                  <a:lnTo>
                    <a:pt x="39" y="101"/>
                  </a:lnTo>
                  <a:lnTo>
                    <a:pt x="39" y="98"/>
                  </a:lnTo>
                  <a:lnTo>
                    <a:pt x="45" y="95"/>
                  </a:lnTo>
                  <a:lnTo>
                    <a:pt x="46" y="92"/>
                  </a:lnTo>
                  <a:lnTo>
                    <a:pt x="55" y="86"/>
                  </a:lnTo>
                  <a:lnTo>
                    <a:pt x="56" y="83"/>
                  </a:lnTo>
                  <a:lnTo>
                    <a:pt x="56" y="73"/>
                  </a:lnTo>
                  <a:lnTo>
                    <a:pt x="55" y="72"/>
                  </a:lnTo>
                  <a:lnTo>
                    <a:pt x="53" y="72"/>
                  </a:lnTo>
                  <a:lnTo>
                    <a:pt x="52" y="72"/>
                  </a:lnTo>
                  <a:lnTo>
                    <a:pt x="52" y="72"/>
                  </a:lnTo>
                  <a:lnTo>
                    <a:pt x="52" y="70"/>
                  </a:lnTo>
                  <a:lnTo>
                    <a:pt x="49" y="66"/>
                  </a:lnTo>
                  <a:lnTo>
                    <a:pt x="49" y="66"/>
                  </a:lnTo>
                  <a:lnTo>
                    <a:pt x="46" y="67"/>
                  </a:lnTo>
                  <a:lnTo>
                    <a:pt x="45" y="66"/>
                  </a:lnTo>
                  <a:lnTo>
                    <a:pt x="45" y="64"/>
                  </a:lnTo>
                  <a:lnTo>
                    <a:pt x="43" y="64"/>
                  </a:lnTo>
                  <a:lnTo>
                    <a:pt x="42" y="64"/>
                  </a:lnTo>
                  <a:lnTo>
                    <a:pt x="36" y="61"/>
                  </a:lnTo>
                  <a:lnTo>
                    <a:pt x="36" y="59"/>
                  </a:lnTo>
                  <a:lnTo>
                    <a:pt x="36" y="56"/>
                  </a:lnTo>
                  <a:lnTo>
                    <a:pt x="39" y="57"/>
                  </a:lnTo>
                  <a:lnTo>
                    <a:pt x="39" y="53"/>
                  </a:lnTo>
                  <a:lnTo>
                    <a:pt x="42" y="53"/>
                  </a:lnTo>
                  <a:lnTo>
                    <a:pt x="43" y="51"/>
                  </a:lnTo>
                  <a:lnTo>
                    <a:pt x="45" y="50"/>
                  </a:lnTo>
                  <a:lnTo>
                    <a:pt x="51" y="45"/>
                  </a:lnTo>
                  <a:lnTo>
                    <a:pt x="53" y="37"/>
                  </a:lnTo>
                  <a:lnTo>
                    <a:pt x="52" y="31"/>
                  </a:lnTo>
                  <a:lnTo>
                    <a:pt x="51" y="30"/>
                  </a:lnTo>
                  <a:lnTo>
                    <a:pt x="49" y="27"/>
                  </a:lnTo>
                  <a:lnTo>
                    <a:pt x="48" y="27"/>
                  </a:lnTo>
                  <a:lnTo>
                    <a:pt x="46" y="25"/>
                  </a:lnTo>
                  <a:lnTo>
                    <a:pt x="45" y="21"/>
                  </a:lnTo>
                  <a:lnTo>
                    <a:pt x="46" y="18"/>
                  </a:lnTo>
                  <a:lnTo>
                    <a:pt x="48" y="15"/>
                  </a:lnTo>
                  <a:lnTo>
                    <a:pt x="51" y="15"/>
                  </a:lnTo>
                  <a:lnTo>
                    <a:pt x="53" y="8"/>
                  </a:lnTo>
                  <a:lnTo>
                    <a:pt x="52" y="5"/>
                  </a:lnTo>
                  <a:lnTo>
                    <a:pt x="51" y="5"/>
                  </a:lnTo>
                  <a:lnTo>
                    <a:pt x="49" y="8"/>
                  </a:lnTo>
                  <a:lnTo>
                    <a:pt x="48" y="9"/>
                  </a:lnTo>
                  <a:lnTo>
                    <a:pt x="46" y="9"/>
                  </a:lnTo>
                  <a:lnTo>
                    <a:pt x="45" y="11"/>
                  </a:lnTo>
                  <a:lnTo>
                    <a:pt x="42" y="9"/>
                  </a:lnTo>
                  <a:lnTo>
                    <a:pt x="42" y="6"/>
                  </a:lnTo>
                  <a:lnTo>
                    <a:pt x="40" y="3"/>
                  </a:lnTo>
                  <a:lnTo>
                    <a:pt x="40" y="2"/>
                  </a:lnTo>
                  <a:lnTo>
                    <a:pt x="33" y="0"/>
                  </a:lnTo>
                  <a:lnTo>
                    <a:pt x="27" y="2"/>
                  </a:lnTo>
                  <a:lnTo>
                    <a:pt x="21" y="5"/>
                  </a:lnTo>
                  <a:lnTo>
                    <a:pt x="20" y="6"/>
                  </a:lnTo>
                  <a:lnTo>
                    <a:pt x="20" y="6"/>
                  </a:lnTo>
                  <a:lnTo>
                    <a:pt x="19" y="8"/>
                  </a:lnTo>
                  <a:lnTo>
                    <a:pt x="14" y="14"/>
                  </a:lnTo>
                  <a:lnTo>
                    <a:pt x="13" y="15"/>
                  </a:lnTo>
                  <a:lnTo>
                    <a:pt x="14" y="15"/>
                  </a:lnTo>
                  <a:lnTo>
                    <a:pt x="16" y="16"/>
                  </a:lnTo>
                  <a:lnTo>
                    <a:pt x="14" y="35"/>
                  </a:lnTo>
                  <a:lnTo>
                    <a:pt x="16" y="37"/>
                  </a:lnTo>
                  <a:lnTo>
                    <a:pt x="13" y="48"/>
                  </a:lnTo>
                  <a:lnTo>
                    <a:pt x="8" y="51"/>
                  </a:lnTo>
                  <a:lnTo>
                    <a:pt x="7" y="54"/>
                  </a:lnTo>
                  <a:lnTo>
                    <a:pt x="6" y="56"/>
                  </a:lnTo>
                  <a:lnTo>
                    <a:pt x="4" y="57"/>
                  </a:lnTo>
                  <a:lnTo>
                    <a:pt x="3" y="57"/>
                  </a:lnTo>
                  <a:lnTo>
                    <a:pt x="1" y="59"/>
                  </a:lnTo>
                  <a:lnTo>
                    <a:pt x="0" y="59"/>
                  </a:lnTo>
                  <a:lnTo>
                    <a:pt x="4" y="70"/>
                  </a:lnTo>
                  <a:lnTo>
                    <a:pt x="8" y="73"/>
                  </a:lnTo>
                  <a:lnTo>
                    <a:pt x="10" y="75"/>
                  </a:lnTo>
                  <a:lnTo>
                    <a:pt x="11" y="79"/>
                  </a:lnTo>
                  <a:lnTo>
                    <a:pt x="11" y="85"/>
                  </a:lnTo>
                  <a:lnTo>
                    <a:pt x="23" y="91"/>
                  </a:lnTo>
                  <a:lnTo>
                    <a:pt x="24" y="91"/>
                  </a:lnTo>
                  <a:lnTo>
                    <a:pt x="29" y="12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36" name="Freeform 971"/>
            <p:cNvSpPr>
              <a:spLocks/>
            </p:cNvSpPr>
            <p:nvPr/>
          </p:nvSpPr>
          <p:spPr bwMode="auto">
            <a:xfrm>
              <a:off x="6307697" y="3110336"/>
              <a:ext cx="170293" cy="122710"/>
            </a:xfrm>
            <a:custGeom>
              <a:avLst/>
              <a:gdLst/>
              <a:ahLst/>
              <a:cxnLst>
                <a:cxn ang="0">
                  <a:pos x="106" y="3"/>
                </a:cxn>
                <a:cxn ang="0">
                  <a:pos x="103" y="7"/>
                </a:cxn>
                <a:cxn ang="0">
                  <a:pos x="102" y="12"/>
                </a:cxn>
                <a:cxn ang="0">
                  <a:pos x="99" y="15"/>
                </a:cxn>
                <a:cxn ang="0">
                  <a:pos x="95" y="19"/>
                </a:cxn>
                <a:cxn ang="0">
                  <a:pos x="92" y="23"/>
                </a:cxn>
                <a:cxn ang="0">
                  <a:pos x="86" y="26"/>
                </a:cxn>
                <a:cxn ang="0">
                  <a:pos x="82" y="28"/>
                </a:cxn>
                <a:cxn ang="0">
                  <a:pos x="76" y="29"/>
                </a:cxn>
                <a:cxn ang="0">
                  <a:pos x="64" y="31"/>
                </a:cxn>
                <a:cxn ang="0">
                  <a:pos x="64" y="32"/>
                </a:cxn>
                <a:cxn ang="0">
                  <a:pos x="66" y="36"/>
                </a:cxn>
                <a:cxn ang="0">
                  <a:pos x="64" y="38"/>
                </a:cxn>
                <a:cxn ang="0">
                  <a:pos x="63" y="41"/>
                </a:cxn>
                <a:cxn ang="0">
                  <a:pos x="60" y="42"/>
                </a:cxn>
                <a:cxn ang="0">
                  <a:pos x="60" y="44"/>
                </a:cxn>
                <a:cxn ang="0">
                  <a:pos x="51" y="45"/>
                </a:cxn>
                <a:cxn ang="0">
                  <a:pos x="41" y="47"/>
                </a:cxn>
                <a:cxn ang="0">
                  <a:pos x="37" y="50"/>
                </a:cxn>
                <a:cxn ang="0">
                  <a:pos x="35" y="51"/>
                </a:cxn>
                <a:cxn ang="0">
                  <a:pos x="32" y="48"/>
                </a:cxn>
                <a:cxn ang="0">
                  <a:pos x="31" y="47"/>
                </a:cxn>
                <a:cxn ang="0">
                  <a:pos x="29" y="47"/>
                </a:cxn>
                <a:cxn ang="0">
                  <a:pos x="28" y="50"/>
                </a:cxn>
                <a:cxn ang="0">
                  <a:pos x="22" y="51"/>
                </a:cxn>
                <a:cxn ang="0">
                  <a:pos x="19" y="51"/>
                </a:cxn>
                <a:cxn ang="0">
                  <a:pos x="13" y="52"/>
                </a:cxn>
                <a:cxn ang="0">
                  <a:pos x="0" y="77"/>
                </a:cxn>
                <a:cxn ang="0">
                  <a:pos x="2" y="90"/>
                </a:cxn>
                <a:cxn ang="0">
                  <a:pos x="21" y="118"/>
                </a:cxn>
                <a:cxn ang="0">
                  <a:pos x="25" y="113"/>
                </a:cxn>
                <a:cxn ang="0">
                  <a:pos x="41" y="105"/>
                </a:cxn>
                <a:cxn ang="0">
                  <a:pos x="58" y="106"/>
                </a:cxn>
                <a:cxn ang="0">
                  <a:pos x="63" y="105"/>
                </a:cxn>
                <a:cxn ang="0">
                  <a:pos x="63" y="95"/>
                </a:cxn>
                <a:cxn ang="0">
                  <a:pos x="67" y="89"/>
                </a:cxn>
                <a:cxn ang="0">
                  <a:pos x="79" y="84"/>
                </a:cxn>
                <a:cxn ang="0">
                  <a:pos x="82" y="90"/>
                </a:cxn>
                <a:cxn ang="0">
                  <a:pos x="89" y="95"/>
                </a:cxn>
                <a:cxn ang="0">
                  <a:pos x="95" y="95"/>
                </a:cxn>
                <a:cxn ang="0">
                  <a:pos x="114" y="96"/>
                </a:cxn>
                <a:cxn ang="0">
                  <a:pos x="116" y="92"/>
                </a:cxn>
                <a:cxn ang="0">
                  <a:pos x="125" y="90"/>
                </a:cxn>
                <a:cxn ang="0">
                  <a:pos x="144" y="86"/>
                </a:cxn>
                <a:cxn ang="0">
                  <a:pos x="146" y="87"/>
                </a:cxn>
                <a:cxn ang="0">
                  <a:pos x="148" y="87"/>
                </a:cxn>
                <a:cxn ang="0">
                  <a:pos x="153" y="87"/>
                </a:cxn>
                <a:cxn ang="0">
                  <a:pos x="159" y="84"/>
                </a:cxn>
                <a:cxn ang="0">
                  <a:pos x="173" y="87"/>
                </a:cxn>
                <a:cxn ang="0">
                  <a:pos x="177" y="87"/>
                </a:cxn>
                <a:cxn ang="0">
                  <a:pos x="186" y="84"/>
                </a:cxn>
                <a:cxn ang="0">
                  <a:pos x="185" y="80"/>
                </a:cxn>
                <a:cxn ang="0">
                  <a:pos x="176" y="73"/>
                </a:cxn>
                <a:cxn ang="0">
                  <a:pos x="173" y="68"/>
                </a:cxn>
                <a:cxn ang="0">
                  <a:pos x="169" y="61"/>
                </a:cxn>
                <a:cxn ang="0">
                  <a:pos x="163" y="57"/>
                </a:cxn>
                <a:cxn ang="0">
                  <a:pos x="153" y="47"/>
                </a:cxn>
                <a:cxn ang="0">
                  <a:pos x="153" y="44"/>
                </a:cxn>
                <a:cxn ang="0">
                  <a:pos x="143" y="39"/>
                </a:cxn>
                <a:cxn ang="0">
                  <a:pos x="138" y="35"/>
                </a:cxn>
                <a:cxn ang="0">
                  <a:pos x="128" y="31"/>
                </a:cxn>
                <a:cxn ang="0">
                  <a:pos x="130" y="19"/>
                </a:cxn>
                <a:cxn ang="0">
                  <a:pos x="118" y="0"/>
                </a:cxn>
              </a:cxnLst>
              <a:rect l="0" t="0" r="r" b="b"/>
              <a:pathLst>
                <a:path w="186" h="118">
                  <a:moveTo>
                    <a:pt x="118" y="0"/>
                  </a:moveTo>
                  <a:lnTo>
                    <a:pt x="106" y="3"/>
                  </a:lnTo>
                  <a:lnTo>
                    <a:pt x="105" y="4"/>
                  </a:lnTo>
                  <a:lnTo>
                    <a:pt x="103" y="7"/>
                  </a:lnTo>
                  <a:lnTo>
                    <a:pt x="103" y="12"/>
                  </a:lnTo>
                  <a:lnTo>
                    <a:pt x="102" y="12"/>
                  </a:lnTo>
                  <a:lnTo>
                    <a:pt x="101" y="15"/>
                  </a:lnTo>
                  <a:lnTo>
                    <a:pt x="99" y="15"/>
                  </a:lnTo>
                  <a:lnTo>
                    <a:pt x="99" y="16"/>
                  </a:lnTo>
                  <a:lnTo>
                    <a:pt x="95" y="19"/>
                  </a:lnTo>
                  <a:lnTo>
                    <a:pt x="93" y="22"/>
                  </a:lnTo>
                  <a:lnTo>
                    <a:pt x="92" y="23"/>
                  </a:lnTo>
                  <a:lnTo>
                    <a:pt x="87" y="25"/>
                  </a:lnTo>
                  <a:lnTo>
                    <a:pt x="86" y="26"/>
                  </a:lnTo>
                  <a:lnTo>
                    <a:pt x="83" y="28"/>
                  </a:lnTo>
                  <a:lnTo>
                    <a:pt x="82" y="28"/>
                  </a:lnTo>
                  <a:lnTo>
                    <a:pt x="76" y="29"/>
                  </a:lnTo>
                  <a:lnTo>
                    <a:pt x="76" y="29"/>
                  </a:lnTo>
                  <a:lnTo>
                    <a:pt x="67" y="29"/>
                  </a:lnTo>
                  <a:lnTo>
                    <a:pt x="64" y="31"/>
                  </a:lnTo>
                  <a:lnTo>
                    <a:pt x="64" y="32"/>
                  </a:lnTo>
                  <a:lnTo>
                    <a:pt x="64" y="32"/>
                  </a:lnTo>
                  <a:lnTo>
                    <a:pt x="66" y="34"/>
                  </a:lnTo>
                  <a:lnTo>
                    <a:pt x="66" y="36"/>
                  </a:lnTo>
                  <a:lnTo>
                    <a:pt x="66" y="36"/>
                  </a:lnTo>
                  <a:lnTo>
                    <a:pt x="64" y="38"/>
                  </a:lnTo>
                  <a:lnTo>
                    <a:pt x="63" y="39"/>
                  </a:lnTo>
                  <a:lnTo>
                    <a:pt x="63" y="41"/>
                  </a:lnTo>
                  <a:lnTo>
                    <a:pt x="61" y="41"/>
                  </a:lnTo>
                  <a:lnTo>
                    <a:pt x="60" y="42"/>
                  </a:lnTo>
                  <a:lnTo>
                    <a:pt x="60" y="44"/>
                  </a:lnTo>
                  <a:lnTo>
                    <a:pt x="60" y="44"/>
                  </a:lnTo>
                  <a:lnTo>
                    <a:pt x="54" y="44"/>
                  </a:lnTo>
                  <a:lnTo>
                    <a:pt x="51" y="45"/>
                  </a:lnTo>
                  <a:lnTo>
                    <a:pt x="48" y="44"/>
                  </a:lnTo>
                  <a:lnTo>
                    <a:pt x="41" y="47"/>
                  </a:lnTo>
                  <a:lnTo>
                    <a:pt x="40" y="48"/>
                  </a:lnTo>
                  <a:lnTo>
                    <a:pt x="37" y="50"/>
                  </a:lnTo>
                  <a:lnTo>
                    <a:pt x="35" y="50"/>
                  </a:lnTo>
                  <a:lnTo>
                    <a:pt x="35" y="51"/>
                  </a:lnTo>
                  <a:lnTo>
                    <a:pt x="32" y="48"/>
                  </a:lnTo>
                  <a:lnTo>
                    <a:pt x="32" y="48"/>
                  </a:lnTo>
                  <a:lnTo>
                    <a:pt x="31" y="47"/>
                  </a:lnTo>
                  <a:lnTo>
                    <a:pt x="31" y="47"/>
                  </a:lnTo>
                  <a:lnTo>
                    <a:pt x="29" y="47"/>
                  </a:lnTo>
                  <a:lnTo>
                    <a:pt x="29" y="47"/>
                  </a:lnTo>
                  <a:lnTo>
                    <a:pt x="28" y="47"/>
                  </a:lnTo>
                  <a:lnTo>
                    <a:pt x="28" y="50"/>
                  </a:lnTo>
                  <a:lnTo>
                    <a:pt x="24" y="50"/>
                  </a:lnTo>
                  <a:lnTo>
                    <a:pt x="22" y="51"/>
                  </a:lnTo>
                  <a:lnTo>
                    <a:pt x="21" y="52"/>
                  </a:lnTo>
                  <a:lnTo>
                    <a:pt x="19" y="51"/>
                  </a:lnTo>
                  <a:lnTo>
                    <a:pt x="13" y="52"/>
                  </a:lnTo>
                  <a:lnTo>
                    <a:pt x="13" y="52"/>
                  </a:lnTo>
                  <a:lnTo>
                    <a:pt x="0" y="74"/>
                  </a:lnTo>
                  <a:lnTo>
                    <a:pt x="0" y="77"/>
                  </a:lnTo>
                  <a:lnTo>
                    <a:pt x="2" y="82"/>
                  </a:lnTo>
                  <a:lnTo>
                    <a:pt x="2" y="90"/>
                  </a:lnTo>
                  <a:lnTo>
                    <a:pt x="15" y="112"/>
                  </a:lnTo>
                  <a:lnTo>
                    <a:pt x="21" y="118"/>
                  </a:lnTo>
                  <a:lnTo>
                    <a:pt x="24" y="118"/>
                  </a:lnTo>
                  <a:lnTo>
                    <a:pt x="25" y="113"/>
                  </a:lnTo>
                  <a:lnTo>
                    <a:pt x="37" y="106"/>
                  </a:lnTo>
                  <a:lnTo>
                    <a:pt x="41" y="105"/>
                  </a:lnTo>
                  <a:lnTo>
                    <a:pt x="50" y="109"/>
                  </a:lnTo>
                  <a:lnTo>
                    <a:pt x="58" y="106"/>
                  </a:lnTo>
                  <a:lnTo>
                    <a:pt x="60" y="105"/>
                  </a:lnTo>
                  <a:lnTo>
                    <a:pt x="63" y="105"/>
                  </a:lnTo>
                  <a:lnTo>
                    <a:pt x="61" y="103"/>
                  </a:lnTo>
                  <a:lnTo>
                    <a:pt x="63" y="95"/>
                  </a:lnTo>
                  <a:lnTo>
                    <a:pt x="66" y="93"/>
                  </a:lnTo>
                  <a:lnTo>
                    <a:pt x="67" y="89"/>
                  </a:lnTo>
                  <a:lnTo>
                    <a:pt x="71" y="84"/>
                  </a:lnTo>
                  <a:lnTo>
                    <a:pt x="79" y="84"/>
                  </a:lnTo>
                  <a:lnTo>
                    <a:pt x="82" y="87"/>
                  </a:lnTo>
                  <a:lnTo>
                    <a:pt x="82" y="90"/>
                  </a:lnTo>
                  <a:lnTo>
                    <a:pt x="87" y="95"/>
                  </a:lnTo>
                  <a:lnTo>
                    <a:pt x="89" y="95"/>
                  </a:lnTo>
                  <a:lnTo>
                    <a:pt x="92" y="93"/>
                  </a:lnTo>
                  <a:lnTo>
                    <a:pt x="95" y="95"/>
                  </a:lnTo>
                  <a:lnTo>
                    <a:pt x="101" y="96"/>
                  </a:lnTo>
                  <a:lnTo>
                    <a:pt x="114" y="96"/>
                  </a:lnTo>
                  <a:lnTo>
                    <a:pt x="116" y="96"/>
                  </a:lnTo>
                  <a:lnTo>
                    <a:pt x="116" y="92"/>
                  </a:lnTo>
                  <a:lnTo>
                    <a:pt x="119" y="89"/>
                  </a:lnTo>
                  <a:lnTo>
                    <a:pt x="125" y="90"/>
                  </a:lnTo>
                  <a:lnTo>
                    <a:pt x="127" y="92"/>
                  </a:lnTo>
                  <a:lnTo>
                    <a:pt x="144" y="86"/>
                  </a:lnTo>
                  <a:lnTo>
                    <a:pt x="146" y="86"/>
                  </a:lnTo>
                  <a:lnTo>
                    <a:pt x="146" y="87"/>
                  </a:lnTo>
                  <a:lnTo>
                    <a:pt x="146" y="87"/>
                  </a:lnTo>
                  <a:lnTo>
                    <a:pt x="148" y="87"/>
                  </a:lnTo>
                  <a:lnTo>
                    <a:pt x="150" y="87"/>
                  </a:lnTo>
                  <a:lnTo>
                    <a:pt x="153" y="87"/>
                  </a:lnTo>
                  <a:lnTo>
                    <a:pt x="154" y="84"/>
                  </a:lnTo>
                  <a:lnTo>
                    <a:pt x="159" y="84"/>
                  </a:lnTo>
                  <a:lnTo>
                    <a:pt x="169" y="83"/>
                  </a:lnTo>
                  <a:lnTo>
                    <a:pt x="173" y="87"/>
                  </a:lnTo>
                  <a:lnTo>
                    <a:pt x="175" y="84"/>
                  </a:lnTo>
                  <a:lnTo>
                    <a:pt x="177" y="87"/>
                  </a:lnTo>
                  <a:lnTo>
                    <a:pt x="179" y="84"/>
                  </a:lnTo>
                  <a:lnTo>
                    <a:pt x="186" y="84"/>
                  </a:lnTo>
                  <a:lnTo>
                    <a:pt x="185" y="83"/>
                  </a:lnTo>
                  <a:lnTo>
                    <a:pt x="185" y="80"/>
                  </a:lnTo>
                  <a:lnTo>
                    <a:pt x="183" y="77"/>
                  </a:lnTo>
                  <a:lnTo>
                    <a:pt x="176" y="73"/>
                  </a:lnTo>
                  <a:lnTo>
                    <a:pt x="173" y="71"/>
                  </a:lnTo>
                  <a:lnTo>
                    <a:pt x="173" y="68"/>
                  </a:lnTo>
                  <a:lnTo>
                    <a:pt x="170" y="66"/>
                  </a:lnTo>
                  <a:lnTo>
                    <a:pt x="169" y="61"/>
                  </a:lnTo>
                  <a:lnTo>
                    <a:pt x="166" y="60"/>
                  </a:lnTo>
                  <a:lnTo>
                    <a:pt x="163" y="57"/>
                  </a:lnTo>
                  <a:lnTo>
                    <a:pt x="154" y="50"/>
                  </a:lnTo>
                  <a:lnTo>
                    <a:pt x="153" y="47"/>
                  </a:lnTo>
                  <a:lnTo>
                    <a:pt x="153" y="45"/>
                  </a:lnTo>
                  <a:lnTo>
                    <a:pt x="153" y="44"/>
                  </a:lnTo>
                  <a:lnTo>
                    <a:pt x="148" y="41"/>
                  </a:lnTo>
                  <a:lnTo>
                    <a:pt x="143" y="39"/>
                  </a:lnTo>
                  <a:lnTo>
                    <a:pt x="140" y="38"/>
                  </a:lnTo>
                  <a:lnTo>
                    <a:pt x="138" y="35"/>
                  </a:lnTo>
                  <a:lnTo>
                    <a:pt x="131" y="34"/>
                  </a:lnTo>
                  <a:lnTo>
                    <a:pt x="128" y="31"/>
                  </a:lnTo>
                  <a:lnTo>
                    <a:pt x="128" y="28"/>
                  </a:lnTo>
                  <a:lnTo>
                    <a:pt x="130" y="19"/>
                  </a:lnTo>
                  <a:lnTo>
                    <a:pt x="130" y="15"/>
                  </a:lnTo>
                  <a:lnTo>
                    <a:pt x="118"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37" name="Freeform 972"/>
            <p:cNvSpPr>
              <a:spLocks/>
            </p:cNvSpPr>
            <p:nvPr/>
          </p:nvSpPr>
          <p:spPr bwMode="auto">
            <a:xfrm>
              <a:off x="6307697" y="3110336"/>
              <a:ext cx="170293" cy="122710"/>
            </a:xfrm>
            <a:custGeom>
              <a:avLst/>
              <a:gdLst/>
              <a:ahLst/>
              <a:cxnLst>
                <a:cxn ang="0">
                  <a:pos x="106" y="3"/>
                </a:cxn>
                <a:cxn ang="0">
                  <a:pos x="103" y="7"/>
                </a:cxn>
                <a:cxn ang="0">
                  <a:pos x="102" y="12"/>
                </a:cxn>
                <a:cxn ang="0">
                  <a:pos x="99" y="15"/>
                </a:cxn>
                <a:cxn ang="0">
                  <a:pos x="95" y="19"/>
                </a:cxn>
                <a:cxn ang="0">
                  <a:pos x="92" y="23"/>
                </a:cxn>
                <a:cxn ang="0">
                  <a:pos x="86" y="26"/>
                </a:cxn>
                <a:cxn ang="0">
                  <a:pos x="82" y="28"/>
                </a:cxn>
                <a:cxn ang="0">
                  <a:pos x="76" y="29"/>
                </a:cxn>
                <a:cxn ang="0">
                  <a:pos x="64" y="31"/>
                </a:cxn>
                <a:cxn ang="0">
                  <a:pos x="64" y="32"/>
                </a:cxn>
                <a:cxn ang="0">
                  <a:pos x="66" y="36"/>
                </a:cxn>
                <a:cxn ang="0">
                  <a:pos x="64" y="38"/>
                </a:cxn>
                <a:cxn ang="0">
                  <a:pos x="63" y="41"/>
                </a:cxn>
                <a:cxn ang="0">
                  <a:pos x="60" y="42"/>
                </a:cxn>
                <a:cxn ang="0">
                  <a:pos x="60" y="44"/>
                </a:cxn>
                <a:cxn ang="0">
                  <a:pos x="51" y="45"/>
                </a:cxn>
                <a:cxn ang="0">
                  <a:pos x="41" y="47"/>
                </a:cxn>
                <a:cxn ang="0">
                  <a:pos x="37" y="50"/>
                </a:cxn>
                <a:cxn ang="0">
                  <a:pos x="35" y="51"/>
                </a:cxn>
                <a:cxn ang="0">
                  <a:pos x="32" y="48"/>
                </a:cxn>
                <a:cxn ang="0">
                  <a:pos x="31" y="47"/>
                </a:cxn>
                <a:cxn ang="0">
                  <a:pos x="29" y="47"/>
                </a:cxn>
                <a:cxn ang="0">
                  <a:pos x="28" y="50"/>
                </a:cxn>
                <a:cxn ang="0">
                  <a:pos x="22" y="51"/>
                </a:cxn>
                <a:cxn ang="0">
                  <a:pos x="19" y="51"/>
                </a:cxn>
                <a:cxn ang="0">
                  <a:pos x="13" y="52"/>
                </a:cxn>
                <a:cxn ang="0">
                  <a:pos x="0" y="77"/>
                </a:cxn>
                <a:cxn ang="0">
                  <a:pos x="2" y="90"/>
                </a:cxn>
                <a:cxn ang="0">
                  <a:pos x="21" y="118"/>
                </a:cxn>
                <a:cxn ang="0">
                  <a:pos x="25" y="113"/>
                </a:cxn>
                <a:cxn ang="0">
                  <a:pos x="41" y="105"/>
                </a:cxn>
                <a:cxn ang="0">
                  <a:pos x="58" y="106"/>
                </a:cxn>
                <a:cxn ang="0">
                  <a:pos x="63" y="105"/>
                </a:cxn>
                <a:cxn ang="0">
                  <a:pos x="63" y="95"/>
                </a:cxn>
                <a:cxn ang="0">
                  <a:pos x="67" y="89"/>
                </a:cxn>
                <a:cxn ang="0">
                  <a:pos x="79" y="84"/>
                </a:cxn>
                <a:cxn ang="0">
                  <a:pos x="82" y="90"/>
                </a:cxn>
                <a:cxn ang="0">
                  <a:pos x="89" y="95"/>
                </a:cxn>
                <a:cxn ang="0">
                  <a:pos x="95" y="95"/>
                </a:cxn>
                <a:cxn ang="0">
                  <a:pos x="114" y="96"/>
                </a:cxn>
                <a:cxn ang="0">
                  <a:pos x="116" y="92"/>
                </a:cxn>
                <a:cxn ang="0">
                  <a:pos x="125" y="90"/>
                </a:cxn>
                <a:cxn ang="0">
                  <a:pos x="144" y="86"/>
                </a:cxn>
                <a:cxn ang="0">
                  <a:pos x="146" y="87"/>
                </a:cxn>
                <a:cxn ang="0">
                  <a:pos x="148" y="87"/>
                </a:cxn>
                <a:cxn ang="0">
                  <a:pos x="153" y="87"/>
                </a:cxn>
                <a:cxn ang="0">
                  <a:pos x="159" y="84"/>
                </a:cxn>
                <a:cxn ang="0">
                  <a:pos x="173" y="87"/>
                </a:cxn>
                <a:cxn ang="0">
                  <a:pos x="177" y="87"/>
                </a:cxn>
                <a:cxn ang="0">
                  <a:pos x="186" y="84"/>
                </a:cxn>
                <a:cxn ang="0">
                  <a:pos x="185" y="80"/>
                </a:cxn>
                <a:cxn ang="0">
                  <a:pos x="176" y="73"/>
                </a:cxn>
                <a:cxn ang="0">
                  <a:pos x="173" y="68"/>
                </a:cxn>
                <a:cxn ang="0">
                  <a:pos x="169" y="61"/>
                </a:cxn>
                <a:cxn ang="0">
                  <a:pos x="163" y="57"/>
                </a:cxn>
                <a:cxn ang="0">
                  <a:pos x="153" y="47"/>
                </a:cxn>
                <a:cxn ang="0">
                  <a:pos x="153" y="44"/>
                </a:cxn>
                <a:cxn ang="0">
                  <a:pos x="143" y="39"/>
                </a:cxn>
                <a:cxn ang="0">
                  <a:pos x="138" y="35"/>
                </a:cxn>
                <a:cxn ang="0">
                  <a:pos x="128" y="31"/>
                </a:cxn>
                <a:cxn ang="0">
                  <a:pos x="130" y="19"/>
                </a:cxn>
                <a:cxn ang="0">
                  <a:pos x="118" y="0"/>
                </a:cxn>
              </a:cxnLst>
              <a:rect l="0" t="0" r="r" b="b"/>
              <a:pathLst>
                <a:path w="186" h="118">
                  <a:moveTo>
                    <a:pt x="118" y="0"/>
                  </a:moveTo>
                  <a:lnTo>
                    <a:pt x="106" y="3"/>
                  </a:lnTo>
                  <a:lnTo>
                    <a:pt x="105" y="4"/>
                  </a:lnTo>
                  <a:lnTo>
                    <a:pt x="103" y="7"/>
                  </a:lnTo>
                  <a:lnTo>
                    <a:pt x="103" y="12"/>
                  </a:lnTo>
                  <a:lnTo>
                    <a:pt x="102" y="12"/>
                  </a:lnTo>
                  <a:lnTo>
                    <a:pt x="101" y="15"/>
                  </a:lnTo>
                  <a:lnTo>
                    <a:pt x="99" y="15"/>
                  </a:lnTo>
                  <a:lnTo>
                    <a:pt x="99" y="16"/>
                  </a:lnTo>
                  <a:lnTo>
                    <a:pt x="95" y="19"/>
                  </a:lnTo>
                  <a:lnTo>
                    <a:pt x="93" y="22"/>
                  </a:lnTo>
                  <a:lnTo>
                    <a:pt x="92" y="23"/>
                  </a:lnTo>
                  <a:lnTo>
                    <a:pt x="87" y="25"/>
                  </a:lnTo>
                  <a:lnTo>
                    <a:pt x="86" y="26"/>
                  </a:lnTo>
                  <a:lnTo>
                    <a:pt x="83" y="28"/>
                  </a:lnTo>
                  <a:lnTo>
                    <a:pt x="82" y="28"/>
                  </a:lnTo>
                  <a:lnTo>
                    <a:pt x="76" y="29"/>
                  </a:lnTo>
                  <a:lnTo>
                    <a:pt x="76" y="29"/>
                  </a:lnTo>
                  <a:lnTo>
                    <a:pt x="67" y="29"/>
                  </a:lnTo>
                  <a:lnTo>
                    <a:pt x="64" y="31"/>
                  </a:lnTo>
                  <a:lnTo>
                    <a:pt x="64" y="32"/>
                  </a:lnTo>
                  <a:lnTo>
                    <a:pt x="64" y="32"/>
                  </a:lnTo>
                  <a:lnTo>
                    <a:pt x="66" y="34"/>
                  </a:lnTo>
                  <a:lnTo>
                    <a:pt x="66" y="36"/>
                  </a:lnTo>
                  <a:lnTo>
                    <a:pt x="66" y="36"/>
                  </a:lnTo>
                  <a:lnTo>
                    <a:pt x="64" y="38"/>
                  </a:lnTo>
                  <a:lnTo>
                    <a:pt x="63" y="39"/>
                  </a:lnTo>
                  <a:lnTo>
                    <a:pt x="63" y="41"/>
                  </a:lnTo>
                  <a:lnTo>
                    <a:pt x="61" y="41"/>
                  </a:lnTo>
                  <a:lnTo>
                    <a:pt x="60" y="42"/>
                  </a:lnTo>
                  <a:lnTo>
                    <a:pt x="60" y="44"/>
                  </a:lnTo>
                  <a:lnTo>
                    <a:pt x="60" y="44"/>
                  </a:lnTo>
                  <a:lnTo>
                    <a:pt x="54" y="44"/>
                  </a:lnTo>
                  <a:lnTo>
                    <a:pt x="51" y="45"/>
                  </a:lnTo>
                  <a:lnTo>
                    <a:pt x="48" y="44"/>
                  </a:lnTo>
                  <a:lnTo>
                    <a:pt x="41" y="47"/>
                  </a:lnTo>
                  <a:lnTo>
                    <a:pt x="40" y="48"/>
                  </a:lnTo>
                  <a:lnTo>
                    <a:pt x="37" y="50"/>
                  </a:lnTo>
                  <a:lnTo>
                    <a:pt x="35" y="50"/>
                  </a:lnTo>
                  <a:lnTo>
                    <a:pt x="35" y="51"/>
                  </a:lnTo>
                  <a:lnTo>
                    <a:pt x="32" y="48"/>
                  </a:lnTo>
                  <a:lnTo>
                    <a:pt x="32" y="48"/>
                  </a:lnTo>
                  <a:lnTo>
                    <a:pt x="31" y="47"/>
                  </a:lnTo>
                  <a:lnTo>
                    <a:pt x="31" y="47"/>
                  </a:lnTo>
                  <a:lnTo>
                    <a:pt x="29" y="47"/>
                  </a:lnTo>
                  <a:lnTo>
                    <a:pt x="29" y="47"/>
                  </a:lnTo>
                  <a:lnTo>
                    <a:pt x="28" y="47"/>
                  </a:lnTo>
                  <a:lnTo>
                    <a:pt x="28" y="50"/>
                  </a:lnTo>
                  <a:lnTo>
                    <a:pt x="24" y="50"/>
                  </a:lnTo>
                  <a:lnTo>
                    <a:pt x="22" y="51"/>
                  </a:lnTo>
                  <a:lnTo>
                    <a:pt x="21" y="52"/>
                  </a:lnTo>
                  <a:lnTo>
                    <a:pt x="19" y="51"/>
                  </a:lnTo>
                  <a:lnTo>
                    <a:pt x="13" y="52"/>
                  </a:lnTo>
                  <a:lnTo>
                    <a:pt x="13" y="52"/>
                  </a:lnTo>
                  <a:lnTo>
                    <a:pt x="0" y="74"/>
                  </a:lnTo>
                  <a:lnTo>
                    <a:pt x="0" y="77"/>
                  </a:lnTo>
                  <a:lnTo>
                    <a:pt x="2" y="82"/>
                  </a:lnTo>
                  <a:lnTo>
                    <a:pt x="2" y="90"/>
                  </a:lnTo>
                  <a:lnTo>
                    <a:pt x="15" y="112"/>
                  </a:lnTo>
                  <a:lnTo>
                    <a:pt x="21" y="118"/>
                  </a:lnTo>
                  <a:lnTo>
                    <a:pt x="24" y="118"/>
                  </a:lnTo>
                  <a:lnTo>
                    <a:pt x="25" y="113"/>
                  </a:lnTo>
                  <a:lnTo>
                    <a:pt x="37" y="106"/>
                  </a:lnTo>
                  <a:lnTo>
                    <a:pt x="41" y="105"/>
                  </a:lnTo>
                  <a:lnTo>
                    <a:pt x="50" y="109"/>
                  </a:lnTo>
                  <a:lnTo>
                    <a:pt x="58" y="106"/>
                  </a:lnTo>
                  <a:lnTo>
                    <a:pt x="60" y="105"/>
                  </a:lnTo>
                  <a:lnTo>
                    <a:pt x="63" y="105"/>
                  </a:lnTo>
                  <a:lnTo>
                    <a:pt x="61" y="103"/>
                  </a:lnTo>
                  <a:lnTo>
                    <a:pt x="63" y="95"/>
                  </a:lnTo>
                  <a:lnTo>
                    <a:pt x="66" y="93"/>
                  </a:lnTo>
                  <a:lnTo>
                    <a:pt x="67" y="89"/>
                  </a:lnTo>
                  <a:lnTo>
                    <a:pt x="71" y="84"/>
                  </a:lnTo>
                  <a:lnTo>
                    <a:pt x="79" y="84"/>
                  </a:lnTo>
                  <a:lnTo>
                    <a:pt x="82" y="87"/>
                  </a:lnTo>
                  <a:lnTo>
                    <a:pt x="82" y="90"/>
                  </a:lnTo>
                  <a:lnTo>
                    <a:pt x="87" y="95"/>
                  </a:lnTo>
                  <a:lnTo>
                    <a:pt x="89" y="95"/>
                  </a:lnTo>
                  <a:lnTo>
                    <a:pt x="92" y="93"/>
                  </a:lnTo>
                  <a:lnTo>
                    <a:pt x="95" y="95"/>
                  </a:lnTo>
                  <a:lnTo>
                    <a:pt x="101" y="96"/>
                  </a:lnTo>
                  <a:lnTo>
                    <a:pt x="114" y="96"/>
                  </a:lnTo>
                  <a:lnTo>
                    <a:pt x="116" y="96"/>
                  </a:lnTo>
                  <a:lnTo>
                    <a:pt x="116" y="92"/>
                  </a:lnTo>
                  <a:lnTo>
                    <a:pt x="119" y="89"/>
                  </a:lnTo>
                  <a:lnTo>
                    <a:pt x="125" y="90"/>
                  </a:lnTo>
                  <a:lnTo>
                    <a:pt x="127" y="92"/>
                  </a:lnTo>
                  <a:lnTo>
                    <a:pt x="144" y="86"/>
                  </a:lnTo>
                  <a:lnTo>
                    <a:pt x="146" y="86"/>
                  </a:lnTo>
                  <a:lnTo>
                    <a:pt x="146" y="87"/>
                  </a:lnTo>
                  <a:lnTo>
                    <a:pt x="146" y="87"/>
                  </a:lnTo>
                  <a:lnTo>
                    <a:pt x="148" y="87"/>
                  </a:lnTo>
                  <a:lnTo>
                    <a:pt x="150" y="87"/>
                  </a:lnTo>
                  <a:lnTo>
                    <a:pt x="153" y="87"/>
                  </a:lnTo>
                  <a:lnTo>
                    <a:pt x="154" y="84"/>
                  </a:lnTo>
                  <a:lnTo>
                    <a:pt x="159" y="84"/>
                  </a:lnTo>
                  <a:lnTo>
                    <a:pt x="169" y="83"/>
                  </a:lnTo>
                  <a:lnTo>
                    <a:pt x="173" y="87"/>
                  </a:lnTo>
                  <a:lnTo>
                    <a:pt x="175" y="84"/>
                  </a:lnTo>
                  <a:lnTo>
                    <a:pt x="177" y="87"/>
                  </a:lnTo>
                  <a:lnTo>
                    <a:pt x="179" y="84"/>
                  </a:lnTo>
                  <a:lnTo>
                    <a:pt x="186" y="84"/>
                  </a:lnTo>
                  <a:lnTo>
                    <a:pt x="185" y="83"/>
                  </a:lnTo>
                  <a:lnTo>
                    <a:pt x="185" y="80"/>
                  </a:lnTo>
                  <a:lnTo>
                    <a:pt x="183" y="77"/>
                  </a:lnTo>
                  <a:lnTo>
                    <a:pt x="176" y="73"/>
                  </a:lnTo>
                  <a:lnTo>
                    <a:pt x="173" y="71"/>
                  </a:lnTo>
                  <a:lnTo>
                    <a:pt x="173" y="68"/>
                  </a:lnTo>
                  <a:lnTo>
                    <a:pt x="170" y="66"/>
                  </a:lnTo>
                  <a:lnTo>
                    <a:pt x="169" y="61"/>
                  </a:lnTo>
                  <a:lnTo>
                    <a:pt x="166" y="60"/>
                  </a:lnTo>
                  <a:lnTo>
                    <a:pt x="163" y="57"/>
                  </a:lnTo>
                  <a:lnTo>
                    <a:pt x="154" y="50"/>
                  </a:lnTo>
                  <a:lnTo>
                    <a:pt x="153" y="47"/>
                  </a:lnTo>
                  <a:lnTo>
                    <a:pt x="153" y="45"/>
                  </a:lnTo>
                  <a:lnTo>
                    <a:pt x="153" y="44"/>
                  </a:lnTo>
                  <a:lnTo>
                    <a:pt x="148" y="41"/>
                  </a:lnTo>
                  <a:lnTo>
                    <a:pt x="143" y="39"/>
                  </a:lnTo>
                  <a:lnTo>
                    <a:pt x="140" y="38"/>
                  </a:lnTo>
                  <a:lnTo>
                    <a:pt x="138" y="35"/>
                  </a:lnTo>
                  <a:lnTo>
                    <a:pt x="131" y="34"/>
                  </a:lnTo>
                  <a:lnTo>
                    <a:pt x="128" y="31"/>
                  </a:lnTo>
                  <a:lnTo>
                    <a:pt x="128" y="28"/>
                  </a:lnTo>
                  <a:lnTo>
                    <a:pt x="130" y="19"/>
                  </a:lnTo>
                  <a:lnTo>
                    <a:pt x="130" y="15"/>
                  </a:lnTo>
                  <a:lnTo>
                    <a:pt x="118"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38" name="Freeform 973"/>
            <p:cNvSpPr>
              <a:spLocks/>
            </p:cNvSpPr>
            <p:nvPr/>
          </p:nvSpPr>
          <p:spPr bwMode="auto">
            <a:xfrm>
              <a:off x="6664083" y="3083968"/>
              <a:ext cx="20189" cy="29409"/>
            </a:xfrm>
            <a:custGeom>
              <a:avLst/>
              <a:gdLst/>
              <a:ahLst/>
              <a:cxnLst>
                <a:cxn ang="0">
                  <a:pos x="18" y="0"/>
                </a:cxn>
                <a:cxn ang="0">
                  <a:pos x="6" y="8"/>
                </a:cxn>
                <a:cxn ang="0">
                  <a:pos x="5" y="16"/>
                </a:cxn>
                <a:cxn ang="0">
                  <a:pos x="0" y="24"/>
                </a:cxn>
                <a:cxn ang="0">
                  <a:pos x="0" y="25"/>
                </a:cxn>
                <a:cxn ang="0">
                  <a:pos x="2" y="28"/>
                </a:cxn>
                <a:cxn ang="0">
                  <a:pos x="6" y="28"/>
                </a:cxn>
                <a:cxn ang="0">
                  <a:pos x="8" y="27"/>
                </a:cxn>
                <a:cxn ang="0">
                  <a:pos x="9" y="28"/>
                </a:cxn>
                <a:cxn ang="0">
                  <a:pos x="9" y="28"/>
                </a:cxn>
                <a:cxn ang="0">
                  <a:pos x="9" y="27"/>
                </a:cxn>
                <a:cxn ang="0">
                  <a:pos x="12" y="25"/>
                </a:cxn>
                <a:cxn ang="0">
                  <a:pos x="14" y="25"/>
                </a:cxn>
                <a:cxn ang="0">
                  <a:pos x="16" y="28"/>
                </a:cxn>
                <a:cxn ang="0">
                  <a:pos x="16" y="28"/>
                </a:cxn>
                <a:cxn ang="0">
                  <a:pos x="16" y="27"/>
                </a:cxn>
                <a:cxn ang="0">
                  <a:pos x="19" y="24"/>
                </a:cxn>
                <a:cxn ang="0">
                  <a:pos x="21" y="21"/>
                </a:cxn>
                <a:cxn ang="0">
                  <a:pos x="21" y="19"/>
                </a:cxn>
                <a:cxn ang="0">
                  <a:pos x="21" y="19"/>
                </a:cxn>
                <a:cxn ang="0">
                  <a:pos x="19" y="19"/>
                </a:cxn>
                <a:cxn ang="0">
                  <a:pos x="19" y="18"/>
                </a:cxn>
                <a:cxn ang="0">
                  <a:pos x="18" y="19"/>
                </a:cxn>
                <a:cxn ang="0">
                  <a:pos x="15" y="18"/>
                </a:cxn>
                <a:cxn ang="0">
                  <a:pos x="14" y="19"/>
                </a:cxn>
                <a:cxn ang="0">
                  <a:pos x="12" y="19"/>
                </a:cxn>
                <a:cxn ang="0">
                  <a:pos x="12" y="21"/>
                </a:cxn>
                <a:cxn ang="0">
                  <a:pos x="11" y="19"/>
                </a:cxn>
                <a:cxn ang="0">
                  <a:pos x="11" y="19"/>
                </a:cxn>
                <a:cxn ang="0">
                  <a:pos x="11" y="18"/>
                </a:cxn>
                <a:cxn ang="0">
                  <a:pos x="12" y="19"/>
                </a:cxn>
                <a:cxn ang="0">
                  <a:pos x="12" y="19"/>
                </a:cxn>
                <a:cxn ang="0">
                  <a:pos x="14" y="18"/>
                </a:cxn>
                <a:cxn ang="0">
                  <a:pos x="15" y="16"/>
                </a:cxn>
                <a:cxn ang="0">
                  <a:pos x="15" y="15"/>
                </a:cxn>
                <a:cxn ang="0">
                  <a:pos x="16" y="15"/>
                </a:cxn>
                <a:cxn ang="0">
                  <a:pos x="18" y="14"/>
                </a:cxn>
                <a:cxn ang="0">
                  <a:pos x="21" y="14"/>
                </a:cxn>
                <a:cxn ang="0">
                  <a:pos x="22" y="12"/>
                </a:cxn>
                <a:cxn ang="0">
                  <a:pos x="22" y="11"/>
                </a:cxn>
                <a:cxn ang="0">
                  <a:pos x="22" y="6"/>
                </a:cxn>
                <a:cxn ang="0">
                  <a:pos x="21" y="5"/>
                </a:cxn>
                <a:cxn ang="0">
                  <a:pos x="19" y="3"/>
                </a:cxn>
                <a:cxn ang="0">
                  <a:pos x="18" y="2"/>
                </a:cxn>
                <a:cxn ang="0">
                  <a:pos x="18" y="0"/>
                </a:cxn>
              </a:cxnLst>
              <a:rect l="0" t="0" r="r" b="b"/>
              <a:pathLst>
                <a:path w="22" h="28">
                  <a:moveTo>
                    <a:pt x="18" y="0"/>
                  </a:moveTo>
                  <a:lnTo>
                    <a:pt x="6" y="8"/>
                  </a:lnTo>
                  <a:lnTo>
                    <a:pt x="5" y="16"/>
                  </a:lnTo>
                  <a:lnTo>
                    <a:pt x="0" y="24"/>
                  </a:lnTo>
                  <a:lnTo>
                    <a:pt x="0" y="25"/>
                  </a:lnTo>
                  <a:lnTo>
                    <a:pt x="2" y="28"/>
                  </a:lnTo>
                  <a:lnTo>
                    <a:pt x="6" y="28"/>
                  </a:lnTo>
                  <a:lnTo>
                    <a:pt x="8" y="27"/>
                  </a:lnTo>
                  <a:lnTo>
                    <a:pt x="9" y="28"/>
                  </a:lnTo>
                  <a:lnTo>
                    <a:pt x="9" y="28"/>
                  </a:lnTo>
                  <a:lnTo>
                    <a:pt x="9" y="27"/>
                  </a:lnTo>
                  <a:lnTo>
                    <a:pt x="12" y="25"/>
                  </a:lnTo>
                  <a:lnTo>
                    <a:pt x="14" y="25"/>
                  </a:lnTo>
                  <a:lnTo>
                    <a:pt x="16" y="28"/>
                  </a:lnTo>
                  <a:lnTo>
                    <a:pt x="16" y="28"/>
                  </a:lnTo>
                  <a:lnTo>
                    <a:pt x="16" y="27"/>
                  </a:lnTo>
                  <a:lnTo>
                    <a:pt x="19" y="24"/>
                  </a:lnTo>
                  <a:lnTo>
                    <a:pt x="21" y="21"/>
                  </a:lnTo>
                  <a:lnTo>
                    <a:pt x="21" y="19"/>
                  </a:lnTo>
                  <a:lnTo>
                    <a:pt x="21" y="19"/>
                  </a:lnTo>
                  <a:lnTo>
                    <a:pt x="19" y="19"/>
                  </a:lnTo>
                  <a:lnTo>
                    <a:pt x="19" y="18"/>
                  </a:lnTo>
                  <a:lnTo>
                    <a:pt x="18" y="19"/>
                  </a:lnTo>
                  <a:lnTo>
                    <a:pt x="15" y="18"/>
                  </a:lnTo>
                  <a:lnTo>
                    <a:pt x="14" y="19"/>
                  </a:lnTo>
                  <a:lnTo>
                    <a:pt x="12" y="19"/>
                  </a:lnTo>
                  <a:lnTo>
                    <a:pt x="12" y="21"/>
                  </a:lnTo>
                  <a:lnTo>
                    <a:pt x="11" y="19"/>
                  </a:lnTo>
                  <a:lnTo>
                    <a:pt x="11" y="19"/>
                  </a:lnTo>
                  <a:lnTo>
                    <a:pt x="11" y="18"/>
                  </a:lnTo>
                  <a:lnTo>
                    <a:pt x="12" y="19"/>
                  </a:lnTo>
                  <a:lnTo>
                    <a:pt x="12" y="19"/>
                  </a:lnTo>
                  <a:lnTo>
                    <a:pt x="14" y="18"/>
                  </a:lnTo>
                  <a:lnTo>
                    <a:pt x="15" y="16"/>
                  </a:lnTo>
                  <a:lnTo>
                    <a:pt x="15" y="15"/>
                  </a:lnTo>
                  <a:lnTo>
                    <a:pt x="16" y="15"/>
                  </a:lnTo>
                  <a:lnTo>
                    <a:pt x="18" y="14"/>
                  </a:lnTo>
                  <a:lnTo>
                    <a:pt x="21" y="14"/>
                  </a:lnTo>
                  <a:lnTo>
                    <a:pt x="22" y="12"/>
                  </a:lnTo>
                  <a:lnTo>
                    <a:pt x="22" y="11"/>
                  </a:lnTo>
                  <a:lnTo>
                    <a:pt x="22" y="6"/>
                  </a:lnTo>
                  <a:lnTo>
                    <a:pt x="21" y="5"/>
                  </a:lnTo>
                  <a:lnTo>
                    <a:pt x="19" y="3"/>
                  </a:lnTo>
                  <a:lnTo>
                    <a:pt x="18" y="2"/>
                  </a:lnTo>
                  <a:lnTo>
                    <a:pt x="18"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39" name="Freeform 974"/>
            <p:cNvSpPr>
              <a:spLocks/>
            </p:cNvSpPr>
            <p:nvPr/>
          </p:nvSpPr>
          <p:spPr bwMode="auto">
            <a:xfrm>
              <a:off x="6664083" y="3083968"/>
              <a:ext cx="20189" cy="29409"/>
            </a:xfrm>
            <a:custGeom>
              <a:avLst/>
              <a:gdLst/>
              <a:ahLst/>
              <a:cxnLst>
                <a:cxn ang="0">
                  <a:pos x="18" y="0"/>
                </a:cxn>
                <a:cxn ang="0">
                  <a:pos x="6" y="8"/>
                </a:cxn>
                <a:cxn ang="0">
                  <a:pos x="5" y="16"/>
                </a:cxn>
                <a:cxn ang="0">
                  <a:pos x="0" y="24"/>
                </a:cxn>
                <a:cxn ang="0">
                  <a:pos x="0" y="25"/>
                </a:cxn>
                <a:cxn ang="0">
                  <a:pos x="2" y="28"/>
                </a:cxn>
                <a:cxn ang="0">
                  <a:pos x="6" y="28"/>
                </a:cxn>
                <a:cxn ang="0">
                  <a:pos x="8" y="27"/>
                </a:cxn>
                <a:cxn ang="0">
                  <a:pos x="9" y="28"/>
                </a:cxn>
                <a:cxn ang="0">
                  <a:pos x="9" y="28"/>
                </a:cxn>
                <a:cxn ang="0">
                  <a:pos x="9" y="27"/>
                </a:cxn>
                <a:cxn ang="0">
                  <a:pos x="12" y="25"/>
                </a:cxn>
                <a:cxn ang="0">
                  <a:pos x="14" y="25"/>
                </a:cxn>
                <a:cxn ang="0">
                  <a:pos x="16" y="28"/>
                </a:cxn>
                <a:cxn ang="0">
                  <a:pos x="16" y="28"/>
                </a:cxn>
                <a:cxn ang="0">
                  <a:pos x="16" y="27"/>
                </a:cxn>
                <a:cxn ang="0">
                  <a:pos x="19" y="24"/>
                </a:cxn>
                <a:cxn ang="0">
                  <a:pos x="21" y="21"/>
                </a:cxn>
                <a:cxn ang="0">
                  <a:pos x="21" y="19"/>
                </a:cxn>
                <a:cxn ang="0">
                  <a:pos x="21" y="19"/>
                </a:cxn>
                <a:cxn ang="0">
                  <a:pos x="19" y="19"/>
                </a:cxn>
                <a:cxn ang="0">
                  <a:pos x="19" y="18"/>
                </a:cxn>
                <a:cxn ang="0">
                  <a:pos x="18" y="19"/>
                </a:cxn>
                <a:cxn ang="0">
                  <a:pos x="15" y="18"/>
                </a:cxn>
                <a:cxn ang="0">
                  <a:pos x="14" y="19"/>
                </a:cxn>
                <a:cxn ang="0">
                  <a:pos x="12" y="19"/>
                </a:cxn>
                <a:cxn ang="0">
                  <a:pos x="12" y="21"/>
                </a:cxn>
                <a:cxn ang="0">
                  <a:pos x="11" y="19"/>
                </a:cxn>
                <a:cxn ang="0">
                  <a:pos x="11" y="19"/>
                </a:cxn>
                <a:cxn ang="0">
                  <a:pos x="11" y="18"/>
                </a:cxn>
                <a:cxn ang="0">
                  <a:pos x="12" y="19"/>
                </a:cxn>
                <a:cxn ang="0">
                  <a:pos x="12" y="19"/>
                </a:cxn>
                <a:cxn ang="0">
                  <a:pos x="14" y="18"/>
                </a:cxn>
                <a:cxn ang="0">
                  <a:pos x="15" y="16"/>
                </a:cxn>
                <a:cxn ang="0">
                  <a:pos x="15" y="15"/>
                </a:cxn>
                <a:cxn ang="0">
                  <a:pos x="16" y="15"/>
                </a:cxn>
                <a:cxn ang="0">
                  <a:pos x="18" y="14"/>
                </a:cxn>
                <a:cxn ang="0">
                  <a:pos x="21" y="14"/>
                </a:cxn>
                <a:cxn ang="0">
                  <a:pos x="22" y="12"/>
                </a:cxn>
                <a:cxn ang="0">
                  <a:pos x="22" y="11"/>
                </a:cxn>
                <a:cxn ang="0">
                  <a:pos x="22" y="6"/>
                </a:cxn>
                <a:cxn ang="0">
                  <a:pos x="21" y="5"/>
                </a:cxn>
                <a:cxn ang="0">
                  <a:pos x="19" y="3"/>
                </a:cxn>
                <a:cxn ang="0">
                  <a:pos x="18" y="2"/>
                </a:cxn>
                <a:cxn ang="0">
                  <a:pos x="18" y="0"/>
                </a:cxn>
              </a:cxnLst>
              <a:rect l="0" t="0" r="r" b="b"/>
              <a:pathLst>
                <a:path w="22" h="28">
                  <a:moveTo>
                    <a:pt x="18" y="0"/>
                  </a:moveTo>
                  <a:lnTo>
                    <a:pt x="6" y="8"/>
                  </a:lnTo>
                  <a:lnTo>
                    <a:pt x="5" y="16"/>
                  </a:lnTo>
                  <a:lnTo>
                    <a:pt x="0" y="24"/>
                  </a:lnTo>
                  <a:lnTo>
                    <a:pt x="0" y="25"/>
                  </a:lnTo>
                  <a:lnTo>
                    <a:pt x="2" y="28"/>
                  </a:lnTo>
                  <a:lnTo>
                    <a:pt x="6" y="28"/>
                  </a:lnTo>
                  <a:lnTo>
                    <a:pt x="8" y="27"/>
                  </a:lnTo>
                  <a:lnTo>
                    <a:pt x="9" y="28"/>
                  </a:lnTo>
                  <a:lnTo>
                    <a:pt x="9" y="28"/>
                  </a:lnTo>
                  <a:lnTo>
                    <a:pt x="9" y="27"/>
                  </a:lnTo>
                  <a:lnTo>
                    <a:pt x="12" y="25"/>
                  </a:lnTo>
                  <a:lnTo>
                    <a:pt x="14" y="25"/>
                  </a:lnTo>
                  <a:lnTo>
                    <a:pt x="16" y="28"/>
                  </a:lnTo>
                  <a:lnTo>
                    <a:pt x="16" y="28"/>
                  </a:lnTo>
                  <a:lnTo>
                    <a:pt x="16" y="27"/>
                  </a:lnTo>
                  <a:lnTo>
                    <a:pt x="19" y="24"/>
                  </a:lnTo>
                  <a:lnTo>
                    <a:pt x="21" y="21"/>
                  </a:lnTo>
                  <a:lnTo>
                    <a:pt x="21" y="19"/>
                  </a:lnTo>
                  <a:lnTo>
                    <a:pt x="21" y="19"/>
                  </a:lnTo>
                  <a:lnTo>
                    <a:pt x="19" y="19"/>
                  </a:lnTo>
                  <a:lnTo>
                    <a:pt x="19" y="18"/>
                  </a:lnTo>
                  <a:lnTo>
                    <a:pt x="18" y="19"/>
                  </a:lnTo>
                  <a:lnTo>
                    <a:pt x="15" y="18"/>
                  </a:lnTo>
                  <a:lnTo>
                    <a:pt x="14" y="19"/>
                  </a:lnTo>
                  <a:lnTo>
                    <a:pt x="12" y="19"/>
                  </a:lnTo>
                  <a:lnTo>
                    <a:pt x="12" y="21"/>
                  </a:lnTo>
                  <a:lnTo>
                    <a:pt x="11" y="19"/>
                  </a:lnTo>
                  <a:lnTo>
                    <a:pt x="11" y="19"/>
                  </a:lnTo>
                  <a:lnTo>
                    <a:pt x="11" y="18"/>
                  </a:lnTo>
                  <a:lnTo>
                    <a:pt x="12" y="19"/>
                  </a:lnTo>
                  <a:lnTo>
                    <a:pt x="12" y="19"/>
                  </a:lnTo>
                  <a:lnTo>
                    <a:pt x="14" y="18"/>
                  </a:lnTo>
                  <a:lnTo>
                    <a:pt x="15" y="16"/>
                  </a:lnTo>
                  <a:lnTo>
                    <a:pt x="15" y="15"/>
                  </a:lnTo>
                  <a:lnTo>
                    <a:pt x="16" y="15"/>
                  </a:lnTo>
                  <a:lnTo>
                    <a:pt x="18" y="14"/>
                  </a:lnTo>
                  <a:lnTo>
                    <a:pt x="21" y="14"/>
                  </a:lnTo>
                  <a:lnTo>
                    <a:pt x="22" y="12"/>
                  </a:lnTo>
                  <a:lnTo>
                    <a:pt x="22" y="11"/>
                  </a:lnTo>
                  <a:lnTo>
                    <a:pt x="22" y="6"/>
                  </a:lnTo>
                  <a:lnTo>
                    <a:pt x="21" y="5"/>
                  </a:lnTo>
                  <a:lnTo>
                    <a:pt x="19" y="3"/>
                  </a:lnTo>
                  <a:lnTo>
                    <a:pt x="18" y="2"/>
                  </a:lnTo>
                  <a:lnTo>
                    <a:pt x="18"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40" name="Freeform 975"/>
            <p:cNvSpPr>
              <a:spLocks/>
            </p:cNvSpPr>
            <p:nvPr/>
          </p:nvSpPr>
          <p:spPr bwMode="auto">
            <a:xfrm>
              <a:off x="6498179" y="3289837"/>
              <a:ext cx="23700" cy="24339"/>
            </a:xfrm>
            <a:custGeom>
              <a:avLst/>
              <a:gdLst/>
              <a:ahLst/>
              <a:cxnLst>
                <a:cxn ang="0">
                  <a:pos x="1" y="24"/>
                </a:cxn>
                <a:cxn ang="0">
                  <a:pos x="1" y="24"/>
                </a:cxn>
                <a:cxn ang="0">
                  <a:pos x="1" y="21"/>
                </a:cxn>
                <a:cxn ang="0">
                  <a:pos x="3" y="20"/>
                </a:cxn>
                <a:cxn ang="0">
                  <a:pos x="4" y="20"/>
                </a:cxn>
                <a:cxn ang="0">
                  <a:pos x="4" y="21"/>
                </a:cxn>
                <a:cxn ang="0">
                  <a:pos x="6" y="24"/>
                </a:cxn>
                <a:cxn ang="0">
                  <a:pos x="7" y="24"/>
                </a:cxn>
                <a:cxn ang="0">
                  <a:pos x="9" y="24"/>
                </a:cxn>
                <a:cxn ang="0">
                  <a:pos x="10" y="24"/>
                </a:cxn>
                <a:cxn ang="0">
                  <a:pos x="12" y="24"/>
                </a:cxn>
                <a:cxn ang="0">
                  <a:pos x="13" y="23"/>
                </a:cxn>
                <a:cxn ang="0">
                  <a:pos x="13" y="20"/>
                </a:cxn>
                <a:cxn ang="0">
                  <a:pos x="13" y="20"/>
                </a:cxn>
                <a:cxn ang="0">
                  <a:pos x="14" y="18"/>
                </a:cxn>
                <a:cxn ang="0">
                  <a:pos x="16" y="20"/>
                </a:cxn>
                <a:cxn ang="0">
                  <a:pos x="20" y="18"/>
                </a:cxn>
                <a:cxn ang="0">
                  <a:pos x="22" y="18"/>
                </a:cxn>
                <a:cxn ang="0">
                  <a:pos x="22" y="18"/>
                </a:cxn>
                <a:cxn ang="0">
                  <a:pos x="22" y="18"/>
                </a:cxn>
                <a:cxn ang="0">
                  <a:pos x="23" y="20"/>
                </a:cxn>
                <a:cxn ang="0">
                  <a:pos x="26" y="16"/>
                </a:cxn>
                <a:cxn ang="0">
                  <a:pos x="26" y="13"/>
                </a:cxn>
                <a:cxn ang="0">
                  <a:pos x="20" y="0"/>
                </a:cxn>
                <a:cxn ang="0">
                  <a:pos x="19" y="1"/>
                </a:cxn>
                <a:cxn ang="0">
                  <a:pos x="17" y="1"/>
                </a:cxn>
                <a:cxn ang="0">
                  <a:pos x="16" y="3"/>
                </a:cxn>
                <a:cxn ang="0">
                  <a:pos x="14" y="5"/>
                </a:cxn>
                <a:cxn ang="0">
                  <a:pos x="13" y="5"/>
                </a:cxn>
                <a:cxn ang="0">
                  <a:pos x="10" y="5"/>
                </a:cxn>
                <a:cxn ang="0">
                  <a:pos x="10" y="4"/>
                </a:cxn>
                <a:cxn ang="0">
                  <a:pos x="9" y="4"/>
                </a:cxn>
                <a:cxn ang="0">
                  <a:pos x="0" y="20"/>
                </a:cxn>
                <a:cxn ang="0">
                  <a:pos x="0" y="21"/>
                </a:cxn>
                <a:cxn ang="0">
                  <a:pos x="1" y="24"/>
                </a:cxn>
              </a:cxnLst>
              <a:rect l="0" t="0" r="r" b="b"/>
              <a:pathLst>
                <a:path w="26" h="24">
                  <a:moveTo>
                    <a:pt x="1" y="24"/>
                  </a:moveTo>
                  <a:lnTo>
                    <a:pt x="1" y="24"/>
                  </a:lnTo>
                  <a:lnTo>
                    <a:pt x="1" y="21"/>
                  </a:lnTo>
                  <a:lnTo>
                    <a:pt x="3" y="20"/>
                  </a:lnTo>
                  <a:lnTo>
                    <a:pt x="4" y="20"/>
                  </a:lnTo>
                  <a:lnTo>
                    <a:pt x="4" y="21"/>
                  </a:lnTo>
                  <a:lnTo>
                    <a:pt x="6" y="24"/>
                  </a:lnTo>
                  <a:lnTo>
                    <a:pt x="7" y="24"/>
                  </a:lnTo>
                  <a:lnTo>
                    <a:pt x="9" y="24"/>
                  </a:lnTo>
                  <a:lnTo>
                    <a:pt x="10" y="24"/>
                  </a:lnTo>
                  <a:lnTo>
                    <a:pt x="12" y="24"/>
                  </a:lnTo>
                  <a:lnTo>
                    <a:pt x="13" y="23"/>
                  </a:lnTo>
                  <a:lnTo>
                    <a:pt x="13" y="20"/>
                  </a:lnTo>
                  <a:lnTo>
                    <a:pt x="13" y="20"/>
                  </a:lnTo>
                  <a:lnTo>
                    <a:pt x="14" y="18"/>
                  </a:lnTo>
                  <a:lnTo>
                    <a:pt x="16" y="20"/>
                  </a:lnTo>
                  <a:lnTo>
                    <a:pt x="20" y="18"/>
                  </a:lnTo>
                  <a:lnTo>
                    <a:pt x="22" y="18"/>
                  </a:lnTo>
                  <a:lnTo>
                    <a:pt x="22" y="18"/>
                  </a:lnTo>
                  <a:lnTo>
                    <a:pt x="22" y="18"/>
                  </a:lnTo>
                  <a:lnTo>
                    <a:pt x="23" y="20"/>
                  </a:lnTo>
                  <a:lnTo>
                    <a:pt x="26" y="16"/>
                  </a:lnTo>
                  <a:lnTo>
                    <a:pt x="26" y="13"/>
                  </a:lnTo>
                  <a:lnTo>
                    <a:pt x="20" y="0"/>
                  </a:lnTo>
                  <a:lnTo>
                    <a:pt x="19" y="1"/>
                  </a:lnTo>
                  <a:lnTo>
                    <a:pt x="17" y="1"/>
                  </a:lnTo>
                  <a:lnTo>
                    <a:pt x="16" y="3"/>
                  </a:lnTo>
                  <a:lnTo>
                    <a:pt x="14" y="5"/>
                  </a:lnTo>
                  <a:lnTo>
                    <a:pt x="13" y="5"/>
                  </a:lnTo>
                  <a:lnTo>
                    <a:pt x="10" y="5"/>
                  </a:lnTo>
                  <a:lnTo>
                    <a:pt x="10" y="4"/>
                  </a:lnTo>
                  <a:lnTo>
                    <a:pt x="9" y="4"/>
                  </a:lnTo>
                  <a:lnTo>
                    <a:pt x="0" y="20"/>
                  </a:lnTo>
                  <a:lnTo>
                    <a:pt x="0" y="21"/>
                  </a:lnTo>
                  <a:lnTo>
                    <a:pt x="1" y="2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41" name="Freeform 976"/>
            <p:cNvSpPr>
              <a:spLocks/>
            </p:cNvSpPr>
            <p:nvPr/>
          </p:nvSpPr>
          <p:spPr bwMode="auto">
            <a:xfrm>
              <a:off x="6498179" y="3289837"/>
              <a:ext cx="23700" cy="24339"/>
            </a:xfrm>
            <a:custGeom>
              <a:avLst/>
              <a:gdLst/>
              <a:ahLst/>
              <a:cxnLst>
                <a:cxn ang="0">
                  <a:pos x="1" y="24"/>
                </a:cxn>
                <a:cxn ang="0">
                  <a:pos x="1" y="24"/>
                </a:cxn>
                <a:cxn ang="0">
                  <a:pos x="1" y="21"/>
                </a:cxn>
                <a:cxn ang="0">
                  <a:pos x="3" y="20"/>
                </a:cxn>
                <a:cxn ang="0">
                  <a:pos x="4" y="20"/>
                </a:cxn>
                <a:cxn ang="0">
                  <a:pos x="4" y="21"/>
                </a:cxn>
                <a:cxn ang="0">
                  <a:pos x="6" y="24"/>
                </a:cxn>
                <a:cxn ang="0">
                  <a:pos x="7" y="24"/>
                </a:cxn>
                <a:cxn ang="0">
                  <a:pos x="9" y="24"/>
                </a:cxn>
                <a:cxn ang="0">
                  <a:pos x="10" y="24"/>
                </a:cxn>
                <a:cxn ang="0">
                  <a:pos x="12" y="24"/>
                </a:cxn>
                <a:cxn ang="0">
                  <a:pos x="13" y="23"/>
                </a:cxn>
                <a:cxn ang="0">
                  <a:pos x="13" y="20"/>
                </a:cxn>
                <a:cxn ang="0">
                  <a:pos x="13" y="20"/>
                </a:cxn>
                <a:cxn ang="0">
                  <a:pos x="14" y="18"/>
                </a:cxn>
                <a:cxn ang="0">
                  <a:pos x="16" y="20"/>
                </a:cxn>
                <a:cxn ang="0">
                  <a:pos x="20" y="18"/>
                </a:cxn>
                <a:cxn ang="0">
                  <a:pos x="22" y="18"/>
                </a:cxn>
                <a:cxn ang="0">
                  <a:pos x="22" y="18"/>
                </a:cxn>
                <a:cxn ang="0">
                  <a:pos x="22" y="18"/>
                </a:cxn>
                <a:cxn ang="0">
                  <a:pos x="23" y="20"/>
                </a:cxn>
                <a:cxn ang="0">
                  <a:pos x="26" y="16"/>
                </a:cxn>
                <a:cxn ang="0">
                  <a:pos x="26" y="13"/>
                </a:cxn>
                <a:cxn ang="0">
                  <a:pos x="20" y="0"/>
                </a:cxn>
                <a:cxn ang="0">
                  <a:pos x="19" y="1"/>
                </a:cxn>
                <a:cxn ang="0">
                  <a:pos x="17" y="1"/>
                </a:cxn>
                <a:cxn ang="0">
                  <a:pos x="16" y="3"/>
                </a:cxn>
                <a:cxn ang="0">
                  <a:pos x="14" y="5"/>
                </a:cxn>
                <a:cxn ang="0">
                  <a:pos x="13" y="5"/>
                </a:cxn>
                <a:cxn ang="0">
                  <a:pos x="10" y="5"/>
                </a:cxn>
                <a:cxn ang="0">
                  <a:pos x="10" y="4"/>
                </a:cxn>
                <a:cxn ang="0">
                  <a:pos x="9" y="4"/>
                </a:cxn>
                <a:cxn ang="0">
                  <a:pos x="0" y="20"/>
                </a:cxn>
                <a:cxn ang="0">
                  <a:pos x="0" y="21"/>
                </a:cxn>
                <a:cxn ang="0">
                  <a:pos x="1" y="24"/>
                </a:cxn>
              </a:cxnLst>
              <a:rect l="0" t="0" r="r" b="b"/>
              <a:pathLst>
                <a:path w="26" h="24">
                  <a:moveTo>
                    <a:pt x="1" y="24"/>
                  </a:moveTo>
                  <a:lnTo>
                    <a:pt x="1" y="24"/>
                  </a:lnTo>
                  <a:lnTo>
                    <a:pt x="1" y="21"/>
                  </a:lnTo>
                  <a:lnTo>
                    <a:pt x="3" y="20"/>
                  </a:lnTo>
                  <a:lnTo>
                    <a:pt x="4" y="20"/>
                  </a:lnTo>
                  <a:lnTo>
                    <a:pt x="4" y="21"/>
                  </a:lnTo>
                  <a:lnTo>
                    <a:pt x="6" y="24"/>
                  </a:lnTo>
                  <a:lnTo>
                    <a:pt x="7" y="24"/>
                  </a:lnTo>
                  <a:lnTo>
                    <a:pt x="9" y="24"/>
                  </a:lnTo>
                  <a:lnTo>
                    <a:pt x="10" y="24"/>
                  </a:lnTo>
                  <a:lnTo>
                    <a:pt x="12" y="24"/>
                  </a:lnTo>
                  <a:lnTo>
                    <a:pt x="13" y="23"/>
                  </a:lnTo>
                  <a:lnTo>
                    <a:pt x="13" y="20"/>
                  </a:lnTo>
                  <a:lnTo>
                    <a:pt x="13" y="20"/>
                  </a:lnTo>
                  <a:lnTo>
                    <a:pt x="14" y="18"/>
                  </a:lnTo>
                  <a:lnTo>
                    <a:pt x="16" y="20"/>
                  </a:lnTo>
                  <a:lnTo>
                    <a:pt x="20" y="18"/>
                  </a:lnTo>
                  <a:lnTo>
                    <a:pt x="22" y="18"/>
                  </a:lnTo>
                  <a:lnTo>
                    <a:pt x="22" y="18"/>
                  </a:lnTo>
                  <a:lnTo>
                    <a:pt x="22" y="18"/>
                  </a:lnTo>
                  <a:lnTo>
                    <a:pt x="23" y="20"/>
                  </a:lnTo>
                  <a:lnTo>
                    <a:pt x="26" y="16"/>
                  </a:lnTo>
                  <a:lnTo>
                    <a:pt x="26" y="13"/>
                  </a:lnTo>
                  <a:lnTo>
                    <a:pt x="20" y="0"/>
                  </a:lnTo>
                  <a:lnTo>
                    <a:pt x="19" y="1"/>
                  </a:lnTo>
                  <a:lnTo>
                    <a:pt x="17" y="1"/>
                  </a:lnTo>
                  <a:lnTo>
                    <a:pt x="16" y="3"/>
                  </a:lnTo>
                  <a:lnTo>
                    <a:pt x="14" y="5"/>
                  </a:lnTo>
                  <a:lnTo>
                    <a:pt x="13" y="5"/>
                  </a:lnTo>
                  <a:lnTo>
                    <a:pt x="10" y="5"/>
                  </a:lnTo>
                  <a:lnTo>
                    <a:pt x="10" y="4"/>
                  </a:lnTo>
                  <a:lnTo>
                    <a:pt x="9" y="4"/>
                  </a:lnTo>
                  <a:lnTo>
                    <a:pt x="0" y="20"/>
                  </a:lnTo>
                  <a:lnTo>
                    <a:pt x="0" y="21"/>
                  </a:lnTo>
                  <a:lnTo>
                    <a:pt x="1" y="2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42" name="Freeform 977"/>
            <p:cNvSpPr>
              <a:spLocks/>
            </p:cNvSpPr>
            <p:nvPr/>
          </p:nvSpPr>
          <p:spPr bwMode="auto">
            <a:xfrm>
              <a:off x="6684273" y="2603270"/>
              <a:ext cx="41256" cy="46651"/>
            </a:xfrm>
            <a:custGeom>
              <a:avLst/>
              <a:gdLst/>
              <a:ahLst/>
              <a:cxnLst>
                <a:cxn ang="0">
                  <a:pos x="21" y="31"/>
                </a:cxn>
                <a:cxn ang="0">
                  <a:pos x="18" y="26"/>
                </a:cxn>
                <a:cxn ang="0">
                  <a:pos x="15" y="26"/>
                </a:cxn>
                <a:cxn ang="0">
                  <a:pos x="13" y="24"/>
                </a:cxn>
                <a:cxn ang="0">
                  <a:pos x="7" y="21"/>
                </a:cxn>
                <a:cxn ang="0">
                  <a:pos x="6" y="18"/>
                </a:cxn>
                <a:cxn ang="0">
                  <a:pos x="5" y="9"/>
                </a:cxn>
                <a:cxn ang="0">
                  <a:pos x="3" y="6"/>
                </a:cxn>
                <a:cxn ang="0">
                  <a:pos x="0" y="5"/>
                </a:cxn>
                <a:cxn ang="0">
                  <a:pos x="6" y="3"/>
                </a:cxn>
                <a:cxn ang="0">
                  <a:pos x="7" y="3"/>
                </a:cxn>
                <a:cxn ang="0">
                  <a:pos x="12" y="2"/>
                </a:cxn>
                <a:cxn ang="0">
                  <a:pos x="13" y="2"/>
                </a:cxn>
                <a:cxn ang="0">
                  <a:pos x="18" y="2"/>
                </a:cxn>
                <a:cxn ang="0">
                  <a:pos x="23" y="0"/>
                </a:cxn>
                <a:cxn ang="0">
                  <a:pos x="23" y="0"/>
                </a:cxn>
                <a:cxn ang="0">
                  <a:pos x="26" y="6"/>
                </a:cxn>
                <a:cxn ang="0">
                  <a:pos x="28" y="6"/>
                </a:cxn>
                <a:cxn ang="0">
                  <a:pos x="31" y="8"/>
                </a:cxn>
                <a:cxn ang="0">
                  <a:pos x="31" y="9"/>
                </a:cxn>
                <a:cxn ang="0">
                  <a:pos x="29" y="11"/>
                </a:cxn>
                <a:cxn ang="0">
                  <a:pos x="29" y="13"/>
                </a:cxn>
                <a:cxn ang="0">
                  <a:pos x="29" y="15"/>
                </a:cxn>
                <a:cxn ang="0">
                  <a:pos x="32" y="18"/>
                </a:cxn>
                <a:cxn ang="0">
                  <a:pos x="37" y="21"/>
                </a:cxn>
                <a:cxn ang="0">
                  <a:pos x="37" y="22"/>
                </a:cxn>
                <a:cxn ang="0">
                  <a:pos x="35" y="24"/>
                </a:cxn>
                <a:cxn ang="0">
                  <a:pos x="34" y="25"/>
                </a:cxn>
                <a:cxn ang="0">
                  <a:pos x="34" y="26"/>
                </a:cxn>
                <a:cxn ang="0">
                  <a:pos x="37" y="29"/>
                </a:cxn>
                <a:cxn ang="0">
                  <a:pos x="41" y="32"/>
                </a:cxn>
                <a:cxn ang="0">
                  <a:pos x="42" y="32"/>
                </a:cxn>
                <a:cxn ang="0">
                  <a:pos x="44" y="32"/>
                </a:cxn>
                <a:cxn ang="0">
                  <a:pos x="44" y="37"/>
                </a:cxn>
                <a:cxn ang="0">
                  <a:pos x="45" y="38"/>
                </a:cxn>
                <a:cxn ang="0">
                  <a:pos x="44" y="40"/>
                </a:cxn>
                <a:cxn ang="0">
                  <a:pos x="42" y="40"/>
                </a:cxn>
                <a:cxn ang="0">
                  <a:pos x="45" y="44"/>
                </a:cxn>
                <a:cxn ang="0">
                  <a:pos x="45" y="45"/>
                </a:cxn>
                <a:cxn ang="0">
                  <a:pos x="38" y="45"/>
                </a:cxn>
                <a:cxn ang="0">
                  <a:pos x="37" y="40"/>
                </a:cxn>
                <a:cxn ang="0">
                  <a:pos x="34" y="34"/>
                </a:cxn>
                <a:cxn ang="0">
                  <a:pos x="32" y="32"/>
                </a:cxn>
                <a:cxn ang="0">
                  <a:pos x="31" y="34"/>
                </a:cxn>
                <a:cxn ang="0">
                  <a:pos x="28" y="34"/>
                </a:cxn>
                <a:cxn ang="0">
                  <a:pos x="26" y="32"/>
                </a:cxn>
                <a:cxn ang="0">
                  <a:pos x="25" y="31"/>
                </a:cxn>
                <a:cxn ang="0">
                  <a:pos x="23" y="31"/>
                </a:cxn>
                <a:cxn ang="0">
                  <a:pos x="21" y="31"/>
                </a:cxn>
              </a:cxnLst>
              <a:rect l="0" t="0" r="r" b="b"/>
              <a:pathLst>
                <a:path w="45" h="45">
                  <a:moveTo>
                    <a:pt x="21" y="31"/>
                  </a:moveTo>
                  <a:lnTo>
                    <a:pt x="18" y="26"/>
                  </a:lnTo>
                  <a:lnTo>
                    <a:pt x="15" y="26"/>
                  </a:lnTo>
                  <a:lnTo>
                    <a:pt x="13" y="24"/>
                  </a:lnTo>
                  <a:lnTo>
                    <a:pt x="7" y="21"/>
                  </a:lnTo>
                  <a:lnTo>
                    <a:pt x="6" y="18"/>
                  </a:lnTo>
                  <a:lnTo>
                    <a:pt x="5" y="9"/>
                  </a:lnTo>
                  <a:lnTo>
                    <a:pt x="3" y="6"/>
                  </a:lnTo>
                  <a:lnTo>
                    <a:pt x="0" y="5"/>
                  </a:lnTo>
                  <a:lnTo>
                    <a:pt x="6" y="3"/>
                  </a:lnTo>
                  <a:lnTo>
                    <a:pt x="7" y="3"/>
                  </a:lnTo>
                  <a:lnTo>
                    <a:pt x="12" y="2"/>
                  </a:lnTo>
                  <a:lnTo>
                    <a:pt x="13" y="2"/>
                  </a:lnTo>
                  <a:lnTo>
                    <a:pt x="18" y="2"/>
                  </a:lnTo>
                  <a:lnTo>
                    <a:pt x="23" y="0"/>
                  </a:lnTo>
                  <a:lnTo>
                    <a:pt x="23" y="0"/>
                  </a:lnTo>
                  <a:lnTo>
                    <a:pt x="26" y="6"/>
                  </a:lnTo>
                  <a:lnTo>
                    <a:pt x="28" y="6"/>
                  </a:lnTo>
                  <a:lnTo>
                    <a:pt x="31" y="8"/>
                  </a:lnTo>
                  <a:lnTo>
                    <a:pt x="31" y="9"/>
                  </a:lnTo>
                  <a:lnTo>
                    <a:pt x="29" y="11"/>
                  </a:lnTo>
                  <a:lnTo>
                    <a:pt x="29" y="13"/>
                  </a:lnTo>
                  <a:lnTo>
                    <a:pt x="29" y="15"/>
                  </a:lnTo>
                  <a:lnTo>
                    <a:pt x="32" y="18"/>
                  </a:lnTo>
                  <a:lnTo>
                    <a:pt x="37" y="21"/>
                  </a:lnTo>
                  <a:lnTo>
                    <a:pt x="37" y="22"/>
                  </a:lnTo>
                  <a:lnTo>
                    <a:pt x="35" y="24"/>
                  </a:lnTo>
                  <a:lnTo>
                    <a:pt x="34" y="25"/>
                  </a:lnTo>
                  <a:lnTo>
                    <a:pt x="34" y="26"/>
                  </a:lnTo>
                  <a:lnTo>
                    <a:pt x="37" y="29"/>
                  </a:lnTo>
                  <a:lnTo>
                    <a:pt x="41" y="32"/>
                  </a:lnTo>
                  <a:lnTo>
                    <a:pt x="42" y="32"/>
                  </a:lnTo>
                  <a:lnTo>
                    <a:pt x="44" y="32"/>
                  </a:lnTo>
                  <a:lnTo>
                    <a:pt x="44" y="37"/>
                  </a:lnTo>
                  <a:lnTo>
                    <a:pt x="45" y="38"/>
                  </a:lnTo>
                  <a:lnTo>
                    <a:pt x="44" y="40"/>
                  </a:lnTo>
                  <a:lnTo>
                    <a:pt x="42" y="40"/>
                  </a:lnTo>
                  <a:lnTo>
                    <a:pt x="45" y="44"/>
                  </a:lnTo>
                  <a:lnTo>
                    <a:pt x="45" y="45"/>
                  </a:lnTo>
                  <a:lnTo>
                    <a:pt x="38" y="45"/>
                  </a:lnTo>
                  <a:lnTo>
                    <a:pt x="37" y="40"/>
                  </a:lnTo>
                  <a:lnTo>
                    <a:pt x="34" y="34"/>
                  </a:lnTo>
                  <a:lnTo>
                    <a:pt x="32" y="32"/>
                  </a:lnTo>
                  <a:lnTo>
                    <a:pt x="31" y="34"/>
                  </a:lnTo>
                  <a:lnTo>
                    <a:pt x="28" y="34"/>
                  </a:lnTo>
                  <a:lnTo>
                    <a:pt x="26" y="32"/>
                  </a:lnTo>
                  <a:lnTo>
                    <a:pt x="25" y="31"/>
                  </a:lnTo>
                  <a:lnTo>
                    <a:pt x="23" y="31"/>
                  </a:lnTo>
                  <a:lnTo>
                    <a:pt x="21" y="3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43" name="Freeform 978"/>
            <p:cNvSpPr>
              <a:spLocks/>
            </p:cNvSpPr>
            <p:nvPr/>
          </p:nvSpPr>
          <p:spPr bwMode="auto">
            <a:xfrm>
              <a:off x="6684273" y="2603270"/>
              <a:ext cx="41256" cy="46651"/>
            </a:xfrm>
            <a:custGeom>
              <a:avLst/>
              <a:gdLst/>
              <a:ahLst/>
              <a:cxnLst>
                <a:cxn ang="0">
                  <a:pos x="21" y="31"/>
                </a:cxn>
                <a:cxn ang="0">
                  <a:pos x="18" y="26"/>
                </a:cxn>
                <a:cxn ang="0">
                  <a:pos x="15" y="26"/>
                </a:cxn>
                <a:cxn ang="0">
                  <a:pos x="13" y="24"/>
                </a:cxn>
                <a:cxn ang="0">
                  <a:pos x="7" y="21"/>
                </a:cxn>
                <a:cxn ang="0">
                  <a:pos x="6" y="18"/>
                </a:cxn>
                <a:cxn ang="0">
                  <a:pos x="5" y="9"/>
                </a:cxn>
                <a:cxn ang="0">
                  <a:pos x="3" y="6"/>
                </a:cxn>
                <a:cxn ang="0">
                  <a:pos x="0" y="5"/>
                </a:cxn>
                <a:cxn ang="0">
                  <a:pos x="6" y="3"/>
                </a:cxn>
                <a:cxn ang="0">
                  <a:pos x="7" y="3"/>
                </a:cxn>
                <a:cxn ang="0">
                  <a:pos x="12" y="2"/>
                </a:cxn>
                <a:cxn ang="0">
                  <a:pos x="13" y="2"/>
                </a:cxn>
                <a:cxn ang="0">
                  <a:pos x="18" y="2"/>
                </a:cxn>
                <a:cxn ang="0">
                  <a:pos x="23" y="0"/>
                </a:cxn>
                <a:cxn ang="0">
                  <a:pos x="23" y="0"/>
                </a:cxn>
                <a:cxn ang="0">
                  <a:pos x="26" y="6"/>
                </a:cxn>
                <a:cxn ang="0">
                  <a:pos x="28" y="6"/>
                </a:cxn>
                <a:cxn ang="0">
                  <a:pos x="31" y="8"/>
                </a:cxn>
                <a:cxn ang="0">
                  <a:pos x="31" y="9"/>
                </a:cxn>
                <a:cxn ang="0">
                  <a:pos x="29" y="11"/>
                </a:cxn>
                <a:cxn ang="0">
                  <a:pos x="29" y="13"/>
                </a:cxn>
                <a:cxn ang="0">
                  <a:pos x="29" y="15"/>
                </a:cxn>
                <a:cxn ang="0">
                  <a:pos x="32" y="18"/>
                </a:cxn>
                <a:cxn ang="0">
                  <a:pos x="37" y="21"/>
                </a:cxn>
                <a:cxn ang="0">
                  <a:pos x="37" y="22"/>
                </a:cxn>
                <a:cxn ang="0">
                  <a:pos x="35" y="24"/>
                </a:cxn>
                <a:cxn ang="0">
                  <a:pos x="34" y="25"/>
                </a:cxn>
                <a:cxn ang="0">
                  <a:pos x="34" y="26"/>
                </a:cxn>
                <a:cxn ang="0">
                  <a:pos x="37" y="29"/>
                </a:cxn>
                <a:cxn ang="0">
                  <a:pos x="41" y="32"/>
                </a:cxn>
                <a:cxn ang="0">
                  <a:pos x="42" y="32"/>
                </a:cxn>
                <a:cxn ang="0">
                  <a:pos x="44" y="32"/>
                </a:cxn>
                <a:cxn ang="0">
                  <a:pos x="44" y="37"/>
                </a:cxn>
                <a:cxn ang="0">
                  <a:pos x="45" y="38"/>
                </a:cxn>
                <a:cxn ang="0">
                  <a:pos x="44" y="40"/>
                </a:cxn>
                <a:cxn ang="0">
                  <a:pos x="42" y="40"/>
                </a:cxn>
                <a:cxn ang="0">
                  <a:pos x="45" y="44"/>
                </a:cxn>
                <a:cxn ang="0">
                  <a:pos x="45" y="45"/>
                </a:cxn>
                <a:cxn ang="0">
                  <a:pos x="38" y="45"/>
                </a:cxn>
                <a:cxn ang="0">
                  <a:pos x="37" y="40"/>
                </a:cxn>
                <a:cxn ang="0">
                  <a:pos x="34" y="34"/>
                </a:cxn>
                <a:cxn ang="0">
                  <a:pos x="32" y="32"/>
                </a:cxn>
                <a:cxn ang="0">
                  <a:pos x="31" y="34"/>
                </a:cxn>
                <a:cxn ang="0">
                  <a:pos x="28" y="34"/>
                </a:cxn>
                <a:cxn ang="0">
                  <a:pos x="26" y="32"/>
                </a:cxn>
                <a:cxn ang="0">
                  <a:pos x="25" y="31"/>
                </a:cxn>
                <a:cxn ang="0">
                  <a:pos x="23" y="31"/>
                </a:cxn>
                <a:cxn ang="0">
                  <a:pos x="21" y="31"/>
                </a:cxn>
              </a:cxnLst>
              <a:rect l="0" t="0" r="r" b="b"/>
              <a:pathLst>
                <a:path w="45" h="45">
                  <a:moveTo>
                    <a:pt x="21" y="31"/>
                  </a:moveTo>
                  <a:lnTo>
                    <a:pt x="18" y="26"/>
                  </a:lnTo>
                  <a:lnTo>
                    <a:pt x="15" y="26"/>
                  </a:lnTo>
                  <a:lnTo>
                    <a:pt x="13" y="24"/>
                  </a:lnTo>
                  <a:lnTo>
                    <a:pt x="7" y="21"/>
                  </a:lnTo>
                  <a:lnTo>
                    <a:pt x="6" y="18"/>
                  </a:lnTo>
                  <a:lnTo>
                    <a:pt x="5" y="9"/>
                  </a:lnTo>
                  <a:lnTo>
                    <a:pt x="3" y="6"/>
                  </a:lnTo>
                  <a:lnTo>
                    <a:pt x="0" y="5"/>
                  </a:lnTo>
                  <a:lnTo>
                    <a:pt x="6" y="3"/>
                  </a:lnTo>
                  <a:lnTo>
                    <a:pt x="7" y="3"/>
                  </a:lnTo>
                  <a:lnTo>
                    <a:pt x="12" y="2"/>
                  </a:lnTo>
                  <a:lnTo>
                    <a:pt x="13" y="2"/>
                  </a:lnTo>
                  <a:lnTo>
                    <a:pt x="18" y="2"/>
                  </a:lnTo>
                  <a:lnTo>
                    <a:pt x="23" y="0"/>
                  </a:lnTo>
                  <a:lnTo>
                    <a:pt x="23" y="0"/>
                  </a:lnTo>
                  <a:lnTo>
                    <a:pt x="26" y="6"/>
                  </a:lnTo>
                  <a:lnTo>
                    <a:pt x="28" y="6"/>
                  </a:lnTo>
                  <a:lnTo>
                    <a:pt x="31" y="8"/>
                  </a:lnTo>
                  <a:lnTo>
                    <a:pt x="31" y="9"/>
                  </a:lnTo>
                  <a:lnTo>
                    <a:pt x="29" y="11"/>
                  </a:lnTo>
                  <a:lnTo>
                    <a:pt x="29" y="13"/>
                  </a:lnTo>
                  <a:lnTo>
                    <a:pt x="29" y="15"/>
                  </a:lnTo>
                  <a:lnTo>
                    <a:pt x="32" y="18"/>
                  </a:lnTo>
                  <a:lnTo>
                    <a:pt x="37" y="21"/>
                  </a:lnTo>
                  <a:lnTo>
                    <a:pt x="37" y="22"/>
                  </a:lnTo>
                  <a:lnTo>
                    <a:pt x="35" y="24"/>
                  </a:lnTo>
                  <a:lnTo>
                    <a:pt x="34" y="25"/>
                  </a:lnTo>
                  <a:lnTo>
                    <a:pt x="34" y="26"/>
                  </a:lnTo>
                  <a:lnTo>
                    <a:pt x="37" y="29"/>
                  </a:lnTo>
                  <a:lnTo>
                    <a:pt x="41" y="32"/>
                  </a:lnTo>
                  <a:lnTo>
                    <a:pt x="42" y="32"/>
                  </a:lnTo>
                  <a:lnTo>
                    <a:pt x="44" y="32"/>
                  </a:lnTo>
                  <a:lnTo>
                    <a:pt x="44" y="37"/>
                  </a:lnTo>
                  <a:lnTo>
                    <a:pt x="45" y="38"/>
                  </a:lnTo>
                  <a:lnTo>
                    <a:pt x="44" y="40"/>
                  </a:lnTo>
                  <a:lnTo>
                    <a:pt x="42" y="40"/>
                  </a:lnTo>
                  <a:lnTo>
                    <a:pt x="45" y="44"/>
                  </a:lnTo>
                  <a:lnTo>
                    <a:pt x="45" y="45"/>
                  </a:lnTo>
                  <a:lnTo>
                    <a:pt x="38" y="45"/>
                  </a:lnTo>
                  <a:lnTo>
                    <a:pt x="37" y="40"/>
                  </a:lnTo>
                  <a:lnTo>
                    <a:pt x="34" y="34"/>
                  </a:lnTo>
                  <a:lnTo>
                    <a:pt x="32" y="32"/>
                  </a:lnTo>
                  <a:lnTo>
                    <a:pt x="31" y="34"/>
                  </a:lnTo>
                  <a:lnTo>
                    <a:pt x="28" y="34"/>
                  </a:lnTo>
                  <a:lnTo>
                    <a:pt x="26" y="32"/>
                  </a:lnTo>
                  <a:lnTo>
                    <a:pt x="25" y="31"/>
                  </a:lnTo>
                  <a:lnTo>
                    <a:pt x="23" y="31"/>
                  </a:lnTo>
                  <a:lnTo>
                    <a:pt x="21" y="3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44" name="Freeform 979"/>
            <p:cNvSpPr>
              <a:spLocks/>
            </p:cNvSpPr>
            <p:nvPr/>
          </p:nvSpPr>
          <p:spPr bwMode="auto">
            <a:xfrm>
              <a:off x="7038027" y="2632679"/>
              <a:ext cx="2633" cy="1015"/>
            </a:xfrm>
            <a:custGeom>
              <a:avLst/>
              <a:gdLst/>
              <a:ahLst/>
              <a:cxnLst>
                <a:cxn ang="0">
                  <a:pos x="3" y="1"/>
                </a:cxn>
                <a:cxn ang="0">
                  <a:pos x="2" y="0"/>
                </a:cxn>
                <a:cxn ang="0">
                  <a:pos x="0" y="0"/>
                </a:cxn>
                <a:cxn ang="0">
                  <a:pos x="0" y="1"/>
                </a:cxn>
                <a:cxn ang="0">
                  <a:pos x="3" y="1"/>
                </a:cxn>
                <a:cxn ang="0">
                  <a:pos x="3" y="1"/>
                </a:cxn>
              </a:cxnLst>
              <a:rect l="0" t="0" r="r" b="b"/>
              <a:pathLst>
                <a:path w="3" h="1">
                  <a:moveTo>
                    <a:pt x="3" y="1"/>
                  </a:moveTo>
                  <a:lnTo>
                    <a:pt x="2" y="0"/>
                  </a:lnTo>
                  <a:lnTo>
                    <a:pt x="0" y="0"/>
                  </a:lnTo>
                  <a:lnTo>
                    <a:pt x="0" y="1"/>
                  </a:lnTo>
                  <a:lnTo>
                    <a:pt x="3" y="1"/>
                  </a:lnTo>
                  <a:lnTo>
                    <a:pt x="3"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45" name="Freeform 980"/>
            <p:cNvSpPr>
              <a:spLocks/>
            </p:cNvSpPr>
            <p:nvPr/>
          </p:nvSpPr>
          <p:spPr bwMode="auto">
            <a:xfrm>
              <a:off x="7038027" y="2632679"/>
              <a:ext cx="2633" cy="1015"/>
            </a:xfrm>
            <a:custGeom>
              <a:avLst/>
              <a:gdLst/>
              <a:ahLst/>
              <a:cxnLst>
                <a:cxn ang="0">
                  <a:pos x="3" y="1"/>
                </a:cxn>
                <a:cxn ang="0">
                  <a:pos x="2" y="0"/>
                </a:cxn>
                <a:cxn ang="0">
                  <a:pos x="0" y="0"/>
                </a:cxn>
                <a:cxn ang="0">
                  <a:pos x="0" y="1"/>
                </a:cxn>
                <a:cxn ang="0">
                  <a:pos x="3" y="1"/>
                </a:cxn>
                <a:cxn ang="0">
                  <a:pos x="3" y="1"/>
                </a:cxn>
              </a:cxnLst>
              <a:rect l="0" t="0" r="r" b="b"/>
              <a:pathLst>
                <a:path w="3" h="1">
                  <a:moveTo>
                    <a:pt x="3" y="1"/>
                  </a:moveTo>
                  <a:lnTo>
                    <a:pt x="2" y="0"/>
                  </a:lnTo>
                  <a:lnTo>
                    <a:pt x="0" y="0"/>
                  </a:lnTo>
                  <a:lnTo>
                    <a:pt x="0" y="1"/>
                  </a:lnTo>
                  <a:lnTo>
                    <a:pt x="3" y="1"/>
                  </a:lnTo>
                  <a:lnTo>
                    <a:pt x="3"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46" name="Freeform 981"/>
            <p:cNvSpPr>
              <a:spLocks/>
            </p:cNvSpPr>
            <p:nvPr/>
          </p:nvSpPr>
          <p:spPr bwMode="auto">
            <a:xfrm>
              <a:off x="5897764" y="2857816"/>
              <a:ext cx="156248" cy="196741"/>
            </a:xfrm>
            <a:custGeom>
              <a:avLst/>
              <a:gdLst/>
              <a:ahLst/>
              <a:cxnLst>
                <a:cxn ang="0">
                  <a:pos x="4" y="91"/>
                </a:cxn>
                <a:cxn ang="0">
                  <a:pos x="2" y="95"/>
                </a:cxn>
                <a:cxn ang="0">
                  <a:pos x="0" y="96"/>
                </a:cxn>
                <a:cxn ang="0">
                  <a:pos x="0" y="96"/>
                </a:cxn>
                <a:cxn ang="0">
                  <a:pos x="6" y="102"/>
                </a:cxn>
                <a:cxn ang="0">
                  <a:pos x="9" y="102"/>
                </a:cxn>
                <a:cxn ang="0">
                  <a:pos x="12" y="114"/>
                </a:cxn>
                <a:cxn ang="0">
                  <a:pos x="9" y="120"/>
                </a:cxn>
                <a:cxn ang="0">
                  <a:pos x="7" y="121"/>
                </a:cxn>
                <a:cxn ang="0">
                  <a:pos x="13" y="146"/>
                </a:cxn>
                <a:cxn ang="0">
                  <a:pos x="7" y="169"/>
                </a:cxn>
                <a:cxn ang="0">
                  <a:pos x="10" y="163"/>
                </a:cxn>
                <a:cxn ang="0">
                  <a:pos x="12" y="163"/>
                </a:cxn>
                <a:cxn ang="0">
                  <a:pos x="19" y="163"/>
                </a:cxn>
                <a:cxn ang="0">
                  <a:pos x="20" y="163"/>
                </a:cxn>
                <a:cxn ang="0">
                  <a:pos x="26" y="162"/>
                </a:cxn>
                <a:cxn ang="0">
                  <a:pos x="26" y="162"/>
                </a:cxn>
                <a:cxn ang="0">
                  <a:pos x="29" y="162"/>
                </a:cxn>
                <a:cxn ang="0">
                  <a:pos x="35" y="162"/>
                </a:cxn>
                <a:cxn ang="0">
                  <a:pos x="38" y="162"/>
                </a:cxn>
                <a:cxn ang="0">
                  <a:pos x="39" y="163"/>
                </a:cxn>
                <a:cxn ang="0">
                  <a:pos x="42" y="168"/>
                </a:cxn>
                <a:cxn ang="0">
                  <a:pos x="47" y="168"/>
                </a:cxn>
                <a:cxn ang="0">
                  <a:pos x="48" y="169"/>
                </a:cxn>
                <a:cxn ang="0">
                  <a:pos x="50" y="169"/>
                </a:cxn>
                <a:cxn ang="0">
                  <a:pos x="54" y="176"/>
                </a:cxn>
                <a:cxn ang="0">
                  <a:pos x="55" y="178"/>
                </a:cxn>
                <a:cxn ang="0">
                  <a:pos x="57" y="178"/>
                </a:cxn>
                <a:cxn ang="0">
                  <a:pos x="58" y="178"/>
                </a:cxn>
                <a:cxn ang="0">
                  <a:pos x="60" y="181"/>
                </a:cxn>
                <a:cxn ang="0">
                  <a:pos x="58" y="182"/>
                </a:cxn>
                <a:cxn ang="0">
                  <a:pos x="60" y="182"/>
                </a:cxn>
                <a:cxn ang="0">
                  <a:pos x="61" y="184"/>
                </a:cxn>
                <a:cxn ang="0">
                  <a:pos x="64" y="185"/>
                </a:cxn>
                <a:cxn ang="0">
                  <a:pos x="65" y="186"/>
                </a:cxn>
                <a:cxn ang="0">
                  <a:pos x="67" y="188"/>
                </a:cxn>
                <a:cxn ang="0">
                  <a:pos x="74" y="184"/>
                </a:cxn>
                <a:cxn ang="0">
                  <a:pos x="80" y="173"/>
                </a:cxn>
                <a:cxn ang="0">
                  <a:pos x="80" y="173"/>
                </a:cxn>
                <a:cxn ang="0">
                  <a:pos x="83" y="175"/>
                </a:cxn>
                <a:cxn ang="0">
                  <a:pos x="92" y="184"/>
                </a:cxn>
                <a:cxn ang="0">
                  <a:pos x="163" y="179"/>
                </a:cxn>
                <a:cxn ang="0">
                  <a:pos x="160" y="165"/>
                </a:cxn>
                <a:cxn ang="0">
                  <a:pos x="171" y="35"/>
                </a:cxn>
                <a:cxn ang="0">
                  <a:pos x="119" y="18"/>
                </a:cxn>
                <a:cxn ang="0">
                  <a:pos x="74" y="59"/>
                </a:cxn>
                <a:cxn ang="0">
                  <a:pos x="58" y="63"/>
                </a:cxn>
                <a:cxn ang="0">
                  <a:pos x="58" y="91"/>
                </a:cxn>
              </a:cxnLst>
              <a:rect l="0" t="0" r="r" b="b"/>
              <a:pathLst>
                <a:path w="171" h="189">
                  <a:moveTo>
                    <a:pt x="52" y="91"/>
                  </a:moveTo>
                  <a:lnTo>
                    <a:pt x="4" y="91"/>
                  </a:lnTo>
                  <a:lnTo>
                    <a:pt x="4" y="92"/>
                  </a:lnTo>
                  <a:lnTo>
                    <a:pt x="2" y="95"/>
                  </a:lnTo>
                  <a:lnTo>
                    <a:pt x="2" y="95"/>
                  </a:lnTo>
                  <a:lnTo>
                    <a:pt x="0" y="96"/>
                  </a:lnTo>
                  <a:lnTo>
                    <a:pt x="0" y="96"/>
                  </a:lnTo>
                  <a:lnTo>
                    <a:pt x="0" y="96"/>
                  </a:lnTo>
                  <a:lnTo>
                    <a:pt x="3" y="95"/>
                  </a:lnTo>
                  <a:lnTo>
                    <a:pt x="6" y="102"/>
                  </a:lnTo>
                  <a:lnTo>
                    <a:pt x="7" y="102"/>
                  </a:lnTo>
                  <a:lnTo>
                    <a:pt x="9" y="102"/>
                  </a:lnTo>
                  <a:lnTo>
                    <a:pt x="12" y="108"/>
                  </a:lnTo>
                  <a:lnTo>
                    <a:pt x="12" y="114"/>
                  </a:lnTo>
                  <a:lnTo>
                    <a:pt x="10" y="118"/>
                  </a:lnTo>
                  <a:lnTo>
                    <a:pt x="9" y="120"/>
                  </a:lnTo>
                  <a:lnTo>
                    <a:pt x="7" y="120"/>
                  </a:lnTo>
                  <a:lnTo>
                    <a:pt x="7" y="121"/>
                  </a:lnTo>
                  <a:lnTo>
                    <a:pt x="12" y="127"/>
                  </a:lnTo>
                  <a:lnTo>
                    <a:pt x="13" y="146"/>
                  </a:lnTo>
                  <a:lnTo>
                    <a:pt x="6" y="169"/>
                  </a:lnTo>
                  <a:lnTo>
                    <a:pt x="7" y="169"/>
                  </a:lnTo>
                  <a:lnTo>
                    <a:pt x="9" y="166"/>
                  </a:lnTo>
                  <a:lnTo>
                    <a:pt x="10" y="163"/>
                  </a:lnTo>
                  <a:lnTo>
                    <a:pt x="12" y="163"/>
                  </a:lnTo>
                  <a:lnTo>
                    <a:pt x="12" y="163"/>
                  </a:lnTo>
                  <a:lnTo>
                    <a:pt x="16" y="163"/>
                  </a:lnTo>
                  <a:lnTo>
                    <a:pt x="19" y="163"/>
                  </a:lnTo>
                  <a:lnTo>
                    <a:pt x="20" y="163"/>
                  </a:lnTo>
                  <a:lnTo>
                    <a:pt x="20" y="163"/>
                  </a:lnTo>
                  <a:lnTo>
                    <a:pt x="23" y="162"/>
                  </a:lnTo>
                  <a:lnTo>
                    <a:pt x="26" y="162"/>
                  </a:lnTo>
                  <a:lnTo>
                    <a:pt x="26" y="162"/>
                  </a:lnTo>
                  <a:lnTo>
                    <a:pt x="26" y="162"/>
                  </a:lnTo>
                  <a:lnTo>
                    <a:pt x="26" y="162"/>
                  </a:lnTo>
                  <a:lnTo>
                    <a:pt x="29" y="162"/>
                  </a:lnTo>
                  <a:lnTo>
                    <a:pt x="29" y="160"/>
                  </a:lnTo>
                  <a:lnTo>
                    <a:pt x="35" y="162"/>
                  </a:lnTo>
                  <a:lnTo>
                    <a:pt x="36" y="162"/>
                  </a:lnTo>
                  <a:lnTo>
                    <a:pt x="38" y="162"/>
                  </a:lnTo>
                  <a:lnTo>
                    <a:pt x="38" y="163"/>
                  </a:lnTo>
                  <a:lnTo>
                    <a:pt x="39" y="163"/>
                  </a:lnTo>
                  <a:lnTo>
                    <a:pt x="42" y="166"/>
                  </a:lnTo>
                  <a:lnTo>
                    <a:pt x="42" y="168"/>
                  </a:lnTo>
                  <a:lnTo>
                    <a:pt x="45" y="169"/>
                  </a:lnTo>
                  <a:lnTo>
                    <a:pt x="47" y="168"/>
                  </a:lnTo>
                  <a:lnTo>
                    <a:pt x="47" y="169"/>
                  </a:lnTo>
                  <a:lnTo>
                    <a:pt x="48" y="169"/>
                  </a:lnTo>
                  <a:lnTo>
                    <a:pt x="50" y="169"/>
                  </a:lnTo>
                  <a:lnTo>
                    <a:pt x="50" y="169"/>
                  </a:lnTo>
                  <a:lnTo>
                    <a:pt x="54" y="175"/>
                  </a:lnTo>
                  <a:lnTo>
                    <a:pt x="54" y="176"/>
                  </a:lnTo>
                  <a:lnTo>
                    <a:pt x="55" y="176"/>
                  </a:lnTo>
                  <a:lnTo>
                    <a:pt x="55" y="178"/>
                  </a:lnTo>
                  <a:lnTo>
                    <a:pt x="55" y="178"/>
                  </a:lnTo>
                  <a:lnTo>
                    <a:pt x="57" y="178"/>
                  </a:lnTo>
                  <a:lnTo>
                    <a:pt x="57" y="178"/>
                  </a:lnTo>
                  <a:lnTo>
                    <a:pt x="58" y="178"/>
                  </a:lnTo>
                  <a:lnTo>
                    <a:pt x="58" y="181"/>
                  </a:lnTo>
                  <a:lnTo>
                    <a:pt x="60" y="181"/>
                  </a:lnTo>
                  <a:lnTo>
                    <a:pt x="60" y="181"/>
                  </a:lnTo>
                  <a:lnTo>
                    <a:pt x="58" y="182"/>
                  </a:lnTo>
                  <a:lnTo>
                    <a:pt x="58" y="182"/>
                  </a:lnTo>
                  <a:lnTo>
                    <a:pt x="60" y="182"/>
                  </a:lnTo>
                  <a:lnTo>
                    <a:pt x="61" y="184"/>
                  </a:lnTo>
                  <a:lnTo>
                    <a:pt x="61" y="184"/>
                  </a:lnTo>
                  <a:lnTo>
                    <a:pt x="63" y="184"/>
                  </a:lnTo>
                  <a:lnTo>
                    <a:pt x="64" y="185"/>
                  </a:lnTo>
                  <a:lnTo>
                    <a:pt x="65" y="185"/>
                  </a:lnTo>
                  <a:lnTo>
                    <a:pt x="65" y="186"/>
                  </a:lnTo>
                  <a:lnTo>
                    <a:pt x="65" y="186"/>
                  </a:lnTo>
                  <a:lnTo>
                    <a:pt x="67" y="188"/>
                  </a:lnTo>
                  <a:lnTo>
                    <a:pt x="68" y="189"/>
                  </a:lnTo>
                  <a:lnTo>
                    <a:pt x="74" y="184"/>
                  </a:lnTo>
                  <a:lnTo>
                    <a:pt x="79" y="173"/>
                  </a:lnTo>
                  <a:lnTo>
                    <a:pt x="80" y="173"/>
                  </a:lnTo>
                  <a:lnTo>
                    <a:pt x="80" y="173"/>
                  </a:lnTo>
                  <a:lnTo>
                    <a:pt x="80" y="173"/>
                  </a:lnTo>
                  <a:lnTo>
                    <a:pt x="81" y="173"/>
                  </a:lnTo>
                  <a:lnTo>
                    <a:pt x="83" y="175"/>
                  </a:lnTo>
                  <a:lnTo>
                    <a:pt x="87" y="182"/>
                  </a:lnTo>
                  <a:lnTo>
                    <a:pt x="92" y="184"/>
                  </a:lnTo>
                  <a:lnTo>
                    <a:pt x="97" y="178"/>
                  </a:lnTo>
                  <a:lnTo>
                    <a:pt x="163" y="179"/>
                  </a:lnTo>
                  <a:lnTo>
                    <a:pt x="166" y="166"/>
                  </a:lnTo>
                  <a:lnTo>
                    <a:pt x="160" y="165"/>
                  </a:lnTo>
                  <a:lnTo>
                    <a:pt x="147" y="35"/>
                  </a:lnTo>
                  <a:lnTo>
                    <a:pt x="171" y="35"/>
                  </a:lnTo>
                  <a:lnTo>
                    <a:pt x="119" y="0"/>
                  </a:lnTo>
                  <a:lnTo>
                    <a:pt x="119" y="18"/>
                  </a:lnTo>
                  <a:lnTo>
                    <a:pt x="74" y="18"/>
                  </a:lnTo>
                  <a:lnTo>
                    <a:pt x="74" y="59"/>
                  </a:lnTo>
                  <a:lnTo>
                    <a:pt x="60" y="61"/>
                  </a:lnTo>
                  <a:lnTo>
                    <a:pt x="58" y="63"/>
                  </a:lnTo>
                  <a:lnTo>
                    <a:pt x="57" y="67"/>
                  </a:lnTo>
                  <a:lnTo>
                    <a:pt x="58" y="91"/>
                  </a:lnTo>
                  <a:lnTo>
                    <a:pt x="52" y="9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47" name="Freeform 982"/>
            <p:cNvSpPr>
              <a:spLocks/>
            </p:cNvSpPr>
            <p:nvPr/>
          </p:nvSpPr>
          <p:spPr bwMode="auto">
            <a:xfrm>
              <a:off x="5897764" y="2857816"/>
              <a:ext cx="156248" cy="196741"/>
            </a:xfrm>
            <a:custGeom>
              <a:avLst/>
              <a:gdLst/>
              <a:ahLst/>
              <a:cxnLst>
                <a:cxn ang="0">
                  <a:pos x="4" y="91"/>
                </a:cxn>
                <a:cxn ang="0">
                  <a:pos x="2" y="95"/>
                </a:cxn>
                <a:cxn ang="0">
                  <a:pos x="0" y="96"/>
                </a:cxn>
                <a:cxn ang="0">
                  <a:pos x="0" y="96"/>
                </a:cxn>
                <a:cxn ang="0">
                  <a:pos x="6" y="102"/>
                </a:cxn>
                <a:cxn ang="0">
                  <a:pos x="9" y="102"/>
                </a:cxn>
                <a:cxn ang="0">
                  <a:pos x="12" y="114"/>
                </a:cxn>
                <a:cxn ang="0">
                  <a:pos x="9" y="120"/>
                </a:cxn>
                <a:cxn ang="0">
                  <a:pos x="7" y="121"/>
                </a:cxn>
                <a:cxn ang="0">
                  <a:pos x="13" y="146"/>
                </a:cxn>
                <a:cxn ang="0">
                  <a:pos x="7" y="169"/>
                </a:cxn>
                <a:cxn ang="0">
                  <a:pos x="10" y="163"/>
                </a:cxn>
                <a:cxn ang="0">
                  <a:pos x="12" y="163"/>
                </a:cxn>
                <a:cxn ang="0">
                  <a:pos x="19" y="163"/>
                </a:cxn>
                <a:cxn ang="0">
                  <a:pos x="20" y="163"/>
                </a:cxn>
                <a:cxn ang="0">
                  <a:pos x="26" y="162"/>
                </a:cxn>
                <a:cxn ang="0">
                  <a:pos x="26" y="162"/>
                </a:cxn>
                <a:cxn ang="0">
                  <a:pos x="29" y="162"/>
                </a:cxn>
                <a:cxn ang="0">
                  <a:pos x="35" y="162"/>
                </a:cxn>
                <a:cxn ang="0">
                  <a:pos x="38" y="162"/>
                </a:cxn>
                <a:cxn ang="0">
                  <a:pos x="39" y="163"/>
                </a:cxn>
                <a:cxn ang="0">
                  <a:pos x="42" y="168"/>
                </a:cxn>
                <a:cxn ang="0">
                  <a:pos x="47" y="168"/>
                </a:cxn>
                <a:cxn ang="0">
                  <a:pos x="48" y="169"/>
                </a:cxn>
                <a:cxn ang="0">
                  <a:pos x="50" y="169"/>
                </a:cxn>
                <a:cxn ang="0">
                  <a:pos x="54" y="176"/>
                </a:cxn>
                <a:cxn ang="0">
                  <a:pos x="55" y="178"/>
                </a:cxn>
                <a:cxn ang="0">
                  <a:pos x="57" y="178"/>
                </a:cxn>
                <a:cxn ang="0">
                  <a:pos x="58" y="178"/>
                </a:cxn>
                <a:cxn ang="0">
                  <a:pos x="60" y="181"/>
                </a:cxn>
                <a:cxn ang="0">
                  <a:pos x="58" y="182"/>
                </a:cxn>
                <a:cxn ang="0">
                  <a:pos x="60" y="182"/>
                </a:cxn>
                <a:cxn ang="0">
                  <a:pos x="61" y="184"/>
                </a:cxn>
                <a:cxn ang="0">
                  <a:pos x="64" y="185"/>
                </a:cxn>
                <a:cxn ang="0">
                  <a:pos x="65" y="186"/>
                </a:cxn>
                <a:cxn ang="0">
                  <a:pos x="67" y="188"/>
                </a:cxn>
                <a:cxn ang="0">
                  <a:pos x="74" y="184"/>
                </a:cxn>
                <a:cxn ang="0">
                  <a:pos x="80" y="173"/>
                </a:cxn>
                <a:cxn ang="0">
                  <a:pos x="80" y="173"/>
                </a:cxn>
                <a:cxn ang="0">
                  <a:pos x="83" y="175"/>
                </a:cxn>
                <a:cxn ang="0">
                  <a:pos x="92" y="184"/>
                </a:cxn>
                <a:cxn ang="0">
                  <a:pos x="163" y="179"/>
                </a:cxn>
                <a:cxn ang="0">
                  <a:pos x="160" y="165"/>
                </a:cxn>
                <a:cxn ang="0">
                  <a:pos x="171" y="35"/>
                </a:cxn>
                <a:cxn ang="0">
                  <a:pos x="119" y="18"/>
                </a:cxn>
                <a:cxn ang="0">
                  <a:pos x="74" y="59"/>
                </a:cxn>
                <a:cxn ang="0">
                  <a:pos x="58" y="63"/>
                </a:cxn>
                <a:cxn ang="0">
                  <a:pos x="58" y="91"/>
                </a:cxn>
              </a:cxnLst>
              <a:rect l="0" t="0" r="r" b="b"/>
              <a:pathLst>
                <a:path w="171" h="189">
                  <a:moveTo>
                    <a:pt x="52" y="91"/>
                  </a:moveTo>
                  <a:lnTo>
                    <a:pt x="4" y="91"/>
                  </a:lnTo>
                  <a:lnTo>
                    <a:pt x="4" y="92"/>
                  </a:lnTo>
                  <a:lnTo>
                    <a:pt x="2" y="95"/>
                  </a:lnTo>
                  <a:lnTo>
                    <a:pt x="2" y="95"/>
                  </a:lnTo>
                  <a:lnTo>
                    <a:pt x="0" y="96"/>
                  </a:lnTo>
                  <a:lnTo>
                    <a:pt x="0" y="96"/>
                  </a:lnTo>
                  <a:lnTo>
                    <a:pt x="0" y="96"/>
                  </a:lnTo>
                  <a:lnTo>
                    <a:pt x="3" y="95"/>
                  </a:lnTo>
                  <a:lnTo>
                    <a:pt x="6" y="102"/>
                  </a:lnTo>
                  <a:lnTo>
                    <a:pt x="7" y="102"/>
                  </a:lnTo>
                  <a:lnTo>
                    <a:pt x="9" y="102"/>
                  </a:lnTo>
                  <a:lnTo>
                    <a:pt x="12" y="108"/>
                  </a:lnTo>
                  <a:lnTo>
                    <a:pt x="12" y="114"/>
                  </a:lnTo>
                  <a:lnTo>
                    <a:pt x="10" y="118"/>
                  </a:lnTo>
                  <a:lnTo>
                    <a:pt x="9" y="120"/>
                  </a:lnTo>
                  <a:lnTo>
                    <a:pt x="7" y="120"/>
                  </a:lnTo>
                  <a:lnTo>
                    <a:pt x="7" y="121"/>
                  </a:lnTo>
                  <a:lnTo>
                    <a:pt x="12" y="127"/>
                  </a:lnTo>
                  <a:lnTo>
                    <a:pt x="13" y="146"/>
                  </a:lnTo>
                  <a:lnTo>
                    <a:pt x="6" y="169"/>
                  </a:lnTo>
                  <a:lnTo>
                    <a:pt x="7" y="169"/>
                  </a:lnTo>
                  <a:lnTo>
                    <a:pt x="9" y="166"/>
                  </a:lnTo>
                  <a:lnTo>
                    <a:pt x="10" y="163"/>
                  </a:lnTo>
                  <a:lnTo>
                    <a:pt x="12" y="163"/>
                  </a:lnTo>
                  <a:lnTo>
                    <a:pt x="12" y="163"/>
                  </a:lnTo>
                  <a:lnTo>
                    <a:pt x="16" y="163"/>
                  </a:lnTo>
                  <a:lnTo>
                    <a:pt x="19" y="163"/>
                  </a:lnTo>
                  <a:lnTo>
                    <a:pt x="20" y="163"/>
                  </a:lnTo>
                  <a:lnTo>
                    <a:pt x="20" y="163"/>
                  </a:lnTo>
                  <a:lnTo>
                    <a:pt x="23" y="162"/>
                  </a:lnTo>
                  <a:lnTo>
                    <a:pt x="26" y="162"/>
                  </a:lnTo>
                  <a:lnTo>
                    <a:pt x="26" y="162"/>
                  </a:lnTo>
                  <a:lnTo>
                    <a:pt x="26" y="162"/>
                  </a:lnTo>
                  <a:lnTo>
                    <a:pt x="26" y="162"/>
                  </a:lnTo>
                  <a:lnTo>
                    <a:pt x="29" y="162"/>
                  </a:lnTo>
                  <a:lnTo>
                    <a:pt x="29" y="160"/>
                  </a:lnTo>
                  <a:lnTo>
                    <a:pt x="35" y="162"/>
                  </a:lnTo>
                  <a:lnTo>
                    <a:pt x="36" y="162"/>
                  </a:lnTo>
                  <a:lnTo>
                    <a:pt x="38" y="162"/>
                  </a:lnTo>
                  <a:lnTo>
                    <a:pt x="38" y="163"/>
                  </a:lnTo>
                  <a:lnTo>
                    <a:pt x="39" y="163"/>
                  </a:lnTo>
                  <a:lnTo>
                    <a:pt x="42" y="166"/>
                  </a:lnTo>
                  <a:lnTo>
                    <a:pt x="42" y="168"/>
                  </a:lnTo>
                  <a:lnTo>
                    <a:pt x="45" y="169"/>
                  </a:lnTo>
                  <a:lnTo>
                    <a:pt x="47" y="168"/>
                  </a:lnTo>
                  <a:lnTo>
                    <a:pt x="47" y="169"/>
                  </a:lnTo>
                  <a:lnTo>
                    <a:pt x="48" y="169"/>
                  </a:lnTo>
                  <a:lnTo>
                    <a:pt x="50" y="169"/>
                  </a:lnTo>
                  <a:lnTo>
                    <a:pt x="50" y="169"/>
                  </a:lnTo>
                  <a:lnTo>
                    <a:pt x="54" y="175"/>
                  </a:lnTo>
                  <a:lnTo>
                    <a:pt x="54" y="176"/>
                  </a:lnTo>
                  <a:lnTo>
                    <a:pt x="55" y="176"/>
                  </a:lnTo>
                  <a:lnTo>
                    <a:pt x="55" y="178"/>
                  </a:lnTo>
                  <a:lnTo>
                    <a:pt x="55" y="178"/>
                  </a:lnTo>
                  <a:lnTo>
                    <a:pt x="57" y="178"/>
                  </a:lnTo>
                  <a:lnTo>
                    <a:pt x="57" y="178"/>
                  </a:lnTo>
                  <a:lnTo>
                    <a:pt x="58" y="178"/>
                  </a:lnTo>
                  <a:lnTo>
                    <a:pt x="58" y="181"/>
                  </a:lnTo>
                  <a:lnTo>
                    <a:pt x="60" y="181"/>
                  </a:lnTo>
                  <a:lnTo>
                    <a:pt x="60" y="181"/>
                  </a:lnTo>
                  <a:lnTo>
                    <a:pt x="58" y="182"/>
                  </a:lnTo>
                  <a:lnTo>
                    <a:pt x="58" y="182"/>
                  </a:lnTo>
                  <a:lnTo>
                    <a:pt x="60" y="182"/>
                  </a:lnTo>
                  <a:lnTo>
                    <a:pt x="61" y="184"/>
                  </a:lnTo>
                  <a:lnTo>
                    <a:pt x="61" y="184"/>
                  </a:lnTo>
                  <a:lnTo>
                    <a:pt x="63" y="184"/>
                  </a:lnTo>
                  <a:lnTo>
                    <a:pt x="64" y="185"/>
                  </a:lnTo>
                  <a:lnTo>
                    <a:pt x="65" y="185"/>
                  </a:lnTo>
                  <a:lnTo>
                    <a:pt x="65" y="186"/>
                  </a:lnTo>
                  <a:lnTo>
                    <a:pt x="65" y="186"/>
                  </a:lnTo>
                  <a:lnTo>
                    <a:pt x="67" y="188"/>
                  </a:lnTo>
                  <a:lnTo>
                    <a:pt x="68" y="189"/>
                  </a:lnTo>
                  <a:lnTo>
                    <a:pt x="74" y="184"/>
                  </a:lnTo>
                  <a:lnTo>
                    <a:pt x="79" y="173"/>
                  </a:lnTo>
                  <a:lnTo>
                    <a:pt x="80" y="173"/>
                  </a:lnTo>
                  <a:lnTo>
                    <a:pt x="80" y="173"/>
                  </a:lnTo>
                  <a:lnTo>
                    <a:pt x="80" y="173"/>
                  </a:lnTo>
                  <a:lnTo>
                    <a:pt x="81" y="173"/>
                  </a:lnTo>
                  <a:lnTo>
                    <a:pt x="83" y="175"/>
                  </a:lnTo>
                  <a:lnTo>
                    <a:pt x="87" y="182"/>
                  </a:lnTo>
                  <a:lnTo>
                    <a:pt x="92" y="184"/>
                  </a:lnTo>
                  <a:lnTo>
                    <a:pt x="97" y="178"/>
                  </a:lnTo>
                  <a:lnTo>
                    <a:pt x="163" y="179"/>
                  </a:lnTo>
                  <a:lnTo>
                    <a:pt x="166" y="166"/>
                  </a:lnTo>
                  <a:lnTo>
                    <a:pt x="160" y="165"/>
                  </a:lnTo>
                  <a:lnTo>
                    <a:pt x="147" y="35"/>
                  </a:lnTo>
                  <a:lnTo>
                    <a:pt x="171" y="35"/>
                  </a:lnTo>
                  <a:lnTo>
                    <a:pt x="119" y="0"/>
                  </a:lnTo>
                  <a:lnTo>
                    <a:pt x="119" y="18"/>
                  </a:lnTo>
                  <a:lnTo>
                    <a:pt x="74" y="18"/>
                  </a:lnTo>
                  <a:lnTo>
                    <a:pt x="74" y="59"/>
                  </a:lnTo>
                  <a:lnTo>
                    <a:pt x="60" y="61"/>
                  </a:lnTo>
                  <a:lnTo>
                    <a:pt x="58" y="63"/>
                  </a:lnTo>
                  <a:lnTo>
                    <a:pt x="57" y="67"/>
                  </a:lnTo>
                  <a:lnTo>
                    <a:pt x="58" y="91"/>
                  </a:lnTo>
                  <a:lnTo>
                    <a:pt x="52" y="9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48" name="Freeform 983"/>
            <p:cNvSpPr>
              <a:spLocks/>
            </p:cNvSpPr>
            <p:nvPr/>
          </p:nvSpPr>
          <p:spPr bwMode="auto">
            <a:xfrm>
              <a:off x="6406887" y="3394293"/>
              <a:ext cx="150982" cy="150091"/>
            </a:xfrm>
            <a:custGeom>
              <a:avLst/>
              <a:gdLst/>
              <a:ahLst/>
              <a:cxnLst>
                <a:cxn ang="0">
                  <a:pos x="30" y="70"/>
                </a:cxn>
                <a:cxn ang="0">
                  <a:pos x="27" y="67"/>
                </a:cxn>
                <a:cxn ang="0">
                  <a:pos x="29" y="41"/>
                </a:cxn>
                <a:cxn ang="0">
                  <a:pos x="29" y="40"/>
                </a:cxn>
                <a:cxn ang="0">
                  <a:pos x="35" y="41"/>
                </a:cxn>
                <a:cxn ang="0">
                  <a:pos x="35" y="45"/>
                </a:cxn>
                <a:cxn ang="0">
                  <a:pos x="45" y="42"/>
                </a:cxn>
                <a:cxn ang="0">
                  <a:pos x="48" y="48"/>
                </a:cxn>
                <a:cxn ang="0">
                  <a:pos x="71" y="53"/>
                </a:cxn>
                <a:cxn ang="0">
                  <a:pos x="84" y="60"/>
                </a:cxn>
                <a:cxn ang="0">
                  <a:pos x="90" y="66"/>
                </a:cxn>
                <a:cxn ang="0">
                  <a:pos x="103" y="73"/>
                </a:cxn>
                <a:cxn ang="0">
                  <a:pos x="107" y="74"/>
                </a:cxn>
                <a:cxn ang="0">
                  <a:pos x="110" y="74"/>
                </a:cxn>
                <a:cxn ang="0">
                  <a:pos x="107" y="58"/>
                </a:cxn>
                <a:cxn ang="0">
                  <a:pos x="97" y="58"/>
                </a:cxn>
                <a:cxn ang="0">
                  <a:pos x="99" y="26"/>
                </a:cxn>
                <a:cxn ang="0">
                  <a:pos x="101" y="5"/>
                </a:cxn>
                <a:cxn ang="0">
                  <a:pos x="122" y="5"/>
                </a:cxn>
                <a:cxn ang="0">
                  <a:pos x="125" y="8"/>
                </a:cxn>
                <a:cxn ang="0">
                  <a:pos x="132" y="6"/>
                </a:cxn>
                <a:cxn ang="0">
                  <a:pos x="155" y="16"/>
                </a:cxn>
                <a:cxn ang="0">
                  <a:pos x="155" y="19"/>
                </a:cxn>
                <a:cxn ang="0">
                  <a:pos x="157" y="22"/>
                </a:cxn>
                <a:cxn ang="0">
                  <a:pos x="162" y="28"/>
                </a:cxn>
                <a:cxn ang="0">
                  <a:pos x="165" y="35"/>
                </a:cxn>
                <a:cxn ang="0">
                  <a:pos x="164" y="40"/>
                </a:cxn>
                <a:cxn ang="0">
                  <a:pos x="162" y="45"/>
                </a:cxn>
                <a:cxn ang="0">
                  <a:pos x="161" y="61"/>
                </a:cxn>
                <a:cxn ang="0">
                  <a:pos x="162" y="64"/>
                </a:cxn>
                <a:cxn ang="0">
                  <a:pos x="157" y="66"/>
                </a:cxn>
                <a:cxn ang="0">
                  <a:pos x="152" y="79"/>
                </a:cxn>
                <a:cxn ang="0">
                  <a:pos x="155" y="83"/>
                </a:cxn>
                <a:cxn ang="0">
                  <a:pos x="158" y="85"/>
                </a:cxn>
                <a:cxn ang="0">
                  <a:pos x="116" y="108"/>
                </a:cxn>
                <a:cxn ang="0">
                  <a:pos x="114" y="109"/>
                </a:cxn>
                <a:cxn ang="0">
                  <a:pos x="110" y="108"/>
                </a:cxn>
                <a:cxn ang="0">
                  <a:pos x="101" y="111"/>
                </a:cxn>
                <a:cxn ang="0">
                  <a:pos x="94" y="114"/>
                </a:cxn>
                <a:cxn ang="0">
                  <a:pos x="87" y="122"/>
                </a:cxn>
                <a:cxn ang="0">
                  <a:pos x="84" y="127"/>
                </a:cxn>
                <a:cxn ang="0">
                  <a:pos x="80" y="127"/>
                </a:cxn>
                <a:cxn ang="0">
                  <a:pos x="77" y="131"/>
                </a:cxn>
                <a:cxn ang="0">
                  <a:pos x="74" y="137"/>
                </a:cxn>
                <a:cxn ang="0">
                  <a:pos x="65" y="144"/>
                </a:cxn>
                <a:cxn ang="0">
                  <a:pos x="62" y="143"/>
                </a:cxn>
                <a:cxn ang="0">
                  <a:pos x="55" y="143"/>
                </a:cxn>
                <a:cxn ang="0">
                  <a:pos x="45" y="141"/>
                </a:cxn>
                <a:cxn ang="0">
                  <a:pos x="40" y="137"/>
                </a:cxn>
                <a:cxn ang="0">
                  <a:pos x="30" y="134"/>
                </a:cxn>
                <a:cxn ang="0">
                  <a:pos x="13" y="135"/>
                </a:cxn>
                <a:cxn ang="0">
                  <a:pos x="0" y="122"/>
                </a:cxn>
              </a:cxnLst>
              <a:rect l="0" t="0" r="r" b="b"/>
              <a:pathLst>
                <a:path w="165" h="144">
                  <a:moveTo>
                    <a:pt x="0" y="122"/>
                  </a:moveTo>
                  <a:lnTo>
                    <a:pt x="0" y="70"/>
                  </a:lnTo>
                  <a:lnTo>
                    <a:pt x="30" y="70"/>
                  </a:lnTo>
                  <a:lnTo>
                    <a:pt x="29" y="69"/>
                  </a:lnTo>
                  <a:lnTo>
                    <a:pt x="27" y="69"/>
                  </a:lnTo>
                  <a:lnTo>
                    <a:pt x="27" y="67"/>
                  </a:lnTo>
                  <a:lnTo>
                    <a:pt x="29" y="44"/>
                  </a:lnTo>
                  <a:lnTo>
                    <a:pt x="29" y="42"/>
                  </a:lnTo>
                  <a:lnTo>
                    <a:pt x="29" y="41"/>
                  </a:lnTo>
                  <a:lnTo>
                    <a:pt x="29" y="41"/>
                  </a:lnTo>
                  <a:lnTo>
                    <a:pt x="29" y="40"/>
                  </a:lnTo>
                  <a:lnTo>
                    <a:pt x="29" y="40"/>
                  </a:lnTo>
                  <a:lnTo>
                    <a:pt x="32" y="38"/>
                  </a:lnTo>
                  <a:lnTo>
                    <a:pt x="32" y="38"/>
                  </a:lnTo>
                  <a:lnTo>
                    <a:pt x="35" y="41"/>
                  </a:lnTo>
                  <a:lnTo>
                    <a:pt x="33" y="44"/>
                  </a:lnTo>
                  <a:lnTo>
                    <a:pt x="35" y="45"/>
                  </a:lnTo>
                  <a:lnTo>
                    <a:pt x="35" y="45"/>
                  </a:lnTo>
                  <a:lnTo>
                    <a:pt x="40" y="44"/>
                  </a:lnTo>
                  <a:lnTo>
                    <a:pt x="42" y="44"/>
                  </a:lnTo>
                  <a:lnTo>
                    <a:pt x="45" y="42"/>
                  </a:lnTo>
                  <a:lnTo>
                    <a:pt x="46" y="45"/>
                  </a:lnTo>
                  <a:lnTo>
                    <a:pt x="48" y="47"/>
                  </a:lnTo>
                  <a:lnTo>
                    <a:pt x="48" y="48"/>
                  </a:lnTo>
                  <a:lnTo>
                    <a:pt x="59" y="54"/>
                  </a:lnTo>
                  <a:lnTo>
                    <a:pt x="62" y="54"/>
                  </a:lnTo>
                  <a:lnTo>
                    <a:pt x="71" y="53"/>
                  </a:lnTo>
                  <a:lnTo>
                    <a:pt x="72" y="53"/>
                  </a:lnTo>
                  <a:lnTo>
                    <a:pt x="77" y="57"/>
                  </a:lnTo>
                  <a:lnTo>
                    <a:pt x="84" y="60"/>
                  </a:lnTo>
                  <a:lnTo>
                    <a:pt x="87" y="60"/>
                  </a:lnTo>
                  <a:lnTo>
                    <a:pt x="88" y="61"/>
                  </a:lnTo>
                  <a:lnTo>
                    <a:pt x="90" y="66"/>
                  </a:lnTo>
                  <a:lnTo>
                    <a:pt x="97" y="72"/>
                  </a:lnTo>
                  <a:lnTo>
                    <a:pt x="103" y="73"/>
                  </a:lnTo>
                  <a:lnTo>
                    <a:pt x="103" y="73"/>
                  </a:lnTo>
                  <a:lnTo>
                    <a:pt x="106" y="72"/>
                  </a:lnTo>
                  <a:lnTo>
                    <a:pt x="106" y="72"/>
                  </a:lnTo>
                  <a:lnTo>
                    <a:pt x="107" y="74"/>
                  </a:lnTo>
                  <a:lnTo>
                    <a:pt x="109" y="74"/>
                  </a:lnTo>
                  <a:lnTo>
                    <a:pt x="110" y="74"/>
                  </a:lnTo>
                  <a:lnTo>
                    <a:pt x="110" y="74"/>
                  </a:lnTo>
                  <a:lnTo>
                    <a:pt x="110" y="61"/>
                  </a:lnTo>
                  <a:lnTo>
                    <a:pt x="109" y="58"/>
                  </a:lnTo>
                  <a:lnTo>
                    <a:pt x="107" y="58"/>
                  </a:lnTo>
                  <a:lnTo>
                    <a:pt x="106" y="60"/>
                  </a:lnTo>
                  <a:lnTo>
                    <a:pt x="99" y="60"/>
                  </a:lnTo>
                  <a:lnTo>
                    <a:pt x="97" y="58"/>
                  </a:lnTo>
                  <a:lnTo>
                    <a:pt x="93" y="53"/>
                  </a:lnTo>
                  <a:lnTo>
                    <a:pt x="93" y="50"/>
                  </a:lnTo>
                  <a:lnTo>
                    <a:pt x="99" y="26"/>
                  </a:lnTo>
                  <a:lnTo>
                    <a:pt x="96" y="15"/>
                  </a:lnTo>
                  <a:lnTo>
                    <a:pt x="100" y="6"/>
                  </a:lnTo>
                  <a:lnTo>
                    <a:pt x="101" y="5"/>
                  </a:lnTo>
                  <a:lnTo>
                    <a:pt x="122" y="0"/>
                  </a:lnTo>
                  <a:lnTo>
                    <a:pt x="122" y="3"/>
                  </a:lnTo>
                  <a:lnTo>
                    <a:pt x="122" y="5"/>
                  </a:lnTo>
                  <a:lnTo>
                    <a:pt x="122" y="6"/>
                  </a:lnTo>
                  <a:lnTo>
                    <a:pt x="123" y="8"/>
                  </a:lnTo>
                  <a:lnTo>
                    <a:pt x="125" y="8"/>
                  </a:lnTo>
                  <a:lnTo>
                    <a:pt x="128" y="9"/>
                  </a:lnTo>
                  <a:lnTo>
                    <a:pt x="130" y="6"/>
                  </a:lnTo>
                  <a:lnTo>
                    <a:pt x="132" y="6"/>
                  </a:lnTo>
                  <a:lnTo>
                    <a:pt x="133" y="6"/>
                  </a:lnTo>
                  <a:lnTo>
                    <a:pt x="139" y="12"/>
                  </a:lnTo>
                  <a:lnTo>
                    <a:pt x="155" y="16"/>
                  </a:lnTo>
                  <a:lnTo>
                    <a:pt x="155" y="18"/>
                  </a:lnTo>
                  <a:lnTo>
                    <a:pt x="157" y="19"/>
                  </a:lnTo>
                  <a:lnTo>
                    <a:pt x="155" y="19"/>
                  </a:lnTo>
                  <a:lnTo>
                    <a:pt x="155" y="21"/>
                  </a:lnTo>
                  <a:lnTo>
                    <a:pt x="157" y="21"/>
                  </a:lnTo>
                  <a:lnTo>
                    <a:pt x="157" y="22"/>
                  </a:lnTo>
                  <a:lnTo>
                    <a:pt x="159" y="22"/>
                  </a:lnTo>
                  <a:lnTo>
                    <a:pt x="161" y="25"/>
                  </a:lnTo>
                  <a:lnTo>
                    <a:pt x="162" y="28"/>
                  </a:lnTo>
                  <a:lnTo>
                    <a:pt x="164" y="29"/>
                  </a:lnTo>
                  <a:lnTo>
                    <a:pt x="164" y="35"/>
                  </a:lnTo>
                  <a:lnTo>
                    <a:pt x="165" y="35"/>
                  </a:lnTo>
                  <a:lnTo>
                    <a:pt x="165" y="37"/>
                  </a:lnTo>
                  <a:lnTo>
                    <a:pt x="165" y="38"/>
                  </a:lnTo>
                  <a:lnTo>
                    <a:pt x="164" y="40"/>
                  </a:lnTo>
                  <a:lnTo>
                    <a:pt x="162" y="40"/>
                  </a:lnTo>
                  <a:lnTo>
                    <a:pt x="162" y="40"/>
                  </a:lnTo>
                  <a:lnTo>
                    <a:pt x="162" y="45"/>
                  </a:lnTo>
                  <a:lnTo>
                    <a:pt x="161" y="50"/>
                  </a:lnTo>
                  <a:lnTo>
                    <a:pt x="161" y="60"/>
                  </a:lnTo>
                  <a:lnTo>
                    <a:pt x="161" y="61"/>
                  </a:lnTo>
                  <a:lnTo>
                    <a:pt x="162" y="61"/>
                  </a:lnTo>
                  <a:lnTo>
                    <a:pt x="162" y="63"/>
                  </a:lnTo>
                  <a:lnTo>
                    <a:pt x="162" y="64"/>
                  </a:lnTo>
                  <a:lnTo>
                    <a:pt x="161" y="64"/>
                  </a:lnTo>
                  <a:lnTo>
                    <a:pt x="158" y="66"/>
                  </a:lnTo>
                  <a:lnTo>
                    <a:pt x="157" y="66"/>
                  </a:lnTo>
                  <a:lnTo>
                    <a:pt x="157" y="66"/>
                  </a:lnTo>
                  <a:lnTo>
                    <a:pt x="155" y="77"/>
                  </a:lnTo>
                  <a:lnTo>
                    <a:pt x="152" y="79"/>
                  </a:lnTo>
                  <a:lnTo>
                    <a:pt x="152" y="80"/>
                  </a:lnTo>
                  <a:lnTo>
                    <a:pt x="154" y="83"/>
                  </a:lnTo>
                  <a:lnTo>
                    <a:pt x="155" y="83"/>
                  </a:lnTo>
                  <a:lnTo>
                    <a:pt x="155" y="85"/>
                  </a:lnTo>
                  <a:lnTo>
                    <a:pt x="158" y="85"/>
                  </a:lnTo>
                  <a:lnTo>
                    <a:pt x="158" y="85"/>
                  </a:lnTo>
                  <a:lnTo>
                    <a:pt x="158" y="85"/>
                  </a:lnTo>
                  <a:lnTo>
                    <a:pt x="113" y="101"/>
                  </a:lnTo>
                  <a:lnTo>
                    <a:pt x="116" y="108"/>
                  </a:lnTo>
                  <a:lnTo>
                    <a:pt x="117" y="108"/>
                  </a:lnTo>
                  <a:lnTo>
                    <a:pt x="117" y="109"/>
                  </a:lnTo>
                  <a:lnTo>
                    <a:pt x="114" y="109"/>
                  </a:lnTo>
                  <a:lnTo>
                    <a:pt x="113" y="109"/>
                  </a:lnTo>
                  <a:lnTo>
                    <a:pt x="112" y="109"/>
                  </a:lnTo>
                  <a:lnTo>
                    <a:pt x="110" y="108"/>
                  </a:lnTo>
                  <a:lnTo>
                    <a:pt x="109" y="108"/>
                  </a:lnTo>
                  <a:lnTo>
                    <a:pt x="106" y="109"/>
                  </a:lnTo>
                  <a:lnTo>
                    <a:pt x="101" y="111"/>
                  </a:lnTo>
                  <a:lnTo>
                    <a:pt x="99" y="114"/>
                  </a:lnTo>
                  <a:lnTo>
                    <a:pt x="96" y="114"/>
                  </a:lnTo>
                  <a:lnTo>
                    <a:pt x="94" y="114"/>
                  </a:lnTo>
                  <a:lnTo>
                    <a:pt x="94" y="122"/>
                  </a:lnTo>
                  <a:lnTo>
                    <a:pt x="88" y="122"/>
                  </a:lnTo>
                  <a:lnTo>
                    <a:pt x="87" y="122"/>
                  </a:lnTo>
                  <a:lnTo>
                    <a:pt x="87" y="124"/>
                  </a:lnTo>
                  <a:lnTo>
                    <a:pt x="85" y="124"/>
                  </a:lnTo>
                  <a:lnTo>
                    <a:pt x="84" y="127"/>
                  </a:lnTo>
                  <a:lnTo>
                    <a:pt x="81" y="125"/>
                  </a:lnTo>
                  <a:lnTo>
                    <a:pt x="81" y="127"/>
                  </a:lnTo>
                  <a:lnTo>
                    <a:pt x="80" y="127"/>
                  </a:lnTo>
                  <a:lnTo>
                    <a:pt x="80" y="128"/>
                  </a:lnTo>
                  <a:lnTo>
                    <a:pt x="78" y="128"/>
                  </a:lnTo>
                  <a:lnTo>
                    <a:pt x="77" y="131"/>
                  </a:lnTo>
                  <a:lnTo>
                    <a:pt x="74" y="134"/>
                  </a:lnTo>
                  <a:lnTo>
                    <a:pt x="74" y="135"/>
                  </a:lnTo>
                  <a:lnTo>
                    <a:pt x="74" y="137"/>
                  </a:lnTo>
                  <a:lnTo>
                    <a:pt x="68" y="144"/>
                  </a:lnTo>
                  <a:lnTo>
                    <a:pt x="67" y="143"/>
                  </a:lnTo>
                  <a:lnTo>
                    <a:pt x="65" y="144"/>
                  </a:lnTo>
                  <a:lnTo>
                    <a:pt x="64" y="144"/>
                  </a:lnTo>
                  <a:lnTo>
                    <a:pt x="64" y="143"/>
                  </a:lnTo>
                  <a:lnTo>
                    <a:pt x="62" y="143"/>
                  </a:lnTo>
                  <a:lnTo>
                    <a:pt x="61" y="143"/>
                  </a:lnTo>
                  <a:lnTo>
                    <a:pt x="59" y="143"/>
                  </a:lnTo>
                  <a:lnTo>
                    <a:pt x="55" y="143"/>
                  </a:lnTo>
                  <a:lnTo>
                    <a:pt x="51" y="141"/>
                  </a:lnTo>
                  <a:lnTo>
                    <a:pt x="46" y="141"/>
                  </a:lnTo>
                  <a:lnTo>
                    <a:pt x="45" y="141"/>
                  </a:lnTo>
                  <a:lnTo>
                    <a:pt x="45" y="141"/>
                  </a:lnTo>
                  <a:lnTo>
                    <a:pt x="42" y="140"/>
                  </a:lnTo>
                  <a:lnTo>
                    <a:pt x="40" y="137"/>
                  </a:lnTo>
                  <a:lnTo>
                    <a:pt x="39" y="137"/>
                  </a:lnTo>
                  <a:lnTo>
                    <a:pt x="30" y="135"/>
                  </a:lnTo>
                  <a:lnTo>
                    <a:pt x="30" y="134"/>
                  </a:lnTo>
                  <a:lnTo>
                    <a:pt x="17" y="138"/>
                  </a:lnTo>
                  <a:lnTo>
                    <a:pt x="14" y="137"/>
                  </a:lnTo>
                  <a:lnTo>
                    <a:pt x="13" y="135"/>
                  </a:lnTo>
                  <a:lnTo>
                    <a:pt x="3" y="127"/>
                  </a:lnTo>
                  <a:lnTo>
                    <a:pt x="1" y="124"/>
                  </a:lnTo>
                  <a:lnTo>
                    <a:pt x="0" y="122"/>
                  </a:lnTo>
                  <a:lnTo>
                    <a:pt x="0" y="12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49" name="Freeform 984"/>
            <p:cNvSpPr>
              <a:spLocks/>
            </p:cNvSpPr>
            <p:nvPr/>
          </p:nvSpPr>
          <p:spPr bwMode="auto">
            <a:xfrm>
              <a:off x="6406887" y="3394293"/>
              <a:ext cx="150982" cy="150091"/>
            </a:xfrm>
            <a:custGeom>
              <a:avLst/>
              <a:gdLst/>
              <a:ahLst/>
              <a:cxnLst>
                <a:cxn ang="0">
                  <a:pos x="30" y="70"/>
                </a:cxn>
                <a:cxn ang="0">
                  <a:pos x="27" y="67"/>
                </a:cxn>
                <a:cxn ang="0">
                  <a:pos x="29" y="41"/>
                </a:cxn>
                <a:cxn ang="0">
                  <a:pos x="29" y="40"/>
                </a:cxn>
                <a:cxn ang="0">
                  <a:pos x="35" y="41"/>
                </a:cxn>
                <a:cxn ang="0">
                  <a:pos x="35" y="45"/>
                </a:cxn>
                <a:cxn ang="0">
                  <a:pos x="45" y="42"/>
                </a:cxn>
                <a:cxn ang="0">
                  <a:pos x="48" y="48"/>
                </a:cxn>
                <a:cxn ang="0">
                  <a:pos x="71" y="53"/>
                </a:cxn>
                <a:cxn ang="0">
                  <a:pos x="84" y="60"/>
                </a:cxn>
                <a:cxn ang="0">
                  <a:pos x="90" y="66"/>
                </a:cxn>
                <a:cxn ang="0">
                  <a:pos x="103" y="73"/>
                </a:cxn>
                <a:cxn ang="0">
                  <a:pos x="107" y="74"/>
                </a:cxn>
                <a:cxn ang="0">
                  <a:pos x="110" y="74"/>
                </a:cxn>
                <a:cxn ang="0">
                  <a:pos x="107" y="58"/>
                </a:cxn>
                <a:cxn ang="0">
                  <a:pos x="97" y="58"/>
                </a:cxn>
                <a:cxn ang="0">
                  <a:pos x="99" y="26"/>
                </a:cxn>
                <a:cxn ang="0">
                  <a:pos x="101" y="5"/>
                </a:cxn>
                <a:cxn ang="0">
                  <a:pos x="122" y="5"/>
                </a:cxn>
                <a:cxn ang="0">
                  <a:pos x="125" y="8"/>
                </a:cxn>
                <a:cxn ang="0">
                  <a:pos x="132" y="6"/>
                </a:cxn>
                <a:cxn ang="0">
                  <a:pos x="155" y="16"/>
                </a:cxn>
                <a:cxn ang="0">
                  <a:pos x="155" y="19"/>
                </a:cxn>
                <a:cxn ang="0">
                  <a:pos x="157" y="22"/>
                </a:cxn>
                <a:cxn ang="0">
                  <a:pos x="162" y="28"/>
                </a:cxn>
                <a:cxn ang="0">
                  <a:pos x="165" y="35"/>
                </a:cxn>
                <a:cxn ang="0">
                  <a:pos x="164" y="40"/>
                </a:cxn>
                <a:cxn ang="0">
                  <a:pos x="162" y="45"/>
                </a:cxn>
                <a:cxn ang="0">
                  <a:pos x="161" y="61"/>
                </a:cxn>
                <a:cxn ang="0">
                  <a:pos x="162" y="64"/>
                </a:cxn>
                <a:cxn ang="0">
                  <a:pos x="157" y="66"/>
                </a:cxn>
                <a:cxn ang="0">
                  <a:pos x="152" y="79"/>
                </a:cxn>
                <a:cxn ang="0">
                  <a:pos x="155" y="83"/>
                </a:cxn>
                <a:cxn ang="0">
                  <a:pos x="158" y="85"/>
                </a:cxn>
                <a:cxn ang="0">
                  <a:pos x="116" y="108"/>
                </a:cxn>
                <a:cxn ang="0">
                  <a:pos x="114" y="109"/>
                </a:cxn>
                <a:cxn ang="0">
                  <a:pos x="110" y="108"/>
                </a:cxn>
                <a:cxn ang="0">
                  <a:pos x="101" y="111"/>
                </a:cxn>
                <a:cxn ang="0">
                  <a:pos x="94" y="114"/>
                </a:cxn>
                <a:cxn ang="0">
                  <a:pos x="87" y="122"/>
                </a:cxn>
                <a:cxn ang="0">
                  <a:pos x="84" y="127"/>
                </a:cxn>
                <a:cxn ang="0">
                  <a:pos x="80" y="127"/>
                </a:cxn>
                <a:cxn ang="0">
                  <a:pos x="77" y="131"/>
                </a:cxn>
                <a:cxn ang="0">
                  <a:pos x="74" y="137"/>
                </a:cxn>
                <a:cxn ang="0">
                  <a:pos x="65" y="144"/>
                </a:cxn>
                <a:cxn ang="0">
                  <a:pos x="62" y="143"/>
                </a:cxn>
                <a:cxn ang="0">
                  <a:pos x="55" y="143"/>
                </a:cxn>
                <a:cxn ang="0">
                  <a:pos x="45" y="141"/>
                </a:cxn>
                <a:cxn ang="0">
                  <a:pos x="40" y="137"/>
                </a:cxn>
                <a:cxn ang="0">
                  <a:pos x="30" y="134"/>
                </a:cxn>
                <a:cxn ang="0">
                  <a:pos x="13" y="135"/>
                </a:cxn>
                <a:cxn ang="0">
                  <a:pos x="0" y="122"/>
                </a:cxn>
              </a:cxnLst>
              <a:rect l="0" t="0" r="r" b="b"/>
              <a:pathLst>
                <a:path w="165" h="144">
                  <a:moveTo>
                    <a:pt x="0" y="122"/>
                  </a:moveTo>
                  <a:lnTo>
                    <a:pt x="0" y="70"/>
                  </a:lnTo>
                  <a:lnTo>
                    <a:pt x="30" y="70"/>
                  </a:lnTo>
                  <a:lnTo>
                    <a:pt x="29" y="69"/>
                  </a:lnTo>
                  <a:lnTo>
                    <a:pt x="27" y="69"/>
                  </a:lnTo>
                  <a:lnTo>
                    <a:pt x="27" y="67"/>
                  </a:lnTo>
                  <a:lnTo>
                    <a:pt x="29" y="44"/>
                  </a:lnTo>
                  <a:lnTo>
                    <a:pt x="29" y="42"/>
                  </a:lnTo>
                  <a:lnTo>
                    <a:pt x="29" y="41"/>
                  </a:lnTo>
                  <a:lnTo>
                    <a:pt x="29" y="41"/>
                  </a:lnTo>
                  <a:lnTo>
                    <a:pt x="29" y="40"/>
                  </a:lnTo>
                  <a:lnTo>
                    <a:pt x="29" y="40"/>
                  </a:lnTo>
                  <a:lnTo>
                    <a:pt x="32" y="38"/>
                  </a:lnTo>
                  <a:lnTo>
                    <a:pt x="32" y="38"/>
                  </a:lnTo>
                  <a:lnTo>
                    <a:pt x="35" y="41"/>
                  </a:lnTo>
                  <a:lnTo>
                    <a:pt x="33" y="44"/>
                  </a:lnTo>
                  <a:lnTo>
                    <a:pt x="35" y="45"/>
                  </a:lnTo>
                  <a:lnTo>
                    <a:pt x="35" y="45"/>
                  </a:lnTo>
                  <a:lnTo>
                    <a:pt x="40" y="44"/>
                  </a:lnTo>
                  <a:lnTo>
                    <a:pt x="42" y="44"/>
                  </a:lnTo>
                  <a:lnTo>
                    <a:pt x="45" y="42"/>
                  </a:lnTo>
                  <a:lnTo>
                    <a:pt x="46" y="45"/>
                  </a:lnTo>
                  <a:lnTo>
                    <a:pt x="48" y="47"/>
                  </a:lnTo>
                  <a:lnTo>
                    <a:pt x="48" y="48"/>
                  </a:lnTo>
                  <a:lnTo>
                    <a:pt x="59" y="54"/>
                  </a:lnTo>
                  <a:lnTo>
                    <a:pt x="62" y="54"/>
                  </a:lnTo>
                  <a:lnTo>
                    <a:pt x="71" y="53"/>
                  </a:lnTo>
                  <a:lnTo>
                    <a:pt x="72" y="53"/>
                  </a:lnTo>
                  <a:lnTo>
                    <a:pt x="77" y="57"/>
                  </a:lnTo>
                  <a:lnTo>
                    <a:pt x="84" y="60"/>
                  </a:lnTo>
                  <a:lnTo>
                    <a:pt x="87" y="60"/>
                  </a:lnTo>
                  <a:lnTo>
                    <a:pt x="88" y="61"/>
                  </a:lnTo>
                  <a:lnTo>
                    <a:pt x="90" y="66"/>
                  </a:lnTo>
                  <a:lnTo>
                    <a:pt x="97" y="72"/>
                  </a:lnTo>
                  <a:lnTo>
                    <a:pt x="103" y="73"/>
                  </a:lnTo>
                  <a:lnTo>
                    <a:pt x="103" y="73"/>
                  </a:lnTo>
                  <a:lnTo>
                    <a:pt x="106" y="72"/>
                  </a:lnTo>
                  <a:lnTo>
                    <a:pt x="106" y="72"/>
                  </a:lnTo>
                  <a:lnTo>
                    <a:pt x="107" y="74"/>
                  </a:lnTo>
                  <a:lnTo>
                    <a:pt x="109" y="74"/>
                  </a:lnTo>
                  <a:lnTo>
                    <a:pt x="110" y="74"/>
                  </a:lnTo>
                  <a:lnTo>
                    <a:pt x="110" y="74"/>
                  </a:lnTo>
                  <a:lnTo>
                    <a:pt x="110" y="61"/>
                  </a:lnTo>
                  <a:lnTo>
                    <a:pt x="109" y="58"/>
                  </a:lnTo>
                  <a:lnTo>
                    <a:pt x="107" y="58"/>
                  </a:lnTo>
                  <a:lnTo>
                    <a:pt x="106" y="60"/>
                  </a:lnTo>
                  <a:lnTo>
                    <a:pt x="99" y="60"/>
                  </a:lnTo>
                  <a:lnTo>
                    <a:pt x="97" y="58"/>
                  </a:lnTo>
                  <a:lnTo>
                    <a:pt x="93" y="53"/>
                  </a:lnTo>
                  <a:lnTo>
                    <a:pt x="93" y="50"/>
                  </a:lnTo>
                  <a:lnTo>
                    <a:pt x="99" y="26"/>
                  </a:lnTo>
                  <a:lnTo>
                    <a:pt x="96" y="15"/>
                  </a:lnTo>
                  <a:lnTo>
                    <a:pt x="100" y="6"/>
                  </a:lnTo>
                  <a:lnTo>
                    <a:pt x="101" y="5"/>
                  </a:lnTo>
                  <a:lnTo>
                    <a:pt x="122" y="0"/>
                  </a:lnTo>
                  <a:lnTo>
                    <a:pt x="122" y="3"/>
                  </a:lnTo>
                  <a:lnTo>
                    <a:pt x="122" y="5"/>
                  </a:lnTo>
                  <a:lnTo>
                    <a:pt x="122" y="6"/>
                  </a:lnTo>
                  <a:lnTo>
                    <a:pt x="123" y="8"/>
                  </a:lnTo>
                  <a:lnTo>
                    <a:pt x="125" y="8"/>
                  </a:lnTo>
                  <a:lnTo>
                    <a:pt x="128" y="9"/>
                  </a:lnTo>
                  <a:lnTo>
                    <a:pt x="130" y="6"/>
                  </a:lnTo>
                  <a:lnTo>
                    <a:pt x="132" y="6"/>
                  </a:lnTo>
                  <a:lnTo>
                    <a:pt x="133" y="6"/>
                  </a:lnTo>
                  <a:lnTo>
                    <a:pt x="139" y="12"/>
                  </a:lnTo>
                  <a:lnTo>
                    <a:pt x="155" y="16"/>
                  </a:lnTo>
                  <a:lnTo>
                    <a:pt x="155" y="18"/>
                  </a:lnTo>
                  <a:lnTo>
                    <a:pt x="157" y="19"/>
                  </a:lnTo>
                  <a:lnTo>
                    <a:pt x="155" y="19"/>
                  </a:lnTo>
                  <a:lnTo>
                    <a:pt x="155" y="21"/>
                  </a:lnTo>
                  <a:lnTo>
                    <a:pt x="157" y="21"/>
                  </a:lnTo>
                  <a:lnTo>
                    <a:pt x="157" y="22"/>
                  </a:lnTo>
                  <a:lnTo>
                    <a:pt x="159" y="22"/>
                  </a:lnTo>
                  <a:lnTo>
                    <a:pt x="161" y="25"/>
                  </a:lnTo>
                  <a:lnTo>
                    <a:pt x="162" y="28"/>
                  </a:lnTo>
                  <a:lnTo>
                    <a:pt x="164" y="29"/>
                  </a:lnTo>
                  <a:lnTo>
                    <a:pt x="164" y="35"/>
                  </a:lnTo>
                  <a:lnTo>
                    <a:pt x="165" y="35"/>
                  </a:lnTo>
                  <a:lnTo>
                    <a:pt x="165" y="37"/>
                  </a:lnTo>
                  <a:lnTo>
                    <a:pt x="165" y="38"/>
                  </a:lnTo>
                  <a:lnTo>
                    <a:pt x="164" y="40"/>
                  </a:lnTo>
                  <a:lnTo>
                    <a:pt x="162" y="40"/>
                  </a:lnTo>
                  <a:lnTo>
                    <a:pt x="162" y="40"/>
                  </a:lnTo>
                  <a:lnTo>
                    <a:pt x="162" y="45"/>
                  </a:lnTo>
                  <a:lnTo>
                    <a:pt x="161" y="50"/>
                  </a:lnTo>
                  <a:lnTo>
                    <a:pt x="161" y="60"/>
                  </a:lnTo>
                  <a:lnTo>
                    <a:pt x="161" y="61"/>
                  </a:lnTo>
                  <a:lnTo>
                    <a:pt x="162" y="61"/>
                  </a:lnTo>
                  <a:lnTo>
                    <a:pt x="162" y="63"/>
                  </a:lnTo>
                  <a:lnTo>
                    <a:pt x="162" y="64"/>
                  </a:lnTo>
                  <a:lnTo>
                    <a:pt x="161" y="64"/>
                  </a:lnTo>
                  <a:lnTo>
                    <a:pt x="158" y="66"/>
                  </a:lnTo>
                  <a:lnTo>
                    <a:pt x="157" y="66"/>
                  </a:lnTo>
                  <a:lnTo>
                    <a:pt x="157" y="66"/>
                  </a:lnTo>
                  <a:lnTo>
                    <a:pt x="155" y="77"/>
                  </a:lnTo>
                  <a:lnTo>
                    <a:pt x="152" y="79"/>
                  </a:lnTo>
                  <a:lnTo>
                    <a:pt x="152" y="80"/>
                  </a:lnTo>
                  <a:lnTo>
                    <a:pt x="154" y="83"/>
                  </a:lnTo>
                  <a:lnTo>
                    <a:pt x="155" y="83"/>
                  </a:lnTo>
                  <a:lnTo>
                    <a:pt x="155" y="85"/>
                  </a:lnTo>
                  <a:lnTo>
                    <a:pt x="158" y="85"/>
                  </a:lnTo>
                  <a:lnTo>
                    <a:pt x="158" y="85"/>
                  </a:lnTo>
                  <a:lnTo>
                    <a:pt x="158" y="85"/>
                  </a:lnTo>
                  <a:lnTo>
                    <a:pt x="113" y="101"/>
                  </a:lnTo>
                  <a:lnTo>
                    <a:pt x="116" y="108"/>
                  </a:lnTo>
                  <a:lnTo>
                    <a:pt x="117" y="108"/>
                  </a:lnTo>
                  <a:lnTo>
                    <a:pt x="117" y="109"/>
                  </a:lnTo>
                  <a:lnTo>
                    <a:pt x="114" y="109"/>
                  </a:lnTo>
                  <a:lnTo>
                    <a:pt x="113" y="109"/>
                  </a:lnTo>
                  <a:lnTo>
                    <a:pt x="112" y="109"/>
                  </a:lnTo>
                  <a:lnTo>
                    <a:pt x="110" y="108"/>
                  </a:lnTo>
                  <a:lnTo>
                    <a:pt x="109" y="108"/>
                  </a:lnTo>
                  <a:lnTo>
                    <a:pt x="106" y="109"/>
                  </a:lnTo>
                  <a:lnTo>
                    <a:pt x="101" y="111"/>
                  </a:lnTo>
                  <a:lnTo>
                    <a:pt x="99" y="114"/>
                  </a:lnTo>
                  <a:lnTo>
                    <a:pt x="96" y="114"/>
                  </a:lnTo>
                  <a:lnTo>
                    <a:pt x="94" y="114"/>
                  </a:lnTo>
                  <a:lnTo>
                    <a:pt x="94" y="122"/>
                  </a:lnTo>
                  <a:lnTo>
                    <a:pt x="88" y="122"/>
                  </a:lnTo>
                  <a:lnTo>
                    <a:pt x="87" y="122"/>
                  </a:lnTo>
                  <a:lnTo>
                    <a:pt x="87" y="124"/>
                  </a:lnTo>
                  <a:lnTo>
                    <a:pt x="85" y="124"/>
                  </a:lnTo>
                  <a:lnTo>
                    <a:pt x="84" y="127"/>
                  </a:lnTo>
                  <a:lnTo>
                    <a:pt x="81" y="125"/>
                  </a:lnTo>
                  <a:lnTo>
                    <a:pt x="81" y="127"/>
                  </a:lnTo>
                  <a:lnTo>
                    <a:pt x="80" y="127"/>
                  </a:lnTo>
                  <a:lnTo>
                    <a:pt x="80" y="128"/>
                  </a:lnTo>
                  <a:lnTo>
                    <a:pt x="78" y="128"/>
                  </a:lnTo>
                  <a:lnTo>
                    <a:pt x="77" y="131"/>
                  </a:lnTo>
                  <a:lnTo>
                    <a:pt x="74" y="134"/>
                  </a:lnTo>
                  <a:lnTo>
                    <a:pt x="74" y="135"/>
                  </a:lnTo>
                  <a:lnTo>
                    <a:pt x="74" y="137"/>
                  </a:lnTo>
                  <a:lnTo>
                    <a:pt x="68" y="144"/>
                  </a:lnTo>
                  <a:lnTo>
                    <a:pt x="67" y="143"/>
                  </a:lnTo>
                  <a:lnTo>
                    <a:pt x="65" y="144"/>
                  </a:lnTo>
                  <a:lnTo>
                    <a:pt x="64" y="144"/>
                  </a:lnTo>
                  <a:lnTo>
                    <a:pt x="64" y="143"/>
                  </a:lnTo>
                  <a:lnTo>
                    <a:pt x="62" y="143"/>
                  </a:lnTo>
                  <a:lnTo>
                    <a:pt x="61" y="143"/>
                  </a:lnTo>
                  <a:lnTo>
                    <a:pt x="59" y="143"/>
                  </a:lnTo>
                  <a:lnTo>
                    <a:pt x="55" y="143"/>
                  </a:lnTo>
                  <a:lnTo>
                    <a:pt x="51" y="141"/>
                  </a:lnTo>
                  <a:lnTo>
                    <a:pt x="46" y="141"/>
                  </a:lnTo>
                  <a:lnTo>
                    <a:pt x="45" y="141"/>
                  </a:lnTo>
                  <a:lnTo>
                    <a:pt x="45" y="141"/>
                  </a:lnTo>
                  <a:lnTo>
                    <a:pt x="42" y="140"/>
                  </a:lnTo>
                  <a:lnTo>
                    <a:pt x="40" y="137"/>
                  </a:lnTo>
                  <a:lnTo>
                    <a:pt x="39" y="137"/>
                  </a:lnTo>
                  <a:lnTo>
                    <a:pt x="30" y="135"/>
                  </a:lnTo>
                  <a:lnTo>
                    <a:pt x="30" y="134"/>
                  </a:lnTo>
                  <a:lnTo>
                    <a:pt x="17" y="138"/>
                  </a:lnTo>
                  <a:lnTo>
                    <a:pt x="14" y="137"/>
                  </a:lnTo>
                  <a:lnTo>
                    <a:pt x="13" y="135"/>
                  </a:lnTo>
                  <a:lnTo>
                    <a:pt x="3" y="127"/>
                  </a:lnTo>
                  <a:lnTo>
                    <a:pt x="1" y="124"/>
                  </a:lnTo>
                  <a:lnTo>
                    <a:pt x="0" y="122"/>
                  </a:lnTo>
                  <a:lnTo>
                    <a:pt x="0" y="12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50" name="Freeform 985"/>
            <p:cNvSpPr>
              <a:spLocks/>
            </p:cNvSpPr>
            <p:nvPr/>
          </p:nvSpPr>
          <p:spPr bwMode="auto">
            <a:xfrm>
              <a:off x="5241169" y="2996754"/>
              <a:ext cx="20190" cy="9127"/>
            </a:xfrm>
            <a:custGeom>
              <a:avLst/>
              <a:gdLst/>
              <a:ahLst/>
              <a:cxnLst>
                <a:cxn ang="0">
                  <a:pos x="21" y="2"/>
                </a:cxn>
                <a:cxn ang="0">
                  <a:pos x="22" y="3"/>
                </a:cxn>
                <a:cxn ang="0">
                  <a:pos x="22" y="5"/>
                </a:cxn>
                <a:cxn ang="0">
                  <a:pos x="19" y="7"/>
                </a:cxn>
                <a:cxn ang="0">
                  <a:pos x="3" y="9"/>
                </a:cxn>
                <a:cxn ang="0">
                  <a:pos x="2" y="9"/>
                </a:cxn>
                <a:cxn ang="0">
                  <a:pos x="2" y="6"/>
                </a:cxn>
                <a:cxn ang="0">
                  <a:pos x="0" y="3"/>
                </a:cxn>
                <a:cxn ang="0">
                  <a:pos x="0" y="2"/>
                </a:cxn>
                <a:cxn ang="0">
                  <a:pos x="2" y="0"/>
                </a:cxn>
                <a:cxn ang="0">
                  <a:pos x="19" y="0"/>
                </a:cxn>
                <a:cxn ang="0">
                  <a:pos x="21" y="2"/>
                </a:cxn>
                <a:cxn ang="0">
                  <a:pos x="21" y="2"/>
                </a:cxn>
              </a:cxnLst>
              <a:rect l="0" t="0" r="r" b="b"/>
              <a:pathLst>
                <a:path w="22" h="9">
                  <a:moveTo>
                    <a:pt x="21" y="2"/>
                  </a:moveTo>
                  <a:lnTo>
                    <a:pt x="22" y="3"/>
                  </a:lnTo>
                  <a:lnTo>
                    <a:pt x="22" y="5"/>
                  </a:lnTo>
                  <a:lnTo>
                    <a:pt x="19" y="7"/>
                  </a:lnTo>
                  <a:lnTo>
                    <a:pt x="3" y="9"/>
                  </a:lnTo>
                  <a:lnTo>
                    <a:pt x="2" y="9"/>
                  </a:lnTo>
                  <a:lnTo>
                    <a:pt x="2" y="6"/>
                  </a:lnTo>
                  <a:lnTo>
                    <a:pt x="0" y="3"/>
                  </a:lnTo>
                  <a:lnTo>
                    <a:pt x="0" y="2"/>
                  </a:lnTo>
                  <a:lnTo>
                    <a:pt x="2" y="0"/>
                  </a:lnTo>
                  <a:lnTo>
                    <a:pt x="19" y="0"/>
                  </a:lnTo>
                  <a:lnTo>
                    <a:pt x="21" y="2"/>
                  </a:lnTo>
                  <a:lnTo>
                    <a:pt x="21"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51" name="Freeform 986"/>
            <p:cNvSpPr>
              <a:spLocks/>
            </p:cNvSpPr>
            <p:nvPr/>
          </p:nvSpPr>
          <p:spPr bwMode="auto">
            <a:xfrm>
              <a:off x="5241169" y="2996754"/>
              <a:ext cx="20190" cy="9127"/>
            </a:xfrm>
            <a:custGeom>
              <a:avLst/>
              <a:gdLst/>
              <a:ahLst/>
              <a:cxnLst>
                <a:cxn ang="0">
                  <a:pos x="21" y="2"/>
                </a:cxn>
                <a:cxn ang="0">
                  <a:pos x="22" y="3"/>
                </a:cxn>
                <a:cxn ang="0">
                  <a:pos x="22" y="5"/>
                </a:cxn>
                <a:cxn ang="0">
                  <a:pos x="19" y="7"/>
                </a:cxn>
                <a:cxn ang="0">
                  <a:pos x="3" y="9"/>
                </a:cxn>
                <a:cxn ang="0">
                  <a:pos x="2" y="9"/>
                </a:cxn>
                <a:cxn ang="0">
                  <a:pos x="2" y="6"/>
                </a:cxn>
                <a:cxn ang="0">
                  <a:pos x="0" y="3"/>
                </a:cxn>
                <a:cxn ang="0">
                  <a:pos x="0" y="2"/>
                </a:cxn>
                <a:cxn ang="0">
                  <a:pos x="2" y="0"/>
                </a:cxn>
                <a:cxn ang="0">
                  <a:pos x="19" y="0"/>
                </a:cxn>
                <a:cxn ang="0">
                  <a:pos x="21" y="2"/>
                </a:cxn>
                <a:cxn ang="0">
                  <a:pos x="21" y="2"/>
                </a:cxn>
              </a:cxnLst>
              <a:rect l="0" t="0" r="r" b="b"/>
              <a:pathLst>
                <a:path w="22" h="9">
                  <a:moveTo>
                    <a:pt x="21" y="2"/>
                  </a:moveTo>
                  <a:lnTo>
                    <a:pt x="22" y="3"/>
                  </a:lnTo>
                  <a:lnTo>
                    <a:pt x="22" y="5"/>
                  </a:lnTo>
                  <a:lnTo>
                    <a:pt x="19" y="7"/>
                  </a:lnTo>
                  <a:lnTo>
                    <a:pt x="3" y="9"/>
                  </a:lnTo>
                  <a:lnTo>
                    <a:pt x="2" y="9"/>
                  </a:lnTo>
                  <a:lnTo>
                    <a:pt x="2" y="6"/>
                  </a:lnTo>
                  <a:lnTo>
                    <a:pt x="0" y="3"/>
                  </a:lnTo>
                  <a:lnTo>
                    <a:pt x="0" y="2"/>
                  </a:lnTo>
                  <a:lnTo>
                    <a:pt x="2" y="0"/>
                  </a:lnTo>
                  <a:lnTo>
                    <a:pt x="19" y="0"/>
                  </a:lnTo>
                  <a:lnTo>
                    <a:pt x="21" y="2"/>
                  </a:lnTo>
                  <a:lnTo>
                    <a:pt x="21"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52" name="Rectangle 987"/>
            <p:cNvSpPr>
              <a:spLocks noChangeArrowheads="1"/>
            </p:cNvSpPr>
            <p:nvPr/>
          </p:nvSpPr>
          <p:spPr bwMode="auto">
            <a:xfrm>
              <a:off x="5322804" y="3076869"/>
              <a:ext cx="877" cy="3043"/>
            </a:xfrm>
            <a:prstGeom prst="rect">
              <a:avLst/>
            </a:prstGeom>
            <a:solidFill>
              <a:srgbClr val="FFFFFF">
                <a:alpha val="25882"/>
              </a:srgbClr>
            </a:solidFill>
            <a:ln w="9525">
              <a:noFill/>
              <a:miter lim="800000"/>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53" name="Rectangle 988"/>
            <p:cNvSpPr>
              <a:spLocks noChangeArrowheads="1"/>
            </p:cNvSpPr>
            <p:nvPr/>
          </p:nvSpPr>
          <p:spPr bwMode="auto">
            <a:xfrm>
              <a:off x="5322804" y="3076869"/>
              <a:ext cx="877" cy="3043"/>
            </a:xfrm>
            <a:prstGeom prst="rect">
              <a:avLst/>
            </a:prstGeom>
            <a:solidFill>
              <a:srgbClr val="FFFFFF">
                <a:alpha val="25882"/>
              </a:srgbClr>
            </a:solidFill>
            <a:ln w="1">
              <a:noFill/>
              <a:prstDash val="solid"/>
              <a:miter lim="800000"/>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54" name="Freeform 989"/>
            <p:cNvSpPr>
              <a:spLocks/>
            </p:cNvSpPr>
            <p:nvPr/>
          </p:nvSpPr>
          <p:spPr bwMode="auto">
            <a:xfrm>
              <a:off x="5313149" y="3029206"/>
              <a:ext cx="7022" cy="7098"/>
            </a:xfrm>
            <a:custGeom>
              <a:avLst/>
              <a:gdLst/>
              <a:ahLst/>
              <a:cxnLst>
                <a:cxn ang="0">
                  <a:pos x="4" y="0"/>
                </a:cxn>
                <a:cxn ang="0">
                  <a:pos x="4" y="0"/>
                </a:cxn>
                <a:cxn ang="0">
                  <a:pos x="3" y="1"/>
                </a:cxn>
                <a:cxn ang="0">
                  <a:pos x="0" y="1"/>
                </a:cxn>
                <a:cxn ang="0">
                  <a:pos x="0" y="4"/>
                </a:cxn>
                <a:cxn ang="0">
                  <a:pos x="0" y="7"/>
                </a:cxn>
                <a:cxn ang="0">
                  <a:pos x="1" y="7"/>
                </a:cxn>
                <a:cxn ang="0">
                  <a:pos x="3" y="4"/>
                </a:cxn>
                <a:cxn ang="0">
                  <a:pos x="3" y="4"/>
                </a:cxn>
                <a:cxn ang="0">
                  <a:pos x="6" y="4"/>
                </a:cxn>
                <a:cxn ang="0">
                  <a:pos x="7" y="3"/>
                </a:cxn>
                <a:cxn ang="0">
                  <a:pos x="7" y="1"/>
                </a:cxn>
                <a:cxn ang="0">
                  <a:pos x="6" y="1"/>
                </a:cxn>
                <a:cxn ang="0">
                  <a:pos x="4" y="0"/>
                </a:cxn>
              </a:cxnLst>
              <a:rect l="0" t="0" r="r" b="b"/>
              <a:pathLst>
                <a:path w="7" h="7">
                  <a:moveTo>
                    <a:pt x="4" y="0"/>
                  </a:moveTo>
                  <a:lnTo>
                    <a:pt x="4" y="0"/>
                  </a:lnTo>
                  <a:lnTo>
                    <a:pt x="3" y="1"/>
                  </a:lnTo>
                  <a:lnTo>
                    <a:pt x="0" y="1"/>
                  </a:lnTo>
                  <a:lnTo>
                    <a:pt x="0" y="4"/>
                  </a:lnTo>
                  <a:lnTo>
                    <a:pt x="0" y="7"/>
                  </a:lnTo>
                  <a:lnTo>
                    <a:pt x="1" y="7"/>
                  </a:lnTo>
                  <a:lnTo>
                    <a:pt x="3" y="4"/>
                  </a:lnTo>
                  <a:lnTo>
                    <a:pt x="3" y="4"/>
                  </a:lnTo>
                  <a:lnTo>
                    <a:pt x="6" y="4"/>
                  </a:lnTo>
                  <a:lnTo>
                    <a:pt x="7" y="3"/>
                  </a:lnTo>
                  <a:lnTo>
                    <a:pt x="7" y="1"/>
                  </a:lnTo>
                  <a:lnTo>
                    <a:pt x="6" y="1"/>
                  </a:lnTo>
                  <a:lnTo>
                    <a:pt x="4"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55" name="Freeform 990"/>
            <p:cNvSpPr>
              <a:spLocks/>
            </p:cNvSpPr>
            <p:nvPr/>
          </p:nvSpPr>
          <p:spPr bwMode="auto">
            <a:xfrm>
              <a:off x="5313149" y="3029206"/>
              <a:ext cx="7022" cy="7098"/>
            </a:xfrm>
            <a:custGeom>
              <a:avLst/>
              <a:gdLst/>
              <a:ahLst/>
              <a:cxnLst>
                <a:cxn ang="0">
                  <a:pos x="4" y="0"/>
                </a:cxn>
                <a:cxn ang="0">
                  <a:pos x="4" y="0"/>
                </a:cxn>
                <a:cxn ang="0">
                  <a:pos x="3" y="1"/>
                </a:cxn>
                <a:cxn ang="0">
                  <a:pos x="0" y="1"/>
                </a:cxn>
                <a:cxn ang="0">
                  <a:pos x="0" y="4"/>
                </a:cxn>
                <a:cxn ang="0">
                  <a:pos x="0" y="7"/>
                </a:cxn>
                <a:cxn ang="0">
                  <a:pos x="1" y="7"/>
                </a:cxn>
                <a:cxn ang="0">
                  <a:pos x="3" y="4"/>
                </a:cxn>
                <a:cxn ang="0">
                  <a:pos x="3" y="4"/>
                </a:cxn>
                <a:cxn ang="0">
                  <a:pos x="6" y="4"/>
                </a:cxn>
                <a:cxn ang="0">
                  <a:pos x="7" y="3"/>
                </a:cxn>
                <a:cxn ang="0">
                  <a:pos x="7" y="1"/>
                </a:cxn>
                <a:cxn ang="0">
                  <a:pos x="6" y="1"/>
                </a:cxn>
                <a:cxn ang="0">
                  <a:pos x="4" y="0"/>
                </a:cxn>
              </a:cxnLst>
              <a:rect l="0" t="0" r="r" b="b"/>
              <a:pathLst>
                <a:path w="7" h="7">
                  <a:moveTo>
                    <a:pt x="4" y="0"/>
                  </a:moveTo>
                  <a:lnTo>
                    <a:pt x="4" y="0"/>
                  </a:lnTo>
                  <a:lnTo>
                    <a:pt x="3" y="1"/>
                  </a:lnTo>
                  <a:lnTo>
                    <a:pt x="0" y="1"/>
                  </a:lnTo>
                  <a:lnTo>
                    <a:pt x="0" y="4"/>
                  </a:lnTo>
                  <a:lnTo>
                    <a:pt x="0" y="7"/>
                  </a:lnTo>
                  <a:lnTo>
                    <a:pt x="1" y="7"/>
                  </a:lnTo>
                  <a:lnTo>
                    <a:pt x="3" y="4"/>
                  </a:lnTo>
                  <a:lnTo>
                    <a:pt x="3" y="4"/>
                  </a:lnTo>
                  <a:lnTo>
                    <a:pt x="6" y="4"/>
                  </a:lnTo>
                  <a:lnTo>
                    <a:pt x="7" y="3"/>
                  </a:lnTo>
                  <a:lnTo>
                    <a:pt x="7" y="1"/>
                  </a:lnTo>
                  <a:lnTo>
                    <a:pt x="6" y="1"/>
                  </a:lnTo>
                  <a:lnTo>
                    <a:pt x="4"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56" name="Freeform 991"/>
            <p:cNvSpPr>
              <a:spLocks/>
            </p:cNvSpPr>
            <p:nvPr/>
          </p:nvSpPr>
          <p:spPr bwMode="auto">
            <a:xfrm>
              <a:off x="6000466" y="1753427"/>
              <a:ext cx="14045" cy="16226"/>
            </a:xfrm>
            <a:custGeom>
              <a:avLst/>
              <a:gdLst/>
              <a:ahLst/>
              <a:cxnLst>
                <a:cxn ang="0">
                  <a:pos x="10" y="4"/>
                </a:cxn>
                <a:cxn ang="0">
                  <a:pos x="9" y="7"/>
                </a:cxn>
                <a:cxn ang="0">
                  <a:pos x="1" y="11"/>
                </a:cxn>
                <a:cxn ang="0">
                  <a:pos x="0" y="14"/>
                </a:cxn>
                <a:cxn ang="0">
                  <a:pos x="0" y="16"/>
                </a:cxn>
                <a:cxn ang="0">
                  <a:pos x="3" y="14"/>
                </a:cxn>
                <a:cxn ang="0">
                  <a:pos x="3" y="11"/>
                </a:cxn>
                <a:cxn ang="0">
                  <a:pos x="13" y="8"/>
                </a:cxn>
                <a:cxn ang="0">
                  <a:pos x="16" y="4"/>
                </a:cxn>
                <a:cxn ang="0">
                  <a:pos x="16" y="0"/>
                </a:cxn>
                <a:cxn ang="0">
                  <a:pos x="13" y="1"/>
                </a:cxn>
                <a:cxn ang="0">
                  <a:pos x="10" y="4"/>
                </a:cxn>
              </a:cxnLst>
              <a:rect l="0" t="0" r="r" b="b"/>
              <a:pathLst>
                <a:path w="16" h="16">
                  <a:moveTo>
                    <a:pt x="10" y="4"/>
                  </a:moveTo>
                  <a:lnTo>
                    <a:pt x="9" y="7"/>
                  </a:lnTo>
                  <a:lnTo>
                    <a:pt x="1" y="11"/>
                  </a:lnTo>
                  <a:lnTo>
                    <a:pt x="0" y="14"/>
                  </a:lnTo>
                  <a:lnTo>
                    <a:pt x="0" y="16"/>
                  </a:lnTo>
                  <a:lnTo>
                    <a:pt x="3" y="14"/>
                  </a:lnTo>
                  <a:lnTo>
                    <a:pt x="3" y="11"/>
                  </a:lnTo>
                  <a:lnTo>
                    <a:pt x="13" y="8"/>
                  </a:lnTo>
                  <a:lnTo>
                    <a:pt x="16" y="4"/>
                  </a:lnTo>
                  <a:lnTo>
                    <a:pt x="16" y="0"/>
                  </a:lnTo>
                  <a:lnTo>
                    <a:pt x="13" y="1"/>
                  </a:lnTo>
                  <a:lnTo>
                    <a:pt x="10"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57" name="Freeform 992"/>
            <p:cNvSpPr>
              <a:spLocks/>
            </p:cNvSpPr>
            <p:nvPr/>
          </p:nvSpPr>
          <p:spPr bwMode="auto">
            <a:xfrm>
              <a:off x="6000466" y="1753427"/>
              <a:ext cx="14045" cy="16226"/>
            </a:xfrm>
            <a:custGeom>
              <a:avLst/>
              <a:gdLst/>
              <a:ahLst/>
              <a:cxnLst>
                <a:cxn ang="0">
                  <a:pos x="10" y="4"/>
                </a:cxn>
                <a:cxn ang="0">
                  <a:pos x="9" y="7"/>
                </a:cxn>
                <a:cxn ang="0">
                  <a:pos x="1" y="11"/>
                </a:cxn>
                <a:cxn ang="0">
                  <a:pos x="0" y="14"/>
                </a:cxn>
                <a:cxn ang="0">
                  <a:pos x="0" y="16"/>
                </a:cxn>
                <a:cxn ang="0">
                  <a:pos x="3" y="14"/>
                </a:cxn>
                <a:cxn ang="0">
                  <a:pos x="3" y="11"/>
                </a:cxn>
                <a:cxn ang="0">
                  <a:pos x="13" y="8"/>
                </a:cxn>
                <a:cxn ang="0">
                  <a:pos x="16" y="4"/>
                </a:cxn>
                <a:cxn ang="0">
                  <a:pos x="16" y="0"/>
                </a:cxn>
                <a:cxn ang="0">
                  <a:pos x="13" y="1"/>
                </a:cxn>
                <a:cxn ang="0">
                  <a:pos x="10" y="4"/>
                </a:cxn>
              </a:cxnLst>
              <a:rect l="0" t="0" r="r" b="b"/>
              <a:pathLst>
                <a:path w="16" h="16">
                  <a:moveTo>
                    <a:pt x="10" y="4"/>
                  </a:moveTo>
                  <a:lnTo>
                    <a:pt x="9" y="7"/>
                  </a:lnTo>
                  <a:lnTo>
                    <a:pt x="1" y="11"/>
                  </a:lnTo>
                  <a:lnTo>
                    <a:pt x="0" y="14"/>
                  </a:lnTo>
                  <a:lnTo>
                    <a:pt x="0" y="16"/>
                  </a:lnTo>
                  <a:lnTo>
                    <a:pt x="3" y="14"/>
                  </a:lnTo>
                  <a:lnTo>
                    <a:pt x="3" y="11"/>
                  </a:lnTo>
                  <a:lnTo>
                    <a:pt x="13" y="8"/>
                  </a:lnTo>
                  <a:lnTo>
                    <a:pt x="16" y="4"/>
                  </a:lnTo>
                  <a:lnTo>
                    <a:pt x="16" y="0"/>
                  </a:lnTo>
                  <a:lnTo>
                    <a:pt x="13" y="1"/>
                  </a:lnTo>
                  <a:lnTo>
                    <a:pt x="10"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58" name="Freeform 993"/>
            <p:cNvSpPr>
              <a:spLocks/>
            </p:cNvSpPr>
            <p:nvPr/>
          </p:nvSpPr>
          <p:spPr bwMode="auto">
            <a:xfrm>
              <a:off x="7944795" y="2520112"/>
              <a:ext cx="77246" cy="83159"/>
            </a:xfrm>
            <a:custGeom>
              <a:avLst/>
              <a:gdLst/>
              <a:ahLst/>
              <a:cxnLst>
                <a:cxn ang="0">
                  <a:pos x="78" y="25"/>
                </a:cxn>
                <a:cxn ang="0">
                  <a:pos x="75" y="34"/>
                </a:cxn>
                <a:cxn ang="0">
                  <a:pos x="78" y="38"/>
                </a:cxn>
                <a:cxn ang="0">
                  <a:pos x="81" y="43"/>
                </a:cxn>
                <a:cxn ang="0">
                  <a:pos x="84" y="44"/>
                </a:cxn>
                <a:cxn ang="0">
                  <a:pos x="74" y="50"/>
                </a:cxn>
                <a:cxn ang="0">
                  <a:pos x="69" y="51"/>
                </a:cxn>
                <a:cxn ang="0">
                  <a:pos x="62" y="51"/>
                </a:cxn>
                <a:cxn ang="0">
                  <a:pos x="51" y="63"/>
                </a:cxn>
                <a:cxn ang="0">
                  <a:pos x="49" y="70"/>
                </a:cxn>
                <a:cxn ang="0">
                  <a:pos x="24" y="57"/>
                </a:cxn>
                <a:cxn ang="0">
                  <a:pos x="19" y="61"/>
                </a:cxn>
                <a:cxn ang="0">
                  <a:pos x="13" y="59"/>
                </a:cxn>
                <a:cxn ang="0">
                  <a:pos x="7" y="63"/>
                </a:cxn>
                <a:cxn ang="0">
                  <a:pos x="14" y="69"/>
                </a:cxn>
                <a:cxn ang="0">
                  <a:pos x="19" y="75"/>
                </a:cxn>
                <a:cxn ang="0">
                  <a:pos x="10" y="76"/>
                </a:cxn>
                <a:cxn ang="0">
                  <a:pos x="6" y="80"/>
                </a:cxn>
                <a:cxn ang="0">
                  <a:pos x="3" y="77"/>
                </a:cxn>
                <a:cxn ang="0">
                  <a:pos x="0" y="64"/>
                </a:cxn>
                <a:cxn ang="0">
                  <a:pos x="3" y="56"/>
                </a:cxn>
                <a:cxn ang="0">
                  <a:pos x="8" y="51"/>
                </a:cxn>
                <a:cxn ang="0">
                  <a:pos x="8" y="45"/>
                </a:cxn>
                <a:cxn ang="0">
                  <a:pos x="16" y="45"/>
                </a:cxn>
                <a:cxn ang="0">
                  <a:pos x="23" y="41"/>
                </a:cxn>
                <a:cxn ang="0">
                  <a:pos x="24" y="34"/>
                </a:cxn>
                <a:cxn ang="0">
                  <a:pos x="26" y="6"/>
                </a:cxn>
                <a:cxn ang="0">
                  <a:pos x="29" y="0"/>
                </a:cxn>
                <a:cxn ang="0">
                  <a:pos x="32" y="2"/>
                </a:cxn>
                <a:cxn ang="0">
                  <a:pos x="46" y="19"/>
                </a:cxn>
                <a:cxn ang="0">
                  <a:pos x="62" y="28"/>
                </a:cxn>
                <a:cxn ang="0">
                  <a:pos x="68" y="31"/>
                </a:cxn>
                <a:cxn ang="0">
                  <a:pos x="74" y="28"/>
                </a:cxn>
              </a:cxnLst>
              <a:rect l="0" t="0" r="r" b="b"/>
              <a:pathLst>
                <a:path w="85" h="80">
                  <a:moveTo>
                    <a:pt x="74" y="28"/>
                  </a:moveTo>
                  <a:lnTo>
                    <a:pt x="78" y="25"/>
                  </a:lnTo>
                  <a:lnTo>
                    <a:pt x="78" y="25"/>
                  </a:lnTo>
                  <a:lnTo>
                    <a:pt x="75" y="34"/>
                  </a:lnTo>
                  <a:lnTo>
                    <a:pt x="75" y="37"/>
                  </a:lnTo>
                  <a:lnTo>
                    <a:pt x="78" y="38"/>
                  </a:lnTo>
                  <a:lnTo>
                    <a:pt x="78" y="43"/>
                  </a:lnTo>
                  <a:lnTo>
                    <a:pt x="81" y="43"/>
                  </a:lnTo>
                  <a:lnTo>
                    <a:pt x="85" y="41"/>
                  </a:lnTo>
                  <a:lnTo>
                    <a:pt x="84" y="44"/>
                  </a:lnTo>
                  <a:lnTo>
                    <a:pt x="75" y="50"/>
                  </a:lnTo>
                  <a:lnTo>
                    <a:pt x="74" y="50"/>
                  </a:lnTo>
                  <a:lnTo>
                    <a:pt x="72" y="48"/>
                  </a:lnTo>
                  <a:lnTo>
                    <a:pt x="69" y="51"/>
                  </a:lnTo>
                  <a:lnTo>
                    <a:pt x="65" y="50"/>
                  </a:lnTo>
                  <a:lnTo>
                    <a:pt x="62" y="51"/>
                  </a:lnTo>
                  <a:lnTo>
                    <a:pt x="58" y="53"/>
                  </a:lnTo>
                  <a:lnTo>
                    <a:pt x="51" y="63"/>
                  </a:lnTo>
                  <a:lnTo>
                    <a:pt x="51" y="67"/>
                  </a:lnTo>
                  <a:lnTo>
                    <a:pt x="49" y="70"/>
                  </a:lnTo>
                  <a:lnTo>
                    <a:pt x="29" y="59"/>
                  </a:lnTo>
                  <a:lnTo>
                    <a:pt x="24" y="57"/>
                  </a:lnTo>
                  <a:lnTo>
                    <a:pt x="22" y="60"/>
                  </a:lnTo>
                  <a:lnTo>
                    <a:pt x="19" y="61"/>
                  </a:lnTo>
                  <a:lnTo>
                    <a:pt x="16" y="61"/>
                  </a:lnTo>
                  <a:lnTo>
                    <a:pt x="13" y="59"/>
                  </a:lnTo>
                  <a:lnTo>
                    <a:pt x="10" y="59"/>
                  </a:lnTo>
                  <a:lnTo>
                    <a:pt x="7" y="63"/>
                  </a:lnTo>
                  <a:lnTo>
                    <a:pt x="8" y="66"/>
                  </a:lnTo>
                  <a:lnTo>
                    <a:pt x="14" y="69"/>
                  </a:lnTo>
                  <a:lnTo>
                    <a:pt x="19" y="72"/>
                  </a:lnTo>
                  <a:lnTo>
                    <a:pt x="19" y="75"/>
                  </a:lnTo>
                  <a:lnTo>
                    <a:pt x="13" y="75"/>
                  </a:lnTo>
                  <a:lnTo>
                    <a:pt x="10" y="76"/>
                  </a:lnTo>
                  <a:lnTo>
                    <a:pt x="8" y="77"/>
                  </a:lnTo>
                  <a:lnTo>
                    <a:pt x="6" y="80"/>
                  </a:lnTo>
                  <a:lnTo>
                    <a:pt x="3" y="79"/>
                  </a:lnTo>
                  <a:lnTo>
                    <a:pt x="3" y="77"/>
                  </a:lnTo>
                  <a:lnTo>
                    <a:pt x="4" y="69"/>
                  </a:lnTo>
                  <a:lnTo>
                    <a:pt x="0" y="64"/>
                  </a:lnTo>
                  <a:lnTo>
                    <a:pt x="0" y="59"/>
                  </a:lnTo>
                  <a:lnTo>
                    <a:pt x="3" y="56"/>
                  </a:lnTo>
                  <a:lnTo>
                    <a:pt x="6" y="54"/>
                  </a:lnTo>
                  <a:lnTo>
                    <a:pt x="8" y="51"/>
                  </a:lnTo>
                  <a:lnTo>
                    <a:pt x="10" y="48"/>
                  </a:lnTo>
                  <a:lnTo>
                    <a:pt x="8" y="45"/>
                  </a:lnTo>
                  <a:lnTo>
                    <a:pt x="8" y="44"/>
                  </a:lnTo>
                  <a:lnTo>
                    <a:pt x="16" y="45"/>
                  </a:lnTo>
                  <a:lnTo>
                    <a:pt x="20" y="45"/>
                  </a:lnTo>
                  <a:lnTo>
                    <a:pt x="23" y="41"/>
                  </a:lnTo>
                  <a:lnTo>
                    <a:pt x="22" y="35"/>
                  </a:lnTo>
                  <a:lnTo>
                    <a:pt x="24" y="34"/>
                  </a:lnTo>
                  <a:lnTo>
                    <a:pt x="27" y="15"/>
                  </a:lnTo>
                  <a:lnTo>
                    <a:pt x="26" y="6"/>
                  </a:lnTo>
                  <a:lnTo>
                    <a:pt x="26" y="3"/>
                  </a:lnTo>
                  <a:lnTo>
                    <a:pt x="29" y="0"/>
                  </a:lnTo>
                  <a:lnTo>
                    <a:pt x="30" y="0"/>
                  </a:lnTo>
                  <a:lnTo>
                    <a:pt x="32" y="2"/>
                  </a:lnTo>
                  <a:lnTo>
                    <a:pt x="32" y="3"/>
                  </a:lnTo>
                  <a:lnTo>
                    <a:pt x="46" y="19"/>
                  </a:lnTo>
                  <a:lnTo>
                    <a:pt x="58" y="27"/>
                  </a:lnTo>
                  <a:lnTo>
                    <a:pt x="62" y="28"/>
                  </a:lnTo>
                  <a:lnTo>
                    <a:pt x="65" y="29"/>
                  </a:lnTo>
                  <a:lnTo>
                    <a:pt x="68" y="31"/>
                  </a:lnTo>
                  <a:lnTo>
                    <a:pt x="71" y="31"/>
                  </a:lnTo>
                  <a:lnTo>
                    <a:pt x="74" y="28"/>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59" name="Freeform 995"/>
            <p:cNvSpPr>
              <a:spLocks/>
            </p:cNvSpPr>
            <p:nvPr/>
          </p:nvSpPr>
          <p:spPr bwMode="auto">
            <a:xfrm>
              <a:off x="7959717" y="2525182"/>
              <a:ext cx="2633" cy="3043"/>
            </a:xfrm>
            <a:custGeom>
              <a:avLst/>
              <a:gdLst/>
              <a:ahLst/>
              <a:cxnLst>
                <a:cxn ang="0">
                  <a:pos x="2" y="0"/>
                </a:cxn>
                <a:cxn ang="0">
                  <a:pos x="0" y="1"/>
                </a:cxn>
                <a:cxn ang="0">
                  <a:pos x="2" y="3"/>
                </a:cxn>
                <a:cxn ang="0">
                  <a:pos x="3" y="3"/>
                </a:cxn>
                <a:cxn ang="0">
                  <a:pos x="3" y="0"/>
                </a:cxn>
                <a:cxn ang="0">
                  <a:pos x="2" y="0"/>
                </a:cxn>
              </a:cxnLst>
              <a:rect l="0" t="0" r="r" b="b"/>
              <a:pathLst>
                <a:path w="3" h="3">
                  <a:moveTo>
                    <a:pt x="2" y="0"/>
                  </a:moveTo>
                  <a:lnTo>
                    <a:pt x="0" y="1"/>
                  </a:lnTo>
                  <a:lnTo>
                    <a:pt x="2" y="3"/>
                  </a:lnTo>
                  <a:lnTo>
                    <a:pt x="3" y="3"/>
                  </a:lnTo>
                  <a:lnTo>
                    <a:pt x="3" y="0"/>
                  </a:lnTo>
                  <a:lnTo>
                    <a:pt x="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60" name="Freeform 996"/>
            <p:cNvSpPr>
              <a:spLocks/>
            </p:cNvSpPr>
            <p:nvPr/>
          </p:nvSpPr>
          <p:spPr bwMode="auto">
            <a:xfrm>
              <a:off x="7959717" y="2525182"/>
              <a:ext cx="2633" cy="3043"/>
            </a:xfrm>
            <a:custGeom>
              <a:avLst/>
              <a:gdLst/>
              <a:ahLst/>
              <a:cxnLst>
                <a:cxn ang="0">
                  <a:pos x="2" y="0"/>
                </a:cxn>
                <a:cxn ang="0">
                  <a:pos x="0" y="1"/>
                </a:cxn>
                <a:cxn ang="0">
                  <a:pos x="2" y="3"/>
                </a:cxn>
                <a:cxn ang="0">
                  <a:pos x="3" y="3"/>
                </a:cxn>
                <a:cxn ang="0">
                  <a:pos x="3" y="0"/>
                </a:cxn>
                <a:cxn ang="0">
                  <a:pos x="2" y="0"/>
                </a:cxn>
              </a:cxnLst>
              <a:rect l="0" t="0" r="r" b="b"/>
              <a:pathLst>
                <a:path w="3" h="3">
                  <a:moveTo>
                    <a:pt x="2" y="0"/>
                  </a:moveTo>
                  <a:lnTo>
                    <a:pt x="0" y="1"/>
                  </a:lnTo>
                  <a:lnTo>
                    <a:pt x="2" y="3"/>
                  </a:lnTo>
                  <a:lnTo>
                    <a:pt x="3" y="3"/>
                  </a:lnTo>
                  <a:lnTo>
                    <a:pt x="3" y="0"/>
                  </a:lnTo>
                  <a:lnTo>
                    <a:pt x="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61" name="Freeform 997"/>
            <p:cNvSpPr>
              <a:spLocks/>
            </p:cNvSpPr>
            <p:nvPr/>
          </p:nvSpPr>
          <p:spPr bwMode="auto">
            <a:xfrm>
              <a:off x="7828047" y="2602255"/>
              <a:ext cx="145715" cy="148064"/>
            </a:xfrm>
            <a:custGeom>
              <a:avLst/>
              <a:gdLst/>
              <a:ahLst/>
              <a:cxnLst>
                <a:cxn ang="0">
                  <a:pos x="150" y="3"/>
                </a:cxn>
                <a:cxn ang="0">
                  <a:pos x="154" y="22"/>
                </a:cxn>
                <a:cxn ang="0">
                  <a:pos x="157" y="41"/>
                </a:cxn>
                <a:cxn ang="0">
                  <a:pos x="154" y="46"/>
                </a:cxn>
                <a:cxn ang="0">
                  <a:pos x="149" y="58"/>
                </a:cxn>
                <a:cxn ang="0">
                  <a:pos x="144" y="83"/>
                </a:cxn>
                <a:cxn ang="0">
                  <a:pos x="138" y="100"/>
                </a:cxn>
                <a:cxn ang="0">
                  <a:pos x="140" y="106"/>
                </a:cxn>
                <a:cxn ang="0">
                  <a:pos x="128" y="116"/>
                </a:cxn>
                <a:cxn ang="0">
                  <a:pos x="131" y="106"/>
                </a:cxn>
                <a:cxn ang="0">
                  <a:pos x="125" y="113"/>
                </a:cxn>
                <a:cxn ang="0">
                  <a:pos x="118" y="115"/>
                </a:cxn>
                <a:cxn ang="0">
                  <a:pos x="114" y="123"/>
                </a:cxn>
                <a:cxn ang="0">
                  <a:pos x="111" y="116"/>
                </a:cxn>
                <a:cxn ang="0">
                  <a:pos x="89" y="125"/>
                </a:cxn>
                <a:cxn ang="0">
                  <a:pos x="88" y="120"/>
                </a:cxn>
                <a:cxn ang="0">
                  <a:pos x="85" y="119"/>
                </a:cxn>
                <a:cxn ang="0">
                  <a:pos x="80" y="123"/>
                </a:cxn>
                <a:cxn ang="0">
                  <a:pos x="83" y="129"/>
                </a:cxn>
                <a:cxn ang="0">
                  <a:pos x="77" y="131"/>
                </a:cxn>
                <a:cxn ang="0">
                  <a:pos x="66" y="141"/>
                </a:cxn>
                <a:cxn ang="0">
                  <a:pos x="60" y="134"/>
                </a:cxn>
                <a:cxn ang="0">
                  <a:pos x="64" y="123"/>
                </a:cxn>
                <a:cxn ang="0">
                  <a:pos x="53" y="120"/>
                </a:cxn>
                <a:cxn ang="0">
                  <a:pos x="41" y="125"/>
                </a:cxn>
                <a:cxn ang="0">
                  <a:pos x="21" y="129"/>
                </a:cxn>
                <a:cxn ang="0">
                  <a:pos x="11" y="134"/>
                </a:cxn>
                <a:cxn ang="0">
                  <a:pos x="5" y="135"/>
                </a:cxn>
                <a:cxn ang="0">
                  <a:pos x="6" y="126"/>
                </a:cxn>
                <a:cxn ang="0">
                  <a:pos x="22" y="113"/>
                </a:cxn>
                <a:cxn ang="0">
                  <a:pos x="35" y="109"/>
                </a:cxn>
                <a:cxn ang="0">
                  <a:pos x="67" y="109"/>
                </a:cxn>
                <a:cxn ang="0">
                  <a:pos x="73" y="96"/>
                </a:cxn>
                <a:cxn ang="0">
                  <a:pos x="85" y="75"/>
                </a:cxn>
                <a:cxn ang="0">
                  <a:pos x="90" y="75"/>
                </a:cxn>
                <a:cxn ang="0">
                  <a:pos x="86" y="80"/>
                </a:cxn>
                <a:cxn ang="0">
                  <a:pos x="92" y="86"/>
                </a:cxn>
                <a:cxn ang="0">
                  <a:pos x="109" y="74"/>
                </a:cxn>
                <a:cxn ang="0">
                  <a:pos x="119" y="64"/>
                </a:cxn>
                <a:cxn ang="0">
                  <a:pos x="128" y="30"/>
                </a:cxn>
                <a:cxn ang="0">
                  <a:pos x="130" y="16"/>
                </a:cxn>
                <a:cxn ang="0">
                  <a:pos x="133" y="9"/>
                </a:cxn>
                <a:cxn ang="0">
                  <a:pos x="137" y="7"/>
                </a:cxn>
                <a:cxn ang="0">
                  <a:pos x="141" y="10"/>
                </a:cxn>
                <a:cxn ang="0">
                  <a:pos x="147" y="7"/>
                </a:cxn>
                <a:cxn ang="0">
                  <a:pos x="141" y="6"/>
                </a:cxn>
                <a:cxn ang="0">
                  <a:pos x="143" y="0"/>
                </a:cxn>
              </a:cxnLst>
              <a:rect l="0" t="0" r="r" b="b"/>
              <a:pathLst>
                <a:path w="159" h="142">
                  <a:moveTo>
                    <a:pt x="146" y="1"/>
                  </a:moveTo>
                  <a:lnTo>
                    <a:pt x="150" y="1"/>
                  </a:lnTo>
                  <a:lnTo>
                    <a:pt x="150" y="3"/>
                  </a:lnTo>
                  <a:lnTo>
                    <a:pt x="150" y="13"/>
                  </a:lnTo>
                  <a:lnTo>
                    <a:pt x="151" y="17"/>
                  </a:lnTo>
                  <a:lnTo>
                    <a:pt x="154" y="22"/>
                  </a:lnTo>
                  <a:lnTo>
                    <a:pt x="159" y="36"/>
                  </a:lnTo>
                  <a:lnTo>
                    <a:pt x="159" y="39"/>
                  </a:lnTo>
                  <a:lnTo>
                    <a:pt x="157" y="41"/>
                  </a:lnTo>
                  <a:lnTo>
                    <a:pt x="157" y="43"/>
                  </a:lnTo>
                  <a:lnTo>
                    <a:pt x="156" y="46"/>
                  </a:lnTo>
                  <a:lnTo>
                    <a:pt x="154" y="46"/>
                  </a:lnTo>
                  <a:lnTo>
                    <a:pt x="151" y="54"/>
                  </a:lnTo>
                  <a:lnTo>
                    <a:pt x="151" y="58"/>
                  </a:lnTo>
                  <a:lnTo>
                    <a:pt x="149" y="58"/>
                  </a:lnTo>
                  <a:lnTo>
                    <a:pt x="144" y="59"/>
                  </a:lnTo>
                  <a:lnTo>
                    <a:pt x="143" y="65"/>
                  </a:lnTo>
                  <a:lnTo>
                    <a:pt x="144" y="83"/>
                  </a:lnTo>
                  <a:lnTo>
                    <a:pt x="143" y="84"/>
                  </a:lnTo>
                  <a:lnTo>
                    <a:pt x="140" y="90"/>
                  </a:lnTo>
                  <a:lnTo>
                    <a:pt x="138" y="100"/>
                  </a:lnTo>
                  <a:lnTo>
                    <a:pt x="141" y="103"/>
                  </a:lnTo>
                  <a:lnTo>
                    <a:pt x="141" y="105"/>
                  </a:lnTo>
                  <a:lnTo>
                    <a:pt x="140" y="106"/>
                  </a:lnTo>
                  <a:lnTo>
                    <a:pt x="135" y="113"/>
                  </a:lnTo>
                  <a:lnTo>
                    <a:pt x="128" y="119"/>
                  </a:lnTo>
                  <a:lnTo>
                    <a:pt x="128" y="116"/>
                  </a:lnTo>
                  <a:lnTo>
                    <a:pt x="128" y="110"/>
                  </a:lnTo>
                  <a:lnTo>
                    <a:pt x="131" y="107"/>
                  </a:lnTo>
                  <a:lnTo>
                    <a:pt x="131" y="106"/>
                  </a:lnTo>
                  <a:lnTo>
                    <a:pt x="128" y="106"/>
                  </a:lnTo>
                  <a:lnTo>
                    <a:pt x="125" y="112"/>
                  </a:lnTo>
                  <a:lnTo>
                    <a:pt x="125" y="113"/>
                  </a:lnTo>
                  <a:lnTo>
                    <a:pt x="124" y="112"/>
                  </a:lnTo>
                  <a:lnTo>
                    <a:pt x="119" y="112"/>
                  </a:lnTo>
                  <a:lnTo>
                    <a:pt x="118" y="115"/>
                  </a:lnTo>
                  <a:lnTo>
                    <a:pt x="117" y="120"/>
                  </a:lnTo>
                  <a:lnTo>
                    <a:pt x="115" y="123"/>
                  </a:lnTo>
                  <a:lnTo>
                    <a:pt x="114" y="123"/>
                  </a:lnTo>
                  <a:lnTo>
                    <a:pt x="112" y="119"/>
                  </a:lnTo>
                  <a:lnTo>
                    <a:pt x="114" y="116"/>
                  </a:lnTo>
                  <a:lnTo>
                    <a:pt x="111" y="116"/>
                  </a:lnTo>
                  <a:lnTo>
                    <a:pt x="105" y="125"/>
                  </a:lnTo>
                  <a:lnTo>
                    <a:pt x="92" y="123"/>
                  </a:lnTo>
                  <a:lnTo>
                    <a:pt x="89" y="125"/>
                  </a:lnTo>
                  <a:lnTo>
                    <a:pt x="89" y="123"/>
                  </a:lnTo>
                  <a:lnTo>
                    <a:pt x="90" y="122"/>
                  </a:lnTo>
                  <a:lnTo>
                    <a:pt x="88" y="120"/>
                  </a:lnTo>
                  <a:lnTo>
                    <a:pt x="88" y="120"/>
                  </a:lnTo>
                  <a:lnTo>
                    <a:pt x="86" y="122"/>
                  </a:lnTo>
                  <a:lnTo>
                    <a:pt x="85" y="119"/>
                  </a:lnTo>
                  <a:lnTo>
                    <a:pt x="85" y="116"/>
                  </a:lnTo>
                  <a:lnTo>
                    <a:pt x="83" y="116"/>
                  </a:lnTo>
                  <a:lnTo>
                    <a:pt x="80" y="123"/>
                  </a:lnTo>
                  <a:lnTo>
                    <a:pt x="85" y="126"/>
                  </a:lnTo>
                  <a:lnTo>
                    <a:pt x="85" y="131"/>
                  </a:lnTo>
                  <a:lnTo>
                    <a:pt x="83" y="129"/>
                  </a:lnTo>
                  <a:lnTo>
                    <a:pt x="82" y="131"/>
                  </a:lnTo>
                  <a:lnTo>
                    <a:pt x="80" y="131"/>
                  </a:lnTo>
                  <a:lnTo>
                    <a:pt x="77" y="131"/>
                  </a:lnTo>
                  <a:lnTo>
                    <a:pt x="73" y="141"/>
                  </a:lnTo>
                  <a:lnTo>
                    <a:pt x="69" y="142"/>
                  </a:lnTo>
                  <a:lnTo>
                    <a:pt x="66" y="141"/>
                  </a:lnTo>
                  <a:lnTo>
                    <a:pt x="64" y="139"/>
                  </a:lnTo>
                  <a:lnTo>
                    <a:pt x="61" y="136"/>
                  </a:lnTo>
                  <a:lnTo>
                    <a:pt x="60" y="134"/>
                  </a:lnTo>
                  <a:lnTo>
                    <a:pt x="60" y="129"/>
                  </a:lnTo>
                  <a:lnTo>
                    <a:pt x="64" y="123"/>
                  </a:lnTo>
                  <a:lnTo>
                    <a:pt x="64" y="123"/>
                  </a:lnTo>
                  <a:lnTo>
                    <a:pt x="64" y="122"/>
                  </a:lnTo>
                  <a:lnTo>
                    <a:pt x="60" y="123"/>
                  </a:lnTo>
                  <a:lnTo>
                    <a:pt x="53" y="120"/>
                  </a:lnTo>
                  <a:lnTo>
                    <a:pt x="50" y="122"/>
                  </a:lnTo>
                  <a:lnTo>
                    <a:pt x="43" y="126"/>
                  </a:lnTo>
                  <a:lnTo>
                    <a:pt x="41" y="125"/>
                  </a:lnTo>
                  <a:lnTo>
                    <a:pt x="24" y="131"/>
                  </a:lnTo>
                  <a:lnTo>
                    <a:pt x="22" y="129"/>
                  </a:lnTo>
                  <a:lnTo>
                    <a:pt x="21" y="129"/>
                  </a:lnTo>
                  <a:lnTo>
                    <a:pt x="18" y="135"/>
                  </a:lnTo>
                  <a:lnTo>
                    <a:pt x="16" y="136"/>
                  </a:lnTo>
                  <a:lnTo>
                    <a:pt x="11" y="134"/>
                  </a:lnTo>
                  <a:lnTo>
                    <a:pt x="8" y="135"/>
                  </a:lnTo>
                  <a:lnTo>
                    <a:pt x="6" y="135"/>
                  </a:lnTo>
                  <a:lnTo>
                    <a:pt x="5" y="135"/>
                  </a:lnTo>
                  <a:lnTo>
                    <a:pt x="0" y="134"/>
                  </a:lnTo>
                  <a:lnTo>
                    <a:pt x="0" y="128"/>
                  </a:lnTo>
                  <a:lnTo>
                    <a:pt x="6" y="126"/>
                  </a:lnTo>
                  <a:lnTo>
                    <a:pt x="16" y="119"/>
                  </a:lnTo>
                  <a:lnTo>
                    <a:pt x="19" y="116"/>
                  </a:lnTo>
                  <a:lnTo>
                    <a:pt x="22" y="113"/>
                  </a:lnTo>
                  <a:lnTo>
                    <a:pt x="25" y="110"/>
                  </a:lnTo>
                  <a:lnTo>
                    <a:pt x="31" y="107"/>
                  </a:lnTo>
                  <a:lnTo>
                    <a:pt x="35" y="109"/>
                  </a:lnTo>
                  <a:lnTo>
                    <a:pt x="61" y="105"/>
                  </a:lnTo>
                  <a:lnTo>
                    <a:pt x="61" y="107"/>
                  </a:lnTo>
                  <a:lnTo>
                    <a:pt x="67" y="109"/>
                  </a:lnTo>
                  <a:lnTo>
                    <a:pt x="69" y="107"/>
                  </a:lnTo>
                  <a:lnTo>
                    <a:pt x="73" y="105"/>
                  </a:lnTo>
                  <a:lnTo>
                    <a:pt x="73" y="96"/>
                  </a:lnTo>
                  <a:lnTo>
                    <a:pt x="82" y="89"/>
                  </a:lnTo>
                  <a:lnTo>
                    <a:pt x="83" y="83"/>
                  </a:lnTo>
                  <a:lnTo>
                    <a:pt x="85" y="75"/>
                  </a:lnTo>
                  <a:lnTo>
                    <a:pt x="89" y="73"/>
                  </a:lnTo>
                  <a:lnTo>
                    <a:pt x="90" y="74"/>
                  </a:lnTo>
                  <a:lnTo>
                    <a:pt x="90" y="75"/>
                  </a:lnTo>
                  <a:lnTo>
                    <a:pt x="89" y="77"/>
                  </a:lnTo>
                  <a:lnTo>
                    <a:pt x="86" y="80"/>
                  </a:lnTo>
                  <a:lnTo>
                    <a:pt x="86" y="80"/>
                  </a:lnTo>
                  <a:lnTo>
                    <a:pt x="88" y="83"/>
                  </a:lnTo>
                  <a:lnTo>
                    <a:pt x="88" y="86"/>
                  </a:lnTo>
                  <a:lnTo>
                    <a:pt x="92" y="86"/>
                  </a:lnTo>
                  <a:lnTo>
                    <a:pt x="95" y="83"/>
                  </a:lnTo>
                  <a:lnTo>
                    <a:pt x="102" y="80"/>
                  </a:lnTo>
                  <a:lnTo>
                    <a:pt x="109" y="74"/>
                  </a:lnTo>
                  <a:lnTo>
                    <a:pt x="114" y="67"/>
                  </a:lnTo>
                  <a:lnTo>
                    <a:pt x="118" y="64"/>
                  </a:lnTo>
                  <a:lnTo>
                    <a:pt x="119" y="64"/>
                  </a:lnTo>
                  <a:lnTo>
                    <a:pt x="121" y="61"/>
                  </a:lnTo>
                  <a:lnTo>
                    <a:pt x="131" y="32"/>
                  </a:lnTo>
                  <a:lnTo>
                    <a:pt x="128" y="30"/>
                  </a:lnTo>
                  <a:lnTo>
                    <a:pt x="125" y="29"/>
                  </a:lnTo>
                  <a:lnTo>
                    <a:pt x="130" y="23"/>
                  </a:lnTo>
                  <a:lnTo>
                    <a:pt x="130" y="16"/>
                  </a:lnTo>
                  <a:lnTo>
                    <a:pt x="131" y="13"/>
                  </a:lnTo>
                  <a:lnTo>
                    <a:pt x="133" y="13"/>
                  </a:lnTo>
                  <a:lnTo>
                    <a:pt x="133" y="9"/>
                  </a:lnTo>
                  <a:lnTo>
                    <a:pt x="134" y="6"/>
                  </a:lnTo>
                  <a:lnTo>
                    <a:pt x="135" y="6"/>
                  </a:lnTo>
                  <a:lnTo>
                    <a:pt x="137" y="7"/>
                  </a:lnTo>
                  <a:lnTo>
                    <a:pt x="138" y="10"/>
                  </a:lnTo>
                  <a:lnTo>
                    <a:pt x="140" y="12"/>
                  </a:lnTo>
                  <a:lnTo>
                    <a:pt x="141" y="10"/>
                  </a:lnTo>
                  <a:lnTo>
                    <a:pt x="144" y="10"/>
                  </a:lnTo>
                  <a:lnTo>
                    <a:pt x="146" y="10"/>
                  </a:lnTo>
                  <a:lnTo>
                    <a:pt x="147" y="7"/>
                  </a:lnTo>
                  <a:lnTo>
                    <a:pt x="147" y="4"/>
                  </a:lnTo>
                  <a:lnTo>
                    <a:pt x="146" y="6"/>
                  </a:lnTo>
                  <a:lnTo>
                    <a:pt x="141" y="6"/>
                  </a:lnTo>
                  <a:lnTo>
                    <a:pt x="141" y="3"/>
                  </a:lnTo>
                  <a:lnTo>
                    <a:pt x="141" y="0"/>
                  </a:lnTo>
                  <a:lnTo>
                    <a:pt x="143" y="0"/>
                  </a:lnTo>
                  <a:lnTo>
                    <a:pt x="146"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62" name="Freeform 999"/>
            <p:cNvSpPr>
              <a:spLocks/>
            </p:cNvSpPr>
            <p:nvPr/>
          </p:nvSpPr>
          <p:spPr bwMode="auto">
            <a:xfrm>
              <a:off x="7924605" y="2663103"/>
              <a:ext cx="3511" cy="9128"/>
            </a:xfrm>
            <a:custGeom>
              <a:avLst/>
              <a:gdLst/>
              <a:ahLst/>
              <a:cxnLst>
                <a:cxn ang="0">
                  <a:pos x="3" y="0"/>
                </a:cxn>
                <a:cxn ang="0">
                  <a:pos x="3" y="4"/>
                </a:cxn>
                <a:cxn ang="0">
                  <a:pos x="4" y="4"/>
                </a:cxn>
                <a:cxn ang="0">
                  <a:pos x="1" y="9"/>
                </a:cxn>
                <a:cxn ang="0">
                  <a:pos x="0" y="9"/>
                </a:cxn>
                <a:cxn ang="0">
                  <a:pos x="0" y="6"/>
                </a:cxn>
                <a:cxn ang="0">
                  <a:pos x="1" y="1"/>
                </a:cxn>
                <a:cxn ang="0">
                  <a:pos x="3" y="0"/>
                </a:cxn>
              </a:cxnLst>
              <a:rect l="0" t="0" r="r" b="b"/>
              <a:pathLst>
                <a:path w="4" h="9">
                  <a:moveTo>
                    <a:pt x="3" y="0"/>
                  </a:moveTo>
                  <a:lnTo>
                    <a:pt x="3" y="4"/>
                  </a:lnTo>
                  <a:lnTo>
                    <a:pt x="4" y="4"/>
                  </a:lnTo>
                  <a:lnTo>
                    <a:pt x="1" y="9"/>
                  </a:lnTo>
                  <a:lnTo>
                    <a:pt x="0" y="9"/>
                  </a:lnTo>
                  <a:lnTo>
                    <a:pt x="0" y="6"/>
                  </a:lnTo>
                  <a:lnTo>
                    <a:pt x="1" y="1"/>
                  </a:lnTo>
                  <a:lnTo>
                    <a:pt x="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63" name="Freeform 1000"/>
            <p:cNvSpPr>
              <a:spLocks/>
            </p:cNvSpPr>
            <p:nvPr/>
          </p:nvSpPr>
          <p:spPr bwMode="auto">
            <a:xfrm>
              <a:off x="7924605" y="2663103"/>
              <a:ext cx="3511" cy="9128"/>
            </a:xfrm>
            <a:custGeom>
              <a:avLst/>
              <a:gdLst/>
              <a:ahLst/>
              <a:cxnLst>
                <a:cxn ang="0">
                  <a:pos x="3" y="0"/>
                </a:cxn>
                <a:cxn ang="0">
                  <a:pos x="3" y="4"/>
                </a:cxn>
                <a:cxn ang="0">
                  <a:pos x="4" y="4"/>
                </a:cxn>
                <a:cxn ang="0">
                  <a:pos x="1" y="9"/>
                </a:cxn>
                <a:cxn ang="0">
                  <a:pos x="0" y="9"/>
                </a:cxn>
                <a:cxn ang="0">
                  <a:pos x="0" y="6"/>
                </a:cxn>
                <a:cxn ang="0">
                  <a:pos x="1" y="1"/>
                </a:cxn>
                <a:cxn ang="0">
                  <a:pos x="3" y="0"/>
                </a:cxn>
              </a:cxnLst>
              <a:rect l="0" t="0" r="r" b="b"/>
              <a:pathLst>
                <a:path w="4" h="9">
                  <a:moveTo>
                    <a:pt x="3" y="0"/>
                  </a:moveTo>
                  <a:lnTo>
                    <a:pt x="3" y="4"/>
                  </a:lnTo>
                  <a:lnTo>
                    <a:pt x="4" y="4"/>
                  </a:lnTo>
                  <a:lnTo>
                    <a:pt x="1" y="9"/>
                  </a:lnTo>
                  <a:lnTo>
                    <a:pt x="0" y="9"/>
                  </a:lnTo>
                  <a:lnTo>
                    <a:pt x="0" y="6"/>
                  </a:lnTo>
                  <a:lnTo>
                    <a:pt x="1" y="1"/>
                  </a:lnTo>
                  <a:lnTo>
                    <a:pt x="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64" name="Freeform 1001"/>
            <p:cNvSpPr>
              <a:spLocks/>
            </p:cNvSpPr>
            <p:nvPr/>
          </p:nvSpPr>
          <p:spPr bwMode="auto">
            <a:xfrm>
              <a:off x="7844725" y="2735107"/>
              <a:ext cx="32479" cy="28396"/>
            </a:xfrm>
            <a:custGeom>
              <a:avLst/>
              <a:gdLst/>
              <a:ahLst/>
              <a:cxnLst>
                <a:cxn ang="0">
                  <a:pos x="29" y="19"/>
                </a:cxn>
                <a:cxn ang="0">
                  <a:pos x="22" y="14"/>
                </a:cxn>
                <a:cxn ang="0">
                  <a:pos x="19" y="16"/>
                </a:cxn>
                <a:cxn ang="0">
                  <a:pos x="16" y="17"/>
                </a:cxn>
                <a:cxn ang="0">
                  <a:pos x="11" y="24"/>
                </a:cxn>
                <a:cxn ang="0">
                  <a:pos x="11" y="27"/>
                </a:cxn>
                <a:cxn ang="0">
                  <a:pos x="10" y="27"/>
                </a:cxn>
                <a:cxn ang="0">
                  <a:pos x="6" y="24"/>
                </a:cxn>
                <a:cxn ang="0">
                  <a:pos x="4" y="22"/>
                </a:cxn>
                <a:cxn ang="0">
                  <a:pos x="4" y="20"/>
                </a:cxn>
                <a:cxn ang="0">
                  <a:pos x="4" y="19"/>
                </a:cxn>
                <a:cxn ang="0">
                  <a:pos x="1" y="17"/>
                </a:cxn>
                <a:cxn ang="0">
                  <a:pos x="0" y="17"/>
                </a:cxn>
                <a:cxn ang="0">
                  <a:pos x="9" y="6"/>
                </a:cxn>
                <a:cxn ang="0">
                  <a:pos x="14" y="7"/>
                </a:cxn>
                <a:cxn ang="0">
                  <a:pos x="17" y="7"/>
                </a:cxn>
                <a:cxn ang="0">
                  <a:pos x="20" y="6"/>
                </a:cxn>
                <a:cxn ang="0">
                  <a:pos x="20" y="3"/>
                </a:cxn>
                <a:cxn ang="0">
                  <a:pos x="25" y="0"/>
                </a:cxn>
                <a:cxn ang="0">
                  <a:pos x="26" y="0"/>
                </a:cxn>
                <a:cxn ang="0">
                  <a:pos x="29" y="1"/>
                </a:cxn>
                <a:cxn ang="0">
                  <a:pos x="32" y="3"/>
                </a:cxn>
                <a:cxn ang="0">
                  <a:pos x="33" y="3"/>
                </a:cxn>
                <a:cxn ang="0">
                  <a:pos x="35" y="8"/>
                </a:cxn>
                <a:cxn ang="0">
                  <a:pos x="36" y="8"/>
                </a:cxn>
                <a:cxn ang="0">
                  <a:pos x="35" y="11"/>
                </a:cxn>
                <a:cxn ang="0">
                  <a:pos x="33" y="13"/>
                </a:cxn>
                <a:cxn ang="0">
                  <a:pos x="29" y="19"/>
                </a:cxn>
              </a:cxnLst>
              <a:rect l="0" t="0" r="r" b="b"/>
              <a:pathLst>
                <a:path w="36" h="27">
                  <a:moveTo>
                    <a:pt x="29" y="19"/>
                  </a:moveTo>
                  <a:lnTo>
                    <a:pt x="22" y="14"/>
                  </a:lnTo>
                  <a:lnTo>
                    <a:pt x="19" y="16"/>
                  </a:lnTo>
                  <a:lnTo>
                    <a:pt x="16" y="17"/>
                  </a:lnTo>
                  <a:lnTo>
                    <a:pt x="11" y="24"/>
                  </a:lnTo>
                  <a:lnTo>
                    <a:pt x="11" y="27"/>
                  </a:lnTo>
                  <a:lnTo>
                    <a:pt x="10" y="27"/>
                  </a:lnTo>
                  <a:lnTo>
                    <a:pt x="6" y="24"/>
                  </a:lnTo>
                  <a:lnTo>
                    <a:pt x="4" y="22"/>
                  </a:lnTo>
                  <a:lnTo>
                    <a:pt x="4" y="20"/>
                  </a:lnTo>
                  <a:lnTo>
                    <a:pt x="4" y="19"/>
                  </a:lnTo>
                  <a:lnTo>
                    <a:pt x="1" y="17"/>
                  </a:lnTo>
                  <a:lnTo>
                    <a:pt x="0" y="17"/>
                  </a:lnTo>
                  <a:lnTo>
                    <a:pt x="9" y="6"/>
                  </a:lnTo>
                  <a:lnTo>
                    <a:pt x="14" y="7"/>
                  </a:lnTo>
                  <a:lnTo>
                    <a:pt x="17" y="7"/>
                  </a:lnTo>
                  <a:lnTo>
                    <a:pt x="20" y="6"/>
                  </a:lnTo>
                  <a:lnTo>
                    <a:pt x="20" y="3"/>
                  </a:lnTo>
                  <a:lnTo>
                    <a:pt x="25" y="0"/>
                  </a:lnTo>
                  <a:lnTo>
                    <a:pt x="26" y="0"/>
                  </a:lnTo>
                  <a:lnTo>
                    <a:pt x="29" y="1"/>
                  </a:lnTo>
                  <a:lnTo>
                    <a:pt x="32" y="3"/>
                  </a:lnTo>
                  <a:lnTo>
                    <a:pt x="33" y="3"/>
                  </a:lnTo>
                  <a:lnTo>
                    <a:pt x="35" y="8"/>
                  </a:lnTo>
                  <a:lnTo>
                    <a:pt x="36" y="8"/>
                  </a:lnTo>
                  <a:lnTo>
                    <a:pt x="35" y="11"/>
                  </a:lnTo>
                  <a:lnTo>
                    <a:pt x="33" y="13"/>
                  </a:lnTo>
                  <a:lnTo>
                    <a:pt x="29" y="1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65" name="Freeform 1002"/>
            <p:cNvSpPr>
              <a:spLocks/>
            </p:cNvSpPr>
            <p:nvPr/>
          </p:nvSpPr>
          <p:spPr bwMode="auto">
            <a:xfrm>
              <a:off x="7844725" y="2735107"/>
              <a:ext cx="32479" cy="28396"/>
            </a:xfrm>
            <a:custGeom>
              <a:avLst/>
              <a:gdLst/>
              <a:ahLst/>
              <a:cxnLst>
                <a:cxn ang="0">
                  <a:pos x="29" y="19"/>
                </a:cxn>
                <a:cxn ang="0">
                  <a:pos x="22" y="14"/>
                </a:cxn>
                <a:cxn ang="0">
                  <a:pos x="19" y="16"/>
                </a:cxn>
                <a:cxn ang="0">
                  <a:pos x="16" y="17"/>
                </a:cxn>
                <a:cxn ang="0">
                  <a:pos x="11" y="24"/>
                </a:cxn>
                <a:cxn ang="0">
                  <a:pos x="11" y="27"/>
                </a:cxn>
                <a:cxn ang="0">
                  <a:pos x="10" y="27"/>
                </a:cxn>
                <a:cxn ang="0">
                  <a:pos x="6" y="24"/>
                </a:cxn>
                <a:cxn ang="0">
                  <a:pos x="4" y="22"/>
                </a:cxn>
                <a:cxn ang="0">
                  <a:pos x="4" y="20"/>
                </a:cxn>
                <a:cxn ang="0">
                  <a:pos x="4" y="19"/>
                </a:cxn>
                <a:cxn ang="0">
                  <a:pos x="1" y="17"/>
                </a:cxn>
                <a:cxn ang="0">
                  <a:pos x="0" y="17"/>
                </a:cxn>
                <a:cxn ang="0">
                  <a:pos x="9" y="6"/>
                </a:cxn>
                <a:cxn ang="0">
                  <a:pos x="14" y="7"/>
                </a:cxn>
                <a:cxn ang="0">
                  <a:pos x="17" y="7"/>
                </a:cxn>
                <a:cxn ang="0">
                  <a:pos x="20" y="6"/>
                </a:cxn>
                <a:cxn ang="0">
                  <a:pos x="20" y="3"/>
                </a:cxn>
                <a:cxn ang="0">
                  <a:pos x="25" y="0"/>
                </a:cxn>
                <a:cxn ang="0">
                  <a:pos x="26" y="0"/>
                </a:cxn>
                <a:cxn ang="0">
                  <a:pos x="29" y="1"/>
                </a:cxn>
                <a:cxn ang="0">
                  <a:pos x="32" y="3"/>
                </a:cxn>
                <a:cxn ang="0">
                  <a:pos x="33" y="3"/>
                </a:cxn>
                <a:cxn ang="0">
                  <a:pos x="35" y="8"/>
                </a:cxn>
                <a:cxn ang="0">
                  <a:pos x="36" y="8"/>
                </a:cxn>
                <a:cxn ang="0">
                  <a:pos x="35" y="11"/>
                </a:cxn>
                <a:cxn ang="0">
                  <a:pos x="33" y="13"/>
                </a:cxn>
                <a:cxn ang="0">
                  <a:pos x="29" y="19"/>
                </a:cxn>
              </a:cxnLst>
              <a:rect l="0" t="0" r="r" b="b"/>
              <a:pathLst>
                <a:path w="36" h="27">
                  <a:moveTo>
                    <a:pt x="29" y="19"/>
                  </a:moveTo>
                  <a:lnTo>
                    <a:pt x="22" y="14"/>
                  </a:lnTo>
                  <a:lnTo>
                    <a:pt x="19" y="16"/>
                  </a:lnTo>
                  <a:lnTo>
                    <a:pt x="16" y="17"/>
                  </a:lnTo>
                  <a:lnTo>
                    <a:pt x="11" y="24"/>
                  </a:lnTo>
                  <a:lnTo>
                    <a:pt x="11" y="27"/>
                  </a:lnTo>
                  <a:lnTo>
                    <a:pt x="10" y="27"/>
                  </a:lnTo>
                  <a:lnTo>
                    <a:pt x="6" y="24"/>
                  </a:lnTo>
                  <a:lnTo>
                    <a:pt x="4" y="22"/>
                  </a:lnTo>
                  <a:lnTo>
                    <a:pt x="4" y="20"/>
                  </a:lnTo>
                  <a:lnTo>
                    <a:pt x="4" y="19"/>
                  </a:lnTo>
                  <a:lnTo>
                    <a:pt x="1" y="17"/>
                  </a:lnTo>
                  <a:lnTo>
                    <a:pt x="0" y="17"/>
                  </a:lnTo>
                  <a:lnTo>
                    <a:pt x="9" y="6"/>
                  </a:lnTo>
                  <a:lnTo>
                    <a:pt x="14" y="7"/>
                  </a:lnTo>
                  <a:lnTo>
                    <a:pt x="17" y="7"/>
                  </a:lnTo>
                  <a:lnTo>
                    <a:pt x="20" y="6"/>
                  </a:lnTo>
                  <a:lnTo>
                    <a:pt x="20" y="3"/>
                  </a:lnTo>
                  <a:lnTo>
                    <a:pt x="25" y="0"/>
                  </a:lnTo>
                  <a:lnTo>
                    <a:pt x="26" y="0"/>
                  </a:lnTo>
                  <a:lnTo>
                    <a:pt x="29" y="1"/>
                  </a:lnTo>
                  <a:lnTo>
                    <a:pt x="32" y="3"/>
                  </a:lnTo>
                  <a:lnTo>
                    <a:pt x="33" y="3"/>
                  </a:lnTo>
                  <a:lnTo>
                    <a:pt x="35" y="8"/>
                  </a:lnTo>
                  <a:lnTo>
                    <a:pt x="36" y="8"/>
                  </a:lnTo>
                  <a:lnTo>
                    <a:pt x="35" y="11"/>
                  </a:lnTo>
                  <a:lnTo>
                    <a:pt x="33" y="13"/>
                  </a:lnTo>
                  <a:lnTo>
                    <a:pt x="29" y="19"/>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66" name="Freeform 1003"/>
            <p:cNvSpPr>
              <a:spLocks/>
            </p:cNvSpPr>
            <p:nvPr/>
          </p:nvSpPr>
          <p:spPr bwMode="auto">
            <a:xfrm>
              <a:off x="7877204" y="2730036"/>
              <a:ext cx="3511" cy="8113"/>
            </a:xfrm>
            <a:custGeom>
              <a:avLst/>
              <a:gdLst/>
              <a:ahLst/>
              <a:cxnLst>
                <a:cxn ang="0">
                  <a:pos x="4" y="0"/>
                </a:cxn>
                <a:cxn ang="0">
                  <a:pos x="0" y="8"/>
                </a:cxn>
                <a:cxn ang="0">
                  <a:pos x="2" y="8"/>
                </a:cxn>
                <a:cxn ang="0">
                  <a:pos x="3" y="6"/>
                </a:cxn>
                <a:cxn ang="0">
                  <a:pos x="4" y="0"/>
                </a:cxn>
              </a:cxnLst>
              <a:rect l="0" t="0" r="r" b="b"/>
              <a:pathLst>
                <a:path w="4" h="8">
                  <a:moveTo>
                    <a:pt x="4" y="0"/>
                  </a:moveTo>
                  <a:lnTo>
                    <a:pt x="0" y="8"/>
                  </a:lnTo>
                  <a:lnTo>
                    <a:pt x="2" y="8"/>
                  </a:lnTo>
                  <a:lnTo>
                    <a:pt x="3" y="6"/>
                  </a:lnTo>
                  <a:lnTo>
                    <a:pt x="4"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67" name="Freeform 1004"/>
            <p:cNvSpPr>
              <a:spLocks/>
            </p:cNvSpPr>
            <p:nvPr/>
          </p:nvSpPr>
          <p:spPr bwMode="auto">
            <a:xfrm>
              <a:off x="7877204" y="2730036"/>
              <a:ext cx="3511" cy="8113"/>
            </a:xfrm>
            <a:custGeom>
              <a:avLst/>
              <a:gdLst/>
              <a:ahLst/>
              <a:cxnLst>
                <a:cxn ang="0">
                  <a:pos x="4" y="0"/>
                </a:cxn>
                <a:cxn ang="0">
                  <a:pos x="0" y="8"/>
                </a:cxn>
                <a:cxn ang="0">
                  <a:pos x="2" y="8"/>
                </a:cxn>
                <a:cxn ang="0">
                  <a:pos x="3" y="6"/>
                </a:cxn>
                <a:cxn ang="0">
                  <a:pos x="4" y="0"/>
                </a:cxn>
              </a:cxnLst>
              <a:rect l="0" t="0" r="r" b="b"/>
              <a:pathLst>
                <a:path w="4" h="8">
                  <a:moveTo>
                    <a:pt x="4" y="0"/>
                  </a:moveTo>
                  <a:lnTo>
                    <a:pt x="0" y="8"/>
                  </a:lnTo>
                  <a:lnTo>
                    <a:pt x="2" y="8"/>
                  </a:lnTo>
                  <a:lnTo>
                    <a:pt x="3" y="6"/>
                  </a:lnTo>
                  <a:lnTo>
                    <a:pt x="4"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68" name="Freeform 1005"/>
            <p:cNvSpPr>
              <a:spLocks/>
            </p:cNvSpPr>
            <p:nvPr/>
          </p:nvSpPr>
          <p:spPr bwMode="auto">
            <a:xfrm>
              <a:off x="7811369" y="2743220"/>
              <a:ext cx="30723" cy="50707"/>
            </a:xfrm>
            <a:custGeom>
              <a:avLst/>
              <a:gdLst/>
              <a:ahLst/>
              <a:cxnLst>
                <a:cxn ang="0">
                  <a:pos x="17" y="1"/>
                </a:cxn>
                <a:cxn ang="0">
                  <a:pos x="17" y="0"/>
                </a:cxn>
                <a:cxn ang="0">
                  <a:pos x="16" y="0"/>
                </a:cxn>
                <a:cxn ang="0">
                  <a:pos x="14" y="1"/>
                </a:cxn>
                <a:cxn ang="0">
                  <a:pos x="11" y="3"/>
                </a:cxn>
                <a:cxn ang="0">
                  <a:pos x="10" y="6"/>
                </a:cxn>
                <a:cxn ang="0">
                  <a:pos x="8" y="6"/>
                </a:cxn>
                <a:cxn ang="0">
                  <a:pos x="7" y="7"/>
                </a:cxn>
                <a:cxn ang="0">
                  <a:pos x="4" y="9"/>
                </a:cxn>
                <a:cxn ang="0">
                  <a:pos x="4" y="7"/>
                </a:cxn>
                <a:cxn ang="0">
                  <a:pos x="2" y="9"/>
                </a:cxn>
                <a:cxn ang="0">
                  <a:pos x="0" y="13"/>
                </a:cxn>
                <a:cxn ang="0">
                  <a:pos x="4" y="17"/>
                </a:cxn>
                <a:cxn ang="0">
                  <a:pos x="4" y="19"/>
                </a:cxn>
                <a:cxn ang="0">
                  <a:pos x="2" y="16"/>
                </a:cxn>
                <a:cxn ang="0">
                  <a:pos x="1" y="16"/>
                </a:cxn>
                <a:cxn ang="0">
                  <a:pos x="1" y="23"/>
                </a:cxn>
                <a:cxn ang="0">
                  <a:pos x="2" y="22"/>
                </a:cxn>
                <a:cxn ang="0">
                  <a:pos x="5" y="20"/>
                </a:cxn>
                <a:cxn ang="0">
                  <a:pos x="8" y="22"/>
                </a:cxn>
                <a:cxn ang="0">
                  <a:pos x="10" y="20"/>
                </a:cxn>
                <a:cxn ang="0">
                  <a:pos x="8" y="19"/>
                </a:cxn>
                <a:cxn ang="0">
                  <a:pos x="7" y="17"/>
                </a:cxn>
                <a:cxn ang="0">
                  <a:pos x="7" y="15"/>
                </a:cxn>
                <a:cxn ang="0">
                  <a:pos x="8" y="13"/>
                </a:cxn>
                <a:cxn ang="0">
                  <a:pos x="13" y="19"/>
                </a:cxn>
                <a:cxn ang="0">
                  <a:pos x="13" y="22"/>
                </a:cxn>
                <a:cxn ang="0">
                  <a:pos x="13" y="23"/>
                </a:cxn>
                <a:cxn ang="0">
                  <a:pos x="13" y="26"/>
                </a:cxn>
                <a:cxn ang="0">
                  <a:pos x="11" y="29"/>
                </a:cxn>
                <a:cxn ang="0">
                  <a:pos x="10" y="31"/>
                </a:cxn>
                <a:cxn ang="0">
                  <a:pos x="8" y="33"/>
                </a:cxn>
                <a:cxn ang="0">
                  <a:pos x="8" y="41"/>
                </a:cxn>
                <a:cxn ang="0">
                  <a:pos x="8" y="44"/>
                </a:cxn>
                <a:cxn ang="0">
                  <a:pos x="10" y="45"/>
                </a:cxn>
                <a:cxn ang="0">
                  <a:pos x="13" y="47"/>
                </a:cxn>
                <a:cxn ang="0">
                  <a:pos x="14" y="44"/>
                </a:cxn>
                <a:cxn ang="0">
                  <a:pos x="13" y="41"/>
                </a:cxn>
                <a:cxn ang="0">
                  <a:pos x="14" y="38"/>
                </a:cxn>
                <a:cxn ang="0">
                  <a:pos x="16" y="39"/>
                </a:cxn>
                <a:cxn ang="0">
                  <a:pos x="16" y="39"/>
                </a:cxn>
                <a:cxn ang="0">
                  <a:pos x="14" y="42"/>
                </a:cxn>
                <a:cxn ang="0">
                  <a:pos x="16" y="49"/>
                </a:cxn>
                <a:cxn ang="0">
                  <a:pos x="17" y="48"/>
                </a:cxn>
                <a:cxn ang="0">
                  <a:pos x="20" y="47"/>
                </a:cxn>
                <a:cxn ang="0">
                  <a:pos x="20" y="44"/>
                </a:cxn>
                <a:cxn ang="0">
                  <a:pos x="21" y="42"/>
                </a:cxn>
                <a:cxn ang="0">
                  <a:pos x="23" y="42"/>
                </a:cxn>
                <a:cxn ang="0">
                  <a:pos x="33" y="19"/>
                </a:cxn>
                <a:cxn ang="0">
                  <a:pos x="33" y="16"/>
                </a:cxn>
                <a:cxn ang="0">
                  <a:pos x="31" y="13"/>
                </a:cxn>
                <a:cxn ang="0">
                  <a:pos x="27" y="12"/>
                </a:cxn>
                <a:cxn ang="0">
                  <a:pos x="27" y="10"/>
                </a:cxn>
                <a:cxn ang="0">
                  <a:pos x="29" y="7"/>
                </a:cxn>
                <a:cxn ang="0">
                  <a:pos x="29" y="4"/>
                </a:cxn>
                <a:cxn ang="0">
                  <a:pos x="26" y="6"/>
                </a:cxn>
                <a:cxn ang="0">
                  <a:pos x="21" y="6"/>
                </a:cxn>
                <a:cxn ang="0">
                  <a:pos x="18" y="3"/>
                </a:cxn>
                <a:cxn ang="0">
                  <a:pos x="18" y="1"/>
                </a:cxn>
                <a:cxn ang="0">
                  <a:pos x="17" y="1"/>
                </a:cxn>
              </a:cxnLst>
              <a:rect l="0" t="0" r="r" b="b"/>
              <a:pathLst>
                <a:path w="33" h="49">
                  <a:moveTo>
                    <a:pt x="17" y="1"/>
                  </a:moveTo>
                  <a:lnTo>
                    <a:pt x="17" y="0"/>
                  </a:lnTo>
                  <a:lnTo>
                    <a:pt x="16" y="0"/>
                  </a:lnTo>
                  <a:lnTo>
                    <a:pt x="14" y="1"/>
                  </a:lnTo>
                  <a:lnTo>
                    <a:pt x="11" y="3"/>
                  </a:lnTo>
                  <a:lnTo>
                    <a:pt x="10" y="6"/>
                  </a:lnTo>
                  <a:lnTo>
                    <a:pt x="8" y="6"/>
                  </a:lnTo>
                  <a:lnTo>
                    <a:pt x="7" y="7"/>
                  </a:lnTo>
                  <a:lnTo>
                    <a:pt x="4" y="9"/>
                  </a:lnTo>
                  <a:lnTo>
                    <a:pt x="4" y="7"/>
                  </a:lnTo>
                  <a:lnTo>
                    <a:pt x="2" y="9"/>
                  </a:lnTo>
                  <a:lnTo>
                    <a:pt x="0" y="13"/>
                  </a:lnTo>
                  <a:lnTo>
                    <a:pt x="4" y="17"/>
                  </a:lnTo>
                  <a:lnTo>
                    <a:pt x="4" y="19"/>
                  </a:lnTo>
                  <a:lnTo>
                    <a:pt x="2" y="16"/>
                  </a:lnTo>
                  <a:lnTo>
                    <a:pt x="1" y="16"/>
                  </a:lnTo>
                  <a:lnTo>
                    <a:pt x="1" y="23"/>
                  </a:lnTo>
                  <a:lnTo>
                    <a:pt x="2" y="22"/>
                  </a:lnTo>
                  <a:lnTo>
                    <a:pt x="5" y="20"/>
                  </a:lnTo>
                  <a:lnTo>
                    <a:pt x="8" y="22"/>
                  </a:lnTo>
                  <a:lnTo>
                    <a:pt x="10" y="20"/>
                  </a:lnTo>
                  <a:lnTo>
                    <a:pt x="8" y="19"/>
                  </a:lnTo>
                  <a:lnTo>
                    <a:pt x="7" y="17"/>
                  </a:lnTo>
                  <a:lnTo>
                    <a:pt x="7" y="15"/>
                  </a:lnTo>
                  <a:lnTo>
                    <a:pt x="8" y="13"/>
                  </a:lnTo>
                  <a:lnTo>
                    <a:pt x="13" y="19"/>
                  </a:lnTo>
                  <a:lnTo>
                    <a:pt x="13" y="22"/>
                  </a:lnTo>
                  <a:lnTo>
                    <a:pt x="13" y="23"/>
                  </a:lnTo>
                  <a:lnTo>
                    <a:pt x="13" y="26"/>
                  </a:lnTo>
                  <a:lnTo>
                    <a:pt x="11" y="29"/>
                  </a:lnTo>
                  <a:lnTo>
                    <a:pt x="10" y="31"/>
                  </a:lnTo>
                  <a:lnTo>
                    <a:pt x="8" y="33"/>
                  </a:lnTo>
                  <a:lnTo>
                    <a:pt x="8" y="41"/>
                  </a:lnTo>
                  <a:lnTo>
                    <a:pt x="8" y="44"/>
                  </a:lnTo>
                  <a:lnTo>
                    <a:pt x="10" y="45"/>
                  </a:lnTo>
                  <a:lnTo>
                    <a:pt x="13" y="47"/>
                  </a:lnTo>
                  <a:lnTo>
                    <a:pt x="14" y="44"/>
                  </a:lnTo>
                  <a:lnTo>
                    <a:pt x="13" y="41"/>
                  </a:lnTo>
                  <a:lnTo>
                    <a:pt x="14" y="38"/>
                  </a:lnTo>
                  <a:lnTo>
                    <a:pt x="16" y="39"/>
                  </a:lnTo>
                  <a:lnTo>
                    <a:pt x="16" y="39"/>
                  </a:lnTo>
                  <a:lnTo>
                    <a:pt x="14" y="42"/>
                  </a:lnTo>
                  <a:lnTo>
                    <a:pt x="16" y="49"/>
                  </a:lnTo>
                  <a:lnTo>
                    <a:pt x="17" y="48"/>
                  </a:lnTo>
                  <a:lnTo>
                    <a:pt x="20" y="47"/>
                  </a:lnTo>
                  <a:lnTo>
                    <a:pt x="20" y="44"/>
                  </a:lnTo>
                  <a:lnTo>
                    <a:pt x="21" y="42"/>
                  </a:lnTo>
                  <a:lnTo>
                    <a:pt x="23" y="42"/>
                  </a:lnTo>
                  <a:lnTo>
                    <a:pt x="33" y="19"/>
                  </a:lnTo>
                  <a:lnTo>
                    <a:pt x="33" y="16"/>
                  </a:lnTo>
                  <a:lnTo>
                    <a:pt x="31" y="13"/>
                  </a:lnTo>
                  <a:lnTo>
                    <a:pt x="27" y="12"/>
                  </a:lnTo>
                  <a:lnTo>
                    <a:pt x="27" y="10"/>
                  </a:lnTo>
                  <a:lnTo>
                    <a:pt x="29" y="7"/>
                  </a:lnTo>
                  <a:lnTo>
                    <a:pt x="29" y="4"/>
                  </a:lnTo>
                  <a:lnTo>
                    <a:pt x="26" y="6"/>
                  </a:lnTo>
                  <a:lnTo>
                    <a:pt x="21" y="6"/>
                  </a:lnTo>
                  <a:lnTo>
                    <a:pt x="18" y="3"/>
                  </a:lnTo>
                  <a:lnTo>
                    <a:pt x="18" y="1"/>
                  </a:lnTo>
                  <a:lnTo>
                    <a:pt x="17"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69" name="Freeform 1006"/>
            <p:cNvSpPr>
              <a:spLocks/>
            </p:cNvSpPr>
            <p:nvPr/>
          </p:nvSpPr>
          <p:spPr bwMode="auto">
            <a:xfrm>
              <a:off x="7811369" y="2743220"/>
              <a:ext cx="30723" cy="50707"/>
            </a:xfrm>
            <a:custGeom>
              <a:avLst/>
              <a:gdLst/>
              <a:ahLst/>
              <a:cxnLst>
                <a:cxn ang="0">
                  <a:pos x="17" y="1"/>
                </a:cxn>
                <a:cxn ang="0">
                  <a:pos x="17" y="0"/>
                </a:cxn>
                <a:cxn ang="0">
                  <a:pos x="16" y="0"/>
                </a:cxn>
                <a:cxn ang="0">
                  <a:pos x="14" y="1"/>
                </a:cxn>
                <a:cxn ang="0">
                  <a:pos x="11" y="3"/>
                </a:cxn>
                <a:cxn ang="0">
                  <a:pos x="10" y="6"/>
                </a:cxn>
                <a:cxn ang="0">
                  <a:pos x="8" y="6"/>
                </a:cxn>
                <a:cxn ang="0">
                  <a:pos x="7" y="7"/>
                </a:cxn>
                <a:cxn ang="0">
                  <a:pos x="4" y="9"/>
                </a:cxn>
                <a:cxn ang="0">
                  <a:pos x="4" y="7"/>
                </a:cxn>
                <a:cxn ang="0">
                  <a:pos x="2" y="9"/>
                </a:cxn>
                <a:cxn ang="0">
                  <a:pos x="0" y="13"/>
                </a:cxn>
                <a:cxn ang="0">
                  <a:pos x="4" y="17"/>
                </a:cxn>
                <a:cxn ang="0">
                  <a:pos x="4" y="19"/>
                </a:cxn>
                <a:cxn ang="0">
                  <a:pos x="2" y="16"/>
                </a:cxn>
                <a:cxn ang="0">
                  <a:pos x="1" y="16"/>
                </a:cxn>
                <a:cxn ang="0">
                  <a:pos x="1" y="23"/>
                </a:cxn>
                <a:cxn ang="0">
                  <a:pos x="2" y="22"/>
                </a:cxn>
                <a:cxn ang="0">
                  <a:pos x="5" y="20"/>
                </a:cxn>
                <a:cxn ang="0">
                  <a:pos x="8" y="22"/>
                </a:cxn>
                <a:cxn ang="0">
                  <a:pos x="10" y="20"/>
                </a:cxn>
                <a:cxn ang="0">
                  <a:pos x="8" y="19"/>
                </a:cxn>
                <a:cxn ang="0">
                  <a:pos x="7" y="17"/>
                </a:cxn>
                <a:cxn ang="0">
                  <a:pos x="7" y="15"/>
                </a:cxn>
                <a:cxn ang="0">
                  <a:pos x="8" y="13"/>
                </a:cxn>
                <a:cxn ang="0">
                  <a:pos x="13" y="19"/>
                </a:cxn>
                <a:cxn ang="0">
                  <a:pos x="13" y="22"/>
                </a:cxn>
                <a:cxn ang="0">
                  <a:pos x="13" y="23"/>
                </a:cxn>
                <a:cxn ang="0">
                  <a:pos x="13" y="26"/>
                </a:cxn>
                <a:cxn ang="0">
                  <a:pos x="11" y="29"/>
                </a:cxn>
                <a:cxn ang="0">
                  <a:pos x="10" y="31"/>
                </a:cxn>
                <a:cxn ang="0">
                  <a:pos x="8" y="33"/>
                </a:cxn>
                <a:cxn ang="0">
                  <a:pos x="8" y="41"/>
                </a:cxn>
                <a:cxn ang="0">
                  <a:pos x="8" y="44"/>
                </a:cxn>
                <a:cxn ang="0">
                  <a:pos x="10" y="45"/>
                </a:cxn>
                <a:cxn ang="0">
                  <a:pos x="13" y="47"/>
                </a:cxn>
                <a:cxn ang="0">
                  <a:pos x="14" y="44"/>
                </a:cxn>
                <a:cxn ang="0">
                  <a:pos x="13" y="41"/>
                </a:cxn>
                <a:cxn ang="0">
                  <a:pos x="14" y="38"/>
                </a:cxn>
                <a:cxn ang="0">
                  <a:pos x="16" y="39"/>
                </a:cxn>
                <a:cxn ang="0">
                  <a:pos x="16" y="39"/>
                </a:cxn>
                <a:cxn ang="0">
                  <a:pos x="14" y="42"/>
                </a:cxn>
                <a:cxn ang="0">
                  <a:pos x="16" y="49"/>
                </a:cxn>
                <a:cxn ang="0">
                  <a:pos x="17" y="48"/>
                </a:cxn>
                <a:cxn ang="0">
                  <a:pos x="20" y="47"/>
                </a:cxn>
                <a:cxn ang="0">
                  <a:pos x="20" y="44"/>
                </a:cxn>
                <a:cxn ang="0">
                  <a:pos x="21" y="42"/>
                </a:cxn>
                <a:cxn ang="0">
                  <a:pos x="23" y="42"/>
                </a:cxn>
                <a:cxn ang="0">
                  <a:pos x="33" y="19"/>
                </a:cxn>
                <a:cxn ang="0">
                  <a:pos x="33" y="16"/>
                </a:cxn>
                <a:cxn ang="0">
                  <a:pos x="31" y="13"/>
                </a:cxn>
                <a:cxn ang="0">
                  <a:pos x="27" y="12"/>
                </a:cxn>
                <a:cxn ang="0">
                  <a:pos x="27" y="10"/>
                </a:cxn>
                <a:cxn ang="0">
                  <a:pos x="29" y="7"/>
                </a:cxn>
                <a:cxn ang="0">
                  <a:pos x="29" y="4"/>
                </a:cxn>
                <a:cxn ang="0">
                  <a:pos x="26" y="6"/>
                </a:cxn>
                <a:cxn ang="0">
                  <a:pos x="21" y="6"/>
                </a:cxn>
                <a:cxn ang="0">
                  <a:pos x="18" y="3"/>
                </a:cxn>
                <a:cxn ang="0">
                  <a:pos x="18" y="1"/>
                </a:cxn>
                <a:cxn ang="0">
                  <a:pos x="17" y="1"/>
                </a:cxn>
              </a:cxnLst>
              <a:rect l="0" t="0" r="r" b="b"/>
              <a:pathLst>
                <a:path w="33" h="49">
                  <a:moveTo>
                    <a:pt x="17" y="1"/>
                  </a:moveTo>
                  <a:lnTo>
                    <a:pt x="17" y="0"/>
                  </a:lnTo>
                  <a:lnTo>
                    <a:pt x="16" y="0"/>
                  </a:lnTo>
                  <a:lnTo>
                    <a:pt x="14" y="1"/>
                  </a:lnTo>
                  <a:lnTo>
                    <a:pt x="11" y="3"/>
                  </a:lnTo>
                  <a:lnTo>
                    <a:pt x="10" y="6"/>
                  </a:lnTo>
                  <a:lnTo>
                    <a:pt x="8" y="6"/>
                  </a:lnTo>
                  <a:lnTo>
                    <a:pt x="7" y="7"/>
                  </a:lnTo>
                  <a:lnTo>
                    <a:pt x="4" y="9"/>
                  </a:lnTo>
                  <a:lnTo>
                    <a:pt x="4" y="7"/>
                  </a:lnTo>
                  <a:lnTo>
                    <a:pt x="2" y="9"/>
                  </a:lnTo>
                  <a:lnTo>
                    <a:pt x="0" y="13"/>
                  </a:lnTo>
                  <a:lnTo>
                    <a:pt x="4" y="17"/>
                  </a:lnTo>
                  <a:lnTo>
                    <a:pt x="4" y="19"/>
                  </a:lnTo>
                  <a:lnTo>
                    <a:pt x="2" y="16"/>
                  </a:lnTo>
                  <a:lnTo>
                    <a:pt x="1" y="16"/>
                  </a:lnTo>
                  <a:lnTo>
                    <a:pt x="1" y="23"/>
                  </a:lnTo>
                  <a:lnTo>
                    <a:pt x="2" y="22"/>
                  </a:lnTo>
                  <a:lnTo>
                    <a:pt x="5" y="20"/>
                  </a:lnTo>
                  <a:lnTo>
                    <a:pt x="8" y="22"/>
                  </a:lnTo>
                  <a:lnTo>
                    <a:pt x="10" y="20"/>
                  </a:lnTo>
                  <a:lnTo>
                    <a:pt x="8" y="19"/>
                  </a:lnTo>
                  <a:lnTo>
                    <a:pt x="7" y="17"/>
                  </a:lnTo>
                  <a:lnTo>
                    <a:pt x="7" y="15"/>
                  </a:lnTo>
                  <a:lnTo>
                    <a:pt x="8" y="13"/>
                  </a:lnTo>
                  <a:lnTo>
                    <a:pt x="13" y="19"/>
                  </a:lnTo>
                  <a:lnTo>
                    <a:pt x="13" y="22"/>
                  </a:lnTo>
                  <a:lnTo>
                    <a:pt x="13" y="23"/>
                  </a:lnTo>
                  <a:lnTo>
                    <a:pt x="13" y="26"/>
                  </a:lnTo>
                  <a:lnTo>
                    <a:pt x="11" y="29"/>
                  </a:lnTo>
                  <a:lnTo>
                    <a:pt x="10" y="31"/>
                  </a:lnTo>
                  <a:lnTo>
                    <a:pt x="8" y="33"/>
                  </a:lnTo>
                  <a:lnTo>
                    <a:pt x="8" y="41"/>
                  </a:lnTo>
                  <a:lnTo>
                    <a:pt x="8" y="44"/>
                  </a:lnTo>
                  <a:lnTo>
                    <a:pt x="10" y="45"/>
                  </a:lnTo>
                  <a:lnTo>
                    <a:pt x="13" y="47"/>
                  </a:lnTo>
                  <a:lnTo>
                    <a:pt x="14" y="44"/>
                  </a:lnTo>
                  <a:lnTo>
                    <a:pt x="13" y="41"/>
                  </a:lnTo>
                  <a:lnTo>
                    <a:pt x="14" y="38"/>
                  </a:lnTo>
                  <a:lnTo>
                    <a:pt x="16" y="39"/>
                  </a:lnTo>
                  <a:lnTo>
                    <a:pt x="16" y="39"/>
                  </a:lnTo>
                  <a:lnTo>
                    <a:pt x="14" y="42"/>
                  </a:lnTo>
                  <a:lnTo>
                    <a:pt x="16" y="49"/>
                  </a:lnTo>
                  <a:lnTo>
                    <a:pt x="17" y="48"/>
                  </a:lnTo>
                  <a:lnTo>
                    <a:pt x="20" y="47"/>
                  </a:lnTo>
                  <a:lnTo>
                    <a:pt x="20" y="44"/>
                  </a:lnTo>
                  <a:lnTo>
                    <a:pt x="21" y="42"/>
                  </a:lnTo>
                  <a:lnTo>
                    <a:pt x="23" y="42"/>
                  </a:lnTo>
                  <a:lnTo>
                    <a:pt x="33" y="19"/>
                  </a:lnTo>
                  <a:lnTo>
                    <a:pt x="33" y="16"/>
                  </a:lnTo>
                  <a:lnTo>
                    <a:pt x="31" y="13"/>
                  </a:lnTo>
                  <a:lnTo>
                    <a:pt x="27" y="12"/>
                  </a:lnTo>
                  <a:lnTo>
                    <a:pt x="27" y="10"/>
                  </a:lnTo>
                  <a:lnTo>
                    <a:pt x="29" y="7"/>
                  </a:lnTo>
                  <a:lnTo>
                    <a:pt x="29" y="4"/>
                  </a:lnTo>
                  <a:lnTo>
                    <a:pt x="26" y="6"/>
                  </a:lnTo>
                  <a:lnTo>
                    <a:pt x="21" y="6"/>
                  </a:lnTo>
                  <a:lnTo>
                    <a:pt x="18" y="3"/>
                  </a:lnTo>
                  <a:lnTo>
                    <a:pt x="18" y="1"/>
                  </a:lnTo>
                  <a:lnTo>
                    <a:pt x="17"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70" name="Freeform 1007"/>
            <p:cNvSpPr>
              <a:spLocks/>
            </p:cNvSpPr>
            <p:nvPr/>
          </p:nvSpPr>
          <p:spPr bwMode="auto">
            <a:xfrm>
              <a:off x="7815758" y="2768573"/>
              <a:ext cx="1756" cy="6085"/>
            </a:xfrm>
            <a:custGeom>
              <a:avLst/>
              <a:gdLst/>
              <a:ahLst/>
              <a:cxnLst>
                <a:cxn ang="0">
                  <a:pos x="0" y="0"/>
                </a:cxn>
                <a:cxn ang="0">
                  <a:pos x="0" y="1"/>
                </a:cxn>
                <a:cxn ang="0">
                  <a:pos x="0" y="4"/>
                </a:cxn>
                <a:cxn ang="0">
                  <a:pos x="0" y="6"/>
                </a:cxn>
                <a:cxn ang="0">
                  <a:pos x="2" y="0"/>
                </a:cxn>
                <a:cxn ang="0">
                  <a:pos x="0" y="0"/>
                </a:cxn>
              </a:cxnLst>
              <a:rect l="0" t="0" r="r" b="b"/>
              <a:pathLst>
                <a:path w="2" h="6">
                  <a:moveTo>
                    <a:pt x="0" y="0"/>
                  </a:moveTo>
                  <a:lnTo>
                    <a:pt x="0" y="1"/>
                  </a:lnTo>
                  <a:lnTo>
                    <a:pt x="0" y="4"/>
                  </a:lnTo>
                  <a:lnTo>
                    <a:pt x="0" y="6"/>
                  </a:lnTo>
                  <a:lnTo>
                    <a:pt x="2" y="0"/>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71" name="Freeform 1008"/>
            <p:cNvSpPr>
              <a:spLocks/>
            </p:cNvSpPr>
            <p:nvPr/>
          </p:nvSpPr>
          <p:spPr bwMode="auto">
            <a:xfrm>
              <a:off x="7815758" y="2768573"/>
              <a:ext cx="1756" cy="6085"/>
            </a:xfrm>
            <a:custGeom>
              <a:avLst/>
              <a:gdLst/>
              <a:ahLst/>
              <a:cxnLst>
                <a:cxn ang="0">
                  <a:pos x="0" y="0"/>
                </a:cxn>
                <a:cxn ang="0">
                  <a:pos x="0" y="1"/>
                </a:cxn>
                <a:cxn ang="0">
                  <a:pos x="0" y="4"/>
                </a:cxn>
                <a:cxn ang="0">
                  <a:pos x="0" y="6"/>
                </a:cxn>
                <a:cxn ang="0">
                  <a:pos x="2" y="0"/>
                </a:cxn>
                <a:cxn ang="0">
                  <a:pos x="0" y="0"/>
                </a:cxn>
              </a:cxnLst>
              <a:rect l="0" t="0" r="r" b="b"/>
              <a:pathLst>
                <a:path w="2" h="6">
                  <a:moveTo>
                    <a:pt x="0" y="0"/>
                  </a:moveTo>
                  <a:lnTo>
                    <a:pt x="0" y="1"/>
                  </a:lnTo>
                  <a:lnTo>
                    <a:pt x="0" y="4"/>
                  </a:lnTo>
                  <a:lnTo>
                    <a:pt x="0" y="6"/>
                  </a:lnTo>
                  <a:lnTo>
                    <a:pt x="2" y="0"/>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72" name="Freeform 1009"/>
            <p:cNvSpPr>
              <a:spLocks/>
            </p:cNvSpPr>
            <p:nvPr/>
          </p:nvSpPr>
          <p:spPr bwMode="auto">
            <a:xfrm>
              <a:off x="7828047" y="2796969"/>
              <a:ext cx="1756" cy="8113"/>
            </a:xfrm>
            <a:custGeom>
              <a:avLst/>
              <a:gdLst/>
              <a:ahLst/>
              <a:cxnLst>
                <a:cxn ang="0">
                  <a:pos x="2" y="3"/>
                </a:cxn>
                <a:cxn ang="0">
                  <a:pos x="2" y="0"/>
                </a:cxn>
                <a:cxn ang="0">
                  <a:pos x="0" y="6"/>
                </a:cxn>
                <a:cxn ang="0">
                  <a:pos x="0" y="8"/>
                </a:cxn>
                <a:cxn ang="0">
                  <a:pos x="2" y="3"/>
                </a:cxn>
              </a:cxnLst>
              <a:rect l="0" t="0" r="r" b="b"/>
              <a:pathLst>
                <a:path w="2" h="8">
                  <a:moveTo>
                    <a:pt x="2" y="3"/>
                  </a:moveTo>
                  <a:lnTo>
                    <a:pt x="2" y="0"/>
                  </a:lnTo>
                  <a:lnTo>
                    <a:pt x="0" y="6"/>
                  </a:lnTo>
                  <a:lnTo>
                    <a:pt x="0" y="8"/>
                  </a:lnTo>
                  <a:lnTo>
                    <a:pt x="2"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73" name="Freeform 1011"/>
            <p:cNvSpPr>
              <a:spLocks/>
            </p:cNvSpPr>
            <p:nvPr/>
          </p:nvSpPr>
          <p:spPr bwMode="auto">
            <a:xfrm>
              <a:off x="7828047" y="2796969"/>
              <a:ext cx="1756" cy="8113"/>
            </a:xfrm>
            <a:custGeom>
              <a:avLst/>
              <a:gdLst/>
              <a:ahLst/>
              <a:cxnLst>
                <a:cxn ang="0">
                  <a:pos x="2" y="3"/>
                </a:cxn>
                <a:cxn ang="0">
                  <a:pos x="2" y="0"/>
                </a:cxn>
                <a:cxn ang="0">
                  <a:pos x="0" y="6"/>
                </a:cxn>
                <a:cxn ang="0">
                  <a:pos x="0" y="8"/>
                </a:cxn>
                <a:cxn ang="0">
                  <a:pos x="2" y="3"/>
                </a:cxn>
              </a:cxnLst>
              <a:rect l="0" t="0" r="r" b="b"/>
              <a:pathLst>
                <a:path w="2" h="8">
                  <a:moveTo>
                    <a:pt x="2" y="3"/>
                  </a:moveTo>
                  <a:lnTo>
                    <a:pt x="2" y="0"/>
                  </a:lnTo>
                  <a:lnTo>
                    <a:pt x="0" y="6"/>
                  </a:lnTo>
                  <a:lnTo>
                    <a:pt x="0" y="8"/>
                  </a:lnTo>
                  <a:lnTo>
                    <a:pt x="2"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74" name="Freeform 1012"/>
            <p:cNvSpPr>
              <a:spLocks/>
            </p:cNvSpPr>
            <p:nvPr/>
          </p:nvSpPr>
          <p:spPr bwMode="auto">
            <a:xfrm>
              <a:off x="7821903" y="2803054"/>
              <a:ext cx="2634" cy="5071"/>
            </a:xfrm>
            <a:custGeom>
              <a:avLst/>
              <a:gdLst/>
              <a:ahLst/>
              <a:cxnLst>
                <a:cxn ang="0">
                  <a:pos x="0" y="2"/>
                </a:cxn>
                <a:cxn ang="0">
                  <a:pos x="0" y="0"/>
                </a:cxn>
                <a:cxn ang="0">
                  <a:pos x="0" y="2"/>
                </a:cxn>
                <a:cxn ang="0">
                  <a:pos x="0" y="5"/>
                </a:cxn>
                <a:cxn ang="0">
                  <a:pos x="3" y="5"/>
                </a:cxn>
                <a:cxn ang="0">
                  <a:pos x="3" y="2"/>
                </a:cxn>
                <a:cxn ang="0">
                  <a:pos x="0" y="2"/>
                </a:cxn>
              </a:cxnLst>
              <a:rect l="0" t="0" r="r" b="b"/>
              <a:pathLst>
                <a:path w="3" h="5">
                  <a:moveTo>
                    <a:pt x="0" y="2"/>
                  </a:moveTo>
                  <a:lnTo>
                    <a:pt x="0" y="0"/>
                  </a:lnTo>
                  <a:lnTo>
                    <a:pt x="0" y="2"/>
                  </a:lnTo>
                  <a:lnTo>
                    <a:pt x="0" y="5"/>
                  </a:lnTo>
                  <a:lnTo>
                    <a:pt x="3" y="5"/>
                  </a:lnTo>
                  <a:lnTo>
                    <a:pt x="3" y="2"/>
                  </a:lnTo>
                  <a:lnTo>
                    <a:pt x="0"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75" name="Freeform 1013"/>
            <p:cNvSpPr>
              <a:spLocks/>
            </p:cNvSpPr>
            <p:nvPr/>
          </p:nvSpPr>
          <p:spPr bwMode="auto">
            <a:xfrm>
              <a:off x="7821903" y="2803054"/>
              <a:ext cx="2634" cy="5071"/>
            </a:xfrm>
            <a:custGeom>
              <a:avLst/>
              <a:gdLst/>
              <a:ahLst/>
              <a:cxnLst>
                <a:cxn ang="0">
                  <a:pos x="0" y="2"/>
                </a:cxn>
                <a:cxn ang="0">
                  <a:pos x="0" y="0"/>
                </a:cxn>
                <a:cxn ang="0">
                  <a:pos x="0" y="2"/>
                </a:cxn>
                <a:cxn ang="0">
                  <a:pos x="0" y="5"/>
                </a:cxn>
                <a:cxn ang="0">
                  <a:pos x="3" y="5"/>
                </a:cxn>
                <a:cxn ang="0">
                  <a:pos x="3" y="2"/>
                </a:cxn>
                <a:cxn ang="0">
                  <a:pos x="0" y="2"/>
                </a:cxn>
              </a:cxnLst>
              <a:rect l="0" t="0" r="r" b="b"/>
              <a:pathLst>
                <a:path w="3" h="5">
                  <a:moveTo>
                    <a:pt x="0" y="2"/>
                  </a:moveTo>
                  <a:lnTo>
                    <a:pt x="0" y="0"/>
                  </a:lnTo>
                  <a:lnTo>
                    <a:pt x="0" y="2"/>
                  </a:lnTo>
                  <a:lnTo>
                    <a:pt x="0" y="5"/>
                  </a:lnTo>
                  <a:lnTo>
                    <a:pt x="3" y="5"/>
                  </a:lnTo>
                  <a:lnTo>
                    <a:pt x="3" y="2"/>
                  </a:lnTo>
                  <a:lnTo>
                    <a:pt x="0"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76" name="Freeform 1014"/>
            <p:cNvSpPr>
              <a:spLocks/>
            </p:cNvSpPr>
            <p:nvPr/>
          </p:nvSpPr>
          <p:spPr bwMode="auto">
            <a:xfrm>
              <a:off x="7797324" y="2763503"/>
              <a:ext cx="2634" cy="3042"/>
            </a:xfrm>
            <a:custGeom>
              <a:avLst/>
              <a:gdLst/>
              <a:ahLst/>
              <a:cxnLst>
                <a:cxn ang="0">
                  <a:pos x="3" y="0"/>
                </a:cxn>
                <a:cxn ang="0">
                  <a:pos x="0" y="2"/>
                </a:cxn>
                <a:cxn ang="0">
                  <a:pos x="0" y="3"/>
                </a:cxn>
                <a:cxn ang="0">
                  <a:pos x="3" y="3"/>
                </a:cxn>
                <a:cxn ang="0">
                  <a:pos x="3" y="0"/>
                </a:cxn>
              </a:cxnLst>
              <a:rect l="0" t="0" r="r" b="b"/>
              <a:pathLst>
                <a:path w="3" h="3">
                  <a:moveTo>
                    <a:pt x="3" y="0"/>
                  </a:moveTo>
                  <a:lnTo>
                    <a:pt x="0" y="2"/>
                  </a:lnTo>
                  <a:lnTo>
                    <a:pt x="0" y="3"/>
                  </a:lnTo>
                  <a:lnTo>
                    <a:pt x="3" y="3"/>
                  </a:lnTo>
                  <a:lnTo>
                    <a:pt x="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77" name="Freeform 1015"/>
            <p:cNvSpPr>
              <a:spLocks/>
            </p:cNvSpPr>
            <p:nvPr/>
          </p:nvSpPr>
          <p:spPr bwMode="auto">
            <a:xfrm>
              <a:off x="7797324" y="2763503"/>
              <a:ext cx="2634" cy="3042"/>
            </a:xfrm>
            <a:custGeom>
              <a:avLst/>
              <a:gdLst/>
              <a:ahLst/>
              <a:cxnLst>
                <a:cxn ang="0">
                  <a:pos x="3" y="0"/>
                </a:cxn>
                <a:cxn ang="0">
                  <a:pos x="0" y="2"/>
                </a:cxn>
                <a:cxn ang="0">
                  <a:pos x="0" y="3"/>
                </a:cxn>
                <a:cxn ang="0">
                  <a:pos x="3" y="3"/>
                </a:cxn>
                <a:cxn ang="0">
                  <a:pos x="3" y="0"/>
                </a:cxn>
              </a:cxnLst>
              <a:rect l="0" t="0" r="r" b="b"/>
              <a:pathLst>
                <a:path w="3" h="3">
                  <a:moveTo>
                    <a:pt x="3" y="0"/>
                  </a:moveTo>
                  <a:lnTo>
                    <a:pt x="0" y="2"/>
                  </a:lnTo>
                  <a:lnTo>
                    <a:pt x="0" y="3"/>
                  </a:lnTo>
                  <a:lnTo>
                    <a:pt x="3" y="3"/>
                  </a:lnTo>
                  <a:lnTo>
                    <a:pt x="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78" name="Freeform 1016"/>
            <p:cNvSpPr>
              <a:spLocks/>
            </p:cNvSpPr>
            <p:nvPr/>
          </p:nvSpPr>
          <p:spPr bwMode="auto">
            <a:xfrm>
              <a:off x="7803469" y="2758432"/>
              <a:ext cx="877" cy="4057"/>
            </a:xfrm>
            <a:custGeom>
              <a:avLst/>
              <a:gdLst/>
              <a:ahLst/>
              <a:cxnLst>
                <a:cxn ang="0">
                  <a:pos x="1" y="1"/>
                </a:cxn>
                <a:cxn ang="0">
                  <a:pos x="1" y="0"/>
                </a:cxn>
                <a:cxn ang="0">
                  <a:pos x="1" y="0"/>
                </a:cxn>
                <a:cxn ang="0">
                  <a:pos x="0" y="2"/>
                </a:cxn>
                <a:cxn ang="0">
                  <a:pos x="0" y="4"/>
                </a:cxn>
                <a:cxn ang="0">
                  <a:pos x="1" y="2"/>
                </a:cxn>
                <a:cxn ang="0">
                  <a:pos x="1" y="1"/>
                </a:cxn>
              </a:cxnLst>
              <a:rect l="0" t="0" r="r" b="b"/>
              <a:pathLst>
                <a:path w="1" h="4">
                  <a:moveTo>
                    <a:pt x="1" y="1"/>
                  </a:moveTo>
                  <a:lnTo>
                    <a:pt x="1" y="0"/>
                  </a:lnTo>
                  <a:lnTo>
                    <a:pt x="1" y="0"/>
                  </a:lnTo>
                  <a:lnTo>
                    <a:pt x="0" y="2"/>
                  </a:lnTo>
                  <a:lnTo>
                    <a:pt x="0" y="4"/>
                  </a:lnTo>
                  <a:lnTo>
                    <a:pt x="1" y="2"/>
                  </a:lnTo>
                  <a:lnTo>
                    <a:pt x="1"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79" name="Freeform 1017"/>
            <p:cNvSpPr>
              <a:spLocks/>
            </p:cNvSpPr>
            <p:nvPr/>
          </p:nvSpPr>
          <p:spPr bwMode="auto">
            <a:xfrm>
              <a:off x="7803469" y="2758432"/>
              <a:ext cx="877" cy="4057"/>
            </a:xfrm>
            <a:custGeom>
              <a:avLst/>
              <a:gdLst/>
              <a:ahLst/>
              <a:cxnLst>
                <a:cxn ang="0">
                  <a:pos x="1" y="1"/>
                </a:cxn>
                <a:cxn ang="0">
                  <a:pos x="1" y="0"/>
                </a:cxn>
                <a:cxn ang="0">
                  <a:pos x="1" y="0"/>
                </a:cxn>
                <a:cxn ang="0">
                  <a:pos x="0" y="2"/>
                </a:cxn>
                <a:cxn ang="0">
                  <a:pos x="0" y="4"/>
                </a:cxn>
                <a:cxn ang="0">
                  <a:pos x="1" y="2"/>
                </a:cxn>
                <a:cxn ang="0">
                  <a:pos x="1" y="1"/>
                </a:cxn>
              </a:cxnLst>
              <a:rect l="0" t="0" r="r" b="b"/>
              <a:pathLst>
                <a:path w="1" h="4">
                  <a:moveTo>
                    <a:pt x="1" y="1"/>
                  </a:moveTo>
                  <a:lnTo>
                    <a:pt x="1" y="0"/>
                  </a:lnTo>
                  <a:lnTo>
                    <a:pt x="1" y="0"/>
                  </a:lnTo>
                  <a:lnTo>
                    <a:pt x="0" y="2"/>
                  </a:lnTo>
                  <a:lnTo>
                    <a:pt x="0" y="4"/>
                  </a:lnTo>
                  <a:lnTo>
                    <a:pt x="1" y="2"/>
                  </a:lnTo>
                  <a:lnTo>
                    <a:pt x="1"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80" name="Freeform 1018"/>
            <p:cNvSpPr>
              <a:spLocks/>
            </p:cNvSpPr>
            <p:nvPr/>
          </p:nvSpPr>
          <p:spPr bwMode="auto">
            <a:xfrm>
              <a:off x="7811369" y="2744234"/>
              <a:ext cx="878" cy="3043"/>
            </a:xfrm>
            <a:custGeom>
              <a:avLst/>
              <a:gdLst/>
              <a:ahLst/>
              <a:cxnLst>
                <a:cxn ang="0">
                  <a:pos x="1" y="0"/>
                </a:cxn>
                <a:cxn ang="0">
                  <a:pos x="0" y="2"/>
                </a:cxn>
                <a:cxn ang="0">
                  <a:pos x="1" y="3"/>
                </a:cxn>
                <a:cxn ang="0">
                  <a:pos x="1" y="2"/>
                </a:cxn>
                <a:cxn ang="0">
                  <a:pos x="1" y="0"/>
                </a:cxn>
              </a:cxnLst>
              <a:rect l="0" t="0" r="r" b="b"/>
              <a:pathLst>
                <a:path w="1" h="3">
                  <a:moveTo>
                    <a:pt x="1" y="0"/>
                  </a:moveTo>
                  <a:lnTo>
                    <a:pt x="0" y="2"/>
                  </a:lnTo>
                  <a:lnTo>
                    <a:pt x="1" y="3"/>
                  </a:lnTo>
                  <a:lnTo>
                    <a:pt x="1" y="2"/>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81" name="Freeform 1019"/>
            <p:cNvSpPr>
              <a:spLocks/>
            </p:cNvSpPr>
            <p:nvPr/>
          </p:nvSpPr>
          <p:spPr bwMode="auto">
            <a:xfrm>
              <a:off x="7811369" y="2744234"/>
              <a:ext cx="878" cy="3043"/>
            </a:xfrm>
            <a:custGeom>
              <a:avLst/>
              <a:gdLst/>
              <a:ahLst/>
              <a:cxnLst>
                <a:cxn ang="0">
                  <a:pos x="1" y="0"/>
                </a:cxn>
                <a:cxn ang="0">
                  <a:pos x="0" y="2"/>
                </a:cxn>
                <a:cxn ang="0">
                  <a:pos x="1" y="3"/>
                </a:cxn>
                <a:cxn ang="0">
                  <a:pos x="1" y="2"/>
                </a:cxn>
                <a:cxn ang="0">
                  <a:pos x="1" y="0"/>
                </a:cxn>
              </a:cxnLst>
              <a:rect l="0" t="0" r="r" b="b"/>
              <a:pathLst>
                <a:path w="1" h="3">
                  <a:moveTo>
                    <a:pt x="1" y="0"/>
                  </a:moveTo>
                  <a:lnTo>
                    <a:pt x="0" y="2"/>
                  </a:lnTo>
                  <a:lnTo>
                    <a:pt x="1" y="3"/>
                  </a:lnTo>
                  <a:lnTo>
                    <a:pt x="1" y="2"/>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82" name="Freeform 1020"/>
            <p:cNvSpPr>
              <a:spLocks/>
            </p:cNvSpPr>
            <p:nvPr/>
          </p:nvSpPr>
          <p:spPr bwMode="auto">
            <a:xfrm>
              <a:off x="7685844" y="2889256"/>
              <a:ext cx="22823" cy="53749"/>
            </a:xfrm>
            <a:custGeom>
              <a:avLst/>
              <a:gdLst/>
              <a:ahLst/>
              <a:cxnLst>
                <a:cxn ang="0">
                  <a:pos x="19" y="0"/>
                </a:cxn>
                <a:cxn ang="0">
                  <a:pos x="20" y="1"/>
                </a:cxn>
                <a:cxn ang="0">
                  <a:pos x="22" y="1"/>
                </a:cxn>
                <a:cxn ang="0">
                  <a:pos x="23" y="1"/>
                </a:cxn>
                <a:cxn ang="0">
                  <a:pos x="25" y="3"/>
                </a:cxn>
                <a:cxn ang="0">
                  <a:pos x="25" y="4"/>
                </a:cxn>
                <a:cxn ang="0">
                  <a:pos x="23" y="9"/>
                </a:cxn>
                <a:cxn ang="0">
                  <a:pos x="25" y="10"/>
                </a:cxn>
                <a:cxn ang="0">
                  <a:pos x="10" y="51"/>
                </a:cxn>
                <a:cxn ang="0">
                  <a:pos x="9" y="51"/>
                </a:cxn>
                <a:cxn ang="0">
                  <a:pos x="6" y="44"/>
                </a:cxn>
                <a:cxn ang="0">
                  <a:pos x="4" y="42"/>
                </a:cxn>
                <a:cxn ang="0">
                  <a:pos x="2" y="38"/>
                </a:cxn>
                <a:cxn ang="0">
                  <a:pos x="0" y="26"/>
                </a:cxn>
                <a:cxn ang="0">
                  <a:pos x="0" y="23"/>
                </a:cxn>
                <a:cxn ang="0">
                  <a:pos x="12" y="4"/>
                </a:cxn>
                <a:cxn ang="0">
                  <a:pos x="16" y="1"/>
                </a:cxn>
                <a:cxn ang="0">
                  <a:pos x="17" y="0"/>
                </a:cxn>
                <a:cxn ang="0">
                  <a:pos x="19" y="0"/>
                </a:cxn>
              </a:cxnLst>
              <a:rect l="0" t="0" r="r" b="b"/>
              <a:pathLst>
                <a:path w="25" h="51">
                  <a:moveTo>
                    <a:pt x="19" y="0"/>
                  </a:moveTo>
                  <a:lnTo>
                    <a:pt x="20" y="1"/>
                  </a:lnTo>
                  <a:lnTo>
                    <a:pt x="22" y="1"/>
                  </a:lnTo>
                  <a:lnTo>
                    <a:pt x="23" y="1"/>
                  </a:lnTo>
                  <a:lnTo>
                    <a:pt x="25" y="3"/>
                  </a:lnTo>
                  <a:lnTo>
                    <a:pt x="25" y="4"/>
                  </a:lnTo>
                  <a:lnTo>
                    <a:pt x="23" y="9"/>
                  </a:lnTo>
                  <a:lnTo>
                    <a:pt x="25" y="10"/>
                  </a:lnTo>
                  <a:lnTo>
                    <a:pt x="10" y="51"/>
                  </a:lnTo>
                  <a:lnTo>
                    <a:pt x="9" y="51"/>
                  </a:lnTo>
                  <a:lnTo>
                    <a:pt x="6" y="44"/>
                  </a:lnTo>
                  <a:lnTo>
                    <a:pt x="4" y="42"/>
                  </a:lnTo>
                  <a:lnTo>
                    <a:pt x="2" y="38"/>
                  </a:lnTo>
                  <a:lnTo>
                    <a:pt x="0" y="26"/>
                  </a:lnTo>
                  <a:lnTo>
                    <a:pt x="0" y="23"/>
                  </a:lnTo>
                  <a:lnTo>
                    <a:pt x="12" y="4"/>
                  </a:lnTo>
                  <a:lnTo>
                    <a:pt x="16" y="1"/>
                  </a:lnTo>
                  <a:lnTo>
                    <a:pt x="17" y="0"/>
                  </a:lnTo>
                  <a:lnTo>
                    <a:pt x="19"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83" name="Freeform 1021"/>
            <p:cNvSpPr>
              <a:spLocks/>
            </p:cNvSpPr>
            <p:nvPr/>
          </p:nvSpPr>
          <p:spPr bwMode="auto">
            <a:xfrm>
              <a:off x="7685844" y="2889256"/>
              <a:ext cx="22823" cy="53749"/>
            </a:xfrm>
            <a:custGeom>
              <a:avLst/>
              <a:gdLst/>
              <a:ahLst/>
              <a:cxnLst>
                <a:cxn ang="0">
                  <a:pos x="19" y="0"/>
                </a:cxn>
                <a:cxn ang="0">
                  <a:pos x="20" y="1"/>
                </a:cxn>
                <a:cxn ang="0">
                  <a:pos x="22" y="1"/>
                </a:cxn>
                <a:cxn ang="0">
                  <a:pos x="23" y="1"/>
                </a:cxn>
                <a:cxn ang="0">
                  <a:pos x="25" y="3"/>
                </a:cxn>
                <a:cxn ang="0">
                  <a:pos x="25" y="4"/>
                </a:cxn>
                <a:cxn ang="0">
                  <a:pos x="23" y="9"/>
                </a:cxn>
                <a:cxn ang="0">
                  <a:pos x="25" y="10"/>
                </a:cxn>
                <a:cxn ang="0">
                  <a:pos x="10" y="51"/>
                </a:cxn>
                <a:cxn ang="0">
                  <a:pos x="9" y="51"/>
                </a:cxn>
                <a:cxn ang="0">
                  <a:pos x="6" y="44"/>
                </a:cxn>
                <a:cxn ang="0">
                  <a:pos x="4" y="42"/>
                </a:cxn>
                <a:cxn ang="0">
                  <a:pos x="2" y="38"/>
                </a:cxn>
                <a:cxn ang="0">
                  <a:pos x="0" y="26"/>
                </a:cxn>
                <a:cxn ang="0">
                  <a:pos x="0" y="23"/>
                </a:cxn>
                <a:cxn ang="0">
                  <a:pos x="12" y="4"/>
                </a:cxn>
                <a:cxn ang="0">
                  <a:pos x="16" y="1"/>
                </a:cxn>
                <a:cxn ang="0">
                  <a:pos x="17" y="0"/>
                </a:cxn>
                <a:cxn ang="0">
                  <a:pos x="19" y="0"/>
                </a:cxn>
              </a:cxnLst>
              <a:rect l="0" t="0" r="r" b="b"/>
              <a:pathLst>
                <a:path w="25" h="51">
                  <a:moveTo>
                    <a:pt x="19" y="0"/>
                  </a:moveTo>
                  <a:lnTo>
                    <a:pt x="20" y="1"/>
                  </a:lnTo>
                  <a:lnTo>
                    <a:pt x="22" y="1"/>
                  </a:lnTo>
                  <a:lnTo>
                    <a:pt x="23" y="1"/>
                  </a:lnTo>
                  <a:lnTo>
                    <a:pt x="25" y="3"/>
                  </a:lnTo>
                  <a:lnTo>
                    <a:pt x="25" y="4"/>
                  </a:lnTo>
                  <a:lnTo>
                    <a:pt x="23" y="9"/>
                  </a:lnTo>
                  <a:lnTo>
                    <a:pt x="25" y="10"/>
                  </a:lnTo>
                  <a:lnTo>
                    <a:pt x="10" y="51"/>
                  </a:lnTo>
                  <a:lnTo>
                    <a:pt x="9" y="51"/>
                  </a:lnTo>
                  <a:lnTo>
                    <a:pt x="6" y="44"/>
                  </a:lnTo>
                  <a:lnTo>
                    <a:pt x="4" y="42"/>
                  </a:lnTo>
                  <a:lnTo>
                    <a:pt x="2" y="38"/>
                  </a:lnTo>
                  <a:lnTo>
                    <a:pt x="0" y="26"/>
                  </a:lnTo>
                  <a:lnTo>
                    <a:pt x="0" y="23"/>
                  </a:lnTo>
                  <a:lnTo>
                    <a:pt x="12" y="4"/>
                  </a:lnTo>
                  <a:lnTo>
                    <a:pt x="16" y="1"/>
                  </a:lnTo>
                  <a:lnTo>
                    <a:pt x="17" y="0"/>
                  </a:lnTo>
                  <a:lnTo>
                    <a:pt x="19"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84" name="Freeform 1022"/>
            <p:cNvSpPr>
              <a:spLocks/>
            </p:cNvSpPr>
            <p:nvPr/>
          </p:nvSpPr>
          <p:spPr bwMode="auto">
            <a:xfrm>
              <a:off x="7732367" y="2903453"/>
              <a:ext cx="2634" cy="3042"/>
            </a:xfrm>
            <a:custGeom>
              <a:avLst/>
              <a:gdLst/>
              <a:ahLst/>
              <a:cxnLst>
                <a:cxn ang="0">
                  <a:pos x="1" y="0"/>
                </a:cxn>
                <a:cxn ang="0">
                  <a:pos x="1" y="0"/>
                </a:cxn>
                <a:cxn ang="0">
                  <a:pos x="3" y="2"/>
                </a:cxn>
                <a:cxn ang="0">
                  <a:pos x="3" y="2"/>
                </a:cxn>
                <a:cxn ang="0">
                  <a:pos x="3" y="3"/>
                </a:cxn>
                <a:cxn ang="0">
                  <a:pos x="1" y="3"/>
                </a:cxn>
                <a:cxn ang="0">
                  <a:pos x="0" y="2"/>
                </a:cxn>
                <a:cxn ang="0">
                  <a:pos x="1" y="0"/>
                </a:cxn>
              </a:cxnLst>
              <a:rect l="0" t="0" r="r" b="b"/>
              <a:pathLst>
                <a:path w="3" h="3">
                  <a:moveTo>
                    <a:pt x="1" y="0"/>
                  </a:moveTo>
                  <a:lnTo>
                    <a:pt x="1" y="0"/>
                  </a:lnTo>
                  <a:lnTo>
                    <a:pt x="3" y="2"/>
                  </a:lnTo>
                  <a:lnTo>
                    <a:pt x="3" y="2"/>
                  </a:lnTo>
                  <a:lnTo>
                    <a:pt x="3" y="3"/>
                  </a:lnTo>
                  <a:lnTo>
                    <a:pt x="1" y="3"/>
                  </a:lnTo>
                  <a:lnTo>
                    <a:pt x="0" y="2"/>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85" name="Freeform 1023"/>
            <p:cNvSpPr>
              <a:spLocks/>
            </p:cNvSpPr>
            <p:nvPr/>
          </p:nvSpPr>
          <p:spPr bwMode="auto">
            <a:xfrm>
              <a:off x="7732367" y="2903453"/>
              <a:ext cx="2634" cy="3042"/>
            </a:xfrm>
            <a:custGeom>
              <a:avLst/>
              <a:gdLst/>
              <a:ahLst/>
              <a:cxnLst>
                <a:cxn ang="0">
                  <a:pos x="1" y="0"/>
                </a:cxn>
                <a:cxn ang="0">
                  <a:pos x="1" y="0"/>
                </a:cxn>
                <a:cxn ang="0">
                  <a:pos x="3" y="2"/>
                </a:cxn>
                <a:cxn ang="0">
                  <a:pos x="3" y="2"/>
                </a:cxn>
                <a:cxn ang="0">
                  <a:pos x="3" y="3"/>
                </a:cxn>
                <a:cxn ang="0">
                  <a:pos x="1" y="3"/>
                </a:cxn>
                <a:cxn ang="0">
                  <a:pos x="0" y="2"/>
                </a:cxn>
                <a:cxn ang="0">
                  <a:pos x="1" y="0"/>
                </a:cxn>
              </a:cxnLst>
              <a:rect l="0" t="0" r="r" b="b"/>
              <a:pathLst>
                <a:path w="3" h="3">
                  <a:moveTo>
                    <a:pt x="1" y="0"/>
                  </a:moveTo>
                  <a:lnTo>
                    <a:pt x="1" y="0"/>
                  </a:lnTo>
                  <a:lnTo>
                    <a:pt x="3" y="2"/>
                  </a:lnTo>
                  <a:lnTo>
                    <a:pt x="3" y="2"/>
                  </a:lnTo>
                  <a:lnTo>
                    <a:pt x="3" y="3"/>
                  </a:lnTo>
                  <a:lnTo>
                    <a:pt x="1" y="3"/>
                  </a:lnTo>
                  <a:lnTo>
                    <a:pt x="0" y="2"/>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86" name="Freeform 1024"/>
            <p:cNvSpPr>
              <a:spLocks/>
            </p:cNvSpPr>
            <p:nvPr/>
          </p:nvSpPr>
          <p:spPr bwMode="auto">
            <a:xfrm>
              <a:off x="7737633" y="2902439"/>
              <a:ext cx="3511" cy="3043"/>
            </a:xfrm>
            <a:custGeom>
              <a:avLst/>
              <a:gdLst/>
              <a:ahLst/>
              <a:cxnLst>
                <a:cxn ang="0">
                  <a:pos x="0" y="3"/>
                </a:cxn>
                <a:cxn ang="0">
                  <a:pos x="0" y="1"/>
                </a:cxn>
                <a:cxn ang="0">
                  <a:pos x="1" y="1"/>
                </a:cxn>
                <a:cxn ang="0">
                  <a:pos x="3" y="0"/>
                </a:cxn>
                <a:cxn ang="0">
                  <a:pos x="3" y="1"/>
                </a:cxn>
                <a:cxn ang="0">
                  <a:pos x="1" y="3"/>
                </a:cxn>
                <a:cxn ang="0">
                  <a:pos x="1" y="3"/>
                </a:cxn>
                <a:cxn ang="0">
                  <a:pos x="0" y="3"/>
                </a:cxn>
              </a:cxnLst>
              <a:rect l="0" t="0" r="r" b="b"/>
              <a:pathLst>
                <a:path w="3" h="3">
                  <a:moveTo>
                    <a:pt x="0" y="3"/>
                  </a:moveTo>
                  <a:lnTo>
                    <a:pt x="0" y="1"/>
                  </a:lnTo>
                  <a:lnTo>
                    <a:pt x="1" y="1"/>
                  </a:lnTo>
                  <a:lnTo>
                    <a:pt x="3" y="0"/>
                  </a:lnTo>
                  <a:lnTo>
                    <a:pt x="3" y="1"/>
                  </a:lnTo>
                  <a:lnTo>
                    <a:pt x="1" y="3"/>
                  </a:lnTo>
                  <a:lnTo>
                    <a:pt x="1" y="3"/>
                  </a:lnTo>
                  <a:lnTo>
                    <a:pt x="0"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87" name="Freeform 1025"/>
            <p:cNvSpPr>
              <a:spLocks/>
            </p:cNvSpPr>
            <p:nvPr/>
          </p:nvSpPr>
          <p:spPr bwMode="auto">
            <a:xfrm>
              <a:off x="7737633" y="2902439"/>
              <a:ext cx="3511" cy="3043"/>
            </a:xfrm>
            <a:custGeom>
              <a:avLst/>
              <a:gdLst/>
              <a:ahLst/>
              <a:cxnLst>
                <a:cxn ang="0">
                  <a:pos x="0" y="3"/>
                </a:cxn>
                <a:cxn ang="0">
                  <a:pos x="0" y="1"/>
                </a:cxn>
                <a:cxn ang="0">
                  <a:pos x="1" y="1"/>
                </a:cxn>
                <a:cxn ang="0">
                  <a:pos x="3" y="0"/>
                </a:cxn>
                <a:cxn ang="0">
                  <a:pos x="3" y="1"/>
                </a:cxn>
                <a:cxn ang="0">
                  <a:pos x="1" y="3"/>
                </a:cxn>
                <a:cxn ang="0">
                  <a:pos x="1" y="3"/>
                </a:cxn>
                <a:cxn ang="0">
                  <a:pos x="0" y="3"/>
                </a:cxn>
              </a:cxnLst>
              <a:rect l="0" t="0" r="r" b="b"/>
              <a:pathLst>
                <a:path w="3" h="3">
                  <a:moveTo>
                    <a:pt x="0" y="3"/>
                  </a:moveTo>
                  <a:lnTo>
                    <a:pt x="0" y="1"/>
                  </a:lnTo>
                  <a:lnTo>
                    <a:pt x="1" y="1"/>
                  </a:lnTo>
                  <a:lnTo>
                    <a:pt x="3" y="0"/>
                  </a:lnTo>
                  <a:lnTo>
                    <a:pt x="3" y="1"/>
                  </a:lnTo>
                  <a:lnTo>
                    <a:pt x="1" y="3"/>
                  </a:lnTo>
                  <a:lnTo>
                    <a:pt x="1" y="3"/>
                  </a:lnTo>
                  <a:lnTo>
                    <a:pt x="0"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88" name="Freeform 1026"/>
            <p:cNvSpPr>
              <a:spLocks/>
            </p:cNvSpPr>
            <p:nvPr/>
          </p:nvSpPr>
          <p:spPr bwMode="auto">
            <a:xfrm>
              <a:off x="7785034" y="2863902"/>
              <a:ext cx="6145" cy="12170"/>
            </a:xfrm>
            <a:custGeom>
              <a:avLst/>
              <a:gdLst/>
              <a:ahLst/>
              <a:cxnLst>
                <a:cxn ang="0">
                  <a:pos x="1" y="6"/>
                </a:cxn>
                <a:cxn ang="0">
                  <a:pos x="2" y="5"/>
                </a:cxn>
                <a:cxn ang="0">
                  <a:pos x="2" y="3"/>
                </a:cxn>
                <a:cxn ang="0">
                  <a:pos x="4" y="3"/>
                </a:cxn>
                <a:cxn ang="0">
                  <a:pos x="7" y="2"/>
                </a:cxn>
                <a:cxn ang="0">
                  <a:pos x="7" y="0"/>
                </a:cxn>
                <a:cxn ang="0">
                  <a:pos x="7" y="2"/>
                </a:cxn>
                <a:cxn ang="0">
                  <a:pos x="7" y="5"/>
                </a:cxn>
                <a:cxn ang="0">
                  <a:pos x="5" y="6"/>
                </a:cxn>
                <a:cxn ang="0">
                  <a:pos x="2" y="8"/>
                </a:cxn>
                <a:cxn ang="0">
                  <a:pos x="2" y="8"/>
                </a:cxn>
                <a:cxn ang="0">
                  <a:pos x="1" y="9"/>
                </a:cxn>
                <a:cxn ang="0">
                  <a:pos x="1" y="10"/>
                </a:cxn>
                <a:cxn ang="0">
                  <a:pos x="1" y="12"/>
                </a:cxn>
                <a:cxn ang="0">
                  <a:pos x="0" y="9"/>
                </a:cxn>
                <a:cxn ang="0">
                  <a:pos x="1" y="8"/>
                </a:cxn>
                <a:cxn ang="0">
                  <a:pos x="1" y="6"/>
                </a:cxn>
              </a:cxnLst>
              <a:rect l="0" t="0" r="r" b="b"/>
              <a:pathLst>
                <a:path w="7" h="12">
                  <a:moveTo>
                    <a:pt x="1" y="6"/>
                  </a:moveTo>
                  <a:lnTo>
                    <a:pt x="2" y="5"/>
                  </a:lnTo>
                  <a:lnTo>
                    <a:pt x="2" y="3"/>
                  </a:lnTo>
                  <a:lnTo>
                    <a:pt x="4" y="3"/>
                  </a:lnTo>
                  <a:lnTo>
                    <a:pt x="7" y="2"/>
                  </a:lnTo>
                  <a:lnTo>
                    <a:pt x="7" y="0"/>
                  </a:lnTo>
                  <a:lnTo>
                    <a:pt x="7" y="2"/>
                  </a:lnTo>
                  <a:lnTo>
                    <a:pt x="7" y="5"/>
                  </a:lnTo>
                  <a:lnTo>
                    <a:pt x="5" y="6"/>
                  </a:lnTo>
                  <a:lnTo>
                    <a:pt x="2" y="8"/>
                  </a:lnTo>
                  <a:lnTo>
                    <a:pt x="2" y="8"/>
                  </a:lnTo>
                  <a:lnTo>
                    <a:pt x="1" y="9"/>
                  </a:lnTo>
                  <a:lnTo>
                    <a:pt x="1" y="10"/>
                  </a:lnTo>
                  <a:lnTo>
                    <a:pt x="1" y="12"/>
                  </a:lnTo>
                  <a:lnTo>
                    <a:pt x="0" y="9"/>
                  </a:lnTo>
                  <a:lnTo>
                    <a:pt x="1" y="8"/>
                  </a:lnTo>
                  <a:lnTo>
                    <a:pt x="1"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89" name="Freeform 1027"/>
            <p:cNvSpPr>
              <a:spLocks/>
            </p:cNvSpPr>
            <p:nvPr/>
          </p:nvSpPr>
          <p:spPr bwMode="auto">
            <a:xfrm>
              <a:off x="7785034" y="2863902"/>
              <a:ext cx="6145" cy="12170"/>
            </a:xfrm>
            <a:custGeom>
              <a:avLst/>
              <a:gdLst/>
              <a:ahLst/>
              <a:cxnLst>
                <a:cxn ang="0">
                  <a:pos x="1" y="6"/>
                </a:cxn>
                <a:cxn ang="0">
                  <a:pos x="2" y="5"/>
                </a:cxn>
                <a:cxn ang="0">
                  <a:pos x="2" y="3"/>
                </a:cxn>
                <a:cxn ang="0">
                  <a:pos x="4" y="3"/>
                </a:cxn>
                <a:cxn ang="0">
                  <a:pos x="7" y="2"/>
                </a:cxn>
                <a:cxn ang="0">
                  <a:pos x="7" y="0"/>
                </a:cxn>
                <a:cxn ang="0">
                  <a:pos x="7" y="2"/>
                </a:cxn>
                <a:cxn ang="0">
                  <a:pos x="7" y="5"/>
                </a:cxn>
                <a:cxn ang="0">
                  <a:pos x="5" y="6"/>
                </a:cxn>
                <a:cxn ang="0">
                  <a:pos x="2" y="8"/>
                </a:cxn>
                <a:cxn ang="0">
                  <a:pos x="2" y="8"/>
                </a:cxn>
                <a:cxn ang="0">
                  <a:pos x="1" y="9"/>
                </a:cxn>
                <a:cxn ang="0">
                  <a:pos x="1" y="10"/>
                </a:cxn>
                <a:cxn ang="0">
                  <a:pos x="1" y="12"/>
                </a:cxn>
                <a:cxn ang="0">
                  <a:pos x="0" y="9"/>
                </a:cxn>
                <a:cxn ang="0">
                  <a:pos x="1" y="8"/>
                </a:cxn>
                <a:cxn ang="0">
                  <a:pos x="1" y="6"/>
                </a:cxn>
              </a:cxnLst>
              <a:rect l="0" t="0" r="r" b="b"/>
              <a:pathLst>
                <a:path w="7" h="12">
                  <a:moveTo>
                    <a:pt x="1" y="6"/>
                  </a:moveTo>
                  <a:lnTo>
                    <a:pt x="2" y="5"/>
                  </a:lnTo>
                  <a:lnTo>
                    <a:pt x="2" y="3"/>
                  </a:lnTo>
                  <a:lnTo>
                    <a:pt x="4" y="3"/>
                  </a:lnTo>
                  <a:lnTo>
                    <a:pt x="7" y="2"/>
                  </a:lnTo>
                  <a:lnTo>
                    <a:pt x="7" y="0"/>
                  </a:lnTo>
                  <a:lnTo>
                    <a:pt x="7" y="2"/>
                  </a:lnTo>
                  <a:lnTo>
                    <a:pt x="7" y="5"/>
                  </a:lnTo>
                  <a:lnTo>
                    <a:pt x="5" y="6"/>
                  </a:lnTo>
                  <a:lnTo>
                    <a:pt x="2" y="8"/>
                  </a:lnTo>
                  <a:lnTo>
                    <a:pt x="2" y="8"/>
                  </a:lnTo>
                  <a:lnTo>
                    <a:pt x="1" y="9"/>
                  </a:lnTo>
                  <a:lnTo>
                    <a:pt x="1" y="10"/>
                  </a:lnTo>
                  <a:lnTo>
                    <a:pt x="1" y="12"/>
                  </a:lnTo>
                  <a:lnTo>
                    <a:pt x="0" y="9"/>
                  </a:lnTo>
                  <a:lnTo>
                    <a:pt x="1" y="8"/>
                  </a:lnTo>
                  <a:lnTo>
                    <a:pt x="1"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90" name="Freeform 1028"/>
            <p:cNvSpPr>
              <a:spLocks/>
            </p:cNvSpPr>
            <p:nvPr/>
          </p:nvSpPr>
          <p:spPr bwMode="auto">
            <a:xfrm>
              <a:off x="7799957" y="2845647"/>
              <a:ext cx="1756" cy="4057"/>
            </a:xfrm>
            <a:custGeom>
              <a:avLst/>
              <a:gdLst/>
              <a:ahLst/>
              <a:cxnLst>
                <a:cxn ang="0">
                  <a:pos x="1" y="3"/>
                </a:cxn>
                <a:cxn ang="0">
                  <a:pos x="1" y="3"/>
                </a:cxn>
                <a:cxn ang="0">
                  <a:pos x="0" y="4"/>
                </a:cxn>
                <a:cxn ang="0">
                  <a:pos x="0" y="3"/>
                </a:cxn>
                <a:cxn ang="0">
                  <a:pos x="0" y="1"/>
                </a:cxn>
                <a:cxn ang="0">
                  <a:pos x="0" y="0"/>
                </a:cxn>
                <a:cxn ang="0">
                  <a:pos x="0" y="1"/>
                </a:cxn>
                <a:cxn ang="0">
                  <a:pos x="1" y="3"/>
                </a:cxn>
              </a:cxnLst>
              <a:rect l="0" t="0" r="r" b="b"/>
              <a:pathLst>
                <a:path w="1" h="4">
                  <a:moveTo>
                    <a:pt x="1" y="3"/>
                  </a:moveTo>
                  <a:lnTo>
                    <a:pt x="1" y="3"/>
                  </a:lnTo>
                  <a:lnTo>
                    <a:pt x="0" y="4"/>
                  </a:lnTo>
                  <a:lnTo>
                    <a:pt x="0" y="3"/>
                  </a:lnTo>
                  <a:lnTo>
                    <a:pt x="0" y="1"/>
                  </a:lnTo>
                  <a:lnTo>
                    <a:pt x="0" y="0"/>
                  </a:lnTo>
                  <a:lnTo>
                    <a:pt x="0" y="1"/>
                  </a:lnTo>
                  <a:lnTo>
                    <a:pt x="1"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91" name="Freeform 1029"/>
            <p:cNvSpPr>
              <a:spLocks/>
            </p:cNvSpPr>
            <p:nvPr/>
          </p:nvSpPr>
          <p:spPr bwMode="auto">
            <a:xfrm>
              <a:off x="7799957" y="2845647"/>
              <a:ext cx="1756" cy="4057"/>
            </a:xfrm>
            <a:custGeom>
              <a:avLst/>
              <a:gdLst/>
              <a:ahLst/>
              <a:cxnLst>
                <a:cxn ang="0">
                  <a:pos x="1" y="3"/>
                </a:cxn>
                <a:cxn ang="0">
                  <a:pos x="1" y="3"/>
                </a:cxn>
                <a:cxn ang="0">
                  <a:pos x="0" y="4"/>
                </a:cxn>
                <a:cxn ang="0">
                  <a:pos x="0" y="3"/>
                </a:cxn>
                <a:cxn ang="0">
                  <a:pos x="0" y="1"/>
                </a:cxn>
                <a:cxn ang="0">
                  <a:pos x="0" y="0"/>
                </a:cxn>
                <a:cxn ang="0">
                  <a:pos x="0" y="1"/>
                </a:cxn>
                <a:cxn ang="0">
                  <a:pos x="1" y="3"/>
                </a:cxn>
              </a:cxnLst>
              <a:rect l="0" t="0" r="r" b="b"/>
              <a:pathLst>
                <a:path w="1" h="4">
                  <a:moveTo>
                    <a:pt x="1" y="3"/>
                  </a:moveTo>
                  <a:lnTo>
                    <a:pt x="1" y="3"/>
                  </a:lnTo>
                  <a:lnTo>
                    <a:pt x="0" y="4"/>
                  </a:lnTo>
                  <a:lnTo>
                    <a:pt x="0" y="3"/>
                  </a:lnTo>
                  <a:lnTo>
                    <a:pt x="0" y="1"/>
                  </a:lnTo>
                  <a:lnTo>
                    <a:pt x="0" y="0"/>
                  </a:lnTo>
                  <a:lnTo>
                    <a:pt x="0" y="1"/>
                  </a:lnTo>
                  <a:lnTo>
                    <a:pt x="1"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92" name="Freeform 1030"/>
            <p:cNvSpPr>
              <a:spLocks/>
            </p:cNvSpPr>
            <p:nvPr/>
          </p:nvSpPr>
          <p:spPr bwMode="auto">
            <a:xfrm>
              <a:off x="7806102" y="2836520"/>
              <a:ext cx="3511" cy="4057"/>
            </a:xfrm>
            <a:custGeom>
              <a:avLst/>
              <a:gdLst/>
              <a:ahLst/>
              <a:cxnLst>
                <a:cxn ang="0">
                  <a:pos x="1" y="2"/>
                </a:cxn>
                <a:cxn ang="0">
                  <a:pos x="4" y="0"/>
                </a:cxn>
                <a:cxn ang="0">
                  <a:pos x="4" y="0"/>
                </a:cxn>
                <a:cxn ang="0">
                  <a:pos x="4" y="2"/>
                </a:cxn>
                <a:cxn ang="0">
                  <a:pos x="3" y="3"/>
                </a:cxn>
                <a:cxn ang="0">
                  <a:pos x="3" y="4"/>
                </a:cxn>
                <a:cxn ang="0">
                  <a:pos x="1" y="4"/>
                </a:cxn>
                <a:cxn ang="0">
                  <a:pos x="0" y="4"/>
                </a:cxn>
                <a:cxn ang="0">
                  <a:pos x="0" y="4"/>
                </a:cxn>
                <a:cxn ang="0">
                  <a:pos x="0" y="3"/>
                </a:cxn>
                <a:cxn ang="0">
                  <a:pos x="1" y="2"/>
                </a:cxn>
                <a:cxn ang="0">
                  <a:pos x="1" y="2"/>
                </a:cxn>
              </a:cxnLst>
              <a:rect l="0" t="0" r="r" b="b"/>
              <a:pathLst>
                <a:path w="4" h="4">
                  <a:moveTo>
                    <a:pt x="1" y="2"/>
                  </a:moveTo>
                  <a:lnTo>
                    <a:pt x="4" y="0"/>
                  </a:lnTo>
                  <a:lnTo>
                    <a:pt x="4" y="0"/>
                  </a:lnTo>
                  <a:lnTo>
                    <a:pt x="4" y="2"/>
                  </a:lnTo>
                  <a:lnTo>
                    <a:pt x="3" y="3"/>
                  </a:lnTo>
                  <a:lnTo>
                    <a:pt x="3" y="4"/>
                  </a:lnTo>
                  <a:lnTo>
                    <a:pt x="1" y="4"/>
                  </a:lnTo>
                  <a:lnTo>
                    <a:pt x="0" y="4"/>
                  </a:lnTo>
                  <a:lnTo>
                    <a:pt x="0" y="4"/>
                  </a:lnTo>
                  <a:lnTo>
                    <a:pt x="0" y="3"/>
                  </a:lnTo>
                  <a:lnTo>
                    <a:pt x="1" y="2"/>
                  </a:lnTo>
                  <a:lnTo>
                    <a:pt x="1"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93" name="Freeform 1031"/>
            <p:cNvSpPr>
              <a:spLocks/>
            </p:cNvSpPr>
            <p:nvPr/>
          </p:nvSpPr>
          <p:spPr bwMode="auto">
            <a:xfrm>
              <a:off x="7806102" y="2836520"/>
              <a:ext cx="3511" cy="4057"/>
            </a:xfrm>
            <a:custGeom>
              <a:avLst/>
              <a:gdLst/>
              <a:ahLst/>
              <a:cxnLst>
                <a:cxn ang="0">
                  <a:pos x="1" y="2"/>
                </a:cxn>
                <a:cxn ang="0">
                  <a:pos x="4" y="0"/>
                </a:cxn>
                <a:cxn ang="0">
                  <a:pos x="4" y="0"/>
                </a:cxn>
                <a:cxn ang="0">
                  <a:pos x="4" y="2"/>
                </a:cxn>
                <a:cxn ang="0">
                  <a:pos x="3" y="3"/>
                </a:cxn>
                <a:cxn ang="0">
                  <a:pos x="3" y="4"/>
                </a:cxn>
                <a:cxn ang="0">
                  <a:pos x="1" y="4"/>
                </a:cxn>
                <a:cxn ang="0">
                  <a:pos x="0" y="4"/>
                </a:cxn>
                <a:cxn ang="0">
                  <a:pos x="0" y="4"/>
                </a:cxn>
                <a:cxn ang="0">
                  <a:pos x="0" y="3"/>
                </a:cxn>
                <a:cxn ang="0">
                  <a:pos x="1" y="2"/>
                </a:cxn>
                <a:cxn ang="0">
                  <a:pos x="1" y="2"/>
                </a:cxn>
              </a:cxnLst>
              <a:rect l="0" t="0" r="r" b="b"/>
              <a:pathLst>
                <a:path w="4" h="4">
                  <a:moveTo>
                    <a:pt x="1" y="2"/>
                  </a:moveTo>
                  <a:lnTo>
                    <a:pt x="4" y="0"/>
                  </a:lnTo>
                  <a:lnTo>
                    <a:pt x="4" y="0"/>
                  </a:lnTo>
                  <a:lnTo>
                    <a:pt x="4" y="2"/>
                  </a:lnTo>
                  <a:lnTo>
                    <a:pt x="3" y="3"/>
                  </a:lnTo>
                  <a:lnTo>
                    <a:pt x="3" y="4"/>
                  </a:lnTo>
                  <a:lnTo>
                    <a:pt x="1" y="4"/>
                  </a:lnTo>
                  <a:lnTo>
                    <a:pt x="0" y="4"/>
                  </a:lnTo>
                  <a:lnTo>
                    <a:pt x="0" y="4"/>
                  </a:lnTo>
                  <a:lnTo>
                    <a:pt x="0" y="3"/>
                  </a:lnTo>
                  <a:lnTo>
                    <a:pt x="1" y="2"/>
                  </a:lnTo>
                  <a:lnTo>
                    <a:pt x="1"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94" name="Freeform 1032"/>
            <p:cNvSpPr>
              <a:spLocks/>
            </p:cNvSpPr>
            <p:nvPr/>
          </p:nvSpPr>
          <p:spPr bwMode="auto">
            <a:xfrm>
              <a:off x="7753434" y="2897368"/>
              <a:ext cx="1756" cy="2029"/>
            </a:xfrm>
            <a:custGeom>
              <a:avLst/>
              <a:gdLst/>
              <a:ahLst/>
              <a:cxnLst>
                <a:cxn ang="0">
                  <a:pos x="0" y="0"/>
                </a:cxn>
                <a:cxn ang="0">
                  <a:pos x="0" y="0"/>
                </a:cxn>
                <a:cxn ang="0">
                  <a:pos x="0" y="0"/>
                </a:cxn>
                <a:cxn ang="0">
                  <a:pos x="0" y="0"/>
                </a:cxn>
                <a:cxn ang="0">
                  <a:pos x="2" y="2"/>
                </a:cxn>
                <a:cxn ang="0">
                  <a:pos x="2" y="2"/>
                </a:cxn>
                <a:cxn ang="0">
                  <a:pos x="2" y="2"/>
                </a:cxn>
                <a:cxn ang="0">
                  <a:pos x="0" y="2"/>
                </a:cxn>
                <a:cxn ang="0">
                  <a:pos x="0" y="0"/>
                </a:cxn>
              </a:cxnLst>
              <a:rect l="0" t="0" r="r" b="b"/>
              <a:pathLst>
                <a:path w="2" h="2">
                  <a:moveTo>
                    <a:pt x="0" y="0"/>
                  </a:moveTo>
                  <a:lnTo>
                    <a:pt x="0" y="0"/>
                  </a:lnTo>
                  <a:lnTo>
                    <a:pt x="0" y="0"/>
                  </a:lnTo>
                  <a:lnTo>
                    <a:pt x="0" y="0"/>
                  </a:lnTo>
                  <a:lnTo>
                    <a:pt x="2" y="2"/>
                  </a:lnTo>
                  <a:lnTo>
                    <a:pt x="2" y="2"/>
                  </a:lnTo>
                  <a:lnTo>
                    <a:pt x="2" y="2"/>
                  </a:lnTo>
                  <a:lnTo>
                    <a:pt x="0" y="2"/>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95" name="Freeform 1033"/>
            <p:cNvSpPr>
              <a:spLocks/>
            </p:cNvSpPr>
            <p:nvPr/>
          </p:nvSpPr>
          <p:spPr bwMode="auto">
            <a:xfrm>
              <a:off x="7753434" y="2897368"/>
              <a:ext cx="1756" cy="2029"/>
            </a:xfrm>
            <a:custGeom>
              <a:avLst/>
              <a:gdLst/>
              <a:ahLst/>
              <a:cxnLst>
                <a:cxn ang="0">
                  <a:pos x="0" y="0"/>
                </a:cxn>
                <a:cxn ang="0">
                  <a:pos x="0" y="0"/>
                </a:cxn>
                <a:cxn ang="0">
                  <a:pos x="0" y="0"/>
                </a:cxn>
                <a:cxn ang="0">
                  <a:pos x="0" y="0"/>
                </a:cxn>
                <a:cxn ang="0">
                  <a:pos x="2" y="2"/>
                </a:cxn>
                <a:cxn ang="0">
                  <a:pos x="2" y="2"/>
                </a:cxn>
                <a:cxn ang="0">
                  <a:pos x="2" y="2"/>
                </a:cxn>
                <a:cxn ang="0">
                  <a:pos x="0" y="2"/>
                </a:cxn>
                <a:cxn ang="0">
                  <a:pos x="0" y="0"/>
                </a:cxn>
              </a:cxnLst>
              <a:rect l="0" t="0" r="r" b="b"/>
              <a:pathLst>
                <a:path w="2" h="2">
                  <a:moveTo>
                    <a:pt x="0" y="0"/>
                  </a:moveTo>
                  <a:lnTo>
                    <a:pt x="0" y="0"/>
                  </a:lnTo>
                  <a:lnTo>
                    <a:pt x="0" y="0"/>
                  </a:lnTo>
                  <a:lnTo>
                    <a:pt x="0" y="0"/>
                  </a:lnTo>
                  <a:lnTo>
                    <a:pt x="2" y="2"/>
                  </a:lnTo>
                  <a:lnTo>
                    <a:pt x="2" y="2"/>
                  </a:lnTo>
                  <a:lnTo>
                    <a:pt x="2" y="2"/>
                  </a:lnTo>
                  <a:lnTo>
                    <a:pt x="0" y="2"/>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96" name="Freeform 1034"/>
            <p:cNvSpPr>
              <a:spLocks/>
            </p:cNvSpPr>
            <p:nvPr/>
          </p:nvSpPr>
          <p:spPr bwMode="auto">
            <a:xfrm>
              <a:off x="8289770" y="3493678"/>
              <a:ext cx="8777" cy="13183"/>
            </a:xfrm>
            <a:custGeom>
              <a:avLst/>
              <a:gdLst/>
              <a:ahLst/>
              <a:cxnLst>
                <a:cxn ang="0">
                  <a:pos x="0" y="1"/>
                </a:cxn>
                <a:cxn ang="0">
                  <a:pos x="0" y="0"/>
                </a:cxn>
                <a:cxn ang="0">
                  <a:pos x="2" y="1"/>
                </a:cxn>
                <a:cxn ang="0">
                  <a:pos x="2" y="3"/>
                </a:cxn>
                <a:cxn ang="0">
                  <a:pos x="2" y="4"/>
                </a:cxn>
                <a:cxn ang="0">
                  <a:pos x="3" y="7"/>
                </a:cxn>
                <a:cxn ang="0">
                  <a:pos x="5" y="7"/>
                </a:cxn>
                <a:cxn ang="0">
                  <a:pos x="5" y="7"/>
                </a:cxn>
                <a:cxn ang="0">
                  <a:pos x="6" y="4"/>
                </a:cxn>
                <a:cxn ang="0">
                  <a:pos x="7" y="4"/>
                </a:cxn>
                <a:cxn ang="0">
                  <a:pos x="7" y="6"/>
                </a:cxn>
                <a:cxn ang="0">
                  <a:pos x="7" y="7"/>
                </a:cxn>
                <a:cxn ang="0">
                  <a:pos x="9" y="7"/>
                </a:cxn>
                <a:cxn ang="0">
                  <a:pos x="9" y="11"/>
                </a:cxn>
                <a:cxn ang="0">
                  <a:pos x="9" y="13"/>
                </a:cxn>
                <a:cxn ang="0">
                  <a:pos x="6" y="13"/>
                </a:cxn>
                <a:cxn ang="0">
                  <a:pos x="5" y="13"/>
                </a:cxn>
                <a:cxn ang="0">
                  <a:pos x="3" y="13"/>
                </a:cxn>
                <a:cxn ang="0">
                  <a:pos x="0" y="1"/>
                </a:cxn>
              </a:cxnLst>
              <a:rect l="0" t="0" r="r" b="b"/>
              <a:pathLst>
                <a:path w="9" h="13">
                  <a:moveTo>
                    <a:pt x="0" y="1"/>
                  </a:moveTo>
                  <a:lnTo>
                    <a:pt x="0" y="0"/>
                  </a:lnTo>
                  <a:lnTo>
                    <a:pt x="2" y="1"/>
                  </a:lnTo>
                  <a:lnTo>
                    <a:pt x="2" y="3"/>
                  </a:lnTo>
                  <a:lnTo>
                    <a:pt x="2" y="4"/>
                  </a:lnTo>
                  <a:lnTo>
                    <a:pt x="3" y="7"/>
                  </a:lnTo>
                  <a:lnTo>
                    <a:pt x="5" y="7"/>
                  </a:lnTo>
                  <a:lnTo>
                    <a:pt x="5" y="7"/>
                  </a:lnTo>
                  <a:lnTo>
                    <a:pt x="6" y="4"/>
                  </a:lnTo>
                  <a:lnTo>
                    <a:pt x="7" y="4"/>
                  </a:lnTo>
                  <a:lnTo>
                    <a:pt x="7" y="6"/>
                  </a:lnTo>
                  <a:lnTo>
                    <a:pt x="7" y="7"/>
                  </a:lnTo>
                  <a:lnTo>
                    <a:pt x="9" y="7"/>
                  </a:lnTo>
                  <a:lnTo>
                    <a:pt x="9" y="11"/>
                  </a:lnTo>
                  <a:lnTo>
                    <a:pt x="9" y="13"/>
                  </a:lnTo>
                  <a:lnTo>
                    <a:pt x="6" y="13"/>
                  </a:lnTo>
                  <a:lnTo>
                    <a:pt x="5" y="13"/>
                  </a:lnTo>
                  <a:lnTo>
                    <a:pt x="3" y="13"/>
                  </a:lnTo>
                  <a:lnTo>
                    <a:pt x="0"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97" name="Freeform 1035"/>
            <p:cNvSpPr>
              <a:spLocks/>
            </p:cNvSpPr>
            <p:nvPr/>
          </p:nvSpPr>
          <p:spPr bwMode="auto">
            <a:xfrm>
              <a:off x="8289770" y="3493678"/>
              <a:ext cx="8777" cy="13183"/>
            </a:xfrm>
            <a:custGeom>
              <a:avLst/>
              <a:gdLst/>
              <a:ahLst/>
              <a:cxnLst>
                <a:cxn ang="0">
                  <a:pos x="0" y="1"/>
                </a:cxn>
                <a:cxn ang="0">
                  <a:pos x="0" y="0"/>
                </a:cxn>
                <a:cxn ang="0">
                  <a:pos x="2" y="1"/>
                </a:cxn>
                <a:cxn ang="0">
                  <a:pos x="2" y="3"/>
                </a:cxn>
                <a:cxn ang="0">
                  <a:pos x="2" y="4"/>
                </a:cxn>
                <a:cxn ang="0">
                  <a:pos x="3" y="7"/>
                </a:cxn>
                <a:cxn ang="0">
                  <a:pos x="5" y="7"/>
                </a:cxn>
                <a:cxn ang="0">
                  <a:pos x="5" y="7"/>
                </a:cxn>
                <a:cxn ang="0">
                  <a:pos x="6" y="4"/>
                </a:cxn>
                <a:cxn ang="0">
                  <a:pos x="7" y="4"/>
                </a:cxn>
                <a:cxn ang="0">
                  <a:pos x="7" y="6"/>
                </a:cxn>
                <a:cxn ang="0">
                  <a:pos x="7" y="7"/>
                </a:cxn>
                <a:cxn ang="0">
                  <a:pos x="9" y="7"/>
                </a:cxn>
                <a:cxn ang="0">
                  <a:pos x="9" y="11"/>
                </a:cxn>
                <a:cxn ang="0">
                  <a:pos x="9" y="13"/>
                </a:cxn>
                <a:cxn ang="0">
                  <a:pos x="6" y="13"/>
                </a:cxn>
                <a:cxn ang="0">
                  <a:pos x="5" y="13"/>
                </a:cxn>
                <a:cxn ang="0">
                  <a:pos x="3" y="13"/>
                </a:cxn>
                <a:cxn ang="0">
                  <a:pos x="0" y="1"/>
                </a:cxn>
              </a:cxnLst>
              <a:rect l="0" t="0" r="r" b="b"/>
              <a:pathLst>
                <a:path w="9" h="13">
                  <a:moveTo>
                    <a:pt x="0" y="1"/>
                  </a:moveTo>
                  <a:lnTo>
                    <a:pt x="0" y="0"/>
                  </a:lnTo>
                  <a:lnTo>
                    <a:pt x="2" y="1"/>
                  </a:lnTo>
                  <a:lnTo>
                    <a:pt x="2" y="3"/>
                  </a:lnTo>
                  <a:lnTo>
                    <a:pt x="2" y="4"/>
                  </a:lnTo>
                  <a:lnTo>
                    <a:pt x="3" y="7"/>
                  </a:lnTo>
                  <a:lnTo>
                    <a:pt x="5" y="7"/>
                  </a:lnTo>
                  <a:lnTo>
                    <a:pt x="5" y="7"/>
                  </a:lnTo>
                  <a:lnTo>
                    <a:pt x="6" y="4"/>
                  </a:lnTo>
                  <a:lnTo>
                    <a:pt x="7" y="4"/>
                  </a:lnTo>
                  <a:lnTo>
                    <a:pt x="7" y="6"/>
                  </a:lnTo>
                  <a:lnTo>
                    <a:pt x="7" y="7"/>
                  </a:lnTo>
                  <a:lnTo>
                    <a:pt x="9" y="7"/>
                  </a:lnTo>
                  <a:lnTo>
                    <a:pt x="9" y="11"/>
                  </a:lnTo>
                  <a:lnTo>
                    <a:pt x="9" y="13"/>
                  </a:lnTo>
                  <a:lnTo>
                    <a:pt x="6" y="13"/>
                  </a:lnTo>
                  <a:lnTo>
                    <a:pt x="5" y="13"/>
                  </a:lnTo>
                  <a:lnTo>
                    <a:pt x="3" y="13"/>
                  </a:lnTo>
                  <a:lnTo>
                    <a:pt x="0"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98" name="Freeform 1036"/>
            <p:cNvSpPr>
              <a:spLocks/>
            </p:cNvSpPr>
            <p:nvPr/>
          </p:nvSpPr>
          <p:spPr bwMode="auto">
            <a:xfrm>
              <a:off x="8298549" y="3510918"/>
              <a:ext cx="7900" cy="11156"/>
            </a:xfrm>
            <a:custGeom>
              <a:avLst/>
              <a:gdLst/>
              <a:ahLst/>
              <a:cxnLst>
                <a:cxn ang="0">
                  <a:pos x="0" y="0"/>
                </a:cxn>
                <a:cxn ang="0">
                  <a:pos x="1" y="0"/>
                </a:cxn>
                <a:cxn ang="0">
                  <a:pos x="3" y="2"/>
                </a:cxn>
                <a:cxn ang="0">
                  <a:pos x="3" y="3"/>
                </a:cxn>
                <a:cxn ang="0">
                  <a:pos x="4" y="3"/>
                </a:cxn>
                <a:cxn ang="0">
                  <a:pos x="6" y="6"/>
                </a:cxn>
                <a:cxn ang="0">
                  <a:pos x="7" y="7"/>
                </a:cxn>
                <a:cxn ang="0">
                  <a:pos x="9" y="9"/>
                </a:cxn>
                <a:cxn ang="0">
                  <a:pos x="9" y="9"/>
                </a:cxn>
                <a:cxn ang="0">
                  <a:pos x="3" y="10"/>
                </a:cxn>
                <a:cxn ang="0">
                  <a:pos x="3" y="3"/>
                </a:cxn>
                <a:cxn ang="0">
                  <a:pos x="1" y="3"/>
                </a:cxn>
                <a:cxn ang="0">
                  <a:pos x="0" y="3"/>
                </a:cxn>
                <a:cxn ang="0">
                  <a:pos x="0" y="0"/>
                </a:cxn>
              </a:cxnLst>
              <a:rect l="0" t="0" r="r" b="b"/>
              <a:pathLst>
                <a:path w="9" h="10">
                  <a:moveTo>
                    <a:pt x="0" y="0"/>
                  </a:moveTo>
                  <a:lnTo>
                    <a:pt x="1" y="0"/>
                  </a:lnTo>
                  <a:lnTo>
                    <a:pt x="3" y="2"/>
                  </a:lnTo>
                  <a:lnTo>
                    <a:pt x="3" y="3"/>
                  </a:lnTo>
                  <a:lnTo>
                    <a:pt x="4" y="3"/>
                  </a:lnTo>
                  <a:lnTo>
                    <a:pt x="6" y="6"/>
                  </a:lnTo>
                  <a:lnTo>
                    <a:pt x="7" y="7"/>
                  </a:lnTo>
                  <a:lnTo>
                    <a:pt x="9" y="9"/>
                  </a:lnTo>
                  <a:lnTo>
                    <a:pt x="9" y="9"/>
                  </a:lnTo>
                  <a:lnTo>
                    <a:pt x="3" y="10"/>
                  </a:lnTo>
                  <a:lnTo>
                    <a:pt x="3" y="3"/>
                  </a:lnTo>
                  <a:lnTo>
                    <a:pt x="1" y="3"/>
                  </a:lnTo>
                  <a:lnTo>
                    <a:pt x="0" y="3"/>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799" name="Freeform 1037"/>
            <p:cNvSpPr>
              <a:spLocks/>
            </p:cNvSpPr>
            <p:nvPr/>
          </p:nvSpPr>
          <p:spPr bwMode="auto">
            <a:xfrm>
              <a:off x="8298549" y="3510918"/>
              <a:ext cx="7900" cy="11156"/>
            </a:xfrm>
            <a:custGeom>
              <a:avLst/>
              <a:gdLst/>
              <a:ahLst/>
              <a:cxnLst>
                <a:cxn ang="0">
                  <a:pos x="0" y="0"/>
                </a:cxn>
                <a:cxn ang="0">
                  <a:pos x="1" y="0"/>
                </a:cxn>
                <a:cxn ang="0">
                  <a:pos x="3" y="2"/>
                </a:cxn>
                <a:cxn ang="0">
                  <a:pos x="3" y="3"/>
                </a:cxn>
                <a:cxn ang="0">
                  <a:pos x="4" y="3"/>
                </a:cxn>
                <a:cxn ang="0">
                  <a:pos x="6" y="6"/>
                </a:cxn>
                <a:cxn ang="0">
                  <a:pos x="7" y="7"/>
                </a:cxn>
                <a:cxn ang="0">
                  <a:pos x="9" y="9"/>
                </a:cxn>
                <a:cxn ang="0">
                  <a:pos x="9" y="9"/>
                </a:cxn>
                <a:cxn ang="0">
                  <a:pos x="3" y="10"/>
                </a:cxn>
                <a:cxn ang="0">
                  <a:pos x="3" y="3"/>
                </a:cxn>
                <a:cxn ang="0">
                  <a:pos x="1" y="3"/>
                </a:cxn>
                <a:cxn ang="0">
                  <a:pos x="0" y="3"/>
                </a:cxn>
                <a:cxn ang="0">
                  <a:pos x="0" y="0"/>
                </a:cxn>
              </a:cxnLst>
              <a:rect l="0" t="0" r="r" b="b"/>
              <a:pathLst>
                <a:path w="9" h="10">
                  <a:moveTo>
                    <a:pt x="0" y="0"/>
                  </a:moveTo>
                  <a:lnTo>
                    <a:pt x="1" y="0"/>
                  </a:lnTo>
                  <a:lnTo>
                    <a:pt x="3" y="2"/>
                  </a:lnTo>
                  <a:lnTo>
                    <a:pt x="3" y="3"/>
                  </a:lnTo>
                  <a:lnTo>
                    <a:pt x="4" y="3"/>
                  </a:lnTo>
                  <a:lnTo>
                    <a:pt x="6" y="6"/>
                  </a:lnTo>
                  <a:lnTo>
                    <a:pt x="7" y="7"/>
                  </a:lnTo>
                  <a:lnTo>
                    <a:pt x="9" y="9"/>
                  </a:lnTo>
                  <a:lnTo>
                    <a:pt x="9" y="9"/>
                  </a:lnTo>
                  <a:lnTo>
                    <a:pt x="3" y="10"/>
                  </a:lnTo>
                  <a:lnTo>
                    <a:pt x="3" y="3"/>
                  </a:lnTo>
                  <a:lnTo>
                    <a:pt x="1" y="3"/>
                  </a:lnTo>
                  <a:lnTo>
                    <a:pt x="0" y="3"/>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00" name="Freeform 1038"/>
            <p:cNvSpPr>
              <a:spLocks/>
            </p:cNvSpPr>
            <p:nvPr/>
          </p:nvSpPr>
          <p:spPr bwMode="auto">
            <a:xfrm>
              <a:off x="8310838" y="3504833"/>
              <a:ext cx="1756" cy="8113"/>
            </a:xfrm>
            <a:custGeom>
              <a:avLst/>
              <a:gdLst/>
              <a:ahLst/>
              <a:cxnLst>
                <a:cxn ang="0">
                  <a:pos x="0" y="0"/>
                </a:cxn>
                <a:cxn ang="0">
                  <a:pos x="0" y="0"/>
                </a:cxn>
                <a:cxn ang="0">
                  <a:pos x="0" y="3"/>
                </a:cxn>
                <a:cxn ang="0">
                  <a:pos x="2" y="5"/>
                </a:cxn>
                <a:cxn ang="0">
                  <a:pos x="2" y="6"/>
                </a:cxn>
                <a:cxn ang="0">
                  <a:pos x="0" y="8"/>
                </a:cxn>
                <a:cxn ang="0">
                  <a:pos x="0" y="3"/>
                </a:cxn>
                <a:cxn ang="0">
                  <a:pos x="0" y="0"/>
                </a:cxn>
              </a:cxnLst>
              <a:rect l="0" t="0" r="r" b="b"/>
              <a:pathLst>
                <a:path w="2" h="8">
                  <a:moveTo>
                    <a:pt x="0" y="0"/>
                  </a:moveTo>
                  <a:lnTo>
                    <a:pt x="0" y="0"/>
                  </a:lnTo>
                  <a:lnTo>
                    <a:pt x="0" y="3"/>
                  </a:lnTo>
                  <a:lnTo>
                    <a:pt x="2" y="5"/>
                  </a:lnTo>
                  <a:lnTo>
                    <a:pt x="2" y="6"/>
                  </a:lnTo>
                  <a:lnTo>
                    <a:pt x="0" y="8"/>
                  </a:lnTo>
                  <a:lnTo>
                    <a:pt x="0" y="3"/>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01" name="Freeform 1039"/>
            <p:cNvSpPr>
              <a:spLocks/>
            </p:cNvSpPr>
            <p:nvPr/>
          </p:nvSpPr>
          <p:spPr bwMode="auto">
            <a:xfrm>
              <a:off x="8310838" y="3504833"/>
              <a:ext cx="1756" cy="8113"/>
            </a:xfrm>
            <a:custGeom>
              <a:avLst/>
              <a:gdLst/>
              <a:ahLst/>
              <a:cxnLst>
                <a:cxn ang="0">
                  <a:pos x="0" y="0"/>
                </a:cxn>
                <a:cxn ang="0">
                  <a:pos x="0" y="0"/>
                </a:cxn>
                <a:cxn ang="0">
                  <a:pos x="0" y="3"/>
                </a:cxn>
                <a:cxn ang="0">
                  <a:pos x="2" y="5"/>
                </a:cxn>
                <a:cxn ang="0">
                  <a:pos x="2" y="6"/>
                </a:cxn>
                <a:cxn ang="0">
                  <a:pos x="0" y="8"/>
                </a:cxn>
                <a:cxn ang="0">
                  <a:pos x="0" y="3"/>
                </a:cxn>
                <a:cxn ang="0">
                  <a:pos x="0" y="0"/>
                </a:cxn>
              </a:cxnLst>
              <a:rect l="0" t="0" r="r" b="b"/>
              <a:pathLst>
                <a:path w="2" h="8">
                  <a:moveTo>
                    <a:pt x="0" y="0"/>
                  </a:moveTo>
                  <a:lnTo>
                    <a:pt x="0" y="0"/>
                  </a:lnTo>
                  <a:lnTo>
                    <a:pt x="0" y="3"/>
                  </a:lnTo>
                  <a:lnTo>
                    <a:pt x="2" y="5"/>
                  </a:lnTo>
                  <a:lnTo>
                    <a:pt x="2" y="6"/>
                  </a:lnTo>
                  <a:lnTo>
                    <a:pt x="0" y="8"/>
                  </a:lnTo>
                  <a:lnTo>
                    <a:pt x="0" y="3"/>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02" name="Freeform 1040"/>
            <p:cNvSpPr>
              <a:spLocks/>
            </p:cNvSpPr>
            <p:nvPr/>
          </p:nvSpPr>
          <p:spPr bwMode="auto">
            <a:xfrm>
              <a:off x="8309082" y="3514974"/>
              <a:ext cx="3511" cy="4057"/>
            </a:xfrm>
            <a:custGeom>
              <a:avLst/>
              <a:gdLst/>
              <a:ahLst/>
              <a:cxnLst>
                <a:cxn ang="0">
                  <a:pos x="2" y="0"/>
                </a:cxn>
                <a:cxn ang="0">
                  <a:pos x="2" y="0"/>
                </a:cxn>
                <a:cxn ang="0">
                  <a:pos x="2" y="3"/>
                </a:cxn>
                <a:cxn ang="0">
                  <a:pos x="4" y="4"/>
                </a:cxn>
                <a:cxn ang="0">
                  <a:pos x="1" y="4"/>
                </a:cxn>
                <a:cxn ang="0">
                  <a:pos x="0" y="4"/>
                </a:cxn>
                <a:cxn ang="0">
                  <a:pos x="0" y="3"/>
                </a:cxn>
                <a:cxn ang="0">
                  <a:pos x="0" y="2"/>
                </a:cxn>
                <a:cxn ang="0">
                  <a:pos x="1" y="2"/>
                </a:cxn>
                <a:cxn ang="0">
                  <a:pos x="1" y="2"/>
                </a:cxn>
                <a:cxn ang="0">
                  <a:pos x="2" y="0"/>
                </a:cxn>
              </a:cxnLst>
              <a:rect l="0" t="0" r="r" b="b"/>
              <a:pathLst>
                <a:path w="4" h="4">
                  <a:moveTo>
                    <a:pt x="2" y="0"/>
                  </a:moveTo>
                  <a:lnTo>
                    <a:pt x="2" y="0"/>
                  </a:lnTo>
                  <a:lnTo>
                    <a:pt x="2" y="3"/>
                  </a:lnTo>
                  <a:lnTo>
                    <a:pt x="4" y="4"/>
                  </a:lnTo>
                  <a:lnTo>
                    <a:pt x="1" y="4"/>
                  </a:lnTo>
                  <a:lnTo>
                    <a:pt x="0" y="4"/>
                  </a:lnTo>
                  <a:lnTo>
                    <a:pt x="0" y="3"/>
                  </a:lnTo>
                  <a:lnTo>
                    <a:pt x="0" y="2"/>
                  </a:lnTo>
                  <a:lnTo>
                    <a:pt x="1" y="2"/>
                  </a:lnTo>
                  <a:lnTo>
                    <a:pt x="1" y="2"/>
                  </a:lnTo>
                  <a:lnTo>
                    <a:pt x="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03" name="Freeform 1041"/>
            <p:cNvSpPr>
              <a:spLocks/>
            </p:cNvSpPr>
            <p:nvPr/>
          </p:nvSpPr>
          <p:spPr bwMode="auto">
            <a:xfrm>
              <a:off x="8309082" y="3514974"/>
              <a:ext cx="3511" cy="4057"/>
            </a:xfrm>
            <a:custGeom>
              <a:avLst/>
              <a:gdLst/>
              <a:ahLst/>
              <a:cxnLst>
                <a:cxn ang="0">
                  <a:pos x="2" y="0"/>
                </a:cxn>
                <a:cxn ang="0">
                  <a:pos x="2" y="0"/>
                </a:cxn>
                <a:cxn ang="0">
                  <a:pos x="2" y="3"/>
                </a:cxn>
                <a:cxn ang="0">
                  <a:pos x="4" y="4"/>
                </a:cxn>
                <a:cxn ang="0">
                  <a:pos x="1" y="4"/>
                </a:cxn>
                <a:cxn ang="0">
                  <a:pos x="0" y="4"/>
                </a:cxn>
                <a:cxn ang="0">
                  <a:pos x="0" y="3"/>
                </a:cxn>
                <a:cxn ang="0">
                  <a:pos x="0" y="2"/>
                </a:cxn>
                <a:cxn ang="0">
                  <a:pos x="1" y="2"/>
                </a:cxn>
                <a:cxn ang="0">
                  <a:pos x="1" y="2"/>
                </a:cxn>
                <a:cxn ang="0">
                  <a:pos x="2" y="0"/>
                </a:cxn>
              </a:cxnLst>
              <a:rect l="0" t="0" r="r" b="b"/>
              <a:pathLst>
                <a:path w="4" h="4">
                  <a:moveTo>
                    <a:pt x="2" y="0"/>
                  </a:moveTo>
                  <a:lnTo>
                    <a:pt x="2" y="0"/>
                  </a:lnTo>
                  <a:lnTo>
                    <a:pt x="2" y="3"/>
                  </a:lnTo>
                  <a:lnTo>
                    <a:pt x="4" y="4"/>
                  </a:lnTo>
                  <a:lnTo>
                    <a:pt x="1" y="4"/>
                  </a:lnTo>
                  <a:lnTo>
                    <a:pt x="0" y="4"/>
                  </a:lnTo>
                  <a:lnTo>
                    <a:pt x="0" y="3"/>
                  </a:lnTo>
                  <a:lnTo>
                    <a:pt x="0" y="2"/>
                  </a:lnTo>
                  <a:lnTo>
                    <a:pt x="1" y="2"/>
                  </a:lnTo>
                  <a:lnTo>
                    <a:pt x="1" y="2"/>
                  </a:lnTo>
                  <a:lnTo>
                    <a:pt x="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04" name="Freeform 1042"/>
            <p:cNvSpPr>
              <a:spLocks/>
            </p:cNvSpPr>
            <p:nvPr/>
          </p:nvSpPr>
          <p:spPr bwMode="auto">
            <a:xfrm>
              <a:off x="8310838" y="3537285"/>
              <a:ext cx="5267" cy="4057"/>
            </a:xfrm>
            <a:custGeom>
              <a:avLst/>
              <a:gdLst/>
              <a:ahLst/>
              <a:cxnLst>
                <a:cxn ang="0">
                  <a:pos x="3" y="0"/>
                </a:cxn>
                <a:cxn ang="0">
                  <a:pos x="5" y="1"/>
                </a:cxn>
                <a:cxn ang="0">
                  <a:pos x="5" y="4"/>
                </a:cxn>
                <a:cxn ang="0">
                  <a:pos x="5" y="4"/>
                </a:cxn>
                <a:cxn ang="0">
                  <a:pos x="2" y="4"/>
                </a:cxn>
                <a:cxn ang="0">
                  <a:pos x="0" y="3"/>
                </a:cxn>
                <a:cxn ang="0">
                  <a:pos x="0" y="1"/>
                </a:cxn>
                <a:cxn ang="0">
                  <a:pos x="2" y="1"/>
                </a:cxn>
                <a:cxn ang="0">
                  <a:pos x="3" y="0"/>
                </a:cxn>
                <a:cxn ang="0">
                  <a:pos x="3" y="0"/>
                </a:cxn>
              </a:cxnLst>
              <a:rect l="0" t="0" r="r" b="b"/>
              <a:pathLst>
                <a:path w="5" h="4">
                  <a:moveTo>
                    <a:pt x="3" y="0"/>
                  </a:moveTo>
                  <a:lnTo>
                    <a:pt x="5" y="1"/>
                  </a:lnTo>
                  <a:lnTo>
                    <a:pt x="5" y="4"/>
                  </a:lnTo>
                  <a:lnTo>
                    <a:pt x="5" y="4"/>
                  </a:lnTo>
                  <a:lnTo>
                    <a:pt x="2" y="4"/>
                  </a:lnTo>
                  <a:lnTo>
                    <a:pt x="0" y="3"/>
                  </a:lnTo>
                  <a:lnTo>
                    <a:pt x="0" y="1"/>
                  </a:lnTo>
                  <a:lnTo>
                    <a:pt x="2" y="1"/>
                  </a:lnTo>
                  <a:lnTo>
                    <a:pt x="3" y="0"/>
                  </a:lnTo>
                  <a:lnTo>
                    <a:pt x="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05" name="Freeform 1043"/>
            <p:cNvSpPr>
              <a:spLocks/>
            </p:cNvSpPr>
            <p:nvPr/>
          </p:nvSpPr>
          <p:spPr bwMode="auto">
            <a:xfrm>
              <a:off x="8310838" y="3537285"/>
              <a:ext cx="5267" cy="4057"/>
            </a:xfrm>
            <a:custGeom>
              <a:avLst/>
              <a:gdLst/>
              <a:ahLst/>
              <a:cxnLst>
                <a:cxn ang="0">
                  <a:pos x="3" y="0"/>
                </a:cxn>
                <a:cxn ang="0">
                  <a:pos x="5" y="1"/>
                </a:cxn>
                <a:cxn ang="0">
                  <a:pos x="5" y="4"/>
                </a:cxn>
                <a:cxn ang="0">
                  <a:pos x="5" y="4"/>
                </a:cxn>
                <a:cxn ang="0">
                  <a:pos x="2" y="4"/>
                </a:cxn>
                <a:cxn ang="0">
                  <a:pos x="0" y="3"/>
                </a:cxn>
                <a:cxn ang="0">
                  <a:pos x="0" y="1"/>
                </a:cxn>
                <a:cxn ang="0">
                  <a:pos x="2" y="1"/>
                </a:cxn>
                <a:cxn ang="0">
                  <a:pos x="3" y="0"/>
                </a:cxn>
                <a:cxn ang="0">
                  <a:pos x="3" y="0"/>
                </a:cxn>
              </a:cxnLst>
              <a:rect l="0" t="0" r="r" b="b"/>
              <a:pathLst>
                <a:path w="5" h="4">
                  <a:moveTo>
                    <a:pt x="3" y="0"/>
                  </a:moveTo>
                  <a:lnTo>
                    <a:pt x="5" y="1"/>
                  </a:lnTo>
                  <a:lnTo>
                    <a:pt x="5" y="4"/>
                  </a:lnTo>
                  <a:lnTo>
                    <a:pt x="5" y="4"/>
                  </a:lnTo>
                  <a:lnTo>
                    <a:pt x="2" y="4"/>
                  </a:lnTo>
                  <a:lnTo>
                    <a:pt x="0" y="3"/>
                  </a:lnTo>
                  <a:lnTo>
                    <a:pt x="0" y="1"/>
                  </a:lnTo>
                  <a:lnTo>
                    <a:pt x="2" y="1"/>
                  </a:lnTo>
                  <a:lnTo>
                    <a:pt x="3" y="0"/>
                  </a:lnTo>
                  <a:lnTo>
                    <a:pt x="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06" name="Freeform 1044"/>
            <p:cNvSpPr>
              <a:spLocks/>
            </p:cNvSpPr>
            <p:nvPr/>
          </p:nvSpPr>
          <p:spPr bwMode="auto">
            <a:xfrm>
              <a:off x="8322249" y="3554526"/>
              <a:ext cx="1756" cy="4057"/>
            </a:xfrm>
            <a:custGeom>
              <a:avLst/>
              <a:gdLst/>
              <a:ahLst/>
              <a:cxnLst>
                <a:cxn ang="0">
                  <a:pos x="0" y="0"/>
                </a:cxn>
                <a:cxn ang="0">
                  <a:pos x="0" y="0"/>
                </a:cxn>
                <a:cxn ang="0">
                  <a:pos x="0" y="0"/>
                </a:cxn>
                <a:cxn ang="0">
                  <a:pos x="2" y="1"/>
                </a:cxn>
                <a:cxn ang="0">
                  <a:pos x="2" y="1"/>
                </a:cxn>
                <a:cxn ang="0">
                  <a:pos x="2" y="3"/>
                </a:cxn>
                <a:cxn ang="0">
                  <a:pos x="2" y="4"/>
                </a:cxn>
                <a:cxn ang="0">
                  <a:pos x="2" y="4"/>
                </a:cxn>
                <a:cxn ang="0">
                  <a:pos x="0" y="4"/>
                </a:cxn>
                <a:cxn ang="0">
                  <a:pos x="0" y="1"/>
                </a:cxn>
                <a:cxn ang="0">
                  <a:pos x="0" y="0"/>
                </a:cxn>
                <a:cxn ang="0">
                  <a:pos x="0" y="4"/>
                </a:cxn>
                <a:cxn ang="0">
                  <a:pos x="0" y="1"/>
                </a:cxn>
                <a:cxn ang="0">
                  <a:pos x="0" y="0"/>
                </a:cxn>
              </a:cxnLst>
              <a:rect l="0" t="0" r="r" b="b"/>
              <a:pathLst>
                <a:path w="2" h="4">
                  <a:moveTo>
                    <a:pt x="0" y="0"/>
                  </a:moveTo>
                  <a:lnTo>
                    <a:pt x="0" y="0"/>
                  </a:lnTo>
                  <a:lnTo>
                    <a:pt x="0" y="0"/>
                  </a:lnTo>
                  <a:lnTo>
                    <a:pt x="2" y="1"/>
                  </a:lnTo>
                  <a:lnTo>
                    <a:pt x="2" y="1"/>
                  </a:lnTo>
                  <a:lnTo>
                    <a:pt x="2" y="3"/>
                  </a:lnTo>
                  <a:lnTo>
                    <a:pt x="2" y="4"/>
                  </a:lnTo>
                  <a:lnTo>
                    <a:pt x="2" y="4"/>
                  </a:lnTo>
                  <a:lnTo>
                    <a:pt x="0" y="4"/>
                  </a:lnTo>
                  <a:lnTo>
                    <a:pt x="0" y="1"/>
                  </a:lnTo>
                  <a:lnTo>
                    <a:pt x="0" y="0"/>
                  </a:lnTo>
                  <a:lnTo>
                    <a:pt x="0" y="4"/>
                  </a:lnTo>
                  <a:lnTo>
                    <a:pt x="0" y="1"/>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07" name="Freeform 1045"/>
            <p:cNvSpPr>
              <a:spLocks/>
            </p:cNvSpPr>
            <p:nvPr/>
          </p:nvSpPr>
          <p:spPr bwMode="auto">
            <a:xfrm>
              <a:off x="8322249" y="3554526"/>
              <a:ext cx="1756" cy="4057"/>
            </a:xfrm>
            <a:custGeom>
              <a:avLst/>
              <a:gdLst/>
              <a:ahLst/>
              <a:cxnLst>
                <a:cxn ang="0">
                  <a:pos x="0" y="0"/>
                </a:cxn>
                <a:cxn ang="0">
                  <a:pos x="0" y="0"/>
                </a:cxn>
                <a:cxn ang="0">
                  <a:pos x="0" y="0"/>
                </a:cxn>
                <a:cxn ang="0">
                  <a:pos x="2" y="1"/>
                </a:cxn>
                <a:cxn ang="0">
                  <a:pos x="2" y="1"/>
                </a:cxn>
                <a:cxn ang="0">
                  <a:pos x="2" y="3"/>
                </a:cxn>
                <a:cxn ang="0">
                  <a:pos x="2" y="4"/>
                </a:cxn>
                <a:cxn ang="0">
                  <a:pos x="2" y="4"/>
                </a:cxn>
                <a:cxn ang="0">
                  <a:pos x="0" y="4"/>
                </a:cxn>
                <a:cxn ang="0">
                  <a:pos x="0" y="1"/>
                </a:cxn>
                <a:cxn ang="0">
                  <a:pos x="0" y="0"/>
                </a:cxn>
                <a:cxn ang="0">
                  <a:pos x="0" y="4"/>
                </a:cxn>
                <a:cxn ang="0">
                  <a:pos x="0" y="1"/>
                </a:cxn>
                <a:cxn ang="0">
                  <a:pos x="0" y="0"/>
                </a:cxn>
              </a:cxnLst>
              <a:rect l="0" t="0" r="r" b="b"/>
              <a:pathLst>
                <a:path w="2" h="4">
                  <a:moveTo>
                    <a:pt x="0" y="0"/>
                  </a:moveTo>
                  <a:lnTo>
                    <a:pt x="0" y="0"/>
                  </a:lnTo>
                  <a:lnTo>
                    <a:pt x="0" y="0"/>
                  </a:lnTo>
                  <a:lnTo>
                    <a:pt x="2" y="1"/>
                  </a:lnTo>
                  <a:lnTo>
                    <a:pt x="2" y="1"/>
                  </a:lnTo>
                  <a:lnTo>
                    <a:pt x="2" y="3"/>
                  </a:lnTo>
                  <a:lnTo>
                    <a:pt x="2" y="4"/>
                  </a:lnTo>
                  <a:lnTo>
                    <a:pt x="2" y="4"/>
                  </a:lnTo>
                  <a:lnTo>
                    <a:pt x="0" y="4"/>
                  </a:lnTo>
                  <a:lnTo>
                    <a:pt x="0" y="1"/>
                  </a:lnTo>
                  <a:lnTo>
                    <a:pt x="0" y="0"/>
                  </a:lnTo>
                  <a:lnTo>
                    <a:pt x="0" y="4"/>
                  </a:lnTo>
                  <a:lnTo>
                    <a:pt x="0" y="1"/>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08" name="Freeform 1046"/>
            <p:cNvSpPr>
              <a:spLocks/>
            </p:cNvSpPr>
            <p:nvPr/>
          </p:nvSpPr>
          <p:spPr bwMode="auto">
            <a:xfrm>
              <a:off x="8324882" y="3566695"/>
              <a:ext cx="2633" cy="2029"/>
            </a:xfrm>
            <a:custGeom>
              <a:avLst/>
              <a:gdLst/>
              <a:ahLst/>
              <a:cxnLst>
                <a:cxn ang="0">
                  <a:pos x="0" y="0"/>
                </a:cxn>
                <a:cxn ang="0">
                  <a:pos x="1" y="0"/>
                </a:cxn>
                <a:cxn ang="0">
                  <a:pos x="3" y="1"/>
                </a:cxn>
                <a:cxn ang="0">
                  <a:pos x="1" y="2"/>
                </a:cxn>
                <a:cxn ang="0">
                  <a:pos x="0" y="2"/>
                </a:cxn>
                <a:cxn ang="0">
                  <a:pos x="0" y="1"/>
                </a:cxn>
                <a:cxn ang="0">
                  <a:pos x="0" y="0"/>
                </a:cxn>
                <a:cxn ang="0">
                  <a:pos x="0" y="0"/>
                </a:cxn>
              </a:cxnLst>
              <a:rect l="0" t="0" r="r" b="b"/>
              <a:pathLst>
                <a:path w="3" h="2">
                  <a:moveTo>
                    <a:pt x="0" y="0"/>
                  </a:moveTo>
                  <a:lnTo>
                    <a:pt x="1" y="0"/>
                  </a:lnTo>
                  <a:lnTo>
                    <a:pt x="3" y="1"/>
                  </a:lnTo>
                  <a:lnTo>
                    <a:pt x="1" y="2"/>
                  </a:lnTo>
                  <a:lnTo>
                    <a:pt x="0" y="2"/>
                  </a:lnTo>
                  <a:lnTo>
                    <a:pt x="0" y="1"/>
                  </a:lnTo>
                  <a:lnTo>
                    <a:pt x="0" y="0"/>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09" name="Freeform 1047"/>
            <p:cNvSpPr>
              <a:spLocks/>
            </p:cNvSpPr>
            <p:nvPr/>
          </p:nvSpPr>
          <p:spPr bwMode="auto">
            <a:xfrm>
              <a:off x="8324882" y="3566695"/>
              <a:ext cx="2633" cy="2029"/>
            </a:xfrm>
            <a:custGeom>
              <a:avLst/>
              <a:gdLst/>
              <a:ahLst/>
              <a:cxnLst>
                <a:cxn ang="0">
                  <a:pos x="0" y="0"/>
                </a:cxn>
                <a:cxn ang="0">
                  <a:pos x="1" y="0"/>
                </a:cxn>
                <a:cxn ang="0">
                  <a:pos x="3" y="1"/>
                </a:cxn>
                <a:cxn ang="0">
                  <a:pos x="1" y="2"/>
                </a:cxn>
                <a:cxn ang="0">
                  <a:pos x="0" y="2"/>
                </a:cxn>
                <a:cxn ang="0">
                  <a:pos x="0" y="1"/>
                </a:cxn>
                <a:cxn ang="0">
                  <a:pos x="0" y="0"/>
                </a:cxn>
                <a:cxn ang="0">
                  <a:pos x="0" y="0"/>
                </a:cxn>
              </a:cxnLst>
              <a:rect l="0" t="0" r="r" b="b"/>
              <a:pathLst>
                <a:path w="3" h="2">
                  <a:moveTo>
                    <a:pt x="0" y="0"/>
                  </a:moveTo>
                  <a:lnTo>
                    <a:pt x="1" y="0"/>
                  </a:lnTo>
                  <a:lnTo>
                    <a:pt x="3" y="1"/>
                  </a:lnTo>
                  <a:lnTo>
                    <a:pt x="1" y="2"/>
                  </a:lnTo>
                  <a:lnTo>
                    <a:pt x="0" y="2"/>
                  </a:lnTo>
                  <a:lnTo>
                    <a:pt x="0" y="1"/>
                  </a:lnTo>
                  <a:lnTo>
                    <a:pt x="0" y="0"/>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10" name="Freeform 1048"/>
            <p:cNvSpPr>
              <a:spLocks/>
            </p:cNvSpPr>
            <p:nvPr/>
          </p:nvSpPr>
          <p:spPr bwMode="auto">
            <a:xfrm>
              <a:off x="7604208" y="2936918"/>
              <a:ext cx="2634" cy="3043"/>
            </a:xfrm>
            <a:custGeom>
              <a:avLst/>
              <a:gdLst/>
              <a:ahLst/>
              <a:cxnLst>
                <a:cxn ang="0">
                  <a:pos x="3" y="0"/>
                </a:cxn>
                <a:cxn ang="0">
                  <a:pos x="2" y="1"/>
                </a:cxn>
                <a:cxn ang="0">
                  <a:pos x="0" y="1"/>
                </a:cxn>
                <a:cxn ang="0">
                  <a:pos x="0" y="3"/>
                </a:cxn>
                <a:cxn ang="0">
                  <a:pos x="0" y="3"/>
                </a:cxn>
                <a:cxn ang="0">
                  <a:pos x="0" y="3"/>
                </a:cxn>
                <a:cxn ang="0">
                  <a:pos x="0" y="3"/>
                </a:cxn>
                <a:cxn ang="0">
                  <a:pos x="0" y="3"/>
                </a:cxn>
                <a:cxn ang="0">
                  <a:pos x="2" y="3"/>
                </a:cxn>
                <a:cxn ang="0">
                  <a:pos x="2" y="3"/>
                </a:cxn>
                <a:cxn ang="0">
                  <a:pos x="2" y="3"/>
                </a:cxn>
                <a:cxn ang="0">
                  <a:pos x="2" y="1"/>
                </a:cxn>
                <a:cxn ang="0">
                  <a:pos x="2" y="1"/>
                </a:cxn>
                <a:cxn ang="0">
                  <a:pos x="2" y="1"/>
                </a:cxn>
                <a:cxn ang="0">
                  <a:pos x="3" y="1"/>
                </a:cxn>
                <a:cxn ang="0">
                  <a:pos x="3" y="0"/>
                </a:cxn>
              </a:cxnLst>
              <a:rect l="0" t="0" r="r" b="b"/>
              <a:pathLst>
                <a:path w="3" h="3">
                  <a:moveTo>
                    <a:pt x="3" y="0"/>
                  </a:moveTo>
                  <a:lnTo>
                    <a:pt x="2" y="1"/>
                  </a:lnTo>
                  <a:lnTo>
                    <a:pt x="0" y="1"/>
                  </a:lnTo>
                  <a:lnTo>
                    <a:pt x="0" y="3"/>
                  </a:lnTo>
                  <a:lnTo>
                    <a:pt x="0" y="3"/>
                  </a:lnTo>
                  <a:lnTo>
                    <a:pt x="0" y="3"/>
                  </a:lnTo>
                  <a:lnTo>
                    <a:pt x="0" y="3"/>
                  </a:lnTo>
                  <a:lnTo>
                    <a:pt x="0" y="3"/>
                  </a:lnTo>
                  <a:lnTo>
                    <a:pt x="2" y="3"/>
                  </a:lnTo>
                  <a:lnTo>
                    <a:pt x="2" y="3"/>
                  </a:lnTo>
                  <a:lnTo>
                    <a:pt x="2" y="3"/>
                  </a:lnTo>
                  <a:lnTo>
                    <a:pt x="2" y="1"/>
                  </a:lnTo>
                  <a:lnTo>
                    <a:pt x="2" y="1"/>
                  </a:lnTo>
                  <a:lnTo>
                    <a:pt x="2" y="1"/>
                  </a:lnTo>
                  <a:lnTo>
                    <a:pt x="3" y="1"/>
                  </a:lnTo>
                  <a:lnTo>
                    <a:pt x="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11" name="Freeform 1049"/>
            <p:cNvSpPr>
              <a:spLocks/>
            </p:cNvSpPr>
            <p:nvPr/>
          </p:nvSpPr>
          <p:spPr bwMode="auto">
            <a:xfrm>
              <a:off x="7604208" y="2936918"/>
              <a:ext cx="2634" cy="3043"/>
            </a:xfrm>
            <a:custGeom>
              <a:avLst/>
              <a:gdLst/>
              <a:ahLst/>
              <a:cxnLst>
                <a:cxn ang="0">
                  <a:pos x="3" y="0"/>
                </a:cxn>
                <a:cxn ang="0">
                  <a:pos x="2" y="1"/>
                </a:cxn>
                <a:cxn ang="0">
                  <a:pos x="0" y="1"/>
                </a:cxn>
                <a:cxn ang="0">
                  <a:pos x="0" y="3"/>
                </a:cxn>
                <a:cxn ang="0">
                  <a:pos x="0" y="3"/>
                </a:cxn>
                <a:cxn ang="0">
                  <a:pos x="0" y="3"/>
                </a:cxn>
                <a:cxn ang="0">
                  <a:pos x="0" y="3"/>
                </a:cxn>
                <a:cxn ang="0">
                  <a:pos x="0" y="3"/>
                </a:cxn>
                <a:cxn ang="0">
                  <a:pos x="2" y="3"/>
                </a:cxn>
                <a:cxn ang="0">
                  <a:pos x="2" y="3"/>
                </a:cxn>
                <a:cxn ang="0">
                  <a:pos x="2" y="3"/>
                </a:cxn>
                <a:cxn ang="0">
                  <a:pos x="2" y="1"/>
                </a:cxn>
                <a:cxn ang="0">
                  <a:pos x="2" y="1"/>
                </a:cxn>
                <a:cxn ang="0">
                  <a:pos x="2" y="1"/>
                </a:cxn>
                <a:cxn ang="0">
                  <a:pos x="3" y="1"/>
                </a:cxn>
                <a:cxn ang="0">
                  <a:pos x="3" y="0"/>
                </a:cxn>
              </a:cxnLst>
              <a:rect l="0" t="0" r="r" b="b"/>
              <a:pathLst>
                <a:path w="3" h="3">
                  <a:moveTo>
                    <a:pt x="3" y="0"/>
                  </a:moveTo>
                  <a:lnTo>
                    <a:pt x="2" y="1"/>
                  </a:lnTo>
                  <a:lnTo>
                    <a:pt x="0" y="1"/>
                  </a:lnTo>
                  <a:lnTo>
                    <a:pt x="0" y="3"/>
                  </a:lnTo>
                  <a:lnTo>
                    <a:pt x="0" y="3"/>
                  </a:lnTo>
                  <a:lnTo>
                    <a:pt x="0" y="3"/>
                  </a:lnTo>
                  <a:lnTo>
                    <a:pt x="0" y="3"/>
                  </a:lnTo>
                  <a:lnTo>
                    <a:pt x="0" y="3"/>
                  </a:lnTo>
                  <a:lnTo>
                    <a:pt x="2" y="3"/>
                  </a:lnTo>
                  <a:lnTo>
                    <a:pt x="2" y="3"/>
                  </a:lnTo>
                  <a:lnTo>
                    <a:pt x="2" y="3"/>
                  </a:lnTo>
                  <a:lnTo>
                    <a:pt x="2" y="1"/>
                  </a:lnTo>
                  <a:lnTo>
                    <a:pt x="2" y="1"/>
                  </a:lnTo>
                  <a:lnTo>
                    <a:pt x="2" y="1"/>
                  </a:lnTo>
                  <a:lnTo>
                    <a:pt x="3" y="1"/>
                  </a:lnTo>
                  <a:lnTo>
                    <a:pt x="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12" name="Freeform 1050"/>
            <p:cNvSpPr>
              <a:spLocks/>
            </p:cNvSpPr>
            <p:nvPr/>
          </p:nvSpPr>
          <p:spPr bwMode="auto">
            <a:xfrm>
              <a:off x="7608597" y="2937934"/>
              <a:ext cx="877" cy="2029"/>
            </a:xfrm>
            <a:custGeom>
              <a:avLst/>
              <a:gdLst/>
              <a:ahLst/>
              <a:cxnLst>
                <a:cxn ang="0">
                  <a:pos x="0" y="0"/>
                </a:cxn>
                <a:cxn ang="0">
                  <a:pos x="0" y="0"/>
                </a:cxn>
                <a:cxn ang="0">
                  <a:pos x="0" y="0"/>
                </a:cxn>
                <a:cxn ang="0">
                  <a:pos x="0" y="0"/>
                </a:cxn>
                <a:cxn ang="0">
                  <a:pos x="0" y="2"/>
                </a:cxn>
                <a:cxn ang="0">
                  <a:pos x="0" y="0"/>
                </a:cxn>
                <a:cxn ang="0">
                  <a:pos x="1" y="2"/>
                </a:cxn>
                <a:cxn ang="0">
                  <a:pos x="1" y="0"/>
                </a:cxn>
                <a:cxn ang="0">
                  <a:pos x="0" y="0"/>
                </a:cxn>
              </a:cxnLst>
              <a:rect l="0" t="0" r="r" b="b"/>
              <a:pathLst>
                <a:path w="1" h="2">
                  <a:moveTo>
                    <a:pt x="0" y="0"/>
                  </a:moveTo>
                  <a:lnTo>
                    <a:pt x="0" y="0"/>
                  </a:lnTo>
                  <a:lnTo>
                    <a:pt x="0" y="0"/>
                  </a:lnTo>
                  <a:lnTo>
                    <a:pt x="0" y="0"/>
                  </a:lnTo>
                  <a:lnTo>
                    <a:pt x="0" y="2"/>
                  </a:lnTo>
                  <a:lnTo>
                    <a:pt x="0" y="0"/>
                  </a:lnTo>
                  <a:lnTo>
                    <a:pt x="1" y="2"/>
                  </a:lnTo>
                  <a:lnTo>
                    <a:pt x="1" y="0"/>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13" name="Freeform 1051"/>
            <p:cNvSpPr>
              <a:spLocks/>
            </p:cNvSpPr>
            <p:nvPr/>
          </p:nvSpPr>
          <p:spPr bwMode="auto">
            <a:xfrm>
              <a:off x="7608597" y="2937934"/>
              <a:ext cx="877" cy="2029"/>
            </a:xfrm>
            <a:custGeom>
              <a:avLst/>
              <a:gdLst/>
              <a:ahLst/>
              <a:cxnLst>
                <a:cxn ang="0">
                  <a:pos x="0" y="0"/>
                </a:cxn>
                <a:cxn ang="0">
                  <a:pos x="0" y="0"/>
                </a:cxn>
                <a:cxn ang="0">
                  <a:pos x="0" y="0"/>
                </a:cxn>
                <a:cxn ang="0">
                  <a:pos x="0" y="0"/>
                </a:cxn>
                <a:cxn ang="0">
                  <a:pos x="0" y="2"/>
                </a:cxn>
                <a:cxn ang="0">
                  <a:pos x="0" y="0"/>
                </a:cxn>
                <a:cxn ang="0">
                  <a:pos x="1" y="2"/>
                </a:cxn>
                <a:cxn ang="0">
                  <a:pos x="1" y="0"/>
                </a:cxn>
                <a:cxn ang="0">
                  <a:pos x="0" y="0"/>
                </a:cxn>
              </a:cxnLst>
              <a:rect l="0" t="0" r="r" b="b"/>
              <a:pathLst>
                <a:path w="1" h="2">
                  <a:moveTo>
                    <a:pt x="0" y="0"/>
                  </a:moveTo>
                  <a:lnTo>
                    <a:pt x="0" y="0"/>
                  </a:lnTo>
                  <a:lnTo>
                    <a:pt x="0" y="0"/>
                  </a:lnTo>
                  <a:lnTo>
                    <a:pt x="0" y="0"/>
                  </a:lnTo>
                  <a:lnTo>
                    <a:pt x="0" y="2"/>
                  </a:lnTo>
                  <a:lnTo>
                    <a:pt x="0" y="0"/>
                  </a:lnTo>
                  <a:lnTo>
                    <a:pt x="1" y="2"/>
                  </a:lnTo>
                  <a:lnTo>
                    <a:pt x="1" y="0"/>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14" name="Freeform 1052"/>
            <p:cNvSpPr>
              <a:spLocks/>
            </p:cNvSpPr>
            <p:nvPr/>
          </p:nvSpPr>
          <p:spPr bwMode="auto">
            <a:xfrm>
              <a:off x="7536618" y="2970386"/>
              <a:ext cx="30723" cy="31438"/>
            </a:xfrm>
            <a:custGeom>
              <a:avLst/>
              <a:gdLst/>
              <a:ahLst/>
              <a:cxnLst>
                <a:cxn ang="0">
                  <a:pos x="27" y="2"/>
                </a:cxn>
                <a:cxn ang="0">
                  <a:pos x="27" y="2"/>
                </a:cxn>
                <a:cxn ang="0">
                  <a:pos x="27" y="0"/>
                </a:cxn>
                <a:cxn ang="0">
                  <a:pos x="29" y="2"/>
                </a:cxn>
                <a:cxn ang="0">
                  <a:pos x="32" y="2"/>
                </a:cxn>
                <a:cxn ang="0">
                  <a:pos x="34" y="8"/>
                </a:cxn>
                <a:cxn ang="0">
                  <a:pos x="31" y="11"/>
                </a:cxn>
                <a:cxn ang="0">
                  <a:pos x="25" y="21"/>
                </a:cxn>
                <a:cxn ang="0">
                  <a:pos x="21" y="27"/>
                </a:cxn>
                <a:cxn ang="0">
                  <a:pos x="18" y="27"/>
                </a:cxn>
                <a:cxn ang="0">
                  <a:pos x="15" y="30"/>
                </a:cxn>
                <a:cxn ang="0">
                  <a:pos x="14" y="30"/>
                </a:cxn>
                <a:cxn ang="0">
                  <a:pos x="12" y="30"/>
                </a:cxn>
                <a:cxn ang="0">
                  <a:pos x="3" y="27"/>
                </a:cxn>
                <a:cxn ang="0">
                  <a:pos x="0" y="24"/>
                </a:cxn>
                <a:cxn ang="0">
                  <a:pos x="0" y="14"/>
                </a:cxn>
                <a:cxn ang="0">
                  <a:pos x="8" y="6"/>
                </a:cxn>
                <a:cxn ang="0">
                  <a:pos x="8" y="6"/>
                </a:cxn>
                <a:cxn ang="0">
                  <a:pos x="14" y="3"/>
                </a:cxn>
                <a:cxn ang="0">
                  <a:pos x="21" y="3"/>
                </a:cxn>
                <a:cxn ang="0">
                  <a:pos x="22" y="2"/>
                </a:cxn>
                <a:cxn ang="0">
                  <a:pos x="27" y="2"/>
                </a:cxn>
              </a:cxnLst>
              <a:rect l="0" t="0" r="r" b="b"/>
              <a:pathLst>
                <a:path w="34" h="30">
                  <a:moveTo>
                    <a:pt x="27" y="2"/>
                  </a:moveTo>
                  <a:lnTo>
                    <a:pt x="27" y="2"/>
                  </a:lnTo>
                  <a:lnTo>
                    <a:pt x="27" y="0"/>
                  </a:lnTo>
                  <a:lnTo>
                    <a:pt x="29" y="2"/>
                  </a:lnTo>
                  <a:lnTo>
                    <a:pt x="32" y="2"/>
                  </a:lnTo>
                  <a:lnTo>
                    <a:pt x="34" y="8"/>
                  </a:lnTo>
                  <a:lnTo>
                    <a:pt x="31" y="11"/>
                  </a:lnTo>
                  <a:lnTo>
                    <a:pt x="25" y="21"/>
                  </a:lnTo>
                  <a:lnTo>
                    <a:pt x="21" y="27"/>
                  </a:lnTo>
                  <a:lnTo>
                    <a:pt x="18" y="27"/>
                  </a:lnTo>
                  <a:lnTo>
                    <a:pt x="15" y="30"/>
                  </a:lnTo>
                  <a:lnTo>
                    <a:pt x="14" y="30"/>
                  </a:lnTo>
                  <a:lnTo>
                    <a:pt x="12" y="30"/>
                  </a:lnTo>
                  <a:lnTo>
                    <a:pt x="3" y="27"/>
                  </a:lnTo>
                  <a:lnTo>
                    <a:pt x="0" y="24"/>
                  </a:lnTo>
                  <a:lnTo>
                    <a:pt x="0" y="14"/>
                  </a:lnTo>
                  <a:lnTo>
                    <a:pt x="8" y="6"/>
                  </a:lnTo>
                  <a:lnTo>
                    <a:pt x="8" y="6"/>
                  </a:lnTo>
                  <a:lnTo>
                    <a:pt x="14" y="3"/>
                  </a:lnTo>
                  <a:lnTo>
                    <a:pt x="21" y="3"/>
                  </a:lnTo>
                  <a:lnTo>
                    <a:pt x="22" y="2"/>
                  </a:lnTo>
                  <a:lnTo>
                    <a:pt x="27"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15" name="Freeform 1053"/>
            <p:cNvSpPr>
              <a:spLocks/>
            </p:cNvSpPr>
            <p:nvPr/>
          </p:nvSpPr>
          <p:spPr bwMode="auto">
            <a:xfrm>
              <a:off x="7536618" y="2970386"/>
              <a:ext cx="30723" cy="31438"/>
            </a:xfrm>
            <a:custGeom>
              <a:avLst/>
              <a:gdLst/>
              <a:ahLst/>
              <a:cxnLst>
                <a:cxn ang="0">
                  <a:pos x="27" y="2"/>
                </a:cxn>
                <a:cxn ang="0">
                  <a:pos x="27" y="2"/>
                </a:cxn>
                <a:cxn ang="0">
                  <a:pos x="27" y="0"/>
                </a:cxn>
                <a:cxn ang="0">
                  <a:pos x="29" y="2"/>
                </a:cxn>
                <a:cxn ang="0">
                  <a:pos x="32" y="2"/>
                </a:cxn>
                <a:cxn ang="0">
                  <a:pos x="34" y="8"/>
                </a:cxn>
                <a:cxn ang="0">
                  <a:pos x="31" y="11"/>
                </a:cxn>
                <a:cxn ang="0">
                  <a:pos x="25" y="21"/>
                </a:cxn>
                <a:cxn ang="0">
                  <a:pos x="21" y="27"/>
                </a:cxn>
                <a:cxn ang="0">
                  <a:pos x="18" y="27"/>
                </a:cxn>
                <a:cxn ang="0">
                  <a:pos x="15" y="30"/>
                </a:cxn>
                <a:cxn ang="0">
                  <a:pos x="14" y="30"/>
                </a:cxn>
                <a:cxn ang="0">
                  <a:pos x="12" y="30"/>
                </a:cxn>
                <a:cxn ang="0">
                  <a:pos x="3" y="27"/>
                </a:cxn>
                <a:cxn ang="0">
                  <a:pos x="0" y="24"/>
                </a:cxn>
                <a:cxn ang="0">
                  <a:pos x="0" y="14"/>
                </a:cxn>
                <a:cxn ang="0">
                  <a:pos x="8" y="6"/>
                </a:cxn>
                <a:cxn ang="0">
                  <a:pos x="8" y="6"/>
                </a:cxn>
                <a:cxn ang="0">
                  <a:pos x="14" y="3"/>
                </a:cxn>
                <a:cxn ang="0">
                  <a:pos x="21" y="3"/>
                </a:cxn>
                <a:cxn ang="0">
                  <a:pos x="22" y="2"/>
                </a:cxn>
                <a:cxn ang="0">
                  <a:pos x="27" y="2"/>
                </a:cxn>
              </a:cxnLst>
              <a:rect l="0" t="0" r="r" b="b"/>
              <a:pathLst>
                <a:path w="34" h="30">
                  <a:moveTo>
                    <a:pt x="27" y="2"/>
                  </a:moveTo>
                  <a:lnTo>
                    <a:pt x="27" y="2"/>
                  </a:lnTo>
                  <a:lnTo>
                    <a:pt x="27" y="0"/>
                  </a:lnTo>
                  <a:lnTo>
                    <a:pt x="29" y="2"/>
                  </a:lnTo>
                  <a:lnTo>
                    <a:pt x="32" y="2"/>
                  </a:lnTo>
                  <a:lnTo>
                    <a:pt x="34" y="8"/>
                  </a:lnTo>
                  <a:lnTo>
                    <a:pt x="31" y="11"/>
                  </a:lnTo>
                  <a:lnTo>
                    <a:pt x="25" y="21"/>
                  </a:lnTo>
                  <a:lnTo>
                    <a:pt x="21" y="27"/>
                  </a:lnTo>
                  <a:lnTo>
                    <a:pt x="18" y="27"/>
                  </a:lnTo>
                  <a:lnTo>
                    <a:pt x="15" y="30"/>
                  </a:lnTo>
                  <a:lnTo>
                    <a:pt x="14" y="30"/>
                  </a:lnTo>
                  <a:lnTo>
                    <a:pt x="12" y="30"/>
                  </a:lnTo>
                  <a:lnTo>
                    <a:pt x="3" y="27"/>
                  </a:lnTo>
                  <a:lnTo>
                    <a:pt x="0" y="24"/>
                  </a:lnTo>
                  <a:lnTo>
                    <a:pt x="0" y="14"/>
                  </a:lnTo>
                  <a:lnTo>
                    <a:pt x="8" y="6"/>
                  </a:lnTo>
                  <a:lnTo>
                    <a:pt x="8" y="6"/>
                  </a:lnTo>
                  <a:lnTo>
                    <a:pt x="14" y="3"/>
                  </a:lnTo>
                  <a:lnTo>
                    <a:pt x="21" y="3"/>
                  </a:lnTo>
                  <a:lnTo>
                    <a:pt x="22" y="2"/>
                  </a:lnTo>
                  <a:lnTo>
                    <a:pt x="27"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16" name="Freeform 1054"/>
            <p:cNvSpPr>
              <a:spLocks/>
            </p:cNvSpPr>
            <p:nvPr/>
          </p:nvSpPr>
          <p:spPr bwMode="auto">
            <a:xfrm>
              <a:off x="5900397" y="2835506"/>
              <a:ext cx="7900" cy="8113"/>
            </a:xfrm>
            <a:custGeom>
              <a:avLst/>
              <a:gdLst/>
              <a:ahLst/>
              <a:cxnLst>
                <a:cxn ang="0">
                  <a:pos x="9" y="0"/>
                </a:cxn>
                <a:cxn ang="0">
                  <a:pos x="7" y="0"/>
                </a:cxn>
                <a:cxn ang="0">
                  <a:pos x="3" y="3"/>
                </a:cxn>
                <a:cxn ang="0">
                  <a:pos x="0" y="4"/>
                </a:cxn>
                <a:cxn ang="0">
                  <a:pos x="0" y="7"/>
                </a:cxn>
                <a:cxn ang="0">
                  <a:pos x="3" y="8"/>
                </a:cxn>
                <a:cxn ang="0">
                  <a:pos x="4" y="8"/>
                </a:cxn>
                <a:cxn ang="0">
                  <a:pos x="6" y="4"/>
                </a:cxn>
                <a:cxn ang="0">
                  <a:pos x="9" y="3"/>
                </a:cxn>
                <a:cxn ang="0">
                  <a:pos x="9" y="1"/>
                </a:cxn>
                <a:cxn ang="0">
                  <a:pos x="9" y="0"/>
                </a:cxn>
                <a:cxn ang="0">
                  <a:pos x="9" y="0"/>
                </a:cxn>
              </a:cxnLst>
              <a:rect l="0" t="0" r="r" b="b"/>
              <a:pathLst>
                <a:path w="9" h="8">
                  <a:moveTo>
                    <a:pt x="9" y="0"/>
                  </a:moveTo>
                  <a:lnTo>
                    <a:pt x="7" y="0"/>
                  </a:lnTo>
                  <a:lnTo>
                    <a:pt x="3" y="3"/>
                  </a:lnTo>
                  <a:lnTo>
                    <a:pt x="0" y="4"/>
                  </a:lnTo>
                  <a:lnTo>
                    <a:pt x="0" y="7"/>
                  </a:lnTo>
                  <a:lnTo>
                    <a:pt x="3" y="8"/>
                  </a:lnTo>
                  <a:lnTo>
                    <a:pt x="4" y="8"/>
                  </a:lnTo>
                  <a:lnTo>
                    <a:pt x="6" y="4"/>
                  </a:lnTo>
                  <a:lnTo>
                    <a:pt x="9" y="3"/>
                  </a:lnTo>
                  <a:lnTo>
                    <a:pt x="9" y="1"/>
                  </a:lnTo>
                  <a:lnTo>
                    <a:pt x="9" y="0"/>
                  </a:lnTo>
                  <a:lnTo>
                    <a:pt x="9"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17" name="Freeform 1055"/>
            <p:cNvSpPr>
              <a:spLocks/>
            </p:cNvSpPr>
            <p:nvPr/>
          </p:nvSpPr>
          <p:spPr bwMode="auto">
            <a:xfrm>
              <a:off x="5900397" y="2835506"/>
              <a:ext cx="7900" cy="8113"/>
            </a:xfrm>
            <a:custGeom>
              <a:avLst/>
              <a:gdLst/>
              <a:ahLst/>
              <a:cxnLst>
                <a:cxn ang="0">
                  <a:pos x="9" y="0"/>
                </a:cxn>
                <a:cxn ang="0">
                  <a:pos x="7" y="0"/>
                </a:cxn>
                <a:cxn ang="0">
                  <a:pos x="3" y="3"/>
                </a:cxn>
                <a:cxn ang="0">
                  <a:pos x="0" y="4"/>
                </a:cxn>
                <a:cxn ang="0">
                  <a:pos x="0" y="7"/>
                </a:cxn>
                <a:cxn ang="0">
                  <a:pos x="3" y="8"/>
                </a:cxn>
                <a:cxn ang="0">
                  <a:pos x="4" y="8"/>
                </a:cxn>
                <a:cxn ang="0">
                  <a:pos x="6" y="4"/>
                </a:cxn>
                <a:cxn ang="0">
                  <a:pos x="9" y="3"/>
                </a:cxn>
                <a:cxn ang="0">
                  <a:pos x="9" y="1"/>
                </a:cxn>
                <a:cxn ang="0">
                  <a:pos x="9" y="0"/>
                </a:cxn>
                <a:cxn ang="0">
                  <a:pos x="9" y="0"/>
                </a:cxn>
              </a:cxnLst>
              <a:rect l="0" t="0" r="r" b="b"/>
              <a:pathLst>
                <a:path w="9" h="8">
                  <a:moveTo>
                    <a:pt x="9" y="0"/>
                  </a:moveTo>
                  <a:lnTo>
                    <a:pt x="7" y="0"/>
                  </a:lnTo>
                  <a:lnTo>
                    <a:pt x="3" y="3"/>
                  </a:lnTo>
                  <a:lnTo>
                    <a:pt x="0" y="4"/>
                  </a:lnTo>
                  <a:lnTo>
                    <a:pt x="0" y="7"/>
                  </a:lnTo>
                  <a:lnTo>
                    <a:pt x="3" y="8"/>
                  </a:lnTo>
                  <a:lnTo>
                    <a:pt x="4" y="8"/>
                  </a:lnTo>
                  <a:lnTo>
                    <a:pt x="6" y="4"/>
                  </a:lnTo>
                  <a:lnTo>
                    <a:pt x="9" y="3"/>
                  </a:lnTo>
                  <a:lnTo>
                    <a:pt x="9" y="1"/>
                  </a:lnTo>
                  <a:lnTo>
                    <a:pt x="9" y="0"/>
                  </a:lnTo>
                  <a:lnTo>
                    <a:pt x="9"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18" name="Freeform 1056"/>
            <p:cNvSpPr>
              <a:spLocks/>
            </p:cNvSpPr>
            <p:nvPr/>
          </p:nvSpPr>
          <p:spPr bwMode="auto">
            <a:xfrm>
              <a:off x="5914442" y="2842605"/>
              <a:ext cx="4389" cy="6085"/>
            </a:xfrm>
            <a:custGeom>
              <a:avLst/>
              <a:gdLst/>
              <a:ahLst/>
              <a:cxnLst>
                <a:cxn ang="0">
                  <a:pos x="1" y="0"/>
                </a:cxn>
                <a:cxn ang="0">
                  <a:pos x="0" y="3"/>
                </a:cxn>
                <a:cxn ang="0">
                  <a:pos x="0" y="6"/>
                </a:cxn>
                <a:cxn ang="0">
                  <a:pos x="1" y="6"/>
                </a:cxn>
                <a:cxn ang="0">
                  <a:pos x="2" y="6"/>
                </a:cxn>
                <a:cxn ang="0">
                  <a:pos x="4" y="6"/>
                </a:cxn>
                <a:cxn ang="0">
                  <a:pos x="5" y="4"/>
                </a:cxn>
                <a:cxn ang="0">
                  <a:pos x="5" y="4"/>
                </a:cxn>
                <a:cxn ang="0">
                  <a:pos x="5" y="1"/>
                </a:cxn>
                <a:cxn ang="0">
                  <a:pos x="5" y="0"/>
                </a:cxn>
                <a:cxn ang="0">
                  <a:pos x="1" y="0"/>
                </a:cxn>
              </a:cxnLst>
              <a:rect l="0" t="0" r="r" b="b"/>
              <a:pathLst>
                <a:path w="5" h="6">
                  <a:moveTo>
                    <a:pt x="1" y="0"/>
                  </a:moveTo>
                  <a:lnTo>
                    <a:pt x="0" y="3"/>
                  </a:lnTo>
                  <a:lnTo>
                    <a:pt x="0" y="6"/>
                  </a:lnTo>
                  <a:lnTo>
                    <a:pt x="1" y="6"/>
                  </a:lnTo>
                  <a:lnTo>
                    <a:pt x="2" y="6"/>
                  </a:lnTo>
                  <a:lnTo>
                    <a:pt x="4" y="6"/>
                  </a:lnTo>
                  <a:lnTo>
                    <a:pt x="5" y="4"/>
                  </a:lnTo>
                  <a:lnTo>
                    <a:pt x="5" y="4"/>
                  </a:lnTo>
                  <a:lnTo>
                    <a:pt x="5" y="1"/>
                  </a:lnTo>
                  <a:lnTo>
                    <a:pt x="5" y="0"/>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19" name="Freeform 1057"/>
            <p:cNvSpPr>
              <a:spLocks/>
            </p:cNvSpPr>
            <p:nvPr/>
          </p:nvSpPr>
          <p:spPr bwMode="auto">
            <a:xfrm>
              <a:off x="5914442" y="2842605"/>
              <a:ext cx="4389" cy="6085"/>
            </a:xfrm>
            <a:custGeom>
              <a:avLst/>
              <a:gdLst/>
              <a:ahLst/>
              <a:cxnLst>
                <a:cxn ang="0">
                  <a:pos x="1" y="0"/>
                </a:cxn>
                <a:cxn ang="0">
                  <a:pos x="0" y="3"/>
                </a:cxn>
                <a:cxn ang="0">
                  <a:pos x="0" y="6"/>
                </a:cxn>
                <a:cxn ang="0">
                  <a:pos x="1" y="6"/>
                </a:cxn>
                <a:cxn ang="0">
                  <a:pos x="2" y="6"/>
                </a:cxn>
                <a:cxn ang="0">
                  <a:pos x="4" y="6"/>
                </a:cxn>
                <a:cxn ang="0">
                  <a:pos x="5" y="4"/>
                </a:cxn>
                <a:cxn ang="0">
                  <a:pos x="5" y="4"/>
                </a:cxn>
                <a:cxn ang="0">
                  <a:pos x="5" y="1"/>
                </a:cxn>
                <a:cxn ang="0">
                  <a:pos x="5" y="0"/>
                </a:cxn>
                <a:cxn ang="0">
                  <a:pos x="1" y="0"/>
                </a:cxn>
              </a:cxnLst>
              <a:rect l="0" t="0" r="r" b="b"/>
              <a:pathLst>
                <a:path w="5" h="6">
                  <a:moveTo>
                    <a:pt x="1" y="0"/>
                  </a:moveTo>
                  <a:lnTo>
                    <a:pt x="0" y="3"/>
                  </a:lnTo>
                  <a:lnTo>
                    <a:pt x="0" y="6"/>
                  </a:lnTo>
                  <a:lnTo>
                    <a:pt x="1" y="6"/>
                  </a:lnTo>
                  <a:lnTo>
                    <a:pt x="2" y="6"/>
                  </a:lnTo>
                  <a:lnTo>
                    <a:pt x="4" y="6"/>
                  </a:lnTo>
                  <a:lnTo>
                    <a:pt x="5" y="4"/>
                  </a:lnTo>
                  <a:lnTo>
                    <a:pt x="5" y="4"/>
                  </a:lnTo>
                  <a:lnTo>
                    <a:pt x="5" y="1"/>
                  </a:lnTo>
                  <a:lnTo>
                    <a:pt x="5" y="0"/>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20" name="Freeform 1058"/>
            <p:cNvSpPr>
              <a:spLocks/>
            </p:cNvSpPr>
            <p:nvPr/>
          </p:nvSpPr>
          <p:spPr bwMode="auto">
            <a:xfrm>
              <a:off x="5931998" y="2832464"/>
              <a:ext cx="7022" cy="11155"/>
            </a:xfrm>
            <a:custGeom>
              <a:avLst/>
              <a:gdLst/>
              <a:ahLst/>
              <a:cxnLst>
                <a:cxn ang="0">
                  <a:pos x="7" y="1"/>
                </a:cxn>
                <a:cxn ang="0">
                  <a:pos x="7" y="0"/>
                </a:cxn>
                <a:cxn ang="0">
                  <a:pos x="6" y="1"/>
                </a:cxn>
                <a:cxn ang="0">
                  <a:pos x="1" y="8"/>
                </a:cxn>
                <a:cxn ang="0">
                  <a:pos x="1" y="10"/>
                </a:cxn>
                <a:cxn ang="0">
                  <a:pos x="0" y="11"/>
                </a:cxn>
                <a:cxn ang="0">
                  <a:pos x="4" y="8"/>
                </a:cxn>
                <a:cxn ang="0">
                  <a:pos x="6" y="7"/>
                </a:cxn>
                <a:cxn ang="0">
                  <a:pos x="7" y="4"/>
                </a:cxn>
                <a:cxn ang="0">
                  <a:pos x="7" y="1"/>
                </a:cxn>
              </a:cxnLst>
              <a:rect l="0" t="0" r="r" b="b"/>
              <a:pathLst>
                <a:path w="7" h="11">
                  <a:moveTo>
                    <a:pt x="7" y="1"/>
                  </a:moveTo>
                  <a:lnTo>
                    <a:pt x="7" y="0"/>
                  </a:lnTo>
                  <a:lnTo>
                    <a:pt x="6" y="1"/>
                  </a:lnTo>
                  <a:lnTo>
                    <a:pt x="1" y="8"/>
                  </a:lnTo>
                  <a:lnTo>
                    <a:pt x="1" y="10"/>
                  </a:lnTo>
                  <a:lnTo>
                    <a:pt x="0" y="11"/>
                  </a:lnTo>
                  <a:lnTo>
                    <a:pt x="4" y="8"/>
                  </a:lnTo>
                  <a:lnTo>
                    <a:pt x="6" y="7"/>
                  </a:lnTo>
                  <a:lnTo>
                    <a:pt x="7" y="4"/>
                  </a:lnTo>
                  <a:lnTo>
                    <a:pt x="7"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21" name="Freeform 1059"/>
            <p:cNvSpPr>
              <a:spLocks/>
            </p:cNvSpPr>
            <p:nvPr/>
          </p:nvSpPr>
          <p:spPr bwMode="auto">
            <a:xfrm>
              <a:off x="5931998" y="2832464"/>
              <a:ext cx="7022" cy="11155"/>
            </a:xfrm>
            <a:custGeom>
              <a:avLst/>
              <a:gdLst/>
              <a:ahLst/>
              <a:cxnLst>
                <a:cxn ang="0">
                  <a:pos x="7" y="1"/>
                </a:cxn>
                <a:cxn ang="0">
                  <a:pos x="7" y="0"/>
                </a:cxn>
                <a:cxn ang="0">
                  <a:pos x="6" y="1"/>
                </a:cxn>
                <a:cxn ang="0">
                  <a:pos x="1" y="8"/>
                </a:cxn>
                <a:cxn ang="0">
                  <a:pos x="1" y="10"/>
                </a:cxn>
                <a:cxn ang="0">
                  <a:pos x="0" y="11"/>
                </a:cxn>
                <a:cxn ang="0">
                  <a:pos x="4" y="8"/>
                </a:cxn>
                <a:cxn ang="0">
                  <a:pos x="6" y="7"/>
                </a:cxn>
                <a:cxn ang="0">
                  <a:pos x="7" y="4"/>
                </a:cxn>
                <a:cxn ang="0">
                  <a:pos x="7" y="1"/>
                </a:cxn>
              </a:cxnLst>
              <a:rect l="0" t="0" r="r" b="b"/>
              <a:pathLst>
                <a:path w="7" h="11">
                  <a:moveTo>
                    <a:pt x="7" y="1"/>
                  </a:moveTo>
                  <a:lnTo>
                    <a:pt x="7" y="0"/>
                  </a:lnTo>
                  <a:lnTo>
                    <a:pt x="6" y="1"/>
                  </a:lnTo>
                  <a:lnTo>
                    <a:pt x="1" y="8"/>
                  </a:lnTo>
                  <a:lnTo>
                    <a:pt x="1" y="10"/>
                  </a:lnTo>
                  <a:lnTo>
                    <a:pt x="0" y="11"/>
                  </a:lnTo>
                  <a:lnTo>
                    <a:pt x="4" y="8"/>
                  </a:lnTo>
                  <a:lnTo>
                    <a:pt x="6" y="7"/>
                  </a:lnTo>
                  <a:lnTo>
                    <a:pt x="7" y="4"/>
                  </a:lnTo>
                  <a:lnTo>
                    <a:pt x="7"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22" name="Freeform 1060"/>
            <p:cNvSpPr>
              <a:spLocks/>
            </p:cNvSpPr>
            <p:nvPr/>
          </p:nvSpPr>
          <p:spPr bwMode="auto">
            <a:xfrm>
              <a:off x="5939021" y="2824350"/>
              <a:ext cx="5267" cy="6085"/>
            </a:xfrm>
            <a:custGeom>
              <a:avLst/>
              <a:gdLst/>
              <a:ahLst/>
              <a:cxnLst>
                <a:cxn ang="0">
                  <a:pos x="6" y="0"/>
                </a:cxn>
                <a:cxn ang="0">
                  <a:pos x="5" y="0"/>
                </a:cxn>
                <a:cxn ang="0">
                  <a:pos x="5" y="2"/>
                </a:cxn>
                <a:cxn ang="0">
                  <a:pos x="2" y="3"/>
                </a:cxn>
                <a:cxn ang="0">
                  <a:pos x="0" y="5"/>
                </a:cxn>
                <a:cxn ang="0">
                  <a:pos x="0" y="6"/>
                </a:cxn>
                <a:cxn ang="0">
                  <a:pos x="3" y="5"/>
                </a:cxn>
                <a:cxn ang="0">
                  <a:pos x="5" y="5"/>
                </a:cxn>
                <a:cxn ang="0">
                  <a:pos x="6" y="0"/>
                </a:cxn>
              </a:cxnLst>
              <a:rect l="0" t="0" r="r" b="b"/>
              <a:pathLst>
                <a:path w="6" h="6">
                  <a:moveTo>
                    <a:pt x="6" y="0"/>
                  </a:moveTo>
                  <a:lnTo>
                    <a:pt x="5" y="0"/>
                  </a:lnTo>
                  <a:lnTo>
                    <a:pt x="5" y="2"/>
                  </a:lnTo>
                  <a:lnTo>
                    <a:pt x="2" y="3"/>
                  </a:lnTo>
                  <a:lnTo>
                    <a:pt x="0" y="5"/>
                  </a:lnTo>
                  <a:lnTo>
                    <a:pt x="0" y="6"/>
                  </a:lnTo>
                  <a:lnTo>
                    <a:pt x="3" y="5"/>
                  </a:lnTo>
                  <a:lnTo>
                    <a:pt x="5" y="5"/>
                  </a:lnTo>
                  <a:lnTo>
                    <a:pt x="6"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23" name="Freeform 1061"/>
            <p:cNvSpPr>
              <a:spLocks/>
            </p:cNvSpPr>
            <p:nvPr/>
          </p:nvSpPr>
          <p:spPr bwMode="auto">
            <a:xfrm>
              <a:off x="5939021" y="2824350"/>
              <a:ext cx="5267" cy="6085"/>
            </a:xfrm>
            <a:custGeom>
              <a:avLst/>
              <a:gdLst/>
              <a:ahLst/>
              <a:cxnLst>
                <a:cxn ang="0">
                  <a:pos x="6" y="0"/>
                </a:cxn>
                <a:cxn ang="0">
                  <a:pos x="5" y="0"/>
                </a:cxn>
                <a:cxn ang="0">
                  <a:pos x="5" y="2"/>
                </a:cxn>
                <a:cxn ang="0">
                  <a:pos x="2" y="3"/>
                </a:cxn>
                <a:cxn ang="0">
                  <a:pos x="0" y="5"/>
                </a:cxn>
                <a:cxn ang="0">
                  <a:pos x="0" y="6"/>
                </a:cxn>
                <a:cxn ang="0">
                  <a:pos x="3" y="5"/>
                </a:cxn>
                <a:cxn ang="0">
                  <a:pos x="5" y="5"/>
                </a:cxn>
                <a:cxn ang="0">
                  <a:pos x="6" y="0"/>
                </a:cxn>
              </a:cxnLst>
              <a:rect l="0" t="0" r="r" b="b"/>
              <a:pathLst>
                <a:path w="6" h="6">
                  <a:moveTo>
                    <a:pt x="6" y="0"/>
                  </a:moveTo>
                  <a:lnTo>
                    <a:pt x="5" y="0"/>
                  </a:lnTo>
                  <a:lnTo>
                    <a:pt x="5" y="2"/>
                  </a:lnTo>
                  <a:lnTo>
                    <a:pt x="2" y="3"/>
                  </a:lnTo>
                  <a:lnTo>
                    <a:pt x="0" y="5"/>
                  </a:lnTo>
                  <a:lnTo>
                    <a:pt x="0" y="6"/>
                  </a:lnTo>
                  <a:lnTo>
                    <a:pt x="3" y="5"/>
                  </a:lnTo>
                  <a:lnTo>
                    <a:pt x="5" y="5"/>
                  </a:lnTo>
                  <a:lnTo>
                    <a:pt x="6"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24" name="Freeform 1062"/>
            <p:cNvSpPr>
              <a:spLocks/>
            </p:cNvSpPr>
            <p:nvPr/>
          </p:nvSpPr>
          <p:spPr bwMode="auto">
            <a:xfrm>
              <a:off x="6212894" y="3250286"/>
              <a:ext cx="1756" cy="3042"/>
            </a:xfrm>
            <a:custGeom>
              <a:avLst/>
              <a:gdLst/>
              <a:ahLst/>
              <a:cxnLst>
                <a:cxn ang="0">
                  <a:pos x="2" y="0"/>
                </a:cxn>
                <a:cxn ang="0">
                  <a:pos x="2" y="0"/>
                </a:cxn>
                <a:cxn ang="0">
                  <a:pos x="2" y="0"/>
                </a:cxn>
                <a:cxn ang="0">
                  <a:pos x="2" y="1"/>
                </a:cxn>
                <a:cxn ang="0">
                  <a:pos x="0" y="3"/>
                </a:cxn>
                <a:cxn ang="0">
                  <a:pos x="0" y="0"/>
                </a:cxn>
                <a:cxn ang="0">
                  <a:pos x="0" y="0"/>
                </a:cxn>
                <a:cxn ang="0">
                  <a:pos x="2" y="0"/>
                </a:cxn>
              </a:cxnLst>
              <a:rect l="0" t="0" r="r" b="b"/>
              <a:pathLst>
                <a:path w="2" h="3">
                  <a:moveTo>
                    <a:pt x="2" y="0"/>
                  </a:moveTo>
                  <a:lnTo>
                    <a:pt x="2" y="0"/>
                  </a:lnTo>
                  <a:lnTo>
                    <a:pt x="2" y="0"/>
                  </a:lnTo>
                  <a:lnTo>
                    <a:pt x="2" y="1"/>
                  </a:lnTo>
                  <a:lnTo>
                    <a:pt x="0" y="3"/>
                  </a:lnTo>
                  <a:lnTo>
                    <a:pt x="0" y="0"/>
                  </a:lnTo>
                  <a:lnTo>
                    <a:pt x="0" y="0"/>
                  </a:lnTo>
                  <a:lnTo>
                    <a:pt x="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25" name="Freeform 1063"/>
            <p:cNvSpPr>
              <a:spLocks/>
            </p:cNvSpPr>
            <p:nvPr/>
          </p:nvSpPr>
          <p:spPr bwMode="auto">
            <a:xfrm>
              <a:off x="6212894" y="3250286"/>
              <a:ext cx="1756" cy="3042"/>
            </a:xfrm>
            <a:custGeom>
              <a:avLst/>
              <a:gdLst/>
              <a:ahLst/>
              <a:cxnLst>
                <a:cxn ang="0">
                  <a:pos x="2" y="0"/>
                </a:cxn>
                <a:cxn ang="0">
                  <a:pos x="2" y="0"/>
                </a:cxn>
                <a:cxn ang="0">
                  <a:pos x="2" y="0"/>
                </a:cxn>
                <a:cxn ang="0">
                  <a:pos x="2" y="1"/>
                </a:cxn>
                <a:cxn ang="0">
                  <a:pos x="0" y="3"/>
                </a:cxn>
                <a:cxn ang="0">
                  <a:pos x="0" y="0"/>
                </a:cxn>
                <a:cxn ang="0">
                  <a:pos x="0" y="0"/>
                </a:cxn>
                <a:cxn ang="0">
                  <a:pos x="2" y="0"/>
                </a:cxn>
              </a:cxnLst>
              <a:rect l="0" t="0" r="r" b="b"/>
              <a:pathLst>
                <a:path w="2" h="3">
                  <a:moveTo>
                    <a:pt x="2" y="0"/>
                  </a:moveTo>
                  <a:lnTo>
                    <a:pt x="2" y="0"/>
                  </a:lnTo>
                  <a:lnTo>
                    <a:pt x="2" y="0"/>
                  </a:lnTo>
                  <a:lnTo>
                    <a:pt x="2" y="1"/>
                  </a:lnTo>
                  <a:lnTo>
                    <a:pt x="0" y="3"/>
                  </a:lnTo>
                  <a:lnTo>
                    <a:pt x="0" y="0"/>
                  </a:lnTo>
                  <a:lnTo>
                    <a:pt x="0" y="0"/>
                  </a:lnTo>
                  <a:lnTo>
                    <a:pt x="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26" name="Freeform 1064"/>
            <p:cNvSpPr>
              <a:spLocks/>
            </p:cNvSpPr>
            <p:nvPr/>
          </p:nvSpPr>
          <p:spPr bwMode="auto">
            <a:xfrm>
              <a:off x="6203237" y="3267526"/>
              <a:ext cx="3511" cy="5071"/>
            </a:xfrm>
            <a:custGeom>
              <a:avLst/>
              <a:gdLst/>
              <a:ahLst/>
              <a:cxnLst>
                <a:cxn ang="0">
                  <a:pos x="3" y="0"/>
                </a:cxn>
                <a:cxn ang="0">
                  <a:pos x="4" y="0"/>
                </a:cxn>
                <a:cxn ang="0">
                  <a:pos x="4" y="0"/>
                </a:cxn>
                <a:cxn ang="0">
                  <a:pos x="4" y="3"/>
                </a:cxn>
                <a:cxn ang="0">
                  <a:pos x="3" y="5"/>
                </a:cxn>
                <a:cxn ang="0">
                  <a:pos x="1" y="5"/>
                </a:cxn>
                <a:cxn ang="0">
                  <a:pos x="0" y="5"/>
                </a:cxn>
                <a:cxn ang="0">
                  <a:pos x="0" y="3"/>
                </a:cxn>
                <a:cxn ang="0">
                  <a:pos x="0" y="2"/>
                </a:cxn>
                <a:cxn ang="0">
                  <a:pos x="1" y="0"/>
                </a:cxn>
                <a:cxn ang="0">
                  <a:pos x="3" y="0"/>
                </a:cxn>
              </a:cxnLst>
              <a:rect l="0" t="0" r="r" b="b"/>
              <a:pathLst>
                <a:path w="4" h="5">
                  <a:moveTo>
                    <a:pt x="3" y="0"/>
                  </a:moveTo>
                  <a:lnTo>
                    <a:pt x="4" y="0"/>
                  </a:lnTo>
                  <a:lnTo>
                    <a:pt x="4" y="0"/>
                  </a:lnTo>
                  <a:lnTo>
                    <a:pt x="4" y="3"/>
                  </a:lnTo>
                  <a:lnTo>
                    <a:pt x="3" y="5"/>
                  </a:lnTo>
                  <a:lnTo>
                    <a:pt x="1" y="5"/>
                  </a:lnTo>
                  <a:lnTo>
                    <a:pt x="0" y="5"/>
                  </a:lnTo>
                  <a:lnTo>
                    <a:pt x="0" y="3"/>
                  </a:lnTo>
                  <a:lnTo>
                    <a:pt x="0" y="2"/>
                  </a:lnTo>
                  <a:lnTo>
                    <a:pt x="1" y="0"/>
                  </a:lnTo>
                  <a:lnTo>
                    <a:pt x="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27" name="Freeform 1065"/>
            <p:cNvSpPr>
              <a:spLocks/>
            </p:cNvSpPr>
            <p:nvPr/>
          </p:nvSpPr>
          <p:spPr bwMode="auto">
            <a:xfrm>
              <a:off x="6203237" y="3267526"/>
              <a:ext cx="3511" cy="5071"/>
            </a:xfrm>
            <a:custGeom>
              <a:avLst/>
              <a:gdLst/>
              <a:ahLst/>
              <a:cxnLst>
                <a:cxn ang="0">
                  <a:pos x="3" y="0"/>
                </a:cxn>
                <a:cxn ang="0">
                  <a:pos x="4" y="0"/>
                </a:cxn>
                <a:cxn ang="0">
                  <a:pos x="4" y="0"/>
                </a:cxn>
                <a:cxn ang="0">
                  <a:pos x="4" y="3"/>
                </a:cxn>
                <a:cxn ang="0">
                  <a:pos x="3" y="5"/>
                </a:cxn>
                <a:cxn ang="0">
                  <a:pos x="1" y="5"/>
                </a:cxn>
                <a:cxn ang="0">
                  <a:pos x="0" y="5"/>
                </a:cxn>
                <a:cxn ang="0">
                  <a:pos x="0" y="3"/>
                </a:cxn>
                <a:cxn ang="0">
                  <a:pos x="0" y="2"/>
                </a:cxn>
                <a:cxn ang="0">
                  <a:pos x="1" y="0"/>
                </a:cxn>
                <a:cxn ang="0">
                  <a:pos x="3" y="0"/>
                </a:cxn>
              </a:cxnLst>
              <a:rect l="0" t="0" r="r" b="b"/>
              <a:pathLst>
                <a:path w="4" h="5">
                  <a:moveTo>
                    <a:pt x="3" y="0"/>
                  </a:moveTo>
                  <a:lnTo>
                    <a:pt x="4" y="0"/>
                  </a:lnTo>
                  <a:lnTo>
                    <a:pt x="4" y="0"/>
                  </a:lnTo>
                  <a:lnTo>
                    <a:pt x="4" y="3"/>
                  </a:lnTo>
                  <a:lnTo>
                    <a:pt x="3" y="5"/>
                  </a:lnTo>
                  <a:lnTo>
                    <a:pt x="1" y="5"/>
                  </a:lnTo>
                  <a:lnTo>
                    <a:pt x="0" y="5"/>
                  </a:lnTo>
                  <a:lnTo>
                    <a:pt x="0" y="3"/>
                  </a:lnTo>
                  <a:lnTo>
                    <a:pt x="0" y="2"/>
                  </a:lnTo>
                  <a:lnTo>
                    <a:pt x="1" y="0"/>
                  </a:lnTo>
                  <a:lnTo>
                    <a:pt x="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28" name="Freeform 1066"/>
            <p:cNvSpPr>
              <a:spLocks/>
            </p:cNvSpPr>
            <p:nvPr/>
          </p:nvSpPr>
          <p:spPr bwMode="auto">
            <a:xfrm>
              <a:off x="7079284" y="2338581"/>
              <a:ext cx="799676" cy="630791"/>
            </a:xfrm>
            <a:custGeom>
              <a:avLst/>
              <a:gdLst/>
              <a:ahLst/>
              <a:cxnLst>
                <a:cxn ang="0">
                  <a:pos x="574" y="571"/>
                </a:cxn>
                <a:cxn ang="0">
                  <a:pos x="554" y="583"/>
                </a:cxn>
                <a:cxn ang="0">
                  <a:pos x="523" y="602"/>
                </a:cxn>
                <a:cxn ang="0">
                  <a:pos x="496" y="586"/>
                </a:cxn>
                <a:cxn ang="0">
                  <a:pos x="461" y="567"/>
                </a:cxn>
                <a:cxn ang="0">
                  <a:pos x="417" y="571"/>
                </a:cxn>
                <a:cxn ang="0">
                  <a:pos x="400" y="590"/>
                </a:cxn>
                <a:cxn ang="0">
                  <a:pos x="359" y="551"/>
                </a:cxn>
                <a:cxn ang="0">
                  <a:pos x="355" y="494"/>
                </a:cxn>
                <a:cxn ang="0">
                  <a:pos x="323" y="478"/>
                </a:cxn>
                <a:cxn ang="0">
                  <a:pos x="291" y="471"/>
                </a:cxn>
                <a:cxn ang="0">
                  <a:pos x="239" y="484"/>
                </a:cxn>
                <a:cxn ang="0">
                  <a:pos x="215" y="490"/>
                </a:cxn>
                <a:cxn ang="0">
                  <a:pos x="195" y="490"/>
                </a:cxn>
                <a:cxn ang="0">
                  <a:pos x="173" y="485"/>
                </a:cxn>
                <a:cxn ang="0">
                  <a:pos x="154" y="475"/>
                </a:cxn>
                <a:cxn ang="0">
                  <a:pos x="146" y="466"/>
                </a:cxn>
                <a:cxn ang="0">
                  <a:pos x="109" y="449"/>
                </a:cxn>
                <a:cxn ang="0">
                  <a:pos x="95" y="443"/>
                </a:cxn>
                <a:cxn ang="0">
                  <a:pos x="79" y="437"/>
                </a:cxn>
                <a:cxn ang="0">
                  <a:pos x="73" y="421"/>
                </a:cxn>
                <a:cxn ang="0">
                  <a:pos x="77" y="414"/>
                </a:cxn>
                <a:cxn ang="0">
                  <a:pos x="82" y="401"/>
                </a:cxn>
                <a:cxn ang="0">
                  <a:pos x="77" y="387"/>
                </a:cxn>
                <a:cxn ang="0">
                  <a:pos x="92" y="372"/>
                </a:cxn>
                <a:cxn ang="0">
                  <a:pos x="89" y="359"/>
                </a:cxn>
                <a:cxn ang="0">
                  <a:pos x="79" y="353"/>
                </a:cxn>
                <a:cxn ang="0">
                  <a:pos x="43" y="356"/>
                </a:cxn>
                <a:cxn ang="0">
                  <a:pos x="34" y="349"/>
                </a:cxn>
                <a:cxn ang="0">
                  <a:pos x="21" y="334"/>
                </a:cxn>
                <a:cxn ang="0">
                  <a:pos x="19" y="330"/>
                </a:cxn>
                <a:cxn ang="0">
                  <a:pos x="15" y="275"/>
                </a:cxn>
                <a:cxn ang="0">
                  <a:pos x="72" y="251"/>
                </a:cxn>
                <a:cxn ang="0">
                  <a:pos x="122" y="170"/>
                </a:cxn>
                <a:cxn ang="0">
                  <a:pos x="188" y="108"/>
                </a:cxn>
                <a:cxn ang="0">
                  <a:pos x="234" y="126"/>
                </a:cxn>
                <a:cxn ang="0">
                  <a:pos x="397" y="230"/>
                </a:cxn>
                <a:cxn ang="0">
                  <a:pos x="496" y="233"/>
                </a:cxn>
                <a:cxn ang="0">
                  <a:pos x="558" y="187"/>
                </a:cxn>
                <a:cxn ang="0">
                  <a:pos x="647" y="134"/>
                </a:cxn>
                <a:cxn ang="0">
                  <a:pos x="629" y="87"/>
                </a:cxn>
                <a:cxn ang="0">
                  <a:pos x="667" y="22"/>
                </a:cxn>
                <a:cxn ang="0">
                  <a:pos x="745" y="22"/>
                </a:cxn>
                <a:cxn ang="0">
                  <a:pos x="806" y="102"/>
                </a:cxn>
                <a:cxn ang="0">
                  <a:pos x="854" y="119"/>
                </a:cxn>
                <a:cxn ang="0">
                  <a:pos x="829" y="179"/>
                </a:cxn>
                <a:cxn ang="0">
                  <a:pos x="777" y="244"/>
                </a:cxn>
                <a:cxn ang="0">
                  <a:pos x="694" y="292"/>
                </a:cxn>
                <a:cxn ang="0">
                  <a:pos x="681" y="288"/>
                </a:cxn>
                <a:cxn ang="0">
                  <a:pos x="651" y="292"/>
                </a:cxn>
                <a:cxn ang="0">
                  <a:pos x="641" y="321"/>
                </a:cxn>
                <a:cxn ang="0">
                  <a:pos x="683" y="328"/>
                </a:cxn>
                <a:cxn ang="0">
                  <a:pos x="687" y="336"/>
                </a:cxn>
                <a:cxn ang="0">
                  <a:pos x="661" y="352"/>
                </a:cxn>
                <a:cxn ang="0">
                  <a:pos x="680" y="417"/>
                </a:cxn>
                <a:cxn ang="0">
                  <a:pos x="680" y="430"/>
                </a:cxn>
                <a:cxn ang="0">
                  <a:pos x="677" y="449"/>
                </a:cxn>
                <a:cxn ang="0">
                  <a:pos x="681" y="468"/>
                </a:cxn>
                <a:cxn ang="0">
                  <a:pos x="661" y="504"/>
                </a:cxn>
                <a:cxn ang="0">
                  <a:pos x="652" y="523"/>
                </a:cxn>
                <a:cxn ang="0">
                  <a:pos x="641" y="538"/>
                </a:cxn>
                <a:cxn ang="0">
                  <a:pos x="623" y="554"/>
                </a:cxn>
                <a:cxn ang="0">
                  <a:pos x="593" y="568"/>
                </a:cxn>
              </a:cxnLst>
              <a:rect l="0" t="0" r="r" b="b"/>
              <a:pathLst>
                <a:path w="872" h="606">
                  <a:moveTo>
                    <a:pt x="583" y="571"/>
                  </a:moveTo>
                  <a:lnTo>
                    <a:pt x="581" y="573"/>
                  </a:lnTo>
                  <a:lnTo>
                    <a:pt x="581" y="573"/>
                  </a:lnTo>
                  <a:lnTo>
                    <a:pt x="581" y="571"/>
                  </a:lnTo>
                  <a:lnTo>
                    <a:pt x="580" y="571"/>
                  </a:lnTo>
                  <a:lnTo>
                    <a:pt x="578" y="571"/>
                  </a:lnTo>
                  <a:lnTo>
                    <a:pt x="577" y="571"/>
                  </a:lnTo>
                  <a:lnTo>
                    <a:pt x="577" y="573"/>
                  </a:lnTo>
                  <a:lnTo>
                    <a:pt x="578" y="574"/>
                  </a:lnTo>
                  <a:lnTo>
                    <a:pt x="574" y="574"/>
                  </a:lnTo>
                  <a:lnTo>
                    <a:pt x="574" y="573"/>
                  </a:lnTo>
                  <a:lnTo>
                    <a:pt x="574" y="573"/>
                  </a:lnTo>
                  <a:lnTo>
                    <a:pt x="574" y="571"/>
                  </a:lnTo>
                  <a:lnTo>
                    <a:pt x="571" y="570"/>
                  </a:lnTo>
                  <a:lnTo>
                    <a:pt x="568" y="568"/>
                  </a:lnTo>
                  <a:lnTo>
                    <a:pt x="568" y="567"/>
                  </a:lnTo>
                  <a:lnTo>
                    <a:pt x="568" y="575"/>
                  </a:lnTo>
                  <a:lnTo>
                    <a:pt x="567" y="575"/>
                  </a:lnTo>
                  <a:lnTo>
                    <a:pt x="565" y="575"/>
                  </a:lnTo>
                  <a:lnTo>
                    <a:pt x="562" y="571"/>
                  </a:lnTo>
                  <a:lnTo>
                    <a:pt x="561" y="570"/>
                  </a:lnTo>
                  <a:lnTo>
                    <a:pt x="559" y="577"/>
                  </a:lnTo>
                  <a:lnTo>
                    <a:pt x="559" y="580"/>
                  </a:lnTo>
                  <a:lnTo>
                    <a:pt x="559" y="581"/>
                  </a:lnTo>
                  <a:lnTo>
                    <a:pt x="558" y="580"/>
                  </a:lnTo>
                  <a:lnTo>
                    <a:pt x="554" y="583"/>
                  </a:lnTo>
                  <a:lnTo>
                    <a:pt x="551" y="583"/>
                  </a:lnTo>
                  <a:lnTo>
                    <a:pt x="549" y="584"/>
                  </a:lnTo>
                  <a:lnTo>
                    <a:pt x="546" y="584"/>
                  </a:lnTo>
                  <a:lnTo>
                    <a:pt x="546" y="583"/>
                  </a:lnTo>
                  <a:lnTo>
                    <a:pt x="543" y="583"/>
                  </a:lnTo>
                  <a:lnTo>
                    <a:pt x="541" y="586"/>
                  </a:lnTo>
                  <a:lnTo>
                    <a:pt x="535" y="587"/>
                  </a:lnTo>
                  <a:lnTo>
                    <a:pt x="532" y="587"/>
                  </a:lnTo>
                  <a:lnTo>
                    <a:pt x="532" y="587"/>
                  </a:lnTo>
                  <a:lnTo>
                    <a:pt x="526" y="590"/>
                  </a:lnTo>
                  <a:lnTo>
                    <a:pt x="523" y="589"/>
                  </a:lnTo>
                  <a:lnTo>
                    <a:pt x="520" y="596"/>
                  </a:lnTo>
                  <a:lnTo>
                    <a:pt x="523" y="602"/>
                  </a:lnTo>
                  <a:lnTo>
                    <a:pt x="523" y="605"/>
                  </a:lnTo>
                  <a:lnTo>
                    <a:pt x="519" y="606"/>
                  </a:lnTo>
                  <a:lnTo>
                    <a:pt x="516" y="605"/>
                  </a:lnTo>
                  <a:lnTo>
                    <a:pt x="512" y="594"/>
                  </a:lnTo>
                  <a:lnTo>
                    <a:pt x="513" y="589"/>
                  </a:lnTo>
                  <a:lnTo>
                    <a:pt x="513" y="586"/>
                  </a:lnTo>
                  <a:lnTo>
                    <a:pt x="509" y="589"/>
                  </a:lnTo>
                  <a:lnTo>
                    <a:pt x="506" y="589"/>
                  </a:lnTo>
                  <a:lnTo>
                    <a:pt x="504" y="587"/>
                  </a:lnTo>
                  <a:lnTo>
                    <a:pt x="504" y="586"/>
                  </a:lnTo>
                  <a:lnTo>
                    <a:pt x="497" y="584"/>
                  </a:lnTo>
                  <a:lnTo>
                    <a:pt x="496" y="584"/>
                  </a:lnTo>
                  <a:lnTo>
                    <a:pt x="496" y="586"/>
                  </a:lnTo>
                  <a:lnTo>
                    <a:pt x="493" y="587"/>
                  </a:lnTo>
                  <a:lnTo>
                    <a:pt x="493" y="589"/>
                  </a:lnTo>
                  <a:lnTo>
                    <a:pt x="491" y="586"/>
                  </a:lnTo>
                  <a:lnTo>
                    <a:pt x="488" y="587"/>
                  </a:lnTo>
                  <a:lnTo>
                    <a:pt x="487" y="587"/>
                  </a:lnTo>
                  <a:lnTo>
                    <a:pt x="480" y="586"/>
                  </a:lnTo>
                  <a:lnTo>
                    <a:pt x="478" y="584"/>
                  </a:lnTo>
                  <a:lnTo>
                    <a:pt x="472" y="581"/>
                  </a:lnTo>
                  <a:lnTo>
                    <a:pt x="469" y="578"/>
                  </a:lnTo>
                  <a:lnTo>
                    <a:pt x="468" y="574"/>
                  </a:lnTo>
                  <a:lnTo>
                    <a:pt x="469" y="570"/>
                  </a:lnTo>
                  <a:lnTo>
                    <a:pt x="469" y="568"/>
                  </a:lnTo>
                  <a:lnTo>
                    <a:pt x="461" y="567"/>
                  </a:lnTo>
                  <a:lnTo>
                    <a:pt x="449" y="561"/>
                  </a:lnTo>
                  <a:lnTo>
                    <a:pt x="448" y="561"/>
                  </a:lnTo>
                  <a:lnTo>
                    <a:pt x="442" y="567"/>
                  </a:lnTo>
                  <a:lnTo>
                    <a:pt x="437" y="568"/>
                  </a:lnTo>
                  <a:lnTo>
                    <a:pt x="435" y="568"/>
                  </a:lnTo>
                  <a:lnTo>
                    <a:pt x="433" y="570"/>
                  </a:lnTo>
                  <a:lnTo>
                    <a:pt x="430" y="571"/>
                  </a:lnTo>
                  <a:lnTo>
                    <a:pt x="429" y="570"/>
                  </a:lnTo>
                  <a:lnTo>
                    <a:pt x="426" y="571"/>
                  </a:lnTo>
                  <a:lnTo>
                    <a:pt x="424" y="570"/>
                  </a:lnTo>
                  <a:lnTo>
                    <a:pt x="423" y="570"/>
                  </a:lnTo>
                  <a:lnTo>
                    <a:pt x="419" y="573"/>
                  </a:lnTo>
                  <a:lnTo>
                    <a:pt x="417" y="571"/>
                  </a:lnTo>
                  <a:lnTo>
                    <a:pt x="416" y="570"/>
                  </a:lnTo>
                  <a:lnTo>
                    <a:pt x="411" y="570"/>
                  </a:lnTo>
                  <a:lnTo>
                    <a:pt x="411" y="568"/>
                  </a:lnTo>
                  <a:lnTo>
                    <a:pt x="410" y="570"/>
                  </a:lnTo>
                  <a:lnTo>
                    <a:pt x="407" y="573"/>
                  </a:lnTo>
                  <a:lnTo>
                    <a:pt x="407" y="574"/>
                  </a:lnTo>
                  <a:lnTo>
                    <a:pt x="406" y="573"/>
                  </a:lnTo>
                  <a:lnTo>
                    <a:pt x="406" y="573"/>
                  </a:lnTo>
                  <a:lnTo>
                    <a:pt x="400" y="571"/>
                  </a:lnTo>
                  <a:lnTo>
                    <a:pt x="398" y="574"/>
                  </a:lnTo>
                  <a:lnTo>
                    <a:pt x="398" y="581"/>
                  </a:lnTo>
                  <a:lnTo>
                    <a:pt x="400" y="586"/>
                  </a:lnTo>
                  <a:lnTo>
                    <a:pt x="400" y="590"/>
                  </a:lnTo>
                  <a:lnTo>
                    <a:pt x="398" y="590"/>
                  </a:lnTo>
                  <a:lnTo>
                    <a:pt x="394" y="591"/>
                  </a:lnTo>
                  <a:lnTo>
                    <a:pt x="391" y="583"/>
                  </a:lnTo>
                  <a:lnTo>
                    <a:pt x="388" y="583"/>
                  </a:lnTo>
                  <a:lnTo>
                    <a:pt x="385" y="586"/>
                  </a:lnTo>
                  <a:lnTo>
                    <a:pt x="379" y="586"/>
                  </a:lnTo>
                  <a:lnTo>
                    <a:pt x="375" y="581"/>
                  </a:lnTo>
                  <a:lnTo>
                    <a:pt x="374" y="578"/>
                  </a:lnTo>
                  <a:lnTo>
                    <a:pt x="365" y="577"/>
                  </a:lnTo>
                  <a:lnTo>
                    <a:pt x="368" y="565"/>
                  </a:lnTo>
                  <a:lnTo>
                    <a:pt x="361" y="559"/>
                  </a:lnTo>
                  <a:lnTo>
                    <a:pt x="361" y="555"/>
                  </a:lnTo>
                  <a:lnTo>
                    <a:pt x="359" y="551"/>
                  </a:lnTo>
                  <a:lnTo>
                    <a:pt x="359" y="548"/>
                  </a:lnTo>
                  <a:lnTo>
                    <a:pt x="349" y="548"/>
                  </a:lnTo>
                  <a:lnTo>
                    <a:pt x="343" y="554"/>
                  </a:lnTo>
                  <a:lnTo>
                    <a:pt x="342" y="552"/>
                  </a:lnTo>
                  <a:lnTo>
                    <a:pt x="345" y="548"/>
                  </a:lnTo>
                  <a:lnTo>
                    <a:pt x="345" y="545"/>
                  </a:lnTo>
                  <a:lnTo>
                    <a:pt x="343" y="542"/>
                  </a:lnTo>
                  <a:lnTo>
                    <a:pt x="346" y="533"/>
                  </a:lnTo>
                  <a:lnTo>
                    <a:pt x="349" y="530"/>
                  </a:lnTo>
                  <a:lnTo>
                    <a:pt x="350" y="528"/>
                  </a:lnTo>
                  <a:lnTo>
                    <a:pt x="352" y="528"/>
                  </a:lnTo>
                  <a:lnTo>
                    <a:pt x="356" y="517"/>
                  </a:lnTo>
                  <a:lnTo>
                    <a:pt x="355" y="494"/>
                  </a:lnTo>
                  <a:lnTo>
                    <a:pt x="350" y="493"/>
                  </a:lnTo>
                  <a:lnTo>
                    <a:pt x="349" y="491"/>
                  </a:lnTo>
                  <a:lnTo>
                    <a:pt x="349" y="487"/>
                  </a:lnTo>
                  <a:lnTo>
                    <a:pt x="346" y="482"/>
                  </a:lnTo>
                  <a:lnTo>
                    <a:pt x="342" y="481"/>
                  </a:lnTo>
                  <a:lnTo>
                    <a:pt x="342" y="481"/>
                  </a:lnTo>
                  <a:lnTo>
                    <a:pt x="340" y="482"/>
                  </a:lnTo>
                  <a:lnTo>
                    <a:pt x="339" y="484"/>
                  </a:lnTo>
                  <a:lnTo>
                    <a:pt x="337" y="481"/>
                  </a:lnTo>
                  <a:lnTo>
                    <a:pt x="334" y="480"/>
                  </a:lnTo>
                  <a:lnTo>
                    <a:pt x="330" y="480"/>
                  </a:lnTo>
                  <a:lnTo>
                    <a:pt x="329" y="478"/>
                  </a:lnTo>
                  <a:lnTo>
                    <a:pt x="323" y="478"/>
                  </a:lnTo>
                  <a:lnTo>
                    <a:pt x="324" y="471"/>
                  </a:lnTo>
                  <a:lnTo>
                    <a:pt x="321" y="469"/>
                  </a:lnTo>
                  <a:lnTo>
                    <a:pt x="321" y="466"/>
                  </a:lnTo>
                  <a:lnTo>
                    <a:pt x="321" y="465"/>
                  </a:lnTo>
                  <a:lnTo>
                    <a:pt x="318" y="462"/>
                  </a:lnTo>
                  <a:lnTo>
                    <a:pt x="316" y="464"/>
                  </a:lnTo>
                  <a:lnTo>
                    <a:pt x="311" y="465"/>
                  </a:lnTo>
                  <a:lnTo>
                    <a:pt x="308" y="466"/>
                  </a:lnTo>
                  <a:lnTo>
                    <a:pt x="301" y="466"/>
                  </a:lnTo>
                  <a:lnTo>
                    <a:pt x="300" y="465"/>
                  </a:lnTo>
                  <a:lnTo>
                    <a:pt x="298" y="465"/>
                  </a:lnTo>
                  <a:lnTo>
                    <a:pt x="292" y="468"/>
                  </a:lnTo>
                  <a:lnTo>
                    <a:pt x="291" y="471"/>
                  </a:lnTo>
                  <a:lnTo>
                    <a:pt x="286" y="475"/>
                  </a:lnTo>
                  <a:lnTo>
                    <a:pt x="282" y="477"/>
                  </a:lnTo>
                  <a:lnTo>
                    <a:pt x="276" y="482"/>
                  </a:lnTo>
                  <a:lnTo>
                    <a:pt x="257" y="490"/>
                  </a:lnTo>
                  <a:lnTo>
                    <a:pt x="257" y="490"/>
                  </a:lnTo>
                  <a:lnTo>
                    <a:pt x="257" y="490"/>
                  </a:lnTo>
                  <a:lnTo>
                    <a:pt x="255" y="487"/>
                  </a:lnTo>
                  <a:lnTo>
                    <a:pt x="253" y="487"/>
                  </a:lnTo>
                  <a:lnTo>
                    <a:pt x="253" y="485"/>
                  </a:lnTo>
                  <a:lnTo>
                    <a:pt x="249" y="487"/>
                  </a:lnTo>
                  <a:lnTo>
                    <a:pt x="240" y="485"/>
                  </a:lnTo>
                  <a:lnTo>
                    <a:pt x="239" y="484"/>
                  </a:lnTo>
                  <a:lnTo>
                    <a:pt x="239" y="484"/>
                  </a:lnTo>
                  <a:lnTo>
                    <a:pt x="237" y="482"/>
                  </a:lnTo>
                  <a:lnTo>
                    <a:pt x="236" y="481"/>
                  </a:lnTo>
                  <a:lnTo>
                    <a:pt x="231" y="482"/>
                  </a:lnTo>
                  <a:lnTo>
                    <a:pt x="228" y="482"/>
                  </a:lnTo>
                  <a:lnTo>
                    <a:pt x="225" y="485"/>
                  </a:lnTo>
                  <a:lnTo>
                    <a:pt x="224" y="490"/>
                  </a:lnTo>
                  <a:lnTo>
                    <a:pt x="218" y="496"/>
                  </a:lnTo>
                  <a:lnTo>
                    <a:pt x="218" y="497"/>
                  </a:lnTo>
                  <a:lnTo>
                    <a:pt x="217" y="497"/>
                  </a:lnTo>
                  <a:lnTo>
                    <a:pt x="215" y="496"/>
                  </a:lnTo>
                  <a:lnTo>
                    <a:pt x="215" y="496"/>
                  </a:lnTo>
                  <a:lnTo>
                    <a:pt x="215" y="494"/>
                  </a:lnTo>
                  <a:lnTo>
                    <a:pt x="215" y="490"/>
                  </a:lnTo>
                  <a:lnTo>
                    <a:pt x="215" y="487"/>
                  </a:lnTo>
                  <a:lnTo>
                    <a:pt x="215" y="485"/>
                  </a:lnTo>
                  <a:lnTo>
                    <a:pt x="214" y="485"/>
                  </a:lnTo>
                  <a:lnTo>
                    <a:pt x="212" y="485"/>
                  </a:lnTo>
                  <a:lnTo>
                    <a:pt x="210" y="487"/>
                  </a:lnTo>
                  <a:lnTo>
                    <a:pt x="208" y="487"/>
                  </a:lnTo>
                  <a:lnTo>
                    <a:pt x="205" y="488"/>
                  </a:lnTo>
                  <a:lnTo>
                    <a:pt x="205" y="488"/>
                  </a:lnTo>
                  <a:lnTo>
                    <a:pt x="205" y="487"/>
                  </a:lnTo>
                  <a:lnTo>
                    <a:pt x="202" y="488"/>
                  </a:lnTo>
                  <a:lnTo>
                    <a:pt x="201" y="490"/>
                  </a:lnTo>
                  <a:lnTo>
                    <a:pt x="196" y="490"/>
                  </a:lnTo>
                  <a:lnTo>
                    <a:pt x="195" y="490"/>
                  </a:lnTo>
                  <a:lnTo>
                    <a:pt x="194" y="490"/>
                  </a:lnTo>
                  <a:lnTo>
                    <a:pt x="189" y="488"/>
                  </a:lnTo>
                  <a:lnTo>
                    <a:pt x="188" y="485"/>
                  </a:lnTo>
                  <a:lnTo>
                    <a:pt x="185" y="485"/>
                  </a:lnTo>
                  <a:lnTo>
                    <a:pt x="183" y="487"/>
                  </a:lnTo>
                  <a:lnTo>
                    <a:pt x="183" y="488"/>
                  </a:lnTo>
                  <a:lnTo>
                    <a:pt x="182" y="488"/>
                  </a:lnTo>
                  <a:lnTo>
                    <a:pt x="180" y="487"/>
                  </a:lnTo>
                  <a:lnTo>
                    <a:pt x="179" y="488"/>
                  </a:lnTo>
                  <a:lnTo>
                    <a:pt x="178" y="487"/>
                  </a:lnTo>
                  <a:lnTo>
                    <a:pt x="178" y="487"/>
                  </a:lnTo>
                  <a:lnTo>
                    <a:pt x="175" y="488"/>
                  </a:lnTo>
                  <a:lnTo>
                    <a:pt x="173" y="485"/>
                  </a:lnTo>
                  <a:lnTo>
                    <a:pt x="173" y="485"/>
                  </a:lnTo>
                  <a:lnTo>
                    <a:pt x="172" y="482"/>
                  </a:lnTo>
                  <a:lnTo>
                    <a:pt x="169" y="482"/>
                  </a:lnTo>
                  <a:lnTo>
                    <a:pt x="167" y="484"/>
                  </a:lnTo>
                  <a:lnTo>
                    <a:pt x="165" y="481"/>
                  </a:lnTo>
                  <a:lnTo>
                    <a:pt x="163" y="480"/>
                  </a:lnTo>
                  <a:lnTo>
                    <a:pt x="165" y="475"/>
                  </a:lnTo>
                  <a:lnTo>
                    <a:pt x="163" y="475"/>
                  </a:lnTo>
                  <a:lnTo>
                    <a:pt x="162" y="477"/>
                  </a:lnTo>
                  <a:lnTo>
                    <a:pt x="159" y="477"/>
                  </a:lnTo>
                  <a:lnTo>
                    <a:pt x="157" y="475"/>
                  </a:lnTo>
                  <a:lnTo>
                    <a:pt x="156" y="475"/>
                  </a:lnTo>
                  <a:lnTo>
                    <a:pt x="154" y="475"/>
                  </a:lnTo>
                  <a:lnTo>
                    <a:pt x="153" y="475"/>
                  </a:lnTo>
                  <a:lnTo>
                    <a:pt x="151" y="474"/>
                  </a:lnTo>
                  <a:lnTo>
                    <a:pt x="151" y="472"/>
                  </a:lnTo>
                  <a:lnTo>
                    <a:pt x="150" y="474"/>
                  </a:lnTo>
                  <a:lnTo>
                    <a:pt x="150" y="472"/>
                  </a:lnTo>
                  <a:lnTo>
                    <a:pt x="150" y="469"/>
                  </a:lnTo>
                  <a:lnTo>
                    <a:pt x="150" y="468"/>
                  </a:lnTo>
                  <a:lnTo>
                    <a:pt x="151" y="466"/>
                  </a:lnTo>
                  <a:lnTo>
                    <a:pt x="150" y="465"/>
                  </a:lnTo>
                  <a:lnTo>
                    <a:pt x="149" y="465"/>
                  </a:lnTo>
                  <a:lnTo>
                    <a:pt x="147" y="465"/>
                  </a:lnTo>
                  <a:lnTo>
                    <a:pt x="147" y="465"/>
                  </a:lnTo>
                  <a:lnTo>
                    <a:pt x="146" y="466"/>
                  </a:lnTo>
                  <a:lnTo>
                    <a:pt x="146" y="466"/>
                  </a:lnTo>
                  <a:lnTo>
                    <a:pt x="144" y="468"/>
                  </a:lnTo>
                  <a:lnTo>
                    <a:pt x="144" y="468"/>
                  </a:lnTo>
                  <a:lnTo>
                    <a:pt x="143" y="469"/>
                  </a:lnTo>
                  <a:lnTo>
                    <a:pt x="140" y="468"/>
                  </a:lnTo>
                  <a:lnTo>
                    <a:pt x="140" y="468"/>
                  </a:lnTo>
                  <a:lnTo>
                    <a:pt x="138" y="464"/>
                  </a:lnTo>
                  <a:lnTo>
                    <a:pt x="134" y="458"/>
                  </a:lnTo>
                  <a:lnTo>
                    <a:pt x="131" y="458"/>
                  </a:lnTo>
                  <a:lnTo>
                    <a:pt x="127" y="453"/>
                  </a:lnTo>
                  <a:lnTo>
                    <a:pt x="115" y="449"/>
                  </a:lnTo>
                  <a:lnTo>
                    <a:pt x="115" y="449"/>
                  </a:lnTo>
                  <a:lnTo>
                    <a:pt x="109" y="449"/>
                  </a:lnTo>
                  <a:lnTo>
                    <a:pt x="109" y="449"/>
                  </a:lnTo>
                  <a:lnTo>
                    <a:pt x="109" y="451"/>
                  </a:lnTo>
                  <a:lnTo>
                    <a:pt x="109" y="452"/>
                  </a:lnTo>
                  <a:lnTo>
                    <a:pt x="109" y="452"/>
                  </a:lnTo>
                  <a:lnTo>
                    <a:pt x="109" y="453"/>
                  </a:lnTo>
                  <a:lnTo>
                    <a:pt x="106" y="452"/>
                  </a:lnTo>
                  <a:lnTo>
                    <a:pt x="106" y="451"/>
                  </a:lnTo>
                  <a:lnTo>
                    <a:pt x="105" y="449"/>
                  </a:lnTo>
                  <a:lnTo>
                    <a:pt x="101" y="448"/>
                  </a:lnTo>
                  <a:lnTo>
                    <a:pt x="99" y="448"/>
                  </a:lnTo>
                  <a:lnTo>
                    <a:pt x="99" y="446"/>
                  </a:lnTo>
                  <a:lnTo>
                    <a:pt x="98" y="446"/>
                  </a:lnTo>
                  <a:lnTo>
                    <a:pt x="95" y="443"/>
                  </a:lnTo>
                  <a:lnTo>
                    <a:pt x="90" y="442"/>
                  </a:lnTo>
                  <a:lnTo>
                    <a:pt x="90" y="442"/>
                  </a:lnTo>
                  <a:lnTo>
                    <a:pt x="90" y="440"/>
                  </a:lnTo>
                  <a:lnTo>
                    <a:pt x="90" y="439"/>
                  </a:lnTo>
                  <a:lnTo>
                    <a:pt x="89" y="439"/>
                  </a:lnTo>
                  <a:lnTo>
                    <a:pt x="88" y="439"/>
                  </a:lnTo>
                  <a:lnTo>
                    <a:pt x="88" y="437"/>
                  </a:lnTo>
                  <a:lnTo>
                    <a:pt x="85" y="439"/>
                  </a:lnTo>
                  <a:lnTo>
                    <a:pt x="85" y="439"/>
                  </a:lnTo>
                  <a:lnTo>
                    <a:pt x="85" y="437"/>
                  </a:lnTo>
                  <a:lnTo>
                    <a:pt x="83" y="436"/>
                  </a:lnTo>
                  <a:lnTo>
                    <a:pt x="83" y="436"/>
                  </a:lnTo>
                  <a:lnTo>
                    <a:pt x="79" y="437"/>
                  </a:lnTo>
                  <a:lnTo>
                    <a:pt x="77" y="437"/>
                  </a:lnTo>
                  <a:lnTo>
                    <a:pt x="76" y="437"/>
                  </a:lnTo>
                  <a:lnTo>
                    <a:pt x="76" y="437"/>
                  </a:lnTo>
                  <a:lnTo>
                    <a:pt x="76" y="435"/>
                  </a:lnTo>
                  <a:lnTo>
                    <a:pt x="74" y="433"/>
                  </a:lnTo>
                  <a:lnTo>
                    <a:pt x="73" y="432"/>
                  </a:lnTo>
                  <a:lnTo>
                    <a:pt x="73" y="432"/>
                  </a:lnTo>
                  <a:lnTo>
                    <a:pt x="72" y="430"/>
                  </a:lnTo>
                  <a:lnTo>
                    <a:pt x="72" y="429"/>
                  </a:lnTo>
                  <a:lnTo>
                    <a:pt x="73" y="427"/>
                  </a:lnTo>
                  <a:lnTo>
                    <a:pt x="72" y="426"/>
                  </a:lnTo>
                  <a:lnTo>
                    <a:pt x="73" y="423"/>
                  </a:lnTo>
                  <a:lnTo>
                    <a:pt x="73" y="421"/>
                  </a:lnTo>
                  <a:lnTo>
                    <a:pt x="69" y="417"/>
                  </a:lnTo>
                  <a:lnTo>
                    <a:pt x="69" y="414"/>
                  </a:lnTo>
                  <a:lnTo>
                    <a:pt x="69" y="411"/>
                  </a:lnTo>
                  <a:lnTo>
                    <a:pt x="69" y="411"/>
                  </a:lnTo>
                  <a:lnTo>
                    <a:pt x="72" y="411"/>
                  </a:lnTo>
                  <a:lnTo>
                    <a:pt x="73" y="410"/>
                  </a:lnTo>
                  <a:lnTo>
                    <a:pt x="73" y="410"/>
                  </a:lnTo>
                  <a:lnTo>
                    <a:pt x="73" y="411"/>
                  </a:lnTo>
                  <a:lnTo>
                    <a:pt x="73" y="413"/>
                  </a:lnTo>
                  <a:lnTo>
                    <a:pt x="74" y="414"/>
                  </a:lnTo>
                  <a:lnTo>
                    <a:pt x="76" y="414"/>
                  </a:lnTo>
                  <a:lnTo>
                    <a:pt x="77" y="414"/>
                  </a:lnTo>
                  <a:lnTo>
                    <a:pt x="77" y="414"/>
                  </a:lnTo>
                  <a:lnTo>
                    <a:pt x="79" y="414"/>
                  </a:lnTo>
                  <a:lnTo>
                    <a:pt x="79" y="413"/>
                  </a:lnTo>
                  <a:lnTo>
                    <a:pt x="80" y="411"/>
                  </a:lnTo>
                  <a:lnTo>
                    <a:pt x="80" y="410"/>
                  </a:lnTo>
                  <a:lnTo>
                    <a:pt x="80" y="410"/>
                  </a:lnTo>
                  <a:lnTo>
                    <a:pt x="82" y="411"/>
                  </a:lnTo>
                  <a:lnTo>
                    <a:pt x="82" y="411"/>
                  </a:lnTo>
                  <a:lnTo>
                    <a:pt x="85" y="408"/>
                  </a:lnTo>
                  <a:lnTo>
                    <a:pt x="85" y="408"/>
                  </a:lnTo>
                  <a:lnTo>
                    <a:pt x="82" y="404"/>
                  </a:lnTo>
                  <a:lnTo>
                    <a:pt x="82" y="403"/>
                  </a:lnTo>
                  <a:lnTo>
                    <a:pt x="82" y="403"/>
                  </a:lnTo>
                  <a:lnTo>
                    <a:pt x="82" y="401"/>
                  </a:lnTo>
                  <a:lnTo>
                    <a:pt x="80" y="400"/>
                  </a:lnTo>
                  <a:lnTo>
                    <a:pt x="79" y="400"/>
                  </a:lnTo>
                  <a:lnTo>
                    <a:pt x="77" y="400"/>
                  </a:lnTo>
                  <a:lnTo>
                    <a:pt x="76" y="397"/>
                  </a:lnTo>
                  <a:lnTo>
                    <a:pt x="76" y="394"/>
                  </a:lnTo>
                  <a:lnTo>
                    <a:pt x="77" y="394"/>
                  </a:lnTo>
                  <a:lnTo>
                    <a:pt x="76" y="392"/>
                  </a:lnTo>
                  <a:lnTo>
                    <a:pt x="76" y="391"/>
                  </a:lnTo>
                  <a:lnTo>
                    <a:pt x="77" y="391"/>
                  </a:lnTo>
                  <a:lnTo>
                    <a:pt x="76" y="389"/>
                  </a:lnTo>
                  <a:lnTo>
                    <a:pt x="76" y="387"/>
                  </a:lnTo>
                  <a:lnTo>
                    <a:pt x="76" y="387"/>
                  </a:lnTo>
                  <a:lnTo>
                    <a:pt x="77" y="387"/>
                  </a:lnTo>
                  <a:lnTo>
                    <a:pt x="79" y="387"/>
                  </a:lnTo>
                  <a:lnTo>
                    <a:pt x="82" y="387"/>
                  </a:lnTo>
                  <a:lnTo>
                    <a:pt x="83" y="387"/>
                  </a:lnTo>
                  <a:lnTo>
                    <a:pt x="85" y="382"/>
                  </a:lnTo>
                  <a:lnTo>
                    <a:pt x="85" y="379"/>
                  </a:lnTo>
                  <a:lnTo>
                    <a:pt x="88" y="379"/>
                  </a:lnTo>
                  <a:lnTo>
                    <a:pt x="88" y="379"/>
                  </a:lnTo>
                  <a:lnTo>
                    <a:pt x="88" y="378"/>
                  </a:lnTo>
                  <a:lnTo>
                    <a:pt x="88" y="378"/>
                  </a:lnTo>
                  <a:lnTo>
                    <a:pt x="89" y="376"/>
                  </a:lnTo>
                  <a:lnTo>
                    <a:pt x="89" y="376"/>
                  </a:lnTo>
                  <a:lnTo>
                    <a:pt x="92" y="373"/>
                  </a:lnTo>
                  <a:lnTo>
                    <a:pt x="92" y="372"/>
                  </a:lnTo>
                  <a:lnTo>
                    <a:pt x="93" y="371"/>
                  </a:lnTo>
                  <a:lnTo>
                    <a:pt x="93" y="366"/>
                  </a:lnTo>
                  <a:lnTo>
                    <a:pt x="95" y="365"/>
                  </a:lnTo>
                  <a:lnTo>
                    <a:pt x="95" y="363"/>
                  </a:lnTo>
                  <a:lnTo>
                    <a:pt x="96" y="362"/>
                  </a:lnTo>
                  <a:lnTo>
                    <a:pt x="96" y="360"/>
                  </a:lnTo>
                  <a:lnTo>
                    <a:pt x="95" y="360"/>
                  </a:lnTo>
                  <a:lnTo>
                    <a:pt x="93" y="360"/>
                  </a:lnTo>
                  <a:lnTo>
                    <a:pt x="92" y="362"/>
                  </a:lnTo>
                  <a:lnTo>
                    <a:pt x="92" y="362"/>
                  </a:lnTo>
                  <a:lnTo>
                    <a:pt x="90" y="362"/>
                  </a:lnTo>
                  <a:lnTo>
                    <a:pt x="90" y="359"/>
                  </a:lnTo>
                  <a:lnTo>
                    <a:pt x="89" y="359"/>
                  </a:lnTo>
                  <a:lnTo>
                    <a:pt x="88" y="359"/>
                  </a:lnTo>
                  <a:lnTo>
                    <a:pt x="88" y="358"/>
                  </a:lnTo>
                  <a:lnTo>
                    <a:pt x="86" y="358"/>
                  </a:lnTo>
                  <a:lnTo>
                    <a:pt x="86" y="358"/>
                  </a:lnTo>
                  <a:lnTo>
                    <a:pt x="86" y="355"/>
                  </a:lnTo>
                  <a:lnTo>
                    <a:pt x="85" y="355"/>
                  </a:lnTo>
                  <a:lnTo>
                    <a:pt x="85" y="355"/>
                  </a:lnTo>
                  <a:lnTo>
                    <a:pt x="83" y="355"/>
                  </a:lnTo>
                  <a:lnTo>
                    <a:pt x="83" y="355"/>
                  </a:lnTo>
                  <a:lnTo>
                    <a:pt x="82" y="353"/>
                  </a:lnTo>
                  <a:lnTo>
                    <a:pt x="82" y="352"/>
                  </a:lnTo>
                  <a:lnTo>
                    <a:pt x="80" y="352"/>
                  </a:lnTo>
                  <a:lnTo>
                    <a:pt x="79" y="353"/>
                  </a:lnTo>
                  <a:lnTo>
                    <a:pt x="77" y="353"/>
                  </a:lnTo>
                  <a:lnTo>
                    <a:pt x="76" y="353"/>
                  </a:lnTo>
                  <a:lnTo>
                    <a:pt x="73" y="355"/>
                  </a:lnTo>
                  <a:lnTo>
                    <a:pt x="66" y="359"/>
                  </a:lnTo>
                  <a:lnTo>
                    <a:pt x="64" y="360"/>
                  </a:lnTo>
                  <a:lnTo>
                    <a:pt x="63" y="360"/>
                  </a:lnTo>
                  <a:lnTo>
                    <a:pt x="61" y="362"/>
                  </a:lnTo>
                  <a:lnTo>
                    <a:pt x="60" y="360"/>
                  </a:lnTo>
                  <a:lnTo>
                    <a:pt x="59" y="362"/>
                  </a:lnTo>
                  <a:lnTo>
                    <a:pt x="54" y="362"/>
                  </a:lnTo>
                  <a:lnTo>
                    <a:pt x="53" y="360"/>
                  </a:lnTo>
                  <a:lnTo>
                    <a:pt x="51" y="360"/>
                  </a:lnTo>
                  <a:lnTo>
                    <a:pt x="43" y="356"/>
                  </a:lnTo>
                  <a:lnTo>
                    <a:pt x="43" y="355"/>
                  </a:lnTo>
                  <a:lnTo>
                    <a:pt x="41" y="353"/>
                  </a:lnTo>
                  <a:lnTo>
                    <a:pt x="41" y="353"/>
                  </a:lnTo>
                  <a:lnTo>
                    <a:pt x="40" y="355"/>
                  </a:lnTo>
                  <a:lnTo>
                    <a:pt x="38" y="355"/>
                  </a:lnTo>
                  <a:lnTo>
                    <a:pt x="37" y="355"/>
                  </a:lnTo>
                  <a:lnTo>
                    <a:pt x="37" y="355"/>
                  </a:lnTo>
                  <a:lnTo>
                    <a:pt x="35" y="352"/>
                  </a:lnTo>
                  <a:lnTo>
                    <a:pt x="32" y="352"/>
                  </a:lnTo>
                  <a:lnTo>
                    <a:pt x="32" y="350"/>
                  </a:lnTo>
                  <a:lnTo>
                    <a:pt x="32" y="350"/>
                  </a:lnTo>
                  <a:lnTo>
                    <a:pt x="34" y="349"/>
                  </a:lnTo>
                  <a:lnTo>
                    <a:pt x="34" y="349"/>
                  </a:lnTo>
                  <a:lnTo>
                    <a:pt x="34" y="347"/>
                  </a:lnTo>
                  <a:lnTo>
                    <a:pt x="34" y="347"/>
                  </a:lnTo>
                  <a:lnTo>
                    <a:pt x="34" y="343"/>
                  </a:lnTo>
                  <a:lnTo>
                    <a:pt x="32" y="342"/>
                  </a:lnTo>
                  <a:lnTo>
                    <a:pt x="28" y="339"/>
                  </a:lnTo>
                  <a:lnTo>
                    <a:pt x="28" y="339"/>
                  </a:lnTo>
                  <a:lnTo>
                    <a:pt x="25" y="340"/>
                  </a:lnTo>
                  <a:lnTo>
                    <a:pt x="25" y="339"/>
                  </a:lnTo>
                  <a:lnTo>
                    <a:pt x="25" y="336"/>
                  </a:lnTo>
                  <a:lnTo>
                    <a:pt x="25" y="336"/>
                  </a:lnTo>
                  <a:lnTo>
                    <a:pt x="24" y="336"/>
                  </a:lnTo>
                  <a:lnTo>
                    <a:pt x="22" y="334"/>
                  </a:lnTo>
                  <a:lnTo>
                    <a:pt x="21" y="334"/>
                  </a:lnTo>
                  <a:lnTo>
                    <a:pt x="16" y="336"/>
                  </a:lnTo>
                  <a:lnTo>
                    <a:pt x="15" y="334"/>
                  </a:lnTo>
                  <a:lnTo>
                    <a:pt x="15" y="334"/>
                  </a:lnTo>
                  <a:lnTo>
                    <a:pt x="14" y="333"/>
                  </a:lnTo>
                  <a:lnTo>
                    <a:pt x="12" y="333"/>
                  </a:lnTo>
                  <a:lnTo>
                    <a:pt x="12" y="331"/>
                  </a:lnTo>
                  <a:lnTo>
                    <a:pt x="14" y="330"/>
                  </a:lnTo>
                  <a:lnTo>
                    <a:pt x="15" y="328"/>
                  </a:lnTo>
                  <a:lnTo>
                    <a:pt x="16" y="330"/>
                  </a:lnTo>
                  <a:lnTo>
                    <a:pt x="16" y="330"/>
                  </a:lnTo>
                  <a:lnTo>
                    <a:pt x="16" y="330"/>
                  </a:lnTo>
                  <a:lnTo>
                    <a:pt x="18" y="330"/>
                  </a:lnTo>
                  <a:lnTo>
                    <a:pt x="19" y="330"/>
                  </a:lnTo>
                  <a:lnTo>
                    <a:pt x="19" y="321"/>
                  </a:lnTo>
                  <a:lnTo>
                    <a:pt x="16" y="314"/>
                  </a:lnTo>
                  <a:lnTo>
                    <a:pt x="16" y="310"/>
                  </a:lnTo>
                  <a:lnTo>
                    <a:pt x="15" y="307"/>
                  </a:lnTo>
                  <a:lnTo>
                    <a:pt x="11" y="307"/>
                  </a:lnTo>
                  <a:lnTo>
                    <a:pt x="5" y="308"/>
                  </a:lnTo>
                  <a:lnTo>
                    <a:pt x="2" y="305"/>
                  </a:lnTo>
                  <a:lnTo>
                    <a:pt x="0" y="296"/>
                  </a:lnTo>
                  <a:lnTo>
                    <a:pt x="3" y="288"/>
                  </a:lnTo>
                  <a:lnTo>
                    <a:pt x="3" y="285"/>
                  </a:lnTo>
                  <a:lnTo>
                    <a:pt x="5" y="279"/>
                  </a:lnTo>
                  <a:lnTo>
                    <a:pt x="14" y="276"/>
                  </a:lnTo>
                  <a:lnTo>
                    <a:pt x="15" y="275"/>
                  </a:lnTo>
                  <a:lnTo>
                    <a:pt x="16" y="275"/>
                  </a:lnTo>
                  <a:lnTo>
                    <a:pt x="18" y="270"/>
                  </a:lnTo>
                  <a:lnTo>
                    <a:pt x="21" y="272"/>
                  </a:lnTo>
                  <a:lnTo>
                    <a:pt x="25" y="270"/>
                  </a:lnTo>
                  <a:lnTo>
                    <a:pt x="28" y="270"/>
                  </a:lnTo>
                  <a:lnTo>
                    <a:pt x="29" y="273"/>
                  </a:lnTo>
                  <a:lnTo>
                    <a:pt x="38" y="273"/>
                  </a:lnTo>
                  <a:lnTo>
                    <a:pt x="43" y="270"/>
                  </a:lnTo>
                  <a:lnTo>
                    <a:pt x="44" y="266"/>
                  </a:lnTo>
                  <a:lnTo>
                    <a:pt x="45" y="263"/>
                  </a:lnTo>
                  <a:lnTo>
                    <a:pt x="66" y="259"/>
                  </a:lnTo>
                  <a:lnTo>
                    <a:pt x="67" y="256"/>
                  </a:lnTo>
                  <a:lnTo>
                    <a:pt x="72" y="251"/>
                  </a:lnTo>
                  <a:lnTo>
                    <a:pt x="93" y="243"/>
                  </a:lnTo>
                  <a:lnTo>
                    <a:pt x="95" y="238"/>
                  </a:lnTo>
                  <a:lnTo>
                    <a:pt x="95" y="228"/>
                  </a:lnTo>
                  <a:lnTo>
                    <a:pt x="98" y="225"/>
                  </a:lnTo>
                  <a:lnTo>
                    <a:pt x="96" y="222"/>
                  </a:lnTo>
                  <a:lnTo>
                    <a:pt x="101" y="219"/>
                  </a:lnTo>
                  <a:lnTo>
                    <a:pt x="95" y="192"/>
                  </a:lnTo>
                  <a:lnTo>
                    <a:pt x="92" y="189"/>
                  </a:lnTo>
                  <a:lnTo>
                    <a:pt x="90" y="186"/>
                  </a:lnTo>
                  <a:lnTo>
                    <a:pt x="92" y="185"/>
                  </a:lnTo>
                  <a:lnTo>
                    <a:pt x="122" y="179"/>
                  </a:lnTo>
                  <a:lnTo>
                    <a:pt x="124" y="177"/>
                  </a:lnTo>
                  <a:lnTo>
                    <a:pt x="122" y="170"/>
                  </a:lnTo>
                  <a:lnTo>
                    <a:pt x="133" y="138"/>
                  </a:lnTo>
                  <a:lnTo>
                    <a:pt x="138" y="140"/>
                  </a:lnTo>
                  <a:lnTo>
                    <a:pt x="141" y="141"/>
                  </a:lnTo>
                  <a:lnTo>
                    <a:pt x="146" y="142"/>
                  </a:lnTo>
                  <a:lnTo>
                    <a:pt x="156" y="141"/>
                  </a:lnTo>
                  <a:lnTo>
                    <a:pt x="160" y="145"/>
                  </a:lnTo>
                  <a:lnTo>
                    <a:pt x="163" y="142"/>
                  </a:lnTo>
                  <a:lnTo>
                    <a:pt x="170" y="141"/>
                  </a:lnTo>
                  <a:lnTo>
                    <a:pt x="172" y="119"/>
                  </a:lnTo>
                  <a:lnTo>
                    <a:pt x="173" y="113"/>
                  </a:lnTo>
                  <a:lnTo>
                    <a:pt x="178" y="113"/>
                  </a:lnTo>
                  <a:lnTo>
                    <a:pt x="183" y="112"/>
                  </a:lnTo>
                  <a:lnTo>
                    <a:pt x="188" y="108"/>
                  </a:lnTo>
                  <a:lnTo>
                    <a:pt x="191" y="103"/>
                  </a:lnTo>
                  <a:lnTo>
                    <a:pt x="196" y="105"/>
                  </a:lnTo>
                  <a:lnTo>
                    <a:pt x="201" y="100"/>
                  </a:lnTo>
                  <a:lnTo>
                    <a:pt x="202" y="100"/>
                  </a:lnTo>
                  <a:lnTo>
                    <a:pt x="202" y="102"/>
                  </a:lnTo>
                  <a:lnTo>
                    <a:pt x="205" y="110"/>
                  </a:lnTo>
                  <a:lnTo>
                    <a:pt x="214" y="118"/>
                  </a:lnTo>
                  <a:lnTo>
                    <a:pt x="215" y="122"/>
                  </a:lnTo>
                  <a:lnTo>
                    <a:pt x="220" y="125"/>
                  </a:lnTo>
                  <a:lnTo>
                    <a:pt x="221" y="122"/>
                  </a:lnTo>
                  <a:lnTo>
                    <a:pt x="225" y="124"/>
                  </a:lnTo>
                  <a:lnTo>
                    <a:pt x="230" y="125"/>
                  </a:lnTo>
                  <a:lnTo>
                    <a:pt x="234" y="126"/>
                  </a:lnTo>
                  <a:lnTo>
                    <a:pt x="244" y="151"/>
                  </a:lnTo>
                  <a:lnTo>
                    <a:pt x="244" y="169"/>
                  </a:lnTo>
                  <a:lnTo>
                    <a:pt x="243" y="173"/>
                  </a:lnTo>
                  <a:lnTo>
                    <a:pt x="243" y="177"/>
                  </a:lnTo>
                  <a:lnTo>
                    <a:pt x="244" y="179"/>
                  </a:lnTo>
                  <a:lnTo>
                    <a:pt x="268" y="185"/>
                  </a:lnTo>
                  <a:lnTo>
                    <a:pt x="275" y="183"/>
                  </a:lnTo>
                  <a:lnTo>
                    <a:pt x="305" y="196"/>
                  </a:lnTo>
                  <a:lnTo>
                    <a:pt x="308" y="196"/>
                  </a:lnTo>
                  <a:lnTo>
                    <a:pt x="330" y="227"/>
                  </a:lnTo>
                  <a:lnTo>
                    <a:pt x="333" y="228"/>
                  </a:lnTo>
                  <a:lnTo>
                    <a:pt x="381" y="225"/>
                  </a:lnTo>
                  <a:lnTo>
                    <a:pt x="397" y="230"/>
                  </a:lnTo>
                  <a:lnTo>
                    <a:pt x="404" y="235"/>
                  </a:lnTo>
                  <a:lnTo>
                    <a:pt x="429" y="246"/>
                  </a:lnTo>
                  <a:lnTo>
                    <a:pt x="436" y="246"/>
                  </a:lnTo>
                  <a:lnTo>
                    <a:pt x="437" y="247"/>
                  </a:lnTo>
                  <a:lnTo>
                    <a:pt x="440" y="249"/>
                  </a:lnTo>
                  <a:lnTo>
                    <a:pt x="443" y="250"/>
                  </a:lnTo>
                  <a:lnTo>
                    <a:pt x="446" y="250"/>
                  </a:lnTo>
                  <a:lnTo>
                    <a:pt x="451" y="246"/>
                  </a:lnTo>
                  <a:lnTo>
                    <a:pt x="465" y="241"/>
                  </a:lnTo>
                  <a:lnTo>
                    <a:pt x="467" y="238"/>
                  </a:lnTo>
                  <a:lnTo>
                    <a:pt x="484" y="234"/>
                  </a:lnTo>
                  <a:lnTo>
                    <a:pt x="491" y="234"/>
                  </a:lnTo>
                  <a:lnTo>
                    <a:pt x="496" y="233"/>
                  </a:lnTo>
                  <a:lnTo>
                    <a:pt x="503" y="235"/>
                  </a:lnTo>
                  <a:lnTo>
                    <a:pt x="504" y="234"/>
                  </a:lnTo>
                  <a:lnTo>
                    <a:pt x="512" y="234"/>
                  </a:lnTo>
                  <a:lnTo>
                    <a:pt x="527" y="225"/>
                  </a:lnTo>
                  <a:lnTo>
                    <a:pt x="530" y="221"/>
                  </a:lnTo>
                  <a:lnTo>
                    <a:pt x="545" y="208"/>
                  </a:lnTo>
                  <a:lnTo>
                    <a:pt x="545" y="205"/>
                  </a:lnTo>
                  <a:lnTo>
                    <a:pt x="539" y="198"/>
                  </a:lnTo>
                  <a:lnTo>
                    <a:pt x="539" y="193"/>
                  </a:lnTo>
                  <a:lnTo>
                    <a:pt x="545" y="185"/>
                  </a:lnTo>
                  <a:lnTo>
                    <a:pt x="551" y="182"/>
                  </a:lnTo>
                  <a:lnTo>
                    <a:pt x="555" y="183"/>
                  </a:lnTo>
                  <a:lnTo>
                    <a:pt x="558" y="187"/>
                  </a:lnTo>
                  <a:lnTo>
                    <a:pt x="568" y="187"/>
                  </a:lnTo>
                  <a:lnTo>
                    <a:pt x="575" y="183"/>
                  </a:lnTo>
                  <a:lnTo>
                    <a:pt x="586" y="173"/>
                  </a:lnTo>
                  <a:lnTo>
                    <a:pt x="591" y="173"/>
                  </a:lnTo>
                  <a:lnTo>
                    <a:pt x="597" y="169"/>
                  </a:lnTo>
                  <a:lnTo>
                    <a:pt x="615" y="151"/>
                  </a:lnTo>
                  <a:lnTo>
                    <a:pt x="639" y="148"/>
                  </a:lnTo>
                  <a:lnTo>
                    <a:pt x="649" y="150"/>
                  </a:lnTo>
                  <a:lnTo>
                    <a:pt x="652" y="148"/>
                  </a:lnTo>
                  <a:lnTo>
                    <a:pt x="651" y="145"/>
                  </a:lnTo>
                  <a:lnTo>
                    <a:pt x="648" y="142"/>
                  </a:lnTo>
                  <a:lnTo>
                    <a:pt x="648" y="137"/>
                  </a:lnTo>
                  <a:lnTo>
                    <a:pt x="647" y="134"/>
                  </a:lnTo>
                  <a:lnTo>
                    <a:pt x="636" y="124"/>
                  </a:lnTo>
                  <a:lnTo>
                    <a:pt x="635" y="121"/>
                  </a:lnTo>
                  <a:lnTo>
                    <a:pt x="622" y="129"/>
                  </a:lnTo>
                  <a:lnTo>
                    <a:pt x="609" y="131"/>
                  </a:lnTo>
                  <a:lnTo>
                    <a:pt x="599" y="129"/>
                  </a:lnTo>
                  <a:lnTo>
                    <a:pt x="596" y="125"/>
                  </a:lnTo>
                  <a:lnTo>
                    <a:pt x="596" y="113"/>
                  </a:lnTo>
                  <a:lnTo>
                    <a:pt x="597" y="109"/>
                  </a:lnTo>
                  <a:lnTo>
                    <a:pt x="597" y="96"/>
                  </a:lnTo>
                  <a:lnTo>
                    <a:pt x="606" y="83"/>
                  </a:lnTo>
                  <a:lnTo>
                    <a:pt x="607" y="80"/>
                  </a:lnTo>
                  <a:lnTo>
                    <a:pt x="607" y="79"/>
                  </a:lnTo>
                  <a:lnTo>
                    <a:pt x="629" y="87"/>
                  </a:lnTo>
                  <a:lnTo>
                    <a:pt x="632" y="87"/>
                  </a:lnTo>
                  <a:lnTo>
                    <a:pt x="648" y="77"/>
                  </a:lnTo>
                  <a:lnTo>
                    <a:pt x="649" y="74"/>
                  </a:lnTo>
                  <a:lnTo>
                    <a:pt x="648" y="71"/>
                  </a:lnTo>
                  <a:lnTo>
                    <a:pt x="649" y="68"/>
                  </a:lnTo>
                  <a:lnTo>
                    <a:pt x="654" y="61"/>
                  </a:lnTo>
                  <a:lnTo>
                    <a:pt x="660" y="44"/>
                  </a:lnTo>
                  <a:lnTo>
                    <a:pt x="664" y="41"/>
                  </a:lnTo>
                  <a:lnTo>
                    <a:pt x="670" y="33"/>
                  </a:lnTo>
                  <a:lnTo>
                    <a:pt x="670" y="33"/>
                  </a:lnTo>
                  <a:lnTo>
                    <a:pt x="668" y="31"/>
                  </a:lnTo>
                  <a:lnTo>
                    <a:pt x="668" y="23"/>
                  </a:lnTo>
                  <a:lnTo>
                    <a:pt x="667" y="22"/>
                  </a:lnTo>
                  <a:lnTo>
                    <a:pt x="660" y="23"/>
                  </a:lnTo>
                  <a:lnTo>
                    <a:pt x="660" y="22"/>
                  </a:lnTo>
                  <a:lnTo>
                    <a:pt x="660" y="19"/>
                  </a:lnTo>
                  <a:lnTo>
                    <a:pt x="667" y="13"/>
                  </a:lnTo>
                  <a:lnTo>
                    <a:pt x="668" y="9"/>
                  </a:lnTo>
                  <a:lnTo>
                    <a:pt x="673" y="6"/>
                  </a:lnTo>
                  <a:lnTo>
                    <a:pt x="710" y="0"/>
                  </a:lnTo>
                  <a:lnTo>
                    <a:pt x="723" y="7"/>
                  </a:lnTo>
                  <a:lnTo>
                    <a:pt x="726" y="9"/>
                  </a:lnTo>
                  <a:lnTo>
                    <a:pt x="732" y="9"/>
                  </a:lnTo>
                  <a:lnTo>
                    <a:pt x="739" y="12"/>
                  </a:lnTo>
                  <a:lnTo>
                    <a:pt x="745" y="19"/>
                  </a:lnTo>
                  <a:lnTo>
                    <a:pt x="745" y="22"/>
                  </a:lnTo>
                  <a:lnTo>
                    <a:pt x="750" y="26"/>
                  </a:lnTo>
                  <a:lnTo>
                    <a:pt x="750" y="28"/>
                  </a:lnTo>
                  <a:lnTo>
                    <a:pt x="750" y="26"/>
                  </a:lnTo>
                  <a:lnTo>
                    <a:pt x="766" y="74"/>
                  </a:lnTo>
                  <a:lnTo>
                    <a:pt x="766" y="76"/>
                  </a:lnTo>
                  <a:lnTo>
                    <a:pt x="766" y="76"/>
                  </a:lnTo>
                  <a:lnTo>
                    <a:pt x="767" y="86"/>
                  </a:lnTo>
                  <a:lnTo>
                    <a:pt x="770" y="89"/>
                  </a:lnTo>
                  <a:lnTo>
                    <a:pt x="776" y="90"/>
                  </a:lnTo>
                  <a:lnTo>
                    <a:pt x="782" y="87"/>
                  </a:lnTo>
                  <a:lnTo>
                    <a:pt x="795" y="93"/>
                  </a:lnTo>
                  <a:lnTo>
                    <a:pt x="803" y="100"/>
                  </a:lnTo>
                  <a:lnTo>
                    <a:pt x="806" y="102"/>
                  </a:lnTo>
                  <a:lnTo>
                    <a:pt x="811" y="102"/>
                  </a:lnTo>
                  <a:lnTo>
                    <a:pt x="811" y="105"/>
                  </a:lnTo>
                  <a:lnTo>
                    <a:pt x="811" y="105"/>
                  </a:lnTo>
                  <a:lnTo>
                    <a:pt x="812" y="105"/>
                  </a:lnTo>
                  <a:lnTo>
                    <a:pt x="812" y="109"/>
                  </a:lnTo>
                  <a:lnTo>
                    <a:pt x="814" y="112"/>
                  </a:lnTo>
                  <a:lnTo>
                    <a:pt x="814" y="121"/>
                  </a:lnTo>
                  <a:lnTo>
                    <a:pt x="818" y="128"/>
                  </a:lnTo>
                  <a:lnTo>
                    <a:pt x="822" y="128"/>
                  </a:lnTo>
                  <a:lnTo>
                    <a:pt x="828" y="129"/>
                  </a:lnTo>
                  <a:lnTo>
                    <a:pt x="832" y="128"/>
                  </a:lnTo>
                  <a:lnTo>
                    <a:pt x="848" y="119"/>
                  </a:lnTo>
                  <a:lnTo>
                    <a:pt x="854" y="119"/>
                  </a:lnTo>
                  <a:lnTo>
                    <a:pt x="872" y="112"/>
                  </a:lnTo>
                  <a:lnTo>
                    <a:pt x="872" y="112"/>
                  </a:lnTo>
                  <a:lnTo>
                    <a:pt x="869" y="116"/>
                  </a:lnTo>
                  <a:lnTo>
                    <a:pt x="869" y="121"/>
                  </a:lnTo>
                  <a:lnTo>
                    <a:pt x="870" y="125"/>
                  </a:lnTo>
                  <a:lnTo>
                    <a:pt x="870" y="131"/>
                  </a:lnTo>
                  <a:lnTo>
                    <a:pt x="863" y="137"/>
                  </a:lnTo>
                  <a:lnTo>
                    <a:pt x="857" y="161"/>
                  </a:lnTo>
                  <a:lnTo>
                    <a:pt x="848" y="176"/>
                  </a:lnTo>
                  <a:lnTo>
                    <a:pt x="847" y="182"/>
                  </a:lnTo>
                  <a:lnTo>
                    <a:pt x="844" y="183"/>
                  </a:lnTo>
                  <a:lnTo>
                    <a:pt x="843" y="183"/>
                  </a:lnTo>
                  <a:lnTo>
                    <a:pt x="829" y="179"/>
                  </a:lnTo>
                  <a:lnTo>
                    <a:pt x="816" y="190"/>
                  </a:lnTo>
                  <a:lnTo>
                    <a:pt x="819" y="193"/>
                  </a:lnTo>
                  <a:lnTo>
                    <a:pt x="821" y="217"/>
                  </a:lnTo>
                  <a:lnTo>
                    <a:pt x="816" y="222"/>
                  </a:lnTo>
                  <a:lnTo>
                    <a:pt x="811" y="227"/>
                  </a:lnTo>
                  <a:lnTo>
                    <a:pt x="811" y="231"/>
                  </a:lnTo>
                  <a:lnTo>
                    <a:pt x="809" y="231"/>
                  </a:lnTo>
                  <a:lnTo>
                    <a:pt x="806" y="228"/>
                  </a:lnTo>
                  <a:lnTo>
                    <a:pt x="803" y="225"/>
                  </a:lnTo>
                  <a:lnTo>
                    <a:pt x="800" y="227"/>
                  </a:lnTo>
                  <a:lnTo>
                    <a:pt x="796" y="237"/>
                  </a:lnTo>
                  <a:lnTo>
                    <a:pt x="789" y="243"/>
                  </a:lnTo>
                  <a:lnTo>
                    <a:pt x="777" y="244"/>
                  </a:lnTo>
                  <a:lnTo>
                    <a:pt x="776" y="246"/>
                  </a:lnTo>
                  <a:lnTo>
                    <a:pt x="777" y="254"/>
                  </a:lnTo>
                  <a:lnTo>
                    <a:pt x="767" y="256"/>
                  </a:lnTo>
                  <a:lnTo>
                    <a:pt x="763" y="253"/>
                  </a:lnTo>
                  <a:lnTo>
                    <a:pt x="758" y="251"/>
                  </a:lnTo>
                  <a:lnTo>
                    <a:pt x="734" y="270"/>
                  </a:lnTo>
                  <a:lnTo>
                    <a:pt x="729" y="272"/>
                  </a:lnTo>
                  <a:lnTo>
                    <a:pt x="722" y="282"/>
                  </a:lnTo>
                  <a:lnTo>
                    <a:pt x="722" y="282"/>
                  </a:lnTo>
                  <a:lnTo>
                    <a:pt x="709" y="286"/>
                  </a:lnTo>
                  <a:lnTo>
                    <a:pt x="708" y="285"/>
                  </a:lnTo>
                  <a:lnTo>
                    <a:pt x="703" y="288"/>
                  </a:lnTo>
                  <a:lnTo>
                    <a:pt x="694" y="292"/>
                  </a:lnTo>
                  <a:lnTo>
                    <a:pt x="692" y="295"/>
                  </a:lnTo>
                  <a:lnTo>
                    <a:pt x="690" y="298"/>
                  </a:lnTo>
                  <a:lnTo>
                    <a:pt x="687" y="299"/>
                  </a:lnTo>
                  <a:lnTo>
                    <a:pt x="684" y="299"/>
                  </a:lnTo>
                  <a:lnTo>
                    <a:pt x="683" y="301"/>
                  </a:lnTo>
                  <a:lnTo>
                    <a:pt x="678" y="304"/>
                  </a:lnTo>
                  <a:lnTo>
                    <a:pt x="677" y="302"/>
                  </a:lnTo>
                  <a:lnTo>
                    <a:pt x="678" y="299"/>
                  </a:lnTo>
                  <a:lnTo>
                    <a:pt x="683" y="298"/>
                  </a:lnTo>
                  <a:lnTo>
                    <a:pt x="684" y="292"/>
                  </a:lnTo>
                  <a:lnTo>
                    <a:pt x="680" y="291"/>
                  </a:lnTo>
                  <a:lnTo>
                    <a:pt x="678" y="289"/>
                  </a:lnTo>
                  <a:lnTo>
                    <a:pt x="681" y="288"/>
                  </a:lnTo>
                  <a:lnTo>
                    <a:pt x="681" y="285"/>
                  </a:lnTo>
                  <a:lnTo>
                    <a:pt x="684" y="283"/>
                  </a:lnTo>
                  <a:lnTo>
                    <a:pt x="692" y="272"/>
                  </a:lnTo>
                  <a:lnTo>
                    <a:pt x="692" y="270"/>
                  </a:lnTo>
                  <a:lnTo>
                    <a:pt x="689" y="266"/>
                  </a:lnTo>
                  <a:lnTo>
                    <a:pt x="687" y="263"/>
                  </a:lnTo>
                  <a:lnTo>
                    <a:pt x="686" y="262"/>
                  </a:lnTo>
                  <a:lnTo>
                    <a:pt x="684" y="263"/>
                  </a:lnTo>
                  <a:lnTo>
                    <a:pt x="678" y="263"/>
                  </a:lnTo>
                  <a:lnTo>
                    <a:pt x="677" y="265"/>
                  </a:lnTo>
                  <a:lnTo>
                    <a:pt x="667" y="278"/>
                  </a:lnTo>
                  <a:lnTo>
                    <a:pt x="652" y="285"/>
                  </a:lnTo>
                  <a:lnTo>
                    <a:pt x="651" y="292"/>
                  </a:lnTo>
                  <a:lnTo>
                    <a:pt x="648" y="294"/>
                  </a:lnTo>
                  <a:lnTo>
                    <a:pt x="645" y="296"/>
                  </a:lnTo>
                  <a:lnTo>
                    <a:pt x="636" y="298"/>
                  </a:lnTo>
                  <a:lnTo>
                    <a:pt x="635" y="296"/>
                  </a:lnTo>
                  <a:lnTo>
                    <a:pt x="632" y="296"/>
                  </a:lnTo>
                  <a:lnTo>
                    <a:pt x="629" y="298"/>
                  </a:lnTo>
                  <a:lnTo>
                    <a:pt x="626" y="308"/>
                  </a:lnTo>
                  <a:lnTo>
                    <a:pt x="632" y="315"/>
                  </a:lnTo>
                  <a:lnTo>
                    <a:pt x="635" y="317"/>
                  </a:lnTo>
                  <a:lnTo>
                    <a:pt x="636" y="317"/>
                  </a:lnTo>
                  <a:lnTo>
                    <a:pt x="638" y="318"/>
                  </a:lnTo>
                  <a:lnTo>
                    <a:pt x="639" y="318"/>
                  </a:lnTo>
                  <a:lnTo>
                    <a:pt x="641" y="321"/>
                  </a:lnTo>
                  <a:lnTo>
                    <a:pt x="644" y="323"/>
                  </a:lnTo>
                  <a:lnTo>
                    <a:pt x="644" y="328"/>
                  </a:lnTo>
                  <a:lnTo>
                    <a:pt x="647" y="331"/>
                  </a:lnTo>
                  <a:lnTo>
                    <a:pt x="654" y="334"/>
                  </a:lnTo>
                  <a:lnTo>
                    <a:pt x="657" y="333"/>
                  </a:lnTo>
                  <a:lnTo>
                    <a:pt x="660" y="328"/>
                  </a:lnTo>
                  <a:lnTo>
                    <a:pt x="663" y="327"/>
                  </a:lnTo>
                  <a:lnTo>
                    <a:pt x="665" y="324"/>
                  </a:lnTo>
                  <a:lnTo>
                    <a:pt x="671" y="321"/>
                  </a:lnTo>
                  <a:lnTo>
                    <a:pt x="673" y="321"/>
                  </a:lnTo>
                  <a:lnTo>
                    <a:pt x="678" y="326"/>
                  </a:lnTo>
                  <a:lnTo>
                    <a:pt x="680" y="326"/>
                  </a:lnTo>
                  <a:lnTo>
                    <a:pt x="683" y="328"/>
                  </a:lnTo>
                  <a:lnTo>
                    <a:pt x="687" y="327"/>
                  </a:lnTo>
                  <a:lnTo>
                    <a:pt x="690" y="326"/>
                  </a:lnTo>
                  <a:lnTo>
                    <a:pt x="693" y="328"/>
                  </a:lnTo>
                  <a:lnTo>
                    <a:pt x="696" y="328"/>
                  </a:lnTo>
                  <a:lnTo>
                    <a:pt x="697" y="328"/>
                  </a:lnTo>
                  <a:lnTo>
                    <a:pt x="697" y="333"/>
                  </a:lnTo>
                  <a:lnTo>
                    <a:pt x="696" y="334"/>
                  </a:lnTo>
                  <a:lnTo>
                    <a:pt x="696" y="336"/>
                  </a:lnTo>
                  <a:lnTo>
                    <a:pt x="693" y="339"/>
                  </a:lnTo>
                  <a:lnTo>
                    <a:pt x="692" y="339"/>
                  </a:lnTo>
                  <a:lnTo>
                    <a:pt x="692" y="336"/>
                  </a:lnTo>
                  <a:lnTo>
                    <a:pt x="690" y="336"/>
                  </a:lnTo>
                  <a:lnTo>
                    <a:pt x="687" y="336"/>
                  </a:lnTo>
                  <a:lnTo>
                    <a:pt x="686" y="337"/>
                  </a:lnTo>
                  <a:lnTo>
                    <a:pt x="684" y="340"/>
                  </a:lnTo>
                  <a:lnTo>
                    <a:pt x="678" y="340"/>
                  </a:lnTo>
                  <a:lnTo>
                    <a:pt x="676" y="342"/>
                  </a:lnTo>
                  <a:lnTo>
                    <a:pt x="673" y="342"/>
                  </a:lnTo>
                  <a:lnTo>
                    <a:pt x="673" y="346"/>
                  </a:lnTo>
                  <a:lnTo>
                    <a:pt x="673" y="346"/>
                  </a:lnTo>
                  <a:lnTo>
                    <a:pt x="671" y="347"/>
                  </a:lnTo>
                  <a:lnTo>
                    <a:pt x="670" y="352"/>
                  </a:lnTo>
                  <a:lnTo>
                    <a:pt x="667" y="352"/>
                  </a:lnTo>
                  <a:lnTo>
                    <a:pt x="665" y="349"/>
                  </a:lnTo>
                  <a:lnTo>
                    <a:pt x="663" y="349"/>
                  </a:lnTo>
                  <a:lnTo>
                    <a:pt x="661" y="352"/>
                  </a:lnTo>
                  <a:lnTo>
                    <a:pt x="664" y="353"/>
                  </a:lnTo>
                  <a:lnTo>
                    <a:pt x="660" y="358"/>
                  </a:lnTo>
                  <a:lnTo>
                    <a:pt x="655" y="360"/>
                  </a:lnTo>
                  <a:lnTo>
                    <a:pt x="649" y="372"/>
                  </a:lnTo>
                  <a:lnTo>
                    <a:pt x="649" y="375"/>
                  </a:lnTo>
                  <a:lnTo>
                    <a:pt x="664" y="382"/>
                  </a:lnTo>
                  <a:lnTo>
                    <a:pt x="665" y="384"/>
                  </a:lnTo>
                  <a:lnTo>
                    <a:pt x="667" y="388"/>
                  </a:lnTo>
                  <a:lnTo>
                    <a:pt x="668" y="391"/>
                  </a:lnTo>
                  <a:lnTo>
                    <a:pt x="673" y="410"/>
                  </a:lnTo>
                  <a:lnTo>
                    <a:pt x="676" y="413"/>
                  </a:lnTo>
                  <a:lnTo>
                    <a:pt x="678" y="414"/>
                  </a:lnTo>
                  <a:lnTo>
                    <a:pt x="680" y="417"/>
                  </a:lnTo>
                  <a:lnTo>
                    <a:pt x="687" y="426"/>
                  </a:lnTo>
                  <a:lnTo>
                    <a:pt x="687" y="427"/>
                  </a:lnTo>
                  <a:lnTo>
                    <a:pt x="678" y="423"/>
                  </a:lnTo>
                  <a:lnTo>
                    <a:pt x="676" y="423"/>
                  </a:lnTo>
                  <a:lnTo>
                    <a:pt x="668" y="420"/>
                  </a:lnTo>
                  <a:lnTo>
                    <a:pt x="663" y="421"/>
                  </a:lnTo>
                  <a:lnTo>
                    <a:pt x="663" y="423"/>
                  </a:lnTo>
                  <a:lnTo>
                    <a:pt x="668" y="421"/>
                  </a:lnTo>
                  <a:lnTo>
                    <a:pt x="670" y="423"/>
                  </a:lnTo>
                  <a:lnTo>
                    <a:pt x="671" y="424"/>
                  </a:lnTo>
                  <a:lnTo>
                    <a:pt x="674" y="424"/>
                  </a:lnTo>
                  <a:lnTo>
                    <a:pt x="677" y="427"/>
                  </a:lnTo>
                  <a:lnTo>
                    <a:pt x="680" y="430"/>
                  </a:lnTo>
                  <a:lnTo>
                    <a:pt x="683" y="433"/>
                  </a:lnTo>
                  <a:lnTo>
                    <a:pt x="687" y="439"/>
                  </a:lnTo>
                  <a:lnTo>
                    <a:pt x="687" y="440"/>
                  </a:lnTo>
                  <a:lnTo>
                    <a:pt x="683" y="440"/>
                  </a:lnTo>
                  <a:lnTo>
                    <a:pt x="680" y="443"/>
                  </a:lnTo>
                  <a:lnTo>
                    <a:pt x="676" y="445"/>
                  </a:lnTo>
                  <a:lnTo>
                    <a:pt x="674" y="446"/>
                  </a:lnTo>
                  <a:lnTo>
                    <a:pt x="671" y="448"/>
                  </a:lnTo>
                  <a:lnTo>
                    <a:pt x="665" y="449"/>
                  </a:lnTo>
                  <a:lnTo>
                    <a:pt x="663" y="451"/>
                  </a:lnTo>
                  <a:lnTo>
                    <a:pt x="665" y="449"/>
                  </a:lnTo>
                  <a:lnTo>
                    <a:pt x="671" y="452"/>
                  </a:lnTo>
                  <a:lnTo>
                    <a:pt x="677" y="449"/>
                  </a:lnTo>
                  <a:lnTo>
                    <a:pt x="678" y="451"/>
                  </a:lnTo>
                  <a:lnTo>
                    <a:pt x="681" y="452"/>
                  </a:lnTo>
                  <a:lnTo>
                    <a:pt x="681" y="453"/>
                  </a:lnTo>
                  <a:lnTo>
                    <a:pt x="686" y="455"/>
                  </a:lnTo>
                  <a:lnTo>
                    <a:pt x="687" y="455"/>
                  </a:lnTo>
                  <a:lnTo>
                    <a:pt x="689" y="456"/>
                  </a:lnTo>
                  <a:lnTo>
                    <a:pt x="681" y="462"/>
                  </a:lnTo>
                  <a:lnTo>
                    <a:pt x="681" y="462"/>
                  </a:lnTo>
                  <a:lnTo>
                    <a:pt x="686" y="461"/>
                  </a:lnTo>
                  <a:lnTo>
                    <a:pt x="686" y="466"/>
                  </a:lnTo>
                  <a:lnTo>
                    <a:pt x="686" y="465"/>
                  </a:lnTo>
                  <a:lnTo>
                    <a:pt x="684" y="466"/>
                  </a:lnTo>
                  <a:lnTo>
                    <a:pt x="681" y="468"/>
                  </a:lnTo>
                  <a:lnTo>
                    <a:pt x="681" y="468"/>
                  </a:lnTo>
                  <a:lnTo>
                    <a:pt x="681" y="471"/>
                  </a:lnTo>
                  <a:lnTo>
                    <a:pt x="681" y="474"/>
                  </a:lnTo>
                  <a:lnTo>
                    <a:pt x="680" y="475"/>
                  </a:lnTo>
                  <a:lnTo>
                    <a:pt x="680" y="480"/>
                  </a:lnTo>
                  <a:lnTo>
                    <a:pt x="678" y="484"/>
                  </a:lnTo>
                  <a:lnTo>
                    <a:pt x="678" y="482"/>
                  </a:lnTo>
                  <a:lnTo>
                    <a:pt x="677" y="481"/>
                  </a:lnTo>
                  <a:lnTo>
                    <a:pt x="676" y="482"/>
                  </a:lnTo>
                  <a:lnTo>
                    <a:pt x="667" y="494"/>
                  </a:lnTo>
                  <a:lnTo>
                    <a:pt x="667" y="496"/>
                  </a:lnTo>
                  <a:lnTo>
                    <a:pt x="665" y="500"/>
                  </a:lnTo>
                  <a:lnTo>
                    <a:pt x="661" y="504"/>
                  </a:lnTo>
                  <a:lnTo>
                    <a:pt x="660" y="507"/>
                  </a:lnTo>
                  <a:lnTo>
                    <a:pt x="658" y="510"/>
                  </a:lnTo>
                  <a:lnTo>
                    <a:pt x="658" y="509"/>
                  </a:lnTo>
                  <a:lnTo>
                    <a:pt x="658" y="506"/>
                  </a:lnTo>
                  <a:lnTo>
                    <a:pt x="655" y="506"/>
                  </a:lnTo>
                  <a:lnTo>
                    <a:pt x="654" y="507"/>
                  </a:lnTo>
                  <a:lnTo>
                    <a:pt x="655" y="512"/>
                  </a:lnTo>
                  <a:lnTo>
                    <a:pt x="655" y="513"/>
                  </a:lnTo>
                  <a:lnTo>
                    <a:pt x="654" y="517"/>
                  </a:lnTo>
                  <a:lnTo>
                    <a:pt x="654" y="519"/>
                  </a:lnTo>
                  <a:lnTo>
                    <a:pt x="654" y="522"/>
                  </a:lnTo>
                  <a:lnTo>
                    <a:pt x="652" y="522"/>
                  </a:lnTo>
                  <a:lnTo>
                    <a:pt x="652" y="523"/>
                  </a:lnTo>
                  <a:lnTo>
                    <a:pt x="652" y="525"/>
                  </a:lnTo>
                  <a:lnTo>
                    <a:pt x="652" y="526"/>
                  </a:lnTo>
                  <a:lnTo>
                    <a:pt x="652" y="528"/>
                  </a:lnTo>
                  <a:lnTo>
                    <a:pt x="651" y="526"/>
                  </a:lnTo>
                  <a:lnTo>
                    <a:pt x="649" y="526"/>
                  </a:lnTo>
                  <a:lnTo>
                    <a:pt x="648" y="528"/>
                  </a:lnTo>
                  <a:lnTo>
                    <a:pt x="648" y="529"/>
                  </a:lnTo>
                  <a:lnTo>
                    <a:pt x="648" y="530"/>
                  </a:lnTo>
                  <a:lnTo>
                    <a:pt x="647" y="530"/>
                  </a:lnTo>
                  <a:lnTo>
                    <a:pt x="645" y="530"/>
                  </a:lnTo>
                  <a:lnTo>
                    <a:pt x="644" y="535"/>
                  </a:lnTo>
                  <a:lnTo>
                    <a:pt x="641" y="536"/>
                  </a:lnTo>
                  <a:lnTo>
                    <a:pt x="641" y="538"/>
                  </a:lnTo>
                  <a:lnTo>
                    <a:pt x="639" y="539"/>
                  </a:lnTo>
                  <a:lnTo>
                    <a:pt x="635" y="541"/>
                  </a:lnTo>
                  <a:lnTo>
                    <a:pt x="633" y="541"/>
                  </a:lnTo>
                  <a:lnTo>
                    <a:pt x="631" y="542"/>
                  </a:lnTo>
                  <a:lnTo>
                    <a:pt x="631" y="542"/>
                  </a:lnTo>
                  <a:lnTo>
                    <a:pt x="632" y="544"/>
                  </a:lnTo>
                  <a:lnTo>
                    <a:pt x="631" y="546"/>
                  </a:lnTo>
                  <a:lnTo>
                    <a:pt x="628" y="549"/>
                  </a:lnTo>
                  <a:lnTo>
                    <a:pt x="626" y="549"/>
                  </a:lnTo>
                  <a:lnTo>
                    <a:pt x="626" y="552"/>
                  </a:lnTo>
                  <a:lnTo>
                    <a:pt x="625" y="551"/>
                  </a:lnTo>
                  <a:lnTo>
                    <a:pt x="623" y="552"/>
                  </a:lnTo>
                  <a:lnTo>
                    <a:pt x="623" y="554"/>
                  </a:lnTo>
                  <a:lnTo>
                    <a:pt x="622" y="554"/>
                  </a:lnTo>
                  <a:lnTo>
                    <a:pt x="622" y="554"/>
                  </a:lnTo>
                  <a:lnTo>
                    <a:pt x="619" y="555"/>
                  </a:lnTo>
                  <a:lnTo>
                    <a:pt x="618" y="555"/>
                  </a:lnTo>
                  <a:lnTo>
                    <a:pt x="616" y="555"/>
                  </a:lnTo>
                  <a:lnTo>
                    <a:pt x="610" y="564"/>
                  </a:lnTo>
                  <a:lnTo>
                    <a:pt x="602" y="568"/>
                  </a:lnTo>
                  <a:lnTo>
                    <a:pt x="597" y="567"/>
                  </a:lnTo>
                  <a:lnTo>
                    <a:pt x="597" y="568"/>
                  </a:lnTo>
                  <a:lnTo>
                    <a:pt x="596" y="570"/>
                  </a:lnTo>
                  <a:lnTo>
                    <a:pt x="594" y="570"/>
                  </a:lnTo>
                  <a:lnTo>
                    <a:pt x="593" y="568"/>
                  </a:lnTo>
                  <a:lnTo>
                    <a:pt x="593" y="568"/>
                  </a:lnTo>
                  <a:lnTo>
                    <a:pt x="591" y="567"/>
                  </a:lnTo>
                  <a:lnTo>
                    <a:pt x="588" y="568"/>
                  </a:lnTo>
                  <a:lnTo>
                    <a:pt x="587" y="571"/>
                  </a:lnTo>
                  <a:lnTo>
                    <a:pt x="586" y="571"/>
                  </a:lnTo>
                  <a:lnTo>
                    <a:pt x="584" y="570"/>
                  </a:lnTo>
                  <a:lnTo>
                    <a:pt x="584" y="568"/>
                  </a:lnTo>
                  <a:lnTo>
                    <a:pt x="583" y="568"/>
                  </a:lnTo>
                  <a:lnTo>
                    <a:pt x="583" y="571"/>
                  </a:lnTo>
                  <a:lnTo>
                    <a:pt x="583" y="57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29" name="Freeform 1067"/>
            <p:cNvSpPr>
              <a:spLocks/>
            </p:cNvSpPr>
            <p:nvPr/>
          </p:nvSpPr>
          <p:spPr bwMode="auto">
            <a:xfrm>
              <a:off x="7077528" y="2337210"/>
              <a:ext cx="803049" cy="633761"/>
            </a:xfrm>
            <a:custGeom>
              <a:avLst/>
              <a:gdLst>
                <a:gd name="T0" fmla="*/ 2147483647 w 872"/>
                <a:gd name="T1" fmla="*/ 2147483647 h 606"/>
                <a:gd name="T2" fmla="*/ 2147483647 w 872"/>
                <a:gd name="T3" fmla="*/ 2147483647 h 606"/>
                <a:gd name="T4" fmla="*/ 2147483647 w 872"/>
                <a:gd name="T5" fmla="*/ 2147483647 h 606"/>
                <a:gd name="T6" fmla="*/ 2147483647 w 872"/>
                <a:gd name="T7" fmla="*/ 2147483647 h 606"/>
                <a:gd name="T8" fmla="*/ 2147483647 w 872"/>
                <a:gd name="T9" fmla="*/ 2147483647 h 606"/>
                <a:gd name="T10" fmla="*/ 2147483647 w 872"/>
                <a:gd name="T11" fmla="*/ 2147483647 h 606"/>
                <a:gd name="T12" fmla="*/ 2147483647 w 872"/>
                <a:gd name="T13" fmla="*/ 2147483647 h 606"/>
                <a:gd name="T14" fmla="*/ 2147483647 w 872"/>
                <a:gd name="T15" fmla="*/ 2147483647 h 606"/>
                <a:gd name="T16" fmla="*/ 2147483647 w 872"/>
                <a:gd name="T17" fmla="*/ 2147483647 h 606"/>
                <a:gd name="T18" fmla="*/ 2147483647 w 872"/>
                <a:gd name="T19" fmla="*/ 2147483647 h 606"/>
                <a:gd name="T20" fmla="*/ 2147483647 w 872"/>
                <a:gd name="T21" fmla="*/ 2147483647 h 606"/>
                <a:gd name="T22" fmla="*/ 2147483647 w 872"/>
                <a:gd name="T23" fmla="*/ 2147483647 h 606"/>
                <a:gd name="T24" fmla="*/ 2147483647 w 872"/>
                <a:gd name="T25" fmla="*/ 2147483647 h 606"/>
                <a:gd name="T26" fmla="*/ 2147483647 w 872"/>
                <a:gd name="T27" fmla="*/ 2147483647 h 606"/>
                <a:gd name="T28" fmla="*/ 2147483647 w 872"/>
                <a:gd name="T29" fmla="*/ 2147483647 h 606"/>
                <a:gd name="T30" fmla="*/ 2147483647 w 872"/>
                <a:gd name="T31" fmla="*/ 2147483647 h 606"/>
                <a:gd name="T32" fmla="*/ 2147483647 w 872"/>
                <a:gd name="T33" fmla="*/ 2147483647 h 606"/>
                <a:gd name="T34" fmla="*/ 2147483647 w 872"/>
                <a:gd name="T35" fmla="*/ 2147483647 h 606"/>
                <a:gd name="T36" fmla="*/ 2147483647 w 872"/>
                <a:gd name="T37" fmla="*/ 2147483647 h 606"/>
                <a:gd name="T38" fmla="*/ 2147483647 w 872"/>
                <a:gd name="T39" fmla="*/ 2147483647 h 606"/>
                <a:gd name="T40" fmla="*/ 2147483647 w 872"/>
                <a:gd name="T41" fmla="*/ 2147483647 h 606"/>
                <a:gd name="T42" fmla="*/ 2147483647 w 872"/>
                <a:gd name="T43" fmla="*/ 2147483647 h 606"/>
                <a:gd name="T44" fmla="*/ 2147483647 w 872"/>
                <a:gd name="T45" fmla="*/ 2147483647 h 606"/>
                <a:gd name="T46" fmla="*/ 2147483647 w 872"/>
                <a:gd name="T47" fmla="*/ 2147483647 h 606"/>
                <a:gd name="T48" fmla="*/ 2147483647 w 872"/>
                <a:gd name="T49" fmla="*/ 2147483647 h 606"/>
                <a:gd name="T50" fmla="*/ 2147483647 w 872"/>
                <a:gd name="T51" fmla="*/ 2147483647 h 606"/>
                <a:gd name="T52" fmla="*/ 2147483647 w 872"/>
                <a:gd name="T53" fmla="*/ 2147483647 h 606"/>
                <a:gd name="T54" fmla="*/ 2147483647 w 872"/>
                <a:gd name="T55" fmla="*/ 2147483647 h 606"/>
                <a:gd name="T56" fmla="*/ 2147483647 w 872"/>
                <a:gd name="T57" fmla="*/ 2147483647 h 606"/>
                <a:gd name="T58" fmla="*/ 2147483647 w 872"/>
                <a:gd name="T59" fmla="*/ 2147483647 h 606"/>
                <a:gd name="T60" fmla="*/ 2147483647 w 872"/>
                <a:gd name="T61" fmla="*/ 2147483647 h 606"/>
                <a:gd name="T62" fmla="*/ 2147483647 w 872"/>
                <a:gd name="T63" fmla="*/ 2147483647 h 606"/>
                <a:gd name="T64" fmla="*/ 2147483647 w 872"/>
                <a:gd name="T65" fmla="*/ 2147483647 h 606"/>
                <a:gd name="T66" fmla="*/ 2147483647 w 872"/>
                <a:gd name="T67" fmla="*/ 2147483647 h 606"/>
                <a:gd name="T68" fmla="*/ 2147483647 w 872"/>
                <a:gd name="T69" fmla="*/ 2147483647 h 606"/>
                <a:gd name="T70" fmla="*/ 2147483647 w 872"/>
                <a:gd name="T71" fmla="*/ 2147483647 h 606"/>
                <a:gd name="T72" fmla="*/ 2147483647 w 872"/>
                <a:gd name="T73" fmla="*/ 2147483647 h 606"/>
                <a:gd name="T74" fmla="*/ 2147483647 w 872"/>
                <a:gd name="T75" fmla="*/ 2147483647 h 606"/>
                <a:gd name="T76" fmla="*/ 2147483647 w 872"/>
                <a:gd name="T77" fmla="*/ 2147483647 h 606"/>
                <a:gd name="T78" fmla="*/ 2147483647 w 872"/>
                <a:gd name="T79" fmla="*/ 2147483647 h 606"/>
                <a:gd name="T80" fmla="*/ 2147483647 w 872"/>
                <a:gd name="T81" fmla="*/ 2147483647 h 606"/>
                <a:gd name="T82" fmla="*/ 2147483647 w 872"/>
                <a:gd name="T83" fmla="*/ 2147483647 h 606"/>
                <a:gd name="T84" fmla="*/ 2147483647 w 872"/>
                <a:gd name="T85" fmla="*/ 2147483647 h 606"/>
                <a:gd name="T86" fmla="*/ 2147483647 w 872"/>
                <a:gd name="T87" fmla="*/ 2147483647 h 606"/>
                <a:gd name="T88" fmla="*/ 2147483647 w 872"/>
                <a:gd name="T89" fmla="*/ 2147483647 h 606"/>
                <a:gd name="T90" fmla="*/ 2147483647 w 872"/>
                <a:gd name="T91" fmla="*/ 2147483647 h 606"/>
                <a:gd name="T92" fmla="*/ 2147483647 w 872"/>
                <a:gd name="T93" fmla="*/ 2147483647 h 606"/>
                <a:gd name="T94" fmla="*/ 2147483647 w 872"/>
                <a:gd name="T95" fmla="*/ 2147483647 h 606"/>
                <a:gd name="T96" fmla="*/ 2147483647 w 872"/>
                <a:gd name="T97" fmla="*/ 2147483647 h 606"/>
                <a:gd name="T98" fmla="*/ 2147483647 w 872"/>
                <a:gd name="T99" fmla="*/ 2147483647 h 606"/>
                <a:gd name="T100" fmla="*/ 2147483647 w 872"/>
                <a:gd name="T101" fmla="*/ 2147483647 h 606"/>
                <a:gd name="T102" fmla="*/ 2147483647 w 872"/>
                <a:gd name="T103" fmla="*/ 2147483647 h 606"/>
                <a:gd name="T104" fmla="*/ 2147483647 w 872"/>
                <a:gd name="T105" fmla="*/ 2147483647 h 606"/>
                <a:gd name="T106" fmla="*/ 2147483647 w 872"/>
                <a:gd name="T107" fmla="*/ 2147483647 h 606"/>
                <a:gd name="T108" fmla="*/ 2147483647 w 872"/>
                <a:gd name="T109" fmla="*/ 2147483647 h 606"/>
                <a:gd name="T110" fmla="*/ 2147483647 w 872"/>
                <a:gd name="T111" fmla="*/ 2147483647 h 606"/>
                <a:gd name="T112" fmla="*/ 2147483647 w 872"/>
                <a:gd name="T113" fmla="*/ 2147483647 h 606"/>
                <a:gd name="T114" fmla="*/ 2147483647 w 872"/>
                <a:gd name="T115" fmla="*/ 2147483647 h 606"/>
                <a:gd name="T116" fmla="*/ 2147483647 w 872"/>
                <a:gd name="T117" fmla="*/ 2147483647 h 606"/>
                <a:gd name="T118" fmla="*/ 2147483647 w 872"/>
                <a:gd name="T119" fmla="*/ 2147483647 h 606"/>
                <a:gd name="T120" fmla="*/ 2147483647 w 872"/>
                <a:gd name="T121" fmla="*/ 2147483647 h 606"/>
                <a:gd name="T122" fmla="*/ 2147483647 w 872"/>
                <a:gd name="T123" fmla="*/ 2147483647 h 606"/>
                <a:gd name="T124" fmla="*/ 2147483647 w 872"/>
                <a:gd name="T125" fmla="*/ 2147483647 h 60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72"/>
                <a:gd name="T190" fmla="*/ 0 h 606"/>
                <a:gd name="T191" fmla="*/ 872 w 872"/>
                <a:gd name="T192" fmla="*/ 606 h 606"/>
                <a:gd name="connsiteX0" fmla="*/ 6686 w 10000"/>
                <a:gd name="connsiteY0" fmla="*/ 9422 h 10000"/>
                <a:gd name="connsiteX1" fmla="*/ 6663 w 10000"/>
                <a:gd name="connsiteY1" fmla="*/ 9455 h 10000"/>
                <a:gd name="connsiteX2" fmla="*/ 6663 w 10000"/>
                <a:gd name="connsiteY2" fmla="*/ 9422 h 10000"/>
                <a:gd name="connsiteX3" fmla="*/ 6651 w 10000"/>
                <a:gd name="connsiteY3" fmla="*/ 9422 h 10000"/>
                <a:gd name="connsiteX4" fmla="*/ 6628 w 10000"/>
                <a:gd name="connsiteY4" fmla="*/ 9422 h 10000"/>
                <a:gd name="connsiteX5" fmla="*/ 6617 w 10000"/>
                <a:gd name="connsiteY5" fmla="*/ 9422 h 10000"/>
                <a:gd name="connsiteX6" fmla="*/ 6617 w 10000"/>
                <a:gd name="connsiteY6" fmla="*/ 9455 h 10000"/>
                <a:gd name="connsiteX7" fmla="*/ 6628 w 10000"/>
                <a:gd name="connsiteY7" fmla="*/ 9472 h 10000"/>
                <a:gd name="connsiteX8" fmla="*/ 6583 w 10000"/>
                <a:gd name="connsiteY8" fmla="*/ 9472 h 10000"/>
                <a:gd name="connsiteX9" fmla="*/ 6583 w 10000"/>
                <a:gd name="connsiteY9" fmla="*/ 9455 h 10000"/>
                <a:gd name="connsiteX10" fmla="*/ 6583 w 10000"/>
                <a:gd name="connsiteY10" fmla="*/ 9422 h 10000"/>
                <a:gd name="connsiteX11" fmla="*/ 6548 w 10000"/>
                <a:gd name="connsiteY11" fmla="*/ 9406 h 10000"/>
                <a:gd name="connsiteX12" fmla="*/ 6514 w 10000"/>
                <a:gd name="connsiteY12" fmla="*/ 9373 h 10000"/>
                <a:gd name="connsiteX13" fmla="*/ 6514 w 10000"/>
                <a:gd name="connsiteY13" fmla="*/ 9356 h 10000"/>
                <a:gd name="connsiteX14" fmla="*/ 6514 w 10000"/>
                <a:gd name="connsiteY14" fmla="*/ 9488 h 10000"/>
                <a:gd name="connsiteX15" fmla="*/ 6502 w 10000"/>
                <a:gd name="connsiteY15" fmla="*/ 9488 h 10000"/>
                <a:gd name="connsiteX16" fmla="*/ 6479 w 10000"/>
                <a:gd name="connsiteY16" fmla="*/ 9488 h 10000"/>
                <a:gd name="connsiteX17" fmla="*/ 6445 w 10000"/>
                <a:gd name="connsiteY17" fmla="*/ 9422 h 10000"/>
                <a:gd name="connsiteX18" fmla="*/ 6433 w 10000"/>
                <a:gd name="connsiteY18" fmla="*/ 9406 h 10000"/>
                <a:gd name="connsiteX19" fmla="*/ 6411 w 10000"/>
                <a:gd name="connsiteY19" fmla="*/ 9521 h 10000"/>
                <a:gd name="connsiteX20" fmla="*/ 6411 w 10000"/>
                <a:gd name="connsiteY20" fmla="*/ 9571 h 10000"/>
                <a:gd name="connsiteX21" fmla="*/ 6411 w 10000"/>
                <a:gd name="connsiteY21" fmla="*/ 9587 h 10000"/>
                <a:gd name="connsiteX22" fmla="*/ 6399 w 10000"/>
                <a:gd name="connsiteY22" fmla="*/ 9571 h 10000"/>
                <a:gd name="connsiteX23" fmla="*/ 6353 w 10000"/>
                <a:gd name="connsiteY23" fmla="*/ 9620 h 10000"/>
                <a:gd name="connsiteX24" fmla="*/ 6319 w 10000"/>
                <a:gd name="connsiteY24" fmla="*/ 9620 h 10000"/>
                <a:gd name="connsiteX25" fmla="*/ 6296 w 10000"/>
                <a:gd name="connsiteY25" fmla="*/ 9637 h 10000"/>
                <a:gd name="connsiteX26" fmla="*/ 6261 w 10000"/>
                <a:gd name="connsiteY26" fmla="*/ 9637 h 10000"/>
                <a:gd name="connsiteX27" fmla="*/ 6261 w 10000"/>
                <a:gd name="connsiteY27" fmla="*/ 9620 h 10000"/>
                <a:gd name="connsiteX28" fmla="*/ 6227 w 10000"/>
                <a:gd name="connsiteY28" fmla="*/ 9620 h 10000"/>
                <a:gd name="connsiteX29" fmla="*/ 6204 w 10000"/>
                <a:gd name="connsiteY29" fmla="*/ 9670 h 10000"/>
                <a:gd name="connsiteX30" fmla="*/ 6135 w 10000"/>
                <a:gd name="connsiteY30" fmla="*/ 9686 h 10000"/>
                <a:gd name="connsiteX31" fmla="*/ 6101 w 10000"/>
                <a:gd name="connsiteY31" fmla="*/ 9686 h 10000"/>
                <a:gd name="connsiteX32" fmla="*/ 6032 w 10000"/>
                <a:gd name="connsiteY32" fmla="*/ 9736 h 10000"/>
                <a:gd name="connsiteX33" fmla="*/ 5998 w 10000"/>
                <a:gd name="connsiteY33" fmla="*/ 9719 h 10000"/>
                <a:gd name="connsiteX34" fmla="*/ 5963 w 10000"/>
                <a:gd name="connsiteY34" fmla="*/ 9835 h 10000"/>
                <a:gd name="connsiteX35" fmla="*/ 5998 w 10000"/>
                <a:gd name="connsiteY35" fmla="*/ 9934 h 10000"/>
                <a:gd name="connsiteX36" fmla="*/ 5998 w 10000"/>
                <a:gd name="connsiteY36" fmla="*/ 9983 h 10000"/>
                <a:gd name="connsiteX37" fmla="*/ 5952 w 10000"/>
                <a:gd name="connsiteY37" fmla="*/ 10000 h 10000"/>
                <a:gd name="connsiteX38" fmla="*/ 5917 w 10000"/>
                <a:gd name="connsiteY38" fmla="*/ 9983 h 10000"/>
                <a:gd name="connsiteX39" fmla="*/ 5872 w 10000"/>
                <a:gd name="connsiteY39" fmla="*/ 9802 h 10000"/>
                <a:gd name="connsiteX40" fmla="*/ 5883 w 10000"/>
                <a:gd name="connsiteY40" fmla="*/ 9719 h 10000"/>
                <a:gd name="connsiteX41" fmla="*/ 5883 w 10000"/>
                <a:gd name="connsiteY41" fmla="*/ 9670 h 10000"/>
                <a:gd name="connsiteX42" fmla="*/ 5837 w 10000"/>
                <a:gd name="connsiteY42" fmla="*/ 9719 h 10000"/>
                <a:gd name="connsiteX43" fmla="*/ 5803 w 10000"/>
                <a:gd name="connsiteY43" fmla="*/ 9719 h 10000"/>
                <a:gd name="connsiteX44" fmla="*/ 5780 w 10000"/>
                <a:gd name="connsiteY44" fmla="*/ 9686 h 10000"/>
                <a:gd name="connsiteX45" fmla="*/ 5780 w 10000"/>
                <a:gd name="connsiteY45" fmla="*/ 9670 h 10000"/>
                <a:gd name="connsiteX46" fmla="*/ 5700 w 10000"/>
                <a:gd name="connsiteY46" fmla="*/ 9637 h 10000"/>
                <a:gd name="connsiteX47" fmla="*/ 5688 w 10000"/>
                <a:gd name="connsiteY47" fmla="*/ 9637 h 10000"/>
                <a:gd name="connsiteX48" fmla="*/ 5688 w 10000"/>
                <a:gd name="connsiteY48" fmla="*/ 9670 h 10000"/>
                <a:gd name="connsiteX49" fmla="*/ 5654 w 10000"/>
                <a:gd name="connsiteY49" fmla="*/ 9686 h 10000"/>
                <a:gd name="connsiteX50" fmla="*/ 5654 w 10000"/>
                <a:gd name="connsiteY50" fmla="*/ 9719 h 10000"/>
                <a:gd name="connsiteX51" fmla="*/ 5631 w 10000"/>
                <a:gd name="connsiteY51" fmla="*/ 9670 h 10000"/>
                <a:gd name="connsiteX52" fmla="*/ 5596 w 10000"/>
                <a:gd name="connsiteY52" fmla="*/ 9686 h 10000"/>
                <a:gd name="connsiteX53" fmla="*/ 5585 w 10000"/>
                <a:gd name="connsiteY53" fmla="*/ 9686 h 10000"/>
                <a:gd name="connsiteX54" fmla="*/ 5505 w 10000"/>
                <a:gd name="connsiteY54" fmla="*/ 9670 h 10000"/>
                <a:gd name="connsiteX55" fmla="*/ 5482 w 10000"/>
                <a:gd name="connsiteY55" fmla="*/ 9637 h 10000"/>
                <a:gd name="connsiteX56" fmla="*/ 5413 w 10000"/>
                <a:gd name="connsiteY56" fmla="*/ 9587 h 10000"/>
                <a:gd name="connsiteX57" fmla="*/ 5378 w 10000"/>
                <a:gd name="connsiteY57" fmla="*/ 9538 h 10000"/>
                <a:gd name="connsiteX58" fmla="*/ 5367 w 10000"/>
                <a:gd name="connsiteY58" fmla="*/ 9472 h 10000"/>
                <a:gd name="connsiteX59" fmla="*/ 5378 w 10000"/>
                <a:gd name="connsiteY59" fmla="*/ 9406 h 10000"/>
                <a:gd name="connsiteX60" fmla="*/ 5378 w 10000"/>
                <a:gd name="connsiteY60" fmla="*/ 9373 h 10000"/>
                <a:gd name="connsiteX61" fmla="*/ 5287 w 10000"/>
                <a:gd name="connsiteY61" fmla="*/ 9356 h 10000"/>
                <a:gd name="connsiteX62" fmla="*/ 5149 w 10000"/>
                <a:gd name="connsiteY62" fmla="*/ 9257 h 10000"/>
                <a:gd name="connsiteX63" fmla="*/ 5138 w 10000"/>
                <a:gd name="connsiteY63" fmla="*/ 9257 h 10000"/>
                <a:gd name="connsiteX64" fmla="*/ 5069 w 10000"/>
                <a:gd name="connsiteY64" fmla="*/ 9356 h 10000"/>
                <a:gd name="connsiteX65" fmla="*/ 5011 w 10000"/>
                <a:gd name="connsiteY65" fmla="*/ 9373 h 10000"/>
                <a:gd name="connsiteX66" fmla="*/ 4989 w 10000"/>
                <a:gd name="connsiteY66" fmla="*/ 9373 h 10000"/>
                <a:gd name="connsiteX67" fmla="*/ 4966 w 10000"/>
                <a:gd name="connsiteY67" fmla="*/ 9406 h 10000"/>
                <a:gd name="connsiteX68" fmla="*/ 4931 w 10000"/>
                <a:gd name="connsiteY68" fmla="*/ 9422 h 10000"/>
                <a:gd name="connsiteX69" fmla="*/ 4920 w 10000"/>
                <a:gd name="connsiteY69" fmla="*/ 9406 h 10000"/>
                <a:gd name="connsiteX70" fmla="*/ 4885 w 10000"/>
                <a:gd name="connsiteY70" fmla="*/ 9422 h 10000"/>
                <a:gd name="connsiteX71" fmla="*/ 4862 w 10000"/>
                <a:gd name="connsiteY71" fmla="*/ 9406 h 10000"/>
                <a:gd name="connsiteX72" fmla="*/ 4851 w 10000"/>
                <a:gd name="connsiteY72" fmla="*/ 9406 h 10000"/>
                <a:gd name="connsiteX73" fmla="*/ 4805 w 10000"/>
                <a:gd name="connsiteY73" fmla="*/ 9455 h 10000"/>
                <a:gd name="connsiteX74" fmla="*/ 4782 w 10000"/>
                <a:gd name="connsiteY74" fmla="*/ 9422 h 10000"/>
                <a:gd name="connsiteX75" fmla="*/ 4771 w 10000"/>
                <a:gd name="connsiteY75" fmla="*/ 9406 h 10000"/>
                <a:gd name="connsiteX76" fmla="*/ 4713 w 10000"/>
                <a:gd name="connsiteY76" fmla="*/ 9406 h 10000"/>
                <a:gd name="connsiteX77" fmla="*/ 4713 w 10000"/>
                <a:gd name="connsiteY77" fmla="*/ 9373 h 10000"/>
                <a:gd name="connsiteX78" fmla="*/ 4702 w 10000"/>
                <a:gd name="connsiteY78" fmla="*/ 9406 h 10000"/>
                <a:gd name="connsiteX79" fmla="*/ 4667 w 10000"/>
                <a:gd name="connsiteY79" fmla="*/ 9455 h 10000"/>
                <a:gd name="connsiteX80" fmla="*/ 4667 w 10000"/>
                <a:gd name="connsiteY80" fmla="*/ 9472 h 10000"/>
                <a:gd name="connsiteX81" fmla="*/ 4656 w 10000"/>
                <a:gd name="connsiteY81" fmla="*/ 9455 h 10000"/>
                <a:gd name="connsiteX82" fmla="*/ 4587 w 10000"/>
                <a:gd name="connsiteY82" fmla="*/ 9422 h 10000"/>
                <a:gd name="connsiteX83" fmla="*/ 4564 w 10000"/>
                <a:gd name="connsiteY83" fmla="*/ 9472 h 10000"/>
                <a:gd name="connsiteX84" fmla="*/ 4564 w 10000"/>
                <a:gd name="connsiteY84" fmla="*/ 9587 h 10000"/>
                <a:gd name="connsiteX85" fmla="*/ 4587 w 10000"/>
                <a:gd name="connsiteY85" fmla="*/ 9670 h 10000"/>
                <a:gd name="connsiteX86" fmla="*/ 4587 w 10000"/>
                <a:gd name="connsiteY86" fmla="*/ 9736 h 10000"/>
                <a:gd name="connsiteX87" fmla="*/ 4564 w 10000"/>
                <a:gd name="connsiteY87" fmla="*/ 9736 h 10000"/>
                <a:gd name="connsiteX88" fmla="*/ 4518 w 10000"/>
                <a:gd name="connsiteY88" fmla="*/ 9752 h 10000"/>
                <a:gd name="connsiteX89" fmla="*/ 4484 w 10000"/>
                <a:gd name="connsiteY89" fmla="*/ 9620 h 10000"/>
                <a:gd name="connsiteX90" fmla="*/ 4450 w 10000"/>
                <a:gd name="connsiteY90" fmla="*/ 9620 h 10000"/>
                <a:gd name="connsiteX91" fmla="*/ 4415 w 10000"/>
                <a:gd name="connsiteY91" fmla="*/ 9670 h 10000"/>
                <a:gd name="connsiteX92" fmla="*/ 4346 w 10000"/>
                <a:gd name="connsiteY92" fmla="*/ 9670 h 10000"/>
                <a:gd name="connsiteX93" fmla="*/ 4300 w 10000"/>
                <a:gd name="connsiteY93" fmla="*/ 9587 h 10000"/>
                <a:gd name="connsiteX94" fmla="*/ 4289 w 10000"/>
                <a:gd name="connsiteY94" fmla="*/ 9538 h 10000"/>
                <a:gd name="connsiteX95" fmla="*/ 4186 w 10000"/>
                <a:gd name="connsiteY95" fmla="*/ 9521 h 10000"/>
                <a:gd name="connsiteX96" fmla="*/ 4220 w 10000"/>
                <a:gd name="connsiteY96" fmla="*/ 9323 h 10000"/>
                <a:gd name="connsiteX97" fmla="*/ 4140 w 10000"/>
                <a:gd name="connsiteY97" fmla="*/ 9224 h 10000"/>
                <a:gd name="connsiteX98" fmla="*/ 4140 w 10000"/>
                <a:gd name="connsiteY98" fmla="*/ 9158 h 10000"/>
                <a:gd name="connsiteX99" fmla="*/ 4117 w 10000"/>
                <a:gd name="connsiteY99" fmla="*/ 9092 h 10000"/>
                <a:gd name="connsiteX100" fmla="*/ 4117 w 10000"/>
                <a:gd name="connsiteY100" fmla="*/ 9043 h 10000"/>
                <a:gd name="connsiteX101" fmla="*/ 4002 w 10000"/>
                <a:gd name="connsiteY101" fmla="*/ 9043 h 10000"/>
                <a:gd name="connsiteX102" fmla="*/ 3933 w 10000"/>
                <a:gd name="connsiteY102" fmla="*/ 9142 h 10000"/>
                <a:gd name="connsiteX103" fmla="*/ 3922 w 10000"/>
                <a:gd name="connsiteY103" fmla="*/ 9109 h 10000"/>
                <a:gd name="connsiteX104" fmla="*/ 3956 w 10000"/>
                <a:gd name="connsiteY104" fmla="*/ 9043 h 10000"/>
                <a:gd name="connsiteX105" fmla="*/ 3956 w 10000"/>
                <a:gd name="connsiteY105" fmla="*/ 8993 h 10000"/>
                <a:gd name="connsiteX106" fmla="*/ 3933 w 10000"/>
                <a:gd name="connsiteY106" fmla="*/ 8944 h 10000"/>
                <a:gd name="connsiteX107" fmla="*/ 3968 w 10000"/>
                <a:gd name="connsiteY107" fmla="*/ 8795 h 10000"/>
                <a:gd name="connsiteX108" fmla="*/ 4002 w 10000"/>
                <a:gd name="connsiteY108" fmla="*/ 8746 h 10000"/>
                <a:gd name="connsiteX109" fmla="*/ 4014 w 10000"/>
                <a:gd name="connsiteY109" fmla="*/ 8713 h 10000"/>
                <a:gd name="connsiteX110" fmla="*/ 4037 w 10000"/>
                <a:gd name="connsiteY110" fmla="*/ 8713 h 10000"/>
                <a:gd name="connsiteX111" fmla="*/ 4083 w 10000"/>
                <a:gd name="connsiteY111" fmla="*/ 8531 h 10000"/>
                <a:gd name="connsiteX112" fmla="*/ 4071 w 10000"/>
                <a:gd name="connsiteY112" fmla="*/ 8152 h 10000"/>
                <a:gd name="connsiteX113" fmla="*/ 4014 w 10000"/>
                <a:gd name="connsiteY113" fmla="*/ 8135 h 10000"/>
                <a:gd name="connsiteX114" fmla="*/ 4002 w 10000"/>
                <a:gd name="connsiteY114" fmla="*/ 8102 h 10000"/>
                <a:gd name="connsiteX115" fmla="*/ 4002 w 10000"/>
                <a:gd name="connsiteY115" fmla="*/ 8036 h 10000"/>
                <a:gd name="connsiteX116" fmla="*/ 3968 w 10000"/>
                <a:gd name="connsiteY116" fmla="*/ 7954 h 10000"/>
                <a:gd name="connsiteX117" fmla="*/ 3922 w 10000"/>
                <a:gd name="connsiteY117" fmla="*/ 7937 h 10000"/>
                <a:gd name="connsiteX118" fmla="*/ 3899 w 10000"/>
                <a:gd name="connsiteY118" fmla="*/ 7954 h 10000"/>
                <a:gd name="connsiteX119" fmla="*/ 3888 w 10000"/>
                <a:gd name="connsiteY119" fmla="*/ 7987 h 10000"/>
                <a:gd name="connsiteX120" fmla="*/ 3865 w 10000"/>
                <a:gd name="connsiteY120" fmla="*/ 7937 h 10000"/>
                <a:gd name="connsiteX121" fmla="*/ 3830 w 10000"/>
                <a:gd name="connsiteY121" fmla="*/ 7921 h 10000"/>
                <a:gd name="connsiteX122" fmla="*/ 3784 w 10000"/>
                <a:gd name="connsiteY122" fmla="*/ 7921 h 10000"/>
                <a:gd name="connsiteX123" fmla="*/ 3773 w 10000"/>
                <a:gd name="connsiteY123" fmla="*/ 7888 h 10000"/>
                <a:gd name="connsiteX124" fmla="*/ 3704 w 10000"/>
                <a:gd name="connsiteY124" fmla="*/ 7888 h 10000"/>
                <a:gd name="connsiteX125" fmla="*/ 3716 w 10000"/>
                <a:gd name="connsiteY125" fmla="*/ 7772 h 10000"/>
                <a:gd name="connsiteX126" fmla="*/ 3681 w 10000"/>
                <a:gd name="connsiteY126" fmla="*/ 7739 h 10000"/>
                <a:gd name="connsiteX127" fmla="*/ 3681 w 10000"/>
                <a:gd name="connsiteY127" fmla="*/ 7690 h 10000"/>
                <a:gd name="connsiteX128" fmla="*/ 3681 w 10000"/>
                <a:gd name="connsiteY128" fmla="*/ 7673 h 10000"/>
                <a:gd name="connsiteX129" fmla="*/ 3647 w 10000"/>
                <a:gd name="connsiteY129" fmla="*/ 7624 h 10000"/>
                <a:gd name="connsiteX130" fmla="*/ 3624 w 10000"/>
                <a:gd name="connsiteY130" fmla="*/ 7657 h 10000"/>
                <a:gd name="connsiteX131" fmla="*/ 3567 w 10000"/>
                <a:gd name="connsiteY131" fmla="*/ 7673 h 10000"/>
                <a:gd name="connsiteX132" fmla="*/ 3532 w 10000"/>
                <a:gd name="connsiteY132" fmla="*/ 7690 h 10000"/>
                <a:gd name="connsiteX133" fmla="*/ 3452 w 10000"/>
                <a:gd name="connsiteY133" fmla="*/ 7690 h 10000"/>
                <a:gd name="connsiteX134" fmla="*/ 3440 w 10000"/>
                <a:gd name="connsiteY134" fmla="*/ 7673 h 10000"/>
                <a:gd name="connsiteX135" fmla="*/ 3417 w 10000"/>
                <a:gd name="connsiteY135" fmla="*/ 7673 h 10000"/>
                <a:gd name="connsiteX136" fmla="*/ 3349 w 10000"/>
                <a:gd name="connsiteY136" fmla="*/ 7723 h 10000"/>
                <a:gd name="connsiteX137" fmla="*/ 3337 w 10000"/>
                <a:gd name="connsiteY137" fmla="*/ 7772 h 10000"/>
                <a:gd name="connsiteX138" fmla="*/ 3280 w 10000"/>
                <a:gd name="connsiteY138" fmla="*/ 7838 h 10000"/>
                <a:gd name="connsiteX139" fmla="*/ 3234 w 10000"/>
                <a:gd name="connsiteY139" fmla="*/ 7871 h 10000"/>
                <a:gd name="connsiteX140" fmla="*/ 3165 w 10000"/>
                <a:gd name="connsiteY140" fmla="*/ 7954 h 10000"/>
                <a:gd name="connsiteX141" fmla="*/ 2947 w 10000"/>
                <a:gd name="connsiteY141" fmla="*/ 8086 h 10000"/>
                <a:gd name="connsiteX142" fmla="*/ 2924 w 10000"/>
                <a:gd name="connsiteY142" fmla="*/ 8036 h 10000"/>
                <a:gd name="connsiteX143" fmla="*/ 2901 w 10000"/>
                <a:gd name="connsiteY143" fmla="*/ 8036 h 10000"/>
                <a:gd name="connsiteX144" fmla="*/ 2901 w 10000"/>
                <a:gd name="connsiteY144" fmla="*/ 8003 h 10000"/>
                <a:gd name="connsiteX145" fmla="*/ 2856 w 10000"/>
                <a:gd name="connsiteY145" fmla="*/ 8036 h 10000"/>
                <a:gd name="connsiteX146" fmla="*/ 2752 w 10000"/>
                <a:gd name="connsiteY146" fmla="*/ 8003 h 10000"/>
                <a:gd name="connsiteX147" fmla="*/ 2741 w 10000"/>
                <a:gd name="connsiteY147" fmla="*/ 7987 h 10000"/>
                <a:gd name="connsiteX148" fmla="*/ 2718 w 10000"/>
                <a:gd name="connsiteY148" fmla="*/ 7954 h 10000"/>
                <a:gd name="connsiteX149" fmla="*/ 2706 w 10000"/>
                <a:gd name="connsiteY149" fmla="*/ 7937 h 10000"/>
                <a:gd name="connsiteX150" fmla="*/ 2649 w 10000"/>
                <a:gd name="connsiteY150" fmla="*/ 7954 h 10000"/>
                <a:gd name="connsiteX151" fmla="*/ 2615 w 10000"/>
                <a:gd name="connsiteY151" fmla="*/ 7954 h 10000"/>
                <a:gd name="connsiteX152" fmla="*/ 2580 w 10000"/>
                <a:gd name="connsiteY152" fmla="*/ 8003 h 10000"/>
                <a:gd name="connsiteX153" fmla="*/ 2569 w 10000"/>
                <a:gd name="connsiteY153" fmla="*/ 8086 h 10000"/>
                <a:gd name="connsiteX154" fmla="*/ 2500 w 10000"/>
                <a:gd name="connsiteY154" fmla="*/ 8185 h 10000"/>
                <a:gd name="connsiteX155" fmla="*/ 2500 w 10000"/>
                <a:gd name="connsiteY155" fmla="*/ 8201 h 10000"/>
                <a:gd name="connsiteX156" fmla="*/ 2489 w 10000"/>
                <a:gd name="connsiteY156" fmla="*/ 8201 h 10000"/>
                <a:gd name="connsiteX157" fmla="*/ 2466 w 10000"/>
                <a:gd name="connsiteY157" fmla="*/ 8185 h 10000"/>
                <a:gd name="connsiteX158" fmla="*/ 2466 w 10000"/>
                <a:gd name="connsiteY158" fmla="*/ 8152 h 10000"/>
                <a:gd name="connsiteX159" fmla="*/ 2466 w 10000"/>
                <a:gd name="connsiteY159" fmla="*/ 8086 h 10000"/>
                <a:gd name="connsiteX160" fmla="*/ 2466 w 10000"/>
                <a:gd name="connsiteY160" fmla="*/ 8036 h 10000"/>
                <a:gd name="connsiteX161" fmla="*/ 2466 w 10000"/>
                <a:gd name="connsiteY161" fmla="*/ 8003 h 10000"/>
                <a:gd name="connsiteX162" fmla="*/ 2454 w 10000"/>
                <a:gd name="connsiteY162" fmla="*/ 8003 h 10000"/>
                <a:gd name="connsiteX163" fmla="*/ 2431 w 10000"/>
                <a:gd name="connsiteY163" fmla="*/ 8003 h 10000"/>
                <a:gd name="connsiteX164" fmla="*/ 2408 w 10000"/>
                <a:gd name="connsiteY164" fmla="*/ 8036 h 10000"/>
                <a:gd name="connsiteX165" fmla="*/ 2385 w 10000"/>
                <a:gd name="connsiteY165" fmla="*/ 8036 h 10000"/>
                <a:gd name="connsiteX166" fmla="*/ 2351 w 10000"/>
                <a:gd name="connsiteY166" fmla="*/ 8053 h 10000"/>
                <a:gd name="connsiteX167" fmla="*/ 2351 w 10000"/>
                <a:gd name="connsiteY167" fmla="*/ 8036 h 10000"/>
                <a:gd name="connsiteX168" fmla="*/ 2317 w 10000"/>
                <a:gd name="connsiteY168" fmla="*/ 8053 h 10000"/>
                <a:gd name="connsiteX169" fmla="*/ 2305 w 10000"/>
                <a:gd name="connsiteY169" fmla="*/ 8086 h 10000"/>
                <a:gd name="connsiteX170" fmla="*/ 2248 w 10000"/>
                <a:gd name="connsiteY170" fmla="*/ 8086 h 10000"/>
                <a:gd name="connsiteX171" fmla="*/ 2236 w 10000"/>
                <a:gd name="connsiteY171" fmla="*/ 8086 h 10000"/>
                <a:gd name="connsiteX172" fmla="*/ 2225 w 10000"/>
                <a:gd name="connsiteY172" fmla="*/ 8086 h 10000"/>
                <a:gd name="connsiteX173" fmla="*/ 2167 w 10000"/>
                <a:gd name="connsiteY173" fmla="*/ 8053 h 10000"/>
                <a:gd name="connsiteX174" fmla="*/ 2156 w 10000"/>
                <a:gd name="connsiteY174" fmla="*/ 8003 h 10000"/>
                <a:gd name="connsiteX175" fmla="*/ 2122 w 10000"/>
                <a:gd name="connsiteY175" fmla="*/ 8003 h 10000"/>
                <a:gd name="connsiteX176" fmla="*/ 2099 w 10000"/>
                <a:gd name="connsiteY176" fmla="*/ 8036 h 10000"/>
                <a:gd name="connsiteX177" fmla="*/ 2099 w 10000"/>
                <a:gd name="connsiteY177" fmla="*/ 8053 h 10000"/>
                <a:gd name="connsiteX178" fmla="*/ 2087 w 10000"/>
                <a:gd name="connsiteY178" fmla="*/ 8053 h 10000"/>
                <a:gd name="connsiteX179" fmla="*/ 2064 w 10000"/>
                <a:gd name="connsiteY179" fmla="*/ 8036 h 10000"/>
                <a:gd name="connsiteX180" fmla="*/ 2053 w 10000"/>
                <a:gd name="connsiteY180" fmla="*/ 8053 h 10000"/>
                <a:gd name="connsiteX181" fmla="*/ 2041 w 10000"/>
                <a:gd name="connsiteY181" fmla="*/ 8036 h 10000"/>
                <a:gd name="connsiteX182" fmla="*/ 2007 w 10000"/>
                <a:gd name="connsiteY182" fmla="*/ 8053 h 10000"/>
                <a:gd name="connsiteX183" fmla="*/ 1984 w 10000"/>
                <a:gd name="connsiteY183" fmla="*/ 8003 h 10000"/>
                <a:gd name="connsiteX184" fmla="*/ 1972 w 10000"/>
                <a:gd name="connsiteY184" fmla="*/ 7954 h 10000"/>
                <a:gd name="connsiteX185" fmla="*/ 1938 w 10000"/>
                <a:gd name="connsiteY185" fmla="*/ 7954 h 10000"/>
                <a:gd name="connsiteX186" fmla="*/ 1915 w 10000"/>
                <a:gd name="connsiteY186" fmla="*/ 7987 h 10000"/>
                <a:gd name="connsiteX187" fmla="*/ 1892 w 10000"/>
                <a:gd name="connsiteY187" fmla="*/ 7937 h 10000"/>
                <a:gd name="connsiteX188" fmla="*/ 1869 w 10000"/>
                <a:gd name="connsiteY188" fmla="*/ 7921 h 10000"/>
                <a:gd name="connsiteX189" fmla="*/ 1892 w 10000"/>
                <a:gd name="connsiteY189" fmla="*/ 7838 h 10000"/>
                <a:gd name="connsiteX190" fmla="*/ 1869 w 10000"/>
                <a:gd name="connsiteY190" fmla="*/ 7838 h 10000"/>
                <a:gd name="connsiteX191" fmla="*/ 1858 w 10000"/>
                <a:gd name="connsiteY191" fmla="*/ 7871 h 10000"/>
                <a:gd name="connsiteX192" fmla="*/ 1823 w 10000"/>
                <a:gd name="connsiteY192" fmla="*/ 7871 h 10000"/>
                <a:gd name="connsiteX193" fmla="*/ 1800 w 10000"/>
                <a:gd name="connsiteY193" fmla="*/ 7838 h 10000"/>
                <a:gd name="connsiteX194" fmla="*/ 1789 w 10000"/>
                <a:gd name="connsiteY194" fmla="*/ 7838 h 10000"/>
                <a:gd name="connsiteX195" fmla="*/ 1766 w 10000"/>
                <a:gd name="connsiteY195" fmla="*/ 7838 h 10000"/>
                <a:gd name="connsiteX196" fmla="*/ 1755 w 10000"/>
                <a:gd name="connsiteY196" fmla="*/ 7838 h 10000"/>
                <a:gd name="connsiteX197" fmla="*/ 1732 w 10000"/>
                <a:gd name="connsiteY197" fmla="*/ 7822 h 10000"/>
                <a:gd name="connsiteX198" fmla="*/ 1732 w 10000"/>
                <a:gd name="connsiteY198" fmla="*/ 7789 h 10000"/>
                <a:gd name="connsiteX199" fmla="*/ 1720 w 10000"/>
                <a:gd name="connsiteY199" fmla="*/ 7822 h 10000"/>
                <a:gd name="connsiteX200" fmla="*/ 1720 w 10000"/>
                <a:gd name="connsiteY200" fmla="*/ 7789 h 10000"/>
                <a:gd name="connsiteX201" fmla="*/ 1720 w 10000"/>
                <a:gd name="connsiteY201" fmla="*/ 7739 h 10000"/>
                <a:gd name="connsiteX202" fmla="*/ 1720 w 10000"/>
                <a:gd name="connsiteY202" fmla="*/ 7723 h 10000"/>
                <a:gd name="connsiteX203" fmla="*/ 1732 w 10000"/>
                <a:gd name="connsiteY203" fmla="*/ 7690 h 10000"/>
                <a:gd name="connsiteX204" fmla="*/ 1720 w 10000"/>
                <a:gd name="connsiteY204" fmla="*/ 7673 h 10000"/>
                <a:gd name="connsiteX205" fmla="*/ 1709 w 10000"/>
                <a:gd name="connsiteY205" fmla="*/ 7673 h 10000"/>
                <a:gd name="connsiteX206" fmla="*/ 1686 w 10000"/>
                <a:gd name="connsiteY206" fmla="*/ 7673 h 10000"/>
                <a:gd name="connsiteX207" fmla="*/ 1674 w 10000"/>
                <a:gd name="connsiteY207" fmla="*/ 7690 h 10000"/>
                <a:gd name="connsiteX208" fmla="*/ 1651 w 10000"/>
                <a:gd name="connsiteY208" fmla="*/ 7723 h 10000"/>
                <a:gd name="connsiteX209" fmla="*/ 1640 w 10000"/>
                <a:gd name="connsiteY209" fmla="*/ 7739 h 10000"/>
                <a:gd name="connsiteX210" fmla="*/ 1606 w 10000"/>
                <a:gd name="connsiteY210" fmla="*/ 7723 h 10000"/>
                <a:gd name="connsiteX211" fmla="*/ 1583 w 10000"/>
                <a:gd name="connsiteY211" fmla="*/ 7657 h 10000"/>
                <a:gd name="connsiteX212" fmla="*/ 1537 w 10000"/>
                <a:gd name="connsiteY212" fmla="*/ 7558 h 10000"/>
                <a:gd name="connsiteX213" fmla="*/ 1502 w 10000"/>
                <a:gd name="connsiteY213" fmla="*/ 7558 h 10000"/>
                <a:gd name="connsiteX214" fmla="*/ 1456 w 10000"/>
                <a:gd name="connsiteY214" fmla="*/ 7475 h 10000"/>
                <a:gd name="connsiteX215" fmla="*/ 1319 w 10000"/>
                <a:gd name="connsiteY215" fmla="*/ 7409 h 10000"/>
                <a:gd name="connsiteX216" fmla="*/ 1250 w 10000"/>
                <a:gd name="connsiteY216" fmla="*/ 7409 h 10000"/>
                <a:gd name="connsiteX217" fmla="*/ 1250 w 10000"/>
                <a:gd name="connsiteY217" fmla="*/ 7442 h 10000"/>
                <a:gd name="connsiteX218" fmla="*/ 1250 w 10000"/>
                <a:gd name="connsiteY218" fmla="*/ 7459 h 10000"/>
                <a:gd name="connsiteX219" fmla="*/ 1250 w 10000"/>
                <a:gd name="connsiteY219" fmla="*/ 7475 h 10000"/>
                <a:gd name="connsiteX220" fmla="*/ 1216 w 10000"/>
                <a:gd name="connsiteY220" fmla="*/ 7459 h 10000"/>
                <a:gd name="connsiteX221" fmla="*/ 1216 w 10000"/>
                <a:gd name="connsiteY221" fmla="*/ 7442 h 10000"/>
                <a:gd name="connsiteX222" fmla="*/ 1204 w 10000"/>
                <a:gd name="connsiteY222" fmla="*/ 7409 h 10000"/>
                <a:gd name="connsiteX223" fmla="*/ 1158 w 10000"/>
                <a:gd name="connsiteY223" fmla="*/ 7393 h 10000"/>
                <a:gd name="connsiteX224" fmla="*/ 1135 w 10000"/>
                <a:gd name="connsiteY224" fmla="*/ 7393 h 10000"/>
                <a:gd name="connsiteX225" fmla="*/ 1135 w 10000"/>
                <a:gd name="connsiteY225" fmla="*/ 7360 h 10000"/>
                <a:gd name="connsiteX226" fmla="*/ 1124 w 10000"/>
                <a:gd name="connsiteY226" fmla="*/ 7360 h 10000"/>
                <a:gd name="connsiteX227" fmla="*/ 1089 w 10000"/>
                <a:gd name="connsiteY227" fmla="*/ 7310 h 10000"/>
                <a:gd name="connsiteX228" fmla="*/ 1032 w 10000"/>
                <a:gd name="connsiteY228" fmla="*/ 7294 h 10000"/>
                <a:gd name="connsiteX229" fmla="*/ 1032 w 10000"/>
                <a:gd name="connsiteY229" fmla="*/ 7261 h 10000"/>
                <a:gd name="connsiteX230" fmla="*/ 1032 w 10000"/>
                <a:gd name="connsiteY230" fmla="*/ 7244 h 10000"/>
                <a:gd name="connsiteX231" fmla="*/ 1021 w 10000"/>
                <a:gd name="connsiteY231" fmla="*/ 7244 h 10000"/>
                <a:gd name="connsiteX232" fmla="*/ 1009 w 10000"/>
                <a:gd name="connsiteY232" fmla="*/ 7244 h 10000"/>
                <a:gd name="connsiteX233" fmla="*/ 1009 w 10000"/>
                <a:gd name="connsiteY233" fmla="*/ 7211 h 10000"/>
                <a:gd name="connsiteX234" fmla="*/ 975 w 10000"/>
                <a:gd name="connsiteY234" fmla="*/ 7244 h 10000"/>
                <a:gd name="connsiteX235" fmla="*/ 975 w 10000"/>
                <a:gd name="connsiteY235" fmla="*/ 7211 h 10000"/>
                <a:gd name="connsiteX236" fmla="*/ 952 w 10000"/>
                <a:gd name="connsiteY236" fmla="*/ 7195 h 10000"/>
                <a:gd name="connsiteX237" fmla="*/ 906 w 10000"/>
                <a:gd name="connsiteY237" fmla="*/ 7211 h 10000"/>
                <a:gd name="connsiteX238" fmla="*/ 883 w 10000"/>
                <a:gd name="connsiteY238" fmla="*/ 7211 h 10000"/>
                <a:gd name="connsiteX239" fmla="*/ 872 w 10000"/>
                <a:gd name="connsiteY239" fmla="*/ 7211 h 10000"/>
                <a:gd name="connsiteX240" fmla="*/ 872 w 10000"/>
                <a:gd name="connsiteY240" fmla="*/ 7178 h 10000"/>
                <a:gd name="connsiteX241" fmla="*/ 849 w 10000"/>
                <a:gd name="connsiteY241" fmla="*/ 7145 h 10000"/>
                <a:gd name="connsiteX242" fmla="*/ 837 w 10000"/>
                <a:gd name="connsiteY242" fmla="*/ 7129 h 10000"/>
                <a:gd name="connsiteX243" fmla="*/ 826 w 10000"/>
                <a:gd name="connsiteY243" fmla="*/ 7096 h 10000"/>
                <a:gd name="connsiteX244" fmla="*/ 826 w 10000"/>
                <a:gd name="connsiteY244" fmla="*/ 7079 h 10000"/>
                <a:gd name="connsiteX245" fmla="*/ 837 w 10000"/>
                <a:gd name="connsiteY245" fmla="*/ 7046 h 10000"/>
                <a:gd name="connsiteX246" fmla="*/ 826 w 10000"/>
                <a:gd name="connsiteY246" fmla="*/ 7030 h 10000"/>
                <a:gd name="connsiteX247" fmla="*/ 837 w 10000"/>
                <a:gd name="connsiteY247" fmla="*/ 6980 h 10000"/>
                <a:gd name="connsiteX248" fmla="*/ 837 w 10000"/>
                <a:gd name="connsiteY248" fmla="*/ 6947 h 10000"/>
                <a:gd name="connsiteX249" fmla="*/ 791 w 10000"/>
                <a:gd name="connsiteY249" fmla="*/ 6881 h 10000"/>
                <a:gd name="connsiteX250" fmla="*/ 791 w 10000"/>
                <a:gd name="connsiteY250" fmla="*/ 6832 h 10000"/>
                <a:gd name="connsiteX251" fmla="*/ 791 w 10000"/>
                <a:gd name="connsiteY251" fmla="*/ 6782 h 10000"/>
                <a:gd name="connsiteX252" fmla="*/ 826 w 10000"/>
                <a:gd name="connsiteY252" fmla="*/ 6782 h 10000"/>
                <a:gd name="connsiteX253" fmla="*/ 837 w 10000"/>
                <a:gd name="connsiteY253" fmla="*/ 6766 h 10000"/>
                <a:gd name="connsiteX254" fmla="*/ 837 w 10000"/>
                <a:gd name="connsiteY254" fmla="*/ 6782 h 10000"/>
                <a:gd name="connsiteX255" fmla="*/ 837 w 10000"/>
                <a:gd name="connsiteY255" fmla="*/ 6815 h 10000"/>
                <a:gd name="connsiteX256" fmla="*/ 849 w 10000"/>
                <a:gd name="connsiteY256" fmla="*/ 6832 h 10000"/>
                <a:gd name="connsiteX257" fmla="*/ 872 w 10000"/>
                <a:gd name="connsiteY257" fmla="*/ 6832 h 10000"/>
                <a:gd name="connsiteX258" fmla="*/ 883 w 10000"/>
                <a:gd name="connsiteY258" fmla="*/ 6832 h 10000"/>
                <a:gd name="connsiteX259" fmla="*/ 906 w 10000"/>
                <a:gd name="connsiteY259" fmla="*/ 6832 h 10000"/>
                <a:gd name="connsiteX260" fmla="*/ 906 w 10000"/>
                <a:gd name="connsiteY260" fmla="*/ 6815 h 10000"/>
                <a:gd name="connsiteX261" fmla="*/ 917 w 10000"/>
                <a:gd name="connsiteY261" fmla="*/ 6782 h 10000"/>
                <a:gd name="connsiteX262" fmla="*/ 917 w 10000"/>
                <a:gd name="connsiteY262" fmla="*/ 6766 h 10000"/>
                <a:gd name="connsiteX263" fmla="*/ 940 w 10000"/>
                <a:gd name="connsiteY263" fmla="*/ 6782 h 10000"/>
                <a:gd name="connsiteX264" fmla="*/ 975 w 10000"/>
                <a:gd name="connsiteY264" fmla="*/ 6733 h 10000"/>
                <a:gd name="connsiteX265" fmla="*/ 940 w 10000"/>
                <a:gd name="connsiteY265" fmla="*/ 6667 h 10000"/>
                <a:gd name="connsiteX266" fmla="*/ 940 w 10000"/>
                <a:gd name="connsiteY266" fmla="*/ 6650 h 10000"/>
                <a:gd name="connsiteX267" fmla="*/ 940 w 10000"/>
                <a:gd name="connsiteY267" fmla="*/ 6617 h 10000"/>
                <a:gd name="connsiteX268" fmla="*/ 917 w 10000"/>
                <a:gd name="connsiteY268" fmla="*/ 6601 h 10000"/>
                <a:gd name="connsiteX269" fmla="*/ 906 w 10000"/>
                <a:gd name="connsiteY269" fmla="*/ 6601 h 10000"/>
                <a:gd name="connsiteX270" fmla="*/ 883 w 10000"/>
                <a:gd name="connsiteY270" fmla="*/ 6601 h 10000"/>
                <a:gd name="connsiteX271" fmla="*/ 872 w 10000"/>
                <a:gd name="connsiteY271" fmla="*/ 6551 h 10000"/>
                <a:gd name="connsiteX272" fmla="*/ 872 w 10000"/>
                <a:gd name="connsiteY272" fmla="*/ 6502 h 10000"/>
                <a:gd name="connsiteX273" fmla="*/ 883 w 10000"/>
                <a:gd name="connsiteY273" fmla="*/ 6502 h 10000"/>
                <a:gd name="connsiteX274" fmla="*/ 872 w 10000"/>
                <a:gd name="connsiteY274" fmla="*/ 6469 h 10000"/>
                <a:gd name="connsiteX275" fmla="*/ 872 w 10000"/>
                <a:gd name="connsiteY275" fmla="*/ 6452 h 10000"/>
                <a:gd name="connsiteX276" fmla="*/ 883 w 10000"/>
                <a:gd name="connsiteY276" fmla="*/ 6452 h 10000"/>
                <a:gd name="connsiteX277" fmla="*/ 872 w 10000"/>
                <a:gd name="connsiteY277" fmla="*/ 6419 h 10000"/>
                <a:gd name="connsiteX278" fmla="*/ 872 w 10000"/>
                <a:gd name="connsiteY278" fmla="*/ 6386 h 10000"/>
                <a:gd name="connsiteX279" fmla="*/ 883 w 10000"/>
                <a:gd name="connsiteY279" fmla="*/ 6386 h 10000"/>
                <a:gd name="connsiteX280" fmla="*/ 906 w 10000"/>
                <a:gd name="connsiteY280" fmla="*/ 6386 h 10000"/>
                <a:gd name="connsiteX281" fmla="*/ 940 w 10000"/>
                <a:gd name="connsiteY281" fmla="*/ 6386 h 10000"/>
                <a:gd name="connsiteX282" fmla="*/ 952 w 10000"/>
                <a:gd name="connsiteY282" fmla="*/ 6386 h 10000"/>
                <a:gd name="connsiteX283" fmla="*/ 975 w 10000"/>
                <a:gd name="connsiteY283" fmla="*/ 6304 h 10000"/>
                <a:gd name="connsiteX284" fmla="*/ 975 w 10000"/>
                <a:gd name="connsiteY284" fmla="*/ 6254 h 10000"/>
                <a:gd name="connsiteX285" fmla="*/ 1009 w 10000"/>
                <a:gd name="connsiteY285" fmla="*/ 6254 h 10000"/>
                <a:gd name="connsiteX286" fmla="*/ 1009 w 10000"/>
                <a:gd name="connsiteY286" fmla="*/ 6238 h 10000"/>
                <a:gd name="connsiteX287" fmla="*/ 1021 w 10000"/>
                <a:gd name="connsiteY287" fmla="*/ 6205 h 10000"/>
                <a:gd name="connsiteX288" fmla="*/ 1055 w 10000"/>
                <a:gd name="connsiteY288" fmla="*/ 6155 h 10000"/>
                <a:gd name="connsiteX289" fmla="*/ 1055 w 10000"/>
                <a:gd name="connsiteY289" fmla="*/ 6139 h 10000"/>
                <a:gd name="connsiteX290" fmla="*/ 1067 w 10000"/>
                <a:gd name="connsiteY290" fmla="*/ 6122 h 10000"/>
                <a:gd name="connsiteX291" fmla="*/ 1067 w 10000"/>
                <a:gd name="connsiteY291" fmla="*/ 6040 h 10000"/>
                <a:gd name="connsiteX292" fmla="*/ 1089 w 10000"/>
                <a:gd name="connsiteY292" fmla="*/ 6023 h 10000"/>
                <a:gd name="connsiteX293" fmla="*/ 1089 w 10000"/>
                <a:gd name="connsiteY293" fmla="*/ 5990 h 10000"/>
                <a:gd name="connsiteX294" fmla="*/ 1101 w 10000"/>
                <a:gd name="connsiteY294" fmla="*/ 5974 h 10000"/>
                <a:gd name="connsiteX295" fmla="*/ 1101 w 10000"/>
                <a:gd name="connsiteY295" fmla="*/ 5941 h 10000"/>
                <a:gd name="connsiteX296" fmla="*/ 1089 w 10000"/>
                <a:gd name="connsiteY296" fmla="*/ 5941 h 10000"/>
                <a:gd name="connsiteX297" fmla="*/ 1067 w 10000"/>
                <a:gd name="connsiteY297" fmla="*/ 5941 h 10000"/>
                <a:gd name="connsiteX298" fmla="*/ 1055 w 10000"/>
                <a:gd name="connsiteY298" fmla="*/ 5974 h 10000"/>
                <a:gd name="connsiteX299" fmla="*/ 1032 w 10000"/>
                <a:gd name="connsiteY299" fmla="*/ 5974 h 10000"/>
                <a:gd name="connsiteX300" fmla="*/ 1032 w 10000"/>
                <a:gd name="connsiteY300" fmla="*/ 5924 h 10000"/>
                <a:gd name="connsiteX301" fmla="*/ 1021 w 10000"/>
                <a:gd name="connsiteY301" fmla="*/ 5924 h 10000"/>
                <a:gd name="connsiteX302" fmla="*/ 1009 w 10000"/>
                <a:gd name="connsiteY302" fmla="*/ 5924 h 10000"/>
                <a:gd name="connsiteX303" fmla="*/ 943 w 10000"/>
                <a:gd name="connsiteY303" fmla="*/ 5932 h 10000"/>
                <a:gd name="connsiteX304" fmla="*/ 986 w 10000"/>
                <a:gd name="connsiteY304" fmla="*/ 5908 h 10000"/>
                <a:gd name="connsiteX305" fmla="*/ 986 w 10000"/>
                <a:gd name="connsiteY305" fmla="*/ 5858 h 10000"/>
                <a:gd name="connsiteX306" fmla="*/ 975 w 10000"/>
                <a:gd name="connsiteY306" fmla="*/ 5858 h 10000"/>
                <a:gd name="connsiteX307" fmla="*/ 952 w 10000"/>
                <a:gd name="connsiteY307" fmla="*/ 5858 h 10000"/>
                <a:gd name="connsiteX308" fmla="*/ 940 w 10000"/>
                <a:gd name="connsiteY308" fmla="*/ 5825 h 10000"/>
                <a:gd name="connsiteX309" fmla="*/ 940 w 10000"/>
                <a:gd name="connsiteY309" fmla="*/ 5809 h 10000"/>
                <a:gd name="connsiteX310" fmla="*/ 917 w 10000"/>
                <a:gd name="connsiteY310" fmla="*/ 5809 h 10000"/>
                <a:gd name="connsiteX311" fmla="*/ 906 w 10000"/>
                <a:gd name="connsiteY311" fmla="*/ 5825 h 10000"/>
                <a:gd name="connsiteX312" fmla="*/ 883 w 10000"/>
                <a:gd name="connsiteY312" fmla="*/ 5825 h 10000"/>
                <a:gd name="connsiteX313" fmla="*/ 872 w 10000"/>
                <a:gd name="connsiteY313" fmla="*/ 5825 h 10000"/>
                <a:gd name="connsiteX314" fmla="*/ 837 w 10000"/>
                <a:gd name="connsiteY314" fmla="*/ 5858 h 10000"/>
                <a:gd name="connsiteX315" fmla="*/ 757 w 10000"/>
                <a:gd name="connsiteY315" fmla="*/ 5924 h 10000"/>
                <a:gd name="connsiteX316" fmla="*/ 734 w 10000"/>
                <a:gd name="connsiteY316" fmla="*/ 5941 h 10000"/>
                <a:gd name="connsiteX317" fmla="*/ 722 w 10000"/>
                <a:gd name="connsiteY317" fmla="*/ 5941 h 10000"/>
                <a:gd name="connsiteX318" fmla="*/ 700 w 10000"/>
                <a:gd name="connsiteY318" fmla="*/ 5974 h 10000"/>
                <a:gd name="connsiteX319" fmla="*/ 688 w 10000"/>
                <a:gd name="connsiteY319" fmla="*/ 5941 h 10000"/>
                <a:gd name="connsiteX320" fmla="*/ 677 w 10000"/>
                <a:gd name="connsiteY320" fmla="*/ 5974 h 10000"/>
                <a:gd name="connsiteX321" fmla="*/ 619 w 10000"/>
                <a:gd name="connsiteY321" fmla="*/ 5974 h 10000"/>
                <a:gd name="connsiteX322" fmla="*/ 608 w 10000"/>
                <a:gd name="connsiteY322" fmla="*/ 5941 h 10000"/>
                <a:gd name="connsiteX323" fmla="*/ 585 w 10000"/>
                <a:gd name="connsiteY323" fmla="*/ 5941 h 10000"/>
                <a:gd name="connsiteX324" fmla="*/ 493 w 10000"/>
                <a:gd name="connsiteY324" fmla="*/ 5875 h 10000"/>
                <a:gd name="connsiteX325" fmla="*/ 493 w 10000"/>
                <a:gd name="connsiteY325" fmla="*/ 5858 h 10000"/>
                <a:gd name="connsiteX326" fmla="*/ 470 w 10000"/>
                <a:gd name="connsiteY326" fmla="*/ 5825 h 10000"/>
                <a:gd name="connsiteX327" fmla="*/ 459 w 10000"/>
                <a:gd name="connsiteY327" fmla="*/ 5858 h 10000"/>
                <a:gd name="connsiteX328" fmla="*/ 436 w 10000"/>
                <a:gd name="connsiteY328" fmla="*/ 5858 h 10000"/>
                <a:gd name="connsiteX329" fmla="*/ 424 w 10000"/>
                <a:gd name="connsiteY329" fmla="*/ 5858 h 10000"/>
                <a:gd name="connsiteX330" fmla="*/ 401 w 10000"/>
                <a:gd name="connsiteY330" fmla="*/ 5809 h 10000"/>
                <a:gd name="connsiteX331" fmla="*/ 367 w 10000"/>
                <a:gd name="connsiteY331" fmla="*/ 5809 h 10000"/>
                <a:gd name="connsiteX332" fmla="*/ 367 w 10000"/>
                <a:gd name="connsiteY332" fmla="*/ 5776 h 10000"/>
                <a:gd name="connsiteX333" fmla="*/ 390 w 10000"/>
                <a:gd name="connsiteY333" fmla="*/ 5759 h 10000"/>
                <a:gd name="connsiteX334" fmla="*/ 390 w 10000"/>
                <a:gd name="connsiteY334" fmla="*/ 5726 h 10000"/>
                <a:gd name="connsiteX335" fmla="*/ 390 w 10000"/>
                <a:gd name="connsiteY335" fmla="*/ 5660 h 10000"/>
                <a:gd name="connsiteX336" fmla="*/ 367 w 10000"/>
                <a:gd name="connsiteY336" fmla="*/ 5644 h 10000"/>
                <a:gd name="connsiteX337" fmla="*/ 321 w 10000"/>
                <a:gd name="connsiteY337" fmla="*/ 5594 h 10000"/>
                <a:gd name="connsiteX338" fmla="*/ 287 w 10000"/>
                <a:gd name="connsiteY338" fmla="*/ 5611 h 10000"/>
                <a:gd name="connsiteX339" fmla="*/ 287 w 10000"/>
                <a:gd name="connsiteY339" fmla="*/ 5594 h 10000"/>
                <a:gd name="connsiteX340" fmla="*/ 287 w 10000"/>
                <a:gd name="connsiteY340" fmla="*/ 5545 h 10000"/>
                <a:gd name="connsiteX341" fmla="*/ 275 w 10000"/>
                <a:gd name="connsiteY341" fmla="*/ 5545 h 10000"/>
                <a:gd name="connsiteX342" fmla="*/ 252 w 10000"/>
                <a:gd name="connsiteY342" fmla="*/ 5512 h 10000"/>
                <a:gd name="connsiteX343" fmla="*/ 241 w 10000"/>
                <a:gd name="connsiteY343" fmla="*/ 5512 h 10000"/>
                <a:gd name="connsiteX344" fmla="*/ 183 w 10000"/>
                <a:gd name="connsiteY344" fmla="*/ 5545 h 10000"/>
                <a:gd name="connsiteX345" fmla="*/ 172 w 10000"/>
                <a:gd name="connsiteY345" fmla="*/ 5512 h 10000"/>
                <a:gd name="connsiteX346" fmla="*/ 161 w 10000"/>
                <a:gd name="connsiteY346" fmla="*/ 5495 h 10000"/>
                <a:gd name="connsiteX347" fmla="*/ 138 w 10000"/>
                <a:gd name="connsiteY347" fmla="*/ 5495 h 10000"/>
                <a:gd name="connsiteX348" fmla="*/ 138 w 10000"/>
                <a:gd name="connsiteY348" fmla="*/ 5462 h 10000"/>
                <a:gd name="connsiteX349" fmla="*/ 161 w 10000"/>
                <a:gd name="connsiteY349" fmla="*/ 5446 h 10000"/>
                <a:gd name="connsiteX350" fmla="*/ 172 w 10000"/>
                <a:gd name="connsiteY350" fmla="*/ 5413 h 10000"/>
                <a:gd name="connsiteX351" fmla="*/ 183 w 10000"/>
                <a:gd name="connsiteY351" fmla="*/ 5446 h 10000"/>
                <a:gd name="connsiteX352" fmla="*/ 206 w 10000"/>
                <a:gd name="connsiteY352" fmla="*/ 5446 h 10000"/>
                <a:gd name="connsiteX353" fmla="*/ 218 w 10000"/>
                <a:gd name="connsiteY353" fmla="*/ 5446 h 10000"/>
                <a:gd name="connsiteX354" fmla="*/ 218 w 10000"/>
                <a:gd name="connsiteY354" fmla="*/ 5297 h 10000"/>
                <a:gd name="connsiteX355" fmla="*/ 183 w 10000"/>
                <a:gd name="connsiteY355" fmla="*/ 5182 h 10000"/>
                <a:gd name="connsiteX356" fmla="*/ 183 w 10000"/>
                <a:gd name="connsiteY356" fmla="*/ 5116 h 10000"/>
                <a:gd name="connsiteX357" fmla="*/ 172 w 10000"/>
                <a:gd name="connsiteY357" fmla="*/ 5066 h 10000"/>
                <a:gd name="connsiteX358" fmla="*/ 126 w 10000"/>
                <a:gd name="connsiteY358" fmla="*/ 5066 h 10000"/>
                <a:gd name="connsiteX359" fmla="*/ 57 w 10000"/>
                <a:gd name="connsiteY359" fmla="*/ 5083 h 10000"/>
                <a:gd name="connsiteX360" fmla="*/ 23 w 10000"/>
                <a:gd name="connsiteY360" fmla="*/ 5033 h 10000"/>
                <a:gd name="connsiteX361" fmla="*/ 0 w 10000"/>
                <a:gd name="connsiteY361" fmla="*/ 4884 h 10000"/>
                <a:gd name="connsiteX362" fmla="*/ 34 w 10000"/>
                <a:gd name="connsiteY362" fmla="*/ 4752 h 10000"/>
                <a:gd name="connsiteX363" fmla="*/ 34 w 10000"/>
                <a:gd name="connsiteY363" fmla="*/ 4703 h 10000"/>
                <a:gd name="connsiteX364" fmla="*/ 57 w 10000"/>
                <a:gd name="connsiteY364" fmla="*/ 4604 h 10000"/>
                <a:gd name="connsiteX365" fmla="*/ 161 w 10000"/>
                <a:gd name="connsiteY365" fmla="*/ 4554 h 10000"/>
                <a:gd name="connsiteX366" fmla="*/ 172 w 10000"/>
                <a:gd name="connsiteY366" fmla="*/ 4538 h 10000"/>
                <a:gd name="connsiteX367" fmla="*/ 183 w 10000"/>
                <a:gd name="connsiteY367" fmla="*/ 4538 h 10000"/>
                <a:gd name="connsiteX368" fmla="*/ 206 w 10000"/>
                <a:gd name="connsiteY368" fmla="*/ 4455 h 10000"/>
                <a:gd name="connsiteX369" fmla="*/ 241 w 10000"/>
                <a:gd name="connsiteY369" fmla="*/ 4488 h 10000"/>
                <a:gd name="connsiteX370" fmla="*/ 287 w 10000"/>
                <a:gd name="connsiteY370" fmla="*/ 4455 h 10000"/>
                <a:gd name="connsiteX371" fmla="*/ 321 w 10000"/>
                <a:gd name="connsiteY371" fmla="*/ 4455 h 10000"/>
                <a:gd name="connsiteX372" fmla="*/ 333 w 10000"/>
                <a:gd name="connsiteY372" fmla="*/ 4505 h 10000"/>
                <a:gd name="connsiteX373" fmla="*/ 436 w 10000"/>
                <a:gd name="connsiteY373" fmla="*/ 4505 h 10000"/>
                <a:gd name="connsiteX374" fmla="*/ 493 w 10000"/>
                <a:gd name="connsiteY374" fmla="*/ 4455 h 10000"/>
                <a:gd name="connsiteX375" fmla="*/ 505 w 10000"/>
                <a:gd name="connsiteY375" fmla="*/ 4389 h 10000"/>
                <a:gd name="connsiteX376" fmla="*/ 516 w 10000"/>
                <a:gd name="connsiteY376" fmla="*/ 4340 h 10000"/>
                <a:gd name="connsiteX377" fmla="*/ 757 w 10000"/>
                <a:gd name="connsiteY377" fmla="*/ 4274 h 10000"/>
                <a:gd name="connsiteX378" fmla="*/ 768 w 10000"/>
                <a:gd name="connsiteY378" fmla="*/ 4224 h 10000"/>
                <a:gd name="connsiteX379" fmla="*/ 826 w 10000"/>
                <a:gd name="connsiteY379" fmla="*/ 4142 h 10000"/>
                <a:gd name="connsiteX380" fmla="*/ 1067 w 10000"/>
                <a:gd name="connsiteY380" fmla="*/ 4010 h 10000"/>
                <a:gd name="connsiteX381" fmla="*/ 1089 w 10000"/>
                <a:gd name="connsiteY381" fmla="*/ 3927 h 10000"/>
                <a:gd name="connsiteX382" fmla="*/ 1089 w 10000"/>
                <a:gd name="connsiteY382" fmla="*/ 3762 h 10000"/>
                <a:gd name="connsiteX383" fmla="*/ 1124 w 10000"/>
                <a:gd name="connsiteY383" fmla="*/ 3713 h 10000"/>
                <a:gd name="connsiteX384" fmla="*/ 1101 w 10000"/>
                <a:gd name="connsiteY384" fmla="*/ 3663 h 10000"/>
                <a:gd name="connsiteX385" fmla="*/ 1158 w 10000"/>
                <a:gd name="connsiteY385" fmla="*/ 3614 h 10000"/>
                <a:gd name="connsiteX386" fmla="*/ 1089 w 10000"/>
                <a:gd name="connsiteY386" fmla="*/ 3168 h 10000"/>
                <a:gd name="connsiteX387" fmla="*/ 1055 w 10000"/>
                <a:gd name="connsiteY387" fmla="*/ 3119 h 10000"/>
                <a:gd name="connsiteX388" fmla="*/ 1032 w 10000"/>
                <a:gd name="connsiteY388" fmla="*/ 3069 h 10000"/>
                <a:gd name="connsiteX389" fmla="*/ 1055 w 10000"/>
                <a:gd name="connsiteY389" fmla="*/ 3053 h 10000"/>
                <a:gd name="connsiteX390" fmla="*/ 1399 w 10000"/>
                <a:gd name="connsiteY390" fmla="*/ 2954 h 10000"/>
                <a:gd name="connsiteX391" fmla="*/ 1422 w 10000"/>
                <a:gd name="connsiteY391" fmla="*/ 2921 h 10000"/>
                <a:gd name="connsiteX392" fmla="*/ 1399 w 10000"/>
                <a:gd name="connsiteY392" fmla="*/ 2805 h 10000"/>
                <a:gd name="connsiteX393" fmla="*/ 1525 w 10000"/>
                <a:gd name="connsiteY393" fmla="*/ 2277 h 10000"/>
                <a:gd name="connsiteX394" fmla="*/ 1583 w 10000"/>
                <a:gd name="connsiteY394" fmla="*/ 2310 h 10000"/>
                <a:gd name="connsiteX395" fmla="*/ 1617 w 10000"/>
                <a:gd name="connsiteY395" fmla="*/ 2327 h 10000"/>
                <a:gd name="connsiteX396" fmla="*/ 1674 w 10000"/>
                <a:gd name="connsiteY396" fmla="*/ 2343 h 10000"/>
                <a:gd name="connsiteX397" fmla="*/ 1789 w 10000"/>
                <a:gd name="connsiteY397" fmla="*/ 2327 h 10000"/>
                <a:gd name="connsiteX398" fmla="*/ 1835 w 10000"/>
                <a:gd name="connsiteY398" fmla="*/ 2393 h 10000"/>
                <a:gd name="connsiteX399" fmla="*/ 1869 w 10000"/>
                <a:gd name="connsiteY399" fmla="*/ 2343 h 10000"/>
                <a:gd name="connsiteX400" fmla="*/ 1950 w 10000"/>
                <a:gd name="connsiteY400" fmla="*/ 2327 h 10000"/>
                <a:gd name="connsiteX401" fmla="*/ 1972 w 10000"/>
                <a:gd name="connsiteY401" fmla="*/ 1964 h 10000"/>
                <a:gd name="connsiteX402" fmla="*/ 1984 w 10000"/>
                <a:gd name="connsiteY402" fmla="*/ 1865 h 10000"/>
                <a:gd name="connsiteX403" fmla="*/ 2041 w 10000"/>
                <a:gd name="connsiteY403" fmla="*/ 1865 h 10000"/>
                <a:gd name="connsiteX404" fmla="*/ 2099 w 10000"/>
                <a:gd name="connsiteY404" fmla="*/ 1848 h 10000"/>
                <a:gd name="connsiteX405" fmla="*/ 2156 w 10000"/>
                <a:gd name="connsiteY405" fmla="*/ 1782 h 10000"/>
                <a:gd name="connsiteX406" fmla="*/ 2190 w 10000"/>
                <a:gd name="connsiteY406" fmla="*/ 1700 h 10000"/>
                <a:gd name="connsiteX407" fmla="*/ 2248 w 10000"/>
                <a:gd name="connsiteY407" fmla="*/ 1733 h 10000"/>
                <a:gd name="connsiteX408" fmla="*/ 2305 w 10000"/>
                <a:gd name="connsiteY408" fmla="*/ 1650 h 10000"/>
                <a:gd name="connsiteX409" fmla="*/ 2317 w 10000"/>
                <a:gd name="connsiteY409" fmla="*/ 1650 h 10000"/>
                <a:gd name="connsiteX410" fmla="*/ 2317 w 10000"/>
                <a:gd name="connsiteY410" fmla="*/ 1683 h 10000"/>
                <a:gd name="connsiteX411" fmla="*/ 2351 w 10000"/>
                <a:gd name="connsiteY411" fmla="*/ 1815 h 10000"/>
                <a:gd name="connsiteX412" fmla="*/ 2454 w 10000"/>
                <a:gd name="connsiteY412" fmla="*/ 1947 h 10000"/>
                <a:gd name="connsiteX413" fmla="*/ 2466 w 10000"/>
                <a:gd name="connsiteY413" fmla="*/ 2013 h 10000"/>
                <a:gd name="connsiteX414" fmla="*/ 2523 w 10000"/>
                <a:gd name="connsiteY414" fmla="*/ 2063 h 10000"/>
                <a:gd name="connsiteX415" fmla="*/ 2534 w 10000"/>
                <a:gd name="connsiteY415" fmla="*/ 2013 h 10000"/>
                <a:gd name="connsiteX416" fmla="*/ 2580 w 10000"/>
                <a:gd name="connsiteY416" fmla="*/ 2046 h 10000"/>
                <a:gd name="connsiteX417" fmla="*/ 2638 w 10000"/>
                <a:gd name="connsiteY417" fmla="*/ 2063 h 10000"/>
                <a:gd name="connsiteX418" fmla="*/ 2683 w 10000"/>
                <a:gd name="connsiteY418" fmla="*/ 2079 h 10000"/>
                <a:gd name="connsiteX419" fmla="*/ 2798 w 10000"/>
                <a:gd name="connsiteY419" fmla="*/ 2492 h 10000"/>
                <a:gd name="connsiteX420" fmla="*/ 2798 w 10000"/>
                <a:gd name="connsiteY420" fmla="*/ 2789 h 10000"/>
                <a:gd name="connsiteX421" fmla="*/ 2787 w 10000"/>
                <a:gd name="connsiteY421" fmla="*/ 2855 h 10000"/>
                <a:gd name="connsiteX422" fmla="*/ 2787 w 10000"/>
                <a:gd name="connsiteY422" fmla="*/ 2921 h 10000"/>
                <a:gd name="connsiteX423" fmla="*/ 2798 w 10000"/>
                <a:gd name="connsiteY423" fmla="*/ 2954 h 10000"/>
                <a:gd name="connsiteX424" fmla="*/ 3073 w 10000"/>
                <a:gd name="connsiteY424" fmla="*/ 3053 h 10000"/>
                <a:gd name="connsiteX425" fmla="*/ 3154 w 10000"/>
                <a:gd name="connsiteY425" fmla="*/ 3020 h 10000"/>
                <a:gd name="connsiteX426" fmla="*/ 3498 w 10000"/>
                <a:gd name="connsiteY426" fmla="*/ 3234 h 10000"/>
                <a:gd name="connsiteX427" fmla="*/ 3532 w 10000"/>
                <a:gd name="connsiteY427" fmla="*/ 3234 h 10000"/>
                <a:gd name="connsiteX428" fmla="*/ 3784 w 10000"/>
                <a:gd name="connsiteY428" fmla="*/ 3746 h 10000"/>
                <a:gd name="connsiteX429" fmla="*/ 3819 w 10000"/>
                <a:gd name="connsiteY429" fmla="*/ 3762 h 10000"/>
                <a:gd name="connsiteX430" fmla="*/ 4369 w 10000"/>
                <a:gd name="connsiteY430" fmla="*/ 3713 h 10000"/>
                <a:gd name="connsiteX431" fmla="*/ 4553 w 10000"/>
                <a:gd name="connsiteY431" fmla="*/ 3795 h 10000"/>
                <a:gd name="connsiteX432" fmla="*/ 4633 w 10000"/>
                <a:gd name="connsiteY432" fmla="*/ 3878 h 10000"/>
                <a:gd name="connsiteX433" fmla="*/ 4920 w 10000"/>
                <a:gd name="connsiteY433" fmla="*/ 4059 h 10000"/>
                <a:gd name="connsiteX434" fmla="*/ 5000 w 10000"/>
                <a:gd name="connsiteY434" fmla="*/ 4059 h 10000"/>
                <a:gd name="connsiteX435" fmla="*/ 5011 w 10000"/>
                <a:gd name="connsiteY435" fmla="*/ 4076 h 10000"/>
                <a:gd name="connsiteX436" fmla="*/ 5046 w 10000"/>
                <a:gd name="connsiteY436" fmla="*/ 4109 h 10000"/>
                <a:gd name="connsiteX437" fmla="*/ 5080 w 10000"/>
                <a:gd name="connsiteY437" fmla="*/ 4125 h 10000"/>
                <a:gd name="connsiteX438" fmla="*/ 5115 w 10000"/>
                <a:gd name="connsiteY438" fmla="*/ 4125 h 10000"/>
                <a:gd name="connsiteX439" fmla="*/ 5172 w 10000"/>
                <a:gd name="connsiteY439" fmla="*/ 4059 h 10000"/>
                <a:gd name="connsiteX440" fmla="*/ 5333 w 10000"/>
                <a:gd name="connsiteY440" fmla="*/ 3977 h 10000"/>
                <a:gd name="connsiteX441" fmla="*/ 5356 w 10000"/>
                <a:gd name="connsiteY441" fmla="*/ 3927 h 10000"/>
                <a:gd name="connsiteX442" fmla="*/ 5550 w 10000"/>
                <a:gd name="connsiteY442" fmla="*/ 3861 h 10000"/>
                <a:gd name="connsiteX443" fmla="*/ 5631 w 10000"/>
                <a:gd name="connsiteY443" fmla="*/ 3861 h 10000"/>
                <a:gd name="connsiteX444" fmla="*/ 5688 w 10000"/>
                <a:gd name="connsiteY444" fmla="*/ 3845 h 10000"/>
                <a:gd name="connsiteX445" fmla="*/ 5768 w 10000"/>
                <a:gd name="connsiteY445" fmla="*/ 3878 h 10000"/>
                <a:gd name="connsiteX446" fmla="*/ 5780 w 10000"/>
                <a:gd name="connsiteY446" fmla="*/ 3861 h 10000"/>
                <a:gd name="connsiteX447" fmla="*/ 5872 w 10000"/>
                <a:gd name="connsiteY447" fmla="*/ 3861 h 10000"/>
                <a:gd name="connsiteX448" fmla="*/ 6044 w 10000"/>
                <a:gd name="connsiteY448" fmla="*/ 3713 h 10000"/>
                <a:gd name="connsiteX449" fmla="*/ 6078 w 10000"/>
                <a:gd name="connsiteY449" fmla="*/ 3647 h 10000"/>
                <a:gd name="connsiteX450" fmla="*/ 6250 w 10000"/>
                <a:gd name="connsiteY450" fmla="*/ 3432 h 10000"/>
                <a:gd name="connsiteX451" fmla="*/ 6250 w 10000"/>
                <a:gd name="connsiteY451" fmla="*/ 3383 h 10000"/>
                <a:gd name="connsiteX452" fmla="*/ 6181 w 10000"/>
                <a:gd name="connsiteY452" fmla="*/ 3267 h 10000"/>
                <a:gd name="connsiteX453" fmla="*/ 6181 w 10000"/>
                <a:gd name="connsiteY453" fmla="*/ 3185 h 10000"/>
                <a:gd name="connsiteX454" fmla="*/ 6250 w 10000"/>
                <a:gd name="connsiteY454" fmla="*/ 3053 h 10000"/>
                <a:gd name="connsiteX455" fmla="*/ 6319 w 10000"/>
                <a:gd name="connsiteY455" fmla="*/ 3003 h 10000"/>
                <a:gd name="connsiteX456" fmla="*/ 6365 w 10000"/>
                <a:gd name="connsiteY456" fmla="*/ 3020 h 10000"/>
                <a:gd name="connsiteX457" fmla="*/ 6399 w 10000"/>
                <a:gd name="connsiteY457" fmla="*/ 3086 h 10000"/>
                <a:gd name="connsiteX458" fmla="*/ 6514 w 10000"/>
                <a:gd name="connsiteY458" fmla="*/ 3086 h 10000"/>
                <a:gd name="connsiteX459" fmla="*/ 6594 w 10000"/>
                <a:gd name="connsiteY459" fmla="*/ 3020 h 10000"/>
                <a:gd name="connsiteX460" fmla="*/ 6720 w 10000"/>
                <a:gd name="connsiteY460" fmla="*/ 2855 h 10000"/>
                <a:gd name="connsiteX461" fmla="*/ 6778 w 10000"/>
                <a:gd name="connsiteY461" fmla="*/ 2855 h 10000"/>
                <a:gd name="connsiteX462" fmla="*/ 6846 w 10000"/>
                <a:gd name="connsiteY462" fmla="*/ 2789 h 10000"/>
                <a:gd name="connsiteX463" fmla="*/ 7053 w 10000"/>
                <a:gd name="connsiteY463" fmla="*/ 2492 h 10000"/>
                <a:gd name="connsiteX464" fmla="*/ 7328 w 10000"/>
                <a:gd name="connsiteY464" fmla="*/ 2442 h 10000"/>
                <a:gd name="connsiteX465" fmla="*/ 7443 w 10000"/>
                <a:gd name="connsiteY465" fmla="*/ 2475 h 10000"/>
                <a:gd name="connsiteX466" fmla="*/ 7477 w 10000"/>
                <a:gd name="connsiteY466" fmla="*/ 2442 h 10000"/>
                <a:gd name="connsiteX467" fmla="*/ 7466 w 10000"/>
                <a:gd name="connsiteY467" fmla="*/ 2393 h 10000"/>
                <a:gd name="connsiteX468" fmla="*/ 7431 w 10000"/>
                <a:gd name="connsiteY468" fmla="*/ 2343 h 10000"/>
                <a:gd name="connsiteX469" fmla="*/ 7431 w 10000"/>
                <a:gd name="connsiteY469" fmla="*/ 2261 h 10000"/>
                <a:gd name="connsiteX470" fmla="*/ 7420 w 10000"/>
                <a:gd name="connsiteY470" fmla="*/ 2211 h 10000"/>
                <a:gd name="connsiteX471" fmla="*/ 7294 w 10000"/>
                <a:gd name="connsiteY471" fmla="*/ 2046 h 10000"/>
                <a:gd name="connsiteX472" fmla="*/ 7282 w 10000"/>
                <a:gd name="connsiteY472" fmla="*/ 1997 h 10000"/>
                <a:gd name="connsiteX473" fmla="*/ 7133 w 10000"/>
                <a:gd name="connsiteY473" fmla="*/ 2129 h 10000"/>
                <a:gd name="connsiteX474" fmla="*/ 6984 w 10000"/>
                <a:gd name="connsiteY474" fmla="*/ 2162 h 10000"/>
                <a:gd name="connsiteX475" fmla="*/ 6869 w 10000"/>
                <a:gd name="connsiteY475" fmla="*/ 2129 h 10000"/>
                <a:gd name="connsiteX476" fmla="*/ 6835 w 10000"/>
                <a:gd name="connsiteY476" fmla="*/ 2063 h 10000"/>
                <a:gd name="connsiteX477" fmla="*/ 6835 w 10000"/>
                <a:gd name="connsiteY477" fmla="*/ 1865 h 10000"/>
                <a:gd name="connsiteX478" fmla="*/ 6846 w 10000"/>
                <a:gd name="connsiteY478" fmla="*/ 1799 h 10000"/>
                <a:gd name="connsiteX479" fmla="*/ 6846 w 10000"/>
                <a:gd name="connsiteY479" fmla="*/ 1584 h 10000"/>
                <a:gd name="connsiteX480" fmla="*/ 6950 w 10000"/>
                <a:gd name="connsiteY480" fmla="*/ 1370 h 10000"/>
                <a:gd name="connsiteX481" fmla="*/ 6961 w 10000"/>
                <a:gd name="connsiteY481" fmla="*/ 1320 h 10000"/>
                <a:gd name="connsiteX482" fmla="*/ 6961 w 10000"/>
                <a:gd name="connsiteY482" fmla="*/ 1304 h 10000"/>
                <a:gd name="connsiteX483" fmla="*/ 7213 w 10000"/>
                <a:gd name="connsiteY483" fmla="*/ 1436 h 10000"/>
                <a:gd name="connsiteX484" fmla="*/ 7248 w 10000"/>
                <a:gd name="connsiteY484" fmla="*/ 1436 h 10000"/>
                <a:gd name="connsiteX485" fmla="*/ 7431 w 10000"/>
                <a:gd name="connsiteY485" fmla="*/ 1271 h 10000"/>
                <a:gd name="connsiteX486" fmla="*/ 7443 w 10000"/>
                <a:gd name="connsiteY486" fmla="*/ 1221 h 10000"/>
                <a:gd name="connsiteX487" fmla="*/ 7431 w 10000"/>
                <a:gd name="connsiteY487" fmla="*/ 1172 h 10000"/>
                <a:gd name="connsiteX488" fmla="*/ 7443 w 10000"/>
                <a:gd name="connsiteY488" fmla="*/ 1122 h 10000"/>
                <a:gd name="connsiteX489" fmla="*/ 7500 w 10000"/>
                <a:gd name="connsiteY489" fmla="*/ 1007 h 10000"/>
                <a:gd name="connsiteX490" fmla="*/ 7569 w 10000"/>
                <a:gd name="connsiteY490" fmla="*/ 726 h 10000"/>
                <a:gd name="connsiteX491" fmla="*/ 7615 w 10000"/>
                <a:gd name="connsiteY491" fmla="*/ 677 h 10000"/>
                <a:gd name="connsiteX492" fmla="*/ 7683 w 10000"/>
                <a:gd name="connsiteY492" fmla="*/ 545 h 10000"/>
                <a:gd name="connsiteX493" fmla="*/ 7661 w 10000"/>
                <a:gd name="connsiteY493" fmla="*/ 512 h 10000"/>
                <a:gd name="connsiteX494" fmla="*/ 7661 w 10000"/>
                <a:gd name="connsiteY494" fmla="*/ 380 h 10000"/>
                <a:gd name="connsiteX495" fmla="*/ 7649 w 10000"/>
                <a:gd name="connsiteY495" fmla="*/ 363 h 10000"/>
                <a:gd name="connsiteX496" fmla="*/ 7569 w 10000"/>
                <a:gd name="connsiteY496" fmla="*/ 380 h 10000"/>
                <a:gd name="connsiteX497" fmla="*/ 7569 w 10000"/>
                <a:gd name="connsiteY497" fmla="*/ 363 h 10000"/>
                <a:gd name="connsiteX498" fmla="*/ 7569 w 10000"/>
                <a:gd name="connsiteY498" fmla="*/ 314 h 10000"/>
                <a:gd name="connsiteX499" fmla="*/ 7649 w 10000"/>
                <a:gd name="connsiteY499" fmla="*/ 215 h 10000"/>
                <a:gd name="connsiteX500" fmla="*/ 7661 w 10000"/>
                <a:gd name="connsiteY500" fmla="*/ 149 h 10000"/>
                <a:gd name="connsiteX501" fmla="*/ 7718 w 10000"/>
                <a:gd name="connsiteY501" fmla="*/ 99 h 10000"/>
                <a:gd name="connsiteX502" fmla="*/ 8142 w 10000"/>
                <a:gd name="connsiteY502" fmla="*/ 0 h 10000"/>
                <a:gd name="connsiteX503" fmla="*/ 8291 w 10000"/>
                <a:gd name="connsiteY503" fmla="*/ 116 h 10000"/>
                <a:gd name="connsiteX504" fmla="*/ 8326 w 10000"/>
                <a:gd name="connsiteY504" fmla="*/ 149 h 10000"/>
                <a:gd name="connsiteX505" fmla="*/ 8394 w 10000"/>
                <a:gd name="connsiteY505" fmla="*/ 149 h 10000"/>
                <a:gd name="connsiteX506" fmla="*/ 8475 w 10000"/>
                <a:gd name="connsiteY506" fmla="*/ 198 h 10000"/>
                <a:gd name="connsiteX507" fmla="*/ 8544 w 10000"/>
                <a:gd name="connsiteY507" fmla="*/ 314 h 10000"/>
                <a:gd name="connsiteX508" fmla="*/ 8544 w 10000"/>
                <a:gd name="connsiteY508" fmla="*/ 363 h 10000"/>
                <a:gd name="connsiteX509" fmla="*/ 8601 w 10000"/>
                <a:gd name="connsiteY509" fmla="*/ 429 h 10000"/>
                <a:gd name="connsiteX510" fmla="*/ 8601 w 10000"/>
                <a:gd name="connsiteY510" fmla="*/ 462 h 10000"/>
                <a:gd name="connsiteX511" fmla="*/ 8601 w 10000"/>
                <a:gd name="connsiteY511" fmla="*/ 429 h 10000"/>
                <a:gd name="connsiteX512" fmla="*/ 8784 w 10000"/>
                <a:gd name="connsiteY512" fmla="*/ 1221 h 10000"/>
                <a:gd name="connsiteX513" fmla="*/ 8784 w 10000"/>
                <a:gd name="connsiteY513" fmla="*/ 1254 h 10000"/>
                <a:gd name="connsiteX514" fmla="*/ 8796 w 10000"/>
                <a:gd name="connsiteY514" fmla="*/ 1419 h 10000"/>
                <a:gd name="connsiteX515" fmla="*/ 8830 w 10000"/>
                <a:gd name="connsiteY515" fmla="*/ 1469 h 10000"/>
                <a:gd name="connsiteX516" fmla="*/ 8899 w 10000"/>
                <a:gd name="connsiteY516" fmla="*/ 1485 h 10000"/>
                <a:gd name="connsiteX517" fmla="*/ 8968 w 10000"/>
                <a:gd name="connsiteY517" fmla="*/ 1436 h 10000"/>
                <a:gd name="connsiteX518" fmla="*/ 9117 w 10000"/>
                <a:gd name="connsiteY518" fmla="*/ 1535 h 10000"/>
                <a:gd name="connsiteX519" fmla="*/ 9209 w 10000"/>
                <a:gd name="connsiteY519" fmla="*/ 1650 h 10000"/>
                <a:gd name="connsiteX520" fmla="*/ 9243 w 10000"/>
                <a:gd name="connsiteY520" fmla="*/ 1683 h 10000"/>
                <a:gd name="connsiteX521" fmla="*/ 9300 w 10000"/>
                <a:gd name="connsiteY521" fmla="*/ 1683 h 10000"/>
                <a:gd name="connsiteX522" fmla="*/ 9300 w 10000"/>
                <a:gd name="connsiteY522" fmla="*/ 1733 h 10000"/>
                <a:gd name="connsiteX523" fmla="*/ 9312 w 10000"/>
                <a:gd name="connsiteY523" fmla="*/ 1733 h 10000"/>
                <a:gd name="connsiteX524" fmla="*/ 9312 w 10000"/>
                <a:gd name="connsiteY524" fmla="*/ 1799 h 10000"/>
                <a:gd name="connsiteX525" fmla="*/ 9335 w 10000"/>
                <a:gd name="connsiteY525" fmla="*/ 1848 h 10000"/>
                <a:gd name="connsiteX526" fmla="*/ 9335 w 10000"/>
                <a:gd name="connsiteY526" fmla="*/ 1997 h 10000"/>
                <a:gd name="connsiteX527" fmla="*/ 9381 w 10000"/>
                <a:gd name="connsiteY527" fmla="*/ 2112 h 10000"/>
                <a:gd name="connsiteX528" fmla="*/ 9427 w 10000"/>
                <a:gd name="connsiteY528" fmla="*/ 2112 h 10000"/>
                <a:gd name="connsiteX529" fmla="*/ 9495 w 10000"/>
                <a:gd name="connsiteY529" fmla="*/ 2129 h 10000"/>
                <a:gd name="connsiteX530" fmla="*/ 9541 w 10000"/>
                <a:gd name="connsiteY530" fmla="*/ 2112 h 10000"/>
                <a:gd name="connsiteX531" fmla="*/ 9725 w 10000"/>
                <a:gd name="connsiteY531" fmla="*/ 1964 h 10000"/>
                <a:gd name="connsiteX532" fmla="*/ 9794 w 10000"/>
                <a:gd name="connsiteY532" fmla="*/ 1964 h 10000"/>
                <a:gd name="connsiteX533" fmla="*/ 10000 w 10000"/>
                <a:gd name="connsiteY533" fmla="*/ 1848 h 10000"/>
                <a:gd name="connsiteX534" fmla="*/ 9966 w 10000"/>
                <a:gd name="connsiteY534" fmla="*/ 1914 h 10000"/>
                <a:gd name="connsiteX535" fmla="*/ 9966 w 10000"/>
                <a:gd name="connsiteY535" fmla="*/ 1997 h 10000"/>
                <a:gd name="connsiteX536" fmla="*/ 9977 w 10000"/>
                <a:gd name="connsiteY536" fmla="*/ 2063 h 10000"/>
                <a:gd name="connsiteX537" fmla="*/ 9977 w 10000"/>
                <a:gd name="connsiteY537" fmla="*/ 2162 h 10000"/>
                <a:gd name="connsiteX538" fmla="*/ 9897 w 10000"/>
                <a:gd name="connsiteY538" fmla="*/ 2261 h 10000"/>
                <a:gd name="connsiteX539" fmla="*/ 9828 w 10000"/>
                <a:gd name="connsiteY539" fmla="*/ 2657 h 10000"/>
                <a:gd name="connsiteX540" fmla="*/ 9725 w 10000"/>
                <a:gd name="connsiteY540" fmla="*/ 2904 h 10000"/>
                <a:gd name="connsiteX541" fmla="*/ 9713 w 10000"/>
                <a:gd name="connsiteY541" fmla="*/ 3003 h 10000"/>
                <a:gd name="connsiteX542" fmla="*/ 9679 w 10000"/>
                <a:gd name="connsiteY542" fmla="*/ 3020 h 10000"/>
                <a:gd name="connsiteX543" fmla="*/ 9667 w 10000"/>
                <a:gd name="connsiteY543" fmla="*/ 3020 h 10000"/>
                <a:gd name="connsiteX544" fmla="*/ 9507 w 10000"/>
                <a:gd name="connsiteY544" fmla="*/ 2954 h 10000"/>
                <a:gd name="connsiteX545" fmla="*/ 9358 w 10000"/>
                <a:gd name="connsiteY545" fmla="*/ 3135 h 10000"/>
                <a:gd name="connsiteX546" fmla="*/ 9392 w 10000"/>
                <a:gd name="connsiteY546" fmla="*/ 3185 h 10000"/>
                <a:gd name="connsiteX547" fmla="*/ 9415 w 10000"/>
                <a:gd name="connsiteY547" fmla="*/ 3581 h 10000"/>
                <a:gd name="connsiteX548" fmla="*/ 9358 w 10000"/>
                <a:gd name="connsiteY548" fmla="*/ 3663 h 10000"/>
                <a:gd name="connsiteX549" fmla="*/ 9300 w 10000"/>
                <a:gd name="connsiteY549" fmla="*/ 3746 h 10000"/>
                <a:gd name="connsiteX550" fmla="*/ 9300 w 10000"/>
                <a:gd name="connsiteY550" fmla="*/ 3812 h 10000"/>
                <a:gd name="connsiteX551" fmla="*/ 9278 w 10000"/>
                <a:gd name="connsiteY551" fmla="*/ 3812 h 10000"/>
                <a:gd name="connsiteX552" fmla="*/ 9243 w 10000"/>
                <a:gd name="connsiteY552" fmla="*/ 3762 h 10000"/>
                <a:gd name="connsiteX553" fmla="*/ 9209 w 10000"/>
                <a:gd name="connsiteY553" fmla="*/ 3713 h 10000"/>
                <a:gd name="connsiteX554" fmla="*/ 9174 w 10000"/>
                <a:gd name="connsiteY554" fmla="*/ 3746 h 10000"/>
                <a:gd name="connsiteX555" fmla="*/ 9128 w 10000"/>
                <a:gd name="connsiteY555" fmla="*/ 3911 h 10000"/>
                <a:gd name="connsiteX556" fmla="*/ 9048 w 10000"/>
                <a:gd name="connsiteY556" fmla="*/ 4010 h 10000"/>
                <a:gd name="connsiteX557" fmla="*/ 8911 w 10000"/>
                <a:gd name="connsiteY557" fmla="*/ 4026 h 10000"/>
                <a:gd name="connsiteX558" fmla="*/ 8899 w 10000"/>
                <a:gd name="connsiteY558" fmla="*/ 4059 h 10000"/>
                <a:gd name="connsiteX559" fmla="*/ 8911 w 10000"/>
                <a:gd name="connsiteY559" fmla="*/ 4191 h 10000"/>
                <a:gd name="connsiteX560" fmla="*/ 8796 w 10000"/>
                <a:gd name="connsiteY560" fmla="*/ 4224 h 10000"/>
                <a:gd name="connsiteX561" fmla="*/ 8750 w 10000"/>
                <a:gd name="connsiteY561" fmla="*/ 4175 h 10000"/>
                <a:gd name="connsiteX562" fmla="*/ 8693 w 10000"/>
                <a:gd name="connsiteY562" fmla="*/ 4142 h 10000"/>
                <a:gd name="connsiteX563" fmla="*/ 8417 w 10000"/>
                <a:gd name="connsiteY563" fmla="*/ 4455 h 10000"/>
                <a:gd name="connsiteX564" fmla="*/ 8360 w 10000"/>
                <a:gd name="connsiteY564" fmla="*/ 4488 h 10000"/>
                <a:gd name="connsiteX565" fmla="*/ 8280 w 10000"/>
                <a:gd name="connsiteY565" fmla="*/ 4653 h 10000"/>
                <a:gd name="connsiteX566" fmla="*/ 8131 w 10000"/>
                <a:gd name="connsiteY566" fmla="*/ 4719 h 10000"/>
                <a:gd name="connsiteX567" fmla="*/ 8119 w 10000"/>
                <a:gd name="connsiteY567" fmla="*/ 4703 h 10000"/>
                <a:gd name="connsiteX568" fmla="*/ 8062 w 10000"/>
                <a:gd name="connsiteY568" fmla="*/ 4752 h 10000"/>
                <a:gd name="connsiteX569" fmla="*/ 7959 w 10000"/>
                <a:gd name="connsiteY569" fmla="*/ 4818 h 10000"/>
                <a:gd name="connsiteX570" fmla="*/ 7936 w 10000"/>
                <a:gd name="connsiteY570" fmla="*/ 4868 h 10000"/>
                <a:gd name="connsiteX571" fmla="*/ 7913 w 10000"/>
                <a:gd name="connsiteY571" fmla="*/ 4917 h 10000"/>
                <a:gd name="connsiteX572" fmla="*/ 7878 w 10000"/>
                <a:gd name="connsiteY572" fmla="*/ 4934 h 10000"/>
                <a:gd name="connsiteX573" fmla="*/ 7844 w 10000"/>
                <a:gd name="connsiteY573" fmla="*/ 4934 h 10000"/>
                <a:gd name="connsiteX574" fmla="*/ 7833 w 10000"/>
                <a:gd name="connsiteY574" fmla="*/ 4967 h 10000"/>
                <a:gd name="connsiteX575" fmla="*/ 7775 w 10000"/>
                <a:gd name="connsiteY575" fmla="*/ 5017 h 10000"/>
                <a:gd name="connsiteX576" fmla="*/ 7764 w 10000"/>
                <a:gd name="connsiteY576" fmla="*/ 4983 h 10000"/>
                <a:gd name="connsiteX577" fmla="*/ 7775 w 10000"/>
                <a:gd name="connsiteY577" fmla="*/ 4934 h 10000"/>
                <a:gd name="connsiteX578" fmla="*/ 7833 w 10000"/>
                <a:gd name="connsiteY578" fmla="*/ 4917 h 10000"/>
                <a:gd name="connsiteX579" fmla="*/ 7844 w 10000"/>
                <a:gd name="connsiteY579" fmla="*/ 4818 h 10000"/>
                <a:gd name="connsiteX580" fmla="*/ 7798 w 10000"/>
                <a:gd name="connsiteY580" fmla="*/ 4802 h 10000"/>
                <a:gd name="connsiteX581" fmla="*/ 7775 w 10000"/>
                <a:gd name="connsiteY581" fmla="*/ 4769 h 10000"/>
                <a:gd name="connsiteX582" fmla="*/ 7810 w 10000"/>
                <a:gd name="connsiteY582" fmla="*/ 4752 h 10000"/>
                <a:gd name="connsiteX583" fmla="*/ 7810 w 10000"/>
                <a:gd name="connsiteY583" fmla="*/ 4703 h 10000"/>
                <a:gd name="connsiteX584" fmla="*/ 7844 w 10000"/>
                <a:gd name="connsiteY584" fmla="*/ 4670 h 10000"/>
                <a:gd name="connsiteX585" fmla="*/ 7936 w 10000"/>
                <a:gd name="connsiteY585" fmla="*/ 4488 h 10000"/>
                <a:gd name="connsiteX586" fmla="*/ 7936 w 10000"/>
                <a:gd name="connsiteY586" fmla="*/ 4455 h 10000"/>
                <a:gd name="connsiteX587" fmla="*/ 7901 w 10000"/>
                <a:gd name="connsiteY587" fmla="*/ 4389 h 10000"/>
                <a:gd name="connsiteX588" fmla="*/ 7878 w 10000"/>
                <a:gd name="connsiteY588" fmla="*/ 4340 h 10000"/>
                <a:gd name="connsiteX589" fmla="*/ 7867 w 10000"/>
                <a:gd name="connsiteY589" fmla="*/ 4323 h 10000"/>
                <a:gd name="connsiteX590" fmla="*/ 7844 w 10000"/>
                <a:gd name="connsiteY590" fmla="*/ 4340 h 10000"/>
                <a:gd name="connsiteX591" fmla="*/ 7775 w 10000"/>
                <a:gd name="connsiteY591" fmla="*/ 4340 h 10000"/>
                <a:gd name="connsiteX592" fmla="*/ 7764 w 10000"/>
                <a:gd name="connsiteY592" fmla="*/ 4373 h 10000"/>
                <a:gd name="connsiteX593" fmla="*/ 7649 w 10000"/>
                <a:gd name="connsiteY593" fmla="*/ 4587 h 10000"/>
                <a:gd name="connsiteX594" fmla="*/ 7477 w 10000"/>
                <a:gd name="connsiteY594" fmla="*/ 4703 h 10000"/>
                <a:gd name="connsiteX595" fmla="*/ 7466 w 10000"/>
                <a:gd name="connsiteY595" fmla="*/ 4818 h 10000"/>
                <a:gd name="connsiteX596" fmla="*/ 7431 w 10000"/>
                <a:gd name="connsiteY596" fmla="*/ 4851 h 10000"/>
                <a:gd name="connsiteX597" fmla="*/ 7397 w 10000"/>
                <a:gd name="connsiteY597" fmla="*/ 4884 h 10000"/>
                <a:gd name="connsiteX598" fmla="*/ 7294 w 10000"/>
                <a:gd name="connsiteY598" fmla="*/ 4917 h 10000"/>
                <a:gd name="connsiteX599" fmla="*/ 7282 w 10000"/>
                <a:gd name="connsiteY599" fmla="*/ 4884 h 10000"/>
                <a:gd name="connsiteX600" fmla="*/ 7248 w 10000"/>
                <a:gd name="connsiteY600" fmla="*/ 4884 h 10000"/>
                <a:gd name="connsiteX601" fmla="*/ 7213 w 10000"/>
                <a:gd name="connsiteY601" fmla="*/ 4917 h 10000"/>
                <a:gd name="connsiteX602" fmla="*/ 7179 w 10000"/>
                <a:gd name="connsiteY602" fmla="*/ 5083 h 10000"/>
                <a:gd name="connsiteX603" fmla="*/ 7248 w 10000"/>
                <a:gd name="connsiteY603" fmla="*/ 5198 h 10000"/>
                <a:gd name="connsiteX604" fmla="*/ 7282 w 10000"/>
                <a:gd name="connsiteY604" fmla="*/ 5231 h 10000"/>
                <a:gd name="connsiteX605" fmla="*/ 7294 w 10000"/>
                <a:gd name="connsiteY605" fmla="*/ 5231 h 10000"/>
                <a:gd name="connsiteX606" fmla="*/ 7317 w 10000"/>
                <a:gd name="connsiteY606" fmla="*/ 5248 h 10000"/>
                <a:gd name="connsiteX607" fmla="*/ 7328 w 10000"/>
                <a:gd name="connsiteY607" fmla="*/ 5248 h 10000"/>
                <a:gd name="connsiteX608" fmla="*/ 7351 w 10000"/>
                <a:gd name="connsiteY608" fmla="*/ 5297 h 10000"/>
                <a:gd name="connsiteX609" fmla="*/ 7385 w 10000"/>
                <a:gd name="connsiteY609" fmla="*/ 5330 h 10000"/>
                <a:gd name="connsiteX610" fmla="*/ 7385 w 10000"/>
                <a:gd name="connsiteY610" fmla="*/ 5413 h 10000"/>
                <a:gd name="connsiteX611" fmla="*/ 7420 w 10000"/>
                <a:gd name="connsiteY611" fmla="*/ 5462 h 10000"/>
                <a:gd name="connsiteX612" fmla="*/ 7500 w 10000"/>
                <a:gd name="connsiteY612" fmla="*/ 5512 h 10000"/>
                <a:gd name="connsiteX613" fmla="*/ 7534 w 10000"/>
                <a:gd name="connsiteY613" fmla="*/ 5495 h 10000"/>
                <a:gd name="connsiteX614" fmla="*/ 7569 w 10000"/>
                <a:gd name="connsiteY614" fmla="*/ 5413 h 10000"/>
                <a:gd name="connsiteX615" fmla="*/ 7603 w 10000"/>
                <a:gd name="connsiteY615" fmla="*/ 5396 h 10000"/>
                <a:gd name="connsiteX616" fmla="*/ 7626 w 10000"/>
                <a:gd name="connsiteY616" fmla="*/ 5347 h 10000"/>
                <a:gd name="connsiteX617" fmla="*/ 7695 w 10000"/>
                <a:gd name="connsiteY617" fmla="*/ 5297 h 10000"/>
                <a:gd name="connsiteX618" fmla="*/ 7718 w 10000"/>
                <a:gd name="connsiteY618" fmla="*/ 5297 h 10000"/>
                <a:gd name="connsiteX619" fmla="*/ 7775 w 10000"/>
                <a:gd name="connsiteY619" fmla="*/ 5380 h 10000"/>
                <a:gd name="connsiteX620" fmla="*/ 7798 w 10000"/>
                <a:gd name="connsiteY620" fmla="*/ 5380 h 10000"/>
                <a:gd name="connsiteX621" fmla="*/ 7833 w 10000"/>
                <a:gd name="connsiteY621" fmla="*/ 5413 h 10000"/>
                <a:gd name="connsiteX622" fmla="*/ 7878 w 10000"/>
                <a:gd name="connsiteY622" fmla="*/ 5396 h 10000"/>
                <a:gd name="connsiteX623" fmla="*/ 7913 w 10000"/>
                <a:gd name="connsiteY623" fmla="*/ 5380 h 10000"/>
                <a:gd name="connsiteX624" fmla="*/ 7947 w 10000"/>
                <a:gd name="connsiteY624" fmla="*/ 5413 h 10000"/>
                <a:gd name="connsiteX625" fmla="*/ 7982 w 10000"/>
                <a:gd name="connsiteY625" fmla="*/ 5413 h 10000"/>
                <a:gd name="connsiteX626" fmla="*/ 7993 w 10000"/>
                <a:gd name="connsiteY626" fmla="*/ 5413 h 10000"/>
                <a:gd name="connsiteX627" fmla="*/ 7993 w 10000"/>
                <a:gd name="connsiteY627" fmla="*/ 5495 h 10000"/>
                <a:gd name="connsiteX628" fmla="*/ 7982 w 10000"/>
                <a:gd name="connsiteY628" fmla="*/ 5512 h 10000"/>
                <a:gd name="connsiteX629" fmla="*/ 7982 w 10000"/>
                <a:gd name="connsiteY629" fmla="*/ 5545 h 10000"/>
                <a:gd name="connsiteX630" fmla="*/ 7947 w 10000"/>
                <a:gd name="connsiteY630" fmla="*/ 5594 h 10000"/>
                <a:gd name="connsiteX631" fmla="*/ 7936 w 10000"/>
                <a:gd name="connsiteY631" fmla="*/ 5594 h 10000"/>
                <a:gd name="connsiteX632" fmla="*/ 7936 w 10000"/>
                <a:gd name="connsiteY632" fmla="*/ 5545 h 10000"/>
                <a:gd name="connsiteX633" fmla="*/ 7913 w 10000"/>
                <a:gd name="connsiteY633" fmla="*/ 5545 h 10000"/>
                <a:gd name="connsiteX634" fmla="*/ 7878 w 10000"/>
                <a:gd name="connsiteY634" fmla="*/ 5545 h 10000"/>
                <a:gd name="connsiteX635" fmla="*/ 7867 w 10000"/>
                <a:gd name="connsiteY635" fmla="*/ 5561 h 10000"/>
                <a:gd name="connsiteX636" fmla="*/ 7844 w 10000"/>
                <a:gd name="connsiteY636" fmla="*/ 5611 h 10000"/>
                <a:gd name="connsiteX637" fmla="*/ 7775 w 10000"/>
                <a:gd name="connsiteY637" fmla="*/ 5611 h 10000"/>
                <a:gd name="connsiteX638" fmla="*/ 7752 w 10000"/>
                <a:gd name="connsiteY638" fmla="*/ 5644 h 10000"/>
                <a:gd name="connsiteX639" fmla="*/ 7718 w 10000"/>
                <a:gd name="connsiteY639" fmla="*/ 5644 h 10000"/>
                <a:gd name="connsiteX640" fmla="*/ 7718 w 10000"/>
                <a:gd name="connsiteY640" fmla="*/ 5710 h 10000"/>
                <a:gd name="connsiteX641" fmla="*/ 7695 w 10000"/>
                <a:gd name="connsiteY641" fmla="*/ 5726 h 10000"/>
                <a:gd name="connsiteX642" fmla="*/ 7683 w 10000"/>
                <a:gd name="connsiteY642" fmla="*/ 5809 h 10000"/>
                <a:gd name="connsiteX643" fmla="*/ 7649 w 10000"/>
                <a:gd name="connsiteY643" fmla="*/ 5809 h 10000"/>
                <a:gd name="connsiteX644" fmla="*/ 7626 w 10000"/>
                <a:gd name="connsiteY644" fmla="*/ 5759 h 10000"/>
                <a:gd name="connsiteX645" fmla="*/ 7603 w 10000"/>
                <a:gd name="connsiteY645" fmla="*/ 5759 h 10000"/>
                <a:gd name="connsiteX646" fmla="*/ 7580 w 10000"/>
                <a:gd name="connsiteY646" fmla="*/ 5809 h 10000"/>
                <a:gd name="connsiteX647" fmla="*/ 7615 w 10000"/>
                <a:gd name="connsiteY647" fmla="*/ 5825 h 10000"/>
                <a:gd name="connsiteX648" fmla="*/ 7569 w 10000"/>
                <a:gd name="connsiteY648" fmla="*/ 5908 h 10000"/>
                <a:gd name="connsiteX649" fmla="*/ 7511 w 10000"/>
                <a:gd name="connsiteY649" fmla="*/ 5941 h 10000"/>
                <a:gd name="connsiteX650" fmla="*/ 7443 w 10000"/>
                <a:gd name="connsiteY650" fmla="*/ 6139 h 10000"/>
                <a:gd name="connsiteX651" fmla="*/ 7443 w 10000"/>
                <a:gd name="connsiteY651" fmla="*/ 6188 h 10000"/>
                <a:gd name="connsiteX652" fmla="*/ 7615 w 10000"/>
                <a:gd name="connsiteY652" fmla="*/ 6304 h 10000"/>
                <a:gd name="connsiteX653" fmla="*/ 7626 w 10000"/>
                <a:gd name="connsiteY653" fmla="*/ 6337 h 10000"/>
                <a:gd name="connsiteX654" fmla="*/ 7649 w 10000"/>
                <a:gd name="connsiteY654" fmla="*/ 6403 h 10000"/>
                <a:gd name="connsiteX655" fmla="*/ 7661 w 10000"/>
                <a:gd name="connsiteY655" fmla="*/ 6452 h 10000"/>
                <a:gd name="connsiteX656" fmla="*/ 7718 w 10000"/>
                <a:gd name="connsiteY656" fmla="*/ 6766 h 10000"/>
                <a:gd name="connsiteX657" fmla="*/ 7752 w 10000"/>
                <a:gd name="connsiteY657" fmla="*/ 6815 h 10000"/>
                <a:gd name="connsiteX658" fmla="*/ 7775 w 10000"/>
                <a:gd name="connsiteY658" fmla="*/ 6832 h 10000"/>
                <a:gd name="connsiteX659" fmla="*/ 7798 w 10000"/>
                <a:gd name="connsiteY659" fmla="*/ 6881 h 10000"/>
                <a:gd name="connsiteX660" fmla="*/ 7878 w 10000"/>
                <a:gd name="connsiteY660" fmla="*/ 7030 h 10000"/>
                <a:gd name="connsiteX661" fmla="*/ 7878 w 10000"/>
                <a:gd name="connsiteY661" fmla="*/ 7046 h 10000"/>
                <a:gd name="connsiteX662" fmla="*/ 7775 w 10000"/>
                <a:gd name="connsiteY662" fmla="*/ 6980 h 10000"/>
                <a:gd name="connsiteX663" fmla="*/ 7752 w 10000"/>
                <a:gd name="connsiteY663" fmla="*/ 6980 h 10000"/>
                <a:gd name="connsiteX664" fmla="*/ 7661 w 10000"/>
                <a:gd name="connsiteY664" fmla="*/ 6931 h 10000"/>
                <a:gd name="connsiteX665" fmla="*/ 7603 w 10000"/>
                <a:gd name="connsiteY665" fmla="*/ 6947 h 10000"/>
                <a:gd name="connsiteX666" fmla="*/ 7603 w 10000"/>
                <a:gd name="connsiteY666" fmla="*/ 6980 h 10000"/>
                <a:gd name="connsiteX667" fmla="*/ 7661 w 10000"/>
                <a:gd name="connsiteY667" fmla="*/ 6947 h 10000"/>
                <a:gd name="connsiteX668" fmla="*/ 7683 w 10000"/>
                <a:gd name="connsiteY668" fmla="*/ 6980 h 10000"/>
                <a:gd name="connsiteX669" fmla="*/ 7695 w 10000"/>
                <a:gd name="connsiteY669" fmla="*/ 6997 h 10000"/>
                <a:gd name="connsiteX670" fmla="*/ 7729 w 10000"/>
                <a:gd name="connsiteY670" fmla="*/ 6997 h 10000"/>
                <a:gd name="connsiteX671" fmla="*/ 7764 w 10000"/>
                <a:gd name="connsiteY671" fmla="*/ 7046 h 10000"/>
                <a:gd name="connsiteX672" fmla="*/ 7798 w 10000"/>
                <a:gd name="connsiteY672" fmla="*/ 7096 h 10000"/>
                <a:gd name="connsiteX673" fmla="*/ 7833 w 10000"/>
                <a:gd name="connsiteY673" fmla="*/ 7145 h 10000"/>
                <a:gd name="connsiteX674" fmla="*/ 7878 w 10000"/>
                <a:gd name="connsiteY674" fmla="*/ 7244 h 10000"/>
                <a:gd name="connsiteX675" fmla="*/ 7878 w 10000"/>
                <a:gd name="connsiteY675" fmla="*/ 7261 h 10000"/>
                <a:gd name="connsiteX676" fmla="*/ 7833 w 10000"/>
                <a:gd name="connsiteY676" fmla="*/ 7261 h 10000"/>
                <a:gd name="connsiteX677" fmla="*/ 7798 w 10000"/>
                <a:gd name="connsiteY677" fmla="*/ 7310 h 10000"/>
                <a:gd name="connsiteX678" fmla="*/ 7752 w 10000"/>
                <a:gd name="connsiteY678" fmla="*/ 7343 h 10000"/>
                <a:gd name="connsiteX679" fmla="*/ 7729 w 10000"/>
                <a:gd name="connsiteY679" fmla="*/ 7360 h 10000"/>
                <a:gd name="connsiteX680" fmla="*/ 7695 w 10000"/>
                <a:gd name="connsiteY680" fmla="*/ 7393 h 10000"/>
                <a:gd name="connsiteX681" fmla="*/ 7626 w 10000"/>
                <a:gd name="connsiteY681" fmla="*/ 7409 h 10000"/>
                <a:gd name="connsiteX682" fmla="*/ 7603 w 10000"/>
                <a:gd name="connsiteY682" fmla="*/ 7442 h 10000"/>
                <a:gd name="connsiteX683" fmla="*/ 7626 w 10000"/>
                <a:gd name="connsiteY683" fmla="*/ 7409 h 10000"/>
                <a:gd name="connsiteX684" fmla="*/ 7695 w 10000"/>
                <a:gd name="connsiteY684" fmla="*/ 7459 h 10000"/>
                <a:gd name="connsiteX685" fmla="*/ 7764 w 10000"/>
                <a:gd name="connsiteY685" fmla="*/ 7409 h 10000"/>
                <a:gd name="connsiteX686" fmla="*/ 7775 w 10000"/>
                <a:gd name="connsiteY686" fmla="*/ 7442 h 10000"/>
                <a:gd name="connsiteX687" fmla="*/ 7810 w 10000"/>
                <a:gd name="connsiteY687" fmla="*/ 7459 h 10000"/>
                <a:gd name="connsiteX688" fmla="*/ 7810 w 10000"/>
                <a:gd name="connsiteY688" fmla="*/ 7475 h 10000"/>
                <a:gd name="connsiteX689" fmla="*/ 7867 w 10000"/>
                <a:gd name="connsiteY689" fmla="*/ 7508 h 10000"/>
                <a:gd name="connsiteX690" fmla="*/ 7878 w 10000"/>
                <a:gd name="connsiteY690" fmla="*/ 7508 h 10000"/>
                <a:gd name="connsiteX691" fmla="*/ 7901 w 10000"/>
                <a:gd name="connsiteY691" fmla="*/ 7525 h 10000"/>
                <a:gd name="connsiteX692" fmla="*/ 7810 w 10000"/>
                <a:gd name="connsiteY692" fmla="*/ 7624 h 10000"/>
                <a:gd name="connsiteX693" fmla="*/ 7867 w 10000"/>
                <a:gd name="connsiteY693" fmla="*/ 7607 h 10000"/>
                <a:gd name="connsiteX694" fmla="*/ 7867 w 10000"/>
                <a:gd name="connsiteY694" fmla="*/ 7690 h 10000"/>
                <a:gd name="connsiteX695" fmla="*/ 7867 w 10000"/>
                <a:gd name="connsiteY695" fmla="*/ 7673 h 10000"/>
                <a:gd name="connsiteX696" fmla="*/ 7844 w 10000"/>
                <a:gd name="connsiteY696" fmla="*/ 7690 h 10000"/>
                <a:gd name="connsiteX697" fmla="*/ 7810 w 10000"/>
                <a:gd name="connsiteY697" fmla="*/ 7723 h 10000"/>
                <a:gd name="connsiteX698" fmla="*/ 7810 w 10000"/>
                <a:gd name="connsiteY698" fmla="*/ 7772 h 10000"/>
                <a:gd name="connsiteX699" fmla="*/ 7810 w 10000"/>
                <a:gd name="connsiteY699" fmla="*/ 7822 h 10000"/>
                <a:gd name="connsiteX700" fmla="*/ 7798 w 10000"/>
                <a:gd name="connsiteY700" fmla="*/ 7838 h 10000"/>
                <a:gd name="connsiteX701" fmla="*/ 7798 w 10000"/>
                <a:gd name="connsiteY701" fmla="*/ 7921 h 10000"/>
                <a:gd name="connsiteX702" fmla="*/ 7775 w 10000"/>
                <a:gd name="connsiteY702" fmla="*/ 7987 h 10000"/>
                <a:gd name="connsiteX703" fmla="*/ 7775 w 10000"/>
                <a:gd name="connsiteY703" fmla="*/ 7954 h 10000"/>
                <a:gd name="connsiteX704" fmla="*/ 7764 w 10000"/>
                <a:gd name="connsiteY704" fmla="*/ 7937 h 10000"/>
                <a:gd name="connsiteX705" fmla="*/ 7752 w 10000"/>
                <a:gd name="connsiteY705" fmla="*/ 7954 h 10000"/>
                <a:gd name="connsiteX706" fmla="*/ 7649 w 10000"/>
                <a:gd name="connsiteY706" fmla="*/ 8152 h 10000"/>
                <a:gd name="connsiteX707" fmla="*/ 7649 w 10000"/>
                <a:gd name="connsiteY707" fmla="*/ 8185 h 10000"/>
                <a:gd name="connsiteX708" fmla="*/ 7626 w 10000"/>
                <a:gd name="connsiteY708" fmla="*/ 8251 h 10000"/>
                <a:gd name="connsiteX709" fmla="*/ 7580 w 10000"/>
                <a:gd name="connsiteY709" fmla="*/ 8317 h 10000"/>
                <a:gd name="connsiteX710" fmla="*/ 7569 w 10000"/>
                <a:gd name="connsiteY710" fmla="*/ 8366 h 10000"/>
                <a:gd name="connsiteX711" fmla="*/ 7546 w 10000"/>
                <a:gd name="connsiteY711" fmla="*/ 8416 h 10000"/>
                <a:gd name="connsiteX712" fmla="*/ 7546 w 10000"/>
                <a:gd name="connsiteY712" fmla="*/ 8399 h 10000"/>
                <a:gd name="connsiteX713" fmla="*/ 7546 w 10000"/>
                <a:gd name="connsiteY713" fmla="*/ 8350 h 10000"/>
                <a:gd name="connsiteX714" fmla="*/ 7511 w 10000"/>
                <a:gd name="connsiteY714" fmla="*/ 8350 h 10000"/>
                <a:gd name="connsiteX715" fmla="*/ 7500 w 10000"/>
                <a:gd name="connsiteY715" fmla="*/ 8366 h 10000"/>
                <a:gd name="connsiteX716" fmla="*/ 7511 w 10000"/>
                <a:gd name="connsiteY716" fmla="*/ 8449 h 10000"/>
                <a:gd name="connsiteX717" fmla="*/ 7511 w 10000"/>
                <a:gd name="connsiteY717" fmla="*/ 8465 h 10000"/>
                <a:gd name="connsiteX718" fmla="*/ 7500 w 10000"/>
                <a:gd name="connsiteY718" fmla="*/ 8531 h 10000"/>
                <a:gd name="connsiteX719" fmla="*/ 7500 w 10000"/>
                <a:gd name="connsiteY719" fmla="*/ 8564 h 10000"/>
                <a:gd name="connsiteX720" fmla="*/ 7500 w 10000"/>
                <a:gd name="connsiteY720" fmla="*/ 8614 h 10000"/>
                <a:gd name="connsiteX721" fmla="*/ 7477 w 10000"/>
                <a:gd name="connsiteY721" fmla="*/ 8614 h 10000"/>
                <a:gd name="connsiteX722" fmla="*/ 7477 w 10000"/>
                <a:gd name="connsiteY722" fmla="*/ 8630 h 10000"/>
                <a:gd name="connsiteX723" fmla="*/ 7477 w 10000"/>
                <a:gd name="connsiteY723" fmla="*/ 8663 h 10000"/>
                <a:gd name="connsiteX724" fmla="*/ 7477 w 10000"/>
                <a:gd name="connsiteY724" fmla="*/ 8680 h 10000"/>
                <a:gd name="connsiteX725" fmla="*/ 7477 w 10000"/>
                <a:gd name="connsiteY725" fmla="*/ 8713 h 10000"/>
                <a:gd name="connsiteX726" fmla="*/ 7466 w 10000"/>
                <a:gd name="connsiteY726" fmla="*/ 8680 h 10000"/>
                <a:gd name="connsiteX727" fmla="*/ 7443 w 10000"/>
                <a:gd name="connsiteY727" fmla="*/ 8680 h 10000"/>
                <a:gd name="connsiteX728" fmla="*/ 7431 w 10000"/>
                <a:gd name="connsiteY728" fmla="*/ 8713 h 10000"/>
                <a:gd name="connsiteX729" fmla="*/ 7431 w 10000"/>
                <a:gd name="connsiteY729" fmla="*/ 8729 h 10000"/>
                <a:gd name="connsiteX730" fmla="*/ 7431 w 10000"/>
                <a:gd name="connsiteY730" fmla="*/ 8746 h 10000"/>
                <a:gd name="connsiteX731" fmla="*/ 7420 w 10000"/>
                <a:gd name="connsiteY731" fmla="*/ 8746 h 10000"/>
                <a:gd name="connsiteX732" fmla="*/ 7397 w 10000"/>
                <a:gd name="connsiteY732" fmla="*/ 8746 h 10000"/>
                <a:gd name="connsiteX733" fmla="*/ 7385 w 10000"/>
                <a:gd name="connsiteY733" fmla="*/ 8828 h 10000"/>
                <a:gd name="connsiteX734" fmla="*/ 7351 w 10000"/>
                <a:gd name="connsiteY734" fmla="*/ 8845 h 10000"/>
                <a:gd name="connsiteX735" fmla="*/ 7351 w 10000"/>
                <a:gd name="connsiteY735" fmla="*/ 8878 h 10000"/>
                <a:gd name="connsiteX736" fmla="*/ 7328 w 10000"/>
                <a:gd name="connsiteY736" fmla="*/ 8894 h 10000"/>
                <a:gd name="connsiteX737" fmla="*/ 7282 w 10000"/>
                <a:gd name="connsiteY737" fmla="*/ 8927 h 10000"/>
                <a:gd name="connsiteX738" fmla="*/ 7259 w 10000"/>
                <a:gd name="connsiteY738" fmla="*/ 8927 h 10000"/>
                <a:gd name="connsiteX739" fmla="*/ 7236 w 10000"/>
                <a:gd name="connsiteY739" fmla="*/ 8944 h 10000"/>
                <a:gd name="connsiteX740" fmla="*/ 7248 w 10000"/>
                <a:gd name="connsiteY740" fmla="*/ 8977 h 10000"/>
                <a:gd name="connsiteX741" fmla="*/ 7236 w 10000"/>
                <a:gd name="connsiteY741" fmla="*/ 9010 h 10000"/>
                <a:gd name="connsiteX742" fmla="*/ 7202 w 10000"/>
                <a:gd name="connsiteY742" fmla="*/ 9059 h 10000"/>
                <a:gd name="connsiteX743" fmla="*/ 7179 w 10000"/>
                <a:gd name="connsiteY743" fmla="*/ 9059 h 10000"/>
                <a:gd name="connsiteX744" fmla="*/ 7179 w 10000"/>
                <a:gd name="connsiteY744" fmla="*/ 9109 h 10000"/>
                <a:gd name="connsiteX745" fmla="*/ 7167 w 10000"/>
                <a:gd name="connsiteY745" fmla="*/ 9092 h 10000"/>
                <a:gd name="connsiteX746" fmla="*/ 7144 w 10000"/>
                <a:gd name="connsiteY746" fmla="*/ 9109 h 10000"/>
                <a:gd name="connsiteX747" fmla="*/ 7144 w 10000"/>
                <a:gd name="connsiteY747" fmla="*/ 9142 h 10000"/>
                <a:gd name="connsiteX748" fmla="*/ 7133 w 10000"/>
                <a:gd name="connsiteY748" fmla="*/ 9142 h 10000"/>
                <a:gd name="connsiteX749" fmla="*/ 7099 w 10000"/>
                <a:gd name="connsiteY749" fmla="*/ 9158 h 10000"/>
                <a:gd name="connsiteX750" fmla="*/ 7087 w 10000"/>
                <a:gd name="connsiteY750" fmla="*/ 9158 h 10000"/>
                <a:gd name="connsiteX751" fmla="*/ 7064 w 10000"/>
                <a:gd name="connsiteY751" fmla="*/ 9158 h 10000"/>
                <a:gd name="connsiteX752" fmla="*/ 6995 w 10000"/>
                <a:gd name="connsiteY752" fmla="*/ 9307 h 10000"/>
                <a:gd name="connsiteX753" fmla="*/ 6904 w 10000"/>
                <a:gd name="connsiteY753" fmla="*/ 9373 h 10000"/>
                <a:gd name="connsiteX754" fmla="*/ 6846 w 10000"/>
                <a:gd name="connsiteY754" fmla="*/ 9356 h 10000"/>
                <a:gd name="connsiteX755" fmla="*/ 6846 w 10000"/>
                <a:gd name="connsiteY755" fmla="*/ 9373 h 10000"/>
                <a:gd name="connsiteX756" fmla="*/ 6835 w 10000"/>
                <a:gd name="connsiteY756" fmla="*/ 9406 h 10000"/>
                <a:gd name="connsiteX757" fmla="*/ 6812 w 10000"/>
                <a:gd name="connsiteY757" fmla="*/ 9406 h 10000"/>
                <a:gd name="connsiteX758" fmla="*/ 6800 w 10000"/>
                <a:gd name="connsiteY758" fmla="*/ 9373 h 10000"/>
                <a:gd name="connsiteX759" fmla="*/ 6778 w 10000"/>
                <a:gd name="connsiteY759" fmla="*/ 9356 h 10000"/>
                <a:gd name="connsiteX760" fmla="*/ 6743 w 10000"/>
                <a:gd name="connsiteY760" fmla="*/ 9373 h 10000"/>
                <a:gd name="connsiteX761" fmla="*/ 6732 w 10000"/>
                <a:gd name="connsiteY761" fmla="*/ 9422 h 10000"/>
                <a:gd name="connsiteX762" fmla="*/ 6720 w 10000"/>
                <a:gd name="connsiteY762" fmla="*/ 9422 h 10000"/>
                <a:gd name="connsiteX763" fmla="*/ 6697 w 10000"/>
                <a:gd name="connsiteY763" fmla="*/ 9406 h 10000"/>
                <a:gd name="connsiteX764" fmla="*/ 6697 w 10000"/>
                <a:gd name="connsiteY764" fmla="*/ 9373 h 10000"/>
                <a:gd name="connsiteX765" fmla="*/ 6686 w 10000"/>
                <a:gd name="connsiteY765" fmla="*/ 9373 h 10000"/>
                <a:gd name="connsiteX766" fmla="*/ 6686 w 10000"/>
                <a:gd name="connsiteY766" fmla="*/ 94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Lst>
              <a:rect l="l" t="t" r="r" b="b"/>
              <a:pathLst>
                <a:path w="10000" h="10000">
                  <a:moveTo>
                    <a:pt x="6686" y="9422"/>
                  </a:moveTo>
                  <a:cubicBezTo>
                    <a:pt x="6678" y="9433"/>
                    <a:pt x="6671" y="9444"/>
                    <a:pt x="6663" y="9455"/>
                  </a:cubicBezTo>
                  <a:lnTo>
                    <a:pt x="6663" y="9422"/>
                  </a:lnTo>
                  <a:lnTo>
                    <a:pt x="6651" y="9422"/>
                  </a:lnTo>
                  <a:lnTo>
                    <a:pt x="6628" y="9422"/>
                  </a:lnTo>
                  <a:lnTo>
                    <a:pt x="6617" y="9422"/>
                  </a:lnTo>
                  <a:lnTo>
                    <a:pt x="6617" y="9455"/>
                  </a:lnTo>
                  <a:cubicBezTo>
                    <a:pt x="6621" y="9461"/>
                    <a:pt x="6624" y="9466"/>
                    <a:pt x="6628" y="9472"/>
                  </a:cubicBezTo>
                  <a:lnTo>
                    <a:pt x="6583" y="9472"/>
                  </a:lnTo>
                  <a:lnTo>
                    <a:pt x="6583" y="9455"/>
                  </a:lnTo>
                  <a:lnTo>
                    <a:pt x="6583" y="9422"/>
                  </a:lnTo>
                  <a:cubicBezTo>
                    <a:pt x="6571" y="9417"/>
                    <a:pt x="6560" y="9411"/>
                    <a:pt x="6548" y="9406"/>
                  </a:cubicBezTo>
                  <a:cubicBezTo>
                    <a:pt x="6537" y="9395"/>
                    <a:pt x="6525" y="9384"/>
                    <a:pt x="6514" y="9373"/>
                  </a:cubicBezTo>
                  <a:lnTo>
                    <a:pt x="6514" y="9356"/>
                  </a:lnTo>
                  <a:lnTo>
                    <a:pt x="6514" y="9488"/>
                  </a:lnTo>
                  <a:lnTo>
                    <a:pt x="6502" y="9488"/>
                  </a:lnTo>
                  <a:lnTo>
                    <a:pt x="6479" y="9488"/>
                  </a:lnTo>
                  <a:cubicBezTo>
                    <a:pt x="6468" y="9466"/>
                    <a:pt x="6456" y="9444"/>
                    <a:pt x="6445" y="9422"/>
                  </a:cubicBezTo>
                  <a:cubicBezTo>
                    <a:pt x="6441" y="9417"/>
                    <a:pt x="6437" y="9411"/>
                    <a:pt x="6433" y="9406"/>
                  </a:cubicBezTo>
                  <a:cubicBezTo>
                    <a:pt x="6426" y="9444"/>
                    <a:pt x="6418" y="9483"/>
                    <a:pt x="6411" y="9521"/>
                  </a:cubicBezTo>
                  <a:lnTo>
                    <a:pt x="6411" y="9571"/>
                  </a:lnTo>
                  <a:lnTo>
                    <a:pt x="6411" y="9587"/>
                  </a:lnTo>
                  <a:cubicBezTo>
                    <a:pt x="6407" y="9582"/>
                    <a:pt x="6403" y="9576"/>
                    <a:pt x="6399" y="9571"/>
                  </a:cubicBezTo>
                  <a:lnTo>
                    <a:pt x="6353" y="9620"/>
                  </a:lnTo>
                  <a:lnTo>
                    <a:pt x="6319" y="9620"/>
                  </a:lnTo>
                  <a:cubicBezTo>
                    <a:pt x="6311" y="9626"/>
                    <a:pt x="6304" y="9631"/>
                    <a:pt x="6296" y="9637"/>
                  </a:cubicBezTo>
                  <a:lnTo>
                    <a:pt x="6261" y="9637"/>
                  </a:lnTo>
                  <a:lnTo>
                    <a:pt x="6261" y="9620"/>
                  </a:lnTo>
                  <a:lnTo>
                    <a:pt x="6227" y="9620"/>
                  </a:lnTo>
                  <a:cubicBezTo>
                    <a:pt x="6219" y="9637"/>
                    <a:pt x="6212" y="9653"/>
                    <a:pt x="6204" y="9670"/>
                  </a:cubicBezTo>
                  <a:cubicBezTo>
                    <a:pt x="6181" y="9675"/>
                    <a:pt x="6158" y="9681"/>
                    <a:pt x="6135" y="9686"/>
                  </a:cubicBezTo>
                  <a:lnTo>
                    <a:pt x="6101" y="9686"/>
                  </a:lnTo>
                  <a:cubicBezTo>
                    <a:pt x="6078" y="9703"/>
                    <a:pt x="6055" y="9719"/>
                    <a:pt x="6032" y="9736"/>
                  </a:cubicBezTo>
                  <a:cubicBezTo>
                    <a:pt x="6021" y="9730"/>
                    <a:pt x="6009" y="9725"/>
                    <a:pt x="5998" y="9719"/>
                  </a:cubicBezTo>
                  <a:cubicBezTo>
                    <a:pt x="5986" y="9758"/>
                    <a:pt x="5975" y="9796"/>
                    <a:pt x="5963" y="9835"/>
                  </a:cubicBezTo>
                  <a:cubicBezTo>
                    <a:pt x="5975" y="9868"/>
                    <a:pt x="5986" y="9901"/>
                    <a:pt x="5998" y="9934"/>
                  </a:cubicBezTo>
                  <a:lnTo>
                    <a:pt x="5998" y="9983"/>
                  </a:lnTo>
                  <a:cubicBezTo>
                    <a:pt x="5983" y="9989"/>
                    <a:pt x="5967" y="9994"/>
                    <a:pt x="5952" y="10000"/>
                  </a:cubicBezTo>
                  <a:cubicBezTo>
                    <a:pt x="5940" y="9994"/>
                    <a:pt x="5929" y="9989"/>
                    <a:pt x="5917" y="9983"/>
                  </a:cubicBezTo>
                  <a:cubicBezTo>
                    <a:pt x="5902" y="9923"/>
                    <a:pt x="5887" y="9862"/>
                    <a:pt x="5872" y="9802"/>
                  </a:cubicBezTo>
                  <a:cubicBezTo>
                    <a:pt x="5876" y="9774"/>
                    <a:pt x="5879" y="9747"/>
                    <a:pt x="5883" y="9719"/>
                  </a:cubicBezTo>
                  <a:lnTo>
                    <a:pt x="5883" y="9670"/>
                  </a:lnTo>
                  <a:lnTo>
                    <a:pt x="5837" y="9719"/>
                  </a:lnTo>
                  <a:lnTo>
                    <a:pt x="5803" y="9719"/>
                  </a:lnTo>
                  <a:cubicBezTo>
                    <a:pt x="5795" y="9708"/>
                    <a:pt x="5788" y="9697"/>
                    <a:pt x="5780" y="9686"/>
                  </a:cubicBezTo>
                  <a:lnTo>
                    <a:pt x="5780" y="9670"/>
                  </a:lnTo>
                  <a:lnTo>
                    <a:pt x="5700" y="9637"/>
                  </a:lnTo>
                  <a:lnTo>
                    <a:pt x="5688" y="9637"/>
                  </a:lnTo>
                  <a:lnTo>
                    <a:pt x="5688" y="9670"/>
                  </a:lnTo>
                  <a:cubicBezTo>
                    <a:pt x="5677" y="9675"/>
                    <a:pt x="5665" y="9681"/>
                    <a:pt x="5654" y="9686"/>
                  </a:cubicBezTo>
                  <a:lnTo>
                    <a:pt x="5654" y="9719"/>
                  </a:lnTo>
                  <a:cubicBezTo>
                    <a:pt x="5646" y="9703"/>
                    <a:pt x="5639" y="9686"/>
                    <a:pt x="5631" y="9670"/>
                  </a:cubicBezTo>
                  <a:cubicBezTo>
                    <a:pt x="5619" y="9675"/>
                    <a:pt x="5608" y="9681"/>
                    <a:pt x="5596" y="9686"/>
                  </a:cubicBezTo>
                  <a:lnTo>
                    <a:pt x="5585" y="9686"/>
                  </a:lnTo>
                  <a:cubicBezTo>
                    <a:pt x="5558" y="9681"/>
                    <a:pt x="5532" y="9675"/>
                    <a:pt x="5505" y="9670"/>
                  </a:cubicBezTo>
                  <a:cubicBezTo>
                    <a:pt x="5497" y="9659"/>
                    <a:pt x="5490" y="9648"/>
                    <a:pt x="5482" y="9637"/>
                  </a:cubicBezTo>
                  <a:cubicBezTo>
                    <a:pt x="5459" y="9620"/>
                    <a:pt x="5436" y="9604"/>
                    <a:pt x="5413" y="9587"/>
                  </a:cubicBezTo>
                  <a:cubicBezTo>
                    <a:pt x="5401" y="9571"/>
                    <a:pt x="5390" y="9554"/>
                    <a:pt x="5378" y="9538"/>
                  </a:cubicBezTo>
                  <a:cubicBezTo>
                    <a:pt x="5374" y="9516"/>
                    <a:pt x="5371" y="9494"/>
                    <a:pt x="5367" y="9472"/>
                  </a:cubicBezTo>
                  <a:cubicBezTo>
                    <a:pt x="5371" y="9450"/>
                    <a:pt x="5374" y="9428"/>
                    <a:pt x="5378" y="9406"/>
                  </a:cubicBezTo>
                  <a:lnTo>
                    <a:pt x="5378" y="9373"/>
                  </a:lnTo>
                  <a:cubicBezTo>
                    <a:pt x="5348" y="9367"/>
                    <a:pt x="5317" y="9362"/>
                    <a:pt x="5287" y="9356"/>
                  </a:cubicBezTo>
                  <a:lnTo>
                    <a:pt x="5149" y="9257"/>
                  </a:lnTo>
                  <a:lnTo>
                    <a:pt x="5138" y="9257"/>
                  </a:lnTo>
                  <a:lnTo>
                    <a:pt x="5069" y="9356"/>
                  </a:lnTo>
                  <a:cubicBezTo>
                    <a:pt x="5050" y="9362"/>
                    <a:pt x="5030" y="9367"/>
                    <a:pt x="5011" y="9373"/>
                  </a:cubicBezTo>
                  <a:lnTo>
                    <a:pt x="4989" y="9373"/>
                  </a:lnTo>
                  <a:cubicBezTo>
                    <a:pt x="4981" y="9384"/>
                    <a:pt x="4974" y="9395"/>
                    <a:pt x="4966" y="9406"/>
                  </a:cubicBezTo>
                  <a:cubicBezTo>
                    <a:pt x="4954" y="9411"/>
                    <a:pt x="4943" y="9417"/>
                    <a:pt x="4931" y="9422"/>
                  </a:cubicBezTo>
                  <a:cubicBezTo>
                    <a:pt x="4927" y="9417"/>
                    <a:pt x="4924" y="9411"/>
                    <a:pt x="4920" y="9406"/>
                  </a:cubicBezTo>
                  <a:cubicBezTo>
                    <a:pt x="4908" y="9411"/>
                    <a:pt x="4897" y="9417"/>
                    <a:pt x="4885" y="9422"/>
                  </a:cubicBezTo>
                  <a:cubicBezTo>
                    <a:pt x="4877" y="9417"/>
                    <a:pt x="4870" y="9411"/>
                    <a:pt x="4862" y="9406"/>
                  </a:cubicBezTo>
                  <a:lnTo>
                    <a:pt x="4851" y="9406"/>
                  </a:lnTo>
                  <a:lnTo>
                    <a:pt x="4805" y="9455"/>
                  </a:lnTo>
                  <a:cubicBezTo>
                    <a:pt x="4797" y="9444"/>
                    <a:pt x="4790" y="9433"/>
                    <a:pt x="4782" y="9422"/>
                  </a:cubicBezTo>
                  <a:cubicBezTo>
                    <a:pt x="4778" y="9417"/>
                    <a:pt x="4775" y="9411"/>
                    <a:pt x="4771" y="9406"/>
                  </a:cubicBezTo>
                  <a:lnTo>
                    <a:pt x="4713" y="9406"/>
                  </a:lnTo>
                  <a:lnTo>
                    <a:pt x="4713" y="9373"/>
                  </a:lnTo>
                  <a:cubicBezTo>
                    <a:pt x="4709" y="9384"/>
                    <a:pt x="4706" y="9395"/>
                    <a:pt x="4702" y="9406"/>
                  </a:cubicBezTo>
                  <a:cubicBezTo>
                    <a:pt x="4690" y="9422"/>
                    <a:pt x="4679" y="9439"/>
                    <a:pt x="4667" y="9455"/>
                  </a:cubicBezTo>
                  <a:lnTo>
                    <a:pt x="4667" y="9472"/>
                  </a:lnTo>
                  <a:cubicBezTo>
                    <a:pt x="4663" y="9466"/>
                    <a:pt x="4660" y="9461"/>
                    <a:pt x="4656" y="9455"/>
                  </a:cubicBezTo>
                  <a:lnTo>
                    <a:pt x="4587" y="9422"/>
                  </a:lnTo>
                  <a:cubicBezTo>
                    <a:pt x="4579" y="9439"/>
                    <a:pt x="4572" y="9455"/>
                    <a:pt x="4564" y="9472"/>
                  </a:cubicBezTo>
                  <a:lnTo>
                    <a:pt x="4564" y="9587"/>
                  </a:lnTo>
                  <a:cubicBezTo>
                    <a:pt x="4572" y="9615"/>
                    <a:pt x="4579" y="9642"/>
                    <a:pt x="4587" y="9670"/>
                  </a:cubicBezTo>
                  <a:lnTo>
                    <a:pt x="4587" y="9736"/>
                  </a:lnTo>
                  <a:lnTo>
                    <a:pt x="4564" y="9736"/>
                  </a:lnTo>
                  <a:cubicBezTo>
                    <a:pt x="4549" y="9741"/>
                    <a:pt x="4533" y="9747"/>
                    <a:pt x="4518" y="9752"/>
                  </a:cubicBezTo>
                  <a:cubicBezTo>
                    <a:pt x="4507" y="9708"/>
                    <a:pt x="4495" y="9664"/>
                    <a:pt x="4484" y="9620"/>
                  </a:cubicBezTo>
                  <a:lnTo>
                    <a:pt x="4450" y="9620"/>
                  </a:lnTo>
                  <a:cubicBezTo>
                    <a:pt x="4438" y="9637"/>
                    <a:pt x="4427" y="9653"/>
                    <a:pt x="4415" y="9670"/>
                  </a:cubicBezTo>
                  <a:lnTo>
                    <a:pt x="4346" y="9670"/>
                  </a:lnTo>
                  <a:cubicBezTo>
                    <a:pt x="4331" y="9642"/>
                    <a:pt x="4315" y="9615"/>
                    <a:pt x="4300" y="9587"/>
                  </a:cubicBezTo>
                  <a:cubicBezTo>
                    <a:pt x="4296" y="9571"/>
                    <a:pt x="4293" y="9554"/>
                    <a:pt x="4289" y="9538"/>
                  </a:cubicBezTo>
                  <a:cubicBezTo>
                    <a:pt x="4255" y="9532"/>
                    <a:pt x="4220" y="9527"/>
                    <a:pt x="4186" y="9521"/>
                  </a:cubicBezTo>
                  <a:cubicBezTo>
                    <a:pt x="4197" y="9455"/>
                    <a:pt x="4209" y="9389"/>
                    <a:pt x="4220" y="9323"/>
                  </a:cubicBezTo>
                  <a:cubicBezTo>
                    <a:pt x="4193" y="9290"/>
                    <a:pt x="4167" y="9257"/>
                    <a:pt x="4140" y="9224"/>
                  </a:cubicBezTo>
                  <a:lnTo>
                    <a:pt x="4140" y="9158"/>
                  </a:lnTo>
                  <a:cubicBezTo>
                    <a:pt x="4132" y="9136"/>
                    <a:pt x="4125" y="9114"/>
                    <a:pt x="4117" y="9092"/>
                  </a:cubicBezTo>
                  <a:lnTo>
                    <a:pt x="4117" y="9043"/>
                  </a:lnTo>
                  <a:lnTo>
                    <a:pt x="4002" y="9043"/>
                  </a:lnTo>
                  <a:lnTo>
                    <a:pt x="3933" y="9142"/>
                  </a:lnTo>
                  <a:cubicBezTo>
                    <a:pt x="3929" y="9131"/>
                    <a:pt x="3926" y="9120"/>
                    <a:pt x="3922" y="9109"/>
                  </a:cubicBezTo>
                  <a:cubicBezTo>
                    <a:pt x="3933" y="9087"/>
                    <a:pt x="3945" y="9065"/>
                    <a:pt x="3956" y="9043"/>
                  </a:cubicBezTo>
                  <a:lnTo>
                    <a:pt x="3956" y="8993"/>
                  </a:lnTo>
                  <a:cubicBezTo>
                    <a:pt x="3948" y="8977"/>
                    <a:pt x="3941" y="8960"/>
                    <a:pt x="3933" y="8944"/>
                  </a:cubicBezTo>
                  <a:cubicBezTo>
                    <a:pt x="3945" y="8894"/>
                    <a:pt x="3956" y="8845"/>
                    <a:pt x="3968" y="8795"/>
                  </a:cubicBezTo>
                  <a:cubicBezTo>
                    <a:pt x="3979" y="8779"/>
                    <a:pt x="3991" y="8762"/>
                    <a:pt x="4002" y="8746"/>
                  </a:cubicBezTo>
                  <a:lnTo>
                    <a:pt x="4014" y="8713"/>
                  </a:lnTo>
                  <a:lnTo>
                    <a:pt x="4037" y="8713"/>
                  </a:lnTo>
                  <a:cubicBezTo>
                    <a:pt x="4052" y="8652"/>
                    <a:pt x="4068" y="8592"/>
                    <a:pt x="4083" y="8531"/>
                  </a:cubicBezTo>
                  <a:cubicBezTo>
                    <a:pt x="4079" y="8405"/>
                    <a:pt x="4075" y="8278"/>
                    <a:pt x="4071" y="8152"/>
                  </a:cubicBezTo>
                  <a:cubicBezTo>
                    <a:pt x="4052" y="8146"/>
                    <a:pt x="4033" y="8141"/>
                    <a:pt x="4014" y="8135"/>
                  </a:cubicBezTo>
                  <a:lnTo>
                    <a:pt x="4002" y="8102"/>
                  </a:lnTo>
                  <a:lnTo>
                    <a:pt x="4002" y="8036"/>
                  </a:lnTo>
                  <a:cubicBezTo>
                    <a:pt x="3991" y="8009"/>
                    <a:pt x="3979" y="7981"/>
                    <a:pt x="3968" y="7954"/>
                  </a:cubicBezTo>
                  <a:cubicBezTo>
                    <a:pt x="3953" y="7948"/>
                    <a:pt x="3937" y="7943"/>
                    <a:pt x="3922" y="7937"/>
                  </a:cubicBezTo>
                  <a:cubicBezTo>
                    <a:pt x="3914" y="7943"/>
                    <a:pt x="3907" y="7948"/>
                    <a:pt x="3899" y="7954"/>
                  </a:cubicBezTo>
                  <a:cubicBezTo>
                    <a:pt x="3895" y="7965"/>
                    <a:pt x="3892" y="7976"/>
                    <a:pt x="3888" y="7987"/>
                  </a:cubicBezTo>
                  <a:cubicBezTo>
                    <a:pt x="3880" y="7970"/>
                    <a:pt x="3873" y="7954"/>
                    <a:pt x="3865" y="7937"/>
                  </a:cubicBezTo>
                  <a:cubicBezTo>
                    <a:pt x="3853" y="7932"/>
                    <a:pt x="3842" y="7926"/>
                    <a:pt x="3830" y="7921"/>
                  </a:cubicBezTo>
                  <a:lnTo>
                    <a:pt x="3784" y="7921"/>
                  </a:lnTo>
                  <a:cubicBezTo>
                    <a:pt x="3780" y="7910"/>
                    <a:pt x="3777" y="7899"/>
                    <a:pt x="3773" y="7888"/>
                  </a:cubicBezTo>
                  <a:lnTo>
                    <a:pt x="3704" y="7888"/>
                  </a:lnTo>
                  <a:cubicBezTo>
                    <a:pt x="3708" y="7849"/>
                    <a:pt x="3712" y="7811"/>
                    <a:pt x="3716" y="7772"/>
                  </a:cubicBezTo>
                  <a:cubicBezTo>
                    <a:pt x="3704" y="7761"/>
                    <a:pt x="3693" y="7750"/>
                    <a:pt x="3681" y="7739"/>
                  </a:cubicBezTo>
                  <a:lnTo>
                    <a:pt x="3681" y="7690"/>
                  </a:lnTo>
                  <a:lnTo>
                    <a:pt x="3681" y="7673"/>
                  </a:lnTo>
                  <a:cubicBezTo>
                    <a:pt x="3670" y="7657"/>
                    <a:pt x="3658" y="7640"/>
                    <a:pt x="3647" y="7624"/>
                  </a:cubicBezTo>
                  <a:cubicBezTo>
                    <a:pt x="3639" y="7635"/>
                    <a:pt x="3632" y="7646"/>
                    <a:pt x="3624" y="7657"/>
                  </a:cubicBezTo>
                  <a:cubicBezTo>
                    <a:pt x="3605" y="7662"/>
                    <a:pt x="3586" y="7668"/>
                    <a:pt x="3567" y="7673"/>
                  </a:cubicBezTo>
                  <a:cubicBezTo>
                    <a:pt x="3555" y="7679"/>
                    <a:pt x="3544" y="7684"/>
                    <a:pt x="3532" y="7690"/>
                  </a:cubicBezTo>
                  <a:lnTo>
                    <a:pt x="3452" y="7690"/>
                  </a:lnTo>
                  <a:cubicBezTo>
                    <a:pt x="3448" y="7684"/>
                    <a:pt x="3444" y="7679"/>
                    <a:pt x="3440" y="7673"/>
                  </a:cubicBezTo>
                  <a:lnTo>
                    <a:pt x="3417" y="7673"/>
                  </a:lnTo>
                  <a:lnTo>
                    <a:pt x="3349" y="7723"/>
                  </a:lnTo>
                  <a:cubicBezTo>
                    <a:pt x="3345" y="7739"/>
                    <a:pt x="3341" y="7756"/>
                    <a:pt x="3337" y="7772"/>
                  </a:cubicBezTo>
                  <a:lnTo>
                    <a:pt x="3280" y="7838"/>
                  </a:lnTo>
                  <a:cubicBezTo>
                    <a:pt x="3265" y="7849"/>
                    <a:pt x="3249" y="7860"/>
                    <a:pt x="3234" y="7871"/>
                  </a:cubicBezTo>
                  <a:cubicBezTo>
                    <a:pt x="3211" y="7899"/>
                    <a:pt x="3188" y="7926"/>
                    <a:pt x="3165" y="7954"/>
                  </a:cubicBezTo>
                  <a:lnTo>
                    <a:pt x="2947" y="8086"/>
                  </a:lnTo>
                  <a:cubicBezTo>
                    <a:pt x="2939" y="8069"/>
                    <a:pt x="2932" y="8053"/>
                    <a:pt x="2924" y="8036"/>
                  </a:cubicBezTo>
                  <a:lnTo>
                    <a:pt x="2901" y="8036"/>
                  </a:lnTo>
                  <a:lnTo>
                    <a:pt x="2901" y="8003"/>
                  </a:lnTo>
                  <a:lnTo>
                    <a:pt x="2856" y="8036"/>
                  </a:lnTo>
                  <a:lnTo>
                    <a:pt x="2752" y="8003"/>
                  </a:lnTo>
                  <a:cubicBezTo>
                    <a:pt x="2748" y="7998"/>
                    <a:pt x="2745" y="7992"/>
                    <a:pt x="2741" y="7987"/>
                  </a:cubicBezTo>
                  <a:cubicBezTo>
                    <a:pt x="2733" y="7976"/>
                    <a:pt x="2726" y="7965"/>
                    <a:pt x="2718" y="7954"/>
                  </a:cubicBezTo>
                  <a:cubicBezTo>
                    <a:pt x="2714" y="7948"/>
                    <a:pt x="2710" y="7943"/>
                    <a:pt x="2706" y="7937"/>
                  </a:cubicBezTo>
                  <a:cubicBezTo>
                    <a:pt x="2687" y="7943"/>
                    <a:pt x="2668" y="7948"/>
                    <a:pt x="2649" y="7954"/>
                  </a:cubicBezTo>
                  <a:lnTo>
                    <a:pt x="2615" y="7954"/>
                  </a:lnTo>
                  <a:cubicBezTo>
                    <a:pt x="2603" y="7970"/>
                    <a:pt x="2592" y="7987"/>
                    <a:pt x="2580" y="8003"/>
                  </a:cubicBezTo>
                  <a:cubicBezTo>
                    <a:pt x="2576" y="8031"/>
                    <a:pt x="2573" y="8058"/>
                    <a:pt x="2569" y="8086"/>
                  </a:cubicBezTo>
                  <a:lnTo>
                    <a:pt x="2500" y="8185"/>
                  </a:lnTo>
                  <a:lnTo>
                    <a:pt x="2500" y="8201"/>
                  </a:lnTo>
                  <a:lnTo>
                    <a:pt x="2489" y="8201"/>
                  </a:lnTo>
                  <a:cubicBezTo>
                    <a:pt x="2481" y="8196"/>
                    <a:pt x="2474" y="8190"/>
                    <a:pt x="2466" y="8185"/>
                  </a:cubicBezTo>
                  <a:lnTo>
                    <a:pt x="2466" y="8152"/>
                  </a:lnTo>
                  <a:lnTo>
                    <a:pt x="2466" y="8086"/>
                  </a:lnTo>
                  <a:lnTo>
                    <a:pt x="2466" y="8036"/>
                  </a:lnTo>
                  <a:lnTo>
                    <a:pt x="2466" y="8003"/>
                  </a:lnTo>
                  <a:lnTo>
                    <a:pt x="2454" y="8003"/>
                  </a:lnTo>
                  <a:lnTo>
                    <a:pt x="2431" y="8003"/>
                  </a:lnTo>
                  <a:cubicBezTo>
                    <a:pt x="2423" y="8014"/>
                    <a:pt x="2416" y="8025"/>
                    <a:pt x="2408" y="8036"/>
                  </a:cubicBezTo>
                  <a:lnTo>
                    <a:pt x="2385" y="8036"/>
                  </a:lnTo>
                  <a:cubicBezTo>
                    <a:pt x="2374" y="8042"/>
                    <a:pt x="2362" y="8047"/>
                    <a:pt x="2351" y="8053"/>
                  </a:cubicBezTo>
                  <a:lnTo>
                    <a:pt x="2351" y="8036"/>
                  </a:lnTo>
                  <a:cubicBezTo>
                    <a:pt x="2340" y="8042"/>
                    <a:pt x="2328" y="8047"/>
                    <a:pt x="2317" y="8053"/>
                  </a:cubicBezTo>
                  <a:lnTo>
                    <a:pt x="2305" y="8086"/>
                  </a:lnTo>
                  <a:lnTo>
                    <a:pt x="2248" y="8086"/>
                  </a:lnTo>
                  <a:lnTo>
                    <a:pt x="2236" y="8086"/>
                  </a:lnTo>
                  <a:lnTo>
                    <a:pt x="2225" y="8086"/>
                  </a:lnTo>
                  <a:lnTo>
                    <a:pt x="2167" y="8053"/>
                  </a:lnTo>
                  <a:cubicBezTo>
                    <a:pt x="2163" y="8036"/>
                    <a:pt x="2160" y="8020"/>
                    <a:pt x="2156" y="8003"/>
                  </a:cubicBezTo>
                  <a:lnTo>
                    <a:pt x="2122" y="8003"/>
                  </a:lnTo>
                  <a:cubicBezTo>
                    <a:pt x="2114" y="8014"/>
                    <a:pt x="2107" y="8025"/>
                    <a:pt x="2099" y="8036"/>
                  </a:cubicBezTo>
                  <a:lnTo>
                    <a:pt x="2099" y="8053"/>
                  </a:lnTo>
                  <a:lnTo>
                    <a:pt x="2087" y="8053"/>
                  </a:lnTo>
                  <a:cubicBezTo>
                    <a:pt x="2079" y="8047"/>
                    <a:pt x="2072" y="8042"/>
                    <a:pt x="2064" y="8036"/>
                  </a:cubicBezTo>
                  <a:cubicBezTo>
                    <a:pt x="2060" y="8042"/>
                    <a:pt x="2057" y="8047"/>
                    <a:pt x="2053" y="8053"/>
                  </a:cubicBezTo>
                  <a:cubicBezTo>
                    <a:pt x="2049" y="8047"/>
                    <a:pt x="2045" y="8042"/>
                    <a:pt x="2041" y="8036"/>
                  </a:cubicBezTo>
                  <a:cubicBezTo>
                    <a:pt x="2030" y="8042"/>
                    <a:pt x="2018" y="8047"/>
                    <a:pt x="2007" y="8053"/>
                  </a:cubicBezTo>
                  <a:cubicBezTo>
                    <a:pt x="1999" y="8036"/>
                    <a:pt x="1992" y="8020"/>
                    <a:pt x="1984" y="8003"/>
                  </a:cubicBezTo>
                  <a:cubicBezTo>
                    <a:pt x="1980" y="7987"/>
                    <a:pt x="1976" y="7970"/>
                    <a:pt x="1972" y="7954"/>
                  </a:cubicBezTo>
                  <a:lnTo>
                    <a:pt x="1938" y="7954"/>
                  </a:lnTo>
                  <a:cubicBezTo>
                    <a:pt x="1930" y="7965"/>
                    <a:pt x="1923" y="7976"/>
                    <a:pt x="1915" y="7987"/>
                  </a:cubicBezTo>
                  <a:cubicBezTo>
                    <a:pt x="1907" y="7970"/>
                    <a:pt x="1900" y="7954"/>
                    <a:pt x="1892" y="7937"/>
                  </a:cubicBezTo>
                  <a:cubicBezTo>
                    <a:pt x="1884" y="7932"/>
                    <a:pt x="1877" y="7926"/>
                    <a:pt x="1869" y="7921"/>
                  </a:cubicBezTo>
                  <a:cubicBezTo>
                    <a:pt x="1877" y="7893"/>
                    <a:pt x="1884" y="7866"/>
                    <a:pt x="1892" y="7838"/>
                  </a:cubicBezTo>
                  <a:lnTo>
                    <a:pt x="1869" y="7838"/>
                  </a:lnTo>
                  <a:cubicBezTo>
                    <a:pt x="1865" y="7849"/>
                    <a:pt x="1862" y="7860"/>
                    <a:pt x="1858" y="7871"/>
                  </a:cubicBezTo>
                  <a:lnTo>
                    <a:pt x="1823" y="7871"/>
                  </a:lnTo>
                  <a:cubicBezTo>
                    <a:pt x="1815" y="7860"/>
                    <a:pt x="1808" y="7849"/>
                    <a:pt x="1800" y="7838"/>
                  </a:cubicBezTo>
                  <a:lnTo>
                    <a:pt x="1789" y="7838"/>
                  </a:lnTo>
                  <a:lnTo>
                    <a:pt x="1766" y="7838"/>
                  </a:lnTo>
                  <a:lnTo>
                    <a:pt x="1755" y="7838"/>
                  </a:lnTo>
                  <a:cubicBezTo>
                    <a:pt x="1747" y="7833"/>
                    <a:pt x="1740" y="7827"/>
                    <a:pt x="1732" y="7822"/>
                  </a:cubicBezTo>
                  <a:lnTo>
                    <a:pt x="1732" y="7789"/>
                  </a:lnTo>
                  <a:lnTo>
                    <a:pt x="1720" y="7822"/>
                  </a:lnTo>
                  <a:lnTo>
                    <a:pt x="1720" y="7789"/>
                  </a:lnTo>
                  <a:lnTo>
                    <a:pt x="1720" y="7739"/>
                  </a:lnTo>
                  <a:lnTo>
                    <a:pt x="1720" y="7723"/>
                  </a:lnTo>
                  <a:lnTo>
                    <a:pt x="1732" y="7690"/>
                  </a:lnTo>
                  <a:cubicBezTo>
                    <a:pt x="1728" y="7684"/>
                    <a:pt x="1724" y="7679"/>
                    <a:pt x="1720" y="7673"/>
                  </a:cubicBezTo>
                  <a:lnTo>
                    <a:pt x="1709" y="7673"/>
                  </a:lnTo>
                  <a:lnTo>
                    <a:pt x="1686" y="7673"/>
                  </a:lnTo>
                  <a:cubicBezTo>
                    <a:pt x="1682" y="7679"/>
                    <a:pt x="1678" y="7684"/>
                    <a:pt x="1674" y="7690"/>
                  </a:cubicBezTo>
                  <a:cubicBezTo>
                    <a:pt x="1666" y="7701"/>
                    <a:pt x="1659" y="7712"/>
                    <a:pt x="1651" y="7723"/>
                  </a:cubicBezTo>
                  <a:cubicBezTo>
                    <a:pt x="1647" y="7728"/>
                    <a:pt x="1644" y="7734"/>
                    <a:pt x="1640" y="7739"/>
                  </a:cubicBezTo>
                  <a:cubicBezTo>
                    <a:pt x="1629" y="7734"/>
                    <a:pt x="1617" y="7728"/>
                    <a:pt x="1606" y="7723"/>
                  </a:cubicBezTo>
                  <a:cubicBezTo>
                    <a:pt x="1598" y="7701"/>
                    <a:pt x="1591" y="7679"/>
                    <a:pt x="1583" y="7657"/>
                  </a:cubicBezTo>
                  <a:cubicBezTo>
                    <a:pt x="1568" y="7624"/>
                    <a:pt x="1552" y="7591"/>
                    <a:pt x="1537" y="7558"/>
                  </a:cubicBezTo>
                  <a:lnTo>
                    <a:pt x="1502" y="7558"/>
                  </a:lnTo>
                  <a:cubicBezTo>
                    <a:pt x="1487" y="7530"/>
                    <a:pt x="1471" y="7503"/>
                    <a:pt x="1456" y="7475"/>
                  </a:cubicBezTo>
                  <a:lnTo>
                    <a:pt x="1319" y="7409"/>
                  </a:lnTo>
                  <a:lnTo>
                    <a:pt x="1250" y="7409"/>
                  </a:lnTo>
                  <a:lnTo>
                    <a:pt x="1250" y="7442"/>
                  </a:lnTo>
                  <a:lnTo>
                    <a:pt x="1250" y="7459"/>
                  </a:lnTo>
                  <a:lnTo>
                    <a:pt x="1250" y="7475"/>
                  </a:lnTo>
                  <a:cubicBezTo>
                    <a:pt x="1239" y="7470"/>
                    <a:pt x="1227" y="7464"/>
                    <a:pt x="1216" y="7459"/>
                  </a:cubicBezTo>
                  <a:lnTo>
                    <a:pt x="1216" y="7442"/>
                  </a:lnTo>
                  <a:lnTo>
                    <a:pt x="1204" y="7409"/>
                  </a:lnTo>
                  <a:cubicBezTo>
                    <a:pt x="1189" y="7404"/>
                    <a:pt x="1173" y="7398"/>
                    <a:pt x="1158" y="7393"/>
                  </a:cubicBezTo>
                  <a:lnTo>
                    <a:pt x="1135" y="7393"/>
                  </a:lnTo>
                  <a:lnTo>
                    <a:pt x="1135" y="7360"/>
                  </a:lnTo>
                  <a:lnTo>
                    <a:pt x="1124" y="7360"/>
                  </a:lnTo>
                  <a:cubicBezTo>
                    <a:pt x="1112" y="7343"/>
                    <a:pt x="1101" y="7327"/>
                    <a:pt x="1089" y="7310"/>
                  </a:cubicBezTo>
                  <a:cubicBezTo>
                    <a:pt x="1070" y="7305"/>
                    <a:pt x="1051" y="7299"/>
                    <a:pt x="1032" y="7294"/>
                  </a:cubicBezTo>
                  <a:lnTo>
                    <a:pt x="1032" y="7261"/>
                  </a:lnTo>
                  <a:lnTo>
                    <a:pt x="1032" y="7244"/>
                  </a:lnTo>
                  <a:lnTo>
                    <a:pt x="1021" y="7244"/>
                  </a:lnTo>
                  <a:lnTo>
                    <a:pt x="1009" y="7244"/>
                  </a:lnTo>
                  <a:lnTo>
                    <a:pt x="1009" y="7211"/>
                  </a:lnTo>
                  <a:cubicBezTo>
                    <a:pt x="998" y="7222"/>
                    <a:pt x="986" y="7233"/>
                    <a:pt x="975" y="7244"/>
                  </a:cubicBezTo>
                  <a:lnTo>
                    <a:pt x="975" y="7211"/>
                  </a:lnTo>
                  <a:cubicBezTo>
                    <a:pt x="967" y="7206"/>
                    <a:pt x="960" y="7200"/>
                    <a:pt x="952" y="7195"/>
                  </a:cubicBezTo>
                  <a:cubicBezTo>
                    <a:pt x="937" y="7200"/>
                    <a:pt x="921" y="7206"/>
                    <a:pt x="906" y="7211"/>
                  </a:cubicBezTo>
                  <a:lnTo>
                    <a:pt x="883" y="7211"/>
                  </a:lnTo>
                  <a:lnTo>
                    <a:pt x="872" y="7211"/>
                  </a:lnTo>
                  <a:lnTo>
                    <a:pt x="872" y="7178"/>
                  </a:lnTo>
                  <a:cubicBezTo>
                    <a:pt x="864" y="7167"/>
                    <a:pt x="857" y="7156"/>
                    <a:pt x="849" y="7145"/>
                  </a:cubicBezTo>
                  <a:cubicBezTo>
                    <a:pt x="845" y="7140"/>
                    <a:pt x="841" y="7134"/>
                    <a:pt x="837" y="7129"/>
                  </a:cubicBezTo>
                  <a:cubicBezTo>
                    <a:pt x="833" y="7118"/>
                    <a:pt x="830" y="7107"/>
                    <a:pt x="826" y="7096"/>
                  </a:cubicBezTo>
                  <a:lnTo>
                    <a:pt x="826" y="7079"/>
                  </a:lnTo>
                  <a:cubicBezTo>
                    <a:pt x="830" y="7068"/>
                    <a:pt x="833" y="7057"/>
                    <a:pt x="837" y="7046"/>
                  </a:cubicBezTo>
                  <a:cubicBezTo>
                    <a:pt x="833" y="7041"/>
                    <a:pt x="830" y="7035"/>
                    <a:pt x="826" y="7030"/>
                  </a:cubicBezTo>
                  <a:cubicBezTo>
                    <a:pt x="830" y="7013"/>
                    <a:pt x="833" y="6997"/>
                    <a:pt x="837" y="6980"/>
                  </a:cubicBezTo>
                  <a:lnTo>
                    <a:pt x="837" y="6947"/>
                  </a:lnTo>
                  <a:cubicBezTo>
                    <a:pt x="822" y="6925"/>
                    <a:pt x="806" y="6903"/>
                    <a:pt x="791" y="6881"/>
                  </a:cubicBezTo>
                  <a:lnTo>
                    <a:pt x="791" y="6832"/>
                  </a:lnTo>
                  <a:lnTo>
                    <a:pt x="791" y="6782"/>
                  </a:lnTo>
                  <a:lnTo>
                    <a:pt x="826" y="6782"/>
                  </a:lnTo>
                  <a:cubicBezTo>
                    <a:pt x="830" y="6777"/>
                    <a:pt x="833" y="6771"/>
                    <a:pt x="837" y="6766"/>
                  </a:cubicBezTo>
                  <a:lnTo>
                    <a:pt x="837" y="6782"/>
                  </a:lnTo>
                  <a:lnTo>
                    <a:pt x="837" y="6815"/>
                  </a:lnTo>
                  <a:cubicBezTo>
                    <a:pt x="841" y="6821"/>
                    <a:pt x="845" y="6826"/>
                    <a:pt x="849" y="6832"/>
                  </a:cubicBezTo>
                  <a:lnTo>
                    <a:pt x="872" y="6832"/>
                  </a:lnTo>
                  <a:lnTo>
                    <a:pt x="883" y="6832"/>
                  </a:lnTo>
                  <a:lnTo>
                    <a:pt x="906" y="6832"/>
                  </a:lnTo>
                  <a:lnTo>
                    <a:pt x="906" y="6815"/>
                  </a:lnTo>
                  <a:cubicBezTo>
                    <a:pt x="910" y="6804"/>
                    <a:pt x="913" y="6793"/>
                    <a:pt x="917" y="6782"/>
                  </a:cubicBezTo>
                  <a:lnTo>
                    <a:pt x="917" y="6766"/>
                  </a:lnTo>
                  <a:cubicBezTo>
                    <a:pt x="925" y="6771"/>
                    <a:pt x="932" y="6777"/>
                    <a:pt x="940" y="6782"/>
                  </a:cubicBezTo>
                  <a:cubicBezTo>
                    <a:pt x="952" y="6766"/>
                    <a:pt x="963" y="6749"/>
                    <a:pt x="975" y="6733"/>
                  </a:cubicBezTo>
                  <a:cubicBezTo>
                    <a:pt x="963" y="6711"/>
                    <a:pt x="952" y="6689"/>
                    <a:pt x="940" y="6667"/>
                  </a:cubicBezTo>
                  <a:lnTo>
                    <a:pt x="940" y="6650"/>
                  </a:lnTo>
                  <a:lnTo>
                    <a:pt x="940" y="6617"/>
                  </a:lnTo>
                  <a:cubicBezTo>
                    <a:pt x="932" y="6612"/>
                    <a:pt x="925" y="6606"/>
                    <a:pt x="917" y="6601"/>
                  </a:cubicBezTo>
                  <a:lnTo>
                    <a:pt x="906" y="6601"/>
                  </a:lnTo>
                  <a:lnTo>
                    <a:pt x="883" y="6601"/>
                  </a:lnTo>
                  <a:cubicBezTo>
                    <a:pt x="879" y="6584"/>
                    <a:pt x="876" y="6568"/>
                    <a:pt x="872" y="6551"/>
                  </a:cubicBezTo>
                  <a:lnTo>
                    <a:pt x="872" y="6502"/>
                  </a:lnTo>
                  <a:lnTo>
                    <a:pt x="883" y="6502"/>
                  </a:lnTo>
                  <a:cubicBezTo>
                    <a:pt x="879" y="6491"/>
                    <a:pt x="876" y="6480"/>
                    <a:pt x="872" y="6469"/>
                  </a:cubicBezTo>
                  <a:lnTo>
                    <a:pt x="872" y="6452"/>
                  </a:lnTo>
                  <a:lnTo>
                    <a:pt x="883" y="6452"/>
                  </a:lnTo>
                  <a:cubicBezTo>
                    <a:pt x="879" y="6441"/>
                    <a:pt x="876" y="6430"/>
                    <a:pt x="872" y="6419"/>
                  </a:cubicBezTo>
                  <a:lnTo>
                    <a:pt x="872" y="6386"/>
                  </a:lnTo>
                  <a:lnTo>
                    <a:pt x="883" y="6386"/>
                  </a:lnTo>
                  <a:lnTo>
                    <a:pt x="906" y="6386"/>
                  </a:lnTo>
                  <a:lnTo>
                    <a:pt x="940" y="6386"/>
                  </a:lnTo>
                  <a:lnTo>
                    <a:pt x="952" y="6386"/>
                  </a:lnTo>
                  <a:cubicBezTo>
                    <a:pt x="960" y="6359"/>
                    <a:pt x="967" y="6331"/>
                    <a:pt x="975" y="6304"/>
                  </a:cubicBezTo>
                  <a:lnTo>
                    <a:pt x="975" y="6254"/>
                  </a:lnTo>
                  <a:lnTo>
                    <a:pt x="1009" y="6254"/>
                  </a:lnTo>
                  <a:lnTo>
                    <a:pt x="1009" y="6238"/>
                  </a:lnTo>
                  <a:lnTo>
                    <a:pt x="1021" y="6205"/>
                  </a:lnTo>
                  <a:cubicBezTo>
                    <a:pt x="1032" y="6188"/>
                    <a:pt x="1044" y="6172"/>
                    <a:pt x="1055" y="6155"/>
                  </a:cubicBezTo>
                  <a:lnTo>
                    <a:pt x="1055" y="6139"/>
                  </a:lnTo>
                  <a:cubicBezTo>
                    <a:pt x="1059" y="6133"/>
                    <a:pt x="1063" y="6128"/>
                    <a:pt x="1067" y="6122"/>
                  </a:cubicBezTo>
                  <a:lnTo>
                    <a:pt x="1067" y="6040"/>
                  </a:lnTo>
                  <a:cubicBezTo>
                    <a:pt x="1074" y="6034"/>
                    <a:pt x="1082" y="6029"/>
                    <a:pt x="1089" y="6023"/>
                  </a:cubicBezTo>
                  <a:lnTo>
                    <a:pt x="1089" y="5990"/>
                  </a:lnTo>
                  <a:cubicBezTo>
                    <a:pt x="1093" y="5985"/>
                    <a:pt x="1097" y="5979"/>
                    <a:pt x="1101" y="5974"/>
                  </a:cubicBezTo>
                  <a:lnTo>
                    <a:pt x="1101" y="5941"/>
                  </a:lnTo>
                  <a:lnTo>
                    <a:pt x="1089" y="5941"/>
                  </a:lnTo>
                  <a:lnTo>
                    <a:pt x="1067" y="5941"/>
                  </a:lnTo>
                  <a:lnTo>
                    <a:pt x="1055" y="5974"/>
                  </a:lnTo>
                  <a:lnTo>
                    <a:pt x="1032" y="5974"/>
                  </a:lnTo>
                  <a:lnTo>
                    <a:pt x="1032" y="5924"/>
                  </a:lnTo>
                  <a:lnTo>
                    <a:pt x="1021" y="5924"/>
                  </a:lnTo>
                  <a:lnTo>
                    <a:pt x="1009" y="5924"/>
                  </a:lnTo>
                  <a:cubicBezTo>
                    <a:pt x="987" y="5927"/>
                    <a:pt x="965" y="5929"/>
                    <a:pt x="943" y="5932"/>
                  </a:cubicBezTo>
                  <a:cubicBezTo>
                    <a:pt x="957" y="5924"/>
                    <a:pt x="972" y="5916"/>
                    <a:pt x="986" y="5908"/>
                  </a:cubicBezTo>
                  <a:lnTo>
                    <a:pt x="986" y="5858"/>
                  </a:lnTo>
                  <a:lnTo>
                    <a:pt x="975" y="5858"/>
                  </a:lnTo>
                  <a:lnTo>
                    <a:pt x="952" y="5858"/>
                  </a:lnTo>
                  <a:lnTo>
                    <a:pt x="940" y="5825"/>
                  </a:lnTo>
                  <a:lnTo>
                    <a:pt x="940" y="5809"/>
                  </a:lnTo>
                  <a:lnTo>
                    <a:pt x="917" y="5809"/>
                  </a:lnTo>
                  <a:cubicBezTo>
                    <a:pt x="913" y="5814"/>
                    <a:pt x="910" y="5820"/>
                    <a:pt x="906" y="5825"/>
                  </a:cubicBezTo>
                  <a:lnTo>
                    <a:pt x="883" y="5825"/>
                  </a:lnTo>
                  <a:lnTo>
                    <a:pt x="872" y="5825"/>
                  </a:lnTo>
                  <a:cubicBezTo>
                    <a:pt x="860" y="5836"/>
                    <a:pt x="849" y="5847"/>
                    <a:pt x="837" y="5858"/>
                  </a:cubicBezTo>
                  <a:cubicBezTo>
                    <a:pt x="810" y="5880"/>
                    <a:pt x="784" y="5902"/>
                    <a:pt x="757" y="5924"/>
                  </a:cubicBezTo>
                  <a:cubicBezTo>
                    <a:pt x="749" y="5930"/>
                    <a:pt x="742" y="5935"/>
                    <a:pt x="734" y="5941"/>
                  </a:cubicBezTo>
                  <a:lnTo>
                    <a:pt x="722" y="5941"/>
                  </a:lnTo>
                  <a:cubicBezTo>
                    <a:pt x="715" y="5952"/>
                    <a:pt x="707" y="5963"/>
                    <a:pt x="700" y="5974"/>
                  </a:cubicBezTo>
                  <a:lnTo>
                    <a:pt x="688" y="5941"/>
                  </a:lnTo>
                  <a:cubicBezTo>
                    <a:pt x="684" y="5952"/>
                    <a:pt x="681" y="5963"/>
                    <a:pt x="677" y="5974"/>
                  </a:cubicBezTo>
                  <a:lnTo>
                    <a:pt x="619" y="5974"/>
                  </a:lnTo>
                  <a:cubicBezTo>
                    <a:pt x="615" y="5963"/>
                    <a:pt x="612" y="5952"/>
                    <a:pt x="608" y="5941"/>
                  </a:cubicBezTo>
                  <a:lnTo>
                    <a:pt x="585" y="5941"/>
                  </a:lnTo>
                  <a:lnTo>
                    <a:pt x="493" y="5875"/>
                  </a:lnTo>
                  <a:lnTo>
                    <a:pt x="493" y="5858"/>
                  </a:lnTo>
                  <a:cubicBezTo>
                    <a:pt x="485" y="5847"/>
                    <a:pt x="478" y="5836"/>
                    <a:pt x="470" y="5825"/>
                  </a:cubicBezTo>
                  <a:cubicBezTo>
                    <a:pt x="466" y="5836"/>
                    <a:pt x="463" y="5847"/>
                    <a:pt x="459" y="5858"/>
                  </a:cubicBezTo>
                  <a:lnTo>
                    <a:pt x="436" y="5858"/>
                  </a:lnTo>
                  <a:lnTo>
                    <a:pt x="424" y="5858"/>
                  </a:lnTo>
                  <a:cubicBezTo>
                    <a:pt x="416" y="5842"/>
                    <a:pt x="409" y="5825"/>
                    <a:pt x="401" y="5809"/>
                  </a:cubicBezTo>
                  <a:lnTo>
                    <a:pt x="367" y="5809"/>
                  </a:lnTo>
                  <a:lnTo>
                    <a:pt x="367" y="5776"/>
                  </a:lnTo>
                  <a:cubicBezTo>
                    <a:pt x="375" y="5770"/>
                    <a:pt x="382" y="5765"/>
                    <a:pt x="390" y="5759"/>
                  </a:cubicBezTo>
                  <a:lnTo>
                    <a:pt x="390" y="5726"/>
                  </a:lnTo>
                  <a:lnTo>
                    <a:pt x="390" y="5660"/>
                  </a:lnTo>
                  <a:cubicBezTo>
                    <a:pt x="382" y="5655"/>
                    <a:pt x="375" y="5649"/>
                    <a:pt x="367" y="5644"/>
                  </a:cubicBezTo>
                  <a:cubicBezTo>
                    <a:pt x="352" y="5627"/>
                    <a:pt x="336" y="5611"/>
                    <a:pt x="321" y="5594"/>
                  </a:cubicBezTo>
                  <a:cubicBezTo>
                    <a:pt x="310" y="5600"/>
                    <a:pt x="298" y="5605"/>
                    <a:pt x="287" y="5611"/>
                  </a:cubicBezTo>
                  <a:lnTo>
                    <a:pt x="287" y="5594"/>
                  </a:lnTo>
                  <a:lnTo>
                    <a:pt x="287" y="5545"/>
                  </a:lnTo>
                  <a:lnTo>
                    <a:pt x="275" y="5545"/>
                  </a:lnTo>
                  <a:cubicBezTo>
                    <a:pt x="267" y="5534"/>
                    <a:pt x="260" y="5523"/>
                    <a:pt x="252" y="5512"/>
                  </a:cubicBezTo>
                  <a:lnTo>
                    <a:pt x="241" y="5512"/>
                  </a:lnTo>
                  <a:lnTo>
                    <a:pt x="183" y="5545"/>
                  </a:lnTo>
                  <a:cubicBezTo>
                    <a:pt x="179" y="5534"/>
                    <a:pt x="176" y="5523"/>
                    <a:pt x="172" y="5512"/>
                  </a:cubicBezTo>
                  <a:cubicBezTo>
                    <a:pt x="168" y="5506"/>
                    <a:pt x="165" y="5501"/>
                    <a:pt x="161" y="5495"/>
                  </a:cubicBezTo>
                  <a:lnTo>
                    <a:pt x="138" y="5495"/>
                  </a:lnTo>
                  <a:lnTo>
                    <a:pt x="138" y="5462"/>
                  </a:lnTo>
                  <a:cubicBezTo>
                    <a:pt x="146" y="5457"/>
                    <a:pt x="153" y="5451"/>
                    <a:pt x="161" y="5446"/>
                  </a:cubicBezTo>
                  <a:cubicBezTo>
                    <a:pt x="165" y="5435"/>
                    <a:pt x="168" y="5424"/>
                    <a:pt x="172" y="5413"/>
                  </a:cubicBezTo>
                  <a:cubicBezTo>
                    <a:pt x="176" y="5424"/>
                    <a:pt x="179" y="5435"/>
                    <a:pt x="183" y="5446"/>
                  </a:cubicBezTo>
                  <a:lnTo>
                    <a:pt x="206" y="5446"/>
                  </a:lnTo>
                  <a:lnTo>
                    <a:pt x="218" y="5446"/>
                  </a:lnTo>
                  <a:lnTo>
                    <a:pt x="218" y="5297"/>
                  </a:lnTo>
                  <a:cubicBezTo>
                    <a:pt x="206" y="5259"/>
                    <a:pt x="195" y="5220"/>
                    <a:pt x="183" y="5182"/>
                  </a:cubicBezTo>
                  <a:lnTo>
                    <a:pt x="183" y="5116"/>
                  </a:lnTo>
                  <a:cubicBezTo>
                    <a:pt x="179" y="5099"/>
                    <a:pt x="176" y="5083"/>
                    <a:pt x="172" y="5066"/>
                  </a:cubicBezTo>
                  <a:lnTo>
                    <a:pt x="126" y="5066"/>
                  </a:lnTo>
                  <a:cubicBezTo>
                    <a:pt x="103" y="5072"/>
                    <a:pt x="80" y="5077"/>
                    <a:pt x="57" y="5083"/>
                  </a:cubicBezTo>
                  <a:cubicBezTo>
                    <a:pt x="46" y="5066"/>
                    <a:pt x="34" y="5050"/>
                    <a:pt x="23" y="5033"/>
                  </a:cubicBezTo>
                  <a:cubicBezTo>
                    <a:pt x="15" y="4983"/>
                    <a:pt x="8" y="4934"/>
                    <a:pt x="0" y="4884"/>
                  </a:cubicBezTo>
                  <a:cubicBezTo>
                    <a:pt x="11" y="4840"/>
                    <a:pt x="23" y="4796"/>
                    <a:pt x="34" y="4752"/>
                  </a:cubicBezTo>
                  <a:lnTo>
                    <a:pt x="34" y="4703"/>
                  </a:lnTo>
                  <a:cubicBezTo>
                    <a:pt x="42" y="4670"/>
                    <a:pt x="49" y="4637"/>
                    <a:pt x="57" y="4604"/>
                  </a:cubicBezTo>
                  <a:lnTo>
                    <a:pt x="161" y="4554"/>
                  </a:lnTo>
                  <a:cubicBezTo>
                    <a:pt x="165" y="4549"/>
                    <a:pt x="168" y="4543"/>
                    <a:pt x="172" y="4538"/>
                  </a:cubicBezTo>
                  <a:lnTo>
                    <a:pt x="183" y="4538"/>
                  </a:lnTo>
                  <a:cubicBezTo>
                    <a:pt x="191" y="4510"/>
                    <a:pt x="198" y="4483"/>
                    <a:pt x="206" y="4455"/>
                  </a:cubicBezTo>
                  <a:cubicBezTo>
                    <a:pt x="218" y="4466"/>
                    <a:pt x="229" y="4477"/>
                    <a:pt x="241" y="4488"/>
                  </a:cubicBezTo>
                  <a:cubicBezTo>
                    <a:pt x="256" y="4477"/>
                    <a:pt x="272" y="4466"/>
                    <a:pt x="287" y="4455"/>
                  </a:cubicBezTo>
                  <a:lnTo>
                    <a:pt x="321" y="4455"/>
                  </a:lnTo>
                  <a:cubicBezTo>
                    <a:pt x="325" y="4472"/>
                    <a:pt x="329" y="4488"/>
                    <a:pt x="333" y="4505"/>
                  </a:cubicBezTo>
                  <a:lnTo>
                    <a:pt x="436" y="4505"/>
                  </a:lnTo>
                  <a:cubicBezTo>
                    <a:pt x="455" y="4488"/>
                    <a:pt x="474" y="4472"/>
                    <a:pt x="493" y="4455"/>
                  </a:cubicBezTo>
                  <a:lnTo>
                    <a:pt x="505" y="4389"/>
                  </a:lnTo>
                  <a:cubicBezTo>
                    <a:pt x="509" y="4373"/>
                    <a:pt x="512" y="4356"/>
                    <a:pt x="516" y="4340"/>
                  </a:cubicBezTo>
                  <a:lnTo>
                    <a:pt x="757" y="4274"/>
                  </a:lnTo>
                  <a:cubicBezTo>
                    <a:pt x="761" y="4257"/>
                    <a:pt x="764" y="4241"/>
                    <a:pt x="768" y="4224"/>
                  </a:cubicBezTo>
                  <a:lnTo>
                    <a:pt x="826" y="4142"/>
                  </a:lnTo>
                  <a:lnTo>
                    <a:pt x="1067" y="4010"/>
                  </a:lnTo>
                  <a:cubicBezTo>
                    <a:pt x="1074" y="3982"/>
                    <a:pt x="1082" y="3955"/>
                    <a:pt x="1089" y="3927"/>
                  </a:cubicBezTo>
                  <a:lnTo>
                    <a:pt x="1089" y="3762"/>
                  </a:lnTo>
                  <a:cubicBezTo>
                    <a:pt x="1101" y="3746"/>
                    <a:pt x="1112" y="3729"/>
                    <a:pt x="1124" y="3713"/>
                  </a:cubicBezTo>
                  <a:cubicBezTo>
                    <a:pt x="1116" y="3696"/>
                    <a:pt x="1109" y="3680"/>
                    <a:pt x="1101" y="3663"/>
                  </a:cubicBezTo>
                  <a:cubicBezTo>
                    <a:pt x="1120" y="3647"/>
                    <a:pt x="1139" y="3630"/>
                    <a:pt x="1158" y="3614"/>
                  </a:cubicBezTo>
                  <a:cubicBezTo>
                    <a:pt x="1135" y="3465"/>
                    <a:pt x="1112" y="3317"/>
                    <a:pt x="1089" y="3168"/>
                  </a:cubicBezTo>
                  <a:cubicBezTo>
                    <a:pt x="1078" y="3152"/>
                    <a:pt x="1066" y="3135"/>
                    <a:pt x="1055" y="3119"/>
                  </a:cubicBezTo>
                  <a:cubicBezTo>
                    <a:pt x="1047" y="3102"/>
                    <a:pt x="1040" y="3086"/>
                    <a:pt x="1032" y="3069"/>
                  </a:cubicBezTo>
                  <a:cubicBezTo>
                    <a:pt x="1040" y="3064"/>
                    <a:pt x="1047" y="3058"/>
                    <a:pt x="1055" y="3053"/>
                  </a:cubicBezTo>
                  <a:lnTo>
                    <a:pt x="1399" y="2954"/>
                  </a:lnTo>
                  <a:cubicBezTo>
                    <a:pt x="1407" y="2943"/>
                    <a:pt x="1414" y="2932"/>
                    <a:pt x="1422" y="2921"/>
                  </a:cubicBezTo>
                  <a:cubicBezTo>
                    <a:pt x="1414" y="2882"/>
                    <a:pt x="1407" y="2844"/>
                    <a:pt x="1399" y="2805"/>
                  </a:cubicBezTo>
                  <a:lnTo>
                    <a:pt x="1525" y="2277"/>
                  </a:lnTo>
                  <a:lnTo>
                    <a:pt x="1583" y="2310"/>
                  </a:lnTo>
                  <a:cubicBezTo>
                    <a:pt x="1594" y="2316"/>
                    <a:pt x="1606" y="2321"/>
                    <a:pt x="1617" y="2327"/>
                  </a:cubicBezTo>
                  <a:cubicBezTo>
                    <a:pt x="1636" y="2332"/>
                    <a:pt x="1655" y="2338"/>
                    <a:pt x="1674" y="2343"/>
                  </a:cubicBezTo>
                  <a:lnTo>
                    <a:pt x="1789" y="2327"/>
                  </a:lnTo>
                  <a:cubicBezTo>
                    <a:pt x="1804" y="2349"/>
                    <a:pt x="1820" y="2371"/>
                    <a:pt x="1835" y="2393"/>
                  </a:cubicBezTo>
                  <a:cubicBezTo>
                    <a:pt x="1846" y="2376"/>
                    <a:pt x="1858" y="2360"/>
                    <a:pt x="1869" y="2343"/>
                  </a:cubicBezTo>
                  <a:cubicBezTo>
                    <a:pt x="1896" y="2338"/>
                    <a:pt x="1923" y="2332"/>
                    <a:pt x="1950" y="2327"/>
                  </a:cubicBezTo>
                  <a:cubicBezTo>
                    <a:pt x="1957" y="2206"/>
                    <a:pt x="1965" y="2085"/>
                    <a:pt x="1972" y="1964"/>
                  </a:cubicBezTo>
                  <a:lnTo>
                    <a:pt x="1984" y="1865"/>
                  </a:lnTo>
                  <a:lnTo>
                    <a:pt x="2041" y="1865"/>
                  </a:lnTo>
                  <a:cubicBezTo>
                    <a:pt x="2060" y="1859"/>
                    <a:pt x="2080" y="1854"/>
                    <a:pt x="2099" y="1848"/>
                  </a:cubicBezTo>
                  <a:lnTo>
                    <a:pt x="2156" y="1782"/>
                  </a:lnTo>
                  <a:cubicBezTo>
                    <a:pt x="2167" y="1755"/>
                    <a:pt x="2179" y="1727"/>
                    <a:pt x="2190" y="1700"/>
                  </a:cubicBezTo>
                  <a:lnTo>
                    <a:pt x="2248" y="1733"/>
                  </a:lnTo>
                  <a:cubicBezTo>
                    <a:pt x="2267" y="1705"/>
                    <a:pt x="2286" y="1678"/>
                    <a:pt x="2305" y="1650"/>
                  </a:cubicBezTo>
                  <a:lnTo>
                    <a:pt x="2317" y="1650"/>
                  </a:lnTo>
                  <a:lnTo>
                    <a:pt x="2317" y="1683"/>
                  </a:lnTo>
                  <a:cubicBezTo>
                    <a:pt x="2328" y="1727"/>
                    <a:pt x="2340" y="1771"/>
                    <a:pt x="2351" y="1815"/>
                  </a:cubicBezTo>
                  <a:cubicBezTo>
                    <a:pt x="2385" y="1859"/>
                    <a:pt x="2420" y="1903"/>
                    <a:pt x="2454" y="1947"/>
                  </a:cubicBezTo>
                  <a:lnTo>
                    <a:pt x="2466" y="2013"/>
                  </a:lnTo>
                  <a:cubicBezTo>
                    <a:pt x="2485" y="2030"/>
                    <a:pt x="2504" y="2046"/>
                    <a:pt x="2523" y="2063"/>
                  </a:cubicBezTo>
                  <a:cubicBezTo>
                    <a:pt x="2527" y="2046"/>
                    <a:pt x="2530" y="2030"/>
                    <a:pt x="2534" y="2013"/>
                  </a:cubicBezTo>
                  <a:cubicBezTo>
                    <a:pt x="2549" y="2024"/>
                    <a:pt x="2565" y="2035"/>
                    <a:pt x="2580" y="2046"/>
                  </a:cubicBezTo>
                  <a:cubicBezTo>
                    <a:pt x="2599" y="2052"/>
                    <a:pt x="2619" y="2057"/>
                    <a:pt x="2638" y="2063"/>
                  </a:cubicBezTo>
                  <a:cubicBezTo>
                    <a:pt x="2653" y="2068"/>
                    <a:pt x="2668" y="2074"/>
                    <a:pt x="2683" y="2079"/>
                  </a:cubicBezTo>
                  <a:cubicBezTo>
                    <a:pt x="2721" y="2217"/>
                    <a:pt x="2760" y="2354"/>
                    <a:pt x="2798" y="2492"/>
                  </a:cubicBezTo>
                  <a:lnTo>
                    <a:pt x="2798" y="2789"/>
                  </a:lnTo>
                  <a:cubicBezTo>
                    <a:pt x="2794" y="2811"/>
                    <a:pt x="2791" y="2833"/>
                    <a:pt x="2787" y="2855"/>
                  </a:cubicBezTo>
                  <a:lnTo>
                    <a:pt x="2787" y="2921"/>
                  </a:lnTo>
                  <a:cubicBezTo>
                    <a:pt x="2791" y="2932"/>
                    <a:pt x="2794" y="2943"/>
                    <a:pt x="2798" y="2954"/>
                  </a:cubicBezTo>
                  <a:lnTo>
                    <a:pt x="3073" y="3053"/>
                  </a:lnTo>
                  <a:lnTo>
                    <a:pt x="3154" y="3020"/>
                  </a:lnTo>
                  <a:lnTo>
                    <a:pt x="3498" y="3234"/>
                  </a:lnTo>
                  <a:lnTo>
                    <a:pt x="3532" y="3234"/>
                  </a:lnTo>
                  <a:lnTo>
                    <a:pt x="3784" y="3746"/>
                  </a:lnTo>
                  <a:cubicBezTo>
                    <a:pt x="3796" y="3751"/>
                    <a:pt x="3807" y="3757"/>
                    <a:pt x="3819" y="3762"/>
                  </a:cubicBezTo>
                  <a:lnTo>
                    <a:pt x="4369" y="3713"/>
                  </a:lnTo>
                  <a:lnTo>
                    <a:pt x="4553" y="3795"/>
                  </a:lnTo>
                  <a:lnTo>
                    <a:pt x="4633" y="3878"/>
                  </a:lnTo>
                  <a:lnTo>
                    <a:pt x="4920" y="4059"/>
                  </a:lnTo>
                  <a:lnTo>
                    <a:pt x="5000" y="4059"/>
                  </a:lnTo>
                  <a:cubicBezTo>
                    <a:pt x="5004" y="4065"/>
                    <a:pt x="5007" y="4070"/>
                    <a:pt x="5011" y="4076"/>
                  </a:cubicBezTo>
                  <a:cubicBezTo>
                    <a:pt x="5023" y="4087"/>
                    <a:pt x="5034" y="4098"/>
                    <a:pt x="5046" y="4109"/>
                  </a:cubicBezTo>
                  <a:cubicBezTo>
                    <a:pt x="5057" y="4114"/>
                    <a:pt x="5069" y="4120"/>
                    <a:pt x="5080" y="4125"/>
                  </a:cubicBezTo>
                  <a:lnTo>
                    <a:pt x="5115" y="4125"/>
                  </a:lnTo>
                  <a:lnTo>
                    <a:pt x="5172" y="4059"/>
                  </a:lnTo>
                  <a:lnTo>
                    <a:pt x="5333" y="3977"/>
                  </a:lnTo>
                  <a:cubicBezTo>
                    <a:pt x="5341" y="3960"/>
                    <a:pt x="5348" y="3944"/>
                    <a:pt x="5356" y="3927"/>
                  </a:cubicBezTo>
                  <a:lnTo>
                    <a:pt x="5550" y="3861"/>
                  </a:lnTo>
                  <a:lnTo>
                    <a:pt x="5631" y="3861"/>
                  </a:lnTo>
                  <a:cubicBezTo>
                    <a:pt x="5650" y="3856"/>
                    <a:pt x="5669" y="3850"/>
                    <a:pt x="5688" y="3845"/>
                  </a:cubicBezTo>
                  <a:lnTo>
                    <a:pt x="5768" y="3878"/>
                  </a:lnTo>
                  <a:cubicBezTo>
                    <a:pt x="5772" y="3872"/>
                    <a:pt x="5776" y="3867"/>
                    <a:pt x="5780" y="3861"/>
                  </a:cubicBezTo>
                  <a:lnTo>
                    <a:pt x="5872" y="3861"/>
                  </a:lnTo>
                  <a:lnTo>
                    <a:pt x="6044" y="3713"/>
                  </a:lnTo>
                  <a:cubicBezTo>
                    <a:pt x="6055" y="3691"/>
                    <a:pt x="6067" y="3669"/>
                    <a:pt x="6078" y="3647"/>
                  </a:cubicBezTo>
                  <a:cubicBezTo>
                    <a:pt x="6135" y="3575"/>
                    <a:pt x="6193" y="3504"/>
                    <a:pt x="6250" y="3432"/>
                  </a:cubicBezTo>
                  <a:lnTo>
                    <a:pt x="6250" y="3383"/>
                  </a:lnTo>
                  <a:cubicBezTo>
                    <a:pt x="6227" y="3344"/>
                    <a:pt x="6204" y="3306"/>
                    <a:pt x="6181" y="3267"/>
                  </a:cubicBezTo>
                  <a:lnTo>
                    <a:pt x="6181" y="3185"/>
                  </a:lnTo>
                  <a:lnTo>
                    <a:pt x="6250" y="3053"/>
                  </a:lnTo>
                  <a:cubicBezTo>
                    <a:pt x="6273" y="3036"/>
                    <a:pt x="6296" y="3020"/>
                    <a:pt x="6319" y="3003"/>
                  </a:cubicBezTo>
                  <a:cubicBezTo>
                    <a:pt x="6334" y="3009"/>
                    <a:pt x="6350" y="3014"/>
                    <a:pt x="6365" y="3020"/>
                  </a:cubicBezTo>
                  <a:cubicBezTo>
                    <a:pt x="6376" y="3042"/>
                    <a:pt x="6388" y="3064"/>
                    <a:pt x="6399" y="3086"/>
                  </a:cubicBezTo>
                  <a:lnTo>
                    <a:pt x="6514" y="3086"/>
                  </a:lnTo>
                  <a:cubicBezTo>
                    <a:pt x="6541" y="3064"/>
                    <a:pt x="6567" y="3042"/>
                    <a:pt x="6594" y="3020"/>
                  </a:cubicBezTo>
                  <a:lnTo>
                    <a:pt x="6720" y="2855"/>
                  </a:lnTo>
                  <a:lnTo>
                    <a:pt x="6778" y="2855"/>
                  </a:lnTo>
                  <a:cubicBezTo>
                    <a:pt x="6801" y="2833"/>
                    <a:pt x="6823" y="2811"/>
                    <a:pt x="6846" y="2789"/>
                  </a:cubicBezTo>
                  <a:lnTo>
                    <a:pt x="7053" y="2492"/>
                  </a:lnTo>
                  <a:lnTo>
                    <a:pt x="7328" y="2442"/>
                  </a:lnTo>
                  <a:lnTo>
                    <a:pt x="7443" y="2475"/>
                  </a:lnTo>
                  <a:cubicBezTo>
                    <a:pt x="7454" y="2464"/>
                    <a:pt x="7466" y="2453"/>
                    <a:pt x="7477" y="2442"/>
                  </a:cubicBezTo>
                  <a:cubicBezTo>
                    <a:pt x="7473" y="2426"/>
                    <a:pt x="7470" y="2409"/>
                    <a:pt x="7466" y="2393"/>
                  </a:cubicBezTo>
                  <a:cubicBezTo>
                    <a:pt x="7454" y="2376"/>
                    <a:pt x="7443" y="2360"/>
                    <a:pt x="7431" y="2343"/>
                  </a:cubicBezTo>
                  <a:lnTo>
                    <a:pt x="7431" y="2261"/>
                  </a:lnTo>
                  <a:cubicBezTo>
                    <a:pt x="7427" y="2244"/>
                    <a:pt x="7424" y="2228"/>
                    <a:pt x="7420" y="2211"/>
                  </a:cubicBezTo>
                  <a:lnTo>
                    <a:pt x="7294" y="2046"/>
                  </a:lnTo>
                  <a:cubicBezTo>
                    <a:pt x="7290" y="2030"/>
                    <a:pt x="7286" y="2013"/>
                    <a:pt x="7282" y="1997"/>
                  </a:cubicBezTo>
                  <a:lnTo>
                    <a:pt x="7133" y="2129"/>
                  </a:lnTo>
                  <a:lnTo>
                    <a:pt x="6984" y="2162"/>
                  </a:lnTo>
                  <a:lnTo>
                    <a:pt x="6869" y="2129"/>
                  </a:lnTo>
                  <a:cubicBezTo>
                    <a:pt x="6858" y="2107"/>
                    <a:pt x="6846" y="2085"/>
                    <a:pt x="6835" y="2063"/>
                  </a:cubicBezTo>
                  <a:lnTo>
                    <a:pt x="6835" y="1865"/>
                  </a:lnTo>
                  <a:cubicBezTo>
                    <a:pt x="6839" y="1843"/>
                    <a:pt x="6842" y="1821"/>
                    <a:pt x="6846" y="1799"/>
                  </a:cubicBezTo>
                  <a:lnTo>
                    <a:pt x="6846" y="1584"/>
                  </a:lnTo>
                  <a:cubicBezTo>
                    <a:pt x="6881" y="1513"/>
                    <a:pt x="6915" y="1441"/>
                    <a:pt x="6950" y="1370"/>
                  </a:cubicBezTo>
                  <a:cubicBezTo>
                    <a:pt x="6954" y="1353"/>
                    <a:pt x="6957" y="1337"/>
                    <a:pt x="6961" y="1320"/>
                  </a:cubicBezTo>
                  <a:lnTo>
                    <a:pt x="6961" y="1304"/>
                  </a:lnTo>
                  <a:lnTo>
                    <a:pt x="7213" y="1436"/>
                  </a:lnTo>
                  <a:lnTo>
                    <a:pt x="7248" y="1436"/>
                  </a:lnTo>
                  <a:lnTo>
                    <a:pt x="7431" y="1271"/>
                  </a:lnTo>
                  <a:cubicBezTo>
                    <a:pt x="7435" y="1254"/>
                    <a:pt x="7439" y="1238"/>
                    <a:pt x="7443" y="1221"/>
                  </a:cubicBezTo>
                  <a:cubicBezTo>
                    <a:pt x="7439" y="1205"/>
                    <a:pt x="7435" y="1188"/>
                    <a:pt x="7431" y="1172"/>
                  </a:cubicBezTo>
                  <a:cubicBezTo>
                    <a:pt x="7435" y="1155"/>
                    <a:pt x="7439" y="1139"/>
                    <a:pt x="7443" y="1122"/>
                  </a:cubicBezTo>
                  <a:cubicBezTo>
                    <a:pt x="7462" y="1084"/>
                    <a:pt x="7481" y="1045"/>
                    <a:pt x="7500" y="1007"/>
                  </a:cubicBezTo>
                  <a:cubicBezTo>
                    <a:pt x="7523" y="913"/>
                    <a:pt x="7546" y="820"/>
                    <a:pt x="7569" y="726"/>
                  </a:cubicBezTo>
                  <a:lnTo>
                    <a:pt x="7615" y="677"/>
                  </a:lnTo>
                  <a:cubicBezTo>
                    <a:pt x="7638" y="633"/>
                    <a:pt x="7660" y="589"/>
                    <a:pt x="7683" y="545"/>
                  </a:cubicBezTo>
                  <a:cubicBezTo>
                    <a:pt x="7676" y="534"/>
                    <a:pt x="7668" y="523"/>
                    <a:pt x="7661" y="512"/>
                  </a:cubicBezTo>
                  <a:lnTo>
                    <a:pt x="7661" y="380"/>
                  </a:lnTo>
                  <a:cubicBezTo>
                    <a:pt x="7657" y="374"/>
                    <a:pt x="7653" y="369"/>
                    <a:pt x="7649" y="363"/>
                  </a:cubicBezTo>
                  <a:lnTo>
                    <a:pt x="7569" y="380"/>
                  </a:lnTo>
                  <a:lnTo>
                    <a:pt x="7569" y="363"/>
                  </a:lnTo>
                  <a:lnTo>
                    <a:pt x="7569" y="314"/>
                  </a:lnTo>
                  <a:cubicBezTo>
                    <a:pt x="7596" y="281"/>
                    <a:pt x="7622" y="248"/>
                    <a:pt x="7649" y="215"/>
                  </a:cubicBezTo>
                  <a:lnTo>
                    <a:pt x="7661" y="149"/>
                  </a:lnTo>
                  <a:cubicBezTo>
                    <a:pt x="7680" y="132"/>
                    <a:pt x="7699" y="116"/>
                    <a:pt x="7718" y="99"/>
                  </a:cubicBezTo>
                  <a:lnTo>
                    <a:pt x="8142" y="0"/>
                  </a:lnTo>
                  <a:lnTo>
                    <a:pt x="8291" y="116"/>
                  </a:lnTo>
                  <a:cubicBezTo>
                    <a:pt x="8303" y="127"/>
                    <a:pt x="8314" y="138"/>
                    <a:pt x="8326" y="149"/>
                  </a:cubicBezTo>
                  <a:lnTo>
                    <a:pt x="8394" y="149"/>
                  </a:lnTo>
                  <a:cubicBezTo>
                    <a:pt x="8421" y="165"/>
                    <a:pt x="8448" y="182"/>
                    <a:pt x="8475" y="198"/>
                  </a:cubicBezTo>
                  <a:cubicBezTo>
                    <a:pt x="8498" y="237"/>
                    <a:pt x="8521" y="275"/>
                    <a:pt x="8544" y="314"/>
                  </a:cubicBezTo>
                  <a:lnTo>
                    <a:pt x="8544" y="363"/>
                  </a:lnTo>
                  <a:lnTo>
                    <a:pt x="8601" y="429"/>
                  </a:lnTo>
                  <a:lnTo>
                    <a:pt x="8601" y="462"/>
                  </a:lnTo>
                  <a:lnTo>
                    <a:pt x="8601" y="429"/>
                  </a:lnTo>
                  <a:lnTo>
                    <a:pt x="8784" y="1221"/>
                  </a:lnTo>
                  <a:lnTo>
                    <a:pt x="8784" y="1254"/>
                  </a:lnTo>
                  <a:lnTo>
                    <a:pt x="8796" y="1419"/>
                  </a:lnTo>
                  <a:cubicBezTo>
                    <a:pt x="8807" y="1436"/>
                    <a:pt x="8819" y="1452"/>
                    <a:pt x="8830" y="1469"/>
                  </a:cubicBezTo>
                  <a:cubicBezTo>
                    <a:pt x="8853" y="1474"/>
                    <a:pt x="8876" y="1480"/>
                    <a:pt x="8899" y="1485"/>
                  </a:cubicBezTo>
                  <a:cubicBezTo>
                    <a:pt x="8922" y="1469"/>
                    <a:pt x="8945" y="1452"/>
                    <a:pt x="8968" y="1436"/>
                  </a:cubicBezTo>
                  <a:lnTo>
                    <a:pt x="9117" y="1535"/>
                  </a:lnTo>
                  <a:cubicBezTo>
                    <a:pt x="9148" y="1573"/>
                    <a:pt x="9178" y="1612"/>
                    <a:pt x="9209" y="1650"/>
                  </a:cubicBezTo>
                  <a:cubicBezTo>
                    <a:pt x="9220" y="1661"/>
                    <a:pt x="9232" y="1672"/>
                    <a:pt x="9243" y="1683"/>
                  </a:cubicBezTo>
                  <a:lnTo>
                    <a:pt x="9300" y="1683"/>
                  </a:lnTo>
                  <a:lnTo>
                    <a:pt x="9300" y="1733"/>
                  </a:lnTo>
                  <a:lnTo>
                    <a:pt x="9312" y="1733"/>
                  </a:lnTo>
                  <a:lnTo>
                    <a:pt x="9312" y="1799"/>
                  </a:lnTo>
                  <a:cubicBezTo>
                    <a:pt x="9320" y="1815"/>
                    <a:pt x="9327" y="1832"/>
                    <a:pt x="9335" y="1848"/>
                  </a:cubicBezTo>
                  <a:lnTo>
                    <a:pt x="9335" y="1997"/>
                  </a:lnTo>
                  <a:cubicBezTo>
                    <a:pt x="9350" y="2035"/>
                    <a:pt x="9366" y="2074"/>
                    <a:pt x="9381" y="2112"/>
                  </a:cubicBezTo>
                  <a:lnTo>
                    <a:pt x="9427" y="2112"/>
                  </a:lnTo>
                  <a:cubicBezTo>
                    <a:pt x="9450" y="2118"/>
                    <a:pt x="9472" y="2123"/>
                    <a:pt x="9495" y="2129"/>
                  </a:cubicBezTo>
                  <a:cubicBezTo>
                    <a:pt x="9510" y="2123"/>
                    <a:pt x="9526" y="2118"/>
                    <a:pt x="9541" y="2112"/>
                  </a:cubicBezTo>
                  <a:lnTo>
                    <a:pt x="9725" y="1964"/>
                  </a:lnTo>
                  <a:lnTo>
                    <a:pt x="9794" y="1964"/>
                  </a:lnTo>
                  <a:lnTo>
                    <a:pt x="10000" y="1848"/>
                  </a:lnTo>
                  <a:cubicBezTo>
                    <a:pt x="9989" y="1870"/>
                    <a:pt x="9977" y="1892"/>
                    <a:pt x="9966" y="1914"/>
                  </a:cubicBezTo>
                  <a:lnTo>
                    <a:pt x="9966" y="1997"/>
                  </a:lnTo>
                  <a:cubicBezTo>
                    <a:pt x="9970" y="2019"/>
                    <a:pt x="9973" y="2041"/>
                    <a:pt x="9977" y="2063"/>
                  </a:cubicBezTo>
                  <a:lnTo>
                    <a:pt x="9977" y="2162"/>
                  </a:lnTo>
                  <a:cubicBezTo>
                    <a:pt x="9950" y="2195"/>
                    <a:pt x="9924" y="2228"/>
                    <a:pt x="9897" y="2261"/>
                  </a:cubicBezTo>
                  <a:lnTo>
                    <a:pt x="9828" y="2657"/>
                  </a:lnTo>
                  <a:cubicBezTo>
                    <a:pt x="9794" y="2739"/>
                    <a:pt x="9759" y="2822"/>
                    <a:pt x="9725" y="2904"/>
                  </a:cubicBezTo>
                  <a:lnTo>
                    <a:pt x="9713" y="3003"/>
                  </a:lnTo>
                  <a:cubicBezTo>
                    <a:pt x="9702" y="3009"/>
                    <a:pt x="9690" y="3014"/>
                    <a:pt x="9679" y="3020"/>
                  </a:cubicBezTo>
                  <a:lnTo>
                    <a:pt x="9667" y="3020"/>
                  </a:lnTo>
                  <a:lnTo>
                    <a:pt x="9507" y="2954"/>
                  </a:lnTo>
                  <a:cubicBezTo>
                    <a:pt x="9457" y="3014"/>
                    <a:pt x="9408" y="3075"/>
                    <a:pt x="9358" y="3135"/>
                  </a:cubicBezTo>
                  <a:cubicBezTo>
                    <a:pt x="9369" y="3152"/>
                    <a:pt x="9381" y="3168"/>
                    <a:pt x="9392" y="3185"/>
                  </a:cubicBezTo>
                  <a:cubicBezTo>
                    <a:pt x="9400" y="3317"/>
                    <a:pt x="9407" y="3449"/>
                    <a:pt x="9415" y="3581"/>
                  </a:cubicBezTo>
                  <a:cubicBezTo>
                    <a:pt x="9396" y="3608"/>
                    <a:pt x="9377" y="3636"/>
                    <a:pt x="9358" y="3663"/>
                  </a:cubicBezTo>
                  <a:cubicBezTo>
                    <a:pt x="9339" y="3691"/>
                    <a:pt x="9319" y="3718"/>
                    <a:pt x="9300" y="3746"/>
                  </a:cubicBezTo>
                  <a:lnTo>
                    <a:pt x="9300" y="3812"/>
                  </a:lnTo>
                  <a:lnTo>
                    <a:pt x="9278" y="3812"/>
                  </a:lnTo>
                  <a:cubicBezTo>
                    <a:pt x="9266" y="3795"/>
                    <a:pt x="9255" y="3779"/>
                    <a:pt x="9243" y="3762"/>
                  </a:cubicBezTo>
                  <a:cubicBezTo>
                    <a:pt x="9232" y="3746"/>
                    <a:pt x="9220" y="3729"/>
                    <a:pt x="9209" y="3713"/>
                  </a:cubicBezTo>
                  <a:cubicBezTo>
                    <a:pt x="9197" y="3724"/>
                    <a:pt x="9186" y="3735"/>
                    <a:pt x="9174" y="3746"/>
                  </a:cubicBezTo>
                  <a:cubicBezTo>
                    <a:pt x="9159" y="3801"/>
                    <a:pt x="9143" y="3856"/>
                    <a:pt x="9128" y="3911"/>
                  </a:cubicBezTo>
                  <a:cubicBezTo>
                    <a:pt x="9101" y="3944"/>
                    <a:pt x="9075" y="3977"/>
                    <a:pt x="9048" y="4010"/>
                  </a:cubicBezTo>
                  <a:lnTo>
                    <a:pt x="8911" y="4026"/>
                  </a:lnTo>
                  <a:lnTo>
                    <a:pt x="8899" y="4059"/>
                  </a:lnTo>
                  <a:lnTo>
                    <a:pt x="8911" y="4191"/>
                  </a:lnTo>
                  <a:lnTo>
                    <a:pt x="8796" y="4224"/>
                  </a:lnTo>
                  <a:lnTo>
                    <a:pt x="8750" y="4175"/>
                  </a:lnTo>
                  <a:lnTo>
                    <a:pt x="8693" y="4142"/>
                  </a:lnTo>
                  <a:lnTo>
                    <a:pt x="8417" y="4455"/>
                  </a:lnTo>
                  <a:lnTo>
                    <a:pt x="8360" y="4488"/>
                  </a:lnTo>
                  <a:cubicBezTo>
                    <a:pt x="8333" y="4543"/>
                    <a:pt x="8307" y="4598"/>
                    <a:pt x="8280" y="4653"/>
                  </a:cubicBezTo>
                  <a:lnTo>
                    <a:pt x="8131" y="4719"/>
                  </a:lnTo>
                  <a:cubicBezTo>
                    <a:pt x="8127" y="4714"/>
                    <a:pt x="8123" y="4708"/>
                    <a:pt x="8119" y="4703"/>
                  </a:cubicBezTo>
                  <a:cubicBezTo>
                    <a:pt x="8100" y="4719"/>
                    <a:pt x="8081" y="4736"/>
                    <a:pt x="8062" y="4752"/>
                  </a:cubicBezTo>
                  <a:lnTo>
                    <a:pt x="7959" y="4818"/>
                  </a:lnTo>
                  <a:cubicBezTo>
                    <a:pt x="7951" y="4835"/>
                    <a:pt x="7944" y="4851"/>
                    <a:pt x="7936" y="4868"/>
                  </a:cubicBezTo>
                  <a:cubicBezTo>
                    <a:pt x="7928" y="4884"/>
                    <a:pt x="7921" y="4901"/>
                    <a:pt x="7913" y="4917"/>
                  </a:cubicBezTo>
                  <a:cubicBezTo>
                    <a:pt x="7901" y="4923"/>
                    <a:pt x="7890" y="4928"/>
                    <a:pt x="7878" y="4934"/>
                  </a:cubicBezTo>
                  <a:lnTo>
                    <a:pt x="7844" y="4934"/>
                  </a:lnTo>
                  <a:cubicBezTo>
                    <a:pt x="7840" y="4945"/>
                    <a:pt x="7837" y="4956"/>
                    <a:pt x="7833" y="4967"/>
                  </a:cubicBezTo>
                  <a:cubicBezTo>
                    <a:pt x="7814" y="4984"/>
                    <a:pt x="7794" y="5000"/>
                    <a:pt x="7775" y="5017"/>
                  </a:cubicBezTo>
                  <a:cubicBezTo>
                    <a:pt x="7771" y="5006"/>
                    <a:pt x="7768" y="4994"/>
                    <a:pt x="7764" y="4983"/>
                  </a:cubicBezTo>
                  <a:cubicBezTo>
                    <a:pt x="7768" y="4967"/>
                    <a:pt x="7771" y="4950"/>
                    <a:pt x="7775" y="4934"/>
                  </a:cubicBezTo>
                  <a:cubicBezTo>
                    <a:pt x="7794" y="4928"/>
                    <a:pt x="7814" y="4923"/>
                    <a:pt x="7833" y="4917"/>
                  </a:cubicBezTo>
                  <a:cubicBezTo>
                    <a:pt x="7837" y="4884"/>
                    <a:pt x="7840" y="4851"/>
                    <a:pt x="7844" y="4818"/>
                  </a:cubicBezTo>
                  <a:cubicBezTo>
                    <a:pt x="7829" y="4813"/>
                    <a:pt x="7813" y="4807"/>
                    <a:pt x="7798" y="4802"/>
                  </a:cubicBezTo>
                  <a:cubicBezTo>
                    <a:pt x="7790" y="4791"/>
                    <a:pt x="7783" y="4780"/>
                    <a:pt x="7775" y="4769"/>
                  </a:cubicBezTo>
                  <a:cubicBezTo>
                    <a:pt x="7787" y="4763"/>
                    <a:pt x="7798" y="4758"/>
                    <a:pt x="7810" y="4752"/>
                  </a:cubicBezTo>
                  <a:lnTo>
                    <a:pt x="7810" y="4703"/>
                  </a:lnTo>
                  <a:cubicBezTo>
                    <a:pt x="7821" y="4692"/>
                    <a:pt x="7833" y="4681"/>
                    <a:pt x="7844" y="4670"/>
                  </a:cubicBezTo>
                  <a:cubicBezTo>
                    <a:pt x="7875" y="4609"/>
                    <a:pt x="7905" y="4549"/>
                    <a:pt x="7936" y="4488"/>
                  </a:cubicBezTo>
                  <a:lnTo>
                    <a:pt x="7936" y="4455"/>
                  </a:lnTo>
                  <a:cubicBezTo>
                    <a:pt x="7924" y="4433"/>
                    <a:pt x="7913" y="4411"/>
                    <a:pt x="7901" y="4389"/>
                  </a:cubicBezTo>
                  <a:cubicBezTo>
                    <a:pt x="7893" y="4373"/>
                    <a:pt x="7886" y="4356"/>
                    <a:pt x="7878" y="4340"/>
                  </a:cubicBezTo>
                  <a:cubicBezTo>
                    <a:pt x="7874" y="4334"/>
                    <a:pt x="7871" y="4329"/>
                    <a:pt x="7867" y="4323"/>
                  </a:cubicBezTo>
                  <a:cubicBezTo>
                    <a:pt x="7859" y="4329"/>
                    <a:pt x="7852" y="4334"/>
                    <a:pt x="7844" y="4340"/>
                  </a:cubicBezTo>
                  <a:lnTo>
                    <a:pt x="7775" y="4340"/>
                  </a:lnTo>
                  <a:cubicBezTo>
                    <a:pt x="7771" y="4351"/>
                    <a:pt x="7768" y="4362"/>
                    <a:pt x="7764" y="4373"/>
                  </a:cubicBezTo>
                  <a:lnTo>
                    <a:pt x="7649" y="4587"/>
                  </a:lnTo>
                  <a:lnTo>
                    <a:pt x="7477" y="4703"/>
                  </a:lnTo>
                  <a:cubicBezTo>
                    <a:pt x="7473" y="4741"/>
                    <a:pt x="7470" y="4780"/>
                    <a:pt x="7466" y="4818"/>
                  </a:cubicBezTo>
                  <a:cubicBezTo>
                    <a:pt x="7454" y="4829"/>
                    <a:pt x="7443" y="4840"/>
                    <a:pt x="7431" y="4851"/>
                  </a:cubicBezTo>
                  <a:cubicBezTo>
                    <a:pt x="7420" y="4862"/>
                    <a:pt x="7408" y="4873"/>
                    <a:pt x="7397" y="4884"/>
                  </a:cubicBezTo>
                  <a:lnTo>
                    <a:pt x="7294" y="4917"/>
                  </a:lnTo>
                  <a:lnTo>
                    <a:pt x="7282" y="4884"/>
                  </a:lnTo>
                  <a:lnTo>
                    <a:pt x="7248" y="4884"/>
                  </a:lnTo>
                  <a:cubicBezTo>
                    <a:pt x="7236" y="4895"/>
                    <a:pt x="7225" y="4906"/>
                    <a:pt x="7213" y="4917"/>
                  </a:cubicBezTo>
                  <a:cubicBezTo>
                    <a:pt x="7202" y="4972"/>
                    <a:pt x="7190" y="5028"/>
                    <a:pt x="7179" y="5083"/>
                  </a:cubicBezTo>
                  <a:cubicBezTo>
                    <a:pt x="7202" y="5121"/>
                    <a:pt x="7225" y="5160"/>
                    <a:pt x="7248" y="5198"/>
                  </a:cubicBezTo>
                  <a:cubicBezTo>
                    <a:pt x="7259" y="5209"/>
                    <a:pt x="7271" y="5220"/>
                    <a:pt x="7282" y="5231"/>
                  </a:cubicBezTo>
                  <a:lnTo>
                    <a:pt x="7294" y="5231"/>
                  </a:lnTo>
                  <a:cubicBezTo>
                    <a:pt x="7302" y="5237"/>
                    <a:pt x="7309" y="5242"/>
                    <a:pt x="7317" y="5248"/>
                  </a:cubicBezTo>
                  <a:lnTo>
                    <a:pt x="7328" y="5248"/>
                  </a:lnTo>
                  <a:cubicBezTo>
                    <a:pt x="7336" y="5264"/>
                    <a:pt x="7343" y="5281"/>
                    <a:pt x="7351" y="5297"/>
                  </a:cubicBezTo>
                  <a:cubicBezTo>
                    <a:pt x="7362" y="5308"/>
                    <a:pt x="7374" y="5319"/>
                    <a:pt x="7385" y="5330"/>
                  </a:cubicBezTo>
                  <a:lnTo>
                    <a:pt x="7385" y="5413"/>
                  </a:lnTo>
                  <a:cubicBezTo>
                    <a:pt x="7397" y="5429"/>
                    <a:pt x="7408" y="5446"/>
                    <a:pt x="7420" y="5462"/>
                  </a:cubicBezTo>
                  <a:lnTo>
                    <a:pt x="7500" y="5512"/>
                  </a:lnTo>
                  <a:cubicBezTo>
                    <a:pt x="7511" y="5506"/>
                    <a:pt x="7523" y="5501"/>
                    <a:pt x="7534" y="5495"/>
                  </a:cubicBezTo>
                  <a:cubicBezTo>
                    <a:pt x="7546" y="5468"/>
                    <a:pt x="7557" y="5440"/>
                    <a:pt x="7569" y="5413"/>
                  </a:cubicBezTo>
                  <a:cubicBezTo>
                    <a:pt x="7580" y="5407"/>
                    <a:pt x="7592" y="5402"/>
                    <a:pt x="7603" y="5396"/>
                  </a:cubicBezTo>
                  <a:cubicBezTo>
                    <a:pt x="7611" y="5380"/>
                    <a:pt x="7618" y="5363"/>
                    <a:pt x="7626" y="5347"/>
                  </a:cubicBezTo>
                  <a:cubicBezTo>
                    <a:pt x="7649" y="5330"/>
                    <a:pt x="7672" y="5314"/>
                    <a:pt x="7695" y="5297"/>
                  </a:cubicBezTo>
                  <a:lnTo>
                    <a:pt x="7718" y="5297"/>
                  </a:lnTo>
                  <a:cubicBezTo>
                    <a:pt x="7737" y="5325"/>
                    <a:pt x="7756" y="5352"/>
                    <a:pt x="7775" y="5380"/>
                  </a:cubicBezTo>
                  <a:lnTo>
                    <a:pt x="7798" y="5380"/>
                  </a:lnTo>
                  <a:cubicBezTo>
                    <a:pt x="7810" y="5391"/>
                    <a:pt x="7821" y="5402"/>
                    <a:pt x="7833" y="5413"/>
                  </a:cubicBezTo>
                  <a:cubicBezTo>
                    <a:pt x="7848" y="5407"/>
                    <a:pt x="7863" y="5402"/>
                    <a:pt x="7878" y="5396"/>
                  </a:cubicBezTo>
                  <a:cubicBezTo>
                    <a:pt x="7890" y="5391"/>
                    <a:pt x="7901" y="5385"/>
                    <a:pt x="7913" y="5380"/>
                  </a:cubicBezTo>
                  <a:cubicBezTo>
                    <a:pt x="7924" y="5391"/>
                    <a:pt x="7936" y="5402"/>
                    <a:pt x="7947" y="5413"/>
                  </a:cubicBezTo>
                  <a:lnTo>
                    <a:pt x="7982" y="5413"/>
                  </a:lnTo>
                  <a:lnTo>
                    <a:pt x="7993" y="5413"/>
                  </a:lnTo>
                  <a:lnTo>
                    <a:pt x="7993" y="5495"/>
                  </a:lnTo>
                  <a:cubicBezTo>
                    <a:pt x="7989" y="5501"/>
                    <a:pt x="7986" y="5506"/>
                    <a:pt x="7982" y="5512"/>
                  </a:cubicBezTo>
                  <a:lnTo>
                    <a:pt x="7982" y="5545"/>
                  </a:lnTo>
                  <a:cubicBezTo>
                    <a:pt x="7970" y="5561"/>
                    <a:pt x="7959" y="5578"/>
                    <a:pt x="7947" y="5594"/>
                  </a:cubicBezTo>
                  <a:lnTo>
                    <a:pt x="7936" y="5594"/>
                  </a:lnTo>
                  <a:lnTo>
                    <a:pt x="7936" y="5545"/>
                  </a:lnTo>
                  <a:lnTo>
                    <a:pt x="7913" y="5545"/>
                  </a:lnTo>
                  <a:lnTo>
                    <a:pt x="7878" y="5545"/>
                  </a:lnTo>
                  <a:cubicBezTo>
                    <a:pt x="7874" y="5550"/>
                    <a:pt x="7871" y="5556"/>
                    <a:pt x="7867" y="5561"/>
                  </a:cubicBezTo>
                  <a:cubicBezTo>
                    <a:pt x="7859" y="5578"/>
                    <a:pt x="7852" y="5594"/>
                    <a:pt x="7844" y="5611"/>
                  </a:cubicBezTo>
                  <a:lnTo>
                    <a:pt x="7775" y="5611"/>
                  </a:lnTo>
                  <a:cubicBezTo>
                    <a:pt x="7767" y="5622"/>
                    <a:pt x="7760" y="5633"/>
                    <a:pt x="7752" y="5644"/>
                  </a:cubicBezTo>
                  <a:lnTo>
                    <a:pt x="7718" y="5644"/>
                  </a:lnTo>
                  <a:lnTo>
                    <a:pt x="7718" y="5710"/>
                  </a:lnTo>
                  <a:cubicBezTo>
                    <a:pt x="7710" y="5715"/>
                    <a:pt x="7703" y="5721"/>
                    <a:pt x="7695" y="5726"/>
                  </a:cubicBezTo>
                  <a:cubicBezTo>
                    <a:pt x="7691" y="5754"/>
                    <a:pt x="7687" y="5781"/>
                    <a:pt x="7683" y="5809"/>
                  </a:cubicBezTo>
                  <a:lnTo>
                    <a:pt x="7649" y="5809"/>
                  </a:lnTo>
                  <a:cubicBezTo>
                    <a:pt x="7641" y="5792"/>
                    <a:pt x="7634" y="5776"/>
                    <a:pt x="7626" y="5759"/>
                  </a:cubicBezTo>
                  <a:lnTo>
                    <a:pt x="7603" y="5759"/>
                  </a:lnTo>
                  <a:cubicBezTo>
                    <a:pt x="7595" y="5776"/>
                    <a:pt x="7588" y="5792"/>
                    <a:pt x="7580" y="5809"/>
                  </a:cubicBezTo>
                  <a:cubicBezTo>
                    <a:pt x="7592" y="5814"/>
                    <a:pt x="7603" y="5820"/>
                    <a:pt x="7615" y="5825"/>
                  </a:cubicBezTo>
                  <a:cubicBezTo>
                    <a:pt x="7600" y="5853"/>
                    <a:pt x="7584" y="5880"/>
                    <a:pt x="7569" y="5908"/>
                  </a:cubicBezTo>
                  <a:lnTo>
                    <a:pt x="7511" y="5941"/>
                  </a:lnTo>
                  <a:cubicBezTo>
                    <a:pt x="7488" y="6007"/>
                    <a:pt x="7466" y="6073"/>
                    <a:pt x="7443" y="6139"/>
                  </a:cubicBezTo>
                  <a:lnTo>
                    <a:pt x="7443" y="6188"/>
                  </a:lnTo>
                  <a:lnTo>
                    <a:pt x="7615" y="6304"/>
                  </a:lnTo>
                  <a:cubicBezTo>
                    <a:pt x="7619" y="6315"/>
                    <a:pt x="7622" y="6326"/>
                    <a:pt x="7626" y="6337"/>
                  </a:cubicBezTo>
                  <a:cubicBezTo>
                    <a:pt x="7634" y="6359"/>
                    <a:pt x="7641" y="6381"/>
                    <a:pt x="7649" y="6403"/>
                  </a:cubicBezTo>
                  <a:cubicBezTo>
                    <a:pt x="7653" y="6419"/>
                    <a:pt x="7657" y="6436"/>
                    <a:pt x="7661" y="6452"/>
                  </a:cubicBezTo>
                  <a:cubicBezTo>
                    <a:pt x="7680" y="6557"/>
                    <a:pt x="7699" y="6661"/>
                    <a:pt x="7718" y="6766"/>
                  </a:cubicBezTo>
                  <a:cubicBezTo>
                    <a:pt x="7729" y="6782"/>
                    <a:pt x="7741" y="6799"/>
                    <a:pt x="7752" y="6815"/>
                  </a:cubicBezTo>
                  <a:cubicBezTo>
                    <a:pt x="7760" y="6821"/>
                    <a:pt x="7767" y="6826"/>
                    <a:pt x="7775" y="6832"/>
                  </a:cubicBezTo>
                  <a:cubicBezTo>
                    <a:pt x="7783" y="6848"/>
                    <a:pt x="7790" y="6865"/>
                    <a:pt x="7798" y="6881"/>
                  </a:cubicBezTo>
                  <a:cubicBezTo>
                    <a:pt x="7825" y="6931"/>
                    <a:pt x="7851" y="6980"/>
                    <a:pt x="7878" y="7030"/>
                  </a:cubicBezTo>
                  <a:lnTo>
                    <a:pt x="7878" y="7046"/>
                  </a:lnTo>
                  <a:lnTo>
                    <a:pt x="7775" y="6980"/>
                  </a:lnTo>
                  <a:lnTo>
                    <a:pt x="7752" y="6980"/>
                  </a:lnTo>
                  <a:lnTo>
                    <a:pt x="7661" y="6931"/>
                  </a:lnTo>
                  <a:cubicBezTo>
                    <a:pt x="7642" y="6936"/>
                    <a:pt x="7622" y="6942"/>
                    <a:pt x="7603" y="6947"/>
                  </a:cubicBezTo>
                  <a:lnTo>
                    <a:pt x="7603" y="6980"/>
                  </a:lnTo>
                  <a:lnTo>
                    <a:pt x="7661" y="6947"/>
                  </a:lnTo>
                  <a:cubicBezTo>
                    <a:pt x="7668" y="6958"/>
                    <a:pt x="7676" y="6969"/>
                    <a:pt x="7683" y="6980"/>
                  </a:cubicBezTo>
                  <a:cubicBezTo>
                    <a:pt x="7687" y="6986"/>
                    <a:pt x="7691" y="6991"/>
                    <a:pt x="7695" y="6997"/>
                  </a:cubicBezTo>
                  <a:lnTo>
                    <a:pt x="7729" y="6997"/>
                  </a:lnTo>
                  <a:cubicBezTo>
                    <a:pt x="7741" y="7013"/>
                    <a:pt x="7752" y="7030"/>
                    <a:pt x="7764" y="7046"/>
                  </a:cubicBezTo>
                  <a:cubicBezTo>
                    <a:pt x="7775" y="7063"/>
                    <a:pt x="7787" y="7079"/>
                    <a:pt x="7798" y="7096"/>
                  </a:cubicBezTo>
                  <a:cubicBezTo>
                    <a:pt x="7810" y="7112"/>
                    <a:pt x="7821" y="7129"/>
                    <a:pt x="7833" y="7145"/>
                  </a:cubicBezTo>
                  <a:lnTo>
                    <a:pt x="7878" y="7244"/>
                  </a:lnTo>
                  <a:lnTo>
                    <a:pt x="7878" y="7261"/>
                  </a:lnTo>
                  <a:lnTo>
                    <a:pt x="7833" y="7261"/>
                  </a:lnTo>
                  <a:cubicBezTo>
                    <a:pt x="7821" y="7277"/>
                    <a:pt x="7810" y="7294"/>
                    <a:pt x="7798" y="7310"/>
                  </a:cubicBezTo>
                  <a:cubicBezTo>
                    <a:pt x="7783" y="7321"/>
                    <a:pt x="7767" y="7332"/>
                    <a:pt x="7752" y="7343"/>
                  </a:cubicBezTo>
                  <a:cubicBezTo>
                    <a:pt x="7744" y="7349"/>
                    <a:pt x="7737" y="7354"/>
                    <a:pt x="7729" y="7360"/>
                  </a:cubicBezTo>
                  <a:cubicBezTo>
                    <a:pt x="7718" y="7371"/>
                    <a:pt x="7706" y="7382"/>
                    <a:pt x="7695" y="7393"/>
                  </a:cubicBezTo>
                  <a:cubicBezTo>
                    <a:pt x="7672" y="7398"/>
                    <a:pt x="7649" y="7404"/>
                    <a:pt x="7626" y="7409"/>
                  </a:cubicBezTo>
                  <a:cubicBezTo>
                    <a:pt x="7618" y="7420"/>
                    <a:pt x="7611" y="7431"/>
                    <a:pt x="7603" y="7442"/>
                  </a:cubicBezTo>
                  <a:cubicBezTo>
                    <a:pt x="7611" y="7431"/>
                    <a:pt x="7618" y="7420"/>
                    <a:pt x="7626" y="7409"/>
                  </a:cubicBezTo>
                  <a:cubicBezTo>
                    <a:pt x="7649" y="7426"/>
                    <a:pt x="7672" y="7442"/>
                    <a:pt x="7695" y="7459"/>
                  </a:cubicBezTo>
                  <a:cubicBezTo>
                    <a:pt x="7718" y="7442"/>
                    <a:pt x="7741" y="7426"/>
                    <a:pt x="7764" y="7409"/>
                  </a:cubicBezTo>
                  <a:cubicBezTo>
                    <a:pt x="7768" y="7420"/>
                    <a:pt x="7771" y="7431"/>
                    <a:pt x="7775" y="7442"/>
                  </a:cubicBezTo>
                  <a:cubicBezTo>
                    <a:pt x="7787" y="7448"/>
                    <a:pt x="7798" y="7453"/>
                    <a:pt x="7810" y="7459"/>
                  </a:cubicBezTo>
                  <a:lnTo>
                    <a:pt x="7810" y="7475"/>
                  </a:lnTo>
                  <a:lnTo>
                    <a:pt x="7867" y="7508"/>
                  </a:lnTo>
                  <a:lnTo>
                    <a:pt x="7878" y="7508"/>
                  </a:lnTo>
                  <a:cubicBezTo>
                    <a:pt x="7886" y="7514"/>
                    <a:pt x="7893" y="7519"/>
                    <a:pt x="7901" y="7525"/>
                  </a:cubicBezTo>
                  <a:cubicBezTo>
                    <a:pt x="7871" y="7558"/>
                    <a:pt x="7840" y="7591"/>
                    <a:pt x="7810" y="7624"/>
                  </a:cubicBezTo>
                  <a:cubicBezTo>
                    <a:pt x="7829" y="7618"/>
                    <a:pt x="7848" y="7613"/>
                    <a:pt x="7867" y="7607"/>
                  </a:cubicBezTo>
                  <a:lnTo>
                    <a:pt x="7867" y="7690"/>
                  </a:lnTo>
                  <a:lnTo>
                    <a:pt x="7867" y="7673"/>
                  </a:lnTo>
                  <a:cubicBezTo>
                    <a:pt x="7859" y="7679"/>
                    <a:pt x="7852" y="7684"/>
                    <a:pt x="7844" y="7690"/>
                  </a:cubicBezTo>
                  <a:cubicBezTo>
                    <a:pt x="7833" y="7701"/>
                    <a:pt x="7821" y="7712"/>
                    <a:pt x="7810" y="7723"/>
                  </a:cubicBezTo>
                  <a:lnTo>
                    <a:pt x="7810" y="7772"/>
                  </a:lnTo>
                  <a:lnTo>
                    <a:pt x="7810" y="7822"/>
                  </a:lnTo>
                  <a:cubicBezTo>
                    <a:pt x="7806" y="7827"/>
                    <a:pt x="7802" y="7833"/>
                    <a:pt x="7798" y="7838"/>
                  </a:cubicBezTo>
                  <a:lnTo>
                    <a:pt x="7798" y="7921"/>
                  </a:lnTo>
                  <a:cubicBezTo>
                    <a:pt x="7790" y="7943"/>
                    <a:pt x="7783" y="7965"/>
                    <a:pt x="7775" y="7987"/>
                  </a:cubicBezTo>
                  <a:lnTo>
                    <a:pt x="7775" y="7954"/>
                  </a:lnTo>
                  <a:cubicBezTo>
                    <a:pt x="7771" y="7948"/>
                    <a:pt x="7768" y="7943"/>
                    <a:pt x="7764" y="7937"/>
                  </a:cubicBezTo>
                  <a:cubicBezTo>
                    <a:pt x="7760" y="7943"/>
                    <a:pt x="7756" y="7948"/>
                    <a:pt x="7752" y="7954"/>
                  </a:cubicBezTo>
                  <a:cubicBezTo>
                    <a:pt x="7718" y="8020"/>
                    <a:pt x="7683" y="8086"/>
                    <a:pt x="7649" y="8152"/>
                  </a:cubicBezTo>
                  <a:lnTo>
                    <a:pt x="7649" y="8185"/>
                  </a:lnTo>
                  <a:cubicBezTo>
                    <a:pt x="7641" y="8207"/>
                    <a:pt x="7634" y="8229"/>
                    <a:pt x="7626" y="8251"/>
                  </a:cubicBezTo>
                  <a:cubicBezTo>
                    <a:pt x="7611" y="8273"/>
                    <a:pt x="7595" y="8295"/>
                    <a:pt x="7580" y="8317"/>
                  </a:cubicBezTo>
                  <a:cubicBezTo>
                    <a:pt x="7576" y="8333"/>
                    <a:pt x="7573" y="8350"/>
                    <a:pt x="7569" y="8366"/>
                  </a:cubicBezTo>
                  <a:cubicBezTo>
                    <a:pt x="7561" y="8383"/>
                    <a:pt x="7554" y="8399"/>
                    <a:pt x="7546" y="8416"/>
                  </a:cubicBezTo>
                  <a:lnTo>
                    <a:pt x="7546" y="8399"/>
                  </a:lnTo>
                  <a:lnTo>
                    <a:pt x="7546" y="8350"/>
                  </a:lnTo>
                  <a:lnTo>
                    <a:pt x="7511" y="8350"/>
                  </a:lnTo>
                  <a:cubicBezTo>
                    <a:pt x="7507" y="8355"/>
                    <a:pt x="7504" y="8361"/>
                    <a:pt x="7500" y="8366"/>
                  </a:cubicBezTo>
                  <a:cubicBezTo>
                    <a:pt x="7504" y="8394"/>
                    <a:pt x="7507" y="8421"/>
                    <a:pt x="7511" y="8449"/>
                  </a:cubicBezTo>
                  <a:lnTo>
                    <a:pt x="7511" y="8465"/>
                  </a:lnTo>
                  <a:cubicBezTo>
                    <a:pt x="7507" y="8487"/>
                    <a:pt x="7504" y="8509"/>
                    <a:pt x="7500" y="8531"/>
                  </a:cubicBezTo>
                  <a:lnTo>
                    <a:pt x="7500" y="8564"/>
                  </a:lnTo>
                  <a:lnTo>
                    <a:pt x="7500" y="8614"/>
                  </a:lnTo>
                  <a:lnTo>
                    <a:pt x="7477" y="8614"/>
                  </a:lnTo>
                  <a:lnTo>
                    <a:pt x="7477" y="8630"/>
                  </a:lnTo>
                  <a:lnTo>
                    <a:pt x="7477" y="8663"/>
                  </a:lnTo>
                  <a:lnTo>
                    <a:pt x="7477" y="8680"/>
                  </a:lnTo>
                  <a:lnTo>
                    <a:pt x="7477" y="8713"/>
                  </a:lnTo>
                  <a:cubicBezTo>
                    <a:pt x="7473" y="8702"/>
                    <a:pt x="7470" y="8691"/>
                    <a:pt x="7466" y="8680"/>
                  </a:cubicBezTo>
                  <a:lnTo>
                    <a:pt x="7443" y="8680"/>
                  </a:lnTo>
                  <a:lnTo>
                    <a:pt x="7431" y="8713"/>
                  </a:lnTo>
                  <a:lnTo>
                    <a:pt x="7431" y="8729"/>
                  </a:lnTo>
                  <a:lnTo>
                    <a:pt x="7431" y="8746"/>
                  </a:lnTo>
                  <a:lnTo>
                    <a:pt x="7420" y="8746"/>
                  </a:lnTo>
                  <a:lnTo>
                    <a:pt x="7397" y="8746"/>
                  </a:lnTo>
                  <a:cubicBezTo>
                    <a:pt x="7393" y="8773"/>
                    <a:pt x="7389" y="8801"/>
                    <a:pt x="7385" y="8828"/>
                  </a:cubicBezTo>
                  <a:cubicBezTo>
                    <a:pt x="7374" y="8834"/>
                    <a:pt x="7362" y="8839"/>
                    <a:pt x="7351" y="8845"/>
                  </a:cubicBezTo>
                  <a:lnTo>
                    <a:pt x="7351" y="8878"/>
                  </a:lnTo>
                  <a:cubicBezTo>
                    <a:pt x="7343" y="8883"/>
                    <a:pt x="7336" y="8889"/>
                    <a:pt x="7328" y="8894"/>
                  </a:cubicBezTo>
                  <a:cubicBezTo>
                    <a:pt x="7313" y="8905"/>
                    <a:pt x="7297" y="8916"/>
                    <a:pt x="7282" y="8927"/>
                  </a:cubicBezTo>
                  <a:lnTo>
                    <a:pt x="7259" y="8927"/>
                  </a:lnTo>
                  <a:cubicBezTo>
                    <a:pt x="7251" y="8933"/>
                    <a:pt x="7244" y="8938"/>
                    <a:pt x="7236" y="8944"/>
                  </a:cubicBezTo>
                  <a:lnTo>
                    <a:pt x="7248" y="8977"/>
                  </a:lnTo>
                  <a:lnTo>
                    <a:pt x="7236" y="9010"/>
                  </a:lnTo>
                  <a:cubicBezTo>
                    <a:pt x="7225" y="9026"/>
                    <a:pt x="7213" y="9043"/>
                    <a:pt x="7202" y="9059"/>
                  </a:cubicBezTo>
                  <a:lnTo>
                    <a:pt x="7179" y="9059"/>
                  </a:lnTo>
                  <a:lnTo>
                    <a:pt x="7179" y="9109"/>
                  </a:lnTo>
                  <a:cubicBezTo>
                    <a:pt x="7175" y="9103"/>
                    <a:pt x="7171" y="9098"/>
                    <a:pt x="7167" y="9092"/>
                  </a:cubicBezTo>
                  <a:cubicBezTo>
                    <a:pt x="7159" y="9098"/>
                    <a:pt x="7152" y="9103"/>
                    <a:pt x="7144" y="9109"/>
                  </a:cubicBezTo>
                  <a:lnTo>
                    <a:pt x="7144" y="9142"/>
                  </a:lnTo>
                  <a:lnTo>
                    <a:pt x="7133" y="9142"/>
                  </a:lnTo>
                  <a:cubicBezTo>
                    <a:pt x="7122" y="9147"/>
                    <a:pt x="7110" y="9153"/>
                    <a:pt x="7099" y="9158"/>
                  </a:cubicBezTo>
                  <a:lnTo>
                    <a:pt x="7087" y="9158"/>
                  </a:lnTo>
                  <a:lnTo>
                    <a:pt x="7064" y="9158"/>
                  </a:lnTo>
                  <a:cubicBezTo>
                    <a:pt x="7041" y="9208"/>
                    <a:pt x="7018" y="9257"/>
                    <a:pt x="6995" y="9307"/>
                  </a:cubicBezTo>
                  <a:lnTo>
                    <a:pt x="6904" y="9373"/>
                  </a:lnTo>
                  <a:cubicBezTo>
                    <a:pt x="6885" y="9367"/>
                    <a:pt x="6865" y="9362"/>
                    <a:pt x="6846" y="9356"/>
                  </a:cubicBezTo>
                  <a:lnTo>
                    <a:pt x="6846" y="9373"/>
                  </a:lnTo>
                  <a:cubicBezTo>
                    <a:pt x="6842" y="9384"/>
                    <a:pt x="6839" y="9395"/>
                    <a:pt x="6835" y="9406"/>
                  </a:cubicBezTo>
                  <a:lnTo>
                    <a:pt x="6812" y="9406"/>
                  </a:lnTo>
                  <a:lnTo>
                    <a:pt x="6800" y="9373"/>
                  </a:lnTo>
                  <a:cubicBezTo>
                    <a:pt x="6793" y="9367"/>
                    <a:pt x="6785" y="9362"/>
                    <a:pt x="6778" y="9356"/>
                  </a:cubicBezTo>
                  <a:cubicBezTo>
                    <a:pt x="6766" y="9362"/>
                    <a:pt x="6755" y="9367"/>
                    <a:pt x="6743" y="9373"/>
                  </a:cubicBezTo>
                  <a:cubicBezTo>
                    <a:pt x="6739" y="9389"/>
                    <a:pt x="6736" y="9406"/>
                    <a:pt x="6732" y="9422"/>
                  </a:cubicBezTo>
                  <a:lnTo>
                    <a:pt x="6720" y="9422"/>
                  </a:lnTo>
                  <a:cubicBezTo>
                    <a:pt x="6712" y="9417"/>
                    <a:pt x="6705" y="9411"/>
                    <a:pt x="6697" y="9406"/>
                  </a:cubicBezTo>
                  <a:lnTo>
                    <a:pt x="6697" y="9373"/>
                  </a:lnTo>
                  <a:lnTo>
                    <a:pt x="6686" y="9373"/>
                  </a:lnTo>
                  <a:lnTo>
                    <a:pt x="6686" y="942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30" name="Freeform 1068"/>
            <p:cNvSpPr>
              <a:spLocks/>
            </p:cNvSpPr>
            <p:nvPr/>
          </p:nvSpPr>
          <p:spPr bwMode="auto">
            <a:xfrm>
              <a:off x="6562259" y="3207693"/>
              <a:ext cx="103580" cy="135893"/>
            </a:xfrm>
            <a:custGeom>
              <a:avLst/>
              <a:gdLst/>
              <a:ahLst/>
              <a:cxnLst>
                <a:cxn ang="0">
                  <a:pos x="100" y="67"/>
                </a:cxn>
                <a:cxn ang="0">
                  <a:pos x="100" y="25"/>
                </a:cxn>
                <a:cxn ang="0">
                  <a:pos x="101" y="25"/>
                </a:cxn>
                <a:cxn ang="0">
                  <a:pos x="113" y="10"/>
                </a:cxn>
                <a:cxn ang="0">
                  <a:pos x="113" y="9"/>
                </a:cxn>
                <a:cxn ang="0">
                  <a:pos x="106" y="9"/>
                </a:cxn>
                <a:cxn ang="0">
                  <a:pos x="97" y="6"/>
                </a:cxn>
                <a:cxn ang="0">
                  <a:pos x="87" y="7"/>
                </a:cxn>
                <a:cxn ang="0">
                  <a:pos x="82" y="12"/>
                </a:cxn>
                <a:cxn ang="0">
                  <a:pos x="77" y="15"/>
                </a:cxn>
                <a:cxn ang="0">
                  <a:pos x="55" y="12"/>
                </a:cxn>
                <a:cxn ang="0">
                  <a:pos x="37" y="0"/>
                </a:cxn>
                <a:cxn ang="0">
                  <a:pos x="30" y="0"/>
                </a:cxn>
                <a:cxn ang="0">
                  <a:pos x="27" y="0"/>
                </a:cxn>
                <a:cxn ang="0">
                  <a:pos x="7" y="0"/>
                </a:cxn>
                <a:cxn ang="0">
                  <a:pos x="4" y="2"/>
                </a:cxn>
                <a:cxn ang="0">
                  <a:pos x="0" y="7"/>
                </a:cxn>
                <a:cxn ang="0">
                  <a:pos x="1" y="7"/>
                </a:cxn>
                <a:cxn ang="0">
                  <a:pos x="1" y="7"/>
                </a:cxn>
                <a:cxn ang="0">
                  <a:pos x="4" y="9"/>
                </a:cxn>
                <a:cxn ang="0">
                  <a:pos x="5" y="9"/>
                </a:cxn>
                <a:cxn ang="0">
                  <a:pos x="5" y="10"/>
                </a:cxn>
                <a:cxn ang="0">
                  <a:pos x="5" y="12"/>
                </a:cxn>
                <a:cxn ang="0">
                  <a:pos x="5" y="12"/>
                </a:cxn>
                <a:cxn ang="0">
                  <a:pos x="8" y="20"/>
                </a:cxn>
                <a:cxn ang="0">
                  <a:pos x="8" y="22"/>
                </a:cxn>
                <a:cxn ang="0">
                  <a:pos x="11" y="23"/>
                </a:cxn>
                <a:cxn ang="0">
                  <a:pos x="14" y="26"/>
                </a:cxn>
                <a:cxn ang="0">
                  <a:pos x="14" y="39"/>
                </a:cxn>
                <a:cxn ang="0">
                  <a:pos x="14" y="44"/>
                </a:cxn>
                <a:cxn ang="0">
                  <a:pos x="1" y="61"/>
                </a:cxn>
                <a:cxn ang="0">
                  <a:pos x="0" y="66"/>
                </a:cxn>
                <a:cxn ang="0">
                  <a:pos x="3" y="68"/>
                </a:cxn>
                <a:cxn ang="0">
                  <a:pos x="3" y="70"/>
                </a:cxn>
                <a:cxn ang="0">
                  <a:pos x="4" y="70"/>
                </a:cxn>
                <a:cxn ang="0">
                  <a:pos x="7" y="68"/>
                </a:cxn>
                <a:cxn ang="0">
                  <a:pos x="11" y="68"/>
                </a:cxn>
                <a:cxn ang="0">
                  <a:pos x="11" y="70"/>
                </a:cxn>
                <a:cxn ang="0">
                  <a:pos x="8" y="71"/>
                </a:cxn>
                <a:cxn ang="0">
                  <a:pos x="7" y="73"/>
                </a:cxn>
                <a:cxn ang="0">
                  <a:pos x="4" y="73"/>
                </a:cxn>
                <a:cxn ang="0">
                  <a:pos x="1" y="76"/>
                </a:cxn>
                <a:cxn ang="0">
                  <a:pos x="4" y="79"/>
                </a:cxn>
                <a:cxn ang="0">
                  <a:pos x="53" y="108"/>
                </a:cxn>
                <a:cxn ang="0">
                  <a:pos x="56" y="118"/>
                </a:cxn>
                <a:cxn ang="0">
                  <a:pos x="77" y="131"/>
                </a:cxn>
                <a:cxn ang="0">
                  <a:pos x="80" y="129"/>
                </a:cxn>
                <a:cxn ang="0">
                  <a:pos x="88" y="111"/>
                </a:cxn>
                <a:cxn ang="0">
                  <a:pos x="90" y="106"/>
                </a:cxn>
                <a:cxn ang="0">
                  <a:pos x="93" y="102"/>
                </a:cxn>
                <a:cxn ang="0">
                  <a:pos x="98" y="99"/>
                </a:cxn>
                <a:cxn ang="0">
                  <a:pos x="98" y="96"/>
                </a:cxn>
                <a:cxn ang="0">
                  <a:pos x="101" y="93"/>
                </a:cxn>
                <a:cxn ang="0">
                  <a:pos x="103" y="93"/>
                </a:cxn>
                <a:cxn ang="0">
                  <a:pos x="104" y="92"/>
                </a:cxn>
                <a:cxn ang="0">
                  <a:pos x="107" y="90"/>
                </a:cxn>
                <a:cxn ang="0">
                  <a:pos x="109" y="89"/>
                </a:cxn>
                <a:cxn ang="0">
                  <a:pos x="109" y="87"/>
                </a:cxn>
                <a:cxn ang="0">
                  <a:pos x="100" y="77"/>
                </a:cxn>
                <a:cxn ang="0">
                  <a:pos x="100" y="67"/>
                </a:cxn>
              </a:cxnLst>
              <a:rect l="0" t="0" r="r" b="b"/>
              <a:pathLst>
                <a:path w="113" h="131">
                  <a:moveTo>
                    <a:pt x="100" y="67"/>
                  </a:moveTo>
                  <a:lnTo>
                    <a:pt x="100" y="25"/>
                  </a:lnTo>
                  <a:lnTo>
                    <a:pt x="101" y="25"/>
                  </a:lnTo>
                  <a:lnTo>
                    <a:pt x="113" y="10"/>
                  </a:lnTo>
                  <a:lnTo>
                    <a:pt x="113" y="9"/>
                  </a:lnTo>
                  <a:lnTo>
                    <a:pt x="106" y="9"/>
                  </a:lnTo>
                  <a:lnTo>
                    <a:pt x="97" y="6"/>
                  </a:lnTo>
                  <a:lnTo>
                    <a:pt x="87" y="7"/>
                  </a:lnTo>
                  <a:lnTo>
                    <a:pt x="82" y="12"/>
                  </a:lnTo>
                  <a:lnTo>
                    <a:pt x="77" y="15"/>
                  </a:lnTo>
                  <a:lnTo>
                    <a:pt x="55" y="12"/>
                  </a:lnTo>
                  <a:lnTo>
                    <a:pt x="37" y="0"/>
                  </a:lnTo>
                  <a:lnTo>
                    <a:pt x="30" y="0"/>
                  </a:lnTo>
                  <a:lnTo>
                    <a:pt x="27" y="0"/>
                  </a:lnTo>
                  <a:lnTo>
                    <a:pt x="7" y="0"/>
                  </a:lnTo>
                  <a:lnTo>
                    <a:pt x="4" y="2"/>
                  </a:lnTo>
                  <a:lnTo>
                    <a:pt x="0" y="7"/>
                  </a:lnTo>
                  <a:lnTo>
                    <a:pt x="1" y="7"/>
                  </a:lnTo>
                  <a:lnTo>
                    <a:pt x="1" y="7"/>
                  </a:lnTo>
                  <a:lnTo>
                    <a:pt x="4" y="9"/>
                  </a:lnTo>
                  <a:lnTo>
                    <a:pt x="5" y="9"/>
                  </a:lnTo>
                  <a:lnTo>
                    <a:pt x="5" y="10"/>
                  </a:lnTo>
                  <a:lnTo>
                    <a:pt x="5" y="12"/>
                  </a:lnTo>
                  <a:lnTo>
                    <a:pt x="5" y="12"/>
                  </a:lnTo>
                  <a:lnTo>
                    <a:pt x="8" y="20"/>
                  </a:lnTo>
                  <a:lnTo>
                    <a:pt x="8" y="22"/>
                  </a:lnTo>
                  <a:lnTo>
                    <a:pt x="11" y="23"/>
                  </a:lnTo>
                  <a:lnTo>
                    <a:pt x="14" y="26"/>
                  </a:lnTo>
                  <a:lnTo>
                    <a:pt x="14" y="39"/>
                  </a:lnTo>
                  <a:lnTo>
                    <a:pt x="14" y="44"/>
                  </a:lnTo>
                  <a:lnTo>
                    <a:pt x="1" y="61"/>
                  </a:lnTo>
                  <a:lnTo>
                    <a:pt x="0" y="66"/>
                  </a:lnTo>
                  <a:lnTo>
                    <a:pt x="3" y="68"/>
                  </a:lnTo>
                  <a:lnTo>
                    <a:pt x="3" y="70"/>
                  </a:lnTo>
                  <a:lnTo>
                    <a:pt x="4" y="70"/>
                  </a:lnTo>
                  <a:lnTo>
                    <a:pt x="7" y="68"/>
                  </a:lnTo>
                  <a:lnTo>
                    <a:pt x="11" y="68"/>
                  </a:lnTo>
                  <a:lnTo>
                    <a:pt x="11" y="70"/>
                  </a:lnTo>
                  <a:lnTo>
                    <a:pt x="8" y="71"/>
                  </a:lnTo>
                  <a:lnTo>
                    <a:pt x="7" y="73"/>
                  </a:lnTo>
                  <a:lnTo>
                    <a:pt x="4" y="73"/>
                  </a:lnTo>
                  <a:lnTo>
                    <a:pt x="1" y="76"/>
                  </a:lnTo>
                  <a:lnTo>
                    <a:pt x="4" y="79"/>
                  </a:lnTo>
                  <a:lnTo>
                    <a:pt x="53" y="108"/>
                  </a:lnTo>
                  <a:lnTo>
                    <a:pt x="56" y="118"/>
                  </a:lnTo>
                  <a:lnTo>
                    <a:pt x="77" y="131"/>
                  </a:lnTo>
                  <a:lnTo>
                    <a:pt x="80" y="129"/>
                  </a:lnTo>
                  <a:lnTo>
                    <a:pt x="88" y="111"/>
                  </a:lnTo>
                  <a:lnTo>
                    <a:pt x="90" y="106"/>
                  </a:lnTo>
                  <a:lnTo>
                    <a:pt x="93" y="102"/>
                  </a:lnTo>
                  <a:lnTo>
                    <a:pt x="98" y="99"/>
                  </a:lnTo>
                  <a:lnTo>
                    <a:pt x="98" y="96"/>
                  </a:lnTo>
                  <a:lnTo>
                    <a:pt x="101" y="93"/>
                  </a:lnTo>
                  <a:lnTo>
                    <a:pt x="103" y="93"/>
                  </a:lnTo>
                  <a:lnTo>
                    <a:pt x="104" y="92"/>
                  </a:lnTo>
                  <a:lnTo>
                    <a:pt x="107" y="90"/>
                  </a:lnTo>
                  <a:lnTo>
                    <a:pt x="109" y="89"/>
                  </a:lnTo>
                  <a:lnTo>
                    <a:pt x="109" y="87"/>
                  </a:lnTo>
                  <a:lnTo>
                    <a:pt x="100" y="77"/>
                  </a:lnTo>
                  <a:lnTo>
                    <a:pt x="100" y="6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31" name="Freeform 1069"/>
            <p:cNvSpPr>
              <a:spLocks/>
            </p:cNvSpPr>
            <p:nvPr/>
          </p:nvSpPr>
          <p:spPr bwMode="auto">
            <a:xfrm>
              <a:off x="6562259" y="3207693"/>
              <a:ext cx="103580" cy="135893"/>
            </a:xfrm>
            <a:custGeom>
              <a:avLst/>
              <a:gdLst/>
              <a:ahLst/>
              <a:cxnLst>
                <a:cxn ang="0">
                  <a:pos x="100" y="67"/>
                </a:cxn>
                <a:cxn ang="0">
                  <a:pos x="100" y="25"/>
                </a:cxn>
                <a:cxn ang="0">
                  <a:pos x="101" y="25"/>
                </a:cxn>
                <a:cxn ang="0">
                  <a:pos x="113" y="10"/>
                </a:cxn>
                <a:cxn ang="0">
                  <a:pos x="113" y="9"/>
                </a:cxn>
                <a:cxn ang="0">
                  <a:pos x="106" y="9"/>
                </a:cxn>
                <a:cxn ang="0">
                  <a:pos x="97" y="6"/>
                </a:cxn>
                <a:cxn ang="0">
                  <a:pos x="87" y="7"/>
                </a:cxn>
                <a:cxn ang="0">
                  <a:pos x="82" y="12"/>
                </a:cxn>
                <a:cxn ang="0">
                  <a:pos x="77" y="15"/>
                </a:cxn>
                <a:cxn ang="0">
                  <a:pos x="55" y="12"/>
                </a:cxn>
                <a:cxn ang="0">
                  <a:pos x="37" y="0"/>
                </a:cxn>
                <a:cxn ang="0">
                  <a:pos x="30" y="0"/>
                </a:cxn>
                <a:cxn ang="0">
                  <a:pos x="27" y="0"/>
                </a:cxn>
                <a:cxn ang="0">
                  <a:pos x="7" y="0"/>
                </a:cxn>
                <a:cxn ang="0">
                  <a:pos x="4" y="2"/>
                </a:cxn>
                <a:cxn ang="0">
                  <a:pos x="0" y="7"/>
                </a:cxn>
                <a:cxn ang="0">
                  <a:pos x="1" y="7"/>
                </a:cxn>
                <a:cxn ang="0">
                  <a:pos x="1" y="7"/>
                </a:cxn>
                <a:cxn ang="0">
                  <a:pos x="4" y="9"/>
                </a:cxn>
                <a:cxn ang="0">
                  <a:pos x="5" y="9"/>
                </a:cxn>
                <a:cxn ang="0">
                  <a:pos x="5" y="10"/>
                </a:cxn>
                <a:cxn ang="0">
                  <a:pos x="5" y="12"/>
                </a:cxn>
                <a:cxn ang="0">
                  <a:pos x="5" y="12"/>
                </a:cxn>
                <a:cxn ang="0">
                  <a:pos x="8" y="20"/>
                </a:cxn>
                <a:cxn ang="0">
                  <a:pos x="8" y="22"/>
                </a:cxn>
                <a:cxn ang="0">
                  <a:pos x="11" y="23"/>
                </a:cxn>
                <a:cxn ang="0">
                  <a:pos x="14" y="26"/>
                </a:cxn>
                <a:cxn ang="0">
                  <a:pos x="14" y="39"/>
                </a:cxn>
                <a:cxn ang="0">
                  <a:pos x="14" y="44"/>
                </a:cxn>
                <a:cxn ang="0">
                  <a:pos x="1" y="61"/>
                </a:cxn>
                <a:cxn ang="0">
                  <a:pos x="0" y="66"/>
                </a:cxn>
                <a:cxn ang="0">
                  <a:pos x="3" y="68"/>
                </a:cxn>
                <a:cxn ang="0">
                  <a:pos x="3" y="70"/>
                </a:cxn>
                <a:cxn ang="0">
                  <a:pos x="4" y="70"/>
                </a:cxn>
                <a:cxn ang="0">
                  <a:pos x="7" y="68"/>
                </a:cxn>
                <a:cxn ang="0">
                  <a:pos x="11" y="68"/>
                </a:cxn>
                <a:cxn ang="0">
                  <a:pos x="11" y="70"/>
                </a:cxn>
                <a:cxn ang="0">
                  <a:pos x="8" y="71"/>
                </a:cxn>
                <a:cxn ang="0">
                  <a:pos x="7" y="73"/>
                </a:cxn>
                <a:cxn ang="0">
                  <a:pos x="4" y="73"/>
                </a:cxn>
                <a:cxn ang="0">
                  <a:pos x="1" y="76"/>
                </a:cxn>
                <a:cxn ang="0">
                  <a:pos x="4" y="79"/>
                </a:cxn>
                <a:cxn ang="0">
                  <a:pos x="53" y="108"/>
                </a:cxn>
                <a:cxn ang="0">
                  <a:pos x="56" y="118"/>
                </a:cxn>
                <a:cxn ang="0">
                  <a:pos x="77" y="131"/>
                </a:cxn>
                <a:cxn ang="0">
                  <a:pos x="80" y="129"/>
                </a:cxn>
                <a:cxn ang="0">
                  <a:pos x="88" y="111"/>
                </a:cxn>
                <a:cxn ang="0">
                  <a:pos x="90" y="106"/>
                </a:cxn>
                <a:cxn ang="0">
                  <a:pos x="93" y="102"/>
                </a:cxn>
                <a:cxn ang="0">
                  <a:pos x="98" y="99"/>
                </a:cxn>
                <a:cxn ang="0">
                  <a:pos x="98" y="96"/>
                </a:cxn>
                <a:cxn ang="0">
                  <a:pos x="101" y="93"/>
                </a:cxn>
                <a:cxn ang="0">
                  <a:pos x="103" y="93"/>
                </a:cxn>
                <a:cxn ang="0">
                  <a:pos x="104" y="92"/>
                </a:cxn>
                <a:cxn ang="0">
                  <a:pos x="107" y="90"/>
                </a:cxn>
                <a:cxn ang="0">
                  <a:pos x="109" y="89"/>
                </a:cxn>
                <a:cxn ang="0">
                  <a:pos x="109" y="87"/>
                </a:cxn>
                <a:cxn ang="0">
                  <a:pos x="100" y="77"/>
                </a:cxn>
                <a:cxn ang="0">
                  <a:pos x="100" y="67"/>
                </a:cxn>
              </a:cxnLst>
              <a:rect l="0" t="0" r="r" b="b"/>
              <a:pathLst>
                <a:path w="113" h="131">
                  <a:moveTo>
                    <a:pt x="100" y="67"/>
                  </a:moveTo>
                  <a:lnTo>
                    <a:pt x="100" y="25"/>
                  </a:lnTo>
                  <a:lnTo>
                    <a:pt x="101" y="25"/>
                  </a:lnTo>
                  <a:lnTo>
                    <a:pt x="113" y="10"/>
                  </a:lnTo>
                  <a:lnTo>
                    <a:pt x="113" y="9"/>
                  </a:lnTo>
                  <a:lnTo>
                    <a:pt x="106" y="9"/>
                  </a:lnTo>
                  <a:lnTo>
                    <a:pt x="97" y="6"/>
                  </a:lnTo>
                  <a:lnTo>
                    <a:pt x="87" y="7"/>
                  </a:lnTo>
                  <a:lnTo>
                    <a:pt x="82" y="12"/>
                  </a:lnTo>
                  <a:lnTo>
                    <a:pt x="77" y="15"/>
                  </a:lnTo>
                  <a:lnTo>
                    <a:pt x="55" y="12"/>
                  </a:lnTo>
                  <a:lnTo>
                    <a:pt x="37" y="0"/>
                  </a:lnTo>
                  <a:lnTo>
                    <a:pt x="30" y="0"/>
                  </a:lnTo>
                  <a:lnTo>
                    <a:pt x="27" y="0"/>
                  </a:lnTo>
                  <a:lnTo>
                    <a:pt x="7" y="0"/>
                  </a:lnTo>
                  <a:lnTo>
                    <a:pt x="4" y="2"/>
                  </a:lnTo>
                  <a:lnTo>
                    <a:pt x="0" y="7"/>
                  </a:lnTo>
                  <a:lnTo>
                    <a:pt x="1" y="7"/>
                  </a:lnTo>
                  <a:lnTo>
                    <a:pt x="1" y="7"/>
                  </a:lnTo>
                  <a:lnTo>
                    <a:pt x="4" y="9"/>
                  </a:lnTo>
                  <a:lnTo>
                    <a:pt x="5" y="9"/>
                  </a:lnTo>
                  <a:lnTo>
                    <a:pt x="5" y="10"/>
                  </a:lnTo>
                  <a:lnTo>
                    <a:pt x="5" y="12"/>
                  </a:lnTo>
                  <a:lnTo>
                    <a:pt x="5" y="12"/>
                  </a:lnTo>
                  <a:lnTo>
                    <a:pt x="8" y="20"/>
                  </a:lnTo>
                  <a:lnTo>
                    <a:pt x="8" y="22"/>
                  </a:lnTo>
                  <a:lnTo>
                    <a:pt x="11" y="23"/>
                  </a:lnTo>
                  <a:lnTo>
                    <a:pt x="14" y="26"/>
                  </a:lnTo>
                  <a:lnTo>
                    <a:pt x="14" y="39"/>
                  </a:lnTo>
                  <a:lnTo>
                    <a:pt x="14" y="44"/>
                  </a:lnTo>
                  <a:lnTo>
                    <a:pt x="1" y="61"/>
                  </a:lnTo>
                  <a:lnTo>
                    <a:pt x="0" y="66"/>
                  </a:lnTo>
                  <a:lnTo>
                    <a:pt x="3" y="68"/>
                  </a:lnTo>
                  <a:lnTo>
                    <a:pt x="3" y="70"/>
                  </a:lnTo>
                  <a:lnTo>
                    <a:pt x="4" y="70"/>
                  </a:lnTo>
                  <a:lnTo>
                    <a:pt x="7" y="68"/>
                  </a:lnTo>
                  <a:lnTo>
                    <a:pt x="11" y="68"/>
                  </a:lnTo>
                  <a:lnTo>
                    <a:pt x="11" y="70"/>
                  </a:lnTo>
                  <a:lnTo>
                    <a:pt x="8" y="71"/>
                  </a:lnTo>
                  <a:lnTo>
                    <a:pt x="7" y="73"/>
                  </a:lnTo>
                  <a:lnTo>
                    <a:pt x="4" y="73"/>
                  </a:lnTo>
                  <a:lnTo>
                    <a:pt x="1" y="76"/>
                  </a:lnTo>
                  <a:lnTo>
                    <a:pt x="4" y="79"/>
                  </a:lnTo>
                  <a:lnTo>
                    <a:pt x="53" y="108"/>
                  </a:lnTo>
                  <a:lnTo>
                    <a:pt x="56" y="118"/>
                  </a:lnTo>
                  <a:lnTo>
                    <a:pt x="77" y="131"/>
                  </a:lnTo>
                  <a:lnTo>
                    <a:pt x="80" y="129"/>
                  </a:lnTo>
                  <a:lnTo>
                    <a:pt x="88" y="111"/>
                  </a:lnTo>
                  <a:lnTo>
                    <a:pt x="90" y="106"/>
                  </a:lnTo>
                  <a:lnTo>
                    <a:pt x="93" y="102"/>
                  </a:lnTo>
                  <a:lnTo>
                    <a:pt x="98" y="99"/>
                  </a:lnTo>
                  <a:lnTo>
                    <a:pt x="98" y="96"/>
                  </a:lnTo>
                  <a:lnTo>
                    <a:pt x="101" y="93"/>
                  </a:lnTo>
                  <a:lnTo>
                    <a:pt x="103" y="93"/>
                  </a:lnTo>
                  <a:lnTo>
                    <a:pt x="104" y="92"/>
                  </a:lnTo>
                  <a:lnTo>
                    <a:pt x="107" y="90"/>
                  </a:lnTo>
                  <a:lnTo>
                    <a:pt x="109" y="89"/>
                  </a:lnTo>
                  <a:lnTo>
                    <a:pt x="109" y="87"/>
                  </a:lnTo>
                  <a:lnTo>
                    <a:pt x="100" y="77"/>
                  </a:lnTo>
                  <a:lnTo>
                    <a:pt x="100" y="6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32" name="Freeform 1070"/>
            <p:cNvSpPr>
              <a:spLocks/>
            </p:cNvSpPr>
            <p:nvPr/>
          </p:nvSpPr>
          <p:spPr bwMode="auto">
            <a:xfrm>
              <a:off x="6849299" y="2516054"/>
              <a:ext cx="223839" cy="166317"/>
            </a:xfrm>
            <a:custGeom>
              <a:avLst/>
              <a:gdLst/>
              <a:ahLst/>
              <a:cxnLst>
                <a:cxn ang="0">
                  <a:pos x="15" y="86"/>
                </a:cxn>
                <a:cxn ang="0">
                  <a:pos x="15" y="79"/>
                </a:cxn>
                <a:cxn ang="0">
                  <a:pos x="16" y="71"/>
                </a:cxn>
                <a:cxn ang="0">
                  <a:pos x="26" y="67"/>
                </a:cxn>
                <a:cxn ang="0">
                  <a:pos x="29" y="63"/>
                </a:cxn>
                <a:cxn ang="0">
                  <a:pos x="34" y="61"/>
                </a:cxn>
                <a:cxn ang="0">
                  <a:pos x="35" y="58"/>
                </a:cxn>
                <a:cxn ang="0">
                  <a:pos x="48" y="65"/>
                </a:cxn>
                <a:cxn ang="0">
                  <a:pos x="55" y="67"/>
                </a:cxn>
                <a:cxn ang="0">
                  <a:pos x="57" y="73"/>
                </a:cxn>
                <a:cxn ang="0">
                  <a:pos x="58" y="77"/>
                </a:cxn>
                <a:cxn ang="0">
                  <a:pos x="58" y="83"/>
                </a:cxn>
                <a:cxn ang="0">
                  <a:pos x="77" y="87"/>
                </a:cxn>
                <a:cxn ang="0">
                  <a:pos x="86" y="89"/>
                </a:cxn>
                <a:cxn ang="0">
                  <a:pos x="87" y="97"/>
                </a:cxn>
                <a:cxn ang="0">
                  <a:pos x="92" y="106"/>
                </a:cxn>
                <a:cxn ang="0">
                  <a:pos x="119" y="128"/>
                </a:cxn>
                <a:cxn ang="0">
                  <a:pos x="140" y="140"/>
                </a:cxn>
                <a:cxn ang="0">
                  <a:pos x="148" y="144"/>
                </a:cxn>
                <a:cxn ang="0">
                  <a:pos x="150" y="158"/>
                </a:cxn>
                <a:cxn ang="0">
                  <a:pos x="160" y="158"/>
                </a:cxn>
                <a:cxn ang="0">
                  <a:pos x="167" y="158"/>
                </a:cxn>
                <a:cxn ang="0">
                  <a:pos x="173" y="147"/>
                </a:cxn>
                <a:cxn ang="0">
                  <a:pos x="176" y="142"/>
                </a:cxn>
                <a:cxn ang="0">
                  <a:pos x="173" y="138"/>
                </a:cxn>
                <a:cxn ang="0">
                  <a:pos x="173" y="128"/>
                </a:cxn>
                <a:cxn ang="0">
                  <a:pos x="166" y="126"/>
                </a:cxn>
                <a:cxn ang="0">
                  <a:pos x="164" y="121"/>
                </a:cxn>
                <a:cxn ang="0">
                  <a:pos x="169" y="115"/>
                </a:cxn>
                <a:cxn ang="0">
                  <a:pos x="179" y="116"/>
                </a:cxn>
                <a:cxn ang="0">
                  <a:pos x="183" y="108"/>
                </a:cxn>
                <a:cxn ang="0">
                  <a:pos x="190" y="103"/>
                </a:cxn>
                <a:cxn ang="0">
                  <a:pos x="190" y="99"/>
                </a:cxn>
                <a:cxn ang="0">
                  <a:pos x="193" y="96"/>
                </a:cxn>
                <a:cxn ang="0">
                  <a:pos x="205" y="90"/>
                </a:cxn>
                <a:cxn ang="0">
                  <a:pos x="208" y="92"/>
                </a:cxn>
                <a:cxn ang="0">
                  <a:pos x="209" y="97"/>
                </a:cxn>
                <a:cxn ang="0">
                  <a:pos x="208" y="105"/>
                </a:cxn>
                <a:cxn ang="0">
                  <a:pos x="218" y="103"/>
                </a:cxn>
                <a:cxn ang="0">
                  <a:pos x="228" y="103"/>
                </a:cxn>
                <a:cxn ang="0">
                  <a:pos x="233" y="100"/>
                </a:cxn>
                <a:cxn ang="0">
                  <a:pos x="238" y="99"/>
                </a:cxn>
                <a:cxn ang="0">
                  <a:pos x="244" y="93"/>
                </a:cxn>
                <a:cxn ang="0">
                  <a:pos x="235" y="92"/>
                </a:cxn>
                <a:cxn ang="0">
                  <a:pos x="225" y="86"/>
                </a:cxn>
                <a:cxn ang="0">
                  <a:pos x="222" y="80"/>
                </a:cxn>
                <a:cxn ang="0">
                  <a:pos x="218" y="87"/>
                </a:cxn>
                <a:cxn ang="0">
                  <a:pos x="209" y="81"/>
                </a:cxn>
                <a:cxn ang="0">
                  <a:pos x="204" y="81"/>
                </a:cxn>
                <a:cxn ang="0">
                  <a:pos x="217" y="68"/>
                </a:cxn>
                <a:cxn ang="0">
                  <a:pos x="211" y="67"/>
                </a:cxn>
                <a:cxn ang="0">
                  <a:pos x="205" y="70"/>
                </a:cxn>
                <a:cxn ang="0">
                  <a:pos x="192" y="80"/>
                </a:cxn>
                <a:cxn ang="0">
                  <a:pos x="185" y="87"/>
                </a:cxn>
                <a:cxn ang="0">
                  <a:pos x="156" y="86"/>
                </a:cxn>
                <a:cxn ang="0">
                  <a:pos x="144" y="65"/>
                </a:cxn>
                <a:cxn ang="0">
                  <a:pos x="143" y="54"/>
                </a:cxn>
                <a:cxn ang="0">
                  <a:pos x="124" y="39"/>
                </a:cxn>
                <a:cxn ang="0">
                  <a:pos x="0" y="13"/>
                </a:cxn>
              </a:cxnLst>
              <a:rect l="0" t="0" r="r" b="b"/>
              <a:pathLst>
                <a:path w="244" h="160">
                  <a:moveTo>
                    <a:pt x="0" y="13"/>
                  </a:moveTo>
                  <a:lnTo>
                    <a:pt x="0" y="84"/>
                  </a:lnTo>
                  <a:lnTo>
                    <a:pt x="15" y="86"/>
                  </a:lnTo>
                  <a:lnTo>
                    <a:pt x="16" y="84"/>
                  </a:lnTo>
                  <a:lnTo>
                    <a:pt x="15" y="81"/>
                  </a:lnTo>
                  <a:lnTo>
                    <a:pt x="15" y="79"/>
                  </a:lnTo>
                  <a:lnTo>
                    <a:pt x="13" y="74"/>
                  </a:lnTo>
                  <a:lnTo>
                    <a:pt x="15" y="73"/>
                  </a:lnTo>
                  <a:lnTo>
                    <a:pt x="16" y="71"/>
                  </a:lnTo>
                  <a:lnTo>
                    <a:pt x="19" y="68"/>
                  </a:lnTo>
                  <a:lnTo>
                    <a:pt x="25" y="67"/>
                  </a:lnTo>
                  <a:lnTo>
                    <a:pt x="26" y="67"/>
                  </a:lnTo>
                  <a:lnTo>
                    <a:pt x="28" y="65"/>
                  </a:lnTo>
                  <a:lnTo>
                    <a:pt x="28" y="63"/>
                  </a:lnTo>
                  <a:lnTo>
                    <a:pt x="29" y="63"/>
                  </a:lnTo>
                  <a:lnTo>
                    <a:pt x="34" y="64"/>
                  </a:lnTo>
                  <a:lnTo>
                    <a:pt x="35" y="65"/>
                  </a:lnTo>
                  <a:lnTo>
                    <a:pt x="34" y="61"/>
                  </a:lnTo>
                  <a:lnTo>
                    <a:pt x="31" y="60"/>
                  </a:lnTo>
                  <a:lnTo>
                    <a:pt x="34" y="58"/>
                  </a:lnTo>
                  <a:lnTo>
                    <a:pt x="35" y="58"/>
                  </a:lnTo>
                  <a:lnTo>
                    <a:pt x="37" y="58"/>
                  </a:lnTo>
                  <a:lnTo>
                    <a:pt x="38" y="57"/>
                  </a:lnTo>
                  <a:lnTo>
                    <a:pt x="48" y="65"/>
                  </a:lnTo>
                  <a:lnTo>
                    <a:pt x="50" y="65"/>
                  </a:lnTo>
                  <a:lnTo>
                    <a:pt x="53" y="65"/>
                  </a:lnTo>
                  <a:lnTo>
                    <a:pt x="55" y="67"/>
                  </a:lnTo>
                  <a:lnTo>
                    <a:pt x="57" y="68"/>
                  </a:lnTo>
                  <a:lnTo>
                    <a:pt x="57" y="70"/>
                  </a:lnTo>
                  <a:lnTo>
                    <a:pt x="57" y="73"/>
                  </a:lnTo>
                  <a:lnTo>
                    <a:pt x="60" y="74"/>
                  </a:lnTo>
                  <a:lnTo>
                    <a:pt x="58" y="76"/>
                  </a:lnTo>
                  <a:lnTo>
                    <a:pt x="58" y="77"/>
                  </a:lnTo>
                  <a:lnTo>
                    <a:pt x="58" y="80"/>
                  </a:lnTo>
                  <a:lnTo>
                    <a:pt x="58" y="81"/>
                  </a:lnTo>
                  <a:lnTo>
                    <a:pt x="58" y="83"/>
                  </a:lnTo>
                  <a:lnTo>
                    <a:pt x="63" y="86"/>
                  </a:lnTo>
                  <a:lnTo>
                    <a:pt x="76" y="87"/>
                  </a:lnTo>
                  <a:lnTo>
                    <a:pt x="77" y="87"/>
                  </a:lnTo>
                  <a:lnTo>
                    <a:pt x="77" y="84"/>
                  </a:lnTo>
                  <a:lnTo>
                    <a:pt x="80" y="84"/>
                  </a:lnTo>
                  <a:lnTo>
                    <a:pt x="86" y="89"/>
                  </a:lnTo>
                  <a:lnTo>
                    <a:pt x="86" y="92"/>
                  </a:lnTo>
                  <a:lnTo>
                    <a:pt x="87" y="96"/>
                  </a:lnTo>
                  <a:lnTo>
                    <a:pt x="87" y="97"/>
                  </a:lnTo>
                  <a:lnTo>
                    <a:pt x="92" y="100"/>
                  </a:lnTo>
                  <a:lnTo>
                    <a:pt x="92" y="105"/>
                  </a:lnTo>
                  <a:lnTo>
                    <a:pt x="92" y="106"/>
                  </a:lnTo>
                  <a:lnTo>
                    <a:pt x="95" y="112"/>
                  </a:lnTo>
                  <a:lnTo>
                    <a:pt x="115" y="126"/>
                  </a:lnTo>
                  <a:lnTo>
                    <a:pt x="119" y="128"/>
                  </a:lnTo>
                  <a:lnTo>
                    <a:pt x="135" y="141"/>
                  </a:lnTo>
                  <a:lnTo>
                    <a:pt x="137" y="141"/>
                  </a:lnTo>
                  <a:lnTo>
                    <a:pt x="140" y="140"/>
                  </a:lnTo>
                  <a:lnTo>
                    <a:pt x="141" y="140"/>
                  </a:lnTo>
                  <a:lnTo>
                    <a:pt x="147" y="142"/>
                  </a:lnTo>
                  <a:lnTo>
                    <a:pt x="148" y="144"/>
                  </a:lnTo>
                  <a:lnTo>
                    <a:pt x="151" y="147"/>
                  </a:lnTo>
                  <a:lnTo>
                    <a:pt x="150" y="150"/>
                  </a:lnTo>
                  <a:lnTo>
                    <a:pt x="150" y="158"/>
                  </a:lnTo>
                  <a:lnTo>
                    <a:pt x="150" y="158"/>
                  </a:lnTo>
                  <a:lnTo>
                    <a:pt x="157" y="157"/>
                  </a:lnTo>
                  <a:lnTo>
                    <a:pt x="160" y="158"/>
                  </a:lnTo>
                  <a:lnTo>
                    <a:pt x="161" y="160"/>
                  </a:lnTo>
                  <a:lnTo>
                    <a:pt x="163" y="158"/>
                  </a:lnTo>
                  <a:lnTo>
                    <a:pt x="167" y="158"/>
                  </a:lnTo>
                  <a:lnTo>
                    <a:pt x="169" y="158"/>
                  </a:lnTo>
                  <a:lnTo>
                    <a:pt x="167" y="156"/>
                  </a:lnTo>
                  <a:lnTo>
                    <a:pt x="173" y="147"/>
                  </a:lnTo>
                  <a:lnTo>
                    <a:pt x="174" y="145"/>
                  </a:lnTo>
                  <a:lnTo>
                    <a:pt x="176" y="144"/>
                  </a:lnTo>
                  <a:lnTo>
                    <a:pt x="176" y="142"/>
                  </a:lnTo>
                  <a:lnTo>
                    <a:pt x="176" y="141"/>
                  </a:lnTo>
                  <a:lnTo>
                    <a:pt x="174" y="140"/>
                  </a:lnTo>
                  <a:lnTo>
                    <a:pt x="173" y="138"/>
                  </a:lnTo>
                  <a:lnTo>
                    <a:pt x="172" y="134"/>
                  </a:lnTo>
                  <a:lnTo>
                    <a:pt x="173" y="129"/>
                  </a:lnTo>
                  <a:lnTo>
                    <a:pt x="173" y="128"/>
                  </a:lnTo>
                  <a:lnTo>
                    <a:pt x="170" y="126"/>
                  </a:lnTo>
                  <a:lnTo>
                    <a:pt x="169" y="126"/>
                  </a:lnTo>
                  <a:lnTo>
                    <a:pt x="166" y="126"/>
                  </a:lnTo>
                  <a:lnTo>
                    <a:pt x="166" y="125"/>
                  </a:lnTo>
                  <a:lnTo>
                    <a:pt x="161" y="122"/>
                  </a:lnTo>
                  <a:lnTo>
                    <a:pt x="164" y="121"/>
                  </a:lnTo>
                  <a:lnTo>
                    <a:pt x="163" y="118"/>
                  </a:lnTo>
                  <a:lnTo>
                    <a:pt x="164" y="116"/>
                  </a:lnTo>
                  <a:lnTo>
                    <a:pt x="169" y="115"/>
                  </a:lnTo>
                  <a:lnTo>
                    <a:pt x="170" y="116"/>
                  </a:lnTo>
                  <a:lnTo>
                    <a:pt x="176" y="118"/>
                  </a:lnTo>
                  <a:lnTo>
                    <a:pt x="179" y="116"/>
                  </a:lnTo>
                  <a:lnTo>
                    <a:pt x="182" y="110"/>
                  </a:lnTo>
                  <a:lnTo>
                    <a:pt x="182" y="109"/>
                  </a:lnTo>
                  <a:lnTo>
                    <a:pt x="183" y="108"/>
                  </a:lnTo>
                  <a:lnTo>
                    <a:pt x="188" y="106"/>
                  </a:lnTo>
                  <a:lnTo>
                    <a:pt x="189" y="105"/>
                  </a:lnTo>
                  <a:lnTo>
                    <a:pt x="190" y="103"/>
                  </a:lnTo>
                  <a:lnTo>
                    <a:pt x="189" y="102"/>
                  </a:lnTo>
                  <a:lnTo>
                    <a:pt x="189" y="99"/>
                  </a:lnTo>
                  <a:lnTo>
                    <a:pt x="190" y="99"/>
                  </a:lnTo>
                  <a:lnTo>
                    <a:pt x="190" y="96"/>
                  </a:lnTo>
                  <a:lnTo>
                    <a:pt x="192" y="95"/>
                  </a:lnTo>
                  <a:lnTo>
                    <a:pt x="193" y="96"/>
                  </a:lnTo>
                  <a:lnTo>
                    <a:pt x="196" y="96"/>
                  </a:lnTo>
                  <a:lnTo>
                    <a:pt x="204" y="92"/>
                  </a:lnTo>
                  <a:lnTo>
                    <a:pt x="205" y="90"/>
                  </a:lnTo>
                  <a:lnTo>
                    <a:pt x="206" y="89"/>
                  </a:lnTo>
                  <a:lnTo>
                    <a:pt x="208" y="89"/>
                  </a:lnTo>
                  <a:lnTo>
                    <a:pt x="208" y="92"/>
                  </a:lnTo>
                  <a:lnTo>
                    <a:pt x="209" y="93"/>
                  </a:lnTo>
                  <a:lnTo>
                    <a:pt x="209" y="95"/>
                  </a:lnTo>
                  <a:lnTo>
                    <a:pt x="209" y="97"/>
                  </a:lnTo>
                  <a:lnTo>
                    <a:pt x="206" y="97"/>
                  </a:lnTo>
                  <a:lnTo>
                    <a:pt x="205" y="99"/>
                  </a:lnTo>
                  <a:lnTo>
                    <a:pt x="208" y="105"/>
                  </a:lnTo>
                  <a:lnTo>
                    <a:pt x="209" y="105"/>
                  </a:lnTo>
                  <a:lnTo>
                    <a:pt x="212" y="103"/>
                  </a:lnTo>
                  <a:lnTo>
                    <a:pt x="218" y="103"/>
                  </a:lnTo>
                  <a:lnTo>
                    <a:pt x="222" y="105"/>
                  </a:lnTo>
                  <a:lnTo>
                    <a:pt x="227" y="105"/>
                  </a:lnTo>
                  <a:lnTo>
                    <a:pt x="228" y="103"/>
                  </a:lnTo>
                  <a:lnTo>
                    <a:pt x="228" y="102"/>
                  </a:lnTo>
                  <a:lnTo>
                    <a:pt x="231" y="100"/>
                  </a:lnTo>
                  <a:lnTo>
                    <a:pt x="233" y="100"/>
                  </a:lnTo>
                  <a:lnTo>
                    <a:pt x="234" y="99"/>
                  </a:lnTo>
                  <a:lnTo>
                    <a:pt x="235" y="99"/>
                  </a:lnTo>
                  <a:lnTo>
                    <a:pt x="238" y="99"/>
                  </a:lnTo>
                  <a:lnTo>
                    <a:pt x="238" y="96"/>
                  </a:lnTo>
                  <a:lnTo>
                    <a:pt x="243" y="95"/>
                  </a:lnTo>
                  <a:lnTo>
                    <a:pt x="244" y="93"/>
                  </a:lnTo>
                  <a:lnTo>
                    <a:pt x="243" y="93"/>
                  </a:lnTo>
                  <a:lnTo>
                    <a:pt x="240" y="93"/>
                  </a:lnTo>
                  <a:lnTo>
                    <a:pt x="235" y="92"/>
                  </a:lnTo>
                  <a:lnTo>
                    <a:pt x="233" y="89"/>
                  </a:lnTo>
                  <a:lnTo>
                    <a:pt x="231" y="89"/>
                  </a:lnTo>
                  <a:lnTo>
                    <a:pt x="225" y="86"/>
                  </a:lnTo>
                  <a:lnTo>
                    <a:pt x="225" y="83"/>
                  </a:lnTo>
                  <a:lnTo>
                    <a:pt x="224" y="81"/>
                  </a:lnTo>
                  <a:lnTo>
                    <a:pt x="222" y="80"/>
                  </a:lnTo>
                  <a:lnTo>
                    <a:pt x="221" y="84"/>
                  </a:lnTo>
                  <a:lnTo>
                    <a:pt x="219" y="86"/>
                  </a:lnTo>
                  <a:lnTo>
                    <a:pt x="218" y="87"/>
                  </a:lnTo>
                  <a:lnTo>
                    <a:pt x="217" y="87"/>
                  </a:lnTo>
                  <a:lnTo>
                    <a:pt x="211" y="86"/>
                  </a:lnTo>
                  <a:lnTo>
                    <a:pt x="209" y="81"/>
                  </a:lnTo>
                  <a:lnTo>
                    <a:pt x="206" y="83"/>
                  </a:lnTo>
                  <a:lnTo>
                    <a:pt x="205" y="81"/>
                  </a:lnTo>
                  <a:lnTo>
                    <a:pt x="204" y="81"/>
                  </a:lnTo>
                  <a:lnTo>
                    <a:pt x="204" y="79"/>
                  </a:lnTo>
                  <a:lnTo>
                    <a:pt x="212" y="70"/>
                  </a:lnTo>
                  <a:lnTo>
                    <a:pt x="217" y="68"/>
                  </a:lnTo>
                  <a:lnTo>
                    <a:pt x="217" y="67"/>
                  </a:lnTo>
                  <a:lnTo>
                    <a:pt x="212" y="65"/>
                  </a:lnTo>
                  <a:lnTo>
                    <a:pt x="211" y="67"/>
                  </a:lnTo>
                  <a:lnTo>
                    <a:pt x="208" y="70"/>
                  </a:lnTo>
                  <a:lnTo>
                    <a:pt x="206" y="70"/>
                  </a:lnTo>
                  <a:lnTo>
                    <a:pt x="205" y="70"/>
                  </a:lnTo>
                  <a:lnTo>
                    <a:pt x="204" y="74"/>
                  </a:lnTo>
                  <a:lnTo>
                    <a:pt x="201" y="76"/>
                  </a:lnTo>
                  <a:lnTo>
                    <a:pt x="192" y="80"/>
                  </a:lnTo>
                  <a:lnTo>
                    <a:pt x="190" y="81"/>
                  </a:lnTo>
                  <a:lnTo>
                    <a:pt x="186" y="83"/>
                  </a:lnTo>
                  <a:lnTo>
                    <a:pt x="185" y="87"/>
                  </a:lnTo>
                  <a:lnTo>
                    <a:pt x="182" y="90"/>
                  </a:lnTo>
                  <a:lnTo>
                    <a:pt x="170" y="84"/>
                  </a:lnTo>
                  <a:lnTo>
                    <a:pt x="156" y="86"/>
                  </a:lnTo>
                  <a:lnTo>
                    <a:pt x="153" y="74"/>
                  </a:lnTo>
                  <a:lnTo>
                    <a:pt x="144" y="73"/>
                  </a:lnTo>
                  <a:lnTo>
                    <a:pt x="144" y="65"/>
                  </a:lnTo>
                  <a:lnTo>
                    <a:pt x="145" y="65"/>
                  </a:lnTo>
                  <a:lnTo>
                    <a:pt x="145" y="54"/>
                  </a:lnTo>
                  <a:lnTo>
                    <a:pt x="143" y="54"/>
                  </a:lnTo>
                  <a:lnTo>
                    <a:pt x="138" y="45"/>
                  </a:lnTo>
                  <a:lnTo>
                    <a:pt x="128" y="38"/>
                  </a:lnTo>
                  <a:lnTo>
                    <a:pt x="124" y="39"/>
                  </a:lnTo>
                  <a:lnTo>
                    <a:pt x="86" y="42"/>
                  </a:lnTo>
                  <a:lnTo>
                    <a:pt x="37" y="0"/>
                  </a:lnTo>
                  <a:lnTo>
                    <a:pt x="0" y="1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33" name="Freeform 1071"/>
            <p:cNvSpPr>
              <a:spLocks/>
            </p:cNvSpPr>
            <p:nvPr/>
          </p:nvSpPr>
          <p:spPr bwMode="auto">
            <a:xfrm>
              <a:off x="6849299" y="2516054"/>
              <a:ext cx="223839" cy="166317"/>
            </a:xfrm>
            <a:custGeom>
              <a:avLst/>
              <a:gdLst/>
              <a:ahLst/>
              <a:cxnLst>
                <a:cxn ang="0">
                  <a:pos x="15" y="86"/>
                </a:cxn>
                <a:cxn ang="0">
                  <a:pos x="15" y="79"/>
                </a:cxn>
                <a:cxn ang="0">
                  <a:pos x="16" y="71"/>
                </a:cxn>
                <a:cxn ang="0">
                  <a:pos x="26" y="67"/>
                </a:cxn>
                <a:cxn ang="0">
                  <a:pos x="29" y="63"/>
                </a:cxn>
                <a:cxn ang="0">
                  <a:pos x="34" y="61"/>
                </a:cxn>
                <a:cxn ang="0">
                  <a:pos x="35" y="58"/>
                </a:cxn>
                <a:cxn ang="0">
                  <a:pos x="48" y="65"/>
                </a:cxn>
                <a:cxn ang="0">
                  <a:pos x="55" y="67"/>
                </a:cxn>
                <a:cxn ang="0">
                  <a:pos x="57" y="73"/>
                </a:cxn>
                <a:cxn ang="0">
                  <a:pos x="58" y="77"/>
                </a:cxn>
                <a:cxn ang="0">
                  <a:pos x="58" y="83"/>
                </a:cxn>
                <a:cxn ang="0">
                  <a:pos x="77" y="87"/>
                </a:cxn>
                <a:cxn ang="0">
                  <a:pos x="86" y="89"/>
                </a:cxn>
                <a:cxn ang="0">
                  <a:pos x="87" y="97"/>
                </a:cxn>
                <a:cxn ang="0">
                  <a:pos x="92" y="106"/>
                </a:cxn>
                <a:cxn ang="0">
                  <a:pos x="119" y="128"/>
                </a:cxn>
                <a:cxn ang="0">
                  <a:pos x="140" y="140"/>
                </a:cxn>
                <a:cxn ang="0">
                  <a:pos x="148" y="144"/>
                </a:cxn>
                <a:cxn ang="0">
                  <a:pos x="150" y="158"/>
                </a:cxn>
                <a:cxn ang="0">
                  <a:pos x="160" y="158"/>
                </a:cxn>
                <a:cxn ang="0">
                  <a:pos x="167" y="158"/>
                </a:cxn>
                <a:cxn ang="0">
                  <a:pos x="173" y="147"/>
                </a:cxn>
                <a:cxn ang="0">
                  <a:pos x="176" y="142"/>
                </a:cxn>
                <a:cxn ang="0">
                  <a:pos x="173" y="138"/>
                </a:cxn>
                <a:cxn ang="0">
                  <a:pos x="173" y="128"/>
                </a:cxn>
                <a:cxn ang="0">
                  <a:pos x="166" y="126"/>
                </a:cxn>
                <a:cxn ang="0">
                  <a:pos x="164" y="121"/>
                </a:cxn>
                <a:cxn ang="0">
                  <a:pos x="169" y="115"/>
                </a:cxn>
                <a:cxn ang="0">
                  <a:pos x="179" y="116"/>
                </a:cxn>
                <a:cxn ang="0">
                  <a:pos x="183" y="108"/>
                </a:cxn>
                <a:cxn ang="0">
                  <a:pos x="190" y="103"/>
                </a:cxn>
                <a:cxn ang="0">
                  <a:pos x="190" y="99"/>
                </a:cxn>
                <a:cxn ang="0">
                  <a:pos x="193" y="96"/>
                </a:cxn>
                <a:cxn ang="0">
                  <a:pos x="205" y="90"/>
                </a:cxn>
                <a:cxn ang="0">
                  <a:pos x="208" y="92"/>
                </a:cxn>
                <a:cxn ang="0">
                  <a:pos x="209" y="97"/>
                </a:cxn>
                <a:cxn ang="0">
                  <a:pos x="208" y="105"/>
                </a:cxn>
                <a:cxn ang="0">
                  <a:pos x="218" y="103"/>
                </a:cxn>
                <a:cxn ang="0">
                  <a:pos x="228" y="103"/>
                </a:cxn>
                <a:cxn ang="0">
                  <a:pos x="233" y="100"/>
                </a:cxn>
                <a:cxn ang="0">
                  <a:pos x="238" y="99"/>
                </a:cxn>
                <a:cxn ang="0">
                  <a:pos x="244" y="93"/>
                </a:cxn>
                <a:cxn ang="0">
                  <a:pos x="235" y="92"/>
                </a:cxn>
                <a:cxn ang="0">
                  <a:pos x="225" y="86"/>
                </a:cxn>
                <a:cxn ang="0">
                  <a:pos x="222" y="80"/>
                </a:cxn>
                <a:cxn ang="0">
                  <a:pos x="218" y="87"/>
                </a:cxn>
                <a:cxn ang="0">
                  <a:pos x="209" y="81"/>
                </a:cxn>
                <a:cxn ang="0">
                  <a:pos x="204" y="81"/>
                </a:cxn>
                <a:cxn ang="0">
                  <a:pos x="217" y="68"/>
                </a:cxn>
                <a:cxn ang="0">
                  <a:pos x="211" y="67"/>
                </a:cxn>
                <a:cxn ang="0">
                  <a:pos x="205" y="70"/>
                </a:cxn>
                <a:cxn ang="0">
                  <a:pos x="192" y="80"/>
                </a:cxn>
                <a:cxn ang="0">
                  <a:pos x="185" y="87"/>
                </a:cxn>
                <a:cxn ang="0">
                  <a:pos x="156" y="86"/>
                </a:cxn>
                <a:cxn ang="0">
                  <a:pos x="144" y="65"/>
                </a:cxn>
                <a:cxn ang="0">
                  <a:pos x="143" y="54"/>
                </a:cxn>
                <a:cxn ang="0">
                  <a:pos x="124" y="39"/>
                </a:cxn>
                <a:cxn ang="0">
                  <a:pos x="0" y="13"/>
                </a:cxn>
              </a:cxnLst>
              <a:rect l="0" t="0" r="r" b="b"/>
              <a:pathLst>
                <a:path w="244" h="160">
                  <a:moveTo>
                    <a:pt x="0" y="13"/>
                  </a:moveTo>
                  <a:lnTo>
                    <a:pt x="0" y="84"/>
                  </a:lnTo>
                  <a:lnTo>
                    <a:pt x="15" y="86"/>
                  </a:lnTo>
                  <a:lnTo>
                    <a:pt x="16" y="84"/>
                  </a:lnTo>
                  <a:lnTo>
                    <a:pt x="15" y="81"/>
                  </a:lnTo>
                  <a:lnTo>
                    <a:pt x="15" y="79"/>
                  </a:lnTo>
                  <a:lnTo>
                    <a:pt x="13" y="74"/>
                  </a:lnTo>
                  <a:lnTo>
                    <a:pt x="15" y="73"/>
                  </a:lnTo>
                  <a:lnTo>
                    <a:pt x="16" y="71"/>
                  </a:lnTo>
                  <a:lnTo>
                    <a:pt x="19" y="68"/>
                  </a:lnTo>
                  <a:lnTo>
                    <a:pt x="25" y="67"/>
                  </a:lnTo>
                  <a:lnTo>
                    <a:pt x="26" y="67"/>
                  </a:lnTo>
                  <a:lnTo>
                    <a:pt x="28" y="65"/>
                  </a:lnTo>
                  <a:lnTo>
                    <a:pt x="28" y="63"/>
                  </a:lnTo>
                  <a:lnTo>
                    <a:pt x="29" y="63"/>
                  </a:lnTo>
                  <a:lnTo>
                    <a:pt x="34" y="64"/>
                  </a:lnTo>
                  <a:lnTo>
                    <a:pt x="35" y="65"/>
                  </a:lnTo>
                  <a:lnTo>
                    <a:pt x="34" y="61"/>
                  </a:lnTo>
                  <a:lnTo>
                    <a:pt x="31" y="60"/>
                  </a:lnTo>
                  <a:lnTo>
                    <a:pt x="34" y="58"/>
                  </a:lnTo>
                  <a:lnTo>
                    <a:pt x="35" y="58"/>
                  </a:lnTo>
                  <a:lnTo>
                    <a:pt x="37" y="58"/>
                  </a:lnTo>
                  <a:lnTo>
                    <a:pt x="38" y="57"/>
                  </a:lnTo>
                  <a:lnTo>
                    <a:pt x="48" y="65"/>
                  </a:lnTo>
                  <a:lnTo>
                    <a:pt x="50" y="65"/>
                  </a:lnTo>
                  <a:lnTo>
                    <a:pt x="53" y="65"/>
                  </a:lnTo>
                  <a:lnTo>
                    <a:pt x="55" y="67"/>
                  </a:lnTo>
                  <a:lnTo>
                    <a:pt x="57" y="68"/>
                  </a:lnTo>
                  <a:lnTo>
                    <a:pt x="57" y="70"/>
                  </a:lnTo>
                  <a:lnTo>
                    <a:pt x="57" y="73"/>
                  </a:lnTo>
                  <a:lnTo>
                    <a:pt x="60" y="74"/>
                  </a:lnTo>
                  <a:lnTo>
                    <a:pt x="58" y="76"/>
                  </a:lnTo>
                  <a:lnTo>
                    <a:pt x="58" y="77"/>
                  </a:lnTo>
                  <a:lnTo>
                    <a:pt x="58" y="80"/>
                  </a:lnTo>
                  <a:lnTo>
                    <a:pt x="58" y="81"/>
                  </a:lnTo>
                  <a:lnTo>
                    <a:pt x="58" y="83"/>
                  </a:lnTo>
                  <a:lnTo>
                    <a:pt x="63" y="86"/>
                  </a:lnTo>
                  <a:lnTo>
                    <a:pt x="76" y="87"/>
                  </a:lnTo>
                  <a:lnTo>
                    <a:pt x="77" y="87"/>
                  </a:lnTo>
                  <a:lnTo>
                    <a:pt x="77" y="84"/>
                  </a:lnTo>
                  <a:lnTo>
                    <a:pt x="80" y="84"/>
                  </a:lnTo>
                  <a:lnTo>
                    <a:pt x="86" y="89"/>
                  </a:lnTo>
                  <a:lnTo>
                    <a:pt x="86" y="92"/>
                  </a:lnTo>
                  <a:lnTo>
                    <a:pt x="87" y="96"/>
                  </a:lnTo>
                  <a:lnTo>
                    <a:pt x="87" y="97"/>
                  </a:lnTo>
                  <a:lnTo>
                    <a:pt x="92" y="100"/>
                  </a:lnTo>
                  <a:lnTo>
                    <a:pt x="92" y="105"/>
                  </a:lnTo>
                  <a:lnTo>
                    <a:pt x="92" y="106"/>
                  </a:lnTo>
                  <a:lnTo>
                    <a:pt x="95" y="112"/>
                  </a:lnTo>
                  <a:lnTo>
                    <a:pt x="115" y="126"/>
                  </a:lnTo>
                  <a:lnTo>
                    <a:pt x="119" y="128"/>
                  </a:lnTo>
                  <a:lnTo>
                    <a:pt x="135" y="141"/>
                  </a:lnTo>
                  <a:lnTo>
                    <a:pt x="137" y="141"/>
                  </a:lnTo>
                  <a:lnTo>
                    <a:pt x="140" y="140"/>
                  </a:lnTo>
                  <a:lnTo>
                    <a:pt x="141" y="140"/>
                  </a:lnTo>
                  <a:lnTo>
                    <a:pt x="147" y="142"/>
                  </a:lnTo>
                  <a:lnTo>
                    <a:pt x="148" y="144"/>
                  </a:lnTo>
                  <a:lnTo>
                    <a:pt x="151" y="147"/>
                  </a:lnTo>
                  <a:lnTo>
                    <a:pt x="150" y="150"/>
                  </a:lnTo>
                  <a:lnTo>
                    <a:pt x="150" y="158"/>
                  </a:lnTo>
                  <a:lnTo>
                    <a:pt x="150" y="158"/>
                  </a:lnTo>
                  <a:lnTo>
                    <a:pt x="157" y="157"/>
                  </a:lnTo>
                  <a:lnTo>
                    <a:pt x="160" y="158"/>
                  </a:lnTo>
                  <a:lnTo>
                    <a:pt x="161" y="160"/>
                  </a:lnTo>
                  <a:lnTo>
                    <a:pt x="163" y="158"/>
                  </a:lnTo>
                  <a:lnTo>
                    <a:pt x="167" y="158"/>
                  </a:lnTo>
                  <a:lnTo>
                    <a:pt x="169" y="158"/>
                  </a:lnTo>
                  <a:lnTo>
                    <a:pt x="167" y="156"/>
                  </a:lnTo>
                  <a:lnTo>
                    <a:pt x="173" y="147"/>
                  </a:lnTo>
                  <a:lnTo>
                    <a:pt x="174" y="145"/>
                  </a:lnTo>
                  <a:lnTo>
                    <a:pt x="176" y="144"/>
                  </a:lnTo>
                  <a:lnTo>
                    <a:pt x="176" y="142"/>
                  </a:lnTo>
                  <a:lnTo>
                    <a:pt x="176" y="141"/>
                  </a:lnTo>
                  <a:lnTo>
                    <a:pt x="174" y="140"/>
                  </a:lnTo>
                  <a:lnTo>
                    <a:pt x="173" y="138"/>
                  </a:lnTo>
                  <a:lnTo>
                    <a:pt x="172" y="134"/>
                  </a:lnTo>
                  <a:lnTo>
                    <a:pt x="173" y="129"/>
                  </a:lnTo>
                  <a:lnTo>
                    <a:pt x="173" y="128"/>
                  </a:lnTo>
                  <a:lnTo>
                    <a:pt x="170" y="126"/>
                  </a:lnTo>
                  <a:lnTo>
                    <a:pt x="169" y="126"/>
                  </a:lnTo>
                  <a:lnTo>
                    <a:pt x="166" y="126"/>
                  </a:lnTo>
                  <a:lnTo>
                    <a:pt x="166" y="125"/>
                  </a:lnTo>
                  <a:lnTo>
                    <a:pt x="161" y="122"/>
                  </a:lnTo>
                  <a:lnTo>
                    <a:pt x="164" y="121"/>
                  </a:lnTo>
                  <a:lnTo>
                    <a:pt x="163" y="118"/>
                  </a:lnTo>
                  <a:lnTo>
                    <a:pt x="164" y="116"/>
                  </a:lnTo>
                  <a:lnTo>
                    <a:pt x="169" y="115"/>
                  </a:lnTo>
                  <a:lnTo>
                    <a:pt x="170" y="116"/>
                  </a:lnTo>
                  <a:lnTo>
                    <a:pt x="176" y="118"/>
                  </a:lnTo>
                  <a:lnTo>
                    <a:pt x="179" y="116"/>
                  </a:lnTo>
                  <a:lnTo>
                    <a:pt x="182" y="110"/>
                  </a:lnTo>
                  <a:lnTo>
                    <a:pt x="182" y="109"/>
                  </a:lnTo>
                  <a:lnTo>
                    <a:pt x="183" y="108"/>
                  </a:lnTo>
                  <a:lnTo>
                    <a:pt x="188" y="106"/>
                  </a:lnTo>
                  <a:lnTo>
                    <a:pt x="189" y="105"/>
                  </a:lnTo>
                  <a:lnTo>
                    <a:pt x="190" y="103"/>
                  </a:lnTo>
                  <a:lnTo>
                    <a:pt x="189" y="102"/>
                  </a:lnTo>
                  <a:lnTo>
                    <a:pt x="189" y="99"/>
                  </a:lnTo>
                  <a:lnTo>
                    <a:pt x="190" y="99"/>
                  </a:lnTo>
                  <a:lnTo>
                    <a:pt x="190" y="96"/>
                  </a:lnTo>
                  <a:lnTo>
                    <a:pt x="192" y="95"/>
                  </a:lnTo>
                  <a:lnTo>
                    <a:pt x="193" y="96"/>
                  </a:lnTo>
                  <a:lnTo>
                    <a:pt x="196" y="96"/>
                  </a:lnTo>
                  <a:lnTo>
                    <a:pt x="204" y="92"/>
                  </a:lnTo>
                  <a:lnTo>
                    <a:pt x="205" y="90"/>
                  </a:lnTo>
                  <a:lnTo>
                    <a:pt x="206" y="89"/>
                  </a:lnTo>
                  <a:lnTo>
                    <a:pt x="208" y="89"/>
                  </a:lnTo>
                  <a:lnTo>
                    <a:pt x="208" y="92"/>
                  </a:lnTo>
                  <a:lnTo>
                    <a:pt x="209" y="93"/>
                  </a:lnTo>
                  <a:lnTo>
                    <a:pt x="209" y="95"/>
                  </a:lnTo>
                  <a:lnTo>
                    <a:pt x="209" y="97"/>
                  </a:lnTo>
                  <a:lnTo>
                    <a:pt x="206" y="97"/>
                  </a:lnTo>
                  <a:lnTo>
                    <a:pt x="205" y="99"/>
                  </a:lnTo>
                  <a:lnTo>
                    <a:pt x="208" y="105"/>
                  </a:lnTo>
                  <a:lnTo>
                    <a:pt x="209" y="105"/>
                  </a:lnTo>
                  <a:lnTo>
                    <a:pt x="212" y="103"/>
                  </a:lnTo>
                  <a:lnTo>
                    <a:pt x="218" y="103"/>
                  </a:lnTo>
                  <a:lnTo>
                    <a:pt x="222" y="105"/>
                  </a:lnTo>
                  <a:lnTo>
                    <a:pt x="227" y="105"/>
                  </a:lnTo>
                  <a:lnTo>
                    <a:pt x="228" y="103"/>
                  </a:lnTo>
                  <a:lnTo>
                    <a:pt x="228" y="102"/>
                  </a:lnTo>
                  <a:lnTo>
                    <a:pt x="231" y="100"/>
                  </a:lnTo>
                  <a:lnTo>
                    <a:pt x="233" y="100"/>
                  </a:lnTo>
                  <a:lnTo>
                    <a:pt x="234" y="99"/>
                  </a:lnTo>
                  <a:lnTo>
                    <a:pt x="235" y="99"/>
                  </a:lnTo>
                  <a:lnTo>
                    <a:pt x="238" y="99"/>
                  </a:lnTo>
                  <a:lnTo>
                    <a:pt x="238" y="96"/>
                  </a:lnTo>
                  <a:lnTo>
                    <a:pt x="243" y="95"/>
                  </a:lnTo>
                  <a:lnTo>
                    <a:pt x="244" y="93"/>
                  </a:lnTo>
                  <a:lnTo>
                    <a:pt x="243" y="93"/>
                  </a:lnTo>
                  <a:lnTo>
                    <a:pt x="240" y="93"/>
                  </a:lnTo>
                  <a:lnTo>
                    <a:pt x="235" y="92"/>
                  </a:lnTo>
                  <a:lnTo>
                    <a:pt x="233" y="89"/>
                  </a:lnTo>
                  <a:lnTo>
                    <a:pt x="231" y="89"/>
                  </a:lnTo>
                  <a:lnTo>
                    <a:pt x="225" y="86"/>
                  </a:lnTo>
                  <a:lnTo>
                    <a:pt x="225" y="83"/>
                  </a:lnTo>
                  <a:lnTo>
                    <a:pt x="224" y="81"/>
                  </a:lnTo>
                  <a:lnTo>
                    <a:pt x="222" y="80"/>
                  </a:lnTo>
                  <a:lnTo>
                    <a:pt x="221" y="84"/>
                  </a:lnTo>
                  <a:lnTo>
                    <a:pt x="219" y="86"/>
                  </a:lnTo>
                  <a:lnTo>
                    <a:pt x="218" y="87"/>
                  </a:lnTo>
                  <a:lnTo>
                    <a:pt x="217" y="87"/>
                  </a:lnTo>
                  <a:lnTo>
                    <a:pt x="211" y="86"/>
                  </a:lnTo>
                  <a:lnTo>
                    <a:pt x="209" y="81"/>
                  </a:lnTo>
                  <a:lnTo>
                    <a:pt x="206" y="83"/>
                  </a:lnTo>
                  <a:lnTo>
                    <a:pt x="205" y="81"/>
                  </a:lnTo>
                  <a:lnTo>
                    <a:pt x="204" y="81"/>
                  </a:lnTo>
                  <a:lnTo>
                    <a:pt x="204" y="79"/>
                  </a:lnTo>
                  <a:lnTo>
                    <a:pt x="212" y="70"/>
                  </a:lnTo>
                  <a:lnTo>
                    <a:pt x="217" y="68"/>
                  </a:lnTo>
                  <a:lnTo>
                    <a:pt x="217" y="67"/>
                  </a:lnTo>
                  <a:lnTo>
                    <a:pt x="212" y="65"/>
                  </a:lnTo>
                  <a:lnTo>
                    <a:pt x="211" y="67"/>
                  </a:lnTo>
                  <a:lnTo>
                    <a:pt x="208" y="70"/>
                  </a:lnTo>
                  <a:lnTo>
                    <a:pt x="206" y="70"/>
                  </a:lnTo>
                  <a:lnTo>
                    <a:pt x="205" y="70"/>
                  </a:lnTo>
                  <a:lnTo>
                    <a:pt x="204" y="74"/>
                  </a:lnTo>
                  <a:lnTo>
                    <a:pt x="201" y="76"/>
                  </a:lnTo>
                  <a:lnTo>
                    <a:pt x="192" y="80"/>
                  </a:lnTo>
                  <a:lnTo>
                    <a:pt x="190" y="81"/>
                  </a:lnTo>
                  <a:lnTo>
                    <a:pt x="186" y="83"/>
                  </a:lnTo>
                  <a:lnTo>
                    <a:pt x="185" y="87"/>
                  </a:lnTo>
                  <a:lnTo>
                    <a:pt x="182" y="90"/>
                  </a:lnTo>
                  <a:lnTo>
                    <a:pt x="170" y="84"/>
                  </a:lnTo>
                  <a:lnTo>
                    <a:pt x="156" y="86"/>
                  </a:lnTo>
                  <a:lnTo>
                    <a:pt x="153" y="74"/>
                  </a:lnTo>
                  <a:lnTo>
                    <a:pt x="144" y="73"/>
                  </a:lnTo>
                  <a:lnTo>
                    <a:pt x="144" y="65"/>
                  </a:lnTo>
                  <a:lnTo>
                    <a:pt x="145" y="65"/>
                  </a:lnTo>
                  <a:lnTo>
                    <a:pt x="145" y="54"/>
                  </a:lnTo>
                  <a:lnTo>
                    <a:pt x="143" y="54"/>
                  </a:lnTo>
                  <a:lnTo>
                    <a:pt x="138" y="45"/>
                  </a:lnTo>
                  <a:lnTo>
                    <a:pt x="128" y="38"/>
                  </a:lnTo>
                  <a:lnTo>
                    <a:pt x="124" y="39"/>
                  </a:lnTo>
                  <a:lnTo>
                    <a:pt x="86" y="42"/>
                  </a:lnTo>
                  <a:lnTo>
                    <a:pt x="37" y="0"/>
                  </a:lnTo>
                  <a:lnTo>
                    <a:pt x="0" y="1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34" name="Freeform 1072"/>
            <p:cNvSpPr>
              <a:spLocks/>
            </p:cNvSpPr>
            <p:nvPr/>
          </p:nvSpPr>
          <p:spPr bwMode="auto">
            <a:xfrm>
              <a:off x="5192011" y="2073893"/>
              <a:ext cx="7901" cy="8113"/>
            </a:xfrm>
            <a:custGeom>
              <a:avLst/>
              <a:gdLst/>
              <a:ahLst/>
              <a:cxnLst>
                <a:cxn ang="0">
                  <a:pos x="0" y="0"/>
                </a:cxn>
                <a:cxn ang="0">
                  <a:pos x="1" y="0"/>
                </a:cxn>
                <a:cxn ang="0">
                  <a:pos x="3" y="1"/>
                </a:cxn>
                <a:cxn ang="0">
                  <a:pos x="7" y="3"/>
                </a:cxn>
                <a:cxn ang="0">
                  <a:pos x="8" y="4"/>
                </a:cxn>
                <a:cxn ang="0">
                  <a:pos x="8" y="6"/>
                </a:cxn>
                <a:cxn ang="0">
                  <a:pos x="5" y="7"/>
                </a:cxn>
                <a:cxn ang="0">
                  <a:pos x="3" y="6"/>
                </a:cxn>
                <a:cxn ang="0">
                  <a:pos x="1" y="4"/>
                </a:cxn>
                <a:cxn ang="0">
                  <a:pos x="0" y="1"/>
                </a:cxn>
                <a:cxn ang="0">
                  <a:pos x="0" y="0"/>
                </a:cxn>
              </a:cxnLst>
              <a:rect l="0" t="0" r="r" b="b"/>
              <a:pathLst>
                <a:path w="8" h="7">
                  <a:moveTo>
                    <a:pt x="0" y="0"/>
                  </a:moveTo>
                  <a:lnTo>
                    <a:pt x="1" y="0"/>
                  </a:lnTo>
                  <a:lnTo>
                    <a:pt x="3" y="1"/>
                  </a:lnTo>
                  <a:lnTo>
                    <a:pt x="7" y="3"/>
                  </a:lnTo>
                  <a:lnTo>
                    <a:pt x="8" y="4"/>
                  </a:lnTo>
                  <a:lnTo>
                    <a:pt x="8" y="6"/>
                  </a:lnTo>
                  <a:lnTo>
                    <a:pt x="5" y="7"/>
                  </a:lnTo>
                  <a:lnTo>
                    <a:pt x="3" y="6"/>
                  </a:lnTo>
                  <a:lnTo>
                    <a:pt x="1" y="4"/>
                  </a:lnTo>
                  <a:lnTo>
                    <a:pt x="0" y="1"/>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35" name="Freeform 1073"/>
            <p:cNvSpPr>
              <a:spLocks/>
            </p:cNvSpPr>
            <p:nvPr/>
          </p:nvSpPr>
          <p:spPr bwMode="auto">
            <a:xfrm>
              <a:off x="5192011" y="2073893"/>
              <a:ext cx="7901" cy="8113"/>
            </a:xfrm>
            <a:custGeom>
              <a:avLst/>
              <a:gdLst/>
              <a:ahLst/>
              <a:cxnLst>
                <a:cxn ang="0">
                  <a:pos x="0" y="0"/>
                </a:cxn>
                <a:cxn ang="0">
                  <a:pos x="1" y="0"/>
                </a:cxn>
                <a:cxn ang="0">
                  <a:pos x="3" y="1"/>
                </a:cxn>
                <a:cxn ang="0">
                  <a:pos x="7" y="3"/>
                </a:cxn>
                <a:cxn ang="0">
                  <a:pos x="8" y="4"/>
                </a:cxn>
                <a:cxn ang="0">
                  <a:pos x="8" y="6"/>
                </a:cxn>
                <a:cxn ang="0">
                  <a:pos x="5" y="7"/>
                </a:cxn>
                <a:cxn ang="0">
                  <a:pos x="3" y="6"/>
                </a:cxn>
                <a:cxn ang="0">
                  <a:pos x="1" y="4"/>
                </a:cxn>
                <a:cxn ang="0">
                  <a:pos x="0" y="1"/>
                </a:cxn>
                <a:cxn ang="0">
                  <a:pos x="0" y="0"/>
                </a:cxn>
              </a:cxnLst>
              <a:rect l="0" t="0" r="r" b="b"/>
              <a:pathLst>
                <a:path w="8" h="7">
                  <a:moveTo>
                    <a:pt x="0" y="0"/>
                  </a:moveTo>
                  <a:lnTo>
                    <a:pt x="1" y="0"/>
                  </a:lnTo>
                  <a:lnTo>
                    <a:pt x="3" y="1"/>
                  </a:lnTo>
                  <a:lnTo>
                    <a:pt x="7" y="3"/>
                  </a:lnTo>
                  <a:lnTo>
                    <a:pt x="8" y="4"/>
                  </a:lnTo>
                  <a:lnTo>
                    <a:pt x="8" y="6"/>
                  </a:lnTo>
                  <a:lnTo>
                    <a:pt x="5" y="7"/>
                  </a:lnTo>
                  <a:lnTo>
                    <a:pt x="3" y="6"/>
                  </a:lnTo>
                  <a:lnTo>
                    <a:pt x="1" y="4"/>
                  </a:lnTo>
                  <a:lnTo>
                    <a:pt x="0" y="1"/>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36" name="Freeform 1074"/>
            <p:cNvSpPr>
              <a:spLocks/>
            </p:cNvSpPr>
            <p:nvPr/>
          </p:nvSpPr>
          <p:spPr bwMode="auto">
            <a:xfrm>
              <a:off x="6412154" y="2545464"/>
              <a:ext cx="80758" cy="59833"/>
            </a:xfrm>
            <a:custGeom>
              <a:avLst/>
              <a:gdLst/>
              <a:ahLst/>
              <a:cxnLst>
                <a:cxn ang="0">
                  <a:pos x="7" y="55"/>
                </a:cxn>
                <a:cxn ang="0">
                  <a:pos x="5" y="42"/>
                </a:cxn>
                <a:cxn ang="0">
                  <a:pos x="0" y="38"/>
                </a:cxn>
                <a:cxn ang="0">
                  <a:pos x="0" y="32"/>
                </a:cxn>
                <a:cxn ang="0">
                  <a:pos x="2" y="25"/>
                </a:cxn>
                <a:cxn ang="0">
                  <a:pos x="5" y="22"/>
                </a:cxn>
                <a:cxn ang="0">
                  <a:pos x="0" y="13"/>
                </a:cxn>
                <a:cxn ang="0">
                  <a:pos x="0" y="3"/>
                </a:cxn>
                <a:cxn ang="0">
                  <a:pos x="4" y="0"/>
                </a:cxn>
                <a:cxn ang="0">
                  <a:pos x="7" y="2"/>
                </a:cxn>
                <a:cxn ang="0">
                  <a:pos x="5" y="6"/>
                </a:cxn>
                <a:cxn ang="0">
                  <a:pos x="8" y="7"/>
                </a:cxn>
                <a:cxn ang="0">
                  <a:pos x="43" y="10"/>
                </a:cxn>
                <a:cxn ang="0">
                  <a:pos x="63" y="2"/>
                </a:cxn>
                <a:cxn ang="0">
                  <a:pos x="69" y="2"/>
                </a:cxn>
                <a:cxn ang="0">
                  <a:pos x="71" y="3"/>
                </a:cxn>
                <a:cxn ang="0">
                  <a:pos x="78" y="6"/>
                </a:cxn>
                <a:cxn ang="0">
                  <a:pos x="84" y="9"/>
                </a:cxn>
                <a:cxn ang="0">
                  <a:pos x="88" y="9"/>
                </a:cxn>
                <a:cxn ang="0">
                  <a:pos x="88" y="13"/>
                </a:cxn>
                <a:cxn ang="0">
                  <a:pos x="87" y="16"/>
                </a:cxn>
                <a:cxn ang="0">
                  <a:pos x="81" y="18"/>
                </a:cxn>
                <a:cxn ang="0">
                  <a:pos x="78" y="20"/>
                </a:cxn>
                <a:cxn ang="0">
                  <a:pos x="78" y="29"/>
                </a:cxn>
                <a:cxn ang="0">
                  <a:pos x="77" y="29"/>
                </a:cxn>
                <a:cxn ang="0">
                  <a:pos x="75" y="31"/>
                </a:cxn>
                <a:cxn ang="0">
                  <a:pos x="72" y="34"/>
                </a:cxn>
                <a:cxn ang="0">
                  <a:pos x="74" y="35"/>
                </a:cxn>
                <a:cxn ang="0">
                  <a:pos x="74" y="35"/>
                </a:cxn>
                <a:cxn ang="0">
                  <a:pos x="79" y="44"/>
                </a:cxn>
                <a:cxn ang="0">
                  <a:pos x="79" y="45"/>
                </a:cxn>
                <a:cxn ang="0">
                  <a:pos x="77" y="44"/>
                </a:cxn>
                <a:cxn ang="0">
                  <a:pos x="71" y="45"/>
                </a:cxn>
                <a:cxn ang="0">
                  <a:pos x="66" y="42"/>
                </a:cxn>
                <a:cxn ang="0">
                  <a:pos x="58" y="45"/>
                </a:cxn>
                <a:cxn ang="0">
                  <a:pos x="56" y="47"/>
                </a:cxn>
                <a:cxn ang="0">
                  <a:pos x="52" y="47"/>
                </a:cxn>
                <a:cxn ang="0">
                  <a:pos x="52" y="52"/>
                </a:cxn>
                <a:cxn ang="0">
                  <a:pos x="49" y="55"/>
                </a:cxn>
                <a:cxn ang="0">
                  <a:pos x="43" y="57"/>
                </a:cxn>
                <a:cxn ang="0">
                  <a:pos x="34" y="54"/>
                </a:cxn>
                <a:cxn ang="0">
                  <a:pos x="32" y="51"/>
                </a:cxn>
                <a:cxn ang="0">
                  <a:pos x="7" y="55"/>
                </a:cxn>
              </a:cxnLst>
              <a:rect l="0" t="0" r="r" b="b"/>
              <a:pathLst>
                <a:path w="88" h="57">
                  <a:moveTo>
                    <a:pt x="7" y="55"/>
                  </a:moveTo>
                  <a:lnTo>
                    <a:pt x="5" y="42"/>
                  </a:lnTo>
                  <a:lnTo>
                    <a:pt x="0" y="38"/>
                  </a:lnTo>
                  <a:lnTo>
                    <a:pt x="0" y="32"/>
                  </a:lnTo>
                  <a:lnTo>
                    <a:pt x="2" y="25"/>
                  </a:lnTo>
                  <a:lnTo>
                    <a:pt x="5" y="22"/>
                  </a:lnTo>
                  <a:lnTo>
                    <a:pt x="0" y="13"/>
                  </a:lnTo>
                  <a:lnTo>
                    <a:pt x="0" y="3"/>
                  </a:lnTo>
                  <a:lnTo>
                    <a:pt x="4" y="0"/>
                  </a:lnTo>
                  <a:lnTo>
                    <a:pt x="7" y="2"/>
                  </a:lnTo>
                  <a:lnTo>
                    <a:pt x="5" y="6"/>
                  </a:lnTo>
                  <a:lnTo>
                    <a:pt x="8" y="7"/>
                  </a:lnTo>
                  <a:lnTo>
                    <a:pt x="43" y="10"/>
                  </a:lnTo>
                  <a:lnTo>
                    <a:pt x="63" y="2"/>
                  </a:lnTo>
                  <a:lnTo>
                    <a:pt x="69" y="2"/>
                  </a:lnTo>
                  <a:lnTo>
                    <a:pt x="71" y="3"/>
                  </a:lnTo>
                  <a:lnTo>
                    <a:pt x="78" y="6"/>
                  </a:lnTo>
                  <a:lnTo>
                    <a:pt x="84" y="9"/>
                  </a:lnTo>
                  <a:lnTo>
                    <a:pt x="88" y="9"/>
                  </a:lnTo>
                  <a:lnTo>
                    <a:pt x="88" y="13"/>
                  </a:lnTo>
                  <a:lnTo>
                    <a:pt x="87" y="16"/>
                  </a:lnTo>
                  <a:lnTo>
                    <a:pt x="81" y="18"/>
                  </a:lnTo>
                  <a:lnTo>
                    <a:pt x="78" y="20"/>
                  </a:lnTo>
                  <a:lnTo>
                    <a:pt x="78" y="29"/>
                  </a:lnTo>
                  <a:lnTo>
                    <a:pt x="77" y="29"/>
                  </a:lnTo>
                  <a:lnTo>
                    <a:pt x="75" y="31"/>
                  </a:lnTo>
                  <a:lnTo>
                    <a:pt x="72" y="34"/>
                  </a:lnTo>
                  <a:lnTo>
                    <a:pt x="74" y="35"/>
                  </a:lnTo>
                  <a:lnTo>
                    <a:pt x="74" y="35"/>
                  </a:lnTo>
                  <a:lnTo>
                    <a:pt x="79" y="44"/>
                  </a:lnTo>
                  <a:lnTo>
                    <a:pt x="79" y="45"/>
                  </a:lnTo>
                  <a:lnTo>
                    <a:pt x="77" y="44"/>
                  </a:lnTo>
                  <a:lnTo>
                    <a:pt x="71" y="45"/>
                  </a:lnTo>
                  <a:lnTo>
                    <a:pt x="66" y="42"/>
                  </a:lnTo>
                  <a:lnTo>
                    <a:pt x="58" y="45"/>
                  </a:lnTo>
                  <a:lnTo>
                    <a:pt x="56" y="47"/>
                  </a:lnTo>
                  <a:lnTo>
                    <a:pt x="52" y="47"/>
                  </a:lnTo>
                  <a:lnTo>
                    <a:pt x="52" y="52"/>
                  </a:lnTo>
                  <a:lnTo>
                    <a:pt x="49" y="55"/>
                  </a:lnTo>
                  <a:lnTo>
                    <a:pt x="43" y="57"/>
                  </a:lnTo>
                  <a:lnTo>
                    <a:pt x="34" y="54"/>
                  </a:lnTo>
                  <a:lnTo>
                    <a:pt x="32" y="51"/>
                  </a:lnTo>
                  <a:lnTo>
                    <a:pt x="7" y="5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37" name="Freeform 1075"/>
            <p:cNvSpPr>
              <a:spLocks/>
            </p:cNvSpPr>
            <p:nvPr/>
          </p:nvSpPr>
          <p:spPr bwMode="auto">
            <a:xfrm>
              <a:off x="6412154" y="2545464"/>
              <a:ext cx="80758" cy="59833"/>
            </a:xfrm>
            <a:custGeom>
              <a:avLst/>
              <a:gdLst/>
              <a:ahLst/>
              <a:cxnLst>
                <a:cxn ang="0">
                  <a:pos x="7" y="55"/>
                </a:cxn>
                <a:cxn ang="0">
                  <a:pos x="5" y="42"/>
                </a:cxn>
                <a:cxn ang="0">
                  <a:pos x="0" y="38"/>
                </a:cxn>
                <a:cxn ang="0">
                  <a:pos x="0" y="32"/>
                </a:cxn>
                <a:cxn ang="0">
                  <a:pos x="2" y="25"/>
                </a:cxn>
                <a:cxn ang="0">
                  <a:pos x="5" y="22"/>
                </a:cxn>
                <a:cxn ang="0">
                  <a:pos x="0" y="13"/>
                </a:cxn>
                <a:cxn ang="0">
                  <a:pos x="0" y="3"/>
                </a:cxn>
                <a:cxn ang="0">
                  <a:pos x="4" y="0"/>
                </a:cxn>
                <a:cxn ang="0">
                  <a:pos x="7" y="2"/>
                </a:cxn>
                <a:cxn ang="0">
                  <a:pos x="5" y="6"/>
                </a:cxn>
                <a:cxn ang="0">
                  <a:pos x="8" y="7"/>
                </a:cxn>
                <a:cxn ang="0">
                  <a:pos x="43" y="10"/>
                </a:cxn>
                <a:cxn ang="0">
                  <a:pos x="63" y="2"/>
                </a:cxn>
                <a:cxn ang="0">
                  <a:pos x="69" y="2"/>
                </a:cxn>
                <a:cxn ang="0">
                  <a:pos x="71" y="3"/>
                </a:cxn>
                <a:cxn ang="0">
                  <a:pos x="78" y="6"/>
                </a:cxn>
                <a:cxn ang="0">
                  <a:pos x="84" y="9"/>
                </a:cxn>
                <a:cxn ang="0">
                  <a:pos x="88" y="9"/>
                </a:cxn>
                <a:cxn ang="0">
                  <a:pos x="88" y="13"/>
                </a:cxn>
                <a:cxn ang="0">
                  <a:pos x="87" y="16"/>
                </a:cxn>
                <a:cxn ang="0">
                  <a:pos x="81" y="18"/>
                </a:cxn>
                <a:cxn ang="0">
                  <a:pos x="78" y="20"/>
                </a:cxn>
                <a:cxn ang="0">
                  <a:pos x="78" y="29"/>
                </a:cxn>
                <a:cxn ang="0">
                  <a:pos x="77" y="29"/>
                </a:cxn>
                <a:cxn ang="0">
                  <a:pos x="75" y="31"/>
                </a:cxn>
                <a:cxn ang="0">
                  <a:pos x="72" y="34"/>
                </a:cxn>
                <a:cxn ang="0">
                  <a:pos x="74" y="35"/>
                </a:cxn>
                <a:cxn ang="0">
                  <a:pos x="74" y="35"/>
                </a:cxn>
                <a:cxn ang="0">
                  <a:pos x="79" y="44"/>
                </a:cxn>
                <a:cxn ang="0">
                  <a:pos x="79" y="45"/>
                </a:cxn>
                <a:cxn ang="0">
                  <a:pos x="77" y="44"/>
                </a:cxn>
                <a:cxn ang="0">
                  <a:pos x="71" y="45"/>
                </a:cxn>
                <a:cxn ang="0">
                  <a:pos x="66" y="42"/>
                </a:cxn>
                <a:cxn ang="0">
                  <a:pos x="58" y="45"/>
                </a:cxn>
                <a:cxn ang="0">
                  <a:pos x="56" y="47"/>
                </a:cxn>
                <a:cxn ang="0">
                  <a:pos x="52" y="47"/>
                </a:cxn>
                <a:cxn ang="0">
                  <a:pos x="52" y="52"/>
                </a:cxn>
                <a:cxn ang="0">
                  <a:pos x="49" y="55"/>
                </a:cxn>
                <a:cxn ang="0">
                  <a:pos x="43" y="57"/>
                </a:cxn>
                <a:cxn ang="0">
                  <a:pos x="34" y="54"/>
                </a:cxn>
                <a:cxn ang="0">
                  <a:pos x="32" y="51"/>
                </a:cxn>
                <a:cxn ang="0">
                  <a:pos x="7" y="55"/>
                </a:cxn>
              </a:cxnLst>
              <a:rect l="0" t="0" r="r" b="b"/>
              <a:pathLst>
                <a:path w="88" h="57">
                  <a:moveTo>
                    <a:pt x="7" y="55"/>
                  </a:moveTo>
                  <a:lnTo>
                    <a:pt x="5" y="42"/>
                  </a:lnTo>
                  <a:lnTo>
                    <a:pt x="0" y="38"/>
                  </a:lnTo>
                  <a:lnTo>
                    <a:pt x="0" y="32"/>
                  </a:lnTo>
                  <a:lnTo>
                    <a:pt x="2" y="25"/>
                  </a:lnTo>
                  <a:lnTo>
                    <a:pt x="5" y="22"/>
                  </a:lnTo>
                  <a:lnTo>
                    <a:pt x="0" y="13"/>
                  </a:lnTo>
                  <a:lnTo>
                    <a:pt x="0" y="3"/>
                  </a:lnTo>
                  <a:lnTo>
                    <a:pt x="4" y="0"/>
                  </a:lnTo>
                  <a:lnTo>
                    <a:pt x="7" y="2"/>
                  </a:lnTo>
                  <a:lnTo>
                    <a:pt x="5" y="6"/>
                  </a:lnTo>
                  <a:lnTo>
                    <a:pt x="8" y="7"/>
                  </a:lnTo>
                  <a:lnTo>
                    <a:pt x="43" y="10"/>
                  </a:lnTo>
                  <a:lnTo>
                    <a:pt x="63" y="2"/>
                  </a:lnTo>
                  <a:lnTo>
                    <a:pt x="69" y="2"/>
                  </a:lnTo>
                  <a:lnTo>
                    <a:pt x="71" y="3"/>
                  </a:lnTo>
                  <a:lnTo>
                    <a:pt x="78" y="6"/>
                  </a:lnTo>
                  <a:lnTo>
                    <a:pt x="84" y="9"/>
                  </a:lnTo>
                  <a:lnTo>
                    <a:pt x="88" y="9"/>
                  </a:lnTo>
                  <a:lnTo>
                    <a:pt x="88" y="13"/>
                  </a:lnTo>
                  <a:lnTo>
                    <a:pt x="87" y="16"/>
                  </a:lnTo>
                  <a:lnTo>
                    <a:pt x="81" y="18"/>
                  </a:lnTo>
                  <a:lnTo>
                    <a:pt x="78" y="20"/>
                  </a:lnTo>
                  <a:lnTo>
                    <a:pt x="78" y="29"/>
                  </a:lnTo>
                  <a:lnTo>
                    <a:pt x="77" y="29"/>
                  </a:lnTo>
                  <a:lnTo>
                    <a:pt x="75" y="31"/>
                  </a:lnTo>
                  <a:lnTo>
                    <a:pt x="72" y="34"/>
                  </a:lnTo>
                  <a:lnTo>
                    <a:pt x="74" y="35"/>
                  </a:lnTo>
                  <a:lnTo>
                    <a:pt x="74" y="35"/>
                  </a:lnTo>
                  <a:lnTo>
                    <a:pt x="79" y="44"/>
                  </a:lnTo>
                  <a:lnTo>
                    <a:pt x="79" y="45"/>
                  </a:lnTo>
                  <a:lnTo>
                    <a:pt x="77" y="44"/>
                  </a:lnTo>
                  <a:lnTo>
                    <a:pt x="71" y="45"/>
                  </a:lnTo>
                  <a:lnTo>
                    <a:pt x="66" y="42"/>
                  </a:lnTo>
                  <a:lnTo>
                    <a:pt x="58" y="45"/>
                  </a:lnTo>
                  <a:lnTo>
                    <a:pt x="56" y="47"/>
                  </a:lnTo>
                  <a:lnTo>
                    <a:pt x="52" y="47"/>
                  </a:lnTo>
                  <a:lnTo>
                    <a:pt x="52" y="52"/>
                  </a:lnTo>
                  <a:lnTo>
                    <a:pt x="49" y="55"/>
                  </a:lnTo>
                  <a:lnTo>
                    <a:pt x="43" y="57"/>
                  </a:lnTo>
                  <a:lnTo>
                    <a:pt x="34" y="54"/>
                  </a:lnTo>
                  <a:lnTo>
                    <a:pt x="32" y="51"/>
                  </a:lnTo>
                  <a:lnTo>
                    <a:pt x="7" y="5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38" name="Freeform 1076"/>
            <p:cNvSpPr>
              <a:spLocks/>
            </p:cNvSpPr>
            <p:nvPr/>
          </p:nvSpPr>
          <p:spPr bwMode="auto">
            <a:xfrm>
              <a:off x="6306818" y="2525182"/>
              <a:ext cx="3511" cy="6085"/>
            </a:xfrm>
            <a:custGeom>
              <a:avLst/>
              <a:gdLst/>
              <a:ahLst/>
              <a:cxnLst>
                <a:cxn ang="0">
                  <a:pos x="1" y="0"/>
                </a:cxn>
                <a:cxn ang="0">
                  <a:pos x="3" y="3"/>
                </a:cxn>
                <a:cxn ang="0">
                  <a:pos x="4" y="4"/>
                </a:cxn>
                <a:cxn ang="0">
                  <a:pos x="4" y="6"/>
                </a:cxn>
                <a:cxn ang="0">
                  <a:pos x="3" y="4"/>
                </a:cxn>
                <a:cxn ang="0">
                  <a:pos x="1" y="4"/>
                </a:cxn>
                <a:cxn ang="0">
                  <a:pos x="0" y="3"/>
                </a:cxn>
                <a:cxn ang="0">
                  <a:pos x="1" y="1"/>
                </a:cxn>
                <a:cxn ang="0">
                  <a:pos x="1" y="0"/>
                </a:cxn>
              </a:cxnLst>
              <a:rect l="0" t="0" r="r" b="b"/>
              <a:pathLst>
                <a:path w="4" h="6">
                  <a:moveTo>
                    <a:pt x="1" y="0"/>
                  </a:moveTo>
                  <a:lnTo>
                    <a:pt x="3" y="3"/>
                  </a:lnTo>
                  <a:lnTo>
                    <a:pt x="4" y="4"/>
                  </a:lnTo>
                  <a:lnTo>
                    <a:pt x="4" y="6"/>
                  </a:lnTo>
                  <a:lnTo>
                    <a:pt x="3" y="4"/>
                  </a:lnTo>
                  <a:lnTo>
                    <a:pt x="1" y="4"/>
                  </a:lnTo>
                  <a:lnTo>
                    <a:pt x="0" y="3"/>
                  </a:lnTo>
                  <a:lnTo>
                    <a:pt x="1" y="1"/>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39" name="Freeform 1077"/>
            <p:cNvSpPr>
              <a:spLocks/>
            </p:cNvSpPr>
            <p:nvPr/>
          </p:nvSpPr>
          <p:spPr bwMode="auto">
            <a:xfrm>
              <a:off x="6306818" y="2525182"/>
              <a:ext cx="3511" cy="6085"/>
            </a:xfrm>
            <a:custGeom>
              <a:avLst/>
              <a:gdLst/>
              <a:ahLst/>
              <a:cxnLst>
                <a:cxn ang="0">
                  <a:pos x="1" y="0"/>
                </a:cxn>
                <a:cxn ang="0">
                  <a:pos x="3" y="3"/>
                </a:cxn>
                <a:cxn ang="0">
                  <a:pos x="4" y="4"/>
                </a:cxn>
                <a:cxn ang="0">
                  <a:pos x="4" y="6"/>
                </a:cxn>
                <a:cxn ang="0">
                  <a:pos x="3" y="4"/>
                </a:cxn>
                <a:cxn ang="0">
                  <a:pos x="1" y="4"/>
                </a:cxn>
                <a:cxn ang="0">
                  <a:pos x="0" y="3"/>
                </a:cxn>
                <a:cxn ang="0">
                  <a:pos x="1" y="1"/>
                </a:cxn>
                <a:cxn ang="0">
                  <a:pos x="1" y="0"/>
                </a:cxn>
              </a:cxnLst>
              <a:rect l="0" t="0" r="r" b="b"/>
              <a:pathLst>
                <a:path w="4" h="6">
                  <a:moveTo>
                    <a:pt x="1" y="0"/>
                  </a:moveTo>
                  <a:lnTo>
                    <a:pt x="3" y="3"/>
                  </a:lnTo>
                  <a:lnTo>
                    <a:pt x="4" y="4"/>
                  </a:lnTo>
                  <a:lnTo>
                    <a:pt x="4" y="6"/>
                  </a:lnTo>
                  <a:lnTo>
                    <a:pt x="3" y="4"/>
                  </a:lnTo>
                  <a:lnTo>
                    <a:pt x="1" y="4"/>
                  </a:lnTo>
                  <a:lnTo>
                    <a:pt x="0" y="3"/>
                  </a:lnTo>
                  <a:lnTo>
                    <a:pt x="1" y="1"/>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40" name="Freeform 1078"/>
            <p:cNvSpPr>
              <a:spLocks/>
            </p:cNvSpPr>
            <p:nvPr/>
          </p:nvSpPr>
          <p:spPr bwMode="auto">
            <a:xfrm>
              <a:off x="6305063" y="2526195"/>
              <a:ext cx="2634" cy="10141"/>
            </a:xfrm>
            <a:custGeom>
              <a:avLst/>
              <a:gdLst/>
              <a:ahLst/>
              <a:cxnLst>
                <a:cxn ang="0">
                  <a:pos x="0" y="0"/>
                </a:cxn>
                <a:cxn ang="0">
                  <a:pos x="0" y="0"/>
                </a:cxn>
                <a:cxn ang="0">
                  <a:pos x="0" y="0"/>
                </a:cxn>
                <a:cxn ang="0">
                  <a:pos x="2" y="0"/>
                </a:cxn>
                <a:cxn ang="0">
                  <a:pos x="3" y="10"/>
                </a:cxn>
                <a:cxn ang="0">
                  <a:pos x="0" y="6"/>
                </a:cxn>
                <a:cxn ang="0">
                  <a:pos x="0" y="6"/>
                </a:cxn>
                <a:cxn ang="0">
                  <a:pos x="2" y="5"/>
                </a:cxn>
                <a:cxn ang="0">
                  <a:pos x="2" y="3"/>
                </a:cxn>
                <a:cxn ang="0">
                  <a:pos x="0" y="0"/>
                </a:cxn>
              </a:cxnLst>
              <a:rect l="0" t="0" r="r" b="b"/>
              <a:pathLst>
                <a:path w="3" h="10">
                  <a:moveTo>
                    <a:pt x="0" y="0"/>
                  </a:moveTo>
                  <a:lnTo>
                    <a:pt x="0" y="0"/>
                  </a:lnTo>
                  <a:lnTo>
                    <a:pt x="0" y="0"/>
                  </a:lnTo>
                  <a:lnTo>
                    <a:pt x="2" y="0"/>
                  </a:lnTo>
                  <a:lnTo>
                    <a:pt x="3" y="10"/>
                  </a:lnTo>
                  <a:lnTo>
                    <a:pt x="0" y="6"/>
                  </a:lnTo>
                  <a:lnTo>
                    <a:pt x="0" y="6"/>
                  </a:lnTo>
                  <a:lnTo>
                    <a:pt x="2" y="5"/>
                  </a:lnTo>
                  <a:lnTo>
                    <a:pt x="2" y="3"/>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41" name="Freeform 1079"/>
            <p:cNvSpPr>
              <a:spLocks/>
            </p:cNvSpPr>
            <p:nvPr/>
          </p:nvSpPr>
          <p:spPr bwMode="auto">
            <a:xfrm>
              <a:off x="6305063" y="2526195"/>
              <a:ext cx="2634" cy="10141"/>
            </a:xfrm>
            <a:custGeom>
              <a:avLst/>
              <a:gdLst/>
              <a:ahLst/>
              <a:cxnLst>
                <a:cxn ang="0">
                  <a:pos x="0" y="0"/>
                </a:cxn>
                <a:cxn ang="0">
                  <a:pos x="0" y="0"/>
                </a:cxn>
                <a:cxn ang="0">
                  <a:pos x="0" y="0"/>
                </a:cxn>
                <a:cxn ang="0">
                  <a:pos x="2" y="0"/>
                </a:cxn>
                <a:cxn ang="0">
                  <a:pos x="3" y="10"/>
                </a:cxn>
                <a:cxn ang="0">
                  <a:pos x="0" y="6"/>
                </a:cxn>
                <a:cxn ang="0">
                  <a:pos x="0" y="6"/>
                </a:cxn>
                <a:cxn ang="0">
                  <a:pos x="2" y="5"/>
                </a:cxn>
                <a:cxn ang="0">
                  <a:pos x="2" y="3"/>
                </a:cxn>
                <a:cxn ang="0">
                  <a:pos x="0" y="0"/>
                </a:cxn>
              </a:cxnLst>
              <a:rect l="0" t="0" r="r" b="b"/>
              <a:pathLst>
                <a:path w="3" h="10">
                  <a:moveTo>
                    <a:pt x="0" y="0"/>
                  </a:moveTo>
                  <a:lnTo>
                    <a:pt x="0" y="0"/>
                  </a:lnTo>
                  <a:lnTo>
                    <a:pt x="0" y="0"/>
                  </a:lnTo>
                  <a:lnTo>
                    <a:pt x="2" y="0"/>
                  </a:lnTo>
                  <a:lnTo>
                    <a:pt x="3" y="10"/>
                  </a:lnTo>
                  <a:lnTo>
                    <a:pt x="0" y="6"/>
                  </a:lnTo>
                  <a:lnTo>
                    <a:pt x="0" y="6"/>
                  </a:lnTo>
                  <a:lnTo>
                    <a:pt x="2" y="5"/>
                  </a:lnTo>
                  <a:lnTo>
                    <a:pt x="2" y="3"/>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42" name="Freeform 1080"/>
            <p:cNvSpPr>
              <a:spLocks/>
            </p:cNvSpPr>
            <p:nvPr/>
          </p:nvSpPr>
          <p:spPr bwMode="auto">
            <a:xfrm>
              <a:off x="6333152" y="2562704"/>
              <a:ext cx="5267" cy="2029"/>
            </a:xfrm>
            <a:custGeom>
              <a:avLst/>
              <a:gdLst/>
              <a:ahLst/>
              <a:cxnLst>
                <a:cxn ang="0">
                  <a:pos x="0" y="0"/>
                </a:cxn>
                <a:cxn ang="0">
                  <a:pos x="0" y="0"/>
                </a:cxn>
                <a:cxn ang="0">
                  <a:pos x="6" y="2"/>
                </a:cxn>
                <a:cxn ang="0">
                  <a:pos x="6" y="2"/>
                </a:cxn>
                <a:cxn ang="0">
                  <a:pos x="6" y="2"/>
                </a:cxn>
                <a:cxn ang="0">
                  <a:pos x="0" y="2"/>
                </a:cxn>
                <a:cxn ang="0">
                  <a:pos x="0" y="0"/>
                </a:cxn>
              </a:cxnLst>
              <a:rect l="0" t="0" r="r" b="b"/>
              <a:pathLst>
                <a:path w="6" h="2">
                  <a:moveTo>
                    <a:pt x="0" y="0"/>
                  </a:moveTo>
                  <a:lnTo>
                    <a:pt x="0" y="0"/>
                  </a:lnTo>
                  <a:lnTo>
                    <a:pt x="6" y="2"/>
                  </a:lnTo>
                  <a:lnTo>
                    <a:pt x="6" y="2"/>
                  </a:lnTo>
                  <a:lnTo>
                    <a:pt x="6" y="2"/>
                  </a:lnTo>
                  <a:lnTo>
                    <a:pt x="0" y="2"/>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43" name="Freeform 1081"/>
            <p:cNvSpPr>
              <a:spLocks/>
            </p:cNvSpPr>
            <p:nvPr/>
          </p:nvSpPr>
          <p:spPr bwMode="auto">
            <a:xfrm>
              <a:off x="6333152" y="2562704"/>
              <a:ext cx="5267" cy="2029"/>
            </a:xfrm>
            <a:custGeom>
              <a:avLst/>
              <a:gdLst/>
              <a:ahLst/>
              <a:cxnLst>
                <a:cxn ang="0">
                  <a:pos x="0" y="0"/>
                </a:cxn>
                <a:cxn ang="0">
                  <a:pos x="0" y="0"/>
                </a:cxn>
                <a:cxn ang="0">
                  <a:pos x="6" y="2"/>
                </a:cxn>
                <a:cxn ang="0">
                  <a:pos x="6" y="2"/>
                </a:cxn>
                <a:cxn ang="0">
                  <a:pos x="6" y="2"/>
                </a:cxn>
                <a:cxn ang="0">
                  <a:pos x="0" y="2"/>
                </a:cxn>
                <a:cxn ang="0">
                  <a:pos x="0" y="0"/>
                </a:cxn>
              </a:cxnLst>
              <a:rect l="0" t="0" r="r" b="b"/>
              <a:pathLst>
                <a:path w="6" h="2">
                  <a:moveTo>
                    <a:pt x="0" y="0"/>
                  </a:moveTo>
                  <a:lnTo>
                    <a:pt x="0" y="0"/>
                  </a:lnTo>
                  <a:lnTo>
                    <a:pt x="6" y="2"/>
                  </a:lnTo>
                  <a:lnTo>
                    <a:pt x="6" y="2"/>
                  </a:lnTo>
                  <a:lnTo>
                    <a:pt x="6" y="2"/>
                  </a:lnTo>
                  <a:lnTo>
                    <a:pt x="0" y="2"/>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44" name="Freeform 1082"/>
            <p:cNvSpPr>
              <a:spLocks/>
            </p:cNvSpPr>
            <p:nvPr/>
          </p:nvSpPr>
          <p:spPr bwMode="auto">
            <a:xfrm>
              <a:off x="6335786" y="2569803"/>
              <a:ext cx="6144" cy="2029"/>
            </a:xfrm>
            <a:custGeom>
              <a:avLst/>
              <a:gdLst/>
              <a:ahLst/>
              <a:cxnLst>
                <a:cxn ang="0">
                  <a:pos x="0" y="2"/>
                </a:cxn>
                <a:cxn ang="0">
                  <a:pos x="1" y="0"/>
                </a:cxn>
                <a:cxn ang="0">
                  <a:pos x="6" y="0"/>
                </a:cxn>
                <a:cxn ang="0">
                  <a:pos x="6" y="2"/>
                </a:cxn>
                <a:cxn ang="0">
                  <a:pos x="7" y="2"/>
                </a:cxn>
                <a:cxn ang="0">
                  <a:pos x="0" y="2"/>
                </a:cxn>
                <a:cxn ang="0">
                  <a:pos x="0" y="2"/>
                </a:cxn>
              </a:cxnLst>
              <a:rect l="0" t="0" r="r" b="b"/>
              <a:pathLst>
                <a:path w="7" h="2">
                  <a:moveTo>
                    <a:pt x="0" y="2"/>
                  </a:moveTo>
                  <a:lnTo>
                    <a:pt x="1" y="0"/>
                  </a:lnTo>
                  <a:lnTo>
                    <a:pt x="6" y="0"/>
                  </a:lnTo>
                  <a:lnTo>
                    <a:pt x="6" y="2"/>
                  </a:lnTo>
                  <a:lnTo>
                    <a:pt x="7" y="2"/>
                  </a:lnTo>
                  <a:lnTo>
                    <a:pt x="0" y="2"/>
                  </a:lnTo>
                  <a:lnTo>
                    <a:pt x="0"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45" name="Freeform 1083"/>
            <p:cNvSpPr>
              <a:spLocks/>
            </p:cNvSpPr>
            <p:nvPr/>
          </p:nvSpPr>
          <p:spPr bwMode="auto">
            <a:xfrm>
              <a:off x="6335786" y="2569803"/>
              <a:ext cx="6144" cy="2029"/>
            </a:xfrm>
            <a:custGeom>
              <a:avLst/>
              <a:gdLst/>
              <a:ahLst/>
              <a:cxnLst>
                <a:cxn ang="0">
                  <a:pos x="0" y="2"/>
                </a:cxn>
                <a:cxn ang="0">
                  <a:pos x="1" y="0"/>
                </a:cxn>
                <a:cxn ang="0">
                  <a:pos x="6" y="0"/>
                </a:cxn>
                <a:cxn ang="0">
                  <a:pos x="6" y="2"/>
                </a:cxn>
                <a:cxn ang="0">
                  <a:pos x="7" y="2"/>
                </a:cxn>
                <a:cxn ang="0">
                  <a:pos x="0" y="2"/>
                </a:cxn>
                <a:cxn ang="0">
                  <a:pos x="0" y="2"/>
                </a:cxn>
              </a:cxnLst>
              <a:rect l="0" t="0" r="r" b="b"/>
              <a:pathLst>
                <a:path w="7" h="2">
                  <a:moveTo>
                    <a:pt x="0" y="2"/>
                  </a:moveTo>
                  <a:lnTo>
                    <a:pt x="1" y="0"/>
                  </a:lnTo>
                  <a:lnTo>
                    <a:pt x="6" y="0"/>
                  </a:lnTo>
                  <a:lnTo>
                    <a:pt x="6" y="2"/>
                  </a:lnTo>
                  <a:lnTo>
                    <a:pt x="7" y="2"/>
                  </a:lnTo>
                  <a:lnTo>
                    <a:pt x="0" y="2"/>
                  </a:lnTo>
                  <a:lnTo>
                    <a:pt x="0"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46" name="Freeform 1084"/>
            <p:cNvSpPr>
              <a:spLocks/>
            </p:cNvSpPr>
            <p:nvPr/>
          </p:nvSpPr>
          <p:spPr bwMode="auto">
            <a:xfrm>
              <a:off x="6341053" y="2568790"/>
              <a:ext cx="18433" cy="12170"/>
            </a:xfrm>
            <a:custGeom>
              <a:avLst/>
              <a:gdLst/>
              <a:ahLst/>
              <a:cxnLst>
                <a:cxn ang="0">
                  <a:pos x="20" y="12"/>
                </a:cxn>
                <a:cxn ang="0">
                  <a:pos x="13" y="6"/>
                </a:cxn>
                <a:cxn ang="0">
                  <a:pos x="8" y="4"/>
                </a:cxn>
                <a:cxn ang="0">
                  <a:pos x="4" y="3"/>
                </a:cxn>
                <a:cxn ang="0">
                  <a:pos x="0" y="1"/>
                </a:cxn>
                <a:cxn ang="0">
                  <a:pos x="1" y="0"/>
                </a:cxn>
                <a:cxn ang="0">
                  <a:pos x="4" y="1"/>
                </a:cxn>
                <a:cxn ang="0">
                  <a:pos x="5" y="3"/>
                </a:cxn>
                <a:cxn ang="0">
                  <a:pos x="7" y="3"/>
                </a:cxn>
                <a:cxn ang="0">
                  <a:pos x="8" y="1"/>
                </a:cxn>
                <a:cxn ang="0">
                  <a:pos x="11" y="3"/>
                </a:cxn>
                <a:cxn ang="0">
                  <a:pos x="11" y="3"/>
                </a:cxn>
                <a:cxn ang="0">
                  <a:pos x="13" y="6"/>
                </a:cxn>
                <a:cxn ang="0">
                  <a:pos x="14" y="6"/>
                </a:cxn>
                <a:cxn ang="0">
                  <a:pos x="17" y="7"/>
                </a:cxn>
                <a:cxn ang="0">
                  <a:pos x="19" y="9"/>
                </a:cxn>
                <a:cxn ang="0">
                  <a:pos x="19" y="9"/>
                </a:cxn>
                <a:cxn ang="0">
                  <a:pos x="20" y="10"/>
                </a:cxn>
                <a:cxn ang="0">
                  <a:pos x="20" y="12"/>
                </a:cxn>
              </a:cxnLst>
              <a:rect l="0" t="0" r="r" b="b"/>
              <a:pathLst>
                <a:path w="20" h="12">
                  <a:moveTo>
                    <a:pt x="20" y="12"/>
                  </a:moveTo>
                  <a:lnTo>
                    <a:pt x="13" y="6"/>
                  </a:lnTo>
                  <a:lnTo>
                    <a:pt x="8" y="4"/>
                  </a:lnTo>
                  <a:lnTo>
                    <a:pt x="4" y="3"/>
                  </a:lnTo>
                  <a:lnTo>
                    <a:pt x="0" y="1"/>
                  </a:lnTo>
                  <a:lnTo>
                    <a:pt x="1" y="0"/>
                  </a:lnTo>
                  <a:lnTo>
                    <a:pt x="4" y="1"/>
                  </a:lnTo>
                  <a:lnTo>
                    <a:pt x="5" y="3"/>
                  </a:lnTo>
                  <a:lnTo>
                    <a:pt x="7" y="3"/>
                  </a:lnTo>
                  <a:lnTo>
                    <a:pt x="8" y="1"/>
                  </a:lnTo>
                  <a:lnTo>
                    <a:pt x="11" y="3"/>
                  </a:lnTo>
                  <a:lnTo>
                    <a:pt x="11" y="3"/>
                  </a:lnTo>
                  <a:lnTo>
                    <a:pt x="13" y="6"/>
                  </a:lnTo>
                  <a:lnTo>
                    <a:pt x="14" y="6"/>
                  </a:lnTo>
                  <a:lnTo>
                    <a:pt x="17" y="7"/>
                  </a:lnTo>
                  <a:lnTo>
                    <a:pt x="19" y="9"/>
                  </a:lnTo>
                  <a:lnTo>
                    <a:pt x="19" y="9"/>
                  </a:lnTo>
                  <a:lnTo>
                    <a:pt x="20" y="10"/>
                  </a:lnTo>
                  <a:lnTo>
                    <a:pt x="20" y="1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47" name="Freeform 1085"/>
            <p:cNvSpPr>
              <a:spLocks/>
            </p:cNvSpPr>
            <p:nvPr/>
          </p:nvSpPr>
          <p:spPr bwMode="auto">
            <a:xfrm>
              <a:off x="6341053" y="2568790"/>
              <a:ext cx="18433" cy="12170"/>
            </a:xfrm>
            <a:custGeom>
              <a:avLst/>
              <a:gdLst/>
              <a:ahLst/>
              <a:cxnLst>
                <a:cxn ang="0">
                  <a:pos x="20" y="12"/>
                </a:cxn>
                <a:cxn ang="0">
                  <a:pos x="13" y="6"/>
                </a:cxn>
                <a:cxn ang="0">
                  <a:pos x="8" y="4"/>
                </a:cxn>
                <a:cxn ang="0">
                  <a:pos x="4" y="3"/>
                </a:cxn>
                <a:cxn ang="0">
                  <a:pos x="0" y="1"/>
                </a:cxn>
                <a:cxn ang="0">
                  <a:pos x="1" y="0"/>
                </a:cxn>
                <a:cxn ang="0">
                  <a:pos x="4" y="1"/>
                </a:cxn>
                <a:cxn ang="0">
                  <a:pos x="5" y="3"/>
                </a:cxn>
                <a:cxn ang="0">
                  <a:pos x="7" y="3"/>
                </a:cxn>
                <a:cxn ang="0">
                  <a:pos x="8" y="1"/>
                </a:cxn>
                <a:cxn ang="0">
                  <a:pos x="11" y="3"/>
                </a:cxn>
                <a:cxn ang="0">
                  <a:pos x="11" y="3"/>
                </a:cxn>
                <a:cxn ang="0">
                  <a:pos x="13" y="6"/>
                </a:cxn>
                <a:cxn ang="0">
                  <a:pos x="14" y="6"/>
                </a:cxn>
                <a:cxn ang="0">
                  <a:pos x="17" y="7"/>
                </a:cxn>
                <a:cxn ang="0">
                  <a:pos x="19" y="9"/>
                </a:cxn>
                <a:cxn ang="0">
                  <a:pos x="19" y="9"/>
                </a:cxn>
                <a:cxn ang="0">
                  <a:pos x="20" y="10"/>
                </a:cxn>
                <a:cxn ang="0">
                  <a:pos x="20" y="12"/>
                </a:cxn>
              </a:cxnLst>
              <a:rect l="0" t="0" r="r" b="b"/>
              <a:pathLst>
                <a:path w="20" h="12">
                  <a:moveTo>
                    <a:pt x="20" y="12"/>
                  </a:moveTo>
                  <a:lnTo>
                    <a:pt x="13" y="6"/>
                  </a:lnTo>
                  <a:lnTo>
                    <a:pt x="8" y="4"/>
                  </a:lnTo>
                  <a:lnTo>
                    <a:pt x="4" y="3"/>
                  </a:lnTo>
                  <a:lnTo>
                    <a:pt x="0" y="1"/>
                  </a:lnTo>
                  <a:lnTo>
                    <a:pt x="1" y="0"/>
                  </a:lnTo>
                  <a:lnTo>
                    <a:pt x="4" y="1"/>
                  </a:lnTo>
                  <a:lnTo>
                    <a:pt x="5" y="3"/>
                  </a:lnTo>
                  <a:lnTo>
                    <a:pt x="7" y="3"/>
                  </a:lnTo>
                  <a:lnTo>
                    <a:pt x="8" y="1"/>
                  </a:lnTo>
                  <a:lnTo>
                    <a:pt x="11" y="3"/>
                  </a:lnTo>
                  <a:lnTo>
                    <a:pt x="11" y="3"/>
                  </a:lnTo>
                  <a:lnTo>
                    <a:pt x="13" y="6"/>
                  </a:lnTo>
                  <a:lnTo>
                    <a:pt x="14" y="6"/>
                  </a:lnTo>
                  <a:lnTo>
                    <a:pt x="17" y="7"/>
                  </a:lnTo>
                  <a:lnTo>
                    <a:pt x="19" y="9"/>
                  </a:lnTo>
                  <a:lnTo>
                    <a:pt x="19" y="9"/>
                  </a:lnTo>
                  <a:lnTo>
                    <a:pt x="20" y="10"/>
                  </a:lnTo>
                  <a:lnTo>
                    <a:pt x="20" y="1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48" name="Freeform 1086"/>
            <p:cNvSpPr>
              <a:spLocks/>
            </p:cNvSpPr>
            <p:nvPr/>
          </p:nvSpPr>
          <p:spPr bwMode="auto">
            <a:xfrm>
              <a:off x="6295406" y="2495772"/>
              <a:ext cx="76368" cy="74031"/>
            </a:xfrm>
            <a:custGeom>
              <a:avLst/>
              <a:gdLst/>
              <a:ahLst/>
              <a:cxnLst>
                <a:cxn ang="0">
                  <a:pos x="63" y="16"/>
                </a:cxn>
                <a:cxn ang="0">
                  <a:pos x="53" y="9"/>
                </a:cxn>
                <a:cxn ang="0">
                  <a:pos x="44" y="2"/>
                </a:cxn>
                <a:cxn ang="0">
                  <a:pos x="39" y="0"/>
                </a:cxn>
                <a:cxn ang="0">
                  <a:pos x="38" y="2"/>
                </a:cxn>
                <a:cxn ang="0">
                  <a:pos x="38" y="5"/>
                </a:cxn>
                <a:cxn ang="0">
                  <a:pos x="35" y="6"/>
                </a:cxn>
                <a:cxn ang="0">
                  <a:pos x="29" y="10"/>
                </a:cxn>
                <a:cxn ang="0">
                  <a:pos x="29" y="16"/>
                </a:cxn>
                <a:cxn ang="0">
                  <a:pos x="25" y="21"/>
                </a:cxn>
                <a:cxn ang="0">
                  <a:pos x="23" y="26"/>
                </a:cxn>
                <a:cxn ang="0">
                  <a:pos x="19" y="25"/>
                </a:cxn>
                <a:cxn ang="0">
                  <a:pos x="19" y="25"/>
                </a:cxn>
                <a:cxn ang="0">
                  <a:pos x="13" y="19"/>
                </a:cxn>
                <a:cxn ang="0">
                  <a:pos x="6" y="22"/>
                </a:cxn>
                <a:cxn ang="0">
                  <a:pos x="0" y="22"/>
                </a:cxn>
                <a:cxn ang="0">
                  <a:pos x="5" y="36"/>
                </a:cxn>
                <a:cxn ang="0">
                  <a:pos x="15" y="26"/>
                </a:cxn>
                <a:cxn ang="0">
                  <a:pos x="19" y="31"/>
                </a:cxn>
                <a:cxn ang="0">
                  <a:pos x="22" y="41"/>
                </a:cxn>
                <a:cxn ang="0">
                  <a:pos x="23" y="48"/>
                </a:cxn>
                <a:cxn ang="0">
                  <a:pos x="34" y="57"/>
                </a:cxn>
                <a:cxn ang="0">
                  <a:pos x="57" y="71"/>
                </a:cxn>
                <a:cxn ang="0">
                  <a:pos x="53" y="61"/>
                </a:cxn>
                <a:cxn ang="0">
                  <a:pos x="45" y="55"/>
                </a:cxn>
                <a:cxn ang="0">
                  <a:pos x="39" y="50"/>
                </a:cxn>
                <a:cxn ang="0">
                  <a:pos x="37" y="44"/>
                </a:cxn>
                <a:cxn ang="0">
                  <a:pos x="37" y="41"/>
                </a:cxn>
                <a:cxn ang="0">
                  <a:pos x="34" y="36"/>
                </a:cxn>
                <a:cxn ang="0">
                  <a:pos x="32" y="32"/>
                </a:cxn>
                <a:cxn ang="0">
                  <a:pos x="34" y="25"/>
                </a:cxn>
                <a:cxn ang="0">
                  <a:pos x="39" y="31"/>
                </a:cxn>
                <a:cxn ang="0">
                  <a:pos x="47" y="26"/>
                </a:cxn>
                <a:cxn ang="0">
                  <a:pos x="51" y="28"/>
                </a:cxn>
                <a:cxn ang="0">
                  <a:pos x="54" y="28"/>
                </a:cxn>
                <a:cxn ang="0">
                  <a:pos x="60" y="28"/>
                </a:cxn>
                <a:cxn ang="0">
                  <a:pos x="64" y="28"/>
                </a:cxn>
                <a:cxn ang="0">
                  <a:pos x="66" y="29"/>
                </a:cxn>
                <a:cxn ang="0">
                  <a:pos x="71" y="31"/>
                </a:cxn>
                <a:cxn ang="0">
                  <a:pos x="73" y="29"/>
                </a:cxn>
                <a:cxn ang="0">
                  <a:pos x="74" y="32"/>
                </a:cxn>
                <a:cxn ang="0">
                  <a:pos x="80" y="32"/>
                </a:cxn>
                <a:cxn ang="0">
                  <a:pos x="79" y="28"/>
                </a:cxn>
                <a:cxn ang="0">
                  <a:pos x="80" y="26"/>
                </a:cxn>
                <a:cxn ang="0">
                  <a:pos x="83" y="26"/>
                </a:cxn>
                <a:cxn ang="0">
                  <a:pos x="80" y="25"/>
                </a:cxn>
                <a:cxn ang="0">
                  <a:pos x="77" y="23"/>
                </a:cxn>
                <a:cxn ang="0">
                  <a:pos x="77" y="22"/>
                </a:cxn>
                <a:cxn ang="0">
                  <a:pos x="79" y="21"/>
                </a:cxn>
                <a:cxn ang="0">
                  <a:pos x="77" y="19"/>
                </a:cxn>
                <a:cxn ang="0">
                  <a:pos x="76" y="19"/>
                </a:cxn>
                <a:cxn ang="0">
                  <a:pos x="76" y="16"/>
                </a:cxn>
                <a:cxn ang="0">
                  <a:pos x="73" y="13"/>
                </a:cxn>
              </a:cxnLst>
              <a:rect l="0" t="0" r="r" b="b"/>
              <a:pathLst>
                <a:path w="83" h="71">
                  <a:moveTo>
                    <a:pt x="73" y="13"/>
                  </a:moveTo>
                  <a:lnTo>
                    <a:pt x="70" y="15"/>
                  </a:lnTo>
                  <a:lnTo>
                    <a:pt x="63" y="16"/>
                  </a:lnTo>
                  <a:lnTo>
                    <a:pt x="58" y="15"/>
                  </a:lnTo>
                  <a:lnTo>
                    <a:pt x="55" y="13"/>
                  </a:lnTo>
                  <a:lnTo>
                    <a:pt x="53" y="9"/>
                  </a:lnTo>
                  <a:lnTo>
                    <a:pt x="50" y="7"/>
                  </a:lnTo>
                  <a:lnTo>
                    <a:pt x="47" y="3"/>
                  </a:lnTo>
                  <a:lnTo>
                    <a:pt x="44" y="2"/>
                  </a:lnTo>
                  <a:lnTo>
                    <a:pt x="42" y="2"/>
                  </a:lnTo>
                  <a:lnTo>
                    <a:pt x="42" y="2"/>
                  </a:lnTo>
                  <a:lnTo>
                    <a:pt x="39" y="0"/>
                  </a:lnTo>
                  <a:lnTo>
                    <a:pt x="39" y="0"/>
                  </a:lnTo>
                  <a:lnTo>
                    <a:pt x="38" y="2"/>
                  </a:lnTo>
                  <a:lnTo>
                    <a:pt x="38" y="2"/>
                  </a:lnTo>
                  <a:lnTo>
                    <a:pt x="38" y="5"/>
                  </a:lnTo>
                  <a:lnTo>
                    <a:pt x="38" y="5"/>
                  </a:lnTo>
                  <a:lnTo>
                    <a:pt x="38" y="5"/>
                  </a:lnTo>
                  <a:lnTo>
                    <a:pt x="35" y="5"/>
                  </a:lnTo>
                  <a:lnTo>
                    <a:pt x="35" y="5"/>
                  </a:lnTo>
                  <a:lnTo>
                    <a:pt x="35" y="6"/>
                  </a:lnTo>
                  <a:lnTo>
                    <a:pt x="29" y="7"/>
                  </a:lnTo>
                  <a:lnTo>
                    <a:pt x="29" y="9"/>
                  </a:lnTo>
                  <a:lnTo>
                    <a:pt x="29" y="10"/>
                  </a:lnTo>
                  <a:lnTo>
                    <a:pt x="31" y="12"/>
                  </a:lnTo>
                  <a:lnTo>
                    <a:pt x="31" y="15"/>
                  </a:lnTo>
                  <a:lnTo>
                    <a:pt x="29" y="16"/>
                  </a:lnTo>
                  <a:lnTo>
                    <a:pt x="26" y="16"/>
                  </a:lnTo>
                  <a:lnTo>
                    <a:pt x="23" y="19"/>
                  </a:lnTo>
                  <a:lnTo>
                    <a:pt x="25" y="21"/>
                  </a:lnTo>
                  <a:lnTo>
                    <a:pt x="23" y="22"/>
                  </a:lnTo>
                  <a:lnTo>
                    <a:pt x="25" y="25"/>
                  </a:lnTo>
                  <a:lnTo>
                    <a:pt x="23" y="26"/>
                  </a:lnTo>
                  <a:lnTo>
                    <a:pt x="22" y="26"/>
                  </a:lnTo>
                  <a:lnTo>
                    <a:pt x="21" y="25"/>
                  </a:lnTo>
                  <a:lnTo>
                    <a:pt x="19" y="25"/>
                  </a:lnTo>
                  <a:lnTo>
                    <a:pt x="19" y="23"/>
                  </a:lnTo>
                  <a:lnTo>
                    <a:pt x="19" y="23"/>
                  </a:lnTo>
                  <a:lnTo>
                    <a:pt x="19" y="25"/>
                  </a:lnTo>
                  <a:lnTo>
                    <a:pt x="18" y="25"/>
                  </a:lnTo>
                  <a:lnTo>
                    <a:pt x="15" y="21"/>
                  </a:lnTo>
                  <a:lnTo>
                    <a:pt x="13" y="19"/>
                  </a:lnTo>
                  <a:lnTo>
                    <a:pt x="12" y="23"/>
                  </a:lnTo>
                  <a:lnTo>
                    <a:pt x="8" y="23"/>
                  </a:lnTo>
                  <a:lnTo>
                    <a:pt x="6" y="22"/>
                  </a:lnTo>
                  <a:lnTo>
                    <a:pt x="6" y="23"/>
                  </a:lnTo>
                  <a:lnTo>
                    <a:pt x="2" y="23"/>
                  </a:lnTo>
                  <a:lnTo>
                    <a:pt x="0" y="22"/>
                  </a:lnTo>
                  <a:lnTo>
                    <a:pt x="0" y="28"/>
                  </a:lnTo>
                  <a:lnTo>
                    <a:pt x="5" y="35"/>
                  </a:lnTo>
                  <a:lnTo>
                    <a:pt x="5" y="36"/>
                  </a:lnTo>
                  <a:lnTo>
                    <a:pt x="6" y="35"/>
                  </a:lnTo>
                  <a:lnTo>
                    <a:pt x="12" y="26"/>
                  </a:lnTo>
                  <a:lnTo>
                    <a:pt x="15" y="26"/>
                  </a:lnTo>
                  <a:lnTo>
                    <a:pt x="16" y="29"/>
                  </a:lnTo>
                  <a:lnTo>
                    <a:pt x="18" y="29"/>
                  </a:lnTo>
                  <a:lnTo>
                    <a:pt x="19" y="31"/>
                  </a:lnTo>
                  <a:lnTo>
                    <a:pt x="19" y="34"/>
                  </a:lnTo>
                  <a:lnTo>
                    <a:pt x="19" y="38"/>
                  </a:lnTo>
                  <a:lnTo>
                    <a:pt x="22" y="41"/>
                  </a:lnTo>
                  <a:lnTo>
                    <a:pt x="26" y="45"/>
                  </a:lnTo>
                  <a:lnTo>
                    <a:pt x="23" y="47"/>
                  </a:lnTo>
                  <a:lnTo>
                    <a:pt x="23" y="48"/>
                  </a:lnTo>
                  <a:lnTo>
                    <a:pt x="23" y="50"/>
                  </a:lnTo>
                  <a:lnTo>
                    <a:pt x="26" y="52"/>
                  </a:lnTo>
                  <a:lnTo>
                    <a:pt x="34" y="57"/>
                  </a:lnTo>
                  <a:lnTo>
                    <a:pt x="35" y="61"/>
                  </a:lnTo>
                  <a:lnTo>
                    <a:pt x="42" y="63"/>
                  </a:lnTo>
                  <a:lnTo>
                    <a:pt x="57" y="71"/>
                  </a:lnTo>
                  <a:lnTo>
                    <a:pt x="58" y="71"/>
                  </a:lnTo>
                  <a:lnTo>
                    <a:pt x="53" y="64"/>
                  </a:lnTo>
                  <a:lnTo>
                    <a:pt x="53" y="61"/>
                  </a:lnTo>
                  <a:lnTo>
                    <a:pt x="51" y="61"/>
                  </a:lnTo>
                  <a:lnTo>
                    <a:pt x="50" y="60"/>
                  </a:lnTo>
                  <a:lnTo>
                    <a:pt x="45" y="55"/>
                  </a:lnTo>
                  <a:lnTo>
                    <a:pt x="44" y="54"/>
                  </a:lnTo>
                  <a:lnTo>
                    <a:pt x="42" y="50"/>
                  </a:lnTo>
                  <a:lnTo>
                    <a:pt x="39" y="50"/>
                  </a:lnTo>
                  <a:lnTo>
                    <a:pt x="38" y="47"/>
                  </a:lnTo>
                  <a:lnTo>
                    <a:pt x="37" y="47"/>
                  </a:lnTo>
                  <a:lnTo>
                    <a:pt x="37" y="44"/>
                  </a:lnTo>
                  <a:lnTo>
                    <a:pt x="38" y="44"/>
                  </a:lnTo>
                  <a:lnTo>
                    <a:pt x="37" y="42"/>
                  </a:lnTo>
                  <a:lnTo>
                    <a:pt x="37" y="41"/>
                  </a:lnTo>
                  <a:lnTo>
                    <a:pt x="35" y="39"/>
                  </a:lnTo>
                  <a:lnTo>
                    <a:pt x="34" y="36"/>
                  </a:lnTo>
                  <a:lnTo>
                    <a:pt x="34" y="36"/>
                  </a:lnTo>
                  <a:lnTo>
                    <a:pt x="31" y="34"/>
                  </a:lnTo>
                  <a:lnTo>
                    <a:pt x="31" y="34"/>
                  </a:lnTo>
                  <a:lnTo>
                    <a:pt x="32" y="32"/>
                  </a:lnTo>
                  <a:lnTo>
                    <a:pt x="32" y="32"/>
                  </a:lnTo>
                  <a:lnTo>
                    <a:pt x="32" y="26"/>
                  </a:lnTo>
                  <a:lnTo>
                    <a:pt x="34" y="25"/>
                  </a:lnTo>
                  <a:lnTo>
                    <a:pt x="35" y="26"/>
                  </a:lnTo>
                  <a:lnTo>
                    <a:pt x="35" y="26"/>
                  </a:lnTo>
                  <a:lnTo>
                    <a:pt x="39" y="31"/>
                  </a:lnTo>
                  <a:lnTo>
                    <a:pt x="39" y="31"/>
                  </a:lnTo>
                  <a:lnTo>
                    <a:pt x="42" y="26"/>
                  </a:lnTo>
                  <a:lnTo>
                    <a:pt x="47" y="26"/>
                  </a:lnTo>
                  <a:lnTo>
                    <a:pt x="48" y="25"/>
                  </a:lnTo>
                  <a:lnTo>
                    <a:pt x="48" y="25"/>
                  </a:lnTo>
                  <a:lnTo>
                    <a:pt x="51" y="28"/>
                  </a:lnTo>
                  <a:lnTo>
                    <a:pt x="53" y="28"/>
                  </a:lnTo>
                  <a:lnTo>
                    <a:pt x="53" y="26"/>
                  </a:lnTo>
                  <a:lnTo>
                    <a:pt x="54" y="28"/>
                  </a:lnTo>
                  <a:lnTo>
                    <a:pt x="58" y="28"/>
                  </a:lnTo>
                  <a:lnTo>
                    <a:pt x="58" y="28"/>
                  </a:lnTo>
                  <a:lnTo>
                    <a:pt x="60" y="28"/>
                  </a:lnTo>
                  <a:lnTo>
                    <a:pt x="61" y="29"/>
                  </a:lnTo>
                  <a:lnTo>
                    <a:pt x="61" y="29"/>
                  </a:lnTo>
                  <a:lnTo>
                    <a:pt x="64" y="28"/>
                  </a:lnTo>
                  <a:lnTo>
                    <a:pt x="64" y="28"/>
                  </a:lnTo>
                  <a:lnTo>
                    <a:pt x="66" y="29"/>
                  </a:lnTo>
                  <a:lnTo>
                    <a:pt x="66" y="29"/>
                  </a:lnTo>
                  <a:lnTo>
                    <a:pt x="67" y="28"/>
                  </a:lnTo>
                  <a:lnTo>
                    <a:pt x="70" y="29"/>
                  </a:lnTo>
                  <a:lnTo>
                    <a:pt x="71" y="31"/>
                  </a:lnTo>
                  <a:lnTo>
                    <a:pt x="71" y="29"/>
                  </a:lnTo>
                  <a:lnTo>
                    <a:pt x="71" y="29"/>
                  </a:lnTo>
                  <a:lnTo>
                    <a:pt x="73" y="29"/>
                  </a:lnTo>
                  <a:lnTo>
                    <a:pt x="74" y="31"/>
                  </a:lnTo>
                  <a:lnTo>
                    <a:pt x="74" y="32"/>
                  </a:lnTo>
                  <a:lnTo>
                    <a:pt x="74" y="32"/>
                  </a:lnTo>
                  <a:lnTo>
                    <a:pt x="76" y="34"/>
                  </a:lnTo>
                  <a:lnTo>
                    <a:pt x="79" y="34"/>
                  </a:lnTo>
                  <a:lnTo>
                    <a:pt x="80" y="32"/>
                  </a:lnTo>
                  <a:lnTo>
                    <a:pt x="80" y="31"/>
                  </a:lnTo>
                  <a:lnTo>
                    <a:pt x="79" y="31"/>
                  </a:lnTo>
                  <a:lnTo>
                    <a:pt x="79" y="28"/>
                  </a:lnTo>
                  <a:lnTo>
                    <a:pt x="80" y="28"/>
                  </a:lnTo>
                  <a:lnTo>
                    <a:pt x="80" y="26"/>
                  </a:lnTo>
                  <a:lnTo>
                    <a:pt x="80" y="26"/>
                  </a:lnTo>
                  <a:lnTo>
                    <a:pt x="83" y="26"/>
                  </a:lnTo>
                  <a:lnTo>
                    <a:pt x="83" y="26"/>
                  </a:lnTo>
                  <a:lnTo>
                    <a:pt x="83" y="26"/>
                  </a:lnTo>
                  <a:lnTo>
                    <a:pt x="83" y="25"/>
                  </a:lnTo>
                  <a:lnTo>
                    <a:pt x="82" y="25"/>
                  </a:lnTo>
                  <a:lnTo>
                    <a:pt x="80" y="25"/>
                  </a:lnTo>
                  <a:lnTo>
                    <a:pt x="80" y="25"/>
                  </a:lnTo>
                  <a:lnTo>
                    <a:pt x="79" y="23"/>
                  </a:lnTo>
                  <a:lnTo>
                    <a:pt x="77" y="23"/>
                  </a:lnTo>
                  <a:lnTo>
                    <a:pt x="77" y="23"/>
                  </a:lnTo>
                  <a:lnTo>
                    <a:pt x="77" y="22"/>
                  </a:lnTo>
                  <a:lnTo>
                    <a:pt x="77" y="22"/>
                  </a:lnTo>
                  <a:lnTo>
                    <a:pt x="77" y="21"/>
                  </a:lnTo>
                  <a:lnTo>
                    <a:pt x="77" y="21"/>
                  </a:lnTo>
                  <a:lnTo>
                    <a:pt x="79" y="21"/>
                  </a:lnTo>
                  <a:lnTo>
                    <a:pt x="79" y="21"/>
                  </a:lnTo>
                  <a:lnTo>
                    <a:pt x="77" y="19"/>
                  </a:lnTo>
                  <a:lnTo>
                    <a:pt x="77" y="19"/>
                  </a:lnTo>
                  <a:lnTo>
                    <a:pt x="76" y="21"/>
                  </a:lnTo>
                  <a:lnTo>
                    <a:pt x="76" y="19"/>
                  </a:lnTo>
                  <a:lnTo>
                    <a:pt x="76" y="19"/>
                  </a:lnTo>
                  <a:lnTo>
                    <a:pt x="76" y="18"/>
                  </a:lnTo>
                  <a:lnTo>
                    <a:pt x="76" y="18"/>
                  </a:lnTo>
                  <a:lnTo>
                    <a:pt x="76" y="16"/>
                  </a:lnTo>
                  <a:lnTo>
                    <a:pt x="76" y="16"/>
                  </a:lnTo>
                  <a:lnTo>
                    <a:pt x="76" y="15"/>
                  </a:lnTo>
                  <a:lnTo>
                    <a:pt x="73" y="1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49" name="Freeform 1087"/>
            <p:cNvSpPr>
              <a:spLocks/>
            </p:cNvSpPr>
            <p:nvPr/>
          </p:nvSpPr>
          <p:spPr bwMode="auto">
            <a:xfrm>
              <a:off x="6295406" y="2495772"/>
              <a:ext cx="76368" cy="74031"/>
            </a:xfrm>
            <a:custGeom>
              <a:avLst/>
              <a:gdLst/>
              <a:ahLst/>
              <a:cxnLst>
                <a:cxn ang="0">
                  <a:pos x="63" y="16"/>
                </a:cxn>
                <a:cxn ang="0">
                  <a:pos x="53" y="9"/>
                </a:cxn>
                <a:cxn ang="0">
                  <a:pos x="44" y="2"/>
                </a:cxn>
                <a:cxn ang="0">
                  <a:pos x="39" y="0"/>
                </a:cxn>
                <a:cxn ang="0">
                  <a:pos x="38" y="2"/>
                </a:cxn>
                <a:cxn ang="0">
                  <a:pos x="38" y="5"/>
                </a:cxn>
                <a:cxn ang="0">
                  <a:pos x="35" y="6"/>
                </a:cxn>
                <a:cxn ang="0">
                  <a:pos x="29" y="10"/>
                </a:cxn>
                <a:cxn ang="0">
                  <a:pos x="29" y="16"/>
                </a:cxn>
                <a:cxn ang="0">
                  <a:pos x="25" y="21"/>
                </a:cxn>
                <a:cxn ang="0">
                  <a:pos x="23" y="26"/>
                </a:cxn>
                <a:cxn ang="0">
                  <a:pos x="19" y="25"/>
                </a:cxn>
                <a:cxn ang="0">
                  <a:pos x="19" y="25"/>
                </a:cxn>
                <a:cxn ang="0">
                  <a:pos x="13" y="19"/>
                </a:cxn>
                <a:cxn ang="0">
                  <a:pos x="6" y="22"/>
                </a:cxn>
                <a:cxn ang="0">
                  <a:pos x="0" y="22"/>
                </a:cxn>
                <a:cxn ang="0">
                  <a:pos x="5" y="36"/>
                </a:cxn>
                <a:cxn ang="0">
                  <a:pos x="15" y="26"/>
                </a:cxn>
                <a:cxn ang="0">
                  <a:pos x="19" y="31"/>
                </a:cxn>
                <a:cxn ang="0">
                  <a:pos x="22" y="41"/>
                </a:cxn>
                <a:cxn ang="0">
                  <a:pos x="23" y="48"/>
                </a:cxn>
                <a:cxn ang="0">
                  <a:pos x="34" y="57"/>
                </a:cxn>
                <a:cxn ang="0">
                  <a:pos x="57" y="71"/>
                </a:cxn>
                <a:cxn ang="0">
                  <a:pos x="53" y="61"/>
                </a:cxn>
                <a:cxn ang="0">
                  <a:pos x="45" y="55"/>
                </a:cxn>
                <a:cxn ang="0">
                  <a:pos x="39" y="50"/>
                </a:cxn>
                <a:cxn ang="0">
                  <a:pos x="37" y="44"/>
                </a:cxn>
                <a:cxn ang="0">
                  <a:pos x="37" y="41"/>
                </a:cxn>
                <a:cxn ang="0">
                  <a:pos x="34" y="36"/>
                </a:cxn>
                <a:cxn ang="0">
                  <a:pos x="32" y="32"/>
                </a:cxn>
                <a:cxn ang="0">
                  <a:pos x="34" y="25"/>
                </a:cxn>
                <a:cxn ang="0">
                  <a:pos x="39" y="31"/>
                </a:cxn>
                <a:cxn ang="0">
                  <a:pos x="47" y="26"/>
                </a:cxn>
                <a:cxn ang="0">
                  <a:pos x="51" y="28"/>
                </a:cxn>
                <a:cxn ang="0">
                  <a:pos x="54" y="28"/>
                </a:cxn>
                <a:cxn ang="0">
                  <a:pos x="60" y="28"/>
                </a:cxn>
                <a:cxn ang="0">
                  <a:pos x="64" y="28"/>
                </a:cxn>
                <a:cxn ang="0">
                  <a:pos x="66" y="29"/>
                </a:cxn>
                <a:cxn ang="0">
                  <a:pos x="71" y="31"/>
                </a:cxn>
                <a:cxn ang="0">
                  <a:pos x="73" y="29"/>
                </a:cxn>
                <a:cxn ang="0">
                  <a:pos x="74" y="32"/>
                </a:cxn>
                <a:cxn ang="0">
                  <a:pos x="80" y="32"/>
                </a:cxn>
                <a:cxn ang="0">
                  <a:pos x="79" y="28"/>
                </a:cxn>
                <a:cxn ang="0">
                  <a:pos x="80" y="26"/>
                </a:cxn>
                <a:cxn ang="0">
                  <a:pos x="83" y="26"/>
                </a:cxn>
                <a:cxn ang="0">
                  <a:pos x="80" y="25"/>
                </a:cxn>
                <a:cxn ang="0">
                  <a:pos x="77" y="23"/>
                </a:cxn>
                <a:cxn ang="0">
                  <a:pos x="77" y="22"/>
                </a:cxn>
                <a:cxn ang="0">
                  <a:pos x="79" y="21"/>
                </a:cxn>
                <a:cxn ang="0">
                  <a:pos x="77" y="19"/>
                </a:cxn>
                <a:cxn ang="0">
                  <a:pos x="76" y="19"/>
                </a:cxn>
                <a:cxn ang="0">
                  <a:pos x="76" y="16"/>
                </a:cxn>
                <a:cxn ang="0">
                  <a:pos x="73" y="13"/>
                </a:cxn>
              </a:cxnLst>
              <a:rect l="0" t="0" r="r" b="b"/>
              <a:pathLst>
                <a:path w="83" h="71">
                  <a:moveTo>
                    <a:pt x="73" y="13"/>
                  </a:moveTo>
                  <a:lnTo>
                    <a:pt x="70" y="15"/>
                  </a:lnTo>
                  <a:lnTo>
                    <a:pt x="63" y="16"/>
                  </a:lnTo>
                  <a:lnTo>
                    <a:pt x="58" y="15"/>
                  </a:lnTo>
                  <a:lnTo>
                    <a:pt x="55" y="13"/>
                  </a:lnTo>
                  <a:lnTo>
                    <a:pt x="53" y="9"/>
                  </a:lnTo>
                  <a:lnTo>
                    <a:pt x="50" y="7"/>
                  </a:lnTo>
                  <a:lnTo>
                    <a:pt x="47" y="3"/>
                  </a:lnTo>
                  <a:lnTo>
                    <a:pt x="44" y="2"/>
                  </a:lnTo>
                  <a:lnTo>
                    <a:pt x="42" y="2"/>
                  </a:lnTo>
                  <a:lnTo>
                    <a:pt x="42" y="2"/>
                  </a:lnTo>
                  <a:lnTo>
                    <a:pt x="39" y="0"/>
                  </a:lnTo>
                  <a:lnTo>
                    <a:pt x="39" y="0"/>
                  </a:lnTo>
                  <a:lnTo>
                    <a:pt x="38" y="2"/>
                  </a:lnTo>
                  <a:lnTo>
                    <a:pt x="38" y="2"/>
                  </a:lnTo>
                  <a:lnTo>
                    <a:pt x="38" y="5"/>
                  </a:lnTo>
                  <a:lnTo>
                    <a:pt x="38" y="5"/>
                  </a:lnTo>
                  <a:lnTo>
                    <a:pt x="38" y="5"/>
                  </a:lnTo>
                  <a:lnTo>
                    <a:pt x="35" y="5"/>
                  </a:lnTo>
                  <a:lnTo>
                    <a:pt x="35" y="5"/>
                  </a:lnTo>
                  <a:lnTo>
                    <a:pt x="35" y="6"/>
                  </a:lnTo>
                  <a:lnTo>
                    <a:pt x="29" y="7"/>
                  </a:lnTo>
                  <a:lnTo>
                    <a:pt x="29" y="9"/>
                  </a:lnTo>
                  <a:lnTo>
                    <a:pt x="29" y="10"/>
                  </a:lnTo>
                  <a:lnTo>
                    <a:pt x="31" y="12"/>
                  </a:lnTo>
                  <a:lnTo>
                    <a:pt x="31" y="15"/>
                  </a:lnTo>
                  <a:lnTo>
                    <a:pt x="29" y="16"/>
                  </a:lnTo>
                  <a:lnTo>
                    <a:pt x="26" y="16"/>
                  </a:lnTo>
                  <a:lnTo>
                    <a:pt x="23" y="19"/>
                  </a:lnTo>
                  <a:lnTo>
                    <a:pt x="25" y="21"/>
                  </a:lnTo>
                  <a:lnTo>
                    <a:pt x="23" y="22"/>
                  </a:lnTo>
                  <a:lnTo>
                    <a:pt x="25" y="25"/>
                  </a:lnTo>
                  <a:lnTo>
                    <a:pt x="23" y="26"/>
                  </a:lnTo>
                  <a:lnTo>
                    <a:pt x="22" y="26"/>
                  </a:lnTo>
                  <a:lnTo>
                    <a:pt x="21" y="25"/>
                  </a:lnTo>
                  <a:lnTo>
                    <a:pt x="19" y="25"/>
                  </a:lnTo>
                  <a:lnTo>
                    <a:pt x="19" y="23"/>
                  </a:lnTo>
                  <a:lnTo>
                    <a:pt x="19" y="23"/>
                  </a:lnTo>
                  <a:lnTo>
                    <a:pt x="19" y="25"/>
                  </a:lnTo>
                  <a:lnTo>
                    <a:pt x="18" y="25"/>
                  </a:lnTo>
                  <a:lnTo>
                    <a:pt x="15" y="21"/>
                  </a:lnTo>
                  <a:lnTo>
                    <a:pt x="13" y="19"/>
                  </a:lnTo>
                  <a:lnTo>
                    <a:pt x="12" y="23"/>
                  </a:lnTo>
                  <a:lnTo>
                    <a:pt x="8" y="23"/>
                  </a:lnTo>
                  <a:lnTo>
                    <a:pt x="6" y="22"/>
                  </a:lnTo>
                  <a:lnTo>
                    <a:pt x="6" y="23"/>
                  </a:lnTo>
                  <a:lnTo>
                    <a:pt x="2" y="23"/>
                  </a:lnTo>
                  <a:lnTo>
                    <a:pt x="0" y="22"/>
                  </a:lnTo>
                  <a:lnTo>
                    <a:pt x="0" y="28"/>
                  </a:lnTo>
                  <a:lnTo>
                    <a:pt x="5" y="35"/>
                  </a:lnTo>
                  <a:lnTo>
                    <a:pt x="5" y="36"/>
                  </a:lnTo>
                  <a:lnTo>
                    <a:pt x="6" y="35"/>
                  </a:lnTo>
                  <a:lnTo>
                    <a:pt x="12" y="26"/>
                  </a:lnTo>
                  <a:lnTo>
                    <a:pt x="15" y="26"/>
                  </a:lnTo>
                  <a:lnTo>
                    <a:pt x="16" y="29"/>
                  </a:lnTo>
                  <a:lnTo>
                    <a:pt x="18" y="29"/>
                  </a:lnTo>
                  <a:lnTo>
                    <a:pt x="19" y="31"/>
                  </a:lnTo>
                  <a:lnTo>
                    <a:pt x="19" y="34"/>
                  </a:lnTo>
                  <a:lnTo>
                    <a:pt x="19" y="38"/>
                  </a:lnTo>
                  <a:lnTo>
                    <a:pt x="22" y="41"/>
                  </a:lnTo>
                  <a:lnTo>
                    <a:pt x="26" y="45"/>
                  </a:lnTo>
                  <a:lnTo>
                    <a:pt x="23" y="47"/>
                  </a:lnTo>
                  <a:lnTo>
                    <a:pt x="23" y="48"/>
                  </a:lnTo>
                  <a:lnTo>
                    <a:pt x="23" y="50"/>
                  </a:lnTo>
                  <a:lnTo>
                    <a:pt x="26" y="52"/>
                  </a:lnTo>
                  <a:lnTo>
                    <a:pt x="34" y="57"/>
                  </a:lnTo>
                  <a:lnTo>
                    <a:pt x="35" y="61"/>
                  </a:lnTo>
                  <a:lnTo>
                    <a:pt x="42" y="63"/>
                  </a:lnTo>
                  <a:lnTo>
                    <a:pt x="57" y="71"/>
                  </a:lnTo>
                  <a:lnTo>
                    <a:pt x="58" y="71"/>
                  </a:lnTo>
                  <a:lnTo>
                    <a:pt x="53" y="64"/>
                  </a:lnTo>
                  <a:lnTo>
                    <a:pt x="53" y="61"/>
                  </a:lnTo>
                  <a:lnTo>
                    <a:pt x="51" y="61"/>
                  </a:lnTo>
                  <a:lnTo>
                    <a:pt x="50" y="60"/>
                  </a:lnTo>
                  <a:lnTo>
                    <a:pt x="45" y="55"/>
                  </a:lnTo>
                  <a:lnTo>
                    <a:pt x="44" y="54"/>
                  </a:lnTo>
                  <a:lnTo>
                    <a:pt x="42" y="50"/>
                  </a:lnTo>
                  <a:lnTo>
                    <a:pt x="39" y="50"/>
                  </a:lnTo>
                  <a:lnTo>
                    <a:pt x="38" y="47"/>
                  </a:lnTo>
                  <a:lnTo>
                    <a:pt x="37" y="47"/>
                  </a:lnTo>
                  <a:lnTo>
                    <a:pt x="37" y="44"/>
                  </a:lnTo>
                  <a:lnTo>
                    <a:pt x="38" y="44"/>
                  </a:lnTo>
                  <a:lnTo>
                    <a:pt x="37" y="42"/>
                  </a:lnTo>
                  <a:lnTo>
                    <a:pt x="37" y="41"/>
                  </a:lnTo>
                  <a:lnTo>
                    <a:pt x="35" y="39"/>
                  </a:lnTo>
                  <a:lnTo>
                    <a:pt x="34" y="36"/>
                  </a:lnTo>
                  <a:lnTo>
                    <a:pt x="34" y="36"/>
                  </a:lnTo>
                  <a:lnTo>
                    <a:pt x="31" y="34"/>
                  </a:lnTo>
                  <a:lnTo>
                    <a:pt x="31" y="34"/>
                  </a:lnTo>
                  <a:lnTo>
                    <a:pt x="32" y="32"/>
                  </a:lnTo>
                  <a:lnTo>
                    <a:pt x="32" y="32"/>
                  </a:lnTo>
                  <a:lnTo>
                    <a:pt x="32" y="26"/>
                  </a:lnTo>
                  <a:lnTo>
                    <a:pt x="34" y="25"/>
                  </a:lnTo>
                  <a:lnTo>
                    <a:pt x="35" y="26"/>
                  </a:lnTo>
                  <a:lnTo>
                    <a:pt x="35" y="26"/>
                  </a:lnTo>
                  <a:lnTo>
                    <a:pt x="39" y="31"/>
                  </a:lnTo>
                  <a:lnTo>
                    <a:pt x="39" y="31"/>
                  </a:lnTo>
                  <a:lnTo>
                    <a:pt x="42" y="26"/>
                  </a:lnTo>
                  <a:lnTo>
                    <a:pt x="47" y="26"/>
                  </a:lnTo>
                  <a:lnTo>
                    <a:pt x="48" y="25"/>
                  </a:lnTo>
                  <a:lnTo>
                    <a:pt x="48" y="25"/>
                  </a:lnTo>
                  <a:lnTo>
                    <a:pt x="51" y="28"/>
                  </a:lnTo>
                  <a:lnTo>
                    <a:pt x="53" y="28"/>
                  </a:lnTo>
                  <a:lnTo>
                    <a:pt x="53" y="26"/>
                  </a:lnTo>
                  <a:lnTo>
                    <a:pt x="54" y="28"/>
                  </a:lnTo>
                  <a:lnTo>
                    <a:pt x="58" y="28"/>
                  </a:lnTo>
                  <a:lnTo>
                    <a:pt x="58" y="28"/>
                  </a:lnTo>
                  <a:lnTo>
                    <a:pt x="60" y="28"/>
                  </a:lnTo>
                  <a:lnTo>
                    <a:pt x="61" y="29"/>
                  </a:lnTo>
                  <a:lnTo>
                    <a:pt x="61" y="29"/>
                  </a:lnTo>
                  <a:lnTo>
                    <a:pt x="64" y="28"/>
                  </a:lnTo>
                  <a:lnTo>
                    <a:pt x="64" y="28"/>
                  </a:lnTo>
                  <a:lnTo>
                    <a:pt x="66" y="29"/>
                  </a:lnTo>
                  <a:lnTo>
                    <a:pt x="66" y="29"/>
                  </a:lnTo>
                  <a:lnTo>
                    <a:pt x="67" y="28"/>
                  </a:lnTo>
                  <a:lnTo>
                    <a:pt x="70" y="29"/>
                  </a:lnTo>
                  <a:lnTo>
                    <a:pt x="71" y="31"/>
                  </a:lnTo>
                  <a:lnTo>
                    <a:pt x="71" y="29"/>
                  </a:lnTo>
                  <a:lnTo>
                    <a:pt x="71" y="29"/>
                  </a:lnTo>
                  <a:lnTo>
                    <a:pt x="73" y="29"/>
                  </a:lnTo>
                  <a:lnTo>
                    <a:pt x="74" y="31"/>
                  </a:lnTo>
                  <a:lnTo>
                    <a:pt x="74" y="32"/>
                  </a:lnTo>
                  <a:lnTo>
                    <a:pt x="74" y="32"/>
                  </a:lnTo>
                  <a:lnTo>
                    <a:pt x="76" y="34"/>
                  </a:lnTo>
                  <a:lnTo>
                    <a:pt x="79" y="34"/>
                  </a:lnTo>
                  <a:lnTo>
                    <a:pt x="80" y="32"/>
                  </a:lnTo>
                  <a:lnTo>
                    <a:pt x="80" y="31"/>
                  </a:lnTo>
                  <a:lnTo>
                    <a:pt x="79" y="31"/>
                  </a:lnTo>
                  <a:lnTo>
                    <a:pt x="79" y="28"/>
                  </a:lnTo>
                  <a:lnTo>
                    <a:pt x="80" y="28"/>
                  </a:lnTo>
                  <a:lnTo>
                    <a:pt x="80" y="26"/>
                  </a:lnTo>
                  <a:lnTo>
                    <a:pt x="80" y="26"/>
                  </a:lnTo>
                  <a:lnTo>
                    <a:pt x="83" y="26"/>
                  </a:lnTo>
                  <a:lnTo>
                    <a:pt x="83" y="26"/>
                  </a:lnTo>
                  <a:lnTo>
                    <a:pt x="83" y="26"/>
                  </a:lnTo>
                  <a:lnTo>
                    <a:pt x="83" y="25"/>
                  </a:lnTo>
                  <a:lnTo>
                    <a:pt x="82" y="25"/>
                  </a:lnTo>
                  <a:lnTo>
                    <a:pt x="80" y="25"/>
                  </a:lnTo>
                  <a:lnTo>
                    <a:pt x="80" y="25"/>
                  </a:lnTo>
                  <a:lnTo>
                    <a:pt x="79" y="23"/>
                  </a:lnTo>
                  <a:lnTo>
                    <a:pt x="77" y="23"/>
                  </a:lnTo>
                  <a:lnTo>
                    <a:pt x="77" y="23"/>
                  </a:lnTo>
                  <a:lnTo>
                    <a:pt x="77" y="22"/>
                  </a:lnTo>
                  <a:lnTo>
                    <a:pt x="77" y="22"/>
                  </a:lnTo>
                  <a:lnTo>
                    <a:pt x="77" y="21"/>
                  </a:lnTo>
                  <a:lnTo>
                    <a:pt x="77" y="21"/>
                  </a:lnTo>
                  <a:lnTo>
                    <a:pt x="79" y="21"/>
                  </a:lnTo>
                  <a:lnTo>
                    <a:pt x="79" y="21"/>
                  </a:lnTo>
                  <a:lnTo>
                    <a:pt x="77" y="19"/>
                  </a:lnTo>
                  <a:lnTo>
                    <a:pt x="77" y="19"/>
                  </a:lnTo>
                  <a:lnTo>
                    <a:pt x="76" y="21"/>
                  </a:lnTo>
                  <a:lnTo>
                    <a:pt x="76" y="19"/>
                  </a:lnTo>
                  <a:lnTo>
                    <a:pt x="76" y="19"/>
                  </a:lnTo>
                  <a:lnTo>
                    <a:pt x="76" y="18"/>
                  </a:lnTo>
                  <a:lnTo>
                    <a:pt x="76" y="18"/>
                  </a:lnTo>
                  <a:lnTo>
                    <a:pt x="76" y="16"/>
                  </a:lnTo>
                  <a:lnTo>
                    <a:pt x="76" y="16"/>
                  </a:lnTo>
                  <a:lnTo>
                    <a:pt x="76" y="15"/>
                  </a:lnTo>
                  <a:lnTo>
                    <a:pt x="73" y="1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50" name="Freeform 1088"/>
            <p:cNvSpPr>
              <a:spLocks/>
            </p:cNvSpPr>
            <p:nvPr/>
          </p:nvSpPr>
          <p:spPr bwMode="auto">
            <a:xfrm>
              <a:off x="6370898" y="2577916"/>
              <a:ext cx="21945" cy="58820"/>
            </a:xfrm>
            <a:custGeom>
              <a:avLst/>
              <a:gdLst/>
              <a:ahLst/>
              <a:cxnLst>
                <a:cxn ang="0">
                  <a:pos x="13" y="55"/>
                </a:cxn>
                <a:cxn ang="0">
                  <a:pos x="10" y="55"/>
                </a:cxn>
                <a:cxn ang="0">
                  <a:pos x="10" y="52"/>
                </a:cxn>
                <a:cxn ang="0">
                  <a:pos x="8" y="49"/>
                </a:cxn>
                <a:cxn ang="0">
                  <a:pos x="2" y="48"/>
                </a:cxn>
                <a:cxn ang="0">
                  <a:pos x="0" y="42"/>
                </a:cxn>
                <a:cxn ang="0">
                  <a:pos x="1" y="42"/>
                </a:cxn>
                <a:cxn ang="0">
                  <a:pos x="1" y="36"/>
                </a:cxn>
                <a:cxn ang="0">
                  <a:pos x="1" y="33"/>
                </a:cxn>
                <a:cxn ang="0">
                  <a:pos x="2" y="32"/>
                </a:cxn>
                <a:cxn ang="0">
                  <a:pos x="2" y="29"/>
                </a:cxn>
                <a:cxn ang="0">
                  <a:pos x="2" y="27"/>
                </a:cxn>
                <a:cxn ang="0">
                  <a:pos x="1" y="24"/>
                </a:cxn>
                <a:cxn ang="0">
                  <a:pos x="4" y="16"/>
                </a:cxn>
                <a:cxn ang="0">
                  <a:pos x="2" y="16"/>
                </a:cxn>
                <a:cxn ang="0">
                  <a:pos x="0" y="14"/>
                </a:cxn>
                <a:cxn ang="0">
                  <a:pos x="1" y="10"/>
                </a:cxn>
                <a:cxn ang="0">
                  <a:pos x="1" y="7"/>
                </a:cxn>
                <a:cxn ang="0">
                  <a:pos x="2" y="4"/>
                </a:cxn>
                <a:cxn ang="0">
                  <a:pos x="4" y="3"/>
                </a:cxn>
                <a:cxn ang="0">
                  <a:pos x="5" y="0"/>
                </a:cxn>
                <a:cxn ang="0">
                  <a:pos x="8" y="1"/>
                </a:cxn>
                <a:cxn ang="0">
                  <a:pos x="11" y="3"/>
                </a:cxn>
                <a:cxn ang="0">
                  <a:pos x="13" y="5"/>
                </a:cxn>
                <a:cxn ang="0">
                  <a:pos x="16" y="5"/>
                </a:cxn>
                <a:cxn ang="0">
                  <a:pos x="18" y="10"/>
                </a:cxn>
                <a:cxn ang="0">
                  <a:pos x="17" y="24"/>
                </a:cxn>
                <a:cxn ang="0">
                  <a:pos x="20" y="29"/>
                </a:cxn>
                <a:cxn ang="0">
                  <a:pos x="24" y="33"/>
                </a:cxn>
                <a:cxn ang="0">
                  <a:pos x="24" y="40"/>
                </a:cxn>
                <a:cxn ang="0">
                  <a:pos x="21" y="43"/>
                </a:cxn>
                <a:cxn ang="0">
                  <a:pos x="20" y="48"/>
                </a:cxn>
                <a:cxn ang="0">
                  <a:pos x="17" y="49"/>
                </a:cxn>
                <a:cxn ang="0">
                  <a:pos x="16" y="52"/>
                </a:cxn>
                <a:cxn ang="0">
                  <a:pos x="14" y="53"/>
                </a:cxn>
                <a:cxn ang="0">
                  <a:pos x="13" y="56"/>
                </a:cxn>
                <a:cxn ang="0">
                  <a:pos x="13" y="55"/>
                </a:cxn>
              </a:cxnLst>
              <a:rect l="0" t="0" r="r" b="b"/>
              <a:pathLst>
                <a:path w="24" h="56">
                  <a:moveTo>
                    <a:pt x="13" y="55"/>
                  </a:moveTo>
                  <a:lnTo>
                    <a:pt x="10" y="55"/>
                  </a:lnTo>
                  <a:lnTo>
                    <a:pt x="10" y="52"/>
                  </a:lnTo>
                  <a:lnTo>
                    <a:pt x="8" y="49"/>
                  </a:lnTo>
                  <a:lnTo>
                    <a:pt x="2" y="48"/>
                  </a:lnTo>
                  <a:lnTo>
                    <a:pt x="0" y="42"/>
                  </a:lnTo>
                  <a:lnTo>
                    <a:pt x="1" y="42"/>
                  </a:lnTo>
                  <a:lnTo>
                    <a:pt x="1" y="36"/>
                  </a:lnTo>
                  <a:lnTo>
                    <a:pt x="1" y="33"/>
                  </a:lnTo>
                  <a:lnTo>
                    <a:pt x="2" y="32"/>
                  </a:lnTo>
                  <a:lnTo>
                    <a:pt x="2" y="29"/>
                  </a:lnTo>
                  <a:lnTo>
                    <a:pt x="2" y="27"/>
                  </a:lnTo>
                  <a:lnTo>
                    <a:pt x="1" y="24"/>
                  </a:lnTo>
                  <a:lnTo>
                    <a:pt x="4" y="16"/>
                  </a:lnTo>
                  <a:lnTo>
                    <a:pt x="2" y="16"/>
                  </a:lnTo>
                  <a:lnTo>
                    <a:pt x="0" y="14"/>
                  </a:lnTo>
                  <a:lnTo>
                    <a:pt x="1" y="10"/>
                  </a:lnTo>
                  <a:lnTo>
                    <a:pt x="1" y="7"/>
                  </a:lnTo>
                  <a:lnTo>
                    <a:pt x="2" y="4"/>
                  </a:lnTo>
                  <a:lnTo>
                    <a:pt x="4" y="3"/>
                  </a:lnTo>
                  <a:lnTo>
                    <a:pt x="5" y="0"/>
                  </a:lnTo>
                  <a:lnTo>
                    <a:pt x="8" y="1"/>
                  </a:lnTo>
                  <a:lnTo>
                    <a:pt x="11" y="3"/>
                  </a:lnTo>
                  <a:lnTo>
                    <a:pt x="13" y="5"/>
                  </a:lnTo>
                  <a:lnTo>
                    <a:pt x="16" y="5"/>
                  </a:lnTo>
                  <a:lnTo>
                    <a:pt x="18" y="10"/>
                  </a:lnTo>
                  <a:lnTo>
                    <a:pt x="17" y="24"/>
                  </a:lnTo>
                  <a:lnTo>
                    <a:pt x="20" y="29"/>
                  </a:lnTo>
                  <a:lnTo>
                    <a:pt x="24" y="33"/>
                  </a:lnTo>
                  <a:lnTo>
                    <a:pt x="24" y="40"/>
                  </a:lnTo>
                  <a:lnTo>
                    <a:pt x="21" y="43"/>
                  </a:lnTo>
                  <a:lnTo>
                    <a:pt x="20" y="48"/>
                  </a:lnTo>
                  <a:lnTo>
                    <a:pt x="17" y="49"/>
                  </a:lnTo>
                  <a:lnTo>
                    <a:pt x="16" y="52"/>
                  </a:lnTo>
                  <a:lnTo>
                    <a:pt x="14" y="53"/>
                  </a:lnTo>
                  <a:lnTo>
                    <a:pt x="13" y="56"/>
                  </a:lnTo>
                  <a:lnTo>
                    <a:pt x="13" y="5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51" name="Freeform 1089"/>
            <p:cNvSpPr>
              <a:spLocks/>
            </p:cNvSpPr>
            <p:nvPr/>
          </p:nvSpPr>
          <p:spPr bwMode="auto">
            <a:xfrm>
              <a:off x="6370898" y="2577916"/>
              <a:ext cx="21945" cy="58820"/>
            </a:xfrm>
            <a:custGeom>
              <a:avLst/>
              <a:gdLst/>
              <a:ahLst/>
              <a:cxnLst>
                <a:cxn ang="0">
                  <a:pos x="13" y="55"/>
                </a:cxn>
                <a:cxn ang="0">
                  <a:pos x="10" y="55"/>
                </a:cxn>
                <a:cxn ang="0">
                  <a:pos x="10" y="52"/>
                </a:cxn>
                <a:cxn ang="0">
                  <a:pos x="8" y="49"/>
                </a:cxn>
                <a:cxn ang="0">
                  <a:pos x="2" y="48"/>
                </a:cxn>
                <a:cxn ang="0">
                  <a:pos x="0" y="42"/>
                </a:cxn>
                <a:cxn ang="0">
                  <a:pos x="1" y="42"/>
                </a:cxn>
                <a:cxn ang="0">
                  <a:pos x="1" y="36"/>
                </a:cxn>
                <a:cxn ang="0">
                  <a:pos x="1" y="33"/>
                </a:cxn>
                <a:cxn ang="0">
                  <a:pos x="2" y="32"/>
                </a:cxn>
                <a:cxn ang="0">
                  <a:pos x="2" y="29"/>
                </a:cxn>
                <a:cxn ang="0">
                  <a:pos x="2" y="27"/>
                </a:cxn>
                <a:cxn ang="0">
                  <a:pos x="1" y="24"/>
                </a:cxn>
                <a:cxn ang="0">
                  <a:pos x="4" y="16"/>
                </a:cxn>
                <a:cxn ang="0">
                  <a:pos x="2" y="16"/>
                </a:cxn>
                <a:cxn ang="0">
                  <a:pos x="0" y="14"/>
                </a:cxn>
                <a:cxn ang="0">
                  <a:pos x="1" y="10"/>
                </a:cxn>
                <a:cxn ang="0">
                  <a:pos x="1" y="7"/>
                </a:cxn>
                <a:cxn ang="0">
                  <a:pos x="2" y="4"/>
                </a:cxn>
                <a:cxn ang="0">
                  <a:pos x="4" y="3"/>
                </a:cxn>
                <a:cxn ang="0">
                  <a:pos x="5" y="0"/>
                </a:cxn>
                <a:cxn ang="0">
                  <a:pos x="8" y="1"/>
                </a:cxn>
                <a:cxn ang="0">
                  <a:pos x="11" y="3"/>
                </a:cxn>
                <a:cxn ang="0">
                  <a:pos x="13" y="5"/>
                </a:cxn>
                <a:cxn ang="0">
                  <a:pos x="16" y="5"/>
                </a:cxn>
                <a:cxn ang="0">
                  <a:pos x="18" y="10"/>
                </a:cxn>
                <a:cxn ang="0">
                  <a:pos x="17" y="24"/>
                </a:cxn>
                <a:cxn ang="0">
                  <a:pos x="20" y="29"/>
                </a:cxn>
                <a:cxn ang="0">
                  <a:pos x="24" y="33"/>
                </a:cxn>
                <a:cxn ang="0">
                  <a:pos x="24" y="40"/>
                </a:cxn>
                <a:cxn ang="0">
                  <a:pos x="21" y="43"/>
                </a:cxn>
                <a:cxn ang="0">
                  <a:pos x="20" y="48"/>
                </a:cxn>
                <a:cxn ang="0">
                  <a:pos x="17" y="49"/>
                </a:cxn>
                <a:cxn ang="0">
                  <a:pos x="16" y="52"/>
                </a:cxn>
                <a:cxn ang="0">
                  <a:pos x="14" y="53"/>
                </a:cxn>
                <a:cxn ang="0">
                  <a:pos x="13" y="56"/>
                </a:cxn>
                <a:cxn ang="0">
                  <a:pos x="13" y="55"/>
                </a:cxn>
              </a:cxnLst>
              <a:rect l="0" t="0" r="r" b="b"/>
              <a:pathLst>
                <a:path w="24" h="56">
                  <a:moveTo>
                    <a:pt x="13" y="55"/>
                  </a:moveTo>
                  <a:lnTo>
                    <a:pt x="10" y="55"/>
                  </a:lnTo>
                  <a:lnTo>
                    <a:pt x="10" y="52"/>
                  </a:lnTo>
                  <a:lnTo>
                    <a:pt x="8" y="49"/>
                  </a:lnTo>
                  <a:lnTo>
                    <a:pt x="2" y="48"/>
                  </a:lnTo>
                  <a:lnTo>
                    <a:pt x="0" y="42"/>
                  </a:lnTo>
                  <a:lnTo>
                    <a:pt x="1" y="42"/>
                  </a:lnTo>
                  <a:lnTo>
                    <a:pt x="1" y="36"/>
                  </a:lnTo>
                  <a:lnTo>
                    <a:pt x="1" y="33"/>
                  </a:lnTo>
                  <a:lnTo>
                    <a:pt x="2" y="32"/>
                  </a:lnTo>
                  <a:lnTo>
                    <a:pt x="2" y="29"/>
                  </a:lnTo>
                  <a:lnTo>
                    <a:pt x="2" y="27"/>
                  </a:lnTo>
                  <a:lnTo>
                    <a:pt x="1" y="24"/>
                  </a:lnTo>
                  <a:lnTo>
                    <a:pt x="4" y="16"/>
                  </a:lnTo>
                  <a:lnTo>
                    <a:pt x="2" y="16"/>
                  </a:lnTo>
                  <a:lnTo>
                    <a:pt x="0" y="14"/>
                  </a:lnTo>
                  <a:lnTo>
                    <a:pt x="1" y="10"/>
                  </a:lnTo>
                  <a:lnTo>
                    <a:pt x="1" y="7"/>
                  </a:lnTo>
                  <a:lnTo>
                    <a:pt x="2" y="4"/>
                  </a:lnTo>
                  <a:lnTo>
                    <a:pt x="4" y="3"/>
                  </a:lnTo>
                  <a:lnTo>
                    <a:pt x="5" y="0"/>
                  </a:lnTo>
                  <a:lnTo>
                    <a:pt x="8" y="1"/>
                  </a:lnTo>
                  <a:lnTo>
                    <a:pt x="11" y="3"/>
                  </a:lnTo>
                  <a:lnTo>
                    <a:pt x="13" y="5"/>
                  </a:lnTo>
                  <a:lnTo>
                    <a:pt x="16" y="5"/>
                  </a:lnTo>
                  <a:lnTo>
                    <a:pt x="18" y="10"/>
                  </a:lnTo>
                  <a:lnTo>
                    <a:pt x="17" y="24"/>
                  </a:lnTo>
                  <a:lnTo>
                    <a:pt x="20" y="29"/>
                  </a:lnTo>
                  <a:lnTo>
                    <a:pt x="24" y="33"/>
                  </a:lnTo>
                  <a:lnTo>
                    <a:pt x="24" y="40"/>
                  </a:lnTo>
                  <a:lnTo>
                    <a:pt x="21" y="43"/>
                  </a:lnTo>
                  <a:lnTo>
                    <a:pt x="20" y="48"/>
                  </a:lnTo>
                  <a:lnTo>
                    <a:pt x="17" y="49"/>
                  </a:lnTo>
                  <a:lnTo>
                    <a:pt x="16" y="52"/>
                  </a:lnTo>
                  <a:lnTo>
                    <a:pt x="14" y="53"/>
                  </a:lnTo>
                  <a:lnTo>
                    <a:pt x="13" y="56"/>
                  </a:lnTo>
                  <a:lnTo>
                    <a:pt x="13" y="5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52" name="Freeform 1090"/>
            <p:cNvSpPr>
              <a:spLocks/>
            </p:cNvSpPr>
            <p:nvPr/>
          </p:nvSpPr>
          <p:spPr bwMode="auto">
            <a:xfrm>
              <a:off x="7402314" y="3153943"/>
              <a:ext cx="878" cy="5071"/>
            </a:xfrm>
            <a:custGeom>
              <a:avLst/>
              <a:gdLst/>
              <a:ahLst/>
              <a:cxnLst>
                <a:cxn ang="0">
                  <a:pos x="0" y="0"/>
                </a:cxn>
                <a:cxn ang="0">
                  <a:pos x="0" y="0"/>
                </a:cxn>
                <a:cxn ang="0">
                  <a:pos x="0" y="3"/>
                </a:cxn>
                <a:cxn ang="0">
                  <a:pos x="0" y="5"/>
                </a:cxn>
                <a:cxn ang="0">
                  <a:pos x="1" y="3"/>
                </a:cxn>
                <a:cxn ang="0">
                  <a:pos x="1" y="2"/>
                </a:cxn>
                <a:cxn ang="0">
                  <a:pos x="1" y="0"/>
                </a:cxn>
                <a:cxn ang="0">
                  <a:pos x="0" y="0"/>
                </a:cxn>
              </a:cxnLst>
              <a:rect l="0" t="0" r="r" b="b"/>
              <a:pathLst>
                <a:path w="1" h="5">
                  <a:moveTo>
                    <a:pt x="0" y="0"/>
                  </a:moveTo>
                  <a:lnTo>
                    <a:pt x="0" y="0"/>
                  </a:lnTo>
                  <a:lnTo>
                    <a:pt x="0" y="3"/>
                  </a:lnTo>
                  <a:lnTo>
                    <a:pt x="0" y="5"/>
                  </a:lnTo>
                  <a:lnTo>
                    <a:pt x="1" y="3"/>
                  </a:lnTo>
                  <a:lnTo>
                    <a:pt x="1" y="2"/>
                  </a:lnTo>
                  <a:lnTo>
                    <a:pt x="1" y="0"/>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53" name="Freeform 1091"/>
            <p:cNvSpPr>
              <a:spLocks/>
            </p:cNvSpPr>
            <p:nvPr/>
          </p:nvSpPr>
          <p:spPr bwMode="auto">
            <a:xfrm>
              <a:off x="7402314" y="3153943"/>
              <a:ext cx="878" cy="5071"/>
            </a:xfrm>
            <a:custGeom>
              <a:avLst/>
              <a:gdLst/>
              <a:ahLst/>
              <a:cxnLst>
                <a:cxn ang="0">
                  <a:pos x="0" y="0"/>
                </a:cxn>
                <a:cxn ang="0">
                  <a:pos x="0" y="0"/>
                </a:cxn>
                <a:cxn ang="0">
                  <a:pos x="0" y="3"/>
                </a:cxn>
                <a:cxn ang="0">
                  <a:pos x="0" y="5"/>
                </a:cxn>
                <a:cxn ang="0">
                  <a:pos x="1" y="3"/>
                </a:cxn>
                <a:cxn ang="0">
                  <a:pos x="1" y="2"/>
                </a:cxn>
                <a:cxn ang="0">
                  <a:pos x="1" y="0"/>
                </a:cxn>
                <a:cxn ang="0">
                  <a:pos x="0" y="0"/>
                </a:cxn>
              </a:cxnLst>
              <a:rect l="0" t="0" r="r" b="b"/>
              <a:pathLst>
                <a:path w="1" h="5">
                  <a:moveTo>
                    <a:pt x="0" y="0"/>
                  </a:moveTo>
                  <a:lnTo>
                    <a:pt x="0" y="0"/>
                  </a:lnTo>
                  <a:lnTo>
                    <a:pt x="0" y="3"/>
                  </a:lnTo>
                  <a:lnTo>
                    <a:pt x="0" y="5"/>
                  </a:lnTo>
                  <a:lnTo>
                    <a:pt x="1" y="3"/>
                  </a:lnTo>
                  <a:lnTo>
                    <a:pt x="1" y="2"/>
                  </a:lnTo>
                  <a:lnTo>
                    <a:pt x="1" y="0"/>
                  </a:lnTo>
                  <a:lnTo>
                    <a:pt x="0"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54" name="Freeform 1092"/>
            <p:cNvSpPr>
              <a:spLocks/>
            </p:cNvSpPr>
            <p:nvPr/>
          </p:nvSpPr>
          <p:spPr bwMode="auto">
            <a:xfrm>
              <a:off x="7393536" y="2962273"/>
              <a:ext cx="101825" cy="228179"/>
            </a:xfrm>
            <a:custGeom>
              <a:avLst/>
              <a:gdLst/>
              <a:ahLst/>
              <a:cxnLst>
                <a:cxn ang="0">
                  <a:pos x="33" y="7"/>
                </a:cxn>
                <a:cxn ang="0">
                  <a:pos x="5" y="17"/>
                </a:cxn>
                <a:cxn ang="0">
                  <a:pos x="0" y="35"/>
                </a:cxn>
                <a:cxn ang="0">
                  <a:pos x="13" y="55"/>
                </a:cxn>
                <a:cxn ang="0">
                  <a:pos x="17" y="68"/>
                </a:cxn>
                <a:cxn ang="0">
                  <a:pos x="13" y="78"/>
                </a:cxn>
                <a:cxn ang="0">
                  <a:pos x="8" y="87"/>
                </a:cxn>
                <a:cxn ang="0">
                  <a:pos x="23" y="117"/>
                </a:cxn>
                <a:cxn ang="0">
                  <a:pos x="29" y="132"/>
                </a:cxn>
                <a:cxn ang="0">
                  <a:pos x="10" y="181"/>
                </a:cxn>
                <a:cxn ang="0">
                  <a:pos x="20" y="189"/>
                </a:cxn>
                <a:cxn ang="0">
                  <a:pos x="30" y="202"/>
                </a:cxn>
                <a:cxn ang="0">
                  <a:pos x="39" y="205"/>
                </a:cxn>
                <a:cxn ang="0">
                  <a:pos x="50" y="212"/>
                </a:cxn>
                <a:cxn ang="0">
                  <a:pos x="58" y="215"/>
                </a:cxn>
                <a:cxn ang="0">
                  <a:pos x="65" y="212"/>
                </a:cxn>
                <a:cxn ang="0">
                  <a:pos x="42" y="196"/>
                </a:cxn>
                <a:cxn ang="0">
                  <a:pos x="33" y="171"/>
                </a:cxn>
                <a:cxn ang="0">
                  <a:pos x="26" y="170"/>
                </a:cxn>
                <a:cxn ang="0">
                  <a:pos x="23" y="151"/>
                </a:cxn>
                <a:cxn ang="0">
                  <a:pos x="26" y="144"/>
                </a:cxn>
                <a:cxn ang="0">
                  <a:pos x="34" y="115"/>
                </a:cxn>
                <a:cxn ang="0">
                  <a:pos x="42" y="106"/>
                </a:cxn>
                <a:cxn ang="0">
                  <a:pos x="46" y="117"/>
                </a:cxn>
                <a:cxn ang="0">
                  <a:pos x="48" y="119"/>
                </a:cxn>
                <a:cxn ang="0">
                  <a:pos x="69" y="128"/>
                </a:cxn>
                <a:cxn ang="0">
                  <a:pos x="74" y="133"/>
                </a:cxn>
                <a:cxn ang="0">
                  <a:pos x="75" y="131"/>
                </a:cxn>
                <a:cxn ang="0">
                  <a:pos x="66" y="112"/>
                </a:cxn>
                <a:cxn ang="0">
                  <a:pos x="69" y="103"/>
                </a:cxn>
                <a:cxn ang="0">
                  <a:pos x="79" y="94"/>
                </a:cxn>
                <a:cxn ang="0">
                  <a:pos x="107" y="96"/>
                </a:cxn>
                <a:cxn ang="0">
                  <a:pos x="111" y="93"/>
                </a:cxn>
                <a:cxn ang="0">
                  <a:pos x="111" y="75"/>
                </a:cxn>
                <a:cxn ang="0">
                  <a:pos x="107" y="71"/>
                </a:cxn>
                <a:cxn ang="0">
                  <a:pos x="103" y="68"/>
                </a:cxn>
                <a:cxn ang="0">
                  <a:pos x="100" y="53"/>
                </a:cxn>
                <a:cxn ang="0">
                  <a:pos x="95" y="43"/>
                </a:cxn>
                <a:cxn ang="0">
                  <a:pos x="78" y="36"/>
                </a:cxn>
                <a:cxn ang="0">
                  <a:pos x="71" y="42"/>
                </a:cxn>
                <a:cxn ang="0">
                  <a:pos x="65" y="38"/>
                </a:cxn>
                <a:cxn ang="0">
                  <a:pos x="53" y="42"/>
                </a:cxn>
                <a:cxn ang="0">
                  <a:pos x="48" y="48"/>
                </a:cxn>
                <a:cxn ang="0">
                  <a:pos x="50" y="26"/>
                </a:cxn>
                <a:cxn ang="0">
                  <a:pos x="49" y="16"/>
                </a:cxn>
                <a:cxn ang="0">
                  <a:pos x="40" y="7"/>
                </a:cxn>
                <a:cxn ang="0">
                  <a:pos x="36" y="3"/>
                </a:cxn>
              </a:cxnLst>
              <a:rect l="0" t="0" r="r" b="b"/>
              <a:pathLst>
                <a:path w="111" h="219">
                  <a:moveTo>
                    <a:pt x="37" y="0"/>
                  </a:moveTo>
                  <a:lnTo>
                    <a:pt x="36" y="1"/>
                  </a:lnTo>
                  <a:lnTo>
                    <a:pt x="33" y="7"/>
                  </a:lnTo>
                  <a:lnTo>
                    <a:pt x="29" y="7"/>
                  </a:lnTo>
                  <a:lnTo>
                    <a:pt x="17" y="16"/>
                  </a:lnTo>
                  <a:lnTo>
                    <a:pt x="5" y="17"/>
                  </a:lnTo>
                  <a:lnTo>
                    <a:pt x="1" y="30"/>
                  </a:lnTo>
                  <a:lnTo>
                    <a:pt x="3" y="33"/>
                  </a:lnTo>
                  <a:lnTo>
                    <a:pt x="0" y="35"/>
                  </a:lnTo>
                  <a:lnTo>
                    <a:pt x="4" y="48"/>
                  </a:lnTo>
                  <a:lnTo>
                    <a:pt x="10" y="52"/>
                  </a:lnTo>
                  <a:lnTo>
                    <a:pt x="13" y="55"/>
                  </a:lnTo>
                  <a:lnTo>
                    <a:pt x="13" y="65"/>
                  </a:lnTo>
                  <a:lnTo>
                    <a:pt x="16" y="67"/>
                  </a:lnTo>
                  <a:lnTo>
                    <a:pt x="17" y="68"/>
                  </a:lnTo>
                  <a:lnTo>
                    <a:pt x="16" y="69"/>
                  </a:lnTo>
                  <a:lnTo>
                    <a:pt x="13" y="75"/>
                  </a:lnTo>
                  <a:lnTo>
                    <a:pt x="13" y="78"/>
                  </a:lnTo>
                  <a:lnTo>
                    <a:pt x="10" y="83"/>
                  </a:lnTo>
                  <a:lnTo>
                    <a:pt x="8" y="84"/>
                  </a:lnTo>
                  <a:lnTo>
                    <a:pt x="8" y="87"/>
                  </a:lnTo>
                  <a:lnTo>
                    <a:pt x="10" y="91"/>
                  </a:lnTo>
                  <a:lnTo>
                    <a:pt x="20" y="100"/>
                  </a:lnTo>
                  <a:lnTo>
                    <a:pt x="23" y="117"/>
                  </a:lnTo>
                  <a:lnTo>
                    <a:pt x="23" y="117"/>
                  </a:lnTo>
                  <a:lnTo>
                    <a:pt x="29" y="131"/>
                  </a:lnTo>
                  <a:lnTo>
                    <a:pt x="29" y="132"/>
                  </a:lnTo>
                  <a:lnTo>
                    <a:pt x="23" y="141"/>
                  </a:lnTo>
                  <a:lnTo>
                    <a:pt x="20" y="142"/>
                  </a:lnTo>
                  <a:lnTo>
                    <a:pt x="10" y="181"/>
                  </a:lnTo>
                  <a:lnTo>
                    <a:pt x="10" y="183"/>
                  </a:lnTo>
                  <a:lnTo>
                    <a:pt x="16" y="183"/>
                  </a:lnTo>
                  <a:lnTo>
                    <a:pt x="20" y="189"/>
                  </a:lnTo>
                  <a:lnTo>
                    <a:pt x="21" y="189"/>
                  </a:lnTo>
                  <a:lnTo>
                    <a:pt x="29" y="197"/>
                  </a:lnTo>
                  <a:lnTo>
                    <a:pt x="30" y="202"/>
                  </a:lnTo>
                  <a:lnTo>
                    <a:pt x="37" y="209"/>
                  </a:lnTo>
                  <a:lnTo>
                    <a:pt x="36" y="205"/>
                  </a:lnTo>
                  <a:lnTo>
                    <a:pt x="39" y="205"/>
                  </a:lnTo>
                  <a:lnTo>
                    <a:pt x="42" y="208"/>
                  </a:lnTo>
                  <a:lnTo>
                    <a:pt x="48" y="209"/>
                  </a:lnTo>
                  <a:lnTo>
                    <a:pt x="50" y="212"/>
                  </a:lnTo>
                  <a:lnTo>
                    <a:pt x="50" y="216"/>
                  </a:lnTo>
                  <a:lnTo>
                    <a:pt x="50" y="219"/>
                  </a:lnTo>
                  <a:lnTo>
                    <a:pt x="58" y="215"/>
                  </a:lnTo>
                  <a:lnTo>
                    <a:pt x="61" y="216"/>
                  </a:lnTo>
                  <a:lnTo>
                    <a:pt x="62" y="215"/>
                  </a:lnTo>
                  <a:lnTo>
                    <a:pt x="65" y="212"/>
                  </a:lnTo>
                  <a:lnTo>
                    <a:pt x="56" y="202"/>
                  </a:lnTo>
                  <a:lnTo>
                    <a:pt x="46" y="200"/>
                  </a:lnTo>
                  <a:lnTo>
                    <a:pt x="42" y="196"/>
                  </a:lnTo>
                  <a:lnTo>
                    <a:pt x="39" y="184"/>
                  </a:lnTo>
                  <a:lnTo>
                    <a:pt x="34" y="180"/>
                  </a:lnTo>
                  <a:lnTo>
                    <a:pt x="33" y="171"/>
                  </a:lnTo>
                  <a:lnTo>
                    <a:pt x="32" y="168"/>
                  </a:lnTo>
                  <a:lnTo>
                    <a:pt x="29" y="168"/>
                  </a:lnTo>
                  <a:lnTo>
                    <a:pt x="26" y="170"/>
                  </a:lnTo>
                  <a:lnTo>
                    <a:pt x="23" y="168"/>
                  </a:lnTo>
                  <a:lnTo>
                    <a:pt x="21" y="154"/>
                  </a:lnTo>
                  <a:lnTo>
                    <a:pt x="23" y="151"/>
                  </a:lnTo>
                  <a:lnTo>
                    <a:pt x="24" y="148"/>
                  </a:lnTo>
                  <a:lnTo>
                    <a:pt x="26" y="146"/>
                  </a:lnTo>
                  <a:lnTo>
                    <a:pt x="26" y="144"/>
                  </a:lnTo>
                  <a:lnTo>
                    <a:pt x="26" y="141"/>
                  </a:lnTo>
                  <a:lnTo>
                    <a:pt x="33" y="126"/>
                  </a:lnTo>
                  <a:lnTo>
                    <a:pt x="34" y="115"/>
                  </a:lnTo>
                  <a:lnTo>
                    <a:pt x="33" y="109"/>
                  </a:lnTo>
                  <a:lnTo>
                    <a:pt x="36" y="107"/>
                  </a:lnTo>
                  <a:lnTo>
                    <a:pt x="42" y="106"/>
                  </a:lnTo>
                  <a:lnTo>
                    <a:pt x="46" y="107"/>
                  </a:lnTo>
                  <a:lnTo>
                    <a:pt x="48" y="109"/>
                  </a:lnTo>
                  <a:lnTo>
                    <a:pt x="46" y="117"/>
                  </a:lnTo>
                  <a:lnTo>
                    <a:pt x="48" y="120"/>
                  </a:lnTo>
                  <a:lnTo>
                    <a:pt x="48" y="120"/>
                  </a:lnTo>
                  <a:lnTo>
                    <a:pt x="48" y="119"/>
                  </a:lnTo>
                  <a:lnTo>
                    <a:pt x="61" y="120"/>
                  </a:lnTo>
                  <a:lnTo>
                    <a:pt x="66" y="126"/>
                  </a:lnTo>
                  <a:lnTo>
                    <a:pt x="69" y="128"/>
                  </a:lnTo>
                  <a:lnTo>
                    <a:pt x="71" y="128"/>
                  </a:lnTo>
                  <a:lnTo>
                    <a:pt x="71" y="128"/>
                  </a:lnTo>
                  <a:lnTo>
                    <a:pt x="74" y="133"/>
                  </a:lnTo>
                  <a:lnTo>
                    <a:pt x="75" y="133"/>
                  </a:lnTo>
                  <a:lnTo>
                    <a:pt x="75" y="132"/>
                  </a:lnTo>
                  <a:lnTo>
                    <a:pt x="75" y="131"/>
                  </a:lnTo>
                  <a:lnTo>
                    <a:pt x="72" y="123"/>
                  </a:lnTo>
                  <a:lnTo>
                    <a:pt x="69" y="120"/>
                  </a:lnTo>
                  <a:lnTo>
                    <a:pt x="66" y="112"/>
                  </a:lnTo>
                  <a:lnTo>
                    <a:pt x="66" y="107"/>
                  </a:lnTo>
                  <a:lnTo>
                    <a:pt x="68" y="106"/>
                  </a:lnTo>
                  <a:lnTo>
                    <a:pt x="69" y="103"/>
                  </a:lnTo>
                  <a:lnTo>
                    <a:pt x="72" y="101"/>
                  </a:lnTo>
                  <a:lnTo>
                    <a:pt x="77" y="96"/>
                  </a:lnTo>
                  <a:lnTo>
                    <a:pt x="79" y="94"/>
                  </a:lnTo>
                  <a:lnTo>
                    <a:pt x="103" y="94"/>
                  </a:lnTo>
                  <a:lnTo>
                    <a:pt x="106" y="97"/>
                  </a:lnTo>
                  <a:lnTo>
                    <a:pt x="107" y="96"/>
                  </a:lnTo>
                  <a:lnTo>
                    <a:pt x="107" y="94"/>
                  </a:lnTo>
                  <a:lnTo>
                    <a:pt x="109" y="94"/>
                  </a:lnTo>
                  <a:lnTo>
                    <a:pt x="111" y="93"/>
                  </a:lnTo>
                  <a:lnTo>
                    <a:pt x="111" y="81"/>
                  </a:lnTo>
                  <a:lnTo>
                    <a:pt x="111" y="78"/>
                  </a:lnTo>
                  <a:lnTo>
                    <a:pt x="111" y="75"/>
                  </a:lnTo>
                  <a:lnTo>
                    <a:pt x="111" y="74"/>
                  </a:lnTo>
                  <a:lnTo>
                    <a:pt x="110" y="72"/>
                  </a:lnTo>
                  <a:lnTo>
                    <a:pt x="107" y="71"/>
                  </a:lnTo>
                  <a:lnTo>
                    <a:pt x="107" y="69"/>
                  </a:lnTo>
                  <a:lnTo>
                    <a:pt x="104" y="69"/>
                  </a:lnTo>
                  <a:lnTo>
                    <a:pt x="103" y="68"/>
                  </a:lnTo>
                  <a:lnTo>
                    <a:pt x="101" y="65"/>
                  </a:lnTo>
                  <a:lnTo>
                    <a:pt x="100" y="62"/>
                  </a:lnTo>
                  <a:lnTo>
                    <a:pt x="100" y="53"/>
                  </a:lnTo>
                  <a:lnTo>
                    <a:pt x="97" y="48"/>
                  </a:lnTo>
                  <a:lnTo>
                    <a:pt x="95" y="46"/>
                  </a:lnTo>
                  <a:lnTo>
                    <a:pt x="95" y="43"/>
                  </a:lnTo>
                  <a:lnTo>
                    <a:pt x="91" y="42"/>
                  </a:lnTo>
                  <a:lnTo>
                    <a:pt x="87" y="35"/>
                  </a:lnTo>
                  <a:lnTo>
                    <a:pt x="78" y="36"/>
                  </a:lnTo>
                  <a:lnTo>
                    <a:pt x="77" y="39"/>
                  </a:lnTo>
                  <a:lnTo>
                    <a:pt x="75" y="40"/>
                  </a:lnTo>
                  <a:lnTo>
                    <a:pt x="71" y="42"/>
                  </a:lnTo>
                  <a:lnTo>
                    <a:pt x="68" y="42"/>
                  </a:lnTo>
                  <a:lnTo>
                    <a:pt x="66" y="40"/>
                  </a:lnTo>
                  <a:lnTo>
                    <a:pt x="65" y="38"/>
                  </a:lnTo>
                  <a:lnTo>
                    <a:pt x="62" y="38"/>
                  </a:lnTo>
                  <a:lnTo>
                    <a:pt x="56" y="39"/>
                  </a:lnTo>
                  <a:lnTo>
                    <a:pt x="53" y="42"/>
                  </a:lnTo>
                  <a:lnTo>
                    <a:pt x="50" y="43"/>
                  </a:lnTo>
                  <a:lnTo>
                    <a:pt x="49" y="46"/>
                  </a:lnTo>
                  <a:lnTo>
                    <a:pt x="48" y="48"/>
                  </a:lnTo>
                  <a:lnTo>
                    <a:pt x="48" y="46"/>
                  </a:lnTo>
                  <a:lnTo>
                    <a:pt x="46" y="43"/>
                  </a:lnTo>
                  <a:lnTo>
                    <a:pt x="50" y="26"/>
                  </a:lnTo>
                  <a:lnTo>
                    <a:pt x="49" y="22"/>
                  </a:lnTo>
                  <a:lnTo>
                    <a:pt x="50" y="17"/>
                  </a:lnTo>
                  <a:lnTo>
                    <a:pt x="49" y="16"/>
                  </a:lnTo>
                  <a:lnTo>
                    <a:pt x="42" y="16"/>
                  </a:lnTo>
                  <a:lnTo>
                    <a:pt x="42" y="16"/>
                  </a:lnTo>
                  <a:lnTo>
                    <a:pt x="40" y="7"/>
                  </a:lnTo>
                  <a:lnTo>
                    <a:pt x="39" y="3"/>
                  </a:lnTo>
                  <a:lnTo>
                    <a:pt x="36" y="4"/>
                  </a:lnTo>
                  <a:lnTo>
                    <a:pt x="36" y="3"/>
                  </a:lnTo>
                  <a:lnTo>
                    <a:pt x="36" y="0"/>
                  </a:lnTo>
                  <a:lnTo>
                    <a:pt x="37"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55" name="Freeform 1093"/>
            <p:cNvSpPr>
              <a:spLocks/>
            </p:cNvSpPr>
            <p:nvPr/>
          </p:nvSpPr>
          <p:spPr bwMode="auto">
            <a:xfrm>
              <a:off x="7393536" y="2962273"/>
              <a:ext cx="101825" cy="228179"/>
            </a:xfrm>
            <a:custGeom>
              <a:avLst/>
              <a:gdLst/>
              <a:ahLst/>
              <a:cxnLst>
                <a:cxn ang="0">
                  <a:pos x="33" y="7"/>
                </a:cxn>
                <a:cxn ang="0">
                  <a:pos x="5" y="17"/>
                </a:cxn>
                <a:cxn ang="0">
                  <a:pos x="0" y="35"/>
                </a:cxn>
                <a:cxn ang="0">
                  <a:pos x="13" y="55"/>
                </a:cxn>
                <a:cxn ang="0">
                  <a:pos x="17" y="68"/>
                </a:cxn>
                <a:cxn ang="0">
                  <a:pos x="13" y="78"/>
                </a:cxn>
                <a:cxn ang="0">
                  <a:pos x="8" y="87"/>
                </a:cxn>
                <a:cxn ang="0">
                  <a:pos x="23" y="117"/>
                </a:cxn>
                <a:cxn ang="0">
                  <a:pos x="29" y="132"/>
                </a:cxn>
                <a:cxn ang="0">
                  <a:pos x="10" y="181"/>
                </a:cxn>
                <a:cxn ang="0">
                  <a:pos x="20" y="189"/>
                </a:cxn>
                <a:cxn ang="0">
                  <a:pos x="30" y="202"/>
                </a:cxn>
                <a:cxn ang="0">
                  <a:pos x="39" y="205"/>
                </a:cxn>
                <a:cxn ang="0">
                  <a:pos x="50" y="212"/>
                </a:cxn>
                <a:cxn ang="0">
                  <a:pos x="58" y="215"/>
                </a:cxn>
                <a:cxn ang="0">
                  <a:pos x="65" y="212"/>
                </a:cxn>
                <a:cxn ang="0">
                  <a:pos x="42" y="196"/>
                </a:cxn>
                <a:cxn ang="0">
                  <a:pos x="33" y="171"/>
                </a:cxn>
                <a:cxn ang="0">
                  <a:pos x="26" y="170"/>
                </a:cxn>
                <a:cxn ang="0">
                  <a:pos x="23" y="151"/>
                </a:cxn>
                <a:cxn ang="0">
                  <a:pos x="26" y="144"/>
                </a:cxn>
                <a:cxn ang="0">
                  <a:pos x="34" y="115"/>
                </a:cxn>
                <a:cxn ang="0">
                  <a:pos x="42" y="106"/>
                </a:cxn>
                <a:cxn ang="0">
                  <a:pos x="46" y="117"/>
                </a:cxn>
                <a:cxn ang="0">
                  <a:pos x="48" y="119"/>
                </a:cxn>
                <a:cxn ang="0">
                  <a:pos x="69" y="128"/>
                </a:cxn>
                <a:cxn ang="0">
                  <a:pos x="74" y="133"/>
                </a:cxn>
                <a:cxn ang="0">
                  <a:pos x="75" y="131"/>
                </a:cxn>
                <a:cxn ang="0">
                  <a:pos x="66" y="112"/>
                </a:cxn>
                <a:cxn ang="0">
                  <a:pos x="69" y="103"/>
                </a:cxn>
                <a:cxn ang="0">
                  <a:pos x="79" y="94"/>
                </a:cxn>
                <a:cxn ang="0">
                  <a:pos x="107" y="96"/>
                </a:cxn>
                <a:cxn ang="0">
                  <a:pos x="111" y="93"/>
                </a:cxn>
                <a:cxn ang="0">
                  <a:pos x="111" y="75"/>
                </a:cxn>
                <a:cxn ang="0">
                  <a:pos x="107" y="71"/>
                </a:cxn>
                <a:cxn ang="0">
                  <a:pos x="103" y="68"/>
                </a:cxn>
                <a:cxn ang="0">
                  <a:pos x="100" y="53"/>
                </a:cxn>
                <a:cxn ang="0">
                  <a:pos x="95" y="43"/>
                </a:cxn>
                <a:cxn ang="0">
                  <a:pos x="78" y="36"/>
                </a:cxn>
                <a:cxn ang="0">
                  <a:pos x="71" y="42"/>
                </a:cxn>
                <a:cxn ang="0">
                  <a:pos x="65" y="38"/>
                </a:cxn>
                <a:cxn ang="0">
                  <a:pos x="53" y="42"/>
                </a:cxn>
                <a:cxn ang="0">
                  <a:pos x="48" y="48"/>
                </a:cxn>
                <a:cxn ang="0">
                  <a:pos x="50" y="26"/>
                </a:cxn>
                <a:cxn ang="0">
                  <a:pos x="49" y="16"/>
                </a:cxn>
                <a:cxn ang="0">
                  <a:pos x="40" y="7"/>
                </a:cxn>
                <a:cxn ang="0">
                  <a:pos x="36" y="3"/>
                </a:cxn>
              </a:cxnLst>
              <a:rect l="0" t="0" r="r" b="b"/>
              <a:pathLst>
                <a:path w="111" h="219">
                  <a:moveTo>
                    <a:pt x="37" y="0"/>
                  </a:moveTo>
                  <a:lnTo>
                    <a:pt x="36" y="1"/>
                  </a:lnTo>
                  <a:lnTo>
                    <a:pt x="33" y="7"/>
                  </a:lnTo>
                  <a:lnTo>
                    <a:pt x="29" y="7"/>
                  </a:lnTo>
                  <a:lnTo>
                    <a:pt x="17" y="16"/>
                  </a:lnTo>
                  <a:lnTo>
                    <a:pt x="5" y="17"/>
                  </a:lnTo>
                  <a:lnTo>
                    <a:pt x="1" y="30"/>
                  </a:lnTo>
                  <a:lnTo>
                    <a:pt x="3" y="33"/>
                  </a:lnTo>
                  <a:lnTo>
                    <a:pt x="0" y="35"/>
                  </a:lnTo>
                  <a:lnTo>
                    <a:pt x="4" y="48"/>
                  </a:lnTo>
                  <a:lnTo>
                    <a:pt x="10" y="52"/>
                  </a:lnTo>
                  <a:lnTo>
                    <a:pt x="13" y="55"/>
                  </a:lnTo>
                  <a:lnTo>
                    <a:pt x="13" y="65"/>
                  </a:lnTo>
                  <a:lnTo>
                    <a:pt x="16" y="67"/>
                  </a:lnTo>
                  <a:lnTo>
                    <a:pt x="17" y="68"/>
                  </a:lnTo>
                  <a:lnTo>
                    <a:pt x="16" y="69"/>
                  </a:lnTo>
                  <a:lnTo>
                    <a:pt x="13" y="75"/>
                  </a:lnTo>
                  <a:lnTo>
                    <a:pt x="13" y="78"/>
                  </a:lnTo>
                  <a:lnTo>
                    <a:pt x="10" y="83"/>
                  </a:lnTo>
                  <a:lnTo>
                    <a:pt x="8" y="84"/>
                  </a:lnTo>
                  <a:lnTo>
                    <a:pt x="8" y="87"/>
                  </a:lnTo>
                  <a:lnTo>
                    <a:pt x="10" y="91"/>
                  </a:lnTo>
                  <a:lnTo>
                    <a:pt x="20" y="100"/>
                  </a:lnTo>
                  <a:lnTo>
                    <a:pt x="23" y="117"/>
                  </a:lnTo>
                  <a:lnTo>
                    <a:pt x="23" y="117"/>
                  </a:lnTo>
                  <a:lnTo>
                    <a:pt x="29" y="131"/>
                  </a:lnTo>
                  <a:lnTo>
                    <a:pt x="29" y="132"/>
                  </a:lnTo>
                  <a:lnTo>
                    <a:pt x="23" y="141"/>
                  </a:lnTo>
                  <a:lnTo>
                    <a:pt x="20" y="142"/>
                  </a:lnTo>
                  <a:lnTo>
                    <a:pt x="10" y="181"/>
                  </a:lnTo>
                  <a:lnTo>
                    <a:pt x="10" y="183"/>
                  </a:lnTo>
                  <a:lnTo>
                    <a:pt x="16" y="183"/>
                  </a:lnTo>
                  <a:lnTo>
                    <a:pt x="20" y="189"/>
                  </a:lnTo>
                  <a:lnTo>
                    <a:pt x="21" y="189"/>
                  </a:lnTo>
                  <a:lnTo>
                    <a:pt x="29" y="197"/>
                  </a:lnTo>
                  <a:lnTo>
                    <a:pt x="30" y="202"/>
                  </a:lnTo>
                  <a:lnTo>
                    <a:pt x="37" y="209"/>
                  </a:lnTo>
                  <a:lnTo>
                    <a:pt x="36" y="205"/>
                  </a:lnTo>
                  <a:lnTo>
                    <a:pt x="39" y="205"/>
                  </a:lnTo>
                  <a:lnTo>
                    <a:pt x="42" y="208"/>
                  </a:lnTo>
                  <a:lnTo>
                    <a:pt x="48" y="209"/>
                  </a:lnTo>
                  <a:lnTo>
                    <a:pt x="50" y="212"/>
                  </a:lnTo>
                  <a:lnTo>
                    <a:pt x="50" y="216"/>
                  </a:lnTo>
                  <a:lnTo>
                    <a:pt x="50" y="219"/>
                  </a:lnTo>
                  <a:lnTo>
                    <a:pt x="58" y="215"/>
                  </a:lnTo>
                  <a:lnTo>
                    <a:pt x="61" y="216"/>
                  </a:lnTo>
                  <a:lnTo>
                    <a:pt x="62" y="215"/>
                  </a:lnTo>
                  <a:lnTo>
                    <a:pt x="65" y="212"/>
                  </a:lnTo>
                  <a:lnTo>
                    <a:pt x="56" y="202"/>
                  </a:lnTo>
                  <a:lnTo>
                    <a:pt x="46" y="200"/>
                  </a:lnTo>
                  <a:lnTo>
                    <a:pt x="42" y="196"/>
                  </a:lnTo>
                  <a:lnTo>
                    <a:pt x="39" y="184"/>
                  </a:lnTo>
                  <a:lnTo>
                    <a:pt x="34" y="180"/>
                  </a:lnTo>
                  <a:lnTo>
                    <a:pt x="33" y="171"/>
                  </a:lnTo>
                  <a:lnTo>
                    <a:pt x="32" y="168"/>
                  </a:lnTo>
                  <a:lnTo>
                    <a:pt x="29" y="168"/>
                  </a:lnTo>
                  <a:lnTo>
                    <a:pt x="26" y="170"/>
                  </a:lnTo>
                  <a:lnTo>
                    <a:pt x="23" y="168"/>
                  </a:lnTo>
                  <a:lnTo>
                    <a:pt x="21" y="154"/>
                  </a:lnTo>
                  <a:lnTo>
                    <a:pt x="23" y="151"/>
                  </a:lnTo>
                  <a:lnTo>
                    <a:pt x="24" y="148"/>
                  </a:lnTo>
                  <a:lnTo>
                    <a:pt x="26" y="146"/>
                  </a:lnTo>
                  <a:lnTo>
                    <a:pt x="26" y="144"/>
                  </a:lnTo>
                  <a:lnTo>
                    <a:pt x="26" y="141"/>
                  </a:lnTo>
                  <a:lnTo>
                    <a:pt x="33" y="126"/>
                  </a:lnTo>
                  <a:lnTo>
                    <a:pt x="34" y="115"/>
                  </a:lnTo>
                  <a:lnTo>
                    <a:pt x="33" y="109"/>
                  </a:lnTo>
                  <a:lnTo>
                    <a:pt x="36" y="107"/>
                  </a:lnTo>
                  <a:lnTo>
                    <a:pt x="42" y="106"/>
                  </a:lnTo>
                  <a:lnTo>
                    <a:pt x="46" y="107"/>
                  </a:lnTo>
                  <a:lnTo>
                    <a:pt x="48" y="109"/>
                  </a:lnTo>
                  <a:lnTo>
                    <a:pt x="46" y="117"/>
                  </a:lnTo>
                  <a:lnTo>
                    <a:pt x="48" y="120"/>
                  </a:lnTo>
                  <a:lnTo>
                    <a:pt x="48" y="120"/>
                  </a:lnTo>
                  <a:lnTo>
                    <a:pt x="48" y="119"/>
                  </a:lnTo>
                  <a:lnTo>
                    <a:pt x="61" y="120"/>
                  </a:lnTo>
                  <a:lnTo>
                    <a:pt x="66" y="126"/>
                  </a:lnTo>
                  <a:lnTo>
                    <a:pt x="69" y="128"/>
                  </a:lnTo>
                  <a:lnTo>
                    <a:pt x="71" y="128"/>
                  </a:lnTo>
                  <a:lnTo>
                    <a:pt x="71" y="128"/>
                  </a:lnTo>
                  <a:lnTo>
                    <a:pt x="74" y="133"/>
                  </a:lnTo>
                  <a:lnTo>
                    <a:pt x="75" y="133"/>
                  </a:lnTo>
                  <a:lnTo>
                    <a:pt x="75" y="132"/>
                  </a:lnTo>
                  <a:lnTo>
                    <a:pt x="75" y="131"/>
                  </a:lnTo>
                  <a:lnTo>
                    <a:pt x="72" y="123"/>
                  </a:lnTo>
                  <a:lnTo>
                    <a:pt x="69" y="120"/>
                  </a:lnTo>
                  <a:lnTo>
                    <a:pt x="66" y="112"/>
                  </a:lnTo>
                  <a:lnTo>
                    <a:pt x="66" y="107"/>
                  </a:lnTo>
                  <a:lnTo>
                    <a:pt x="68" y="106"/>
                  </a:lnTo>
                  <a:lnTo>
                    <a:pt x="69" y="103"/>
                  </a:lnTo>
                  <a:lnTo>
                    <a:pt x="72" y="101"/>
                  </a:lnTo>
                  <a:lnTo>
                    <a:pt x="77" y="96"/>
                  </a:lnTo>
                  <a:lnTo>
                    <a:pt x="79" y="94"/>
                  </a:lnTo>
                  <a:lnTo>
                    <a:pt x="103" y="94"/>
                  </a:lnTo>
                  <a:lnTo>
                    <a:pt x="106" y="97"/>
                  </a:lnTo>
                  <a:lnTo>
                    <a:pt x="107" y="96"/>
                  </a:lnTo>
                  <a:lnTo>
                    <a:pt x="107" y="94"/>
                  </a:lnTo>
                  <a:lnTo>
                    <a:pt x="109" y="94"/>
                  </a:lnTo>
                  <a:lnTo>
                    <a:pt x="111" y="93"/>
                  </a:lnTo>
                  <a:lnTo>
                    <a:pt x="111" y="81"/>
                  </a:lnTo>
                  <a:lnTo>
                    <a:pt x="111" y="78"/>
                  </a:lnTo>
                  <a:lnTo>
                    <a:pt x="111" y="75"/>
                  </a:lnTo>
                  <a:lnTo>
                    <a:pt x="111" y="74"/>
                  </a:lnTo>
                  <a:lnTo>
                    <a:pt x="110" y="72"/>
                  </a:lnTo>
                  <a:lnTo>
                    <a:pt x="107" y="71"/>
                  </a:lnTo>
                  <a:lnTo>
                    <a:pt x="107" y="69"/>
                  </a:lnTo>
                  <a:lnTo>
                    <a:pt x="104" y="69"/>
                  </a:lnTo>
                  <a:lnTo>
                    <a:pt x="103" y="68"/>
                  </a:lnTo>
                  <a:lnTo>
                    <a:pt x="101" y="65"/>
                  </a:lnTo>
                  <a:lnTo>
                    <a:pt x="100" y="62"/>
                  </a:lnTo>
                  <a:lnTo>
                    <a:pt x="100" y="53"/>
                  </a:lnTo>
                  <a:lnTo>
                    <a:pt x="97" y="48"/>
                  </a:lnTo>
                  <a:lnTo>
                    <a:pt x="95" y="46"/>
                  </a:lnTo>
                  <a:lnTo>
                    <a:pt x="95" y="43"/>
                  </a:lnTo>
                  <a:lnTo>
                    <a:pt x="91" y="42"/>
                  </a:lnTo>
                  <a:lnTo>
                    <a:pt x="87" y="35"/>
                  </a:lnTo>
                  <a:lnTo>
                    <a:pt x="78" y="36"/>
                  </a:lnTo>
                  <a:lnTo>
                    <a:pt x="77" y="39"/>
                  </a:lnTo>
                  <a:lnTo>
                    <a:pt x="75" y="40"/>
                  </a:lnTo>
                  <a:lnTo>
                    <a:pt x="71" y="42"/>
                  </a:lnTo>
                  <a:lnTo>
                    <a:pt x="68" y="42"/>
                  </a:lnTo>
                  <a:lnTo>
                    <a:pt x="66" y="40"/>
                  </a:lnTo>
                  <a:lnTo>
                    <a:pt x="65" y="38"/>
                  </a:lnTo>
                  <a:lnTo>
                    <a:pt x="62" y="38"/>
                  </a:lnTo>
                  <a:lnTo>
                    <a:pt x="56" y="39"/>
                  </a:lnTo>
                  <a:lnTo>
                    <a:pt x="53" y="42"/>
                  </a:lnTo>
                  <a:lnTo>
                    <a:pt x="50" y="43"/>
                  </a:lnTo>
                  <a:lnTo>
                    <a:pt x="49" y="46"/>
                  </a:lnTo>
                  <a:lnTo>
                    <a:pt x="48" y="48"/>
                  </a:lnTo>
                  <a:lnTo>
                    <a:pt x="48" y="46"/>
                  </a:lnTo>
                  <a:lnTo>
                    <a:pt x="46" y="43"/>
                  </a:lnTo>
                  <a:lnTo>
                    <a:pt x="50" y="26"/>
                  </a:lnTo>
                  <a:lnTo>
                    <a:pt x="49" y="22"/>
                  </a:lnTo>
                  <a:lnTo>
                    <a:pt x="50" y="17"/>
                  </a:lnTo>
                  <a:lnTo>
                    <a:pt x="49" y="16"/>
                  </a:lnTo>
                  <a:lnTo>
                    <a:pt x="42" y="16"/>
                  </a:lnTo>
                  <a:lnTo>
                    <a:pt x="42" y="16"/>
                  </a:lnTo>
                  <a:lnTo>
                    <a:pt x="40" y="7"/>
                  </a:lnTo>
                  <a:lnTo>
                    <a:pt x="39" y="3"/>
                  </a:lnTo>
                  <a:lnTo>
                    <a:pt x="36" y="4"/>
                  </a:lnTo>
                  <a:lnTo>
                    <a:pt x="36" y="3"/>
                  </a:lnTo>
                  <a:lnTo>
                    <a:pt x="36" y="0"/>
                  </a:lnTo>
                  <a:lnTo>
                    <a:pt x="37"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56" name="Freeform 1094"/>
            <p:cNvSpPr>
              <a:spLocks/>
            </p:cNvSpPr>
            <p:nvPr/>
          </p:nvSpPr>
          <p:spPr bwMode="auto">
            <a:xfrm>
              <a:off x="6392843" y="2258464"/>
              <a:ext cx="75490" cy="66933"/>
            </a:xfrm>
            <a:custGeom>
              <a:avLst/>
              <a:gdLst/>
              <a:ahLst/>
              <a:cxnLst>
                <a:cxn ang="0">
                  <a:pos x="2" y="20"/>
                </a:cxn>
                <a:cxn ang="0">
                  <a:pos x="3" y="28"/>
                </a:cxn>
                <a:cxn ang="0">
                  <a:pos x="3" y="29"/>
                </a:cxn>
                <a:cxn ang="0">
                  <a:pos x="6" y="31"/>
                </a:cxn>
                <a:cxn ang="0">
                  <a:pos x="10" y="32"/>
                </a:cxn>
                <a:cxn ang="0">
                  <a:pos x="18" y="35"/>
                </a:cxn>
                <a:cxn ang="0">
                  <a:pos x="23" y="36"/>
                </a:cxn>
                <a:cxn ang="0">
                  <a:pos x="25" y="47"/>
                </a:cxn>
                <a:cxn ang="0">
                  <a:pos x="34" y="58"/>
                </a:cxn>
                <a:cxn ang="0">
                  <a:pos x="39" y="64"/>
                </a:cxn>
                <a:cxn ang="0">
                  <a:pos x="47" y="64"/>
                </a:cxn>
                <a:cxn ang="0">
                  <a:pos x="51" y="61"/>
                </a:cxn>
                <a:cxn ang="0">
                  <a:pos x="55" y="63"/>
                </a:cxn>
                <a:cxn ang="0">
                  <a:pos x="55" y="58"/>
                </a:cxn>
                <a:cxn ang="0">
                  <a:pos x="60" y="57"/>
                </a:cxn>
                <a:cxn ang="0">
                  <a:pos x="63" y="55"/>
                </a:cxn>
                <a:cxn ang="0">
                  <a:pos x="66" y="58"/>
                </a:cxn>
                <a:cxn ang="0">
                  <a:pos x="68" y="55"/>
                </a:cxn>
                <a:cxn ang="0">
                  <a:pos x="66" y="52"/>
                </a:cxn>
                <a:cxn ang="0">
                  <a:pos x="68" y="47"/>
                </a:cxn>
                <a:cxn ang="0">
                  <a:pos x="68" y="42"/>
                </a:cxn>
                <a:cxn ang="0">
                  <a:pos x="70" y="38"/>
                </a:cxn>
                <a:cxn ang="0">
                  <a:pos x="73" y="36"/>
                </a:cxn>
                <a:cxn ang="0">
                  <a:pos x="77" y="33"/>
                </a:cxn>
                <a:cxn ang="0">
                  <a:pos x="82" y="29"/>
                </a:cxn>
                <a:cxn ang="0">
                  <a:pos x="79" y="28"/>
                </a:cxn>
                <a:cxn ang="0">
                  <a:pos x="80" y="23"/>
                </a:cxn>
                <a:cxn ang="0">
                  <a:pos x="82" y="20"/>
                </a:cxn>
                <a:cxn ang="0">
                  <a:pos x="77" y="19"/>
                </a:cxn>
                <a:cxn ang="0">
                  <a:pos x="66" y="9"/>
                </a:cxn>
                <a:cxn ang="0">
                  <a:pos x="60" y="7"/>
                </a:cxn>
                <a:cxn ang="0">
                  <a:pos x="55" y="0"/>
                </a:cxn>
                <a:cxn ang="0">
                  <a:pos x="51" y="4"/>
                </a:cxn>
                <a:cxn ang="0">
                  <a:pos x="39" y="1"/>
                </a:cxn>
                <a:cxn ang="0">
                  <a:pos x="31" y="1"/>
                </a:cxn>
                <a:cxn ang="0">
                  <a:pos x="26" y="3"/>
                </a:cxn>
                <a:cxn ang="0">
                  <a:pos x="22" y="1"/>
                </a:cxn>
                <a:cxn ang="0">
                  <a:pos x="6" y="6"/>
                </a:cxn>
                <a:cxn ang="0">
                  <a:pos x="3" y="10"/>
                </a:cxn>
              </a:cxnLst>
              <a:rect l="0" t="0" r="r" b="b"/>
              <a:pathLst>
                <a:path w="82" h="64">
                  <a:moveTo>
                    <a:pt x="0" y="10"/>
                  </a:moveTo>
                  <a:lnTo>
                    <a:pt x="2" y="20"/>
                  </a:lnTo>
                  <a:lnTo>
                    <a:pt x="0" y="15"/>
                  </a:lnTo>
                  <a:lnTo>
                    <a:pt x="3" y="28"/>
                  </a:lnTo>
                  <a:lnTo>
                    <a:pt x="3" y="29"/>
                  </a:lnTo>
                  <a:lnTo>
                    <a:pt x="3" y="29"/>
                  </a:lnTo>
                  <a:lnTo>
                    <a:pt x="3" y="31"/>
                  </a:lnTo>
                  <a:lnTo>
                    <a:pt x="6" y="31"/>
                  </a:lnTo>
                  <a:lnTo>
                    <a:pt x="8" y="32"/>
                  </a:lnTo>
                  <a:lnTo>
                    <a:pt x="10" y="32"/>
                  </a:lnTo>
                  <a:lnTo>
                    <a:pt x="12" y="33"/>
                  </a:lnTo>
                  <a:lnTo>
                    <a:pt x="18" y="35"/>
                  </a:lnTo>
                  <a:lnTo>
                    <a:pt x="22" y="35"/>
                  </a:lnTo>
                  <a:lnTo>
                    <a:pt x="23" y="36"/>
                  </a:lnTo>
                  <a:lnTo>
                    <a:pt x="26" y="42"/>
                  </a:lnTo>
                  <a:lnTo>
                    <a:pt x="25" y="47"/>
                  </a:lnTo>
                  <a:lnTo>
                    <a:pt x="25" y="52"/>
                  </a:lnTo>
                  <a:lnTo>
                    <a:pt x="34" y="58"/>
                  </a:lnTo>
                  <a:lnTo>
                    <a:pt x="35" y="63"/>
                  </a:lnTo>
                  <a:lnTo>
                    <a:pt x="39" y="64"/>
                  </a:lnTo>
                  <a:lnTo>
                    <a:pt x="44" y="63"/>
                  </a:lnTo>
                  <a:lnTo>
                    <a:pt x="47" y="64"/>
                  </a:lnTo>
                  <a:lnTo>
                    <a:pt x="50" y="63"/>
                  </a:lnTo>
                  <a:lnTo>
                    <a:pt x="51" y="61"/>
                  </a:lnTo>
                  <a:lnTo>
                    <a:pt x="53" y="63"/>
                  </a:lnTo>
                  <a:lnTo>
                    <a:pt x="55" y="63"/>
                  </a:lnTo>
                  <a:lnTo>
                    <a:pt x="54" y="58"/>
                  </a:lnTo>
                  <a:lnTo>
                    <a:pt x="55" y="58"/>
                  </a:lnTo>
                  <a:lnTo>
                    <a:pt x="58" y="58"/>
                  </a:lnTo>
                  <a:lnTo>
                    <a:pt x="60" y="57"/>
                  </a:lnTo>
                  <a:lnTo>
                    <a:pt x="61" y="55"/>
                  </a:lnTo>
                  <a:lnTo>
                    <a:pt x="63" y="55"/>
                  </a:lnTo>
                  <a:lnTo>
                    <a:pt x="64" y="57"/>
                  </a:lnTo>
                  <a:lnTo>
                    <a:pt x="66" y="58"/>
                  </a:lnTo>
                  <a:lnTo>
                    <a:pt x="68" y="58"/>
                  </a:lnTo>
                  <a:lnTo>
                    <a:pt x="68" y="55"/>
                  </a:lnTo>
                  <a:lnTo>
                    <a:pt x="67" y="54"/>
                  </a:lnTo>
                  <a:lnTo>
                    <a:pt x="66" y="52"/>
                  </a:lnTo>
                  <a:lnTo>
                    <a:pt x="66" y="49"/>
                  </a:lnTo>
                  <a:lnTo>
                    <a:pt x="68" y="47"/>
                  </a:lnTo>
                  <a:lnTo>
                    <a:pt x="68" y="44"/>
                  </a:lnTo>
                  <a:lnTo>
                    <a:pt x="68" y="42"/>
                  </a:lnTo>
                  <a:lnTo>
                    <a:pt x="68" y="39"/>
                  </a:lnTo>
                  <a:lnTo>
                    <a:pt x="70" y="38"/>
                  </a:lnTo>
                  <a:lnTo>
                    <a:pt x="71" y="36"/>
                  </a:lnTo>
                  <a:lnTo>
                    <a:pt x="73" y="36"/>
                  </a:lnTo>
                  <a:lnTo>
                    <a:pt x="74" y="35"/>
                  </a:lnTo>
                  <a:lnTo>
                    <a:pt x="77" y="33"/>
                  </a:lnTo>
                  <a:lnTo>
                    <a:pt x="80" y="33"/>
                  </a:lnTo>
                  <a:lnTo>
                    <a:pt x="82" y="29"/>
                  </a:lnTo>
                  <a:lnTo>
                    <a:pt x="80" y="28"/>
                  </a:lnTo>
                  <a:lnTo>
                    <a:pt x="79" y="28"/>
                  </a:lnTo>
                  <a:lnTo>
                    <a:pt x="79" y="25"/>
                  </a:lnTo>
                  <a:lnTo>
                    <a:pt x="80" y="23"/>
                  </a:lnTo>
                  <a:lnTo>
                    <a:pt x="82" y="22"/>
                  </a:lnTo>
                  <a:lnTo>
                    <a:pt x="82" y="20"/>
                  </a:lnTo>
                  <a:lnTo>
                    <a:pt x="80" y="20"/>
                  </a:lnTo>
                  <a:lnTo>
                    <a:pt x="77" y="19"/>
                  </a:lnTo>
                  <a:lnTo>
                    <a:pt x="73" y="13"/>
                  </a:lnTo>
                  <a:lnTo>
                    <a:pt x="66" y="9"/>
                  </a:lnTo>
                  <a:lnTo>
                    <a:pt x="61" y="9"/>
                  </a:lnTo>
                  <a:lnTo>
                    <a:pt x="60" y="7"/>
                  </a:lnTo>
                  <a:lnTo>
                    <a:pt x="57" y="1"/>
                  </a:lnTo>
                  <a:lnTo>
                    <a:pt x="55" y="0"/>
                  </a:lnTo>
                  <a:lnTo>
                    <a:pt x="54" y="1"/>
                  </a:lnTo>
                  <a:lnTo>
                    <a:pt x="51" y="4"/>
                  </a:lnTo>
                  <a:lnTo>
                    <a:pt x="47" y="6"/>
                  </a:lnTo>
                  <a:lnTo>
                    <a:pt x="39" y="1"/>
                  </a:lnTo>
                  <a:lnTo>
                    <a:pt x="32" y="1"/>
                  </a:lnTo>
                  <a:lnTo>
                    <a:pt x="31" y="1"/>
                  </a:lnTo>
                  <a:lnTo>
                    <a:pt x="29" y="1"/>
                  </a:lnTo>
                  <a:lnTo>
                    <a:pt x="26" y="3"/>
                  </a:lnTo>
                  <a:lnTo>
                    <a:pt x="25" y="3"/>
                  </a:lnTo>
                  <a:lnTo>
                    <a:pt x="22" y="1"/>
                  </a:lnTo>
                  <a:lnTo>
                    <a:pt x="16" y="1"/>
                  </a:lnTo>
                  <a:lnTo>
                    <a:pt x="6" y="6"/>
                  </a:lnTo>
                  <a:lnTo>
                    <a:pt x="5" y="9"/>
                  </a:lnTo>
                  <a:lnTo>
                    <a:pt x="3" y="10"/>
                  </a:lnTo>
                  <a:lnTo>
                    <a:pt x="0" y="1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57" name="Freeform 1095"/>
            <p:cNvSpPr>
              <a:spLocks/>
            </p:cNvSpPr>
            <p:nvPr/>
          </p:nvSpPr>
          <p:spPr bwMode="auto">
            <a:xfrm>
              <a:off x="6392843" y="2258464"/>
              <a:ext cx="75490" cy="66933"/>
            </a:xfrm>
            <a:custGeom>
              <a:avLst/>
              <a:gdLst/>
              <a:ahLst/>
              <a:cxnLst>
                <a:cxn ang="0">
                  <a:pos x="2" y="20"/>
                </a:cxn>
                <a:cxn ang="0">
                  <a:pos x="3" y="28"/>
                </a:cxn>
                <a:cxn ang="0">
                  <a:pos x="3" y="29"/>
                </a:cxn>
                <a:cxn ang="0">
                  <a:pos x="6" y="31"/>
                </a:cxn>
                <a:cxn ang="0">
                  <a:pos x="10" y="32"/>
                </a:cxn>
                <a:cxn ang="0">
                  <a:pos x="18" y="35"/>
                </a:cxn>
                <a:cxn ang="0">
                  <a:pos x="23" y="36"/>
                </a:cxn>
                <a:cxn ang="0">
                  <a:pos x="25" y="47"/>
                </a:cxn>
                <a:cxn ang="0">
                  <a:pos x="34" y="58"/>
                </a:cxn>
                <a:cxn ang="0">
                  <a:pos x="39" y="64"/>
                </a:cxn>
                <a:cxn ang="0">
                  <a:pos x="47" y="64"/>
                </a:cxn>
                <a:cxn ang="0">
                  <a:pos x="51" y="61"/>
                </a:cxn>
                <a:cxn ang="0">
                  <a:pos x="55" y="63"/>
                </a:cxn>
                <a:cxn ang="0">
                  <a:pos x="55" y="58"/>
                </a:cxn>
                <a:cxn ang="0">
                  <a:pos x="60" y="57"/>
                </a:cxn>
                <a:cxn ang="0">
                  <a:pos x="63" y="55"/>
                </a:cxn>
                <a:cxn ang="0">
                  <a:pos x="66" y="58"/>
                </a:cxn>
                <a:cxn ang="0">
                  <a:pos x="68" y="55"/>
                </a:cxn>
                <a:cxn ang="0">
                  <a:pos x="66" y="52"/>
                </a:cxn>
                <a:cxn ang="0">
                  <a:pos x="68" y="47"/>
                </a:cxn>
                <a:cxn ang="0">
                  <a:pos x="68" y="42"/>
                </a:cxn>
                <a:cxn ang="0">
                  <a:pos x="70" y="38"/>
                </a:cxn>
                <a:cxn ang="0">
                  <a:pos x="73" y="36"/>
                </a:cxn>
                <a:cxn ang="0">
                  <a:pos x="77" y="33"/>
                </a:cxn>
                <a:cxn ang="0">
                  <a:pos x="82" y="29"/>
                </a:cxn>
                <a:cxn ang="0">
                  <a:pos x="79" y="28"/>
                </a:cxn>
                <a:cxn ang="0">
                  <a:pos x="80" y="23"/>
                </a:cxn>
                <a:cxn ang="0">
                  <a:pos x="82" y="20"/>
                </a:cxn>
                <a:cxn ang="0">
                  <a:pos x="77" y="19"/>
                </a:cxn>
                <a:cxn ang="0">
                  <a:pos x="66" y="9"/>
                </a:cxn>
                <a:cxn ang="0">
                  <a:pos x="60" y="7"/>
                </a:cxn>
                <a:cxn ang="0">
                  <a:pos x="55" y="0"/>
                </a:cxn>
                <a:cxn ang="0">
                  <a:pos x="51" y="4"/>
                </a:cxn>
                <a:cxn ang="0">
                  <a:pos x="39" y="1"/>
                </a:cxn>
                <a:cxn ang="0">
                  <a:pos x="31" y="1"/>
                </a:cxn>
                <a:cxn ang="0">
                  <a:pos x="26" y="3"/>
                </a:cxn>
                <a:cxn ang="0">
                  <a:pos x="22" y="1"/>
                </a:cxn>
                <a:cxn ang="0">
                  <a:pos x="6" y="6"/>
                </a:cxn>
                <a:cxn ang="0">
                  <a:pos x="3" y="10"/>
                </a:cxn>
              </a:cxnLst>
              <a:rect l="0" t="0" r="r" b="b"/>
              <a:pathLst>
                <a:path w="82" h="64">
                  <a:moveTo>
                    <a:pt x="0" y="10"/>
                  </a:moveTo>
                  <a:lnTo>
                    <a:pt x="2" y="20"/>
                  </a:lnTo>
                  <a:lnTo>
                    <a:pt x="0" y="15"/>
                  </a:lnTo>
                  <a:lnTo>
                    <a:pt x="3" y="28"/>
                  </a:lnTo>
                  <a:lnTo>
                    <a:pt x="3" y="29"/>
                  </a:lnTo>
                  <a:lnTo>
                    <a:pt x="3" y="29"/>
                  </a:lnTo>
                  <a:lnTo>
                    <a:pt x="3" y="31"/>
                  </a:lnTo>
                  <a:lnTo>
                    <a:pt x="6" y="31"/>
                  </a:lnTo>
                  <a:lnTo>
                    <a:pt x="8" y="32"/>
                  </a:lnTo>
                  <a:lnTo>
                    <a:pt x="10" y="32"/>
                  </a:lnTo>
                  <a:lnTo>
                    <a:pt x="12" y="33"/>
                  </a:lnTo>
                  <a:lnTo>
                    <a:pt x="18" y="35"/>
                  </a:lnTo>
                  <a:lnTo>
                    <a:pt x="22" y="35"/>
                  </a:lnTo>
                  <a:lnTo>
                    <a:pt x="23" y="36"/>
                  </a:lnTo>
                  <a:lnTo>
                    <a:pt x="26" y="42"/>
                  </a:lnTo>
                  <a:lnTo>
                    <a:pt x="25" y="47"/>
                  </a:lnTo>
                  <a:lnTo>
                    <a:pt x="25" y="52"/>
                  </a:lnTo>
                  <a:lnTo>
                    <a:pt x="34" y="58"/>
                  </a:lnTo>
                  <a:lnTo>
                    <a:pt x="35" y="63"/>
                  </a:lnTo>
                  <a:lnTo>
                    <a:pt x="39" y="64"/>
                  </a:lnTo>
                  <a:lnTo>
                    <a:pt x="44" y="63"/>
                  </a:lnTo>
                  <a:lnTo>
                    <a:pt x="47" y="64"/>
                  </a:lnTo>
                  <a:lnTo>
                    <a:pt x="50" y="63"/>
                  </a:lnTo>
                  <a:lnTo>
                    <a:pt x="51" y="61"/>
                  </a:lnTo>
                  <a:lnTo>
                    <a:pt x="53" y="63"/>
                  </a:lnTo>
                  <a:lnTo>
                    <a:pt x="55" y="63"/>
                  </a:lnTo>
                  <a:lnTo>
                    <a:pt x="54" y="58"/>
                  </a:lnTo>
                  <a:lnTo>
                    <a:pt x="55" y="58"/>
                  </a:lnTo>
                  <a:lnTo>
                    <a:pt x="58" y="58"/>
                  </a:lnTo>
                  <a:lnTo>
                    <a:pt x="60" y="57"/>
                  </a:lnTo>
                  <a:lnTo>
                    <a:pt x="61" y="55"/>
                  </a:lnTo>
                  <a:lnTo>
                    <a:pt x="63" y="55"/>
                  </a:lnTo>
                  <a:lnTo>
                    <a:pt x="64" y="57"/>
                  </a:lnTo>
                  <a:lnTo>
                    <a:pt x="66" y="58"/>
                  </a:lnTo>
                  <a:lnTo>
                    <a:pt x="68" y="58"/>
                  </a:lnTo>
                  <a:lnTo>
                    <a:pt x="68" y="55"/>
                  </a:lnTo>
                  <a:lnTo>
                    <a:pt x="67" y="54"/>
                  </a:lnTo>
                  <a:lnTo>
                    <a:pt x="66" y="52"/>
                  </a:lnTo>
                  <a:lnTo>
                    <a:pt x="66" y="49"/>
                  </a:lnTo>
                  <a:lnTo>
                    <a:pt x="68" y="47"/>
                  </a:lnTo>
                  <a:lnTo>
                    <a:pt x="68" y="44"/>
                  </a:lnTo>
                  <a:lnTo>
                    <a:pt x="68" y="42"/>
                  </a:lnTo>
                  <a:lnTo>
                    <a:pt x="68" y="39"/>
                  </a:lnTo>
                  <a:lnTo>
                    <a:pt x="70" y="38"/>
                  </a:lnTo>
                  <a:lnTo>
                    <a:pt x="71" y="36"/>
                  </a:lnTo>
                  <a:lnTo>
                    <a:pt x="73" y="36"/>
                  </a:lnTo>
                  <a:lnTo>
                    <a:pt x="74" y="35"/>
                  </a:lnTo>
                  <a:lnTo>
                    <a:pt x="77" y="33"/>
                  </a:lnTo>
                  <a:lnTo>
                    <a:pt x="80" y="33"/>
                  </a:lnTo>
                  <a:lnTo>
                    <a:pt x="82" y="29"/>
                  </a:lnTo>
                  <a:lnTo>
                    <a:pt x="80" y="28"/>
                  </a:lnTo>
                  <a:lnTo>
                    <a:pt x="79" y="28"/>
                  </a:lnTo>
                  <a:lnTo>
                    <a:pt x="79" y="25"/>
                  </a:lnTo>
                  <a:lnTo>
                    <a:pt x="80" y="23"/>
                  </a:lnTo>
                  <a:lnTo>
                    <a:pt x="82" y="22"/>
                  </a:lnTo>
                  <a:lnTo>
                    <a:pt x="82" y="20"/>
                  </a:lnTo>
                  <a:lnTo>
                    <a:pt x="80" y="20"/>
                  </a:lnTo>
                  <a:lnTo>
                    <a:pt x="77" y="19"/>
                  </a:lnTo>
                  <a:lnTo>
                    <a:pt x="73" y="13"/>
                  </a:lnTo>
                  <a:lnTo>
                    <a:pt x="66" y="9"/>
                  </a:lnTo>
                  <a:lnTo>
                    <a:pt x="61" y="9"/>
                  </a:lnTo>
                  <a:lnTo>
                    <a:pt x="60" y="7"/>
                  </a:lnTo>
                  <a:lnTo>
                    <a:pt x="57" y="1"/>
                  </a:lnTo>
                  <a:lnTo>
                    <a:pt x="55" y="0"/>
                  </a:lnTo>
                  <a:lnTo>
                    <a:pt x="54" y="1"/>
                  </a:lnTo>
                  <a:lnTo>
                    <a:pt x="51" y="4"/>
                  </a:lnTo>
                  <a:lnTo>
                    <a:pt x="47" y="6"/>
                  </a:lnTo>
                  <a:lnTo>
                    <a:pt x="39" y="1"/>
                  </a:lnTo>
                  <a:lnTo>
                    <a:pt x="32" y="1"/>
                  </a:lnTo>
                  <a:lnTo>
                    <a:pt x="31" y="1"/>
                  </a:lnTo>
                  <a:lnTo>
                    <a:pt x="29" y="1"/>
                  </a:lnTo>
                  <a:lnTo>
                    <a:pt x="26" y="3"/>
                  </a:lnTo>
                  <a:lnTo>
                    <a:pt x="25" y="3"/>
                  </a:lnTo>
                  <a:lnTo>
                    <a:pt x="22" y="1"/>
                  </a:lnTo>
                  <a:lnTo>
                    <a:pt x="16" y="1"/>
                  </a:lnTo>
                  <a:lnTo>
                    <a:pt x="6" y="6"/>
                  </a:lnTo>
                  <a:lnTo>
                    <a:pt x="5" y="9"/>
                  </a:lnTo>
                  <a:lnTo>
                    <a:pt x="3" y="10"/>
                  </a:lnTo>
                  <a:lnTo>
                    <a:pt x="0" y="1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58" name="Freeform 1110"/>
            <p:cNvSpPr>
              <a:spLocks/>
            </p:cNvSpPr>
            <p:nvPr/>
          </p:nvSpPr>
          <p:spPr bwMode="auto">
            <a:xfrm>
              <a:off x="5278915" y="2420726"/>
              <a:ext cx="35112" cy="19269"/>
            </a:xfrm>
            <a:custGeom>
              <a:avLst/>
              <a:gdLst/>
              <a:ahLst/>
              <a:cxnLst>
                <a:cxn ang="0">
                  <a:pos x="9" y="1"/>
                </a:cxn>
                <a:cxn ang="0">
                  <a:pos x="26" y="8"/>
                </a:cxn>
                <a:cxn ang="0">
                  <a:pos x="30" y="11"/>
                </a:cxn>
                <a:cxn ang="0">
                  <a:pos x="33" y="13"/>
                </a:cxn>
                <a:cxn ang="0">
                  <a:pos x="35" y="13"/>
                </a:cxn>
                <a:cxn ang="0">
                  <a:pos x="36" y="13"/>
                </a:cxn>
                <a:cxn ang="0">
                  <a:pos x="36" y="14"/>
                </a:cxn>
                <a:cxn ang="0">
                  <a:pos x="38" y="15"/>
                </a:cxn>
                <a:cxn ang="0">
                  <a:pos x="38" y="17"/>
                </a:cxn>
                <a:cxn ang="0">
                  <a:pos x="39" y="18"/>
                </a:cxn>
                <a:cxn ang="0">
                  <a:pos x="36" y="18"/>
                </a:cxn>
                <a:cxn ang="0">
                  <a:pos x="23" y="17"/>
                </a:cxn>
                <a:cxn ang="0">
                  <a:pos x="15" y="14"/>
                </a:cxn>
                <a:cxn ang="0">
                  <a:pos x="13" y="11"/>
                </a:cxn>
                <a:cxn ang="0">
                  <a:pos x="12" y="8"/>
                </a:cxn>
                <a:cxn ang="0">
                  <a:pos x="0" y="2"/>
                </a:cxn>
                <a:cxn ang="0">
                  <a:pos x="0" y="1"/>
                </a:cxn>
                <a:cxn ang="0">
                  <a:pos x="3" y="0"/>
                </a:cxn>
                <a:cxn ang="0">
                  <a:pos x="9" y="1"/>
                </a:cxn>
              </a:cxnLst>
              <a:rect l="0" t="0" r="r" b="b"/>
              <a:pathLst>
                <a:path w="39" h="18">
                  <a:moveTo>
                    <a:pt x="9" y="1"/>
                  </a:moveTo>
                  <a:lnTo>
                    <a:pt x="26" y="8"/>
                  </a:lnTo>
                  <a:lnTo>
                    <a:pt x="30" y="11"/>
                  </a:lnTo>
                  <a:lnTo>
                    <a:pt x="33" y="13"/>
                  </a:lnTo>
                  <a:lnTo>
                    <a:pt x="35" y="13"/>
                  </a:lnTo>
                  <a:lnTo>
                    <a:pt x="36" y="13"/>
                  </a:lnTo>
                  <a:lnTo>
                    <a:pt x="36" y="14"/>
                  </a:lnTo>
                  <a:lnTo>
                    <a:pt x="38" y="15"/>
                  </a:lnTo>
                  <a:lnTo>
                    <a:pt x="38" y="17"/>
                  </a:lnTo>
                  <a:lnTo>
                    <a:pt x="39" y="18"/>
                  </a:lnTo>
                  <a:lnTo>
                    <a:pt x="36" y="18"/>
                  </a:lnTo>
                  <a:lnTo>
                    <a:pt x="23" y="17"/>
                  </a:lnTo>
                  <a:lnTo>
                    <a:pt x="15" y="14"/>
                  </a:lnTo>
                  <a:lnTo>
                    <a:pt x="13" y="11"/>
                  </a:lnTo>
                  <a:lnTo>
                    <a:pt x="12" y="8"/>
                  </a:lnTo>
                  <a:lnTo>
                    <a:pt x="0" y="2"/>
                  </a:lnTo>
                  <a:lnTo>
                    <a:pt x="0" y="1"/>
                  </a:lnTo>
                  <a:lnTo>
                    <a:pt x="3" y="0"/>
                  </a:lnTo>
                  <a:lnTo>
                    <a:pt x="9"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59" name="Freeform 1111"/>
            <p:cNvSpPr>
              <a:spLocks/>
            </p:cNvSpPr>
            <p:nvPr/>
          </p:nvSpPr>
          <p:spPr bwMode="auto">
            <a:xfrm>
              <a:off x="5278915" y="2420726"/>
              <a:ext cx="35112" cy="19269"/>
            </a:xfrm>
            <a:custGeom>
              <a:avLst/>
              <a:gdLst/>
              <a:ahLst/>
              <a:cxnLst>
                <a:cxn ang="0">
                  <a:pos x="9" y="1"/>
                </a:cxn>
                <a:cxn ang="0">
                  <a:pos x="26" y="8"/>
                </a:cxn>
                <a:cxn ang="0">
                  <a:pos x="30" y="11"/>
                </a:cxn>
                <a:cxn ang="0">
                  <a:pos x="33" y="13"/>
                </a:cxn>
                <a:cxn ang="0">
                  <a:pos x="35" y="13"/>
                </a:cxn>
                <a:cxn ang="0">
                  <a:pos x="36" y="13"/>
                </a:cxn>
                <a:cxn ang="0">
                  <a:pos x="36" y="14"/>
                </a:cxn>
                <a:cxn ang="0">
                  <a:pos x="38" y="15"/>
                </a:cxn>
                <a:cxn ang="0">
                  <a:pos x="38" y="17"/>
                </a:cxn>
                <a:cxn ang="0">
                  <a:pos x="39" y="18"/>
                </a:cxn>
                <a:cxn ang="0">
                  <a:pos x="36" y="18"/>
                </a:cxn>
                <a:cxn ang="0">
                  <a:pos x="23" y="17"/>
                </a:cxn>
                <a:cxn ang="0">
                  <a:pos x="15" y="14"/>
                </a:cxn>
                <a:cxn ang="0">
                  <a:pos x="13" y="11"/>
                </a:cxn>
                <a:cxn ang="0">
                  <a:pos x="12" y="8"/>
                </a:cxn>
                <a:cxn ang="0">
                  <a:pos x="0" y="2"/>
                </a:cxn>
                <a:cxn ang="0">
                  <a:pos x="0" y="1"/>
                </a:cxn>
                <a:cxn ang="0">
                  <a:pos x="3" y="0"/>
                </a:cxn>
                <a:cxn ang="0">
                  <a:pos x="9" y="1"/>
                </a:cxn>
              </a:cxnLst>
              <a:rect l="0" t="0" r="r" b="b"/>
              <a:pathLst>
                <a:path w="39" h="18">
                  <a:moveTo>
                    <a:pt x="9" y="1"/>
                  </a:moveTo>
                  <a:lnTo>
                    <a:pt x="26" y="8"/>
                  </a:lnTo>
                  <a:lnTo>
                    <a:pt x="30" y="11"/>
                  </a:lnTo>
                  <a:lnTo>
                    <a:pt x="33" y="13"/>
                  </a:lnTo>
                  <a:lnTo>
                    <a:pt x="35" y="13"/>
                  </a:lnTo>
                  <a:lnTo>
                    <a:pt x="36" y="13"/>
                  </a:lnTo>
                  <a:lnTo>
                    <a:pt x="36" y="14"/>
                  </a:lnTo>
                  <a:lnTo>
                    <a:pt x="38" y="15"/>
                  </a:lnTo>
                  <a:lnTo>
                    <a:pt x="38" y="17"/>
                  </a:lnTo>
                  <a:lnTo>
                    <a:pt x="39" y="18"/>
                  </a:lnTo>
                  <a:lnTo>
                    <a:pt x="36" y="18"/>
                  </a:lnTo>
                  <a:lnTo>
                    <a:pt x="23" y="17"/>
                  </a:lnTo>
                  <a:lnTo>
                    <a:pt x="15" y="14"/>
                  </a:lnTo>
                  <a:lnTo>
                    <a:pt x="13" y="11"/>
                  </a:lnTo>
                  <a:lnTo>
                    <a:pt x="12" y="8"/>
                  </a:lnTo>
                  <a:lnTo>
                    <a:pt x="0" y="2"/>
                  </a:lnTo>
                  <a:lnTo>
                    <a:pt x="0" y="1"/>
                  </a:lnTo>
                  <a:lnTo>
                    <a:pt x="3" y="0"/>
                  </a:lnTo>
                  <a:lnTo>
                    <a:pt x="9"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60" name="Freeform 1112"/>
            <p:cNvSpPr>
              <a:spLocks/>
            </p:cNvSpPr>
            <p:nvPr/>
          </p:nvSpPr>
          <p:spPr bwMode="auto">
            <a:xfrm>
              <a:off x="5384251" y="2484616"/>
              <a:ext cx="877" cy="7099"/>
            </a:xfrm>
            <a:custGeom>
              <a:avLst/>
              <a:gdLst/>
              <a:ahLst/>
              <a:cxnLst>
                <a:cxn ang="0">
                  <a:pos x="1" y="0"/>
                </a:cxn>
                <a:cxn ang="0">
                  <a:pos x="0" y="1"/>
                </a:cxn>
                <a:cxn ang="0">
                  <a:pos x="1" y="7"/>
                </a:cxn>
                <a:cxn ang="0">
                  <a:pos x="1" y="5"/>
                </a:cxn>
                <a:cxn ang="0">
                  <a:pos x="1" y="1"/>
                </a:cxn>
                <a:cxn ang="0">
                  <a:pos x="1" y="0"/>
                </a:cxn>
              </a:cxnLst>
              <a:rect l="0" t="0" r="r" b="b"/>
              <a:pathLst>
                <a:path w="1" h="7">
                  <a:moveTo>
                    <a:pt x="1" y="0"/>
                  </a:moveTo>
                  <a:lnTo>
                    <a:pt x="0" y="1"/>
                  </a:lnTo>
                  <a:lnTo>
                    <a:pt x="1" y="7"/>
                  </a:lnTo>
                  <a:lnTo>
                    <a:pt x="1" y="5"/>
                  </a:lnTo>
                  <a:lnTo>
                    <a:pt x="1" y="1"/>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61" name="Freeform 1113"/>
            <p:cNvSpPr>
              <a:spLocks/>
            </p:cNvSpPr>
            <p:nvPr/>
          </p:nvSpPr>
          <p:spPr bwMode="auto">
            <a:xfrm>
              <a:off x="5384251" y="2484616"/>
              <a:ext cx="877" cy="7099"/>
            </a:xfrm>
            <a:custGeom>
              <a:avLst/>
              <a:gdLst/>
              <a:ahLst/>
              <a:cxnLst>
                <a:cxn ang="0">
                  <a:pos x="1" y="0"/>
                </a:cxn>
                <a:cxn ang="0">
                  <a:pos x="0" y="1"/>
                </a:cxn>
                <a:cxn ang="0">
                  <a:pos x="1" y="7"/>
                </a:cxn>
                <a:cxn ang="0">
                  <a:pos x="1" y="5"/>
                </a:cxn>
                <a:cxn ang="0">
                  <a:pos x="1" y="1"/>
                </a:cxn>
                <a:cxn ang="0">
                  <a:pos x="1" y="0"/>
                </a:cxn>
              </a:cxnLst>
              <a:rect l="0" t="0" r="r" b="b"/>
              <a:pathLst>
                <a:path w="1" h="7">
                  <a:moveTo>
                    <a:pt x="1" y="0"/>
                  </a:moveTo>
                  <a:lnTo>
                    <a:pt x="0" y="1"/>
                  </a:lnTo>
                  <a:lnTo>
                    <a:pt x="1" y="7"/>
                  </a:lnTo>
                  <a:lnTo>
                    <a:pt x="1" y="5"/>
                  </a:lnTo>
                  <a:lnTo>
                    <a:pt x="1" y="1"/>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62" name="Freeform 1114"/>
            <p:cNvSpPr>
              <a:spLocks/>
            </p:cNvSpPr>
            <p:nvPr/>
          </p:nvSpPr>
          <p:spPr bwMode="auto">
            <a:xfrm>
              <a:off x="5245558" y="2533295"/>
              <a:ext cx="2633" cy="5071"/>
            </a:xfrm>
            <a:custGeom>
              <a:avLst/>
              <a:gdLst/>
              <a:ahLst/>
              <a:cxnLst>
                <a:cxn ang="0">
                  <a:pos x="1" y="0"/>
                </a:cxn>
                <a:cxn ang="0">
                  <a:pos x="1" y="2"/>
                </a:cxn>
                <a:cxn ang="0">
                  <a:pos x="0" y="5"/>
                </a:cxn>
                <a:cxn ang="0">
                  <a:pos x="1" y="3"/>
                </a:cxn>
                <a:cxn ang="0">
                  <a:pos x="3" y="3"/>
                </a:cxn>
                <a:cxn ang="0">
                  <a:pos x="3" y="0"/>
                </a:cxn>
                <a:cxn ang="0">
                  <a:pos x="1" y="0"/>
                </a:cxn>
              </a:cxnLst>
              <a:rect l="0" t="0" r="r" b="b"/>
              <a:pathLst>
                <a:path w="3" h="5">
                  <a:moveTo>
                    <a:pt x="1" y="0"/>
                  </a:moveTo>
                  <a:lnTo>
                    <a:pt x="1" y="2"/>
                  </a:lnTo>
                  <a:lnTo>
                    <a:pt x="0" y="5"/>
                  </a:lnTo>
                  <a:lnTo>
                    <a:pt x="1" y="3"/>
                  </a:lnTo>
                  <a:lnTo>
                    <a:pt x="3" y="3"/>
                  </a:lnTo>
                  <a:lnTo>
                    <a:pt x="3" y="0"/>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63" name="Freeform 1115"/>
            <p:cNvSpPr>
              <a:spLocks/>
            </p:cNvSpPr>
            <p:nvPr/>
          </p:nvSpPr>
          <p:spPr bwMode="auto">
            <a:xfrm>
              <a:off x="5245558" y="2533295"/>
              <a:ext cx="2633" cy="5071"/>
            </a:xfrm>
            <a:custGeom>
              <a:avLst/>
              <a:gdLst/>
              <a:ahLst/>
              <a:cxnLst>
                <a:cxn ang="0">
                  <a:pos x="1" y="0"/>
                </a:cxn>
                <a:cxn ang="0">
                  <a:pos x="1" y="2"/>
                </a:cxn>
                <a:cxn ang="0">
                  <a:pos x="0" y="5"/>
                </a:cxn>
                <a:cxn ang="0">
                  <a:pos x="1" y="3"/>
                </a:cxn>
                <a:cxn ang="0">
                  <a:pos x="3" y="3"/>
                </a:cxn>
                <a:cxn ang="0">
                  <a:pos x="3" y="0"/>
                </a:cxn>
                <a:cxn ang="0">
                  <a:pos x="1" y="0"/>
                </a:cxn>
              </a:cxnLst>
              <a:rect l="0" t="0" r="r" b="b"/>
              <a:pathLst>
                <a:path w="3" h="5">
                  <a:moveTo>
                    <a:pt x="1" y="0"/>
                  </a:moveTo>
                  <a:lnTo>
                    <a:pt x="1" y="2"/>
                  </a:lnTo>
                  <a:lnTo>
                    <a:pt x="0" y="5"/>
                  </a:lnTo>
                  <a:lnTo>
                    <a:pt x="1" y="3"/>
                  </a:lnTo>
                  <a:lnTo>
                    <a:pt x="3" y="3"/>
                  </a:lnTo>
                  <a:lnTo>
                    <a:pt x="3" y="0"/>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64" name="Freeform 1116"/>
            <p:cNvSpPr>
              <a:spLocks/>
            </p:cNvSpPr>
            <p:nvPr/>
          </p:nvSpPr>
          <p:spPr bwMode="auto">
            <a:xfrm>
              <a:off x="5345627" y="2382189"/>
              <a:ext cx="86024" cy="113584"/>
            </a:xfrm>
            <a:custGeom>
              <a:avLst/>
              <a:gdLst/>
              <a:ahLst/>
              <a:cxnLst>
                <a:cxn ang="0">
                  <a:pos x="37" y="7"/>
                </a:cxn>
                <a:cxn ang="0">
                  <a:pos x="34" y="12"/>
                </a:cxn>
                <a:cxn ang="0">
                  <a:pos x="32" y="19"/>
                </a:cxn>
                <a:cxn ang="0">
                  <a:pos x="30" y="22"/>
                </a:cxn>
                <a:cxn ang="0">
                  <a:pos x="26" y="31"/>
                </a:cxn>
                <a:cxn ang="0">
                  <a:pos x="20" y="42"/>
                </a:cxn>
                <a:cxn ang="0">
                  <a:pos x="21" y="47"/>
                </a:cxn>
                <a:cxn ang="0">
                  <a:pos x="16" y="52"/>
                </a:cxn>
                <a:cxn ang="0">
                  <a:pos x="18" y="54"/>
                </a:cxn>
                <a:cxn ang="0">
                  <a:pos x="13" y="57"/>
                </a:cxn>
                <a:cxn ang="0">
                  <a:pos x="7" y="66"/>
                </a:cxn>
                <a:cxn ang="0">
                  <a:pos x="8" y="68"/>
                </a:cxn>
                <a:cxn ang="0">
                  <a:pos x="0" y="82"/>
                </a:cxn>
                <a:cxn ang="0">
                  <a:pos x="4" y="89"/>
                </a:cxn>
                <a:cxn ang="0">
                  <a:pos x="29" y="89"/>
                </a:cxn>
                <a:cxn ang="0">
                  <a:pos x="50" y="83"/>
                </a:cxn>
                <a:cxn ang="0">
                  <a:pos x="46" y="90"/>
                </a:cxn>
                <a:cxn ang="0">
                  <a:pos x="55" y="90"/>
                </a:cxn>
                <a:cxn ang="0">
                  <a:pos x="63" y="87"/>
                </a:cxn>
                <a:cxn ang="0">
                  <a:pos x="55" y="98"/>
                </a:cxn>
                <a:cxn ang="0">
                  <a:pos x="52" y="103"/>
                </a:cxn>
                <a:cxn ang="0">
                  <a:pos x="68" y="92"/>
                </a:cxn>
                <a:cxn ang="0">
                  <a:pos x="75" y="82"/>
                </a:cxn>
                <a:cxn ang="0">
                  <a:pos x="77" y="105"/>
                </a:cxn>
                <a:cxn ang="0">
                  <a:pos x="81" y="102"/>
                </a:cxn>
                <a:cxn ang="0">
                  <a:pos x="85" y="106"/>
                </a:cxn>
                <a:cxn ang="0">
                  <a:pos x="94" y="86"/>
                </a:cxn>
                <a:cxn ang="0">
                  <a:pos x="88" y="90"/>
                </a:cxn>
                <a:cxn ang="0">
                  <a:pos x="91" y="77"/>
                </a:cxn>
                <a:cxn ang="0">
                  <a:pos x="82" y="87"/>
                </a:cxn>
                <a:cxn ang="0">
                  <a:pos x="78" y="84"/>
                </a:cxn>
                <a:cxn ang="0">
                  <a:pos x="79" y="77"/>
                </a:cxn>
                <a:cxn ang="0">
                  <a:pos x="84" y="70"/>
                </a:cxn>
                <a:cxn ang="0">
                  <a:pos x="88" y="66"/>
                </a:cxn>
                <a:cxn ang="0">
                  <a:pos x="77" y="70"/>
                </a:cxn>
                <a:cxn ang="0">
                  <a:pos x="78" y="63"/>
                </a:cxn>
                <a:cxn ang="0">
                  <a:pos x="81" y="55"/>
                </a:cxn>
                <a:cxn ang="0">
                  <a:pos x="75" y="48"/>
                </a:cxn>
                <a:cxn ang="0">
                  <a:pos x="59" y="52"/>
                </a:cxn>
                <a:cxn ang="0">
                  <a:pos x="59" y="45"/>
                </a:cxn>
                <a:cxn ang="0">
                  <a:pos x="55" y="48"/>
                </a:cxn>
                <a:cxn ang="0">
                  <a:pos x="46" y="44"/>
                </a:cxn>
                <a:cxn ang="0">
                  <a:pos x="46" y="37"/>
                </a:cxn>
                <a:cxn ang="0">
                  <a:pos x="36" y="45"/>
                </a:cxn>
                <a:cxn ang="0">
                  <a:pos x="36" y="35"/>
                </a:cxn>
                <a:cxn ang="0">
                  <a:pos x="46" y="18"/>
                </a:cxn>
                <a:cxn ang="0">
                  <a:pos x="48" y="9"/>
                </a:cxn>
                <a:cxn ang="0">
                  <a:pos x="53" y="2"/>
                </a:cxn>
                <a:cxn ang="0">
                  <a:pos x="50" y="0"/>
                </a:cxn>
              </a:cxnLst>
              <a:rect l="0" t="0" r="r" b="b"/>
              <a:pathLst>
                <a:path w="94" h="109">
                  <a:moveTo>
                    <a:pt x="43" y="3"/>
                  </a:moveTo>
                  <a:lnTo>
                    <a:pt x="37" y="6"/>
                  </a:lnTo>
                  <a:lnTo>
                    <a:pt x="37" y="7"/>
                  </a:lnTo>
                  <a:lnTo>
                    <a:pt x="36" y="10"/>
                  </a:lnTo>
                  <a:lnTo>
                    <a:pt x="34" y="12"/>
                  </a:lnTo>
                  <a:lnTo>
                    <a:pt x="34" y="12"/>
                  </a:lnTo>
                  <a:lnTo>
                    <a:pt x="33" y="13"/>
                  </a:lnTo>
                  <a:lnTo>
                    <a:pt x="32" y="18"/>
                  </a:lnTo>
                  <a:lnTo>
                    <a:pt x="32" y="19"/>
                  </a:lnTo>
                  <a:lnTo>
                    <a:pt x="29" y="19"/>
                  </a:lnTo>
                  <a:lnTo>
                    <a:pt x="27" y="21"/>
                  </a:lnTo>
                  <a:lnTo>
                    <a:pt x="30" y="22"/>
                  </a:lnTo>
                  <a:lnTo>
                    <a:pt x="27" y="25"/>
                  </a:lnTo>
                  <a:lnTo>
                    <a:pt x="26" y="31"/>
                  </a:lnTo>
                  <a:lnTo>
                    <a:pt x="26" y="31"/>
                  </a:lnTo>
                  <a:lnTo>
                    <a:pt x="29" y="32"/>
                  </a:lnTo>
                  <a:lnTo>
                    <a:pt x="24" y="34"/>
                  </a:lnTo>
                  <a:lnTo>
                    <a:pt x="20" y="42"/>
                  </a:lnTo>
                  <a:lnTo>
                    <a:pt x="20" y="45"/>
                  </a:lnTo>
                  <a:lnTo>
                    <a:pt x="21" y="45"/>
                  </a:lnTo>
                  <a:lnTo>
                    <a:pt x="21" y="47"/>
                  </a:lnTo>
                  <a:lnTo>
                    <a:pt x="18" y="47"/>
                  </a:lnTo>
                  <a:lnTo>
                    <a:pt x="17" y="50"/>
                  </a:lnTo>
                  <a:lnTo>
                    <a:pt x="16" y="52"/>
                  </a:lnTo>
                  <a:lnTo>
                    <a:pt x="16" y="52"/>
                  </a:lnTo>
                  <a:lnTo>
                    <a:pt x="18" y="54"/>
                  </a:lnTo>
                  <a:lnTo>
                    <a:pt x="18" y="54"/>
                  </a:lnTo>
                  <a:lnTo>
                    <a:pt x="17" y="55"/>
                  </a:lnTo>
                  <a:lnTo>
                    <a:pt x="18" y="57"/>
                  </a:lnTo>
                  <a:lnTo>
                    <a:pt x="13" y="57"/>
                  </a:lnTo>
                  <a:lnTo>
                    <a:pt x="10" y="66"/>
                  </a:lnTo>
                  <a:lnTo>
                    <a:pt x="8" y="67"/>
                  </a:lnTo>
                  <a:lnTo>
                    <a:pt x="7" y="66"/>
                  </a:lnTo>
                  <a:lnTo>
                    <a:pt x="2" y="68"/>
                  </a:lnTo>
                  <a:lnTo>
                    <a:pt x="2" y="68"/>
                  </a:lnTo>
                  <a:lnTo>
                    <a:pt x="8" y="68"/>
                  </a:lnTo>
                  <a:lnTo>
                    <a:pt x="11" y="68"/>
                  </a:lnTo>
                  <a:lnTo>
                    <a:pt x="13" y="70"/>
                  </a:lnTo>
                  <a:lnTo>
                    <a:pt x="0" y="82"/>
                  </a:lnTo>
                  <a:lnTo>
                    <a:pt x="0" y="86"/>
                  </a:lnTo>
                  <a:lnTo>
                    <a:pt x="1" y="89"/>
                  </a:lnTo>
                  <a:lnTo>
                    <a:pt x="4" y="89"/>
                  </a:lnTo>
                  <a:lnTo>
                    <a:pt x="17" y="86"/>
                  </a:lnTo>
                  <a:lnTo>
                    <a:pt x="26" y="87"/>
                  </a:lnTo>
                  <a:lnTo>
                    <a:pt x="29" y="89"/>
                  </a:lnTo>
                  <a:lnTo>
                    <a:pt x="45" y="87"/>
                  </a:lnTo>
                  <a:lnTo>
                    <a:pt x="46" y="84"/>
                  </a:lnTo>
                  <a:lnTo>
                    <a:pt x="50" y="83"/>
                  </a:lnTo>
                  <a:lnTo>
                    <a:pt x="50" y="87"/>
                  </a:lnTo>
                  <a:lnTo>
                    <a:pt x="46" y="89"/>
                  </a:lnTo>
                  <a:lnTo>
                    <a:pt x="46" y="90"/>
                  </a:lnTo>
                  <a:lnTo>
                    <a:pt x="49" y="90"/>
                  </a:lnTo>
                  <a:lnTo>
                    <a:pt x="49" y="92"/>
                  </a:lnTo>
                  <a:lnTo>
                    <a:pt x="55" y="90"/>
                  </a:lnTo>
                  <a:lnTo>
                    <a:pt x="58" y="87"/>
                  </a:lnTo>
                  <a:lnTo>
                    <a:pt x="59" y="87"/>
                  </a:lnTo>
                  <a:lnTo>
                    <a:pt x="63" y="87"/>
                  </a:lnTo>
                  <a:lnTo>
                    <a:pt x="63" y="89"/>
                  </a:lnTo>
                  <a:lnTo>
                    <a:pt x="58" y="93"/>
                  </a:lnTo>
                  <a:lnTo>
                    <a:pt x="55" y="98"/>
                  </a:lnTo>
                  <a:lnTo>
                    <a:pt x="49" y="100"/>
                  </a:lnTo>
                  <a:lnTo>
                    <a:pt x="49" y="102"/>
                  </a:lnTo>
                  <a:lnTo>
                    <a:pt x="52" y="103"/>
                  </a:lnTo>
                  <a:lnTo>
                    <a:pt x="58" y="102"/>
                  </a:lnTo>
                  <a:lnTo>
                    <a:pt x="63" y="93"/>
                  </a:lnTo>
                  <a:lnTo>
                    <a:pt x="68" y="92"/>
                  </a:lnTo>
                  <a:lnTo>
                    <a:pt x="69" y="92"/>
                  </a:lnTo>
                  <a:lnTo>
                    <a:pt x="72" y="82"/>
                  </a:lnTo>
                  <a:lnTo>
                    <a:pt x="75" y="82"/>
                  </a:lnTo>
                  <a:lnTo>
                    <a:pt x="77" y="93"/>
                  </a:lnTo>
                  <a:lnTo>
                    <a:pt x="74" y="103"/>
                  </a:lnTo>
                  <a:lnTo>
                    <a:pt x="77" y="105"/>
                  </a:lnTo>
                  <a:lnTo>
                    <a:pt x="81" y="98"/>
                  </a:lnTo>
                  <a:lnTo>
                    <a:pt x="82" y="99"/>
                  </a:lnTo>
                  <a:lnTo>
                    <a:pt x="81" y="102"/>
                  </a:lnTo>
                  <a:lnTo>
                    <a:pt x="81" y="106"/>
                  </a:lnTo>
                  <a:lnTo>
                    <a:pt x="82" y="109"/>
                  </a:lnTo>
                  <a:lnTo>
                    <a:pt x="85" y="106"/>
                  </a:lnTo>
                  <a:lnTo>
                    <a:pt x="88" y="108"/>
                  </a:lnTo>
                  <a:lnTo>
                    <a:pt x="94" y="92"/>
                  </a:lnTo>
                  <a:lnTo>
                    <a:pt x="94" y="86"/>
                  </a:lnTo>
                  <a:lnTo>
                    <a:pt x="93" y="84"/>
                  </a:lnTo>
                  <a:lnTo>
                    <a:pt x="88" y="92"/>
                  </a:lnTo>
                  <a:lnTo>
                    <a:pt x="88" y="90"/>
                  </a:lnTo>
                  <a:lnTo>
                    <a:pt x="88" y="86"/>
                  </a:lnTo>
                  <a:lnTo>
                    <a:pt x="90" y="79"/>
                  </a:lnTo>
                  <a:lnTo>
                    <a:pt x="91" y="77"/>
                  </a:lnTo>
                  <a:lnTo>
                    <a:pt x="91" y="76"/>
                  </a:lnTo>
                  <a:lnTo>
                    <a:pt x="85" y="79"/>
                  </a:lnTo>
                  <a:lnTo>
                    <a:pt x="82" y="87"/>
                  </a:lnTo>
                  <a:lnTo>
                    <a:pt x="81" y="87"/>
                  </a:lnTo>
                  <a:lnTo>
                    <a:pt x="79" y="86"/>
                  </a:lnTo>
                  <a:lnTo>
                    <a:pt x="78" y="84"/>
                  </a:lnTo>
                  <a:lnTo>
                    <a:pt x="79" y="79"/>
                  </a:lnTo>
                  <a:lnTo>
                    <a:pt x="79" y="79"/>
                  </a:lnTo>
                  <a:lnTo>
                    <a:pt x="79" y="77"/>
                  </a:lnTo>
                  <a:lnTo>
                    <a:pt x="77" y="76"/>
                  </a:lnTo>
                  <a:lnTo>
                    <a:pt x="82" y="73"/>
                  </a:lnTo>
                  <a:lnTo>
                    <a:pt x="84" y="70"/>
                  </a:lnTo>
                  <a:lnTo>
                    <a:pt x="87" y="70"/>
                  </a:lnTo>
                  <a:lnTo>
                    <a:pt x="88" y="67"/>
                  </a:lnTo>
                  <a:lnTo>
                    <a:pt x="88" y="66"/>
                  </a:lnTo>
                  <a:lnTo>
                    <a:pt x="81" y="68"/>
                  </a:lnTo>
                  <a:lnTo>
                    <a:pt x="79" y="68"/>
                  </a:lnTo>
                  <a:lnTo>
                    <a:pt x="77" y="70"/>
                  </a:lnTo>
                  <a:lnTo>
                    <a:pt x="75" y="68"/>
                  </a:lnTo>
                  <a:lnTo>
                    <a:pt x="79" y="64"/>
                  </a:lnTo>
                  <a:lnTo>
                    <a:pt x="78" y="63"/>
                  </a:lnTo>
                  <a:lnTo>
                    <a:pt x="77" y="63"/>
                  </a:lnTo>
                  <a:lnTo>
                    <a:pt x="78" y="58"/>
                  </a:lnTo>
                  <a:lnTo>
                    <a:pt x="81" y="55"/>
                  </a:lnTo>
                  <a:lnTo>
                    <a:pt x="82" y="52"/>
                  </a:lnTo>
                  <a:lnTo>
                    <a:pt x="82" y="51"/>
                  </a:lnTo>
                  <a:lnTo>
                    <a:pt x="75" y="48"/>
                  </a:lnTo>
                  <a:lnTo>
                    <a:pt x="71" y="50"/>
                  </a:lnTo>
                  <a:lnTo>
                    <a:pt x="69" y="47"/>
                  </a:lnTo>
                  <a:lnTo>
                    <a:pt x="59" y="52"/>
                  </a:lnTo>
                  <a:lnTo>
                    <a:pt x="56" y="52"/>
                  </a:lnTo>
                  <a:lnTo>
                    <a:pt x="59" y="48"/>
                  </a:lnTo>
                  <a:lnTo>
                    <a:pt x="59" y="45"/>
                  </a:lnTo>
                  <a:lnTo>
                    <a:pt x="56" y="48"/>
                  </a:lnTo>
                  <a:lnTo>
                    <a:pt x="56" y="48"/>
                  </a:lnTo>
                  <a:lnTo>
                    <a:pt x="55" y="48"/>
                  </a:lnTo>
                  <a:lnTo>
                    <a:pt x="49" y="48"/>
                  </a:lnTo>
                  <a:lnTo>
                    <a:pt x="49" y="44"/>
                  </a:lnTo>
                  <a:lnTo>
                    <a:pt x="46" y="44"/>
                  </a:lnTo>
                  <a:lnTo>
                    <a:pt x="55" y="38"/>
                  </a:lnTo>
                  <a:lnTo>
                    <a:pt x="52" y="38"/>
                  </a:lnTo>
                  <a:lnTo>
                    <a:pt x="46" y="37"/>
                  </a:lnTo>
                  <a:lnTo>
                    <a:pt x="46" y="34"/>
                  </a:lnTo>
                  <a:lnTo>
                    <a:pt x="45" y="34"/>
                  </a:lnTo>
                  <a:lnTo>
                    <a:pt x="36" y="45"/>
                  </a:lnTo>
                  <a:lnTo>
                    <a:pt x="36" y="41"/>
                  </a:lnTo>
                  <a:lnTo>
                    <a:pt x="36" y="38"/>
                  </a:lnTo>
                  <a:lnTo>
                    <a:pt x="36" y="35"/>
                  </a:lnTo>
                  <a:lnTo>
                    <a:pt x="45" y="23"/>
                  </a:lnTo>
                  <a:lnTo>
                    <a:pt x="45" y="16"/>
                  </a:lnTo>
                  <a:lnTo>
                    <a:pt x="46" y="18"/>
                  </a:lnTo>
                  <a:lnTo>
                    <a:pt x="49" y="16"/>
                  </a:lnTo>
                  <a:lnTo>
                    <a:pt x="50" y="10"/>
                  </a:lnTo>
                  <a:lnTo>
                    <a:pt x="48" y="9"/>
                  </a:lnTo>
                  <a:lnTo>
                    <a:pt x="48" y="6"/>
                  </a:lnTo>
                  <a:lnTo>
                    <a:pt x="52" y="6"/>
                  </a:lnTo>
                  <a:lnTo>
                    <a:pt x="53" y="2"/>
                  </a:lnTo>
                  <a:lnTo>
                    <a:pt x="53" y="0"/>
                  </a:lnTo>
                  <a:lnTo>
                    <a:pt x="50" y="2"/>
                  </a:lnTo>
                  <a:lnTo>
                    <a:pt x="50" y="0"/>
                  </a:lnTo>
                  <a:lnTo>
                    <a:pt x="48" y="0"/>
                  </a:lnTo>
                  <a:lnTo>
                    <a:pt x="43"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65" name="Freeform 1118"/>
            <p:cNvSpPr>
              <a:spLocks/>
            </p:cNvSpPr>
            <p:nvPr/>
          </p:nvSpPr>
          <p:spPr bwMode="auto">
            <a:xfrm>
              <a:off x="4352834" y="1817317"/>
              <a:ext cx="18434" cy="29410"/>
            </a:xfrm>
            <a:custGeom>
              <a:avLst/>
              <a:gdLst/>
              <a:ahLst/>
              <a:cxnLst>
                <a:cxn ang="0">
                  <a:pos x="4" y="14"/>
                </a:cxn>
                <a:cxn ang="0">
                  <a:pos x="6" y="16"/>
                </a:cxn>
                <a:cxn ang="0">
                  <a:pos x="6" y="14"/>
                </a:cxn>
                <a:cxn ang="0">
                  <a:pos x="4" y="11"/>
                </a:cxn>
                <a:cxn ang="0">
                  <a:pos x="6" y="11"/>
                </a:cxn>
                <a:cxn ang="0">
                  <a:pos x="7" y="13"/>
                </a:cxn>
                <a:cxn ang="0">
                  <a:pos x="9" y="11"/>
                </a:cxn>
                <a:cxn ang="0">
                  <a:pos x="10" y="13"/>
                </a:cxn>
                <a:cxn ang="0">
                  <a:pos x="12" y="11"/>
                </a:cxn>
                <a:cxn ang="0">
                  <a:pos x="12" y="8"/>
                </a:cxn>
                <a:cxn ang="0">
                  <a:pos x="12" y="10"/>
                </a:cxn>
                <a:cxn ang="0">
                  <a:pos x="10" y="8"/>
                </a:cxn>
                <a:cxn ang="0">
                  <a:pos x="12" y="8"/>
                </a:cxn>
                <a:cxn ang="0">
                  <a:pos x="13" y="4"/>
                </a:cxn>
                <a:cxn ang="0">
                  <a:pos x="12" y="3"/>
                </a:cxn>
                <a:cxn ang="0">
                  <a:pos x="12" y="0"/>
                </a:cxn>
                <a:cxn ang="0">
                  <a:pos x="12" y="0"/>
                </a:cxn>
                <a:cxn ang="0">
                  <a:pos x="12" y="1"/>
                </a:cxn>
                <a:cxn ang="0">
                  <a:pos x="14" y="4"/>
                </a:cxn>
                <a:cxn ang="0">
                  <a:pos x="14" y="6"/>
                </a:cxn>
                <a:cxn ang="0">
                  <a:pos x="16" y="7"/>
                </a:cxn>
                <a:cxn ang="0">
                  <a:pos x="17" y="8"/>
                </a:cxn>
                <a:cxn ang="0">
                  <a:pos x="19" y="6"/>
                </a:cxn>
                <a:cxn ang="0">
                  <a:pos x="20" y="7"/>
                </a:cxn>
                <a:cxn ang="0">
                  <a:pos x="20" y="10"/>
                </a:cxn>
                <a:cxn ang="0">
                  <a:pos x="20" y="13"/>
                </a:cxn>
                <a:cxn ang="0">
                  <a:pos x="9" y="27"/>
                </a:cxn>
                <a:cxn ang="0">
                  <a:pos x="6" y="27"/>
                </a:cxn>
                <a:cxn ang="0">
                  <a:pos x="6" y="27"/>
                </a:cxn>
                <a:cxn ang="0">
                  <a:pos x="6" y="29"/>
                </a:cxn>
                <a:cxn ang="0">
                  <a:pos x="4" y="27"/>
                </a:cxn>
                <a:cxn ang="0">
                  <a:pos x="4" y="26"/>
                </a:cxn>
                <a:cxn ang="0">
                  <a:pos x="7" y="26"/>
                </a:cxn>
                <a:cxn ang="0">
                  <a:pos x="9" y="24"/>
                </a:cxn>
                <a:cxn ang="0">
                  <a:pos x="10" y="22"/>
                </a:cxn>
                <a:cxn ang="0">
                  <a:pos x="6" y="24"/>
                </a:cxn>
                <a:cxn ang="0">
                  <a:pos x="3" y="22"/>
                </a:cxn>
                <a:cxn ang="0">
                  <a:pos x="1" y="16"/>
                </a:cxn>
                <a:cxn ang="0">
                  <a:pos x="0" y="14"/>
                </a:cxn>
                <a:cxn ang="0">
                  <a:pos x="0" y="13"/>
                </a:cxn>
                <a:cxn ang="0">
                  <a:pos x="0" y="11"/>
                </a:cxn>
                <a:cxn ang="0">
                  <a:pos x="1" y="11"/>
                </a:cxn>
                <a:cxn ang="0">
                  <a:pos x="4" y="14"/>
                </a:cxn>
              </a:cxnLst>
              <a:rect l="0" t="0" r="r" b="b"/>
              <a:pathLst>
                <a:path w="20" h="29">
                  <a:moveTo>
                    <a:pt x="4" y="14"/>
                  </a:moveTo>
                  <a:lnTo>
                    <a:pt x="6" y="16"/>
                  </a:lnTo>
                  <a:lnTo>
                    <a:pt x="6" y="14"/>
                  </a:lnTo>
                  <a:lnTo>
                    <a:pt x="4" y="11"/>
                  </a:lnTo>
                  <a:lnTo>
                    <a:pt x="6" y="11"/>
                  </a:lnTo>
                  <a:lnTo>
                    <a:pt x="7" y="13"/>
                  </a:lnTo>
                  <a:lnTo>
                    <a:pt x="9" y="11"/>
                  </a:lnTo>
                  <a:lnTo>
                    <a:pt x="10" y="13"/>
                  </a:lnTo>
                  <a:lnTo>
                    <a:pt x="12" y="11"/>
                  </a:lnTo>
                  <a:lnTo>
                    <a:pt x="12" y="8"/>
                  </a:lnTo>
                  <a:lnTo>
                    <a:pt x="12" y="10"/>
                  </a:lnTo>
                  <a:lnTo>
                    <a:pt x="10" y="8"/>
                  </a:lnTo>
                  <a:lnTo>
                    <a:pt x="12" y="8"/>
                  </a:lnTo>
                  <a:lnTo>
                    <a:pt x="13" y="4"/>
                  </a:lnTo>
                  <a:lnTo>
                    <a:pt x="12" y="3"/>
                  </a:lnTo>
                  <a:lnTo>
                    <a:pt x="12" y="0"/>
                  </a:lnTo>
                  <a:lnTo>
                    <a:pt x="12" y="0"/>
                  </a:lnTo>
                  <a:lnTo>
                    <a:pt x="12" y="1"/>
                  </a:lnTo>
                  <a:lnTo>
                    <a:pt x="14" y="4"/>
                  </a:lnTo>
                  <a:lnTo>
                    <a:pt x="14" y="6"/>
                  </a:lnTo>
                  <a:lnTo>
                    <a:pt x="16" y="7"/>
                  </a:lnTo>
                  <a:lnTo>
                    <a:pt x="17" y="8"/>
                  </a:lnTo>
                  <a:lnTo>
                    <a:pt x="19" y="6"/>
                  </a:lnTo>
                  <a:lnTo>
                    <a:pt x="20" y="7"/>
                  </a:lnTo>
                  <a:lnTo>
                    <a:pt x="20" y="10"/>
                  </a:lnTo>
                  <a:lnTo>
                    <a:pt x="20" y="13"/>
                  </a:lnTo>
                  <a:lnTo>
                    <a:pt x="9" y="27"/>
                  </a:lnTo>
                  <a:lnTo>
                    <a:pt x="6" y="27"/>
                  </a:lnTo>
                  <a:lnTo>
                    <a:pt x="6" y="27"/>
                  </a:lnTo>
                  <a:lnTo>
                    <a:pt x="6" y="29"/>
                  </a:lnTo>
                  <a:lnTo>
                    <a:pt x="4" y="27"/>
                  </a:lnTo>
                  <a:lnTo>
                    <a:pt x="4" y="26"/>
                  </a:lnTo>
                  <a:lnTo>
                    <a:pt x="7" y="26"/>
                  </a:lnTo>
                  <a:lnTo>
                    <a:pt x="9" y="24"/>
                  </a:lnTo>
                  <a:lnTo>
                    <a:pt x="10" y="22"/>
                  </a:lnTo>
                  <a:lnTo>
                    <a:pt x="6" y="24"/>
                  </a:lnTo>
                  <a:lnTo>
                    <a:pt x="3" y="22"/>
                  </a:lnTo>
                  <a:lnTo>
                    <a:pt x="1" y="16"/>
                  </a:lnTo>
                  <a:lnTo>
                    <a:pt x="0" y="14"/>
                  </a:lnTo>
                  <a:lnTo>
                    <a:pt x="0" y="13"/>
                  </a:lnTo>
                  <a:lnTo>
                    <a:pt x="0" y="11"/>
                  </a:lnTo>
                  <a:lnTo>
                    <a:pt x="1" y="11"/>
                  </a:lnTo>
                  <a:lnTo>
                    <a:pt x="4" y="1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66" name="Freeform 1119"/>
            <p:cNvSpPr>
              <a:spLocks/>
            </p:cNvSpPr>
            <p:nvPr/>
          </p:nvSpPr>
          <p:spPr bwMode="auto">
            <a:xfrm>
              <a:off x="4352834" y="1817317"/>
              <a:ext cx="18434" cy="29410"/>
            </a:xfrm>
            <a:custGeom>
              <a:avLst/>
              <a:gdLst/>
              <a:ahLst/>
              <a:cxnLst>
                <a:cxn ang="0">
                  <a:pos x="4" y="14"/>
                </a:cxn>
                <a:cxn ang="0">
                  <a:pos x="6" y="16"/>
                </a:cxn>
                <a:cxn ang="0">
                  <a:pos x="6" y="14"/>
                </a:cxn>
                <a:cxn ang="0">
                  <a:pos x="4" y="11"/>
                </a:cxn>
                <a:cxn ang="0">
                  <a:pos x="6" y="11"/>
                </a:cxn>
                <a:cxn ang="0">
                  <a:pos x="7" y="13"/>
                </a:cxn>
                <a:cxn ang="0">
                  <a:pos x="9" y="11"/>
                </a:cxn>
                <a:cxn ang="0">
                  <a:pos x="10" y="13"/>
                </a:cxn>
                <a:cxn ang="0">
                  <a:pos x="12" y="11"/>
                </a:cxn>
                <a:cxn ang="0">
                  <a:pos x="12" y="8"/>
                </a:cxn>
                <a:cxn ang="0">
                  <a:pos x="12" y="10"/>
                </a:cxn>
                <a:cxn ang="0">
                  <a:pos x="10" y="8"/>
                </a:cxn>
                <a:cxn ang="0">
                  <a:pos x="12" y="8"/>
                </a:cxn>
                <a:cxn ang="0">
                  <a:pos x="13" y="4"/>
                </a:cxn>
                <a:cxn ang="0">
                  <a:pos x="12" y="3"/>
                </a:cxn>
                <a:cxn ang="0">
                  <a:pos x="12" y="0"/>
                </a:cxn>
                <a:cxn ang="0">
                  <a:pos x="12" y="0"/>
                </a:cxn>
                <a:cxn ang="0">
                  <a:pos x="12" y="1"/>
                </a:cxn>
                <a:cxn ang="0">
                  <a:pos x="14" y="4"/>
                </a:cxn>
                <a:cxn ang="0">
                  <a:pos x="14" y="6"/>
                </a:cxn>
                <a:cxn ang="0">
                  <a:pos x="16" y="7"/>
                </a:cxn>
                <a:cxn ang="0">
                  <a:pos x="17" y="8"/>
                </a:cxn>
                <a:cxn ang="0">
                  <a:pos x="19" y="6"/>
                </a:cxn>
                <a:cxn ang="0">
                  <a:pos x="20" y="7"/>
                </a:cxn>
                <a:cxn ang="0">
                  <a:pos x="20" y="10"/>
                </a:cxn>
                <a:cxn ang="0">
                  <a:pos x="20" y="13"/>
                </a:cxn>
                <a:cxn ang="0">
                  <a:pos x="9" y="27"/>
                </a:cxn>
                <a:cxn ang="0">
                  <a:pos x="6" y="27"/>
                </a:cxn>
                <a:cxn ang="0">
                  <a:pos x="6" y="27"/>
                </a:cxn>
                <a:cxn ang="0">
                  <a:pos x="6" y="29"/>
                </a:cxn>
                <a:cxn ang="0">
                  <a:pos x="4" y="27"/>
                </a:cxn>
                <a:cxn ang="0">
                  <a:pos x="4" y="26"/>
                </a:cxn>
                <a:cxn ang="0">
                  <a:pos x="7" y="26"/>
                </a:cxn>
                <a:cxn ang="0">
                  <a:pos x="9" y="24"/>
                </a:cxn>
                <a:cxn ang="0">
                  <a:pos x="10" y="22"/>
                </a:cxn>
                <a:cxn ang="0">
                  <a:pos x="6" y="24"/>
                </a:cxn>
                <a:cxn ang="0">
                  <a:pos x="3" y="22"/>
                </a:cxn>
                <a:cxn ang="0">
                  <a:pos x="1" y="16"/>
                </a:cxn>
                <a:cxn ang="0">
                  <a:pos x="0" y="14"/>
                </a:cxn>
                <a:cxn ang="0">
                  <a:pos x="0" y="13"/>
                </a:cxn>
                <a:cxn ang="0">
                  <a:pos x="0" y="11"/>
                </a:cxn>
                <a:cxn ang="0">
                  <a:pos x="1" y="11"/>
                </a:cxn>
                <a:cxn ang="0">
                  <a:pos x="4" y="14"/>
                </a:cxn>
              </a:cxnLst>
              <a:rect l="0" t="0" r="r" b="b"/>
              <a:pathLst>
                <a:path w="20" h="29">
                  <a:moveTo>
                    <a:pt x="4" y="14"/>
                  </a:moveTo>
                  <a:lnTo>
                    <a:pt x="6" y="16"/>
                  </a:lnTo>
                  <a:lnTo>
                    <a:pt x="6" y="14"/>
                  </a:lnTo>
                  <a:lnTo>
                    <a:pt x="4" y="11"/>
                  </a:lnTo>
                  <a:lnTo>
                    <a:pt x="6" y="11"/>
                  </a:lnTo>
                  <a:lnTo>
                    <a:pt x="7" y="13"/>
                  </a:lnTo>
                  <a:lnTo>
                    <a:pt x="9" y="11"/>
                  </a:lnTo>
                  <a:lnTo>
                    <a:pt x="10" y="13"/>
                  </a:lnTo>
                  <a:lnTo>
                    <a:pt x="12" y="11"/>
                  </a:lnTo>
                  <a:lnTo>
                    <a:pt x="12" y="8"/>
                  </a:lnTo>
                  <a:lnTo>
                    <a:pt x="12" y="10"/>
                  </a:lnTo>
                  <a:lnTo>
                    <a:pt x="10" y="8"/>
                  </a:lnTo>
                  <a:lnTo>
                    <a:pt x="12" y="8"/>
                  </a:lnTo>
                  <a:lnTo>
                    <a:pt x="13" y="4"/>
                  </a:lnTo>
                  <a:lnTo>
                    <a:pt x="12" y="3"/>
                  </a:lnTo>
                  <a:lnTo>
                    <a:pt x="12" y="0"/>
                  </a:lnTo>
                  <a:lnTo>
                    <a:pt x="12" y="0"/>
                  </a:lnTo>
                  <a:lnTo>
                    <a:pt x="12" y="1"/>
                  </a:lnTo>
                  <a:lnTo>
                    <a:pt x="14" y="4"/>
                  </a:lnTo>
                  <a:lnTo>
                    <a:pt x="14" y="6"/>
                  </a:lnTo>
                  <a:lnTo>
                    <a:pt x="16" y="7"/>
                  </a:lnTo>
                  <a:lnTo>
                    <a:pt x="17" y="8"/>
                  </a:lnTo>
                  <a:lnTo>
                    <a:pt x="19" y="6"/>
                  </a:lnTo>
                  <a:lnTo>
                    <a:pt x="20" y="7"/>
                  </a:lnTo>
                  <a:lnTo>
                    <a:pt x="20" y="10"/>
                  </a:lnTo>
                  <a:lnTo>
                    <a:pt x="20" y="13"/>
                  </a:lnTo>
                  <a:lnTo>
                    <a:pt x="9" y="27"/>
                  </a:lnTo>
                  <a:lnTo>
                    <a:pt x="6" y="27"/>
                  </a:lnTo>
                  <a:lnTo>
                    <a:pt x="6" y="27"/>
                  </a:lnTo>
                  <a:lnTo>
                    <a:pt x="6" y="29"/>
                  </a:lnTo>
                  <a:lnTo>
                    <a:pt x="4" y="27"/>
                  </a:lnTo>
                  <a:lnTo>
                    <a:pt x="4" y="26"/>
                  </a:lnTo>
                  <a:lnTo>
                    <a:pt x="7" y="26"/>
                  </a:lnTo>
                  <a:lnTo>
                    <a:pt x="9" y="24"/>
                  </a:lnTo>
                  <a:lnTo>
                    <a:pt x="10" y="22"/>
                  </a:lnTo>
                  <a:lnTo>
                    <a:pt x="6" y="24"/>
                  </a:lnTo>
                  <a:lnTo>
                    <a:pt x="3" y="22"/>
                  </a:lnTo>
                  <a:lnTo>
                    <a:pt x="1" y="16"/>
                  </a:lnTo>
                  <a:lnTo>
                    <a:pt x="0" y="14"/>
                  </a:lnTo>
                  <a:lnTo>
                    <a:pt x="0" y="13"/>
                  </a:lnTo>
                  <a:lnTo>
                    <a:pt x="0" y="11"/>
                  </a:lnTo>
                  <a:lnTo>
                    <a:pt x="1" y="11"/>
                  </a:lnTo>
                  <a:lnTo>
                    <a:pt x="4" y="1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67" name="Freeform 1120"/>
            <p:cNvSpPr>
              <a:spLocks/>
            </p:cNvSpPr>
            <p:nvPr/>
          </p:nvSpPr>
          <p:spPr bwMode="auto">
            <a:xfrm>
              <a:off x="4344934" y="1836586"/>
              <a:ext cx="12289" cy="15212"/>
            </a:xfrm>
            <a:custGeom>
              <a:avLst/>
              <a:gdLst/>
              <a:ahLst/>
              <a:cxnLst>
                <a:cxn ang="0">
                  <a:pos x="0" y="0"/>
                </a:cxn>
                <a:cxn ang="0">
                  <a:pos x="0" y="0"/>
                </a:cxn>
                <a:cxn ang="0">
                  <a:pos x="0" y="5"/>
                </a:cxn>
                <a:cxn ang="0">
                  <a:pos x="2" y="7"/>
                </a:cxn>
                <a:cxn ang="0">
                  <a:pos x="3" y="8"/>
                </a:cxn>
                <a:cxn ang="0">
                  <a:pos x="6" y="10"/>
                </a:cxn>
                <a:cxn ang="0">
                  <a:pos x="7" y="11"/>
                </a:cxn>
                <a:cxn ang="0">
                  <a:pos x="10" y="13"/>
                </a:cxn>
                <a:cxn ang="0">
                  <a:pos x="10" y="14"/>
                </a:cxn>
                <a:cxn ang="0">
                  <a:pos x="12" y="14"/>
                </a:cxn>
                <a:cxn ang="0">
                  <a:pos x="13" y="14"/>
                </a:cxn>
                <a:cxn ang="0">
                  <a:pos x="13" y="13"/>
                </a:cxn>
                <a:cxn ang="0">
                  <a:pos x="12" y="10"/>
                </a:cxn>
                <a:cxn ang="0">
                  <a:pos x="7" y="7"/>
                </a:cxn>
                <a:cxn ang="0">
                  <a:pos x="7" y="5"/>
                </a:cxn>
                <a:cxn ang="0">
                  <a:pos x="5" y="3"/>
                </a:cxn>
                <a:cxn ang="0">
                  <a:pos x="3" y="0"/>
                </a:cxn>
                <a:cxn ang="0">
                  <a:pos x="3" y="0"/>
                </a:cxn>
                <a:cxn ang="0">
                  <a:pos x="2" y="0"/>
                </a:cxn>
                <a:cxn ang="0">
                  <a:pos x="0" y="0"/>
                </a:cxn>
              </a:cxnLst>
              <a:rect l="0" t="0" r="r" b="b"/>
              <a:pathLst>
                <a:path w="13" h="14">
                  <a:moveTo>
                    <a:pt x="0" y="0"/>
                  </a:moveTo>
                  <a:lnTo>
                    <a:pt x="0" y="0"/>
                  </a:lnTo>
                  <a:lnTo>
                    <a:pt x="0" y="5"/>
                  </a:lnTo>
                  <a:lnTo>
                    <a:pt x="2" y="7"/>
                  </a:lnTo>
                  <a:lnTo>
                    <a:pt x="3" y="8"/>
                  </a:lnTo>
                  <a:lnTo>
                    <a:pt x="6" y="10"/>
                  </a:lnTo>
                  <a:lnTo>
                    <a:pt x="7" y="11"/>
                  </a:lnTo>
                  <a:lnTo>
                    <a:pt x="10" y="13"/>
                  </a:lnTo>
                  <a:lnTo>
                    <a:pt x="10" y="14"/>
                  </a:lnTo>
                  <a:lnTo>
                    <a:pt x="12" y="14"/>
                  </a:lnTo>
                  <a:lnTo>
                    <a:pt x="13" y="14"/>
                  </a:lnTo>
                  <a:lnTo>
                    <a:pt x="13" y="13"/>
                  </a:lnTo>
                  <a:lnTo>
                    <a:pt x="12" y="10"/>
                  </a:lnTo>
                  <a:lnTo>
                    <a:pt x="7" y="7"/>
                  </a:lnTo>
                  <a:lnTo>
                    <a:pt x="7" y="5"/>
                  </a:lnTo>
                  <a:lnTo>
                    <a:pt x="5" y="3"/>
                  </a:lnTo>
                  <a:lnTo>
                    <a:pt x="3" y="0"/>
                  </a:lnTo>
                  <a:lnTo>
                    <a:pt x="3" y="0"/>
                  </a:lnTo>
                  <a:lnTo>
                    <a:pt x="2" y="0"/>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68" name="Freeform 1121"/>
            <p:cNvSpPr>
              <a:spLocks/>
            </p:cNvSpPr>
            <p:nvPr/>
          </p:nvSpPr>
          <p:spPr bwMode="auto">
            <a:xfrm>
              <a:off x="4344934" y="1836586"/>
              <a:ext cx="12289" cy="15212"/>
            </a:xfrm>
            <a:custGeom>
              <a:avLst/>
              <a:gdLst/>
              <a:ahLst/>
              <a:cxnLst>
                <a:cxn ang="0">
                  <a:pos x="0" y="0"/>
                </a:cxn>
                <a:cxn ang="0">
                  <a:pos x="0" y="0"/>
                </a:cxn>
                <a:cxn ang="0">
                  <a:pos x="0" y="5"/>
                </a:cxn>
                <a:cxn ang="0">
                  <a:pos x="2" y="7"/>
                </a:cxn>
                <a:cxn ang="0">
                  <a:pos x="3" y="8"/>
                </a:cxn>
                <a:cxn ang="0">
                  <a:pos x="6" y="10"/>
                </a:cxn>
                <a:cxn ang="0">
                  <a:pos x="7" y="11"/>
                </a:cxn>
                <a:cxn ang="0">
                  <a:pos x="10" y="13"/>
                </a:cxn>
                <a:cxn ang="0">
                  <a:pos x="10" y="14"/>
                </a:cxn>
                <a:cxn ang="0">
                  <a:pos x="12" y="14"/>
                </a:cxn>
                <a:cxn ang="0">
                  <a:pos x="13" y="14"/>
                </a:cxn>
                <a:cxn ang="0">
                  <a:pos x="13" y="13"/>
                </a:cxn>
                <a:cxn ang="0">
                  <a:pos x="12" y="10"/>
                </a:cxn>
                <a:cxn ang="0">
                  <a:pos x="7" y="7"/>
                </a:cxn>
                <a:cxn ang="0">
                  <a:pos x="7" y="5"/>
                </a:cxn>
                <a:cxn ang="0">
                  <a:pos x="5" y="3"/>
                </a:cxn>
                <a:cxn ang="0">
                  <a:pos x="3" y="0"/>
                </a:cxn>
                <a:cxn ang="0">
                  <a:pos x="3" y="0"/>
                </a:cxn>
                <a:cxn ang="0">
                  <a:pos x="2" y="0"/>
                </a:cxn>
                <a:cxn ang="0">
                  <a:pos x="0" y="0"/>
                </a:cxn>
              </a:cxnLst>
              <a:rect l="0" t="0" r="r" b="b"/>
              <a:pathLst>
                <a:path w="13" h="14">
                  <a:moveTo>
                    <a:pt x="0" y="0"/>
                  </a:moveTo>
                  <a:lnTo>
                    <a:pt x="0" y="0"/>
                  </a:lnTo>
                  <a:lnTo>
                    <a:pt x="0" y="5"/>
                  </a:lnTo>
                  <a:lnTo>
                    <a:pt x="2" y="7"/>
                  </a:lnTo>
                  <a:lnTo>
                    <a:pt x="3" y="8"/>
                  </a:lnTo>
                  <a:lnTo>
                    <a:pt x="6" y="10"/>
                  </a:lnTo>
                  <a:lnTo>
                    <a:pt x="7" y="11"/>
                  </a:lnTo>
                  <a:lnTo>
                    <a:pt x="10" y="13"/>
                  </a:lnTo>
                  <a:lnTo>
                    <a:pt x="10" y="14"/>
                  </a:lnTo>
                  <a:lnTo>
                    <a:pt x="12" y="14"/>
                  </a:lnTo>
                  <a:lnTo>
                    <a:pt x="13" y="14"/>
                  </a:lnTo>
                  <a:lnTo>
                    <a:pt x="13" y="13"/>
                  </a:lnTo>
                  <a:lnTo>
                    <a:pt x="12" y="10"/>
                  </a:lnTo>
                  <a:lnTo>
                    <a:pt x="7" y="7"/>
                  </a:lnTo>
                  <a:lnTo>
                    <a:pt x="7" y="5"/>
                  </a:lnTo>
                  <a:lnTo>
                    <a:pt x="5" y="3"/>
                  </a:lnTo>
                  <a:lnTo>
                    <a:pt x="3" y="0"/>
                  </a:lnTo>
                  <a:lnTo>
                    <a:pt x="3" y="0"/>
                  </a:lnTo>
                  <a:lnTo>
                    <a:pt x="2" y="0"/>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69" name="Freeform 1122"/>
            <p:cNvSpPr>
              <a:spLocks/>
            </p:cNvSpPr>
            <p:nvPr/>
          </p:nvSpPr>
          <p:spPr bwMode="auto">
            <a:xfrm>
              <a:off x="4820702" y="1811231"/>
              <a:ext cx="56179" cy="58820"/>
            </a:xfrm>
            <a:custGeom>
              <a:avLst/>
              <a:gdLst/>
              <a:ahLst/>
              <a:cxnLst>
                <a:cxn ang="0">
                  <a:pos x="34" y="10"/>
                </a:cxn>
                <a:cxn ang="0">
                  <a:pos x="30" y="9"/>
                </a:cxn>
                <a:cxn ang="0">
                  <a:pos x="30" y="4"/>
                </a:cxn>
                <a:cxn ang="0">
                  <a:pos x="27" y="1"/>
                </a:cxn>
                <a:cxn ang="0">
                  <a:pos x="23" y="0"/>
                </a:cxn>
                <a:cxn ang="0">
                  <a:pos x="18" y="6"/>
                </a:cxn>
                <a:cxn ang="0">
                  <a:pos x="18" y="13"/>
                </a:cxn>
                <a:cxn ang="0">
                  <a:pos x="17" y="13"/>
                </a:cxn>
                <a:cxn ang="0">
                  <a:pos x="14" y="14"/>
                </a:cxn>
                <a:cxn ang="0">
                  <a:pos x="14" y="19"/>
                </a:cxn>
                <a:cxn ang="0">
                  <a:pos x="13" y="26"/>
                </a:cxn>
                <a:cxn ang="0">
                  <a:pos x="10" y="29"/>
                </a:cxn>
                <a:cxn ang="0">
                  <a:pos x="2" y="30"/>
                </a:cxn>
                <a:cxn ang="0">
                  <a:pos x="0" y="35"/>
                </a:cxn>
                <a:cxn ang="0">
                  <a:pos x="2" y="42"/>
                </a:cxn>
                <a:cxn ang="0">
                  <a:pos x="5" y="41"/>
                </a:cxn>
                <a:cxn ang="0">
                  <a:pos x="8" y="39"/>
                </a:cxn>
                <a:cxn ang="0">
                  <a:pos x="11" y="43"/>
                </a:cxn>
                <a:cxn ang="0">
                  <a:pos x="14" y="45"/>
                </a:cxn>
                <a:cxn ang="0">
                  <a:pos x="16" y="43"/>
                </a:cxn>
                <a:cxn ang="0">
                  <a:pos x="18" y="46"/>
                </a:cxn>
                <a:cxn ang="0">
                  <a:pos x="23" y="46"/>
                </a:cxn>
                <a:cxn ang="0">
                  <a:pos x="29" y="52"/>
                </a:cxn>
                <a:cxn ang="0">
                  <a:pos x="34" y="55"/>
                </a:cxn>
                <a:cxn ang="0">
                  <a:pos x="36" y="52"/>
                </a:cxn>
                <a:cxn ang="0">
                  <a:pos x="46" y="57"/>
                </a:cxn>
                <a:cxn ang="0">
                  <a:pos x="50" y="51"/>
                </a:cxn>
                <a:cxn ang="0">
                  <a:pos x="56" y="46"/>
                </a:cxn>
                <a:cxn ang="0">
                  <a:pos x="58" y="48"/>
                </a:cxn>
                <a:cxn ang="0">
                  <a:pos x="61" y="42"/>
                </a:cxn>
                <a:cxn ang="0">
                  <a:pos x="56" y="43"/>
                </a:cxn>
                <a:cxn ang="0">
                  <a:pos x="52" y="36"/>
                </a:cxn>
                <a:cxn ang="0">
                  <a:pos x="49" y="29"/>
                </a:cxn>
                <a:cxn ang="0">
                  <a:pos x="45" y="23"/>
                </a:cxn>
                <a:cxn ang="0">
                  <a:pos x="36" y="14"/>
                </a:cxn>
              </a:cxnLst>
              <a:rect l="0" t="0" r="r" b="b"/>
              <a:pathLst>
                <a:path w="61" h="57">
                  <a:moveTo>
                    <a:pt x="36" y="14"/>
                  </a:moveTo>
                  <a:lnTo>
                    <a:pt x="34" y="10"/>
                  </a:lnTo>
                  <a:lnTo>
                    <a:pt x="33" y="9"/>
                  </a:lnTo>
                  <a:lnTo>
                    <a:pt x="30" y="9"/>
                  </a:lnTo>
                  <a:lnTo>
                    <a:pt x="31" y="6"/>
                  </a:lnTo>
                  <a:lnTo>
                    <a:pt x="30" y="4"/>
                  </a:lnTo>
                  <a:lnTo>
                    <a:pt x="29" y="4"/>
                  </a:lnTo>
                  <a:lnTo>
                    <a:pt x="27" y="1"/>
                  </a:lnTo>
                  <a:lnTo>
                    <a:pt x="24" y="0"/>
                  </a:lnTo>
                  <a:lnTo>
                    <a:pt x="23" y="0"/>
                  </a:lnTo>
                  <a:lnTo>
                    <a:pt x="21" y="3"/>
                  </a:lnTo>
                  <a:lnTo>
                    <a:pt x="18" y="6"/>
                  </a:lnTo>
                  <a:lnTo>
                    <a:pt x="17" y="12"/>
                  </a:lnTo>
                  <a:lnTo>
                    <a:pt x="18" y="13"/>
                  </a:lnTo>
                  <a:lnTo>
                    <a:pt x="18" y="14"/>
                  </a:lnTo>
                  <a:lnTo>
                    <a:pt x="17" y="13"/>
                  </a:lnTo>
                  <a:lnTo>
                    <a:pt x="14" y="13"/>
                  </a:lnTo>
                  <a:lnTo>
                    <a:pt x="14" y="14"/>
                  </a:lnTo>
                  <a:lnTo>
                    <a:pt x="14" y="16"/>
                  </a:lnTo>
                  <a:lnTo>
                    <a:pt x="14" y="19"/>
                  </a:lnTo>
                  <a:lnTo>
                    <a:pt x="14" y="23"/>
                  </a:lnTo>
                  <a:lnTo>
                    <a:pt x="13" y="26"/>
                  </a:lnTo>
                  <a:lnTo>
                    <a:pt x="13" y="28"/>
                  </a:lnTo>
                  <a:lnTo>
                    <a:pt x="10" y="29"/>
                  </a:lnTo>
                  <a:lnTo>
                    <a:pt x="7" y="30"/>
                  </a:lnTo>
                  <a:lnTo>
                    <a:pt x="2" y="30"/>
                  </a:lnTo>
                  <a:lnTo>
                    <a:pt x="1" y="32"/>
                  </a:lnTo>
                  <a:lnTo>
                    <a:pt x="0" y="35"/>
                  </a:lnTo>
                  <a:lnTo>
                    <a:pt x="0" y="39"/>
                  </a:lnTo>
                  <a:lnTo>
                    <a:pt x="2" y="42"/>
                  </a:lnTo>
                  <a:lnTo>
                    <a:pt x="5" y="43"/>
                  </a:lnTo>
                  <a:lnTo>
                    <a:pt x="5" y="41"/>
                  </a:lnTo>
                  <a:lnTo>
                    <a:pt x="7" y="39"/>
                  </a:lnTo>
                  <a:lnTo>
                    <a:pt x="8" y="39"/>
                  </a:lnTo>
                  <a:lnTo>
                    <a:pt x="11" y="41"/>
                  </a:lnTo>
                  <a:lnTo>
                    <a:pt x="11" y="43"/>
                  </a:lnTo>
                  <a:lnTo>
                    <a:pt x="13" y="43"/>
                  </a:lnTo>
                  <a:lnTo>
                    <a:pt x="14" y="45"/>
                  </a:lnTo>
                  <a:lnTo>
                    <a:pt x="16" y="45"/>
                  </a:lnTo>
                  <a:lnTo>
                    <a:pt x="16" y="43"/>
                  </a:lnTo>
                  <a:lnTo>
                    <a:pt x="18" y="45"/>
                  </a:lnTo>
                  <a:lnTo>
                    <a:pt x="18" y="46"/>
                  </a:lnTo>
                  <a:lnTo>
                    <a:pt x="20" y="48"/>
                  </a:lnTo>
                  <a:lnTo>
                    <a:pt x="23" y="46"/>
                  </a:lnTo>
                  <a:lnTo>
                    <a:pt x="26" y="51"/>
                  </a:lnTo>
                  <a:lnTo>
                    <a:pt x="29" y="52"/>
                  </a:lnTo>
                  <a:lnTo>
                    <a:pt x="33" y="54"/>
                  </a:lnTo>
                  <a:lnTo>
                    <a:pt x="34" y="55"/>
                  </a:lnTo>
                  <a:lnTo>
                    <a:pt x="34" y="52"/>
                  </a:lnTo>
                  <a:lnTo>
                    <a:pt x="36" y="52"/>
                  </a:lnTo>
                  <a:lnTo>
                    <a:pt x="43" y="57"/>
                  </a:lnTo>
                  <a:lnTo>
                    <a:pt x="46" y="57"/>
                  </a:lnTo>
                  <a:lnTo>
                    <a:pt x="49" y="51"/>
                  </a:lnTo>
                  <a:lnTo>
                    <a:pt x="50" y="51"/>
                  </a:lnTo>
                  <a:lnTo>
                    <a:pt x="53" y="46"/>
                  </a:lnTo>
                  <a:lnTo>
                    <a:pt x="56" y="46"/>
                  </a:lnTo>
                  <a:lnTo>
                    <a:pt x="56" y="48"/>
                  </a:lnTo>
                  <a:lnTo>
                    <a:pt x="58" y="48"/>
                  </a:lnTo>
                  <a:lnTo>
                    <a:pt x="61" y="45"/>
                  </a:lnTo>
                  <a:lnTo>
                    <a:pt x="61" y="42"/>
                  </a:lnTo>
                  <a:lnTo>
                    <a:pt x="59" y="42"/>
                  </a:lnTo>
                  <a:lnTo>
                    <a:pt x="56" y="43"/>
                  </a:lnTo>
                  <a:lnTo>
                    <a:pt x="53" y="39"/>
                  </a:lnTo>
                  <a:lnTo>
                    <a:pt x="52" y="36"/>
                  </a:lnTo>
                  <a:lnTo>
                    <a:pt x="52" y="35"/>
                  </a:lnTo>
                  <a:lnTo>
                    <a:pt x="49" y="29"/>
                  </a:lnTo>
                  <a:lnTo>
                    <a:pt x="46" y="26"/>
                  </a:lnTo>
                  <a:lnTo>
                    <a:pt x="45" y="23"/>
                  </a:lnTo>
                  <a:lnTo>
                    <a:pt x="37" y="16"/>
                  </a:lnTo>
                  <a:lnTo>
                    <a:pt x="36" y="1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70" name="Freeform 1124"/>
            <p:cNvSpPr>
              <a:spLocks/>
            </p:cNvSpPr>
            <p:nvPr/>
          </p:nvSpPr>
          <p:spPr bwMode="auto">
            <a:xfrm>
              <a:off x="5048053" y="2344666"/>
              <a:ext cx="17556" cy="14198"/>
            </a:xfrm>
            <a:custGeom>
              <a:avLst/>
              <a:gdLst/>
              <a:ahLst/>
              <a:cxnLst>
                <a:cxn ang="0">
                  <a:pos x="1" y="1"/>
                </a:cxn>
                <a:cxn ang="0">
                  <a:pos x="7" y="0"/>
                </a:cxn>
                <a:cxn ang="0">
                  <a:pos x="11" y="1"/>
                </a:cxn>
                <a:cxn ang="0">
                  <a:pos x="14" y="1"/>
                </a:cxn>
                <a:cxn ang="0">
                  <a:pos x="16" y="3"/>
                </a:cxn>
                <a:cxn ang="0">
                  <a:pos x="17" y="6"/>
                </a:cxn>
                <a:cxn ang="0">
                  <a:pos x="17" y="9"/>
                </a:cxn>
                <a:cxn ang="0">
                  <a:pos x="19" y="11"/>
                </a:cxn>
                <a:cxn ang="0">
                  <a:pos x="17" y="13"/>
                </a:cxn>
                <a:cxn ang="0">
                  <a:pos x="16" y="10"/>
                </a:cxn>
                <a:cxn ang="0">
                  <a:pos x="13" y="10"/>
                </a:cxn>
                <a:cxn ang="0">
                  <a:pos x="7" y="7"/>
                </a:cxn>
                <a:cxn ang="0">
                  <a:pos x="3" y="6"/>
                </a:cxn>
                <a:cxn ang="0">
                  <a:pos x="0" y="4"/>
                </a:cxn>
                <a:cxn ang="0">
                  <a:pos x="1" y="1"/>
                </a:cxn>
              </a:cxnLst>
              <a:rect l="0" t="0" r="r" b="b"/>
              <a:pathLst>
                <a:path w="19" h="13">
                  <a:moveTo>
                    <a:pt x="1" y="1"/>
                  </a:moveTo>
                  <a:lnTo>
                    <a:pt x="7" y="0"/>
                  </a:lnTo>
                  <a:lnTo>
                    <a:pt x="11" y="1"/>
                  </a:lnTo>
                  <a:lnTo>
                    <a:pt x="14" y="1"/>
                  </a:lnTo>
                  <a:lnTo>
                    <a:pt x="16" y="3"/>
                  </a:lnTo>
                  <a:lnTo>
                    <a:pt x="17" y="6"/>
                  </a:lnTo>
                  <a:lnTo>
                    <a:pt x="17" y="9"/>
                  </a:lnTo>
                  <a:lnTo>
                    <a:pt x="19" y="11"/>
                  </a:lnTo>
                  <a:lnTo>
                    <a:pt x="17" y="13"/>
                  </a:lnTo>
                  <a:lnTo>
                    <a:pt x="16" y="10"/>
                  </a:lnTo>
                  <a:lnTo>
                    <a:pt x="13" y="10"/>
                  </a:lnTo>
                  <a:lnTo>
                    <a:pt x="7" y="7"/>
                  </a:lnTo>
                  <a:lnTo>
                    <a:pt x="3" y="6"/>
                  </a:lnTo>
                  <a:lnTo>
                    <a:pt x="0" y="4"/>
                  </a:lnTo>
                  <a:lnTo>
                    <a:pt x="1"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71" name="Freeform 1125"/>
            <p:cNvSpPr>
              <a:spLocks/>
            </p:cNvSpPr>
            <p:nvPr/>
          </p:nvSpPr>
          <p:spPr bwMode="auto">
            <a:xfrm>
              <a:off x="5048053" y="2344666"/>
              <a:ext cx="17556" cy="14198"/>
            </a:xfrm>
            <a:custGeom>
              <a:avLst/>
              <a:gdLst/>
              <a:ahLst/>
              <a:cxnLst>
                <a:cxn ang="0">
                  <a:pos x="1" y="1"/>
                </a:cxn>
                <a:cxn ang="0">
                  <a:pos x="7" y="0"/>
                </a:cxn>
                <a:cxn ang="0">
                  <a:pos x="11" y="1"/>
                </a:cxn>
                <a:cxn ang="0">
                  <a:pos x="14" y="1"/>
                </a:cxn>
                <a:cxn ang="0">
                  <a:pos x="16" y="3"/>
                </a:cxn>
                <a:cxn ang="0">
                  <a:pos x="17" y="6"/>
                </a:cxn>
                <a:cxn ang="0">
                  <a:pos x="17" y="9"/>
                </a:cxn>
                <a:cxn ang="0">
                  <a:pos x="19" y="11"/>
                </a:cxn>
                <a:cxn ang="0">
                  <a:pos x="17" y="13"/>
                </a:cxn>
                <a:cxn ang="0">
                  <a:pos x="16" y="10"/>
                </a:cxn>
                <a:cxn ang="0">
                  <a:pos x="13" y="10"/>
                </a:cxn>
                <a:cxn ang="0">
                  <a:pos x="7" y="7"/>
                </a:cxn>
                <a:cxn ang="0">
                  <a:pos x="3" y="6"/>
                </a:cxn>
                <a:cxn ang="0">
                  <a:pos x="0" y="4"/>
                </a:cxn>
                <a:cxn ang="0">
                  <a:pos x="1" y="1"/>
                </a:cxn>
              </a:cxnLst>
              <a:rect l="0" t="0" r="r" b="b"/>
              <a:pathLst>
                <a:path w="19" h="13">
                  <a:moveTo>
                    <a:pt x="1" y="1"/>
                  </a:moveTo>
                  <a:lnTo>
                    <a:pt x="7" y="0"/>
                  </a:lnTo>
                  <a:lnTo>
                    <a:pt x="11" y="1"/>
                  </a:lnTo>
                  <a:lnTo>
                    <a:pt x="14" y="1"/>
                  </a:lnTo>
                  <a:lnTo>
                    <a:pt x="16" y="3"/>
                  </a:lnTo>
                  <a:lnTo>
                    <a:pt x="17" y="6"/>
                  </a:lnTo>
                  <a:lnTo>
                    <a:pt x="17" y="9"/>
                  </a:lnTo>
                  <a:lnTo>
                    <a:pt x="19" y="11"/>
                  </a:lnTo>
                  <a:lnTo>
                    <a:pt x="17" y="13"/>
                  </a:lnTo>
                  <a:lnTo>
                    <a:pt x="16" y="10"/>
                  </a:lnTo>
                  <a:lnTo>
                    <a:pt x="13" y="10"/>
                  </a:lnTo>
                  <a:lnTo>
                    <a:pt x="7" y="7"/>
                  </a:lnTo>
                  <a:lnTo>
                    <a:pt x="3" y="6"/>
                  </a:lnTo>
                  <a:lnTo>
                    <a:pt x="0" y="4"/>
                  </a:lnTo>
                  <a:lnTo>
                    <a:pt x="1"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72" name="Freeform 1126"/>
            <p:cNvSpPr>
              <a:spLocks/>
            </p:cNvSpPr>
            <p:nvPr/>
          </p:nvSpPr>
          <p:spPr bwMode="auto">
            <a:xfrm>
              <a:off x="4474848" y="1581025"/>
              <a:ext cx="138692" cy="175445"/>
            </a:xfrm>
            <a:custGeom>
              <a:avLst/>
              <a:gdLst/>
              <a:ahLst/>
              <a:cxnLst>
                <a:cxn ang="0">
                  <a:pos x="28" y="35"/>
                </a:cxn>
                <a:cxn ang="0">
                  <a:pos x="22" y="54"/>
                </a:cxn>
                <a:cxn ang="0">
                  <a:pos x="19" y="60"/>
                </a:cxn>
                <a:cxn ang="0">
                  <a:pos x="16" y="68"/>
                </a:cxn>
                <a:cxn ang="0">
                  <a:pos x="15" y="74"/>
                </a:cxn>
                <a:cxn ang="0">
                  <a:pos x="16" y="77"/>
                </a:cxn>
                <a:cxn ang="0">
                  <a:pos x="19" y="81"/>
                </a:cxn>
                <a:cxn ang="0">
                  <a:pos x="11" y="84"/>
                </a:cxn>
                <a:cxn ang="0">
                  <a:pos x="12" y="90"/>
                </a:cxn>
                <a:cxn ang="0">
                  <a:pos x="12" y="99"/>
                </a:cxn>
                <a:cxn ang="0">
                  <a:pos x="12" y="102"/>
                </a:cxn>
                <a:cxn ang="0">
                  <a:pos x="11" y="106"/>
                </a:cxn>
                <a:cxn ang="0">
                  <a:pos x="6" y="112"/>
                </a:cxn>
                <a:cxn ang="0">
                  <a:pos x="8" y="116"/>
                </a:cxn>
                <a:cxn ang="0">
                  <a:pos x="5" y="121"/>
                </a:cxn>
                <a:cxn ang="0">
                  <a:pos x="3" y="124"/>
                </a:cxn>
                <a:cxn ang="0">
                  <a:pos x="0" y="129"/>
                </a:cxn>
                <a:cxn ang="0">
                  <a:pos x="12" y="131"/>
                </a:cxn>
                <a:cxn ang="0">
                  <a:pos x="11" y="132"/>
                </a:cxn>
                <a:cxn ang="0">
                  <a:pos x="18" y="134"/>
                </a:cxn>
                <a:cxn ang="0">
                  <a:pos x="25" y="141"/>
                </a:cxn>
                <a:cxn ang="0">
                  <a:pos x="32" y="151"/>
                </a:cxn>
                <a:cxn ang="0">
                  <a:pos x="43" y="169"/>
                </a:cxn>
                <a:cxn ang="0">
                  <a:pos x="59" y="154"/>
                </a:cxn>
                <a:cxn ang="0">
                  <a:pos x="63" y="154"/>
                </a:cxn>
                <a:cxn ang="0">
                  <a:pos x="67" y="155"/>
                </a:cxn>
                <a:cxn ang="0">
                  <a:pos x="70" y="153"/>
                </a:cxn>
                <a:cxn ang="0">
                  <a:pos x="76" y="150"/>
                </a:cxn>
                <a:cxn ang="0">
                  <a:pos x="77" y="141"/>
                </a:cxn>
                <a:cxn ang="0">
                  <a:pos x="77" y="131"/>
                </a:cxn>
                <a:cxn ang="0">
                  <a:pos x="82" y="116"/>
                </a:cxn>
                <a:cxn ang="0">
                  <a:pos x="91" y="115"/>
                </a:cxn>
                <a:cxn ang="0">
                  <a:pos x="151" y="58"/>
                </a:cxn>
                <a:cxn ang="0">
                  <a:pos x="146" y="47"/>
                </a:cxn>
                <a:cxn ang="0">
                  <a:pos x="124" y="23"/>
                </a:cxn>
                <a:cxn ang="0">
                  <a:pos x="99" y="20"/>
                </a:cxn>
                <a:cxn ang="0">
                  <a:pos x="99" y="28"/>
                </a:cxn>
                <a:cxn ang="0">
                  <a:pos x="95" y="28"/>
                </a:cxn>
                <a:cxn ang="0">
                  <a:pos x="93" y="19"/>
                </a:cxn>
                <a:cxn ang="0">
                  <a:pos x="89" y="23"/>
                </a:cxn>
                <a:cxn ang="0">
                  <a:pos x="89" y="20"/>
                </a:cxn>
                <a:cxn ang="0">
                  <a:pos x="63" y="0"/>
                </a:cxn>
                <a:cxn ang="0">
                  <a:pos x="56" y="3"/>
                </a:cxn>
                <a:cxn ang="0">
                  <a:pos x="41" y="6"/>
                </a:cxn>
                <a:cxn ang="0">
                  <a:pos x="40" y="7"/>
                </a:cxn>
                <a:cxn ang="0">
                  <a:pos x="37" y="7"/>
                </a:cxn>
                <a:cxn ang="0">
                  <a:pos x="31" y="6"/>
                </a:cxn>
                <a:cxn ang="0">
                  <a:pos x="25" y="6"/>
                </a:cxn>
                <a:cxn ang="0">
                  <a:pos x="19" y="10"/>
                </a:cxn>
                <a:cxn ang="0">
                  <a:pos x="22" y="20"/>
                </a:cxn>
              </a:cxnLst>
              <a:rect l="0" t="0" r="r" b="b"/>
              <a:pathLst>
                <a:path w="151" h="169">
                  <a:moveTo>
                    <a:pt x="24" y="31"/>
                  </a:moveTo>
                  <a:lnTo>
                    <a:pt x="27" y="33"/>
                  </a:lnTo>
                  <a:lnTo>
                    <a:pt x="28" y="35"/>
                  </a:lnTo>
                  <a:lnTo>
                    <a:pt x="30" y="38"/>
                  </a:lnTo>
                  <a:lnTo>
                    <a:pt x="24" y="51"/>
                  </a:lnTo>
                  <a:lnTo>
                    <a:pt x="22" y="54"/>
                  </a:lnTo>
                  <a:lnTo>
                    <a:pt x="22" y="55"/>
                  </a:lnTo>
                  <a:lnTo>
                    <a:pt x="21" y="58"/>
                  </a:lnTo>
                  <a:lnTo>
                    <a:pt x="19" y="60"/>
                  </a:lnTo>
                  <a:lnTo>
                    <a:pt x="19" y="62"/>
                  </a:lnTo>
                  <a:lnTo>
                    <a:pt x="19" y="65"/>
                  </a:lnTo>
                  <a:lnTo>
                    <a:pt x="16" y="68"/>
                  </a:lnTo>
                  <a:lnTo>
                    <a:pt x="18" y="70"/>
                  </a:lnTo>
                  <a:lnTo>
                    <a:pt x="16" y="71"/>
                  </a:lnTo>
                  <a:lnTo>
                    <a:pt x="15" y="74"/>
                  </a:lnTo>
                  <a:lnTo>
                    <a:pt x="14" y="74"/>
                  </a:lnTo>
                  <a:lnTo>
                    <a:pt x="15" y="77"/>
                  </a:lnTo>
                  <a:lnTo>
                    <a:pt x="16" y="77"/>
                  </a:lnTo>
                  <a:lnTo>
                    <a:pt x="16" y="78"/>
                  </a:lnTo>
                  <a:lnTo>
                    <a:pt x="19" y="80"/>
                  </a:lnTo>
                  <a:lnTo>
                    <a:pt x="19" y="81"/>
                  </a:lnTo>
                  <a:lnTo>
                    <a:pt x="19" y="83"/>
                  </a:lnTo>
                  <a:lnTo>
                    <a:pt x="14" y="86"/>
                  </a:lnTo>
                  <a:lnTo>
                    <a:pt x="11" y="84"/>
                  </a:lnTo>
                  <a:lnTo>
                    <a:pt x="11" y="86"/>
                  </a:lnTo>
                  <a:lnTo>
                    <a:pt x="12" y="89"/>
                  </a:lnTo>
                  <a:lnTo>
                    <a:pt x="12" y="90"/>
                  </a:lnTo>
                  <a:lnTo>
                    <a:pt x="12" y="93"/>
                  </a:lnTo>
                  <a:lnTo>
                    <a:pt x="12" y="93"/>
                  </a:lnTo>
                  <a:lnTo>
                    <a:pt x="12" y="99"/>
                  </a:lnTo>
                  <a:lnTo>
                    <a:pt x="12" y="97"/>
                  </a:lnTo>
                  <a:lnTo>
                    <a:pt x="14" y="100"/>
                  </a:lnTo>
                  <a:lnTo>
                    <a:pt x="12" y="102"/>
                  </a:lnTo>
                  <a:lnTo>
                    <a:pt x="9" y="103"/>
                  </a:lnTo>
                  <a:lnTo>
                    <a:pt x="12" y="105"/>
                  </a:lnTo>
                  <a:lnTo>
                    <a:pt x="11" y="106"/>
                  </a:lnTo>
                  <a:lnTo>
                    <a:pt x="9" y="105"/>
                  </a:lnTo>
                  <a:lnTo>
                    <a:pt x="6" y="109"/>
                  </a:lnTo>
                  <a:lnTo>
                    <a:pt x="6" y="112"/>
                  </a:lnTo>
                  <a:lnTo>
                    <a:pt x="5" y="113"/>
                  </a:lnTo>
                  <a:lnTo>
                    <a:pt x="6" y="115"/>
                  </a:lnTo>
                  <a:lnTo>
                    <a:pt x="8" y="116"/>
                  </a:lnTo>
                  <a:lnTo>
                    <a:pt x="3" y="118"/>
                  </a:lnTo>
                  <a:lnTo>
                    <a:pt x="5" y="119"/>
                  </a:lnTo>
                  <a:lnTo>
                    <a:pt x="5" y="121"/>
                  </a:lnTo>
                  <a:lnTo>
                    <a:pt x="3" y="121"/>
                  </a:lnTo>
                  <a:lnTo>
                    <a:pt x="2" y="122"/>
                  </a:lnTo>
                  <a:lnTo>
                    <a:pt x="3" y="124"/>
                  </a:lnTo>
                  <a:lnTo>
                    <a:pt x="3" y="125"/>
                  </a:lnTo>
                  <a:lnTo>
                    <a:pt x="2" y="129"/>
                  </a:lnTo>
                  <a:lnTo>
                    <a:pt x="0" y="129"/>
                  </a:lnTo>
                  <a:lnTo>
                    <a:pt x="0" y="132"/>
                  </a:lnTo>
                  <a:lnTo>
                    <a:pt x="8" y="129"/>
                  </a:lnTo>
                  <a:lnTo>
                    <a:pt x="12" y="131"/>
                  </a:lnTo>
                  <a:lnTo>
                    <a:pt x="14" y="132"/>
                  </a:lnTo>
                  <a:lnTo>
                    <a:pt x="11" y="131"/>
                  </a:lnTo>
                  <a:lnTo>
                    <a:pt x="11" y="132"/>
                  </a:lnTo>
                  <a:lnTo>
                    <a:pt x="15" y="135"/>
                  </a:lnTo>
                  <a:lnTo>
                    <a:pt x="16" y="137"/>
                  </a:lnTo>
                  <a:lnTo>
                    <a:pt x="18" y="134"/>
                  </a:lnTo>
                  <a:lnTo>
                    <a:pt x="19" y="135"/>
                  </a:lnTo>
                  <a:lnTo>
                    <a:pt x="19" y="138"/>
                  </a:lnTo>
                  <a:lnTo>
                    <a:pt x="25" y="141"/>
                  </a:lnTo>
                  <a:lnTo>
                    <a:pt x="30" y="145"/>
                  </a:lnTo>
                  <a:lnTo>
                    <a:pt x="31" y="150"/>
                  </a:lnTo>
                  <a:lnTo>
                    <a:pt x="32" y="151"/>
                  </a:lnTo>
                  <a:lnTo>
                    <a:pt x="35" y="164"/>
                  </a:lnTo>
                  <a:lnTo>
                    <a:pt x="40" y="169"/>
                  </a:lnTo>
                  <a:lnTo>
                    <a:pt x="43" y="169"/>
                  </a:lnTo>
                  <a:lnTo>
                    <a:pt x="47" y="163"/>
                  </a:lnTo>
                  <a:lnTo>
                    <a:pt x="50" y="161"/>
                  </a:lnTo>
                  <a:lnTo>
                    <a:pt x="59" y="154"/>
                  </a:lnTo>
                  <a:lnTo>
                    <a:pt x="60" y="151"/>
                  </a:lnTo>
                  <a:lnTo>
                    <a:pt x="61" y="153"/>
                  </a:lnTo>
                  <a:lnTo>
                    <a:pt x="63" y="154"/>
                  </a:lnTo>
                  <a:lnTo>
                    <a:pt x="61" y="155"/>
                  </a:lnTo>
                  <a:lnTo>
                    <a:pt x="64" y="155"/>
                  </a:lnTo>
                  <a:lnTo>
                    <a:pt x="67" y="155"/>
                  </a:lnTo>
                  <a:lnTo>
                    <a:pt x="69" y="153"/>
                  </a:lnTo>
                  <a:lnTo>
                    <a:pt x="69" y="151"/>
                  </a:lnTo>
                  <a:lnTo>
                    <a:pt x="70" y="153"/>
                  </a:lnTo>
                  <a:lnTo>
                    <a:pt x="70" y="153"/>
                  </a:lnTo>
                  <a:lnTo>
                    <a:pt x="73" y="153"/>
                  </a:lnTo>
                  <a:lnTo>
                    <a:pt x="76" y="150"/>
                  </a:lnTo>
                  <a:lnTo>
                    <a:pt x="77" y="145"/>
                  </a:lnTo>
                  <a:lnTo>
                    <a:pt x="77" y="142"/>
                  </a:lnTo>
                  <a:lnTo>
                    <a:pt x="77" y="141"/>
                  </a:lnTo>
                  <a:lnTo>
                    <a:pt x="77" y="140"/>
                  </a:lnTo>
                  <a:lnTo>
                    <a:pt x="77" y="132"/>
                  </a:lnTo>
                  <a:lnTo>
                    <a:pt x="77" y="131"/>
                  </a:lnTo>
                  <a:lnTo>
                    <a:pt x="80" y="124"/>
                  </a:lnTo>
                  <a:lnTo>
                    <a:pt x="82" y="116"/>
                  </a:lnTo>
                  <a:lnTo>
                    <a:pt x="82" y="116"/>
                  </a:lnTo>
                  <a:lnTo>
                    <a:pt x="85" y="118"/>
                  </a:lnTo>
                  <a:lnTo>
                    <a:pt x="88" y="116"/>
                  </a:lnTo>
                  <a:lnTo>
                    <a:pt x="91" y="115"/>
                  </a:lnTo>
                  <a:lnTo>
                    <a:pt x="93" y="112"/>
                  </a:lnTo>
                  <a:lnTo>
                    <a:pt x="96" y="99"/>
                  </a:lnTo>
                  <a:lnTo>
                    <a:pt x="151" y="58"/>
                  </a:lnTo>
                  <a:lnTo>
                    <a:pt x="150" y="52"/>
                  </a:lnTo>
                  <a:lnTo>
                    <a:pt x="149" y="51"/>
                  </a:lnTo>
                  <a:lnTo>
                    <a:pt x="146" y="47"/>
                  </a:lnTo>
                  <a:lnTo>
                    <a:pt x="143" y="45"/>
                  </a:lnTo>
                  <a:lnTo>
                    <a:pt x="127" y="25"/>
                  </a:lnTo>
                  <a:lnTo>
                    <a:pt x="124" y="23"/>
                  </a:lnTo>
                  <a:lnTo>
                    <a:pt x="120" y="17"/>
                  </a:lnTo>
                  <a:lnTo>
                    <a:pt x="109" y="15"/>
                  </a:lnTo>
                  <a:lnTo>
                    <a:pt x="99" y="20"/>
                  </a:lnTo>
                  <a:lnTo>
                    <a:pt x="99" y="22"/>
                  </a:lnTo>
                  <a:lnTo>
                    <a:pt x="101" y="25"/>
                  </a:lnTo>
                  <a:lnTo>
                    <a:pt x="99" y="28"/>
                  </a:lnTo>
                  <a:lnTo>
                    <a:pt x="99" y="29"/>
                  </a:lnTo>
                  <a:lnTo>
                    <a:pt x="96" y="31"/>
                  </a:lnTo>
                  <a:lnTo>
                    <a:pt x="95" y="28"/>
                  </a:lnTo>
                  <a:lnTo>
                    <a:pt x="98" y="26"/>
                  </a:lnTo>
                  <a:lnTo>
                    <a:pt x="96" y="20"/>
                  </a:lnTo>
                  <a:lnTo>
                    <a:pt x="93" y="19"/>
                  </a:lnTo>
                  <a:lnTo>
                    <a:pt x="92" y="20"/>
                  </a:lnTo>
                  <a:lnTo>
                    <a:pt x="92" y="22"/>
                  </a:lnTo>
                  <a:lnTo>
                    <a:pt x="89" y="23"/>
                  </a:lnTo>
                  <a:lnTo>
                    <a:pt x="88" y="29"/>
                  </a:lnTo>
                  <a:lnTo>
                    <a:pt x="88" y="23"/>
                  </a:lnTo>
                  <a:lnTo>
                    <a:pt x="89" y="20"/>
                  </a:lnTo>
                  <a:lnTo>
                    <a:pt x="72" y="6"/>
                  </a:lnTo>
                  <a:lnTo>
                    <a:pt x="72" y="3"/>
                  </a:lnTo>
                  <a:lnTo>
                    <a:pt x="63" y="0"/>
                  </a:lnTo>
                  <a:lnTo>
                    <a:pt x="60" y="0"/>
                  </a:lnTo>
                  <a:lnTo>
                    <a:pt x="59" y="3"/>
                  </a:lnTo>
                  <a:lnTo>
                    <a:pt x="56" y="3"/>
                  </a:lnTo>
                  <a:lnTo>
                    <a:pt x="51" y="4"/>
                  </a:lnTo>
                  <a:lnTo>
                    <a:pt x="41" y="4"/>
                  </a:lnTo>
                  <a:lnTo>
                    <a:pt x="41" y="6"/>
                  </a:lnTo>
                  <a:lnTo>
                    <a:pt x="41" y="12"/>
                  </a:lnTo>
                  <a:lnTo>
                    <a:pt x="40" y="9"/>
                  </a:lnTo>
                  <a:lnTo>
                    <a:pt x="40" y="7"/>
                  </a:lnTo>
                  <a:lnTo>
                    <a:pt x="38" y="6"/>
                  </a:lnTo>
                  <a:lnTo>
                    <a:pt x="38" y="4"/>
                  </a:lnTo>
                  <a:lnTo>
                    <a:pt x="37" y="7"/>
                  </a:lnTo>
                  <a:lnTo>
                    <a:pt x="35" y="7"/>
                  </a:lnTo>
                  <a:lnTo>
                    <a:pt x="35" y="6"/>
                  </a:lnTo>
                  <a:lnTo>
                    <a:pt x="31" y="6"/>
                  </a:lnTo>
                  <a:lnTo>
                    <a:pt x="31" y="7"/>
                  </a:lnTo>
                  <a:lnTo>
                    <a:pt x="27" y="6"/>
                  </a:lnTo>
                  <a:lnTo>
                    <a:pt x="25" y="6"/>
                  </a:lnTo>
                  <a:lnTo>
                    <a:pt x="25" y="7"/>
                  </a:lnTo>
                  <a:lnTo>
                    <a:pt x="18" y="10"/>
                  </a:lnTo>
                  <a:lnTo>
                    <a:pt x="19" y="10"/>
                  </a:lnTo>
                  <a:lnTo>
                    <a:pt x="21" y="16"/>
                  </a:lnTo>
                  <a:lnTo>
                    <a:pt x="24" y="19"/>
                  </a:lnTo>
                  <a:lnTo>
                    <a:pt x="22" y="20"/>
                  </a:lnTo>
                  <a:lnTo>
                    <a:pt x="22" y="23"/>
                  </a:lnTo>
                  <a:lnTo>
                    <a:pt x="24" y="3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73" name="Freeform 1128"/>
            <p:cNvSpPr>
              <a:spLocks/>
            </p:cNvSpPr>
            <p:nvPr/>
          </p:nvSpPr>
          <p:spPr bwMode="auto">
            <a:xfrm>
              <a:off x="4565262" y="1646942"/>
              <a:ext cx="237885" cy="223109"/>
            </a:xfrm>
            <a:custGeom>
              <a:avLst/>
              <a:gdLst/>
              <a:ahLst/>
              <a:cxnLst>
                <a:cxn ang="0">
                  <a:pos x="36" y="171"/>
                </a:cxn>
                <a:cxn ang="0">
                  <a:pos x="93" y="141"/>
                </a:cxn>
                <a:cxn ang="0">
                  <a:pos x="97" y="132"/>
                </a:cxn>
                <a:cxn ang="0">
                  <a:pos x="77" y="125"/>
                </a:cxn>
                <a:cxn ang="0">
                  <a:pos x="42" y="125"/>
                </a:cxn>
                <a:cxn ang="0">
                  <a:pos x="13" y="112"/>
                </a:cxn>
                <a:cxn ang="0">
                  <a:pos x="48" y="93"/>
                </a:cxn>
                <a:cxn ang="0">
                  <a:pos x="35" y="89"/>
                </a:cxn>
                <a:cxn ang="0">
                  <a:pos x="22" y="89"/>
                </a:cxn>
                <a:cxn ang="0">
                  <a:pos x="11" y="91"/>
                </a:cxn>
                <a:cxn ang="0">
                  <a:pos x="11" y="84"/>
                </a:cxn>
                <a:cxn ang="0">
                  <a:pos x="8" y="57"/>
                </a:cxn>
                <a:cxn ang="0">
                  <a:pos x="8" y="44"/>
                </a:cxn>
                <a:cxn ang="0">
                  <a:pos x="65" y="0"/>
                </a:cxn>
                <a:cxn ang="0">
                  <a:pos x="67" y="29"/>
                </a:cxn>
                <a:cxn ang="0">
                  <a:pos x="69" y="32"/>
                </a:cxn>
                <a:cxn ang="0">
                  <a:pos x="78" y="22"/>
                </a:cxn>
                <a:cxn ang="0">
                  <a:pos x="103" y="26"/>
                </a:cxn>
                <a:cxn ang="0">
                  <a:pos x="106" y="49"/>
                </a:cxn>
                <a:cxn ang="0">
                  <a:pos x="114" y="42"/>
                </a:cxn>
                <a:cxn ang="0">
                  <a:pos x="126" y="38"/>
                </a:cxn>
                <a:cxn ang="0">
                  <a:pos x="126" y="32"/>
                </a:cxn>
                <a:cxn ang="0">
                  <a:pos x="122" y="17"/>
                </a:cxn>
                <a:cxn ang="0">
                  <a:pos x="139" y="29"/>
                </a:cxn>
                <a:cxn ang="0">
                  <a:pos x="146" y="36"/>
                </a:cxn>
                <a:cxn ang="0">
                  <a:pos x="152" y="77"/>
                </a:cxn>
                <a:cxn ang="0">
                  <a:pos x="164" y="71"/>
                </a:cxn>
                <a:cxn ang="0">
                  <a:pos x="159" y="48"/>
                </a:cxn>
                <a:cxn ang="0">
                  <a:pos x="155" y="13"/>
                </a:cxn>
                <a:cxn ang="0">
                  <a:pos x="157" y="1"/>
                </a:cxn>
                <a:cxn ang="0">
                  <a:pos x="174" y="10"/>
                </a:cxn>
                <a:cxn ang="0">
                  <a:pos x="178" y="7"/>
                </a:cxn>
                <a:cxn ang="0">
                  <a:pos x="193" y="25"/>
                </a:cxn>
                <a:cxn ang="0">
                  <a:pos x="202" y="71"/>
                </a:cxn>
                <a:cxn ang="0">
                  <a:pos x="207" y="93"/>
                </a:cxn>
                <a:cxn ang="0">
                  <a:pos x="222" y="125"/>
                </a:cxn>
                <a:cxn ang="0">
                  <a:pos x="232" y="125"/>
                </a:cxn>
                <a:cxn ang="0">
                  <a:pos x="251" y="145"/>
                </a:cxn>
                <a:cxn ang="0">
                  <a:pos x="258" y="155"/>
                </a:cxn>
                <a:cxn ang="0">
                  <a:pos x="250" y="164"/>
                </a:cxn>
                <a:cxn ang="0">
                  <a:pos x="242" y="155"/>
                </a:cxn>
                <a:cxn ang="0">
                  <a:pos x="235" y="164"/>
                </a:cxn>
                <a:cxn ang="0">
                  <a:pos x="226" y="171"/>
                </a:cxn>
                <a:cxn ang="0">
                  <a:pos x="242" y="173"/>
                </a:cxn>
                <a:cxn ang="0">
                  <a:pos x="239" y="182"/>
                </a:cxn>
                <a:cxn ang="0">
                  <a:pos x="250" y="189"/>
                </a:cxn>
                <a:cxn ang="0">
                  <a:pos x="238" y="195"/>
                </a:cxn>
                <a:cxn ang="0">
                  <a:pos x="228" y="199"/>
                </a:cxn>
                <a:cxn ang="0">
                  <a:pos x="207" y="196"/>
                </a:cxn>
                <a:cxn ang="0">
                  <a:pos x="193" y="186"/>
                </a:cxn>
                <a:cxn ang="0">
                  <a:pos x="177" y="171"/>
                </a:cxn>
                <a:cxn ang="0">
                  <a:pos x="149" y="195"/>
                </a:cxn>
                <a:cxn ang="0">
                  <a:pos x="122" y="206"/>
                </a:cxn>
                <a:cxn ang="0">
                  <a:pos x="112" y="211"/>
                </a:cxn>
                <a:cxn ang="0">
                  <a:pos x="77" y="196"/>
                </a:cxn>
                <a:cxn ang="0">
                  <a:pos x="72" y="183"/>
                </a:cxn>
              </a:cxnLst>
              <a:rect l="0" t="0" r="r" b="b"/>
              <a:pathLst>
                <a:path w="260" h="214">
                  <a:moveTo>
                    <a:pt x="59" y="182"/>
                  </a:moveTo>
                  <a:lnTo>
                    <a:pt x="59" y="183"/>
                  </a:lnTo>
                  <a:lnTo>
                    <a:pt x="53" y="183"/>
                  </a:lnTo>
                  <a:lnTo>
                    <a:pt x="51" y="182"/>
                  </a:lnTo>
                  <a:lnTo>
                    <a:pt x="45" y="180"/>
                  </a:lnTo>
                  <a:lnTo>
                    <a:pt x="36" y="174"/>
                  </a:lnTo>
                  <a:lnTo>
                    <a:pt x="36" y="171"/>
                  </a:lnTo>
                  <a:lnTo>
                    <a:pt x="33" y="170"/>
                  </a:lnTo>
                  <a:lnTo>
                    <a:pt x="32" y="169"/>
                  </a:lnTo>
                  <a:lnTo>
                    <a:pt x="30" y="164"/>
                  </a:lnTo>
                  <a:lnTo>
                    <a:pt x="27" y="161"/>
                  </a:lnTo>
                  <a:lnTo>
                    <a:pt x="24" y="151"/>
                  </a:lnTo>
                  <a:lnTo>
                    <a:pt x="69" y="137"/>
                  </a:lnTo>
                  <a:lnTo>
                    <a:pt x="93" y="141"/>
                  </a:lnTo>
                  <a:lnTo>
                    <a:pt x="96" y="138"/>
                  </a:lnTo>
                  <a:lnTo>
                    <a:pt x="96" y="137"/>
                  </a:lnTo>
                  <a:lnTo>
                    <a:pt x="96" y="135"/>
                  </a:lnTo>
                  <a:lnTo>
                    <a:pt x="97" y="137"/>
                  </a:lnTo>
                  <a:lnTo>
                    <a:pt x="100" y="137"/>
                  </a:lnTo>
                  <a:lnTo>
                    <a:pt x="99" y="135"/>
                  </a:lnTo>
                  <a:lnTo>
                    <a:pt x="97" y="132"/>
                  </a:lnTo>
                  <a:lnTo>
                    <a:pt x="96" y="131"/>
                  </a:lnTo>
                  <a:lnTo>
                    <a:pt x="91" y="131"/>
                  </a:lnTo>
                  <a:lnTo>
                    <a:pt x="90" y="128"/>
                  </a:lnTo>
                  <a:lnTo>
                    <a:pt x="87" y="129"/>
                  </a:lnTo>
                  <a:lnTo>
                    <a:pt x="83" y="126"/>
                  </a:lnTo>
                  <a:lnTo>
                    <a:pt x="81" y="125"/>
                  </a:lnTo>
                  <a:lnTo>
                    <a:pt x="77" y="125"/>
                  </a:lnTo>
                  <a:lnTo>
                    <a:pt x="75" y="125"/>
                  </a:lnTo>
                  <a:lnTo>
                    <a:pt x="74" y="123"/>
                  </a:lnTo>
                  <a:lnTo>
                    <a:pt x="51" y="129"/>
                  </a:lnTo>
                  <a:lnTo>
                    <a:pt x="49" y="128"/>
                  </a:lnTo>
                  <a:lnTo>
                    <a:pt x="45" y="128"/>
                  </a:lnTo>
                  <a:lnTo>
                    <a:pt x="42" y="126"/>
                  </a:lnTo>
                  <a:lnTo>
                    <a:pt x="42" y="125"/>
                  </a:lnTo>
                  <a:lnTo>
                    <a:pt x="32" y="126"/>
                  </a:lnTo>
                  <a:lnTo>
                    <a:pt x="26" y="123"/>
                  </a:lnTo>
                  <a:lnTo>
                    <a:pt x="22" y="125"/>
                  </a:lnTo>
                  <a:lnTo>
                    <a:pt x="22" y="123"/>
                  </a:lnTo>
                  <a:lnTo>
                    <a:pt x="22" y="122"/>
                  </a:lnTo>
                  <a:lnTo>
                    <a:pt x="19" y="121"/>
                  </a:lnTo>
                  <a:lnTo>
                    <a:pt x="13" y="112"/>
                  </a:lnTo>
                  <a:lnTo>
                    <a:pt x="11" y="109"/>
                  </a:lnTo>
                  <a:lnTo>
                    <a:pt x="16" y="103"/>
                  </a:lnTo>
                  <a:lnTo>
                    <a:pt x="42" y="93"/>
                  </a:lnTo>
                  <a:lnTo>
                    <a:pt x="42" y="94"/>
                  </a:lnTo>
                  <a:lnTo>
                    <a:pt x="43" y="94"/>
                  </a:lnTo>
                  <a:lnTo>
                    <a:pt x="46" y="94"/>
                  </a:lnTo>
                  <a:lnTo>
                    <a:pt x="48" y="93"/>
                  </a:lnTo>
                  <a:lnTo>
                    <a:pt x="48" y="91"/>
                  </a:lnTo>
                  <a:lnTo>
                    <a:pt x="43" y="91"/>
                  </a:lnTo>
                  <a:lnTo>
                    <a:pt x="46" y="89"/>
                  </a:lnTo>
                  <a:lnTo>
                    <a:pt x="49" y="89"/>
                  </a:lnTo>
                  <a:lnTo>
                    <a:pt x="51" y="87"/>
                  </a:lnTo>
                  <a:lnTo>
                    <a:pt x="51" y="86"/>
                  </a:lnTo>
                  <a:lnTo>
                    <a:pt x="35" y="89"/>
                  </a:lnTo>
                  <a:lnTo>
                    <a:pt x="32" y="90"/>
                  </a:lnTo>
                  <a:lnTo>
                    <a:pt x="29" y="90"/>
                  </a:lnTo>
                  <a:lnTo>
                    <a:pt x="27" y="91"/>
                  </a:lnTo>
                  <a:lnTo>
                    <a:pt x="26" y="91"/>
                  </a:lnTo>
                  <a:lnTo>
                    <a:pt x="24" y="90"/>
                  </a:lnTo>
                  <a:lnTo>
                    <a:pt x="24" y="89"/>
                  </a:lnTo>
                  <a:lnTo>
                    <a:pt x="22" y="89"/>
                  </a:lnTo>
                  <a:lnTo>
                    <a:pt x="20" y="90"/>
                  </a:lnTo>
                  <a:lnTo>
                    <a:pt x="22" y="90"/>
                  </a:lnTo>
                  <a:lnTo>
                    <a:pt x="22" y="91"/>
                  </a:lnTo>
                  <a:lnTo>
                    <a:pt x="19" y="91"/>
                  </a:lnTo>
                  <a:lnTo>
                    <a:pt x="17" y="93"/>
                  </a:lnTo>
                  <a:lnTo>
                    <a:pt x="14" y="93"/>
                  </a:lnTo>
                  <a:lnTo>
                    <a:pt x="11" y="91"/>
                  </a:lnTo>
                  <a:lnTo>
                    <a:pt x="11" y="90"/>
                  </a:lnTo>
                  <a:lnTo>
                    <a:pt x="13" y="87"/>
                  </a:lnTo>
                  <a:lnTo>
                    <a:pt x="14" y="87"/>
                  </a:lnTo>
                  <a:lnTo>
                    <a:pt x="19" y="86"/>
                  </a:lnTo>
                  <a:lnTo>
                    <a:pt x="17" y="80"/>
                  </a:lnTo>
                  <a:lnTo>
                    <a:pt x="14" y="81"/>
                  </a:lnTo>
                  <a:lnTo>
                    <a:pt x="11" y="84"/>
                  </a:lnTo>
                  <a:lnTo>
                    <a:pt x="10" y="83"/>
                  </a:lnTo>
                  <a:lnTo>
                    <a:pt x="8" y="81"/>
                  </a:lnTo>
                  <a:lnTo>
                    <a:pt x="7" y="80"/>
                  </a:lnTo>
                  <a:lnTo>
                    <a:pt x="3" y="81"/>
                  </a:lnTo>
                  <a:lnTo>
                    <a:pt x="0" y="71"/>
                  </a:lnTo>
                  <a:lnTo>
                    <a:pt x="1" y="67"/>
                  </a:lnTo>
                  <a:lnTo>
                    <a:pt x="8" y="57"/>
                  </a:lnTo>
                  <a:lnTo>
                    <a:pt x="14" y="54"/>
                  </a:lnTo>
                  <a:lnTo>
                    <a:pt x="14" y="52"/>
                  </a:lnTo>
                  <a:lnTo>
                    <a:pt x="14" y="51"/>
                  </a:lnTo>
                  <a:lnTo>
                    <a:pt x="13" y="49"/>
                  </a:lnTo>
                  <a:lnTo>
                    <a:pt x="10" y="49"/>
                  </a:lnTo>
                  <a:lnTo>
                    <a:pt x="8" y="48"/>
                  </a:lnTo>
                  <a:lnTo>
                    <a:pt x="8" y="44"/>
                  </a:lnTo>
                  <a:lnTo>
                    <a:pt x="10" y="39"/>
                  </a:lnTo>
                  <a:lnTo>
                    <a:pt x="33" y="14"/>
                  </a:lnTo>
                  <a:lnTo>
                    <a:pt x="38" y="14"/>
                  </a:lnTo>
                  <a:lnTo>
                    <a:pt x="39" y="12"/>
                  </a:lnTo>
                  <a:lnTo>
                    <a:pt x="42" y="12"/>
                  </a:lnTo>
                  <a:lnTo>
                    <a:pt x="62" y="0"/>
                  </a:lnTo>
                  <a:lnTo>
                    <a:pt x="65" y="0"/>
                  </a:lnTo>
                  <a:lnTo>
                    <a:pt x="67" y="3"/>
                  </a:lnTo>
                  <a:lnTo>
                    <a:pt x="68" y="3"/>
                  </a:lnTo>
                  <a:lnTo>
                    <a:pt x="68" y="6"/>
                  </a:lnTo>
                  <a:lnTo>
                    <a:pt x="69" y="7"/>
                  </a:lnTo>
                  <a:lnTo>
                    <a:pt x="71" y="25"/>
                  </a:lnTo>
                  <a:lnTo>
                    <a:pt x="68" y="26"/>
                  </a:lnTo>
                  <a:lnTo>
                    <a:pt x="67" y="29"/>
                  </a:lnTo>
                  <a:lnTo>
                    <a:pt x="67" y="30"/>
                  </a:lnTo>
                  <a:lnTo>
                    <a:pt x="67" y="32"/>
                  </a:lnTo>
                  <a:lnTo>
                    <a:pt x="65" y="33"/>
                  </a:lnTo>
                  <a:lnTo>
                    <a:pt x="62" y="35"/>
                  </a:lnTo>
                  <a:lnTo>
                    <a:pt x="62" y="36"/>
                  </a:lnTo>
                  <a:lnTo>
                    <a:pt x="64" y="38"/>
                  </a:lnTo>
                  <a:lnTo>
                    <a:pt x="69" y="32"/>
                  </a:lnTo>
                  <a:lnTo>
                    <a:pt x="72" y="32"/>
                  </a:lnTo>
                  <a:lnTo>
                    <a:pt x="72" y="35"/>
                  </a:lnTo>
                  <a:lnTo>
                    <a:pt x="77" y="33"/>
                  </a:lnTo>
                  <a:lnTo>
                    <a:pt x="78" y="29"/>
                  </a:lnTo>
                  <a:lnTo>
                    <a:pt x="77" y="29"/>
                  </a:lnTo>
                  <a:lnTo>
                    <a:pt x="77" y="25"/>
                  </a:lnTo>
                  <a:lnTo>
                    <a:pt x="78" y="22"/>
                  </a:lnTo>
                  <a:lnTo>
                    <a:pt x="81" y="20"/>
                  </a:lnTo>
                  <a:lnTo>
                    <a:pt x="81" y="17"/>
                  </a:lnTo>
                  <a:lnTo>
                    <a:pt x="83" y="16"/>
                  </a:lnTo>
                  <a:lnTo>
                    <a:pt x="85" y="16"/>
                  </a:lnTo>
                  <a:lnTo>
                    <a:pt x="93" y="20"/>
                  </a:lnTo>
                  <a:lnTo>
                    <a:pt x="101" y="23"/>
                  </a:lnTo>
                  <a:lnTo>
                    <a:pt x="103" y="26"/>
                  </a:lnTo>
                  <a:lnTo>
                    <a:pt x="106" y="28"/>
                  </a:lnTo>
                  <a:lnTo>
                    <a:pt x="109" y="29"/>
                  </a:lnTo>
                  <a:lnTo>
                    <a:pt x="110" y="33"/>
                  </a:lnTo>
                  <a:lnTo>
                    <a:pt x="112" y="38"/>
                  </a:lnTo>
                  <a:lnTo>
                    <a:pt x="101" y="49"/>
                  </a:lnTo>
                  <a:lnTo>
                    <a:pt x="101" y="49"/>
                  </a:lnTo>
                  <a:lnTo>
                    <a:pt x="106" y="49"/>
                  </a:lnTo>
                  <a:lnTo>
                    <a:pt x="109" y="45"/>
                  </a:lnTo>
                  <a:lnTo>
                    <a:pt x="112" y="44"/>
                  </a:lnTo>
                  <a:lnTo>
                    <a:pt x="110" y="45"/>
                  </a:lnTo>
                  <a:lnTo>
                    <a:pt x="109" y="48"/>
                  </a:lnTo>
                  <a:lnTo>
                    <a:pt x="113" y="49"/>
                  </a:lnTo>
                  <a:lnTo>
                    <a:pt x="113" y="48"/>
                  </a:lnTo>
                  <a:lnTo>
                    <a:pt x="114" y="42"/>
                  </a:lnTo>
                  <a:lnTo>
                    <a:pt x="116" y="41"/>
                  </a:lnTo>
                  <a:lnTo>
                    <a:pt x="117" y="38"/>
                  </a:lnTo>
                  <a:lnTo>
                    <a:pt x="122" y="39"/>
                  </a:lnTo>
                  <a:lnTo>
                    <a:pt x="123" y="38"/>
                  </a:lnTo>
                  <a:lnTo>
                    <a:pt x="126" y="42"/>
                  </a:lnTo>
                  <a:lnTo>
                    <a:pt x="128" y="41"/>
                  </a:lnTo>
                  <a:lnTo>
                    <a:pt x="126" y="38"/>
                  </a:lnTo>
                  <a:lnTo>
                    <a:pt x="126" y="38"/>
                  </a:lnTo>
                  <a:lnTo>
                    <a:pt x="126" y="38"/>
                  </a:lnTo>
                  <a:lnTo>
                    <a:pt x="129" y="39"/>
                  </a:lnTo>
                  <a:lnTo>
                    <a:pt x="130" y="38"/>
                  </a:lnTo>
                  <a:lnTo>
                    <a:pt x="129" y="36"/>
                  </a:lnTo>
                  <a:lnTo>
                    <a:pt x="126" y="33"/>
                  </a:lnTo>
                  <a:lnTo>
                    <a:pt x="126" y="32"/>
                  </a:lnTo>
                  <a:lnTo>
                    <a:pt x="126" y="32"/>
                  </a:lnTo>
                  <a:lnTo>
                    <a:pt x="129" y="33"/>
                  </a:lnTo>
                  <a:lnTo>
                    <a:pt x="130" y="32"/>
                  </a:lnTo>
                  <a:lnTo>
                    <a:pt x="128" y="28"/>
                  </a:lnTo>
                  <a:lnTo>
                    <a:pt x="125" y="26"/>
                  </a:lnTo>
                  <a:lnTo>
                    <a:pt x="122" y="20"/>
                  </a:lnTo>
                  <a:lnTo>
                    <a:pt x="122" y="17"/>
                  </a:lnTo>
                  <a:lnTo>
                    <a:pt x="125" y="17"/>
                  </a:lnTo>
                  <a:lnTo>
                    <a:pt x="132" y="20"/>
                  </a:lnTo>
                  <a:lnTo>
                    <a:pt x="132" y="23"/>
                  </a:lnTo>
                  <a:lnTo>
                    <a:pt x="135" y="22"/>
                  </a:lnTo>
                  <a:lnTo>
                    <a:pt x="135" y="23"/>
                  </a:lnTo>
                  <a:lnTo>
                    <a:pt x="136" y="28"/>
                  </a:lnTo>
                  <a:lnTo>
                    <a:pt x="139" y="29"/>
                  </a:lnTo>
                  <a:lnTo>
                    <a:pt x="141" y="29"/>
                  </a:lnTo>
                  <a:lnTo>
                    <a:pt x="142" y="30"/>
                  </a:lnTo>
                  <a:lnTo>
                    <a:pt x="142" y="32"/>
                  </a:lnTo>
                  <a:lnTo>
                    <a:pt x="144" y="33"/>
                  </a:lnTo>
                  <a:lnTo>
                    <a:pt x="144" y="35"/>
                  </a:lnTo>
                  <a:lnTo>
                    <a:pt x="144" y="35"/>
                  </a:lnTo>
                  <a:lnTo>
                    <a:pt x="146" y="36"/>
                  </a:lnTo>
                  <a:lnTo>
                    <a:pt x="148" y="41"/>
                  </a:lnTo>
                  <a:lnTo>
                    <a:pt x="148" y="51"/>
                  </a:lnTo>
                  <a:lnTo>
                    <a:pt x="149" y="55"/>
                  </a:lnTo>
                  <a:lnTo>
                    <a:pt x="151" y="62"/>
                  </a:lnTo>
                  <a:lnTo>
                    <a:pt x="154" y="67"/>
                  </a:lnTo>
                  <a:lnTo>
                    <a:pt x="152" y="71"/>
                  </a:lnTo>
                  <a:lnTo>
                    <a:pt x="152" y="77"/>
                  </a:lnTo>
                  <a:lnTo>
                    <a:pt x="154" y="77"/>
                  </a:lnTo>
                  <a:lnTo>
                    <a:pt x="157" y="80"/>
                  </a:lnTo>
                  <a:lnTo>
                    <a:pt x="158" y="80"/>
                  </a:lnTo>
                  <a:lnTo>
                    <a:pt x="158" y="78"/>
                  </a:lnTo>
                  <a:lnTo>
                    <a:pt x="161" y="77"/>
                  </a:lnTo>
                  <a:lnTo>
                    <a:pt x="164" y="74"/>
                  </a:lnTo>
                  <a:lnTo>
                    <a:pt x="164" y="71"/>
                  </a:lnTo>
                  <a:lnTo>
                    <a:pt x="167" y="70"/>
                  </a:lnTo>
                  <a:lnTo>
                    <a:pt x="167" y="68"/>
                  </a:lnTo>
                  <a:lnTo>
                    <a:pt x="162" y="64"/>
                  </a:lnTo>
                  <a:lnTo>
                    <a:pt x="162" y="61"/>
                  </a:lnTo>
                  <a:lnTo>
                    <a:pt x="162" y="58"/>
                  </a:lnTo>
                  <a:lnTo>
                    <a:pt x="161" y="57"/>
                  </a:lnTo>
                  <a:lnTo>
                    <a:pt x="159" y="48"/>
                  </a:lnTo>
                  <a:lnTo>
                    <a:pt x="161" y="48"/>
                  </a:lnTo>
                  <a:lnTo>
                    <a:pt x="161" y="44"/>
                  </a:lnTo>
                  <a:lnTo>
                    <a:pt x="159" y="41"/>
                  </a:lnTo>
                  <a:lnTo>
                    <a:pt x="155" y="16"/>
                  </a:lnTo>
                  <a:lnTo>
                    <a:pt x="155" y="16"/>
                  </a:lnTo>
                  <a:lnTo>
                    <a:pt x="157" y="13"/>
                  </a:lnTo>
                  <a:lnTo>
                    <a:pt x="155" y="13"/>
                  </a:lnTo>
                  <a:lnTo>
                    <a:pt x="154" y="10"/>
                  </a:lnTo>
                  <a:lnTo>
                    <a:pt x="155" y="9"/>
                  </a:lnTo>
                  <a:lnTo>
                    <a:pt x="158" y="9"/>
                  </a:lnTo>
                  <a:lnTo>
                    <a:pt x="158" y="7"/>
                  </a:lnTo>
                  <a:lnTo>
                    <a:pt x="155" y="4"/>
                  </a:lnTo>
                  <a:lnTo>
                    <a:pt x="155" y="1"/>
                  </a:lnTo>
                  <a:lnTo>
                    <a:pt x="157" y="1"/>
                  </a:lnTo>
                  <a:lnTo>
                    <a:pt x="157" y="0"/>
                  </a:lnTo>
                  <a:lnTo>
                    <a:pt x="158" y="0"/>
                  </a:lnTo>
                  <a:lnTo>
                    <a:pt x="164" y="3"/>
                  </a:lnTo>
                  <a:lnTo>
                    <a:pt x="164" y="4"/>
                  </a:lnTo>
                  <a:lnTo>
                    <a:pt x="170" y="9"/>
                  </a:lnTo>
                  <a:lnTo>
                    <a:pt x="173" y="10"/>
                  </a:lnTo>
                  <a:lnTo>
                    <a:pt x="174" y="10"/>
                  </a:lnTo>
                  <a:lnTo>
                    <a:pt x="174" y="7"/>
                  </a:lnTo>
                  <a:lnTo>
                    <a:pt x="173" y="7"/>
                  </a:lnTo>
                  <a:lnTo>
                    <a:pt x="173" y="4"/>
                  </a:lnTo>
                  <a:lnTo>
                    <a:pt x="173" y="3"/>
                  </a:lnTo>
                  <a:lnTo>
                    <a:pt x="175" y="4"/>
                  </a:lnTo>
                  <a:lnTo>
                    <a:pt x="177" y="6"/>
                  </a:lnTo>
                  <a:lnTo>
                    <a:pt x="178" y="7"/>
                  </a:lnTo>
                  <a:lnTo>
                    <a:pt x="180" y="12"/>
                  </a:lnTo>
                  <a:lnTo>
                    <a:pt x="181" y="13"/>
                  </a:lnTo>
                  <a:lnTo>
                    <a:pt x="187" y="17"/>
                  </a:lnTo>
                  <a:lnTo>
                    <a:pt x="187" y="19"/>
                  </a:lnTo>
                  <a:lnTo>
                    <a:pt x="190" y="22"/>
                  </a:lnTo>
                  <a:lnTo>
                    <a:pt x="193" y="23"/>
                  </a:lnTo>
                  <a:lnTo>
                    <a:pt x="193" y="25"/>
                  </a:lnTo>
                  <a:lnTo>
                    <a:pt x="194" y="26"/>
                  </a:lnTo>
                  <a:lnTo>
                    <a:pt x="196" y="28"/>
                  </a:lnTo>
                  <a:lnTo>
                    <a:pt x="193" y="32"/>
                  </a:lnTo>
                  <a:lnTo>
                    <a:pt x="196" y="32"/>
                  </a:lnTo>
                  <a:lnTo>
                    <a:pt x="200" y="64"/>
                  </a:lnTo>
                  <a:lnTo>
                    <a:pt x="200" y="65"/>
                  </a:lnTo>
                  <a:lnTo>
                    <a:pt x="202" y="71"/>
                  </a:lnTo>
                  <a:lnTo>
                    <a:pt x="207" y="80"/>
                  </a:lnTo>
                  <a:lnTo>
                    <a:pt x="209" y="83"/>
                  </a:lnTo>
                  <a:lnTo>
                    <a:pt x="209" y="86"/>
                  </a:lnTo>
                  <a:lnTo>
                    <a:pt x="209" y="87"/>
                  </a:lnTo>
                  <a:lnTo>
                    <a:pt x="209" y="91"/>
                  </a:lnTo>
                  <a:lnTo>
                    <a:pt x="209" y="91"/>
                  </a:lnTo>
                  <a:lnTo>
                    <a:pt x="207" y="93"/>
                  </a:lnTo>
                  <a:lnTo>
                    <a:pt x="207" y="100"/>
                  </a:lnTo>
                  <a:lnTo>
                    <a:pt x="206" y="103"/>
                  </a:lnTo>
                  <a:lnTo>
                    <a:pt x="207" y="106"/>
                  </a:lnTo>
                  <a:lnTo>
                    <a:pt x="212" y="109"/>
                  </a:lnTo>
                  <a:lnTo>
                    <a:pt x="216" y="118"/>
                  </a:lnTo>
                  <a:lnTo>
                    <a:pt x="220" y="119"/>
                  </a:lnTo>
                  <a:lnTo>
                    <a:pt x="222" y="125"/>
                  </a:lnTo>
                  <a:lnTo>
                    <a:pt x="223" y="125"/>
                  </a:lnTo>
                  <a:lnTo>
                    <a:pt x="226" y="125"/>
                  </a:lnTo>
                  <a:lnTo>
                    <a:pt x="228" y="128"/>
                  </a:lnTo>
                  <a:lnTo>
                    <a:pt x="229" y="126"/>
                  </a:lnTo>
                  <a:lnTo>
                    <a:pt x="229" y="123"/>
                  </a:lnTo>
                  <a:lnTo>
                    <a:pt x="229" y="123"/>
                  </a:lnTo>
                  <a:lnTo>
                    <a:pt x="232" y="125"/>
                  </a:lnTo>
                  <a:lnTo>
                    <a:pt x="234" y="126"/>
                  </a:lnTo>
                  <a:lnTo>
                    <a:pt x="234" y="128"/>
                  </a:lnTo>
                  <a:lnTo>
                    <a:pt x="247" y="139"/>
                  </a:lnTo>
                  <a:lnTo>
                    <a:pt x="250" y="139"/>
                  </a:lnTo>
                  <a:lnTo>
                    <a:pt x="251" y="141"/>
                  </a:lnTo>
                  <a:lnTo>
                    <a:pt x="250" y="144"/>
                  </a:lnTo>
                  <a:lnTo>
                    <a:pt x="251" y="145"/>
                  </a:lnTo>
                  <a:lnTo>
                    <a:pt x="252" y="145"/>
                  </a:lnTo>
                  <a:lnTo>
                    <a:pt x="254" y="145"/>
                  </a:lnTo>
                  <a:lnTo>
                    <a:pt x="255" y="145"/>
                  </a:lnTo>
                  <a:lnTo>
                    <a:pt x="257" y="145"/>
                  </a:lnTo>
                  <a:lnTo>
                    <a:pt x="258" y="145"/>
                  </a:lnTo>
                  <a:lnTo>
                    <a:pt x="260" y="151"/>
                  </a:lnTo>
                  <a:lnTo>
                    <a:pt x="258" y="155"/>
                  </a:lnTo>
                  <a:lnTo>
                    <a:pt x="258" y="161"/>
                  </a:lnTo>
                  <a:lnTo>
                    <a:pt x="258" y="166"/>
                  </a:lnTo>
                  <a:lnTo>
                    <a:pt x="255" y="166"/>
                  </a:lnTo>
                  <a:lnTo>
                    <a:pt x="254" y="164"/>
                  </a:lnTo>
                  <a:lnTo>
                    <a:pt x="251" y="160"/>
                  </a:lnTo>
                  <a:lnTo>
                    <a:pt x="251" y="154"/>
                  </a:lnTo>
                  <a:lnTo>
                    <a:pt x="250" y="164"/>
                  </a:lnTo>
                  <a:lnTo>
                    <a:pt x="248" y="166"/>
                  </a:lnTo>
                  <a:lnTo>
                    <a:pt x="248" y="163"/>
                  </a:lnTo>
                  <a:lnTo>
                    <a:pt x="247" y="163"/>
                  </a:lnTo>
                  <a:lnTo>
                    <a:pt x="245" y="164"/>
                  </a:lnTo>
                  <a:lnTo>
                    <a:pt x="244" y="161"/>
                  </a:lnTo>
                  <a:lnTo>
                    <a:pt x="242" y="158"/>
                  </a:lnTo>
                  <a:lnTo>
                    <a:pt x="242" y="155"/>
                  </a:lnTo>
                  <a:lnTo>
                    <a:pt x="242" y="157"/>
                  </a:lnTo>
                  <a:lnTo>
                    <a:pt x="241" y="157"/>
                  </a:lnTo>
                  <a:lnTo>
                    <a:pt x="241" y="157"/>
                  </a:lnTo>
                  <a:lnTo>
                    <a:pt x="238" y="160"/>
                  </a:lnTo>
                  <a:lnTo>
                    <a:pt x="238" y="160"/>
                  </a:lnTo>
                  <a:lnTo>
                    <a:pt x="235" y="163"/>
                  </a:lnTo>
                  <a:lnTo>
                    <a:pt x="235" y="164"/>
                  </a:lnTo>
                  <a:lnTo>
                    <a:pt x="235" y="164"/>
                  </a:lnTo>
                  <a:lnTo>
                    <a:pt x="236" y="170"/>
                  </a:lnTo>
                  <a:lnTo>
                    <a:pt x="234" y="170"/>
                  </a:lnTo>
                  <a:lnTo>
                    <a:pt x="232" y="170"/>
                  </a:lnTo>
                  <a:lnTo>
                    <a:pt x="229" y="169"/>
                  </a:lnTo>
                  <a:lnTo>
                    <a:pt x="228" y="170"/>
                  </a:lnTo>
                  <a:lnTo>
                    <a:pt x="226" y="171"/>
                  </a:lnTo>
                  <a:lnTo>
                    <a:pt x="229" y="176"/>
                  </a:lnTo>
                  <a:lnTo>
                    <a:pt x="228" y="182"/>
                  </a:lnTo>
                  <a:lnTo>
                    <a:pt x="231" y="177"/>
                  </a:lnTo>
                  <a:lnTo>
                    <a:pt x="235" y="174"/>
                  </a:lnTo>
                  <a:lnTo>
                    <a:pt x="235" y="173"/>
                  </a:lnTo>
                  <a:lnTo>
                    <a:pt x="241" y="171"/>
                  </a:lnTo>
                  <a:lnTo>
                    <a:pt x="242" y="173"/>
                  </a:lnTo>
                  <a:lnTo>
                    <a:pt x="244" y="174"/>
                  </a:lnTo>
                  <a:lnTo>
                    <a:pt x="244" y="176"/>
                  </a:lnTo>
                  <a:lnTo>
                    <a:pt x="242" y="177"/>
                  </a:lnTo>
                  <a:lnTo>
                    <a:pt x="241" y="179"/>
                  </a:lnTo>
                  <a:lnTo>
                    <a:pt x="242" y="180"/>
                  </a:lnTo>
                  <a:lnTo>
                    <a:pt x="241" y="180"/>
                  </a:lnTo>
                  <a:lnTo>
                    <a:pt x="239" y="182"/>
                  </a:lnTo>
                  <a:lnTo>
                    <a:pt x="241" y="185"/>
                  </a:lnTo>
                  <a:lnTo>
                    <a:pt x="242" y="185"/>
                  </a:lnTo>
                  <a:lnTo>
                    <a:pt x="244" y="182"/>
                  </a:lnTo>
                  <a:lnTo>
                    <a:pt x="247" y="183"/>
                  </a:lnTo>
                  <a:lnTo>
                    <a:pt x="250" y="185"/>
                  </a:lnTo>
                  <a:lnTo>
                    <a:pt x="250" y="186"/>
                  </a:lnTo>
                  <a:lnTo>
                    <a:pt x="250" y="189"/>
                  </a:lnTo>
                  <a:lnTo>
                    <a:pt x="248" y="189"/>
                  </a:lnTo>
                  <a:lnTo>
                    <a:pt x="247" y="189"/>
                  </a:lnTo>
                  <a:lnTo>
                    <a:pt x="247" y="190"/>
                  </a:lnTo>
                  <a:lnTo>
                    <a:pt x="245" y="192"/>
                  </a:lnTo>
                  <a:lnTo>
                    <a:pt x="245" y="193"/>
                  </a:lnTo>
                  <a:lnTo>
                    <a:pt x="244" y="193"/>
                  </a:lnTo>
                  <a:lnTo>
                    <a:pt x="238" y="195"/>
                  </a:lnTo>
                  <a:lnTo>
                    <a:pt x="238" y="198"/>
                  </a:lnTo>
                  <a:lnTo>
                    <a:pt x="234" y="198"/>
                  </a:lnTo>
                  <a:lnTo>
                    <a:pt x="232" y="196"/>
                  </a:lnTo>
                  <a:lnTo>
                    <a:pt x="232" y="199"/>
                  </a:lnTo>
                  <a:lnTo>
                    <a:pt x="231" y="200"/>
                  </a:lnTo>
                  <a:lnTo>
                    <a:pt x="229" y="200"/>
                  </a:lnTo>
                  <a:lnTo>
                    <a:pt x="228" y="199"/>
                  </a:lnTo>
                  <a:lnTo>
                    <a:pt x="223" y="200"/>
                  </a:lnTo>
                  <a:lnTo>
                    <a:pt x="218" y="199"/>
                  </a:lnTo>
                  <a:lnTo>
                    <a:pt x="216" y="198"/>
                  </a:lnTo>
                  <a:lnTo>
                    <a:pt x="212" y="196"/>
                  </a:lnTo>
                  <a:lnTo>
                    <a:pt x="210" y="195"/>
                  </a:lnTo>
                  <a:lnTo>
                    <a:pt x="207" y="195"/>
                  </a:lnTo>
                  <a:lnTo>
                    <a:pt x="207" y="196"/>
                  </a:lnTo>
                  <a:lnTo>
                    <a:pt x="197" y="195"/>
                  </a:lnTo>
                  <a:lnTo>
                    <a:pt x="197" y="193"/>
                  </a:lnTo>
                  <a:lnTo>
                    <a:pt x="202" y="189"/>
                  </a:lnTo>
                  <a:lnTo>
                    <a:pt x="200" y="187"/>
                  </a:lnTo>
                  <a:lnTo>
                    <a:pt x="197" y="187"/>
                  </a:lnTo>
                  <a:lnTo>
                    <a:pt x="193" y="187"/>
                  </a:lnTo>
                  <a:lnTo>
                    <a:pt x="193" y="186"/>
                  </a:lnTo>
                  <a:lnTo>
                    <a:pt x="189" y="185"/>
                  </a:lnTo>
                  <a:lnTo>
                    <a:pt x="187" y="186"/>
                  </a:lnTo>
                  <a:lnTo>
                    <a:pt x="181" y="185"/>
                  </a:lnTo>
                  <a:lnTo>
                    <a:pt x="181" y="182"/>
                  </a:lnTo>
                  <a:lnTo>
                    <a:pt x="181" y="180"/>
                  </a:lnTo>
                  <a:lnTo>
                    <a:pt x="180" y="173"/>
                  </a:lnTo>
                  <a:lnTo>
                    <a:pt x="177" y="171"/>
                  </a:lnTo>
                  <a:lnTo>
                    <a:pt x="175" y="176"/>
                  </a:lnTo>
                  <a:lnTo>
                    <a:pt x="171" y="177"/>
                  </a:lnTo>
                  <a:lnTo>
                    <a:pt x="173" y="182"/>
                  </a:lnTo>
                  <a:lnTo>
                    <a:pt x="173" y="185"/>
                  </a:lnTo>
                  <a:lnTo>
                    <a:pt x="171" y="186"/>
                  </a:lnTo>
                  <a:lnTo>
                    <a:pt x="167" y="192"/>
                  </a:lnTo>
                  <a:lnTo>
                    <a:pt x="149" y="195"/>
                  </a:lnTo>
                  <a:lnTo>
                    <a:pt x="151" y="196"/>
                  </a:lnTo>
                  <a:lnTo>
                    <a:pt x="148" y="200"/>
                  </a:lnTo>
                  <a:lnTo>
                    <a:pt x="136" y="206"/>
                  </a:lnTo>
                  <a:lnTo>
                    <a:pt x="130" y="208"/>
                  </a:lnTo>
                  <a:lnTo>
                    <a:pt x="129" y="206"/>
                  </a:lnTo>
                  <a:lnTo>
                    <a:pt x="126" y="208"/>
                  </a:lnTo>
                  <a:lnTo>
                    <a:pt x="122" y="206"/>
                  </a:lnTo>
                  <a:lnTo>
                    <a:pt x="120" y="208"/>
                  </a:lnTo>
                  <a:lnTo>
                    <a:pt x="119" y="206"/>
                  </a:lnTo>
                  <a:lnTo>
                    <a:pt x="114" y="208"/>
                  </a:lnTo>
                  <a:lnTo>
                    <a:pt x="110" y="209"/>
                  </a:lnTo>
                  <a:lnTo>
                    <a:pt x="110" y="209"/>
                  </a:lnTo>
                  <a:lnTo>
                    <a:pt x="112" y="209"/>
                  </a:lnTo>
                  <a:lnTo>
                    <a:pt x="112" y="211"/>
                  </a:lnTo>
                  <a:lnTo>
                    <a:pt x="103" y="212"/>
                  </a:lnTo>
                  <a:lnTo>
                    <a:pt x="101" y="212"/>
                  </a:lnTo>
                  <a:lnTo>
                    <a:pt x="83" y="214"/>
                  </a:lnTo>
                  <a:lnTo>
                    <a:pt x="84" y="212"/>
                  </a:lnTo>
                  <a:lnTo>
                    <a:pt x="87" y="209"/>
                  </a:lnTo>
                  <a:lnTo>
                    <a:pt x="81" y="206"/>
                  </a:lnTo>
                  <a:lnTo>
                    <a:pt x="77" y="196"/>
                  </a:lnTo>
                  <a:lnTo>
                    <a:pt x="77" y="193"/>
                  </a:lnTo>
                  <a:lnTo>
                    <a:pt x="78" y="190"/>
                  </a:lnTo>
                  <a:lnTo>
                    <a:pt x="78" y="189"/>
                  </a:lnTo>
                  <a:lnTo>
                    <a:pt x="75" y="187"/>
                  </a:lnTo>
                  <a:lnTo>
                    <a:pt x="75" y="187"/>
                  </a:lnTo>
                  <a:lnTo>
                    <a:pt x="75" y="185"/>
                  </a:lnTo>
                  <a:lnTo>
                    <a:pt x="72" y="183"/>
                  </a:lnTo>
                  <a:lnTo>
                    <a:pt x="72" y="182"/>
                  </a:lnTo>
                  <a:lnTo>
                    <a:pt x="68" y="180"/>
                  </a:lnTo>
                  <a:lnTo>
                    <a:pt x="59" y="18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74" name="Freeform 1130"/>
            <p:cNvSpPr>
              <a:spLocks/>
            </p:cNvSpPr>
            <p:nvPr/>
          </p:nvSpPr>
          <p:spPr bwMode="auto">
            <a:xfrm>
              <a:off x="4721511" y="1626660"/>
              <a:ext cx="33356" cy="44621"/>
            </a:xfrm>
            <a:custGeom>
              <a:avLst/>
              <a:gdLst/>
              <a:ahLst/>
              <a:cxnLst>
                <a:cxn ang="0">
                  <a:pos x="31" y="33"/>
                </a:cxn>
                <a:cxn ang="0">
                  <a:pos x="31" y="32"/>
                </a:cxn>
                <a:cxn ang="0">
                  <a:pos x="33" y="24"/>
                </a:cxn>
                <a:cxn ang="0">
                  <a:pos x="36" y="10"/>
                </a:cxn>
                <a:cxn ang="0">
                  <a:pos x="35" y="7"/>
                </a:cxn>
                <a:cxn ang="0">
                  <a:pos x="33" y="7"/>
                </a:cxn>
                <a:cxn ang="0">
                  <a:pos x="32" y="4"/>
                </a:cxn>
                <a:cxn ang="0">
                  <a:pos x="26" y="0"/>
                </a:cxn>
                <a:cxn ang="0">
                  <a:pos x="23" y="0"/>
                </a:cxn>
                <a:cxn ang="0">
                  <a:pos x="18" y="1"/>
                </a:cxn>
                <a:cxn ang="0">
                  <a:pos x="9" y="1"/>
                </a:cxn>
                <a:cxn ang="0">
                  <a:pos x="6" y="3"/>
                </a:cxn>
                <a:cxn ang="0">
                  <a:pos x="2" y="13"/>
                </a:cxn>
                <a:cxn ang="0">
                  <a:pos x="0" y="14"/>
                </a:cxn>
                <a:cxn ang="0">
                  <a:pos x="7" y="18"/>
                </a:cxn>
                <a:cxn ang="0">
                  <a:pos x="19" y="34"/>
                </a:cxn>
                <a:cxn ang="0">
                  <a:pos x="19" y="36"/>
                </a:cxn>
                <a:cxn ang="0">
                  <a:pos x="25" y="43"/>
                </a:cxn>
                <a:cxn ang="0">
                  <a:pos x="25" y="42"/>
                </a:cxn>
                <a:cxn ang="0">
                  <a:pos x="25" y="40"/>
                </a:cxn>
                <a:cxn ang="0">
                  <a:pos x="26" y="40"/>
                </a:cxn>
                <a:cxn ang="0">
                  <a:pos x="31" y="34"/>
                </a:cxn>
                <a:cxn ang="0">
                  <a:pos x="31" y="33"/>
                </a:cxn>
              </a:cxnLst>
              <a:rect l="0" t="0" r="r" b="b"/>
              <a:pathLst>
                <a:path w="36" h="43">
                  <a:moveTo>
                    <a:pt x="31" y="33"/>
                  </a:moveTo>
                  <a:lnTo>
                    <a:pt x="31" y="32"/>
                  </a:lnTo>
                  <a:lnTo>
                    <a:pt x="33" y="24"/>
                  </a:lnTo>
                  <a:lnTo>
                    <a:pt x="36" y="10"/>
                  </a:lnTo>
                  <a:lnTo>
                    <a:pt x="35" y="7"/>
                  </a:lnTo>
                  <a:lnTo>
                    <a:pt x="33" y="7"/>
                  </a:lnTo>
                  <a:lnTo>
                    <a:pt x="32" y="4"/>
                  </a:lnTo>
                  <a:lnTo>
                    <a:pt x="26" y="0"/>
                  </a:lnTo>
                  <a:lnTo>
                    <a:pt x="23" y="0"/>
                  </a:lnTo>
                  <a:lnTo>
                    <a:pt x="18" y="1"/>
                  </a:lnTo>
                  <a:lnTo>
                    <a:pt x="9" y="1"/>
                  </a:lnTo>
                  <a:lnTo>
                    <a:pt x="6" y="3"/>
                  </a:lnTo>
                  <a:lnTo>
                    <a:pt x="2" y="13"/>
                  </a:lnTo>
                  <a:lnTo>
                    <a:pt x="0" y="14"/>
                  </a:lnTo>
                  <a:lnTo>
                    <a:pt x="7" y="18"/>
                  </a:lnTo>
                  <a:lnTo>
                    <a:pt x="19" y="34"/>
                  </a:lnTo>
                  <a:lnTo>
                    <a:pt x="19" y="36"/>
                  </a:lnTo>
                  <a:lnTo>
                    <a:pt x="25" y="43"/>
                  </a:lnTo>
                  <a:lnTo>
                    <a:pt x="25" y="42"/>
                  </a:lnTo>
                  <a:lnTo>
                    <a:pt x="25" y="40"/>
                  </a:lnTo>
                  <a:lnTo>
                    <a:pt x="26" y="40"/>
                  </a:lnTo>
                  <a:lnTo>
                    <a:pt x="31" y="34"/>
                  </a:lnTo>
                  <a:lnTo>
                    <a:pt x="31" y="3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75" name="Freeform 1131"/>
            <p:cNvSpPr>
              <a:spLocks/>
            </p:cNvSpPr>
            <p:nvPr/>
          </p:nvSpPr>
          <p:spPr bwMode="auto">
            <a:xfrm>
              <a:off x="4721511" y="1626660"/>
              <a:ext cx="33356" cy="44621"/>
            </a:xfrm>
            <a:custGeom>
              <a:avLst/>
              <a:gdLst/>
              <a:ahLst/>
              <a:cxnLst>
                <a:cxn ang="0">
                  <a:pos x="31" y="33"/>
                </a:cxn>
                <a:cxn ang="0">
                  <a:pos x="31" y="32"/>
                </a:cxn>
                <a:cxn ang="0">
                  <a:pos x="33" y="24"/>
                </a:cxn>
                <a:cxn ang="0">
                  <a:pos x="36" y="10"/>
                </a:cxn>
                <a:cxn ang="0">
                  <a:pos x="35" y="7"/>
                </a:cxn>
                <a:cxn ang="0">
                  <a:pos x="33" y="7"/>
                </a:cxn>
                <a:cxn ang="0">
                  <a:pos x="32" y="4"/>
                </a:cxn>
                <a:cxn ang="0">
                  <a:pos x="26" y="0"/>
                </a:cxn>
                <a:cxn ang="0">
                  <a:pos x="23" y="0"/>
                </a:cxn>
                <a:cxn ang="0">
                  <a:pos x="18" y="1"/>
                </a:cxn>
                <a:cxn ang="0">
                  <a:pos x="9" y="1"/>
                </a:cxn>
                <a:cxn ang="0">
                  <a:pos x="6" y="3"/>
                </a:cxn>
                <a:cxn ang="0">
                  <a:pos x="2" y="13"/>
                </a:cxn>
                <a:cxn ang="0">
                  <a:pos x="0" y="14"/>
                </a:cxn>
                <a:cxn ang="0">
                  <a:pos x="7" y="18"/>
                </a:cxn>
                <a:cxn ang="0">
                  <a:pos x="19" y="34"/>
                </a:cxn>
                <a:cxn ang="0">
                  <a:pos x="19" y="36"/>
                </a:cxn>
                <a:cxn ang="0">
                  <a:pos x="25" y="43"/>
                </a:cxn>
                <a:cxn ang="0">
                  <a:pos x="25" y="42"/>
                </a:cxn>
                <a:cxn ang="0">
                  <a:pos x="25" y="40"/>
                </a:cxn>
                <a:cxn ang="0">
                  <a:pos x="26" y="40"/>
                </a:cxn>
                <a:cxn ang="0">
                  <a:pos x="31" y="34"/>
                </a:cxn>
                <a:cxn ang="0">
                  <a:pos x="31" y="33"/>
                </a:cxn>
              </a:cxnLst>
              <a:rect l="0" t="0" r="r" b="b"/>
              <a:pathLst>
                <a:path w="36" h="43">
                  <a:moveTo>
                    <a:pt x="31" y="33"/>
                  </a:moveTo>
                  <a:lnTo>
                    <a:pt x="31" y="32"/>
                  </a:lnTo>
                  <a:lnTo>
                    <a:pt x="33" y="24"/>
                  </a:lnTo>
                  <a:lnTo>
                    <a:pt x="36" y="10"/>
                  </a:lnTo>
                  <a:lnTo>
                    <a:pt x="35" y="7"/>
                  </a:lnTo>
                  <a:lnTo>
                    <a:pt x="33" y="7"/>
                  </a:lnTo>
                  <a:lnTo>
                    <a:pt x="32" y="4"/>
                  </a:lnTo>
                  <a:lnTo>
                    <a:pt x="26" y="0"/>
                  </a:lnTo>
                  <a:lnTo>
                    <a:pt x="23" y="0"/>
                  </a:lnTo>
                  <a:lnTo>
                    <a:pt x="18" y="1"/>
                  </a:lnTo>
                  <a:lnTo>
                    <a:pt x="9" y="1"/>
                  </a:lnTo>
                  <a:lnTo>
                    <a:pt x="6" y="3"/>
                  </a:lnTo>
                  <a:lnTo>
                    <a:pt x="2" y="13"/>
                  </a:lnTo>
                  <a:lnTo>
                    <a:pt x="0" y="14"/>
                  </a:lnTo>
                  <a:lnTo>
                    <a:pt x="7" y="18"/>
                  </a:lnTo>
                  <a:lnTo>
                    <a:pt x="19" y="34"/>
                  </a:lnTo>
                  <a:lnTo>
                    <a:pt x="19" y="36"/>
                  </a:lnTo>
                  <a:lnTo>
                    <a:pt x="25" y="43"/>
                  </a:lnTo>
                  <a:lnTo>
                    <a:pt x="25" y="42"/>
                  </a:lnTo>
                  <a:lnTo>
                    <a:pt x="25" y="40"/>
                  </a:lnTo>
                  <a:lnTo>
                    <a:pt x="26" y="40"/>
                  </a:lnTo>
                  <a:lnTo>
                    <a:pt x="31" y="34"/>
                  </a:lnTo>
                  <a:lnTo>
                    <a:pt x="31" y="3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76" name="Freeform 1132"/>
            <p:cNvSpPr>
              <a:spLocks/>
            </p:cNvSpPr>
            <p:nvPr/>
          </p:nvSpPr>
          <p:spPr bwMode="auto">
            <a:xfrm>
              <a:off x="4782957" y="1618547"/>
              <a:ext cx="79002" cy="131837"/>
            </a:xfrm>
            <a:custGeom>
              <a:avLst/>
              <a:gdLst/>
              <a:ahLst/>
              <a:cxnLst>
                <a:cxn ang="0">
                  <a:pos x="30" y="92"/>
                </a:cxn>
                <a:cxn ang="0">
                  <a:pos x="27" y="88"/>
                </a:cxn>
                <a:cxn ang="0">
                  <a:pos x="20" y="83"/>
                </a:cxn>
                <a:cxn ang="0">
                  <a:pos x="13" y="80"/>
                </a:cxn>
                <a:cxn ang="0">
                  <a:pos x="0" y="64"/>
                </a:cxn>
                <a:cxn ang="0">
                  <a:pos x="6" y="47"/>
                </a:cxn>
                <a:cxn ang="0">
                  <a:pos x="10" y="51"/>
                </a:cxn>
                <a:cxn ang="0">
                  <a:pos x="14" y="56"/>
                </a:cxn>
                <a:cxn ang="0">
                  <a:pos x="17" y="64"/>
                </a:cxn>
                <a:cxn ang="0">
                  <a:pos x="25" y="61"/>
                </a:cxn>
                <a:cxn ang="0">
                  <a:pos x="32" y="58"/>
                </a:cxn>
                <a:cxn ang="0">
                  <a:pos x="30" y="51"/>
                </a:cxn>
                <a:cxn ang="0">
                  <a:pos x="33" y="50"/>
                </a:cxn>
                <a:cxn ang="0">
                  <a:pos x="29" y="45"/>
                </a:cxn>
                <a:cxn ang="0">
                  <a:pos x="27" y="37"/>
                </a:cxn>
                <a:cxn ang="0">
                  <a:pos x="35" y="38"/>
                </a:cxn>
                <a:cxn ang="0">
                  <a:pos x="29" y="34"/>
                </a:cxn>
                <a:cxn ang="0">
                  <a:pos x="17" y="28"/>
                </a:cxn>
                <a:cxn ang="0">
                  <a:pos x="14" y="21"/>
                </a:cxn>
                <a:cxn ang="0">
                  <a:pos x="22" y="25"/>
                </a:cxn>
                <a:cxn ang="0">
                  <a:pos x="25" y="22"/>
                </a:cxn>
                <a:cxn ang="0">
                  <a:pos x="20" y="16"/>
                </a:cxn>
                <a:cxn ang="0">
                  <a:pos x="19" y="9"/>
                </a:cxn>
                <a:cxn ang="0">
                  <a:pos x="29" y="9"/>
                </a:cxn>
                <a:cxn ang="0">
                  <a:pos x="32" y="8"/>
                </a:cxn>
                <a:cxn ang="0">
                  <a:pos x="30" y="2"/>
                </a:cxn>
                <a:cxn ang="0">
                  <a:pos x="36" y="6"/>
                </a:cxn>
                <a:cxn ang="0">
                  <a:pos x="48" y="11"/>
                </a:cxn>
                <a:cxn ang="0">
                  <a:pos x="64" y="3"/>
                </a:cxn>
                <a:cxn ang="0">
                  <a:pos x="74" y="8"/>
                </a:cxn>
                <a:cxn ang="0">
                  <a:pos x="72" y="18"/>
                </a:cxn>
                <a:cxn ang="0">
                  <a:pos x="70" y="21"/>
                </a:cxn>
                <a:cxn ang="0">
                  <a:pos x="71" y="29"/>
                </a:cxn>
                <a:cxn ang="0">
                  <a:pos x="61" y="40"/>
                </a:cxn>
                <a:cxn ang="0">
                  <a:pos x="57" y="45"/>
                </a:cxn>
                <a:cxn ang="0">
                  <a:pos x="65" y="44"/>
                </a:cxn>
                <a:cxn ang="0">
                  <a:pos x="71" y="53"/>
                </a:cxn>
                <a:cxn ang="0">
                  <a:pos x="74" y="57"/>
                </a:cxn>
                <a:cxn ang="0">
                  <a:pos x="74" y="63"/>
                </a:cxn>
                <a:cxn ang="0">
                  <a:pos x="80" y="61"/>
                </a:cxn>
                <a:cxn ang="0">
                  <a:pos x="83" y="64"/>
                </a:cxn>
                <a:cxn ang="0">
                  <a:pos x="86" y="74"/>
                </a:cxn>
                <a:cxn ang="0">
                  <a:pos x="81" y="79"/>
                </a:cxn>
                <a:cxn ang="0">
                  <a:pos x="83" y="90"/>
                </a:cxn>
                <a:cxn ang="0">
                  <a:pos x="84" y="95"/>
                </a:cxn>
                <a:cxn ang="0">
                  <a:pos x="81" y="101"/>
                </a:cxn>
                <a:cxn ang="0">
                  <a:pos x="71" y="112"/>
                </a:cxn>
                <a:cxn ang="0">
                  <a:pos x="61" y="111"/>
                </a:cxn>
                <a:cxn ang="0">
                  <a:pos x="64" y="119"/>
                </a:cxn>
                <a:cxn ang="0">
                  <a:pos x="57" y="127"/>
                </a:cxn>
                <a:cxn ang="0">
                  <a:pos x="51" y="122"/>
                </a:cxn>
                <a:cxn ang="0">
                  <a:pos x="45" y="112"/>
                </a:cxn>
                <a:cxn ang="0">
                  <a:pos x="41" y="104"/>
                </a:cxn>
              </a:cxnLst>
              <a:rect l="0" t="0" r="r" b="b"/>
              <a:pathLst>
                <a:path w="86" h="127">
                  <a:moveTo>
                    <a:pt x="35" y="98"/>
                  </a:moveTo>
                  <a:lnTo>
                    <a:pt x="33" y="98"/>
                  </a:lnTo>
                  <a:lnTo>
                    <a:pt x="30" y="92"/>
                  </a:lnTo>
                  <a:lnTo>
                    <a:pt x="30" y="90"/>
                  </a:lnTo>
                  <a:lnTo>
                    <a:pt x="29" y="88"/>
                  </a:lnTo>
                  <a:lnTo>
                    <a:pt x="27" y="88"/>
                  </a:lnTo>
                  <a:lnTo>
                    <a:pt x="25" y="89"/>
                  </a:lnTo>
                  <a:lnTo>
                    <a:pt x="22" y="83"/>
                  </a:lnTo>
                  <a:lnTo>
                    <a:pt x="20" y="83"/>
                  </a:lnTo>
                  <a:lnTo>
                    <a:pt x="19" y="86"/>
                  </a:lnTo>
                  <a:lnTo>
                    <a:pt x="13" y="85"/>
                  </a:lnTo>
                  <a:lnTo>
                    <a:pt x="13" y="80"/>
                  </a:lnTo>
                  <a:lnTo>
                    <a:pt x="10" y="79"/>
                  </a:lnTo>
                  <a:lnTo>
                    <a:pt x="10" y="76"/>
                  </a:lnTo>
                  <a:lnTo>
                    <a:pt x="0" y="64"/>
                  </a:lnTo>
                  <a:lnTo>
                    <a:pt x="0" y="50"/>
                  </a:lnTo>
                  <a:lnTo>
                    <a:pt x="3" y="48"/>
                  </a:lnTo>
                  <a:lnTo>
                    <a:pt x="6" y="47"/>
                  </a:lnTo>
                  <a:lnTo>
                    <a:pt x="9" y="50"/>
                  </a:lnTo>
                  <a:lnTo>
                    <a:pt x="10" y="51"/>
                  </a:lnTo>
                  <a:lnTo>
                    <a:pt x="10" y="51"/>
                  </a:lnTo>
                  <a:lnTo>
                    <a:pt x="10" y="54"/>
                  </a:lnTo>
                  <a:lnTo>
                    <a:pt x="12" y="56"/>
                  </a:lnTo>
                  <a:lnTo>
                    <a:pt x="14" y="56"/>
                  </a:lnTo>
                  <a:lnTo>
                    <a:pt x="16" y="57"/>
                  </a:lnTo>
                  <a:lnTo>
                    <a:pt x="16" y="60"/>
                  </a:lnTo>
                  <a:lnTo>
                    <a:pt x="17" y="64"/>
                  </a:lnTo>
                  <a:lnTo>
                    <a:pt x="22" y="64"/>
                  </a:lnTo>
                  <a:lnTo>
                    <a:pt x="25" y="63"/>
                  </a:lnTo>
                  <a:lnTo>
                    <a:pt x="25" y="61"/>
                  </a:lnTo>
                  <a:lnTo>
                    <a:pt x="26" y="63"/>
                  </a:lnTo>
                  <a:lnTo>
                    <a:pt x="29" y="61"/>
                  </a:lnTo>
                  <a:lnTo>
                    <a:pt x="32" y="58"/>
                  </a:lnTo>
                  <a:lnTo>
                    <a:pt x="30" y="56"/>
                  </a:lnTo>
                  <a:lnTo>
                    <a:pt x="29" y="51"/>
                  </a:lnTo>
                  <a:lnTo>
                    <a:pt x="30" y="51"/>
                  </a:lnTo>
                  <a:lnTo>
                    <a:pt x="32" y="54"/>
                  </a:lnTo>
                  <a:lnTo>
                    <a:pt x="33" y="54"/>
                  </a:lnTo>
                  <a:lnTo>
                    <a:pt x="33" y="50"/>
                  </a:lnTo>
                  <a:lnTo>
                    <a:pt x="32" y="48"/>
                  </a:lnTo>
                  <a:lnTo>
                    <a:pt x="30" y="48"/>
                  </a:lnTo>
                  <a:lnTo>
                    <a:pt x="29" y="45"/>
                  </a:lnTo>
                  <a:lnTo>
                    <a:pt x="27" y="45"/>
                  </a:lnTo>
                  <a:lnTo>
                    <a:pt x="27" y="38"/>
                  </a:lnTo>
                  <a:lnTo>
                    <a:pt x="27" y="37"/>
                  </a:lnTo>
                  <a:lnTo>
                    <a:pt x="30" y="37"/>
                  </a:lnTo>
                  <a:lnTo>
                    <a:pt x="35" y="40"/>
                  </a:lnTo>
                  <a:lnTo>
                    <a:pt x="35" y="38"/>
                  </a:lnTo>
                  <a:lnTo>
                    <a:pt x="29" y="31"/>
                  </a:lnTo>
                  <a:lnTo>
                    <a:pt x="29" y="32"/>
                  </a:lnTo>
                  <a:lnTo>
                    <a:pt x="29" y="34"/>
                  </a:lnTo>
                  <a:lnTo>
                    <a:pt x="23" y="35"/>
                  </a:lnTo>
                  <a:lnTo>
                    <a:pt x="19" y="32"/>
                  </a:lnTo>
                  <a:lnTo>
                    <a:pt x="17" y="28"/>
                  </a:lnTo>
                  <a:lnTo>
                    <a:pt x="14" y="28"/>
                  </a:lnTo>
                  <a:lnTo>
                    <a:pt x="14" y="24"/>
                  </a:lnTo>
                  <a:lnTo>
                    <a:pt x="14" y="21"/>
                  </a:lnTo>
                  <a:lnTo>
                    <a:pt x="20" y="21"/>
                  </a:lnTo>
                  <a:lnTo>
                    <a:pt x="22" y="24"/>
                  </a:lnTo>
                  <a:lnTo>
                    <a:pt x="22" y="25"/>
                  </a:lnTo>
                  <a:lnTo>
                    <a:pt x="25" y="26"/>
                  </a:lnTo>
                  <a:lnTo>
                    <a:pt x="26" y="25"/>
                  </a:lnTo>
                  <a:lnTo>
                    <a:pt x="25" y="22"/>
                  </a:lnTo>
                  <a:lnTo>
                    <a:pt x="25" y="19"/>
                  </a:lnTo>
                  <a:lnTo>
                    <a:pt x="22" y="19"/>
                  </a:lnTo>
                  <a:lnTo>
                    <a:pt x="20" y="16"/>
                  </a:lnTo>
                  <a:lnTo>
                    <a:pt x="17" y="16"/>
                  </a:lnTo>
                  <a:lnTo>
                    <a:pt x="16" y="13"/>
                  </a:lnTo>
                  <a:lnTo>
                    <a:pt x="19" y="9"/>
                  </a:lnTo>
                  <a:lnTo>
                    <a:pt x="23" y="6"/>
                  </a:lnTo>
                  <a:lnTo>
                    <a:pt x="25" y="8"/>
                  </a:lnTo>
                  <a:lnTo>
                    <a:pt x="29" y="9"/>
                  </a:lnTo>
                  <a:lnTo>
                    <a:pt x="30" y="11"/>
                  </a:lnTo>
                  <a:lnTo>
                    <a:pt x="32" y="9"/>
                  </a:lnTo>
                  <a:lnTo>
                    <a:pt x="32" y="8"/>
                  </a:lnTo>
                  <a:lnTo>
                    <a:pt x="29" y="6"/>
                  </a:lnTo>
                  <a:lnTo>
                    <a:pt x="27" y="5"/>
                  </a:lnTo>
                  <a:lnTo>
                    <a:pt x="30" y="2"/>
                  </a:lnTo>
                  <a:lnTo>
                    <a:pt x="32" y="0"/>
                  </a:lnTo>
                  <a:lnTo>
                    <a:pt x="33" y="2"/>
                  </a:lnTo>
                  <a:lnTo>
                    <a:pt x="36" y="6"/>
                  </a:lnTo>
                  <a:lnTo>
                    <a:pt x="39" y="6"/>
                  </a:lnTo>
                  <a:lnTo>
                    <a:pt x="45" y="11"/>
                  </a:lnTo>
                  <a:lnTo>
                    <a:pt x="48" y="11"/>
                  </a:lnTo>
                  <a:lnTo>
                    <a:pt x="49" y="11"/>
                  </a:lnTo>
                  <a:lnTo>
                    <a:pt x="55" y="9"/>
                  </a:lnTo>
                  <a:lnTo>
                    <a:pt x="64" y="3"/>
                  </a:lnTo>
                  <a:lnTo>
                    <a:pt x="70" y="2"/>
                  </a:lnTo>
                  <a:lnTo>
                    <a:pt x="71" y="3"/>
                  </a:lnTo>
                  <a:lnTo>
                    <a:pt x="74" y="8"/>
                  </a:lnTo>
                  <a:lnTo>
                    <a:pt x="75" y="8"/>
                  </a:lnTo>
                  <a:lnTo>
                    <a:pt x="75" y="15"/>
                  </a:lnTo>
                  <a:lnTo>
                    <a:pt x="72" y="18"/>
                  </a:lnTo>
                  <a:lnTo>
                    <a:pt x="70" y="19"/>
                  </a:lnTo>
                  <a:lnTo>
                    <a:pt x="68" y="21"/>
                  </a:lnTo>
                  <a:lnTo>
                    <a:pt x="70" y="21"/>
                  </a:lnTo>
                  <a:lnTo>
                    <a:pt x="72" y="24"/>
                  </a:lnTo>
                  <a:lnTo>
                    <a:pt x="72" y="29"/>
                  </a:lnTo>
                  <a:lnTo>
                    <a:pt x="71" y="29"/>
                  </a:lnTo>
                  <a:lnTo>
                    <a:pt x="68" y="29"/>
                  </a:lnTo>
                  <a:lnTo>
                    <a:pt x="64" y="35"/>
                  </a:lnTo>
                  <a:lnTo>
                    <a:pt x="61" y="40"/>
                  </a:lnTo>
                  <a:lnTo>
                    <a:pt x="59" y="41"/>
                  </a:lnTo>
                  <a:lnTo>
                    <a:pt x="58" y="44"/>
                  </a:lnTo>
                  <a:lnTo>
                    <a:pt x="57" y="45"/>
                  </a:lnTo>
                  <a:lnTo>
                    <a:pt x="57" y="51"/>
                  </a:lnTo>
                  <a:lnTo>
                    <a:pt x="62" y="45"/>
                  </a:lnTo>
                  <a:lnTo>
                    <a:pt x="65" y="44"/>
                  </a:lnTo>
                  <a:lnTo>
                    <a:pt x="68" y="45"/>
                  </a:lnTo>
                  <a:lnTo>
                    <a:pt x="71" y="50"/>
                  </a:lnTo>
                  <a:lnTo>
                    <a:pt x="71" y="53"/>
                  </a:lnTo>
                  <a:lnTo>
                    <a:pt x="72" y="54"/>
                  </a:lnTo>
                  <a:lnTo>
                    <a:pt x="72" y="57"/>
                  </a:lnTo>
                  <a:lnTo>
                    <a:pt x="74" y="57"/>
                  </a:lnTo>
                  <a:lnTo>
                    <a:pt x="75" y="58"/>
                  </a:lnTo>
                  <a:lnTo>
                    <a:pt x="75" y="60"/>
                  </a:lnTo>
                  <a:lnTo>
                    <a:pt x="74" y="63"/>
                  </a:lnTo>
                  <a:lnTo>
                    <a:pt x="74" y="66"/>
                  </a:lnTo>
                  <a:lnTo>
                    <a:pt x="78" y="61"/>
                  </a:lnTo>
                  <a:lnTo>
                    <a:pt x="80" y="61"/>
                  </a:lnTo>
                  <a:lnTo>
                    <a:pt x="81" y="58"/>
                  </a:lnTo>
                  <a:lnTo>
                    <a:pt x="83" y="61"/>
                  </a:lnTo>
                  <a:lnTo>
                    <a:pt x="83" y="64"/>
                  </a:lnTo>
                  <a:lnTo>
                    <a:pt x="83" y="66"/>
                  </a:lnTo>
                  <a:lnTo>
                    <a:pt x="86" y="72"/>
                  </a:lnTo>
                  <a:lnTo>
                    <a:pt x="86" y="74"/>
                  </a:lnTo>
                  <a:lnTo>
                    <a:pt x="84" y="76"/>
                  </a:lnTo>
                  <a:lnTo>
                    <a:pt x="81" y="79"/>
                  </a:lnTo>
                  <a:lnTo>
                    <a:pt x="81" y="79"/>
                  </a:lnTo>
                  <a:lnTo>
                    <a:pt x="83" y="85"/>
                  </a:lnTo>
                  <a:lnTo>
                    <a:pt x="83" y="89"/>
                  </a:lnTo>
                  <a:lnTo>
                    <a:pt x="83" y="90"/>
                  </a:lnTo>
                  <a:lnTo>
                    <a:pt x="81" y="93"/>
                  </a:lnTo>
                  <a:lnTo>
                    <a:pt x="83" y="92"/>
                  </a:lnTo>
                  <a:lnTo>
                    <a:pt x="84" y="95"/>
                  </a:lnTo>
                  <a:lnTo>
                    <a:pt x="84" y="101"/>
                  </a:lnTo>
                  <a:lnTo>
                    <a:pt x="83" y="102"/>
                  </a:lnTo>
                  <a:lnTo>
                    <a:pt x="81" y="101"/>
                  </a:lnTo>
                  <a:lnTo>
                    <a:pt x="78" y="104"/>
                  </a:lnTo>
                  <a:lnTo>
                    <a:pt x="78" y="108"/>
                  </a:lnTo>
                  <a:lnTo>
                    <a:pt x="71" y="112"/>
                  </a:lnTo>
                  <a:lnTo>
                    <a:pt x="68" y="111"/>
                  </a:lnTo>
                  <a:lnTo>
                    <a:pt x="64" y="111"/>
                  </a:lnTo>
                  <a:lnTo>
                    <a:pt x="61" y="111"/>
                  </a:lnTo>
                  <a:lnTo>
                    <a:pt x="61" y="112"/>
                  </a:lnTo>
                  <a:lnTo>
                    <a:pt x="64" y="117"/>
                  </a:lnTo>
                  <a:lnTo>
                    <a:pt x="64" y="119"/>
                  </a:lnTo>
                  <a:lnTo>
                    <a:pt x="59" y="122"/>
                  </a:lnTo>
                  <a:lnTo>
                    <a:pt x="58" y="124"/>
                  </a:lnTo>
                  <a:lnTo>
                    <a:pt x="57" y="127"/>
                  </a:lnTo>
                  <a:lnTo>
                    <a:pt x="54" y="127"/>
                  </a:lnTo>
                  <a:lnTo>
                    <a:pt x="52" y="121"/>
                  </a:lnTo>
                  <a:lnTo>
                    <a:pt x="51" y="122"/>
                  </a:lnTo>
                  <a:lnTo>
                    <a:pt x="49" y="124"/>
                  </a:lnTo>
                  <a:lnTo>
                    <a:pt x="48" y="124"/>
                  </a:lnTo>
                  <a:lnTo>
                    <a:pt x="45" y="112"/>
                  </a:lnTo>
                  <a:lnTo>
                    <a:pt x="43" y="111"/>
                  </a:lnTo>
                  <a:lnTo>
                    <a:pt x="42" y="106"/>
                  </a:lnTo>
                  <a:lnTo>
                    <a:pt x="41" y="104"/>
                  </a:lnTo>
                  <a:lnTo>
                    <a:pt x="36" y="101"/>
                  </a:lnTo>
                  <a:lnTo>
                    <a:pt x="35" y="98"/>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77" name="Freeform 1134"/>
            <p:cNvSpPr>
              <a:spLocks/>
            </p:cNvSpPr>
            <p:nvPr/>
          </p:nvSpPr>
          <p:spPr bwMode="auto">
            <a:xfrm>
              <a:off x="4849670" y="1657084"/>
              <a:ext cx="9656" cy="14198"/>
            </a:xfrm>
            <a:custGeom>
              <a:avLst/>
              <a:gdLst/>
              <a:ahLst/>
              <a:cxnLst>
                <a:cxn ang="0">
                  <a:pos x="9" y="8"/>
                </a:cxn>
                <a:cxn ang="0">
                  <a:pos x="11" y="7"/>
                </a:cxn>
                <a:cxn ang="0">
                  <a:pos x="9" y="4"/>
                </a:cxn>
                <a:cxn ang="0">
                  <a:pos x="6" y="0"/>
                </a:cxn>
                <a:cxn ang="0">
                  <a:pos x="0" y="4"/>
                </a:cxn>
                <a:cxn ang="0">
                  <a:pos x="3" y="14"/>
                </a:cxn>
                <a:cxn ang="0">
                  <a:pos x="6" y="13"/>
                </a:cxn>
                <a:cxn ang="0">
                  <a:pos x="8" y="11"/>
                </a:cxn>
                <a:cxn ang="0">
                  <a:pos x="9" y="10"/>
                </a:cxn>
                <a:cxn ang="0">
                  <a:pos x="9" y="8"/>
                </a:cxn>
              </a:cxnLst>
              <a:rect l="0" t="0" r="r" b="b"/>
              <a:pathLst>
                <a:path w="11" h="14">
                  <a:moveTo>
                    <a:pt x="9" y="8"/>
                  </a:moveTo>
                  <a:lnTo>
                    <a:pt x="11" y="7"/>
                  </a:lnTo>
                  <a:lnTo>
                    <a:pt x="9" y="4"/>
                  </a:lnTo>
                  <a:lnTo>
                    <a:pt x="6" y="0"/>
                  </a:lnTo>
                  <a:lnTo>
                    <a:pt x="0" y="4"/>
                  </a:lnTo>
                  <a:lnTo>
                    <a:pt x="3" y="14"/>
                  </a:lnTo>
                  <a:lnTo>
                    <a:pt x="6" y="13"/>
                  </a:lnTo>
                  <a:lnTo>
                    <a:pt x="8" y="11"/>
                  </a:lnTo>
                  <a:lnTo>
                    <a:pt x="9" y="10"/>
                  </a:lnTo>
                  <a:lnTo>
                    <a:pt x="9" y="8"/>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78" name="Freeform 1135"/>
            <p:cNvSpPr>
              <a:spLocks/>
            </p:cNvSpPr>
            <p:nvPr/>
          </p:nvSpPr>
          <p:spPr bwMode="auto">
            <a:xfrm>
              <a:off x="4849670" y="1657084"/>
              <a:ext cx="9656" cy="14198"/>
            </a:xfrm>
            <a:custGeom>
              <a:avLst/>
              <a:gdLst/>
              <a:ahLst/>
              <a:cxnLst>
                <a:cxn ang="0">
                  <a:pos x="9" y="8"/>
                </a:cxn>
                <a:cxn ang="0">
                  <a:pos x="11" y="7"/>
                </a:cxn>
                <a:cxn ang="0">
                  <a:pos x="9" y="4"/>
                </a:cxn>
                <a:cxn ang="0">
                  <a:pos x="6" y="0"/>
                </a:cxn>
                <a:cxn ang="0">
                  <a:pos x="0" y="4"/>
                </a:cxn>
                <a:cxn ang="0">
                  <a:pos x="3" y="14"/>
                </a:cxn>
                <a:cxn ang="0">
                  <a:pos x="6" y="13"/>
                </a:cxn>
                <a:cxn ang="0">
                  <a:pos x="8" y="11"/>
                </a:cxn>
                <a:cxn ang="0">
                  <a:pos x="9" y="10"/>
                </a:cxn>
              </a:cxnLst>
              <a:rect l="0" t="0" r="r" b="b"/>
              <a:pathLst>
                <a:path w="11" h="14">
                  <a:moveTo>
                    <a:pt x="9" y="8"/>
                  </a:moveTo>
                  <a:lnTo>
                    <a:pt x="11" y="7"/>
                  </a:lnTo>
                  <a:lnTo>
                    <a:pt x="9" y="4"/>
                  </a:lnTo>
                  <a:lnTo>
                    <a:pt x="6" y="0"/>
                  </a:lnTo>
                  <a:lnTo>
                    <a:pt x="0" y="4"/>
                  </a:lnTo>
                  <a:lnTo>
                    <a:pt x="3" y="14"/>
                  </a:lnTo>
                  <a:lnTo>
                    <a:pt x="6" y="13"/>
                  </a:lnTo>
                  <a:lnTo>
                    <a:pt x="8" y="11"/>
                  </a:lnTo>
                  <a:lnTo>
                    <a:pt x="9" y="1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79" name="Freeform 1136"/>
            <p:cNvSpPr>
              <a:spLocks/>
            </p:cNvSpPr>
            <p:nvPr/>
          </p:nvSpPr>
          <p:spPr bwMode="auto">
            <a:xfrm>
              <a:off x="4821581" y="1609420"/>
              <a:ext cx="20190" cy="15212"/>
            </a:xfrm>
            <a:custGeom>
              <a:avLst/>
              <a:gdLst/>
              <a:ahLst/>
              <a:cxnLst>
                <a:cxn ang="0">
                  <a:pos x="10" y="13"/>
                </a:cxn>
                <a:cxn ang="0">
                  <a:pos x="16" y="11"/>
                </a:cxn>
                <a:cxn ang="0">
                  <a:pos x="22" y="4"/>
                </a:cxn>
                <a:cxn ang="0">
                  <a:pos x="22" y="1"/>
                </a:cxn>
                <a:cxn ang="0">
                  <a:pos x="22" y="0"/>
                </a:cxn>
                <a:cxn ang="0">
                  <a:pos x="19" y="0"/>
                </a:cxn>
                <a:cxn ang="0">
                  <a:pos x="12" y="3"/>
                </a:cxn>
                <a:cxn ang="0">
                  <a:pos x="7" y="4"/>
                </a:cxn>
                <a:cxn ang="0">
                  <a:pos x="6" y="7"/>
                </a:cxn>
                <a:cxn ang="0">
                  <a:pos x="4" y="8"/>
                </a:cxn>
                <a:cxn ang="0">
                  <a:pos x="0" y="11"/>
                </a:cxn>
                <a:cxn ang="0">
                  <a:pos x="0" y="11"/>
                </a:cxn>
                <a:cxn ang="0">
                  <a:pos x="4" y="13"/>
                </a:cxn>
                <a:cxn ang="0">
                  <a:pos x="6" y="11"/>
                </a:cxn>
                <a:cxn ang="0">
                  <a:pos x="6" y="11"/>
                </a:cxn>
                <a:cxn ang="0">
                  <a:pos x="7" y="14"/>
                </a:cxn>
                <a:cxn ang="0">
                  <a:pos x="9" y="13"/>
                </a:cxn>
                <a:cxn ang="0">
                  <a:pos x="10" y="14"/>
                </a:cxn>
                <a:cxn ang="0">
                  <a:pos x="10" y="13"/>
                </a:cxn>
              </a:cxnLst>
              <a:rect l="0" t="0" r="r" b="b"/>
              <a:pathLst>
                <a:path w="22" h="14">
                  <a:moveTo>
                    <a:pt x="10" y="13"/>
                  </a:moveTo>
                  <a:lnTo>
                    <a:pt x="16" y="11"/>
                  </a:lnTo>
                  <a:lnTo>
                    <a:pt x="22" y="4"/>
                  </a:lnTo>
                  <a:lnTo>
                    <a:pt x="22" y="1"/>
                  </a:lnTo>
                  <a:lnTo>
                    <a:pt x="22" y="0"/>
                  </a:lnTo>
                  <a:lnTo>
                    <a:pt x="19" y="0"/>
                  </a:lnTo>
                  <a:lnTo>
                    <a:pt x="12" y="3"/>
                  </a:lnTo>
                  <a:lnTo>
                    <a:pt x="7" y="4"/>
                  </a:lnTo>
                  <a:lnTo>
                    <a:pt x="6" y="7"/>
                  </a:lnTo>
                  <a:lnTo>
                    <a:pt x="4" y="8"/>
                  </a:lnTo>
                  <a:lnTo>
                    <a:pt x="0" y="11"/>
                  </a:lnTo>
                  <a:lnTo>
                    <a:pt x="0" y="11"/>
                  </a:lnTo>
                  <a:lnTo>
                    <a:pt x="4" y="13"/>
                  </a:lnTo>
                  <a:lnTo>
                    <a:pt x="6" y="11"/>
                  </a:lnTo>
                  <a:lnTo>
                    <a:pt x="6" y="11"/>
                  </a:lnTo>
                  <a:lnTo>
                    <a:pt x="7" y="14"/>
                  </a:lnTo>
                  <a:lnTo>
                    <a:pt x="9" y="13"/>
                  </a:lnTo>
                  <a:lnTo>
                    <a:pt x="10" y="14"/>
                  </a:lnTo>
                  <a:lnTo>
                    <a:pt x="10" y="1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80" name="Freeform 1138"/>
            <p:cNvSpPr>
              <a:spLocks/>
            </p:cNvSpPr>
            <p:nvPr/>
          </p:nvSpPr>
          <p:spPr bwMode="auto">
            <a:xfrm>
              <a:off x="4851425" y="1516120"/>
              <a:ext cx="14045" cy="17240"/>
            </a:xfrm>
            <a:custGeom>
              <a:avLst/>
              <a:gdLst/>
              <a:ahLst/>
              <a:cxnLst>
                <a:cxn ang="0">
                  <a:pos x="10" y="4"/>
                </a:cxn>
                <a:cxn ang="0">
                  <a:pos x="10" y="4"/>
                </a:cxn>
                <a:cxn ang="0">
                  <a:pos x="9" y="8"/>
                </a:cxn>
                <a:cxn ang="0">
                  <a:pos x="9" y="10"/>
                </a:cxn>
                <a:cxn ang="0">
                  <a:pos x="7" y="13"/>
                </a:cxn>
                <a:cxn ang="0">
                  <a:pos x="6" y="13"/>
                </a:cxn>
                <a:cxn ang="0">
                  <a:pos x="7" y="14"/>
                </a:cxn>
                <a:cxn ang="0">
                  <a:pos x="6" y="16"/>
                </a:cxn>
                <a:cxn ang="0">
                  <a:pos x="3" y="17"/>
                </a:cxn>
                <a:cxn ang="0">
                  <a:pos x="1" y="16"/>
                </a:cxn>
                <a:cxn ang="0">
                  <a:pos x="3" y="13"/>
                </a:cxn>
                <a:cxn ang="0">
                  <a:pos x="1" y="11"/>
                </a:cxn>
                <a:cxn ang="0">
                  <a:pos x="0" y="10"/>
                </a:cxn>
                <a:cxn ang="0">
                  <a:pos x="4" y="5"/>
                </a:cxn>
                <a:cxn ang="0">
                  <a:pos x="6" y="5"/>
                </a:cxn>
                <a:cxn ang="0">
                  <a:pos x="7" y="4"/>
                </a:cxn>
                <a:cxn ang="0">
                  <a:pos x="10" y="4"/>
                </a:cxn>
                <a:cxn ang="0">
                  <a:pos x="10" y="0"/>
                </a:cxn>
                <a:cxn ang="0">
                  <a:pos x="16" y="4"/>
                </a:cxn>
                <a:cxn ang="0">
                  <a:pos x="16" y="7"/>
                </a:cxn>
                <a:cxn ang="0">
                  <a:pos x="14" y="11"/>
                </a:cxn>
                <a:cxn ang="0">
                  <a:pos x="13" y="10"/>
                </a:cxn>
                <a:cxn ang="0">
                  <a:pos x="12" y="8"/>
                </a:cxn>
                <a:cxn ang="0">
                  <a:pos x="10" y="4"/>
                </a:cxn>
              </a:cxnLst>
              <a:rect l="0" t="0" r="r" b="b"/>
              <a:pathLst>
                <a:path w="16" h="17">
                  <a:moveTo>
                    <a:pt x="10" y="4"/>
                  </a:moveTo>
                  <a:lnTo>
                    <a:pt x="10" y="4"/>
                  </a:lnTo>
                  <a:lnTo>
                    <a:pt x="9" y="8"/>
                  </a:lnTo>
                  <a:lnTo>
                    <a:pt x="9" y="10"/>
                  </a:lnTo>
                  <a:lnTo>
                    <a:pt x="7" y="13"/>
                  </a:lnTo>
                  <a:lnTo>
                    <a:pt x="6" y="13"/>
                  </a:lnTo>
                  <a:lnTo>
                    <a:pt x="7" y="14"/>
                  </a:lnTo>
                  <a:lnTo>
                    <a:pt x="6" y="16"/>
                  </a:lnTo>
                  <a:lnTo>
                    <a:pt x="3" y="17"/>
                  </a:lnTo>
                  <a:lnTo>
                    <a:pt x="1" y="16"/>
                  </a:lnTo>
                  <a:lnTo>
                    <a:pt x="3" y="13"/>
                  </a:lnTo>
                  <a:lnTo>
                    <a:pt x="1" y="11"/>
                  </a:lnTo>
                  <a:lnTo>
                    <a:pt x="0" y="10"/>
                  </a:lnTo>
                  <a:lnTo>
                    <a:pt x="4" y="5"/>
                  </a:lnTo>
                  <a:lnTo>
                    <a:pt x="6" y="5"/>
                  </a:lnTo>
                  <a:lnTo>
                    <a:pt x="7" y="4"/>
                  </a:lnTo>
                  <a:lnTo>
                    <a:pt x="10" y="4"/>
                  </a:lnTo>
                  <a:lnTo>
                    <a:pt x="10" y="0"/>
                  </a:lnTo>
                  <a:lnTo>
                    <a:pt x="16" y="4"/>
                  </a:lnTo>
                  <a:lnTo>
                    <a:pt x="16" y="7"/>
                  </a:lnTo>
                  <a:lnTo>
                    <a:pt x="14" y="11"/>
                  </a:lnTo>
                  <a:lnTo>
                    <a:pt x="13" y="10"/>
                  </a:lnTo>
                  <a:lnTo>
                    <a:pt x="12" y="8"/>
                  </a:lnTo>
                  <a:lnTo>
                    <a:pt x="10"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81" name="Freeform 1139"/>
            <p:cNvSpPr>
              <a:spLocks/>
            </p:cNvSpPr>
            <p:nvPr/>
          </p:nvSpPr>
          <p:spPr bwMode="auto">
            <a:xfrm>
              <a:off x="4851425" y="1516120"/>
              <a:ext cx="14045" cy="17240"/>
            </a:xfrm>
            <a:custGeom>
              <a:avLst/>
              <a:gdLst/>
              <a:ahLst/>
              <a:cxnLst>
                <a:cxn ang="0">
                  <a:pos x="10" y="4"/>
                </a:cxn>
                <a:cxn ang="0">
                  <a:pos x="10" y="4"/>
                </a:cxn>
                <a:cxn ang="0">
                  <a:pos x="9" y="8"/>
                </a:cxn>
                <a:cxn ang="0">
                  <a:pos x="9" y="10"/>
                </a:cxn>
                <a:cxn ang="0">
                  <a:pos x="7" y="13"/>
                </a:cxn>
                <a:cxn ang="0">
                  <a:pos x="6" y="13"/>
                </a:cxn>
                <a:cxn ang="0">
                  <a:pos x="7" y="14"/>
                </a:cxn>
                <a:cxn ang="0">
                  <a:pos x="6" y="16"/>
                </a:cxn>
                <a:cxn ang="0">
                  <a:pos x="3" y="17"/>
                </a:cxn>
                <a:cxn ang="0">
                  <a:pos x="1" y="16"/>
                </a:cxn>
                <a:cxn ang="0">
                  <a:pos x="3" y="13"/>
                </a:cxn>
                <a:cxn ang="0">
                  <a:pos x="1" y="11"/>
                </a:cxn>
                <a:cxn ang="0">
                  <a:pos x="0" y="10"/>
                </a:cxn>
                <a:cxn ang="0">
                  <a:pos x="4" y="5"/>
                </a:cxn>
                <a:cxn ang="0">
                  <a:pos x="6" y="5"/>
                </a:cxn>
                <a:cxn ang="0">
                  <a:pos x="7" y="4"/>
                </a:cxn>
                <a:cxn ang="0">
                  <a:pos x="10" y="4"/>
                </a:cxn>
                <a:cxn ang="0">
                  <a:pos x="10" y="0"/>
                </a:cxn>
                <a:cxn ang="0">
                  <a:pos x="16" y="4"/>
                </a:cxn>
                <a:cxn ang="0">
                  <a:pos x="16" y="7"/>
                </a:cxn>
                <a:cxn ang="0">
                  <a:pos x="14" y="11"/>
                </a:cxn>
                <a:cxn ang="0">
                  <a:pos x="13" y="10"/>
                </a:cxn>
                <a:cxn ang="0">
                  <a:pos x="12" y="8"/>
                </a:cxn>
                <a:cxn ang="0">
                  <a:pos x="10" y="4"/>
                </a:cxn>
              </a:cxnLst>
              <a:rect l="0" t="0" r="r" b="b"/>
              <a:pathLst>
                <a:path w="16" h="17">
                  <a:moveTo>
                    <a:pt x="10" y="4"/>
                  </a:moveTo>
                  <a:lnTo>
                    <a:pt x="10" y="4"/>
                  </a:lnTo>
                  <a:lnTo>
                    <a:pt x="9" y="8"/>
                  </a:lnTo>
                  <a:lnTo>
                    <a:pt x="9" y="10"/>
                  </a:lnTo>
                  <a:lnTo>
                    <a:pt x="7" y="13"/>
                  </a:lnTo>
                  <a:lnTo>
                    <a:pt x="6" y="13"/>
                  </a:lnTo>
                  <a:lnTo>
                    <a:pt x="7" y="14"/>
                  </a:lnTo>
                  <a:lnTo>
                    <a:pt x="6" y="16"/>
                  </a:lnTo>
                  <a:lnTo>
                    <a:pt x="3" y="17"/>
                  </a:lnTo>
                  <a:lnTo>
                    <a:pt x="1" y="16"/>
                  </a:lnTo>
                  <a:lnTo>
                    <a:pt x="3" y="13"/>
                  </a:lnTo>
                  <a:lnTo>
                    <a:pt x="1" y="11"/>
                  </a:lnTo>
                  <a:lnTo>
                    <a:pt x="0" y="10"/>
                  </a:lnTo>
                  <a:lnTo>
                    <a:pt x="4" y="5"/>
                  </a:lnTo>
                  <a:lnTo>
                    <a:pt x="6" y="5"/>
                  </a:lnTo>
                  <a:lnTo>
                    <a:pt x="7" y="4"/>
                  </a:lnTo>
                  <a:lnTo>
                    <a:pt x="10" y="4"/>
                  </a:lnTo>
                  <a:lnTo>
                    <a:pt x="10" y="0"/>
                  </a:lnTo>
                  <a:lnTo>
                    <a:pt x="16" y="4"/>
                  </a:lnTo>
                  <a:lnTo>
                    <a:pt x="16" y="7"/>
                  </a:lnTo>
                  <a:lnTo>
                    <a:pt x="14" y="11"/>
                  </a:lnTo>
                  <a:lnTo>
                    <a:pt x="13" y="10"/>
                  </a:lnTo>
                  <a:lnTo>
                    <a:pt x="12" y="8"/>
                  </a:lnTo>
                  <a:lnTo>
                    <a:pt x="10"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82" name="Freeform 1140"/>
            <p:cNvSpPr>
              <a:spLocks/>
            </p:cNvSpPr>
            <p:nvPr/>
          </p:nvSpPr>
          <p:spPr bwMode="auto">
            <a:xfrm>
              <a:off x="4777690" y="1454258"/>
              <a:ext cx="70224" cy="103442"/>
            </a:xfrm>
            <a:custGeom>
              <a:avLst/>
              <a:gdLst/>
              <a:ahLst/>
              <a:cxnLst>
                <a:cxn ang="0">
                  <a:pos x="73" y="48"/>
                </a:cxn>
                <a:cxn ang="0">
                  <a:pos x="76" y="56"/>
                </a:cxn>
                <a:cxn ang="0">
                  <a:pos x="70" y="64"/>
                </a:cxn>
                <a:cxn ang="0">
                  <a:pos x="70" y="69"/>
                </a:cxn>
                <a:cxn ang="0">
                  <a:pos x="65" y="70"/>
                </a:cxn>
                <a:cxn ang="0">
                  <a:pos x="67" y="76"/>
                </a:cxn>
                <a:cxn ang="0">
                  <a:pos x="64" y="80"/>
                </a:cxn>
                <a:cxn ang="0">
                  <a:pos x="68" y="90"/>
                </a:cxn>
                <a:cxn ang="0">
                  <a:pos x="64" y="89"/>
                </a:cxn>
                <a:cxn ang="0">
                  <a:pos x="65" y="96"/>
                </a:cxn>
                <a:cxn ang="0">
                  <a:pos x="54" y="98"/>
                </a:cxn>
                <a:cxn ang="0">
                  <a:pos x="52" y="98"/>
                </a:cxn>
                <a:cxn ang="0">
                  <a:pos x="47" y="96"/>
                </a:cxn>
                <a:cxn ang="0">
                  <a:pos x="36" y="99"/>
                </a:cxn>
                <a:cxn ang="0">
                  <a:pos x="31" y="86"/>
                </a:cxn>
                <a:cxn ang="0">
                  <a:pos x="33" y="83"/>
                </a:cxn>
                <a:cxn ang="0">
                  <a:pos x="32" y="76"/>
                </a:cxn>
                <a:cxn ang="0">
                  <a:pos x="38" y="72"/>
                </a:cxn>
                <a:cxn ang="0">
                  <a:pos x="36" y="69"/>
                </a:cxn>
                <a:cxn ang="0">
                  <a:pos x="44" y="63"/>
                </a:cxn>
                <a:cxn ang="0">
                  <a:pos x="52" y="57"/>
                </a:cxn>
                <a:cxn ang="0">
                  <a:pos x="45" y="57"/>
                </a:cxn>
                <a:cxn ang="0">
                  <a:pos x="35" y="60"/>
                </a:cxn>
                <a:cxn ang="0">
                  <a:pos x="18" y="64"/>
                </a:cxn>
                <a:cxn ang="0">
                  <a:pos x="4" y="69"/>
                </a:cxn>
                <a:cxn ang="0">
                  <a:pos x="2" y="60"/>
                </a:cxn>
                <a:cxn ang="0">
                  <a:pos x="9" y="57"/>
                </a:cxn>
                <a:cxn ang="0">
                  <a:pos x="7" y="50"/>
                </a:cxn>
                <a:cxn ang="0">
                  <a:pos x="18" y="54"/>
                </a:cxn>
                <a:cxn ang="0">
                  <a:pos x="18" y="44"/>
                </a:cxn>
                <a:cxn ang="0">
                  <a:pos x="13" y="40"/>
                </a:cxn>
                <a:cxn ang="0">
                  <a:pos x="9" y="29"/>
                </a:cxn>
                <a:cxn ang="0">
                  <a:pos x="12" y="15"/>
                </a:cxn>
                <a:cxn ang="0">
                  <a:pos x="20" y="16"/>
                </a:cxn>
                <a:cxn ang="0">
                  <a:pos x="23" y="25"/>
                </a:cxn>
                <a:cxn ang="0">
                  <a:pos x="31" y="34"/>
                </a:cxn>
                <a:cxn ang="0">
                  <a:pos x="41" y="44"/>
                </a:cxn>
                <a:cxn ang="0">
                  <a:pos x="36" y="31"/>
                </a:cxn>
                <a:cxn ang="0">
                  <a:pos x="31" y="27"/>
                </a:cxn>
                <a:cxn ang="0">
                  <a:pos x="38" y="22"/>
                </a:cxn>
                <a:cxn ang="0">
                  <a:pos x="28" y="16"/>
                </a:cxn>
                <a:cxn ang="0">
                  <a:pos x="29" y="6"/>
                </a:cxn>
                <a:cxn ang="0">
                  <a:pos x="47" y="8"/>
                </a:cxn>
                <a:cxn ang="0">
                  <a:pos x="52" y="12"/>
                </a:cxn>
                <a:cxn ang="0">
                  <a:pos x="55" y="5"/>
                </a:cxn>
                <a:cxn ang="0">
                  <a:pos x="61" y="0"/>
                </a:cxn>
                <a:cxn ang="0">
                  <a:pos x="64" y="8"/>
                </a:cxn>
                <a:cxn ang="0">
                  <a:pos x="73" y="28"/>
                </a:cxn>
              </a:cxnLst>
              <a:rect l="0" t="0" r="r" b="b"/>
              <a:pathLst>
                <a:path w="76" h="99">
                  <a:moveTo>
                    <a:pt x="73" y="41"/>
                  </a:moveTo>
                  <a:lnTo>
                    <a:pt x="73" y="43"/>
                  </a:lnTo>
                  <a:lnTo>
                    <a:pt x="73" y="43"/>
                  </a:lnTo>
                  <a:lnTo>
                    <a:pt x="73" y="48"/>
                  </a:lnTo>
                  <a:lnTo>
                    <a:pt x="70" y="51"/>
                  </a:lnTo>
                  <a:lnTo>
                    <a:pt x="68" y="54"/>
                  </a:lnTo>
                  <a:lnTo>
                    <a:pt x="74" y="56"/>
                  </a:lnTo>
                  <a:lnTo>
                    <a:pt x="76" y="56"/>
                  </a:lnTo>
                  <a:lnTo>
                    <a:pt x="76" y="75"/>
                  </a:lnTo>
                  <a:lnTo>
                    <a:pt x="73" y="64"/>
                  </a:lnTo>
                  <a:lnTo>
                    <a:pt x="71" y="63"/>
                  </a:lnTo>
                  <a:lnTo>
                    <a:pt x="70" y="64"/>
                  </a:lnTo>
                  <a:lnTo>
                    <a:pt x="68" y="63"/>
                  </a:lnTo>
                  <a:lnTo>
                    <a:pt x="67" y="64"/>
                  </a:lnTo>
                  <a:lnTo>
                    <a:pt x="70" y="66"/>
                  </a:lnTo>
                  <a:lnTo>
                    <a:pt x="70" y="69"/>
                  </a:lnTo>
                  <a:lnTo>
                    <a:pt x="70" y="70"/>
                  </a:lnTo>
                  <a:lnTo>
                    <a:pt x="68" y="67"/>
                  </a:lnTo>
                  <a:lnTo>
                    <a:pt x="67" y="69"/>
                  </a:lnTo>
                  <a:lnTo>
                    <a:pt x="65" y="70"/>
                  </a:lnTo>
                  <a:lnTo>
                    <a:pt x="68" y="73"/>
                  </a:lnTo>
                  <a:lnTo>
                    <a:pt x="67" y="73"/>
                  </a:lnTo>
                  <a:lnTo>
                    <a:pt x="67" y="75"/>
                  </a:lnTo>
                  <a:lnTo>
                    <a:pt x="67" y="76"/>
                  </a:lnTo>
                  <a:lnTo>
                    <a:pt x="67" y="76"/>
                  </a:lnTo>
                  <a:lnTo>
                    <a:pt x="65" y="75"/>
                  </a:lnTo>
                  <a:lnTo>
                    <a:pt x="64" y="79"/>
                  </a:lnTo>
                  <a:lnTo>
                    <a:pt x="64" y="80"/>
                  </a:lnTo>
                  <a:lnTo>
                    <a:pt x="65" y="80"/>
                  </a:lnTo>
                  <a:lnTo>
                    <a:pt x="71" y="90"/>
                  </a:lnTo>
                  <a:lnTo>
                    <a:pt x="70" y="90"/>
                  </a:lnTo>
                  <a:lnTo>
                    <a:pt x="68" y="90"/>
                  </a:lnTo>
                  <a:lnTo>
                    <a:pt x="67" y="88"/>
                  </a:lnTo>
                  <a:lnTo>
                    <a:pt x="65" y="86"/>
                  </a:lnTo>
                  <a:lnTo>
                    <a:pt x="64" y="86"/>
                  </a:lnTo>
                  <a:lnTo>
                    <a:pt x="64" y="89"/>
                  </a:lnTo>
                  <a:lnTo>
                    <a:pt x="64" y="90"/>
                  </a:lnTo>
                  <a:lnTo>
                    <a:pt x="64" y="92"/>
                  </a:lnTo>
                  <a:lnTo>
                    <a:pt x="65" y="93"/>
                  </a:lnTo>
                  <a:lnTo>
                    <a:pt x="65" y="96"/>
                  </a:lnTo>
                  <a:lnTo>
                    <a:pt x="60" y="96"/>
                  </a:lnTo>
                  <a:lnTo>
                    <a:pt x="58" y="95"/>
                  </a:lnTo>
                  <a:lnTo>
                    <a:pt x="57" y="98"/>
                  </a:lnTo>
                  <a:lnTo>
                    <a:pt x="54" y="98"/>
                  </a:lnTo>
                  <a:lnTo>
                    <a:pt x="54" y="96"/>
                  </a:lnTo>
                  <a:lnTo>
                    <a:pt x="54" y="93"/>
                  </a:lnTo>
                  <a:lnTo>
                    <a:pt x="52" y="95"/>
                  </a:lnTo>
                  <a:lnTo>
                    <a:pt x="52" y="98"/>
                  </a:lnTo>
                  <a:lnTo>
                    <a:pt x="49" y="96"/>
                  </a:lnTo>
                  <a:lnTo>
                    <a:pt x="49" y="93"/>
                  </a:lnTo>
                  <a:lnTo>
                    <a:pt x="48" y="96"/>
                  </a:lnTo>
                  <a:lnTo>
                    <a:pt x="47" y="96"/>
                  </a:lnTo>
                  <a:lnTo>
                    <a:pt x="45" y="95"/>
                  </a:lnTo>
                  <a:lnTo>
                    <a:pt x="47" y="92"/>
                  </a:lnTo>
                  <a:lnTo>
                    <a:pt x="44" y="99"/>
                  </a:lnTo>
                  <a:lnTo>
                    <a:pt x="36" y="99"/>
                  </a:lnTo>
                  <a:lnTo>
                    <a:pt x="33" y="98"/>
                  </a:lnTo>
                  <a:lnTo>
                    <a:pt x="32" y="95"/>
                  </a:lnTo>
                  <a:lnTo>
                    <a:pt x="31" y="89"/>
                  </a:lnTo>
                  <a:lnTo>
                    <a:pt x="31" y="86"/>
                  </a:lnTo>
                  <a:lnTo>
                    <a:pt x="31" y="85"/>
                  </a:lnTo>
                  <a:lnTo>
                    <a:pt x="36" y="85"/>
                  </a:lnTo>
                  <a:lnTo>
                    <a:pt x="38" y="85"/>
                  </a:lnTo>
                  <a:lnTo>
                    <a:pt x="33" y="83"/>
                  </a:lnTo>
                  <a:lnTo>
                    <a:pt x="35" y="79"/>
                  </a:lnTo>
                  <a:lnTo>
                    <a:pt x="31" y="80"/>
                  </a:lnTo>
                  <a:lnTo>
                    <a:pt x="29" y="77"/>
                  </a:lnTo>
                  <a:lnTo>
                    <a:pt x="32" y="76"/>
                  </a:lnTo>
                  <a:lnTo>
                    <a:pt x="29" y="73"/>
                  </a:lnTo>
                  <a:lnTo>
                    <a:pt x="33" y="72"/>
                  </a:lnTo>
                  <a:lnTo>
                    <a:pt x="36" y="73"/>
                  </a:lnTo>
                  <a:lnTo>
                    <a:pt x="38" y="72"/>
                  </a:lnTo>
                  <a:lnTo>
                    <a:pt x="36" y="70"/>
                  </a:lnTo>
                  <a:lnTo>
                    <a:pt x="42" y="70"/>
                  </a:lnTo>
                  <a:lnTo>
                    <a:pt x="42" y="69"/>
                  </a:lnTo>
                  <a:lnTo>
                    <a:pt x="36" y="69"/>
                  </a:lnTo>
                  <a:lnTo>
                    <a:pt x="39" y="67"/>
                  </a:lnTo>
                  <a:lnTo>
                    <a:pt x="39" y="66"/>
                  </a:lnTo>
                  <a:lnTo>
                    <a:pt x="41" y="64"/>
                  </a:lnTo>
                  <a:lnTo>
                    <a:pt x="44" y="63"/>
                  </a:lnTo>
                  <a:lnTo>
                    <a:pt x="44" y="61"/>
                  </a:lnTo>
                  <a:lnTo>
                    <a:pt x="42" y="60"/>
                  </a:lnTo>
                  <a:lnTo>
                    <a:pt x="42" y="59"/>
                  </a:lnTo>
                  <a:lnTo>
                    <a:pt x="52" y="57"/>
                  </a:lnTo>
                  <a:lnTo>
                    <a:pt x="54" y="56"/>
                  </a:lnTo>
                  <a:lnTo>
                    <a:pt x="54" y="54"/>
                  </a:lnTo>
                  <a:lnTo>
                    <a:pt x="52" y="56"/>
                  </a:lnTo>
                  <a:lnTo>
                    <a:pt x="45" y="57"/>
                  </a:lnTo>
                  <a:lnTo>
                    <a:pt x="44" y="56"/>
                  </a:lnTo>
                  <a:lnTo>
                    <a:pt x="42" y="57"/>
                  </a:lnTo>
                  <a:lnTo>
                    <a:pt x="39" y="57"/>
                  </a:lnTo>
                  <a:lnTo>
                    <a:pt x="35" y="60"/>
                  </a:lnTo>
                  <a:lnTo>
                    <a:pt x="33" y="59"/>
                  </a:lnTo>
                  <a:lnTo>
                    <a:pt x="23" y="63"/>
                  </a:lnTo>
                  <a:lnTo>
                    <a:pt x="19" y="63"/>
                  </a:lnTo>
                  <a:lnTo>
                    <a:pt x="18" y="64"/>
                  </a:lnTo>
                  <a:lnTo>
                    <a:pt x="15" y="63"/>
                  </a:lnTo>
                  <a:lnTo>
                    <a:pt x="13" y="66"/>
                  </a:lnTo>
                  <a:lnTo>
                    <a:pt x="6" y="66"/>
                  </a:lnTo>
                  <a:lnTo>
                    <a:pt x="4" y="69"/>
                  </a:lnTo>
                  <a:lnTo>
                    <a:pt x="0" y="67"/>
                  </a:lnTo>
                  <a:lnTo>
                    <a:pt x="0" y="63"/>
                  </a:lnTo>
                  <a:lnTo>
                    <a:pt x="2" y="63"/>
                  </a:lnTo>
                  <a:lnTo>
                    <a:pt x="2" y="60"/>
                  </a:lnTo>
                  <a:lnTo>
                    <a:pt x="2" y="59"/>
                  </a:lnTo>
                  <a:lnTo>
                    <a:pt x="4" y="57"/>
                  </a:lnTo>
                  <a:lnTo>
                    <a:pt x="10" y="60"/>
                  </a:lnTo>
                  <a:lnTo>
                    <a:pt x="9" y="57"/>
                  </a:lnTo>
                  <a:lnTo>
                    <a:pt x="7" y="56"/>
                  </a:lnTo>
                  <a:lnTo>
                    <a:pt x="9" y="54"/>
                  </a:lnTo>
                  <a:lnTo>
                    <a:pt x="6" y="54"/>
                  </a:lnTo>
                  <a:lnTo>
                    <a:pt x="7" y="50"/>
                  </a:lnTo>
                  <a:lnTo>
                    <a:pt x="10" y="48"/>
                  </a:lnTo>
                  <a:lnTo>
                    <a:pt x="12" y="48"/>
                  </a:lnTo>
                  <a:lnTo>
                    <a:pt x="18" y="51"/>
                  </a:lnTo>
                  <a:lnTo>
                    <a:pt x="18" y="54"/>
                  </a:lnTo>
                  <a:lnTo>
                    <a:pt x="22" y="53"/>
                  </a:lnTo>
                  <a:lnTo>
                    <a:pt x="20" y="48"/>
                  </a:lnTo>
                  <a:lnTo>
                    <a:pt x="16" y="45"/>
                  </a:lnTo>
                  <a:lnTo>
                    <a:pt x="18" y="44"/>
                  </a:lnTo>
                  <a:lnTo>
                    <a:pt x="19" y="41"/>
                  </a:lnTo>
                  <a:lnTo>
                    <a:pt x="19" y="40"/>
                  </a:lnTo>
                  <a:lnTo>
                    <a:pt x="13" y="43"/>
                  </a:lnTo>
                  <a:lnTo>
                    <a:pt x="13" y="40"/>
                  </a:lnTo>
                  <a:lnTo>
                    <a:pt x="12" y="35"/>
                  </a:lnTo>
                  <a:lnTo>
                    <a:pt x="12" y="32"/>
                  </a:lnTo>
                  <a:lnTo>
                    <a:pt x="12" y="29"/>
                  </a:lnTo>
                  <a:lnTo>
                    <a:pt x="9" y="29"/>
                  </a:lnTo>
                  <a:lnTo>
                    <a:pt x="9" y="22"/>
                  </a:lnTo>
                  <a:lnTo>
                    <a:pt x="12" y="18"/>
                  </a:lnTo>
                  <a:lnTo>
                    <a:pt x="10" y="18"/>
                  </a:lnTo>
                  <a:lnTo>
                    <a:pt x="12" y="15"/>
                  </a:lnTo>
                  <a:lnTo>
                    <a:pt x="13" y="13"/>
                  </a:lnTo>
                  <a:lnTo>
                    <a:pt x="19" y="15"/>
                  </a:lnTo>
                  <a:lnTo>
                    <a:pt x="20" y="15"/>
                  </a:lnTo>
                  <a:lnTo>
                    <a:pt x="20" y="16"/>
                  </a:lnTo>
                  <a:lnTo>
                    <a:pt x="20" y="19"/>
                  </a:lnTo>
                  <a:lnTo>
                    <a:pt x="22" y="19"/>
                  </a:lnTo>
                  <a:lnTo>
                    <a:pt x="25" y="22"/>
                  </a:lnTo>
                  <a:lnTo>
                    <a:pt x="23" y="25"/>
                  </a:lnTo>
                  <a:lnTo>
                    <a:pt x="28" y="32"/>
                  </a:lnTo>
                  <a:lnTo>
                    <a:pt x="28" y="34"/>
                  </a:lnTo>
                  <a:lnTo>
                    <a:pt x="29" y="35"/>
                  </a:lnTo>
                  <a:lnTo>
                    <a:pt x="31" y="34"/>
                  </a:lnTo>
                  <a:lnTo>
                    <a:pt x="32" y="34"/>
                  </a:lnTo>
                  <a:lnTo>
                    <a:pt x="31" y="37"/>
                  </a:lnTo>
                  <a:lnTo>
                    <a:pt x="38" y="43"/>
                  </a:lnTo>
                  <a:lnTo>
                    <a:pt x="41" y="44"/>
                  </a:lnTo>
                  <a:lnTo>
                    <a:pt x="44" y="41"/>
                  </a:lnTo>
                  <a:lnTo>
                    <a:pt x="44" y="41"/>
                  </a:lnTo>
                  <a:lnTo>
                    <a:pt x="41" y="41"/>
                  </a:lnTo>
                  <a:lnTo>
                    <a:pt x="36" y="31"/>
                  </a:lnTo>
                  <a:lnTo>
                    <a:pt x="41" y="29"/>
                  </a:lnTo>
                  <a:lnTo>
                    <a:pt x="39" y="28"/>
                  </a:lnTo>
                  <a:lnTo>
                    <a:pt x="33" y="28"/>
                  </a:lnTo>
                  <a:lnTo>
                    <a:pt x="31" y="27"/>
                  </a:lnTo>
                  <a:lnTo>
                    <a:pt x="32" y="25"/>
                  </a:lnTo>
                  <a:lnTo>
                    <a:pt x="35" y="25"/>
                  </a:lnTo>
                  <a:lnTo>
                    <a:pt x="36" y="22"/>
                  </a:lnTo>
                  <a:lnTo>
                    <a:pt x="38" y="22"/>
                  </a:lnTo>
                  <a:lnTo>
                    <a:pt x="36" y="22"/>
                  </a:lnTo>
                  <a:lnTo>
                    <a:pt x="33" y="19"/>
                  </a:lnTo>
                  <a:lnTo>
                    <a:pt x="29" y="19"/>
                  </a:lnTo>
                  <a:lnTo>
                    <a:pt x="28" y="16"/>
                  </a:lnTo>
                  <a:lnTo>
                    <a:pt x="25" y="12"/>
                  </a:lnTo>
                  <a:lnTo>
                    <a:pt x="25" y="11"/>
                  </a:lnTo>
                  <a:lnTo>
                    <a:pt x="28" y="9"/>
                  </a:lnTo>
                  <a:lnTo>
                    <a:pt x="29" y="6"/>
                  </a:lnTo>
                  <a:lnTo>
                    <a:pt x="33" y="2"/>
                  </a:lnTo>
                  <a:lnTo>
                    <a:pt x="39" y="3"/>
                  </a:lnTo>
                  <a:lnTo>
                    <a:pt x="44" y="2"/>
                  </a:lnTo>
                  <a:lnTo>
                    <a:pt x="47" y="8"/>
                  </a:lnTo>
                  <a:lnTo>
                    <a:pt x="52" y="9"/>
                  </a:lnTo>
                  <a:lnTo>
                    <a:pt x="52" y="12"/>
                  </a:lnTo>
                  <a:lnTo>
                    <a:pt x="52" y="13"/>
                  </a:lnTo>
                  <a:lnTo>
                    <a:pt x="52" y="12"/>
                  </a:lnTo>
                  <a:lnTo>
                    <a:pt x="55" y="13"/>
                  </a:lnTo>
                  <a:lnTo>
                    <a:pt x="57" y="11"/>
                  </a:lnTo>
                  <a:lnTo>
                    <a:pt x="55" y="6"/>
                  </a:lnTo>
                  <a:lnTo>
                    <a:pt x="55" y="5"/>
                  </a:lnTo>
                  <a:lnTo>
                    <a:pt x="60" y="5"/>
                  </a:lnTo>
                  <a:lnTo>
                    <a:pt x="61" y="2"/>
                  </a:lnTo>
                  <a:lnTo>
                    <a:pt x="57" y="0"/>
                  </a:lnTo>
                  <a:lnTo>
                    <a:pt x="61" y="0"/>
                  </a:lnTo>
                  <a:lnTo>
                    <a:pt x="63" y="3"/>
                  </a:lnTo>
                  <a:lnTo>
                    <a:pt x="65" y="6"/>
                  </a:lnTo>
                  <a:lnTo>
                    <a:pt x="63" y="6"/>
                  </a:lnTo>
                  <a:lnTo>
                    <a:pt x="64" y="8"/>
                  </a:lnTo>
                  <a:lnTo>
                    <a:pt x="68" y="9"/>
                  </a:lnTo>
                  <a:lnTo>
                    <a:pt x="71" y="12"/>
                  </a:lnTo>
                  <a:lnTo>
                    <a:pt x="71" y="24"/>
                  </a:lnTo>
                  <a:lnTo>
                    <a:pt x="73" y="28"/>
                  </a:lnTo>
                  <a:lnTo>
                    <a:pt x="73" y="32"/>
                  </a:lnTo>
                  <a:lnTo>
                    <a:pt x="73" y="38"/>
                  </a:lnTo>
                  <a:lnTo>
                    <a:pt x="73" y="4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83" name="Freeform 1142"/>
            <p:cNvSpPr>
              <a:spLocks/>
            </p:cNvSpPr>
            <p:nvPr/>
          </p:nvSpPr>
          <p:spPr bwMode="auto">
            <a:xfrm>
              <a:off x="4780323" y="1369071"/>
              <a:ext cx="21067" cy="14198"/>
            </a:xfrm>
            <a:custGeom>
              <a:avLst/>
              <a:gdLst/>
              <a:ahLst/>
              <a:cxnLst>
                <a:cxn ang="0">
                  <a:pos x="9" y="1"/>
                </a:cxn>
                <a:cxn ang="0">
                  <a:pos x="12" y="0"/>
                </a:cxn>
                <a:cxn ang="0">
                  <a:pos x="22" y="8"/>
                </a:cxn>
                <a:cxn ang="0">
                  <a:pos x="23" y="11"/>
                </a:cxn>
                <a:cxn ang="0">
                  <a:pos x="19" y="10"/>
                </a:cxn>
                <a:cxn ang="0">
                  <a:pos x="15" y="11"/>
                </a:cxn>
                <a:cxn ang="0">
                  <a:pos x="13" y="13"/>
                </a:cxn>
                <a:cxn ang="0">
                  <a:pos x="7" y="14"/>
                </a:cxn>
                <a:cxn ang="0">
                  <a:pos x="0" y="5"/>
                </a:cxn>
                <a:cxn ang="0">
                  <a:pos x="0" y="2"/>
                </a:cxn>
                <a:cxn ang="0">
                  <a:pos x="4" y="1"/>
                </a:cxn>
                <a:cxn ang="0">
                  <a:pos x="9" y="1"/>
                </a:cxn>
              </a:cxnLst>
              <a:rect l="0" t="0" r="r" b="b"/>
              <a:pathLst>
                <a:path w="23" h="14">
                  <a:moveTo>
                    <a:pt x="9" y="1"/>
                  </a:moveTo>
                  <a:lnTo>
                    <a:pt x="12" y="0"/>
                  </a:lnTo>
                  <a:lnTo>
                    <a:pt x="22" y="8"/>
                  </a:lnTo>
                  <a:lnTo>
                    <a:pt x="23" y="11"/>
                  </a:lnTo>
                  <a:lnTo>
                    <a:pt x="19" y="10"/>
                  </a:lnTo>
                  <a:lnTo>
                    <a:pt x="15" y="11"/>
                  </a:lnTo>
                  <a:lnTo>
                    <a:pt x="13" y="13"/>
                  </a:lnTo>
                  <a:lnTo>
                    <a:pt x="7" y="14"/>
                  </a:lnTo>
                  <a:lnTo>
                    <a:pt x="0" y="5"/>
                  </a:lnTo>
                  <a:lnTo>
                    <a:pt x="0" y="2"/>
                  </a:lnTo>
                  <a:lnTo>
                    <a:pt x="4" y="1"/>
                  </a:lnTo>
                  <a:lnTo>
                    <a:pt x="9"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84" name="Freeform 1143"/>
            <p:cNvSpPr>
              <a:spLocks/>
            </p:cNvSpPr>
            <p:nvPr/>
          </p:nvSpPr>
          <p:spPr bwMode="auto">
            <a:xfrm>
              <a:off x="4780323" y="1369071"/>
              <a:ext cx="21067" cy="14198"/>
            </a:xfrm>
            <a:custGeom>
              <a:avLst/>
              <a:gdLst/>
              <a:ahLst/>
              <a:cxnLst>
                <a:cxn ang="0">
                  <a:pos x="9" y="1"/>
                </a:cxn>
                <a:cxn ang="0">
                  <a:pos x="12" y="0"/>
                </a:cxn>
                <a:cxn ang="0">
                  <a:pos x="22" y="8"/>
                </a:cxn>
                <a:cxn ang="0">
                  <a:pos x="23" y="11"/>
                </a:cxn>
                <a:cxn ang="0">
                  <a:pos x="19" y="10"/>
                </a:cxn>
                <a:cxn ang="0">
                  <a:pos x="15" y="11"/>
                </a:cxn>
                <a:cxn ang="0">
                  <a:pos x="13" y="13"/>
                </a:cxn>
                <a:cxn ang="0">
                  <a:pos x="7" y="14"/>
                </a:cxn>
                <a:cxn ang="0">
                  <a:pos x="0" y="5"/>
                </a:cxn>
                <a:cxn ang="0">
                  <a:pos x="0" y="2"/>
                </a:cxn>
                <a:cxn ang="0">
                  <a:pos x="4" y="1"/>
                </a:cxn>
                <a:cxn ang="0">
                  <a:pos x="9" y="1"/>
                </a:cxn>
              </a:cxnLst>
              <a:rect l="0" t="0" r="r" b="b"/>
              <a:pathLst>
                <a:path w="23" h="14">
                  <a:moveTo>
                    <a:pt x="9" y="1"/>
                  </a:moveTo>
                  <a:lnTo>
                    <a:pt x="12" y="0"/>
                  </a:lnTo>
                  <a:lnTo>
                    <a:pt x="22" y="8"/>
                  </a:lnTo>
                  <a:lnTo>
                    <a:pt x="23" y="11"/>
                  </a:lnTo>
                  <a:lnTo>
                    <a:pt x="19" y="10"/>
                  </a:lnTo>
                  <a:lnTo>
                    <a:pt x="15" y="11"/>
                  </a:lnTo>
                  <a:lnTo>
                    <a:pt x="13" y="13"/>
                  </a:lnTo>
                  <a:lnTo>
                    <a:pt x="7" y="14"/>
                  </a:lnTo>
                  <a:lnTo>
                    <a:pt x="0" y="5"/>
                  </a:lnTo>
                  <a:lnTo>
                    <a:pt x="0" y="2"/>
                  </a:lnTo>
                  <a:lnTo>
                    <a:pt x="4" y="1"/>
                  </a:lnTo>
                  <a:lnTo>
                    <a:pt x="9"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85" name="Freeform 1144"/>
            <p:cNvSpPr>
              <a:spLocks/>
            </p:cNvSpPr>
            <p:nvPr/>
          </p:nvSpPr>
          <p:spPr bwMode="auto">
            <a:xfrm>
              <a:off x="4736433" y="1382255"/>
              <a:ext cx="21067" cy="45636"/>
            </a:xfrm>
            <a:custGeom>
              <a:avLst/>
              <a:gdLst/>
              <a:ahLst/>
              <a:cxnLst>
                <a:cxn ang="0">
                  <a:pos x="13" y="13"/>
                </a:cxn>
                <a:cxn ang="0">
                  <a:pos x="15" y="17"/>
                </a:cxn>
                <a:cxn ang="0">
                  <a:pos x="15" y="20"/>
                </a:cxn>
                <a:cxn ang="0">
                  <a:pos x="15" y="21"/>
                </a:cxn>
                <a:cxn ang="0">
                  <a:pos x="19" y="23"/>
                </a:cxn>
                <a:cxn ang="0">
                  <a:pos x="19" y="24"/>
                </a:cxn>
                <a:cxn ang="0">
                  <a:pos x="23" y="29"/>
                </a:cxn>
                <a:cxn ang="0">
                  <a:pos x="22" y="32"/>
                </a:cxn>
                <a:cxn ang="0">
                  <a:pos x="23" y="35"/>
                </a:cxn>
                <a:cxn ang="0">
                  <a:pos x="23" y="37"/>
                </a:cxn>
                <a:cxn ang="0">
                  <a:pos x="22" y="40"/>
                </a:cxn>
                <a:cxn ang="0">
                  <a:pos x="20" y="40"/>
                </a:cxn>
                <a:cxn ang="0">
                  <a:pos x="19" y="43"/>
                </a:cxn>
                <a:cxn ang="0">
                  <a:pos x="15" y="39"/>
                </a:cxn>
                <a:cxn ang="0">
                  <a:pos x="12" y="39"/>
                </a:cxn>
                <a:cxn ang="0">
                  <a:pos x="4" y="19"/>
                </a:cxn>
                <a:cxn ang="0">
                  <a:pos x="4" y="17"/>
                </a:cxn>
                <a:cxn ang="0">
                  <a:pos x="0" y="3"/>
                </a:cxn>
                <a:cxn ang="0">
                  <a:pos x="0" y="0"/>
                </a:cxn>
                <a:cxn ang="0">
                  <a:pos x="2" y="1"/>
                </a:cxn>
                <a:cxn ang="0">
                  <a:pos x="6" y="3"/>
                </a:cxn>
                <a:cxn ang="0">
                  <a:pos x="7" y="4"/>
                </a:cxn>
                <a:cxn ang="0">
                  <a:pos x="9" y="7"/>
                </a:cxn>
                <a:cxn ang="0">
                  <a:pos x="12" y="10"/>
                </a:cxn>
                <a:cxn ang="0">
                  <a:pos x="13" y="13"/>
                </a:cxn>
                <a:cxn ang="0">
                  <a:pos x="13" y="13"/>
                </a:cxn>
              </a:cxnLst>
              <a:rect l="0" t="0" r="r" b="b"/>
              <a:pathLst>
                <a:path w="23" h="43">
                  <a:moveTo>
                    <a:pt x="13" y="13"/>
                  </a:moveTo>
                  <a:lnTo>
                    <a:pt x="15" y="17"/>
                  </a:lnTo>
                  <a:lnTo>
                    <a:pt x="15" y="20"/>
                  </a:lnTo>
                  <a:lnTo>
                    <a:pt x="15" y="21"/>
                  </a:lnTo>
                  <a:lnTo>
                    <a:pt x="19" y="23"/>
                  </a:lnTo>
                  <a:lnTo>
                    <a:pt x="19" y="24"/>
                  </a:lnTo>
                  <a:lnTo>
                    <a:pt x="23" y="29"/>
                  </a:lnTo>
                  <a:lnTo>
                    <a:pt x="22" y="32"/>
                  </a:lnTo>
                  <a:lnTo>
                    <a:pt x="23" y="35"/>
                  </a:lnTo>
                  <a:lnTo>
                    <a:pt x="23" y="37"/>
                  </a:lnTo>
                  <a:lnTo>
                    <a:pt x="22" y="40"/>
                  </a:lnTo>
                  <a:lnTo>
                    <a:pt x="20" y="40"/>
                  </a:lnTo>
                  <a:lnTo>
                    <a:pt x="19" y="43"/>
                  </a:lnTo>
                  <a:lnTo>
                    <a:pt x="15" y="39"/>
                  </a:lnTo>
                  <a:lnTo>
                    <a:pt x="12" y="39"/>
                  </a:lnTo>
                  <a:lnTo>
                    <a:pt x="4" y="19"/>
                  </a:lnTo>
                  <a:lnTo>
                    <a:pt x="4" y="17"/>
                  </a:lnTo>
                  <a:lnTo>
                    <a:pt x="0" y="3"/>
                  </a:lnTo>
                  <a:lnTo>
                    <a:pt x="0" y="0"/>
                  </a:lnTo>
                  <a:lnTo>
                    <a:pt x="2" y="1"/>
                  </a:lnTo>
                  <a:lnTo>
                    <a:pt x="6" y="3"/>
                  </a:lnTo>
                  <a:lnTo>
                    <a:pt x="7" y="4"/>
                  </a:lnTo>
                  <a:lnTo>
                    <a:pt x="9" y="7"/>
                  </a:lnTo>
                  <a:lnTo>
                    <a:pt x="12" y="10"/>
                  </a:lnTo>
                  <a:lnTo>
                    <a:pt x="13" y="13"/>
                  </a:lnTo>
                  <a:lnTo>
                    <a:pt x="13" y="1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86" name="Freeform 1145"/>
            <p:cNvSpPr>
              <a:spLocks/>
            </p:cNvSpPr>
            <p:nvPr/>
          </p:nvSpPr>
          <p:spPr bwMode="auto">
            <a:xfrm>
              <a:off x="4736433" y="1382255"/>
              <a:ext cx="21067" cy="45636"/>
            </a:xfrm>
            <a:custGeom>
              <a:avLst/>
              <a:gdLst/>
              <a:ahLst/>
              <a:cxnLst>
                <a:cxn ang="0">
                  <a:pos x="13" y="13"/>
                </a:cxn>
                <a:cxn ang="0">
                  <a:pos x="15" y="17"/>
                </a:cxn>
                <a:cxn ang="0">
                  <a:pos x="15" y="20"/>
                </a:cxn>
                <a:cxn ang="0">
                  <a:pos x="15" y="21"/>
                </a:cxn>
                <a:cxn ang="0">
                  <a:pos x="19" y="23"/>
                </a:cxn>
                <a:cxn ang="0">
                  <a:pos x="19" y="24"/>
                </a:cxn>
                <a:cxn ang="0">
                  <a:pos x="23" y="29"/>
                </a:cxn>
                <a:cxn ang="0">
                  <a:pos x="22" y="32"/>
                </a:cxn>
                <a:cxn ang="0">
                  <a:pos x="23" y="35"/>
                </a:cxn>
                <a:cxn ang="0">
                  <a:pos x="23" y="37"/>
                </a:cxn>
                <a:cxn ang="0">
                  <a:pos x="22" y="40"/>
                </a:cxn>
                <a:cxn ang="0">
                  <a:pos x="20" y="40"/>
                </a:cxn>
                <a:cxn ang="0">
                  <a:pos x="19" y="43"/>
                </a:cxn>
                <a:cxn ang="0">
                  <a:pos x="15" y="39"/>
                </a:cxn>
                <a:cxn ang="0">
                  <a:pos x="12" y="39"/>
                </a:cxn>
                <a:cxn ang="0">
                  <a:pos x="4" y="19"/>
                </a:cxn>
                <a:cxn ang="0">
                  <a:pos x="4" y="17"/>
                </a:cxn>
                <a:cxn ang="0">
                  <a:pos x="0" y="3"/>
                </a:cxn>
                <a:cxn ang="0">
                  <a:pos x="0" y="0"/>
                </a:cxn>
                <a:cxn ang="0">
                  <a:pos x="2" y="1"/>
                </a:cxn>
                <a:cxn ang="0">
                  <a:pos x="6" y="3"/>
                </a:cxn>
                <a:cxn ang="0">
                  <a:pos x="7" y="4"/>
                </a:cxn>
                <a:cxn ang="0">
                  <a:pos x="9" y="7"/>
                </a:cxn>
                <a:cxn ang="0">
                  <a:pos x="12" y="10"/>
                </a:cxn>
                <a:cxn ang="0">
                  <a:pos x="13" y="13"/>
                </a:cxn>
                <a:cxn ang="0">
                  <a:pos x="13" y="13"/>
                </a:cxn>
              </a:cxnLst>
              <a:rect l="0" t="0" r="r" b="b"/>
              <a:pathLst>
                <a:path w="23" h="43">
                  <a:moveTo>
                    <a:pt x="13" y="13"/>
                  </a:moveTo>
                  <a:lnTo>
                    <a:pt x="15" y="17"/>
                  </a:lnTo>
                  <a:lnTo>
                    <a:pt x="15" y="20"/>
                  </a:lnTo>
                  <a:lnTo>
                    <a:pt x="15" y="21"/>
                  </a:lnTo>
                  <a:lnTo>
                    <a:pt x="19" y="23"/>
                  </a:lnTo>
                  <a:lnTo>
                    <a:pt x="19" y="24"/>
                  </a:lnTo>
                  <a:lnTo>
                    <a:pt x="23" y="29"/>
                  </a:lnTo>
                  <a:lnTo>
                    <a:pt x="22" y="32"/>
                  </a:lnTo>
                  <a:lnTo>
                    <a:pt x="23" y="35"/>
                  </a:lnTo>
                  <a:lnTo>
                    <a:pt x="23" y="37"/>
                  </a:lnTo>
                  <a:lnTo>
                    <a:pt x="22" y="40"/>
                  </a:lnTo>
                  <a:lnTo>
                    <a:pt x="20" y="40"/>
                  </a:lnTo>
                  <a:lnTo>
                    <a:pt x="19" y="43"/>
                  </a:lnTo>
                  <a:lnTo>
                    <a:pt x="15" y="39"/>
                  </a:lnTo>
                  <a:lnTo>
                    <a:pt x="12" y="39"/>
                  </a:lnTo>
                  <a:lnTo>
                    <a:pt x="4" y="19"/>
                  </a:lnTo>
                  <a:lnTo>
                    <a:pt x="4" y="17"/>
                  </a:lnTo>
                  <a:lnTo>
                    <a:pt x="0" y="3"/>
                  </a:lnTo>
                  <a:lnTo>
                    <a:pt x="0" y="0"/>
                  </a:lnTo>
                  <a:lnTo>
                    <a:pt x="2" y="1"/>
                  </a:lnTo>
                  <a:lnTo>
                    <a:pt x="6" y="3"/>
                  </a:lnTo>
                  <a:lnTo>
                    <a:pt x="7" y="4"/>
                  </a:lnTo>
                  <a:lnTo>
                    <a:pt x="9" y="7"/>
                  </a:lnTo>
                  <a:lnTo>
                    <a:pt x="12" y="10"/>
                  </a:lnTo>
                  <a:lnTo>
                    <a:pt x="13" y="13"/>
                  </a:lnTo>
                  <a:lnTo>
                    <a:pt x="13" y="1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87" name="Freeform 1146"/>
            <p:cNvSpPr>
              <a:spLocks/>
            </p:cNvSpPr>
            <p:nvPr/>
          </p:nvSpPr>
          <p:spPr bwMode="auto">
            <a:xfrm>
              <a:off x="4752234" y="1456286"/>
              <a:ext cx="21945" cy="23326"/>
            </a:xfrm>
            <a:custGeom>
              <a:avLst/>
              <a:gdLst/>
              <a:ahLst/>
              <a:cxnLst>
                <a:cxn ang="0">
                  <a:pos x="11" y="4"/>
                </a:cxn>
                <a:cxn ang="0">
                  <a:pos x="12" y="4"/>
                </a:cxn>
                <a:cxn ang="0">
                  <a:pos x="12" y="1"/>
                </a:cxn>
                <a:cxn ang="0">
                  <a:pos x="16" y="6"/>
                </a:cxn>
                <a:cxn ang="0">
                  <a:pos x="16" y="9"/>
                </a:cxn>
                <a:cxn ang="0">
                  <a:pos x="19" y="10"/>
                </a:cxn>
                <a:cxn ang="0">
                  <a:pos x="24" y="16"/>
                </a:cxn>
                <a:cxn ang="0">
                  <a:pos x="22" y="19"/>
                </a:cxn>
                <a:cxn ang="0">
                  <a:pos x="15" y="22"/>
                </a:cxn>
                <a:cxn ang="0">
                  <a:pos x="6" y="20"/>
                </a:cxn>
                <a:cxn ang="0">
                  <a:pos x="3" y="14"/>
                </a:cxn>
                <a:cxn ang="0">
                  <a:pos x="5" y="13"/>
                </a:cxn>
                <a:cxn ang="0">
                  <a:pos x="5" y="9"/>
                </a:cxn>
                <a:cxn ang="0">
                  <a:pos x="3" y="10"/>
                </a:cxn>
                <a:cxn ang="0">
                  <a:pos x="3" y="10"/>
                </a:cxn>
                <a:cxn ang="0">
                  <a:pos x="3" y="7"/>
                </a:cxn>
                <a:cxn ang="0">
                  <a:pos x="0" y="7"/>
                </a:cxn>
                <a:cxn ang="0">
                  <a:pos x="0" y="4"/>
                </a:cxn>
                <a:cxn ang="0">
                  <a:pos x="3" y="1"/>
                </a:cxn>
                <a:cxn ang="0">
                  <a:pos x="8" y="0"/>
                </a:cxn>
                <a:cxn ang="0">
                  <a:pos x="11" y="0"/>
                </a:cxn>
                <a:cxn ang="0">
                  <a:pos x="12" y="1"/>
                </a:cxn>
                <a:cxn ang="0">
                  <a:pos x="11" y="4"/>
                </a:cxn>
              </a:cxnLst>
              <a:rect l="0" t="0" r="r" b="b"/>
              <a:pathLst>
                <a:path w="24" h="22">
                  <a:moveTo>
                    <a:pt x="11" y="4"/>
                  </a:moveTo>
                  <a:lnTo>
                    <a:pt x="12" y="4"/>
                  </a:lnTo>
                  <a:lnTo>
                    <a:pt x="12" y="1"/>
                  </a:lnTo>
                  <a:lnTo>
                    <a:pt x="16" y="6"/>
                  </a:lnTo>
                  <a:lnTo>
                    <a:pt x="16" y="9"/>
                  </a:lnTo>
                  <a:lnTo>
                    <a:pt x="19" y="10"/>
                  </a:lnTo>
                  <a:lnTo>
                    <a:pt x="24" y="16"/>
                  </a:lnTo>
                  <a:lnTo>
                    <a:pt x="22" y="19"/>
                  </a:lnTo>
                  <a:lnTo>
                    <a:pt x="15" y="22"/>
                  </a:lnTo>
                  <a:lnTo>
                    <a:pt x="6" y="20"/>
                  </a:lnTo>
                  <a:lnTo>
                    <a:pt x="3" y="14"/>
                  </a:lnTo>
                  <a:lnTo>
                    <a:pt x="5" y="13"/>
                  </a:lnTo>
                  <a:lnTo>
                    <a:pt x="5" y="9"/>
                  </a:lnTo>
                  <a:lnTo>
                    <a:pt x="3" y="10"/>
                  </a:lnTo>
                  <a:lnTo>
                    <a:pt x="3" y="10"/>
                  </a:lnTo>
                  <a:lnTo>
                    <a:pt x="3" y="7"/>
                  </a:lnTo>
                  <a:lnTo>
                    <a:pt x="0" y="7"/>
                  </a:lnTo>
                  <a:lnTo>
                    <a:pt x="0" y="4"/>
                  </a:lnTo>
                  <a:lnTo>
                    <a:pt x="3" y="1"/>
                  </a:lnTo>
                  <a:lnTo>
                    <a:pt x="8" y="0"/>
                  </a:lnTo>
                  <a:lnTo>
                    <a:pt x="11" y="0"/>
                  </a:lnTo>
                  <a:lnTo>
                    <a:pt x="12" y="1"/>
                  </a:lnTo>
                  <a:lnTo>
                    <a:pt x="11"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88" name="Freeform 1148"/>
            <p:cNvSpPr>
              <a:spLocks/>
            </p:cNvSpPr>
            <p:nvPr/>
          </p:nvSpPr>
          <p:spPr bwMode="auto">
            <a:xfrm>
              <a:off x="4754867" y="1477583"/>
              <a:ext cx="25457" cy="16226"/>
            </a:xfrm>
            <a:custGeom>
              <a:avLst/>
              <a:gdLst/>
              <a:ahLst/>
              <a:cxnLst>
                <a:cxn ang="0">
                  <a:pos x="22" y="0"/>
                </a:cxn>
                <a:cxn ang="0">
                  <a:pos x="25" y="0"/>
                </a:cxn>
                <a:cxn ang="0">
                  <a:pos x="27" y="3"/>
                </a:cxn>
                <a:cxn ang="0">
                  <a:pos x="28" y="5"/>
                </a:cxn>
                <a:cxn ang="0">
                  <a:pos x="28" y="9"/>
                </a:cxn>
                <a:cxn ang="0">
                  <a:pos x="27" y="12"/>
                </a:cxn>
                <a:cxn ang="0">
                  <a:pos x="18" y="16"/>
                </a:cxn>
                <a:cxn ang="0">
                  <a:pos x="8" y="16"/>
                </a:cxn>
                <a:cxn ang="0">
                  <a:pos x="8" y="15"/>
                </a:cxn>
                <a:cxn ang="0">
                  <a:pos x="8" y="15"/>
                </a:cxn>
                <a:cxn ang="0">
                  <a:pos x="6" y="16"/>
                </a:cxn>
                <a:cxn ang="0">
                  <a:pos x="3" y="13"/>
                </a:cxn>
                <a:cxn ang="0">
                  <a:pos x="2" y="13"/>
                </a:cxn>
                <a:cxn ang="0">
                  <a:pos x="0" y="9"/>
                </a:cxn>
                <a:cxn ang="0">
                  <a:pos x="2" y="7"/>
                </a:cxn>
                <a:cxn ang="0">
                  <a:pos x="2" y="6"/>
                </a:cxn>
                <a:cxn ang="0">
                  <a:pos x="8" y="5"/>
                </a:cxn>
                <a:cxn ang="0">
                  <a:pos x="21" y="0"/>
                </a:cxn>
                <a:cxn ang="0">
                  <a:pos x="22" y="0"/>
                </a:cxn>
              </a:cxnLst>
              <a:rect l="0" t="0" r="r" b="b"/>
              <a:pathLst>
                <a:path w="28" h="16">
                  <a:moveTo>
                    <a:pt x="22" y="0"/>
                  </a:moveTo>
                  <a:lnTo>
                    <a:pt x="25" y="0"/>
                  </a:lnTo>
                  <a:lnTo>
                    <a:pt x="27" y="3"/>
                  </a:lnTo>
                  <a:lnTo>
                    <a:pt x="28" y="5"/>
                  </a:lnTo>
                  <a:lnTo>
                    <a:pt x="28" y="9"/>
                  </a:lnTo>
                  <a:lnTo>
                    <a:pt x="27" y="12"/>
                  </a:lnTo>
                  <a:lnTo>
                    <a:pt x="18" y="16"/>
                  </a:lnTo>
                  <a:lnTo>
                    <a:pt x="8" y="16"/>
                  </a:lnTo>
                  <a:lnTo>
                    <a:pt x="8" y="15"/>
                  </a:lnTo>
                  <a:lnTo>
                    <a:pt x="8" y="15"/>
                  </a:lnTo>
                  <a:lnTo>
                    <a:pt x="6" y="16"/>
                  </a:lnTo>
                  <a:lnTo>
                    <a:pt x="3" y="13"/>
                  </a:lnTo>
                  <a:lnTo>
                    <a:pt x="2" y="13"/>
                  </a:lnTo>
                  <a:lnTo>
                    <a:pt x="0" y="9"/>
                  </a:lnTo>
                  <a:lnTo>
                    <a:pt x="2" y="7"/>
                  </a:lnTo>
                  <a:lnTo>
                    <a:pt x="2" y="6"/>
                  </a:lnTo>
                  <a:lnTo>
                    <a:pt x="8" y="5"/>
                  </a:lnTo>
                  <a:lnTo>
                    <a:pt x="21" y="0"/>
                  </a:lnTo>
                  <a:lnTo>
                    <a:pt x="2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89" name="Freeform 1150"/>
            <p:cNvSpPr>
              <a:spLocks/>
            </p:cNvSpPr>
            <p:nvPr/>
          </p:nvSpPr>
          <p:spPr bwMode="auto">
            <a:xfrm>
              <a:off x="4762768" y="1490767"/>
              <a:ext cx="20189" cy="13184"/>
            </a:xfrm>
            <a:custGeom>
              <a:avLst/>
              <a:gdLst/>
              <a:ahLst/>
              <a:cxnLst>
                <a:cxn ang="0">
                  <a:pos x="12" y="3"/>
                </a:cxn>
                <a:cxn ang="0">
                  <a:pos x="18" y="0"/>
                </a:cxn>
                <a:cxn ang="0">
                  <a:pos x="22" y="2"/>
                </a:cxn>
                <a:cxn ang="0">
                  <a:pos x="22" y="5"/>
                </a:cxn>
                <a:cxn ang="0">
                  <a:pos x="19" y="6"/>
                </a:cxn>
                <a:cxn ang="0">
                  <a:pos x="0" y="12"/>
                </a:cxn>
                <a:cxn ang="0">
                  <a:pos x="0" y="9"/>
                </a:cxn>
                <a:cxn ang="0">
                  <a:pos x="12" y="3"/>
                </a:cxn>
              </a:cxnLst>
              <a:rect l="0" t="0" r="r" b="b"/>
              <a:pathLst>
                <a:path w="22" h="12">
                  <a:moveTo>
                    <a:pt x="12" y="3"/>
                  </a:moveTo>
                  <a:lnTo>
                    <a:pt x="18" y="0"/>
                  </a:lnTo>
                  <a:lnTo>
                    <a:pt x="22" y="2"/>
                  </a:lnTo>
                  <a:lnTo>
                    <a:pt x="22" y="5"/>
                  </a:lnTo>
                  <a:lnTo>
                    <a:pt x="19" y="6"/>
                  </a:lnTo>
                  <a:lnTo>
                    <a:pt x="0" y="12"/>
                  </a:lnTo>
                  <a:lnTo>
                    <a:pt x="0" y="9"/>
                  </a:lnTo>
                  <a:lnTo>
                    <a:pt x="12"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90" name="Freeform 1152"/>
            <p:cNvSpPr>
              <a:spLocks/>
            </p:cNvSpPr>
            <p:nvPr/>
          </p:nvSpPr>
          <p:spPr bwMode="auto">
            <a:xfrm>
              <a:off x="4769790" y="1496852"/>
              <a:ext cx="17556" cy="17241"/>
            </a:xfrm>
            <a:custGeom>
              <a:avLst/>
              <a:gdLst/>
              <a:ahLst/>
              <a:cxnLst>
                <a:cxn ang="0">
                  <a:pos x="5" y="6"/>
                </a:cxn>
                <a:cxn ang="0">
                  <a:pos x="6" y="4"/>
                </a:cxn>
                <a:cxn ang="0">
                  <a:pos x="16" y="0"/>
                </a:cxn>
                <a:cxn ang="0">
                  <a:pos x="19" y="4"/>
                </a:cxn>
                <a:cxn ang="0">
                  <a:pos x="13" y="10"/>
                </a:cxn>
                <a:cxn ang="0">
                  <a:pos x="11" y="15"/>
                </a:cxn>
                <a:cxn ang="0">
                  <a:pos x="8" y="13"/>
                </a:cxn>
                <a:cxn ang="0">
                  <a:pos x="5" y="16"/>
                </a:cxn>
                <a:cxn ang="0">
                  <a:pos x="2" y="15"/>
                </a:cxn>
                <a:cxn ang="0">
                  <a:pos x="0" y="15"/>
                </a:cxn>
                <a:cxn ang="0">
                  <a:pos x="0" y="12"/>
                </a:cxn>
                <a:cxn ang="0">
                  <a:pos x="3" y="6"/>
                </a:cxn>
                <a:cxn ang="0">
                  <a:pos x="5" y="6"/>
                </a:cxn>
              </a:cxnLst>
              <a:rect l="0" t="0" r="r" b="b"/>
              <a:pathLst>
                <a:path w="19" h="16">
                  <a:moveTo>
                    <a:pt x="5" y="6"/>
                  </a:moveTo>
                  <a:lnTo>
                    <a:pt x="6" y="4"/>
                  </a:lnTo>
                  <a:lnTo>
                    <a:pt x="16" y="0"/>
                  </a:lnTo>
                  <a:lnTo>
                    <a:pt x="19" y="4"/>
                  </a:lnTo>
                  <a:lnTo>
                    <a:pt x="13" y="10"/>
                  </a:lnTo>
                  <a:lnTo>
                    <a:pt x="11" y="15"/>
                  </a:lnTo>
                  <a:lnTo>
                    <a:pt x="8" y="13"/>
                  </a:lnTo>
                  <a:lnTo>
                    <a:pt x="5" y="16"/>
                  </a:lnTo>
                  <a:lnTo>
                    <a:pt x="2" y="15"/>
                  </a:lnTo>
                  <a:lnTo>
                    <a:pt x="0" y="15"/>
                  </a:lnTo>
                  <a:lnTo>
                    <a:pt x="0" y="12"/>
                  </a:lnTo>
                  <a:lnTo>
                    <a:pt x="3" y="6"/>
                  </a:lnTo>
                  <a:lnTo>
                    <a:pt x="5"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91" name="Freeform 1154"/>
            <p:cNvSpPr>
              <a:spLocks/>
            </p:cNvSpPr>
            <p:nvPr/>
          </p:nvSpPr>
          <p:spPr bwMode="auto">
            <a:xfrm>
              <a:off x="4750478" y="1532347"/>
              <a:ext cx="16679" cy="22311"/>
            </a:xfrm>
            <a:custGeom>
              <a:avLst/>
              <a:gdLst/>
              <a:ahLst/>
              <a:cxnLst>
                <a:cxn ang="0">
                  <a:pos x="11" y="0"/>
                </a:cxn>
                <a:cxn ang="0">
                  <a:pos x="13" y="0"/>
                </a:cxn>
                <a:cxn ang="0">
                  <a:pos x="14" y="2"/>
                </a:cxn>
                <a:cxn ang="0">
                  <a:pos x="16" y="4"/>
                </a:cxn>
                <a:cxn ang="0">
                  <a:pos x="18" y="14"/>
                </a:cxn>
                <a:cxn ang="0">
                  <a:pos x="16" y="18"/>
                </a:cxn>
                <a:cxn ang="0">
                  <a:pos x="10" y="21"/>
                </a:cxn>
                <a:cxn ang="0">
                  <a:pos x="4" y="18"/>
                </a:cxn>
                <a:cxn ang="0">
                  <a:pos x="1" y="17"/>
                </a:cxn>
                <a:cxn ang="0">
                  <a:pos x="0" y="14"/>
                </a:cxn>
                <a:cxn ang="0">
                  <a:pos x="4" y="0"/>
                </a:cxn>
                <a:cxn ang="0">
                  <a:pos x="11" y="0"/>
                </a:cxn>
              </a:cxnLst>
              <a:rect l="0" t="0" r="r" b="b"/>
              <a:pathLst>
                <a:path w="18" h="21">
                  <a:moveTo>
                    <a:pt x="11" y="0"/>
                  </a:moveTo>
                  <a:lnTo>
                    <a:pt x="13" y="0"/>
                  </a:lnTo>
                  <a:lnTo>
                    <a:pt x="14" y="2"/>
                  </a:lnTo>
                  <a:lnTo>
                    <a:pt x="16" y="4"/>
                  </a:lnTo>
                  <a:lnTo>
                    <a:pt x="18" y="14"/>
                  </a:lnTo>
                  <a:lnTo>
                    <a:pt x="16" y="18"/>
                  </a:lnTo>
                  <a:lnTo>
                    <a:pt x="10" y="21"/>
                  </a:lnTo>
                  <a:lnTo>
                    <a:pt x="4" y="18"/>
                  </a:lnTo>
                  <a:lnTo>
                    <a:pt x="1" y="17"/>
                  </a:lnTo>
                  <a:lnTo>
                    <a:pt x="0" y="14"/>
                  </a:lnTo>
                  <a:lnTo>
                    <a:pt x="4" y="0"/>
                  </a:lnTo>
                  <a:lnTo>
                    <a:pt x="1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92" name="Freeform 1155"/>
            <p:cNvSpPr>
              <a:spLocks/>
            </p:cNvSpPr>
            <p:nvPr/>
          </p:nvSpPr>
          <p:spPr bwMode="auto">
            <a:xfrm>
              <a:off x="4750478" y="1532347"/>
              <a:ext cx="16679" cy="22311"/>
            </a:xfrm>
            <a:custGeom>
              <a:avLst/>
              <a:gdLst/>
              <a:ahLst/>
              <a:cxnLst>
                <a:cxn ang="0">
                  <a:pos x="11" y="0"/>
                </a:cxn>
                <a:cxn ang="0">
                  <a:pos x="13" y="0"/>
                </a:cxn>
                <a:cxn ang="0">
                  <a:pos x="14" y="2"/>
                </a:cxn>
                <a:cxn ang="0">
                  <a:pos x="16" y="4"/>
                </a:cxn>
                <a:cxn ang="0">
                  <a:pos x="18" y="14"/>
                </a:cxn>
                <a:cxn ang="0">
                  <a:pos x="16" y="18"/>
                </a:cxn>
                <a:cxn ang="0">
                  <a:pos x="10" y="21"/>
                </a:cxn>
                <a:cxn ang="0">
                  <a:pos x="4" y="18"/>
                </a:cxn>
                <a:cxn ang="0">
                  <a:pos x="1" y="17"/>
                </a:cxn>
                <a:cxn ang="0">
                  <a:pos x="0" y="14"/>
                </a:cxn>
                <a:cxn ang="0">
                  <a:pos x="4" y="0"/>
                </a:cxn>
                <a:cxn ang="0">
                  <a:pos x="11" y="0"/>
                </a:cxn>
              </a:cxnLst>
              <a:rect l="0" t="0" r="r" b="b"/>
              <a:pathLst>
                <a:path w="18" h="21">
                  <a:moveTo>
                    <a:pt x="11" y="0"/>
                  </a:moveTo>
                  <a:lnTo>
                    <a:pt x="13" y="0"/>
                  </a:lnTo>
                  <a:lnTo>
                    <a:pt x="14" y="2"/>
                  </a:lnTo>
                  <a:lnTo>
                    <a:pt x="16" y="4"/>
                  </a:lnTo>
                  <a:lnTo>
                    <a:pt x="18" y="14"/>
                  </a:lnTo>
                  <a:lnTo>
                    <a:pt x="16" y="18"/>
                  </a:lnTo>
                  <a:lnTo>
                    <a:pt x="10" y="21"/>
                  </a:lnTo>
                  <a:lnTo>
                    <a:pt x="4" y="18"/>
                  </a:lnTo>
                  <a:lnTo>
                    <a:pt x="1" y="17"/>
                  </a:lnTo>
                  <a:lnTo>
                    <a:pt x="0" y="14"/>
                  </a:lnTo>
                  <a:lnTo>
                    <a:pt x="4" y="0"/>
                  </a:lnTo>
                  <a:lnTo>
                    <a:pt x="1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93" name="Freeform 1156"/>
            <p:cNvSpPr>
              <a:spLocks/>
            </p:cNvSpPr>
            <p:nvPr/>
          </p:nvSpPr>
          <p:spPr bwMode="auto">
            <a:xfrm>
              <a:off x="4583697" y="1444116"/>
              <a:ext cx="158882" cy="144007"/>
            </a:xfrm>
            <a:custGeom>
              <a:avLst/>
              <a:gdLst/>
              <a:ahLst/>
              <a:cxnLst>
                <a:cxn ang="0">
                  <a:pos x="112" y="21"/>
                </a:cxn>
                <a:cxn ang="0">
                  <a:pos x="121" y="2"/>
                </a:cxn>
                <a:cxn ang="0">
                  <a:pos x="131" y="10"/>
                </a:cxn>
                <a:cxn ang="0">
                  <a:pos x="129" y="21"/>
                </a:cxn>
                <a:cxn ang="0">
                  <a:pos x="137" y="31"/>
                </a:cxn>
                <a:cxn ang="0">
                  <a:pos x="135" y="39"/>
                </a:cxn>
                <a:cxn ang="0">
                  <a:pos x="139" y="47"/>
                </a:cxn>
                <a:cxn ang="0">
                  <a:pos x="138" y="61"/>
                </a:cxn>
                <a:cxn ang="0">
                  <a:pos x="150" y="57"/>
                </a:cxn>
                <a:cxn ang="0">
                  <a:pos x="155" y="61"/>
                </a:cxn>
                <a:cxn ang="0">
                  <a:pos x="171" y="55"/>
                </a:cxn>
                <a:cxn ang="0">
                  <a:pos x="173" y="77"/>
                </a:cxn>
                <a:cxn ang="0">
                  <a:pos x="158" y="106"/>
                </a:cxn>
                <a:cxn ang="0">
                  <a:pos x="141" y="106"/>
                </a:cxn>
                <a:cxn ang="0">
                  <a:pos x="126" y="109"/>
                </a:cxn>
                <a:cxn ang="0">
                  <a:pos x="125" y="102"/>
                </a:cxn>
                <a:cxn ang="0">
                  <a:pos x="116" y="114"/>
                </a:cxn>
                <a:cxn ang="0">
                  <a:pos x="100" y="121"/>
                </a:cxn>
                <a:cxn ang="0">
                  <a:pos x="93" y="128"/>
                </a:cxn>
                <a:cxn ang="0">
                  <a:pos x="84" y="134"/>
                </a:cxn>
                <a:cxn ang="0">
                  <a:pos x="45" y="125"/>
                </a:cxn>
                <a:cxn ang="0">
                  <a:pos x="51" y="118"/>
                </a:cxn>
                <a:cxn ang="0">
                  <a:pos x="61" y="116"/>
                </a:cxn>
                <a:cxn ang="0">
                  <a:pos x="81" y="106"/>
                </a:cxn>
                <a:cxn ang="0">
                  <a:pos x="89" y="103"/>
                </a:cxn>
                <a:cxn ang="0">
                  <a:pos x="94" y="92"/>
                </a:cxn>
                <a:cxn ang="0">
                  <a:pos x="76" y="99"/>
                </a:cxn>
                <a:cxn ang="0">
                  <a:pos x="71" y="93"/>
                </a:cxn>
                <a:cxn ang="0">
                  <a:pos x="65" y="102"/>
                </a:cxn>
                <a:cxn ang="0">
                  <a:pos x="54" y="106"/>
                </a:cxn>
                <a:cxn ang="0">
                  <a:pos x="55" y="96"/>
                </a:cxn>
                <a:cxn ang="0">
                  <a:pos x="58" y="83"/>
                </a:cxn>
                <a:cxn ang="0">
                  <a:pos x="48" y="96"/>
                </a:cxn>
                <a:cxn ang="0">
                  <a:pos x="47" y="98"/>
                </a:cxn>
                <a:cxn ang="0">
                  <a:pos x="36" y="108"/>
                </a:cxn>
                <a:cxn ang="0">
                  <a:pos x="29" y="100"/>
                </a:cxn>
                <a:cxn ang="0">
                  <a:pos x="22" y="100"/>
                </a:cxn>
                <a:cxn ang="0">
                  <a:pos x="15" y="100"/>
                </a:cxn>
                <a:cxn ang="0">
                  <a:pos x="3" y="85"/>
                </a:cxn>
                <a:cxn ang="0">
                  <a:pos x="28" y="76"/>
                </a:cxn>
                <a:cxn ang="0">
                  <a:pos x="26" y="71"/>
                </a:cxn>
                <a:cxn ang="0">
                  <a:pos x="6" y="70"/>
                </a:cxn>
                <a:cxn ang="0">
                  <a:pos x="36" y="58"/>
                </a:cxn>
                <a:cxn ang="0">
                  <a:pos x="12" y="55"/>
                </a:cxn>
                <a:cxn ang="0">
                  <a:pos x="13" y="47"/>
                </a:cxn>
                <a:cxn ang="0">
                  <a:pos x="31" y="39"/>
                </a:cxn>
                <a:cxn ang="0">
                  <a:pos x="36" y="38"/>
                </a:cxn>
                <a:cxn ang="0">
                  <a:pos x="29" y="23"/>
                </a:cxn>
                <a:cxn ang="0">
                  <a:pos x="47" y="22"/>
                </a:cxn>
                <a:cxn ang="0">
                  <a:pos x="49" y="38"/>
                </a:cxn>
                <a:cxn ang="0">
                  <a:pos x="67" y="38"/>
                </a:cxn>
                <a:cxn ang="0">
                  <a:pos x="81" y="53"/>
                </a:cxn>
                <a:cxn ang="0">
                  <a:pos x="80" y="61"/>
                </a:cxn>
                <a:cxn ang="0">
                  <a:pos x="89" y="66"/>
                </a:cxn>
                <a:cxn ang="0">
                  <a:pos x="89" y="74"/>
                </a:cxn>
                <a:cxn ang="0">
                  <a:pos x="96" y="76"/>
                </a:cxn>
                <a:cxn ang="0">
                  <a:pos x="109" y="76"/>
                </a:cxn>
                <a:cxn ang="0">
                  <a:pos x="119" y="61"/>
                </a:cxn>
                <a:cxn ang="0">
                  <a:pos x="112" y="60"/>
                </a:cxn>
                <a:cxn ang="0">
                  <a:pos x="119" y="50"/>
                </a:cxn>
                <a:cxn ang="0">
                  <a:pos x="113" y="37"/>
                </a:cxn>
                <a:cxn ang="0">
                  <a:pos x="103" y="25"/>
                </a:cxn>
              </a:cxnLst>
              <a:rect l="0" t="0" r="r" b="b"/>
              <a:pathLst>
                <a:path w="174" h="138">
                  <a:moveTo>
                    <a:pt x="109" y="22"/>
                  </a:moveTo>
                  <a:lnTo>
                    <a:pt x="109" y="21"/>
                  </a:lnTo>
                  <a:lnTo>
                    <a:pt x="109" y="22"/>
                  </a:lnTo>
                  <a:lnTo>
                    <a:pt x="112" y="21"/>
                  </a:lnTo>
                  <a:lnTo>
                    <a:pt x="113" y="19"/>
                  </a:lnTo>
                  <a:lnTo>
                    <a:pt x="113" y="15"/>
                  </a:lnTo>
                  <a:lnTo>
                    <a:pt x="119" y="2"/>
                  </a:lnTo>
                  <a:lnTo>
                    <a:pt x="121" y="2"/>
                  </a:lnTo>
                  <a:lnTo>
                    <a:pt x="124" y="2"/>
                  </a:lnTo>
                  <a:lnTo>
                    <a:pt x="126" y="0"/>
                  </a:lnTo>
                  <a:lnTo>
                    <a:pt x="131" y="7"/>
                  </a:lnTo>
                  <a:lnTo>
                    <a:pt x="131" y="10"/>
                  </a:lnTo>
                  <a:lnTo>
                    <a:pt x="128" y="13"/>
                  </a:lnTo>
                  <a:lnTo>
                    <a:pt x="128" y="16"/>
                  </a:lnTo>
                  <a:lnTo>
                    <a:pt x="129" y="18"/>
                  </a:lnTo>
                  <a:lnTo>
                    <a:pt x="129" y="21"/>
                  </a:lnTo>
                  <a:lnTo>
                    <a:pt x="129" y="25"/>
                  </a:lnTo>
                  <a:lnTo>
                    <a:pt x="131" y="26"/>
                  </a:lnTo>
                  <a:lnTo>
                    <a:pt x="132" y="26"/>
                  </a:lnTo>
                  <a:lnTo>
                    <a:pt x="137" y="31"/>
                  </a:lnTo>
                  <a:lnTo>
                    <a:pt x="137" y="34"/>
                  </a:lnTo>
                  <a:lnTo>
                    <a:pt x="137" y="37"/>
                  </a:lnTo>
                  <a:lnTo>
                    <a:pt x="137" y="38"/>
                  </a:lnTo>
                  <a:lnTo>
                    <a:pt x="135" y="39"/>
                  </a:lnTo>
                  <a:lnTo>
                    <a:pt x="132" y="45"/>
                  </a:lnTo>
                  <a:lnTo>
                    <a:pt x="129" y="47"/>
                  </a:lnTo>
                  <a:lnTo>
                    <a:pt x="132" y="48"/>
                  </a:lnTo>
                  <a:lnTo>
                    <a:pt x="139" y="47"/>
                  </a:lnTo>
                  <a:lnTo>
                    <a:pt x="144" y="51"/>
                  </a:lnTo>
                  <a:lnTo>
                    <a:pt x="142" y="55"/>
                  </a:lnTo>
                  <a:lnTo>
                    <a:pt x="139" y="55"/>
                  </a:lnTo>
                  <a:lnTo>
                    <a:pt x="138" y="61"/>
                  </a:lnTo>
                  <a:lnTo>
                    <a:pt x="138" y="63"/>
                  </a:lnTo>
                  <a:lnTo>
                    <a:pt x="141" y="58"/>
                  </a:lnTo>
                  <a:lnTo>
                    <a:pt x="145" y="55"/>
                  </a:lnTo>
                  <a:lnTo>
                    <a:pt x="150" y="57"/>
                  </a:lnTo>
                  <a:lnTo>
                    <a:pt x="154" y="69"/>
                  </a:lnTo>
                  <a:lnTo>
                    <a:pt x="155" y="63"/>
                  </a:lnTo>
                  <a:lnTo>
                    <a:pt x="157" y="63"/>
                  </a:lnTo>
                  <a:lnTo>
                    <a:pt x="155" y="61"/>
                  </a:lnTo>
                  <a:lnTo>
                    <a:pt x="154" y="54"/>
                  </a:lnTo>
                  <a:lnTo>
                    <a:pt x="157" y="48"/>
                  </a:lnTo>
                  <a:lnTo>
                    <a:pt x="166" y="50"/>
                  </a:lnTo>
                  <a:lnTo>
                    <a:pt x="171" y="55"/>
                  </a:lnTo>
                  <a:lnTo>
                    <a:pt x="174" y="64"/>
                  </a:lnTo>
                  <a:lnTo>
                    <a:pt x="174" y="67"/>
                  </a:lnTo>
                  <a:lnTo>
                    <a:pt x="174" y="69"/>
                  </a:lnTo>
                  <a:lnTo>
                    <a:pt x="173" y="77"/>
                  </a:lnTo>
                  <a:lnTo>
                    <a:pt x="171" y="79"/>
                  </a:lnTo>
                  <a:lnTo>
                    <a:pt x="164" y="105"/>
                  </a:lnTo>
                  <a:lnTo>
                    <a:pt x="160" y="105"/>
                  </a:lnTo>
                  <a:lnTo>
                    <a:pt x="158" y="106"/>
                  </a:lnTo>
                  <a:lnTo>
                    <a:pt x="155" y="111"/>
                  </a:lnTo>
                  <a:lnTo>
                    <a:pt x="150" y="112"/>
                  </a:lnTo>
                  <a:lnTo>
                    <a:pt x="145" y="111"/>
                  </a:lnTo>
                  <a:lnTo>
                    <a:pt x="141" y="106"/>
                  </a:lnTo>
                  <a:lnTo>
                    <a:pt x="142" y="102"/>
                  </a:lnTo>
                  <a:lnTo>
                    <a:pt x="137" y="111"/>
                  </a:lnTo>
                  <a:lnTo>
                    <a:pt x="132" y="111"/>
                  </a:lnTo>
                  <a:lnTo>
                    <a:pt x="126" y="109"/>
                  </a:lnTo>
                  <a:lnTo>
                    <a:pt x="129" y="106"/>
                  </a:lnTo>
                  <a:lnTo>
                    <a:pt x="128" y="103"/>
                  </a:lnTo>
                  <a:lnTo>
                    <a:pt x="128" y="102"/>
                  </a:lnTo>
                  <a:lnTo>
                    <a:pt x="125" y="102"/>
                  </a:lnTo>
                  <a:lnTo>
                    <a:pt x="125" y="105"/>
                  </a:lnTo>
                  <a:lnTo>
                    <a:pt x="122" y="108"/>
                  </a:lnTo>
                  <a:lnTo>
                    <a:pt x="119" y="109"/>
                  </a:lnTo>
                  <a:lnTo>
                    <a:pt x="116" y="114"/>
                  </a:lnTo>
                  <a:lnTo>
                    <a:pt x="110" y="115"/>
                  </a:lnTo>
                  <a:lnTo>
                    <a:pt x="108" y="115"/>
                  </a:lnTo>
                  <a:lnTo>
                    <a:pt x="100" y="119"/>
                  </a:lnTo>
                  <a:lnTo>
                    <a:pt x="100" y="121"/>
                  </a:lnTo>
                  <a:lnTo>
                    <a:pt x="99" y="124"/>
                  </a:lnTo>
                  <a:lnTo>
                    <a:pt x="97" y="125"/>
                  </a:lnTo>
                  <a:lnTo>
                    <a:pt x="97" y="125"/>
                  </a:lnTo>
                  <a:lnTo>
                    <a:pt x="93" y="128"/>
                  </a:lnTo>
                  <a:lnTo>
                    <a:pt x="90" y="130"/>
                  </a:lnTo>
                  <a:lnTo>
                    <a:pt x="90" y="131"/>
                  </a:lnTo>
                  <a:lnTo>
                    <a:pt x="86" y="131"/>
                  </a:lnTo>
                  <a:lnTo>
                    <a:pt x="84" y="134"/>
                  </a:lnTo>
                  <a:lnTo>
                    <a:pt x="71" y="138"/>
                  </a:lnTo>
                  <a:lnTo>
                    <a:pt x="60" y="138"/>
                  </a:lnTo>
                  <a:lnTo>
                    <a:pt x="48" y="128"/>
                  </a:lnTo>
                  <a:lnTo>
                    <a:pt x="45" y="125"/>
                  </a:lnTo>
                  <a:lnTo>
                    <a:pt x="45" y="124"/>
                  </a:lnTo>
                  <a:lnTo>
                    <a:pt x="47" y="121"/>
                  </a:lnTo>
                  <a:lnTo>
                    <a:pt x="49" y="118"/>
                  </a:lnTo>
                  <a:lnTo>
                    <a:pt x="51" y="118"/>
                  </a:lnTo>
                  <a:lnTo>
                    <a:pt x="55" y="116"/>
                  </a:lnTo>
                  <a:lnTo>
                    <a:pt x="58" y="115"/>
                  </a:lnTo>
                  <a:lnTo>
                    <a:pt x="60" y="116"/>
                  </a:lnTo>
                  <a:lnTo>
                    <a:pt x="61" y="116"/>
                  </a:lnTo>
                  <a:lnTo>
                    <a:pt x="63" y="115"/>
                  </a:lnTo>
                  <a:lnTo>
                    <a:pt x="63" y="112"/>
                  </a:lnTo>
                  <a:lnTo>
                    <a:pt x="65" y="108"/>
                  </a:lnTo>
                  <a:lnTo>
                    <a:pt x="81" y="106"/>
                  </a:lnTo>
                  <a:lnTo>
                    <a:pt x="83" y="109"/>
                  </a:lnTo>
                  <a:lnTo>
                    <a:pt x="84" y="109"/>
                  </a:lnTo>
                  <a:lnTo>
                    <a:pt x="87" y="105"/>
                  </a:lnTo>
                  <a:lnTo>
                    <a:pt x="89" y="103"/>
                  </a:lnTo>
                  <a:lnTo>
                    <a:pt x="90" y="99"/>
                  </a:lnTo>
                  <a:lnTo>
                    <a:pt x="94" y="96"/>
                  </a:lnTo>
                  <a:lnTo>
                    <a:pt x="94" y="95"/>
                  </a:lnTo>
                  <a:lnTo>
                    <a:pt x="94" y="92"/>
                  </a:lnTo>
                  <a:lnTo>
                    <a:pt x="92" y="92"/>
                  </a:lnTo>
                  <a:lnTo>
                    <a:pt x="89" y="98"/>
                  </a:lnTo>
                  <a:lnTo>
                    <a:pt x="86" y="96"/>
                  </a:lnTo>
                  <a:lnTo>
                    <a:pt x="76" y="99"/>
                  </a:lnTo>
                  <a:lnTo>
                    <a:pt x="76" y="96"/>
                  </a:lnTo>
                  <a:lnTo>
                    <a:pt x="76" y="93"/>
                  </a:lnTo>
                  <a:lnTo>
                    <a:pt x="73" y="96"/>
                  </a:lnTo>
                  <a:lnTo>
                    <a:pt x="71" y="93"/>
                  </a:lnTo>
                  <a:lnTo>
                    <a:pt x="71" y="92"/>
                  </a:lnTo>
                  <a:lnTo>
                    <a:pt x="70" y="98"/>
                  </a:lnTo>
                  <a:lnTo>
                    <a:pt x="68" y="102"/>
                  </a:lnTo>
                  <a:lnTo>
                    <a:pt x="65" y="102"/>
                  </a:lnTo>
                  <a:lnTo>
                    <a:pt x="64" y="99"/>
                  </a:lnTo>
                  <a:lnTo>
                    <a:pt x="61" y="102"/>
                  </a:lnTo>
                  <a:lnTo>
                    <a:pt x="58" y="103"/>
                  </a:lnTo>
                  <a:lnTo>
                    <a:pt x="54" y="106"/>
                  </a:lnTo>
                  <a:lnTo>
                    <a:pt x="52" y="103"/>
                  </a:lnTo>
                  <a:lnTo>
                    <a:pt x="52" y="102"/>
                  </a:lnTo>
                  <a:lnTo>
                    <a:pt x="55" y="98"/>
                  </a:lnTo>
                  <a:lnTo>
                    <a:pt x="55" y="96"/>
                  </a:lnTo>
                  <a:lnTo>
                    <a:pt x="54" y="89"/>
                  </a:lnTo>
                  <a:lnTo>
                    <a:pt x="58" y="86"/>
                  </a:lnTo>
                  <a:lnTo>
                    <a:pt x="61" y="83"/>
                  </a:lnTo>
                  <a:lnTo>
                    <a:pt x="58" y="83"/>
                  </a:lnTo>
                  <a:lnTo>
                    <a:pt x="57" y="86"/>
                  </a:lnTo>
                  <a:lnTo>
                    <a:pt x="51" y="85"/>
                  </a:lnTo>
                  <a:lnTo>
                    <a:pt x="49" y="95"/>
                  </a:lnTo>
                  <a:lnTo>
                    <a:pt x="48" y="96"/>
                  </a:lnTo>
                  <a:lnTo>
                    <a:pt x="47" y="90"/>
                  </a:lnTo>
                  <a:lnTo>
                    <a:pt x="44" y="90"/>
                  </a:lnTo>
                  <a:lnTo>
                    <a:pt x="44" y="95"/>
                  </a:lnTo>
                  <a:lnTo>
                    <a:pt x="47" y="98"/>
                  </a:lnTo>
                  <a:lnTo>
                    <a:pt x="45" y="102"/>
                  </a:lnTo>
                  <a:lnTo>
                    <a:pt x="44" y="103"/>
                  </a:lnTo>
                  <a:lnTo>
                    <a:pt x="41" y="108"/>
                  </a:lnTo>
                  <a:lnTo>
                    <a:pt x="36" y="108"/>
                  </a:lnTo>
                  <a:lnTo>
                    <a:pt x="35" y="103"/>
                  </a:lnTo>
                  <a:lnTo>
                    <a:pt x="35" y="99"/>
                  </a:lnTo>
                  <a:lnTo>
                    <a:pt x="32" y="100"/>
                  </a:lnTo>
                  <a:lnTo>
                    <a:pt x="29" y="100"/>
                  </a:lnTo>
                  <a:lnTo>
                    <a:pt x="29" y="109"/>
                  </a:lnTo>
                  <a:lnTo>
                    <a:pt x="26" y="108"/>
                  </a:lnTo>
                  <a:lnTo>
                    <a:pt x="20" y="103"/>
                  </a:lnTo>
                  <a:lnTo>
                    <a:pt x="22" y="100"/>
                  </a:lnTo>
                  <a:lnTo>
                    <a:pt x="20" y="99"/>
                  </a:lnTo>
                  <a:lnTo>
                    <a:pt x="20" y="96"/>
                  </a:lnTo>
                  <a:lnTo>
                    <a:pt x="16" y="98"/>
                  </a:lnTo>
                  <a:lnTo>
                    <a:pt x="15" y="100"/>
                  </a:lnTo>
                  <a:lnTo>
                    <a:pt x="6" y="99"/>
                  </a:lnTo>
                  <a:lnTo>
                    <a:pt x="3" y="96"/>
                  </a:lnTo>
                  <a:lnTo>
                    <a:pt x="0" y="93"/>
                  </a:lnTo>
                  <a:lnTo>
                    <a:pt x="3" y="85"/>
                  </a:lnTo>
                  <a:lnTo>
                    <a:pt x="6" y="80"/>
                  </a:lnTo>
                  <a:lnTo>
                    <a:pt x="22" y="80"/>
                  </a:lnTo>
                  <a:lnTo>
                    <a:pt x="23" y="80"/>
                  </a:lnTo>
                  <a:lnTo>
                    <a:pt x="28" y="76"/>
                  </a:lnTo>
                  <a:lnTo>
                    <a:pt x="33" y="71"/>
                  </a:lnTo>
                  <a:lnTo>
                    <a:pt x="36" y="67"/>
                  </a:lnTo>
                  <a:lnTo>
                    <a:pt x="32" y="71"/>
                  </a:lnTo>
                  <a:lnTo>
                    <a:pt x="26" y="71"/>
                  </a:lnTo>
                  <a:lnTo>
                    <a:pt x="22" y="74"/>
                  </a:lnTo>
                  <a:lnTo>
                    <a:pt x="16" y="77"/>
                  </a:lnTo>
                  <a:lnTo>
                    <a:pt x="6" y="76"/>
                  </a:lnTo>
                  <a:lnTo>
                    <a:pt x="6" y="70"/>
                  </a:lnTo>
                  <a:lnTo>
                    <a:pt x="9" y="64"/>
                  </a:lnTo>
                  <a:lnTo>
                    <a:pt x="20" y="63"/>
                  </a:lnTo>
                  <a:lnTo>
                    <a:pt x="26" y="60"/>
                  </a:lnTo>
                  <a:lnTo>
                    <a:pt x="36" y="58"/>
                  </a:lnTo>
                  <a:lnTo>
                    <a:pt x="41" y="55"/>
                  </a:lnTo>
                  <a:lnTo>
                    <a:pt x="15" y="60"/>
                  </a:lnTo>
                  <a:lnTo>
                    <a:pt x="12" y="58"/>
                  </a:lnTo>
                  <a:lnTo>
                    <a:pt x="12" y="55"/>
                  </a:lnTo>
                  <a:lnTo>
                    <a:pt x="13" y="53"/>
                  </a:lnTo>
                  <a:lnTo>
                    <a:pt x="16" y="51"/>
                  </a:lnTo>
                  <a:lnTo>
                    <a:pt x="15" y="50"/>
                  </a:lnTo>
                  <a:lnTo>
                    <a:pt x="13" y="47"/>
                  </a:lnTo>
                  <a:lnTo>
                    <a:pt x="16" y="41"/>
                  </a:lnTo>
                  <a:lnTo>
                    <a:pt x="20" y="39"/>
                  </a:lnTo>
                  <a:lnTo>
                    <a:pt x="26" y="39"/>
                  </a:lnTo>
                  <a:lnTo>
                    <a:pt x="31" y="39"/>
                  </a:lnTo>
                  <a:lnTo>
                    <a:pt x="41" y="41"/>
                  </a:lnTo>
                  <a:lnTo>
                    <a:pt x="42" y="41"/>
                  </a:lnTo>
                  <a:lnTo>
                    <a:pt x="39" y="39"/>
                  </a:lnTo>
                  <a:lnTo>
                    <a:pt x="36" y="38"/>
                  </a:lnTo>
                  <a:lnTo>
                    <a:pt x="26" y="37"/>
                  </a:lnTo>
                  <a:lnTo>
                    <a:pt x="23" y="34"/>
                  </a:lnTo>
                  <a:lnTo>
                    <a:pt x="26" y="26"/>
                  </a:lnTo>
                  <a:lnTo>
                    <a:pt x="29" y="23"/>
                  </a:lnTo>
                  <a:lnTo>
                    <a:pt x="36" y="23"/>
                  </a:lnTo>
                  <a:lnTo>
                    <a:pt x="38" y="21"/>
                  </a:lnTo>
                  <a:lnTo>
                    <a:pt x="44" y="21"/>
                  </a:lnTo>
                  <a:lnTo>
                    <a:pt x="47" y="22"/>
                  </a:lnTo>
                  <a:lnTo>
                    <a:pt x="49" y="25"/>
                  </a:lnTo>
                  <a:lnTo>
                    <a:pt x="49" y="31"/>
                  </a:lnTo>
                  <a:lnTo>
                    <a:pt x="48" y="32"/>
                  </a:lnTo>
                  <a:lnTo>
                    <a:pt x="49" y="38"/>
                  </a:lnTo>
                  <a:lnTo>
                    <a:pt x="57" y="38"/>
                  </a:lnTo>
                  <a:lnTo>
                    <a:pt x="61" y="35"/>
                  </a:lnTo>
                  <a:lnTo>
                    <a:pt x="67" y="35"/>
                  </a:lnTo>
                  <a:lnTo>
                    <a:pt x="67" y="38"/>
                  </a:lnTo>
                  <a:lnTo>
                    <a:pt x="73" y="39"/>
                  </a:lnTo>
                  <a:lnTo>
                    <a:pt x="74" y="47"/>
                  </a:lnTo>
                  <a:lnTo>
                    <a:pt x="79" y="53"/>
                  </a:lnTo>
                  <a:lnTo>
                    <a:pt x="81" y="53"/>
                  </a:lnTo>
                  <a:lnTo>
                    <a:pt x="83" y="54"/>
                  </a:lnTo>
                  <a:lnTo>
                    <a:pt x="79" y="58"/>
                  </a:lnTo>
                  <a:lnTo>
                    <a:pt x="77" y="61"/>
                  </a:lnTo>
                  <a:lnTo>
                    <a:pt x="80" y="61"/>
                  </a:lnTo>
                  <a:lnTo>
                    <a:pt x="87" y="60"/>
                  </a:lnTo>
                  <a:lnTo>
                    <a:pt x="87" y="60"/>
                  </a:lnTo>
                  <a:lnTo>
                    <a:pt x="87" y="63"/>
                  </a:lnTo>
                  <a:lnTo>
                    <a:pt x="89" y="66"/>
                  </a:lnTo>
                  <a:lnTo>
                    <a:pt x="87" y="67"/>
                  </a:lnTo>
                  <a:lnTo>
                    <a:pt x="89" y="67"/>
                  </a:lnTo>
                  <a:lnTo>
                    <a:pt x="89" y="70"/>
                  </a:lnTo>
                  <a:lnTo>
                    <a:pt x="89" y="74"/>
                  </a:lnTo>
                  <a:lnTo>
                    <a:pt x="90" y="77"/>
                  </a:lnTo>
                  <a:lnTo>
                    <a:pt x="93" y="77"/>
                  </a:lnTo>
                  <a:lnTo>
                    <a:pt x="94" y="77"/>
                  </a:lnTo>
                  <a:lnTo>
                    <a:pt x="96" y="76"/>
                  </a:lnTo>
                  <a:lnTo>
                    <a:pt x="97" y="76"/>
                  </a:lnTo>
                  <a:lnTo>
                    <a:pt x="102" y="76"/>
                  </a:lnTo>
                  <a:lnTo>
                    <a:pt x="103" y="77"/>
                  </a:lnTo>
                  <a:lnTo>
                    <a:pt x="109" y="76"/>
                  </a:lnTo>
                  <a:lnTo>
                    <a:pt x="122" y="79"/>
                  </a:lnTo>
                  <a:lnTo>
                    <a:pt x="124" y="79"/>
                  </a:lnTo>
                  <a:lnTo>
                    <a:pt x="125" y="69"/>
                  </a:lnTo>
                  <a:lnTo>
                    <a:pt x="119" y="61"/>
                  </a:lnTo>
                  <a:lnTo>
                    <a:pt x="116" y="61"/>
                  </a:lnTo>
                  <a:lnTo>
                    <a:pt x="115" y="60"/>
                  </a:lnTo>
                  <a:lnTo>
                    <a:pt x="115" y="57"/>
                  </a:lnTo>
                  <a:lnTo>
                    <a:pt x="112" y="60"/>
                  </a:lnTo>
                  <a:lnTo>
                    <a:pt x="110" y="57"/>
                  </a:lnTo>
                  <a:lnTo>
                    <a:pt x="116" y="53"/>
                  </a:lnTo>
                  <a:lnTo>
                    <a:pt x="116" y="50"/>
                  </a:lnTo>
                  <a:lnTo>
                    <a:pt x="119" y="50"/>
                  </a:lnTo>
                  <a:lnTo>
                    <a:pt x="118" y="42"/>
                  </a:lnTo>
                  <a:lnTo>
                    <a:pt x="116" y="39"/>
                  </a:lnTo>
                  <a:lnTo>
                    <a:pt x="115" y="39"/>
                  </a:lnTo>
                  <a:lnTo>
                    <a:pt x="113" y="37"/>
                  </a:lnTo>
                  <a:lnTo>
                    <a:pt x="109" y="37"/>
                  </a:lnTo>
                  <a:lnTo>
                    <a:pt x="105" y="31"/>
                  </a:lnTo>
                  <a:lnTo>
                    <a:pt x="103" y="26"/>
                  </a:lnTo>
                  <a:lnTo>
                    <a:pt x="103" y="25"/>
                  </a:lnTo>
                  <a:lnTo>
                    <a:pt x="106" y="23"/>
                  </a:lnTo>
                  <a:lnTo>
                    <a:pt x="109" y="2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94" name="Freeform 1158"/>
            <p:cNvSpPr>
              <a:spLocks/>
            </p:cNvSpPr>
            <p:nvPr/>
          </p:nvSpPr>
          <p:spPr bwMode="auto">
            <a:xfrm>
              <a:off x="4560874" y="1489752"/>
              <a:ext cx="24579" cy="37523"/>
            </a:xfrm>
            <a:custGeom>
              <a:avLst/>
              <a:gdLst/>
              <a:ahLst/>
              <a:cxnLst>
                <a:cxn ang="0">
                  <a:pos x="19" y="6"/>
                </a:cxn>
                <a:cxn ang="0">
                  <a:pos x="18" y="7"/>
                </a:cxn>
                <a:cxn ang="0">
                  <a:pos x="18" y="6"/>
                </a:cxn>
                <a:cxn ang="0">
                  <a:pos x="21" y="6"/>
                </a:cxn>
                <a:cxn ang="0">
                  <a:pos x="22" y="1"/>
                </a:cxn>
                <a:cxn ang="0">
                  <a:pos x="24" y="0"/>
                </a:cxn>
                <a:cxn ang="0">
                  <a:pos x="27" y="1"/>
                </a:cxn>
                <a:cxn ang="0">
                  <a:pos x="22" y="17"/>
                </a:cxn>
                <a:cxn ang="0">
                  <a:pos x="21" y="19"/>
                </a:cxn>
                <a:cxn ang="0">
                  <a:pos x="18" y="30"/>
                </a:cxn>
                <a:cxn ang="0">
                  <a:pos x="13" y="35"/>
                </a:cxn>
                <a:cxn ang="0">
                  <a:pos x="11" y="36"/>
                </a:cxn>
                <a:cxn ang="0">
                  <a:pos x="8" y="33"/>
                </a:cxn>
                <a:cxn ang="0">
                  <a:pos x="2" y="30"/>
                </a:cxn>
                <a:cxn ang="0">
                  <a:pos x="0" y="26"/>
                </a:cxn>
                <a:cxn ang="0">
                  <a:pos x="2" y="23"/>
                </a:cxn>
                <a:cxn ang="0">
                  <a:pos x="13" y="10"/>
                </a:cxn>
                <a:cxn ang="0">
                  <a:pos x="16" y="9"/>
                </a:cxn>
                <a:cxn ang="0">
                  <a:pos x="18" y="6"/>
                </a:cxn>
                <a:cxn ang="0">
                  <a:pos x="19" y="6"/>
                </a:cxn>
              </a:cxnLst>
              <a:rect l="0" t="0" r="r" b="b"/>
              <a:pathLst>
                <a:path w="27" h="36">
                  <a:moveTo>
                    <a:pt x="19" y="6"/>
                  </a:moveTo>
                  <a:lnTo>
                    <a:pt x="18" y="7"/>
                  </a:lnTo>
                  <a:lnTo>
                    <a:pt x="18" y="6"/>
                  </a:lnTo>
                  <a:lnTo>
                    <a:pt x="21" y="6"/>
                  </a:lnTo>
                  <a:lnTo>
                    <a:pt x="22" y="1"/>
                  </a:lnTo>
                  <a:lnTo>
                    <a:pt x="24" y="0"/>
                  </a:lnTo>
                  <a:lnTo>
                    <a:pt x="27" y="1"/>
                  </a:lnTo>
                  <a:lnTo>
                    <a:pt x="22" y="17"/>
                  </a:lnTo>
                  <a:lnTo>
                    <a:pt x="21" y="19"/>
                  </a:lnTo>
                  <a:lnTo>
                    <a:pt x="18" y="30"/>
                  </a:lnTo>
                  <a:lnTo>
                    <a:pt x="13" y="35"/>
                  </a:lnTo>
                  <a:lnTo>
                    <a:pt x="11" y="36"/>
                  </a:lnTo>
                  <a:lnTo>
                    <a:pt x="8" y="33"/>
                  </a:lnTo>
                  <a:lnTo>
                    <a:pt x="2" y="30"/>
                  </a:lnTo>
                  <a:lnTo>
                    <a:pt x="0" y="26"/>
                  </a:lnTo>
                  <a:lnTo>
                    <a:pt x="2" y="23"/>
                  </a:lnTo>
                  <a:lnTo>
                    <a:pt x="13" y="10"/>
                  </a:lnTo>
                  <a:lnTo>
                    <a:pt x="16" y="9"/>
                  </a:lnTo>
                  <a:lnTo>
                    <a:pt x="18" y="6"/>
                  </a:lnTo>
                  <a:lnTo>
                    <a:pt x="19"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95" name="Freeform 1160"/>
            <p:cNvSpPr>
              <a:spLocks/>
            </p:cNvSpPr>
            <p:nvPr/>
          </p:nvSpPr>
          <p:spPr bwMode="auto">
            <a:xfrm>
              <a:off x="4515228" y="1397466"/>
              <a:ext cx="94802" cy="112568"/>
            </a:xfrm>
            <a:custGeom>
              <a:avLst/>
              <a:gdLst/>
              <a:ahLst/>
              <a:cxnLst>
                <a:cxn ang="0">
                  <a:pos x="41" y="34"/>
                </a:cxn>
                <a:cxn ang="0">
                  <a:pos x="45" y="26"/>
                </a:cxn>
                <a:cxn ang="0">
                  <a:pos x="51" y="21"/>
                </a:cxn>
                <a:cxn ang="0">
                  <a:pos x="58" y="13"/>
                </a:cxn>
                <a:cxn ang="0">
                  <a:pos x="62" y="13"/>
                </a:cxn>
                <a:cxn ang="0">
                  <a:pos x="70" y="12"/>
                </a:cxn>
                <a:cxn ang="0">
                  <a:pos x="71" y="19"/>
                </a:cxn>
                <a:cxn ang="0">
                  <a:pos x="74" y="16"/>
                </a:cxn>
                <a:cxn ang="0">
                  <a:pos x="78" y="15"/>
                </a:cxn>
                <a:cxn ang="0">
                  <a:pos x="84" y="12"/>
                </a:cxn>
                <a:cxn ang="0">
                  <a:pos x="80" y="6"/>
                </a:cxn>
                <a:cxn ang="0">
                  <a:pos x="89" y="0"/>
                </a:cxn>
                <a:cxn ang="0">
                  <a:pos x="103" y="15"/>
                </a:cxn>
                <a:cxn ang="0">
                  <a:pos x="99" y="21"/>
                </a:cxn>
                <a:cxn ang="0">
                  <a:pos x="90" y="26"/>
                </a:cxn>
                <a:cxn ang="0">
                  <a:pos x="97" y="39"/>
                </a:cxn>
                <a:cxn ang="0">
                  <a:pos x="93" y="39"/>
                </a:cxn>
                <a:cxn ang="0">
                  <a:pos x="94" y="45"/>
                </a:cxn>
                <a:cxn ang="0">
                  <a:pos x="97" y="55"/>
                </a:cxn>
                <a:cxn ang="0">
                  <a:pos x="84" y="63"/>
                </a:cxn>
                <a:cxn ang="0">
                  <a:pos x="81" y="76"/>
                </a:cxn>
                <a:cxn ang="0">
                  <a:pos x="74" y="80"/>
                </a:cxn>
                <a:cxn ang="0">
                  <a:pos x="70" y="48"/>
                </a:cxn>
                <a:cxn ang="0">
                  <a:pos x="64" y="54"/>
                </a:cxn>
                <a:cxn ang="0">
                  <a:pos x="64" y="64"/>
                </a:cxn>
                <a:cxn ang="0">
                  <a:pos x="55" y="63"/>
                </a:cxn>
                <a:cxn ang="0">
                  <a:pos x="57" y="68"/>
                </a:cxn>
                <a:cxn ang="0">
                  <a:pos x="60" y="79"/>
                </a:cxn>
                <a:cxn ang="0">
                  <a:pos x="54" y="89"/>
                </a:cxn>
                <a:cxn ang="0">
                  <a:pos x="48" y="74"/>
                </a:cxn>
                <a:cxn ang="0">
                  <a:pos x="45" y="83"/>
                </a:cxn>
                <a:cxn ang="0">
                  <a:pos x="47" y="87"/>
                </a:cxn>
                <a:cxn ang="0">
                  <a:pos x="47" y="98"/>
                </a:cxn>
                <a:cxn ang="0">
                  <a:pos x="42" y="103"/>
                </a:cxn>
                <a:cxn ang="0">
                  <a:pos x="36" y="108"/>
                </a:cxn>
                <a:cxn ang="0">
                  <a:pos x="32" y="96"/>
                </a:cxn>
                <a:cxn ang="0">
                  <a:pos x="29" y="83"/>
                </a:cxn>
                <a:cxn ang="0">
                  <a:pos x="23" y="100"/>
                </a:cxn>
                <a:cxn ang="0">
                  <a:pos x="15" y="92"/>
                </a:cxn>
                <a:cxn ang="0">
                  <a:pos x="13" y="93"/>
                </a:cxn>
                <a:cxn ang="0">
                  <a:pos x="4" y="100"/>
                </a:cxn>
                <a:cxn ang="0">
                  <a:pos x="4" y="86"/>
                </a:cxn>
                <a:cxn ang="0">
                  <a:pos x="2" y="83"/>
                </a:cxn>
                <a:cxn ang="0">
                  <a:pos x="7" y="73"/>
                </a:cxn>
                <a:cxn ang="0">
                  <a:pos x="12" y="70"/>
                </a:cxn>
                <a:cxn ang="0">
                  <a:pos x="17" y="71"/>
                </a:cxn>
                <a:cxn ang="0">
                  <a:pos x="23" y="55"/>
                </a:cxn>
                <a:cxn ang="0">
                  <a:pos x="28" y="54"/>
                </a:cxn>
                <a:cxn ang="0">
                  <a:pos x="35" y="47"/>
                </a:cxn>
                <a:cxn ang="0">
                  <a:pos x="38" y="37"/>
                </a:cxn>
              </a:cxnLst>
              <a:rect l="0" t="0" r="r" b="b"/>
              <a:pathLst>
                <a:path w="103" h="108">
                  <a:moveTo>
                    <a:pt x="39" y="35"/>
                  </a:moveTo>
                  <a:lnTo>
                    <a:pt x="39" y="37"/>
                  </a:lnTo>
                  <a:lnTo>
                    <a:pt x="41" y="34"/>
                  </a:lnTo>
                  <a:lnTo>
                    <a:pt x="42" y="32"/>
                  </a:lnTo>
                  <a:lnTo>
                    <a:pt x="44" y="29"/>
                  </a:lnTo>
                  <a:lnTo>
                    <a:pt x="45" y="26"/>
                  </a:lnTo>
                  <a:lnTo>
                    <a:pt x="48" y="26"/>
                  </a:lnTo>
                  <a:lnTo>
                    <a:pt x="48" y="23"/>
                  </a:lnTo>
                  <a:lnTo>
                    <a:pt x="51" y="21"/>
                  </a:lnTo>
                  <a:lnTo>
                    <a:pt x="51" y="16"/>
                  </a:lnTo>
                  <a:lnTo>
                    <a:pt x="57" y="15"/>
                  </a:lnTo>
                  <a:lnTo>
                    <a:pt x="58" y="13"/>
                  </a:lnTo>
                  <a:lnTo>
                    <a:pt x="60" y="13"/>
                  </a:lnTo>
                  <a:lnTo>
                    <a:pt x="61" y="15"/>
                  </a:lnTo>
                  <a:lnTo>
                    <a:pt x="62" y="13"/>
                  </a:lnTo>
                  <a:lnTo>
                    <a:pt x="65" y="13"/>
                  </a:lnTo>
                  <a:lnTo>
                    <a:pt x="67" y="12"/>
                  </a:lnTo>
                  <a:lnTo>
                    <a:pt x="70" y="12"/>
                  </a:lnTo>
                  <a:lnTo>
                    <a:pt x="68" y="16"/>
                  </a:lnTo>
                  <a:lnTo>
                    <a:pt x="70" y="21"/>
                  </a:lnTo>
                  <a:lnTo>
                    <a:pt x="71" y="19"/>
                  </a:lnTo>
                  <a:lnTo>
                    <a:pt x="70" y="16"/>
                  </a:lnTo>
                  <a:lnTo>
                    <a:pt x="71" y="13"/>
                  </a:lnTo>
                  <a:lnTo>
                    <a:pt x="74" y="16"/>
                  </a:lnTo>
                  <a:lnTo>
                    <a:pt x="77" y="18"/>
                  </a:lnTo>
                  <a:lnTo>
                    <a:pt x="78" y="18"/>
                  </a:lnTo>
                  <a:lnTo>
                    <a:pt x="78" y="15"/>
                  </a:lnTo>
                  <a:lnTo>
                    <a:pt x="83" y="16"/>
                  </a:lnTo>
                  <a:lnTo>
                    <a:pt x="86" y="13"/>
                  </a:lnTo>
                  <a:lnTo>
                    <a:pt x="84" y="12"/>
                  </a:lnTo>
                  <a:lnTo>
                    <a:pt x="83" y="12"/>
                  </a:lnTo>
                  <a:lnTo>
                    <a:pt x="81" y="10"/>
                  </a:lnTo>
                  <a:lnTo>
                    <a:pt x="80" y="6"/>
                  </a:lnTo>
                  <a:lnTo>
                    <a:pt x="81" y="6"/>
                  </a:lnTo>
                  <a:lnTo>
                    <a:pt x="83" y="3"/>
                  </a:lnTo>
                  <a:lnTo>
                    <a:pt x="89" y="0"/>
                  </a:lnTo>
                  <a:lnTo>
                    <a:pt x="94" y="6"/>
                  </a:lnTo>
                  <a:lnTo>
                    <a:pt x="94" y="7"/>
                  </a:lnTo>
                  <a:lnTo>
                    <a:pt x="103" y="15"/>
                  </a:lnTo>
                  <a:lnTo>
                    <a:pt x="103" y="18"/>
                  </a:lnTo>
                  <a:lnTo>
                    <a:pt x="103" y="19"/>
                  </a:lnTo>
                  <a:lnTo>
                    <a:pt x="99" y="21"/>
                  </a:lnTo>
                  <a:lnTo>
                    <a:pt x="99" y="22"/>
                  </a:lnTo>
                  <a:lnTo>
                    <a:pt x="92" y="23"/>
                  </a:lnTo>
                  <a:lnTo>
                    <a:pt x="90" y="26"/>
                  </a:lnTo>
                  <a:lnTo>
                    <a:pt x="90" y="28"/>
                  </a:lnTo>
                  <a:lnTo>
                    <a:pt x="92" y="31"/>
                  </a:lnTo>
                  <a:lnTo>
                    <a:pt x="97" y="39"/>
                  </a:lnTo>
                  <a:lnTo>
                    <a:pt x="97" y="42"/>
                  </a:lnTo>
                  <a:lnTo>
                    <a:pt x="96" y="42"/>
                  </a:lnTo>
                  <a:lnTo>
                    <a:pt x="93" y="39"/>
                  </a:lnTo>
                  <a:lnTo>
                    <a:pt x="92" y="42"/>
                  </a:lnTo>
                  <a:lnTo>
                    <a:pt x="92" y="45"/>
                  </a:lnTo>
                  <a:lnTo>
                    <a:pt x="94" y="45"/>
                  </a:lnTo>
                  <a:lnTo>
                    <a:pt x="94" y="48"/>
                  </a:lnTo>
                  <a:lnTo>
                    <a:pt x="96" y="50"/>
                  </a:lnTo>
                  <a:lnTo>
                    <a:pt x="97" y="55"/>
                  </a:lnTo>
                  <a:lnTo>
                    <a:pt x="94" y="58"/>
                  </a:lnTo>
                  <a:lnTo>
                    <a:pt x="90" y="61"/>
                  </a:lnTo>
                  <a:lnTo>
                    <a:pt x="84" y="63"/>
                  </a:lnTo>
                  <a:lnTo>
                    <a:pt x="83" y="64"/>
                  </a:lnTo>
                  <a:lnTo>
                    <a:pt x="81" y="67"/>
                  </a:lnTo>
                  <a:lnTo>
                    <a:pt x="81" y="76"/>
                  </a:lnTo>
                  <a:lnTo>
                    <a:pt x="81" y="79"/>
                  </a:lnTo>
                  <a:lnTo>
                    <a:pt x="77" y="80"/>
                  </a:lnTo>
                  <a:lnTo>
                    <a:pt x="74" y="80"/>
                  </a:lnTo>
                  <a:lnTo>
                    <a:pt x="68" y="70"/>
                  </a:lnTo>
                  <a:lnTo>
                    <a:pt x="71" y="48"/>
                  </a:lnTo>
                  <a:lnTo>
                    <a:pt x="70" y="48"/>
                  </a:lnTo>
                  <a:lnTo>
                    <a:pt x="67" y="50"/>
                  </a:lnTo>
                  <a:lnTo>
                    <a:pt x="64" y="50"/>
                  </a:lnTo>
                  <a:lnTo>
                    <a:pt x="64" y="54"/>
                  </a:lnTo>
                  <a:lnTo>
                    <a:pt x="61" y="55"/>
                  </a:lnTo>
                  <a:lnTo>
                    <a:pt x="62" y="57"/>
                  </a:lnTo>
                  <a:lnTo>
                    <a:pt x="64" y="64"/>
                  </a:lnTo>
                  <a:lnTo>
                    <a:pt x="61" y="67"/>
                  </a:lnTo>
                  <a:lnTo>
                    <a:pt x="58" y="63"/>
                  </a:lnTo>
                  <a:lnTo>
                    <a:pt x="55" y="63"/>
                  </a:lnTo>
                  <a:lnTo>
                    <a:pt x="55" y="64"/>
                  </a:lnTo>
                  <a:lnTo>
                    <a:pt x="55" y="67"/>
                  </a:lnTo>
                  <a:lnTo>
                    <a:pt x="57" y="68"/>
                  </a:lnTo>
                  <a:lnTo>
                    <a:pt x="58" y="70"/>
                  </a:lnTo>
                  <a:lnTo>
                    <a:pt x="60" y="76"/>
                  </a:lnTo>
                  <a:lnTo>
                    <a:pt x="60" y="79"/>
                  </a:lnTo>
                  <a:lnTo>
                    <a:pt x="55" y="82"/>
                  </a:lnTo>
                  <a:lnTo>
                    <a:pt x="55" y="86"/>
                  </a:lnTo>
                  <a:lnTo>
                    <a:pt x="54" y="89"/>
                  </a:lnTo>
                  <a:lnTo>
                    <a:pt x="54" y="89"/>
                  </a:lnTo>
                  <a:lnTo>
                    <a:pt x="52" y="90"/>
                  </a:lnTo>
                  <a:lnTo>
                    <a:pt x="48" y="74"/>
                  </a:lnTo>
                  <a:lnTo>
                    <a:pt x="47" y="77"/>
                  </a:lnTo>
                  <a:lnTo>
                    <a:pt x="45" y="76"/>
                  </a:lnTo>
                  <a:lnTo>
                    <a:pt x="45" y="83"/>
                  </a:lnTo>
                  <a:lnTo>
                    <a:pt x="47" y="84"/>
                  </a:lnTo>
                  <a:lnTo>
                    <a:pt x="45" y="87"/>
                  </a:lnTo>
                  <a:lnTo>
                    <a:pt x="47" y="87"/>
                  </a:lnTo>
                  <a:lnTo>
                    <a:pt x="42" y="90"/>
                  </a:lnTo>
                  <a:lnTo>
                    <a:pt x="45" y="92"/>
                  </a:lnTo>
                  <a:lnTo>
                    <a:pt x="47" y="98"/>
                  </a:lnTo>
                  <a:lnTo>
                    <a:pt x="45" y="98"/>
                  </a:lnTo>
                  <a:lnTo>
                    <a:pt x="44" y="102"/>
                  </a:lnTo>
                  <a:lnTo>
                    <a:pt x="42" y="103"/>
                  </a:lnTo>
                  <a:lnTo>
                    <a:pt x="39" y="103"/>
                  </a:lnTo>
                  <a:lnTo>
                    <a:pt x="38" y="100"/>
                  </a:lnTo>
                  <a:lnTo>
                    <a:pt x="36" y="108"/>
                  </a:lnTo>
                  <a:lnTo>
                    <a:pt x="33" y="102"/>
                  </a:lnTo>
                  <a:lnTo>
                    <a:pt x="33" y="96"/>
                  </a:lnTo>
                  <a:lnTo>
                    <a:pt x="32" y="96"/>
                  </a:lnTo>
                  <a:lnTo>
                    <a:pt x="29" y="92"/>
                  </a:lnTo>
                  <a:lnTo>
                    <a:pt x="31" y="89"/>
                  </a:lnTo>
                  <a:lnTo>
                    <a:pt x="29" y="83"/>
                  </a:lnTo>
                  <a:lnTo>
                    <a:pt x="26" y="86"/>
                  </a:lnTo>
                  <a:lnTo>
                    <a:pt x="26" y="93"/>
                  </a:lnTo>
                  <a:lnTo>
                    <a:pt x="23" y="100"/>
                  </a:lnTo>
                  <a:lnTo>
                    <a:pt x="20" y="96"/>
                  </a:lnTo>
                  <a:lnTo>
                    <a:pt x="15" y="93"/>
                  </a:lnTo>
                  <a:lnTo>
                    <a:pt x="15" y="92"/>
                  </a:lnTo>
                  <a:lnTo>
                    <a:pt x="15" y="90"/>
                  </a:lnTo>
                  <a:lnTo>
                    <a:pt x="15" y="87"/>
                  </a:lnTo>
                  <a:lnTo>
                    <a:pt x="13" y="93"/>
                  </a:lnTo>
                  <a:lnTo>
                    <a:pt x="12" y="95"/>
                  </a:lnTo>
                  <a:lnTo>
                    <a:pt x="9" y="99"/>
                  </a:lnTo>
                  <a:lnTo>
                    <a:pt x="4" y="100"/>
                  </a:lnTo>
                  <a:lnTo>
                    <a:pt x="3" y="98"/>
                  </a:lnTo>
                  <a:lnTo>
                    <a:pt x="6" y="87"/>
                  </a:lnTo>
                  <a:lnTo>
                    <a:pt x="4" y="86"/>
                  </a:lnTo>
                  <a:lnTo>
                    <a:pt x="0" y="90"/>
                  </a:lnTo>
                  <a:lnTo>
                    <a:pt x="0" y="86"/>
                  </a:lnTo>
                  <a:lnTo>
                    <a:pt x="2" y="83"/>
                  </a:lnTo>
                  <a:lnTo>
                    <a:pt x="3" y="80"/>
                  </a:lnTo>
                  <a:lnTo>
                    <a:pt x="4" y="74"/>
                  </a:lnTo>
                  <a:lnTo>
                    <a:pt x="7" y="73"/>
                  </a:lnTo>
                  <a:lnTo>
                    <a:pt x="7" y="71"/>
                  </a:lnTo>
                  <a:lnTo>
                    <a:pt x="10" y="70"/>
                  </a:lnTo>
                  <a:lnTo>
                    <a:pt x="12" y="70"/>
                  </a:lnTo>
                  <a:lnTo>
                    <a:pt x="15" y="71"/>
                  </a:lnTo>
                  <a:lnTo>
                    <a:pt x="16" y="70"/>
                  </a:lnTo>
                  <a:lnTo>
                    <a:pt x="17" y="71"/>
                  </a:lnTo>
                  <a:lnTo>
                    <a:pt x="20" y="63"/>
                  </a:lnTo>
                  <a:lnTo>
                    <a:pt x="23" y="61"/>
                  </a:lnTo>
                  <a:lnTo>
                    <a:pt x="23" y="55"/>
                  </a:lnTo>
                  <a:lnTo>
                    <a:pt x="23" y="57"/>
                  </a:lnTo>
                  <a:lnTo>
                    <a:pt x="26" y="55"/>
                  </a:lnTo>
                  <a:lnTo>
                    <a:pt x="28" y="54"/>
                  </a:lnTo>
                  <a:lnTo>
                    <a:pt x="29" y="52"/>
                  </a:lnTo>
                  <a:lnTo>
                    <a:pt x="31" y="51"/>
                  </a:lnTo>
                  <a:lnTo>
                    <a:pt x="35" y="47"/>
                  </a:lnTo>
                  <a:lnTo>
                    <a:pt x="38" y="45"/>
                  </a:lnTo>
                  <a:lnTo>
                    <a:pt x="35" y="45"/>
                  </a:lnTo>
                  <a:lnTo>
                    <a:pt x="38" y="37"/>
                  </a:lnTo>
                  <a:lnTo>
                    <a:pt x="39" y="3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96" name="Freeform 1162"/>
            <p:cNvSpPr>
              <a:spLocks/>
            </p:cNvSpPr>
            <p:nvPr/>
          </p:nvSpPr>
          <p:spPr bwMode="auto">
            <a:xfrm>
              <a:off x="4618808" y="1441075"/>
              <a:ext cx="17556" cy="12170"/>
            </a:xfrm>
            <a:custGeom>
              <a:avLst/>
              <a:gdLst/>
              <a:ahLst/>
              <a:cxnLst>
                <a:cxn ang="0">
                  <a:pos x="12" y="0"/>
                </a:cxn>
                <a:cxn ang="0">
                  <a:pos x="13" y="0"/>
                </a:cxn>
                <a:cxn ang="0">
                  <a:pos x="19" y="6"/>
                </a:cxn>
                <a:cxn ang="0">
                  <a:pos x="18" y="10"/>
                </a:cxn>
                <a:cxn ang="0">
                  <a:pos x="12" y="12"/>
                </a:cxn>
                <a:cxn ang="0">
                  <a:pos x="3" y="9"/>
                </a:cxn>
                <a:cxn ang="0">
                  <a:pos x="0" y="6"/>
                </a:cxn>
                <a:cxn ang="0">
                  <a:pos x="0" y="3"/>
                </a:cxn>
                <a:cxn ang="0">
                  <a:pos x="12" y="0"/>
                </a:cxn>
              </a:cxnLst>
              <a:rect l="0" t="0" r="r" b="b"/>
              <a:pathLst>
                <a:path w="19" h="12">
                  <a:moveTo>
                    <a:pt x="12" y="0"/>
                  </a:moveTo>
                  <a:lnTo>
                    <a:pt x="13" y="0"/>
                  </a:lnTo>
                  <a:lnTo>
                    <a:pt x="19" y="6"/>
                  </a:lnTo>
                  <a:lnTo>
                    <a:pt x="18" y="10"/>
                  </a:lnTo>
                  <a:lnTo>
                    <a:pt x="12" y="12"/>
                  </a:lnTo>
                  <a:lnTo>
                    <a:pt x="3" y="9"/>
                  </a:lnTo>
                  <a:lnTo>
                    <a:pt x="0" y="6"/>
                  </a:lnTo>
                  <a:lnTo>
                    <a:pt x="0" y="3"/>
                  </a:lnTo>
                  <a:lnTo>
                    <a:pt x="1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97" name="Freeform 1163"/>
            <p:cNvSpPr>
              <a:spLocks/>
            </p:cNvSpPr>
            <p:nvPr/>
          </p:nvSpPr>
          <p:spPr bwMode="auto">
            <a:xfrm>
              <a:off x="4618808" y="1441075"/>
              <a:ext cx="17556" cy="12170"/>
            </a:xfrm>
            <a:custGeom>
              <a:avLst/>
              <a:gdLst/>
              <a:ahLst/>
              <a:cxnLst>
                <a:cxn ang="0">
                  <a:pos x="12" y="0"/>
                </a:cxn>
                <a:cxn ang="0">
                  <a:pos x="13" y="0"/>
                </a:cxn>
                <a:cxn ang="0">
                  <a:pos x="19" y="6"/>
                </a:cxn>
                <a:cxn ang="0">
                  <a:pos x="18" y="10"/>
                </a:cxn>
                <a:cxn ang="0">
                  <a:pos x="12" y="12"/>
                </a:cxn>
                <a:cxn ang="0">
                  <a:pos x="3" y="9"/>
                </a:cxn>
                <a:cxn ang="0">
                  <a:pos x="0" y="6"/>
                </a:cxn>
                <a:cxn ang="0">
                  <a:pos x="0" y="3"/>
                </a:cxn>
                <a:cxn ang="0">
                  <a:pos x="12" y="0"/>
                </a:cxn>
              </a:cxnLst>
              <a:rect l="0" t="0" r="r" b="b"/>
              <a:pathLst>
                <a:path w="19" h="12">
                  <a:moveTo>
                    <a:pt x="12" y="0"/>
                  </a:moveTo>
                  <a:lnTo>
                    <a:pt x="13" y="0"/>
                  </a:lnTo>
                  <a:lnTo>
                    <a:pt x="19" y="6"/>
                  </a:lnTo>
                  <a:lnTo>
                    <a:pt x="18" y="10"/>
                  </a:lnTo>
                  <a:lnTo>
                    <a:pt x="12" y="12"/>
                  </a:lnTo>
                  <a:lnTo>
                    <a:pt x="3" y="9"/>
                  </a:lnTo>
                  <a:lnTo>
                    <a:pt x="0" y="6"/>
                  </a:lnTo>
                  <a:lnTo>
                    <a:pt x="0" y="3"/>
                  </a:lnTo>
                  <a:lnTo>
                    <a:pt x="1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98" name="Freeform 1164"/>
            <p:cNvSpPr>
              <a:spLocks/>
            </p:cNvSpPr>
            <p:nvPr/>
          </p:nvSpPr>
          <p:spPr bwMode="auto">
            <a:xfrm>
              <a:off x="4638120" y="1357916"/>
              <a:ext cx="48278" cy="52736"/>
            </a:xfrm>
            <a:custGeom>
              <a:avLst/>
              <a:gdLst/>
              <a:ahLst/>
              <a:cxnLst>
                <a:cxn ang="0">
                  <a:pos x="20" y="6"/>
                </a:cxn>
                <a:cxn ang="0">
                  <a:pos x="21" y="8"/>
                </a:cxn>
                <a:cxn ang="0">
                  <a:pos x="21" y="6"/>
                </a:cxn>
                <a:cxn ang="0">
                  <a:pos x="24" y="5"/>
                </a:cxn>
                <a:cxn ang="0">
                  <a:pos x="33" y="2"/>
                </a:cxn>
                <a:cxn ang="0">
                  <a:pos x="33" y="5"/>
                </a:cxn>
                <a:cxn ang="0">
                  <a:pos x="36" y="5"/>
                </a:cxn>
                <a:cxn ang="0">
                  <a:pos x="37" y="2"/>
                </a:cxn>
                <a:cxn ang="0">
                  <a:pos x="45" y="0"/>
                </a:cxn>
                <a:cxn ang="0">
                  <a:pos x="50" y="3"/>
                </a:cxn>
                <a:cxn ang="0">
                  <a:pos x="52" y="6"/>
                </a:cxn>
                <a:cxn ang="0">
                  <a:pos x="52" y="11"/>
                </a:cxn>
                <a:cxn ang="0">
                  <a:pos x="50" y="13"/>
                </a:cxn>
                <a:cxn ang="0">
                  <a:pos x="39" y="16"/>
                </a:cxn>
                <a:cxn ang="0">
                  <a:pos x="34" y="16"/>
                </a:cxn>
                <a:cxn ang="0">
                  <a:pos x="34" y="18"/>
                </a:cxn>
                <a:cxn ang="0">
                  <a:pos x="33" y="19"/>
                </a:cxn>
                <a:cxn ang="0">
                  <a:pos x="34" y="21"/>
                </a:cxn>
                <a:cxn ang="0">
                  <a:pos x="33" y="22"/>
                </a:cxn>
                <a:cxn ang="0">
                  <a:pos x="27" y="22"/>
                </a:cxn>
                <a:cxn ang="0">
                  <a:pos x="27" y="22"/>
                </a:cxn>
                <a:cxn ang="0">
                  <a:pos x="27" y="27"/>
                </a:cxn>
                <a:cxn ang="0">
                  <a:pos x="30" y="24"/>
                </a:cxn>
                <a:cxn ang="0">
                  <a:pos x="30" y="25"/>
                </a:cxn>
                <a:cxn ang="0">
                  <a:pos x="29" y="28"/>
                </a:cxn>
                <a:cxn ang="0">
                  <a:pos x="32" y="25"/>
                </a:cxn>
                <a:cxn ang="0">
                  <a:pos x="33" y="25"/>
                </a:cxn>
                <a:cxn ang="0">
                  <a:pos x="33" y="28"/>
                </a:cxn>
                <a:cxn ang="0">
                  <a:pos x="34" y="27"/>
                </a:cxn>
                <a:cxn ang="0">
                  <a:pos x="34" y="24"/>
                </a:cxn>
                <a:cxn ang="0">
                  <a:pos x="36" y="22"/>
                </a:cxn>
                <a:cxn ang="0">
                  <a:pos x="37" y="24"/>
                </a:cxn>
                <a:cxn ang="0">
                  <a:pos x="40" y="25"/>
                </a:cxn>
                <a:cxn ang="0">
                  <a:pos x="45" y="24"/>
                </a:cxn>
                <a:cxn ang="0">
                  <a:pos x="45" y="40"/>
                </a:cxn>
                <a:cxn ang="0">
                  <a:pos x="42" y="44"/>
                </a:cxn>
                <a:cxn ang="0">
                  <a:pos x="33" y="47"/>
                </a:cxn>
                <a:cxn ang="0">
                  <a:pos x="30" y="45"/>
                </a:cxn>
                <a:cxn ang="0">
                  <a:pos x="20" y="51"/>
                </a:cxn>
                <a:cxn ang="0">
                  <a:pos x="17" y="51"/>
                </a:cxn>
                <a:cxn ang="0">
                  <a:pos x="13" y="50"/>
                </a:cxn>
                <a:cxn ang="0">
                  <a:pos x="11" y="47"/>
                </a:cxn>
                <a:cxn ang="0">
                  <a:pos x="11" y="45"/>
                </a:cxn>
                <a:cxn ang="0">
                  <a:pos x="4" y="43"/>
                </a:cxn>
                <a:cxn ang="0">
                  <a:pos x="1" y="40"/>
                </a:cxn>
                <a:cxn ang="0">
                  <a:pos x="1" y="37"/>
                </a:cxn>
                <a:cxn ang="0">
                  <a:pos x="3" y="34"/>
                </a:cxn>
                <a:cxn ang="0">
                  <a:pos x="0" y="22"/>
                </a:cxn>
                <a:cxn ang="0">
                  <a:pos x="1" y="16"/>
                </a:cxn>
                <a:cxn ang="0">
                  <a:pos x="1" y="15"/>
                </a:cxn>
                <a:cxn ang="0">
                  <a:pos x="8" y="13"/>
                </a:cxn>
                <a:cxn ang="0">
                  <a:pos x="10" y="11"/>
                </a:cxn>
                <a:cxn ang="0">
                  <a:pos x="11" y="9"/>
                </a:cxn>
                <a:cxn ang="0">
                  <a:pos x="14" y="11"/>
                </a:cxn>
                <a:cxn ang="0">
                  <a:pos x="16" y="8"/>
                </a:cxn>
                <a:cxn ang="0">
                  <a:pos x="19" y="8"/>
                </a:cxn>
                <a:cxn ang="0">
                  <a:pos x="20" y="6"/>
                </a:cxn>
              </a:cxnLst>
              <a:rect l="0" t="0" r="r" b="b"/>
              <a:pathLst>
                <a:path w="52" h="51">
                  <a:moveTo>
                    <a:pt x="20" y="6"/>
                  </a:moveTo>
                  <a:lnTo>
                    <a:pt x="21" y="8"/>
                  </a:lnTo>
                  <a:lnTo>
                    <a:pt x="21" y="6"/>
                  </a:lnTo>
                  <a:lnTo>
                    <a:pt x="24" y="5"/>
                  </a:lnTo>
                  <a:lnTo>
                    <a:pt x="33" y="2"/>
                  </a:lnTo>
                  <a:lnTo>
                    <a:pt x="33" y="5"/>
                  </a:lnTo>
                  <a:lnTo>
                    <a:pt x="36" y="5"/>
                  </a:lnTo>
                  <a:lnTo>
                    <a:pt x="37" y="2"/>
                  </a:lnTo>
                  <a:lnTo>
                    <a:pt x="45" y="0"/>
                  </a:lnTo>
                  <a:lnTo>
                    <a:pt x="50" y="3"/>
                  </a:lnTo>
                  <a:lnTo>
                    <a:pt x="52" y="6"/>
                  </a:lnTo>
                  <a:lnTo>
                    <a:pt x="52" y="11"/>
                  </a:lnTo>
                  <a:lnTo>
                    <a:pt x="50" y="13"/>
                  </a:lnTo>
                  <a:lnTo>
                    <a:pt x="39" y="16"/>
                  </a:lnTo>
                  <a:lnTo>
                    <a:pt x="34" y="16"/>
                  </a:lnTo>
                  <a:lnTo>
                    <a:pt x="34" y="18"/>
                  </a:lnTo>
                  <a:lnTo>
                    <a:pt x="33" y="19"/>
                  </a:lnTo>
                  <a:lnTo>
                    <a:pt x="34" y="21"/>
                  </a:lnTo>
                  <a:lnTo>
                    <a:pt x="33" y="22"/>
                  </a:lnTo>
                  <a:lnTo>
                    <a:pt x="27" y="22"/>
                  </a:lnTo>
                  <a:lnTo>
                    <a:pt x="27" y="22"/>
                  </a:lnTo>
                  <a:lnTo>
                    <a:pt x="27" y="27"/>
                  </a:lnTo>
                  <a:lnTo>
                    <a:pt x="30" y="24"/>
                  </a:lnTo>
                  <a:lnTo>
                    <a:pt x="30" y="25"/>
                  </a:lnTo>
                  <a:lnTo>
                    <a:pt x="29" y="28"/>
                  </a:lnTo>
                  <a:lnTo>
                    <a:pt x="32" y="25"/>
                  </a:lnTo>
                  <a:lnTo>
                    <a:pt x="33" y="25"/>
                  </a:lnTo>
                  <a:lnTo>
                    <a:pt x="33" y="28"/>
                  </a:lnTo>
                  <a:lnTo>
                    <a:pt x="34" y="27"/>
                  </a:lnTo>
                  <a:lnTo>
                    <a:pt x="34" y="24"/>
                  </a:lnTo>
                  <a:lnTo>
                    <a:pt x="36" y="22"/>
                  </a:lnTo>
                  <a:lnTo>
                    <a:pt x="37" y="24"/>
                  </a:lnTo>
                  <a:lnTo>
                    <a:pt x="40" y="25"/>
                  </a:lnTo>
                  <a:lnTo>
                    <a:pt x="45" y="24"/>
                  </a:lnTo>
                  <a:lnTo>
                    <a:pt x="45" y="40"/>
                  </a:lnTo>
                  <a:lnTo>
                    <a:pt x="42" y="44"/>
                  </a:lnTo>
                  <a:lnTo>
                    <a:pt x="33" y="47"/>
                  </a:lnTo>
                  <a:lnTo>
                    <a:pt x="30" y="45"/>
                  </a:lnTo>
                  <a:lnTo>
                    <a:pt x="20" y="51"/>
                  </a:lnTo>
                  <a:lnTo>
                    <a:pt x="17" y="51"/>
                  </a:lnTo>
                  <a:lnTo>
                    <a:pt x="13" y="50"/>
                  </a:lnTo>
                  <a:lnTo>
                    <a:pt x="11" y="47"/>
                  </a:lnTo>
                  <a:lnTo>
                    <a:pt x="11" y="45"/>
                  </a:lnTo>
                  <a:lnTo>
                    <a:pt x="4" y="43"/>
                  </a:lnTo>
                  <a:lnTo>
                    <a:pt x="1" y="40"/>
                  </a:lnTo>
                  <a:lnTo>
                    <a:pt x="1" y="37"/>
                  </a:lnTo>
                  <a:lnTo>
                    <a:pt x="3" y="34"/>
                  </a:lnTo>
                  <a:lnTo>
                    <a:pt x="0" y="22"/>
                  </a:lnTo>
                  <a:lnTo>
                    <a:pt x="1" y="16"/>
                  </a:lnTo>
                  <a:lnTo>
                    <a:pt x="1" y="15"/>
                  </a:lnTo>
                  <a:lnTo>
                    <a:pt x="8" y="13"/>
                  </a:lnTo>
                  <a:lnTo>
                    <a:pt x="10" y="11"/>
                  </a:lnTo>
                  <a:lnTo>
                    <a:pt x="11" y="9"/>
                  </a:lnTo>
                  <a:lnTo>
                    <a:pt x="14" y="11"/>
                  </a:lnTo>
                  <a:lnTo>
                    <a:pt x="16" y="8"/>
                  </a:lnTo>
                  <a:lnTo>
                    <a:pt x="19" y="8"/>
                  </a:lnTo>
                  <a:lnTo>
                    <a:pt x="20"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899" name="Freeform 1166"/>
            <p:cNvSpPr>
              <a:spLocks/>
            </p:cNvSpPr>
            <p:nvPr/>
          </p:nvSpPr>
          <p:spPr bwMode="auto">
            <a:xfrm>
              <a:off x="4616174" y="1362986"/>
              <a:ext cx="19312" cy="25354"/>
            </a:xfrm>
            <a:custGeom>
              <a:avLst/>
              <a:gdLst/>
              <a:ahLst/>
              <a:cxnLst>
                <a:cxn ang="0">
                  <a:pos x="2" y="7"/>
                </a:cxn>
                <a:cxn ang="0">
                  <a:pos x="3" y="6"/>
                </a:cxn>
                <a:cxn ang="0">
                  <a:pos x="5" y="7"/>
                </a:cxn>
                <a:cxn ang="0">
                  <a:pos x="5" y="4"/>
                </a:cxn>
                <a:cxn ang="0">
                  <a:pos x="5" y="3"/>
                </a:cxn>
                <a:cxn ang="0">
                  <a:pos x="9" y="0"/>
                </a:cxn>
                <a:cxn ang="0">
                  <a:pos x="9" y="1"/>
                </a:cxn>
                <a:cxn ang="0">
                  <a:pos x="9" y="3"/>
                </a:cxn>
                <a:cxn ang="0">
                  <a:pos x="11" y="6"/>
                </a:cxn>
                <a:cxn ang="0">
                  <a:pos x="19" y="14"/>
                </a:cxn>
                <a:cxn ang="0">
                  <a:pos x="21" y="17"/>
                </a:cxn>
                <a:cxn ang="0">
                  <a:pos x="18" y="22"/>
                </a:cxn>
                <a:cxn ang="0">
                  <a:pos x="12" y="24"/>
                </a:cxn>
                <a:cxn ang="0">
                  <a:pos x="8" y="20"/>
                </a:cxn>
                <a:cxn ang="0">
                  <a:pos x="5" y="13"/>
                </a:cxn>
                <a:cxn ang="0">
                  <a:pos x="3" y="14"/>
                </a:cxn>
                <a:cxn ang="0">
                  <a:pos x="2" y="10"/>
                </a:cxn>
                <a:cxn ang="0">
                  <a:pos x="0" y="7"/>
                </a:cxn>
                <a:cxn ang="0">
                  <a:pos x="2" y="7"/>
                </a:cxn>
              </a:cxnLst>
              <a:rect l="0" t="0" r="r" b="b"/>
              <a:pathLst>
                <a:path w="21" h="24">
                  <a:moveTo>
                    <a:pt x="2" y="7"/>
                  </a:moveTo>
                  <a:lnTo>
                    <a:pt x="3" y="6"/>
                  </a:lnTo>
                  <a:lnTo>
                    <a:pt x="5" y="7"/>
                  </a:lnTo>
                  <a:lnTo>
                    <a:pt x="5" y="4"/>
                  </a:lnTo>
                  <a:lnTo>
                    <a:pt x="5" y="3"/>
                  </a:lnTo>
                  <a:lnTo>
                    <a:pt x="9" y="0"/>
                  </a:lnTo>
                  <a:lnTo>
                    <a:pt x="9" y="1"/>
                  </a:lnTo>
                  <a:lnTo>
                    <a:pt x="9" y="3"/>
                  </a:lnTo>
                  <a:lnTo>
                    <a:pt x="11" y="6"/>
                  </a:lnTo>
                  <a:lnTo>
                    <a:pt x="19" y="14"/>
                  </a:lnTo>
                  <a:lnTo>
                    <a:pt x="21" y="17"/>
                  </a:lnTo>
                  <a:lnTo>
                    <a:pt x="18" y="22"/>
                  </a:lnTo>
                  <a:lnTo>
                    <a:pt x="12" y="24"/>
                  </a:lnTo>
                  <a:lnTo>
                    <a:pt x="8" y="20"/>
                  </a:lnTo>
                  <a:lnTo>
                    <a:pt x="5" y="13"/>
                  </a:lnTo>
                  <a:lnTo>
                    <a:pt x="3" y="14"/>
                  </a:lnTo>
                  <a:lnTo>
                    <a:pt x="2" y="10"/>
                  </a:lnTo>
                  <a:lnTo>
                    <a:pt x="0" y="7"/>
                  </a:lnTo>
                  <a:lnTo>
                    <a:pt x="2" y="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00" name="Freeform 1168"/>
            <p:cNvSpPr>
              <a:spLocks/>
            </p:cNvSpPr>
            <p:nvPr/>
          </p:nvSpPr>
          <p:spPr bwMode="auto">
            <a:xfrm>
              <a:off x="4638120" y="1311265"/>
              <a:ext cx="51789" cy="36509"/>
            </a:xfrm>
            <a:custGeom>
              <a:avLst/>
              <a:gdLst/>
              <a:ahLst/>
              <a:cxnLst>
                <a:cxn ang="0">
                  <a:pos x="48" y="9"/>
                </a:cxn>
                <a:cxn ang="0">
                  <a:pos x="49" y="9"/>
                </a:cxn>
                <a:cxn ang="0">
                  <a:pos x="49" y="12"/>
                </a:cxn>
                <a:cxn ang="0">
                  <a:pos x="53" y="13"/>
                </a:cxn>
                <a:cxn ang="0">
                  <a:pos x="53" y="15"/>
                </a:cxn>
                <a:cxn ang="0">
                  <a:pos x="56" y="18"/>
                </a:cxn>
                <a:cxn ang="0">
                  <a:pos x="56" y="31"/>
                </a:cxn>
                <a:cxn ang="0">
                  <a:pos x="53" y="32"/>
                </a:cxn>
                <a:cxn ang="0">
                  <a:pos x="50" y="32"/>
                </a:cxn>
                <a:cxn ang="0">
                  <a:pos x="49" y="32"/>
                </a:cxn>
                <a:cxn ang="0">
                  <a:pos x="42" y="34"/>
                </a:cxn>
                <a:cxn ang="0">
                  <a:pos x="39" y="34"/>
                </a:cxn>
                <a:cxn ang="0">
                  <a:pos x="33" y="28"/>
                </a:cxn>
                <a:cxn ang="0">
                  <a:pos x="32" y="27"/>
                </a:cxn>
                <a:cxn ang="0">
                  <a:pos x="30" y="25"/>
                </a:cxn>
                <a:cxn ang="0">
                  <a:pos x="29" y="25"/>
                </a:cxn>
                <a:cxn ang="0">
                  <a:pos x="27" y="24"/>
                </a:cxn>
                <a:cxn ang="0">
                  <a:pos x="27" y="28"/>
                </a:cxn>
                <a:cxn ang="0">
                  <a:pos x="29" y="31"/>
                </a:cxn>
                <a:cxn ang="0">
                  <a:pos x="27" y="31"/>
                </a:cxn>
                <a:cxn ang="0">
                  <a:pos x="27" y="34"/>
                </a:cxn>
                <a:cxn ang="0">
                  <a:pos x="23" y="35"/>
                </a:cxn>
                <a:cxn ang="0">
                  <a:pos x="20" y="29"/>
                </a:cxn>
                <a:cxn ang="0">
                  <a:pos x="16" y="28"/>
                </a:cxn>
                <a:cxn ang="0">
                  <a:pos x="14" y="27"/>
                </a:cxn>
                <a:cxn ang="0">
                  <a:pos x="13" y="27"/>
                </a:cxn>
                <a:cxn ang="0">
                  <a:pos x="13" y="28"/>
                </a:cxn>
                <a:cxn ang="0">
                  <a:pos x="13" y="29"/>
                </a:cxn>
                <a:cxn ang="0">
                  <a:pos x="11" y="28"/>
                </a:cxn>
                <a:cxn ang="0">
                  <a:pos x="8" y="29"/>
                </a:cxn>
                <a:cxn ang="0">
                  <a:pos x="8" y="32"/>
                </a:cxn>
                <a:cxn ang="0">
                  <a:pos x="8" y="35"/>
                </a:cxn>
                <a:cxn ang="0">
                  <a:pos x="7" y="32"/>
                </a:cxn>
                <a:cxn ang="0">
                  <a:pos x="4" y="35"/>
                </a:cxn>
                <a:cxn ang="0">
                  <a:pos x="3" y="34"/>
                </a:cxn>
                <a:cxn ang="0">
                  <a:pos x="1" y="31"/>
                </a:cxn>
                <a:cxn ang="0">
                  <a:pos x="0" y="31"/>
                </a:cxn>
                <a:cxn ang="0">
                  <a:pos x="3" y="25"/>
                </a:cxn>
                <a:cxn ang="0">
                  <a:pos x="5" y="21"/>
                </a:cxn>
                <a:cxn ang="0">
                  <a:pos x="7" y="22"/>
                </a:cxn>
                <a:cxn ang="0">
                  <a:pos x="8" y="22"/>
                </a:cxn>
                <a:cxn ang="0">
                  <a:pos x="8" y="21"/>
                </a:cxn>
                <a:cxn ang="0">
                  <a:pos x="14" y="16"/>
                </a:cxn>
                <a:cxn ang="0">
                  <a:pos x="27" y="12"/>
                </a:cxn>
                <a:cxn ang="0">
                  <a:pos x="30" y="5"/>
                </a:cxn>
                <a:cxn ang="0">
                  <a:pos x="32" y="8"/>
                </a:cxn>
                <a:cxn ang="0">
                  <a:pos x="36" y="0"/>
                </a:cxn>
                <a:cxn ang="0">
                  <a:pos x="40" y="0"/>
                </a:cxn>
                <a:cxn ang="0">
                  <a:pos x="42" y="2"/>
                </a:cxn>
                <a:cxn ang="0">
                  <a:pos x="42" y="3"/>
                </a:cxn>
                <a:cxn ang="0">
                  <a:pos x="43" y="3"/>
                </a:cxn>
                <a:cxn ang="0">
                  <a:pos x="45" y="6"/>
                </a:cxn>
                <a:cxn ang="0">
                  <a:pos x="48" y="8"/>
                </a:cxn>
                <a:cxn ang="0">
                  <a:pos x="48" y="9"/>
                </a:cxn>
              </a:cxnLst>
              <a:rect l="0" t="0" r="r" b="b"/>
              <a:pathLst>
                <a:path w="56" h="35">
                  <a:moveTo>
                    <a:pt x="48" y="9"/>
                  </a:moveTo>
                  <a:lnTo>
                    <a:pt x="49" y="9"/>
                  </a:lnTo>
                  <a:lnTo>
                    <a:pt x="49" y="12"/>
                  </a:lnTo>
                  <a:lnTo>
                    <a:pt x="53" y="13"/>
                  </a:lnTo>
                  <a:lnTo>
                    <a:pt x="53" y="15"/>
                  </a:lnTo>
                  <a:lnTo>
                    <a:pt x="56" y="18"/>
                  </a:lnTo>
                  <a:lnTo>
                    <a:pt x="56" y="31"/>
                  </a:lnTo>
                  <a:lnTo>
                    <a:pt x="53" y="32"/>
                  </a:lnTo>
                  <a:lnTo>
                    <a:pt x="50" y="32"/>
                  </a:lnTo>
                  <a:lnTo>
                    <a:pt x="49" y="32"/>
                  </a:lnTo>
                  <a:lnTo>
                    <a:pt x="42" y="34"/>
                  </a:lnTo>
                  <a:lnTo>
                    <a:pt x="39" y="34"/>
                  </a:lnTo>
                  <a:lnTo>
                    <a:pt x="33" y="28"/>
                  </a:lnTo>
                  <a:lnTo>
                    <a:pt x="32" y="27"/>
                  </a:lnTo>
                  <a:lnTo>
                    <a:pt x="30" y="25"/>
                  </a:lnTo>
                  <a:lnTo>
                    <a:pt x="29" y="25"/>
                  </a:lnTo>
                  <a:lnTo>
                    <a:pt x="27" y="24"/>
                  </a:lnTo>
                  <a:lnTo>
                    <a:pt x="27" y="28"/>
                  </a:lnTo>
                  <a:lnTo>
                    <a:pt x="29" y="31"/>
                  </a:lnTo>
                  <a:lnTo>
                    <a:pt x="27" y="31"/>
                  </a:lnTo>
                  <a:lnTo>
                    <a:pt x="27" y="34"/>
                  </a:lnTo>
                  <a:lnTo>
                    <a:pt x="23" y="35"/>
                  </a:lnTo>
                  <a:lnTo>
                    <a:pt x="20" y="29"/>
                  </a:lnTo>
                  <a:lnTo>
                    <a:pt x="16" y="28"/>
                  </a:lnTo>
                  <a:lnTo>
                    <a:pt x="14" y="27"/>
                  </a:lnTo>
                  <a:lnTo>
                    <a:pt x="13" y="27"/>
                  </a:lnTo>
                  <a:lnTo>
                    <a:pt x="13" y="28"/>
                  </a:lnTo>
                  <a:lnTo>
                    <a:pt x="13" y="29"/>
                  </a:lnTo>
                  <a:lnTo>
                    <a:pt x="11" y="28"/>
                  </a:lnTo>
                  <a:lnTo>
                    <a:pt x="8" y="29"/>
                  </a:lnTo>
                  <a:lnTo>
                    <a:pt x="8" y="32"/>
                  </a:lnTo>
                  <a:lnTo>
                    <a:pt x="8" y="35"/>
                  </a:lnTo>
                  <a:lnTo>
                    <a:pt x="7" y="32"/>
                  </a:lnTo>
                  <a:lnTo>
                    <a:pt x="4" y="35"/>
                  </a:lnTo>
                  <a:lnTo>
                    <a:pt x="3" y="34"/>
                  </a:lnTo>
                  <a:lnTo>
                    <a:pt x="1" y="31"/>
                  </a:lnTo>
                  <a:lnTo>
                    <a:pt x="0" y="31"/>
                  </a:lnTo>
                  <a:lnTo>
                    <a:pt x="3" y="25"/>
                  </a:lnTo>
                  <a:lnTo>
                    <a:pt x="5" y="21"/>
                  </a:lnTo>
                  <a:lnTo>
                    <a:pt x="7" y="22"/>
                  </a:lnTo>
                  <a:lnTo>
                    <a:pt x="8" y="22"/>
                  </a:lnTo>
                  <a:lnTo>
                    <a:pt x="8" y="21"/>
                  </a:lnTo>
                  <a:lnTo>
                    <a:pt x="14" y="16"/>
                  </a:lnTo>
                  <a:lnTo>
                    <a:pt x="27" y="12"/>
                  </a:lnTo>
                  <a:lnTo>
                    <a:pt x="30" y="5"/>
                  </a:lnTo>
                  <a:lnTo>
                    <a:pt x="32" y="8"/>
                  </a:lnTo>
                  <a:lnTo>
                    <a:pt x="36" y="0"/>
                  </a:lnTo>
                  <a:lnTo>
                    <a:pt x="40" y="0"/>
                  </a:lnTo>
                  <a:lnTo>
                    <a:pt x="42" y="2"/>
                  </a:lnTo>
                  <a:lnTo>
                    <a:pt x="42" y="3"/>
                  </a:lnTo>
                  <a:lnTo>
                    <a:pt x="43" y="3"/>
                  </a:lnTo>
                  <a:lnTo>
                    <a:pt x="45" y="6"/>
                  </a:lnTo>
                  <a:lnTo>
                    <a:pt x="48" y="8"/>
                  </a:lnTo>
                  <a:lnTo>
                    <a:pt x="48" y="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01" name="Freeform 1170"/>
            <p:cNvSpPr>
              <a:spLocks/>
            </p:cNvSpPr>
            <p:nvPr/>
          </p:nvSpPr>
          <p:spPr bwMode="auto">
            <a:xfrm>
              <a:off x="4863714" y="1380227"/>
              <a:ext cx="39501" cy="27381"/>
            </a:xfrm>
            <a:custGeom>
              <a:avLst/>
              <a:gdLst/>
              <a:ahLst/>
              <a:cxnLst>
                <a:cxn ang="0">
                  <a:pos x="16" y="5"/>
                </a:cxn>
                <a:cxn ang="0">
                  <a:pos x="18" y="5"/>
                </a:cxn>
                <a:cxn ang="0">
                  <a:pos x="19" y="3"/>
                </a:cxn>
                <a:cxn ang="0">
                  <a:pos x="24" y="3"/>
                </a:cxn>
                <a:cxn ang="0">
                  <a:pos x="24" y="5"/>
                </a:cxn>
                <a:cxn ang="0">
                  <a:pos x="27" y="5"/>
                </a:cxn>
                <a:cxn ang="0">
                  <a:pos x="28" y="5"/>
                </a:cxn>
                <a:cxn ang="0">
                  <a:pos x="32" y="7"/>
                </a:cxn>
                <a:cxn ang="0">
                  <a:pos x="35" y="6"/>
                </a:cxn>
                <a:cxn ang="0">
                  <a:pos x="37" y="5"/>
                </a:cxn>
                <a:cxn ang="0">
                  <a:pos x="38" y="6"/>
                </a:cxn>
                <a:cxn ang="0">
                  <a:pos x="41" y="7"/>
                </a:cxn>
                <a:cxn ang="0">
                  <a:pos x="43" y="12"/>
                </a:cxn>
                <a:cxn ang="0">
                  <a:pos x="43" y="13"/>
                </a:cxn>
                <a:cxn ang="0">
                  <a:pos x="40" y="13"/>
                </a:cxn>
                <a:cxn ang="0">
                  <a:pos x="38" y="15"/>
                </a:cxn>
                <a:cxn ang="0">
                  <a:pos x="40" y="16"/>
                </a:cxn>
                <a:cxn ang="0">
                  <a:pos x="40" y="19"/>
                </a:cxn>
                <a:cxn ang="0">
                  <a:pos x="38" y="22"/>
                </a:cxn>
                <a:cxn ang="0">
                  <a:pos x="40" y="23"/>
                </a:cxn>
                <a:cxn ang="0">
                  <a:pos x="38" y="26"/>
                </a:cxn>
                <a:cxn ang="0">
                  <a:pos x="32" y="26"/>
                </a:cxn>
                <a:cxn ang="0">
                  <a:pos x="28" y="26"/>
                </a:cxn>
                <a:cxn ang="0">
                  <a:pos x="25" y="23"/>
                </a:cxn>
                <a:cxn ang="0">
                  <a:pos x="21" y="25"/>
                </a:cxn>
                <a:cxn ang="0">
                  <a:pos x="21" y="23"/>
                </a:cxn>
                <a:cxn ang="0">
                  <a:pos x="16" y="25"/>
                </a:cxn>
                <a:cxn ang="0">
                  <a:pos x="16" y="23"/>
                </a:cxn>
                <a:cxn ang="0">
                  <a:pos x="14" y="23"/>
                </a:cxn>
                <a:cxn ang="0">
                  <a:pos x="9" y="23"/>
                </a:cxn>
                <a:cxn ang="0">
                  <a:pos x="6" y="21"/>
                </a:cxn>
                <a:cxn ang="0">
                  <a:pos x="5" y="21"/>
                </a:cxn>
                <a:cxn ang="0">
                  <a:pos x="2" y="16"/>
                </a:cxn>
                <a:cxn ang="0">
                  <a:pos x="0" y="13"/>
                </a:cxn>
                <a:cxn ang="0">
                  <a:pos x="0" y="12"/>
                </a:cxn>
                <a:cxn ang="0">
                  <a:pos x="0" y="10"/>
                </a:cxn>
                <a:cxn ang="0">
                  <a:pos x="0" y="7"/>
                </a:cxn>
                <a:cxn ang="0">
                  <a:pos x="3" y="6"/>
                </a:cxn>
                <a:cxn ang="0">
                  <a:pos x="8" y="5"/>
                </a:cxn>
                <a:cxn ang="0">
                  <a:pos x="9" y="0"/>
                </a:cxn>
                <a:cxn ang="0">
                  <a:pos x="11" y="0"/>
                </a:cxn>
                <a:cxn ang="0">
                  <a:pos x="12" y="5"/>
                </a:cxn>
                <a:cxn ang="0">
                  <a:pos x="14" y="3"/>
                </a:cxn>
                <a:cxn ang="0">
                  <a:pos x="14" y="5"/>
                </a:cxn>
                <a:cxn ang="0">
                  <a:pos x="16" y="5"/>
                </a:cxn>
              </a:cxnLst>
              <a:rect l="0" t="0" r="r" b="b"/>
              <a:pathLst>
                <a:path w="43" h="26">
                  <a:moveTo>
                    <a:pt x="16" y="5"/>
                  </a:moveTo>
                  <a:lnTo>
                    <a:pt x="18" y="5"/>
                  </a:lnTo>
                  <a:lnTo>
                    <a:pt x="19" y="3"/>
                  </a:lnTo>
                  <a:lnTo>
                    <a:pt x="24" y="3"/>
                  </a:lnTo>
                  <a:lnTo>
                    <a:pt x="24" y="5"/>
                  </a:lnTo>
                  <a:lnTo>
                    <a:pt x="27" y="5"/>
                  </a:lnTo>
                  <a:lnTo>
                    <a:pt x="28" y="5"/>
                  </a:lnTo>
                  <a:lnTo>
                    <a:pt x="32" y="7"/>
                  </a:lnTo>
                  <a:lnTo>
                    <a:pt x="35" y="6"/>
                  </a:lnTo>
                  <a:lnTo>
                    <a:pt x="37" y="5"/>
                  </a:lnTo>
                  <a:lnTo>
                    <a:pt x="38" y="6"/>
                  </a:lnTo>
                  <a:lnTo>
                    <a:pt x="41" y="7"/>
                  </a:lnTo>
                  <a:lnTo>
                    <a:pt x="43" y="12"/>
                  </a:lnTo>
                  <a:lnTo>
                    <a:pt x="43" y="13"/>
                  </a:lnTo>
                  <a:lnTo>
                    <a:pt x="40" y="13"/>
                  </a:lnTo>
                  <a:lnTo>
                    <a:pt x="38" y="15"/>
                  </a:lnTo>
                  <a:lnTo>
                    <a:pt x="40" y="16"/>
                  </a:lnTo>
                  <a:lnTo>
                    <a:pt x="40" y="19"/>
                  </a:lnTo>
                  <a:lnTo>
                    <a:pt x="38" y="22"/>
                  </a:lnTo>
                  <a:lnTo>
                    <a:pt x="40" y="23"/>
                  </a:lnTo>
                  <a:lnTo>
                    <a:pt x="38" y="26"/>
                  </a:lnTo>
                  <a:lnTo>
                    <a:pt x="32" y="26"/>
                  </a:lnTo>
                  <a:lnTo>
                    <a:pt x="28" y="26"/>
                  </a:lnTo>
                  <a:lnTo>
                    <a:pt x="25" y="23"/>
                  </a:lnTo>
                  <a:lnTo>
                    <a:pt x="21" y="25"/>
                  </a:lnTo>
                  <a:lnTo>
                    <a:pt x="21" y="23"/>
                  </a:lnTo>
                  <a:lnTo>
                    <a:pt x="16" y="25"/>
                  </a:lnTo>
                  <a:lnTo>
                    <a:pt x="16" y="23"/>
                  </a:lnTo>
                  <a:lnTo>
                    <a:pt x="14" y="23"/>
                  </a:lnTo>
                  <a:lnTo>
                    <a:pt x="9" y="23"/>
                  </a:lnTo>
                  <a:lnTo>
                    <a:pt x="6" y="21"/>
                  </a:lnTo>
                  <a:lnTo>
                    <a:pt x="5" y="21"/>
                  </a:lnTo>
                  <a:lnTo>
                    <a:pt x="2" y="16"/>
                  </a:lnTo>
                  <a:lnTo>
                    <a:pt x="0" y="13"/>
                  </a:lnTo>
                  <a:lnTo>
                    <a:pt x="0" y="12"/>
                  </a:lnTo>
                  <a:lnTo>
                    <a:pt x="0" y="10"/>
                  </a:lnTo>
                  <a:lnTo>
                    <a:pt x="0" y="7"/>
                  </a:lnTo>
                  <a:lnTo>
                    <a:pt x="3" y="6"/>
                  </a:lnTo>
                  <a:lnTo>
                    <a:pt x="8" y="5"/>
                  </a:lnTo>
                  <a:lnTo>
                    <a:pt x="9" y="0"/>
                  </a:lnTo>
                  <a:lnTo>
                    <a:pt x="11" y="0"/>
                  </a:lnTo>
                  <a:lnTo>
                    <a:pt x="12" y="5"/>
                  </a:lnTo>
                  <a:lnTo>
                    <a:pt x="14" y="3"/>
                  </a:lnTo>
                  <a:lnTo>
                    <a:pt x="14" y="5"/>
                  </a:lnTo>
                  <a:lnTo>
                    <a:pt x="16" y="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02" name="Freeform 1171"/>
            <p:cNvSpPr>
              <a:spLocks/>
            </p:cNvSpPr>
            <p:nvPr/>
          </p:nvSpPr>
          <p:spPr bwMode="auto">
            <a:xfrm>
              <a:off x="4863714" y="1380227"/>
              <a:ext cx="39501" cy="27381"/>
            </a:xfrm>
            <a:custGeom>
              <a:avLst/>
              <a:gdLst/>
              <a:ahLst/>
              <a:cxnLst>
                <a:cxn ang="0">
                  <a:pos x="16" y="5"/>
                </a:cxn>
                <a:cxn ang="0">
                  <a:pos x="18" y="5"/>
                </a:cxn>
                <a:cxn ang="0">
                  <a:pos x="19" y="3"/>
                </a:cxn>
                <a:cxn ang="0">
                  <a:pos x="24" y="3"/>
                </a:cxn>
                <a:cxn ang="0">
                  <a:pos x="24" y="5"/>
                </a:cxn>
                <a:cxn ang="0">
                  <a:pos x="27" y="5"/>
                </a:cxn>
                <a:cxn ang="0">
                  <a:pos x="28" y="5"/>
                </a:cxn>
                <a:cxn ang="0">
                  <a:pos x="32" y="7"/>
                </a:cxn>
                <a:cxn ang="0">
                  <a:pos x="35" y="6"/>
                </a:cxn>
                <a:cxn ang="0">
                  <a:pos x="37" y="5"/>
                </a:cxn>
                <a:cxn ang="0">
                  <a:pos x="38" y="6"/>
                </a:cxn>
                <a:cxn ang="0">
                  <a:pos x="41" y="7"/>
                </a:cxn>
                <a:cxn ang="0">
                  <a:pos x="43" y="12"/>
                </a:cxn>
                <a:cxn ang="0">
                  <a:pos x="43" y="13"/>
                </a:cxn>
                <a:cxn ang="0">
                  <a:pos x="40" y="13"/>
                </a:cxn>
                <a:cxn ang="0">
                  <a:pos x="38" y="15"/>
                </a:cxn>
                <a:cxn ang="0">
                  <a:pos x="40" y="16"/>
                </a:cxn>
                <a:cxn ang="0">
                  <a:pos x="40" y="19"/>
                </a:cxn>
                <a:cxn ang="0">
                  <a:pos x="38" y="22"/>
                </a:cxn>
                <a:cxn ang="0">
                  <a:pos x="40" y="23"/>
                </a:cxn>
                <a:cxn ang="0">
                  <a:pos x="38" y="26"/>
                </a:cxn>
                <a:cxn ang="0">
                  <a:pos x="32" y="26"/>
                </a:cxn>
                <a:cxn ang="0">
                  <a:pos x="28" y="26"/>
                </a:cxn>
                <a:cxn ang="0">
                  <a:pos x="25" y="23"/>
                </a:cxn>
                <a:cxn ang="0">
                  <a:pos x="21" y="25"/>
                </a:cxn>
                <a:cxn ang="0">
                  <a:pos x="21" y="23"/>
                </a:cxn>
                <a:cxn ang="0">
                  <a:pos x="16" y="25"/>
                </a:cxn>
                <a:cxn ang="0">
                  <a:pos x="16" y="23"/>
                </a:cxn>
                <a:cxn ang="0">
                  <a:pos x="14" y="23"/>
                </a:cxn>
                <a:cxn ang="0">
                  <a:pos x="9" y="23"/>
                </a:cxn>
                <a:cxn ang="0">
                  <a:pos x="6" y="21"/>
                </a:cxn>
                <a:cxn ang="0">
                  <a:pos x="5" y="21"/>
                </a:cxn>
                <a:cxn ang="0">
                  <a:pos x="2" y="16"/>
                </a:cxn>
                <a:cxn ang="0">
                  <a:pos x="0" y="13"/>
                </a:cxn>
                <a:cxn ang="0">
                  <a:pos x="0" y="12"/>
                </a:cxn>
                <a:cxn ang="0">
                  <a:pos x="0" y="10"/>
                </a:cxn>
                <a:cxn ang="0">
                  <a:pos x="0" y="7"/>
                </a:cxn>
                <a:cxn ang="0">
                  <a:pos x="3" y="6"/>
                </a:cxn>
                <a:cxn ang="0">
                  <a:pos x="8" y="5"/>
                </a:cxn>
                <a:cxn ang="0">
                  <a:pos x="9" y="0"/>
                </a:cxn>
                <a:cxn ang="0">
                  <a:pos x="11" y="0"/>
                </a:cxn>
                <a:cxn ang="0">
                  <a:pos x="12" y="5"/>
                </a:cxn>
                <a:cxn ang="0">
                  <a:pos x="14" y="3"/>
                </a:cxn>
                <a:cxn ang="0">
                  <a:pos x="14" y="5"/>
                </a:cxn>
                <a:cxn ang="0">
                  <a:pos x="16" y="5"/>
                </a:cxn>
              </a:cxnLst>
              <a:rect l="0" t="0" r="r" b="b"/>
              <a:pathLst>
                <a:path w="43" h="26">
                  <a:moveTo>
                    <a:pt x="16" y="5"/>
                  </a:moveTo>
                  <a:lnTo>
                    <a:pt x="18" y="5"/>
                  </a:lnTo>
                  <a:lnTo>
                    <a:pt x="19" y="3"/>
                  </a:lnTo>
                  <a:lnTo>
                    <a:pt x="24" y="3"/>
                  </a:lnTo>
                  <a:lnTo>
                    <a:pt x="24" y="5"/>
                  </a:lnTo>
                  <a:lnTo>
                    <a:pt x="27" y="5"/>
                  </a:lnTo>
                  <a:lnTo>
                    <a:pt x="28" y="5"/>
                  </a:lnTo>
                  <a:lnTo>
                    <a:pt x="32" y="7"/>
                  </a:lnTo>
                  <a:lnTo>
                    <a:pt x="35" y="6"/>
                  </a:lnTo>
                  <a:lnTo>
                    <a:pt x="37" y="5"/>
                  </a:lnTo>
                  <a:lnTo>
                    <a:pt x="38" y="6"/>
                  </a:lnTo>
                  <a:lnTo>
                    <a:pt x="41" y="7"/>
                  </a:lnTo>
                  <a:lnTo>
                    <a:pt x="43" y="12"/>
                  </a:lnTo>
                  <a:lnTo>
                    <a:pt x="43" y="13"/>
                  </a:lnTo>
                  <a:lnTo>
                    <a:pt x="40" y="13"/>
                  </a:lnTo>
                  <a:lnTo>
                    <a:pt x="38" y="15"/>
                  </a:lnTo>
                  <a:lnTo>
                    <a:pt x="40" y="16"/>
                  </a:lnTo>
                  <a:lnTo>
                    <a:pt x="40" y="19"/>
                  </a:lnTo>
                  <a:lnTo>
                    <a:pt x="38" y="22"/>
                  </a:lnTo>
                  <a:lnTo>
                    <a:pt x="40" y="23"/>
                  </a:lnTo>
                  <a:lnTo>
                    <a:pt x="38" y="26"/>
                  </a:lnTo>
                  <a:lnTo>
                    <a:pt x="32" y="26"/>
                  </a:lnTo>
                  <a:lnTo>
                    <a:pt x="28" y="26"/>
                  </a:lnTo>
                  <a:lnTo>
                    <a:pt x="25" y="23"/>
                  </a:lnTo>
                  <a:lnTo>
                    <a:pt x="21" y="25"/>
                  </a:lnTo>
                  <a:lnTo>
                    <a:pt x="21" y="23"/>
                  </a:lnTo>
                  <a:lnTo>
                    <a:pt x="16" y="25"/>
                  </a:lnTo>
                  <a:lnTo>
                    <a:pt x="16" y="23"/>
                  </a:lnTo>
                  <a:lnTo>
                    <a:pt x="14" y="23"/>
                  </a:lnTo>
                  <a:lnTo>
                    <a:pt x="9" y="23"/>
                  </a:lnTo>
                  <a:lnTo>
                    <a:pt x="6" y="21"/>
                  </a:lnTo>
                  <a:lnTo>
                    <a:pt x="5" y="21"/>
                  </a:lnTo>
                  <a:lnTo>
                    <a:pt x="2" y="16"/>
                  </a:lnTo>
                  <a:lnTo>
                    <a:pt x="0" y="13"/>
                  </a:lnTo>
                  <a:lnTo>
                    <a:pt x="0" y="12"/>
                  </a:lnTo>
                  <a:lnTo>
                    <a:pt x="0" y="10"/>
                  </a:lnTo>
                  <a:lnTo>
                    <a:pt x="0" y="7"/>
                  </a:lnTo>
                  <a:lnTo>
                    <a:pt x="3" y="6"/>
                  </a:lnTo>
                  <a:lnTo>
                    <a:pt x="8" y="5"/>
                  </a:lnTo>
                  <a:lnTo>
                    <a:pt x="9" y="0"/>
                  </a:lnTo>
                  <a:lnTo>
                    <a:pt x="11" y="0"/>
                  </a:lnTo>
                  <a:lnTo>
                    <a:pt x="12" y="5"/>
                  </a:lnTo>
                  <a:lnTo>
                    <a:pt x="14" y="3"/>
                  </a:lnTo>
                  <a:lnTo>
                    <a:pt x="14" y="5"/>
                  </a:lnTo>
                  <a:lnTo>
                    <a:pt x="16" y="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03" name="Freeform 1172"/>
            <p:cNvSpPr>
              <a:spLocks/>
            </p:cNvSpPr>
            <p:nvPr/>
          </p:nvSpPr>
          <p:spPr bwMode="auto">
            <a:xfrm>
              <a:off x="4854059" y="1427890"/>
              <a:ext cx="224718" cy="162261"/>
            </a:xfrm>
            <a:custGeom>
              <a:avLst/>
              <a:gdLst/>
              <a:ahLst/>
              <a:cxnLst>
                <a:cxn ang="0">
                  <a:pos x="7" y="5"/>
                </a:cxn>
                <a:cxn ang="0">
                  <a:pos x="1" y="12"/>
                </a:cxn>
                <a:cxn ang="0">
                  <a:pos x="4" y="21"/>
                </a:cxn>
                <a:cxn ang="0">
                  <a:pos x="6" y="25"/>
                </a:cxn>
                <a:cxn ang="0">
                  <a:pos x="13" y="32"/>
                </a:cxn>
                <a:cxn ang="0">
                  <a:pos x="29" y="51"/>
                </a:cxn>
                <a:cxn ang="0">
                  <a:pos x="43" y="53"/>
                </a:cxn>
                <a:cxn ang="0">
                  <a:pos x="51" y="47"/>
                </a:cxn>
                <a:cxn ang="0">
                  <a:pos x="61" y="71"/>
                </a:cxn>
                <a:cxn ang="0">
                  <a:pos x="62" y="105"/>
                </a:cxn>
                <a:cxn ang="0">
                  <a:pos x="67" y="135"/>
                </a:cxn>
                <a:cxn ang="0">
                  <a:pos x="74" y="146"/>
                </a:cxn>
                <a:cxn ang="0">
                  <a:pos x="86" y="147"/>
                </a:cxn>
                <a:cxn ang="0">
                  <a:pos x="93" y="150"/>
                </a:cxn>
                <a:cxn ang="0">
                  <a:pos x="107" y="144"/>
                </a:cxn>
                <a:cxn ang="0">
                  <a:pos x="109" y="138"/>
                </a:cxn>
                <a:cxn ang="0">
                  <a:pos x="116" y="135"/>
                </a:cxn>
                <a:cxn ang="0">
                  <a:pos x="125" y="154"/>
                </a:cxn>
                <a:cxn ang="0">
                  <a:pos x="135" y="150"/>
                </a:cxn>
                <a:cxn ang="0">
                  <a:pos x="144" y="151"/>
                </a:cxn>
                <a:cxn ang="0">
                  <a:pos x="158" y="154"/>
                </a:cxn>
                <a:cxn ang="0">
                  <a:pos x="167" y="151"/>
                </a:cxn>
                <a:cxn ang="0">
                  <a:pos x="189" y="148"/>
                </a:cxn>
                <a:cxn ang="0">
                  <a:pos x="193" y="135"/>
                </a:cxn>
                <a:cxn ang="0">
                  <a:pos x="205" y="148"/>
                </a:cxn>
                <a:cxn ang="0">
                  <a:pos x="222" y="148"/>
                </a:cxn>
                <a:cxn ang="0">
                  <a:pos x="237" y="138"/>
                </a:cxn>
                <a:cxn ang="0">
                  <a:pos x="235" y="121"/>
                </a:cxn>
                <a:cxn ang="0">
                  <a:pos x="245" y="99"/>
                </a:cxn>
                <a:cxn ang="0">
                  <a:pos x="235" y="96"/>
                </a:cxn>
                <a:cxn ang="0">
                  <a:pos x="231" y="86"/>
                </a:cxn>
                <a:cxn ang="0">
                  <a:pos x="221" y="80"/>
                </a:cxn>
                <a:cxn ang="0">
                  <a:pos x="190" y="80"/>
                </a:cxn>
                <a:cxn ang="0">
                  <a:pos x="174" y="86"/>
                </a:cxn>
                <a:cxn ang="0">
                  <a:pos x="167" y="89"/>
                </a:cxn>
                <a:cxn ang="0">
                  <a:pos x="161" y="93"/>
                </a:cxn>
                <a:cxn ang="0">
                  <a:pos x="151" y="99"/>
                </a:cxn>
                <a:cxn ang="0">
                  <a:pos x="151" y="103"/>
                </a:cxn>
                <a:cxn ang="0">
                  <a:pos x="139" y="99"/>
                </a:cxn>
                <a:cxn ang="0">
                  <a:pos x="129" y="102"/>
                </a:cxn>
                <a:cxn ang="0">
                  <a:pos x="122" y="101"/>
                </a:cxn>
                <a:cxn ang="0">
                  <a:pos x="117" y="92"/>
                </a:cxn>
                <a:cxn ang="0">
                  <a:pos x="112" y="103"/>
                </a:cxn>
                <a:cxn ang="0">
                  <a:pos x="101" y="96"/>
                </a:cxn>
                <a:cxn ang="0">
                  <a:pos x="106" y="92"/>
                </a:cxn>
                <a:cxn ang="0">
                  <a:pos x="99" y="80"/>
                </a:cxn>
                <a:cxn ang="0">
                  <a:pos x="94" y="76"/>
                </a:cxn>
                <a:cxn ang="0">
                  <a:pos x="86" y="73"/>
                </a:cxn>
                <a:cxn ang="0">
                  <a:pos x="81" y="76"/>
                </a:cxn>
                <a:cxn ang="0">
                  <a:pos x="86" y="69"/>
                </a:cxn>
                <a:cxn ang="0">
                  <a:pos x="83" y="63"/>
                </a:cxn>
                <a:cxn ang="0">
                  <a:pos x="77" y="55"/>
                </a:cxn>
                <a:cxn ang="0">
                  <a:pos x="91" y="64"/>
                </a:cxn>
                <a:cxn ang="0">
                  <a:pos x="107" y="58"/>
                </a:cxn>
                <a:cxn ang="0">
                  <a:pos x="93" y="47"/>
                </a:cxn>
                <a:cxn ang="0">
                  <a:pos x="77" y="42"/>
                </a:cxn>
                <a:cxn ang="0">
                  <a:pos x="84" y="41"/>
                </a:cxn>
                <a:cxn ang="0">
                  <a:pos x="88" y="35"/>
                </a:cxn>
                <a:cxn ang="0">
                  <a:pos x="75" y="26"/>
                </a:cxn>
                <a:cxn ang="0">
                  <a:pos x="62" y="31"/>
                </a:cxn>
                <a:cxn ang="0">
                  <a:pos x="46" y="41"/>
                </a:cxn>
                <a:cxn ang="0">
                  <a:pos x="49" y="22"/>
                </a:cxn>
                <a:cxn ang="0">
                  <a:pos x="40" y="9"/>
                </a:cxn>
              </a:cxnLst>
              <a:rect l="0" t="0" r="r" b="b"/>
              <a:pathLst>
                <a:path w="245" h="156">
                  <a:moveTo>
                    <a:pt x="27" y="5"/>
                  </a:moveTo>
                  <a:lnTo>
                    <a:pt x="26" y="6"/>
                  </a:lnTo>
                  <a:lnTo>
                    <a:pt x="20" y="2"/>
                  </a:lnTo>
                  <a:lnTo>
                    <a:pt x="14" y="0"/>
                  </a:lnTo>
                  <a:lnTo>
                    <a:pt x="7" y="5"/>
                  </a:lnTo>
                  <a:lnTo>
                    <a:pt x="6" y="6"/>
                  </a:lnTo>
                  <a:lnTo>
                    <a:pt x="4" y="8"/>
                  </a:lnTo>
                  <a:lnTo>
                    <a:pt x="1" y="8"/>
                  </a:lnTo>
                  <a:lnTo>
                    <a:pt x="1" y="9"/>
                  </a:lnTo>
                  <a:lnTo>
                    <a:pt x="1" y="12"/>
                  </a:lnTo>
                  <a:lnTo>
                    <a:pt x="1" y="13"/>
                  </a:lnTo>
                  <a:lnTo>
                    <a:pt x="4" y="15"/>
                  </a:lnTo>
                  <a:lnTo>
                    <a:pt x="9" y="21"/>
                  </a:lnTo>
                  <a:lnTo>
                    <a:pt x="9" y="21"/>
                  </a:lnTo>
                  <a:lnTo>
                    <a:pt x="4" y="21"/>
                  </a:lnTo>
                  <a:lnTo>
                    <a:pt x="1" y="18"/>
                  </a:lnTo>
                  <a:lnTo>
                    <a:pt x="0" y="19"/>
                  </a:lnTo>
                  <a:lnTo>
                    <a:pt x="0" y="22"/>
                  </a:lnTo>
                  <a:lnTo>
                    <a:pt x="1" y="25"/>
                  </a:lnTo>
                  <a:lnTo>
                    <a:pt x="6" y="25"/>
                  </a:lnTo>
                  <a:lnTo>
                    <a:pt x="6" y="26"/>
                  </a:lnTo>
                  <a:lnTo>
                    <a:pt x="9" y="29"/>
                  </a:lnTo>
                  <a:lnTo>
                    <a:pt x="9" y="28"/>
                  </a:lnTo>
                  <a:lnTo>
                    <a:pt x="11" y="32"/>
                  </a:lnTo>
                  <a:lnTo>
                    <a:pt x="13" y="32"/>
                  </a:lnTo>
                  <a:lnTo>
                    <a:pt x="17" y="44"/>
                  </a:lnTo>
                  <a:lnTo>
                    <a:pt x="23" y="45"/>
                  </a:lnTo>
                  <a:lnTo>
                    <a:pt x="26" y="48"/>
                  </a:lnTo>
                  <a:lnTo>
                    <a:pt x="27" y="55"/>
                  </a:lnTo>
                  <a:lnTo>
                    <a:pt x="29" y="51"/>
                  </a:lnTo>
                  <a:lnTo>
                    <a:pt x="30" y="54"/>
                  </a:lnTo>
                  <a:lnTo>
                    <a:pt x="43" y="55"/>
                  </a:lnTo>
                  <a:lnTo>
                    <a:pt x="45" y="55"/>
                  </a:lnTo>
                  <a:lnTo>
                    <a:pt x="43" y="54"/>
                  </a:lnTo>
                  <a:lnTo>
                    <a:pt x="43" y="53"/>
                  </a:lnTo>
                  <a:lnTo>
                    <a:pt x="45" y="51"/>
                  </a:lnTo>
                  <a:lnTo>
                    <a:pt x="45" y="53"/>
                  </a:lnTo>
                  <a:lnTo>
                    <a:pt x="49" y="50"/>
                  </a:lnTo>
                  <a:lnTo>
                    <a:pt x="49" y="48"/>
                  </a:lnTo>
                  <a:lnTo>
                    <a:pt x="51" y="47"/>
                  </a:lnTo>
                  <a:lnTo>
                    <a:pt x="54" y="48"/>
                  </a:lnTo>
                  <a:lnTo>
                    <a:pt x="55" y="57"/>
                  </a:lnTo>
                  <a:lnTo>
                    <a:pt x="58" y="61"/>
                  </a:lnTo>
                  <a:lnTo>
                    <a:pt x="59" y="71"/>
                  </a:lnTo>
                  <a:lnTo>
                    <a:pt x="61" y="71"/>
                  </a:lnTo>
                  <a:lnTo>
                    <a:pt x="65" y="80"/>
                  </a:lnTo>
                  <a:lnTo>
                    <a:pt x="67" y="90"/>
                  </a:lnTo>
                  <a:lnTo>
                    <a:pt x="68" y="93"/>
                  </a:lnTo>
                  <a:lnTo>
                    <a:pt x="61" y="103"/>
                  </a:lnTo>
                  <a:lnTo>
                    <a:pt x="62" y="105"/>
                  </a:lnTo>
                  <a:lnTo>
                    <a:pt x="61" y="115"/>
                  </a:lnTo>
                  <a:lnTo>
                    <a:pt x="62" y="119"/>
                  </a:lnTo>
                  <a:lnTo>
                    <a:pt x="68" y="118"/>
                  </a:lnTo>
                  <a:lnTo>
                    <a:pt x="65" y="127"/>
                  </a:lnTo>
                  <a:lnTo>
                    <a:pt x="67" y="135"/>
                  </a:lnTo>
                  <a:lnTo>
                    <a:pt x="70" y="140"/>
                  </a:lnTo>
                  <a:lnTo>
                    <a:pt x="74" y="141"/>
                  </a:lnTo>
                  <a:lnTo>
                    <a:pt x="72" y="143"/>
                  </a:lnTo>
                  <a:lnTo>
                    <a:pt x="72" y="144"/>
                  </a:lnTo>
                  <a:lnTo>
                    <a:pt x="74" y="146"/>
                  </a:lnTo>
                  <a:lnTo>
                    <a:pt x="78" y="144"/>
                  </a:lnTo>
                  <a:lnTo>
                    <a:pt x="80" y="140"/>
                  </a:lnTo>
                  <a:lnTo>
                    <a:pt x="84" y="135"/>
                  </a:lnTo>
                  <a:lnTo>
                    <a:pt x="83" y="141"/>
                  </a:lnTo>
                  <a:lnTo>
                    <a:pt x="86" y="147"/>
                  </a:lnTo>
                  <a:lnTo>
                    <a:pt x="86" y="140"/>
                  </a:lnTo>
                  <a:lnTo>
                    <a:pt x="88" y="146"/>
                  </a:lnTo>
                  <a:lnTo>
                    <a:pt x="91" y="146"/>
                  </a:lnTo>
                  <a:lnTo>
                    <a:pt x="91" y="148"/>
                  </a:lnTo>
                  <a:lnTo>
                    <a:pt x="93" y="150"/>
                  </a:lnTo>
                  <a:lnTo>
                    <a:pt x="94" y="147"/>
                  </a:lnTo>
                  <a:lnTo>
                    <a:pt x="96" y="151"/>
                  </a:lnTo>
                  <a:lnTo>
                    <a:pt x="103" y="151"/>
                  </a:lnTo>
                  <a:lnTo>
                    <a:pt x="107" y="146"/>
                  </a:lnTo>
                  <a:lnTo>
                    <a:pt x="107" y="144"/>
                  </a:lnTo>
                  <a:lnTo>
                    <a:pt x="104" y="141"/>
                  </a:lnTo>
                  <a:lnTo>
                    <a:pt x="104" y="138"/>
                  </a:lnTo>
                  <a:lnTo>
                    <a:pt x="104" y="138"/>
                  </a:lnTo>
                  <a:lnTo>
                    <a:pt x="106" y="138"/>
                  </a:lnTo>
                  <a:lnTo>
                    <a:pt x="109" y="138"/>
                  </a:lnTo>
                  <a:lnTo>
                    <a:pt x="107" y="135"/>
                  </a:lnTo>
                  <a:lnTo>
                    <a:pt x="112" y="144"/>
                  </a:lnTo>
                  <a:lnTo>
                    <a:pt x="115" y="138"/>
                  </a:lnTo>
                  <a:lnTo>
                    <a:pt x="115" y="135"/>
                  </a:lnTo>
                  <a:lnTo>
                    <a:pt x="116" y="135"/>
                  </a:lnTo>
                  <a:lnTo>
                    <a:pt x="117" y="138"/>
                  </a:lnTo>
                  <a:lnTo>
                    <a:pt x="116" y="153"/>
                  </a:lnTo>
                  <a:lnTo>
                    <a:pt x="120" y="154"/>
                  </a:lnTo>
                  <a:lnTo>
                    <a:pt x="122" y="153"/>
                  </a:lnTo>
                  <a:lnTo>
                    <a:pt x="125" y="154"/>
                  </a:lnTo>
                  <a:lnTo>
                    <a:pt x="128" y="153"/>
                  </a:lnTo>
                  <a:lnTo>
                    <a:pt x="128" y="156"/>
                  </a:lnTo>
                  <a:lnTo>
                    <a:pt x="133" y="154"/>
                  </a:lnTo>
                  <a:lnTo>
                    <a:pt x="133" y="150"/>
                  </a:lnTo>
                  <a:lnTo>
                    <a:pt x="135" y="150"/>
                  </a:lnTo>
                  <a:lnTo>
                    <a:pt x="135" y="154"/>
                  </a:lnTo>
                  <a:lnTo>
                    <a:pt x="144" y="154"/>
                  </a:lnTo>
                  <a:lnTo>
                    <a:pt x="145" y="154"/>
                  </a:lnTo>
                  <a:lnTo>
                    <a:pt x="144" y="148"/>
                  </a:lnTo>
                  <a:lnTo>
                    <a:pt x="144" y="151"/>
                  </a:lnTo>
                  <a:lnTo>
                    <a:pt x="148" y="154"/>
                  </a:lnTo>
                  <a:lnTo>
                    <a:pt x="149" y="151"/>
                  </a:lnTo>
                  <a:lnTo>
                    <a:pt x="151" y="148"/>
                  </a:lnTo>
                  <a:lnTo>
                    <a:pt x="154" y="154"/>
                  </a:lnTo>
                  <a:lnTo>
                    <a:pt x="158" y="154"/>
                  </a:lnTo>
                  <a:lnTo>
                    <a:pt x="160" y="150"/>
                  </a:lnTo>
                  <a:lnTo>
                    <a:pt x="160" y="144"/>
                  </a:lnTo>
                  <a:lnTo>
                    <a:pt x="164" y="153"/>
                  </a:lnTo>
                  <a:lnTo>
                    <a:pt x="165" y="153"/>
                  </a:lnTo>
                  <a:lnTo>
                    <a:pt x="167" y="151"/>
                  </a:lnTo>
                  <a:lnTo>
                    <a:pt x="168" y="148"/>
                  </a:lnTo>
                  <a:lnTo>
                    <a:pt x="168" y="144"/>
                  </a:lnTo>
                  <a:lnTo>
                    <a:pt x="168" y="141"/>
                  </a:lnTo>
                  <a:lnTo>
                    <a:pt x="170" y="151"/>
                  </a:lnTo>
                  <a:lnTo>
                    <a:pt x="189" y="148"/>
                  </a:lnTo>
                  <a:lnTo>
                    <a:pt x="193" y="140"/>
                  </a:lnTo>
                  <a:lnTo>
                    <a:pt x="190" y="137"/>
                  </a:lnTo>
                  <a:lnTo>
                    <a:pt x="189" y="131"/>
                  </a:lnTo>
                  <a:lnTo>
                    <a:pt x="191" y="132"/>
                  </a:lnTo>
                  <a:lnTo>
                    <a:pt x="193" y="135"/>
                  </a:lnTo>
                  <a:lnTo>
                    <a:pt x="196" y="135"/>
                  </a:lnTo>
                  <a:lnTo>
                    <a:pt x="196" y="147"/>
                  </a:lnTo>
                  <a:lnTo>
                    <a:pt x="200" y="153"/>
                  </a:lnTo>
                  <a:lnTo>
                    <a:pt x="203" y="151"/>
                  </a:lnTo>
                  <a:lnTo>
                    <a:pt x="205" y="148"/>
                  </a:lnTo>
                  <a:lnTo>
                    <a:pt x="206" y="151"/>
                  </a:lnTo>
                  <a:lnTo>
                    <a:pt x="210" y="154"/>
                  </a:lnTo>
                  <a:lnTo>
                    <a:pt x="213" y="154"/>
                  </a:lnTo>
                  <a:lnTo>
                    <a:pt x="216" y="151"/>
                  </a:lnTo>
                  <a:lnTo>
                    <a:pt x="222" y="148"/>
                  </a:lnTo>
                  <a:lnTo>
                    <a:pt x="231" y="148"/>
                  </a:lnTo>
                  <a:lnTo>
                    <a:pt x="234" y="147"/>
                  </a:lnTo>
                  <a:lnTo>
                    <a:pt x="237" y="147"/>
                  </a:lnTo>
                  <a:lnTo>
                    <a:pt x="237" y="140"/>
                  </a:lnTo>
                  <a:lnTo>
                    <a:pt x="237" y="138"/>
                  </a:lnTo>
                  <a:lnTo>
                    <a:pt x="237" y="137"/>
                  </a:lnTo>
                  <a:lnTo>
                    <a:pt x="235" y="134"/>
                  </a:lnTo>
                  <a:lnTo>
                    <a:pt x="232" y="130"/>
                  </a:lnTo>
                  <a:lnTo>
                    <a:pt x="232" y="122"/>
                  </a:lnTo>
                  <a:lnTo>
                    <a:pt x="235" y="121"/>
                  </a:lnTo>
                  <a:lnTo>
                    <a:pt x="237" y="119"/>
                  </a:lnTo>
                  <a:lnTo>
                    <a:pt x="238" y="115"/>
                  </a:lnTo>
                  <a:lnTo>
                    <a:pt x="242" y="114"/>
                  </a:lnTo>
                  <a:lnTo>
                    <a:pt x="245" y="109"/>
                  </a:lnTo>
                  <a:lnTo>
                    <a:pt x="245" y="99"/>
                  </a:lnTo>
                  <a:lnTo>
                    <a:pt x="244" y="99"/>
                  </a:lnTo>
                  <a:lnTo>
                    <a:pt x="242" y="99"/>
                  </a:lnTo>
                  <a:lnTo>
                    <a:pt x="241" y="96"/>
                  </a:lnTo>
                  <a:lnTo>
                    <a:pt x="242" y="95"/>
                  </a:lnTo>
                  <a:lnTo>
                    <a:pt x="235" y="96"/>
                  </a:lnTo>
                  <a:lnTo>
                    <a:pt x="234" y="95"/>
                  </a:lnTo>
                  <a:lnTo>
                    <a:pt x="237" y="93"/>
                  </a:lnTo>
                  <a:lnTo>
                    <a:pt x="237" y="90"/>
                  </a:lnTo>
                  <a:lnTo>
                    <a:pt x="235" y="90"/>
                  </a:lnTo>
                  <a:lnTo>
                    <a:pt x="231" y="86"/>
                  </a:lnTo>
                  <a:lnTo>
                    <a:pt x="228" y="87"/>
                  </a:lnTo>
                  <a:lnTo>
                    <a:pt x="222" y="86"/>
                  </a:lnTo>
                  <a:lnTo>
                    <a:pt x="223" y="82"/>
                  </a:lnTo>
                  <a:lnTo>
                    <a:pt x="222" y="79"/>
                  </a:lnTo>
                  <a:lnTo>
                    <a:pt x="221" y="80"/>
                  </a:lnTo>
                  <a:lnTo>
                    <a:pt x="206" y="77"/>
                  </a:lnTo>
                  <a:lnTo>
                    <a:pt x="200" y="79"/>
                  </a:lnTo>
                  <a:lnTo>
                    <a:pt x="196" y="83"/>
                  </a:lnTo>
                  <a:lnTo>
                    <a:pt x="191" y="82"/>
                  </a:lnTo>
                  <a:lnTo>
                    <a:pt x="190" y="80"/>
                  </a:lnTo>
                  <a:lnTo>
                    <a:pt x="189" y="80"/>
                  </a:lnTo>
                  <a:lnTo>
                    <a:pt x="186" y="79"/>
                  </a:lnTo>
                  <a:lnTo>
                    <a:pt x="184" y="79"/>
                  </a:lnTo>
                  <a:lnTo>
                    <a:pt x="183" y="82"/>
                  </a:lnTo>
                  <a:lnTo>
                    <a:pt x="174" y="86"/>
                  </a:lnTo>
                  <a:lnTo>
                    <a:pt x="173" y="87"/>
                  </a:lnTo>
                  <a:lnTo>
                    <a:pt x="174" y="89"/>
                  </a:lnTo>
                  <a:lnTo>
                    <a:pt x="174" y="90"/>
                  </a:lnTo>
                  <a:lnTo>
                    <a:pt x="168" y="89"/>
                  </a:lnTo>
                  <a:lnTo>
                    <a:pt x="167" y="89"/>
                  </a:lnTo>
                  <a:lnTo>
                    <a:pt x="165" y="92"/>
                  </a:lnTo>
                  <a:lnTo>
                    <a:pt x="164" y="92"/>
                  </a:lnTo>
                  <a:lnTo>
                    <a:pt x="164" y="96"/>
                  </a:lnTo>
                  <a:lnTo>
                    <a:pt x="164" y="95"/>
                  </a:lnTo>
                  <a:lnTo>
                    <a:pt x="161" y="93"/>
                  </a:lnTo>
                  <a:lnTo>
                    <a:pt x="160" y="92"/>
                  </a:lnTo>
                  <a:lnTo>
                    <a:pt x="158" y="95"/>
                  </a:lnTo>
                  <a:lnTo>
                    <a:pt x="155" y="95"/>
                  </a:lnTo>
                  <a:lnTo>
                    <a:pt x="151" y="98"/>
                  </a:lnTo>
                  <a:lnTo>
                    <a:pt x="151" y="99"/>
                  </a:lnTo>
                  <a:lnTo>
                    <a:pt x="154" y="102"/>
                  </a:lnTo>
                  <a:lnTo>
                    <a:pt x="158" y="102"/>
                  </a:lnTo>
                  <a:lnTo>
                    <a:pt x="160" y="105"/>
                  </a:lnTo>
                  <a:lnTo>
                    <a:pt x="157" y="103"/>
                  </a:lnTo>
                  <a:lnTo>
                    <a:pt x="151" y="103"/>
                  </a:lnTo>
                  <a:lnTo>
                    <a:pt x="144" y="108"/>
                  </a:lnTo>
                  <a:lnTo>
                    <a:pt x="142" y="106"/>
                  </a:lnTo>
                  <a:lnTo>
                    <a:pt x="146" y="103"/>
                  </a:lnTo>
                  <a:lnTo>
                    <a:pt x="145" y="102"/>
                  </a:lnTo>
                  <a:lnTo>
                    <a:pt x="139" y="99"/>
                  </a:lnTo>
                  <a:lnTo>
                    <a:pt x="136" y="95"/>
                  </a:lnTo>
                  <a:lnTo>
                    <a:pt x="132" y="92"/>
                  </a:lnTo>
                  <a:lnTo>
                    <a:pt x="131" y="96"/>
                  </a:lnTo>
                  <a:lnTo>
                    <a:pt x="131" y="99"/>
                  </a:lnTo>
                  <a:lnTo>
                    <a:pt x="129" y="102"/>
                  </a:lnTo>
                  <a:lnTo>
                    <a:pt x="129" y="96"/>
                  </a:lnTo>
                  <a:lnTo>
                    <a:pt x="128" y="93"/>
                  </a:lnTo>
                  <a:lnTo>
                    <a:pt x="125" y="98"/>
                  </a:lnTo>
                  <a:lnTo>
                    <a:pt x="123" y="99"/>
                  </a:lnTo>
                  <a:lnTo>
                    <a:pt x="122" y="101"/>
                  </a:lnTo>
                  <a:lnTo>
                    <a:pt x="120" y="101"/>
                  </a:lnTo>
                  <a:lnTo>
                    <a:pt x="122" y="98"/>
                  </a:lnTo>
                  <a:lnTo>
                    <a:pt x="120" y="96"/>
                  </a:lnTo>
                  <a:lnTo>
                    <a:pt x="119" y="93"/>
                  </a:lnTo>
                  <a:lnTo>
                    <a:pt x="117" y="92"/>
                  </a:lnTo>
                  <a:lnTo>
                    <a:pt x="115" y="89"/>
                  </a:lnTo>
                  <a:lnTo>
                    <a:pt x="113" y="92"/>
                  </a:lnTo>
                  <a:lnTo>
                    <a:pt x="112" y="95"/>
                  </a:lnTo>
                  <a:lnTo>
                    <a:pt x="113" y="101"/>
                  </a:lnTo>
                  <a:lnTo>
                    <a:pt x="112" y="103"/>
                  </a:lnTo>
                  <a:lnTo>
                    <a:pt x="110" y="102"/>
                  </a:lnTo>
                  <a:lnTo>
                    <a:pt x="109" y="96"/>
                  </a:lnTo>
                  <a:lnTo>
                    <a:pt x="104" y="93"/>
                  </a:lnTo>
                  <a:lnTo>
                    <a:pt x="103" y="96"/>
                  </a:lnTo>
                  <a:lnTo>
                    <a:pt x="101" y="96"/>
                  </a:lnTo>
                  <a:lnTo>
                    <a:pt x="101" y="95"/>
                  </a:lnTo>
                  <a:lnTo>
                    <a:pt x="103" y="93"/>
                  </a:lnTo>
                  <a:lnTo>
                    <a:pt x="100" y="95"/>
                  </a:lnTo>
                  <a:lnTo>
                    <a:pt x="100" y="93"/>
                  </a:lnTo>
                  <a:lnTo>
                    <a:pt x="106" y="92"/>
                  </a:lnTo>
                  <a:lnTo>
                    <a:pt x="107" y="83"/>
                  </a:lnTo>
                  <a:lnTo>
                    <a:pt x="106" y="83"/>
                  </a:lnTo>
                  <a:lnTo>
                    <a:pt x="104" y="80"/>
                  </a:lnTo>
                  <a:lnTo>
                    <a:pt x="101" y="82"/>
                  </a:lnTo>
                  <a:lnTo>
                    <a:pt x="99" y="80"/>
                  </a:lnTo>
                  <a:lnTo>
                    <a:pt x="100" y="77"/>
                  </a:lnTo>
                  <a:lnTo>
                    <a:pt x="97" y="73"/>
                  </a:lnTo>
                  <a:lnTo>
                    <a:pt x="96" y="71"/>
                  </a:lnTo>
                  <a:lnTo>
                    <a:pt x="96" y="74"/>
                  </a:lnTo>
                  <a:lnTo>
                    <a:pt x="94" y="76"/>
                  </a:lnTo>
                  <a:lnTo>
                    <a:pt x="93" y="73"/>
                  </a:lnTo>
                  <a:lnTo>
                    <a:pt x="90" y="76"/>
                  </a:lnTo>
                  <a:lnTo>
                    <a:pt x="90" y="73"/>
                  </a:lnTo>
                  <a:lnTo>
                    <a:pt x="87" y="74"/>
                  </a:lnTo>
                  <a:lnTo>
                    <a:pt x="86" y="73"/>
                  </a:lnTo>
                  <a:lnTo>
                    <a:pt x="86" y="73"/>
                  </a:lnTo>
                  <a:lnTo>
                    <a:pt x="84" y="76"/>
                  </a:lnTo>
                  <a:lnTo>
                    <a:pt x="78" y="82"/>
                  </a:lnTo>
                  <a:lnTo>
                    <a:pt x="80" y="77"/>
                  </a:lnTo>
                  <a:lnTo>
                    <a:pt x="81" y="76"/>
                  </a:lnTo>
                  <a:lnTo>
                    <a:pt x="83" y="74"/>
                  </a:lnTo>
                  <a:lnTo>
                    <a:pt x="81" y="71"/>
                  </a:lnTo>
                  <a:lnTo>
                    <a:pt x="91" y="69"/>
                  </a:lnTo>
                  <a:lnTo>
                    <a:pt x="88" y="67"/>
                  </a:lnTo>
                  <a:lnTo>
                    <a:pt x="86" y="69"/>
                  </a:lnTo>
                  <a:lnTo>
                    <a:pt x="84" y="67"/>
                  </a:lnTo>
                  <a:lnTo>
                    <a:pt x="84" y="66"/>
                  </a:lnTo>
                  <a:lnTo>
                    <a:pt x="84" y="64"/>
                  </a:lnTo>
                  <a:lnTo>
                    <a:pt x="84" y="64"/>
                  </a:lnTo>
                  <a:lnTo>
                    <a:pt x="83" y="63"/>
                  </a:lnTo>
                  <a:lnTo>
                    <a:pt x="80" y="61"/>
                  </a:lnTo>
                  <a:lnTo>
                    <a:pt x="75" y="61"/>
                  </a:lnTo>
                  <a:lnTo>
                    <a:pt x="78" y="57"/>
                  </a:lnTo>
                  <a:lnTo>
                    <a:pt x="75" y="57"/>
                  </a:lnTo>
                  <a:lnTo>
                    <a:pt x="77" y="55"/>
                  </a:lnTo>
                  <a:lnTo>
                    <a:pt x="80" y="60"/>
                  </a:lnTo>
                  <a:lnTo>
                    <a:pt x="84" y="60"/>
                  </a:lnTo>
                  <a:lnTo>
                    <a:pt x="87" y="60"/>
                  </a:lnTo>
                  <a:lnTo>
                    <a:pt x="90" y="64"/>
                  </a:lnTo>
                  <a:lnTo>
                    <a:pt x="91" y="64"/>
                  </a:lnTo>
                  <a:lnTo>
                    <a:pt x="90" y="61"/>
                  </a:lnTo>
                  <a:lnTo>
                    <a:pt x="93" y="61"/>
                  </a:lnTo>
                  <a:lnTo>
                    <a:pt x="100" y="63"/>
                  </a:lnTo>
                  <a:lnTo>
                    <a:pt x="103" y="63"/>
                  </a:lnTo>
                  <a:lnTo>
                    <a:pt x="107" y="58"/>
                  </a:lnTo>
                  <a:lnTo>
                    <a:pt x="109" y="54"/>
                  </a:lnTo>
                  <a:lnTo>
                    <a:pt x="107" y="51"/>
                  </a:lnTo>
                  <a:lnTo>
                    <a:pt x="103" y="53"/>
                  </a:lnTo>
                  <a:lnTo>
                    <a:pt x="100" y="51"/>
                  </a:lnTo>
                  <a:lnTo>
                    <a:pt x="93" y="47"/>
                  </a:lnTo>
                  <a:lnTo>
                    <a:pt x="90" y="47"/>
                  </a:lnTo>
                  <a:lnTo>
                    <a:pt x="90" y="48"/>
                  </a:lnTo>
                  <a:lnTo>
                    <a:pt x="88" y="45"/>
                  </a:lnTo>
                  <a:lnTo>
                    <a:pt x="84" y="42"/>
                  </a:lnTo>
                  <a:lnTo>
                    <a:pt x="77" y="42"/>
                  </a:lnTo>
                  <a:lnTo>
                    <a:pt x="75" y="41"/>
                  </a:lnTo>
                  <a:lnTo>
                    <a:pt x="75" y="39"/>
                  </a:lnTo>
                  <a:lnTo>
                    <a:pt x="83" y="39"/>
                  </a:lnTo>
                  <a:lnTo>
                    <a:pt x="84" y="38"/>
                  </a:lnTo>
                  <a:lnTo>
                    <a:pt x="84" y="41"/>
                  </a:lnTo>
                  <a:lnTo>
                    <a:pt x="88" y="42"/>
                  </a:lnTo>
                  <a:lnTo>
                    <a:pt x="91" y="41"/>
                  </a:lnTo>
                  <a:lnTo>
                    <a:pt x="90" y="39"/>
                  </a:lnTo>
                  <a:lnTo>
                    <a:pt x="90" y="37"/>
                  </a:lnTo>
                  <a:lnTo>
                    <a:pt x="88" y="35"/>
                  </a:lnTo>
                  <a:lnTo>
                    <a:pt x="83" y="29"/>
                  </a:lnTo>
                  <a:lnTo>
                    <a:pt x="80" y="29"/>
                  </a:lnTo>
                  <a:lnTo>
                    <a:pt x="78" y="28"/>
                  </a:lnTo>
                  <a:lnTo>
                    <a:pt x="77" y="26"/>
                  </a:lnTo>
                  <a:lnTo>
                    <a:pt x="75" y="26"/>
                  </a:lnTo>
                  <a:lnTo>
                    <a:pt x="75" y="26"/>
                  </a:lnTo>
                  <a:lnTo>
                    <a:pt x="70" y="29"/>
                  </a:lnTo>
                  <a:lnTo>
                    <a:pt x="67" y="32"/>
                  </a:lnTo>
                  <a:lnTo>
                    <a:pt x="64" y="34"/>
                  </a:lnTo>
                  <a:lnTo>
                    <a:pt x="62" y="31"/>
                  </a:lnTo>
                  <a:lnTo>
                    <a:pt x="59" y="34"/>
                  </a:lnTo>
                  <a:lnTo>
                    <a:pt x="54" y="32"/>
                  </a:lnTo>
                  <a:lnTo>
                    <a:pt x="49" y="41"/>
                  </a:lnTo>
                  <a:lnTo>
                    <a:pt x="46" y="44"/>
                  </a:lnTo>
                  <a:lnTo>
                    <a:pt x="46" y="41"/>
                  </a:lnTo>
                  <a:lnTo>
                    <a:pt x="46" y="39"/>
                  </a:lnTo>
                  <a:lnTo>
                    <a:pt x="49" y="34"/>
                  </a:lnTo>
                  <a:lnTo>
                    <a:pt x="49" y="31"/>
                  </a:lnTo>
                  <a:lnTo>
                    <a:pt x="51" y="23"/>
                  </a:lnTo>
                  <a:lnTo>
                    <a:pt x="49" y="22"/>
                  </a:lnTo>
                  <a:lnTo>
                    <a:pt x="49" y="19"/>
                  </a:lnTo>
                  <a:lnTo>
                    <a:pt x="48" y="18"/>
                  </a:lnTo>
                  <a:lnTo>
                    <a:pt x="45" y="10"/>
                  </a:lnTo>
                  <a:lnTo>
                    <a:pt x="42" y="12"/>
                  </a:lnTo>
                  <a:lnTo>
                    <a:pt x="40" y="9"/>
                  </a:lnTo>
                  <a:lnTo>
                    <a:pt x="40" y="12"/>
                  </a:lnTo>
                  <a:lnTo>
                    <a:pt x="36" y="13"/>
                  </a:lnTo>
                  <a:lnTo>
                    <a:pt x="35" y="10"/>
                  </a:lnTo>
                  <a:lnTo>
                    <a:pt x="27" y="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04" name="Freeform 1174"/>
            <p:cNvSpPr>
              <a:spLocks/>
            </p:cNvSpPr>
            <p:nvPr/>
          </p:nvSpPr>
          <p:spPr bwMode="auto">
            <a:xfrm>
              <a:off x="5076142" y="1492795"/>
              <a:ext cx="10534" cy="20283"/>
            </a:xfrm>
            <a:custGeom>
              <a:avLst/>
              <a:gdLst/>
              <a:ahLst/>
              <a:cxnLst>
                <a:cxn ang="0">
                  <a:pos x="10" y="3"/>
                </a:cxn>
                <a:cxn ang="0">
                  <a:pos x="10" y="3"/>
                </a:cxn>
                <a:cxn ang="0">
                  <a:pos x="9" y="10"/>
                </a:cxn>
                <a:cxn ang="0">
                  <a:pos x="10" y="13"/>
                </a:cxn>
                <a:cxn ang="0">
                  <a:pos x="12" y="16"/>
                </a:cxn>
                <a:cxn ang="0">
                  <a:pos x="6" y="16"/>
                </a:cxn>
                <a:cxn ang="0">
                  <a:pos x="6" y="19"/>
                </a:cxn>
                <a:cxn ang="0">
                  <a:pos x="6" y="19"/>
                </a:cxn>
                <a:cxn ang="0">
                  <a:pos x="0" y="16"/>
                </a:cxn>
                <a:cxn ang="0">
                  <a:pos x="2" y="13"/>
                </a:cxn>
                <a:cxn ang="0">
                  <a:pos x="2" y="10"/>
                </a:cxn>
                <a:cxn ang="0">
                  <a:pos x="5" y="6"/>
                </a:cxn>
                <a:cxn ang="0">
                  <a:pos x="5" y="3"/>
                </a:cxn>
                <a:cxn ang="0">
                  <a:pos x="6" y="1"/>
                </a:cxn>
                <a:cxn ang="0">
                  <a:pos x="6" y="0"/>
                </a:cxn>
                <a:cxn ang="0">
                  <a:pos x="8" y="0"/>
                </a:cxn>
                <a:cxn ang="0">
                  <a:pos x="10" y="3"/>
                </a:cxn>
              </a:cxnLst>
              <a:rect l="0" t="0" r="r" b="b"/>
              <a:pathLst>
                <a:path w="12" h="19">
                  <a:moveTo>
                    <a:pt x="10" y="3"/>
                  </a:moveTo>
                  <a:lnTo>
                    <a:pt x="10" y="3"/>
                  </a:lnTo>
                  <a:lnTo>
                    <a:pt x="9" y="10"/>
                  </a:lnTo>
                  <a:lnTo>
                    <a:pt x="10" y="13"/>
                  </a:lnTo>
                  <a:lnTo>
                    <a:pt x="12" y="16"/>
                  </a:lnTo>
                  <a:lnTo>
                    <a:pt x="6" y="16"/>
                  </a:lnTo>
                  <a:lnTo>
                    <a:pt x="6" y="19"/>
                  </a:lnTo>
                  <a:lnTo>
                    <a:pt x="6" y="19"/>
                  </a:lnTo>
                  <a:lnTo>
                    <a:pt x="0" y="16"/>
                  </a:lnTo>
                  <a:lnTo>
                    <a:pt x="2" y="13"/>
                  </a:lnTo>
                  <a:lnTo>
                    <a:pt x="2" y="10"/>
                  </a:lnTo>
                  <a:lnTo>
                    <a:pt x="5" y="6"/>
                  </a:lnTo>
                  <a:lnTo>
                    <a:pt x="5" y="3"/>
                  </a:lnTo>
                  <a:lnTo>
                    <a:pt x="6" y="1"/>
                  </a:lnTo>
                  <a:lnTo>
                    <a:pt x="6" y="0"/>
                  </a:lnTo>
                  <a:lnTo>
                    <a:pt x="8" y="0"/>
                  </a:lnTo>
                  <a:lnTo>
                    <a:pt x="10"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05" name="Freeform 1175"/>
            <p:cNvSpPr>
              <a:spLocks/>
            </p:cNvSpPr>
            <p:nvPr/>
          </p:nvSpPr>
          <p:spPr bwMode="auto">
            <a:xfrm>
              <a:off x="5076142" y="1492795"/>
              <a:ext cx="10534" cy="20283"/>
            </a:xfrm>
            <a:custGeom>
              <a:avLst/>
              <a:gdLst/>
              <a:ahLst/>
              <a:cxnLst>
                <a:cxn ang="0">
                  <a:pos x="10" y="3"/>
                </a:cxn>
                <a:cxn ang="0">
                  <a:pos x="10" y="3"/>
                </a:cxn>
                <a:cxn ang="0">
                  <a:pos x="9" y="10"/>
                </a:cxn>
                <a:cxn ang="0">
                  <a:pos x="10" y="13"/>
                </a:cxn>
                <a:cxn ang="0">
                  <a:pos x="12" y="16"/>
                </a:cxn>
                <a:cxn ang="0">
                  <a:pos x="6" y="16"/>
                </a:cxn>
                <a:cxn ang="0">
                  <a:pos x="6" y="19"/>
                </a:cxn>
                <a:cxn ang="0">
                  <a:pos x="6" y="19"/>
                </a:cxn>
                <a:cxn ang="0">
                  <a:pos x="0" y="16"/>
                </a:cxn>
                <a:cxn ang="0">
                  <a:pos x="2" y="13"/>
                </a:cxn>
                <a:cxn ang="0">
                  <a:pos x="2" y="10"/>
                </a:cxn>
                <a:cxn ang="0">
                  <a:pos x="5" y="6"/>
                </a:cxn>
                <a:cxn ang="0">
                  <a:pos x="5" y="3"/>
                </a:cxn>
                <a:cxn ang="0">
                  <a:pos x="6" y="1"/>
                </a:cxn>
                <a:cxn ang="0">
                  <a:pos x="6" y="0"/>
                </a:cxn>
                <a:cxn ang="0">
                  <a:pos x="8" y="0"/>
                </a:cxn>
                <a:cxn ang="0">
                  <a:pos x="10" y="3"/>
                </a:cxn>
              </a:cxnLst>
              <a:rect l="0" t="0" r="r" b="b"/>
              <a:pathLst>
                <a:path w="12" h="19">
                  <a:moveTo>
                    <a:pt x="10" y="3"/>
                  </a:moveTo>
                  <a:lnTo>
                    <a:pt x="10" y="3"/>
                  </a:lnTo>
                  <a:lnTo>
                    <a:pt x="9" y="10"/>
                  </a:lnTo>
                  <a:lnTo>
                    <a:pt x="10" y="13"/>
                  </a:lnTo>
                  <a:lnTo>
                    <a:pt x="12" y="16"/>
                  </a:lnTo>
                  <a:lnTo>
                    <a:pt x="6" y="16"/>
                  </a:lnTo>
                  <a:lnTo>
                    <a:pt x="6" y="19"/>
                  </a:lnTo>
                  <a:lnTo>
                    <a:pt x="6" y="19"/>
                  </a:lnTo>
                  <a:lnTo>
                    <a:pt x="0" y="16"/>
                  </a:lnTo>
                  <a:lnTo>
                    <a:pt x="2" y="13"/>
                  </a:lnTo>
                  <a:lnTo>
                    <a:pt x="2" y="10"/>
                  </a:lnTo>
                  <a:lnTo>
                    <a:pt x="5" y="6"/>
                  </a:lnTo>
                  <a:lnTo>
                    <a:pt x="5" y="3"/>
                  </a:lnTo>
                  <a:lnTo>
                    <a:pt x="6" y="1"/>
                  </a:lnTo>
                  <a:lnTo>
                    <a:pt x="6" y="0"/>
                  </a:lnTo>
                  <a:lnTo>
                    <a:pt x="8" y="0"/>
                  </a:lnTo>
                  <a:lnTo>
                    <a:pt x="10"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06" name="Freeform 1176"/>
            <p:cNvSpPr>
              <a:spLocks/>
            </p:cNvSpPr>
            <p:nvPr/>
          </p:nvSpPr>
          <p:spPr bwMode="auto">
            <a:xfrm>
              <a:off x="5068242" y="1554658"/>
              <a:ext cx="14922" cy="13183"/>
            </a:xfrm>
            <a:custGeom>
              <a:avLst/>
              <a:gdLst/>
              <a:ahLst/>
              <a:cxnLst>
                <a:cxn ang="0">
                  <a:pos x="11" y="10"/>
                </a:cxn>
                <a:cxn ang="0">
                  <a:pos x="14" y="10"/>
                </a:cxn>
                <a:cxn ang="0">
                  <a:pos x="16" y="8"/>
                </a:cxn>
                <a:cxn ang="0">
                  <a:pos x="13" y="6"/>
                </a:cxn>
                <a:cxn ang="0">
                  <a:pos x="13" y="0"/>
                </a:cxn>
                <a:cxn ang="0">
                  <a:pos x="7" y="2"/>
                </a:cxn>
                <a:cxn ang="0">
                  <a:pos x="4" y="3"/>
                </a:cxn>
                <a:cxn ang="0">
                  <a:pos x="4" y="5"/>
                </a:cxn>
                <a:cxn ang="0">
                  <a:pos x="3" y="5"/>
                </a:cxn>
                <a:cxn ang="0">
                  <a:pos x="0" y="6"/>
                </a:cxn>
                <a:cxn ang="0">
                  <a:pos x="3" y="10"/>
                </a:cxn>
                <a:cxn ang="0">
                  <a:pos x="4" y="13"/>
                </a:cxn>
                <a:cxn ang="0">
                  <a:pos x="8" y="13"/>
                </a:cxn>
                <a:cxn ang="0">
                  <a:pos x="11" y="10"/>
                </a:cxn>
              </a:cxnLst>
              <a:rect l="0" t="0" r="r" b="b"/>
              <a:pathLst>
                <a:path w="16" h="13">
                  <a:moveTo>
                    <a:pt x="11" y="10"/>
                  </a:moveTo>
                  <a:lnTo>
                    <a:pt x="14" y="10"/>
                  </a:lnTo>
                  <a:lnTo>
                    <a:pt x="16" y="8"/>
                  </a:lnTo>
                  <a:lnTo>
                    <a:pt x="13" y="6"/>
                  </a:lnTo>
                  <a:lnTo>
                    <a:pt x="13" y="0"/>
                  </a:lnTo>
                  <a:lnTo>
                    <a:pt x="7" y="2"/>
                  </a:lnTo>
                  <a:lnTo>
                    <a:pt x="4" y="3"/>
                  </a:lnTo>
                  <a:lnTo>
                    <a:pt x="4" y="5"/>
                  </a:lnTo>
                  <a:lnTo>
                    <a:pt x="3" y="5"/>
                  </a:lnTo>
                  <a:lnTo>
                    <a:pt x="0" y="6"/>
                  </a:lnTo>
                  <a:lnTo>
                    <a:pt x="3" y="10"/>
                  </a:lnTo>
                  <a:lnTo>
                    <a:pt x="4" y="13"/>
                  </a:lnTo>
                  <a:lnTo>
                    <a:pt x="8" y="13"/>
                  </a:lnTo>
                  <a:lnTo>
                    <a:pt x="11" y="1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07" name="Freeform 1177"/>
            <p:cNvSpPr>
              <a:spLocks/>
            </p:cNvSpPr>
            <p:nvPr/>
          </p:nvSpPr>
          <p:spPr bwMode="auto">
            <a:xfrm>
              <a:off x="5068242" y="1554658"/>
              <a:ext cx="14922" cy="13183"/>
            </a:xfrm>
            <a:custGeom>
              <a:avLst/>
              <a:gdLst/>
              <a:ahLst/>
              <a:cxnLst>
                <a:cxn ang="0">
                  <a:pos x="11" y="10"/>
                </a:cxn>
                <a:cxn ang="0">
                  <a:pos x="14" y="10"/>
                </a:cxn>
                <a:cxn ang="0">
                  <a:pos x="16" y="8"/>
                </a:cxn>
                <a:cxn ang="0">
                  <a:pos x="13" y="6"/>
                </a:cxn>
                <a:cxn ang="0">
                  <a:pos x="13" y="0"/>
                </a:cxn>
                <a:cxn ang="0">
                  <a:pos x="7" y="2"/>
                </a:cxn>
                <a:cxn ang="0">
                  <a:pos x="4" y="3"/>
                </a:cxn>
                <a:cxn ang="0">
                  <a:pos x="4" y="5"/>
                </a:cxn>
                <a:cxn ang="0">
                  <a:pos x="3" y="5"/>
                </a:cxn>
                <a:cxn ang="0">
                  <a:pos x="0" y="6"/>
                </a:cxn>
                <a:cxn ang="0">
                  <a:pos x="3" y="10"/>
                </a:cxn>
                <a:cxn ang="0">
                  <a:pos x="4" y="13"/>
                </a:cxn>
                <a:cxn ang="0">
                  <a:pos x="8" y="13"/>
                </a:cxn>
                <a:cxn ang="0">
                  <a:pos x="11" y="10"/>
                </a:cxn>
              </a:cxnLst>
              <a:rect l="0" t="0" r="r" b="b"/>
              <a:pathLst>
                <a:path w="16" h="13">
                  <a:moveTo>
                    <a:pt x="11" y="10"/>
                  </a:moveTo>
                  <a:lnTo>
                    <a:pt x="14" y="10"/>
                  </a:lnTo>
                  <a:lnTo>
                    <a:pt x="16" y="8"/>
                  </a:lnTo>
                  <a:lnTo>
                    <a:pt x="13" y="6"/>
                  </a:lnTo>
                  <a:lnTo>
                    <a:pt x="13" y="0"/>
                  </a:lnTo>
                  <a:lnTo>
                    <a:pt x="7" y="2"/>
                  </a:lnTo>
                  <a:lnTo>
                    <a:pt x="4" y="3"/>
                  </a:lnTo>
                  <a:lnTo>
                    <a:pt x="4" y="5"/>
                  </a:lnTo>
                  <a:lnTo>
                    <a:pt x="3" y="5"/>
                  </a:lnTo>
                  <a:lnTo>
                    <a:pt x="0" y="6"/>
                  </a:lnTo>
                  <a:lnTo>
                    <a:pt x="3" y="10"/>
                  </a:lnTo>
                  <a:lnTo>
                    <a:pt x="4" y="13"/>
                  </a:lnTo>
                  <a:lnTo>
                    <a:pt x="8" y="13"/>
                  </a:lnTo>
                  <a:lnTo>
                    <a:pt x="11" y="1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08" name="Freeform 1178"/>
            <p:cNvSpPr>
              <a:spLocks/>
            </p:cNvSpPr>
            <p:nvPr/>
          </p:nvSpPr>
          <p:spPr bwMode="auto">
            <a:xfrm>
              <a:off x="4859326" y="1517134"/>
              <a:ext cx="38623" cy="62876"/>
            </a:xfrm>
            <a:custGeom>
              <a:avLst/>
              <a:gdLst/>
              <a:ahLst/>
              <a:cxnLst>
                <a:cxn ang="0">
                  <a:pos x="21" y="0"/>
                </a:cxn>
                <a:cxn ang="0">
                  <a:pos x="27" y="6"/>
                </a:cxn>
                <a:cxn ang="0">
                  <a:pos x="32" y="10"/>
                </a:cxn>
                <a:cxn ang="0">
                  <a:pos x="33" y="12"/>
                </a:cxn>
                <a:cxn ang="0">
                  <a:pos x="34" y="20"/>
                </a:cxn>
                <a:cxn ang="0">
                  <a:pos x="39" y="20"/>
                </a:cxn>
                <a:cxn ang="0">
                  <a:pos x="42" y="26"/>
                </a:cxn>
                <a:cxn ang="0">
                  <a:pos x="42" y="55"/>
                </a:cxn>
                <a:cxn ang="0">
                  <a:pos x="39" y="58"/>
                </a:cxn>
                <a:cxn ang="0">
                  <a:pos x="32" y="60"/>
                </a:cxn>
                <a:cxn ang="0">
                  <a:pos x="26" y="60"/>
                </a:cxn>
                <a:cxn ang="0">
                  <a:pos x="23" y="55"/>
                </a:cxn>
                <a:cxn ang="0">
                  <a:pos x="20" y="51"/>
                </a:cxn>
                <a:cxn ang="0">
                  <a:pos x="16" y="48"/>
                </a:cxn>
                <a:cxn ang="0">
                  <a:pos x="16" y="51"/>
                </a:cxn>
                <a:cxn ang="0">
                  <a:pos x="14" y="49"/>
                </a:cxn>
                <a:cxn ang="0">
                  <a:pos x="13" y="46"/>
                </a:cxn>
                <a:cxn ang="0">
                  <a:pos x="10" y="48"/>
                </a:cxn>
                <a:cxn ang="0">
                  <a:pos x="7" y="42"/>
                </a:cxn>
                <a:cxn ang="0">
                  <a:pos x="8" y="36"/>
                </a:cxn>
                <a:cxn ang="0">
                  <a:pos x="7" y="36"/>
                </a:cxn>
                <a:cxn ang="0">
                  <a:pos x="4" y="41"/>
                </a:cxn>
                <a:cxn ang="0">
                  <a:pos x="1" y="36"/>
                </a:cxn>
                <a:cxn ang="0">
                  <a:pos x="0" y="26"/>
                </a:cxn>
                <a:cxn ang="0">
                  <a:pos x="3" y="26"/>
                </a:cxn>
                <a:cxn ang="0">
                  <a:pos x="10" y="20"/>
                </a:cxn>
                <a:cxn ang="0">
                  <a:pos x="7" y="19"/>
                </a:cxn>
                <a:cxn ang="0">
                  <a:pos x="8" y="15"/>
                </a:cxn>
                <a:cxn ang="0">
                  <a:pos x="10" y="16"/>
                </a:cxn>
                <a:cxn ang="0">
                  <a:pos x="8" y="13"/>
                </a:cxn>
                <a:cxn ang="0">
                  <a:pos x="5" y="13"/>
                </a:cxn>
                <a:cxn ang="0">
                  <a:pos x="11" y="13"/>
                </a:cxn>
                <a:cxn ang="0">
                  <a:pos x="17" y="1"/>
                </a:cxn>
                <a:cxn ang="0">
                  <a:pos x="21" y="1"/>
                </a:cxn>
              </a:cxnLst>
              <a:rect l="0" t="0" r="r" b="b"/>
              <a:pathLst>
                <a:path w="42" h="60">
                  <a:moveTo>
                    <a:pt x="21" y="1"/>
                  </a:moveTo>
                  <a:lnTo>
                    <a:pt x="21" y="0"/>
                  </a:lnTo>
                  <a:lnTo>
                    <a:pt x="21" y="3"/>
                  </a:lnTo>
                  <a:lnTo>
                    <a:pt x="27" y="6"/>
                  </a:lnTo>
                  <a:lnTo>
                    <a:pt x="30" y="9"/>
                  </a:lnTo>
                  <a:lnTo>
                    <a:pt x="32" y="10"/>
                  </a:lnTo>
                  <a:lnTo>
                    <a:pt x="32" y="12"/>
                  </a:lnTo>
                  <a:lnTo>
                    <a:pt x="33" y="12"/>
                  </a:lnTo>
                  <a:lnTo>
                    <a:pt x="34" y="16"/>
                  </a:lnTo>
                  <a:lnTo>
                    <a:pt x="34" y="20"/>
                  </a:lnTo>
                  <a:lnTo>
                    <a:pt x="37" y="16"/>
                  </a:lnTo>
                  <a:lnTo>
                    <a:pt x="39" y="20"/>
                  </a:lnTo>
                  <a:lnTo>
                    <a:pt x="39" y="22"/>
                  </a:lnTo>
                  <a:lnTo>
                    <a:pt x="42" y="26"/>
                  </a:lnTo>
                  <a:lnTo>
                    <a:pt x="40" y="28"/>
                  </a:lnTo>
                  <a:lnTo>
                    <a:pt x="42" y="55"/>
                  </a:lnTo>
                  <a:lnTo>
                    <a:pt x="42" y="57"/>
                  </a:lnTo>
                  <a:lnTo>
                    <a:pt x="39" y="58"/>
                  </a:lnTo>
                  <a:lnTo>
                    <a:pt x="36" y="58"/>
                  </a:lnTo>
                  <a:lnTo>
                    <a:pt x="32" y="60"/>
                  </a:lnTo>
                  <a:lnTo>
                    <a:pt x="29" y="58"/>
                  </a:lnTo>
                  <a:lnTo>
                    <a:pt x="26" y="60"/>
                  </a:lnTo>
                  <a:lnTo>
                    <a:pt x="23" y="57"/>
                  </a:lnTo>
                  <a:lnTo>
                    <a:pt x="23" y="55"/>
                  </a:lnTo>
                  <a:lnTo>
                    <a:pt x="20" y="54"/>
                  </a:lnTo>
                  <a:lnTo>
                    <a:pt x="20" y="51"/>
                  </a:lnTo>
                  <a:lnTo>
                    <a:pt x="17" y="48"/>
                  </a:lnTo>
                  <a:lnTo>
                    <a:pt x="16" y="48"/>
                  </a:lnTo>
                  <a:lnTo>
                    <a:pt x="16" y="49"/>
                  </a:lnTo>
                  <a:lnTo>
                    <a:pt x="16" y="51"/>
                  </a:lnTo>
                  <a:lnTo>
                    <a:pt x="14" y="51"/>
                  </a:lnTo>
                  <a:lnTo>
                    <a:pt x="14" y="49"/>
                  </a:lnTo>
                  <a:lnTo>
                    <a:pt x="13" y="46"/>
                  </a:lnTo>
                  <a:lnTo>
                    <a:pt x="13" y="46"/>
                  </a:lnTo>
                  <a:lnTo>
                    <a:pt x="11" y="45"/>
                  </a:lnTo>
                  <a:lnTo>
                    <a:pt x="10" y="48"/>
                  </a:lnTo>
                  <a:lnTo>
                    <a:pt x="8" y="46"/>
                  </a:lnTo>
                  <a:lnTo>
                    <a:pt x="7" y="42"/>
                  </a:lnTo>
                  <a:lnTo>
                    <a:pt x="7" y="39"/>
                  </a:lnTo>
                  <a:lnTo>
                    <a:pt x="8" y="36"/>
                  </a:lnTo>
                  <a:lnTo>
                    <a:pt x="7" y="38"/>
                  </a:lnTo>
                  <a:lnTo>
                    <a:pt x="7" y="36"/>
                  </a:lnTo>
                  <a:lnTo>
                    <a:pt x="5" y="41"/>
                  </a:lnTo>
                  <a:lnTo>
                    <a:pt x="4" y="41"/>
                  </a:lnTo>
                  <a:lnTo>
                    <a:pt x="3" y="38"/>
                  </a:lnTo>
                  <a:lnTo>
                    <a:pt x="1" y="36"/>
                  </a:lnTo>
                  <a:lnTo>
                    <a:pt x="0" y="29"/>
                  </a:lnTo>
                  <a:lnTo>
                    <a:pt x="0" y="26"/>
                  </a:lnTo>
                  <a:lnTo>
                    <a:pt x="1" y="26"/>
                  </a:lnTo>
                  <a:lnTo>
                    <a:pt x="3" y="26"/>
                  </a:lnTo>
                  <a:lnTo>
                    <a:pt x="3" y="25"/>
                  </a:lnTo>
                  <a:lnTo>
                    <a:pt x="10" y="20"/>
                  </a:lnTo>
                  <a:lnTo>
                    <a:pt x="8" y="19"/>
                  </a:lnTo>
                  <a:lnTo>
                    <a:pt x="7" y="19"/>
                  </a:lnTo>
                  <a:lnTo>
                    <a:pt x="7" y="17"/>
                  </a:lnTo>
                  <a:lnTo>
                    <a:pt x="8" y="15"/>
                  </a:lnTo>
                  <a:lnTo>
                    <a:pt x="8" y="16"/>
                  </a:lnTo>
                  <a:lnTo>
                    <a:pt x="10" y="16"/>
                  </a:lnTo>
                  <a:lnTo>
                    <a:pt x="10" y="13"/>
                  </a:lnTo>
                  <a:lnTo>
                    <a:pt x="8" y="13"/>
                  </a:lnTo>
                  <a:lnTo>
                    <a:pt x="5" y="16"/>
                  </a:lnTo>
                  <a:lnTo>
                    <a:pt x="5" y="13"/>
                  </a:lnTo>
                  <a:lnTo>
                    <a:pt x="7" y="12"/>
                  </a:lnTo>
                  <a:lnTo>
                    <a:pt x="11" y="13"/>
                  </a:lnTo>
                  <a:lnTo>
                    <a:pt x="11" y="7"/>
                  </a:lnTo>
                  <a:lnTo>
                    <a:pt x="17" y="1"/>
                  </a:lnTo>
                  <a:lnTo>
                    <a:pt x="20" y="0"/>
                  </a:lnTo>
                  <a:lnTo>
                    <a:pt x="21"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09" name="Freeform 1180"/>
            <p:cNvSpPr>
              <a:spLocks/>
            </p:cNvSpPr>
            <p:nvPr/>
          </p:nvSpPr>
          <p:spPr bwMode="auto">
            <a:xfrm>
              <a:off x="4981340" y="1968423"/>
              <a:ext cx="90413" cy="93300"/>
            </a:xfrm>
            <a:custGeom>
              <a:avLst/>
              <a:gdLst/>
              <a:ahLst/>
              <a:cxnLst>
                <a:cxn ang="0">
                  <a:pos x="22" y="0"/>
                </a:cxn>
                <a:cxn ang="0">
                  <a:pos x="23" y="3"/>
                </a:cxn>
                <a:cxn ang="0">
                  <a:pos x="28" y="7"/>
                </a:cxn>
                <a:cxn ang="0">
                  <a:pos x="29" y="13"/>
                </a:cxn>
                <a:cxn ang="0">
                  <a:pos x="32" y="22"/>
                </a:cxn>
                <a:cxn ang="0">
                  <a:pos x="37" y="15"/>
                </a:cxn>
                <a:cxn ang="0">
                  <a:pos x="41" y="19"/>
                </a:cxn>
                <a:cxn ang="0">
                  <a:pos x="42" y="23"/>
                </a:cxn>
                <a:cxn ang="0">
                  <a:pos x="52" y="26"/>
                </a:cxn>
                <a:cxn ang="0">
                  <a:pos x="57" y="33"/>
                </a:cxn>
                <a:cxn ang="0">
                  <a:pos x="63" y="38"/>
                </a:cxn>
                <a:cxn ang="0">
                  <a:pos x="68" y="39"/>
                </a:cxn>
                <a:cxn ang="0">
                  <a:pos x="76" y="48"/>
                </a:cxn>
                <a:cxn ang="0">
                  <a:pos x="79" y="58"/>
                </a:cxn>
                <a:cxn ang="0">
                  <a:pos x="80" y="63"/>
                </a:cxn>
                <a:cxn ang="0">
                  <a:pos x="84" y="61"/>
                </a:cxn>
                <a:cxn ang="0">
                  <a:pos x="89" y="60"/>
                </a:cxn>
                <a:cxn ang="0">
                  <a:pos x="92" y="63"/>
                </a:cxn>
                <a:cxn ang="0">
                  <a:pos x="93" y="67"/>
                </a:cxn>
                <a:cxn ang="0">
                  <a:pos x="99" y="70"/>
                </a:cxn>
                <a:cxn ang="0">
                  <a:pos x="98" y="71"/>
                </a:cxn>
                <a:cxn ang="0">
                  <a:pos x="86" y="81"/>
                </a:cxn>
                <a:cxn ang="0">
                  <a:pos x="82" y="77"/>
                </a:cxn>
                <a:cxn ang="0">
                  <a:pos x="79" y="77"/>
                </a:cxn>
                <a:cxn ang="0">
                  <a:pos x="76" y="74"/>
                </a:cxn>
                <a:cxn ang="0">
                  <a:pos x="73" y="73"/>
                </a:cxn>
                <a:cxn ang="0">
                  <a:pos x="67" y="74"/>
                </a:cxn>
                <a:cxn ang="0">
                  <a:pos x="68" y="68"/>
                </a:cxn>
                <a:cxn ang="0">
                  <a:pos x="66" y="65"/>
                </a:cxn>
                <a:cxn ang="0">
                  <a:pos x="60" y="64"/>
                </a:cxn>
                <a:cxn ang="0">
                  <a:pos x="58" y="64"/>
                </a:cxn>
                <a:cxn ang="0">
                  <a:pos x="61" y="58"/>
                </a:cxn>
                <a:cxn ang="0">
                  <a:pos x="51" y="61"/>
                </a:cxn>
                <a:cxn ang="0">
                  <a:pos x="51" y="68"/>
                </a:cxn>
                <a:cxn ang="0">
                  <a:pos x="48" y="71"/>
                </a:cxn>
                <a:cxn ang="0">
                  <a:pos x="45" y="74"/>
                </a:cxn>
                <a:cxn ang="0">
                  <a:pos x="44" y="77"/>
                </a:cxn>
                <a:cxn ang="0">
                  <a:pos x="38" y="81"/>
                </a:cxn>
                <a:cxn ang="0">
                  <a:pos x="38" y="83"/>
                </a:cxn>
                <a:cxn ang="0">
                  <a:pos x="28" y="90"/>
                </a:cxn>
                <a:cxn ang="0">
                  <a:pos x="25" y="90"/>
                </a:cxn>
                <a:cxn ang="0">
                  <a:pos x="22" y="76"/>
                </a:cxn>
                <a:cxn ang="0">
                  <a:pos x="21" y="67"/>
                </a:cxn>
                <a:cxn ang="0">
                  <a:pos x="19" y="73"/>
                </a:cxn>
                <a:cxn ang="0">
                  <a:pos x="16" y="74"/>
                </a:cxn>
                <a:cxn ang="0">
                  <a:pos x="10" y="74"/>
                </a:cxn>
                <a:cxn ang="0">
                  <a:pos x="6" y="77"/>
                </a:cxn>
                <a:cxn ang="0">
                  <a:pos x="0" y="77"/>
                </a:cxn>
                <a:cxn ang="0">
                  <a:pos x="3" y="67"/>
                </a:cxn>
                <a:cxn ang="0">
                  <a:pos x="7" y="64"/>
                </a:cxn>
                <a:cxn ang="0">
                  <a:pos x="13" y="55"/>
                </a:cxn>
                <a:cxn ang="0">
                  <a:pos x="16" y="7"/>
                </a:cxn>
              </a:cxnLst>
              <a:rect l="0" t="0" r="r" b="b"/>
              <a:pathLst>
                <a:path w="99" h="90">
                  <a:moveTo>
                    <a:pt x="19" y="4"/>
                  </a:moveTo>
                  <a:lnTo>
                    <a:pt x="22" y="0"/>
                  </a:lnTo>
                  <a:lnTo>
                    <a:pt x="23" y="0"/>
                  </a:lnTo>
                  <a:lnTo>
                    <a:pt x="23" y="3"/>
                  </a:lnTo>
                  <a:lnTo>
                    <a:pt x="26" y="3"/>
                  </a:lnTo>
                  <a:lnTo>
                    <a:pt x="28" y="7"/>
                  </a:lnTo>
                  <a:lnTo>
                    <a:pt x="31" y="10"/>
                  </a:lnTo>
                  <a:lnTo>
                    <a:pt x="29" y="13"/>
                  </a:lnTo>
                  <a:lnTo>
                    <a:pt x="31" y="20"/>
                  </a:lnTo>
                  <a:lnTo>
                    <a:pt x="32" y="22"/>
                  </a:lnTo>
                  <a:lnTo>
                    <a:pt x="34" y="19"/>
                  </a:lnTo>
                  <a:lnTo>
                    <a:pt x="37" y="15"/>
                  </a:lnTo>
                  <a:lnTo>
                    <a:pt x="38" y="16"/>
                  </a:lnTo>
                  <a:lnTo>
                    <a:pt x="41" y="19"/>
                  </a:lnTo>
                  <a:lnTo>
                    <a:pt x="44" y="19"/>
                  </a:lnTo>
                  <a:lnTo>
                    <a:pt x="42" y="23"/>
                  </a:lnTo>
                  <a:lnTo>
                    <a:pt x="45" y="25"/>
                  </a:lnTo>
                  <a:lnTo>
                    <a:pt x="52" y="26"/>
                  </a:lnTo>
                  <a:lnTo>
                    <a:pt x="54" y="31"/>
                  </a:lnTo>
                  <a:lnTo>
                    <a:pt x="57" y="33"/>
                  </a:lnTo>
                  <a:lnTo>
                    <a:pt x="60" y="35"/>
                  </a:lnTo>
                  <a:lnTo>
                    <a:pt x="63" y="38"/>
                  </a:lnTo>
                  <a:lnTo>
                    <a:pt x="66" y="39"/>
                  </a:lnTo>
                  <a:lnTo>
                    <a:pt x="68" y="39"/>
                  </a:lnTo>
                  <a:lnTo>
                    <a:pt x="74" y="42"/>
                  </a:lnTo>
                  <a:lnTo>
                    <a:pt x="76" y="48"/>
                  </a:lnTo>
                  <a:lnTo>
                    <a:pt x="77" y="55"/>
                  </a:lnTo>
                  <a:lnTo>
                    <a:pt x="79" y="58"/>
                  </a:lnTo>
                  <a:lnTo>
                    <a:pt x="79" y="61"/>
                  </a:lnTo>
                  <a:lnTo>
                    <a:pt x="80" y="63"/>
                  </a:lnTo>
                  <a:lnTo>
                    <a:pt x="82" y="61"/>
                  </a:lnTo>
                  <a:lnTo>
                    <a:pt x="84" y="61"/>
                  </a:lnTo>
                  <a:lnTo>
                    <a:pt x="84" y="63"/>
                  </a:lnTo>
                  <a:lnTo>
                    <a:pt x="89" y="60"/>
                  </a:lnTo>
                  <a:lnTo>
                    <a:pt x="90" y="60"/>
                  </a:lnTo>
                  <a:lnTo>
                    <a:pt x="92" y="63"/>
                  </a:lnTo>
                  <a:lnTo>
                    <a:pt x="93" y="64"/>
                  </a:lnTo>
                  <a:lnTo>
                    <a:pt x="93" y="67"/>
                  </a:lnTo>
                  <a:lnTo>
                    <a:pt x="93" y="68"/>
                  </a:lnTo>
                  <a:lnTo>
                    <a:pt x="99" y="70"/>
                  </a:lnTo>
                  <a:lnTo>
                    <a:pt x="99" y="71"/>
                  </a:lnTo>
                  <a:lnTo>
                    <a:pt x="98" y="71"/>
                  </a:lnTo>
                  <a:lnTo>
                    <a:pt x="89" y="80"/>
                  </a:lnTo>
                  <a:lnTo>
                    <a:pt x="86" y="81"/>
                  </a:lnTo>
                  <a:lnTo>
                    <a:pt x="83" y="78"/>
                  </a:lnTo>
                  <a:lnTo>
                    <a:pt x="82" y="77"/>
                  </a:lnTo>
                  <a:lnTo>
                    <a:pt x="80" y="77"/>
                  </a:lnTo>
                  <a:lnTo>
                    <a:pt x="79" y="77"/>
                  </a:lnTo>
                  <a:lnTo>
                    <a:pt x="77" y="76"/>
                  </a:lnTo>
                  <a:lnTo>
                    <a:pt x="76" y="74"/>
                  </a:lnTo>
                  <a:lnTo>
                    <a:pt x="73" y="74"/>
                  </a:lnTo>
                  <a:lnTo>
                    <a:pt x="73" y="73"/>
                  </a:lnTo>
                  <a:lnTo>
                    <a:pt x="71" y="74"/>
                  </a:lnTo>
                  <a:lnTo>
                    <a:pt x="67" y="74"/>
                  </a:lnTo>
                  <a:lnTo>
                    <a:pt x="67" y="71"/>
                  </a:lnTo>
                  <a:lnTo>
                    <a:pt x="68" y="68"/>
                  </a:lnTo>
                  <a:lnTo>
                    <a:pt x="67" y="65"/>
                  </a:lnTo>
                  <a:lnTo>
                    <a:pt x="66" y="65"/>
                  </a:lnTo>
                  <a:lnTo>
                    <a:pt x="61" y="64"/>
                  </a:lnTo>
                  <a:lnTo>
                    <a:pt x="60" y="64"/>
                  </a:lnTo>
                  <a:lnTo>
                    <a:pt x="60" y="65"/>
                  </a:lnTo>
                  <a:lnTo>
                    <a:pt x="58" y="64"/>
                  </a:lnTo>
                  <a:lnTo>
                    <a:pt x="58" y="61"/>
                  </a:lnTo>
                  <a:lnTo>
                    <a:pt x="61" y="58"/>
                  </a:lnTo>
                  <a:lnTo>
                    <a:pt x="60" y="58"/>
                  </a:lnTo>
                  <a:lnTo>
                    <a:pt x="51" y="61"/>
                  </a:lnTo>
                  <a:lnTo>
                    <a:pt x="50" y="67"/>
                  </a:lnTo>
                  <a:lnTo>
                    <a:pt x="51" y="68"/>
                  </a:lnTo>
                  <a:lnTo>
                    <a:pt x="51" y="71"/>
                  </a:lnTo>
                  <a:lnTo>
                    <a:pt x="48" y="71"/>
                  </a:lnTo>
                  <a:lnTo>
                    <a:pt x="48" y="73"/>
                  </a:lnTo>
                  <a:lnTo>
                    <a:pt x="45" y="74"/>
                  </a:lnTo>
                  <a:lnTo>
                    <a:pt x="45" y="76"/>
                  </a:lnTo>
                  <a:lnTo>
                    <a:pt x="44" y="77"/>
                  </a:lnTo>
                  <a:lnTo>
                    <a:pt x="41" y="77"/>
                  </a:lnTo>
                  <a:lnTo>
                    <a:pt x="38" y="81"/>
                  </a:lnTo>
                  <a:lnTo>
                    <a:pt x="38" y="81"/>
                  </a:lnTo>
                  <a:lnTo>
                    <a:pt x="38" y="83"/>
                  </a:lnTo>
                  <a:lnTo>
                    <a:pt x="35" y="87"/>
                  </a:lnTo>
                  <a:lnTo>
                    <a:pt x="28" y="90"/>
                  </a:lnTo>
                  <a:lnTo>
                    <a:pt x="26" y="90"/>
                  </a:lnTo>
                  <a:lnTo>
                    <a:pt x="25" y="90"/>
                  </a:lnTo>
                  <a:lnTo>
                    <a:pt x="22" y="86"/>
                  </a:lnTo>
                  <a:lnTo>
                    <a:pt x="22" y="76"/>
                  </a:lnTo>
                  <a:lnTo>
                    <a:pt x="21" y="74"/>
                  </a:lnTo>
                  <a:lnTo>
                    <a:pt x="21" y="67"/>
                  </a:lnTo>
                  <a:lnTo>
                    <a:pt x="19" y="68"/>
                  </a:lnTo>
                  <a:lnTo>
                    <a:pt x="19" y="73"/>
                  </a:lnTo>
                  <a:lnTo>
                    <a:pt x="18" y="73"/>
                  </a:lnTo>
                  <a:lnTo>
                    <a:pt x="16" y="74"/>
                  </a:lnTo>
                  <a:lnTo>
                    <a:pt x="12" y="74"/>
                  </a:lnTo>
                  <a:lnTo>
                    <a:pt x="10" y="74"/>
                  </a:lnTo>
                  <a:lnTo>
                    <a:pt x="9" y="74"/>
                  </a:lnTo>
                  <a:lnTo>
                    <a:pt x="6" y="77"/>
                  </a:lnTo>
                  <a:lnTo>
                    <a:pt x="2" y="78"/>
                  </a:lnTo>
                  <a:lnTo>
                    <a:pt x="0" y="77"/>
                  </a:lnTo>
                  <a:lnTo>
                    <a:pt x="0" y="74"/>
                  </a:lnTo>
                  <a:lnTo>
                    <a:pt x="3" y="67"/>
                  </a:lnTo>
                  <a:lnTo>
                    <a:pt x="5" y="65"/>
                  </a:lnTo>
                  <a:lnTo>
                    <a:pt x="7" y="64"/>
                  </a:lnTo>
                  <a:lnTo>
                    <a:pt x="13" y="58"/>
                  </a:lnTo>
                  <a:lnTo>
                    <a:pt x="13" y="55"/>
                  </a:lnTo>
                  <a:lnTo>
                    <a:pt x="12" y="54"/>
                  </a:lnTo>
                  <a:lnTo>
                    <a:pt x="16" y="7"/>
                  </a:lnTo>
                  <a:lnTo>
                    <a:pt x="19"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10" name="Freeform 1181"/>
            <p:cNvSpPr>
              <a:spLocks/>
            </p:cNvSpPr>
            <p:nvPr/>
          </p:nvSpPr>
          <p:spPr bwMode="auto">
            <a:xfrm>
              <a:off x="4981340" y="1968423"/>
              <a:ext cx="90413" cy="93300"/>
            </a:xfrm>
            <a:custGeom>
              <a:avLst/>
              <a:gdLst/>
              <a:ahLst/>
              <a:cxnLst>
                <a:cxn ang="0">
                  <a:pos x="22" y="0"/>
                </a:cxn>
                <a:cxn ang="0">
                  <a:pos x="23" y="3"/>
                </a:cxn>
                <a:cxn ang="0">
                  <a:pos x="28" y="7"/>
                </a:cxn>
                <a:cxn ang="0">
                  <a:pos x="29" y="13"/>
                </a:cxn>
                <a:cxn ang="0">
                  <a:pos x="32" y="22"/>
                </a:cxn>
                <a:cxn ang="0">
                  <a:pos x="37" y="15"/>
                </a:cxn>
                <a:cxn ang="0">
                  <a:pos x="41" y="19"/>
                </a:cxn>
                <a:cxn ang="0">
                  <a:pos x="42" y="23"/>
                </a:cxn>
                <a:cxn ang="0">
                  <a:pos x="52" y="26"/>
                </a:cxn>
                <a:cxn ang="0">
                  <a:pos x="57" y="33"/>
                </a:cxn>
                <a:cxn ang="0">
                  <a:pos x="63" y="38"/>
                </a:cxn>
                <a:cxn ang="0">
                  <a:pos x="68" y="39"/>
                </a:cxn>
                <a:cxn ang="0">
                  <a:pos x="76" y="48"/>
                </a:cxn>
                <a:cxn ang="0">
                  <a:pos x="79" y="58"/>
                </a:cxn>
                <a:cxn ang="0">
                  <a:pos x="80" y="63"/>
                </a:cxn>
                <a:cxn ang="0">
                  <a:pos x="84" y="61"/>
                </a:cxn>
                <a:cxn ang="0">
                  <a:pos x="89" y="60"/>
                </a:cxn>
                <a:cxn ang="0">
                  <a:pos x="92" y="63"/>
                </a:cxn>
                <a:cxn ang="0">
                  <a:pos x="93" y="67"/>
                </a:cxn>
                <a:cxn ang="0">
                  <a:pos x="99" y="70"/>
                </a:cxn>
                <a:cxn ang="0">
                  <a:pos x="98" y="71"/>
                </a:cxn>
                <a:cxn ang="0">
                  <a:pos x="86" y="81"/>
                </a:cxn>
                <a:cxn ang="0">
                  <a:pos x="82" y="77"/>
                </a:cxn>
                <a:cxn ang="0">
                  <a:pos x="79" y="77"/>
                </a:cxn>
                <a:cxn ang="0">
                  <a:pos x="76" y="74"/>
                </a:cxn>
                <a:cxn ang="0">
                  <a:pos x="73" y="73"/>
                </a:cxn>
                <a:cxn ang="0">
                  <a:pos x="67" y="74"/>
                </a:cxn>
                <a:cxn ang="0">
                  <a:pos x="68" y="68"/>
                </a:cxn>
                <a:cxn ang="0">
                  <a:pos x="66" y="65"/>
                </a:cxn>
                <a:cxn ang="0">
                  <a:pos x="60" y="64"/>
                </a:cxn>
                <a:cxn ang="0">
                  <a:pos x="58" y="64"/>
                </a:cxn>
                <a:cxn ang="0">
                  <a:pos x="61" y="58"/>
                </a:cxn>
                <a:cxn ang="0">
                  <a:pos x="51" y="61"/>
                </a:cxn>
                <a:cxn ang="0">
                  <a:pos x="51" y="68"/>
                </a:cxn>
                <a:cxn ang="0">
                  <a:pos x="48" y="71"/>
                </a:cxn>
                <a:cxn ang="0">
                  <a:pos x="45" y="74"/>
                </a:cxn>
                <a:cxn ang="0">
                  <a:pos x="44" y="77"/>
                </a:cxn>
                <a:cxn ang="0">
                  <a:pos x="38" y="81"/>
                </a:cxn>
                <a:cxn ang="0">
                  <a:pos x="38" y="83"/>
                </a:cxn>
                <a:cxn ang="0">
                  <a:pos x="28" y="90"/>
                </a:cxn>
                <a:cxn ang="0">
                  <a:pos x="25" y="90"/>
                </a:cxn>
                <a:cxn ang="0">
                  <a:pos x="22" y="76"/>
                </a:cxn>
                <a:cxn ang="0">
                  <a:pos x="21" y="67"/>
                </a:cxn>
                <a:cxn ang="0">
                  <a:pos x="19" y="73"/>
                </a:cxn>
                <a:cxn ang="0">
                  <a:pos x="16" y="74"/>
                </a:cxn>
                <a:cxn ang="0">
                  <a:pos x="10" y="74"/>
                </a:cxn>
                <a:cxn ang="0">
                  <a:pos x="6" y="77"/>
                </a:cxn>
                <a:cxn ang="0">
                  <a:pos x="0" y="77"/>
                </a:cxn>
                <a:cxn ang="0">
                  <a:pos x="3" y="67"/>
                </a:cxn>
                <a:cxn ang="0">
                  <a:pos x="7" y="64"/>
                </a:cxn>
                <a:cxn ang="0">
                  <a:pos x="13" y="55"/>
                </a:cxn>
                <a:cxn ang="0">
                  <a:pos x="16" y="7"/>
                </a:cxn>
              </a:cxnLst>
              <a:rect l="0" t="0" r="r" b="b"/>
              <a:pathLst>
                <a:path w="99" h="90">
                  <a:moveTo>
                    <a:pt x="19" y="4"/>
                  </a:moveTo>
                  <a:lnTo>
                    <a:pt x="22" y="0"/>
                  </a:lnTo>
                  <a:lnTo>
                    <a:pt x="23" y="0"/>
                  </a:lnTo>
                  <a:lnTo>
                    <a:pt x="23" y="3"/>
                  </a:lnTo>
                  <a:lnTo>
                    <a:pt x="26" y="3"/>
                  </a:lnTo>
                  <a:lnTo>
                    <a:pt x="28" y="7"/>
                  </a:lnTo>
                  <a:lnTo>
                    <a:pt x="31" y="10"/>
                  </a:lnTo>
                  <a:lnTo>
                    <a:pt x="29" y="13"/>
                  </a:lnTo>
                  <a:lnTo>
                    <a:pt x="31" y="20"/>
                  </a:lnTo>
                  <a:lnTo>
                    <a:pt x="32" y="22"/>
                  </a:lnTo>
                  <a:lnTo>
                    <a:pt x="34" y="19"/>
                  </a:lnTo>
                  <a:lnTo>
                    <a:pt x="37" y="15"/>
                  </a:lnTo>
                  <a:lnTo>
                    <a:pt x="38" y="16"/>
                  </a:lnTo>
                  <a:lnTo>
                    <a:pt x="41" y="19"/>
                  </a:lnTo>
                  <a:lnTo>
                    <a:pt x="44" y="19"/>
                  </a:lnTo>
                  <a:lnTo>
                    <a:pt x="42" y="23"/>
                  </a:lnTo>
                  <a:lnTo>
                    <a:pt x="45" y="25"/>
                  </a:lnTo>
                  <a:lnTo>
                    <a:pt x="52" y="26"/>
                  </a:lnTo>
                  <a:lnTo>
                    <a:pt x="54" y="31"/>
                  </a:lnTo>
                  <a:lnTo>
                    <a:pt x="57" y="33"/>
                  </a:lnTo>
                  <a:lnTo>
                    <a:pt x="60" y="35"/>
                  </a:lnTo>
                  <a:lnTo>
                    <a:pt x="63" y="38"/>
                  </a:lnTo>
                  <a:lnTo>
                    <a:pt x="66" y="39"/>
                  </a:lnTo>
                  <a:lnTo>
                    <a:pt x="68" y="39"/>
                  </a:lnTo>
                  <a:lnTo>
                    <a:pt x="74" y="42"/>
                  </a:lnTo>
                  <a:lnTo>
                    <a:pt x="76" y="48"/>
                  </a:lnTo>
                  <a:lnTo>
                    <a:pt x="77" y="55"/>
                  </a:lnTo>
                  <a:lnTo>
                    <a:pt x="79" y="58"/>
                  </a:lnTo>
                  <a:lnTo>
                    <a:pt x="79" y="61"/>
                  </a:lnTo>
                  <a:lnTo>
                    <a:pt x="80" y="63"/>
                  </a:lnTo>
                  <a:lnTo>
                    <a:pt x="82" y="61"/>
                  </a:lnTo>
                  <a:lnTo>
                    <a:pt x="84" y="61"/>
                  </a:lnTo>
                  <a:lnTo>
                    <a:pt x="84" y="63"/>
                  </a:lnTo>
                  <a:lnTo>
                    <a:pt x="89" y="60"/>
                  </a:lnTo>
                  <a:lnTo>
                    <a:pt x="90" y="60"/>
                  </a:lnTo>
                  <a:lnTo>
                    <a:pt x="92" y="63"/>
                  </a:lnTo>
                  <a:lnTo>
                    <a:pt x="93" y="64"/>
                  </a:lnTo>
                  <a:lnTo>
                    <a:pt x="93" y="67"/>
                  </a:lnTo>
                  <a:lnTo>
                    <a:pt x="93" y="68"/>
                  </a:lnTo>
                  <a:lnTo>
                    <a:pt x="99" y="70"/>
                  </a:lnTo>
                  <a:lnTo>
                    <a:pt x="99" y="71"/>
                  </a:lnTo>
                  <a:lnTo>
                    <a:pt x="98" y="71"/>
                  </a:lnTo>
                  <a:lnTo>
                    <a:pt x="89" y="80"/>
                  </a:lnTo>
                  <a:lnTo>
                    <a:pt x="86" y="81"/>
                  </a:lnTo>
                  <a:lnTo>
                    <a:pt x="83" y="78"/>
                  </a:lnTo>
                  <a:lnTo>
                    <a:pt x="82" y="77"/>
                  </a:lnTo>
                  <a:lnTo>
                    <a:pt x="80" y="77"/>
                  </a:lnTo>
                  <a:lnTo>
                    <a:pt x="79" y="77"/>
                  </a:lnTo>
                  <a:lnTo>
                    <a:pt x="77" y="76"/>
                  </a:lnTo>
                  <a:lnTo>
                    <a:pt x="76" y="74"/>
                  </a:lnTo>
                  <a:lnTo>
                    <a:pt x="73" y="74"/>
                  </a:lnTo>
                  <a:lnTo>
                    <a:pt x="73" y="73"/>
                  </a:lnTo>
                  <a:lnTo>
                    <a:pt x="71" y="74"/>
                  </a:lnTo>
                  <a:lnTo>
                    <a:pt x="67" y="74"/>
                  </a:lnTo>
                  <a:lnTo>
                    <a:pt x="67" y="71"/>
                  </a:lnTo>
                  <a:lnTo>
                    <a:pt x="68" y="68"/>
                  </a:lnTo>
                  <a:lnTo>
                    <a:pt x="67" y="65"/>
                  </a:lnTo>
                  <a:lnTo>
                    <a:pt x="66" y="65"/>
                  </a:lnTo>
                  <a:lnTo>
                    <a:pt x="61" y="64"/>
                  </a:lnTo>
                  <a:lnTo>
                    <a:pt x="60" y="64"/>
                  </a:lnTo>
                  <a:lnTo>
                    <a:pt x="60" y="65"/>
                  </a:lnTo>
                  <a:lnTo>
                    <a:pt x="58" y="64"/>
                  </a:lnTo>
                  <a:lnTo>
                    <a:pt x="58" y="61"/>
                  </a:lnTo>
                  <a:lnTo>
                    <a:pt x="61" y="58"/>
                  </a:lnTo>
                  <a:lnTo>
                    <a:pt x="60" y="58"/>
                  </a:lnTo>
                  <a:lnTo>
                    <a:pt x="51" y="61"/>
                  </a:lnTo>
                  <a:lnTo>
                    <a:pt x="50" y="67"/>
                  </a:lnTo>
                  <a:lnTo>
                    <a:pt x="51" y="68"/>
                  </a:lnTo>
                  <a:lnTo>
                    <a:pt x="51" y="71"/>
                  </a:lnTo>
                  <a:lnTo>
                    <a:pt x="48" y="71"/>
                  </a:lnTo>
                  <a:lnTo>
                    <a:pt x="48" y="73"/>
                  </a:lnTo>
                  <a:lnTo>
                    <a:pt x="45" y="74"/>
                  </a:lnTo>
                  <a:lnTo>
                    <a:pt x="45" y="76"/>
                  </a:lnTo>
                  <a:lnTo>
                    <a:pt x="44" y="77"/>
                  </a:lnTo>
                  <a:lnTo>
                    <a:pt x="41" y="77"/>
                  </a:lnTo>
                  <a:lnTo>
                    <a:pt x="38" y="81"/>
                  </a:lnTo>
                  <a:lnTo>
                    <a:pt x="38" y="81"/>
                  </a:lnTo>
                  <a:lnTo>
                    <a:pt x="38" y="83"/>
                  </a:lnTo>
                  <a:lnTo>
                    <a:pt x="35" y="87"/>
                  </a:lnTo>
                  <a:lnTo>
                    <a:pt x="28" y="90"/>
                  </a:lnTo>
                  <a:lnTo>
                    <a:pt x="26" y="90"/>
                  </a:lnTo>
                  <a:lnTo>
                    <a:pt x="25" y="90"/>
                  </a:lnTo>
                  <a:lnTo>
                    <a:pt x="22" y="86"/>
                  </a:lnTo>
                  <a:lnTo>
                    <a:pt x="22" y="76"/>
                  </a:lnTo>
                  <a:lnTo>
                    <a:pt x="21" y="74"/>
                  </a:lnTo>
                  <a:lnTo>
                    <a:pt x="21" y="67"/>
                  </a:lnTo>
                  <a:lnTo>
                    <a:pt x="19" y="68"/>
                  </a:lnTo>
                  <a:lnTo>
                    <a:pt x="19" y="73"/>
                  </a:lnTo>
                  <a:lnTo>
                    <a:pt x="18" y="73"/>
                  </a:lnTo>
                  <a:lnTo>
                    <a:pt x="16" y="74"/>
                  </a:lnTo>
                  <a:lnTo>
                    <a:pt x="12" y="74"/>
                  </a:lnTo>
                  <a:lnTo>
                    <a:pt x="10" y="74"/>
                  </a:lnTo>
                  <a:lnTo>
                    <a:pt x="9" y="74"/>
                  </a:lnTo>
                  <a:lnTo>
                    <a:pt x="6" y="77"/>
                  </a:lnTo>
                  <a:lnTo>
                    <a:pt x="2" y="78"/>
                  </a:lnTo>
                  <a:lnTo>
                    <a:pt x="0" y="77"/>
                  </a:lnTo>
                  <a:lnTo>
                    <a:pt x="0" y="74"/>
                  </a:lnTo>
                  <a:lnTo>
                    <a:pt x="3" y="67"/>
                  </a:lnTo>
                  <a:lnTo>
                    <a:pt x="5" y="65"/>
                  </a:lnTo>
                  <a:lnTo>
                    <a:pt x="7" y="64"/>
                  </a:lnTo>
                  <a:lnTo>
                    <a:pt x="13" y="58"/>
                  </a:lnTo>
                  <a:lnTo>
                    <a:pt x="13" y="55"/>
                  </a:lnTo>
                  <a:lnTo>
                    <a:pt x="12" y="54"/>
                  </a:lnTo>
                  <a:lnTo>
                    <a:pt x="16" y="7"/>
                  </a:lnTo>
                  <a:lnTo>
                    <a:pt x="19"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11" name="Freeform 1182"/>
            <p:cNvSpPr>
              <a:spLocks/>
            </p:cNvSpPr>
            <p:nvPr/>
          </p:nvSpPr>
          <p:spPr bwMode="auto">
            <a:xfrm>
              <a:off x="5016452" y="1960310"/>
              <a:ext cx="15800" cy="18254"/>
            </a:xfrm>
            <a:custGeom>
              <a:avLst/>
              <a:gdLst/>
              <a:ahLst/>
              <a:cxnLst>
                <a:cxn ang="0">
                  <a:pos x="9" y="4"/>
                </a:cxn>
                <a:cxn ang="0">
                  <a:pos x="10" y="6"/>
                </a:cxn>
                <a:cxn ang="0">
                  <a:pos x="12" y="6"/>
                </a:cxn>
                <a:cxn ang="0">
                  <a:pos x="13" y="11"/>
                </a:cxn>
                <a:cxn ang="0">
                  <a:pos x="14" y="13"/>
                </a:cxn>
                <a:cxn ang="0">
                  <a:pos x="16" y="14"/>
                </a:cxn>
                <a:cxn ang="0">
                  <a:pos x="17" y="17"/>
                </a:cxn>
                <a:cxn ang="0">
                  <a:pos x="10" y="16"/>
                </a:cxn>
                <a:cxn ang="0">
                  <a:pos x="9" y="13"/>
                </a:cxn>
                <a:cxn ang="0">
                  <a:pos x="6" y="10"/>
                </a:cxn>
                <a:cxn ang="0">
                  <a:pos x="3" y="4"/>
                </a:cxn>
                <a:cxn ang="0">
                  <a:pos x="1" y="1"/>
                </a:cxn>
                <a:cxn ang="0">
                  <a:pos x="0" y="0"/>
                </a:cxn>
                <a:cxn ang="0">
                  <a:pos x="3" y="0"/>
                </a:cxn>
                <a:cxn ang="0">
                  <a:pos x="6" y="1"/>
                </a:cxn>
                <a:cxn ang="0">
                  <a:pos x="9" y="4"/>
                </a:cxn>
              </a:cxnLst>
              <a:rect l="0" t="0" r="r" b="b"/>
              <a:pathLst>
                <a:path w="17" h="17">
                  <a:moveTo>
                    <a:pt x="9" y="4"/>
                  </a:moveTo>
                  <a:lnTo>
                    <a:pt x="10" y="6"/>
                  </a:lnTo>
                  <a:lnTo>
                    <a:pt x="12" y="6"/>
                  </a:lnTo>
                  <a:lnTo>
                    <a:pt x="13" y="11"/>
                  </a:lnTo>
                  <a:lnTo>
                    <a:pt x="14" y="13"/>
                  </a:lnTo>
                  <a:lnTo>
                    <a:pt x="16" y="14"/>
                  </a:lnTo>
                  <a:lnTo>
                    <a:pt x="17" y="17"/>
                  </a:lnTo>
                  <a:lnTo>
                    <a:pt x="10" y="16"/>
                  </a:lnTo>
                  <a:lnTo>
                    <a:pt x="9" y="13"/>
                  </a:lnTo>
                  <a:lnTo>
                    <a:pt x="6" y="10"/>
                  </a:lnTo>
                  <a:lnTo>
                    <a:pt x="3" y="4"/>
                  </a:lnTo>
                  <a:lnTo>
                    <a:pt x="1" y="1"/>
                  </a:lnTo>
                  <a:lnTo>
                    <a:pt x="0" y="0"/>
                  </a:lnTo>
                  <a:lnTo>
                    <a:pt x="3" y="0"/>
                  </a:lnTo>
                  <a:lnTo>
                    <a:pt x="6" y="1"/>
                  </a:lnTo>
                  <a:lnTo>
                    <a:pt x="9"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12" name="Freeform 1183"/>
            <p:cNvSpPr>
              <a:spLocks/>
            </p:cNvSpPr>
            <p:nvPr/>
          </p:nvSpPr>
          <p:spPr bwMode="auto">
            <a:xfrm>
              <a:off x="5016452" y="1960310"/>
              <a:ext cx="15800" cy="18254"/>
            </a:xfrm>
            <a:custGeom>
              <a:avLst/>
              <a:gdLst/>
              <a:ahLst/>
              <a:cxnLst>
                <a:cxn ang="0">
                  <a:pos x="9" y="4"/>
                </a:cxn>
                <a:cxn ang="0">
                  <a:pos x="10" y="6"/>
                </a:cxn>
                <a:cxn ang="0">
                  <a:pos x="12" y="6"/>
                </a:cxn>
                <a:cxn ang="0">
                  <a:pos x="13" y="11"/>
                </a:cxn>
                <a:cxn ang="0">
                  <a:pos x="14" y="13"/>
                </a:cxn>
                <a:cxn ang="0">
                  <a:pos x="16" y="14"/>
                </a:cxn>
                <a:cxn ang="0">
                  <a:pos x="17" y="17"/>
                </a:cxn>
                <a:cxn ang="0">
                  <a:pos x="10" y="16"/>
                </a:cxn>
                <a:cxn ang="0">
                  <a:pos x="9" y="13"/>
                </a:cxn>
                <a:cxn ang="0">
                  <a:pos x="6" y="10"/>
                </a:cxn>
                <a:cxn ang="0">
                  <a:pos x="3" y="4"/>
                </a:cxn>
                <a:cxn ang="0">
                  <a:pos x="1" y="1"/>
                </a:cxn>
                <a:cxn ang="0">
                  <a:pos x="0" y="0"/>
                </a:cxn>
                <a:cxn ang="0">
                  <a:pos x="3" y="0"/>
                </a:cxn>
                <a:cxn ang="0">
                  <a:pos x="6" y="1"/>
                </a:cxn>
                <a:cxn ang="0">
                  <a:pos x="9" y="4"/>
                </a:cxn>
              </a:cxnLst>
              <a:rect l="0" t="0" r="r" b="b"/>
              <a:pathLst>
                <a:path w="17" h="17">
                  <a:moveTo>
                    <a:pt x="9" y="4"/>
                  </a:moveTo>
                  <a:lnTo>
                    <a:pt x="10" y="6"/>
                  </a:lnTo>
                  <a:lnTo>
                    <a:pt x="12" y="6"/>
                  </a:lnTo>
                  <a:lnTo>
                    <a:pt x="13" y="11"/>
                  </a:lnTo>
                  <a:lnTo>
                    <a:pt x="14" y="13"/>
                  </a:lnTo>
                  <a:lnTo>
                    <a:pt x="16" y="14"/>
                  </a:lnTo>
                  <a:lnTo>
                    <a:pt x="17" y="17"/>
                  </a:lnTo>
                  <a:lnTo>
                    <a:pt x="10" y="16"/>
                  </a:lnTo>
                  <a:lnTo>
                    <a:pt x="9" y="13"/>
                  </a:lnTo>
                  <a:lnTo>
                    <a:pt x="6" y="10"/>
                  </a:lnTo>
                  <a:lnTo>
                    <a:pt x="3" y="4"/>
                  </a:lnTo>
                  <a:lnTo>
                    <a:pt x="1" y="1"/>
                  </a:lnTo>
                  <a:lnTo>
                    <a:pt x="0" y="0"/>
                  </a:lnTo>
                  <a:lnTo>
                    <a:pt x="3" y="0"/>
                  </a:lnTo>
                  <a:lnTo>
                    <a:pt x="6" y="1"/>
                  </a:lnTo>
                  <a:lnTo>
                    <a:pt x="9"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13" name="Freeform 1184"/>
            <p:cNvSpPr>
              <a:spLocks/>
            </p:cNvSpPr>
            <p:nvPr/>
          </p:nvSpPr>
          <p:spPr bwMode="auto">
            <a:xfrm>
              <a:off x="5110376" y="1875123"/>
              <a:ext cx="28967" cy="44621"/>
            </a:xfrm>
            <a:custGeom>
              <a:avLst/>
              <a:gdLst/>
              <a:ahLst/>
              <a:cxnLst>
                <a:cxn ang="0">
                  <a:pos x="13" y="2"/>
                </a:cxn>
                <a:cxn ang="0">
                  <a:pos x="13" y="0"/>
                </a:cxn>
                <a:cxn ang="0">
                  <a:pos x="15" y="2"/>
                </a:cxn>
                <a:cxn ang="0">
                  <a:pos x="16" y="3"/>
                </a:cxn>
                <a:cxn ang="0">
                  <a:pos x="19" y="2"/>
                </a:cxn>
                <a:cxn ang="0">
                  <a:pos x="22" y="2"/>
                </a:cxn>
                <a:cxn ang="0">
                  <a:pos x="23" y="5"/>
                </a:cxn>
                <a:cxn ang="0">
                  <a:pos x="25" y="5"/>
                </a:cxn>
                <a:cxn ang="0">
                  <a:pos x="28" y="5"/>
                </a:cxn>
                <a:cxn ang="0">
                  <a:pos x="31" y="9"/>
                </a:cxn>
                <a:cxn ang="0">
                  <a:pos x="29" y="31"/>
                </a:cxn>
                <a:cxn ang="0">
                  <a:pos x="22" y="40"/>
                </a:cxn>
                <a:cxn ang="0">
                  <a:pos x="9" y="43"/>
                </a:cxn>
                <a:cxn ang="0">
                  <a:pos x="7" y="41"/>
                </a:cxn>
                <a:cxn ang="0">
                  <a:pos x="3" y="40"/>
                </a:cxn>
                <a:cxn ang="0">
                  <a:pos x="0" y="34"/>
                </a:cxn>
                <a:cxn ang="0">
                  <a:pos x="0" y="19"/>
                </a:cxn>
                <a:cxn ang="0">
                  <a:pos x="7" y="3"/>
                </a:cxn>
                <a:cxn ang="0">
                  <a:pos x="10" y="3"/>
                </a:cxn>
                <a:cxn ang="0">
                  <a:pos x="13" y="2"/>
                </a:cxn>
              </a:cxnLst>
              <a:rect l="0" t="0" r="r" b="b"/>
              <a:pathLst>
                <a:path w="31" h="43">
                  <a:moveTo>
                    <a:pt x="13" y="2"/>
                  </a:moveTo>
                  <a:lnTo>
                    <a:pt x="13" y="0"/>
                  </a:lnTo>
                  <a:lnTo>
                    <a:pt x="15" y="2"/>
                  </a:lnTo>
                  <a:lnTo>
                    <a:pt x="16" y="3"/>
                  </a:lnTo>
                  <a:lnTo>
                    <a:pt x="19" y="2"/>
                  </a:lnTo>
                  <a:lnTo>
                    <a:pt x="22" y="2"/>
                  </a:lnTo>
                  <a:lnTo>
                    <a:pt x="23" y="5"/>
                  </a:lnTo>
                  <a:lnTo>
                    <a:pt x="25" y="5"/>
                  </a:lnTo>
                  <a:lnTo>
                    <a:pt x="28" y="5"/>
                  </a:lnTo>
                  <a:lnTo>
                    <a:pt x="31" y="9"/>
                  </a:lnTo>
                  <a:lnTo>
                    <a:pt x="29" y="31"/>
                  </a:lnTo>
                  <a:lnTo>
                    <a:pt x="22" y="40"/>
                  </a:lnTo>
                  <a:lnTo>
                    <a:pt x="9" y="43"/>
                  </a:lnTo>
                  <a:lnTo>
                    <a:pt x="7" y="41"/>
                  </a:lnTo>
                  <a:lnTo>
                    <a:pt x="3" y="40"/>
                  </a:lnTo>
                  <a:lnTo>
                    <a:pt x="0" y="34"/>
                  </a:lnTo>
                  <a:lnTo>
                    <a:pt x="0" y="19"/>
                  </a:lnTo>
                  <a:lnTo>
                    <a:pt x="7" y="3"/>
                  </a:lnTo>
                  <a:lnTo>
                    <a:pt x="10" y="3"/>
                  </a:lnTo>
                  <a:lnTo>
                    <a:pt x="13"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14" name="Freeform 1185"/>
            <p:cNvSpPr>
              <a:spLocks/>
            </p:cNvSpPr>
            <p:nvPr/>
          </p:nvSpPr>
          <p:spPr bwMode="auto">
            <a:xfrm>
              <a:off x="5110376" y="1875123"/>
              <a:ext cx="28967" cy="44621"/>
            </a:xfrm>
            <a:custGeom>
              <a:avLst/>
              <a:gdLst/>
              <a:ahLst/>
              <a:cxnLst>
                <a:cxn ang="0">
                  <a:pos x="13" y="2"/>
                </a:cxn>
                <a:cxn ang="0">
                  <a:pos x="13" y="0"/>
                </a:cxn>
                <a:cxn ang="0">
                  <a:pos x="15" y="2"/>
                </a:cxn>
                <a:cxn ang="0">
                  <a:pos x="16" y="3"/>
                </a:cxn>
                <a:cxn ang="0">
                  <a:pos x="19" y="2"/>
                </a:cxn>
                <a:cxn ang="0">
                  <a:pos x="22" y="2"/>
                </a:cxn>
                <a:cxn ang="0">
                  <a:pos x="23" y="5"/>
                </a:cxn>
                <a:cxn ang="0">
                  <a:pos x="25" y="5"/>
                </a:cxn>
                <a:cxn ang="0">
                  <a:pos x="28" y="5"/>
                </a:cxn>
                <a:cxn ang="0">
                  <a:pos x="31" y="9"/>
                </a:cxn>
                <a:cxn ang="0">
                  <a:pos x="29" y="31"/>
                </a:cxn>
                <a:cxn ang="0">
                  <a:pos x="22" y="40"/>
                </a:cxn>
                <a:cxn ang="0">
                  <a:pos x="9" y="43"/>
                </a:cxn>
                <a:cxn ang="0">
                  <a:pos x="7" y="41"/>
                </a:cxn>
                <a:cxn ang="0">
                  <a:pos x="3" y="40"/>
                </a:cxn>
                <a:cxn ang="0">
                  <a:pos x="0" y="34"/>
                </a:cxn>
                <a:cxn ang="0">
                  <a:pos x="0" y="19"/>
                </a:cxn>
                <a:cxn ang="0">
                  <a:pos x="7" y="3"/>
                </a:cxn>
                <a:cxn ang="0">
                  <a:pos x="10" y="3"/>
                </a:cxn>
                <a:cxn ang="0">
                  <a:pos x="13" y="2"/>
                </a:cxn>
              </a:cxnLst>
              <a:rect l="0" t="0" r="r" b="b"/>
              <a:pathLst>
                <a:path w="31" h="43">
                  <a:moveTo>
                    <a:pt x="13" y="2"/>
                  </a:moveTo>
                  <a:lnTo>
                    <a:pt x="13" y="0"/>
                  </a:lnTo>
                  <a:lnTo>
                    <a:pt x="15" y="2"/>
                  </a:lnTo>
                  <a:lnTo>
                    <a:pt x="16" y="3"/>
                  </a:lnTo>
                  <a:lnTo>
                    <a:pt x="19" y="2"/>
                  </a:lnTo>
                  <a:lnTo>
                    <a:pt x="22" y="2"/>
                  </a:lnTo>
                  <a:lnTo>
                    <a:pt x="23" y="5"/>
                  </a:lnTo>
                  <a:lnTo>
                    <a:pt x="25" y="5"/>
                  </a:lnTo>
                  <a:lnTo>
                    <a:pt x="28" y="5"/>
                  </a:lnTo>
                  <a:lnTo>
                    <a:pt x="31" y="9"/>
                  </a:lnTo>
                  <a:lnTo>
                    <a:pt x="29" y="31"/>
                  </a:lnTo>
                  <a:lnTo>
                    <a:pt x="22" y="40"/>
                  </a:lnTo>
                  <a:lnTo>
                    <a:pt x="9" y="43"/>
                  </a:lnTo>
                  <a:lnTo>
                    <a:pt x="7" y="41"/>
                  </a:lnTo>
                  <a:lnTo>
                    <a:pt x="3" y="40"/>
                  </a:lnTo>
                  <a:lnTo>
                    <a:pt x="0" y="34"/>
                  </a:lnTo>
                  <a:lnTo>
                    <a:pt x="0" y="19"/>
                  </a:lnTo>
                  <a:lnTo>
                    <a:pt x="7" y="3"/>
                  </a:lnTo>
                  <a:lnTo>
                    <a:pt x="10" y="3"/>
                  </a:lnTo>
                  <a:lnTo>
                    <a:pt x="13"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15" name="Freeform 1186"/>
            <p:cNvSpPr>
              <a:spLocks/>
            </p:cNvSpPr>
            <p:nvPr/>
          </p:nvSpPr>
          <p:spPr bwMode="auto">
            <a:xfrm>
              <a:off x="5142855" y="1883236"/>
              <a:ext cx="15800" cy="15212"/>
            </a:xfrm>
            <a:custGeom>
              <a:avLst/>
              <a:gdLst/>
              <a:ahLst/>
              <a:cxnLst>
                <a:cxn ang="0">
                  <a:pos x="0" y="5"/>
                </a:cxn>
                <a:cxn ang="0">
                  <a:pos x="1" y="3"/>
                </a:cxn>
                <a:cxn ang="0">
                  <a:pos x="4" y="3"/>
                </a:cxn>
                <a:cxn ang="0">
                  <a:pos x="6" y="0"/>
                </a:cxn>
                <a:cxn ang="0">
                  <a:pos x="7" y="3"/>
                </a:cxn>
                <a:cxn ang="0">
                  <a:pos x="16" y="5"/>
                </a:cxn>
                <a:cxn ang="0">
                  <a:pos x="17" y="13"/>
                </a:cxn>
                <a:cxn ang="0">
                  <a:pos x="14" y="14"/>
                </a:cxn>
                <a:cxn ang="0">
                  <a:pos x="10" y="13"/>
                </a:cxn>
                <a:cxn ang="0">
                  <a:pos x="4" y="13"/>
                </a:cxn>
                <a:cxn ang="0">
                  <a:pos x="1" y="10"/>
                </a:cxn>
                <a:cxn ang="0">
                  <a:pos x="0" y="5"/>
                </a:cxn>
              </a:cxnLst>
              <a:rect l="0" t="0" r="r" b="b"/>
              <a:pathLst>
                <a:path w="17" h="14">
                  <a:moveTo>
                    <a:pt x="0" y="5"/>
                  </a:moveTo>
                  <a:lnTo>
                    <a:pt x="1" y="3"/>
                  </a:lnTo>
                  <a:lnTo>
                    <a:pt x="4" y="3"/>
                  </a:lnTo>
                  <a:lnTo>
                    <a:pt x="6" y="0"/>
                  </a:lnTo>
                  <a:lnTo>
                    <a:pt x="7" y="3"/>
                  </a:lnTo>
                  <a:lnTo>
                    <a:pt x="16" y="5"/>
                  </a:lnTo>
                  <a:lnTo>
                    <a:pt x="17" y="13"/>
                  </a:lnTo>
                  <a:lnTo>
                    <a:pt x="14" y="14"/>
                  </a:lnTo>
                  <a:lnTo>
                    <a:pt x="10" y="13"/>
                  </a:lnTo>
                  <a:lnTo>
                    <a:pt x="4" y="13"/>
                  </a:lnTo>
                  <a:lnTo>
                    <a:pt x="1" y="10"/>
                  </a:lnTo>
                  <a:lnTo>
                    <a:pt x="0" y="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16" name="Freeform 1187"/>
            <p:cNvSpPr>
              <a:spLocks/>
            </p:cNvSpPr>
            <p:nvPr/>
          </p:nvSpPr>
          <p:spPr bwMode="auto">
            <a:xfrm>
              <a:off x="5142855" y="1883236"/>
              <a:ext cx="15800" cy="15212"/>
            </a:xfrm>
            <a:custGeom>
              <a:avLst/>
              <a:gdLst/>
              <a:ahLst/>
              <a:cxnLst>
                <a:cxn ang="0">
                  <a:pos x="0" y="5"/>
                </a:cxn>
                <a:cxn ang="0">
                  <a:pos x="1" y="3"/>
                </a:cxn>
                <a:cxn ang="0">
                  <a:pos x="4" y="3"/>
                </a:cxn>
                <a:cxn ang="0">
                  <a:pos x="6" y="0"/>
                </a:cxn>
                <a:cxn ang="0">
                  <a:pos x="7" y="3"/>
                </a:cxn>
                <a:cxn ang="0">
                  <a:pos x="16" y="5"/>
                </a:cxn>
                <a:cxn ang="0">
                  <a:pos x="17" y="13"/>
                </a:cxn>
                <a:cxn ang="0">
                  <a:pos x="14" y="14"/>
                </a:cxn>
                <a:cxn ang="0">
                  <a:pos x="10" y="13"/>
                </a:cxn>
                <a:cxn ang="0">
                  <a:pos x="4" y="13"/>
                </a:cxn>
                <a:cxn ang="0">
                  <a:pos x="1" y="10"/>
                </a:cxn>
                <a:cxn ang="0">
                  <a:pos x="0" y="5"/>
                </a:cxn>
              </a:cxnLst>
              <a:rect l="0" t="0" r="r" b="b"/>
              <a:pathLst>
                <a:path w="17" h="14">
                  <a:moveTo>
                    <a:pt x="0" y="5"/>
                  </a:moveTo>
                  <a:lnTo>
                    <a:pt x="1" y="3"/>
                  </a:lnTo>
                  <a:lnTo>
                    <a:pt x="4" y="3"/>
                  </a:lnTo>
                  <a:lnTo>
                    <a:pt x="6" y="0"/>
                  </a:lnTo>
                  <a:lnTo>
                    <a:pt x="7" y="3"/>
                  </a:lnTo>
                  <a:lnTo>
                    <a:pt x="16" y="5"/>
                  </a:lnTo>
                  <a:lnTo>
                    <a:pt x="17" y="13"/>
                  </a:lnTo>
                  <a:lnTo>
                    <a:pt x="14" y="14"/>
                  </a:lnTo>
                  <a:lnTo>
                    <a:pt x="10" y="13"/>
                  </a:lnTo>
                  <a:lnTo>
                    <a:pt x="4" y="13"/>
                  </a:lnTo>
                  <a:lnTo>
                    <a:pt x="1" y="10"/>
                  </a:lnTo>
                  <a:lnTo>
                    <a:pt x="0" y="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17" name="Freeform 1188"/>
            <p:cNvSpPr>
              <a:spLocks/>
            </p:cNvSpPr>
            <p:nvPr/>
          </p:nvSpPr>
          <p:spPr bwMode="auto">
            <a:xfrm>
              <a:off x="5083165" y="1833543"/>
              <a:ext cx="13167" cy="20283"/>
            </a:xfrm>
            <a:custGeom>
              <a:avLst/>
              <a:gdLst/>
              <a:ahLst/>
              <a:cxnLst>
                <a:cxn ang="0">
                  <a:pos x="11" y="7"/>
                </a:cxn>
                <a:cxn ang="0">
                  <a:pos x="8" y="16"/>
                </a:cxn>
                <a:cxn ang="0">
                  <a:pos x="5" y="17"/>
                </a:cxn>
                <a:cxn ang="0">
                  <a:pos x="0" y="19"/>
                </a:cxn>
                <a:cxn ang="0">
                  <a:pos x="0" y="16"/>
                </a:cxn>
                <a:cxn ang="0">
                  <a:pos x="2" y="11"/>
                </a:cxn>
                <a:cxn ang="0">
                  <a:pos x="5" y="8"/>
                </a:cxn>
                <a:cxn ang="0">
                  <a:pos x="11" y="0"/>
                </a:cxn>
                <a:cxn ang="0">
                  <a:pos x="14" y="0"/>
                </a:cxn>
                <a:cxn ang="0">
                  <a:pos x="14" y="0"/>
                </a:cxn>
                <a:cxn ang="0">
                  <a:pos x="14" y="4"/>
                </a:cxn>
                <a:cxn ang="0">
                  <a:pos x="14" y="6"/>
                </a:cxn>
                <a:cxn ang="0">
                  <a:pos x="13" y="6"/>
                </a:cxn>
                <a:cxn ang="0">
                  <a:pos x="11" y="7"/>
                </a:cxn>
              </a:cxnLst>
              <a:rect l="0" t="0" r="r" b="b"/>
              <a:pathLst>
                <a:path w="14" h="19">
                  <a:moveTo>
                    <a:pt x="11" y="7"/>
                  </a:moveTo>
                  <a:lnTo>
                    <a:pt x="8" y="16"/>
                  </a:lnTo>
                  <a:lnTo>
                    <a:pt x="5" y="17"/>
                  </a:lnTo>
                  <a:lnTo>
                    <a:pt x="0" y="19"/>
                  </a:lnTo>
                  <a:lnTo>
                    <a:pt x="0" y="16"/>
                  </a:lnTo>
                  <a:lnTo>
                    <a:pt x="2" y="11"/>
                  </a:lnTo>
                  <a:lnTo>
                    <a:pt x="5" y="8"/>
                  </a:lnTo>
                  <a:lnTo>
                    <a:pt x="11" y="0"/>
                  </a:lnTo>
                  <a:lnTo>
                    <a:pt x="14" y="0"/>
                  </a:lnTo>
                  <a:lnTo>
                    <a:pt x="14" y="0"/>
                  </a:lnTo>
                  <a:lnTo>
                    <a:pt x="14" y="4"/>
                  </a:lnTo>
                  <a:lnTo>
                    <a:pt x="14" y="6"/>
                  </a:lnTo>
                  <a:lnTo>
                    <a:pt x="13" y="6"/>
                  </a:lnTo>
                  <a:lnTo>
                    <a:pt x="11" y="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18" name="Freeform 1189"/>
            <p:cNvSpPr>
              <a:spLocks/>
            </p:cNvSpPr>
            <p:nvPr/>
          </p:nvSpPr>
          <p:spPr bwMode="auto">
            <a:xfrm>
              <a:off x="5083165" y="1833543"/>
              <a:ext cx="13167" cy="20283"/>
            </a:xfrm>
            <a:custGeom>
              <a:avLst/>
              <a:gdLst/>
              <a:ahLst/>
              <a:cxnLst>
                <a:cxn ang="0">
                  <a:pos x="11" y="7"/>
                </a:cxn>
                <a:cxn ang="0">
                  <a:pos x="8" y="16"/>
                </a:cxn>
                <a:cxn ang="0">
                  <a:pos x="5" y="17"/>
                </a:cxn>
                <a:cxn ang="0">
                  <a:pos x="0" y="19"/>
                </a:cxn>
                <a:cxn ang="0">
                  <a:pos x="0" y="16"/>
                </a:cxn>
                <a:cxn ang="0">
                  <a:pos x="2" y="11"/>
                </a:cxn>
                <a:cxn ang="0">
                  <a:pos x="5" y="8"/>
                </a:cxn>
                <a:cxn ang="0">
                  <a:pos x="11" y="0"/>
                </a:cxn>
                <a:cxn ang="0">
                  <a:pos x="14" y="0"/>
                </a:cxn>
                <a:cxn ang="0">
                  <a:pos x="14" y="0"/>
                </a:cxn>
                <a:cxn ang="0">
                  <a:pos x="14" y="4"/>
                </a:cxn>
                <a:cxn ang="0">
                  <a:pos x="14" y="6"/>
                </a:cxn>
                <a:cxn ang="0">
                  <a:pos x="13" y="6"/>
                </a:cxn>
                <a:cxn ang="0">
                  <a:pos x="11" y="7"/>
                </a:cxn>
              </a:cxnLst>
              <a:rect l="0" t="0" r="r" b="b"/>
              <a:pathLst>
                <a:path w="14" h="19">
                  <a:moveTo>
                    <a:pt x="11" y="7"/>
                  </a:moveTo>
                  <a:lnTo>
                    <a:pt x="8" y="16"/>
                  </a:lnTo>
                  <a:lnTo>
                    <a:pt x="5" y="17"/>
                  </a:lnTo>
                  <a:lnTo>
                    <a:pt x="0" y="19"/>
                  </a:lnTo>
                  <a:lnTo>
                    <a:pt x="0" y="16"/>
                  </a:lnTo>
                  <a:lnTo>
                    <a:pt x="2" y="11"/>
                  </a:lnTo>
                  <a:lnTo>
                    <a:pt x="5" y="8"/>
                  </a:lnTo>
                  <a:lnTo>
                    <a:pt x="11" y="0"/>
                  </a:lnTo>
                  <a:lnTo>
                    <a:pt x="14" y="0"/>
                  </a:lnTo>
                  <a:lnTo>
                    <a:pt x="14" y="0"/>
                  </a:lnTo>
                  <a:lnTo>
                    <a:pt x="14" y="4"/>
                  </a:lnTo>
                  <a:lnTo>
                    <a:pt x="14" y="6"/>
                  </a:lnTo>
                  <a:lnTo>
                    <a:pt x="13" y="6"/>
                  </a:lnTo>
                  <a:lnTo>
                    <a:pt x="11" y="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19" name="Freeform 1190"/>
            <p:cNvSpPr>
              <a:spLocks/>
            </p:cNvSpPr>
            <p:nvPr/>
          </p:nvSpPr>
          <p:spPr bwMode="auto">
            <a:xfrm>
              <a:off x="5068242" y="1815289"/>
              <a:ext cx="14922" cy="13184"/>
            </a:xfrm>
            <a:custGeom>
              <a:avLst/>
              <a:gdLst/>
              <a:ahLst/>
              <a:cxnLst>
                <a:cxn ang="0">
                  <a:pos x="4" y="0"/>
                </a:cxn>
                <a:cxn ang="0">
                  <a:pos x="4" y="2"/>
                </a:cxn>
                <a:cxn ang="0">
                  <a:pos x="7" y="3"/>
                </a:cxn>
                <a:cxn ang="0">
                  <a:pos x="8" y="3"/>
                </a:cxn>
                <a:cxn ang="0">
                  <a:pos x="10" y="0"/>
                </a:cxn>
                <a:cxn ang="0">
                  <a:pos x="11" y="0"/>
                </a:cxn>
                <a:cxn ang="0">
                  <a:pos x="14" y="0"/>
                </a:cxn>
                <a:cxn ang="0">
                  <a:pos x="16" y="3"/>
                </a:cxn>
                <a:cxn ang="0">
                  <a:pos x="14" y="6"/>
                </a:cxn>
                <a:cxn ang="0">
                  <a:pos x="8" y="9"/>
                </a:cxn>
                <a:cxn ang="0">
                  <a:pos x="7" y="6"/>
                </a:cxn>
                <a:cxn ang="0">
                  <a:pos x="7" y="13"/>
                </a:cxn>
                <a:cxn ang="0">
                  <a:pos x="1" y="8"/>
                </a:cxn>
                <a:cxn ang="0">
                  <a:pos x="0" y="0"/>
                </a:cxn>
                <a:cxn ang="0">
                  <a:pos x="4" y="0"/>
                </a:cxn>
              </a:cxnLst>
              <a:rect l="0" t="0" r="r" b="b"/>
              <a:pathLst>
                <a:path w="16" h="13">
                  <a:moveTo>
                    <a:pt x="4" y="0"/>
                  </a:moveTo>
                  <a:lnTo>
                    <a:pt x="4" y="2"/>
                  </a:lnTo>
                  <a:lnTo>
                    <a:pt x="7" y="3"/>
                  </a:lnTo>
                  <a:lnTo>
                    <a:pt x="8" y="3"/>
                  </a:lnTo>
                  <a:lnTo>
                    <a:pt x="10" y="0"/>
                  </a:lnTo>
                  <a:lnTo>
                    <a:pt x="11" y="0"/>
                  </a:lnTo>
                  <a:lnTo>
                    <a:pt x="14" y="0"/>
                  </a:lnTo>
                  <a:lnTo>
                    <a:pt x="16" y="3"/>
                  </a:lnTo>
                  <a:lnTo>
                    <a:pt x="14" y="6"/>
                  </a:lnTo>
                  <a:lnTo>
                    <a:pt x="8" y="9"/>
                  </a:lnTo>
                  <a:lnTo>
                    <a:pt x="7" y="6"/>
                  </a:lnTo>
                  <a:lnTo>
                    <a:pt x="7" y="13"/>
                  </a:lnTo>
                  <a:lnTo>
                    <a:pt x="1" y="8"/>
                  </a:lnTo>
                  <a:lnTo>
                    <a:pt x="0" y="0"/>
                  </a:lnTo>
                  <a:lnTo>
                    <a:pt x="4"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20" name="Freeform 1191"/>
            <p:cNvSpPr>
              <a:spLocks/>
            </p:cNvSpPr>
            <p:nvPr/>
          </p:nvSpPr>
          <p:spPr bwMode="auto">
            <a:xfrm>
              <a:off x="5068242" y="1815289"/>
              <a:ext cx="14922" cy="13184"/>
            </a:xfrm>
            <a:custGeom>
              <a:avLst/>
              <a:gdLst/>
              <a:ahLst/>
              <a:cxnLst>
                <a:cxn ang="0">
                  <a:pos x="4" y="0"/>
                </a:cxn>
                <a:cxn ang="0">
                  <a:pos x="4" y="2"/>
                </a:cxn>
                <a:cxn ang="0">
                  <a:pos x="7" y="3"/>
                </a:cxn>
                <a:cxn ang="0">
                  <a:pos x="8" y="3"/>
                </a:cxn>
                <a:cxn ang="0">
                  <a:pos x="10" y="0"/>
                </a:cxn>
                <a:cxn ang="0">
                  <a:pos x="11" y="0"/>
                </a:cxn>
                <a:cxn ang="0">
                  <a:pos x="14" y="0"/>
                </a:cxn>
                <a:cxn ang="0">
                  <a:pos x="16" y="3"/>
                </a:cxn>
                <a:cxn ang="0">
                  <a:pos x="14" y="6"/>
                </a:cxn>
                <a:cxn ang="0">
                  <a:pos x="8" y="9"/>
                </a:cxn>
                <a:cxn ang="0">
                  <a:pos x="7" y="6"/>
                </a:cxn>
                <a:cxn ang="0">
                  <a:pos x="7" y="13"/>
                </a:cxn>
                <a:cxn ang="0">
                  <a:pos x="1" y="8"/>
                </a:cxn>
                <a:cxn ang="0">
                  <a:pos x="0" y="0"/>
                </a:cxn>
                <a:cxn ang="0">
                  <a:pos x="4" y="0"/>
                </a:cxn>
              </a:cxnLst>
              <a:rect l="0" t="0" r="r" b="b"/>
              <a:pathLst>
                <a:path w="16" h="13">
                  <a:moveTo>
                    <a:pt x="4" y="0"/>
                  </a:moveTo>
                  <a:lnTo>
                    <a:pt x="4" y="2"/>
                  </a:lnTo>
                  <a:lnTo>
                    <a:pt x="7" y="3"/>
                  </a:lnTo>
                  <a:lnTo>
                    <a:pt x="8" y="3"/>
                  </a:lnTo>
                  <a:lnTo>
                    <a:pt x="10" y="0"/>
                  </a:lnTo>
                  <a:lnTo>
                    <a:pt x="11" y="0"/>
                  </a:lnTo>
                  <a:lnTo>
                    <a:pt x="14" y="0"/>
                  </a:lnTo>
                  <a:lnTo>
                    <a:pt x="16" y="3"/>
                  </a:lnTo>
                  <a:lnTo>
                    <a:pt x="14" y="6"/>
                  </a:lnTo>
                  <a:lnTo>
                    <a:pt x="8" y="9"/>
                  </a:lnTo>
                  <a:lnTo>
                    <a:pt x="7" y="6"/>
                  </a:lnTo>
                  <a:lnTo>
                    <a:pt x="7" y="13"/>
                  </a:lnTo>
                  <a:lnTo>
                    <a:pt x="1" y="8"/>
                  </a:lnTo>
                  <a:lnTo>
                    <a:pt x="0" y="0"/>
                  </a:lnTo>
                  <a:lnTo>
                    <a:pt x="4"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21" name="Freeform 1192"/>
            <p:cNvSpPr>
              <a:spLocks/>
            </p:cNvSpPr>
            <p:nvPr/>
          </p:nvSpPr>
          <p:spPr bwMode="auto">
            <a:xfrm>
              <a:off x="5093698" y="2052596"/>
              <a:ext cx="13167" cy="12170"/>
            </a:xfrm>
            <a:custGeom>
              <a:avLst/>
              <a:gdLst/>
              <a:ahLst/>
              <a:cxnLst>
                <a:cxn ang="0">
                  <a:pos x="2" y="2"/>
                </a:cxn>
                <a:cxn ang="0">
                  <a:pos x="0" y="2"/>
                </a:cxn>
                <a:cxn ang="0">
                  <a:pos x="2" y="2"/>
                </a:cxn>
                <a:cxn ang="0">
                  <a:pos x="5" y="0"/>
                </a:cxn>
                <a:cxn ang="0">
                  <a:pos x="9" y="0"/>
                </a:cxn>
                <a:cxn ang="0">
                  <a:pos x="10" y="2"/>
                </a:cxn>
                <a:cxn ang="0">
                  <a:pos x="12" y="2"/>
                </a:cxn>
                <a:cxn ang="0">
                  <a:pos x="15" y="3"/>
                </a:cxn>
                <a:cxn ang="0">
                  <a:pos x="15" y="8"/>
                </a:cxn>
                <a:cxn ang="0">
                  <a:pos x="10" y="12"/>
                </a:cxn>
                <a:cxn ang="0">
                  <a:pos x="2" y="2"/>
                </a:cxn>
              </a:cxnLst>
              <a:rect l="0" t="0" r="r" b="b"/>
              <a:pathLst>
                <a:path w="15" h="12">
                  <a:moveTo>
                    <a:pt x="2" y="2"/>
                  </a:moveTo>
                  <a:lnTo>
                    <a:pt x="0" y="2"/>
                  </a:lnTo>
                  <a:lnTo>
                    <a:pt x="2" y="2"/>
                  </a:lnTo>
                  <a:lnTo>
                    <a:pt x="5" y="0"/>
                  </a:lnTo>
                  <a:lnTo>
                    <a:pt x="9" y="0"/>
                  </a:lnTo>
                  <a:lnTo>
                    <a:pt x="10" y="2"/>
                  </a:lnTo>
                  <a:lnTo>
                    <a:pt x="12" y="2"/>
                  </a:lnTo>
                  <a:lnTo>
                    <a:pt x="15" y="3"/>
                  </a:lnTo>
                  <a:lnTo>
                    <a:pt x="15" y="8"/>
                  </a:lnTo>
                  <a:lnTo>
                    <a:pt x="10" y="12"/>
                  </a:lnTo>
                  <a:lnTo>
                    <a:pt x="2"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22" name="Freeform 1193"/>
            <p:cNvSpPr>
              <a:spLocks/>
            </p:cNvSpPr>
            <p:nvPr/>
          </p:nvSpPr>
          <p:spPr bwMode="auto">
            <a:xfrm>
              <a:off x="5093698" y="2052596"/>
              <a:ext cx="13167" cy="12170"/>
            </a:xfrm>
            <a:custGeom>
              <a:avLst/>
              <a:gdLst/>
              <a:ahLst/>
              <a:cxnLst>
                <a:cxn ang="0">
                  <a:pos x="2" y="2"/>
                </a:cxn>
                <a:cxn ang="0">
                  <a:pos x="0" y="2"/>
                </a:cxn>
                <a:cxn ang="0">
                  <a:pos x="2" y="2"/>
                </a:cxn>
                <a:cxn ang="0">
                  <a:pos x="5" y="0"/>
                </a:cxn>
                <a:cxn ang="0">
                  <a:pos x="9" y="0"/>
                </a:cxn>
                <a:cxn ang="0">
                  <a:pos x="10" y="2"/>
                </a:cxn>
                <a:cxn ang="0">
                  <a:pos x="12" y="2"/>
                </a:cxn>
                <a:cxn ang="0">
                  <a:pos x="15" y="3"/>
                </a:cxn>
                <a:cxn ang="0">
                  <a:pos x="15" y="8"/>
                </a:cxn>
                <a:cxn ang="0">
                  <a:pos x="10" y="12"/>
                </a:cxn>
                <a:cxn ang="0">
                  <a:pos x="2" y="2"/>
                </a:cxn>
              </a:cxnLst>
              <a:rect l="0" t="0" r="r" b="b"/>
              <a:pathLst>
                <a:path w="15" h="12">
                  <a:moveTo>
                    <a:pt x="2" y="2"/>
                  </a:moveTo>
                  <a:lnTo>
                    <a:pt x="0" y="2"/>
                  </a:lnTo>
                  <a:lnTo>
                    <a:pt x="2" y="2"/>
                  </a:lnTo>
                  <a:lnTo>
                    <a:pt x="5" y="0"/>
                  </a:lnTo>
                  <a:lnTo>
                    <a:pt x="9" y="0"/>
                  </a:lnTo>
                  <a:lnTo>
                    <a:pt x="10" y="2"/>
                  </a:lnTo>
                  <a:lnTo>
                    <a:pt x="12" y="2"/>
                  </a:lnTo>
                  <a:lnTo>
                    <a:pt x="15" y="3"/>
                  </a:lnTo>
                  <a:lnTo>
                    <a:pt x="15" y="8"/>
                  </a:lnTo>
                  <a:lnTo>
                    <a:pt x="10" y="12"/>
                  </a:lnTo>
                  <a:lnTo>
                    <a:pt x="2"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23" name="Freeform 1194"/>
            <p:cNvSpPr>
              <a:spLocks/>
            </p:cNvSpPr>
            <p:nvPr/>
          </p:nvSpPr>
          <p:spPr bwMode="auto">
            <a:xfrm>
              <a:off x="5107743" y="2045497"/>
              <a:ext cx="11412" cy="9127"/>
            </a:xfrm>
            <a:custGeom>
              <a:avLst/>
              <a:gdLst/>
              <a:ahLst/>
              <a:cxnLst>
                <a:cxn ang="0">
                  <a:pos x="0" y="0"/>
                </a:cxn>
                <a:cxn ang="0">
                  <a:pos x="10" y="3"/>
                </a:cxn>
                <a:cxn ang="0">
                  <a:pos x="10" y="6"/>
                </a:cxn>
                <a:cxn ang="0">
                  <a:pos x="12" y="9"/>
                </a:cxn>
                <a:cxn ang="0">
                  <a:pos x="9" y="9"/>
                </a:cxn>
                <a:cxn ang="0">
                  <a:pos x="2" y="4"/>
                </a:cxn>
                <a:cxn ang="0">
                  <a:pos x="0" y="0"/>
                </a:cxn>
              </a:cxnLst>
              <a:rect l="0" t="0" r="r" b="b"/>
              <a:pathLst>
                <a:path w="12" h="9">
                  <a:moveTo>
                    <a:pt x="0" y="0"/>
                  </a:moveTo>
                  <a:lnTo>
                    <a:pt x="10" y="3"/>
                  </a:lnTo>
                  <a:lnTo>
                    <a:pt x="10" y="6"/>
                  </a:lnTo>
                  <a:lnTo>
                    <a:pt x="12" y="9"/>
                  </a:lnTo>
                  <a:lnTo>
                    <a:pt x="9" y="9"/>
                  </a:lnTo>
                  <a:lnTo>
                    <a:pt x="2" y="4"/>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24" name="Freeform 1195"/>
            <p:cNvSpPr>
              <a:spLocks/>
            </p:cNvSpPr>
            <p:nvPr/>
          </p:nvSpPr>
          <p:spPr bwMode="auto">
            <a:xfrm>
              <a:off x="5107743" y="2045497"/>
              <a:ext cx="11412" cy="9127"/>
            </a:xfrm>
            <a:custGeom>
              <a:avLst/>
              <a:gdLst/>
              <a:ahLst/>
              <a:cxnLst>
                <a:cxn ang="0">
                  <a:pos x="0" y="0"/>
                </a:cxn>
                <a:cxn ang="0">
                  <a:pos x="10" y="3"/>
                </a:cxn>
                <a:cxn ang="0">
                  <a:pos x="10" y="6"/>
                </a:cxn>
                <a:cxn ang="0">
                  <a:pos x="12" y="9"/>
                </a:cxn>
                <a:cxn ang="0">
                  <a:pos x="9" y="9"/>
                </a:cxn>
                <a:cxn ang="0">
                  <a:pos x="2" y="4"/>
                </a:cxn>
                <a:cxn ang="0">
                  <a:pos x="0" y="0"/>
                </a:cxn>
              </a:cxnLst>
              <a:rect l="0" t="0" r="r" b="b"/>
              <a:pathLst>
                <a:path w="12" h="9">
                  <a:moveTo>
                    <a:pt x="0" y="0"/>
                  </a:moveTo>
                  <a:lnTo>
                    <a:pt x="10" y="3"/>
                  </a:lnTo>
                  <a:lnTo>
                    <a:pt x="10" y="6"/>
                  </a:lnTo>
                  <a:lnTo>
                    <a:pt x="12" y="9"/>
                  </a:lnTo>
                  <a:lnTo>
                    <a:pt x="9" y="9"/>
                  </a:lnTo>
                  <a:lnTo>
                    <a:pt x="2" y="4"/>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25" name="Freeform 1196"/>
            <p:cNvSpPr>
              <a:spLocks/>
            </p:cNvSpPr>
            <p:nvPr/>
          </p:nvSpPr>
          <p:spPr bwMode="auto">
            <a:xfrm>
              <a:off x="5062976" y="1629703"/>
              <a:ext cx="62323" cy="50707"/>
            </a:xfrm>
            <a:custGeom>
              <a:avLst/>
              <a:gdLst/>
              <a:ahLst/>
              <a:cxnLst>
                <a:cxn ang="0">
                  <a:pos x="27" y="4"/>
                </a:cxn>
                <a:cxn ang="0">
                  <a:pos x="33" y="4"/>
                </a:cxn>
                <a:cxn ang="0">
                  <a:pos x="38" y="4"/>
                </a:cxn>
                <a:cxn ang="0">
                  <a:pos x="51" y="11"/>
                </a:cxn>
                <a:cxn ang="0">
                  <a:pos x="54" y="14"/>
                </a:cxn>
                <a:cxn ang="0">
                  <a:pos x="54" y="17"/>
                </a:cxn>
                <a:cxn ang="0">
                  <a:pos x="56" y="20"/>
                </a:cxn>
                <a:cxn ang="0">
                  <a:pos x="58" y="23"/>
                </a:cxn>
                <a:cxn ang="0">
                  <a:pos x="65" y="33"/>
                </a:cxn>
                <a:cxn ang="0">
                  <a:pos x="65" y="34"/>
                </a:cxn>
                <a:cxn ang="0">
                  <a:pos x="65" y="37"/>
                </a:cxn>
                <a:cxn ang="0">
                  <a:pos x="68" y="40"/>
                </a:cxn>
                <a:cxn ang="0">
                  <a:pos x="67" y="45"/>
                </a:cxn>
                <a:cxn ang="0">
                  <a:pos x="55" y="43"/>
                </a:cxn>
                <a:cxn ang="0">
                  <a:pos x="48" y="40"/>
                </a:cxn>
                <a:cxn ang="0">
                  <a:pos x="38" y="40"/>
                </a:cxn>
                <a:cxn ang="0">
                  <a:pos x="27" y="47"/>
                </a:cxn>
                <a:cxn ang="0">
                  <a:pos x="22" y="49"/>
                </a:cxn>
                <a:cxn ang="0">
                  <a:pos x="11" y="43"/>
                </a:cxn>
                <a:cxn ang="0">
                  <a:pos x="10" y="26"/>
                </a:cxn>
                <a:cxn ang="0">
                  <a:pos x="3" y="23"/>
                </a:cxn>
                <a:cxn ang="0">
                  <a:pos x="0" y="18"/>
                </a:cxn>
                <a:cxn ang="0">
                  <a:pos x="0" y="13"/>
                </a:cxn>
                <a:cxn ang="0">
                  <a:pos x="1" y="11"/>
                </a:cxn>
                <a:cxn ang="0">
                  <a:pos x="1" y="4"/>
                </a:cxn>
                <a:cxn ang="0">
                  <a:pos x="3" y="0"/>
                </a:cxn>
                <a:cxn ang="0">
                  <a:pos x="7" y="0"/>
                </a:cxn>
                <a:cxn ang="0">
                  <a:pos x="10" y="2"/>
                </a:cxn>
                <a:cxn ang="0">
                  <a:pos x="11" y="1"/>
                </a:cxn>
                <a:cxn ang="0">
                  <a:pos x="26" y="5"/>
                </a:cxn>
                <a:cxn ang="0">
                  <a:pos x="27" y="4"/>
                </a:cxn>
              </a:cxnLst>
              <a:rect l="0" t="0" r="r" b="b"/>
              <a:pathLst>
                <a:path w="68" h="49">
                  <a:moveTo>
                    <a:pt x="27" y="4"/>
                  </a:moveTo>
                  <a:lnTo>
                    <a:pt x="33" y="4"/>
                  </a:lnTo>
                  <a:lnTo>
                    <a:pt x="38" y="4"/>
                  </a:lnTo>
                  <a:lnTo>
                    <a:pt x="51" y="11"/>
                  </a:lnTo>
                  <a:lnTo>
                    <a:pt x="54" y="14"/>
                  </a:lnTo>
                  <a:lnTo>
                    <a:pt x="54" y="17"/>
                  </a:lnTo>
                  <a:lnTo>
                    <a:pt x="56" y="20"/>
                  </a:lnTo>
                  <a:lnTo>
                    <a:pt x="58" y="23"/>
                  </a:lnTo>
                  <a:lnTo>
                    <a:pt x="65" y="33"/>
                  </a:lnTo>
                  <a:lnTo>
                    <a:pt x="65" y="34"/>
                  </a:lnTo>
                  <a:lnTo>
                    <a:pt x="65" y="37"/>
                  </a:lnTo>
                  <a:lnTo>
                    <a:pt x="68" y="40"/>
                  </a:lnTo>
                  <a:lnTo>
                    <a:pt x="67" y="45"/>
                  </a:lnTo>
                  <a:lnTo>
                    <a:pt x="55" y="43"/>
                  </a:lnTo>
                  <a:lnTo>
                    <a:pt x="48" y="40"/>
                  </a:lnTo>
                  <a:lnTo>
                    <a:pt x="38" y="40"/>
                  </a:lnTo>
                  <a:lnTo>
                    <a:pt x="27" y="47"/>
                  </a:lnTo>
                  <a:lnTo>
                    <a:pt x="22" y="49"/>
                  </a:lnTo>
                  <a:lnTo>
                    <a:pt x="11" y="43"/>
                  </a:lnTo>
                  <a:lnTo>
                    <a:pt x="10" y="26"/>
                  </a:lnTo>
                  <a:lnTo>
                    <a:pt x="3" y="23"/>
                  </a:lnTo>
                  <a:lnTo>
                    <a:pt x="0" y="18"/>
                  </a:lnTo>
                  <a:lnTo>
                    <a:pt x="0" y="13"/>
                  </a:lnTo>
                  <a:lnTo>
                    <a:pt x="1" y="11"/>
                  </a:lnTo>
                  <a:lnTo>
                    <a:pt x="1" y="4"/>
                  </a:lnTo>
                  <a:lnTo>
                    <a:pt x="3" y="0"/>
                  </a:lnTo>
                  <a:lnTo>
                    <a:pt x="7" y="0"/>
                  </a:lnTo>
                  <a:lnTo>
                    <a:pt x="10" y="2"/>
                  </a:lnTo>
                  <a:lnTo>
                    <a:pt x="11" y="1"/>
                  </a:lnTo>
                  <a:lnTo>
                    <a:pt x="26" y="5"/>
                  </a:lnTo>
                  <a:lnTo>
                    <a:pt x="27"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26" name="Freeform 1197"/>
            <p:cNvSpPr>
              <a:spLocks/>
            </p:cNvSpPr>
            <p:nvPr/>
          </p:nvSpPr>
          <p:spPr bwMode="auto">
            <a:xfrm>
              <a:off x="5062976" y="1629703"/>
              <a:ext cx="62323" cy="50707"/>
            </a:xfrm>
            <a:custGeom>
              <a:avLst/>
              <a:gdLst/>
              <a:ahLst/>
              <a:cxnLst>
                <a:cxn ang="0">
                  <a:pos x="27" y="4"/>
                </a:cxn>
                <a:cxn ang="0">
                  <a:pos x="33" y="4"/>
                </a:cxn>
                <a:cxn ang="0">
                  <a:pos x="38" y="4"/>
                </a:cxn>
                <a:cxn ang="0">
                  <a:pos x="51" y="11"/>
                </a:cxn>
                <a:cxn ang="0">
                  <a:pos x="54" y="14"/>
                </a:cxn>
                <a:cxn ang="0">
                  <a:pos x="54" y="17"/>
                </a:cxn>
                <a:cxn ang="0">
                  <a:pos x="56" y="20"/>
                </a:cxn>
                <a:cxn ang="0">
                  <a:pos x="58" y="23"/>
                </a:cxn>
                <a:cxn ang="0">
                  <a:pos x="65" y="33"/>
                </a:cxn>
                <a:cxn ang="0">
                  <a:pos x="65" y="34"/>
                </a:cxn>
                <a:cxn ang="0">
                  <a:pos x="65" y="37"/>
                </a:cxn>
                <a:cxn ang="0">
                  <a:pos x="68" y="40"/>
                </a:cxn>
                <a:cxn ang="0">
                  <a:pos x="67" y="45"/>
                </a:cxn>
                <a:cxn ang="0">
                  <a:pos x="55" y="43"/>
                </a:cxn>
                <a:cxn ang="0">
                  <a:pos x="48" y="40"/>
                </a:cxn>
                <a:cxn ang="0">
                  <a:pos x="38" y="40"/>
                </a:cxn>
                <a:cxn ang="0">
                  <a:pos x="27" y="47"/>
                </a:cxn>
                <a:cxn ang="0">
                  <a:pos x="22" y="49"/>
                </a:cxn>
                <a:cxn ang="0">
                  <a:pos x="11" y="43"/>
                </a:cxn>
                <a:cxn ang="0">
                  <a:pos x="10" y="26"/>
                </a:cxn>
                <a:cxn ang="0">
                  <a:pos x="3" y="23"/>
                </a:cxn>
                <a:cxn ang="0">
                  <a:pos x="0" y="18"/>
                </a:cxn>
                <a:cxn ang="0">
                  <a:pos x="0" y="13"/>
                </a:cxn>
                <a:cxn ang="0">
                  <a:pos x="1" y="11"/>
                </a:cxn>
                <a:cxn ang="0">
                  <a:pos x="1" y="4"/>
                </a:cxn>
                <a:cxn ang="0">
                  <a:pos x="3" y="0"/>
                </a:cxn>
                <a:cxn ang="0">
                  <a:pos x="7" y="0"/>
                </a:cxn>
                <a:cxn ang="0">
                  <a:pos x="10" y="2"/>
                </a:cxn>
                <a:cxn ang="0">
                  <a:pos x="11" y="1"/>
                </a:cxn>
                <a:cxn ang="0">
                  <a:pos x="26" y="5"/>
                </a:cxn>
                <a:cxn ang="0">
                  <a:pos x="27" y="4"/>
                </a:cxn>
              </a:cxnLst>
              <a:rect l="0" t="0" r="r" b="b"/>
              <a:pathLst>
                <a:path w="68" h="49">
                  <a:moveTo>
                    <a:pt x="27" y="4"/>
                  </a:moveTo>
                  <a:lnTo>
                    <a:pt x="33" y="4"/>
                  </a:lnTo>
                  <a:lnTo>
                    <a:pt x="38" y="4"/>
                  </a:lnTo>
                  <a:lnTo>
                    <a:pt x="51" y="11"/>
                  </a:lnTo>
                  <a:lnTo>
                    <a:pt x="54" y="14"/>
                  </a:lnTo>
                  <a:lnTo>
                    <a:pt x="54" y="17"/>
                  </a:lnTo>
                  <a:lnTo>
                    <a:pt x="56" y="20"/>
                  </a:lnTo>
                  <a:lnTo>
                    <a:pt x="58" y="23"/>
                  </a:lnTo>
                  <a:lnTo>
                    <a:pt x="65" y="33"/>
                  </a:lnTo>
                  <a:lnTo>
                    <a:pt x="65" y="34"/>
                  </a:lnTo>
                  <a:lnTo>
                    <a:pt x="65" y="37"/>
                  </a:lnTo>
                  <a:lnTo>
                    <a:pt x="68" y="40"/>
                  </a:lnTo>
                  <a:lnTo>
                    <a:pt x="67" y="45"/>
                  </a:lnTo>
                  <a:lnTo>
                    <a:pt x="55" y="43"/>
                  </a:lnTo>
                  <a:lnTo>
                    <a:pt x="48" y="40"/>
                  </a:lnTo>
                  <a:lnTo>
                    <a:pt x="38" y="40"/>
                  </a:lnTo>
                  <a:lnTo>
                    <a:pt x="27" y="47"/>
                  </a:lnTo>
                  <a:lnTo>
                    <a:pt x="22" y="49"/>
                  </a:lnTo>
                  <a:lnTo>
                    <a:pt x="11" y="43"/>
                  </a:lnTo>
                  <a:lnTo>
                    <a:pt x="10" y="26"/>
                  </a:lnTo>
                  <a:lnTo>
                    <a:pt x="3" y="23"/>
                  </a:lnTo>
                  <a:lnTo>
                    <a:pt x="0" y="18"/>
                  </a:lnTo>
                  <a:lnTo>
                    <a:pt x="0" y="13"/>
                  </a:lnTo>
                  <a:lnTo>
                    <a:pt x="1" y="11"/>
                  </a:lnTo>
                  <a:lnTo>
                    <a:pt x="1" y="4"/>
                  </a:lnTo>
                  <a:lnTo>
                    <a:pt x="3" y="0"/>
                  </a:lnTo>
                  <a:lnTo>
                    <a:pt x="7" y="0"/>
                  </a:lnTo>
                  <a:lnTo>
                    <a:pt x="10" y="2"/>
                  </a:lnTo>
                  <a:lnTo>
                    <a:pt x="11" y="1"/>
                  </a:lnTo>
                  <a:lnTo>
                    <a:pt x="26" y="5"/>
                  </a:lnTo>
                  <a:lnTo>
                    <a:pt x="27"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27" name="Freeform 1198"/>
            <p:cNvSpPr>
              <a:spLocks/>
            </p:cNvSpPr>
            <p:nvPr/>
          </p:nvSpPr>
          <p:spPr bwMode="auto">
            <a:xfrm>
              <a:off x="5025230" y="2068822"/>
              <a:ext cx="22823" cy="28396"/>
            </a:xfrm>
            <a:custGeom>
              <a:avLst/>
              <a:gdLst/>
              <a:ahLst/>
              <a:cxnLst>
                <a:cxn ang="0">
                  <a:pos x="18" y="0"/>
                </a:cxn>
                <a:cxn ang="0">
                  <a:pos x="10" y="5"/>
                </a:cxn>
                <a:cxn ang="0">
                  <a:pos x="7" y="8"/>
                </a:cxn>
                <a:cxn ang="0">
                  <a:pos x="0" y="22"/>
                </a:cxn>
                <a:cxn ang="0">
                  <a:pos x="0" y="27"/>
                </a:cxn>
                <a:cxn ang="0">
                  <a:pos x="2" y="27"/>
                </a:cxn>
                <a:cxn ang="0">
                  <a:pos x="6" y="24"/>
                </a:cxn>
                <a:cxn ang="0">
                  <a:pos x="9" y="24"/>
                </a:cxn>
                <a:cxn ang="0">
                  <a:pos x="10" y="21"/>
                </a:cxn>
                <a:cxn ang="0">
                  <a:pos x="13" y="19"/>
                </a:cxn>
                <a:cxn ang="0">
                  <a:pos x="13" y="16"/>
                </a:cxn>
                <a:cxn ang="0">
                  <a:pos x="15" y="13"/>
                </a:cxn>
                <a:cxn ang="0">
                  <a:pos x="18" y="13"/>
                </a:cxn>
                <a:cxn ang="0">
                  <a:pos x="23" y="9"/>
                </a:cxn>
                <a:cxn ang="0">
                  <a:pos x="25" y="5"/>
                </a:cxn>
                <a:cxn ang="0">
                  <a:pos x="25" y="3"/>
                </a:cxn>
                <a:cxn ang="0">
                  <a:pos x="25" y="2"/>
                </a:cxn>
                <a:cxn ang="0">
                  <a:pos x="20" y="0"/>
                </a:cxn>
                <a:cxn ang="0">
                  <a:pos x="18" y="0"/>
                </a:cxn>
              </a:cxnLst>
              <a:rect l="0" t="0" r="r" b="b"/>
              <a:pathLst>
                <a:path w="25" h="27">
                  <a:moveTo>
                    <a:pt x="18" y="0"/>
                  </a:moveTo>
                  <a:lnTo>
                    <a:pt x="10" y="5"/>
                  </a:lnTo>
                  <a:lnTo>
                    <a:pt x="7" y="8"/>
                  </a:lnTo>
                  <a:lnTo>
                    <a:pt x="0" y="22"/>
                  </a:lnTo>
                  <a:lnTo>
                    <a:pt x="0" y="27"/>
                  </a:lnTo>
                  <a:lnTo>
                    <a:pt x="2" y="27"/>
                  </a:lnTo>
                  <a:lnTo>
                    <a:pt x="6" y="24"/>
                  </a:lnTo>
                  <a:lnTo>
                    <a:pt x="9" y="24"/>
                  </a:lnTo>
                  <a:lnTo>
                    <a:pt x="10" y="21"/>
                  </a:lnTo>
                  <a:lnTo>
                    <a:pt x="13" y="19"/>
                  </a:lnTo>
                  <a:lnTo>
                    <a:pt x="13" y="16"/>
                  </a:lnTo>
                  <a:lnTo>
                    <a:pt x="15" y="13"/>
                  </a:lnTo>
                  <a:lnTo>
                    <a:pt x="18" y="13"/>
                  </a:lnTo>
                  <a:lnTo>
                    <a:pt x="23" y="9"/>
                  </a:lnTo>
                  <a:lnTo>
                    <a:pt x="25" y="5"/>
                  </a:lnTo>
                  <a:lnTo>
                    <a:pt x="25" y="3"/>
                  </a:lnTo>
                  <a:lnTo>
                    <a:pt x="25" y="2"/>
                  </a:lnTo>
                  <a:lnTo>
                    <a:pt x="20" y="0"/>
                  </a:lnTo>
                  <a:lnTo>
                    <a:pt x="18"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28" name="Freeform 1199"/>
            <p:cNvSpPr>
              <a:spLocks/>
            </p:cNvSpPr>
            <p:nvPr/>
          </p:nvSpPr>
          <p:spPr bwMode="auto">
            <a:xfrm>
              <a:off x="5025230" y="2068822"/>
              <a:ext cx="22823" cy="28396"/>
            </a:xfrm>
            <a:custGeom>
              <a:avLst/>
              <a:gdLst/>
              <a:ahLst/>
              <a:cxnLst>
                <a:cxn ang="0">
                  <a:pos x="18" y="0"/>
                </a:cxn>
                <a:cxn ang="0">
                  <a:pos x="10" y="5"/>
                </a:cxn>
                <a:cxn ang="0">
                  <a:pos x="7" y="8"/>
                </a:cxn>
                <a:cxn ang="0">
                  <a:pos x="0" y="22"/>
                </a:cxn>
                <a:cxn ang="0">
                  <a:pos x="0" y="27"/>
                </a:cxn>
                <a:cxn ang="0">
                  <a:pos x="2" y="27"/>
                </a:cxn>
                <a:cxn ang="0">
                  <a:pos x="6" y="24"/>
                </a:cxn>
                <a:cxn ang="0">
                  <a:pos x="9" y="24"/>
                </a:cxn>
                <a:cxn ang="0">
                  <a:pos x="10" y="21"/>
                </a:cxn>
                <a:cxn ang="0">
                  <a:pos x="13" y="19"/>
                </a:cxn>
                <a:cxn ang="0">
                  <a:pos x="13" y="16"/>
                </a:cxn>
                <a:cxn ang="0">
                  <a:pos x="15" y="13"/>
                </a:cxn>
                <a:cxn ang="0">
                  <a:pos x="18" y="13"/>
                </a:cxn>
                <a:cxn ang="0">
                  <a:pos x="23" y="9"/>
                </a:cxn>
                <a:cxn ang="0">
                  <a:pos x="25" y="5"/>
                </a:cxn>
                <a:cxn ang="0">
                  <a:pos x="25" y="3"/>
                </a:cxn>
                <a:cxn ang="0">
                  <a:pos x="25" y="2"/>
                </a:cxn>
                <a:cxn ang="0">
                  <a:pos x="20" y="0"/>
                </a:cxn>
                <a:cxn ang="0">
                  <a:pos x="18" y="0"/>
                </a:cxn>
              </a:cxnLst>
              <a:rect l="0" t="0" r="r" b="b"/>
              <a:pathLst>
                <a:path w="25" h="27">
                  <a:moveTo>
                    <a:pt x="18" y="0"/>
                  </a:moveTo>
                  <a:lnTo>
                    <a:pt x="10" y="5"/>
                  </a:lnTo>
                  <a:lnTo>
                    <a:pt x="7" y="8"/>
                  </a:lnTo>
                  <a:lnTo>
                    <a:pt x="0" y="22"/>
                  </a:lnTo>
                  <a:lnTo>
                    <a:pt x="0" y="27"/>
                  </a:lnTo>
                  <a:lnTo>
                    <a:pt x="2" y="27"/>
                  </a:lnTo>
                  <a:lnTo>
                    <a:pt x="6" y="24"/>
                  </a:lnTo>
                  <a:lnTo>
                    <a:pt x="9" y="24"/>
                  </a:lnTo>
                  <a:lnTo>
                    <a:pt x="10" y="21"/>
                  </a:lnTo>
                  <a:lnTo>
                    <a:pt x="13" y="19"/>
                  </a:lnTo>
                  <a:lnTo>
                    <a:pt x="13" y="16"/>
                  </a:lnTo>
                  <a:lnTo>
                    <a:pt x="15" y="13"/>
                  </a:lnTo>
                  <a:lnTo>
                    <a:pt x="18" y="13"/>
                  </a:lnTo>
                  <a:lnTo>
                    <a:pt x="23" y="9"/>
                  </a:lnTo>
                  <a:lnTo>
                    <a:pt x="25" y="5"/>
                  </a:lnTo>
                  <a:lnTo>
                    <a:pt x="25" y="3"/>
                  </a:lnTo>
                  <a:lnTo>
                    <a:pt x="25" y="2"/>
                  </a:lnTo>
                  <a:lnTo>
                    <a:pt x="20" y="0"/>
                  </a:lnTo>
                  <a:lnTo>
                    <a:pt x="18"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29" name="Freeform 1200"/>
            <p:cNvSpPr>
              <a:spLocks/>
            </p:cNvSpPr>
            <p:nvPr/>
          </p:nvSpPr>
          <p:spPr bwMode="auto">
            <a:xfrm>
              <a:off x="5070875" y="2089104"/>
              <a:ext cx="12289" cy="24339"/>
            </a:xfrm>
            <a:custGeom>
              <a:avLst/>
              <a:gdLst/>
              <a:ahLst/>
              <a:cxnLst>
                <a:cxn ang="0">
                  <a:pos x="4" y="0"/>
                </a:cxn>
                <a:cxn ang="0">
                  <a:pos x="4" y="0"/>
                </a:cxn>
                <a:cxn ang="0">
                  <a:pos x="2" y="0"/>
                </a:cxn>
                <a:cxn ang="0">
                  <a:pos x="2" y="2"/>
                </a:cxn>
                <a:cxn ang="0">
                  <a:pos x="1" y="3"/>
                </a:cxn>
                <a:cxn ang="0">
                  <a:pos x="0" y="16"/>
                </a:cxn>
                <a:cxn ang="0">
                  <a:pos x="1" y="18"/>
                </a:cxn>
                <a:cxn ang="0">
                  <a:pos x="2" y="21"/>
                </a:cxn>
                <a:cxn ang="0">
                  <a:pos x="4" y="24"/>
                </a:cxn>
                <a:cxn ang="0">
                  <a:pos x="7" y="24"/>
                </a:cxn>
                <a:cxn ang="0">
                  <a:pos x="8" y="21"/>
                </a:cxn>
                <a:cxn ang="0">
                  <a:pos x="8" y="18"/>
                </a:cxn>
                <a:cxn ang="0">
                  <a:pos x="13" y="2"/>
                </a:cxn>
                <a:cxn ang="0">
                  <a:pos x="11" y="0"/>
                </a:cxn>
                <a:cxn ang="0">
                  <a:pos x="4" y="0"/>
                </a:cxn>
              </a:cxnLst>
              <a:rect l="0" t="0" r="r" b="b"/>
              <a:pathLst>
                <a:path w="13" h="24">
                  <a:moveTo>
                    <a:pt x="4" y="0"/>
                  </a:moveTo>
                  <a:lnTo>
                    <a:pt x="4" y="0"/>
                  </a:lnTo>
                  <a:lnTo>
                    <a:pt x="2" y="0"/>
                  </a:lnTo>
                  <a:lnTo>
                    <a:pt x="2" y="2"/>
                  </a:lnTo>
                  <a:lnTo>
                    <a:pt x="1" y="3"/>
                  </a:lnTo>
                  <a:lnTo>
                    <a:pt x="0" y="16"/>
                  </a:lnTo>
                  <a:lnTo>
                    <a:pt x="1" y="18"/>
                  </a:lnTo>
                  <a:lnTo>
                    <a:pt x="2" y="21"/>
                  </a:lnTo>
                  <a:lnTo>
                    <a:pt x="4" y="24"/>
                  </a:lnTo>
                  <a:lnTo>
                    <a:pt x="7" y="24"/>
                  </a:lnTo>
                  <a:lnTo>
                    <a:pt x="8" y="21"/>
                  </a:lnTo>
                  <a:lnTo>
                    <a:pt x="8" y="18"/>
                  </a:lnTo>
                  <a:lnTo>
                    <a:pt x="13" y="2"/>
                  </a:lnTo>
                  <a:lnTo>
                    <a:pt x="11" y="0"/>
                  </a:lnTo>
                  <a:lnTo>
                    <a:pt x="4"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30" name="Freeform 1201"/>
            <p:cNvSpPr>
              <a:spLocks/>
            </p:cNvSpPr>
            <p:nvPr/>
          </p:nvSpPr>
          <p:spPr bwMode="auto">
            <a:xfrm>
              <a:off x="5070875" y="2089104"/>
              <a:ext cx="12289" cy="24339"/>
            </a:xfrm>
            <a:custGeom>
              <a:avLst/>
              <a:gdLst/>
              <a:ahLst/>
              <a:cxnLst>
                <a:cxn ang="0">
                  <a:pos x="4" y="0"/>
                </a:cxn>
                <a:cxn ang="0">
                  <a:pos x="4" y="0"/>
                </a:cxn>
                <a:cxn ang="0">
                  <a:pos x="2" y="0"/>
                </a:cxn>
                <a:cxn ang="0">
                  <a:pos x="2" y="2"/>
                </a:cxn>
                <a:cxn ang="0">
                  <a:pos x="1" y="3"/>
                </a:cxn>
                <a:cxn ang="0">
                  <a:pos x="0" y="16"/>
                </a:cxn>
                <a:cxn ang="0">
                  <a:pos x="1" y="18"/>
                </a:cxn>
                <a:cxn ang="0">
                  <a:pos x="2" y="21"/>
                </a:cxn>
                <a:cxn ang="0">
                  <a:pos x="4" y="24"/>
                </a:cxn>
                <a:cxn ang="0">
                  <a:pos x="7" y="24"/>
                </a:cxn>
                <a:cxn ang="0">
                  <a:pos x="8" y="21"/>
                </a:cxn>
                <a:cxn ang="0">
                  <a:pos x="8" y="18"/>
                </a:cxn>
                <a:cxn ang="0">
                  <a:pos x="13" y="2"/>
                </a:cxn>
                <a:cxn ang="0">
                  <a:pos x="11" y="0"/>
                </a:cxn>
                <a:cxn ang="0">
                  <a:pos x="4" y="0"/>
                </a:cxn>
              </a:cxnLst>
              <a:rect l="0" t="0" r="r" b="b"/>
              <a:pathLst>
                <a:path w="13" h="24">
                  <a:moveTo>
                    <a:pt x="4" y="0"/>
                  </a:moveTo>
                  <a:lnTo>
                    <a:pt x="4" y="0"/>
                  </a:lnTo>
                  <a:lnTo>
                    <a:pt x="2" y="0"/>
                  </a:lnTo>
                  <a:lnTo>
                    <a:pt x="2" y="2"/>
                  </a:lnTo>
                  <a:lnTo>
                    <a:pt x="1" y="3"/>
                  </a:lnTo>
                  <a:lnTo>
                    <a:pt x="0" y="16"/>
                  </a:lnTo>
                  <a:lnTo>
                    <a:pt x="1" y="18"/>
                  </a:lnTo>
                  <a:lnTo>
                    <a:pt x="2" y="21"/>
                  </a:lnTo>
                  <a:lnTo>
                    <a:pt x="4" y="24"/>
                  </a:lnTo>
                  <a:lnTo>
                    <a:pt x="7" y="24"/>
                  </a:lnTo>
                  <a:lnTo>
                    <a:pt x="8" y="21"/>
                  </a:lnTo>
                  <a:lnTo>
                    <a:pt x="8" y="18"/>
                  </a:lnTo>
                  <a:lnTo>
                    <a:pt x="13" y="2"/>
                  </a:lnTo>
                  <a:lnTo>
                    <a:pt x="11" y="0"/>
                  </a:lnTo>
                  <a:lnTo>
                    <a:pt x="4"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31" name="Freeform 1202"/>
            <p:cNvSpPr>
              <a:spLocks/>
            </p:cNvSpPr>
            <p:nvPr/>
          </p:nvSpPr>
          <p:spPr bwMode="auto">
            <a:xfrm>
              <a:off x="5228001" y="2143868"/>
              <a:ext cx="6144" cy="8113"/>
            </a:xfrm>
            <a:custGeom>
              <a:avLst/>
              <a:gdLst/>
              <a:ahLst/>
              <a:cxnLst>
                <a:cxn ang="0">
                  <a:pos x="1" y="2"/>
                </a:cxn>
                <a:cxn ang="0">
                  <a:pos x="0" y="1"/>
                </a:cxn>
                <a:cxn ang="0">
                  <a:pos x="0" y="7"/>
                </a:cxn>
                <a:cxn ang="0">
                  <a:pos x="0" y="8"/>
                </a:cxn>
                <a:cxn ang="0">
                  <a:pos x="3" y="5"/>
                </a:cxn>
                <a:cxn ang="0">
                  <a:pos x="4" y="5"/>
                </a:cxn>
                <a:cxn ang="0">
                  <a:pos x="7" y="2"/>
                </a:cxn>
                <a:cxn ang="0">
                  <a:pos x="6" y="0"/>
                </a:cxn>
                <a:cxn ang="0">
                  <a:pos x="3" y="0"/>
                </a:cxn>
                <a:cxn ang="0">
                  <a:pos x="1" y="0"/>
                </a:cxn>
                <a:cxn ang="0">
                  <a:pos x="1" y="2"/>
                </a:cxn>
              </a:cxnLst>
              <a:rect l="0" t="0" r="r" b="b"/>
              <a:pathLst>
                <a:path w="7" h="8">
                  <a:moveTo>
                    <a:pt x="1" y="2"/>
                  </a:moveTo>
                  <a:lnTo>
                    <a:pt x="0" y="1"/>
                  </a:lnTo>
                  <a:lnTo>
                    <a:pt x="0" y="7"/>
                  </a:lnTo>
                  <a:lnTo>
                    <a:pt x="0" y="8"/>
                  </a:lnTo>
                  <a:lnTo>
                    <a:pt x="3" y="5"/>
                  </a:lnTo>
                  <a:lnTo>
                    <a:pt x="4" y="5"/>
                  </a:lnTo>
                  <a:lnTo>
                    <a:pt x="7" y="2"/>
                  </a:lnTo>
                  <a:lnTo>
                    <a:pt x="6" y="0"/>
                  </a:lnTo>
                  <a:lnTo>
                    <a:pt x="3" y="0"/>
                  </a:lnTo>
                  <a:lnTo>
                    <a:pt x="1" y="0"/>
                  </a:lnTo>
                  <a:lnTo>
                    <a:pt x="1"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32" name="Freeform 1203"/>
            <p:cNvSpPr>
              <a:spLocks/>
            </p:cNvSpPr>
            <p:nvPr/>
          </p:nvSpPr>
          <p:spPr bwMode="auto">
            <a:xfrm>
              <a:off x="5228001" y="2143868"/>
              <a:ext cx="6144" cy="8113"/>
            </a:xfrm>
            <a:custGeom>
              <a:avLst/>
              <a:gdLst/>
              <a:ahLst/>
              <a:cxnLst>
                <a:cxn ang="0">
                  <a:pos x="1" y="2"/>
                </a:cxn>
                <a:cxn ang="0">
                  <a:pos x="0" y="1"/>
                </a:cxn>
                <a:cxn ang="0">
                  <a:pos x="0" y="7"/>
                </a:cxn>
                <a:cxn ang="0">
                  <a:pos x="0" y="8"/>
                </a:cxn>
                <a:cxn ang="0">
                  <a:pos x="3" y="5"/>
                </a:cxn>
                <a:cxn ang="0">
                  <a:pos x="4" y="5"/>
                </a:cxn>
                <a:cxn ang="0">
                  <a:pos x="7" y="2"/>
                </a:cxn>
                <a:cxn ang="0">
                  <a:pos x="6" y="0"/>
                </a:cxn>
                <a:cxn ang="0">
                  <a:pos x="3" y="0"/>
                </a:cxn>
                <a:cxn ang="0">
                  <a:pos x="1" y="0"/>
                </a:cxn>
                <a:cxn ang="0">
                  <a:pos x="1" y="2"/>
                </a:cxn>
              </a:cxnLst>
              <a:rect l="0" t="0" r="r" b="b"/>
              <a:pathLst>
                <a:path w="7" h="8">
                  <a:moveTo>
                    <a:pt x="1" y="2"/>
                  </a:moveTo>
                  <a:lnTo>
                    <a:pt x="0" y="1"/>
                  </a:lnTo>
                  <a:lnTo>
                    <a:pt x="0" y="7"/>
                  </a:lnTo>
                  <a:lnTo>
                    <a:pt x="0" y="8"/>
                  </a:lnTo>
                  <a:lnTo>
                    <a:pt x="3" y="5"/>
                  </a:lnTo>
                  <a:lnTo>
                    <a:pt x="4" y="5"/>
                  </a:lnTo>
                  <a:lnTo>
                    <a:pt x="7" y="2"/>
                  </a:lnTo>
                  <a:lnTo>
                    <a:pt x="6" y="0"/>
                  </a:lnTo>
                  <a:lnTo>
                    <a:pt x="3" y="0"/>
                  </a:lnTo>
                  <a:lnTo>
                    <a:pt x="1" y="0"/>
                  </a:lnTo>
                  <a:lnTo>
                    <a:pt x="1"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33" name="Freeform 1204"/>
            <p:cNvSpPr>
              <a:spLocks/>
            </p:cNvSpPr>
            <p:nvPr/>
          </p:nvSpPr>
          <p:spPr bwMode="auto">
            <a:xfrm>
              <a:off x="5263992" y="2108373"/>
              <a:ext cx="10534" cy="10141"/>
            </a:xfrm>
            <a:custGeom>
              <a:avLst/>
              <a:gdLst/>
              <a:ahLst/>
              <a:cxnLst>
                <a:cxn ang="0">
                  <a:pos x="7" y="0"/>
                </a:cxn>
                <a:cxn ang="0">
                  <a:pos x="7" y="0"/>
                </a:cxn>
                <a:cxn ang="0">
                  <a:pos x="9" y="2"/>
                </a:cxn>
                <a:cxn ang="0">
                  <a:pos x="9" y="3"/>
                </a:cxn>
                <a:cxn ang="0">
                  <a:pos x="10" y="3"/>
                </a:cxn>
                <a:cxn ang="0">
                  <a:pos x="12" y="3"/>
                </a:cxn>
                <a:cxn ang="0">
                  <a:pos x="10" y="10"/>
                </a:cxn>
                <a:cxn ang="0">
                  <a:pos x="9" y="10"/>
                </a:cxn>
                <a:cxn ang="0">
                  <a:pos x="6" y="10"/>
                </a:cxn>
                <a:cxn ang="0">
                  <a:pos x="6" y="7"/>
                </a:cxn>
                <a:cxn ang="0">
                  <a:pos x="4" y="7"/>
                </a:cxn>
                <a:cxn ang="0">
                  <a:pos x="3" y="5"/>
                </a:cxn>
                <a:cxn ang="0">
                  <a:pos x="0" y="5"/>
                </a:cxn>
                <a:cxn ang="0">
                  <a:pos x="0" y="2"/>
                </a:cxn>
                <a:cxn ang="0">
                  <a:pos x="3" y="0"/>
                </a:cxn>
                <a:cxn ang="0">
                  <a:pos x="7" y="0"/>
                </a:cxn>
              </a:cxnLst>
              <a:rect l="0" t="0" r="r" b="b"/>
              <a:pathLst>
                <a:path w="12" h="10">
                  <a:moveTo>
                    <a:pt x="7" y="0"/>
                  </a:moveTo>
                  <a:lnTo>
                    <a:pt x="7" y="0"/>
                  </a:lnTo>
                  <a:lnTo>
                    <a:pt x="9" y="2"/>
                  </a:lnTo>
                  <a:lnTo>
                    <a:pt x="9" y="3"/>
                  </a:lnTo>
                  <a:lnTo>
                    <a:pt x="10" y="3"/>
                  </a:lnTo>
                  <a:lnTo>
                    <a:pt x="12" y="3"/>
                  </a:lnTo>
                  <a:lnTo>
                    <a:pt x="10" y="10"/>
                  </a:lnTo>
                  <a:lnTo>
                    <a:pt x="9" y="10"/>
                  </a:lnTo>
                  <a:lnTo>
                    <a:pt x="6" y="10"/>
                  </a:lnTo>
                  <a:lnTo>
                    <a:pt x="6" y="7"/>
                  </a:lnTo>
                  <a:lnTo>
                    <a:pt x="4" y="7"/>
                  </a:lnTo>
                  <a:lnTo>
                    <a:pt x="3" y="5"/>
                  </a:lnTo>
                  <a:lnTo>
                    <a:pt x="0" y="5"/>
                  </a:lnTo>
                  <a:lnTo>
                    <a:pt x="0" y="2"/>
                  </a:lnTo>
                  <a:lnTo>
                    <a:pt x="3" y="0"/>
                  </a:lnTo>
                  <a:lnTo>
                    <a:pt x="7"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34" name="Freeform 1205"/>
            <p:cNvSpPr>
              <a:spLocks/>
            </p:cNvSpPr>
            <p:nvPr/>
          </p:nvSpPr>
          <p:spPr bwMode="auto">
            <a:xfrm>
              <a:off x="5263992" y="2108373"/>
              <a:ext cx="10534" cy="10141"/>
            </a:xfrm>
            <a:custGeom>
              <a:avLst/>
              <a:gdLst/>
              <a:ahLst/>
              <a:cxnLst>
                <a:cxn ang="0">
                  <a:pos x="7" y="0"/>
                </a:cxn>
                <a:cxn ang="0">
                  <a:pos x="7" y="0"/>
                </a:cxn>
                <a:cxn ang="0">
                  <a:pos x="9" y="2"/>
                </a:cxn>
                <a:cxn ang="0">
                  <a:pos x="9" y="3"/>
                </a:cxn>
                <a:cxn ang="0">
                  <a:pos x="10" y="3"/>
                </a:cxn>
                <a:cxn ang="0">
                  <a:pos x="12" y="3"/>
                </a:cxn>
                <a:cxn ang="0">
                  <a:pos x="10" y="10"/>
                </a:cxn>
                <a:cxn ang="0">
                  <a:pos x="9" y="10"/>
                </a:cxn>
                <a:cxn ang="0">
                  <a:pos x="6" y="10"/>
                </a:cxn>
                <a:cxn ang="0">
                  <a:pos x="6" y="7"/>
                </a:cxn>
                <a:cxn ang="0">
                  <a:pos x="4" y="7"/>
                </a:cxn>
                <a:cxn ang="0">
                  <a:pos x="3" y="5"/>
                </a:cxn>
                <a:cxn ang="0">
                  <a:pos x="0" y="5"/>
                </a:cxn>
                <a:cxn ang="0">
                  <a:pos x="0" y="2"/>
                </a:cxn>
                <a:cxn ang="0">
                  <a:pos x="3" y="0"/>
                </a:cxn>
                <a:cxn ang="0">
                  <a:pos x="7" y="0"/>
                </a:cxn>
              </a:cxnLst>
              <a:rect l="0" t="0" r="r" b="b"/>
              <a:pathLst>
                <a:path w="12" h="10">
                  <a:moveTo>
                    <a:pt x="7" y="0"/>
                  </a:moveTo>
                  <a:lnTo>
                    <a:pt x="7" y="0"/>
                  </a:lnTo>
                  <a:lnTo>
                    <a:pt x="9" y="2"/>
                  </a:lnTo>
                  <a:lnTo>
                    <a:pt x="9" y="3"/>
                  </a:lnTo>
                  <a:lnTo>
                    <a:pt x="10" y="3"/>
                  </a:lnTo>
                  <a:lnTo>
                    <a:pt x="12" y="3"/>
                  </a:lnTo>
                  <a:lnTo>
                    <a:pt x="10" y="10"/>
                  </a:lnTo>
                  <a:lnTo>
                    <a:pt x="9" y="10"/>
                  </a:lnTo>
                  <a:lnTo>
                    <a:pt x="6" y="10"/>
                  </a:lnTo>
                  <a:lnTo>
                    <a:pt x="6" y="7"/>
                  </a:lnTo>
                  <a:lnTo>
                    <a:pt x="4" y="7"/>
                  </a:lnTo>
                  <a:lnTo>
                    <a:pt x="3" y="5"/>
                  </a:lnTo>
                  <a:lnTo>
                    <a:pt x="0" y="5"/>
                  </a:lnTo>
                  <a:lnTo>
                    <a:pt x="0" y="2"/>
                  </a:lnTo>
                  <a:lnTo>
                    <a:pt x="3" y="0"/>
                  </a:lnTo>
                  <a:lnTo>
                    <a:pt x="7"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35" name="Freeform 1206"/>
            <p:cNvSpPr>
              <a:spLocks/>
            </p:cNvSpPr>
            <p:nvPr/>
          </p:nvSpPr>
          <p:spPr bwMode="auto">
            <a:xfrm>
              <a:off x="4941839" y="1623618"/>
              <a:ext cx="377454" cy="480699"/>
            </a:xfrm>
            <a:custGeom>
              <a:avLst/>
              <a:gdLst/>
              <a:ahLst/>
              <a:cxnLst>
                <a:cxn ang="0">
                  <a:pos x="292" y="433"/>
                </a:cxn>
                <a:cxn ang="0">
                  <a:pos x="305" y="446"/>
                </a:cxn>
                <a:cxn ang="0">
                  <a:pos x="332" y="453"/>
                </a:cxn>
                <a:cxn ang="0">
                  <a:pos x="325" y="431"/>
                </a:cxn>
                <a:cxn ang="0">
                  <a:pos x="319" y="412"/>
                </a:cxn>
                <a:cxn ang="0">
                  <a:pos x="351" y="430"/>
                </a:cxn>
                <a:cxn ang="0">
                  <a:pos x="358" y="430"/>
                </a:cxn>
                <a:cxn ang="0">
                  <a:pos x="358" y="418"/>
                </a:cxn>
                <a:cxn ang="0">
                  <a:pos x="355" y="385"/>
                </a:cxn>
                <a:cxn ang="0">
                  <a:pos x="342" y="370"/>
                </a:cxn>
                <a:cxn ang="0">
                  <a:pos x="326" y="348"/>
                </a:cxn>
                <a:cxn ang="0">
                  <a:pos x="321" y="332"/>
                </a:cxn>
                <a:cxn ang="0">
                  <a:pos x="325" y="316"/>
                </a:cxn>
                <a:cxn ang="0">
                  <a:pos x="345" y="324"/>
                </a:cxn>
                <a:cxn ang="0">
                  <a:pos x="370" y="354"/>
                </a:cxn>
                <a:cxn ang="0">
                  <a:pos x="393" y="337"/>
                </a:cxn>
                <a:cxn ang="0">
                  <a:pos x="402" y="319"/>
                </a:cxn>
                <a:cxn ang="0">
                  <a:pos x="396" y="293"/>
                </a:cxn>
                <a:cxn ang="0">
                  <a:pos x="373" y="283"/>
                </a:cxn>
                <a:cxn ang="0">
                  <a:pos x="360" y="254"/>
                </a:cxn>
                <a:cxn ang="0">
                  <a:pos x="332" y="239"/>
                </a:cxn>
                <a:cxn ang="0">
                  <a:pos x="319" y="216"/>
                </a:cxn>
                <a:cxn ang="0">
                  <a:pos x="337" y="210"/>
                </a:cxn>
                <a:cxn ang="0">
                  <a:pos x="312" y="190"/>
                </a:cxn>
                <a:cxn ang="0">
                  <a:pos x="306" y="178"/>
                </a:cxn>
                <a:cxn ang="0">
                  <a:pos x="309" y="151"/>
                </a:cxn>
                <a:cxn ang="0">
                  <a:pos x="289" y="141"/>
                </a:cxn>
                <a:cxn ang="0">
                  <a:pos x="265" y="132"/>
                </a:cxn>
                <a:cxn ang="0">
                  <a:pos x="246" y="110"/>
                </a:cxn>
                <a:cxn ang="0">
                  <a:pos x="229" y="113"/>
                </a:cxn>
                <a:cxn ang="0">
                  <a:pos x="225" y="85"/>
                </a:cxn>
                <a:cxn ang="0">
                  <a:pos x="178" y="53"/>
                </a:cxn>
                <a:cxn ang="0">
                  <a:pos x="146" y="64"/>
                </a:cxn>
                <a:cxn ang="0">
                  <a:pos x="133" y="80"/>
                </a:cxn>
                <a:cxn ang="0">
                  <a:pos x="127" y="24"/>
                </a:cxn>
                <a:cxn ang="0">
                  <a:pos x="80" y="20"/>
                </a:cxn>
                <a:cxn ang="0">
                  <a:pos x="69" y="37"/>
                </a:cxn>
                <a:cxn ang="0">
                  <a:pos x="64" y="43"/>
                </a:cxn>
                <a:cxn ang="0">
                  <a:pos x="71" y="78"/>
                </a:cxn>
                <a:cxn ang="0">
                  <a:pos x="77" y="116"/>
                </a:cxn>
                <a:cxn ang="0">
                  <a:pos x="49" y="132"/>
                </a:cxn>
                <a:cxn ang="0">
                  <a:pos x="53" y="71"/>
                </a:cxn>
                <a:cxn ang="0">
                  <a:pos x="20" y="26"/>
                </a:cxn>
                <a:cxn ang="0">
                  <a:pos x="4" y="67"/>
                </a:cxn>
                <a:cxn ang="0">
                  <a:pos x="30" y="123"/>
                </a:cxn>
                <a:cxn ang="0">
                  <a:pos x="27" y="162"/>
                </a:cxn>
                <a:cxn ang="0">
                  <a:pos x="69" y="176"/>
                </a:cxn>
                <a:cxn ang="0">
                  <a:pos x="117" y="183"/>
                </a:cxn>
                <a:cxn ang="0">
                  <a:pos x="142" y="176"/>
                </a:cxn>
                <a:cxn ang="0">
                  <a:pos x="170" y="168"/>
                </a:cxn>
                <a:cxn ang="0">
                  <a:pos x="186" y="190"/>
                </a:cxn>
                <a:cxn ang="0">
                  <a:pos x="212" y="219"/>
                </a:cxn>
                <a:cxn ang="0">
                  <a:pos x="232" y="229"/>
                </a:cxn>
                <a:cxn ang="0">
                  <a:pos x="254" y="282"/>
                </a:cxn>
                <a:cxn ang="0">
                  <a:pos x="232" y="335"/>
                </a:cxn>
                <a:cxn ang="0">
                  <a:pos x="213" y="353"/>
                </a:cxn>
                <a:cxn ang="0">
                  <a:pos x="181" y="356"/>
                </a:cxn>
                <a:cxn ang="0">
                  <a:pos x="191" y="388"/>
                </a:cxn>
                <a:cxn ang="0">
                  <a:pos x="212" y="380"/>
                </a:cxn>
                <a:cxn ang="0">
                  <a:pos x="222" y="372"/>
                </a:cxn>
                <a:cxn ang="0">
                  <a:pos x="238" y="379"/>
                </a:cxn>
                <a:cxn ang="0">
                  <a:pos x="252" y="401"/>
                </a:cxn>
                <a:cxn ang="0">
                  <a:pos x="268" y="407"/>
                </a:cxn>
              </a:cxnLst>
              <a:rect l="0" t="0" r="r" b="b"/>
              <a:pathLst>
                <a:path w="411" h="462">
                  <a:moveTo>
                    <a:pt x="270" y="427"/>
                  </a:moveTo>
                  <a:lnTo>
                    <a:pt x="278" y="430"/>
                  </a:lnTo>
                  <a:lnTo>
                    <a:pt x="278" y="431"/>
                  </a:lnTo>
                  <a:lnTo>
                    <a:pt x="280" y="431"/>
                  </a:lnTo>
                  <a:lnTo>
                    <a:pt x="283" y="434"/>
                  </a:lnTo>
                  <a:lnTo>
                    <a:pt x="286" y="433"/>
                  </a:lnTo>
                  <a:lnTo>
                    <a:pt x="289" y="428"/>
                  </a:lnTo>
                  <a:lnTo>
                    <a:pt x="289" y="430"/>
                  </a:lnTo>
                  <a:lnTo>
                    <a:pt x="289" y="434"/>
                  </a:lnTo>
                  <a:lnTo>
                    <a:pt x="290" y="434"/>
                  </a:lnTo>
                  <a:lnTo>
                    <a:pt x="292" y="433"/>
                  </a:lnTo>
                  <a:lnTo>
                    <a:pt x="294" y="433"/>
                  </a:lnTo>
                  <a:lnTo>
                    <a:pt x="296" y="433"/>
                  </a:lnTo>
                  <a:lnTo>
                    <a:pt x="294" y="436"/>
                  </a:lnTo>
                  <a:lnTo>
                    <a:pt x="296" y="437"/>
                  </a:lnTo>
                  <a:lnTo>
                    <a:pt x="297" y="437"/>
                  </a:lnTo>
                  <a:lnTo>
                    <a:pt x="299" y="439"/>
                  </a:lnTo>
                  <a:lnTo>
                    <a:pt x="299" y="441"/>
                  </a:lnTo>
                  <a:lnTo>
                    <a:pt x="302" y="444"/>
                  </a:lnTo>
                  <a:lnTo>
                    <a:pt x="305" y="446"/>
                  </a:lnTo>
                  <a:lnTo>
                    <a:pt x="305" y="443"/>
                  </a:lnTo>
                  <a:lnTo>
                    <a:pt x="305" y="446"/>
                  </a:lnTo>
                  <a:lnTo>
                    <a:pt x="307" y="447"/>
                  </a:lnTo>
                  <a:lnTo>
                    <a:pt x="307" y="449"/>
                  </a:lnTo>
                  <a:lnTo>
                    <a:pt x="310" y="450"/>
                  </a:lnTo>
                  <a:lnTo>
                    <a:pt x="313" y="449"/>
                  </a:lnTo>
                  <a:lnTo>
                    <a:pt x="315" y="452"/>
                  </a:lnTo>
                  <a:lnTo>
                    <a:pt x="321" y="452"/>
                  </a:lnTo>
                  <a:lnTo>
                    <a:pt x="322" y="453"/>
                  </a:lnTo>
                  <a:lnTo>
                    <a:pt x="325" y="456"/>
                  </a:lnTo>
                  <a:lnTo>
                    <a:pt x="326" y="456"/>
                  </a:lnTo>
                  <a:lnTo>
                    <a:pt x="329" y="456"/>
                  </a:lnTo>
                  <a:lnTo>
                    <a:pt x="332" y="453"/>
                  </a:lnTo>
                  <a:lnTo>
                    <a:pt x="339" y="462"/>
                  </a:lnTo>
                  <a:lnTo>
                    <a:pt x="344" y="460"/>
                  </a:lnTo>
                  <a:lnTo>
                    <a:pt x="344" y="459"/>
                  </a:lnTo>
                  <a:lnTo>
                    <a:pt x="342" y="456"/>
                  </a:lnTo>
                  <a:lnTo>
                    <a:pt x="342" y="455"/>
                  </a:lnTo>
                  <a:lnTo>
                    <a:pt x="342" y="453"/>
                  </a:lnTo>
                  <a:lnTo>
                    <a:pt x="344" y="450"/>
                  </a:lnTo>
                  <a:lnTo>
                    <a:pt x="342" y="447"/>
                  </a:lnTo>
                  <a:lnTo>
                    <a:pt x="332" y="436"/>
                  </a:lnTo>
                  <a:lnTo>
                    <a:pt x="329" y="436"/>
                  </a:lnTo>
                  <a:lnTo>
                    <a:pt x="325" y="431"/>
                  </a:lnTo>
                  <a:lnTo>
                    <a:pt x="325" y="428"/>
                  </a:lnTo>
                  <a:lnTo>
                    <a:pt x="321" y="427"/>
                  </a:lnTo>
                  <a:lnTo>
                    <a:pt x="321" y="424"/>
                  </a:lnTo>
                  <a:lnTo>
                    <a:pt x="318" y="424"/>
                  </a:lnTo>
                  <a:lnTo>
                    <a:pt x="318" y="421"/>
                  </a:lnTo>
                  <a:lnTo>
                    <a:pt x="316" y="420"/>
                  </a:lnTo>
                  <a:lnTo>
                    <a:pt x="315" y="420"/>
                  </a:lnTo>
                  <a:lnTo>
                    <a:pt x="303" y="404"/>
                  </a:lnTo>
                  <a:lnTo>
                    <a:pt x="306" y="402"/>
                  </a:lnTo>
                  <a:lnTo>
                    <a:pt x="316" y="412"/>
                  </a:lnTo>
                  <a:lnTo>
                    <a:pt x="319" y="412"/>
                  </a:lnTo>
                  <a:lnTo>
                    <a:pt x="319" y="409"/>
                  </a:lnTo>
                  <a:lnTo>
                    <a:pt x="321" y="408"/>
                  </a:lnTo>
                  <a:lnTo>
                    <a:pt x="326" y="418"/>
                  </a:lnTo>
                  <a:lnTo>
                    <a:pt x="329" y="420"/>
                  </a:lnTo>
                  <a:lnTo>
                    <a:pt x="332" y="420"/>
                  </a:lnTo>
                  <a:lnTo>
                    <a:pt x="334" y="425"/>
                  </a:lnTo>
                  <a:lnTo>
                    <a:pt x="342" y="425"/>
                  </a:lnTo>
                  <a:lnTo>
                    <a:pt x="345" y="430"/>
                  </a:lnTo>
                  <a:lnTo>
                    <a:pt x="347" y="427"/>
                  </a:lnTo>
                  <a:lnTo>
                    <a:pt x="348" y="428"/>
                  </a:lnTo>
                  <a:lnTo>
                    <a:pt x="351" y="430"/>
                  </a:lnTo>
                  <a:lnTo>
                    <a:pt x="352" y="427"/>
                  </a:lnTo>
                  <a:lnTo>
                    <a:pt x="352" y="428"/>
                  </a:lnTo>
                  <a:lnTo>
                    <a:pt x="354" y="430"/>
                  </a:lnTo>
                  <a:lnTo>
                    <a:pt x="355" y="433"/>
                  </a:lnTo>
                  <a:lnTo>
                    <a:pt x="357" y="431"/>
                  </a:lnTo>
                  <a:lnTo>
                    <a:pt x="357" y="433"/>
                  </a:lnTo>
                  <a:lnTo>
                    <a:pt x="355" y="437"/>
                  </a:lnTo>
                  <a:lnTo>
                    <a:pt x="360" y="439"/>
                  </a:lnTo>
                  <a:lnTo>
                    <a:pt x="360" y="440"/>
                  </a:lnTo>
                  <a:lnTo>
                    <a:pt x="363" y="440"/>
                  </a:lnTo>
                  <a:lnTo>
                    <a:pt x="358" y="430"/>
                  </a:lnTo>
                  <a:lnTo>
                    <a:pt x="360" y="428"/>
                  </a:lnTo>
                  <a:lnTo>
                    <a:pt x="361" y="428"/>
                  </a:lnTo>
                  <a:lnTo>
                    <a:pt x="364" y="431"/>
                  </a:lnTo>
                  <a:lnTo>
                    <a:pt x="366" y="431"/>
                  </a:lnTo>
                  <a:lnTo>
                    <a:pt x="367" y="430"/>
                  </a:lnTo>
                  <a:lnTo>
                    <a:pt x="367" y="428"/>
                  </a:lnTo>
                  <a:lnTo>
                    <a:pt x="366" y="427"/>
                  </a:lnTo>
                  <a:lnTo>
                    <a:pt x="366" y="427"/>
                  </a:lnTo>
                  <a:lnTo>
                    <a:pt x="364" y="425"/>
                  </a:lnTo>
                  <a:lnTo>
                    <a:pt x="361" y="425"/>
                  </a:lnTo>
                  <a:lnTo>
                    <a:pt x="358" y="418"/>
                  </a:lnTo>
                  <a:lnTo>
                    <a:pt x="360" y="412"/>
                  </a:lnTo>
                  <a:lnTo>
                    <a:pt x="366" y="418"/>
                  </a:lnTo>
                  <a:lnTo>
                    <a:pt x="366" y="417"/>
                  </a:lnTo>
                  <a:lnTo>
                    <a:pt x="364" y="412"/>
                  </a:lnTo>
                  <a:lnTo>
                    <a:pt x="366" y="412"/>
                  </a:lnTo>
                  <a:lnTo>
                    <a:pt x="367" y="404"/>
                  </a:lnTo>
                  <a:lnTo>
                    <a:pt x="366" y="401"/>
                  </a:lnTo>
                  <a:lnTo>
                    <a:pt x="364" y="394"/>
                  </a:lnTo>
                  <a:lnTo>
                    <a:pt x="361" y="394"/>
                  </a:lnTo>
                  <a:lnTo>
                    <a:pt x="355" y="391"/>
                  </a:lnTo>
                  <a:lnTo>
                    <a:pt x="355" y="385"/>
                  </a:lnTo>
                  <a:lnTo>
                    <a:pt x="358" y="385"/>
                  </a:lnTo>
                  <a:lnTo>
                    <a:pt x="360" y="379"/>
                  </a:lnTo>
                  <a:lnTo>
                    <a:pt x="358" y="376"/>
                  </a:lnTo>
                  <a:lnTo>
                    <a:pt x="355" y="376"/>
                  </a:lnTo>
                  <a:lnTo>
                    <a:pt x="355" y="375"/>
                  </a:lnTo>
                  <a:lnTo>
                    <a:pt x="355" y="373"/>
                  </a:lnTo>
                  <a:lnTo>
                    <a:pt x="354" y="372"/>
                  </a:lnTo>
                  <a:lnTo>
                    <a:pt x="350" y="375"/>
                  </a:lnTo>
                  <a:lnTo>
                    <a:pt x="350" y="366"/>
                  </a:lnTo>
                  <a:lnTo>
                    <a:pt x="345" y="366"/>
                  </a:lnTo>
                  <a:lnTo>
                    <a:pt x="342" y="370"/>
                  </a:lnTo>
                  <a:lnTo>
                    <a:pt x="339" y="369"/>
                  </a:lnTo>
                  <a:lnTo>
                    <a:pt x="342" y="364"/>
                  </a:lnTo>
                  <a:lnTo>
                    <a:pt x="341" y="364"/>
                  </a:lnTo>
                  <a:lnTo>
                    <a:pt x="338" y="363"/>
                  </a:lnTo>
                  <a:lnTo>
                    <a:pt x="335" y="364"/>
                  </a:lnTo>
                  <a:lnTo>
                    <a:pt x="335" y="369"/>
                  </a:lnTo>
                  <a:lnTo>
                    <a:pt x="331" y="356"/>
                  </a:lnTo>
                  <a:lnTo>
                    <a:pt x="326" y="354"/>
                  </a:lnTo>
                  <a:lnTo>
                    <a:pt x="326" y="353"/>
                  </a:lnTo>
                  <a:lnTo>
                    <a:pt x="328" y="351"/>
                  </a:lnTo>
                  <a:lnTo>
                    <a:pt x="326" y="348"/>
                  </a:lnTo>
                  <a:lnTo>
                    <a:pt x="328" y="348"/>
                  </a:lnTo>
                  <a:lnTo>
                    <a:pt x="325" y="346"/>
                  </a:lnTo>
                  <a:lnTo>
                    <a:pt x="325" y="344"/>
                  </a:lnTo>
                  <a:lnTo>
                    <a:pt x="326" y="341"/>
                  </a:lnTo>
                  <a:lnTo>
                    <a:pt x="322" y="340"/>
                  </a:lnTo>
                  <a:lnTo>
                    <a:pt x="318" y="343"/>
                  </a:lnTo>
                  <a:lnTo>
                    <a:pt x="318" y="341"/>
                  </a:lnTo>
                  <a:lnTo>
                    <a:pt x="318" y="337"/>
                  </a:lnTo>
                  <a:lnTo>
                    <a:pt x="318" y="332"/>
                  </a:lnTo>
                  <a:lnTo>
                    <a:pt x="319" y="331"/>
                  </a:lnTo>
                  <a:lnTo>
                    <a:pt x="321" y="332"/>
                  </a:lnTo>
                  <a:lnTo>
                    <a:pt x="325" y="330"/>
                  </a:lnTo>
                  <a:lnTo>
                    <a:pt x="328" y="330"/>
                  </a:lnTo>
                  <a:lnTo>
                    <a:pt x="326" y="325"/>
                  </a:lnTo>
                  <a:lnTo>
                    <a:pt x="322" y="321"/>
                  </a:lnTo>
                  <a:lnTo>
                    <a:pt x="318" y="321"/>
                  </a:lnTo>
                  <a:lnTo>
                    <a:pt x="316" y="319"/>
                  </a:lnTo>
                  <a:lnTo>
                    <a:pt x="313" y="314"/>
                  </a:lnTo>
                  <a:lnTo>
                    <a:pt x="319" y="315"/>
                  </a:lnTo>
                  <a:lnTo>
                    <a:pt x="318" y="312"/>
                  </a:lnTo>
                  <a:lnTo>
                    <a:pt x="319" y="311"/>
                  </a:lnTo>
                  <a:lnTo>
                    <a:pt x="325" y="316"/>
                  </a:lnTo>
                  <a:lnTo>
                    <a:pt x="328" y="316"/>
                  </a:lnTo>
                  <a:lnTo>
                    <a:pt x="325" y="312"/>
                  </a:lnTo>
                  <a:lnTo>
                    <a:pt x="328" y="312"/>
                  </a:lnTo>
                  <a:lnTo>
                    <a:pt x="323" y="309"/>
                  </a:lnTo>
                  <a:lnTo>
                    <a:pt x="325" y="306"/>
                  </a:lnTo>
                  <a:lnTo>
                    <a:pt x="328" y="309"/>
                  </a:lnTo>
                  <a:lnTo>
                    <a:pt x="332" y="309"/>
                  </a:lnTo>
                  <a:lnTo>
                    <a:pt x="332" y="314"/>
                  </a:lnTo>
                  <a:lnTo>
                    <a:pt x="331" y="316"/>
                  </a:lnTo>
                  <a:lnTo>
                    <a:pt x="335" y="316"/>
                  </a:lnTo>
                  <a:lnTo>
                    <a:pt x="345" y="324"/>
                  </a:lnTo>
                  <a:lnTo>
                    <a:pt x="347" y="330"/>
                  </a:lnTo>
                  <a:lnTo>
                    <a:pt x="351" y="330"/>
                  </a:lnTo>
                  <a:lnTo>
                    <a:pt x="354" y="328"/>
                  </a:lnTo>
                  <a:lnTo>
                    <a:pt x="352" y="332"/>
                  </a:lnTo>
                  <a:lnTo>
                    <a:pt x="355" y="341"/>
                  </a:lnTo>
                  <a:lnTo>
                    <a:pt x="360" y="347"/>
                  </a:lnTo>
                  <a:lnTo>
                    <a:pt x="364" y="346"/>
                  </a:lnTo>
                  <a:lnTo>
                    <a:pt x="364" y="348"/>
                  </a:lnTo>
                  <a:lnTo>
                    <a:pt x="363" y="351"/>
                  </a:lnTo>
                  <a:lnTo>
                    <a:pt x="366" y="356"/>
                  </a:lnTo>
                  <a:lnTo>
                    <a:pt x="370" y="354"/>
                  </a:lnTo>
                  <a:lnTo>
                    <a:pt x="371" y="360"/>
                  </a:lnTo>
                  <a:lnTo>
                    <a:pt x="374" y="357"/>
                  </a:lnTo>
                  <a:lnTo>
                    <a:pt x="377" y="364"/>
                  </a:lnTo>
                  <a:lnTo>
                    <a:pt x="379" y="366"/>
                  </a:lnTo>
                  <a:lnTo>
                    <a:pt x="382" y="353"/>
                  </a:lnTo>
                  <a:lnTo>
                    <a:pt x="384" y="351"/>
                  </a:lnTo>
                  <a:lnTo>
                    <a:pt x="382" y="340"/>
                  </a:lnTo>
                  <a:lnTo>
                    <a:pt x="382" y="337"/>
                  </a:lnTo>
                  <a:lnTo>
                    <a:pt x="387" y="341"/>
                  </a:lnTo>
                  <a:lnTo>
                    <a:pt x="392" y="343"/>
                  </a:lnTo>
                  <a:lnTo>
                    <a:pt x="393" y="337"/>
                  </a:lnTo>
                  <a:lnTo>
                    <a:pt x="396" y="335"/>
                  </a:lnTo>
                  <a:lnTo>
                    <a:pt x="396" y="328"/>
                  </a:lnTo>
                  <a:lnTo>
                    <a:pt x="400" y="327"/>
                  </a:lnTo>
                  <a:lnTo>
                    <a:pt x="399" y="324"/>
                  </a:lnTo>
                  <a:lnTo>
                    <a:pt x="393" y="325"/>
                  </a:lnTo>
                  <a:lnTo>
                    <a:pt x="393" y="321"/>
                  </a:lnTo>
                  <a:lnTo>
                    <a:pt x="396" y="322"/>
                  </a:lnTo>
                  <a:lnTo>
                    <a:pt x="397" y="318"/>
                  </a:lnTo>
                  <a:lnTo>
                    <a:pt x="393" y="316"/>
                  </a:lnTo>
                  <a:lnTo>
                    <a:pt x="396" y="315"/>
                  </a:lnTo>
                  <a:lnTo>
                    <a:pt x="402" y="319"/>
                  </a:lnTo>
                  <a:lnTo>
                    <a:pt x="406" y="319"/>
                  </a:lnTo>
                  <a:lnTo>
                    <a:pt x="408" y="316"/>
                  </a:lnTo>
                  <a:lnTo>
                    <a:pt x="405" y="314"/>
                  </a:lnTo>
                  <a:lnTo>
                    <a:pt x="406" y="309"/>
                  </a:lnTo>
                  <a:lnTo>
                    <a:pt x="409" y="309"/>
                  </a:lnTo>
                  <a:lnTo>
                    <a:pt x="411" y="306"/>
                  </a:lnTo>
                  <a:lnTo>
                    <a:pt x="409" y="302"/>
                  </a:lnTo>
                  <a:lnTo>
                    <a:pt x="403" y="296"/>
                  </a:lnTo>
                  <a:lnTo>
                    <a:pt x="400" y="295"/>
                  </a:lnTo>
                  <a:lnTo>
                    <a:pt x="399" y="293"/>
                  </a:lnTo>
                  <a:lnTo>
                    <a:pt x="396" y="293"/>
                  </a:lnTo>
                  <a:lnTo>
                    <a:pt x="393" y="293"/>
                  </a:lnTo>
                  <a:lnTo>
                    <a:pt x="389" y="293"/>
                  </a:lnTo>
                  <a:lnTo>
                    <a:pt x="383" y="296"/>
                  </a:lnTo>
                  <a:lnTo>
                    <a:pt x="384" y="289"/>
                  </a:lnTo>
                  <a:lnTo>
                    <a:pt x="387" y="285"/>
                  </a:lnTo>
                  <a:lnTo>
                    <a:pt x="387" y="282"/>
                  </a:lnTo>
                  <a:lnTo>
                    <a:pt x="384" y="282"/>
                  </a:lnTo>
                  <a:lnTo>
                    <a:pt x="382" y="283"/>
                  </a:lnTo>
                  <a:lnTo>
                    <a:pt x="374" y="285"/>
                  </a:lnTo>
                  <a:lnTo>
                    <a:pt x="370" y="285"/>
                  </a:lnTo>
                  <a:lnTo>
                    <a:pt x="373" y="283"/>
                  </a:lnTo>
                  <a:lnTo>
                    <a:pt x="370" y="282"/>
                  </a:lnTo>
                  <a:lnTo>
                    <a:pt x="371" y="280"/>
                  </a:lnTo>
                  <a:lnTo>
                    <a:pt x="374" y="280"/>
                  </a:lnTo>
                  <a:lnTo>
                    <a:pt x="374" y="277"/>
                  </a:lnTo>
                  <a:lnTo>
                    <a:pt x="368" y="264"/>
                  </a:lnTo>
                  <a:lnTo>
                    <a:pt x="364" y="261"/>
                  </a:lnTo>
                  <a:lnTo>
                    <a:pt x="358" y="263"/>
                  </a:lnTo>
                  <a:lnTo>
                    <a:pt x="357" y="261"/>
                  </a:lnTo>
                  <a:lnTo>
                    <a:pt x="358" y="258"/>
                  </a:lnTo>
                  <a:lnTo>
                    <a:pt x="358" y="257"/>
                  </a:lnTo>
                  <a:lnTo>
                    <a:pt x="360" y="254"/>
                  </a:lnTo>
                  <a:lnTo>
                    <a:pt x="348" y="255"/>
                  </a:lnTo>
                  <a:lnTo>
                    <a:pt x="345" y="260"/>
                  </a:lnTo>
                  <a:lnTo>
                    <a:pt x="344" y="255"/>
                  </a:lnTo>
                  <a:lnTo>
                    <a:pt x="341" y="255"/>
                  </a:lnTo>
                  <a:lnTo>
                    <a:pt x="341" y="253"/>
                  </a:lnTo>
                  <a:lnTo>
                    <a:pt x="344" y="251"/>
                  </a:lnTo>
                  <a:lnTo>
                    <a:pt x="342" y="247"/>
                  </a:lnTo>
                  <a:lnTo>
                    <a:pt x="334" y="248"/>
                  </a:lnTo>
                  <a:lnTo>
                    <a:pt x="332" y="247"/>
                  </a:lnTo>
                  <a:lnTo>
                    <a:pt x="335" y="241"/>
                  </a:lnTo>
                  <a:lnTo>
                    <a:pt x="332" y="239"/>
                  </a:lnTo>
                  <a:lnTo>
                    <a:pt x="313" y="234"/>
                  </a:lnTo>
                  <a:lnTo>
                    <a:pt x="312" y="231"/>
                  </a:lnTo>
                  <a:lnTo>
                    <a:pt x="316" y="231"/>
                  </a:lnTo>
                  <a:lnTo>
                    <a:pt x="316" y="229"/>
                  </a:lnTo>
                  <a:lnTo>
                    <a:pt x="321" y="228"/>
                  </a:lnTo>
                  <a:lnTo>
                    <a:pt x="318" y="226"/>
                  </a:lnTo>
                  <a:lnTo>
                    <a:pt x="319" y="225"/>
                  </a:lnTo>
                  <a:lnTo>
                    <a:pt x="313" y="221"/>
                  </a:lnTo>
                  <a:lnTo>
                    <a:pt x="315" y="218"/>
                  </a:lnTo>
                  <a:lnTo>
                    <a:pt x="319" y="218"/>
                  </a:lnTo>
                  <a:lnTo>
                    <a:pt x="319" y="216"/>
                  </a:lnTo>
                  <a:lnTo>
                    <a:pt x="312" y="210"/>
                  </a:lnTo>
                  <a:lnTo>
                    <a:pt x="309" y="210"/>
                  </a:lnTo>
                  <a:lnTo>
                    <a:pt x="309" y="209"/>
                  </a:lnTo>
                  <a:lnTo>
                    <a:pt x="312" y="208"/>
                  </a:lnTo>
                  <a:lnTo>
                    <a:pt x="313" y="209"/>
                  </a:lnTo>
                  <a:lnTo>
                    <a:pt x="316" y="208"/>
                  </a:lnTo>
                  <a:lnTo>
                    <a:pt x="315" y="205"/>
                  </a:lnTo>
                  <a:lnTo>
                    <a:pt x="323" y="210"/>
                  </a:lnTo>
                  <a:lnTo>
                    <a:pt x="328" y="210"/>
                  </a:lnTo>
                  <a:lnTo>
                    <a:pt x="332" y="209"/>
                  </a:lnTo>
                  <a:lnTo>
                    <a:pt x="337" y="210"/>
                  </a:lnTo>
                  <a:lnTo>
                    <a:pt x="338" y="208"/>
                  </a:lnTo>
                  <a:lnTo>
                    <a:pt x="338" y="205"/>
                  </a:lnTo>
                  <a:lnTo>
                    <a:pt x="329" y="199"/>
                  </a:lnTo>
                  <a:lnTo>
                    <a:pt x="319" y="199"/>
                  </a:lnTo>
                  <a:lnTo>
                    <a:pt x="315" y="196"/>
                  </a:lnTo>
                  <a:lnTo>
                    <a:pt x="313" y="199"/>
                  </a:lnTo>
                  <a:lnTo>
                    <a:pt x="309" y="194"/>
                  </a:lnTo>
                  <a:lnTo>
                    <a:pt x="306" y="193"/>
                  </a:lnTo>
                  <a:lnTo>
                    <a:pt x="305" y="194"/>
                  </a:lnTo>
                  <a:lnTo>
                    <a:pt x="307" y="190"/>
                  </a:lnTo>
                  <a:lnTo>
                    <a:pt x="312" y="190"/>
                  </a:lnTo>
                  <a:lnTo>
                    <a:pt x="316" y="189"/>
                  </a:lnTo>
                  <a:lnTo>
                    <a:pt x="318" y="186"/>
                  </a:lnTo>
                  <a:lnTo>
                    <a:pt x="322" y="184"/>
                  </a:lnTo>
                  <a:lnTo>
                    <a:pt x="326" y="187"/>
                  </a:lnTo>
                  <a:lnTo>
                    <a:pt x="329" y="183"/>
                  </a:lnTo>
                  <a:lnTo>
                    <a:pt x="319" y="165"/>
                  </a:lnTo>
                  <a:lnTo>
                    <a:pt x="313" y="164"/>
                  </a:lnTo>
                  <a:lnTo>
                    <a:pt x="312" y="167"/>
                  </a:lnTo>
                  <a:lnTo>
                    <a:pt x="312" y="171"/>
                  </a:lnTo>
                  <a:lnTo>
                    <a:pt x="307" y="174"/>
                  </a:lnTo>
                  <a:lnTo>
                    <a:pt x="306" y="178"/>
                  </a:lnTo>
                  <a:lnTo>
                    <a:pt x="302" y="177"/>
                  </a:lnTo>
                  <a:lnTo>
                    <a:pt x="306" y="171"/>
                  </a:lnTo>
                  <a:lnTo>
                    <a:pt x="306" y="168"/>
                  </a:lnTo>
                  <a:lnTo>
                    <a:pt x="297" y="168"/>
                  </a:lnTo>
                  <a:lnTo>
                    <a:pt x="293" y="171"/>
                  </a:lnTo>
                  <a:lnTo>
                    <a:pt x="293" y="168"/>
                  </a:lnTo>
                  <a:lnTo>
                    <a:pt x="296" y="165"/>
                  </a:lnTo>
                  <a:lnTo>
                    <a:pt x="305" y="162"/>
                  </a:lnTo>
                  <a:lnTo>
                    <a:pt x="306" y="157"/>
                  </a:lnTo>
                  <a:lnTo>
                    <a:pt x="309" y="160"/>
                  </a:lnTo>
                  <a:lnTo>
                    <a:pt x="309" y="151"/>
                  </a:lnTo>
                  <a:lnTo>
                    <a:pt x="300" y="148"/>
                  </a:lnTo>
                  <a:lnTo>
                    <a:pt x="297" y="145"/>
                  </a:lnTo>
                  <a:lnTo>
                    <a:pt x="294" y="144"/>
                  </a:lnTo>
                  <a:lnTo>
                    <a:pt x="289" y="145"/>
                  </a:lnTo>
                  <a:lnTo>
                    <a:pt x="286" y="149"/>
                  </a:lnTo>
                  <a:lnTo>
                    <a:pt x="284" y="151"/>
                  </a:lnTo>
                  <a:lnTo>
                    <a:pt x="281" y="155"/>
                  </a:lnTo>
                  <a:lnTo>
                    <a:pt x="281" y="152"/>
                  </a:lnTo>
                  <a:lnTo>
                    <a:pt x="283" y="149"/>
                  </a:lnTo>
                  <a:lnTo>
                    <a:pt x="286" y="145"/>
                  </a:lnTo>
                  <a:lnTo>
                    <a:pt x="289" y="141"/>
                  </a:lnTo>
                  <a:lnTo>
                    <a:pt x="286" y="141"/>
                  </a:lnTo>
                  <a:lnTo>
                    <a:pt x="283" y="144"/>
                  </a:lnTo>
                  <a:lnTo>
                    <a:pt x="280" y="145"/>
                  </a:lnTo>
                  <a:lnTo>
                    <a:pt x="276" y="148"/>
                  </a:lnTo>
                  <a:lnTo>
                    <a:pt x="276" y="146"/>
                  </a:lnTo>
                  <a:lnTo>
                    <a:pt x="280" y="136"/>
                  </a:lnTo>
                  <a:lnTo>
                    <a:pt x="278" y="132"/>
                  </a:lnTo>
                  <a:lnTo>
                    <a:pt x="276" y="130"/>
                  </a:lnTo>
                  <a:lnTo>
                    <a:pt x="271" y="135"/>
                  </a:lnTo>
                  <a:lnTo>
                    <a:pt x="267" y="135"/>
                  </a:lnTo>
                  <a:lnTo>
                    <a:pt x="265" y="132"/>
                  </a:lnTo>
                  <a:lnTo>
                    <a:pt x="257" y="130"/>
                  </a:lnTo>
                  <a:lnTo>
                    <a:pt x="264" y="129"/>
                  </a:lnTo>
                  <a:lnTo>
                    <a:pt x="268" y="129"/>
                  </a:lnTo>
                  <a:lnTo>
                    <a:pt x="273" y="123"/>
                  </a:lnTo>
                  <a:lnTo>
                    <a:pt x="271" y="117"/>
                  </a:lnTo>
                  <a:lnTo>
                    <a:pt x="267" y="112"/>
                  </a:lnTo>
                  <a:lnTo>
                    <a:pt x="257" y="106"/>
                  </a:lnTo>
                  <a:lnTo>
                    <a:pt x="251" y="101"/>
                  </a:lnTo>
                  <a:lnTo>
                    <a:pt x="251" y="101"/>
                  </a:lnTo>
                  <a:lnTo>
                    <a:pt x="249" y="106"/>
                  </a:lnTo>
                  <a:lnTo>
                    <a:pt x="246" y="110"/>
                  </a:lnTo>
                  <a:lnTo>
                    <a:pt x="244" y="109"/>
                  </a:lnTo>
                  <a:lnTo>
                    <a:pt x="239" y="109"/>
                  </a:lnTo>
                  <a:lnTo>
                    <a:pt x="241" y="117"/>
                  </a:lnTo>
                  <a:lnTo>
                    <a:pt x="241" y="120"/>
                  </a:lnTo>
                  <a:lnTo>
                    <a:pt x="241" y="117"/>
                  </a:lnTo>
                  <a:lnTo>
                    <a:pt x="238" y="119"/>
                  </a:lnTo>
                  <a:lnTo>
                    <a:pt x="238" y="116"/>
                  </a:lnTo>
                  <a:lnTo>
                    <a:pt x="235" y="114"/>
                  </a:lnTo>
                  <a:lnTo>
                    <a:pt x="236" y="109"/>
                  </a:lnTo>
                  <a:lnTo>
                    <a:pt x="233" y="107"/>
                  </a:lnTo>
                  <a:lnTo>
                    <a:pt x="229" y="113"/>
                  </a:lnTo>
                  <a:lnTo>
                    <a:pt x="238" y="99"/>
                  </a:lnTo>
                  <a:lnTo>
                    <a:pt x="236" y="97"/>
                  </a:lnTo>
                  <a:lnTo>
                    <a:pt x="229" y="100"/>
                  </a:lnTo>
                  <a:lnTo>
                    <a:pt x="225" y="99"/>
                  </a:lnTo>
                  <a:lnTo>
                    <a:pt x="222" y="104"/>
                  </a:lnTo>
                  <a:lnTo>
                    <a:pt x="219" y="106"/>
                  </a:lnTo>
                  <a:lnTo>
                    <a:pt x="219" y="101"/>
                  </a:lnTo>
                  <a:lnTo>
                    <a:pt x="216" y="103"/>
                  </a:lnTo>
                  <a:lnTo>
                    <a:pt x="225" y="96"/>
                  </a:lnTo>
                  <a:lnTo>
                    <a:pt x="226" y="93"/>
                  </a:lnTo>
                  <a:lnTo>
                    <a:pt x="225" y="85"/>
                  </a:lnTo>
                  <a:lnTo>
                    <a:pt x="220" y="84"/>
                  </a:lnTo>
                  <a:lnTo>
                    <a:pt x="215" y="84"/>
                  </a:lnTo>
                  <a:lnTo>
                    <a:pt x="213" y="83"/>
                  </a:lnTo>
                  <a:lnTo>
                    <a:pt x="216" y="78"/>
                  </a:lnTo>
                  <a:lnTo>
                    <a:pt x="213" y="68"/>
                  </a:lnTo>
                  <a:lnTo>
                    <a:pt x="210" y="67"/>
                  </a:lnTo>
                  <a:lnTo>
                    <a:pt x="212" y="64"/>
                  </a:lnTo>
                  <a:lnTo>
                    <a:pt x="206" y="62"/>
                  </a:lnTo>
                  <a:lnTo>
                    <a:pt x="200" y="61"/>
                  </a:lnTo>
                  <a:lnTo>
                    <a:pt x="186" y="53"/>
                  </a:lnTo>
                  <a:lnTo>
                    <a:pt x="178" y="53"/>
                  </a:lnTo>
                  <a:lnTo>
                    <a:pt x="171" y="56"/>
                  </a:lnTo>
                  <a:lnTo>
                    <a:pt x="164" y="62"/>
                  </a:lnTo>
                  <a:lnTo>
                    <a:pt x="164" y="68"/>
                  </a:lnTo>
                  <a:lnTo>
                    <a:pt x="168" y="72"/>
                  </a:lnTo>
                  <a:lnTo>
                    <a:pt x="165" y="74"/>
                  </a:lnTo>
                  <a:lnTo>
                    <a:pt x="161" y="74"/>
                  </a:lnTo>
                  <a:lnTo>
                    <a:pt x="158" y="77"/>
                  </a:lnTo>
                  <a:lnTo>
                    <a:pt x="154" y="71"/>
                  </a:lnTo>
                  <a:lnTo>
                    <a:pt x="149" y="74"/>
                  </a:lnTo>
                  <a:lnTo>
                    <a:pt x="148" y="72"/>
                  </a:lnTo>
                  <a:lnTo>
                    <a:pt x="146" y="64"/>
                  </a:lnTo>
                  <a:lnTo>
                    <a:pt x="142" y="78"/>
                  </a:lnTo>
                  <a:lnTo>
                    <a:pt x="139" y="78"/>
                  </a:lnTo>
                  <a:lnTo>
                    <a:pt x="139" y="83"/>
                  </a:lnTo>
                  <a:lnTo>
                    <a:pt x="135" y="88"/>
                  </a:lnTo>
                  <a:lnTo>
                    <a:pt x="130" y="93"/>
                  </a:lnTo>
                  <a:lnTo>
                    <a:pt x="132" y="90"/>
                  </a:lnTo>
                  <a:lnTo>
                    <a:pt x="130" y="87"/>
                  </a:lnTo>
                  <a:lnTo>
                    <a:pt x="130" y="84"/>
                  </a:lnTo>
                  <a:lnTo>
                    <a:pt x="135" y="84"/>
                  </a:lnTo>
                  <a:lnTo>
                    <a:pt x="135" y="84"/>
                  </a:lnTo>
                  <a:lnTo>
                    <a:pt x="133" y="80"/>
                  </a:lnTo>
                  <a:lnTo>
                    <a:pt x="132" y="81"/>
                  </a:lnTo>
                  <a:lnTo>
                    <a:pt x="139" y="53"/>
                  </a:lnTo>
                  <a:lnTo>
                    <a:pt x="135" y="51"/>
                  </a:lnTo>
                  <a:lnTo>
                    <a:pt x="133" y="45"/>
                  </a:lnTo>
                  <a:lnTo>
                    <a:pt x="132" y="43"/>
                  </a:lnTo>
                  <a:lnTo>
                    <a:pt x="135" y="40"/>
                  </a:lnTo>
                  <a:lnTo>
                    <a:pt x="135" y="37"/>
                  </a:lnTo>
                  <a:lnTo>
                    <a:pt x="133" y="35"/>
                  </a:lnTo>
                  <a:lnTo>
                    <a:pt x="129" y="32"/>
                  </a:lnTo>
                  <a:lnTo>
                    <a:pt x="123" y="29"/>
                  </a:lnTo>
                  <a:lnTo>
                    <a:pt x="127" y="24"/>
                  </a:lnTo>
                  <a:lnTo>
                    <a:pt x="126" y="11"/>
                  </a:lnTo>
                  <a:lnTo>
                    <a:pt x="123" y="6"/>
                  </a:lnTo>
                  <a:lnTo>
                    <a:pt x="104" y="6"/>
                  </a:lnTo>
                  <a:lnTo>
                    <a:pt x="101" y="8"/>
                  </a:lnTo>
                  <a:lnTo>
                    <a:pt x="98" y="8"/>
                  </a:lnTo>
                  <a:lnTo>
                    <a:pt x="88" y="17"/>
                  </a:lnTo>
                  <a:lnTo>
                    <a:pt x="93" y="21"/>
                  </a:lnTo>
                  <a:lnTo>
                    <a:pt x="91" y="26"/>
                  </a:lnTo>
                  <a:lnTo>
                    <a:pt x="88" y="20"/>
                  </a:lnTo>
                  <a:lnTo>
                    <a:pt x="85" y="19"/>
                  </a:lnTo>
                  <a:lnTo>
                    <a:pt x="80" y="20"/>
                  </a:lnTo>
                  <a:lnTo>
                    <a:pt x="80" y="23"/>
                  </a:lnTo>
                  <a:lnTo>
                    <a:pt x="82" y="30"/>
                  </a:lnTo>
                  <a:lnTo>
                    <a:pt x="80" y="29"/>
                  </a:lnTo>
                  <a:lnTo>
                    <a:pt x="75" y="23"/>
                  </a:lnTo>
                  <a:lnTo>
                    <a:pt x="72" y="24"/>
                  </a:lnTo>
                  <a:lnTo>
                    <a:pt x="71" y="29"/>
                  </a:lnTo>
                  <a:lnTo>
                    <a:pt x="74" y="33"/>
                  </a:lnTo>
                  <a:lnTo>
                    <a:pt x="90" y="39"/>
                  </a:lnTo>
                  <a:lnTo>
                    <a:pt x="88" y="40"/>
                  </a:lnTo>
                  <a:lnTo>
                    <a:pt x="69" y="35"/>
                  </a:lnTo>
                  <a:lnTo>
                    <a:pt x="69" y="37"/>
                  </a:lnTo>
                  <a:lnTo>
                    <a:pt x="66" y="36"/>
                  </a:lnTo>
                  <a:lnTo>
                    <a:pt x="65" y="37"/>
                  </a:lnTo>
                  <a:lnTo>
                    <a:pt x="68" y="40"/>
                  </a:lnTo>
                  <a:lnTo>
                    <a:pt x="72" y="40"/>
                  </a:lnTo>
                  <a:lnTo>
                    <a:pt x="77" y="45"/>
                  </a:lnTo>
                  <a:lnTo>
                    <a:pt x="81" y="48"/>
                  </a:lnTo>
                  <a:lnTo>
                    <a:pt x="87" y="52"/>
                  </a:lnTo>
                  <a:lnTo>
                    <a:pt x="84" y="53"/>
                  </a:lnTo>
                  <a:lnTo>
                    <a:pt x="72" y="45"/>
                  </a:lnTo>
                  <a:lnTo>
                    <a:pt x="66" y="43"/>
                  </a:lnTo>
                  <a:lnTo>
                    <a:pt x="64" y="43"/>
                  </a:lnTo>
                  <a:lnTo>
                    <a:pt x="62" y="46"/>
                  </a:lnTo>
                  <a:lnTo>
                    <a:pt x="62" y="53"/>
                  </a:lnTo>
                  <a:lnTo>
                    <a:pt x="65" y="61"/>
                  </a:lnTo>
                  <a:lnTo>
                    <a:pt x="64" y="64"/>
                  </a:lnTo>
                  <a:lnTo>
                    <a:pt x="65" y="68"/>
                  </a:lnTo>
                  <a:lnTo>
                    <a:pt x="71" y="71"/>
                  </a:lnTo>
                  <a:lnTo>
                    <a:pt x="72" y="71"/>
                  </a:lnTo>
                  <a:lnTo>
                    <a:pt x="74" y="69"/>
                  </a:lnTo>
                  <a:lnTo>
                    <a:pt x="75" y="71"/>
                  </a:lnTo>
                  <a:lnTo>
                    <a:pt x="74" y="75"/>
                  </a:lnTo>
                  <a:lnTo>
                    <a:pt x="71" y="78"/>
                  </a:lnTo>
                  <a:lnTo>
                    <a:pt x="66" y="77"/>
                  </a:lnTo>
                  <a:lnTo>
                    <a:pt x="65" y="84"/>
                  </a:lnTo>
                  <a:lnTo>
                    <a:pt x="59" y="88"/>
                  </a:lnTo>
                  <a:lnTo>
                    <a:pt x="59" y="91"/>
                  </a:lnTo>
                  <a:lnTo>
                    <a:pt x="64" y="94"/>
                  </a:lnTo>
                  <a:lnTo>
                    <a:pt x="64" y="99"/>
                  </a:lnTo>
                  <a:lnTo>
                    <a:pt x="68" y="103"/>
                  </a:lnTo>
                  <a:lnTo>
                    <a:pt x="74" y="104"/>
                  </a:lnTo>
                  <a:lnTo>
                    <a:pt x="77" y="104"/>
                  </a:lnTo>
                  <a:lnTo>
                    <a:pt x="78" y="109"/>
                  </a:lnTo>
                  <a:lnTo>
                    <a:pt x="77" y="116"/>
                  </a:lnTo>
                  <a:lnTo>
                    <a:pt x="75" y="117"/>
                  </a:lnTo>
                  <a:lnTo>
                    <a:pt x="75" y="130"/>
                  </a:lnTo>
                  <a:lnTo>
                    <a:pt x="74" y="136"/>
                  </a:lnTo>
                  <a:lnTo>
                    <a:pt x="72" y="133"/>
                  </a:lnTo>
                  <a:lnTo>
                    <a:pt x="74" y="126"/>
                  </a:lnTo>
                  <a:lnTo>
                    <a:pt x="72" y="125"/>
                  </a:lnTo>
                  <a:lnTo>
                    <a:pt x="71" y="126"/>
                  </a:lnTo>
                  <a:lnTo>
                    <a:pt x="66" y="126"/>
                  </a:lnTo>
                  <a:lnTo>
                    <a:pt x="59" y="129"/>
                  </a:lnTo>
                  <a:lnTo>
                    <a:pt x="53" y="133"/>
                  </a:lnTo>
                  <a:lnTo>
                    <a:pt x="49" y="132"/>
                  </a:lnTo>
                  <a:lnTo>
                    <a:pt x="59" y="125"/>
                  </a:lnTo>
                  <a:lnTo>
                    <a:pt x="66" y="123"/>
                  </a:lnTo>
                  <a:lnTo>
                    <a:pt x="66" y="122"/>
                  </a:lnTo>
                  <a:lnTo>
                    <a:pt x="69" y="120"/>
                  </a:lnTo>
                  <a:lnTo>
                    <a:pt x="74" y="120"/>
                  </a:lnTo>
                  <a:lnTo>
                    <a:pt x="72" y="114"/>
                  </a:lnTo>
                  <a:lnTo>
                    <a:pt x="71" y="113"/>
                  </a:lnTo>
                  <a:lnTo>
                    <a:pt x="66" y="112"/>
                  </a:lnTo>
                  <a:lnTo>
                    <a:pt x="53" y="93"/>
                  </a:lnTo>
                  <a:lnTo>
                    <a:pt x="52" y="85"/>
                  </a:lnTo>
                  <a:lnTo>
                    <a:pt x="53" y="71"/>
                  </a:lnTo>
                  <a:lnTo>
                    <a:pt x="49" y="59"/>
                  </a:lnTo>
                  <a:lnTo>
                    <a:pt x="49" y="51"/>
                  </a:lnTo>
                  <a:lnTo>
                    <a:pt x="53" y="39"/>
                  </a:lnTo>
                  <a:lnTo>
                    <a:pt x="55" y="32"/>
                  </a:lnTo>
                  <a:lnTo>
                    <a:pt x="74" y="6"/>
                  </a:lnTo>
                  <a:lnTo>
                    <a:pt x="74" y="4"/>
                  </a:lnTo>
                  <a:lnTo>
                    <a:pt x="71" y="1"/>
                  </a:lnTo>
                  <a:lnTo>
                    <a:pt x="50" y="0"/>
                  </a:lnTo>
                  <a:lnTo>
                    <a:pt x="30" y="10"/>
                  </a:lnTo>
                  <a:lnTo>
                    <a:pt x="21" y="19"/>
                  </a:lnTo>
                  <a:lnTo>
                    <a:pt x="20" y="26"/>
                  </a:lnTo>
                  <a:lnTo>
                    <a:pt x="16" y="30"/>
                  </a:lnTo>
                  <a:lnTo>
                    <a:pt x="14" y="32"/>
                  </a:lnTo>
                  <a:lnTo>
                    <a:pt x="11" y="37"/>
                  </a:lnTo>
                  <a:lnTo>
                    <a:pt x="14" y="42"/>
                  </a:lnTo>
                  <a:lnTo>
                    <a:pt x="10" y="45"/>
                  </a:lnTo>
                  <a:lnTo>
                    <a:pt x="10" y="51"/>
                  </a:lnTo>
                  <a:lnTo>
                    <a:pt x="13" y="52"/>
                  </a:lnTo>
                  <a:lnTo>
                    <a:pt x="8" y="52"/>
                  </a:lnTo>
                  <a:lnTo>
                    <a:pt x="7" y="59"/>
                  </a:lnTo>
                  <a:lnTo>
                    <a:pt x="4" y="61"/>
                  </a:lnTo>
                  <a:lnTo>
                    <a:pt x="4" y="67"/>
                  </a:lnTo>
                  <a:lnTo>
                    <a:pt x="3" y="71"/>
                  </a:lnTo>
                  <a:lnTo>
                    <a:pt x="4" y="80"/>
                  </a:lnTo>
                  <a:lnTo>
                    <a:pt x="7" y="80"/>
                  </a:lnTo>
                  <a:lnTo>
                    <a:pt x="4" y="81"/>
                  </a:lnTo>
                  <a:lnTo>
                    <a:pt x="3" y="85"/>
                  </a:lnTo>
                  <a:lnTo>
                    <a:pt x="0" y="90"/>
                  </a:lnTo>
                  <a:lnTo>
                    <a:pt x="4" y="99"/>
                  </a:lnTo>
                  <a:lnTo>
                    <a:pt x="1" y="103"/>
                  </a:lnTo>
                  <a:lnTo>
                    <a:pt x="1" y="114"/>
                  </a:lnTo>
                  <a:lnTo>
                    <a:pt x="4" y="119"/>
                  </a:lnTo>
                  <a:lnTo>
                    <a:pt x="30" y="123"/>
                  </a:lnTo>
                  <a:lnTo>
                    <a:pt x="37" y="130"/>
                  </a:lnTo>
                  <a:lnTo>
                    <a:pt x="42" y="133"/>
                  </a:lnTo>
                  <a:lnTo>
                    <a:pt x="35" y="136"/>
                  </a:lnTo>
                  <a:lnTo>
                    <a:pt x="27" y="136"/>
                  </a:lnTo>
                  <a:lnTo>
                    <a:pt x="20" y="132"/>
                  </a:lnTo>
                  <a:lnTo>
                    <a:pt x="10" y="130"/>
                  </a:lnTo>
                  <a:lnTo>
                    <a:pt x="13" y="133"/>
                  </a:lnTo>
                  <a:lnTo>
                    <a:pt x="10" y="138"/>
                  </a:lnTo>
                  <a:lnTo>
                    <a:pt x="21" y="155"/>
                  </a:lnTo>
                  <a:lnTo>
                    <a:pt x="32" y="161"/>
                  </a:lnTo>
                  <a:lnTo>
                    <a:pt x="27" y="162"/>
                  </a:lnTo>
                  <a:lnTo>
                    <a:pt x="33" y="164"/>
                  </a:lnTo>
                  <a:lnTo>
                    <a:pt x="33" y="162"/>
                  </a:lnTo>
                  <a:lnTo>
                    <a:pt x="37" y="162"/>
                  </a:lnTo>
                  <a:lnTo>
                    <a:pt x="43" y="164"/>
                  </a:lnTo>
                  <a:lnTo>
                    <a:pt x="49" y="162"/>
                  </a:lnTo>
                  <a:lnTo>
                    <a:pt x="50" y="157"/>
                  </a:lnTo>
                  <a:lnTo>
                    <a:pt x="52" y="164"/>
                  </a:lnTo>
                  <a:lnTo>
                    <a:pt x="55" y="170"/>
                  </a:lnTo>
                  <a:lnTo>
                    <a:pt x="59" y="174"/>
                  </a:lnTo>
                  <a:lnTo>
                    <a:pt x="66" y="176"/>
                  </a:lnTo>
                  <a:lnTo>
                    <a:pt x="69" y="176"/>
                  </a:lnTo>
                  <a:lnTo>
                    <a:pt x="65" y="174"/>
                  </a:lnTo>
                  <a:lnTo>
                    <a:pt x="69" y="173"/>
                  </a:lnTo>
                  <a:lnTo>
                    <a:pt x="94" y="180"/>
                  </a:lnTo>
                  <a:lnTo>
                    <a:pt x="94" y="178"/>
                  </a:lnTo>
                  <a:lnTo>
                    <a:pt x="100" y="176"/>
                  </a:lnTo>
                  <a:lnTo>
                    <a:pt x="109" y="181"/>
                  </a:lnTo>
                  <a:lnTo>
                    <a:pt x="113" y="181"/>
                  </a:lnTo>
                  <a:lnTo>
                    <a:pt x="114" y="183"/>
                  </a:lnTo>
                  <a:lnTo>
                    <a:pt x="114" y="181"/>
                  </a:lnTo>
                  <a:lnTo>
                    <a:pt x="114" y="181"/>
                  </a:lnTo>
                  <a:lnTo>
                    <a:pt x="117" y="183"/>
                  </a:lnTo>
                  <a:lnTo>
                    <a:pt x="119" y="180"/>
                  </a:lnTo>
                  <a:lnTo>
                    <a:pt x="122" y="177"/>
                  </a:lnTo>
                  <a:lnTo>
                    <a:pt x="126" y="180"/>
                  </a:lnTo>
                  <a:lnTo>
                    <a:pt x="129" y="186"/>
                  </a:lnTo>
                  <a:lnTo>
                    <a:pt x="132" y="186"/>
                  </a:lnTo>
                  <a:lnTo>
                    <a:pt x="130" y="183"/>
                  </a:lnTo>
                  <a:lnTo>
                    <a:pt x="126" y="176"/>
                  </a:lnTo>
                  <a:lnTo>
                    <a:pt x="120" y="174"/>
                  </a:lnTo>
                  <a:lnTo>
                    <a:pt x="120" y="170"/>
                  </a:lnTo>
                  <a:lnTo>
                    <a:pt x="138" y="177"/>
                  </a:lnTo>
                  <a:lnTo>
                    <a:pt x="142" y="176"/>
                  </a:lnTo>
                  <a:lnTo>
                    <a:pt x="143" y="177"/>
                  </a:lnTo>
                  <a:lnTo>
                    <a:pt x="145" y="176"/>
                  </a:lnTo>
                  <a:lnTo>
                    <a:pt x="148" y="183"/>
                  </a:lnTo>
                  <a:lnTo>
                    <a:pt x="161" y="180"/>
                  </a:lnTo>
                  <a:lnTo>
                    <a:pt x="162" y="177"/>
                  </a:lnTo>
                  <a:lnTo>
                    <a:pt x="158" y="161"/>
                  </a:lnTo>
                  <a:lnTo>
                    <a:pt x="154" y="161"/>
                  </a:lnTo>
                  <a:lnTo>
                    <a:pt x="151" y="160"/>
                  </a:lnTo>
                  <a:lnTo>
                    <a:pt x="154" y="157"/>
                  </a:lnTo>
                  <a:lnTo>
                    <a:pt x="161" y="158"/>
                  </a:lnTo>
                  <a:lnTo>
                    <a:pt x="170" y="168"/>
                  </a:lnTo>
                  <a:lnTo>
                    <a:pt x="171" y="165"/>
                  </a:lnTo>
                  <a:lnTo>
                    <a:pt x="174" y="167"/>
                  </a:lnTo>
                  <a:lnTo>
                    <a:pt x="178" y="167"/>
                  </a:lnTo>
                  <a:lnTo>
                    <a:pt x="178" y="183"/>
                  </a:lnTo>
                  <a:lnTo>
                    <a:pt x="181" y="186"/>
                  </a:lnTo>
                  <a:lnTo>
                    <a:pt x="183" y="181"/>
                  </a:lnTo>
                  <a:lnTo>
                    <a:pt x="186" y="183"/>
                  </a:lnTo>
                  <a:lnTo>
                    <a:pt x="188" y="183"/>
                  </a:lnTo>
                  <a:lnTo>
                    <a:pt x="190" y="184"/>
                  </a:lnTo>
                  <a:lnTo>
                    <a:pt x="188" y="189"/>
                  </a:lnTo>
                  <a:lnTo>
                    <a:pt x="186" y="190"/>
                  </a:lnTo>
                  <a:lnTo>
                    <a:pt x="188" y="192"/>
                  </a:lnTo>
                  <a:lnTo>
                    <a:pt x="204" y="205"/>
                  </a:lnTo>
                  <a:lnTo>
                    <a:pt x="206" y="210"/>
                  </a:lnTo>
                  <a:lnTo>
                    <a:pt x="201" y="216"/>
                  </a:lnTo>
                  <a:lnTo>
                    <a:pt x="196" y="215"/>
                  </a:lnTo>
                  <a:lnTo>
                    <a:pt x="191" y="215"/>
                  </a:lnTo>
                  <a:lnTo>
                    <a:pt x="193" y="221"/>
                  </a:lnTo>
                  <a:lnTo>
                    <a:pt x="193" y="229"/>
                  </a:lnTo>
                  <a:lnTo>
                    <a:pt x="206" y="222"/>
                  </a:lnTo>
                  <a:lnTo>
                    <a:pt x="207" y="218"/>
                  </a:lnTo>
                  <a:lnTo>
                    <a:pt x="212" y="219"/>
                  </a:lnTo>
                  <a:lnTo>
                    <a:pt x="216" y="216"/>
                  </a:lnTo>
                  <a:lnTo>
                    <a:pt x="220" y="215"/>
                  </a:lnTo>
                  <a:lnTo>
                    <a:pt x="226" y="216"/>
                  </a:lnTo>
                  <a:lnTo>
                    <a:pt x="217" y="218"/>
                  </a:lnTo>
                  <a:lnTo>
                    <a:pt x="219" y="219"/>
                  </a:lnTo>
                  <a:lnTo>
                    <a:pt x="217" y="223"/>
                  </a:lnTo>
                  <a:lnTo>
                    <a:pt x="226" y="235"/>
                  </a:lnTo>
                  <a:lnTo>
                    <a:pt x="228" y="234"/>
                  </a:lnTo>
                  <a:lnTo>
                    <a:pt x="226" y="229"/>
                  </a:lnTo>
                  <a:lnTo>
                    <a:pt x="226" y="228"/>
                  </a:lnTo>
                  <a:lnTo>
                    <a:pt x="232" y="229"/>
                  </a:lnTo>
                  <a:lnTo>
                    <a:pt x="232" y="238"/>
                  </a:lnTo>
                  <a:lnTo>
                    <a:pt x="233" y="242"/>
                  </a:lnTo>
                  <a:lnTo>
                    <a:pt x="238" y="245"/>
                  </a:lnTo>
                  <a:lnTo>
                    <a:pt x="241" y="244"/>
                  </a:lnTo>
                  <a:lnTo>
                    <a:pt x="244" y="250"/>
                  </a:lnTo>
                  <a:lnTo>
                    <a:pt x="246" y="260"/>
                  </a:lnTo>
                  <a:lnTo>
                    <a:pt x="248" y="263"/>
                  </a:lnTo>
                  <a:lnTo>
                    <a:pt x="249" y="269"/>
                  </a:lnTo>
                  <a:lnTo>
                    <a:pt x="251" y="271"/>
                  </a:lnTo>
                  <a:lnTo>
                    <a:pt x="252" y="282"/>
                  </a:lnTo>
                  <a:lnTo>
                    <a:pt x="254" y="282"/>
                  </a:lnTo>
                  <a:lnTo>
                    <a:pt x="252" y="286"/>
                  </a:lnTo>
                  <a:lnTo>
                    <a:pt x="251" y="289"/>
                  </a:lnTo>
                  <a:lnTo>
                    <a:pt x="246" y="290"/>
                  </a:lnTo>
                  <a:lnTo>
                    <a:pt x="245" y="293"/>
                  </a:lnTo>
                  <a:lnTo>
                    <a:pt x="245" y="302"/>
                  </a:lnTo>
                  <a:lnTo>
                    <a:pt x="244" y="303"/>
                  </a:lnTo>
                  <a:lnTo>
                    <a:pt x="239" y="303"/>
                  </a:lnTo>
                  <a:lnTo>
                    <a:pt x="223" y="322"/>
                  </a:lnTo>
                  <a:lnTo>
                    <a:pt x="225" y="325"/>
                  </a:lnTo>
                  <a:lnTo>
                    <a:pt x="228" y="331"/>
                  </a:lnTo>
                  <a:lnTo>
                    <a:pt x="232" y="335"/>
                  </a:lnTo>
                  <a:lnTo>
                    <a:pt x="233" y="340"/>
                  </a:lnTo>
                  <a:lnTo>
                    <a:pt x="236" y="340"/>
                  </a:lnTo>
                  <a:lnTo>
                    <a:pt x="236" y="347"/>
                  </a:lnTo>
                  <a:lnTo>
                    <a:pt x="231" y="344"/>
                  </a:lnTo>
                  <a:lnTo>
                    <a:pt x="231" y="346"/>
                  </a:lnTo>
                  <a:lnTo>
                    <a:pt x="228" y="344"/>
                  </a:lnTo>
                  <a:lnTo>
                    <a:pt x="226" y="346"/>
                  </a:lnTo>
                  <a:lnTo>
                    <a:pt x="225" y="347"/>
                  </a:lnTo>
                  <a:lnTo>
                    <a:pt x="220" y="348"/>
                  </a:lnTo>
                  <a:lnTo>
                    <a:pt x="213" y="348"/>
                  </a:lnTo>
                  <a:lnTo>
                    <a:pt x="213" y="353"/>
                  </a:lnTo>
                  <a:lnTo>
                    <a:pt x="210" y="353"/>
                  </a:lnTo>
                  <a:lnTo>
                    <a:pt x="206" y="351"/>
                  </a:lnTo>
                  <a:lnTo>
                    <a:pt x="199" y="351"/>
                  </a:lnTo>
                  <a:lnTo>
                    <a:pt x="193" y="350"/>
                  </a:lnTo>
                  <a:lnTo>
                    <a:pt x="190" y="350"/>
                  </a:lnTo>
                  <a:lnTo>
                    <a:pt x="187" y="348"/>
                  </a:lnTo>
                  <a:lnTo>
                    <a:pt x="184" y="347"/>
                  </a:lnTo>
                  <a:lnTo>
                    <a:pt x="181" y="347"/>
                  </a:lnTo>
                  <a:lnTo>
                    <a:pt x="184" y="350"/>
                  </a:lnTo>
                  <a:lnTo>
                    <a:pt x="181" y="350"/>
                  </a:lnTo>
                  <a:lnTo>
                    <a:pt x="181" y="356"/>
                  </a:lnTo>
                  <a:lnTo>
                    <a:pt x="178" y="357"/>
                  </a:lnTo>
                  <a:lnTo>
                    <a:pt x="174" y="362"/>
                  </a:lnTo>
                  <a:lnTo>
                    <a:pt x="171" y="364"/>
                  </a:lnTo>
                  <a:lnTo>
                    <a:pt x="171" y="373"/>
                  </a:lnTo>
                  <a:lnTo>
                    <a:pt x="174" y="379"/>
                  </a:lnTo>
                  <a:lnTo>
                    <a:pt x="177" y="382"/>
                  </a:lnTo>
                  <a:lnTo>
                    <a:pt x="180" y="382"/>
                  </a:lnTo>
                  <a:lnTo>
                    <a:pt x="183" y="386"/>
                  </a:lnTo>
                  <a:lnTo>
                    <a:pt x="184" y="385"/>
                  </a:lnTo>
                  <a:lnTo>
                    <a:pt x="190" y="386"/>
                  </a:lnTo>
                  <a:lnTo>
                    <a:pt x="191" y="388"/>
                  </a:lnTo>
                  <a:lnTo>
                    <a:pt x="193" y="388"/>
                  </a:lnTo>
                  <a:lnTo>
                    <a:pt x="199" y="385"/>
                  </a:lnTo>
                  <a:lnTo>
                    <a:pt x="197" y="383"/>
                  </a:lnTo>
                  <a:lnTo>
                    <a:pt x="201" y="383"/>
                  </a:lnTo>
                  <a:lnTo>
                    <a:pt x="203" y="382"/>
                  </a:lnTo>
                  <a:lnTo>
                    <a:pt x="204" y="379"/>
                  </a:lnTo>
                  <a:lnTo>
                    <a:pt x="203" y="376"/>
                  </a:lnTo>
                  <a:lnTo>
                    <a:pt x="206" y="375"/>
                  </a:lnTo>
                  <a:lnTo>
                    <a:pt x="210" y="375"/>
                  </a:lnTo>
                  <a:lnTo>
                    <a:pt x="212" y="378"/>
                  </a:lnTo>
                  <a:lnTo>
                    <a:pt x="212" y="380"/>
                  </a:lnTo>
                  <a:lnTo>
                    <a:pt x="219" y="380"/>
                  </a:lnTo>
                  <a:lnTo>
                    <a:pt x="220" y="382"/>
                  </a:lnTo>
                  <a:lnTo>
                    <a:pt x="220" y="379"/>
                  </a:lnTo>
                  <a:lnTo>
                    <a:pt x="222" y="376"/>
                  </a:lnTo>
                  <a:lnTo>
                    <a:pt x="223" y="378"/>
                  </a:lnTo>
                  <a:lnTo>
                    <a:pt x="220" y="373"/>
                  </a:lnTo>
                  <a:lnTo>
                    <a:pt x="217" y="373"/>
                  </a:lnTo>
                  <a:lnTo>
                    <a:pt x="217" y="369"/>
                  </a:lnTo>
                  <a:lnTo>
                    <a:pt x="220" y="367"/>
                  </a:lnTo>
                  <a:lnTo>
                    <a:pt x="222" y="366"/>
                  </a:lnTo>
                  <a:lnTo>
                    <a:pt x="222" y="372"/>
                  </a:lnTo>
                  <a:lnTo>
                    <a:pt x="223" y="370"/>
                  </a:lnTo>
                  <a:lnTo>
                    <a:pt x="225" y="372"/>
                  </a:lnTo>
                  <a:lnTo>
                    <a:pt x="226" y="375"/>
                  </a:lnTo>
                  <a:lnTo>
                    <a:pt x="228" y="373"/>
                  </a:lnTo>
                  <a:lnTo>
                    <a:pt x="231" y="372"/>
                  </a:lnTo>
                  <a:lnTo>
                    <a:pt x="231" y="373"/>
                  </a:lnTo>
                  <a:lnTo>
                    <a:pt x="233" y="376"/>
                  </a:lnTo>
                  <a:lnTo>
                    <a:pt x="235" y="375"/>
                  </a:lnTo>
                  <a:lnTo>
                    <a:pt x="238" y="375"/>
                  </a:lnTo>
                  <a:lnTo>
                    <a:pt x="239" y="378"/>
                  </a:lnTo>
                  <a:lnTo>
                    <a:pt x="238" y="379"/>
                  </a:lnTo>
                  <a:lnTo>
                    <a:pt x="239" y="385"/>
                  </a:lnTo>
                  <a:lnTo>
                    <a:pt x="241" y="385"/>
                  </a:lnTo>
                  <a:lnTo>
                    <a:pt x="244" y="388"/>
                  </a:lnTo>
                  <a:lnTo>
                    <a:pt x="245" y="391"/>
                  </a:lnTo>
                  <a:lnTo>
                    <a:pt x="244" y="392"/>
                  </a:lnTo>
                  <a:lnTo>
                    <a:pt x="245" y="394"/>
                  </a:lnTo>
                  <a:lnTo>
                    <a:pt x="245" y="396"/>
                  </a:lnTo>
                  <a:lnTo>
                    <a:pt x="246" y="395"/>
                  </a:lnTo>
                  <a:lnTo>
                    <a:pt x="248" y="396"/>
                  </a:lnTo>
                  <a:lnTo>
                    <a:pt x="251" y="401"/>
                  </a:lnTo>
                  <a:lnTo>
                    <a:pt x="252" y="401"/>
                  </a:lnTo>
                  <a:lnTo>
                    <a:pt x="254" y="399"/>
                  </a:lnTo>
                  <a:lnTo>
                    <a:pt x="255" y="399"/>
                  </a:lnTo>
                  <a:lnTo>
                    <a:pt x="255" y="402"/>
                  </a:lnTo>
                  <a:lnTo>
                    <a:pt x="257" y="405"/>
                  </a:lnTo>
                  <a:lnTo>
                    <a:pt x="258" y="405"/>
                  </a:lnTo>
                  <a:lnTo>
                    <a:pt x="258" y="402"/>
                  </a:lnTo>
                  <a:lnTo>
                    <a:pt x="260" y="399"/>
                  </a:lnTo>
                  <a:lnTo>
                    <a:pt x="262" y="404"/>
                  </a:lnTo>
                  <a:lnTo>
                    <a:pt x="264" y="405"/>
                  </a:lnTo>
                  <a:lnTo>
                    <a:pt x="265" y="407"/>
                  </a:lnTo>
                  <a:lnTo>
                    <a:pt x="268" y="407"/>
                  </a:lnTo>
                  <a:lnTo>
                    <a:pt x="265" y="411"/>
                  </a:lnTo>
                  <a:lnTo>
                    <a:pt x="261" y="412"/>
                  </a:lnTo>
                  <a:lnTo>
                    <a:pt x="258" y="409"/>
                  </a:lnTo>
                  <a:lnTo>
                    <a:pt x="264" y="423"/>
                  </a:lnTo>
                  <a:lnTo>
                    <a:pt x="267" y="423"/>
                  </a:lnTo>
                  <a:lnTo>
                    <a:pt x="270" y="425"/>
                  </a:lnTo>
                  <a:lnTo>
                    <a:pt x="270" y="42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36" name="Freeform 1208"/>
            <p:cNvSpPr>
              <a:spLocks/>
            </p:cNvSpPr>
            <p:nvPr/>
          </p:nvSpPr>
          <p:spPr bwMode="auto">
            <a:xfrm>
              <a:off x="4792613" y="1450200"/>
              <a:ext cx="14922" cy="13184"/>
            </a:xfrm>
            <a:custGeom>
              <a:avLst/>
              <a:gdLst/>
              <a:ahLst/>
              <a:cxnLst>
                <a:cxn ang="0">
                  <a:pos x="9" y="1"/>
                </a:cxn>
                <a:cxn ang="0">
                  <a:pos x="13" y="0"/>
                </a:cxn>
                <a:cxn ang="0">
                  <a:pos x="16" y="3"/>
                </a:cxn>
                <a:cxn ang="0">
                  <a:pos x="12" y="7"/>
                </a:cxn>
                <a:cxn ang="0">
                  <a:pos x="4" y="12"/>
                </a:cxn>
                <a:cxn ang="0">
                  <a:pos x="0" y="10"/>
                </a:cxn>
                <a:cxn ang="0">
                  <a:pos x="0" y="9"/>
                </a:cxn>
                <a:cxn ang="0">
                  <a:pos x="3" y="7"/>
                </a:cxn>
                <a:cxn ang="0">
                  <a:pos x="7" y="1"/>
                </a:cxn>
                <a:cxn ang="0">
                  <a:pos x="9" y="1"/>
                </a:cxn>
              </a:cxnLst>
              <a:rect l="0" t="0" r="r" b="b"/>
              <a:pathLst>
                <a:path w="16" h="12">
                  <a:moveTo>
                    <a:pt x="9" y="1"/>
                  </a:moveTo>
                  <a:lnTo>
                    <a:pt x="13" y="0"/>
                  </a:lnTo>
                  <a:lnTo>
                    <a:pt x="16" y="3"/>
                  </a:lnTo>
                  <a:lnTo>
                    <a:pt x="12" y="7"/>
                  </a:lnTo>
                  <a:lnTo>
                    <a:pt x="4" y="12"/>
                  </a:lnTo>
                  <a:lnTo>
                    <a:pt x="0" y="10"/>
                  </a:lnTo>
                  <a:lnTo>
                    <a:pt x="0" y="9"/>
                  </a:lnTo>
                  <a:lnTo>
                    <a:pt x="3" y="7"/>
                  </a:lnTo>
                  <a:lnTo>
                    <a:pt x="7" y="1"/>
                  </a:lnTo>
                  <a:lnTo>
                    <a:pt x="9"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37" name="Freeform 1209"/>
            <p:cNvSpPr>
              <a:spLocks/>
            </p:cNvSpPr>
            <p:nvPr/>
          </p:nvSpPr>
          <p:spPr bwMode="auto">
            <a:xfrm>
              <a:off x="4792613" y="1450200"/>
              <a:ext cx="14922" cy="13184"/>
            </a:xfrm>
            <a:custGeom>
              <a:avLst/>
              <a:gdLst/>
              <a:ahLst/>
              <a:cxnLst>
                <a:cxn ang="0">
                  <a:pos x="9" y="1"/>
                </a:cxn>
                <a:cxn ang="0">
                  <a:pos x="13" y="0"/>
                </a:cxn>
                <a:cxn ang="0">
                  <a:pos x="16" y="3"/>
                </a:cxn>
                <a:cxn ang="0">
                  <a:pos x="12" y="7"/>
                </a:cxn>
                <a:cxn ang="0">
                  <a:pos x="4" y="12"/>
                </a:cxn>
                <a:cxn ang="0">
                  <a:pos x="0" y="10"/>
                </a:cxn>
                <a:cxn ang="0">
                  <a:pos x="0" y="9"/>
                </a:cxn>
                <a:cxn ang="0">
                  <a:pos x="3" y="7"/>
                </a:cxn>
                <a:cxn ang="0">
                  <a:pos x="7" y="1"/>
                </a:cxn>
                <a:cxn ang="0">
                  <a:pos x="9" y="1"/>
                </a:cxn>
              </a:cxnLst>
              <a:rect l="0" t="0" r="r" b="b"/>
              <a:pathLst>
                <a:path w="16" h="12">
                  <a:moveTo>
                    <a:pt x="9" y="1"/>
                  </a:moveTo>
                  <a:lnTo>
                    <a:pt x="13" y="0"/>
                  </a:lnTo>
                  <a:lnTo>
                    <a:pt x="16" y="3"/>
                  </a:lnTo>
                  <a:lnTo>
                    <a:pt x="12" y="7"/>
                  </a:lnTo>
                  <a:lnTo>
                    <a:pt x="4" y="12"/>
                  </a:lnTo>
                  <a:lnTo>
                    <a:pt x="0" y="10"/>
                  </a:lnTo>
                  <a:lnTo>
                    <a:pt x="0" y="9"/>
                  </a:lnTo>
                  <a:lnTo>
                    <a:pt x="3" y="7"/>
                  </a:lnTo>
                  <a:lnTo>
                    <a:pt x="7" y="1"/>
                  </a:lnTo>
                  <a:lnTo>
                    <a:pt x="9"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38" name="Freeform 1210"/>
            <p:cNvSpPr>
              <a:spLocks/>
            </p:cNvSpPr>
            <p:nvPr/>
          </p:nvSpPr>
          <p:spPr bwMode="auto">
            <a:xfrm>
              <a:off x="4983973" y="1875123"/>
              <a:ext cx="5267" cy="23325"/>
            </a:xfrm>
            <a:custGeom>
              <a:avLst/>
              <a:gdLst/>
              <a:ahLst/>
              <a:cxnLst>
                <a:cxn ang="0">
                  <a:pos x="4" y="3"/>
                </a:cxn>
                <a:cxn ang="0">
                  <a:pos x="4" y="2"/>
                </a:cxn>
                <a:cxn ang="0">
                  <a:pos x="6" y="18"/>
                </a:cxn>
                <a:cxn ang="0">
                  <a:pos x="6" y="22"/>
                </a:cxn>
                <a:cxn ang="0">
                  <a:pos x="3" y="21"/>
                </a:cxn>
                <a:cxn ang="0">
                  <a:pos x="0" y="18"/>
                </a:cxn>
                <a:cxn ang="0">
                  <a:pos x="0" y="3"/>
                </a:cxn>
                <a:cxn ang="0">
                  <a:pos x="2" y="0"/>
                </a:cxn>
                <a:cxn ang="0">
                  <a:pos x="4" y="3"/>
                </a:cxn>
              </a:cxnLst>
              <a:rect l="0" t="0" r="r" b="b"/>
              <a:pathLst>
                <a:path w="6" h="22">
                  <a:moveTo>
                    <a:pt x="4" y="3"/>
                  </a:moveTo>
                  <a:lnTo>
                    <a:pt x="4" y="2"/>
                  </a:lnTo>
                  <a:lnTo>
                    <a:pt x="6" y="18"/>
                  </a:lnTo>
                  <a:lnTo>
                    <a:pt x="6" y="22"/>
                  </a:lnTo>
                  <a:lnTo>
                    <a:pt x="3" y="21"/>
                  </a:lnTo>
                  <a:lnTo>
                    <a:pt x="0" y="18"/>
                  </a:lnTo>
                  <a:lnTo>
                    <a:pt x="0" y="3"/>
                  </a:lnTo>
                  <a:lnTo>
                    <a:pt x="2" y="0"/>
                  </a:lnTo>
                  <a:lnTo>
                    <a:pt x="4"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39" name="Freeform 1212"/>
            <p:cNvSpPr>
              <a:spLocks/>
            </p:cNvSpPr>
            <p:nvPr/>
          </p:nvSpPr>
          <p:spPr bwMode="auto">
            <a:xfrm>
              <a:off x="4983973" y="1875123"/>
              <a:ext cx="5267" cy="23325"/>
            </a:xfrm>
            <a:custGeom>
              <a:avLst/>
              <a:gdLst/>
              <a:ahLst/>
              <a:cxnLst>
                <a:cxn ang="0">
                  <a:pos x="4" y="3"/>
                </a:cxn>
                <a:cxn ang="0">
                  <a:pos x="4" y="2"/>
                </a:cxn>
                <a:cxn ang="0">
                  <a:pos x="6" y="18"/>
                </a:cxn>
                <a:cxn ang="0">
                  <a:pos x="6" y="22"/>
                </a:cxn>
                <a:cxn ang="0">
                  <a:pos x="3" y="21"/>
                </a:cxn>
                <a:cxn ang="0">
                  <a:pos x="0" y="18"/>
                </a:cxn>
                <a:cxn ang="0">
                  <a:pos x="0" y="3"/>
                </a:cxn>
                <a:cxn ang="0">
                  <a:pos x="2" y="0"/>
                </a:cxn>
                <a:cxn ang="0">
                  <a:pos x="4" y="3"/>
                </a:cxn>
              </a:cxnLst>
              <a:rect l="0" t="0" r="r" b="b"/>
              <a:pathLst>
                <a:path w="6" h="22">
                  <a:moveTo>
                    <a:pt x="4" y="3"/>
                  </a:moveTo>
                  <a:lnTo>
                    <a:pt x="4" y="2"/>
                  </a:lnTo>
                  <a:lnTo>
                    <a:pt x="6" y="18"/>
                  </a:lnTo>
                  <a:lnTo>
                    <a:pt x="6" y="22"/>
                  </a:lnTo>
                  <a:lnTo>
                    <a:pt x="3" y="21"/>
                  </a:lnTo>
                  <a:lnTo>
                    <a:pt x="0" y="18"/>
                  </a:lnTo>
                  <a:lnTo>
                    <a:pt x="0" y="3"/>
                  </a:lnTo>
                  <a:lnTo>
                    <a:pt x="2" y="0"/>
                  </a:lnTo>
                  <a:lnTo>
                    <a:pt x="4"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40" name="Freeform 1213"/>
            <p:cNvSpPr>
              <a:spLocks/>
            </p:cNvSpPr>
            <p:nvPr/>
          </p:nvSpPr>
          <p:spPr bwMode="auto">
            <a:xfrm>
              <a:off x="5142855" y="2074906"/>
              <a:ext cx="10534" cy="5071"/>
            </a:xfrm>
            <a:custGeom>
              <a:avLst/>
              <a:gdLst/>
              <a:ahLst/>
              <a:cxnLst>
                <a:cxn ang="0">
                  <a:pos x="12" y="2"/>
                </a:cxn>
                <a:cxn ang="0">
                  <a:pos x="10" y="0"/>
                </a:cxn>
                <a:cxn ang="0">
                  <a:pos x="12" y="2"/>
                </a:cxn>
                <a:cxn ang="0">
                  <a:pos x="12" y="3"/>
                </a:cxn>
                <a:cxn ang="0">
                  <a:pos x="10" y="3"/>
                </a:cxn>
                <a:cxn ang="0">
                  <a:pos x="7" y="5"/>
                </a:cxn>
                <a:cxn ang="0">
                  <a:pos x="3" y="3"/>
                </a:cxn>
                <a:cxn ang="0">
                  <a:pos x="0" y="2"/>
                </a:cxn>
                <a:cxn ang="0">
                  <a:pos x="3" y="2"/>
                </a:cxn>
                <a:cxn ang="0">
                  <a:pos x="4" y="2"/>
                </a:cxn>
                <a:cxn ang="0">
                  <a:pos x="10" y="2"/>
                </a:cxn>
                <a:cxn ang="0">
                  <a:pos x="12" y="2"/>
                </a:cxn>
              </a:cxnLst>
              <a:rect l="0" t="0" r="r" b="b"/>
              <a:pathLst>
                <a:path w="12" h="5">
                  <a:moveTo>
                    <a:pt x="12" y="2"/>
                  </a:moveTo>
                  <a:lnTo>
                    <a:pt x="10" y="0"/>
                  </a:lnTo>
                  <a:lnTo>
                    <a:pt x="12" y="2"/>
                  </a:lnTo>
                  <a:lnTo>
                    <a:pt x="12" y="3"/>
                  </a:lnTo>
                  <a:lnTo>
                    <a:pt x="10" y="3"/>
                  </a:lnTo>
                  <a:lnTo>
                    <a:pt x="7" y="5"/>
                  </a:lnTo>
                  <a:lnTo>
                    <a:pt x="3" y="3"/>
                  </a:lnTo>
                  <a:lnTo>
                    <a:pt x="0" y="2"/>
                  </a:lnTo>
                  <a:lnTo>
                    <a:pt x="3" y="2"/>
                  </a:lnTo>
                  <a:lnTo>
                    <a:pt x="4" y="2"/>
                  </a:lnTo>
                  <a:lnTo>
                    <a:pt x="10" y="2"/>
                  </a:lnTo>
                  <a:lnTo>
                    <a:pt x="12"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41" name="Freeform 1214"/>
            <p:cNvSpPr>
              <a:spLocks/>
            </p:cNvSpPr>
            <p:nvPr/>
          </p:nvSpPr>
          <p:spPr bwMode="auto">
            <a:xfrm>
              <a:off x="5142855" y="2074906"/>
              <a:ext cx="10534" cy="5071"/>
            </a:xfrm>
            <a:custGeom>
              <a:avLst/>
              <a:gdLst/>
              <a:ahLst/>
              <a:cxnLst>
                <a:cxn ang="0">
                  <a:pos x="12" y="2"/>
                </a:cxn>
                <a:cxn ang="0">
                  <a:pos x="10" y="0"/>
                </a:cxn>
                <a:cxn ang="0">
                  <a:pos x="12" y="2"/>
                </a:cxn>
                <a:cxn ang="0">
                  <a:pos x="12" y="3"/>
                </a:cxn>
                <a:cxn ang="0">
                  <a:pos x="10" y="3"/>
                </a:cxn>
                <a:cxn ang="0">
                  <a:pos x="7" y="5"/>
                </a:cxn>
                <a:cxn ang="0">
                  <a:pos x="3" y="3"/>
                </a:cxn>
                <a:cxn ang="0">
                  <a:pos x="0" y="2"/>
                </a:cxn>
                <a:cxn ang="0">
                  <a:pos x="3" y="2"/>
                </a:cxn>
                <a:cxn ang="0">
                  <a:pos x="4" y="2"/>
                </a:cxn>
                <a:cxn ang="0">
                  <a:pos x="10" y="2"/>
                </a:cxn>
                <a:cxn ang="0">
                  <a:pos x="12" y="2"/>
                </a:cxn>
              </a:cxnLst>
              <a:rect l="0" t="0" r="r" b="b"/>
              <a:pathLst>
                <a:path w="12" h="5">
                  <a:moveTo>
                    <a:pt x="12" y="2"/>
                  </a:moveTo>
                  <a:lnTo>
                    <a:pt x="10" y="0"/>
                  </a:lnTo>
                  <a:lnTo>
                    <a:pt x="12" y="2"/>
                  </a:lnTo>
                  <a:lnTo>
                    <a:pt x="12" y="3"/>
                  </a:lnTo>
                  <a:lnTo>
                    <a:pt x="10" y="3"/>
                  </a:lnTo>
                  <a:lnTo>
                    <a:pt x="7" y="5"/>
                  </a:lnTo>
                  <a:lnTo>
                    <a:pt x="3" y="3"/>
                  </a:lnTo>
                  <a:lnTo>
                    <a:pt x="0" y="2"/>
                  </a:lnTo>
                  <a:lnTo>
                    <a:pt x="3" y="2"/>
                  </a:lnTo>
                  <a:lnTo>
                    <a:pt x="4" y="2"/>
                  </a:lnTo>
                  <a:lnTo>
                    <a:pt x="10" y="2"/>
                  </a:lnTo>
                  <a:lnTo>
                    <a:pt x="12"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42" name="Freeform 1215"/>
            <p:cNvSpPr>
              <a:spLocks/>
            </p:cNvSpPr>
            <p:nvPr/>
          </p:nvSpPr>
          <p:spPr bwMode="auto">
            <a:xfrm>
              <a:off x="5279792" y="2485631"/>
              <a:ext cx="30723" cy="23325"/>
            </a:xfrm>
            <a:custGeom>
              <a:avLst/>
              <a:gdLst/>
              <a:ahLst/>
              <a:cxnLst>
                <a:cxn ang="0">
                  <a:pos x="29" y="16"/>
                </a:cxn>
                <a:cxn ang="0">
                  <a:pos x="31" y="15"/>
                </a:cxn>
                <a:cxn ang="0">
                  <a:pos x="34" y="15"/>
                </a:cxn>
                <a:cxn ang="0">
                  <a:pos x="32" y="13"/>
                </a:cxn>
                <a:cxn ang="0">
                  <a:pos x="27" y="13"/>
                </a:cxn>
                <a:cxn ang="0">
                  <a:pos x="21" y="15"/>
                </a:cxn>
                <a:cxn ang="0">
                  <a:pos x="11" y="10"/>
                </a:cxn>
                <a:cxn ang="0">
                  <a:pos x="9" y="12"/>
                </a:cxn>
                <a:cxn ang="0">
                  <a:pos x="8" y="10"/>
                </a:cxn>
                <a:cxn ang="0">
                  <a:pos x="5" y="6"/>
                </a:cxn>
                <a:cxn ang="0">
                  <a:pos x="6" y="3"/>
                </a:cxn>
                <a:cxn ang="0">
                  <a:pos x="6" y="0"/>
                </a:cxn>
                <a:cxn ang="0">
                  <a:pos x="0" y="6"/>
                </a:cxn>
                <a:cxn ang="0">
                  <a:pos x="0" y="9"/>
                </a:cxn>
                <a:cxn ang="0">
                  <a:pos x="5" y="10"/>
                </a:cxn>
                <a:cxn ang="0">
                  <a:pos x="5" y="12"/>
                </a:cxn>
                <a:cxn ang="0">
                  <a:pos x="6" y="13"/>
                </a:cxn>
                <a:cxn ang="0">
                  <a:pos x="9" y="15"/>
                </a:cxn>
                <a:cxn ang="0">
                  <a:pos x="9" y="16"/>
                </a:cxn>
                <a:cxn ang="0">
                  <a:pos x="15" y="19"/>
                </a:cxn>
                <a:cxn ang="0">
                  <a:pos x="18" y="19"/>
                </a:cxn>
                <a:cxn ang="0">
                  <a:pos x="18" y="17"/>
                </a:cxn>
                <a:cxn ang="0">
                  <a:pos x="19" y="17"/>
                </a:cxn>
                <a:cxn ang="0">
                  <a:pos x="21" y="17"/>
                </a:cxn>
                <a:cxn ang="0">
                  <a:pos x="21" y="20"/>
                </a:cxn>
                <a:cxn ang="0">
                  <a:pos x="22" y="22"/>
                </a:cxn>
                <a:cxn ang="0">
                  <a:pos x="25" y="22"/>
                </a:cxn>
                <a:cxn ang="0">
                  <a:pos x="28" y="22"/>
                </a:cxn>
                <a:cxn ang="0">
                  <a:pos x="28" y="20"/>
                </a:cxn>
                <a:cxn ang="0">
                  <a:pos x="28" y="17"/>
                </a:cxn>
                <a:cxn ang="0">
                  <a:pos x="29" y="16"/>
                </a:cxn>
              </a:cxnLst>
              <a:rect l="0" t="0" r="r" b="b"/>
              <a:pathLst>
                <a:path w="34" h="22">
                  <a:moveTo>
                    <a:pt x="29" y="16"/>
                  </a:moveTo>
                  <a:lnTo>
                    <a:pt x="31" y="15"/>
                  </a:lnTo>
                  <a:lnTo>
                    <a:pt x="34" y="15"/>
                  </a:lnTo>
                  <a:lnTo>
                    <a:pt x="32" y="13"/>
                  </a:lnTo>
                  <a:lnTo>
                    <a:pt x="27" y="13"/>
                  </a:lnTo>
                  <a:lnTo>
                    <a:pt x="21" y="15"/>
                  </a:lnTo>
                  <a:lnTo>
                    <a:pt x="11" y="10"/>
                  </a:lnTo>
                  <a:lnTo>
                    <a:pt x="9" y="12"/>
                  </a:lnTo>
                  <a:lnTo>
                    <a:pt x="8" y="10"/>
                  </a:lnTo>
                  <a:lnTo>
                    <a:pt x="5" y="6"/>
                  </a:lnTo>
                  <a:lnTo>
                    <a:pt x="6" y="3"/>
                  </a:lnTo>
                  <a:lnTo>
                    <a:pt x="6" y="0"/>
                  </a:lnTo>
                  <a:lnTo>
                    <a:pt x="0" y="6"/>
                  </a:lnTo>
                  <a:lnTo>
                    <a:pt x="0" y="9"/>
                  </a:lnTo>
                  <a:lnTo>
                    <a:pt x="5" y="10"/>
                  </a:lnTo>
                  <a:lnTo>
                    <a:pt x="5" y="12"/>
                  </a:lnTo>
                  <a:lnTo>
                    <a:pt x="6" y="13"/>
                  </a:lnTo>
                  <a:lnTo>
                    <a:pt x="9" y="15"/>
                  </a:lnTo>
                  <a:lnTo>
                    <a:pt x="9" y="16"/>
                  </a:lnTo>
                  <a:lnTo>
                    <a:pt x="15" y="19"/>
                  </a:lnTo>
                  <a:lnTo>
                    <a:pt x="18" y="19"/>
                  </a:lnTo>
                  <a:lnTo>
                    <a:pt x="18" y="17"/>
                  </a:lnTo>
                  <a:lnTo>
                    <a:pt x="19" y="17"/>
                  </a:lnTo>
                  <a:lnTo>
                    <a:pt x="21" y="17"/>
                  </a:lnTo>
                  <a:lnTo>
                    <a:pt x="21" y="20"/>
                  </a:lnTo>
                  <a:lnTo>
                    <a:pt x="22" y="22"/>
                  </a:lnTo>
                  <a:lnTo>
                    <a:pt x="25" y="22"/>
                  </a:lnTo>
                  <a:lnTo>
                    <a:pt x="28" y="22"/>
                  </a:lnTo>
                  <a:lnTo>
                    <a:pt x="28" y="20"/>
                  </a:lnTo>
                  <a:lnTo>
                    <a:pt x="28" y="17"/>
                  </a:lnTo>
                  <a:lnTo>
                    <a:pt x="29" y="1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43" name="Freeform 1216"/>
            <p:cNvSpPr>
              <a:spLocks/>
            </p:cNvSpPr>
            <p:nvPr/>
          </p:nvSpPr>
          <p:spPr bwMode="auto">
            <a:xfrm>
              <a:off x="5279792" y="2485631"/>
              <a:ext cx="30723" cy="23325"/>
            </a:xfrm>
            <a:custGeom>
              <a:avLst/>
              <a:gdLst/>
              <a:ahLst/>
              <a:cxnLst>
                <a:cxn ang="0">
                  <a:pos x="29" y="16"/>
                </a:cxn>
                <a:cxn ang="0">
                  <a:pos x="31" y="15"/>
                </a:cxn>
                <a:cxn ang="0">
                  <a:pos x="34" y="15"/>
                </a:cxn>
                <a:cxn ang="0">
                  <a:pos x="32" y="13"/>
                </a:cxn>
                <a:cxn ang="0">
                  <a:pos x="27" y="13"/>
                </a:cxn>
                <a:cxn ang="0">
                  <a:pos x="21" y="15"/>
                </a:cxn>
                <a:cxn ang="0">
                  <a:pos x="11" y="10"/>
                </a:cxn>
                <a:cxn ang="0">
                  <a:pos x="9" y="12"/>
                </a:cxn>
                <a:cxn ang="0">
                  <a:pos x="8" y="10"/>
                </a:cxn>
                <a:cxn ang="0">
                  <a:pos x="5" y="6"/>
                </a:cxn>
                <a:cxn ang="0">
                  <a:pos x="6" y="3"/>
                </a:cxn>
                <a:cxn ang="0">
                  <a:pos x="6" y="0"/>
                </a:cxn>
                <a:cxn ang="0">
                  <a:pos x="0" y="6"/>
                </a:cxn>
                <a:cxn ang="0">
                  <a:pos x="0" y="9"/>
                </a:cxn>
                <a:cxn ang="0">
                  <a:pos x="5" y="10"/>
                </a:cxn>
                <a:cxn ang="0">
                  <a:pos x="5" y="12"/>
                </a:cxn>
                <a:cxn ang="0">
                  <a:pos x="6" y="13"/>
                </a:cxn>
                <a:cxn ang="0">
                  <a:pos x="9" y="15"/>
                </a:cxn>
                <a:cxn ang="0">
                  <a:pos x="9" y="16"/>
                </a:cxn>
                <a:cxn ang="0">
                  <a:pos x="15" y="19"/>
                </a:cxn>
                <a:cxn ang="0">
                  <a:pos x="18" y="19"/>
                </a:cxn>
                <a:cxn ang="0">
                  <a:pos x="18" y="17"/>
                </a:cxn>
                <a:cxn ang="0">
                  <a:pos x="19" y="17"/>
                </a:cxn>
                <a:cxn ang="0">
                  <a:pos x="21" y="17"/>
                </a:cxn>
                <a:cxn ang="0">
                  <a:pos x="21" y="20"/>
                </a:cxn>
                <a:cxn ang="0">
                  <a:pos x="22" y="22"/>
                </a:cxn>
                <a:cxn ang="0">
                  <a:pos x="25" y="22"/>
                </a:cxn>
                <a:cxn ang="0">
                  <a:pos x="28" y="22"/>
                </a:cxn>
                <a:cxn ang="0">
                  <a:pos x="28" y="20"/>
                </a:cxn>
                <a:cxn ang="0">
                  <a:pos x="28" y="17"/>
                </a:cxn>
                <a:cxn ang="0">
                  <a:pos x="29" y="16"/>
                </a:cxn>
              </a:cxnLst>
              <a:rect l="0" t="0" r="r" b="b"/>
              <a:pathLst>
                <a:path w="34" h="22">
                  <a:moveTo>
                    <a:pt x="29" y="16"/>
                  </a:moveTo>
                  <a:lnTo>
                    <a:pt x="31" y="15"/>
                  </a:lnTo>
                  <a:lnTo>
                    <a:pt x="34" y="15"/>
                  </a:lnTo>
                  <a:lnTo>
                    <a:pt x="32" y="13"/>
                  </a:lnTo>
                  <a:lnTo>
                    <a:pt x="27" y="13"/>
                  </a:lnTo>
                  <a:lnTo>
                    <a:pt x="21" y="15"/>
                  </a:lnTo>
                  <a:lnTo>
                    <a:pt x="11" y="10"/>
                  </a:lnTo>
                  <a:lnTo>
                    <a:pt x="9" y="12"/>
                  </a:lnTo>
                  <a:lnTo>
                    <a:pt x="8" y="10"/>
                  </a:lnTo>
                  <a:lnTo>
                    <a:pt x="5" y="6"/>
                  </a:lnTo>
                  <a:lnTo>
                    <a:pt x="6" y="3"/>
                  </a:lnTo>
                  <a:lnTo>
                    <a:pt x="6" y="0"/>
                  </a:lnTo>
                  <a:lnTo>
                    <a:pt x="0" y="6"/>
                  </a:lnTo>
                  <a:lnTo>
                    <a:pt x="0" y="9"/>
                  </a:lnTo>
                  <a:lnTo>
                    <a:pt x="5" y="10"/>
                  </a:lnTo>
                  <a:lnTo>
                    <a:pt x="5" y="12"/>
                  </a:lnTo>
                  <a:lnTo>
                    <a:pt x="6" y="13"/>
                  </a:lnTo>
                  <a:lnTo>
                    <a:pt x="9" y="15"/>
                  </a:lnTo>
                  <a:lnTo>
                    <a:pt x="9" y="16"/>
                  </a:lnTo>
                  <a:lnTo>
                    <a:pt x="15" y="19"/>
                  </a:lnTo>
                  <a:lnTo>
                    <a:pt x="18" y="19"/>
                  </a:lnTo>
                  <a:lnTo>
                    <a:pt x="18" y="17"/>
                  </a:lnTo>
                  <a:lnTo>
                    <a:pt x="19" y="17"/>
                  </a:lnTo>
                  <a:lnTo>
                    <a:pt x="21" y="17"/>
                  </a:lnTo>
                  <a:lnTo>
                    <a:pt x="21" y="20"/>
                  </a:lnTo>
                  <a:lnTo>
                    <a:pt x="22" y="22"/>
                  </a:lnTo>
                  <a:lnTo>
                    <a:pt x="25" y="22"/>
                  </a:lnTo>
                  <a:lnTo>
                    <a:pt x="28" y="22"/>
                  </a:lnTo>
                  <a:lnTo>
                    <a:pt x="28" y="20"/>
                  </a:lnTo>
                  <a:lnTo>
                    <a:pt x="28" y="17"/>
                  </a:lnTo>
                  <a:lnTo>
                    <a:pt x="29" y="1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44" name="Freeform 1217"/>
            <p:cNvSpPr>
              <a:spLocks/>
            </p:cNvSpPr>
            <p:nvPr/>
          </p:nvSpPr>
          <p:spPr bwMode="auto">
            <a:xfrm>
              <a:off x="5389517" y="2334525"/>
              <a:ext cx="877" cy="1015"/>
            </a:xfrm>
            <a:custGeom>
              <a:avLst/>
              <a:gdLst/>
              <a:ahLst/>
              <a:cxnLst>
                <a:cxn ang="0">
                  <a:pos x="0" y="0"/>
                </a:cxn>
                <a:cxn ang="0">
                  <a:pos x="0" y="0"/>
                </a:cxn>
                <a:cxn ang="0">
                  <a:pos x="1" y="1"/>
                </a:cxn>
                <a:cxn ang="0">
                  <a:pos x="0" y="0"/>
                </a:cxn>
              </a:cxnLst>
              <a:rect l="0" t="0" r="r" b="b"/>
              <a:pathLst>
                <a:path w="1" h="1">
                  <a:moveTo>
                    <a:pt x="0" y="0"/>
                  </a:moveTo>
                  <a:lnTo>
                    <a:pt x="0" y="0"/>
                  </a:lnTo>
                  <a:lnTo>
                    <a:pt x="1" y="1"/>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45" name="Freeform 1218"/>
            <p:cNvSpPr>
              <a:spLocks/>
            </p:cNvSpPr>
            <p:nvPr/>
          </p:nvSpPr>
          <p:spPr bwMode="auto">
            <a:xfrm>
              <a:off x="5389517" y="2334525"/>
              <a:ext cx="877" cy="1015"/>
            </a:xfrm>
            <a:custGeom>
              <a:avLst/>
              <a:gdLst/>
              <a:ahLst/>
              <a:cxnLst>
                <a:cxn ang="0">
                  <a:pos x="0" y="0"/>
                </a:cxn>
                <a:cxn ang="0">
                  <a:pos x="0" y="0"/>
                </a:cxn>
                <a:cxn ang="0">
                  <a:pos x="1" y="1"/>
                </a:cxn>
                <a:cxn ang="0">
                  <a:pos x="0" y="0"/>
                </a:cxn>
              </a:cxnLst>
              <a:rect l="0" t="0" r="r" b="b"/>
              <a:pathLst>
                <a:path w="1" h="1">
                  <a:moveTo>
                    <a:pt x="0" y="0"/>
                  </a:moveTo>
                  <a:lnTo>
                    <a:pt x="0" y="0"/>
                  </a:lnTo>
                  <a:lnTo>
                    <a:pt x="1" y="1"/>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46" name="Freeform 1221"/>
            <p:cNvSpPr>
              <a:spLocks/>
            </p:cNvSpPr>
            <p:nvPr/>
          </p:nvSpPr>
          <p:spPr bwMode="auto">
            <a:xfrm>
              <a:off x="5319292" y="2486645"/>
              <a:ext cx="21067" cy="31439"/>
            </a:xfrm>
            <a:custGeom>
              <a:avLst/>
              <a:gdLst/>
              <a:ahLst/>
              <a:cxnLst>
                <a:cxn ang="0">
                  <a:pos x="21" y="16"/>
                </a:cxn>
                <a:cxn ang="0">
                  <a:pos x="18" y="15"/>
                </a:cxn>
                <a:cxn ang="0">
                  <a:pos x="17" y="19"/>
                </a:cxn>
                <a:cxn ang="0">
                  <a:pos x="17" y="16"/>
                </a:cxn>
                <a:cxn ang="0">
                  <a:pos x="11" y="19"/>
                </a:cxn>
                <a:cxn ang="0">
                  <a:pos x="10" y="18"/>
                </a:cxn>
                <a:cxn ang="0">
                  <a:pos x="13" y="15"/>
                </a:cxn>
                <a:cxn ang="0">
                  <a:pos x="11" y="14"/>
                </a:cxn>
                <a:cxn ang="0">
                  <a:pos x="14" y="3"/>
                </a:cxn>
                <a:cxn ang="0">
                  <a:pos x="14" y="2"/>
                </a:cxn>
                <a:cxn ang="0">
                  <a:pos x="13" y="0"/>
                </a:cxn>
                <a:cxn ang="0">
                  <a:pos x="11" y="0"/>
                </a:cxn>
                <a:cxn ang="0">
                  <a:pos x="11" y="0"/>
                </a:cxn>
                <a:cxn ang="0">
                  <a:pos x="10" y="0"/>
                </a:cxn>
                <a:cxn ang="0">
                  <a:pos x="10" y="2"/>
                </a:cxn>
                <a:cxn ang="0">
                  <a:pos x="0" y="18"/>
                </a:cxn>
                <a:cxn ang="0">
                  <a:pos x="0" y="25"/>
                </a:cxn>
                <a:cxn ang="0">
                  <a:pos x="1" y="28"/>
                </a:cxn>
                <a:cxn ang="0">
                  <a:pos x="4" y="30"/>
                </a:cxn>
                <a:cxn ang="0">
                  <a:pos x="7" y="28"/>
                </a:cxn>
                <a:cxn ang="0">
                  <a:pos x="13" y="28"/>
                </a:cxn>
                <a:cxn ang="0">
                  <a:pos x="17" y="27"/>
                </a:cxn>
                <a:cxn ang="0">
                  <a:pos x="20" y="22"/>
                </a:cxn>
                <a:cxn ang="0">
                  <a:pos x="23" y="22"/>
                </a:cxn>
                <a:cxn ang="0">
                  <a:pos x="23" y="21"/>
                </a:cxn>
                <a:cxn ang="0">
                  <a:pos x="21" y="21"/>
                </a:cxn>
                <a:cxn ang="0">
                  <a:pos x="21" y="16"/>
                </a:cxn>
              </a:cxnLst>
              <a:rect l="0" t="0" r="r" b="b"/>
              <a:pathLst>
                <a:path w="23" h="30">
                  <a:moveTo>
                    <a:pt x="21" y="16"/>
                  </a:moveTo>
                  <a:lnTo>
                    <a:pt x="18" y="15"/>
                  </a:lnTo>
                  <a:lnTo>
                    <a:pt x="17" y="19"/>
                  </a:lnTo>
                  <a:lnTo>
                    <a:pt x="17" y="16"/>
                  </a:lnTo>
                  <a:lnTo>
                    <a:pt x="11" y="19"/>
                  </a:lnTo>
                  <a:lnTo>
                    <a:pt x="10" y="18"/>
                  </a:lnTo>
                  <a:lnTo>
                    <a:pt x="13" y="15"/>
                  </a:lnTo>
                  <a:lnTo>
                    <a:pt x="11" y="14"/>
                  </a:lnTo>
                  <a:lnTo>
                    <a:pt x="14" y="3"/>
                  </a:lnTo>
                  <a:lnTo>
                    <a:pt x="14" y="2"/>
                  </a:lnTo>
                  <a:lnTo>
                    <a:pt x="13" y="0"/>
                  </a:lnTo>
                  <a:lnTo>
                    <a:pt x="11" y="0"/>
                  </a:lnTo>
                  <a:lnTo>
                    <a:pt x="11" y="0"/>
                  </a:lnTo>
                  <a:lnTo>
                    <a:pt x="10" y="0"/>
                  </a:lnTo>
                  <a:lnTo>
                    <a:pt x="10" y="2"/>
                  </a:lnTo>
                  <a:lnTo>
                    <a:pt x="0" y="18"/>
                  </a:lnTo>
                  <a:lnTo>
                    <a:pt x="0" y="25"/>
                  </a:lnTo>
                  <a:lnTo>
                    <a:pt x="1" y="28"/>
                  </a:lnTo>
                  <a:lnTo>
                    <a:pt x="4" y="30"/>
                  </a:lnTo>
                  <a:lnTo>
                    <a:pt x="7" y="28"/>
                  </a:lnTo>
                  <a:lnTo>
                    <a:pt x="13" y="28"/>
                  </a:lnTo>
                  <a:lnTo>
                    <a:pt x="17" y="27"/>
                  </a:lnTo>
                  <a:lnTo>
                    <a:pt x="20" y="22"/>
                  </a:lnTo>
                  <a:lnTo>
                    <a:pt x="23" y="22"/>
                  </a:lnTo>
                  <a:lnTo>
                    <a:pt x="23" y="21"/>
                  </a:lnTo>
                  <a:lnTo>
                    <a:pt x="21" y="21"/>
                  </a:lnTo>
                  <a:lnTo>
                    <a:pt x="21" y="1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47" name="Freeform 1222"/>
            <p:cNvSpPr>
              <a:spLocks/>
            </p:cNvSpPr>
            <p:nvPr/>
          </p:nvSpPr>
          <p:spPr bwMode="auto">
            <a:xfrm>
              <a:off x="5319292" y="2486645"/>
              <a:ext cx="21067" cy="31439"/>
            </a:xfrm>
            <a:custGeom>
              <a:avLst/>
              <a:gdLst/>
              <a:ahLst/>
              <a:cxnLst>
                <a:cxn ang="0">
                  <a:pos x="21" y="16"/>
                </a:cxn>
                <a:cxn ang="0">
                  <a:pos x="18" y="15"/>
                </a:cxn>
                <a:cxn ang="0">
                  <a:pos x="17" y="19"/>
                </a:cxn>
                <a:cxn ang="0">
                  <a:pos x="17" y="16"/>
                </a:cxn>
                <a:cxn ang="0">
                  <a:pos x="11" y="19"/>
                </a:cxn>
                <a:cxn ang="0">
                  <a:pos x="10" y="18"/>
                </a:cxn>
                <a:cxn ang="0">
                  <a:pos x="13" y="15"/>
                </a:cxn>
                <a:cxn ang="0">
                  <a:pos x="11" y="14"/>
                </a:cxn>
                <a:cxn ang="0">
                  <a:pos x="14" y="3"/>
                </a:cxn>
                <a:cxn ang="0">
                  <a:pos x="14" y="2"/>
                </a:cxn>
                <a:cxn ang="0">
                  <a:pos x="13" y="0"/>
                </a:cxn>
                <a:cxn ang="0">
                  <a:pos x="11" y="0"/>
                </a:cxn>
                <a:cxn ang="0">
                  <a:pos x="11" y="0"/>
                </a:cxn>
                <a:cxn ang="0">
                  <a:pos x="10" y="0"/>
                </a:cxn>
                <a:cxn ang="0">
                  <a:pos x="10" y="2"/>
                </a:cxn>
                <a:cxn ang="0">
                  <a:pos x="0" y="18"/>
                </a:cxn>
                <a:cxn ang="0">
                  <a:pos x="0" y="25"/>
                </a:cxn>
                <a:cxn ang="0">
                  <a:pos x="1" y="28"/>
                </a:cxn>
                <a:cxn ang="0">
                  <a:pos x="4" y="30"/>
                </a:cxn>
                <a:cxn ang="0">
                  <a:pos x="7" y="28"/>
                </a:cxn>
                <a:cxn ang="0">
                  <a:pos x="13" y="28"/>
                </a:cxn>
                <a:cxn ang="0">
                  <a:pos x="17" y="27"/>
                </a:cxn>
                <a:cxn ang="0">
                  <a:pos x="20" y="22"/>
                </a:cxn>
                <a:cxn ang="0">
                  <a:pos x="23" y="22"/>
                </a:cxn>
                <a:cxn ang="0">
                  <a:pos x="23" y="21"/>
                </a:cxn>
                <a:cxn ang="0">
                  <a:pos x="21" y="21"/>
                </a:cxn>
                <a:cxn ang="0">
                  <a:pos x="21" y="16"/>
                </a:cxn>
              </a:cxnLst>
              <a:rect l="0" t="0" r="r" b="b"/>
              <a:pathLst>
                <a:path w="23" h="30">
                  <a:moveTo>
                    <a:pt x="21" y="16"/>
                  </a:moveTo>
                  <a:lnTo>
                    <a:pt x="18" y="15"/>
                  </a:lnTo>
                  <a:lnTo>
                    <a:pt x="17" y="19"/>
                  </a:lnTo>
                  <a:lnTo>
                    <a:pt x="17" y="16"/>
                  </a:lnTo>
                  <a:lnTo>
                    <a:pt x="11" y="19"/>
                  </a:lnTo>
                  <a:lnTo>
                    <a:pt x="10" y="18"/>
                  </a:lnTo>
                  <a:lnTo>
                    <a:pt x="13" y="15"/>
                  </a:lnTo>
                  <a:lnTo>
                    <a:pt x="11" y="14"/>
                  </a:lnTo>
                  <a:lnTo>
                    <a:pt x="14" y="3"/>
                  </a:lnTo>
                  <a:lnTo>
                    <a:pt x="14" y="2"/>
                  </a:lnTo>
                  <a:lnTo>
                    <a:pt x="13" y="0"/>
                  </a:lnTo>
                  <a:lnTo>
                    <a:pt x="11" y="0"/>
                  </a:lnTo>
                  <a:lnTo>
                    <a:pt x="11" y="0"/>
                  </a:lnTo>
                  <a:lnTo>
                    <a:pt x="10" y="0"/>
                  </a:lnTo>
                  <a:lnTo>
                    <a:pt x="10" y="2"/>
                  </a:lnTo>
                  <a:lnTo>
                    <a:pt x="0" y="18"/>
                  </a:lnTo>
                  <a:lnTo>
                    <a:pt x="0" y="25"/>
                  </a:lnTo>
                  <a:lnTo>
                    <a:pt x="1" y="28"/>
                  </a:lnTo>
                  <a:lnTo>
                    <a:pt x="4" y="30"/>
                  </a:lnTo>
                  <a:lnTo>
                    <a:pt x="7" y="28"/>
                  </a:lnTo>
                  <a:lnTo>
                    <a:pt x="13" y="28"/>
                  </a:lnTo>
                  <a:lnTo>
                    <a:pt x="17" y="27"/>
                  </a:lnTo>
                  <a:lnTo>
                    <a:pt x="20" y="22"/>
                  </a:lnTo>
                  <a:lnTo>
                    <a:pt x="23" y="22"/>
                  </a:lnTo>
                  <a:lnTo>
                    <a:pt x="23" y="21"/>
                  </a:lnTo>
                  <a:lnTo>
                    <a:pt x="21" y="21"/>
                  </a:lnTo>
                  <a:lnTo>
                    <a:pt x="21" y="1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48" name="Freeform 1223"/>
            <p:cNvSpPr>
              <a:spLocks/>
            </p:cNvSpPr>
            <p:nvPr/>
          </p:nvSpPr>
          <p:spPr bwMode="auto">
            <a:xfrm>
              <a:off x="6258540" y="1209852"/>
              <a:ext cx="139570" cy="254547"/>
            </a:xfrm>
            <a:custGeom>
              <a:avLst/>
              <a:gdLst/>
              <a:ahLst/>
              <a:cxnLst>
                <a:cxn ang="0">
                  <a:pos x="72" y="35"/>
                </a:cxn>
                <a:cxn ang="0">
                  <a:pos x="79" y="86"/>
                </a:cxn>
                <a:cxn ang="0">
                  <a:pos x="68" y="64"/>
                </a:cxn>
                <a:cxn ang="0">
                  <a:pos x="48" y="31"/>
                </a:cxn>
                <a:cxn ang="0">
                  <a:pos x="43" y="54"/>
                </a:cxn>
                <a:cxn ang="0">
                  <a:pos x="36" y="42"/>
                </a:cxn>
                <a:cxn ang="0">
                  <a:pos x="29" y="33"/>
                </a:cxn>
                <a:cxn ang="0">
                  <a:pos x="45" y="23"/>
                </a:cxn>
                <a:cxn ang="0">
                  <a:pos x="24" y="20"/>
                </a:cxn>
                <a:cxn ang="0">
                  <a:pos x="18" y="28"/>
                </a:cxn>
                <a:cxn ang="0">
                  <a:pos x="5" y="23"/>
                </a:cxn>
                <a:cxn ang="0">
                  <a:pos x="4" y="36"/>
                </a:cxn>
                <a:cxn ang="0">
                  <a:pos x="3" y="54"/>
                </a:cxn>
                <a:cxn ang="0">
                  <a:pos x="8" y="73"/>
                </a:cxn>
                <a:cxn ang="0">
                  <a:pos x="17" y="60"/>
                </a:cxn>
                <a:cxn ang="0">
                  <a:pos x="14" y="73"/>
                </a:cxn>
                <a:cxn ang="0">
                  <a:pos x="23" y="87"/>
                </a:cxn>
                <a:cxn ang="0">
                  <a:pos x="14" y="94"/>
                </a:cxn>
                <a:cxn ang="0">
                  <a:pos x="33" y="113"/>
                </a:cxn>
                <a:cxn ang="0">
                  <a:pos x="27" y="125"/>
                </a:cxn>
                <a:cxn ang="0">
                  <a:pos x="37" y="137"/>
                </a:cxn>
                <a:cxn ang="0">
                  <a:pos x="49" y="131"/>
                </a:cxn>
                <a:cxn ang="0">
                  <a:pos x="55" y="119"/>
                </a:cxn>
                <a:cxn ang="0">
                  <a:pos x="62" y="109"/>
                </a:cxn>
                <a:cxn ang="0">
                  <a:pos x="66" y="116"/>
                </a:cxn>
                <a:cxn ang="0">
                  <a:pos x="81" y="103"/>
                </a:cxn>
                <a:cxn ang="0">
                  <a:pos x="82" y="110"/>
                </a:cxn>
                <a:cxn ang="0">
                  <a:pos x="87" y="124"/>
                </a:cxn>
                <a:cxn ang="0">
                  <a:pos x="87" y="126"/>
                </a:cxn>
                <a:cxn ang="0">
                  <a:pos x="69" y="137"/>
                </a:cxn>
                <a:cxn ang="0">
                  <a:pos x="62" y="145"/>
                </a:cxn>
                <a:cxn ang="0">
                  <a:pos x="48" y="153"/>
                </a:cxn>
                <a:cxn ang="0">
                  <a:pos x="43" y="169"/>
                </a:cxn>
                <a:cxn ang="0">
                  <a:pos x="56" y="166"/>
                </a:cxn>
                <a:cxn ang="0">
                  <a:pos x="68" y="163"/>
                </a:cxn>
                <a:cxn ang="0">
                  <a:pos x="87" y="157"/>
                </a:cxn>
                <a:cxn ang="0">
                  <a:pos x="81" y="166"/>
                </a:cxn>
                <a:cxn ang="0">
                  <a:pos x="61" y="174"/>
                </a:cxn>
                <a:cxn ang="0">
                  <a:pos x="66" y="183"/>
                </a:cxn>
                <a:cxn ang="0">
                  <a:pos x="55" y="180"/>
                </a:cxn>
                <a:cxn ang="0">
                  <a:pos x="52" y="206"/>
                </a:cxn>
                <a:cxn ang="0">
                  <a:pos x="71" y="217"/>
                </a:cxn>
                <a:cxn ang="0">
                  <a:pos x="78" y="222"/>
                </a:cxn>
                <a:cxn ang="0">
                  <a:pos x="79" y="244"/>
                </a:cxn>
                <a:cxn ang="0">
                  <a:pos x="90" y="237"/>
                </a:cxn>
                <a:cxn ang="0">
                  <a:pos x="94" y="219"/>
                </a:cxn>
                <a:cxn ang="0">
                  <a:pos x="98" y="193"/>
                </a:cxn>
                <a:cxn ang="0">
                  <a:pos x="107" y="186"/>
                </a:cxn>
                <a:cxn ang="0">
                  <a:pos x="110" y="150"/>
                </a:cxn>
                <a:cxn ang="0">
                  <a:pos x="119" y="132"/>
                </a:cxn>
                <a:cxn ang="0">
                  <a:pos x="126" y="113"/>
                </a:cxn>
                <a:cxn ang="0">
                  <a:pos x="148" y="105"/>
                </a:cxn>
                <a:cxn ang="0">
                  <a:pos x="138" y="86"/>
                </a:cxn>
                <a:cxn ang="0">
                  <a:pos x="114" y="61"/>
                </a:cxn>
                <a:cxn ang="0">
                  <a:pos x="107" y="32"/>
                </a:cxn>
                <a:cxn ang="0">
                  <a:pos x="97" y="51"/>
                </a:cxn>
                <a:cxn ang="0">
                  <a:pos x="100" y="36"/>
                </a:cxn>
                <a:cxn ang="0">
                  <a:pos x="87" y="13"/>
                </a:cxn>
                <a:cxn ang="0">
                  <a:pos x="75" y="6"/>
                </a:cxn>
              </a:cxnLst>
              <a:rect l="0" t="0" r="r" b="b"/>
              <a:pathLst>
                <a:path w="152" h="244">
                  <a:moveTo>
                    <a:pt x="75" y="6"/>
                  </a:moveTo>
                  <a:lnTo>
                    <a:pt x="74" y="9"/>
                  </a:lnTo>
                  <a:lnTo>
                    <a:pt x="75" y="12"/>
                  </a:lnTo>
                  <a:lnTo>
                    <a:pt x="72" y="12"/>
                  </a:lnTo>
                  <a:lnTo>
                    <a:pt x="71" y="26"/>
                  </a:lnTo>
                  <a:lnTo>
                    <a:pt x="72" y="26"/>
                  </a:lnTo>
                  <a:lnTo>
                    <a:pt x="72" y="35"/>
                  </a:lnTo>
                  <a:lnTo>
                    <a:pt x="72" y="36"/>
                  </a:lnTo>
                  <a:lnTo>
                    <a:pt x="74" y="60"/>
                  </a:lnTo>
                  <a:lnTo>
                    <a:pt x="75" y="61"/>
                  </a:lnTo>
                  <a:lnTo>
                    <a:pt x="75" y="68"/>
                  </a:lnTo>
                  <a:lnTo>
                    <a:pt x="82" y="84"/>
                  </a:lnTo>
                  <a:lnTo>
                    <a:pt x="81" y="86"/>
                  </a:lnTo>
                  <a:lnTo>
                    <a:pt x="79" y="86"/>
                  </a:lnTo>
                  <a:lnTo>
                    <a:pt x="77" y="81"/>
                  </a:lnTo>
                  <a:lnTo>
                    <a:pt x="69" y="67"/>
                  </a:lnTo>
                  <a:lnTo>
                    <a:pt x="68" y="67"/>
                  </a:lnTo>
                  <a:lnTo>
                    <a:pt x="68" y="68"/>
                  </a:lnTo>
                  <a:lnTo>
                    <a:pt x="66" y="68"/>
                  </a:lnTo>
                  <a:lnTo>
                    <a:pt x="66" y="68"/>
                  </a:lnTo>
                  <a:lnTo>
                    <a:pt x="68" y="64"/>
                  </a:lnTo>
                  <a:lnTo>
                    <a:pt x="63" y="28"/>
                  </a:lnTo>
                  <a:lnTo>
                    <a:pt x="62" y="26"/>
                  </a:lnTo>
                  <a:lnTo>
                    <a:pt x="61" y="23"/>
                  </a:lnTo>
                  <a:lnTo>
                    <a:pt x="58" y="22"/>
                  </a:lnTo>
                  <a:lnTo>
                    <a:pt x="53" y="19"/>
                  </a:lnTo>
                  <a:lnTo>
                    <a:pt x="50" y="28"/>
                  </a:lnTo>
                  <a:lnTo>
                    <a:pt x="48" y="31"/>
                  </a:lnTo>
                  <a:lnTo>
                    <a:pt x="48" y="32"/>
                  </a:lnTo>
                  <a:lnTo>
                    <a:pt x="45" y="35"/>
                  </a:lnTo>
                  <a:lnTo>
                    <a:pt x="45" y="39"/>
                  </a:lnTo>
                  <a:lnTo>
                    <a:pt x="49" y="61"/>
                  </a:lnTo>
                  <a:lnTo>
                    <a:pt x="50" y="64"/>
                  </a:lnTo>
                  <a:lnTo>
                    <a:pt x="48" y="62"/>
                  </a:lnTo>
                  <a:lnTo>
                    <a:pt x="43" y="54"/>
                  </a:lnTo>
                  <a:lnTo>
                    <a:pt x="42" y="48"/>
                  </a:lnTo>
                  <a:lnTo>
                    <a:pt x="39" y="44"/>
                  </a:lnTo>
                  <a:lnTo>
                    <a:pt x="39" y="46"/>
                  </a:lnTo>
                  <a:lnTo>
                    <a:pt x="37" y="51"/>
                  </a:lnTo>
                  <a:lnTo>
                    <a:pt x="36" y="48"/>
                  </a:lnTo>
                  <a:lnTo>
                    <a:pt x="36" y="45"/>
                  </a:lnTo>
                  <a:lnTo>
                    <a:pt x="36" y="42"/>
                  </a:lnTo>
                  <a:lnTo>
                    <a:pt x="37" y="41"/>
                  </a:lnTo>
                  <a:lnTo>
                    <a:pt x="39" y="36"/>
                  </a:lnTo>
                  <a:lnTo>
                    <a:pt x="34" y="36"/>
                  </a:lnTo>
                  <a:lnTo>
                    <a:pt x="27" y="39"/>
                  </a:lnTo>
                  <a:lnTo>
                    <a:pt x="23" y="38"/>
                  </a:lnTo>
                  <a:lnTo>
                    <a:pt x="24" y="35"/>
                  </a:lnTo>
                  <a:lnTo>
                    <a:pt x="29" y="33"/>
                  </a:lnTo>
                  <a:lnTo>
                    <a:pt x="32" y="29"/>
                  </a:lnTo>
                  <a:lnTo>
                    <a:pt x="33" y="28"/>
                  </a:lnTo>
                  <a:lnTo>
                    <a:pt x="36" y="28"/>
                  </a:lnTo>
                  <a:lnTo>
                    <a:pt x="37" y="25"/>
                  </a:lnTo>
                  <a:lnTo>
                    <a:pt x="39" y="28"/>
                  </a:lnTo>
                  <a:lnTo>
                    <a:pt x="43" y="26"/>
                  </a:lnTo>
                  <a:lnTo>
                    <a:pt x="45" y="23"/>
                  </a:lnTo>
                  <a:lnTo>
                    <a:pt x="45" y="20"/>
                  </a:lnTo>
                  <a:lnTo>
                    <a:pt x="43" y="15"/>
                  </a:lnTo>
                  <a:lnTo>
                    <a:pt x="40" y="15"/>
                  </a:lnTo>
                  <a:lnTo>
                    <a:pt x="36" y="16"/>
                  </a:lnTo>
                  <a:lnTo>
                    <a:pt x="32" y="20"/>
                  </a:lnTo>
                  <a:lnTo>
                    <a:pt x="26" y="22"/>
                  </a:lnTo>
                  <a:lnTo>
                    <a:pt x="24" y="20"/>
                  </a:lnTo>
                  <a:lnTo>
                    <a:pt x="23" y="20"/>
                  </a:lnTo>
                  <a:lnTo>
                    <a:pt x="23" y="15"/>
                  </a:lnTo>
                  <a:lnTo>
                    <a:pt x="20" y="16"/>
                  </a:lnTo>
                  <a:lnTo>
                    <a:pt x="21" y="28"/>
                  </a:lnTo>
                  <a:lnTo>
                    <a:pt x="20" y="28"/>
                  </a:lnTo>
                  <a:lnTo>
                    <a:pt x="20" y="26"/>
                  </a:lnTo>
                  <a:lnTo>
                    <a:pt x="18" y="28"/>
                  </a:lnTo>
                  <a:lnTo>
                    <a:pt x="13" y="16"/>
                  </a:lnTo>
                  <a:lnTo>
                    <a:pt x="11" y="17"/>
                  </a:lnTo>
                  <a:lnTo>
                    <a:pt x="11" y="20"/>
                  </a:lnTo>
                  <a:lnTo>
                    <a:pt x="10" y="23"/>
                  </a:lnTo>
                  <a:lnTo>
                    <a:pt x="7" y="20"/>
                  </a:lnTo>
                  <a:lnTo>
                    <a:pt x="5" y="22"/>
                  </a:lnTo>
                  <a:lnTo>
                    <a:pt x="5" y="23"/>
                  </a:lnTo>
                  <a:lnTo>
                    <a:pt x="8" y="31"/>
                  </a:lnTo>
                  <a:lnTo>
                    <a:pt x="8" y="32"/>
                  </a:lnTo>
                  <a:lnTo>
                    <a:pt x="4" y="32"/>
                  </a:lnTo>
                  <a:lnTo>
                    <a:pt x="3" y="26"/>
                  </a:lnTo>
                  <a:lnTo>
                    <a:pt x="1" y="26"/>
                  </a:lnTo>
                  <a:lnTo>
                    <a:pt x="1" y="32"/>
                  </a:lnTo>
                  <a:lnTo>
                    <a:pt x="4" y="36"/>
                  </a:lnTo>
                  <a:lnTo>
                    <a:pt x="4" y="41"/>
                  </a:lnTo>
                  <a:lnTo>
                    <a:pt x="1" y="39"/>
                  </a:lnTo>
                  <a:lnTo>
                    <a:pt x="0" y="39"/>
                  </a:lnTo>
                  <a:lnTo>
                    <a:pt x="0" y="42"/>
                  </a:lnTo>
                  <a:lnTo>
                    <a:pt x="1" y="44"/>
                  </a:lnTo>
                  <a:lnTo>
                    <a:pt x="1" y="57"/>
                  </a:lnTo>
                  <a:lnTo>
                    <a:pt x="3" y="54"/>
                  </a:lnTo>
                  <a:lnTo>
                    <a:pt x="4" y="62"/>
                  </a:lnTo>
                  <a:lnTo>
                    <a:pt x="4" y="58"/>
                  </a:lnTo>
                  <a:lnTo>
                    <a:pt x="5" y="62"/>
                  </a:lnTo>
                  <a:lnTo>
                    <a:pt x="5" y="65"/>
                  </a:lnTo>
                  <a:lnTo>
                    <a:pt x="7" y="67"/>
                  </a:lnTo>
                  <a:lnTo>
                    <a:pt x="7" y="71"/>
                  </a:lnTo>
                  <a:lnTo>
                    <a:pt x="8" y="73"/>
                  </a:lnTo>
                  <a:lnTo>
                    <a:pt x="10" y="71"/>
                  </a:lnTo>
                  <a:lnTo>
                    <a:pt x="13" y="64"/>
                  </a:lnTo>
                  <a:lnTo>
                    <a:pt x="10" y="60"/>
                  </a:lnTo>
                  <a:lnTo>
                    <a:pt x="14" y="60"/>
                  </a:lnTo>
                  <a:lnTo>
                    <a:pt x="16" y="62"/>
                  </a:lnTo>
                  <a:lnTo>
                    <a:pt x="16" y="61"/>
                  </a:lnTo>
                  <a:lnTo>
                    <a:pt x="17" y="60"/>
                  </a:lnTo>
                  <a:lnTo>
                    <a:pt x="18" y="58"/>
                  </a:lnTo>
                  <a:lnTo>
                    <a:pt x="18" y="62"/>
                  </a:lnTo>
                  <a:lnTo>
                    <a:pt x="18" y="64"/>
                  </a:lnTo>
                  <a:lnTo>
                    <a:pt x="16" y="65"/>
                  </a:lnTo>
                  <a:lnTo>
                    <a:pt x="16" y="68"/>
                  </a:lnTo>
                  <a:lnTo>
                    <a:pt x="16" y="71"/>
                  </a:lnTo>
                  <a:lnTo>
                    <a:pt x="14" y="73"/>
                  </a:lnTo>
                  <a:lnTo>
                    <a:pt x="13" y="76"/>
                  </a:lnTo>
                  <a:lnTo>
                    <a:pt x="17" y="78"/>
                  </a:lnTo>
                  <a:lnTo>
                    <a:pt x="17" y="81"/>
                  </a:lnTo>
                  <a:lnTo>
                    <a:pt x="20" y="83"/>
                  </a:lnTo>
                  <a:lnTo>
                    <a:pt x="23" y="81"/>
                  </a:lnTo>
                  <a:lnTo>
                    <a:pt x="24" y="84"/>
                  </a:lnTo>
                  <a:lnTo>
                    <a:pt x="23" y="87"/>
                  </a:lnTo>
                  <a:lnTo>
                    <a:pt x="14" y="84"/>
                  </a:lnTo>
                  <a:lnTo>
                    <a:pt x="11" y="83"/>
                  </a:lnTo>
                  <a:lnTo>
                    <a:pt x="8" y="83"/>
                  </a:lnTo>
                  <a:lnTo>
                    <a:pt x="16" y="90"/>
                  </a:lnTo>
                  <a:lnTo>
                    <a:pt x="17" y="92"/>
                  </a:lnTo>
                  <a:lnTo>
                    <a:pt x="17" y="93"/>
                  </a:lnTo>
                  <a:lnTo>
                    <a:pt x="14" y="94"/>
                  </a:lnTo>
                  <a:lnTo>
                    <a:pt x="13" y="99"/>
                  </a:lnTo>
                  <a:lnTo>
                    <a:pt x="17" y="102"/>
                  </a:lnTo>
                  <a:lnTo>
                    <a:pt x="17" y="105"/>
                  </a:lnTo>
                  <a:lnTo>
                    <a:pt x="18" y="106"/>
                  </a:lnTo>
                  <a:lnTo>
                    <a:pt x="18" y="108"/>
                  </a:lnTo>
                  <a:lnTo>
                    <a:pt x="29" y="113"/>
                  </a:lnTo>
                  <a:lnTo>
                    <a:pt x="33" y="113"/>
                  </a:lnTo>
                  <a:lnTo>
                    <a:pt x="34" y="112"/>
                  </a:lnTo>
                  <a:lnTo>
                    <a:pt x="34" y="115"/>
                  </a:lnTo>
                  <a:lnTo>
                    <a:pt x="32" y="116"/>
                  </a:lnTo>
                  <a:lnTo>
                    <a:pt x="24" y="118"/>
                  </a:lnTo>
                  <a:lnTo>
                    <a:pt x="24" y="119"/>
                  </a:lnTo>
                  <a:lnTo>
                    <a:pt x="27" y="122"/>
                  </a:lnTo>
                  <a:lnTo>
                    <a:pt x="27" y="125"/>
                  </a:lnTo>
                  <a:lnTo>
                    <a:pt x="30" y="126"/>
                  </a:lnTo>
                  <a:lnTo>
                    <a:pt x="33" y="126"/>
                  </a:lnTo>
                  <a:lnTo>
                    <a:pt x="33" y="131"/>
                  </a:lnTo>
                  <a:lnTo>
                    <a:pt x="32" y="132"/>
                  </a:lnTo>
                  <a:lnTo>
                    <a:pt x="33" y="137"/>
                  </a:lnTo>
                  <a:lnTo>
                    <a:pt x="33" y="135"/>
                  </a:lnTo>
                  <a:lnTo>
                    <a:pt x="37" y="137"/>
                  </a:lnTo>
                  <a:lnTo>
                    <a:pt x="39" y="135"/>
                  </a:lnTo>
                  <a:lnTo>
                    <a:pt x="40" y="137"/>
                  </a:lnTo>
                  <a:lnTo>
                    <a:pt x="40" y="137"/>
                  </a:lnTo>
                  <a:lnTo>
                    <a:pt x="45" y="138"/>
                  </a:lnTo>
                  <a:lnTo>
                    <a:pt x="45" y="134"/>
                  </a:lnTo>
                  <a:lnTo>
                    <a:pt x="49" y="134"/>
                  </a:lnTo>
                  <a:lnTo>
                    <a:pt x="49" y="131"/>
                  </a:lnTo>
                  <a:lnTo>
                    <a:pt x="49" y="129"/>
                  </a:lnTo>
                  <a:lnTo>
                    <a:pt x="50" y="125"/>
                  </a:lnTo>
                  <a:lnTo>
                    <a:pt x="53" y="125"/>
                  </a:lnTo>
                  <a:lnTo>
                    <a:pt x="55" y="126"/>
                  </a:lnTo>
                  <a:lnTo>
                    <a:pt x="56" y="125"/>
                  </a:lnTo>
                  <a:lnTo>
                    <a:pt x="56" y="122"/>
                  </a:lnTo>
                  <a:lnTo>
                    <a:pt x="55" y="119"/>
                  </a:lnTo>
                  <a:lnTo>
                    <a:pt x="52" y="119"/>
                  </a:lnTo>
                  <a:lnTo>
                    <a:pt x="56" y="100"/>
                  </a:lnTo>
                  <a:lnTo>
                    <a:pt x="58" y="99"/>
                  </a:lnTo>
                  <a:lnTo>
                    <a:pt x="59" y="100"/>
                  </a:lnTo>
                  <a:lnTo>
                    <a:pt x="59" y="106"/>
                  </a:lnTo>
                  <a:lnTo>
                    <a:pt x="61" y="109"/>
                  </a:lnTo>
                  <a:lnTo>
                    <a:pt x="62" y="109"/>
                  </a:lnTo>
                  <a:lnTo>
                    <a:pt x="63" y="105"/>
                  </a:lnTo>
                  <a:lnTo>
                    <a:pt x="65" y="96"/>
                  </a:lnTo>
                  <a:lnTo>
                    <a:pt x="66" y="92"/>
                  </a:lnTo>
                  <a:lnTo>
                    <a:pt x="68" y="96"/>
                  </a:lnTo>
                  <a:lnTo>
                    <a:pt x="68" y="100"/>
                  </a:lnTo>
                  <a:lnTo>
                    <a:pt x="65" y="110"/>
                  </a:lnTo>
                  <a:lnTo>
                    <a:pt x="66" y="116"/>
                  </a:lnTo>
                  <a:lnTo>
                    <a:pt x="68" y="118"/>
                  </a:lnTo>
                  <a:lnTo>
                    <a:pt x="69" y="121"/>
                  </a:lnTo>
                  <a:lnTo>
                    <a:pt x="77" y="118"/>
                  </a:lnTo>
                  <a:lnTo>
                    <a:pt x="77" y="115"/>
                  </a:lnTo>
                  <a:lnTo>
                    <a:pt x="79" y="113"/>
                  </a:lnTo>
                  <a:lnTo>
                    <a:pt x="81" y="110"/>
                  </a:lnTo>
                  <a:lnTo>
                    <a:pt x="81" y="103"/>
                  </a:lnTo>
                  <a:lnTo>
                    <a:pt x="82" y="102"/>
                  </a:lnTo>
                  <a:lnTo>
                    <a:pt x="84" y="99"/>
                  </a:lnTo>
                  <a:lnTo>
                    <a:pt x="85" y="100"/>
                  </a:lnTo>
                  <a:lnTo>
                    <a:pt x="85" y="103"/>
                  </a:lnTo>
                  <a:lnTo>
                    <a:pt x="87" y="105"/>
                  </a:lnTo>
                  <a:lnTo>
                    <a:pt x="84" y="109"/>
                  </a:lnTo>
                  <a:lnTo>
                    <a:pt x="82" y="110"/>
                  </a:lnTo>
                  <a:lnTo>
                    <a:pt x="82" y="113"/>
                  </a:lnTo>
                  <a:lnTo>
                    <a:pt x="81" y="116"/>
                  </a:lnTo>
                  <a:lnTo>
                    <a:pt x="81" y="118"/>
                  </a:lnTo>
                  <a:lnTo>
                    <a:pt x="81" y="121"/>
                  </a:lnTo>
                  <a:lnTo>
                    <a:pt x="82" y="121"/>
                  </a:lnTo>
                  <a:lnTo>
                    <a:pt x="84" y="118"/>
                  </a:lnTo>
                  <a:lnTo>
                    <a:pt x="87" y="124"/>
                  </a:lnTo>
                  <a:lnTo>
                    <a:pt x="88" y="124"/>
                  </a:lnTo>
                  <a:lnTo>
                    <a:pt x="94" y="121"/>
                  </a:lnTo>
                  <a:lnTo>
                    <a:pt x="94" y="122"/>
                  </a:lnTo>
                  <a:lnTo>
                    <a:pt x="94" y="124"/>
                  </a:lnTo>
                  <a:lnTo>
                    <a:pt x="90" y="124"/>
                  </a:lnTo>
                  <a:lnTo>
                    <a:pt x="90" y="125"/>
                  </a:lnTo>
                  <a:lnTo>
                    <a:pt x="87" y="126"/>
                  </a:lnTo>
                  <a:lnTo>
                    <a:pt x="87" y="128"/>
                  </a:lnTo>
                  <a:lnTo>
                    <a:pt x="81" y="128"/>
                  </a:lnTo>
                  <a:lnTo>
                    <a:pt x="79" y="126"/>
                  </a:lnTo>
                  <a:lnTo>
                    <a:pt x="74" y="126"/>
                  </a:lnTo>
                  <a:lnTo>
                    <a:pt x="69" y="131"/>
                  </a:lnTo>
                  <a:lnTo>
                    <a:pt x="71" y="134"/>
                  </a:lnTo>
                  <a:lnTo>
                    <a:pt x="69" y="137"/>
                  </a:lnTo>
                  <a:lnTo>
                    <a:pt x="68" y="135"/>
                  </a:lnTo>
                  <a:lnTo>
                    <a:pt x="66" y="134"/>
                  </a:lnTo>
                  <a:lnTo>
                    <a:pt x="65" y="137"/>
                  </a:lnTo>
                  <a:lnTo>
                    <a:pt x="63" y="138"/>
                  </a:lnTo>
                  <a:lnTo>
                    <a:pt x="62" y="141"/>
                  </a:lnTo>
                  <a:lnTo>
                    <a:pt x="62" y="141"/>
                  </a:lnTo>
                  <a:lnTo>
                    <a:pt x="62" y="145"/>
                  </a:lnTo>
                  <a:lnTo>
                    <a:pt x="59" y="145"/>
                  </a:lnTo>
                  <a:lnTo>
                    <a:pt x="58" y="145"/>
                  </a:lnTo>
                  <a:lnTo>
                    <a:pt x="49" y="147"/>
                  </a:lnTo>
                  <a:lnTo>
                    <a:pt x="49" y="148"/>
                  </a:lnTo>
                  <a:lnTo>
                    <a:pt x="50" y="151"/>
                  </a:lnTo>
                  <a:lnTo>
                    <a:pt x="50" y="154"/>
                  </a:lnTo>
                  <a:lnTo>
                    <a:pt x="48" y="153"/>
                  </a:lnTo>
                  <a:lnTo>
                    <a:pt x="48" y="150"/>
                  </a:lnTo>
                  <a:lnTo>
                    <a:pt x="46" y="147"/>
                  </a:lnTo>
                  <a:lnTo>
                    <a:pt x="43" y="148"/>
                  </a:lnTo>
                  <a:lnTo>
                    <a:pt x="42" y="150"/>
                  </a:lnTo>
                  <a:lnTo>
                    <a:pt x="43" y="166"/>
                  </a:lnTo>
                  <a:lnTo>
                    <a:pt x="43" y="167"/>
                  </a:lnTo>
                  <a:lnTo>
                    <a:pt x="43" y="169"/>
                  </a:lnTo>
                  <a:lnTo>
                    <a:pt x="45" y="170"/>
                  </a:lnTo>
                  <a:lnTo>
                    <a:pt x="48" y="170"/>
                  </a:lnTo>
                  <a:lnTo>
                    <a:pt x="50" y="167"/>
                  </a:lnTo>
                  <a:lnTo>
                    <a:pt x="52" y="169"/>
                  </a:lnTo>
                  <a:lnTo>
                    <a:pt x="55" y="169"/>
                  </a:lnTo>
                  <a:lnTo>
                    <a:pt x="55" y="166"/>
                  </a:lnTo>
                  <a:lnTo>
                    <a:pt x="56" y="166"/>
                  </a:lnTo>
                  <a:lnTo>
                    <a:pt x="58" y="169"/>
                  </a:lnTo>
                  <a:lnTo>
                    <a:pt x="59" y="169"/>
                  </a:lnTo>
                  <a:lnTo>
                    <a:pt x="59" y="166"/>
                  </a:lnTo>
                  <a:lnTo>
                    <a:pt x="61" y="167"/>
                  </a:lnTo>
                  <a:lnTo>
                    <a:pt x="65" y="166"/>
                  </a:lnTo>
                  <a:lnTo>
                    <a:pt x="66" y="163"/>
                  </a:lnTo>
                  <a:lnTo>
                    <a:pt x="68" y="163"/>
                  </a:lnTo>
                  <a:lnTo>
                    <a:pt x="71" y="163"/>
                  </a:lnTo>
                  <a:lnTo>
                    <a:pt x="72" y="164"/>
                  </a:lnTo>
                  <a:lnTo>
                    <a:pt x="79" y="161"/>
                  </a:lnTo>
                  <a:lnTo>
                    <a:pt x="81" y="163"/>
                  </a:lnTo>
                  <a:lnTo>
                    <a:pt x="84" y="161"/>
                  </a:lnTo>
                  <a:lnTo>
                    <a:pt x="85" y="158"/>
                  </a:lnTo>
                  <a:lnTo>
                    <a:pt x="87" y="157"/>
                  </a:lnTo>
                  <a:lnTo>
                    <a:pt x="88" y="160"/>
                  </a:lnTo>
                  <a:lnTo>
                    <a:pt x="87" y="160"/>
                  </a:lnTo>
                  <a:lnTo>
                    <a:pt x="88" y="161"/>
                  </a:lnTo>
                  <a:lnTo>
                    <a:pt x="88" y="166"/>
                  </a:lnTo>
                  <a:lnTo>
                    <a:pt x="87" y="166"/>
                  </a:lnTo>
                  <a:lnTo>
                    <a:pt x="82" y="164"/>
                  </a:lnTo>
                  <a:lnTo>
                    <a:pt x="81" y="166"/>
                  </a:lnTo>
                  <a:lnTo>
                    <a:pt x="79" y="164"/>
                  </a:lnTo>
                  <a:lnTo>
                    <a:pt x="79" y="167"/>
                  </a:lnTo>
                  <a:lnTo>
                    <a:pt x="77" y="167"/>
                  </a:lnTo>
                  <a:lnTo>
                    <a:pt x="77" y="169"/>
                  </a:lnTo>
                  <a:lnTo>
                    <a:pt x="74" y="170"/>
                  </a:lnTo>
                  <a:lnTo>
                    <a:pt x="72" y="169"/>
                  </a:lnTo>
                  <a:lnTo>
                    <a:pt x="61" y="174"/>
                  </a:lnTo>
                  <a:lnTo>
                    <a:pt x="59" y="174"/>
                  </a:lnTo>
                  <a:lnTo>
                    <a:pt x="59" y="176"/>
                  </a:lnTo>
                  <a:lnTo>
                    <a:pt x="62" y="179"/>
                  </a:lnTo>
                  <a:lnTo>
                    <a:pt x="74" y="180"/>
                  </a:lnTo>
                  <a:lnTo>
                    <a:pt x="75" y="185"/>
                  </a:lnTo>
                  <a:lnTo>
                    <a:pt x="75" y="186"/>
                  </a:lnTo>
                  <a:lnTo>
                    <a:pt x="66" y="183"/>
                  </a:lnTo>
                  <a:lnTo>
                    <a:pt x="66" y="183"/>
                  </a:lnTo>
                  <a:lnTo>
                    <a:pt x="63" y="183"/>
                  </a:lnTo>
                  <a:lnTo>
                    <a:pt x="61" y="182"/>
                  </a:lnTo>
                  <a:lnTo>
                    <a:pt x="58" y="182"/>
                  </a:lnTo>
                  <a:lnTo>
                    <a:pt x="58" y="186"/>
                  </a:lnTo>
                  <a:lnTo>
                    <a:pt x="55" y="186"/>
                  </a:lnTo>
                  <a:lnTo>
                    <a:pt x="55" y="180"/>
                  </a:lnTo>
                  <a:lnTo>
                    <a:pt x="50" y="180"/>
                  </a:lnTo>
                  <a:lnTo>
                    <a:pt x="46" y="185"/>
                  </a:lnTo>
                  <a:lnTo>
                    <a:pt x="48" y="189"/>
                  </a:lnTo>
                  <a:lnTo>
                    <a:pt x="48" y="192"/>
                  </a:lnTo>
                  <a:lnTo>
                    <a:pt x="50" y="201"/>
                  </a:lnTo>
                  <a:lnTo>
                    <a:pt x="50" y="202"/>
                  </a:lnTo>
                  <a:lnTo>
                    <a:pt x="52" y="206"/>
                  </a:lnTo>
                  <a:lnTo>
                    <a:pt x="61" y="211"/>
                  </a:lnTo>
                  <a:lnTo>
                    <a:pt x="62" y="209"/>
                  </a:lnTo>
                  <a:lnTo>
                    <a:pt x="63" y="212"/>
                  </a:lnTo>
                  <a:lnTo>
                    <a:pt x="63" y="215"/>
                  </a:lnTo>
                  <a:lnTo>
                    <a:pt x="65" y="217"/>
                  </a:lnTo>
                  <a:lnTo>
                    <a:pt x="69" y="217"/>
                  </a:lnTo>
                  <a:lnTo>
                    <a:pt x="71" y="217"/>
                  </a:lnTo>
                  <a:lnTo>
                    <a:pt x="72" y="217"/>
                  </a:lnTo>
                  <a:lnTo>
                    <a:pt x="74" y="215"/>
                  </a:lnTo>
                  <a:lnTo>
                    <a:pt x="77" y="215"/>
                  </a:lnTo>
                  <a:lnTo>
                    <a:pt x="79" y="218"/>
                  </a:lnTo>
                  <a:lnTo>
                    <a:pt x="81" y="217"/>
                  </a:lnTo>
                  <a:lnTo>
                    <a:pt x="81" y="219"/>
                  </a:lnTo>
                  <a:lnTo>
                    <a:pt x="78" y="222"/>
                  </a:lnTo>
                  <a:lnTo>
                    <a:pt x="78" y="221"/>
                  </a:lnTo>
                  <a:lnTo>
                    <a:pt x="74" y="221"/>
                  </a:lnTo>
                  <a:lnTo>
                    <a:pt x="69" y="224"/>
                  </a:lnTo>
                  <a:lnTo>
                    <a:pt x="69" y="227"/>
                  </a:lnTo>
                  <a:lnTo>
                    <a:pt x="79" y="235"/>
                  </a:lnTo>
                  <a:lnTo>
                    <a:pt x="79" y="237"/>
                  </a:lnTo>
                  <a:lnTo>
                    <a:pt x="79" y="244"/>
                  </a:lnTo>
                  <a:lnTo>
                    <a:pt x="81" y="243"/>
                  </a:lnTo>
                  <a:lnTo>
                    <a:pt x="82" y="240"/>
                  </a:lnTo>
                  <a:lnTo>
                    <a:pt x="82" y="241"/>
                  </a:lnTo>
                  <a:lnTo>
                    <a:pt x="85" y="244"/>
                  </a:lnTo>
                  <a:lnTo>
                    <a:pt x="87" y="244"/>
                  </a:lnTo>
                  <a:lnTo>
                    <a:pt x="90" y="241"/>
                  </a:lnTo>
                  <a:lnTo>
                    <a:pt x="90" y="237"/>
                  </a:lnTo>
                  <a:lnTo>
                    <a:pt x="91" y="237"/>
                  </a:lnTo>
                  <a:lnTo>
                    <a:pt x="90" y="231"/>
                  </a:lnTo>
                  <a:lnTo>
                    <a:pt x="90" y="228"/>
                  </a:lnTo>
                  <a:lnTo>
                    <a:pt x="90" y="227"/>
                  </a:lnTo>
                  <a:lnTo>
                    <a:pt x="91" y="225"/>
                  </a:lnTo>
                  <a:lnTo>
                    <a:pt x="94" y="222"/>
                  </a:lnTo>
                  <a:lnTo>
                    <a:pt x="94" y="219"/>
                  </a:lnTo>
                  <a:lnTo>
                    <a:pt x="94" y="218"/>
                  </a:lnTo>
                  <a:lnTo>
                    <a:pt x="95" y="217"/>
                  </a:lnTo>
                  <a:lnTo>
                    <a:pt x="94" y="214"/>
                  </a:lnTo>
                  <a:lnTo>
                    <a:pt x="95" y="209"/>
                  </a:lnTo>
                  <a:lnTo>
                    <a:pt x="94" y="201"/>
                  </a:lnTo>
                  <a:lnTo>
                    <a:pt x="95" y="198"/>
                  </a:lnTo>
                  <a:lnTo>
                    <a:pt x="98" y="193"/>
                  </a:lnTo>
                  <a:lnTo>
                    <a:pt x="101" y="193"/>
                  </a:lnTo>
                  <a:lnTo>
                    <a:pt x="100" y="190"/>
                  </a:lnTo>
                  <a:lnTo>
                    <a:pt x="98" y="190"/>
                  </a:lnTo>
                  <a:lnTo>
                    <a:pt x="97" y="187"/>
                  </a:lnTo>
                  <a:lnTo>
                    <a:pt x="104" y="185"/>
                  </a:lnTo>
                  <a:lnTo>
                    <a:pt x="107" y="186"/>
                  </a:lnTo>
                  <a:lnTo>
                    <a:pt x="107" y="186"/>
                  </a:lnTo>
                  <a:lnTo>
                    <a:pt x="107" y="183"/>
                  </a:lnTo>
                  <a:lnTo>
                    <a:pt x="109" y="182"/>
                  </a:lnTo>
                  <a:lnTo>
                    <a:pt x="110" y="173"/>
                  </a:lnTo>
                  <a:lnTo>
                    <a:pt x="109" y="173"/>
                  </a:lnTo>
                  <a:lnTo>
                    <a:pt x="110" y="153"/>
                  </a:lnTo>
                  <a:lnTo>
                    <a:pt x="110" y="153"/>
                  </a:lnTo>
                  <a:lnTo>
                    <a:pt x="110" y="150"/>
                  </a:lnTo>
                  <a:lnTo>
                    <a:pt x="113" y="148"/>
                  </a:lnTo>
                  <a:lnTo>
                    <a:pt x="116" y="150"/>
                  </a:lnTo>
                  <a:lnTo>
                    <a:pt x="117" y="150"/>
                  </a:lnTo>
                  <a:lnTo>
                    <a:pt x="117" y="138"/>
                  </a:lnTo>
                  <a:lnTo>
                    <a:pt x="119" y="137"/>
                  </a:lnTo>
                  <a:lnTo>
                    <a:pt x="117" y="134"/>
                  </a:lnTo>
                  <a:lnTo>
                    <a:pt x="119" y="132"/>
                  </a:lnTo>
                  <a:lnTo>
                    <a:pt x="119" y="131"/>
                  </a:lnTo>
                  <a:lnTo>
                    <a:pt x="119" y="124"/>
                  </a:lnTo>
                  <a:lnTo>
                    <a:pt x="119" y="121"/>
                  </a:lnTo>
                  <a:lnTo>
                    <a:pt x="122" y="121"/>
                  </a:lnTo>
                  <a:lnTo>
                    <a:pt x="123" y="118"/>
                  </a:lnTo>
                  <a:lnTo>
                    <a:pt x="124" y="118"/>
                  </a:lnTo>
                  <a:lnTo>
                    <a:pt x="126" y="113"/>
                  </a:lnTo>
                  <a:lnTo>
                    <a:pt x="124" y="110"/>
                  </a:lnTo>
                  <a:lnTo>
                    <a:pt x="129" y="109"/>
                  </a:lnTo>
                  <a:lnTo>
                    <a:pt x="132" y="110"/>
                  </a:lnTo>
                  <a:lnTo>
                    <a:pt x="135" y="106"/>
                  </a:lnTo>
                  <a:lnTo>
                    <a:pt x="139" y="106"/>
                  </a:lnTo>
                  <a:lnTo>
                    <a:pt x="142" y="102"/>
                  </a:lnTo>
                  <a:lnTo>
                    <a:pt x="148" y="105"/>
                  </a:lnTo>
                  <a:lnTo>
                    <a:pt x="151" y="103"/>
                  </a:lnTo>
                  <a:lnTo>
                    <a:pt x="151" y="102"/>
                  </a:lnTo>
                  <a:lnTo>
                    <a:pt x="152" y="97"/>
                  </a:lnTo>
                  <a:lnTo>
                    <a:pt x="152" y="90"/>
                  </a:lnTo>
                  <a:lnTo>
                    <a:pt x="151" y="89"/>
                  </a:lnTo>
                  <a:lnTo>
                    <a:pt x="148" y="89"/>
                  </a:lnTo>
                  <a:lnTo>
                    <a:pt x="138" y="86"/>
                  </a:lnTo>
                  <a:lnTo>
                    <a:pt x="135" y="83"/>
                  </a:lnTo>
                  <a:lnTo>
                    <a:pt x="130" y="80"/>
                  </a:lnTo>
                  <a:lnTo>
                    <a:pt x="127" y="70"/>
                  </a:lnTo>
                  <a:lnTo>
                    <a:pt x="124" y="70"/>
                  </a:lnTo>
                  <a:lnTo>
                    <a:pt x="123" y="67"/>
                  </a:lnTo>
                  <a:lnTo>
                    <a:pt x="114" y="65"/>
                  </a:lnTo>
                  <a:lnTo>
                    <a:pt x="114" y="61"/>
                  </a:lnTo>
                  <a:lnTo>
                    <a:pt x="114" y="57"/>
                  </a:lnTo>
                  <a:lnTo>
                    <a:pt x="114" y="55"/>
                  </a:lnTo>
                  <a:lnTo>
                    <a:pt x="116" y="54"/>
                  </a:lnTo>
                  <a:lnTo>
                    <a:pt x="116" y="51"/>
                  </a:lnTo>
                  <a:lnTo>
                    <a:pt x="110" y="35"/>
                  </a:lnTo>
                  <a:lnTo>
                    <a:pt x="107" y="35"/>
                  </a:lnTo>
                  <a:lnTo>
                    <a:pt x="107" y="32"/>
                  </a:lnTo>
                  <a:lnTo>
                    <a:pt x="106" y="33"/>
                  </a:lnTo>
                  <a:lnTo>
                    <a:pt x="103" y="38"/>
                  </a:lnTo>
                  <a:lnTo>
                    <a:pt x="103" y="41"/>
                  </a:lnTo>
                  <a:lnTo>
                    <a:pt x="104" y="44"/>
                  </a:lnTo>
                  <a:lnTo>
                    <a:pt x="101" y="48"/>
                  </a:lnTo>
                  <a:lnTo>
                    <a:pt x="97" y="54"/>
                  </a:lnTo>
                  <a:lnTo>
                    <a:pt x="97" y="51"/>
                  </a:lnTo>
                  <a:lnTo>
                    <a:pt x="98" y="49"/>
                  </a:lnTo>
                  <a:lnTo>
                    <a:pt x="100" y="45"/>
                  </a:lnTo>
                  <a:lnTo>
                    <a:pt x="98" y="41"/>
                  </a:lnTo>
                  <a:lnTo>
                    <a:pt x="97" y="39"/>
                  </a:lnTo>
                  <a:lnTo>
                    <a:pt x="97" y="41"/>
                  </a:lnTo>
                  <a:lnTo>
                    <a:pt x="97" y="38"/>
                  </a:lnTo>
                  <a:lnTo>
                    <a:pt x="100" y="36"/>
                  </a:lnTo>
                  <a:lnTo>
                    <a:pt x="100" y="28"/>
                  </a:lnTo>
                  <a:lnTo>
                    <a:pt x="101" y="26"/>
                  </a:lnTo>
                  <a:lnTo>
                    <a:pt x="103" y="22"/>
                  </a:lnTo>
                  <a:lnTo>
                    <a:pt x="90" y="6"/>
                  </a:lnTo>
                  <a:lnTo>
                    <a:pt x="87" y="9"/>
                  </a:lnTo>
                  <a:lnTo>
                    <a:pt x="87" y="10"/>
                  </a:lnTo>
                  <a:lnTo>
                    <a:pt x="87" y="13"/>
                  </a:lnTo>
                  <a:lnTo>
                    <a:pt x="85" y="12"/>
                  </a:lnTo>
                  <a:lnTo>
                    <a:pt x="84" y="12"/>
                  </a:lnTo>
                  <a:lnTo>
                    <a:pt x="84" y="0"/>
                  </a:lnTo>
                  <a:lnTo>
                    <a:pt x="75" y="0"/>
                  </a:lnTo>
                  <a:lnTo>
                    <a:pt x="75" y="0"/>
                  </a:lnTo>
                  <a:lnTo>
                    <a:pt x="75" y="6"/>
                  </a:lnTo>
                  <a:lnTo>
                    <a:pt x="75" y="6"/>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49" name="Freeform 1224"/>
            <p:cNvSpPr>
              <a:spLocks/>
            </p:cNvSpPr>
            <p:nvPr/>
          </p:nvSpPr>
          <p:spPr bwMode="auto">
            <a:xfrm>
              <a:off x="6255906" y="1302138"/>
              <a:ext cx="21067" cy="50707"/>
            </a:xfrm>
            <a:custGeom>
              <a:avLst/>
              <a:gdLst/>
              <a:ahLst/>
              <a:cxnLst>
                <a:cxn ang="0">
                  <a:pos x="23" y="42"/>
                </a:cxn>
                <a:cxn ang="0">
                  <a:pos x="20" y="40"/>
                </a:cxn>
                <a:cxn ang="0">
                  <a:pos x="19" y="35"/>
                </a:cxn>
                <a:cxn ang="0">
                  <a:pos x="20" y="33"/>
                </a:cxn>
                <a:cxn ang="0">
                  <a:pos x="19" y="32"/>
                </a:cxn>
                <a:cxn ang="0">
                  <a:pos x="17" y="32"/>
                </a:cxn>
                <a:cxn ang="0">
                  <a:pos x="13" y="27"/>
                </a:cxn>
                <a:cxn ang="0">
                  <a:pos x="13" y="26"/>
                </a:cxn>
                <a:cxn ang="0">
                  <a:pos x="11" y="24"/>
                </a:cxn>
                <a:cxn ang="0">
                  <a:pos x="11" y="21"/>
                </a:cxn>
                <a:cxn ang="0">
                  <a:pos x="10" y="20"/>
                </a:cxn>
                <a:cxn ang="0">
                  <a:pos x="8" y="10"/>
                </a:cxn>
                <a:cxn ang="0">
                  <a:pos x="6" y="5"/>
                </a:cxn>
                <a:cxn ang="0">
                  <a:pos x="6" y="3"/>
                </a:cxn>
                <a:cxn ang="0">
                  <a:pos x="4" y="1"/>
                </a:cxn>
                <a:cxn ang="0">
                  <a:pos x="0" y="0"/>
                </a:cxn>
                <a:cxn ang="0">
                  <a:pos x="0" y="7"/>
                </a:cxn>
                <a:cxn ang="0">
                  <a:pos x="1" y="10"/>
                </a:cxn>
                <a:cxn ang="0">
                  <a:pos x="3" y="10"/>
                </a:cxn>
                <a:cxn ang="0">
                  <a:pos x="7" y="29"/>
                </a:cxn>
                <a:cxn ang="0">
                  <a:pos x="11" y="32"/>
                </a:cxn>
                <a:cxn ang="0">
                  <a:pos x="11" y="30"/>
                </a:cxn>
                <a:cxn ang="0">
                  <a:pos x="16" y="36"/>
                </a:cxn>
                <a:cxn ang="0">
                  <a:pos x="16" y="37"/>
                </a:cxn>
                <a:cxn ang="0">
                  <a:pos x="19" y="39"/>
                </a:cxn>
                <a:cxn ang="0">
                  <a:pos x="19" y="46"/>
                </a:cxn>
                <a:cxn ang="0">
                  <a:pos x="23" y="48"/>
                </a:cxn>
                <a:cxn ang="0">
                  <a:pos x="21" y="43"/>
                </a:cxn>
                <a:cxn ang="0">
                  <a:pos x="23" y="42"/>
                </a:cxn>
                <a:cxn ang="0">
                  <a:pos x="23" y="42"/>
                </a:cxn>
              </a:cxnLst>
              <a:rect l="0" t="0" r="r" b="b"/>
              <a:pathLst>
                <a:path w="23" h="48">
                  <a:moveTo>
                    <a:pt x="23" y="42"/>
                  </a:moveTo>
                  <a:lnTo>
                    <a:pt x="20" y="40"/>
                  </a:lnTo>
                  <a:lnTo>
                    <a:pt x="19" y="35"/>
                  </a:lnTo>
                  <a:lnTo>
                    <a:pt x="20" y="33"/>
                  </a:lnTo>
                  <a:lnTo>
                    <a:pt x="19" y="32"/>
                  </a:lnTo>
                  <a:lnTo>
                    <a:pt x="17" y="32"/>
                  </a:lnTo>
                  <a:lnTo>
                    <a:pt x="13" y="27"/>
                  </a:lnTo>
                  <a:lnTo>
                    <a:pt x="13" y="26"/>
                  </a:lnTo>
                  <a:lnTo>
                    <a:pt x="11" y="24"/>
                  </a:lnTo>
                  <a:lnTo>
                    <a:pt x="11" y="21"/>
                  </a:lnTo>
                  <a:lnTo>
                    <a:pt x="10" y="20"/>
                  </a:lnTo>
                  <a:lnTo>
                    <a:pt x="8" y="10"/>
                  </a:lnTo>
                  <a:lnTo>
                    <a:pt x="6" y="5"/>
                  </a:lnTo>
                  <a:lnTo>
                    <a:pt x="6" y="3"/>
                  </a:lnTo>
                  <a:lnTo>
                    <a:pt x="4" y="1"/>
                  </a:lnTo>
                  <a:lnTo>
                    <a:pt x="0" y="0"/>
                  </a:lnTo>
                  <a:lnTo>
                    <a:pt x="0" y="7"/>
                  </a:lnTo>
                  <a:lnTo>
                    <a:pt x="1" y="10"/>
                  </a:lnTo>
                  <a:lnTo>
                    <a:pt x="3" y="10"/>
                  </a:lnTo>
                  <a:lnTo>
                    <a:pt x="7" y="29"/>
                  </a:lnTo>
                  <a:lnTo>
                    <a:pt x="11" y="32"/>
                  </a:lnTo>
                  <a:lnTo>
                    <a:pt x="11" y="30"/>
                  </a:lnTo>
                  <a:lnTo>
                    <a:pt x="16" y="36"/>
                  </a:lnTo>
                  <a:lnTo>
                    <a:pt x="16" y="37"/>
                  </a:lnTo>
                  <a:lnTo>
                    <a:pt x="19" y="39"/>
                  </a:lnTo>
                  <a:lnTo>
                    <a:pt x="19" y="46"/>
                  </a:lnTo>
                  <a:lnTo>
                    <a:pt x="23" y="48"/>
                  </a:lnTo>
                  <a:lnTo>
                    <a:pt x="21" y="43"/>
                  </a:lnTo>
                  <a:lnTo>
                    <a:pt x="23" y="42"/>
                  </a:lnTo>
                  <a:lnTo>
                    <a:pt x="23" y="42"/>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50" name="Freeform 1225"/>
            <p:cNvSpPr>
              <a:spLocks/>
            </p:cNvSpPr>
            <p:nvPr/>
          </p:nvSpPr>
          <p:spPr bwMode="auto">
            <a:xfrm>
              <a:off x="6382309" y="1322420"/>
              <a:ext cx="29845" cy="31439"/>
            </a:xfrm>
            <a:custGeom>
              <a:avLst/>
              <a:gdLst/>
              <a:ahLst/>
              <a:cxnLst>
                <a:cxn ang="0">
                  <a:pos x="13" y="30"/>
                </a:cxn>
                <a:cxn ang="0">
                  <a:pos x="14" y="27"/>
                </a:cxn>
                <a:cxn ang="0">
                  <a:pos x="17" y="29"/>
                </a:cxn>
                <a:cxn ang="0">
                  <a:pos x="21" y="24"/>
                </a:cxn>
                <a:cxn ang="0">
                  <a:pos x="27" y="24"/>
                </a:cxn>
                <a:cxn ang="0">
                  <a:pos x="29" y="13"/>
                </a:cxn>
                <a:cxn ang="0">
                  <a:pos x="32" y="8"/>
                </a:cxn>
                <a:cxn ang="0">
                  <a:pos x="27" y="2"/>
                </a:cxn>
                <a:cxn ang="0">
                  <a:pos x="27" y="1"/>
                </a:cxn>
                <a:cxn ang="0">
                  <a:pos x="17" y="2"/>
                </a:cxn>
                <a:cxn ang="0">
                  <a:pos x="16" y="2"/>
                </a:cxn>
                <a:cxn ang="0">
                  <a:pos x="17" y="1"/>
                </a:cxn>
                <a:cxn ang="0">
                  <a:pos x="17" y="0"/>
                </a:cxn>
                <a:cxn ang="0">
                  <a:pos x="17" y="0"/>
                </a:cxn>
                <a:cxn ang="0">
                  <a:pos x="13" y="0"/>
                </a:cxn>
                <a:cxn ang="0">
                  <a:pos x="11" y="4"/>
                </a:cxn>
                <a:cxn ang="0">
                  <a:pos x="10" y="5"/>
                </a:cxn>
                <a:cxn ang="0">
                  <a:pos x="8" y="5"/>
                </a:cxn>
                <a:cxn ang="0">
                  <a:pos x="7" y="7"/>
                </a:cxn>
                <a:cxn ang="0">
                  <a:pos x="0" y="10"/>
                </a:cxn>
                <a:cxn ang="0">
                  <a:pos x="3" y="13"/>
                </a:cxn>
                <a:cxn ang="0">
                  <a:pos x="5" y="13"/>
                </a:cxn>
                <a:cxn ang="0">
                  <a:pos x="7" y="21"/>
                </a:cxn>
                <a:cxn ang="0">
                  <a:pos x="8" y="24"/>
                </a:cxn>
                <a:cxn ang="0">
                  <a:pos x="8" y="27"/>
                </a:cxn>
                <a:cxn ang="0">
                  <a:pos x="10" y="29"/>
                </a:cxn>
                <a:cxn ang="0">
                  <a:pos x="13" y="30"/>
                </a:cxn>
                <a:cxn ang="0">
                  <a:pos x="13" y="30"/>
                </a:cxn>
              </a:cxnLst>
              <a:rect l="0" t="0" r="r" b="b"/>
              <a:pathLst>
                <a:path w="32" h="30">
                  <a:moveTo>
                    <a:pt x="13" y="30"/>
                  </a:moveTo>
                  <a:lnTo>
                    <a:pt x="14" y="27"/>
                  </a:lnTo>
                  <a:lnTo>
                    <a:pt x="17" y="29"/>
                  </a:lnTo>
                  <a:lnTo>
                    <a:pt x="21" y="24"/>
                  </a:lnTo>
                  <a:lnTo>
                    <a:pt x="27" y="24"/>
                  </a:lnTo>
                  <a:lnTo>
                    <a:pt x="29" y="13"/>
                  </a:lnTo>
                  <a:lnTo>
                    <a:pt x="32" y="8"/>
                  </a:lnTo>
                  <a:lnTo>
                    <a:pt x="27" y="2"/>
                  </a:lnTo>
                  <a:lnTo>
                    <a:pt x="27" y="1"/>
                  </a:lnTo>
                  <a:lnTo>
                    <a:pt x="17" y="2"/>
                  </a:lnTo>
                  <a:lnTo>
                    <a:pt x="16" y="2"/>
                  </a:lnTo>
                  <a:lnTo>
                    <a:pt x="17" y="1"/>
                  </a:lnTo>
                  <a:lnTo>
                    <a:pt x="17" y="0"/>
                  </a:lnTo>
                  <a:lnTo>
                    <a:pt x="17" y="0"/>
                  </a:lnTo>
                  <a:lnTo>
                    <a:pt x="13" y="0"/>
                  </a:lnTo>
                  <a:lnTo>
                    <a:pt x="11" y="4"/>
                  </a:lnTo>
                  <a:lnTo>
                    <a:pt x="10" y="5"/>
                  </a:lnTo>
                  <a:lnTo>
                    <a:pt x="8" y="5"/>
                  </a:lnTo>
                  <a:lnTo>
                    <a:pt x="7" y="7"/>
                  </a:lnTo>
                  <a:lnTo>
                    <a:pt x="0" y="10"/>
                  </a:lnTo>
                  <a:lnTo>
                    <a:pt x="3" y="13"/>
                  </a:lnTo>
                  <a:lnTo>
                    <a:pt x="5" y="13"/>
                  </a:lnTo>
                  <a:lnTo>
                    <a:pt x="7" y="21"/>
                  </a:lnTo>
                  <a:lnTo>
                    <a:pt x="8" y="24"/>
                  </a:lnTo>
                  <a:lnTo>
                    <a:pt x="8" y="27"/>
                  </a:lnTo>
                  <a:lnTo>
                    <a:pt x="10" y="29"/>
                  </a:lnTo>
                  <a:lnTo>
                    <a:pt x="13" y="30"/>
                  </a:lnTo>
                  <a:lnTo>
                    <a:pt x="13" y="30"/>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51" name="Freeform 1226"/>
            <p:cNvSpPr>
              <a:spLocks/>
            </p:cNvSpPr>
            <p:nvPr/>
          </p:nvSpPr>
          <p:spPr bwMode="auto">
            <a:xfrm>
              <a:off x="6421810" y="1359943"/>
              <a:ext cx="1756" cy="1014"/>
            </a:xfrm>
            <a:custGeom>
              <a:avLst/>
              <a:gdLst/>
              <a:ahLst/>
              <a:cxnLst>
                <a:cxn ang="0">
                  <a:pos x="0" y="0"/>
                </a:cxn>
                <a:cxn ang="0">
                  <a:pos x="0" y="0"/>
                </a:cxn>
                <a:cxn ang="0">
                  <a:pos x="2" y="0"/>
                </a:cxn>
                <a:cxn ang="0">
                  <a:pos x="0" y="0"/>
                </a:cxn>
                <a:cxn ang="0">
                  <a:pos x="0" y="0"/>
                </a:cxn>
              </a:cxnLst>
              <a:rect l="0" t="0" r="r" b="b"/>
              <a:pathLst>
                <a:path w="2">
                  <a:moveTo>
                    <a:pt x="0" y="0"/>
                  </a:moveTo>
                  <a:lnTo>
                    <a:pt x="0" y="0"/>
                  </a:lnTo>
                  <a:lnTo>
                    <a:pt x="2" y="0"/>
                  </a:lnTo>
                  <a:lnTo>
                    <a:pt x="0" y="0"/>
                  </a:lnTo>
                  <a:lnTo>
                    <a:pt x="0" y="0"/>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52" name="Freeform 1227"/>
            <p:cNvSpPr>
              <a:spLocks/>
            </p:cNvSpPr>
            <p:nvPr/>
          </p:nvSpPr>
          <p:spPr bwMode="auto">
            <a:xfrm>
              <a:off x="6421810" y="1359943"/>
              <a:ext cx="877" cy="1014"/>
            </a:xfrm>
            <a:custGeom>
              <a:avLst/>
              <a:gdLst/>
              <a:ahLst/>
              <a:cxnLst>
                <a:cxn ang="0">
                  <a:pos x="0" y="0"/>
                </a:cxn>
                <a:cxn ang="0">
                  <a:pos x="0" y="0"/>
                </a:cxn>
                <a:cxn ang="0">
                  <a:pos x="0" y="1"/>
                </a:cxn>
                <a:cxn ang="0">
                  <a:pos x="0" y="0"/>
                </a:cxn>
                <a:cxn ang="0">
                  <a:pos x="0" y="0"/>
                </a:cxn>
              </a:cxnLst>
              <a:rect l="0" t="0" r="r" b="b"/>
              <a:pathLst>
                <a:path h="1">
                  <a:moveTo>
                    <a:pt x="0" y="0"/>
                  </a:moveTo>
                  <a:lnTo>
                    <a:pt x="0" y="0"/>
                  </a:lnTo>
                  <a:lnTo>
                    <a:pt x="0" y="1"/>
                  </a:lnTo>
                  <a:lnTo>
                    <a:pt x="0" y="0"/>
                  </a:lnTo>
                  <a:lnTo>
                    <a:pt x="0" y="0"/>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53" name="Freeform 1228"/>
            <p:cNvSpPr>
              <a:spLocks/>
            </p:cNvSpPr>
            <p:nvPr/>
          </p:nvSpPr>
          <p:spPr bwMode="auto">
            <a:xfrm>
              <a:off x="6390210" y="1346760"/>
              <a:ext cx="52668" cy="72004"/>
            </a:xfrm>
            <a:custGeom>
              <a:avLst/>
              <a:gdLst/>
              <a:ahLst/>
              <a:cxnLst>
                <a:cxn ang="0">
                  <a:pos x="54" y="35"/>
                </a:cxn>
                <a:cxn ang="0">
                  <a:pos x="53" y="33"/>
                </a:cxn>
                <a:cxn ang="0">
                  <a:pos x="51" y="30"/>
                </a:cxn>
                <a:cxn ang="0">
                  <a:pos x="48" y="27"/>
                </a:cxn>
                <a:cxn ang="0">
                  <a:pos x="42" y="32"/>
                </a:cxn>
                <a:cxn ang="0">
                  <a:pos x="38" y="27"/>
                </a:cxn>
                <a:cxn ang="0">
                  <a:pos x="35" y="23"/>
                </a:cxn>
                <a:cxn ang="0">
                  <a:pos x="32" y="19"/>
                </a:cxn>
                <a:cxn ang="0">
                  <a:pos x="34" y="13"/>
                </a:cxn>
                <a:cxn ang="0">
                  <a:pos x="35" y="10"/>
                </a:cxn>
                <a:cxn ang="0">
                  <a:pos x="34" y="4"/>
                </a:cxn>
                <a:cxn ang="0">
                  <a:pos x="31" y="3"/>
                </a:cxn>
                <a:cxn ang="0">
                  <a:pos x="29" y="0"/>
                </a:cxn>
                <a:cxn ang="0">
                  <a:pos x="28" y="3"/>
                </a:cxn>
                <a:cxn ang="0">
                  <a:pos x="24" y="7"/>
                </a:cxn>
                <a:cxn ang="0">
                  <a:pos x="15" y="6"/>
                </a:cxn>
                <a:cxn ang="0">
                  <a:pos x="2" y="14"/>
                </a:cxn>
                <a:cxn ang="0">
                  <a:pos x="3" y="17"/>
                </a:cxn>
                <a:cxn ang="0">
                  <a:pos x="5" y="19"/>
                </a:cxn>
                <a:cxn ang="0">
                  <a:pos x="11" y="26"/>
                </a:cxn>
                <a:cxn ang="0">
                  <a:pos x="11" y="30"/>
                </a:cxn>
                <a:cxn ang="0">
                  <a:pos x="8" y="36"/>
                </a:cxn>
                <a:cxn ang="0">
                  <a:pos x="6" y="42"/>
                </a:cxn>
                <a:cxn ang="0">
                  <a:pos x="6" y="45"/>
                </a:cxn>
                <a:cxn ang="0">
                  <a:pos x="2" y="48"/>
                </a:cxn>
                <a:cxn ang="0">
                  <a:pos x="2" y="51"/>
                </a:cxn>
                <a:cxn ang="0">
                  <a:pos x="2" y="54"/>
                </a:cxn>
                <a:cxn ang="0">
                  <a:pos x="3" y="58"/>
                </a:cxn>
                <a:cxn ang="0">
                  <a:pos x="8" y="58"/>
                </a:cxn>
                <a:cxn ang="0">
                  <a:pos x="18" y="55"/>
                </a:cxn>
                <a:cxn ang="0">
                  <a:pos x="21" y="54"/>
                </a:cxn>
                <a:cxn ang="0">
                  <a:pos x="24" y="49"/>
                </a:cxn>
                <a:cxn ang="0">
                  <a:pos x="26" y="49"/>
                </a:cxn>
                <a:cxn ang="0">
                  <a:pos x="26" y="54"/>
                </a:cxn>
                <a:cxn ang="0">
                  <a:pos x="28" y="51"/>
                </a:cxn>
                <a:cxn ang="0">
                  <a:pos x="29" y="54"/>
                </a:cxn>
                <a:cxn ang="0">
                  <a:pos x="26" y="55"/>
                </a:cxn>
                <a:cxn ang="0">
                  <a:pos x="26" y="61"/>
                </a:cxn>
                <a:cxn ang="0">
                  <a:pos x="24" y="65"/>
                </a:cxn>
                <a:cxn ang="0">
                  <a:pos x="26" y="67"/>
                </a:cxn>
                <a:cxn ang="0">
                  <a:pos x="29" y="67"/>
                </a:cxn>
                <a:cxn ang="0">
                  <a:pos x="29" y="64"/>
                </a:cxn>
                <a:cxn ang="0">
                  <a:pos x="34" y="59"/>
                </a:cxn>
                <a:cxn ang="0">
                  <a:pos x="35" y="61"/>
                </a:cxn>
                <a:cxn ang="0">
                  <a:pos x="38" y="61"/>
                </a:cxn>
                <a:cxn ang="0">
                  <a:pos x="40" y="58"/>
                </a:cxn>
                <a:cxn ang="0">
                  <a:pos x="40" y="56"/>
                </a:cxn>
                <a:cxn ang="0">
                  <a:pos x="44" y="52"/>
                </a:cxn>
                <a:cxn ang="0">
                  <a:pos x="45" y="48"/>
                </a:cxn>
                <a:cxn ang="0">
                  <a:pos x="48" y="42"/>
                </a:cxn>
                <a:cxn ang="0">
                  <a:pos x="58" y="39"/>
                </a:cxn>
                <a:cxn ang="0">
                  <a:pos x="58" y="38"/>
                </a:cxn>
                <a:cxn ang="0">
                  <a:pos x="56" y="36"/>
                </a:cxn>
              </a:cxnLst>
              <a:rect l="0" t="0" r="r" b="b"/>
              <a:pathLst>
                <a:path w="58" h="70">
                  <a:moveTo>
                    <a:pt x="56" y="36"/>
                  </a:moveTo>
                  <a:lnTo>
                    <a:pt x="54" y="35"/>
                  </a:lnTo>
                  <a:lnTo>
                    <a:pt x="53" y="35"/>
                  </a:lnTo>
                  <a:lnTo>
                    <a:pt x="53" y="33"/>
                  </a:lnTo>
                  <a:lnTo>
                    <a:pt x="51" y="30"/>
                  </a:lnTo>
                  <a:lnTo>
                    <a:pt x="51" y="30"/>
                  </a:lnTo>
                  <a:lnTo>
                    <a:pt x="48" y="27"/>
                  </a:lnTo>
                  <a:lnTo>
                    <a:pt x="48" y="27"/>
                  </a:lnTo>
                  <a:lnTo>
                    <a:pt x="47" y="29"/>
                  </a:lnTo>
                  <a:lnTo>
                    <a:pt x="42" y="32"/>
                  </a:lnTo>
                  <a:lnTo>
                    <a:pt x="40" y="30"/>
                  </a:lnTo>
                  <a:lnTo>
                    <a:pt x="38" y="27"/>
                  </a:lnTo>
                  <a:lnTo>
                    <a:pt x="37" y="27"/>
                  </a:lnTo>
                  <a:lnTo>
                    <a:pt x="35" y="23"/>
                  </a:lnTo>
                  <a:lnTo>
                    <a:pt x="34" y="22"/>
                  </a:lnTo>
                  <a:lnTo>
                    <a:pt x="32" y="19"/>
                  </a:lnTo>
                  <a:lnTo>
                    <a:pt x="32" y="16"/>
                  </a:lnTo>
                  <a:lnTo>
                    <a:pt x="34" y="13"/>
                  </a:lnTo>
                  <a:lnTo>
                    <a:pt x="35" y="13"/>
                  </a:lnTo>
                  <a:lnTo>
                    <a:pt x="35" y="10"/>
                  </a:lnTo>
                  <a:lnTo>
                    <a:pt x="37" y="10"/>
                  </a:lnTo>
                  <a:lnTo>
                    <a:pt x="34" y="4"/>
                  </a:lnTo>
                  <a:lnTo>
                    <a:pt x="32" y="6"/>
                  </a:lnTo>
                  <a:lnTo>
                    <a:pt x="31" y="3"/>
                  </a:lnTo>
                  <a:lnTo>
                    <a:pt x="31" y="1"/>
                  </a:lnTo>
                  <a:lnTo>
                    <a:pt x="29" y="0"/>
                  </a:lnTo>
                  <a:lnTo>
                    <a:pt x="29" y="0"/>
                  </a:lnTo>
                  <a:lnTo>
                    <a:pt x="28" y="3"/>
                  </a:lnTo>
                  <a:lnTo>
                    <a:pt x="25" y="4"/>
                  </a:lnTo>
                  <a:lnTo>
                    <a:pt x="24" y="7"/>
                  </a:lnTo>
                  <a:lnTo>
                    <a:pt x="18" y="7"/>
                  </a:lnTo>
                  <a:lnTo>
                    <a:pt x="15" y="6"/>
                  </a:lnTo>
                  <a:lnTo>
                    <a:pt x="2" y="13"/>
                  </a:lnTo>
                  <a:lnTo>
                    <a:pt x="2" y="14"/>
                  </a:lnTo>
                  <a:lnTo>
                    <a:pt x="0" y="16"/>
                  </a:lnTo>
                  <a:lnTo>
                    <a:pt x="3" y="17"/>
                  </a:lnTo>
                  <a:lnTo>
                    <a:pt x="5" y="19"/>
                  </a:lnTo>
                  <a:lnTo>
                    <a:pt x="5" y="19"/>
                  </a:lnTo>
                  <a:lnTo>
                    <a:pt x="5" y="22"/>
                  </a:lnTo>
                  <a:lnTo>
                    <a:pt x="11" y="26"/>
                  </a:lnTo>
                  <a:lnTo>
                    <a:pt x="11" y="27"/>
                  </a:lnTo>
                  <a:lnTo>
                    <a:pt x="11" y="30"/>
                  </a:lnTo>
                  <a:lnTo>
                    <a:pt x="8" y="35"/>
                  </a:lnTo>
                  <a:lnTo>
                    <a:pt x="8" y="36"/>
                  </a:lnTo>
                  <a:lnTo>
                    <a:pt x="6" y="39"/>
                  </a:lnTo>
                  <a:lnTo>
                    <a:pt x="6" y="42"/>
                  </a:lnTo>
                  <a:lnTo>
                    <a:pt x="6" y="43"/>
                  </a:lnTo>
                  <a:lnTo>
                    <a:pt x="6" y="45"/>
                  </a:lnTo>
                  <a:lnTo>
                    <a:pt x="6" y="45"/>
                  </a:lnTo>
                  <a:lnTo>
                    <a:pt x="2" y="48"/>
                  </a:lnTo>
                  <a:lnTo>
                    <a:pt x="2" y="49"/>
                  </a:lnTo>
                  <a:lnTo>
                    <a:pt x="2" y="51"/>
                  </a:lnTo>
                  <a:lnTo>
                    <a:pt x="0" y="51"/>
                  </a:lnTo>
                  <a:lnTo>
                    <a:pt x="2" y="54"/>
                  </a:lnTo>
                  <a:lnTo>
                    <a:pt x="0" y="55"/>
                  </a:lnTo>
                  <a:lnTo>
                    <a:pt x="3" y="58"/>
                  </a:lnTo>
                  <a:lnTo>
                    <a:pt x="6" y="56"/>
                  </a:lnTo>
                  <a:lnTo>
                    <a:pt x="8" y="58"/>
                  </a:lnTo>
                  <a:lnTo>
                    <a:pt x="9" y="55"/>
                  </a:lnTo>
                  <a:lnTo>
                    <a:pt x="18" y="55"/>
                  </a:lnTo>
                  <a:lnTo>
                    <a:pt x="18" y="54"/>
                  </a:lnTo>
                  <a:lnTo>
                    <a:pt x="21" y="54"/>
                  </a:lnTo>
                  <a:lnTo>
                    <a:pt x="22" y="51"/>
                  </a:lnTo>
                  <a:lnTo>
                    <a:pt x="24" y="49"/>
                  </a:lnTo>
                  <a:lnTo>
                    <a:pt x="26" y="49"/>
                  </a:lnTo>
                  <a:lnTo>
                    <a:pt x="26" y="49"/>
                  </a:lnTo>
                  <a:lnTo>
                    <a:pt x="25" y="52"/>
                  </a:lnTo>
                  <a:lnTo>
                    <a:pt x="26" y="54"/>
                  </a:lnTo>
                  <a:lnTo>
                    <a:pt x="26" y="54"/>
                  </a:lnTo>
                  <a:lnTo>
                    <a:pt x="28" y="51"/>
                  </a:lnTo>
                  <a:lnTo>
                    <a:pt x="29" y="51"/>
                  </a:lnTo>
                  <a:lnTo>
                    <a:pt x="29" y="54"/>
                  </a:lnTo>
                  <a:lnTo>
                    <a:pt x="29" y="54"/>
                  </a:lnTo>
                  <a:lnTo>
                    <a:pt x="26" y="55"/>
                  </a:lnTo>
                  <a:lnTo>
                    <a:pt x="25" y="58"/>
                  </a:lnTo>
                  <a:lnTo>
                    <a:pt x="26" y="61"/>
                  </a:lnTo>
                  <a:lnTo>
                    <a:pt x="26" y="62"/>
                  </a:lnTo>
                  <a:lnTo>
                    <a:pt x="24" y="65"/>
                  </a:lnTo>
                  <a:lnTo>
                    <a:pt x="25" y="68"/>
                  </a:lnTo>
                  <a:lnTo>
                    <a:pt x="26" y="67"/>
                  </a:lnTo>
                  <a:lnTo>
                    <a:pt x="28" y="70"/>
                  </a:lnTo>
                  <a:lnTo>
                    <a:pt x="29" y="67"/>
                  </a:lnTo>
                  <a:lnTo>
                    <a:pt x="29" y="65"/>
                  </a:lnTo>
                  <a:lnTo>
                    <a:pt x="29" y="64"/>
                  </a:lnTo>
                  <a:lnTo>
                    <a:pt x="34" y="61"/>
                  </a:lnTo>
                  <a:lnTo>
                    <a:pt x="34" y="59"/>
                  </a:lnTo>
                  <a:lnTo>
                    <a:pt x="34" y="59"/>
                  </a:lnTo>
                  <a:lnTo>
                    <a:pt x="35" y="61"/>
                  </a:lnTo>
                  <a:lnTo>
                    <a:pt x="35" y="62"/>
                  </a:lnTo>
                  <a:lnTo>
                    <a:pt x="38" y="61"/>
                  </a:lnTo>
                  <a:lnTo>
                    <a:pt x="38" y="59"/>
                  </a:lnTo>
                  <a:lnTo>
                    <a:pt x="40" y="58"/>
                  </a:lnTo>
                  <a:lnTo>
                    <a:pt x="40" y="58"/>
                  </a:lnTo>
                  <a:lnTo>
                    <a:pt x="40" y="56"/>
                  </a:lnTo>
                  <a:lnTo>
                    <a:pt x="42" y="55"/>
                  </a:lnTo>
                  <a:lnTo>
                    <a:pt x="44" y="52"/>
                  </a:lnTo>
                  <a:lnTo>
                    <a:pt x="44" y="49"/>
                  </a:lnTo>
                  <a:lnTo>
                    <a:pt x="45" y="48"/>
                  </a:lnTo>
                  <a:lnTo>
                    <a:pt x="48" y="45"/>
                  </a:lnTo>
                  <a:lnTo>
                    <a:pt x="48" y="42"/>
                  </a:lnTo>
                  <a:lnTo>
                    <a:pt x="54" y="39"/>
                  </a:lnTo>
                  <a:lnTo>
                    <a:pt x="58" y="39"/>
                  </a:lnTo>
                  <a:lnTo>
                    <a:pt x="58" y="38"/>
                  </a:lnTo>
                  <a:lnTo>
                    <a:pt x="58" y="38"/>
                  </a:lnTo>
                  <a:lnTo>
                    <a:pt x="56" y="36"/>
                  </a:lnTo>
                  <a:lnTo>
                    <a:pt x="56" y="36"/>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54" name="Freeform 1229"/>
            <p:cNvSpPr>
              <a:spLocks/>
            </p:cNvSpPr>
            <p:nvPr/>
          </p:nvSpPr>
          <p:spPr bwMode="auto">
            <a:xfrm>
              <a:off x="6462190" y="1307209"/>
              <a:ext cx="7900" cy="13183"/>
            </a:xfrm>
            <a:custGeom>
              <a:avLst/>
              <a:gdLst/>
              <a:ahLst/>
              <a:cxnLst>
                <a:cxn ang="0">
                  <a:pos x="6" y="6"/>
                </a:cxn>
                <a:cxn ang="0">
                  <a:pos x="4" y="3"/>
                </a:cxn>
                <a:cxn ang="0">
                  <a:pos x="3" y="0"/>
                </a:cxn>
                <a:cxn ang="0">
                  <a:pos x="1" y="0"/>
                </a:cxn>
                <a:cxn ang="0">
                  <a:pos x="1" y="3"/>
                </a:cxn>
                <a:cxn ang="0">
                  <a:pos x="0" y="3"/>
                </a:cxn>
                <a:cxn ang="0">
                  <a:pos x="1" y="7"/>
                </a:cxn>
                <a:cxn ang="0">
                  <a:pos x="3" y="9"/>
                </a:cxn>
                <a:cxn ang="0">
                  <a:pos x="3" y="12"/>
                </a:cxn>
                <a:cxn ang="0">
                  <a:pos x="6" y="13"/>
                </a:cxn>
                <a:cxn ang="0">
                  <a:pos x="8" y="12"/>
                </a:cxn>
                <a:cxn ang="0">
                  <a:pos x="8" y="10"/>
                </a:cxn>
                <a:cxn ang="0">
                  <a:pos x="8" y="9"/>
                </a:cxn>
                <a:cxn ang="0">
                  <a:pos x="7" y="6"/>
                </a:cxn>
                <a:cxn ang="0">
                  <a:pos x="6" y="6"/>
                </a:cxn>
                <a:cxn ang="0">
                  <a:pos x="6" y="6"/>
                </a:cxn>
              </a:cxnLst>
              <a:rect l="0" t="0" r="r" b="b"/>
              <a:pathLst>
                <a:path w="8" h="13">
                  <a:moveTo>
                    <a:pt x="6" y="6"/>
                  </a:moveTo>
                  <a:lnTo>
                    <a:pt x="4" y="3"/>
                  </a:lnTo>
                  <a:lnTo>
                    <a:pt x="3" y="0"/>
                  </a:lnTo>
                  <a:lnTo>
                    <a:pt x="1" y="0"/>
                  </a:lnTo>
                  <a:lnTo>
                    <a:pt x="1" y="3"/>
                  </a:lnTo>
                  <a:lnTo>
                    <a:pt x="0" y="3"/>
                  </a:lnTo>
                  <a:lnTo>
                    <a:pt x="1" y="7"/>
                  </a:lnTo>
                  <a:lnTo>
                    <a:pt x="3" y="9"/>
                  </a:lnTo>
                  <a:lnTo>
                    <a:pt x="3" y="12"/>
                  </a:lnTo>
                  <a:lnTo>
                    <a:pt x="6" y="13"/>
                  </a:lnTo>
                  <a:lnTo>
                    <a:pt x="8" y="12"/>
                  </a:lnTo>
                  <a:lnTo>
                    <a:pt x="8" y="10"/>
                  </a:lnTo>
                  <a:lnTo>
                    <a:pt x="8" y="9"/>
                  </a:lnTo>
                  <a:lnTo>
                    <a:pt x="7" y="6"/>
                  </a:lnTo>
                  <a:lnTo>
                    <a:pt x="6" y="6"/>
                  </a:lnTo>
                  <a:lnTo>
                    <a:pt x="6" y="6"/>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55" name="Freeform 1230"/>
            <p:cNvSpPr>
              <a:spLocks/>
            </p:cNvSpPr>
            <p:nvPr/>
          </p:nvSpPr>
          <p:spPr bwMode="auto">
            <a:xfrm>
              <a:off x="6482378" y="1296053"/>
              <a:ext cx="21945" cy="11156"/>
            </a:xfrm>
            <a:custGeom>
              <a:avLst/>
              <a:gdLst/>
              <a:ahLst/>
              <a:cxnLst>
                <a:cxn ang="0">
                  <a:pos x="21" y="6"/>
                </a:cxn>
                <a:cxn ang="0">
                  <a:pos x="18" y="6"/>
                </a:cxn>
                <a:cxn ang="0">
                  <a:pos x="16" y="3"/>
                </a:cxn>
                <a:cxn ang="0">
                  <a:pos x="17" y="1"/>
                </a:cxn>
                <a:cxn ang="0">
                  <a:pos x="11" y="0"/>
                </a:cxn>
                <a:cxn ang="0">
                  <a:pos x="10" y="0"/>
                </a:cxn>
                <a:cxn ang="0">
                  <a:pos x="8" y="0"/>
                </a:cxn>
                <a:cxn ang="0">
                  <a:pos x="8" y="1"/>
                </a:cxn>
                <a:cxn ang="0">
                  <a:pos x="7" y="4"/>
                </a:cxn>
                <a:cxn ang="0">
                  <a:pos x="4" y="3"/>
                </a:cxn>
                <a:cxn ang="0">
                  <a:pos x="2" y="6"/>
                </a:cxn>
                <a:cxn ang="0">
                  <a:pos x="1" y="9"/>
                </a:cxn>
                <a:cxn ang="0">
                  <a:pos x="0" y="6"/>
                </a:cxn>
                <a:cxn ang="0">
                  <a:pos x="0" y="10"/>
                </a:cxn>
                <a:cxn ang="0">
                  <a:pos x="2" y="10"/>
                </a:cxn>
                <a:cxn ang="0">
                  <a:pos x="2" y="10"/>
                </a:cxn>
                <a:cxn ang="0">
                  <a:pos x="2" y="9"/>
                </a:cxn>
                <a:cxn ang="0">
                  <a:pos x="7" y="6"/>
                </a:cxn>
                <a:cxn ang="0">
                  <a:pos x="10" y="6"/>
                </a:cxn>
                <a:cxn ang="0">
                  <a:pos x="10" y="4"/>
                </a:cxn>
                <a:cxn ang="0">
                  <a:pos x="11" y="4"/>
                </a:cxn>
                <a:cxn ang="0">
                  <a:pos x="14" y="4"/>
                </a:cxn>
                <a:cxn ang="0">
                  <a:pos x="16" y="7"/>
                </a:cxn>
                <a:cxn ang="0">
                  <a:pos x="20" y="9"/>
                </a:cxn>
                <a:cxn ang="0">
                  <a:pos x="20" y="7"/>
                </a:cxn>
                <a:cxn ang="0">
                  <a:pos x="24" y="6"/>
                </a:cxn>
                <a:cxn ang="0">
                  <a:pos x="24" y="4"/>
                </a:cxn>
                <a:cxn ang="0">
                  <a:pos x="24" y="3"/>
                </a:cxn>
                <a:cxn ang="0">
                  <a:pos x="21" y="6"/>
                </a:cxn>
                <a:cxn ang="0">
                  <a:pos x="21" y="6"/>
                </a:cxn>
              </a:cxnLst>
              <a:rect l="0" t="0" r="r" b="b"/>
              <a:pathLst>
                <a:path w="24" h="10">
                  <a:moveTo>
                    <a:pt x="21" y="6"/>
                  </a:moveTo>
                  <a:lnTo>
                    <a:pt x="18" y="6"/>
                  </a:lnTo>
                  <a:lnTo>
                    <a:pt x="16" y="3"/>
                  </a:lnTo>
                  <a:lnTo>
                    <a:pt x="17" y="1"/>
                  </a:lnTo>
                  <a:lnTo>
                    <a:pt x="11" y="0"/>
                  </a:lnTo>
                  <a:lnTo>
                    <a:pt x="10" y="0"/>
                  </a:lnTo>
                  <a:lnTo>
                    <a:pt x="8" y="0"/>
                  </a:lnTo>
                  <a:lnTo>
                    <a:pt x="8" y="1"/>
                  </a:lnTo>
                  <a:lnTo>
                    <a:pt x="7" y="4"/>
                  </a:lnTo>
                  <a:lnTo>
                    <a:pt x="4" y="3"/>
                  </a:lnTo>
                  <a:lnTo>
                    <a:pt x="2" y="6"/>
                  </a:lnTo>
                  <a:lnTo>
                    <a:pt x="1" y="9"/>
                  </a:lnTo>
                  <a:lnTo>
                    <a:pt x="0" y="6"/>
                  </a:lnTo>
                  <a:lnTo>
                    <a:pt x="0" y="10"/>
                  </a:lnTo>
                  <a:lnTo>
                    <a:pt x="2" y="10"/>
                  </a:lnTo>
                  <a:lnTo>
                    <a:pt x="2" y="10"/>
                  </a:lnTo>
                  <a:lnTo>
                    <a:pt x="2" y="9"/>
                  </a:lnTo>
                  <a:lnTo>
                    <a:pt x="7" y="6"/>
                  </a:lnTo>
                  <a:lnTo>
                    <a:pt x="10" y="6"/>
                  </a:lnTo>
                  <a:lnTo>
                    <a:pt x="10" y="4"/>
                  </a:lnTo>
                  <a:lnTo>
                    <a:pt x="11" y="4"/>
                  </a:lnTo>
                  <a:lnTo>
                    <a:pt x="14" y="4"/>
                  </a:lnTo>
                  <a:lnTo>
                    <a:pt x="16" y="7"/>
                  </a:lnTo>
                  <a:lnTo>
                    <a:pt x="20" y="9"/>
                  </a:lnTo>
                  <a:lnTo>
                    <a:pt x="20" y="7"/>
                  </a:lnTo>
                  <a:lnTo>
                    <a:pt x="24" y="6"/>
                  </a:lnTo>
                  <a:lnTo>
                    <a:pt x="24" y="4"/>
                  </a:lnTo>
                  <a:lnTo>
                    <a:pt x="24" y="3"/>
                  </a:lnTo>
                  <a:lnTo>
                    <a:pt x="21" y="6"/>
                  </a:lnTo>
                  <a:lnTo>
                    <a:pt x="21" y="6"/>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56" name="Freeform 1231"/>
            <p:cNvSpPr>
              <a:spLocks/>
            </p:cNvSpPr>
            <p:nvPr/>
          </p:nvSpPr>
          <p:spPr bwMode="auto">
            <a:xfrm>
              <a:off x="6355975" y="1209852"/>
              <a:ext cx="118503" cy="70988"/>
            </a:xfrm>
            <a:custGeom>
              <a:avLst/>
              <a:gdLst/>
              <a:ahLst/>
              <a:cxnLst>
                <a:cxn ang="0">
                  <a:pos x="5" y="3"/>
                </a:cxn>
                <a:cxn ang="0">
                  <a:pos x="5" y="6"/>
                </a:cxn>
                <a:cxn ang="0">
                  <a:pos x="0" y="12"/>
                </a:cxn>
                <a:cxn ang="0">
                  <a:pos x="4" y="16"/>
                </a:cxn>
                <a:cxn ang="0">
                  <a:pos x="5" y="19"/>
                </a:cxn>
                <a:cxn ang="0">
                  <a:pos x="7" y="20"/>
                </a:cxn>
                <a:cxn ang="0">
                  <a:pos x="8" y="23"/>
                </a:cxn>
                <a:cxn ang="0">
                  <a:pos x="18" y="26"/>
                </a:cxn>
                <a:cxn ang="0">
                  <a:pos x="21" y="23"/>
                </a:cxn>
                <a:cxn ang="0">
                  <a:pos x="32" y="20"/>
                </a:cxn>
                <a:cxn ang="0">
                  <a:pos x="37" y="19"/>
                </a:cxn>
                <a:cxn ang="0">
                  <a:pos x="52" y="17"/>
                </a:cxn>
                <a:cxn ang="0">
                  <a:pos x="52" y="20"/>
                </a:cxn>
                <a:cxn ang="0">
                  <a:pos x="53" y="23"/>
                </a:cxn>
                <a:cxn ang="0">
                  <a:pos x="52" y="26"/>
                </a:cxn>
                <a:cxn ang="0">
                  <a:pos x="39" y="28"/>
                </a:cxn>
                <a:cxn ang="0">
                  <a:pos x="34" y="28"/>
                </a:cxn>
                <a:cxn ang="0">
                  <a:pos x="37" y="32"/>
                </a:cxn>
                <a:cxn ang="0">
                  <a:pos x="40" y="35"/>
                </a:cxn>
                <a:cxn ang="0">
                  <a:pos x="39" y="38"/>
                </a:cxn>
                <a:cxn ang="0">
                  <a:pos x="30" y="35"/>
                </a:cxn>
                <a:cxn ang="0">
                  <a:pos x="26" y="32"/>
                </a:cxn>
                <a:cxn ang="0">
                  <a:pos x="23" y="36"/>
                </a:cxn>
                <a:cxn ang="0">
                  <a:pos x="27" y="42"/>
                </a:cxn>
                <a:cxn ang="0">
                  <a:pos x="36" y="48"/>
                </a:cxn>
                <a:cxn ang="0">
                  <a:pos x="42" y="52"/>
                </a:cxn>
                <a:cxn ang="0">
                  <a:pos x="45" y="49"/>
                </a:cxn>
                <a:cxn ang="0">
                  <a:pos x="48" y="48"/>
                </a:cxn>
                <a:cxn ang="0">
                  <a:pos x="56" y="49"/>
                </a:cxn>
                <a:cxn ang="0">
                  <a:pos x="63" y="49"/>
                </a:cxn>
                <a:cxn ang="0">
                  <a:pos x="63" y="54"/>
                </a:cxn>
                <a:cxn ang="0">
                  <a:pos x="66" y="60"/>
                </a:cxn>
                <a:cxn ang="0">
                  <a:pos x="68" y="64"/>
                </a:cxn>
                <a:cxn ang="0">
                  <a:pos x="72" y="68"/>
                </a:cxn>
                <a:cxn ang="0">
                  <a:pos x="74" y="68"/>
                </a:cxn>
                <a:cxn ang="0">
                  <a:pos x="85" y="62"/>
                </a:cxn>
                <a:cxn ang="0">
                  <a:pos x="91" y="55"/>
                </a:cxn>
                <a:cxn ang="0">
                  <a:pos x="97" y="55"/>
                </a:cxn>
                <a:cxn ang="0">
                  <a:pos x="101" y="55"/>
                </a:cxn>
                <a:cxn ang="0">
                  <a:pos x="107" y="48"/>
                </a:cxn>
                <a:cxn ang="0">
                  <a:pos x="110" y="44"/>
                </a:cxn>
                <a:cxn ang="0">
                  <a:pos x="110" y="39"/>
                </a:cxn>
                <a:cxn ang="0">
                  <a:pos x="108" y="33"/>
                </a:cxn>
                <a:cxn ang="0">
                  <a:pos x="114" y="29"/>
                </a:cxn>
                <a:cxn ang="0">
                  <a:pos x="119" y="23"/>
                </a:cxn>
                <a:cxn ang="0">
                  <a:pos x="120" y="20"/>
                </a:cxn>
                <a:cxn ang="0">
                  <a:pos x="127" y="15"/>
                </a:cxn>
                <a:cxn ang="0">
                  <a:pos x="126" y="7"/>
                </a:cxn>
                <a:cxn ang="0">
                  <a:pos x="127" y="3"/>
                </a:cxn>
                <a:cxn ang="0">
                  <a:pos x="61" y="1"/>
                </a:cxn>
                <a:cxn ang="0">
                  <a:pos x="58" y="1"/>
                </a:cxn>
                <a:cxn ang="0">
                  <a:pos x="17" y="0"/>
                </a:cxn>
                <a:cxn ang="0">
                  <a:pos x="8" y="3"/>
                </a:cxn>
              </a:cxnLst>
              <a:rect l="0" t="0" r="r" b="b"/>
              <a:pathLst>
                <a:path w="129" h="68">
                  <a:moveTo>
                    <a:pt x="8" y="4"/>
                  </a:moveTo>
                  <a:lnTo>
                    <a:pt x="7" y="4"/>
                  </a:lnTo>
                  <a:lnTo>
                    <a:pt x="5" y="3"/>
                  </a:lnTo>
                  <a:lnTo>
                    <a:pt x="4" y="4"/>
                  </a:lnTo>
                  <a:lnTo>
                    <a:pt x="5" y="6"/>
                  </a:lnTo>
                  <a:lnTo>
                    <a:pt x="5" y="6"/>
                  </a:lnTo>
                  <a:lnTo>
                    <a:pt x="3" y="6"/>
                  </a:lnTo>
                  <a:lnTo>
                    <a:pt x="0" y="10"/>
                  </a:lnTo>
                  <a:lnTo>
                    <a:pt x="0" y="12"/>
                  </a:lnTo>
                  <a:lnTo>
                    <a:pt x="3" y="12"/>
                  </a:lnTo>
                  <a:lnTo>
                    <a:pt x="3" y="15"/>
                  </a:lnTo>
                  <a:lnTo>
                    <a:pt x="4" y="16"/>
                  </a:lnTo>
                  <a:lnTo>
                    <a:pt x="4" y="19"/>
                  </a:lnTo>
                  <a:lnTo>
                    <a:pt x="5" y="22"/>
                  </a:lnTo>
                  <a:lnTo>
                    <a:pt x="5" y="19"/>
                  </a:lnTo>
                  <a:lnTo>
                    <a:pt x="7" y="19"/>
                  </a:lnTo>
                  <a:lnTo>
                    <a:pt x="7" y="19"/>
                  </a:lnTo>
                  <a:lnTo>
                    <a:pt x="7" y="20"/>
                  </a:lnTo>
                  <a:lnTo>
                    <a:pt x="8" y="20"/>
                  </a:lnTo>
                  <a:lnTo>
                    <a:pt x="7" y="22"/>
                  </a:lnTo>
                  <a:lnTo>
                    <a:pt x="8" y="23"/>
                  </a:lnTo>
                  <a:lnTo>
                    <a:pt x="17" y="23"/>
                  </a:lnTo>
                  <a:lnTo>
                    <a:pt x="18" y="25"/>
                  </a:lnTo>
                  <a:lnTo>
                    <a:pt x="18" y="26"/>
                  </a:lnTo>
                  <a:lnTo>
                    <a:pt x="18" y="26"/>
                  </a:lnTo>
                  <a:lnTo>
                    <a:pt x="21" y="23"/>
                  </a:lnTo>
                  <a:lnTo>
                    <a:pt x="21" y="23"/>
                  </a:lnTo>
                  <a:lnTo>
                    <a:pt x="26" y="23"/>
                  </a:lnTo>
                  <a:lnTo>
                    <a:pt x="27" y="20"/>
                  </a:lnTo>
                  <a:lnTo>
                    <a:pt x="32" y="20"/>
                  </a:lnTo>
                  <a:lnTo>
                    <a:pt x="32" y="20"/>
                  </a:lnTo>
                  <a:lnTo>
                    <a:pt x="36" y="20"/>
                  </a:lnTo>
                  <a:lnTo>
                    <a:pt x="37" y="19"/>
                  </a:lnTo>
                  <a:lnTo>
                    <a:pt x="48" y="19"/>
                  </a:lnTo>
                  <a:lnTo>
                    <a:pt x="49" y="17"/>
                  </a:lnTo>
                  <a:lnTo>
                    <a:pt x="52" y="17"/>
                  </a:lnTo>
                  <a:lnTo>
                    <a:pt x="53" y="16"/>
                  </a:lnTo>
                  <a:lnTo>
                    <a:pt x="53" y="19"/>
                  </a:lnTo>
                  <a:lnTo>
                    <a:pt x="52" y="20"/>
                  </a:lnTo>
                  <a:lnTo>
                    <a:pt x="55" y="20"/>
                  </a:lnTo>
                  <a:lnTo>
                    <a:pt x="53" y="22"/>
                  </a:lnTo>
                  <a:lnTo>
                    <a:pt x="53" y="23"/>
                  </a:lnTo>
                  <a:lnTo>
                    <a:pt x="52" y="25"/>
                  </a:lnTo>
                  <a:lnTo>
                    <a:pt x="52" y="25"/>
                  </a:lnTo>
                  <a:lnTo>
                    <a:pt x="52" y="26"/>
                  </a:lnTo>
                  <a:lnTo>
                    <a:pt x="52" y="26"/>
                  </a:lnTo>
                  <a:lnTo>
                    <a:pt x="40" y="26"/>
                  </a:lnTo>
                  <a:lnTo>
                    <a:pt x="39" y="28"/>
                  </a:lnTo>
                  <a:lnTo>
                    <a:pt x="39" y="28"/>
                  </a:lnTo>
                  <a:lnTo>
                    <a:pt x="39" y="26"/>
                  </a:lnTo>
                  <a:lnTo>
                    <a:pt x="34" y="28"/>
                  </a:lnTo>
                  <a:lnTo>
                    <a:pt x="34" y="29"/>
                  </a:lnTo>
                  <a:lnTo>
                    <a:pt x="34" y="32"/>
                  </a:lnTo>
                  <a:lnTo>
                    <a:pt x="37" y="32"/>
                  </a:lnTo>
                  <a:lnTo>
                    <a:pt x="37" y="33"/>
                  </a:lnTo>
                  <a:lnTo>
                    <a:pt x="40" y="33"/>
                  </a:lnTo>
                  <a:lnTo>
                    <a:pt x="40" y="35"/>
                  </a:lnTo>
                  <a:lnTo>
                    <a:pt x="40" y="35"/>
                  </a:lnTo>
                  <a:lnTo>
                    <a:pt x="42" y="36"/>
                  </a:lnTo>
                  <a:lnTo>
                    <a:pt x="39" y="38"/>
                  </a:lnTo>
                  <a:lnTo>
                    <a:pt x="37" y="35"/>
                  </a:lnTo>
                  <a:lnTo>
                    <a:pt x="30" y="36"/>
                  </a:lnTo>
                  <a:lnTo>
                    <a:pt x="30" y="35"/>
                  </a:lnTo>
                  <a:lnTo>
                    <a:pt x="29" y="35"/>
                  </a:lnTo>
                  <a:lnTo>
                    <a:pt x="29" y="33"/>
                  </a:lnTo>
                  <a:lnTo>
                    <a:pt x="26" y="32"/>
                  </a:lnTo>
                  <a:lnTo>
                    <a:pt x="21" y="33"/>
                  </a:lnTo>
                  <a:lnTo>
                    <a:pt x="21" y="35"/>
                  </a:lnTo>
                  <a:lnTo>
                    <a:pt x="23" y="36"/>
                  </a:lnTo>
                  <a:lnTo>
                    <a:pt x="24" y="38"/>
                  </a:lnTo>
                  <a:lnTo>
                    <a:pt x="24" y="41"/>
                  </a:lnTo>
                  <a:lnTo>
                    <a:pt x="27" y="42"/>
                  </a:lnTo>
                  <a:lnTo>
                    <a:pt x="29" y="45"/>
                  </a:lnTo>
                  <a:lnTo>
                    <a:pt x="36" y="45"/>
                  </a:lnTo>
                  <a:lnTo>
                    <a:pt x="36" y="48"/>
                  </a:lnTo>
                  <a:lnTo>
                    <a:pt x="36" y="51"/>
                  </a:lnTo>
                  <a:lnTo>
                    <a:pt x="39" y="54"/>
                  </a:lnTo>
                  <a:lnTo>
                    <a:pt x="42" y="52"/>
                  </a:lnTo>
                  <a:lnTo>
                    <a:pt x="42" y="52"/>
                  </a:lnTo>
                  <a:lnTo>
                    <a:pt x="42" y="51"/>
                  </a:lnTo>
                  <a:lnTo>
                    <a:pt x="45" y="49"/>
                  </a:lnTo>
                  <a:lnTo>
                    <a:pt x="46" y="51"/>
                  </a:lnTo>
                  <a:lnTo>
                    <a:pt x="48" y="48"/>
                  </a:lnTo>
                  <a:lnTo>
                    <a:pt x="48" y="48"/>
                  </a:lnTo>
                  <a:lnTo>
                    <a:pt x="48" y="49"/>
                  </a:lnTo>
                  <a:lnTo>
                    <a:pt x="52" y="52"/>
                  </a:lnTo>
                  <a:lnTo>
                    <a:pt x="56" y="49"/>
                  </a:lnTo>
                  <a:lnTo>
                    <a:pt x="62" y="51"/>
                  </a:lnTo>
                  <a:lnTo>
                    <a:pt x="63" y="51"/>
                  </a:lnTo>
                  <a:lnTo>
                    <a:pt x="63" y="49"/>
                  </a:lnTo>
                  <a:lnTo>
                    <a:pt x="65" y="49"/>
                  </a:lnTo>
                  <a:lnTo>
                    <a:pt x="65" y="52"/>
                  </a:lnTo>
                  <a:lnTo>
                    <a:pt x="63" y="54"/>
                  </a:lnTo>
                  <a:lnTo>
                    <a:pt x="63" y="58"/>
                  </a:lnTo>
                  <a:lnTo>
                    <a:pt x="65" y="61"/>
                  </a:lnTo>
                  <a:lnTo>
                    <a:pt x="66" y="60"/>
                  </a:lnTo>
                  <a:lnTo>
                    <a:pt x="66" y="62"/>
                  </a:lnTo>
                  <a:lnTo>
                    <a:pt x="68" y="64"/>
                  </a:lnTo>
                  <a:lnTo>
                    <a:pt x="68" y="64"/>
                  </a:lnTo>
                  <a:lnTo>
                    <a:pt x="68" y="65"/>
                  </a:lnTo>
                  <a:lnTo>
                    <a:pt x="72" y="65"/>
                  </a:lnTo>
                  <a:lnTo>
                    <a:pt x="72" y="68"/>
                  </a:lnTo>
                  <a:lnTo>
                    <a:pt x="74" y="68"/>
                  </a:lnTo>
                  <a:lnTo>
                    <a:pt x="74" y="67"/>
                  </a:lnTo>
                  <a:lnTo>
                    <a:pt x="74" y="68"/>
                  </a:lnTo>
                  <a:lnTo>
                    <a:pt x="81" y="67"/>
                  </a:lnTo>
                  <a:lnTo>
                    <a:pt x="85" y="64"/>
                  </a:lnTo>
                  <a:lnTo>
                    <a:pt x="85" y="62"/>
                  </a:lnTo>
                  <a:lnTo>
                    <a:pt x="87" y="58"/>
                  </a:lnTo>
                  <a:lnTo>
                    <a:pt x="87" y="57"/>
                  </a:lnTo>
                  <a:lnTo>
                    <a:pt x="91" y="55"/>
                  </a:lnTo>
                  <a:lnTo>
                    <a:pt x="95" y="52"/>
                  </a:lnTo>
                  <a:lnTo>
                    <a:pt x="97" y="54"/>
                  </a:lnTo>
                  <a:lnTo>
                    <a:pt x="97" y="55"/>
                  </a:lnTo>
                  <a:lnTo>
                    <a:pt x="98" y="55"/>
                  </a:lnTo>
                  <a:lnTo>
                    <a:pt x="100" y="54"/>
                  </a:lnTo>
                  <a:lnTo>
                    <a:pt x="101" y="55"/>
                  </a:lnTo>
                  <a:lnTo>
                    <a:pt x="104" y="51"/>
                  </a:lnTo>
                  <a:lnTo>
                    <a:pt x="107" y="49"/>
                  </a:lnTo>
                  <a:lnTo>
                    <a:pt x="107" y="48"/>
                  </a:lnTo>
                  <a:lnTo>
                    <a:pt x="108" y="46"/>
                  </a:lnTo>
                  <a:lnTo>
                    <a:pt x="107" y="44"/>
                  </a:lnTo>
                  <a:lnTo>
                    <a:pt x="110" y="44"/>
                  </a:lnTo>
                  <a:lnTo>
                    <a:pt x="110" y="41"/>
                  </a:lnTo>
                  <a:lnTo>
                    <a:pt x="110" y="39"/>
                  </a:lnTo>
                  <a:lnTo>
                    <a:pt x="110" y="39"/>
                  </a:lnTo>
                  <a:lnTo>
                    <a:pt x="110" y="38"/>
                  </a:lnTo>
                  <a:lnTo>
                    <a:pt x="108" y="36"/>
                  </a:lnTo>
                  <a:lnTo>
                    <a:pt x="108" y="33"/>
                  </a:lnTo>
                  <a:lnTo>
                    <a:pt x="111" y="31"/>
                  </a:lnTo>
                  <a:lnTo>
                    <a:pt x="111" y="29"/>
                  </a:lnTo>
                  <a:lnTo>
                    <a:pt x="114" y="29"/>
                  </a:lnTo>
                  <a:lnTo>
                    <a:pt x="116" y="26"/>
                  </a:lnTo>
                  <a:lnTo>
                    <a:pt x="117" y="26"/>
                  </a:lnTo>
                  <a:lnTo>
                    <a:pt x="119" y="23"/>
                  </a:lnTo>
                  <a:lnTo>
                    <a:pt x="120" y="23"/>
                  </a:lnTo>
                  <a:lnTo>
                    <a:pt x="120" y="22"/>
                  </a:lnTo>
                  <a:lnTo>
                    <a:pt x="120" y="20"/>
                  </a:lnTo>
                  <a:lnTo>
                    <a:pt x="122" y="17"/>
                  </a:lnTo>
                  <a:lnTo>
                    <a:pt x="123" y="16"/>
                  </a:lnTo>
                  <a:lnTo>
                    <a:pt x="127" y="15"/>
                  </a:lnTo>
                  <a:lnTo>
                    <a:pt x="127" y="12"/>
                  </a:lnTo>
                  <a:lnTo>
                    <a:pt x="129" y="10"/>
                  </a:lnTo>
                  <a:lnTo>
                    <a:pt x="126" y="7"/>
                  </a:lnTo>
                  <a:lnTo>
                    <a:pt x="126" y="7"/>
                  </a:lnTo>
                  <a:lnTo>
                    <a:pt x="126" y="6"/>
                  </a:lnTo>
                  <a:lnTo>
                    <a:pt x="127" y="3"/>
                  </a:lnTo>
                  <a:lnTo>
                    <a:pt x="127" y="0"/>
                  </a:lnTo>
                  <a:lnTo>
                    <a:pt x="61" y="0"/>
                  </a:lnTo>
                  <a:lnTo>
                    <a:pt x="61" y="1"/>
                  </a:lnTo>
                  <a:lnTo>
                    <a:pt x="59" y="1"/>
                  </a:lnTo>
                  <a:lnTo>
                    <a:pt x="59" y="3"/>
                  </a:lnTo>
                  <a:lnTo>
                    <a:pt x="58" y="1"/>
                  </a:lnTo>
                  <a:lnTo>
                    <a:pt x="56" y="0"/>
                  </a:lnTo>
                  <a:lnTo>
                    <a:pt x="17" y="0"/>
                  </a:lnTo>
                  <a:lnTo>
                    <a:pt x="17" y="0"/>
                  </a:lnTo>
                  <a:lnTo>
                    <a:pt x="17" y="0"/>
                  </a:lnTo>
                  <a:lnTo>
                    <a:pt x="8" y="0"/>
                  </a:lnTo>
                  <a:lnTo>
                    <a:pt x="8" y="3"/>
                  </a:lnTo>
                  <a:lnTo>
                    <a:pt x="8" y="4"/>
                  </a:lnTo>
                  <a:lnTo>
                    <a:pt x="8" y="4"/>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57" name="Freeform 1232"/>
            <p:cNvSpPr>
              <a:spLocks/>
            </p:cNvSpPr>
            <p:nvPr/>
          </p:nvSpPr>
          <p:spPr bwMode="auto">
            <a:xfrm>
              <a:off x="4835624" y="1297068"/>
              <a:ext cx="45646" cy="85187"/>
            </a:xfrm>
            <a:custGeom>
              <a:avLst/>
              <a:gdLst/>
              <a:ahLst/>
              <a:cxnLst>
                <a:cxn ang="0">
                  <a:pos x="50" y="42"/>
                </a:cxn>
                <a:cxn ang="0">
                  <a:pos x="50" y="41"/>
                </a:cxn>
                <a:cxn ang="0">
                  <a:pos x="46" y="31"/>
                </a:cxn>
                <a:cxn ang="0">
                  <a:pos x="40" y="26"/>
                </a:cxn>
                <a:cxn ang="0">
                  <a:pos x="36" y="29"/>
                </a:cxn>
                <a:cxn ang="0">
                  <a:pos x="33" y="28"/>
                </a:cxn>
                <a:cxn ang="0">
                  <a:pos x="34" y="19"/>
                </a:cxn>
                <a:cxn ang="0">
                  <a:pos x="33" y="18"/>
                </a:cxn>
                <a:cxn ang="0">
                  <a:pos x="31" y="16"/>
                </a:cxn>
                <a:cxn ang="0">
                  <a:pos x="27" y="12"/>
                </a:cxn>
                <a:cxn ang="0">
                  <a:pos x="24" y="12"/>
                </a:cxn>
                <a:cxn ang="0">
                  <a:pos x="14" y="2"/>
                </a:cxn>
                <a:cxn ang="0">
                  <a:pos x="5" y="0"/>
                </a:cxn>
                <a:cxn ang="0">
                  <a:pos x="1" y="5"/>
                </a:cxn>
                <a:cxn ang="0">
                  <a:pos x="1" y="6"/>
                </a:cxn>
                <a:cxn ang="0">
                  <a:pos x="1" y="8"/>
                </a:cxn>
                <a:cxn ang="0">
                  <a:pos x="2" y="18"/>
                </a:cxn>
                <a:cxn ang="0">
                  <a:pos x="4" y="19"/>
                </a:cxn>
                <a:cxn ang="0">
                  <a:pos x="4" y="22"/>
                </a:cxn>
                <a:cxn ang="0">
                  <a:pos x="4" y="24"/>
                </a:cxn>
                <a:cxn ang="0">
                  <a:pos x="0" y="26"/>
                </a:cxn>
                <a:cxn ang="0">
                  <a:pos x="4" y="32"/>
                </a:cxn>
                <a:cxn ang="0">
                  <a:pos x="5" y="34"/>
                </a:cxn>
                <a:cxn ang="0">
                  <a:pos x="4" y="37"/>
                </a:cxn>
                <a:cxn ang="0">
                  <a:pos x="5" y="42"/>
                </a:cxn>
                <a:cxn ang="0">
                  <a:pos x="8" y="42"/>
                </a:cxn>
                <a:cxn ang="0">
                  <a:pos x="8" y="45"/>
                </a:cxn>
                <a:cxn ang="0">
                  <a:pos x="7" y="47"/>
                </a:cxn>
                <a:cxn ang="0">
                  <a:pos x="7" y="48"/>
                </a:cxn>
                <a:cxn ang="0">
                  <a:pos x="11" y="50"/>
                </a:cxn>
                <a:cxn ang="0">
                  <a:pos x="14" y="48"/>
                </a:cxn>
                <a:cxn ang="0">
                  <a:pos x="21" y="53"/>
                </a:cxn>
                <a:cxn ang="0">
                  <a:pos x="21" y="55"/>
                </a:cxn>
                <a:cxn ang="0">
                  <a:pos x="23" y="57"/>
                </a:cxn>
                <a:cxn ang="0">
                  <a:pos x="20" y="58"/>
                </a:cxn>
                <a:cxn ang="0">
                  <a:pos x="10" y="58"/>
                </a:cxn>
                <a:cxn ang="0">
                  <a:pos x="8" y="61"/>
                </a:cxn>
                <a:cxn ang="0">
                  <a:pos x="18" y="73"/>
                </a:cxn>
                <a:cxn ang="0">
                  <a:pos x="17" y="79"/>
                </a:cxn>
                <a:cxn ang="0">
                  <a:pos x="17" y="80"/>
                </a:cxn>
                <a:cxn ang="0">
                  <a:pos x="23" y="82"/>
                </a:cxn>
                <a:cxn ang="0">
                  <a:pos x="26" y="79"/>
                </a:cxn>
                <a:cxn ang="0">
                  <a:pos x="26" y="77"/>
                </a:cxn>
                <a:cxn ang="0">
                  <a:pos x="24" y="76"/>
                </a:cxn>
                <a:cxn ang="0">
                  <a:pos x="23" y="76"/>
                </a:cxn>
                <a:cxn ang="0">
                  <a:pos x="27" y="71"/>
                </a:cxn>
                <a:cxn ang="0">
                  <a:pos x="31" y="76"/>
                </a:cxn>
                <a:cxn ang="0">
                  <a:pos x="34" y="74"/>
                </a:cxn>
                <a:cxn ang="0">
                  <a:pos x="45" y="70"/>
                </a:cxn>
                <a:cxn ang="0">
                  <a:pos x="47" y="70"/>
                </a:cxn>
                <a:cxn ang="0">
                  <a:pos x="47" y="71"/>
                </a:cxn>
                <a:cxn ang="0">
                  <a:pos x="49" y="71"/>
                </a:cxn>
                <a:cxn ang="0">
                  <a:pos x="50" y="61"/>
                </a:cxn>
                <a:cxn ang="0">
                  <a:pos x="50" y="60"/>
                </a:cxn>
                <a:cxn ang="0">
                  <a:pos x="49" y="58"/>
                </a:cxn>
                <a:cxn ang="0">
                  <a:pos x="47" y="58"/>
                </a:cxn>
                <a:cxn ang="0">
                  <a:pos x="47" y="45"/>
                </a:cxn>
                <a:cxn ang="0">
                  <a:pos x="50" y="42"/>
                </a:cxn>
                <a:cxn ang="0">
                  <a:pos x="50" y="42"/>
                </a:cxn>
              </a:cxnLst>
              <a:rect l="0" t="0" r="r" b="b"/>
              <a:pathLst>
                <a:path w="50" h="82">
                  <a:moveTo>
                    <a:pt x="50" y="42"/>
                  </a:moveTo>
                  <a:lnTo>
                    <a:pt x="50" y="41"/>
                  </a:lnTo>
                  <a:lnTo>
                    <a:pt x="46" y="31"/>
                  </a:lnTo>
                  <a:lnTo>
                    <a:pt x="40" y="26"/>
                  </a:lnTo>
                  <a:lnTo>
                    <a:pt x="36" y="29"/>
                  </a:lnTo>
                  <a:lnTo>
                    <a:pt x="33" y="28"/>
                  </a:lnTo>
                  <a:lnTo>
                    <a:pt x="34" y="19"/>
                  </a:lnTo>
                  <a:lnTo>
                    <a:pt x="33" y="18"/>
                  </a:lnTo>
                  <a:lnTo>
                    <a:pt x="31" y="16"/>
                  </a:lnTo>
                  <a:lnTo>
                    <a:pt x="27" y="12"/>
                  </a:lnTo>
                  <a:lnTo>
                    <a:pt x="24" y="12"/>
                  </a:lnTo>
                  <a:lnTo>
                    <a:pt x="14" y="2"/>
                  </a:lnTo>
                  <a:lnTo>
                    <a:pt x="5" y="0"/>
                  </a:lnTo>
                  <a:lnTo>
                    <a:pt x="1" y="5"/>
                  </a:lnTo>
                  <a:lnTo>
                    <a:pt x="1" y="6"/>
                  </a:lnTo>
                  <a:lnTo>
                    <a:pt x="1" y="8"/>
                  </a:lnTo>
                  <a:lnTo>
                    <a:pt x="2" y="18"/>
                  </a:lnTo>
                  <a:lnTo>
                    <a:pt x="4" y="19"/>
                  </a:lnTo>
                  <a:lnTo>
                    <a:pt x="4" y="22"/>
                  </a:lnTo>
                  <a:lnTo>
                    <a:pt x="4" y="24"/>
                  </a:lnTo>
                  <a:lnTo>
                    <a:pt x="0" y="26"/>
                  </a:lnTo>
                  <a:lnTo>
                    <a:pt x="4" y="32"/>
                  </a:lnTo>
                  <a:lnTo>
                    <a:pt x="5" y="34"/>
                  </a:lnTo>
                  <a:lnTo>
                    <a:pt x="4" y="37"/>
                  </a:lnTo>
                  <a:lnTo>
                    <a:pt x="5" y="42"/>
                  </a:lnTo>
                  <a:lnTo>
                    <a:pt x="8" y="42"/>
                  </a:lnTo>
                  <a:lnTo>
                    <a:pt x="8" y="45"/>
                  </a:lnTo>
                  <a:lnTo>
                    <a:pt x="7" y="47"/>
                  </a:lnTo>
                  <a:lnTo>
                    <a:pt x="7" y="48"/>
                  </a:lnTo>
                  <a:lnTo>
                    <a:pt x="11" y="50"/>
                  </a:lnTo>
                  <a:lnTo>
                    <a:pt x="14" y="48"/>
                  </a:lnTo>
                  <a:lnTo>
                    <a:pt x="21" y="53"/>
                  </a:lnTo>
                  <a:lnTo>
                    <a:pt x="21" y="55"/>
                  </a:lnTo>
                  <a:lnTo>
                    <a:pt x="23" y="57"/>
                  </a:lnTo>
                  <a:lnTo>
                    <a:pt x="20" y="58"/>
                  </a:lnTo>
                  <a:lnTo>
                    <a:pt x="10" y="58"/>
                  </a:lnTo>
                  <a:lnTo>
                    <a:pt x="8" y="61"/>
                  </a:lnTo>
                  <a:lnTo>
                    <a:pt x="18" y="73"/>
                  </a:lnTo>
                  <a:lnTo>
                    <a:pt x="17" y="79"/>
                  </a:lnTo>
                  <a:lnTo>
                    <a:pt x="17" y="80"/>
                  </a:lnTo>
                  <a:lnTo>
                    <a:pt x="23" y="82"/>
                  </a:lnTo>
                  <a:lnTo>
                    <a:pt x="26" y="79"/>
                  </a:lnTo>
                  <a:lnTo>
                    <a:pt x="26" y="77"/>
                  </a:lnTo>
                  <a:lnTo>
                    <a:pt x="24" y="76"/>
                  </a:lnTo>
                  <a:lnTo>
                    <a:pt x="23" y="76"/>
                  </a:lnTo>
                  <a:lnTo>
                    <a:pt x="27" y="71"/>
                  </a:lnTo>
                  <a:lnTo>
                    <a:pt x="31" y="76"/>
                  </a:lnTo>
                  <a:lnTo>
                    <a:pt x="34" y="74"/>
                  </a:lnTo>
                  <a:lnTo>
                    <a:pt x="45" y="70"/>
                  </a:lnTo>
                  <a:lnTo>
                    <a:pt x="47" y="70"/>
                  </a:lnTo>
                  <a:lnTo>
                    <a:pt x="47" y="71"/>
                  </a:lnTo>
                  <a:lnTo>
                    <a:pt x="49" y="71"/>
                  </a:lnTo>
                  <a:lnTo>
                    <a:pt x="50" y="61"/>
                  </a:lnTo>
                  <a:lnTo>
                    <a:pt x="50" y="60"/>
                  </a:lnTo>
                  <a:lnTo>
                    <a:pt x="49" y="58"/>
                  </a:lnTo>
                  <a:lnTo>
                    <a:pt x="47" y="58"/>
                  </a:lnTo>
                  <a:lnTo>
                    <a:pt x="47" y="45"/>
                  </a:lnTo>
                  <a:lnTo>
                    <a:pt x="50" y="42"/>
                  </a:lnTo>
                  <a:lnTo>
                    <a:pt x="50" y="42"/>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58" name="Freeform 1233"/>
            <p:cNvSpPr>
              <a:spLocks/>
            </p:cNvSpPr>
            <p:nvPr/>
          </p:nvSpPr>
          <p:spPr bwMode="auto">
            <a:xfrm>
              <a:off x="4739067" y="1263601"/>
              <a:ext cx="88658" cy="116625"/>
            </a:xfrm>
            <a:custGeom>
              <a:avLst/>
              <a:gdLst/>
              <a:ahLst/>
              <a:cxnLst>
                <a:cxn ang="0">
                  <a:pos x="87" y="74"/>
                </a:cxn>
                <a:cxn ang="0">
                  <a:pos x="83" y="67"/>
                </a:cxn>
                <a:cxn ang="0">
                  <a:pos x="86" y="58"/>
                </a:cxn>
                <a:cxn ang="0">
                  <a:pos x="86" y="53"/>
                </a:cxn>
                <a:cxn ang="0">
                  <a:pos x="86" y="50"/>
                </a:cxn>
                <a:cxn ang="0">
                  <a:pos x="83" y="51"/>
                </a:cxn>
                <a:cxn ang="0">
                  <a:pos x="81" y="45"/>
                </a:cxn>
                <a:cxn ang="0">
                  <a:pos x="77" y="44"/>
                </a:cxn>
                <a:cxn ang="0">
                  <a:pos x="77" y="37"/>
                </a:cxn>
                <a:cxn ang="0">
                  <a:pos x="68" y="32"/>
                </a:cxn>
                <a:cxn ang="0">
                  <a:pos x="62" y="37"/>
                </a:cxn>
                <a:cxn ang="0">
                  <a:pos x="61" y="35"/>
                </a:cxn>
                <a:cxn ang="0">
                  <a:pos x="61" y="26"/>
                </a:cxn>
                <a:cxn ang="0">
                  <a:pos x="58" y="19"/>
                </a:cxn>
                <a:cxn ang="0">
                  <a:pos x="55" y="24"/>
                </a:cxn>
                <a:cxn ang="0">
                  <a:pos x="55" y="21"/>
                </a:cxn>
                <a:cxn ang="0">
                  <a:pos x="49" y="13"/>
                </a:cxn>
                <a:cxn ang="0">
                  <a:pos x="44" y="12"/>
                </a:cxn>
                <a:cxn ang="0">
                  <a:pos x="38" y="21"/>
                </a:cxn>
                <a:cxn ang="0">
                  <a:pos x="38" y="29"/>
                </a:cxn>
                <a:cxn ang="0">
                  <a:pos x="35" y="9"/>
                </a:cxn>
                <a:cxn ang="0">
                  <a:pos x="30" y="6"/>
                </a:cxn>
                <a:cxn ang="0">
                  <a:pos x="28" y="5"/>
                </a:cxn>
                <a:cxn ang="0">
                  <a:pos x="22" y="0"/>
                </a:cxn>
                <a:cxn ang="0">
                  <a:pos x="6" y="6"/>
                </a:cxn>
                <a:cxn ang="0">
                  <a:pos x="3" y="6"/>
                </a:cxn>
                <a:cxn ang="0">
                  <a:pos x="1" y="28"/>
                </a:cxn>
                <a:cxn ang="0">
                  <a:pos x="10" y="25"/>
                </a:cxn>
                <a:cxn ang="0">
                  <a:pos x="12" y="38"/>
                </a:cxn>
                <a:cxn ang="0">
                  <a:pos x="10" y="42"/>
                </a:cxn>
                <a:cxn ang="0">
                  <a:pos x="17" y="31"/>
                </a:cxn>
                <a:cxn ang="0">
                  <a:pos x="20" y="28"/>
                </a:cxn>
                <a:cxn ang="0">
                  <a:pos x="23" y="31"/>
                </a:cxn>
                <a:cxn ang="0">
                  <a:pos x="23" y="38"/>
                </a:cxn>
                <a:cxn ang="0">
                  <a:pos x="22" y="44"/>
                </a:cxn>
                <a:cxn ang="0">
                  <a:pos x="25" y="42"/>
                </a:cxn>
                <a:cxn ang="0">
                  <a:pos x="28" y="45"/>
                </a:cxn>
                <a:cxn ang="0">
                  <a:pos x="32" y="47"/>
                </a:cxn>
                <a:cxn ang="0">
                  <a:pos x="25" y="53"/>
                </a:cxn>
                <a:cxn ang="0">
                  <a:pos x="33" y="57"/>
                </a:cxn>
                <a:cxn ang="0">
                  <a:pos x="25" y="63"/>
                </a:cxn>
                <a:cxn ang="0">
                  <a:pos x="12" y="60"/>
                </a:cxn>
                <a:cxn ang="0">
                  <a:pos x="12" y="70"/>
                </a:cxn>
                <a:cxn ang="0">
                  <a:pos x="20" y="80"/>
                </a:cxn>
                <a:cxn ang="0">
                  <a:pos x="29" y="79"/>
                </a:cxn>
                <a:cxn ang="0">
                  <a:pos x="33" y="76"/>
                </a:cxn>
                <a:cxn ang="0">
                  <a:pos x="41" y="73"/>
                </a:cxn>
                <a:cxn ang="0">
                  <a:pos x="44" y="79"/>
                </a:cxn>
                <a:cxn ang="0">
                  <a:pos x="49" y="77"/>
                </a:cxn>
                <a:cxn ang="0">
                  <a:pos x="61" y="82"/>
                </a:cxn>
                <a:cxn ang="0">
                  <a:pos x="65" y="83"/>
                </a:cxn>
                <a:cxn ang="0">
                  <a:pos x="67" y="83"/>
                </a:cxn>
                <a:cxn ang="0">
                  <a:pos x="70" y="89"/>
                </a:cxn>
                <a:cxn ang="0">
                  <a:pos x="73" y="101"/>
                </a:cxn>
                <a:cxn ang="0">
                  <a:pos x="77" y="109"/>
                </a:cxn>
                <a:cxn ang="0">
                  <a:pos x="81" y="112"/>
                </a:cxn>
                <a:cxn ang="0">
                  <a:pos x="84" y="108"/>
                </a:cxn>
                <a:cxn ang="0">
                  <a:pos x="93" y="106"/>
                </a:cxn>
                <a:cxn ang="0">
                  <a:pos x="93" y="99"/>
                </a:cxn>
                <a:cxn ang="0">
                  <a:pos x="87" y="79"/>
                </a:cxn>
              </a:cxnLst>
              <a:rect l="0" t="0" r="r" b="b"/>
              <a:pathLst>
                <a:path w="96" h="112">
                  <a:moveTo>
                    <a:pt x="87" y="79"/>
                  </a:moveTo>
                  <a:lnTo>
                    <a:pt x="87" y="74"/>
                  </a:lnTo>
                  <a:lnTo>
                    <a:pt x="83" y="72"/>
                  </a:lnTo>
                  <a:lnTo>
                    <a:pt x="83" y="67"/>
                  </a:lnTo>
                  <a:lnTo>
                    <a:pt x="83" y="63"/>
                  </a:lnTo>
                  <a:lnTo>
                    <a:pt x="86" y="58"/>
                  </a:lnTo>
                  <a:lnTo>
                    <a:pt x="86" y="56"/>
                  </a:lnTo>
                  <a:lnTo>
                    <a:pt x="86" y="53"/>
                  </a:lnTo>
                  <a:lnTo>
                    <a:pt x="86" y="51"/>
                  </a:lnTo>
                  <a:lnTo>
                    <a:pt x="86" y="50"/>
                  </a:lnTo>
                  <a:lnTo>
                    <a:pt x="84" y="48"/>
                  </a:lnTo>
                  <a:lnTo>
                    <a:pt x="83" y="51"/>
                  </a:lnTo>
                  <a:lnTo>
                    <a:pt x="81" y="47"/>
                  </a:lnTo>
                  <a:lnTo>
                    <a:pt x="81" y="45"/>
                  </a:lnTo>
                  <a:lnTo>
                    <a:pt x="78" y="45"/>
                  </a:lnTo>
                  <a:lnTo>
                    <a:pt x="77" y="44"/>
                  </a:lnTo>
                  <a:lnTo>
                    <a:pt x="78" y="41"/>
                  </a:lnTo>
                  <a:lnTo>
                    <a:pt x="77" y="37"/>
                  </a:lnTo>
                  <a:lnTo>
                    <a:pt x="70" y="31"/>
                  </a:lnTo>
                  <a:lnTo>
                    <a:pt x="68" y="32"/>
                  </a:lnTo>
                  <a:lnTo>
                    <a:pt x="64" y="34"/>
                  </a:lnTo>
                  <a:lnTo>
                    <a:pt x="62" y="37"/>
                  </a:lnTo>
                  <a:lnTo>
                    <a:pt x="61" y="37"/>
                  </a:lnTo>
                  <a:lnTo>
                    <a:pt x="61" y="35"/>
                  </a:lnTo>
                  <a:lnTo>
                    <a:pt x="60" y="34"/>
                  </a:lnTo>
                  <a:lnTo>
                    <a:pt x="61" y="26"/>
                  </a:lnTo>
                  <a:lnTo>
                    <a:pt x="60" y="22"/>
                  </a:lnTo>
                  <a:lnTo>
                    <a:pt x="58" y="19"/>
                  </a:lnTo>
                  <a:lnTo>
                    <a:pt x="57" y="22"/>
                  </a:lnTo>
                  <a:lnTo>
                    <a:pt x="55" y="24"/>
                  </a:lnTo>
                  <a:lnTo>
                    <a:pt x="55" y="22"/>
                  </a:lnTo>
                  <a:lnTo>
                    <a:pt x="55" y="21"/>
                  </a:lnTo>
                  <a:lnTo>
                    <a:pt x="52" y="18"/>
                  </a:lnTo>
                  <a:lnTo>
                    <a:pt x="49" y="13"/>
                  </a:lnTo>
                  <a:lnTo>
                    <a:pt x="46" y="12"/>
                  </a:lnTo>
                  <a:lnTo>
                    <a:pt x="44" y="12"/>
                  </a:lnTo>
                  <a:lnTo>
                    <a:pt x="39" y="18"/>
                  </a:lnTo>
                  <a:lnTo>
                    <a:pt x="38" y="21"/>
                  </a:lnTo>
                  <a:lnTo>
                    <a:pt x="38" y="28"/>
                  </a:lnTo>
                  <a:lnTo>
                    <a:pt x="38" y="29"/>
                  </a:lnTo>
                  <a:lnTo>
                    <a:pt x="33" y="25"/>
                  </a:lnTo>
                  <a:lnTo>
                    <a:pt x="35" y="9"/>
                  </a:lnTo>
                  <a:lnTo>
                    <a:pt x="33" y="6"/>
                  </a:lnTo>
                  <a:lnTo>
                    <a:pt x="30" y="6"/>
                  </a:lnTo>
                  <a:lnTo>
                    <a:pt x="28" y="8"/>
                  </a:lnTo>
                  <a:lnTo>
                    <a:pt x="28" y="5"/>
                  </a:lnTo>
                  <a:lnTo>
                    <a:pt x="28" y="3"/>
                  </a:lnTo>
                  <a:lnTo>
                    <a:pt x="22" y="0"/>
                  </a:lnTo>
                  <a:lnTo>
                    <a:pt x="16" y="3"/>
                  </a:lnTo>
                  <a:lnTo>
                    <a:pt x="6" y="6"/>
                  </a:lnTo>
                  <a:lnTo>
                    <a:pt x="3" y="5"/>
                  </a:lnTo>
                  <a:lnTo>
                    <a:pt x="3" y="6"/>
                  </a:lnTo>
                  <a:lnTo>
                    <a:pt x="0" y="15"/>
                  </a:lnTo>
                  <a:lnTo>
                    <a:pt x="1" y="28"/>
                  </a:lnTo>
                  <a:lnTo>
                    <a:pt x="4" y="28"/>
                  </a:lnTo>
                  <a:lnTo>
                    <a:pt x="10" y="25"/>
                  </a:lnTo>
                  <a:lnTo>
                    <a:pt x="13" y="25"/>
                  </a:lnTo>
                  <a:lnTo>
                    <a:pt x="12" y="38"/>
                  </a:lnTo>
                  <a:lnTo>
                    <a:pt x="9" y="40"/>
                  </a:lnTo>
                  <a:lnTo>
                    <a:pt x="10" y="42"/>
                  </a:lnTo>
                  <a:lnTo>
                    <a:pt x="14" y="41"/>
                  </a:lnTo>
                  <a:lnTo>
                    <a:pt x="17" y="31"/>
                  </a:lnTo>
                  <a:lnTo>
                    <a:pt x="19" y="31"/>
                  </a:lnTo>
                  <a:lnTo>
                    <a:pt x="20" y="28"/>
                  </a:lnTo>
                  <a:lnTo>
                    <a:pt x="23" y="29"/>
                  </a:lnTo>
                  <a:lnTo>
                    <a:pt x="23" y="31"/>
                  </a:lnTo>
                  <a:lnTo>
                    <a:pt x="25" y="34"/>
                  </a:lnTo>
                  <a:lnTo>
                    <a:pt x="23" y="38"/>
                  </a:lnTo>
                  <a:lnTo>
                    <a:pt x="22" y="41"/>
                  </a:lnTo>
                  <a:lnTo>
                    <a:pt x="22" y="44"/>
                  </a:lnTo>
                  <a:lnTo>
                    <a:pt x="23" y="45"/>
                  </a:lnTo>
                  <a:lnTo>
                    <a:pt x="25" y="42"/>
                  </a:lnTo>
                  <a:lnTo>
                    <a:pt x="26" y="42"/>
                  </a:lnTo>
                  <a:lnTo>
                    <a:pt x="28" y="45"/>
                  </a:lnTo>
                  <a:lnTo>
                    <a:pt x="32" y="44"/>
                  </a:lnTo>
                  <a:lnTo>
                    <a:pt x="32" y="47"/>
                  </a:lnTo>
                  <a:lnTo>
                    <a:pt x="30" y="50"/>
                  </a:lnTo>
                  <a:lnTo>
                    <a:pt x="25" y="53"/>
                  </a:lnTo>
                  <a:lnTo>
                    <a:pt x="25" y="54"/>
                  </a:lnTo>
                  <a:lnTo>
                    <a:pt x="33" y="57"/>
                  </a:lnTo>
                  <a:lnTo>
                    <a:pt x="30" y="63"/>
                  </a:lnTo>
                  <a:lnTo>
                    <a:pt x="25" y="63"/>
                  </a:lnTo>
                  <a:lnTo>
                    <a:pt x="17" y="58"/>
                  </a:lnTo>
                  <a:lnTo>
                    <a:pt x="12" y="60"/>
                  </a:lnTo>
                  <a:lnTo>
                    <a:pt x="10" y="61"/>
                  </a:lnTo>
                  <a:lnTo>
                    <a:pt x="12" y="70"/>
                  </a:lnTo>
                  <a:lnTo>
                    <a:pt x="14" y="76"/>
                  </a:lnTo>
                  <a:lnTo>
                    <a:pt x="20" y="80"/>
                  </a:lnTo>
                  <a:lnTo>
                    <a:pt x="28" y="80"/>
                  </a:lnTo>
                  <a:lnTo>
                    <a:pt x="29" y="79"/>
                  </a:lnTo>
                  <a:lnTo>
                    <a:pt x="30" y="76"/>
                  </a:lnTo>
                  <a:lnTo>
                    <a:pt x="33" y="76"/>
                  </a:lnTo>
                  <a:lnTo>
                    <a:pt x="41" y="72"/>
                  </a:lnTo>
                  <a:lnTo>
                    <a:pt x="41" y="73"/>
                  </a:lnTo>
                  <a:lnTo>
                    <a:pt x="41" y="77"/>
                  </a:lnTo>
                  <a:lnTo>
                    <a:pt x="44" y="79"/>
                  </a:lnTo>
                  <a:lnTo>
                    <a:pt x="46" y="79"/>
                  </a:lnTo>
                  <a:lnTo>
                    <a:pt x="49" y="77"/>
                  </a:lnTo>
                  <a:lnTo>
                    <a:pt x="60" y="79"/>
                  </a:lnTo>
                  <a:lnTo>
                    <a:pt x="61" y="82"/>
                  </a:lnTo>
                  <a:lnTo>
                    <a:pt x="61" y="83"/>
                  </a:lnTo>
                  <a:lnTo>
                    <a:pt x="65" y="83"/>
                  </a:lnTo>
                  <a:lnTo>
                    <a:pt x="65" y="82"/>
                  </a:lnTo>
                  <a:lnTo>
                    <a:pt x="67" y="83"/>
                  </a:lnTo>
                  <a:lnTo>
                    <a:pt x="67" y="85"/>
                  </a:lnTo>
                  <a:lnTo>
                    <a:pt x="70" y="89"/>
                  </a:lnTo>
                  <a:lnTo>
                    <a:pt x="70" y="95"/>
                  </a:lnTo>
                  <a:lnTo>
                    <a:pt x="73" y="101"/>
                  </a:lnTo>
                  <a:lnTo>
                    <a:pt x="73" y="103"/>
                  </a:lnTo>
                  <a:lnTo>
                    <a:pt x="77" y="109"/>
                  </a:lnTo>
                  <a:lnTo>
                    <a:pt x="78" y="108"/>
                  </a:lnTo>
                  <a:lnTo>
                    <a:pt x="81" y="112"/>
                  </a:lnTo>
                  <a:lnTo>
                    <a:pt x="83" y="109"/>
                  </a:lnTo>
                  <a:lnTo>
                    <a:pt x="84" y="108"/>
                  </a:lnTo>
                  <a:lnTo>
                    <a:pt x="89" y="108"/>
                  </a:lnTo>
                  <a:lnTo>
                    <a:pt x="93" y="106"/>
                  </a:lnTo>
                  <a:lnTo>
                    <a:pt x="93" y="103"/>
                  </a:lnTo>
                  <a:lnTo>
                    <a:pt x="93" y="99"/>
                  </a:lnTo>
                  <a:lnTo>
                    <a:pt x="96" y="93"/>
                  </a:lnTo>
                  <a:lnTo>
                    <a:pt x="87" y="79"/>
                  </a:lnTo>
                  <a:lnTo>
                    <a:pt x="87" y="79"/>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59" name="Freeform 1234"/>
            <p:cNvSpPr>
              <a:spLocks/>
            </p:cNvSpPr>
            <p:nvPr/>
          </p:nvSpPr>
          <p:spPr bwMode="auto">
            <a:xfrm>
              <a:off x="4820702" y="1209852"/>
              <a:ext cx="16679" cy="32452"/>
            </a:xfrm>
            <a:custGeom>
              <a:avLst/>
              <a:gdLst/>
              <a:ahLst/>
              <a:cxnLst>
                <a:cxn ang="0">
                  <a:pos x="0" y="13"/>
                </a:cxn>
                <a:cxn ang="0">
                  <a:pos x="7" y="15"/>
                </a:cxn>
                <a:cxn ang="0">
                  <a:pos x="8" y="16"/>
                </a:cxn>
                <a:cxn ang="0">
                  <a:pos x="8" y="19"/>
                </a:cxn>
                <a:cxn ang="0">
                  <a:pos x="8" y="20"/>
                </a:cxn>
                <a:cxn ang="0">
                  <a:pos x="14" y="31"/>
                </a:cxn>
                <a:cxn ang="0">
                  <a:pos x="16" y="31"/>
                </a:cxn>
                <a:cxn ang="0">
                  <a:pos x="18" y="7"/>
                </a:cxn>
                <a:cxn ang="0">
                  <a:pos x="17" y="0"/>
                </a:cxn>
                <a:cxn ang="0">
                  <a:pos x="0" y="0"/>
                </a:cxn>
                <a:cxn ang="0">
                  <a:pos x="0" y="13"/>
                </a:cxn>
                <a:cxn ang="0">
                  <a:pos x="0" y="13"/>
                </a:cxn>
              </a:cxnLst>
              <a:rect l="0" t="0" r="r" b="b"/>
              <a:pathLst>
                <a:path w="18" h="31">
                  <a:moveTo>
                    <a:pt x="0" y="13"/>
                  </a:moveTo>
                  <a:lnTo>
                    <a:pt x="7" y="15"/>
                  </a:lnTo>
                  <a:lnTo>
                    <a:pt x="8" y="16"/>
                  </a:lnTo>
                  <a:lnTo>
                    <a:pt x="8" y="19"/>
                  </a:lnTo>
                  <a:lnTo>
                    <a:pt x="8" y="20"/>
                  </a:lnTo>
                  <a:lnTo>
                    <a:pt x="14" y="31"/>
                  </a:lnTo>
                  <a:lnTo>
                    <a:pt x="16" y="31"/>
                  </a:lnTo>
                  <a:lnTo>
                    <a:pt x="18" y="7"/>
                  </a:lnTo>
                  <a:lnTo>
                    <a:pt x="17" y="0"/>
                  </a:lnTo>
                  <a:lnTo>
                    <a:pt x="0" y="0"/>
                  </a:lnTo>
                  <a:lnTo>
                    <a:pt x="0" y="13"/>
                  </a:lnTo>
                  <a:lnTo>
                    <a:pt x="0" y="13"/>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60" name="Freeform 1235"/>
            <p:cNvSpPr>
              <a:spLocks/>
            </p:cNvSpPr>
            <p:nvPr/>
          </p:nvSpPr>
          <p:spPr bwMode="auto">
            <a:xfrm>
              <a:off x="4865471" y="1209852"/>
              <a:ext cx="143959" cy="151106"/>
            </a:xfrm>
            <a:custGeom>
              <a:avLst/>
              <a:gdLst/>
              <a:ahLst/>
              <a:cxnLst>
                <a:cxn ang="0">
                  <a:pos x="6" y="10"/>
                </a:cxn>
                <a:cxn ang="0">
                  <a:pos x="4" y="19"/>
                </a:cxn>
                <a:cxn ang="0">
                  <a:pos x="23" y="31"/>
                </a:cxn>
                <a:cxn ang="0">
                  <a:pos x="26" y="38"/>
                </a:cxn>
                <a:cxn ang="0">
                  <a:pos x="12" y="38"/>
                </a:cxn>
                <a:cxn ang="0">
                  <a:pos x="10" y="46"/>
                </a:cxn>
                <a:cxn ang="0">
                  <a:pos x="17" y="49"/>
                </a:cxn>
                <a:cxn ang="0">
                  <a:pos x="22" y="61"/>
                </a:cxn>
                <a:cxn ang="0">
                  <a:pos x="27" y="52"/>
                </a:cxn>
                <a:cxn ang="0">
                  <a:pos x="36" y="51"/>
                </a:cxn>
                <a:cxn ang="0">
                  <a:pos x="33" y="60"/>
                </a:cxn>
                <a:cxn ang="0">
                  <a:pos x="41" y="54"/>
                </a:cxn>
                <a:cxn ang="0">
                  <a:pos x="43" y="54"/>
                </a:cxn>
                <a:cxn ang="0">
                  <a:pos x="49" y="49"/>
                </a:cxn>
                <a:cxn ang="0">
                  <a:pos x="71" y="54"/>
                </a:cxn>
                <a:cxn ang="0">
                  <a:pos x="57" y="57"/>
                </a:cxn>
                <a:cxn ang="0">
                  <a:pos x="55" y="62"/>
                </a:cxn>
                <a:cxn ang="0">
                  <a:pos x="80" y="61"/>
                </a:cxn>
                <a:cxn ang="0">
                  <a:pos x="39" y="77"/>
                </a:cxn>
                <a:cxn ang="0">
                  <a:pos x="42" y="93"/>
                </a:cxn>
                <a:cxn ang="0">
                  <a:pos x="41" y="97"/>
                </a:cxn>
                <a:cxn ang="0">
                  <a:pos x="42" y="106"/>
                </a:cxn>
                <a:cxn ang="0">
                  <a:pos x="49" y="109"/>
                </a:cxn>
                <a:cxn ang="0">
                  <a:pos x="45" y="119"/>
                </a:cxn>
                <a:cxn ang="0">
                  <a:pos x="51" y="132"/>
                </a:cxn>
                <a:cxn ang="0">
                  <a:pos x="55" y="131"/>
                </a:cxn>
                <a:cxn ang="0">
                  <a:pos x="58" y="139"/>
                </a:cxn>
                <a:cxn ang="0">
                  <a:pos x="84" y="145"/>
                </a:cxn>
                <a:cxn ang="0">
                  <a:pos x="77" y="134"/>
                </a:cxn>
                <a:cxn ang="0">
                  <a:pos x="93" y="141"/>
                </a:cxn>
                <a:cxn ang="0">
                  <a:pos x="83" y="112"/>
                </a:cxn>
                <a:cxn ang="0">
                  <a:pos x="94" y="126"/>
                </a:cxn>
                <a:cxn ang="0">
                  <a:pos x="106" y="126"/>
                </a:cxn>
                <a:cxn ang="0">
                  <a:pos x="104" y="112"/>
                </a:cxn>
                <a:cxn ang="0">
                  <a:pos x="113" y="113"/>
                </a:cxn>
                <a:cxn ang="0">
                  <a:pos x="113" y="73"/>
                </a:cxn>
                <a:cxn ang="0">
                  <a:pos x="126" y="90"/>
                </a:cxn>
                <a:cxn ang="0">
                  <a:pos x="133" y="81"/>
                </a:cxn>
                <a:cxn ang="0">
                  <a:pos x="155" y="61"/>
                </a:cxn>
                <a:cxn ang="0">
                  <a:pos x="152" y="45"/>
                </a:cxn>
                <a:cxn ang="0">
                  <a:pos x="138" y="46"/>
                </a:cxn>
                <a:cxn ang="0">
                  <a:pos x="136" y="32"/>
                </a:cxn>
                <a:cxn ang="0">
                  <a:pos x="126" y="28"/>
                </a:cxn>
                <a:cxn ang="0">
                  <a:pos x="120" y="31"/>
                </a:cxn>
                <a:cxn ang="0">
                  <a:pos x="125" y="9"/>
                </a:cxn>
                <a:cxn ang="0">
                  <a:pos x="26" y="0"/>
                </a:cxn>
                <a:cxn ang="0">
                  <a:pos x="26" y="0"/>
                </a:cxn>
                <a:cxn ang="0">
                  <a:pos x="0" y="0"/>
                </a:cxn>
              </a:cxnLst>
              <a:rect l="0" t="0" r="r" b="b"/>
              <a:pathLst>
                <a:path w="157" h="145">
                  <a:moveTo>
                    <a:pt x="0" y="6"/>
                  </a:moveTo>
                  <a:lnTo>
                    <a:pt x="6" y="7"/>
                  </a:lnTo>
                  <a:lnTo>
                    <a:pt x="6" y="9"/>
                  </a:lnTo>
                  <a:lnTo>
                    <a:pt x="6" y="10"/>
                  </a:lnTo>
                  <a:lnTo>
                    <a:pt x="0" y="12"/>
                  </a:lnTo>
                  <a:lnTo>
                    <a:pt x="3" y="15"/>
                  </a:lnTo>
                  <a:lnTo>
                    <a:pt x="1" y="15"/>
                  </a:lnTo>
                  <a:lnTo>
                    <a:pt x="4" y="19"/>
                  </a:lnTo>
                  <a:lnTo>
                    <a:pt x="9" y="28"/>
                  </a:lnTo>
                  <a:lnTo>
                    <a:pt x="14" y="31"/>
                  </a:lnTo>
                  <a:lnTo>
                    <a:pt x="14" y="33"/>
                  </a:lnTo>
                  <a:lnTo>
                    <a:pt x="23" y="31"/>
                  </a:lnTo>
                  <a:lnTo>
                    <a:pt x="27" y="33"/>
                  </a:lnTo>
                  <a:lnTo>
                    <a:pt x="32" y="28"/>
                  </a:lnTo>
                  <a:lnTo>
                    <a:pt x="30" y="33"/>
                  </a:lnTo>
                  <a:lnTo>
                    <a:pt x="26" y="38"/>
                  </a:lnTo>
                  <a:lnTo>
                    <a:pt x="20" y="38"/>
                  </a:lnTo>
                  <a:lnTo>
                    <a:pt x="20" y="39"/>
                  </a:lnTo>
                  <a:lnTo>
                    <a:pt x="16" y="41"/>
                  </a:lnTo>
                  <a:lnTo>
                    <a:pt x="12" y="38"/>
                  </a:lnTo>
                  <a:lnTo>
                    <a:pt x="10" y="41"/>
                  </a:lnTo>
                  <a:lnTo>
                    <a:pt x="9" y="42"/>
                  </a:lnTo>
                  <a:lnTo>
                    <a:pt x="10" y="44"/>
                  </a:lnTo>
                  <a:lnTo>
                    <a:pt x="10" y="46"/>
                  </a:lnTo>
                  <a:lnTo>
                    <a:pt x="12" y="49"/>
                  </a:lnTo>
                  <a:lnTo>
                    <a:pt x="14" y="49"/>
                  </a:lnTo>
                  <a:lnTo>
                    <a:pt x="14" y="51"/>
                  </a:lnTo>
                  <a:lnTo>
                    <a:pt x="17" y="49"/>
                  </a:lnTo>
                  <a:lnTo>
                    <a:pt x="19" y="52"/>
                  </a:lnTo>
                  <a:lnTo>
                    <a:pt x="19" y="55"/>
                  </a:lnTo>
                  <a:lnTo>
                    <a:pt x="19" y="55"/>
                  </a:lnTo>
                  <a:lnTo>
                    <a:pt x="22" y="61"/>
                  </a:lnTo>
                  <a:lnTo>
                    <a:pt x="23" y="58"/>
                  </a:lnTo>
                  <a:lnTo>
                    <a:pt x="25" y="55"/>
                  </a:lnTo>
                  <a:lnTo>
                    <a:pt x="27" y="55"/>
                  </a:lnTo>
                  <a:lnTo>
                    <a:pt x="27" y="52"/>
                  </a:lnTo>
                  <a:lnTo>
                    <a:pt x="27" y="51"/>
                  </a:lnTo>
                  <a:lnTo>
                    <a:pt x="29" y="48"/>
                  </a:lnTo>
                  <a:lnTo>
                    <a:pt x="35" y="51"/>
                  </a:lnTo>
                  <a:lnTo>
                    <a:pt x="36" y="51"/>
                  </a:lnTo>
                  <a:lnTo>
                    <a:pt x="33" y="54"/>
                  </a:lnTo>
                  <a:lnTo>
                    <a:pt x="33" y="55"/>
                  </a:lnTo>
                  <a:lnTo>
                    <a:pt x="33" y="60"/>
                  </a:lnTo>
                  <a:lnTo>
                    <a:pt x="33" y="60"/>
                  </a:lnTo>
                  <a:lnTo>
                    <a:pt x="35" y="61"/>
                  </a:lnTo>
                  <a:lnTo>
                    <a:pt x="38" y="61"/>
                  </a:lnTo>
                  <a:lnTo>
                    <a:pt x="41" y="58"/>
                  </a:lnTo>
                  <a:lnTo>
                    <a:pt x="41" y="54"/>
                  </a:lnTo>
                  <a:lnTo>
                    <a:pt x="43" y="51"/>
                  </a:lnTo>
                  <a:lnTo>
                    <a:pt x="45" y="45"/>
                  </a:lnTo>
                  <a:lnTo>
                    <a:pt x="45" y="48"/>
                  </a:lnTo>
                  <a:lnTo>
                    <a:pt x="43" y="54"/>
                  </a:lnTo>
                  <a:lnTo>
                    <a:pt x="45" y="55"/>
                  </a:lnTo>
                  <a:lnTo>
                    <a:pt x="49" y="54"/>
                  </a:lnTo>
                  <a:lnTo>
                    <a:pt x="49" y="51"/>
                  </a:lnTo>
                  <a:lnTo>
                    <a:pt x="49" y="49"/>
                  </a:lnTo>
                  <a:lnTo>
                    <a:pt x="57" y="48"/>
                  </a:lnTo>
                  <a:lnTo>
                    <a:pt x="55" y="52"/>
                  </a:lnTo>
                  <a:lnTo>
                    <a:pt x="59" y="55"/>
                  </a:lnTo>
                  <a:lnTo>
                    <a:pt x="71" y="54"/>
                  </a:lnTo>
                  <a:lnTo>
                    <a:pt x="71" y="54"/>
                  </a:lnTo>
                  <a:lnTo>
                    <a:pt x="71" y="55"/>
                  </a:lnTo>
                  <a:lnTo>
                    <a:pt x="67" y="57"/>
                  </a:lnTo>
                  <a:lnTo>
                    <a:pt x="57" y="57"/>
                  </a:lnTo>
                  <a:lnTo>
                    <a:pt x="57" y="58"/>
                  </a:lnTo>
                  <a:lnTo>
                    <a:pt x="54" y="58"/>
                  </a:lnTo>
                  <a:lnTo>
                    <a:pt x="54" y="61"/>
                  </a:lnTo>
                  <a:lnTo>
                    <a:pt x="55" y="62"/>
                  </a:lnTo>
                  <a:lnTo>
                    <a:pt x="58" y="64"/>
                  </a:lnTo>
                  <a:lnTo>
                    <a:pt x="67" y="64"/>
                  </a:lnTo>
                  <a:lnTo>
                    <a:pt x="68" y="62"/>
                  </a:lnTo>
                  <a:lnTo>
                    <a:pt x="80" y="61"/>
                  </a:lnTo>
                  <a:lnTo>
                    <a:pt x="84" y="58"/>
                  </a:lnTo>
                  <a:lnTo>
                    <a:pt x="81" y="62"/>
                  </a:lnTo>
                  <a:lnTo>
                    <a:pt x="45" y="70"/>
                  </a:lnTo>
                  <a:lnTo>
                    <a:pt x="39" y="77"/>
                  </a:lnTo>
                  <a:lnTo>
                    <a:pt x="35" y="78"/>
                  </a:lnTo>
                  <a:lnTo>
                    <a:pt x="32" y="81"/>
                  </a:lnTo>
                  <a:lnTo>
                    <a:pt x="38" y="93"/>
                  </a:lnTo>
                  <a:lnTo>
                    <a:pt x="42" y="93"/>
                  </a:lnTo>
                  <a:lnTo>
                    <a:pt x="46" y="97"/>
                  </a:lnTo>
                  <a:lnTo>
                    <a:pt x="48" y="100"/>
                  </a:lnTo>
                  <a:lnTo>
                    <a:pt x="42" y="99"/>
                  </a:lnTo>
                  <a:lnTo>
                    <a:pt x="41" y="97"/>
                  </a:lnTo>
                  <a:lnTo>
                    <a:pt x="39" y="99"/>
                  </a:lnTo>
                  <a:lnTo>
                    <a:pt x="39" y="102"/>
                  </a:lnTo>
                  <a:lnTo>
                    <a:pt x="41" y="106"/>
                  </a:lnTo>
                  <a:lnTo>
                    <a:pt x="42" y="106"/>
                  </a:lnTo>
                  <a:lnTo>
                    <a:pt x="42" y="108"/>
                  </a:lnTo>
                  <a:lnTo>
                    <a:pt x="42" y="109"/>
                  </a:lnTo>
                  <a:lnTo>
                    <a:pt x="43" y="110"/>
                  </a:lnTo>
                  <a:lnTo>
                    <a:pt x="49" y="109"/>
                  </a:lnTo>
                  <a:lnTo>
                    <a:pt x="52" y="112"/>
                  </a:lnTo>
                  <a:lnTo>
                    <a:pt x="62" y="115"/>
                  </a:lnTo>
                  <a:lnTo>
                    <a:pt x="61" y="116"/>
                  </a:lnTo>
                  <a:lnTo>
                    <a:pt x="45" y="119"/>
                  </a:lnTo>
                  <a:lnTo>
                    <a:pt x="46" y="124"/>
                  </a:lnTo>
                  <a:lnTo>
                    <a:pt x="48" y="126"/>
                  </a:lnTo>
                  <a:lnTo>
                    <a:pt x="49" y="128"/>
                  </a:lnTo>
                  <a:lnTo>
                    <a:pt x="51" y="132"/>
                  </a:lnTo>
                  <a:lnTo>
                    <a:pt x="52" y="132"/>
                  </a:lnTo>
                  <a:lnTo>
                    <a:pt x="55" y="132"/>
                  </a:lnTo>
                  <a:lnTo>
                    <a:pt x="55" y="129"/>
                  </a:lnTo>
                  <a:lnTo>
                    <a:pt x="55" y="131"/>
                  </a:lnTo>
                  <a:lnTo>
                    <a:pt x="55" y="132"/>
                  </a:lnTo>
                  <a:lnTo>
                    <a:pt x="54" y="134"/>
                  </a:lnTo>
                  <a:lnTo>
                    <a:pt x="57" y="137"/>
                  </a:lnTo>
                  <a:lnTo>
                    <a:pt x="58" y="139"/>
                  </a:lnTo>
                  <a:lnTo>
                    <a:pt x="62" y="139"/>
                  </a:lnTo>
                  <a:lnTo>
                    <a:pt x="65" y="142"/>
                  </a:lnTo>
                  <a:lnTo>
                    <a:pt x="75" y="145"/>
                  </a:lnTo>
                  <a:lnTo>
                    <a:pt x="84" y="145"/>
                  </a:lnTo>
                  <a:lnTo>
                    <a:pt x="84" y="142"/>
                  </a:lnTo>
                  <a:lnTo>
                    <a:pt x="83" y="138"/>
                  </a:lnTo>
                  <a:lnTo>
                    <a:pt x="80" y="137"/>
                  </a:lnTo>
                  <a:lnTo>
                    <a:pt x="77" y="134"/>
                  </a:lnTo>
                  <a:lnTo>
                    <a:pt x="84" y="134"/>
                  </a:lnTo>
                  <a:lnTo>
                    <a:pt x="87" y="134"/>
                  </a:lnTo>
                  <a:lnTo>
                    <a:pt x="90" y="138"/>
                  </a:lnTo>
                  <a:lnTo>
                    <a:pt x="93" y="141"/>
                  </a:lnTo>
                  <a:lnTo>
                    <a:pt x="94" y="144"/>
                  </a:lnTo>
                  <a:lnTo>
                    <a:pt x="94" y="142"/>
                  </a:lnTo>
                  <a:lnTo>
                    <a:pt x="83" y="116"/>
                  </a:lnTo>
                  <a:lnTo>
                    <a:pt x="83" y="112"/>
                  </a:lnTo>
                  <a:lnTo>
                    <a:pt x="84" y="110"/>
                  </a:lnTo>
                  <a:lnTo>
                    <a:pt x="86" y="112"/>
                  </a:lnTo>
                  <a:lnTo>
                    <a:pt x="90" y="122"/>
                  </a:lnTo>
                  <a:lnTo>
                    <a:pt x="94" y="126"/>
                  </a:lnTo>
                  <a:lnTo>
                    <a:pt x="99" y="138"/>
                  </a:lnTo>
                  <a:lnTo>
                    <a:pt x="102" y="142"/>
                  </a:lnTo>
                  <a:lnTo>
                    <a:pt x="103" y="142"/>
                  </a:lnTo>
                  <a:lnTo>
                    <a:pt x="106" y="126"/>
                  </a:lnTo>
                  <a:lnTo>
                    <a:pt x="102" y="118"/>
                  </a:lnTo>
                  <a:lnTo>
                    <a:pt x="103" y="109"/>
                  </a:lnTo>
                  <a:lnTo>
                    <a:pt x="103" y="109"/>
                  </a:lnTo>
                  <a:lnTo>
                    <a:pt x="104" y="112"/>
                  </a:lnTo>
                  <a:lnTo>
                    <a:pt x="107" y="116"/>
                  </a:lnTo>
                  <a:lnTo>
                    <a:pt x="109" y="121"/>
                  </a:lnTo>
                  <a:lnTo>
                    <a:pt x="113" y="121"/>
                  </a:lnTo>
                  <a:lnTo>
                    <a:pt x="113" y="113"/>
                  </a:lnTo>
                  <a:lnTo>
                    <a:pt x="112" y="109"/>
                  </a:lnTo>
                  <a:lnTo>
                    <a:pt x="110" y="106"/>
                  </a:lnTo>
                  <a:lnTo>
                    <a:pt x="112" y="74"/>
                  </a:lnTo>
                  <a:lnTo>
                    <a:pt x="113" y="73"/>
                  </a:lnTo>
                  <a:lnTo>
                    <a:pt x="113" y="99"/>
                  </a:lnTo>
                  <a:lnTo>
                    <a:pt x="118" y="106"/>
                  </a:lnTo>
                  <a:lnTo>
                    <a:pt x="119" y="106"/>
                  </a:lnTo>
                  <a:lnTo>
                    <a:pt x="126" y="90"/>
                  </a:lnTo>
                  <a:lnTo>
                    <a:pt x="126" y="76"/>
                  </a:lnTo>
                  <a:lnTo>
                    <a:pt x="128" y="78"/>
                  </a:lnTo>
                  <a:lnTo>
                    <a:pt x="129" y="86"/>
                  </a:lnTo>
                  <a:lnTo>
                    <a:pt x="133" y="81"/>
                  </a:lnTo>
                  <a:lnTo>
                    <a:pt x="132" y="80"/>
                  </a:lnTo>
                  <a:lnTo>
                    <a:pt x="132" y="77"/>
                  </a:lnTo>
                  <a:lnTo>
                    <a:pt x="147" y="70"/>
                  </a:lnTo>
                  <a:lnTo>
                    <a:pt x="155" y="61"/>
                  </a:lnTo>
                  <a:lnTo>
                    <a:pt x="157" y="54"/>
                  </a:lnTo>
                  <a:lnTo>
                    <a:pt x="155" y="51"/>
                  </a:lnTo>
                  <a:lnTo>
                    <a:pt x="154" y="48"/>
                  </a:lnTo>
                  <a:lnTo>
                    <a:pt x="152" y="45"/>
                  </a:lnTo>
                  <a:lnTo>
                    <a:pt x="145" y="32"/>
                  </a:lnTo>
                  <a:lnTo>
                    <a:pt x="142" y="33"/>
                  </a:lnTo>
                  <a:lnTo>
                    <a:pt x="141" y="44"/>
                  </a:lnTo>
                  <a:lnTo>
                    <a:pt x="138" y="46"/>
                  </a:lnTo>
                  <a:lnTo>
                    <a:pt x="138" y="44"/>
                  </a:lnTo>
                  <a:lnTo>
                    <a:pt x="139" y="42"/>
                  </a:lnTo>
                  <a:lnTo>
                    <a:pt x="139" y="35"/>
                  </a:lnTo>
                  <a:lnTo>
                    <a:pt x="136" y="32"/>
                  </a:lnTo>
                  <a:lnTo>
                    <a:pt x="135" y="28"/>
                  </a:lnTo>
                  <a:lnTo>
                    <a:pt x="131" y="25"/>
                  </a:lnTo>
                  <a:lnTo>
                    <a:pt x="131" y="25"/>
                  </a:lnTo>
                  <a:lnTo>
                    <a:pt x="126" y="28"/>
                  </a:lnTo>
                  <a:lnTo>
                    <a:pt x="123" y="28"/>
                  </a:lnTo>
                  <a:lnTo>
                    <a:pt x="120" y="33"/>
                  </a:lnTo>
                  <a:lnTo>
                    <a:pt x="120" y="33"/>
                  </a:lnTo>
                  <a:lnTo>
                    <a:pt x="120" y="31"/>
                  </a:lnTo>
                  <a:lnTo>
                    <a:pt x="122" y="28"/>
                  </a:lnTo>
                  <a:lnTo>
                    <a:pt x="125" y="25"/>
                  </a:lnTo>
                  <a:lnTo>
                    <a:pt x="128" y="7"/>
                  </a:lnTo>
                  <a:lnTo>
                    <a:pt x="125" y="9"/>
                  </a:lnTo>
                  <a:lnTo>
                    <a:pt x="125" y="9"/>
                  </a:lnTo>
                  <a:lnTo>
                    <a:pt x="128" y="4"/>
                  </a:lnTo>
                  <a:lnTo>
                    <a:pt x="126" y="0"/>
                  </a:lnTo>
                  <a:lnTo>
                    <a:pt x="26" y="0"/>
                  </a:lnTo>
                  <a:lnTo>
                    <a:pt x="27" y="3"/>
                  </a:lnTo>
                  <a:lnTo>
                    <a:pt x="29" y="4"/>
                  </a:lnTo>
                  <a:lnTo>
                    <a:pt x="26" y="0"/>
                  </a:lnTo>
                  <a:lnTo>
                    <a:pt x="26" y="0"/>
                  </a:lnTo>
                  <a:lnTo>
                    <a:pt x="20" y="0"/>
                  </a:lnTo>
                  <a:lnTo>
                    <a:pt x="19" y="1"/>
                  </a:lnTo>
                  <a:lnTo>
                    <a:pt x="19" y="0"/>
                  </a:lnTo>
                  <a:lnTo>
                    <a:pt x="0" y="0"/>
                  </a:lnTo>
                  <a:lnTo>
                    <a:pt x="0" y="3"/>
                  </a:lnTo>
                  <a:lnTo>
                    <a:pt x="0" y="6"/>
                  </a:lnTo>
                  <a:lnTo>
                    <a:pt x="0" y="6"/>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61" name="Freeform 1236"/>
            <p:cNvSpPr>
              <a:spLocks/>
            </p:cNvSpPr>
            <p:nvPr/>
          </p:nvSpPr>
          <p:spPr bwMode="auto">
            <a:xfrm>
              <a:off x="4947984" y="1209852"/>
              <a:ext cx="244907" cy="280915"/>
            </a:xfrm>
            <a:custGeom>
              <a:avLst/>
              <a:gdLst/>
              <a:ahLst/>
              <a:cxnLst>
                <a:cxn ang="0">
                  <a:pos x="48" y="19"/>
                </a:cxn>
                <a:cxn ang="0">
                  <a:pos x="80" y="65"/>
                </a:cxn>
                <a:cxn ang="0">
                  <a:pos x="88" y="80"/>
                </a:cxn>
                <a:cxn ang="0">
                  <a:pos x="73" y="80"/>
                </a:cxn>
                <a:cxn ang="0">
                  <a:pos x="116" y="81"/>
                </a:cxn>
                <a:cxn ang="0">
                  <a:pos x="106" y="93"/>
                </a:cxn>
                <a:cxn ang="0">
                  <a:pos x="104" y="105"/>
                </a:cxn>
                <a:cxn ang="0">
                  <a:pos x="71" y="90"/>
                </a:cxn>
                <a:cxn ang="0">
                  <a:pos x="38" y="113"/>
                </a:cxn>
                <a:cxn ang="0">
                  <a:pos x="36" y="138"/>
                </a:cxn>
                <a:cxn ang="0">
                  <a:pos x="49" y="137"/>
                </a:cxn>
                <a:cxn ang="0">
                  <a:pos x="58" y="144"/>
                </a:cxn>
                <a:cxn ang="0">
                  <a:pos x="68" y="132"/>
                </a:cxn>
                <a:cxn ang="0">
                  <a:pos x="78" y="144"/>
                </a:cxn>
                <a:cxn ang="0">
                  <a:pos x="59" y="151"/>
                </a:cxn>
                <a:cxn ang="0">
                  <a:pos x="70" y="158"/>
                </a:cxn>
                <a:cxn ang="0">
                  <a:pos x="62" y="166"/>
                </a:cxn>
                <a:cxn ang="0">
                  <a:pos x="68" y="183"/>
                </a:cxn>
                <a:cxn ang="0">
                  <a:pos x="97" y="153"/>
                </a:cxn>
                <a:cxn ang="0">
                  <a:pos x="84" y="189"/>
                </a:cxn>
                <a:cxn ang="0">
                  <a:pos x="75" y="195"/>
                </a:cxn>
                <a:cxn ang="0">
                  <a:pos x="49" y="171"/>
                </a:cxn>
                <a:cxn ang="0">
                  <a:pos x="19" y="170"/>
                </a:cxn>
                <a:cxn ang="0">
                  <a:pos x="35" y="195"/>
                </a:cxn>
                <a:cxn ang="0">
                  <a:pos x="35" y="206"/>
                </a:cxn>
                <a:cxn ang="0">
                  <a:pos x="30" y="212"/>
                </a:cxn>
                <a:cxn ang="0">
                  <a:pos x="16" y="217"/>
                </a:cxn>
                <a:cxn ang="0">
                  <a:pos x="10" y="250"/>
                </a:cxn>
                <a:cxn ang="0">
                  <a:pos x="26" y="256"/>
                </a:cxn>
                <a:cxn ang="0">
                  <a:pos x="42" y="243"/>
                </a:cxn>
                <a:cxn ang="0">
                  <a:pos x="64" y="246"/>
                </a:cxn>
                <a:cxn ang="0">
                  <a:pos x="87" y="234"/>
                </a:cxn>
                <a:cxn ang="0">
                  <a:pos x="109" y="250"/>
                </a:cxn>
                <a:cxn ang="0">
                  <a:pos x="141" y="262"/>
                </a:cxn>
                <a:cxn ang="0">
                  <a:pos x="152" y="230"/>
                </a:cxn>
                <a:cxn ang="0">
                  <a:pos x="141" y="205"/>
                </a:cxn>
                <a:cxn ang="0">
                  <a:pos x="107" y="202"/>
                </a:cxn>
                <a:cxn ang="0">
                  <a:pos x="151" y="201"/>
                </a:cxn>
                <a:cxn ang="0">
                  <a:pos x="170" y="180"/>
                </a:cxn>
                <a:cxn ang="0">
                  <a:pos x="161" y="157"/>
                </a:cxn>
                <a:cxn ang="0">
                  <a:pos x="197" y="150"/>
                </a:cxn>
                <a:cxn ang="0">
                  <a:pos x="208" y="128"/>
                </a:cxn>
                <a:cxn ang="0">
                  <a:pos x="209" y="112"/>
                </a:cxn>
                <a:cxn ang="0">
                  <a:pos x="192" y="87"/>
                </a:cxn>
                <a:cxn ang="0">
                  <a:pos x="171" y="78"/>
                </a:cxn>
                <a:cxn ang="0">
                  <a:pos x="168" y="68"/>
                </a:cxn>
                <a:cxn ang="0">
                  <a:pos x="213" y="78"/>
                </a:cxn>
                <a:cxn ang="0">
                  <a:pos x="173" y="64"/>
                </a:cxn>
                <a:cxn ang="0">
                  <a:pos x="177" y="46"/>
                </a:cxn>
                <a:cxn ang="0">
                  <a:pos x="177" y="42"/>
                </a:cxn>
                <a:cxn ang="0">
                  <a:pos x="221" y="44"/>
                </a:cxn>
                <a:cxn ang="0">
                  <a:pos x="212" y="17"/>
                </a:cxn>
                <a:cxn ang="0">
                  <a:pos x="244" y="29"/>
                </a:cxn>
                <a:cxn ang="0">
                  <a:pos x="263" y="6"/>
                </a:cxn>
                <a:cxn ang="0">
                  <a:pos x="113" y="23"/>
                </a:cxn>
                <a:cxn ang="0">
                  <a:pos x="136" y="32"/>
                </a:cxn>
                <a:cxn ang="0">
                  <a:pos x="110" y="36"/>
                </a:cxn>
                <a:cxn ang="0">
                  <a:pos x="61" y="7"/>
                </a:cxn>
              </a:cxnLst>
              <a:rect l="0" t="0" r="r" b="b"/>
              <a:pathLst>
                <a:path w="267" h="270">
                  <a:moveTo>
                    <a:pt x="61" y="7"/>
                  </a:moveTo>
                  <a:lnTo>
                    <a:pt x="61" y="9"/>
                  </a:lnTo>
                  <a:lnTo>
                    <a:pt x="59" y="9"/>
                  </a:lnTo>
                  <a:lnTo>
                    <a:pt x="51" y="6"/>
                  </a:lnTo>
                  <a:lnTo>
                    <a:pt x="48" y="3"/>
                  </a:lnTo>
                  <a:lnTo>
                    <a:pt x="46" y="3"/>
                  </a:lnTo>
                  <a:lnTo>
                    <a:pt x="45" y="3"/>
                  </a:lnTo>
                  <a:lnTo>
                    <a:pt x="45" y="15"/>
                  </a:lnTo>
                  <a:lnTo>
                    <a:pt x="48" y="19"/>
                  </a:lnTo>
                  <a:lnTo>
                    <a:pt x="54" y="23"/>
                  </a:lnTo>
                  <a:lnTo>
                    <a:pt x="57" y="23"/>
                  </a:lnTo>
                  <a:lnTo>
                    <a:pt x="64" y="29"/>
                  </a:lnTo>
                  <a:lnTo>
                    <a:pt x="65" y="38"/>
                  </a:lnTo>
                  <a:lnTo>
                    <a:pt x="73" y="48"/>
                  </a:lnTo>
                  <a:lnTo>
                    <a:pt x="74" y="60"/>
                  </a:lnTo>
                  <a:lnTo>
                    <a:pt x="74" y="60"/>
                  </a:lnTo>
                  <a:lnTo>
                    <a:pt x="75" y="67"/>
                  </a:lnTo>
                  <a:lnTo>
                    <a:pt x="80" y="65"/>
                  </a:lnTo>
                  <a:lnTo>
                    <a:pt x="81" y="62"/>
                  </a:lnTo>
                  <a:lnTo>
                    <a:pt x="81" y="65"/>
                  </a:lnTo>
                  <a:lnTo>
                    <a:pt x="80" y="68"/>
                  </a:lnTo>
                  <a:lnTo>
                    <a:pt x="83" y="73"/>
                  </a:lnTo>
                  <a:lnTo>
                    <a:pt x="84" y="73"/>
                  </a:lnTo>
                  <a:lnTo>
                    <a:pt x="86" y="76"/>
                  </a:lnTo>
                  <a:lnTo>
                    <a:pt x="87" y="78"/>
                  </a:lnTo>
                  <a:lnTo>
                    <a:pt x="90" y="77"/>
                  </a:lnTo>
                  <a:lnTo>
                    <a:pt x="88" y="80"/>
                  </a:lnTo>
                  <a:lnTo>
                    <a:pt x="83" y="80"/>
                  </a:lnTo>
                  <a:lnTo>
                    <a:pt x="80" y="78"/>
                  </a:lnTo>
                  <a:lnTo>
                    <a:pt x="77" y="73"/>
                  </a:lnTo>
                  <a:lnTo>
                    <a:pt x="74" y="73"/>
                  </a:lnTo>
                  <a:lnTo>
                    <a:pt x="73" y="70"/>
                  </a:lnTo>
                  <a:lnTo>
                    <a:pt x="71" y="71"/>
                  </a:lnTo>
                  <a:lnTo>
                    <a:pt x="68" y="74"/>
                  </a:lnTo>
                  <a:lnTo>
                    <a:pt x="70" y="78"/>
                  </a:lnTo>
                  <a:lnTo>
                    <a:pt x="73" y="80"/>
                  </a:lnTo>
                  <a:lnTo>
                    <a:pt x="77" y="86"/>
                  </a:lnTo>
                  <a:lnTo>
                    <a:pt x="93" y="87"/>
                  </a:lnTo>
                  <a:lnTo>
                    <a:pt x="99" y="90"/>
                  </a:lnTo>
                  <a:lnTo>
                    <a:pt x="106" y="90"/>
                  </a:lnTo>
                  <a:lnTo>
                    <a:pt x="107" y="90"/>
                  </a:lnTo>
                  <a:lnTo>
                    <a:pt x="107" y="87"/>
                  </a:lnTo>
                  <a:lnTo>
                    <a:pt x="109" y="87"/>
                  </a:lnTo>
                  <a:lnTo>
                    <a:pt x="113" y="83"/>
                  </a:lnTo>
                  <a:lnTo>
                    <a:pt x="116" y="81"/>
                  </a:lnTo>
                  <a:lnTo>
                    <a:pt x="116" y="83"/>
                  </a:lnTo>
                  <a:lnTo>
                    <a:pt x="113" y="87"/>
                  </a:lnTo>
                  <a:lnTo>
                    <a:pt x="113" y="92"/>
                  </a:lnTo>
                  <a:lnTo>
                    <a:pt x="113" y="92"/>
                  </a:lnTo>
                  <a:lnTo>
                    <a:pt x="112" y="94"/>
                  </a:lnTo>
                  <a:lnTo>
                    <a:pt x="110" y="94"/>
                  </a:lnTo>
                  <a:lnTo>
                    <a:pt x="110" y="96"/>
                  </a:lnTo>
                  <a:lnTo>
                    <a:pt x="109" y="96"/>
                  </a:lnTo>
                  <a:lnTo>
                    <a:pt x="106" y="93"/>
                  </a:lnTo>
                  <a:lnTo>
                    <a:pt x="104" y="94"/>
                  </a:lnTo>
                  <a:lnTo>
                    <a:pt x="93" y="93"/>
                  </a:lnTo>
                  <a:lnTo>
                    <a:pt x="91" y="96"/>
                  </a:lnTo>
                  <a:lnTo>
                    <a:pt x="91" y="97"/>
                  </a:lnTo>
                  <a:lnTo>
                    <a:pt x="94" y="100"/>
                  </a:lnTo>
                  <a:lnTo>
                    <a:pt x="97" y="100"/>
                  </a:lnTo>
                  <a:lnTo>
                    <a:pt x="99" y="103"/>
                  </a:lnTo>
                  <a:lnTo>
                    <a:pt x="106" y="103"/>
                  </a:lnTo>
                  <a:lnTo>
                    <a:pt x="104" y="105"/>
                  </a:lnTo>
                  <a:lnTo>
                    <a:pt x="102" y="105"/>
                  </a:lnTo>
                  <a:lnTo>
                    <a:pt x="104" y="112"/>
                  </a:lnTo>
                  <a:lnTo>
                    <a:pt x="104" y="113"/>
                  </a:lnTo>
                  <a:lnTo>
                    <a:pt x="99" y="112"/>
                  </a:lnTo>
                  <a:lnTo>
                    <a:pt x="99" y="109"/>
                  </a:lnTo>
                  <a:lnTo>
                    <a:pt x="96" y="105"/>
                  </a:lnTo>
                  <a:lnTo>
                    <a:pt x="93" y="105"/>
                  </a:lnTo>
                  <a:lnTo>
                    <a:pt x="81" y="92"/>
                  </a:lnTo>
                  <a:lnTo>
                    <a:pt x="71" y="90"/>
                  </a:lnTo>
                  <a:lnTo>
                    <a:pt x="64" y="87"/>
                  </a:lnTo>
                  <a:lnTo>
                    <a:pt x="61" y="87"/>
                  </a:lnTo>
                  <a:lnTo>
                    <a:pt x="61" y="89"/>
                  </a:lnTo>
                  <a:lnTo>
                    <a:pt x="59" y="93"/>
                  </a:lnTo>
                  <a:lnTo>
                    <a:pt x="41" y="96"/>
                  </a:lnTo>
                  <a:lnTo>
                    <a:pt x="41" y="97"/>
                  </a:lnTo>
                  <a:lnTo>
                    <a:pt x="36" y="110"/>
                  </a:lnTo>
                  <a:lnTo>
                    <a:pt x="39" y="112"/>
                  </a:lnTo>
                  <a:lnTo>
                    <a:pt x="38" y="113"/>
                  </a:lnTo>
                  <a:lnTo>
                    <a:pt x="33" y="115"/>
                  </a:lnTo>
                  <a:lnTo>
                    <a:pt x="30" y="118"/>
                  </a:lnTo>
                  <a:lnTo>
                    <a:pt x="29" y="124"/>
                  </a:lnTo>
                  <a:lnTo>
                    <a:pt x="30" y="126"/>
                  </a:lnTo>
                  <a:lnTo>
                    <a:pt x="30" y="131"/>
                  </a:lnTo>
                  <a:lnTo>
                    <a:pt x="30" y="132"/>
                  </a:lnTo>
                  <a:lnTo>
                    <a:pt x="30" y="138"/>
                  </a:lnTo>
                  <a:lnTo>
                    <a:pt x="33" y="137"/>
                  </a:lnTo>
                  <a:lnTo>
                    <a:pt x="36" y="138"/>
                  </a:lnTo>
                  <a:lnTo>
                    <a:pt x="33" y="139"/>
                  </a:lnTo>
                  <a:lnTo>
                    <a:pt x="32" y="141"/>
                  </a:lnTo>
                  <a:lnTo>
                    <a:pt x="30" y="142"/>
                  </a:lnTo>
                  <a:lnTo>
                    <a:pt x="30" y="144"/>
                  </a:lnTo>
                  <a:lnTo>
                    <a:pt x="38" y="145"/>
                  </a:lnTo>
                  <a:lnTo>
                    <a:pt x="45" y="142"/>
                  </a:lnTo>
                  <a:lnTo>
                    <a:pt x="46" y="137"/>
                  </a:lnTo>
                  <a:lnTo>
                    <a:pt x="48" y="138"/>
                  </a:lnTo>
                  <a:lnTo>
                    <a:pt x="49" y="137"/>
                  </a:lnTo>
                  <a:lnTo>
                    <a:pt x="51" y="131"/>
                  </a:lnTo>
                  <a:lnTo>
                    <a:pt x="54" y="126"/>
                  </a:lnTo>
                  <a:lnTo>
                    <a:pt x="52" y="134"/>
                  </a:lnTo>
                  <a:lnTo>
                    <a:pt x="49" y="141"/>
                  </a:lnTo>
                  <a:lnTo>
                    <a:pt x="49" y="142"/>
                  </a:lnTo>
                  <a:lnTo>
                    <a:pt x="49" y="144"/>
                  </a:lnTo>
                  <a:lnTo>
                    <a:pt x="49" y="147"/>
                  </a:lnTo>
                  <a:lnTo>
                    <a:pt x="51" y="147"/>
                  </a:lnTo>
                  <a:lnTo>
                    <a:pt x="58" y="144"/>
                  </a:lnTo>
                  <a:lnTo>
                    <a:pt x="59" y="145"/>
                  </a:lnTo>
                  <a:lnTo>
                    <a:pt x="61" y="144"/>
                  </a:lnTo>
                  <a:lnTo>
                    <a:pt x="71" y="110"/>
                  </a:lnTo>
                  <a:lnTo>
                    <a:pt x="68" y="126"/>
                  </a:lnTo>
                  <a:lnTo>
                    <a:pt x="70" y="128"/>
                  </a:lnTo>
                  <a:lnTo>
                    <a:pt x="71" y="128"/>
                  </a:lnTo>
                  <a:lnTo>
                    <a:pt x="73" y="126"/>
                  </a:lnTo>
                  <a:lnTo>
                    <a:pt x="71" y="129"/>
                  </a:lnTo>
                  <a:lnTo>
                    <a:pt x="68" y="132"/>
                  </a:lnTo>
                  <a:lnTo>
                    <a:pt x="68" y="134"/>
                  </a:lnTo>
                  <a:lnTo>
                    <a:pt x="68" y="138"/>
                  </a:lnTo>
                  <a:lnTo>
                    <a:pt x="68" y="139"/>
                  </a:lnTo>
                  <a:lnTo>
                    <a:pt x="73" y="138"/>
                  </a:lnTo>
                  <a:lnTo>
                    <a:pt x="77" y="139"/>
                  </a:lnTo>
                  <a:lnTo>
                    <a:pt x="77" y="141"/>
                  </a:lnTo>
                  <a:lnTo>
                    <a:pt x="80" y="139"/>
                  </a:lnTo>
                  <a:lnTo>
                    <a:pt x="80" y="142"/>
                  </a:lnTo>
                  <a:lnTo>
                    <a:pt x="78" y="144"/>
                  </a:lnTo>
                  <a:lnTo>
                    <a:pt x="73" y="141"/>
                  </a:lnTo>
                  <a:lnTo>
                    <a:pt x="65" y="142"/>
                  </a:lnTo>
                  <a:lnTo>
                    <a:pt x="64" y="145"/>
                  </a:lnTo>
                  <a:lnTo>
                    <a:pt x="64" y="147"/>
                  </a:lnTo>
                  <a:lnTo>
                    <a:pt x="64" y="148"/>
                  </a:lnTo>
                  <a:lnTo>
                    <a:pt x="67" y="150"/>
                  </a:lnTo>
                  <a:lnTo>
                    <a:pt x="65" y="151"/>
                  </a:lnTo>
                  <a:lnTo>
                    <a:pt x="61" y="150"/>
                  </a:lnTo>
                  <a:lnTo>
                    <a:pt x="59" y="151"/>
                  </a:lnTo>
                  <a:lnTo>
                    <a:pt x="55" y="157"/>
                  </a:lnTo>
                  <a:lnTo>
                    <a:pt x="55" y="158"/>
                  </a:lnTo>
                  <a:lnTo>
                    <a:pt x="57" y="158"/>
                  </a:lnTo>
                  <a:lnTo>
                    <a:pt x="57" y="161"/>
                  </a:lnTo>
                  <a:lnTo>
                    <a:pt x="61" y="158"/>
                  </a:lnTo>
                  <a:lnTo>
                    <a:pt x="67" y="158"/>
                  </a:lnTo>
                  <a:lnTo>
                    <a:pt x="68" y="157"/>
                  </a:lnTo>
                  <a:lnTo>
                    <a:pt x="70" y="157"/>
                  </a:lnTo>
                  <a:lnTo>
                    <a:pt x="70" y="158"/>
                  </a:lnTo>
                  <a:lnTo>
                    <a:pt x="68" y="158"/>
                  </a:lnTo>
                  <a:lnTo>
                    <a:pt x="65" y="161"/>
                  </a:lnTo>
                  <a:lnTo>
                    <a:pt x="65" y="161"/>
                  </a:lnTo>
                  <a:lnTo>
                    <a:pt x="65" y="160"/>
                  </a:lnTo>
                  <a:lnTo>
                    <a:pt x="59" y="161"/>
                  </a:lnTo>
                  <a:lnTo>
                    <a:pt x="59" y="161"/>
                  </a:lnTo>
                  <a:lnTo>
                    <a:pt x="59" y="164"/>
                  </a:lnTo>
                  <a:lnTo>
                    <a:pt x="65" y="163"/>
                  </a:lnTo>
                  <a:lnTo>
                    <a:pt x="62" y="166"/>
                  </a:lnTo>
                  <a:lnTo>
                    <a:pt x="61" y="170"/>
                  </a:lnTo>
                  <a:lnTo>
                    <a:pt x="62" y="174"/>
                  </a:lnTo>
                  <a:lnTo>
                    <a:pt x="67" y="177"/>
                  </a:lnTo>
                  <a:lnTo>
                    <a:pt x="70" y="173"/>
                  </a:lnTo>
                  <a:lnTo>
                    <a:pt x="70" y="170"/>
                  </a:lnTo>
                  <a:lnTo>
                    <a:pt x="71" y="169"/>
                  </a:lnTo>
                  <a:lnTo>
                    <a:pt x="71" y="171"/>
                  </a:lnTo>
                  <a:lnTo>
                    <a:pt x="68" y="179"/>
                  </a:lnTo>
                  <a:lnTo>
                    <a:pt x="68" y="183"/>
                  </a:lnTo>
                  <a:lnTo>
                    <a:pt x="73" y="183"/>
                  </a:lnTo>
                  <a:lnTo>
                    <a:pt x="77" y="183"/>
                  </a:lnTo>
                  <a:lnTo>
                    <a:pt x="83" y="185"/>
                  </a:lnTo>
                  <a:lnTo>
                    <a:pt x="87" y="182"/>
                  </a:lnTo>
                  <a:lnTo>
                    <a:pt x="90" y="179"/>
                  </a:lnTo>
                  <a:lnTo>
                    <a:pt x="94" y="166"/>
                  </a:lnTo>
                  <a:lnTo>
                    <a:pt x="96" y="163"/>
                  </a:lnTo>
                  <a:lnTo>
                    <a:pt x="97" y="157"/>
                  </a:lnTo>
                  <a:lnTo>
                    <a:pt x="97" y="153"/>
                  </a:lnTo>
                  <a:lnTo>
                    <a:pt x="99" y="151"/>
                  </a:lnTo>
                  <a:lnTo>
                    <a:pt x="100" y="148"/>
                  </a:lnTo>
                  <a:lnTo>
                    <a:pt x="103" y="150"/>
                  </a:lnTo>
                  <a:lnTo>
                    <a:pt x="100" y="153"/>
                  </a:lnTo>
                  <a:lnTo>
                    <a:pt x="100" y="157"/>
                  </a:lnTo>
                  <a:lnTo>
                    <a:pt x="88" y="182"/>
                  </a:lnTo>
                  <a:lnTo>
                    <a:pt x="88" y="183"/>
                  </a:lnTo>
                  <a:lnTo>
                    <a:pt x="84" y="187"/>
                  </a:lnTo>
                  <a:lnTo>
                    <a:pt x="84" y="189"/>
                  </a:lnTo>
                  <a:lnTo>
                    <a:pt x="86" y="190"/>
                  </a:lnTo>
                  <a:lnTo>
                    <a:pt x="87" y="190"/>
                  </a:lnTo>
                  <a:lnTo>
                    <a:pt x="87" y="192"/>
                  </a:lnTo>
                  <a:lnTo>
                    <a:pt x="86" y="193"/>
                  </a:lnTo>
                  <a:lnTo>
                    <a:pt x="81" y="192"/>
                  </a:lnTo>
                  <a:lnTo>
                    <a:pt x="80" y="190"/>
                  </a:lnTo>
                  <a:lnTo>
                    <a:pt x="73" y="190"/>
                  </a:lnTo>
                  <a:lnTo>
                    <a:pt x="74" y="195"/>
                  </a:lnTo>
                  <a:lnTo>
                    <a:pt x="75" y="195"/>
                  </a:lnTo>
                  <a:lnTo>
                    <a:pt x="74" y="198"/>
                  </a:lnTo>
                  <a:lnTo>
                    <a:pt x="73" y="198"/>
                  </a:lnTo>
                  <a:lnTo>
                    <a:pt x="67" y="192"/>
                  </a:lnTo>
                  <a:lnTo>
                    <a:pt x="61" y="192"/>
                  </a:lnTo>
                  <a:lnTo>
                    <a:pt x="57" y="189"/>
                  </a:lnTo>
                  <a:lnTo>
                    <a:pt x="55" y="189"/>
                  </a:lnTo>
                  <a:lnTo>
                    <a:pt x="55" y="186"/>
                  </a:lnTo>
                  <a:lnTo>
                    <a:pt x="51" y="173"/>
                  </a:lnTo>
                  <a:lnTo>
                    <a:pt x="49" y="171"/>
                  </a:lnTo>
                  <a:lnTo>
                    <a:pt x="49" y="169"/>
                  </a:lnTo>
                  <a:lnTo>
                    <a:pt x="45" y="161"/>
                  </a:lnTo>
                  <a:lnTo>
                    <a:pt x="32" y="160"/>
                  </a:lnTo>
                  <a:lnTo>
                    <a:pt x="23" y="164"/>
                  </a:lnTo>
                  <a:lnTo>
                    <a:pt x="22" y="163"/>
                  </a:lnTo>
                  <a:lnTo>
                    <a:pt x="20" y="166"/>
                  </a:lnTo>
                  <a:lnTo>
                    <a:pt x="19" y="166"/>
                  </a:lnTo>
                  <a:lnTo>
                    <a:pt x="19" y="169"/>
                  </a:lnTo>
                  <a:lnTo>
                    <a:pt x="19" y="170"/>
                  </a:lnTo>
                  <a:lnTo>
                    <a:pt x="19" y="170"/>
                  </a:lnTo>
                  <a:lnTo>
                    <a:pt x="19" y="177"/>
                  </a:lnTo>
                  <a:lnTo>
                    <a:pt x="23" y="180"/>
                  </a:lnTo>
                  <a:lnTo>
                    <a:pt x="23" y="182"/>
                  </a:lnTo>
                  <a:lnTo>
                    <a:pt x="26" y="186"/>
                  </a:lnTo>
                  <a:lnTo>
                    <a:pt x="26" y="192"/>
                  </a:lnTo>
                  <a:lnTo>
                    <a:pt x="28" y="195"/>
                  </a:lnTo>
                  <a:lnTo>
                    <a:pt x="32" y="198"/>
                  </a:lnTo>
                  <a:lnTo>
                    <a:pt x="35" y="195"/>
                  </a:lnTo>
                  <a:lnTo>
                    <a:pt x="38" y="195"/>
                  </a:lnTo>
                  <a:lnTo>
                    <a:pt x="38" y="196"/>
                  </a:lnTo>
                  <a:lnTo>
                    <a:pt x="33" y="201"/>
                  </a:lnTo>
                  <a:lnTo>
                    <a:pt x="33" y="201"/>
                  </a:lnTo>
                  <a:lnTo>
                    <a:pt x="36" y="201"/>
                  </a:lnTo>
                  <a:lnTo>
                    <a:pt x="36" y="202"/>
                  </a:lnTo>
                  <a:lnTo>
                    <a:pt x="33" y="203"/>
                  </a:lnTo>
                  <a:lnTo>
                    <a:pt x="33" y="205"/>
                  </a:lnTo>
                  <a:lnTo>
                    <a:pt x="35" y="206"/>
                  </a:lnTo>
                  <a:lnTo>
                    <a:pt x="36" y="205"/>
                  </a:lnTo>
                  <a:lnTo>
                    <a:pt x="41" y="208"/>
                  </a:lnTo>
                  <a:lnTo>
                    <a:pt x="39" y="208"/>
                  </a:lnTo>
                  <a:lnTo>
                    <a:pt x="39" y="211"/>
                  </a:lnTo>
                  <a:lnTo>
                    <a:pt x="36" y="209"/>
                  </a:lnTo>
                  <a:lnTo>
                    <a:pt x="36" y="206"/>
                  </a:lnTo>
                  <a:lnTo>
                    <a:pt x="30" y="208"/>
                  </a:lnTo>
                  <a:lnTo>
                    <a:pt x="30" y="211"/>
                  </a:lnTo>
                  <a:lnTo>
                    <a:pt x="30" y="212"/>
                  </a:lnTo>
                  <a:lnTo>
                    <a:pt x="28" y="212"/>
                  </a:lnTo>
                  <a:lnTo>
                    <a:pt x="28" y="211"/>
                  </a:lnTo>
                  <a:lnTo>
                    <a:pt x="28" y="211"/>
                  </a:lnTo>
                  <a:lnTo>
                    <a:pt x="25" y="214"/>
                  </a:lnTo>
                  <a:lnTo>
                    <a:pt x="23" y="212"/>
                  </a:lnTo>
                  <a:lnTo>
                    <a:pt x="19" y="211"/>
                  </a:lnTo>
                  <a:lnTo>
                    <a:pt x="19" y="212"/>
                  </a:lnTo>
                  <a:lnTo>
                    <a:pt x="19" y="215"/>
                  </a:lnTo>
                  <a:lnTo>
                    <a:pt x="16" y="217"/>
                  </a:lnTo>
                  <a:lnTo>
                    <a:pt x="13" y="218"/>
                  </a:lnTo>
                  <a:lnTo>
                    <a:pt x="13" y="219"/>
                  </a:lnTo>
                  <a:lnTo>
                    <a:pt x="3" y="227"/>
                  </a:lnTo>
                  <a:lnTo>
                    <a:pt x="1" y="232"/>
                  </a:lnTo>
                  <a:lnTo>
                    <a:pt x="1" y="240"/>
                  </a:lnTo>
                  <a:lnTo>
                    <a:pt x="0" y="244"/>
                  </a:lnTo>
                  <a:lnTo>
                    <a:pt x="6" y="253"/>
                  </a:lnTo>
                  <a:lnTo>
                    <a:pt x="7" y="254"/>
                  </a:lnTo>
                  <a:lnTo>
                    <a:pt x="10" y="250"/>
                  </a:lnTo>
                  <a:lnTo>
                    <a:pt x="12" y="244"/>
                  </a:lnTo>
                  <a:lnTo>
                    <a:pt x="13" y="253"/>
                  </a:lnTo>
                  <a:lnTo>
                    <a:pt x="14" y="246"/>
                  </a:lnTo>
                  <a:lnTo>
                    <a:pt x="13" y="234"/>
                  </a:lnTo>
                  <a:lnTo>
                    <a:pt x="14" y="230"/>
                  </a:lnTo>
                  <a:lnTo>
                    <a:pt x="16" y="254"/>
                  </a:lnTo>
                  <a:lnTo>
                    <a:pt x="20" y="254"/>
                  </a:lnTo>
                  <a:lnTo>
                    <a:pt x="22" y="257"/>
                  </a:lnTo>
                  <a:lnTo>
                    <a:pt x="26" y="256"/>
                  </a:lnTo>
                  <a:lnTo>
                    <a:pt x="28" y="251"/>
                  </a:lnTo>
                  <a:lnTo>
                    <a:pt x="28" y="246"/>
                  </a:lnTo>
                  <a:lnTo>
                    <a:pt x="29" y="251"/>
                  </a:lnTo>
                  <a:lnTo>
                    <a:pt x="33" y="254"/>
                  </a:lnTo>
                  <a:lnTo>
                    <a:pt x="35" y="256"/>
                  </a:lnTo>
                  <a:lnTo>
                    <a:pt x="38" y="257"/>
                  </a:lnTo>
                  <a:lnTo>
                    <a:pt x="39" y="253"/>
                  </a:lnTo>
                  <a:lnTo>
                    <a:pt x="42" y="250"/>
                  </a:lnTo>
                  <a:lnTo>
                    <a:pt x="42" y="243"/>
                  </a:lnTo>
                  <a:lnTo>
                    <a:pt x="43" y="246"/>
                  </a:lnTo>
                  <a:lnTo>
                    <a:pt x="43" y="250"/>
                  </a:lnTo>
                  <a:lnTo>
                    <a:pt x="43" y="251"/>
                  </a:lnTo>
                  <a:lnTo>
                    <a:pt x="52" y="262"/>
                  </a:lnTo>
                  <a:lnTo>
                    <a:pt x="59" y="262"/>
                  </a:lnTo>
                  <a:lnTo>
                    <a:pt x="59" y="264"/>
                  </a:lnTo>
                  <a:lnTo>
                    <a:pt x="71" y="262"/>
                  </a:lnTo>
                  <a:lnTo>
                    <a:pt x="64" y="251"/>
                  </a:lnTo>
                  <a:lnTo>
                    <a:pt x="64" y="246"/>
                  </a:lnTo>
                  <a:lnTo>
                    <a:pt x="67" y="253"/>
                  </a:lnTo>
                  <a:lnTo>
                    <a:pt x="71" y="253"/>
                  </a:lnTo>
                  <a:lnTo>
                    <a:pt x="75" y="248"/>
                  </a:lnTo>
                  <a:lnTo>
                    <a:pt x="75" y="241"/>
                  </a:lnTo>
                  <a:lnTo>
                    <a:pt x="81" y="251"/>
                  </a:lnTo>
                  <a:lnTo>
                    <a:pt x="87" y="254"/>
                  </a:lnTo>
                  <a:lnTo>
                    <a:pt x="90" y="251"/>
                  </a:lnTo>
                  <a:lnTo>
                    <a:pt x="90" y="246"/>
                  </a:lnTo>
                  <a:lnTo>
                    <a:pt x="87" y="234"/>
                  </a:lnTo>
                  <a:lnTo>
                    <a:pt x="93" y="253"/>
                  </a:lnTo>
                  <a:lnTo>
                    <a:pt x="97" y="256"/>
                  </a:lnTo>
                  <a:lnTo>
                    <a:pt x="104" y="254"/>
                  </a:lnTo>
                  <a:lnTo>
                    <a:pt x="106" y="248"/>
                  </a:lnTo>
                  <a:lnTo>
                    <a:pt x="100" y="238"/>
                  </a:lnTo>
                  <a:lnTo>
                    <a:pt x="103" y="240"/>
                  </a:lnTo>
                  <a:lnTo>
                    <a:pt x="107" y="241"/>
                  </a:lnTo>
                  <a:lnTo>
                    <a:pt x="107" y="247"/>
                  </a:lnTo>
                  <a:lnTo>
                    <a:pt x="109" y="250"/>
                  </a:lnTo>
                  <a:lnTo>
                    <a:pt x="115" y="251"/>
                  </a:lnTo>
                  <a:lnTo>
                    <a:pt x="119" y="250"/>
                  </a:lnTo>
                  <a:lnTo>
                    <a:pt x="122" y="250"/>
                  </a:lnTo>
                  <a:lnTo>
                    <a:pt x="123" y="253"/>
                  </a:lnTo>
                  <a:lnTo>
                    <a:pt x="123" y="257"/>
                  </a:lnTo>
                  <a:lnTo>
                    <a:pt x="122" y="263"/>
                  </a:lnTo>
                  <a:lnTo>
                    <a:pt x="120" y="266"/>
                  </a:lnTo>
                  <a:lnTo>
                    <a:pt x="122" y="270"/>
                  </a:lnTo>
                  <a:lnTo>
                    <a:pt x="141" y="262"/>
                  </a:lnTo>
                  <a:lnTo>
                    <a:pt x="151" y="246"/>
                  </a:lnTo>
                  <a:lnTo>
                    <a:pt x="152" y="253"/>
                  </a:lnTo>
                  <a:lnTo>
                    <a:pt x="158" y="248"/>
                  </a:lnTo>
                  <a:lnTo>
                    <a:pt x="160" y="246"/>
                  </a:lnTo>
                  <a:lnTo>
                    <a:pt x="164" y="243"/>
                  </a:lnTo>
                  <a:lnTo>
                    <a:pt x="165" y="225"/>
                  </a:lnTo>
                  <a:lnTo>
                    <a:pt x="163" y="219"/>
                  </a:lnTo>
                  <a:lnTo>
                    <a:pt x="158" y="221"/>
                  </a:lnTo>
                  <a:lnTo>
                    <a:pt x="152" y="230"/>
                  </a:lnTo>
                  <a:lnTo>
                    <a:pt x="149" y="228"/>
                  </a:lnTo>
                  <a:lnTo>
                    <a:pt x="151" y="224"/>
                  </a:lnTo>
                  <a:lnTo>
                    <a:pt x="145" y="221"/>
                  </a:lnTo>
                  <a:lnTo>
                    <a:pt x="145" y="219"/>
                  </a:lnTo>
                  <a:lnTo>
                    <a:pt x="151" y="217"/>
                  </a:lnTo>
                  <a:lnTo>
                    <a:pt x="151" y="212"/>
                  </a:lnTo>
                  <a:lnTo>
                    <a:pt x="148" y="206"/>
                  </a:lnTo>
                  <a:lnTo>
                    <a:pt x="145" y="205"/>
                  </a:lnTo>
                  <a:lnTo>
                    <a:pt x="141" y="205"/>
                  </a:lnTo>
                  <a:lnTo>
                    <a:pt x="134" y="214"/>
                  </a:lnTo>
                  <a:lnTo>
                    <a:pt x="132" y="214"/>
                  </a:lnTo>
                  <a:lnTo>
                    <a:pt x="135" y="209"/>
                  </a:lnTo>
                  <a:lnTo>
                    <a:pt x="135" y="205"/>
                  </a:lnTo>
                  <a:lnTo>
                    <a:pt x="123" y="203"/>
                  </a:lnTo>
                  <a:lnTo>
                    <a:pt x="118" y="205"/>
                  </a:lnTo>
                  <a:lnTo>
                    <a:pt x="112" y="214"/>
                  </a:lnTo>
                  <a:lnTo>
                    <a:pt x="110" y="205"/>
                  </a:lnTo>
                  <a:lnTo>
                    <a:pt x="107" y="202"/>
                  </a:lnTo>
                  <a:lnTo>
                    <a:pt x="112" y="202"/>
                  </a:lnTo>
                  <a:lnTo>
                    <a:pt x="119" y="199"/>
                  </a:lnTo>
                  <a:lnTo>
                    <a:pt x="119" y="198"/>
                  </a:lnTo>
                  <a:lnTo>
                    <a:pt x="115" y="195"/>
                  </a:lnTo>
                  <a:lnTo>
                    <a:pt x="115" y="190"/>
                  </a:lnTo>
                  <a:lnTo>
                    <a:pt x="115" y="187"/>
                  </a:lnTo>
                  <a:lnTo>
                    <a:pt x="122" y="196"/>
                  </a:lnTo>
                  <a:lnTo>
                    <a:pt x="129" y="201"/>
                  </a:lnTo>
                  <a:lnTo>
                    <a:pt x="151" y="201"/>
                  </a:lnTo>
                  <a:lnTo>
                    <a:pt x="152" y="198"/>
                  </a:lnTo>
                  <a:lnTo>
                    <a:pt x="154" y="198"/>
                  </a:lnTo>
                  <a:lnTo>
                    <a:pt x="154" y="201"/>
                  </a:lnTo>
                  <a:lnTo>
                    <a:pt x="154" y="201"/>
                  </a:lnTo>
                  <a:lnTo>
                    <a:pt x="161" y="196"/>
                  </a:lnTo>
                  <a:lnTo>
                    <a:pt x="165" y="189"/>
                  </a:lnTo>
                  <a:lnTo>
                    <a:pt x="165" y="185"/>
                  </a:lnTo>
                  <a:lnTo>
                    <a:pt x="165" y="183"/>
                  </a:lnTo>
                  <a:lnTo>
                    <a:pt x="170" y="180"/>
                  </a:lnTo>
                  <a:lnTo>
                    <a:pt x="170" y="179"/>
                  </a:lnTo>
                  <a:lnTo>
                    <a:pt x="165" y="174"/>
                  </a:lnTo>
                  <a:lnTo>
                    <a:pt x="165" y="171"/>
                  </a:lnTo>
                  <a:lnTo>
                    <a:pt x="165" y="169"/>
                  </a:lnTo>
                  <a:lnTo>
                    <a:pt x="164" y="164"/>
                  </a:lnTo>
                  <a:lnTo>
                    <a:pt x="163" y="163"/>
                  </a:lnTo>
                  <a:lnTo>
                    <a:pt x="163" y="163"/>
                  </a:lnTo>
                  <a:lnTo>
                    <a:pt x="163" y="160"/>
                  </a:lnTo>
                  <a:lnTo>
                    <a:pt x="161" y="157"/>
                  </a:lnTo>
                  <a:lnTo>
                    <a:pt x="161" y="155"/>
                  </a:lnTo>
                  <a:lnTo>
                    <a:pt x="165" y="157"/>
                  </a:lnTo>
                  <a:lnTo>
                    <a:pt x="177" y="157"/>
                  </a:lnTo>
                  <a:lnTo>
                    <a:pt x="179" y="160"/>
                  </a:lnTo>
                  <a:lnTo>
                    <a:pt x="184" y="158"/>
                  </a:lnTo>
                  <a:lnTo>
                    <a:pt x="189" y="153"/>
                  </a:lnTo>
                  <a:lnTo>
                    <a:pt x="193" y="154"/>
                  </a:lnTo>
                  <a:lnTo>
                    <a:pt x="194" y="155"/>
                  </a:lnTo>
                  <a:lnTo>
                    <a:pt x="197" y="150"/>
                  </a:lnTo>
                  <a:lnTo>
                    <a:pt x="197" y="148"/>
                  </a:lnTo>
                  <a:lnTo>
                    <a:pt x="200" y="145"/>
                  </a:lnTo>
                  <a:lnTo>
                    <a:pt x="180" y="139"/>
                  </a:lnTo>
                  <a:lnTo>
                    <a:pt x="184" y="137"/>
                  </a:lnTo>
                  <a:lnTo>
                    <a:pt x="190" y="137"/>
                  </a:lnTo>
                  <a:lnTo>
                    <a:pt x="199" y="141"/>
                  </a:lnTo>
                  <a:lnTo>
                    <a:pt x="202" y="134"/>
                  </a:lnTo>
                  <a:lnTo>
                    <a:pt x="208" y="131"/>
                  </a:lnTo>
                  <a:lnTo>
                    <a:pt x="208" y="128"/>
                  </a:lnTo>
                  <a:lnTo>
                    <a:pt x="205" y="124"/>
                  </a:lnTo>
                  <a:lnTo>
                    <a:pt x="202" y="122"/>
                  </a:lnTo>
                  <a:lnTo>
                    <a:pt x="196" y="121"/>
                  </a:lnTo>
                  <a:lnTo>
                    <a:pt x="192" y="118"/>
                  </a:lnTo>
                  <a:lnTo>
                    <a:pt x="189" y="118"/>
                  </a:lnTo>
                  <a:lnTo>
                    <a:pt x="192" y="116"/>
                  </a:lnTo>
                  <a:lnTo>
                    <a:pt x="205" y="116"/>
                  </a:lnTo>
                  <a:lnTo>
                    <a:pt x="208" y="115"/>
                  </a:lnTo>
                  <a:lnTo>
                    <a:pt x="209" y="112"/>
                  </a:lnTo>
                  <a:lnTo>
                    <a:pt x="213" y="109"/>
                  </a:lnTo>
                  <a:lnTo>
                    <a:pt x="212" y="108"/>
                  </a:lnTo>
                  <a:lnTo>
                    <a:pt x="212" y="105"/>
                  </a:lnTo>
                  <a:lnTo>
                    <a:pt x="212" y="102"/>
                  </a:lnTo>
                  <a:lnTo>
                    <a:pt x="212" y="93"/>
                  </a:lnTo>
                  <a:lnTo>
                    <a:pt x="209" y="90"/>
                  </a:lnTo>
                  <a:lnTo>
                    <a:pt x="202" y="87"/>
                  </a:lnTo>
                  <a:lnTo>
                    <a:pt x="192" y="89"/>
                  </a:lnTo>
                  <a:lnTo>
                    <a:pt x="192" y="87"/>
                  </a:lnTo>
                  <a:lnTo>
                    <a:pt x="194" y="86"/>
                  </a:lnTo>
                  <a:lnTo>
                    <a:pt x="197" y="83"/>
                  </a:lnTo>
                  <a:lnTo>
                    <a:pt x="197" y="81"/>
                  </a:lnTo>
                  <a:lnTo>
                    <a:pt x="194" y="80"/>
                  </a:lnTo>
                  <a:lnTo>
                    <a:pt x="177" y="81"/>
                  </a:lnTo>
                  <a:lnTo>
                    <a:pt x="173" y="83"/>
                  </a:lnTo>
                  <a:lnTo>
                    <a:pt x="171" y="86"/>
                  </a:lnTo>
                  <a:lnTo>
                    <a:pt x="168" y="86"/>
                  </a:lnTo>
                  <a:lnTo>
                    <a:pt x="171" y="78"/>
                  </a:lnTo>
                  <a:lnTo>
                    <a:pt x="168" y="78"/>
                  </a:lnTo>
                  <a:lnTo>
                    <a:pt x="168" y="76"/>
                  </a:lnTo>
                  <a:lnTo>
                    <a:pt x="174" y="78"/>
                  </a:lnTo>
                  <a:lnTo>
                    <a:pt x="186" y="74"/>
                  </a:lnTo>
                  <a:lnTo>
                    <a:pt x="193" y="76"/>
                  </a:lnTo>
                  <a:lnTo>
                    <a:pt x="193" y="73"/>
                  </a:lnTo>
                  <a:lnTo>
                    <a:pt x="187" y="70"/>
                  </a:lnTo>
                  <a:lnTo>
                    <a:pt x="170" y="70"/>
                  </a:lnTo>
                  <a:lnTo>
                    <a:pt x="168" y="68"/>
                  </a:lnTo>
                  <a:lnTo>
                    <a:pt x="171" y="67"/>
                  </a:lnTo>
                  <a:lnTo>
                    <a:pt x="183" y="67"/>
                  </a:lnTo>
                  <a:lnTo>
                    <a:pt x="186" y="64"/>
                  </a:lnTo>
                  <a:lnTo>
                    <a:pt x="194" y="67"/>
                  </a:lnTo>
                  <a:lnTo>
                    <a:pt x="196" y="68"/>
                  </a:lnTo>
                  <a:lnTo>
                    <a:pt x="196" y="73"/>
                  </a:lnTo>
                  <a:lnTo>
                    <a:pt x="197" y="76"/>
                  </a:lnTo>
                  <a:lnTo>
                    <a:pt x="200" y="77"/>
                  </a:lnTo>
                  <a:lnTo>
                    <a:pt x="213" y="78"/>
                  </a:lnTo>
                  <a:lnTo>
                    <a:pt x="215" y="78"/>
                  </a:lnTo>
                  <a:lnTo>
                    <a:pt x="216" y="76"/>
                  </a:lnTo>
                  <a:lnTo>
                    <a:pt x="215" y="71"/>
                  </a:lnTo>
                  <a:lnTo>
                    <a:pt x="212" y="67"/>
                  </a:lnTo>
                  <a:lnTo>
                    <a:pt x="215" y="62"/>
                  </a:lnTo>
                  <a:lnTo>
                    <a:pt x="213" y="61"/>
                  </a:lnTo>
                  <a:lnTo>
                    <a:pt x="196" y="62"/>
                  </a:lnTo>
                  <a:lnTo>
                    <a:pt x="194" y="60"/>
                  </a:lnTo>
                  <a:lnTo>
                    <a:pt x="173" y="64"/>
                  </a:lnTo>
                  <a:lnTo>
                    <a:pt x="174" y="62"/>
                  </a:lnTo>
                  <a:lnTo>
                    <a:pt x="174" y="60"/>
                  </a:lnTo>
                  <a:lnTo>
                    <a:pt x="170" y="58"/>
                  </a:lnTo>
                  <a:lnTo>
                    <a:pt x="167" y="57"/>
                  </a:lnTo>
                  <a:lnTo>
                    <a:pt x="171" y="55"/>
                  </a:lnTo>
                  <a:lnTo>
                    <a:pt x="177" y="55"/>
                  </a:lnTo>
                  <a:lnTo>
                    <a:pt x="177" y="49"/>
                  </a:lnTo>
                  <a:lnTo>
                    <a:pt x="176" y="48"/>
                  </a:lnTo>
                  <a:lnTo>
                    <a:pt x="177" y="46"/>
                  </a:lnTo>
                  <a:lnTo>
                    <a:pt x="179" y="48"/>
                  </a:lnTo>
                  <a:lnTo>
                    <a:pt x="180" y="52"/>
                  </a:lnTo>
                  <a:lnTo>
                    <a:pt x="181" y="54"/>
                  </a:lnTo>
                  <a:lnTo>
                    <a:pt x="194" y="55"/>
                  </a:lnTo>
                  <a:lnTo>
                    <a:pt x="196" y="52"/>
                  </a:lnTo>
                  <a:lnTo>
                    <a:pt x="193" y="49"/>
                  </a:lnTo>
                  <a:lnTo>
                    <a:pt x="192" y="48"/>
                  </a:lnTo>
                  <a:lnTo>
                    <a:pt x="179" y="45"/>
                  </a:lnTo>
                  <a:lnTo>
                    <a:pt x="177" y="42"/>
                  </a:lnTo>
                  <a:lnTo>
                    <a:pt x="179" y="41"/>
                  </a:lnTo>
                  <a:lnTo>
                    <a:pt x="189" y="42"/>
                  </a:lnTo>
                  <a:lnTo>
                    <a:pt x="199" y="49"/>
                  </a:lnTo>
                  <a:lnTo>
                    <a:pt x="206" y="51"/>
                  </a:lnTo>
                  <a:lnTo>
                    <a:pt x="209" y="49"/>
                  </a:lnTo>
                  <a:lnTo>
                    <a:pt x="208" y="45"/>
                  </a:lnTo>
                  <a:lnTo>
                    <a:pt x="210" y="46"/>
                  </a:lnTo>
                  <a:lnTo>
                    <a:pt x="218" y="46"/>
                  </a:lnTo>
                  <a:lnTo>
                    <a:pt x="221" y="44"/>
                  </a:lnTo>
                  <a:lnTo>
                    <a:pt x="221" y="41"/>
                  </a:lnTo>
                  <a:lnTo>
                    <a:pt x="221" y="41"/>
                  </a:lnTo>
                  <a:lnTo>
                    <a:pt x="222" y="39"/>
                  </a:lnTo>
                  <a:lnTo>
                    <a:pt x="224" y="42"/>
                  </a:lnTo>
                  <a:lnTo>
                    <a:pt x="228" y="41"/>
                  </a:lnTo>
                  <a:lnTo>
                    <a:pt x="229" y="36"/>
                  </a:lnTo>
                  <a:lnTo>
                    <a:pt x="226" y="25"/>
                  </a:lnTo>
                  <a:lnTo>
                    <a:pt x="212" y="22"/>
                  </a:lnTo>
                  <a:lnTo>
                    <a:pt x="212" y="17"/>
                  </a:lnTo>
                  <a:lnTo>
                    <a:pt x="218" y="16"/>
                  </a:lnTo>
                  <a:lnTo>
                    <a:pt x="224" y="19"/>
                  </a:lnTo>
                  <a:lnTo>
                    <a:pt x="231" y="20"/>
                  </a:lnTo>
                  <a:lnTo>
                    <a:pt x="229" y="25"/>
                  </a:lnTo>
                  <a:lnTo>
                    <a:pt x="231" y="28"/>
                  </a:lnTo>
                  <a:lnTo>
                    <a:pt x="234" y="29"/>
                  </a:lnTo>
                  <a:lnTo>
                    <a:pt x="238" y="29"/>
                  </a:lnTo>
                  <a:lnTo>
                    <a:pt x="238" y="31"/>
                  </a:lnTo>
                  <a:lnTo>
                    <a:pt x="244" y="29"/>
                  </a:lnTo>
                  <a:lnTo>
                    <a:pt x="250" y="29"/>
                  </a:lnTo>
                  <a:lnTo>
                    <a:pt x="253" y="26"/>
                  </a:lnTo>
                  <a:lnTo>
                    <a:pt x="255" y="26"/>
                  </a:lnTo>
                  <a:lnTo>
                    <a:pt x="261" y="16"/>
                  </a:lnTo>
                  <a:lnTo>
                    <a:pt x="258" y="15"/>
                  </a:lnTo>
                  <a:lnTo>
                    <a:pt x="254" y="16"/>
                  </a:lnTo>
                  <a:lnTo>
                    <a:pt x="255" y="12"/>
                  </a:lnTo>
                  <a:lnTo>
                    <a:pt x="257" y="9"/>
                  </a:lnTo>
                  <a:lnTo>
                    <a:pt x="263" y="6"/>
                  </a:lnTo>
                  <a:lnTo>
                    <a:pt x="264" y="4"/>
                  </a:lnTo>
                  <a:lnTo>
                    <a:pt x="267" y="0"/>
                  </a:lnTo>
                  <a:lnTo>
                    <a:pt x="103" y="0"/>
                  </a:lnTo>
                  <a:lnTo>
                    <a:pt x="103" y="0"/>
                  </a:lnTo>
                  <a:lnTo>
                    <a:pt x="115" y="9"/>
                  </a:lnTo>
                  <a:lnTo>
                    <a:pt x="115" y="9"/>
                  </a:lnTo>
                  <a:lnTo>
                    <a:pt x="112" y="12"/>
                  </a:lnTo>
                  <a:lnTo>
                    <a:pt x="112" y="13"/>
                  </a:lnTo>
                  <a:lnTo>
                    <a:pt x="113" y="23"/>
                  </a:lnTo>
                  <a:lnTo>
                    <a:pt x="115" y="23"/>
                  </a:lnTo>
                  <a:lnTo>
                    <a:pt x="115" y="25"/>
                  </a:lnTo>
                  <a:lnTo>
                    <a:pt x="115" y="28"/>
                  </a:lnTo>
                  <a:lnTo>
                    <a:pt x="120" y="29"/>
                  </a:lnTo>
                  <a:lnTo>
                    <a:pt x="125" y="32"/>
                  </a:lnTo>
                  <a:lnTo>
                    <a:pt x="134" y="28"/>
                  </a:lnTo>
                  <a:lnTo>
                    <a:pt x="136" y="28"/>
                  </a:lnTo>
                  <a:lnTo>
                    <a:pt x="138" y="31"/>
                  </a:lnTo>
                  <a:lnTo>
                    <a:pt x="136" y="32"/>
                  </a:lnTo>
                  <a:lnTo>
                    <a:pt x="134" y="32"/>
                  </a:lnTo>
                  <a:lnTo>
                    <a:pt x="126" y="36"/>
                  </a:lnTo>
                  <a:lnTo>
                    <a:pt x="125" y="38"/>
                  </a:lnTo>
                  <a:lnTo>
                    <a:pt x="125" y="39"/>
                  </a:lnTo>
                  <a:lnTo>
                    <a:pt x="125" y="41"/>
                  </a:lnTo>
                  <a:lnTo>
                    <a:pt x="125" y="41"/>
                  </a:lnTo>
                  <a:lnTo>
                    <a:pt x="116" y="35"/>
                  </a:lnTo>
                  <a:lnTo>
                    <a:pt x="113" y="33"/>
                  </a:lnTo>
                  <a:lnTo>
                    <a:pt x="110" y="36"/>
                  </a:lnTo>
                  <a:lnTo>
                    <a:pt x="110" y="29"/>
                  </a:lnTo>
                  <a:lnTo>
                    <a:pt x="109" y="29"/>
                  </a:lnTo>
                  <a:lnTo>
                    <a:pt x="107" y="23"/>
                  </a:lnTo>
                  <a:lnTo>
                    <a:pt x="106" y="22"/>
                  </a:lnTo>
                  <a:lnTo>
                    <a:pt x="106" y="17"/>
                  </a:lnTo>
                  <a:lnTo>
                    <a:pt x="93" y="0"/>
                  </a:lnTo>
                  <a:lnTo>
                    <a:pt x="48" y="0"/>
                  </a:lnTo>
                  <a:lnTo>
                    <a:pt x="58" y="4"/>
                  </a:lnTo>
                  <a:lnTo>
                    <a:pt x="61" y="7"/>
                  </a:lnTo>
                  <a:lnTo>
                    <a:pt x="61" y="7"/>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62" name="Freeform 1237"/>
            <p:cNvSpPr>
              <a:spLocks/>
            </p:cNvSpPr>
            <p:nvPr/>
          </p:nvSpPr>
          <p:spPr bwMode="auto">
            <a:xfrm>
              <a:off x="4986606" y="1471498"/>
              <a:ext cx="7022" cy="8113"/>
            </a:xfrm>
            <a:custGeom>
              <a:avLst/>
              <a:gdLst/>
              <a:ahLst/>
              <a:cxnLst>
                <a:cxn ang="0">
                  <a:pos x="0" y="5"/>
                </a:cxn>
                <a:cxn ang="0">
                  <a:pos x="0" y="6"/>
                </a:cxn>
                <a:cxn ang="0">
                  <a:pos x="7" y="8"/>
                </a:cxn>
                <a:cxn ang="0">
                  <a:pos x="1" y="0"/>
                </a:cxn>
                <a:cxn ang="0">
                  <a:pos x="0" y="5"/>
                </a:cxn>
                <a:cxn ang="0">
                  <a:pos x="0" y="5"/>
                </a:cxn>
              </a:cxnLst>
              <a:rect l="0" t="0" r="r" b="b"/>
              <a:pathLst>
                <a:path w="7" h="8">
                  <a:moveTo>
                    <a:pt x="0" y="5"/>
                  </a:moveTo>
                  <a:lnTo>
                    <a:pt x="0" y="6"/>
                  </a:lnTo>
                  <a:lnTo>
                    <a:pt x="7" y="8"/>
                  </a:lnTo>
                  <a:lnTo>
                    <a:pt x="1" y="0"/>
                  </a:lnTo>
                  <a:lnTo>
                    <a:pt x="0" y="5"/>
                  </a:lnTo>
                  <a:lnTo>
                    <a:pt x="0" y="5"/>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63" name="Freeform 1238"/>
            <p:cNvSpPr>
              <a:spLocks/>
            </p:cNvSpPr>
            <p:nvPr/>
          </p:nvSpPr>
          <p:spPr bwMode="auto">
            <a:xfrm>
              <a:off x="4986606" y="1463385"/>
              <a:ext cx="878" cy="8113"/>
            </a:xfrm>
            <a:custGeom>
              <a:avLst/>
              <a:gdLst/>
              <a:ahLst/>
              <a:cxnLst>
                <a:cxn ang="0">
                  <a:pos x="1" y="3"/>
                </a:cxn>
                <a:cxn ang="0">
                  <a:pos x="0" y="0"/>
                </a:cxn>
                <a:cxn ang="0">
                  <a:pos x="0" y="7"/>
                </a:cxn>
                <a:cxn ang="0">
                  <a:pos x="1" y="8"/>
                </a:cxn>
                <a:cxn ang="0">
                  <a:pos x="1" y="7"/>
                </a:cxn>
                <a:cxn ang="0">
                  <a:pos x="1" y="3"/>
                </a:cxn>
                <a:cxn ang="0">
                  <a:pos x="1" y="3"/>
                </a:cxn>
              </a:cxnLst>
              <a:rect l="0" t="0" r="r" b="b"/>
              <a:pathLst>
                <a:path w="1" h="8">
                  <a:moveTo>
                    <a:pt x="1" y="3"/>
                  </a:moveTo>
                  <a:lnTo>
                    <a:pt x="0" y="0"/>
                  </a:lnTo>
                  <a:lnTo>
                    <a:pt x="0" y="7"/>
                  </a:lnTo>
                  <a:lnTo>
                    <a:pt x="1" y="8"/>
                  </a:lnTo>
                  <a:lnTo>
                    <a:pt x="1" y="7"/>
                  </a:lnTo>
                  <a:lnTo>
                    <a:pt x="1" y="3"/>
                  </a:lnTo>
                  <a:lnTo>
                    <a:pt x="1" y="3"/>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64" name="Freeform 1239"/>
            <p:cNvSpPr>
              <a:spLocks/>
            </p:cNvSpPr>
            <p:nvPr/>
          </p:nvSpPr>
          <p:spPr bwMode="auto">
            <a:xfrm>
              <a:off x="5073509" y="2258464"/>
              <a:ext cx="7022" cy="9127"/>
            </a:xfrm>
            <a:custGeom>
              <a:avLst/>
              <a:gdLst/>
              <a:ahLst/>
              <a:cxnLst>
                <a:cxn ang="0">
                  <a:pos x="0" y="9"/>
                </a:cxn>
                <a:cxn ang="0">
                  <a:pos x="2" y="9"/>
                </a:cxn>
                <a:cxn ang="0">
                  <a:pos x="6" y="6"/>
                </a:cxn>
                <a:cxn ang="0">
                  <a:pos x="8" y="0"/>
                </a:cxn>
                <a:cxn ang="0">
                  <a:pos x="8" y="0"/>
                </a:cxn>
                <a:cxn ang="0">
                  <a:pos x="8" y="1"/>
                </a:cxn>
                <a:cxn ang="0">
                  <a:pos x="8" y="1"/>
                </a:cxn>
                <a:cxn ang="0">
                  <a:pos x="6" y="4"/>
                </a:cxn>
                <a:cxn ang="0">
                  <a:pos x="6" y="4"/>
                </a:cxn>
                <a:cxn ang="0">
                  <a:pos x="5" y="4"/>
                </a:cxn>
                <a:cxn ang="0">
                  <a:pos x="3" y="4"/>
                </a:cxn>
                <a:cxn ang="0">
                  <a:pos x="3" y="4"/>
                </a:cxn>
                <a:cxn ang="0">
                  <a:pos x="3" y="4"/>
                </a:cxn>
                <a:cxn ang="0">
                  <a:pos x="3" y="4"/>
                </a:cxn>
                <a:cxn ang="0">
                  <a:pos x="3" y="4"/>
                </a:cxn>
                <a:cxn ang="0">
                  <a:pos x="3" y="6"/>
                </a:cxn>
                <a:cxn ang="0">
                  <a:pos x="2" y="4"/>
                </a:cxn>
                <a:cxn ang="0">
                  <a:pos x="2" y="6"/>
                </a:cxn>
                <a:cxn ang="0">
                  <a:pos x="0" y="6"/>
                </a:cxn>
                <a:cxn ang="0">
                  <a:pos x="0" y="7"/>
                </a:cxn>
                <a:cxn ang="0">
                  <a:pos x="0" y="7"/>
                </a:cxn>
                <a:cxn ang="0">
                  <a:pos x="0" y="7"/>
                </a:cxn>
                <a:cxn ang="0">
                  <a:pos x="0" y="9"/>
                </a:cxn>
                <a:cxn ang="0">
                  <a:pos x="0" y="9"/>
                </a:cxn>
                <a:cxn ang="0">
                  <a:pos x="0" y="9"/>
                </a:cxn>
              </a:cxnLst>
              <a:rect l="0" t="0" r="r" b="b"/>
              <a:pathLst>
                <a:path w="8" h="9">
                  <a:moveTo>
                    <a:pt x="0" y="9"/>
                  </a:moveTo>
                  <a:lnTo>
                    <a:pt x="2" y="9"/>
                  </a:lnTo>
                  <a:lnTo>
                    <a:pt x="6" y="6"/>
                  </a:lnTo>
                  <a:lnTo>
                    <a:pt x="8" y="0"/>
                  </a:lnTo>
                  <a:lnTo>
                    <a:pt x="8" y="0"/>
                  </a:lnTo>
                  <a:lnTo>
                    <a:pt x="8" y="1"/>
                  </a:lnTo>
                  <a:lnTo>
                    <a:pt x="8" y="1"/>
                  </a:lnTo>
                  <a:lnTo>
                    <a:pt x="6" y="4"/>
                  </a:lnTo>
                  <a:lnTo>
                    <a:pt x="6" y="4"/>
                  </a:lnTo>
                  <a:lnTo>
                    <a:pt x="5" y="4"/>
                  </a:lnTo>
                  <a:lnTo>
                    <a:pt x="3" y="4"/>
                  </a:lnTo>
                  <a:lnTo>
                    <a:pt x="3" y="4"/>
                  </a:lnTo>
                  <a:lnTo>
                    <a:pt x="3" y="4"/>
                  </a:lnTo>
                  <a:lnTo>
                    <a:pt x="3" y="4"/>
                  </a:lnTo>
                  <a:lnTo>
                    <a:pt x="3" y="4"/>
                  </a:lnTo>
                  <a:lnTo>
                    <a:pt x="3" y="6"/>
                  </a:lnTo>
                  <a:lnTo>
                    <a:pt x="2" y="4"/>
                  </a:lnTo>
                  <a:lnTo>
                    <a:pt x="2" y="6"/>
                  </a:lnTo>
                  <a:lnTo>
                    <a:pt x="0" y="6"/>
                  </a:lnTo>
                  <a:lnTo>
                    <a:pt x="0" y="7"/>
                  </a:lnTo>
                  <a:lnTo>
                    <a:pt x="0" y="7"/>
                  </a:lnTo>
                  <a:lnTo>
                    <a:pt x="0" y="7"/>
                  </a:lnTo>
                  <a:lnTo>
                    <a:pt x="0" y="9"/>
                  </a:lnTo>
                  <a:lnTo>
                    <a:pt x="0" y="9"/>
                  </a:lnTo>
                  <a:lnTo>
                    <a:pt x="0" y="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65" name="Freeform 1240"/>
            <p:cNvSpPr>
              <a:spLocks/>
            </p:cNvSpPr>
            <p:nvPr/>
          </p:nvSpPr>
          <p:spPr bwMode="auto">
            <a:xfrm>
              <a:off x="5073509" y="2258464"/>
              <a:ext cx="7022" cy="9127"/>
            </a:xfrm>
            <a:custGeom>
              <a:avLst/>
              <a:gdLst/>
              <a:ahLst/>
              <a:cxnLst>
                <a:cxn ang="0">
                  <a:pos x="0" y="9"/>
                </a:cxn>
                <a:cxn ang="0">
                  <a:pos x="2" y="9"/>
                </a:cxn>
                <a:cxn ang="0">
                  <a:pos x="6" y="6"/>
                </a:cxn>
                <a:cxn ang="0">
                  <a:pos x="8" y="0"/>
                </a:cxn>
                <a:cxn ang="0">
                  <a:pos x="8" y="0"/>
                </a:cxn>
                <a:cxn ang="0">
                  <a:pos x="8" y="1"/>
                </a:cxn>
                <a:cxn ang="0">
                  <a:pos x="8" y="1"/>
                </a:cxn>
                <a:cxn ang="0">
                  <a:pos x="6" y="4"/>
                </a:cxn>
                <a:cxn ang="0">
                  <a:pos x="6" y="4"/>
                </a:cxn>
                <a:cxn ang="0">
                  <a:pos x="5" y="4"/>
                </a:cxn>
                <a:cxn ang="0">
                  <a:pos x="3" y="4"/>
                </a:cxn>
                <a:cxn ang="0">
                  <a:pos x="3" y="4"/>
                </a:cxn>
                <a:cxn ang="0">
                  <a:pos x="3" y="4"/>
                </a:cxn>
                <a:cxn ang="0">
                  <a:pos x="3" y="4"/>
                </a:cxn>
                <a:cxn ang="0">
                  <a:pos x="3" y="4"/>
                </a:cxn>
                <a:cxn ang="0">
                  <a:pos x="3" y="6"/>
                </a:cxn>
                <a:cxn ang="0">
                  <a:pos x="2" y="4"/>
                </a:cxn>
                <a:cxn ang="0">
                  <a:pos x="2" y="6"/>
                </a:cxn>
                <a:cxn ang="0">
                  <a:pos x="0" y="6"/>
                </a:cxn>
                <a:cxn ang="0">
                  <a:pos x="0" y="7"/>
                </a:cxn>
                <a:cxn ang="0">
                  <a:pos x="0" y="7"/>
                </a:cxn>
                <a:cxn ang="0">
                  <a:pos x="0" y="7"/>
                </a:cxn>
                <a:cxn ang="0">
                  <a:pos x="0" y="9"/>
                </a:cxn>
                <a:cxn ang="0">
                  <a:pos x="0" y="9"/>
                </a:cxn>
                <a:cxn ang="0">
                  <a:pos x="0" y="9"/>
                </a:cxn>
              </a:cxnLst>
              <a:rect l="0" t="0" r="r" b="b"/>
              <a:pathLst>
                <a:path w="8" h="9">
                  <a:moveTo>
                    <a:pt x="0" y="9"/>
                  </a:moveTo>
                  <a:lnTo>
                    <a:pt x="2" y="9"/>
                  </a:lnTo>
                  <a:lnTo>
                    <a:pt x="6" y="6"/>
                  </a:lnTo>
                  <a:lnTo>
                    <a:pt x="8" y="0"/>
                  </a:lnTo>
                  <a:lnTo>
                    <a:pt x="8" y="0"/>
                  </a:lnTo>
                  <a:lnTo>
                    <a:pt x="8" y="1"/>
                  </a:lnTo>
                  <a:lnTo>
                    <a:pt x="8" y="1"/>
                  </a:lnTo>
                  <a:lnTo>
                    <a:pt x="6" y="4"/>
                  </a:lnTo>
                  <a:lnTo>
                    <a:pt x="6" y="4"/>
                  </a:lnTo>
                  <a:lnTo>
                    <a:pt x="5" y="4"/>
                  </a:lnTo>
                  <a:lnTo>
                    <a:pt x="3" y="4"/>
                  </a:lnTo>
                  <a:lnTo>
                    <a:pt x="3" y="4"/>
                  </a:lnTo>
                  <a:lnTo>
                    <a:pt x="3" y="4"/>
                  </a:lnTo>
                  <a:lnTo>
                    <a:pt x="3" y="4"/>
                  </a:lnTo>
                  <a:lnTo>
                    <a:pt x="3" y="4"/>
                  </a:lnTo>
                  <a:lnTo>
                    <a:pt x="3" y="6"/>
                  </a:lnTo>
                  <a:lnTo>
                    <a:pt x="2" y="4"/>
                  </a:lnTo>
                  <a:lnTo>
                    <a:pt x="2" y="6"/>
                  </a:lnTo>
                  <a:lnTo>
                    <a:pt x="0" y="6"/>
                  </a:lnTo>
                  <a:lnTo>
                    <a:pt x="0" y="7"/>
                  </a:lnTo>
                  <a:lnTo>
                    <a:pt x="0" y="7"/>
                  </a:lnTo>
                  <a:lnTo>
                    <a:pt x="0" y="7"/>
                  </a:lnTo>
                  <a:lnTo>
                    <a:pt x="0" y="9"/>
                  </a:lnTo>
                  <a:lnTo>
                    <a:pt x="0" y="9"/>
                  </a:lnTo>
                  <a:lnTo>
                    <a:pt x="0" y="9"/>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66" name="Freeform 1241"/>
            <p:cNvSpPr>
              <a:spLocks/>
            </p:cNvSpPr>
            <p:nvPr/>
          </p:nvSpPr>
          <p:spPr bwMode="auto">
            <a:xfrm>
              <a:off x="5075265" y="2255423"/>
              <a:ext cx="14045" cy="23326"/>
            </a:xfrm>
            <a:custGeom>
              <a:avLst/>
              <a:gdLst/>
              <a:ahLst/>
              <a:cxnLst>
                <a:cxn ang="0">
                  <a:pos x="14" y="9"/>
                </a:cxn>
                <a:cxn ang="0">
                  <a:pos x="16" y="9"/>
                </a:cxn>
                <a:cxn ang="0">
                  <a:pos x="14" y="7"/>
                </a:cxn>
                <a:cxn ang="0">
                  <a:pos x="16" y="7"/>
                </a:cxn>
                <a:cxn ang="0">
                  <a:pos x="14" y="6"/>
                </a:cxn>
                <a:cxn ang="0">
                  <a:pos x="14" y="6"/>
                </a:cxn>
                <a:cxn ang="0">
                  <a:pos x="13" y="4"/>
                </a:cxn>
                <a:cxn ang="0">
                  <a:pos x="11" y="3"/>
                </a:cxn>
                <a:cxn ang="0">
                  <a:pos x="11" y="3"/>
                </a:cxn>
                <a:cxn ang="0">
                  <a:pos x="10" y="2"/>
                </a:cxn>
                <a:cxn ang="0">
                  <a:pos x="10" y="0"/>
                </a:cxn>
                <a:cxn ang="0">
                  <a:pos x="9" y="12"/>
                </a:cxn>
                <a:cxn ang="0">
                  <a:pos x="6" y="13"/>
                </a:cxn>
                <a:cxn ang="0">
                  <a:pos x="6" y="13"/>
                </a:cxn>
                <a:cxn ang="0">
                  <a:pos x="6" y="12"/>
                </a:cxn>
                <a:cxn ang="0">
                  <a:pos x="7" y="9"/>
                </a:cxn>
                <a:cxn ang="0">
                  <a:pos x="9" y="4"/>
                </a:cxn>
                <a:cxn ang="0">
                  <a:pos x="7" y="3"/>
                </a:cxn>
                <a:cxn ang="0">
                  <a:pos x="7" y="4"/>
                </a:cxn>
                <a:cxn ang="0">
                  <a:pos x="6" y="12"/>
                </a:cxn>
                <a:cxn ang="0">
                  <a:pos x="0" y="18"/>
                </a:cxn>
                <a:cxn ang="0">
                  <a:pos x="0" y="19"/>
                </a:cxn>
                <a:cxn ang="0">
                  <a:pos x="0" y="19"/>
                </a:cxn>
                <a:cxn ang="0">
                  <a:pos x="1" y="20"/>
                </a:cxn>
                <a:cxn ang="0">
                  <a:pos x="1" y="20"/>
                </a:cxn>
                <a:cxn ang="0">
                  <a:pos x="7" y="13"/>
                </a:cxn>
                <a:cxn ang="0">
                  <a:pos x="7" y="15"/>
                </a:cxn>
                <a:cxn ang="0">
                  <a:pos x="3" y="22"/>
                </a:cxn>
                <a:cxn ang="0">
                  <a:pos x="6" y="19"/>
                </a:cxn>
                <a:cxn ang="0">
                  <a:pos x="6" y="19"/>
                </a:cxn>
                <a:cxn ang="0">
                  <a:pos x="7" y="20"/>
                </a:cxn>
                <a:cxn ang="0">
                  <a:pos x="7" y="19"/>
                </a:cxn>
                <a:cxn ang="0">
                  <a:pos x="11" y="10"/>
                </a:cxn>
                <a:cxn ang="0">
                  <a:pos x="10" y="20"/>
                </a:cxn>
                <a:cxn ang="0">
                  <a:pos x="13" y="12"/>
                </a:cxn>
                <a:cxn ang="0">
                  <a:pos x="13" y="10"/>
                </a:cxn>
                <a:cxn ang="0">
                  <a:pos x="13" y="7"/>
                </a:cxn>
                <a:cxn ang="0">
                  <a:pos x="14" y="7"/>
                </a:cxn>
                <a:cxn ang="0">
                  <a:pos x="14" y="7"/>
                </a:cxn>
                <a:cxn ang="0">
                  <a:pos x="14" y="7"/>
                </a:cxn>
                <a:cxn ang="0">
                  <a:pos x="11" y="19"/>
                </a:cxn>
                <a:cxn ang="0">
                  <a:pos x="11" y="19"/>
                </a:cxn>
              </a:cxnLst>
              <a:rect l="0" t="0" r="r" b="b"/>
              <a:pathLst>
                <a:path w="16" h="22">
                  <a:moveTo>
                    <a:pt x="11" y="18"/>
                  </a:moveTo>
                  <a:lnTo>
                    <a:pt x="14" y="9"/>
                  </a:lnTo>
                  <a:lnTo>
                    <a:pt x="16" y="9"/>
                  </a:lnTo>
                  <a:lnTo>
                    <a:pt x="16" y="9"/>
                  </a:lnTo>
                  <a:lnTo>
                    <a:pt x="14" y="9"/>
                  </a:lnTo>
                  <a:lnTo>
                    <a:pt x="14" y="7"/>
                  </a:lnTo>
                  <a:lnTo>
                    <a:pt x="14" y="7"/>
                  </a:lnTo>
                  <a:lnTo>
                    <a:pt x="16" y="7"/>
                  </a:lnTo>
                  <a:lnTo>
                    <a:pt x="14" y="7"/>
                  </a:lnTo>
                  <a:lnTo>
                    <a:pt x="14" y="6"/>
                  </a:lnTo>
                  <a:lnTo>
                    <a:pt x="14" y="6"/>
                  </a:lnTo>
                  <a:lnTo>
                    <a:pt x="14" y="6"/>
                  </a:lnTo>
                  <a:lnTo>
                    <a:pt x="13" y="6"/>
                  </a:lnTo>
                  <a:lnTo>
                    <a:pt x="13" y="4"/>
                  </a:lnTo>
                  <a:lnTo>
                    <a:pt x="13" y="4"/>
                  </a:lnTo>
                  <a:lnTo>
                    <a:pt x="11" y="3"/>
                  </a:lnTo>
                  <a:lnTo>
                    <a:pt x="11" y="3"/>
                  </a:lnTo>
                  <a:lnTo>
                    <a:pt x="11" y="3"/>
                  </a:lnTo>
                  <a:lnTo>
                    <a:pt x="11" y="3"/>
                  </a:lnTo>
                  <a:lnTo>
                    <a:pt x="10" y="2"/>
                  </a:lnTo>
                  <a:lnTo>
                    <a:pt x="10" y="2"/>
                  </a:lnTo>
                  <a:lnTo>
                    <a:pt x="10" y="0"/>
                  </a:lnTo>
                  <a:lnTo>
                    <a:pt x="10" y="0"/>
                  </a:lnTo>
                  <a:lnTo>
                    <a:pt x="9" y="12"/>
                  </a:lnTo>
                  <a:lnTo>
                    <a:pt x="7" y="12"/>
                  </a:lnTo>
                  <a:lnTo>
                    <a:pt x="6" y="13"/>
                  </a:lnTo>
                  <a:lnTo>
                    <a:pt x="6" y="13"/>
                  </a:lnTo>
                  <a:lnTo>
                    <a:pt x="6" y="13"/>
                  </a:lnTo>
                  <a:lnTo>
                    <a:pt x="6" y="12"/>
                  </a:lnTo>
                  <a:lnTo>
                    <a:pt x="6" y="12"/>
                  </a:lnTo>
                  <a:lnTo>
                    <a:pt x="6" y="12"/>
                  </a:lnTo>
                  <a:lnTo>
                    <a:pt x="7" y="9"/>
                  </a:lnTo>
                  <a:lnTo>
                    <a:pt x="7" y="7"/>
                  </a:lnTo>
                  <a:lnTo>
                    <a:pt x="9" y="4"/>
                  </a:lnTo>
                  <a:lnTo>
                    <a:pt x="7" y="3"/>
                  </a:lnTo>
                  <a:lnTo>
                    <a:pt x="7" y="3"/>
                  </a:lnTo>
                  <a:lnTo>
                    <a:pt x="7" y="3"/>
                  </a:lnTo>
                  <a:lnTo>
                    <a:pt x="7" y="4"/>
                  </a:lnTo>
                  <a:lnTo>
                    <a:pt x="7" y="9"/>
                  </a:lnTo>
                  <a:lnTo>
                    <a:pt x="6" y="12"/>
                  </a:lnTo>
                  <a:lnTo>
                    <a:pt x="4" y="12"/>
                  </a:lnTo>
                  <a:lnTo>
                    <a:pt x="0" y="18"/>
                  </a:lnTo>
                  <a:lnTo>
                    <a:pt x="0" y="19"/>
                  </a:lnTo>
                  <a:lnTo>
                    <a:pt x="0" y="19"/>
                  </a:lnTo>
                  <a:lnTo>
                    <a:pt x="0" y="19"/>
                  </a:lnTo>
                  <a:lnTo>
                    <a:pt x="0" y="19"/>
                  </a:lnTo>
                  <a:lnTo>
                    <a:pt x="1" y="19"/>
                  </a:lnTo>
                  <a:lnTo>
                    <a:pt x="1" y="20"/>
                  </a:lnTo>
                  <a:lnTo>
                    <a:pt x="1" y="20"/>
                  </a:lnTo>
                  <a:lnTo>
                    <a:pt x="1" y="20"/>
                  </a:lnTo>
                  <a:lnTo>
                    <a:pt x="7" y="13"/>
                  </a:lnTo>
                  <a:lnTo>
                    <a:pt x="7" y="13"/>
                  </a:lnTo>
                  <a:lnTo>
                    <a:pt x="7" y="13"/>
                  </a:lnTo>
                  <a:lnTo>
                    <a:pt x="7" y="15"/>
                  </a:lnTo>
                  <a:lnTo>
                    <a:pt x="3" y="22"/>
                  </a:lnTo>
                  <a:lnTo>
                    <a:pt x="3" y="22"/>
                  </a:lnTo>
                  <a:lnTo>
                    <a:pt x="4" y="19"/>
                  </a:lnTo>
                  <a:lnTo>
                    <a:pt x="6" y="19"/>
                  </a:lnTo>
                  <a:lnTo>
                    <a:pt x="6" y="19"/>
                  </a:lnTo>
                  <a:lnTo>
                    <a:pt x="6" y="19"/>
                  </a:lnTo>
                  <a:lnTo>
                    <a:pt x="6" y="20"/>
                  </a:lnTo>
                  <a:lnTo>
                    <a:pt x="7" y="20"/>
                  </a:lnTo>
                  <a:lnTo>
                    <a:pt x="7" y="20"/>
                  </a:lnTo>
                  <a:lnTo>
                    <a:pt x="7" y="19"/>
                  </a:lnTo>
                  <a:lnTo>
                    <a:pt x="11" y="10"/>
                  </a:lnTo>
                  <a:lnTo>
                    <a:pt x="11" y="10"/>
                  </a:lnTo>
                  <a:lnTo>
                    <a:pt x="11" y="13"/>
                  </a:lnTo>
                  <a:lnTo>
                    <a:pt x="10" y="20"/>
                  </a:lnTo>
                  <a:lnTo>
                    <a:pt x="13" y="12"/>
                  </a:lnTo>
                  <a:lnTo>
                    <a:pt x="13" y="12"/>
                  </a:lnTo>
                  <a:lnTo>
                    <a:pt x="13" y="10"/>
                  </a:lnTo>
                  <a:lnTo>
                    <a:pt x="13" y="10"/>
                  </a:lnTo>
                  <a:lnTo>
                    <a:pt x="13" y="10"/>
                  </a:lnTo>
                  <a:lnTo>
                    <a:pt x="13" y="7"/>
                  </a:lnTo>
                  <a:lnTo>
                    <a:pt x="13" y="7"/>
                  </a:lnTo>
                  <a:lnTo>
                    <a:pt x="14" y="7"/>
                  </a:lnTo>
                  <a:lnTo>
                    <a:pt x="14" y="6"/>
                  </a:lnTo>
                  <a:lnTo>
                    <a:pt x="14" y="7"/>
                  </a:lnTo>
                  <a:lnTo>
                    <a:pt x="14" y="7"/>
                  </a:lnTo>
                  <a:lnTo>
                    <a:pt x="14" y="7"/>
                  </a:lnTo>
                  <a:lnTo>
                    <a:pt x="11" y="18"/>
                  </a:lnTo>
                  <a:lnTo>
                    <a:pt x="11" y="19"/>
                  </a:lnTo>
                  <a:lnTo>
                    <a:pt x="11" y="20"/>
                  </a:lnTo>
                  <a:lnTo>
                    <a:pt x="11" y="19"/>
                  </a:lnTo>
                  <a:lnTo>
                    <a:pt x="11" y="18"/>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67" name="Freeform 1242"/>
            <p:cNvSpPr>
              <a:spLocks/>
            </p:cNvSpPr>
            <p:nvPr/>
          </p:nvSpPr>
          <p:spPr bwMode="auto">
            <a:xfrm>
              <a:off x="5075265" y="2255423"/>
              <a:ext cx="14045" cy="23326"/>
            </a:xfrm>
            <a:custGeom>
              <a:avLst/>
              <a:gdLst/>
              <a:ahLst/>
              <a:cxnLst>
                <a:cxn ang="0">
                  <a:pos x="14" y="9"/>
                </a:cxn>
                <a:cxn ang="0">
                  <a:pos x="16" y="9"/>
                </a:cxn>
                <a:cxn ang="0">
                  <a:pos x="14" y="7"/>
                </a:cxn>
                <a:cxn ang="0">
                  <a:pos x="16" y="7"/>
                </a:cxn>
                <a:cxn ang="0">
                  <a:pos x="14" y="6"/>
                </a:cxn>
                <a:cxn ang="0">
                  <a:pos x="14" y="6"/>
                </a:cxn>
                <a:cxn ang="0">
                  <a:pos x="13" y="4"/>
                </a:cxn>
                <a:cxn ang="0">
                  <a:pos x="11" y="3"/>
                </a:cxn>
                <a:cxn ang="0">
                  <a:pos x="11" y="3"/>
                </a:cxn>
                <a:cxn ang="0">
                  <a:pos x="10" y="2"/>
                </a:cxn>
                <a:cxn ang="0">
                  <a:pos x="10" y="0"/>
                </a:cxn>
                <a:cxn ang="0">
                  <a:pos x="9" y="12"/>
                </a:cxn>
                <a:cxn ang="0">
                  <a:pos x="6" y="13"/>
                </a:cxn>
                <a:cxn ang="0">
                  <a:pos x="6" y="13"/>
                </a:cxn>
                <a:cxn ang="0">
                  <a:pos x="6" y="12"/>
                </a:cxn>
                <a:cxn ang="0">
                  <a:pos x="7" y="9"/>
                </a:cxn>
                <a:cxn ang="0">
                  <a:pos x="9" y="4"/>
                </a:cxn>
                <a:cxn ang="0">
                  <a:pos x="7" y="3"/>
                </a:cxn>
                <a:cxn ang="0">
                  <a:pos x="7" y="4"/>
                </a:cxn>
                <a:cxn ang="0">
                  <a:pos x="6" y="12"/>
                </a:cxn>
                <a:cxn ang="0">
                  <a:pos x="0" y="18"/>
                </a:cxn>
                <a:cxn ang="0">
                  <a:pos x="0" y="19"/>
                </a:cxn>
                <a:cxn ang="0">
                  <a:pos x="0" y="19"/>
                </a:cxn>
                <a:cxn ang="0">
                  <a:pos x="1" y="20"/>
                </a:cxn>
                <a:cxn ang="0">
                  <a:pos x="1" y="20"/>
                </a:cxn>
                <a:cxn ang="0">
                  <a:pos x="7" y="13"/>
                </a:cxn>
                <a:cxn ang="0">
                  <a:pos x="7" y="15"/>
                </a:cxn>
                <a:cxn ang="0">
                  <a:pos x="3" y="22"/>
                </a:cxn>
                <a:cxn ang="0">
                  <a:pos x="6" y="19"/>
                </a:cxn>
                <a:cxn ang="0">
                  <a:pos x="6" y="19"/>
                </a:cxn>
                <a:cxn ang="0">
                  <a:pos x="7" y="20"/>
                </a:cxn>
                <a:cxn ang="0">
                  <a:pos x="7" y="19"/>
                </a:cxn>
                <a:cxn ang="0">
                  <a:pos x="11" y="10"/>
                </a:cxn>
                <a:cxn ang="0">
                  <a:pos x="10" y="20"/>
                </a:cxn>
                <a:cxn ang="0">
                  <a:pos x="13" y="12"/>
                </a:cxn>
                <a:cxn ang="0">
                  <a:pos x="13" y="10"/>
                </a:cxn>
                <a:cxn ang="0">
                  <a:pos x="13" y="7"/>
                </a:cxn>
                <a:cxn ang="0">
                  <a:pos x="14" y="7"/>
                </a:cxn>
                <a:cxn ang="0">
                  <a:pos x="14" y="7"/>
                </a:cxn>
                <a:cxn ang="0">
                  <a:pos x="14" y="7"/>
                </a:cxn>
                <a:cxn ang="0">
                  <a:pos x="11" y="19"/>
                </a:cxn>
                <a:cxn ang="0">
                  <a:pos x="11" y="19"/>
                </a:cxn>
              </a:cxnLst>
              <a:rect l="0" t="0" r="r" b="b"/>
              <a:pathLst>
                <a:path w="16" h="22">
                  <a:moveTo>
                    <a:pt x="11" y="18"/>
                  </a:moveTo>
                  <a:lnTo>
                    <a:pt x="14" y="9"/>
                  </a:lnTo>
                  <a:lnTo>
                    <a:pt x="16" y="9"/>
                  </a:lnTo>
                  <a:lnTo>
                    <a:pt x="16" y="9"/>
                  </a:lnTo>
                  <a:lnTo>
                    <a:pt x="14" y="9"/>
                  </a:lnTo>
                  <a:lnTo>
                    <a:pt x="14" y="7"/>
                  </a:lnTo>
                  <a:lnTo>
                    <a:pt x="14" y="7"/>
                  </a:lnTo>
                  <a:lnTo>
                    <a:pt x="16" y="7"/>
                  </a:lnTo>
                  <a:lnTo>
                    <a:pt x="14" y="7"/>
                  </a:lnTo>
                  <a:lnTo>
                    <a:pt x="14" y="6"/>
                  </a:lnTo>
                  <a:lnTo>
                    <a:pt x="14" y="6"/>
                  </a:lnTo>
                  <a:lnTo>
                    <a:pt x="14" y="6"/>
                  </a:lnTo>
                  <a:lnTo>
                    <a:pt x="13" y="6"/>
                  </a:lnTo>
                  <a:lnTo>
                    <a:pt x="13" y="4"/>
                  </a:lnTo>
                  <a:lnTo>
                    <a:pt x="13" y="4"/>
                  </a:lnTo>
                  <a:lnTo>
                    <a:pt x="11" y="3"/>
                  </a:lnTo>
                  <a:lnTo>
                    <a:pt x="11" y="3"/>
                  </a:lnTo>
                  <a:lnTo>
                    <a:pt x="11" y="3"/>
                  </a:lnTo>
                  <a:lnTo>
                    <a:pt x="11" y="3"/>
                  </a:lnTo>
                  <a:lnTo>
                    <a:pt x="10" y="2"/>
                  </a:lnTo>
                  <a:lnTo>
                    <a:pt x="10" y="2"/>
                  </a:lnTo>
                  <a:lnTo>
                    <a:pt x="10" y="0"/>
                  </a:lnTo>
                  <a:lnTo>
                    <a:pt x="10" y="0"/>
                  </a:lnTo>
                  <a:lnTo>
                    <a:pt x="9" y="12"/>
                  </a:lnTo>
                  <a:lnTo>
                    <a:pt x="7" y="12"/>
                  </a:lnTo>
                  <a:lnTo>
                    <a:pt x="6" y="13"/>
                  </a:lnTo>
                  <a:lnTo>
                    <a:pt x="6" y="13"/>
                  </a:lnTo>
                  <a:lnTo>
                    <a:pt x="6" y="13"/>
                  </a:lnTo>
                  <a:lnTo>
                    <a:pt x="6" y="12"/>
                  </a:lnTo>
                  <a:lnTo>
                    <a:pt x="6" y="12"/>
                  </a:lnTo>
                  <a:lnTo>
                    <a:pt x="6" y="12"/>
                  </a:lnTo>
                  <a:lnTo>
                    <a:pt x="7" y="9"/>
                  </a:lnTo>
                  <a:lnTo>
                    <a:pt x="7" y="7"/>
                  </a:lnTo>
                  <a:lnTo>
                    <a:pt x="9" y="4"/>
                  </a:lnTo>
                  <a:lnTo>
                    <a:pt x="7" y="3"/>
                  </a:lnTo>
                  <a:lnTo>
                    <a:pt x="7" y="3"/>
                  </a:lnTo>
                  <a:lnTo>
                    <a:pt x="7" y="3"/>
                  </a:lnTo>
                  <a:lnTo>
                    <a:pt x="7" y="4"/>
                  </a:lnTo>
                  <a:lnTo>
                    <a:pt x="7" y="9"/>
                  </a:lnTo>
                  <a:lnTo>
                    <a:pt x="6" y="12"/>
                  </a:lnTo>
                  <a:lnTo>
                    <a:pt x="4" y="12"/>
                  </a:lnTo>
                  <a:lnTo>
                    <a:pt x="0" y="18"/>
                  </a:lnTo>
                  <a:lnTo>
                    <a:pt x="0" y="19"/>
                  </a:lnTo>
                  <a:lnTo>
                    <a:pt x="0" y="19"/>
                  </a:lnTo>
                  <a:lnTo>
                    <a:pt x="0" y="19"/>
                  </a:lnTo>
                  <a:lnTo>
                    <a:pt x="0" y="19"/>
                  </a:lnTo>
                  <a:lnTo>
                    <a:pt x="1" y="19"/>
                  </a:lnTo>
                  <a:lnTo>
                    <a:pt x="1" y="20"/>
                  </a:lnTo>
                  <a:lnTo>
                    <a:pt x="1" y="20"/>
                  </a:lnTo>
                  <a:lnTo>
                    <a:pt x="1" y="20"/>
                  </a:lnTo>
                  <a:lnTo>
                    <a:pt x="7" y="13"/>
                  </a:lnTo>
                  <a:lnTo>
                    <a:pt x="7" y="13"/>
                  </a:lnTo>
                  <a:lnTo>
                    <a:pt x="7" y="13"/>
                  </a:lnTo>
                  <a:lnTo>
                    <a:pt x="7" y="15"/>
                  </a:lnTo>
                  <a:lnTo>
                    <a:pt x="3" y="22"/>
                  </a:lnTo>
                  <a:lnTo>
                    <a:pt x="3" y="22"/>
                  </a:lnTo>
                  <a:lnTo>
                    <a:pt x="4" y="19"/>
                  </a:lnTo>
                  <a:lnTo>
                    <a:pt x="6" y="19"/>
                  </a:lnTo>
                  <a:lnTo>
                    <a:pt x="6" y="19"/>
                  </a:lnTo>
                  <a:lnTo>
                    <a:pt x="6" y="19"/>
                  </a:lnTo>
                  <a:lnTo>
                    <a:pt x="6" y="20"/>
                  </a:lnTo>
                  <a:lnTo>
                    <a:pt x="7" y="20"/>
                  </a:lnTo>
                  <a:lnTo>
                    <a:pt x="7" y="20"/>
                  </a:lnTo>
                  <a:lnTo>
                    <a:pt x="7" y="19"/>
                  </a:lnTo>
                  <a:lnTo>
                    <a:pt x="11" y="10"/>
                  </a:lnTo>
                  <a:lnTo>
                    <a:pt x="11" y="10"/>
                  </a:lnTo>
                  <a:lnTo>
                    <a:pt x="11" y="13"/>
                  </a:lnTo>
                  <a:lnTo>
                    <a:pt x="10" y="20"/>
                  </a:lnTo>
                  <a:lnTo>
                    <a:pt x="13" y="12"/>
                  </a:lnTo>
                  <a:lnTo>
                    <a:pt x="13" y="12"/>
                  </a:lnTo>
                  <a:lnTo>
                    <a:pt x="13" y="10"/>
                  </a:lnTo>
                  <a:lnTo>
                    <a:pt x="13" y="10"/>
                  </a:lnTo>
                  <a:lnTo>
                    <a:pt x="13" y="10"/>
                  </a:lnTo>
                  <a:lnTo>
                    <a:pt x="13" y="7"/>
                  </a:lnTo>
                  <a:lnTo>
                    <a:pt x="13" y="7"/>
                  </a:lnTo>
                  <a:lnTo>
                    <a:pt x="14" y="7"/>
                  </a:lnTo>
                  <a:lnTo>
                    <a:pt x="14" y="6"/>
                  </a:lnTo>
                  <a:lnTo>
                    <a:pt x="14" y="7"/>
                  </a:lnTo>
                  <a:lnTo>
                    <a:pt x="14" y="7"/>
                  </a:lnTo>
                  <a:lnTo>
                    <a:pt x="14" y="7"/>
                  </a:lnTo>
                  <a:lnTo>
                    <a:pt x="11" y="18"/>
                  </a:lnTo>
                  <a:lnTo>
                    <a:pt x="11" y="19"/>
                  </a:lnTo>
                  <a:lnTo>
                    <a:pt x="11" y="20"/>
                  </a:lnTo>
                  <a:lnTo>
                    <a:pt x="11" y="19"/>
                  </a:lnTo>
                  <a:lnTo>
                    <a:pt x="11" y="18"/>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68" name="Freeform 1243"/>
            <p:cNvSpPr>
              <a:spLocks/>
            </p:cNvSpPr>
            <p:nvPr/>
          </p:nvSpPr>
          <p:spPr bwMode="auto">
            <a:xfrm>
              <a:off x="5089310" y="2259479"/>
              <a:ext cx="2633" cy="9128"/>
            </a:xfrm>
            <a:custGeom>
              <a:avLst/>
              <a:gdLst/>
              <a:ahLst/>
              <a:cxnLst>
                <a:cxn ang="0">
                  <a:pos x="0" y="9"/>
                </a:cxn>
                <a:cxn ang="0">
                  <a:pos x="1" y="9"/>
                </a:cxn>
                <a:cxn ang="0">
                  <a:pos x="1" y="8"/>
                </a:cxn>
                <a:cxn ang="0">
                  <a:pos x="1" y="8"/>
                </a:cxn>
                <a:cxn ang="0">
                  <a:pos x="1" y="9"/>
                </a:cxn>
                <a:cxn ang="0">
                  <a:pos x="3" y="8"/>
                </a:cxn>
                <a:cxn ang="0">
                  <a:pos x="3" y="8"/>
                </a:cxn>
                <a:cxn ang="0">
                  <a:pos x="3" y="8"/>
                </a:cxn>
                <a:cxn ang="0">
                  <a:pos x="3" y="8"/>
                </a:cxn>
                <a:cxn ang="0">
                  <a:pos x="3" y="6"/>
                </a:cxn>
                <a:cxn ang="0">
                  <a:pos x="3" y="6"/>
                </a:cxn>
                <a:cxn ang="0">
                  <a:pos x="3" y="6"/>
                </a:cxn>
                <a:cxn ang="0">
                  <a:pos x="3" y="5"/>
                </a:cxn>
                <a:cxn ang="0">
                  <a:pos x="3" y="2"/>
                </a:cxn>
                <a:cxn ang="0">
                  <a:pos x="3" y="0"/>
                </a:cxn>
                <a:cxn ang="0">
                  <a:pos x="1" y="2"/>
                </a:cxn>
                <a:cxn ang="0">
                  <a:pos x="1" y="2"/>
                </a:cxn>
                <a:cxn ang="0">
                  <a:pos x="1" y="3"/>
                </a:cxn>
                <a:cxn ang="0">
                  <a:pos x="1" y="3"/>
                </a:cxn>
                <a:cxn ang="0">
                  <a:pos x="0" y="3"/>
                </a:cxn>
                <a:cxn ang="0">
                  <a:pos x="1" y="3"/>
                </a:cxn>
                <a:cxn ang="0">
                  <a:pos x="1" y="5"/>
                </a:cxn>
                <a:cxn ang="0">
                  <a:pos x="1" y="5"/>
                </a:cxn>
                <a:cxn ang="0">
                  <a:pos x="0" y="5"/>
                </a:cxn>
                <a:cxn ang="0">
                  <a:pos x="1" y="6"/>
                </a:cxn>
                <a:cxn ang="0">
                  <a:pos x="0" y="6"/>
                </a:cxn>
                <a:cxn ang="0">
                  <a:pos x="0" y="8"/>
                </a:cxn>
                <a:cxn ang="0">
                  <a:pos x="0" y="9"/>
                </a:cxn>
                <a:cxn ang="0">
                  <a:pos x="0" y="9"/>
                </a:cxn>
                <a:cxn ang="0">
                  <a:pos x="0" y="9"/>
                </a:cxn>
              </a:cxnLst>
              <a:rect l="0" t="0" r="r" b="b"/>
              <a:pathLst>
                <a:path w="3" h="9">
                  <a:moveTo>
                    <a:pt x="0" y="9"/>
                  </a:moveTo>
                  <a:lnTo>
                    <a:pt x="1" y="9"/>
                  </a:lnTo>
                  <a:lnTo>
                    <a:pt x="1" y="8"/>
                  </a:lnTo>
                  <a:lnTo>
                    <a:pt x="1" y="8"/>
                  </a:lnTo>
                  <a:lnTo>
                    <a:pt x="1" y="9"/>
                  </a:lnTo>
                  <a:lnTo>
                    <a:pt x="3" y="8"/>
                  </a:lnTo>
                  <a:lnTo>
                    <a:pt x="3" y="8"/>
                  </a:lnTo>
                  <a:lnTo>
                    <a:pt x="3" y="8"/>
                  </a:lnTo>
                  <a:lnTo>
                    <a:pt x="3" y="8"/>
                  </a:lnTo>
                  <a:lnTo>
                    <a:pt x="3" y="6"/>
                  </a:lnTo>
                  <a:lnTo>
                    <a:pt x="3" y="6"/>
                  </a:lnTo>
                  <a:lnTo>
                    <a:pt x="3" y="6"/>
                  </a:lnTo>
                  <a:lnTo>
                    <a:pt x="3" y="5"/>
                  </a:lnTo>
                  <a:lnTo>
                    <a:pt x="3" y="2"/>
                  </a:lnTo>
                  <a:lnTo>
                    <a:pt x="3" y="0"/>
                  </a:lnTo>
                  <a:lnTo>
                    <a:pt x="1" y="2"/>
                  </a:lnTo>
                  <a:lnTo>
                    <a:pt x="1" y="2"/>
                  </a:lnTo>
                  <a:lnTo>
                    <a:pt x="1" y="3"/>
                  </a:lnTo>
                  <a:lnTo>
                    <a:pt x="1" y="3"/>
                  </a:lnTo>
                  <a:lnTo>
                    <a:pt x="0" y="3"/>
                  </a:lnTo>
                  <a:lnTo>
                    <a:pt x="1" y="3"/>
                  </a:lnTo>
                  <a:lnTo>
                    <a:pt x="1" y="5"/>
                  </a:lnTo>
                  <a:lnTo>
                    <a:pt x="1" y="5"/>
                  </a:lnTo>
                  <a:lnTo>
                    <a:pt x="0" y="5"/>
                  </a:lnTo>
                  <a:lnTo>
                    <a:pt x="1" y="6"/>
                  </a:lnTo>
                  <a:lnTo>
                    <a:pt x="0" y="6"/>
                  </a:lnTo>
                  <a:lnTo>
                    <a:pt x="0" y="8"/>
                  </a:lnTo>
                  <a:lnTo>
                    <a:pt x="0" y="9"/>
                  </a:lnTo>
                  <a:lnTo>
                    <a:pt x="0" y="9"/>
                  </a:lnTo>
                  <a:lnTo>
                    <a:pt x="0" y="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69" name="Freeform 1244"/>
            <p:cNvSpPr>
              <a:spLocks/>
            </p:cNvSpPr>
            <p:nvPr/>
          </p:nvSpPr>
          <p:spPr bwMode="auto">
            <a:xfrm>
              <a:off x="5089310" y="2259479"/>
              <a:ext cx="2633" cy="9128"/>
            </a:xfrm>
            <a:custGeom>
              <a:avLst/>
              <a:gdLst/>
              <a:ahLst/>
              <a:cxnLst>
                <a:cxn ang="0">
                  <a:pos x="0" y="9"/>
                </a:cxn>
                <a:cxn ang="0">
                  <a:pos x="1" y="9"/>
                </a:cxn>
                <a:cxn ang="0">
                  <a:pos x="1" y="8"/>
                </a:cxn>
                <a:cxn ang="0">
                  <a:pos x="1" y="8"/>
                </a:cxn>
                <a:cxn ang="0">
                  <a:pos x="1" y="9"/>
                </a:cxn>
                <a:cxn ang="0">
                  <a:pos x="3" y="8"/>
                </a:cxn>
                <a:cxn ang="0">
                  <a:pos x="3" y="8"/>
                </a:cxn>
                <a:cxn ang="0">
                  <a:pos x="3" y="8"/>
                </a:cxn>
                <a:cxn ang="0">
                  <a:pos x="3" y="8"/>
                </a:cxn>
                <a:cxn ang="0">
                  <a:pos x="3" y="6"/>
                </a:cxn>
                <a:cxn ang="0">
                  <a:pos x="3" y="6"/>
                </a:cxn>
                <a:cxn ang="0">
                  <a:pos x="3" y="6"/>
                </a:cxn>
                <a:cxn ang="0">
                  <a:pos x="3" y="5"/>
                </a:cxn>
                <a:cxn ang="0">
                  <a:pos x="3" y="2"/>
                </a:cxn>
                <a:cxn ang="0">
                  <a:pos x="3" y="0"/>
                </a:cxn>
                <a:cxn ang="0">
                  <a:pos x="1" y="2"/>
                </a:cxn>
                <a:cxn ang="0">
                  <a:pos x="1" y="2"/>
                </a:cxn>
                <a:cxn ang="0">
                  <a:pos x="1" y="3"/>
                </a:cxn>
                <a:cxn ang="0">
                  <a:pos x="1" y="3"/>
                </a:cxn>
                <a:cxn ang="0">
                  <a:pos x="0" y="3"/>
                </a:cxn>
                <a:cxn ang="0">
                  <a:pos x="1" y="3"/>
                </a:cxn>
                <a:cxn ang="0">
                  <a:pos x="1" y="5"/>
                </a:cxn>
                <a:cxn ang="0">
                  <a:pos x="1" y="5"/>
                </a:cxn>
                <a:cxn ang="0">
                  <a:pos x="0" y="5"/>
                </a:cxn>
                <a:cxn ang="0">
                  <a:pos x="1" y="6"/>
                </a:cxn>
                <a:cxn ang="0">
                  <a:pos x="0" y="6"/>
                </a:cxn>
                <a:cxn ang="0">
                  <a:pos x="0" y="8"/>
                </a:cxn>
                <a:cxn ang="0">
                  <a:pos x="0" y="9"/>
                </a:cxn>
                <a:cxn ang="0">
                  <a:pos x="0" y="9"/>
                </a:cxn>
                <a:cxn ang="0">
                  <a:pos x="0" y="9"/>
                </a:cxn>
              </a:cxnLst>
              <a:rect l="0" t="0" r="r" b="b"/>
              <a:pathLst>
                <a:path w="3" h="9">
                  <a:moveTo>
                    <a:pt x="0" y="9"/>
                  </a:moveTo>
                  <a:lnTo>
                    <a:pt x="1" y="9"/>
                  </a:lnTo>
                  <a:lnTo>
                    <a:pt x="1" y="8"/>
                  </a:lnTo>
                  <a:lnTo>
                    <a:pt x="1" y="8"/>
                  </a:lnTo>
                  <a:lnTo>
                    <a:pt x="1" y="9"/>
                  </a:lnTo>
                  <a:lnTo>
                    <a:pt x="3" y="8"/>
                  </a:lnTo>
                  <a:lnTo>
                    <a:pt x="3" y="8"/>
                  </a:lnTo>
                  <a:lnTo>
                    <a:pt x="3" y="8"/>
                  </a:lnTo>
                  <a:lnTo>
                    <a:pt x="3" y="8"/>
                  </a:lnTo>
                  <a:lnTo>
                    <a:pt x="3" y="6"/>
                  </a:lnTo>
                  <a:lnTo>
                    <a:pt x="3" y="6"/>
                  </a:lnTo>
                  <a:lnTo>
                    <a:pt x="3" y="6"/>
                  </a:lnTo>
                  <a:lnTo>
                    <a:pt x="3" y="5"/>
                  </a:lnTo>
                  <a:lnTo>
                    <a:pt x="3" y="2"/>
                  </a:lnTo>
                  <a:lnTo>
                    <a:pt x="3" y="0"/>
                  </a:lnTo>
                  <a:lnTo>
                    <a:pt x="1" y="2"/>
                  </a:lnTo>
                  <a:lnTo>
                    <a:pt x="1" y="2"/>
                  </a:lnTo>
                  <a:lnTo>
                    <a:pt x="1" y="3"/>
                  </a:lnTo>
                  <a:lnTo>
                    <a:pt x="1" y="3"/>
                  </a:lnTo>
                  <a:lnTo>
                    <a:pt x="0" y="3"/>
                  </a:lnTo>
                  <a:lnTo>
                    <a:pt x="1" y="3"/>
                  </a:lnTo>
                  <a:lnTo>
                    <a:pt x="1" y="5"/>
                  </a:lnTo>
                  <a:lnTo>
                    <a:pt x="1" y="5"/>
                  </a:lnTo>
                  <a:lnTo>
                    <a:pt x="0" y="5"/>
                  </a:lnTo>
                  <a:lnTo>
                    <a:pt x="1" y="6"/>
                  </a:lnTo>
                  <a:lnTo>
                    <a:pt x="0" y="6"/>
                  </a:lnTo>
                  <a:lnTo>
                    <a:pt x="0" y="8"/>
                  </a:lnTo>
                  <a:lnTo>
                    <a:pt x="0" y="9"/>
                  </a:lnTo>
                  <a:lnTo>
                    <a:pt x="0" y="9"/>
                  </a:lnTo>
                  <a:lnTo>
                    <a:pt x="0" y="9"/>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70" name="Freeform 1245"/>
            <p:cNvSpPr>
              <a:spLocks/>
            </p:cNvSpPr>
            <p:nvPr/>
          </p:nvSpPr>
          <p:spPr bwMode="auto">
            <a:xfrm>
              <a:off x="4869859" y="1603335"/>
              <a:ext cx="71980" cy="113584"/>
            </a:xfrm>
            <a:custGeom>
              <a:avLst/>
              <a:gdLst/>
              <a:ahLst/>
              <a:cxnLst>
                <a:cxn ang="0">
                  <a:pos x="32" y="0"/>
                </a:cxn>
                <a:cxn ang="0">
                  <a:pos x="28" y="1"/>
                </a:cxn>
                <a:cxn ang="0">
                  <a:pos x="26" y="4"/>
                </a:cxn>
                <a:cxn ang="0">
                  <a:pos x="23" y="1"/>
                </a:cxn>
                <a:cxn ang="0">
                  <a:pos x="16" y="4"/>
                </a:cxn>
                <a:cxn ang="0">
                  <a:pos x="9" y="9"/>
                </a:cxn>
                <a:cxn ang="0">
                  <a:pos x="6" y="14"/>
                </a:cxn>
                <a:cxn ang="0">
                  <a:pos x="9" y="17"/>
                </a:cxn>
                <a:cxn ang="0">
                  <a:pos x="10" y="17"/>
                </a:cxn>
                <a:cxn ang="0">
                  <a:pos x="9" y="19"/>
                </a:cxn>
                <a:cxn ang="0">
                  <a:pos x="13" y="26"/>
                </a:cxn>
                <a:cxn ang="0">
                  <a:pos x="16" y="27"/>
                </a:cxn>
                <a:cxn ang="0">
                  <a:pos x="13" y="27"/>
                </a:cxn>
                <a:cxn ang="0">
                  <a:pos x="6" y="22"/>
                </a:cxn>
                <a:cxn ang="0">
                  <a:pos x="3" y="22"/>
                </a:cxn>
                <a:cxn ang="0">
                  <a:pos x="0" y="25"/>
                </a:cxn>
                <a:cxn ang="0">
                  <a:pos x="2" y="27"/>
                </a:cxn>
                <a:cxn ang="0">
                  <a:pos x="3" y="30"/>
                </a:cxn>
                <a:cxn ang="0">
                  <a:pos x="2" y="33"/>
                </a:cxn>
                <a:cxn ang="0">
                  <a:pos x="2" y="43"/>
                </a:cxn>
                <a:cxn ang="0">
                  <a:pos x="3" y="54"/>
                </a:cxn>
                <a:cxn ang="0">
                  <a:pos x="0" y="55"/>
                </a:cxn>
                <a:cxn ang="0">
                  <a:pos x="2" y="64"/>
                </a:cxn>
                <a:cxn ang="0">
                  <a:pos x="2" y="70"/>
                </a:cxn>
                <a:cxn ang="0">
                  <a:pos x="2" y="74"/>
                </a:cxn>
                <a:cxn ang="0">
                  <a:pos x="6" y="78"/>
                </a:cxn>
                <a:cxn ang="0">
                  <a:pos x="9" y="86"/>
                </a:cxn>
                <a:cxn ang="0">
                  <a:pos x="8" y="99"/>
                </a:cxn>
                <a:cxn ang="0">
                  <a:pos x="10" y="99"/>
                </a:cxn>
                <a:cxn ang="0">
                  <a:pos x="9" y="103"/>
                </a:cxn>
                <a:cxn ang="0">
                  <a:pos x="9" y="107"/>
                </a:cxn>
                <a:cxn ang="0">
                  <a:pos x="16" y="106"/>
                </a:cxn>
                <a:cxn ang="0">
                  <a:pos x="23" y="107"/>
                </a:cxn>
                <a:cxn ang="0">
                  <a:pos x="23" y="103"/>
                </a:cxn>
                <a:cxn ang="0">
                  <a:pos x="22" y="106"/>
                </a:cxn>
                <a:cxn ang="0">
                  <a:pos x="23" y="103"/>
                </a:cxn>
                <a:cxn ang="0">
                  <a:pos x="28" y="93"/>
                </a:cxn>
                <a:cxn ang="0">
                  <a:pos x="29" y="91"/>
                </a:cxn>
                <a:cxn ang="0">
                  <a:pos x="29" y="78"/>
                </a:cxn>
                <a:cxn ang="0">
                  <a:pos x="26" y="72"/>
                </a:cxn>
                <a:cxn ang="0">
                  <a:pos x="22" y="72"/>
                </a:cxn>
                <a:cxn ang="0">
                  <a:pos x="21" y="72"/>
                </a:cxn>
                <a:cxn ang="0">
                  <a:pos x="21" y="70"/>
                </a:cxn>
                <a:cxn ang="0">
                  <a:pos x="32" y="70"/>
                </a:cxn>
                <a:cxn ang="0">
                  <a:pos x="35" y="68"/>
                </a:cxn>
                <a:cxn ang="0">
                  <a:pos x="38" y="71"/>
                </a:cxn>
                <a:cxn ang="0">
                  <a:pos x="44" y="72"/>
                </a:cxn>
                <a:cxn ang="0">
                  <a:pos x="50" y="74"/>
                </a:cxn>
                <a:cxn ang="0">
                  <a:pos x="55" y="67"/>
                </a:cxn>
                <a:cxn ang="0">
                  <a:pos x="57" y="62"/>
                </a:cxn>
                <a:cxn ang="0">
                  <a:pos x="61" y="51"/>
                </a:cxn>
                <a:cxn ang="0">
                  <a:pos x="58" y="48"/>
                </a:cxn>
                <a:cxn ang="0">
                  <a:pos x="63" y="46"/>
                </a:cxn>
                <a:cxn ang="0">
                  <a:pos x="67" y="32"/>
                </a:cxn>
                <a:cxn ang="0">
                  <a:pos x="76" y="19"/>
                </a:cxn>
                <a:cxn ang="0">
                  <a:pos x="77" y="17"/>
                </a:cxn>
                <a:cxn ang="0">
                  <a:pos x="77" y="13"/>
                </a:cxn>
                <a:cxn ang="0">
                  <a:pos x="64" y="9"/>
                </a:cxn>
                <a:cxn ang="0">
                  <a:pos x="54" y="9"/>
                </a:cxn>
                <a:cxn ang="0">
                  <a:pos x="51" y="11"/>
                </a:cxn>
                <a:cxn ang="0">
                  <a:pos x="48" y="7"/>
                </a:cxn>
                <a:cxn ang="0">
                  <a:pos x="42" y="6"/>
                </a:cxn>
                <a:cxn ang="0">
                  <a:pos x="35" y="1"/>
                </a:cxn>
              </a:cxnLst>
              <a:rect l="0" t="0" r="r" b="b"/>
              <a:pathLst>
                <a:path w="79" h="109">
                  <a:moveTo>
                    <a:pt x="35" y="1"/>
                  </a:moveTo>
                  <a:lnTo>
                    <a:pt x="35" y="0"/>
                  </a:lnTo>
                  <a:lnTo>
                    <a:pt x="32" y="0"/>
                  </a:lnTo>
                  <a:lnTo>
                    <a:pt x="31" y="0"/>
                  </a:lnTo>
                  <a:lnTo>
                    <a:pt x="29" y="1"/>
                  </a:lnTo>
                  <a:lnTo>
                    <a:pt x="28" y="1"/>
                  </a:lnTo>
                  <a:lnTo>
                    <a:pt x="28" y="4"/>
                  </a:lnTo>
                  <a:lnTo>
                    <a:pt x="28" y="6"/>
                  </a:lnTo>
                  <a:lnTo>
                    <a:pt x="26" y="4"/>
                  </a:lnTo>
                  <a:lnTo>
                    <a:pt x="26" y="3"/>
                  </a:lnTo>
                  <a:lnTo>
                    <a:pt x="26" y="3"/>
                  </a:lnTo>
                  <a:lnTo>
                    <a:pt x="23" y="1"/>
                  </a:lnTo>
                  <a:lnTo>
                    <a:pt x="18" y="4"/>
                  </a:lnTo>
                  <a:lnTo>
                    <a:pt x="16" y="4"/>
                  </a:lnTo>
                  <a:lnTo>
                    <a:pt x="16" y="4"/>
                  </a:lnTo>
                  <a:lnTo>
                    <a:pt x="15" y="4"/>
                  </a:lnTo>
                  <a:lnTo>
                    <a:pt x="13" y="6"/>
                  </a:lnTo>
                  <a:lnTo>
                    <a:pt x="9" y="9"/>
                  </a:lnTo>
                  <a:lnTo>
                    <a:pt x="8" y="9"/>
                  </a:lnTo>
                  <a:lnTo>
                    <a:pt x="6" y="11"/>
                  </a:lnTo>
                  <a:lnTo>
                    <a:pt x="6" y="14"/>
                  </a:lnTo>
                  <a:lnTo>
                    <a:pt x="6" y="16"/>
                  </a:lnTo>
                  <a:lnTo>
                    <a:pt x="9" y="19"/>
                  </a:lnTo>
                  <a:lnTo>
                    <a:pt x="9" y="17"/>
                  </a:lnTo>
                  <a:lnTo>
                    <a:pt x="9" y="17"/>
                  </a:lnTo>
                  <a:lnTo>
                    <a:pt x="10" y="17"/>
                  </a:lnTo>
                  <a:lnTo>
                    <a:pt x="10" y="17"/>
                  </a:lnTo>
                  <a:lnTo>
                    <a:pt x="10" y="17"/>
                  </a:lnTo>
                  <a:lnTo>
                    <a:pt x="9" y="19"/>
                  </a:lnTo>
                  <a:lnTo>
                    <a:pt x="9" y="19"/>
                  </a:lnTo>
                  <a:lnTo>
                    <a:pt x="10" y="23"/>
                  </a:lnTo>
                  <a:lnTo>
                    <a:pt x="12" y="25"/>
                  </a:lnTo>
                  <a:lnTo>
                    <a:pt x="13" y="26"/>
                  </a:lnTo>
                  <a:lnTo>
                    <a:pt x="13" y="25"/>
                  </a:lnTo>
                  <a:lnTo>
                    <a:pt x="16" y="26"/>
                  </a:lnTo>
                  <a:lnTo>
                    <a:pt x="16" y="27"/>
                  </a:lnTo>
                  <a:lnTo>
                    <a:pt x="15" y="27"/>
                  </a:lnTo>
                  <a:lnTo>
                    <a:pt x="13" y="27"/>
                  </a:lnTo>
                  <a:lnTo>
                    <a:pt x="13" y="27"/>
                  </a:lnTo>
                  <a:lnTo>
                    <a:pt x="9" y="25"/>
                  </a:lnTo>
                  <a:lnTo>
                    <a:pt x="6" y="22"/>
                  </a:lnTo>
                  <a:lnTo>
                    <a:pt x="6" y="22"/>
                  </a:lnTo>
                  <a:lnTo>
                    <a:pt x="5" y="22"/>
                  </a:lnTo>
                  <a:lnTo>
                    <a:pt x="5" y="20"/>
                  </a:lnTo>
                  <a:lnTo>
                    <a:pt x="3" y="22"/>
                  </a:lnTo>
                  <a:lnTo>
                    <a:pt x="3" y="23"/>
                  </a:lnTo>
                  <a:lnTo>
                    <a:pt x="2" y="23"/>
                  </a:lnTo>
                  <a:lnTo>
                    <a:pt x="0" y="25"/>
                  </a:lnTo>
                  <a:lnTo>
                    <a:pt x="0" y="26"/>
                  </a:lnTo>
                  <a:lnTo>
                    <a:pt x="0" y="27"/>
                  </a:lnTo>
                  <a:lnTo>
                    <a:pt x="2" y="27"/>
                  </a:lnTo>
                  <a:lnTo>
                    <a:pt x="2" y="29"/>
                  </a:lnTo>
                  <a:lnTo>
                    <a:pt x="2" y="30"/>
                  </a:lnTo>
                  <a:lnTo>
                    <a:pt x="3" y="30"/>
                  </a:lnTo>
                  <a:lnTo>
                    <a:pt x="2" y="30"/>
                  </a:lnTo>
                  <a:lnTo>
                    <a:pt x="0" y="32"/>
                  </a:lnTo>
                  <a:lnTo>
                    <a:pt x="2" y="33"/>
                  </a:lnTo>
                  <a:lnTo>
                    <a:pt x="0" y="38"/>
                  </a:lnTo>
                  <a:lnTo>
                    <a:pt x="2" y="42"/>
                  </a:lnTo>
                  <a:lnTo>
                    <a:pt x="2" y="43"/>
                  </a:lnTo>
                  <a:lnTo>
                    <a:pt x="2" y="45"/>
                  </a:lnTo>
                  <a:lnTo>
                    <a:pt x="2" y="52"/>
                  </a:lnTo>
                  <a:lnTo>
                    <a:pt x="3" y="54"/>
                  </a:lnTo>
                  <a:lnTo>
                    <a:pt x="2" y="54"/>
                  </a:lnTo>
                  <a:lnTo>
                    <a:pt x="2" y="54"/>
                  </a:lnTo>
                  <a:lnTo>
                    <a:pt x="0" y="55"/>
                  </a:lnTo>
                  <a:lnTo>
                    <a:pt x="2" y="56"/>
                  </a:lnTo>
                  <a:lnTo>
                    <a:pt x="0" y="59"/>
                  </a:lnTo>
                  <a:lnTo>
                    <a:pt x="2" y="64"/>
                  </a:lnTo>
                  <a:lnTo>
                    <a:pt x="2" y="70"/>
                  </a:lnTo>
                  <a:lnTo>
                    <a:pt x="2" y="70"/>
                  </a:lnTo>
                  <a:lnTo>
                    <a:pt x="2" y="70"/>
                  </a:lnTo>
                  <a:lnTo>
                    <a:pt x="3" y="71"/>
                  </a:lnTo>
                  <a:lnTo>
                    <a:pt x="2" y="72"/>
                  </a:lnTo>
                  <a:lnTo>
                    <a:pt x="2" y="74"/>
                  </a:lnTo>
                  <a:lnTo>
                    <a:pt x="2" y="74"/>
                  </a:lnTo>
                  <a:lnTo>
                    <a:pt x="3" y="74"/>
                  </a:lnTo>
                  <a:lnTo>
                    <a:pt x="6" y="78"/>
                  </a:lnTo>
                  <a:lnTo>
                    <a:pt x="6" y="81"/>
                  </a:lnTo>
                  <a:lnTo>
                    <a:pt x="8" y="84"/>
                  </a:lnTo>
                  <a:lnTo>
                    <a:pt x="9" y="86"/>
                  </a:lnTo>
                  <a:lnTo>
                    <a:pt x="8" y="87"/>
                  </a:lnTo>
                  <a:lnTo>
                    <a:pt x="8" y="90"/>
                  </a:lnTo>
                  <a:lnTo>
                    <a:pt x="8" y="99"/>
                  </a:lnTo>
                  <a:lnTo>
                    <a:pt x="8" y="100"/>
                  </a:lnTo>
                  <a:lnTo>
                    <a:pt x="9" y="100"/>
                  </a:lnTo>
                  <a:lnTo>
                    <a:pt x="10" y="99"/>
                  </a:lnTo>
                  <a:lnTo>
                    <a:pt x="13" y="99"/>
                  </a:lnTo>
                  <a:lnTo>
                    <a:pt x="10" y="100"/>
                  </a:lnTo>
                  <a:lnTo>
                    <a:pt x="9" y="103"/>
                  </a:lnTo>
                  <a:lnTo>
                    <a:pt x="8" y="103"/>
                  </a:lnTo>
                  <a:lnTo>
                    <a:pt x="8" y="107"/>
                  </a:lnTo>
                  <a:lnTo>
                    <a:pt x="9" y="107"/>
                  </a:lnTo>
                  <a:lnTo>
                    <a:pt x="8" y="109"/>
                  </a:lnTo>
                  <a:lnTo>
                    <a:pt x="15" y="106"/>
                  </a:lnTo>
                  <a:lnTo>
                    <a:pt x="16" y="106"/>
                  </a:lnTo>
                  <a:lnTo>
                    <a:pt x="18" y="106"/>
                  </a:lnTo>
                  <a:lnTo>
                    <a:pt x="19" y="106"/>
                  </a:lnTo>
                  <a:lnTo>
                    <a:pt x="23" y="107"/>
                  </a:lnTo>
                  <a:lnTo>
                    <a:pt x="23" y="107"/>
                  </a:lnTo>
                  <a:lnTo>
                    <a:pt x="23" y="104"/>
                  </a:lnTo>
                  <a:lnTo>
                    <a:pt x="23" y="103"/>
                  </a:lnTo>
                  <a:lnTo>
                    <a:pt x="23" y="103"/>
                  </a:lnTo>
                  <a:lnTo>
                    <a:pt x="22" y="106"/>
                  </a:lnTo>
                  <a:lnTo>
                    <a:pt x="22" y="106"/>
                  </a:lnTo>
                  <a:lnTo>
                    <a:pt x="22" y="104"/>
                  </a:lnTo>
                  <a:lnTo>
                    <a:pt x="23" y="104"/>
                  </a:lnTo>
                  <a:lnTo>
                    <a:pt x="23" y="103"/>
                  </a:lnTo>
                  <a:lnTo>
                    <a:pt x="23" y="102"/>
                  </a:lnTo>
                  <a:lnTo>
                    <a:pt x="23" y="100"/>
                  </a:lnTo>
                  <a:lnTo>
                    <a:pt x="28" y="93"/>
                  </a:lnTo>
                  <a:lnTo>
                    <a:pt x="28" y="91"/>
                  </a:lnTo>
                  <a:lnTo>
                    <a:pt x="29" y="91"/>
                  </a:lnTo>
                  <a:lnTo>
                    <a:pt x="29" y="91"/>
                  </a:lnTo>
                  <a:lnTo>
                    <a:pt x="32" y="86"/>
                  </a:lnTo>
                  <a:lnTo>
                    <a:pt x="31" y="81"/>
                  </a:lnTo>
                  <a:lnTo>
                    <a:pt x="29" y="78"/>
                  </a:lnTo>
                  <a:lnTo>
                    <a:pt x="28" y="77"/>
                  </a:lnTo>
                  <a:lnTo>
                    <a:pt x="28" y="72"/>
                  </a:lnTo>
                  <a:lnTo>
                    <a:pt x="26" y="72"/>
                  </a:lnTo>
                  <a:lnTo>
                    <a:pt x="26" y="74"/>
                  </a:lnTo>
                  <a:lnTo>
                    <a:pt x="23" y="74"/>
                  </a:lnTo>
                  <a:lnTo>
                    <a:pt x="22" y="72"/>
                  </a:lnTo>
                  <a:lnTo>
                    <a:pt x="22" y="72"/>
                  </a:lnTo>
                  <a:lnTo>
                    <a:pt x="21" y="72"/>
                  </a:lnTo>
                  <a:lnTo>
                    <a:pt x="21" y="72"/>
                  </a:lnTo>
                  <a:lnTo>
                    <a:pt x="21" y="71"/>
                  </a:lnTo>
                  <a:lnTo>
                    <a:pt x="21" y="71"/>
                  </a:lnTo>
                  <a:lnTo>
                    <a:pt x="21" y="70"/>
                  </a:lnTo>
                  <a:lnTo>
                    <a:pt x="22" y="71"/>
                  </a:lnTo>
                  <a:lnTo>
                    <a:pt x="31" y="70"/>
                  </a:lnTo>
                  <a:lnTo>
                    <a:pt x="32" y="70"/>
                  </a:lnTo>
                  <a:lnTo>
                    <a:pt x="32" y="70"/>
                  </a:lnTo>
                  <a:lnTo>
                    <a:pt x="34" y="70"/>
                  </a:lnTo>
                  <a:lnTo>
                    <a:pt x="35" y="68"/>
                  </a:lnTo>
                  <a:lnTo>
                    <a:pt x="35" y="70"/>
                  </a:lnTo>
                  <a:lnTo>
                    <a:pt x="37" y="70"/>
                  </a:lnTo>
                  <a:lnTo>
                    <a:pt x="38" y="71"/>
                  </a:lnTo>
                  <a:lnTo>
                    <a:pt x="39" y="71"/>
                  </a:lnTo>
                  <a:lnTo>
                    <a:pt x="41" y="72"/>
                  </a:lnTo>
                  <a:lnTo>
                    <a:pt x="44" y="72"/>
                  </a:lnTo>
                  <a:lnTo>
                    <a:pt x="47" y="72"/>
                  </a:lnTo>
                  <a:lnTo>
                    <a:pt x="47" y="74"/>
                  </a:lnTo>
                  <a:lnTo>
                    <a:pt x="50" y="74"/>
                  </a:lnTo>
                  <a:lnTo>
                    <a:pt x="53" y="72"/>
                  </a:lnTo>
                  <a:lnTo>
                    <a:pt x="53" y="70"/>
                  </a:lnTo>
                  <a:lnTo>
                    <a:pt x="55" y="67"/>
                  </a:lnTo>
                  <a:lnTo>
                    <a:pt x="55" y="65"/>
                  </a:lnTo>
                  <a:lnTo>
                    <a:pt x="55" y="64"/>
                  </a:lnTo>
                  <a:lnTo>
                    <a:pt x="57" y="62"/>
                  </a:lnTo>
                  <a:lnTo>
                    <a:pt x="58" y="59"/>
                  </a:lnTo>
                  <a:lnTo>
                    <a:pt x="58" y="58"/>
                  </a:lnTo>
                  <a:lnTo>
                    <a:pt x="61" y="51"/>
                  </a:lnTo>
                  <a:lnTo>
                    <a:pt x="61" y="49"/>
                  </a:lnTo>
                  <a:lnTo>
                    <a:pt x="61" y="49"/>
                  </a:lnTo>
                  <a:lnTo>
                    <a:pt x="58" y="48"/>
                  </a:lnTo>
                  <a:lnTo>
                    <a:pt x="60" y="48"/>
                  </a:lnTo>
                  <a:lnTo>
                    <a:pt x="61" y="48"/>
                  </a:lnTo>
                  <a:lnTo>
                    <a:pt x="63" y="46"/>
                  </a:lnTo>
                  <a:lnTo>
                    <a:pt x="69" y="35"/>
                  </a:lnTo>
                  <a:lnTo>
                    <a:pt x="67" y="33"/>
                  </a:lnTo>
                  <a:lnTo>
                    <a:pt x="67" y="32"/>
                  </a:lnTo>
                  <a:lnTo>
                    <a:pt x="69" y="33"/>
                  </a:lnTo>
                  <a:lnTo>
                    <a:pt x="70" y="33"/>
                  </a:lnTo>
                  <a:lnTo>
                    <a:pt x="76" y="19"/>
                  </a:lnTo>
                  <a:lnTo>
                    <a:pt x="76" y="17"/>
                  </a:lnTo>
                  <a:lnTo>
                    <a:pt x="77" y="16"/>
                  </a:lnTo>
                  <a:lnTo>
                    <a:pt x="77" y="17"/>
                  </a:lnTo>
                  <a:lnTo>
                    <a:pt x="79" y="16"/>
                  </a:lnTo>
                  <a:lnTo>
                    <a:pt x="79" y="14"/>
                  </a:lnTo>
                  <a:lnTo>
                    <a:pt x="77" y="13"/>
                  </a:lnTo>
                  <a:lnTo>
                    <a:pt x="77" y="13"/>
                  </a:lnTo>
                  <a:lnTo>
                    <a:pt x="76" y="14"/>
                  </a:lnTo>
                  <a:lnTo>
                    <a:pt x="64" y="9"/>
                  </a:lnTo>
                  <a:lnTo>
                    <a:pt x="57" y="9"/>
                  </a:lnTo>
                  <a:lnTo>
                    <a:pt x="55" y="9"/>
                  </a:lnTo>
                  <a:lnTo>
                    <a:pt x="54" y="9"/>
                  </a:lnTo>
                  <a:lnTo>
                    <a:pt x="51" y="10"/>
                  </a:lnTo>
                  <a:lnTo>
                    <a:pt x="51" y="11"/>
                  </a:lnTo>
                  <a:lnTo>
                    <a:pt x="51" y="11"/>
                  </a:lnTo>
                  <a:lnTo>
                    <a:pt x="48" y="11"/>
                  </a:lnTo>
                  <a:lnTo>
                    <a:pt x="50" y="9"/>
                  </a:lnTo>
                  <a:lnTo>
                    <a:pt x="48" y="7"/>
                  </a:lnTo>
                  <a:lnTo>
                    <a:pt x="45" y="4"/>
                  </a:lnTo>
                  <a:lnTo>
                    <a:pt x="44" y="4"/>
                  </a:lnTo>
                  <a:lnTo>
                    <a:pt x="42" y="6"/>
                  </a:lnTo>
                  <a:lnTo>
                    <a:pt x="42" y="6"/>
                  </a:lnTo>
                  <a:lnTo>
                    <a:pt x="42" y="3"/>
                  </a:lnTo>
                  <a:lnTo>
                    <a:pt x="35"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71" name="Freeform 1247"/>
            <p:cNvSpPr>
              <a:spLocks/>
            </p:cNvSpPr>
            <p:nvPr/>
          </p:nvSpPr>
          <p:spPr bwMode="auto">
            <a:xfrm>
              <a:off x="7737633" y="3410519"/>
              <a:ext cx="5267" cy="6085"/>
            </a:xfrm>
            <a:custGeom>
              <a:avLst/>
              <a:gdLst/>
              <a:ahLst/>
              <a:cxnLst>
                <a:cxn ang="0">
                  <a:pos x="0" y="3"/>
                </a:cxn>
                <a:cxn ang="0">
                  <a:pos x="5" y="0"/>
                </a:cxn>
                <a:cxn ang="0">
                  <a:pos x="5" y="1"/>
                </a:cxn>
                <a:cxn ang="0">
                  <a:pos x="5" y="1"/>
                </a:cxn>
                <a:cxn ang="0">
                  <a:pos x="5" y="1"/>
                </a:cxn>
                <a:cxn ang="0">
                  <a:pos x="5" y="1"/>
                </a:cxn>
                <a:cxn ang="0">
                  <a:pos x="5" y="1"/>
                </a:cxn>
                <a:cxn ang="0">
                  <a:pos x="5" y="1"/>
                </a:cxn>
                <a:cxn ang="0">
                  <a:pos x="5" y="1"/>
                </a:cxn>
                <a:cxn ang="0">
                  <a:pos x="5" y="1"/>
                </a:cxn>
                <a:cxn ang="0">
                  <a:pos x="5" y="1"/>
                </a:cxn>
                <a:cxn ang="0">
                  <a:pos x="5" y="3"/>
                </a:cxn>
                <a:cxn ang="0">
                  <a:pos x="4" y="3"/>
                </a:cxn>
                <a:cxn ang="0">
                  <a:pos x="4" y="3"/>
                </a:cxn>
                <a:cxn ang="0">
                  <a:pos x="4" y="3"/>
                </a:cxn>
                <a:cxn ang="0">
                  <a:pos x="4" y="3"/>
                </a:cxn>
                <a:cxn ang="0">
                  <a:pos x="4" y="3"/>
                </a:cxn>
                <a:cxn ang="0">
                  <a:pos x="4" y="3"/>
                </a:cxn>
                <a:cxn ang="0">
                  <a:pos x="4" y="3"/>
                </a:cxn>
                <a:cxn ang="0">
                  <a:pos x="4" y="3"/>
                </a:cxn>
                <a:cxn ang="0">
                  <a:pos x="4" y="4"/>
                </a:cxn>
                <a:cxn ang="0">
                  <a:pos x="4" y="4"/>
                </a:cxn>
                <a:cxn ang="0">
                  <a:pos x="4" y="4"/>
                </a:cxn>
                <a:cxn ang="0">
                  <a:pos x="4" y="4"/>
                </a:cxn>
                <a:cxn ang="0">
                  <a:pos x="4" y="4"/>
                </a:cxn>
                <a:cxn ang="0">
                  <a:pos x="4" y="4"/>
                </a:cxn>
                <a:cxn ang="0">
                  <a:pos x="4" y="4"/>
                </a:cxn>
                <a:cxn ang="0">
                  <a:pos x="4" y="4"/>
                </a:cxn>
                <a:cxn ang="0">
                  <a:pos x="4" y="4"/>
                </a:cxn>
                <a:cxn ang="0">
                  <a:pos x="3" y="4"/>
                </a:cxn>
                <a:cxn ang="0">
                  <a:pos x="3" y="4"/>
                </a:cxn>
                <a:cxn ang="0">
                  <a:pos x="3" y="4"/>
                </a:cxn>
                <a:cxn ang="0">
                  <a:pos x="3" y="4"/>
                </a:cxn>
                <a:cxn ang="0">
                  <a:pos x="3" y="4"/>
                </a:cxn>
                <a:cxn ang="0">
                  <a:pos x="3" y="6"/>
                </a:cxn>
                <a:cxn ang="0">
                  <a:pos x="3" y="4"/>
                </a:cxn>
                <a:cxn ang="0">
                  <a:pos x="3" y="4"/>
                </a:cxn>
                <a:cxn ang="0">
                  <a:pos x="3" y="4"/>
                </a:cxn>
                <a:cxn ang="0">
                  <a:pos x="3" y="4"/>
                </a:cxn>
                <a:cxn ang="0">
                  <a:pos x="3" y="4"/>
                </a:cxn>
                <a:cxn ang="0">
                  <a:pos x="3" y="4"/>
                </a:cxn>
                <a:cxn ang="0">
                  <a:pos x="3" y="4"/>
                </a:cxn>
                <a:cxn ang="0">
                  <a:pos x="3" y="3"/>
                </a:cxn>
                <a:cxn ang="0">
                  <a:pos x="3" y="3"/>
                </a:cxn>
                <a:cxn ang="0">
                  <a:pos x="1" y="3"/>
                </a:cxn>
                <a:cxn ang="0">
                  <a:pos x="1" y="3"/>
                </a:cxn>
                <a:cxn ang="0">
                  <a:pos x="1" y="3"/>
                </a:cxn>
                <a:cxn ang="0">
                  <a:pos x="1" y="3"/>
                </a:cxn>
                <a:cxn ang="0">
                  <a:pos x="1" y="4"/>
                </a:cxn>
                <a:cxn ang="0">
                  <a:pos x="1" y="4"/>
                </a:cxn>
                <a:cxn ang="0">
                  <a:pos x="1" y="4"/>
                </a:cxn>
                <a:cxn ang="0">
                  <a:pos x="0" y="4"/>
                </a:cxn>
                <a:cxn ang="0">
                  <a:pos x="0" y="4"/>
                </a:cxn>
                <a:cxn ang="0">
                  <a:pos x="0" y="4"/>
                </a:cxn>
                <a:cxn ang="0">
                  <a:pos x="0" y="3"/>
                </a:cxn>
                <a:cxn ang="0">
                  <a:pos x="0" y="3"/>
                </a:cxn>
                <a:cxn ang="0">
                  <a:pos x="0" y="3"/>
                </a:cxn>
              </a:cxnLst>
              <a:rect l="0" t="0" r="r" b="b"/>
              <a:pathLst>
                <a:path w="5" h="6">
                  <a:moveTo>
                    <a:pt x="0" y="3"/>
                  </a:moveTo>
                  <a:lnTo>
                    <a:pt x="5" y="0"/>
                  </a:lnTo>
                  <a:lnTo>
                    <a:pt x="5" y="1"/>
                  </a:lnTo>
                  <a:lnTo>
                    <a:pt x="5" y="1"/>
                  </a:lnTo>
                  <a:lnTo>
                    <a:pt x="5" y="1"/>
                  </a:lnTo>
                  <a:lnTo>
                    <a:pt x="5" y="1"/>
                  </a:lnTo>
                  <a:lnTo>
                    <a:pt x="5" y="1"/>
                  </a:lnTo>
                  <a:lnTo>
                    <a:pt x="5" y="1"/>
                  </a:lnTo>
                  <a:lnTo>
                    <a:pt x="5" y="1"/>
                  </a:lnTo>
                  <a:lnTo>
                    <a:pt x="5" y="1"/>
                  </a:lnTo>
                  <a:lnTo>
                    <a:pt x="5" y="1"/>
                  </a:lnTo>
                  <a:lnTo>
                    <a:pt x="5" y="3"/>
                  </a:lnTo>
                  <a:lnTo>
                    <a:pt x="4" y="3"/>
                  </a:lnTo>
                  <a:lnTo>
                    <a:pt x="4" y="3"/>
                  </a:lnTo>
                  <a:lnTo>
                    <a:pt x="4" y="3"/>
                  </a:lnTo>
                  <a:lnTo>
                    <a:pt x="4" y="3"/>
                  </a:lnTo>
                  <a:lnTo>
                    <a:pt x="4" y="3"/>
                  </a:lnTo>
                  <a:lnTo>
                    <a:pt x="4" y="3"/>
                  </a:lnTo>
                  <a:lnTo>
                    <a:pt x="4" y="3"/>
                  </a:lnTo>
                  <a:lnTo>
                    <a:pt x="4" y="3"/>
                  </a:lnTo>
                  <a:lnTo>
                    <a:pt x="4" y="4"/>
                  </a:lnTo>
                  <a:lnTo>
                    <a:pt x="4" y="4"/>
                  </a:lnTo>
                  <a:lnTo>
                    <a:pt x="4" y="4"/>
                  </a:lnTo>
                  <a:lnTo>
                    <a:pt x="4" y="4"/>
                  </a:lnTo>
                  <a:lnTo>
                    <a:pt x="4" y="4"/>
                  </a:lnTo>
                  <a:lnTo>
                    <a:pt x="4" y="4"/>
                  </a:lnTo>
                  <a:lnTo>
                    <a:pt x="4" y="4"/>
                  </a:lnTo>
                  <a:lnTo>
                    <a:pt x="4" y="4"/>
                  </a:lnTo>
                  <a:lnTo>
                    <a:pt x="4" y="4"/>
                  </a:lnTo>
                  <a:lnTo>
                    <a:pt x="3" y="4"/>
                  </a:lnTo>
                  <a:lnTo>
                    <a:pt x="3" y="4"/>
                  </a:lnTo>
                  <a:lnTo>
                    <a:pt x="3" y="4"/>
                  </a:lnTo>
                  <a:lnTo>
                    <a:pt x="3" y="4"/>
                  </a:lnTo>
                  <a:lnTo>
                    <a:pt x="3" y="4"/>
                  </a:lnTo>
                  <a:lnTo>
                    <a:pt x="3" y="6"/>
                  </a:lnTo>
                  <a:lnTo>
                    <a:pt x="3" y="4"/>
                  </a:lnTo>
                  <a:lnTo>
                    <a:pt x="3" y="4"/>
                  </a:lnTo>
                  <a:lnTo>
                    <a:pt x="3" y="4"/>
                  </a:lnTo>
                  <a:lnTo>
                    <a:pt x="3" y="4"/>
                  </a:lnTo>
                  <a:lnTo>
                    <a:pt x="3" y="4"/>
                  </a:lnTo>
                  <a:lnTo>
                    <a:pt x="3" y="4"/>
                  </a:lnTo>
                  <a:lnTo>
                    <a:pt x="3" y="4"/>
                  </a:lnTo>
                  <a:lnTo>
                    <a:pt x="3" y="3"/>
                  </a:lnTo>
                  <a:lnTo>
                    <a:pt x="3" y="3"/>
                  </a:lnTo>
                  <a:lnTo>
                    <a:pt x="1" y="3"/>
                  </a:lnTo>
                  <a:lnTo>
                    <a:pt x="1" y="3"/>
                  </a:lnTo>
                  <a:lnTo>
                    <a:pt x="1" y="3"/>
                  </a:lnTo>
                  <a:lnTo>
                    <a:pt x="1" y="3"/>
                  </a:lnTo>
                  <a:lnTo>
                    <a:pt x="1" y="4"/>
                  </a:lnTo>
                  <a:lnTo>
                    <a:pt x="1" y="4"/>
                  </a:lnTo>
                  <a:lnTo>
                    <a:pt x="1" y="4"/>
                  </a:lnTo>
                  <a:lnTo>
                    <a:pt x="0" y="4"/>
                  </a:lnTo>
                  <a:lnTo>
                    <a:pt x="0" y="4"/>
                  </a:lnTo>
                  <a:lnTo>
                    <a:pt x="0" y="4"/>
                  </a:lnTo>
                  <a:lnTo>
                    <a:pt x="0" y="3"/>
                  </a:lnTo>
                  <a:lnTo>
                    <a:pt x="0" y="3"/>
                  </a:lnTo>
                  <a:lnTo>
                    <a:pt x="0" y="3"/>
                  </a:lnTo>
                  <a:close/>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72" name="Freeform 1248"/>
            <p:cNvSpPr>
              <a:spLocks/>
            </p:cNvSpPr>
            <p:nvPr/>
          </p:nvSpPr>
          <p:spPr bwMode="auto">
            <a:xfrm>
              <a:off x="7748167" y="3397335"/>
              <a:ext cx="30723" cy="17241"/>
            </a:xfrm>
            <a:custGeom>
              <a:avLst/>
              <a:gdLst/>
              <a:ahLst/>
              <a:cxnLst>
                <a:cxn ang="0">
                  <a:pos x="3" y="16"/>
                </a:cxn>
                <a:cxn ang="0">
                  <a:pos x="3" y="15"/>
                </a:cxn>
                <a:cxn ang="0">
                  <a:pos x="3" y="15"/>
                </a:cxn>
                <a:cxn ang="0">
                  <a:pos x="2" y="15"/>
                </a:cxn>
                <a:cxn ang="0">
                  <a:pos x="2" y="15"/>
                </a:cxn>
                <a:cxn ang="0">
                  <a:pos x="2" y="13"/>
                </a:cxn>
                <a:cxn ang="0">
                  <a:pos x="2" y="13"/>
                </a:cxn>
                <a:cxn ang="0">
                  <a:pos x="2" y="13"/>
                </a:cxn>
                <a:cxn ang="0">
                  <a:pos x="2" y="12"/>
                </a:cxn>
                <a:cxn ang="0">
                  <a:pos x="2" y="12"/>
                </a:cxn>
                <a:cxn ang="0">
                  <a:pos x="3" y="12"/>
                </a:cxn>
                <a:cxn ang="0">
                  <a:pos x="3" y="12"/>
                </a:cxn>
                <a:cxn ang="0">
                  <a:pos x="5" y="12"/>
                </a:cxn>
                <a:cxn ang="0">
                  <a:pos x="5" y="12"/>
                </a:cxn>
                <a:cxn ang="0">
                  <a:pos x="5" y="12"/>
                </a:cxn>
                <a:cxn ang="0">
                  <a:pos x="5" y="12"/>
                </a:cxn>
                <a:cxn ang="0">
                  <a:pos x="5" y="10"/>
                </a:cxn>
                <a:cxn ang="0">
                  <a:pos x="5" y="10"/>
                </a:cxn>
                <a:cxn ang="0">
                  <a:pos x="5" y="10"/>
                </a:cxn>
                <a:cxn ang="0">
                  <a:pos x="3" y="9"/>
                </a:cxn>
                <a:cxn ang="0">
                  <a:pos x="3" y="9"/>
                </a:cxn>
                <a:cxn ang="0">
                  <a:pos x="3" y="10"/>
                </a:cxn>
                <a:cxn ang="0">
                  <a:pos x="2" y="10"/>
                </a:cxn>
                <a:cxn ang="0">
                  <a:pos x="2" y="10"/>
                </a:cxn>
                <a:cxn ang="0">
                  <a:pos x="0" y="10"/>
                </a:cxn>
                <a:cxn ang="0">
                  <a:pos x="2" y="9"/>
                </a:cxn>
                <a:cxn ang="0">
                  <a:pos x="3" y="5"/>
                </a:cxn>
                <a:cxn ang="0">
                  <a:pos x="15" y="3"/>
                </a:cxn>
                <a:cxn ang="0">
                  <a:pos x="31" y="0"/>
                </a:cxn>
                <a:cxn ang="0">
                  <a:pos x="34" y="2"/>
                </a:cxn>
                <a:cxn ang="0">
                  <a:pos x="5" y="16"/>
                </a:cxn>
                <a:cxn ang="0">
                  <a:pos x="3" y="16"/>
                </a:cxn>
              </a:cxnLst>
              <a:rect l="0" t="0" r="r" b="b"/>
              <a:pathLst>
                <a:path w="34" h="16">
                  <a:moveTo>
                    <a:pt x="3" y="16"/>
                  </a:moveTo>
                  <a:lnTo>
                    <a:pt x="3" y="16"/>
                  </a:lnTo>
                  <a:lnTo>
                    <a:pt x="3" y="16"/>
                  </a:lnTo>
                  <a:lnTo>
                    <a:pt x="3" y="15"/>
                  </a:lnTo>
                  <a:lnTo>
                    <a:pt x="3" y="15"/>
                  </a:lnTo>
                  <a:lnTo>
                    <a:pt x="3" y="15"/>
                  </a:lnTo>
                  <a:lnTo>
                    <a:pt x="2" y="15"/>
                  </a:lnTo>
                  <a:lnTo>
                    <a:pt x="2" y="15"/>
                  </a:lnTo>
                  <a:lnTo>
                    <a:pt x="2" y="15"/>
                  </a:lnTo>
                  <a:lnTo>
                    <a:pt x="2" y="15"/>
                  </a:lnTo>
                  <a:lnTo>
                    <a:pt x="2" y="13"/>
                  </a:lnTo>
                  <a:lnTo>
                    <a:pt x="2" y="13"/>
                  </a:lnTo>
                  <a:lnTo>
                    <a:pt x="2" y="13"/>
                  </a:lnTo>
                  <a:lnTo>
                    <a:pt x="2" y="13"/>
                  </a:lnTo>
                  <a:lnTo>
                    <a:pt x="2" y="13"/>
                  </a:lnTo>
                  <a:lnTo>
                    <a:pt x="2" y="13"/>
                  </a:lnTo>
                  <a:lnTo>
                    <a:pt x="2" y="12"/>
                  </a:lnTo>
                  <a:lnTo>
                    <a:pt x="2" y="12"/>
                  </a:lnTo>
                  <a:lnTo>
                    <a:pt x="2" y="12"/>
                  </a:lnTo>
                  <a:lnTo>
                    <a:pt x="2" y="12"/>
                  </a:lnTo>
                  <a:lnTo>
                    <a:pt x="3" y="12"/>
                  </a:lnTo>
                  <a:lnTo>
                    <a:pt x="3" y="12"/>
                  </a:lnTo>
                  <a:lnTo>
                    <a:pt x="3" y="13"/>
                  </a:lnTo>
                  <a:lnTo>
                    <a:pt x="3" y="12"/>
                  </a:lnTo>
                  <a:lnTo>
                    <a:pt x="3" y="12"/>
                  </a:lnTo>
                  <a:lnTo>
                    <a:pt x="5" y="12"/>
                  </a:lnTo>
                  <a:lnTo>
                    <a:pt x="5" y="12"/>
                  </a:lnTo>
                  <a:lnTo>
                    <a:pt x="5" y="12"/>
                  </a:lnTo>
                  <a:lnTo>
                    <a:pt x="5" y="12"/>
                  </a:lnTo>
                  <a:lnTo>
                    <a:pt x="5" y="12"/>
                  </a:lnTo>
                  <a:lnTo>
                    <a:pt x="5" y="12"/>
                  </a:lnTo>
                  <a:lnTo>
                    <a:pt x="5" y="12"/>
                  </a:lnTo>
                  <a:lnTo>
                    <a:pt x="5" y="10"/>
                  </a:lnTo>
                  <a:lnTo>
                    <a:pt x="5" y="10"/>
                  </a:lnTo>
                  <a:lnTo>
                    <a:pt x="5" y="10"/>
                  </a:lnTo>
                  <a:lnTo>
                    <a:pt x="5" y="10"/>
                  </a:lnTo>
                  <a:lnTo>
                    <a:pt x="5" y="10"/>
                  </a:lnTo>
                  <a:lnTo>
                    <a:pt x="5" y="10"/>
                  </a:lnTo>
                  <a:lnTo>
                    <a:pt x="3" y="10"/>
                  </a:lnTo>
                  <a:lnTo>
                    <a:pt x="3" y="9"/>
                  </a:lnTo>
                  <a:lnTo>
                    <a:pt x="3" y="9"/>
                  </a:lnTo>
                  <a:lnTo>
                    <a:pt x="3" y="9"/>
                  </a:lnTo>
                  <a:lnTo>
                    <a:pt x="3" y="10"/>
                  </a:lnTo>
                  <a:lnTo>
                    <a:pt x="3" y="10"/>
                  </a:lnTo>
                  <a:lnTo>
                    <a:pt x="3" y="10"/>
                  </a:lnTo>
                  <a:lnTo>
                    <a:pt x="2" y="10"/>
                  </a:lnTo>
                  <a:lnTo>
                    <a:pt x="2" y="10"/>
                  </a:lnTo>
                  <a:lnTo>
                    <a:pt x="2" y="10"/>
                  </a:lnTo>
                  <a:lnTo>
                    <a:pt x="2" y="10"/>
                  </a:lnTo>
                  <a:lnTo>
                    <a:pt x="0" y="10"/>
                  </a:lnTo>
                  <a:lnTo>
                    <a:pt x="0" y="9"/>
                  </a:lnTo>
                  <a:lnTo>
                    <a:pt x="2" y="9"/>
                  </a:lnTo>
                  <a:lnTo>
                    <a:pt x="2" y="9"/>
                  </a:lnTo>
                  <a:lnTo>
                    <a:pt x="3" y="5"/>
                  </a:lnTo>
                  <a:lnTo>
                    <a:pt x="13" y="3"/>
                  </a:lnTo>
                  <a:lnTo>
                    <a:pt x="15" y="3"/>
                  </a:lnTo>
                  <a:lnTo>
                    <a:pt x="29" y="2"/>
                  </a:lnTo>
                  <a:lnTo>
                    <a:pt x="31" y="0"/>
                  </a:lnTo>
                  <a:lnTo>
                    <a:pt x="34" y="2"/>
                  </a:lnTo>
                  <a:lnTo>
                    <a:pt x="34" y="2"/>
                  </a:lnTo>
                  <a:lnTo>
                    <a:pt x="32" y="6"/>
                  </a:lnTo>
                  <a:lnTo>
                    <a:pt x="5" y="16"/>
                  </a:lnTo>
                  <a:lnTo>
                    <a:pt x="3" y="16"/>
                  </a:lnTo>
                  <a:lnTo>
                    <a:pt x="3" y="16"/>
                  </a:lnTo>
                  <a:close/>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73" name="Freeform 1249"/>
            <p:cNvSpPr>
              <a:spLocks/>
            </p:cNvSpPr>
            <p:nvPr/>
          </p:nvSpPr>
          <p:spPr bwMode="auto">
            <a:xfrm>
              <a:off x="5010307" y="2923736"/>
              <a:ext cx="140448" cy="53749"/>
            </a:xfrm>
            <a:custGeom>
              <a:avLst/>
              <a:gdLst/>
              <a:ahLst/>
              <a:cxnLst>
                <a:cxn ang="0">
                  <a:pos x="109" y="24"/>
                </a:cxn>
                <a:cxn ang="0">
                  <a:pos x="121" y="29"/>
                </a:cxn>
                <a:cxn ang="0">
                  <a:pos x="129" y="31"/>
                </a:cxn>
                <a:cxn ang="0">
                  <a:pos x="131" y="32"/>
                </a:cxn>
                <a:cxn ang="0">
                  <a:pos x="131" y="35"/>
                </a:cxn>
                <a:cxn ang="0">
                  <a:pos x="131" y="37"/>
                </a:cxn>
                <a:cxn ang="0">
                  <a:pos x="142" y="37"/>
                </a:cxn>
                <a:cxn ang="0">
                  <a:pos x="144" y="40"/>
                </a:cxn>
                <a:cxn ang="0">
                  <a:pos x="153" y="44"/>
                </a:cxn>
                <a:cxn ang="0">
                  <a:pos x="140" y="50"/>
                </a:cxn>
                <a:cxn ang="0">
                  <a:pos x="102" y="50"/>
                </a:cxn>
                <a:cxn ang="0">
                  <a:pos x="105" y="45"/>
                </a:cxn>
                <a:cxn ang="0">
                  <a:pos x="112" y="41"/>
                </a:cxn>
                <a:cxn ang="0">
                  <a:pos x="106" y="38"/>
                </a:cxn>
                <a:cxn ang="0">
                  <a:pos x="92" y="32"/>
                </a:cxn>
                <a:cxn ang="0">
                  <a:pos x="89" y="25"/>
                </a:cxn>
                <a:cxn ang="0">
                  <a:pos x="67" y="21"/>
                </a:cxn>
                <a:cxn ang="0">
                  <a:pos x="55" y="16"/>
                </a:cxn>
                <a:cxn ang="0">
                  <a:pos x="52" y="16"/>
                </a:cxn>
                <a:cxn ang="0">
                  <a:pos x="48" y="16"/>
                </a:cxn>
                <a:cxn ang="0">
                  <a:pos x="41" y="15"/>
                </a:cxn>
                <a:cxn ang="0">
                  <a:pos x="39" y="13"/>
                </a:cxn>
                <a:cxn ang="0">
                  <a:pos x="44" y="11"/>
                </a:cxn>
                <a:cxn ang="0">
                  <a:pos x="45" y="9"/>
                </a:cxn>
                <a:cxn ang="0">
                  <a:pos x="42" y="8"/>
                </a:cxn>
                <a:cxn ang="0">
                  <a:pos x="26" y="11"/>
                </a:cxn>
                <a:cxn ang="0">
                  <a:pos x="15" y="15"/>
                </a:cxn>
                <a:cxn ang="0">
                  <a:pos x="10" y="19"/>
                </a:cxn>
                <a:cxn ang="0">
                  <a:pos x="6" y="22"/>
                </a:cxn>
                <a:cxn ang="0">
                  <a:pos x="5" y="21"/>
                </a:cxn>
                <a:cxn ang="0">
                  <a:pos x="0" y="19"/>
                </a:cxn>
                <a:cxn ang="0">
                  <a:pos x="6" y="18"/>
                </a:cxn>
                <a:cxn ang="0">
                  <a:pos x="7" y="12"/>
                </a:cxn>
                <a:cxn ang="0">
                  <a:pos x="35" y="0"/>
                </a:cxn>
                <a:cxn ang="0">
                  <a:pos x="61" y="2"/>
                </a:cxn>
                <a:cxn ang="0">
                  <a:pos x="68" y="2"/>
                </a:cxn>
                <a:cxn ang="0">
                  <a:pos x="74" y="8"/>
                </a:cxn>
                <a:cxn ang="0">
                  <a:pos x="80" y="12"/>
                </a:cxn>
                <a:cxn ang="0">
                  <a:pos x="87" y="12"/>
                </a:cxn>
                <a:cxn ang="0">
                  <a:pos x="90" y="13"/>
                </a:cxn>
                <a:cxn ang="0">
                  <a:pos x="89" y="13"/>
                </a:cxn>
                <a:cxn ang="0">
                  <a:pos x="93" y="15"/>
                </a:cxn>
                <a:cxn ang="0">
                  <a:pos x="99" y="19"/>
                </a:cxn>
              </a:cxnLst>
              <a:rect l="0" t="0" r="r" b="b"/>
              <a:pathLst>
                <a:path w="153" h="51">
                  <a:moveTo>
                    <a:pt x="109" y="22"/>
                  </a:moveTo>
                  <a:lnTo>
                    <a:pt x="109" y="24"/>
                  </a:lnTo>
                  <a:lnTo>
                    <a:pt x="118" y="29"/>
                  </a:lnTo>
                  <a:lnTo>
                    <a:pt x="121" y="29"/>
                  </a:lnTo>
                  <a:lnTo>
                    <a:pt x="125" y="31"/>
                  </a:lnTo>
                  <a:lnTo>
                    <a:pt x="129" y="31"/>
                  </a:lnTo>
                  <a:lnTo>
                    <a:pt x="131" y="31"/>
                  </a:lnTo>
                  <a:lnTo>
                    <a:pt x="131" y="32"/>
                  </a:lnTo>
                  <a:lnTo>
                    <a:pt x="131" y="34"/>
                  </a:lnTo>
                  <a:lnTo>
                    <a:pt x="131" y="35"/>
                  </a:lnTo>
                  <a:lnTo>
                    <a:pt x="131" y="37"/>
                  </a:lnTo>
                  <a:lnTo>
                    <a:pt x="131" y="37"/>
                  </a:lnTo>
                  <a:lnTo>
                    <a:pt x="141" y="37"/>
                  </a:lnTo>
                  <a:lnTo>
                    <a:pt x="142" y="37"/>
                  </a:lnTo>
                  <a:lnTo>
                    <a:pt x="144" y="40"/>
                  </a:lnTo>
                  <a:lnTo>
                    <a:pt x="144" y="40"/>
                  </a:lnTo>
                  <a:lnTo>
                    <a:pt x="148" y="43"/>
                  </a:lnTo>
                  <a:lnTo>
                    <a:pt x="153" y="44"/>
                  </a:lnTo>
                  <a:lnTo>
                    <a:pt x="153" y="45"/>
                  </a:lnTo>
                  <a:lnTo>
                    <a:pt x="140" y="50"/>
                  </a:lnTo>
                  <a:lnTo>
                    <a:pt x="103" y="51"/>
                  </a:lnTo>
                  <a:lnTo>
                    <a:pt x="102" y="50"/>
                  </a:lnTo>
                  <a:lnTo>
                    <a:pt x="102" y="50"/>
                  </a:lnTo>
                  <a:lnTo>
                    <a:pt x="105" y="45"/>
                  </a:lnTo>
                  <a:lnTo>
                    <a:pt x="112" y="43"/>
                  </a:lnTo>
                  <a:lnTo>
                    <a:pt x="112" y="41"/>
                  </a:lnTo>
                  <a:lnTo>
                    <a:pt x="112" y="41"/>
                  </a:lnTo>
                  <a:lnTo>
                    <a:pt x="106" y="38"/>
                  </a:lnTo>
                  <a:lnTo>
                    <a:pt x="97" y="38"/>
                  </a:lnTo>
                  <a:lnTo>
                    <a:pt x="92" y="32"/>
                  </a:lnTo>
                  <a:lnTo>
                    <a:pt x="90" y="27"/>
                  </a:lnTo>
                  <a:lnTo>
                    <a:pt x="89" y="25"/>
                  </a:lnTo>
                  <a:lnTo>
                    <a:pt x="77" y="25"/>
                  </a:lnTo>
                  <a:lnTo>
                    <a:pt x="67" y="21"/>
                  </a:lnTo>
                  <a:lnTo>
                    <a:pt x="61" y="18"/>
                  </a:lnTo>
                  <a:lnTo>
                    <a:pt x="55" y="16"/>
                  </a:lnTo>
                  <a:lnTo>
                    <a:pt x="54" y="16"/>
                  </a:lnTo>
                  <a:lnTo>
                    <a:pt x="52" y="16"/>
                  </a:lnTo>
                  <a:lnTo>
                    <a:pt x="50" y="16"/>
                  </a:lnTo>
                  <a:lnTo>
                    <a:pt x="48" y="16"/>
                  </a:lnTo>
                  <a:lnTo>
                    <a:pt x="48" y="16"/>
                  </a:lnTo>
                  <a:lnTo>
                    <a:pt x="41" y="15"/>
                  </a:lnTo>
                  <a:lnTo>
                    <a:pt x="41" y="15"/>
                  </a:lnTo>
                  <a:lnTo>
                    <a:pt x="39" y="13"/>
                  </a:lnTo>
                  <a:lnTo>
                    <a:pt x="39" y="12"/>
                  </a:lnTo>
                  <a:lnTo>
                    <a:pt x="44" y="11"/>
                  </a:lnTo>
                  <a:lnTo>
                    <a:pt x="45" y="11"/>
                  </a:lnTo>
                  <a:lnTo>
                    <a:pt x="45" y="9"/>
                  </a:lnTo>
                  <a:lnTo>
                    <a:pt x="44" y="9"/>
                  </a:lnTo>
                  <a:lnTo>
                    <a:pt x="42" y="8"/>
                  </a:lnTo>
                  <a:lnTo>
                    <a:pt x="31" y="8"/>
                  </a:lnTo>
                  <a:lnTo>
                    <a:pt x="26" y="11"/>
                  </a:lnTo>
                  <a:lnTo>
                    <a:pt x="23" y="13"/>
                  </a:lnTo>
                  <a:lnTo>
                    <a:pt x="15" y="15"/>
                  </a:lnTo>
                  <a:lnTo>
                    <a:pt x="13" y="18"/>
                  </a:lnTo>
                  <a:lnTo>
                    <a:pt x="10" y="19"/>
                  </a:lnTo>
                  <a:lnTo>
                    <a:pt x="6" y="22"/>
                  </a:lnTo>
                  <a:lnTo>
                    <a:pt x="6" y="22"/>
                  </a:lnTo>
                  <a:lnTo>
                    <a:pt x="6" y="21"/>
                  </a:lnTo>
                  <a:lnTo>
                    <a:pt x="5" y="21"/>
                  </a:lnTo>
                  <a:lnTo>
                    <a:pt x="0" y="21"/>
                  </a:lnTo>
                  <a:lnTo>
                    <a:pt x="0" y="19"/>
                  </a:lnTo>
                  <a:lnTo>
                    <a:pt x="5" y="18"/>
                  </a:lnTo>
                  <a:lnTo>
                    <a:pt x="6" y="18"/>
                  </a:lnTo>
                  <a:lnTo>
                    <a:pt x="7" y="16"/>
                  </a:lnTo>
                  <a:lnTo>
                    <a:pt x="7" y="12"/>
                  </a:lnTo>
                  <a:lnTo>
                    <a:pt x="7" y="11"/>
                  </a:lnTo>
                  <a:lnTo>
                    <a:pt x="35" y="0"/>
                  </a:lnTo>
                  <a:lnTo>
                    <a:pt x="60" y="0"/>
                  </a:lnTo>
                  <a:lnTo>
                    <a:pt x="61" y="2"/>
                  </a:lnTo>
                  <a:lnTo>
                    <a:pt x="63" y="3"/>
                  </a:lnTo>
                  <a:lnTo>
                    <a:pt x="68" y="2"/>
                  </a:lnTo>
                  <a:lnTo>
                    <a:pt x="73" y="6"/>
                  </a:lnTo>
                  <a:lnTo>
                    <a:pt x="74" y="8"/>
                  </a:lnTo>
                  <a:lnTo>
                    <a:pt x="77" y="11"/>
                  </a:lnTo>
                  <a:lnTo>
                    <a:pt x="80" y="12"/>
                  </a:lnTo>
                  <a:lnTo>
                    <a:pt x="86" y="11"/>
                  </a:lnTo>
                  <a:lnTo>
                    <a:pt x="87" y="12"/>
                  </a:lnTo>
                  <a:lnTo>
                    <a:pt x="90" y="12"/>
                  </a:lnTo>
                  <a:lnTo>
                    <a:pt x="90" y="13"/>
                  </a:lnTo>
                  <a:lnTo>
                    <a:pt x="90" y="13"/>
                  </a:lnTo>
                  <a:lnTo>
                    <a:pt x="89" y="13"/>
                  </a:lnTo>
                  <a:lnTo>
                    <a:pt x="90" y="15"/>
                  </a:lnTo>
                  <a:lnTo>
                    <a:pt x="93" y="15"/>
                  </a:lnTo>
                  <a:lnTo>
                    <a:pt x="96" y="16"/>
                  </a:lnTo>
                  <a:lnTo>
                    <a:pt x="99" y="19"/>
                  </a:lnTo>
                  <a:lnTo>
                    <a:pt x="109" y="2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74" name="Freeform 1250"/>
            <p:cNvSpPr>
              <a:spLocks/>
            </p:cNvSpPr>
            <p:nvPr/>
          </p:nvSpPr>
          <p:spPr bwMode="auto">
            <a:xfrm>
              <a:off x="5010307" y="2923736"/>
              <a:ext cx="140448" cy="53749"/>
            </a:xfrm>
            <a:custGeom>
              <a:avLst/>
              <a:gdLst/>
              <a:ahLst/>
              <a:cxnLst>
                <a:cxn ang="0">
                  <a:pos x="109" y="24"/>
                </a:cxn>
                <a:cxn ang="0">
                  <a:pos x="121" y="29"/>
                </a:cxn>
                <a:cxn ang="0">
                  <a:pos x="129" y="31"/>
                </a:cxn>
                <a:cxn ang="0">
                  <a:pos x="131" y="32"/>
                </a:cxn>
                <a:cxn ang="0">
                  <a:pos x="131" y="35"/>
                </a:cxn>
                <a:cxn ang="0">
                  <a:pos x="131" y="37"/>
                </a:cxn>
                <a:cxn ang="0">
                  <a:pos x="142" y="37"/>
                </a:cxn>
                <a:cxn ang="0">
                  <a:pos x="144" y="40"/>
                </a:cxn>
                <a:cxn ang="0">
                  <a:pos x="153" y="44"/>
                </a:cxn>
                <a:cxn ang="0">
                  <a:pos x="140" y="50"/>
                </a:cxn>
                <a:cxn ang="0">
                  <a:pos x="102" y="50"/>
                </a:cxn>
                <a:cxn ang="0">
                  <a:pos x="105" y="45"/>
                </a:cxn>
                <a:cxn ang="0">
                  <a:pos x="112" y="41"/>
                </a:cxn>
                <a:cxn ang="0">
                  <a:pos x="106" y="38"/>
                </a:cxn>
                <a:cxn ang="0">
                  <a:pos x="92" y="32"/>
                </a:cxn>
                <a:cxn ang="0">
                  <a:pos x="89" y="25"/>
                </a:cxn>
                <a:cxn ang="0">
                  <a:pos x="67" y="21"/>
                </a:cxn>
                <a:cxn ang="0">
                  <a:pos x="55" y="16"/>
                </a:cxn>
                <a:cxn ang="0">
                  <a:pos x="52" y="16"/>
                </a:cxn>
                <a:cxn ang="0">
                  <a:pos x="48" y="16"/>
                </a:cxn>
                <a:cxn ang="0">
                  <a:pos x="41" y="15"/>
                </a:cxn>
                <a:cxn ang="0">
                  <a:pos x="39" y="13"/>
                </a:cxn>
                <a:cxn ang="0">
                  <a:pos x="44" y="11"/>
                </a:cxn>
                <a:cxn ang="0">
                  <a:pos x="45" y="9"/>
                </a:cxn>
                <a:cxn ang="0">
                  <a:pos x="42" y="8"/>
                </a:cxn>
                <a:cxn ang="0">
                  <a:pos x="26" y="11"/>
                </a:cxn>
                <a:cxn ang="0">
                  <a:pos x="15" y="15"/>
                </a:cxn>
                <a:cxn ang="0">
                  <a:pos x="10" y="19"/>
                </a:cxn>
                <a:cxn ang="0">
                  <a:pos x="6" y="22"/>
                </a:cxn>
                <a:cxn ang="0">
                  <a:pos x="5" y="21"/>
                </a:cxn>
                <a:cxn ang="0">
                  <a:pos x="0" y="19"/>
                </a:cxn>
                <a:cxn ang="0">
                  <a:pos x="6" y="18"/>
                </a:cxn>
                <a:cxn ang="0">
                  <a:pos x="7" y="12"/>
                </a:cxn>
                <a:cxn ang="0">
                  <a:pos x="35" y="0"/>
                </a:cxn>
                <a:cxn ang="0">
                  <a:pos x="61" y="2"/>
                </a:cxn>
                <a:cxn ang="0">
                  <a:pos x="68" y="2"/>
                </a:cxn>
                <a:cxn ang="0">
                  <a:pos x="74" y="8"/>
                </a:cxn>
                <a:cxn ang="0">
                  <a:pos x="80" y="12"/>
                </a:cxn>
                <a:cxn ang="0">
                  <a:pos x="87" y="12"/>
                </a:cxn>
                <a:cxn ang="0">
                  <a:pos x="90" y="13"/>
                </a:cxn>
                <a:cxn ang="0">
                  <a:pos x="89" y="13"/>
                </a:cxn>
                <a:cxn ang="0">
                  <a:pos x="93" y="15"/>
                </a:cxn>
                <a:cxn ang="0">
                  <a:pos x="99" y="19"/>
                </a:cxn>
              </a:cxnLst>
              <a:rect l="0" t="0" r="r" b="b"/>
              <a:pathLst>
                <a:path w="153" h="51">
                  <a:moveTo>
                    <a:pt x="109" y="22"/>
                  </a:moveTo>
                  <a:lnTo>
                    <a:pt x="109" y="24"/>
                  </a:lnTo>
                  <a:lnTo>
                    <a:pt x="118" y="29"/>
                  </a:lnTo>
                  <a:lnTo>
                    <a:pt x="121" y="29"/>
                  </a:lnTo>
                  <a:lnTo>
                    <a:pt x="125" y="31"/>
                  </a:lnTo>
                  <a:lnTo>
                    <a:pt x="129" y="31"/>
                  </a:lnTo>
                  <a:lnTo>
                    <a:pt x="131" y="31"/>
                  </a:lnTo>
                  <a:lnTo>
                    <a:pt x="131" y="32"/>
                  </a:lnTo>
                  <a:lnTo>
                    <a:pt x="131" y="34"/>
                  </a:lnTo>
                  <a:lnTo>
                    <a:pt x="131" y="35"/>
                  </a:lnTo>
                  <a:lnTo>
                    <a:pt x="131" y="37"/>
                  </a:lnTo>
                  <a:lnTo>
                    <a:pt x="131" y="37"/>
                  </a:lnTo>
                  <a:lnTo>
                    <a:pt x="141" y="37"/>
                  </a:lnTo>
                  <a:lnTo>
                    <a:pt x="142" y="37"/>
                  </a:lnTo>
                  <a:lnTo>
                    <a:pt x="144" y="40"/>
                  </a:lnTo>
                  <a:lnTo>
                    <a:pt x="144" y="40"/>
                  </a:lnTo>
                  <a:lnTo>
                    <a:pt x="148" y="43"/>
                  </a:lnTo>
                  <a:lnTo>
                    <a:pt x="153" y="44"/>
                  </a:lnTo>
                  <a:lnTo>
                    <a:pt x="153" y="45"/>
                  </a:lnTo>
                  <a:lnTo>
                    <a:pt x="140" y="50"/>
                  </a:lnTo>
                  <a:lnTo>
                    <a:pt x="103" y="51"/>
                  </a:lnTo>
                  <a:lnTo>
                    <a:pt x="102" y="50"/>
                  </a:lnTo>
                  <a:lnTo>
                    <a:pt x="102" y="50"/>
                  </a:lnTo>
                  <a:lnTo>
                    <a:pt x="105" y="45"/>
                  </a:lnTo>
                  <a:lnTo>
                    <a:pt x="112" y="43"/>
                  </a:lnTo>
                  <a:lnTo>
                    <a:pt x="112" y="41"/>
                  </a:lnTo>
                  <a:lnTo>
                    <a:pt x="112" y="41"/>
                  </a:lnTo>
                  <a:lnTo>
                    <a:pt x="106" y="38"/>
                  </a:lnTo>
                  <a:lnTo>
                    <a:pt x="97" y="38"/>
                  </a:lnTo>
                  <a:lnTo>
                    <a:pt x="92" y="32"/>
                  </a:lnTo>
                  <a:lnTo>
                    <a:pt x="90" y="27"/>
                  </a:lnTo>
                  <a:lnTo>
                    <a:pt x="89" y="25"/>
                  </a:lnTo>
                  <a:lnTo>
                    <a:pt x="77" y="25"/>
                  </a:lnTo>
                  <a:lnTo>
                    <a:pt x="67" y="21"/>
                  </a:lnTo>
                  <a:lnTo>
                    <a:pt x="61" y="18"/>
                  </a:lnTo>
                  <a:lnTo>
                    <a:pt x="55" y="16"/>
                  </a:lnTo>
                  <a:lnTo>
                    <a:pt x="54" y="16"/>
                  </a:lnTo>
                  <a:lnTo>
                    <a:pt x="52" y="16"/>
                  </a:lnTo>
                  <a:lnTo>
                    <a:pt x="50" y="16"/>
                  </a:lnTo>
                  <a:lnTo>
                    <a:pt x="48" y="16"/>
                  </a:lnTo>
                  <a:lnTo>
                    <a:pt x="48" y="16"/>
                  </a:lnTo>
                  <a:lnTo>
                    <a:pt x="41" y="15"/>
                  </a:lnTo>
                  <a:lnTo>
                    <a:pt x="41" y="15"/>
                  </a:lnTo>
                  <a:lnTo>
                    <a:pt x="39" y="13"/>
                  </a:lnTo>
                  <a:lnTo>
                    <a:pt x="39" y="12"/>
                  </a:lnTo>
                  <a:lnTo>
                    <a:pt x="44" y="11"/>
                  </a:lnTo>
                  <a:lnTo>
                    <a:pt x="45" y="11"/>
                  </a:lnTo>
                  <a:lnTo>
                    <a:pt x="45" y="9"/>
                  </a:lnTo>
                  <a:lnTo>
                    <a:pt x="44" y="9"/>
                  </a:lnTo>
                  <a:lnTo>
                    <a:pt x="42" y="8"/>
                  </a:lnTo>
                  <a:lnTo>
                    <a:pt x="31" y="8"/>
                  </a:lnTo>
                  <a:lnTo>
                    <a:pt x="26" y="11"/>
                  </a:lnTo>
                  <a:lnTo>
                    <a:pt x="23" y="13"/>
                  </a:lnTo>
                  <a:lnTo>
                    <a:pt x="15" y="15"/>
                  </a:lnTo>
                  <a:lnTo>
                    <a:pt x="13" y="18"/>
                  </a:lnTo>
                  <a:lnTo>
                    <a:pt x="10" y="19"/>
                  </a:lnTo>
                  <a:lnTo>
                    <a:pt x="6" y="22"/>
                  </a:lnTo>
                  <a:lnTo>
                    <a:pt x="6" y="22"/>
                  </a:lnTo>
                  <a:lnTo>
                    <a:pt x="6" y="21"/>
                  </a:lnTo>
                  <a:lnTo>
                    <a:pt x="5" y="21"/>
                  </a:lnTo>
                  <a:lnTo>
                    <a:pt x="0" y="21"/>
                  </a:lnTo>
                  <a:lnTo>
                    <a:pt x="0" y="19"/>
                  </a:lnTo>
                  <a:lnTo>
                    <a:pt x="5" y="18"/>
                  </a:lnTo>
                  <a:lnTo>
                    <a:pt x="6" y="18"/>
                  </a:lnTo>
                  <a:lnTo>
                    <a:pt x="7" y="16"/>
                  </a:lnTo>
                  <a:lnTo>
                    <a:pt x="7" y="12"/>
                  </a:lnTo>
                  <a:lnTo>
                    <a:pt x="7" y="11"/>
                  </a:lnTo>
                  <a:lnTo>
                    <a:pt x="35" y="0"/>
                  </a:lnTo>
                  <a:lnTo>
                    <a:pt x="60" y="0"/>
                  </a:lnTo>
                  <a:lnTo>
                    <a:pt x="61" y="2"/>
                  </a:lnTo>
                  <a:lnTo>
                    <a:pt x="63" y="3"/>
                  </a:lnTo>
                  <a:lnTo>
                    <a:pt x="68" y="2"/>
                  </a:lnTo>
                  <a:lnTo>
                    <a:pt x="73" y="6"/>
                  </a:lnTo>
                  <a:lnTo>
                    <a:pt x="74" y="8"/>
                  </a:lnTo>
                  <a:lnTo>
                    <a:pt x="77" y="11"/>
                  </a:lnTo>
                  <a:lnTo>
                    <a:pt x="80" y="12"/>
                  </a:lnTo>
                  <a:lnTo>
                    <a:pt x="86" y="11"/>
                  </a:lnTo>
                  <a:lnTo>
                    <a:pt x="87" y="12"/>
                  </a:lnTo>
                  <a:lnTo>
                    <a:pt x="90" y="12"/>
                  </a:lnTo>
                  <a:lnTo>
                    <a:pt x="90" y="13"/>
                  </a:lnTo>
                  <a:lnTo>
                    <a:pt x="90" y="13"/>
                  </a:lnTo>
                  <a:lnTo>
                    <a:pt x="89" y="13"/>
                  </a:lnTo>
                  <a:lnTo>
                    <a:pt x="90" y="15"/>
                  </a:lnTo>
                  <a:lnTo>
                    <a:pt x="93" y="15"/>
                  </a:lnTo>
                  <a:lnTo>
                    <a:pt x="96" y="16"/>
                  </a:lnTo>
                  <a:lnTo>
                    <a:pt x="99" y="19"/>
                  </a:lnTo>
                  <a:lnTo>
                    <a:pt x="109" y="2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75" name="Freeform 1251"/>
            <p:cNvSpPr>
              <a:spLocks/>
            </p:cNvSpPr>
            <p:nvPr/>
          </p:nvSpPr>
          <p:spPr bwMode="auto">
            <a:xfrm>
              <a:off x="5034008" y="2944019"/>
              <a:ext cx="6145" cy="8113"/>
            </a:xfrm>
            <a:custGeom>
              <a:avLst/>
              <a:gdLst/>
              <a:ahLst/>
              <a:cxnLst>
                <a:cxn ang="0">
                  <a:pos x="6" y="0"/>
                </a:cxn>
                <a:cxn ang="0">
                  <a:pos x="6" y="2"/>
                </a:cxn>
                <a:cxn ang="0">
                  <a:pos x="6" y="3"/>
                </a:cxn>
                <a:cxn ang="0">
                  <a:pos x="7" y="6"/>
                </a:cxn>
                <a:cxn ang="0">
                  <a:pos x="3" y="8"/>
                </a:cxn>
                <a:cxn ang="0">
                  <a:pos x="1" y="8"/>
                </a:cxn>
                <a:cxn ang="0">
                  <a:pos x="0" y="6"/>
                </a:cxn>
                <a:cxn ang="0">
                  <a:pos x="0" y="5"/>
                </a:cxn>
                <a:cxn ang="0">
                  <a:pos x="1" y="6"/>
                </a:cxn>
                <a:cxn ang="0">
                  <a:pos x="3" y="5"/>
                </a:cxn>
                <a:cxn ang="0">
                  <a:pos x="1" y="3"/>
                </a:cxn>
                <a:cxn ang="0">
                  <a:pos x="1" y="2"/>
                </a:cxn>
                <a:cxn ang="0">
                  <a:pos x="1" y="0"/>
                </a:cxn>
                <a:cxn ang="0">
                  <a:pos x="3" y="0"/>
                </a:cxn>
                <a:cxn ang="0">
                  <a:pos x="4" y="0"/>
                </a:cxn>
                <a:cxn ang="0">
                  <a:pos x="6" y="0"/>
                </a:cxn>
                <a:cxn ang="0">
                  <a:pos x="6" y="0"/>
                </a:cxn>
              </a:cxnLst>
              <a:rect l="0" t="0" r="r" b="b"/>
              <a:pathLst>
                <a:path w="7" h="8">
                  <a:moveTo>
                    <a:pt x="6" y="0"/>
                  </a:moveTo>
                  <a:lnTo>
                    <a:pt x="6" y="2"/>
                  </a:lnTo>
                  <a:lnTo>
                    <a:pt x="6" y="3"/>
                  </a:lnTo>
                  <a:lnTo>
                    <a:pt x="7" y="6"/>
                  </a:lnTo>
                  <a:lnTo>
                    <a:pt x="3" y="8"/>
                  </a:lnTo>
                  <a:lnTo>
                    <a:pt x="1" y="8"/>
                  </a:lnTo>
                  <a:lnTo>
                    <a:pt x="0" y="6"/>
                  </a:lnTo>
                  <a:lnTo>
                    <a:pt x="0" y="5"/>
                  </a:lnTo>
                  <a:lnTo>
                    <a:pt x="1" y="6"/>
                  </a:lnTo>
                  <a:lnTo>
                    <a:pt x="3" y="5"/>
                  </a:lnTo>
                  <a:lnTo>
                    <a:pt x="1" y="3"/>
                  </a:lnTo>
                  <a:lnTo>
                    <a:pt x="1" y="2"/>
                  </a:lnTo>
                  <a:lnTo>
                    <a:pt x="1" y="0"/>
                  </a:lnTo>
                  <a:lnTo>
                    <a:pt x="3" y="0"/>
                  </a:lnTo>
                  <a:lnTo>
                    <a:pt x="4" y="0"/>
                  </a:lnTo>
                  <a:lnTo>
                    <a:pt x="6" y="0"/>
                  </a:lnTo>
                  <a:lnTo>
                    <a:pt x="6"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76" name="Freeform 1252"/>
            <p:cNvSpPr>
              <a:spLocks/>
            </p:cNvSpPr>
            <p:nvPr/>
          </p:nvSpPr>
          <p:spPr bwMode="auto">
            <a:xfrm>
              <a:off x="5034008" y="2944019"/>
              <a:ext cx="6145" cy="8113"/>
            </a:xfrm>
            <a:custGeom>
              <a:avLst/>
              <a:gdLst/>
              <a:ahLst/>
              <a:cxnLst>
                <a:cxn ang="0">
                  <a:pos x="6" y="0"/>
                </a:cxn>
                <a:cxn ang="0">
                  <a:pos x="6" y="2"/>
                </a:cxn>
                <a:cxn ang="0">
                  <a:pos x="6" y="3"/>
                </a:cxn>
                <a:cxn ang="0">
                  <a:pos x="7" y="6"/>
                </a:cxn>
                <a:cxn ang="0">
                  <a:pos x="3" y="8"/>
                </a:cxn>
                <a:cxn ang="0">
                  <a:pos x="1" y="8"/>
                </a:cxn>
                <a:cxn ang="0">
                  <a:pos x="0" y="6"/>
                </a:cxn>
                <a:cxn ang="0">
                  <a:pos x="0" y="5"/>
                </a:cxn>
                <a:cxn ang="0">
                  <a:pos x="1" y="6"/>
                </a:cxn>
                <a:cxn ang="0">
                  <a:pos x="3" y="5"/>
                </a:cxn>
                <a:cxn ang="0">
                  <a:pos x="1" y="3"/>
                </a:cxn>
                <a:cxn ang="0">
                  <a:pos x="1" y="2"/>
                </a:cxn>
                <a:cxn ang="0">
                  <a:pos x="1" y="0"/>
                </a:cxn>
                <a:cxn ang="0">
                  <a:pos x="3" y="0"/>
                </a:cxn>
                <a:cxn ang="0">
                  <a:pos x="4" y="0"/>
                </a:cxn>
                <a:cxn ang="0">
                  <a:pos x="6" y="0"/>
                </a:cxn>
                <a:cxn ang="0">
                  <a:pos x="6" y="0"/>
                </a:cxn>
              </a:cxnLst>
              <a:rect l="0" t="0" r="r" b="b"/>
              <a:pathLst>
                <a:path w="7" h="8">
                  <a:moveTo>
                    <a:pt x="6" y="0"/>
                  </a:moveTo>
                  <a:lnTo>
                    <a:pt x="6" y="2"/>
                  </a:lnTo>
                  <a:lnTo>
                    <a:pt x="6" y="3"/>
                  </a:lnTo>
                  <a:lnTo>
                    <a:pt x="7" y="6"/>
                  </a:lnTo>
                  <a:lnTo>
                    <a:pt x="3" y="8"/>
                  </a:lnTo>
                  <a:lnTo>
                    <a:pt x="1" y="8"/>
                  </a:lnTo>
                  <a:lnTo>
                    <a:pt x="0" y="6"/>
                  </a:lnTo>
                  <a:lnTo>
                    <a:pt x="0" y="5"/>
                  </a:lnTo>
                  <a:lnTo>
                    <a:pt x="1" y="6"/>
                  </a:lnTo>
                  <a:lnTo>
                    <a:pt x="3" y="5"/>
                  </a:lnTo>
                  <a:lnTo>
                    <a:pt x="1" y="3"/>
                  </a:lnTo>
                  <a:lnTo>
                    <a:pt x="1" y="2"/>
                  </a:lnTo>
                  <a:lnTo>
                    <a:pt x="1" y="0"/>
                  </a:lnTo>
                  <a:lnTo>
                    <a:pt x="3" y="0"/>
                  </a:lnTo>
                  <a:lnTo>
                    <a:pt x="4" y="0"/>
                  </a:lnTo>
                  <a:lnTo>
                    <a:pt x="6" y="0"/>
                  </a:lnTo>
                  <a:lnTo>
                    <a:pt x="6"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77" name="Freeform 1253"/>
            <p:cNvSpPr>
              <a:spLocks/>
            </p:cNvSpPr>
            <p:nvPr/>
          </p:nvSpPr>
          <p:spPr bwMode="auto">
            <a:xfrm>
              <a:off x="5091942" y="2933877"/>
              <a:ext cx="13167" cy="9127"/>
            </a:xfrm>
            <a:custGeom>
              <a:avLst/>
              <a:gdLst/>
              <a:ahLst/>
              <a:cxnLst>
                <a:cxn ang="0">
                  <a:pos x="10" y="4"/>
                </a:cxn>
                <a:cxn ang="0">
                  <a:pos x="13" y="6"/>
                </a:cxn>
                <a:cxn ang="0">
                  <a:pos x="14" y="7"/>
                </a:cxn>
                <a:cxn ang="0">
                  <a:pos x="14" y="9"/>
                </a:cxn>
                <a:cxn ang="0">
                  <a:pos x="11" y="9"/>
                </a:cxn>
                <a:cxn ang="0">
                  <a:pos x="8" y="7"/>
                </a:cxn>
                <a:cxn ang="0">
                  <a:pos x="7" y="4"/>
                </a:cxn>
                <a:cxn ang="0">
                  <a:pos x="6" y="3"/>
                </a:cxn>
                <a:cxn ang="0">
                  <a:pos x="3" y="3"/>
                </a:cxn>
                <a:cxn ang="0">
                  <a:pos x="0" y="2"/>
                </a:cxn>
                <a:cxn ang="0">
                  <a:pos x="0" y="2"/>
                </a:cxn>
                <a:cxn ang="0">
                  <a:pos x="0" y="0"/>
                </a:cxn>
                <a:cxn ang="0">
                  <a:pos x="4" y="0"/>
                </a:cxn>
                <a:cxn ang="0">
                  <a:pos x="10" y="4"/>
                </a:cxn>
              </a:cxnLst>
              <a:rect l="0" t="0" r="r" b="b"/>
              <a:pathLst>
                <a:path w="14" h="9">
                  <a:moveTo>
                    <a:pt x="10" y="4"/>
                  </a:moveTo>
                  <a:lnTo>
                    <a:pt x="13" y="6"/>
                  </a:lnTo>
                  <a:lnTo>
                    <a:pt x="14" y="7"/>
                  </a:lnTo>
                  <a:lnTo>
                    <a:pt x="14" y="9"/>
                  </a:lnTo>
                  <a:lnTo>
                    <a:pt x="11" y="9"/>
                  </a:lnTo>
                  <a:lnTo>
                    <a:pt x="8" y="7"/>
                  </a:lnTo>
                  <a:lnTo>
                    <a:pt x="7" y="4"/>
                  </a:lnTo>
                  <a:lnTo>
                    <a:pt x="6" y="3"/>
                  </a:lnTo>
                  <a:lnTo>
                    <a:pt x="3" y="3"/>
                  </a:lnTo>
                  <a:lnTo>
                    <a:pt x="0" y="2"/>
                  </a:lnTo>
                  <a:lnTo>
                    <a:pt x="0" y="2"/>
                  </a:lnTo>
                  <a:lnTo>
                    <a:pt x="0" y="0"/>
                  </a:lnTo>
                  <a:lnTo>
                    <a:pt x="4" y="0"/>
                  </a:lnTo>
                  <a:lnTo>
                    <a:pt x="10"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78" name="Freeform 1254"/>
            <p:cNvSpPr>
              <a:spLocks/>
            </p:cNvSpPr>
            <p:nvPr/>
          </p:nvSpPr>
          <p:spPr bwMode="auto">
            <a:xfrm>
              <a:off x="5091942" y="2933877"/>
              <a:ext cx="13167" cy="9127"/>
            </a:xfrm>
            <a:custGeom>
              <a:avLst/>
              <a:gdLst/>
              <a:ahLst/>
              <a:cxnLst>
                <a:cxn ang="0">
                  <a:pos x="10" y="4"/>
                </a:cxn>
                <a:cxn ang="0">
                  <a:pos x="13" y="6"/>
                </a:cxn>
                <a:cxn ang="0">
                  <a:pos x="14" y="7"/>
                </a:cxn>
                <a:cxn ang="0">
                  <a:pos x="14" y="9"/>
                </a:cxn>
                <a:cxn ang="0">
                  <a:pos x="11" y="9"/>
                </a:cxn>
                <a:cxn ang="0">
                  <a:pos x="8" y="7"/>
                </a:cxn>
                <a:cxn ang="0">
                  <a:pos x="7" y="4"/>
                </a:cxn>
                <a:cxn ang="0">
                  <a:pos x="6" y="3"/>
                </a:cxn>
                <a:cxn ang="0">
                  <a:pos x="3" y="3"/>
                </a:cxn>
                <a:cxn ang="0">
                  <a:pos x="0" y="2"/>
                </a:cxn>
                <a:cxn ang="0">
                  <a:pos x="0" y="2"/>
                </a:cxn>
                <a:cxn ang="0">
                  <a:pos x="0" y="0"/>
                </a:cxn>
                <a:cxn ang="0">
                  <a:pos x="4" y="0"/>
                </a:cxn>
                <a:cxn ang="0">
                  <a:pos x="10" y="4"/>
                </a:cxn>
              </a:cxnLst>
              <a:rect l="0" t="0" r="r" b="b"/>
              <a:pathLst>
                <a:path w="14" h="9">
                  <a:moveTo>
                    <a:pt x="10" y="4"/>
                  </a:moveTo>
                  <a:lnTo>
                    <a:pt x="13" y="6"/>
                  </a:lnTo>
                  <a:lnTo>
                    <a:pt x="14" y="7"/>
                  </a:lnTo>
                  <a:lnTo>
                    <a:pt x="14" y="9"/>
                  </a:lnTo>
                  <a:lnTo>
                    <a:pt x="11" y="9"/>
                  </a:lnTo>
                  <a:lnTo>
                    <a:pt x="8" y="7"/>
                  </a:lnTo>
                  <a:lnTo>
                    <a:pt x="7" y="4"/>
                  </a:lnTo>
                  <a:lnTo>
                    <a:pt x="6" y="3"/>
                  </a:lnTo>
                  <a:lnTo>
                    <a:pt x="3" y="3"/>
                  </a:lnTo>
                  <a:lnTo>
                    <a:pt x="0" y="2"/>
                  </a:lnTo>
                  <a:lnTo>
                    <a:pt x="0" y="2"/>
                  </a:lnTo>
                  <a:lnTo>
                    <a:pt x="0" y="0"/>
                  </a:lnTo>
                  <a:lnTo>
                    <a:pt x="4" y="0"/>
                  </a:lnTo>
                  <a:lnTo>
                    <a:pt x="10"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79" name="Freeform 1255"/>
            <p:cNvSpPr>
              <a:spLocks/>
            </p:cNvSpPr>
            <p:nvPr/>
          </p:nvSpPr>
          <p:spPr bwMode="auto">
            <a:xfrm>
              <a:off x="5275403" y="4244136"/>
              <a:ext cx="12289" cy="5071"/>
            </a:xfrm>
            <a:custGeom>
              <a:avLst/>
              <a:gdLst/>
              <a:ahLst/>
              <a:cxnLst>
                <a:cxn ang="0">
                  <a:pos x="3" y="1"/>
                </a:cxn>
                <a:cxn ang="0">
                  <a:pos x="6" y="1"/>
                </a:cxn>
                <a:cxn ang="0">
                  <a:pos x="10" y="1"/>
                </a:cxn>
                <a:cxn ang="0">
                  <a:pos x="13" y="0"/>
                </a:cxn>
                <a:cxn ang="0">
                  <a:pos x="13" y="1"/>
                </a:cxn>
                <a:cxn ang="0">
                  <a:pos x="13" y="2"/>
                </a:cxn>
                <a:cxn ang="0">
                  <a:pos x="12" y="2"/>
                </a:cxn>
                <a:cxn ang="0">
                  <a:pos x="10" y="2"/>
                </a:cxn>
                <a:cxn ang="0">
                  <a:pos x="7" y="2"/>
                </a:cxn>
                <a:cxn ang="0">
                  <a:pos x="7" y="4"/>
                </a:cxn>
                <a:cxn ang="0">
                  <a:pos x="6" y="4"/>
                </a:cxn>
                <a:cxn ang="0">
                  <a:pos x="3" y="5"/>
                </a:cxn>
                <a:cxn ang="0">
                  <a:pos x="0" y="4"/>
                </a:cxn>
                <a:cxn ang="0">
                  <a:pos x="2" y="2"/>
                </a:cxn>
                <a:cxn ang="0">
                  <a:pos x="2" y="1"/>
                </a:cxn>
                <a:cxn ang="0">
                  <a:pos x="3" y="1"/>
                </a:cxn>
              </a:cxnLst>
              <a:rect l="0" t="0" r="r" b="b"/>
              <a:pathLst>
                <a:path w="13" h="5">
                  <a:moveTo>
                    <a:pt x="3" y="1"/>
                  </a:moveTo>
                  <a:lnTo>
                    <a:pt x="6" y="1"/>
                  </a:lnTo>
                  <a:lnTo>
                    <a:pt x="10" y="1"/>
                  </a:lnTo>
                  <a:lnTo>
                    <a:pt x="13" y="0"/>
                  </a:lnTo>
                  <a:lnTo>
                    <a:pt x="13" y="1"/>
                  </a:lnTo>
                  <a:lnTo>
                    <a:pt x="13" y="2"/>
                  </a:lnTo>
                  <a:lnTo>
                    <a:pt x="12" y="2"/>
                  </a:lnTo>
                  <a:lnTo>
                    <a:pt x="10" y="2"/>
                  </a:lnTo>
                  <a:lnTo>
                    <a:pt x="7" y="2"/>
                  </a:lnTo>
                  <a:lnTo>
                    <a:pt x="7" y="4"/>
                  </a:lnTo>
                  <a:lnTo>
                    <a:pt x="6" y="4"/>
                  </a:lnTo>
                  <a:lnTo>
                    <a:pt x="3" y="5"/>
                  </a:lnTo>
                  <a:lnTo>
                    <a:pt x="0" y="4"/>
                  </a:lnTo>
                  <a:lnTo>
                    <a:pt x="2" y="2"/>
                  </a:lnTo>
                  <a:lnTo>
                    <a:pt x="2" y="1"/>
                  </a:lnTo>
                  <a:lnTo>
                    <a:pt x="3"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80" name="Freeform 1256"/>
            <p:cNvSpPr>
              <a:spLocks/>
            </p:cNvSpPr>
            <p:nvPr/>
          </p:nvSpPr>
          <p:spPr bwMode="auto">
            <a:xfrm>
              <a:off x="5275403" y="4244136"/>
              <a:ext cx="12289" cy="5071"/>
            </a:xfrm>
            <a:custGeom>
              <a:avLst/>
              <a:gdLst/>
              <a:ahLst/>
              <a:cxnLst>
                <a:cxn ang="0">
                  <a:pos x="3" y="1"/>
                </a:cxn>
                <a:cxn ang="0">
                  <a:pos x="6" y="1"/>
                </a:cxn>
                <a:cxn ang="0">
                  <a:pos x="10" y="1"/>
                </a:cxn>
                <a:cxn ang="0">
                  <a:pos x="13" y="0"/>
                </a:cxn>
                <a:cxn ang="0">
                  <a:pos x="13" y="1"/>
                </a:cxn>
                <a:cxn ang="0">
                  <a:pos x="13" y="2"/>
                </a:cxn>
                <a:cxn ang="0">
                  <a:pos x="12" y="2"/>
                </a:cxn>
                <a:cxn ang="0">
                  <a:pos x="10" y="2"/>
                </a:cxn>
                <a:cxn ang="0">
                  <a:pos x="7" y="2"/>
                </a:cxn>
                <a:cxn ang="0">
                  <a:pos x="7" y="4"/>
                </a:cxn>
                <a:cxn ang="0">
                  <a:pos x="6" y="4"/>
                </a:cxn>
                <a:cxn ang="0">
                  <a:pos x="3" y="5"/>
                </a:cxn>
                <a:cxn ang="0">
                  <a:pos x="0" y="4"/>
                </a:cxn>
                <a:cxn ang="0">
                  <a:pos x="2" y="2"/>
                </a:cxn>
                <a:cxn ang="0">
                  <a:pos x="2" y="1"/>
                </a:cxn>
                <a:cxn ang="0">
                  <a:pos x="3" y="1"/>
                </a:cxn>
              </a:cxnLst>
              <a:rect l="0" t="0" r="r" b="b"/>
              <a:pathLst>
                <a:path w="13" h="5">
                  <a:moveTo>
                    <a:pt x="3" y="1"/>
                  </a:moveTo>
                  <a:lnTo>
                    <a:pt x="6" y="1"/>
                  </a:lnTo>
                  <a:lnTo>
                    <a:pt x="10" y="1"/>
                  </a:lnTo>
                  <a:lnTo>
                    <a:pt x="13" y="0"/>
                  </a:lnTo>
                  <a:lnTo>
                    <a:pt x="13" y="1"/>
                  </a:lnTo>
                  <a:lnTo>
                    <a:pt x="13" y="2"/>
                  </a:lnTo>
                  <a:lnTo>
                    <a:pt x="12" y="2"/>
                  </a:lnTo>
                  <a:lnTo>
                    <a:pt x="10" y="2"/>
                  </a:lnTo>
                  <a:lnTo>
                    <a:pt x="7" y="2"/>
                  </a:lnTo>
                  <a:lnTo>
                    <a:pt x="7" y="4"/>
                  </a:lnTo>
                  <a:lnTo>
                    <a:pt x="6" y="4"/>
                  </a:lnTo>
                  <a:lnTo>
                    <a:pt x="3" y="5"/>
                  </a:lnTo>
                  <a:lnTo>
                    <a:pt x="0" y="4"/>
                  </a:lnTo>
                  <a:lnTo>
                    <a:pt x="2" y="2"/>
                  </a:lnTo>
                  <a:lnTo>
                    <a:pt x="2" y="1"/>
                  </a:lnTo>
                  <a:lnTo>
                    <a:pt x="3"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81" name="Freeform 1257"/>
            <p:cNvSpPr>
              <a:spLocks/>
            </p:cNvSpPr>
            <p:nvPr/>
          </p:nvSpPr>
          <p:spPr bwMode="auto">
            <a:xfrm>
              <a:off x="6663205" y="3023121"/>
              <a:ext cx="2634" cy="3042"/>
            </a:xfrm>
            <a:custGeom>
              <a:avLst/>
              <a:gdLst/>
              <a:ahLst/>
              <a:cxnLst>
                <a:cxn ang="0">
                  <a:pos x="1" y="3"/>
                </a:cxn>
                <a:cxn ang="0">
                  <a:pos x="3" y="3"/>
                </a:cxn>
                <a:cxn ang="0">
                  <a:pos x="3" y="3"/>
                </a:cxn>
                <a:cxn ang="0">
                  <a:pos x="1" y="1"/>
                </a:cxn>
                <a:cxn ang="0">
                  <a:pos x="0" y="0"/>
                </a:cxn>
                <a:cxn ang="0">
                  <a:pos x="0" y="0"/>
                </a:cxn>
                <a:cxn ang="0">
                  <a:pos x="0" y="1"/>
                </a:cxn>
                <a:cxn ang="0">
                  <a:pos x="1" y="3"/>
                </a:cxn>
                <a:cxn ang="0">
                  <a:pos x="1" y="3"/>
                </a:cxn>
              </a:cxnLst>
              <a:rect l="0" t="0" r="r" b="b"/>
              <a:pathLst>
                <a:path w="3" h="3">
                  <a:moveTo>
                    <a:pt x="1" y="3"/>
                  </a:moveTo>
                  <a:lnTo>
                    <a:pt x="3" y="3"/>
                  </a:lnTo>
                  <a:lnTo>
                    <a:pt x="3" y="3"/>
                  </a:lnTo>
                  <a:lnTo>
                    <a:pt x="1" y="1"/>
                  </a:lnTo>
                  <a:lnTo>
                    <a:pt x="0" y="0"/>
                  </a:lnTo>
                  <a:lnTo>
                    <a:pt x="0" y="0"/>
                  </a:lnTo>
                  <a:lnTo>
                    <a:pt x="0" y="1"/>
                  </a:lnTo>
                  <a:lnTo>
                    <a:pt x="1" y="3"/>
                  </a:lnTo>
                  <a:lnTo>
                    <a:pt x="1"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82" name="Freeform 1258"/>
            <p:cNvSpPr>
              <a:spLocks/>
            </p:cNvSpPr>
            <p:nvPr/>
          </p:nvSpPr>
          <p:spPr bwMode="auto">
            <a:xfrm>
              <a:off x="6663205" y="3023121"/>
              <a:ext cx="2634" cy="3042"/>
            </a:xfrm>
            <a:custGeom>
              <a:avLst/>
              <a:gdLst/>
              <a:ahLst/>
              <a:cxnLst>
                <a:cxn ang="0">
                  <a:pos x="1" y="3"/>
                </a:cxn>
                <a:cxn ang="0">
                  <a:pos x="3" y="3"/>
                </a:cxn>
                <a:cxn ang="0">
                  <a:pos x="3" y="3"/>
                </a:cxn>
                <a:cxn ang="0">
                  <a:pos x="1" y="1"/>
                </a:cxn>
                <a:cxn ang="0">
                  <a:pos x="0" y="0"/>
                </a:cxn>
                <a:cxn ang="0">
                  <a:pos x="0" y="0"/>
                </a:cxn>
                <a:cxn ang="0">
                  <a:pos x="0" y="1"/>
                </a:cxn>
                <a:cxn ang="0">
                  <a:pos x="1" y="3"/>
                </a:cxn>
                <a:cxn ang="0">
                  <a:pos x="1" y="3"/>
                </a:cxn>
              </a:cxnLst>
              <a:rect l="0" t="0" r="r" b="b"/>
              <a:pathLst>
                <a:path w="3" h="3">
                  <a:moveTo>
                    <a:pt x="1" y="3"/>
                  </a:moveTo>
                  <a:lnTo>
                    <a:pt x="3" y="3"/>
                  </a:lnTo>
                  <a:lnTo>
                    <a:pt x="3" y="3"/>
                  </a:lnTo>
                  <a:lnTo>
                    <a:pt x="1" y="1"/>
                  </a:lnTo>
                  <a:lnTo>
                    <a:pt x="0" y="0"/>
                  </a:lnTo>
                  <a:lnTo>
                    <a:pt x="0" y="0"/>
                  </a:lnTo>
                  <a:lnTo>
                    <a:pt x="0" y="1"/>
                  </a:lnTo>
                  <a:lnTo>
                    <a:pt x="1" y="3"/>
                  </a:lnTo>
                  <a:lnTo>
                    <a:pt x="1"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83" name="Freeform 1259"/>
            <p:cNvSpPr>
              <a:spLocks/>
            </p:cNvSpPr>
            <p:nvPr/>
          </p:nvSpPr>
          <p:spPr bwMode="auto">
            <a:xfrm>
              <a:off x="6664083" y="3021093"/>
              <a:ext cx="1756" cy="3042"/>
            </a:xfrm>
            <a:custGeom>
              <a:avLst/>
              <a:gdLst/>
              <a:ahLst/>
              <a:cxnLst>
                <a:cxn ang="0">
                  <a:pos x="0" y="0"/>
                </a:cxn>
                <a:cxn ang="0">
                  <a:pos x="0" y="0"/>
                </a:cxn>
                <a:cxn ang="0">
                  <a:pos x="0" y="2"/>
                </a:cxn>
                <a:cxn ang="0">
                  <a:pos x="0" y="2"/>
                </a:cxn>
                <a:cxn ang="0">
                  <a:pos x="0" y="3"/>
                </a:cxn>
                <a:cxn ang="0">
                  <a:pos x="2" y="3"/>
                </a:cxn>
                <a:cxn ang="0">
                  <a:pos x="2" y="3"/>
                </a:cxn>
                <a:cxn ang="0">
                  <a:pos x="2" y="3"/>
                </a:cxn>
                <a:cxn ang="0">
                  <a:pos x="2" y="2"/>
                </a:cxn>
                <a:cxn ang="0">
                  <a:pos x="0" y="2"/>
                </a:cxn>
                <a:cxn ang="0">
                  <a:pos x="0" y="0"/>
                </a:cxn>
              </a:cxnLst>
              <a:rect l="0" t="0" r="r" b="b"/>
              <a:pathLst>
                <a:path w="2" h="3">
                  <a:moveTo>
                    <a:pt x="0" y="0"/>
                  </a:moveTo>
                  <a:lnTo>
                    <a:pt x="0" y="0"/>
                  </a:lnTo>
                  <a:lnTo>
                    <a:pt x="0" y="2"/>
                  </a:lnTo>
                  <a:lnTo>
                    <a:pt x="0" y="2"/>
                  </a:lnTo>
                  <a:lnTo>
                    <a:pt x="0" y="3"/>
                  </a:lnTo>
                  <a:lnTo>
                    <a:pt x="2" y="3"/>
                  </a:lnTo>
                  <a:lnTo>
                    <a:pt x="2" y="3"/>
                  </a:lnTo>
                  <a:lnTo>
                    <a:pt x="2" y="3"/>
                  </a:lnTo>
                  <a:lnTo>
                    <a:pt x="2" y="2"/>
                  </a:lnTo>
                  <a:lnTo>
                    <a:pt x="0" y="2"/>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84" name="Freeform 1260"/>
            <p:cNvSpPr>
              <a:spLocks/>
            </p:cNvSpPr>
            <p:nvPr/>
          </p:nvSpPr>
          <p:spPr bwMode="auto">
            <a:xfrm>
              <a:off x="6664083" y="3021093"/>
              <a:ext cx="1756" cy="3042"/>
            </a:xfrm>
            <a:custGeom>
              <a:avLst/>
              <a:gdLst/>
              <a:ahLst/>
              <a:cxnLst>
                <a:cxn ang="0">
                  <a:pos x="0" y="0"/>
                </a:cxn>
                <a:cxn ang="0">
                  <a:pos x="0" y="0"/>
                </a:cxn>
                <a:cxn ang="0">
                  <a:pos x="0" y="2"/>
                </a:cxn>
                <a:cxn ang="0">
                  <a:pos x="0" y="2"/>
                </a:cxn>
                <a:cxn ang="0">
                  <a:pos x="0" y="3"/>
                </a:cxn>
                <a:cxn ang="0">
                  <a:pos x="2" y="3"/>
                </a:cxn>
                <a:cxn ang="0">
                  <a:pos x="2" y="3"/>
                </a:cxn>
                <a:cxn ang="0">
                  <a:pos x="2" y="3"/>
                </a:cxn>
                <a:cxn ang="0">
                  <a:pos x="2" y="2"/>
                </a:cxn>
                <a:cxn ang="0">
                  <a:pos x="0" y="2"/>
                </a:cxn>
                <a:cxn ang="0">
                  <a:pos x="0" y="0"/>
                </a:cxn>
              </a:cxnLst>
              <a:rect l="0" t="0" r="r" b="b"/>
              <a:pathLst>
                <a:path w="2" h="3">
                  <a:moveTo>
                    <a:pt x="0" y="0"/>
                  </a:moveTo>
                  <a:lnTo>
                    <a:pt x="0" y="0"/>
                  </a:lnTo>
                  <a:lnTo>
                    <a:pt x="0" y="2"/>
                  </a:lnTo>
                  <a:lnTo>
                    <a:pt x="0" y="2"/>
                  </a:lnTo>
                  <a:lnTo>
                    <a:pt x="0" y="3"/>
                  </a:lnTo>
                  <a:lnTo>
                    <a:pt x="2" y="3"/>
                  </a:lnTo>
                  <a:lnTo>
                    <a:pt x="2" y="3"/>
                  </a:lnTo>
                  <a:lnTo>
                    <a:pt x="2" y="3"/>
                  </a:lnTo>
                  <a:lnTo>
                    <a:pt x="2" y="2"/>
                  </a:lnTo>
                  <a:lnTo>
                    <a:pt x="0" y="2"/>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85" name="Freeform 1261"/>
            <p:cNvSpPr>
              <a:spLocks/>
            </p:cNvSpPr>
            <p:nvPr/>
          </p:nvSpPr>
          <p:spPr bwMode="auto">
            <a:xfrm>
              <a:off x="6665840" y="3024134"/>
              <a:ext cx="2633" cy="2029"/>
            </a:xfrm>
            <a:custGeom>
              <a:avLst/>
              <a:gdLst/>
              <a:ahLst/>
              <a:cxnLst>
                <a:cxn ang="0">
                  <a:pos x="1" y="2"/>
                </a:cxn>
                <a:cxn ang="0">
                  <a:pos x="3" y="2"/>
                </a:cxn>
                <a:cxn ang="0">
                  <a:pos x="1" y="0"/>
                </a:cxn>
                <a:cxn ang="0">
                  <a:pos x="1" y="0"/>
                </a:cxn>
                <a:cxn ang="0">
                  <a:pos x="1" y="0"/>
                </a:cxn>
                <a:cxn ang="0">
                  <a:pos x="0" y="2"/>
                </a:cxn>
                <a:cxn ang="0">
                  <a:pos x="1" y="2"/>
                </a:cxn>
                <a:cxn ang="0">
                  <a:pos x="1" y="2"/>
                </a:cxn>
                <a:cxn ang="0">
                  <a:pos x="1" y="2"/>
                </a:cxn>
              </a:cxnLst>
              <a:rect l="0" t="0" r="r" b="b"/>
              <a:pathLst>
                <a:path w="3" h="2">
                  <a:moveTo>
                    <a:pt x="1" y="2"/>
                  </a:moveTo>
                  <a:lnTo>
                    <a:pt x="3" y="2"/>
                  </a:lnTo>
                  <a:lnTo>
                    <a:pt x="1" y="0"/>
                  </a:lnTo>
                  <a:lnTo>
                    <a:pt x="1" y="0"/>
                  </a:lnTo>
                  <a:lnTo>
                    <a:pt x="1" y="0"/>
                  </a:lnTo>
                  <a:lnTo>
                    <a:pt x="0" y="2"/>
                  </a:lnTo>
                  <a:lnTo>
                    <a:pt x="1" y="2"/>
                  </a:lnTo>
                  <a:lnTo>
                    <a:pt x="1" y="2"/>
                  </a:lnTo>
                  <a:lnTo>
                    <a:pt x="1"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86" name="Freeform 1262"/>
            <p:cNvSpPr>
              <a:spLocks/>
            </p:cNvSpPr>
            <p:nvPr/>
          </p:nvSpPr>
          <p:spPr bwMode="auto">
            <a:xfrm>
              <a:off x="6665840" y="3024134"/>
              <a:ext cx="2633" cy="2029"/>
            </a:xfrm>
            <a:custGeom>
              <a:avLst/>
              <a:gdLst/>
              <a:ahLst/>
              <a:cxnLst>
                <a:cxn ang="0">
                  <a:pos x="1" y="2"/>
                </a:cxn>
                <a:cxn ang="0">
                  <a:pos x="3" y="2"/>
                </a:cxn>
                <a:cxn ang="0">
                  <a:pos x="1" y="0"/>
                </a:cxn>
                <a:cxn ang="0">
                  <a:pos x="1" y="0"/>
                </a:cxn>
                <a:cxn ang="0">
                  <a:pos x="1" y="0"/>
                </a:cxn>
                <a:cxn ang="0">
                  <a:pos x="0" y="2"/>
                </a:cxn>
                <a:cxn ang="0">
                  <a:pos x="1" y="2"/>
                </a:cxn>
                <a:cxn ang="0">
                  <a:pos x="1" y="2"/>
                </a:cxn>
                <a:cxn ang="0">
                  <a:pos x="1" y="2"/>
                </a:cxn>
              </a:cxnLst>
              <a:rect l="0" t="0" r="r" b="b"/>
              <a:pathLst>
                <a:path w="3" h="2">
                  <a:moveTo>
                    <a:pt x="1" y="2"/>
                  </a:moveTo>
                  <a:lnTo>
                    <a:pt x="3" y="2"/>
                  </a:lnTo>
                  <a:lnTo>
                    <a:pt x="1" y="0"/>
                  </a:lnTo>
                  <a:lnTo>
                    <a:pt x="1" y="0"/>
                  </a:lnTo>
                  <a:lnTo>
                    <a:pt x="1" y="0"/>
                  </a:lnTo>
                  <a:lnTo>
                    <a:pt x="0" y="2"/>
                  </a:lnTo>
                  <a:lnTo>
                    <a:pt x="1" y="2"/>
                  </a:lnTo>
                  <a:lnTo>
                    <a:pt x="1" y="2"/>
                  </a:lnTo>
                  <a:lnTo>
                    <a:pt x="1"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87" name="Freeform 1263"/>
            <p:cNvSpPr>
              <a:spLocks/>
            </p:cNvSpPr>
            <p:nvPr/>
          </p:nvSpPr>
          <p:spPr bwMode="auto">
            <a:xfrm>
              <a:off x="7300488" y="2929821"/>
              <a:ext cx="2634" cy="8113"/>
            </a:xfrm>
            <a:custGeom>
              <a:avLst/>
              <a:gdLst/>
              <a:ahLst/>
              <a:cxnLst>
                <a:cxn ang="0">
                  <a:pos x="0" y="2"/>
                </a:cxn>
                <a:cxn ang="0">
                  <a:pos x="0" y="7"/>
                </a:cxn>
                <a:cxn ang="0">
                  <a:pos x="3" y="7"/>
                </a:cxn>
                <a:cxn ang="0">
                  <a:pos x="3" y="6"/>
                </a:cxn>
                <a:cxn ang="0">
                  <a:pos x="3" y="3"/>
                </a:cxn>
                <a:cxn ang="0">
                  <a:pos x="3" y="0"/>
                </a:cxn>
                <a:cxn ang="0">
                  <a:pos x="2" y="0"/>
                </a:cxn>
                <a:cxn ang="0">
                  <a:pos x="0" y="2"/>
                </a:cxn>
              </a:cxnLst>
              <a:rect l="0" t="0" r="r" b="b"/>
              <a:pathLst>
                <a:path w="3" h="7">
                  <a:moveTo>
                    <a:pt x="0" y="2"/>
                  </a:moveTo>
                  <a:lnTo>
                    <a:pt x="0" y="7"/>
                  </a:lnTo>
                  <a:lnTo>
                    <a:pt x="3" y="7"/>
                  </a:lnTo>
                  <a:lnTo>
                    <a:pt x="3" y="6"/>
                  </a:lnTo>
                  <a:lnTo>
                    <a:pt x="3" y="3"/>
                  </a:lnTo>
                  <a:lnTo>
                    <a:pt x="3" y="0"/>
                  </a:lnTo>
                  <a:lnTo>
                    <a:pt x="2" y="0"/>
                  </a:lnTo>
                  <a:lnTo>
                    <a:pt x="0"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88" name="Freeform 1264"/>
            <p:cNvSpPr>
              <a:spLocks/>
            </p:cNvSpPr>
            <p:nvPr/>
          </p:nvSpPr>
          <p:spPr bwMode="auto">
            <a:xfrm>
              <a:off x="7300488" y="2929821"/>
              <a:ext cx="2634" cy="8113"/>
            </a:xfrm>
            <a:custGeom>
              <a:avLst/>
              <a:gdLst/>
              <a:ahLst/>
              <a:cxnLst>
                <a:cxn ang="0">
                  <a:pos x="0" y="2"/>
                </a:cxn>
                <a:cxn ang="0">
                  <a:pos x="0" y="7"/>
                </a:cxn>
                <a:cxn ang="0">
                  <a:pos x="3" y="7"/>
                </a:cxn>
                <a:cxn ang="0">
                  <a:pos x="3" y="6"/>
                </a:cxn>
                <a:cxn ang="0">
                  <a:pos x="3" y="3"/>
                </a:cxn>
                <a:cxn ang="0">
                  <a:pos x="3" y="0"/>
                </a:cxn>
                <a:cxn ang="0">
                  <a:pos x="2" y="0"/>
                </a:cxn>
                <a:cxn ang="0">
                  <a:pos x="0" y="2"/>
                </a:cxn>
              </a:cxnLst>
              <a:rect l="0" t="0" r="r" b="b"/>
              <a:pathLst>
                <a:path w="3" h="7">
                  <a:moveTo>
                    <a:pt x="0" y="2"/>
                  </a:moveTo>
                  <a:lnTo>
                    <a:pt x="0" y="7"/>
                  </a:lnTo>
                  <a:lnTo>
                    <a:pt x="3" y="7"/>
                  </a:lnTo>
                  <a:lnTo>
                    <a:pt x="3" y="6"/>
                  </a:lnTo>
                  <a:lnTo>
                    <a:pt x="3" y="3"/>
                  </a:lnTo>
                  <a:lnTo>
                    <a:pt x="3" y="0"/>
                  </a:lnTo>
                  <a:lnTo>
                    <a:pt x="2" y="0"/>
                  </a:lnTo>
                  <a:lnTo>
                    <a:pt x="0"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89" name="Freeform 1265"/>
            <p:cNvSpPr>
              <a:spLocks/>
            </p:cNvSpPr>
            <p:nvPr/>
          </p:nvSpPr>
          <p:spPr bwMode="auto">
            <a:xfrm>
              <a:off x="8257291" y="3579879"/>
              <a:ext cx="38623" cy="34481"/>
            </a:xfrm>
            <a:custGeom>
              <a:avLst/>
              <a:gdLst/>
              <a:ahLst/>
              <a:cxnLst>
                <a:cxn ang="0">
                  <a:pos x="16" y="17"/>
                </a:cxn>
                <a:cxn ang="0">
                  <a:pos x="10" y="14"/>
                </a:cxn>
                <a:cxn ang="0">
                  <a:pos x="7" y="10"/>
                </a:cxn>
                <a:cxn ang="0">
                  <a:pos x="6" y="10"/>
                </a:cxn>
                <a:cxn ang="0">
                  <a:pos x="4" y="5"/>
                </a:cxn>
                <a:cxn ang="0">
                  <a:pos x="1" y="4"/>
                </a:cxn>
                <a:cxn ang="0">
                  <a:pos x="1" y="1"/>
                </a:cxn>
                <a:cxn ang="0">
                  <a:pos x="0" y="0"/>
                </a:cxn>
                <a:cxn ang="0">
                  <a:pos x="3" y="0"/>
                </a:cxn>
                <a:cxn ang="0">
                  <a:pos x="4" y="1"/>
                </a:cxn>
                <a:cxn ang="0">
                  <a:pos x="6" y="0"/>
                </a:cxn>
                <a:cxn ang="0">
                  <a:pos x="9" y="3"/>
                </a:cxn>
                <a:cxn ang="0">
                  <a:pos x="12" y="4"/>
                </a:cxn>
                <a:cxn ang="0">
                  <a:pos x="12" y="5"/>
                </a:cxn>
                <a:cxn ang="0">
                  <a:pos x="13" y="5"/>
                </a:cxn>
                <a:cxn ang="0">
                  <a:pos x="16" y="7"/>
                </a:cxn>
                <a:cxn ang="0">
                  <a:pos x="17" y="10"/>
                </a:cxn>
                <a:cxn ang="0">
                  <a:pos x="19" y="11"/>
                </a:cxn>
                <a:cxn ang="0">
                  <a:pos x="20" y="14"/>
                </a:cxn>
                <a:cxn ang="0">
                  <a:pos x="22" y="14"/>
                </a:cxn>
                <a:cxn ang="0">
                  <a:pos x="22" y="16"/>
                </a:cxn>
                <a:cxn ang="0">
                  <a:pos x="23" y="17"/>
                </a:cxn>
                <a:cxn ang="0">
                  <a:pos x="25" y="19"/>
                </a:cxn>
                <a:cxn ang="0">
                  <a:pos x="26" y="19"/>
                </a:cxn>
                <a:cxn ang="0">
                  <a:pos x="28" y="20"/>
                </a:cxn>
                <a:cxn ang="0">
                  <a:pos x="29" y="20"/>
                </a:cxn>
                <a:cxn ang="0">
                  <a:pos x="32" y="21"/>
                </a:cxn>
                <a:cxn ang="0">
                  <a:pos x="38" y="26"/>
                </a:cxn>
                <a:cxn ang="0">
                  <a:pos x="38" y="27"/>
                </a:cxn>
                <a:cxn ang="0">
                  <a:pos x="39" y="27"/>
                </a:cxn>
                <a:cxn ang="0">
                  <a:pos x="42" y="29"/>
                </a:cxn>
                <a:cxn ang="0">
                  <a:pos x="42" y="32"/>
                </a:cxn>
                <a:cxn ang="0">
                  <a:pos x="42" y="32"/>
                </a:cxn>
                <a:cxn ang="0">
                  <a:pos x="41" y="32"/>
                </a:cxn>
                <a:cxn ang="0">
                  <a:pos x="41" y="33"/>
                </a:cxn>
                <a:cxn ang="0">
                  <a:pos x="39" y="33"/>
                </a:cxn>
                <a:cxn ang="0">
                  <a:pos x="39" y="32"/>
                </a:cxn>
                <a:cxn ang="0">
                  <a:pos x="38" y="32"/>
                </a:cxn>
                <a:cxn ang="0">
                  <a:pos x="36" y="30"/>
                </a:cxn>
                <a:cxn ang="0">
                  <a:pos x="35" y="30"/>
                </a:cxn>
                <a:cxn ang="0">
                  <a:pos x="33" y="29"/>
                </a:cxn>
                <a:cxn ang="0">
                  <a:pos x="30" y="29"/>
                </a:cxn>
                <a:cxn ang="0">
                  <a:pos x="30" y="29"/>
                </a:cxn>
                <a:cxn ang="0">
                  <a:pos x="30" y="26"/>
                </a:cxn>
                <a:cxn ang="0">
                  <a:pos x="29" y="26"/>
                </a:cxn>
                <a:cxn ang="0">
                  <a:pos x="28" y="26"/>
                </a:cxn>
                <a:cxn ang="0">
                  <a:pos x="26" y="26"/>
                </a:cxn>
                <a:cxn ang="0">
                  <a:pos x="26" y="24"/>
                </a:cxn>
                <a:cxn ang="0">
                  <a:pos x="25" y="24"/>
                </a:cxn>
                <a:cxn ang="0">
                  <a:pos x="25" y="24"/>
                </a:cxn>
                <a:cxn ang="0">
                  <a:pos x="23" y="23"/>
                </a:cxn>
                <a:cxn ang="0">
                  <a:pos x="20" y="21"/>
                </a:cxn>
                <a:cxn ang="0">
                  <a:pos x="19" y="21"/>
                </a:cxn>
                <a:cxn ang="0">
                  <a:pos x="17" y="21"/>
                </a:cxn>
                <a:cxn ang="0">
                  <a:pos x="17" y="19"/>
                </a:cxn>
                <a:cxn ang="0">
                  <a:pos x="16" y="17"/>
                </a:cxn>
              </a:cxnLst>
              <a:rect l="0" t="0" r="r" b="b"/>
              <a:pathLst>
                <a:path w="42" h="33">
                  <a:moveTo>
                    <a:pt x="16" y="17"/>
                  </a:moveTo>
                  <a:lnTo>
                    <a:pt x="10" y="14"/>
                  </a:lnTo>
                  <a:lnTo>
                    <a:pt x="7" y="10"/>
                  </a:lnTo>
                  <a:lnTo>
                    <a:pt x="6" y="10"/>
                  </a:lnTo>
                  <a:lnTo>
                    <a:pt x="4" y="5"/>
                  </a:lnTo>
                  <a:lnTo>
                    <a:pt x="1" y="4"/>
                  </a:lnTo>
                  <a:lnTo>
                    <a:pt x="1" y="1"/>
                  </a:lnTo>
                  <a:lnTo>
                    <a:pt x="0" y="0"/>
                  </a:lnTo>
                  <a:lnTo>
                    <a:pt x="3" y="0"/>
                  </a:lnTo>
                  <a:lnTo>
                    <a:pt x="4" y="1"/>
                  </a:lnTo>
                  <a:lnTo>
                    <a:pt x="6" y="0"/>
                  </a:lnTo>
                  <a:lnTo>
                    <a:pt x="9" y="3"/>
                  </a:lnTo>
                  <a:lnTo>
                    <a:pt x="12" y="4"/>
                  </a:lnTo>
                  <a:lnTo>
                    <a:pt x="12" y="5"/>
                  </a:lnTo>
                  <a:lnTo>
                    <a:pt x="13" y="5"/>
                  </a:lnTo>
                  <a:lnTo>
                    <a:pt x="16" y="7"/>
                  </a:lnTo>
                  <a:lnTo>
                    <a:pt x="17" y="10"/>
                  </a:lnTo>
                  <a:lnTo>
                    <a:pt x="19" y="11"/>
                  </a:lnTo>
                  <a:lnTo>
                    <a:pt x="20" y="14"/>
                  </a:lnTo>
                  <a:lnTo>
                    <a:pt x="22" y="14"/>
                  </a:lnTo>
                  <a:lnTo>
                    <a:pt x="22" y="16"/>
                  </a:lnTo>
                  <a:lnTo>
                    <a:pt x="23" y="17"/>
                  </a:lnTo>
                  <a:lnTo>
                    <a:pt x="25" y="19"/>
                  </a:lnTo>
                  <a:lnTo>
                    <a:pt x="26" y="19"/>
                  </a:lnTo>
                  <a:lnTo>
                    <a:pt x="28" y="20"/>
                  </a:lnTo>
                  <a:lnTo>
                    <a:pt x="29" y="20"/>
                  </a:lnTo>
                  <a:lnTo>
                    <a:pt x="32" y="21"/>
                  </a:lnTo>
                  <a:lnTo>
                    <a:pt x="38" y="26"/>
                  </a:lnTo>
                  <a:lnTo>
                    <a:pt x="38" y="27"/>
                  </a:lnTo>
                  <a:lnTo>
                    <a:pt x="39" y="27"/>
                  </a:lnTo>
                  <a:lnTo>
                    <a:pt x="42" y="29"/>
                  </a:lnTo>
                  <a:lnTo>
                    <a:pt x="42" y="32"/>
                  </a:lnTo>
                  <a:lnTo>
                    <a:pt x="42" y="32"/>
                  </a:lnTo>
                  <a:lnTo>
                    <a:pt x="41" y="32"/>
                  </a:lnTo>
                  <a:lnTo>
                    <a:pt x="41" y="33"/>
                  </a:lnTo>
                  <a:lnTo>
                    <a:pt x="39" y="33"/>
                  </a:lnTo>
                  <a:lnTo>
                    <a:pt x="39" y="32"/>
                  </a:lnTo>
                  <a:lnTo>
                    <a:pt x="38" y="32"/>
                  </a:lnTo>
                  <a:lnTo>
                    <a:pt x="36" y="30"/>
                  </a:lnTo>
                  <a:lnTo>
                    <a:pt x="35" y="30"/>
                  </a:lnTo>
                  <a:lnTo>
                    <a:pt x="33" y="29"/>
                  </a:lnTo>
                  <a:lnTo>
                    <a:pt x="30" y="29"/>
                  </a:lnTo>
                  <a:lnTo>
                    <a:pt x="30" y="29"/>
                  </a:lnTo>
                  <a:lnTo>
                    <a:pt x="30" y="26"/>
                  </a:lnTo>
                  <a:lnTo>
                    <a:pt x="29" y="26"/>
                  </a:lnTo>
                  <a:lnTo>
                    <a:pt x="28" y="26"/>
                  </a:lnTo>
                  <a:lnTo>
                    <a:pt x="26" y="26"/>
                  </a:lnTo>
                  <a:lnTo>
                    <a:pt x="26" y="24"/>
                  </a:lnTo>
                  <a:lnTo>
                    <a:pt x="25" y="24"/>
                  </a:lnTo>
                  <a:lnTo>
                    <a:pt x="25" y="24"/>
                  </a:lnTo>
                  <a:lnTo>
                    <a:pt x="23" y="23"/>
                  </a:lnTo>
                  <a:lnTo>
                    <a:pt x="20" y="21"/>
                  </a:lnTo>
                  <a:lnTo>
                    <a:pt x="19" y="21"/>
                  </a:lnTo>
                  <a:lnTo>
                    <a:pt x="17" y="21"/>
                  </a:lnTo>
                  <a:lnTo>
                    <a:pt x="17" y="19"/>
                  </a:lnTo>
                  <a:lnTo>
                    <a:pt x="16" y="1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90" name="Freeform 1266"/>
            <p:cNvSpPr>
              <a:spLocks/>
            </p:cNvSpPr>
            <p:nvPr/>
          </p:nvSpPr>
          <p:spPr bwMode="auto">
            <a:xfrm>
              <a:off x="8257291" y="3579879"/>
              <a:ext cx="38623" cy="34481"/>
            </a:xfrm>
            <a:custGeom>
              <a:avLst/>
              <a:gdLst/>
              <a:ahLst/>
              <a:cxnLst>
                <a:cxn ang="0">
                  <a:pos x="16" y="17"/>
                </a:cxn>
                <a:cxn ang="0">
                  <a:pos x="10" y="14"/>
                </a:cxn>
                <a:cxn ang="0">
                  <a:pos x="7" y="10"/>
                </a:cxn>
                <a:cxn ang="0">
                  <a:pos x="6" y="10"/>
                </a:cxn>
                <a:cxn ang="0">
                  <a:pos x="4" y="5"/>
                </a:cxn>
                <a:cxn ang="0">
                  <a:pos x="1" y="4"/>
                </a:cxn>
                <a:cxn ang="0">
                  <a:pos x="1" y="1"/>
                </a:cxn>
                <a:cxn ang="0">
                  <a:pos x="0" y="0"/>
                </a:cxn>
                <a:cxn ang="0">
                  <a:pos x="3" y="0"/>
                </a:cxn>
                <a:cxn ang="0">
                  <a:pos x="4" y="1"/>
                </a:cxn>
                <a:cxn ang="0">
                  <a:pos x="6" y="0"/>
                </a:cxn>
                <a:cxn ang="0">
                  <a:pos x="9" y="3"/>
                </a:cxn>
                <a:cxn ang="0">
                  <a:pos x="12" y="4"/>
                </a:cxn>
                <a:cxn ang="0">
                  <a:pos x="12" y="5"/>
                </a:cxn>
                <a:cxn ang="0">
                  <a:pos x="13" y="5"/>
                </a:cxn>
                <a:cxn ang="0">
                  <a:pos x="16" y="7"/>
                </a:cxn>
                <a:cxn ang="0">
                  <a:pos x="17" y="10"/>
                </a:cxn>
                <a:cxn ang="0">
                  <a:pos x="19" y="11"/>
                </a:cxn>
                <a:cxn ang="0">
                  <a:pos x="20" y="14"/>
                </a:cxn>
                <a:cxn ang="0">
                  <a:pos x="22" y="14"/>
                </a:cxn>
                <a:cxn ang="0">
                  <a:pos x="22" y="16"/>
                </a:cxn>
                <a:cxn ang="0">
                  <a:pos x="23" y="17"/>
                </a:cxn>
                <a:cxn ang="0">
                  <a:pos x="25" y="19"/>
                </a:cxn>
                <a:cxn ang="0">
                  <a:pos x="26" y="19"/>
                </a:cxn>
                <a:cxn ang="0">
                  <a:pos x="28" y="20"/>
                </a:cxn>
                <a:cxn ang="0">
                  <a:pos x="29" y="20"/>
                </a:cxn>
                <a:cxn ang="0">
                  <a:pos x="32" y="21"/>
                </a:cxn>
                <a:cxn ang="0">
                  <a:pos x="38" y="26"/>
                </a:cxn>
                <a:cxn ang="0">
                  <a:pos x="38" y="27"/>
                </a:cxn>
                <a:cxn ang="0">
                  <a:pos x="39" y="27"/>
                </a:cxn>
                <a:cxn ang="0">
                  <a:pos x="42" y="29"/>
                </a:cxn>
                <a:cxn ang="0">
                  <a:pos x="42" y="32"/>
                </a:cxn>
                <a:cxn ang="0">
                  <a:pos x="42" y="32"/>
                </a:cxn>
                <a:cxn ang="0">
                  <a:pos x="41" y="32"/>
                </a:cxn>
                <a:cxn ang="0">
                  <a:pos x="41" y="33"/>
                </a:cxn>
                <a:cxn ang="0">
                  <a:pos x="39" y="33"/>
                </a:cxn>
                <a:cxn ang="0">
                  <a:pos x="39" y="32"/>
                </a:cxn>
                <a:cxn ang="0">
                  <a:pos x="38" y="32"/>
                </a:cxn>
                <a:cxn ang="0">
                  <a:pos x="36" y="30"/>
                </a:cxn>
                <a:cxn ang="0">
                  <a:pos x="35" y="30"/>
                </a:cxn>
                <a:cxn ang="0">
                  <a:pos x="33" y="29"/>
                </a:cxn>
                <a:cxn ang="0">
                  <a:pos x="30" y="29"/>
                </a:cxn>
                <a:cxn ang="0">
                  <a:pos x="30" y="29"/>
                </a:cxn>
                <a:cxn ang="0">
                  <a:pos x="30" y="26"/>
                </a:cxn>
                <a:cxn ang="0">
                  <a:pos x="29" y="26"/>
                </a:cxn>
                <a:cxn ang="0">
                  <a:pos x="28" y="26"/>
                </a:cxn>
                <a:cxn ang="0">
                  <a:pos x="26" y="26"/>
                </a:cxn>
                <a:cxn ang="0">
                  <a:pos x="26" y="24"/>
                </a:cxn>
                <a:cxn ang="0">
                  <a:pos x="25" y="24"/>
                </a:cxn>
                <a:cxn ang="0">
                  <a:pos x="25" y="24"/>
                </a:cxn>
                <a:cxn ang="0">
                  <a:pos x="23" y="23"/>
                </a:cxn>
                <a:cxn ang="0">
                  <a:pos x="20" y="21"/>
                </a:cxn>
                <a:cxn ang="0">
                  <a:pos x="19" y="21"/>
                </a:cxn>
                <a:cxn ang="0">
                  <a:pos x="17" y="21"/>
                </a:cxn>
                <a:cxn ang="0">
                  <a:pos x="17" y="19"/>
                </a:cxn>
                <a:cxn ang="0">
                  <a:pos x="16" y="17"/>
                </a:cxn>
              </a:cxnLst>
              <a:rect l="0" t="0" r="r" b="b"/>
              <a:pathLst>
                <a:path w="42" h="33">
                  <a:moveTo>
                    <a:pt x="16" y="17"/>
                  </a:moveTo>
                  <a:lnTo>
                    <a:pt x="10" y="14"/>
                  </a:lnTo>
                  <a:lnTo>
                    <a:pt x="7" y="10"/>
                  </a:lnTo>
                  <a:lnTo>
                    <a:pt x="6" y="10"/>
                  </a:lnTo>
                  <a:lnTo>
                    <a:pt x="4" y="5"/>
                  </a:lnTo>
                  <a:lnTo>
                    <a:pt x="1" y="4"/>
                  </a:lnTo>
                  <a:lnTo>
                    <a:pt x="1" y="1"/>
                  </a:lnTo>
                  <a:lnTo>
                    <a:pt x="0" y="0"/>
                  </a:lnTo>
                  <a:lnTo>
                    <a:pt x="3" y="0"/>
                  </a:lnTo>
                  <a:lnTo>
                    <a:pt x="4" y="1"/>
                  </a:lnTo>
                  <a:lnTo>
                    <a:pt x="6" y="0"/>
                  </a:lnTo>
                  <a:lnTo>
                    <a:pt x="9" y="3"/>
                  </a:lnTo>
                  <a:lnTo>
                    <a:pt x="12" y="4"/>
                  </a:lnTo>
                  <a:lnTo>
                    <a:pt x="12" y="5"/>
                  </a:lnTo>
                  <a:lnTo>
                    <a:pt x="13" y="5"/>
                  </a:lnTo>
                  <a:lnTo>
                    <a:pt x="16" y="7"/>
                  </a:lnTo>
                  <a:lnTo>
                    <a:pt x="17" y="10"/>
                  </a:lnTo>
                  <a:lnTo>
                    <a:pt x="19" y="11"/>
                  </a:lnTo>
                  <a:lnTo>
                    <a:pt x="20" y="14"/>
                  </a:lnTo>
                  <a:lnTo>
                    <a:pt x="22" y="14"/>
                  </a:lnTo>
                  <a:lnTo>
                    <a:pt x="22" y="16"/>
                  </a:lnTo>
                  <a:lnTo>
                    <a:pt x="23" y="17"/>
                  </a:lnTo>
                  <a:lnTo>
                    <a:pt x="25" y="19"/>
                  </a:lnTo>
                  <a:lnTo>
                    <a:pt x="26" y="19"/>
                  </a:lnTo>
                  <a:lnTo>
                    <a:pt x="28" y="20"/>
                  </a:lnTo>
                  <a:lnTo>
                    <a:pt x="29" y="20"/>
                  </a:lnTo>
                  <a:lnTo>
                    <a:pt x="32" y="21"/>
                  </a:lnTo>
                  <a:lnTo>
                    <a:pt x="38" y="26"/>
                  </a:lnTo>
                  <a:lnTo>
                    <a:pt x="38" y="27"/>
                  </a:lnTo>
                  <a:lnTo>
                    <a:pt x="39" y="27"/>
                  </a:lnTo>
                  <a:lnTo>
                    <a:pt x="42" y="29"/>
                  </a:lnTo>
                  <a:lnTo>
                    <a:pt x="42" y="32"/>
                  </a:lnTo>
                  <a:lnTo>
                    <a:pt x="42" y="32"/>
                  </a:lnTo>
                  <a:lnTo>
                    <a:pt x="41" y="32"/>
                  </a:lnTo>
                  <a:lnTo>
                    <a:pt x="41" y="33"/>
                  </a:lnTo>
                  <a:lnTo>
                    <a:pt x="39" y="33"/>
                  </a:lnTo>
                  <a:lnTo>
                    <a:pt x="39" y="32"/>
                  </a:lnTo>
                  <a:lnTo>
                    <a:pt x="38" y="32"/>
                  </a:lnTo>
                  <a:lnTo>
                    <a:pt x="36" y="30"/>
                  </a:lnTo>
                  <a:lnTo>
                    <a:pt x="35" y="30"/>
                  </a:lnTo>
                  <a:lnTo>
                    <a:pt x="33" y="29"/>
                  </a:lnTo>
                  <a:lnTo>
                    <a:pt x="30" y="29"/>
                  </a:lnTo>
                  <a:lnTo>
                    <a:pt x="30" y="29"/>
                  </a:lnTo>
                  <a:lnTo>
                    <a:pt x="30" y="26"/>
                  </a:lnTo>
                  <a:lnTo>
                    <a:pt x="29" y="26"/>
                  </a:lnTo>
                  <a:lnTo>
                    <a:pt x="28" y="26"/>
                  </a:lnTo>
                  <a:lnTo>
                    <a:pt x="26" y="26"/>
                  </a:lnTo>
                  <a:lnTo>
                    <a:pt x="26" y="24"/>
                  </a:lnTo>
                  <a:lnTo>
                    <a:pt x="25" y="24"/>
                  </a:lnTo>
                  <a:lnTo>
                    <a:pt x="25" y="24"/>
                  </a:lnTo>
                  <a:lnTo>
                    <a:pt x="23" y="23"/>
                  </a:lnTo>
                  <a:lnTo>
                    <a:pt x="20" y="21"/>
                  </a:lnTo>
                  <a:lnTo>
                    <a:pt x="19" y="21"/>
                  </a:lnTo>
                  <a:lnTo>
                    <a:pt x="17" y="21"/>
                  </a:lnTo>
                  <a:lnTo>
                    <a:pt x="17" y="19"/>
                  </a:lnTo>
                  <a:lnTo>
                    <a:pt x="16" y="1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91" name="Freeform 1267"/>
            <p:cNvSpPr>
              <a:spLocks/>
            </p:cNvSpPr>
            <p:nvPr/>
          </p:nvSpPr>
          <p:spPr bwMode="auto">
            <a:xfrm>
              <a:off x="8296793" y="3587992"/>
              <a:ext cx="5267" cy="7099"/>
            </a:xfrm>
            <a:custGeom>
              <a:avLst/>
              <a:gdLst/>
              <a:ahLst/>
              <a:cxnLst>
                <a:cxn ang="0">
                  <a:pos x="2" y="0"/>
                </a:cxn>
                <a:cxn ang="0">
                  <a:pos x="2" y="0"/>
                </a:cxn>
                <a:cxn ang="0">
                  <a:pos x="3" y="0"/>
                </a:cxn>
                <a:cxn ang="0">
                  <a:pos x="3" y="0"/>
                </a:cxn>
                <a:cxn ang="0">
                  <a:pos x="3" y="2"/>
                </a:cxn>
                <a:cxn ang="0">
                  <a:pos x="5" y="3"/>
                </a:cxn>
                <a:cxn ang="0">
                  <a:pos x="6" y="3"/>
                </a:cxn>
                <a:cxn ang="0">
                  <a:pos x="6" y="5"/>
                </a:cxn>
                <a:cxn ang="0">
                  <a:pos x="5" y="6"/>
                </a:cxn>
                <a:cxn ang="0">
                  <a:pos x="5" y="6"/>
                </a:cxn>
                <a:cxn ang="0">
                  <a:pos x="2" y="5"/>
                </a:cxn>
                <a:cxn ang="0">
                  <a:pos x="0" y="3"/>
                </a:cxn>
                <a:cxn ang="0">
                  <a:pos x="2" y="2"/>
                </a:cxn>
                <a:cxn ang="0">
                  <a:pos x="2" y="0"/>
                </a:cxn>
              </a:cxnLst>
              <a:rect l="0" t="0" r="r" b="b"/>
              <a:pathLst>
                <a:path w="6" h="6">
                  <a:moveTo>
                    <a:pt x="2" y="0"/>
                  </a:moveTo>
                  <a:lnTo>
                    <a:pt x="2" y="0"/>
                  </a:lnTo>
                  <a:lnTo>
                    <a:pt x="3" y="0"/>
                  </a:lnTo>
                  <a:lnTo>
                    <a:pt x="3" y="0"/>
                  </a:lnTo>
                  <a:lnTo>
                    <a:pt x="3" y="2"/>
                  </a:lnTo>
                  <a:lnTo>
                    <a:pt x="5" y="3"/>
                  </a:lnTo>
                  <a:lnTo>
                    <a:pt x="6" y="3"/>
                  </a:lnTo>
                  <a:lnTo>
                    <a:pt x="6" y="5"/>
                  </a:lnTo>
                  <a:lnTo>
                    <a:pt x="5" y="6"/>
                  </a:lnTo>
                  <a:lnTo>
                    <a:pt x="5" y="6"/>
                  </a:lnTo>
                  <a:lnTo>
                    <a:pt x="2" y="5"/>
                  </a:lnTo>
                  <a:lnTo>
                    <a:pt x="0" y="3"/>
                  </a:lnTo>
                  <a:lnTo>
                    <a:pt x="2" y="2"/>
                  </a:lnTo>
                  <a:lnTo>
                    <a:pt x="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92" name="Freeform 1268"/>
            <p:cNvSpPr>
              <a:spLocks/>
            </p:cNvSpPr>
            <p:nvPr/>
          </p:nvSpPr>
          <p:spPr bwMode="auto">
            <a:xfrm>
              <a:off x="8296793" y="3587992"/>
              <a:ext cx="5267" cy="7099"/>
            </a:xfrm>
            <a:custGeom>
              <a:avLst/>
              <a:gdLst/>
              <a:ahLst/>
              <a:cxnLst>
                <a:cxn ang="0">
                  <a:pos x="2" y="0"/>
                </a:cxn>
                <a:cxn ang="0">
                  <a:pos x="2" y="0"/>
                </a:cxn>
                <a:cxn ang="0">
                  <a:pos x="3" y="0"/>
                </a:cxn>
                <a:cxn ang="0">
                  <a:pos x="3" y="0"/>
                </a:cxn>
                <a:cxn ang="0">
                  <a:pos x="3" y="2"/>
                </a:cxn>
                <a:cxn ang="0">
                  <a:pos x="5" y="3"/>
                </a:cxn>
                <a:cxn ang="0">
                  <a:pos x="6" y="3"/>
                </a:cxn>
                <a:cxn ang="0">
                  <a:pos x="6" y="5"/>
                </a:cxn>
                <a:cxn ang="0">
                  <a:pos x="5" y="6"/>
                </a:cxn>
                <a:cxn ang="0">
                  <a:pos x="5" y="6"/>
                </a:cxn>
                <a:cxn ang="0">
                  <a:pos x="2" y="5"/>
                </a:cxn>
                <a:cxn ang="0">
                  <a:pos x="0" y="3"/>
                </a:cxn>
                <a:cxn ang="0">
                  <a:pos x="2" y="2"/>
                </a:cxn>
                <a:cxn ang="0">
                  <a:pos x="2" y="0"/>
                </a:cxn>
              </a:cxnLst>
              <a:rect l="0" t="0" r="r" b="b"/>
              <a:pathLst>
                <a:path w="6" h="6">
                  <a:moveTo>
                    <a:pt x="2" y="0"/>
                  </a:moveTo>
                  <a:lnTo>
                    <a:pt x="2" y="0"/>
                  </a:lnTo>
                  <a:lnTo>
                    <a:pt x="3" y="0"/>
                  </a:lnTo>
                  <a:lnTo>
                    <a:pt x="3" y="0"/>
                  </a:lnTo>
                  <a:lnTo>
                    <a:pt x="3" y="2"/>
                  </a:lnTo>
                  <a:lnTo>
                    <a:pt x="5" y="3"/>
                  </a:lnTo>
                  <a:lnTo>
                    <a:pt x="6" y="3"/>
                  </a:lnTo>
                  <a:lnTo>
                    <a:pt x="6" y="5"/>
                  </a:lnTo>
                  <a:lnTo>
                    <a:pt x="5" y="6"/>
                  </a:lnTo>
                  <a:lnTo>
                    <a:pt x="5" y="6"/>
                  </a:lnTo>
                  <a:lnTo>
                    <a:pt x="2" y="5"/>
                  </a:lnTo>
                  <a:lnTo>
                    <a:pt x="0" y="3"/>
                  </a:lnTo>
                  <a:lnTo>
                    <a:pt x="2" y="2"/>
                  </a:lnTo>
                  <a:lnTo>
                    <a:pt x="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93" name="Freeform 1269"/>
            <p:cNvSpPr>
              <a:spLocks/>
            </p:cNvSpPr>
            <p:nvPr/>
          </p:nvSpPr>
          <p:spPr bwMode="auto">
            <a:xfrm>
              <a:off x="8306448" y="3598134"/>
              <a:ext cx="3511" cy="4057"/>
            </a:xfrm>
            <a:custGeom>
              <a:avLst/>
              <a:gdLst/>
              <a:ahLst/>
              <a:cxnLst>
                <a:cxn ang="0">
                  <a:pos x="1" y="2"/>
                </a:cxn>
                <a:cxn ang="0">
                  <a:pos x="0" y="0"/>
                </a:cxn>
                <a:cxn ang="0">
                  <a:pos x="3" y="0"/>
                </a:cxn>
                <a:cxn ang="0">
                  <a:pos x="3" y="2"/>
                </a:cxn>
                <a:cxn ang="0">
                  <a:pos x="4" y="2"/>
                </a:cxn>
                <a:cxn ang="0">
                  <a:pos x="4" y="3"/>
                </a:cxn>
                <a:cxn ang="0">
                  <a:pos x="4" y="4"/>
                </a:cxn>
                <a:cxn ang="0">
                  <a:pos x="3" y="4"/>
                </a:cxn>
                <a:cxn ang="0">
                  <a:pos x="1" y="3"/>
                </a:cxn>
                <a:cxn ang="0">
                  <a:pos x="1" y="2"/>
                </a:cxn>
              </a:cxnLst>
              <a:rect l="0" t="0" r="r" b="b"/>
              <a:pathLst>
                <a:path w="4" h="4">
                  <a:moveTo>
                    <a:pt x="1" y="2"/>
                  </a:moveTo>
                  <a:lnTo>
                    <a:pt x="0" y="0"/>
                  </a:lnTo>
                  <a:lnTo>
                    <a:pt x="3" y="0"/>
                  </a:lnTo>
                  <a:lnTo>
                    <a:pt x="3" y="2"/>
                  </a:lnTo>
                  <a:lnTo>
                    <a:pt x="4" y="2"/>
                  </a:lnTo>
                  <a:lnTo>
                    <a:pt x="4" y="3"/>
                  </a:lnTo>
                  <a:lnTo>
                    <a:pt x="4" y="4"/>
                  </a:lnTo>
                  <a:lnTo>
                    <a:pt x="3" y="4"/>
                  </a:lnTo>
                  <a:lnTo>
                    <a:pt x="1" y="3"/>
                  </a:lnTo>
                  <a:lnTo>
                    <a:pt x="1"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94" name="Freeform 1270"/>
            <p:cNvSpPr>
              <a:spLocks/>
            </p:cNvSpPr>
            <p:nvPr/>
          </p:nvSpPr>
          <p:spPr bwMode="auto">
            <a:xfrm>
              <a:off x="8306448" y="3598134"/>
              <a:ext cx="3511" cy="4057"/>
            </a:xfrm>
            <a:custGeom>
              <a:avLst/>
              <a:gdLst/>
              <a:ahLst/>
              <a:cxnLst>
                <a:cxn ang="0">
                  <a:pos x="1" y="2"/>
                </a:cxn>
                <a:cxn ang="0">
                  <a:pos x="0" y="0"/>
                </a:cxn>
                <a:cxn ang="0">
                  <a:pos x="3" y="0"/>
                </a:cxn>
                <a:cxn ang="0">
                  <a:pos x="3" y="2"/>
                </a:cxn>
                <a:cxn ang="0">
                  <a:pos x="4" y="2"/>
                </a:cxn>
                <a:cxn ang="0">
                  <a:pos x="4" y="3"/>
                </a:cxn>
                <a:cxn ang="0">
                  <a:pos x="4" y="4"/>
                </a:cxn>
                <a:cxn ang="0">
                  <a:pos x="3" y="4"/>
                </a:cxn>
                <a:cxn ang="0">
                  <a:pos x="1" y="3"/>
                </a:cxn>
                <a:cxn ang="0">
                  <a:pos x="1" y="2"/>
                </a:cxn>
              </a:cxnLst>
              <a:rect l="0" t="0" r="r" b="b"/>
              <a:pathLst>
                <a:path w="4" h="4">
                  <a:moveTo>
                    <a:pt x="1" y="2"/>
                  </a:moveTo>
                  <a:lnTo>
                    <a:pt x="0" y="0"/>
                  </a:lnTo>
                  <a:lnTo>
                    <a:pt x="3" y="0"/>
                  </a:lnTo>
                  <a:lnTo>
                    <a:pt x="3" y="2"/>
                  </a:lnTo>
                  <a:lnTo>
                    <a:pt x="4" y="2"/>
                  </a:lnTo>
                  <a:lnTo>
                    <a:pt x="4" y="3"/>
                  </a:lnTo>
                  <a:lnTo>
                    <a:pt x="4" y="4"/>
                  </a:lnTo>
                  <a:lnTo>
                    <a:pt x="3" y="4"/>
                  </a:lnTo>
                  <a:lnTo>
                    <a:pt x="1" y="3"/>
                  </a:lnTo>
                  <a:lnTo>
                    <a:pt x="1"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95" name="Freeform 1271"/>
            <p:cNvSpPr>
              <a:spLocks/>
            </p:cNvSpPr>
            <p:nvPr/>
          </p:nvSpPr>
          <p:spPr bwMode="auto">
            <a:xfrm>
              <a:off x="4952372" y="3036304"/>
              <a:ext cx="79880" cy="45636"/>
            </a:xfrm>
            <a:custGeom>
              <a:avLst/>
              <a:gdLst/>
              <a:ahLst/>
              <a:cxnLst>
                <a:cxn ang="0">
                  <a:pos x="84" y="14"/>
                </a:cxn>
                <a:cxn ang="0">
                  <a:pos x="80" y="17"/>
                </a:cxn>
                <a:cxn ang="0">
                  <a:pos x="76" y="17"/>
                </a:cxn>
                <a:cxn ang="0">
                  <a:pos x="69" y="19"/>
                </a:cxn>
                <a:cxn ang="0">
                  <a:pos x="67" y="17"/>
                </a:cxn>
                <a:cxn ang="0">
                  <a:pos x="66" y="17"/>
                </a:cxn>
                <a:cxn ang="0">
                  <a:pos x="64" y="19"/>
                </a:cxn>
                <a:cxn ang="0">
                  <a:pos x="61" y="25"/>
                </a:cxn>
                <a:cxn ang="0">
                  <a:pos x="58" y="25"/>
                </a:cxn>
                <a:cxn ang="0">
                  <a:pos x="57" y="28"/>
                </a:cxn>
                <a:cxn ang="0">
                  <a:pos x="55" y="29"/>
                </a:cxn>
                <a:cxn ang="0">
                  <a:pos x="53" y="30"/>
                </a:cxn>
                <a:cxn ang="0">
                  <a:pos x="51" y="30"/>
                </a:cxn>
                <a:cxn ang="0">
                  <a:pos x="47" y="28"/>
                </a:cxn>
                <a:cxn ang="0">
                  <a:pos x="38" y="33"/>
                </a:cxn>
                <a:cxn ang="0">
                  <a:pos x="38" y="39"/>
                </a:cxn>
                <a:cxn ang="0">
                  <a:pos x="35" y="41"/>
                </a:cxn>
                <a:cxn ang="0">
                  <a:pos x="34" y="44"/>
                </a:cxn>
                <a:cxn ang="0">
                  <a:pos x="29" y="42"/>
                </a:cxn>
                <a:cxn ang="0">
                  <a:pos x="28" y="39"/>
                </a:cxn>
                <a:cxn ang="0">
                  <a:pos x="25" y="38"/>
                </a:cxn>
                <a:cxn ang="0">
                  <a:pos x="24" y="38"/>
                </a:cxn>
                <a:cxn ang="0">
                  <a:pos x="24" y="32"/>
                </a:cxn>
                <a:cxn ang="0">
                  <a:pos x="19" y="30"/>
                </a:cxn>
                <a:cxn ang="0">
                  <a:pos x="18" y="29"/>
                </a:cxn>
                <a:cxn ang="0">
                  <a:pos x="15" y="30"/>
                </a:cxn>
                <a:cxn ang="0">
                  <a:pos x="12" y="29"/>
                </a:cxn>
                <a:cxn ang="0">
                  <a:pos x="10" y="29"/>
                </a:cxn>
                <a:cxn ang="0">
                  <a:pos x="9" y="28"/>
                </a:cxn>
                <a:cxn ang="0">
                  <a:pos x="6" y="26"/>
                </a:cxn>
                <a:cxn ang="0">
                  <a:pos x="2" y="23"/>
                </a:cxn>
                <a:cxn ang="0">
                  <a:pos x="0" y="22"/>
                </a:cxn>
                <a:cxn ang="0">
                  <a:pos x="3" y="19"/>
                </a:cxn>
                <a:cxn ang="0">
                  <a:pos x="3" y="17"/>
                </a:cxn>
                <a:cxn ang="0">
                  <a:pos x="2" y="16"/>
                </a:cxn>
                <a:cxn ang="0">
                  <a:pos x="5" y="13"/>
                </a:cxn>
                <a:cxn ang="0">
                  <a:pos x="6" y="12"/>
                </a:cxn>
                <a:cxn ang="0">
                  <a:pos x="16" y="4"/>
                </a:cxn>
                <a:cxn ang="0">
                  <a:pos x="22" y="3"/>
                </a:cxn>
                <a:cxn ang="0">
                  <a:pos x="48" y="0"/>
                </a:cxn>
                <a:cxn ang="0">
                  <a:pos x="54" y="0"/>
                </a:cxn>
                <a:cxn ang="0">
                  <a:pos x="57" y="1"/>
                </a:cxn>
                <a:cxn ang="0">
                  <a:pos x="63" y="0"/>
                </a:cxn>
                <a:cxn ang="0">
                  <a:pos x="73" y="3"/>
                </a:cxn>
                <a:cxn ang="0">
                  <a:pos x="87" y="13"/>
                </a:cxn>
              </a:cxnLst>
              <a:rect l="0" t="0" r="r" b="b"/>
              <a:pathLst>
                <a:path w="87" h="44">
                  <a:moveTo>
                    <a:pt x="87" y="14"/>
                  </a:moveTo>
                  <a:lnTo>
                    <a:pt x="84" y="14"/>
                  </a:lnTo>
                  <a:lnTo>
                    <a:pt x="80" y="16"/>
                  </a:lnTo>
                  <a:lnTo>
                    <a:pt x="80" y="17"/>
                  </a:lnTo>
                  <a:lnTo>
                    <a:pt x="77" y="17"/>
                  </a:lnTo>
                  <a:lnTo>
                    <a:pt x="76" y="17"/>
                  </a:lnTo>
                  <a:lnTo>
                    <a:pt x="73" y="19"/>
                  </a:lnTo>
                  <a:lnTo>
                    <a:pt x="69" y="19"/>
                  </a:lnTo>
                  <a:lnTo>
                    <a:pt x="69" y="19"/>
                  </a:lnTo>
                  <a:lnTo>
                    <a:pt x="67" y="17"/>
                  </a:lnTo>
                  <a:lnTo>
                    <a:pt x="66" y="17"/>
                  </a:lnTo>
                  <a:lnTo>
                    <a:pt x="66" y="17"/>
                  </a:lnTo>
                  <a:lnTo>
                    <a:pt x="64" y="19"/>
                  </a:lnTo>
                  <a:lnTo>
                    <a:pt x="64" y="19"/>
                  </a:lnTo>
                  <a:lnTo>
                    <a:pt x="63" y="20"/>
                  </a:lnTo>
                  <a:lnTo>
                    <a:pt x="61" y="25"/>
                  </a:lnTo>
                  <a:lnTo>
                    <a:pt x="61" y="25"/>
                  </a:lnTo>
                  <a:lnTo>
                    <a:pt x="58" y="25"/>
                  </a:lnTo>
                  <a:lnTo>
                    <a:pt x="57" y="26"/>
                  </a:lnTo>
                  <a:lnTo>
                    <a:pt x="57" y="28"/>
                  </a:lnTo>
                  <a:lnTo>
                    <a:pt x="55" y="28"/>
                  </a:lnTo>
                  <a:lnTo>
                    <a:pt x="55" y="29"/>
                  </a:lnTo>
                  <a:lnTo>
                    <a:pt x="53" y="29"/>
                  </a:lnTo>
                  <a:lnTo>
                    <a:pt x="53" y="30"/>
                  </a:lnTo>
                  <a:lnTo>
                    <a:pt x="53" y="30"/>
                  </a:lnTo>
                  <a:lnTo>
                    <a:pt x="51" y="30"/>
                  </a:lnTo>
                  <a:lnTo>
                    <a:pt x="48" y="29"/>
                  </a:lnTo>
                  <a:lnTo>
                    <a:pt x="47" y="28"/>
                  </a:lnTo>
                  <a:lnTo>
                    <a:pt x="44" y="33"/>
                  </a:lnTo>
                  <a:lnTo>
                    <a:pt x="38" y="33"/>
                  </a:lnTo>
                  <a:lnTo>
                    <a:pt x="38" y="35"/>
                  </a:lnTo>
                  <a:lnTo>
                    <a:pt x="38" y="39"/>
                  </a:lnTo>
                  <a:lnTo>
                    <a:pt x="37" y="39"/>
                  </a:lnTo>
                  <a:lnTo>
                    <a:pt x="35" y="41"/>
                  </a:lnTo>
                  <a:lnTo>
                    <a:pt x="35" y="42"/>
                  </a:lnTo>
                  <a:lnTo>
                    <a:pt x="34" y="44"/>
                  </a:lnTo>
                  <a:lnTo>
                    <a:pt x="29" y="44"/>
                  </a:lnTo>
                  <a:lnTo>
                    <a:pt x="29" y="42"/>
                  </a:lnTo>
                  <a:lnTo>
                    <a:pt x="28" y="41"/>
                  </a:lnTo>
                  <a:lnTo>
                    <a:pt x="28" y="39"/>
                  </a:lnTo>
                  <a:lnTo>
                    <a:pt x="26" y="38"/>
                  </a:lnTo>
                  <a:lnTo>
                    <a:pt x="25" y="38"/>
                  </a:lnTo>
                  <a:lnTo>
                    <a:pt x="24" y="38"/>
                  </a:lnTo>
                  <a:lnTo>
                    <a:pt x="24" y="38"/>
                  </a:lnTo>
                  <a:lnTo>
                    <a:pt x="24" y="32"/>
                  </a:lnTo>
                  <a:lnTo>
                    <a:pt x="24" y="32"/>
                  </a:lnTo>
                  <a:lnTo>
                    <a:pt x="22" y="30"/>
                  </a:lnTo>
                  <a:lnTo>
                    <a:pt x="19" y="30"/>
                  </a:lnTo>
                  <a:lnTo>
                    <a:pt x="19" y="29"/>
                  </a:lnTo>
                  <a:lnTo>
                    <a:pt x="18" y="29"/>
                  </a:lnTo>
                  <a:lnTo>
                    <a:pt x="16" y="30"/>
                  </a:lnTo>
                  <a:lnTo>
                    <a:pt x="15" y="30"/>
                  </a:lnTo>
                  <a:lnTo>
                    <a:pt x="13" y="30"/>
                  </a:lnTo>
                  <a:lnTo>
                    <a:pt x="12" y="29"/>
                  </a:lnTo>
                  <a:lnTo>
                    <a:pt x="12" y="29"/>
                  </a:lnTo>
                  <a:lnTo>
                    <a:pt x="10" y="29"/>
                  </a:lnTo>
                  <a:lnTo>
                    <a:pt x="10" y="29"/>
                  </a:lnTo>
                  <a:lnTo>
                    <a:pt x="9" y="28"/>
                  </a:lnTo>
                  <a:lnTo>
                    <a:pt x="9" y="28"/>
                  </a:lnTo>
                  <a:lnTo>
                    <a:pt x="6" y="26"/>
                  </a:lnTo>
                  <a:lnTo>
                    <a:pt x="5" y="23"/>
                  </a:lnTo>
                  <a:lnTo>
                    <a:pt x="2" y="23"/>
                  </a:lnTo>
                  <a:lnTo>
                    <a:pt x="0" y="22"/>
                  </a:lnTo>
                  <a:lnTo>
                    <a:pt x="0" y="22"/>
                  </a:lnTo>
                  <a:lnTo>
                    <a:pt x="0" y="20"/>
                  </a:lnTo>
                  <a:lnTo>
                    <a:pt x="3" y="19"/>
                  </a:lnTo>
                  <a:lnTo>
                    <a:pt x="3" y="19"/>
                  </a:lnTo>
                  <a:lnTo>
                    <a:pt x="3" y="17"/>
                  </a:lnTo>
                  <a:lnTo>
                    <a:pt x="2" y="17"/>
                  </a:lnTo>
                  <a:lnTo>
                    <a:pt x="2" y="16"/>
                  </a:lnTo>
                  <a:lnTo>
                    <a:pt x="3" y="14"/>
                  </a:lnTo>
                  <a:lnTo>
                    <a:pt x="5" y="13"/>
                  </a:lnTo>
                  <a:lnTo>
                    <a:pt x="5" y="13"/>
                  </a:lnTo>
                  <a:lnTo>
                    <a:pt x="6" y="12"/>
                  </a:lnTo>
                  <a:lnTo>
                    <a:pt x="15" y="6"/>
                  </a:lnTo>
                  <a:lnTo>
                    <a:pt x="16" y="4"/>
                  </a:lnTo>
                  <a:lnTo>
                    <a:pt x="19" y="3"/>
                  </a:lnTo>
                  <a:lnTo>
                    <a:pt x="22" y="3"/>
                  </a:lnTo>
                  <a:lnTo>
                    <a:pt x="47" y="1"/>
                  </a:lnTo>
                  <a:lnTo>
                    <a:pt x="48" y="0"/>
                  </a:lnTo>
                  <a:lnTo>
                    <a:pt x="51" y="0"/>
                  </a:lnTo>
                  <a:lnTo>
                    <a:pt x="54" y="0"/>
                  </a:lnTo>
                  <a:lnTo>
                    <a:pt x="54" y="1"/>
                  </a:lnTo>
                  <a:lnTo>
                    <a:pt x="57" y="1"/>
                  </a:lnTo>
                  <a:lnTo>
                    <a:pt x="60" y="0"/>
                  </a:lnTo>
                  <a:lnTo>
                    <a:pt x="63" y="0"/>
                  </a:lnTo>
                  <a:lnTo>
                    <a:pt x="67" y="3"/>
                  </a:lnTo>
                  <a:lnTo>
                    <a:pt x="73" y="3"/>
                  </a:lnTo>
                  <a:lnTo>
                    <a:pt x="86" y="12"/>
                  </a:lnTo>
                  <a:lnTo>
                    <a:pt x="87" y="13"/>
                  </a:lnTo>
                  <a:lnTo>
                    <a:pt x="87" y="1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96" name="Freeform 1272"/>
            <p:cNvSpPr>
              <a:spLocks/>
            </p:cNvSpPr>
            <p:nvPr/>
          </p:nvSpPr>
          <p:spPr bwMode="auto">
            <a:xfrm>
              <a:off x="4952372" y="3036304"/>
              <a:ext cx="79880" cy="45636"/>
            </a:xfrm>
            <a:custGeom>
              <a:avLst/>
              <a:gdLst/>
              <a:ahLst/>
              <a:cxnLst>
                <a:cxn ang="0">
                  <a:pos x="84" y="14"/>
                </a:cxn>
                <a:cxn ang="0">
                  <a:pos x="80" y="17"/>
                </a:cxn>
                <a:cxn ang="0">
                  <a:pos x="76" y="17"/>
                </a:cxn>
                <a:cxn ang="0">
                  <a:pos x="69" y="19"/>
                </a:cxn>
                <a:cxn ang="0">
                  <a:pos x="67" y="17"/>
                </a:cxn>
                <a:cxn ang="0">
                  <a:pos x="66" y="17"/>
                </a:cxn>
                <a:cxn ang="0">
                  <a:pos x="64" y="19"/>
                </a:cxn>
                <a:cxn ang="0">
                  <a:pos x="61" y="25"/>
                </a:cxn>
                <a:cxn ang="0">
                  <a:pos x="58" y="25"/>
                </a:cxn>
                <a:cxn ang="0">
                  <a:pos x="57" y="28"/>
                </a:cxn>
                <a:cxn ang="0">
                  <a:pos x="55" y="29"/>
                </a:cxn>
                <a:cxn ang="0">
                  <a:pos x="53" y="30"/>
                </a:cxn>
                <a:cxn ang="0">
                  <a:pos x="51" y="30"/>
                </a:cxn>
                <a:cxn ang="0">
                  <a:pos x="47" y="28"/>
                </a:cxn>
                <a:cxn ang="0">
                  <a:pos x="38" y="33"/>
                </a:cxn>
                <a:cxn ang="0">
                  <a:pos x="38" y="39"/>
                </a:cxn>
                <a:cxn ang="0">
                  <a:pos x="35" y="41"/>
                </a:cxn>
                <a:cxn ang="0">
                  <a:pos x="34" y="44"/>
                </a:cxn>
                <a:cxn ang="0">
                  <a:pos x="29" y="42"/>
                </a:cxn>
                <a:cxn ang="0">
                  <a:pos x="28" y="39"/>
                </a:cxn>
                <a:cxn ang="0">
                  <a:pos x="25" y="38"/>
                </a:cxn>
                <a:cxn ang="0">
                  <a:pos x="24" y="38"/>
                </a:cxn>
                <a:cxn ang="0">
                  <a:pos x="24" y="32"/>
                </a:cxn>
                <a:cxn ang="0">
                  <a:pos x="19" y="30"/>
                </a:cxn>
                <a:cxn ang="0">
                  <a:pos x="18" y="29"/>
                </a:cxn>
                <a:cxn ang="0">
                  <a:pos x="15" y="30"/>
                </a:cxn>
                <a:cxn ang="0">
                  <a:pos x="12" y="29"/>
                </a:cxn>
                <a:cxn ang="0">
                  <a:pos x="10" y="29"/>
                </a:cxn>
                <a:cxn ang="0">
                  <a:pos x="9" y="28"/>
                </a:cxn>
                <a:cxn ang="0">
                  <a:pos x="6" y="26"/>
                </a:cxn>
                <a:cxn ang="0">
                  <a:pos x="2" y="23"/>
                </a:cxn>
                <a:cxn ang="0">
                  <a:pos x="0" y="22"/>
                </a:cxn>
                <a:cxn ang="0">
                  <a:pos x="3" y="19"/>
                </a:cxn>
                <a:cxn ang="0">
                  <a:pos x="3" y="17"/>
                </a:cxn>
                <a:cxn ang="0">
                  <a:pos x="2" y="16"/>
                </a:cxn>
                <a:cxn ang="0">
                  <a:pos x="5" y="13"/>
                </a:cxn>
                <a:cxn ang="0">
                  <a:pos x="6" y="12"/>
                </a:cxn>
                <a:cxn ang="0">
                  <a:pos x="16" y="4"/>
                </a:cxn>
                <a:cxn ang="0">
                  <a:pos x="22" y="3"/>
                </a:cxn>
                <a:cxn ang="0">
                  <a:pos x="48" y="0"/>
                </a:cxn>
                <a:cxn ang="0">
                  <a:pos x="54" y="0"/>
                </a:cxn>
                <a:cxn ang="0">
                  <a:pos x="57" y="1"/>
                </a:cxn>
                <a:cxn ang="0">
                  <a:pos x="63" y="0"/>
                </a:cxn>
                <a:cxn ang="0">
                  <a:pos x="73" y="3"/>
                </a:cxn>
                <a:cxn ang="0">
                  <a:pos x="87" y="13"/>
                </a:cxn>
              </a:cxnLst>
              <a:rect l="0" t="0" r="r" b="b"/>
              <a:pathLst>
                <a:path w="87" h="44">
                  <a:moveTo>
                    <a:pt x="87" y="14"/>
                  </a:moveTo>
                  <a:lnTo>
                    <a:pt x="84" y="14"/>
                  </a:lnTo>
                  <a:lnTo>
                    <a:pt x="80" y="16"/>
                  </a:lnTo>
                  <a:lnTo>
                    <a:pt x="80" y="17"/>
                  </a:lnTo>
                  <a:lnTo>
                    <a:pt x="77" y="17"/>
                  </a:lnTo>
                  <a:lnTo>
                    <a:pt x="76" y="17"/>
                  </a:lnTo>
                  <a:lnTo>
                    <a:pt x="73" y="19"/>
                  </a:lnTo>
                  <a:lnTo>
                    <a:pt x="69" y="19"/>
                  </a:lnTo>
                  <a:lnTo>
                    <a:pt x="69" y="19"/>
                  </a:lnTo>
                  <a:lnTo>
                    <a:pt x="67" y="17"/>
                  </a:lnTo>
                  <a:lnTo>
                    <a:pt x="66" y="17"/>
                  </a:lnTo>
                  <a:lnTo>
                    <a:pt x="66" y="17"/>
                  </a:lnTo>
                  <a:lnTo>
                    <a:pt x="64" y="19"/>
                  </a:lnTo>
                  <a:lnTo>
                    <a:pt x="64" y="19"/>
                  </a:lnTo>
                  <a:lnTo>
                    <a:pt x="63" y="20"/>
                  </a:lnTo>
                  <a:lnTo>
                    <a:pt x="61" y="25"/>
                  </a:lnTo>
                  <a:lnTo>
                    <a:pt x="61" y="25"/>
                  </a:lnTo>
                  <a:lnTo>
                    <a:pt x="58" y="25"/>
                  </a:lnTo>
                  <a:lnTo>
                    <a:pt x="57" y="26"/>
                  </a:lnTo>
                  <a:lnTo>
                    <a:pt x="57" y="28"/>
                  </a:lnTo>
                  <a:lnTo>
                    <a:pt x="55" y="28"/>
                  </a:lnTo>
                  <a:lnTo>
                    <a:pt x="55" y="29"/>
                  </a:lnTo>
                  <a:lnTo>
                    <a:pt x="53" y="29"/>
                  </a:lnTo>
                  <a:lnTo>
                    <a:pt x="53" y="30"/>
                  </a:lnTo>
                  <a:lnTo>
                    <a:pt x="53" y="30"/>
                  </a:lnTo>
                  <a:lnTo>
                    <a:pt x="51" y="30"/>
                  </a:lnTo>
                  <a:lnTo>
                    <a:pt x="48" y="29"/>
                  </a:lnTo>
                  <a:lnTo>
                    <a:pt x="47" y="28"/>
                  </a:lnTo>
                  <a:lnTo>
                    <a:pt x="44" y="33"/>
                  </a:lnTo>
                  <a:lnTo>
                    <a:pt x="38" y="33"/>
                  </a:lnTo>
                  <a:lnTo>
                    <a:pt x="38" y="35"/>
                  </a:lnTo>
                  <a:lnTo>
                    <a:pt x="38" y="39"/>
                  </a:lnTo>
                  <a:lnTo>
                    <a:pt x="37" y="39"/>
                  </a:lnTo>
                  <a:lnTo>
                    <a:pt x="35" y="41"/>
                  </a:lnTo>
                  <a:lnTo>
                    <a:pt x="35" y="42"/>
                  </a:lnTo>
                  <a:lnTo>
                    <a:pt x="34" y="44"/>
                  </a:lnTo>
                  <a:lnTo>
                    <a:pt x="29" y="44"/>
                  </a:lnTo>
                  <a:lnTo>
                    <a:pt x="29" y="42"/>
                  </a:lnTo>
                  <a:lnTo>
                    <a:pt x="28" y="41"/>
                  </a:lnTo>
                  <a:lnTo>
                    <a:pt x="28" y="39"/>
                  </a:lnTo>
                  <a:lnTo>
                    <a:pt x="26" y="38"/>
                  </a:lnTo>
                  <a:lnTo>
                    <a:pt x="25" y="38"/>
                  </a:lnTo>
                  <a:lnTo>
                    <a:pt x="24" y="38"/>
                  </a:lnTo>
                  <a:lnTo>
                    <a:pt x="24" y="38"/>
                  </a:lnTo>
                  <a:lnTo>
                    <a:pt x="24" y="32"/>
                  </a:lnTo>
                  <a:lnTo>
                    <a:pt x="24" y="32"/>
                  </a:lnTo>
                  <a:lnTo>
                    <a:pt x="22" y="30"/>
                  </a:lnTo>
                  <a:lnTo>
                    <a:pt x="19" y="30"/>
                  </a:lnTo>
                  <a:lnTo>
                    <a:pt x="19" y="29"/>
                  </a:lnTo>
                  <a:lnTo>
                    <a:pt x="18" y="29"/>
                  </a:lnTo>
                  <a:lnTo>
                    <a:pt x="16" y="30"/>
                  </a:lnTo>
                  <a:lnTo>
                    <a:pt x="15" y="30"/>
                  </a:lnTo>
                  <a:lnTo>
                    <a:pt x="13" y="30"/>
                  </a:lnTo>
                  <a:lnTo>
                    <a:pt x="12" y="29"/>
                  </a:lnTo>
                  <a:lnTo>
                    <a:pt x="12" y="29"/>
                  </a:lnTo>
                  <a:lnTo>
                    <a:pt x="10" y="29"/>
                  </a:lnTo>
                  <a:lnTo>
                    <a:pt x="10" y="29"/>
                  </a:lnTo>
                  <a:lnTo>
                    <a:pt x="9" y="28"/>
                  </a:lnTo>
                  <a:lnTo>
                    <a:pt x="9" y="28"/>
                  </a:lnTo>
                  <a:lnTo>
                    <a:pt x="6" y="26"/>
                  </a:lnTo>
                  <a:lnTo>
                    <a:pt x="5" y="23"/>
                  </a:lnTo>
                  <a:lnTo>
                    <a:pt x="2" y="23"/>
                  </a:lnTo>
                  <a:lnTo>
                    <a:pt x="0" y="22"/>
                  </a:lnTo>
                  <a:lnTo>
                    <a:pt x="0" y="22"/>
                  </a:lnTo>
                  <a:lnTo>
                    <a:pt x="0" y="20"/>
                  </a:lnTo>
                  <a:lnTo>
                    <a:pt x="3" y="19"/>
                  </a:lnTo>
                  <a:lnTo>
                    <a:pt x="3" y="19"/>
                  </a:lnTo>
                  <a:lnTo>
                    <a:pt x="3" y="17"/>
                  </a:lnTo>
                  <a:lnTo>
                    <a:pt x="2" y="17"/>
                  </a:lnTo>
                  <a:lnTo>
                    <a:pt x="2" y="16"/>
                  </a:lnTo>
                  <a:lnTo>
                    <a:pt x="3" y="14"/>
                  </a:lnTo>
                  <a:lnTo>
                    <a:pt x="5" y="13"/>
                  </a:lnTo>
                  <a:lnTo>
                    <a:pt x="5" y="13"/>
                  </a:lnTo>
                  <a:lnTo>
                    <a:pt x="6" y="12"/>
                  </a:lnTo>
                  <a:lnTo>
                    <a:pt x="15" y="6"/>
                  </a:lnTo>
                  <a:lnTo>
                    <a:pt x="16" y="4"/>
                  </a:lnTo>
                  <a:lnTo>
                    <a:pt x="19" y="3"/>
                  </a:lnTo>
                  <a:lnTo>
                    <a:pt x="22" y="3"/>
                  </a:lnTo>
                  <a:lnTo>
                    <a:pt x="47" y="1"/>
                  </a:lnTo>
                  <a:lnTo>
                    <a:pt x="48" y="0"/>
                  </a:lnTo>
                  <a:lnTo>
                    <a:pt x="51" y="0"/>
                  </a:lnTo>
                  <a:lnTo>
                    <a:pt x="54" y="0"/>
                  </a:lnTo>
                  <a:lnTo>
                    <a:pt x="54" y="1"/>
                  </a:lnTo>
                  <a:lnTo>
                    <a:pt x="57" y="1"/>
                  </a:lnTo>
                  <a:lnTo>
                    <a:pt x="60" y="0"/>
                  </a:lnTo>
                  <a:lnTo>
                    <a:pt x="63" y="0"/>
                  </a:lnTo>
                  <a:lnTo>
                    <a:pt x="67" y="3"/>
                  </a:lnTo>
                  <a:lnTo>
                    <a:pt x="73" y="3"/>
                  </a:lnTo>
                  <a:lnTo>
                    <a:pt x="86" y="12"/>
                  </a:lnTo>
                  <a:lnTo>
                    <a:pt x="87" y="13"/>
                  </a:lnTo>
                  <a:lnTo>
                    <a:pt x="87" y="1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97" name="Freeform 1273"/>
            <p:cNvSpPr>
              <a:spLocks/>
            </p:cNvSpPr>
            <p:nvPr/>
          </p:nvSpPr>
          <p:spPr bwMode="auto">
            <a:xfrm>
              <a:off x="5058586" y="3276654"/>
              <a:ext cx="163271" cy="270773"/>
            </a:xfrm>
            <a:custGeom>
              <a:avLst/>
              <a:gdLst/>
              <a:ahLst/>
              <a:cxnLst>
                <a:cxn ang="0">
                  <a:pos x="82" y="0"/>
                </a:cxn>
                <a:cxn ang="0">
                  <a:pos x="83" y="3"/>
                </a:cxn>
                <a:cxn ang="0">
                  <a:pos x="86" y="12"/>
                </a:cxn>
                <a:cxn ang="0">
                  <a:pos x="79" y="23"/>
                </a:cxn>
                <a:cxn ang="0">
                  <a:pos x="45" y="44"/>
                </a:cxn>
                <a:cxn ang="0">
                  <a:pos x="43" y="49"/>
                </a:cxn>
                <a:cxn ang="0">
                  <a:pos x="41" y="48"/>
                </a:cxn>
                <a:cxn ang="0">
                  <a:pos x="35" y="65"/>
                </a:cxn>
                <a:cxn ang="0">
                  <a:pos x="31" y="68"/>
                </a:cxn>
                <a:cxn ang="0">
                  <a:pos x="24" y="62"/>
                </a:cxn>
                <a:cxn ang="0">
                  <a:pos x="16" y="61"/>
                </a:cxn>
                <a:cxn ang="0">
                  <a:pos x="11" y="62"/>
                </a:cxn>
                <a:cxn ang="0">
                  <a:pos x="9" y="58"/>
                </a:cxn>
                <a:cxn ang="0">
                  <a:pos x="14" y="55"/>
                </a:cxn>
                <a:cxn ang="0">
                  <a:pos x="14" y="51"/>
                </a:cxn>
                <a:cxn ang="0">
                  <a:pos x="14" y="48"/>
                </a:cxn>
                <a:cxn ang="0">
                  <a:pos x="0" y="68"/>
                </a:cxn>
                <a:cxn ang="0">
                  <a:pos x="6" y="77"/>
                </a:cxn>
                <a:cxn ang="0">
                  <a:pos x="2" y="81"/>
                </a:cxn>
                <a:cxn ang="0">
                  <a:pos x="21" y="97"/>
                </a:cxn>
                <a:cxn ang="0">
                  <a:pos x="27" y="109"/>
                </a:cxn>
                <a:cxn ang="0">
                  <a:pos x="56" y="166"/>
                </a:cxn>
                <a:cxn ang="0">
                  <a:pos x="70" y="196"/>
                </a:cxn>
                <a:cxn ang="0">
                  <a:pos x="86" y="218"/>
                </a:cxn>
                <a:cxn ang="0">
                  <a:pos x="127" y="240"/>
                </a:cxn>
                <a:cxn ang="0">
                  <a:pos x="153" y="260"/>
                </a:cxn>
                <a:cxn ang="0">
                  <a:pos x="163" y="257"/>
                </a:cxn>
                <a:cxn ang="0">
                  <a:pos x="165" y="251"/>
                </a:cxn>
                <a:cxn ang="0">
                  <a:pos x="165" y="248"/>
                </a:cxn>
                <a:cxn ang="0">
                  <a:pos x="175" y="232"/>
                </a:cxn>
                <a:cxn ang="0">
                  <a:pos x="172" y="230"/>
                </a:cxn>
                <a:cxn ang="0">
                  <a:pos x="169" y="224"/>
                </a:cxn>
                <a:cxn ang="0">
                  <a:pos x="172" y="217"/>
                </a:cxn>
                <a:cxn ang="0">
                  <a:pos x="169" y="209"/>
                </a:cxn>
                <a:cxn ang="0">
                  <a:pos x="173" y="205"/>
                </a:cxn>
                <a:cxn ang="0">
                  <a:pos x="175" y="179"/>
                </a:cxn>
                <a:cxn ang="0">
                  <a:pos x="165" y="154"/>
                </a:cxn>
                <a:cxn ang="0">
                  <a:pos x="159" y="155"/>
                </a:cxn>
                <a:cxn ang="0">
                  <a:pos x="153" y="154"/>
                </a:cxn>
                <a:cxn ang="0">
                  <a:pos x="140" y="139"/>
                </a:cxn>
                <a:cxn ang="0">
                  <a:pos x="130" y="138"/>
                </a:cxn>
                <a:cxn ang="0">
                  <a:pos x="127" y="132"/>
                </a:cxn>
                <a:cxn ang="0">
                  <a:pos x="119" y="128"/>
                </a:cxn>
                <a:cxn ang="0">
                  <a:pos x="109" y="115"/>
                </a:cxn>
                <a:cxn ang="0">
                  <a:pos x="106" y="105"/>
                </a:cxn>
                <a:cxn ang="0">
                  <a:pos x="117" y="92"/>
                </a:cxn>
                <a:cxn ang="0">
                  <a:pos x="133" y="65"/>
                </a:cxn>
                <a:cxn ang="0">
                  <a:pos x="160" y="58"/>
                </a:cxn>
                <a:cxn ang="0">
                  <a:pos x="156" y="52"/>
                </a:cxn>
                <a:cxn ang="0">
                  <a:pos x="151" y="49"/>
                </a:cxn>
                <a:cxn ang="0">
                  <a:pos x="157" y="35"/>
                </a:cxn>
                <a:cxn ang="0">
                  <a:pos x="143" y="32"/>
                </a:cxn>
                <a:cxn ang="0">
                  <a:pos x="138" y="30"/>
                </a:cxn>
                <a:cxn ang="0">
                  <a:pos x="131" y="32"/>
                </a:cxn>
                <a:cxn ang="0">
                  <a:pos x="130" y="33"/>
                </a:cxn>
                <a:cxn ang="0">
                  <a:pos x="121" y="33"/>
                </a:cxn>
                <a:cxn ang="0">
                  <a:pos x="115" y="30"/>
                </a:cxn>
                <a:cxn ang="0">
                  <a:pos x="111" y="25"/>
                </a:cxn>
                <a:cxn ang="0">
                  <a:pos x="109" y="17"/>
                </a:cxn>
                <a:cxn ang="0">
                  <a:pos x="105" y="15"/>
                </a:cxn>
                <a:cxn ang="0">
                  <a:pos x="101" y="13"/>
                </a:cxn>
                <a:cxn ang="0">
                  <a:pos x="95" y="4"/>
                </a:cxn>
                <a:cxn ang="0">
                  <a:pos x="86" y="0"/>
                </a:cxn>
              </a:cxnLst>
              <a:rect l="0" t="0" r="r" b="b"/>
              <a:pathLst>
                <a:path w="178" h="260">
                  <a:moveTo>
                    <a:pt x="85" y="0"/>
                  </a:moveTo>
                  <a:lnTo>
                    <a:pt x="85" y="0"/>
                  </a:lnTo>
                  <a:lnTo>
                    <a:pt x="82" y="0"/>
                  </a:lnTo>
                  <a:lnTo>
                    <a:pt x="82" y="1"/>
                  </a:lnTo>
                  <a:lnTo>
                    <a:pt x="82" y="3"/>
                  </a:lnTo>
                  <a:lnTo>
                    <a:pt x="83" y="3"/>
                  </a:lnTo>
                  <a:lnTo>
                    <a:pt x="85" y="6"/>
                  </a:lnTo>
                  <a:lnTo>
                    <a:pt x="85" y="7"/>
                  </a:lnTo>
                  <a:lnTo>
                    <a:pt x="86" y="12"/>
                  </a:lnTo>
                  <a:lnTo>
                    <a:pt x="86" y="12"/>
                  </a:lnTo>
                  <a:lnTo>
                    <a:pt x="85" y="12"/>
                  </a:lnTo>
                  <a:lnTo>
                    <a:pt x="79" y="23"/>
                  </a:lnTo>
                  <a:lnTo>
                    <a:pt x="66" y="35"/>
                  </a:lnTo>
                  <a:lnTo>
                    <a:pt x="47" y="44"/>
                  </a:lnTo>
                  <a:lnTo>
                    <a:pt x="45" y="44"/>
                  </a:lnTo>
                  <a:lnTo>
                    <a:pt x="44" y="46"/>
                  </a:lnTo>
                  <a:lnTo>
                    <a:pt x="44" y="48"/>
                  </a:lnTo>
                  <a:lnTo>
                    <a:pt x="43" y="49"/>
                  </a:lnTo>
                  <a:lnTo>
                    <a:pt x="43" y="49"/>
                  </a:lnTo>
                  <a:lnTo>
                    <a:pt x="41" y="48"/>
                  </a:lnTo>
                  <a:lnTo>
                    <a:pt x="41" y="48"/>
                  </a:lnTo>
                  <a:lnTo>
                    <a:pt x="41" y="49"/>
                  </a:lnTo>
                  <a:lnTo>
                    <a:pt x="37" y="54"/>
                  </a:lnTo>
                  <a:lnTo>
                    <a:pt x="35" y="65"/>
                  </a:lnTo>
                  <a:lnTo>
                    <a:pt x="35" y="65"/>
                  </a:lnTo>
                  <a:lnTo>
                    <a:pt x="34" y="65"/>
                  </a:lnTo>
                  <a:lnTo>
                    <a:pt x="31" y="68"/>
                  </a:lnTo>
                  <a:lnTo>
                    <a:pt x="28" y="70"/>
                  </a:lnTo>
                  <a:lnTo>
                    <a:pt x="27" y="68"/>
                  </a:lnTo>
                  <a:lnTo>
                    <a:pt x="24" y="62"/>
                  </a:lnTo>
                  <a:lnTo>
                    <a:pt x="19" y="62"/>
                  </a:lnTo>
                  <a:lnTo>
                    <a:pt x="18" y="62"/>
                  </a:lnTo>
                  <a:lnTo>
                    <a:pt x="16" y="61"/>
                  </a:lnTo>
                  <a:lnTo>
                    <a:pt x="15" y="61"/>
                  </a:lnTo>
                  <a:lnTo>
                    <a:pt x="12" y="62"/>
                  </a:lnTo>
                  <a:lnTo>
                    <a:pt x="11" y="62"/>
                  </a:lnTo>
                  <a:lnTo>
                    <a:pt x="11" y="62"/>
                  </a:lnTo>
                  <a:lnTo>
                    <a:pt x="11" y="58"/>
                  </a:lnTo>
                  <a:lnTo>
                    <a:pt x="9" y="58"/>
                  </a:lnTo>
                  <a:lnTo>
                    <a:pt x="9" y="57"/>
                  </a:lnTo>
                  <a:lnTo>
                    <a:pt x="11" y="55"/>
                  </a:lnTo>
                  <a:lnTo>
                    <a:pt x="14" y="55"/>
                  </a:lnTo>
                  <a:lnTo>
                    <a:pt x="15" y="54"/>
                  </a:lnTo>
                  <a:lnTo>
                    <a:pt x="15" y="51"/>
                  </a:lnTo>
                  <a:lnTo>
                    <a:pt x="14" y="51"/>
                  </a:lnTo>
                  <a:lnTo>
                    <a:pt x="14" y="48"/>
                  </a:lnTo>
                  <a:lnTo>
                    <a:pt x="14" y="48"/>
                  </a:lnTo>
                  <a:lnTo>
                    <a:pt x="14" y="48"/>
                  </a:lnTo>
                  <a:lnTo>
                    <a:pt x="0" y="60"/>
                  </a:lnTo>
                  <a:lnTo>
                    <a:pt x="0" y="61"/>
                  </a:lnTo>
                  <a:lnTo>
                    <a:pt x="0" y="68"/>
                  </a:lnTo>
                  <a:lnTo>
                    <a:pt x="2" y="70"/>
                  </a:lnTo>
                  <a:lnTo>
                    <a:pt x="2" y="73"/>
                  </a:lnTo>
                  <a:lnTo>
                    <a:pt x="6" y="77"/>
                  </a:lnTo>
                  <a:lnTo>
                    <a:pt x="6" y="77"/>
                  </a:lnTo>
                  <a:lnTo>
                    <a:pt x="5" y="80"/>
                  </a:lnTo>
                  <a:lnTo>
                    <a:pt x="2" y="81"/>
                  </a:lnTo>
                  <a:lnTo>
                    <a:pt x="3" y="83"/>
                  </a:lnTo>
                  <a:lnTo>
                    <a:pt x="18" y="94"/>
                  </a:lnTo>
                  <a:lnTo>
                    <a:pt x="21" y="97"/>
                  </a:lnTo>
                  <a:lnTo>
                    <a:pt x="21" y="97"/>
                  </a:lnTo>
                  <a:lnTo>
                    <a:pt x="22" y="100"/>
                  </a:lnTo>
                  <a:lnTo>
                    <a:pt x="27" y="109"/>
                  </a:lnTo>
                  <a:lnTo>
                    <a:pt x="34" y="116"/>
                  </a:lnTo>
                  <a:lnTo>
                    <a:pt x="51" y="161"/>
                  </a:lnTo>
                  <a:lnTo>
                    <a:pt x="56" y="166"/>
                  </a:lnTo>
                  <a:lnTo>
                    <a:pt x="70" y="187"/>
                  </a:lnTo>
                  <a:lnTo>
                    <a:pt x="72" y="195"/>
                  </a:lnTo>
                  <a:lnTo>
                    <a:pt x="70" y="196"/>
                  </a:lnTo>
                  <a:lnTo>
                    <a:pt x="69" y="198"/>
                  </a:lnTo>
                  <a:lnTo>
                    <a:pt x="70" y="201"/>
                  </a:lnTo>
                  <a:lnTo>
                    <a:pt x="86" y="218"/>
                  </a:lnTo>
                  <a:lnTo>
                    <a:pt x="125" y="238"/>
                  </a:lnTo>
                  <a:lnTo>
                    <a:pt x="125" y="238"/>
                  </a:lnTo>
                  <a:lnTo>
                    <a:pt x="127" y="240"/>
                  </a:lnTo>
                  <a:lnTo>
                    <a:pt x="151" y="259"/>
                  </a:lnTo>
                  <a:lnTo>
                    <a:pt x="151" y="259"/>
                  </a:lnTo>
                  <a:lnTo>
                    <a:pt x="153" y="260"/>
                  </a:lnTo>
                  <a:lnTo>
                    <a:pt x="156" y="259"/>
                  </a:lnTo>
                  <a:lnTo>
                    <a:pt x="162" y="257"/>
                  </a:lnTo>
                  <a:lnTo>
                    <a:pt x="163" y="257"/>
                  </a:lnTo>
                  <a:lnTo>
                    <a:pt x="163" y="254"/>
                  </a:lnTo>
                  <a:lnTo>
                    <a:pt x="165" y="251"/>
                  </a:lnTo>
                  <a:lnTo>
                    <a:pt x="165" y="251"/>
                  </a:lnTo>
                  <a:lnTo>
                    <a:pt x="166" y="250"/>
                  </a:lnTo>
                  <a:lnTo>
                    <a:pt x="165" y="248"/>
                  </a:lnTo>
                  <a:lnTo>
                    <a:pt x="165" y="248"/>
                  </a:lnTo>
                  <a:lnTo>
                    <a:pt x="165" y="247"/>
                  </a:lnTo>
                  <a:lnTo>
                    <a:pt x="175" y="235"/>
                  </a:lnTo>
                  <a:lnTo>
                    <a:pt x="175" y="232"/>
                  </a:lnTo>
                  <a:lnTo>
                    <a:pt x="173" y="231"/>
                  </a:lnTo>
                  <a:lnTo>
                    <a:pt x="172" y="230"/>
                  </a:lnTo>
                  <a:lnTo>
                    <a:pt x="172" y="230"/>
                  </a:lnTo>
                  <a:lnTo>
                    <a:pt x="170" y="228"/>
                  </a:lnTo>
                  <a:lnTo>
                    <a:pt x="169" y="228"/>
                  </a:lnTo>
                  <a:lnTo>
                    <a:pt x="169" y="224"/>
                  </a:lnTo>
                  <a:lnTo>
                    <a:pt x="169" y="221"/>
                  </a:lnTo>
                  <a:lnTo>
                    <a:pt x="170" y="218"/>
                  </a:lnTo>
                  <a:lnTo>
                    <a:pt x="172" y="217"/>
                  </a:lnTo>
                  <a:lnTo>
                    <a:pt x="172" y="215"/>
                  </a:lnTo>
                  <a:lnTo>
                    <a:pt x="172" y="212"/>
                  </a:lnTo>
                  <a:lnTo>
                    <a:pt x="169" y="209"/>
                  </a:lnTo>
                  <a:lnTo>
                    <a:pt x="169" y="208"/>
                  </a:lnTo>
                  <a:lnTo>
                    <a:pt x="170" y="206"/>
                  </a:lnTo>
                  <a:lnTo>
                    <a:pt x="173" y="205"/>
                  </a:lnTo>
                  <a:lnTo>
                    <a:pt x="175" y="205"/>
                  </a:lnTo>
                  <a:lnTo>
                    <a:pt x="175" y="182"/>
                  </a:lnTo>
                  <a:lnTo>
                    <a:pt x="175" y="179"/>
                  </a:lnTo>
                  <a:lnTo>
                    <a:pt x="178" y="176"/>
                  </a:lnTo>
                  <a:lnTo>
                    <a:pt x="178" y="174"/>
                  </a:lnTo>
                  <a:lnTo>
                    <a:pt x="165" y="154"/>
                  </a:lnTo>
                  <a:lnTo>
                    <a:pt x="160" y="154"/>
                  </a:lnTo>
                  <a:lnTo>
                    <a:pt x="159" y="154"/>
                  </a:lnTo>
                  <a:lnTo>
                    <a:pt x="159" y="155"/>
                  </a:lnTo>
                  <a:lnTo>
                    <a:pt x="156" y="155"/>
                  </a:lnTo>
                  <a:lnTo>
                    <a:pt x="154" y="154"/>
                  </a:lnTo>
                  <a:lnTo>
                    <a:pt x="153" y="154"/>
                  </a:lnTo>
                  <a:lnTo>
                    <a:pt x="153" y="131"/>
                  </a:lnTo>
                  <a:lnTo>
                    <a:pt x="153" y="129"/>
                  </a:lnTo>
                  <a:lnTo>
                    <a:pt x="140" y="139"/>
                  </a:lnTo>
                  <a:lnTo>
                    <a:pt x="134" y="139"/>
                  </a:lnTo>
                  <a:lnTo>
                    <a:pt x="130" y="138"/>
                  </a:lnTo>
                  <a:lnTo>
                    <a:pt x="130" y="138"/>
                  </a:lnTo>
                  <a:lnTo>
                    <a:pt x="128" y="135"/>
                  </a:lnTo>
                  <a:lnTo>
                    <a:pt x="128" y="134"/>
                  </a:lnTo>
                  <a:lnTo>
                    <a:pt x="127" y="132"/>
                  </a:lnTo>
                  <a:lnTo>
                    <a:pt x="118" y="132"/>
                  </a:lnTo>
                  <a:lnTo>
                    <a:pt x="118" y="131"/>
                  </a:lnTo>
                  <a:lnTo>
                    <a:pt x="119" y="128"/>
                  </a:lnTo>
                  <a:lnTo>
                    <a:pt x="119" y="125"/>
                  </a:lnTo>
                  <a:lnTo>
                    <a:pt x="117" y="124"/>
                  </a:lnTo>
                  <a:lnTo>
                    <a:pt x="109" y="115"/>
                  </a:lnTo>
                  <a:lnTo>
                    <a:pt x="109" y="112"/>
                  </a:lnTo>
                  <a:lnTo>
                    <a:pt x="106" y="106"/>
                  </a:lnTo>
                  <a:lnTo>
                    <a:pt x="106" y="105"/>
                  </a:lnTo>
                  <a:lnTo>
                    <a:pt x="111" y="93"/>
                  </a:lnTo>
                  <a:lnTo>
                    <a:pt x="112" y="92"/>
                  </a:lnTo>
                  <a:lnTo>
                    <a:pt x="117" y="92"/>
                  </a:lnTo>
                  <a:lnTo>
                    <a:pt x="117" y="83"/>
                  </a:lnTo>
                  <a:lnTo>
                    <a:pt x="125" y="70"/>
                  </a:lnTo>
                  <a:lnTo>
                    <a:pt x="133" y="65"/>
                  </a:lnTo>
                  <a:lnTo>
                    <a:pt x="153" y="58"/>
                  </a:lnTo>
                  <a:lnTo>
                    <a:pt x="159" y="58"/>
                  </a:lnTo>
                  <a:lnTo>
                    <a:pt x="160" y="58"/>
                  </a:lnTo>
                  <a:lnTo>
                    <a:pt x="160" y="57"/>
                  </a:lnTo>
                  <a:lnTo>
                    <a:pt x="159" y="57"/>
                  </a:lnTo>
                  <a:lnTo>
                    <a:pt x="156" y="52"/>
                  </a:lnTo>
                  <a:lnTo>
                    <a:pt x="151" y="52"/>
                  </a:lnTo>
                  <a:lnTo>
                    <a:pt x="151" y="52"/>
                  </a:lnTo>
                  <a:lnTo>
                    <a:pt x="151" y="49"/>
                  </a:lnTo>
                  <a:lnTo>
                    <a:pt x="159" y="39"/>
                  </a:lnTo>
                  <a:lnTo>
                    <a:pt x="159" y="38"/>
                  </a:lnTo>
                  <a:lnTo>
                    <a:pt x="157" y="35"/>
                  </a:lnTo>
                  <a:lnTo>
                    <a:pt x="149" y="30"/>
                  </a:lnTo>
                  <a:lnTo>
                    <a:pt x="146" y="30"/>
                  </a:lnTo>
                  <a:lnTo>
                    <a:pt x="143" y="32"/>
                  </a:lnTo>
                  <a:lnTo>
                    <a:pt x="141" y="32"/>
                  </a:lnTo>
                  <a:lnTo>
                    <a:pt x="140" y="32"/>
                  </a:lnTo>
                  <a:lnTo>
                    <a:pt x="138" y="30"/>
                  </a:lnTo>
                  <a:lnTo>
                    <a:pt x="134" y="30"/>
                  </a:lnTo>
                  <a:lnTo>
                    <a:pt x="133" y="30"/>
                  </a:lnTo>
                  <a:lnTo>
                    <a:pt x="131" y="32"/>
                  </a:lnTo>
                  <a:lnTo>
                    <a:pt x="131" y="32"/>
                  </a:lnTo>
                  <a:lnTo>
                    <a:pt x="130" y="33"/>
                  </a:lnTo>
                  <a:lnTo>
                    <a:pt x="130" y="33"/>
                  </a:lnTo>
                  <a:lnTo>
                    <a:pt x="127" y="33"/>
                  </a:lnTo>
                  <a:lnTo>
                    <a:pt x="124" y="33"/>
                  </a:lnTo>
                  <a:lnTo>
                    <a:pt x="121" y="33"/>
                  </a:lnTo>
                  <a:lnTo>
                    <a:pt x="119" y="33"/>
                  </a:lnTo>
                  <a:lnTo>
                    <a:pt x="117" y="33"/>
                  </a:lnTo>
                  <a:lnTo>
                    <a:pt x="115" y="30"/>
                  </a:lnTo>
                  <a:lnTo>
                    <a:pt x="115" y="25"/>
                  </a:lnTo>
                  <a:lnTo>
                    <a:pt x="114" y="25"/>
                  </a:lnTo>
                  <a:lnTo>
                    <a:pt x="111" y="25"/>
                  </a:lnTo>
                  <a:lnTo>
                    <a:pt x="111" y="23"/>
                  </a:lnTo>
                  <a:lnTo>
                    <a:pt x="109" y="23"/>
                  </a:lnTo>
                  <a:lnTo>
                    <a:pt x="109" y="17"/>
                  </a:lnTo>
                  <a:lnTo>
                    <a:pt x="108" y="16"/>
                  </a:lnTo>
                  <a:lnTo>
                    <a:pt x="106" y="15"/>
                  </a:lnTo>
                  <a:lnTo>
                    <a:pt x="105" y="15"/>
                  </a:lnTo>
                  <a:lnTo>
                    <a:pt x="104" y="15"/>
                  </a:lnTo>
                  <a:lnTo>
                    <a:pt x="102" y="13"/>
                  </a:lnTo>
                  <a:lnTo>
                    <a:pt x="101" y="13"/>
                  </a:lnTo>
                  <a:lnTo>
                    <a:pt x="99" y="12"/>
                  </a:lnTo>
                  <a:lnTo>
                    <a:pt x="98" y="6"/>
                  </a:lnTo>
                  <a:lnTo>
                    <a:pt x="95" y="4"/>
                  </a:lnTo>
                  <a:lnTo>
                    <a:pt x="93" y="3"/>
                  </a:lnTo>
                  <a:lnTo>
                    <a:pt x="92" y="1"/>
                  </a:lnTo>
                  <a:lnTo>
                    <a:pt x="86" y="0"/>
                  </a:lnTo>
                  <a:lnTo>
                    <a:pt x="85"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98" name="Freeform 1274"/>
            <p:cNvSpPr>
              <a:spLocks/>
            </p:cNvSpPr>
            <p:nvPr/>
          </p:nvSpPr>
          <p:spPr bwMode="auto">
            <a:xfrm>
              <a:off x="5058586" y="3276654"/>
              <a:ext cx="163271" cy="270773"/>
            </a:xfrm>
            <a:custGeom>
              <a:avLst/>
              <a:gdLst/>
              <a:ahLst/>
              <a:cxnLst>
                <a:cxn ang="0">
                  <a:pos x="82" y="0"/>
                </a:cxn>
                <a:cxn ang="0">
                  <a:pos x="83" y="3"/>
                </a:cxn>
                <a:cxn ang="0">
                  <a:pos x="86" y="12"/>
                </a:cxn>
                <a:cxn ang="0">
                  <a:pos x="79" y="23"/>
                </a:cxn>
                <a:cxn ang="0">
                  <a:pos x="45" y="44"/>
                </a:cxn>
                <a:cxn ang="0">
                  <a:pos x="43" y="49"/>
                </a:cxn>
                <a:cxn ang="0">
                  <a:pos x="41" y="48"/>
                </a:cxn>
                <a:cxn ang="0">
                  <a:pos x="35" y="65"/>
                </a:cxn>
                <a:cxn ang="0">
                  <a:pos x="31" y="68"/>
                </a:cxn>
                <a:cxn ang="0">
                  <a:pos x="24" y="62"/>
                </a:cxn>
                <a:cxn ang="0">
                  <a:pos x="16" y="61"/>
                </a:cxn>
                <a:cxn ang="0">
                  <a:pos x="11" y="62"/>
                </a:cxn>
                <a:cxn ang="0">
                  <a:pos x="9" y="58"/>
                </a:cxn>
                <a:cxn ang="0">
                  <a:pos x="14" y="55"/>
                </a:cxn>
                <a:cxn ang="0">
                  <a:pos x="14" y="51"/>
                </a:cxn>
                <a:cxn ang="0">
                  <a:pos x="14" y="48"/>
                </a:cxn>
                <a:cxn ang="0">
                  <a:pos x="0" y="68"/>
                </a:cxn>
                <a:cxn ang="0">
                  <a:pos x="6" y="77"/>
                </a:cxn>
                <a:cxn ang="0">
                  <a:pos x="2" y="81"/>
                </a:cxn>
                <a:cxn ang="0">
                  <a:pos x="21" y="97"/>
                </a:cxn>
                <a:cxn ang="0">
                  <a:pos x="27" y="109"/>
                </a:cxn>
                <a:cxn ang="0">
                  <a:pos x="56" y="166"/>
                </a:cxn>
                <a:cxn ang="0">
                  <a:pos x="70" y="196"/>
                </a:cxn>
                <a:cxn ang="0">
                  <a:pos x="86" y="218"/>
                </a:cxn>
                <a:cxn ang="0">
                  <a:pos x="127" y="240"/>
                </a:cxn>
                <a:cxn ang="0">
                  <a:pos x="153" y="260"/>
                </a:cxn>
                <a:cxn ang="0">
                  <a:pos x="163" y="257"/>
                </a:cxn>
                <a:cxn ang="0">
                  <a:pos x="165" y="251"/>
                </a:cxn>
                <a:cxn ang="0">
                  <a:pos x="165" y="248"/>
                </a:cxn>
                <a:cxn ang="0">
                  <a:pos x="175" y="232"/>
                </a:cxn>
                <a:cxn ang="0">
                  <a:pos x="172" y="230"/>
                </a:cxn>
                <a:cxn ang="0">
                  <a:pos x="169" y="224"/>
                </a:cxn>
                <a:cxn ang="0">
                  <a:pos x="172" y="217"/>
                </a:cxn>
                <a:cxn ang="0">
                  <a:pos x="169" y="209"/>
                </a:cxn>
                <a:cxn ang="0">
                  <a:pos x="173" y="205"/>
                </a:cxn>
                <a:cxn ang="0">
                  <a:pos x="175" y="179"/>
                </a:cxn>
                <a:cxn ang="0">
                  <a:pos x="165" y="154"/>
                </a:cxn>
                <a:cxn ang="0">
                  <a:pos x="159" y="155"/>
                </a:cxn>
                <a:cxn ang="0">
                  <a:pos x="153" y="154"/>
                </a:cxn>
                <a:cxn ang="0">
                  <a:pos x="140" y="139"/>
                </a:cxn>
                <a:cxn ang="0">
                  <a:pos x="130" y="138"/>
                </a:cxn>
                <a:cxn ang="0">
                  <a:pos x="127" y="132"/>
                </a:cxn>
                <a:cxn ang="0">
                  <a:pos x="119" y="128"/>
                </a:cxn>
                <a:cxn ang="0">
                  <a:pos x="109" y="115"/>
                </a:cxn>
                <a:cxn ang="0">
                  <a:pos x="106" y="105"/>
                </a:cxn>
                <a:cxn ang="0">
                  <a:pos x="117" y="92"/>
                </a:cxn>
                <a:cxn ang="0">
                  <a:pos x="133" y="65"/>
                </a:cxn>
                <a:cxn ang="0">
                  <a:pos x="160" y="58"/>
                </a:cxn>
                <a:cxn ang="0">
                  <a:pos x="156" y="52"/>
                </a:cxn>
                <a:cxn ang="0">
                  <a:pos x="151" y="49"/>
                </a:cxn>
                <a:cxn ang="0">
                  <a:pos x="157" y="35"/>
                </a:cxn>
                <a:cxn ang="0">
                  <a:pos x="143" y="32"/>
                </a:cxn>
                <a:cxn ang="0">
                  <a:pos x="138" y="30"/>
                </a:cxn>
                <a:cxn ang="0">
                  <a:pos x="131" y="32"/>
                </a:cxn>
                <a:cxn ang="0">
                  <a:pos x="130" y="33"/>
                </a:cxn>
                <a:cxn ang="0">
                  <a:pos x="121" y="33"/>
                </a:cxn>
                <a:cxn ang="0">
                  <a:pos x="115" y="30"/>
                </a:cxn>
                <a:cxn ang="0">
                  <a:pos x="111" y="25"/>
                </a:cxn>
                <a:cxn ang="0">
                  <a:pos x="109" y="17"/>
                </a:cxn>
                <a:cxn ang="0">
                  <a:pos x="105" y="15"/>
                </a:cxn>
                <a:cxn ang="0">
                  <a:pos x="101" y="13"/>
                </a:cxn>
                <a:cxn ang="0">
                  <a:pos x="95" y="4"/>
                </a:cxn>
                <a:cxn ang="0">
                  <a:pos x="86" y="0"/>
                </a:cxn>
              </a:cxnLst>
              <a:rect l="0" t="0" r="r" b="b"/>
              <a:pathLst>
                <a:path w="178" h="260">
                  <a:moveTo>
                    <a:pt x="85" y="0"/>
                  </a:moveTo>
                  <a:lnTo>
                    <a:pt x="85" y="0"/>
                  </a:lnTo>
                  <a:lnTo>
                    <a:pt x="82" y="0"/>
                  </a:lnTo>
                  <a:lnTo>
                    <a:pt x="82" y="1"/>
                  </a:lnTo>
                  <a:lnTo>
                    <a:pt x="82" y="3"/>
                  </a:lnTo>
                  <a:lnTo>
                    <a:pt x="83" y="3"/>
                  </a:lnTo>
                  <a:lnTo>
                    <a:pt x="85" y="6"/>
                  </a:lnTo>
                  <a:lnTo>
                    <a:pt x="85" y="7"/>
                  </a:lnTo>
                  <a:lnTo>
                    <a:pt x="86" y="12"/>
                  </a:lnTo>
                  <a:lnTo>
                    <a:pt x="86" y="12"/>
                  </a:lnTo>
                  <a:lnTo>
                    <a:pt x="85" y="12"/>
                  </a:lnTo>
                  <a:lnTo>
                    <a:pt x="79" y="23"/>
                  </a:lnTo>
                  <a:lnTo>
                    <a:pt x="66" y="35"/>
                  </a:lnTo>
                  <a:lnTo>
                    <a:pt x="47" y="44"/>
                  </a:lnTo>
                  <a:lnTo>
                    <a:pt x="45" y="44"/>
                  </a:lnTo>
                  <a:lnTo>
                    <a:pt x="44" y="46"/>
                  </a:lnTo>
                  <a:lnTo>
                    <a:pt x="44" y="48"/>
                  </a:lnTo>
                  <a:lnTo>
                    <a:pt x="43" y="49"/>
                  </a:lnTo>
                  <a:lnTo>
                    <a:pt x="43" y="49"/>
                  </a:lnTo>
                  <a:lnTo>
                    <a:pt x="41" y="48"/>
                  </a:lnTo>
                  <a:lnTo>
                    <a:pt x="41" y="48"/>
                  </a:lnTo>
                  <a:lnTo>
                    <a:pt x="41" y="49"/>
                  </a:lnTo>
                  <a:lnTo>
                    <a:pt x="37" y="54"/>
                  </a:lnTo>
                  <a:lnTo>
                    <a:pt x="35" y="65"/>
                  </a:lnTo>
                  <a:lnTo>
                    <a:pt x="35" y="65"/>
                  </a:lnTo>
                  <a:lnTo>
                    <a:pt x="34" y="65"/>
                  </a:lnTo>
                  <a:lnTo>
                    <a:pt x="31" y="68"/>
                  </a:lnTo>
                  <a:lnTo>
                    <a:pt x="28" y="70"/>
                  </a:lnTo>
                  <a:lnTo>
                    <a:pt x="27" y="68"/>
                  </a:lnTo>
                  <a:lnTo>
                    <a:pt x="24" y="62"/>
                  </a:lnTo>
                  <a:lnTo>
                    <a:pt x="19" y="62"/>
                  </a:lnTo>
                  <a:lnTo>
                    <a:pt x="18" y="62"/>
                  </a:lnTo>
                  <a:lnTo>
                    <a:pt x="16" y="61"/>
                  </a:lnTo>
                  <a:lnTo>
                    <a:pt x="15" y="61"/>
                  </a:lnTo>
                  <a:lnTo>
                    <a:pt x="12" y="62"/>
                  </a:lnTo>
                  <a:lnTo>
                    <a:pt x="11" y="62"/>
                  </a:lnTo>
                  <a:lnTo>
                    <a:pt x="11" y="62"/>
                  </a:lnTo>
                  <a:lnTo>
                    <a:pt x="11" y="58"/>
                  </a:lnTo>
                  <a:lnTo>
                    <a:pt x="9" y="58"/>
                  </a:lnTo>
                  <a:lnTo>
                    <a:pt x="9" y="57"/>
                  </a:lnTo>
                  <a:lnTo>
                    <a:pt x="11" y="55"/>
                  </a:lnTo>
                  <a:lnTo>
                    <a:pt x="14" y="55"/>
                  </a:lnTo>
                  <a:lnTo>
                    <a:pt x="15" y="54"/>
                  </a:lnTo>
                  <a:lnTo>
                    <a:pt x="15" y="51"/>
                  </a:lnTo>
                  <a:lnTo>
                    <a:pt x="14" y="51"/>
                  </a:lnTo>
                  <a:lnTo>
                    <a:pt x="14" y="48"/>
                  </a:lnTo>
                  <a:lnTo>
                    <a:pt x="14" y="48"/>
                  </a:lnTo>
                  <a:lnTo>
                    <a:pt x="14" y="48"/>
                  </a:lnTo>
                  <a:lnTo>
                    <a:pt x="0" y="60"/>
                  </a:lnTo>
                  <a:lnTo>
                    <a:pt x="0" y="61"/>
                  </a:lnTo>
                  <a:lnTo>
                    <a:pt x="0" y="68"/>
                  </a:lnTo>
                  <a:lnTo>
                    <a:pt x="2" y="70"/>
                  </a:lnTo>
                  <a:lnTo>
                    <a:pt x="2" y="73"/>
                  </a:lnTo>
                  <a:lnTo>
                    <a:pt x="6" y="77"/>
                  </a:lnTo>
                  <a:lnTo>
                    <a:pt x="6" y="77"/>
                  </a:lnTo>
                  <a:lnTo>
                    <a:pt x="5" y="80"/>
                  </a:lnTo>
                  <a:lnTo>
                    <a:pt x="2" y="81"/>
                  </a:lnTo>
                  <a:lnTo>
                    <a:pt x="3" y="83"/>
                  </a:lnTo>
                  <a:lnTo>
                    <a:pt x="18" y="94"/>
                  </a:lnTo>
                  <a:lnTo>
                    <a:pt x="21" y="97"/>
                  </a:lnTo>
                  <a:lnTo>
                    <a:pt x="21" y="97"/>
                  </a:lnTo>
                  <a:lnTo>
                    <a:pt x="22" y="100"/>
                  </a:lnTo>
                  <a:lnTo>
                    <a:pt x="27" y="109"/>
                  </a:lnTo>
                  <a:lnTo>
                    <a:pt x="34" y="116"/>
                  </a:lnTo>
                  <a:lnTo>
                    <a:pt x="51" y="161"/>
                  </a:lnTo>
                  <a:lnTo>
                    <a:pt x="56" y="166"/>
                  </a:lnTo>
                  <a:lnTo>
                    <a:pt x="70" y="187"/>
                  </a:lnTo>
                  <a:lnTo>
                    <a:pt x="72" y="195"/>
                  </a:lnTo>
                  <a:lnTo>
                    <a:pt x="70" y="196"/>
                  </a:lnTo>
                  <a:lnTo>
                    <a:pt x="69" y="198"/>
                  </a:lnTo>
                  <a:lnTo>
                    <a:pt x="70" y="201"/>
                  </a:lnTo>
                  <a:lnTo>
                    <a:pt x="86" y="218"/>
                  </a:lnTo>
                  <a:lnTo>
                    <a:pt x="125" y="238"/>
                  </a:lnTo>
                  <a:lnTo>
                    <a:pt x="125" y="238"/>
                  </a:lnTo>
                  <a:lnTo>
                    <a:pt x="127" y="240"/>
                  </a:lnTo>
                  <a:lnTo>
                    <a:pt x="151" y="259"/>
                  </a:lnTo>
                  <a:lnTo>
                    <a:pt x="151" y="259"/>
                  </a:lnTo>
                  <a:lnTo>
                    <a:pt x="153" y="260"/>
                  </a:lnTo>
                  <a:lnTo>
                    <a:pt x="156" y="259"/>
                  </a:lnTo>
                  <a:lnTo>
                    <a:pt x="162" y="257"/>
                  </a:lnTo>
                  <a:lnTo>
                    <a:pt x="163" y="257"/>
                  </a:lnTo>
                  <a:lnTo>
                    <a:pt x="163" y="254"/>
                  </a:lnTo>
                  <a:lnTo>
                    <a:pt x="165" y="251"/>
                  </a:lnTo>
                  <a:lnTo>
                    <a:pt x="165" y="251"/>
                  </a:lnTo>
                  <a:lnTo>
                    <a:pt x="166" y="250"/>
                  </a:lnTo>
                  <a:lnTo>
                    <a:pt x="165" y="248"/>
                  </a:lnTo>
                  <a:lnTo>
                    <a:pt x="165" y="248"/>
                  </a:lnTo>
                  <a:lnTo>
                    <a:pt x="165" y="247"/>
                  </a:lnTo>
                  <a:lnTo>
                    <a:pt x="175" y="235"/>
                  </a:lnTo>
                  <a:lnTo>
                    <a:pt x="175" y="232"/>
                  </a:lnTo>
                  <a:lnTo>
                    <a:pt x="173" y="231"/>
                  </a:lnTo>
                  <a:lnTo>
                    <a:pt x="172" y="230"/>
                  </a:lnTo>
                  <a:lnTo>
                    <a:pt x="172" y="230"/>
                  </a:lnTo>
                  <a:lnTo>
                    <a:pt x="170" y="228"/>
                  </a:lnTo>
                  <a:lnTo>
                    <a:pt x="169" y="228"/>
                  </a:lnTo>
                  <a:lnTo>
                    <a:pt x="169" y="224"/>
                  </a:lnTo>
                  <a:lnTo>
                    <a:pt x="169" y="221"/>
                  </a:lnTo>
                  <a:lnTo>
                    <a:pt x="170" y="218"/>
                  </a:lnTo>
                  <a:lnTo>
                    <a:pt x="172" y="217"/>
                  </a:lnTo>
                  <a:lnTo>
                    <a:pt x="172" y="215"/>
                  </a:lnTo>
                  <a:lnTo>
                    <a:pt x="172" y="212"/>
                  </a:lnTo>
                  <a:lnTo>
                    <a:pt x="169" y="209"/>
                  </a:lnTo>
                  <a:lnTo>
                    <a:pt x="169" y="208"/>
                  </a:lnTo>
                  <a:lnTo>
                    <a:pt x="170" y="206"/>
                  </a:lnTo>
                  <a:lnTo>
                    <a:pt x="173" y="205"/>
                  </a:lnTo>
                  <a:lnTo>
                    <a:pt x="175" y="205"/>
                  </a:lnTo>
                  <a:lnTo>
                    <a:pt x="175" y="182"/>
                  </a:lnTo>
                  <a:lnTo>
                    <a:pt x="175" y="179"/>
                  </a:lnTo>
                  <a:lnTo>
                    <a:pt x="178" y="176"/>
                  </a:lnTo>
                  <a:lnTo>
                    <a:pt x="178" y="174"/>
                  </a:lnTo>
                  <a:lnTo>
                    <a:pt x="165" y="154"/>
                  </a:lnTo>
                  <a:lnTo>
                    <a:pt x="160" y="154"/>
                  </a:lnTo>
                  <a:lnTo>
                    <a:pt x="159" y="154"/>
                  </a:lnTo>
                  <a:lnTo>
                    <a:pt x="159" y="155"/>
                  </a:lnTo>
                  <a:lnTo>
                    <a:pt x="156" y="155"/>
                  </a:lnTo>
                  <a:lnTo>
                    <a:pt x="154" y="154"/>
                  </a:lnTo>
                  <a:lnTo>
                    <a:pt x="153" y="154"/>
                  </a:lnTo>
                  <a:lnTo>
                    <a:pt x="153" y="131"/>
                  </a:lnTo>
                  <a:lnTo>
                    <a:pt x="153" y="129"/>
                  </a:lnTo>
                  <a:lnTo>
                    <a:pt x="140" y="139"/>
                  </a:lnTo>
                  <a:lnTo>
                    <a:pt x="134" y="139"/>
                  </a:lnTo>
                  <a:lnTo>
                    <a:pt x="130" y="138"/>
                  </a:lnTo>
                  <a:lnTo>
                    <a:pt x="130" y="138"/>
                  </a:lnTo>
                  <a:lnTo>
                    <a:pt x="128" y="135"/>
                  </a:lnTo>
                  <a:lnTo>
                    <a:pt x="128" y="134"/>
                  </a:lnTo>
                  <a:lnTo>
                    <a:pt x="127" y="132"/>
                  </a:lnTo>
                  <a:lnTo>
                    <a:pt x="118" y="132"/>
                  </a:lnTo>
                  <a:lnTo>
                    <a:pt x="118" y="131"/>
                  </a:lnTo>
                  <a:lnTo>
                    <a:pt x="119" y="128"/>
                  </a:lnTo>
                  <a:lnTo>
                    <a:pt x="119" y="125"/>
                  </a:lnTo>
                  <a:lnTo>
                    <a:pt x="117" y="124"/>
                  </a:lnTo>
                  <a:lnTo>
                    <a:pt x="109" y="115"/>
                  </a:lnTo>
                  <a:lnTo>
                    <a:pt x="109" y="112"/>
                  </a:lnTo>
                  <a:lnTo>
                    <a:pt x="106" y="106"/>
                  </a:lnTo>
                  <a:lnTo>
                    <a:pt x="106" y="105"/>
                  </a:lnTo>
                  <a:lnTo>
                    <a:pt x="111" y="93"/>
                  </a:lnTo>
                  <a:lnTo>
                    <a:pt x="112" y="92"/>
                  </a:lnTo>
                  <a:lnTo>
                    <a:pt x="117" y="92"/>
                  </a:lnTo>
                  <a:lnTo>
                    <a:pt x="117" y="83"/>
                  </a:lnTo>
                  <a:lnTo>
                    <a:pt x="125" y="70"/>
                  </a:lnTo>
                  <a:lnTo>
                    <a:pt x="133" y="65"/>
                  </a:lnTo>
                  <a:lnTo>
                    <a:pt x="153" y="58"/>
                  </a:lnTo>
                  <a:lnTo>
                    <a:pt x="159" y="58"/>
                  </a:lnTo>
                  <a:lnTo>
                    <a:pt x="160" y="58"/>
                  </a:lnTo>
                  <a:lnTo>
                    <a:pt x="160" y="57"/>
                  </a:lnTo>
                  <a:lnTo>
                    <a:pt x="159" y="57"/>
                  </a:lnTo>
                  <a:lnTo>
                    <a:pt x="156" y="52"/>
                  </a:lnTo>
                  <a:lnTo>
                    <a:pt x="151" y="52"/>
                  </a:lnTo>
                  <a:lnTo>
                    <a:pt x="151" y="52"/>
                  </a:lnTo>
                  <a:lnTo>
                    <a:pt x="151" y="49"/>
                  </a:lnTo>
                  <a:lnTo>
                    <a:pt x="159" y="39"/>
                  </a:lnTo>
                  <a:lnTo>
                    <a:pt x="159" y="38"/>
                  </a:lnTo>
                  <a:lnTo>
                    <a:pt x="157" y="35"/>
                  </a:lnTo>
                  <a:lnTo>
                    <a:pt x="149" y="30"/>
                  </a:lnTo>
                  <a:lnTo>
                    <a:pt x="146" y="30"/>
                  </a:lnTo>
                  <a:lnTo>
                    <a:pt x="143" y="32"/>
                  </a:lnTo>
                  <a:lnTo>
                    <a:pt x="141" y="32"/>
                  </a:lnTo>
                  <a:lnTo>
                    <a:pt x="140" y="32"/>
                  </a:lnTo>
                  <a:lnTo>
                    <a:pt x="138" y="30"/>
                  </a:lnTo>
                  <a:lnTo>
                    <a:pt x="134" y="30"/>
                  </a:lnTo>
                  <a:lnTo>
                    <a:pt x="133" y="30"/>
                  </a:lnTo>
                  <a:lnTo>
                    <a:pt x="131" y="32"/>
                  </a:lnTo>
                  <a:lnTo>
                    <a:pt x="131" y="32"/>
                  </a:lnTo>
                  <a:lnTo>
                    <a:pt x="130" y="33"/>
                  </a:lnTo>
                  <a:lnTo>
                    <a:pt x="130" y="33"/>
                  </a:lnTo>
                  <a:lnTo>
                    <a:pt x="127" y="33"/>
                  </a:lnTo>
                  <a:lnTo>
                    <a:pt x="124" y="33"/>
                  </a:lnTo>
                  <a:lnTo>
                    <a:pt x="121" y="33"/>
                  </a:lnTo>
                  <a:lnTo>
                    <a:pt x="119" y="33"/>
                  </a:lnTo>
                  <a:lnTo>
                    <a:pt x="117" y="33"/>
                  </a:lnTo>
                  <a:lnTo>
                    <a:pt x="115" y="30"/>
                  </a:lnTo>
                  <a:lnTo>
                    <a:pt x="115" y="25"/>
                  </a:lnTo>
                  <a:lnTo>
                    <a:pt x="114" y="25"/>
                  </a:lnTo>
                  <a:lnTo>
                    <a:pt x="111" y="25"/>
                  </a:lnTo>
                  <a:lnTo>
                    <a:pt x="111" y="23"/>
                  </a:lnTo>
                  <a:lnTo>
                    <a:pt x="109" y="23"/>
                  </a:lnTo>
                  <a:lnTo>
                    <a:pt x="109" y="17"/>
                  </a:lnTo>
                  <a:lnTo>
                    <a:pt x="108" y="16"/>
                  </a:lnTo>
                  <a:lnTo>
                    <a:pt x="106" y="15"/>
                  </a:lnTo>
                  <a:lnTo>
                    <a:pt x="105" y="15"/>
                  </a:lnTo>
                  <a:lnTo>
                    <a:pt x="104" y="15"/>
                  </a:lnTo>
                  <a:lnTo>
                    <a:pt x="102" y="13"/>
                  </a:lnTo>
                  <a:lnTo>
                    <a:pt x="101" y="13"/>
                  </a:lnTo>
                  <a:lnTo>
                    <a:pt x="99" y="12"/>
                  </a:lnTo>
                  <a:lnTo>
                    <a:pt x="98" y="6"/>
                  </a:lnTo>
                  <a:lnTo>
                    <a:pt x="95" y="4"/>
                  </a:lnTo>
                  <a:lnTo>
                    <a:pt x="93" y="3"/>
                  </a:lnTo>
                  <a:lnTo>
                    <a:pt x="92" y="1"/>
                  </a:lnTo>
                  <a:lnTo>
                    <a:pt x="86" y="0"/>
                  </a:lnTo>
                  <a:lnTo>
                    <a:pt x="85"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999" name="Freeform 1277"/>
            <p:cNvSpPr>
              <a:spLocks/>
            </p:cNvSpPr>
            <p:nvPr/>
          </p:nvSpPr>
          <p:spPr bwMode="auto">
            <a:xfrm>
              <a:off x="5223613" y="4192415"/>
              <a:ext cx="45646" cy="60848"/>
            </a:xfrm>
            <a:custGeom>
              <a:avLst/>
              <a:gdLst/>
              <a:ahLst/>
              <a:cxnLst>
                <a:cxn ang="0">
                  <a:pos x="0" y="54"/>
                </a:cxn>
                <a:cxn ang="0">
                  <a:pos x="0" y="0"/>
                </a:cxn>
                <a:cxn ang="0">
                  <a:pos x="6" y="12"/>
                </a:cxn>
                <a:cxn ang="0">
                  <a:pos x="6" y="12"/>
                </a:cxn>
                <a:cxn ang="0">
                  <a:pos x="6" y="10"/>
                </a:cxn>
                <a:cxn ang="0">
                  <a:pos x="5" y="10"/>
                </a:cxn>
                <a:cxn ang="0">
                  <a:pos x="2" y="12"/>
                </a:cxn>
                <a:cxn ang="0">
                  <a:pos x="2" y="13"/>
                </a:cxn>
                <a:cxn ang="0">
                  <a:pos x="3" y="15"/>
                </a:cxn>
                <a:cxn ang="0">
                  <a:pos x="5" y="16"/>
                </a:cxn>
                <a:cxn ang="0">
                  <a:pos x="6" y="18"/>
                </a:cxn>
                <a:cxn ang="0">
                  <a:pos x="9" y="25"/>
                </a:cxn>
                <a:cxn ang="0">
                  <a:pos x="19" y="34"/>
                </a:cxn>
                <a:cxn ang="0">
                  <a:pos x="21" y="34"/>
                </a:cxn>
                <a:cxn ang="0">
                  <a:pos x="22" y="35"/>
                </a:cxn>
                <a:cxn ang="0">
                  <a:pos x="24" y="36"/>
                </a:cxn>
                <a:cxn ang="0">
                  <a:pos x="25" y="38"/>
                </a:cxn>
                <a:cxn ang="0">
                  <a:pos x="28" y="38"/>
                </a:cxn>
                <a:cxn ang="0">
                  <a:pos x="40" y="48"/>
                </a:cxn>
                <a:cxn ang="0">
                  <a:pos x="47" y="50"/>
                </a:cxn>
                <a:cxn ang="0">
                  <a:pos x="50" y="48"/>
                </a:cxn>
                <a:cxn ang="0">
                  <a:pos x="50" y="54"/>
                </a:cxn>
                <a:cxn ang="0">
                  <a:pos x="48" y="54"/>
                </a:cxn>
                <a:cxn ang="0">
                  <a:pos x="45" y="55"/>
                </a:cxn>
                <a:cxn ang="0">
                  <a:pos x="40" y="55"/>
                </a:cxn>
                <a:cxn ang="0">
                  <a:pos x="34" y="57"/>
                </a:cxn>
                <a:cxn ang="0">
                  <a:pos x="32" y="58"/>
                </a:cxn>
                <a:cxn ang="0">
                  <a:pos x="30" y="57"/>
                </a:cxn>
                <a:cxn ang="0">
                  <a:pos x="27" y="55"/>
                </a:cxn>
                <a:cxn ang="0">
                  <a:pos x="12" y="54"/>
                </a:cxn>
                <a:cxn ang="0">
                  <a:pos x="11" y="52"/>
                </a:cxn>
                <a:cxn ang="0">
                  <a:pos x="6" y="52"/>
                </a:cxn>
                <a:cxn ang="0">
                  <a:pos x="2" y="54"/>
                </a:cxn>
                <a:cxn ang="0">
                  <a:pos x="0" y="54"/>
                </a:cxn>
              </a:cxnLst>
              <a:rect l="0" t="0" r="r" b="b"/>
              <a:pathLst>
                <a:path w="50" h="58">
                  <a:moveTo>
                    <a:pt x="0" y="54"/>
                  </a:moveTo>
                  <a:lnTo>
                    <a:pt x="0" y="0"/>
                  </a:lnTo>
                  <a:lnTo>
                    <a:pt x="6" y="12"/>
                  </a:lnTo>
                  <a:lnTo>
                    <a:pt x="6" y="12"/>
                  </a:lnTo>
                  <a:lnTo>
                    <a:pt x="6" y="10"/>
                  </a:lnTo>
                  <a:lnTo>
                    <a:pt x="5" y="10"/>
                  </a:lnTo>
                  <a:lnTo>
                    <a:pt x="2" y="12"/>
                  </a:lnTo>
                  <a:lnTo>
                    <a:pt x="2" y="13"/>
                  </a:lnTo>
                  <a:lnTo>
                    <a:pt x="3" y="15"/>
                  </a:lnTo>
                  <a:lnTo>
                    <a:pt x="5" y="16"/>
                  </a:lnTo>
                  <a:lnTo>
                    <a:pt x="6" y="18"/>
                  </a:lnTo>
                  <a:lnTo>
                    <a:pt x="9" y="25"/>
                  </a:lnTo>
                  <a:lnTo>
                    <a:pt x="19" y="34"/>
                  </a:lnTo>
                  <a:lnTo>
                    <a:pt x="21" y="34"/>
                  </a:lnTo>
                  <a:lnTo>
                    <a:pt x="22" y="35"/>
                  </a:lnTo>
                  <a:lnTo>
                    <a:pt x="24" y="36"/>
                  </a:lnTo>
                  <a:lnTo>
                    <a:pt x="25" y="38"/>
                  </a:lnTo>
                  <a:lnTo>
                    <a:pt x="28" y="38"/>
                  </a:lnTo>
                  <a:lnTo>
                    <a:pt x="40" y="48"/>
                  </a:lnTo>
                  <a:lnTo>
                    <a:pt x="47" y="50"/>
                  </a:lnTo>
                  <a:lnTo>
                    <a:pt x="50" y="48"/>
                  </a:lnTo>
                  <a:lnTo>
                    <a:pt x="50" y="54"/>
                  </a:lnTo>
                  <a:lnTo>
                    <a:pt x="48" y="54"/>
                  </a:lnTo>
                  <a:lnTo>
                    <a:pt x="45" y="55"/>
                  </a:lnTo>
                  <a:lnTo>
                    <a:pt x="40" y="55"/>
                  </a:lnTo>
                  <a:lnTo>
                    <a:pt x="34" y="57"/>
                  </a:lnTo>
                  <a:lnTo>
                    <a:pt x="32" y="58"/>
                  </a:lnTo>
                  <a:lnTo>
                    <a:pt x="30" y="57"/>
                  </a:lnTo>
                  <a:lnTo>
                    <a:pt x="27" y="55"/>
                  </a:lnTo>
                  <a:lnTo>
                    <a:pt x="12" y="54"/>
                  </a:lnTo>
                  <a:lnTo>
                    <a:pt x="11" y="52"/>
                  </a:lnTo>
                  <a:lnTo>
                    <a:pt x="6" y="52"/>
                  </a:lnTo>
                  <a:lnTo>
                    <a:pt x="2" y="54"/>
                  </a:lnTo>
                  <a:lnTo>
                    <a:pt x="0" y="5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00" name="Freeform 1278"/>
            <p:cNvSpPr>
              <a:spLocks/>
            </p:cNvSpPr>
            <p:nvPr/>
          </p:nvSpPr>
          <p:spPr bwMode="auto">
            <a:xfrm>
              <a:off x="5223613" y="4192415"/>
              <a:ext cx="45646" cy="60848"/>
            </a:xfrm>
            <a:custGeom>
              <a:avLst/>
              <a:gdLst/>
              <a:ahLst/>
              <a:cxnLst>
                <a:cxn ang="0">
                  <a:pos x="0" y="54"/>
                </a:cxn>
                <a:cxn ang="0">
                  <a:pos x="0" y="0"/>
                </a:cxn>
                <a:cxn ang="0">
                  <a:pos x="6" y="12"/>
                </a:cxn>
                <a:cxn ang="0">
                  <a:pos x="6" y="12"/>
                </a:cxn>
                <a:cxn ang="0">
                  <a:pos x="6" y="10"/>
                </a:cxn>
                <a:cxn ang="0">
                  <a:pos x="5" y="10"/>
                </a:cxn>
                <a:cxn ang="0">
                  <a:pos x="2" y="12"/>
                </a:cxn>
                <a:cxn ang="0">
                  <a:pos x="2" y="13"/>
                </a:cxn>
                <a:cxn ang="0">
                  <a:pos x="3" y="15"/>
                </a:cxn>
                <a:cxn ang="0">
                  <a:pos x="5" y="16"/>
                </a:cxn>
                <a:cxn ang="0">
                  <a:pos x="6" y="18"/>
                </a:cxn>
                <a:cxn ang="0">
                  <a:pos x="9" y="25"/>
                </a:cxn>
                <a:cxn ang="0">
                  <a:pos x="19" y="34"/>
                </a:cxn>
                <a:cxn ang="0">
                  <a:pos x="21" y="34"/>
                </a:cxn>
                <a:cxn ang="0">
                  <a:pos x="22" y="35"/>
                </a:cxn>
                <a:cxn ang="0">
                  <a:pos x="24" y="36"/>
                </a:cxn>
                <a:cxn ang="0">
                  <a:pos x="25" y="38"/>
                </a:cxn>
                <a:cxn ang="0">
                  <a:pos x="28" y="38"/>
                </a:cxn>
                <a:cxn ang="0">
                  <a:pos x="40" y="48"/>
                </a:cxn>
                <a:cxn ang="0">
                  <a:pos x="47" y="50"/>
                </a:cxn>
                <a:cxn ang="0">
                  <a:pos x="50" y="48"/>
                </a:cxn>
                <a:cxn ang="0">
                  <a:pos x="50" y="54"/>
                </a:cxn>
                <a:cxn ang="0">
                  <a:pos x="48" y="54"/>
                </a:cxn>
                <a:cxn ang="0">
                  <a:pos x="45" y="55"/>
                </a:cxn>
                <a:cxn ang="0">
                  <a:pos x="40" y="55"/>
                </a:cxn>
                <a:cxn ang="0">
                  <a:pos x="34" y="57"/>
                </a:cxn>
                <a:cxn ang="0">
                  <a:pos x="32" y="58"/>
                </a:cxn>
                <a:cxn ang="0">
                  <a:pos x="30" y="57"/>
                </a:cxn>
                <a:cxn ang="0">
                  <a:pos x="27" y="55"/>
                </a:cxn>
                <a:cxn ang="0">
                  <a:pos x="12" y="54"/>
                </a:cxn>
                <a:cxn ang="0">
                  <a:pos x="11" y="52"/>
                </a:cxn>
                <a:cxn ang="0">
                  <a:pos x="6" y="52"/>
                </a:cxn>
                <a:cxn ang="0">
                  <a:pos x="2" y="54"/>
                </a:cxn>
                <a:cxn ang="0">
                  <a:pos x="0" y="54"/>
                </a:cxn>
              </a:cxnLst>
              <a:rect l="0" t="0" r="r" b="b"/>
              <a:pathLst>
                <a:path w="50" h="58">
                  <a:moveTo>
                    <a:pt x="0" y="54"/>
                  </a:moveTo>
                  <a:lnTo>
                    <a:pt x="0" y="0"/>
                  </a:lnTo>
                  <a:lnTo>
                    <a:pt x="6" y="12"/>
                  </a:lnTo>
                  <a:lnTo>
                    <a:pt x="6" y="12"/>
                  </a:lnTo>
                  <a:lnTo>
                    <a:pt x="6" y="10"/>
                  </a:lnTo>
                  <a:lnTo>
                    <a:pt x="5" y="10"/>
                  </a:lnTo>
                  <a:lnTo>
                    <a:pt x="2" y="12"/>
                  </a:lnTo>
                  <a:lnTo>
                    <a:pt x="2" y="13"/>
                  </a:lnTo>
                  <a:lnTo>
                    <a:pt x="3" y="15"/>
                  </a:lnTo>
                  <a:lnTo>
                    <a:pt x="5" y="16"/>
                  </a:lnTo>
                  <a:lnTo>
                    <a:pt x="6" y="18"/>
                  </a:lnTo>
                  <a:lnTo>
                    <a:pt x="9" y="25"/>
                  </a:lnTo>
                  <a:lnTo>
                    <a:pt x="19" y="34"/>
                  </a:lnTo>
                  <a:lnTo>
                    <a:pt x="21" y="34"/>
                  </a:lnTo>
                  <a:lnTo>
                    <a:pt x="22" y="35"/>
                  </a:lnTo>
                  <a:lnTo>
                    <a:pt x="24" y="36"/>
                  </a:lnTo>
                  <a:lnTo>
                    <a:pt x="25" y="38"/>
                  </a:lnTo>
                  <a:lnTo>
                    <a:pt x="28" y="38"/>
                  </a:lnTo>
                  <a:lnTo>
                    <a:pt x="40" y="48"/>
                  </a:lnTo>
                  <a:lnTo>
                    <a:pt x="47" y="50"/>
                  </a:lnTo>
                  <a:lnTo>
                    <a:pt x="50" y="48"/>
                  </a:lnTo>
                  <a:lnTo>
                    <a:pt x="50" y="54"/>
                  </a:lnTo>
                  <a:lnTo>
                    <a:pt x="48" y="54"/>
                  </a:lnTo>
                  <a:lnTo>
                    <a:pt x="45" y="55"/>
                  </a:lnTo>
                  <a:lnTo>
                    <a:pt x="40" y="55"/>
                  </a:lnTo>
                  <a:lnTo>
                    <a:pt x="34" y="57"/>
                  </a:lnTo>
                  <a:lnTo>
                    <a:pt x="32" y="58"/>
                  </a:lnTo>
                  <a:lnTo>
                    <a:pt x="30" y="57"/>
                  </a:lnTo>
                  <a:lnTo>
                    <a:pt x="27" y="55"/>
                  </a:lnTo>
                  <a:lnTo>
                    <a:pt x="12" y="54"/>
                  </a:lnTo>
                  <a:lnTo>
                    <a:pt x="11" y="52"/>
                  </a:lnTo>
                  <a:lnTo>
                    <a:pt x="6" y="52"/>
                  </a:lnTo>
                  <a:lnTo>
                    <a:pt x="2" y="54"/>
                  </a:lnTo>
                  <a:lnTo>
                    <a:pt x="0" y="5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01" name="Freeform 1279"/>
            <p:cNvSpPr>
              <a:spLocks/>
            </p:cNvSpPr>
            <p:nvPr/>
          </p:nvSpPr>
          <p:spPr bwMode="auto">
            <a:xfrm>
              <a:off x="5361428" y="3187411"/>
              <a:ext cx="54424" cy="60848"/>
            </a:xfrm>
            <a:custGeom>
              <a:avLst/>
              <a:gdLst/>
              <a:ahLst/>
              <a:cxnLst>
                <a:cxn ang="0">
                  <a:pos x="52" y="51"/>
                </a:cxn>
                <a:cxn ang="0">
                  <a:pos x="45" y="48"/>
                </a:cxn>
                <a:cxn ang="0">
                  <a:pos x="39" y="51"/>
                </a:cxn>
                <a:cxn ang="0">
                  <a:pos x="38" y="51"/>
                </a:cxn>
                <a:cxn ang="0">
                  <a:pos x="35" y="50"/>
                </a:cxn>
                <a:cxn ang="0">
                  <a:pos x="33" y="50"/>
                </a:cxn>
                <a:cxn ang="0">
                  <a:pos x="32" y="51"/>
                </a:cxn>
                <a:cxn ang="0">
                  <a:pos x="32" y="57"/>
                </a:cxn>
                <a:cxn ang="0">
                  <a:pos x="32" y="58"/>
                </a:cxn>
                <a:cxn ang="0">
                  <a:pos x="28" y="58"/>
                </a:cxn>
                <a:cxn ang="0">
                  <a:pos x="23" y="57"/>
                </a:cxn>
                <a:cxn ang="0">
                  <a:pos x="23" y="55"/>
                </a:cxn>
                <a:cxn ang="0">
                  <a:pos x="23" y="55"/>
                </a:cxn>
                <a:cxn ang="0">
                  <a:pos x="13" y="44"/>
                </a:cxn>
                <a:cxn ang="0">
                  <a:pos x="13" y="41"/>
                </a:cxn>
                <a:cxn ang="0">
                  <a:pos x="12" y="39"/>
                </a:cxn>
                <a:cxn ang="0">
                  <a:pos x="12" y="38"/>
                </a:cxn>
                <a:cxn ang="0">
                  <a:pos x="12" y="37"/>
                </a:cxn>
                <a:cxn ang="0">
                  <a:pos x="9" y="37"/>
                </a:cxn>
                <a:cxn ang="0">
                  <a:pos x="7" y="37"/>
                </a:cxn>
                <a:cxn ang="0">
                  <a:pos x="7" y="35"/>
                </a:cxn>
                <a:cxn ang="0">
                  <a:pos x="7" y="34"/>
                </a:cxn>
                <a:cxn ang="0">
                  <a:pos x="4" y="32"/>
                </a:cxn>
                <a:cxn ang="0">
                  <a:pos x="4" y="32"/>
                </a:cxn>
                <a:cxn ang="0">
                  <a:pos x="0" y="26"/>
                </a:cxn>
                <a:cxn ang="0">
                  <a:pos x="0" y="25"/>
                </a:cxn>
                <a:cxn ang="0">
                  <a:pos x="1" y="21"/>
                </a:cxn>
                <a:cxn ang="0">
                  <a:pos x="3" y="16"/>
                </a:cxn>
                <a:cxn ang="0">
                  <a:pos x="3" y="15"/>
                </a:cxn>
                <a:cxn ang="0">
                  <a:pos x="6" y="13"/>
                </a:cxn>
                <a:cxn ang="0">
                  <a:pos x="10" y="13"/>
                </a:cxn>
                <a:cxn ang="0">
                  <a:pos x="10" y="12"/>
                </a:cxn>
                <a:cxn ang="0">
                  <a:pos x="12" y="10"/>
                </a:cxn>
                <a:cxn ang="0">
                  <a:pos x="12" y="9"/>
                </a:cxn>
                <a:cxn ang="0">
                  <a:pos x="12" y="9"/>
                </a:cxn>
                <a:cxn ang="0">
                  <a:pos x="10" y="8"/>
                </a:cxn>
                <a:cxn ang="0">
                  <a:pos x="12" y="8"/>
                </a:cxn>
                <a:cxn ang="0">
                  <a:pos x="15" y="2"/>
                </a:cxn>
                <a:cxn ang="0">
                  <a:pos x="16" y="2"/>
                </a:cxn>
                <a:cxn ang="0">
                  <a:pos x="17" y="0"/>
                </a:cxn>
                <a:cxn ang="0">
                  <a:pos x="19" y="0"/>
                </a:cxn>
                <a:cxn ang="0">
                  <a:pos x="25" y="2"/>
                </a:cxn>
                <a:cxn ang="0">
                  <a:pos x="44" y="0"/>
                </a:cxn>
                <a:cxn ang="0">
                  <a:pos x="44" y="0"/>
                </a:cxn>
                <a:cxn ang="0">
                  <a:pos x="58" y="3"/>
                </a:cxn>
                <a:cxn ang="0">
                  <a:pos x="58" y="3"/>
                </a:cxn>
                <a:cxn ang="0">
                  <a:pos x="58" y="6"/>
                </a:cxn>
                <a:cxn ang="0">
                  <a:pos x="58" y="8"/>
                </a:cxn>
                <a:cxn ang="0">
                  <a:pos x="58" y="8"/>
                </a:cxn>
                <a:cxn ang="0">
                  <a:pos x="55" y="10"/>
                </a:cxn>
                <a:cxn ang="0">
                  <a:pos x="54" y="13"/>
                </a:cxn>
                <a:cxn ang="0">
                  <a:pos x="54" y="23"/>
                </a:cxn>
                <a:cxn ang="0">
                  <a:pos x="57" y="31"/>
                </a:cxn>
                <a:cxn ang="0">
                  <a:pos x="57" y="31"/>
                </a:cxn>
                <a:cxn ang="0">
                  <a:pos x="58" y="31"/>
                </a:cxn>
                <a:cxn ang="0">
                  <a:pos x="60" y="32"/>
                </a:cxn>
                <a:cxn ang="0">
                  <a:pos x="57" y="48"/>
                </a:cxn>
                <a:cxn ang="0">
                  <a:pos x="52" y="51"/>
                </a:cxn>
              </a:cxnLst>
              <a:rect l="0" t="0" r="r" b="b"/>
              <a:pathLst>
                <a:path w="60" h="58">
                  <a:moveTo>
                    <a:pt x="52" y="51"/>
                  </a:moveTo>
                  <a:lnTo>
                    <a:pt x="45" y="48"/>
                  </a:lnTo>
                  <a:lnTo>
                    <a:pt x="39" y="51"/>
                  </a:lnTo>
                  <a:lnTo>
                    <a:pt x="38" y="51"/>
                  </a:lnTo>
                  <a:lnTo>
                    <a:pt x="35" y="50"/>
                  </a:lnTo>
                  <a:lnTo>
                    <a:pt x="33" y="50"/>
                  </a:lnTo>
                  <a:lnTo>
                    <a:pt x="32" y="51"/>
                  </a:lnTo>
                  <a:lnTo>
                    <a:pt x="32" y="57"/>
                  </a:lnTo>
                  <a:lnTo>
                    <a:pt x="32" y="58"/>
                  </a:lnTo>
                  <a:lnTo>
                    <a:pt x="28" y="58"/>
                  </a:lnTo>
                  <a:lnTo>
                    <a:pt x="23" y="57"/>
                  </a:lnTo>
                  <a:lnTo>
                    <a:pt x="23" y="55"/>
                  </a:lnTo>
                  <a:lnTo>
                    <a:pt x="23" y="55"/>
                  </a:lnTo>
                  <a:lnTo>
                    <a:pt x="13" y="44"/>
                  </a:lnTo>
                  <a:lnTo>
                    <a:pt x="13" y="41"/>
                  </a:lnTo>
                  <a:lnTo>
                    <a:pt x="12" y="39"/>
                  </a:lnTo>
                  <a:lnTo>
                    <a:pt x="12" y="38"/>
                  </a:lnTo>
                  <a:lnTo>
                    <a:pt x="12" y="37"/>
                  </a:lnTo>
                  <a:lnTo>
                    <a:pt x="9" y="37"/>
                  </a:lnTo>
                  <a:lnTo>
                    <a:pt x="7" y="37"/>
                  </a:lnTo>
                  <a:lnTo>
                    <a:pt x="7" y="35"/>
                  </a:lnTo>
                  <a:lnTo>
                    <a:pt x="7" y="34"/>
                  </a:lnTo>
                  <a:lnTo>
                    <a:pt x="4" y="32"/>
                  </a:lnTo>
                  <a:lnTo>
                    <a:pt x="4" y="32"/>
                  </a:lnTo>
                  <a:lnTo>
                    <a:pt x="0" y="26"/>
                  </a:lnTo>
                  <a:lnTo>
                    <a:pt x="0" y="25"/>
                  </a:lnTo>
                  <a:lnTo>
                    <a:pt x="1" y="21"/>
                  </a:lnTo>
                  <a:lnTo>
                    <a:pt x="3" y="16"/>
                  </a:lnTo>
                  <a:lnTo>
                    <a:pt x="3" y="15"/>
                  </a:lnTo>
                  <a:lnTo>
                    <a:pt x="6" y="13"/>
                  </a:lnTo>
                  <a:lnTo>
                    <a:pt x="10" y="13"/>
                  </a:lnTo>
                  <a:lnTo>
                    <a:pt x="10" y="12"/>
                  </a:lnTo>
                  <a:lnTo>
                    <a:pt x="12" y="10"/>
                  </a:lnTo>
                  <a:lnTo>
                    <a:pt x="12" y="9"/>
                  </a:lnTo>
                  <a:lnTo>
                    <a:pt x="12" y="9"/>
                  </a:lnTo>
                  <a:lnTo>
                    <a:pt x="10" y="8"/>
                  </a:lnTo>
                  <a:lnTo>
                    <a:pt x="12" y="8"/>
                  </a:lnTo>
                  <a:lnTo>
                    <a:pt x="15" y="2"/>
                  </a:lnTo>
                  <a:lnTo>
                    <a:pt x="16" y="2"/>
                  </a:lnTo>
                  <a:lnTo>
                    <a:pt x="17" y="0"/>
                  </a:lnTo>
                  <a:lnTo>
                    <a:pt x="19" y="0"/>
                  </a:lnTo>
                  <a:lnTo>
                    <a:pt x="25" y="2"/>
                  </a:lnTo>
                  <a:lnTo>
                    <a:pt x="44" y="0"/>
                  </a:lnTo>
                  <a:lnTo>
                    <a:pt x="44" y="0"/>
                  </a:lnTo>
                  <a:lnTo>
                    <a:pt x="58" y="3"/>
                  </a:lnTo>
                  <a:lnTo>
                    <a:pt x="58" y="3"/>
                  </a:lnTo>
                  <a:lnTo>
                    <a:pt x="58" y="6"/>
                  </a:lnTo>
                  <a:lnTo>
                    <a:pt x="58" y="8"/>
                  </a:lnTo>
                  <a:lnTo>
                    <a:pt x="58" y="8"/>
                  </a:lnTo>
                  <a:lnTo>
                    <a:pt x="55" y="10"/>
                  </a:lnTo>
                  <a:lnTo>
                    <a:pt x="54" y="13"/>
                  </a:lnTo>
                  <a:lnTo>
                    <a:pt x="54" y="23"/>
                  </a:lnTo>
                  <a:lnTo>
                    <a:pt x="57" y="31"/>
                  </a:lnTo>
                  <a:lnTo>
                    <a:pt x="57" y="31"/>
                  </a:lnTo>
                  <a:lnTo>
                    <a:pt x="58" y="31"/>
                  </a:lnTo>
                  <a:lnTo>
                    <a:pt x="60" y="32"/>
                  </a:lnTo>
                  <a:lnTo>
                    <a:pt x="57" y="48"/>
                  </a:lnTo>
                  <a:lnTo>
                    <a:pt x="52" y="5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02" name="Freeform 1280"/>
            <p:cNvSpPr>
              <a:spLocks/>
            </p:cNvSpPr>
            <p:nvPr/>
          </p:nvSpPr>
          <p:spPr bwMode="auto">
            <a:xfrm>
              <a:off x="5361428" y="3187411"/>
              <a:ext cx="54424" cy="60848"/>
            </a:xfrm>
            <a:custGeom>
              <a:avLst/>
              <a:gdLst/>
              <a:ahLst/>
              <a:cxnLst>
                <a:cxn ang="0">
                  <a:pos x="52" y="51"/>
                </a:cxn>
                <a:cxn ang="0">
                  <a:pos x="45" y="48"/>
                </a:cxn>
                <a:cxn ang="0">
                  <a:pos x="39" y="51"/>
                </a:cxn>
                <a:cxn ang="0">
                  <a:pos x="38" y="51"/>
                </a:cxn>
                <a:cxn ang="0">
                  <a:pos x="35" y="50"/>
                </a:cxn>
                <a:cxn ang="0">
                  <a:pos x="33" y="50"/>
                </a:cxn>
                <a:cxn ang="0">
                  <a:pos x="32" y="51"/>
                </a:cxn>
                <a:cxn ang="0">
                  <a:pos x="32" y="57"/>
                </a:cxn>
                <a:cxn ang="0">
                  <a:pos x="32" y="58"/>
                </a:cxn>
                <a:cxn ang="0">
                  <a:pos x="28" y="58"/>
                </a:cxn>
                <a:cxn ang="0">
                  <a:pos x="23" y="57"/>
                </a:cxn>
                <a:cxn ang="0">
                  <a:pos x="23" y="55"/>
                </a:cxn>
                <a:cxn ang="0">
                  <a:pos x="23" y="55"/>
                </a:cxn>
                <a:cxn ang="0">
                  <a:pos x="13" y="44"/>
                </a:cxn>
                <a:cxn ang="0">
                  <a:pos x="13" y="41"/>
                </a:cxn>
                <a:cxn ang="0">
                  <a:pos x="12" y="39"/>
                </a:cxn>
                <a:cxn ang="0">
                  <a:pos x="12" y="38"/>
                </a:cxn>
                <a:cxn ang="0">
                  <a:pos x="12" y="37"/>
                </a:cxn>
                <a:cxn ang="0">
                  <a:pos x="9" y="37"/>
                </a:cxn>
                <a:cxn ang="0">
                  <a:pos x="7" y="37"/>
                </a:cxn>
                <a:cxn ang="0">
                  <a:pos x="7" y="35"/>
                </a:cxn>
                <a:cxn ang="0">
                  <a:pos x="7" y="34"/>
                </a:cxn>
                <a:cxn ang="0">
                  <a:pos x="4" y="32"/>
                </a:cxn>
                <a:cxn ang="0">
                  <a:pos x="4" y="32"/>
                </a:cxn>
                <a:cxn ang="0">
                  <a:pos x="0" y="26"/>
                </a:cxn>
                <a:cxn ang="0">
                  <a:pos x="0" y="25"/>
                </a:cxn>
                <a:cxn ang="0">
                  <a:pos x="1" y="21"/>
                </a:cxn>
                <a:cxn ang="0">
                  <a:pos x="3" y="16"/>
                </a:cxn>
                <a:cxn ang="0">
                  <a:pos x="3" y="15"/>
                </a:cxn>
                <a:cxn ang="0">
                  <a:pos x="6" y="13"/>
                </a:cxn>
                <a:cxn ang="0">
                  <a:pos x="10" y="13"/>
                </a:cxn>
                <a:cxn ang="0">
                  <a:pos x="10" y="12"/>
                </a:cxn>
                <a:cxn ang="0">
                  <a:pos x="12" y="10"/>
                </a:cxn>
                <a:cxn ang="0">
                  <a:pos x="12" y="9"/>
                </a:cxn>
                <a:cxn ang="0">
                  <a:pos x="12" y="9"/>
                </a:cxn>
                <a:cxn ang="0">
                  <a:pos x="10" y="8"/>
                </a:cxn>
                <a:cxn ang="0">
                  <a:pos x="12" y="8"/>
                </a:cxn>
                <a:cxn ang="0">
                  <a:pos x="15" y="2"/>
                </a:cxn>
                <a:cxn ang="0">
                  <a:pos x="16" y="2"/>
                </a:cxn>
                <a:cxn ang="0">
                  <a:pos x="17" y="0"/>
                </a:cxn>
                <a:cxn ang="0">
                  <a:pos x="19" y="0"/>
                </a:cxn>
                <a:cxn ang="0">
                  <a:pos x="25" y="2"/>
                </a:cxn>
                <a:cxn ang="0">
                  <a:pos x="44" y="0"/>
                </a:cxn>
                <a:cxn ang="0">
                  <a:pos x="44" y="0"/>
                </a:cxn>
                <a:cxn ang="0">
                  <a:pos x="58" y="3"/>
                </a:cxn>
                <a:cxn ang="0">
                  <a:pos x="58" y="3"/>
                </a:cxn>
                <a:cxn ang="0">
                  <a:pos x="58" y="6"/>
                </a:cxn>
                <a:cxn ang="0">
                  <a:pos x="58" y="8"/>
                </a:cxn>
                <a:cxn ang="0">
                  <a:pos x="58" y="8"/>
                </a:cxn>
                <a:cxn ang="0">
                  <a:pos x="55" y="10"/>
                </a:cxn>
                <a:cxn ang="0">
                  <a:pos x="54" y="13"/>
                </a:cxn>
                <a:cxn ang="0">
                  <a:pos x="54" y="23"/>
                </a:cxn>
                <a:cxn ang="0">
                  <a:pos x="57" y="31"/>
                </a:cxn>
                <a:cxn ang="0">
                  <a:pos x="57" y="31"/>
                </a:cxn>
                <a:cxn ang="0">
                  <a:pos x="58" y="31"/>
                </a:cxn>
                <a:cxn ang="0">
                  <a:pos x="60" y="32"/>
                </a:cxn>
                <a:cxn ang="0">
                  <a:pos x="57" y="48"/>
                </a:cxn>
                <a:cxn ang="0">
                  <a:pos x="52" y="51"/>
                </a:cxn>
              </a:cxnLst>
              <a:rect l="0" t="0" r="r" b="b"/>
              <a:pathLst>
                <a:path w="60" h="58">
                  <a:moveTo>
                    <a:pt x="52" y="51"/>
                  </a:moveTo>
                  <a:lnTo>
                    <a:pt x="45" y="48"/>
                  </a:lnTo>
                  <a:lnTo>
                    <a:pt x="39" y="51"/>
                  </a:lnTo>
                  <a:lnTo>
                    <a:pt x="38" y="51"/>
                  </a:lnTo>
                  <a:lnTo>
                    <a:pt x="35" y="50"/>
                  </a:lnTo>
                  <a:lnTo>
                    <a:pt x="33" y="50"/>
                  </a:lnTo>
                  <a:lnTo>
                    <a:pt x="32" y="51"/>
                  </a:lnTo>
                  <a:lnTo>
                    <a:pt x="32" y="57"/>
                  </a:lnTo>
                  <a:lnTo>
                    <a:pt x="32" y="58"/>
                  </a:lnTo>
                  <a:lnTo>
                    <a:pt x="28" y="58"/>
                  </a:lnTo>
                  <a:lnTo>
                    <a:pt x="23" y="57"/>
                  </a:lnTo>
                  <a:lnTo>
                    <a:pt x="23" y="55"/>
                  </a:lnTo>
                  <a:lnTo>
                    <a:pt x="23" y="55"/>
                  </a:lnTo>
                  <a:lnTo>
                    <a:pt x="13" y="44"/>
                  </a:lnTo>
                  <a:lnTo>
                    <a:pt x="13" y="41"/>
                  </a:lnTo>
                  <a:lnTo>
                    <a:pt x="12" y="39"/>
                  </a:lnTo>
                  <a:lnTo>
                    <a:pt x="12" y="38"/>
                  </a:lnTo>
                  <a:lnTo>
                    <a:pt x="12" y="37"/>
                  </a:lnTo>
                  <a:lnTo>
                    <a:pt x="9" y="37"/>
                  </a:lnTo>
                  <a:lnTo>
                    <a:pt x="7" y="37"/>
                  </a:lnTo>
                  <a:lnTo>
                    <a:pt x="7" y="35"/>
                  </a:lnTo>
                  <a:lnTo>
                    <a:pt x="7" y="34"/>
                  </a:lnTo>
                  <a:lnTo>
                    <a:pt x="4" y="32"/>
                  </a:lnTo>
                  <a:lnTo>
                    <a:pt x="4" y="32"/>
                  </a:lnTo>
                  <a:lnTo>
                    <a:pt x="0" y="26"/>
                  </a:lnTo>
                  <a:lnTo>
                    <a:pt x="0" y="25"/>
                  </a:lnTo>
                  <a:lnTo>
                    <a:pt x="1" y="21"/>
                  </a:lnTo>
                  <a:lnTo>
                    <a:pt x="3" y="16"/>
                  </a:lnTo>
                  <a:lnTo>
                    <a:pt x="3" y="15"/>
                  </a:lnTo>
                  <a:lnTo>
                    <a:pt x="6" y="13"/>
                  </a:lnTo>
                  <a:lnTo>
                    <a:pt x="10" y="13"/>
                  </a:lnTo>
                  <a:lnTo>
                    <a:pt x="10" y="12"/>
                  </a:lnTo>
                  <a:lnTo>
                    <a:pt x="12" y="10"/>
                  </a:lnTo>
                  <a:lnTo>
                    <a:pt x="12" y="9"/>
                  </a:lnTo>
                  <a:lnTo>
                    <a:pt x="12" y="9"/>
                  </a:lnTo>
                  <a:lnTo>
                    <a:pt x="10" y="8"/>
                  </a:lnTo>
                  <a:lnTo>
                    <a:pt x="12" y="8"/>
                  </a:lnTo>
                  <a:lnTo>
                    <a:pt x="15" y="2"/>
                  </a:lnTo>
                  <a:lnTo>
                    <a:pt x="16" y="2"/>
                  </a:lnTo>
                  <a:lnTo>
                    <a:pt x="17" y="0"/>
                  </a:lnTo>
                  <a:lnTo>
                    <a:pt x="19" y="0"/>
                  </a:lnTo>
                  <a:lnTo>
                    <a:pt x="25" y="2"/>
                  </a:lnTo>
                  <a:lnTo>
                    <a:pt x="44" y="0"/>
                  </a:lnTo>
                  <a:lnTo>
                    <a:pt x="44" y="0"/>
                  </a:lnTo>
                  <a:lnTo>
                    <a:pt x="58" y="3"/>
                  </a:lnTo>
                  <a:lnTo>
                    <a:pt x="58" y="3"/>
                  </a:lnTo>
                  <a:lnTo>
                    <a:pt x="58" y="6"/>
                  </a:lnTo>
                  <a:lnTo>
                    <a:pt x="58" y="8"/>
                  </a:lnTo>
                  <a:lnTo>
                    <a:pt x="58" y="8"/>
                  </a:lnTo>
                  <a:lnTo>
                    <a:pt x="55" y="10"/>
                  </a:lnTo>
                  <a:lnTo>
                    <a:pt x="54" y="13"/>
                  </a:lnTo>
                  <a:lnTo>
                    <a:pt x="54" y="23"/>
                  </a:lnTo>
                  <a:lnTo>
                    <a:pt x="57" y="31"/>
                  </a:lnTo>
                  <a:lnTo>
                    <a:pt x="57" y="31"/>
                  </a:lnTo>
                  <a:lnTo>
                    <a:pt x="58" y="31"/>
                  </a:lnTo>
                  <a:lnTo>
                    <a:pt x="60" y="32"/>
                  </a:lnTo>
                  <a:lnTo>
                    <a:pt x="57" y="48"/>
                  </a:lnTo>
                  <a:lnTo>
                    <a:pt x="52" y="5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03" name="Freeform 1281"/>
            <p:cNvSpPr>
              <a:spLocks/>
            </p:cNvSpPr>
            <p:nvPr/>
          </p:nvSpPr>
          <p:spPr bwMode="auto">
            <a:xfrm>
              <a:off x="6420932" y="2267592"/>
              <a:ext cx="126403" cy="121696"/>
            </a:xfrm>
            <a:custGeom>
              <a:avLst/>
              <a:gdLst/>
              <a:ahLst/>
              <a:cxnLst>
                <a:cxn ang="0">
                  <a:pos x="1" y="97"/>
                </a:cxn>
                <a:cxn ang="0">
                  <a:pos x="6" y="88"/>
                </a:cxn>
                <a:cxn ang="0">
                  <a:pos x="8" y="55"/>
                </a:cxn>
                <a:cxn ang="0">
                  <a:pos x="19" y="54"/>
                </a:cxn>
                <a:cxn ang="0">
                  <a:pos x="24" y="54"/>
                </a:cxn>
                <a:cxn ang="0">
                  <a:pos x="27" y="49"/>
                </a:cxn>
                <a:cxn ang="0">
                  <a:pos x="32" y="46"/>
                </a:cxn>
                <a:cxn ang="0">
                  <a:pos x="37" y="49"/>
                </a:cxn>
                <a:cxn ang="0">
                  <a:pos x="35" y="40"/>
                </a:cxn>
                <a:cxn ang="0">
                  <a:pos x="40" y="27"/>
                </a:cxn>
                <a:cxn ang="0">
                  <a:pos x="49" y="24"/>
                </a:cxn>
                <a:cxn ang="0">
                  <a:pos x="48" y="19"/>
                </a:cxn>
                <a:cxn ang="0">
                  <a:pos x="51" y="13"/>
                </a:cxn>
                <a:cxn ang="0">
                  <a:pos x="53" y="11"/>
                </a:cxn>
                <a:cxn ang="0">
                  <a:pos x="61" y="10"/>
                </a:cxn>
                <a:cxn ang="0">
                  <a:pos x="65" y="4"/>
                </a:cxn>
                <a:cxn ang="0">
                  <a:pos x="74" y="1"/>
                </a:cxn>
                <a:cxn ang="0">
                  <a:pos x="81" y="3"/>
                </a:cxn>
                <a:cxn ang="0">
                  <a:pos x="90" y="6"/>
                </a:cxn>
                <a:cxn ang="0">
                  <a:pos x="96" y="8"/>
                </a:cxn>
                <a:cxn ang="0">
                  <a:pos x="106" y="8"/>
                </a:cxn>
                <a:cxn ang="0">
                  <a:pos x="112" y="16"/>
                </a:cxn>
                <a:cxn ang="0">
                  <a:pos x="112" y="22"/>
                </a:cxn>
                <a:cxn ang="0">
                  <a:pos x="110" y="29"/>
                </a:cxn>
                <a:cxn ang="0">
                  <a:pos x="113" y="36"/>
                </a:cxn>
                <a:cxn ang="0">
                  <a:pos x="123" y="52"/>
                </a:cxn>
                <a:cxn ang="0">
                  <a:pos x="125" y="58"/>
                </a:cxn>
                <a:cxn ang="0">
                  <a:pos x="135" y="59"/>
                </a:cxn>
                <a:cxn ang="0">
                  <a:pos x="138" y="62"/>
                </a:cxn>
                <a:cxn ang="0">
                  <a:pos x="125" y="72"/>
                </a:cxn>
                <a:cxn ang="0">
                  <a:pos x="117" y="71"/>
                </a:cxn>
                <a:cxn ang="0">
                  <a:pos x="116" y="75"/>
                </a:cxn>
                <a:cxn ang="0">
                  <a:pos x="119" y="83"/>
                </a:cxn>
                <a:cxn ang="0">
                  <a:pos x="122" y="87"/>
                </a:cxn>
                <a:cxn ang="0">
                  <a:pos x="123" y="97"/>
                </a:cxn>
                <a:cxn ang="0">
                  <a:pos x="114" y="99"/>
                </a:cxn>
                <a:cxn ang="0">
                  <a:pos x="107" y="106"/>
                </a:cxn>
                <a:cxn ang="0">
                  <a:pos x="107" y="115"/>
                </a:cxn>
                <a:cxn ang="0">
                  <a:pos x="103" y="115"/>
                </a:cxn>
                <a:cxn ang="0">
                  <a:pos x="90" y="116"/>
                </a:cxn>
                <a:cxn ang="0">
                  <a:pos x="84" y="110"/>
                </a:cxn>
                <a:cxn ang="0">
                  <a:pos x="77" y="112"/>
                </a:cxn>
                <a:cxn ang="0">
                  <a:pos x="71" y="110"/>
                </a:cxn>
                <a:cxn ang="0">
                  <a:pos x="65" y="113"/>
                </a:cxn>
                <a:cxn ang="0">
                  <a:pos x="62" y="110"/>
                </a:cxn>
                <a:cxn ang="0">
                  <a:pos x="55" y="107"/>
                </a:cxn>
                <a:cxn ang="0">
                  <a:pos x="40" y="104"/>
                </a:cxn>
                <a:cxn ang="0">
                  <a:pos x="29" y="101"/>
                </a:cxn>
                <a:cxn ang="0">
                  <a:pos x="14" y="107"/>
                </a:cxn>
                <a:cxn ang="0">
                  <a:pos x="6" y="109"/>
                </a:cxn>
              </a:cxnLst>
              <a:rect l="0" t="0" r="r" b="b"/>
              <a:pathLst>
                <a:path w="138" h="117">
                  <a:moveTo>
                    <a:pt x="4" y="110"/>
                  </a:moveTo>
                  <a:lnTo>
                    <a:pt x="6" y="100"/>
                  </a:lnTo>
                  <a:lnTo>
                    <a:pt x="1" y="97"/>
                  </a:lnTo>
                  <a:lnTo>
                    <a:pt x="0" y="94"/>
                  </a:lnTo>
                  <a:lnTo>
                    <a:pt x="3" y="90"/>
                  </a:lnTo>
                  <a:lnTo>
                    <a:pt x="6" y="88"/>
                  </a:lnTo>
                  <a:lnTo>
                    <a:pt x="10" y="84"/>
                  </a:lnTo>
                  <a:lnTo>
                    <a:pt x="4" y="54"/>
                  </a:lnTo>
                  <a:lnTo>
                    <a:pt x="8" y="55"/>
                  </a:lnTo>
                  <a:lnTo>
                    <a:pt x="13" y="54"/>
                  </a:lnTo>
                  <a:lnTo>
                    <a:pt x="16" y="55"/>
                  </a:lnTo>
                  <a:lnTo>
                    <a:pt x="19" y="54"/>
                  </a:lnTo>
                  <a:lnTo>
                    <a:pt x="20" y="52"/>
                  </a:lnTo>
                  <a:lnTo>
                    <a:pt x="22" y="54"/>
                  </a:lnTo>
                  <a:lnTo>
                    <a:pt x="24" y="54"/>
                  </a:lnTo>
                  <a:lnTo>
                    <a:pt x="23" y="49"/>
                  </a:lnTo>
                  <a:lnTo>
                    <a:pt x="24" y="49"/>
                  </a:lnTo>
                  <a:lnTo>
                    <a:pt x="27" y="49"/>
                  </a:lnTo>
                  <a:lnTo>
                    <a:pt x="29" y="48"/>
                  </a:lnTo>
                  <a:lnTo>
                    <a:pt x="30" y="46"/>
                  </a:lnTo>
                  <a:lnTo>
                    <a:pt x="32" y="46"/>
                  </a:lnTo>
                  <a:lnTo>
                    <a:pt x="33" y="48"/>
                  </a:lnTo>
                  <a:lnTo>
                    <a:pt x="35" y="49"/>
                  </a:lnTo>
                  <a:lnTo>
                    <a:pt x="37" y="49"/>
                  </a:lnTo>
                  <a:lnTo>
                    <a:pt x="36" y="46"/>
                  </a:lnTo>
                  <a:lnTo>
                    <a:pt x="35" y="43"/>
                  </a:lnTo>
                  <a:lnTo>
                    <a:pt x="35" y="40"/>
                  </a:lnTo>
                  <a:lnTo>
                    <a:pt x="37" y="38"/>
                  </a:lnTo>
                  <a:lnTo>
                    <a:pt x="39" y="29"/>
                  </a:lnTo>
                  <a:lnTo>
                    <a:pt x="40" y="27"/>
                  </a:lnTo>
                  <a:lnTo>
                    <a:pt x="42" y="27"/>
                  </a:lnTo>
                  <a:lnTo>
                    <a:pt x="46" y="24"/>
                  </a:lnTo>
                  <a:lnTo>
                    <a:pt x="49" y="24"/>
                  </a:lnTo>
                  <a:lnTo>
                    <a:pt x="51" y="20"/>
                  </a:lnTo>
                  <a:lnTo>
                    <a:pt x="49" y="19"/>
                  </a:lnTo>
                  <a:lnTo>
                    <a:pt x="48" y="19"/>
                  </a:lnTo>
                  <a:lnTo>
                    <a:pt x="48" y="16"/>
                  </a:lnTo>
                  <a:lnTo>
                    <a:pt x="49" y="14"/>
                  </a:lnTo>
                  <a:lnTo>
                    <a:pt x="51" y="13"/>
                  </a:lnTo>
                  <a:lnTo>
                    <a:pt x="51" y="11"/>
                  </a:lnTo>
                  <a:lnTo>
                    <a:pt x="52" y="13"/>
                  </a:lnTo>
                  <a:lnTo>
                    <a:pt x="53" y="11"/>
                  </a:lnTo>
                  <a:lnTo>
                    <a:pt x="55" y="8"/>
                  </a:lnTo>
                  <a:lnTo>
                    <a:pt x="56" y="8"/>
                  </a:lnTo>
                  <a:lnTo>
                    <a:pt x="61" y="10"/>
                  </a:lnTo>
                  <a:lnTo>
                    <a:pt x="62" y="8"/>
                  </a:lnTo>
                  <a:lnTo>
                    <a:pt x="65" y="6"/>
                  </a:lnTo>
                  <a:lnTo>
                    <a:pt x="65" y="4"/>
                  </a:lnTo>
                  <a:lnTo>
                    <a:pt x="71" y="0"/>
                  </a:lnTo>
                  <a:lnTo>
                    <a:pt x="74" y="0"/>
                  </a:lnTo>
                  <a:lnTo>
                    <a:pt x="74" y="1"/>
                  </a:lnTo>
                  <a:lnTo>
                    <a:pt x="78" y="1"/>
                  </a:lnTo>
                  <a:lnTo>
                    <a:pt x="80" y="1"/>
                  </a:lnTo>
                  <a:lnTo>
                    <a:pt x="81" y="3"/>
                  </a:lnTo>
                  <a:lnTo>
                    <a:pt x="85" y="3"/>
                  </a:lnTo>
                  <a:lnTo>
                    <a:pt x="87" y="3"/>
                  </a:lnTo>
                  <a:lnTo>
                    <a:pt x="90" y="6"/>
                  </a:lnTo>
                  <a:lnTo>
                    <a:pt x="90" y="10"/>
                  </a:lnTo>
                  <a:lnTo>
                    <a:pt x="94" y="8"/>
                  </a:lnTo>
                  <a:lnTo>
                    <a:pt x="96" y="8"/>
                  </a:lnTo>
                  <a:lnTo>
                    <a:pt x="97" y="7"/>
                  </a:lnTo>
                  <a:lnTo>
                    <a:pt x="103" y="7"/>
                  </a:lnTo>
                  <a:lnTo>
                    <a:pt x="106" y="8"/>
                  </a:lnTo>
                  <a:lnTo>
                    <a:pt x="109" y="13"/>
                  </a:lnTo>
                  <a:lnTo>
                    <a:pt x="112" y="13"/>
                  </a:lnTo>
                  <a:lnTo>
                    <a:pt x="112" y="16"/>
                  </a:lnTo>
                  <a:lnTo>
                    <a:pt x="110" y="19"/>
                  </a:lnTo>
                  <a:lnTo>
                    <a:pt x="110" y="20"/>
                  </a:lnTo>
                  <a:lnTo>
                    <a:pt x="112" y="22"/>
                  </a:lnTo>
                  <a:lnTo>
                    <a:pt x="113" y="24"/>
                  </a:lnTo>
                  <a:lnTo>
                    <a:pt x="112" y="27"/>
                  </a:lnTo>
                  <a:lnTo>
                    <a:pt x="110" y="29"/>
                  </a:lnTo>
                  <a:lnTo>
                    <a:pt x="110" y="32"/>
                  </a:lnTo>
                  <a:lnTo>
                    <a:pt x="110" y="33"/>
                  </a:lnTo>
                  <a:lnTo>
                    <a:pt x="113" y="36"/>
                  </a:lnTo>
                  <a:lnTo>
                    <a:pt x="119" y="48"/>
                  </a:lnTo>
                  <a:lnTo>
                    <a:pt x="122" y="51"/>
                  </a:lnTo>
                  <a:lnTo>
                    <a:pt x="123" y="52"/>
                  </a:lnTo>
                  <a:lnTo>
                    <a:pt x="123" y="54"/>
                  </a:lnTo>
                  <a:lnTo>
                    <a:pt x="123" y="56"/>
                  </a:lnTo>
                  <a:lnTo>
                    <a:pt x="125" y="58"/>
                  </a:lnTo>
                  <a:lnTo>
                    <a:pt x="130" y="56"/>
                  </a:lnTo>
                  <a:lnTo>
                    <a:pt x="132" y="58"/>
                  </a:lnTo>
                  <a:lnTo>
                    <a:pt x="135" y="59"/>
                  </a:lnTo>
                  <a:lnTo>
                    <a:pt x="133" y="61"/>
                  </a:lnTo>
                  <a:lnTo>
                    <a:pt x="135" y="62"/>
                  </a:lnTo>
                  <a:lnTo>
                    <a:pt x="138" y="62"/>
                  </a:lnTo>
                  <a:lnTo>
                    <a:pt x="138" y="67"/>
                  </a:lnTo>
                  <a:lnTo>
                    <a:pt x="129" y="74"/>
                  </a:lnTo>
                  <a:lnTo>
                    <a:pt x="125" y="72"/>
                  </a:lnTo>
                  <a:lnTo>
                    <a:pt x="122" y="69"/>
                  </a:lnTo>
                  <a:lnTo>
                    <a:pt x="120" y="69"/>
                  </a:lnTo>
                  <a:lnTo>
                    <a:pt x="117" y="71"/>
                  </a:lnTo>
                  <a:lnTo>
                    <a:pt x="117" y="72"/>
                  </a:lnTo>
                  <a:lnTo>
                    <a:pt x="116" y="74"/>
                  </a:lnTo>
                  <a:lnTo>
                    <a:pt x="116" y="75"/>
                  </a:lnTo>
                  <a:lnTo>
                    <a:pt x="119" y="78"/>
                  </a:lnTo>
                  <a:lnTo>
                    <a:pt x="120" y="80"/>
                  </a:lnTo>
                  <a:lnTo>
                    <a:pt x="119" y="83"/>
                  </a:lnTo>
                  <a:lnTo>
                    <a:pt x="120" y="84"/>
                  </a:lnTo>
                  <a:lnTo>
                    <a:pt x="120" y="85"/>
                  </a:lnTo>
                  <a:lnTo>
                    <a:pt x="122" y="87"/>
                  </a:lnTo>
                  <a:lnTo>
                    <a:pt x="123" y="88"/>
                  </a:lnTo>
                  <a:lnTo>
                    <a:pt x="122" y="91"/>
                  </a:lnTo>
                  <a:lnTo>
                    <a:pt x="123" y="97"/>
                  </a:lnTo>
                  <a:lnTo>
                    <a:pt x="119" y="97"/>
                  </a:lnTo>
                  <a:lnTo>
                    <a:pt x="116" y="99"/>
                  </a:lnTo>
                  <a:lnTo>
                    <a:pt x="114" y="99"/>
                  </a:lnTo>
                  <a:lnTo>
                    <a:pt x="112" y="99"/>
                  </a:lnTo>
                  <a:lnTo>
                    <a:pt x="107" y="104"/>
                  </a:lnTo>
                  <a:lnTo>
                    <a:pt x="107" y="106"/>
                  </a:lnTo>
                  <a:lnTo>
                    <a:pt x="107" y="107"/>
                  </a:lnTo>
                  <a:lnTo>
                    <a:pt x="106" y="110"/>
                  </a:lnTo>
                  <a:lnTo>
                    <a:pt x="107" y="115"/>
                  </a:lnTo>
                  <a:lnTo>
                    <a:pt x="106" y="116"/>
                  </a:lnTo>
                  <a:lnTo>
                    <a:pt x="104" y="117"/>
                  </a:lnTo>
                  <a:lnTo>
                    <a:pt x="103" y="115"/>
                  </a:lnTo>
                  <a:lnTo>
                    <a:pt x="100" y="115"/>
                  </a:lnTo>
                  <a:lnTo>
                    <a:pt x="91" y="115"/>
                  </a:lnTo>
                  <a:lnTo>
                    <a:pt x="90" y="116"/>
                  </a:lnTo>
                  <a:lnTo>
                    <a:pt x="88" y="115"/>
                  </a:lnTo>
                  <a:lnTo>
                    <a:pt x="88" y="113"/>
                  </a:lnTo>
                  <a:lnTo>
                    <a:pt x="84" y="110"/>
                  </a:lnTo>
                  <a:lnTo>
                    <a:pt x="80" y="115"/>
                  </a:lnTo>
                  <a:lnTo>
                    <a:pt x="78" y="113"/>
                  </a:lnTo>
                  <a:lnTo>
                    <a:pt x="77" y="112"/>
                  </a:lnTo>
                  <a:lnTo>
                    <a:pt x="75" y="113"/>
                  </a:lnTo>
                  <a:lnTo>
                    <a:pt x="72" y="112"/>
                  </a:lnTo>
                  <a:lnTo>
                    <a:pt x="71" y="110"/>
                  </a:lnTo>
                  <a:lnTo>
                    <a:pt x="69" y="112"/>
                  </a:lnTo>
                  <a:lnTo>
                    <a:pt x="67" y="112"/>
                  </a:lnTo>
                  <a:lnTo>
                    <a:pt x="65" y="113"/>
                  </a:lnTo>
                  <a:lnTo>
                    <a:pt x="64" y="115"/>
                  </a:lnTo>
                  <a:lnTo>
                    <a:pt x="62" y="113"/>
                  </a:lnTo>
                  <a:lnTo>
                    <a:pt x="62" y="110"/>
                  </a:lnTo>
                  <a:lnTo>
                    <a:pt x="58" y="112"/>
                  </a:lnTo>
                  <a:lnTo>
                    <a:pt x="56" y="110"/>
                  </a:lnTo>
                  <a:lnTo>
                    <a:pt x="55" y="107"/>
                  </a:lnTo>
                  <a:lnTo>
                    <a:pt x="49" y="104"/>
                  </a:lnTo>
                  <a:lnTo>
                    <a:pt x="48" y="106"/>
                  </a:lnTo>
                  <a:lnTo>
                    <a:pt x="40" y="104"/>
                  </a:lnTo>
                  <a:lnTo>
                    <a:pt x="37" y="101"/>
                  </a:lnTo>
                  <a:lnTo>
                    <a:pt x="30" y="101"/>
                  </a:lnTo>
                  <a:lnTo>
                    <a:pt x="29" y="101"/>
                  </a:lnTo>
                  <a:lnTo>
                    <a:pt x="16" y="103"/>
                  </a:lnTo>
                  <a:lnTo>
                    <a:pt x="16" y="106"/>
                  </a:lnTo>
                  <a:lnTo>
                    <a:pt x="14" y="107"/>
                  </a:lnTo>
                  <a:lnTo>
                    <a:pt x="10" y="109"/>
                  </a:lnTo>
                  <a:lnTo>
                    <a:pt x="8" y="109"/>
                  </a:lnTo>
                  <a:lnTo>
                    <a:pt x="6" y="109"/>
                  </a:lnTo>
                  <a:lnTo>
                    <a:pt x="4" y="11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04" name="Freeform 1282"/>
            <p:cNvSpPr>
              <a:spLocks/>
            </p:cNvSpPr>
            <p:nvPr/>
          </p:nvSpPr>
          <p:spPr bwMode="auto">
            <a:xfrm>
              <a:off x="6420932" y="2267592"/>
              <a:ext cx="126403" cy="121696"/>
            </a:xfrm>
            <a:custGeom>
              <a:avLst/>
              <a:gdLst/>
              <a:ahLst/>
              <a:cxnLst>
                <a:cxn ang="0">
                  <a:pos x="1" y="97"/>
                </a:cxn>
                <a:cxn ang="0">
                  <a:pos x="6" y="88"/>
                </a:cxn>
                <a:cxn ang="0">
                  <a:pos x="8" y="55"/>
                </a:cxn>
                <a:cxn ang="0">
                  <a:pos x="19" y="54"/>
                </a:cxn>
                <a:cxn ang="0">
                  <a:pos x="24" y="54"/>
                </a:cxn>
                <a:cxn ang="0">
                  <a:pos x="27" y="49"/>
                </a:cxn>
                <a:cxn ang="0">
                  <a:pos x="32" y="46"/>
                </a:cxn>
                <a:cxn ang="0">
                  <a:pos x="37" y="49"/>
                </a:cxn>
                <a:cxn ang="0">
                  <a:pos x="35" y="40"/>
                </a:cxn>
                <a:cxn ang="0">
                  <a:pos x="40" y="27"/>
                </a:cxn>
                <a:cxn ang="0">
                  <a:pos x="49" y="24"/>
                </a:cxn>
                <a:cxn ang="0">
                  <a:pos x="48" y="19"/>
                </a:cxn>
                <a:cxn ang="0">
                  <a:pos x="51" y="13"/>
                </a:cxn>
                <a:cxn ang="0">
                  <a:pos x="53" y="11"/>
                </a:cxn>
                <a:cxn ang="0">
                  <a:pos x="61" y="10"/>
                </a:cxn>
                <a:cxn ang="0">
                  <a:pos x="65" y="4"/>
                </a:cxn>
                <a:cxn ang="0">
                  <a:pos x="74" y="1"/>
                </a:cxn>
                <a:cxn ang="0">
                  <a:pos x="81" y="3"/>
                </a:cxn>
                <a:cxn ang="0">
                  <a:pos x="90" y="6"/>
                </a:cxn>
                <a:cxn ang="0">
                  <a:pos x="96" y="8"/>
                </a:cxn>
                <a:cxn ang="0">
                  <a:pos x="106" y="8"/>
                </a:cxn>
                <a:cxn ang="0">
                  <a:pos x="112" y="16"/>
                </a:cxn>
                <a:cxn ang="0">
                  <a:pos x="112" y="22"/>
                </a:cxn>
                <a:cxn ang="0">
                  <a:pos x="110" y="29"/>
                </a:cxn>
                <a:cxn ang="0">
                  <a:pos x="113" y="36"/>
                </a:cxn>
                <a:cxn ang="0">
                  <a:pos x="123" y="52"/>
                </a:cxn>
                <a:cxn ang="0">
                  <a:pos x="125" y="58"/>
                </a:cxn>
                <a:cxn ang="0">
                  <a:pos x="135" y="59"/>
                </a:cxn>
                <a:cxn ang="0">
                  <a:pos x="138" y="62"/>
                </a:cxn>
                <a:cxn ang="0">
                  <a:pos x="125" y="72"/>
                </a:cxn>
                <a:cxn ang="0">
                  <a:pos x="117" y="71"/>
                </a:cxn>
                <a:cxn ang="0">
                  <a:pos x="116" y="75"/>
                </a:cxn>
                <a:cxn ang="0">
                  <a:pos x="119" y="83"/>
                </a:cxn>
                <a:cxn ang="0">
                  <a:pos x="122" y="87"/>
                </a:cxn>
                <a:cxn ang="0">
                  <a:pos x="123" y="97"/>
                </a:cxn>
                <a:cxn ang="0">
                  <a:pos x="114" y="99"/>
                </a:cxn>
                <a:cxn ang="0">
                  <a:pos x="107" y="106"/>
                </a:cxn>
                <a:cxn ang="0">
                  <a:pos x="107" y="115"/>
                </a:cxn>
                <a:cxn ang="0">
                  <a:pos x="103" y="115"/>
                </a:cxn>
                <a:cxn ang="0">
                  <a:pos x="90" y="116"/>
                </a:cxn>
                <a:cxn ang="0">
                  <a:pos x="84" y="110"/>
                </a:cxn>
                <a:cxn ang="0">
                  <a:pos x="77" y="112"/>
                </a:cxn>
                <a:cxn ang="0">
                  <a:pos x="71" y="110"/>
                </a:cxn>
                <a:cxn ang="0">
                  <a:pos x="65" y="113"/>
                </a:cxn>
                <a:cxn ang="0">
                  <a:pos x="62" y="110"/>
                </a:cxn>
                <a:cxn ang="0">
                  <a:pos x="55" y="107"/>
                </a:cxn>
                <a:cxn ang="0">
                  <a:pos x="40" y="104"/>
                </a:cxn>
                <a:cxn ang="0">
                  <a:pos x="29" y="101"/>
                </a:cxn>
                <a:cxn ang="0">
                  <a:pos x="14" y="107"/>
                </a:cxn>
                <a:cxn ang="0">
                  <a:pos x="6" y="109"/>
                </a:cxn>
              </a:cxnLst>
              <a:rect l="0" t="0" r="r" b="b"/>
              <a:pathLst>
                <a:path w="138" h="117">
                  <a:moveTo>
                    <a:pt x="4" y="110"/>
                  </a:moveTo>
                  <a:lnTo>
                    <a:pt x="6" y="100"/>
                  </a:lnTo>
                  <a:lnTo>
                    <a:pt x="1" y="97"/>
                  </a:lnTo>
                  <a:lnTo>
                    <a:pt x="0" y="94"/>
                  </a:lnTo>
                  <a:lnTo>
                    <a:pt x="3" y="90"/>
                  </a:lnTo>
                  <a:lnTo>
                    <a:pt x="6" y="88"/>
                  </a:lnTo>
                  <a:lnTo>
                    <a:pt x="10" y="84"/>
                  </a:lnTo>
                  <a:lnTo>
                    <a:pt x="4" y="54"/>
                  </a:lnTo>
                  <a:lnTo>
                    <a:pt x="8" y="55"/>
                  </a:lnTo>
                  <a:lnTo>
                    <a:pt x="13" y="54"/>
                  </a:lnTo>
                  <a:lnTo>
                    <a:pt x="16" y="55"/>
                  </a:lnTo>
                  <a:lnTo>
                    <a:pt x="19" y="54"/>
                  </a:lnTo>
                  <a:lnTo>
                    <a:pt x="20" y="52"/>
                  </a:lnTo>
                  <a:lnTo>
                    <a:pt x="22" y="54"/>
                  </a:lnTo>
                  <a:lnTo>
                    <a:pt x="24" y="54"/>
                  </a:lnTo>
                  <a:lnTo>
                    <a:pt x="23" y="49"/>
                  </a:lnTo>
                  <a:lnTo>
                    <a:pt x="24" y="49"/>
                  </a:lnTo>
                  <a:lnTo>
                    <a:pt x="27" y="49"/>
                  </a:lnTo>
                  <a:lnTo>
                    <a:pt x="29" y="48"/>
                  </a:lnTo>
                  <a:lnTo>
                    <a:pt x="30" y="46"/>
                  </a:lnTo>
                  <a:lnTo>
                    <a:pt x="32" y="46"/>
                  </a:lnTo>
                  <a:lnTo>
                    <a:pt x="33" y="48"/>
                  </a:lnTo>
                  <a:lnTo>
                    <a:pt x="35" y="49"/>
                  </a:lnTo>
                  <a:lnTo>
                    <a:pt x="37" y="49"/>
                  </a:lnTo>
                  <a:lnTo>
                    <a:pt x="36" y="46"/>
                  </a:lnTo>
                  <a:lnTo>
                    <a:pt x="35" y="43"/>
                  </a:lnTo>
                  <a:lnTo>
                    <a:pt x="35" y="40"/>
                  </a:lnTo>
                  <a:lnTo>
                    <a:pt x="37" y="38"/>
                  </a:lnTo>
                  <a:lnTo>
                    <a:pt x="39" y="29"/>
                  </a:lnTo>
                  <a:lnTo>
                    <a:pt x="40" y="27"/>
                  </a:lnTo>
                  <a:lnTo>
                    <a:pt x="42" y="27"/>
                  </a:lnTo>
                  <a:lnTo>
                    <a:pt x="46" y="24"/>
                  </a:lnTo>
                  <a:lnTo>
                    <a:pt x="49" y="24"/>
                  </a:lnTo>
                  <a:lnTo>
                    <a:pt x="51" y="20"/>
                  </a:lnTo>
                  <a:lnTo>
                    <a:pt x="49" y="19"/>
                  </a:lnTo>
                  <a:lnTo>
                    <a:pt x="48" y="19"/>
                  </a:lnTo>
                  <a:lnTo>
                    <a:pt x="48" y="16"/>
                  </a:lnTo>
                  <a:lnTo>
                    <a:pt x="49" y="14"/>
                  </a:lnTo>
                  <a:lnTo>
                    <a:pt x="51" y="13"/>
                  </a:lnTo>
                  <a:lnTo>
                    <a:pt x="51" y="11"/>
                  </a:lnTo>
                  <a:lnTo>
                    <a:pt x="52" y="13"/>
                  </a:lnTo>
                  <a:lnTo>
                    <a:pt x="53" y="11"/>
                  </a:lnTo>
                  <a:lnTo>
                    <a:pt x="55" y="8"/>
                  </a:lnTo>
                  <a:lnTo>
                    <a:pt x="56" y="8"/>
                  </a:lnTo>
                  <a:lnTo>
                    <a:pt x="61" y="10"/>
                  </a:lnTo>
                  <a:lnTo>
                    <a:pt x="62" y="8"/>
                  </a:lnTo>
                  <a:lnTo>
                    <a:pt x="65" y="6"/>
                  </a:lnTo>
                  <a:lnTo>
                    <a:pt x="65" y="4"/>
                  </a:lnTo>
                  <a:lnTo>
                    <a:pt x="71" y="0"/>
                  </a:lnTo>
                  <a:lnTo>
                    <a:pt x="74" y="0"/>
                  </a:lnTo>
                  <a:lnTo>
                    <a:pt x="74" y="1"/>
                  </a:lnTo>
                  <a:lnTo>
                    <a:pt x="78" y="1"/>
                  </a:lnTo>
                  <a:lnTo>
                    <a:pt x="80" y="1"/>
                  </a:lnTo>
                  <a:lnTo>
                    <a:pt x="81" y="3"/>
                  </a:lnTo>
                  <a:lnTo>
                    <a:pt x="85" y="3"/>
                  </a:lnTo>
                  <a:lnTo>
                    <a:pt x="87" y="3"/>
                  </a:lnTo>
                  <a:lnTo>
                    <a:pt x="90" y="6"/>
                  </a:lnTo>
                  <a:lnTo>
                    <a:pt x="90" y="10"/>
                  </a:lnTo>
                  <a:lnTo>
                    <a:pt x="94" y="8"/>
                  </a:lnTo>
                  <a:lnTo>
                    <a:pt x="96" y="8"/>
                  </a:lnTo>
                  <a:lnTo>
                    <a:pt x="97" y="7"/>
                  </a:lnTo>
                  <a:lnTo>
                    <a:pt x="103" y="7"/>
                  </a:lnTo>
                  <a:lnTo>
                    <a:pt x="106" y="8"/>
                  </a:lnTo>
                  <a:lnTo>
                    <a:pt x="109" y="13"/>
                  </a:lnTo>
                  <a:lnTo>
                    <a:pt x="112" y="13"/>
                  </a:lnTo>
                  <a:lnTo>
                    <a:pt x="112" y="16"/>
                  </a:lnTo>
                  <a:lnTo>
                    <a:pt x="110" y="19"/>
                  </a:lnTo>
                  <a:lnTo>
                    <a:pt x="110" y="20"/>
                  </a:lnTo>
                  <a:lnTo>
                    <a:pt x="112" y="22"/>
                  </a:lnTo>
                  <a:lnTo>
                    <a:pt x="113" y="24"/>
                  </a:lnTo>
                  <a:lnTo>
                    <a:pt x="112" y="27"/>
                  </a:lnTo>
                  <a:lnTo>
                    <a:pt x="110" y="29"/>
                  </a:lnTo>
                  <a:lnTo>
                    <a:pt x="110" y="32"/>
                  </a:lnTo>
                  <a:lnTo>
                    <a:pt x="110" y="33"/>
                  </a:lnTo>
                  <a:lnTo>
                    <a:pt x="113" y="36"/>
                  </a:lnTo>
                  <a:lnTo>
                    <a:pt x="119" y="48"/>
                  </a:lnTo>
                  <a:lnTo>
                    <a:pt x="122" y="51"/>
                  </a:lnTo>
                  <a:lnTo>
                    <a:pt x="123" y="52"/>
                  </a:lnTo>
                  <a:lnTo>
                    <a:pt x="123" y="54"/>
                  </a:lnTo>
                  <a:lnTo>
                    <a:pt x="123" y="56"/>
                  </a:lnTo>
                  <a:lnTo>
                    <a:pt x="125" y="58"/>
                  </a:lnTo>
                  <a:lnTo>
                    <a:pt x="130" y="56"/>
                  </a:lnTo>
                  <a:lnTo>
                    <a:pt x="132" y="58"/>
                  </a:lnTo>
                  <a:lnTo>
                    <a:pt x="135" y="59"/>
                  </a:lnTo>
                  <a:lnTo>
                    <a:pt x="133" y="61"/>
                  </a:lnTo>
                  <a:lnTo>
                    <a:pt x="135" y="62"/>
                  </a:lnTo>
                  <a:lnTo>
                    <a:pt x="138" y="62"/>
                  </a:lnTo>
                  <a:lnTo>
                    <a:pt x="138" y="67"/>
                  </a:lnTo>
                  <a:lnTo>
                    <a:pt x="129" y="74"/>
                  </a:lnTo>
                  <a:lnTo>
                    <a:pt x="125" y="72"/>
                  </a:lnTo>
                  <a:lnTo>
                    <a:pt x="122" y="69"/>
                  </a:lnTo>
                  <a:lnTo>
                    <a:pt x="120" y="69"/>
                  </a:lnTo>
                  <a:lnTo>
                    <a:pt x="117" y="71"/>
                  </a:lnTo>
                  <a:lnTo>
                    <a:pt x="117" y="72"/>
                  </a:lnTo>
                  <a:lnTo>
                    <a:pt x="116" y="74"/>
                  </a:lnTo>
                  <a:lnTo>
                    <a:pt x="116" y="75"/>
                  </a:lnTo>
                  <a:lnTo>
                    <a:pt x="119" y="78"/>
                  </a:lnTo>
                  <a:lnTo>
                    <a:pt x="120" y="80"/>
                  </a:lnTo>
                  <a:lnTo>
                    <a:pt x="119" y="83"/>
                  </a:lnTo>
                  <a:lnTo>
                    <a:pt x="120" y="84"/>
                  </a:lnTo>
                  <a:lnTo>
                    <a:pt x="120" y="85"/>
                  </a:lnTo>
                  <a:lnTo>
                    <a:pt x="122" y="87"/>
                  </a:lnTo>
                  <a:lnTo>
                    <a:pt x="123" y="88"/>
                  </a:lnTo>
                  <a:lnTo>
                    <a:pt x="122" y="91"/>
                  </a:lnTo>
                  <a:lnTo>
                    <a:pt x="123" y="97"/>
                  </a:lnTo>
                  <a:lnTo>
                    <a:pt x="119" y="97"/>
                  </a:lnTo>
                  <a:lnTo>
                    <a:pt x="116" y="99"/>
                  </a:lnTo>
                  <a:lnTo>
                    <a:pt x="114" y="99"/>
                  </a:lnTo>
                  <a:lnTo>
                    <a:pt x="112" y="99"/>
                  </a:lnTo>
                  <a:lnTo>
                    <a:pt x="107" y="104"/>
                  </a:lnTo>
                  <a:lnTo>
                    <a:pt x="107" y="106"/>
                  </a:lnTo>
                  <a:lnTo>
                    <a:pt x="107" y="107"/>
                  </a:lnTo>
                  <a:lnTo>
                    <a:pt x="106" y="110"/>
                  </a:lnTo>
                  <a:lnTo>
                    <a:pt x="107" y="115"/>
                  </a:lnTo>
                  <a:lnTo>
                    <a:pt x="106" y="116"/>
                  </a:lnTo>
                  <a:lnTo>
                    <a:pt x="104" y="117"/>
                  </a:lnTo>
                  <a:lnTo>
                    <a:pt x="103" y="115"/>
                  </a:lnTo>
                  <a:lnTo>
                    <a:pt x="100" y="115"/>
                  </a:lnTo>
                  <a:lnTo>
                    <a:pt x="91" y="115"/>
                  </a:lnTo>
                  <a:lnTo>
                    <a:pt x="90" y="116"/>
                  </a:lnTo>
                  <a:lnTo>
                    <a:pt x="88" y="115"/>
                  </a:lnTo>
                  <a:lnTo>
                    <a:pt x="88" y="113"/>
                  </a:lnTo>
                  <a:lnTo>
                    <a:pt x="84" y="110"/>
                  </a:lnTo>
                  <a:lnTo>
                    <a:pt x="80" y="115"/>
                  </a:lnTo>
                  <a:lnTo>
                    <a:pt x="78" y="113"/>
                  </a:lnTo>
                  <a:lnTo>
                    <a:pt x="77" y="112"/>
                  </a:lnTo>
                  <a:lnTo>
                    <a:pt x="75" y="113"/>
                  </a:lnTo>
                  <a:lnTo>
                    <a:pt x="72" y="112"/>
                  </a:lnTo>
                  <a:lnTo>
                    <a:pt x="71" y="110"/>
                  </a:lnTo>
                  <a:lnTo>
                    <a:pt x="69" y="112"/>
                  </a:lnTo>
                  <a:lnTo>
                    <a:pt x="67" y="112"/>
                  </a:lnTo>
                  <a:lnTo>
                    <a:pt x="65" y="113"/>
                  </a:lnTo>
                  <a:lnTo>
                    <a:pt x="64" y="115"/>
                  </a:lnTo>
                  <a:lnTo>
                    <a:pt x="62" y="113"/>
                  </a:lnTo>
                  <a:lnTo>
                    <a:pt x="62" y="110"/>
                  </a:lnTo>
                  <a:lnTo>
                    <a:pt x="58" y="112"/>
                  </a:lnTo>
                  <a:lnTo>
                    <a:pt x="56" y="110"/>
                  </a:lnTo>
                  <a:lnTo>
                    <a:pt x="55" y="107"/>
                  </a:lnTo>
                  <a:lnTo>
                    <a:pt x="49" y="104"/>
                  </a:lnTo>
                  <a:lnTo>
                    <a:pt x="48" y="106"/>
                  </a:lnTo>
                  <a:lnTo>
                    <a:pt x="40" y="104"/>
                  </a:lnTo>
                  <a:lnTo>
                    <a:pt x="37" y="101"/>
                  </a:lnTo>
                  <a:lnTo>
                    <a:pt x="30" y="101"/>
                  </a:lnTo>
                  <a:lnTo>
                    <a:pt x="29" y="101"/>
                  </a:lnTo>
                  <a:lnTo>
                    <a:pt x="16" y="103"/>
                  </a:lnTo>
                  <a:lnTo>
                    <a:pt x="16" y="106"/>
                  </a:lnTo>
                  <a:lnTo>
                    <a:pt x="14" y="107"/>
                  </a:lnTo>
                  <a:lnTo>
                    <a:pt x="10" y="109"/>
                  </a:lnTo>
                  <a:lnTo>
                    <a:pt x="8" y="109"/>
                  </a:lnTo>
                  <a:lnTo>
                    <a:pt x="6" y="109"/>
                  </a:lnTo>
                  <a:lnTo>
                    <a:pt x="4" y="11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05" name="Freeform 1283"/>
            <p:cNvSpPr>
              <a:spLocks/>
            </p:cNvSpPr>
            <p:nvPr/>
          </p:nvSpPr>
          <p:spPr bwMode="auto">
            <a:xfrm>
              <a:off x="6338419" y="2428839"/>
              <a:ext cx="73736" cy="41579"/>
            </a:xfrm>
            <a:custGeom>
              <a:avLst/>
              <a:gdLst/>
              <a:ahLst/>
              <a:cxnLst>
                <a:cxn ang="0">
                  <a:pos x="74" y="26"/>
                </a:cxn>
                <a:cxn ang="0">
                  <a:pos x="71" y="26"/>
                </a:cxn>
                <a:cxn ang="0">
                  <a:pos x="67" y="23"/>
                </a:cxn>
                <a:cxn ang="0">
                  <a:pos x="62" y="22"/>
                </a:cxn>
                <a:cxn ang="0">
                  <a:pos x="59" y="23"/>
                </a:cxn>
                <a:cxn ang="0">
                  <a:pos x="55" y="23"/>
                </a:cxn>
                <a:cxn ang="0">
                  <a:pos x="51" y="25"/>
                </a:cxn>
                <a:cxn ang="0">
                  <a:pos x="49" y="28"/>
                </a:cxn>
                <a:cxn ang="0">
                  <a:pos x="43" y="31"/>
                </a:cxn>
                <a:cxn ang="0">
                  <a:pos x="39" y="29"/>
                </a:cxn>
                <a:cxn ang="0">
                  <a:pos x="27" y="34"/>
                </a:cxn>
                <a:cxn ang="0">
                  <a:pos x="23" y="39"/>
                </a:cxn>
                <a:cxn ang="0">
                  <a:pos x="13" y="39"/>
                </a:cxn>
                <a:cxn ang="0">
                  <a:pos x="4" y="32"/>
                </a:cxn>
                <a:cxn ang="0">
                  <a:pos x="0" y="23"/>
                </a:cxn>
                <a:cxn ang="0">
                  <a:pos x="4" y="18"/>
                </a:cxn>
                <a:cxn ang="0">
                  <a:pos x="6" y="18"/>
                </a:cxn>
                <a:cxn ang="0">
                  <a:pos x="7" y="19"/>
                </a:cxn>
                <a:cxn ang="0">
                  <a:pos x="10" y="19"/>
                </a:cxn>
                <a:cxn ang="0">
                  <a:pos x="14" y="16"/>
                </a:cxn>
                <a:cxn ang="0">
                  <a:pos x="14" y="15"/>
                </a:cxn>
                <a:cxn ang="0">
                  <a:pos x="16" y="13"/>
                </a:cxn>
                <a:cxn ang="0">
                  <a:pos x="17" y="12"/>
                </a:cxn>
                <a:cxn ang="0">
                  <a:pos x="17" y="9"/>
                </a:cxn>
                <a:cxn ang="0">
                  <a:pos x="19" y="7"/>
                </a:cxn>
                <a:cxn ang="0">
                  <a:pos x="20" y="6"/>
                </a:cxn>
                <a:cxn ang="0">
                  <a:pos x="23" y="3"/>
                </a:cxn>
                <a:cxn ang="0">
                  <a:pos x="26" y="3"/>
                </a:cxn>
                <a:cxn ang="0">
                  <a:pos x="27" y="2"/>
                </a:cxn>
                <a:cxn ang="0">
                  <a:pos x="32" y="3"/>
                </a:cxn>
                <a:cxn ang="0">
                  <a:pos x="36" y="0"/>
                </a:cxn>
                <a:cxn ang="0">
                  <a:pos x="43" y="7"/>
                </a:cxn>
                <a:cxn ang="0">
                  <a:pos x="45" y="7"/>
                </a:cxn>
                <a:cxn ang="0">
                  <a:pos x="48" y="7"/>
                </a:cxn>
                <a:cxn ang="0">
                  <a:pos x="49" y="5"/>
                </a:cxn>
                <a:cxn ang="0">
                  <a:pos x="55" y="5"/>
                </a:cxn>
                <a:cxn ang="0">
                  <a:pos x="58" y="6"/>
                </a:cxn>
                <a:cxn ang="0">
                  <a:pos x="62" y="3"/>
                </a:cxn>
                <a:cxn ang="0">
                  <a:pos x="69" y="3"/>
                </a:cxn>
                <a:cxn ang="0">
                  <a:pos x="77" y="9"/>
                </a:cxn>
                <a:cxn ang="0">
                  <a:pos x="80" y="10"/>
                </a:cxn>
                <a:cxn ang="0">
                  <a:pos x="74" y="26"/>
                </a:cxn>
              </a:cxnLst>
              <a:rect l="0" t="0" r="r" b="b"/>
              <a:pathLst>
                <a:path w="80" h="39">
                  <a:moveTo>
                    <a:pt x="74" y="26"/>
                  </a:moveTo>
                  <a:lnTo>
                    <a:pt x="71" y="26"/>
                  </a:lnTo>
                  <a:lnTo>
                    <a:pt x="67" y="23"/>
                  </a:lnTo>
                  <a:lnTo>
                    <a:pt x="62" y="22"/>
                  </a:lnTo>
                  <a:lnTo>
                    <a:pt x="59" y="23"/>
                  </a:lnTo>
                  <a:lnTo>
                    <a:pt x="55" y="23"/>
                  </a:lnTo>
                  <a:lnTo>
                    <a:pt x="51" y="25"/>
                  </a:lnTo>
                  <a:lnTo>
                    <a:pt x="49" y="28"/>
                  </a:lnTo>
                  <a:lnTo>
                    <a:pt x="43" y="31"/>
                  </a:lnTo>
                  <a:lnTo>
                    <a:pt x="39" y="29"/>
                  </a:lnTo>
                  <a:lnTo>
                    <a:pt x="27" y="34"/>
                  </a:lnTo>
                  <a:lnTo>
                    <a:pt x="23" y="39"/>
                  </a:lnTo>
                  <a:lnTo>
                    <a:pt x="13" y="39"/>
                  </a:lnTo>
                  <a:lnTo>
                    <a:pt x="4" y="32"/>
                  </a:lnTo>
                  <a:lnTo>
                    <a:pt x="0" y="23"/>
                  </a:lnTo>
                  <a:lnTo>
                    <a:pt x="4" y="18"/>
                  </a:lnTo>
                  <a:lnTo>
                    <a:pt x="6" y="18"/>
                  </a:lnTo>
                  <a:lnTo>
                    <a:pt x="7" y="19"/>
                  </a:lnTo>
                  <a:lnTo>
                    <a:pt x="10" y="19"/>
                  </a:lnTo>
                  <a:lnTo>
                    <a:pt x="14" y="16"/>
                  </a:lnTo>
                  <a:lnTo>
                    <a:pt x="14" y="15"/>
                  </a:lnTo>
                  <a:lnTo>
                    <a:pt x="16" y="13"/>
                  </a:lnTo>
                  <a:lnTo>
                    <a:pt x="17" y="12"/>
                  </a:lnTo>
                  <a:lnTo>
                    <a:pt x="17" y="9"/>
                  </a:lnTo>
                  <a:lnTo>
                    <a:pt x="19" y="7"/>
                  </a:lnTo>
                  <a:lnTo>
                    <a:pt x="20" y="6"/>
                  </a:lnTo>
                  <a:lnTo>
                    <a:pt x="23" y="3"/>
                  </a:lnTo>
                  <a:lnTo>
                    <a:pt x="26" y="3"/>
                  </a:lnTo>
                  <a:lnTo>
                    <a:pt x="27" y="2"/>
                  </a:lnTo>
                  <a:lnTo>
                    <a:pt x="32" y="3"/>
                  </a:lnTo>
                  <a:lnTo>
                    <a:pt x="36" y="0"/>
                  </a:lnTo>
                  <a:lnTo>
                    <a:pt x="43" y="7"/>
                  </a:lnTo>
                  <a:lnTo>
                    <a:pt x="45" y="7"/>
                  </a:lnTo>
                  <a:lnTo>
                    <a:pt x="48" y="7"/>
                  </a:lnTo>
                  <a:lnTo>
                    <a:pt x="49" y="5"/>
                  </a:lnTo>
                  <a:lnTo>
                    <a:pt x="55" y="5"/>
                  </a:lnTo>
                  <a:lnTo>
                    <a:pt x="58" y="6"/>
                  </a:lnTo>
                  <a:lnTo>
                    <a:pt x="62" y="3"/>
                  </a:lnTo>
                  <a:lnTo>
                    <a:pt x="69" y="3"/>
                  </a:lnTo>
                  <a:lnTo>
                    <a:pt x="77" y="9"/>
                  </a:lnTo>
                  <a:lnTo>
                    <a:pt x="80" y="10"/>
                  </a:lnTo>
                  <a:lnTo>
                    <a:pt x="74" y="2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06" name="Freeform 1284"/>
            <p:cNvSpPr>
              <a:spLocks/>
            </p:cNvSpPr>
            <p:nvPr/>
          </p:nvSpPr>
          <p:spPr bwMode="auto">
            <a:xfrm>
              <a:off x="6338419" y="2428839"/>
              <a:ext cx="73736" cy="41579"/>
            </a:xfrm>
            <a:custGeom>
              <a:avLst/>
              <a:gdLst/>
              <a:ahLst/>
              <a:cxnLst>
                <a:cxn ang="0">
                  <a:pos x="74" y="26"/>
                </a:cxn>
                <a:cxn ang="0">
                  <a:pos x="71" y="26"/>
                </a:cxn>
                <a:cxn ang="0">
                  <a:pos x="67" y="23"/>
                </a:cxn>
                <a:cxn ang="0">
                  <a:pos x="62" y="22"/>
                </a:cxn>
                <a:cxn ang="0">
                  <a:pos x="59" y="23"/>
                </a:cxn>
                <a:cxn ang="0">
                  <a:pos x="55" y="23"/>
                </a:cxn>
                <a:cxn ang="0">
                  <a:pos x="51" y="25"/>
                </a:cxn>
                <a:cxn ang="0">
                  <a:pos x="49" y="28"/>
                </a:cxn>
                <a:cxn ang="0">
                  <a:pos x="43" y="31"/>
                </a:cxn>
                <a:cxn ang="0">
                  <a:pos x="39" y="29"/>
                </a:cxn>
                <a:cxn ang="0">
                  <a:pos x="27" y="34"/>
                </a:cxn>
                <a:cxn ang="0">
                  <a:pos x="23" y="39"/>
                </a:cxn>
                <a:cxn ang="0">
                  <a:pos x="13" y="39"/>
                </a:cxn>
                <a:cxn ang="0">
                  <a:pos x="4" y="32"/>
                </a:cxn>
                <a:cxn ang="0">
                  <a:pos x="0" y="23"/>
                </a:cxn>
                <a:cxn ang="0">
                  <a:pos x="4" y="18"/>
                </a:cxn>
                <a:cxn ang="0">
                  <a:pos x="6" y="18"/>
                </a:cxn>
                <a:cxn ang="0">
                  <a:pos x="7" y="19"/>
                </a:cxn>
                <a:cxn ang="0">
                  <a:pos x="10" y="19"/>
                </a:cxn>
                <a:cxn ang="0">
                  <a:pos x="14" y="16"/>
                </a:cxn>
                <a:cxn ang="0">
                  <a:pos x="14" y="15"/>
                </a:cxn>
                <a:cxn ang="0">
                  <a:pos x="16" y="13"/>
                </a:cxn>
                <a:cxn ang="0">
                  <a:pos x="17" y="12"/>
                </a:cxn>
                <a:cxn ang="0">
                  <a:pos x="17" y="9"/>
                </a:cxn>
                <a:cxn ang="0">
                  <a:pos x="19" y="7"/>
                </a:cxn>
                <a:cxn ang="0">
                  <a:pos x="20" y="6"/>
                </a:cxn>
                <a:cxn ang="0">
                  <a:pos x="23" y="3"/>
                </a:cxn>
                <a:cxn ang="0">
                  <a:pos x="26" y="3"/>
                </a:cxn>
                <a:cxn ang="0">
                  <a:pos x="27" y="2"/>
                </a:cxn>
                <a:cxn ang="0">
                  <a:pos x="32" y="3"/>
                </a:cxn>
                <a:cxn ang="0">
                  <a:pos x="36" y="0"/>
                </a:cxn>
                <a:cxn ang="0">
                  <a:pos x="43" y="7"/>
                </a:cxn>
                <a:cxn ang="0">
                  <a:pos x="45" y="7"/>
                </a:cxn>
                <a:cxn ang="0">
                  <a:pos x="48" y="7"/>
                </a:cxn>
                <a:cxn ang="0">
                  <a:pos x="49" y="5"/>
                </a:cxn>
                <a:cxn ang="0">
                  <a:pos x="55" y="5"/>
                </a:cxn>
                <a:cxn ang="0">
                  <a:pos x="58" y="6"/>
                </a:cxn>
                <a:cxn ang="0">
                  <a:pos x="62" y="3"/>
                </a:cxn>
                <a:cxn ang="0">
                  <a:pos x="69" y="3"/>
                </a:cxn>
                <a:cxn ang="0">
                  <a:pos x="77" y="9"/>
                </a:cxn>
                <a:cxn ang="0">
                  <a:pos x="80" y="10"/>
                </a:cxn>
                <a:cxn ang="0">
                  <a:pos x="74" y="26"/>
                </a:cxn>
              </a:cxnLst>
              <a:rect l="0" t="0" r="r" b="b"/>
              <a:pathLst>
                <a:path w="80" h="39">
                  <a:moveTo>
                    <a:pt x="74" y="26"/>
                  </a:moveTo>
                  <a:lnTo>
                    <a:pt x="71" y="26"/>
                  </a:lnTo>
                  <a:lnTo>
                    <a:pt x="67" y="23"/>
                  </a:lnTo>
                  <a:lnTo>
                    <a:pt x="62" y="22"/>
                  </a:lnTo>
                  <a:lnTo>
                    <a:pt x="59" y="23"/>
                  </a:lnTo>
                  <a:lnTo>
                    <a:pt x="55" y="23"/>
                  </a:lnTo>
                  <a:lnTo>
                    <a:pt x="51" y="25"/>
                  </a:lnTo>
                  <a:lnTo>
                    <a:pt x="49" y="28"/>
                  </a:lnTo>
                  <a:lnTo>
                    <a:pt x="43" y="31"/>
                  </a:lnTo>
                  <a:lnTo>
                    <a:pt x="39" y="29"/>
                  </a:lnTo>
                  <a:lnTo>
                    <a:pt x="27" y="34"/>
                  </a:lnTo>
                  <a:lnTo>
                    <a:pt x="23" y="39"/>
                  </a:lnTo>
                  <a:lnTo>
                    <a:pt x="13" y="39"/>
                  </a:lnTo>
                  <a:lnTo>
                    <a:pt x="4" y="32"/>
                  </a:lnTo>
                  <a:lnTo>
                    <a:pt x="0" y="23"/>
                  </a:lnTo>
                  <a:lnTo>
                    <a:pt x="4" y="18"/>
                  </a:lnTo>
                  <a:lnTo>
                    <a:pt x="6" y="18"/>
                  </a:lnTo>
                  <a:lnTo>
                    <a:pt x="7" y="19"/>
                  </a:lnTo>
                  <a:lnTo>
                    <a:pt x="10" y="19"/>
                  </a:lnTo>
                  <a:lnTo>
                    <a:pt x="14" y="16"/>
                  </a:lnTo>
                  <a:lnTo>
                    <a:pt x="14" y="15"/>
                  </a:lnTo>
                  <a:lnTo>
                    <a:pt x="16" y="13"/>
                  </a:lnTo>
                  <a:lnTo>
                    <a:pt x="17" y="12"/>
                  </a:lnTo>
                  <a:lnTo>
                    <a:pt x="17" y="9"/>
                  </a:lnTo>
                  <a:lnTo>
                    <a:pt x="19" y="7"/>
                  </a:lnTo>
                  <a:lnTo>
                    <a:pt x="20" y="6"/>
                  </a:lnTo>
                  <a:lnTo>
                    <a:pt x="23" y="3"/>
                  </a:lnTo>
                  <a:lnTo>
                    <a:pt x="26" y="3"/>
                  </a:lnTo>
                  <a:lnTo>
                    <a:pt x="27" y="2"/>
                  </a:lnTo>
                  <a:lnTo>
                    <a:pt x="32" y="3"/>
                  </a:lnTo>
                  <a:lnTo>
                    <a:pt x="36" y="0"/>
                  </a:lnTo>
                  <a:lnTo>
                    <a:pt x="43" y="7"/>
                  </a:lnTo>
                  <a:lnTo>
                    <a:pt x="45" y="7"/>
                  </a:lnTo>
                  <a:lnTo>
                    <a:pt x="48" y="7"/>
                  </a:lnTo>
                  <a:lnTo>
                    <a:pt x="49" y="5"/>
                  </a:lnTo>
                  <a:lnTo>
                    <a:pt x="55" y="5"/>
                  </a:lnTo>
                  <a:lnTo>
                    <a:pt x="58" y="6"/>
                  </a:lnTo>
                  <a:lnTo>
                    <a:pt x="62" y="3"/>
                  </a:lnTo>
                  <a:lnTo>
                    <a:pt x="69" y="3"/>
                  </a:lnTo>
                  <a:lnTo>
                    <a:pt x="77" y="9"/>
                  </a:lnTo>
                  <a:lnTo>
                    <a:pt x="80" y="10"/>
                  </a:lnTo>
                  <a:lnTo>
                    <a:pt x="74" y="2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07" name="Freeform 1285"/>
            <p:cNvSpPr>
              <a:spLocks/>
            </p:cNvSpPr>
            <p:nvPr/>
          </p:nvSpPr>
          <p:spPr bwMode="auto">
            <a:xfrm>
              <a:off x="6242739" y="2478531"/>
              <a:ext cx="4389" cy="8113"/>
            </a:xfrm>
            <a:custGeom>
              <a:avLst/>
              <a:gdLst/>
              <a:ahLst/>
              <a:cxnLst>
                <a:cxn ang="0">
                  <a:pos x="3" y="8"/>
                </a:cxn>
                <a:cxn ang="0">
                  <a:pos x="5" y="7"/>
                </a:cxn>
                <a:cxn ang="0">
                  <a:pos x="3" y="1"/>
                </a:cxn>
                <a:cxn ang="0">
                  <a:pos x="2" y="0"/>
                </a:cxn>
                <a:cxn ang="0">
                  <a:pos x="0" y="6"/>
                </a:cxn>
                <a:cxn ang="0">
                  <a:pos x="3" y="8"/>
                </a:cxn>
              </a:cxnLst>
              <a:rect l="0" t="0" r="r" b="b"/>
              <a:pathLst>
                <a:path w="5" h="8">
                  <a:moveTo>
                    <a:pt x="3" y="8"/>
                  </a:moveTo>
                  <a:lnTo>
                    <a:pt x="5" y="7"/>
                  </a:lnTo>
                  <a:lnTo>
                    <a:pt x="3" y="1"/>
                  </a:lnTo>
                  <a:lnTo>
                    <a:pt x="2" y="0"/>
                  </a:lnTo>
                  <a:lnTo>
                    <a:pt x="0" y="6"/>
                  </a:lnTo>
                  <a:lnTo>
                    <a:pt x="3" y="8"/>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08" name="Freeform 1286"/>
            <p:cNvSpPr>
              <a:spLocks/>
            </p:cNvSpPr>
            <p:nvPr/>
          </p:nvSpPr>
          <p:spPr bwMode="auto">
            <a:xfrm>
              <a:off x="6242739" y="2478531"/>
              <a:ext cx="4389" cy="8113"/>
            </a:xfrm>
            <a:custGeom>
              <a:avLst/>
              <a:gdLst/>
              <a:ahLst/>
              <a:cxnLst>
                <a:cxn ang="0">
                  <a:pos x="3" y="8"/>
                </a:cxn>
                <a:cxn ang="0">
                  <a:pos x="5" y="7"/>
                </a:cxn>
                <a:cxn ang="0">
                  <a:pos x="3" y="1"/>
                </a:cxn>
                <a:cxn ang="0">
                  <a:pos x="2" y="0"/>
                </a:cxn>
                <a:cxn ang="0">
                  <a:pos x="0" y="6"/>
                </a:cxn>
                <a:cxn ang="0">
                  <a:pos x="3" y="8"/>
                </a:cxn>
              </a:cxnLst>
              <a:rect l="0" t="0" r="r" b="b"/>
              <a:pathLst>
                <a:path w="5" h="8">
                  <a:moveTo>
                    <a:pt x="3" y="8"/>
                  </a:moveTo>
                  <a:lnTo>
                    <a:pt x="5" y="7"/>
                  </a:lnTo>
                  <a:lnTo>
                    <a:pt x="3" y="1"/>
                  </a:lnTo>
                  <a:lnTo>
                    <a:pt x="2" y="0"/>
                  </a:lnTo>
                  <a:lnTo>
                    <a:pt x="0" y="6"/>
                  </a:lnTo>
                  <a:lnTo>
                    <a:pt x="3" y="8"/>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09" name="Freeform 1287"/>
            <p:cNvSpPr>
              <a:spLocks/>
            </p:cNvSpPr>
            <p:nvPr/>
          </p:nvSpPr>
          <p:spPr bwMode="auto">
            <a:xfrm>
              <a:off x="6581570" y="2680344"/>
              <a:ext cx="93047" cy="91272"/>
            </a:xfrm>
            <a:custGeom>
              <a:avLst/>
              <a:gdLst/>
              <a:ahLst/>
              <a:cxnLst>
                <a:cxn ang="0">
                  <a:pos x="79" y="50"/>
                </a:cxn>
                <a:cxn ang="0">
                  <a:pos x="83" y="16"/>
                </a:cxn>
                <a:cxn ang="0">
                  <a:pos x="96" y="5"/>
                </a:cxn>
                <a:cxn ang="0">
                  <a:pos x="98" y="3"/>
                </a:cxn>
                <a:cxn ang="0">
                  <a:pos x="98" y="0"/>
                </a:cxn>
                <a:cxn ang="0">
                  <a:pos x="96" y="0"/>
                </a:cxn>
                <a:cxn ang="0">
                  <a:pos x="90" y="3"/>
                </a:cxn>
                <a:cxn ang="0">
                  <a:pos x="77" y="3"/>
                </a:cxn>
                <a:cxn ang="0">
                  <a:pos x="67" y="8"/>
                </a:cxn>
                <a:cxn ang="0">
                  <a:pos x="63" y="9"/>
                </a:cxn>
                <a:cxn ang="0">
                  <a:pos x="47" y="11"/>
                </a:cxn>
                <a:cxn ang="0">
                  <a:pos x="43" y="6"/>
                </a:cxn>
                <a:cxn ang="0">
                  <a:pos x="31" y="11"/>
                </a:cxn>
                <a:cxn ang="0">
                  <a:pos x="25" y="11"/>
                </a:cxn>
                <a:cxn ang="0">
                  <a:pos x="22" y="11"/>
                </a:cxn>
                <a:cxn ang="0">
                  <a:pos x="22" y="11"/>
                </a:cxn>
                <a:cxn ang="0">
                  <a:pos x="21" y="9"/>
                </a:cxn>
                <a:cxn ang="0">
                  <a:pos x="18" y="8"/>
                </a:cxn>
                <a:cxn ang="0">
                  <a:pos x="16" y="12"/>
                </a:cxn>
                <a:cxn ang="0">
                  <a:pos x="15" y="15"/>
                </a:cxn>
                <a:cxn ang="0">
                  <a:pos x="18" y="19"/>
                </a:cxn>
                <a:cxn ang="0">
                  <a:pos x="15" y="19"/>
                </a:cxn>
                <a:cxn ang="0">
                  <a:pos x="13" y="24"/>
                </a:cxn>
                <a:cxn ang="0">
                  <a:pos x="11" y="25"/>
                </a:cxn>
                <a:cxn ang="0">
                  <a:pos x="8" y="25"/>
                </a:cxn>
                <a:cxn ang="0">
                  <a:pos x="6" y="24"/>
                </a:cxn>
                <a:cxn ang="0">
                  <a:pos x="5" y="31"/>
                </a:cxn>
                <a:cxn ang="0">
                  <a:pos x="8" y="35"/>
                </a:cxn>
                <a:cxn ang="0">
                  <a:pos x="6" y="43"/>
                </a:cxn>
                <a:cxn ang="0">
                  <a:pos x="12" y="45"/>
                </a:cxn>
                <a:cxn ang="0">
                  <a:pos x="13" y="45"/>
                </a:cxn>
                <a:cxn ang="0">
                  <a:pos x="15" y="45"/>
                </a:cxn>
                <a:cxn ang="0">
                  <a:pos x="15" y="47"/>
                </a:cxn>
                <a:cxn ang="0">
                  <a:pos x="13" y="48"/>
                </a:cxn>
                <a:cxn ang="0">
                  <a:pos x="13" y="48"/>
                </a:cxn>
                <a:cxn ang="0">
                  <a:pos x="15" y="50"/>
                </a:cxn>
                <a:cxn ang="0">
                  <a:pos x="16" y="51"/>
                </a:cxn>
                <a:cxn ang="0">
                  <a:pos x="16" y="54"/>
                </a:cxn>
                <a:cxn ang="0">
                  <a:pos x="16" y="54"/>
                </a:cxn>
                <a:cxn ang="0">
                  <a:pos x="16" y="56"/>
                </a:cxn>
                <a:cxn ang="0">
                  <a:pos x="13" y="57"/>
                </a:cxn>
                <a:cxn ang="0">
                  <a:pos x="12" y="59"/>
                </a:cxn>
                <a:cxn ang="0">
                  <a:pos x="13" y="60"/>
                </a:cxn>
                <a:cxn ang="0">
                  <a:pos x="13" y="61"/>
                </a:cxn>
                <a:cxn ang="0">
                  <a:pos x="12" y="61"/>
                </a:cxn>
                <a:cxn ang="0">
                  <a:pos x="8" y="63"/>
                </a:cxn>
                <a:cxn ang="0">
                  <a:pos x="6" y="64"/>
                </a:cxn>
                <a:cxn ang="0">
                  <a:pos x="8" y="64"/>
                </a:cxn>
                <a:cxn ang="0">
                  <a:pos x="8" y="66"/>
                </a:cxn>
                <a:cxn ang="0">
                  <a:pos x="5" y="70"/>
                </a:cxn>
                <a:cxn ang="0">
                  <a:pos x="2" y="72"/>
                </a:cxn>
                <a:cxn ang="0">
                  <a:pos x="0" y="75"/>
                </a:cxn>
                <a:cxn ang="0">
                  <a:pos x="0" y="77"/>
                </a:cxn>
                <a:cxn ang="0">
                  <a:pos x="0" y="80"/>
                </a:cxn>
                <a:cxn ang="0">
                  <a:pos x="5" y="80"/>
                </a:cxn>
                <a:cxn ang="0">
                  <a:pos x="12" y="86"/>
                </a:cxn>
                <a:cxn ang="0">
                  <a:pos x="16" y="86"/>
                </a:cxn>
              </a:cxnLst>
              <a:rect l="0" t="0" r="r" b="b"/>
              <a:pathLst>
                <a:path w="101" h="88">
                  <a:moveTo>
                    <a:pt x="48" y="69"/>
                  </a:moveTo>
                  <a:lnTo>
                    <a:pt x="79" y="50"/>
                  </a:lnTo>
                  <a:lnTo>
                    <a:pt x="82" y="44"/>
                  </a:lnTo>
                  <a:lnTo>
                    <a:pt x="83" y="16"/>
                  </a:lnTo>
                  <a:lnTo>
                    <a:pt x="92" y="14"/>
                  </a:lnTo>
                  <a:lnTo>
                    <a:pt x="96" y="5"/>
                  </a:lnTo>
                  <a:lnTo>
                    <a:pt x="101" y="3"/>
                  </a:lnTo>
                  <a:lnTo>
                    <a:pt x="98" y="3"/>
                  </a:lnTo>
                  <a:lnTo>
                    <a:pt x="98" y="2"/>
                  </a:lnTo>
                  <a:lnTo>
                    <a:pt x="98" y="0"/>
                  </a:lnTo>
                  <a:lnTo>
                    <a:pt x="98" y="0"/>
                  </a:lnTo>
                  <a:lnTo>
                    <a:pt x="96" y="0"/>
                  </a:lnTo>
                  <a:lnTo>
                    <a:pt x="95" y="2"/>
                  </a:lnTo>
                  <a:lnTo>
                    <a:pt x="90" y="3"/>
                  </a:lnTo>
                  <a:lnTo>
                    <a:pt x="80" y="5"/>
                  </a:lnTo>
                  <a:lnTo>
                    <a:pt x="77" y="3"/>
                  </a:lnTo>
                  <a:lnTo>
                    <a:pt x="72" y="5"/>
                  </a:lnTo>
                  <a:lnTo>
                    <a:pt x="67" y="8"/>
                  </a:lnTo>
                  <a:lnTo>
                    <a:pt x="64" y="9"/>
                  </a:lnTo>
                  <a:lnTo>
                    <a:pt x="63" y="9"/>
                  </a:lnTo>
                  <a:lnTo>
                    <a:pt x="54" y="12"/>
                  </a:lnTo>
                  <a:lnTo>
                    <a:pt x="47" y="11"/>
                  </a:lnTo>
                  <a:lnTo>
                    <a:pt x="44" y="8"/>
                  </a:lnTo>
                  <a:lnTo>
                    <a:pt x="43" y="6"/>
                  </a:lnTo>
                  <a:lnTo>
                    <a:pt x="38" y="8"/>
                  </a:lnTo>
                  <a:lnTo>
                    <a:pt x="31" y="11"/>
                  </a:lnTo>
                  <a:lnTo>
                    <a:pt x="29" y="12"/>
                  </a:lnTo>
                  <a:lnTo>
                    <a:pt x="25" y="11"/>
                  </a:lnTo>
                  <a:lnTo>
                    <a:pt x="24" y="12"/>
                  </a:lnTo>
                  <a:lnTo>
                    <a:pt x="22" y="11"/>
                  </a:lnTo>
                  <a:lnTo>
                    <a:pt x="22" y="11"/>
                  </a:lnTo>
                  <a:lnTo>
                    <a:pt x="22" y="11"/>
                  </a:lnTo>
                  <a:lnTo>
                    <a:pt x="22" y="11"/>
                  </a:lnTo>
                  <a:lnTo>
                    <a:pt x="21" y="9"/>
                  </a:lnTo>
                  <a:lnTo>
                    <a:pt x="19" y="9"/>
                  </a:lnTo>
                  <a:lnTo>
                    <a:pt x="18" y="8"/>
                  </a:lnTo>
                  <a:lnTo>
                    <a:pt x="16" y="11"/>
                  </a:lnTo>
                  <a:lnTo>
                    <a:pt x="16" y="12"/>
                  </a:lnTo>
                  <a:lnTo>
                    <a:pt x="16" y="12"/>
                  </a:lnTo>
                  <a:lnTo>
                    <a:pt x="15" y="15"/>
                  </a:lnTo>
                  <a:lnTo>
                    <a:pt x="18" y="18"/>
                  </a:lnTo>
                  <a:lnTo>
                    <a:pt x="18" y="19"/>
                  </a:lnTo>
                  <a:lnTo>
                    <a:pt x="18" y="19"/>
                  </a:lnTo>
                  <a:lnTo>
                    <a:pt x="15" y="19"/>
                  </a:lnTo>
                  <a:lnTo>
                    <a:pt x="13" y="19"/>
                  </a:lnTo>
                  <a:lnTo>
                    <a:pt x="13" y="24"/>
                  </a:lnTo>
                  <a:lnTo>
                    <a:pt x="12" y="24"/>
                  </a:lnTo>
                  <a:lnTo>
                    <a:pt x="11" y="25"/>
                  </a:lnTo>
                  <a:lnTo>
                    <a:pt x="11" y="27"/>
                  </a:lnTo>
                  <a:lnTo>
                    <a:pt x="8" y="25"/>
                  </a:lnTo>
                  <a:lnTo>
                    <a:pt x="8" y="24"/>
                  </a:lnTo>
                  <a:lnTo>
                    <a:pt x="6" y="24"/>
                  </a:lnTo>
                  <a:lnTo>
                    <a:pt x="6" y="27"/>
                  </a:lnTo>
                  <a:lnTo>
                    <a:pt x="5" y="31"/>
                  </a:lnTo>
                  <a:lnTo>
                    <a:pt x="6" y="32"/>
                  </a:lnTo>
                  <a:lnTo>
                    <a:pt x="8" y="35"/>
                  </a:lnTo>
                  <a:lnTo>
                    <a:pt x="8" y="40"/>
                  </a:lnTo>
                  <a:lnTo>
                    <a:pt x="6" y="43"/>
                  </a:lnTo>
                  <a:lnTo>
                    <a:pt x="8" y="45"/>
                  </a:lnTo>
                  <a:lnTo>
                    <a:pt x="12" y="45"/>
                  </a:lnTo>
                  <a:lnTo>
                    <a:pt x="12" y="45"/>
                  </a:lnTo>
                  <a:lnTo>
                    <a:pt x="13" y="45"/>
                  </a:lnTo>
                  <a:lnTo>
                    <a:pt x="13" y="45"/>
                  </a:lnTo>
                  <a:lnTo>
                    <a:pt x="15" y="45"/>
                  </a:lnTo>
                  <a:lnTo>
                    <a:pt x="15" y="47"/>
                  </a:lnTo>
                  <a:lnTo>
                    <a:pt x="15" y="47"/>
                  </a:lnTo>
                  <a:lnTo>
                    <a:pt x="13" y="47"/>
                  </a:lnTo>
                  <a:lnTo>
                    <a:pt x="13" y="48"/>
                  </a:lnTo>
                  <a:lnTo>
                    <a:pt x="13" y="48"/>
                  </a:lnTo>
                  <a:lnTo>
                    <a:pt x="13" y="48"/>
                  </a:lnTo>
                  <a:lnTo>
                    <a:pt x="15" y="48"/>
                  </a:lnTo>
                  <a:lnTo>
                    <a:pt x="15" y="50"/>
                  </a:lnTo>
                  <a:lnTo>
                    <a:pt x="16" y="50"/>
                  </a:lnTo>
                  <a:lnTo>
                    <a:pt x="16" y="51"/>
                  </a:lnTo>
                  <a:lnTo>
                    <a:pt x="16" y="53"/>
                  </a:lnTo>
                  <a:lnTo>
                    <a:pt x="16" y="54"/>
                  </a:lnTo>
                  <a:lnTo>
                    <a:pt x="18" y="54"/>
                  </a:lnTo>
                  <a:lnTo>
                    <a:pt x="16" y="54"/>
                  </a:lnTo>
                  <a:lnTo>
                    <a:pt x="16" y="56"/>
                  </a:lnTo>
                  <a:lnTo>
                    <a:pt x="16" y="56"/>
                  </a:lnTo>
                  <a:lnTo>
                    <a:pt x="15" y="57"/>
                  </a:lnTo>
                  <a:lnTo>
                    <a:pt x="13" y="57"/>
                  </a:lnTo>
                  <a:lnTo>
                    <a:pt x="13" y="59"/>
                  </a:lnTo>
                  <a:lnTo>
                    <a:pt x="12" y="59"/>
                  </a:lnTo>
                  <a:lnTo>
                    <a:pt x="12" y="60"/>
                  </a:lnTo>
                  <a:lnTo>
                    <a:pt x="13" y="60"/>
                  </a:lnTo>
                  <a:lnTo>
                    <a:pt x="13" y="61"/>
                  </a:lnTo>
                  <a:lnTo>
                    <a:pt x="13" y="61"/>
                  </a:lnTo>
                  <a:lnTo>
                    <a:pt x="13" y="61"/>
                  </a:lnTo>
                  <a:lnTo>
                    <a:pt x="12" y="61"/>
                  </a:lnTo>
                  <a:lnTo>
                    <a:pt x="9" y="61"/>
                  </a:lnTo>
                  <a:lnTo>
                    <a:pt x="8" y="63"/>
                  </a:lnTo>
                  <a:lnTo>
                    <a:pt x="8" y="63"/>
                  </a:lnTo>
                  <a:lnTo>
                    <a:pt x="6" y="64"/>
                  </a:lnTo>
                  <a:lnTo>
                    <a:pt x="6" y="64"/>
                  </a:lnTo>
                  <a:lnTo>
                    <a:pt x="8" y="64"/>
                  </a:lnTo>
                  <a:lnTo>
                    <a:pt x="8" y="66"/>
                  </a:lnTo>
                  <a:lnTo>
                    <a:pt x="8" y="66"/>
                  </a:lnTo>
                  <a:lnTo>
                    <a:pt x="5" y="69"/>
                  </a:lnTo>
                  <a:lnTo>
                    <a:pt x="5" y="70"/>
                  </a:lnTo>
                  <a:lnTo>
                    <a:pt x="3" y="70"/>
                  </a:lnTo>
                  <a:lnTo>
                    <a:pt x="2" y="72"/>
                  </a:lnTo>
                  <a:lnTo>
                    <a:pt x="2" y="75"/>
                  </a:lnTo>
                  <a:lnTo>
                    <a:pt x="0" y="75"/>
                  </a:lnTo>
                  <a:lnTo>
                    <a:pt x="0" y="76"/>
                  </a:lnTo>
                  <a:lnTo>
                    <a:pt x="0" y="77"/>
                  </a:lnTo>
                  <a:lnTo>
                    <a:pt x="2" y="79"/>
                  </a:lnTo>
                  <a:lnTo>
                    <a:pt x="0" y="80"/>
                  </a:lnTo>
                  <a:lnTo>
                    <a:pt x="3" y="80"/>
                  </a:lnTo>
                  <a:lnTo>
                    <a:pt x="5" y="80"/>
                  </a:lnTo>
                  <a:lnTo>
                    <a:pt x="6" y="83"/>
                  </a:lnTo>
                  <a:lnTo>
                    <a:pt x="12" y="86"/>
                  </a:lnTo>
                  <a:lnTo>
                    <a:pt x="15" y="88"/>
                  </a:lnTo>
                  <a:lnTo>
                    <a:pt x="16" y="86"/>
                  </a:lnTo>
                  <a:lnTo>
                    <a:pt x="48" y="6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10" name="Freeform 1288"/>
            <p:cNvSpPr>
              <a:spLocks/>
            </p:cNvSpPr>
            <p:nvPr/>
          </p:nvSpPr>
          <p:spPr bwMode="auto">
            <a:xfrm>
              <a:off x="6581570" y="2680344"/>
              <a:ext cx="93047" cy="91272"/>
            </a:xfrm>
            <a:custGeom>
              <a:avLst/>
              <a:gdLst/>
              <a:ahLst/>
              <a:cxnLst>
                <a:cxn ang="0">
                  <a:pos x="79" y="50"/>
                </a:cxn>
                <a:cxn ang="0">
                  <a:pos x="83" y="16"/>
                </a:cxn>
                <a:cxn ang="0">
                  <a:pos x="96" y="5"/>
                </a:cxn>
                <a:cxn ang="0">
                  <a:pos x="98" y="3"/>
                </a:cxn>
                <a:cxn ang="0">
                  <a:pos x="98" y="0"/>
                </a:cxn>
                <a:cxn ang="0">
                  <a:pos x="96" y="0"/>
                </a:cxn>
                <a:cxn ang="0">
                  <a:pos x="90" y="3"/>
                </a:cxn>
                <a:cxn ang="0">
                  <a:pos x="77" y="3"/>
                </a:cxn>
                <a:cxn ang="0">
                  <a:pos x="67" y="8"/>
                </a:cxn>
                <a:cxn ang="0">
                  <a:pos x="63" y="9"/>
                </a:cxn>
                <a:cxn ang="0">
                  <a:pos x="47" y="11"/>
                </a:cxn>
                <a:cxn ang="0">
                  <a:pos x="43" y="6"/>
                </a:cxn>
                <a:cxn ang="0">
                  <a:pos x="31" y="11"/>
                </a:cxn>
                <a:cxn ang="0">
                  <a:pos x="25" y="11"/>
                </a:cxn>
                <a:cxn ang="0">
                  <a:pos x="22" y="11"/>
                </a:cxn>
                <a:cxn ang="0">
                  <a:pos x="22" y="11"/>
                </a:cxn>
                <a:cxn ang="0">
                  <a:pos x="21" y="9"/>
                </a:cxn>
                <a:cxn ang="0">
                  <a:pos x="18" y="8"/>
                </a:cxn>
                <a:cxn ang="0">
                  <a:pos x="16" y="12"/>
                </a:cxn>
                <a:cxn ang="0">
                  <a:pos x="15" y="15"/>
                </a:cxn>
                <a:cxn ang="0">
                  <a:pos x="18" y="19"/>
                </a:cxn>
                <a:cxn ang="0">
                  <a:pos x="15" y="19"/>
                </a:cxn>
                <a:cxn ang="0">
                  <a:pos x="13" y="24"/>
                </a:cxn>
                <a:cxn ang="0">
                  <a:pos x="11" y="25"/>
                </a:cxn>
                <a:cxn ang="0">
                  <a:pos x="8" y="25"/>
                </a:cxn>
                <a:cxn ang="0">
                  <a:pos x="6" y="24"/>
                </a:cxn>
                <a:cxn ang="0">
                  <a:pos x="5" y="31"/>
                </a:cxn>
                <a:cxn ang="0">
                  <a:pos x="8" y="35"/>
                </a:cxn>
                <a:cxn ang="0">
                  <a:pos x="6" y="43"/>
                </a:cxn>
                <a:cxn ang="0">
                  <a:pos x="12" y="45"/>
                </a:cxn>
                <a:cxn ang="0">
                  <a:pos x="13" y="45"/>
                </a:cxn>
                <a:cxn ang="0">
                  <a:pos x="15" y="45"/>
                </a:cxn>
                <a:cxn ang="0">
                  <a:pos x="15" y="47"/>
                </a:cxn>
                <a:cxn ang="0">
                  <a:pos x="13" y="48"/>
                </a:cxn>
                <a:cxn ang="0">
                  <a:pos x="13" y="48"/>
                </a:cxn>
                <a:cxn ang="0">
                  <a:pos x="15" y="50"/>
                </a:cxn>
                <a:cxn ang="0">
                  <a:pos x="16" y="51"/>
                </a:cxn>
                <a:cxn ang="0">
                  <a:pos x="16" y="54"/>
                </a:cxn>
                <a:cxn ang="0">
                  <a:pos x="16" y="54"/>
                </a:cxn>
                <a:cxn ang="0">
                  <a:pos x="16" y="56"/>
                </a:cxn>
                <a:cxn ang="0">
                  <a:pos x="13" y="57"/>
                </a:cxn>
                <a:cxn ang="0">
                  <a:pos x="12" y="59"/>
                </a:cxn>
                <a:cxn ang="0">
                  <a:pos x="13" y="60"/>
                </a:cxn>
                <a:cxn ang="0">
                  <a:pos x="13" y="61"/>
                </a:cxn>
                <a:cxn ang="0">
                  <a:pos x="12" y="61"/>
                </a:cxn>
                <a:cxn ang="0">
                  <a:pos x="8" y="63"/>
                </a:cxn>
                <a:cxn ang="0">
                  <a:pos x="6" y="64"/>
                </a:cxn>
                <a:cxn ang="0">
                  <a:pos x="8" y="64"/>
                </a:cxn>
                <a:cxn ang="0">
                  <a:pos x="8" y="66"/>
                </a:cxn>
                <a:cxn ang="0">
                  <a:pos x="5" y="70"/>
                </a:cxn>
                <a:cxn ang="0">
                  <a:pos x="2" y="72"/>
                </a:cxn>
                <a:cxn ang="0">
                  <a:pos x="0" y="75"/>
                </a:cxn>
                <a:cxn ang="0">
                  <a:pos x="0" y="77"/>
                </a:cxn>
                <a:cxn ang="0">
                  <a:pos x="0" y="80"/>
                </a:cxn>
                <a:cxn ang="0">
                  <a:pos x="5" y="80"/>
                </a:cxn>
                <a:cxn ang="0">
                  <a:pos x="12" y="86"/>
                </a:cxn>
                <a:cxn ang="0">
                  <a:pos x="16" y="86"/>
                </a:cxn>
              </a:cxnLst>
              <a:rect l="0" t="0" r="r" b="b"/>
              <a:pathLst>
                <a:path w="101" h="88">
                  <a:moveTo>
                    <a:pt x="48" y="69"/>
                  </a:moveTo>
                  <a:lnTo>
                    <a:pt x="79" y="50"/>
                  </a:lnTo>
                  <a:lnTo>
                    <a:pt x="82" y="44"/>
                  </a:lnTo>
                  <a:lnTo>
                    <a:pt x="83" y="16"/>
                  </a:lnTo>
                  <a:lnTo>
                    <a:pt x="92" y="14"/>
                  </a:lnTo>
                  <a:lnTo>
                    <a:pt x="96" y="5"/>
                  </a:lnTo>
                  <a:lnTo>
                    <a:pt x="101" y="3"/>
                  </a:lnTo>
                  <a:lnTo>
                    <a:pt x="98" y="3"/>
                  </a:lnTo>
                  <a:lnTo>
                    <a:pt x="98" y="2"/>
                  </a:lnTo>
                  <a:lnTo>
                    <a:pt x="98" y="0"/>
                  </a:lnTo>
                  <a:lnTo>
                    <a:pt x="98" y="0"/>
                  </a:lnTo>
                  <a:lnTo>
                    <a:pt x="96" y="0"/>
                  </a:lnTo>
                  <a:lnTo>
                    <a:pt x="95" y="2"/>
                  </a:lnTo>
                  <a:lnTo>
                    <a:pt x="90" y="3"/>
                  </a:lnTo>
                  <a:lnTo>
                    <a:pt x="80" y="5"/>
                  </a:lnTo>
                  <a:lnTo>
                    <a:pt x="77" y="3"/>
                  </a:lnTo>
                  <a:lnTo>
                    <a:pt x="72" y="5"/>
                  </a:lnTo>
                  <a:lnTo>
                    <a:pt x="67" y="8"/>
                  </a:lnTo>
                  <a:lnTo>
                    <a:pt x="64" y="9"/>
                  </a:lnTo>
                  <a:lnTo>
                    <a:pt x="63" y="9"/>
                  </a:lnTo>
                  <a:lnTo>
                    <a:pt x="54" y="12"/>
                  </a:lnTo>
                  <a:lnTo>
                    <a:pt x="47" y="11"/>
                  </a:lnTo>
                  <a:lnTo>
                    <a:pt x="44" y="8"/>
                  </a:lnTo>
                  <a:lnTo>
                    <a:pt x="43" y="6"/>
                  </a:lnTo>
                  <a:lnTo>
                    <a:pt x="38" y="8"/>
                  </a:lnTo>
                  <a:lnTo>
                    <a:pt x="31" y="11"/>
                  </a:lnTo>
                  <a:lnTo>
                    <a:pt x="29" y="12"/>
                  </a:lnTo>
                  <a:lnTo>
                    <a:pt x="25" y="11"/>
                  </a:lnTo>
                  <a:lnTo>
                    <a:pt x="24" y="12"/>
                  </a:lnTo>
                  <a:lnTo>
                    <a:pt x="22" y="11"/>
                  </a:lnTo>
                  <a:lnTo>
                    <a:pt x="22" y="11"/>
                  </a:lnTo>
                  <a:lnTo>
                    <a:pt x="22" y="11"/>
                  </a:lnTo>
                  <a:lnTo>
                    <a:pt x="22" y="11"/>
                  </a:lnTo>
                  <a:lnTo>
                    <a:pt x="21" y="9"/>
                  </a:lnTo>
                  <a:lnTo>
                    <a:pt x="19" y="9"/>
                  </a:lnTo>
                  <a:lnTo>
                    <a:pt x="18" y="8"/>
                  </a:lnTo>
                  <a:lnTo>
                    <a:pt x="16" y="11"/>
                  </a:lnTo>
                  <a:lnTo>
                    <a:pt x="16" y="12"/>
                  </a:lnTo>
                  <a:lnTo>
                    <a:pt x="16" y="12"/>
                  </a:lnTo>
                  <a:lnTo>
                    <a:pt x="15" y="15"/>
                  </a:lnTo>
                  <a:lnTo>
                    <a:pt x="18" y="18"/>
                  </a:lnTo>
                  <a:lnTo>
                    <a:pt x="18" y="19"/>
                  </a:lnTo>
                  <a:lnTo>
                    <a:pt x="18" y="19"/>
                  </a:lnTo>
                  <a:lnTo>
                    <a:pt x="15" y="19"/>
                  </a:lnTo>
                  <a:lnTo>
                    <a:pt x="13" y="19"/>
                  </a:lnTo>
                  <a:lnTo>
                    <a:pt x="13" y="24"/>
                  </a:lnTo>
                  <a:lnTo>
                    <a:pt x="12" y="24"/>
                  </a:lnTo>
                  <a:lnTo>
                    <a:pt x="11" y="25"/>
                  </a:lnTo>
                  <a:lnTo>
                    <a:pt x="11" y="27"/>
                  </a:lnTo>
                  <a:lnTo>
                    <a:pt x="8" y="25"/>
                  </a:lnTo>
                  <a:lnTo>
                    <a:pt x="8" y="24"/>
                  </a:lnTo>
                  <a:lnTo>
                    <a:pt x="6" y="24"/>
                  </a:lnTo>
                  <a:lnTo>
                    <a:pt x="6" y="27"/>
                  </a:lnTo>
                  <a:lnTo>
                    <a:pt x="5" y="31"/>
                  </a:lnTo>
                  <a:lnTo>
                    <a:pt x="6" y="32"/>
                  </a:lnTo>
                  <a:lnTo>
                    <a:pt x="8" y="35"/>
                  </a:lnTo>
                  <a:lnTo>
                    <a:pt x="8" y="40"/>
                  </a:lnTo>
                  <a:lnTo>
                    <a:pt x="6" y="43"/>
                  </a:lnTo>
                  <a:lnTo>
                    <a:pt x="8" y="45"/>
                  </a:lnTo>
                  <a:lnTo>
                    <a:pt x="12" y="45"/>
                  </a:lnTo>
                  <a:lnTo>
                    <a:pt x="12" y="45"/>
                  </a:lnTo>
                  <a:lnTo>
                    <a:pt x="13" y="45"/>
                  </a:lnTo>
                  <a:lnTo>
                    <a:pt x="13" y="45"/>
                  </a:lnTo>
                  <a:lnTo>
                    <a:pt x="15" y="45"/>
                  </a:lnTo>
                  <a:lnTo>
                    <a:pt x="15" y="47"/>
                  </a:lnTo>
                  <a:lnTo>
                    <a:pt x="15" y="47"/>
                  </a:lnTo>
                  <a:lnTo>
                    <a:pt x="13" y="47"/>
                  </a:lnTo>
                  <a:lnTo>
                    <a:pt x="13" y="48"/>
                  </a:lnTo>
                  <a:lnTo>
                    <a:pt x="13" y="48"/>
                  </a:lnTo>
                  <a:lnTo>
                    <a:pt x="13" y="48"/>
                  </a:lnTo>
                  <a:lnTo>
                    <a:pt x="15" y="48"/>
                  </a:lnTo>
                  <a:lnTo>
                    <a:pt x="15" y="50"/>
                  </a:lnTo>
                  <a:lnTo>
                    <a:pt x="16" y="50"/>
                  </a:lnTo>
                  <a:lnTo>
                    <a:pt x="16" y="51"/>
                  </a:lnTo>
                  <a:lnTo>
                    <a:pt x="16" y="53"/>
                  </a:lnTo>
                  <a:lnTo>
                    <a:pt x="16" y="54"/>
                  </a:lnTo>
                  <a:lnTo>
                    <a:pt x="18" y="54"/>
                  </a:lnTo>
                  <a:lnTo>
                    <a:pt x="16" y="54"/>
                  </a:lnTo>
                  <a:lnTo>
                    <a:pt x="16" y="56"/>
                  </a:lnTo>
                  <a:lnTo>
                    <a:pt x="16" y="56"/>
                  </a:lnTo>
                  <a:lnTo>
                    <a:pt x="15" y="57"/>
                  </a:lnTo>
                  <a:lnTo>
                    <a:pt x="13" y="57"/>
                  </a:lnTo>
                  <a:lnTo>
                    <a:pt x="13" y="59"/>
                  </a:lnTo>
                  <a:lnTo>
                    <a:pt x="12" y="59"/>
                  </a:lnTo>
                  <a:lnTo>
                    <a:pt x="12" y="60"/>
                  </a:lnTo>
                  <a:lnTo>
                    <a:pt x="13" y="60"/>
                  </a:lnTo>
                  <a:lnTo>
                    <a:pt x="13" y="61"/>
                  </a:lnTo>
                  <a:lnTo>
                    <a:pt x="13" y="61"/>
                  </a:lnTo>
                  <a:lnTo>
                    <a:pt x="13" y="61"/>
                  </a:lnTo>
                  <a:lnTo>
                    <a:pt x="12" y="61"/>
                  </a:lnTo>
                  <a:lnTo>
                    <a:pt x="9" y="61"/>
                  </a:lnTo>
                  <a:lnTo>
                    <a:pt x="8" y="63"/>
                  </a:lnTo>
                  <a:lnTo>
                    <a:pt x="8" y="63"/>
                  </a:lnTo>
                  <a:lnTo>
                    <a:pt x="6" y="64"/>
                  </a:lnTo>
                  <a:lnTo>
                    <a:pt x="6" y="64"/>
                  </a:lnTo>
                  <a:lnTo>
                    <a:pt x="8" y="64"/>
                  </a:lnTo>
                  <a:lnTo>
                    <a:pt x="8" y="66"/>
                  </a:lnTo>
                  <a:lnTo>
                    <a:pt x="8" y="66"/>
                  </a:lnTo>
                  <a:lnTo>
                    <a:pt x="5" y="69"/>
                  </a:lnTo>
                  <a:lnTo>
                    <a:pt x="5" y="70"/>
                  </a:lnTo>
                  <a:lnTo>
                    <a:pt x="3" y="70"/>
                  </a:lnTo>
                  <a:lnTo>
                    <a:pt x="2" y="72"/>
                  </a:lnTo>
                  <a:lnTo>
                    <a:pt x="2" y="75"/>
                  </a:lnTo>
                  <a:lnTo>
                    <a:pt x="0" y="75"/>
                  </a:lnTo>
                  <a:lnTo>
                    <a:pt x="0" y="76"/>
                  </a:lnTo>
                  <a:lnTo>
                    <a:pt x="0" y="77"/>
                  </a:lnTo>
                  <a:lnTo>
                    <a:pt x="2" y="79"/>
                  </a:lnTo>
                  <a:lnTo>
                    <a:pt x="0" y="80"/>
                  </a:lnTo>
                  <a:lnTo>
                    <a:pt x="3" y="80"/>
                  </a:lnTo>
                  <a:lnTo>
                    <a:pt x="5" y="80"/>
                  </a:lnTo>
                  <a:lnTo>
                    <a:pt x="6" y="83"/>
                  </a:lnTo>
                  <a:lnTo>
                    <a:pt x="12" y="86"/>
                  </a:lnTo>
                  <a:lnTo>
                    <a:pt x="15" y="88"/>
                  </a:lnTo>
                  <a:lnTo>
                    <a:pt x="16" y="86"/>
                  </a:lnTo>
                  <a:lnTo>
                    <a:pt x="48" y="69"/>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11" name="Freeform 1289"/>
            <p:cNvSpPr>
              <a:spLocks/>
            </p:cNvSpPr>
            <p:nvPr/>
          </p:nvSpPr>
          <p:spPr bwMode="auto">
            <a:xfrm>
              <a:off x="6908112" y="2659047"/>
              <a:ext cx="187849" cy="163276"/>
            </a:xfrm>
            <a:custGeom>
              <a:avLst/>
              <a:gdLst/>
              <a:ahLst/>
              <a:cxnLst>
                <a:cxn ang="0">
                  <a:pos x="16" y="122"/>
                </a:cxn>
                <a:cxn ang="0">
                  <a:pos x="2" y="96"/>
                </a:cxn>
                <a:cxn ang="0">
                  <a:pos x="6" y="73"/>
                </a:cxn>
                <a:cxn ang="0">
                  <a:pos x="15" y="52"/>
                </a:cxn>
                <a:cxn ang="0">
                  <a:pos x="26" y="57"/>
                </a:cxn>
                <a:cxn ang="0">
                  <a:pos x="36" y="54"/>
                </a:cxn>
                <a:cxn ang="0">
                  <a:pos x="38" y="47"/>
                </a:cxn>
                <a:cxn ang="0">
                  <a:pos x="51" y="42"/>
                </a:cxn>
                <a:cxn ang="0">
                  <a:pos x="58" y="32"/>
                </a:cxn>
                <a:cxn ang="0">
                  <a:pos x="63" y="23"/>
                </a:cxn>
                <a:cxn ang="0">
                  <a:pos x="71" y="20"/>
                </a:cxn>
                <a:cxn ang="0">
                  <a:pos x="81" y="19"/>
                </a:cxn>
                <a:cxn ang="0">
                  <a:pos x="103" y="20"/>
                </a:cxn>
                <a:cxn ang="0">
                  <a:pos x="116" y="22"/>
                </a:cxn>
                <a:cxn ang="0">
                  <a:pos x="122" y="22"/>
                </a:cxn>
                <a:cxn ang="0">
                  <a:pos x="126" y="20"/>
                </a:cxn>
                <a:cxn ang="0">
                  <a:pos x="134" y="15"/>
                </a:cxn>
                <a:cxn ang="0">
                  <a:pos x="140" y="13"/>
                </a:cxn>
                <a:cxn ang="0">
                  <a:pos x="145" y="0"/>
                </a:cxn>
                <a:cxn ang="0">
                  <a:pos x="154" y="3"/>
                </a:cxn>
                <a:cxn ang="0">
                  <a:pos x="155" y="10"/>
                </a:cxn>
                <a:cxn ang="0">
                  <a:pos x="157" y="13"/>
                </a:cxn>
                <a:cxn ang="0">
                  <a:pos x="155" y="23"/>
                </a:cxn>
                <a:cxn ang="0">
                  <a:pos x="174" y="26"/>
                </a:cxn>
                <a:cxn ang="0">
                  <a:pos x="179" y="22"/>
                </a:cxn>
                <a:cxn ang="0">
                  <a:pos x="187" y="19"/>
                </a:cxn>
                <a:cxn ang="0">
                  <a:pos x="192" y="20"/>
                </a:cxn>
                <a:cxn ang="0">
                  <a:pos x="202" y="20"/>
                </a:cxn>
                <a:cxn ang="0">
                  <a:pos x="203" y="22"/>
                </a:cxn>
                <a:cxn ang="0">
                  <a:pos x="199" y="25"/>
                </a:cxn>
                <a:cxn ang="0">
                  <a:pos x="198" y="28"/>
                </a:cxn>
                <a:cxn ang="0">
                  <a:pos x="187" y="28"/>
                </a:cxn>
                <a:cxn ang="0">
                  <a:pos x="167" y="32"/>
                </a:cxn>
                <a:cxn ang="0">
                  <a:pos x="163" y="35"/>
                </a:cxn>
                <a:cxn ang="0">
                  <a:pos x="158" y="36"/>
                </a:cxn>
                <a:cxn ang="0">
                  <a:pos x="153" y="44"/>
                </a:cxn>
                <a:cxn ang="0">
                  <a:pos x="158" y="57"/>
                </a:cxn>
                <a:cxn ang="0">
                  <a:pos x="150" y="70"/>
                </a:cxn>
                <a:cxn ang="0">
                  <a:pos x="151" y="76"/>
                </a:cxn>
                <a:cxn ang="0">
                  <a:pos x="135" y="80"/>
                </a:cxn>
                <a:cxn ang="0">
                  <a:pos x="140" y="89"/>
                </a:cxn>
                <a:cxn ang="0">
                  <a:pos x="128" y="97"/>
                </a:cxn>
                <a:cxn ang="0">
                  <a:pos x="125" y="105"/>
                </a:cxn>
                <a:cxn ang="0">
                  <a:pos x="118" y="118"/>
                </a:cxn>
                <a:cxn ang="0">
                  <a:pos x="115" y="116"/>
                </a:cxn>
                <a:cxn ang="0">
                  <a:pos x="106" y="118"/>
                </a:cxn>
                <a:cxn ang="0">
                  <a:pos x="103" y="124"/>
                </a:cxn>
                <a:cxn ang="0">
                  <a:pos x="90" y="125"/>
                </a:cxn>
                <a:cxn ang="0">
                  <a:pos x="83" y="143"/>
                </a:cxn>
                <a:cxn ang="0">
                  <a:pos x="65" y="153"/>
                </a:cxn>
                <a:cxn ang="0">
                  <a:pos x="51" y="156"/>
                </a:cxn>
                <a:cxn ang="0">
                  <a:pos x="6" y="148"/>
                </a:cxn>
              </a:cxnLst>
              <a:rect l="0" t="0" r="r" b="b"/>
              <a:pathLst>
                <a:path w="205" h="156">
                  <a:moveTo>
                    <a:pt x="6" y="148"/>
                  </a:moveTo>
                  <a:lnTo>
                    <a:pt x="16" y="135"/>
                  </a:lnTo>
                  <a:lnTo>
                    <a:pt x="18" y="129"/>
                  </a:lnTo>
                  <a:lnTo>
                    <a:pt x="18" y="127"/>
                  </a:lnTo>
                  <a:lnTo>
                    <a:pt x="16" y="122"/>
                  </a:lnTo>
                  <a:lnTo>
                    <a:pt x="13" y="119"/>
                  </a:lnTo>
                  <a:lnTo>
                    <a:pt x="6" y="118"/>
                  </a:lnTo>
                  <a:lnTo>
                    <a:pt x="3" y="116"/>
                  </a:lnTo>
                  <a:lnTo>
                    <a:pt x="3" y="103"/>
                  </a:lnTo>
                  <a:lnTo>
                    <a:pt x="2" y="96"/>
                  </a:lnTo>
                  <a:lnTo>
                    <a:pt x="5" y="86"/>
                  </a:lnTo>
                  <a:lnTo>
                    <a:pt x="3" y="84"/>
                  </a:lnTo>
                  <a:lnTo>
                    <a:pt x="0" y="83"/>
                  </a:lnTo>
                  <a:lnTo>
                    <a:pt x="0" y="76"/>
                  </a:lnTo>
                  <a:lnTo>
                    <a:pt x="6" y="73"/>
                  </a:lnTo>
                  <a:lnTo>
                    <a:pt x="6" y="68"/>
                  </a:lnTo>
                  <a:lnTo>
                    <a:pt x="9" y="63"/>
                  </a:lnTo>
                  <a:lnTo>
                    <a:pt x="10" y="50"/>
                  </a:lnTo>
                  <a:lnTo>
                    <a:pt x="15" y="52"/>
                  </a:lnTo>
                  <a:lnTo>
                    <a:pt x="15" y="52"/>
                  </a:lnTo>
                  <a:lnTo>
                    <a:pt x="18" y="54"/>
                  </a:lnTo>
                  <a:lnTo>
                    <a:pt x="20" y="54"/>
                  </a:lnTo>
                  <a:lnTo>
                    <a:pt x="22" y="54"/>
                  </a:lnTo>
                  <a:lnTo>
                    <a:pt x="25" y="55"/>
                  </a:lnTo>
                  <a:lnTo>
                    <a:pt x="26" y="57"/>
                  </a:lnTo>
                  <a:lnTo>
                    <a:pt x="26" y="57"/>
                  </a:lnTo>
                  <a:lnTo>
                    <a:pt x="29" y="57"/>
                  </a:lnTo>
                  <a:lnTo>
                    <a:pt x="32" y="57"/>
                  </a:lnTo>
                  <a:lnTo>
                    <a:pt x="34" y="55"/>
                  </a:lnTo>
                  <a:lnTo>
                    <a:pt x="36" y="54"/>
                  </a:lnTo>
                  <a:lnTo>
                    <a:pt x="38" y="54"/>
                  </a:lnTo>
                  <a:lnTo>
                    <a:pt x="38" y="51"/>
                  </a:lnTo>
                  <a:lnTo>
                    <a:pt x="39" y="50"/>
                  </a:lnTo>
                  <a:lnTo>
                    <a:pt x="39" y="50"/>
                  </a:lnTo>
                  <a:lnTo>
                    <a:pt x="38" y="47"/>
                  </a:lnTo>
                  <a:lnTo>
                    <a:pt x="38" y="47"/>
                  </a:lnTo>
                  <a:lnTo>
                    <a:pt x="39" y="47"/>
                  </a:lnTo>
                  <a:lnTo>
                    <a:pt x="47" y="45"/>
                  </a:lnTo>
                  <a:lnTo>
                    <a:pt x="48" y="44"/>
                  </a:lnTo>
                  <a:lnTo>
                    <a:pt x="51" y="42"/>
                  </a:lnTo>
                  <a:lnTo>
                    <a:pt x="52" y="41"/>
                  </a:lnTo>
                  <a:lnTo>
                    <a:pt x="54" y="41"/>
                  </a:lnTo>
                  <a:lnTo>
                    <a:pt x="58" y="38"/>
                  </a:lnTo>
                  <a:lnTo>
                    <a:pt x="58" y="36"/>
                  </a:lnTo>
                  <a:lnTo>
                    <a:pt x="58" y="32"/>
                  </a:lnTo>
                  <a:lnTo>
                    <a:pt x="60" y="31"/>
                  </a:lnTo>
                  <a:lnTo>
                    <a:pt x="61" y="26"/>
                  </a:lnTo>
                  <a:lnTo>
                    <a:pt x="61" y="25"/>
                  </a:lnTo>
                  <a:lnTo>
                    <a:pt x="61" y="23"/>
                  </a:lnTo>
                  <a:lnTo>
                    <a:pt x="63" y="23"/>
                  </a:lnTo>
                  <a:lnTo>
                    <a:pt x="64" y="22"/>
                  </a:lnTo>
                  <a:lnTo>
                    <a:pt x="65" y="20"/>
                  </a:lnTo>
                  <a:lnTo>
                    <a:pt x="67" y="22"/>
                  </a:lnTo>
                  <a:lnTo>
                    <a:pt x="71" y="22"/>
                  </a:lnTo>
                  <a:lnTo>
                    <a:pt x="71" y="20"/>
                  </a:lnTo>
                  <a:lnTo>
                    <a:pt x="73" y="19"/>
                  </a:lnTo>
                  <a:lnTo>
                    <a:pt x="73" y="18"/>
                  </a:lnTo>
                  <a:lnTo>
                    <a:pt x="73" y="16"/>
                  </a:lnTo>
                  <a:lnTo>
                    <a:pt x="76" y="16"/>
                  </a:lnTo>
                  <a:lnTo>
                    <a:pt x="81" y="19"/>
                  </a:lnTo>
                  <a:lnTo>
                    <a:pt x="93" y="19"/>
                  </a:lnTo>
                  <a:lnTo>
                    <a:pt x="96" y="20"/>
                  </a:lnTo>
                  <a:lnTo>
                    <a:pt x="97" y="22"/>
                  </a:lnTo>
                  <a:lnTo>
                    <a:pt x="99" y="20"/>
                  </a:lnTo>
                  <a:lnTo>
                    <a:pt x="103" y="20"/>
                  </a:lnTo>
                  <a:lnTo>
                    <a:pt x="108" y="26"/>
                  </a:lnTo>
                  <a:lnTo>
                    <a:pt x="109" y="25"/>
                  </a:lnTo>
                  <a:lnTo>
                    <a:pt x="112" y="25"/>
                  </a:lnTo>
                  <a:lnTo>
                    <a:pt x="112" y="25"/>
                  </a:lnTo>
                  <a:lnTo>
                    <a:pt x="116" y="22"/>
                  </a:lnTo>
                  <a:lnTo>
                    <a:pt x="118" y="22"/>
                  </a:lnTo>
                  <a:lnTo>
                    <a:pt x="119" y="22"/>
                  </a:lnTo>
                  <a:lnTo>
                    <a:pt x="121" y="20"/>
                  </a:lnTo>
                  <a:lnTo>
                    <a:pt x="121" y="20"/>
                  </a:lnTo>
                  <a:lnTo>
                    <a:pt x="122" y="22"/>
                  </a:lnTo>
                  <a:lnTo>
                    <a:pt x="126" y="23"/>
                  </a:lnTo>
                  <a:lnTo>
                    <a:pt x="126" y="23"/>
                  </a:lnTo>
                  <a:lnTo>
                    <a:pt x="126" y="22"/>
                  </a:lnTo>
                  <a:lnTo>
                    <a:pt x="126" y="20"/>
                  </a:lnTo>
                  <a:lnTo>
                    <a:pt x="126" y="20"/>
                  </a:lnTo>
                  <a:lnTo>
                    <a:pt x="126" y="18"/>
                  </a:lnTo>
                  <a:lnTo>
                    <a:pt x="129" y="15"/>
                  </a:lnTo>
                  <a:lnTo>
                    <a:pt x="129" y="15"/>
                  </a:lnTo>
                  <a:lnTo>
                    <a:pt x="131" y="16"/>
                  </a:lnTo>
                  <a:lnTo>
                    <a:pt x="134" y="15"/>
                  </a:lnTo>
                  <a:lnTo>
                    <a:pt x="135" y="16"/>
                  </a:lnTo>
                  <a:lnTo>
                    <a:pt x="137" y="16"/>
                  </a:lnTo>
                  <a:lnTo>
                    <a:pt x="138" y="16"/>
                  </a:lnTo>
                  <a:lnTo>
                    <a:pt x="140" y="15"/>
                  </a:lnTo>
                  <a:lnTo>
                    <a:pt x="140" y="13"/>
                  </a:lnTo>
                  <a:lnTo>
                    <a:pt x="138" y="12"/>
                  </a:lnTo>
                  <a:lnTo>
                    <a:pt x="138" y="10"/>
                  </a:lnTo>
                  <a:lnTo>
                    <a:pt x="144" y="3"/>
                  </a:lnTo>
                  <a:lnTo>
                    <a:pt x="144" y="2"/>
                  </a:lnTo>
                  <a:lnTo>
                    <a:pt x="145" y="0"/>
                  </a:lnTo>
                  <a:lnTo>
                    <a:pt x="145" y="0"/>
                  </a:lnTo>
                  <a:lnTo>
                    <a:pt x="147" y="0"/>
                  </a:lnTo>
                  <a:lnTo>
                    <a:pt x="148" y="0"/>
                  </a:lnTo>
                  <a:lnTo>
                    <a:pt x="151" y="0"/>
                  </a:lnTo>
                  <a:lnTo>
                    <a:pt x="154" y="3"/>
                  </a:lnTo>
                  <a:lnTo>
                    <a:pt x="154" y="4"/>
                  </a:lnTo>
                  <a:lnTo>
                    <a:pt x="153" y="7"/>
                  </a:lnTo>
                  <a:lnTo>
                    <a:pt x="153" y="9"/>
                  </a:lnTo>
                  <a:lnTo>
                    <a:pt x="154" y="9"/>
                  </a:lnTo>
                  <a:lnTo>
                    <a:pt x="155" y="10"/>
                  </a:lnTo>
                  <a:lnTo>
                    <a:pt x="155" y="9"/>
                  </a:lnTo>
                  <a:lnTo>
                    <a:pt x="157" y="10"/>
                  </a:lnTo>
                  <a:lnTo>
                    <a:pt x="157" y="10"/>
                  </a:lnTo>
                  <a:lnTo>
                    <a:pt x="157" y="12"/>
                  </a:lnTo>
                  <a:lnTo>
                    <a:pt x="157" y="13"/>
                  </a:lnTo>
                  <a:lnTo>
                    <a:pt x="157" y="16"/>
                  </a:lnTo>
                  <a:lnTo>
                    <a:pt x="157" y="18"/>
                  </a:lnTo>
                  <a:lnTo>
                    <a:pt x="155" y="19"/>
                  </a:lnTo>
                  <a:lnTo>
                    <a:pt x="155" y="20"/>
                  </a:lnTo>
                  <a:lnTo>
                    <a:pt x="155" y="23"/>
                  </a:lnTo>
                  <a:lnTo>
                    <a:pt x="158" y="32"/>
                  </a:lnTo>
                  <a:lnTo>
                    <a:pt x="160" y="32"/>
                  </a:lnTo>
                  <a:lnTo>
                    <a:pt x="160" y="32"/>
                  </a:lnTo>
                  <a:lnTo>
                    <a:pt x="169" y="26"/>
                  </a:lnTo>
                  <a:lnTo>
                    <a:pt x="174" y="26"/>
                  </a:lnTo>
                  <a:lnTo>
                    <a:pt x="174" y="25"/>
                  </a:lnTo>
                  <a:lnTo>
                    <a:pt x="176" y="23"/>
                  </a:lnTo>
                  <a:lnTo>
                    <a:pt x="177" y="22"/>
                  </a:lnTo>
                  <a:lnTo>
                    <a:pt x="177" y="22"/>
                  </a:lnTo>
                  <a:lnTo>
                    <a:pt x="179" y="22"/>
                  </a:lnTo>
                  <a:lnTo>
                    <a:pt x="182" y="19"/>
                  </a:lnTo>
                  <a:lnTo>
                    <a:pt x="183" y="19"/>
                  </a:lnTo>
                  <a:lnTo>
                    <a:pt x="185" y="18"/>
                  </a:lnTo>
                  <a:lnTo>
                    <a:pt x="186" y="18"/>
                  </a:lnTo>
                  <a:lnTo>
                    <a:pt x="187" y="19"/>
                  </a:lnTo>
                  <a:lnTo>
                    <a:pt x="189" y="19"/>
                  </a:lnTo>
                  <a:lnTo>
                    <a:pt x="189" y="22"/>
                  </a:lnTo>
                  <a:lnTo>
                    <a:pt x="190" y="22"/>
                  </a:lnTo>
                  <a:lnTo>
                    <a:pt x="190" y="22"/>
                  </a:lnTo>
                  <a:lnTo>
                    <a:pt x="192" y="20"/>
                  </a:lnTo>
                  <a:lnTo>
                    <a:pt x="192" y="20"/>
                  </a:lnTo>
                  <a:lnTo>
                    <a:pt x="193" y="20"/>
                  </a:lnTo>
                  <a:lnTo>
                    <a:pt x="199" y="19"/>
                  </a:lnTo>
                  <a:lnTo>
                    <a:pt x="201" y="19"/>
                  </a:lnTo>
                  <a:lnTo>
                    <a:pt x="202" y="20"/>
                  </a:lnTo>
                  <a:lnTo>
                    <a:pt x="203" y="20"/>
                  </a:lnTo>
                  <a:lnTo>
                    <a:pt x="205" y="20"/>
                  </a:lnTo>
                  <a:lnTo>
                    <a:pt x="205" y="22"/>
                  </a:lnTo>
                  <a:lnTo>
                    <a:pt x="203" y="22"/>
                  </a:lnTo>
                  <a:lnTo>
                    <a:pt x="203" y="22"/>
                  </a:lnTo>
                  <a:lnTo>
                    <a:pt x="203" y="22"/>
                  </a:lnTo>
                  <a:lnTo>
                    <a:pt x="202" y="20"/>
                  </a:lnTo>
                  <a:lnTo>
                    <a:pt x="201" y="22"/>
                  </a:lnTo>
                  <a:lnTo>
                    <a:pt x="199" y="23"/>
                  </a:lnTo>
                  <a:lnTo>
                    <a:pt x="199" y="25"/>
                  </a:lnTo>
                  <a:lnTo>
                    <a:pt x="201" y="25"/>
                  </a:lnTo>
                  <a:lnTo>
                    <a:pt x="202" y="26"/>
                  </a:lnTo>
                  <a:lnTo>
                    <a:pt x="201" y="28"/>
                  </a:lnTo>
                  <a:lnTo>
                    <a:pt x="199" y="26"/>
                  </a:lnTo>
                  <a:lnTo>
                    <a:pt x="198" y="28"/>
                  </a:lnTo>
                  <a:lnTo>
                    <a:pt x="196" y="28"/>
                  </a:lnTo>
                  <a:lnTo>
                    <a:pt x="195" y="29"/>
                  </a:lnTo>
                  <a:lnTo>
                    <a:pt x="193" y="29"/>
                  </a:lnTo>
                  <a:lnTo>
                    <a:pt x="190" y="28"/>
                  </a:lnTo>
                  <a:lnTo>
                    <a:pt x="187" y="28"/>
                  </a:lnTo>
                  <a:lnTo>
                    <a:pt x="187" y="28"/>
                  </a:lnTo>
                  <a:lnTo>
                    <a:pt x="173" y="29"/>
                  </a:lnTo>
                  <a:lnTo>
                    <a:pt x="170" y="31"/>
                  </a:lnTo>
                  <a:lnTo>
                    <a:pt x="169" y="31"/>
                  </a:lnTo>
                  <a:lnTo>
                    <a:pt x="167" y="32"/>
                  </a:lnTo>
                  <a:lnTo>
                    <a:pt x="166" y="32"/>
                  </a:lnTo>
                  <a:lnTo>
                    <a:pt x="166" y="34"/>
                  </a:lnTo>
                  <a:lnTo>
                    <a:pt x="164" y="34"/>
                  </a:lnTo>
                  <a:lnTo>
                    <a:pt x="163" y="35"/>
                  </a:lnTo>
                  <a:lnTo>
                    <a:pt x="163" y="35"/>
                  </a:lnTo>
                  <a:lnTo>
                    <a:pt x="163" y="36"/>
                  </a:lnTo>
                  <a:lnTo>
                    <a:pt x="161" y="36"/>
                  </a:lnTo>
                  <a:lnTo>
                    <a:pt x="160" y="36"/>
                  </a:lnTo>
                  <a:lnTo>
                    <a:pt x="158" y="36"/>
                  </a:lnTo>
                  <a:lnTo>
                    <a:pt x="158" y="36"/>
                  </a:lnTo>
                  <a:lnTo>
                    <a:pt x="158" y="38"/>
                  </a:lnTo>
                  <a:lnTo>
                    <a:pt x="154" y="41"/>
                  </a:lnTo>
                  <a:lnTo>
                    <a:pt x="153" y="42"/>
                  </a:lnTo>
                  <a:lnTo>
                    <a:pt x="153" y="44"/>
                  </a:lnTo>
                  <a:lnTo>
                    <a:pt x="153" y="44"/>
                  </a:lnTo>
                  <a:lnTo>
                    <a:pt x="157" y="47"/>
                  </a:lnTo>
                  <a:lnTo>
                    <a:pt x="158" y="54"/>
                  </a:lnTo>
                  <a:lnTo>
                    <a:pt x="158" y="54"/>
                  </a:lnTo>
                  <a:lnTo>
                    <a:pt x="158" y="55"/>
                  </a:lnTo>
                  <a:lnTo>
                    <a:pt x="158" y="57"/>
                  </a:lnTo>
                  <a:lnTo>
                    <a:pt x="158" y="57"/>
                  </a:lnTo>
                  <a:lnTo>
                    <a:pt x="158" y="60"/>
                  </a:lnTo>
                  <a:lnTo>
                    <a:pt x="153" y="67"/>
                  </a:lnTo>
                  <a:lnTo>
                    <a:pt x="151" y="68"/>
                  </a:lnTo>
                  <a:lnTo>
                    <a:pt x="150" y="70"/>
                  </a:lnTo>
                  <a:lnTo>
                    <a:pt x="150" y="71"/>
                  </a:lnTo>
                  <a:lnTo>
                    <a:pt x="151" y="71"/>
                  </a:lnTo>
                  <a:lnTo>
                    <a:pt x="153" y="73"/>
                  </a:lnTo>
                  <a:lnTo>
                    <a:pt x="151" y="73"/>
                  </a:lnTo>
                  <a:lnTo>
                    <a:pt x="151" y="76"/>
                  </a:lnTo>
                  <a:lnTo>
                    <a:pt x="150" y="77"/>
                  </a:lnTo>
                  <a:lnTo>
                    <a:pt x="145" y="79"/>
                  </a:lnTo>
                  <a:lnTo>
                    <a:pt x="137" y="77"/>
                  </a:lnTo>
                  <a:lnTo>
                    <a:pt x="135" y="79"/>
                  </a:lnTo>
                  <a:lnTo>
                    <a:pt x="135" y="80"/>
                  </a:lnTo>
                  <a:lnTo>
                    <a:pt x="137" y="83"/>
                  </a:lnTo>
                  <a:lnTo>
                    <a:pt x="138" y="83"/>
                  </a:lnTo>
                  <a:lnTo>
                    <a:pt x="138" y="87"/>
                  </a:lnTo>
                  <a:lnTo>
                    <a:pt x="140" y="89"/>
                  </a:lnTo>
                  <a:lnTo>
                    <a:pt x="140" y="89"/>
                  </a:lnTo>
                  <a:lnTo>
                    <a:pt x="135" y="93"/>
                  </a:lnTo>
                  <a:lnTo>
                    <a:pt x="132" y="93"/>
                  </a:lnTo>
                  <a:lnTo>
                    <a:pt x="129" y="95"/>
                  </a:lnTo>
                  <a:lnTo>
                    <a:pt x="129" y="97"/>
                  </a:lnTo>
                  <a:lnTo>
                    <a:pt x="128" y="97"/>
                  </a:lnTo>
                  <a:lnTo>
                    <a:pt x="126" y="99"/>
                  </a:lnTo>
                  <a:lnTo>
                    <a:pt x="128" y="100"/>
                  </a:lnTo>
                  <a:lnTo>
                    <a:pt x="126" y="102"/>
                  </a:lnTo>
                  <a:lnTo>
                    <a:pt x="126" y="102"/>
                  </a:lnTo>
                  <a:lnTo>
                    <a:pt x="125" y="105"/>
                  </a:lnTo>
                  <a:lnTo>
                    <a:pt x="125" y="113"/>
                  </a:lnTo>
                  <a:lnTo>
                    <a:pt x="121" y="119"/>
                  </a:lnTo>
                  <a:lnTo>
                    <a:pt x="119" y="119"/>
                  </a:lnTo>
                  <a:lnTo>
                    <a:pt x="118" y="119"/>
                  </a:lnTo>
                  <a:lnTo>
                    <a:pt x="118" y="118"/>
                  </a:lnTo>
                  <a:lnTo>
                    <a:pt x="118" y="116"/>
                  </a:lnTo>
                  <a:lnTo>
                    <a:pt x="115" y="115"/>
                  </a:lnTo>
                  <a:lnTo>
                    <a:pt x="115" y="115"/>
                  </a:lnTo>
                  <a:lnTo>
                    <a:pt x="113" y="116"/>
                  </a:lnTo>
                  <a:lnTo>
                    <a:pt x="115" y="116"/>
                  </a:lnTo>
                  <a:lnTo>
                    <a:pt x="115" y="118"/>
                  </a:lnTo>
                  <a:lnTo>
                    <a:pt x="110" y="116"/>
                  </a:lnTo>
                  <a:lnTo>
                    <a:pt x="109" y="116"/>
                  </a:lnTo>
                  <a:lnTo>
                    <a:pt x="108" y="116"/>
                  </a:lnTo>
                  <a:lnTo>
                    <a:pt x="106" y="118"/>
                  </a:lnTo>
                  <a:lnTo>
                    <a:pt x="103" y="121"/>
                  </a:lnTo>
                  <a:lnTo>
                    <a:pt x="102" y="121"/>
                  </a:lnTo>
                  <a:lnTo>
                    <a:pt x="102" y="122"/>
                  </a:lnTo>
                  <a:lnTo>
                    <a:pt x="103" y="122"/>
                  </a:lnTo>
                  <a:lnTo>
                    <a:pt x="103" y="124"/>
                  </a:lnTo>
                  <a:lnTo>
                    <a:pt x="103" y="124"/>
                  </a:lnTo>
                  <a:lnTo>
                    <a:pt x="93" y="125"/>
                  </a:lnTo>
                  <a:lnTo>
                    <a:pt x="93" y="124"/>
                  </a:lnTo>
                  <a:lnTo>
                    <a:pt x="92" y="124"/>
                  </a:lnTo>
                  <a:lnTo>
                    <a:pt x="90" y="125"/>
                  </a:lnTo>
                  <a:lnTo>
                    <a:pt x="89" y="127"/>
                  </a:lnTo>
                  <a:lnTo>
                    <a:pt x="86" y="129"/>
                  </a:lnTo>
                  <a:lnTo>
                    <a:pt x="83" y="135"/>
                  </a:lnTo>
                  <a:lnTo>
                    <a:pt x="83" y="138"/>
                  </a:lnTo>
                  <a:lnTo>
                    <a:pt x="83" y="143"/>
                  </a:lnTo>
                  <a:lnTo>
                    <a:pt x="83" y="144"/>
                  </a:lnTo>
                  <a:lnTo>
                    <a:pt x="83" y="145"/>
                  </a:lnTo>
                  <a:lnTo>
                    <a:pt x="83" y="147"/>
                  </a:lnTo>
                  <a:lnTo>
                    <a:pt x="81" y="148"/>
                  </a:lnTo>
                  <a:lnTo>
                    <a:pt x="65" y="153"/>
                  </a:lnTo>
                  <a:lnTo>
                    <a:pt x="55" y="153"/>
                  </a:lnTo>
                  <a:lnTo>
                    <a:pt x="54" y="153"/>
                  </a:lnTo>
                  <a:lnTo>
                    <a:pt x="52" y="153"/>
                  </a:lnTo>
                  <a:lnTo>
                    <a:pt x="52" y="154"/>
                  </a:lnTo>
                  <a:lnTo>
                    <a:pt x="51" y="156"/>
                  </a:lnTo>
                  <a:lnTo>
                    <a:pt x="47" y="153"/>
                  </a:lnTo>
                  <a:lnTo>
                    <a:pt x="31" y="154"/>
                  </a:lnTo>
                  <a:lnTo>
                    <a:pt x="29" y="156"/>
                  </a:lnTo>
                  <a:lnTo>
                    <a:pt x="28" y="156"/>
                  </a:lnTo>
                  <a:lnTo>
                    <a:pt x="6" y="148"/>
                  </a:lnTo>
                  <a:lnTo>
                    <a:pt x="6" y="148"/>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12" name="Freeform 1290"/>
            <p:cNvSpPr>
              <a:spLocks/>
            </p:cNvSpPr>
            <p:nvPr/>
          </p:nvSpPr>
          <p:spPr bwMode="auto">
            <a:xfrm>
              <a:off x="6908112" y="2659047"/>
              <a:ext cx="187849" cy="163276"/>
            </a:xfrm>
            <a:custGeom>
              <a:avLst/>
              <a:gdLst/>
              <a:ahLst/>
              <a:cxnLst>
                <a:cxn ang="0">
                  <a:pos x="16" y="122"/>
                </a:cxn>
                <a:cxn ang="0">
                  <a:pos x="2" y="96"/>
                </a:cxn>
                <a:cxn ang="0">
                  <a:pos x="6" y="73"/>
                </a:cxn>
                <a:cxn ang="0">
                  <a:pos x="15" y="52"/>
                </a:cxn>
                <a:cxn ang="0">
                  <a:pos x="26" y="57"/>
                </a:cxn>
                <a:cxn ang="0">
                  <a:pos x="36" y="54"/>
                </a:cxn>
                <a:cxn ang="0">
                  <a:pos x="38" y="47"/>
                </a:cxn>
                <a:cxn ang="0">
                  <a:pos x="51" y="42"/>
                </a:cxn>
                <a:cxn ang="0">
                  <a:pos x="58" y="32"/>
                </a:cxn>
                <a:cxn ang="0">
                  <a:pos x="63" y="23"/>
                </a:cxn>
                <a:cxn ang="0">
                  <a:pos x="71" y="20"/>
                </a:cxn>
                <a:cxn ang="0">
                  <a:pos x="81" y="19"/>
                </a:cxn>
                <a:cxn ang="0">
                  <a:pos x="103" y="20"/>
                </a:cxn>
                <a:cxn ang="0">
                  <a:pos x="116" y="22"/>
                </a:cxn>
                <a:cxn ang="0">
                  <a:pos x="122" y="22"/>
                </a:cxn>
                <a:cxn ang="0">
                  <a:pos x="126" y="20"/>
                </a:cxn>
                <a:cxn ang="0">
                  <a:pos x="134" y="15"/>
                </a:cxn>
                <a:cxn ang="0">
                  <a:pos x="140" y="13"/>
                </a:cxn>
                <a:cxn ang="0">
                  <a:pos x="145" y="0"/>
                </a:cxn>
                <a:cxn ang="0">
                  <a:pos x="154" y="3"/>
                </a:cxn>
                <a:cxn ang="0">
                  <a:pos x="155" y="10"/>
                </a:cxn>
                <a:cxn ang="0">
                  <a:pos x="157" y="13"/>
                </a:cxn>
                <a:cxn ang="0">
                  <a:pos x="155" y="23"/>
                </a:cxn>
                <a:cxn ang="0">
                  <a:pos x="174" y="26"/>
                </a:cxn>
                <a:cxn ang="0">
                  <a:pos x="179" y="22"/>
                </a:cxn>
                <a:cxn ang="0">
                  <a:pos x="187" y="19"/>
                </a:cxn>
                <a:cxn ang="0">
                  <a:pos x="192" y="20"/>
                </a:cxn>
                <a:cxn ang="0">
                  <a:pos x="202" y="20"/>
                </a:cxn>
                <a:cxn ang="0">
                  <a:pos x="203" y="22"/>
                </a:cxn>
                <a:cxn ang="0">
                  <a:pos x="199" y="25"/>
                </a:cxn>
                <a:cxn ang="0">
                  <a:pos x="198" y="28"/>
                </a:cxn>
                <a:cxn ang="0">
                  <a:pos x="187" y="28"/>
                </a:cxn>
                <a:cxn ang="0">
                  <a:pos x="167" y="32"/>
                </a:cxn>
                <a:cxn ang="0">
                  <a:pos x="163" y="35"/>
                </a:cxn>
                <a:cxn ang="0">
                  <a:pos x="158" y="36"/>
                </a:cxn>
                <a:cxn ang="0">
                  <a:pos x="153" y="44"/>
                </a:cxn>
                <a:cxn ang="0">
                  <a:pos x="158" y="57"/>
                </a:cxn>
                <a:cxn ang="0">
                  <a:pos x="150" y="70"/>
                </a:cxn>
                <a:cxn ang="0">
                  <a:pos x="151" y="76"/>
                </a:cxn>
                <a:cxn ang="0">
                  <a:pos x="135" y="80"/>
                </a:cxn>
                <a:cxn ang="0">
                  <a:pos x="140" y="89"/>
                </a:cxn>
                <a:cxn ang="0">
                  <a:pos x="128" y="97"/>
                </a:cxn>
                <a:cxn ang="0">
                  <a:pos x="125" y="105"/>
                </a:cxn>
                <a:cxn ang="0">
                  <a:pos x="118" y="118"/>
                </a:cxn>
                <a:cxn ang="0">
                  <a:pos x="115" y="116"/>
                </a:cxn>
                <a:cxn ang="0">
                  <a:pos x="106" y="118"/>
                </a:cxn>
                <a:cxn ang="0">
                  <a:pos x="103" y="124"/>
                </a:cxn>
                <a:cxn ang="0">
                  <a:pos x="90" y="125"/>
                </a:cxn>
                <a:cxn ang="0">
                  <a:pos x="83" y="143"/>
                </a:cxn>
                <a:cxn ang="0">
                  <a:pos x="65" y="153"/>
                </a:cxn>
                <a:cxn ang="0">
                  <a:pos x="51" y="156"/>
                </a:cxn>
                <a:cxn ang="0">
                  <a:pos x="6" y="148"/>
                </a:cxn>
              </a:cxnLst>
              <a:rect l="0" t="0" r="r" b="b"/>
              <a:pathLst>
                <a:path w="205" h="156">
                  <a:moveTo>
                    <a:pt x="6" y="148"/>
                  </a:moveTo>
                  <a:lnTo>
                    <a:pt x="16" y="135"/>
                  </a:lnTo>
                  <a:lnTo>
                    <a:pt x="18" y="129"/>
                  </a:lnTo>
                  <a:lnTo>
                    <a:pt x="18" y="127"/>
                  </a:lnTo>
                  <a:lnTo>
                    <a:pt x="16" y="122"/>
                  </a:lnTo>
                  <a:lnTo>
                    <a:pt x="13" y="119"/>
                  </a:lnTo>
                  <a:lnTo>
                    <a:pt x="6" y="118"/>
                  </a:lnTo>
                  <a:lnTo>
                    <a:pt x="3" y="116"/>
                  </a:lnTo>
                  <a:lnTo>
                    <a:pt x="3" y="103"/>
                  </a:lnTo>
                  <a:lnTo>
                    <a:pt x="2" y="96"/>
                  </a:lnTo>
                  <a:lnTo>
                    <a:pt x="5" y="86"/>
                  </a:lnTo>
                  <a:lnTo>
                    <a:pt x="3" y="84"/>
                  </a:lnTo>
                  <a:lnTo>
                    <a:pt x="0" y="83"/>
                  </a:lnTo>
                  <a:lnTo>
                    <a:pt x="0" y="76"/>
                  </a:lnTo>
                  <a:lnTo>
                    <a:pt x="6" y="73"/>
                  </a:lnTo>
                  <a:lnTo>
                    <a:pt x="6" y="68"/>
                  </a:lnTo>
                  <a:lnTo>
                    <a:pt x="9" y="63"/>
                  </a:lnTo>
                  <a:lnTo>
                    <a:pt x="10" y="50"/>
                  </a:lnTo>
                  <a:lnTo>
                    <a:pt x="15" y="52"/>
                  </a:lnTo>
                  <a:lnTo>
                    <a:pt x="15" y="52"/>
                  </a:lnTo>
                  <a:lnTo>
                    <a:pt x="18" y="54"/>
                  </a:lnTo>
                  <a:lnTo>
                    <a:pt x="20" y="54"/>
                  </a:lnTo>
                  <a:lnTo>
                    <a:pt x="22" y="54"/>
                  </a:lnTo>
                  <a:lnTo>
                    <a:pt x="25" y="55"/>
                  </a:lnTo>
                  <a:lnTo>
                    <a:pt x="26" y="57"/>
                  </a:lnTo>
                  <a:lnTo>
                    <a:pt x="26" y="57"/>
                  </a:lnTo>
                  <a:lnTo>
                    <a:pt x="29" y="57"/>
                  </a:lnTo>
                  <a:lnTo>
                    <a:pt x="32" y="57"/>
                  </a:lnTo>
                  <a:lnTo>
                    <a:pt x="34" y="55"/>
                  </a:lnTo>
                  <a:lnTo>
                    <a:pt x="36" y="54"/>
                  </a:lnTo>
                  <a:lnTo>
                    <a:pt x="38" y="54"/>
                  </a:lnTo>
                  <a:lnTo>
                    <a:pt x="38" y="51"/>
                  </a:lnTo>
                  <a:lnTo>
                    <a:pt x="39" y="50"/>
                  </a:lnTo>
                  <a:lnTo>
                    <a:pt x="39" y="50"/>
                  </a:lnTo>
                  <a:lnTo>
                    <a:pt x="38" y="47"/>
                  </a:lnTo>
                  <a:lnTo>
                    <a:pt x="38" y="47"/>
                  </a:lnTo>
                  <a:lnTo>
                    <a:pt x="39" y="47"/>
                  </a:lnTo>
                  <a:lnTo>
                    <a:pt x="47" y="45"/>
                  </a:lnTo>
                  <a:lnTo>
                    <a:pt x="48" y="44"/>
                  </a:lnTo>
                  <a:lnTo>
                    <a:pt x="51" y="42"/>
                  </a:lnTo>
                  <a:lnTo>
                    <a:pt x="52" y="41"/>
                  </a:lnTo>
                  <a:lnTo>
                    <a:pt x="54" y="41"/>
                  </a:lnTo>
                  <a:lnTo>
                    <a:pt x="58" y="38"/>
                  </a:lnTo>
                  <a:lnTo>
                    <a:pt x="58" y="36"/>
                  </a:lnTo>
                  <a:lnTo>
                    <a:pt x="58" y="32"/>
                  </a:lnTo>
                  <a:lnTo>
                    <a:pt x="60" y="31"/>
                  </a:lnTo>
                  <a:lnTo>
                    <a:pt x="61" y="26"/>
                  </a:lnTo>
                  <a:lnTo>
                    <a:pt x="61" y="25"/>
                  </a:lnTo>
                  <a:lnTo>
                    <a:pt x="61" y="23"/>
                  </a:lnTo>
                  <a:lnTo>
                    <a:pt x="63" y="23"/>
                  </a:lnTo>
                  <a:lnTo>
                    <a:pt x="64" y="22"/>
                  </a:lnTo>
                  <a:lnTo>
                    <a:pt x="65" y="20"/>
                  </a:lnTo>
                  <a:lnTo>
                    <a:pt x="67" y="22"/>
                  </a:lnTo>
                  <a:lnTo>
                    <a:pt x="71" y="22"/>
                  </a:lnTo>
                  <a:lnTo>
                    <a:pt x="71" y="20"/>
                  </a:lnTo>
                  <a:lnTo>
                    <a:pt x="73" y="19"/>
                  </a:lnTo>
                  <a:lnTo>
                    <a:pt x="73" y="18"/>
                  </a:lnTo>
                  <a:lnTo>
                    <a:pt x="73" y="16"/>
                  </a:lnTo>
                  <a:lnTo>
                    <a:pt x="76" y="16"/>
                  </a:lnTo>
                  <a:lnTo>
                    <a:pt x="81" y="19"/>
                  </a:lnTo>
                  <a:lnTo>
                    <a:pt x="93" y="19"/>
                  </a:lnTo>
                  <a:lnTo>
                    <a:pt x="96" y="20"/>
                  </a:lnTo>
                  <a:lnTo>
                    <a:pt x="97" y="22"/>
                  </a:lnTo>
                  <a:lnTo>
                    <a:pt x="99" y="20"/>
                  </a:lnTo>
                  <a:lnTo>
                    <a:pt x="103" y="20"/>
                  </a:lnTo>
                  <a:lnTo>
                    <a:pt x="108" y="26"/>
                  </a:lnTo>
                  <a:lnTo>
                    <a:pt x="109" y="25"/>
                  </a:lnTo>
                  <a:lnTo>
                    <a:pt x="112" y="25"/>
                  </a:lnTo>
                  <a:lnTo>
                    <a:pt x="112" y="25"/>
                  </a:lnTo>
                  <a:lnTo>
                    <a:pt x="116" y="22"/>
                  </a:lnTo>
                  <a:lnTo>
                    <a:pt x="118" y="22"/>
                  </a:lnTo>
                  <a:lnTo>
                    <a:pt x="119" y="22"/>
                  </a:lnTo>
                  <a:lnTo>
                    <a:pt x="121" y="20"/>
                  </a:lnTo>
                  <a:lnTo>
                    <a:pt x="121" y="20"/>
                  </a:lnTo>
                  <a:lnTo>
                    <a:pt x="122" y="22"/>
                  </a:lnTo>
                  <a:lnTo>
                    <a:pt x="126" y="23"/>
                  </a:lnTo>
                  <a:lnTo>
                    <a:pt x="126" y="23"/>
                  </a:lnTo>
                  <a:lnTo>
                    <a:pt x="126" y="22"/>
                  </a:lnTo>
                  <a:lnTo>
                    <a:pt x="126" y="20"/>
                  </a:lnTo>
                  <a:lnTo>
                    <a:pt x="126" y="20"/>
                  </a:lnTo>
                  <a:lnTo>
                    <a:pt x="126" y="18"/>
                  </a:lnTo>
                  <a:lnTo>
                    <a:pt x="129" y="15"/>
                  </a:lnTo>
                  <a:lnTo>
                    <a:pt x="129" y="15"/>
                  </a:lnTo>
                  <a:lnTo>
                    <a:pt x="131" y="16"/>
                  </a:lnTo>
                  <a:lnTo>
                    <a:pt x="134" y="15"/>
                  </a:lnTo>
                  <a:lnTo>
                    <a:pt x="135" y="16"/>
                  </a:lnTo>
                  <a:lnTo>
                    <a:pt x="137" y="16"/>
                  </a:lnTo>
                  <a:lnTo>
                    <a:pt x="138" y="16"/>
                  </a:lnTo>
                  <a:lnTo>
                    <a:pt x="140" y="15"/>
                  </a:lnTo>
                  <a:lnTo>
                    <a:pt x="140" y="13"/>
                  </a:lnTo>
                  <a:lnTo>
                    <a:pt x="138" y="12"/>
                  </a:lnTo>
                  <a:lnTo>
                    <a:pt x="138" y="10"/>
                  </a:lnTo>
                  <a:lnTo>
                    <a:pt x="144" y="3"/>
                  </a:lnTo>
                  <a:lnTo>
                    <a:pt x="144" y="2"/>
                  </a:lnTo>
                  <a:lnTo>
                    <a:pt x="145" y="0"/>
                  </a:lnTo>
                  <a:lnTo>
                    <a:pt x="145" y="0"/>
                  </a:lnTo>
                  <a:lnTo>
                    <a:pt x="147" y="0"/>
                  </a:lnTo>
                  <a:lnTo>
                    <a:pt x="148" y="0"/>
                  </a:lnTo>
                  <a:lnTo>
                    <a:pt x="151" y="0"/>
                  </a:lnTo>
                  <a:lnTo>
                    <a:pt x="154" y="3"/>
                  </a:lnTo>
                  <a:lnTo>
                    <a:pt x="154" y="4"/>
                  </a:lnTo>
                  <a:lnTo>
                    <a:pt x="153" y="7"/>
                  </a:lnTo>
                  <a:lnTo>
                    <a:pt x="153" y="9"/>
                  </a:lnTo>
                  <a:lnTo>
                    <a:pt x="154" y="9"/>
                  </a:lnTo>
                  <a:lnTo>
                    <a:pt x="155" y="10"/>
                  </a:lnTo>
                  <a:lnTo>
                    <a:pt x="155" y="9"/>
                  </a:lnTo>
                  <a:lnTo>
                    <a:pt x="157" y="10"/>
                  </a:lnTo>
                  <a:lnTo>
                    <a:pt x="157" y="10"/>
                  </a:lnTo>
                  <a:lnTo>
                    <a:pt x="157" y="12"/>
                  </a:lnTo>
                  <a:lnTo>
                    <a:pt x="157" y="13"/>
                  </a:lnTo>
                  <a:lnTo>
                    <a:pt x="157" y="16"/>
                  </a:lnTo>
                  <a:lnTo>
                    <a:pt x="157" y="18"/>
                  </a:lnTo>
                  <a:lnTo>
                    <a:pt x="155" y="19"/>
                  </a:lnTo>
                  <a:lnTo>
                    <a:pt x="155" y="20"/>
                  </a:lnTo>
                  <a:lnTo>
                    <a:pt x="155" y="23"/>
                  </a:lnTo>
                  <a:lnTo>
                    <a:pt x="158" y="32"/>
                  </a:lnTo>
                  <a:lnTo>
                    <a:pt x="160" y="32"/>
                  </a:lnTo>
                  <a:lnTo>
                    <a:pt x="160" y="32"/>
                  </a:lnTo>
                  <a:lnTo>
                    <a:pt x="169" y="26"/>
                  </a:lnTo>
                  <a:lnTo>
                    <a:pt x="174" y="26"/>
                  </a:lnTo>
                  <a:lnTo>
                    <a:pt x="174" y="25"/>
                  </a:lnTo>
                  <a:lnTo>
                    <a:pt x="176" y="23"/>
                  </a:lnTo>
                  <a:lnTo>
                    <a:pt x="177" y="22"/>
                  </a:lnTo>
                  <a:lnTo>
                    <a:pt x="177" y="22"/>
                  </a:lnTo>
                  <a:lnTo>
                    <a:pt x="179" y="22"/>
                  </a:lnTo>
                  <a:lnTo>
                    <a:pt x="182" y="19"/>
                  </a:lnTo>
                  <a:lnTo>
                    <a:pt x="183" y="19"/>
                  </a:lnTo>
                  <a:lnTo>
                    <a:pt x="185" y="18"/>
                  </a:lnTo>
                  <a:lnTo>
                    <a:pt x="186" y="18"/>
                  </a:lnTo>
                  <a:lnTo>
                    <a:pt x="187" y="19"/>
                  </a:lnTo>
                  <a:lnTo>
                    <a:pt x="189" y="19"/>
                  </a:lnTo>
                  <a:lnTo>
                    <a:pt x="189" y="22"/>
                  </a:lnTo>
                  <a:lnTo>
                    <a:pt x="190" y="22"/>
                  </a:lnTo>
                  <a:lnTo>
                    <a:pt x="190" y="22"/>
                  </a:lnTo>
                  <a:lnTo>
                    <a:pt x="192" y="20"/>
                  </a:lnTo>
                  <a:lnTo>
                    <a:pt x="192" y="20"/>
                  </a:lnTo>
                  <a:lnTo>
                    <a:pt x="193" y="20"/>
                  </a:lnTo>
                  <a:lnTo>
                    <a:pt x="199" y="19"/>
                  </a:lnTo>
                  <a:lnTo>
                    <a:pt x="201" y="19"/>
                  </a:lnTo>
                  <a:lnTo>
                    <a:pt x="202" y="20"/>
                  </a:lnTo>
                  <a:lnTo>
                    <a:pt x="203" y="20"/>
                  </a:lnTo>
                  <a:lnTo>
                    <a:pt x="205" y="20"/>
                  </a:lnTo>
                  <a:lnTo>
                    <a:pt x="205" y="22"/>
                  </a:lnTo>
                  <a:lnTo>
                    <a:pt x="203" y="22"/>
                  </a:lnTo>
                  <a:lnTo>
                    <a:pt x="203" y="22"/>
                  </a:lnTo>
                  <a:lnTo>
                    <a:pt x="203" y="22"/>
                  </a:lnTo>
                  <a:lnTo>
                    <a:pt x="202" y="20"/>
                  </a:lnTo>
                  <a:lnTo>
                    <a:pt x="201" y="22"/>
                  </a:lnTo>
                  <a:lnTo>
                    <a:pt x="199" y="23"/>
                  </a:lnTo>
                  <a:lnTo>
                    <a:pt x="199" y="25"/>
                  </a:lnTo>
                  <a:lnTo>
                    <a:pt x="201" y="25"/>
                  </a:lnTo>
                  <a:lnTo>
                    <a:pt x="202" y="26"/>
                  </a:lnTo>
                  <a:lnTo>
                    <a:pt x="201" y="28"/>
                  </a:lnTo>
                  <a:lnTo>
                    <a:pt x="199" y="26"/>
                  </a:lnTo>
                  <a:lnTo>
                    <a:pt x="198" y="28"/>
                  </a:lnTo>
                  <a:lnTo>
                    <a:pt x="196" y="28"/>
                  </a:lnTo>
                  <a:lnTo>
                    <a:pt x="195" y="29"/>
                  </a:lnTo>
                  <a:lnTo>
                    <a:pt x="193" y="29"/>
                  </a:lnTo>
                  <a:lnTo>
                    <a:pt x="190" y="28"/>
                  </a:lnTo>
                  <a:lnTo>
                    <a:pt x="187" y="28"/>
                  </a:lnTo>
                  <a:lnTo>
                    <a:pt x="187" y="28"/>
                  </a:lnTo>
                  <a:lnTo>
                    <a:pt x="173" y="29"/>
                  </a:lnTo>
                  <a:lnTo>
                    <a:pt x="170" y="31"/>
                  </a:lnTo>
                  <a:lnTo>
                    <a:pt x="169" y="31"/>
                  </a:lnTo>
                  <a:lnTo>
                    <a:pt x="167" y="32"/>
                  </a:lnTo>
                  <a:lnTo>
                    <a:pt x="166" y="32"/>
                  </a:lnTo>
                  <a:lnTo>
                    <a:pt x="166" y="34"/>
                  </a:lnTo>
                  <a:lnTo>
                    <a:pt x="164" y="34"/>
                  </a:lnTo>
                  <a:lnTo>
                    <a:pt x="163" y="35"/>
                  </a:lnTo>
                  <a:lnTo>
                    <a:pt x="163" y="35"/>
                  </a:lnTo>
                  <a:lnTo>
                    <a:pt x="163" y="36"/>
                  </a:lnTo>
                  <a:lnTo>
                    <a:pt x="161" y="36"/>
                  </a:lnTo>
                  <a:lnTo>
                    <a:pt x="160" y="36"/>
                  </a:lnTo>
                  <a:lnTo>
                    <a:pt x="158" y="36"/>
                  </a:lnTo>
                  <a:lnTo>
                    <a:pt x="158" y="36"/>
                  </a:lnTo>
                  <a:lnTo>
                    <a:pt x="158" y="38"/>
                  </a:lnTo>
                  <a:lnTo>
                    <a:pt x="154" y="41"/>
                  </a:lnTo>
                  <a:lnTo>
                    <a:pt x="153" y="42"/>
                  </a:lnTo>
                  <a:lnTo>
                    <a:pt x="153" y="44"/>
                  </a:lnTo>
                  <a:lnTo>
                    <a:pt x="153" y="44"/>
                  </a:lnTo>
                  <a:lnTo>
                    <a:pt x="157" y="47"/>
                  </a:lnTo>
                  <a:lnTo>
                    <a:pt x="158" y="54"/>
                  </a:lnTo>
                  <a:lnTo>
                    <a:pt x="158" y="54"/>
                  </a:lnTo>
                  <a:lnTo>
                    <a:pt x="158" y="55"/>
                  </a:lnTo>
                  <a:lnTo>
                    <a:pt x="158" y="57"/>
                  </a:lnTo>
                  <a:lnTo>
                    <a:pt x="158" y="57"/>
                  </a:lnTo>
                  <a:lnTo>
                    <a:pt x="158" y="60"/>
                  </a:lnTo>
                  <a:lnTo>
                    <a:pt x="153" y="67"/>
                  </a:lnTo>
                  <a:lnTo>
                    <a:pt x="151" y="68"/>
                  </a:lnTo>
                  <a:lnTo>
                    <a:pt x="150" y="70"/>
                  </a:lnTo>
                  <a:lnTo>
                    <a:pt x="150" y="71"/>
                  </a:lnTo>
                  <a:lnTo>
                    <a:pt x="151" y="71"/>
                  </a:lnTo>
                  <a:lnTo>
                    <a:pt x="153" y="73"/>
                  </a:lnTo>
                  <a:lnTo>
                    <a:pt x="151" y="73"/>
                  </a:lnTo>
                  <a:lnTo>
                    <a:pt x="151" y="76"/>
                  </a:lnTo>
                  <a:lnTo>
                    <a:pt x="150" y="77"/>
                  </a:lnTo>
                  <a:lnTo>
                    <a:pt x="145" y="79"/>
                  </a:lnTo>
                  <a:lnTo>
                    <a:pt x="137" y="77"/>
                  </a:lnTo>
                  <a:lnTo>
                    <a:pt x="135" y="79"/>
                  </a:lnTo>
                  <a:lnTo>
                    <a:pt x="135" y="80"/>
                  </a:lnTo>
                  <a:lnTo>
                    <a:pt x="137" y="83"/>
                  </a:lnTo>
                  <a:lnTo>
                    <a:pt x="138" y="83"/>
                  </a:lnTo>
                  <a:lnTo>
                    <a:pt x="138" y="87"/>
                  </a:lnTo>
                  <a:lnTo>
                    <a:pt x="140" y="89"/>
                  </a:lnTo>
                  <a:lnTo>
                    <a:pt x="140" y="89"/>
                  </a:lnTo>
                  <a:lnTo>
                    <a:pt x="135" y="93"/>
                  </a:lnTo>
                  <a:lnTo>
                    <a:pt x="132" y="93"/>
                  </a:lnTo>
                  <a:lnTo>
                    <a:pt x="129" y="95"/>
                  </a:lnTo>
                  <a:lnTo>
                    <a:pt x="129" y="97"/>
                  </a:lnTo>
                  <a:lnTo>
                    <a:pt x="128" y="97"/>
                  </a:lnTo>
                  <a:lnTo>
                    <a:pt x="126" y="99"/>
                  </a:lnTo>
                  <a:lnTo>
                    <a:pt x="128" y="100"/>
                  </a:lnTo>
                  <a:lnTo>
                    <a:pt x="126" y="102"/>
                  </a:lnTo>
                  <a:lnTo>
                    <a:pt x="126" y="102"/>
                  </a:lnTo>
                  <a:lnTo>
                    <a:pt x="125" y="105"/>
                  </a:lnTo>
                  <a:lnTo>
                    <a:pt x="125" y="113"/>
                  </a:lnTo>
                  <a:lnTo>
                    <a:pt x="121" y="119"/>
                  </a:lnTo>
                  <a:lnTo>
                    <a:pt x="119" y="119"/>
                  </a:lnTo>
                  <a:lnTo>
                    <a:pt x="118" y="119"/>
                  </a:lnTo>
                  <a:lnTo>
                    <a:pt x="118" y="118"/>
                  </a:lnTo>
                  <a:lnTo>
                    <a:pt x="118" y="116"/>
                  </a:lnTo>
                  <a:lnTo>
                    <a:pt x="115" y="115"/>
                  </a:lnTo>
                  <a:lnTo>
                    <a:pt x="115" y="115"/>
                  </a:lnTo>
                  <a:lnTo>
                    <a:pt x="113" y="116"/>
                  </a:lnTo>
                  <a:lnTo>
                    <a:pt x="115" y="116"/>
                  </a:lnTo>
                  <a:lnTo>
                    <a:pt x="115" y="118"/>
                  </a:lnTo>
                  <a:lnTo>
                    <a:pt x="110" y="116"/>
                  </a:lnTo>
                  <a:lnTo>
                    <a:pt x="109" y="116"/>
                  </a:lnTo>
                  <a:lnTo>
                    <a:pt x="108" y="116"/>
                  </a:lnTo>
                  <a:lnTo>
                    <a:pt x="106" y="118"/>
                  </a:lnTo>
                  <a:lnTo>
                    <a:pt x="103" y="121"/>
                  </a:lnTo>
                  <a:lnTo>
                    <a:pt x="102" y="121"/>
                  </a:lnTo>
                  <a:lnTo>
                    <a:pt x="102" y="122"/>
                  </a:lnTo>
                  <a:lnTo>
                    <a:pt x="103" y="122"/>
                  </a:lnTo>
                  <a:lnTo>
                    <a:pt x="103" y="124"/>
                  </a:lnTo>
                  <a:lnTo>
                    <a:pt x="103" y="124"/>
                  </a:lnTo>
                  <a:lnTo>
                    <a:pt x="93" y="125"/>
                  </a:lnTo>
                  <a:lnTo>
                    <a:pt x="93" y="124"/>
                  </a:lnTo>
                  <a:lnTo>
                    <a:pt x="92" y="124"/>
                  </a:lnTo>
                  <a:lnTo>
                    <a:pt x="90" y="125"/>
                  </a:lnTo>
                  <a:lnTo>
                    <a:pt x="89" y="127"/>
                  </a:lnTo>
                  <a:lnTo>
                    <a:pt x="86" y="129"/>
                  </a:lnTo>
                  <a:lnTo>
                    <a:pt x="83" y="135"/>
                  </a:lnTo>
                  <a:lnTo>
                    <a:pt x="83" y="138"/>
                  </a:lnTo>
                  <a:lnTo>
                    <a:pt x="83" y="143"/>
                  </a:lnTo>
                  <a:lnTo>
                    <a:pt x="83" y="144"/>
                  </a:lnTo>
                  <a:lnTo>
                    <a:pt x="83" y="145"/>
                  </a:lnTo>
                  <a:lnTo>
                    <a:pt x="83" y="147"/>
                  </a:lnTo>
                  <a:lnTo>
                    <a:pt x="81" y="148"/>
                  </a:lnTo>
                  <a:lnTo>
                    <a:pt x="65" y="153"/>
                  </a:lnTo>
                  <a:lnTo>
                    <a:pt x="55" y="153"/>
                  </a:lnTo>
                  <a:lnTo>
                    <a:pt x="54" y="153"/>
                  </a:lnTo>
                  <a:lnTo>
                    <a:pt x="52" y="153"/>
                  </a:lnTo>
                  <a:lnTo>
                    <a:pt x="52" y="154"/>
                  </a:lnTo>
                  <a:lnTo>
                    <a:pt x="51" y="156"/>
                  </a:lnTo>
                  <a:lnTo>
                    <a:pt x="47" y="153"/>
                  </a:lnTo>
                  <a:lnTo>
                    <a:pt x="31" y="154"/>
                  </a:lnTo>
                  <a:lnTo>
                    <a:pt x="29" y="156"/>
                  </a:lnTo>
                  <a:lnTo>
                    <a:pt x="28" y="156"/>
                  </a:lnTo>
                  <a:lnTo>
                    <a:pt x="6" y="148"/>
                  </a:lnTo>
                  <a:lnTo>
                    <a:pt x="6" y="148"/>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13" name="Freeform 1291"/>
            <p:cNvSpPr>
              <a:spLocks/>
            </p:cNvSpPr>
            <p:nvPr/>
          </p:nvSpPr>
          <p:spPr bwMode="auto">
            <a:xfrm>
              <a:off x="7163552" y="2806097"/>
              <a:ext cx="106214" cy="65918"/>
            </a:xfrm>
            <a:custGeom>
              <a:avLst/>
              <a:gdLst/>
              <a:ahLst/>
              <a:cxnLst>
                <a:cxn ang="0">
                  <a:pos x="112" y="51"/>
                </a:cxn>
                <a:cxn ang="0">
                  <a:pos x="113" y="55"/>
                </a:cxn>
                <a:cxn ang="0">
                  <a:pos x="112" y="61"/>
                </a:cxn>
                <a:cxn ang="0">
                  <a:pos x="106" y="63"/>
                </a:cxn>
                <a:cxn ang="0">
                  <a:pos x="97" y="61"/>
                </a:cxn>
                <a:cxn ang="0">
                  <a:pos x="70" y="57"/>
                </a:cxn>
                <a:cxn ang="0">
                  <a:pos x="59" y="48"/>
                </a:cxn>
                <a:cxn ang="0">
                  <a:pos x="46" y="47"/>
                </a:cxn>
                <a:cxn ang="0">
                  <a:pos x="36" y="44"/>
                </a:cxn>
                <a:cxn ang="0">
                  <a:pos x="29" y="41"/>
                </a:cxn>
                <a:cxn ang="0">
                  <a:pos x="20" y="38"/>
                </a:cxn>
                <a:cxn ang="0">
                  <a:pos x="12" y="29"/>
                </a:cxn>
                <a:cxn ang="0">
                  <a:pos x="7" y="29"/>
                </a:cxn>
                <a:cxn ang="0">
                  <a:pos x="4" y="26"/>
                </a:cxn>
                <a:cxn ang="0">
                  <a:pos x="0" y="23"/>
                </a:cxn>
                <a:cxn ang="0">
                  <a:pos x="1" y="20"/>
                </a:cxn>
                <a:cxn ang="0">
                  <a:pos x="3" y="15"/>
                </a:cxn>
                <a:cxn ang="0">
                  <a:pos x="4" y="10"/>
                </a:cxn>
                <a:cxn ang="0">
                  <a:pos x="7" y="7"/>
                </a:cxn>
                <a:cxn ang="0">
                  <a:pos x="10" y="3"/>
                </a:cxn>
                <a:cxn ang="0">
                  <a:pos x="12" y="2"/>
                </a:cxn>
                <a:cxn ang="0">
                  <a:pos x="14" y="3"/>
                </a:cxn>
                <a:cxn ang="0">
                  <a:pos x="17" y="3"/>
                </a:cxn>
                <a:cxn ang="0">
                  <a:pos x="17" y="0"/>
                </a:cxn>
                <a:cxn ang="0">
                  <a:pos x="33" y="3"/>
                </a:cxn>
                <a:cxn ang="0">
                  <a:pos x="42" y="9"/>
                </a:cxn>
                <a:cxn ang="0">
                  <a:pos x="48" y="19"/>
                </a:cxn>
                <a:cxn ang="0">
                  <a:pos x="52" y="19"/>
                </a:cxn>
                <a:cxn ang="0">
                  <a:pos x="54" y="16"/>
                </a:cxn>
                <a:cxn ang="0">
                  <a:pos x="58" y="16"/>
                </a:cxn>
                <a:cxn ang="0">
                  <a:pos x="58" y="20"/>
                </a:cxn>
                <a:cxn ang="0">
                  <a:pos x="59" y="23"/>
                </a:cxn>
                <a:cxn ang="0">
                  <a:pos x="62" y="26"/>
                </a:cxn>
                <a:cxn ang="0">
                  <a:pos x="67" y="28"/>
                </a:cxn>
                <a:cxn ang="0">
                  <a:pos x="71" y="26"/>
                </a:cxn>
                <a:cxn ang="0">
                  <a:pos x="73" y="32"/>
                </a:cxn>
                <a:cxn ang="0">
                  <a:pos x="80" y="33"/>
                </a:cxn>
                <a:cxn ang="0">
                  <a:pos x="83" y="38"/>
                </a:cxn>
                <a:cxn ang="0">
                  <a:pos x="86" y="38"/>
                </a:cxn>
                <a:cxn ang="0">
                  <a:pos x="90" y="39"/>
                </a:cxn>
                <a:cxn ang="0">
                  <a:pos x="93" y="36"/>
                </a:cxn>
                <a:cxn ang="0">
                  <a:pos x="103" y="41"/>
                </a:cxn>
                <a:cxn ang="0">
                  <a:pos x="110" y="39"/>
                </a:cxn>
              </a:cxnLst>
              <a:rect l="0" t="0" r="r" b="b"/>
              <a:pathLst>
                <a:path w="115" h="63">
                  <a:moveTo>
                    <a:pt x="113" y="39"/>
                  </a:moveTo>
                  <a:lnTo>
                    <a:pt x="113" y="41"/>
                  </a:lnTo>
                  <a:lnTo>
                    <a:pt x="112" y="51"/>
                  </a:lnTo>
                  <a:lnTo>
                    <a:pt x="110" y="52"/>
                  </a:lnTo>
                  <a:lnTo>
                    <a:pt x="110" y="54"/>
                  </a:lnTo>
                  <a:lnTo>
                    <a:pt x="113" y="55"/>
                  </a:lnTo>
                  <a:lnTo>
                    <a:pt x="115" y="57"/>
                  </a:lnTo>
                  <a:lnTo>
                    <a:pt x="113" y="60"/>
                  </a:lnTo>
                  <a:lnTo>
                    <a:pt x="112" y="61"/>
                  </a:lnTo>
                  <a:lnTo>
                    <a:pt x="112" y="63"/>
                  </a:lnTo>
                  <a:lnTo>
                    <a:pt x="109" y="63"/>
                  </a:lnTo>
                  <a:lnTo>
                    <a:pt x="106" y="63"/>
                  </a:lnTo>
                  <a:lnTo>
                    <a:pt x="103" y="63"/>
                  </a:lnTo>
                  <a:lnTo>
                    <a:pt x="100" y="63"/>
                  </a:lnTo>
                  <a:lnTo>
                    <a:pt x="97" y="61"/>
                  </a:lnTo>
                  <a:lnTo>
                    <a:pt x="81" y="60"/>
                  </a:lnTo>
                  <a:lnTo>
                    <a:pt x="80" y="58"/>
                  </a:lnTo>
                  <a:lnTo>
                    <a:pt x="70" y="57"/>
                  </a:lnTo>
                  <a:lnTo>
                    <a:pt x="64" y="52"/>
                  </a:lnTo>
                  <a:lnTo>
                    <a:pt x="61" y="49"/>
                  </a:lnTo>
                  <a:lnTo>
                    <a:pt x="59" y="48"/>
                  </a:lnTo>
                  <a:lnTo>
                    <a:pt x="54" y="48"/>
                  </a:lnTo>
                  <a:lnTo>
                    <a:pt x="54" y="48"/>
                  </a:lnTo>
                  <a:lnTo>
                    <a:pt x="46" y="47"/>
                  </a:lnTo>
                  <a:lnTo>
                    <a:pt x="45" y="48"/>
                  </a:lnTo>
                  <a:lnTo>
                    <a:pt x="38" y="47"/>
                  </a:lnTo>
                  <a:lnTo>
                    <a:pt x="36" y="44"/>
                  </a:lnTo>
                  <a:lnTo>
                    <a:pt x="35" y="44"/>
                  </a:lnTo>
                  <a:lnTo>
                    <a:pt x="32" y="44"/>
                  </a:lnTo>
                  <a:lnTo>
                    <a:pt x="29" y="41"/>
                  </a:lnTo>
                  <a:lnTo>
                    <a:pt x="26" y="39"/>
                  </a:lnTo>
                  <a:lnTo>
                    <a:pt x="23" y="39"/>
                  </a:lnTo>
                  <a:lnTo>
                    <a:pt x="20" y="38"/>
                  </a:lnTo>
                  <a:lnTo>
                    <a:pt x="16" y="33"/>
                  </a:lnTo>
                  <a:lnTo>
                    <a:pt x="12" y="31"/>
                  </a:lnTo>
                  <a:lnTo>
                    <a:pt x="12" y="29"/>
                  </a:lnTo>
                  <a:lnTo>
                    <a:pt x="7" y="28"/>
                  </a:lnTo>
                  <a:lnTo>
                    <a:pt x="7" y="28"/>
                  </a:lnTo>
                  <a:lnTo>
                    <a:pt x="7" y="29"/>
                  </a:lnTo>
                  <a:lnTo>
                    <a:pt x="6" y="29"/>
                  </a:lnTo>
                  <a:lnTo>
                    <a:pt x="4" y="28"/>
                  </a:lnTo>
                  <a:lnTo>
                    <a:pt x="4" y="26"/>
                  </a:lnTo>
                  <a:lnTo>
                    <a:pt x="3" y="25"/>
                  </a:lnTo>
                  <a:lnTo>
                    <a:pt x="0" y="25"/>
                  </a:lnTo>
                  <a:lnTo>
                    <a:pt x="0" y="23"/>
                  </a:lnTo>
                  <a:lnTo>
                    <a:pt x="0" y="22"/>
                  </a:lnTo>
                  <a:lnTo>
                    <a:pt x="1" y="20"/>
                  </a:lnTo>
                  <a:lnTo>
                    <a:pt x="1" y="20"/>
                  </a:lnTo>
                  <a:lnTo>
                    <a:pt x="3" y="19"/>
                  </a:lnTo>
                  <a:lnTo>
                    <a:pt x="3" y="17"/>
                  </a:lnTo>
                  <a:lnTo>
                    <a:pt x="3" y="15"/>
                  </a:lnTo>
                  <a:lnTo>
                    <a:pt x="3" y="13"/>
                  </a:lnTo>
                  <a:lnTo>
                    <a:pt x="4" y="12"/>
                  </a:lnTo>
                  <a:lnTo>
                    <a:pt x="4" y="10"/>
                  </a:lnTo>
                  <a:lnTo>
                    <a:pt x="4" y="9"/>
                  </a:lnTo>
                  <a:lnTo>
                    <a:pt x="4" y="7"/>
                  </a:lnTo>
                  <a:lnTo>
                    <a:pt x="7" y="7"/>
                  </a:lnTo>
                  <a:lnTo>
                    <a:pt x="7" y="6"/>
                  </a:lnTo>
                  <a:lnTo>
                    <a:pt x="9" y="4"/>
                  </a:lnTo>
                  <a:lnTo>
                    <a:pt x="10" y="3"/>
                  </a:lnTo>
                  <a:lnTo>
                    <a:pt x="10" y="2"/>
                  </a:lnTo>
                  <a:lnTo>
                    <a:pt x="12" y="2"/>
                  </a:lnTo>
                  <a:lnTo>
                    <a:pt x="12" y="2"/>
                  </a:lnTo>
                  <a:lnTo>
                    <a:pt x="13" y="2"/>
                  </a:lnTo>
                  <a:lnTo>
                    <a:pt x="14" y="2"/>
                  </a:lnTo>
                  <a:lnTo>
                    <a:pt x="14" y="3"/>
                  </a:lnTo>
                  <a:lnTo>
                    <a:pt x="17" y="4"/>
                  </a:lnTo>
                  <a:lnTo>
                    <a:pt x="17" y="3"/>
                  </a:lnTo>
                  <a:lnTo>
                    <a:pt x="17" y="3"/>
                  </a:lnTo>
                  <a:lnTo>
                    <a:pt x="17" y="2"/>
                  </a:lnTo>
                  <a:lnTo>
                    <a:pt x="17" y="0"/>
                  </a:lnTo>
                  <a:lnTo>
                    <a:pt x="17" y="0"/>
                  </a:lnTo>
                  <a:lnTo>
                    <a:pt x="23" y="0"/>
                  </a:lnTo>
                  <a:lnTo>
                    <a:pt x="23" y="0"/>
                  </a:lnTo>
                  <a:lnTo>
                    <a:pt x="33" y="3"/>
                  </a:lnTo>
                  <a:lnTo>
                    <a:pt x="35" y="4"/>
                  </a:lnTo>
                  <a:lnTo>
                    <a:pt x="39" y="9"/>
                  </a:lnTo>
                  <a:lnTo>
                    <a:pt x="42" y="9"/>
                  </a:lnTo>
                  <a:lnTo>
                    <a:pt x="46" y="15"/>
                  </a:lnTo>
                  <a:lnTo>
                    <a:pt x="48" y="19"/>
                  </a:lnTo>
                  <a:lnTo>
                    <a:pt x="48" y="19"/>
                  </a:lnTo>
                  <a:lnTo>
                    <a:pt x="51" y="20"/>
                  </a:lnTo>
                  <a:lnTo>
                    <a:pt x="52" y="19"/>
                  </a:lnTo>
                  <a:lnTo>
                    <a:pt x="52" y="19"/>
                  </a:lnTo>
                  <a:lnTo>
                    <a:pt x="54" y="17"/>
                  </a:lnTo>
                  <a:lnTo>
                    <a:pt x="54" y="17"/>
                  </a:lnTo>
                  <a:lnTo>
                    <a:pt x="54" y="16"/>
                  </a:lnTo>
                  <a:lnTo>
                    <a:pt x="55" y="16"/>
                  </a:lnTo>
                  <a:lnTo>
                    <a:pt x="57" y="16"/>
                  </a:lnTo>
                  <a:lnTo>
                    <a:pt x="58" y="16"/>
                  </a:lnTo>
                  <a:lnTo>
                    <a:pt x="59" y="17"/>
                  </a:lnTo>
                  <a:lnTo>
                    <a:pt x="58" y="19"/>
                  </a:lnTo>
                  <a:lnTo>
                    <a:pt x="58" y="20"/>
                  </a:lnTo>
                  <a:lnTo>
                    <a:pt x="58" y="23"/>
                  </a:lnTo>
                  <a:lnTo>
                    <a:pt x="58" y="25"/>
                  </a:lnTo>
                  <a:lnTo>
                    <a:pt x="59" y="23"/>
                  </a:lnTo>
                  <a:lnTo>
                    <a:pt x="59" y="25"/>
                  </a:lnTo>
                  <a:lnTo>
                    <a:pt x="61" y="26"/>
                  </a:lnTo>
                  <a:lnTo>
                    <a:pt x="62" y="26"/>
                  </a:lnTo>
                  <a:lnTo>
                    <a:pt x="64" y="28"/>
                  </a:lnTo>
                  <a:lnTo>
                    <a:pt x="65" y="26"/>
                  </a:lnTo>
                  <a:lnTo>
                    <a:pt x="67" y="28"/>
                  </a:lnTo>
                  <a:lnTo>
                    <a:pt x="70" y="28"/>
                  </a:lnTo>
                  <a:lnTo>
                    <a:pt x="70" y="28"/>
                  </a:lnTo>
                  <a:lnTo>
                    <a:pt x="71" y="26"/>
                  </a:lnTo>
                  <a:lnTo>
                    <a:pt x="73" y="26"/>
                  </a:lnTo>
                  <a:lnTo>
                    <a:pt x="71" y="31"/>
                  </a:lnTo>
                  <a:lnTo>
                    <a:pt x="73" y="32"/>
                  </a:lnTo>
                  <a:lnTo>
                    <a:pt x="75" y="35"/>
                  </a:lnTo>
                  <a:lnTo>
                    <a:pt x="77" y="33"/>
                  </a:lnTo>
                  <a:lnTo>
                    <a:pt x="80" y="33"/>
                  </a:lnTo>
                  <a:lnTo>
                    <a:pt x="81" y="36"/>
                  </a:lnTo>
                  <a:lnTo>
                    <a:pt x="81" y="36"/>
                  </a:lnTo>
                  <a:lnTo>
                    <a:pt x="83" y="38"/>
                  </a:lnTo>
                  <a:lnTo>
                    <a:pt x="83" y="39"/>
                  </a:lnTo>
                  <a:lnTo>
                    <a:pt x="84" y="38"/>
                  </a:lnTo>
                  <a:lnTo>
                    <a:pt x="86" y="38"/>
                  </a:lnTo>
                  <a:lnTo>
                    <a:pt x="87" y="39"/>
                  </a:lnTo>
                  <a:lnTo>
                    <a:pt x="88" y="38"/>
                  </a:lnTo>
                  <a:lnTo>
                    <a:pt x="90" y="39"/>
                  </a:lnTo>
                  <a:lnTo>
                    <a:pt x="91" y="39"/>
                  </a:lnTo>
                  <a:lnTo>
                    <a:pt x="91" y="38"/>
                  </a:lnTo>
                  <a:lnTo>
                    <a:pt x="93" y="36"/>
                  </a:lnTo>
                  <a:lnTo>
                    <a:pt x="96" y="36"/>
                  </a:lnTo>
                  <a:lnTo>
                    <a:pt x="97" y="39"/>
                  </a:lnTo>
                  <a:lnTo>
                    <a:pt x="103" y="41"/>
                  </a:lnTo>
                  <a:lnTo>
                    <a:pt x="104" y="41"/>
                  </a:lnTo>
                  <a:lnTo>
                    <a:pt x="109" y="41"/>
                  </a:lnTo>
                  <a:lnTo>
                    <a:pt x="110" y="39"/>
                  </a:lnTo>
                  <a:lnTo>
                    <a:pt x="113" y="38"/>
                  </a:lnTo>
                  <a:lnTo>
                    <a:pt x="113" y="3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14" name="Freeform 1292"/>
            <p:cNvSpPr>
              <a:spLocks/>
            </p:cNvSpPr>
            <p:nvPr/>
          </p:nvSpPr>
          <p:spPr bwMode="auto">
            <a:xfrm>
              <a:off x="7163552" y="2806097"/>
              <a:ext cx="106214" cy="65918"/>
            </a:xfrm>
            <a:custGeom>
              <a:avLst/>
              <a:gdLst/>
              <a:ahLst/>
              <a:cxnLst>
                <a:cxn ang="0">
                  <a:pos x="112" y="51"/>
                </a:cxn>
                <a:cxn ang="0">
                  <a:pos x="113" y="55"/>
                </a:cxn>
                <a:cxn ang="0">
                  <a:pos x="112" y="61"/>
                </a:cxn>
                <a:cxn ang="0">
                  <a:pos x="106" y="63"/>
                </a:cxn>
                <a:cxn ang="0">
                  <a:pos x="97" y="61"/>
                </a:cxn>
                <a:cxn ang="0">
                  <a:pos x="70" y="57"/>
                </a:cxn>
                <a:cxn ang="0">
                  <a:pos x="59" y="48"/>
                </a:cxn>
                <a:cxn ang="0">
                  <a:pos x="46" y="47"/>
                </a:cxn>
                <a:cxn ang="0">
                  <a:pos x="36" y="44"/>
                </a:cxn>
                <a:cxn ang="0">
                  <a:pos x="29" y="41"/>
                </a:cxn>
                <a:cxn ang="0">
                  <a:pos x="20" y="38"/>
                </a:cxn>
                <a:cxn ang="0">
                  <a:pos x="12" y="29"/>
                </a:cxn>
                <a:cxn ang="0">
                  <a:pos x="7" y="29"/>
                </a:cxn>
                <a:cxn ang="0">
                  <a:pos x="4" y="26"/>
                </a:cxn>
                <a:cxn ang="0">
                  <a:pos x="0" y="23"/>
                </a:cxn>
                <a:cxn ang="0">
                  <a:pos x="1" y="20"/>
                </a:cxn>
                <a:cxn ang="0">
                  <a:pos x="3" y="15"/>
                </a:cxn>
                <a:cxn ang="0">
                  <a:pos x="4" y="10"/>
                </a:cxn>
                <a:cxn ang="0">
                  <a:pos x="7" y="7"/>
                </a:cxn>
                <a:cxn ang="0">
                  <a:pos x="10" y="3"/>
                </a:cxn>
                <a:cxn ang="0">
                  <a:pos x="12" y="2"/>
                </a:cxn>
                <a:cxn ang="0">
                  <a:pos x="14" y="3"/>
                </a:cxn>
                <a:cxn ang="0">
                  <a:pos x="17" y="3"/>
                </a:cxn>
                <a:cxn ang="0">
                  <a:pos x="17" y="0"/>
                </a:cxn>
                <a:cxn ang="0">
                  <a:pos x="33" y="3"/>
                </a:cxn>
                <a:cxn ang="0">
                  <a:pos x="42" y="9"/>
                </a:cxn>
                <a:cxn ang="0">
                  <a:pos x="48" y="19"/>
                </a:cxn>
                <a:cxn ang="0">
                  <a:pos x="52" y="19"/>
                </a:cxn>
                <a:cxn ang="0">
                  <a:pos x="54" y="16"/>
                </a:cxn>
                <a:cxn ang="0">
                  <a:pos x="58" y="16"/>
                </a:cxn>
                <a:cxn ang="0">
                  <a:pos x="58" y="20"/>
                </a:cxn>
                <a:cxn ang="0">
                  <a:pos x="59" y="23"/>
                </a:cxn>
                <a:cxn ang="0">
                  <a:pos x="62" y="26"/>
                </a:cxn>
                <a:cxn ang="0">
                  <a:pos x="67" y="28"/>
                </a:cxn>
                <a:cxn ang="0">
                  <a:pos x="71" y="26"/>
                </a:cxn>
                <a:cxn ang="0">
                  <a:pos x="73" y="32"/>
                </a:cxn>
                <a:cxn ang="0">
                  <a:pos x="80" y="33"/>
                </a:cxn>
                <a:cxn ang="0">
                  <a:pos x="83" y="38"/>
                </a:cxn>
                <a:cxn ang="0">
                  <a:pos x="86" y="38"/>
                </a:cxn>
                <a:cxn ang="0">
                  <a:pos x="90" y="39"/>
                </a:cxn>
                <a:cxn ang="0">
                  <a:pos x="93" y="36"/>
                </a:cxn>
                <a:cxn ang="0">
                  <a:pos x="103" y="41"/>
                </a:cxn>
                <a:cxn ang="0">
                  <a:pos x="110" y="39"/>
                </a:cxn>
              </a:cxnLst>
              <a:rect l="0" t="0" r="r" b="b"/>
              <a:pathLst>
                <a:path w="115" h="63">
                  <a:moveTo>
                    <a:pt x="113" y="39"/>
                  </a:moveTo>
                  <a:lnTo>
                    <a:pt x="113" y="41"/>
                  </a:lnTo>
                  <a:lnTo>
                    <a:pt x="112" y="51"/>
                  </a:lnTo>
                  <a:lnTo>
                    <a:pt x="110" y="52"/>
                  </a:lnTo>
                  <a:lnTo>
                    <a:pt x="110" y="54"/>
                  </a:lnTo>
                  <a:lnTo>
                    <a:pt x="113" y="55"/>
                  </a:lnTo>
                  <a:lnTo>
                    <a:pt x="115" y="57"/>
                  </a:lnTo>
                  <a:lnTo>
                    <a:pt x="113" y="60"/>
                  </a:lnTo>
                  <a:lnTo>
                    <a:pt x="112" y="61"/>
                  </a:lnTo>
                  <a:lnTo>
                    <a:pt x="112" y="63"/>
                  </a:lnTo>
                  <a:lnTo>
                    <a:pt x="109" y="63"/>
                  </a:lnTo>
                  <a:lnTo>
                    <a:pt x="106" y="63"/>
                  </a:lnTo>
                  <a:lnTo>
                    <a:pt x="103" y="63"/>
                  </a:lnTo>
                  <a:lnTo>
                    <a:pt x="100" y="63"/>
                  </a:lnTo>
                  <a:lnTo>
                    <a:pt x="97" y="61"/>
                  </a:lnTo>
                  <a:lnTo>
                    <a:pt x="81" y="60"/>
                  </a:lnTo>
                  <a:lnTo>
                    <a:pt x="80" y="58"/>
                  </a:lnTo>
                  <a:lnTo>
                    <a:pt x="70" y="57"/>
                  </a:lnTo>
                  <a:lnTo>
                    <a:pt x="64" y="52"/>
                  </a:lnTo>
                  <a:lnTo>
                    <a:pt x="61" y="49"/>
                  </a:lnTo>
                  <a:lnTo>
                    <a:pt x="59" y="48"/>
                  </a:lnTo>
                  <a:lnTo>
                    <a:pt x="54" y="48"/>
                  </a:lnTo>
                  <a:lnTo>
                    <a:pt x="54" y="48"/>
                  </a:lnTo>
                  <a:lnTo>
                    <a:pt x="46" y="47"/>
                  </a:lnTo>
                  <a:lnTo>
                    <a:pt x="45" y="48"/>
                  </a:lnTo>
                  <a:lnTo>
                    <a:pt x="38" y="47"/>
                  </a:lnTo>
                  <a:lnTo>
                    <a:pt x="36" y="44"/>
                  </a:lnTo>
                  <a:lnTo>
                    <a:pt x="35" y="44"/>
                  </a:lnTo>
                  <a:lnTo>
                    <a:pt x="32" y="44"/>
                  </a:lnTo>
                  <a:lnTo>
                    <a:pt x="29" y="41"/>
                  </a:lnTo>
                  <a:lnTo>
                    <a:pt x="26" y="39"/>
                  </a:lnTo>
                  <a:lnTo>
                    <a:pt x="23" y="39"/>
                  </a:lnTo>
                  <a:lnTo>
                    <a:pt x="20" y="38"/>
                  </a:lnTo>
                  <a:lnTo>
                    <a:pt x="16" y="33"/>
                  </a:lnTo>
                  <a:lnTo>
                    <a:pt x="12" y="31"/>
                  </a:lnTo>
                  <a:lnTo>
                    <a:pt x="12" y="29"/>
                  </a:lnTo>
                  <a:lnTo>
                    <a:pt x="7" y="28"/>
                  </a:lnTo>
                  <a:lnTo>
                    <a:pt x="7" y="28"/>
                  </a:lnTo>
                  <a:lnTo>
                    <a:pt x="7" y="29"/>
                  </a:lnTo>
                  <a:lnTo>
                    <a:pt x="6" y="29"/>
                  </a:lnTo>
                  <a:lnTo>
                    <a:pt x="4" y="28"/>
                  </a:lnTo>
                  <a:lnTo>
                    <a:pt x="4" y="26"/>
                  </a:lnTo>
                  <a:lnTo>
                    <a:pt x="3" y="25"/>
                  </a:lnTo>
                  <a:lnTo>
                    <a:pt x="0" y="25"/>
                  </a:lnTo>
                  <a:lnTo>
                    <a:pt x="0" y="23"/>
                  </a:lnTo>
                  <a:lnTo>
                    <a:pt x="0" y="22"/>
                  </a:lnTo>
                  <a:lnTo>
                    <a:pt x="1" y="20"/>
                  </a:lnTo>
                  <a:lnTo>
                    <a:pt x="1" y="20"/>
                  </a:lnTo>
                  <a:lnTo>
                    <a:pt x="3" y="19"/>
                  </a:lnTo>
                  <a:lnTo>
                    <a:pt x="3" y="17"/>
                  </a:lnTo>
                  <a:lnTo>
                    <a:pt x="3" y="15"/>
                  </a:lnTo>
                  <a:lnTo>
                    <a:pt x="3" y="13"/>
                  </a:lnTo>
                  <a:lnTo>
                    <a:pt x="4" y="12"/>
                  </a:lnTo>
                  <a:lnTo>
                    <a:pt x="4" y="10"/>
                  </a:lnTo>
                  <a:lnTo>
                    <a:pt x="4" y="9"/>
                  </a:lnTo>
                  <a:lnTo>
                    <a:pt x="4" y="7"/>
                  </a:lnTo>
                  <a:lnTo>
                    <a:pt x="7" y="7"/>
                  </a:lnTo>
                  <a:lnTo>
                    <a:pt x="7" y="6"/>
                  </a:lnTo>
                  <a:lnTo>
                    <a:pt x="9" y="4"/>
                  </a:lnTo>
                  <a:lnTo>
                    <a:pt x="10" y="3"/>
                  </a:lnTo>
                  <a:lnTo>
                    <a:pt x="10" y="2"/>
                  </a:lnTo>
                  <a:lnTo>
                    <a:pt x="12" y="2"/>
                  </a:lnTo>
                  <a:lnTo>
                    <a:pt x="12" y="2"/>
                  </a:lnTo>
                  <a:lnTo>
                    <a:pt x="13" y="2"/>
                  </a:lnTo>
                  <a:lnTo>
                    <a:pt x="14" y="2"/>
                  </a:lnTo>
                  <a:lnTo>
                    <a:pt x="14" y="3"/>
                  </a:lnTo>
                  <a:lnTo>
                    <a:pt x="17" y="4"/>
                  </a:lnTo>
                  <a:lnTo>
                    <a:pt x="17" y="3"/>
                  </a:lnTo>
                  <a:lnTo>
                    <a:pt x="17" y="3"/>
                  </a:lnTo>
                  <a:lnTo>
                    <a:pt x="17" y="2"/>
                  </a:lnTo>
                  <a:lnTo>
                    <a:pt x="17" y="0"/>
                  </a:lnTo>
                  <a:lnTo>
                    <a:pt x="17" y="0"/>
                  </a:lnTo>
                  <a:lnTo>
                    <a:pt x="23" y="0"/>
                  </a:lnTo>
                  <a:lnTo>
                    <a:pt x="23" y="0"/>
                  </a:lnTo>
                  <a:lnTo>
                    <a:pt x="33" y="3"/>
                  </a:lnTo>
                  <a:lnTo>
                    <a:pt x="35" y="4"/>
                  </a:lnTo>
                  <a:lnTo>
                    <a:pt x="39" y="9"/>
                  </a:lnTo>
                  <a:lnTo>
                    <a:pt x="42" y="9"/>
                  </a:lnTo>
                  <a:lnTo>
                    <a:pt x="46" y="15"/>
                  </a:lnTo>
                  <a:lnTo>
                    <a:pt x="48" y="19"/>
                  </a:lnTo>
                  <a:lnTo>
                    <a:pt x="48" y="19"/>
                  </a:lnTo>
                  <a:lnTo>
                    <a:pt x="51" y="20"/>
                  </a:lnTo>
                  <a:lnTo>
                    <a:pt x="52" y="19"/>
                  </a:lnTo>
                  <a:lnTo>
                    <a:pt x="52" y="19"/>
                  </a:lnTo>
                  <a:lnTo>
                    <a:pt x="54" y="17"/>
                  </a:lnTo>
                  <a:lnTo>
                    <a:pt x="54" y="17"/>
                  </a:lnTo>
                  <a:lnTo>
                    <a:pt x="54" y="16"/>
                  </a:lnTo>
                  <a:lnTo>
                    <a:pt x="55" y="16"/>
                  </a:lnTo>
                  <a:lnTo>
                    <a:pt x="57" y="16"/>
                  </a:lnTo>
                  <a:lnTo>
                    <a:pt x="58" y="16"/>
                  </a:lnTo>
                  <a:lnTo>
                    <a:pt x="59" y="17"/>
                  </a:lnTo>
                  <a:lnTo>
                    <a:pt x="58" y="19"/>
                  </a:lnTo>
                  <a:lnTo>
                    <a:pt x="58" y="20"/>
                  </a:lnTo>
                  <a:lnTo>
                    <a:pt x="58" y="23"/>
                  </a:lnTo>
                  <a:lnTo>
                    <a:pt x="58" y="25"/>
                  </a:lnTo>
                  <a:lnTo>
                    <a:pt x="59" y="23"/>
                  </a:lnTo>
                  <a:lnTo>
                    <a:pt x="59" y="25"/>
                  </a:lnTo>
                  <a:lnTo>
                    <a:pt x="61" y="26"/>
                  </a:lnTo>
                  <a:lnTo>
                    <a:pt x="62" y="26"/>
                  </a:lnTo>
                  <a:lnTo>
                    <a:pt x="64" y="28"/>
                  </a:lnTo>
                  <a:lnTo>
                    <a:pt x="65" y="26"/>
                  </a:lnTo>
                  <a:lnTo>
                    <a:pt x="67" y="28"/>
                  </a:lnTo>
                  <a:lnTo>
                    <a:pt x="70" y="28"/>
                  </a:lnTo>
                  <a:lnTo>
                    <a:pt x="70" y="28"/>
                  </a:lnTo>
                  <a:lnTo>
                    <a:pt x="71" y="26"/>
                  </a:lnTo>
                  <a:lnTo>
                    <a:pt x="73" y="26"/>
                  </a:lnTo>
                  <a:lnTo>
                    <a:pt x="71" y="31"/>
                  </a:lnTo>
                  <a:lnTo>
                    <a:pt x="73" y="32"/>
                  </a:lnTo>
                  <a:lnTo>
                    <a:pt x="75" y="35"/>
                  </a:lnTo>
                  <a:lnTo>
                    <a:pt x="77" y="33"/>
                  </a:lnTo>
                  <a:lnTo>
                    <a:pt x="80" y="33"/>
                  </a:lnTo>
                  <a:lnTo>
                    <a:pt x="81" y="36"/>
                  </a:lnTo>
                  <a:lnTo>
                    <a:pt x="81" y="36"/>
                  </a:lnTo>
                  <a:lnTo>
                    <a:pt x="83" y="38"/>
                  </a:lnTo>
                  <a:lnTo>
                    <a:pt x="83" y="39"/>
                  </a:lnTo>
                  <a:lnTo>
                    <a:pt x="84" y="38"/>
                  </a:lnTo>
                  <a:lnTo>
                    <a:pt x="86" y="38"/>
                  </a:lnTo>
                  <a:lnTo>
                    <a:pt x="87" y="39"/>
                  </a:lnTo>
                  <a:lnTo>
                    <a:pt x="88" y="38"/>
                  </a:lnTo>
                  <a:lnTo>
                    <a:pt x="90" y="39"/>
                  </a:lnTo>
                  <a:lnTo>
                    <a:pt x="91" y="39"/>
                  </a:lnTo>
                  <a:lnTo>
                    <a:pt x="91" y="38"/>
                  </a:lnTo>
                  <a:lnTo>
                    <a:pt x="93" y="36"/>
                  </a:lnTo>
                  <a:lnTo>
                    <a:pt x="96" y="36"/>
                  </a:lnTo>
                  <a:lnTo>
                    <a:pt x="97" y="39"/>
                  </a:lnTo>
                  <a:lnTo>
                    <a:pt x="103" y="41"/>
                  </a:lnTo>
                  <a:lnTo>
                    <a:pt x="104" y="41"/>
                  </a:lnTo>
                  <a:lnTo>
                    <a:pt x="109" y="41"/>
                  </a:lnTo>
                  <a:lnTo>
                    <a:pt x="110" y="39"/>
                  </a:lnTo>
                  <a:lnTo>
                    <a:pt x="113" y="38"/>
                  </a:lnTo>
                  <a:lnTo>
                    <a:pt x="113" y="39"/>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15" name="Freeform 1293"/>
            <p:cNvSpPr>
              <a:spLocks/>
            </p:cNvSpPr>
            <p:nvPr/>
          </p:nvSpPr>
          <p:spPr bwMode="auto">
            <a:xfrm>
              <a:off x="7264499" y="2869987"/>
              <a:ext cx="62323" cy="90258"/>
            </a:xfrm>
            <a:custGeom>
              <a:avLst/>
              <a:gdLst/>
              <a:ahLst/>
              <a:cxnLst>
                <a:cxn ang="0">
                  <a:pos x="63" y="87"/>
                </a:cxn>
                <a:cxn ang="0">
                  <a:pos x="53" y="60"/>
                </a:cxn>
                <a:cxn ang="0">
                  <a:pos x="45" y="60"/>
                </a:cxn>
                <a:cxn ang="0">
                  <a:pos x="42" y="55"/>
                </a:cxn>
                <a:cxn ang="0">
                  <a:pos x="39" y="58"/>
                </a:cxn>
                <a:cxn ang="0">
                  <a:pos x="38" y="65"/>
                </a:cxn>
                <a:cxn ang="0">
                  <a:pos x="32" y="73"/>
                </a:cxn>
                <a:cxn ang="0">
                  <a:pos x="29" y="70"/>
                </a:cxn>
                <a:cxn ang="0">
                  <a:pos x="26" y="74"/>
                </a:cxn>
                <a:cxn ang="0">
                  <a:pos x="23" y="73"/>
                </a:cxn>
                <a:cxn ang="0">
                  <a:pos x="21" y="74"/>
                </a:cxn>
                <a:cxn ang="0">
                  <a:pos x="19" y="74"/>
                </a:cxn>
                <a:cxn ang="0">
                  <a:pos x="16" y="76"/>
                </a:cxn>
                <a:cxn ang="0">
                  <a:pos x="13" y="71"/>
                </a:cxn>
                <a:cxn ang="0">
                  <a:pos x="13" y="67"/>
                </a:cxn>
                <a:cxn ang="0">
                  <a:pos x="12" y="63"/>
                </a:cxn>
                <a:cxn ang="0">
                  <a:pos x="10" y="58"/>
                </a:cxn>
                <a:cxn ang="0">
                  <a:pos x="10" y="55"/>
                </a:cxn>
                <a:cxn ang="0">
                  <a:pos x="10" y="51"/>
                </a:cxn>
                <a:cxn ang="0">
                  <a:pos x="10" y="47"/>
                </a:cxn>
                <a:cxn ang="0">
                  <a:pos x="9" y="34"/>
                </a:cxn>
                <a:cxn ang="0">
                  <a:pos x="0" y="28"/>
                </a:cxn>
                <a:cxn ang="0">
                  <a:pos x="0" y="25"/>
                </a:cxn>
                <a:cxn ang="0">
                  <a:pos x="3" y="22"/>
                </a:cxn>
                <a:cxn ang="0">
                  <a:pos x="6" y="19"/>
                </a:cxn>
                <a:cxn ang="0">
                  <a:pos x="10" y="18"/>
                </a:cxn>
                <a:cxn ang="0">
                  <a:pos x="10" y="15"/>
                </a:cxn>
                <a:cxn ang="0">
                  <a:pos x="5" y="15"/>
                </a:cxn>
                <a:cxn ang="0">
                  <a:pos x="3" y="10"/>
                </a:cxn>
                <a:cxn ang="0">
                  <a:pos x="8" y="0"/>
                </a:cxn>
                <a:cxn ang="0">
                  <a:pos x="12" y="6"/>
                </a:cxn>
                <a:cxn ang="0">
                  <a:pos x="15" y="2"/>
                </a:cxn>
                <a:cxn ang="0">
                  <a:pos x="18" y="7"/>
                </a:cxn>
                <a:cxn ang="0">
                  <a:pos x="22" y="9"/>
                </a:cxn>
                <a:cxn ang="0">
                  <a:pos x="26" y="16"/>
                </a:cxn>
                <a:cxn ang="0">
                  <a:pos x="31" y="19"/>
                </a:cxn>
                <a:cxn ang="0">
                  <a:pos x="44" y="19"/>
                </a:cxn>
                <a:cxn ang="0">
                  <a:pos x="63" y="22"/>
                </a:cxn>
                <a:cxn ang="0">
                  <a:pos x="60" y="25"/>
                </a:cxn>
                <a:cxn ang="0">
                  <a:pos x="53" y="35"/>
                </a:cxn>
                <a:cxn ang="0">
                  <a:pos x="45" y="41"/>
                </a:cxn>
                <a:cxn ang="0">
                  <a:pos x="51" y="49"/>
                </a:cxn>
                <a:cxn ang="0">
                  <a:pos x="54" y="54"/>
                </a:cxn>
                <a:cxn ang="0">
                  <a:pos x="60" y="42"/>
                </a:cxn>
                <a:cxn ang="0">
                  <a:pos x="68" y="71"/>
                </a:cxn>
                <a:cxn ang="0">
                  <a:pos x="68" y="80"/>
                </a:cxn>
                <a:cxn ang="0">
                  <a:pos x="64" y="80"/>
                </a:cxn>
              </a:cxnLst>
              <a:rect l="0" t="0" r="r" b="b"/>
              <a:pathLst>
                <a:path w="68" h="87">
                  <a:moveTo>
                    <a:pt x="63" y="87"/>
                  </a:moveTo>
                  <a:lnTo>
                    <a:pt x="63" y="87"/>
                  </a:lnTo>
                  <a:lnTo>
                    <a:pt x="57" y="65"/>
                  </a:lnTo>
                  <a:lnTo>
                    <a:pt x="53" y="60"/>
                  </a:lnTo>
                  <a:lnTo>
                    <a:pt x="51" y="58"/>
                  </a:lnTo>
                  <a:lnTo>
                    <a:pt x="45" y="60"/>
                  </a:lnTo>
                  <a:lnTo>
                    <a:pt x="44" y="58"/>
                  </a:lnTo>
                  <a:lnTo>
                    <a:pt x="42" y="55"/>
                  </a:lnTo>
                  <a:lnTo>
                    <a:pt x="41" y="55"/>
                  </a:lnTo>
                  <a:lnTo>
                    <a:pt x="39" y="58"/>
                  </a:lnTo>
                  <a:lnTo>
                    <a:pt x="38" y="60"/>
                  </a:lnTo>
                  <a:lnTo>
                    <a:pt x="38" y="65"/>
                  </a:lnTo>
                  <a:lnTo>
                    <a:pt x="34" y="73"/>
                  </a:lnTo>
                  <a:lnTo>
                    <a:pt x="32" y="73"/>
                  </a:lnTo>
                  <a:lnTo>
                    <a:pt x="29" y="68"/>
                  </a:lnTo>
                  <a:lnTo>
                    <a:pt x="29" y="70"/>
                  </a:lnTo>
                  <a:lnTo>
                    <a:pt x="28" y="71"/>
                  </a:lnTo>
                  <a:lnTo>
                    <a:pt x="26" y="74"/>
                  </a:lnTo>
                  <a:lnTo>
                    <a:pt x="25" y="73"/>
                  </a:lnTo>
                  <a:lnTo>
                    <a:pt x="23" y="73"/>
                  </a:lnTo>
                  <a:lnTo>
                    <a:pt x="21" y="73"/>
                  </a:lnTo>
                  <a:lnTo>
                    <a:pt x="21" y="74"/>
                  </a:lnTo>
                  <a:lnTo>
                    <a:pt x="19" y="74"/>
                  </a:lnTo>
                  <a:lnTo>
                    <a:pt x="19" y="74"/>
                  </a:lnTo>
                  <a:lnTo>
                    <a:pt x="18" y="76"/>
                  </a:lnTo>
                  <a:lnTo>
                    <a:pt x="16" y="76"/>
                  </a:lnTo>
                  <a:lnTo>
                    <a:pt x="15" y="76"/>
                  </a:lnTo>
                  <a:lnTo>
                    <a:pt x="13" y="71"/>
                  </a:lnTo>
                  <a:lnTo>
                    <a:pt x="13" y="70"/>
                  </a:lnTo>
                  <a:lnTo>
                    <a:pt x="13" y="67"/>
                  </a:lnTo>
                  <a:lnTo>
                    <a:pt x="13" y="64"/>
                  </a:lnTo>
                  <a:lnTo>
                    <a:pt x="12" y="63"/>
                  </a:lnTo>
                  <a:lnTo>
                    <a:pt x="12" y="61"/>
                  </a:lnTo>
                  <a:lnTo>
                    <a:pt x="10" y="58"/>
                  </a:lnTo>
                  <a:lnTo>
                    <a:pt x="10" y="55"/>
                  </a:lnTo>
                  <a:lnTo>
                    <a:pt x="10" y="55"/>
                  </a:lnTo>
                  <a:lnTo>
                    <a:pt x="12" y="51"/>
                  </a:lnTo>
                  <a:lnTo>
                    <a:pt x="10" y="51"/>
                  </a:lnTo>
                  <a:lnTo>
                    <a:pt x="10" y="49"/>
                  </a:lnTo>
                  <a:lnTo>
                    <a:pt x="10" y="47"/>
                  </a:lnTo>
                  <a:lnTo>
                    <a:pt x="9" y="45"/>
                  </a:lnTo>
                  <a:lnTo>
                    <a:pt x="9" y="34"/>
                  </a:lnTo>
                  <a:lnTo>
                    <a:pt x="6" y="31"/>
                  </a:lnTo>
                  <a:lnTo>
                    <a:pt x="0" y="28"/>
                  </a:lnTo>
                  <a:lnTo>
                    <a:pt x="0" y="26"/>
                  </a:lnTo>
                  <a:lnTo>
                    <a:pt x="0" y="25"/>
                  </a:lnTo>
                  <a:lnTo>
                    <a:pt x="2" y="23"/>
                  </a:lnTo>
                  <a:lnTo>
                    <a:pt x="3" y="22"/>
                  </a:lnTo>
                  <a:lnTo>
                    <a:pt x="5" y="22"/>
                  </a:lnTo>
                  <a:lnTo>
                    <a:pt x="6" y="19"/>
                  </a:lnTo>
                  <a:lnTo>
                    <a:pt x="10" y="19"/>
                  </a:lnTo>
                  <a:lnTo>
                    <a:pt x="10" y="18"/>
                  </a:lnTo>
                  <a:lnTo>
                    <a:pt x="10" y="16"/>
                  </a:lnTo>
                  <a:lnTo>
                    <a:pt x="10" y="15"/>
                  </a:lnTo>
                  <a:lnTo>
                    <a:pt x="6" y="16"/>
                  </a:lnTo>
                  <a:lnTo>
                    <a:pt x="5" y="15"/>
                  </a:lnTo>
                  <a:lnTo>
                    <a:pt x="3" y="10"/>
                  </a:lnTo>
                  <a:lnTo>
                    <a:pt x="3" y="10"/>
                  </a:lnTo>
                  <a:lnTo>
                    <a:pt x="6" y="3"/>
                  </a:lnTo>
                  <a:lnTo>
                    <a:pt x="8" y="0"/>
                  </a:lnTo>
                  <a:lnTo>
                    <a:pt x="9" y="0"/>
                  </a:lnTo>
                  <a:lnTo>
                    <a:pt x="12" y="6"/>
                  </a:lnTo>
                  <a:lnTo>
                    <a:pt x="13" y="0"/>
                  </a:lnTo>
                  <a:lnTo>
                    <a:pt x="15" y="2"/>
                  </a:lnTo>
                  <a:lnTo>
                    <a:pt x="16" y="6"/>
                  </a:lnTo>
                  <a:lnTo>
                    <a:pt x="18" y="7"/>
                  </a:lnTo>
                  <a:lnTo>
                    <a:pt x="19" y="6"/>
                  </a:lnTo>
                  <a:lnTo>
                    <a:pt x="22" y="9"/>
                  </a:lnTo>
                  <a:lnTo>
                    <a:pt x="23" y="4"/>
                  </a:lnTo>
                  <a:lnTo>
                    <a:pt x="26" y="16"/>
                  </a:lnTo>
                  <a:lnTo>
                    <a:pt x="28" y="18"/>
                  </a:lnTo>
                  <a:lnTo>
                    <a:pt x="31" y="19"/>
                  </a:lnTo>
                  <a:lnTo>
                    <a:pt x="42" y="20"/>
                  </a:lnTo>
                  <a:lnTo>
                    <a:pt x="44" y="19"/>
                  </a:lnTo>
                  <a:lnTo>
                    <a:pt x="53" y="19"/>
                  </a:lnTo>
                  <a:lnTo>
                    <a:pt x="63" y="22"/>
                  </a:lnTo>
                  <a:lnTo>
                    <a:pt x="63" y="23"/>
                  </a:lnTo>
                  <a:lnTo>
                    <a:pt x="60" y="25"/>
                  </a:lnTo>
                  <a:lnTo>
                    <a:pt x="58" y="28"/>
                  </a:lnTo>
                  <a:lnTo>
                    <a:pt x="53" y="35"/>
                  </a:lnTo>
                  <a:lnTo>
                    <a:pt x="47" y="38"/>
                  </a:lnTo>
                  <a:lnTo>
                    <a:pt x="45" y="41"/>
                  </a:lnTo>
                  <a:lnTo>
                    <a:pt x="48" y="49"/>
                  </a:lnTo>
                  <a:lnTo>
                    <a:pt x="51" y="49"/>
                  </a:lnTo>
                  <a:lnTo>
                    <a:pt x="53" y="52"/>
                  </a:lnTo>
                  <a:lnTo>
                    <a:pt x="54" y="54"/>
                  </a:lnTo>
                  <a:lnTo>
                    <a:pt x="57" y="47"/>
                  </a:lnTo>
                  <a:lnTo>
                    <a:pt x="60" y="42"/>
                  </a:lnTo>
                  <a:lnTo>
                    <a:pt x="61" y="42"/>
                  </a:lnTo>
                  <a:lnTo>
                    <a:pt x="68" y="71"/>
                  </a:lnTo>
                  <a:lnTo>
                    <a:pt x="67" y="71"/>
                  </a:lnTo>
                  <a:lnTo>
                    <a:pt x="68" y="80"/>
                  </a:lnTo>
                  <a:lnTo>
                    <a:pt x="66" y="79"/>
                  </a:lnTo>
                  <a:lnTo>
                    <a:pt x="64" y="80"/>
                  </a:lnTo>
                  <a:lnTo>
                    <a:pt x="63" y="8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16" name="Freeform 1294"/>
            <p:cNvSpPr>
              <a:spLocks/>
            </p:cNvSpPr>
            <p:nvPr/>
          </p:nvSpPr>
          <p:spPr bwMode="auto">
            <a:xfrm>
              <a:off x="7264499" y="2869987"/>
              <a:ext cx="62323" cy="90258"/>
            </a:xfrm>
            <a:custGeom>
              <a:avLst/>
              <a:gdLst/>
              <a:ahLst/>
              <a:cxnLst>
                <a:cxn ang="0">
                  <a:pos x="63" y="87"/>
                </a:cxn>
                <a:cxn ang="0">
                  <a:pos x="53" y="60"/>
                </a:cxn>
                <a:cxn ang="0">
                  <a:pos x="45" y="60"/>
                </a:cxn>
                <a:cxn ang="0">
                  <a:pos x="42" y="55"/>
                </a:cxn>
                <a:cxn ang="0">
                  <a:pos x="39" y="58"/>
                </a:cxn>
                <a:cxn ang="0">
                  <a:pos x="38" y="65"/>
                </a:cxn>
                <a:cxn ang="0">
                  <a:pos x="32" y="73"/>
                </a:cxn>
                <a:cxn ang="0">
                  <a:pos x="29" y="70"/>
                </a:cxn>
                <a:cxn ang="0">
                  <a:pos x="26" y="74"/>
                </a:cxn>
                <a:cxn ang="0">
                  <a:pos x="23" y="73"/>
                </a:cxn>
                <a:cxn ang="0">
                  <a:pos x="21" y="74"/>
                </a:cxn>
                <a:cxn ang="0">
                  <a:pos x="19" y="74"/>
                </a:cxn>
                <a:cxn ang="0">
                  <a:pos x="16" y="76"/>
                </a:cxn>
                <a:cxn ang="0">
                  <a:pos x="13" y="71"/>
                </a:cxn>
                <a:cxn ang="0">
                  <a:pos x="13" y="67"/>
                </a:cxn>
                <a:cxn ang="0">
                  <a:pos x="12" y="63"/>
                </a:cxn>
                <a:cxn ang="0">
                  <a:pos x="10" y="58"/>
                </a:cxn>
                <a:cxn ang="0">
                  <a:pos x="10" y="55"/>
                </a:cxn>
                <a:cxn ang="0">
                  <a:pos x="10" y="51"/>
                </a:cxn>
                <a:cxn ang="0">
                  <a:pos x="10" y="47"/>
                </a:cxn>
                <a:cxn ang="0">
                  <a:pos x="9" y="34"/>
                </a:cxn>
                <a:cxn ang="0">
                  <a:pos x="0" y="28"/>
                </a:cxn>
                <a:cxn ang="0">
                  <a:pos x="0" y="25"/>
                </a:cxn>
                <a:cxn ang="0">
                  <a:pos x="3" y="22"/>
                </a:cxn>
                <a:cxn ang="0">
                  <a:pos x="6" y="19"/>
                </a:cxn>
                <a:cxn ang="0">
                  <a:pos x="10" y="18"/>
                </a:cxn>
                <a:cxn ang="0">
                  <a:pos x="10" y="15"/>
                </a:cxn>
                <a:cxn ang="0">
                  <a:pos x="5" y="15"/>
                </a:cxn>
                <a:cxn ang="0">
                  <a:pos x="3" y="10"/>
                </a:cxn>
                <a:cxn ang="0">
                  <a:pos x="8" y="0"/>
                </a:cxn>
                <a:cxn ang="0">
                  <a:pos x="12" y="6"/>
                </a:cxn>
                <a:cxn ang="0">
                  <a:pos x="15" y="2"/>
                </a:cxn>
                <a:cxn ang="0">
                  <a:pos x="18" y="7"/>
                </a:cxn>
                <a:cxn ang="0">
                  <a:pos x="22" y="9"/>
                </a:cxn>
                <a:cxn ang="0">
                  <a:pos x="26" y="16"/>
                </a:cxn>
                <a:cxn ang="0">
                  <a:pos x="31" y="19"/>
                </a:cxn>
                <a:cxn ang="0">
                  <a:pos x="44" y="19"/>
                </a:cxn>
                <a:cxn ang="0">
                  <a:pos x="63" y="22"/>
                </a:cxn>
                <a:cxn ang="0">
                  <a:pos x="60" y="25"/>
                </a:cxn>
                <a:cxn ang="0">
                  <a:pos x="53" y="35"/>
                </a:cxn>
                <a:cxn ang="0">
                  <a:pos x="45" y="41"/>
                </a:cxn>
                <a:cxn ang="0">
                  <a:pos x="51" y="49"/>
                </a:cxn>
                <a:cxn ang="0">
                  <a:pos x="54" y="54"/>
                </a:cxn>
                <a:cxn ang="0">
                  <a:pos x="60" y="42"/>
                </a:cxn>
                <a:cxn ang="0">
                  <a:pos x="68" y="71"/>
                </a:cxn>
                <a:cxn ang="0">
                  <a:pos x="68" y="80"/>
                </a:cxn>
                <a:cxn ang="0">
                  <a:pos x="64" y="80"/>
                </a:cxn>
              </a:cxnLst>
              <a:rect l="0" t="0" r="r" b="b"/>
              <a:pathLst>
                <a:path w="68" h="87">
                  <a:moveTo>
                    <a:pt x="63" y="87"/>
                  </a:moveTo>
                  <a:lnTo>
                    <a:pt x="63" y="87"/>
                  </a:lnTo>
                  <a:lnTo>
                    <a:pt x="57" y="65"/>
                  </a:lnTo>
                  <a:lnTo>
                    <a:pt x="53" y="60"/>
                  </a:lnTo>
                  <a:lnTo>
                    <a:pt x="51" y="58"/>
                  </a:lnTo>
                  <a:lnTo>
                    <a:pt x="45" y="60"/>
                  </a:lnTo>
                  <a:lnTo>
                    <a:pt x="44" y="58"/>
                  </a:lnTo>
                  <a:lnTo>
                    <a:pt x="42" y="55"/>
                  </a:lnTo>
                  <a:lnTo>
                    <a:pt x="41" y="55"/>
                  </a:lnTo>
                  <a:lnTo>
                    <a:pt x="39" y="58"/>
                  </a:lnTo>
                  <a:lnTo>
                    <a:pt x="38" y="60"/>
                  </a:lnTo>
                  <a:lnTo>
                    <a:pt x="38" y="65"/>
                  </a:lnTo>
                  <a:lnTo>
                    <a:pt x="34" y="73"/>
                  </a:lnTo>
                  <a:lnTo>
                    <a:pt x="32" y="73"/>
                  </a:lnTo>
                  <a:lnTo>
                    <a:pt x="29" y="68"/>
                  </a:lnTo>
                  <a:lnTo>
                    <a:pt x="29" y="70"/>
                  </a:lnTo>
                  <a:lnTo>
                    <a:pt x="28" y="71"/>
                  </a:lnTo>
                  <a:lnTo>
                    <a:pt x="26" y="74"/>
                  </a:lnTo>
                  <a:lnTo>
                    <a:pt x="25" y="73"/>
                  </a:lnTo>
                  <a:lnTo>
                    <a:pt x="23" y="73"/>
                  </a:lnTo>
                  <a:lnTo>
                    <a:pt x="21" y="73"/>
                  </a:lnTo>
                  <a:lnTo>
                    <a:pt x="21" y="74"/>
                  </a:lnTo>
                  <a:lnTo>
                    <a:pt x="19" y="74"/>
                  </a:lnTo>
                  <a:lnTo>
                    <a:pt x="19" y="74"/>
                  </a:lnTo>
                  <a:lnTo>
                    <a:pt x="18" y="76"/>
                  </a:lnTo>
                  <a:lnTo>
                    <a:pt x="16" y="76"/>
                  </a:lnTo>
                  <a:lnTo>
                    <a:pt x="15" y="76"/>
                  </a:lnTo>
                  <a:lnTo>
                    <a:pt x="13" y="71"/>
                  </a:lnTo>
                  <a:lnTo>
                    <a:pt x="13" y="70"/>
                  </a:lnTo>
                  <a:lnTo>
                    <a:pt x="13" y="67"/>
                  </a:lnTo>
                  <a:lnTo>
                    <a:pt x="13" y="64"/>
                  </a:lnTo>
                  <a:lnTo>
                    <a:pt x="12" y="63"/>
                  </a:lnTo>
                  <a:lnTo>
                    <a:pt x="12" y="61"/>
                  </a:lnTo>
                  <a:lnTo>
                    <a:pt x="10" y="58"/>
                  </a:lnTo>
                  <a:lnTo>
                    <a:pt x="10" y="55"/>
                  </a:lnTo>
                  <a:lnTo>
                    <a:pt x="10" y="55"/>
                  </a:lnTo>
                  <a:lnTo>
                    <a:pt x="12" y="51"/>
                  </a:lnTo>
                  <a:lnTo>
                    <a:pt x="10" y="51"/>
                  </a:lnTo>
                  <a:lnTo>
                    <a:pt x="10" y="49"/>
                  </a:lnTo>
                  <a:lnTo>
                    <a:pt x="10" y="47"/>
                  </a:lnTo>
                  <a:lnTo>
                    <a:pt x="9" y="45"/>
                  </a:lnTo>
                  <a:lnTo>
                    <a:pt x="9" y="34"/>
                  </a:lnTo>
                  <a:lnTo>
                    <a:pt x="6" y="31"/>
                  </a:lnTo>
                  <a:lnTo>
                    <a:pt x="0" y="28"/>
                  </a:lnTo>
                  <a:lnTo>
                    <a:pt x="0" y="26"/>
                  </a:lnTo>
                  <a:lnTo>
                    <a:pt x="0" y="25"/>
                  </a:lnTo>
                  <a:lnTo>
                    <a:pt x="2" y="23"/>
                  </a:lnTo>
                  <a:lnTo>
                    <a:pt x="3" y="22"/>
                  </a:lnTo>
                  <a:lnTo>
                    <a:pt x="5" y="22"/>
                  </a:lnTo>
                  <a:lnTo>
                    <a:pt x="6" y="19"/>
                  </a:lnTo>
                  <a:lnTo>
                    <a:pt x="10" y="19"/>
                  </a:lnTo>
                  <a:lnTo>
                    <a:pt x="10" y="18"/>
                  </a:lnTo>
                  <a:lnTo>
                    <a:pt x="10" y="16"/>
                  </a:lnTo>
                  <a:lnTo>
                    <a:pt x="10" y="15"/>
                  </a:lnTo>
                  <a:lnTo>
                    <a:pt x="6" y="16"/>
                  </a:lnTo>
                  <a:lnTo>
                    <a:pt x="5" y="15"/>
                  </a:lnTo>
                  <a:lnTo>
                    <a:pt x="3" y="10"/>
                  </a:lnTo>
                  <a:lnTo>
                    <a:pt x="3" y="10"/>
                  </a:lnTo>
                  <a:lnTo>
                    <a:pt x="6" y="3"/>
                  </a:lnTo>
                  <a:lnTo>
                    <a:pt x="8" y="0"/>
                  </a:lnTo>
                  <a:lnTo>
                    <a:pt x="9" y="0"/>
                  </a:lnTo>
                  <a:lnTo>
                    <a:pt x="12" y="6"/>
                  </a:lnTo>
                  <a:lnTo>
                    <a:pt x="13" y="0"/>
                  </a:lnTo>
                  <a:lnTo>
                    <a:pt x="15" y="2"/>
                  </a:lnTo>
                  <a:lnTo>
                    <a:pt x="16" y="6"/>
                  </a:lnTo>
                  <a:lnTo>
                    <a:pt x="18" y="7"/>
                  </a:lnTo>
                  <a:lnTo>
                    <a:pt x="19" y="6"/>
                  </a:lnTo>
                  <a:lnTo>
                    <a:pt x="22" y="9"/>
                  </a:lnTo>
                  <a:lnTo>
                    <a:pt x="23" y="4"/>
                  </a:lnTo>
                  <a:lnTo>
                    <a:pt x="26" y="16"/>
                  </a:lnTo>
                  <a:lnTo>
                    <a:pt x="28" y="18"/>
                  </a:lnTo>
                  <a:lnTo>
                    <a:pt x="31" y="19"/>
                  </a:lnTo>
                  <a:lnTo>
                    <a:pt x="42" y="20"/>
                  </a:lnTo>
                  <a:lnTo>
                    <a:pt x="44" y="19"/>
                  </a:lnTo>
                  <a:lnTo>
                    <a:pt x="53" y="19"/>
                  </a:lnTo>
                  <a:lnTo>
                    <a:pt x="63" y="22"/>
                  </a:lnTo>
                  <a:lnTo>
                    <a:pt x="63" y="23"/>
                  </a:lnTo>
                  <a:lnTo>
                    <a:pt x="60" y="25"/>
                  </a:lnTo>
                  <a:lnTo>
                    <a:pt x="58" y="28"/>
                  </a:lnTo>
                  <a:lnTo>
                    <a:pt x="53" y="35"/>
                  </a:lnTo>
                  <a:lnTo>
                    <a:pt x="47" y="38"/>
                  </a:lnTo>
                  <a:lnTo>
                    <a:pt x="45" y="41"/>
                  </a:lnTo>
                  <a:lnTo>
                    <a:pt x="48" y="49"/>
                  </a:lnTo>
                  <a:lnTo>
                    <a:pt x="51" y="49"/>
                  </a:lnTo>
                  <a:lnTo>
                    <a:pt x="53" y="52"/>
                  </a:lnTo>
                  <a:lnTo>
                    <a:pt x="54" y="54"/>
                  </a:lnTo>
                  <a:lnTo>
                    <a:pt x="57" y="47"/>
                  </a:lnTo>
                  <a:lnTo>
                    <a:pt x="60" y="42"/>
                  </a:lnTo>
                  <a:lnTo>
                    <a:pt x="61" y="42"/>
                  </a:lnTo>
                  <a:lnTo>
                    <a:pt x="68" y="71"/>
                  </a:lnTo>
                  <a:lnTo>
                    <a:pt x="67" y="71"/>
                  </a:lnTo>
                  <a:lnTo>
                    <a:pt x="68" y="80"/>
                  </a:lnTo>
                  <a:lnTo>
                    <a:pt x="66" y="79"/>
                  </a:lnTo>
                  <a:lnTo>
                    <a:pt x="64" y="80"/>
                  </a:lnTo>
                  <a:lnTo>
                    <a:pt x="63" y="8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17" name="Freeform 1295"/>
            <p:cNvSpPr>
              <a:spLocks/>
            </p:cNvSpPr>
            <p:nvPr/>
          </p:nvSpPr>
          <p:spPr bwMode="auto">
            <a:xfrm>
              <a:off x="6127748" y="3091067"/>
              <a:ext cx="40380" cy="92287"/>
            </a:xfrm>
            <a:custGeom>
              <a:avLst/>
              <a:gdLst/>
              <a:ahLst/>
              <a:cxnLst>
                <a:cxn ang="0">
                  <a:pos x="41" y="9"/>
                </a:cxn>
                <a:cxn ang="0">
                  <a:pos x="31" y="0"/>
                </a:cxn>
                <a:cxn ang="0">
                  <a:pos x="29" y="2"/>
                </a:cxn>
                <a:cxn ang="0">
                  <a:pos x="25" y="2"/>
                </a:cxn>
                <a:cxn ang="0">
                  <a:pos x="25" y="3"/>
                </a:cxn>
                <a:cxn ang="0">
                  <a:pos x="26" y="5"/>
                </a:cxn>
                <a:cxn ang="0">
                  <a:pos x="25" y="6"/>
                </a:cxn>
                <a:cxn ang="0">
                  <a:pos x="25" y="6"/>
                </a:cxn>
                <a:cxn ang="0">
                  <a:pos x="25" y="6"/>
                </a:cxn>
                <a:cxn ang="0">
                  <a:pos x="24" y="8"/>
                </a:cxn>
                <a:cxn ang="0">
                  <a:pos x="24" y="9"/>
                </a:cxn>
                <a:cxn ang="0">
                  <a:pos x="24" y="9"/>
                </a:cxn>
                <a:cxn ang="0">
                  <a:pos x="22" y="10"/>
                </a:cxn>
                <a:cxn ang="0">
                  <a:pos x="19" y="13"/>
                </a:cxn>
                <a:cxn ang="0">
                  <a:pos x="18" y="13"/>
                </a:cxn>
                <a:cxn ang="0">
                  <a:pos x="16" y="13"/>
                </a:cxn>
                <a:cxn ang="0">
                  <a:pos x="15" y="13"/>
                </a:cxn>
                <a:cxn ang="0">
                  <a:pos x="12" y="13"/>
                </a:cxn>
                <a:cxn ang="0">
                  <a:pos x="10" y="13"/>
                </a:cxn>
                <a:cxn ang="0">
                  <a:pos x="10" y="13"/>
                </a:cxn>
                <a:cxn ang="0">
                  <a:pos x="8" y="16"/>
                </a:cxn>
                <a:cxn ang="0">
                  <a:pos x="8" y="16"/>
                </a:cxn>
                <a:cxn ang="0">
                  <a:pos x="6" y="16"/>
                </a:cxn>
                <a:cxn ang="0">
                  <a:pos x="6" y="18"/>
                </a:cxn>
                <a:cxn ang="0">
                  <a:pos x="6" y="18"/>
                </a:cxn>
                <a:cxn ang="0">
                  <a:pos x="5" y="19"/>
                </a:cxn>
                <a:cxn ang="0">
                  <a:pos x="5" y="19"/>
                </a:cxn>
                <a:cxn ang="0">
                  <a:pos x="3" y="21"/>
                </a:cxn>
                <a:cxn ang="0">
                  <a:pos x="2" y="23"/>
                </a:cxn>
                <a:cxn ang="0">
                  <a:pos x="2" y="25"/>
                </a:cxn>
                <a:cxn ang="0">
                  <a:pos x="0" y="28"/>
                </a:cxn>
                <a:cxn ang="0">
                  <a:pos x="2" y="29"/>
                </a:cxn>
                <a:cxn ang="0">
                  <a:pos x="2" y="31"/>
                </a:cxn>
                <a:cxn ang="0">
                  <a:pos x="5" y="31"/>
                </a:cxn>
                <a:cxn ang="0">
                  <a:pos x="5" y="31"/>
                </a:cxn>
                <a:cxn ang="0">
                  <a:pos x="6" y="32"/>
                </a:cxn>
                <a:cxn ang="0">
                  <a:pos x="9" y="37"/>
                </a:cxn>
                <a:cxn ang="0">
                  <a:pos x="16" y="86"/>
                </a:cxn>
                <a:cxn ang="0">
                  <a:pos x="18" y="89"/>
                </a:cxn>
                <a:cxn ang="0">
                  <a:pos x="31" y="87"/>
                </a:cxn>
                <a:cxn ang="0">
                  <a:pos x="29" y="86"/>
                </a:cxn>
                <a:cxn ang="0">
                  <a:pos x="31" y="55"/>
                </a:cxn>
                <a:cxn ang="0">
                  <a:pos x="35" y="48"/>
                </a:cxn>
                <a:cxn ang="0">
                  <a:pos x="35" y="41"/>
                </a:cxn>
                <a:cxn ang="0">
                  <a:pos x="41" y="35"/>
                </a:cxn>
                <a:cxn ang="0">
                  <a:pos x="41" y="34"/>
                </a:cxn>
                <a:cxn ang="0">
                  <a:pos x="42" y="34"/>
                </a:cxn>
                <a:cxn ang="0">
                  <a:pos x="42" y="34"/>
                </a:cxn>
                <a:cxn ang="0">
                  <a:pos x="42" y="32"/>
                </a:cxn>
                <a:cxn ang="0">
                  <a:pos x="41" y="31"/>
                </a:cxn>
                <a:cxn ang="0">
                  <a:pos x="41" y="31"/>
                </a:cxn>
                <a:cxn ang="0">
                  <a:pos x="42" y="29"/>
                </a:cxn>
                <a:cxn ang="0">
                  <a:pos x="42" y="28"/>
                </a:cxn>
                <a:cxn ang="0">
                  <a:pos x="44" y="28"/>
                </a:cxn>
                <a:cxn ang="0">
                  <a:pos x="44" y="28"/>
                </a:cxn>
                <a:cxn ang="0">
                  <a:pos x="42" y="18"/>
                </a:cxn>
                <a:cxn ang="0">
                  <a:pos x="41" y="15"/>
                </a:cxn>
                <a:cxn ang="0">
                  <a:pos x="40" y="15"/>
                </a:cxn>
                <a:cxn ang="0">
                  <a:pos x="41" y="12"/>
                </a:cxn>
                <a:cxn ang="0">
                  <a:pos x="41" y="9"/>
                </a:cxn>
              </a:cxnLst>
              <a:rect l="0" t="0" r="r" b="b"/>
              <a:pathLst>
                <a:path w="44" h="89">
                  <a:moveTo>
                    <a:pt x="41" y="9"/>
                  </a:moveTo>
                  <a:lnTo>
                    <a:pt x="31" y="0"/>
                  </a:lnTo>
                  <a:lnTo>
                    <a:pt x="29" y="2"/>
                  </a:lnTo>
                  <a:lnTo>
                    <a:pt x="25" y="2"/>
                  </a:lnTo>
                  <a:lnTo>
                    <a:pt x="25" y="3"/>
                  </a:lnTo>
                  <a:lnTo>
                    <a:pt x="26" y="5"/>
                  </a:lnTo>
                  <a:lnTo>
                    <a:pt x="25" y="6"/>
                  </a:lnTo>
                  <a:lnTo>
                    <a:pt x="25" y="6"/>
                  </a:lnTo>
                  <a:lnTo>
                    <a:pt x="25" y="6"/>
                  </a:lnTo>
                  <a:lnTo>
                    <a:pt x="24" y="8"/>
                  </a:lnTo>
                  <a:lnTo>
                    <a:pt x="24" y="9"/>
                  </a:lnTo>
                  <a:lnTo>
                    <a:pt x="24" y="9"/>
                  </a:lnTo>
                  <a:lnTo>
                    <a:pt x="22" y="10"/>
                  </a:lnTo>
                  <a:lnTo>
                    <a:pt x="19" y="13"/>
                  </a:lnTo>
                  <a:lnTo>
                    <a:pt x="18" y="13"/>
                  </a:lnTo>
                  <a:lnTo>
                    <a:pt x="16" y="13"/>
                  </a:lnTo>
                  <a:lnTo>
                    <a:pt x="15" y="13"/>
                  </a:lnTo>
                  <a:lnTo>
                    <a:pt x="12" y="13"/>
                  </a:lnTo>
                  <a:lnTo>
                    <a:pt x="10" y="13"/>
                  </a:lnTo>
                  <a:lnTo>
                    <a:pt x="10" y="13"/>
                  </a:lnTo>
                  <a:lnTo>
                    <a:pt x="8" y="16"/>
                  </a:lnTo>
                  <a:lnTo>
                    <a:pt x="8" y="16"/>
                  </a:lnTo>
                  <a:lnTo>
                    <a:pt x="6" y="16"/>
                  </a:lnTo>
                  <a:lnTo>
                    <a:pt x="6" y="18"/>
                  </a:lnTo>
                  <a:lnTo>
                    <a:pt x="6" y="18"/>
                  </a:lnTo>
                  <a:lnTo>
                    <a:pt x="5" y="19"/>
                  </a:lnTo>
                  <a:lnTo>
                    <a:pt x="5" y="19"/>
                  </a:lnTo>
                  <a:lnTo>
                    <a:pt x="3" y="21"/>
                  </a:lnTo>
                  <a:lnTo>
                    <a:pt x="2" y="23"/>
                  </a:lnTo>
                  <a:lnTo>
                    <a:pt x="2" y="25"/>
                  </a:lnTo>
                  <a:lnTo>
                    <a:pt x="0" y="28"/>
                  </a:lnTo>
                  <a:lnTo>
                    <a:pt x="2" y="29"/>
                  </a:lnTo>
                  <a:lnTo>
                    <a:pt x="2" y="31"/>
                  </a:lnTo>
                  <a:lnTo>
                    <a:pt x="5" y="31"/>
                  </a:lnTo>
                  <a:lnTo>
                    <a:pt x="5" y="31"/>
                  </a:lnTo>
                  <a:lnTo>
                    <a:pt x="6" y="32"/>
                  </a:lnTo>
                  <a:lnTo>
                    <a:pt x="9" y="37"/>
                  </a:lnTo>
                  <a:lnTo>
                    <a:pt x="16" y="86"/>
                  </a:lnTo>
                  <a:lnTo>
                    <a:pt x="18" y="89"/>
                  </a:lnTo>
                  <a:lnTo>
                    <a:pt x="31" y="87"/>
                  </a:lnTo>
                  <a:lnTo>
                    <a:pt x="29" y="86"/>
                  </a:lnTo>
                  <a:lnTo>
                    <a:pt x="31" y="55"/>
                  </a:lnTo>
                  <a:lnTo>
                    <a:pt x="35" y="48"/>
                  </a:lnTo>
                  <a:lnTo>
                    <a:pt x="35" y="41"/>
                  </a:lnTo>
                  <a:lnTo>
                    <a:pt x="41" y="35"/>
                  </a:lnTo>
                  <a:lnTo>
                    <a:pt x="41" y="34"/>
                  </a:lnTo>
                  <a:lnTo>
                    <a:pt x="42" y="34"/>
                  </a:lnTo>
                  <a:lnTo>
                    <a:pt x="42" y="34"/>
                  </a:lnTo>
                  <a:lnTo>
                    <a:pt x="42" y="32"/>
                  </a:lnTo>
                  <a:lnTo>
                    <a:pt x="41" y="31"/>
                  </a:lnTo>
                  <a:lnTo>
                    <a:pt x="41" y="31"/>
                  </a:lnTo>
                  <a:lnTo>
                    <a:pt x="42" y="29"/>
                  </a:lnTo>
                  <a:lnTo>
                    <a:pt x="42" y="28"/>
                  </a:lnTo>
                  <a:lnTo>
                    <a:pt x="44" y="28"/>
                  </a:lnTo>
                  <a:lnTo>
                    <a:pt x="44" y="28"/>
                  </a:lnTo>
                  <a:lnTo>
                    <a:pt x="42" y="18"/>
                  </a:lnTo>
                  <a:lnTo>
                    <a:pt x="41" y="15"/>
                  </a:lnTo>
                  <a:lnTo>
                    <a:pt x="40" y="15"/>
                  </a:lnTo>
                  <a:lnTo>
                    <a:pt x="41" y="12"/>
                  </a:lnTo>
                  <a:lnTo>
                    <a:pt x="41" y="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18" name="Freeform 1296"/>
            <p:cNvSpPr>
              <a:spLocks/>
            </p:cNvSpPr>
            <p:nvPr/>
          </p:nvSpPr>
          <p:spPr bwMode="auto">
            <a:xfrm>
              <a:off x="6127748" y="3091067"/>
              <a:ext cx="40380" cy="92287"/>
            </a:xfrm>
            <a:custGeom>
              <a:avLst/>
              <a:gdLst/>
              <a:ahLst/>
              <a:cxnLst>
                <a:cxn ang="0">
                  <a:pos x="41" y="9"/>
                </a:cxn>
                <a:cxn ang="0">
                  <a:pos x="31" y="0"/>
                </a:cxn>
                <a:cxn ang="0">
                  <a:pos x="29" y="2"/>
                </a:cxn>
                <a:cxn ang="0">
                  <a:pos x="25" y="2"/>
                </a:cxn>
                <a:cxn ang="0">
                  <a:pos x="25" y="3"/>
                </a:cxn>
                <a:cxn ang="0">
                  <a:pos x="26" y="5"/>
                </a:cxn>
                <a:cxn ang="0">
                  <a:pos x="25" y="6"/>
                </a:cxn>
                <a:cxn ang="0">
                  <a:pos x="25" y="6"/>
                </a:cxn>
                <a:cxn ang="0">
                  <a:pos x="25" y="6"/>
                </a:cxn>
                <a:cxn ang="0">
                  <a:pos x="24" y="8"/>
                </a:cxn>
                <a:cxn ang="0">
                  <a:pos x="24" y="9"/>
                </a:cxn>
                <a:cxn ang="0">
                  <a:pos x="24" y="9"/>
                </a:cxn>
                <a:cxn ang="0">
                  <a:pos x="22" y="10"/>
                </a:cxn>
                <a:cxn ang="0">
                  <a:pos x="19" y="13"/>
                </a:cxn>
                <a:cxn ang="0">
                  <a:pos x="18" y="13"/>
                </a:cxn>
                <a:cxn ang="0">
                  <a:pos x="16" y="13"/>
                </a:cxn>
                <a:cxn ang="0">
                  <a:pos x="15" y="13"/>
                </a:cxn>
                <a:cxn ang="0">
                  <a:pos x="12" y="13"/>
                </a:cxn>
                <a:cxn ang="0">
                  <a:pos x="10" y="13"/>
                </a:cxn>
                <a:cxn ang="0">
                  <a:pos x="10" y="13"/>
                </a:cxn>
                <a:cxn ang="0">
                  <a:pos x="8" y="16"/>
                </a:cxn>
                <a:cxn ang="0">
                  <a:pos x="8" y="16"/>
                </a:cxn>
                <a:cxn ang="0">
                  <a:pos x="6" y="16"/>
                </a:cxn>
                <a:cxn ang="0">
                  <a:pos x="6" y="18"/>
                </a:cxn>
                <a:cxn ang="0">
                  <a:pos x="6" y="18"/>
                </a:cxn>
                <a:cxn ang="0">
                  <a:pos x="5" y="19"/>
                </a:cxn>
                <a:cxn ang="0">
                  <a:pos x="5" y="19"/>
                </a:cxn>
                <a:cxn ang="0">
                  <a:pos x="3" y="21"/>
                </a:cxn>
                <a:cxn ang="0">
                  <a:pos x="2" y="23"/>
                </a:cxn>
                <a:cxn ang="0">
                  <a:pos x="2" y="25"/>
                </a:cxn>
                <a:cxn ang="0">
                  <a:pos x="0" y="28"/>
                </a:cxn>
                <a:cxn ang="0">
                  <a:pos x="2" y="29"/>
                </a:cxn>
                <a:cxn ang="0">
                  <a:pos x="2" y="31"/>
                </a:cxn>
                <a:cxn ang="0">
                  <a:pos x="5" y="31"/>
                </a:cxn>
                <a:cxn ang="0">
                  <a:pos x="5" y="31"/>
                </a:cxn>
                <a:cxn ang="0">
                  <a:pos x="6" y="32"/>
                </a:cxn>
                <a:cxn ang="0">
                  <a:pos x="9" y="37"/>
                </a:cxn>
                <a:cxn ang="0">
                  <a:pos x="16" y="86"/>
                </a:cxn>
                <a:cxn ang="0">
                  <a:pos x="18" y="89"/>
                </a:cxn>
                <a:cxn ang="0">
                  <a:pos x="31" y="87"/>
                </a:cxn>
                <a:cxn ang="0">
                  <a:pos x="29" y="86"/>
                </a:cxn>
                <a:cxn ang="0">
                  <a:pos x="31" y="55"/>
                </a:cxn>
                <a:cxn ang="0">
                  <a:pos x="35" y="48"/>
                </a:cxn>
                <a:cxn ang="0">
                  <a:pos x="35" y="41"/>
                </a:cxn>
                <a:cxn ang="0">
                  <a:pos x="41" y="35"/>
                </a:cxn>
                <a:cxn ang="0">
                  <a:pos x="41" y="34"/>
                </a:cxn>
                <a:cxn ang="0">
                  <a:pos x="42" y="34"/>
                </a:cxn>
                <a:cxn ang="0">
                  <a:pos x="42" y="34"/>
                </a:cxn>
                <a:cxn ang="0">
                  <a:pos x="42" y="32"/>
                </a:cxn>
                <a:cxn ang="0">
                  <a:pos x="41" y="31"/>
                </a:cxn>
                <a:cxn ang="0">
                  <a:pos x="41" y="31"/>
                </a:cxn>
                <a:cxn ang="0">
                  <a:pos x="42" y="29"/>
                </a:cxn>
                <a:cxn ang="0">
                  <a:pos x="42" y="28"/>
                </a:cxn>
                <a:cxn ang="0">
                  <a:pos x="44" y="28"/>
                </a:cxn>
                <a:cxn ang="0">
                  <a:pos x="44" y="28"/>
                </a:cxn>
                <a:cxn ang="0">
                  <a:pos x="42" y="18"/>
                </a:cxn>
                <a:cxn ang="0">
                  <a:pos x="41" y="15"/>
                </a:cxn>
                <a:cxn ang="0">
                  <a:pos x="40" y="15"/>
                </a:cxn>
                <a:cxn ang="0">
                  <a:pos x="41" y="12"/>
                </a:cxn>
                <a:cxn ang="0">
                  <a:pos x="41" y="9"/>
                </a:cxn>
              </a:cxnLst>
              <a:rect l="0" t="0" r="r" b="b"/>
              <a:pathLst>
                <a:path w="44" h="89">
                  <a:moveTo>
                    <a:pt x="41" y="9"/>
                  </a:moveTo>
                  <a:lnTo>
                    <a:pt x="31" y="0"/>
                  </a:lnTo>
                  <a:lnTo>
                    <a:pt x="29" y="2"/>
                  </a:lnTo>
                  <a:lnTo>
                    <a:pt x="25" y="2"/>
                  </a:lnTo>
                  <a:lnTo>
                    <a:pt x="25" y="3"/>
                  </a:lnTo>
                  <a:lnTo>
                    <a:pt x="26" y="5"/>
                  </a:lnTo>
                  <a:lnTo>
                    <a:pt x="25" y="6"/>
                  </a:lnTo>
                  <a:lnTo>
                    <a:pt x="25" y="6"/>
                  </a:lnTo>
                  <a:lnTo>
                    <a:pt x="25" y="6"/>
                  </a:lnTo>
                  <a:lnTo>
                    <a:pt x="24" y="8"/>
                  </a:lnTo>
                  <a:lnTo>
                    <a:pt x="24" y="9"/>
                  </a:lnTo>
                  <a:lnTo>
                    <a:pt x="24" y="9"/>
                  </a:lnTo>
                  <a:lnTo>
                    <a:pt x="22" y="10"/>
                  </a:lnTo>
                  <a:lnTo>
                    <a:pt x="19" y="13"/>
                  </a:lnTo>
                  <a:lnTo>
                    <a:pt x="18" y="13"/>
                  </a:lnTo>
                  <a:lnTo>
                    <a:pt x="16" y="13"/>
                  </a:lnTo>
                  <a:lnTo>
                    <a:pt x="15" y="13"/>
                  </a:lnTo>
                  <a:lnTo>
                    <a:pt x="12" y="13"/>
                  </a:lnTo>
                  <a:lnTo>
                    <a:pt x="10" y="13"/>
                  </a:lnTo>
                  <a:lnTo>
                    <a:pt x="10" y="13"/>
                  </a:lnTo>
                  <a:lnTo>
                    <a:pt x="8" y="16"/>
                  </a:lnTo>
                  <a:lnTo>
                    <a:pt x="8" y="16"/>
                  </a:lnTo>
                  <a:lnTo>
                    <a:pt x="6" y="16"/>
                  </a:lnTo>
                  <a:lnTo>
                    <a:pt x="6" y="18"/>
                  </a:lnTo>
                  <a:lnTo>
                    <a:pt x="6" y="18"/>
                  </a:lnTo>
                  <a:lnTo>
                    <a:pt x="5" y="19"/>
                  </a:lnTo>
                  <a:lnTo>
                    <a:pt x="5" y="19"/>
                  </a:lnTo>
                  <a:lnTo>
                    <a:pt x="3" y="21"/>
                  </a:lnTo>
                  <a:lnTo>
                    <a:pt x="2" y="23"/>
                  </a:lnTo>
                  <a:lnTo>
                    <a:pt x="2" y="25"/>
                  </a:lnTo>
                  <a:lnTo>
                    <a:pt x="0" y="28"/>
                  </a:lnTo>
                  <a:lnTo>
                    <a:pt x="2" y="29"/>
                  </a:lnTo>
                  <a:lnTo>
                    <a:pt x="2" y="31"/>
                  </a:lnTo>
                  <a:lnTo>
                    <a:pt x="5" y="31"/>
                  </a:lnTo>
                  <a:lnTo>
                    <a:pt x="5" y="31"/>
                  </a:lnTo>
                  <a:lnTo>
                    <a:pt x="6" y="32"/>
                  </a:lnTo>
                  <a:lnTo>
                    <a:pt x="9" y="37"/>
                  </a:lnTo>
                  <a:lnTo>
                    <a:pt x="16" y="86"/>
                  </a:lnTo>
                  <a:lnTo>
                    <a:pt x="18" y="89"/>
                  </a:lnTo>
                  <a:lnTo>
                    <a:pt x="31" y="87"/>
                  </a:lnTo>
                  <a:lnTo>
                    <a:pt x="29" y="86"/>
                  </a:lnTo>
                  <a:lnTo>
                    <a:pt x="31" y="55"/>
                  </a:lnTo>
                  <a:lnTo>
                    <a:pt x="35" y="48"/>
                  </a:lnTo>
                  <a:lnTo>
                    <a:pt x="35" y="41"/>
                  </a:lnTo>
                  <a:lnTo>
                    <a:pt x="41" y="35"/>
                  </a:lnTo>
                  <a:lnTo>
                    <a:pt x="41" y="34"/>
                  </a:lnTo>
                  <a:lnTo>
                    <a:pt x="42" y="34"/>
                  </a:lnTo>
                  <a:lnTo>
                    <a:pt x="42" y="34"/>
                  </a:lnTo>
                  <a:lnTo>
                    <a:pt x="42" y="32"/>
                  </a:lnTo>
                  <a:lnTo>
                    <a:pt x="41" y="31"/>
                  </a:lnTo>
                  <a:lnTo>
                    <a:pt x="41" y="31"/>
                  </a:lnTo>
                  <a:lnTo>
                    <a:pt x="42" y="29"/>
                  </a:lnTo>
                  <a:lnTo>
                    <a:pt x="42" y="28"/>
                  </a:lnTo>
                  <a:lnTo>
                    <a:pt x="44" y="28"/>
                  </a:lnTo>
                  <a:lnTo>
                    <a:pt x="44" y="28"/>
                  </a:lnTo>
                  <a:lnTo>
                    <a:pt x="42" y="18"/>
                  </a:lnTo>
                  <a:lnTo>
                    <a:pt x="41" y="15"/>
                  </a:lnTo>
                  <a:lnTo>
                    <a:pt x="40" y="15"/>
                  </a:lnTo>
                  <a:lnTo>
                    <a:pt x="41" y="12"/>
                  </a:lnTo>
                  <a:lnTo>
                    <a:pt x="41" y="9"/>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19" name="Freeform 1297"/>
            <p:cNvSpPr>
              <a:spLocks/>
            </p:cNvSpPr>
            <p:nvPr/>
          </p:nvSpPr>
          <p:spPr bwMode="auto">
            <a:xfrm>
              <a:off x="6233083" y="3242173"/>
              <a:ext cx="71980" cy="91272"/>
            </a:xfrm>
            <a:custGeom>
              <a:avLst/>
              <a:gdLst/>
              <a:ahLst/>
              <a:cxnLst>
                <a:cxn ang="0">
                  <a:pos x="33" y="87"/>
                </a:cxn>
                <a:cxn ang="0">
                  <a:pos x="32" y="84"/>
                </a:cxn>
                <a:cxn ang="0">
                  <a:pos x="7" y="58"/>
                </a:cxn>
                <a:cxn ang="0">
                  <a:pos x="0" y="42"/>
                </a:cxn>
                <a:cxn ang="0">
                  <a:pos x="3" y="40"/>
                </a:cxn>
                <a:cxn ang="0">
                  <a:pos x="4" y="39"/>
                </a:cxn>
                <a:cxn ang="0">
                  <a:pos x="6" y="37"/>
                </a:cxn>
                <a:cxn ang="0">
                  <a:pos x="7" y="27"/>
                </a:cxn>
                <a:cxn ang="0">
                  <a:pos x="9" y="27"/>
                </a:cxn>
                <a:cxn ang="0">
                  <a:pos x="10" y="29"/>
                </a:cxn>
                <a:cxn ang="0">
                  <a:pos x="12" y="30"/>
                </a:cxn>
                <a:cxn ang="0">
                  <a:pos x="15" y="30"/>
                </a:cxn>
                <a:cxn ang="0">
                  <a:pos x="16" y="29"/>
                </a:cxn>
                <a:cxn ang="0">
                  <a:pos x="15" y="29"/>
                </a:cxn>
                <a:cxn ang="0">
                  <a:pos x="12" y="29"/>
                </a:cxn>
                <a:cxn ang="0">
                  <a:pos x="9" y="26"/>
                </a:cxn>
                <a:cxn ang="0">
                  <a:pos x="7" y="24"/>
                </a:cxn>
                <a:cxn ang="0">
                  <a:pos x="9" y="23"/>
                </a:cxn>
                <a:cxn ang="0">
                  <a:pos x="10" y="23"/>
                </a:cxn>
                <a:cxn ang="0">
                  <a:pos x="12" y="21"/>
                </a:cxn>
                <a:cxn ang="0">
                  <a:pos x="12" y="17"/>
                </a:cxn>
                <a:cxn ang="0">
                  <a:pos x="35" y="16"/>
                </a:cxn>
                <a:cxn ang="0">
                  <a:pos x="35" y="14"/>
                </a:cxn>
                <a:cxn ang="0">
                  <a:pos x="33" y="2"/>
                </a:cxn>
                <a:cxn ang="0">
                  <a:pos x="35" y="0"/>
                </a:cxn>
                <a:cxn ang="0">
                  <a:pos x="61" y="0"/>
                </a:cxn>
                <a:cxn ang="0">
                  <a:pos x="64" y="0"/>
                </a:cxn>
                <a:cxn ang="0">
                  <a:pos x="62" y="4"/>
                </a:cxn>
                <a:cxn ang="0">
                  <a:pos x="62" y="14"/>
                </a:cxn>
                <a:cxn ang="0">
                  <a:pos x="64" y="14"/>
                </a:cxn>
                <a:cxn ang="0">
                  <a:pos x="68" y="8"/>
                </a:cxn>
                <a:cxn ang="0">
                  <a:pos x="76" y="11"/>
                </a:cxn>
                <a:cxn ang="0">
                  <a:pos x="78" y="14"/>
                </a:cxn>
                <a:cxn ang="0">
                  <a:pos x="78" y="20"/>
                </a:cxn>
                <a:cxn ang="0">
                  <a:pos x="74" y="27"/>
                </a:cxn>
                <a:cxn ang="0">
                  <a:pos x="74" y="32"/>
                </a:cxn>
                <a:cxn ang="0">
                  <a:pos x="78" y="42"/>
                </a:cxn>
                <a:cxn ang="0">
                  <a:pos x="74" y="63"/>
                </a:cxn>
                <a:cxn ang="0">
                  <a:pos x="71" y="65"/>
                </a:cxn>
                <a:cxn ang="0">
                  <a:pos x="65" y="61"/>
                </a:cxn>
                <a:cxn ang="0">
                  <a:pos x="60" y="62"/>
                </a:cxn>
                <a:cxn ang="0">
                  <a:pos x="57" y="59"/>
                </a:cxn>
                <a:cxn ang="0">
                  <a:pos x="55" y="58"/>
                </a:cxn>
                <a:cxn ang="0">
                  <a:pos x="49" y="62"/>
                </a:cxn>
                <a:cxn ang="0">
                  <a:pos x="41" y="66"/>
                </a:cxn>
                <a:cxn ang="0">
                  <a:pos x="39" y="69"/>
                </a:cxn>
                <a:cxn ang="0">
                  <a:pos x="39" y="72"/>
                </a:cxn>
                <a:cxn ang="0">
                  <a:pos x="42" y="79"/>
                </a:cxn>
                <a:cxn ang="0">
                  <a:pos x="41" y="81"/>
                </a:cxn>
                <a:cxn ang="0">
                  <a:pos x="38" y="81"/>
                </a:cxn>
                <a:cxn ang="0">
                  <a:pos x="35" y="81"/>
                </a:cxn>
                <a:cxn ang="0">
                  <a:pos x="33" y="84"/>
                </a:cxn>
                <a:cxn ang="0">
                  <a:pos x="33" y="87"/>
                </a:cxn>
              </a:cxnLst>
              <a:rect l="0" t="0" r="r" b="b"/>
              <a:pathLst>
                <a:path w="78" h="87">
                  <a:moveTo>
                    <a:pt x="33" y="87"/>
                  </a:moveTo>
                  <a:lnTo>
                    <a:pt x="32" y="84"/>
                  </a:lnTo>
                  <a:lnTo>
                    <a:pt x="7" y="58"/>
                  </a:lnTo>
                  <a:lnTo>
                    <a:pt x="0" y="42"/>
                  </a:lnTo>
                  <a:lnTo>
                    <a:pt x="3" y="40"/>
                  </a:lnTo>
                  <a:lnTo>
                    <a:pt x="4" y="39"/>
                  </a:lnTo>
                  <a:lnTo>
                    <a:pt x="6" y="37"/>
                  </a:lnTo>
                  <a:lnTo>
                    <a:pt x="7" y="27"/>
                  </a:lnTo>
                  <a:lnTo>
                    <a:pt x="9" y="27"/>
                  </a:lnTo>
                  <a:lnTo>
                    <a:pt x="10" y="29"/>
                  </a:lnTo>
                  <a:lnTo>
                    <a:pt x="12" y="30"/>
                  </a:lnTo>
                  <a:lnTo>
                    <a:pt x="15" y="30"/>
                  </a:lnTo>
                  <a:lnTo>
                    <a:pt x="16" y="29"/>
                  </a:lnTo>
                  <a:lnTo>
                    <a:pt x="15" y="29"/>
                  </a:lnTo>
                  <a:lnTo>
                    <a:pt x="12" y="29"/>
                  </a:lnTo>
                  <a:lnTo>
                    <a:pt x="9" y="26"/>
                  </a:lnTo>
                  <a:lnTo>
                    <a:pt x="7" y="24"/>
                  </a:lnTo>
                  <a:lnTo>
                    <a:pt x="9" y="23"/>
                  </a:lnTo>
                  <a:lnTo>
                    <a:pt x="10" y="23"/>
                  </a:lnTo>
                  <a:lnTo>
                    <a:pt x="12" y="21"/>
                  </a:lnTo>
                  <a:lnTo>
                    <a:pt x="12" y="17"/>
                  </a:lnTo>
                  <a:lnTo>
                    <a:pt x="35" y="16"/>
                  </a:lnTo>
                  <a:lnTo>
                    <a:pt x="35" y="14"/>
                  </a:lnTo>
                  <a:lnTo>
                    <a:pt x="33" y="2"/>
                  </a:lnTo>
                  <a:lnTo>
                    <a:pt x="35" y="0"/>
                  </a:lnTo>
                  <a:lnTo>
                    <a:pt x="61" y="0"/>
                  </a:lnTo>
                  <a:lnTo>
                    <a:pt x="64" y="0"/>
                  </a:lnTo>
                  <a:lnTo>
                    <a:pt x="62" y="4"/>
                  </a:lnTo>
                  <a:lnTo>
                    <a:pt x="62" y="14"/>
                  </a:lnTo>
                  <a:lnTo>
                    <a:pt x="64" y="14"/>
                  </a:lnTo>
                  <a:lnTo>
                    <a:pt x="68" y="8"/>
                  </a:lnTo>
                  <a:lnTo>
                    <a:pt x="76" y="11"/>
                  </a:lnTo>
                  <a:lnTo>
                    <a:pt x="78" y="14"/>
                  </a:lnTo>
                  <a:lnTo>
                    <a:pt x="78" y="20"/>
                  </a:lnTo>
                  <a:lnTo>
                    <a:pt x="74" y="27"/>
                  </a:lnTo>
                  <a:lnTo>
                    <a:pt x="74" y="32"/>
                  </a:lnTo>
                  <a:lnTo>
                    <a:pt x="78" y="42"/>
                  </a:lnTo>
                  <a:lnTo>
                    <a:pt x="74" y="63"/>
                  </a:lnTo>
                  <a:lnTo>
                    <a:pt x="71" y="65"/>
                  </a:lnTo>
                  <a:lnTo>
                    <a:pt x="65" y="61"/>
                  </a:lnTo>
                  <a:lnTo>
                    <a:pt x="60" y="62"/>
                  </a:lnTo>
                  <a:lnTo>
                    <a:pt x="57" y="59"/>
                  </a:lnTo>
                  <a:lnTo>
                    <a:pt x="55" y="58"/>
                  </a:lnTo>
                  <a:lnTo>
                    <a:pt x="49" y="62"/>
                  </a:lnTo>
                  <a:lnTo>
                    <a:pt x="41" y="66"/>
                  </a:lnTo>
                  <a:lnTo>
                    <a:pt x="39" y="69"/>
                  </a:lnTo>
                  <a:lnTo>
                    <a:pt x="39" y="72"/>
                  </a:lnTo>
                  <a:lnTo>
                    <a:pt x="42" y="79"/>
                  </a:lnTo>
                  <a:lnTo>
                    <a:pt x="41" y="81"/>
                  </a:lnTo>
                  <a:lnTo>
                    <a:pt x="38" y="81"/>
                  </a:lnTo>
                  <a:lnTo>
                    <a:pt x="35" y="81"/>
                  </a:lnTo>
                  <a:lnTo>
                    <a:pt x="33" y="84"/>
                  </a:lnTo>
                  <a:lnTo>
                    <a:pt x="33" y="87"/>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20" name="Freeform 1299"/>
            <p:cNvSpPr>
              <a:spLocks/>
            </p:cNvSpPr>
            <p:nvPr/>
          </p:nvSpPr>
          <p:spPr bwMode="auto">
            <a:xfrm>
              <a:off x="6550847" y="3054558"/>
              <a:ext cx="194871" cy="168346"/>
            </a:xfrm>
            <a:custGeom>
              <a:avLst/>
              <a:gdLst/>
              <a:ahLst/>
              <a:cxnLst>
                <a:cxn ang="0">
                  <a:pos x="45" y="27"/>
                </a:cxn>
                <a:cxn ang="0">
                  <a:pos x="40" y="29"/>
                </a:cxn>
                <a:cxn ang="0">
                  <a:pos x="26" y="56"/>
                </a:cxn>
                <a:cxn ang="0">
                  <a:pos x="21" y="57"/>
                </a:cxn>
                <a:cxn ang="0">
                  <a:pos x="17" y="63"/>
                </a:cxn>
                <a:cxn ang="0">
                  <a:pos x="16" y="89"/>
                </a:cxn>
                <a:cxn ang="0">
                  <a:pos x="10" y="92"/>
                </a:cxn>
                <a:cxn ang="0">
                  <a:pos x="2" y="92"/>
                </a:cxn>
                <a:cxn ang="0">
                  <a:pos x="1" y="98"/>
                </a:cxn>
                <a:cxn ang="0">
                  <a:pos x="1" y="101"/>
                </a:cxn>
                <a:cxn ang="0">
                  <a:pos x="4" y="102"/>
                </a:cxn>
                <a:cxn ang="0">
                  <a:pos x="10" y="104"/>
                </a:cxn>
                <a:cxn ang="0">
                  <a:pos x="14" y="106"/>
                </a:cxn>
                <a:cxn ang="0">
                  <a:pos x="17" y="114"/>
                </a:cxn>
                <a:cxn ang="0">
                  <a:pos x="30" y="133"/>
                </a:cxn>
                <a:cxn ang="0">
                  <a:pos x="37" y="136"/>
                </a:cxn>
                <a:cxn ang="0">
                  <a:pos x="40" y="147"/>
                </a:cxn>
                <a:cxn ang="0">
                  <a:pos x="50" y="147"/>
                </a:cxn>
                <a:cxn ang="0">
                  <a:pos x="68" y="159"/>
                </a:cxn>
                <a:cxn ang="0">
                  <a:pos x="95" y="159"/>
                </a:cxn>
                <a:cxn ang="0">
                  <a:pos x="110" y="153"/>
                </a:cxn>
                <a:cxn ang="0">
                  <a:pos x="126" y="156"/>
                </a:cxn>
                <a:cxn ang="0">
                  <a:pos x="139" y="150"/>
                </a:cxn>
                <a:cxn ang="0">
                  <a:pos x="153" y="141"/>
                </a:cxn>
                <a:cxn ang="0">
                  <a:pos x="213" y="99"/>
                </a:cxn>
                <a:cxn ang="0">
                  <a:pos x="200" y="98"/>
                </a:cxn>
                <a:cxn ang="0">
                  <a:pos x="155" y="80"/>
                </a:cxn>
                <a:cxn ang="0">
                  <a:pos x="148" y="74"/>
                </a:cxn>
                <a:cxn ang="0">
                  <a:pos x="145" y="72"/>
                </a:cxn>
                <a:cxn ang="0">
                  <a:pos x="142" y="67"/>
                </a:cxn>
                <a:cxn ang="0">
                  <a:pos x="139" y="60"/>
                </a:cxn>
                <a:cxn ang="0">
                  <a:pos x="140" y="57"/>
                </a:cxn>
                <a:cxn ang="0">
                  <a:pos x="138" y="54"/>
                </a:cxn>
                <a:cxn ang="0">
                  <a:pos x="133" y="56"/>
                </a:cxn>
                <a:cxn ang="0">
                  <a:pos x="133" y="57"/>
                </a:cxn>
                <a:cxn ang="0">
                  <a:pos x="130" y="57"/>
                </a:cxn>
                <a:cxn ang="0">
                  <a:pos x="124" y="54"/>
                </a:cxn>
                <a:cxn ang="0">
                  <a:pos x="129" y="45"/>
                </a:cxn>
                <a:cxn ang="0">
                  <a:pos x="132" y="35"/>
                </a:cxn>
                <a:cxn ang="0">
                  <a:pos x="126" y="29"/>
                </a:cxn>
                <a:cxn ang="0">
                  <a:pos x="108" y="11"/>
                </a:cxn>
                <a:cxn ang="0">
                  <a:pos x="100" y="6"/>
                </a:cxn>
                <a:cxn ang="0">
                  <a:pos x="97" y="6"/>
                </a:cxn>
                <a:cxn ang="0">
                  <a:pos x="95" y="5"/>
                </a:cxn>
                <a:cxn ang="0">
                  <a:pos x="91" y="5"/>
                </a:cxn>
                <a:cxn ang="0">
                  <a:pos x="90" y="5"/>
                </a:cxn>
                <a:cxn ang="0">
                  <a:pos x="87" y="6"/>
                </a:cxn>
                <a:cxn ang="0">
                  <a:pos x="85" y="5"/>
                </a:cxn>
                <a:cxn ang="0">
                  <a:pos x="84" y="3"/>
                </a:cxn>
                <a:cxn ang="0">
                  <a:pos x="82" y="5"/>
                </a:cxn>
                <a:cxn ang="0">
                  <a:pos x="77" y="6"/>
                </a:cxn>
                <a:cxn ang="0">
                  <a:pos x="72" y="3"/>
                </a:cxn>
                <a:cxn ang="0">
                  <a:pos x="72" y="2"/>
                </a:cxn>
                <a:cxn ang="0">
                  <a:pos x="68" y="0"/>
                </a:cxn>
                <a:cxn ang="0">
                  <a:pos x="61" y="9"/>
                </a:cxn>
                <a:cxn ang="0">
                  <a:pos x="59" y="6"/>
                </a:cxn>
                <a:cxn ang="0">
                  <a:pos x="56" y="8"/>
                </a:cxn>
                <a:cxn ang="0">
                  <a:pos x="55" y="9"/>
                </a:cxn>
                <a:cxn ang="0">
                  <a:pos x="53" y="8"/>
                </a:cxn>
                <a:cxn ang="0">
                  <a:pos x="49" y="8"/>
                </a:cxn>
              </a:cxnLst>
              <a:rect l="0" t="0" r="r" b="b"/>
              <a:pathLst>
                <a:path w="213" h="162">
                  <a:moveTo>
                    <a:pt x="49" y="8"/>
                  </a:moveTo>
                  <a:lnTo>
                    <a:pt x="45" y="27"/>
                  </a:lnTo>
                  <a:lnTo>
                    <a:pt x="43" y="29"/>
                  </a:lnTo>
                  <a:lnTo>
                    <a:pt x="40" y="29"/>
                  </a:lnTo>
                  <a:lnTo>
                    <a:pt x="29" y="45"/>
                  </a:lnTo>
                  <a:lnTo>
                    <a:pt x="26" y="56"/>
                  </a:lnTo>
                  <a:lnTo>
                    <a:pt x="26" y="57"/>
                  </a:lnTo>
                  <a:lnTo>
                    <a:pt x="21" y="57"/>
                  </a:lnTo>
                  <a:lnTo>
                    <a:pt x="20" y="58"/>
                  </a:lnTo>
                  <a:lnTo>
                    <a:pt x="17" y="63"/>
                  </a:lnTo>
                  <a:lnTo>
                    <a:pt x="17" y="63"/>
                  </a:lnTo>
                  <a:lnTo>
                    <a:pt x="16" y="89"/>
                  </a:lnTo>
                  <a:lnTo>
                    <a:pt x="13" y="92"/>
                  </a:lnTo>
                  <a:lnTo>
                    <a:pt x="10" y="92"/>
                  </a:lnTo>
                  <a:lnTo>
                    <a:pt x="4" y="92"/>
                  </a:lnTo>
                  <a:lnTo>
                    <a:pt x="2" y="92"/>
                  </a:lnTo>
                  <a:lnTo>
                    <a:pt x="2" y="96"/>
                  </a:lnTo>
                  <a:lnTo>
                    <a:pt x="1" y="98"/>
                  </a:lnTo>
                  <a:lnTo>
                    <a:pt x="0" y="99"/>
                  </a:lnTo>
                  <a:lnTo>
                    <a:pt x="1" y="101"/>
                  </a:lnTo>
                  <a:lnTo>
                    <a:pt x="2" y="101"/>
                  </a:lnTo>
                  <a:lnTo>
                    <a:pt x="4" y="102"/>
                  </a:lnTo>
                  <a:lnTo>
                    <a:pt x="7" y="102"/>
                  </a:lnTo>
                  <a:lnTo>
                    <a:pt x="10" y="104"/>
                  </a:lnTo>
                  <a:lnTo>
                    <a:pt x="11" y="105"/>
                  </a:lnTo>
                  <a:lnTo>
                    <a:pt x="14" y="106"/>
                  </a:lnTo>
                  <a:lnTo>
                    <a:pt x="14" y="109"/>
                  </a:lnTo>
                  <a:lnTo>
                    <a:pt x="17" y="114"/>
                  </a:lnTo>
                  <a:lnTo>
                    <a:pt x="23" y="118"/>
                  </a:lnTo>
                  <a:lnTo>
                    <a:pt x="30" y="133"/>
                  </a:lnTo>
                  <a:lnTo>
                    <a:pt x="32" y="134"/>
                  </a:lnTo>
                  <a:lnTo>
                    <a:pt x="37" y="136"/>
                  </a:lnTo>
                  <a:lnTo>
                    <a:pt x="40" y="137"/>
                  </a:lnTo>
                  <a:lnTo>
                    <a:pt x="40" y="147"/>
                  </a:lnTo>
                  <a:lnTo>
                    <a:pt x="43" y="147"/>
                  </a:lnTo>
                  <a:lnTo>
                    <a:pt x="50" y="147"/>
                  </a:lnTo>
                  <a:lnTo>
                    <a:pt x="65" y="156"/>
                  </a:lnTo>
                  <a:lnTo>
                    <a:pt x="68" y="159"/>
                  </a:lnTo>
                  <a:lnTo>
                    <a:pt x="90" y="162"/>
                  </a:lnTo>
                  <a:lnTo>
                    <a:pt x="95" y="159"/>
                  </a:lnTo>
                  <a:lnTo>
                    <a:pt x="100" y="154"/>
                  </a:lnTo>
                  <a:lnTo>
                    <a:pt x="110" y="153"/>
                  </a:lnTo>
                  <a:lnTo>
                    <a:pt x="119" y="156"/>
                  </a:lnTo>
                  <a:lnTo>
                    <a:pt x="126" y="156"/>
                  </a:lnTo>
                  <a:lnTo>
                    <a:pt x="126" y="156"/>
                  </a:lnTo>
                  <a:lnTo>
                    <a:pt x="139" y="150"/>
                  </a:lnTo>
                  <a:lnTo>
                    <a:pt x="146" y="144"/>
                  </a:lnTo>
                  <a:lnTo>
                    <a:pt x="153" y="141"/>
                  </a:lnTo>
                  <a:lnTo>
                    <a:pt x="171" y="141"/>
                  </a:lnTo>
                  <a:lnTo>
                    <a:pt x="213" y="99"/>
                  </a:lnTo>
                  <a:lnTo>
                    <a:pt x="213" y="98"/>
                  </a:lnTo>
                  <a:lnTo>
                    <a:pt x="200" y="98"/>
                  </a:lnTo>
                  <a:lnTo>
                    <a:pt x="156" y="83"/>
                  </a:lnTo>
                  <a:lnTo>
                    <a:pt x="155" y="80"/>
                  </a:lnTo>
                  <a:lnTo>
                    <a:pt x="149" y="77"/>
                  </a:lnTo>
                  <a:lnTo>
                    <a:pt x="148" y="74"/>
                  </a:lnTo>
                  <a:lnTo>
                    <a:pt x="146" y="73"/>
                  </a:lnTo>
                  <a:lnTo>
                    <a:pt x="145" y="72"/>
                  </a:lnTo>
                  <a:lnTo>
                    <a:pt x="142" y="69"/>
                  </a:lnTo>
                  <a:lnTo>
                    <a:pt x="142" y="67"/>
                  </a:lnTo>
                  <a:lnTo>
                    <a:pt x="140" y="66"/>
                  </a:lnTo>
                  <a:lnTo>
                    <a:pt x="139" y="60"/>
                  </a:lnTo>
                  <a:lnTo>
                    <a:pt x="139" y="58"/>
                  </a:lnTo>
                  <a:lnTo>
                    <a:pt x="140" y="57"/>
                  </a:lnTo>
                  <a:lnTo>
                    <a:pt x="140" y="57"/>
                  </a:lnTo>
                  <a:lnTo>
                    <a:pt x="138" y="54"/>
                  </a:lnTo>
                  <a:lnTo>
                    <a:pt x="136" y="54"/>
                  </a:lnTo>
                  <a:lnTo>
                    <a:pt x="133" y="56"/>
                  </a:lnTo>
                  <a:lnTo>
                    <a:pt x="133" y="57"/>
                  </a:lnTo>
                  <a:lnTo>
                    <a:pt x="133" y="57"/>
                  </a:lnTo>
                  <a:lnTo>
                    <a:pt x="132" y="56"/>
                  </a:lnTo>
                  <a:lnTo>
                    <a:pt x="130" y="57"/>
                  </a:lnTo>
                  <a:lnTo>
                    <a:pt x="126" y="57"/>
                  </a:lnTo>
                  <a:lnTo>
                    <a:pt x="124" y="54"/>
                  </a:lnTo>
                  <a:lnTo>
                    <a:pt x="124" y="53"/>
                  </a:lnTo>
                  <a:lnTo>
                    <a:pt x="129" y="45"/>
                  </a:lnTo>
                  <a:lnTo>
                    <a:pt x="130" y="37"/>
                  </a:lnTo>
                  <a:lnTo>
                    <a:pt x="132" y="35"/>
                  </a:lnTo>
                  <a:lnTo>
                    <a:pt x="129" y="32"/>
                  </a:lnTo>
                  <a:lnTo>
                    <a:pt x="126" y="29"/>
                  </a:lnTo>
                  <a:lnTo>
                    <a:pt x="123" y="25"/>
                  </a:lnTo>
                  <a:lnTo>
                    <a:pt x="108" y="11"/>
                  </a:lnTo>
                  <a:lnTo>
                    <a:pt x="106" y="11"/>
                  </a:lnTo>
                  <a:lnTo>
                    <a:pt x="100" y="6"/>
                  </a:lnTo>
                  <a:lnTo>
                    <a:pt x="97" y="6"/>
                  </a:lnTo>
                  <a:lnTo>
                    <a:pt x="97" y="6"/>
                  </a:lnTo>
                  <a:lnTo>
                    <a:pt x="95" y="6"/>
                  </a:lnTo>
                  <a:lnTo>
                    <a:pt x="95" y="5"/>
                  </a:lnTo>
                  <a:lnTo>
                    <a:pt x="93" y="5"/>
                  </a:lnTo>
                  <a:lnTo>
                    <a:pt x="91" y="5"/>
                  </a:lnTo>
                  <a:lnTo>
                    <a:pt x="91" y="5"/>
                  </a:lnTo>
                  <a:lnTo>
                    <a:pt x="90" y="5"/>
                  </a:lnTo>
                  <a:lnTo>
                    <a:pt x="88" y="6"/>
                  </a:lnTo>
                  <a:lnTo>
                    <a:pt x="87" y="6"/>
                  </a:lnTo>
                  <a:lnTo>
                    <a:pt x="87" y="6"/>
                  </a:lnTo>
                  <a:lnTo>
                    <a:pt x="85" y="5"/>
                  </a:lnTo>
                  <a:lnTo>
                    <a:pt x="84" y="3"/>
                  </a:lnTo>
                  <a:lnTo>
                    <a:pt x="84" y="3"/>
                  </a:lnTo>
                  <a:lnTo>
                    <a:pt x="84" y="5"/>
                  </a:lnTo>
                  <a:lnTo>
                    <a:pt x="82" y="5"/>
                  </a:lnTo>
                  <a:lnTo>
                    <a:pt x="78" y="6"/>
                  </a:lnTo>
                  <a:lnTo>
                    <a:pt x="77" y="6"/>
                  </a:lnTo>
                  <a:lnTo>
                    <a:pt x="75" y="6"/>
                  </a:lnTo>
                  <a:lnTo>
                    <a:pt x="72" y="3"/>
                  </a:lnTo>
                  <a:lnTo>
                    <a:pt x="72" y="3"/>
                  </a:lnTo>
                  <a:lnTo>
                    <a:pt x="72" y="2"/>
                  </a:lnTo>
                  <a:lnTo>
                    <a:pt x="71" y="2"/>
                  </a:lnTo>
                  <a:lnTo>
                    <a:pt x="68" y="0"/>
                  </a:lnTo>
                  <a:lnTo>
                    <a:pt x="62" y="11"/>
                  </a:lnTo>
                  <a:lnTo>
                    <a:pt x="61" y="9"/>
                  </a:lnTo>
                  <a:lnTo>
                    <a:pt x="61" y="8"/>
                  </a:lnTo>
                  <a:lnTo>
                    <a:pt x="59" y="6"/>
                  </a:lnTo>
                  <a:lnTo>
                    <a:pt x="58" y="6"/>
                  </a:lnTo>
                  <a:lnTo>
                    <a:pt x="56" y="8"/>
                  </a:lnTo>
                  <a:lnTo>
                    <a:pt x="56" y="8"/>
                  </a:lnTo>
                  <a:lnTo>
                    <a:pt x="55" y="9"/>
                  </a:lnTo>
                  <a:lnTo>
                    <a:pt x="55" y="9"/>
                  </a:lnTo>
                  <a:lnTo>
                    <a:pt x="53" y="8"/>
                  </a:lnTo>
                  <a:lnTo>
                    <a:pt x="49" y="8"/>
                  </a:lnTo>
                  <a:lnTo>
                    <a:pt x="49" y="8"/>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21" name="Freeform 1300"/>
            <p:cNvSpPr>
              <a:spLocks/>
            </p:cNvSpPr>
            <p:nvPr/>
          </p:nvSpPr>
          <p:spPr bwMode="auto">
            <a:xfrm>
              <a:off x="6550847" y="3054558"/>
              <a:ext cx="194871" cy="168346"/>
            </a:xfrm>
            <a:custGeom>
              <a:avLst/>
              <a:gdLst/>
              <a:ahLst/>
              <a:cxnLst>
                <a:cxn ang="0">
                  <a:pos x="45" y="27"/>
                </a:cxn>
                <a:cxn ang="0">
                  <a:pos x="40" y="29"/>
                </a:cxn>
                <a:cxn ang="0">
                  <a:pos x="26" y="56"/>
                </a:cxn>
                <a:cxn ang="0">
                  <a:pos x="21" y="57"/>
                </a:cxn>
                <a:cxn ang="0">
                  <a:pos x="17" y="63"/>
                </a:cxn>
                <a:cxn ang="0">
                  <a:pos x="16" y="89"/>
                </a:cxn>
                <a:cxn ang="0">
                  <a:pos x="10" y="92"/>
                </a:cxn>
                <a:cxn ang="0">
                  <a:pos x="2" y="92"/>
                </a:cxn>
                <a:cxn ang="0">
                  <a:pos x="1" y="98"/>
                </a:cxn>
                <a:cxn ang="0">
                  <a:pos x="1" y="101"/>
                </a:cxn>
                <a:cxn ang="0">
                  <a:pos x="4" y="102"/>
                </a:cxn>
                <a:cxn ang="0">
                  <a:pos x="10" y="104"/>
                </a:cxn>
                <a:cxn ang="0">
                  <a:pos x="14" y="106"/>
                </a:cxn>
                <a:cxn ang="0">
                  <a:pos x="17" y="114"/>
                </a:cxn>
                <a:cxn ang="0">
                  <a:pos x="30" y="133"/>
                </a:cxn>
                <a:cxn ang="0">
                  <a:pos x="37" y="136"/>
                </a:cxn>
                <a:cxn ang="0">
                  <a:pos x="40" y="147"/>
                </a:cxn>
                <a:cxn ang="0">
                  <a:pos x="50" y="147"/>
                </a:cxn>
                <a:cxn ang="0">
                  <a:pos x="68" y="159"/>
                </a:cxn>
                <a:cxn ang="0">
                  <a:pos x="95" y="159"/>
                </a:cxn>
                <a:cxn ang="0">
                  <a:pos x="110" y="153"/>
                </a:cxn>
                <a:cxn ang="0">
                  <a:pos x="126" y="156"/>
                </a:cxn>
                <a:cxn ang="0">
                  <a:pos x="139" y="150"/>
                </a:cxn>
                <a:cxn ang="0">
                  <a:pos x="153" y="141"/>
                </a:cxn>
                <a:cxn ang="0">
                  <a:pos x="213" y="99"/>
                </a:cxn>
                <a:cxn ang="0">
                  <a:pos x="200" y="98"/>
                </a:cxn>
                <a:cxn ang="0">
                  <a:pos x="155" y="80"/>
                </a:cxn>
                <a:cxn ang="0">
                  <a:pos x="148" y="74"/>
                </a:cxn>
                <a:cxn ang="0">
                  <a:pos x="145" y="72"/>
                </a:cxn>
                <a:cxn ang="0">
                  <a:pos x="142" y="67"/>
                </a:cxn>
                <a:cxn ang="0">
                  <a:pos x="139" y="60"/>
                </a:cxn>
                <a:cxn ang="0">
                  <a:pos x="140" y="57"/>
                </a:cxn>
                <a:cxn ang="0">
                  <a:pos x="138" y="54"/>
                </a:cxn>
                <a:cxn ang="0">
                  <a:pos x="133" y="56"/>
                </a:cxn>
                <a:cxn ang="0">
                  <a:pos x="133" y="57"/>
                </a:cxn>
                <a:cxn ang="0">
                  <a:pos x="130" y="57"/>
                </a:cxn>
                <a:cxn ang="0">
                  <a:pos x="124" y="54"/>
                </a:cxn>
                <a:cxn ang="0">
                  <a:pos x="129" y="45"/>
                </a:cxn>
                <a:cxn ang="0">
                  <a:pos x="132" y="35"/>
                </a:cxn>
                <a:cxn ang="0">
                  <a:pos x="126" y="29"/>
                </a:cxn>
                <a:cxn ang="0">
                  <a:pos x="108" y="11"/>
                </a:cxn>
                <a:cxn ang="0">
                  <a:pos x="100" y="6"/>
                </a:cxn>
                <a:cxn ang="0">
                  <a:pos x="97" y="6"/>
                </a:cxn>
                <a:cxn ang="0">
                  <a:pos x="95" y="5"/>
                </a:cxn>
                <a:cxn ang="0">
                  <a:pos x="91" y="5"/>
                </a:cxn>
                <a:cxn ang="0">
                  <a:pos x="90" y="5"/>
                </a:cxn>
                <a:cxn ang="0">
                  <a:pos x="87" y="6"/>
                </a:cxn>
                <a:cxn ang="0">
                  <a:pos x="85" y="5"/>
                </a:cxn>
                <a:cxn ang="0">
                  <a:pos x="84" y="3"/>
                </a:cxn>
                <a:cxn ang="0">
                  <a:pos x="82" y="5"/>
                </a:cxn>
                <a:cxn ang="0">
                  <a:pos x="77" y="6"/>
                </a:cxn>
                <a:cxn ang="0">
                  <a:pos x="72" y="3"/>
                </a:cxn>
                <a:cxn ang="0">
                  <a:pos x="72" y="2"/>
                </a:cxn>
                <a:cxn ang="0">
                  <a:pos x="68" y="0"/>
                </a:cxn>
                <a:cxn ang="0">
                  <a:pos x="61" y="9"/>
                </a:cxn>
                <a:cxn ang="0">
                  <a:pos x="59" y="6"/>
                </a:cxn>
                <a:cxn ang="0">
                  <a:pos x="56" y="8"/>
                </a:cxn>
                <a:cxn ang="0">
                  <a:pos x="55" y="9"/>
                </a:cxn>
                <a:cxn ang="0">
                  <a:pos x="53" y="8"/>
                </a:cxn>
                <a:cxn ang="0">
                  <a:pos x="49" y="8"/>
                </a:cxn>
              </a:cxnLst>
              <a:rect l="0" t="0" r="r" b="b"/>
              <a:pathLst>
                <a:path w="213" h="162">
                  <a:moveTo>
                    <a:pt x="49" y="8"/>
                  </a:moveTo>
                  <a:lnTo>
                    <a:pt x="45" y="27"/>
                  </a:lnTo>
                  <a:lnTo>
                    <a:pt x="43" y="29"/>
                  </a:lnTo>
                  <a:lnTo>
                    <a:pt x="40" y="29"/>
                  </a:lnTo>
                  <a:lnTo>
                    <a:pt x="29" y="45"/>
                  </a:lnTo>
                  <a:lnTo>
                    <a:pt x="26" y="56"/>
                  </a:lnTo>
                  <a:lnTo>
                    <a:pt x="26" y="57"/>
                  </a:lnTo>
                  <a:lnTo>
                    <a:pt x="21" y="57"/>
                  </a:lnTo>
                  <a:lnTo>
                    <a:pt x="20" y="58"/>
                  </a:lnTo>
                  <a:lnTo>
                    <a:pt x="17" y="63"/>
                  </a:lnTo>
                  <a:lnTo>
                    <a:pt x="17" y="63"/>
                  </a:lnTo>
                  <a:lnTo>
                    <a:pt x="16" y="89"/>
                  </a:lnTo>
                  <a:lnTo>
                    <a:pt x="13" y="92"/>
                  </a:lnTo>
                  <a:lnTo>
                    <a:pt x="10" y="92"/>
                  </a:lnTo>
                  <a:lnTo>
                    <a:pt x="4" y="92"/>
                  </a:lnTo>
                  <a:lnTo>
                    <a:pt x="2" y="92"/>
                  </a:lnTo>
                  <a:lnTo>
                    <a:pt x="2" y="96"/>
                  </a:lnTo>
                  <a:lnTo>
                    <a:pt x="1" y="98"/>
                  </a:lnTo>
                  <a:lnTo>
                    <a:pt x="0" y="99"/>
                  </a:lnTo>
                  <a:lnTo>
                    <a:pt x="1" y="101"/>
                  </a:lnTo>
                  <a:lnTo>
                    <a:pt x="2" y="101"/>
                  </a:lnTo>
                  <a:lnTo>
                    <a:pt x="4" y="102"/>
                  </a:lnTo>
                  <a:lnTo>
                    <a:pt x="7" y="102"/>
                  </a:lnTo>
                  <a:lnTo>
                    <a:pt x="10" y="104"/>
                  </a:lnTo>
                  <a:lnTo>
                    <a:pt x="11" y="105"/>
                  </a:lnTo>
                  <a:lnTo>
                    <a:pt x="14" y="106"/>
                  </a:lnTo>
                  <a:lnTo>
                    <a:pt x="14" y="109"/>
                  </a:lnTo>
                  <a:lnTo>
                    <a:pt x="17" y="114"/>
                  </a:lnTo>
                  <a:lnTo>
                    <a:pt x="23" y="118"/>
                  </a:lnTo>
                  <a:lnTo>
                    <a:pt x="30" y="133"/>
                  </a:lnTo>
                  <a:lnTo>
                    <a:pt x="32" y="134"/>
                  </a:lnTo>
                  <a:lnTo>
                    <a:pt x="37" y="136"/>
                  </a:lnTo>
                  <a:lnTo>
                    <a:pt x="40" y="137"/>
                  </a:lnTo>
                  <a:lnTo>
                    <a:pt x="40" y="147"/>
                  </a:lnTo>
                  <a:lnTo>
                    <a:pt x="43" y="147"/>
                  </a:lnTo>
                  <a:lnTo>
                    <a:pt x="50" y="147"/>
                  </a:lnTo>
                  <a:lnTo>
                    <a:pt x="65" y="156"/>
                  </a:lnTo>
                  <a:lnTo>
                    <a:pt x="68" y="159"/>
                  </a:lnTo>
                  <a:lnTo>
                    <a:pt x="90" y="162"/>
                  </a:lnTo>
                  <a:lnTo>
                    <a:pt x="95" y="159"/>
                  </a:lnTo>
                  <a:lnTo>
                    <a:pt x="100" y="154"/>
                  </a:lnTo>
                  <a:lnTo>
                    <a:pt x="110" y="153"/>
                  </a:lnTo>
                  <a:lnTo>
                    <a:pt x="119" y="156"/>
                  </a:lnTo>
                  <a:lnTo>
                    <a:pt x="126" y="156"/>
                  </a:lnTo>
                  <a:lnTo>
                    <a:pt x="126" y="156"/>
                  </a:lnTo>
                  <a:lnTo>
                    <a:pt x="139" y="150"/>
                  </a:lnTo>
                  <a:lnTo>
                    <a:pt x="146" y="144"/>
                  </a:lnTo>
                  <a:lnTo>
                    <a:pt x="153" y="141"/>
                  </a:lnTo>
                  <a:lnTo>
                    <a:pt x="171" y="141"/>
                  </a:lnTo>
                  <a:lnTo>
                    <a:pt x="213" y="99"/>
                  </a:lnTo>
                  <a:lnTo>
                    <a:pt x="213" y="98"/>
                  </a:lnTo>
                  <a:lnTo>
                    <a:pt x="200" y="98"/>
                  </a:lnTo>
                  <a:lnTo>
                    <a:pt x="156" y="83"/>
                  </a:lnTo>
                  <a:lnTo>
                    <a:pt x="155" y="80"/>
                  </a:lnTo>
                  <a:lnTo>
                    <a:pt x="149" y="77"/>
                  </a:lnTo>
                  <a:lnTo>
                    <a:pt x="148" y="74"/>
                  </a:lnTo>
                  <a:lnTo>
                    <a:pt x="146" y="73"/>
                  </a:lnTo>
                  <a:lnTo>
                    <a:pt x="145" y="72"/>
                  </a:lnTo>
                  <a:lnTo>
                    <a:pt x="142" y="69"/>
                  </a:lnTo>
                  <a:lnTo>
                    <a:pt x="142" y="67"/>
                  </a:lnTo>
                  <a:lnTo>
                    <a:pt x="140" y="66"/>
                  </a:lnTo>
                  <a:lnTo>
                    <a:pt x="139" y="60"/>
                  </a:lnTo>
                  <a:lnTo>
                    <a:pt x="139" y="58"/>
                  </a:lnTo>
                  <a:lnTo>
                    <a:pt x="140" y="57"/>
                  </a:lnTo>
                  <a:lnTo>
                    <a:pt x="140" y="57"/>
                  </a:lnTo>
                  <a:lnTo>
                    <a:pt x="138" y="54"/>
                  </a:lnTo>
                  <a:lnTo>
                    <a:pt x="136" y="54"/>
                  </a:lnTo>
                  <a:lnTo>
                    <a:pt x="133" y="56"/>
                  </a:lnTo>
                  <a:lnTo>
                    <a:pt x="133" y="57"/>
                  </a:lnTo>
                  <a:lnTo>
                    <a:pt x="133" y="57"/>
                  </a:lnTo>
                  <a:lnTo>
                    <a:pt x="132" y="56"/>
                  </a:lnTo>
                  <a:lnTo>
                    <a:pt x="130" y="57"/>
                  </a:lnTo>
                  <a:lnTo>
                    <a:pt x="126" y="57"/>
                  </a:lnTo>
                  <a:lnTo>
                    <a:pt x="124" y="54"/>
                  </a:lnTo>
                  <a:lnTo>
                    <a:pt x="124" y="53"/>
                  </a:lnTo>
                  <a:lnTo>
                    <a:pt x="129" y="45"/>
                  </a:lnTo>
                  <a:lnTo>
                    <a:pt x="130" y="37"/>
                  </a:lnTo>
                  <a:lnTo>
                    <a:pt x="132" y="35"/>
                  </a:lnTo>
                  <a:lnTo>
                    <a:pt x="129" y="32"/>
                  </a:lnTo>
                  <a:lnTo>
                    <a:pt x="126" y="29"/>
                  </a:lnTo>
                  <a:lnTo>
                    <a:pt x="123" y="25"/>
                  </a:lnTo>
                  <a:lnTo>
                    <a:pt x="108" y="11"/>
                  </a:lnTo>
                  <a:lnTo>
                    <a:pt x="106" y="11"/>
                  </a:lnTo>
                  <a:lnTo>
                    <a:pt x="100" y="6"/>
                  </a:lnTo>
                  <a:lnTo>
                    <a:pt x="97" y="6"/>
                  </a:lnTo>
                  <a:lnTo>
                    <a:pt x="97" y="6"/>
                  </a:lnTo>
                  <a:lnTo>
                    <a:pt x="95" y="6"/>
                  </a:lnTo>
                  <a:lnTo>
                    <a:pt x="95" y="5"/>
                  </a:lnTo>
                  <a:lnTo>
                    <a:pt x="93" y="5"/>
                  </a:lnTo>
                  <a:lnTo>
                    <a:pt x="91" y="5"/>
                  </a:lnTo>
                  <a:lnTo>
                    <a:pt x="91" y="5"/>
                  </a:lnTo>
                  <a:lnTo>
                    <a:pt x="90" y="5"/>
                  </a:lnTo>
                  <a:lnTo>
                    <a:pt x="88" y="6"/>
                  </a:lnTo>
                  <a:lnTo>
                    <a:pt x="87" y="6"/>
                  </a:lnTo>
                  <a:lnTo>
                    <a:pt x="87" y="6"/>
                  </a:lnTo>
                  <a:lnTo>
                    <a:pt x="85" y="5"/>
                  </a:lnTo>
                  <a:lnTo>
                    <a:pt x="84" y="3"/>
                  </a:lnTo>
                  <a:lnTo>
                    <a:pt x="84" y="3"/>
                  </a:lnTo>
                  <a:lnTo>
                    <a:pt x="84" y="5"/>
                  </a:lnTo>
                  <a:lnTo>
                    <a:pt x="82" y="5"/>
                  </a:lnTo>
                  <a:lnTo>
                    <a:pt x="78" y="6"/>
                  </a:lnTo>
                  <a:lnTo>
                    <a:pt x="77" y="6"/>
                  </a:lnTo>
                  <a:lnTo>
                    <a:pt x="75" y="6"/>
                  </a:lnTo>
                  <a:lnTo>
                    <a:pt x="72" y="3"/>
                  </a:lnTo>
                  <a:lnTo>
                    <a:pt x="72" y="3"/>
                  </a:lnTo>
                  <a:lnTo>
                    <a:pt x="72" y="2"/>
                  </a:lnTo>
                  <a:lnTo>
                    <a:pt x="71" y="2"/>
                  </a:lnTo>
                  <a:lnTo>
                    <a:pt x="68" y="0"/>
                  </a:lnTo>
                  <a:lnTo>
                    <a:pt x="62" y="11"/>
                  </a:lnTo>
                  <a:lnTo>
                    <a:pt x="61" y="9"/>
                  </a:lnTo>
                  <a:lnTo>
                    <a:pt x="61" y="8"/>
                  </a:lnTo>
                  <a:lnTo>
                    <a:pt x="59" y="6"/>
                  </a:lnTo>
                  <a:lnTo>
                    <a:pt x="58" y="6"/>
                  </a:lnTo>
                  <a:lnTo>
                    <a:pt x="56" y="8"/>
                  </a:lnTo>
                  <a:lnTo>
                    <a:pt x="56" y="8"/>
                  </a:lnTo>
                  <a:lnTo>
                    <a:pt x="55" y="9"/>
                  </a:lnTo>
                  <a:lnTo>
                    <a:pt x="55" y="9"/>
                  </a:lnTo>
                  <a:lnTo>
                    <a:pt x="53" y="8"/>
                  </a:lnTo>
                  <a:lnTo>
                    <a:pt x="49" y="8"/>
                  </a:lnTo>
                  <a:lnTo>
                    <a:pt x="49" y="8"/>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22" name="Freeform 1301"/>
            <p:cNvSpPr>
              <a:spLocks/>
            </p:cNvSpPr>
            <p:nvPr/>
          </p:nvSpPr>
          <p:spPr bwMode="auto">
            <a:xfrm>
              <a:off x="6510468" y="3430801"/>
              <a:ext cx="138692" cy="253533"/>
            </a:xfrm>
            <a:custGeom>
              <a:avLst/>
              <a:gdLst/>
              <a:ahLst/>
              <a:cxnLst>
                <a:cxn ang="0">
                  <a:pos x="152" y="2"/>
                </a:cxn>
                <a:cxn ang="0">
                  <a:pos x="147" y="18"/>
                </a:cxn>
                <a:cxn ang="0">
                  <a:pos x="148" y="37"/>
                </a:cxn>
                <a:cxn ang="0">
                  <a:pos x="148" y="53"/>
                </a:cxn>
                <a:cxn ang="0">
                  <a:pos x="151" y="55"/>
                </a:cxn>
                <a:cxn ang="0">
                  <a:pos x="152" y="58"/>
                </a:cxn>
                <a:cxn ang="0">
                  <a:pos x="148" y="67"/>
                </a:cxn>
                <a:cxn ang="0">
                  <a:pos x="147" y="74"/>
                </a:cxn>
                <a:cxn ang="0">
                  <a:pos x="138" y="84"/>
                </a:cxn>
                <a:cxn ang="0">
                  <a:pos x="128" y="95"/>
                </a:cxn>
                <a:cxn ang="0">
                  <a:pos x="97" y="109"/>
                </a:cxn>
                <a:cxn ang="0">
                  <a:pos x="93" y="112"/>
                </a:cxn>
                <a:cxn ang="0">
                  <a:pos x="89" y="122"/>
                </a:cxn>
                <a:cxn ang="0">
                  <a:pos x="84" y="124"/>
                </a:cxn>
                <a:cxn ang="0">
                  <a:pos x="67" y="138"/>
                </a:cxn>
                <a:cxn ang="0">
                  <a:pos x="71" y="153"/>
                </a:cxn>
                <a:cxn ang="0">
                  <a:pos x="76" y="173"/>
                </a:cxn>
                <a:cxn ang="0">
                  <a:pos x="74" y="199"/>
                </a:cxn>
                <a:cxn ang="0">
                  <a:pos x="77" y="198"/>
                </a:cxn>
                <a:cxn ang="0">
                  <a:pos x="67" y="212"/>
                </a:cxn>
                <a:cxn ang="0">
                  <a:pos x="41" y="224"/>
                </a:cxn>
                <a:cxn ang="0">
                  <a:pos x="39" y="236"/>
                </a:cxn>
                <a:cxn ang="0">
                  <a:pos x="41" y="243"/>
                </a:cxn>
                <a:cxn ang="0">
                  <a:pos x="22" y="177"/>
                </a:cxn>
                <a:cxn ang="0">
                  <a:pos x="25" y="169"/>
                </a:cxn>
                <a:cxn ang="0">
                  <a:pos x="38" y="124"/>
                </a:cxn>
                <a:cxn ang="0">
                  <a:pos x="41" y="89"/>
                </a:cxn>
                <a:cxn ang="0">
                  <a:pos x="4" y="79"/>
                </a:cxn>
                <a:cxn ang="0">
                  <a:pos x="0" y="66"/>
                </a:cxn>
                <a:cxn ang="0">
                  <a:pos x="46" y="51"/>
                </a:cxn>
                <a:cxn ang="0">
                  <a:pos x="52" y="58"/>
                </a:cxn>
                <a:cxn ang="0">
                  <a:pos x="64" y="58"/>
                </a:cxn>
                <a:cxn ang="0">
                  <a:pos x="64" y="73"/>
                </a:cxn>
                <a:cxn ang="0">
                  <a:pos x="61" y="79"/>
                </a:cxn>
                <a:cxn ang="0">
                  <a:pos x="65" y="84"/>
                </a:cxn>
                <a:cxn ang="0">
                  <a:pos x="73" y="92"/>
                </a:cxn>
                <a:cxn ang="0">
                  <a:pos x="73" y="95"/>
                </a:cxn>
                <a:cxn ang="0">
                  <a:pos x="76" y="95"/>
                </a:cxn>
                <a:cxn ang="0">
                  <a:pos x="74" y="89"/>
                </a:cxn>
                <a:cxn ang="0">
                  <a:pos x="76" y="84"/>
                </a:cxn>
                <a:cxn ang="0">
                  <a:pos x="83" y="79"/>
                </a:cxn>
                <a:cxn ang="0">
                  <a:pos x="83" y="67"/>
                </a:cxn>
                <a:cxn ang="0">
                  <a:pos x="70" y="42"/>
                </a:cxn>
                <a:cxn ang="0">
                  <a:pos x="67" y="29"/>
                </a:cxn>
                <a:cxn ang="0">
                  <a:pos x="83" y="15"/>
                </a:cxn>
                <a:cxn ang="0">
                  <a:pos x="89" y="13"/>
                </a:cxn>
                <a:cxn ang="0">
                  <a:pos x="94" y="16"/>
                </a:cxn>
                <a:cxn ang="0">
                  <a:pos x="110" y="15"/>
                </a:cxn>
                <a:cxn ang="0">
                  <a:pos x="119" y="10"/>
                </a:cxn>
                <a:cxn ang="0">
                  <a:pos x="141" y="6"/>
                </a:cxn>
              </a:cxnLst>
              <a:rect l="0" t="0" r="r" b="b"/>
              <a:pathLst>
                <a:path w="152" h="243">
                  <a:moveTo>
                    <a:pt x="151" y="0"/>
                  </a:moveTo>
                  <a:lnTo>
                    <a:pt x="152" y="0"/>
                  </a:lnTo>
                  <a:lnTo>
                    <a:pt x="152" y="2"/>
                  </a:lnTo>
                  <a:lnTo>
                    <a:pt x="152" y="2"/>
                  </a:lnTo>
                  <a:lnTo>
                    <a:pt x="152" y="6"/>
                  </a:lnTo>
                  <a:lnTo>
                    <a:pt x="147" y="18"/>
                  </a:lnTo>
                  <a:lnTo>
                    <a:pt x="148" y="32"/>
                  </a:lnTo>
                  <a:lnTo>
                    <a:pt x="147" y="34"/>
                  </a:lnTo>
                  <a:lnTo>
                    <a:pt x="148" y="37"/>
                  </a:lnTo>
                  <a:lnTo>
                    <a:pt x="148" y="37"/>
                  </a:lnTo>
                  <a:lnTo>
                    <a:pt x="148" y="51"/>
                  </a:lnTo>
                  <a:lnTo>
                    <a:pt x="148" y="53"/>
                  </a:lnTo>
                  <a:lnTo>
                    <a:pt x="150" y="54"/>
                  </a:lnTo>
                  <a:lnTo>
                    <a:pt x="150" y="53"/>
                  </a:lnTo>
                  <a:lnTo>
                    <a:pt x="151" y="55"/>
                  </a:lnTo>
                  <a:lnTo>
                    <a:pt x="150" y="57"/>
                  </a:lnTo>
                  <a:lnTo>
                    <a:pt x="151" y="57"/>
                  </a:lnTo>
                  <a:lnTo>
                    <a:pt x="152" y="58"/>
                  </a:lnTo>
                  <a:lnTo>
                    <a:pt x="152" y="60"/>
                  </a:lnTo>
                  <a:lnTo>
                    <a:pt x="150" y="66"/>
                  </a:lnTo>
                  <a:lnTo>
                    <a:pt x="148" y="67"/>
                  </a:lnTo>
                  <a:lnTo>
                    <a:pt x="150" y="69"/>
                  </a:lnTo>
                  <a:lnTo>
                    <a:pt x="150" y="73"/>
                  </a:lnTo>
                  <a:lnTo>
                    <a:pt x="147" y="74"/>
                  </a:lnTo>
                  <a:lnTo>
                    <a:pt x="141" y="82"/>
                  </a:lnTo>
                  <a:lnTo>
                    <a:pt x="137" y="83"/>
                  </a:lnTo>
                  <a:lnTo>
                    <a:pt x="138" y="84"/>
                  </a:lnTo>
                  <a:lnTo>
                    <a:pt x="138" y="87"/>
                  </a:lnTo>
                  <a:lnTo>
                    <a:pt x="129" y="92"/>
                  </a:lnTo>
                  <a:lnTo>
                    <a:pt x="128" y="95"/>
                  </a:lnTo>
                  <a:lnTo>
                    <a:pt x="123" y="96"/>
                  </a:lnTo>
                  <a:lnTo>
                    <a:pt x="119" y="96"/>
                  </a:lnTo>
                  <a:lnTo>
                    <a:pt x="97" y="109"/>
                  </a:lnTo>
                  <a:lnTo>
                    <a:pt x="97" y="111"/>
                  </a:lnTo>
                  <a:lnTo>
                    <a:pt x="96" y="112"/>
                  </a:lnTo>
                  <a:lnTo>
                    <a:pt x="93" y="112"/>
                  </a:lnTo>
                  <a:lnTo>
                    <a:pt x="93" y="114"/>
                  </a:lnTo>
                  <a:lnTo>
                    <a:pt x="94" y="115"/>
                  </a:lnTo>
                  <a:lnTo>
                    <a:pt x="89" y="122"/>
                  </a:lnTo>
                  <a:lnTo>
                    <a:pt x="87" y="122"/>
                  </a:lnTo>
                  <a:lnTo>
                    <a:pt x="86" y="119"/>
                  </a:lnTo>
                  <a:lnTo>
                    <a:pt x="84" y="124"/>
                  </a:lnTo>
                  <a:lnTo>
                    <a:pt x="81" y="124"/>
                  </a:lnTo>
                  <a:lnTo>
                    <a:pt x="70" y="137"/>
                  </a:lnTo>
                  <a:lnTo>
                    <a:pt x="67" y="138"/>
                  </a:lnTo>
                  <a:lnTo>
                    <a:pt x="65" y="148"/>
                  </a:lnTo>
                  <a:lnTo>
                    <a:pt x="70" y="151"/>
                  </a:lnTo>
                  <a:lnTo>
                    <a:pt x="71" y="153"/>
                  </a:lnTo>
                  <a:lnTo>
                    <a:pt x="71" y="154"/>
                  </a:lnTo>
                  <a:lnTo>
                    <a:pt x="71" y="156"/>
                  </a:lnTo>
                  <a:lnTo>
                    <a:pt x="76" y="173"/>
                  </a:lnTo>
                  <a:lnTo>
                    <a:pt x="77" y="172"/>
                  </a:lnTo>
                  <a:lnTo>
                    <a:pt x="78" y="172"/>
                  </a:lnTo>
                  <a:lnTo>
                    <a:pt x="74" y="199"/>
                  </a:lnTo>
                  <a:lnTo>
                    <a:pt x="74" y="202"/>
                  </a:lnTo>
                  <a:lnTo>
                    <a:pt x="76" y="201"/>
                  </a:lnTo>
                  <a:lnTo>
                    <a:pt x="77" y="198"/>
                  </a:lnTo>
                  <a:lnTo>
                    <a:pt x="77" y="202"/>
                  </a:lnTo>
                  <a:lnTo>
                    <a:pt x="71" y="209"/>
                  </a:lnTo>
                  <a:lnTo>
                    <a:pt x="67" y="212"/>
                  </a:lnTo>
                  <a:lnTo>
                    <a:pt x="62" y="215"/>
                  </a:lnTo>
                  <a:lnTo>
                    <a:pt x="60" y="215"/>
                  </a:lnTo>
                  <a:lnTo>
                    <a:pt x="41" y="224"/>
                  </a:lnTo>
                  <a:lnTo>
                    <a:pt x="35" y="231"/>
                  </a:lnTo>
                  <a:lnTo>
                    <a:pt x="35" y="231"/>
                  </a:lnTo>
                  <a:lnTo>
                    <a:pt x="39" y="236"/>
                  </a:lnTo>
                  <a:lnTo>
                    <a:pt x="41" y="234"/>
                  </a:lnTo>
                  <a:lnTo>
                    <a:pt x="41" y="233"/>
                  </a:lnTo>
                  <a:lnTo>
                    <a:pt x="41" y="243"/>
                  </a:lnTo>
                  <a:lnTo>
                    <a:pt x="29" y="243"/>
                  </a:lnTo>
                  <a:lnTo>
                    <a:pt x="22" y="179"/>
                  </a:lnTo>
                  <a:lnTo>
                    <a:pt x="22" y="177"/>
                  </a:lnTo>
                  <a:lnTo>
                    <a:pt x="22" y="175"/>
                  </a:lnTo>
                  <a:lnTo>
                    <a:pt x="23" y="172"/>
                  </a:lnTo>
                  <a:lnTo>
                    <a:pt x="25" y="169"/>
                  </a:lnTo>
                  <a:lnTo>
                    <a:pt x="29" y="164"/>
                  </a:lnTo>
                  <a:lnTo>
                    <a:pt x="41" y="138"/>
                  </a:lnTo>
                  <a:lnTo>
                    <a:pt x="38" y="124"/>
                  </a:lnTo>
                  <a:lnTo>
                    <a:pt x="41" y="119"/>
                  </a:lnTo>
                  <a:lnTo>
                    <a:pt x="42" y="100"/>
                  </a:lnTo>
                  <a:lnTo>
                    <a:pt x="41" y="89"/>
                  </a:lnTo>
                  <a:lnTo>
                    <a:pt x="38" y="86"/>
                  </a:lnTo>
                  <a:lnTo>
                    <a:pt x="15" y="79"/>
                  </a:lnTo>
                  <a:lnTo>
                    <a:pt x="4" y="79"/>
                  </a:lnTo>
                  <a:lnTo>
                    <a:pt x="4" y="73"/>
                  </a:lnTo>
                  <a:lnTo>
                    <a:pt x="3" y="73"/>
                  </a:lnTo>
                  <a:lnTo>
                    <a:pt x="0" y="66"/>
                  </a:lnTo>
                  <a:lnTo>
                    <a:pt x="45" y="50"/>
                  </a:lnTo>
                  <a:lnTo>
                    <a:pt x="45" y="51"/>
                  </a:lnTo>
                  <a:lnTo>
                    <a:pt x="46" y="51"/>
                  </a:lnTo>
                  <a:lnTo>
                    <a:pt x="49" y="55"/>
                  </a:lnTo>
                  <a:lnTo>
                    <a:pt x="52" y="58"/>
                  </a:lnTo>
                  <a:lnTo>
                    <a:pt x="52" y="58"/>
                  </a:lnTo>
                  <a:lnTo>
                    <a:pt x="62" y="57"/>
                  </a:lnTo>
                  <a:lnTo>
                    <a:pt x="64" y="57"/>
                  </a:lnTo>
                  <a:lnTo>
                    <a:pt x="64" y="58"/>
                  </a:lnTo>
                  <a:lnTo>
                    <a:pt x="65" y="69"/>
                  </a:lnTo>
                  <a:lnTo>
                    <a:pt x="65" y="70"/>
                  </a:lnTo>
                  <a:lnTo>
                    <a:pt x="64" y="73"/>
                  </a:lnTo>
                  <a:lnTo>
                    <a:pt x="64" y="74"/>
                  </a:lnTo>
                  <a:lnTo>
                    <a:pt x="62" y="76"/>
                  </a:lnTo>
                  <a:lnTo>
                    <a:pt x="61" y="79"/>
                  </a:lnTo>
                  <a:lnTo>
                    <a:pt x="62" y="79"/>
                  </a:lnTo>
                  <a:lnTo>
                    <a:pt x="64" y="83"/>
                  </a:lnTo>
                  <a:lnTo>
                    <a:pt x="65" y="84"/>
                  </a:lnTo>
                  <a:lnTo>
                    <a:pt x="65" y="84"/>
                  </a:lnTo>
                  <a:lnTo>
                    <a:pt x="70" y="90"/>
                  </a:lnTo>
                  <a:lnTo>
                    <a:pt x="73" y="92"/>
                  </a:lnTo>
                  <a:lnTo>
                    <a:pt x="74" y="92"/>
                  </a:lnTo>
                  <a:lnTo>
                    <a:pt x="74" y="93"/>
                  </a:lnTo>
                  <a:lnTo>
                    <a:pt x="73" y="95"/>
                  </a:lnTo>
                  <a:lnTo>
                    <a:pt x="73" y="95"/>
                  </a:lnTo>
                  <a:lnTo>
                    <a:pt x="76" y="95"/>
                  </a:lnTo>
                  <a:lnTo>
                    <a:pt x="76" y="95"/>
                  </a:lnTo>
                  <a:lnTo>
                    <a:pt x="76" y="90"/>
                  </a:lnTo>
                  <a:lnTo>
                    <a:pt x="76" y="89"/>
                  </a:lnTo>
                  <a:lnTo>
                    <a:pt x="74" y="89"/>
                  </a:lnTo>
                  <a:lnTo>
                    <a:pt x="74" y="87"/>
                  </a:lnTo>
                  <a:lnTo>
                    <a:pt x="76" y="86"/>
                  </a:lnTo>
                  <a:lnTo>
                    <a:pt x="76" y="84"/>
                  </a:lnTo>
                  <a:lnTo>
                    <a:pt x="76" y="83"/>
                  </a:lnTo>
                  <a:lnTo>
                    <a:pt x="83" y="80"/>
                  </a:lnTo>
                  <a:lnTo>
                    <a:pt x="83" y="79"/>
                  </a:lnTo>
                  <a:lnTo>
                    <a:pt x="84" y="73"/>
                  </a:lnTo>
                  <a:lnTo>
                    <a:pt x="84" y="71"/>
                  </a:lnTo>
                  <a:lnTo>
                    <a:pt x="83" y="67"/>
                  </a:lnTo>
                  <a:lnTo>
                    <a:pt x="84" y="63"/>
                  </a:lnTo>
                  <a:lnTo>
                    <a:pt x="84" y="60"/>
                  </a:lnTo>
                  <a:lnTo>
                    <a:pt x="70" y="42"/>
                  </a:lnTo>
                  <a:lnTo>
                    <a:pt x="70" y="44"/>
                  </a:lnTo>
                  <a:lnTo>
                    <a:pt x="68" y="31"/>
                  </a:lnTo>
                  <a:lnTo>
                    <a:pt x="67" y="29"/>
                  </a:lnTo>
                  <a:lnTo>
                    <a:pt x="67" y="28"/>
                  </a:lnTo>
                  <a:lnTo>
                    <a:pt x="71" y="15"/>
                  </a:lnTo>
                  <a:lnTo>
                    <a:pt x="83" y="15"/>
                  </a:lnTo>
                  <a:lnTo>
                    <a:pt x="84" y="13"/>
                  </a:lnTo>
                  <a:lnTo>
                    <a:pt x="86" y="13"/>
                  </a:lnTo>
                  <a:lnTo>
                    <a:pt x="89" y="13"/>
                  </a:lnTo>
                  <a:lnTo>
                    <a:pt x="91" y="16"/>
                  </a:lnTo>
                  <a:lnTo>
                    <a:pt x="91" y="16"/>
                  </a:lnTo>
                  <a:lnTo>
                    <a:pt x="94" y="16"/>
                  </a:lnTo>
                  <a:lnTo>
                    <a:pt x="96" y="16"/>
                  </a:lnTo>
                  <a:lnTo>
                    <a:pt x="99" y="15"/>
                  </a:lnTo>
                  <a:lnTo>
                    <a:pt x="110" y="15"/>
                  </a:lnTo>
                  <a:lnTo>
                    <a:pt x="113" y="10"/>
                  </a:lnTo>
                  <a:lnTo>
                    <a:pt x="118" y="10"/>
                  </a:lnTo>
                  <a:lnTo>
                    <a:pt x="119" y="10"/>
                  </a:lnTo>
                  <a:lnTo>
                    <a:pt x="123" y="12"/>
                  </a:lnTo>
                  <a:lnTo>
                    <a:pt x="128" y="12"/>
                  </a:lnTo>
                  <a:lnTo>
                    <a:pt x="141" y="6"/>
                  </a:lnTo>
                  <a:lnTo>
                    <a:pt x="15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23" name="Freeform 1302"/>
            <p:cNvSpPr>
              <a:spLocks/>
            </p:cNvSpPr>
            <p:nvPr/>
          </p:nvSpPr>
          <p:spPr bwMode="auto">
            <a:xfrm>
              <a:off x="6510468" y="3430801"/>
              <a:ext cx="138692" cy="253533"/>
            </a:xfrm>
            <a:custGeom>
              <a:avLst/>
              <a:gdLst/>
              <a:ahLst/>
              <a:cxnLst>
                <a:cxn ang="0">
                  <a:pos x="152" y="2"/>
                </a:cxn>
                <a:cxn ang="0">
                  <a:pos x="147" y="18"/>
                </a:cxn>
                <a:cxn ang="0">
                  <a:pos x="148" y="37"/>
                </a:cxn>
                <a:cxn ang="0">
                  <a:pos x="148" y="53"/>
                </a:cxn>
                <a:cxn ang="0">
                  <a:pos x="151" y="55"/>
                </a:cxn>
                <a:cxn ang="0">
                  <a:pos x="152" y="58"/>
                </a:cxn>
                <a:cxn ang="0">
                  <a:pos x="148" y="67"/>
                </a:cxn>
                <a:cxn ang="0">
                  <a:pos x="147" y="74"/>
                </a:cxn>
                <a:cxn ang="0">
                  <a:pos x="138" y="84"/>
                </a:cxn>
                <a:cxn ang="0">
                  <a:pos x="128" y="95"/>
                </a:cxn>
                <a:cxn ang="0">
                  <a:pos x="97" y="109"/>
                </a:cxn>
                <a:cxn ang="0">
                  <a:pos x="93" y="112"/>
                </a:cxn>
                <a:cxn ang="0">
                  <a:pos x="89" y="122"/>
                </a:cxn>
                <a:cxn ang="0">
                  <a:pos x="84" y="124"/>
                </a:cxn>
                <a:cxn ang="0">
                  <a:pos x="67" y="138"/>
                </a:cxn>
                <a:cxn ang="0">
                  <a:pos x="71" y="153"/>
                </a:cxn>
                <a:cxn ang="0">
                  <a:pos x="76" y="173"/>
                </a:cxn>
                <a:cxn ang="0">
                  <a:pos x="74" y="199"/>
                </a:cxn>
                <a:cxn ang="0">
                  <a:pos x="77" y="198"/>
                </a:cxn>
                <a:cxn ang="0">
                  <a:pos x="67" y="212"/>
                </a:cxn>
                <a:cxn ang="0">
                  <a:pos x="41" y="224"/>
                </a:cxn>
                <a:cxn ang="0">
                  <a:pos x="39" y="236"/>
                </a:cxn>
                <a:cxn ang="0">
                  <a:pos x="41" y="243"/>
                </a:cxn>
                <a:cxn ang="0">
                  <a:pos x="22" y="177"/>
                </a:cxn>
                <a:cxn ang="0">
                  <a:pos x="25" y="169"/>
                </a:cxn>
                <a:cxn ang="0">
                  <a:pos x="38" y="124"/>
                </a:cxn>
                <a:cxn ang="0">
                  <a:pos x="41" y="89"/>
                </a:cxn>
                <a:cxn ang="0">
                  <a:pos x="4" y="79"/>
                </a:cxn>
                <a:cxn ang="0">
                  <a:pos x="0" y="66"/>
                </a:cxn>
                <a:cxn ang="0">
                  <a:pos x="46" y="51"/>
                </a:cxn>
                <a:cxn ang="0">
                  <a:pos x="52" y="58"/>
                </a:cxn>
                <a:cxn ang="0">
                  <a:pos x="64" y="58"/>
                </a:cxn>
                <a:cxn ang="0">
                  <a:pos x="64" y="73"/>
                </a:cxn>
                <a:cxn ang="0">
                  <a:pos x="61" y="79"/>
                </a:cxn>
                <a:cxn ang="0">
                  <a:pos x="65" y="84"/>
                </a:cxn>
                <a:cxn ang="0">
                  <a:pos x="73" y="92"/>
                </a:cxn>
                <a:cxn ang="0">
                  <a:pos x="73" y="95"/>
                </a:cxn>
                <a:cxn ang="0">
                  <a:pos x="76" y="95"/>
                </a:cxn>
                <a:cxn ang="0">
                  <a:pos x="74" y="89"/>
                </a:cxn>
                <a:cxn ang="0">
                  <a:pos x="76" y="84"/>
                </a:cxn>
                <a:cxn ang="0">
                  <a:pos x="83" y="79"/>
                </a:cxn>
                <a:cxn ang="0">
                  <a:pos x="83" y="67"/>
                </a:cxn>
                <a:cxn ang="0">
                  <a:pos x="70" y="42"/>
                </a:cxn>
                <a:cxn ang="0">
                  <a:pos x="67" y="29"/>
                </a:cxn>
                <a:cxn ang="0">
                  <a:pos x="83" y="15"/>
                </a:cxn>
                <a:cxn ang="0">
                  <a:pos x="89" y="13"/>
                </a:cxn>
                <a:cxn ang="0">
                  <a:pos x="94" y="16"/>
                </a:cxn>
                <a:cxn ang="0">
                  <a:pos x="110" y="15"/>
                </a:cxn>
                <a:cxn ang="0">
                  <a:pos x="119" y="10"/>
                </a:cxn>
                <a:cxn ang="0">
                  <a:pos x="141" y="6"/>
                </a:cxn>
              </a:cxnLst>
              <a:rect l="0" t="0" r="r" b="b"/>
              <a:pathLst>
                <a:path w="152" h="243">
                  <a:moveTo>
                    <a:pt x="151" y="0"/>
                  </a:moveTo>
                  <a:lnTo>
                    <a:pt x="152" y="0"/>
                  </a:lnTo>
                  <a:lnTo>
                    <a:pt x="152" y="2"/>
                  </a:lnTo>
                  <a:lnTo>
                    <a:pt x="152" y="2"/>
                  </a:lnTo>
                  <a:lnTo>
                    <a:pt x="152" y="6"/>
                  </a:lnTo>
                  <a:lnTo>
                    <a:pt x="147" y="18"/>
                  </a:lnTo>
                  <a:lnTo>
                    <a:pt x="148" y="32"/>
                  </a:lnTo>
                  <a:lnTo>
                    <a:pt x="147" y="34"/>
                  </a:lnTo>
                  <a:lnTo>
                    <a:pt x="148" y="37"/>
                  </a:lnTo>
                  <a:lnTo>
                    <a:pt x="148" y="37"/>
                  </a:lnTo>
                  <a:lnTo>
                    <a:pt x="148" y="51"/>
                  </a:lnTo>
                  <a:lnTo>
                    <a:pt x="148" y="53"/>
                  </a:lnTo>
                  <a:lnTo>
                    <a:pt x="150" y="54"/>
                  </a:lnTo>
                  <a:lnTo>
                    <a:pt x="150" y="53"/>
                  </a:lnTo>
                  <a:lnTo>
                    <a:pt x="151" y="55"/>
                  </a:lnTo>
                  <a:lnTo>
                    <a:pt x="150" y="57"/>
                  </a:lnTo>
                  <a:lnTo>
                    <a:pt x="151" y="57"/>
                  </a:lnTo>
                  <a:lnTo>
                    <a:pt x="152" y="58"/>
                  </a:lnTo>
                  <a:lnTo>
                    <a:pt x="152" y="60"/>
                  </a:lnTo>
                  <a:lnTo>
                    <a:pt x="150" y="66"/>
                  </a:lnTo>
                  <a:lnTo>
                    <a:pt x="148" y="67"/>
                  </a:lnTo>
                  <a:lnTo>
                    <a:pt x="150" y="69"/>
                  </a:lnTo>
                  <a:lnTo>
                    <a:pt x="150" y="73"/>
                  </a:lnTo>
                  <a:lnTo>
                    <a:pt x="147" y="74"/>
                  </a:lnTo>
                  <a:lnTo>
                    <a:pt x="141" y="82"/>
                  </a:lnTo>
                  <a:lnTo>
                    <a:pt x="137" y="83"/>
                  </a:lnTo>
                  <a:lnTo>
                    <a:pt x="138" y="84"/>
                  </a:lnTo>
                  <a:lnTo>
                    <a:pt x="138" y="87"/>
                  </a:lnTo>
                  <a:lnTo>
                    <a:pt x="129" y="92"/>
                  </a:lnTo>
                  <a:lnTo>
                    <a:pt x="128" y="95"/>
                  </a:lnTo>
                  <a:lnTo>
                    <a:pt x="123" y="96"/>
                  </a:lnTo>
                  <a:lnTo>
                    <a:pt x="119" y="96"/>
                  </a:lnTo>
                  <a:lnTo>
                    <a:pt x="97" y="109"/>
                  </a:lnTo>
                  <a:lnTo>
                    <a:pt x="97" y="111"/>
                  </a:lnTo>
                  <a:lnTo>
                    <a:pt x="96" y="112"/>
                  </a:lnTo>
                  <a:lnTo>
                    <a:pt x="93" y="112"/>
                  </a:lnTo>
                  <a:lnTo>
                    <a:pt x="93" y="114"/>
                  </a:lnTo>
                  <a:lnTo>
                    <a:pt x="94" y="115"/>
                  </a:lnTo>
                  <a:lnTo>
                    <a:pt x="89" y="122"/>
                  </a:lnTo>
                  <a:lnTo>
                    <a:pt x="87" y="122"/>
                  </a:lnTo>
                  <a:lnTo>
                    <a:pt x="86" y="119"/>
                  </a:lnTo>
                  <a:lnTo>
                    <a:pt x="84" y="124"/>
                  </a:lnTo>
                  <a:lnTo>
                    <a:pt x="81" y="124"/>
                  </a:lnTo>
                  <a:lnTo>
                    <a:pt x="70" y="137"/>
                  </a:lnTo>
                  <a:lnTo>
                    <a:pt x="67" y="138"/>
                  </a:lnTo>
                  <a:lnTo>
                    <a:pt x="65" y="148"/>
                  </a:lnTo>
                  <a:lnTo>
                    <a:pt x="70" y="151"/>
                  </a:lnTo>
                  <a:lnTo>
                    <a:pt x="71" y="153"/>
                  </a:lnTo>
                  <a:lnTo>
                    <a:pt x="71" y="154"/>
                  </a:lnTo>
                  <a:lnTo>
                    <a:pt x="71" y="156"/>
                  </a:lnTo>
                  <a:lnTo>
                    <a:pt x="76" y="173"/>
                  </a:lnTo>
                  <a:lnTo>
                    <a:pt x="77" y="172"/>
                  </a:lnTo>
                  <a:lnTo>
                    <a:pt x="78" y="172"/>
                  </a:lnTo>
                  <a:lnTo>
                    <a:pt x="74" y="199"/>
                  </a:lnTo>
                  <a:lnTo>
                    <a:pt x="74" y="202"/>
                  </a:lnTo>
                  <a:lnTo>
                    <a:pt x="76" y="201"/>
                  </a:lnTo>
                  <a:lnTo>
                    <a:pt x="77" y="198"/>
                  </a:lnTo>
                  <a:lnTo>
                    <a:pt x="77" y="202"/>
                  </a:lnTo>
                  <a:lnTo>
                    <a:pt x="71" y="209"/>
                  </a:lnTo>
                  <a:lnTo>
                    <a:pt x="67" y="212"/>
                  </a:lnTo>
                  <a:lnTo>
                    <a:pt x="62" y="215"/>
                  </a:lnTo>
                  <a:lnTo>
                    <a:pt x="60" y="215"/>
                  </a:lnTo>
                  <a:lnTo>
                    <a:pt x="41" y="224"/>
                  </a:lnTo>
                  <a:lnTo>
                    <a:pt x="35" y="231"/>
                  </a:lnTo>
                  <a:lnTo>
                    <a:pt x="35" y="231"/>
                  </a:lnTo>
                  <a:lnTo>
                    <a:pt x="39" y="236"/>
                  </a:lnTo>
                  <a:lnTo>
                    <a:pt x="41" y="234"/>
                  </a:lnTo>
                  <a:lnTo>
                    <a:pt x="41" y="233"/>
                  </a:lnTo>
                  <a:lnTo>
                    <a:pt x="41" y="243"/>
                  </a:lnTo>
                  <a:lnTo>
                    <a:pt x="29" y="243"/>
                  </a:lnTo>
                  <a:lnTo>
                    <a:pt x="22" y="179"/>
                  </a:lnTo>
                  <a:lnTo>
                    <a:pt x="22" y="177"/>
                  </a:lnTo>
                  <a:lnTo>
                    <a:pt x="22" y="175"/>
                  </a:lnTo>
                  <a:lnTo>
                    <a:pt x="23" y="172"/>
                  </a:lnTo>
                  <a:lnTo>
                    <a:pt x="25" y="169"/>
                  </a:lnTo>
                  <a:lnTo>
                    <a:pt x="29" y="164"/>
                  </a:lnTo>
                  <a:lnTo>
                    <a:pt x="41" y="138"/>
                  </a:lnTo>
                  <a:lnTo>
                    <a:pt x="38" y="124"/>
                  </a:lnTo>
                  <a:lnTo>
                    <a:pt x="41" y="119"/>
                  </a:lnTo>
                  <a:lnTo>
                    <a:pt x="42" y="100"/>
                  </a:lnTo>
                  <a:lnTo>
                    <a:pt x="41" y="89"/>
                  </a:lnTo>
                  <a:lnTo>
                    <a:pt x="38" y="86"/>
                  </a:lnTo>
                  <a:lnTo>
                    <a:pt x="15" y="79"/>
                  </a:lnTo>
                  <a:lnTo>
                    <a:pt x="4" y="79"/>
                  </a:lnTo>
                  <a:lnTo>
                    <a:pt x="4" y="73"/>
                  </a:lnTo>
                  <a:lnTo>
                    <a:pt x="3" y="73"/>
                  </a:lnTo>
                  <a:lnTo>
                    <a:pt x="0" y="66"/>
                  </a:lnTo>
                  <a:lnTo>
                    <a:pt x="45" y="50"/>
                  </a:lnTo>
                  <a:lnTo>
                    <a:pt x="45" y="51"/>
                  </a:lnTo>
                  <a:lnTo>
                    <a:pt x="46" y="51"/>
                  </a:lnTo>
                  <a:lnTo>
                    <a:pt x="49" y="55"/>
                  </a:lnTo>
                  <a:lnTo>
                    <a:pt x="52" y="58"/>
                  </a:lnTo>
                  <a:lnTo>
                    <a:pt x="52" y="58"/>
                  </a:lnTo>
                  <a:lnTo>
                    <a:pt x="62" y="57"/>
                  </a:lnTo>
                  <a:lnTo>
                    <a:pt x="64" y="57"/>
                  </a:lnTo>
                  <a:lnTo>
                    <a:pt x="64" y="58"/>
                  </a:lnTo>
                  <a:lnTo>
                    <a:pt x="65" y="69"/>
                  </a:lnTo>
                  <a:lnTo>
                    <a:pt x="65" y="70"/>
                  </a:lnTo>
                  <a:lnTo>
                    <a:pt x="64" y="73"/>
                  </a:lnTo>
                  <a:lnTo>
                    <a:pt x="64" y="74"/>
                  </a:lnTo>
                  <a:lnTo>
                    <a:pt x="62" y="76"/>
                  </a:lnTo>
                  <a:lnTo>
                    <a:pt x="61" y="79"/>
                  </a:lnTo>
                  <a:lnTo>
                    <a:pt x="62" y="79"/>
                  </a:lnTo>
                  <a:lnTo>
                    <a:pt x="64" y="83"/>
                  </a:lnTo>
                  <a:lnTo>
                    <a:pt x="65" y="84"/>
                  </a:lnTo>
                  <a:lnTo>
                    <a:pt x="65" y="84"/>
                  </a:lnTo>
                  <a:lnTo>
                    <a:pt x="70" y="90"/>
                  </a:lnTo>
                  <a:lnTo>
                    <a:pt x="73" y="92"/>
                  </a:lnTo>
                  <a:lnTo>
                    <a:pt x="74" y="92"/>
                  </a:lnTo>
                  <a:lnTo>
                    <a:pt x="74" y="93"/>
                  </a:lnTo>
                  <a:lnTo>
                    <a:pt x="73" y="95"/>
                  </a:lnTo>
                  <a:lnTo>
                    <a:pt x="73" y="95"/>
                  </a:lnTo>
                  <a:lnTo>
                    <a:pt x="76" y="95"/>
                  </a:lnTo>
                  <a:lnTo>
                    <a:pt x="76" y="95"/>
                  </a:lnTo>
                  <a:lnTo>
                    <a:pt x="76" y="90"/>
                  </a:lnTo>
                  <a:lnTo>
                    <a:pt x="76" y="89"/>
                  </a:lnTo>
                  <a:lnTo>
                    <a:pt x="74" y="89"/>
                  </a:lnTo>
                  <a:lnTo>
                    <a:pt x="74" y="87"/>
                  </a:lnTo>
                  <a:lnTo>
                    <a:pt x="76" y="86"/>
                  </a:lnTo>
                  <a:lnTo>
                    <a:pt x="76" y="84"/>
                  </a:lnTo>
                  <a:lnTo>
                    <a:pt x="76" y="83"/>
                  </a:lnTo>
                  <a:lnTo>
                    <a:pt x="83" y="80"/>
                  </a:lnTo>
                  <a:lnTo>
                    <a:pt x="83" y="79"/>
                  </a:lnTo>
                  <a:lnTo>
                    <a:pt x="84" y="73"/>
                  </a:lnTo>
                  <a:lnTo>
                    <a:pt x="84" y="71"/>
                  </a:lnTo>
                  <a:lnTo>
                    <a:pt x="83" y="67"/>
                  </a:lnTo>
                  <a:lnTo>
                    <a:pt x="84" y="63"/>
                  </a:lnTo>
                  <a:lnTo>
                    <a:pt x="84" y="60"/>
                  </a:lnTo>
                  <a:lnTo>
                    <a:pt x="70" y="42"/>
                  </a:lnTo>
                  <a:lnTo>
                    <a:pt x="70" y="44"/>
                  </a:lnTo>
                  <a:lnTo>
                    <a:pt x="68" y="31"/>
                  </a:lnTo>
                  <a:lnTo>
                    <a:pt x="67" y="29"/>
                  </a:lnTo>
                  <a:lnTo>
                    <a:pt x="67" y="28"/>
                  </a:lnTo>
                  <a:lnTo>
                    <a:pt x="71" y="15"/>
                  </a:lnTo>
                  <a:lnTo>
                    <a:pt x="83" y="15"/>
                  </a:lnTo>
                  <a:lnTo>
                    <a:pt x="84" y="13"/>
                  </a:lnTo>
                  <a:lnTo>
                    <a:pt x="86" y="13"/>
                  </a:lnTo>
                  <a:lnTo>
                    <a:pt x="89" y="13"/>
                  </a:lnTo>
                  <a:lnTo>
                    <a:pt x="91" y="16"/>
                  </a:lnTo>
                  <a:lnTo>
                    <a:pt x="91" y="16"/>
                  </a:lnTo>
                  <a:lnTo>
                    <a:pt x="94" y="16"/>
                  </a:lnTo>
                  <a:lnTo>
                    <a:pt x="96" y="16"/>
                  </a:lnTo>
                  <a:lnTo>
                    <a:pt x="99" y="15"/>
                  </a:lnTo>
                  <a:lnTo>
                    <a:pt x="110" y="15"/>
                  </a:lnTo>
                  <a:lnTo>
                    <a:pt x="113" y="10"/>
                  </a:lnTo>
                  <a:lnTo>
                    <a:pt x="118" y="10"/>
                  </a:lnTo>
                  <a:lnTo>
                    <a:pt x="119" y="10"/>
                  </a:lnTo>
                  <a:lnTo>
                    <a:pt x="123" y="12"/>
                  </a:lnTo>
                  <a:lnTo>
                    <a:pt x="128" y="12"/>
                  </a:lnTo>
                  <a:lnTo>
                    <a:pt x="141" y="6"/>
                  </a:lnTo>
                  <a:lnTo>
                    <a:pt x="15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24" name="Freeform 1303"/>
            <p:cNvSpPr>
              <a:spLocks/>
            </p:cNvSpPr>
            <p:nvPr/>
          </p:nvSpPr>
          <p:spPr bwMode="auto">
            <a:xfrm>
              <a:off x="6703584" y="2635722"/>
              <a:ext cx="15800" cy="14198"/>
            </a:xfrm>
            <a:custGeom>
              <a:avLst/>
              <a:gdLst/>
              <a:ahLst/>
              <a:cxnLst>
                <a:cxn ang="0">
                  <a:pos x="17" y="14"/>
                </a:cxn>
                <a:cxn ang="0">
                  <a:pos x="8" y="13"/>
                </a:cxn>
                <a:cxn ang="0">
                  <a:pos x="0" y="0"/>
                </a:cxn>
                <a:cxn ang="0">
                  <a:pos x="2" y="0"/>
                </a:cxn>
                <a:cxn ang="0">
                  <a:pos x="4" y="0"/>
                </a:cxn>
                <a:cxn ang="0">
                  <a:pos x="5" y="1"/>
                </a:cxn>
                <a:cxn ang="0">
                  <a:pos x="7" y="3"/>
                </a:cxn>
                <a:cxn ang="0">
                  <a:pos x="10" y="3"/>
                </a:cxn>
                <a:cxn ang="0">
                  <a:pos x="11" y="1"/>
                </a:cxn>
                <a:cxn ang="0">
                  <a:pos x="13" y="3"/>
                </a:cxn>
                <a:cxn ang="0">
                  <a:pos x="16" y="9"/>
                </a:cxn>
                <a:cxn ang="0">
                  <a:pos x="17" y="14"/>
                </a:cxn>
              </a:cxnLst>
              <a:rect l="0" t="0" r="r" b="b"/>
              <a:pathLst>
                <a:path w="17" h="14">
                  <a:moveTo>
                    <a:pt x="17" y="14"/>
                  </a:moveTo>
                  <a:lnTo>
                    <a:pt x="8" y="13"/>
                  </a:lnTo>
                  <a:lnTo>
                    <a:pt x="0" y="0"/>
                  </a:lnTo>
                  <a:lnTo>
                    <a:pt x="2" y="0"/>
                  </a:lnTo>
                  <a:lnTo>
                    <a:pt x="4" y="0"/>
                  </a:lnTo>
                  <a:lnTo>
                    <a:pt x="5" y="1"/>
                  </a:lnTo>
                  <a:lnTo>
                    <a:pt x="7" y="3"/>
                  </a:lnTo>
                  <a:lnTo>
                    <a:pt x="10" y="3"/>
                  </a:lnTo>
                  <a:lnTo>
                    <a:pt x="11" y="1"/>
                  </a:lnTo>
                  <a:lnTo>
                    <a:pt x="13" y="3"/>
                  </a:lnTo>
                  <a:lnTo>
                    <a:pt x="16" y="9"/>
                  </a:lnTo>
                  <a:lnTo>
                    <a:pt x="17" y="1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25" name="Freeform 1304"/>
            <p:cNvSpPr>
              <a:spLocks/>
            </p:cNvSpPr>
            <p:nvPr/>
          </p:nvSpPr>
          <p:spPr bwMode="auto">
            <a:xfrm>
              <a:off x="6703584" y="2635722"/>
              <a:ext cx="15800" cy="14198"/>
            </a:xfrm>
            <a:custGeom>
              <a:avLst/>
              <a:gdLst/>
              <a:ahLst/>
              <a:cxnLst>
                <a:cxn ang="0">
                  <a:pos x="17" y="14"/>
                </a:cxn>
                <a:cxn ang="0">
                  <a:pos x="8" y="13"/>
                </a:cxn>
                <a:cxn ang="0">
                  <a:pos x="0" y="0"/>
                </a:cxn>
                <a:cxn ang="0">
                  <a:pos x="2" y="0"/>
                </a:cxn>
                <a:cxn ang="0">
                  <a:pos x="4" y="0"/>
                </a:cxn>
                <a:cxn ang="0">
                  <a:pos x="5" y="1"/>
                </a:cxn>
                <a:cxn ang="0">
                  <a:pos x="7" y="3"/>
                </a:cxn>
                <a:cxn ang="0">
                  <a:pos x="10" y="3"/>
                </a:cxn>
                <a:cxn ang="0">
                  <a:pos x="11" y="1"/>
                </a:cxn>
                <a:cxn ang="0">
                  <a:pos x="13" y="3"/>
                </a:cxn>
                <a:cxn ang="0">
                  <a:pos x="16" y="9"/>
                </a:cxn>
                <a:cxn ang="0">
                  <a:pos x="17" y="14"/>
                </a:cxn>
              </a:cxnLst>
              <a:rect l="0" t="0" r="r" b="b"/>
              <a:pathLst>
                <a:path w="17" h="14">
                  <a:moveTo>
                    <a:pt x="17" y="14"/>
                  </a:moveTo>
                  <a:lnTo>
                    <a:pt x="8" y="13"/>
                  </a:lnTo>
                  <a:lnTo>
                    <a:pt x="0" y="0"/>
                  </a:lnTo>
                  <a:lnTo>
                    <a:pt x="2" y="0"/>
                  </a:lnTo>
                  <a:lnTo>
                    <a:pt x="4" y="0"/>
                  </a:lnTo>
                  <a:lnTo>
                    <a:pt x="5" y="1"/>
                  </a:lnTo>
                  <a:lnTo>
                    <a:pt x="7" y="3"/>
                  </a:lnTo>
                  <a:lnTo>
                    <a:pt x="10" y="3"/>
                  </a:lnTo>
                  <a:lnTo>
                    <a:pt x="11" y="1"/>
                  </a:lnTo>
                  <a:lnTo>
                    <a:pt x="13" y="3"/>
                  </a:lnTo>
                  <a:lnTo>
                    <a:pt x="16" y="9"/>
                  </a:lnTo>
                  <a:lnTo>
                    <a:pt x="17" y="1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26" name="Freeform 1305"/>
            <p:cNvSpPr>
              <a:spLocks/>
            </p:cNvSpPr>
            <p:nvPr/>
          </p:nvSpPr>
          <p:spPr bwMode="auto">
            <a:xfrm>
              <a:off x="6705341" y="2592115"/>
              <a:ext cx="70224" cy="65918"/>
            </a:xfrm>
            <a:custGeom>
              <a:avLst/>
              <a:gdLst/>
              <a:ahLst/>
              <a:cxnLst>
                <a:cxn ang="0">
                  <a:pos x="22" y="1"/>
                </a:cxn>
                <a:cxn ang="0">
                  <a:pos x="29" y="7"/>
                </a:cxn>
                <a:cxn ang="0">
                  <a:pos x="32" y="13"/>
                </a:cxn>
                <a:cxn ang="0">
                  <a:pos x="41" y="13"/>
                </a:cxn>
                <a:cxn ang="0">
                  <a:pos x="44" y="7"/>
                </a:cxn>
                <a:cxn ang="0">
                  <a:pos x="50" y="1"/>
                </a:cxn>
                <a:cxn ang="0">
                  <a:pos x="67" y="26"/>
                </a:cxn>
                <a:cxn ang="0">
                  <a:pos x="73" y="26"/>
                </a:cxn>
                <a:cxn ang="0">
                  <a:pos x="76" y="30"/>
                </a:cxn>
                <a:cxn ang="0">
                  <a:pos x="70" y="29"/>
                </a:cxn>
                <a:cxn ang="0">
                  <a:pos x="66" y="33"/>
                </a:cxn>
                <a:cxn ang="0">
                  <a:pos x="59" y="51"/>
                </a:cxn>
                <a:cxn ang="0">
                  <a:pos x="56" y="64"/>
                </a:cxn>
                <a:cxn ang="0">
                  <a:pos x="54" y="64"/>
                </a:cxn>
                <a:cxn ang="0">
                  <a:pos x="50" y="61"/>
                </a:cxn>
                <a:cxn ang="0">
                  <a:pos x="45" y="59"/>
                </a:cxn>
                <a:cxn ang="0">
                  <a:pos x="44" y="56"/>
                </a:cxn>
                <a:cxn ang="0">
                  <a:pos x="45" y="48"/>
                </a:cxn>
                <a:cxn ang="0">
                  <a:pos x="41" y="42"/>
                </a:cxn>
                <a:cxn ang="0">
                  <a:pos x="29" y="49"/>
                </a:cxn>
                <a:cxn ang="0">
                  <a:pos x="25" y="56"/>
                </a:cxn>
                <a:cxn ang="0">
                  <a:pos x="21" y="53"/>
                </a:cxn>
                <a:cxn ang="0">
                  <a:pos x="21" y="51"/>
                </a:cxn>
                <a:cxn ang="0">
                  <a:pos x="21" y="48"/>
                </a:cxn>
                <a:cxn ang="0">
                  <a:pos x="21" y="43"/>
                </a:cxn>
                <a:cxn ang="0">
                  <a:pos x="18" y="43"/>
                </a:cxn>
                <a:cxn ang="0">
                  <a:pos x="11" y="37"/>
                </a:cxn>
                <a:cxn ang="0">
                  <a:pos x="12" y="35"/>
                </a:cxn>
                <a:cxn ang="0">
                  <a:pos x="14" y="32"/>
                </a:cxn>
                <a:cxn ang="0">
                  <a:pos x="6" y="26"/>
                </a:cxn>
                <a:cxn ang="0">
                  <a:pos x="6" y="22"/>
                </a:cxn>
                <a:cxn ang="0">
                  <a:pos x="8" y="19"/>
                </a:cxn>
                <a:cxn ang="0">
                  <a:pos x="3" y="17"/>
                </a:cxn>
                <a:cxn ang="0">
                  <a:pos x="0" y="11"/>
                </a:cxn>
                <a:cxn ang="0">
                  <a:pos x="9" y="10"/>
                </a:cxn>
                <a:cxn ang="0">
                  <a:pos x="15" y="13"/>
                </a:cxn>
                <a:cxn ang="0">
                  <a:pos x="22" y="14"/>
                </a:cxn>
                <a:cxn ang="0">
                  <a:pos x="22" y="11"/>
                </a:cxn>
                <a:cxn ang="0">
                  <a:pos x="19" y="7"/>
                </a:cxn>
                <a:cxn ang="0">
                  <a:pos x="18" y="3"/>
                </a:cxn>
              </a:cxnLst>
              <a:rect l="0" t="0" r="r" b="b"/>
              <a:pathLst>
                <a:path w="76" h="64">
                  <a:moveTo>
                    <a:pt x="21" y="0"/>
                  </a:moveTo>
                  <a:lnTo>
                    <a:pt x="22" y="1"/>
                  </a:lnTo>
                  <a:lnTo>
                    <a:pt x="25" y="1"/>
                  </a:lnTo>
                  <a:lnTo>
                    <a:pt x="29" y="7"/>
                  </a:lnTo>
                  <a:lnTo>
                    <a:pt x="31" y="7"/>
                  </a:lnTo>
                  <a:lnTo>
                    <a:pt x="32" y="13"/>
                  </a:lnTo>
                  <a:lnTo>
                    <a:pt x="40" y="13"/>
                  </a:lnTo>
                  <a:lnTo>
                    <a:pt x="41" y="13"/>
                  </a:lnTo>
                  <a:lnTo>
                    <a:pt x="43" y="11"/>
                  </a:lnTo>
                  <a:lnTo>
                    <a:pt x="44" y="7"/>
                  </a:lnTo>
                  <a:lnTo>
                    <a:pt x="48" y="6"/>
                  </a:lnTo>
                  <a:lnTo>
                    <a:pt x="50" y="1"/>
                  </a:lnTo>
                  <a:lnTo>
                    <a:pt x="66" y="24"/>
                  </a:lnTo>
                  <a:lnTo>
                    <a:pt x="67" y="26"/>
                  </a:lnTo>
                  <a:lnTo>
                    <a:pt x="72" y="24"/>
                  </a:lnTo>
                  <a:lnTo>
                    <a:pt x="73" y="26"/>
                  </a:lnTo>
                  <a:lnTo>
                    <a:pt x="75" y="26"/>
                  </a:lnTo>
                  <a:lnTo>
                    <a:pt x="76" y="30"/>
                  </a:lnTo>
                  <a:lnTo>
                    <a:pt x="73" y="29"/>
                  </a:lnTo>
                  <a:lnTo>
                    <a:pt x="70" y="29"/>
                  </a:lnTo>
                  <a:lnTo>
                    <a:pt x="67" y="30"/>
                  </a:lnTo>
                  <a:lnTo>
                    <a:pt x="66" y="33"/>
                  </a:lnTo>
                  <a:lnTo>
                    <a:pt x="61" y="53"/>
                  </a:lnTo>
                  <a:lnTo>
                    <a:pt x="59" y="51"/>
                  </a:lnTo>
                  <a:lnTo>
                    <a:pt x="56" y="52"/>
                  </a:lnTo>
                  <a:lnTo>
                    <a:pt x="56" y="64"/>
                  </a:lnTo>
                  <a:lnTo>
                    <a:pt x="56" y="64"/>
                  </a:lnTo>
                  <a:lnTo>
                    <a:pt x="54" y="64"/>
                  </a:lnTo>
                  <a:lnTo>
                    <a:pt x="51" y="64"/>
                  </a:lnTo>
                  <a:lnTo>
                    <a:pt x="50" y="61"/>
                  </a:lnTo>
                  <a:lnTo>
                    <a:pt x="47" y="61"/>
                  </a:lnTo>
                  <a:lnTo>
                    <a:pt x="45" y="59"/>
                  </a:lnTo>
                  <a:lnTo>
                    <a:pt x="43" y="58"/>
                  </a:lnTo>
                  <a:lnTo>
                    <a:pt x="44" y="56"/>
                  </a:lnTo>
                  <a:lnTo>
                    <a:pt x="48" y="53"/>
                  </a:lnTo>
                  <a:lnTo>
                    <a:pt x="45" y="48"/>
                  </a:lnTo>
                  <a:lnTo>
                    <a:pt x="45" y="45"/>
                  </a:lnTo>
                  <a:lnTo>
                    <a:pt x="41" y="42"/>
                  </a:lnTo>
                  <a:lnTo>
                    <a:pt x="35" y="43"/>
                  </a:lnTo>
                  <a:lnTo>
                    <a:pt x="29" y="49"/>
                  </a:lnTo>
                  <a:lnTo>
                    <a:pt x="28" y="53"/>
                  </a:lnTo>
                  <a:lnTo>
                    <a:pt x="25" y="56"/>
                  </a:lnTo>
                  <a:lnTo>
                    <a:pt x="22" y="56"/>
                  </a:lnTo>
                  <a:lnTo>
                    <a:pt x="21" y="53"/>
                  </a:lnTo>
                  <a:lnTo>
                    <a:pt x="19" y="52"/>
                  </a:lnTo>
                  <a:lnTo>
                    <a:pt x="21" y="51"/>
                  </a:lnTo>
                  <a:lnTo>
                    <a:pt x="22" y="49"/>
                  </a:lnTo>
                  <a:lnTo>
                    <a:pt x="21" y="48"/>
                  </a:lnTo>
                  <a:lnTo>
                    <a:pt x="21" y="45"/>
                  </a:lnTo>
                  <a:lnTo>
                    <a:pt x="21" y="43"/>
                  </a:lnTo>
                  <a:lnTo>
                    <a:pt x="19" y="43"/>
                  </a:lnTo>
                  <a:lnTo>
                    <a:pt x="18" y="43"/>
                  </a:lnTo>
                  <a:lnTo>
                    <a:pt x="14" y="40"/>
                  </a:lnTo>
                  <a:lnTo>
                    <a:pt x="11" y="37"/>
                  </a:lnTo>
                  <a:lnTo>
                    <a:pt x="11" y="36"/>
                  </a:lnTo>
                  <a:lnTo>
                    <a:pt x="12" y="35"/>
                  </a:lnTo>
                  <a:lnTo>
                    <a:pt x="14" y="33"/>
                  </a:lnTo>
                  <a:lnTo>
                    <a:pt x="14" y="32"/>
                  </a:lnTo>
                  <a:lnTo>
                    <a:pt x="8" y="27"/>
                  </a:lnTo>
                  <a:lnTo>
                    <a:pt x="6" y="26"/>
                  </a:lnTo>
                  <a:lnTo>
                    <a:pt x="6" y="24"/>
                  </a:lnTo>
                  <a:lnTo>
                    <a:pt x="6" y="22"/>
                  </a:lnTo>
                  <a:lnTo>
                    <a:pt x="8" y="20"/>
                  </a:lnTo>
                  <a:lnTo>
                    <a:pt x="8" y="19"/>
                  </a:lnTo>
                  <a:lnTo>
                    <a:pt x="5" y="17"/>
                  </a:lnTo>
                  <a:lnTo>
                    <a:pt x="3" y="17"/>
                  </a:lnTo>
                  <a:lnTo>
                    <a:pt x="0" y="11"/>
                  </a:lnTo>
                  <a:lnTo>
                    <a:pt x="0" y="11"/>
                  </a:lnTo>
                  <a:lnTo>
                    <a:pt x="5" y="8"/>
                  </a:lnTo>
                  <a:lnTo>
                    <a:pt x="9" y="10"/>
                  </a:lnTo>
                  <a:lnTo>
                    <a:pt x="11" y="11"/>
                  </a:lnTo>
                  <a:lnTo>
                    <a:pt x="15" y="13"/>
                  </a:lnTo>
                  <a:lnTo>
                    <a:pt x="16" y="13"/>
                  </a:lnTo>
                  <a:lnTo>
                    <a:pt x="22" y="14"/>
                  </a:lnTo>
                  <a:lnTo>
                    <a:pt x="24" y="13"/>
                  </a:lnTo>
                  <a:lnTo>
                    <a:pt x="22" y="11"/>
                  </a:lnTo>
                  <a:lnTo>
                    <a:pt x="19" y="8"/>
                  </a:lnTo>
                  <a:lnTo>
                    <a:pt x="19" y="7"/>
                  </a:lnTo>
                  <a:lnTo>
                    <a:pt x="18" y="6"/>
                  </a:lnTo>
                  <a:lnTo>
                    <a:pt x="18" y="3"/>
                  </a:lnTo>
                  <a:lnTo>
                    <a:pt x="2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27" name="Freeform 1306"/>
            <p:cNvSpPr>
              <a:spLocks/>
            </p:cNvSpPr>
            <p:nvPr/>
          </p:nvSpPr>
          <p:spPr bwMode="auto">
            <a:xfrm>
              <a:off x="6705341" y="2592115"/>
              <a:ext cx="70224" cy="65918"/>
            </a:xfrm>
            <a:custGeom>
              <a:avLst/>
              <a:gdLst/>
              <a:ahLst/>
              <a:cxnLst>
                <a:cxn ang="0">
                  <a:pos x="22" y="1"/>
                </a:cxn>
                <a:cxn ang="0">
                  <a:pos x="29" y="7"/>
                </a:cxn>
                <a:cxn ang="0">
                  <a:pos x="32" y="13"/>
                </a:cxn>
                <a:cxn ang="0">
                  <a:pos x="41" y="13"/>
                </a:cxn>
                <a:cxn ang="0">
                  <a:pos x="44" y="7"/>
                </a:cxn>
                <a:cxn ang="0">
                  <a:pos x="50" y="1"/>
                </a:cxn>
                <a:cxn ang="0">
                  <a:pos x="67" y="26"/>
                </a:cxn>
                <a:cxn ang="0">
                  <a:pos x="73" y="26"/>
                </a:cxn>
                <a:cxn ang="0">
                  <a:pos x="76" y="30"/>
                </a:cxn>
                <a:cxn ang="0">
                  <a:pos x="70" y="29"/>
                </a:cxn>
                <a:cxn ang="0">
                  <a:pos x="66" y="33"/>
                </a:cxn>
                <a:cxn ang="0">
                  <a:pos x="59" y="51"/>
                </a:cxn>
                <a:cxn ang="0">
                  <a:pos x="56" y="64"/>
                </a:cxn>
                <a:cxn ang="0">
                  <a:pos x="54" y="64"/>
                </a:cxn>
                <a:cxn ang="0">
                  <a:pos x="50" y="61"/>
                </a:cxn>
                <a:cxn ang="0">
                  <a:pos x="45" y="59"/>
                </a:cxn>
                <a:cxn ang="0">
                  <a:pos x="44" y="56"/>
                </a:cxn>
                <a:cxn ang="0">
                  <a:pos x="45" y="48"/>
                </a:cxn>
                <a:cxn ang="0">
                  <a:pos x="41" y="42"/>
                </a:cxn>
                <a:cxn ang="0">
                  <a:pos x="29" y="49"/>
                </a:cxn>
                <a:cxn ang="0">
                  <a:pos x="25" y="56"/>
                </a:cxn>
                <a:cxn ang="0">
                  <a:pos x="21" y="53"/>
                </a:cxn>
                <a:cxn ang="0">
                  <a:pos x="21" y="51"/>
                </a:cxn>
                <a:cxn ang="0">
                  <a:pos x="21" y="48"/>
                </a:cxn>
                <a:cxn ang="0">
                  <a:pos x="21" y="43"/>
                </a:cxn>
                <a:cxn ang="0">
                  <a:pos x="18" y="43"/>
                </a:cxn>
                <a:cxn ang="0">
                  <a:pos x="11" y="37"/>
                </a:cxn>
                <a:cxn ang="0">
                  <a:pos x="12" y="35"/>
                </a:cxn>
                <a:cxn ang="0">
                  <a:pos x="14" y="32"/>
                </a:cxn>
                <a:cxn ang="0">
                  <a:pos x="6" y="26"/>
                </a:cxn>
                <a:cxn ang="0">
                  <a:pos x="6" y="22"/>
                </a:cxn>
                <a:cxn ang="0">
                  <a:pos x="8" y="19"/>
                </a:cxn>
                <a:cxn ang="0">
                  <a:pos x="3" y="17"/>
                </a:cxn>
                <a:cxn ang="0">
                  <a:pos x="0" y="11"/>
                </a:cxn>
                <a:cxn ang="0">
                  <a:pos x="9" y="10"/>
                </a:cxn>
                <a:cxn ang="0">
                  <a:pos x="15" y="13"/>
                </a:cxn>
                <a:cxn ang="0">
                  <a:pos x="22" y="14"/>
                </a:cxn>
                <a:cxn ang="0">
                  <a:pos x="22" y="11"/>
                </a:cxn>
                <a:cxn ang="0">
                  <a:pos x="19" y="7"/>
                </a:cxn>
                <a:cxn ang="0">
                  <a:pos x="18" y="3"/>
                </a:cxn>
              </a:cxnLst>
              <a:rect l="0" t="0" r="r" b="b"/>
              <a:pathLst>
                <a:path w="76" h="64">
                  <a:moveTo>
                    <a:pt x="21" y="0"/>
                  </a:moveTo>
                  <a:lnTo>
                    <a:pt x="22" y="1"/>
                  </a:lnTo>
                  <a:lnTo>
                    <a:pt x="25" y="1"/>
                  </a:lnTo>
                  <a:lnTo>
                    <a:pt x="29" y="7"/>
                  </a:lnTo>
                  <a:lnTo>
                    <a:pt x="31" y="7"/>
                  </a:lnTo>
                  <a:lnTo>
                    <a:pt x="32" y="13"/>
                  </a:lnTo>
                  <a:lnTo>
                    <a:pt x="40" y="13"/>
                  </a:lnTo>
                  <a:lnTo>
                    <a:pt x="41" y="13"/>
                  </a:lnTo>
                  <a:lnTo>
                    <a:pt x="43" y="11"/>
                  </a:lnTo>
                  <a:lnTo>
                    <a:pt x="44" y="7"/>
                  </a:lnTo>
                  <a:lnTo>
                    <a:pt x="48" y="6"/>
                  </a:lnTo>
                  <a:lnTo>
                    <a:pt x="50" y="1"/>
                  </a:lnTo>
                  <a:lnTo>
                    <a:pt x="66" y="24"/>
                  </a:lnTo>
                  <a:lnTo>
                    <a:pt x="67" y="26"/>
                  </a:lnTo>
                  <a:lnTo>
                    <a:pt x="72" y="24"/>
                  </a:lnTo>
                  <a:lnTo>
                    <a:pt x="73" y="26"/>
                  </a:lnTo>
                  <a:lnTo>
                    <a:pt x="75" y="26"/>
                  </a:lnTo>
                  <a:lnTo>
                    <a:pt x="76" y="30"/>
                  </a:lnTo>
                  <a:lnTo>
                    <a:pt x="73" y="29"/>
                  </a:lnTo>
                  <a:lnTo>
                    <a:pt x="70" y="29"/>
                  </a:lnTo>
                  <a:lnTo>
                    <a:pt x="67" y="30"/>
                  </a:lnTo>
                  <a:lnTo>
                    <a:pt x="66" y="33"/>
                  </a:lnTo>
                  <a:lnTo>
                    <a:pt x="61" y="53"/>
                  </a:lnTo>
                  <a:lnTo>
                    <a:pt x="59" y="51"/>
                  </a:lnTo>
                  <a:lnTo>
                    <a:pt x="56" y="52"/>
                  </a:lnTo>
                  <a:lnTo>
                    <a:pt x="56" y="64"/>
                  </a:lnTo>
                  <a:lnTo>
                    <a:pt x="56" y="64"/>
                  </a:lnTo>
                  <a:lnTo>
                    <a:pt x="54" y="64"/>
                  </a:lnTo>
                  <a:lnTo>
                    <a:pt x="51" y="64"/>
                  </a:lnTo>
                  <a:lnTo>
                    <a:pt x="50" y="61"/>
                  </a:lnTo>
                  <a:lnTo>
                    <a:pt x="47" y="61"/>
                  </a:lnTo>
                  <a:lnTo>
                    <a:pt x="45" y="59"/>
                  </a:lnTo>
                  <a:lnTo>
                    <a:pt x="43" y="58"/>
                  </a:lnTo>
                  <a:lnTo>
                    <a:pt x="44" y="56"/>
                  </a:lnTo>
                  <a:lnTo>
                    <a:pt x="48" y="53"/>
                  </a:lnTo>
                  <a:lnTo>
                    <a:pt x="45" y="48"/>
                  </a:lnTo>
                  <a:lnTo>
                    <a:pt x="45" y="45"/>
                  </a:lnTo>
                  <a:lnTo>
                    <a:pt x="41" y="42"/>
                  </a:lnTo>
                  <a:lnTo>
                    <a:pt x="35" y="43"/>
                  </a:lnTo>
                  <a:lnTo>
                    <a:pt x="29" y="49"/>
                  </a:lnTo>
                  <a:lnTo>
                    <a:pt x="28" y="53"/>
                  </a:lnTo>
                  <a:lnTo>
                    <a:pt x="25" y="56"/>
                  </a:lnTo>
                  <a:lnTo>
                    <a:pt x="22" y="56"/>
                  </a:lnTo>
                  <a:lnTo>
                    <a:pt x="21" y="53"/>
                  </a:lnTo>
                  <a:lnTo>
                    <a:pt x="19" y="52"/>
                  </a:lnTo>
                  <a:lnTo>
                    <a:pt x="21" y="51"/>
                  </a:lnTo>
                  <a:lnTo>
                    <a:pt x="22" y="49"/>
                  </a:lnTo>
                  <a:lnTo>
                    <a:pt x="21" y="48"/>
                  </a:lnTo>
                  <a:lnTo>
                    <a:pt x="21" y="45"/>
                  </a:lnTo>
                  <a:lnTo>
                    <a:pt x="21" y="43"/>
                  </a:lnTo>
                  <a:lnTo>
                    <a:pt x="19" y="43"/>
                  </a:lnTo>
                  <a:lnTo>
                    <a:pt x="18" y="43"/>
                  </a:lnTo>
                  <a:lnTo>
                    <a:pt x="14" y="40"/>
                  </a:lnTo>
                  <a:lnTo>
                    <a:pt x="11" y="37"/>
                  </a:lnTo>
                  <a:lnTo>
                    <a:pt x="11" y="36"/>
                  </a:lnTo>
                  <a:lnTo>
                    <a:pt x="12" y="35"/>
                  </a:lnTo>
                  <a:lnTo>
                    <a:pt x="14" y="33"/>
                  </a:lnTo>
                  <a:lnTo>
                    <a:pt x="14" y="32"/>
                  </a:lnTo>
                  <a:lnTo>
                    <a:pt x="8" y="27"/>
                  </a:lnTo>
                  <a:lnTo>
                    <a:pt x="6" y="26"/>
                  </a:lnTo>
                  <a:lnTo>
                    <a:pt x="6" y="24"/>
                  </a:lnTo>
                  <a:lnTo>
                    <a:pt x="6" y="22"/>
                  </a:lnTo>
                  <a:lnTo>
                    <a:pt x="8" y="20"/>
                  </a:lnTo>
                  <a:lnTo>
                    <a:pt x="8" y="19"/>
                  </a:lnTo>
                  <a:lnTo>
                    <a:pt x="5" y="17"/>
                  </a:lnTo>
                  <a:lnTo>
                    <a:pt x="3" y="17"/>
                  </a:lnTo>
                  <a:lnTo>
                    <a:pt x="0" y="11"/>
                  </a:lnTo>
                  <a:lnTo>
                    <a:pt x="0" y="11"/>
                  </a:lnTo>
                  <a:lnTo>
                    <a:pt x="5" y="8"/>
                  </a:lnTo>
                  <a:lnTo>
                    <a:pt x="9" y="10"/>
                  </a:lnTo>
                  <a:lnTo>
                    <a:pt x="11" y="11"/>
                  </a:lnTo>
                  <a:lnTo>
                    <a:pt x="15" y="13"/>
                  </a:lnTo>
                  <a:lnTo>
                    <a:pt x="16" y="13"/>
                  </a:lnTo>
                  <a:lnTo>
                    <a:pt x="22" y="14"/>
                  </a:lnTo>
                  <a:lnTo>
                    <a:pt x="24" y="13"/>
                  </a:lnTo>
                  <a:lnTo>
                    <a:pt x="22" y="11"/>
                  </a:lnTo>
                  <a:lnTo>
                    <a:pt x="19" y="8"/>
                  </a:lnTo>
                  <a:lnTo>
                    <a:pt x="19" y="7"/>
                  </a:lnTo>
                  <a:lnTo>
                    <a:pt x="18" y="6"/>
                  </a:lnTo>
                  <a:lnTo>
                    <a:pt x="18" y="3"/>
                  </a:lnTo>
                  <a:lnTo>
                    <a:pt x="2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28" name="Freeform 1307"/>
            <p:cNvSpPr>
              <a:spLocks/>
            </p:cNvSpPr>
            <p:nvPr/>
          </p:nvSpPr>
          <p:spPr bwMode="auto">
            <a:xfrm>
              <a:off x="6238350" y="2756403"/>
              <a:ext cx="206284" cy="226152"/>
            </a:xfrm>
            <a:custGeom>
              <a:avLst/>
              <a:gdLst/>
              <a:ahLst/>
              <a:cxnLst>
                <a:cxn ang="0">
                  <a:pos x="30" y="143"/>
                </a:cxn>
                <a:cxn ang="0">
                  <a:pos x="14" y="140"/>
                </a:cxn>
                <a:cxn ang="0">
                  <a:pos x="10" y="127"/>
                </a:cxn>
                <a:cxn ang="0">
                  <a:pos x="1" y="113"/>
                </a:cxn>
                <a:cxn ang="0">
                  <a:pos x="7" y="109"/>
                </a:cxn>
                <a:cxn ang="0">
                  <a:pos x="0" y="54"/>
                </a:cxn>
                <a:cxn ang="0">
                  <a:pos x="3" y="48"/>
                </a:cxn>
                <a:cxn ang="0">
                  <a:pos x="6" y="47"/>
                </a:cxn>
                <a:cxn ang="0">
                  <a:pos x="13" y="39"/>
                </a:cxn>
                <a:cxn ang="0">
                  <a:pos x="11" y="31"/>
                </a:cxn>
                <a:cxn ang="0">
                  <a:pos x="13" y="25"/>
                </a:cxn>
                <a:cxn ang="0">
                  <a:pos x="20" y="19"/>
                </a:cxn>
                <a:cxn ang="0">
                  <a:pos x="30" y="10"/>
                </a:cxn>
                <a:cxn ang="0">
                  <a:pos x="43" y="6"/>
                </a:cxn>
                <a:cxn ang="0">
                  <a:pos x="55" y="4"/>
                </a:cxn>
                <a:cxn ang="0">
                  <a:pos x="61" y="6"/>
                </a:cxn>
                <a:cxn ang="0">
                  <a:pos x="84" y="13"/>
                </a:cxn>
                <a:cxn ang="0">
                  <a:pos x="85" y="22"/>
                </a:cxn>
                <a:cxn ang="0">
                  <a:pos x="128" y="41"/>
                </a:cxn>
                <a:cxn ang="0">
                  <a:pos x="136" y="48"/>
                </a:cxn>
                <a:cxn ang="0">
                  <a:pos x="148" y="44"/>
                </a:cxn>
                <a:cxn ang="0">
                  <a:pos x="154" y="34"/>
                </a:cxn>
                <a:cxn ang="0">
                  <a:pos x="152" y="28"/>
                </a:cxn>
                <a:cxn ang="0">
                  <a:pos x="151" y="22"/>
                </a:cxn>
                <a:cxn ang="0">
                  <a:pos x="167" y="6"/>
                </a:cxn>
                <a:cxn ang="0">
                  <a:pos x="191" y="7"/>
                </a:cxn>
                <a:cxn ang="0">
                  <a:pos x="196" y="9"/>
                </a:cxn>
                <a:cxn ang="0">
                  <a:pos x="196" y="12"/>
                </a:cxn>
                <a:cxn ang="0">
                  <a:pos x="194" y="15"/>
                </a:cxn>
                <a:cxn ang="0">
                  <a:pos x="199" y="16"/>
                </a:cxn>
                <a:cxn ang="0">
                  <a:pos x="222" y="20"/>
                </a:cxn>
                <a:cxn ang="0">
                  <a:pos x="225" y="25"/>
                </a:cxn>
                <a:cxn ang="0">
                  <a:pos x="223" y="26"/>
                </a:cxn>
                <a:cxn ang="0">
                  <a:pos x="221" y="31"/>
                </a:cxn>
                <a:cxn ang="0">
                  <a:pos x="222" y="34"/>
                </a:cxn>
                <a:cxn ang="0">
                  <a:pos x="222" y="48"/>
                </a:cxn>
                <a:cxn ang="0">
                  <a:pos x="219" y="50"/>
                </a:cxn>
                <a:cxn ang="0">
                  <a:pos x="219" y="57"/>
                </a:cxn>
                <a:cxn ang="0">
                  <a:pos x="221" y="63"/>
                </a:cxn>
                <a:cxn ang="0">
                  <a:pos x="225" y="208"/>
                </a:cxn>
                <a:cxn ang="0">
                  <a:pos x="212" y="217"/>
                </a:cxn>
                <a:cxn ang="0">
                  <a:pos x="97" y="157"/>
                </a:cxn>
                <a:cxn ang="0">
                  <a:pos x="75" y="160"/>
                </a:cxn>
                <a:cxn ang="0">
                  <a:pos x="71" y="157"/>
                </a:cxn>
                <a:cxn ang="0">
                  <a:pos x="38" y="154"/>
                </a:cxn>
              </a:cxnLst>
              <a:rect l="0" t="0" r="r" b="b"/>
              <a:pathLst>
                <a:path w="225" h="217">
                  <a:moveTo>
                    <a:pt x="36" y="156"/>
                  </a:moveTo>
                  <a:lnTo>
                    <a:pt x="30" y="143"/>
                  </a:lnTo>
                  <a:lnTo>
                    <a:pt x="22" y="140"/>
                  </a:lnTo>
                  <a:lnTo>
                    <a:pt x="14" y="140"/>
                  </a:lnTo>
                  <a:lnTo>
                    <a:pt x="11" y="135"/>
                  </a:lnTo>
                  <a:lnTo>
                    <a:pt x="10" y="127"/>
                  </a:lnTo>
                  <a:lnTo>
                    <a:pt x="3" y="116"/>
                  </a:lnTo>
                  <a:lnTo>
                    <a:pt x="1" y="113"/>
                  </a:lnTo>
                  <a:lnTo>
                    <a:pt x="1" y="112"/>
                  </a:lnTo>
                  <a:lnTo>
                    <a:pt x="7" y="109"/>
                  </a:lnTo>
                  <a:lnTo>
                    <a:pt x="6" y="63"/>
                  </a:lnTo>
                  <a:lnTo>
                    <a:pt x="0" y="54"/>
                  </a:lnTo>
                  <a:lnTo>
                    <a:pt x="0" y="50"/>
                  </a:lnTo>
                  <a:lnTo>
                    <a:pt x="3" y="48"/>
                  </a:lnTo>
                  <a:lnTo>
                    <a:pt x="3" y="47"/>
                  </a:lnTo>
                  <a:lnTo>
                    <a:pt x="6" y="47"/>
                  </a:lnTo>
                  <a:lnTo>
                    <a:pt x="11" y="42"/>
                  </a:lnTo>
                  <a:lnTo>
                    <a:pt x="13" y="39"/>
                  </a:lnTo>
                  <a:lnTo>
                    <a:pt x="13" y="38"/>
                  </a:lnTo>
                  <a:lnTo>
                    <a:pt x="11" y="31"/>
                  </a:lnTo>
                  <a:lnTo>
                    <a:pt x="13" y="28"/>
                  </a:lnTo>
                  <a:lnTo>
                    <a:pt x="13" y="25"/>
                  </a:lnTo>
                  <a:lnTo>
                    <a:pt x="19" y="22"/>
                  </a:lnTo>
                  <a:lnTo>
                    <a:pt x="20" y="19"/>
                  </a:lnTo>
                  <a:lnTo>
                    <a:pt x="29" y="13"/>
                  </a:lnTo>
                  <a:lnTo>
                    <a:pt x="30" y="10"/>
                  </a:lnTo>
                  <a:lnTo>
                    <a:pt x="30" y="0"/>
                  </a:lnTo>
                  <a:lnTo>
                    <a:pt x="43" y="6"/>
                  </a:lnTo>
                  <a:lnTo>
                    <a:pt x="49" y="6"/>
                  </a:lnTo>
                  <a:lnTo>
                    <a:pt x="55" y="4"/>
                  </a:lnTo>
                  <a:lnTo>
                    <a:pt x="58" y="4"/>
                  </a:lnTo>
                  <a:lnTo>
                    <a:pt x="61" y="6"/>
                  </a:lnTo>
                  <a:lnTo>
                    <a:pt x="65" y="6"/>
                  </a:lnTo>
                  <a:lnTo>
                    <a:pt x="84" y="13"/>
                  </a:lnTo>
                  <a:lnTo>
                    <a:pt x="85" y="15"/>
                  </a:lnTo>
                  <a:lnTo>
                    <a:pt x="85" y="22"/>
                  </a:lnTo>
                  <a:lnTo>
                    <a:pt x="93" y="31"/>
                  </a:lnTo>
                  <a:lnTo>
                    <a:pt x="128" y="41"/>
                  </a:lnTo>
                  <a:lnTo>
                    <a:pt x="133" y="47"/>
                  </a:lnTo>
                  <a:lnTo>
                    <a:pt x="136" y="48"/>
                  </a:lnTo>
                  <a:lnTo>
                    <a:pt x="141" y="48"/>
                  </a:lnTo>
                  <a:lnTo>
                    <a:pt x="148" y="44"/>
                  </a:lnTo>
                  <a:lnTo>
                    <a:pt x="154" y="36"/>
                  </a:lnTo>
                  <a:lnTo>
                    <a:pt x="154" y="34"/>
                  </a:lnTo>
                  <a:lnTo>
                    <a:pt x="152" y="31"/>
                  </a:lnTo>
                  <a:lnTo>
                    <a:pt x="152" y="28"/>
                  </a:lnTo>
                  <a:lnTo>
                    <a:pt x="151" y="26"/>
                  </a:lnTo>
                  <a:lnTo>
                    <a:pt x="151" y="22"/>
                  </a:lnTo>
                  <a:lnTo>
                    <a:pt x="151" y="19"/>
                  </a:lnTo>
                  <a:lnTo>
                    <a:pt x="167" y="6"/>
                  </a:lnTo>
                  <a:lnTo>
                    <a:pt x="181" y="4"/>
                  </a:lnTo>
                  <a:lnTo>
                    <a:pt x="191" y="7"/>
                  </a:lnTo>
                  <a:lnTo>
                    <a:pt x="193" y="7"/>
                  </a:lnTo>
                  <a:lnTo>
                    <a:pt x="196" y="9"/>
                  </a:lnTo>
                  <a:lnTo>
                    <a:pt x="196" y="12"/>
                  </a:lnTo>
                  <a:lnTo>
                    <a:pt x="196" y="12"/>
                  </a:lnTo>
                  <a:lnTo>
                    <a:pt x="194" y="12"/>
                  </a:lnTo>
                  <a:lnTo>
                    <a:pt x="194" y="15"/>
                  </a:lnTo>
                  <a:lnTo>
                    <a:pt x="197" y="16"/>
                  </a:lnTo>
                  <a:lnTo>
                    <a:pt x="199" y="16"/>
                  </a:lnTo>
                  <a:lnTo>
                    <a:pt x="200" y="16"/>
                  </a:lnTo>
                  <a:lnTo>
                    <a:pt x="222" y="20"/>
                  </a:lnTo>
                  <a:lnTo>
                    <a:pt x="223" y="22"/>
                  </a:lnTo>
                  <a:lnTo>
                    <a:pt x="225" y="25"/>
                  </a:lnTo>
                  <a:lnTo>
                    <a:pt x="225" y="25"/>
                  </a:lnTo>
                  <a:lnTo>
                    <a:pt x="223" y="26"/>
                  </a:lnTo>
                  <a:lnTo>
                    <a:pt x="223" y="28"/>
                  </a:lnTo>
                  <a:lnTo>
                    <a:pt x="221" y="31"/>
                  </a:lnTo>
                  <a:lnTo>
                    <a:pt x="221" y="31"/>
                  </a:lnTo>
                  <a:lnTo>
                    <a:pt x="222" y="34"/>
                  </a:lnTo>
                  <a:lnTo>
                    <a:pt x="222" y="47"/>
                  </a:lnTo>
                  <a:lnTo>
                    <a:pt x="222" y="48"/>
                  </a:lnTo>
                  <a:lnTo>
                    <a:pt x="221" y="50"/>
                  </a:lnTo>
                  <a:lnTo>
                    <a:pt x="219" y="50"/>
                  </a:lnTo>
                  <a:lnTo>
                    <a:pt x="219" y="51"/>
                  </a:lnTo>
                  <a:lnTo>
                    <a:pt x="219" y="57"/>
                  </a:lnTo>
                  <a:lnTo>
                    <a:pt x="222" y="60"/>
                  </a:lnTo>
                  <a:lnTo>
                    <a:pt x="221" y="63"/>
                  </a:lnTo>
                  <a:lnTo>
                    <a:pt x="225" y="68"/>
                  </a:lnTo>
                  <a:lnTo>
                    <a:pt x="225" y="208"/>
                  </a:lnTo>
                  <a:lnTo>
                    <a:pt x="212" y="208"/>
                  </a:lnTo>
                  <a:lnTo>
                    <a:pt x="212" y="217"/>
                  </a:lnTo>
                  <a:lnTo>
                    <a:pt x="209" y="217"/>
                  </a:lnTo>
                  <a:lnTo>
                    <a:pt x="97" y="157"/>
                  </a:lnTo>
                  <a:lnTo>
                    <a:pt x="78" y="164"/>
                  </a:lnTo>
                  <a:lnTo>
                    <a:pt x="75" y="160"/>
                  </a:lnTo>
                  <a:lnTo>
                    <a:pt x="72" y="158"/>
                  </a:lnTo>
                  <a:lnTo>
                    <a:pt x="71" y="157"/>
                  </a:lnTo>
                  <a:lnTo>
                    <a:pt x="70" y="157"/>
                  </a:lnTo>
                  <a:lnTo>
                    <a:pt x="38" y="154"/>
                  </a:lnTo>
                  <a:lnTo>
                    <a:pt x="36" y="156"/>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29" name="Freeform 1309"/>
            <p:cNvSpPr>
              <a:spLocks/>
            </p:cNvSpPr>
            <p:nvPr/>
          </p:nvSpPr>
          <p:spPr bwMode="auto">
            <a:xfrm>
              <a:off x="5960087" y="2893311"/>
              <a:ext cx="213305" cy="230208"/>
            </a:xfrm>
            <a:custGeom>
              <a:avLst/>
              <a:gdLst/>
              <a:ahLst/>
              <a:cxnLst>
                <a:cxn ang="0">
                  <a:pos x="191" y="61"/>
                </a:cxn>
                <a:cxn ang="0">
                  <a:pos x="196" y="67"/>
                </a:cxn>
                <a:cxn ang="0">
                  <a:pos x="204" y="73"/>
                </a:cxn>
                <a:cxn ang="0">
                  <a:pos x="208" y="76"/>
                </a:cxn>
                <a:cxn ang="0">
                  <a:pos x="215" y="77"/>
                </a:cxn>
                <a:cxn ang="0">
                  <a:pos x="220" y="80"/>
                </a:cxn>
                <a:cxn ang="0">
                  <a:pos x="220" y="83"/>
                </a:cxn>
                <a:cxn ang="0">
                  <a:pos x="218" y="88"/>
                </a:cxn>
                <a:cxn ang="0">
                  <a:pos x="224" y="92"/>
                </a:cxn>
                <a:cxn ang="0">
                  <a:pos x="233" y="90"/>
                </a:cxn>
                <a:cxn ang="0">
                  <a:pos x="228" y="137"/>
                </a:cxn>
                <a:cxn ang="0">
                  <a:pos x="223" y="144"/>
                </a:cxn>
                <a:cxn ang="0">
                  <a:pos x="215" y="146"/>
                </a:cxn>
                <a:cxn ang="0">
                  <a:pos x="147" y="165"/>
                </a:cxn>
                <a:cxn ang="0">
                  <a:pos x="118" y="178"/>
                </a:cxn>
                <a:cxn ang="0">
                  <a:pos x="99" y="218"/>
                </a:cxn>
                <a:cxn ang="0">
                  <a:pos x="95" y="217"/>
                </a:cxn>
                <a:cxn ang="0">
                  <a:pos x="89" y="218"/>
                </a:cxn>
                <a:cxn ang="0">
                  <a:pos x="86" y="215"/>
                </a:cxn>
                <a:cxn ang="0">
                  <a:pos x="85" y="212"/>
                </a:cxn>
                <a:cxn ang="0">
                  <a:pos x="82" y="215"/>
                </a:cxn>
                <a:cxn ang="0">
                  <a:pos x="79" y="215"/>
                </a:cxn>
                <a:cxn ang="0">
                  <a:pos x="74" y="218"/>
                </a:cxn>
                <a:cxn ang="0">
                  <a:pos x="72" y="220"/>
                </a:cxn>
                <a:cxn ang="0">
                  <a:pos x="69" y="220"/>
                </a:cxn>
                <a:cxn ang="0">
                  <a:pos x="66" y="217"/>
                </a:cxn>
                <a:cxn ang="0">
                  <a:pos x="63" y="218"/>
                </a:cxn>
                <a:cxn ang="0">
                  <a:pos x="60" y="220"/>
                </a:cxn>
                <a:cxn ang="0">
                  <a:pos x="57" y="217"/>
                </a:cxn>
                <a:cxn ang="0">
                  <a:pos x="53" y="208"/>
                </a:cxn>
                <a:cxn ang="0">
                  <a:pos x="51" y="207"/>
                </a:cxn>
                <a:cxn ang="0">
                  <a:pos x="54" y="205"/>
                </a:cxn>
                <a:cxn ang="0">
                  <a:pos x="53" y="202"/>
                </a:cxn>
                <a:cxn ang="0">
                  <a:pos x="48" y="199"/>
                </a:cxn>
                <a:cxn ang="0">
                  <a:pos x="47" y="194"/>
                </a:cxn>
                <a:cxn ang="0">
                  <a:pos x="45" y="191"/>
                </a:cxn>
                <a:cxn ang="0">
                  <a:pos x="44" y="186"/>
                </a:cxn>
                <a:cxn ang="0">
                  <a:pos x="41" y="186"/>
                </a:cxn>
                <a:cxn ang="0">
                  <a:pos x="37" y="191"/>
                </a:cxn>
                <a:cxn ang="0">
                  <a:pos x="29" y="191"/>
                </a:cxn>
                <a:cxn ang="0">
                  <a:pos x="24" y="194"/>
                </a:cxn>
                <a:cxn ang="0">
                  <a:pos x="18" y="191"/>
                </a:cxn>
                <a:cxn ang="0">
                  <a:pos x="13" y="194"/>
                </a:cxn>
                <a:cxn ang="0">
                  <a:pos x="12" y="189"/>
                </a:cxn>
                <a:cxn ang="0">
                  <a:pos x="12" y="186"/>
                </a:cxn>
                <a:cxn ang="0">
                  <a:pos x="12" y="182"/>
                </a:cxn>
                <a:cxn ang="0">
                  <a:pos x="12" y="179"/>
                </a:cxn>
                <a:cxn ang="0">
                  <a:pos x="9" y="175"/>
                </a:cxn>
                <a:cxn ang="0">
                  <a:pos x="6" y="175"/>
                </a:cxn>
                <a:cxn ang="0">
                  <a:pos x="3" y="169"/>
                </a:cxn>
                <a:cxn ang="0">
                  <a:pos x="3" y="162"/>
                </a:cxn>
                <a:cxn ang="0">
                  <a:pos x="2" y="159"/>
                </a:cxn>
                <a:cxn ang="0">
                  <a:pos x="0" y="154"/>
                </a:cxn>
                <a:cxn ang="0">
                  <a:pos x="12" y="138"/>
                </a:cxn>
                <a:cxn ang="0">
                  <a:pos x="19" y="147"/>
                </a:cxn>
                <a:cxn ang="0">
                  <a:pos x="98" y="131"/>
                </a:cxn>
                <a:cxn ang="0">
                  <a:pos x="121" y="12"/>
                </a:cxn>
              </a:cxnLst>
              <a:rect l="0" t="0" r="r" b="b"/>
              <a:pathLst>
                <a:path w="233" h="221">
                  <a:moveTo>
                    <a:pt x="121" y="12"/>
                  </a:moveTo>
                  <a:lnTo>
                    <a:pt x="189" y="58"/>
                  </a:lnTo>
                  <a:lnTo>
                    <a:pt x="189" y="60"/>
                  </a:lnTo>
                  <a:lnTo>
                    <a:pt x="191" y="61"/>
                  </a:lnTo>
                  <a:lnTo>
                    <a:pt x="189" y="63"/>
                  </a:lnTo>
                  <a:lnTo>
                    <a:pt x="189" y="64"/>
                  </a:lnTo>
                  <a:lnTo>
                    <a:pt x="196" y="67"/>
                  </a:lnTo>
                  <a:lnTo>
                    <a:pt x="196" y="67"/>
                  </a:lnTo>
                  <a:lnTo>
                    <a:pt x="196" y="69"/>
                  </a:lnTo>
                  <a:lnTo>
                    <a:pt x="198" y="70"/>
                  </a:lnTo>
                  <a:lnTo>
                    <a:pt x="201" y="73"/>
                  </a:lnTo>
                  <a:lnTo>
                    <a:pt x="204" y="73"/>
                  </a:lnTo>
                  <a:lnTo>
                    <a:pt x="205" y="73"/>
                  </a:lnTo>
                  <a:lnTo>
                    <a:pt x="207" y="73"/>
                  </a:lnTo>
                  <a:lnTo>
                    <a:pt x="207" y="74"/>
                  </a:lnTo>
                  <a:lnTo>
                    <a:pt x="208" y="76"/>
                  </a:lnTo>
                  <a:lnTo>
                    <a:pt x="211" y="76"/>
                  </a:lnTo>
                  <a:lnTo>
                    <a:pt x="212" y="76"/>
                  </a:lnTo>
                  <a:lnTo>
                    <a:pt x="212" y="76"/>
                  </a:lnTo>
                  <a:lnTo>
                    <a:pt x="215" y="77"/>
                  </a:lnTo>
                  <a:lnTo>
                    <a:pt x="218" y="79"/>
                  </a:lnTo>
                  <a:lnTo>
                    <a:pt x="218" y="79"/>
                  </a:lnTo>
                  <a:lnTo>
                    <a:pt x="218" y="79"/>
                  </a:lnTo>
                  <a:lnTo>
                    <a:pt x="220" y="80"/>
                  </a:lnTo>
                  <a:lnTo>
                    <a:pt x="220" y="82"/>
                  </a:lnTo>
                  <a:lnTo>
                    <a:pt x="220" y="82"/>
                  </a:lnTo>
                  <a:lnTo>
                    <a:pt x="220" y="83"/>
                  </a:lnTo>
                  <a:lnTo>
                    <a:pt x="220" y="83"/>
                  </a:lnTo>
                  <a:lnTo>
                    <a:pt x="220" y="85"/>
                  </a:lnTo>
                  <a:lnTo>
                    <a:pt x="218" y="85"/>
                  </a:lnTo>
                  <a:lnTo>
                    <a:pt x="218" y="86"/>
                  </a:lnTo>
                  <a:lnTo>
                    <a:pt x="218" y="88"/>
                  </a:lnTo>
                  <a:lnTo>
                    <a:pt x="218" y="89"/>
                  </a:lnTo>
                  <a:lnTo>
                    <a:pt x="218" y="90"/>
                  </a:lnTo>
                  <a:lnTo>
                    <a:pt x="220" y="92"/>
                  </a:lnTo>
                  <a:lnTo>
                    <a:pt x="224" y="92"/>
                  </a:lnTo>
                  <a:lnTo>
                    <a:pt x="225" y="92"/>
                  </a:lnTo>
                  <a:lnTo>
                    <a:pt x="228" y="90"/>
                  </a:lnTo>
                  <a:lnTo>
                    <a:pt x="233" y="89"/>
                  </a:lnTo>
                  <a:lnTo>
                    <a:pt x="233" y="90"/>
                  </a:lnTo>
                  <a:lnTo>
                    <a:pt x="233" y="90"/>
                  </a:lnTo>
                  <a:lnTo>
                    <a:pt x="233" y="135"/>
                  </a:lnTo>
                  <a:lnTo>
                    <a:pt x="231" y="135"/>
                  </a:lnTo>
                  <a:lnTo>
                    <a:pt x="228" y="137"/>
                  </a:lnTo>
                  <a:lnTo>
                    <a:pt x="228" y="138"/>
                  </a:lnTo>
                  <a:lnTo>
                    <a:pt x="227" y="141"/>
                  </a:lnTo>
                  <a:lnTo>
                    <a:pt x="224" y="143"/>
                  </a:lnTo>
                  <a:lnTo>
                    <a:pt x="223" y="144"/>
                  </a:lnTo>
                  <a:lnTo>
                    <a:pt x="223" y="146"/>
                  </a:lnTo>
                  <a:lnTo>
                    <a:pt x="215" y="146"/>
                  </a:lnTo>
                  <a:lnTo>
                    <a:pt x="215" y="146"/>
                  </a:lnTo>
                  <a:lnTo>
                    <a:pt x="215" y="146"/>
                  </a:lnTo>
                  <a:lnTo>
                    <a:pt x="192" y="146"/>
                  </a:lnTo>
                  <a:lnTo>
                    <a:pt x="185" y="151"/>
                  </a:lnTo>
                  <a:lnTo>
                    <a:pt x="167" y="151"/>
                  </a:lnTo>
                  <a:lnTo>
                    <a:pt x="147" y="165"/>
                  </a:lnTo>
                  <a:lnTo>
                    <a:pt x="143" y="167"/>
                  </a:lnTo>
                  <a:lnTo>
                    <a:pt x="138" y="172"/>
                  </a:lnTo>
                  <a:lnTo>
                    <a:pt x="121" y="176"/>
                  </a:lnTo>
                  <a:lnTo>
                    <a:pt x="118" y="178"/>
                  </a:lnTo>
                  <a:lnTo>
                    <a:pt x="111" y="194"/>
                  </a:lnTo>
                  <a:lnTo>
                    <a:pt x="103" y="199"/>
                  </a:lnTo>
                  <a:lnTo>
                    <a:pt x="99" y="210"/>
                  </a:lnTo>
                  <a:lnTo>
                    <a:pt x="99" y="218"/>
                  </a:lnTo>
                  <a:lnTo>
                    <a:pt x="96" y="218"/>
                  </a:lnTo>
                  <a:lnTo>
                    <a:pt x="96" y="218"/>
                  </a:lnTo>
                  <a:lnTo>
                    <a:pt x="95" y="217"/>
                  </a:lnTo>
                  <a:lnTo>
                    <a:pt x="95" y="217"/>
                  </a:lnTo>
                  <a:lnTo>
                    <a:pt x="92" y="217"/>
                  </a:lnTo>
                  <a:lnTo>
                    <a:pt x="90" y="217"/>
                  </a:lnTo>
                  <a:lnTo>
                    <a:pt x="90" y="218"/>
                  </a:lnTo>
                  <a:lnTo>
                    <a:pt x="89" y="218"/>
                  </a:lnTo>
                  <a:lnTo>
                    <a:pt x="87" y="220"/>
                  </a:lnTo>
                  <a:lnTo>
                    <a:pt x="86" y="220"/>
                  </a:lnTo>
                  <a:lnTo>
                    <a:pt x="86" y="220"/>
                  </a:lnTo>
                  <a:lnTo>
                    <a:pt x="86" y="215"/>
                  </a:lnTo>
                  <a:lnTo>
                    <a:pt x="85" y="215"/>
                  </a:lnTo>
                  <a:lnTo>
                    <a:pt x="86" y="215"/>
                  </a:lnTo>
                  <a:lnTo>
                    <a:pt x="85" y="214"/>
                  </a:lnTo>
                  <a:lnTo>
                    <a:pt x="85" y="212"/>
                  </a:lnTo>
                  <a:lnTo>
                    <a:pt x="85" y="212"/>
                  </a:lnTo>
                  <a:lnTo>
                    <a:pt x="83" y="212"/>
                  </a:lnTo>
                  <a:lnTo>
                    <a:pt x="82" y="215"/>
                  </a:lnTo>
                  <a:lnTo>
                    <a:pt x="82" y="215"/>
                  </a:lnTo>
                  <a:lnTo>
                    <a:pt x="80" y="214"/>
                  </a:lnTo>
                  <a:lnTo>
                    <a:pt x="79" y="214"/>
                  </a:lnTo>
                  <a:lnTo>
                    <a:pt x="79" y="214"/>
                  </a:lnTo>
                  <a:lnTo>
                    <a:pt x="79" y="215"/>
                  </a:lnTo>
                  <a:lnTo>
                    <a:pt x="79" y="217"/>
                  </a:lnTo>
                  <a:lnTo>
                    <a:pt x="79" y="218"/>
                  </a:lnTo>
                  <a:lnTo>
                    <a:pt x="76" y="218"/>
                  </a:lnTo>
                  <a:lnTo>
                    <a:pt x="74" y="218"/>
                  </a:lnTo>
                  <a:lnTo>
                    <a:pt x="74" y="220"/>
                  </a:lnTo>
                  <a:lnTo>
                    <a:pt x="73" y="221"/>
                  </a:lnTo>
                  <a:lnTo>
                    <a:pt x="73" y="221"/>
                  </a:lnTo>
                  <a:lnTo>
                    <a:pt x="72" y="220"/>
                  </a:lnTo>
                  <a:lnTo>
                    <a:pt x="70" y="220"/>
                  </a:lnTo>
                  <a:lnTo>
                    <a:pt x="70" y="218"/>
                  </a:lnTo>
                  <a:lnTo>
                    <a:pt x="69" y="220"/>
                  </a:lnTo>
                  <a:lnTo>
                    <a:pt x="69" y="220"/>
                  </a:lnTo>
                  <a:lnTo>
                    <a:pt x="69" y="220"/>
                  </a:lnTo>
                  <a:lnTo>
                    <a:pt x="69" y="218"/>
                  </a:lnTo>
                  <a:lnTo>
                    <a:pt x="67" y="217"/>
                  </a:lnTo>
                  <a:lnTo>
                    <a:pt x="66" y="217"/>
                  </a:lnTo>
                  <a:lnTo>
                    <a:pt x="66" y="217"/>
                  </a:lnTo>
                  <a:lnTo>
                    <a:pt x="64" y="217"/>
                  </a:lnTo>
                  <a:lnTo>
                    <a:pt x="64" y="217"/>
                  </a:lnTo>
                  <a:lnTo>
                    <a:pt x="63" y="218"/>
                  </a:lnTo>
                  <a:lnTo>
                    <a:pt x="63" y="220"/>
                  </a:lnTo>
                  <a:lnTo>
                    <a:pt x="61" y="220"/>
                  </a:lnTo>
                  <a:lnTo>
                    <a:pt x="60" y="220"/>
                  </a:lnTo>
                  <a:lnTo>
                    <a:pt x="60" y="220"/>
                  </a:lnTo>
                  <a:lnTo>
                    <a:pt x="60" y="218"/>
                  </a:lnTo>
                  <a:lnTo>
                    <a:pt x="58" y="218"/>
                  </a:lnTo>
                  <a:lnTo>
                    <a:pt x="58" y="217"/>
                  </a:lnTo>
                  <a:lnTo>
                    <a:pt x="57" y="217"/>
                  </a:lnTo>
                  <a:lnTo>
                    <a:pt x="56" y="215"/>
                  </a:lnTo>
                  <a:lnTo>
                    <a:pt x="56" y="208"/>
                  </a:lnTo>
                  <a:lnTo>
                    <a:pt x="54" y="208"/>
                  </a:lnTo>
                  <a:lnTo>
                    <a:pt x="53" y="208"/>
                  </a:lnTo>
                  <a:lnTo>
                    <a:pt x="51" y="210"/>
                  </a:lnTo>
                  <a:lnTo>
                    <a:pt x="51" y="210"/>
                  </a:lnTo>
                  <a:lnTo>
                    <a:pt x="51" y="208"/>
                  </a:lnTo>
                  <a:lnTo>
                    <a:pt x="51" y="207"/>
                  </a:lnTo>
                  <a:lnTo>
                    <a:pt x="53" y="207"/>
                  </a:lnTo>
                  <a:lnTo>
                    <a:pt x="53" y="205"/>
                  </a:lnTo>
                  <a:lnTo>
                    <a:pt x="53" y="205"/>
                  </a:lnTo>
                  <a:lnTo>
                    <a:pt x="54" y="205"/>
                  </a:lnTo>
                  <a:lnTo>
                    <a:pt x="54" y="205"/>
                  </a:lnTo>
                  <a:lnTo>
                    <a:pt x="54" y="204"/>
                  </a:lnTo>
                  <a:lnTo>
                    <a:pt x="54" y="202"/>
                  </a:lnTo>
                  <a:lnTo>
                    <a:pt x="53" y="202"/>
                  </a:lnTo>
                  <a:lnTo>
                    <a:pt x="53" y="202"/>
                  </a:lnTo>
                  <a:lnTo>
                    <a:pt x="51" y="201"/>
                  </a:lnTo>
                  <a:lnTo>
                    <a:pt x="50" y="199"/>
                  </a:lnTo>
                  <a:lnTo>
                    <a:pt x="48" y="199"/>
                  </a:lnTo>
                  <a:lnTo>
                    <a:pt x="48" y="199"/>
                  </a:lnTo>
                  <a:lnTo>
                    <a:pt x="48" y="195"/>
                  </a:lnTo>
                  <a:lnTo>
                    <a:pt x="48" y="194"/>
                  </a:lnTo>
                  <a:lnTo>
                    <a:pt x="47" y="194"/>
                  </a:lnTo>
                  <a:lnTo>
                    <a:pt x="47" y="192"/>
                  </a:lnTo>
                  <a:lnTo>
                    <a:pt x="47" y="191"/>
                  </a:lnTo>
                  <a:lnTo>
                    <a:pt x="45" y="191"/>
                  </a:lnTo>
                  <a:lnTo>
                    <a:pt x="45" y="191"/>
                  </a:lnTo>
                  <a:lnTo>
                    <a:pt x="45" y="188"/>
                  </a:lnTo>
                  <a:lnTo>
                    <a:pt x="45" y="188"/>
                  </a:lnTo>
                  <a:lnTo>
                    <a:pt x="45" y="186"/>
                  </a:lnTo>
                  <a:lnTo>
                    <a:pt x="44" y="186"/>
                  </a:lnTo>
                  <a:lnTo>
                    <a:pt x="44" y="188"/>
                  </a:lnTo>
                  <a:lnTo>
                    <a:pt x="42" y="188"/>
                  </a:lnTo>
                  <a:lnTo>
                    <a:pt x="41" y="186"/>
                  </a:lnTo>
                  <a:lnTo>
                    <a:pt x="41" y="186"/>
                  </a:lnTo>
                  <a:lnTo>
                    <a:pt x="41" y="188"/>
                  </a:lnTo>
                  <a:lnTo>
                    <a:pt x="41" y="189"/>
                  </a:lnTo>
                  <a:lnTo>
                    <a:pt x="40" y="191"/>
                  </a:lnTo>
                  <a:lnTo>
                    <a:pt x="37" y="191"/>
                  </a:lnTo>
                  <a:lnTo>
                    <a:pt x="37" y="192"/>
                  </a:lnTo>
                  <a:lnTo>
                    <a:pt x="35" y="194"/>
                  </a:lnTo>
                  <a:lnTo>
                    <a:pt x="32" y="192"/>
                  </a:lnTo>
                  <a:lnTo>
                    <a:pt x="29" y="191"/>
                  </a:lnTo>
                  <a:lnTo>
                    <a:pt x="28" y="191"/>
                  </a:lnTo>
                  <a:lnTo>
                    <a:pt x="27" y="191"/>
                  </a:lnTo>
                  <a:lnTo>
                    <a:pt x="25" y="192"/>
                  </a:lnTo>
                  <a:lnTo>
                    <a:pt x="24" y="194"/>
                  </a:lnTo>
                  <a:lnTo>
                    <a:pt x="24" y="195"/>
                  </a:lnTo>
                  <a:lnTo>
                    <a:pt x="22" y="195"/>
                  </a:lnTo>
                  <a:lnTo>
                    <a:pt x="21" y="195"/>
                  </a:lnTo>
                  <a:lnTo>
                    <a:pt x="18" y="191"/>
                  </a:lnTo>
                  <a:lnTo>
                    <a:pt x="16" y="191"/>
                  </a:lnTo>
                  <a:lnTo>
                    <a:pt x="15" y="194"/>
                  </a:lnTo>
                  <a:lnTo>
                    <a:pt x="15" y="194"/>
                  </a:lnTo>
                  <a:lnTo>
                    <a:pt x="13" y="194"/>
                  </a:lnTo>
                  <a:lnTo>
                    <a:pt x="12" y="194"/>
                  </a:lnTo>
                  <a:lnTo>
                    <a:pt x="11" y="192"/>
                  </a:lnTo>
                  <a:lnTo>
                    <a:pt x="11" y="191"/>
                  </a:lnTo>
                  <a:lnTo>
                    <a:pt x="12" y="189"/>
                  </a:lnTo>
                  <a:lnTo>
                    <a:pt x="12" y="189"/>
                  </a:lnTo>
                  <a:lnTo>
                    <a:pt x="13" y="188"/>
                  </a:lnTo>
                  <a:lnTo>
                    <a:pt x="13" y="188"/>
                  </a:lnTo>
                  <a:lnTo>
                    <a:pt x="12" y="186"/>
                  </a:lnTo>
                  <a:lnTo>
                    <a:pt x="12" y="185"/>
                  </a:lnTo>
                  <a:lnTo>
                    <a:pt x="13" y="183"/>
                  </a:lnTo>
                  <a:lnTo>
                    <a:pt x="13" y="182"/>
                  </a:lnTo>
                  <a:lnTo>
                    <a:pt x="12" y="182"/>
                  </a:lnTo>
                  <a:lnTo>
                    <a:pt x="12" y="181"/>
                  </a:lnTo>
                  <a:lnTo>
                    <a:pt x="13" y="181"/>
                  </a:lnTo>
                  <a:lnTo>
                    <a:pt x="12" y="181"/>
                  </a:lnTo>
                  <a:lnTo>
                    <a:pt x="12" y="179"/>
                  </a:lnTo>
                  <a:lnTo>
                    <a:pt x="11" y="178"/>
                  </a:lnTo>
                  <a:lnTo>
                    <a:pt x="11" y="178"/>
                  </a:lnTo>
                  <a:lnTo>
                    <a:pt x="11" y="176"/>
                  </a:lnTo>
                  <a:lnTo>
                    <a:pt x="9" y="175"/>
                  </a:lnTo>
                  <a:lnTo>
                    <a:pt x="9" y="175"/>
                  </a:lnTo>
                  <a:lnTo>
                    <a:pt x="8" y="173"/>
                  </a:lnTo>
                  <a:lnTo>
                    <a:pt x="8" y="175"/>
                  </a:lnTo>
                  <a:lnTo>
                    <a:pt x="6" y="175"/>
                  </a:lnTo>
                  <a:lnTo>
                    <a:pt x="6" y="175"/>
                  </a:lnTo>
                  <a:lnTo>
                    <a:pt x="5" y="173"/>
                  </a:lnTo>
                  <a:lnTo>
                    <a:pt x="3" y="170"/>
                  </a:lnTo>
                  <a:lnTo>
                    <a:pt x="3" y="169"/>
                  </a:lnTo>
                  <a:lnTo>
                    <a:pt x="5" y="167"/>
                  </a:lnTo>
                  <a:lnTo>
                    <a:pt x="5" y="166"/>
                  </a:lnTo>
                  <a:lnTo>
                    <a:pt x="3" y="165"/>
                  </a:lnTo>
                  <a:lnTo>
                    <a:pt x="3" y="162"/>
                  </a:lnTo>
                  <a:lnTo>
                    <a:pt x="2" y="160"/>
                  </a:lnTo>
                  <a:lnTo>
                    <a:pt x="2" y="160"/>
                  </a:lnTo>
                  <a:lnTo>
                    <a:pt x="2" y="159"/>
                  </a:lnTo>
                  <a:lnTo>
                    <a:pt x="2" y="159"/>
                  </a:lnTo>
                  <a:lnTo>
                    <a:pt x="0" y="157"/>
                  </a:lnTo>
                  <a:lnTo>
                    <a:pt x="2" y="156"/>
                  </a:lnTo>
                  <a:lnTo>
                    <a:pt x="2" y="154"/>
                  </a:lnTo>
                  <a:lnTo>
                    <a:pt x="0" y="154"/>
                  </a:lnTo>
                  <a:lnTo>
                    <a:pt x="6" y="149"/>
                  </a:lnTo>
                  <a:lnTo>
                    <a:pt x="11" y="138"/>
                  </a:lnTo>
                  <a:lnTo>
                    <a:pt x="12" y="138"/>
                  </a:lnTo>
                  <a:lnTo>
                    <a:pt x="12" y="138"/>
                  </a:lnTo>
                  <a:lnTo>
                    <a:pt x="12" y="138"/>
                  </a:lnTo>
                  <a:lnTo>
                    <a:pt x="13" y="138"/>
                  </a:lnTo>
                  <a:lnTo>
                    <a:pt x="15" y="140"/>
                  </a:lnTo>
                  <a:lnTo>
                    <a:pt x="19" y="147"/>
                  </a:lnTo>
                  <a:lnTo>
                    <a:pt x="24" y="149"/>
                  </a:lnTo>
                  <a:lnTo>
                    <a:pt x="29" y="143"/>
                  </a:lnTo>
                  <a:lnTo>
                    <a:pt x="95" y="144"/>
                  </a:lnTo>
                  <a:lnTo>
                    <a:pt x="98" y="131"/>
                  </a:lnTo>
                  <a:lnTo>
                    <a:pt x="92" y="130"/>
                  </a:lnTo>
                  <a:lnTo>
                    <a:pt x="79" y="0"/>
                  </a:lnTo>
                  <a:lnTo>
                    <a:pt x="103" y="0"/>
                  </a:lnTo>
                  <a:lnTo>
                    <a:pt x="121" y="1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30" name="Freeform 1310"/>
            <p:cNvSpPr>
              <a:spLocks/>
            </p:cNvSpPr>
            <p:nvPr/>
          </p:nvSpPr>
          <p:spPr bwMode="auto">
            <a:xfrm>
              <a:off x="5960087" y="2893311"/>
              <a:ext cx="213305" cy="230208"/>
            </a:xfrm>
            <a:custGeom>
              <a:avLst/>
              <a:gdLst/>
              <a:ahLst/>
              <a:cxnLst>
                <a:cxn ang="0">
                  <a:pos x="191" y="61"/>
                </a:cxn>
                <a:cxn ang="0">
                  <a:pos x="196" y="67"/>
                </a:cxn>
                <a:cxn ang="0">
                  <a:pos x="204" y="73"/>
                </a:cxn>
                <a:cxn ang="0">
                  <a:pos x="208" y="76"/>
                </a:cxn>
                <a:cxn ang="0">
                  <a:pos x="215" y="77"/>
                </a:cxn>
                <a:cxn ang="0">
                  <a:pos x="220" y="80"/>
                </a:cxn>
                <a:cxn ang="0">
                  <a:pos x="220" y="83"/>
                </a:cxn>
                <a:cxn ang="0">
                  <a:pos x="218" y="88"/>
                </a:cxn>
                <a:cxn ang="0">
                  <a:pos x="224" y="92"/>
                </a:cxn>
                <a:cxn ang="0">
                  <a:pos x="233" y="90"/>
                </a:cxn>
                <a:cxn ang="0">
                  <a:pos x="228" y="137"/>
                </a:cxn>
                <a:cxn ang="0">
                  <a:pos x="223" y="144"/>
                </a:cxn>
                <a:cxn ang="0">
                  <a:pos x="215" y="146"/>
                </a:cxn>
                <a:cxn ang="0">
                  <a:pos x="147" y="165"/>
                </a:cxn>
                <a:cxn ang="0">
                  <a:pos x="118" y="178"/>
                </a:cxn>
                <a:cxn ang="0">
                  <a:pos x="99" y="218"/>
                </a:cxn>
                <a:cxn ang="0">
                  <a:pos x="95" y="217"/>
                </a:cxn>
                <a:cxn ang="0">
                  <a:pos x="89" y="218"/>
                </a:cxn>
                <a:cxn ang="0">
                  <a:pos x="86" y="215"/>
                </a:cxn>
                <a:cxn ang="0">
                  <a:pos x="85" y="212"/>
                </a:cxn>
                <a:cxn ang="0">
                  <a:pos x="82" y="215"/>
                </a:cxn>
                <a:cxn ang="0">
                  <a:pos x="79" y="215"/>
                </a:cxn>
                <a:cxn ang="0">
                  <a:pos x="74" y="218"/>
                </a:cxn>
                <a:cxn ang="0">
                  <a:pos x="72" y="220"/>
                </a:cxn>
                <a:cxn ang="0">
                  <a:pos x="69" y="220"/>
                </a:cxn>
                <a:cxn ang="0">
                  <a:pos x="66" y="217"/>
                </a:cxn>
                <a:cxn ang="0">
                  <a:pos x="63" y="218"/>
                </a:cxn>
                <a:cxn ang="0">
                  <a:pos x="60" y="220"/>
                </a:cxn>
                <a:cxn ang="0">
                  <a:pos x="57" y="217"/>
                </a:cxn>
                <a:cxn ang="0">
                  <a:pos x="53" y="208"/>
                </a:cxn>
                <a:cxn ang="0">
                  <a:pos x="51" y="207"/>
                </a:cxn>
                <a:cxn ang="0">
                  <a:pos x="54" y="205"/>
                </a:cxn>
                <a:cxn ang="0">
                  <a:pos x="53" y="202"/>
                </a:cxn>
                <a:cxn ang="0">
                  <a:pos x="48" y="199"/>
                </a:cxn>
                <a:cxn ang="0">
                  <a:pos x="47" y="194"/>
                </a:cxn>
                <a:cxn ang="0">
                  <a:pos x="45" y="191"/>
                </a:cxn>
                <a:cxn ang="0">
                  <a:pos x="44" y="186"/>
                </a:cxn>
                <a:cxn ang="0">
                  <a:pos x="41" y="186"/>
                </a:cxn>
                <a:cxn ang="0">
                  <a:pos x="37" y="191"/>
                </a:cxn>
                <a:cxn ang="0">
                  <a:pos x="29" y="191"/>
                </a:cxn>
                <a:cxn ang="0">
                  <a:pos x="24" y="194"/>
                </a:cxn>
                <a:cxn ang="0">
                  <a:pos x="18" y="191"/>
                </a:cxn>
                <a:cxn ang="0">
                  <a:pos x="13" y="194"/>
                </a:cxn>
                <a:cxn ang="0">
                  <a:pos x="12" y="189"/>
                </a:cxn>
                <a:cxn ang="0">
                  <a:pos x="12" y="186"/>
                </a:cxn>
                <a:cxn ang="0">
                  <a:pos x="12" y="182"/>
                </a:cxn>
                <a:cxn ang="0">
                  <a:pos x="12" y="179"/>
                </a:cxn>
                <a:cxn ang="0">
                  <a:pos x="9" y="175"/>
                </a:cxn>
                <a:cxn ang="0">
                  <a:pos x="6" y="175"/>
                </a:cxn>
                <a:cxn ang="0">
                  <a:pos x="3" y="169"/>
                </a:cxn>
                <a:cxn ang="0">
                  <a:pos x="3" y="162"/>
                </a:cxn>
                <a:cxn ang="0">
                  <a:pos x="2" y="159"/>
                </a:cxn>
                <a:cxn ang="0">
                  <a:pos x="0" y="154"/>
                </a:cxn>
                <a:cxn ang="0">
                  <a:pos x="12" y="138"/>
                </a:cxn>
                <a:cxn ang="0">
                  <a:pos x="19" y="147"/>
                </a:cxn>
                <a:cxn ang="0">
                  <a:pos x="98" y="131"/>
                </a:cxn>
                <a:cxn ang="0">
                  <a:pos x="121" y="12"/>
                </a:cxn>
              </a:cxnLst>
              <a:rect l="0" t="0" r="r" b="b"/>
              <a:pathLst>
                <a:path w="233" h="221">
                  <a:moveTo>
                    <a:pt x="121" y="12"/>
                  </a:moveTo>
                  <a:lnTo>
                    <a:pt x="189" y="58"/>
                  </a:lnTo>
                  <a:lnTo>
                    <a:pt x="189" y="60"/>
                  </a:lnTo>
                  <a:lnTo>
                    <a:pt x="191" y="61"/>
                  </a:lnTo>
                  <a:lnTo>
                    <a:pt x="189" y="63"/>
                  </a:lnTo>
                  <a:lnTo>
                    <a:pt x="189" y="64"/>
                  </a:lnTo>
                  <a:lnTo>
                    <a:pt x="196" y="67"/>
                  </a:lnTo>
                  <a:lnTo>
                    <a:pt x="196" y="67"/>
                  </a:lnTo>
                  <a:lnTo>
                    <a:pt x="196" y="69"/>
                  </a:lnTo>
                  <a:lnTo>
                    <a:pt x="198" y="70"/>
                  </a:lnTo>
                  <a:lnTo>
                    <a:pt x="201" y="73"/>
                  </a:lnTo>
                  <a:lnTo>
                    <a:pt x="204" y="73"/>
                  </a:lnTo>
                  <a:lnTo>
                    <a:pt x="205" y="73"/>
                  </a:lnTo>
                  <a:lnTo>
                    <a:pt x="207" y="73"/>
                  </a:lnTo>
                  <a:lnTo>
                    <a:pt x="207" y="74"/>
                  </a:lnTo>
                  <a:lnTo>
                    <a:pt x="208" y="76"/>
                  </a:lnTo>
                  <a:lnTo>
                    <a:pt x="211" y="76"/>
                  </a:lnTo>
                  <a:lnTo>
                    <a:pt x="212" y="76"/>
                  </a:lnTo>
                  <a:lnTo>
                    <a:pt x="212" y="76"/>
                  </a:lnTo>
                  <a:lnTo>
                    <a:pt x="215" y="77"/>
                  </a:lnTo>
                  <a:lnTo>
                    <a:pt x="218" y="79"/>
                  </a:lnTo>
                  <a:lnTo>
                    <a:pt x="218" y="79"/>
                  </a:lnTo>
                  <a:lnTo>
                    <a:pt x="218" y="79"/>
                  </a:lnTo>
                  <a:lnTo>
                    <a:pt x="220" y="80"/>
                  </a:lnTo>
                  <a:lnTo>
                    <a:pt x="220" y="82"/>
                  </a:lnTo>
                  <a:lnTo>
                    <a:pt x="220" y="82"/>
                  </a:lnTo>
                  <a:lnTo>
                    <a:pt x="220" y="83"/>
                  </a:lnTo>
                  <a:lnTo>
                    <a:pt x="220" y="83"/>
                  </a:lnTo>
                  <a:lnTo>
                    <a:pt x="220" y="85"/>
                  </a:lnTo>
                  <a:lnTo>
                    <a:pt x="218" y="85"/>
                  </a:lnTo>
                  <a:lnTo>
                    <a:pt x="218" y="86"/>
                  </a:lnTo>
                  <a:lnTo>
                    <a:pt x="218" y="88"/>
                  </a:lnTo>
                  <a:lnTo>
                    <a:pt x="218" y="89"/>
                  </a:lnTo>
                  <a:lnTo>
                    <a:pt x="218" y="90"/>
                  </a:lnTo>
                  <a:lnTo>
                    <a:pt x="220" y="92"/>
                  </a:lnTo>
                  <a:lnTo>
                    <a:pt x="224" y="92"/>
                  </a:lnTo>
                  <a:lnTo>
                    <a:pt x="225" y="92"/>
                  </a:lnTo>
                  <a:lnTo>
                    <a:pt x="228" y="90"/>
                  </a:lnTo>
                  <a:lnTo>
                    <a:pt x="233" y="89"/>
                  </a:lnTo>
                  <a:lnTo>
                    <a:pt x="233" y="90"/>
                  </a:lnTo>
                  <a:lnTo>
                    <a:pt x="233" y="90"/>
                  </a:lnTo>
                  <a:lnTo>
                    <a:pt x="233" y="135"/>
                  </a:lnTo>
                  <a:lnTo>
                    <a:pt x="231" y="135"/>
                  </a:lnTo>
                  <a:lnTo>
                    <a:pt x="228" y="137"/>
                  </a:lnTo>
                  <a:lnTo>
                    <a:pt x="228" y="138"/>
                  </a:lnTo>
                  <a:lnTo>
                    <a:pt x="227" y="141"/>
                  </a:lnTo>
                  <a:lnTo>
                    <a:pt x="224" y="143"/>
                  </a:lnTo>
                  <a:lnTo>
                    <a:pt x="223" y="144"/>
                  </a:lnTo>
                  <a:lnTo>
                    <a:pt x="223" y="146"/>
                  </a:lnTo>
                  <a:lnTo>
                    <a:pt x="215" y="146"/>
                  </a:lnTo>
                  <a:lnTo>
                    <a:pt x="215" y="146"/>
                  </a:lnTo>
                  <a:lnTo>
                    <a:pt x="215" y="146"/>
                  </a:lnTo>
                  <a:lnTo>
                    <a:pt x="192" y="146"/>
                  </a:lnTo>
                  <a:lnTo>
                    <a:pt x="185" y="151"/>
                  </a:lnTo>
                  <a:lnTo>
                    <a:pt x="167" y="151"/>
                  </a:lnTo>
                  <a:lnTo>
                    <a:pt x="147" y="165"/>
                  </a:lnTo>
                  <a:lnTo>
                    <a:pt x="143" y="167"/>
                  </a:lnTo>
                  <a:lnTo>
                    <a:pt x="138" y="172"/>
                  </a:lnTo>
                  <a:lnTo>
                    <a:pt x="121" y="176"/>
                  </a:lnTo>
                  <a:lnTo>
                    <a:pt x="118" y="178"/>
                  </a:lnTo>
                  <a:lnTo>
                    <a:pt x="111" y="194"/>
                  </a:lnTo>
                  <a:lnTo>
                    <a:pt x="103" y="199"/>
                  </a:lnTo>
                  <a:lnTo>
                    <a:pt x="99" y="210"/>
                  </a:lnTo>
                  <a:lnTo>
                    <a:pt x="99" y="218"/>
                  </a:lnTo>
                  <a:lnTo>
                    <a:pt x="96" y="218"/>
                  </a:lnTo>
                  <a:lnTo>
                    <a:pt x="96" y="218"/>
                  </a:lnTo>
                  <a:lnTo>
                    <a:pt x="95" y="217"/>
                  </a:lnTo>
                  <a:lnTo>
                    <a:pt x="95" y="217"/>
                  </a:lnTo>
                  <a:lnTo>
                    <a:pt x="92" y="217"/>
                  </a:lnTo>
                  <a:lnTo>
                    <a:pt x="90" y="217"/>
                  </a:lnTo>
                  <a:lnTo>
                    <a:pt x="90" y="218"/>
                  </a:lnTo>
                  <a:lnTo>
                    <a:pt x="89" y="218"/>
                  </a:lnTo>
                  <a:lnTo>
                    <a:pt x="87" y="220"/>
                  </a:lnTo>
                  <a:lnTo>
                    <a:pt x="86" y="220"/>
                  </a:lnTo>
                  <a:lnTo>
                    <a:pt x="86" y="220"/>
                  </a:lnTo>
                  <a:lnTo>
                    <a:pt x="86" y="215"/>
                  </a:lnTo>
                  <a:lnTo>
                    <a:pt x="85" y="215"/>
                  </a:lnTo>
                  <a:lnTo>
                    <a:pt x="86" y="215"/>
                  </a:lnTo>
                  <a:lnTo>
                    <a:pt x="85" y="214"/>
                  </a:lnTo>
                  <a:lnTo>
                    <a:pt x="85" y="212"/>
                  </a:lnTo>
                  <a:lnTo>
                    <a:pt x="85" y="212"/>
                  </a:lnTo>
                  <a:lnTo>
                    <a:pt x="83" y="212"/>
                  </a:lnTo>
                  <a:lnTo>
                    <a:pt x="82" y="215"/>
                  </a:lnTo>
                  <a:lnTo>
                    <a:pt x="82" y="215"/>
                  </a:lnTo>
                  <a:lnTo>
                    <a:pt x="80" y="214"/>
                  </a:lnTo>
                  <a:lnTo>
                    <a:pt x="79" y="214"/>
                  </a:lnTo>
                  <a:lnTo>
                    <a:pt x="79" y="214"/>
                  </a:lnTo>
                  <a:lnTo>
                    <a:pt x="79" y="215"/>
                  </a:lnTo>
                  <a:lnTo>
                    <a:pt x="79" y="217"/>
                  </a:lnTo>
                  <a:lnTo>
                    <a:pt x="79" y="218"/>
                  </a:lnTo>
                  <a:lnTo>
                    <a:pt x="76" y="218"/>
                  </a:lnTo>
                  <a:lnTo>
                    <a:pt x="74" y="218"/>
                  </a:lnTo>
                  <a:lnTo>
                    <a:pt x="74" y="220"/>
                  </a:lnTo>
                  <a:lnTo>
                    <a:pt x="73" y="221"/>
                  </a:lnTo>
                  <a:lnTo>
                    <a:pt x="73" y="221"/>
                  </a:lnTo>
                  <a:lnTo>
                    <a:pt x="72" y="220"/>
                  </a:lnTo>
                  <a:lnTo>
                    <a:pt x="70" y="220"/>
                  </a:lnTo>
                  <a:lnTo>
                    <a:pt x="70" y="218"/>
                  </a:lnTo>
                  <a:lnTo>
                    <a:pt x="69" y="220"/>
                  </a:lnTo>
                  <a:lnTo>
                    <a:pt x="69" y="220"/>
                  </a:lnTo>
                  <a:lnTo>
                    <a:pt x="69" y="220"/>
                  </a:lnTo>
                  <a:lnTo>
                    <a:pt x="69" y="218"/>
                  </a:lnTo>
                  <a:lnTo>
                    <a:pt x="67" y="217"/>
                  </a:lnTo>
                  <a:lnTo>
                    <a:pt x="66" y="217"/>
                  </a:lnTo>
                  <a:lnTo>
                    <a:pt x="66" y="217"/>
                  </a:lnTo>
                  <a:lnTo>
                    <a:pt x="64" y="217"/>
                  </a:lnTo>
                  <a:lnTo>
                    <a:pt x="64" y="217"/>
                  </a:lnTo>
                  <a:lnTo>
                    <a:pt x="63" y="218"/>
                  </a:lnTo>
                  <a:lnTo>
                    <a:pt x="63" y="220"/>
                  </a:lnTo>
                  <a:lnTo>
                    <a:pt x="61" y="220"/>
                  </a:lnTo>
                  <a:lnTo>
                    <a:pt x="60" y="220"/>
                  </a:lnTo>
                  <a:lnTo>
                    <a:pt x="60" y="220"/>
                  </a:lnTo>
                  <a:lnTo>
                    <a:pt x="60" y="218"/>
                  </a:lnTo>
                  <a:lnTo>
                    <a:pt x="58" y="218"/>
                  </a:lnTo>
                  <a:lnTo>
                    <a:pt x="58" y="217"/>
                  </a:lnTo>
                  <a:lnTo>
                    <a:pt x="57" y="217"/>
                  </a:lnTo>
                  <a:lnTo>
                    <a:pt x="56" y="215"/>
                  </a:lnTo>
                  <a:lnTo>
                    <a:pt x="56" y="208"/>
                  </a:lnTo>
                  <a:lnTo>
                    <a:pt x="54" y="208"/>
                  </a:lnTo>
                  <a:lnTo>
                    <a:pt x="53" y="208"/>
                  </a:lnTo>
                  <a:lnTo>
                    <a:pt x="51" y="210"/>
                  </a:lnTo>
                  <a:lnTo>
                    <a:pt x="51" y="210"/>
                  </a:lnTo>
                  <a:lnTo>
                    <a:pt x="51" y="208"/>
                  </a:lnTo>
                  <a:lnTo>
                    <a:pt x="51" y="207"/>
                  </a:lnTo>
                  <a:lnTo>
                    <a:pt x="53" y="207"/>
                  </a:lnTo>
                  <a:lnTo>
                    <a:pt x="53" y="205"/>
                  </a:lnTo>
                  <a:lnTo>
                    <a:pt x="53" y="205"/>
                  </a:lnTo>
                  <a:lnTo>
                    <a:pt x="54" y="205"/>
                  </a:lnTo>
                  <a:lnTo>
                    <a:pt x="54" y="205"/>
                  </a:lnTo>
                  <a:lnTo>
                    <a:pt x="54" y="204"/>
                  </a:lnTo>
                  <a:lnTo>
                    <a:pt x="54" y="202"/>
                  </a:lnTo>
                  <a:lnTo>
                    <a:pt x="53" y="202"/>
                  </a:lnTo>
                  <a:lnTo>
                    <a:pt x="53" y="202"/>
                  </a:lnTo>
                  <a:lnTo>
                    <a:pt x="51" y="201"/>
                  </a:lnTo>
                  <a:lnTo>
                    <a:pt x="50" y="199"/>
                  </a:lnTo>
                  <a:lnTo>
                    <a:pt x="48" y="199"/>
                  </a:lnTo>
                  <a:lnTo>
                    <a:pt x="48" y="199"/>
                  </a:lnTo>
                  <a:lnTo>
                    <a:pt x="48" y="195"/>
                  </a:lnTo>
                  <a:lnTo>
                    <a:pt x="48" y="194"/>
                  </a:lnTo>
                  <a:lnTo>
                    <a:pt x="47" y="194"/>
                  </a:lnTo>
                  <a:lnTo>
                    <a:pt x="47" y="192"/>
                  </a:lnTo>
                  <a:lnTo>
                    <a:pt x="47" y="191"/>
                  </a:lnTo>
                  <a:lnTo>
                    <a:pt x="45" y="191"/>
                  </a:lnTo>
                  <a:lnTo>
                    <a:pt x="45" y="191"/>
                  </a:lnTo>
                  <a:lnTo>
                    <a:pt x="45" y="188"/>
                  </a:lnTo>
                  <a:lnTo>
                    <a:pt x="45" y="188"/>
                  </a:lnTo>
                  <a:lnTo>
                    <a:pt x="45" y="186"/>
                  </a:lnTo>
                  <a:lnTo>
                    <a:pt x="44" y="186"/>
                  </a:lnTo>
                  <a:lnTo>
                    <a:pt x="44" y="188"/>
                  </a:lnTo>
                  <a:lnTo>
                    <a:pt x="42" y="188"/>
                  </a:lnTo>
                  <a:lnTo>
                    <a:pt x="41" y="186"/>
                  </a:lnTo>
                  <a:lnTo>
                    <a:pt x="41" y="186"/>
                  </a:lnTo>
                  <a:lnTo>
                    <a:pt x="41" y="188"/>
                  </a:lnTo>
                  <a:lnTo>
                    <a:pt x="41" y="189"/>
                  </a:lnTo>
                  <a:lnTo>
                    <a:pt x="40" y="191"/>
                  </a:lnTo>
                  <a:lnTo>
                    <a:pt x="37" y="191"/>
                  </a:lnTo>
                  <a:lnTo>
                    <a:pt x="37" y="192"/>
                  </a:lnTo>
                  <a:lnTo>
                    <a:pt x="35" y="194"/>
                  </a:lnTo>
                  <a:lnTo>
                    <a:pt x="32" y="192"/>
                  </a:lnTo>
                  <a:lnTo>
                    <a:pt x="29" y="191"/>
                  </a:lnTo>
                  <a:lnTo>
                    <a:pt x="28" y="191"/>
                  </a:lnTo>
                  <a:lnTo>
                    <a:pt x="27" y="191"/>
                  </a:lnTo>
                  <a:lnTo>
                    <a:pt x="25" y="192"/>
                  </a:lnTo>
                  <a:lnTo>
                    <a:pt x="24" y="194"/>
                  </a:lnTo>
                  <a:lnTo>
                    <a:pt x="24" y="195"/>
                  </a:lnTo>
                  <a:lnTo>
                    <a:pt x="22" y="195"/>
                  </a:lnTo>
                  <a:lnTo>
                    <a:pt x="21" y="195"/>
                  </a:lnTo>
                  <a:lnTo>
                    <a:pt x="18" y="191"/>
                  </a:lnTo>
                  <a:lnTo>
                    <a:pt x="16" y="191"/>
                  </a:lnTo>
                  <a:lnTo>
                    <a:pt x="15" y="194"/>
                  </a:lnTo>
                  <a:lnTo>
                    <a:pt x="15" y="194"/>
                  </a:lnTo>
                  <a:lnTo>
                    <a:pt x="13" y="194"/>
                  </a:lnTo>
                  <a:lnTo>
                    <a:pt x="12" y="194"/>
                  </a:lnTo>
                  <a:lnTo>
                    <a:pt x="11" y="192"/>
                  </a:lnTo>
                  <a:lnTo>
                    <a:pt x="11" y="191"/>
                  </a:lnTo>
                  <a:lnTo>
                    <a:pt x="12" y="189"/>
                  </a:lnTo>
                  <a:lnTo>
                    <a:pt x="12" y="189"/>
                  </a:lnTo>
                  <a:lnTo>
                    <a:pt x="13" y="188"/>
                  </a:lnTo>
                  <a:lnTo>
                    <a:pt x="13" y="188"/>
                  </a:lnTo>
                  <a:lnTo>
                    <a:pt x="12" y="186"/>
                  </a:lnTo>
                  <a:lnTo>
                    <a:pt x="12" y="185"/>
                  </a:lnTo>
                  <a:lnTo>
                    <a:pt x="13" y="183"/>
                  </a:lnTo>
                  <a:lnTo>
                    <a:pt x="13" y="182"/>
                  </a:lnTo>
                  <a:lnTo>
                    <a:pt x="12" y="182"/>
                  </a:lnTo>
                  <a:lnTo>
                    <a:pt x="12" y="181"/>
                  </a:lnTo>
                  <a:lnTo>
                    <a:pt x="13" y="181"/>
                  </a:lnTo>
                  <a:lnTo>
                    <a:pt x="12" y="181"/>
                  </a:lnTo>
                  <a:lnTo>
                    <a:pt x="12" y="179"/>
                  </a:lnTo>
                  <a:lnTo>
                    <a:pt x="11" y="178"/>
                  </a:lnTo>
                  <a:lnTo>
                    <a:pt x="11" y="178"/>
                  </a:lnTo>
                  <a:lnTo>
                    <a:pt x="11" y="176"/>
                  </a:lnTo>
                  <a:lnTo>
                    <a:pt x="9" y="175"/>
                  </a:lnTo>
                  <a:lnTo>
                    <a:pt x="9" y="175"/>
                  </a:lnTo>
                  <a:lnTo>
                    <a:pt x="8" y="173"/>
                  </a:lnTo>
                  <a:lnTo>
                    <a:pt x="8" y="175"/>
                  </a:lnTo>
                  <a:lnTo>
                    <a:pt x="6" y="175"/>
                  </a:lnTo>
                  <a:lnTo>
                    <a:pt x="6" y="175"/>
                  </a:lnTo>
                  <a:lnTo>
                    <a:pt x="5" y="173"/>
                  </a:lnTo>
                  <a:lnTo>
                    <a:pt x="3" y="170"/>
                  </a:lnTo>
                  <a:lnTo>
                    <a:pt x="3" y="169"/>
                  </a:lnTo>
                  <a:lnTo>
                    <a:pt x="5" y="167"/>
                  </a:lnTo>
                  <a:lnTo>
                    <a:pt x="5" y="166"/>
                  </a:lnTo>
                  <a:lnTo>
                    <a:pt x="3" y="165"/>
                  </a:lnTo>
                  <a:lnTo>
                    <a:pt x="3" y="162"/>
                  </a:lnTo>
                  <a:lnTo>
                    <a:pt x="2" y="160"/>
                  </a:lnTo>
                  <a:lnTo>
                    <a:pt x="2" y="160"/>
                  </a:lnTo>
                  <a:lnTo>
                    <a:pt x="2" y="159"/>
                  </a:lnTo>
                  <a:lnTo>
                    <a:pt x="2" y="159"/>
                  </a:lnTo>
                  <a:lnTo>
                    <a:pt x="0" y="157"/>
                  </a:lnTo>
                  <a:lnTo>
                    <a:pt x="2" y="156"/>
                  </a:lnTo>
                  <a:lnTo>
                    <a:pt x="2" y="154"/>
                  </a:lnTo>
                  <a:lnTo>
                    <a:pt x="0" y="154"/>
                  </a:lnTo>
                  <a:lnTo>
                    <a:pt x="6" y="149"/>
                  </a:lnTo>
                  <a:lnTo>
                    <a:pt x="11" y="138"/>
                  </a:lnTo>
                  <a:lnTo>
                    <a:pt x="12" y="138"/>
                  </a:lnTo>
                  <a:lnTo>
                    <a:pt x="12" y="138"/>
                  </a:lnTo>
                  <a:lnTo>
                    <a:pt x="12" y="138"/>
                  </a:lnTo>
                  <a:lnTo>
                    <a:pt x="13" y="138"/>
                  </a:lnTo>
                  <a:lnTo>
                    <a:pt x="15" y="140"/>
                  </a:lnTo>
                  <a:lnTo>
                    <a:pt x="19" y="147"/>
                  </a:lnTo>
                  <a:lnTo>
                    <a:pt x="24" y="149"/>
                  </a:lnTo>
                  <a:lnTo>
                    <a:pt x="29" y="143"/>
                  </a:lnTo>
                  <a:lnTo>
                    <a:pt x="95" y="144"/>
                  </a:lnTo>
                  <a:lnTo>
                    <a:pt x="98" y="131"/>
                  </a:lnTo>
                  <a:lnTo>
                    <a:pt x="92" y="130"/>
                  </a:lnTo>
                  <a:lnTo>
                    <a:pt x="79" y="0"/>
                  </a:lnTo>
                  <a:lnTo>
                    <a:pt x="103" y="0"/>
                  </a:lnTo>
                  <a:lnTo>
                    <a:pt x="121" y="1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31" name="Freeform 1311"/>
            <p:cNvSpPr>
              <a:spLocks/>
            </p:cNvSpPr>
            <p:nvPr/>
          </p:nvSpPr>
          <p:spPr bwMode="auto">
            <a:xfrm>
              <a:off x="5897764" y="2848690"/>
              <a:ext cx="108848" cy="108512"/>
            </a:xfrm>
            <a:custGeom>
              <a:avLst/>
              <a:gdLst/>
              <a:ahLst/>
              <a:cxnLst>
                <a:cxn ang="0">
                  <a:pos x="52" y="99"/>
                </a:cxn>
                <a:cxn ang="0">
                  <a:pos x="4" y="99"/>
                </a:cxn>
                <a:cxn ang="0">
                  <a:pos x="4" y="100"/>
                </a:cxn>
                <a:cxn ang="0">
                  <a:pos x="2" y="103"/>
                </a:cxn>
                <a:cxn ang="0">
                  <a:pos x="2" y="103"/>
                </a:cxn>
                <a:cxn ang="0">
                  <a:pos x="0" y="104"/>
                </a:cxn>
                <a:cxn ang="0">
                  <a:pos x="2" y="93"/>
                </a:cxn>
                <a:cxn ang="0">
                  <a:pos x="4" y="85"/>
                </a:cxn>
                <a:cxn ang="0">
                  <a:pos x="7" y="84"/>
                </a:cxn>
                <a:cxn ang="0">
                  <a:pos x="13" y="74"/>
                </a:cxn>
                <a:cxn ang="0">
                  <a:pos x="13" y="71"/>
                </a:cxn>
                <a:cxn ang="0">
                  <a:pos x="19" y="62"/>
                </a:cxn>
                <a:cxn ang="0">
                  <a:pos x="19" y="59"/>
                </a:cxn>
                <a:cxn ang="0">
                  <a:pos x="32" y="42"/>
                </a:cxn>
                <a:cxn ang="0">
                  <a:pos x="36" y="26"/>
                </a:cxn>
                <a:cxn ang="0">
                  <a:pos x="41" y="20"/>
                </a:cxn>
                <a:cxn ang="0">
                  <a:pos x="50" y="14"/>
                </a:cxn>
                <a:cxn ang="0">
                  <a:pos x="55" y="1"/>
                </a:cxn>
                <a:cxn ang="0">
                  <a:pos x="57" y="0"/>
                </a:cxn>
                <a:cxn ang="0">
                  <a:pos x="119" y="0"/>
                </a:cxn>
                <a:cxn ang="0">
                  <a:pos x="119" y="26"/>
                </a:cxn>
                <a:cxn ang="0">
                  <a:pos x="74" y="26"/>
                </a:cxn>
                <a:cxn ang="0">
                  <a:pos x="74" y="67"/>
                </a:cxn>
                <a:cxn ang="0">
                  <a:pos x="60" y="69"/>
                </a:cxn>
                <a:cxn ang="0">
                  <a:pos x="58" y="71"/>
                </a:cxn>
                <a:cxn ang="0">
                  <a:pos x="57" y="75"/>
                </a:cxn>
                <a:cxn ang="0">
                  <a:pos x="58" y="99"/>
                </a:cxn>
                <a:cxn ang="0">
                  <a:pos x="52" y="99"/>
                </a:cxn>
              </a:cxnLst>
              <a:rect l="0" t="0" r="r" b="b"/>
              <a:pathLst>
                <a:path w="119" h="104">
                  <a:moveTo>
                    <a:pt x="52" y="99"/>
                  </a:moveTo>
                  <a:lnTo>
                    <a:pt x="4" y="99"/>
                  </a:lnTo>
                  <a:lnTo>
                    <a:pt x="4" y="100"/>
                  </a:lnTo>
                  <a:lnTo>
                    <a:pt x="2" y="103"/>
                  </a:lnTo>
                  <a:lnTo>
                    <a:pt x="2" y="103"/>
                  </a:lnTo>
                  <a:lnTo>
                    <a:pt x="0" y="104"/>
                  </a:lnTo>
                  <a:lnTo>
                    <a:pt x="2" y="93"/>
                  </a:lnTo>
                  <a:lnTo>
                    <a:pt x="4" y="85"/>
                  </a:lnTo>
                  <a:lnTo>
                    <a:pt x="7" y="84"/>
                  </a:lnTo>
                  <a:lnTo>
                    <a:pt x="13" y="74"/>
                  </a:lnTo>
                  <a:lnTo>
                    <a:pt x="13" y="71"/>
                  </a:lnTo>
                  <a:lnTo>
                    <a:pt x="19" y="62"/>
                  </a:lnTo>
                  <a:lnTo>
                    <a:pt x="19" y="59"/>
                  </a:lnTo>
                  <a:lnTo>
                    <a:pt x="32" y="42"/>
                  </a:lnTo>
                  <a:lnTo>
                    <a:pt x="36" y="26"/>
                  </a:lnTo>
                  <a:lnTo>
                    <a:pt x="41" y="20"/>
                  </a:lnTo>
                  <a:lnTo>
                    <a:pt x="50" y="14"/>
                  </a:lnTo>
                  <a:lnTo>
                    <a:pt x="55" y="1"/>
                  </a:lnTo>
                  <a:lnTo>
                    <a:pt x="57" y="0"/>
                  </a:lnTo>
                  <a:lnTo>
                    <a:pt x="119" y="0"/>
                  </a:lnTo>
                  <a:lnTo>
                    <a:pt x="119" y="26"/>
                  </a:lnTo>
                  <a:lnTo>
                    <a:pt x="74" y="26"/>
                  </a:lnTo>
                  <a:lnTo>
                    <a:pt x="74" y="67"/>
                  </a:lnTo>
                  <a:lnTo>
                    <a:pt x="60" y="69"/>
                  </a:lnTo>
                  <a:lnTo>
                    <a:pt x="58" y="71"/>
                  </a:lnTo>
                  <a:lnTo>
                    <a:pt x="57" y="75"/>
                  </a:lnTo>
                  <a:lnTo>
                    <a:pt x="58" y="99"/>
                  </a:lnTo>
                  <a:lnTo>
                    <a:pt x="52" y="9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32" name="Freeform 1312"/>
            <p:cNvSpPr>
              <a:spLocks/>
            </p:cNvSpPr>
            <p:nvPr/>
          </p:nvSpPr>
          <p:spPr bwMode="auto">
            <a:xfrm>
              <a:off x="5897523" y="2849018"/>
              <a:ext cx="109129" cy="108305"/>
            </a:xfrm>
            <a:custGeom>
              <a:avLst/>
              <a:gdLst>
                <a:gd name="T0" fmla="*/ 2147483647 w 119"/>
                <a:gd name="T1" fmla="*/ 2147483647 h 104"/>
                <a:gd name="T2" fmla="*/ 2147483647 w 119"/>
                <a:gd name="T3" fmla="*/ 2147483647 h 104"/>
                <a:gd name="T4" fmla="*/ 2147483647 w 119"/>
                <a:gd name="T5" fmla="*/ 2147483647 h 104"/>
                <a:gd name="T6" fmla="*/ 2147483647 w 119"/>
                <a:gd name="T7" fmla="*/ 2147483647 h 104"/>
                <a:gd name="T8" fmla="*/ 2147483647 w 119"/>
                <a:gd name="T9" fmla="*/ 2147483647 h 104"/>
                <a:gd name="T10" fmla="*/ 0 w 119"/>
                <a:gd name="T11" fmla="*/ 2147483647 h 104"/>
                <a:gd name="T12" fmla="*/ 2147483647 w 119"/>
                <a:gd name="T13" fmla="*/ 2147483647 h 104"/>
                <a:gd name="T14" fmla="*/ 2147483647 w 119"/>
                <a:gd name="T15" fmla="*/ 2147483647 h 104"/>
                <a:gd name="T16" fmla="*/ 2147483647 w 119"/>
                <a:gd name="T17" fmla="*/ 2147483647 h 104"/>
                <a:gd name="T18" fmla="*/ 2147483647 w 119"/>
                <a:gd name="T19" fmla="*/ 2147483647 h 104"/>
                <a:gd name="T20" fmla="*/ 2147483647 w 119"/>
                <a:gd name="T21" fmla="*/ 2147483647 h 104"/>
                <a:gd name="T22" fmla="*/ 2147483647 w 119"/>
                <a:gd name="T23" fmla="*/ 2147483647 h 104"/>
                <a:gd name="T24" fmla="*/ 2147483647 w 119"/>
                <a:gd name="T25" fmla="*/ 2147483647 h 104"/>
                <a:gd name="T26" fmla="*/ 2147483647 w 119"/>
                <a:gd name="T27" fmla="*/ 2147483647 h 104"/>
                <a:gd name="T28" fmla="*/ 2147483647 w 119"/>
                <a:gd name="T29" fmla="*/ 2147483647 h 104"/>
                <a:gd name="T30" fmla="*/ 2147483647 w 119"/>
                <a:gd name="T31" fmla="*/ 2147483647 h 104"/>
                <a:gd name="T32" fmla="*/ 2147483647 w 119"/>
                <a:gd name="T33" fmla="*/ 2147483647 h 104"/>
                <a:gd name="T34" fmla="*/ 2147483647 w 119"/>
                <a:gd name="T35" fmla="*/ 2147483647 h 104"/>
                <a:gd name="T36" fmla="*/ 2147483647 w 119"/>
                <a:gd name="T37" fmla="*/ 0 h 104"/>
                <a:gd name="T38" fmla="*/ 2147483647 w 119"/>
                <a:gd name="T39" fmla="*/ 0 h 104"/>
                <a:gd name="T40" fmla="*/ 2147483647 w 119"/>
                <a:gd name="T41" fmla="*/ 2147483647 h 104"/>
                <a:gd name="T42" fmla="*/ 2147483647 w 119"/>
                <a:gd name="T43" fmla="*/ 2147483647 h 104"/>
                <a:gd name="T44" fmla="*/ 2147483647 w 119"/>
                <a:gd name="T45" fmla="*/ 2147483647 h 104"/>
                <a:gd name="T46" fmla="*/ 2147483647 w 119"/>
                <a:gd name="T47" fmla="*/ 2147483647 h 104"/>
                <a:gd name="T48" fmla="*/ 2147483647 w 119"/>
                <a:gd name="T49" fmla="*/ 2147483647 h 104"/>
                <a:gd name="T50" fmla="*/ 2147483647 w 119"/>
                <a:gd name="T51" fmla="*/ 2147483647 h 104"/>
                <a:gd name="T52" fmla="*/ 2147483647 w 119"/>
                <a:gd name="T53" fmla="*/ 2147483647 h 104"/>
                <a:gd name="T54" fmla="*/ 2147483647 w 119"/>
                <a:gd name="T55" fmla="*/ 2147483647 h 10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9"/>
                <a:gd name="T85" fmla="*/ 0 h 104"/>
                <a:gd name="T86" fmla="*/ 119 w 119"/>
                <a:gd name="T87" fmla="*/ 104 h 10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9" h="104">
                  <a:moveTo>
                    <a:pt x="52" y="99"/>
                  </a:moveTo>
                  <a:lnTo>
                    <a:pt x="4" y="99"/>
                  </a:lnTo>
                  <a:lnTo>
                    <a:pt x="4" y="100"/>
                  </a:lnTo>
                  <a:lnTo>
                    <a:pt x="2" y="103"/>
                  </a:lnTo>
                  <a:lnTo>
                    <a:pt x="0" y="104"/>
                  </a:lnTo>
                  <a:lnTo>
                    <a:pt x="2" y="93"/>
                  </a:lnTo>
                  <a:lnTo>
                    <a:pt x="4" y="85"/>
                  </a:lnTo>
                  <a:lnTo>
                    <a:pt x="7" y="84"/>
                  </a:lnTo>
                  <a:lnTo>
                    <a:pt x="13" y="74"/>
                  </a:lnTo>
                  <a:lnTo>
                    <a:pt x="13" y="71"/>
                  </a:lnTo>
                  <a:lnTo>
                    <a:pt x="19" y="62"/>
                  </a:lnTo>
                  <a:lnTo>
                    <a:pt x="19" y="59"/>
                  </a:lnTo>
                  <a:lnTo>
                    <a:pt x="32" y="42"/>
                  </a:lnTo>
                  <a:lnTo>
                    <a:pt x="36" y="26"/>
                  </a:lnTo>
                  <a:lnTo>
                    <a:pt x="41" y="20"/>
                  </a:lnTo>
                  <a:lnTo>
                    <a:pt x="50" y="14"/>
                  </a:lnTo>
                  <a:lnTo>
                    <a:pt x="55" y="1"/>
                  </a:lnTo>
                  <a:lnTo>
                    <a:pt x="57" y="0"/>
                  </a:lnTo>
                  <a:lnTo>
                    <a:pt x="119" y="0"/>
                  </a:lnTo>
                  <a:lnTo>
                    <a:pt x="119" y="26"/>
                  </a:lnTo>
                  <a:lnTo>
                    <a:pt x="74" y="26"/>
                  </a:lnTo>
                  <a:lnTo>
                    <a:pt x="74" y="67"/>
                  </a:lnTo>
                  <a:lnTo>
                    <a:pt x="60" y="69"/>
                  </a:lnTo>
                  <a:lnTo>
                    <a:pt x="58" y="71"/>
                  </a:lnTo>
                  <a:lnTo>
                    <a:pt x="57" y="75"/>
                  </a:lnTo>
                  <a:lnTo>
                    <a:pt x="58" y="99"/>
                  </a:lnTo>
                  <a:lnTo>
                    <a:pt x="52" y="99"/>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33" name="Freeform 1313"/>
            <p:cNvSpPr>
              <a:spLocks/>
            </p:cNvSpPr>
            <p:nvPr/>
          </p:nvSpPr>
          <p:spPr bwMode="auto">
            <a:xfrm>
              <a:off x="6377921" y="3540329"/>
              <a:ext cx="122893" cy="145021"/>
            </a:xfrm>
            <a:custGeom>
              <a:avLst/>
              <a:gdLst/>
              <a:ahLst/>
              <a:cxnLst>
                <a:cxn ang="0">
                  <a:pos x="0" y="106"/>
                </a:cxn>
                <a:cxn ang="0">
                  <a:pos x="0" y="64"/>
                </a:cxn>
                <a:cxn ang="0">
                  <a:pos x="15" y="64"/>
                </a:cxn>
                <a:cxn ang="0">
                  <a:pos x="15" y="11"/>
                </a:cxn>
                <a:cxn ang="0">
                  <a:pos x="16" y="10"/>
                </a:cxn>
                <a:cxn ang="0">
                  <a:pos x="47" y="6"/>
                </a:cxn>
                <a:cxn ang="0">
                  <a:pos x="50" y="6"/>
                </a:cxn>
                <a:cxn ang="0">
                  <a:pos x="51" y="9"/>
                </a:cxn>
                <a:cxn ang="0">
                  <a:pos x="53" y="13"/>
                </a:cxn>
                <a:cxn ang="0">
                  <a:pos x="55" y="9"/>
                </a:cxn>
                <a:cxn ang="0">
                  <a:pos x="60" y="6"/>
                </a:cxn>
                <a:cxn ang="0">
                  <a:pos x="67" y="3"/>
                </a:cxn>
                <a:cxn ang="0">
                  <a:pos x="69" y="1"/>
                </a:cxn>
                <a:cxn ang="0">
                  <a:pos x="70" y="0"/>
                </a:cxn>
                <a:cxn ang="0">
                  <a:pos x="73" y="0"/>
                </a:cxn>
                <a:cxn ang="0">
                  <a:pos x="76" y="1"/>
                </a:cxn>
                <a:cxn ang="0">
                  <a:pos x="76" y="3"/>
                </a:cxn>
                <a:cxn ang="0">
                  <a:pos x="79" y="10"/>
                </a:cxn>
                <a:cxn ang="0">
                  <a:pos x="82" y="13"/>
                </a:cxn>
                <a:cxn ang="0">
                  <a:pos x="84" y="20"/>
                </a:cxn>
                <a:cxn ang="0">
                  <a:pos x="96" y="32"/>
                </a:cxn>
                <a:cxn ang="0">
                  <a:pos x="99" y="33"/>
                </a:cxn>
                <a:cxn ang="0">
                  <a:pos x="103" y="36"/>
                </a:cxn>
                <a:cxn ang="0">
                  <a:pos x="105" y="39"/>
                </a:cxn>
                <a:cxn ang="0">
                  <a:pos x="109" y="41"/>
                </a:cxn>
                <a:cxn ang="0">
                  <a:pos x="112" y="43"/>
                </a:cxn>
                <a:cxn ang="0">
                  <a:pos x="112" y="54"/>
                </a:cxn>
                <a:cxn ang="0">
                  <a:pos x="114" y="57"/>
                </a:cxn>
                <a:cxn ang="0">
                  <a:pos x="116" y="59"/>
                </a:cxn>
                <a:cxn ang="0">
                  <a:pos x="119" y="61"/>
                </a:cxn>
                <a:cxn ang="0">
                  <a:pos x="125" y="61"/>
                </a:cxn>
                <a:cxn ang="0">
                  <a:pos x="134" y="65"/>
                </a:cxn>
                <a:cxn ang="0">
                  <a:pos x="134" y="67"/>
                </a:cxn>
                <a:cxn ang="0">
                  <a:pos x="118" y="75"/>
                </a:cxn>
                <a:cxn ang="0">
                  <a:pos x="84" y="109"/>
                </a:cxn>
                <a:cxn ang="0">
                  <a:pos x="82" y="118"/>
                </a:cxn>
                <a:cxn ang="0">
                  <a:pos x="80" y="119"/>
                </a:cxn>
                <a:cxn ang="0">
                  <a:pos x="69" y="122"/>
                </a:cxn>
                <a:cxn ang="0">
                  <a:pos x="64" y="120"/>
                </a:cxn>
                <a:cxn ang="0">
                  <a:pos x="55" y="116"/>
                </a:cxn>
                <a:cxn ang="0">
                  <a:pos x="51" y="116"/>
                </a:cxn>
                <a:cxn ang="0">
                  <a:pos x="48" y="118"/>
                </a:cxn>
                <a:cxn ang="0">
                  <a:pos x="42" y="125"/>
                </a:cxn>
                <a:cxn ang="0">
                  <a:pos x="41" y="126"/>
                </a:cxn>
                <a:cxn ang="0">
                  <a:pos x="39" y="129"/>
                </a:cxn>
                <a:cxn ang="0">
                  <a:pos x="37" y="131"/>
                </a:cxn>
                <a:cxn ang="0">
                  <a:pos x="32" y="136"/>
                </a:cxn>
                <a:cxn ang="0">
                  <a:pos x="24" y="139"/>
                </a:cxn>
                <a:cxn ang="0">
                  <a:pos x="12" y="138"/>
                </a:cxn>
                <a:cxn ang="0">
                  <a:pos x="10" y="135"/>
                </a:cxn>
                <a:cxn ang="0">
                  <a:pos x="13" y="126"/>
                </a:cxn>
                <a:cxn ang="0">
                  <a:pos x="13" y="120"/>
                </a:cxn>
                <a:cxn ang="0">
                  <a:pos x="10" y="118"/>
                </a:cxn>
                <a:cxn ang="0">
                  <a:pos x="8" y="115"/>
                </a:cxn>
                <a:cxn ang="0">
                  <a:pos x="6" y="112"/>
                </a:cxn>
                <a:cxn ang="0">
                  <a:pos x="3" y="109"/>
                </a:cxn>
                <a:cxn ang="0">
                  <a:pos x="3" y="107"/>
                </a:cxn>
                <a:cxn ang="0">
                  <a:pos x="0" y="106"/>
                </a:cxn>
                <a:cxn ang="0">
                  <a:pos x="0" y="106"/>
                </a:cxn>
              </a:cxnLst>
              <a:rect l="0" t="0" r="r" b="b"/>
              <a:pathLst>
                <a:path w="134" h="139">
                  <a:moveTo>
                    <a:pt x="0" y="106"/>
                  </a:moveTo>
                  <a:lnTo>
                    <a:pt x="0" y="64"/>
                  </a:lnTo>
                  <a:lnTo>
                    <a:pt x="15" y="64"/>
                  </a:lnTo>
                  <a:lnTo>
                    <a:pt x="15" y="11"/>
                  </a:lnTo>
                  <a:lnTo>
                    <a:pt x="16" y="10"/>
                  </a:lnTo>
                  <a:lnTo>
                    <a:pt x="47" y="6"/>
                  </a:lnTo>
                  <a:lnTo>
                    <a:pt x="50" y="6"/>
                  </a:lnTo>
                  <a:lnTo>
                    <a:pt x="51" y="9"/>
                  </a:lnTo>
                  <a:lnTo>
                    <a:pt x="53" y="13"/>
                  </a:lnTo>
                  <a:lnTo>
                    <a:pt x="55" y="9"/>
                  </a:lnTo>
                  <a:lnTo>
                    <a:pt x="60" y="6"/>
                  </a:lnTo>
                  <a:lnTo>
                    <a:pt x="67" y="3"/>
                  </a:lnTo>
                  <a:lnTo>
                    <a:pt x="69" y="1"/>
                  </a:lnTo>
                  <a:lnTo>
                    <a:pt x="70" y="0"/>
                  </a:lnTo>
                  <a:lnTo>
                    <a:pt x="73" y="0"/>
                  </a:lnTo>
                  <a:lnTo>
                    <a:pt x="76" y="1"/>
                  </a:lnTo>
                  <a:lnTo>
                    <a:pt x="76" y="3"/>
                  </a:lnTo>
                  <a:lnTo>
                    <a:pt x="79" y="10"/>
                  </a:lnTo>
                  <a:lnTo>
                    <a:pt x="82" y="13"/>
                  </a:lnTo>
                  <a:lnTo>
                    <a:pt x="84" y="20"/>
                  </a:lnTo>
                  <a:lnTo>
                    <a:pt x="96" y="32"/>
                  </a:lnTo>
                  <a:lnTo>
                    <a:pt x="99" y="33"/>
                  </a:lnTo>
                  <a:lnTo>
                    <a:pt x="103" y="36"/>
                  </a:lnTo>
                  <a:lnTo>
                    <a:pt x="105" y="39"/>
                  </a:lnTo>
                  <a:lnTo>
                    <a:pt x="109" y="41"/>
                  </a:lnTo>
                  <a:lnTo>
                    <a:pt x="112" y="43"/>
                  </a:lnTo>
                  <a:lnTo>
                    <a:pt x="112" y="54"/>
                  </a:lnTo>
                  <a:lnTo>
                    <a:pt x="114" y="57"/>
                  </a:lnTo>
                  <a:lnTo>
                    <a:pt x="116" y="59"/>
                  </a:lnTo>
                  <a:lnTo>
                    <a:pt x="119" y="61"/>
                  </a:lnTo>
                  <a:lnTo>
                    <a:pt x="125" y="61"/>
                  </a:lnTo>
                  <a:lnTo>
                    <a:pt x="134" y="65"/>
                  </a:lnTo>
                  <a:lnTo>
                    <a:pt x="134" y="67"/>
                  </a:lnTo>
                  <a:lnTo>
                    <a:pt x="118" y="75"/>
                  </a:lnTo>
                  <a:lnTo>
                    <a:pt x="84" y="109"/>
                  </a:lnTo>
                  <a:lnTo>
                    <a:pt x="82" y="118"/>
                  </a:lnTo>
                  <a:lnTo>
                    <a:pt x="80" y="119"/>
                  </a:lnTo>
                  <a:lnTo>
                    <a:pt x="69" y="122"/>
                  </a:lnTo>
                  <a:lnTo>
                    <a:pt x="64" y="120"/>
                  </a:lnTo>
                  <a:lnTo>
                    <a:pt x="55" y="116"/>
                  </a:lnTo>
                  <a:lnTo>
                    <a:pt x="51" y="116"/>
                  </a:lnTo>
                  <a:lnTo>
                    <a:pt x="48" y="118"/>
                  </a:lnTo>
                  <a:lnTo>
                    <a:pt x="42" y="125"/>
                  </a:lnTo>
                  <a:lnTo>
                    <a:pt x="41" y="126"/>
                  </a:lnTo>
                  <a:lnTo>
                    <a:pt x="39" y="129"/>
                  </a:lnTo>
                  <a:lnTo>
                    <a:pt x="37" y="131"/>
                  </a:lnTo>
                  <a:lnTo>
                    <a:pt x="32" y="136"/>
                  </a:lnTo>
                  <a:lnTo>
                    <a:pt x="24" y="139"/>
                  </a:lnTo>
                  <a:lnTo>
                    <a:pt x="12" y="138"/>
                  </a:lnTo>
                  <a:lnTo>
                    <a:pt x="10" y="135"/>
                  </a:lnTo>
                  <a:lnTo>
                    <a:pt x="13" y="126"/>
                  </a:lnTo>
                  <a:lnTo>
                    <a:pt x="13" y="120"/>
                  </a:lnTo>
                  <a:lnTo>
                    <a:pt x="10" y="118"/>
                  </a:lnTo>
                  <a:lnTo>
                    <a:pt x="8" y="115"/>
                  </a:lnTo>
                  <a:lnTo>
                    <a:pt x="6" y="112"/>
                  </a:lnTo>
                  <a:lnTo>
                    <a:pt x="3" y="109"/>
                  </a:lnTo>
                  <a:lnTo>
                    <a:pt x="3" y="107"/>
                  </a:lnTo>
                  <a:lnTo>
                    <a:pt x="0" y="106"/>
                  </a:lnTo>
                  <a:lnTo>
                    <a:pt x="0" y="10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34" name="Freeform 1314"/>
            <p:cNvSpPr>
              <a:spLocks/>
            </p:cNvSpPr>
            <p:nvPr/>
          </p:nvSpPr>
          <p:spPr bwMode="auto">
            <a:xfrm>
              <a:off x="6377921" y="3540329"/>
              <a:ext cx="122893" cy="145021"/>
            </a:xfrm>
            <a:custGeom>
              <a:avLst/>
              <a:gdLst/>
              <a:ahLst/>
              <a:cxnLst>
                <a:cxn ang="0">
                  <a:pos x="0" y="106"/>
                </a:cxn>
                <a:cxn ang="0">
                  <a:pos x="0" y="64"/>
                </a:cxn>
                <a:cxn ang="0">
                  <a:pos x="15" y="64"/>
                </a:cxn>
                <a:cxn ang="0">
                  <a:pos x="15" y="11"/>
                </a:cxn>
                <a:cxn ang="0">
                  <a:pos x="16" y="10"/>
                </a:cxn>
                <a:cxn ang="0">
                  <a:pos x="47" y="6"/>
                </a:cxn>
                <a:cxn ang="0">
                  <a:pos x="50" y="6"/>
                </a:cxn>
                <a:cxn ang="0">
                  <a:pos x="51" y="9"/>
                </a:cxn>
                <a:cxn ang="0">
                  <a:pos x="53" y="13"/>
                </a:cxn>
                <a:cxn ang="0">
                  <a:pos x="55" y="9"/>
                </a:cxn>
                <a:cxn ang="0">
                  <a:pos x="60" y="6"/>
                </a:cxn>
                <a:cxn ang="0">
                  <a:pos x="67" y="3"/>
                </a:cxn>
                <a:cxn ang="0">
                  <a:pos x="69" y="1"/>
                </a:cxn>
                <a:cxn ang="0">
                  <a:pos x="70" y="0"/>
                </a:cxn>
                <a:cxn ang="0">
                  <a:pos x="73" y="0"/>
                </a:cxn>
                <a:cxn ang="0">
                  <a:pos x="76" y="1"/>
                </a:cxn>
                <a:cxn ang="0">
                  <a:pos x="76" y="3"/>
                </a:cxn>
                <a:cxn ang="0">
                  <a:pos x="79" y="10"/>
                </a:cxn>
                <a:cxn ang="0">
                  <a:pos x="82" y="13"/>
                </a:cxn>
                <a:cxn ang="0">
                  <a:pos x="84" y="20"/>
                </a:cxn>
                <a:cxn ang="0">
                  <a:pos x="96" y="32"/>
                </a:cxn>
                <a:cxn ang="0">
                  <a:pos x="99" y="33"/>
                </a:cxn>
                <a:cxn ang="0">
                  <a:pos x="103" y="36"/>
                </a:cxn>
                <a:cxn ang="0">
                  <a:pos x="105" y="39"/>
                </a:cxn>
                <a:cxn ang="0">
                  <a:pos x="109" y="41"/>
                </a:cxn>
                <a:cxn ang="0">
                  <a:pos x="112" y="43"/>
                </a:cxn>
                <a:cxn ang="0">
                  <a:pos x="112" y="54"/>
                </a:cxn>
                <a:cxn ang="0">
                  <a:pos x="114" y="57"/>
                </a:cxn>
                <a:cxn ang="0">
                  <a:pos x="116" y="59"/>
                </a:cxn>
                <a:cxn ang="0">
                  <a:pos x="119" y="61"/>
                </a:cxn>
                <a:cxn ang="0">
                  <a:pos x="125" y="61"/>
                </a:cxn>
                <a:cxn ang="0">
                  <a:pos x="134" y="65"/>
                </a:cxn>
                <a:cxn ang="0">
                  <a:pos x="134" y="67"/>
                </a:cxn>
                <a:cxn ang="0">
                  <a:pos x="118" y="75"/>
                </a:cxn>
                <a:cxn ang="0">
                  <a:pos x="84" y="109"/>
                </a:cxn>
                <a:cxn ang="0">
                  <a:pos x="82" y="118"/>
                </a:cxn>
                <a:cxn ang="0">
                  <a:pos x="80" y="119"/>
                </a:cxn>
                <a:cxn ang="0">
                  <a:pos x="69" y="122"/>
                </a:cxn>
                <a:cxn ang="0">
                  <a:pos x="64" y="120"/>
                </a:cxn>
                <a:cxn ang="0">
                  <a:pos x="55" y="116"/>
                </a:cxn>
                <a:cxn ang="0">
                  <a:pos x="51" y="116"/>
                </a:cxn>
                <a:cxn ang="0">
                  <a:pos x="48" y="118"/>
                </a:cxn>
                <a:cxn ang="0">
                  <a:pos x="42" y="125"/>
                </a:cxn>
                <a:cxn ang="0">
                  <a:pos x="41" y="126"/>
                </a:cxn>
                <a:cxn ang="0">
                  <a:pos x="39" y="129"/>
                </a:cxn>
                <a:cxn ang="0">
                  <a:pos x="37" y="131"/>
                </a:cxn>
                <a:cxn ang="0">
                  <a:pos x="32" y="136"/>
                </a:cxn>
                <a:cxn ang="0">
                  <a:pos x="24" y="139"/>
                </a:cxn>
                <a:cxn ang="0">
                  <a:pos x="12" y="138"/>
                </a:cxn>
                <a:cxn ang="0">
                  <a:pos x="10" y="135"/>
                </a:cxn>
                <a:cxn ang="0">
                  <a:pos x="13" y="126"/>
                </a:cxn>
                <a:cxn ang="0">
                  <a:pos x="13" y="120"/>
                </a:cxn>
                <a:cxn ang="0">
                  <a:pos x="10" y="118"/>
                </a:cxn>
                <a:cxn ang="0">
                  <a:pos x="8" y="115"/>
                </a:cxn>
                <a:cxn ang="0">
                  <a:pos x="6" y="112"/>
                </a:cxn>
                <a:cxn ang="0">
                  <a:pos x="3" y="109"/>
                </a:cxn>
                <a:cxn ang="0">
                  <a:pos x="3" y="107"/>
                </a:cxn>
                <a:cxn ang="0">
                  <a:pos x="0" y="106"/>
                </a:cxn>
                <a:cxn ang="0">
                  <a:pos x="0" y="106"/>
                </a:cxn>
              </a:cxnLst>
              <a:rect l="0" t="0" r="r" b="b"/>
              <a:pathLst>
                <a:path w="134" h="139">
                  <a:moveTo>
                    <a:pt x="0" y="106"/>
                  </a:moveTo>
                  <a:lnTo>
                    <a:pt x="0" y="64"/>
                  </a:lnTo>
                  <a:lnTo>
                    <a:pt x="15" y="64"/>
                  </a:lnTo>
                  <a:lnTo>
                    <a:pt x="15" y="11"/>
                  </a:lnTo>
                  <a:lnTo>
                    <a:pt x="16" y="10"/>
                  </a:lnTo>
                  <a:lnTo>
                    <a:pt x="47" y="6"/>
                  </a:lnTo>
                  <a:lnTo>
                    <a:pt x="50" y="6"/>
                  </a:lnTo>
                  <a:lnTo>
                    <a:pt x="51" y="9"/>
                  </a:lnTo>
                  <a:lnTo>
                    <a:pt x="53" y="13"/>
                  </a:lnTo>
                  <a:lnTo>
                    <a:pt x="55" y="9"/>
                  </a:lnTo>
                  <a:lnTo>
                    <a:pt x="60" y="6"/>
                  </a:lnTo>
                  <a:lnTo>
                    <a:pt x="67" y="3"/>
                  </a:lnTo>
                  <a:lnTo>
                    <a:pt x="69" y="1"/>
                  </a:lnTo>
                  <a:lnTo>
                    <a:pt x="70" y="0"/>
                  </a:lnTo>
                  <a:lnTo>
                    <a:pt x="73" y="0"/>
                  </a:lnTo>
                  <a:lnTo>
                    <a:pt x="76" y="1"/>
                  </a:lnTo>
                  <a:lnTo>
                    <a:pt x="76" y="3"/>
                  </a:lnTo>
                  <a:lnTo>
                    <a:pt x="79" y="10"/>
                  </a:lnTo>
                  <a:lnTo>
                    <a:pt x="82" y="13"/>
                  </a:lnTo>
                  <a:lnTo>
                    <a:pt x="84" y="20"/>
                  </a:lnTo>
                  <a:lnTo>
                    <a:pt x="96" y="32"/>
                  </a:lnTo>
                  <a:lnTo>
                    <a:pt x="99" y="33"/>
                  </a:lnTo>
                  <a:lnTo>
                    <a:pt x="103" y="36"/>
                  </a:lnTo>
                  <a:lnTo>
                    <a:pt x="105" y="39"/>
                  </a:lnTo>
                  <a:lnTo>
                    <a:pt x="109" y="41"/>
                  </a:lnTo>
                  <a:lnTo>
                    <a:pt x="112" y="43"/>
                  </a:lnTo>
                  <a:lnTo>
                    <a:pt x="112" y="54"/>
                  </a:lnTo>
                  <a:lnTo>
                    <a:pt x="114" y="57"/>
                  </a:lnTo>
                  <a:lnTo>
                    <a:pt x="116" y="59"/>
                  </a:lnTo>
                  <a:lnTo>
                    <a:pt x="119" y="61"/>
                  </a:lnTo>
                  <a:lnTo>
                    <a:pt x="125" y="61"/>
                  </a:lnTo>
                  <a:lnTo>
                    <a:pt x="134" y="65"/>
                  </a:lnTo>
                  <a:lnTo>
                    <a:pt x="134" y="67"/>
                  </a:lnTo>
                  <a:lnTo>
                    <a:pt x="118" y="75"/>
                  </a:lnTo>
                  <a:lnTo>
                    <a:pt x="84" y="109"/>
                  </a:lnTo>
                  <a:lnTo>
                    <a:pt x="82" y="118"/>
                  </a:lnTo>
                  <a:lnTo>
                    <a:pt x="80" y="119"/>
                  </a:lnTo>
                  <a:lnTo>
                    <a:pt x="69" y="122"/>
                  </a:lnTo>
                  <a:lnTo>
                    <a:pt x="64" y="120"/>
                  </a:lnTo>
                  <a:lnTo>
                    <a:pt x="55" y="116"/>
                  </a:lnTo>
                  <a:lnTo>
                    <a:pt x="51" y="116"/>
                  </a:lnTo>
                  <a:lnTo>
                    <a:pt x="48" y="118"/>
                  </a:lnTo>
                  <a:lnTo>
                    <a:pt x="42" y="125"/>
                  </a:lnTo>
                  <a:lnTo>
                    <a:pt x="41" y="126"/>
                  </a:lnTo>
                  <a:lnTo>
                    <a:pt x="39" y="129"/>
                  </a:lnTo>
                  <a:lnTo>
                    <a:pt x="37" y="131"/>
                  </a:lnTo>
                  <a:lnTo>
                    <a:pt x="32" y="136"/>
                  </a:lnTo>
                  <a:lnTo>
                    <a:pt x="24" y="139"/>
                  </a:lnTo>
                  <a:lnTo>
                    <a:pt x="12" y="138"/>
                  </a:lnTo>
                  <a:lnTo>
                    <a:pt x="10" y="135"/>
                  </a:lnTo>
                  <a:lnTo>
                    <a:pt x="13" y="126"/>
                  </a:lnTo>
                  <a:lnTo>
                    <a:pt x="13" y="120"/>
                  </a:lnTo>
                  <a:lnTo>
                    <a:pt x="10" y="118"/>
                  </a:lnTo>
                  <a:lnTo>
                    <a:pt x="8" y="115"/>
                  </a:lnTo>
                  <a:lnTo>
                    <a:pt x="6" y="112"/>
                  </a:lnTo>
                  <a:lnTo>
                    <a:pt x="3" y="109"/>
                  </a:lnTo>
                  <a:lnTo>
                    <a:pt x="3" y="107"/>
                  </a:lnTo>
                  <a:lnTo>
                    <a:pt x="0" y="106"/>
                  </a:lnTo>
                  <a:lnTo>
                    <a:pt x="0" y="10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35" name="Freeform 1315"/>
            <p:cNvSpPr>
              <a:spLocks/>
            </p:cNvSpPr>
            <p:nvPr/>
          </p:nvSpPr>
          <p:spPr bwMode="auto">
            <a:xfrm>
              <a:off x="6725530" y="2287874"/>
              <a:ext cx="531947" cy="321480"/>
            </a:xfrm>
            <a:custGeom>
              <a:avLst/>
              <a:gdLst/>
              <a:ahLst/>
              <a:cxnLst>
                <a:cxn ang="0">
                  <a:pos x="118" y="289"/>
                </a:cxn>
                <a:cxn ang="0">
                  <a:pos x="87" y="276"/>
                </a:cxn>
                <a:cxn ang="0">
                  <a:pos x="63" y="251"/>
                </a:cxn>
                <a:cxn ang="0">
                  <a:pos x="71" y="241"/>
                </a:cxn>
                <a:cxn ang="0">
                  <a:pos x="79" y="226"/>
                </a:cxn>
                <a:cxn ang="0">
                  <a:pos x="111" y="229"/>
                </a:cxn>
                <a:cxn ang="0">
                  <a:pos x="109" y="213"/>
                </a:cxn>
                <a:cxn ang="0">
                  <a:pos x="96" y="194"/>
                </a:cxn>
                <a:cxn ang="0">
                  <a:pos x="54" y="194"/>
                </a:cxn>
                <a:cxn ang="0">
                  <a:pos x="23" y="202"/>
                </a:cxn>
                <a:cxn ang="0">
                  <a:pos x="28" y="181"/>
                </a:cxn>
                <a:cxn ang="0">
                  <a:pos x="9" y="171"/>
                </a:cxn>
                <a:cxn ang="0">
                  <a:pos x="7" y="145"/>
                </a:cxn>
                <a:cxn ang="0">
                  <a:pos x="12" y="119"/>
                </a:cxn>
                <a:cxn ang="0">
                  <a:pos x="29" y="113"/>
                </a:cxn>
                <a:cxn ang="0">
                  <a:pos x="50" y="98"/>
                </a:cxn>
                <a:cxn ang="0">
                  <a:pos x="67" y="88"/>
                </a:cxn>
                <a:cxn ang="0">
                  <a:pos x="82" y="87"/>
                </a:cxn>
                <a:cxn ang="0">
                  <a:pos x="102" y="94"/>
                </a:cxn>
                <a:cxn ang="0">
                  <a:pos x="116" y="113"/>
                </a:cxn>
                <a:cxn ang="0">
                  <a:pos x="124" y="110"/>
                </a:cxn>
                <a:cxn ang="0">
                  <a:pos x="145" y="106"/>
                </a:cxn>
                <a:cxn ang="0">
                  <a:pos x="167" y="101"/>
                </a:cxn>
                <a:cxn ang="0">
                  <a:pos x="185" y="114"/>
                </a:cxn>
                <a:cxn ang="0">
                  <a:pos x="212" y="109"/>
                </a:cxn>
                <a:cxn ang="0">
                  <a:pos x="193" y="84"/>
                </a:cxn>
                <a:cxn ang="0">
                  <a:pos x="204" y="64"/>
                </a:cxn>
                <a:cxn ang="0">
                  <a:pos x="218" y="52"/>
                </a:cxn>
                <a:cxn ang="0">
                  <a:pos x="211" y="45"/>
                </a:cxn>
                <a:cxn ang="0">
                  <a:pos x="214" y="33"/>
                </a:cxn>
                <a:cxn ang="0">
                  <a:pos x="233" y="33"/>
                </a:cxn>
                <a:cxn ang="0">
                  <a:pos x="250" y="27"/>
                </a:cxn>
                <a:cxn ang="0">
                  <a:pos x="267" y="20"/>
                </a:cxn>
                <a:cxn ang="0">
                  <a:pos x="307" y="11"/>
                </a:cxn>
                <a:cxn ang="0">
                  <a:pos x="320" y="1"/>
                </a:cxn>
                <a:cxn ang="0">
                  <a:pos x="333" y="3"/>
                </a:cxn>
                <a:cxn ang="0">
                  <a:pos x="349" y="13"/>
                </a:cxn>
                <a:cxn ang="0">
                  <a:pos x="354" y="30"/>
                </a:cxn>
                <a:cxn ang="0">
                  <a:pos x="368" y="30"/>
                </a:cxn>
                <a:cxn ang="0">
                  <a:pos x="382" y="36"/>
                </a:cxn>
                <a:cxn ang="0">
                  <a:pos x="382" y="40"/>
                </a:cxn>
                <a:cxn ang="0">
                  <a:pos x="394" y="45"/>
                </a:cxn>
                <a:cxn ang="0">
                  <a:pos x="411" y="35"/>
                </a:cxn>
                <a:cxn ang="0">
                  <a:pos x="431" y="26"/>
                </a:cxn>
                <a:cxn ang="0">
                  <a:pos x="447" y="52"/>
                </a:cxn>
                <a:cxn ang="0">
                  <a:pos x="491" y="101"/>
                </a:cxn>
                <a:cxn ang="0">
                  <a:pos x="510" y="110"/>
                </a:cxn>
                <a:cxn ang="0">
                  <a:pos x="527" y="106"/>
                </a:cxn>
                <a:cxn ang="0">
                  <a:pos x="536" y="119"/>
                </a:cxn>
                <a:cxn ang="0">
                  <a:pos x="552" y="135"/>
                </a:cxn>
                <a:cxn ang="0">
                  <a:pos x="572" y="135"/>
                </a:cxn>
                <a:cxn ang="0">
                  <a:pos x="574" y="157"/>
                </a:cxn>
                <a:cxn ang="0">
                  <a:pos x="540" y="190"/>
                </a:cxn>
                <a:cxn ang="0">
                  <a:pos x="478" y="234"/>
                </a:cxn>
                <a:cxn ang="0">
                  <a:pos x="481" y="280"/>
                </a:cxn>
                <a:cxn ang="0">
                  <a:pos x="439" y="273"/>
                </a:cxn>
                <a:cxn ang="0">
                  <a:pos x="394" y="267"/>
                </a:cxn>
                <a:cxn ang="0">
                  <a:pos x="381" y="282"/>
                </a:cxn>
                <a:cxn ang="0">
                  <a:pos x="341" y="289"/>
                </a:cxn>
                <a:cxn ang="0">
                  <a:pos x="317" y="309"/>
                </a:cxn>
                <a:cxn ang="0">
                  <a:pos x="278" y="273"/>
                </a:cxn>
              </a:cxnLst>
              <a:rect l="0" t="0" r="r" b="b"/>
              <a:pathLst>
                <a:path w="580" h="309">
                  <a:moveTo>
                    <a:pt x="135" y="232"/>
                  </a:moveTo>
                  <a:lnTo>
                    <a:pt x="135" y="303"/>
                  </a:lnTo>
                  <a:lnTo>
                    <a:pt x="132" y="305"/>
                  </a:lnTo>
                  <a:lnTo>
                    <a:pt x="127" y="303"/>
                  </a:lnTo>
                  <a:lnTo>
                    <a:pt x="125" y="302"/>
                  </a:lnTo>
                  <a:lnTo>
                    <a:pt x="121" y="295"/>
                  </a:lnTo>
                  <a:lnTo>
                    <a:pt x="119" y="293"/>
                  </a:lnTo>
                  <a:lnTo>
                    <a:pt x="118" y="289"/>
                  </a:lnTo>
                  <a:lnTo>
                    <a:pt x="116" y="287"/>
                  </a:lnTo>
                  <a:lnTo>
                    <a:pt x="109" y="283"/>
                  </a:lnTo>
                  <a:lnTo>
                    <a:pt x="108" y="283"/>
                  </a:lnTo>
                  <a:lnTo>
                    <a:pt x="93" y="287"/>
                  </a:lnTo>
                  <a:lnTo>
                    <a:pt x="84" y="295"/>
                  </a:lnTo>
                  <a:lnTo>
                    <a:pt x="84" y="284"/>
                  </a:lnTo>
                  <a:lnTo>
                    <a:pt x="87" y="282"/>
                  </a:lnTo>
                  <a:lnTo>
                    <a:pt x="87" y="276"/>
                  </a:lnTo>
                  <a:lnTo>
                    <a:pt x="84" y="274"/>
                  </a:lnTo>
                  <a:lnTo>
                    <a:pt x="82" y="274"/>
                  </a:lnTo>
                  <a:lnTo>
                    <a:pt x="76" y="271"/>
                  </a:lnTo>
                  <a:lnTo>
                    <a:pt x="74" y="268"/>
                  </a:lnTo>
                  <a:lnTo>
                    <a:pt x="68" y="268"/>
                  </a:lnTo>
                  <a:lnTo>
                    <a:pt x="68" y="258"/>
                  </a:lnTo>
                  <a:lnTo>
                    <a:pt x="64" y="252"/>
                  </a:lnTo>
                  <a:lnTo>
                    <a:pt x="63" y="251"/>
                  </a:lnTo>
                  <a:lnTo>
                    <a:pt x="61" y="248"/>
                  </a:lnTo>
                  <a:lnTo>
                    <a:pt x="55" y="245"/>
                  </a:lnTo>
                  <a:lnTo>
                    <a:pt x="53" y="241"/>
                  </a:lnTo>
                  <a:lnTo>
                    <a:pt x="54" y="239"/>
                  </a:lnTo>
                  <a:lnTo>
                    <a:pt x="58" y="239"/>
                  </a:lnTo>
                  <a:lnTo>
                    <a:pt x="66" y="241"/>
                  </a:lnTo>
                  <a:lnTo>
                    <a:pt x="67" y="241"/>
                  </a:lnTo>
                  <a:lnTo>
                    <a:pt x="71" y="241"/>
                  </a:lnTo>
                  <a:lnTo>
                    <a:pt x="68" y="236"/>
                  </a:lnTo>
                  <a:lnTo>
                    <a:pt x="68" y="232"/>
                  </a:lnTo>
                  <a:lnTo>
                    <a:pt x="70" y="229"/>
                  </a:lnTo>
                  <a:lnTo>
                    <a:pt x="73" y="228"/>
                  </a:lnTo>
                  <a:lnTo>
                    <a:pt x="73" y="229"/>
                  </a:lnTo>
                  <a:lnTo>
                    <a:pt x="76" y="229"/>
                  </a:lnTo>
                  <a:lnTo>
                    <a:pt x="79" y="229"/>
                  </a:lnTo>
                  <a:lnTo>
                    <a:pt x="79" y="226"/>
                  </a:lnTo>
                  <a:lnTo>
                    <a:pt x="82" y="223"/>
                  </a:lnTo>
                  <a:lnTo>
                    <a:pt x="86" y="223"/>
                  </a:lnTo>
                  <a:lnTo>
                    <a:pt x="95" y="228"/>
                  </a:lnTo>
                  <a:lnTo>
                    <a:pt x="98" y="226"/>
                  </a:lnTo>
                  <a:lnTo>
                    <a:pt x="100" y="225"/>
                  </a:lnTo>
                  <a:lnTo>
                    <a:pt x="102" y="225"/>
                  </a:lnTo>
                  <a:lnTo>
                    <a:pt x="103" y="226"/>
                  </a:lnTo>
                  <a:lnTo>
                    <a:pt x="111" y="229"/>
                  </a:lnTo>
                  <a:lnTo>
                    <a:pt x="113" y="229"/>
                  </a:lnTo>
                  <a:lnTo>
                    <a:pt x="116" y="229"/>
                  </a:lnTo>
                  <a:lnTo>
                    <a:pt x="118" y="228"/>
                  </a:lnTo>
                  <a:lnTo>
                    <a:pt x="115" y="225"/>
                  </a:lnTo>
                  <a:lnTo>
                    <a:pt x="118" y="225"/>
                  </a:lnTo>
                  <a:lnTo>
                    <a:pt x="113" y="218"/>
                  </a:lnTo>
                  <a:lnTo>
                    <a:pt x="111" y="216"/>
                  </a:lnTo>
                  <a:lnTo>
                    <a:pt x="109" y="213"/>
                  </a:lnTo>
                  <a:lnTo>
                    <a:pt x="106" y="213"/>
                  </a:lnTo>
                  <a:lnTo>
                    <a:pt x="103" y="209"/>
                  </a:lnTo>
                  <a:lnTo>
                    <a:pt x="102" y="203"/>
                  </a:lnTo>
                  <a:lnTo>
                    <a:pt x="100" y="200"/>
                  </a:lnTo>
                  <a:lnTo>
                    <a:pt x="100" y="202"/>
                  </a:lnTo>
                  <a:lnTo>
                    <a:pt x="98" y="197"/>
                  </a:lnTo>
                  <a:lnTo>
                    <a:pt x="96" y="197"/>
                  </a:lnTo>
                  <a:lnTo>
                    <a:pt x="96" y="194"/>
                  </a:lnTo>
                  <a:lnTo>
                    <a:pt x="90" y="190"/>
                  </a:lnTo>
                  <a:lnTo>
                    <a:pt x="87" y="189"/>
                  </a:lnTo>
                  <a:lnTo>
                    <a:pt x="87" y="187"/>
                  </a:lnTo>
                  <a:lnTo>
                    <a:pt x="84" y="187"/>
                  </a:lnTo>
                  <a:lnTo>
                    <a:pt x="76" y="190"/>
                  </a:lnTo>
                  <a:lnTo>
                    <a:pt x="76" y="187"/>
                  </a:lnTo>
                  <a:lnTo>
                    <a:pt x="64" y="186"/>
                  </a:lnTo>
                  <a:lnTo>
                    <a:pt x="54" y="194"/>
                  </a:lnTo>
                  <a:lnTo>
                    <a:pt x="31" y="200"/>
                  </a:lnTo>
                  <a:lnTo>
                    <a:pt x="37" y="203"/>
                  </a:lnTo>
                  <a:lnTo>
                    <a:pt x="32" y="206"/>
                  </a:lnTo>
                  <a:lnTo>
                    <a:pt x="29" y="205"/>
                  </a:lnTo>
                  <a:lnTo>
                    <a:pt x="29" y="203"/>
                  </a:lnTo>
                  <a:lnTo>
                    <a:pt x="26" y="203"/>
                  </a:lnTo>
                  <a:lnTo>
                    <a:pt x="25" y="203"/>
                  </a:lnTo>
                  <a:lnTo>
                    <a:pt x="23" y="202"/>
                  </a:lnTo>
                  <a:lnTo>
                    <a:pt x="22" y="200"/>
                  </a:lnTo>
                  <a:lnTo>
                    <a:pt x="23" y="199"/>
                  </a:lnTo>
                  <a:lnTo>
                    <a:pt x="23" y="196"/>
                  </a:lnTo>
                  <a:lnTo>
                    <a:pt x="26" y="196"/>
                  </a:lnTo>
                  <a:lnTo>
                    <a:pt x="28" y="197"/>
                  </a:lnTo>
                  <a:lnTo>
                    <a:pt x="32" y="196"/>
                  </a:lnTo>
                  <a:lnTo>
                    <a:pt x="29" y="181"/>
                  </a:lnTo>
                  <a:lnTo>
                    <a:pt x="28" y="181"/>
                  </a:lnTo>
                  <a:lnTo>
                    <a:pt x="26" y="180"/>
                  </a:lnTo>
                  <a:lnTo>
                    <a:pt x="25" y="177"/>
                  </a:lnTo>
                  <a:lnTo>
                    <a:pt x="23" y="174"/>
                  </a:lnTo>
                  <a:lnTo>
                    <a:pt x="16" y="174"/>
                  </a:lnTo>
                  <a:lnTo>
                    <a:pt x="13" y="174"/>
                  </a:lnTo>
                  <a:lnTo>
                    <a:pt x="13" y="175"/>
                  </a:lnTo>
                  <a:lnTo>
                    <a:pt x="9" y="173"/>
                  </a:lnTo>
                  <a:lnTo>
                    <a:pt x="9" y="171"/>
                  </a:lnTo>
                  <a:lnTo>
                    <a:pt x="9" y="168"/>
                  </a:lnTo>
                  <a:lnTo>
                    <a:pt x="9" y="167"/>
                  </a:lnTo>
                  <a:lnTo>
                    <a:pt x="9" y="165"/>
                  </a:lnTo>
                  <a:lnTo>
                    <a:pt x="7" y="164"/>
                  </a:lnTo>
                  <a:lnTo>
                    <a:pt x="0" y="161"/>
                  </a:lnTo>
                  <a:lnTo>
                    <a:pt x="3" y="149"/>
                  </a:lnTo>
                  <a:lnTo>
                    <a:pt x="7" y="148"/>
                  </a:lnTo>
                  <a:lnTo>
                    <a:pt x="7" y="145"/>
                  </a:lnTo>
                  <a:lnTo>
                    <a:pt x="7" y="143"/>
                  </a:lnTo>
                  <a:lnTo>
                    <a:pt x="5" y="141"/>
                  </a:lnTo>
                  <a:lnTo>
                    <a:pt x="7" y="129"/>
                  </a:lnTo>
                  <a:lnTo>
                    <a:pt x="10" y="128"/>
                  </a:lnTo>
                  <a:lnTo>
                    <a:pt x="12" y="125"/>
                  </a:lnTo>
                  <a:lnTo>
                    <a:pt x="12" y="123"/>
                  </a:lnTo>
                  <a:lnTo>
                    <a:pt x="12" y="120"/>
                  </a:lnTo>
                  <a:lnTo>
                    <a:pt x="12" y="119"/>
                  </a:lnTo>
                  <a:lnTo>
                    <a:pt x="15" y="116"/>
                  </a:lnTo>
                  <a:lnTo>
                    <a:pt x="16" y="116"/>
                  </a:lnTo>
                  <a:lnTo>
                    <a:pt x="18" y="119"/>
                  </a:lnTo>
                  <a:lnTo>
                    <a:pt x="21" y="122"/>
                  </a:lnTo>
                  <a:lnTo>
                    <a:pt x="25" y="130"/>
                  </a:lnTo>
                  <a:lnTo>
                    <a:pt x="26" y="132"/>
                  </a:lnTo>
                  <a:lnTo>
                    <a:pt x="34" y="126"/>
                  </a:lnTo>
                  <a:lnTo>
                    <a:pt x="29" y="113"/>
                  </a:lnTo>
                  <a:lnTo>
                    <a:pt x="31" y="113"/>
                  </a:lnTo>
                  <a:lnTo>
                    <a:pt x="41" y="107"/>
                  </a:lnTo>
                  <a:lnTo>
                    <a:pt x="41" y="106"/>
                  </a:lnTo>
                  <a:lnTo>
                    <a:pt x="41" y="101"/>
                  </a:lnTo>
                  <a:lnTo>
                    <a:pt x="44" y="101"/>
                  </a:lnTo>
                  <a:lnTo>
                    <a:pt x="45" y="101"/>
                  </a:lnTo>
                  <a:lnTo>
                    <a:pt x="48" y="100"/>
                  </a:lnTo>
                  <a:lnTo>
                    <a:pt x="50" y="98"/>
                  </a:lnTo>
                  <a:lnTo>
                    <a:pt x="53" y="97"/>
                  </a:lnTo>
                  <a:lnTo>
                    <a:pt x="54" y="96"/>
                  </a:lnTo>
                  <a:lnTo>
                    <a:pt x="55" y="94"/>
                  </a:lnTo>
                  <a:lnTo>
                    <a:pt x="57" y="93"/>
                  </a:lnTo>
                  <a:lnTo>
                    <a:pt x="58" y="91"/>
                  </a:lnTo>
                  <a:lnTo>
                    <a:pt x="60" y="90"/>
                  </a:lnTo>
                  <a:lnTo>
                    <a:pt x="63" y="88"/>
                  </a:lnTo>
                  <a:lnTo>
                    <a:pt x="67" y="88"/>
                  </a:lnTo>
                  <a:lnTo>
                    <a:pt x="68" y="93"/>
                  </a:lnTo>
                  <a:lnTo>
                    <a:pt x="73" y="91"/>
                  </a:lnTo>
                  <a:lnTo>
                    <a:pt x="74" y="93"/>
                  </a:lnTo>
                  <a:lnTo>
                    <a:pt x="76" y="91"/>
                  </a:lnTo>
                  <a:lnTo>
                    <a:pt x="76" y="90"/>
                  </a:lnTo>
                  <a:lnTo>
                    <a:pt x="77" y="87"/>
                  </a:lnTo>
                  <a:lnTo>
                    <a:pt x="80" y="88"/>
                  </a:lnTo>
                  <a:lnTo>
                    <a:pt x="82" y="87"/>
                  </a:lnTo>
                  <a:lnTo>
                    <a:pt x="83" y="87"/>
                  </a:lnTo>
                  <a:lnTo>
                    <a:pt x="84" y="91"/>
                  </a:lnTo>
                  <a:lnTo>
                    <a:pt x="86" y="93"/>
                  </a:lnTo>
                  <a:lnTo>
                    <a:pt x="90" y="91"/>
                  </a:lnTo>
                  <a:lnTo>
                    <a:pt x="92" y="93"/>
                  </a:lnTo>
                  <a:lnTo>
                    <a:pt x="96" y="91"/>
                  </a:lnTo>
                  <a:lnTo>
                    <a:pt x="99" y="91"/>
                  </a:lnTo>
                  <a:lnTo>
                    <a:pt x="102" y="94"/>
                  </a:lnTo>
                  <a:lnTo>
                    <a:pt x="103" y="98"/>
                  </a:lnTo>
                  <a:lnTo>
                    <a:pt x="109" y="101"/>
                  </a:lnTo>
                  <a:lnTo>
                    <a:pt x="109" y="103"/>
                  </a:lnTo>
                  <a:lnTo>
                    <a:pt x="111" y="104"/>
                  </a:lnTo>
                  <a:lnTo>
                    <a:pt x="113" y="109"/>
                  </a:lnTo>
                  <a:lnTo>
                    <a:pt x="113" y="112"/>
                  </a:lnTo>
                  <a:lnTo>
                    <a:pt x="115" y="114"/>
                  </a:lnTo>
                  <a:lnTo>
                    <a:pt x="116" y="113"/>
                  </a:lnTo>
                  <a:lnTo>
                    <a:pt x="116" y="107"/>
                  </a:lnTo>
                  <a:lnTo>
                    <a:pt x="115" y="106"/>
                  </a:lnTo>
                  <a:lnTo>
                    <a:pt x="116" y="104"/>
                  </a:lnTo>
                  <a:lnTo>
                    <a:pt x="119" y="103"/>
                  </a:lnTo>
                  <a:lnTo>
                    <a:pt x="119" y="106"/>
                  </a:lnTo>
                  <a:lnTo>
                    <a:pt x="121" y="107"/>
                  </a:lnTo>
                  <a:lnTo>
                    <a:pt x="122" y="109"/>
                  </a:lnTo>
                  <a:lnTo>
                    <a:pt x="124" y="110"/>
                  </a:lnTo>
                  <a:lnTo>
                    <a:pt x="131" y="113"/>
                  </a:lnTo>
                  <a:lnTo>
                    <a:pt x="134" y="113"/>
                  </a:lnTo>
                  <a:lnTo>
                    <a:pt x="138" y="109"/>
                  </a:lnTo>
                  <a:lnTo>
                    <a:pt x="138" y="107"/>
                  </a:lnTo>
                  <a:lnTo>
                    <a:pt x="140" y="106"/>
                  </a:lnTo>
                  <a:lnTo>
                    <a:pt x="141" y="106"/>
                  </a:lnTo>
                  <a:lnTo>
                    <a:pt x="144" y="104"/>
                  </a:lnTo>
                  <a:lnTo>
                    <a:pt x="145" y="106"/>
                  </a:lnTo>
                  <a:lnTo>
                    <a:pt x="145" y="103"/>
                  </a:lnTo>
                  <a:lnTo>
                    <a:pt x="150" y="104"/>
                  </a:lnTo>
                  <a:lnTo>
                    <a:pt x="151" y="103"/>
                  </a:lnTo>
                  <a:lnTo>
                    <a:pt x="157" y="107"/>
                  </a:lnTo>
                  <a:lnTo>
                    <a:pt x="160" y="104"/>
                  </a:lnTo>
                  <a:lnTo>
                    <a:pt x="161" y="103"/>
                  </a:lnTo>
                  <a:lnTo>
                    <a:pt x="166" y="103"/>
                  </a:lnTo>
                  <a:lnTo>
                    <a:pt x="167" y="101"/>
                  </a:lnTo>
                  <a:lnTo>
                    <a:pt x="172" y="103"/>
                  </a:lnTo>
                  <a:lnTo>
                    <a:pt x="173" y="104"/>
                  </a:lnTo>
                  <a:lnTo>
                    <a:pt x="173" y="109"/>
                  </a:lnTo>
                  <a:lnTo>
                    <a:pt x="176" y="112"/>
                  </a:lnTo>
                  <a:lnTo>
                    <a:pt x="180" y="112"/>
                  </a:lnTo>
                  <a:lnTo>
                    <a:pt x="183" y="113"/>
                  </a:lnTo>
                  <a:lnTo>
                    <a:pt x="183" y="113"/>
                  </a:lnTo>
                  <a:lnTo>
                    <a:pt x="185" y="114"/>
                  </a:lnTo>
                  <a:lnTo>
                    <a:pt x="189" y="114"/>
                  </a:lnTo>
                  <a:lnTo>
                    <a:pt x="190" y="113"/>
                  </a:lnTo>
                  <a:lnTo>
                    <a:pt x="193" y="109"/>
                  </a:lnTo>
                  <a:lnTo>
                    <a:pt x="195" y="109"/>
                  </a:lnTo>
                  <a:lnTo>
                    <a:pt x="198" y="112"/>
                  </a:lnTo>
                  <a:lnTo>
                    <a:pt x="206" y="112"/>
                  </a:lnTo>
                  <a:lnTo>
                    <a:pt x="208" y="110"/>
                  </a:lnTo>
                  <a:lnTo>
                    <a:pt x="212" y="109"/>
                  </a:lnTo>
                  <a:lnTo>
                    <a:pt x="217" y="97"/>
                  </a:lnTo>
                  <a:lnTo>
                    <a:pt x="214" y="94"/>
                  </a:lnTo>
                  <a:lnTo>
                    <a:pt x="206" y="94"/>
                  </a:lnTo>
                  <a:lnTo>
                    <a:pt x="204" y="91"/>
                  </a:lnTo>
                  <a:lnTo>
                    <a:pt x="198" y="88"/>
                  </a:lnTo>
                  <a:lnTo>
                    <a:pt x="198" y="87"/>
                  </a:lnTo>
                  <a:lnTo>
                    <a:pt x="196" y="85"/>
                  </a:lnTo>
                  <a:lnTo>
                    <a:pt x="193" y="84"/>
                  </a:lnTo>
                  <a:lnTo>
                    <a:pt x="193" y="82"/>
                  </a:lnTo>
                  <a:lnTo>
                    <a:pt x="195" y="81"/>
                  </a:lnTo>
                  <a:lnTo>
                    <a:pt x="198" y="78"/>
                  </a:lnTo>
                  <a:lnTo>
                    <a:pt x="205" y="75"/>
                  </a:lnTo>
                  <a:lnTo>
                    <a:pt x="206" y="74"/>
                  </a:lnTo>
                  <a:lnTo>
                    <a:pt x="206" y="71"/>
                  </a:lnTo>
                  <a:lnTo>
                    <a:pt x="202" y="64"/>
                  </a:lnTo>
                  <a:lnTo>
                    <a:pt x="204" y="64"/>
                  </a:lnTo>
                  <a:lnTo>
                    <a:pt x="206" y="62"/>
                  </a:lnTo>
                  <a:lnTo>
                    <a:pt x="206" y="59"/>
                  </a:lnTo>
                  <a:lnTo>
                    <a:pt x="208" y="58"/>
                  </a:lnTo>
                  <a:lnTo>
                    <a:pt x="221" y="59"/>
                  </a:lnTo>
                  <a:lnTo>
                    <a:pt x="222" y="58"/>
                  </a:lnTo>
                  <a:lnTo>
                    <a:pt x="224" y="56"/>
                  </a:lnTo>
                  <a:lnTo>
                    <a:pt x="222" y="55"/>
                  </a:lnTo>
                  <a:lnTo>
                    <a:pt x="218" y="52"/>
                  </a:lnTo>
                  <a:lnTo>
                    <a:pt x="209" y="50"/>
                  </a:lnTo>
                  <a:lnTo>
                    <a:pt x="209" y="49"/>
                  </a:lnTo>
                  <a:lnTo>
                    <a:pt x="209" y="48"/>
                  </a:lnTo>
                  <a:lnTo>
                    <a:pt x="211" y="48"/>
                  </a:lnTo>
                  <a:lnTo>
                    <a:pt x="214" y="46"/>
                  </a:lnTo>
                  <a:lnTo>
                    <a:pt x="214" y="45"/>
                  </a:lnTo>
                  <a:lnTo>
                    <a:pt x="212" y="43"/>
                  </a:lnTo>
                  <a:lnTo>
                    <a:pt x="211" y="45"/>
                  </a:lnTo>
                  <a:lnTo>
                    <a:pt x="206" y="45"/>
                  </a:lnTo>
                  <a:lnTo>
                    <a:pt x="206" y="42"/>
                  </a:lnTo>
                  <a:lnTo>
                    <a:pt x="208" y="40"/>
                  </a:lnTo>
                  <a:lnTo>
                    <a:pt x="209" y="39"/>
                  </a:lnTo>
                  <a:lnTo>
                    <a:pt x="206" y="36"/>
                  </a:lnTo>
                  <a:lnTo>
                    <a:pt x="211" y="35"/>
                  </a:lnTo>
                  <a:lnTo>
                    <a:pt x="211" y="33"/>
                  </a:lnTo>
                  <a:lnTo>
                    <a:pt x="214" y="33"/>
                  </a:lnTo>
                  <a:lnTo>
                    <a:pt x="215" y="35"/>
                  </a:lnTo>
                  <a:lnTo>
                    <a:pt x="217" y="35"/>
                  </a:lnTo>
                  <a:lnTo>
                    <a:pt x="219" y="35"/>
                  </a:lnTo>
                  <a:lnTo>
                    <a:pt x="221" y="35"/>
                  </a:lnTo>
                  <a:lnTo>
                    <a:pt x="227" y="35"/>
                  </a:lnTo>
                  <a:lnTo>
                    <a:pt x="228" y="36"/>
                  </a:lnTo>
                  <a:lnTo>
                    <a:pt x="231" y="33"/>
                  </a:lnTo>
                  <a:lnTo>
                    <a:pt x="233" y="33"/>
                  </a:lnTo>
                  <a:lnTo>
                    <a:pt x="237" y="33"/>
                  </a:lnTo>
                  <a:lnTo>
                    <a:pt x="238" y="32"/>
                  </a:lnTo>
                  <a:lnTo>
                    <a:pt x="241" y="30"/>
                  </a:lnTo>
                  <a:lnTo>
                    <a:pt x="244" y="27"/>
                  </a:lnTo>
                  <a:lnTo>
                    <a:pt x="246" y="29"/>
                  </a:lnTo>
                  <a:lnTo>
                    <a:pt x="249" y="30"/>
                  </a:lnTo>
                  <a:lnTo>
                    <a:pt x="250" y="30"/>
                  </a:lnTo>
                  <a:lnTo>
                    <a:pt x="250" y="27"/>
                  </a:lnTo>
                  <a:lnTo>
                    <a:pt x="254" y="27"/>
                  </a:lnTo>
                  <a:lnTo>
                    <a:pt x="257" y="26"/>
                  </a:lnTo>
                  <a:lnTo>
                    <a:pt x="259" y="26"/>
                  </a:lnTo>
                  <a:lnTo>
                    <a:pt x="260" y="24"/>
                  </a:lnTo>
                  <a:lnTo>
                    <a:pt x="263" y="24"/>
                  </a:lnTo>
                  <a:lnTo>
                    <a:pt x="264" y="26"/>
                  </a:lnTo>
                  <a:lnTo>
                    <a:pt x="266" y="24"/>
                  </a:lnTo>
                  <a:lnTo>
                    <a:pt x="267" y="20"/>
                  </a:lnTo>
                  <a:lnTo>
                    <a:pt x="269" y="19"/>
                  </a:lnTo>
                  <a:lnTo>
                    <a:pt x="270" y="19"/>
                  </a:lnTo>
                  <a:lnTo>
                    <a:pt x="273" y="19"/>
                  </a:lnTo>
                  <a:lnTo>
                    <a:pt x="278" y="17"/>
                  </a:lnTo>
                  <a:lnTo>
                    <a:pt x="278" y="19"/>
                  </a:lnTo>
                  <a:lnTo>
                    <a:pt x="302" y="13"/>
                  </a:lnTo>
                  <a:lnTo>
                    <a:pt x="305" y="11"/>
                  </a:lnTo>
                  <a:lnTo>
                    <a:pt x="307" y="11"/>
                  </a:lnTo>
                  <a:lnTo>
                    <a:pt x="308" y="10"/>
                  </a:lnTo>
                  <a:lnTo>
                    <a:pt x="309" y="8"/>
                  </a:lnTo>
                  <a:lnTo>
                    <a:pt x="309" y="4"/>
                  </a:lnTo>
                  <a:lnTo>
                    <a:pt x="312" y="5"/>
                  </a:lnTo>
                  <a:lnTo>
                    <a:pt x="314" y="4"/>
                  </a:lnTo>
                  <a:lnTo>
                    <a:pt x="315" y="3"/>
                  </a:lnTo>
                  <a:lnTo>
                    <a:pt x="317" y="1"/>
                  </a:lnTo>
                  <a:lnTo>
                    <a:pt x="320" y="1"/>
                  </a:lnTo>
                  <a:lnTo>
                    <a:pt x="320" y="0"/>
                  </a:lnTo>
                  <a:lnTo>
                    <a:pt x="323" y="0"/>
                  </a:lnTo>
                  <a:lnTo>
                    <a:pt x="324" y="1"/>
                  </a:lnTo>
                  <a:lnTo>
                    <a:pt x="325" y="1"/>
                  </a:lnTo>
                  <a:lnTo>
                    <a:pt x="328" y="1"/>
                  </a:lnTo>
                  <a:lnTo>
                    <a:pt x="330" y="1"/>
                  </a:lnTo>
                  <a:lnTo>
                    <a:pt x="331" y="1"/>
                  </a:lnTo>
                  <a:lnTo>
                    <a:pt x="333" y="3"/>
                  </a:lnTo>
                  <a:lnTo>
                    <a:pt x="337" y="5"/>
                  </a:lnTo>
                  <a:lnTo>
                    <a:pt x="339" y="4"/>
                  </a:lnTo>
                  <a:lnTo>
                    <a:pt x="340" y="3"/>
                  </a:lnTo>
                  <a:lnTo>
                    <a:pt x="344" y="3"/>
                  </a:lnTo>
                  <a:lnTo>
                    <a:pt x="346" y="3"/>
                  </a:lnTo>
                  <a:lnTo>
                    <a:pt x="347" y="5"/>
                  </a:lnTo>
                  <a:lnTo>
                    <a:pt x="349" y="7"/>
                  </a:lnTo>
                  <a:lnTo>
                    <a:pt x="349" y="13"/>
                  </a:lnTo>
                  <a:lnTo>
                    <a:pt x="350" y="16"/>
                  </a:lnTo>
                  <a:lnTo>
                    <a:pt x="353" y="17"/>
                  </a:lnTo>
                  <a:lnTo>
                    <a:pt x="352" y="20"/>
                  </a:lnTo>
                  <a:lnTo>
                    <a:pt x="352" y="24"/>
                  </a:lnTo>
                  <a:lnTo>
                    <a:pt x="349" y="27"/>
                  </a:lnTo>
                  <a:lnTo>
                    <a:pt x="350" y="29"/>
                  </a:lnTo>
                  <a:lnTo>
                    <a:pt x="352" y="32"/>
                  </a:lnTo>
                  <a:lnTo>
                    <a:pt x="354" y="30"/>
                  </a:lnTo>
                  <a:lnTo>
                    <a:pt x="357" y="32"/>
                  </a:lnTo>
                  <a:lnTo>
                    <a:pt x="359" y="32"/>
                  </a:lnTo>
                  <a:lnTo>
                    <a:pt x="360" y="29"/>
                  </a:lnTo>
                  <a:lnTo>
                    <a:pt x="362" y="29"/>
                  </a:lnTo>
                  <a:lnTo>
                    <a:pt x="363" y="29"/>
                  </a:lnTo>
                  <a:lnTo>
                    <a:pt x="365" y="26"/>
                  </a:lnTo>
                  <a:lnTo>
                    <a:pt x="366" y="26"/>
                  </a:lnTo>
                  <a:lnTo>
                    <a:pt x="368" y="30"/>
                  </a:lnTo>
                  <a:lnTo>
                    <a:pt x="369" y="32"/>
                  </a:lnTo>
                  <a:lnTo>
                    <a:pt x="368" y="35"/>
                  </a:lnTo>
                  <a:lnTo>
                    <a:pt x="372" y="36"/>
                  </a:lnTo>
                  <a:lnTo>
                    <a:pt x="372" y="33"/>
                  </a:lnTo>
                  <a:lnTo>
                    <a:pt x="370" y="32"/>
                  </a:lnTo>
                  <a:lnTo>
                    <a:pt x="372" y="32"/>
                  </a:lnTo>
                  <a:lnTo>
                    <a:pt x="376" y="32"/>
                  </a:lnTo>
                  <a:lnTo>
                    <a:pt x="382" y="36"/>
                  </a:lnTo>
                  <a:lnTo>
                    <a:pt x="384" y="36"/>
                  </a:lnTo>
                  <a:lnTo>
                    <a:pt x="385" y="35"/>
                  </a:lnTo>
                  <a:lnTo>
                    <a:pt x="386" y="33"/>
                  </a:lnTo>
                  <a:lnTo>
                    <a:pt x="388" y="35"/>
                  </a:lnTo>
                  <a:lnTo>
                    <a:pt x="386" y="37"/>
                  </a:lnTo>
                  <a:lnTo>
                    <a:pt x="385" y="37"/>
                  </a:lnTo>
                  <a:lnTo>
                    <a:pt x="384" y="39"/>
                  </a:lnTo>
                  <a:lnTo>
                    <a:pt x="382" y="40"/>
                  </a:lnTo>
                  <a:lnTo>
                    <a:pt x="382" y="43"/>
                  </a:lnTo>
                  <a:lnTo>
                    <a:pt x="382" y="45"/>
                  </a:lnTo>
                  <a:lnTo>
                    <a:pt x="384" y="46"/>
                  </a:lnTo>
                  <a:lnTo>
                    <a:pt x="385" y="46"/>
                  </a:lnTo>
                  <a:lnTo>
                    <a:pt x="386" y="45"/>
                  </a:lnTo>
                  <a:lnTo>
                    <a:pt x="391" y="43"/>
                  </a:lnTo>
                  <a:lnTo>
                    <a:pt x="392" y="45"/>
                  </a:lnTo>
                  <a:lnTo>
                    <a:pt x="394" y="45"/>
                  </a:lnTo>
                  <a:lnTo>
                    <a:pt x="395" y="46"/>
                  </a:lnTo>
                  <a:lnTo>
                    <a:pt x="398" y="46"/>
                  </a:lnTo>
                  <a:lnTo>
                    <a:pt x="397" y="43"/>
                  </a:lnTo>
                  <a:lnTo>
                    <a:pt x="398" y="42"/>
                  </a:lnTo>
                  <a:lnTo>
                    <a:pt x="401" y="42"/>
                  </a:lnTo>
                  <a:lnTo>
                    <a:pt x="404" y="39"/>
                  </a:lnTo>
                  <a:lnTo>
                    <a:pt x="407" y="37"/>
                  </a:lnTo>
                  <a:lnTo>
                    <a:pt x="411" y="35"/>
                  </a:lnTo>
                  <a:lnTo>
                    <a:pt x="413" y="32"/>
                  </a:lnTo>
                  <a:lnTo>
                    <a:pt x="414" y="30"/>
                  </a:lnTo>
                  <a:lnTo>
                    <a:pt x="415" y="30"/>
                  </a:lnTo>
                  <a:lnTo>
                    <a:pt x="421" y="29"/>
                  </a:lnTo>
                  <a:lnTo>
                    <a:pt x="423" y="27"/>
                  </a:lnTo>
                  <a:lnTo>
                    <a:pt x="427" y="26"/>
                  </a:lnTo>
                  <a:lnTo>
                    <a:pt x="431" y="24"/>
                  </a:lnTo>
                  <a:lnTo>
                    <a:pt x="431" y="26"/>
                  </a:lnTo>
                  <a:lnTo>
                    <a:pt x="431" y="29"/>
                  </a:lnTo>
                  <a:lnTo>
                    <a:pt x="431" y="30"/>
                  </a:lnTo>
                  <a:lnTo>
                    <a:pt x="429" y="30"/>
                  </a:lnTo>
                  <a:lnTo>
                    <a:pt x="427" y="30"/>
                  </a:lnTo>
                  <a:lnTo>
                    <a:pt x="426" y="33"/>
                  </a:lnTo>
                  <a:lnTo>
                    <a:pt x="427" y="35"/>
                  </a:lnTo>
                  <a:lnTo>
                    <a:pt x="429" y="35"/>
                  </a:lnTo>
                  <a:lnTo>
                    <a:pt x="447" y="52"/>
                  </a:lnTo>
                  <a:lnTo>
                    <a:pt x="478" y="109"/>
                  </a:lnTo>
                  <a:lnTo>
                    <a:pt x="482" y="106"/>
                  </a:lnTo>
                  <a:lnTo>
                    <a:pt x="482" y="104"/>
                  </a:lnTo>
                  <a:lnTo>
                    <a:pt x="482" y="103"/>
                  </a:lnTo>
                  <a:lnTo>
                    <a:pt x="485" y="98"/>
                  </a:lnTo>
                  <a:lnTo>
                    <a:pt x="488" y="98"/>
                  </a:lnTo>
                  <a:lnTo>
                    <a:pt x="488" y="100"/>
                  </a:lnTo>
                  <a:lnTo>
                    <a:pt x="491" y="101"/>
                  </a:lnTo>
                  <a:lnTo>
                    <a:pt x="494" y="103"/>
                  </a:lnTo>
                  <a:lnTo>
                    <a:pt x="494" y="104"/>
                  </a:lnTo>
                  <a:lnTo>
                    <a:pt x="494" y="107"/>
                  </a:lnTo>
                  <a:lnTo>
                    <a:pt x="495" y="107"/>
                  </a:lnTo>
                  <a:lnTo>
                    <a:pt x="497" y="110"/>
                  </a:lnTo>
                  <a:lnTo>
                    <a:pt x="504" y="110"/>
                  </a:lnTo>
                  <a:lnTo>
                    <a:pt x="508" y="112"/>
                  </a:lnTo>
                  <a:lnTo>
                    <a:pt x="510" y="110"/>
                  </a:lnTo>
                  <a:lnTo>
                    <a:pt x="514" y="110"/>
                  </a:lnTo>
                  <a:lnTo>
                    <a:pt x="514" y="109"/>
                  </a:lnTo>
                  <a:lnTo>
                    <a:pt x="516" y="107"/>
                  </a:lnTo>
                  <a:lnTo>
                    <a:pt x="519" y="107"/>
                  </a:lnTo>
                  <a:lnTo>
                    <a:pt x="520" y="107"/>
                  </a:lnTo>
                  <a:lnTo>
                    <a:pt x="521" y="106"/>
                  </a:lnTo>
                  <a:lnTo>
                    <a:pt x="523" y="104"/>
                  </a:lnTo>
                  <a:lnTo>
                    <a:pt x="527" y="106"/>
                  </a:lnTo>
                  <a:lnTo>
                    <a:pt x="529" y="106"/>
                  </a:lnTo>
                  <a:lnTo>
                    <a:pt x="530" y="109"/>
                  </a:lnTo>
                  <a:lnTo>
                    <a:pt x="532" y="109"/>
                  </a:lnTo>
                  <a:lnTo>
                    <a:pt x="535" y="113"/>
                  </a:lnTo>
                  <a:lnTo>
                    <a:pt x="536" y="113"/>
                  </a:lnTo>
                  <a:lnTo>
                    <a:pt x="537" y="114"/>
                  </a:lnTo>
                  <a:lnTo>
                    <a:pt x="536" y="117"/>
                  </a:lnTo>
                  <a:lnTo>
                    <a:pt x="536" y="119"/>
                  </a:lnTo>
                  <a:lnTo>
                    <a:pt x="537" y="122"/>
                  </a:lnTo>
                  <a:lnTo>
                    <a:pt x="540" y="122"/>
                  </a:lnTo>
                  <a:lnTo>
                    <a:pt x="546" y="125"/>
                  </a:lnTo>
                  <a:lnTo>
                    <a:pt x="546" y="126"/>
                  </a:lnTo>
                  <a:lnTo>
                    <a:pt x="546" y="129"/>
                  </a:lnTo>
                  <a:lnTo>
                    <a:pt x="548" y="129"/>
                  </a:lnTo>
                  <a:lnTo>
                    <a:pt x="549" y="130"/>
                  </a:lnTo>
                  <a:lnTo>
                    <a:pt x="552" y="135"/>
                  </a:lnTo>
                  <a:lnTo>
                    <a:pt x="553" y="135"/>
                  </a:lnTo>
                  <a:lnTo>
                    <a:pt x="558" y="136"/>
                  </a:lnTo>
                  <a:lnTo>
                    <a:pt x="559" y="138"/>
                  </a:lnTo>
                  <a:lnTo>
                    <a:pt x="565" y="138"/>
                  </a:lnTo>
                  <a:lnTo>
                    <a:pt x="566" y="136"/>
                  </a:lnTo>
                  <a:lnTo>
                    <a:pt x="568" y="135"/>
                  </a:lnTo>
                  <a:lnTo>
                    <a:pt x="571" y="133"/>
                  </a:lnTo>
                  <a:lnTo>
                    <a:pt x="572" y="135"/>
                  </a:lnTo>
                  <a:lnTo>
                    <a:pt x="572" y="138"/>
                  </a:lnTo>
                  <a:lnTo>
                    <a:pt x="575" y="138"/>
                  </a:lnTo>
                  <a:lnTo>
                    <a:pt x="577" y="142"/>
                  </a:lnTo>
                  <a:lnTo>
                    <a:pt x="578" y="143"/>
                  </a:lnTo>
                  <a:lnTo>
                    <a:pt x="580" y="145"/>
                  </a:lnTo>
                  <a:lnTo>
                    <a:pt x="577" y="152"/>
                  </a:lnTo>
                  <a:lnTo>
                    <a:pt x="577" y="152"/>
                  </a:lnTo>
                  <a:lnTo>
                    <a:pt x="574" y="157"/>
                  </a:lnTo>
                  <a:lnTo>
                    <a:pt x="569" y="161"/>
                  </a:lnTo>
                  <a:lnTo>
                    <a:pt x="564" y="162"/>
                  </a:lnTo>
                  <a:lnTo>
                    <a:pt x="559" y="162"/>
                  </a:lnTo>
                  <a:lnTo>
                    <a:pt x="558" y="168"/>
                  </a:lnTo>
                  <a:lnTo>
                    <a:pt x="556" y="190"/>
                  </a:lnTo>
                  <a:lnTo>
                    <a:pt x="549" y="191"/>
                  </a:lnTo>
                  <a:lnTo>
                    <a:pt x="546" y="194"/>
                  </a:lnTo>
                  <a:lnTo>
                    <a:pt x="540" y="190"/>
                  </a:lnTo>
                  <a:lnTo>
                    <a:pt x="532" y="191"/>
                  </a:lnTo>
                  <a:lnTo>
                    <a:pt x="527" y="190"/>
                  </a:lnTo>
                  <a:lnTo>
                    <a:pt x="524" y="189"/>
                  </a:lnTo>
                  <a:lnTo>
                    <a:pt x="519" y="187"/>
                  </a:lnTo>
                  <a:lnTo>
                    <a:pt x="508" y="219"/>
                  </a:lnTo>
                  <a:lnTo>
                    <a:pt x="510" y="226"/>
                  </a:lnTo>
                  <a:lnTo>
                    <a:pt x="508" y="228"/>
                  </a:lnTo>
                  <a:lnTo>
                    <a:pt x="478" y="234"/>
                  </a:lnTo>
                  <a:lnTo>
                    <a:pt x="476" y="235"/>
                  </a:lnTo>
                  <a:lnTo>
                    <a:pt x="478" y="238"/>
                  </a:lnTo>
                  <a:lnTo>
                    <a:pt x="487" y="266"/>
                  </a:lnTo>
                  <a:lnTo>
                    <a:pt x="487" y="268"/>
                  </a:lnTo>
                  <a:lnTo>
                    <a:pt x="482" y="271"/>
                  </a:lnTo>
                  <a:lnTo>
                    <a:pt x="484" y="274"/>
                  </a:lnTo>
                  <a:lnTo>
                    <a:pt x="481" y="277"/>
                  </a:lnTo>
                  <a:lnTo>
                    <a:pt x="481" y="280"/>
                  </a:lnTo>
                  <a:lnTo>
                    <a:pt x="481" y="284"/>
                  </a:lnTo>
                  <a:lnTo>
                    <a:pt x="479" y="284"/>
                  </a:lnTo>
                  <a:lnTo>
                    <a:pt x="474" y="282"/>
                  </a:lnTo>
                  <a:lnTo>
                    <a:pt x="469" y="280"/>
                  </a:lnTo>
                  <a:lnTo>
                    <a:pt x="466" y="276"/>
                  </a:lnTo>
                  <a:lnTo>
                    <a:pt x="458" y="274"/>
                  </a:lnTo>
                  <a:lnTo>
                    <a:pt x="456" y="274"/>
                  </a:lnTo>
                  <a:lnTo>
                    <a:pt x="439" y="273"/>
                  </a:lnTo>
                  <a:lnTo>
                    <a:pt x="436" y="271"/>
                  </a:lnTo>
                  <a:lnTo>
                    <a:pt x="433" y="271"/>
                  </a:lnTo>
                  <a:lnTo>
                    <a:pt x="430" y="273"/>
                  </a:lnTo>
                  <a:lnTo>
                    <a:pt x="408" y="273"/>
                  </a:lnTo>
                  <a:lnTo>
                    <a:pt x="407" y="271"/>
                  </a:lnTo>
                  <a:lnTo>
                    <a:pt x="404" y="271"/>
                  </a:lnTo>
                  <a:lnTo>
                    <a:pt x="401" y="271"/>
                  </a:lnTo>
                  <a:lnTo>
                    <a:pt x="394" y="267"/>
                  </a:lnTo>
                  <a:lnTo>
                    <a:pt x="391" y="268"/>
                  </a:lnTo>
                  <a:lnTo>
                    <a:pt x="389" y="268"/>
                  </a:lnTo>
                  <a:lnTo>
                    <a:pt x="388" y="268"/>
                  </a:lnTo>
                  <a:lnTo>
                    <a:pt x="384" y="271"/>
                  </a:lnTo>
                  <a:lnTo>
                    <a:pt x="384" y="274"/>
                  </a:lnTo>
                  <a:lnTo>
                    <a:pt x="384" y="276"/>
                  </a:lnTo>
                  <a:lnTo>
                    <a:pt x="382" y="280"/>
                  </a:lnTo>
                  <a:lnTo>
                    <a:pt x="381" y="282"/>
                  </a:lnTo>
                  <a:lnTo>
                    <a:pt x="359" y="276"/>
                  </a:lnTo>
                  <a:lnTo>
                    <a:pt x="357" y="276"/>
                  </a:lnTo>
                  <a:lnTo>
                    <a:pt x="356" y="274"/>
                  </a:lnTo>
                  <a:lnTo>
                    <a:pt x="349" y="276"/>
                  </a:lnTo>
                  <a:lnTo>
                    <a:pt x="349" y="279"/>
                  </a:lnTo>
                  <a:lnTo>
                    <a:pt x="349" y="280"/>
                  </a:lnTo>
                  <a:lnTo>
                    <a:pt x="343" y="289"/>
                  </a:lnTo>
                  <a:lnTo>
                    <a:pt x="341" y="289"/>
                  </a:lnTo>
                  <a:lnTo>
                    <a:pt x="340" y="289"/>
                  </a:lnTo>
                  <a:lnTo>
                    <a:pt x="339" y="293"/>
                  </a:lnTo>
                  <a:lnTo>
                    <a:pt x="336" y="295"/>
                  </a:lnTo>
                  <a:lnTo>
                    <a:pt x="327" y="299"/>
                  </a:lnTo>
                  <a:lnTo>
                    <a:pt x="325" y="300"/>
                  </a:lnTo>
                  <a:lnTo>
                    <a:pt x="321" y="302"/>
                  </a:lnTo>
                  <a:lnTo>
                    <a:pt x="320" y="306"/>
                  </a:lnTo>
                  <a:lnTo>
                    <a:pt x="317" y="309"/>
                  </a:lnTo>
                  <a:lnTo>
                    <a:pt x="305" y="303"/>
                  </a:lnTo>
                  <a:lnTo>
                    <a:pt x="291" y="305"/>
                  </a:lnTo>
                  <a:lnTo>
                    <a:pt x="288" y="293"/>
                  </a:lnTo>
                  <a:lnTo>
                    <a:pt x="279" y="292"/>
                  </a:lnTo>
                  <a:lnTo>
                    <a:pt x="279" y="284"/>
                  </a:lnTo>
                  <a:lnTo>
                    <a:pt x="280" y="284"/>
                  </a:lnTo>
                  <a:lnTo>
                    <a:pt x="280" y="273"/>
                  </a:lnTo>
                  <a:lnTo>
                    <a:pt x="278" y="273"/>
                  </a:lnTo>
                  <a:lnTo>
                    <a:pt x="273" y="264"/>
                  </a:lnTo>
                  <a:lnTo>
                    <a:pt x="263" y="257"/>
                  </a:lnTo>
                  <a:lnTo>
                    <a:pt x="259" y="258"/>
                  </a:lnTo>
                  <a:lnTo>
                    <a:pt x="221" y="261"/>
                  </a:lnTo>
                  <a:lnTo>
                    <a:pt x="172" y="219"/>
                  </a:lnTo>
                  <a:lnTo>
                    <a:pt x="135" y="23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36" name="Freeform 1316"/>
            <p:cNvSpPr>
              <a:spLocks/>
            </p:cNvSpPr>
            <p:nvPr/>
          </p:nvSpPr>
          <p:spPr bwMode="auto">
            <a:xfrm>
              <a:off x="6725530" y="2287874"/>
              <a:ext cx="531947" cy="321480"/>
            </a:xfrm>
            <a:custGeom>
              <a:avLst/>
              <a:gdLst/>
              <a:ahLst/>
              <a:cxnLst>
                <a:cxn ang="0">
                  <a:pos x="118" y="289"/>
                </a:cxn>
                <a:cxn ang="0">
                  <a:pos x="87" y="276"/>
                </a:cxn>
                <a:cxn ang="0">
                  <a:pos x="63" y="251"/>
                </a:cxn>
                <a:cxn ang="0">
                  <a:pos x="71" y="241"/>
                </a:cxn>
                <a:cxn ang="0">
                  <a:pos x="79" y="226"/>
                </a:cxn>
                <a:cxn ang="0">
                  <a:pos x="111" y="229"/>
                </a:cxn>
                <a:cxn ang="0">
                  <a:pos x="109" y="213"/>
                </a:cxn>
                <a:cxn ang="0">
                  <a:pos x="96" y="194"/>
                </a:cxn>
                <a:cxn ang="0">
                  <a:pos x="54" y="194"/>
                </a:cxn>
                <a:cxn ang="0">
                  <a:pos x="23" y="202"/>
                </a:cxn>
                <a:cxn ang="0">
                  <a:pos x="28" y="181"/>
                </a:cxn>
                <a:cxn ang="0">
                  <a:pos x="9" y="171"/>
                </a:cxn>
                <a:cxn ang="0">
                  <a:pos x="7" y="145"/>
                </a:cxn>
                <a:cxn ang="0">
                  <a:pos x="12" y="119"/>
                </a:cxn>
                <a:cxn ang="0">
                  <a:pos x="29" y="113"/>
                </a:cxn>
                <a:cxn ang="0">
                  <a:pos x="50" y="98"/>
                </a:cxn>
                <a:cxn ang="0">
                  <a:pos x="67" y="88"/>
                </a:cxn>
                <a:cxn ang="0">
                  <a:pos x="82" y="87"/>
                </a:cxn>
                <a:cxn ang="0">
                  <a:pos x="102" y="94"/>
                </a:cxn>
                <a:cxn ang="0">
                  <a:pos x="116" y="113"/>
                </a:cxn>
                <a:cxn ang="0">
                  <a:pos x="124" y="110"/>
                </a:cxn>
                <a:cxn ang="0">
                  <a:pos x="145" y="106"/>
                </a:cxn>
                <a:cxn ang="0">
                  <a:pos x="167" y="101"/>
                </a:cxn>
                <a:cxn ang="0">
                  <a:pos x="185" y="114"/>
                </a:cxn>
                <a:cxn ang="0">
                  <a:pos x="212" y="109"/>
                </a:cxn>
                <a:cxn ang="0">
                  <a:pos x="193" y="84"/>
                </a:cxn>
                <a:cxn ang="0">
                  <a:pos x="204" y="64"/>
                </a:cxn>
                <a:cxn ang="0">
                  <a:pos x="218" y="52"/>
                </a:cxn>
                <a:cxn ang="0">
                  <a:pos x="211" y="45"/>
                </a:cxn>
                <a:cxn ang="0">
                  <a:pos x="214" y="33"/>
                </a:cxn>
                <a:cxn ang="0">
                  <a:pos x="233" y="33"/>
                </a:cxn>
                <a:cxn ang="0">
                  <a:pos x="250" y="27"/>
                </a:cxn>
                <a:cxn ang="0">
                  <a:pos x="267" y="20"/>
                </a:cxn>
                <a:cxn ang="0">
                  <a:pos x="307" y="11"/>
                </a:cxn>
                <a:cxn ang="0">
                  <a:pos x="320" y="1"/>
                </a:cxn>
                <a:cxn ang="0">
                  <a:pos x="333" y="3"/>
                </a:cxn>
                <a:cxn ang="0">
                  <a:pos x="349" y="13"/>
                </a:cxn>
                <a:cxn ang="0">
                  <a:pos x="354" y="30"/>
                </a:cxn>
                <a:cxn ang="0">
                  <a:pos x="368" y="30"/>
                </a:cxn>
                <a:cxn ang="0">
                  <a:pos x="382" y="36"/>
                </a:cxn>
                <a:cxn ang="0">
                  <a:pos x="382" y="40"/>
                </a:cxn>
                <a:cxn ang="0">
                  <a:pos x="394" y="45"/>
                </a:cxn>
                <a:cxn ang="0">
                  <a:pos x="411" y="35"/>
                </a:cxn>
                <a:cxn ang="0">
                  <a:pos x="431" y="26"/>
                </a:cxn>
                <a:cxn ang="0">
                  <a:pos x="447" y="52"/>
                </a:cxn>
                <a:cxn ang="0">
                  <a:pos x="491" y="101"/>
                </a:cxn>
                <a:cxn ang="0">
                  <a:pos x="510" y="110"/>
                </a:cxn>
                <a:cxn ang="0">
                  <a:pos x="527" y="106"/>
                </a:cxn>
                <a:cxn ang="0">
                  <a:pos x="536" y="119"/>
                </a:cxn>
                <a:cxn ang="0">
                  <a:pos x="552" y="135"/>
                </a:cxn>
                <a:cxn ang="0">
                  <a:pos x="572" y="135"/>
                </a:cxn>
                <a:cxn ang="0">
                  <a:pos x="574" y="157"/>
                </a:cxn>
                <a:cxn ang="0">
                  <a:pos x="540" y="190"/>
                </a:cxn>
                <a:cxn ang="0">
                  <a:pos x="478" y="234"/>
                </a:cxn>
                <a:cxn ang="0">
                  <a:pos x="481" y="280"/>
                </a:cxn>
                <a:cxn ang="0">
                  <a:pos x="439" y="273"/>
                </a:cxn>
                <a:cxn ang="0">
                  <a:pos x="394" y="267"/>
                </a:cxn>
                <a:cxn ang="0">
                  <a:pos x="381" y="282"/>
                </a:cxn>
                <a:cxn ang="0">
                  <a:pos x="341" y="289"/>
                </a:cxn>
                <a:cxn ang="0">
                  <a:pos x="317" y="309"/>
                </a:cxn>
                <a:cxn ang="0">
                  <a:pos x="278" y="273"/>
                </a:cxn>
              </a:cxnLst>
              <a:rect l="0" t="0" r="r" b="b"/>
              <a:pathLst>
                <a:path w="580" h="309">
                  <a:moveTo>
                    <a:pt x="135" y="232"/>
                  </a:moveTo>
                  <a:lnTo>
                    <a:pt x="135" y="303"/>
                  </a:lnTo>
                  <a:lnTo>
                    <a:pt x="132" y="305"/>
                  </a:lnTo>
                  <a:lnTo>
                    <a:pt x="127" y="303"/>
                  </a:lnTo>
                  <a:lnTo>
                    <a:pt x="125" y="302"/>
                  </a:lnTo>
                  <a:lnTo>
                    <a:pt x="121" y="295"/>
                  </a:lnTo>
                  <a:lnTo>
                    <a:pt x="119" y="293"/>
                  </a:lnTo>
                  <a:lnTo>
                    <a:pt x="118" y="289"/>
                  </a:lnTo>
                  <a:lnTo>
                    <a:pt x="116" y="287"/>
                  </a:lnTo>
                  <a:lnTo>
                    <a:pt x="109" y="283"/>
                  </a:lnTo>
                  <a:lnTo>
                    <a:pt x="108" y="283"/>
                  </a:lnTo>
                  <a:lnTo>
                    <a:pt x="93" y="287"/>
                  </a:lnTo>
                  <a:lnTo>
                    <a:pt x="84" y="295"/>
                  </a:lnTo>
                  <a:lnTo>
                    <a:pt x="84" y="284"/>
                  </a:lnTo>
                  <a:lnTo>
                    <a:pt x="87" y="282"/>
                  </a:lnTo>
                  <a:lnTo>
                    <a:pt x="87" y="276"/>
                  </a:lnTo>
                  <a:lnTo>
                    <a:pt x="84" y="274"/>
                  </a:lnTo>
                  <a:lnTo>
                    <a:pt x="82" y="274"/>
                  </a:lnTo>
                  <a:lnTo>
                    <a:pt x="76" y="271"/>
                  </a:lnTo>
                  <a:lnTo>
                    <a:pt x="74" y="268"/>
                  </a:lnTo>
                  <a:lnTo>
                    <a:pt x="68" y="268"/>
                  </a:lnTo>
                  <a:lnTo>
                    <a:pt x="68" y="258"/>
                  </a:lnTo>
                  <a:lnTo>
                    <a:pt x="64" y="252"/>
                  </a:lnTo>
                  <a:lnTo>
                    <a:pt x="63" y="251"/>
                  </a:lnTo>
                  <a:lnTo>
                    <a:pt x="61" y="248"/>
                  </a:lnTo>
                  <a:lnTo>
                    <a:pt x="55" y="245"/>
                  </a:lnTo>
                  <a:lnTo>
                    <a:pt x="53" y="241"/>
                  </a:lnTo>
                  <a:lnTo>
                    <a:pt x="54" y="239"/>
                  </a:lnTo>
                  <a:lnTo>
                    <a:pt x="58" y="239"/>
                  </a:lnTo>
                  <a:lnTo>
                    <a:pt x="66" y="241"/>
                  </a:lnTo>
                  <a:lnTo>
                    <a:pt x="67" y="241"/>
                  </a:lnTo>
                  <a:lnTo>
                    <a:pt x="71" y="241"/>
                  </a:lnTo>
                  <a:lnTo>
                    <a:pt x="68" y="236"/>
                  </a:lnTo>
                  <a:lnTo>
                    <a:pt x="68" y="232"/>
                  </a:lnTo>
                  <a:lnTo>
                    <a:pt x="70" y="229"/>
                  </a:lnTo>
                  <a:lnTo>
                    <a:pt x="73" y="228"/>
                  </a:lnTo>
                  <a:lnTo>
                    <a:pt x="73" y="229"/>
                  </a:lnTo>
                  <a:lnTo>
                    <a:pt x="76" y="229"/>
                  </a:lnTo>
                  <a:lnTo>
                    <a:pt x="79" y="229"/>
                  </a:lnTo>
                  <a:lnTo>
                    <a:pt x="79" y="226"/>
                  </a:lnTo>
                  <a:lnTo>
                    <a:pt x="82" y="223"/>
                  </a:lnTo>
                  <a:lnTo>
                    <a:pt x="86" y="223"/>
                  </a:lnTo>
                  <a:lnTo>
                    <a:pt x="95" y="228"/>
                  </a:lnTo>
                  <a:lnTo>
                    <a:pt x="98" y="226"/>
                  </a:lnTo>
                  <a:lnTo>
                    <a:pt x="100" y="225"/>
                  </a:lnTo>
                  <a:lnTo>
                    <a:pt x="102" y="225"/>
                  </a:lnTo>
                  <a:lnTo>
                    <a:pt x="103" y="226"/>
                  </a:lnTo>
                  <a:lnTo>
                    <a:pt x="111" y="229"/>
                  </a:lnTo>
                  <a:lnTo>
                    <a:pt x="113" y="229"/>
                  </a:lnTo>
                  <a:lnTo>
                    <a:pt x="116" y="229"/>
                  </a:lnTo>
                  <a:lnTo>
                    <a:pt x="118" y="228"/>
                  </a:lnTo>
                  <a:lnTo>
                    <a:pt x="115" y="225"/>
                  </a:lnTo>
                  <a:lnTo>
                    <a:pt x="118" y="225"/>
                  </a:lnTo>
                  <a:lnTo>
                    <a:pt x="113" y="218"/>
                  </a:lnTo>
                  <a:lnTo>
                    <a:pt x="111" y="216"/>
                  </a:lnTo>
                  <a:lnTo>
                    <a:pt x="109" y="213"/>
                  </a:lnTo>
                  <a:lnTo>
                    <a:pt x="106" y="213"/>
                  </a:lnTo>
                  <a:lnTo>
                    <a:pt x="103" y="209"/>
                  </a:lnTo>
                  <a:lnTo>
                    <a:pt x="102" y="203"/>
                  </a:lnTo>
                  <a:lnTo>
                    <a:pt x="100" y="200"/>
                  </a:lnTo>
                  <a:lnTo>
                    <a:pt x="100" y="202"/>
                  </a:lnTo>
                  <a:lnTo>
                    <a:pt x="98" y="197"/>
                  </a:lnTo>
                  <a:lnTo>
                    <a:pt x="96" y="197"/>
                  </a:lnTo>
                  <a:lnTo>
                    <a:pt x="96" y="194"/>
                  </a:lnTo>
                  <a:lnTo>
                    <a:pt x="90" y="190"/>
                  </a:lnTo>
                  <a:lnTo>
                    <a:pt x="87" y="189"/>
                  </a:lnTo>
                  <a:lnTo>
                    <a:pt x="87" y="187"/>
                  </a:lnTo>
                  <a:lnTo>
                    <a:pt x="84" y="187"/>
                  </a:lnTo>
                  <a:lnTo>
                    <a:pt x="76" y="190"/>
                  </a:lnTo>
                  <a:lnTo>
                    <a:pt x="76" y="187"/>
                  </a:lnTo>
                  <a:lnTo>
                    <a:pt x="64" y="186"/>
                  </a:lnTo>
                  <a:lnTo>
                    <a:pt x="54" y="194"/>
                  </a:lnTo>
                  <a:lnTo>
                    <a:pt x="31" y="200"/>
                  </a:lnTo>
                  <a:lnTo>
                    <a:pt x="37" y="203"/>
                  </a:lnTo>
                  <a:lnTo>
                    <a:pt x="32" y="206"/>
                  </a:lnTo>
                  <a:lnTo>
                    <a:pt x="29" y="205"/>
                  </a:lnTo>
                  <a:lnTo>
                    <a:pt x="29" y="203"/>
                  </a:lnTo>
                  <a:lnTo>
                    <a:pt x="26" y="203"/>
                  </a:lnTo>
                  <a:lnTo>
                    <a:pt x="25" y="203"/>
                  </a:lnTo>
                  <a:lnTo>
                    <a:pt x="23" y="202"/>
                  </a:lnTo>
                  <a:lnTo>
                    <a:pt x="22" y="200"/>
                  </a:lnTo>
                  <a:lnTo>
                    <a:pt x="23" y="199"/>
                  </a:lnTo>
                  <a:lnTo>
                    <a:pt x="23" y="196"/>
                  </a:lnTo>
                  <a:lnTo>
                    <a:pt x="26" y="196"/>
                  </a:lnTo>
                  <a:lnTo>
                    <a:pt x="28" y="197"/>
                  </a:lnTo>
                  <a:lnTo>
                    <a:pt x="32" y="196"/>
                  </a:lnTo>
                  <a:lnTo>
                    <a:pt x="29" y="181"/>
                  </a:lnTo>
                  <a:lnTo>
                    <a:pt x="28" y="181"/>
                  </a:lnTo>
                  <a:lnTo>
                    <a:pt x="26" y="180"/>
                  </a:lnTo>
                  <a:lnTo>
                    <a:pt x="25" y="177"/>
                  </a:lnTo>
                  <a:lnTo>
                    <a:pt x="23" y="174"/>
                  </a:lnTo>
                  <a:lnTo>
                    <a:pt x="16" y="174"/>
                  </a:lnTo>
                  <a:lnTo>
                    <a:pt x="13" y="174"/>
                  </a:lnTo>
                  <a:lnTo>
                    <a:pt x="13" y="175"/>
                  </a:lnTo>
                  <a:lnTo>
                    <a:pt x="9" y="173"/>
                  </a:lnTo>
                  <a:lnTo>
                    <a:pt x="9" y="171"/>
                  </a:lnTo>
                  <a:lnTo>
                    <a:pt x="9" y="168"/>
                  </a:lnTo>
                  <a:lnTo>
                    <a:pt x="9" y="167"/>
                  </a:lnTo>
                  <a:lnTo>
                    <a:pt x="9" y="165"/>
                  </a:lnTo>
                  <a:lnTo>
                    <a:pt x="7" y="164"/>
                  </a:lnTo>
                  <a:lnTo>
                    <a:pt x="0" y="161"/>
                  </a:lnTo>
                  <a:lnTo>
                    <a:pt x="3" y="149"/>
                  </a:lnTo>
                  <a:lnTo>
                    <a:pt x="7" y="148"/>
                  </a:lnTo>
                  <a:lnTo>
                    <a:pt x="7" y="145"/>
                  </a:lnTo>
                  <a:lnTo>
                    <a:pt x="7" y="143"/>
                  </a:lnTo>
                  <a:lnTo>
                    <a:pt x="5" y="141"/>
                  </a:lnTo>
                  <a:lnTo>
                    <a:pt x="7" y="129"/>
                  </a:lnTo>
                  <a:lnTo>
                    <a:pt x="10" y="128"/>
                  </a:lnTo>
                  <a:lnTo>
                    <a:pt x="12" y="125"/>
                  </a:lnTo>
                  <a:lnTo>
                    <a:pt x="12" y="123"/>
                  </a:lnTo>
                  <a:lnTo>
                    <a:pt x="12" y="120"/>
                  </a:lnTo>
                  <a:lnTo>
                    <a:pt x="12" y="119"/>
                  </a:lnTo>
                  <a:lnTo>
                    <a:pt x="15" y="116"/>
                  </a:lnTo>
                  <a:lnTo>
                    <a:pt x="16" y="116"/>
                  </a:lnTo>
                  <a:lnTo>
                    <a:pt x="18" y="119"/>
                  </a:lnTo>
                  <a:lnTo>
                    <a:pt x="21" y="122"/>
                  </a:lnTo>
                  <a:lnTo>
                    <a:pt x="25" y="130"/>
                  </a:lnTo>
                  <a:lnTo>
                    <a:pt x="26" y="132"/>
                  </a:lnTo>
                  <a:lnTo>
                    <a:pt x="34" y="126"/>
                  </a:lnTo>
                  <a:lnTo>
                    <a:pt x="29" y="113"/>
                  </a:lnTo>
                  <a:lnTo>
                    <a:pt x="31" y="113"/>
                  </a:lnTo>
                  <a:lnTo>
                    <a:pt x="41" y="107"/>
                  </a:lnTo>
                  <a:lnTo>
                    <a:pt x="41" y="106"/>
                  </a:lnTo>
                  <a:lnTo>
                    <a:pt x="41" y="101"/>
                  </a:lnTo>
                  <a:lnTo>
                    <a:pt x="44" y="101"/>
                  </a:lnTo>
                  <a:lnTo>
                    <a:pt x="45" y="101"/>
                  </a:lnTo>
                  <a:lnTo>
                    <a:pt x="48" y="100"/>
                  </a:lnTo>
                  <a:lnTo>
                    <a:pt x="50" y="98"/>
                  </a:lnTo>
                  <a:lnTo>
                    <a:pt x="53" y="97"/>
                  </a:lnTo>
                  <a:lnTo>
                    <a:pt x="54" y="96"/>
                  </a:lnTo>
                  <a:lnTo>
                    <a:pt x="55" y="94"/>
                  </a:lnTo>
                  <a:lnTo>
                    <a:pt x="57" y="93"/>
                  </a:lnTo>
                  <a:lnTo>
                    <a:pt x="58" y="91"/>
                  </a:lnTo>
                  <a:lnTo>
                    <a:pt x="60" y="90"/>
                  </a:lnTo>
                  <a:lnTo>
                    <a:pt x="63" y="88"/>
                  </a:lnTo>
                  <a:lnTo>
                    <a:pt x="67" y="88"/>
                  </a:lnTo>
                  <a:lnTo>
                    <a:pt x="68" y="93"/>
                  </a:lnTo>
                  <a:lnTo>
                    <a:pt x="73" y="91"/>
                  </a:lnTo>
                  <a:lnTo>
                    <a:pt x="74" y="93"/>
                  </a:lnTo>
                  <a:lnTo>
                    <a:pt x="76" y="91"/>
                  </a:lnTo>
                  <a:lnTo>
                    <a:pt x="76" y="90"/>
                  </a:lnTo>
                  <a:lnTo>
                    <a:pt x="77" y="87"/>
                  </a:lnTo>
                  <a:lnTo>
                    <a:pt x="80" y="88"/>
                  </a:lnTo>
                  <a:lnTo>
                    <a:pt x="82" y="87"/>
                  </a:lnTo>
                  <a:lnTo>
                    <a:pt x="83" y="87"/>
                  </a:lnTo>
                  <a:lnTo>
                    <a:pt x="84" y="91"/>
                  </a:lnTo>
                  <a:lnTo>
                    <a:pt x="86" y="93"/>
                  </a:lnTo>
                  <a:lnTo>
                    <a:pt x="90" y="91"/>
                  </a:lnTo>
                  <a:lnTo>
                    <a:pt x="92" y="93"/>
                  </a:lnTo>
                  <a:lnTo>
                    <a:pt x="96" y="91"/>
                  </a:lnTo>
                  <a:lnTo>
                    <a:pt x="99" y="91"/>
                  </a:lnTo>
                  <a:lnTo>
                    <a:pt x="102" y="94"/>
                  </a:lnTo>
                  <a:lnTo>
                    <a:pt x="103" y="98"/>
                  </a:lnTo>
                  <a:lnTo>
                    <a:pt x="109" y="101"/>
                  </a:lnTo>
                  <a:lnTo>
                    <a:pt x="109" y="103"/>
                  </a:lnTo>
                  <a:lnTo>
                    <a:pt x="111" y="104"/>
                  </a:lnTo>
                  <a:lnTo>
                    <a:pt x="113" y="109"/>
                  </a:lnTo>
                  <a:lnTo>
                    <a:pt x="113" y="112"/>
                  </a:lnTo>
                  <a:lnTo>
                    <a:pt x="115" y="114"/>
                  </a:lnTo>
                  <a:lnTo>
                    <a:pt x="116" y="113"/>
                  </a:lnTo>
                  <a:lnTo>
                    <a:pt x="116" y="107"/>
                  </a:lnTo>
                  <a:lnTo>
                    <a:pt x="115" y="106"/>
                  </a:lnTo>
                  <a:lnTo>
                    <a:pt x="116" y="104"/>
                  </a:lnTo>
                  <a:lnTo>
                    <a:pt x="119" y="103"/>
                  </a:lnTo>
                  <a:lnTo>
                    <a:pt x="119" y="106"/>
                  </a:lnTo>
                  <a:lnTo>
                    <a:pt x="121" y="107"/>
                  </a:lnTo>
                  <a:lnTo>
                    <a:pt x="122" y="109"/>
                  </a:lnTo>
                  <a:lnTo>
                    <a:pt x="124" y="110"/>
                  </a:lnTo>
                  <a:lnTo>
                    <a:pt x="131" y="113"/>
                  </a:lnTo>
                  <a:lnTo>
                    <a:pt x="134" y="113"/>
                  </a:lnTo>
                  <a:lnTo>
                    <a:pt x="138" y="109"/>
                  </a:lnTo>
                  <a:lnTo>
                    <a:pt x="138" y="107"/>
                  </a:lnTo>
                  <a:lnTo>
                    <a:pt x="140" y="106"/>
                  </a:lnTo>
                  <a:lnTo>
                    <a:pt x="141" y="106"/>
                  </a:lnTo>
                  <a:lnTo>
                    <a:pt x="144" y="104"/>
                  </a:lnTo>
                  <a:lnTo>
                    <a:pt x="145" y="106"/>
                  </a:lnTo>
                  <a:lnTo>
                    <a:pt x="145" y="103"/>
                  </a:lnTo>
                  <a:lnTo>
                    <a:pt x="150" y="104"/>
                  </a:lnTo>
                  <a:lnTo>
                    <a:pt x="151" y="103"/>
                  </a:lnTo>
                  <a:lnTo>
                    <a:pt x="157" y="107"/>
                  </a:lnTo>
                  <a:lnTo>
                    <a:pt x="160" y="104"/>
                  </a:lnTo>
                  <a:lnTo>
                    <a:pt x="161" y="103"/>
                  </a:lnTo>
                  <a:lnTo>
                    <a:pt x="166" y="103"/>
                  </a:lnTo>
                  <a:lnTo>
                    <a:pt x="167" y="101"/>
                  </a:lnTo>
                  <a:lnTo>
                    <a:pt x="172" y="103"/>
                  </a:lnTo>
                  <a:lnTo>
                    <a:pt x="173" y="104"/>
                  </a:lnTo>
                  <a:lnTo>
                    <a:pt x="173" y="109"/>
                  </a:lnTo>
                  <a:lnTo>
                    <a:pt x="176" y="112"/>
                  </a:lnTo>
                  <a:lnTo>
                    <a:pt x="180" y="112"/>
                  </a:lnTo>
                  <a:lnTo>
                    <a:pt x="183" y="113"/>
                  </a:lnTo>
                  <a:lnTo>
                    <a:pt x="183" y="113"/>
                  </a:lnTo>
                  <a:lnTo>
                    <a:pt x="185" y="114"/>
                  </a:lnTo>
                  <a:lnTo>
                    <a:pt x="189" y="114"/>
                  </a:lnTo>
                  <a:lnTo>
                    <a:pt x="190" y="113"/>
                  </a:lnTo>
                  <a:lnTo>
                    <a:pt x="193" y="109"/>
                  </a:lnTo>
                  <a:lnTo>
                    <a:pt x="195" y="109"/>
                  </a:lnTo>
                  <a:lnTo>
                    <a:pt x="198" y="112"/>
                  </a:lnTo>
                  <a:lnTo>
                    <a:pt x="206" y="112"/>
                  </a:lnTo>
                  <a:lnTo>
                    <a:pt x="208" y="110"/>
                  </a:lnTo>
                  <a:lnTo>
                    <a:pt x="212" y="109"/>
                  </a:lnTo>
                  <a:lnTo>
                    <a:pt x="217" y="97"/>
                  </a:lnTo>
                  <a:lnTo>
                    <a:pt x="214" y="94"/>
                  </a:lnTo>
                  <a:lnTo>
                    <a:pt x="206" y="94"/>
                  </a:lnTo>
                  <a:lnTo>
                    <a:pt x="204" y="91"/>
                  </a:lnTo>
                  <a:lnTo>
                    <a:pt x="198" y="88"/>
                  </a:lnTo>
                  <a:lnTo>
                    <a:pt x="198" y="87"/>
                  </a:lnTo>
                  <a:lnTo>
                    <a:pt x="196" y="85"/>
                  </a:lnTo>
                  <a:lnTo>
                    <a:pt x="193" y="84"/>
                  </a:lnTo>
                  <a:lnTo>
                    <a:pt x="193" y="82"/>
                  </a:lnTo>
                  <a:lnTo>
                    <a:pt x="195" y="81"/>
                  </a:lnTo>
                  <a:lnTo>
                    <a:pt x="198" y="78"/>
                  </a:lnTo>
                  <a:lnTo>
                    <a:pt x="205" y="75"/>
                  </a:lnTo>
                  <a:lnTo>
                    <a:pt x="206" y="74"/>
                  </a:lnTo>
                  <a:lnTo>
                    <a:pt x="206" y="71"/>
                  </a:lnTo>
                  <a:lnTo>
                    <a:pt x="202" y="64"/>
                  </a:lnTo>
                  <a:lnTo>
                    <a:pt x="204" y="64"/>
                  </a:lnTo>
                  <a:lnTo>
                    <a:pt x="206" y="62"/>
                  </a:lnTo>
                  <a:lnTo>
                    <a:pt x="206" y="59"/>
                  </a:lnTo>
                  <a:lnTo>
                    <a:pt x="208" y="58"/>
                  </a:lnTo>
                  <a:lnTo>
                    <a:pt x="221" y="59"/>
                  </a:lnTo>
                  <a:lnTo>
                    <a:pt x="222" y="58"/>
                  </a:lnTo>
                  <a:lnTo>
                    <a:pt x="224" y="56"/>
                  </a:lnTo>
                  <a:lnTo>
                    <a:pt x="222" y="55"/>
                  </a:lnTo>
                  <a:lnTo>
                    <a:pt x="218" y="52"/>
                  </a:lnTo>
                  <a:lnTo>
                    <a:pt x="209" y="50"/>
                  </a:lnTo>
                  <a:lnTo>
                    <a:pt x="209" y="49"/>
                  </a:lnTo>
                  <a:lnTo>
                    <a:pt x="209" y="48"/>
                  </a:lnTo>
                  <a:lnTo>
                    <a:pt x="211" y="48"/>
                  </a:lnTo>
                  <a:lnTo>
                    <a:pt x="214" y="46"/>
                  </a:lnTo>
                  <a:lnTo>
                    <a:pt x="214" y="45"/>
                  </a:lnTo>
                  <a:lnTo>
                    <a:pt x="212" y="43"/>
                  </a:lnTo>
                  <a:lnTo>
                    <a:pt x="211" y="45"/>
                  </a:lnTo>
                  <a:lnTo>
                    <a:pt x="206" y="45"/>
                  </a:lnTo>
                  <a:lnTo>
                    <a:pt x="206" y="42"/>
                  </a:lnTo>
                  <a:lnTo>
                    <a:pt x="208" y="40"/>
                  </a:lnTo>
                  <a:lnTo>
                    <a:pt x="209" y="39"/>
                  </a:lnTo>
                  <a:lnTo>
                    <a:pt x="206" y="36"/>
                  </a:lnTo>
                  <a:lnTo>
                    <a:pt x="211" y="35"/>
                  </a:lnTo>
                  <a:lnTo>
                    <a:pt x="211" y="33"/>
                  </a:lnTo>
                  <a:lnTo>
                    <a:pt x="214" y="33"/>
                  </a:lnTo>
                  <a:lnTo>
                    <a:pt x="215" y="35"/>
                  </a:lnTo>
                  <a:lnTo>
                    <a:pt x="217" y="35"/>
                  </a:lnTo>
                  <a:lnTo>
                    <a:pt x="219" y="35"/>
                  </a:lnTo>
                  <a:lnTo>
                    <a:pt x="221" y="35"/>
                  </a:lnTo>
                  <a:lnTo>
                    <a:pt x="227" y="35"/>
                  </a:lnTo>
                  <a:lnTo>
                    <a:pt x="228" y="36"/>
                  </a:lnTo>
                  <a:lnTo>
                    <a:pt x="231" y="33"/>
                  </a:lnTo>
                  <a:lnTo>
                    <a:pt x="233" y="33"/>
                  </a:lnTo>
                  <a:lnTo>
                    <a:pt x="237" y="33"/>
                  </a:lnTo>
                  <a:lnTo>
                    <a:pt x="238" y="32"/>
                  </a:lnTo>
                  <a:lnTo>
                    <a:pt x="241" y="30"/>
                  </a:lnTo>
                  <a:lnTo>
                    <a:pt x="244" y="27"/>
                  </a:lnTo>
                  <a:lnTo>
                    <a:pt x="246" y="29"/>
                  </a:lnTo>
                  <a:lnTo>
                    <a:pt x="249" y="30"/>
                  </a:lnTo>
                  <a:lnTo>
                    <a:pt x="250" y="30"/>
                  </a:lnTo>
                  <a:lnTo>
                    <a:pt x="250" y="27"/>
                  </a:lnTo>
                  <a:lnTo>
                    <a:pt x="254" y="27"/>
                  </a:lnTo>
                  <a:lnTo>
                    <a:pt x="257" y="26"/>
                  </a:lnTo>
                  <a:lnTo>
                    <a:pt x="259" y="26"/>
                  </a:lnTo>
                  <a:lnTo>
                    <a:pt x="260" y="24"/>
                  </a:lnTo>
                  <a:lnTo>
                    <a:pt x="263" y="24"/>
                  </a:lnTo>
                  <a:lnTo>
                    <a:pt x="264" y="26"/>
                  </a:lnTo>
                  <a:lnTo>
                    <a:pt x="266" y="24"/>
                  </a:lnTo>
                  <a:lnTo>
                    <a:pt x="267" y="20"/>
                  </a:lnTo>
                  <a:lnTo>
                    <a:pt x="269" y="19"/>
                  </a:lnTo>
                  <a:lnTo>
                    <a:pt x="270" y="19"/>
                  </a:lnTo>
                  <a:lnTo>
                    <a:pt x="273" y="19"/>
                  </a:lnTo>
                  <a:lnTo>
                    <a:pt x="278" y="17"/>
                  </a:lnTo>
                  <a:lnTo>
                    <a:pt x="278" y="19"/>
                  </a:lnTo>
                  <a:lnTo>
                    <a:pt x="302" y="13"/>
                  </a:lnTo>
                  <a:lnTo>
                    <a:pt x="305" y="11"/>
                  </a:lnTo>
                  <a:lnTo>
                    <a:pt x="307" y="11"/>
                  </a:lnTo>
                  <a:lnTo>
                    <a:pt x="308" y="10"/>
                  </a:lnTo>
                  <a:lnTo>
                    <a:pt x="309" y="8"/>
                  </a:lnTo>
                  <a:lnTo>
                    <a:pt x="309" y="4"/>
                  </a:lnTo>
                  <a:lnTo>
                    <a:pt x="312" y="5"/>
                  </a:lnTo>
                  <a:lnTo>
                    <a:pt x="314" y="4"/>
                  </a:lnTo>
                  <a:lnTo>
                    <a:pt x="315" y="3"/>
                  </a:lnTo>
                  <a:lnTo>
                    <a:pt x="317" y="1"/>
                  </a:lnTo>
                  <a:lnTo>
                    <a:pt x="320" y="1"/>
                  </a:lnTo>
                  <a:lnTo>
                    <a:pt x="320" y="0"/>
                  </a:lnTo>
                  <a:lnTo>
                    <a:pt x="323" y="0"/>
                  </a:lnTo>
                  <a:lnTo>
                    <a:pt x="324" y="1"/>
                  </a:lnTo>
                  <a:lnTo>
                    <a:pt x="325" y="1"/>
                  </a:lnTo>
                  <a:lnTo>
                    <a:pt x="328" y="1"/>
                  </a:lnTo>
                  <a:lnTo>
                    <a:pt x="330" y="1"/>
                  </a:lnTo>
                  <a:lnTo>
                    <a:pt x="331" y="1"/>
                  </a:lnTo>
                  <a:lnTo>
                    <a:pt x="333" y="3"/>
                  </a:lnTo>
                  <a:lnTo>
                    <a:pt x="337" y="5"/>
                  </a:lnTo>
                  <a:lnTo>
                    <a:pt x="339" y="4"/>
                  </a:lnTo>
                  <a:lnTo>
                    <a:pt x="340" y="3"/>
                  </a:lnTo>
                  <a:lnTo>
                    <a:pt x="344" y="3"/>
                  </a:lnTo>
                  <a:lnTo>
                    <a:pt x="346" y="3"/>
                  </a:lnTo>
                  <a:lnTo>
                    <a:pt x="347" y="5"/>
                  </a:lnTo>
                  <a:lnTo>
                    <a:pt x="349" y="7"/>
                  </a:lnTo>
                  <a:lnTo>
                    <a:pt x="349" y="13"/>
                  </a:lnTo>
                  <a:lnTo>
                    <a:pt x="350" y="16"/>
                  </a:lnTo>
                  <a:lnTo>
                    <a:pt x="353" y="17"/>
                  </a:lnTo>
                  <a:lnTo>
                    <a:pt x="352" y="20"/>
                  </a:lnTo>
                  <a:lnTo>
                    <a:pt x="352" y="24"/>
                  </a:lnTo>
                  <a:lnTo>
                    <a:pt x="349" y="27"/>
                  </a:lnTo>
                  <a:lnTo>
                    <a:pt x="350" y="29"/>
                  </a:lnTo>
                  <a:lnTo>
                    <a:pt x="352" y="32"/>
                  </a:lnTo>
                  <a:lnTo>
                    <a:pt x="354" y="30"/>
                  </a:lnTo>
                  <a:lnTo>
                    <a:pt x="357" y="32"/>
                  </a:lnTo>
                  <a:lnTo>
                    <a:pt x="359" y="32"/>
                  </a:lnTo>
                  <a:lnTo>
                    <a:pt x="360" y="29"/>
                  </a:lnTo>
                  <a:lnTo>
                    <a:pt x="362" y="29"/>
                  </a:lnTo>
                  <a:lnTo>
                    <a:pt x="363" y="29"/>
                  </a:lnTo>
                  <a:lnTo>
                    <a:pt x="365" y="26"/>
                  </a:lnTo>
                  <a:lnTo>
                    <a:pt x="366" y="26"/>
                  </a:lnTo>
                  <a:lnTo>
                    <a:pt x="368" y="30"/>
                  </a:lnTo>
                  <a:lnTo>
                    <a:pt x="369" y="32"/>
                  </a:lnTo>
                  <a:lnTo>
                    <a:pt x="368" y="35"/>
                  </a:lnTo>
                  <a:lnTo>
                    <a:pt x="372" y="36"/>
                  </a:lnTo>
                  <a:lnTo>
                    <a:pt x="372" y="33"/>
                  </a:lnTo>
                  <a:lnTo>
                    <a:pt x="370" y="32"/>
                  </a:lnTo>
                  <a:lnTo>
                    <a:pt x="372" y="32"/>
                  </a:lnTo>
                  <a:lnTo>
                    <a:pt x="376" y="32"/>
                  </a:lnTo>
                  <a:lnTo>
                    <a:pt x="382" y="36"/>
                  </a:lnTo>
                  <a:lnTo>
                    <a:pt x="384" y="36"/>
                  </a:lnTo>
                  <a:lnTo>
                    <a:pt x="385" y="35"/>
                  </a:lnTo>
                  <a:lnTo>
                    <a:pt x="386" y="33"/>
                  </a:lnTo>
                  <a:lnTo>
                    <a:pt x="388" y="35"/>
                  </a:lnTo>
                  <a:lnTo>
                    <a:pt x="386" y="37"/>
                  </a:lnTo>
                  <a:lnTo>
                    <a:pt x="385" y="37"/>
                  </a:lnTo>
                  <a:lnTo>
                    <a:pt x="384" y="39"/>
                  </a:lnTo>
                  <a:lnTo>
                    <a:pt x="382" y="40"/>
                  </a:lnTo>
                  <a:lnTo>
                    <a:pt x="382" y="43"/>
                  </a:lnTo>
                  <a:lnTo>
                    <a:pt x="382" y="45"/>
                  </a:lnTo>
                  <a:lnTo>
                    <a:pt x="384" y="46"/>
                  </a:lnTo>
                  <a:lnTo>
                    <a:pt x="385" y="46"/>
                  </a:lnTo>
                  <a:lnTo>
                    <a:pt x="386" y="45"/>
                  </a:lnTo>
                  <a:lnTo>
                    <a:pt x="391" y="43"/>
                  </a:lnTo>
                  <a:lnTo>
                    <a:pt x="392" y="45"/>
                  </a:lnTo>
                  <a:lnTo>
                    <a:pt x="394" y="45"/>
                  </a:lnTo>
                  <a:lnTo>
                    <a:pt x="395" y="46"/>
                  </a:lnTo>
                  <a:lnTo>
                    <a:pt x="398" y="46"/>
                  </a:lnTo>
                  <a:lnTo>
                    <a:pt x="397" y="43"/>
                  </a:lnTo>
                  <a:lnTo>
                    <a:pt x="398" y="42"/>
                  </a:lnTo>
                  <a:lnTo>
                    <a:pt x="401" y="42"/>
                  </a:lnTo>
                  <a:lnTo>
                    <a:pt x="404" y="39"/>
                  </a:lnTo>
                  <a:lnTo>
                    <a:pt x="407" y="37"/>
                  </a:lnTo>
                  <a:lnTo>
                    <a:pt x="411" y="35"/>
                  </a:lnTo>
                  <a:lnTo>
                    <a:pt x="413" y="32"/>
                  </a:lnTo>
                  <a:lnTo>
                    <a:pt x="414" y="30"/>
                  </a:lnTo>
                  <a:lnTo>
                    <a:pt x="415" y="30"/>
                  </a:lnTo>
                  <a:lnTo>
                    <a:pt x="421" y="29"/>
                  </a:lnTo>
                  <a:lnTo>
                    <a:pt x="423" y="27"/>
                  </a:lnTo>
                  <a:lnTo>
                    <a:pt x="427" y="26"/>
                  </a:lnTo>
                  <a:lnTo>
                    <a:pt x="431" y="24"/>
                  </a:lnTo>
                  <a:lnTo>
                    <a:pt x="431" y="26"/>
                  </a:lnTo>
                  <a:lnTo>
                    <a:pt x="431" y="29"/>
                  </a:lnTo>
                  <a:lnTo>
                    <a:pt x="431" y="30"/>
                  </a:lnTo>
                  <a:lnTo>
                    <a:pt x="429" y="30"/>
                  </a:lnTo>
                  <a:lnTo>
                    <a:pt x="427" y="30"/>
                  </a:lnTo>
                  <a:lnTo>
                    <a:pt x="426" y="33"/>
                  </a:lnTo>
                  <a:lnTo>
                    <a:pt x="427" y="35"/>
                  </a:lnTo>
                  <a:lnTo>
                    <a:pt x="429" y="35"/>
                  </a:lnTo>
                  <a:lnTo>
                    <a:pt x="447" y="52"/>
                  </a:lnTo>
                  <a:lnTo>
                    <a:pt x="478" y="109"/>
                  </a:lnTo>
                  <a:lnTo>
                    <a:pt x="482" y="106"/>
                  </a:lnTo>
                  <a:lnTo>
                    <a:pt x="482" y="104"/>
                  </a:lnTo>
                  <a:lnTo>
                    <a:pt x="482" y="103"/>
                  </a:lnTo>
                  <a:lnTo>
                    <a:pt x="485" y="98"/>
                  </a:lnTo>
                  <a:lnTo>
                    <a:pt x="488" y="98"/>
                  </a:lnTo>
                  <a:lnTo>
                    <a:pt x="488" y="100"/>
                  </a:lnTo>
                  <a:lnTo>
                    <a:pt x="491" y="101"/>
                  </a:lnTo>
                  <a:lnTo>
                    <a:pt x="494" y="103"/>
                  </a:lnTo>
                  <a:lnTo>
                    <a:pt x="494" y="104"/>
                  </a:lnTo>
                  <a:lnTo>
                    <a:pt x="494" y="107"/>
                  </a:lnTo>
                  <a:lnTo>
                    <a:pt x="495" y="107"/>
                  </a:lnTo>
                  <a:lnTo>
                    <a:pt x="497" y="110"/>
                  </a:lnTo>
                  <a:lnTo>
                    <a:pt x="504" y="110"/>
                  </a:lnTo>
                  <a:lnTo>
                    <a:pt x="508" y="112"/>
                  </a:lnTo>
                  <a:lnTo>
                    <a:pt x="510" y="110"/>
                  </a:lnTo>
                  <a:lnTo>
                    <a:pt x="514" y="110"/>
                  </a:lnTo>
                  <a:lnTo>
                    <a:pt x="514" y="109"/>
                  </a:lnTo>
                  <a:lnTo>
                    <a:pt x="516" y="107"/>
                  </a:lnTo>
                  <a:lnTo>
                    <a:pt x="519" y="107"/>
                  </a:lnTo>
                  <a:lnTo>
                    <a:pt x="520" y="107"/>
                  </a:lnTo>
                  <a:lnTo>
                    <a:pt x="521" y="106"/>
                  </a:lnTo>
                  <a:lnTo>
                    <a:pt x="523" y="104"/>
                  </a:lnTo>
                  <a:lnTo>
                    <a:pt x="527" y="106"/>
                  </a:lnTo>
                  <a:lnTo>
                    <a:pt x="529" y="106"/>
                  </a:lnTo>
                  <a:lnTo>
                    <a:pt x="530" y="109"/>
                  </a:lnTo>
                  <a:lnTo>
                    <a:pt x="532" y="109"/>
                  </a:lnTo>
                  <a:lnTo>
                    <a:pt x="535" y="113"/>
                  </a:lnTo>
                  <a:lnTo>
                    <a:pt x="536" y="113"/>
                  </a:lnTo>
                  <a:lnTo>
                    <a:pt x="537" y="114"/>
                  </a:lnTo>
                  <a:lnTo>
                    <a:pt x="536" y="117"/>
                  </a:lnTo>
                  <a:lnTo>
                    <a:pt x="536" y="119"/>
                  </a:lnTo>
                  <a:lnTo>
                    <a:pt x="537" y="122"/>
                  </a:lnTo>
                  <a:lnTo>
                    <a:pt x="540" y="122"/>
                  </a:lnTo>
                  <a:lnTo>
                    <a:pt x="546" y="125"/>
                  </a:lnTo>
                  <a:lnTo>
                    <a:pt x="546" y="126"/>
                  </a:lnTo>
                  <a:lnTo>
                    <a:pt x="546" y="129"/>
                  </a:lnTo>
                  <a:lnTo>
                    <a:pt x="548" y="129"/>
                  </a:lnTo>
                  <a:lnTo>
                    <a:pt x="549" y="130"/>
                  </a:lnTo>
                  <a:lnTo>
                    <a:pt x="552" y="135"/>
                  </a:lnTo>
                  <a:lnTo>
                    <a:pt x="553" y="135"/>
                  </a:lnTo>
                  <a:lnTo>
                    <a:pt x="558" y="136"/>
                  </a:lnTo>
                  <a:lnTo>
                    <a:pt x="559" y="138"/>
                  </a:lnTo>
                  <a:lnTo>
                    <a:pt x="565" y="138"/>
                  </a:lnTo>
                  <a:lnTo>
                    <a:pt x="566" y="136"/>
                  </a:lnTo>
                  <a:lnTo>
                    <a:pt x="568" y="135"/>
                  </a:lnTo>
                  <a:lnTo>
                    <a:pt x="571" y="133"/>
                  </a:lnTo>
                  <a:lnTo>
                    <a:pt x="572" y="135"/>
                  </a:lnTo>
                  <a:lnTo>
                    <a:pt x="572" y="138"/>
                  </a:lnTo>
                  <a:lnTo>
                    <a:pt x="575" y="138"/>
                  </a:lnTo>
                  <a:lnTo>
                    <a:pt x="577" y="142"/>
                  </a:lnTo>
                  <a:lnTo>
                    <a:pt x="578" y="143"/>
                  </a:lnTo>
                  <a:lnTo>
                    <a:pt x="580" y="145"/>
                  </a:lnTo>
                  <a:lnTo>
                    <a:pt x="577" y="152"/>
                  </a:lnTo>
                  <a:lnTo>
                    <a:pt x="577" y="152"/>
                  </a:lnTo>
                  <a:lnTo>
                    <a:pt x="574" y="157"/>
                  </a:lnTo>
                  <a:lnTo>
                    <a:pt x="569" y="161"/>
                  </a:lnTo>
                  <a:lnTo>
                    <a:pt x="564" y="162"/>
                  </a:lnTo>
                  <a:lnTo>
                    <a:pt x="559" y="162"/>
                  </a:lnTo>
                  <a:lnTo>
                    <a:pt x="558" y="168"/>
                  </a:lnTo>
                  <a:lnTo>
                    <a:pt x="556" y="190"/>
                  </a:lnTo>
                  <a:lnTo>
                    <a:pt x="549" y="191"/>
                  </a:lnTo>
                  <a:lnTo>
                    <a:pt x="546" y="194"/>
                  </a:lnTo>
                  <a:lnTo>
                    <a:pt x="540" y="190"/>
                  </a:lnTo>
                  <a:lnTo>
                    <a:pt x="532" y="191"/>
                  </a:lnTo>
                  <a:lnTo>
                    <a:pt x="527" y="190"/>
                  </a:lnTo>
                  <a:lnTo>
                    <a:pt x="524" y="189"/>
                  </a:lnTo>
                  <a:lnTo>
                    <a:pt x="519" y="187"/>
                  </a:lnTo>
                  <a:lnTo>
                    <a:pt x="508" y="219"/>
                  </a:lnTo>
                  <a:lnTo>
                    <a:pt x="510" y="226"/>
                  </a:lnTo>
                  <a:lnTo>
                    <a:pt x="508" y="228"/>
                  </a:lnTo>
                  <a:lnTo>
                    <a:pt x="478" y="234"/>
                  </a:lnTo>
                  <a:lnTo>
                    <a:pt x="476" y="235"/>
                  </a:lnTo>
                  <a:lnTo>
                    <a:pt x="478" y="238"/>
                  </a:lnTo>
                  <a:lnTo>
                    <a:pt x="487" y="266"/>
                  </a:lnTo>
                  <a:lnTo>
                    <a:pt x="487" y="268"/>
                  </a:lnTo>
                  <a:lnTo>
                    <a:pt x="482" y="271"/>
                  </a:lnTo>
                  <a:lnTo>
                    <a:pt x="484" y="274"/>
                  </a:lnTo>
                  <a:lnTo>
                    <a:pt x="481" y="277"/>
                  </a:lnTo>
                  <a:lnTo>
                    <a:pt x="481" y="280"/>
                  </a:lnTo>
                  <a:lnTo>
                    <a:pt x="481" y="284"/>
                  </a:lnTo>
                  <a:lnTo>
                    <a:pt x="479" y="284"/>
                  </a:lnTo>
                  <a:lnTo>
                    <a:pt x="474" y="282"/>
                  </a:lnTo>
                  <a:lnTo>
                    <a:pt x="469" y="280"/>
                  </a:lnTo>
                  <a:lnTo>
                    <a:pt x="466" y="276"/>
                  </a:lnTo>
                  <a:lnTo>
                    <a:pt x="458" y="274"/>
                  </a:lnTo>
                  <a:lnTo>
                    <a:pt x="456" y="274"/>
                  </a:lnTo>
                  <a:lnTo>
                    <a:pt x="439" y="273"/>
                  </a:lnTo>
                  <a:lnTo>
                    <a:pt x="436" y="271"/>
                  </a:lnTo>
                  <a:lnTo>
                    <a:pt x="433" y="271"/>
                  </a:lnTo>
                  <a:lnTo>
                    <a:pt x="430" y="273"/>
                  </a:lnTo>
                  <a:lnTo>
                    <a:pt x="408" y="273"/>
                  </a:lnTo>
                  <a:lnTo>
                    <a:pt x="407" y="271"/>
                  </a:lnTo>
                  <a:lnTo>
                    <a:pt x="404" y="271"/>
                  </a:lnTo>
                  <a:lnTo>
                    <a:pt x="401" y="271"/>
                  </a:lnTo>
                  <a:lnTo>
                    <a:pt x="394" y="267"/>
                  </a:lnTo>
                  <a:lnTo>
                    <a:pt x="391" y="268"/>
                  </a:lnTo>
                  <a:lnTo>
                    <a:pt x="389" y="268"/>
                  </a:lnTo>
                  <a:lnTo>
                    <a:pt x="388" y="268"/>
                  </a:lnTo>
                  <a:lnTo>
                    <a:pt x="384" y="271"/>
                  </a:lnTo>
                  <a:lnTo>
                    <a:pt x="384" y="274"/>
                  </a:lnTo>
                  <a:lnTo>
                    <a:pt x="384" y="276"/>
                  </a:lnTo>
                  <a:lnTo>
                    <a:pt x="382" y="280"/>
                  </a:lnTo>
                  <a:lnTo>
                    <a:pt x="381" y="282"/>
                  </a:lnTo>
                  <a:lnTo>
                    <a:pt x="359" y="276"/>
                  </a:lnTo>
                  <a:lnTo>
                    <a:pt x="357" y="276"/>
                  </a:lnTo>
                  <a:lnTo>
                    <a:pt x="356" y="274"/>
                  </a:lnTo>
                  <a:lnTo>
                    <a:pt x="349" y="276"/>
                  </a:lnTo>
                  <a:lnTo>
                    <a:pt x="349" y="279"/>
                  </a:lnTo>
                  <a:lnTo>
                    <a:pt x="349" y="280"/>
                  </a:lnTo>
                  <a:lnTo>
                    <a:pt x="343" y="289"/>
                  </a:lnTo>
                  <a:lnTo>
                    <a:pt x="341" y="289"/>
                  </a:lnTo>
                  <a:lnTo>
                    <a:pt x="340" y="289"/>
                  </a:lnTo>
                  <a:lnTo>
                    <a:pt x="339" y="293"/>
                  </a:lnTo>
                  <a:lnTo>
                    <a:pt x="336" y="295"/>
                  </a:lnTo>
                  <a:lnTo>
                    <a:pt x="327" y="299"/>
                  </a:lnTo>
                  <a:lnTo>
                    <a:pt x="325" y="300"/>
                  </a:lnTo>
                  <a:lnTo>
                    <a:pt x="321" y="302"/>
                  </a:lnTo>
                  <a:lnTo>
                    <a:pt x="320" y="306"/>
                  </a:lnTo>
                  <a:lnTo>
                    <a:pt x="317" y="309"/>
                  </a:lnTo>
                  <a:lnTo>
                    <a:pt x="305" y="303"/>
                  </a:lnTo>
                  <a:lnTo>
                    <a:pt x="291" y="305"/>
                  </a:lnTo>
                  <a:lnTo>
                    <a:pt x="288" y="293"/>
                  </a:lnTo>
                  <a:lnTo>
                    <a:pt x="279" y="292"/>
                  </a:lnTo>
                  <a:lnTo>
                    <a:pt x="279" y="284"/>
                  </a:lnTo>
                  <a:lnTo>
                    <a:pt x="280" y="284"/>
                  </a:lnTo>
                  <a:lnTo>
                    <a:pt x="280" y="273"/>
                  </a:lnTo>
                  <a:lnTo>
                    <a:pt x="278" y="273"/>
                  </a:lnTo>
                  <a:lnTo>
                    <a:pt x="273" y="264"/>
                  </a:lnTo>
                  <a:lnTo>
                    <a:pt x="263" y="257"/>
                  </a:lnTo>
                  <a:lnTo>
                    <a:pt x="259" y="258"/>
                  </a:lnTo>
                  <a:lnTo>
                    <a:pt x="221" y="261"/>
                  </a:lnTo>
                  <a:lnTo>
                    <a:pt x="172" y="219"/>
                  </a:lnTo>
                  <a:lnTo>
                    <a:pt x="135" y="23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37" name="Freeform 1317"/>
            <p:cNvSpPr>
              <a:spLocks/>
            </p:cNvSpPr>
            <p:nvPr/>
          </p:nvSpPr>
          <p:spPr bwMode="auto">
            <a:xfrm>
              <a:off x="7480437" y="3257385"/>
              <a:ext cx="5267" cy="4057"/>
            </a:xfrm>
            <a:custGeom>
              <a:avLst/>
              <a:gdLst/>
              <a:ahLst/>
              <a:cxnLst>
                <a:cxn ang="0">
                  <a:pos x="5" y="0"/>
                </a:cxn>
                <a:cxn ang="0">
                  <a:pos x="6" y="2"/>
                </a:cxn>
                <a:cxn ang="0">
                  <a:pos x="6" y="3"/>
                </a:cxn>
                <a:cxn ang="0">
                  <a:pos x="5" y="4"/>
                </a:cxn>
                <a:cxn ang="0">
                  <a:pos x="5" y="4"/>
                </a:cxn>
                <a:cxn ang="0">
                  <a:pos x="3" y="2"/>
                </a:cxn>
                <a:cxn ang="0">
                  <a:pos x="2" y="2"/>
                </a:cxn>
                <a:cxn ang="0">
                  <a:pos x="0" y="0"/>
                </a:cxn>
                <a:cxn ang="0">
                  <a:pos x="2" y="0"/>
                </a:cxn>
                <a:cxn ang="0">
                  <a:pos x="2" y="0"/>
                </a:cxn>
                <a:cxn ang="0">
                  <a:pos x="3" y="0"/>
                </a:cxn>
                <a:cxn ang="0">
                  <a:pos x="5" y="0"/>
                </a:cxn>
              </a:cxnLst>
              <a:rect l="0" t="0" r="r" b="b"/>
              <a:pathLst>
                <a:path w="6" h="4">
                  <a:moveTo>
                    <a:pt x="5" y="0"/>
                  </a:moveTo>
                  <a:lnTo>
                    <a:pt x="6" y="2"/>
                  </a:lnTo>
                  <a:lnTo>
                    <a:pt x="6" y="3"/>
                  </a:lnTo>
                  <a:lnTo>
                    <a:pt x="5" y="4"/>
                  </a:lnTo>
                  <a:lnTo>
                    <a:pt x="5" y="4"/>
                  </a:lnTo>
                  <a:lnTo>
                    <a:pt x="3" y="2"/>
                  </a:lnTo>
                  <a:lnTo>
                    <a:pt x="2" y="2"/>
                  </a:lnTo>
                  <a:lnTo>
                    <a:pt x="0" y="0"/>
                  </a:lnTo>
                  <a:lnTo>
                    <a:pt x="2" y="0"/>
                  </a:lnTo>
                  <a:lnTo>
                    <a:pt x="2" y="0"/>
                  </a:lnTo>
                  <a:lnTo>
                    <a:pt x="3" y="0"/>
                  </a:lnTo>
                  <a:lnTo>
                    <a:pt x="5"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38" name="Freeform 1318"/>
            <p:cNvSpPr>
              <a:spLocks/>
            </p:cNvSpPr>
            <p:nvPr/>
          </p:nvSpPr>
          <p:spPr bwMode="auto">
            <a:xfrm>
              <a:off x="7480437" y="3257385"/>
              <a:ext cx="5267" cy="4057"/>
            </a:xfrm>
            <a:custGeom>
              <a:avLst/>
              <a:gdLst/>
              <a:ahLst/>
              <a:cxnLst>
                <a:cxn ang="0">
                  <a:pos x="5" y="0"/>
                </a:cxn>
                <a:cxn ang="0">
                  <a:pos x="6" y="2"/>
                </a:cxn>
                <a:cxn ang="0">
                  <a:pos x="6" y="3"/>
                </a:cxn>
                <a:cxn ang="0">
                  <a:pos x="5" y="4"/>
                </a:cxn>
                <a:cxn ang="0">
                  <a:pos x="5" y="4"/>
                </a:cxn>
                <a:cxn ang="0">
                  <a:pos x="3" y="2"/>
                </a:cxn>
                <a:cxn ang="0">
                  <a:pos x="2" y="2"/>
                </a:cxn>
                <a:cxn ang="0">
                  <a:pos x="0" y="0"/>
                </a:cxn>
                <a:cxn ang="0">
                  <a:pos x="2" y="0"/>
                </a:cxn>
                <a:cxn ang="0">
                  <a:pos x="2" y="0"/>
                </a:cxn>
                <a:cxn ang="0">
                  <a:pos x="3" y="0"/>
                </a:cxn>
                <a:cxn ang="0">
                  <a:pos x="5" y="0"/>
                </a:cxn>
              </a:cxnLst>
              <a:rect l="0" t="0" r="r" b="b"/>
              <a:pathLst>
                <a:path w="6" h="4">
                  <a:moveTo>
                    <a:pt x="5" y="0"/>
                  </a:moveTo>
                  <a:lnTo>
                    <a:pt x="6" y="2"/>
                  </a:lnTo>
                  <a:lnTo>
                    <a:pt x="6" y="3"/>
                  </a:lnTo>
                  <a:lnTo>
                    <a:pt x="5" y="4"/>
                  </a:lnTo>
                  <a:lnTo>
                    <a:pt x="5" y="4"/>
                  </a:lnTo>
                  <a:lnTo>
                    <a:pt x="3" y="2"/>
                  </a:lnTo>
                  <a:lnTo>
                    <a:pt x="2" y="2"/>
                  </a:lnTo>
                  <a:lnTo>
                    <a:pt x="0" y="0"/>
                  </a:lnTo>
                  <a:lnTo>
                    <a:pt x="2" y="0"/>
                  </a:lnTo>
                  <a:lnTo>
                    <a:pt x="2" y="0"/>
                  </a:lnTo>
                  <a:lnTo>
                    <a:pt x="3" y="0"/>
                  </a:lnTo>
                  <a:lnTo>
                    <a:pt x="5"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39" name="Freeform 1319"/>
            <p:cNvSpPr>
              <a:spLocks/>
            </p:cNvSpPr>
            <p:nvPr/>
          </p:nvSpPr>
          <p:spPr bwMode="auto">
            <a:xfrm>
              <a:off x="7361935" y="3192480"/>
              <a:ext cx="141326" cy="169361"/>
            </a:xfrm>
            <a:custGeom>
              <a:avLst/>
              <a:gdLst/>
              <a:ahLst/>
              <a:cxnLst>
                <a:cxn ang="0">
                  <a:pos x="2" y="0"/>
                </a:cxn>
                <a:cxn ang="0">
                  <a:pos x="8" y="0"/>
                </a:cxn>
                <a:cxn ang="0">
                  <a:pos x="12" y="4"/>
                </a:cxn>
                <a:cxn ang="0">
                  <a:pos x="16" y="4"/>
                </a:cxn>
                <a:cxn ang="0">
                  <a:pos x="29" y="5"/>
                </a:cxn>
                <a:cxn ang="0">
                  <a:pos x="34" y="5"/>
                </a:cxn>
                <a:cxn ang="0">
                  <a:pos x="39" y="11"/>
                </a:cxn>
                <a:cxn ang="0">
                  <a:pos x="41" y="14"/>
                </a:cxn>
                <a:cxn ang="0">
                  <a:pos x="45" y="20"/>
                </a:cxn>
                <a:cxn ang="0">
                  <a:pos x="60" y="30"/>
                </a:cxn>
                <a:cxn ang="0">
                  <a:pos x="68" y="40"/>
                </a:cxn>
                <a:cxn ang="0">
                  <a:pos x="74" y="45"/>
                </a:cxn>
                <a:cxn ang="0">
                  <a:pos x="80" y="49"/>
                </a:cxn>
                <a:cxn ang="0">
                  <a:pos x="82" y="48"/>
                </a:cxn>
                <a:cxn ang="0">
                  <a:pos x="86" y="49"/>
                </a:cxn>
                <a:cxn ang="0">
                  <a:pos x="92" y="55"/>
                </a:cxn>
                <a:cxn ang="0">
                  <a:pos x="98" y="58"/>
                </a:cxn>
                <a:cxn ang="0">
                  <a:pos x="100" y="62"/>
                </a:cxn>
                <a:cxn ang="0">
                  <a:pos x="102" y="61"/>
                </a:cxn>
                <a:cxn ang="0">
                  <a:pos x="105" y="64"/>
                </a:cxn>
                <a:cxn ang="0">
                  <a:pos x="112" y="65"/>
                </a:cxn>
                <a:cxn ang="0">
                  <a:pos x="112" y="66"/>
                </a:cxn>
                <a:cxn ang="0">
                  <a:pos x="111" y="68"/>
                </a:cxn>
                <a:cxn ang="0">
                  <a:pos x="112" y="71"/>
                </a:cxn>
                <a:cxn ang="0">
                  <a:pos x="109" y="75"/>
                </a:cxn>
                <a:cxn ang="0">
                  <a:pos x="109" y="75"/>
                </a:cxn>
                <a:cxn ang="0">
                  <a:pos x="118" y="72"/>
                </a:cxn>
                <a:cxn ang="0">
                  <a:pos x="121" y="77"/>
                </a:cxn>
                <a:cxn ang="0">
                  <a:pos x="118" y="81"/>
                </a:cxn>
                <a:cxn ang="0">
                  <a:pos x="121" y="82"/>
                </a:cxn>
                <a:cxn ang="0">
                  <a:pos x="118" y="85"/>
                </a:cxn>
                <a:cxn ang="0">
                  <a:pos x="119" y="90"/>
                </a:cxn>
                <a:cxn ang="0">
                  <a:pos x="125" y="93"/>
                </a:cxn>
                <a:cxn ang="0">
                  <a:pos x="131" y="94"/>
                </a:cxn>
                <a:cxn ang="0">
                  <a:pos x="132" y="106"/>
                </a:cxn>
                <a:cxn ang="0">
                  <a:pos x="137" y="107"/>
                </a:cxn>
                <a:cxn ang="0">
                  <a:pos x="137" y="111"/>
                </a:cxn>
                <a:cxn ang="0">
                  <a:pos x="148" y="113"/>
                </a:cxn>
                <a:cxn ang="0">
                  <a:pos x="154" y="122"/>
                </a:cxn>
                <a:cxn ang="0">
                  <a:pos x="153" y="132"/>
                </a:cxn>
                <a:cxn ang="0">
                  <a:pos x="153" y="133"/>
                </a:cxn>
                <a:cxn ang="0">
                  <a:pos x="150" y="161"/>
                </a:cxn>
                <a:cxn ang="0">
                  <a:pos x="144" y="158"/>
                </a:cxn>
                <a:cxn ang="0">
                  <a:pos x="141" y="161"/>
                </a:cxn>
                <a:cxn ang="0">
                  <a:pos x="134" y="158"/>
                </a:cxn>
                <a:cxn ang="0">
                  <a:pos x="135" y="162"/>
                </a:cxn>
                <a:cxn ang="0">
                  <a:pos x="119" y="148"/>
                </a:cxn>
                <a:cxn ang="0">
                  <a:pos x="106" y="138"/>
                </a:cxn>
                <a:cxn ang="0">
                  <a:pos x="102" y="135"/>
                </a:cxn>
                <a:cxn ang="0">
                  <a:pos x="100" y="129"/>
                </a:cxn>
                <a:cxn ang="0">
                  <a:pos x="82" y="110"/>
                </a:cxn>
                <a:cxn ang="0">
                  <a:pos x="76" y="94"/>
                </a:cxn>
                <a:cxn ang="0">
                  <a:pos x="67" y="84"/>
                </a:cxn>
                <a:cxn ang="0">
                  <a:pos x="61" y="75"/>
                </a:cxn>
                <a:cxn ang="0">
                  <a:pos x="58" y="75"/>
                </a:cxn>
                <a:cxn ang="0">
                  <a:pos x="53" y="55"/>
                </a:cxn>
                <a:cxn ang="0">
                  <a:pos x="39" y="46"/>
                </a:cxn>
                <a:cxn ang="0">
                  <a:pos x="35" y="37"/>
                </a:cxn>
                <a:cxn ang="0">
                  <a:pos x="28" y="30"/>
                </a:cxn>
                <a:cxn ang="0">
                  <a:pos x="21" y="26"/>
                </a:cxn>
                <a:cxn ang="0">
                  <a:pos x="2" y="0"/>
                </a:cxn>
              </a:cxnLst>
              <a:rect l="0" t="0" r="r" b="b"/>
              <a:pathLst>
                <a:path w="154" h="162">
                  <a:moveTo>
                    <a:pt x="0" y="0"/>
                  </a:moveTo>
                  <a:lnTo>
                    <a:pt x="2" y="0"/>
                  </a:lnTo>
                  <a:lnTo>
                    <a:pt x="3" y="0"/>
                  </a:lnTo>
                  <a:lnTo>
                    <a:pt x="8" y="0"/>
                  </a:lnTo>
                  <a:lnTo>
                    <a:pt x="9" y="0"/>
                  </a:lnTo>
                  <a:lnTo>
                    <a:pt x="12" y="4"/>
                  </a:lnTo>
                  <a:lnTo>
                    <a:pt x="15" y="4"/>
                  </a:lnTo>
                  <a:lnTo>
                    <a:pt x="16" y="4"/>
                  </a:lnTo>
                  <a:lnTo>
                    <a:pt x="26" y="4"/>
                  </a:lnTo>
                  <a:lnTo>
                    <a:pt x="29" y="5"/>
                  </a:lnTo>
                  <a:lnTo>
                    <a:pt x="32" y="5"/>
                  </a:lnTo>
                  <a:lnTo>
                    <a:pt x="34" y="5"/>
                  </a:lnTo>
                  <a:lnTo>
                    <a:pt x="38" y="10"/>
                  </a:lnTo>
                  <a:lnTo>
                    <a:pt x="39" y="11"/>
                  </a:lnTo>
                  <a:lnTo>
                    <a:pt x="39" y="13"/>
                  </a:lnTo>
                  <a:lnTo>
                    <a:pt x="41" y="14"/>
                  </a:lnTo>
                  <a:lnTo>
                    <a:pt x="42" y="16"/>
                  </a:lnTo>
                  <a:lnTo>
                    <a:pt x="45" y="20"/>
                  </a:lnTo>
                  <a:lnTo>
                    <a:pt x="51" y="26"/>
                  </a:lnTo>
                  <a:lnTo>
                    <a:pt x="60" y="30"/>
                  </a:lnTo>
                  <a:lnTo>
                    <a:pt x="68" y="37"/>
                  </a:lnTo>
                  <a:lnTo>
                    <a:pt x="68" y="40"/>
                  </a:lnTo>
                  <a:lnTo>
                    <a:pt x="71" y="40"/>
                  </a:lnTo>
                  <a:lnTo>
                    <a:pt x="74" y="45"/>
                  </a:lnTo>
                  <a:lnTo>
                    <a:pt x="79" y="49"/>
                  </a:lnTo>
                  <a:lnTo>
                    <a:pt x="80" y="49"/>
                  </a:lnTo>
                  <a:lnTo>
                    <a:pt x="80" y="49"/>
                  </a:lnTo>
                  <a:lnTo>
                    <a:pt x="82" y="48"/>
                  </a:lnTo>
                  <a:lnTo>
                    <a:pt x="83" y="48"/>
                  </a:lnTo>
                  <a:lnTo>
                    <a:pt x="86" y="49"/>
                  </a:lnTo>
                  <a:lnTo>
                    <a:pt x="89" y="53"/>
                  </a:lnTo>
                  <a:lnTo>
                    <a:pt x="92" y="55"/>
                  </a:lnTo>
                  <a:lnTo>
                    <a:pt x="93" y="56"/>
                  </a:lnTo>
                  <a:lnTo>
                    <a:pt x="98" y="58"/>
                  </a:lnTo>
                  <a:lnTo>
                    <a:pt x="99" y="62"/>
                  </a:lnTo>
                  <a:lnTo>
                    <a:pt x="100" y="62"/>
                  </a:lnTo>
                  <a:lnTo>
                    <a:pt x="100" y="59"/>
                  </a:lnTo>
                  <a:lnTo>
                    <a:pt x="102" y="61"/>
                  </a:lnTo>
                  <a:lnTo>
                    <a:pt x="103" y="62"/>
                  </a:lnTo>
                  <a:lnTo>
                    <a:pt x="105" y="64"/>
                  </a:lnTo>
                  <a:lnTo>
                    <a:pt x="111" y="64"/>
                  </a:lnTo>
                  <a:lnTo>
                    <a:pt x="112" y="65"/>
                  </a:lnTo>
                  <a:lnTo>
                    <a:pt x="113" y="65"/>
                  </a:lnTo>
                  <a:lnTo>
                    <a:pt x="112" y="66"/>
                  </a:lnTo>
                  <a:lnTo>
                    <a:pt x="112" y="68"/>
                  </a:lnTo>
                  <a:lnTo>
                    <a:pt x="111" y="68"/>
                  </a:lnTo>
                  <a:lnTo>
                    <a:pt x="111" y="69"/>
                  </a:lnTo>
                  <a:lnTo>
                    <a:pt x="112" y="71"/>
                  </a:lnTo>
                  <a:lnTo>
                    <a:pt x="112" y="72"/>
                  </a:lnTo>
                  <a:lnTo>
                    <a:pt x="109" y="75"/>
                  </a:lnTo>
                  <a:lnTo>
                    <a:pt x="108" y="75"/>
                  </a:lnTo>
                  <a:lnTo>
                    <a:pt x="109" y="75"/>
                  </a:lnTo>
                  <a:lnTo>
                    <a:pt x="116" y="72"/>
                  </a:lnTo>
                  <a:lnTo>
                    <a:pt x="118" y="72"/>
                  </a:lnTo>
                  <a:lnTo>
                    <a:pt x="121" y="74"/>
                  </a:lnTo>
                  <a:lnTo>
                    <a:pt x="121" y="77"/>
                  </a:lnTo>
                  <a:lnTo>
                    <a:pt x="122" y="78"/>
                  </a:lnTo>
                  <a:lnTo>
                    <a:pt x="118" y="81"/>
                  </a:lnTo>
                  <a:lnTo>
                    <a:pt x="119" y="82"/>
                  </a:lnTo>
                  <a:lnTo>
                    <a:pt x="121" y="82"/>
                  </a:lnTo>
                  <a:lnTo>
                    <a:pt x="121" y="84"/>
                  </a:lnTo>
                  <a:lnTo>
                    <a:pt x="118" y="85"/>
                  </a:lnTo>
                  <a:lnTo>
                    <a:pt x="118" y="88"/>
                  </a:lnTo>
                  <a:lnTo>
                    <a:pt x="119" y="90"/>
                  </a:lnTo>
                  <a:lnTo>
                    <a:pt x="124" y="93"/>
                  </a:lnTo>
                  <a:lnTo>
                    <a:pt x="125" y="93"/>
                  </a:lnTo>
                  <a:lnTo>
                    <a:pt x="127" y="94"/>
                  </a:lnTo>
                  <a:lnTo>
                    <a:pt x="131" y="94"/>
                  </a:lnTo>
                  <a:lnTo>
                    <a:pt x="134" y="104"/>
                  </a:lnTo>
                  <a:lnTo>
                    <a:pt x="132" y="106"/>
                  </a:lnTo>
                  <a:lnTo>
                    <a:pt x="134" y="106"/>
                  </a:lnTo>
                  <a:lnTo>
                    <a:pt x="137" y="107"/>
                  </a:lnTo>
                  <a:lnTo>
                    <a:pt x="138" y="109"/>
                  </a:lnTo>
                  <a:lnTo>
                    <a:pt x="137" y="111"/>
                  </a:lnTo>
                  <a:lnTo>
                    <a:pt x="145" y="113"/>
                  </a:lnTo>
                  <a:lnTo>
                    <a:pt x="148" y="113"/>
                  </a:lnTo>
                  <a:lnTo>
                    <a:pt x="153" y="119"/>
                  </a:lnTo>
                  <a:lnTo>
                    <a:pt x="154" y="122"/>
                  </a:lnTo>
                  <a:lnTo>
                    <a:pt x="154" y="123"/>
                  </a:lnTo>
                  <a:lnTo>
                    <a:pt x="153" y="132"/>
                  </a:lnTo>
                  <a:lnTo>
                    <a:pt x="153" y="132"/>
                  </a:lnTo>
                  <a:lnTo>
                    <a:pt x="153" y="133"/>
                  </a:lnTo>
                  <a:lnTo>
                    <a:pt x="151" y="161"/>
                  </a:lnTo>
                  <a:lnTo>
                    <a:pt x="150" y="161"/>
                  </a:lnTo>
                  <a:lnTo>
                    <a:pt x="144" y="157"/>
                  </a:lnTo>
                  <a:lnTo>
                    <a:pt x="144" y="158"/>
                  </a:lnTo>
                  <a:lnTo>
                    <a:pt x="143" y="159"/>
                  </a:lnTo>
                  <a:lnTo>
                    <a:pt x="141" y="161"/>
                  </a:lnTo>
                  <a:lnTo>
                    <a:pt x="137" y="157"/>
                  </a:lnTo>
                  <a:lnTo>
                    <a:pt x="134" y="158"/>
                  </a:lnTo>
                  <a:lnTo>
                    <a:pt x="137" y="161"/>
                  </a:lnTo>
                  <a:lnTo>
                    <a:pt x="135" y="162"/>
                  </a:lnTo>
                  <a:lnTo>
                    <a:pt x="122" y="149"/>
                  </a:lnTo>
                  <a:lnTo>
                    <a:pt x="119" y="148"/>
                  </a:lnTo>
                  <a:lnTo>
                    <a:pt x="118" y="148"/>
                  </a:lnTo>
                  <a:lnTo>
                    <a:pt x="106" y="138"/>
                  </a:lnTo>
                  <a:lnTo>
                    <a:pt x="105" y="138"/>
                  </a:lnTo>
                  <a:lnTo>
                    <a:pt x="102" y="135"/>
                  </a:lnTo>
                  <a:lnTo>
                    <a:pt x="102" y="132"/>
                  </a:lnTo>
                  <a:lnTo>
                    <a:pt x="100" y="129"/>
                  </a:lnTo>
                  <a:lnTo>
                    <a:pt x="98" y="127"/>
                  </a:lnTo>
                  <a:lnTo>
                    <a:pt x="82" y="110"/>
                  </a:lnTo>
                  <a:lnTo>
                    <a:pt x="82" y="106"/>
                  </a:lnTo>
                  <a:lnTo>
                    <a:pt x="76" y="94"/>
                  </a:lnTo>
                  <a:lnTo>
                    <a:pt x="74" y="91"/>
                  </a:lnTo>
                  <a:lnTo>
                    <a:pt x="67" y="84"/>
                  </a:lnTo>
                  <a:lnTo>
                    <a:pt x="66" y="78"/>
                  </a:lnTo>
                  <a:lnTo>
                    <a:pt x="61" y="75"/>
                  </a:lnTo>
                  <a:lnTo>
                    <a:pt x="58" y="75"/>
                  </a:lnTo>
                  <a:lnTo>
                    <a:pt x="58" y="75"/>
                  </a:lnTo>
                  <a:lnTo>
                    <a:pt x="53" y="58"/>
                  </a:lnTo>
                  <a:lnTo>
                    <a:pt x="53" y="55"/>
                  </a:lnTo>
                  <a:lnTo>
                    <a:pt x="47" y="50"/>
                  </a:lnTo>
                  <a:lnTo>
                    <a:pt x="39" y="46"/>
                  </a:lnTo>
                  <a:lnTo>
                    <a:pt x="37" y="46"/>
                  </a:lnTo>
                  <a:lnTo>
                    <a:pt x="35" y="37"/>
                  </a:lnTo>
                  <a:lnTo>
                    <a:pt x="32" y="37"/>
                  </a:lnTo>
                  <a:lnTo>
                    <a:pt x="28" y="30"/>
                  </a:lnTo>
                  <a:lnTo>
                    <a:pt x="23" y="26"/>
                  </a:lnTo>
                  <a:lnTo>
                    <a:pt x="21" y="26"/>
                  </a:lnTo>
                  <a:lnTo>
                    <a:pt x="2" y="5"/>
                  </a:lnTo>
                  <a:lnTo>
                    <a:pt x="2" y="0"/>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40" name="Freeform 1321"/>
            <p:cNvSpPr>
              <a:spLocks/>
            </p:cNvSpPr>
            <p:nvPr/>
          </p:nvSpPr>
          <p:spPr bwMode="auto">
            <a:xfrm>
              <a:off x="7368957" y="3231018"/>
              <a:ext cx="9656" cy="9128"/>
            </a:xfrm>
            <a:custGeom>
              <a:avLst/>
              <a:gdLst/>
              <a:ahLst/>
              <a:cxnLst>
                <a:cxn ang="0">
                  <a:pos x="1" y="2"/>
                </a:cxn>
                <a:cxn ang="0">
                  <a:pos x="0" y="2"/>
                </a:cxn>
                <a:cxn ang="0">
                  <a:pos x="1" y="0"/>
                </a:cxn>
                <a:cxn ang="0">
                  <a:pos x="10" y="6"/>
                </a:cxn>
                <a:cxn ang="0">
                  <a:pos x="10" y="8"/>
                </a:cxn>
                <a:cxn ang="0">
                  <a:pos x="10" y="9"/>
                </a:cxn>
                <a:cxn ang="0">
                  <a:pos x="8" y="8"/>
                </a:cxn>
                <a:cxn ang="0">
                  <a:pos x="1" y="3"/>
                </a:cxn>
                <a:cxn ang="0">
                  <a:pos x="1" y="2"/>
                </a:cxn>
              </a:cxnLst>
              <a:rect l="0" t="0" r="r" b="b"/>
              <a:pathLst>
                <a:path w="10" h="9">
                  <a:moveTo>
                    <a:pt x="1" y="2"/>
                  </a:moveTo>
                  <a:lnTo>
                    <a:pt x="0" y="2"/>
                  </a:lnTo>
                  <a:lnTo>
                    <a:pt x="1" y="0"/>
                  </a:lnTo>
                  <a:lnTo>
                    <a:pt x="10" y="6"/>
                  </a:lnTo>
                  <a:lnTo>
                    <a:pt x="10" y="8"/>
                  </a:lnTo>
                  <a:lnTo>
                    <a:pt x="10" y="9"/>
                  </a:lnTo>
                  <a:lnTo>
                    <a:pt x="8" y="8"/>
                  </a:lnTo>
                  <a:lnTo>
                    <a:pt x="1" y="3"/>
                  </a:lnTo>
                  <a:lnTo>
                    <a:pt x="1" y="2"/>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41" name="Freeform 1322"/>
            <p:cNvSpPr>
              <a:spLocks/>
            </p:cNvSpPr>
            <p:nvPr/>
          </p:nvSpPr>
          <p:spPr bwMode="auto">
            <a:xfrm>
              <a:off x="7368957" y="3231018"/>
              <a:ext cx="9656" cy="9128"/>
            </a:xfrm>
            <a:custGeom>
              <a:avLst/>
              <a:gdLst/>
              <a:ahLst/>
              <a:cxnLst>
                <a:cxn ang="0">
                  <a:pos x="1" y="2"/>
                </a:cxn>
                <a:cxn ang="0">
                  <a:pos x="0" y="2"/>
                </a:cxn>
                <a:cxn ang="0">
                  <a:pos x="1" y="0"/>
                </a:cxn>
                <a:cxn ang="0">
                  <a:pos x="10" y="6"/>
                </a:cxn>
                <a:cxn ang="0">
                  <a:pos x="10" y="8"/>
                </a:cxn>
                <a:cxn ang="0">
                  <a:pos x="10" y="9"/>
                </a:cxn>
                <a:cxn ang="0">
                  <a:pos x="8" y="8"/>
                </a:cxn>
                <a:cxn ang="0">
                  <a:pos x="1" y="3"/>
                </a:cxn>
                <a:cxn ang="0">
                  <a:pos x="1" y="2"/>
                </a:cxn>
              </a:cxnLst>
              <a:rect l="0" t="0" r="r" b="b"/>
              <a:pathLst>
                <a:path w="10" h="9">
                  <a:moveTo>
                    <a:pt x="1" y="2"/>
                  </a:moveTo>
                  <a:lnTo>
                    <a:pt x="0" y="2"/>
                  </a:lnTo>
                  <a:lnTo>
                    <a:pt x="1" y="0"/>
                  </a:lnTo>
                  <a:lnTo>
                    <a:pt x="10" y="6"/>
                  </a:lnTo>
                  <a:lnTo>
                    <a:pt x="10" y="8"/>
                  </a:lnTo>
                  <a:lnTo>
                    <a:pt x="10" y="9"/>
                  </a:lnTo>
                  <a:lnTo>
                    <a:pt x="8" y="8"/>
                  </a:lnTo>
                  <a:lnTo>
                    <a:pt x="1" y="3"/>
                  </a:lnTo>
                  <a:lnTo>
                    <a:pt x="1" y="2"/>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42" name="Freeform 1323"/>
            <p:cNvSpPr>
              <a:spLocks/>
            </p:cNvSpPr>
            <p:nvPr/>
          </p:nvSpPr>
          <p:spPr bwMode="auto">
            <a:xfrm>
              <a:off x="7388268" y="3253328"/>
              <a:ext cx="9656" cy="13184"/>
            </a:xfrm>
            <a:custGeom>
              <a:avLst/>
              <a:gdLst/>
              <a:ahLst/>
              <a:cxnLst>
                <a:cxn ang="0">
                  <a:pos x="0" y="1"/>
                </a:cxn>
                <a:cxn ang="0">
                  <a:pos x="0" y="0"/>
                </a:cxn>
                <a:cxn ang="0">
                  <a:pos x="3" y="0"/>
                </a:cxn>
                <a:cxn ang="0">
                  <a:pos x="10" y="7"/>
                </a:cxn>
                <a:cxn ang="0">
                  <a:pos x="10" y="11"/>
                </a:cxn>
                <a:cxn ang="0">
                  <a:pos x="10" y="13"/>
                </a:cxn>
                <a:cxn ang="0">
                  <a:pos x="9" y="13"/>
                </a:cxn>
                <a:cxn ang="0">
                  <a:pos x="0" y="1"/>
                </a:cxn>
              </a:cxnLst>
              <a:rect l="0" t="0" r="r" b="b"/>
              <a:pathLst>
                <a:path w="10" h="13">
                  <a:moveTo>
                    <a:pt x="0" y="1"/>
                  </a:moveTo>
                  <a:lnTo>
                    <a:pt x="0" y="0"/>
                  </a:lnTo>
                  <a:lnTo>
                    <a:pt x="3" y="0"/>
                  </a:lnTo>
                  <a:lnTo>
                    <a:pt x="10" y="7"/>
                  </a:lnTo>
                  <a:lnTo>
                    <a:pt x="10" y="11"/>
                  </a:lnTo>
                  <a:lnTo>
                    <a:pt x="10" y="13"/>
                  </a:lnTo>
                  <a:lnTo>
                    <a:pt x="9" y="13"/>
                  </a:lnTo>
                  <a:lnTo>
                    <a:pt x="0"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43" name="Freeform 1325"/>
            <p:cNvSpPr>
              <a:spLocks/>
            </p:cNvSpPr>
            <p:nvPr/>
          </p:nvSpPr>
          <p:spPr bwMode="auto">
            <a:xfrm>
              <a:off x="7443571" y="3244202"/>
              <a:ext cx="5267" cy="4057"/>
            </a:xfrm>
            <a:custGeom>
              <a:avLst/>
              <a:gdLst/>
              <a:ahLst/>
              <a:cxnLst>
                <a:cxn ang="0">
                  <a:pos x="4" y="4"/>
                </a:cxn>
                <a:cxn ang="0">
                  <a:pos x="3" y="4"/>
                </a:cxn>
                <a:cxn ang="0">
                  <a:pos x="1" y="4"/>
                </a:cxn>
                <a:cxn ang="0">
                  <a:pos x="0" y="1"/>
                </a:cxn>
                <a:cxn ang="0">
                  <a:pos x="0" y="1"/>
                </a:cxn>
                <a:cxn ang="0">
                  <a:pos x="1" y="1"/>
                </a:cxn>
                <a:cxn ang="0">
                  <a:pos x="3" y="0"/>
                </a:cxn>
                <a:cxn ang="0">
                  <a:pos x="4" y="0"/>
                </a:cxn>
                <a:cxn ang="0">
                  <a:pos x="6" y="1"/>
                </a:cxn>
                <a:cxn ang="0">
                  <a:pos x="6" y="3"/>
                </a:cxn>
                <a:cxn ang="0">
                  <a:pos x="4" y="4"/>
                </a:cxn>
                <a:cxn ang="0">
                  <a:pos x="4" y="4"/>
                </a:cxn>
              </a:cxnLst>
              <a:rect l="0" t="0" r="r" b="b"/>
              <a:pathLst>
                <a:path w="6" h="4">
                  <a:moveTo>
                    <a:pt x="4" y="4"/>
                  </a:moveTo>
                  <a:lnTo>
                    <a:pt x="3" y="4"/>
                  </a:lnTo>
                  <a:lnTo>
                    <a:pt x="1" y="4"/>
                  </a:lnTo>
                  <a:lnTo>
                    <a:pt x="0" y="1"/>
                  </a:lnTo>
                  <a:lnTo>
                    <a:pt x="0" y="1"/>
                  </a:lnTo>
                  <a:lnTo>
                    <a:pt x="1" y="1"/>
                  </a:lnTo>
                  <a:lnTo>
                    <a:pt x="3" y="0"/>
                  </a:lnTo>
                  <a:lnTo>
                    <a:pt x="4" y="0"/>
                  </a:lnTo>
                  <a:lnTo>
                    <a:pt x="6" y="1"/>
                  </a:lnTo>
                  <a:lnTo>
                    <a:pt x="6" y="3"/>
                  </a:lnTo>
                  <a:lnTo>
                    <a:pt x="4" y="4"/>
                  </a:lnTo>
                  <a:lnTo>
                    <a:pt x="4" y="4"/>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44" name="Freeform 1326"/>
            <p:cNvSpPr>
              <a:spLocks/>
            </p:cNvSpPr>
            <p:nvPr/>
          </p:nvSpPr>
          <p:spPr bwMode="auto">
            <a:xfrm>
              <a:off x="7443571" y="3244202"/>
              <a:ext cx="5267" cy="4057"/>
            </a:xfrm>
            <a:custGeom>
              <a:avLst/>
              <a:gdLst/>
              <a:ahLst/>
              <a:cxnLst>
                <a:cxn ang="0">
                  <a:pos x="4" y="4"/>
                </a:cxn>
                <a:cxn ang="0">
                  <a:pos x="3" y="4"/>
                </a:cxn>
                <a:cxn ang="0">
                  <a:pos x="1" y="4"/>
                </a:cxn>
                <a:cxn ang="0">
                  <a:pos x="0" y="1"/>
                </a:cxn>
                <a:cxn ang="0">
                  <a:pos x="0" y="1"/>
                </a:cxn>
                <a:cxn ang="0">
                  <a:pos x="1" y="1"/>
                </a:cxn>
                <a:cxn ang="0">
                  <a:pos x="3" y="0"/>
                </a:cxn>
                <a:cxn ang="0">
                  <a:pos x="4" y="0"/>
                </a:cxn>
                <a:cxn ang="0">
                  <a:pos x="6" y="1"/>
                </a:cxn>
                <a:cxn ang="0">
                  <a:pos x="6" y="3"/>
                </a:cxn>
                <a:cxn ang="0">
                  <a:pos x="4" y="4"/>
                </a:cxn>
                <a:cxn ang="0">
                  <a:pos x="4" y="4"/>
                </a:cxn>
              </a:cxnLst>
              <a:rect l="0" t="0" r="r" b="b"/>
              <a:pathLst>
                <a:path w="6" h="4">
                  <a:moveTo>
                    <a:pt x="4" y="4"/>
                  </a:moveTo>
                  <a:lnTo>
                    <a:pt x="3" y="4"/>
                  </a:lnTo>
                  <a:lnTo>
                    <a:pt x="1" y="4"/>
                  </a:lnTo>
                  <a:lnTo>
                    <a:pt x="0" y="1"/>
                  </a:lnTo>
                  <a:lnTo>
                    <a:pt x="0" y="1"/>
                  </a:lnTo>
                  <a:lnTo>
                    <a:pt x="1" y="1"/>
                  </a:lnTo>
                  <a:lnTo>
                    <a:pt x="3" y="0"/>
                  </a:lnTo>
                  <a:lnTo>
                    <a:pt x="4" y="0"/>
                  </a:lnTo>
                  <a:lnTo>
                    <a:pt x="6" y="1"/>
                  </a:lnTo>
                  <a:lnTo>
                    <a:pt x="6" y="3"/>
                  </a:lnTo>
                  <a:lnTo>
                    <a:pt x="4" y="4"/>
                  </a:lnTo>
                  <a:lnTo>
                    <a:pt x="4" y="4"/>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45" name="Freeform 1327"/>
            <p:cNvSpPr>
              <a:spLocks/>
            </p:cNvSpPr>
            <p:nvPr/>
          </p:nvSpPr>
          <p:spPr bwMode="auto">
            <a:xfrm>
              <a:off x="7452348" y="3250286"/>
              <a:ext cx="6144" cy="6085"/>
            </a:xfrm>
            <a:custGeom>
              <a:avLst/>
              <a:gdLst/>
              <a:ahLst/>
              <a:cxnLst>
                <a:cxn ang="0">
                  <a:pos x="0" y="0"/>
                </a:cxn>
                <a:cxn ang="0">
                  <a:pos x="1" y="0"/>
                </a:cxn>
                <a:cxn ang="0">
                  <a:pos x="2" y="1"/>
                </a:cxn>
                <a:cxn ang="0">
                  <a:pos x="2" y="1"/>
                </a:cxn>
                <a:cxn ang="0">
                  <a:pos x="5" y="1"/>
                </a:cxn>
                <a:cxn ang="0">
                  <a:pos x="7" y="4"/>
                </a:cxn>
                <a:cxn ang="0">
                  <a:pos x="5" y="6"/>
                </a:cxn>
                <a:cxn ang="0">
                  <a:pos x="4" y="4"/>
                </a:cxn>
                <a:cxn ang="0">
                  <a:pos x="1" y="3"/>
                </a:cxn>
                <a:cxn ang="0">
                  <a:pos x="0" y="0"/>
                </a:cxn>
              </a:cxnLst>
              <a:rect l="0" t="0" r="r" b="b"/>
              <a:pathLst>
                <a:path w="7" h="6">
                  <a:moveTo>
                    <a:pt x="0" y="0"/>
                  </a:moveTo>
                  <a:lnTo>
                    <a:pt x="1" y="0"/>
                  </a:lnTo>
                  <a:lnTo>
                    <a:pt x="2" y="1"/>
                  </a:lnTo>
                  <a:lnTo>
                    <a:pt x="2" y="1"/>
                  </a:lnTo>
                  <a:lnTo>
                    <a:pt x="5" y="1"/>
                  </a:lnTo>
                  <a:lnTo>
                    <a:pt x="7" y="4"/>
                  </a:lnTo>
                  <a:lnTo>
                    <a:pt x="5" y="6"/>
                  </a:lnTo>
                  <a:lnTo>
                    <a:pt x="4" y="4"/>
                  </a:lnTo>
                  <a:lnTo>
                    <a:pt x="1" y="3"/>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46" name="Freeform 1328"/>
            <p:cNvSpPr>
              <a:spLocks/>
            </p:cNvSpPr>
            <p:nvPr/>
          </p:nvSpPr>
          <p:spPr bwMode="auto">
            <a:xfrm>
              <a:off x="7452348" y="3250286"/>
              <a:ext cx="6144" cy="6085"/>
            </a:xfrm>
            <a:custGeom>
              <a:avLst/>
              <a:gdLst/>
              <a:ahLst/>
              <a:cxnLst>
                <a:cxn ang="0">
                  <a:pos x="0" y="0"/>
                </a:cxn>
                <a:cxn ang="0">
                  <a:pos x="1" y="0"/>
                </a:cxn>
                <a:cxn ang="0">
                  <a:pos x="2" y="1"/>
                </a:cxn>
                <a:cxn ang="0">
                  <a:pos x="2" y="1"/>
                </a:cxn>
                <a:cxn ang="0">
                  <a:pos x="5" y="1"/>
                </a:cxn>
                <a:cxn ang="0">
                  <a:pos x="7" y="4"/>
                </a:cxn>
                <a:cxn ang="0">
                  <a:pos x="5" y="6"/>
                </a:cxn>
                <a:cxn ang="0">
                  <a:pos x="4" y="4"/>
                </a:cxn>
                <a:cxn ang="0">
                  <a:pos x="1" y="3"/>
                </a:cxn>
                <a:cxn ang="0">
                  <a:pos x="0" y="0"/>
                </a:cxn>
              </a:cxnLst>
              <a:rect l="0" t="0" r="r" b="b"/>
              <a:pathLst>
                <a:path w="7" h="6">
                  <a:moveTo>
                    <a:pt x="0" y="0"/>
                  </a:moveTo>
                  <a:lnTo>
                    <a:pt x="1" y="0"/>
                  </a:lnTo>
                  <a:lnTo>
                    <a:pt x="2" y="1"/>
                  </a:lnTo>
                  <a:lnTo>
                    <a:pt x="2" y="1"/>
                  </a:lnTo>
                  <a:lnTo>
                    <a:pt x="5" y="1"/>
                  </a:lnTo>
                  <a:lnTo>
                    <a:pt x="7" y="4"/>
                  </a:lnTo>
                  <a:lnTo>
                    <a:pt x="5" y="6"/>
                  </a:lnTo>
                  <a:lnTo>
                    <a:pt x="4" y="4"/>
                  </a:lnTo>
                  <a:lnTo>
                    <a:pt x="1" y="3"/>
                  </a:lnTo>
                  <a:lnTo>
                    <a:pt x="0"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47" name="Freeform 1329"/>
            <p:cNvSpPr>
              <a:spLocks/>
            </p:cNvSpPr>
            <p:nvPr/>
          </p:nvSpPr>
          <p:spPr bwMode="auto">
            <a:xfrm>
              <a:off x="7407580" y="3287809"/>
              <a:ext cx="7901" cy="13184"/>
            </a:xfrm>
            <a:custGeom>
              <a:avLst/>
              <a:gdLst/>
              <a:ahLst/>
              <a:cxnLst>
                <a:cxn ang="0">
                  <a:pos x="1" y="2"/>
                </a:cxn>
                <a:cxn ang="0">
                  <a:pos x="3" y="0"/>
                </a:cxn>
                <a:cxn ang="0">
                  <a:pos x="4" y="2"/>
                </a:cxn>
                <a:cxn ang="0">
                  <a:pos x="7" y="7"/>
                </a:cxn>
                <a:cxn ang="0">
                  <a:pos x="8" y="10"/>
                </a:cxn>
                <a:cxn ang="0">
                  <a:pos x="8" y="12"/>
                </a:cxn>
                <a:cxn ang="0">
                  <a:pos x="7" y="13"/>
                </a:cxn>
                <a:cxn ang="0">
                  <a:pos x="5" y="12"/>
                </a:cxn>
                <a:cxn ang="0">
                  <a:pos x="3" y="10"/>
                </a:cxn>
                <a:cxn ang="0">
                  <a:pos x="0" y="6"/>
                </a:cxn>
                <a:cxn ang="0">
                  <a:pos x="0" y="3"/>
                </a:cxn>
                <a:cxn ang="0">
                  <a:pos x="1" y="2"/>
                </a:cxn>
              </a:cxnLst>
              <a:rect l="0" t="0" r="r" b="b"/>
              <a:pathLst>
                <a:path w="8" h="13">
                  <a:moveTo>
                    <a:pt x="1" y="2"/>
                  </a:moveTo>
                  <a:lnTo>
                    <a:pt x="3" y="0"/>
                  </a:lnTo>
                  <a:lnTo>
                    <a:pt x="4" y="2"/>
                  </a:lnTo>
                  <a:lnTo>
                    <a:pt x="7" y="7"/>
                  </a:lnTo>
                  <a:lnTo>
                    <a:pt x="8" y="10"/>
                  </a:lnTo>
                  <a:lnTo>
                    <a:pt x="8" y="12"/>
                  </a:lnTo>
                  <a:lnTo>
                    <a:pt x="7" y="13"/>
                  </a:lnTo>
                  <a:lnTo>
                    <a:pt x="5" y="12"/>
                  </a:lnTo>
                  <a:lnTo>
                    <a:pt x="3" y="10"/>
                  </a:lnTo>
                  <a:lnTo>
                    <a:pt x="0" y="6"/>
                  </a:lnTo>
                  <a:lnTo>
                    <a:pt x="0" y="3"/>
                  </a:lnTo>
                  <a:lnTo>
                    <a:pt x="1" y="2"/>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48" name="Freeform 1330"/>
            <p:cNvSpPr>
              <a:spLocks/>
            </p:cNvSpPr>
            <p:nvPr/>
          </p:nvSpPr>
          <p:spPr bwMode="auto">
            <a:xfrm>
              <a:off x="7407580" y="3287809"/>
              <a:ext cx="7901" cy="13184"/>
            </a:xfrm>
            <a:custGeom>
              <a:avLst/>
              <a:gdLst/>
              <a:ahLst/>
              <a:cxnLst>
                <a:cxn ang="0">
                  <a:pos x="1" y="2"/>
                </a:cxn>
                <a:cxn ang="0">
                  <a:pos x="3" y="0"/>
                </a:cxn>
                <a:cxn ang="0">
                  <a:pos x="4" y="2"/>
                </a:cxn>
                <a:cxn ang="0">
                  <a:pos x="7" y="7"/>
                </a:cxn>
                <a:cxn ang="0">
                  <a:pos x="8" y="10"/>
                </a:cxn>
                <a:cxn ang="0">
                  <a:pos x="8" y="12"/>
                </a:cxn>
                <a:cxn ang="0">
                  <a:pos x="7" y="13"/>
                </a:cxn>
                <a:cxn ang="0">
                  <a:pos x="5" y="12"/>
                </a:cxn>
                <a:cxn ang="0">
                  <a:pos x="3" y="10"/>
                </a:cxn>
                <a:cxn ang="0">
                  <a:pos x="0" y="6"/>
                </a:cxn>
                <a:cxn ang="0">
                  <a:pos x="0" y="3"/>
                </a:cxn>
                <a:cxn ang="0">
                  <a:pos x="1" y="2"/>
                </a:cxn>
              </a:cxnLst>
              <a:rect l="0" t="0" r="r" b="b"/>
              <a:pathLst>
                <a:path w="8" h="13">
                  <a:moveTo>
                    <a:pt x="1" y="2"/>
                  </a:moveTo>
                  <a:lnTo>
                    <a:pt x="3" y="0"/>
                  </a:lnTo>
                  <a:lnTo>
                    <a:pt x="4" y="2"/>
                  </a:lnTo>
                  <a:lnTo>
                    <a:pt x="7" y="7"/>
                  </a:lnTo>
                  <a:lnTo>
                    <a:pt x="8" y="10"/>
                  </a:lnTo>
                  <a:lnTo>
                    <a:pt x="8" y="12"/>
                  </a:lnTo>
                  <a:lnTo>
                    <a:pt x="7" y="13"/>
                  </a:lnTo>
                  <a:lnTo>
                    <a:pt x="5" y="12"/>
                  </a:lnTo>
                  <a:lnTo>
                    <a:pt x="3" y="10"/>
                  </a:lnTo>
                  <a:lnTo>
                    <a:pt x="0" y="6"/>
                  </a:lnTo>
                  <a:lnTo>
                    <a:pt x="0" y="3"/>
                  </a:lnTo>
                  <a:lnTo>
                    <a:pt x="1" y="2"/>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49" name="Freeform 1331"/>
            <p:cNvSpPr>
              <a:spLocks/>
            </p:cNvSpPr>
            <p:nvPr/>
          </p:nvSpPr>
          <p:spPr bwMode="auto">
            <a:xfrm>
              <a:off x="7480437" y="3279695"/>
              <a:ext cx="4389" cy="5071"/>
            </a:xfrm>
            <a:custGeom>
              <a:avLst/>
              <a:gdLst/>
              <a:ahLst/>
              <a:cxnLst>
                <a:cxn ang="0">
                  <a:pos x="2" y="1"/>
                </a:cxn>
                <a:cxn ang="0">
                  <a:pos x="0" y="1"/>
                </a:cxn>
                <a:cxn ang="0">
                  <a:pos x="2" y="0"/>
                </a:cxn>
                <a:cxn ang="0">
                  <a:pos x="3" y="0"/>
                </a:cxn>
                <a:cxn ang="0">
                  <a:pos x="5" y="3"/>
                </a:cxn>
                <a:cxn ang="0">
                  <a:pos x="5" y="3"/>
                </a:cxn>
                <a:cxn ang="0">
                  <a:pos x="3" y="4"/>
                </a:cxn>
                <a:cxn ang="0">
                  <a:pos x="2" y="3"/>
                </a:cxn>
                <a:cxn ang="0">
                  <a:pos x="2" y="1"/>
                </a:cxn>
              </a:cxnLst>
              <a:rect l="0" t="0" r="r" b="b"/>
              <a:pathLst>
                <a:path w="5" h="4">
                  <a:moveTo>
                    <a:pt x="2" y="1"/>
                  </a:moveTo>
                  <a:lnTo>
                    <a:pt x="0" y="1"/>
                  </a:lnTo>
                  <a:lnTo>
                    <a:pt x="2" y="0"/>
                  </a:lnTo>
                  <a:lnTo>
                    <a:pt x="3" y="0"/>
                  </a:lnTo>
                  <a:lnTo>
                    <a:pt x="5" y="3"/>
                  </a:lnTo>
                  <a:lnTo>
                    <a:pt x="5" y="3"/>
                  </a:lnTo>
                  <a:lnTo>
                    <a:pt x="3" y="4"/>
                  </a:lnTo>
                  <a:lnTo>
                    <a:pt x="2" y="3"/>
                  </a:lnTo>
                  <a:lnTo>
                    <a:pt x="2"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50" name="Freeform 1332"/>
            <p:cNvSpPr>
              <a:spLocks/>
            </p:cNvSpPr>
            <p:nvPr/>
          </p:nvSpPr>
          <p:spPr bwMode="auto">
            <a:xfrm>
              <a:off x="7480437" y="3279695"/>
              <a:ext cx="4389" cy="5071"/>
            </a:xfrm>
            <a:custGeom>
              <a:avLst/>
              <a:gdLst/>
              <a:ahLst/>
              <a:cxnLst>
                <a:cxn ang="0">
                  <a:pos x="2" y="1"/>
                </a:cxn>
                <a:cxn ang="0">
                  <a:pos x="0" y="1"/>
                </a:cxn>
                <a:cxn ang="0">
                  <a:pos x="2" y="0"/>
                </a:cxn>
                <a:cxn ang="0">
                  <a:pos x="3" y="0"/>
                </a:cxn>
                <a:cxn ang="0">
                  <a:pos x="5" y="3"/>
                </a:cxn>
                <a:cxn ang="0">
                  <a:pos x="5" y="3"/>
                </a:cxn>
                <a:cxn ang="0">
                  <a:pos x="3" y="4"/>
                </a:cxn>
                <a:cxn ang="0">
                  <a:pos x="2" y="3"/>
                </a:cxn>
                <a:cxn ang="0">
                  <a:pos x="2" y="1"/>
                </a:cxn>
              </a:cxnLst>
              <a:rect l="0" t="0" r="r" b="b"/>
              <a:pathLst>
                <a:path w="5" h="4">
                  <a:moveTo>
                    <a:pt x="2" y="1"/>
                  </a:moveTo>
                  <a:lnTo>
                    <a:pt x="0" y="1"/>
                  </a:lnTo>
                  <a:lnTo>
                    <a:pt x="2" y="0"/>
                  </a:lnTo>
                  <a:lnTo>
                    <a:pt x="3" y="0"/>
                  </a:lnTo>
                  <a:lnTo>
                    <a:pt x="5" y="3"/>
                  </a:lnTo>
                  <a:lnTo>
                    <a:pt x="5" y="3"/>
                  </a:lnTo>
                  <a:lnTo>
                    <a:pt x="3" y="4"/>
                  </a:lnTo>
                  <a:lnTo>
                    <a:pt x="2" y="3"/>
                  </a:lnTo>
                  <a:lnTo>
                    <a:pt x="2" y="1"/>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51" name="Freeform 1333"/>
            <p:cNvSpPr>
              <a:spLocks/>
            </p:cNvSpPr>
            <p:nvPr/>
          </p:nvSpPr>
          <p:spPr bwMode="auto">
            <a:xfrm>
              <a:off x="7493605" y="3296937"/>
              <a:ext cx="18434" cy="22311"/>
            </a:xfrm>
            <a:custGeom>
              <a:avLst/>
              <a:gdLst/>
              <a:ahLst/>
              <a:cxnLst>
                <a:cxn ang="0">
                  <a:pos x="0" y="6"/>
                </a:cxn>
                <a:cxn ang="0">
                  <a:pos x="2" y="1"/>
                </a:cxn>
                <a:cxn ang="0">
                  <a:pos x="4" y="1"/>
                </a:cxn>
                <a:cxn ang="0">
                  <a:pos x="5" y="1"/>
                </a:cxn>
                <a:cxn ang="0">
                  <a:pos x="7" y="3"/>
                </a:cxn>
                <a:cxn ang="0">
                  <a:pos x="7" y="3"/>
                </a:cxn>
                <a:cxn ang="0">
                  <a:pos x="8" y="3"/>
                </a:cxn>
                <a:cxn ang="0">
                  <a:pos x="8" y="1"/>
                </a:cxn>
                <a:cxn ang="0">
                  <a:pos x="8" y="0"/>
                </a:cxn>
                <a:cxn ang="0">
                  <a:pos x="10" y="0"/>
                </a:cxn>
                <a:cxn ang="0">
                  <a:pos x="14" y="11"/>
                </a:cxn>
                <a:cxn ang="0">
                  <a:pos x="16" y="13"/>
                </a:cxn>
                <a:cxn ang="0">
                  <a:pos x="18" y="14"/>
                </a:cxn>
                <a:cxn ang="0">
                  <a:pos x="21" y="14"/>
                </a:cxn>
                <a:cxn ang="0">
                  <a:pos x="20" y="20"/>
                </a:cxn>
                <a:cxn ang="0">
                  <a:pos x="21" y="22"/>
                </a:cxn>
                <a:cxn ang="0">
                  <a:pos x="20" y="22"/>
                </a:cxn>
                <a:cxn ang="0">
                  <a:pos x="17" y="20"/>
                </a:cxn>
                <a:cxn ang="0">
                  <a:pos x="13" y="19"/>
                </a:cxn>
                <a:cxn ang="0">
                  <a:pos x="11" y="17"/>
                </a:cxn>
                <a:cxn ang="0">
                  <a:pos x="10" y="14"/>
                </a:cxn>
                <a:cxn ang="0">
                  <a:pos x="10" y="13"/>
                </a:cxn>
                <a:cxn ang="0">
                  <a:pos x="8" y="10"/>
                </a:cxn>
                <a:cxn ang="0">
                  <a:pos x="4" y="7"/>
                </a:cxn>
                <a:cxn ang="0">
                  <a:pos x="0" y="7"/>
                </a:cxn>
                <a:cxn ang="0">
                  <a:pos x="0" y="6"/>
                </a:cxn>
              </a:cxnLst>
              <a:rect l="0" t="0" r="r" b="b"/>
              <a:pathLst>
                <a:path w="21" h="22">
                  <a:moveTo>
                    <a:pt x="0" y="6"/>
                  </a:moveTo>
                  <a:lnTo>
                    <a:pt x="2" y="1"/>
                  </a:lnTo>
                  <a:lnTo>
                    <a:pt x="4" y="1"/>
                  </a:lnTo>
                  <a:lnTo>
                    <a:pt x="5" y="1"/>
                  </a:lnTo>
                  <a:lnTo>
                    <a:pt x="7" y="3"/>
                  </a:lnTo>
                  <a:lnTo>
                    <a:pt x="7" y="3"/>
                  </a:lnTo>
                  <a:lnTo>
                    <a:pt x="8" y="3"/>
                  </a:lnTo>
                  <a:lnTo>
                    <a:pt x="8" y="1"/>
                  </a:lnTo>
                  <a:lnTo>
                    <a:pt x="8" y="0"/>
                  </a:lnTo>
                  <a:lnTo>
                    <a:pt x="10" y="0"/>
                  </a:lnTo>
                  <a:lnTo>
                    <a:pt x="14" y="11"/>
                  </a:lnTo>
                  <a:lnTo>
                    <a:pt x="16" y="13"/>
                  </a:lnTo>
                  <a:lnTo>
                    <a:pt x="18" y="14"/>
                  </a:lnTo>
                  <a:lnTo>
                    <a:pt x="21" y="14"/>
                  </a:lnTo>
                  <a:lnTo>
                    <a:pt x="20" y="20"/>
                  </a:lnTo>
                  <a:lnTo>
                    <a:pt x="21" y="22"/>
                  </a:lnTo>
                  <a:lnTo>
                    <a:pt x="20" y="22"/>
                  </a:lnTo>
                  <a:lnTo>
                    <a:pt x="17" y="20"/>
                  </a:lnTo>
                  <a:lnTo>
                    <a:pt x="13" y="19"/>
                  </a:lnTo>
                  <a:lnTo>
                    <a:pt x="11" y="17"/>
                  </a:lnTo>
                  <a:lnTo>
                    <a:pt x="10" y="14"/>
                  </a:lnTo>
                  <a:lnTo>
                    <a:pt x="10" y="13"/>
                  </a:lnTo>
                  <a:lnTo>
                    <a:pt x="8" y="10"/>
                  </a:lnTo>
                  <a:lnTo>
                    <a:pt x="4" y="7"/>
                  </a:lnTo>
                  <a:lnTo>
                    <a:pt x="0" y="7"/>
                  </a:lnTo>
                  <a:lnTo>
                    <a:pt x="0" y="6"/>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52" name="Freeform 1334"/>
            <p:cNvSpPr>
              <a:spLocks/>
            </p:cNvSpPr>
            <p:nvPr/>
          </p:nvSpPr>
          <p:spPr bwMode="auto">
            <a:xfrm>
              <a:off x="7493605" y="3296937"/>
              <a:ext cx="18434" cy="22311"/>
            </a:xfrm>
            <a:custGeom>
              <a:avLst/>
              <a:gdLst/>
              <a:ahLst/>
              <a:cxnLst>
                <a:cxn ang="0">
                  <a:pos x="0" y="6"/>
                </a:cxn>
                <a:cxn ang="0">
                  <a:pos x="2" y="1"/>
                </a:cxn>
                <a:cxn ang="0">
                  <a:pos x="4" y="1"/>
                </a:cxn>
                <a:cxn ang="0">
                  <a:pos x="5" y="1"/>
                </a:cxn>
                <a:cxn ang="0">
                  <a:pos x="7" y="3"/>
                </a:cxn>
                <a:cxn ang="0">
                  <a:pos x="7" y="3"/>
                </a:cxn>
                <a:cxn ang="0">
                  <a:pos x="8" y="3"/>
                </a:cxn>
                <a:cxn ang="0">
                  <a:pos x="8" y="1"/>
                </a:cxn>
                <a:cxn ang="0">
                  <a:pos x="8" y="0"/>
                </a:cxn>
                <a:cxn ang="0">
                  <a:pos x="10" y="0"/>
                </a:cxn>
                <a:cxn ang="0">
                  <a:pos x="14" y="11"/>
                </a:cxn>
                <a:cxn ang="0">
                  <a:pos x="16" y="13"/>
                </a:cxn>
                <a:cxn ang="0">
                  <a:pos x="18" y="14"/>
                </a:cxn>
                <a:cxn ang="0">
                  <a:pos x="21" y="14"/>
                </a:cxn>
                <a:cxn ang="0">
                  <a:pos x="20" y="20"/>
                </a:cxn>
                <a:cxn ang="0">
                  <a:pos x="21" y="22"/>
                </a:cxn>
                <a:cxn ang="0">
                  <a:pos x="20" y="22"/>
                </a:cxn>
                <a:cxn ang="0">
                  <a:pos x="17" y="20"/>
                </a:cxn>
                <a:cxn ang="0">
                  <a:pos x="13" y="19"/>
                </a:cxn>
                <a:cxn ang="0">
                  <a:pos x="11" y="17"/>
                </a:cxn>
                <a:cxn ang="0">
                  <a:pos x="10" y="14"/>
                </a:cxn>
                <a:cxn ang="0">
                  <a:pos x="10" y="13"/>
                </a:cxn>
                <a:cxn ang="0">
                  <a:pos x="8" y="10"/>
                </a:cxn>
                <a:cxn ang="0">
                  <a:pos x="4" y="7"/>
                </a:cxn>
                <a:cxn ang="0">
                  <a:pos x="0" y="7"/>
                </a:cxn>
                <a:cxn ang="0">
                  <a:pos x="0" y="6"/>
                </a:cxn>
              </a:cxnLst>
              <a:rect l="0" t="0" r="r" b="b"/>
              <a:pathLst>
                <a:path w="21" h="22">
                  <a:moveTo>
                    <a:pt x="0" y="6"/>
                  </a:moveTo>
                  <a:lnTo>
                    <a:pt x="2" y="1"/>
                  </a:lnTo>
                  <a:lnTo>
                    <a:pt x="4" y="1"/>
                  </a:lnTo>
                  <a:lnTo>
                    <a:pt x="5" y="1"/>
                  </a:lnTo>
                  <a:lnTo>
                    <a:pt x="7" y="3"/>
                  </a:lnTo>
                  <a:lnTo>
                    <a:pt x="7" y="3"/>
                  </a:lnTo>
                  <a:lnTo>
                    <a:pt x="8" y="3"/>
                  </a:lnTo>
                  <a:lnTo>
                    <a:pt x="8" y="1"/>
                  </a:lnTo>
                  <a:lnTo>
                    <a:pt x="8" y="0"/>
                  </a:lnTo>
                  <a:lnTo>
                    <a:pt x="10" y="0"/>
                  </a:lnTo>
                  <a:lnTo>
                    <a:pt x="14" y="11"/>
                  </a:lnTo>
                  <a:lnTo>
                    <a:pt x="16" y="13"/>
                  </a:lnTo>
                  <a:lnTo>
                    <a:pt x="18" y="14"/>
                  </a:lnTo>
                  <a:lnTo>
                    <a:pt x="21" y="14"/>
                  </a:lnTo>
                  <a:lnTo>
                    <a:pt x="20" y="20"/>
                  </a:lnTo>
                  <a:lnTo>
                    <a:pt x="21" y="22"/>
                  </a:lnTo>
                  <a:lnTo>
                    <a:pt x="20" y="22"/>
                  </a:lnTo>
                  <a:lnTo>
                    <a:pt x="17" y="20"/>
                  </a:lnTo>
                  <a:lnTo>
                    <a:pt x="13" y="19"/>
                  </a:lnTo>
                  <a:lnTo>
                    <a:pt x="11" y="17"/>
                  </a:lnTo>
                  <a:lnTo>
                    <a:pt x="10" y="14"/>
                  </a:lnTo>
                  <a:lnTo>
                    <a:pt x="10" y="13"/>
                  </a:lnTo>
                  <a:lnTo>
                    <a:pt x="8" y="10"/>
                  </a:lnTo>
                  <a:lnTo>
                    <a:pt x="4" y="7"/>
                  </a:lnTo>
                  <a:lnTo>
                    <a:pt x="0" y="7"/>
                  </a:lnTo>
                  <a:lnTo>
                    <a:pt x="0" y="6"/>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53" name="Freeform 1335"/>
            <p:cNvSpPr>
              <a:spLocks/>
            </p:cNvSpPr>
            <p:nvPr/>
          </p:nvSpPr>
          <p:spPr bwMode="auto">
            <a:xfrm>
              <a:off x="7523450" y="3311134"/>
              <a:ext cx="8777" cy="12170"/>
            </a:xfrm>
            <a:custGeom>
              <a:avLst/>
              <a:gdLst/>
              <a:ahLst/>
              <a:cxnLst>
                <a:cxn ang="0">
                  <a:pos x="1" y="0"/>
                </a:cxn>
                <a:cxn ang="0">
                  <a:pos x="3" y="0"/>
                </a:cxn>
                <a:cxn ang="0">
                  <a:pos x="6" y="0"/>
                </a:cxn>
                <a:cxn ang="0">
                  <a:pos x="9" y="2"/>
                </a:cxn>
                <a:cxn ang="0">
                  <a:pos x="10" y="3"/>
                </a:cxn>
                <a:cxn ang="0">
                  <a:pos x="10" y="6"/>
                </a:cxn>
                <a:cxn ang="0">
                  <a:pos x="10" y="8"/>
                </a:cxn>
                <a:cxn ang="0">
                  <a:pos x="9" y="9"/>
                </a:cxn>
                <a:cxn ang="0">
                  <a:pos x="7" y="11"/>
                </a:cxn>
                <a:cxn ang="0">
                  <a:pos x="6" y="9"/>
                </a:cxn>
                <a:cxn ang="0">
                  <a:pos x="4" y="9"/>
                </a:cxn>
                <a:cxn ang="0">
                  <a:pos x="3" y="9"/>
                </a:cxn>
                <a:cxn ang="0">
                  <a:pos x="1" y="9"/>
                </a:cxn>
                <a:cxn ang="0">
                  <a:pos x="0" y="5"/>
                </a:cxn>
                <a:cxn ang="0">
                  <a:pos x="0" y="3"/>
                </a:cxn>
                <a:cxn ang="0">
                  <a:pos x="1" y="2"/>
                </a:cxn>
                <a:cxn ang="0">
                  <a:pos x="1" y="0"/>
                </a:cxn>
              </a:cxnLst>
              <a:rect l="0" t="0" r="r" b="b"/>
              <a:pathLst>
                <a:path w="10" h="11">
                  <a:moveTo>
                    <a:pt x="1" y="0"/>
                  </a:moveTo>
                  <a:lnTo>
                    <a:pt x="3" y="0"/>
                  </a:lnTo>
                  <a:lnTo>
                    <a:pt x="6" y="0"/>
                  </a:lnTo>
                  <a:lnTo>
                    <a:pt x="9" y="2"/>
                  </a:lnTo>
                  <a:lnTo>
                    <a:pt x="10" y="3"/>
                  </a:lnTo>
                  <a:lnTo>
                    <a:pt x="10" y="6"/>
                  </a:lnTo>
                  <a:lnTo>
                    <a:pt x="10" y="8"/>
                  </a:lnTo>
                  <a:lnTo>
                    <a:pt x="9" y="9"/>
                  </a:lnTo>
                  <a:lnTo>
                    <a:pt x="7" y="11"/>
                  </a:lnTo>
                  <a:lnTo>
                    <a:pt x="6" y="9"/>
                  </a:lnTo>
                  <a:lnTo>
                    <a:pt x="4" y="9"/>
                  </a:lnTo>
                  <a:lnTo>
                    <a:pt x="3" y="9"/>
                  </a:lnTo>
                  <a:lnTo>
                    <a:pt x="1" y="9"/>
                  </a:lnTo>
                  <a:lnTo>
                    <a:pt x="0" y="5"/>
                  </a:lnTo>
                  <a:lnTo>
                    <a:pt x="0" y="3"/>
                  </a:lnTo>
                  <a:lnTo>
                    <a:pt x="1" y="2"/>
                  </a:lnTo>
                  <a:lnTo>
                    <a:pt x="1"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54" name="Freeform 1336"/>
            <p:cNvSpPr>
              <a:spLocks/>
            </p:cNvSpPr>
            <p:nvPr/>
          </p:nvSpPr>
          <p:spPr bwMode="auto">
            <a:xfrm>
              <a:off x="7523450" y="3311134"/>
              <a:ext cx="8777" cy="12170"/>
            </a:xfrm>
            <a:custGeom>
              <a:avLst/>
              <a:gdLst/>
              <a:ahLst/>
              <a:cxnLst>
                <a:cxn ang="0">
                  <a:pos x="1" y="0"/>
                </a:cxn>
                <a:cxn ang="0">
                  <a:pos x="3" y="0"/>
                </a:cxn>
                <a:cxn ang="0">
                  <a:pos x="6" y="0"/>
                </a:cxn>
                <a:cxn ang="0">
                  <a:pos x="9" y="2"/>
                </a:cxn>
                <a:cxn ang="0">
                  <a:pos x="10" y="3"/>
                </a:cxn>
                <a:cxn ang="0">
                  <a:pos x="10" y="6"/>
                </a:cxn>
                <a:cxn ang="0">
                  <a:pos x="10" y="8"/>
                </a:cxn>
                <a:cxn ang="0">
                  <a:pos x="9" y="9"/>
                </a:cxn>
                <a:cxn ang="0">
                  <a:pos x="7" y="11"/>
                </a:cxn>
                <a:cxn ang="0">
                  <a:pos x="6" y="9"/>
                </a:cxn>
                <a:cxn ang="0">
                  <a:pos x="4" y="9"/>
                </a:cxn>
                <a:cxn ang="0">
                  <a:pos x="3" y="9"/>
                </a:cxn>
                <a:cxn ang="0">
                  <a:pos x="1" y="9"/>
                </a:cxn>
                <a:cxn ang="0">
                  <a:pos x="0" y="5"/>
                </a:cxn>
                <a:cxn ang="0">
                  <a:pos x="0" y="3"/>
                </a:cxn>
                <a:cxn ang="0">
                  <a:pos x="1" y="2"/>
                </a:cxn>
                <a:cxn ang="0">
                  <a:pos x="1" y="0"/>
                </a:cxn>
              </a:cxnLst>
              <a:rect l="0" t="0" r="r" b="b"/>
              <a:pathLst>
                <a:path w="10" h="11">
                  <a:moveTo>
                    <a:pt x="1" y="0"/>
                  </a:moveTo>
                  <a:lnTo>
                    <a:pt x="3" y="0"/>
                  </a:lnTo>
                  <a:lnTo>
                    <a:pt x="6" y="0"/>
                  </a:lnTo>
                  <a:lnTo>
                    <a:pt x="9" y="2"/>
                  </a:lnTo>
                  <a:lnTo>
                    <a:pt x="10" y="3"/>
                  </a:lnTo>
                  <a:lnTo>
                    <a:pt x="10" y="6"/>
                  </a:lnTo>
                  <a:lnTo>
                    <a:pt x="10" y="8"/>
                  </a:lnTo>
                  <a:lnTo>
                    <a:pt x="9" y="9"/>
                  </a:lnTo>
                  <a:lnTo>
                    <a:pt x="7" y="11"/>
                  </a:lnTo>
                  <a:lnTo>
                    <a:pt x="6" y="9"/>
                  </a:lnTo>
                  <a:lnTo>
                    <a:pt x="4" y="9"/>
                  </a:lnTo>
                  <a:lnTo>
                    <a:pt x="3" y="9"/>
                  </a:lnTo>
                  <a:lnTo>
                    <a:pt x="1" y="9"/>
                  </a:lnTo>
                  <a:lnTo>
                    <a:pt x="0" y="5"/>
                  </a:lnTo>
                  <a:lnTo>
                    <a:pt x="0" y="3"/>
                  </a:lnTo>
                  <a:lnTo>
                    <a:pt x="1" y="2"/>
                  </a:lnTo>
                  <a:lnTo>
                    <a:pt x="1"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55" name="Freeform 1337"/>
            <p:cNvSpPr>
              <a:spLocks/>
            </p:cNvSpPr>
            <p:nvPr/>
          </p:nvSpPr>
          <p:spPr bwMode="auto">
            <a:xfrm>
              <a:off x="7493605" y="3361841"/>
              <a:ext cx="120259" cy="44621"/>
            </a:xfrm>
            <a:custGeom>
              <a:avLst/>
              <a:gdLst/>
              <a:ahLst/>
              <a:cxnLst>
                <a:cxn ang="0">
                  <a:pos x="94" y="34"/>
                </a:cxn>
                <a:cxn ang="0">
                  <a:pos x="85" y="34"/>
                </a:cxn>
                <a:cxn ang="0">
                  <a:pos x="84" y="34"/>
                </a:cxn>
                <a:cxn ang="0">
                  <a:pos x="69" y="28"/>
                </a:cxn>
                <a:cxn ang="0">
                  <a:pos x="55" y="27"/>
                </a:cxn>
                <a:cxn ang="0">
                  <a:pos x="53" y="27"/>
                </a:cxn>
                <a:cxn ang="0">
                  <a:pos x="49" y="25"/>
                </a:cxn>
                <a:cxn ang="0">
                  <a:pos x="47" y="28"/>
                </a:cxn>
                <a:cxn ang="0">
                  <a:pos x="17" y="19"/>
                </a:cxn>
                <a:cxn ang="0">
                  <a:pos x="18" y="16"/>
                </a:cxn>
                <a:cxn ang="0">
                  <a:pos x="0" y="11"/>
                </a:cxn>
                <a:cxn ang="0">
                  <a:pos x="1" y="11"/>
                </a:cxn>
                <a:cxn ang="0">
                  <a:pos x="4" y="12"/>
                </a:cxn>
                <a:cxn ang="0">
                  <a:pos x="5" y="9"/>
                </a:cxn>
                <a:cxn ang="0">
                  <a:pos x="11" y="2"/>
                </a:cxn>
                <a:cxn ang="0">
                  <a:pos x="23" y="2"/>
                </a:cxn>
                <a:cxn ang="0">
                  <a:pos x="30" y="0"/>
                </a:cxn>
                <a:cxn ang="0">
                  <a:pos x="31" y="5"/>
                </a:cxn>
                <a:cxn ang="0">
                  <a:pos x="46" y="9"/>
                </a:cxn>
                <a:cxn ang="0">
                  <a:pos x="59" y="13"/>
                </a:cxn>
                <a:cxn ang="0">
                  <a:pos x="72" y="15"/>
                </a:cxn>
                <a:cxn ang="0">
                  <a:pos x="76" y="11"/>
                </a:cxn>
                <a:cxn ang="0">
                  <a:pos x="78" y="8"/>
                </a:cxn>
                <a:cxn ang="0">
                  <a:pos x="82" y="11"/>
                </a:cxn>
                <a:cxn ang="0">
                  <a:pos x="87" y="12"/>
                </a:cxn>
                <a:cxn ang="0">
                  <a:pos x="97" y="13"/>
                </a:cxn>
                <a:cxn ang="0">
                  <a:pos x="103" y="15"/>
                </a:cxn>
                <a:cxn ang="0">
                  <a:pos x="107" y="21"/>
                </a:cxn>
                <a:cxn ang="0">
                  <a:pos x="113" y="27"/>
                </a:cxn>
                <a:cxn ang="0">
                  <a:pos x="127" y="25"/>
                </a:cxn>
                <a:cxn ang="0">
                  <a:pos x="129" y="37"/>
                </a:cxn>
                <a:cxn ang="0">
                  <a:pos x="130" y="41"/>
                </a:cxn>
                <a:cxn ang="0">
                  <a:pos x="113" y="35"/>
                </a:cxn>
                <a:cxn ang="0">
                  <a:pos x="97" y="34"/>
                </a:cxn>
              </a:cxnLst>
              <a:rect l="0" t="0" r="r" b="b"/>
              <a:pathLst>
                <a:path w="132" h="43">
                  <a:moveTo>
                    <a:pt x="97" y="34"/>
                  </a:moveTo>
                  <a:lnTo>
                    <a:pt x="94" y="34"/>
                  </a:lnTo>
                  <a:lnTo>
                    <a:pt x="91" y="35"/>
                  </a:lnTo>
                  <a:lnTo>
                    <a:pt x="85" y="34"/>
                  </a:lnTo>
                  <a:lnTo>
                    <a:pt x="84" y="32"/>
                  </a:lnTo>
                  <a:lnTo>
                    <a:pt x="84" y="34"/>
                  </a:lnTo>
                  <a:lnTo>
                    <a:pt x="78" y="34"/>
                  </a:lnTo>
                  <a:lnTo>
                    <a:pt x="69" y="28"/>
                  </a:lnTo>
                  <a:lnTo>
                    <a:pt x="56" y="25"/>
                  </a:lnTo>
                  <a:lnTo>
                    <a:pt x="55" y="27"/>
                  </a:lnTo>
                  <a:lnTo>
                    <a:pt x="53" y="27"/>
                  </a:lnTo>
                  <a:lnTo>
                    <a:pt x="53" y="27"/>
                  </a:lnTo>
                  <a:lnTo>
                    <a:pt x="52" y="25"/>
                  </a:lnTo>
                  <a:lnTo>
                    <a:pt x="49" y="25"/>
                  </a:lnTo>
                  <a:lnTo>
                    <a:pt x="47" y="27"/>
                  </a:lnTo>
                  <a:lnTo>
                    <a:pt x="47" y="28"/>
                  </a:lnTo>
                  <a:lnTo>
                    <a:pt x="17" y="21"/>
                  </a:lnTo>
                  <a:lnTo>
                    <a:pt x="17" y="19"/>
                  </a:lnTo>
                  <a:lnTo>
                    <a:pt x="18" y="16"/>
                  </a:lnTo>
                  <a:lnTo>
                    <a:pt x="18" y="16"/>
                  </a:lnTo>
                  <a:lnTo>
                    <a:pt x="1" y="12"/>
                  </a:lnTo>
                  <a:lnTo>
                    <a:pt x="0" y="11"/>
                  </a:lnTo>
                  <a:lnTo>
                    <a:pt x="1" y="11"/>
                  </a:lnTo>
                  <a:lnTo>
                    <a:pt x="1" y="11"/>
                  </a:lnTo>
                  <a:lnTo>
                    <a:pt x="2" y="12"/>
                  </a:lnTo>
                  <a:lnTo>
                    <a:pt x="4" y="12"/>
                  </a:lnTo>
                  <a:lnTo>
                    <a:pt x="5" y="11"/>
                  </a:lnTo>
                  <a:lnTo>
                    <a:pt x="5" y="9"/>
                  </a:lnTo>
                  <a:lnTo>
                    <a:pt x="7" y="9"/>
                  </a:lnTo>
                  <a:lnTo>
                    <a:pt x="11" y="2"/>
                  </a:lnTo>
                  <a:lnTo>
                    <a:pt x="14" y="0"/>
                  </a:lnTo>
                  <a:lnTo>
                    <a:pt x="23" y="2"/>
                  </a:lnTo>
                  <a:lnTo>
                    <a:pt x="26" y="0"/>
                  </a:lnTo>
                  <a:lnTo>
                    <a:pt x="30" y="0"/>
                  </a:lnTo>
                  <a:lnTo>
                    <a:pt x="31" y="2"/>
                  </a:lnTo>
                  <a:lnTo>
                    <a:pt x="31" y="5"/>
                  </a:lnTo>
                  <a:lnTo>
                    <a:pt x="43" y="6"/>
                  </a:lnTo>
                  <a:lnTo>
                    <a:pt x="46" y="9"/>
                  </a:lnTo>
                  <a:lnTo>
                    <a:pt x="47" y="13"/>
                  </a:lnTo>
                  <a:lnTo>
                    <a:pt x="59" y="13"/>
                  </a:lnTo>
                  <a:lnTo>
                    <a:pt x="61" y="13"/>
                  </a:lnTo>
                  <a:lnTo>
                    <a:pt x="72" y="15"/>
                  </a:lnTo>
                  <a:lnTo>
                    <a:pt x="74" y="15"/>
                  </a:lnTo>
                  <a:lnTo>
                    <a:pt x="76" y="11"/>
                  </a:lnTo>
                  <a:lnTo>
                    <a:pt x="76" y="9"/>
                  </a:lnTo>
                  <a:lnTo>
                    <a:pt x="78" y="8"/>
                  </a:lnTo>
                  <a:lnTo>
                    <a:pt x="81" y="8"/>
                  </a:lnTo>
                  <a:lnTo>
                    <a:pt x="82" y="11"/>
                  </a:lnTo>
                  <a:lnTo>
                    <a:pt x="84" y="12"/>
                  </a:lnTo>
                  <a:lnTo>
                    <a:pt x="87" y="12"/>
                  </a:lnTo>
                  <a:lnTo>
                    <a:pt x="88" y="11"/>
                  </a:lnTo>
                  <a:lnTo>
                    <a:pt x="97" y="13"/>
                  </a:lnTo>
                  <a:lnTo>
                    <a:pt x="101" y="13"/>
                  </a:lnTo>
                  <a:lnTo>
                    <a:pt x="103" y="15"/>
                  </a:lnTo>
                  <a:lnTo>
                    <a:pt x="106" y="19"/>
                  </a:lnTo>
                  <a:lnTo>
                    <a:pt x="107" y="21"/>
                  </a:lnTo>
                  <a:lnTo>
                    <a:pt x="107" y="25"/>
                  </a:lnTo>
                  <a:lnTo>
                    <a:pt x="113" y="27"/>
                  </a:lnTo>
                  <a:lnTo>
                    <a:pt x="124" y="25"/>
                  </a:lnTo>
                  <a:lnTo>
                    <a:pt x="127" y="25"/>
                  </a:lnTo>
                  <a:lnTo>
                    <a:pt x="130" y="28"/>
                  </a:lnTo>
                  <a:lnTo>
                    <a:pt x="129" y="37"/>
                  </a:lnTo>
                  <a:lnTo>
                    <a:pt x="132" y="43"/>
                  </a:lnTo>
                  <a:lnTo>
                    <a:pt x="130" y="41"/>
                  </a:lnTo>
                  <a:lnTo>
                    <a:pt x="129" y="40"/>
                  </a:lnTo>
                  <a:lnTo>
                    <a:pt x="113" y="35"/>
                  </a:lnTo>
                  <a:lnTo>
                    <a:pt x="106" y="37"/>
                  </a:lnTo>
                  <a:lnTo>
                    <a:pt x="97" y="34"/>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56" name="Freeform 1338"/>
            <p:cNvSpPr>
              <a:spLocks/>
            </p:cNvSpPr>
            <p:nvPr/>
          </p:nvSpPr>
          <p:spPr bwMode="auto">
            <a:xfrm>
              <a:off x="7493605" y="3361841"/>
              <a:ext cx="120259" cy="44621"/>
            </a:xfrm>
            <a:custGeom>
              <a:avLst/>
              <a:gdLst/>
              <a:ahLst/>
              <a:cxnLst>
                <a:cxn ang="0">
                  <a:pos x="94" y="34"/>
                </a:cxn>
                <a:cxn ang="0">
                  <a:pos x="85" y="34"/>
                </a:cxn>
                <a:cxn ang="0">
                  <a:pos x="84" y="34"/>
                </a:cxn>
                <a:cxn ang="0">
                  <a:pos x="69" y="28"/>
                </a:cxn>
                <a:cxn ang="0">
                  <a:pos x="55" y="27"/>
                </a:cxn>
                <a:cxn ang="0">
                  <a:pos x="53" y="27"/>
                </a:cxn>
                <a:cxn ang="0">
                  <a:pos x="49" y="25"/>
                </a:cxn>
                <a:cxn ang="0">
                  <a:pos x="47" y="28"/>
                </a:cxn>
                <a:cxn ang="0">
                  <a:pos x="17" y="19"/>
                </a:cxn>
                <a:cxn ang="0">
                  <a:pos x="18" y="16"/>
                </a:cxn>
                <a:cxn ang="0">
                  <a:pos x="0" y="11"/>
                </a:cxn>
                <a:cxn ang="0">
                  <a:pos x="1" y="11"/>
                </a:cxn>
                <a:cxn ang="0">
                  <a:pos x="4" y="12"/>
                </a:cxn>
                <a:cxn ang="0">
                  <a:pos x="5" y="9"/>
                </a:cxn>
                <a:cxn ang="0">
                  <a:pos x="11" y="2"/>
                </a:cxn>
                <a:cxn ang="0">
                  <a:pos x="23" y="2"/>
                </a:cxn>
                <a:cxn ang="0">
                  <a:pos x="30" y="0"/>
                </a:cxn>
                <a:cxn ang="0">
                  <a:pos x="31" y="5"/>
                </a:cxn>
                <a:cxn ang="0">
                  <a:pos x="46" y="9"/>
                </a:cxn>
                <a:cxn ang="0">
                  <a:pos x="59" y="13"/>
                </a:cxn>
                <a:cxn ang="0">
                  <a:pos x="72" y="15"/>
                </a:cxn>
                <a:cxn ang="0">
                  <a:pos x="76" y="11"/>
                </a:cxn>
                <a:cxn ang="0">
                  <a:pos x="78" y="8"/>
                </a:cxn>
                <a:cxn ang="0">
                  <a:pos x="82" y="11"/>
                </a:cxn>
                <a:cxn ang="0">
                  <a:pos x="87" y="12"/>
                </a:cxn>
                <a:cxn ang="0">
                  <a:pos x="97" y="13"/>
                </a:cxn>
                <a:cxn ang="0">
                  <a:pos x="103" y="15"/>
                </a:cxn>
                <a:cxn ang="0">
                  <a:pos x="107" y="21"/>
                </a:cxn>
                <a:cxn ang="0">
                  <a:pos x="113" y="27"/>
                </a:cxn>
                <a:cxn ang="0">
                  <a:pos x="127" y="25"/>
                </a:cxn>
                <a:cxn ang="0">
                  <a:pos x="129" y="37"/>
                </a:cxn>
                <a:cxn ang="0">
                  <a:pos x="130" y="41"/>
                </a:cxn>
                <a:cxn ang="0">
                  <a:pos x="113" y="35"/>
                </a:cxn>
                <a:cxn ang="0">
                  <a:pos x="97" y="34"/>
                </a:cxn>
              </a:cxnLst>
              <a:rect l="0" t="0" r="r" b="b"/>
              <a:pathLst>
                <a:path w="132" h="43">
                  <a:moveTo>
                    <a:pt x="97" y="34"/>
                  </a:moveTo>
                  <a:lnTo>
                    <a:pt x="94" y="34"/>
                  </a:lnTo>
                  <a:lnTo>
                    <a:pt x="91" y="35"/>
                  </a:lnTo>
                  <a:lnTo>
                    <a:pt x="85" y="34"/>
                  </a:lnTo>
                  <a:lnTo>
                    <a:pt x="84" y="32"/>
                  </a:lnTo>
                  <a:lnTo>
                    <a:pt x="84" y="34"/>
                  </a:lnTo>
                  <a:lnTo>
                    <a:pt x="78" y="34"/>
                  </a:lnTo>
                  <a:lnTo>
                    <a:pt x="69" y="28"/>
                  </a:lnTo>
                  <a:lnTo>
                    <a:pt x="56" y="25"/>
                  </a:lnTo>
                  <a:lnTo>
                    <a:pt x="55" y="27"/>
                  </a:lnTo>
                  <a:lnTo>
                    <a:pt x="53" y="27"/>
                  </a:lnTo>
                  <a:lnTo>
                    <a:pt x="53" y="27"/>
                  </a:lnTo>
                  <a:lnTo>
                    <a:pt x="52" y="25"/>
                  </a:lnTo>
                  <a:lnTo>
                    <a:pt x="49" y="25"/>
                  </a:lnTo>
                  <a:lnTo>
                    <a:pt x="47" y="27"/>
                  </a:lnTo>
                  <a:lnTo>
                    <a:pt x="47" y="28"/>
                  </a:lnTo>
                  <a:lnTo>
                    <a:pt x="17" y="21"/>
                  </a:lnTo>
                  <a:lnTo>
                    <a:pt x="17" y="19"/>
                  </a:lnTo>
                  <a:lnTo>
                    <a:pt x="18" y="16"/>
                  </a:lnTo>
                  <a:lnTo>
                    <a:pt x="18" y="16"/>
                  </a:lnTo>
                  <a:lnTo>
                    <a:pt x="1" y="12"/>
                  </a:lnTo>
                  <a:lnTo>
                    <a:pt x="0" y="11"/>
                  </a:lnTo>
                  <a:lnTo>
                    <a:pt x="1" y="11"/>
                  </a:lnTo>
                  <a:lnTo>
                    <a:pt x="1" y="11"/>
                  </a:lnTo>
                  <a:lnTo>
                    <a:pt x="2" y="12"/>
                  </a:lnTo>
                  <a:lnTo>
                    <a:pt x="4" y="12"/>
                  </a:lnTo>
                  <a:lnTo>
                    <a:pt x="5" y="11"/>
                  </a:lnTo>
                  <a:lnTo>
                    <a:pt x="5" y="9"/>
                  </a:lnTo>
                  <a:lnTo>
                    <a:pt x="7" y="9"/>
                  </a:lnTo>
                  <a:lnTo>
                    <a:pt x="11" y="2"/>
                  </a:lnTo>
                  <a:lnTo>
                    <a:pt x="14" y="0"/>
                  </a:lnTo>
                  <a:lnTo>
                    <a:pt x="23" y="2"/>
                  </a:lnTo>
                  <a:lnTo>
                    <a:pt x="26" y="0"/>
                  </a:lnTo>
                  <a:lnTo>
                    <a:pt x="30" y="0"/>
                  </a:lnTo>
                  <a:lnTo>
                    <a:pt x="31" y="2"/>
                  </a:lnTo>
                  <a:lnTo>
                    <a:pt x="31" y="5"/>
                  </a:lnTo>
                  <a:lnTo>
                    <a:pt x="43" y="6"/>
                  </a:lnTo>
                  <a:lnTo>
                    <a:pt x="46" y="9"/>
                  </a:lnTo>
                  <a:lnTo>
                    <a:pt x="47" y="13"/>
                  </a:lnTo>
                  <a:lnTo>
                    <a:pt x="59" y="13"/>
                  </a:lnTo>
                  <a:lnTo>
                    <a:pt x="61" y="13"/>
                  </a:lnTo>
                  <a:lnTo>
                    <a:pt x="72" y="15"/>
                  </a:lnTo>
                  <a:lnTo>
                    <a:pt x="74" y="15"/>
                  </a:lnTo>
                  <a:lnTo>
                    <a:pt x="76" y="11"/>
                  </a:lnTo>
                  <a:lnTo>
                    <a:pt x="76" y="9"/>
                  </a:lnTo>
                  <a:lnTo>
                    <a:pt x="78" y="8"/>
                  </a:lnTo>
                  <a:lnTo>
                    <a:pt x="81" y="8"/>
                  </a:lnTo>
                  <a:lnTo>
                    <a:pt x="82" y="11"/>
                  </a:lnTo>
                  <a:lnTo>
                    <a:pt x="84" y="12"/>
                  </a:lnTo>
                  <a:lnTo>
                    <a:pt x="87" y="12"/>
                  </a:lnTo>
                  <a:lnTo>
                    <a:pt x="88" y="11"/>
                  </a:lnTo>
                  <a:lnTo>
                    <a:pt x="97" y="13"/>
                  </a:lnTo>
                  <a:lnTo>
                    <a:pt x="101" y="13"/>
                  </a:lnTo>
                  <a:lnTo>
                    <a:pt x="103" y="15"/>
                  </a:lnTo>
                  <a:lnTo>
                    <a:pt x="106" y="19"/>
                  </a:lnTo>
                  <a:lnTo>
                    <a:pt x="107" y="21"/>
                  </a:lnTo>
                  <a:lnTo>
                    <a:pt x="107" y="25"/>
                  </a:lnTo>
                  <a:lnTo>
                    <a:pt x="113" y="27"/>
                  </a:lnTo>
                  <a:lnTo>
                    <a:pt x="124" y="25"/>
                  </a:lnTo>
                  <a:lnTo>
                    <a:pt x="127" y="25"/>
                  </a:lnTo>
                  <a:lnTo>
                    <a:pt x="130" y="28"/>
                  </a:lnTo>
                  <a:lnTo>
                    <a:pt x="129" y="37"/>
                  </a:lnTo>
                  <a:lnTo>
                    <a:pt x="132" y="43"/>
                  </a:lnTo>
                  <a:lnTo>
                    <a:pt x="130" y="41"/>
                  </a:lnTo>
                  <a:lnTo>
                    <a:pt x="129" y="40"/>
                  </a:lnTo>
                  <a:lnTo>
                    <a:pt x="113" y="35"/>
                  </a:lnTo>
                  <a:lnTo>
                    <a:pt x="106" y="37"/>
                  </a:lnTo>
                  <a:lnTo>
                    <a:pt x="97" y="34"/>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57" name="Freeform 1339"/>
            <p:cNvSpPr>
              <a:spLocks/>
            </p:cNvSpPr>
            <p:nvPr/>
          </p:nvSpPr>
          <p:spPr bwMode="auto">
            <a:xfrm>
              <a:off x="7633176" y="3323304"/>
              <a:ext cx="5267" cy="11155"/>
            </a:xfrm>
            <a:custGeom>
              <a:avLst/>
              <a:gdLst/>
              <a:ahLst/>
              <a:cxnLst>
                <a:cxn ang="0">
                  <a:pos x="3" y="1"/>
                </a:cxn>
                <a:cxn ang="0">
                  <a:pos x="3" y="1"/>
                </a:cxn>
                <a:cxn ang="0">
                  <a:pos x="5" y="8"/>
                </a:cxn>
                <a:cxn ang="0">
                  <a:pos x="3" y="11"/>
                </a:cxn>
                <a:cxn ang="0">
                  <a:pos x="2" y="11"/>
                </a:cxn>
                <a:cxn ang="0">
                  <a:pos x="0" y="4"/>
                </a:cxn>
                <a:cxn ang="0">
                  <a:pos x="2" y="1"/>
                </a:cxn>
                <a:cxn ang="0">
                  <a:pos x="2" y="0"/>
                </a:cxn>
                <a:cxn ang="0">
                  <a:pos x="3" y="1"/>
                </a:cxn>
              </a:cxnLst>
              <a:rect l="0" t="0" r="r" b="b"/>
              <a:pathLst>
                <a:path w="5" h="11">
                  <a:moveTo>
                    <a:pt x="3" y="1"/>
                  </a:moveTo>
                  <a:lnTo>
                    <a:pt x="3" y="1"/>
                  </a:lnTo>
                  <a:lnTo>
                    <a:pt x="5" y="8"/>
                  </a:lnTo>
                  <a:lnTo>
                    <a:pt x="3" y="11"/>
                  </a:lnTo>
                  <a:lnTo>
                    <a:pt x="2" y="11"/>
                  </a:lnTo>
                  <a:lnTo>
                    <a:pt x="0" y="4"/>
                  </a:lnTo>
                  <a:lnTo>
                    <a:pt x="2" y="1"/>
                  </a:lnTo>
                  <a:lnTo>
                    <a:pt x="2" y="0"/>
                  </a:lnTo>
                  <a:lnTo>
                    <a:pt x="3"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58" name="Freeform 1340"/>
            <p:cNvSpPr>
              <a:spLocks/>
            </p:cNvSpPr>
            <p:nvPr/>
          </p:nvSpPr>
          <p:spPr bwMode="auto">
            <a:xfrm>
              <a:off x="7633176" y="3323304"/>
              <a:ext cx="5267" cy="11155"/>
            </a:xfrm>
            <a:custGeom>
              <a:avLst/>
              <a:gdLst/>
              <a:ahLst/>
              <a:cxnLst>
                <a:cxn ang="0">
                  <a:pos x="3" y="1"/>
                </a:cxn>
                <a:cxn ang="0">
                  <a:pos x="3" y="1"/>
                </a:cxn>
                <a:cxn ang="0">
                  <a:pos x="5" y="8"/>
                </a:cxn>
                <a:cxn ang="0">
                  <a:pos x="3" y="11"/>
                </a:cxn>
                <a:cxn ang="0">
                  <a:pos x="2" y="11"/>
                </a:cxn>
                <a:cxn ang="0">
                  <a:pos x="0" y="4"/>
                </a:cxn>
                <a:cxn ang="0">
                  <a:pos x="2" y="1"/>
                </a:cxn>
                <a:cxn ang="0">
                  <a:pos x="2" y="0"/>
                </a:cxn>
                <a:cxn ang="0">
                  <a:pos x="3" y="1"/>
                </a:cxn>
              </a:cxnLst>
              <a:rect l="0" t="0" r="r" b="b"/>
              <a:pathLst>
                <a:path w="5" h="11">
                  <a:moveTo>
                    <a:pt x="3" y="1"/>
                  </a:moveTo>
                  <a:lnTo>
                    <a:pt x="3" y="1"/>
                  </a:lnTo>
                  <a:lnTo>
                    <a:pt x="5" y="8"/>
                  </a:lnTo>
                  <a:lnTo>
                    <a:pt x="3" y="11"/>
                  </a:lnTo>
                  <a:lnTo>
                    <a:pt x="2" y="11"/>
                  </a:lnTo>
                  <a:lnTo>
                    <a:pt x="0" y="4"/>
                  </a:lnTo>
                  <a:lnTo>
                    <a:pt x="2" y="1"/>
                  </a:lnTo>
                  <a:lnTo>
                    <a:pt x="2" y="0"/>
                  </a:lnTo>
                  <a:lnTo>
                    <a:pt x="3" y="1"/>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59" name="Freeform 1341"/>
            <p:cNvSpPr>
              <a:spLocks/>
            </p:cNvSpPr>
            <p:nvPr/>
          </p:nvSpPr>
          <p:spPr bwMode="auto">
            <a:xfrm>
              <a:off x="7760457" y="3386179"/>
              <a:ext cx="13167" cy="7098"/>
            </a:xfrm>
            <a:custGeom>
              <a:avLst/>
              <a:gdLst/>
              <a:ahLst/>
              <a:cxnLst>
                <a:cxn ang="0">
                  <a:pos x="2" y="7"/>
                </a:cxn>
                <a:cxn ang="0">
                  <a:pos x="0" y="5"/>
                </a:cxn>
                <a:cxn ang="0">
                  <a:pos x="2" y="4"/>
                </a:cxn>
                <a:cxn ang="0">
                  <a:pos x="2" y="3"/>
                </a:cxn>
                <a:cxn ang="0">
                  <a:pos x="6" y="3"/>
                </a:cxn>
                <a:cxn ang="0">
                  <a:pos x="12" y="0"/>
                </a:cxn>
                <a:cxn ang="0">
                  <a:pos x="13" y="1"/>
                </a:cxn>
                <a:cxn ang="0">
                  <a:pos x="15" y="3"/>
                </a:cxn>
                <a:cxn ang="0">
                  <a:pos x="11" y="5"/>
                </a:cxn>
                <a:cxn ang="0">
                  <a:pos x="5" y="7"/>
                </a:cxn>
                <a:cxn ang="0">
                  <a:pos x="3" y="7"/>
                </a:cxn>
                <a:cxn ang="0">
                  <a:pos x="2" y="7"/>
                </a:cxn>
              </a:cxnLst>
              <a:rect l="0" t="0" r="r" b="b"/>
              <a:pathLst>
                <a:path w="15" h="7">
                  <a:moveTo>
                    <a:pt x="2" y="7"/>
                  </a:moveTo>
                  <a:lnTo>
                    <a:pt x="0" y="5"/>
                  </a:lnTo>
                  <a:lnTo>
                    <a:pt x="2" y="4"/>
                  </a:lnTo>
                  <a:lnTo>
                    <a:pt x="2" y="3"/>
                  </a:lnTo>
                  <a:lnTo>
                    <a:pt x="6" y="3"/>
                  </a:lnTo>
                  <a:lnTo>
                    <a:pt x="12" y="0"/>
                  </a:lnTo>
                  <a:lnTo>
                    <a:pt x="13" y="1"/>
                  </a:lnTo>
                  <a:lnTo>
                    <a:pt x="15" y="3"/>
                  </a:lnTo>
                  <a:lnTo>
                    <a:pt x="11" y="5"/>
                  </a:lnTo>
                  <a:lnTo>
                    <a:pt x="5" y="7"/>
                  </a:lnTo>
                  <a:lnTo>
                    <a:pt x="3" y="7"/>
                  </a:lnTo>
                  <a:lnTo>
                    <a:pt x="2" y="7"/>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60" name="Freeform 1342"/>
            <p:cNvSpPr>
              <a:spLocks/>
            </p:cNvSpPr>
            <p:nvPr/>
          </p:nvSpPr>
          <p:spPr bwMode="auto">
            <a:xfrm>
              <a:off x="7760457" y="3386179"/>
              <a:ext cx="13167" cy="7098"/>
            </a:xfrm>
            <a:custGeom>
              <a:avLst/>
              <a:gdLst/>
              <a:ahLst/>
              <a:cxnLst>
                <a:cxn ang="0">
                  <a:pos x="2" y="7"/>
                </a:cxn>
                <a:cxn ang="0">
                  <a:pos x="0" y="5"/>
                </a:cxn>
                <a:cxn ang="0">
                  <a:pos x="2" y="4"/>
                </a:cxn>
                <a:cxn ang="0">
                  <a:pos x="2" y="3"/>
                </a:cxn>
                <a:cxn ang="0">
                  <a:pos x="6" y="3"/>
                </a:cxn>
                <a:cxn ang="0">
                  <a:pos x="12" y="0"/>
                </a:cxn>
                <a:cxn ang="0">
                  <a:pos x="13" y="1"/>
                </a:cxn>
                <a:cxn ang="0">
                  <a:pos x="15" y="3"/>
                </a:cxn>
                <a:cxn ang="0">
                  <a:pos x="11" y="5"/>
                </a:cxn>
                <a:cxn ang="0">
                  <a:pos x="5" y="7"/>
                </a:cxn>
                <a:cxn ang="0">
                  <a:pos x="3" y="7"/>
                </a:cxn>
                <a:cxn ang="0">
                  <a:pos x="2" y="7"/>
                </a:cxn>
              </a:cxnLst>
              <a:rect l="0" t="0" r="r" b="b"/>
              <a:pathLst>
                <a:path w="15" h="7">
                  <a:moveTo>
                    <a:pt x="2" y="7"/>
                  </a:moveTo>
                  <a:lnTo>
                    <a:pt x="0" y="5"/>
                  </a:lnTo>
                  <a:lnTo>
                    <a:pt x="2" y="4"/>
                  </a:lnTo>
                  <a:lnTo>
                    <a:pt x="2" y="3"/>
                  </a:lnTo>
                  <a:lnTo>
                    <a:pt x="6" y="3"/>
                  </a:lnTo>
                  <a:lnTo>
                    <a:pt x="12" y="0"/>
                  </a:lnTo>
                  <a:lnTo>
                    <a:pt x="13" y="1"/>
                  </a:lnTo>
                  <a:lnTo>
                    <a:pt x="15" y="3"/>
                  </a:lnTo>
                  <a:lnTo>
                    <a:pt x="11" y="5"/>
                  </a:lnTo>
                  <a:lnTo>
                    <a:pt x="5" y="7"/>
                  </a:lnTo>
                  <a:lnTo>
                    <a:pt x="3" y="7"/>
                  </a:lnTo>
                  <a:lnTo>
                    <a:pt x="2" y="7"/>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61" name="Freeform 1343"/>
            <p:cNvSpPr>
              <a:spLocks/>
            </p:cNvSpPr>
            <p:nvPr/>
          </p:nvSpPr>
          <p:spPr bwMode="auto">
            <a:xfrm>
              <a:off x="7723588" y="3429788"/>
              <a:ext cx="6145" cy="8113"/>
            </a:xfrm>
            <a:custGeom>
              <a:avLst/>
              <a:gdLst/>
              <a:ahLst/>
              <a:cxnLst>
                <a:cxn ang="0">
                  <a:pos x="0" y="6"/>
                </a:cxn>
                <a:cxn ang="0">
                  <a:pos x="0" y="4"/>
                </a:cxn>
                <a:cxn ang="0">
                  <a:pos x="1" y="4"/>
                </a:cxn>
                <a:cxn ang="0">
                  <a:pos x="6" y="0"/>
                </a:cxn>
                <a:cxn ang="0">
                  <a:pos x="7" y="3"/>
                </a:cxn>
                <a:cxn ang="0">
                  <a:pos x="6" y="4"/>
                </a:cxn>
                <a:cxn ang="0">
                  <a:pos x="1" y="7"/>
                </a:cxn>
                <a:cxn ang="0">
                  <a:pos x="0" y="7"/>
                </a:cxn>
                <a:cxn ang="0">
                  <a:pos x="0" y="6"/>
                </a:cxn>
              </a:cxnLst>
              <a:rect l="0" t="0" r="r" b="b"/>
              <a:pathLst>
                <a:path w="7" h="7">
                  <a:moveTo>
                    <a:pt x="0" y="6"/>
                  </a:moveTo>
                  <a:lnTo>
                    <a:pt x="0" y="4"/>
                  </a:lnTo>
                  <a:lnTo>
                    <a:pt x="1" y="4"/>
                  </a:lnTo>
                  <a:lnTo>
                    <a:pt x="6" y="0"/>
                  </a:lnTo>
                  <a:lnTo>
                    <a:pt x="7" y="3"/>
                  </a:lnTo>
                  <a:lnTo>
                    <a:pt x="6" y="4"/>
                  </a:lnTo>
                  <a:lnTo>
                    <a:pt x="1" y="7"/>
                  </a:lnTo>
                  <a:lnTo>
                    <a:pt x="0" y="7"/>
                  </a:lnTo>
                  <a:lnTo>
                    <a:pt x="0" y="6"/>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62" name="Freeform 1344"/>
            <p:cNvSpPr>
              <a:spLocks/>
            </p:cNvSpPr>
            <p:nvPr/>
          </p:nvSpPr>
          <p:spPr bwMode="auto">
            <a:xfrm>
              <a:off x="7723588" y="3429788"/>
              <a:ext cx="6145" cy="8113"/>
            </a:xfrm>
            <a:custGeom>
              <a:avLst/>
              <a:gdLst/>
              <a:ahLst/>
              <a:cxnLst>
                <a:cxn ang="0">
                  <a:pos x="0" y="6"/>
                </a:cxn>
                <a:cxn ang="0">
                  <a:pos x="0" y="4"/>
                </a:cxn>
                <a:cxn ang="0">
                  <a:pos x="1" y="4"/>
                </a:cxn>
                <a:cxn ang="0">
                  <a:pos x="6" y="0"/>
                </a:cxn>
                <a:cxn ang="0">
                  <a:pos x="7" y="3"/>
                </a:cxn>
                <a:cxn ang="0">
                  <a:pos x="6" y="4"/>
                </a:cxn>
                <a:cxn ang="0">
                  <a:pos x="1" y="7"/>
                </a:cxn>
                <a:cxn ang="0">
                  <a:pos x="0" y="7"/>
                </a:cxn>
                <a:cxn ang="0">
                  <a:pos x="0" y="6"/>
                </a:cxn>
              </a:cxnLst>
              <a:rect l="0" t="0" r="r" b="b"/>
              <a:pathLst>
                <a:path w="7" h="7">
                  <a:moveTo>
                    <a:pt x="0" y="6"/>
                  </a:moveTo>
                  <a:lnTo>
                    <a:pt x="0" y="4"/>
                  </a:lnTo>
                  <a:lnTo>
                    <a:pt x="1" y="4"/>
                  </a:lnTo>
                  <a:lnTo>
                    <a:pt x="6" y="0"/>
                  </a:lnTo>
                  <a:lnTo>
                    <a:pt x="7" y="3"/>
                  </a:lnTo>
                  <a:lnTo>
                    <a:pt x="6" y="4"/>
                  </a:lnTo>
                  <a:lnTo>
                    <a:pt x="1" y="7"/>
                  </a:lnTo>
                  <a:lnTo>
                    <a:pt x="0" y="7"/>
                  </a:lnTo>
                  <a:lnTo>
                    <a:pt x="0" y="6"/>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63" name="Freeform 1345"/>
            <p:cNvSpPr>
              <a:spLocks/>
            </p:cNvSpPr>
            <p:nvPr/>
          </p:nvSpPr>
          <p:spPr bwMode="auto">
            <a:xfrm>
              <a:off x="7742900" y="3394293"/>
              <a:ext cx="7901" cy="6085"/>
            </a:xfrm>
            <a:custGeom>
              <a:avLst/>
              <a:gdLst/>
              <a:ahLst/>
              <a:cxnLst>
                <a:cxn ang="0">
                  <a:pos x="0" y="2"/>
                </a:cxn>
                <a:cxn ang="0">
                  <a:pos x="0" y="0"/>
                </a:cxn>
                <a:cxn ang="0">
                  <a:pos x="3" y="2"/>
                </a:cxn>
                <a:cxn ang="0">
                  <a:pos x="8" y="0"/>
                </a:cxn>
                <a:cxn ang="0">
                  <a:pos x="9" y="2"/>
                </a:cxn>
                <a:cxn ang="0">
                  <a:pos x="8" y="3"/>
                </a:cxn>
                <a:cxn ang="0">
                  <a:pos x="6" y="5"/>
                </a:cxn>
                <a:cxn ang="0">
                  <a:pos x="2" y="5"/>
                </a:cxn>
                <a:cxn ang="0">
                  <a:pos x="0" y="5"/>
                </a:cxn>
                <a:cxn ang="0">
                  <a:pos x="0" y="3"/>
                </a:cxn>
                <a:cxn ang="0">
                  <a:pos x="0" y="2"/>
                </a:cxn>
              </a:cxnLst>
              <a:rect l="0" t="0" r="r" b="b"/>
              <a:pathLst>
                <a:path w="9" h="5">
                  <a:moveTo>
                    <a:pt x="0" y="2"/>
                  </a:moveTo>
                  <a:lnTo>
                    <a:pt x="0" y="0"/>
                  </a:lnTo>
                  <a:lnTo>
                    <a:pt x="3" y="2"/>
                  </a:lnTo>
                  <a:lnTo>
                    <a:pt x="8" y="0"/>
                  </a:lnTo>
                  <a:lnTo>
                    <a:pt x="9" y="2"/>
                  </a:lnTo>
                  <a:lnTo>
                    <a:pt x="8" y="3"/>
                  </a:lnTo>
                  <a:lnTo>
                    <a:pt x="6" y="5"/>
                  </a:lnTo>
                  <a:lnTo>
                    <a:pt x="2" y="5"/>
                  </a:lnTo>
                  <a:lnTo>
                    <a:pt x="0" y="5"/>
                  </a:lnTo>
                  <a:lnTo>
                    <a:pt x="0" y="3"/>
                  </a:lnTo>
                  <a:lnTo>
                    <a:pt x="0" y="2"/>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64" name="Freeform 1346"/>
            <p:cNvSpPr>
              <a:spLocks/>
            </p:cNvSpPr>
            <p:nvPr/>
          </p:nvSpPr>
          <p:spPr bwMode="auto">
            <a:xfrm>
              <a:off x="7742900" y="3394293"/>
              <a:ext cx="7901" cy="6085"/>
            </a:xfrm>
            <a:custGeom>
              <a:avLst/>
              <a:gdLst/>
              <a:ahLst/>
              <a:cxnLst>
                <a:cxn ang="0">
                  <a:pos x="0" y="2"/>
                </a:cxn>
                <a:cxn ang="0">
                  <a:pos x="0" y="0"/>
                </a:cxn>
                <a:cxn ang="0">
                  <a:pos x="3" y="2"/>
                </a:cxn>
                <a:cxn ang="0">
                  <a:pos x="8" y="0"/>
                </a:cxn>
                <a:cxn ang="0">
                  <a:pos x="9" y="2"/>
                </a:cxn>
                <a:cxn ang="0">
                  <a:pos x="8" y="3"/>
                </a:cxn>
                <a:cxn ang="0">
                  <a:pos x="6" y="5"/>
                </a:cxn>
                <a:cxn ang="0">
                  <a:pos x="2" y="5"/>
                </a:cxn>
                <a:cxn ang="0">
                  <a:pos x="0" y="5"/>
                </a:cxn>
                <a:cxn ang="0">
                  <a:pos x="0" y="3"/>
                </a:cxn>
                <a:cxn ang="0">
                  <a:pos x="0" y="2"/>
                </a:cxn>
              </a:cxnLst>
              <a:rect l="0" t="0" r="r" b="b"/>
              <a:pathLst>
                <a:path w="9" h="5">
                  <a:moveTo>
                    <a:pt x="0" y="2"/>
                  </a:moveTo>
                  <a:lnTo>
                    <a:pt x="0" y="0"/>
                  </a:lnTo>
                  <a:lnTo>
                    <a:pt x="3" y="2"/>
                  </a:lnTo>
                  <a:lnTo>
                    <a:pt x="8" y="0"/>
                  </a:lnTo>
                  <a:lnTo>
                    <a:pt x="9" y="2"/>
                  </a:lnTo>
                  <a:lnTo>
                    <a:pt x="8" y="3"/>
                  </a:lnTo>
                  <a:lnTo>
                    <a:pt x="6" y="5"/>
                  </a:lnTo>
                  <a:lnTo>
                    <a:pt x="2" y="5"/>
                  </a:lnTo>
                  <a:lnTo>
                    <a:pt x="0" y="5"/>
                  </a:lnTo>
                  <a:lnTo>
                    <a:pt x="0" y="3"/>
                  </a:lnTo>
                  <a:lnTo>
                    <a:pt x="0" y="2"/>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65" name="Freeform 1347"/>
            <p:cNvSpPr>
              <a:spLocks/>
            </p:cNvSpPr>
            <p:nvPr/>
          </p:nvSpPr>
          <p:spPr bwMode="auto">
            <a:xfrm>
              <a:off x="7735878" y="3396322"/>
              <a:ext cx="5267" cy="5071"/>
            </a:xfrm>
            <a:custGeom>
              <a:avLst/>
              <a:gdLst/>
              <a:ahLst/>
              <a:cxnLst>
                <a:cxn ang="0">
                  <a:pos x="0" y="3"/>
                </a:cxn>
                <a:cxn ang="0">
                  <a:pos x="0" y="1"/>
                </a:cxn>
                <a:cxn ang="0">
                  <a:pos x="5" y="0"/>
                </a:cxn>
                <a:cxn ang="0">
                  <a:pos x="5" y="1"/>
                </a:cxn>
                <a:cxn ang="0">
                  <a:pos x="3" y="4"/>
                </a:cxn>
                <a:cxn ang="0">
                  <a:pos x="2" y="4"/>
                </a:cxn>
                <a:cxn ang="0">
                  <a:pos x="0" y="3"/>
                </a:cxn>
              </a:cxnLst>
              <a:rect l="0" t="0" r="r" b="b"/>
              <a:pathLst>
                <a:path w="5" h="4">
                  <a:moveTo>
                    <a:pt x="0" y="3"/>
                  </a:moveTo>
                  <a:lnTo>
                    <a:pt x="0" y="1"/>
                  </a:lnTo>
                  <a:lnTo>
                    <a:pt x="5" y="0"/>
                  </a:lnTo>
                  <a:lnTo>
                    <a:pt x="5" y="1"/>
                  </a:lnTo>
                  <a:lnTo>
                    <a:pt x="3" y="4"/>
                  </a:lnTo>
                  <a:lnTo>
                    <a:pt x="2" y="4"/>
                  </a:lnTo>
                  <a:lnTo>
                    <a:pt x="0" y="3"/>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66" name="Freeform 1348"/>
            <p:cNvSpPr>
              <a:spLocks/>
            </p:cNvSpPr>
            <p:nvPr/>
          </p:nvSpPr>
          <p:spPr bwMode="auto">
            <a:xfrm>
              <a:off x="7735878" y="3396322"/>
              <a:ext cx="5267" cy="5071"/>
            </a:xfrm>
            <a:custGeom>
              <a:avLst/>
              <a:gdLst/>
              <a:ahLst/>
              <a:cxnLst>
                <a:cxn ang="0">
                  <a:pos x="0" y="3"/>
                </a:cxn>
                <a:cxn ang="0">
                  <a:pos x="0" y="1"/>
                </a:cxn>
                <a:cxn ang="0">
                  <a:pos x="5" y="0"/>
                </a:cxn>
                <a:cxn ang="0">
                  <a:pos x="5" y="1"/>
                </a:cxn>
                <a:cxn ang="0">
                  <a:pos x="3" y="4"/>
                </a:cxn>
                <a:cxn ang="0">
                  <a:pos x="2" y="4"/>
                </a:cxn>
                <a:cxn ang="0">
                  <a:pos x="0" y="3"/>
                </a:cxn>
              </a:cxnLst>
              <a:rect l="0" t="0" r="r" b="b"/>
              <a:pathLst>
                <a:path w="5" h="4">
                  <a:moveTo>
                    <a:pt x="0" y="3"/>
                  </a:moveTo>
                  <a:lnTo>
                    <a:pt x="0" y="1"/>
                  </a:lnTo>
                  <a:lnTo>
                    <a:pt x="5" y="0"/>
                  </a:lnTo>
                  <a:lnTo>
                    <a:pt x="5" y="1"/>
                  </a:lnTo>
                  <a:lnTo>
                    <a:pt x="3" y="4"/>
                  </a:lnTo>
                  <a:lnTo>
                    <a:pt x="2" y="4"/>
                  </a:lnTo>
                  <a:lnTo>
                    <a:pt x="0" y="3"/>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67" name="Freeform 1349"/>
            <p:cNvSpPr>
              <a:spLocks/>
            </p:cNvSpPr>
            <p:nvPr/>
          </p:nvSpPr>
          <p:spPr bwMode="auto">
            <a:xfrm>
              <a:off x="7728855" y="3396322"/>
              <a:ext cx="4389" cy="5071"/>
            </a:xfrm>
            <a:custGeom>
              <a:avLst/>
              <a:gdLst/>
              <a:ahLst/>
              <a:cxnLst>
                <a:cxn ang="0">
                  <a:pos x="0" y="4"/>
                </a:cxn>
                <a:cxn ang="0">
                  <a:pos x="0" y="1"/>
                </a:cxn>
                <a:cxn ang="0">
                  <a:pos x="1" y="0"/>
                </a:cxn>
                <a:cxn ang="0">
                  <a:pos x="2" y="1"/>
                </a:cxn>
                <a:cxn ang="0">
                  <a:pos x="2" y="1"/>
                </a:cxn>
                <a:cxn ang="0">
                  <a:pos x="4" y="0"/>
                </a:cxn>
                <a:cxn ang="0">
                  <a:pos x="5" y="0"/>
                </a:cxn>
                <a:cxn ang="0">
                  <a:pos x="5" y="0"/>
                </a:cxn>
                <a:cxn ang="0">
                  <a:pos x="4" y="4"/>
                </a:cxn>
                <a:cxn ang="0">
                  <a:pos x="2" y="4"/>
                </a:cxn>
                <a:cxn ang="0">
                  <a:pos x="0" y="4"/>
                </a:cxn>
                <a:cxn ang="0">
                  <a:pos x="0" y="4"/>
                </a:cxn>
              </a:cxnLst>
              <a:rect l="0" t="0" r="r" b="b"/>
              <a:pathLst>
                <a:path w="5" h="4">
                  <a:moveTo>
                    <a:pt x="0" y="4"/>
                  </a:moveTo>
                  <a:lnTo>
                    <a:pt x="0" y="1"/>
                  </a:lnTo>
                  <a:lnTo>
                    <a:pt x="1" y="0"/>
                  </a:lnTo>
                  <a:lnTo>
                    <a:pt x="2" y="1"/>
                  </a:lnTo>
                  <a:lnTo>
                    <a:pt x="2" y="1"/>
                  </a:lnTo>
                  <a:lnTo>
                    <a:pt x="4" y="0"/>
                  </a:lnTo>
                  <a:lnTo>
                    <a:pt x="5" y="0"/>
                  </a:lnTo>
                  <a:lnTo>
                    <a:pt x="5" y="0"/>
                  </a:lnTo>
                  <a:lnTo>
                    <a:pt x="4" y="4"/>
                  </a:lnTo>
                  <a:lnTo>
                    <a:pt x="2" y="4"/>
                  </a:lnTo>
                  <a:lnTo>
                    <a:pt x="0" y="4"/>
                  </a:lnTo>
                  <a:lnTo>
                    <a:pt x="0" y="4"/>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68" name="Freeform 1350"/>
            <p:cNvSpPr>
              <a:spLocks/>
            </p:cNvSpPr>
            <p:nvPr/>
          </p:nvSpPr>
          <p:spPr bwMode="auto">
            <a:xfrm>
              <a:off x="7728855" y="3396322"/>
              <a:ext cx="4389" cy="5071"/>
            </a:xfrm>
            <a:custGeom>
              <a:avLst/>
              <a:gdLst/>
              <a:ahLst/>
              <a:cxnLst>
                <a:cxn ang="0">
                  <a:pos x="0" y="4"/>
                </a:cxn>
                <a:cxn ang="0">
                  <a:pos x="0" y="1"/>
                </a:cxn>
                <a:cxn ang="0">
                  <a:pos x="1" y="0"/>
                </a:cxn>
                <a:cxn ang="0">
                  <a:pos x="2" y="1"/>
                </a:cxn>
                <a:cxn ang="0">
                  <a:pos x="2" y="1"/>
                </a:cxn>
                <a:cxn ang="0">
                  <a:pos x="4" y="0"/>
                </a:cxn>
                <a:cxn ang="0">
                  <a:pos x="5" y="0"/>
                </a:cxn>
                <a:cxn ang="0">
                  <a:pos x="5" y="0"/>
                </a:cxn>
                <a:cxn ang="0">
                  <a:pos x="4" y="4"/>
                </a:cxn>
                <a:cxn ang="0">
                  <a:pos x="2" y="4"/>
                </a:cxn>
                <a:cxn ang="0">
                  <a:pos x="0" y="4"/>
                </a:cxn>
                <a:cxn ang="0">
                  <a:pos x="0" y="4"/>
                </a:cxn>
              </a:cxnLst>
              <a:rect l="0" t="0" r="r" b="b"/>
              <a:pathLst>
                <a:path w="5" h="4">
                  <a:moveTo>
                    <a:pt x="0" y="4"/>
                  </a:moveTo>
                  <a:lnTo>
                    <a:pt x="0" y="1"/>
                  </a:lnTo>
                  <a:lnTo>
                    <a:pt x="1" y="0"/>
                  </a:lnTo>
                  <a:lnTo>
                    <a:pt x="2" y="1"/>
                  </a:lnTo>
                  <a:lnTo>
                    <a:pt x="2" y="1"/>
                  </a:lnTo>
                  <a:lnTo>
                    <a:pt x="4" y="0"/>
                  </a:lnTo>
                  <a:lnTo>
                    <a:pt x="5" y="0"/>
                  </a:lnTo>
                  <a:lnTo>
                    <a:pt x="5" y="0"/>
                  </a:lnTo>
                  <a:lnTo>
                    <a:pt x="4" y="4"/>
                  </a:lnTo>
                  <a:lnTo>
                    <a:pt x="2" y="4"/>
                  </a:lnTo>
                  <a:lnTo>
                    <a:pt x="0" y="4"/>
                  </a:lnTo>
                  <a:lnTo>
                    <a:pt x="0" y="4"/>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69" name="Freeform 1351"/>
            <p:cNvSpPr>
              <a:spLocks/>
            </p:cNvSpPr>
            <p:nvPr/>
          </p:nvSpPr>
          <p:spPr bwMode="auto">
            <a:xfrm>
              <a:off x="7683210" y="3393278"/>
              <a:ext cx="41256" cy="14198"/>
            </a:xfrm>
            <a:custGeom>
              <a:avLst/>
              <a:gdLst/>
              <a:ahLst/>
              <a:cxnLst>
                <a:cxn ang="0">
                  <a:pos x="2" y="6"/>
                </a:cxn>
                <a:cxn ang="0">
                  <a:pos x="3" y="6"/>
                </a:cxn>
                <a:cxn ang="0">
                  <a:pos x="3" y="4"/>
                </a:cxn>
                <a:cxn ang="0">
                  <a:pos x="12" y="3"/>
                </a:cxn>
                <a:cxn ang="0">
                  <a:pos x="12" y="4"/>
                </a:cxn>
                <a:cxn ang="0">
                  <a:pos x="18" y="4"/>
                </a:cxn>
                <a:cxn ang="0">
                  <a:pos x="19" y="6"/>
                </a:cxn>
                <a:cxn ang="0">
                  <a:pos x="23" y="7"/>
                </a:cxn>
                <a:cxn ang="0">
                  <a:pos x="25" y="7"/>
                </a:cxn>
                <a:cxn ang="0">
                  <a:pos x="31" y="6"/>
                </a:cxn>
                <a:cxn ang="0">
                  <a:pos x="32" y="7"/>
                </a:cxn>
                <a:cxn ang="0">
                  <a:pos x="36" y="9"/>
                </a:cxn>
                <a:cxn ang="0">
                  <a:pos x="38" y="7"/>
                </a:cxn>
                <a:cxn ang="0">
                  <a:pos x="39" y="6"/>
                </a:cxn>
                <a:cxn ang="0">
                  <a:pos x="41" y="4"/>
                </a:cxn>
                <a:cxn ang="0">
                  <a:pos x="42" y="4"/>
                </a:cxn>
                <a:cxn ang="0">
                  <a:pos x="44" y="3"/>
                </a:cxn>
                <a:cxn ang="0">
                  <a:pos x="44" y="4"/>
                </a:cxn>
                <a:cxn ang="0">
                  <a:pos x="42" y="3"/>
                </a:cxn>
                <a:cxn ang="0">
                  <a:pos x="42" y="0"/>
                </a:cxn>
                <a:cxn ang="0">
                  <a:pos x="44" y="1"/>
                </a:cxn>
                <a:cxn ang="0">
                  <a:pos x="45" y="4"/>
                </a:cxn>
                <a:cxn ang="0">
                  <a:pos x="41" y="9"/>
                </a:cxn>
                <a:cxn ang="0">
                  <a:pos x="36" y="10"/>
                </a:cxn>
                <a:cxn ang="0">
                  <a:pos x="34" y="10"/>
                </a:cxn>
                <a:cxn ang="0">
                  <a:pos x="29" y="12"/>
                </a:cxn>
                <a:cxn ang="0">
                  <a:pos x="23" y="12"/>
                </a:cxn>
                <a:cxn ang="0">
                  <a:pos x="18" y="13"/>
                </a:cxn>
                <a:cxn ang="0">
                  <a:pos x="10" y="12"/>
                </a:cxn>
                <a:cxn ang="0">
                  <a:pos x="0" y="12"/>
                </a:cxn>
                <a:cxn ang="0">
                  <a:pos x="0" y="10"/>
                </a:cxn>
                <a:cxn ang="0">
                  <a:pos x="0" y="9"/>
                </a:cxn>
                <a:cxn ang="0">
                  <a:pos x="0" y="7"/>
                </a:cxn>
                <a:cxn ang="0">
                  <a:pos x="2" y="6"/>
                </a:cxn>
              </a:cxnLst>
              <a:rect l="0" t="0" r="r" b="b"/>
              <a:pathLst>
                <a:path w="45" h="13">
                  <a:moveTo>
                    <a:pt x="2" y="6"/>
                  </a:moveTo>
                  <a:lnTo>
                    <a:pt x="3" y="6"/>
                  </a:lnTo>
                  <a:lnTo>
                    <a:pt x="3" y="4"/>
                  </a:lnTo>
                  <a:lnTo>
                    <a:pt x="12" y="3"/>
                  </a:lnTo>
                  <a:lnTo>
                    <a:pt x="12" y="4"/>
                  </a:lnTo>
                  <a:lnTo>
                    <a:pt x="18" y="4"/>
                  </a:lnTo>
                  <a:lnTo>
                    <a:pt x="19" y="6"/>
                  </a:lnTo>
                  <a:lnTo>
                    <a:pt x="23" y="7"/>
                  </a:lnTo>
                  <a:lnTo>
                    <a:pt x="25" y="7"/>
                  </a:lnTo>
                  <a:lnTo>
                    <a:pt x="31" y="6"/>
                  </a:lnTo>
                  <a:lnTo>
                    <a:pt x="32" y="7"/>
                  </a:lnTo>
                  <a:lnTo>
                    <a:pt x="36" y="9"/>
                  </a:lnTo>
                  <a:lnTo>
                    <a:pt x="38" y="7"/>
                  </a:lnTo>
                  <a:lnTo>
                    <a:pt x="39" y="6"/>
                  </a:lnTo>
                  <a:lnTo>
                    <a:pt x="41" y="4"/>
                  </a:lnTo>
                  <a:lnTo>
                    <a:pt x="42" y="4"/>
                  </a:lnTo>
                  <a:lnTo>
                    <a:pt x="44" y="3"/>
                  </a:lnTo>
                  <a:lnTo>
                    <a:pt x="44" y="4"/>
                  </a:lnTo>
                  <a:lnTo>
                    <a:pt x="42" y="3"/>
                  </a:lnTo>
                  <a:lnTo>
                    <a:pt x="42" y="0"/>
                  </a:lnTo>
                  <a:lnTo>
                    <a:pt x="44" y="1"/>
                  </a:lnTo>
                  <a:lnTo>
                    <a:pt x="45" y="4"/>
                  </a:lnTo>
                  <a:lnTo>
                    <a:pt x="41" y="9"/>
                  </a:lnTo>
                  <a:lnTo>
                    <a:pt x="36" y="10"/>
                  </a:lnTo>
                  <a:lnTo>
                    <a:pt x="34" y="10"/>
                  </a:lnTo>
                  <a:lnTo>
                    <a:pt x="29" y="12"/>
                  </a:lnTo>
                  <a:lnTo>
                    <a:pt x="23" y="12"/>
                  </a:lnTo>
                  <a:lnTo>
                    <a:pt x="18" y="13"/>
                  </a:lnTo>
                  <a:lnTo>
                    <a:pt x="10" y="12"/>
                  </a:lnTo>
                  <a:lnTo>
                    <a:pt x="0" y="12"/>
                  </a:lnTo>
                  <a:lnTo>
                    <a:pt x="0" y="10"/>
                  </a:lnTo>
                  <a:lnTo>
                    <a:pt x="0" y="9"/>
                  </a:lnTo>
                  <a:lnTo>
                    <a:pt x="0" y="7"/>
                  </a:lnTo>
                  <a:lnTo>
                    <a:pt x="2" y="6"/>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70" name="Freeform 1352"/>
            <p:cNvSpPr>
              <a:spLocks/>
            </p:cNvSpPr>
            <p:nvPr/>
          </p:nvSpPr>
          <p:spPr bwMode="auto">
            <a:xfrm>
              <a:off x="7683210" y="3393278"/>
              <a:ext cx="41256" cy="14198"/>
            </a:xfrm>
            <a:custGeom>
              <a:avLst/>
              <a:gdLst/>
              <a:ahLst/>
              <a:cxnLst>
                <a:cxn ang="0">
                  <a:pos x="2" y="6"/>
                </a:cxn>
                <a:cxn ang="0">
                  <a:pos x="3" y="6"/>
                </a:cxn>
                <a:cxn ang="0">
                  <a:pos x="3" y="4"/>
                </a:cxn>
                <a:cxn ang="0">
                  <a:pos x="12" y="3"/>
                </a:cxn>
                <a:cxn ang="0">
                  <a:pos x="12" y="4"/>
                </a:cxn>
                <a:cxn ang="0">
                  <a:pos x="18" y="4"/>
                </a:cxn>
                <a:cxn ang="0">
                  <a:pos x="19" y="6"/>
                </a:cxn>
                <a:cxn ang="0">
                  <a:pos x="23" y="7"/>
                </a:cxn>
                <a:cxn ang="0">
                  <a:pos x="25" y="7"/>
                </a:cxn>
                <a:cxn ang="0">
                  <a:pos x="31" y="6"/>
                </a:cxn>
                <a:cxn ang="0">
                  <a:pos x="32" y="7"/>
                </a:cxn>
                <a:cxn ang="0">
                  <a:pos x="36" y="9"/>
                </a:cxn>
                <a:cxn ang="0">
                  <a:pos x="38" y="7"/>
                </a:cxn>
                <a:cxn ang="0">
                  <a:pos x="39" y="6"/>
                </a:cxn>
                <a:cxn ang="0">
                  <a:pos x="41" y="4"/>
                </a:cxn>
                <a:cxn ang="0">
                  <a:pos x="42" y="4"/>
                </a:cxn>
                <a:cxn ang="0">
                  <a:pos x="44" y="3"/>
                </a:cxn>
                <a:cxn ang="0">
                  <a:pos x="44" y="4"/>
                </a:cxn>
                <a:cxn ang="0">
                  <a:pos x="42" y="3"/>
                </a:cxn>
                <a:cxn ang="0">
                  <a:pos x="42" y="0"/>
                </a:cxn>
                <a:cxn ang="0">
                  <a:pos x="44" y="1"/>
                </a:cxn>
                <a:cxn ang="0">
                  <a:pos x="45" y="4"/>
                </a:cxn>
                <a:cxn ang="0">
                  <a:pos x="41" y="9"/>
                </a:cxn>
                <a:cxn ang="0">
                  <a:pos x="36" y="10"/>
                </a:cxn>
                <a:cxn ang="0">
                  <a:pos x="34" y="10"/>
                </a:cxn>
                <a:cxn ang="0">
                  <a:pos x="29" y="12"/>
                </a:cxn>
                <a:cxn ang="0">
                  <a:pos x="23" y="12"/>
                </a:cxn>
                <a:cxn ang="0">
                  <a:pos x="18" y="13"/>
                </a:cxn>
                <a:cxn ang="0">
                  <a:pos x="10" y="12"/>
                </a:cxn>
                <a:cxn ang="0">
                  <a:pos x="0" y="12"/>
                </a:cxn>
                <a:cxn ang="0">
                  <a:pos x="0" y="10"/>
                </a:cxn>
                <a:cxn ang="0">
                  <a:pos x="0" y="9"/>
                </a:cxn>
                <a:cxn ang="0">
                  <a:pos x="0" y="7"/>
                </a:cxn>
                <a:cxn ang="0">
                  <a:pos x="2" y="6"/>
                </a:cxn>
              </a:cxnLst>
              <a:rect l="0" t="0" r="r" b="b"/>
              <a:pathLst>
                <a:path w="45" h="13">
                  <a:moveTo>
                    <a:pt x="2" y="6"/>
                  </a:moveTo>
                  <a:lnTo>
                    <a:pt x="3" y="6"/>
                  </a:lnTo>
                  <a:lnTo>
                    <a:pt x="3" y="4"/>
                  </a:lnTo>
                  <a:lnTo>
                    <a:pt x="12" y="3"/>
                  </a:lnTo>
                  <a:lnTo>
                    <a:pt x="12" y="4"/>
                  </a:lnTo>
                  <a:lnTo>
                    <a:pt x="18" y="4"/>
                  </a:lnTo>
                  <a:lnTo>
                    <a:pt x="19" y="6"/>
                  </a:lnTo>
                  <a:lnTo>
                    <a:pt x="23" y="7"/>
                  </a:lnTo>
                  <a:lnTo>
                    <a:pt x="25" y="7"/>
                  </a:lnTo>
                  <a:lnTo>
                    <a:pt x="31" y="6"/>
                  </a:lnTo>
                  <a:lnTo>
                    <a:pt x="32" y="7"/>
                  </a:lnTo>
                  <a:lnTo>
                    <a:pt x="36" y="9"/>
                  </a:lnTo>
                  <a:lnTo>
                    <a:pt x="38" y="7"/>
                  </a:lnTo>
                  <a:lnTo>
                    <a:pt x="39" y="6"/>
                  </a:lnTo>
                  <a:lnTo>
                    <a:pt x="41" y="4"/>
                  </a:lnTo>
                  <a:lnTo>
                    <a:pt x="42" y="4"/>
                  </a:lnTo>
                  <a:lnTo>
                    <a:pt x="44" y="3"/>
                  </a:lnTo>
                  <a:lnTo>
                    <a:pt x="44" y="4"/>
                  </a:lnTo>
                  <a:lnTo>
                    <a:pt x="42" y="3"/>
                  </a:lnTo>
                  <a:lnTo>
                    <a:pt x="42" y="0"/>
                  </a:lnTo>
                  <a:lnTo>
                    <a:pt x="44" y="1"/>
                  </a:lnTo>
                  <a:lnTo>
                    <a:pt x="45" y="4"/>
                  </a:lnTo>
                  <a:lnTo>
                    <a:pt x="41" y="9"/>
                  </a:lnTo>
                  <a:lnTo>
                    <a:pt x="36" y="10"/>
                  </a:lnTo>
                  <a:lnTo>
                    <a:pt x="34" y="10"/>
                  </a:lnTo>
                  <a:lnTo>
                    <a:pt x="29" y="12"/>
                  </a:lnTo>
                  <a:lnTo>
                    <a:pt x="23" y="12"/>
                  </a:lnTo>
                  <a:lnTo>
                    <a:pt x="18" y="13"/>
                  </a:lnTo>
                  <a:lnTo>
                    <a:pt x="10" y="12"/>
                  </a:lnTo>
                  <a:lnTo>
                    <a:pt x="0" y="12"/>
                  </a:lnTo>
                  <a:lnTo>
                    <a:pt x="0" y="10"/>
                  </a:lnTo>
                  <a:lnTo>
                    <a:pt x="0" y="9"/>
                  </a:lnTo>
                  <a:lnTo>
                    <a:pt x="0" y="7"/>
                  </a:lnTo>
                  <a:lnTo>
                    <a:pt x="2" y="6"/>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71" name="Freeform 1353"/>
            <p:cNvSpPr>
              <a:spLocks/>
            </p:cNvSpPr>
            <p:nvPr/>
          </p:nvSpPr>
          <p:spPr bwMode="auto">
            <a:xfrm>
              <a:off x="7672676" y="3411533"/>
              <a:ext cx="21945" cy="15212"/>
            </a:xfrm>
            <a:custGeom>
              <a:avLst/>
              <a:gdLst/>
              <a:ahLst/>
              <a:cxnLst>
                <a:cxn ang="0">
                  <a:pos x="13" y="0"/>
                </a:cxn>
                <a:cxn ang="0">
                  <a:pos x="14" y="3"/>
                </a:cxn>
                <a:cxn ang="0">
                  <a:pos x="16" y="3"/>
                </a:cxn>
                <a:cxn ang="0">
                  <a:pos x="17" y="5"/>
                </a:cxn>
                <a:cxn ang="0">
                  <a:pos x="21" y="8"/>
                </a:cxn>
                <a:cxn ang="0">
                  <a:pos x="24" y="10"/>
                </a:cxn>
                <a:cxn ang="0">
                  <a:pos x="24" y="13"/>
                </a:cxn>
                <a:cxn ang="0">
                  <a:pos x="23" y="15"/>
                </a:cxn>
                <a:cxn ang="0">
                  <a:pos x="20" y="15"/>
                </a:cxn>
                <a:cxn ang="0">
                  <a:pos x="17" y="15"/>
                </a:cxn>
                <a:cxn ang="0">
                  <a:pos x="14" y="12"/>
                </a:cxn>
                <a:cxn ang="0">
                  <a:pos x="8" y="8"/>
                </a:cxn>
                <a:cxn ang="0">
                  <a:pos x="2" y="8"/>
                </a:cxn>
                <a:cxn ang="0">
                  <a:pos x="0" y="5"/>
                </a:cxn>
                <a:cxn ang="0">
                  <a:pos x="0" y="3"/>
                </a:cxn>
                <a:cxn ang="0">
                  <a:pos x="4" y="2"/>
                </a:cxn>
                <a:cxn ang="0">
                  <a:pos x="11" y="2"/>
                </a:cxn>
                <a:cxn ang="0">
                  <a:pos x="13" y="0"/>
                </a:cxn>
              </a:cxnLst>
              <a:rect l="0" t="0" r="r" b="b"/>
              <a:pathLst>
                <a:path w="24" h="15">
                  <a:moveTo>
                    <a:pt x="13" y="0"/>
                  </a:moveTo>
                  <a:lnTo>
                    <a:pt x="14" y="3"/>
                  </a:lnTo>
                  <a:lnTo>
                    <a:pt x="16" y="3"/>
                  </a:lnTo>
                  <a:lnTo>
                    <a:pt x="17" y="5"/>
                  </a:lnTo>
                  <a:lnTo>
                    <a:pt x="21" y="8"/>
                  </a:lnTo>
                  <a:lnTo>
                    <a:pt x="24" y="10"/>
                  </a:lnTo>
                  <a:lnTo>
                    <a:pt x="24" y="13"/>
                  </a:lnTo>
                  <a:lnTo>
                    <a:pt x="23" y="15"/>
                  </a:lnTo>
                  <a:lnTo>
                    <a:pt x="20" y="15"/>
                  </a:lnTo>
                  <a:lnTo>
                    <a:pt x="17" y="15"/>
                  </a:lnTo>
                  <a:lnTo>
                    <a:pt x="14" y="12"/>
                  </a:lnTo>
                  <a:lnTo>
                    <a:pt x="8" y="8"/>
                  </a:lnTo>
                  <a:lnTo>
                    <a:pt x="2" y="8"/>
                  </a:lnTo>
                  <a:lnTo>
                    <a:pt x="0" y="5"/>
                  </a:lnTo>
                  <a:lnTo>
                    <a:pt x="0" y="3"/>
                  </a:lnTo>
                  <a:lnTo>
                    <a:pt x="4" y="2"/>
                  </a:lnTo>
                  <a:lnTo>
                    <a:pt x="11" y="2"/>
                  </a:lnTo>
                  <a:lnTo>
                    <a:pt x="13"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72" name="Freeform 1354"/>
            <p:cNvSpPr>
              <a:spLocks/>
            </p:cNvSpPr>
            <p:nvPr/>
          </p:nvSpPr>
          <p:spPr bwMode="auto">
            <a:xfrm>
              <a:off x="7672676" y="3411533"/>
              <a:ext cx="21945" cy="15212"/>
            </a:xfrm>
            <a:custGeom>
              <a:avLst/>
              <a:gdLst/>
              <a:ahLst/>
              <a:cxnLst>
                <a:cxn ang="0">
                  <a:pos x="13" y="0"/>
                </a:cxn>
                <a:cxn ang="0">
                  <a:pos x="14" y="3"/>
                </a:cxn>
                <a:cxn ang="0">
                  <a:pos x="16" y="3"/>
                </a:cxn>
                <a:cxn ang="0">
                  <a:pos x="17" y="5"/>
                </a:cxn>
                <a:cxn ang="0">
                  <a:pos x="21" y="8"/>
                </a:cxn>
                <a:cxn ang="0">
                  <a:pos x="24" y="10"/>
                </a:cxn>
                <a:cxn ang="0">
                  <a:pos x="24" y="13"/>
                </a:cxn>
                <a:cxn ang="0">
                  <a:pos x="23" y="15"/>
                </a:cxn>
                <a:cxn ang="0">
                  <a:pos x="20" y="15"/>
                </a:cxn>
                <a:cxn ang="0">
                  <a:pos x="17" y="15"/>
                </a:cxn>
                <a:cxn ang="0">
                  <a:pos x="14" y="12"/>
                </a:cxn>
                <a:cxn ang="0">
                  <a:pos x="8" y="8"/>
                </a:cxn>
                <a:cxn ang="0">
                  <a:pos x="2" y="8"/>
                </a:cxn>
                <a:cxn ang="0">
                  <a:pos x="0" y="5"/>
                </a:cxn>
                <a:cxn ang="0">
                  <a:pos x="0" y="3"/>
                </a:cxn>
                <a:cxn ang="0">
                  <a:pos x="4" y="2"/>
                </a:cxn>
                <a:cxn ang="0">
                  <a:pos x="11" y="2"/>
                </a:cxn>
                <a:cxn ang="0">
                  <a:pos x="13" y="0"/>
                </a:cxn>
              </a:cxnLst>
              <a:rect l="0" t="0" r="r" b="b"/>
              <a:pathLst>
                <a:path w="24" h="15">
                  <a:moveTo>
                    <a:pt x="13" y="0"/>
                  </a:moveTo>
                  <a:lnTo>
                    <a:pt x="14" y="3"/>
                  </a:lnTo>
                  <a:lnTo>
                    <a:pt x="16" y="3"/>
                  </a:lnTo>
                  <a:lnTo>
                    <a:pt x="17" y="5"/>
                  </a:lnTo>
                  <a:lnTo>
                    <a:pt x="21" y="8"/>
                  </a:lnTo>
                  <a:lnTo>
                    <a:pt x="24" y="10"/>
                  </a:lnTo>
                  <a:lnTo>
                    <a:pt x="24" y="13"/>
                  </a:lnTo>
                  <a:lnTo>
                    <a:pt x="23" y="15"/>
                  </a:lnTo>
                  <a:lnTo>
                    <a:pt x="20" y="15"/>
                  </a:lnTo>
                  <a:lnTo>
                    <a:pt x="17" y="15"/>
                  </a:lnTo>
                  <a:lnTo>
                    <a:pt x="14" y="12"/>
                  </a:lnTo>
                  <a:lnTo>
                    <a:pt x="8" y="8"/>
                  </a:lnTo>
                  <a:lnTo>
                    <a:pt x="2" y="8"/>
                  </a:lnTo>
                  <a:lnTo>
                    <a:pt x="0" y="5"/>
                  </a:lnTo>
                  <a:lnTo>
                    <a:pt x="0" y="3"/>
                  </a:lnTo>
                  <a:lnTo>
                    <a:pt x="4" y="2"/>
                  </a:lnTo>
                  <a:lnTo>
                    <a:pt x="11" y="2"/>
                  </a:lnTo>
                  <a:lnTo>
                    <a:pt x="13"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73" name="Freeform 1355"/>
            <p:cNvSpPr>
              <a:spLocks/>
            </p:cNvSpPr>
            <p:nvPr/>
          </p:nvSpPr>
          <p:spPr bwMode="auto">
            <a:xfrm>
              <a:off x="7643709" y="3394293"/>
              <a:ext cx="29845" cy="14198"/>
            </a:xfrm>
            <a:custGeom>
              <a:avLst/>
              <a:gdLst/>
              <a:ahLst/>
              <a:cxnLst>
                <a:cxn ang="0">
                  <a:pos x="4" y="5"/>
                </a:cxn>
                <a:cxn ang="0">
                  <a:pos x="5" y="3"/>
                </a:cxn>
                <a:cxn ang="0">
                  <a:pos x="11" y="5"/>
                </a:cxn>
                <a:cxn ang="0">
                  <a:pos x="14" y="8"/>
                </a:cxn>
                <a:cxn ang="0">
                  <a:pos x="16" y="9"/>
                </a:cxn>
                <a:cxn ang="0">
                  <a:pos x="17" y="9"/>
                </a:cxn>
                <a:cxn ang="0">
                  <a:pos x="20" y="8"/>
                </a:cxn>
                <a:cxn ang="0">
                  <a:pos x="20" y="6"/>
                </a:cxn>
                <a:cxn ang="0">
                  <a:pos x="14" y="3"/>
                </a:cxn>
                <a:cxn ang="0">
                  <a:pos x="14" y="0"/>
                </a:cxn>
                <a:cxn ang="0">
                  <a:pos x="16" y="0"/>
                </a:cxn>
                <a:cxn ang="0">
                  <a:pos x="18" y="0"/>
                </a:cxn>
                <a:cxn ang="0">
                  <a:pos x="20" y="3"/>
                </a:cxn>
                <a:cxn ang="0">
                  <a:pos x="24" y="2"/>
                </a:cxn>
                <a:cxn ang="0">
                  <a:pos x="26" y="3"/>
                </a:cxn>
                <a:cxn ang="0">
                  <a:pos x="26" y="6"/>
                </a:cxn>
                <a:cxn ang="0">
                  <a:pos x="30" y="2"/>
                </a:cxn>
                <a:cxn ang="0">
                  <a:pos x="32" y="6"/>
                </a:cxn>
                <a:cxn ang="0">
                  <a:pos x="32" y="8"/>
                </a:cxn>
                <a:cxn ang="0">
                  <a:pos x="33" y="9"/>
                </a:cxn>
                <a:cxn ang="0">
                  <a:pos x="32" y="9"/>
                </a:cxn>
                <a:cxn ang="0">
                  <a:pos x="30" y="8"/>
                </a:cxn>
                <a:cxn ang="0">
                  <a:pos x="29" y="9"/>
                </a:cxn>
                <a:cxn ang="0">
                  <a:pos x="30" y="11"/>
                </a:cxn>
                <a:cxn ang="0">
                  <a:pos x="26" y="11"/>
                </a:cxn>
                <a:cxn ang="0">
                  <a:pos x="23" y="9"/>
                </a:cxn>
                <a:cxn ang="0">
                  <a:pos x="23" y="9"/>
                </a:cxn>
                <a:cxn ang="0">
                  <a:pos x="5" y="13"/>
                </a:cxn>
                <a:cxn ang="0">
                  <a:pos x="3" y="13"/>
                </a:cxn>
                <a:cxn ang="0">
                  <a:pos x="1" y="13"/>
                </a:cxn>
                <a:cxn ang="0">
                  <a:pos x="0" y="12"/>
                </a:cxn>
                <a:cxn ang="0">
                  <a:pos x="0" y="8"/>
                </a:cxn>
                <a:cxn ang="0">
                  <a:pos x="3" y="6"/>
                </a:cxn>
                <a:cxn ang="0">
                  <a:pos x="4" y="5"/>
                </a:cxn>
              </a:cxnLst>
              <a:rect l="0" t="0" r="r" b="b"/>
              <a:pathLst>
                <a:path w="33" h="13">
                  <a:moveTo>
                    <a:pt x="4" y="5"/>
                  </a:moveTo>
                  <a:lnTo>
                    <a:pt x="5" y="3"/>
                  </a:lnTo>
                  <a:lnTo>
                    <a:pt x="11" y="5"/>
                  </a:lnTo>
                  <a:lnTo>
                    <a:pt x="14" y="8"/>
                  </a:lnTo>
                  <a:lnTo>
                    <a:pt x="16" y="9"/>
                  </a:lnTo>
                  <a:lnTo>
                    <a:pt x="17" y="9"/>
                  </a:lnTo>
                  <a:lnTo>
                    <a:pt x="20" y="8"/>
                  </a:lnTo>
                  <a:lnTo>
                    <a:pt x="20" y="6"/>
                  </a:lnTo>
                  <a:lnTo>
                    <a:pt x="14" y="3"/>
                  </a:lnTo>
                  <a:lnTo>
                    <a:pt x="14" y="0"/>
                  </a:lnTo>
                  <a:lnTo>
                    <a:pt x="16" y="0"/>
                  </a:lnTo>
                  <a:lnTo>
                    <a:pt x="18" y="0"/>
                  </a:lnTo>
                  <a:lnTo>
                    <a:pt x="20" y="3"/>
                  </a:lnTo>
                  <a:lnTo>
                    <a:pt x="24" y="2"/>
                  </a:lnTo>
                  <a:lnTo>
                    <a:pt x="26" y="3"/>
                  </a:lnTo>
                  <a:lnTo>
                    <a:pt x="26" y="6"/>
                  </a:lnTo>
                  <a:lnTo>
                    <a:pt x="30" y="2"/>
                  </a:lnTo>
                  <a:lnTo>
                    <a:pt x="32" y="6"/>
                  </a:lnTo>
                  <a:lnTo>
                    <a:pt x="32" y="8"/>
                  </a:lnTo>
                  <a:lnTo>
                    <a:pt x="33" y="9"/>
                  </a:lnTo>
                  <a:lnTo>
                    <a:pt x="32" y="9"/>
                  </a:lnTo>
                  <a:lnTo>
                    <a:pt x="30" y="8"/>
                  </a:lnTo>
                  <a:lnTo>
                    <a:pt x="29" y="9"/>
                  </a:lnTo>
                  <a:lnTo>
                    <a:pt x="30" y="11"/>
                  </a:lnTo>
                  <a:lnTo>
                    <a:pt x="26" y="11"/>
                  </a:lnTo>
                  <a:lnTo>
                    <a:pt x="23" y="9"/>
                  </a:lnTo>
                  <a:lnTo>
                    <a:pt x="23" y="9"/>
                  </a:lnTo>
                  <a:lnTo>
                    <a:pt x="5" y="13"/>
                  </a:lnTo>
                  <a:lnTo>
                    <a:pt x="3" y="13"/>
                  </a:lnTo>
                  <a:lnTo>
                    <a:pt x="1" y="13"/>
                  </a:lnTo>
                  <a:lnTo>
                    <a:pt x="0" y="12"/>
                  </a:lnTo>
                  <a:lnTo>
                    <a:pt x="0" y="8"/>
                  </a:lnTo>
                  <a:lnTo>
                    <a:pt x="3" y="6"/>
                  </a:lnTo>
                  <a:lnTo>
                    <a:pt x="4" y="5"/>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74" name="Freeform 1356"/>
            <p:cNvSpPr>
              <a:spLocks/>
            </p:cNvSpPr>
            <p:nvPr/>
          </p:nvSpPr>
          <p:spPr bwMode="auto">
            <a:xfrm>
              <a:off x="7643709" y="3394293"/>
              <a:ext cx="29845" cy="14198"/>
            </a:xfrm>
            <a:custGeom>
              <a:avLst/>
              <a:gdLst/>
              <a:ahLst/>
              <a:cxnLst>
                <a:cxn ang="0">
                  <a:pos x="4" y="5"/>
                </a:cxn>
                <a:cxn ang="0">
                  <a:pos x="5" y="3"/>
                </a:cxn>
                <a:cxn ang="0">
                  <a:pos x="11" y="5"/>
                </a:cxn>
                <a:cxn ang="0">
                  <a:pos x="14" y="8"/>
                </a:cxn>
                <a:cxn ang="0">
                  <a:pos x="16" y="9"/>
                </a:cxn>
                <a:cxn ang="0">
                  <a:pos x="17" y="9"/>
                </a:cxn>
                <a:cxn ang="0">
                  <a:pos x="20" y="8"/>
                </a:cxn>
                <a:cxn ang="0">
                  <a:pos x="20" y="6"/>
                </a:cxn>
                <a:cxn ang="0">
                  <a:pos x="14" y="3"/>
                </a:cxn>
                <a:cxn ang="0">
                  <a:pos x="14" y="0"/>
                </a:cxn>
                <a:cxn ang="0">
                  <a:pos x="16" y="0"/>
                </a:cxn>
                <a:cxn ang="0">
                  <a:pos x="18" y="0"/>
                </a:cxn>
                <a:cxn ang="0">
                  <a:pos x="20" y="3"/>
                </a:cxn>
                <a:cxn ang="0">
                  <a:pos x="24" y="2"/>
                </a:cxn>
                <a:cxn ang="0">
                  <a:pos x="26" y="3"/>
                </a:cxn>
                <a:cxn ang="0">
                  <a:pos x="26" y="6"/>
                </a:cxn>
                <a:cxn ang="0">
                  <a:pos x="30" y="2"/>
                </a:cxn>
                <a:cxn ang="0">
                  <a:pos x="32" y="6"/>
                </a:cxn>
                <a:cxn ang="0">
                  <a:pos x="32" y="8"/>
                </a:cxn>
                <a:cxn ang="0">
                  <a:pos x="33" y="9"/>
                </a:cxn>
                <a:cxn ang="0">
                  <a:pos x="32" y="9"/>
                </a:cxn>
                <a:cxn ang="0">
                  <a:pos x="30" y="8"/>
                </a:cxn>
                <a:cxn ang="0">
                  <a:pos x="29" y="9"/>
                </a:cxn>
                <a:cxn ang="0">
                  <a:pos x="30" y="11"/>
                </a:cxn>
                <a:cxn ang="0">
                  <a:pos x="26" y="11"/>
                </a:cxn>
                <a:cxn ang="0">
                  <a:pos x="23" y="9"/>
                </a:cxn>
                <a:cxn ang="0">
                  <a:pos x="23" y="9"/>
                </a:cxn>
                <a:cxn ang="0">
                  <a:pos x="5" y="13"/>
                </a:cxn>
                <a:cxn ang="0">
                  <a:pos x="3" y="13"/>
                </a:cxn>
                <a:cxn ang="0">
                  <a:pos x="1" y="13"/>
                </a:cxn>
                <a:cxn ang="0">
                  <a:pos x="0" y="12"/>
                </a:cxn>
                <a:cxn ang="0">
                  <a:pos x="0" y="8"/>
                </a:cxn>
                <a:cxn ang="0">
                  <a:pos x="3" y="6"/>
                </a:cxn>
                <a:cxn ang="0">
                  <a:pos x="4" y="5"/>
                </a:cxn>
              </a:cxnLst>
              <a:rect l="0" t="0" r="r" b="b"/>
              <a:pathLst>
                <a:path w="33" h="13">
                  <a:moveTo>
                    <a:pt x="4" y="5"/>
                  </a:moveTo>
                  <a:lnTo>
                    <a:pt x="5" y="3"/>
                  </a:lnTo>
                  <a:lnTo>
                    <a:pt x="11" y="5"/>
                  </a:lnTo>
                  <a:lnTo>
                    <a:pt x="14" y="8"/>
                  </a:lnTo>
                  <a:lnTo>
                    <a:pt x="16" y="9"/>
                  </a:lnTo>
                  <a:lnTo>
                    <a:pt x="17" y="9"/>
                  </a:lnTo>
                  <a:lnTo>
                    <a:pt x="20" y="8"/>
                  </a:lnTo>
                  <a:lnTo>
                    <a:pt x="20" y="6"/>
                  </a:lnTo>
                  <a:lnTo>
                    <a:pt x="14" y="3"/>
                  </a:lnTo>
                  <a:lnTo>
                    <a:pt x="14" y="0"/>
                  </a:lnTo>
                  <a:lnTo>
                    <a:pt x="16" y="0"/>
                  </a:lnTo>
                  <a:lnTo>
                    <a:pt x="18" y="0"/>
                  </a:lnTo>
                  <a:lnTo>
                    <a:pt x="20" y="3"/>
                  </a:lnTo>
                  <a:lnTo>
                    <a:pt x="24" y="2"/>
                  </a:lnTo>
                  <a:lnTo>
                    <a:pt x="26" y="3"/>
                  </a:lnTo>
                  <a:lnTo>
                    <a:pt x="26" y="6"/>
                  </a:lnTo>
                  <a:lnTo>
                    <a:pt x="30" y="2"/>
                  </a:lnTo>
                  <a:lnTo>
                    <a:pt x="32" y="6"/>
                  </a:lnTo>
                  <a:lnTo>
                    <a:pt x="32" y="8"/>
                  </a:lnTo>
                  <a:lnTo>
                    <a:pt x="33" y="9"/>
                  </a:lnTo>
                  <a:lnTo>
                    <a:pt x="32" y="9"/>
                  </a:lnTo>
                  <a:lnTo>
                    <a:pt x="30" y="8"/>
                  </a:lnTo>
                  <a:lnTo>
                    <a:pt x="29" y="9"/>
                  </a:lnTo>
                  <a:lnTo>
                    <a:pt x="30" y="11"/>
                  </a:lnTo>
                  <a:lnTo>
                    <a:pt x="26" y="11"/>
                  </a:lnTo>
                  <a:lnTo>
                    <a:pt x="23" y="9"/>
                  </a:lnTo>
                  <a:lnTo>
                    <a:pt x="23" y="9"/>
                  </a:lnTo>
                  <a:lnTo>
                    <a:pt x="5" y="13"/>
                  </a:lnTo>
                  <a:lnTo>
                    <a:pt x="3" y="13"/>
                  </a:lnTo>
                  <a:lnTo>
                    <a:pt x="1" y="13"/>
                  </a:lnTo>
                  <a:lnTo>
                    <a:pt x="0" y="12"/>
                  </a:lnTo>
                  <a:lnTo>
                    <a:pt x="0" y="8"/>
                  </a:lnTo>
                  <a:lnTo>
                    <a:pt x="3" y="6"/>
                  </a:lnTo>
                  <a:lnTo>
                    <a:pt x="4" y="5"/>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75" name="Freeform 1357"/>
            <p:cNvSpPr>
              <a:spLocks/>
            </p:cNvSpPr>
            <p:nvPr/>
          </p:nvSpPr>
          <p:spPr bwMode="auto">
            <a:xfrm>
              <a:off x="7631419" y="3396322"/>
              <a:ext cx="10534" cy="11155"/>
            </a:xfrm>
            <a:custGeom>
              <a:avLst/>
              <a:gdLst/>
              <a:ahLst/>
              <a:cxnLst>
                <a:cxn ang="0">
                  <a:pos x="2" y="3"/>
                </a:cxn>
                <a:cxn ang="0">
                  <a:pos x="5" y="0"/>
                </a:cxn>
                <a:cxn ang="0">
                  <a:pos x="8" y="0"/>
                </a:cxn>
                <a:cxn ang="0">
                  <a:pos x="11" y="1"/>
                </a:cxn>
                <a:cxn ang="0">
                  <a:pos x="11" y="4"/>
                </a:cxn>
                <a:cxn ang="0">
                  <a:pos x="10" y="7"/>
                </a:cxn>
                <a:cxn ang="0">
                  <a:pos x="10" y="10"/>
                </a:cxn>
                <a:cxn ang="0">
                  <a:pos x="8" y="10"/>
                </a:cxn>
                <a:cxn ang="0">
                  <a:pos x="2" y="10"/>
                </a:cxn>
                <a:cxn ang="0">
                  <a:pos x="0" y="9"/>
                </a:cxn>
                <a:cxn ang="0">
                  <a:pos x="0" y="7"/>
                </a:cxn>
                <a:cxn ang="0">
                  <a:pos x="2" y="7"/>
                </a:cxn>
                <a:cxn ang="0">
                  <a:pos x="2" y="3"/>
                </a:cxn>
              </a:cxnLst>
              <a:rect l="0" t="0" r="r" b="b"/>
              <a:pathLst>
                <a:path w="11" h="10">
                  <a:moveTo>
                    <a:pt x="2" y="3"/>
                  </a:moveTo>
                  <a:lnTo>
                    <a:pt x="5" y="0"/>
                  </a:lnTo>
                  <a:lnTo>
                    <a:pt x="8" y="0"/>
                  </a:lnTo>
                  <a:lnTo>
                    <a:pt x="11" y="1"/>
                  </a:lnTo>
                  <a:lnTo>
                    <a:pt x="11" y="4"/>
                  </a:lnTo>
                  <a:lnTo>
                    <a:pt x="10" y="7"/>
                  </a:lnTo>
                  <a:lnTo>
                    <a:pt x="10" y="10"/>
                  </a:lnTo>
                  <a:lnTo>
                    <a:pt x="8" y="10"/>
                  </a:lnTo>
                  <a:lnTo>
                    <a:pt x="2" y="10"/>
                  </a:lnTo>
                  <a:lnTo>
                    <a:pt x="0" y="9"/>
                  </a:lnTo>
                  <a:lnTo>
                    <a:pt x="0" y="7"/>
                  </a:lnTo>
                  <a:lnTo>
                    <a:pt x="2" y="7"/>
                  </a:lnTo>
                  <a:lnTo>
                    <a:pt x="2" y="3"/>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76" name="Freeform 1358"/>
            <p:cNvSpPr>
              <a:spLocks/>
            </p:cNvSpPr>
            <p:nvPr/>
          </p:nvSpPr>
          <p:spPr bwMode="auto">
            <a:xfrm>
              <a:off x="7631419" y="3396322"/>
              <a:ext cx="10534" cy="11155"/>
            </a:xfrm>
            <a:custGeom>
              <a:avLst/>
              <a:gdLst/>
              <a:ahLst/>
              <a:cxnLst>
                <a:cxn ang="0">
                  <a:pos x="2" y="3"/>
                </a:cxn>
                <a:cxn ang="0">
                  <a:pos x="5" y="0"/>
                </a:cxn>
                <a:cxn ang="0">
                  <a:pos x="8" y="0"/>
                </a:cxn>
                <a:cxn ang="0">
                  <a:pos x="11" y="1"/>
                </a:cxn>
                <a:cxn ang="0">
                  <a:pos x="11" y="4"/>
                </a:cxn>
                <a:cxn ang="0">
                  <a:pos x="10" y="7"/>
                </a:cxn>
                <a:cxn ang="0">
                  <a:pos x="10" y="10"/>
                </a:cxn>
                <a:cxn ang="0">
                  <a:pos x="8" y="10"/>
                </a:cxn>
                <a:cxn ang="0">
                  <a:pos x="2" y="10"/>
                </a:cxn>
                <a:cxn ang="0">
                  <a:pos x="0" y="9"/>
                </a:cxn>
                <a:cxn ang="0">
                  <a:pos x="0" y="7"/>
                </a:cxn>
                <a:cxn ang="0">
                  <a:pos x="2" y="7"/>
                </a:cxn>
                <a:cxn ang="0">
                  <a:pos x="2" y="3"/>
                </a:cxn>
              </a:cxnLst>
              <a:rect l="0" t="0" r="r" b="b"/>
              <a:pathLst>
                <a:path w="11" h="10">
                  <a:moveTo>
                    <a:pt x="2" y="3"/>
                  </a:moveTo>
                  <a:lnTo>
                    <a:pt x="5" y="0"/>
                  </a:lnTo>
                  <a:lnTo>
                    <a:pt x="8" y="0"/>
                  </a:lnTo>
                  <a:lnTo>
                    <a:pt x="11" y="1"/>
                  </a:lnTo>
                  <a:lnTo>
                    <a:pt x="11" y="4"/>
                  </a:lnTo>
                  <a:lnTo>
                    <a:pt x="10" y="7"/>
                  </a:lnTo>
                  <a:lnTo>
                    <a:pt x="10" y="10"/>
                  </a:lnTo>
                  <a:lnTo>
                    <a:pt x="8" y="10"/>
                  </a:lnTo>
                  <a:lnTo>
                    <a:pt x="2" y="10"/>
                  </a:lnTo>
                  <a:lnTo>
                    <a:pt x="0" y="9"/>
                  </a:lnTo>
                  <a:lnTo>
                    <a:pt x="0" y="7"/>
                  </a:lnTo>
                  <a:lnTo>
                    <a:pt x="2" y="7"/>
                  </a:lnTo>
                  <a:lnTo>
                    <a:pt x="2" y="3"/>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77" name="Freeform 1359"/>
            <p:cNvSpPr>
              <a:spLocks/>
            </p:cNvSpPr>
            <p:nvPr/>
          </p:nvSpPr>
          <p:spPr bwMode="auto">
            <a:xfrm>
              <a:off x="7613864" y="3393278"/>
              <a:ext cx="14922" cy="13184"/>
            </a:xfrm>
            <a:custGeom>
              <a:avLst/>
              <a:gdLst/>
              <a:ahLst/>
              <a:cxnLst>
                <a:cxn ang="0">
                  <a:pos x="5" y="1"/>
                </a:cxn>
                <a:cxn ang="0">
                  <a:pos x="7" y="1"/>
                </a:cxn>
                <a:cxn ang="0">
                  <a:pos x="8" y="0"/>
                </a:cxn>
                <a:cxn ang="0">
                  <a:pos x="11" y="1"/>
                </a:cxn>
                <a:cxn ang="0">
                  <a:pos x="14" y="1"/>
                </a:cxn>
                <a:cxn ang="0">
                  <a:pos x="16" y="4"/>
                </a:cxn>
                <a:cxn ang="0">
                  <a:pos x="16" y="6"/>
                </a:cxn>
                <a:cxn ang="0">
                  <a:pos x="11" y="9"/>
                </a:cxn>
                <a:cxn ang="0">
                  <a:pos x="10" y="12"/>
                </a:cxn>
                <a:cxn ang="0">
                  <a:pos x="8" y="10"/>
                </a:cxn>
                <a:cxn ang="0">
                  <a:pos x="7" y="7"/>
                </a:cxn>
                <a:cxn ang="0">
                  <a:pos x="5" y="6"/>
                </a:cxn>
                <a:cxn ang="0">
                  <a:pos x="1" y="4"/>
                </a:cxn>
                <a:cxn ang="0">
                  <a:pos x="0" y="4"/>
                </a:cxn>
                <a:cxn ang="0">
                  <a:pos x="0" y="1"/>
                </a:cxn>
                <a:cxn ang="0">
                  <a:pos x="0" y="0"/>
                </a:cxn>
                <a:cxn ang="0">
                  <a:pos x="5" y="1"/>
                </a:cxn>
              </a:cxnLst>
              <a:rect l="0" t="0" r="r" b="b"/>
              <a:pathLst>
                <a:path w="16" h="12">
                  <a:moveTo>
                    <a:pt x="5" y="1"/>
                  </a:moveTo>
                  <a:lnTo>
                    <a:pt x="7" y="1"/>
                  </a:lnTo>
                  <a:lnTo>
                    <a:pt x="8" y="0"/>
                  </a:lnTo>
                  <a:lnTo>
                    <a:pt x="11" y="1"/>
                  </a:lnTo>
                  <a:lnTo>
                    <a:pt x="14" y="1"/>
                  </a:lnTo>
                  <a:lnTo>
                    <a:pt x="16" y="4"/>
                  </a:lnTo>
                  <a:lnTo>
                    <a:pt x="16" y="6"/>
                  </a:lnTo>
                  <a:lnTo>
                    <a:pt x="11" y="9"/>
                  </a:lnTo>
                  <a:lnTo>
                    <a:pt x="10" y="12"/>
                  </a:lnTo>
                  <a:lnTo>
                    <a:pt x="8" y="10"/>
                  </a:lnTo>
                  <a:lnTo>
                    <a:pt x="7" y="7"/>
                  </a:lnTo>
                  <a:lnTo>
                    <a:pt x="5" y="6"/>
                  </a:lnTo>
                  <a:lnTo>
                    <a:pt x="1" y="4"/>
                  </a:lnTo>
                  <a:lnTo>
                    <a:pt x="0" y="4"/>
                  </a:lnTo>
                  <a:lnTo>
                    <a:pt x="0" y="1"/>
                  </a:lnTo>
                  <a:lnTo>
                    <a:pt x="0" y="0"/>
                  </a:lnTo>
                  <a:lnTo>
                    <a:pt x="5"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78" name="Freeform 1360"/>
            <p:cNvSpPr>
              <a:spLocks/>
            </p:cNvSpPr>
            <p:nvPr/>
          </p:nvSpPr>
          <p:spPr bwMode="auto">
            <a:xfrm>
              <a:off x="7613864" y="3393278"/>
              <a:ext cx="14922" cy="13184"/>
            </a:xfrm>
            <a:custGeom>
              <a:avLst/>
              <a:gdLst/>
              <a:ahLst/>
              <a:cxnLst>
                <a:cxn ang="0">
                  <a:pos x="5" y="1"/>
                </a:cxn>
                <a:cxn ang="0">
                  <a:pos x="7" y="1"/>
                </a:cxn>
                <a:cxn ang="0">
                  <a:pos x="8" y="0"/>
                </a:cxn>
                <a:cxn ang="0">
                  <a:pos x="11" y="1"/>
                </a:cxn>
                <a:cxn ang="0">
                  <a:pos x="14" y="1"/>
                </a:cxn>
                <a:cxn ang="0">
                  <a:pos x="16" y="4"/>
                </a:cxn>
                <a:cxn ang="0">
                  <a:pos x="16" y="6"/>
                </a:cxn>
                <a:cxn ang="0">
                  <a:pos x="11" y="9"/>
                </a:cxn>
                <a:cxn ang="0">
                  <a:pos x="10" y="12"/>
                </a:cxn>
                <a:cxn ang="0">
                  <a:pos x="8" y="10"/>
                </a:cxn>
                <a:cxn ang="0">
                  <a:pos x="7" y="7"/>
                </a:cxn>
                <a:cxn ang="0">
                  <a:pos x="5" y="6"/>
                </a:cxn>
                <a:cxn ang="0">
                  <a:pos x="1" y="4"/>
                </a:cxn>
                <a:cxn ang="0">
                  <a:pos x="0" y="4"/>
                </a:cxn>
                <a:cxn ang="0">
                  <a:pos x="0" y="1"/>
                </a:cxn>
                <a:cxn ang="0">
                  <a:pos x="0" y="0"/>
                </a:cxn>
                <a:cxn ang="0">
                  <a:pos x="5" y="1"/>
                </a:cxn>
              </a:cxnLst>
              <a:rect l="0" t="0" r="r" b="b"/>
              <a:pathLst>
                <a:path w="16" h="12">
                  <a:moveTo>
                    <a:pt x="5" y="1"/>
                  </a:moveTo>
                  <a:lnTo>
                    <a:pt x="7" y="1"/>
                  </a:lnTo>
                  <a:lnTo>
                    <a:pt x="8" y="0"/>
                  </a:lnTo>
                  <a:lnTo>
                    <a:pt x="11" y="1"/>
                  </a:lnTo>
                  <a:lnTo>
                    <a:pt x="14" y="1"/>
                  </a:lnTo>
                  <a:lnTo>
                    <a:pt x="16" y="4"/>
                  </a:lnTo>
                  <a:lnTo>
                    <a:pt x="16" y="6"/>
                  </a:lnTo>
                  <a:lnTo>
                    <a:pt x="11" y="9"/>
                  </a:lnTo>
                  <a:lnTo>
                    <a:pt x="10" y="12"/>
                  </a:lnTo>
                  <a:lnTo>
                    <a:pt x="8" y="10"/>
                  </a:lnTo>
                  <a:lnTo>
                    <a:pt x="7" y="7"/>
                  </a:lnTo>
                  <a:lnTo>
                    <a:pt x="5" y="6"/>
                  </a:lnTo>
                  <a:lnTo>
                    <a:pt x="1" y="4"/>
                  </a:lnTo>
                  <a:lnTo>
                    <a:pt x="0" y="4"/>
                  </a:lnTo>
                  <a:lnTo>
                    <a:pt x="0" y="1"/>
                  </a:lnTo>
                  <a:lnTo>
                    <a:pt x="0" y="0"/>
                  </a:lnTo>
                  <a:lnTo>
                    <a:pt x="5" y="1"/>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79" name="Freeform 1361"/>
            <p:cNvSpPr>
              <a:spLocks/>
            </p:cNvSpPr>
            <p:nvPr/>
          </p:nvSpPr>
          <p:spPr bwMode="auto">
            <a:xfrm>
              <a:off x="7591041" y="3375024"/>
              <a:ext cx="15800" cy="6085"/>
            </a:xfrm>
            <a:custGeom>
              <a:avLst/>
              <a:gdLst/>
              <a:ahLst/>
              <a:cxnLst>
                <a:cxn ang="0">
                  <a:pos x="0" y="2"/>
                </a:cxn>
                <a:cxn ang="0">
                  <a:pos x="0" y="2"/>
                </a:cxn>
                <a:cxn ang="0">
                  <a:pos x="1" y="2"/>
                </a:cxn>
                <a:cxn ang="0">
                  <a:pos x="16" y="0"/>
                </a:cxn>
                <a:cxn ang="0">
                  <a:pos x="17" y="3"/>
                </a:cxn>
                <a:cxn ang="0">
                  <a:pos x="9" y="6"/>
                </a:cxn>
                <a:cxn ang="0">
                  <a:pos x="1" y="5"/>
                </a:cxn>
                <a:cxn ang="0">
                  <a:pos x="0" y="5"/>
                </a:cxn>
                <a:cxn ang="0">
                  <a:pos x="0" y="3"/>
                </a:cxn>
                <a:cxn ang="0">
                  <a:pos x="0" y="2"/>
                </a:cxn>
              </a:cxnLst>
              <a:rect l="0" t="0" r="r" b="b"/>
              <a:pathLst>
                <a:path w="17" h="6">
                  <a:moveTo>
                    <a:pt x="0" y="2"/>
                  </a:moveTo>
                  <a:lnTo>
                    <a:pt x="0" y="2"/>
                  </a:lnTo>
                  <a:lnTo>
                    <a:pt x="1" y="2"/>
                  </a:lnTo>
                  <a:lnTo>
                    <a:pt x="16" y="0"/>
                  </a:lnTo>
                  <a:lnTo>
                    <a:pt x="17" y="3"/>
                  </a:lnTo>
                  <a:lnTo>
                    <a:pt x="9" y="6"/>
                  </a:lnTo>
                  <a:lnTo>
                    <a:pt x="1" y="5"/>
                  </a:lnTo>
                  <a:lnTo>
                    <a:pt x="0" y="5"/>
                  </a:lnTo>
                  <a:lnTo>
                    <a:pt x="0" y="3"/>
                  </a:lnTo>
                  <a:lnTo>
                    <a:pt x="0" y="2"/>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80" name="Freeform 1363"/>
            <p:cNvSpPr>
              <a:spLocks/>
            </p:cNvSpPr>
            <p:nvPr/>
          </p:nvSpPr>
          <p:spPr bwMode="auto">
            <a:xfrm>
              <a:off x="7623519" y="3375024"/>
              <a:ext cx="3511" cy="3043"/>
            </a:xfrm>
            <a:custGeom>
              <a:avLst/>
              <a:gdLst/>
              <a:ahLst/>
              <a:cxnLst>
                <a:cxn ang="0">
                  <a:pos x="0" y="0"/>
                </a:cxn>
                <a:cxn ang="0">
                  <a:pos x="3" y="0"/>
                </a:cxn>
                <a:cxn ang="0">
                  <a:pos x="4" y="0"/>
                </a:cxn>
                <a:cxn ang="0">
                  <a:pos x="4" y="2"/>
                </a:cxn>
                <a:cxn ang="0">
                  <a:pos x="1" y="3"/>
                </a:cxn>
                <a:cxn ang="0">
                  <a:pos x="0" y="2"/>
                </a:cxn>
                <a:cxn ang="0">
                  <a:pos x="0" y="0"/>
                </a:cxn>
              </a:cxnLst>
              <a:rect l="0" t="0" r="r" b="b"/>
              <a:pathLst>
                <a:path w="4" h="3">
                  <a:moveTo>
                    <a:pt x="0" y="0"/>
                  </a:moveTo>
                  <a:lnTo>
                    <a:pt x="3" y="0"/>
                  </a:lnTo>
                  <a:lnTo>
                    <a:pt x="4" y="0"/>
                  </a:lnTo>
                  <a:lnTo>
                    <a:pt x="4" y="2"/>
                  </a:lnTo>
                  <a:lnTo>
                    <a:pt x="1" y="3"/>
                  </a:lnTo>
                  <a:lnTo>
                    <a:pt x="0" y="2"/>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81" name="Freeform 1364"/>
            <p:cNvSpPr>
              <a:spLocks/>
            </p:cNvSpPr>
            <p:nvPr/>
          </p:nvSpPr>
          <p:spPr bwMode="auto">
            <a:xfrm>
              <a:off x="7623519" y="3375024"/>
              <a:ext cx="3511" cy="3043"/>
            </a:xfrm>
            <a:custGeom>
              <a:avLst/>
              <a:gdLst/>
              <a:ahLst/>
              <a:cxnLst>
                <a:cxn ang="0">
                  <a:pos x="0" y="0"/>
                </a:cxn>
                <a:cxn ang="0">
                  <a:pos x="3" y="0"/>
                </a:cxn>
                <a:cxn ang="0">
                  <a:pos x="4" y="0"/>
                </a:cxn>
                <a:cxn ang="0">
                  <a:pos x="4" y="2"/>
                </a:cxn>
                <a:cxn ang="0">
                  <a:pos x="1" y="3"/>
                </a:cxn>
                <a:cxn ang="0">
                  <a:pos x="0" y="2"/>
                </a:cxn>
                <a:cxn ang="0">
                  <a:pos x="0" y="0"/>
                </a:cxn>
              </a:cxnLst>
              <a:rect l="0" t="0" r="r" b="b"/>
              <a:pathLst>
                <a:path w="4" h="3">
                  <a:moveTo>
                    <a:pt x="0" y="0"/>
                  </a:moveTo>
                  <a:lnTo>
                    <a:pt x="3" y="0"/>
                  </a:lnTo>
                  <a:lnTo>
                    <a:pt x="4" y="0"/>
                  </a:lnTo>
                  <a:lnTo>
                    <a:pt x="4" y="2"/>
                  </a:lnTo>
                  <a:lnTo>
                    <a:pt x="1" y="3"/>
                  </a:lnTo>
                  <a:lnTo>
                    <a:pt x="0" y="2"/>
                  </a:lnTo>
                  <a:lnTo>
                    <a:pt x="0"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82" name="Freeform 1365"/>
            <p:cNvSpPr>
              <a:spLocks/>
            </p:cNvSpPr>
            <p:nvPr/>
          </p:nvSpPr>
          <p:spPr bwMode="auto">
            <a:xfrm>
              <a:off x="7820146" y="3275639"/>
              <a:ext cx="10534" cy="5071"/>
            </a:xfrm>
            <a:custGeom>
              <a:avLst/>
              <a:gdLst/>
              <a:ahLst/>
              <a:cxnLst>
                <a:cxn ang="0">
                  <a:pos x="0" y="1"/>
                </a:cxn>
                <a:cxn ang="0">
                  <a:pos x="0" y="1"/>
                </a:cxn>
                <a:cxn ang="0">
                  <a:pos x="1" y="0"/>
                </a:cxn>
                <a:cxn ang="0">
                  <a:pos x="4" y="0"/>
                </a:cxn>
                <a:cxn ang="0">
                  <a:pos x="11" y="4"/>
                </a:cxn>
                <a:cxn ang="0">
                  <a:pos x="8" y="4"/>
                </a:cxn>
                <a:cxn ang="0">
                  <a:pos x="6" y="5"/>
                </a:cxn>
                <a:cxn ang="0">
                  <a:pos x="3" y="4"/>
                </a:cxn>
                <a:cxn ang="0">
                  <a:pos x="1" y="2"/>
                </a:cxn>
                <a:cxn ang="0">
                  <a:pos x="0" y="2"/>
                </a:cxn>
                <a:cxn ang="0">
                  <a:pos x="0" y="1"/>
                </a:cxn>
                <a:cxn ang="0">
                  <a:pos x="0" y="1"/>
                </a:cxn>
              </a:cxnLst>
              <a:rect l="0" t="0" r="r" b="b"/>
              <a:pathLst>
                <a:path w="11" h="5">
                  <a:moveTo>
                    <a:pt x="0" y="1"/>
                  </a:moveTo>
                  <a:lnTo>
                    <a:pt x="0" y="1"/>
                  </a:lnTo>
                  <a:lnTo>
                    <a:pt x="1" y="0"/>
                  </a:lnTo>
                  <a:lnTo>
                    <a:pt x="4" y="0"/>
                  </a:lnTo>
                  <a:lnTo>
                    <a:pt x="11" y="4"/>
                  </a:lnTo>
                  <a:lnTo>
                    <a:pt x="8" y="4"/>
                  </a:lnTo>
                  <a:lnTo>
                    <a:pt x="6" y="5"/>
                  </a:lnTo>
                  <a:lnTo>
                    <a:pt x="3" y="4"/>
                  </a:lnTo>
                  <a:lnTo>
                    <a:pt x="1" y="2"/>
                  </a:lnTo>
                  <a:lnTo>
                    <a:pt x="0" y="2"/>
                  </a:lnTo>
                  <a:lnTo>
                    <a:pt x="0" y="1"/>
                  </a:lnTo>
                  <a:lnTo>
                    <a:pt x="0"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83" name="Freeform 1366"/>
            <p:cNvSpPr>
              <a:spLocks/>
            </p:cNvSpPr>
            <p:nvPr/>
          </p:nvSpPr>
          <p:spPr bwMode="auto">
            <a:xfrm>
              <a:off x="7820146" y="3275639"/>
              <a:ext cx="10534" cy="5071"/>
            </a:xfrm>
            <a:custGeom>
              <a:avLst/>
              <a:gdLst/>
              <a:ahLst/>
              <a:cxnLst>
                <a:cxn ang="0">
                  <a:pos x="0" y="1"/>
                </a:cxn>
                <a:cxn ang="0">
                  <a:pos x="0" y="1"/>
                </a:cxn>
                <a:cxn ang="0">
                  <a:pos x="1" y="0"/>
                </a:cxn>
                <a:cxn ang="0">
                  <a:pos x="4" y="0"/>
                </a:cxn>
                <a:cxn ang="0">
                  <a:pos x="11" y="4"/>
                </a:cxn>
                <a:cxn ang="0">
                  <a:pos x="8" y="4"/>
                </a:cxn>
                <a:cxn ang="0">
                  <a:pos x="6" y="5"/>
                </a:cxn>
                <a:cxn ang="0">
                  <a:pos x="3" y="4"/>
                </a:cxn>
                <a:cxn ang="0">
                  <a:pos x="1" y="2"/>
                </a:cxn>
                <a:cxn ang="0">
                  <a:pos x="0" y="2"/>
                </a:cxn>
                <a:cxn ang="0">
                  <a:pos x="0" y="1"/>
                </a:cxn>
                <a:cxn ang="0">
                  <a:pos x="0" y="1"/>
                </a:cxn>
              </a:cxnLst>
              <a:rect l="0" t="0" r="r" b="b"/>
              <a:pathLst>
                <a:path w="11" h="5">
                  <a:moveTo>
                    <a:pt x="0" y="1"/>
                  </a:moveTo>
                  <a:lnTo>
                    <a:pt x="0" y="1"/>
                  </a:lnTo>
                  <a:lnTo>
                    <a:pt x="1" y="0"/>
                  </a:lnTo>
                  <a:lnTo>
                    <a:pt x="4" y="0"/>
                  </a:lnTo>
                  <a:lnTo>
                    <a:pt x="11" y="4"/>
                  </a:lnTo>
                  <a:lnTo>
                    <a:pt x="8" y="4"/>
                  </a:lnTo>
                  <a:lnTo>
                    <a:pt x="6" y="5"/>
                  </a:lnTo>
                  <a:lnTo>
                    <a:pt x="3" y="4"/>
                  </a:lnTo>
                  <a:lnTo>
                    <a:pt x="1" y="2"/>
                  </a:lnTo>
                  <a:lnTo>
                    <a:pt x="0" y="2"/>
                  </a:lnTo>
                  <a:lnTo>
                    <a:pt x="0" y="1"/>
                  </a:lnTo>
                  <a:lnTo>
                    <a:pt x="0" y="1"/>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84" name="Freeform 1367"/>
            <p:cNvSpPr>
              <a:spLocks/>
            </p:cNvSpPr>
            <p:nvPr/>
          </p:nvSpPr>
          <p:spPr bwMode="auto">
            <a:xfrm>
              <a:off x="7824536" y="3289837"/>
              <a:ext cx="3511" cy="4057"/>
            </a:xfrm>
            <a:custGeom>
              <a:avLst/>
              <a:gdLst/>
              <a:ahLst/>
              <a:cxnLst>
                <a:cxn ang="0">
                  <a:pos x="0" y="0"/>
                </a:cxn>
                <a:cxn ang="0">
                  <a:pos x="3" y="0"/>
                </a:cxn>
                <a:cxn ang="0">
                  <a:pos x="4" y="0"/>
                </a:cxn>
                <a:cxn ang="0">
                  <a:pos x="4" y="4"/>
                </a:cxn>
                <a:cxn ang="0">
                  <a:pos x="3" y="4"/>
                </a:cxn>
                <a:cxn ang="0">
                  <a:pos x="2" y="4"/>
                </a:cxn>
                <a:cxn ang="0">
                  <a:pos x="0" y="0"/>
                </a:cxn>
              </a:cxnLst>
              <a:rect l="0" t="0" r="r" b="b"/>
              <a:pathLst>
                <a:path w="4" h="4">
                  <a:moveTo>
                    <a:pt x="0" y="0"/>
                  </a:moveTo>
                  <a:lnTo>
                    <a:pt x="3" y="0"/>
                  </a:lnTo>
                  <a:lnTo>
                    <a:pt x="4" y="0"/>
                  </a:lnTo>
                  <a:lnTo>
                    <a:pt x="4" y="4"/>
                  </a:lnTo>
                  <a:lnTo>
                    <a:pt x="3" y="4"/>
                  </a:lnTo>
                  <a:lnTo>
                    <a:pt x="2" y="4"/>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85" name="Freeform 1368"/>
            <p:cNvSpPr>
              <a:spLocks/>
            </p:cNvSpPr>
            <p:nvPr/>
          </p:nvSpPr>
          <p:spPr bwMode="auto">
            <a:xfrm>
              <a:off x="7824536" y="3289837"/>
              <a:ext cx="3511" cy="4057"/>
            </a:xfrm>
            <a:custGeom>
              <a:avLst/>
              <a:gdLst/>
              <a:ahLst/>
              <a:cxnLst>
                <a:cxn ang="0">
                  <a:pos x="0" y="0"/>
                </a:cxn>
                <a:cxn ang="0">
                  <a:pos x="3" y="0"/>
                </a:cxn>
                <a:cxn ang="0">
                  <a:pos x="4" y="0"/>
                </a:cxn>
                <a:cxn ang="0">
                  <a:pos x="4" y="4"/>
                </a:cxn>
                <a:cxn ang="0">
                  <a:pos x="3" y="4"/>
                </a:cxn>
                <a:cxn ang="0">
                  <a:pos x="2" y="4"/>
                </a:cxn>
                <a:cxn ang="0">
                  <a:pos x="0" y="0"/>
                </a:cxn>
              </a:cxnLst>
              <a:rect l="0" t="0" r="r" b="b"/>
              <a:pathLst>
                <a:path w="4" h="4">
                  <a:moveTo>
                    <a:pt x="0" y="0"/>
                  </a:moveTo>
                  <a:lnTo>
                    <a:pt x="3" y="0"/>
                  </a:lnTo>
                  <a:lnTo>
                    <a:pt x="4" y="0"/>
                  </a:lnTo>
                  <a:lnTo>
                    <a:pt x="4" y="4"/>
                  </a:lnTo>
                  <a:lnTo>
                    <a:pt x="3" y="4"/>
                  </a:lnTo>
                  <a:lnTo>
                    <a:pt x="2" y="4"/>
                  </a:lnTo>
                  <a:lnTo>
                    <a:pt x="0"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86" name="Freeform 1369"/>
            <p:cNvSpPr>
              <a:spLocks/>
            </p:cNvSpPr>
            <p:nvPr/>
          </p:nvSpPr>
          <p:spPr bwMode="auto">
            <a:xfrm>
              <a:off x="7812247" y="3299979"/>
              <a:ext cx="7900" cy="6085"/>
            </a:xfrm>
            <a:custGeom>
              <a:avLst/>
              <a:gdLst/>
              <a:ahLst/>
              <a:cxnLst>
                <a:cxn ang="0">
                  <a:pos x="0" y="3"/>
                </a:cxn>
                <a:cxn ang="0">
                  <a:pos x="1" y="3"/>
                </a:cxn>
                <a:cxn ang="0">
                  <a:pos x="6" y="0"/>
                </a:cxn>
                <a:cxn ang="0">
                  <a:pos x="7" y="0"/>
                </a:cxn>
                <a:cxn ang="0">
                  <a:pos x="9" y="1"/>
                </a:cxn>
                <a:cxn ang="0">
                  <a:pos x="9" y="3"/>
                </a:cxn>
                <a:cxn ang="0">
                  <a:pos x="9" y="4"/>
                </a:cxn>
                <a:cxn ang="0">
                  <a:pos x="6" y="6"/>
                </a:cxn>
                <a:cxn ang="0">
                  <a:pos x="4" y="6"/>
                </a:cxn>
                <a:cxn ang="0">
                  <a:pos x="0" y="3"/>
                </a:cxn>
                <a:cxn ang="0">
                  <a:pos x="0" y="3"/>
                </a:cxn>
              </a:cxnLst>
              <a:rect l="0" t="0" r="r" b="b"/>
              <a:pathLst>
                <a:path w="9" h="6">
                  <a:moveTo>
                    <a:pt x="0" y="3"/>
                  </a:moveTo>
                  <a:lnTo>
                    <a:pt x="1" y="3"/>
                  </a:lnTo>
                  <a:lnTo>
                    <a:pt x="6" y="0"/>
                  </a:lnTo>
                  <a:lnTo>
                    <a:pt x="7" y="0"/>
                  </a:lnTo>
                  <a:lnTo>
                    <a:pt x="9" y="1"/>
                  </a:lnTo>
                  <a:lnTo>
                    <a:pt x="9" y="3"/>
                  </a:lnTo>
                  <a:lnTo>
                    <a:pt x="9" y="4"/>
                  </a:lnTo>
                  <a:lnTo>
                    <a:pt x="6" y="6"/>
                  </a:lnTo>
                  <a:lnTo>
                    <a:pt x="4" y="6"/>
                  </a:lnTo>
                  <a:lnTo>
                    <a:pt x="0" y="3"/>
                  </a:lnTo>
                  <a:lnTo>
                    <a:pt x="0" y="3"/>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87" name="Freeform 1370"/>
            <p:cNvSpPr>
              <a:spLocks/>
            </p:cNvSpPr>
            <p:nvPr/>
          </p:nvSpPr>
          <p:spPr bwMode="auto">
            <a:xfrm>
              <a:off x="7812247" y="3299979"/>
              <a:ext cx="7900" cy="6085"/>
            </a:xfrm>
            <a:custGeom>
              <a:avLst/>
              <a:gdLst/>
              <a:ahLst/>
              <a:cxnLst>
                <a:cxn ang="0">
                  <a:pos x="0" y="3"/>
                </a:cxn>
                <a:cxn ang="0">
                  <a:pos x="1" y="3"/>
                </a:cxn>
                <a:cxn ang="0">
                  <a:pos x="6" y="0"/>
                </a:cxn>
                <a:cxn ang="0">
                  <a:pos x="7" y="0"/>
                </a:cxn>
                <a:cxn ang="0">
                  <a:pos x="9" y="1"/>
                </a:cxn>
                <a:cxn ang="0">
                  <a:pos x="9" y="3"/>
                </a:cxn>
                <a:cxn ang="0">
                  <a:pos x="9" y="4"/>
                </a:cxn>
                <a:cxn ang="0">
                  <a:pos x="6" y="6"/>
                </a:cxn>
                <a:cxn ang="0">
                  <a:pos x="4" y="6"/>
                </a:cxn>
                <a:cxn ang="0">
                  <a:pos x="0" y="3"/>
                </a:cxn>
                <a:cxn ang="0">
                  <a:pos x="0" y="3"/>
                </a:cxn>
              </a:cxnLst>
              <a:rect l="0" t="0" r="r" b="b"/>
              <a:pathLst>
                <a:path w="9" h="6">
                  <a:moveTo>
                    <a:pt x="0" y="3"/>
                  </a:moveTo>
                  <a:lnTo>
                    <a:pt x="1" y="3"/>
                  </a:lnTo>
                  <a:lnTo>
                    <a:pt x="6" y="0"/>
                  </a:lnTo>
                  <a:lnTo>
                    <a:pt x="7" y="0"/>
                  </a:lnTo>
                  <a:lnTo>
                    <a:pt x="9" y="1"/>
                  </a:lnTo>
                  <a:lnTo>
                    <a:pt x="9" y="3"/>
                  </a:lnTo>
                  <a:lnTo>
                    <a:pt x="9" y="4"/>
                  </a:lnTo>
                  <a:lnTo>
                    <a:pt x="6" y="6"/>
                  </a:lnTo>
                  <a:lnTo>
                    <a:pt x="4" y="6"/>
                  </a:lnTo>
                  <a:lnTo>
                    <a:pt x="0" y="3"/>
                  </a:lnTo>
                  <a:lnTo>
                    <a:pt x="0" y="3"/>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88" name="Freeform 1371"/>
            <p:cNvSpPr>
              <a:spLocks/>
            </p:cNvSpPr>
            <p:nvPr/>
          </p:nvSpPr>
          <p:spPr bwMode="auto">
            <a:xfrm>
              <a:off x="7788547" y="3316206"/>
              <a:ext cx="37746" cy="17241"/>
            </a:xfrm>
            <a:custGeom>
              <a:avLst/>
              <a:gdLst/>
              <a:ahLst/>
              <a:cxnLst>
                <a:cxn ang="0">
                  <a:pos x="0" y="10"/>
                </a:cxn>
                <a:cxn ang="0">
                  <a:pos x="0" y="10"/>
                </a:cxn>
                <a:cxn ang="0">
                  <a:pos x="0" y="6"/>
                </a:cxn>
                <a:cxn ang="0">
                  <a:pos x="0" y="4"/>
                </a:cxn>
                <a:cxn ang="0">
                  <a:pos x="1" y="4"/>
                </a:cxn>
                <a:cxn ang="0">
                  <a:pos x="4" y="1"/>
                </a:cxn>
                <a:cxn ang="0">
                  <a:pos x="13" y="1"/>
                </a:cxn>
                <a:cxn ang="0">
                  <a:pos x="16" y="0"/>
                </a:cxn>
                <a:cxn ang="0">
                  <a:pos x="17" y="1"/>
                </a:cxn>
                <a:cxn ang="0">
                  <a:pos x="23" y="0"/>
                </a:cxn>
                <a:cxn ang="0">
                  <a:pos x="27" y="3"/>
                </a:cxn>
                <a:cxn ang="0">
                  <a:pos x="32" y="3"/>
                </a:cxn>
                <a:cxn ang="0">
                  <a:pos x="33" y="3"/>
                </a:cxn>
                <a:cxn ang="0">
                  <a:pos x="36" y="3"/>
                </a:cxn>
                <a:cxn ang="0">
                  <a:pos x="39" y="8"/>
                </a:cxn>
                <a:cxn ang="0">
                  <a:pos x="41" y="10"/>
                </a:cxn>
                <a:cxn ang="0">
                  <a:pos x="41" y="13"/>
                </a:cxn>
                <a:cxn ang="0">
                  <a:pos x="41" y="16"/>
                </a:cxn>
                <a:cxn ang="0">
                  <a:pos x="27" y="8"/>
                </a:cxn>
                <a:cxn ang="0">
                  <a:pos x="23" y="7"/>
                </a:cxn>
                <a:cxn ang="0">
                  <a:pos x="23" y="8"/>
                </a:cxn>
                <a:cxn ang="0">
                  <a:pos x="16" y="8"/>
                </a:cxn>
                <a:cxn ang="0">
                  <a:pos x="13" y="7"/>
                </a:cxn>
                <a:cxn ang="0">
                  <a:pos x="11" y="7"/>
                </a:cxn>
                <a:cxn ang="0">
                  <a:pos x="10" y="8"/>
                </a:cxn>
                <a:cxn ang="0">
                  <a:pos x="9" y="10"/>
                </a:cxn>
                <a:cxn ang="0">
                  <a:pos x="6" y="8"/>
                </a:cxn>
                <a:cxn ang="0">
                  <a:pos x="3" y="6"/>
                </a:cxn>
                <a:cxn ang="0">
                  <a:pos x="0" y="10"/>
                </a:cxn>
              </a:cxnLst>
              <a:rect l="0" t="0" r="r" b="b"/>
              <a:pathLst>
                <a:path w="41" h="16">
                  <a:moveTo>
                    <a:pt x="0" y="10"/>
                  </a:moveTo>
                  <a:lnTo>
                    <a:pt x="0" y="10"/>
                  </a:lnTo>
                  <a:lnTo>
                    <a:pt x="0" y="6"/>
                  </a:lnTo>
                  <a:lnTo>
                    <a:pt x="0" y="4"/>
                  </a:lnTo>
                  <a:lnTo>
                    <a:pt x="1" y="4"/>
                  </a:lnTo>
                  <a:lnTo>
                    <a:pt x="4" y="1"/>
                  </a:lnTo>
                  <a:lnTo>
                    <a:pt x="13" y="1"/>
                  </a:lnTo>
                  <a:lnTo>
                    <a:pt x="16" y="0"/>
                  </a:lnTo>
                  <a:lnTo>
                    <a:pt x="17" y="1"/>
                  </a:lnTo>
                  <a:lnTo>
                    <a:pt x="23" y="0"/>
                  </a:lnTo>
                  <a:lnTo>
                    <a:pt x="27" y="3"/>
                  </a:lnTo>
                  <a:lnTo>
                    <a:pt x="32" y="3"/>
                  </a:lnTo>
                  <a:lnTo>
                    <a:pt x="33" y="3"/>
                  </a:lnTo>
                  <a:lnTo>
                    <a:pt x="36" y="3"/>
                  </a:lnTo>
                  <a:lnTo>
                    <a:pt x="39" y="8"/>
                  </a:lnTo>
                  <a:lnTo>
                    <a:pt x="41" y="10"/>
                  </a:lnTo>
                  <a:lnTo>
                    <a:pt x="41" y="13"/>
                  </a:lnTo>
                  <a:lnTo>
                    <a:pt x="41" y="16"/>
                  </a:lnTo>
                  <a:lnTo>
                    <a:pt x="27" y="8"/>
                  </a:lnTo>
                  <a:lnTo>
                    <a:pt x="23" y="7"/>
                  </a:lnTo>
                  <a:lnTo>
                    <a:pt x="23" y="8"/>
                  </a:lnTo>
                  <a:lnTo>
                    <a:pt x="16" y="8"/>
                  </a:lnTo>
                  <a:lnTo>
                    <a:pt x="13" y="7"/>
                  </a:lnTo>
                  <a:lnTo>
                    <a:pt x="11" y="7"/>
                  </a:lnTo>
                  <a:lnTo>
                    <a:pt x="10" y="8"/>
                  </a:lnTo>
                  <a:lnTo>
                    <a:pt x="9" y="10"/>
                  </a:lnTo>
                  <a:lnTo>
                    <a:pt x="6" y="8"/>
                  </a:lnTo>
                  <a:lnTo>
                    <a:pt x="3" y="6"/>
                  </a:lnTo>
                  <a:lnTo>
                    <a:pt x="0" y="1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89" name="Freeform 1373"/>
            <p:cNvSpPr>
              <a:spLocks/>
            </p:cNvSpPr>
            <p:nvPr/>
          </p:nvSpPr>
          <p:spPr bwMode="auto">
            <a:xfrm>
              <a:off x="7670920" y="3250286"/>
              <a:ext cx="81636" cy="107498"/>
            </a:xfrm>
            <a:custGeom>
              <a:avLst/>
              <a:gdLst/>
              <a:ahLst/>
              <a:cxnLst>
                <a:cxn ang="0">
                  <a:pos x="35" y="6"/>
                </a:cxn>
                <a:cxn ang="0">
                  <a:pos x="38" y="9"/>
                </a:cxn>
                <a:cxn ang="0">
                  <a:pos x="52" y="10"/>
                </a:cxn>
                <a:cxn ang="0">
                  <a:pos x="57" y="11"/>
                </a:cxn>
                <a:cxn ang="0">
                  <a:pos x="70" y="11"/>
                </a:cxn>
                <a:cxn ang="0">
                  <a:pos x="83" y="1"/>
                </a:cxn>
                <a:cxn ang="0">
                  <a:pos x="87" y="0"/>
                </a:cxn>
                <a:cxn ang="0">
                  <a:pos x="89" y="3"/>
                </a:cxn>
                <a:cxn ang="0">
                  <a:pos x="80" y="14"/>
                </a:cxn>
                <a:cxn ang="0">
                  <a:pos x="63" y="20"/>
                </a:cxn>
                <a:cxn ang="0">
                  <a:pos x="42" y="19"/>
                </a:cxn>
                <a:cxn ang="0">
                  <a:pos x="38" y="17"/>
                </a:cxn>
                <a:cxn ang="0">
                  <a:pos x="33" y="17"/>
                </a:cxn>
                <a:cxn ang="0">
                  <a:pos x="31" y="19"/>
                </a:cxn>
                <a:cxn ang="0">
                  <a:pos x="18" y="23"/>
                </a:cxn>
                <a:cxn ang="0">
                  <a:pos x="19" y="38"/>
                </a:cxn>
                <a:cxn ang="0">
                  <a:pos x="25" y="43"/>
                </a:cxn>
                <a:cxn ang="0">
                  <a:pos x="32" y="42"/>
                </a:cxn>
                <a:cxn ang="0">
                  <a:pos x="38" y="36"/>
                </a:cxn>
                <a:cxn ang="0">
                  <a:pos x="45" y="36"/>
                </a:cxn>
                <a:cxn ang="0">
                  <a:pos x="55" y="33"/>
                </a:cxn>
                <a:cxn ang="0">
                  <a:pos x="63" y="32"/>
                </a:cxn>
                <a:cxn ang="0">
                  <a:pos x="64" y="36"/>
                </a:cxn>
                <a:cxn ang="0">
                  <a:pos x="60" y="36"/>
                </a:cxn>
                <a:cxn ang="0">
                  <a:pos x="48" y="46"/>
                </a:cxn>
                <a:cxn ang="0">
                  <a:pos x="35" y="49"/>
                </a:cxn>
                <a:cxn ang="0">
                  <a:pos x="39" y="55"/>
                </a:cxn>
                <a:cxn ang="0">
                  <a:pos x="48" y="65"/>
                </a:cxn>
                <a:cxn ang="0">
                  <a:pos x="49" y="70"/>
                </a:cxn>
                <a:cxn ang="0">
                  <a:pos x="47" y="71"/>
                </a:cxn>
                <a:cxn ang="0">
                  <a:pos x="47" y="75"/>
                </a:cxn>
                <a:cxn ang="0">
                  <a:pos x="52" y="81"/>
                </a:cxn>
                <a:cxn ang="0">
                  <a:pos x="55" y="83"/>
                </a:cxn>
                <a:cxn ang="0">
                  <a:pos x="54" y="87"/>
                </a:cxn>
                <a:cxn ang="0">
                  <a:pos x="47" y="87"/>
                </a:cxn>
                <a:cxn ang="0">
                  <a:pos x="42" y="93"/>
                </a:cxn>
                <a:cxn ang="0">
                  <a:pos x="36" y="90"/>
                </a:cxn>
                <a:cxn ang="0">
                  <a:pos x="38" y="83"/>
                </a:cxn>
                <a:cxn ang="0">
                  <a:pos x="31" y="75"/>
                </a:cxn>
                <a:cxn ang="0">
                  <a:pos x="31" y="68"/>
                </a:cxn>
                <a:cxn ang="0">
                  <a:pos x="26" y="61"/>
                </a:cxn>
                <a:cxn ang="0">
                  <a:pos x="19" y="68"/>
                </a:cxn>
                <a:cxn ang="0">
                  <a:pos x="20" y="88"/>
                </a:cxn>
                <a:cxn ang="0">
                  <a:pos x="20" y="94"/>
                </a:cxn>
                <a:cxn ang="0">
                  <a:pos x="20" y="103"/>
                </a:cxn>
                <a:cxn ang="0">
                  <a:pos x="10" y="104"/>
                </a:cxn>
                <a:cxn ang="0">
                  <a:pos x="6" y="99"/>
                </a:cxn>
                <a:cxn ang="0">
                  <a:pos x="9" y="80"/>
                </a:cxn>
                <a:cxn ang="0">
                  <a:pos x="2" y="74"/>
                </a:cxn>
                <a:cxn ang="0">
                  <a:pos x="0" y="62"/>
                </a:cxn>
                <a:cxn ang="0">
                  <a:pos x="6" y="51"/>
                </a:cxn>
                <a:cxn ang="0">
                  <a:pos x="9" y="36"/>
                </a:cxn>
                <a:cxn ang="0">
                  <a:pos x="12" y="33"/>
                </a:cxn>
                <a:cxn ang="0">
                  <a:pos x="13" y="26"/>
                </a:cxn>
                <a:cxn ang="0">
                  <a:pos x="12" y="25"/>
                </a:cxn>
                <a:cxn ang="0">
                  <a:pos x="15" y="17"/>
                </a:cxn>
                <a:cxn ang="0">
                  <a:pos x="19" y="11"/>
                </a:cxn>
                <a:cxn ang="0">
                  <a:pos x="22" y="13"/>
                </a:cxn>
                <a:cxn ang="0">
                  <a:pos x="26" y="10"/>
                </a:cxn>
                <a:cxn ang="0">
                  <a:pos x="28" y="6"/>
                </a:cxn>
              </a:cxnLst>
              <a:rect l="0" t="0" r="r" b="b"/>
              <a:pathLst>
                <a:path w="89" h="104">
                  <a:moveTo>
                    <a:pt x="31" y="6"/>
                  </a:moveTo>
                  <a:lnTo>
                    <a:pt x="35" y="6"/>
                  </a:lnTo>
                  <a:lnTo>
                    <a:pt x="36" y="7"/>
                  </a:lnTo>
                  <a:lnTo>
                    <a:pt x="38" y="9"/>
                  </a:lnTo>
                  <a:lnTo>
                    <a:pt x="51" y="10"/>
                  </a:lnTo>
                  <a:lnTo>
                    <a:pt x="52" y="10"/>
                  </a:lnTo>
                  <a:lnTo>
                    <a:pt x="55" y="11"/>
                  </a:lnTo>
                  <a:lnTo>
                    <a:pt x="57" y="11"/>
                  </a:lnTo>
                  <a:lnTo>
                    <a:pt x="58" y="10"/>
                  </a:lnTo>
                  <a:lnTo>
                    <a:pt x="70" y="11"/>
                  </a:lnTo>
                  <a:lnTo>
                    <a:pt x="74" y="10"/>
                  </a:lnTo>
                  <a:lnTo>
                    <a:pt x="83" y="1"/>
                  </a:lnTo>
                  <a:lnTo>
                    <a:pt x="86" y="0"/>
                  </a:lnTo>
                  <a:lnTo>
                    <a:pt x="87" y="0"/>
                  </a:lnTo>
                  <a:lnTo>
                    <a:pt x="89" y="0"/>
                  </a:lnTo>
                  <a:lnTo>
                    <a:pt x="89" y="3"/>
                  </a:lnTo>
                  <a:lnTo>
                    <a:pt x="89" y="4"/>
                  </a:lnTo>
                  <a:lnTo>
                    <a:pt x="80" y="14"/>
                  </a:lnTo>
                  <a:lnTo>
                    <a:pt x="76" y="19"/>
                  </a:lnTo>
                  <a:lnTo>
                    <a:pt x="63" y="20"/>
                  </a:lnTo>
                  <a:lnTo>
                    <a:pt x="60" y="17"/>
                  </a:lnTo>
                  <a:lnTo>
                    <a:pt x="42" y="19"/>
                  </a:lnTo>
                  <a:lnTo>
                    <a:pt x="39" y="17"/>
                  </a:lnTo>
                  <a:lnTo>
                    <a:pt x="38" y="17"/>
                  </a:lnTo>
                  <a:lnTo>
                    <a:pt x="36" y="17"/>
                  </a:lnTo>
                  <a:lnTo>
                    <a:pt x="33" y="17"/>
                  </a:lnTo>
                  <a:lnTo>
                    <a:pt x="33" y="17"/>
                  </a:lnTo>
                  <a:lnTo>
                    <a:pt x="31" y="19"/>
                  </a:lnTo>
                  <a:lnTo>
                    <a:pt x="22" y="17"/>
                  </a:lnTo>
                  <a:lnTo>
                    <a:pt x="18" y="23"/>
                  </a:lnTo>
                  <a:lnTo>
                    <a:pt x="18" y="35"/>
                  </a:lnTo>
                  <a:lnTo>
                    <a:pt x="19" y="38"/>
                  </a:lnTo>
                  <a:lnTo>
                    <a:pt x="22" y="38"/>
                  </a:lnTo>
                  <a:lnTo>
                    <a:pt x="25" y="43"/>
                  </a:lnTo>
                  <a:lnTo>
                    <a:pt x="31" y="43"/>
                  </a:lnTo>
                  <a:lnTo>
                    <a:pt x="32" y="42"/>
                  </a:lnTo>
                  <a:lnTo>
                    <a:pt x="35" y="38"/>
                  </a:lnTo>
                  <a:lnTo>
                    <a:pt x="38" y="36"/>
                  </a:lnTo>
                  <a:lnTo>
                    <a:pt x="44" y="38"/>
                  </a:lnTo>
                  <a:lnTo>
                    <a:pt x="45" y="36"/>
                  </a:lnTo>
                  <a:lnTo>
                    <a:pt x="55" y="35"/>
                  </a:lnTo>
                  <a:lnTo>
                    <a:pt x="55" y="33"/>
                  </a:lnTo>
                  <a:lnTo>
                    <a:pt x="60" y="32"/>
                  </a:lnTo>
                  <a:lnTo>
                    <a:pt x="63" y="32"/>
                  </a:lnTo>
                  <a:lnTo>
                    <a:pt x="64" y="33"/>
                  </a:lnTo>
                  <a:lnTo>
                    <a:pt x="64" y="36"/>
                  </a:lnTo>
                  <a:lnTo>
                    <a:pt x="63" y="39"/>
                  </a:lnTo>
                  <a:lnTo>
                    <a:pt x="60" y="36"/>
                  </a:lnTo>
                  <a:lnTo>
                    <a:pt x="55" y="38"/>
                  </a:lnTo>
                  <a:lnTo>
                    <a:pt x="48" y="46"/>
                  </a:lnTo>
                  <a:lnTo>
                    <a:pt x="38" y="51"/>
                  </a:lnTo>
                  <a:lnTo>
                    <a:pt x="35" y="49"/>
                  </a:lnTo>
                  <a:lnTo>
                    <a:pt x="35" y="52"/>
                  </a:lnTo>
                  <a:lnTo>
                    <a:pt x="39" y="55"/>
                  </a:lnTo>
                  <a:lnTo>
                    <a:pt x="47" y="65"/>
                  </a:lnTo>
                  <a:lnTo>
                    <a:pt x="48" y="65"/>
                  </a:lnTo>
                  <a:lnTo>
                    <a:pt x="48" y="68"/>
                  </a:lnTo>
                  <a:lnTo>
                    <a:pt x="49" y="70"/>
                  </a:lnTo>
                  <a:lnTo>
                    <a:pt x="49" y="71"/>
                  </a:lnTo>
                  <a:lnTo>
                    <a:pt x="47" y="71"/>
                  </a:lnTo>
                  <a:lnTo>
                    <a:pt x="47" y="74"/>
                  </a:lnTo>
                  <a:lnTo>
                    <a:pt x="47" y="75"/>
                  </a:lnTo>
                  <a:lnTo>
                    <a:pt x="52" y="80"/>
                  </a:lnTo>
                  <a:lnTo>
                    <a:pt x="52" y="81"/>
                  </a:lnTo>
                  <a:lnTo>
                    <a:pt x="54" y="83"/>
                  </a:lnTo>
                  <a:lnTo>
                    <a:pt x="55" y="83"/>
                  </a:lnTo>
                  <a:lnTo>
                    <a:pt x="55" y="84"/>
                  </a:lnTo>
                  <a:lnTo>
                    <a:pt x="54" y="87"/>
                  </a:lnTo>
                  <a:lnTo>
                    <a:pt x="49" y="87"/>
                  </a:lnTo>
                  <a:lnTo>
                    <a:pt x="47" y="87"/>
                  </a:lnTo>
                  <a:lnTo>
                    <a:pt x="45" y="91"/>
                  </a:lnTo>
                  <a:lnTo>
                    <a:pt x="42" y="93"/>
                  </a:lnTo>
                  <a:lnTo>
                    <a:pt x="38" y="93"/>
                  </a:lnTo>
                  <a:lnTo>
                    <a:pt x="36" y="90"/>
                  </a:lnTo>
                  <a:lnTo>
                    <a:pt x="36" y="86"/>
                  </a:lnTo>
                  <a:lnTo>
                    <a:pt x="38" y="83"/>
                  </a:lnTo>
                  <a:lnTo>
                    <a:pt x="36" y="81"/>
                  </a:lnTo>
                  <a:lnTo>
                    <a:pt x="31" y="75"/>
                  </a:lnTo>
                  <a:lnTo>
                    <a:pt x="29" y="72"/>
                  </a:lnTo>
                  <a:lnTo>
                    <a:pt x="31" y="68"/>
                  </a:lnTo>
                  <a:lnTo>
                    <a:pt x="29" y="61"/>
                  </a:lnTo>
                  <a:lnTo>
                    <a:pt x="26" y="61"/>
                  </a:lnTo>
                  <a:lnTo>
                    <a:pt x="20" y="65"/>
                  </a:lnTo>
                  <a:lnTo>
                    <a:pt x="19" y="68"/>
                  </a:lnTo>
                  <a:lnTo>
                    <a:pt x="20" y="72"/>
                  </a:lnTo>
                  <a:lnTo>
                    <a:pt x="20" y="88"/>
                  </a:lnTo>
                  <a:lnTo>
                    <a:pt x="22" y="91"/>
                  </a:lnTo>
                  <a:lnTo>
                    <a:pt x="20" y="94"/>
                  </a:lnTo>
                  <a:lnTo>
                    <a:pt x="22" y="103"/>
                  </a:lnTo>
                  <a:lnTo>
                    <a:pt x="20" y="103"/>
                  </a:lnTo>
                  <a:lnTo>
                    <a:pt x="13" y="104"/>
                  </a:lnTo>
                  <a:lnTo>
                    <a:pt x="10" y="104"/>
                  </a:lnTo>
                  <a:lnTo>
                    <a:pt x="7" y="103"/>
                  </a:lnTo>
                  <a:lnTo>
                    <a:pt x="6" y="99"/>
                  </a:lnTo>
                  <a:lnTo>
                    <a:pt x="10" y="81"/>
                  </a:lnTo>
                  <a:lnTo>
                    <a:pt x="9" y="80"/>
                  </a:lnTo>
                  <a:lnTo>
                    <a:pt x="9" y="72"/>
                  </a:lnTo>
                  <a:lnTo>
                    <a:pt x="2" y="74"/>
                  </a:lnTo>
                  <a:lnTo>
                    <a:pt x="0" y="70"/>
                  </a:lnTo>
                  <a:lnTo>
                    <a:pt x="0" y="62"/>
                  </a:lnTo>
                  <a:lnTo>
                    <a:pt x="2" y="58"/>
                  </a:lnTo>
                  <a:lnTo>
                    <a:pt x="6" y="51"/>
                  </a:lnTo>
                  <a:lnTo>
                    <a:pt x="6" y="42"/>
                  </a:lnTo>
                  <a:lnTo>
                    <a:pt x="9" y="36"/>
                  </a:lnTo>
                  <a:lnTo>
                    <a:pt x="10" y="35"/>
                  </a:lnTo>
                  <a:lnTo>
                    <a:pt x="12" y="33"/>
                  </a:lnTo>
                  <a:lnTo>
                    <a:pt x="13" y="35"/>
                  </a:lnTo>
                  <a:lnTo>
                    <a:pt x="13" y="26"/>
                  </a:lnTo>
                  <a:lnTo>
                    <a:pt x="12" y="25"/>
                  </a:lnTo>
                  <a:lnTo>
                    <a:pt x="12" y="25"/>
                  </a:lnTo>
                  <a:lnTo>
                    <a:pt x="13" y="22"/>
                  </a:lnTo>
                  <a:lnTo>
                    <a:pt x="15" y="17"/>
                  </a:lnTo>
                  <a:lnTo>
                    <a:pt x="16" y="14"/>
                  </a:lnTo>
                  <a:lnTo>
                    <a:pt x="19" y="11"/>
                  </a:lnTo>
                  <a:lnTo>
                    <a:pt x="19" y="11"/>
                  </a:lnTo>
                  <a:lnTo>
                    <a:pt x="22" y="13"/>
                  </a:lnTo>
                  <a:lnTo>
                    <a:pt x="23" y="13"/>
                  </a:lnTo>
                  <a:lnTo>
                    <a:pt x="26" y="10"/>
                  </a:lnTo>
                  <a:lnTo>
                    <a:pt x="26" y="7"/>
                  </a:lnTo>
                  <a:lnTo>
                    <a:pt x="28" y="6"/>
                  </a:lnTo>
                  <a:lnTo>
                    <a:pt x="31" y="6"/>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90" name="Freeform 1375"/>
            <p:cNvSpPr>
              <a:spLocks/>
            </p:cNvSpPr>
            <p:nvPr/>
          </p:nvSpPr>
          <p:spPr bwMode="auto">
            <a:xfrm>
              <a:off x="7708666" y="3350685"/>
              <a:ext cx="3511" cy="5071"/>
            </a:xfrm>
            <a:custGeom>
              <a:avLst/>
              <a:gdLst/>
              <a:ahLst/>
              <a:cxnLst>
                <a:cxn ang="0">
                  <a:pos x="0" y="0"/>
                </a:cxn>
                <a:cxn ang="0">
                  <a:pos x="0" y="0"/>
                </a:cxn>
                <a:cxn ang="0">
                  <a:pos x="1" y="0"/>
                </a:cxn>
                <a:cxn ang="0">
                  <a:pos x="3" y="0"/>
                </a:cxn>
                <a:cxn ang="0">
                  <a:pos x="4" y="2"/>
                </a:cxn>
                <a:cxn ang="0">
                  <a:pos x="4" y="3"/>
                </a:cxn>
                <a:cxn ang="0">
                  <a:pos x="3" y="5"/>
                </a:cxn>
                <a:cxn ang="0">
                  <a:pos x="1" y="3"/>
                </a:cxn>
                <a:cxn ang="0">
                  <a:pos x="0" y="0"/>
                </a:cxn>
              </a:cxnLst>
              <a:rect l="0" t="0" r="r" b="b"/>
              <a:pathLst>
                <a:path w="4" h="5">
                  <a:moveTo>
                    <a:pt x="0" y="0"/>
                  </a:moveTo>
                  <a:lnTo>
                    <a:pt x="0" y="0"/>
                  </a:lnTo>
                  <a:lnTo>
                    <a:pt x="1" y="0"/>
                  </a:lnTo>
                  <a:lnTo>
                    <a:pt x="3" y="0"/>
                  </a:lnTo>
                  <a:lnTo>
                    <a:pt x="4" y="2"/>
                  </a:lnTo>
                  <a:lnTo>
                    <a:pt x="4" y="3"/>
                  </a:lnTo>
                  <a:lnTo>
                    <a:pt x="3" y="5"/>
                  </a:lnTo>
                  <a:lnTo>
                    <a:pt x="1" y="3"/>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91" name="Freeform 1376"/>
            <p:cNvSpPr>
              <a:spLocks/>
            </p:cNvSpPr>
            <p:nvPr/>
          </p:nvSpPr>
          <p:spPr bwMode="auto">
            <a:xfrm>
              <a:off x="7708666" y="3350685"/>
              <a:ext cx="3511" cy="5071"/>
            </a:xfrm>
            <a:custGeom>
              <a:avLst/>
              <a:gdLst/>
              <a:ahLst/>
              <a:cxnLst>
                <a:cxn ang="0">
                  <a:pos x="0" y="0"/>
                </a:cxn>
                <a:cxn ang="0">
                  <a:pos x="0" y="0"/>
                </a:cxn>
                <a:cxn ang="0">
                  <a:pos x="1" y="0"/>
                </a:cxn>
                <a:cxn ang="0">
                  <a:pos x="3" y="0"/>
                </a:cxn>
                <a:cxn ang="0">
                  <a:pos x="4" y="2"/>
                </a:cxn>
                <a:cxn ang="0">
                  <a:pos x="4" y="3"/>
                </a:cxn>
                <a:cxn ang="0">
                  <a:pos x="3" y="5"/>
                </a:cxn>
                <a:cxn ang="0">
                  <a:pos x="1" y="3"/>
                </a:cxn>
                <a:cxn ang="0">
                  <a:pos x="0" y="0"/>
                </a:cxn>
              </a:cxnLst>
              <a:rect l="0" t="0" r="r" b="b"/>
              <a:pathLst>
                <a:path w="4" h="5">
                  <a:moveTo>
                    <a:pt x="0" y="0"/>
                  </a:moveTo>
                  <a:lnTo>
                    <a:pt x="0" y="0"/>
                  </a:lnTo>
                  <a:lnTo>
                    <a:pt x="1" y="0"/>
                  </a:lnTo>
                  <a:lnTo>
                    <a:pt x="3" y="0"/>
                  </a:lnTo>
                  <a:lnTo>
                    <a:pt x="4" y="2"/>
                  </a:lnTo>
                  <a:lnTo>
                    <a:pt x="4" y="3"/>
                  </a:lnTo>
                  <a:lnTo>
                    <a:pt x="3" y="5"/>
                  </a:lnTo>
                  <a:lnTo>
                    <a:pt x="1" y="3"/>
                  </a:lnTo>
                  <a:lnTo>
                    <a:pt x="0"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92" name="Freeform 1377"/>
            <p:cNvSpPr>
              <a:spLocks/>
            </p:cNvSpPr>
            <p:nvPr/>
          </p:nvSpPr>
          <p:spPr bwMode="auto">
            <a:xfrm>
              <a:off x="7714810" y="3343587"/>
              <a:ext cx="6145" cy="10141"/>
            </a:xfrm>
            <a:custGeom>
              <a:avLst/>
              <a:gdLst/>
              <a:ahLst/>
              <a:cxnLst>
                <a:cxn ang="0">
                  <a:pos x="0" y="1"/>
                </a:cxn>
                <a:cxn ang="0">
                  <a:pos x="3" y="1"/>
                </a:cxn>
                <a:cxn ang="0">
                  <a:pos x="4" y="0"/>
                </a:cxn>
                <a:cxn ang="0">
                  <a:pos x="4" y="0"/>
                </a:cxn>
                <a:cxn ang="0">
                  <a:pos x="6" y="4"/>
                </a:cxn>
                <a:cxn ang="0">
                  <a:pos x="4" y="10"/>
                </a:cxn>
                <a:cxn ang="0">
                  <a:pos x="3" y="9"/>
                </a:cxn>
                <a:cxn ang="0">
                  <a:pos x="1" y="10"/>
                </a:cxn>
                <a:cxn ang="0">
                  <a:pos x="0" y="10"/>
                </a:cxn>
                <a:cxn ang="0">
                  <a:pos x="0" y="1"/>
                </a:cxn>
              </a:cxnLst>
              <a:rect l="0" t="0" r="r" b="b"/>
              <a:pathLst>
                <a:path w="6" h="10">
                  <a:moveTo>
                    <a:pt x="0" y="1"/>
                  </a:moveTo>
                  <a:lnTo>
                    <a:pt x="3" y="1"/>
                  </a:lnTo>
                  <a:lnTo>
                    <a:pt x="4" y="0"/>
                  </a:lnTo>
                  <a:lnTo>
                    <a:pt x="4" y="0"/>
                  </a:lnTo>
                  <a:lnTo>
                    <a:pt x="6" y="4"/>
                  </a:lnTo>
                  <a:lnTo>
                    <a:pt x="4" y="10"/>
                  </a:lnTo>
                  <a:lnTo>
                    <a:pt x="3" y="9"/>
                  </a:lnTo>
                  <a:lnTo>
                    <a:pt x="1" y="10"/>
                  </a:lnTo>
                  <a:lnTo>
                    <a:pt x="0" y="10"/>
                  </a:lnTo>
                  <a:lnTo>
                    <a:pt x="0"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93" name="Freeform 1378"/>
            <p:cNvSpPr>
              <a:spLocks/>
            </p:cNvSpPr>
            <p:nvPr/>
          </p:nvSpPr>
          <p:spPr bwMode="auto">
            <a:xfrm>
              <a:off x="7714810" y="3343587"/>
              <a:ext cx="6145" cy="10141"/>
            </a:xfrm>
            <a:custGeom>
              <a:avLst/>
              <a:gdLst/>
              <a:ahLst/>
              <a:cxnLst>
                <a:cxn ang="0">
                  <a:pos x="0" y="1"/>
                </a:cxn>
                <a:cxn ang="0">
                  <a:pos x="3" y="1"/>
                </a:cxn>
                <a:cxn ang="0">
                  <a:pos x="4" y="0"/>
                </a:cxn>
                <a:cxn ang="0">
                  <a:pos x="4" y="0"/>
                </a:cxn>
                <a:cxn ang="0">
                  <a:pos x="6" y="4"/>
                </a:cxn>
                <a:cxn ang="0">
                  <a:pos x="4" y="10"/>
                </a:cxn>
                <a:cxn ang="0">
                  <a:pos x="3" y="9"/>
                </a:cxn>
                <a:cxn ang="0">
                  <a:pos x="1" y="10"/>
                </a:cxn>
                <a:cxn ang="0">
                  <a:pos x="0" y="10"/>
                </a:cxn>
                <a:cxn ang="0">
                  <a:pos x="0" y="1"/>
                </a:cxn>
              </a:cxnLst>
              <a:rect l="0" t="0" r="r" b="b"/>
              <a:pathLst>
                <a:path w="6" h="10">
                  <a:moveTo>
                    <a:pt x="0" y="1"/>
                  </a:moveTo>
                  <a:lnTo>
                    <a:pt x="3" y="1"/>
                  </a:lnTo>
                  <a:lnTo>
                    <a:pt x="4" y="0"/>
                  </a:lnTo>
                  <a:lnTo>
                    <a:pt x="4" y="0"/>
                  </a:lnTo>
                  <a:lnTo>
                    <a:pt x="6" y="4"/>
                  </a:lnTo>
                  <a:lnTo>
                    <a:pt x="4" y="10"/>
                  </a:lnTo>
                  <a:lnTo>
                    <a:pt x="3" y="9"/>
                  </a:lnTo>
                  <a:lnTo>
                    <a:pt x="1" y="10"/>
                  </a:lnTo>
                  <a:lnTo>
                    <a:pt x="0" y="10"/>
                  </a:lnTo>
                  <a:lnTo>
                    <a:pt x="0" y="1"/>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94" name="Freeform 1379"/>
            <p:cNvSpPr>
              <a:spLocks/>
            </p:cNvSpPr>
            <p:nvPr/>
          </p:nvSpPr>
          <p:spPr bwMode="auto">
            <a:xfrm>
              <a:off x="7719200" y="3339530"/>
              <a:ext cx="7022" cy="18254"/>
            </a:xfrm>
            <a:custGeom>
              <a:avLst/>
              <a:gdLst/>
              <a:ahLst/>
              <a:cxnLst>
                <a:cxn ang="0">
                  <a:pos x="3" y="8"/>
                </a:cxn>
                <a:cxn ang="0">
                  <a:pos x="3" y="8"/>
                </a:cxn>
                <a:cxn ang="0">
                  <a:pos x="3" y="2"/>
                </a:cxn>
                <a:cxn ang="0">
                  <a:pos x="5" y="1"/>
                </a:cxn>
                <a:cxn ang="0">
                  <a:pos x="5" y="0"/>
                </a:cxn>
                <a:cxn ang="0">
                  <a:pos x="6" y="1"/>
                </a:cxn>
                <a:cxn ang="0">
                  <a:pos x="8" y="5"/>
                </a:cxn>
                <a:cxn ang="0">
                  <a:pos x="8" y="5"/>
                </a:cxn>
                <a:cxn ang="0">
                  <a:pos x="6" y="7"/>
                </a:cxn>
                <a:cxn ang="0">
                  <a:pos x="6" y="8"/>
                </a:cxn>
                <a:cxn ang="0">
                  <a:pos x="6" y="10"/>
                </a:cxn>
                <a:cxn ang="0">
                  <a:pos x="8" y="10"/>
                </a:cxn>
                <a:cxn ang="0">
                  <a:pos x="8" y="13"/>
                </a:cxn>
                <a:cxn ang="0">
                  <a:pos x="8" y="14"/>
                </a:cxn>
                <a:cxn ang="0">
                  <a:pos x="2" y="18"/>
                </a:cxn>
                <a:cxn ang="0">
                  <a:pos x="0" y="17"/>
                </a:cxn>
                <a:cxn ang="0">
                  <a:pos x="3" y="8"/>
                </a:cxn>
              </a:cxnLst>
              <a:rect l="0" t="0" r="r" b="b"/>
              <a:pathLst>
                <a:path w="8" h="18">
                  <a:moveTo>
                    <a:pt x="3" y="8"/>
                  </a:moveTo>
                  <a:lnTo>
                    <a:pt x="3" y="8"/>
                  </a:lnTo>
                  <a:lnTo>
                    <a:pt x="3" y="2"/>
                  </a:lnTo>
                  <a:lnTo>
                    <a:pt x="5" y="1"/>
                  </a:lnTo>
                  <a:lnTo>
                    <a:pt x="5" y="0"/>
                  </a:lnTo>
                  <a:lnTo>
                    <a:pt x="6" y="1"/>
                  </a:lnTo>
                  <a:lnTo>
                    <a:pt x="8" y="5"/>
                  </a:lnTo>
                  <a:lnTo>
                    <a:pt x="8" y="5"/>
                  </a:lnTo>
                  <a:lnTo>
                    <a:pt x="6" y="7"/>
                  </a:lnTo>
                  <a:lnTo>
                    <a:pt x="6" y="8"/>
                  </a:lnTo>
                  <a:lnTo>
                    <a:pt x="6" y="10"/>
                  </a:lnTo>
                  <a:lnTo>
                    <a:pt x="8" y="10"/>
                  </a:lnTo>
                  <a:lnTo>
                    <a:pt x="8" y="13"/>
                  </a:lnTo>
                  <a:lnTo>
                    <a:pt x="8" y="14"/>
                  </a:lnTo>
                  <a:lnTo>
                    <a:pt x="2" y="18"/>
                  </a:lnTo>
                  <a:lnTo>
                    <a:pt x="0" y="17"/>
                  </a:lnTo>
                  <a:lnTo>
                    <a:pt x="3" y="8"/>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95" name="Freeform 1380"/>
            <p:cNvSpPr>
              <a:spLocks/>
            </p:cNvSpPr>
            <p:nvPr/>
          </p:nvSpPr>
          <p:spPr bwMode="auto">
            <a:xfrm>
              <a:off x="7719200" y="3339530"/>
              <a:ext cx="7022" cy="18254"/>
            </a:xfrm>
            <a:custGeom>
              <a:avLst/>
              <a:gdLst/>
              <a:ahLst/>
              <a:cxnLst>
                <a:cxn ang="0">
                  <a:pos x="3" y="8"/>
                </a:cxn>
                <a:cxn ang="0">
                  <a:pos x="3" y="8"/>
                </a:cxn>
                <a:cxn ang="0">
                  <a:pos x="3" y="2"/>
                </a:cxn>
                <a:cxn ang="0">
                  <a:pos x="5" y="1"/>
                </a:cxn>
                <a:cxn ang="0">
                  <a:pos x="5" y="0"/>
                </a:cxn>
                <a:cxn ang="0">
                  <a:pos x="6" y="1"/>
                </a:cxn>
                <a:cxn ang="0">
                  <a:pos x="8" y="5"/>
                </a:cxn>
                <a:cxn ang="0">
                  <a:pos x="8" y="5"/>
                </a:cxn>
                <a:cxn ang="0">
                  <a:pos x="6" y="7"/>
                </a:cxn>
                <a:cxn ang="0">
                  <a:pos x="6" y="8"/>
                </a:cxn>
                <a:cxn ang="0">
                  <a:pos x="6" y="10"/>
                </a:cxn>
                <a:cxn ang="0">
                  <a:pos x="8" y="10"/>
                </a:cxn>
                <a:cxn ang="0">
                  <a:pos x="8" y="13"/>
                </a:cxn>
                <a:cxn ang="0">
                  <a:pos x="8" y="14"/>
                </a:cxn>
                <a:cxn ang="0">
                  <a:pos x="2" y="18"/>
                </a:cxn>
                <a:cxn ang="0">
                  <a:pos x="0" y="17"/>
                </a:cxn>
                <a:cxn ang="0">
                  <a:pos x="3" y="8"/>
                </a:cxn>
              </a:cxnLst>
              <a:rect l="0" t="0" r="r" b="b"/>
              <a:pathLst>
                <a:path w="8" h="18">
                  <a:moveTo>
                    <a:pt x="3" y="8"/>
                  </a:moveTo>
                  <a:lnTo>
                    <a:pt x="3" y="8"/>
                  </a:lnTo>
                  <a:lnTo>
                    <a:pt x="3" y="2"/>
                  </a:lnTo>
                  <a:lnTo>
                    <a:pt x="5" y="1"/>
                  </a:lnTo>
                  <a:lnTo>
                    <a:pt x="5" y="0"/>
                  </a:lnTo>
                  <a:lnTo>
                    <a:pt x="6" y="1"/>
                  </a:lnTo>
                  <a:lnTo>
                    <a:pt x="8" y="5"/>
                  </a:lnTo>
                  <a:lnTo>
                    <a:pt x="8" y="5"/>
                  </a:lnTo>
                  <a:lnTo>
                    <a:pt x="6" y="7"/>
                  </a:lnTo>
                  <a:lnTo>
                    <a:pt x="6" y="8"/>
                  </a:lnTo>
                  <a:lnTo>
                    <a:pt x="6" y="10"/>
                  </a:lnTo>
                  <a:lnTo>
                    <a:pt x="8" y="10"/>
                  </a:lnTo>
                  <a:lnTo>
                    <a:pt x="8" y="13"/>
                  </a:lnTo>
                  <a:lnTo>
                    <a:pt x="8" y="14"/>
                  </a:lnTo>
                  <a:lnTo>
                    <a:pt x="2" y="18"/>
                  </a:lnTo>
                  <a:lnTo>
                    <a:pt x="0" y="17"/>
                  </a:lnTo>
                  <a:lnTo>
                    <a:pt x="3" y="8"/>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96" name="Freeform 1381"/>
            <p:cNvSpPr>
              <a:spLocks/>
            </p:cNvSpPr>
            <p:nvPr/>
          </p:nvSpPr>
          <p:spPr bwMode="auto">
            <a:xfrm>
              <a:off x="7724467" y="3333445"/>
              <a:ext cx="2633" cy="4057"/>
            </a:xfrm>
            <a:custGeom>
              <a:avLst/>
              <a:gdLst/>
              <a:ahLst/>
              <a:cxnLst>
                <a:cxn ang="0">
                  <a:pos x="0" y="1"/>
                </a:cxn>
                <a:cxn ang="0">
                  <a:pos x="0" y="0"/>
                </a:cxn>
                <a:cxn ang="0">
                  <a:pos x="2" y="1"/>
                </a:cxn>
                <a:cxn ang="0">
                  <a:pos x="2" y="1"/>
                </a:cxn>
                <a:cxn ang="0">
                  <a:pos x="3" y="3"/>
                </a:cxn>
                <a:cxn ang="0">
                  <a:pos x="2" y="4"/>
                </a:cxn>
                <a:cxn ang="0">
                  <a:pos x="2" y="4"/>
                </a:cxn>
                <a:cxn ang="0">
                  <a:pos x="0" y="3"/>
                </a:cxn>
                <a:cxn ang="0">
                  <a:pos x="0" y="1"/>
                </a:cxn>
                <a:cxn ang="0">
                  <a:pos x="0" y="1"/>
                </a:cxn>
              </a:cxnLst>
              <a:rect l="0" t="0" r="r" b="b"/>
              <a:pathLst>
                <a:path w="3" h="4">
                  <a:moveTo>
                    <a:pt x="0" y="1"/>
                  </a:moveTo>
                  <a:lnTo>
                    <a:pt x="0" y="0"/>
                  </a:lnTo>
                  <a:lnTo>
                    <a:pt x="2" y="1"/>
                  </a:lnTo>
                  <a:lnTo>
                    <a:pt x="2" y="1"/>
                  </a:lnTo>
                  <a:lnTo>
                    <a:pt x="3" y="3"/>
                  </a:lnTo>
                  <a:lnTo>
                    <a:pt x="2" y="4"/>
                  </a:lnTo>
                  <a:lnTo>
                    <a:pt x="2" y="4"/>
                  </a:lnTo>
                  <a:lnTo>
                    <a:pt x="0" y="3"/>
                  </a:lnTo>
                  <a:lnTo>
                    <a:pt x="0" y="1"/>
                  </a:lnTo>
                  <a:lnTo>
                    <a:pt x="0"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97" name="Freeform 1382"/>
            <p:cNvSpPr>
              <a:spLocks/>
            </p:cNvSpPr>
            <p:nvPr/>
          </p:nvSpPr>
          <p:spPr bwMode="auto">
            <a:xfrm>
              <a:off x="7724467" y="3333445"/>
              <a:ext cx="2633" cy="4057"/>
            </a:xfrm>
            <a:custGeom>
              <a:avLst/>
              <a:gdLst/>
              <a:ahLst/>
              <a:cxnLst>
                <a:cxn ang="0">
                  <a:pos x="0" y="1"/>
                </a:cxn>
                <a:cxn ang="0">
                  <a:pos x="0" y="0"/>
                </a:cxn>
                <a:cxn ang="0">
                  <a:pos x="2" y="1"/>
                </a:cxn>
                <a:cxn ang="0">
                  <a:pos x="2" y="1"/>
                </a:cxn>
                <a:cxn ang="0">
                  <a:pos x="3" y="3"/>
                </a:cxn>
                <a:cxn ang="0">
                  <a:pos x="2" y="4"/>
                </a:cxn>
                <a:cxn ang="0">
                  <a:pos x="2" y="4"/>
                </a:cxn>
                <a:cxn ang="0">
                  <a:pos x="0" y="3"/>
                </a:cxn>
                <a:cxn ang="0">
                  <a:pos x="0" y="1"/>
                </a:cxn>
                <a:cxn ang="0">
                  <a:pos x="0" y="1"/>
                </a:cxn>
              </a:cxnLst>
              <a:rect l="0" t="0" r="r" b="b"/>
              <a:pathLst>
                <a:path w="3" h="4">
                  <a:moveTo>
                    <a:pt x="0" y="1"/>
                  </a:moveTo>
                  <a:lnTo>
                    <a:pt x="0" y="0"/>
                  </a:lnTo>
                  <a:lnTo>
                    <a:pt x="2" y="1"/>
                  </a:lnTo>
                  <a:lnTo>
                    <a:pt x="2" y="1"/>
                  </a:lnTo>
                  <a:lnTo>
                    <a:pt x="3" y="3"/>
                  </a:lnTo>
                  <a:lnTo>
                    <a:pt x="2" y="4"/>
                  </a:lnTo>
                  <a:lnTo>
                    <a:pt x="2" y="4"/>
                  </a:lnTo>
                  <a:lnTo>
                    <a:pt x="0" y="3"/>
                  </a:lnTo>
                  <a:lnTo>
                    <a:pt x="0" y="1"/>
                  </a:lnTo>
                  <a:lnTo>
                    <a:pt x="0" y="1"/>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98" name="Freeform 1383"/>
            <p:cNvSpPr>
              <a:spLocks/>
            </p:cNvSpPr>
            <p:nvPr/>
          </p:nvSpPr>
          <p:spPr bwMode="auto">
            <a:xfrm>
              <a:off x="7721833" y="3292880"/>
              <a:ext cx="4389" cy="5071"/>
            </a:xfrm>
            <a:custGeom>
              <a:avLst/>
              <a:gdLst/>
              <a:ahLst/>
              <a:cxnLst>
                <a:cxn ang="0">
                  <a:pos x="3" y="0"/>
                </a:cxn>
                <a:cxn ang="0">
                  <a:pos x="5" y="0"/>
                </a:cxn>
                <a:cxn ang="0">
                  <a:pos x="5" y="0"/>
                </a:cxn>
                <a:cxn ang="0">
                  <a:pos x="3" y="5"/>
                </a:cxn>
                <a:cxn ang="0">
                  <a:pos x="0" y="5"/>
                </a:cxn>
                <a:cxn ang="0">
                  <a:pos x="0" y="2"/>
                </a:cxn>
                <a:cxn ang="0">
                  <a:pos x="0" y="1"/>
                </a:cxn>
                <a:cxn ang="0">
                  <a:pos x="2" y="1"/>
                </a:cxn>
                <a:cxn ang="0">
                  <a:pos x="3" y="0"/>
                </a:cxn>
              </a:cxnLst>
              <a:rect l="0" t="0" r="r" b="b"/>
              <a:pathLst>
                <a:path w="5" h="5">
                  <a:moveTo>
                    <a:pt x="3" y="0"/>
                  </a:moveTo>
                  <a:lnTo>
                    <a:pt x="5" y="0"/>
                  </a:lnTo>
                  <a:lnTo>
                    <a:pt x="5" y="0"/>
                  </a:lnTo>
                  <a:lnTo>
                    <a:pt x="3" y="5"/>
                  </a:lnTo>
                  <a:lnTo>
                    <a:pt x="0" y="5"/>
                  </a:lnTo>
                  <a:lnTo>
                    <a:pt x="0" y="2"/>
                  </a:lnTo>
                  <a:lnTo>
                    <a:pt x="0" y="1"/>
                  </a:lnTo>
                  <a:lnTo>
                    <a:pt x="2" y="1"/>
                  </a:lnTo>
                  <a:lnTo>
                    <a:pt x="3"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099" name="Freeform 1384"/>
            <p:cNvSpPr>
              <a:spLocks/>
            </p:cNvSpPr>
            <p:nvPr/>
          </p:nvSpPr>
          <p:spPr bwMode="auto">
            <a:xfrm>
              <a:off x="7721833" y="3292880"/>
              <a:ext cx="4389" cy="5071"/>
            </a:xfrm>
            <a:custGeom>
              <a:avLst/>
              <a:gdLst/>
              <a:ahLst/>
              <a:cxnLst>
                <a:cxn ang="0">
                  <a:pos x="3" y="0"/>
                </a:cxn>
                <a:cxn ang="0">
                  <a:pos x="5" y="0"/>
                </a:cxn>
                <a:cxn ang="0">
                  <a:pos x="5" y="0"/>
                </a:cxn>
                <a:cxn ang="0">
                  <a:pos x="3" y="5"/>
                </a:cxn>
                <a:cxn ang="0">
                  <a:pos x="0" y="5"/>
                </a:cxn>
                <a:cxn ang="0">
                  <a:pos x="0" y="2"/>
                </a:cxn>
                <a:cxn ang="0">
                  <a:pos x="0" y="1"/>
                </a:cxn>
                <a:cxn ang="0">
                  <a:pos x="2" y="1"/>
                </a:cxn>
                <a:cxn ang="0">
                  <a:pos x="3" y="0"/>
                </a:cxn>
              </a:cxnLst>
              <a:rect l="0" t="0" r="r" b="b"/>
              <a:pathLst>
                <a:path w="5" h="5">
                  <a:moveTo>
                    <a:pt x="3" y="0"/>
                  </a:moveTo>
                  <a:lnTo>
                    <a:pt x="5" y="0"/>
                  </a:lnTo>
                  <a:lnTo>
                    <a:pt x="5" y="0"/>
                  </a:lnTo>
                  <a:lnTo>
                    <a:pt x="3" y="5"/>
                  </a:lnTo>
                  <a:lnTo>
                    <a:pt x="0" y="5"/>
                  </a:lnTo>
                  <a:lnTo>
                    <a:pt x="0" y="2"/>
                  </a:lnTo>
                  <a:lnTo>
                    <a:pt x="0" y="1"/>
                  </a:lnTo>
                  <a:lnTo>
                    <a:pt x="2" y="1"/>
                  </a:lnTo>
                  <a:lnTo>
                    <a:pt x="3"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00" name="Freeform 1385"/>
            <p:cNvSpPr>
              <a:spLocks/>
            </p:cNvSpPr>
            <p:nvPr/>
          </p:nvSpPr>
          <p:spPr bwMode="auto">
            <a:xfrm>
              <a:off x="7726222" y="3293894"/>
              <a:ext cx="4389" cy="4057"/>
            </a:xfrm>
            <a:custGeom>
              <a:avLst/>
              <a:gdLst/>
              <a:ahLst/>
              <a:cxnLst>
                <a:cxn ang="0">
                  <a:pos x="1" y="1"/>
                </a:cxn>
                <a:cxn ang="0">
                  <a:pos x="3" y="0"/>
                </a:cxn>
                <a:cxn ang="0">
                  <a:pos x="3" y="0"/>
                </a:cxn>
                <a:cxn ang="0">
                  <a:pos x="4" y="0"/>
                </a:cxn>
                <a:cxn ang="0">
                  <a:pos x="5" y="0"/>
                </a:cxn>
                <a:cxn ang="0">
                  <a:pos x="5" y="3"/>
                </a:cxn>
                <a:cxn ang="0">
                  <a:pos x="4" y="4"/>
                </a:cxn>
                <a:cxn ang="0">
                  <a:pos x="3" y="3"/>
                </a:cxn>
                <a:cxn ang="0">
                  <a:pos x="1" y="4"/>
                </a:cxn>
                <a:cxn ang="0">
                  <a:pos x="0" y="3"/>
                </a:cxn>
                <a:cxn ang="0">
                  <a:pos x="0" y="1"/>
                </a:cxn>
                <a:cxn ang="0">
                  <a:pos x="1" y="1"/>
                </a:cxn>
              </a:cxnLst>
              <a:rect l="0" t="0" r="r" b="b"/>
              <a:pathLst>
                <a:path w="5" h="4">
                  <a:moveTo>
                    <a:pt x="1" y="1"/>
                  </a:moveTo>
                  <a:lnTo>
                    <a:pt x="3" y="0"/>
                  </a:lnTo>
                  <a:lnTo>
                    <a:pt x="3" y="0"/>
                  </a:lnTo>
                  <a:lnTo>
                    <a:pt x="4" y="0"/>
                  </a:lnTo>
                  <a:lnTo>
                    <a:pt x="5" y="0"/>
                  </a:lnTo>
                  <a:lnTo>
                    <a:pt x="5" y="3"/>
                  </a:lnTo>
                  <a:lnTo>
                    <a:pt x="4" y="4"/>
                  </a:lnTo>
                  <a:lnTo>
                    <a:pt x="3" y="3"/>
                  </a:lnTo>
                  <a:lnTo>
                    <a:pt x="1" y="4"/>
                  </a:lnTo>
                  <a:lnTo>
                    <a:pt x="0" y="3"/>
                  </a:lnTo>
                  <a:lnTo>
                    <a:pt x="0" y="1"/>
                  </a:lnTo>
                  <a:lnTo>
                    <a:pt x="1"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01" name="Freeform 1386"/>
            <p:cNvSpPr>
              <a:spLocks/>
            </p:cNvSpPr>
            <p:nvPr/>
          </p:nvSpPr>
          <p:spPr bwMode="auto">
            <a:xfrm>
              <a:off x="7726222" y="3293894"/>
              <a:ext cx="4389" cy="4057"/>
            </a:xfrm>
            <a:custGeom>
              <a:avLst/>
              <a:gdLst/>
              <a:ahLst/>
              <a:cxnLst>
                <a:cxn ang="0">
                  <a:pos x="1" y="1"/>
                </a:cxn>
                <a:cxn ang="0">
                  <a:pos x="3" y="0"/>
                </a:cxn>
                <a:cxn ang="0">
                  <a:pos x="3" y="0"/>
                </a:cxn>
                <a:cxn ang="0">
                  <a:pos x="4" y="0"/>
                </a:cxn>
                <a:cxn ang="0">
                  <a:pos x="5" y="0"/>
                </a:cxn>
                <a:cxn ang="0">
                  <a:pos x="5" y="3"/>
                </a:cxn>
                <a:cxn ang="0">
                  <a:pos x="4" y="4"/>
                </a:cxn>
                <a:cxn ang="0">
                  <a:pos x="3" y="3"/>
                </a:cxn>
                <a:cxn ang="0">
                  <a:pos x="1" y="4"/>
                </a:cxn>
                <a:cxn ang="0">
                  <a:pos x="0" y="3"/>
                </a:cxn>
                <a:cxn ang="0">
                  <a:pos x="0" y="1"/>
                </a:cxn>
                <a:cxn ang="0">
                  <a:pos x="1" y="1"/>
                </a:cxn>
              </a:cxnLst>
              <a:rect l="0" t="0" r="r" b="b"/>
              <a:pathLst>
                <a:path w="5" h="4">
                  <a:moveTo>
                    <a:pt x="1" y="1"/>
                  </a:moveTo>
                  <a:lnTo>
                    <a:pt x="3" y="0"/>
                  </a:lnTo>
                  <a:lnTo>
                    <a:pt x="3" y="0"/>
                  </a:lnTo>
                  <a:lnTo>
                    <a:pt x="4" y="0"/>
                  </a:lnTo>
                  <a:lnTo>
                    <a:pt x="5" y="0"/>
                  </a:lnTo>
                  <a:lnTo>
                    <a:pt x="5" y="3"/>
                  </a:lnTo>
                  <a:lnTo>
                    <a:pt x="4" y="4"/>
                  </a:lnTo>
                  <a:lnTo>
                    <a:pt x="3" y="3"/>
                  </a:lnTo>
                  <a:lnTo>
                    <a:pt x="1" y="4"/>
                  </a:lnTo>
                  <a:lnTo>
                    <a:pt x="0" y="3"/>
                  </a:lnTo>
                  <a:lnTo>
                    <a:pt x="0" y="1"/>
                  </a:lnTo>
                  <a:lnTo>
                    <a:pt x="1" y="1"/>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02" name="Freeform 1387"/>
            <p:cNvSpPr>
              <a:spLocks/>
            </p:cNvSpPr>
            <p:nvPr/>
          </p:nvSpPr>
          <p:spPr bwMode="auto">
            <a:xfrm>
              <a:off x="7742023" y="3299979"/>
              <a:ext cx="11411" cy="4057"/>
            </a:xfrm>
            <a:custGeom>
              <a:avLst/>
              <a:gdLst/>
              <a:ahLst/>
              <a:cxnLst>
                <a:cxn ang="0">
                  <a:pos x="0" y="0"/>
                </a:cxn>
                <a:cxn ang="0">
                  <a:pos x="6" y="0"/>
                </a:cxn>
                <a:cxn ang="0">
                  <a:pos x="9" y="1"/>
                </a:cxn>
                <a:cxn ang="0">
                  <a:pos x="12" y="1"/>
                </a:cxn>
                <a:cxn ang="0">
                  <a:pos x="12" y="1"/>
                </a:cxn>
                <a:cxn ang="0">
                  <a:pos x="13" y="1"/>
                </a:cxn>
                <a:cxn ang="0">
                  <a:pos x="12" y="1"/>
                </a:cxn>
                <a:cxn ang="0">
                  <a:pos x="10" y="3"/>
                </a:cxn>
                <a:cxn ang="0">
                  <a:pos x="6" y="3"/>
                </a:cxn>
                <a:cxn ang="0">
                  <a:pos x="3" y="4"/>
                </a:cxn>
                <a:cxn ang="0">
                  <a:pos x="1" y="4"/>
                </a:cxn>
                <a:cxn ang="0">
                  <a:pos x="0" y="1"/>
                </a:cxn>
                <a:cxn ang="0">
                  <a:pos x="0" y="1"/>
                </a:cxn>
                <a:cxn ang="0">
                  <a:pos x="0" y="0"/>
                </a:cxn>
              </a:cxnLst>
              <a:rect l="0" t="0" r="r" b="b"/>
              <a:pathLst>
                <a:path w="13" h="4">
                  <a:moveTo>
                    <a:pt x="0" y="0"/>
                  </a:moveTo>
                  <a:lnTo>
                    <a:pt x="6" y="0"/>
                  </a:lnTo>
                  <a:lnTo>
                    <a:pt x="9" y="1"/>
                  </a:lnTo>
                  <a:lnTo>
                    <a:pt x="12" y="1"/>
                  </a:lnTo>
                  <a:lnTo>
                    <a:pt x="12" y="1"/>
                  </a:lnTo>
                  <a:lnTo>
                    <a:pt x="13" y="1"/>
                  </a:lnTo>
                  <a:lnTo>
                    <a:pt x="12" y="1"/>
                  </a:lnTo>
                  <a:lnTo>
                    <a:pt x="10" y="3"/>
                  </a:lnTo>
                  <a:lnTo>
                    <a:pt x="6" y="3"/>
                  </a:lnTo>
                  <a:lnTo>
                    <a:pt x="3" y="4"/>
                  </a:lnTo>
                  <a:lnTo>
                    <a:pt x="1" y="4"/>
                  </a:lnTo>
                  <a:lnTo>
                    <a:pt x="0" y="1"/>
                  </a:lnTo>
                  <a:lnTo>
                    <a:pt x="0" y="1"/>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03" name="Freeform 1388"/>
            <p:cNvSpPr>
              <a:spLocks/>
            </p:cNvSpPr>
            <p:nvPr/>
          </p:nvSpPr>
          <p:spPr bwMode="auto">
            <a:xfrm>
              <a:off x="7742023" y="3299979"/>
              <a:ext cx="11411" cy="4057"/>
            </a:xfrm>
            <a:custGeom>
              <a:avLst/>
              <a:gdLst/>
              <a:ahLst/>
              <a:cxnLst>
                <a:cxn ang="0">
                  <a:pos x="0" y="0"/>
                </a:cxn>
                <a:cxn ang="0">
                  <a:pos x="6" y="0"/>
                </a:cxn>
                <a:cxn ang="0">
                  <a:pos x="9" y="1"/>
                </a:cxn>
                <a:cxn ang="0">
                  <a:pos x="12" y="1"/>
                </a:cxn>
                <a:cxn ang="0">
                  <a:pos x="12" y="1"/>
                </a:cxn>
                <a:cxn ang="0">
                  <a:pos x="13" y="1"/>
                </a:cxn>
                <a:cxn ang="0">
                  <a:pos x="12" y="1"/>
                </a:cxn>
                <a:cxn ang="0">
                  <a:pos x="10" y="3"/>
                </a:cxn>
                <a:cxn ang="0">
                  <a:pos x="6" y="3"/>
                </a:cxn>
                <a:cxn ang="0">
                  <a:pos x="3" y="4"/>
                </a:cxn>
                <a:cxn ang="0">
                  <a:pos x="1" y="4"/>
                </a:cxn>
                <a:cxn ang="0">
                  <a:pos x="0" y="1"/>
                </a:cxn>
                <a:cxn ang="0">
                  <a:pos x="0" y="1"/>
                </a:cxn>
                <a:cxn ang="0">
                  <a:pos x="0" y="0"/>
                </a:cxn>
              </a:cxnLst>
              <a:rect l="0" t="0" r="r" b="b"/>
              <a:pathLst>
                <a:path w="13" h="4">
                  <a:moveTo>
                    <a:pt x="0" y="0"/>
                  </a:moveTo>
                  <a:lnTo>
                    <a:pt x="6" y="0"/>
                  </a:lnTo>
                  <a:lnTo>
                    <a:pt x="9" y="1"/>
                  </a:lnTo>
                  <a:lnTo>
                    <a:pt x="12" y="1"/>
                  </a:lnTo>
                  <a:lnTo>
                    <a:pt x="12" y="1"/>
                  </a:lnTo>
                  <a:lnTo>
                    <a:pt x="13" y="1"/>
                  </a:lnTo>
                  <a:lnTo>
                    <a:pt x="12" y="1"/>
                  </a:lnTo>
                  <a:lnTo>
                    <a:pt x="10" y="3"/>
                  </a:lnTo>
                  <a:lnTo>
                    <a:pt x="6" y="3"/>
                  </a:lnTo>
                  <a:lnTo>
                    <a:pt x="3" y="4"/>
                  </a:lnTo>
                  <a:lnTo>
                    <a:pt x="1" y="4"/>
                  </a:lnTo>
                  <a:lnTo>
                    <a:pt x="0" y="1"/>
                  </a:lnTo>
                  <a:lnTo>
                    <a:pt x="0" y="1"/>
                  </a:lnTo>
                  <a:lnTo>
                    <a:pt x="0"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04" name="Freeform 1389"/>
            <p:cNvSpPr>
              <a:spLocks/>
            </p:cNvSpPr>
            <p:nvPr/>
          </p:nvSpPr>
          <p:spPr bwMode="auto">
            <a:xfrm>
              <a:off x="7755189" y="3300993"/>
              <a:ext cx="12289" cy="3042"/>
            </a:xfrm>
            <a:custGeom>
              <a:avLst/>
              <a:gdLst/>
              <a:ahLst/>
              <a:cxnLst>
                <a:cxn ang="0">
                  <a:pos x="0" y="0"/>
                </a:cxn>
                <a:cxn ang="0">
                  <a:pos x="0" y="0"/>
                </a:cxn>
                <a:cxn ang="0">
                  <a:pos x="2" y="2"/>
                </a:cxn>
                <a:cxn ang="0">
                  <a:pos x="13" y="0"/>
                </a:cxn>
                <a:cxn ang="0">
                  <a:pos x="13" y="0"/>
                </a:cxn>
                <a:cxn ang="0">
                  <a:pos x="11" y="2"/>
                </a:cxn>
                <a:cxn ang="0">
                  <a:pos x="1" y="3"/>
                </a:cxn>
                <a:cxn ang="0">
                  <a:pos x="0" y="0"/>
                </a:cxn>
              </a:cxnLst>
              <a:rect l="0" t="0" r="r" b="b"/>
              <a:pathLst>
                <a:path w="13" h="3">
                  <a:moveTo>
                    <a:pt x="0" y="0"/>
                  </a:moveTo>
                  <a:lnTo>
                    <a:pt x="0" y="0"/>
                  </a:lnTo>
                  <a:lnTo>
                    <a:pt x="2" y="2"/>
                  </a:lnTo>
                  <a:lnTo>
                    <a:pt x="13" y="0"/>
                  </a:lnTo>
                  <a:lnTo>
                    <a:pt x="13" y="0"/>
                  </a:lnTo>
                  <a:lnTo>
                    <a:pt x="11" y="2"/>
                  </a:lnTo>
                  <a:lnTo>
                    <a:pt x="1" y="3"/>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05" name="Freeform 1390"/>
            <p:cNvSpPr>
              <a:spLocks/>
            </p:cNvSpPr>
            <p:nvPr/>
          </p:nvSpPr>
          <p:spPr bwMode="auto">
            <a:xfrm>
              <a:off x="7755189" y="3300993"/>
              <a:ext cx="12289" cy="3042"/>
            </a:xfrm>
            <a:custGeom>
              <a:avLst/>
              <a:gdLst/>
              <a:ahLst/>
              <a:cxnLst>
                <a:cxn ang="0">
                  <a:pos x="0" y="0"/>
                </a:cxn>
                <a:cxn ang="0">
                  <a:pos x="0" y="0"/>
                </a:cxn>
                <a:cxn ang="0">
                  <a:pos x="2" y="2"/>
                </a:cxn>
                <a:cxn ang="0">
                  <a:pos x="13" y="0"/>
                </a:cxn>
                <a:cxn ang="0">
                  <a:pos x="13" y="0"/>
                </a:cxn>
                <a:cxn ang="0">
                  <a:pos x="11" y="2"/>
                </a:cxn>
                <a:cxn ang="0">
                  <a:pos x="1" y="3"/>
                </a:cxn>
                <a:cxn ang="0">
                  <a:pos x="0" y="0"/>
                </a:cxn>
              </a:cxnLst>
              <a:rect l="0" t="0" r="r" b="b"/>
              <a:pathLst>
                <a:path w="13" h="3">
                  <a:moveTo>
                    <a:pt x="0" y="0"/>
                  </a:moveTo>
                  <a:lnTo>
                    <a:pt x="0" y="0"/>
                  </a:lnTo>
                  <a:lnTo>
                    <a:pt x="2" y="2"/>
                  </a:lnTo>
                  <a:lnTo>
                    <a:pt x="13" y="0"/>
                  </a:lnTo>
                  <a:lnTo>
                    <a:pt x="13" y="0"/>
                  </a:lnTo>
                  <a:lnTo>
                    <a:pt x="11" y="2"/>
                  </a:lnTo>
                  <a:lnTo>
                    <a:pt x="1" y="3"/>
                  </a:lnTo>
                  <a:lnTo>
                    <a:pt x="0"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06" name="Freeform 1391"/>
            <p:cNvSpPr>
              <a:spLocks/>
            </p:cNvSpPr>
            <p:nvPr/>
          </p:nvSpPr>
          <p:spPr bwMode="auto">
            <a:xfrm>
              <a:off x="7762212" y="3304035"/>
              <a:ext cx="878" cy="6085"/>
            </a:xfrm>
            <a:custGeom>
              <a:avLst/>
              <a:gdLst/>
              <a:ahLst/>
              <a:cxnLst>
                <a:cxn ang="0">
                  <a:pos x="0" y="0"/>
                </a:cxn>
                <a:cxn ang="0">
                  <a:pos x="0" y="0"/>
                </a:cxn>
                <a:cxn ang="0">
                  <a:pos x="1" y="0"/>
                </a:cxn>
                <a:cxn ang="0">
                  <a:pos x="1" y="6"/>
                </a:cxn>
                <a:cxn ang="0">
                  <a:pos x="0" y="3"/>
                </a:cxn>
                <a:cxn ang="0">
                  <a:pos x="0" y="0"/>
                </a:cxn>
              </a:cxnLst>
              <a:rect l="0" t="0" r="r" b="b"/>
              <a:pathLst>
                <a:path w="1" h="6">
                  <a:moveTo>
                    <a:pt x="0" y="0"/>
                  </a:moveTo>
                  <a:lnTo>
                    <a:pt x="0" y="0"/>
                  </a:lnTo>
                  <a:lnTo>
                    <a:pt x="1" y="0"/>
                  </a:lnTo>
                  <a:lnTo>
                    <a:pt x="1" y="6"/>
                  </a:lnTo>
                  <a:lnTo>
                    <a:pt x="0" y="3"/>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07" name="Freeform 1392"/>
            <p:cNvSpPr>
              <a:spLocks/>
            </p:cNvSpPr>
            <p:nvPr/>
          </p:nvSpPr>
          <p:spPr bwMode="auto">
            <a:xfrm>
              <a:off x="7762212" y="3304035"/>
              <a:ext cx="878" cy="6085"/>
            </a:xfrm>
            <a:custGeom>
              <a:avLst/>
              <a:gdLst/>
              <a:ahLst/>
              <a:cxnLst>
                <a:cxn ang="0">
                  <a:pos x="0" y="0"/>
                </a:cxn>
                <a:cxn ang="0">
                  <a:pos x="0" y="0"/>
                </a:cxn>
                <a:cxn ang="0">
                  <a:pos x="1" y="0"/>
                </a:cxn>
                <a:cxn ang="0">
                  <a:pos x="1" y="6"/>
                </a:cxn>
                <a:cxn ang="0">
                  <a:pos x="0" y="3"/>
                </a:cxn>
                <a:cxn ang="0">
                  <a:pos x="0" y="0"/>
                </a:cxn>
              </a:cxnLst>
              <a:rect l="0" t="0" r="r" b="b"/>
              <a:pathLst>
                <a:path w="1" h="6">
                  <a:moveTo>
                    <a:pt x="0" y="0"/>
                  </a:moveTo>
                  <a:lnTo>
                    <a:pt x="0" y="0"/>
                  </a:lnTo>
                  <a:lnTo>
                    <a:pt x="1" y="0"/>
                  </a:lnTo>
                  <a:lnTo>
                    <a:pt x="1" y="6"/>
                  </a:lnTo>
                  <a:lnTo>
                    <a:pt x="0" y="3"/>
                  </a:lnTo>
                  <a:lnTo>
                    <a:pt x="0"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08" name="Freeform 1393"/>
            <p:cNvSpPr>
              <a:spLocks/>
            </p:cNvSpPr>
            <p:nvPr/>
          </p:nvSpPr>
          <p:spPr bwMode="auto">
            <a:xfrm>
              <a:off x="7763090" y="3319248"/>
              <a:ext cx="15800" cy="12170"/>
            </a:xfrm>
            <a:custGeom>
              <a:avLst/>
              <a:gdLst/>
              <a:ahLst/>
              <a:cxnLst>
                <a:cxn ang="0">
                  <a:pos x="0" y="1"/>
                </a:cxn>
                <a:cxn ang="0">
                  <a:pos x="2" y="1"/>
                </a:cxn>
                <a:cxn ang="0">
                  <a:pos x="2" y="3"/>
                </a:cxn>
                <a:cxn ang="0">
                  <a:pos x="10" y="0"/>
                </a:cxn>
                <a:cxn ang="0">
                  <a:pos x="16" y="3"/>
                </a:cxn>
                <a:cxn ang="0">
                  <a:pos x="16" y="4"/>
                </a:cxn>
                <a:cxn ang="0">
                  <a:pos x="16" y="4"/>
                </a:cxn>
                <a:cxn ang="0">
                  <a:pos x="18" y="7"/>
                </a:cxn>
                <a:cxn ang="0">
                  <a:pos x="16" y="10"/>
                </a:cxn>
                <a:cxn ang="0">
                  <a:pos x="12" y="11"/>
                </a:cxn>
                <a:cxn ang="0">
                  <a:pos x="5" y="10"/>
                </a:cxn>
                <a:cxn ang="0">
                  <a:pos x="2" y="4"/>
                </a:cxn>
                <a:cxn ang="0">
                  <a:pos x="0" y="3"/>
                </a:cxn>
                <a:cxn ang="0">
                  <a:pos x="0" y="1"/>
                </a:cxn>
                <a:cxn ang="0">
                  <a:pos x="0" y="1"/>
                </a:cxn>
              </a:cxnLst>
              <a:rect l="0" t="0" r="r" b="b"/>
              <a:pathLst>
                <a:path w="18" h="11">
                  <a:moveTo>
                    <a:pt x="0" y="1"/>
                  </a:moveTo>
                  <a:lnTo>
                    <a:pt x="2" y="1"/>
                  </a:lnTo>
                  <a:lnTo>
                    <a:pt x="2" y="3"/>
                  </a:lnTo>
                  <a:lnTo>
                    <a:pt x="10" y="0"/>
                  </a:lnTo>
                  <a:lnTo>
                    <a:pt x="16" y="3"/>
                  </a:lnTo>
                  <a:lnTo>
                    <a:pt x="16" y="4"/>
                  </a:lnTo>
                  <a:lnTo>
                    <a:pt x="16" y="4"/>
                  </a:lnTo>
                  <a:lnTo>
                    <a:pt x="18" y="7"/>
                  </a:lnTo>
                  <a:lnTo>
                    <a:pt x="16" y="10"/>
                  </a:lnTo>
                  <a:lnTo>
                    <a:pt x="12" y="11"/>
                  </a:lnTo>
                  <a:lnTo>
                    <a:pt x="5" y="10"/>
                  </a:lnTo>
                  <a:lnTo>
                    <a:pt x="2" y="4"/>
                  </a:lnTo>
                  <a:lnTo>
                    <a:pt x="0" y="3"/>
                  </a:lnTo>
                  <a:lnTo>
                    <a:pt x="0" y="1"/>
                  </a:lnTo>
                  <a:lnTo>
                    <a:pt x="0"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09" name="Freeform 1394"/>
            <p:cNvSpPr>
              <a:spLocks/>
            </p:cNvSpPr>
            <p:nvPr/>
          </p:nvSpPr>
          <p:spPr bwMode="auto">
            <a:xfrm>
              <a:off x="7763090" y="3319248"/>
              <a:ext cx="15800" cy="12170"/>
            </a:xfrm>
            <a:custGeom>
              <a:avLst/>
              <a:gdLst/>
              <a:ahLst/>
              <a:cxnLst>
                <a:cxn ang="0">
                  <a:pos x="0" y="1"/>
                </a:cxn>
                <a:cxn ang="0">
                  <a:pos x="2" y="1"/>
                </a:cxn>
                <a:cxn ang="0">
                  <a:pos x="2" y="3"/>
                </a:cxn>
                <a:cxn ang="0">
                  <a:pos x="10" y="0"/>
                </a:cxn>
                <a:cxn ang="0">
                  <a:pos x="16" y="3"/>
                </a:cxn>
                <a:cxn ang="0">
                  <a:pos x="16" y="4"/>
                </a:cxn>
                <a:cxn ang="0">
                  <a:pos x="16" y="4"/>
                </a:cxn>
                <a:cxn ang="0">
                  <a:pos x="18" y="7"/>
                </a:cxn>
                <a:cxn ang="0">
                  <a:pos x="16" y="10"/>
                </a:cxn>
                <a:cxn ang="0">
                  <a:pos x="12" y="11"/>
                </a:cxn>
                <a:cxn ang="0">
                  <a:pos x="5" y="10"/>
                </a:cxn>
                <a:cxn ang="0">
                  <a:pos x="2" y="4"/>
                </a:cxn>
                <a:cxn ang="0">
                  <a:pos x="0" y="3"/>
                </a:cxn>
                <a:cxn ang="0">
                  <a:pos x="0" y="1"/>
                </a:cxn>
                <a:cxn ang="0">
                  <a:pos x="0" y="1"/>
                </a:cxn>
              </a:cxnLst>
              <a:rect l="0" t="0" r="r" b="b"/>
              <a:pathLst>
                <a:path w="18" h="11">
                  <a:moveTo>
                    <a:pt x="0" y="1"/>
                  </a:moveTo>
                  <a:lnTo>
                    <a:pt x="2" y="1"/>
                  </a:lnTo>
                  <a:lnTo>
                    <a:pt x="2" y="3"/>
                  </a:lnTo>
                  <a:lnTo>
                    <a:pt x="10" y="0"/>
                  </a:lnTo>
                  <a:lnTo>
                    <a:pt x="16" y="3"/>
                  </a:lnTo>
                  <a:lnTo>
                    <a:pt x="16" y="4"/>
                  </a:lnTo>
                  <a:lnTo>
                    <a:pt x="16" y="4"/>
                  </a:lnTo>
                  <a:lnTo>
                    <a:pt x="18" y="7"/>
                  </a:lnTo>
                  <a:lnTo>
                    <a:pt x="16" y="10"/>
                  </a:lnTo>
                  <a:lnTo>
                    <a:pt x="12" y="11"/>
                  </a:lnTo>
                  <a:lnTo>
                    <a:pt x="5" y="10"/>
                  </a:lnTo>
                  <a:lnTo>
                    <a:pt x="2" y="4"/>
                  </a:lnTo>
                  <a:lnTo>
                    <a:pt x="0" y="3"/>
                  </a:lnTo>
                  <a:lnTo>
                    <a:pt x="0" y="1"/>
                  </a:lnTo>
                  <a:lnTo>
                    <a:pt x="0" y="1"/>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10" name="Freeform 1395"/>
            <p:cNvSpPr>
              <a:spLocks/>
            </p:cNvSpPr>
            <p:nvPr/>
          </p:nvSpPr>
          <p:spPr bwMode="auto">
            <a:xfrm>
              <a:off x="7755189" y="3219862"/>
              <a:ext cx="1756" cy="6085"/>
            </a:xfrm>
            <a:custGeom>
              <a:avLst/>
              <a:gdLst/>
              <a:ahLst/>
              <a:cxnLst>
                <a:cxn ang="0">
                  <a:pos x="0" y="0"/>
                </a:cxn>
                <a:cxn ang="0">
                  <a:pos x="0" y="0"/>
                </a:cxn>
                <a:cxn ang="0">
                  <a:pos x="1" y="1"/>
                </a:cxn>
                <a:cxn ang="0">
                  <a:pos x="2" y="6"/>
                </a:cxn>
                <a:cxn ang="0">
                  <a:pos x="0" y="0"/>
                </a:cxn>
              </a:cxnLst>
              <a:rect l="0" t="0" r="r" b="b"/>
              <a:pathLst>
                <a:path w="2" h="6">
                  <a:moveTo>
                    <a:pt x="0" y="0"/>
                  </a:moveTo>
                  <a:lnTo>
                    <a:pt x="0" y="0"/>
                  </a:lnTo>
                  <a:lnTo>
                    <a:pt x="1" y="1"/>
                  </a:lnTo>
                  <a:lnTo>
                    <a:pt x="2" y="6"/>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11" name="Freeform 1396"/>
            <p:cNvSpPr>
              <a:spLocks/>
            </p:cNvSpPr>
            <p:nvPr/>
          </p:nvSpPr>
          <p:spPr bwMode="auto">
            <a:xfrm>
              <a:off x="7755189" y="3219862"/>
              <a:ext cx="1756" cy="6085"/>
            </a:xfrm>
            <a:custGeom>
              <a:avLst/>
              <a:gdLst/>
              <a:ahLst/>
              <a:cxnLst>
                <a:cxn ang="0">
                  <a:pos x="0" y="0"/>
                </a:cxn>
                <a:cxn ang="0">
                  <a:pos x="0" y="0"/>
                </a:cxn>
                <a:cxn ang="0">
                  <a:pos x="1" y="1"/>
                </a:cxn>
                <a:cxn ang="0">
                  <a:pos x="2" y="6"/>
                </a:cxn>
                <a:cxn ang="0">
                  <a:pos x="0" y="0"/>
                </a:cxn>
              </a:cxnLst>
              <a:rect l="0" t="0" r="r" b="b"/>
              <a:pathLst>
                <a:path w="2" h="6">
                  <a:moveTo>
                    <a:pt x="0" y="0"/>
                  </a:moveTo>
                  <a:lnTo>
                    <a:pt x="0" y="0"/>
                  </a:lnTo>
                  <a:lnTo>
                    <a:pt x="1" y="1"/>
                  </a:lnTo>
                  <a:lnTo>
                    <a:pt x="2" y="6"/>
                  </a:lnTo>
                  <a:lnTo>
                    <a:pt x="0"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12" name="Freeform 1397"/>
            <p:cNvSpPr>
              <a:spLocks/>
            </p:cNvSpPr>
            <p:nvPr/>
          </p:nvSpPr>
          <p:spPr bwMode="auto">
            <a:xfrm>
              <a:off x="7771868" y="3207693"/>
              <a:ext cx="2633" cy="7098"/>
            </a:xfrm>
            <a:custGeom>
              <a:avLst/>
              <a:gdLst/>
              <a:ahLst/>
              <a:cxnLst>
                <a:cxn ang="0">
                  <a:pos x="0" y="0"/>
                </a:cxn>
                <a:cxn ang="0">
                  <a:pos x="2" y="0"/>
                </a:cxn>
                <a:cxn ang="0">
                  <a:pos x="3" y="4"/>
                </a:cxn>
                <a:cxn ang="0">
                  <a:pos x="2" y="7"/>
                </a:cxn>
                <a:cxn ang="0">
                  <a:pos x="2" y="7"/>
                </a:cxn>
                <a:cxn ang="0">
                  <a:pos x="0" y="0"/>
                </a:cxn>
              </a:cxnLst>
              <a:rect l="0" t="0" r="r" b="b"/>
              <a:pathLst>
                <a:path w="3" h="7">
                  <a:moveTo>
                    <a:pt x="0" y="0"/>
                  </a:moveTo>
                  <a:lnTo>
                    <a:pt x="2" y="0"/>
                  </a:lnTo>
                  <a:lnTo>
                    <a:pt x="3" y="4"/>
                  </a:lnTo>
                  <a:lnTo>
                    <a:pt x="2" y="7"/>
                  </a:lnTo>
                  <a:lnTo>
                    <a:pt x="2" y="7"/>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13" name="Freeform 1398"/>
            <p:cNvSpPr>
              <a:spLocks/>
            </p:cNvSpPr>
            <p:nvPr/>
          </p:nvSpPr>
          <p:spPr bwMode="auto">
            <a:xfrm>
              <a:off x="7771868" y="3207693"/>
              <a:ext cx="2633" cy="7098"/>
            </a:xfrm>
            <a:custGeom>
              <a:avLst/>
              <a:gdLst/>
              <a:ahLst/>
              <a:cxnLst>
                <a:cxn ang="0">
                  <a:pos x="0" y="0"/>
                </a:cxn>
                <a:cxn ang="0">
                  <a:pos x="2" y="0"/>
                </a:cxn>
                <a:cxn ang="0">
                  <a:pos x="3" y="4"/>
                </a:cxn>
                <a:cxn ang="0">
                  <a:pos x="2" y="7"/>
                </a:cxn>
                <a:cxn ang="0">
                  <a:pos x="2" y="7"/>
                </a:cxn>
                <a:cxn ang="0">
                  <a:pos x="0" y="0"/>
                </a:cxn>
              </a:cxnLst>
              <a:rect l="0" t="0" r="r" b="b"/>
              <a:pathLst>
                <a:path w="3" h="7">
                  <a:moveTo>
                    <a:pt x="0" y="0"/>
                  </a:moveTo>
                  <a:lnTo>
                    <a:pt x="2" y="0"/>
                  </a:lnTo>
                  <a:lnTo>
                    <a:pt x="3" y="4"/>
                  </a:lnTo>
                  <a:lnTo>
                    <a:pt x="2" y="7"/>
                  </a:lnTo>
                  <a:lnTo>
                    <a:pt x="2" y="7"/>
                  </a:lnTo>
                  <a:lnTo>
                    <a:pt x="0"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14" name="Freeform 1399"/>
            <p:cNvSpPr>
              <a:spLocks/>
            </p:cNvSpPr>
            <p:nvPr/>
          </p:nvSpPr>
          <p:spPr bwMode="auto">
            <a:xfrm>
              <a:off x="7792057" y="3236089"/>
              <a:ext cx="5267" cy="9127"/>
            </a:xfrm>
            <a:custGeom>
              <a:avLst/>
              <a:gdLst/>
              <a:ahLst/>
              <a:cxnLst>
                <a:cxn ang="0">
                  <a:pos x="5" y="0"/>
                </a:cxn>
                <a:cxn ang="0">
                  <a:pos x="6" y="1"/>
                </a:cxn>
                <a:cxn ang="0">
                  <a:pos x="6" y="3"/>
                </a:cxn>
                <a:cxn ang="0">
                  <a:pos x="6" y="4"/>
                </a:cxn>
                <a:cxn ang="0">
                  <a:pos x="5" y="8"/>
                </a:cxn>
                <a:cxn ang="0">
                  <a:pos x="2" y="8"/>
                </a:cxn>
                <a:cxn ang="0">
                  <a:pos x="0" y="4"/>
                </a:cxn>
                <a:cxn ang="0">
                  <a:pos x="0" y="3"/>
                </a:cxn>
                <a:cxn ang="0">
                  <a:pos x="2" y="1"/>
                </a:cxn>
                <a:cxn ang="0">
                  <a:pos x="5" y="0"/>
                </a:cxn>
              </a:cxnLst>
              <a:rect l="0" t="0" r="r" b="b"/>
              <a:pathLst>
                <a:path w="6" h="8">
                  <a:moveTo>
                    <a:pt x="5" y="0"/>
                  </a:moveTo>
                  <a:lnTo>
                    <a:pt x="6" y="1"/>
                  </a:lnTo>
                  <a:lnTo>
                    <a:pt x="6" y="3"/>
                  </a:lnTo>
                  <a:lnTo>
                    <a:pt x="6" y="4"/>
                  </a:lnTo>
                  <a:lnTo>
                    <a:pt x="5" y="8"/>
                  </a:lnTo>
                  <a:lnTo>
                    <a:pt x="2" y="8"/>
                  </a:lnTo>
                  <a:lnTo>
                    <a:pt x="0" y="4"/>
                  </a:lnTo>
                  <a:lnTo>
                    <a:pt x="0" y="3"/>
                  </a:lnTo>
                  <a:lnTo>
                    <a:pt x="2" y="1"/>
                  </a:lnTo>
                  <a:lnTo>
                    <a:pt x="5"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15" name="Freeform 1400"/>
            <p:cNvSpPr>
              <a:spLocks/>
            </p:cNvSpPr>
            <p:nvPr/>
          </p:nvSpPr>
          <p:spPr bwMode="auto">
            <a:xfrm>
              <a:off x="7792057" y="3236089"/>
              <a:ext cx="5267" cy="9127"/>
            </a:xfrm>
            <a:custGeom>
              <a:avLst/>
              <a:gdLst/>
              <a:ahLst/>
              <a:cxnLst>
                <a:cxn ang="0">
                  <a:pos x="5" y="0"/>
                </a:cxn>
                <a:cxn ang="0">
                  <a:pos x="6" y="1"/>
                </a:cxn>
                <a:cxn ang="0">
                  <a:pos x="6" y="3"/>
                </a:cxn>
                <a:cxn ang="0">
                  <a:pos x="6" y="4"/>
                </a:cxn>
                <a:cxn ang="0">
                  <a:pos x="5" y="8"/>
                </a:cxn>
                <a:cxn ang="0">
                  <a:pos x="2" y="8"/>
                </a:cxn>
                <a:cxn ang="0">
                  <a:pos x="0" y="4"/>
                </a:cxn>
                <a:cxn ang="0">
                  <a:pos x="0" y="3"/>
                </a:cxn>
                <a:cxn ang="0">
                  <a:pos x="2" y="1"/>
                </a:cxn>
                <a:cxn ang="0">
                  <a:pos x="5" y="0"/>
                </a:cxn>
              </a:cxnLst>
              <a:rect l="0" t="0" r="r" b="b"/>
              <a:pathLst>
                <a:path w="6" h="8">
                  <a:moveTo>
                    <a:pt x="5" y="0"/>
                  </a:moveTo>
                  <a:lnTo>
                    <a:pt x="6" y="1"/>
                  </a:lnTo>
                  <a:lnTo>
                    <a:pt x="6" y="3"/>
                  </a:lnTo>
                  <a:lnTo>
                    <a:pt x="6" y="4"/>
                  </a:lnTo>
                  <a:lnTo>
                    <a:pt x="5" y="8"/>
                  </a:lnTo>
                  <a:lnTo>
                    <a:pt x="2" y="8"/>
                  </a:lnTo>
                  <a:lnTo>
                    <a:pt x="0" y="4"/>
                  </a:lnTo>
                  <a:lnTo>
                    <a:pt x="0" y="3"/>
                  </a:lnTo>
                  <a:lnTo>
                    <a:pt x="2" y="1"/>
                  </a:lnTo>
                  <a:lnTo>
                    <a:pt x="5"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16" name="Freeform 1401"/>
            <p:cNvSpPr>
              <a:spLocks/>
            </p:cNvSpPr>
            <p:nvPr/>
          </p:nvSpPr>
          <p:spPr bwMode="auto">
            <a:xfrm>
              <a:off x="7780646" y="3242173"/>
              <a:ext cx="19312" cy="45636"/>
            </a:xfrm>
            <a:custGeom>
              <a:avLst/>
              <a:gdLst/>
              <a:ahLst/>
              <a:cxnLst>
                <a:cxn ang="0">
                  <a:pos x="9" y="0"/>
                </a:cxn>
                <a:cxn ang="0">
                  <a:pos x="9" y="0"/>
                </a:cxn>
                <a:cxn ang="0">
                  <a:pos x="10" y="0"/>
                </a:cxn>
                <a:cxn ang="0">
                  <a:pos x="10" y="1"/>
                </a:cxn>
                <a:cxn ang="0">
                  <a:pos x="9" y="2"/>
                </a:cxn>
                <a:cxn ang="0">
                  <a:pos x="7" y="4"/>
                </a:cxn>
                <a:cxn ang="0">
                  <a:pos x="7" y="5"/>
                </a:cxn>
                <a:cxn ang="0">
                  <a:pos x="9" y="5"/>
                </a:cxn>
                <a:cxn ang="0">
                  <a:pos x="10" y="11"/>
                </a:cxn>
                <a:cxn ang="0">
                  <a:pos x="10" y="13"/>
                </a:cxn>
                <a:cxn ang="0">
                  <a:pos x="5" y="18"/>
                </a:cxn>
                <a:cxn ang="0">
                  <a:pos x="5" y="18"/>
                </a:cxn>
                <a:cxn ang="0">
                  <a:pos x="6" y="18"/>
                </a:cxn>
                <a:cxn ang="0">
                  <a:pos x="10" y="16"/>
                </a:cxn>
                <a:cxn ang="0">
                  <a:pos x="13" y="11"/>
                </a:cxn>
                <a:cxn ang="0">
                  <a:pos x="15" y="10"/>
                </a:cxn>
                <a:cxn ang="0">
                  <a:pos x="18" y="10"/>
                </a:cxn>
                <a:cxn ang="0">
                  <a:pos x="19" y="10"/>
                </a:cxn>
                <a:cxn ang="0">
                  <a:pos x="20" y="13"/>
                </a:cxn>
                <a:cxn ang="0">
                  <a:pos x="20" y="16"/>
                </a:cxn>
                <a:cxn ang="0">
                  <a:pos x="15" y="20"/>
                </a:cxn>
                <a:cxn ang="0">
                  <a:pos x="15" y="20"/>
                </a:cxn>
                <a:cxn ang="0">
                  <a:pos x="19" y="23"/>
                </a:cxn>
                <a:cxn ang="0">
                  <a:pos x="19" y="26"/>
                </a:cxn>
                <a:cxn ang="0">
                  <a:pos x="20" y="26"/>
                </a:cxn>
                <a:cxn ang="0">
                  <a:pos x="22" y="27"/>
                </a:cxn>
                <a:cxn ang="0">
                  <a:pos x="19" y="27"/>
                </a:cxn>
                <a:cxn ang="0">
                  <a:pos x="10" y="24"/>
                </a:cxn>
                <a:cxn ang="0">
                  <a:pos x="9" y="26"/>
                </a:cxn>
                <a:cxn ang="0">
                  <a:pos x="9" y="34"/>
                </a:cxn>
                <a:cxn ang="0">
                  <a:pos x="15" y="43"/>
                </a:cxn>
                <a:cxn ang="0">
                  <a:pos x="13" y="43"/>
                </a:cxn>
                <a:cxn ang="0">
                  <a:pos x="6" y="34"/>
                </a:cxn>
                <a:cxn ang="0">
                  <a:pos x="5" y="27"/>
                </a:cxn>
                <a:cxn ang="0">
                  <a:pos x="3" y="23"/>
                </a:cxn>
                <a:cxn ang="0">
                  <a:pos x="3" y="20"/>
                </a:cxn>
                <a:cxn ang="0">
                  <a:pos x="3" y="18"/>
                </a:cxn>
                <a:cxn ang="0">
                  <a:pos x="2" y="17"/>
                </a:cxn>
                <a:cxn ang="0">
                  <a:pos x="0" y="14"/>
                </a:cxn>
                <a:cxn ang="0">
                  <a:pos x="2" y="13"/>
                </a:cxn>
                <a:cxn ang="0">
                  <a:pos x="2" y="13"/>
                </a:cxn>
                <a:cxn ang="0">
                  <a:pos x="5" y="4"/>
                </a:cxn>
                <a:cxn ang="0">
                  <a:pos x="9" y="0"/>
                </a:cxn>
              </a:cxnLst>
              <a:rect l="0" t="0" r="r" b="b"/>
              <a:pathLst>
                <a:path w="22" h="43">
                  <a:moveTo>
                    <a:pt x="9" y="0"/>
                  </a:moveTo>
                  <a:lnTo>
                    <a:pt x="9" y="0"/>
                  </a:lnTo>
                  <a:lnTo>
                    <a:pt x="10" y="0"/>
                  </a:lnTo>
                  <a:lnTo>
                    <a:pt x="10" y="1"/>
                  </a:lnTo>
                  <a:lnTo>
                    <a:pt x="9" y="2"/>
                  </a:lnTo>
                  <a:lnTo>
                    <a:pt x="7" y="4"/>
                  </a:lnTo>
                  <a:lnTo>
                    <a:pt x="7" y="5"/>
                  </a:lnTo>
                  <a:lnTo>
                    <a:pt x="9" y="5"/>
                  </a:lnTo>
                  <a:lnTo>
                    <a:pt x="10" y="11"/>
                  </a:lnTo>
                  <a:lnTo>
                    <a:pt x="10" y="13"/>
                  </a:lnTo>
                  <a:lnTo>
                    <a:pt x="5" y="18"/>
                  </a:lnTo>
                  <a:lnTo>
                    <a:pt x="5" y="18"/>
                  </a:lnTo>
                  <a:lnTo>
                    <a:pt x="6" y="18"/>
                  </a:lnTo>
                  <a:lnTo>
                    <a:pt x="10" y="16"/>
                  </a:lnTo>
                  <a:lnTo>
                    <a:pt x="13" y="11"/>
                  </a:lnTo>
                  <a:lnTo>
                    <a:pt x="15" y="10"/>
                  </a:lnTo>
                  <a:lnTo>
                    <a:pt x="18" y="10"/>
                  </a:lnTo>
                  <a:lnTo>
                    <a:pt x="19" y="10"/>
                  </a:lnTo>
                  <a:lnTo>
                    <a:pt x="20" y="13"/>
                  </a:lnTo>
                  <a:lnTo>
                    <a:pt x="20" y="16"/>
                  </a:lnTo>
                  <a:lnTo>
                    <a:pt x="15" y="20"/>
                  </a:lnTo>
                  <a:lnTo>
                    <a:pt x="15" y="20"/>
                  </a:lnTo>
                  <a:lnTo>
                    <a:pt x="19" y="23"/>
                  </a:lnTo>
                  <a:lnTo>
                    <a:pt x="19" y="26"/>
                  </a:lnTo>
                  <a:lnTo>
                    <a:pt x="20" y="26"/>
                  </a:lnTo>
                  <a:lnTo>
                    <a:pt x="22" y="27"/>
                  </a:lnTo>
                  <a:lnTo>
                    <a:pt x="19" y="27"/>
                  </a:lnTo>
                  <a:lnTo>
                    <a:pt x="10" y="24"/>
                  </a:lnTo>
                  <a:lnTo>
                    <a:pt x="9" y="26"/>
                  </a:lnTo>
                  <a:lnTo>
                    <a:pt x="9" y="34"/>
                  </a:lnTo>
                  <a:lnTo>
                    <a:pt x="15" y="43"/>
                  </a:lnTo>
                  <a:lnTo>
                    <a:pt x="13" y="43"/>
                  </a:lnTo>
                  <a:lnTo>
                    <a:pt x="6" y="34"/>
                  </a:lnTo>
                  <a:lnTo>
                    <a:pt x="5" y="27"/>
                  </a:lnTo>
                  <a:lnTo>
                    <a:pt x="3" y="23"/>
                  </a:lnTo>
                  <a:lnTo>
                    <a:pt x="3" y="20"/>
                  </a:lnTo>
                  <a:lnTo>
                    <a:pt x="3" y="18"/>
                  </a:lnTo>
                  <a:lnTo>
                    <a:pt x="2" y="17"/>
                  </a:lnTo>
                  <a:lnTo>
                    <a:pt x="0" y="14"/>
                  </a:lnTo>
                  <a:lnTo>
                    <a:pt x="2" y="13"/>
                  </a:lnTo>
                  <a:lnTo>
                    <a:pt x="2" y="13"/>
                  </a:lnTo>
                  <a:lnTo>
                    <a:pt x="5" y="4"/>
                  </a:lnTo>
                  <a:lnTo>
                    <a:pt x="9"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17" name="Freeform 1403"/>
            <p:cNvSpPr>
              <a:spLocks/>
            </p:cNvSpPr>
            <p:nvPr/>
          </p:nvSpPr>
          <p:spPr bwMode="auto">
            <a:xfrm>
              <a:off x="7780646" y="3279695"/>
              <a:ext cx="6144" cy="8113"/>
            </a:xfrm>
            <a:custGeom>
              <a:avLst/>
              <a:gdLst/>
              <a:ahLst/>
              <a:cxnLst>
                <a:cxn ang="0">
                  <a:pos x="0" y="0"/>
                </a:cxn>
                <a:cxn ang="0">
                  <a:pos x="3" y="0"/>
                </a:cxn>
                <a:cxn ang="0">
                  <a:pos x="3" y="1"/>
                </a:cxn>
                <a:cxn ang="0">
                  <a:pos x="5" y="4"/>
                </a:cxn>
                <a:cxn ang="0">
                  <a:pos x="5" y="4"/>
                </a:cxn>
                <a:cxn ang="0">
                  <a:pos x="7" y="6"/>
                </a:cxn>
                <a:cxn ang="0">
                  <a:pos x="6" y="7"/>
                </a:cxn>
                <a:cxn ang="0">
                  <a:pos x="5" y="6"/>
                </a:cxn>
                <a:cxn ang="0">
                  <a:pos x="3" y="6"/>
                </a:cxn>
                <a:cxn ang="0">
                  <a:pos x="0" y="0"/>
                </a:cxn>
              </a:cxnLst>
              <a:rect l="0" t="0" r="r" b="b"/>
              <a:pathLst>
                <a:path w="7" h="7">
                  <a:moveTo>
                    <a:pt x="0" y="0"/>
                  </a:moveTo>
                  <a:lnTo>
                    <a:pt x="3" y="0"/>
                  </a:lnTo>
                  <a:lnTo>
                    <a:pt x="3" y="1"/>
                  </a:lnTo>
                  <a:lnTo>
                    <a:pt x="5" y="4"/>
                  </a:lnTo>
                  <a:lnTo>
                    <a:pt x="5" y="4"/>
                  </a:lnTo>
                  <a:lnTo>
                    <a:pt x="7" y="6"/>
                  </a:lnTo>
                  <a:lnTo>
                    <a:pt x="6" y="7"/>
                  </a:lnTo>
                  <a:lnTo>
                    <a:pt x="5" y="6"/>
                  </a:lnTo>
                  <a:lnTo>
                    <a:pt x="3" y="6"/>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18" name="Freeform 1404"/>
            <p:cNvSpPr>
              <a:spLocks/>
            </p:cNvSpPr>
            <p:nvPr/>
          </p:nvSpPr>
          <p:spPr bwMode="auto">
            <a:xfrm>
              <a:off x="7780646" y="3279695"/>
              <a:ext cx="6144" cy="8113"/>
            </a:xfrm>
            <a:custGeom>
              <a:avLst/>
              <a:gdLst/>
              <a:ahLst/>
              <a:cxnLst>
                <a:cxn ang="0">
                  <a:pos x="0" y="0"/>
                </a:cxn>
                <a:cxn ang="0">
                  <a:pos x="3" y="0"/>
                </a:cxn>
                <a:cxn ang="0">
                  <a:pos x="3" y="1"/>
                </a:cxn>
                <a:cxn ang="0">
                  <a:pos x="5" y="4"/>
                </a:cxn>
                <a:cxn ang="0">
                  <a:pos x="5" y="4"/>
                </a:cxn>
                <a:cxn ang="0">
                  <a:pos x="7" y="6"/>
                </a:cxn>
                <a:cxn ang="0">
                  <a:pos x="6" y="7"/>
                </a:cxn>
                <a:cxn ang="0">
                  <a:pos x="5" y="6"/>
                </a:cxn>
                <a:cxn ang="0">
                  <a:pos x="3" y="6"/>
                </a:cxn>
                <a:cxn ang="0">
                  <a:pos x="0" y="0"/>
                </a:cxn>
              </a:cxnLst>
              <a:rect l="0" t="0" r="r" b="b"/>
              <a:pathLst>
                <a:path w="7" h="7">
                  <a:moveTo>
                    <a:pt x="0" y="0"/>
                  </a:moveTo>
                  <a:lnTo>
                    <a:pt x="3" y="0"/>
                  </a:lnTo>
                  <a:lnTo>
                    <a:pt x="3" y="1"/>
                  </a:lnTo>
                  <a:lnTo>
                    <a:pt x="5" y="4"/>
                  </a:lnTo>
                  <a:lnTo>
                    <a:pt x="5" y="4"/>
                  </a:lnTo>
                  <a:lnTo>
                    <a:pt x="7" y="6"/>
                  </a:lnTo>
                  <a:lnTo>
                    <a:pt x="6" y="7"/>
                  </a:lnTo>
                  <a:lnTo>
                    <a:pt x="5" y="6"/>
                  </a:lnTo>
                  <a:lnTo>
                    <a:pt x="3" y="6"/>
                  </a:lnTo>
                  <a:lnTo>
                    <a:pt x="0"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19" name="Freeform 1405"/>
            <p:cNvSpPr>
              <a:spLocks/>
            </p:cNvSpPr>
            <p:nvPr/>
          </p:nvSpPr>
          <p:spPr bwMode="auto">
            <a:xfrm>
              <a:off x="7780646" y="3294907"/>
              <a:ext cx="10534" cy="6085"/>
            </a:xfrm>
            <a:custGeom>
              <a:avLst/>
              <a:gdLst/>
              <a:ahLst/>
              <a:cxnLst>
                <a:cxn ang="0">
                  <a:pos x="2" y="2"/>
                </a:cxn>
                <a:cxn ang="0">
                  <a:pos x="2" y="2"/>
                </a:cxn>
                <a:cxn ang="0">
                  <a:pos x="5" y="0"/>
                </a:cxn>
                <a:cxn ang="0">
                  <a:pos x="12" y="3"/>
                </a:cxn>
                <a:cxn ang="0">
                  <a:pos x="12" y="3"/>
                </a:cxn>
                <a:cxn ang="0">
                  <a:pos x="12" y="5"/>
                </a:cxn>
                <a:cxn ang="0">
                  <a:pos x="3" y="6"/>
                </a:cxn>
                <a:cxn ang="0">
                  <a:pos x="2" y="5"/>
                </a:cxn>
                <a:cxn ang="0">
                  <a:pos x="0" y="2"/>
                </a:cxn>
                <a:cxn ang="0">
                  <a:pos x="2" y="2"/>
                </a:cxn>
              </a:cxnLst>
              <a:rect l="0" t="0" r="r" b="b"/>
              <a:pathLst>
                <a:path w="12" h="6">
                  <a:moveTo>
                    <a:pt x="2" y="2"/>
                  </a:moveTo>
                  <a:lnTo>
                    <a:pt x="2" y="2"/>
                  </a:lnTo>
                  <a:lnTo>
                    <a:pt x="5" y="0"/>
                  </a:lnTo>
                  <a:lnTo>
                    <a:pt x="12" y="3"/>
                  </a:lnTo>
                  <a:lnTo>
                    <a:pt x="12" y="3"/>
                  </a:lnTo>
                  <a:lnTo>
                    <a:pt x="12" y="5"/>
                  </a:lnTo>
                  <a:lnTo>
                    <a:pt x="3" y="6"/>
                  </a:lnTo>
                  <a:lnTo>
                    <a:pt x="2" y="5"/>
                  </a:lnTo>
                  <a:lnTo>
                    <a:pt x="0" y="2"/>
                  </a:lnTo>
                  <a:lnTo>
                    <a:pt x="2" y="2"/>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20" name="Freeform 1406"/>
            <p:cNvSpPr>
              <a:spLocks/>
            </p:cNvSpPr>
            <p:nvPr/>
          </p:nvSpPr>
          <p:spPr bwMode="auto">
            <a:xfrm>
              <a:off x="7780646" y="3294907"/>
              <a:ext cx="10534" cy="6085"/>
            </a:xfrm>
            <a:custGeom>
              <a:avLst/>
              <a:gdLst/>
              <a:ahLst/>
              <a:cxnLst>
                <a:cxn ang="0">
                  <a:pos x="2" y="2"/>
                </a:cxn>
                <a:cxn ang="0">
                  <a:pos x="2" y="2"/>
                </a:cxn>
                <a:cxn ang="0">
                  <a:pos x="5" y="0"/>
                </a:cxn>
                <a:cxn ang="0">
                  <a:pos x="12" y="3"/>
                </a:cxn>
                <a:cxn ang="0">
                  <a:pos x="12" y="3"/>
                </a:cxn>
                <a:cxn ang="0">
                  <a:pos x="12" y="5"/>
                </a:cxn>
                <a:cxn ang="0">
                  <a:pos x="3" y="6"/>
                </a:cxn>
                <a:cxn ang="0">
                  <a:pos x="2" y="5"/>
                </a:cxn>
                <a:cxn ang="0">
                  <a:pos x="0" y="2"/>
                </a:cxn>
                <a:cxn ang="0">
                  <a:pos x="2" y="2"/>
                </a:cxn>
              </a:cxnLst>
              <a:rect l="0" t="0" r="r" b="b"/>
              <a:pathLst>
                <a:path w="12" h="6">
                  <a:moveTo>
                    <a:pt x="2" y="2"/>
                  </a:moveTo>
                  <a:lnTo>
                    <a:pt x="2" y="2"/>
                  </a:lnTo>
                  <a:lnTo>
                    <a:pt x="5" y="0"/>
                  </a:lnTo>
                  <a:lnTo>
                    <a:pt x="12" y="3"/>
                  </a:lnTo>
                  <a:lnTo>
                    <a:pt x="12" y="3"/>
                  </a:lnTo>
                  <a:lnTo>
                    <a:pt x="12" y="5"/>
                  </a:lnTo>
                  <a:lnTo>
                    <a:pt x="3" y="6"/>
                  </a:lnTo>
                  <a:lnTo>
                    <a:pt x="2" y="5"/>
                  </a:lnTo>
                  <a:lnTo>
                    <a:pt x="0" y="2"/>
                  </a:lnTo>
                  <a:lnTo>
                    <a:pt x="2" y="2"/>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21" name="Freeform 1407"/>
            <p:cNvSpPr>
              <a:spLocks/>
            </p:cNvSpPr>
            <p:nvPr/>
          </p:nvSpPr>
          <p:spPr bwMode="auto">
            <a:xfrm>
              <a:off x="7789424" y="3327361"/>
              <a:ext cx="2633" cy="4057"/>
            </a:xfrm>
            <a:custGeom>
              <a:avLst/>
              <a:gdLst/>
              <a:ahLst/>
              <a:cxnLst>
                <a:cxn ang="0">
                  <a:pos x="0" y="4"/>
                </a:cxn>
                <a:cxn ang="0">
                  <a:pos x="0" y="4"/>
                </a:cxn>
                <a:cxn ang="0">
                  <a:pos x="0" y="3"/>
                </a:cxn>
                <a:cxn ang="0">
                  <a:pos x="0" y="1"/>
                </a:cxn>
                <a:cxn ang="0">
                  <a:pos x="2" y="1"/>
                </a:cxn>
                <a:cxn ang="0">
                  <a:pos x="3" y="0"/>
                </a:cxn>
                <a:cxn ang="0">
                  <a:pos x="3" y="0"/>
                </a:cxn>
                <a:cxn ang="0">
                  <a:pos x="3" y="1"/>
                </a:cxn>
                <a:cxn ang="0">
                  <a:pos x="3" y="3"/>
                </a:cxn>
                <a:cxn ang="0">
                  <a:pos x="2" y="3"/>
                </a:cxn>
                <a:cxn ang="0">
                  <a:pos x="0" y="4"/>
                </a:cxn>
              </a:cxnLst>
              <a:rect l="0" t="0" r="r" b="b"/>
              <a:pathLst>
                <a:path w="3" h="4">
                  <a:moveTo>
                    <a:pt x="0" y="4"/>
                  </a:moveTo>
                  <a:lnTo>
                    <a:pt x="0" y="4"/>
                  </a:lnTo>
                  <a:lnTo>
                    <a:pt x="0" y="3"/>
                  </a:lnTo>
                  <a:lnTo>
                    <a:pt x="0" y="1"/>
                  </a:lnTo>
                  <a:lnTo>
                    <a:pt x="2" y="1"/>
                  </a:lnTo>
                  <a:lnTo>
                    <a:pt x="3" y="0"/>
                  </a:lnTo>
                  <a:lnTo>
                    <a:pt x="3" y="0"/>
                  </a:lnTo>
                  <a:lnTo>
                    <a:pt x="3" y="1"/>
                  </a:lnTo>
                  <a:lnTo>
                    <a:pt x="3" y="3"/>
                  </a:lnTo>
                  <a:lnTo>
                    <a:pt x="2" y="3"/>
                  </a:lnTo>
                  <a:lnTo>
                    <a:pt x="0" y="4"/>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22" name="Freeform 1408"/>
            <p:cNvSpPr>
              <a:spLocks/>
            </p:cNvSpPr>
            <p:nvPr/>
          </p:nvSpPr>
          <p:spPr bwMode="auto">
            <a:xfrm>
              <a:off x="7789424" y="3327361"/>
              <a:ext cx="2633" cy="4057"/>
            </a:xfrm>
            <a:custGeom>
              <a:avLst/>
              <a:gdLst/>
              <a:ahLst/>
              <a:cxnLst>
                <a:cxn ang="0">
                  <a:pos x="0" y="4"/>
                </a:cxn>
                <a:cxn ang="0">
                  <a:pos x="0" y="4"/>
                </a:cxn>
                <a:cxn ang="0">
                  <a:pos x="0" y="3"/>
                </a:cxn>
                <a:cxn ang="0">
                  <a:pos x="0" y="1"/>
                </a:cxn>
                <a:cxn ang="0">
                  <a:pos x="2" y="1"/>
                </a:cxn>
                <a:cxn ang="0">
                  <a:pos x="3" y="0"/>
                </a:cxn>
                <a:cxn ang="0">
                  <a:pos x="3" y="0"/>
                </a:cxn>
                <a:cxn ang="0">
                  <a:pos x="3" y="1"/>
                </a:cxn>
                <a:cxn ang="0">
                  <a:pos x="3" y="3"/>
                </a:cxn>
                <a:cxn ang="0">
                  <a:pos x="2" y="3"/>
                </a:cxn>
                <a:cxn ang="0">
                  <a:pos x="0" y="4"/>
                </a:cxn>
              </a:cxnLst>
              <a:rect l="0" t="0" r="r" b="b"/>
              <a:pathLst>
                <a:path w="3" h="4">
                  <a:moveTo>
                    <a:pt x="0" y="4"/>
                  </a:moveTo>
                  <a:lnTo>
                    <a:pt x="0" y="4"/>
                  </a:lnTo>
                  <a:lnTo>
                    <a:pt x="0" y="3"/>
                  </a:lnTo>
                  <a:lnTo>
                    <a:pt x="0" y="1"/>
                  </a:lnTo>
                  <a:lnTo>
                    <a:pt x="2" y="1"/>
                  </a:lnTo>
                  <a:lnTo>
                    <a:pt x="3" y="0"/>
                  </a:lnTo>
                  <a:lnTo>
                    <a:pt x="3" y="0"/>
                  </a:lnTo>
                  <a:lnTo>
                    <a:pt x="3" y="1"/>
                  </a:lnTo>
                  <a:lnTo>
                    <a:pt x="3" y="3"/>
                  </a:lnTo>
                  <a:lnTo>
                    <a:pt x="2" y="3"/>
                  </a:lnTo>
                  <a:lnTo>
                    <a:pt x="0" y="4"/>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23" name="Freeform 1409"/>
            <p:cNvSpPr>
              <a:spLocks/>
            </p:cNvSpPr>
            <p:nvPr/>
          </p:nvSpPr>
          <p:spPr bwMode="auto">
            <a:xfrm>
              <a:off x="7885983" y="3284766"/>
              <a:ext cx="11411" cy="8113"/>
            </a:xfrm>
            <a:custGeom>
              <a:avLst/>
              <a:gdLst/>
              <a:ahLst/>
              <a:cxnLst>
                <a:cxn ang="0">
                  <a:pos x="1" y="2"/>
                </a:cxn>
                <a:cxn ang="0">
                  <a:pos x="0" y="0"/>
                </a:cxn>
                <a:cxn ang="0">
                  <a:pos x="4" y="0"/>
                </a:cxn>
                <a:cxn ang="0">
                  <a:pos x="4" y="2"/>
                </a:cxn>
                <a:cxn ang="0">
                  <a:pos x="7" y="2"/>
                </a:cxn>
                <a:cxn ang="0">
                  <a:pos x="9" y="3"/>
                </a:cxn>
                <a:cxn ang="0">
                  <a:pos x="13" y="8"/>
                </a:cxn>
                <a:cxn ang="0">
                  <a:pos x="11" y="8"/>
                </a:cxn>
                <a:cxn ang="0">
                  <a:pos x="9" y="8"/>
                </a:cxn>
                <a:cxn ang="0">
                  <a:pos x="7" y="8"/>
                </a:cxn>
                <a:cxn ang="0">
                  <a:pos x="7" y="6"/>
                </a:cxn>
                <a:cxn ang="0">
                  <a:pos x="1" y="2"/>
                </a:cxn>
              </a:cxnLst>
              <a:rect l="0" t="0" r="r" b="b"/>
              <a:pathLst>
                <a:path w="13" h="8">
                  <a:moveTo>
                    <a:pt x="1" y="2"/>
                  </a:moveTo>
                  <a:lnTo>
                    <a:pt x="0" y="0"/>
                  </a:lnTo>
                  <a:lnTo>
                    <a:pt x="4" y="0"/>
                  </a:lnTo>
                  <a:lnTo>
                    <a:pt x="4" y="2"/>
                  </a:lnTo>
                  <a:lnTo>
                    <a:pt x="7" y="2"/>
                  </a:lnTo>
                  <a:lnTo>
                    <a:pt x="9" y="3"/>
                  </a:lnTo>
                  <a:lnTo>
                    <a:pt x="13" y="8"/>
                  </a:lnTo>
                  <a:lnTo>
                    <a:pt x="11" y="8"/>
                  </a:lnTo>
                  <a:lnTo>
                    <a:pt x="9" y="8"/>
                  </a:lnTo>
                  <a:lnTo>
                    <a:pt x="7" y="8"/>
                  </a:lnTo>
                  <a:lnTo>
                    <a:pt x="7" y="6"/>
                  </a:lnTo>
                  <a:lnTo>
                    <a:pt x="1" y="2"/>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24" name="Freeform 1410"/>
            <p:cNvSpPr>
              <a:spLocks/>
            </p:cNvSpPr>
            <p:nvPr/>
          </p:nvSpPr>
          <p:spPr bwMode="auto">
            <a:xfrm>
              <a:off x="7885983" y="3284766"/>
              <a:ext cx="11411" cy="8113"/>
            </a:xfrm>
            <a:custGeom>
              <a:avLst/>
              <a:gdLst/>
              <a:ahLst/>
              <a:cxnLst>
                <a:cxn ang="0">
                  <a:pos x="1" y="2"/>
                </a:cxn>
                <a:cxn ang="0">
                  <a:pos x="0" y="0"/>
                </a:cxn>
                <a:cxn ang="0">
                  <a:pos x="4" y="0"/>
                </a:cxn>
                <a:cxn ang="0">
                  <a:pos x="4" y="2"/>
                </a:cxn>
                <a:cxn ang="0">
                  <a:pos x="7" y="2"/>
                </a:cxn>
                <a:cxn ang="0">
                  <a:pos x="9" y="3"/>
                </a:cxn>
                <a:cxn ang="0">
                  <a:pos x="13" y="8"/>
                </a:cxn>
                <a:cxn ang="0">
                  <a:pos x="11" y="8"/>
                </a:cxn>
                <a:cxn ang="0">
                  <a:pos x="9" y="8"/>
                </a:cxn>
                <a:cxn ang="0">
                  <a:pos x="7" y="8"/>
                </a:cxn>
                <a:cxn ang="0">
                  <a:pos x="7" y="6"/>
                </a:cxn>
                <a:cxn ang="0">
                  <a:pos x="1" y="2"/>
                </a:cxn>
              </a:cxnLst>
              <a:rect l="0" t="0" r="r" b="b"/>
              <a:pathLst>
                <a:path w="13" h="8">
                  <a:moveTo>
                    <a:pt x="1" y="2"/>
                  </a:moveTo>
                  <a:lnTo>
                    <a:pt x="0" y="0"/>
                  </a:lnTo>
                  <a:lnTo>
                    <a:pt x="4" y="0"/>
                  </a:lnTo>
                  <a:lnTo>
                    <a:pt x="4" y="2"/>
                  </a:lnTo>
                  <a:lnTo>
                    <a:pt x="7" y="2"/>
                  </a:lnTo>
                  <a:lnTo>
                    <a:pt x="9" y="3"/>
                  </a:lnTo>
                  <a:lnTo>
                    <a:pt x="13" y="8"/>
                  </a:lnTo>
                  <a:lnTo>
                    <a:pt x="11" y="8"/>
                  </a:lnTo>
                  <a:lnTo>
                    <a:pt x="9" y="8"/>
                  </a:lnTo>
                  <a:lnTo>
                    <a:pt x="7" y="8"/>
                  </a:lnTo>
                  <a:lnTo>
                    <a:pt x="7" y="6"/>
                  </a:lnTo>
                  <a:lnTo>
                    <a:pt x="1" y="2"/>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25" name="Freeform 1411"/>
            <p:cNvSpPr>
              <a:spLocks/>
            </p:cNvSpPr>
            <p:nvPr/>
          </p:nvSpPr>
          <p:spPr bwMode="auto">
            <a:xfrm>
              <a:off x="7888615" y="3297950"/>
              <a:ext cx="15800" cy="5071"/>
            </a:xfrm>
            <a:custGeom>
              <a:avLst/>
              <a:gdLst/>
              <a:ahLst/>
              <a:cxnLst>
                <a:cxn ang="0">
                  <a:pos x="0" y="2"/>
                </a:cxn>
                <a:cxn ang="0">
                  <a:pos x="0" y="0"/>
                </a:cxn>
                <a:cxn ang="0">
                  <a:pos x="16" y="2"/>
                </a:cxn>
                <a:cxn ang="0">
                  <a:pos x="17" y="3"/>
                </a:cxn>
                <a:cxn ang="0">
                  <a:pos x="17" y="5"/>
                </a:cxn>
                <a:cxn ang="0">
                  <a:pos x="8" y="5"/>
                </a:cxn>
                <a:cxn ang="0">
                  <a:pos x="0" y="2"/>
                </a:cxn>
                <a:cxn ang="0">
                  <a:pos x="0" y="2"/>
                </a:cxn>
              </a:cxnLst>
              <a:rect l="0" t="0" r="r" b="b"/>
              <a:pathLst>
                <a:path w="17" h="5">
                  <a:moveTo>
                    <a:pt x="0" y="2"/>
                  </a:moveTo>
                  <a:lnTo>
                    <a:pt x="0" y="0"/>
                  </a:lnTo>
                  <a:lnTo>
                    <a:pt x="16" y="2"/>
                  </a:lnTo>
                  <a:lnTo>
                    <a:pt x="17" y="3"/>
                  </a:lnTo>
                  <a:lnTo>
                    <a:pt x="17" y="5"/>
                  </a:lnTo>
                  <a:lnTo>
                    <a:pt x="8" y="5"/>
                  </a:lnTo>
                  <a:lnTo>
                    <a:pt x="0" y="2"/>
                  </a:lnTo>
                  <a:lnTo>
                    <a:pt x="0" y="2"/>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26" name="Freeform 1413"/>
            <p:cNvSpPr>
              <a:spLocks/>
            </p:cNvSpPr>
            <p:nvPr/>
          </p:nvSpPr>
          <p:spPr bwMode="auto">
            <a:xfrm>
              <a:off x="7888615" y="3297950"/>
              <a:ext cx="15800" cy="5071"/>
            </a:xfrm>
            <a:custGeom>
              <a:avLst/>
              <a:gdLst/>
              <a:ahLst/>
              <a:cxnLst>
                <a:cxn ang="0">
                  <a:pos x="0" y="2"/>
                </a:cxn>
                <a:cxn ang="0">
                  <a:pos x="0" y="0"/>
                </a:cxn>
                <a:cxn ang="0">
                  <a:pos x="16" y="2"/>
                </a:cxn>
                <a:cxn ang="0">
                  <a:pos x="17" y="3"/>
                </a:cxn>
                <a:cxn ang="0">
                  <a:pos x="17" y="5"/>
                </a:cxn>
                <a:cxn ang="0">
                  <a:pos x="8" y="5"/>
                </a:cxn>
                <a:cxn ang="0">
                  <a:pos x="0" y="2"/>
                </a:cxn>
                <a:cxn ang="0">
                  <a:pos x="0" y="2"/>
                </a:cxn>
              </a:cxnLst>
              <a:rect l="0" t="0" r="r" b="b"/>
              <a:pathLst>
                <a:path w="17" h="5">
                  <a:moveTo>
                    <a:pt x="0" y="2"/>
                  </a:moveTo>
                  <a:lnTo>
                    <a:pt x="0" y="0"/>
                  </a:lnTo>
                  <a:lnTo>
                    <a:pt x="16" y="2"/>
                  </a:lnTo>
                  <a:lnTo>
                    <a:pt x="17" y="3"/>
                  </a:lnTo>
                  <a:lnTo>
                    <a:pt x="17" y="5"/>
                  </a:lnTo>
                  <a:lnTo>
                    <a:pt x="8" y="5"/>
                  </a:lnTo>
                  <a:lnTo>
                    <a:pt x="0" y="2"/>
                  </a:lnTo>
                  <a:lnTo>
                    <a:pt x="0" y="2"/>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27" name="Freeform 1414"/>
            <p:cNvSpPr>
              <a:spLocks/>
            </p:cNvSpPr>
            <p:nvPr/>
          </p:nvSpPr>
          <p:spPr bwMode="auto">
            <a:xfrm>
              <a:off x="7854381" y="3353728"/>
              <a:ext cx="1756" cy="4057"/>
            </a:xfrm>
            <a:custGeom>
              <a:avLst/>
              <a:gdLst/>
              <a:ahLst/>
              <a:cxnLst>
                <a:cxn ang="0">
                  <a:pos x="0" y="0"/>
                </a:cxn>
                <a:cxn ang="0">
                  <a:pos x="2" y="0"/>
                </a:cxn>
                <a:cxn ang="0">
                  <a:pos x="2" y="0"/>
                </a:cxn>
                <a:cxn ang="0">
                  <a:pos x="0" y="4"/>
                </a:cxn>
                <a:cxn ang="0">
                  <a:pos x="0" y="4"/>
                </a:cxn>
                <a:cxn ang="0">
                  <a:pos x="0" y="0"/>
                </a:cxn>
              </a:cxnLst>
              <a:rect l="0" t="0" r="r" b="b"/>
              <a:pathLst>
                <a:path w="2" h="4">
                  <a:moveTo>
                    <a:pt x="0" y="0"/>
                  </a:moveTo>
                  <a:lnTo>
                    <a:pt x="2" y="0"/>
                  </a:lnTo>
                  <a:lnTo>
                    <a:pt x="2" y="0"/>
                  </a:lnTo>
                  <a:lnTo>
                    <a:pt x="0" y="4"/>
                  </a:lnTo>
                  <a:lnTo>
                    <a:pt x="0" y="4"/>
                  </a:lnTo>
                  <a:lnTo>
                    <a:pt x="0"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28" name="Freeform 1415"/>
            <p:cNvSpPr>
              <a:spLocks/>
            </p:cNvSpPr>
            <p:nvPr/>
          </p:nvSpPr>
          <p:spPr bwMode="auto">
            <a:xfrm>
              <a:off x="7854381" y="3353728"/>
              <a:ext cx="1756" cy="4057"/>
            </a:xfrm>
            <a:custGeom>
              <a:avLst/>
              <a:gdLst/>
              <a:ahLst/>
              <a:cxnLst>
                <a:cxn ang="0">
                  <a:pos x="0" y="0"/>
                </a:cxn>
                <a:cxn ang="0">
                  <a:pos x="2" y="0"/>
                </a:cxn>
                <a:cxn ang="0">
                  <a:pos x="2" y="0"/>
                </a:cxn>
                <a:cxn ang="0">
                  <a:pos x="0" y="4"/>
                </a:cxn>
                <a:cxn ang="0">
                  <a:pos x="0" y="4"/>
                </a:cxn>
                <a:cxn ang="0">
                  <a:pos x="0" y="0"/>
                </a:cxn>
              </a:cxnLst>
              <a:rect l="0" t="0" r="r" b="b"/>
              <a:pathLst>
                <a:path w="2" h="4">
                  <a:moveTo>
                    <a:pt x="0" y="0"/>
                  </a:moveTo>
                  <a:lnTo>
                    <a:pt x="2" y="0"/>
                  </a:lnTo>
                  <a:lnTo>
                    <a:pt x="2" y="0"/>
                  </a:lnTo>
                  <a:lnTo>
                    <a:pt x="0" y="4"/>
                  </a:lnTo>
                  <a:lnTo>
                    <a:pt x="0" y="4"/>
                  </a:lnTo>
                  <a:lnTo>
                    <a:pt x="0"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29" name="Freeform 1416"/>
            <p:cNvSpPr>
              <a:spLocks/>
            </p:cNvSpPr>
            <p:nvPr/>
          </p:nvSpPr>
          <p:spPr bwMode="auto">
            <a:xfrm>
              <a:off x="7871060" y="3355755"/>
              <a:ext cx="6145" cy="14198"/>
            </a:xfrm>
            <a:custGeom>
              <a:avLst/>
              <a:gdLst/>
              <a:ahLst/>
              <a:cxnLst>
                <a:cxn ang="0">
                  <a:pos x="0" y="4"/>
                </a:cxn>
                <a:cxn ang="0">
                  <a:pos x="3" y="0"/>
                </a:cxn>
                <a:cxn ang="0">
                  <a:pos x="6" y="0"/>
                </a:cxn>
                <a:cxn ang="0">
                  <a:pos x="7" y="2"/>
                </a:cxn>
                <a:cxn ang="0">
                  <a:pos x="7" y="11"/>
                </a:cxn>
                <a:cxn ang="0">
                  <a:pos x="6" y="13"/>
                </a:cxn>
                <a:cxn ang="0">
                  <a:pos x="4" y="13"/>
                </a:cxn>
                <a:cxn ang="0">
                  <a:pos x="3" y="11"/>
                </a:cxn>
                <a:cxn ang="0">
                  <a:pos x="1" y="10"/>
                </a:cxn>
                <a:cxn ang="0">
                  <a:pos x="1" y="8"/>
                </a:cxn>
                <a:cxn ang="0">
                  <a:pos x="1" y="5"/>
                </a:cxn>
                <a:cxn ang="0">
                  <a:pos x="1" y="5"/>
                </a:cxn>
                <a:cxn ang="0">
                  <a:pos x="0" y="4"/>
                </a:cxn>
              </a:cxnLst>
              <a:rect l="0" t="0" r="r" b="b"/>
              <a:pathLst>
                <a:path w="7" h="13">
                  <a:moveTo>
                    <a:pt x="0" y="4"/>
                  </a:moveTo>
                  <a:lnTo>
                    <a:pt x="3" y="0"/>
                  </a:lnTo>
                  <a:lnTo>
                    <a:pt x="6" y="0"/>
                  </a:lnTo>
                  <a:lnTo>
                    <a:pt x="7" y="2"/>
                  </a:lnTo>
                  <a:lnTo>
                    <a:pt x="7" y="11"/>
                  </a:lnTo>
                  <a:lnTo>
                    <a:pt x="6" y="13"/>
                  </a:lnTo>
                  <a:lnTo>
                    <a:pt x="4" y="13"/>
                  </a:lnTo>
                  <a:lnTo>
                    <a:pt x="3" y="11"/>
                  </a:lnTo>
                  <a:lnTo>
                    <a:pt x="1" y="10"/>
                  </a:lnTo>
                  <a:lnTo>
                    <a:pt x="1" y="8"/>
                  </a:lnTo>
                  <a:lnTo>
                    <a:pt x="1" y="5"/>
                  </a:lnTo>
                  <a:lnTo>
                    <a:pt x="1" y="5"/>
                  </a:lnTo>
                  <a:lnTo>
                    <a:pt x="0" y="4"/>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30" name="Freeform 1417"/>
            <p:cNvSpPr>
              <a:spLocks/>
            </p:cNvSpPr>
            <p:nvPr/>
          </p:nvSpPr>
          <p:spPr bwMode="auto">
            <a:xfrm>
              <a:off x="7871060" y="3355755"/>
              <a:ext cx="6145" cy="14198"/>
            </a:xfrm>
            <a:custGeom>
              <a:avLst/>
              <a:gdLst/>
              <a:ahLst/>
              <a:cxnLst>
                <a:cxn ang="0">
                  <a:pos x="0" y="4"/>
                </a:cxn>
                <a:cxn ang="0">
                  <a:pos x="3" y="0"/>
                </a:cxn>
                <a:cxn ang="0">
                  <a:pos x="6" y="0"/>
                </a:cxn>
                <a:cxn ang="0">
                  <a:pos x="7" y="2"/>
                </a:cxn>
                <a:cxn ang="0">
                  <a:pos x="7" y="11"/>
                </a:cxn>
                <a:cxn ang="0">
                  <a:pos x="6" y="13"/>
                </a:cxn>
                <a:cxn ang="0">
                  <a:pos x="4" y="13"/>
                </a:cxn>
                <a:cxn ang="0">
                  <a:pos x="3" y="11"/>
                </a:cxn>
                <a:cxn ang="0">
                  <a:pos x="1" y="10"/>
                </a:cxn>
                <a:cxn ang="0">
                  <a:pos x="1" y="8"/>
                </a:cxn>
                <a:cxn ang="0">
                  <a:pos x="1" y="5"/>
                </a:cxn>
                <a:cxn ang="0">
                  <a:pos x="1" y="5"/>
                </a:cxn>
                <a:cxn ang="0">
                  <a:pos x="0" y="4"/>
                </a:cxn>
              </a:cxnLst>
              <a:rect l="0" t="0" r="r" b="b"/>
              <a:pathLst>
                <a:path w="7" h="13">
                  <a:moveTo>
                    <a:pt x="0" y="4"/>
                  </a:moveTo>
                  <a:lnTo>
                    <a:pt x="3" y="0"/>
                  </a:lnTo>
                  <a:lnTo>
                    <a:pt x="6" y="0"/>
                  </a:lnTo>
                  <a:lnTo>
                    <a:pt x="7" y="2"/>
                  </a:lnTo>
                  <a:lnTo>
                    <a:pt x="7" y="11"/>
                  </a:lnTo>
                  <a:lnTo>
                    <a:pt x="6" y="13"/>
                  </a:lnTo>
                  <a:lnTo>
                    <a:pt x="4" y="13"/>
                  </a:lnTo>
                  <a:lnTo>
                    <a:pt x="3" y="11"/>
                  </a:lnTo>
                  <a:lnTo>
                    <a:pt x="1" y="10"/>
                  </a:lnTo>
                  <a:lnTo>
                    <a:pt x="1" y="8"/>
                  </a:lnTo>
                  <a:lnTo>
                    <a:pt x="1" y="5"/>
                  </a:lnTo>
                  <a:lnTo>
                    <a:pt x="1" y="5"/>
                  </a:lnTo>
                  <a:lnTo>
                    <a:pt x="0" y="4"/>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31" name="Freeform 1418"/>
            <p:cNvSpPr>
              <a:spLocks/>
            </p:cNvSpPr>
            <p:nvPr/>
          </p:nvSpPr>
          <p:spPr bwMode="auto">
            <a:xfrm>
              <a:off x="7869303" y="3364882"/>
              <a:ext cx="5267" cy="6085"/>
            </a:xfrm>
            <a:custGeom>
              <a:avLst/>
              <a:gdLst/>
              <a:ahLst/>
              <a:cxnLst>
                <a:cxn ang="0">
                  <a:pos x="0" y="2"/>
                </a:cxn>
                <a:cxn ang="0">
                  <a:pos x="0" y="0"/>
                </a:cxn>
                <a:cxn ang="0">
                  <a:pos x="0" y="0"/>
                </a:cxn>
                <a:cxn ang="0">
                  <a:pos x="3" y="3"/>
                </a:cxn>
                <a:cxn ang="0">
                  <a:pos x="5" y="3"/>
                </a:cxn>
                <a:cxn ang="0">
                  <a:pos x="6" y="5"/>
                </a:cxn>
                <a:cxn ang="0">
                  <a:pos x="6" y="6"/>
                </a:cxn>
                <a:cxn ang="0">
                  <a:pos x="6" y="6"/>
                </a:cxn>
                <a:cxn ang="0">
                  <a:pos x="5" y="6"/>
                </a:cxn>
                <a:cxn ang="0">
                  <a:pos x="3" y="5"/>
                </a:cxn>
                <a:cxn ang="0">
                  <a:pos x="2" y="3"/>
                </a:cxn>
                <a:cxn ang="0">
                  <a:pos x="0" y="2"/>
                </a:cxn>
              </a:cxnLst>
              <a:rect l="0" t="0" r="r" b="b"/>
              <a:pathLst>
                <a:path w="6" h="6">
                  <a:moveTo>
                    <a:pt x="0" y="2"/>
                  </a:moveTo>
                  <a:lnTo>
                    <a:pt x="0" y="0"/>
                  </a:lnTo>
                  <a:lnTo>
                    <a:pt x="0" y="0"/>
                  </a:lnTo>
                  <a:lnTo>
                    <a:pt x="3" y="3"/>
                  </a:lnTo>
                  <a:lnTo>
                    <a:pt x="5" y="3"/>
                  </a:lnTo>
                  <a:lnTo>
                    <a:pt x="6" y="5"/>
                  </a:lnTo>
                  <a:lnTo>
                    <a:pt x="6" y="6"/>
                  </a:lnTo>
                  <a:lnTo>
                    <a:pt x="6" y="6"/>
                  </a:lnTo>
                  <a:lnTo>
                    <a:pt x="5" y="6"/>
                  </a:lnTo>
                  <a:lnTo>
                    <a:pt x="3" y="5"/>
                  </a:lnTo>
                  <a:lnTo>
                    <a:pt x="2" y="3"/>
                  </a:lnTo>
                  <a:lnTo>
                    <a:pt x="0" y="2"/>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32" name="Freeform 1419"/>
            <p:cNvSpPr>
              <a:spLocks/>
            </p:cNvSpPr>
            <p:nvPr/>
          </p:nvSpPr>
          <p:spPr bwMode="auto">
            <a:xfrm>
              <a:off x="7869303" y="3364882"/>
              <a:ext cx="5267" cy="6085"/>
            </a:xfrm>
            <a:custGeom>
              <a:avLst/>
              <a:gdLst/>
              <a:ahLst/>
              <a:cxnLst>
                <a:cxn ang="0">
                  <a:pos x="0" y="2"/>
                </a:cxn>
                <a:cxn ang="0">
                  <a:pos x="0" y="0"/>
                </a:cxn>
                <a:cxn ang="0">
                  <a:pos x="0" y="0"/>
                </a:cxn>
                <a:cxn ang="0">
                  <a:pos x="3" y="3"/>
                </a:cxn>
                <a:cxn ang="0">
                  <a:pos x="5" y="3"/>
                </a:cxn>
                <a:cxn ang="0">
                  <a:pos x="6" y="5"/>
                </a:cxn>
                <a:cxn ang="0">
                  <a:pos x="6" y="6"/>
                </a:cxn>
                <a:cxn ang="0">
                  <a:pos x="6" y="6"/>
                </a:cxn>
                <a:cxn ang="0">
                  <a:pos x="5" y="6"/>
                </a:cxn>
                <a:cxn ang="0">
                  <a:pos x="3" y="5"/>
                </a:cxn>
                <a:cxn ang="0">
                  <a:pos x="2" y="3"/>
                </a:cxn>
                <a:cxn ang="0">
                  <a:pos x="0" y="2"/>
                </a:cxn>
              </a:cxnLst>
              <a:rect l="0" t="0" r="r" b="b"/>
              <a:pathLst>
                <a:path w="6" h="6">
                  <a:moveTo>
                    <a:pt x="0" y="2"/>
                  </a:moveTo>
                  <a:lnTo>
                    <a:pt x="0" y="0"/>
                  </a:lnTo>
                  <a:lnTo>
                    <a:pt x="0" y="0"/>
                  </a:lnTo>
                  <a:lnTo>
                    <a:pt x="3" y="3"/>
                  </a:lnTo>
                  <a:lnTo>
                    <a:pt x="5" y="3"/>
                  </a:lnTo>
                  <a:lnTo>
                    <a:pt x="6" y="5"/>
                  </a:lnTo>
                  <a:lnTo>
                    <a:pt x="6" y="6"/>
                  </a:lnTo>
                  <a:lnTo>
                    <a:pt x="6" y="6"/>
                  </a:lnTo>
                  <a:lnTo>
                    <a:pt x="5" y="6"/>
                  </a:lnTo>
                  <a:lnTo>
                    <a:pt x="3" y="5"/>
                  </a:lnTo>
                  <a:lnTo>
                    <a:pt x="2" y="3"/>
                  </a:lnTo>
                  <a:lnTo>
                    <a:pt x="0" y="2"/>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33" name="Freeform 1420"/>
            <p:cNvSpPr>
              <a:spLocks/>
            </p:cNvSpPr>
            <p:nvPr/>
          </p:nvSpPr>
          <p:spPr bwMode="auto">
            <a:xfrm>
              <a:off x="7868426" y="3366911"/>
              <a:ext cx="5267" cy="10141"/>
            </a:xfrm>
            <a:custGeom>
              <a:avLst/>
              <a:gdLst/>
              <a:ahLst/>
              <a:cxnLst>
                <a:cxn ang="0">
                  <a:pos x="1" y="0"/>
                </a:cxn>
                <a:cxn ang="0">
                  <a:pos x="3" y="1"/>
                </a:cxn>
                <a:cxn ang="0">
                  <a:pos x="6" y="6"/>
                </a:cxn>
                <a:cxn ang="0">
                  <a:pos x="6" y="8"/>
                </a:cxn>
                <a:cxn ang="0">
                  <a:pos x="4" y="10"/>
                </a:cxn>
                <a:cxn ang="0">
                  <a:pos x="3" y="10"/>
                </a:cxn>
                <a:cxn ang="0">
                  <a:pos x="1" y="10"/>
                </a:cxn>
                <a:cxn ang="0">
                  <a:pos x="0" y="8"/>
                </a:cxn>
                <a:cxn ang="0">
                  <a:pos x="0" y="7"/>
                </a:cxn>
                <a:cxn ang="0">
                  <a:pos x="1" y="6"/>
                </a:cxn>
                <a:cxn ang="0">
                  <a:pos x="1" y="7"/>
                </a:cxn>
                <a:cxn ang="0">
                  <a:pos x="3" y="7"/>
                </a:cxn>
                <a:cxn ang="0">
                  <a:pos x="3" y="4"/>
                </a:cxn>
                <a:cxn ang="0">
                  <a:pos x="1" y="4"/>
                </a:cxn>
                <a:cxn ang="0">
                  <a:pos x="1" y="3"/>
                </a:cxn>
                <a:cxn ang="0">
                  <a:pos x="1" y="0"/>
                </a:cxn>
              </a:cxnLst>
              <a:rect l="0" t="0" r="r" b="b"/>
              <a:pathLst>
                <a:path w="6" h="10">
                  <a:moveTo>
                    <a:pt x="1" y="0"/>
                  </a:moveTo>
                  <a:lnTo>
                    <a:pt x="3" y="1"/>
                  </a:lnTo>
                  <a:lnTo>
                    <a:pt x="6" y="6"/>
                  </a:lnTo>
                  <a:lnTo>
                    <a:pt x="6" y="8"/>
                  </a:lnTo>
                  <a:lnTo>
                    <a:pt x="4" y="10"/>
                  </a:lnTo>
                  <a:lnTo>
                    <a:pt x="3" y="10"/>
                  </a:lnTo>
                  <a:lnTo>
                    <a:pt x="1" y="10"/>
                  </a:lnTo>
                  <a:lnTo>
                    <a:pt x="0" y="8"/>
                  </a:lnTo>
                  <a:lnTo>
                    <a:pt x="0" y="7"/>
                  </a:lnTo>
                  <a:lnTo>
                    <a:pt x="1" y="6"/>
                  </a:lnTo>
                  <a:lnTo>
                    <a:pt x="1" y="7"/>
                  </a:lnTo>
                  <a:lnTo>
                    <a:pt x="3" y="7"/>
                  </a:lnTo>
                  <a:lnTo>
                    <a:pt x="3" y="4"/>
                  </a:lnTo>
                  <a:lnTo>
                    <a:pt x="1" y="4"/>
                  </a:lnTo>
                  <a:lnTo>
                    <a:pt x="1" y="3"/>
                  </a:lnTo>
                  <a:lnTo>
                    <a:pt x="1" y="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34" name="Freeform 1421"/>
            <p:cNvSpPr>
              <a:spLocks/>
            </p:cNvSpPr>
            <p:nvPr/>
          </p:nvSpPr>
          <p:spPr bwMode="auto">
            <a:xfrm>
              <a:off x="7868426" y="3366911"/>
              <a:ext cx="5267" cy="10141"/>
            </a:xfrm>
            <a:custGeom>
              <a:avLst/>
              <a:gdLst/>
              <a:ahLst/>
              <a:cxnLst>
                <a:cxn ang="0">
                  <a:pos x="1" y="0"/>
                </a:cxn>
                <a:cxn ang="0">
                  <a:pos x="3" y="1"/>
                </a:cxn>
                <a:cxn ang="0">
                  <a:pos x="6" y="6"/>
                </a:cxn>
                <a:cxn ang="0">
                  <a:pos x="6" y="8"/>
                </a:cxn>
                <a:cxn ang="0">
                  <a:pos x="4" y="10"/>
                </a:cxn>
                <a:cxn ang="0">
                  <a:pos x="3" y="10"/>
                </a:cxn>
                <a:cxn ang="0">
                  <a:pos x="1" y="10"/>
                </a:cxn>
                <a:cxn ang="0">
                  <a:pos x="0" y="8"/>
                </a:cxn>
                <a:cxn ang="0">
                  <a:pos x="0" y="7"/>
                </a:cxn>
                <a:cxn ang="0">
                  <a:pos x="1" y="6"/>
                </a:cxn>
                <a:cxn ang="0">
                  <a:pos x="1" y="7"/>
                </a:cxn>
                <a:cxn ang="0">
                  <a:pos x="3" y="7"/>
                </a:cxn>
                <a:cxn ang="0">
                  <a:pos x="3" y="4"/>
                </a:cxn>
                <a:cxn ang="0">
                  <a:pos x="1" y="4"/>
                </a:cxn>
                <a:cxn ang="0">
                  <a:pos x="1" y="3"/>
                </a:cxn>
                <a:cxn ang="0">
                  <a:pos x="1" y="0"/>
                </a:cxn>
              </a:cxnLst>
              <a:rect l="0" t="0" r="r" b="b"/>
              <a:pathLst>
                <a:path w="6" h="10">
                  <a:moveTo>
                    <a:pt x="1" y="0"/>
                  </a:moveTo>
                  <a:lnTo>
                    <a:pt x="3" y="1"/>
                  </a:lnTo>
                  <a:lnTo>
                    <a:pt x="6" y="6"/>
                  </a:lnTo>
                  <a:lnTo>
                    <a:pt x="6" y="8"/>
                  </a:lnTo>
                  <a:lnTo>
                    <a:pt x="4" y="10"/>
                  </a:lnTo>
                  <a:lnTo>
                    <a:pt x="3" y="10"/>
                  </a:lnTo>
                  <a:lnTo>
                    <a:pt x="1" y="10"/>
                  </a:lnTo>
                  <a:lnTo>
                    <a:pt x="0" y="8"/>
                  </a:lnTo>
                  <a:lnTo>
                    <a:pt x="0" y="7"/>
                  </a:lnTo>
                  <a:lnTo>
                    <a:pt x="1" y="6"/>
                  </a:lnTo>
                  <a:lnTo>
                    <a:pt x="1" y="7"/>
                  </a:lnTo>
                  <a:lnTo>
                    <a:pt x="3" y="7"/>
                  </a:lnTo>
                  <a:lnTo>
                    <a:pt x="3" y="4"/>
                  </a:lnTo>
                  <a:lnTo>
                    <a:pt x="1" y="4"/>
                  </a:lnTo>
                  <a:lnTo>
                    <a:pt x="1" y="3"/>
                  </a:lnTo>
                  <a:lnTo>
                    <a:pt x="1" y="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35" name="Freeform 1422"/>
            <p:cNvSpPr>
              <a:spLocks/>
            </p:cNvSpPr>
            <p:nvPr/>
          </p:nvSpPr>
          <p:spPr bwMode="auto">
            <a:xfrm>
              <a:off x="7830680" y="3380095"/>
              <a:ext cx="7022" cy="13183"/>
            </a:xfrm>
            <a:custGeom>
              <a:avLst/>
              <a:gdLst/>
              <a:ahLst/>
              <a:cxnLst>
                <a:cxn ang="0">
                  <a:pos x="0" y="10"/>
                </a:cxn>
                <a:cxn ang="0">
                  <a:pos x="0" y="9"/>
                </a:cxn>
                <a:cxn ang="0">
                  <a:pos x="0" y="9"/>
                </a:cxn>
                <a:cxn ang="0">
                  <a:pos x="0" y="6"/>
                </a:cxn>
                <a:cxn ang="0">
                  <a:pos x="3" y="3"/>
                </a:cxn>
                <a:cxn ang="0">
                  <a:pos x="5" y="0"/>
                </a:cxn>
                <a:cxn ang="0">
                  <a:pos x="6" y="0"/>
                </a:cxn>
                <a:cxn ang="0">
                  <a:pos x="8" y="1"/>
                </a:cxn>
                <a:cxn ang="0">
                  <a:pos x="8" y="7"/>
                </a:cxn>
                <a:cxn ang="0">
                  <a:pos x="3" y="13"/>
                </a:cxn>
                <a:cxn ang="0">
                  <a:pos x="0" y="11"/>
                </a:cxn>
                <a:cxn ang="0">
                  <a:pos x="0" y="10"/>
                </a:cxn>
              </a:cxnLst>
              <a:rect l="0" t="0" r="r" b="b"/>
              <a:pathLst>
                <a:path w="8" h="13">
                  <a:moveTo>
                    <a:pt x="0" y="10"/>
                  </a:moveTo>
                  <a:lnTo>
                    <a:pt x="0" y="9"/>
                  </a:lnTo>
                  <a:lnTo>
                    <a:pt x="0" y="9"/>
                  </a:lnTo>
                  <a:lnTo>
                    <a:pt x="0" y="6"/>
                  </a:lnTo>
                  <a:lnTo>
                    <a:pt x="3" y="3"/>
                  </a:lnTo>
                  <a:lnTo>
                    <a:pt x="5" y="0"/>
                  </a:lnTo>
                  <a:lnTo>
                    <a:pt x="6" y="0"/>
                  </a:lnTo>
                  <a:lnTo>
                    <a:pt x="8" y="1"/>
                  </a:lnTo>
                  <a:lnTo>
                    <a:pt x="8" y="7"/>
                  </a:lnTo>
                  <a:lnTo>
                    <a:pt x="3" y="13"/>
                  </a:lnTo>
                  <a:lnTo>
                    <a:pt x="0" y="11"/>
                  </a:lnTo>
                  <a:lnTo>
                    <a:pt x="0" y="10"/>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36" name="Freeform 1423"/>
            <p:cNvSpPr>
              <a:spLocks/>
            </p:cNvSpPr>
            <p:nvPr/>
          </p:nvSpPr>
          <p:spPr bwMode="auto">
            <a:xfrm>
              <a:off x="7830680" y="3380095"/>
              <a:ext cx="7022" cy="13183"/>
            </a:xfrm>
            <a:custGeom>
              <a:avLst/>
              <a:gdLst/>
              <a:ahLst/>
              <a:cxnLst>
                <a:cxn ang="0">
                  <a:pos x="0" y="10"/>
                </a:cxn>
                <a:cxn ang="0">
                  <a:pos x="0" y="9"/>
                </a:cxn>
                <a:cxn ang="0">
                  <a:pos x="0" y="9"/>
                </a:cxn>
                <a:cxn ang="0">
                  <a:pos x="0" y="6"/>
                </a:cxn>
                <a:cxn ang="0">
                  <a:pos x="3" y="3"/>
                </a:cxn>
                <a:cxn ang="0">
                  <a:pos x="5" y="0"/>
                </a:cxn>
                <a:cxn ang="0">
                  <a:pos x="6" y="0"/>
                </a:cxn>
                <a:cxn ang="0">
                  <a:pos x="8" y="1"/>
                </a:cxn>
                <a:cxn ang="0">
                  <a:pos x="8" y="7"/>
                </a:cxn>
                <a:cxn ang="0">
                  <a:pos x="3" y="13"/>
                </a:cxn>
                <a:cxn ang="0">
                  <a:pos x="0" y="11"/>
                </a:cxn>
                <a:cxn ang="0">
                  <a:pos x="0" y="10"/>
                </a:cxn>
              </a:cxnLst>
              <a:rect l="0" t="0" r="r" b="b"/>
              <a:pathLst>
                <a:path w="8" h="13">
                  <a:moveTo>
                    <a:pt x="0" y="10"/>
                  </a:moveTo>
                  <a:lnTo>
                    <a:pt x="0" y="9"/>
                  </a:lnTo>
                  <a:lnTo>
                    <a:pt x="0" y="9"/>
                  </a:lnTo>
                  <a:lnTo>
                    <a:pt x="0" y="6"/>
                  </a:lnTo>
                  <a:lnTo>
                    <a:pt x="3" y="3"/>
                  </a:lnTo>
                  <a:lnTo>
                    <a:pt x="5" y="0"/>
                  </a:lnTo>
                  <a:lnTo>
                    <a:pt x="6" y="0"/>
                  </a:lnTo>
                  <a:lnTo>
                    <a:pt x="8" y="1"/>
                  </a:lnTo>
                  <a:lnTo>
                    <a:pt x="8" y="7"/>
                  </a:lnTo>
                  <a:lnTo>
                    <a:pt x="3" y="13"/>
                  </a:lnTo>
                  <a:lnTo>
                    <a:pt x="0" y="11"/>
                  </a:lnTo>
                  <a:lnTo>
                    <a:pt x="0" y="10"/>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37" name="Freeform 1424"/>
            <p:cNvSpPr>
              <a:spLocks/>
            </p:cNvSpPr>
            <p:nvPr/>
          </p:nvSpPr>
          <p:spPr bwMode="auto">
            <a:xfrm>
              <a:off x="7809613" y="3390237"/>
              <a:ext cx="3511" cy="3042"/>
            </a:xfrm>
            <a:custGeom>
              <a:avLst/>
              <a:gdLst/>
              <a:ahLst/>
              <a:cxnLst>
                <a:cxn ang="0">
                  <a:pos x="2" y="1"/>
                </a:cxn>
                <a:cxn ang="0">
                  <a:pos x="0" y="0"/>
                </a:cxn>
                <a:cxn ang="0">
                  <a:pos x="3" y="0"/>
                </a:cxn>
                <a:cxn ang="0">
                  <a:pos x="4" y="1"/>
                </a:cxn>
                <a:cxn ang="0">
                  <a:pos x="3" y="3"/>
                </a:cxn>
                <a:cxn ang="0">
                  <a:pos x="2" y="3"/>
                </a:cxn>
                <a:cxn ang="0">
                  <a:pos x="2" y="1"/>
                </a:cxn>
              </a:cxnLst>
              <a:rect l="0" t="0" r="r" b="b"/>
              <a:pathLst>
                <a:path w="4" h="3">
                  <a:moveTo>
                    <a:pt x="2" y="1"/>
                  </a:moveTo>
                  <a:lnTo>
                    <a:pt x="0" y="0"/>
                  </a:lnTo>
                  <a:lnTo>
                    <a:pt x="3" y="0"/>
                  </a:lnTo>
                  <a:lnTo>
                    <a:pt x="4" y="1"/>
                  </a:lnTo>
                  <a:lnTo>
                    <a:pt x="3" y="3"/>
                  </a:lnTo>
                  <a:lnTo>
                    <a:pt x="2" y="3"/>
                  </a:lnTo>
                  <a:lnTo>
                    <a:pt x="2"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38" name="Freeform 1425"/>
            <p:cNvSpPr>
              <a:spLocks/>
            </p:cNvSpPr>
            <p:nvPr/>
          </p:nvSpPr>
          <p:spPr bwMode="auto">
            <a:xfrm>
              <a:off x="7809613" y="3390237"/>
              <a:ext cx="3511" cy="3042"/>
            </a:xfrm>
            <a:custGeom>
              <a:avLst/>
              <a:gdLst/>
              <a:ahLst/>
              <a:cxnLst>
                <a:cxn ang="0">
                  <a:pos x="2" y="1"/>
                </a:cxn>
                <a:cxn ang="0">
                  <a:pos x="0" y="0"/>
                </a:cxn>
                <a:cxn ang="0">
                  <a:pos x="3" y="0"/>
                </a:cxn>
                <a:cxn ang="0">
                  <a:pos x="4" y="1"/>
                </a:cxn>
                <a:cxn ang="0">
                  <a:pos x="3" y="3"/>
                </a:cxn>
                <a:cxn ang="0">
                  <a:pos x="2" y="3"/>
                </a:cxn>
                <a:cxn ang="0">
                  <a:pos x="2" y="1"/>
                </a:cxn>
              </a:cxnLst>
              <a:rect l="0" t="0" r="r" b="b"/>
              <a:pathLst>
                <a:path w="4" h="3">
                  <a:moveTo>
                    <a:pt x="2" y="1"/>
                  </a:moveTo>
                  <a:lnTo>
                    <a:pt x="0" y="0"/>
                  </a:lnTo>
                  <a:lnTo>
                    <a:pt x="3" y="0"/>
                  </a:lnTo>
                  <a:lnTo>
                    <a:pt x="4" y="1"/>
                  </a:lnTo>
                  <a:lnTo>
                    <a:pt x="3" y="3"/>
                  </a:lnTo>
                  <a:lnTo>
                    <a:pt x="2" y="3"/>
                  </a:lnTo>
                  <a:lnTo>
                    <a:pt x="2" y="1"/>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39" name="Freeform 1426"/>
            <p:cNvSpPr>
              <a:spLocks/>
            </p:cNvSpPr>
            <p:nvPr/>
          </p:nvSpPr>
          <p:spPr bwMode="auto">
            <a:xfrm>
              <a:off x="7796446" y="3380095"/>
              <a:ext cx="877" cy="3042"/>
            </a:xfrm>
            <a:custGeom>
              <a:avLst/>
              <a:gdLst/>
              <a:ahLst/>
              <a:cxnLst>
                <a:cxn ang="0">
                  <a:pos x="0" y="1"/>
                </a:cxn>
                <a:cxn ang="0">
                  <a:pos x="0" y="0"/>
                </a:cxn>
                <a:cxn ang="0">
                  <a:pos x="1" y="0"/>
                </a:cxn>
                <a:cxn ang="0">
                  <a:pos x="1" y="0"/>
                </a:cxn>
                <a:cxn ang="0">
                  <a:pos x="1" y="1"/>
                </a:cxn>
                <a:cxn ang="0">
                  <a:pos x="1" y="3"/>
                </a:cxn>
                <a:cxn ang="0">
                  <a:pos x="0" y="1"/>
                </a:cxn>
              </a:cxnLst>
              <a:rect l="0" t="0" r="r" b="b"/>
              <a:pathLst>
                <a:path w="1" h="3">
                  <a:moveTo>
                    <a:pt x="0" y="1"/>
                  </a:moveTo>
                  <a:lnTo>
                    <a:pt x="0" y="0"/>
                  </a:lnTo>
                  <a:lnTo>
                    <a:pt x="1" y="0"/>
                  </a:lnTo>
                  <a:lnTo>
                    <a:pt x="1" y="0"/>
                  </a:lnTo>
                  <a:lnTo>
                    <a:pt x="1" y="1"/>
                  </a:lnTo>
                  <a:lnTo>
                    <a:pt x="1" y="3"/>
                  </a:lnTo>
                  <a:lnTo>
                    <a:pt x="0" y="1"/>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40" name="Freeform 1427"/>
            <p:cNvSpPr>
              <a:spLocks/>
            </p:cNvSpPr>
            <p:nvPr/>
          </p:nvSpPr>
          <p:spPr bwMode="auto">
            <a:xfrm>
              <a:off x="7796446" y="3380095"/>
              <a:ext cx="877" cy="3042"/>
            </a:xfrm>
            <a:custGeom>
              <a:avLst/>
              <a:gdLst/>
              <a:ahLst/>
              <a:cxnLst>
                <a:cxn ang="0">
                  <a:pos x="0" y="1"/>
                </a:cxn>
                <a:cxn ang="0">
                  <a:pos x="0" y="0"/>
                </a:cxn>
                <a:cxn ang="0">
                  <a:pos x="1" y="0"/>
                </a:cxn>
                <a:cxn ang="0">
                  <a:pos x="1" y="0"/>
                </a:cxn>
                <a:cxn ang="0">
                  <a:pos x="1" y="1"/>
                </a:cxn>
                <a:cxn ang="0">
                  <a:pos x="1" y="3"/>
                </a:cxn>
                <a:cxn ang="0">
                  <a:pos x="0" y="1"/>
                </a:cxn>
              </a:cxnLst>
              <a:rect l="0" t="0" r="r" b="b"/>
              <a:pathLst>
                <a:path w="1" h="3">
                  <a:moveTo>
                    <a:pt x="0" y="1"/>
                  </a:moveTo>
                  <a:lnTo>
                    <a:pt x="0" y="0"/>
                  </a:lnTo>
                  <a:lnTo>
                    <a:pt x="1" y="0"/>
                  </a:lnTo>
                  <a:lnTo>
                    <a:pt x="1" y="0"/>
                  </a:lnTo>
                  <a:lnTo>
                    <a:pt x="1" y="1"/>
                  </a:lnTo>
                  <a:lnTo>
                    <a:pt x="1" y="3"/>
                  </a:lnTo>
                  <a:lnTo>
                    <a:pt x="0" y="1"/>
                  </a:lnTo>
                </a:path>
              </a:pathLst>
            </a:custGeom>
            <a:solidFill>
              <a:schemeClr val="accent2">
                <a:lumMod val="60000"/>
                <a:lumOff val="40000"/>
              </a:scheme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41" name="Freeform 1428"/>
            <p:cNvSpPr>
              <a:spLocks/>
            </p:cNvSpPr>
            <p:nvPr/>
          </p:nvSpPr>
          <p:spPr bwMode="auto">
            <a:xfrm>
              <a:off x="7158285" y="3130619"/>
              <a:ext cx="28968" cy="55776"/>
            </a:xfrm>
            <a:custGeom>
              <a:avLst/>
              <a:gdLst/>
              <a:ahLst/>
              <a:cxnLst>
                <a:cxn ang="0">
                  <a:pos x="4" y="0"/>
                </a:cxn>
                <a:cxn ang="0">
                  <a:pos x="3" y="0"/>
                </a:cxn>
                <a:cxn ang="0">
                  <a:pos x="6" y="1"/>
                </a:cxn>
                <a:cxn ang="0">
                  <a:pos x="7" y="3"/>
                </a:cxn>
                <a:cxn ang="0">
                  <a:pos x="9" y="4"/>
                </a:cxn>
                <a:cxn ang="0">
                  <a:pos x="7" y="4"/>
                </a:cxn>
                <a:cxn ang="0">
                  <a:pos x="6" y="6"/>
                </a:cxn>
                <a:cxn ang="0">
                  <a:pos x="6" y="10"/>
                </a:cxn>
                <a:cxn ang="0">
                  <a:pos x="3" y="12"/>
                </a:cxn>
                <a:cxn ang="0">
                  <a:pos x="2" y="25"/>
                </a:cxn>
                <a:cxn ang="0">
                  <a:pos x="0" y="23"/>
                </a:cxn>
                <a:cxn ang="0">
                  <a:pos x="0" y="25"/>
                </a:cxn>
                <a:cxn ang="0">
                  <a:pos x="2" y="42"/>
                </a:cxn>
                <a:cxn ang="0">
                  <a:pos x="6" y="51"/>
                </a:cxn>
                <a:cxn ang="0">
                  <a:pos x="7" y="54"/>
                </a:cxn>
                <a:cxn ang="0">
                  <a:pos x="15" y="54"/>
                </a:cxn>
                <a:cxn ang="0">
                  <a:pos x="26" y="48"/>
                </a:cxn>
                <a:cxn ang="0">
                  <a:pos x="29" y="44"/>
                </a:cxn>
                <a:cxn ang="0">
                  <a:pos x="31" y="32"/>
                </a:cxn>
                <a:cxn ang="0">
                  <a:pos x="31" y="31"/>
                </a:cxn>
                <a:cxn ang="0">
                  <a:pos x="28" y="29"/>
                </a:cxn>
                <a:cxn ang="0">
                  <a:pos x="25" y="19"/>
                </a:cxn>
                <a:cxn ang="0">
                  <a:pos x="22" y="17"/>
                </a:cxn>
                <a:cxn ang="0">
                  <a:pos x="20" y="15"/>
                </a:cxn>
                <a:cxn ang="0">
                  <a:pos x="18" y="12"/>
                </a:cxn>
                <a:cxn ang="0">
                  <a:pos x="16" y="9"/>
                </a:cxn>
                <a:cxn ang="0">
                  <a:pos x="9" y="0"/>
                </a:cxn>
                <a:cxn ang="0">
                  <a:pos x="7" y="0"/>
                </a:cxn>
                <a:cxn ang="0">
                  <a:pos x="4" y="0"/>
                </a:cxn>
              </a:cxnLst>
              <a:rect l="0" t="0" r="r" b="b"/>
              <a:pathLst>
                <a:path w="31" h="54">
                  <a:moveTo>
                    <a:pt x="4" y="0"/>
                  </a:moveTo>
                  <a:lnTo>
                    <a:pt x="3" y="0"/>
                  </a:lnTo>
                  <a:lnTo>
                    <a:pt x="6" y="1"/>
                  </a:lnTo>
                  <a:lnTo>
                    <a:pt x="7" y="3"/>
                  </a:lnTo>
                  <a:lnTo>
                    <a:pt x="9" y="4"/>
                  </a:lnTo>
                  <a:lnTo>
                    <a:pt x="7" y="4"/>
                  </a:lnTo>
                  <a:lnTo>
                    <a:pt x="6" y="6"/>
                  </a:lnTo>
                  <a:lnTo>
                    <a:pt x="6" y="10"/>
                  </a:lnTo>
                  <a:lnTo>
                    <a:pt x="3" y="12"/>
                  </a:lnTo>
                  <a:lnTo>
                    <a:pt x="2" y="25"/>
                  </a:lnTo>
                  <a:lnTo>
                    <a:pt x="0" y="23"/>
                  </a:lnTo>
                  <a:lnTo>
                    <a:pt x="0" y="25"/>
                  </a:lnTo>
                  <a:lnTo>
                    <a:pt x="2" y="42"/>
                  </a:lnTo>
                  <a:lnTo>
                    <a:pt x="6" y="51"/>
                  </a:lnTo>
                  <a:lnTo>
                    <a:pt x="7" y="54"/>
                  </a:lnTo>
                  <a:lnTo>
                    <a:pt x="15" y="54"/>
                  </a:lnTo>
                  <a:lnTo>
                    <a:pt x="26" y="48"/>
                  </a:lnTo>
                  <a:lnTo>
                    <a:pt x="29" y="44"/>
                  </a:lnTo>
                  <a:lnTo>
                    <a:pt x="31" y="32"/>
                  </a:lnTo>
                  <a:lnTo>
                    <a:pt x="31" y="31"/>
                  </a:lnTo>
                  <a:lnTo>
                    <a:pt x="28" y="29"/>
                  </a:lnTo>
                  <a:lnTo>
                    <a:pt x="25" y="19"/>
                  </a:lnTo>
                  <a:lnTo>
                    <a:pt x="22" y="17"/>
                  </a:lnTo>
                  <a:lnTo>
                    <a:pt x="20" y="15"/>
                  </a:lnTo>
                  <a:lnTo>
                    <a:pt x="18" y="12"/>
                  </a:lnTo>
                  <a:lnTo>
                    <a:pt x="16" y="9"/>
                  </a:lnTo>
                  <a:lnTo>
                    <a:pt x="9" y="0"/>
                  </a:lnTo>
                  <a:lnTo>
                    <a:pt x="7" y="0"/>
                  </a:lnTo>
                  <a:lnTo>
                    <a:pt x="4"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42" name="Freeform 1430"/>
            <p:cNvSpPr>
              <a:spLocks/>
            </p:cNvSpPr>
            <p:nvPr/>
          </p:nvSpPr>
          <p:spPr bwMode="auto">
            <a:xfrm>
              <a:off x="5788038" y="3018050"/>
              <a:ext cx="6144" cy="5071"/>
            </a:xfrm>
            <a:custGeom>
              <a:avLst/>
              <a:gdLst/>
              <a:ahLst/>
              <a:cxnLst>
                <a:cxn ang="0">
                  <a:pos x="4" y="0"/>
                </a:cxn>
                <a:cxn ang="0">
                  <a:pos x="0" y="0"/>
                </a:cxn>
                <a:cxn ang="0">
                  <a:pos x="2" y="3"/>
                </a:cxn>
                <a:cxn ang="0">
                  <a:pos x="2" y="5"/>
                </a:cxn>
                <a:cxn ang="0">
                  <a:pos x="4" y="3"/>
                </a:cxn>
                <a:cxn ang="0">
                  <a:pos x="6" y="2"/>
                </a:cxn>
                <a:cxn ang="0">
                  <a:pos x="6" y="2"/>
                </a:cxn>
                <a:cxn ang="0">
                  <a:pos x="4" y="0"/>
                </a:cxn>
              </a:cxnLst>
              <a:rect l="0" t="0" r="r" b="b"/>
              <a:pathLst>
                <a:path w="6" h="5">
                  <a:moveTo>
                    <a:pt x="4" y="0"/>
                  </a:moveTo>
                  <a:lnTo>
                    <a:pt x="0" y="0"/>
                  </a:lnTo>
                  <a:lnTo>
                    <a:pt x="2" y="3"/>
                  </a:lnTo>
                  <a:lnTo>
                    <a:pt x="2" y="5"/>
                  </a:lnTo>
                  <a:lnTo>
                    <a:pt x="4" y="3"/>
                  </a:lnTo>
                  <a:lnTo>
                    <a:pt x="6" y="2"/>
                  </a:lnTo>
                  <a:lnTo>
                    <a:pt x="6" y="2"/>
                  </a:lnTo>
                  <a:lnTo>
                    <a:pt x="4"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43" name="Freeform 1431"/>
            <p:cNvSpPr>
              <a:spLocks/>
            </p:cNvSpPr>
            <p:nvPr/>
          </p:nvSpPr>
          <p:spPr bwMode="auto">
            <a:xfrm>
              <a:off x="5788038" y="3018050"/>
              <a:ext cx="6144" cy="5071"/>
            </a:xfrm>
            <a:custGeom>
              <a:avLst/>
              <a:gdLst/>
              <a:ahLst/>
              <a:cxnLst>
                <a:cxn ang="0">
                  <a:pos x="4" y="0"/>
                </a:cxn>
                <a:cxn ang="0">
                  <a:pos x="0" y="0"/>
                </a:cxn>
                <a:cxn ang="0">
                  <a:pos x="2" y="3"/>
                </a:cxn>
                <a:cxn ang="0">
                  <a:pos x="2" y="5"/>
                </a:cxn>
                <a:cxn ang="0">
                  <a:pos x="4" y="3"/>
                </a:cxn>
                <a:cxn ang="0">
                  <a:pos x="6" y="2"/>
                </a:cxn>
                <a:cxn ang="0">
                  <a:pos x="6" y="2"/>
                </a:cxn>
                <a:cxn ang="0">
                  <a:pos x="4" y="0"/>
                </a:cxn>
              </a:cxnLst>
              <a:rect l="0" t="0" r="r" b="b"/>
              <a:pathLst>
                <a:path w="6" h="5">
                  <a:moveTo>
                    <a:pt x="4" y="0"/>
                  </a:moveTo>
                  <a:lnTo>
                    <a:pt x="0" y="0"/>
                  </a:lnTo>
                  <a:lnTo>
                    <a:pt x="2" y="3"/>
                  </a:lnTo>
                  <a:lnTo>
                    <a:pt x="2" y="5"/>
                  </a:lnTo>
                  <a:lnTo>
                    <a:pt x="4" y="3"/>
                  </a:lnTo>
                  <a:lnTo>
                    <a:pt x="6" y="2"/>
                  </a:lnTo>
                  <a:lnTo>
                    <a:pt x="6" y="2"/>
                  </a:lnTo>
                  <a:lnTo>
                    <a:pt x="4"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44" name="Freeform 1432"/>
            <p:cNvSpPr>
              <a:spLocks/>
            </p:cNvSpPr>
            <p:nvPr/>
          </p:nvSpPr>
          <p:spPr bwMode="auto">
            <a:xfrm>
              <a:off x="5802084" y="3026162"/>
              <a:ext cx="4389" cy="3043"/>
            </a:xfrm>
            <a:custGeom>
              <a:avLst/>
              <a:gdLst/>
              <a:ahLst/>
              <a:cxnLst>
                <a:cxn ang="0">
                  <a:pos x="5" y="1"/>
                </a:cxn>
                <a:cxn ang="0">
                  <a:pos x="4" y="1"/>
                </a:cxn>
                <a:cxn ang="0">
                  <a:pos x="0" y="0"/>
                </a:cxn>
                <a:cxn ang="0">
                  <a:pos x="0" y="1"/>
                </a:cxn>
                <a:cxn ang="0">
                  <a:pos x="0" y="3"/>
                </a:cxn>
                <a:cxn ang="0">
                  <a:pos x="1" y="1"/>
                </a:cxn>
                <a:cxn ang="0">
                  <a:pos x="5" y="1"/>
                </a:cxn>
              </a:cxnLst>
              <a:rect l="0" t="0" r="r" b="b"/>
              <a:pathLst>
                <a:path w="5" h="3">
                  <a:moveTo>
                    <a:pt x="5" y="1"/>
                  </a:moveTo>
                  <a:lnTo>
                    <a:pt x="4" y="1"/>
                  </a:lnTo>
                  <a:lnTo>
                    <a:pt x="0" y="0"/>
                  </a:lnTo>
                  <a:lnTo>
                    <a:pt x="0" y="1"/>
                  </a:lnTo>
                  <a:lnTo>
                    <a:pt x="0" y="3"/>
                  </a:lnTo>
                  <a:lnTo>
                    <a:pt x="1" y="1"/>
                  </a:lnTo>
                  <a:lnTo>
                    <a:pt x="5"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45" name="Freeform 1433"/>
            <p:cNvSpPr>
              <a:spLocks/>
            </p:cNvSpPr>
            <p:nvPr/>
          </p:nvSpPr>
          <p:spPr bwMode="auto">
            <a:xfrm>
              <a:off x="5802084" y="3026162"/>
              <a:ext cx="4389" cy="3043"/>
            </a:xfrm>
            <a:custGeom>
              <a:avLst/>
              <a:gdLst/>
              <a:ahLst/>
              <a:cxnLst>
                <a:cxn ang="0">
                  <a:pos x="5" y="1"/>
                </a:cxn>
                <a:cxn ang="0">
                  <a:pos x="4" y="1"/>
                </a:cxn>
                <a:cxn ang="0">
                  <a:pos x="0" y="0"/>
                </a:cxn>
                <a:cxn ang="0">
                  <a:pos x="0" y="1"/>
                </a:cxn>
                <a:cxn ang="0">
                  <a:pos x="0" y="3"/>
                </a:cxn>
                <a:cxn ang="0">
                  <a:pos x="1" y="1"/>
                </a:cxn>
                <a:cxn ang="0">
                  <a:pos x="5" y="1"/>
                </a:cxn>
              </a:cxnLst>
              <a:rect l="0" t="0" r="r" b="b"/>
              <a:pathLst>
                <a:path w="5" h="3">
                  <a:moveTo>
                    <a:pt x="5" y="1"/>
                  </a:moveTo>
                  <a:lnTo>
                    <a:pt x="4" y="1"/>
                  </a:lnTo>
                  <a:lnTo>
                    <a:pt x="0" y="0"/>
                  </a:lnTo>
                  <a:lnTo>
                    <a:pt x="0" y="1"/>
                  </a:lnTo>
                  <a:lnTo>
                    <a:pt x="0" y="3"/>
                  </a:lnTo>
                  <a:lnTo>
                    <a:pt x="1" y="1"/>
                  </a:lnTo>
                  <a:lnTo>
                    <a:pt x="5"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46" name="Freeform 1434"/>
            <p:cNvSpPr>
              <a:spLocks/>
            </p:cNvSpPr>
            <p:nvPr/>
          </p:nvSpPr>
          <p:spPr bwMode="auto">
            <a:xfrm>
              <a:off x="5820517" y="3023121"/>
              <a:ext cx="878" cy="3042"/>
            </a:xfrm>
            <a:custGeom>
              <a:avLst/>
              <a:gdLst/>
              <a:ahLst/>
              <a:cxnLst>
                <a:cxn ang="0">
                  <a:pos x="0" y="0"/>
                </a:cxn>
                <a:cxn ang="0">
                  <a:pos x="0" y="3"/>
                </a:cxn>
                <a:cxn ang="0">
                  <a:pos x="0" y="3"/>
                </a:cxn>
                <a:cxn ang="0">
                  <a:pos x="1" y="1"/>
                </a:cxn>
                <a:cxn ang="0">
                  <a:pos x="0" y="0"/>
                </a:cxn>
              </a:cxnLst>
              <a:rect l="0" t="0" r="r" b="b"/>
              <a:pathLst>
                <a:path w="1" h="3">
                  <a:moveTo>
                    <a:pt x="0" y="0"/>
                  </a:moveTo>
                  <a:lnTo>
                    <a:pt x="0" y="3"/>
                  </a:lnTo>
                  <a:lnTo>
                    <a:pt x="0" y="3"/>
                  </a:lnTo>
                  <a:lnTo>
                    <a:pt x="1" y="1"/>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47" name="Freeform 1435"/>
            <p:cNvSpPr>
              <a:spLocks/>
            </p:cNvSpPr>
            <p:nvPr/>
          </p:nvSpPr>
          <p:spPr bwMode="auto">
            <a:xfrm>
              <a:off x="5820517" y="3023121"/>
              <a:ext cx="878" cy="3042"/>
            </a:xfrm>
            <a:custGeom>
              <a:avLst/>
              <a:gdLst/>
              <a:ahLst/>
              <a:cxnLst>
                <a:cxn ang="0">
                  <a:pos x="0" y="0"/>
                </a:cxn>
                <a:cxn ang="0">
                  <a:pos x="0" y="3"/>
                </a:cxn>
                <a:cxn ang="0">
                  <a:pos x="0" y="3"/>
                </a:cxn>
                <a:cxn ang="0">
                  <a:pos x="1" y="1"/>
                </a:cxn>
                <a:cxn ang="0">
                  <a:pos x="0" y="0"/>
                </a:cxn>
              </a:cxnLst>
              <a:rect l="0" t="0" r="r" b="b"/>
              <a:pathLst>
                <a:path w="1" h="3">
                  <a:moveTo>
                    <a:pt x="0" y="0"/>
                  </a:moveTo>
                  <a:lnTo>
                    <a:pt x="0" y="3"/>
                  </a:lnTo>
                  <a:lnTo>
                    <a:pt x="0" y="3"/>
                  </a:lnTo>
                  <a:lnTo>
                    <a:pt x="1" y="1"/>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48" name="Freeform 1436"/>
            <p:cNvSpPr>
              <a:spLocks/>
            </p:cNvSpPr>
            <p:nvPr/>
          </p:nvSpPr>
          <p:spPr bwMode="auto">
            <a:xfrm>
              <a:off x="5820517" y="3033262"/>
              <a:ext cx="2634" cy="4057"/>
            </a:xfrm>
            <a:custGeom>
              <a:avLst/>
              <a:gdLst/>
              <a:ahLst/>
              <a:cxnLst>
                <a:cxn ang="0">
                  <a:pos x="0" y="1"/>
                </a:cxn>
                <a:cxn ang="0">
                  <a:pos x="1" y="0"/>
                </a:cxn>
                <a:cxn ang="0">
                  <a:pos x="3" y="1"/>
                </a:cxn>
                <a:cxn ang="0">
                  <a:pos x="3" y="3"/>
                </a:cxn>
                <a:cxn ang="0">
                  <a:pos x="1" y="4"/>
                </a:cxn>
                <a:cxn ang="0">
                  <a:pos x="1" y="4"/>
                </a:cxn>
                <a:cxn ang="0">
                  <a:pos x="0" y="3"/>
                </a:cxn>
                <a:cxn ang="0">
                  <a:pos x="0" y="1"/>
                </a:cxn>
                <a:cxn ang="0">
                  <a:pos x="0" y="1"/>
                </a:cxn>
              </a:cxnLst>
              <a:rect l="0" t="0" r="r" b="b"/>
              <a:pathLst>
                <a:path w="3" h="4">
                  <a:moveTo>
                    <a:pt x="0" y="1"/>
                  </a:moveTo>
                  <a:lnTo>
                    <a:pt x="1" y="0"/>
                  </a:lnTo>
                  <a:lnTo>
                    <a:pt x="3" y="1"/>
                  </a:lnTo>
                  <a:lnTo>
                    <a:pt x="3" y="3"/>
                  </a:lnTo>
                  <a:lnTo>
                    <a:pt x="1" y="4"/>
                  </a:lnTo>
                  <a:lnTo>
                    <a:pt x="1" y="4"/>
                  </a:lnTo>
                  <a:lnTo>
                    <a:pt x="0" y="3"/>
                  </a:lnTo>
                  <a:lnTo>
                    <a:pt x="0" y="1"/>
                  </a:lnTo>
                  <a:lnTo>
                    <a:pt x="0"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49" name="Freeform 1437"/>
            <p:cNvSpPr>
              <a:spLocks/>
            </p:cNvSpPr>
            <p:nvPr/>
          </p:nvSpPr>
          <p:spPr bwMode="auto">
            <a:xfrm>
              <a:off x="5820517" y="3033262"/>
              <a:ext cx="2634" cy="4057"/>
            </a:xfrm>
            <a:custGeom>
              <a:avLst/>
              <a:gdLst/>
              <a:ahLst/>
              <a:cxnLst>
                <a:cxn ang="0">
                  <a:pos x="0" y="1"/>
                </a:cxn>
                <a:cxn ang="0">
                  <a:pos x="1" y="0"/>
                </a:cxn>
                <a:cxn ang="0">
                  <a:pos x="3" y="1"/>
                </a:cxn>
                <a:cxn ang="0">
                  <a:pos x="3" y="3"/>
                </a:cxn>
                <a:cxn ang="0">
                  <a:pos x="1" y="4"/>
                </a:cxn>
                <a:cxn ang="0">
                  <a:pos x="1" y="4"/>
                </a:cxn>
                <a:cxn ang="0">
                  <a:pos x="0" y="3"/>
                </a:cxn>
                <a:cxn ang="0">
                  <a:pos x="0" y="1"/>
                </a:cxn>
                <a:cxn ang="0">
                  <a:pos x="0" y="1"/>
                </a:cxn>
              </a:cxnLst>
              <a:rect l="0" t="0" r="r" b="b"/>
              <a:pathLst>
                <a:path w="3" h="4">
                  <a:moveTo>
                    <a:pt x="0" y="1"/>
                  </a:moveTo>
                  <a:lnTo>
                    <a:pt x="1" y="0"/>
                  </a:lnTo>
                  <a:lnTo>
                    <a:pt x="3" y="1"/>
                  </a:lnTo>
                  <a:lnTo>
                    <a:pt x="3" y="3"/>
                  </a:lnTo>
                  <a:lnTo>
                    <a:pt x="1" y="4"/>
                  </a:lnTo>
                  <a:lnTo>
                    <a:pt x="1" y="4"/>
                  </a:lnTo>
                  <a:lnTo>
                    <a:pt x="0" y="3"/>
                  </a:lnTo>
                  <a:lnTo>
                    <a:pt x="0" y="1"/>
                  </a:lnTo>
                  <a:lnTo>
                    <a:pt x="0"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50" name="Freeform 1438"/>
            <p:cNvSpPr>
              <a:spLocks/>
            </p:cNvSpPr>
            <p:nvPr/>
          </p:nvSpPr>
          <p:spPr bwMode="auto">
            <a:xfrm>
              <a:off x="5809105" y="3046446"/>
              <a:ext cx="5267" cy="7099"/>
            </a:xfrm>
            <a:custGeom>
              <a:avLst/>
              <a:gdLst/>
              <a:ahLst/>
              <a:cxnLst>
                <a:cxn ang="0">
                  <a:pos x="0" y="0"/>
                </a:cxn>
                <a:cxn ang="0">
                  <a:pos x="0" y="0"/>
                </a:cxn>
                <a:cxn ang="0">
                  <a:pos x="0" y="6"/>
                </a:cxn>
                <a:cxn ang="0">
                  <a:pos x="2" y="6"/>
                </a:cxn>
                <a:cxn ang="0">
                  <a:pos x="5" y="6"/>
                </a:cxn>
                <a:cxn ang="0">
                  <a:pos x="5" y="4"/>
                </a:cxn>
                <a:cxn ang="0">
                  <a:pos x="2" y="2"/>
                </a:cxn>
                <a:cxn ang="0">
                  <a:pos x="0" y="0"/>
                </a:cxn>
              </a:cxnLst>
              <a:rect l="0" t="0" r="r" b="b"/>
              <a:pathLst>
                <a:path w="5" h="6">
                  <a:moveTo>
                    <a:pt x="0" y="0"/>
                  </a:moveTo>
                  <a:lnTo>
                    <a:pt x="0" y="0"/>
                  </a:lnTo>
                  <a:lnTo>
                    <a:pt x="0" y="6"/>
                  </a:lnTo>
                  <a:lnTo>
                    <a:pt x="2" y="6"/>
                  </a:lnTo>
                  <a:lnTo>
                    <a:pt x="5" y="6"/>
                  </a:lnTo>
                  <a:lnTo>
                    <a:pt x="5" y="4"/>
                  </a:lnTo>
                  <a:lnTo>
                    <a:pt x="2" y="2"/>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51" name="Freeform 1439"/>
            <p:cNvSpPr>
              <a:spLocks/>
            </p:cNvSpPr>
            <p:nvPr/>
          </p:nvSpPr>
          <p:spPr bwMode="auto">
            <a:xfrm>
              <a:off x="5809105" y="3046446"/>
              <a:ext cx="5267" cy="7099"/>
            </a:xfrm>
            <a:custGeom>
              <a:avLst/>
              <a:gdLst/>
              <a:ahLst/>
              <a:cxnLst>
                <a:cxn ang="0">
                  <a:pos x="0" y="0"/>
                </a:cxn>
                <a:cxn ang="0">
                  <a:pos x="0" y="0"/>
                </a:cxn>
                <a:cxn ang="0">
                  <a:pos x="0" y="6"/>
                </a:cxn>
                <a:cxn ang="0">
                  <a:pos x="2" y="6"/>
                </a:cxn>
                <a:cxn ang="0">
                  <a:pos x="5" y="6"/>
                </a:cxn>
                <a:cxn ang="0">
                  <a:pos x="5" y="4"/>
                </a:cxn>
                <a:cxn ang="0">
                  <a:pos x="2" y="2"/>
                </a:cxn>
                <a:cxn ang="0">
                  <a:pos x="0" y="0"/>
                </a:cxn>
              </a:cxnLst>
              <a:rect l="0" t="0" r="r" b="b"/>
              <a:pathLst>
                <a:path w="5" h="6">
                  <a:moveTo>
                    <a:pt x="0" y="0"/>
                  </a:moveTo>
                  <a:lnTo>
                    <a:pt x="0" y="0"/>
                  </a:lnTo>
                  <a:lnTo>
                    <a:pt x="0" y="6"/>
                  </a:lnTo>
                  <a:lnTo>
                    <a:pt x="2" y="6"/>
                  </a:lnTo>
                  <a:lnTo>
                    <a:pt x="5" y="6"/>
                  </a:lnTo>
                  <a:lnTo>
                    <a:pt x="5" y="4"/>
                  </a:lnTo>
                  <a:lnTo>
                    <a:pt x="2" y="2"/>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52" name="Freeform 1440"/>
            <p:cNvSpPr>
              <a:spLocks/>
            </p:cNvSpPr>
            <p:nvPr/>
          </p:nvSpPr>
          <p:spPr bwMode="auto">
            <a:xfrm>
              <a:off x="5800328" y="3053545"/>
              <a:ext cx="1756" cy="1014"/>
            </a:xfrm>
            <a:custGeom>
              <a:avLst/>
              <a:gdLst/>
              <a:ahLst/>
              <a:cxnLst>
                <a:cxn ang="0">
                  <a:pos x="2" y="0"/>
                </a:cxn>
                <a:cxn ang="0">
                  <a:pos x="0" y="0"/>
                </a:cxn>
                <a:cxn ang="0">
                  <a:pos x="0" y="1"/>
                </a:cxn>
                <a:cxn ang="0">
                  <a:pos x="0" y="1"/>
                </a:cxn>
                <a:cxn ang="0">
                  <a:pos x="2" y="1"/>
                </a:cxn>
                <a:cxn ang="0">
                  <a:pos x="2" y="1"/>
                </a:cxn>
                <a:cxn ang="0">
                  <a:pos x="2" y="0"/>
                </a:cxn>
              </a:cxnLst>
              <a:rect l="0" t="0" r="r" b="b"/>
              <a:pathLst>
                <a:path w="2" h="1">
                  <a:moveTo>
                    <a:pt x="2" y="0"/>
                  </a:moveTo>
                  <a:lnTo>
                    <a:pt x="0" y="0"/>
                  </a:lnTo>
                  <a:lnTo>
                    <a:pt x="0" y="1"/>
                  </a:lnTo>
                  <a:lnTo>
                    <a:pt x="0" y="1"/>
                  </a:lnTo>
                  <a:lnTo>
                    <a:pt x="2" y="1"/>
                  </a:lnTo>
                  <a:lnTo>
                    <a:pt x="2" y="1"/>
                  </a:lnTo>
                  <a:lnTo>
                    <a:pt x="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53" name="Freeform 1441"/>
            <p:cNvSpPr>
              <a:spLocks/>
            </p:cNvSpPr>
            <p:nvPr/>
          </p:nvSpPr>
          <p:spPr bwMode="auto">
            <a:xfrm>
              <a:off x="5800328" y="3053545"/>
              <a:ext cx="1756" cy="1014"/>
            </a:xfrm>
            <a:custGeom>
              <a:avLst/>
              <a:gdLst/>
              <a:ahLst/>
              <a:cxnLst>
                <a:cxn ang="0">
                  <a:pos x="2" y="0"/>
                </a:cxn>
                <a:cxn ang="0">
                  <a:pos x="0" y="0"/>
                </a:cxn>
                <a:cxn ang="0">
                  <a:pos x="0" y="1"/>
                </a:cxn>
                <a:cxn ang="0">
                  <a:pos x="0" y="1"/>
                </a:cxn>
                <a:cxn ang="0">
                  <a:pos x="2" y="1"/>
                </a:cxn>
                <a:cxn ang="0">
                  <a:pos x="2" y="1"/>
                </a:cxn>
                <a:cxn ang="0">
                  <a:pos x="2" y="0"/>
                </a:cxn>
              </a:cxnLst>
              <a:rect l="0" t="0" r="r" b="b"/>
              <a:pathLst>
                <a:path w="2" h="1">
                  <a:moveTo>
                    <a:pt x="2" y="0"/>
                  </a:moveTo>
                  <a:lnTo>
                    <a:pt x="0" y="0"/>
                  </a:lnTo>
                  <a:lnTo>
                    <a:pt x="0" y="1"/>
                  </a:lnTo>
                  <a:lnTo>
                    <a:pt x="0" y="1"/>
                  </a:lnTo>
                  <a:lnTo>
                    <a:pt x="2" y="1"/>
                  </a:lnTo>
                  <a:lnTo>
                    <a:pt x="2" y="1"/>
                  </a:lnTo>
                  <a:lnTo>
                    <a:pt x="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54" name="Freeform 1442"/>
            <p:cNvSpPr>
              <a:spLocks/>
            </p:cNvSpPr>
            <p:nvPr/>
          </p:nvSpPr>
          <p:spPr bwMode="auto">
            <a:xfrm>
              <a:off x="6294529" y="2489688"/>
              <a:ext cx="41256" cy="33466"/>
            </a:xfrm>
            <a:custGeom>
              <a:avLst/>
              <a:gdLst/>
              <a:ahLst/>
              <a:cxnLst>
                <a:cxn ang="0">
                  <a:pos x="35" y="0"/>
                </a:cxn>
                <a:cxn ang="0">
                  <a:pos x="29" y="2"/>
                </a:cxn>
                <a:cxn ang="0">
                  <a:pos x="27" y="5"/>
                </a:cxn>
                <a:cxn ang="0">
                  <a:pos x="19" y="5"/>
                </a:cxn>
                <a:cxn ang="0">
                  <a:pos x="14" y="9"/>
                </a:cxn>
                <a:cxn ang="0">
                  <a:pos x="0" y="11"/>
                </a:cxn>
                <a:cxn ang="0">
                  <a:pos x="0" y="13"/>
                </a:cxn>
                <a:cxn ang="0">
                  <a:pos x="1" y="13"/>
                </a:cxn>
                <a:cxn ang="0">
                  <a:pos x="1" y="19"/>
                </a:cxn>
                <a:cxn ang="0">
                  <a:pos x="3" y="22"/>
                </a:cxn>
                <a:cxn ang="0">
                  <a:pos x="4" y="24"/>
                </a:cxn>
                <a:cxn ang="0">
                  <a:pos x="6" y="25"/>
                </a:cxn>
                <a:cxn ang="0">
                  <a:pos x="6" y="28"/>
                </a:cxn>
                <a:cxn ang="0">
                  <a:pos x="3" y="28"/>
                </a:cxn>
                <a:cxn ang="0">
                  <a:pos x="3" y="29"/>
                </a:cxn>
                <a:cxn ang="0">
                  <a:pos x="7" y="28"/>
                </a:cxn>
                <a:cxn ang="0">
                  <a:pos x="13" y="29"/>
                </a:cxn>
                <a:cxn ang="0">
                  <a:pos x="16" y="27"/>
                </a:cxn>
                <a:cxn ang="0">
                  <a:pos x="20" y="31"/>
                </a:cxn>
                <a:cxn ang="0">
                  <a:pos x="20" y="29"/>
                </a:cxn>
                <a:cxn ang="0">
                  <a:pos x="22" y="31"/>
                </a:cxn>
                <a:cxn ang="0">
                  <a:pos x="24" y="32"/>
                </a:cxn>
                <a:cxn ang="0">
                  <a:pos x="24" y="28"/>
                </a:cxn>
                <a:cxn ang="0">
                  <a:pos x="24" y="25"/>
                </a:cxn>
                <a:cxn ang="0">
                  <a:pos x="30" y="22"/>
                </a:cxn>
                <a:cxn ang="0">
                  <a:pos x="32" y="18"/>
                </a:cxn>
                <a:cxn ang="0">
                  <a:pos x="30" y="15"/>
                </a:cxn>
                <a:cxn ang="0">
                  <a:pos x="36" y="12"/>
                </a:cxn>
                <a:cxn ang="0">
                  <a:pos x="36" y="11"/>
                </a:cxn>
                <a:cxn ang="0">
                  <a:pos x="39" y="11"/>
                </a:cxn>
                <a:cxn ang="0">
                  <a:pos x="39" y="8"/>
                </a:cxn>
                <a:cxn ang="0">
                  <a:pos x="40" y="6"/>
                </a:cxn>
                <a:cxn ang="0">
                  <a:pos x="43" y="8"/>
                </a:cxn>
                <a:cxn ang="0">
                  <a:pos x="45" y="8"/>
                </a:cxn>
                <a:cxn ang="0">
                  <a:pos x="39" y="0"/>
                </a:cxn>
              </a:cxnLst>
              <a:rect l="0" t="0" r="r" b="b"/>
              <a:pathLst>
                <a:path w="45" h="32">
                  <a:moveTo>
                    <a:pt x="36" y="0"/>
                  </a:moveTo>
                  <a:lnTo>
                    <a:pt x="35" y="0"/>
                  </a:lnTo>
                  <a:lnTo>
                    <a:pt x="35" y="3"/>
                  </a:lnTo>
                  <a:lnTo>
                    <a:pt x="29" y="2"/>
                  </a:lnTo>
                  <a:lnTo>
                    <a:pt x="29" y="3"/>
                  </a:lnTo>
                  <a:lnTo>
                    <a:pt x="27" y="5"/>
                  </a:lnTo>
                  <a:lnTo>
                    <a:pt x="22" y="3"/>
                  </a:lnTo>
                  <a:lnTo>
                    <a:pt x="19" y="5"/>
                  </a:lnTo>
                  <a:lnTo>
                    <a:pt x="17" y="8"/>
                  </a:lnTo>
                  <a:lnTo>
                    <a:pt x="14" y="9"/>
                  </a:lnTo>
                  <a:lnTo>
                    <a:pt x="3" y="8"/>
                  </a:lnTo>
                  <a:lnTo>
                    <a:pt x="0" y="11"/>
                  </a:lnTo>
                  <a:lnTo>
                    <a:pt x="0" y="12"/>
                  </a:lnTo>
                  <a:lnTo>
                    <a:pt x="0" y="13"/>
                  </a:lnTo>
                  <a:lnTo>
                    <a:pt x="0" y="13"/>
                  </a:lnTo>
                  <a:lnTo>
                    <a:pt x="1" y="13"/>
                  </a:lnTo>
                  <a:lnTo>
                    <a:pt x="0" y="18"/>
                  </a:lnTo>
                  <a:lnTo>
                    <a:pt x="1" y="19"/>
                  </a:lnTo>
                  <a:lnTo>
                    <a:pt x="1" y="21"/>
                  </a:lnTo>
                  <a:lnTo>
                    <a:pt x="3" y="22"/>
                  </a:lnTo>
                  <a:lnTo>
                    <a:pt x="4" y="22"/>
                  </a:lnTo>
                  <a:lnTo>
                    <a:pt x="4" y="24"/>
                  </a:lnTo>
                  <a:lnTo>
                    <a:pt x="6" y="25"/>
                  </a:lnTo>
                  <a:lnTo>
                    <a:pt x="6" y="25"/>
                  </a:lnTo>
                  <a:lnTo>
                    <a:pt x="6" y="27"/>
                  </a:lnTo>
                  <a:lnTo>
                    <a:pt x="6" y="28"/>
                  </a:lnTo>
                  <a:lnTo>
                    <a:pt x="4" y="28"/>
                  </a:lnTo>
                  <a:lnTo>
                    <a:pt x="3" y="28"/>
                  </a:lnTo>
                  <a:lnTo>
                    <a:pt x="1" y="28"/>
                  </a:lnTo>
                  <a:lnTo>
                    <a:pt x="3" y="29"/>
                  </a:lnTo>
                  <a:lnTo>
                    <a:pt x="7" y="29"/>
                  </a:lnTo>
                  <a:lnTo>
                    <a:pt x="7" y="28"/>
                  </a:lnTo>
                  <a:lnTo>
                    <a:pt x="9" y="29"/>
                  </a:lnTo>
                  <a:lnTo>
                    <a:pt x="13" y="29"/>
                  </a:lnTo>
                  <a:lnTo>
                    <a:pt x="14" y="25"/>
                  </a:lnTo>
                  <a:lnTo>
                    <a:pt x="16" y="27"/>
                  </a:lnTo>
                  <a:lnTo>
                    <a:pt x="19" y="31"/>
                  </a:lnTo>
                  <a:lnTo>
                    <a:pt x="20" y="31"/>
                  </a:lnTo>
                  <a:lnTo>
                    <a:pt x="20" y="29"/>
                  </a:lnTo>
                  <a:lnTo>
                    <a:pt x="20" y="29"/>
                  </a:lnTo>
                  <a:lnTo>
                    <a:pt x="20" y="31"/>
                  </a:lnTo>
                  <a:lnTo>
                    <a:pt x="22" y="31"/>
                  </a:lnTo>
                  <a:lnTo>
                    <a:pt x="23" y="32"/>
                  </a:lnTo>
                  <a:lnTo>
                    <a:pt x="24" y="32"/>
                  </a:lnTo>
                  <a:lnTo>
                    <a:pt x="26" y="31"/>
                  </a:lnTo>
                  <a:lnTo>
                    <a:pt x="24" y="28"/>
                  </a:lnTo>
                  <a:lnTo>
                    <a:pt x="26" y="27"/>
                  </a:lnTo>
                  <a:lnTo>
                    <a:pt x="24" y="25"/>
                  </a:lnTo>
                  <a:lnTo>
                    <a:pt x="27" y="22"/>
                  </a:lnTo>
                  <a:lnTo>
                    <a:pt x="30" y="22"/>
                  </a:lnTo>
                  <a:lnTo>
                    <a:pt x="32" y="21"/>
                  </a:lnTo>
                  <a:lnTo>
                    <a:pt x="32" y="18"/>
                  </a:lnTo>
                  <a:lnTo>
                    <a:pt x="30" y="16"/>
                  </a:lnTo>
                  <a:lnTo>
                    <a:pt x="30" y="15"/>
                  </a:lnTo>
                  <a:lnTo>
                    <a:pt x="30" y="13"/>
                  </a:lnTo>
                  <a:lnTo>
                    <a:pt x="36" y="12"/>
                  </a:lnTo>
                  <a:lnTo>
                    <a:pt x="36" y="11"/>
                  </a:lnTo>
                  <a:lnTo>
                    <a:pt x="36" y="11"/>
                  </a:lnTo>
                  <a:lnTo>
                    <a:pt x="39" y="11"/>
                  </a:lnTo>
                  <a:lnTo>
                    <a:pt x="39" y="11"/>
                  </a:lnTo>
                  <a:lnTo>
                    <a:pt x="39" y="11"/>
                  </a:lnTo>
                  <a:lnTo>
                    <a:pt x="39" y="8"/>
                  </a:lnTo>
                  <a:lnTo>
                    <a:pt x="39" y="8"/>
                  </a:lnTo>
                  <a:lnTo>
                    <a:pt x="40" y="6"/>
                  </a:lnTo>
                  <a:lnTo>
                    <a:pt x="40" y="6"/>
                  </a:lnTo>
                  <a:lnTo>
                    <a:pt x="43" y="8"/>
                  </a:lnTo>
                  <a:lnTo>
                    <a:pt x="43" y="8"/>
                  </a:lnTo>
                  <a:lnTo>
                    <a:pt x="45" y="8"/>
                  </a:lnTo>
                  <a:lnTo>
                    <a:pt x="40" y="0"/>
                  </a:lnTo>
                  <a:lnTo>
                    <a:pt x="39" y="0"/>
                  </a:lnTo>
                  <a:lnTo>
                    <a:pt x="36"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55" name="Freeform 1443"/>
            <p:cNvSpPr>
              <a:spLocks/>
            </p:cNvSpPr>
            <p:nvPr/>
          </p:nvSpPr>
          <p:spPr bwMode="auto">
            <a:xfrm>
              <a:off x="6294529" y="2489688"/>
              <a:ext cx="41256" cy="33466"/>
            </a:xfrm>
            <a:custGeom>
              <a:avLst/>
              <a:gdLst/>
              <a:ahLst/>
              <a:cxnLst>
                <a:cxn ang="0">
                  <a:pos x="35" y="0"/>
                </a:cxn>
                <a:cxn ang="0">
                  <a:pos x="29" y="2"/>
                </a:cxn>
                <a:cxn ang="0">
                  <a:pos x="27" y="5"/>
                </a:cxn>
                <a:cxn ang="0">
                  <a:pos x="19" y="5"/>
                </a:cxn>
                <a:cxn ang="0">
                  <a:pos x="14" y="9"/>
                </a:cxn>
                <a:cxn ang="0">
                  <a:pos x="0" y="11"/>
                </a:cxn>
                <a:cxn ang="0">
                  <a:pos x="0" y="13"/>
                </a:cxn>
                <a:cxn ang="0">
                  <a:pos x="1" y="13"/>
                </a:cxn>
                <a:cxn ang="0">
                  <a:pos x="1" y="19"/>
                </a:cxn>
                <a:cxn ang="0">
                  <a:pos x="3" y="22"/>
                </a:cxn>
                <a:cxn ang="0">
                  <a:pos x="4" y="24"/>
                </a:cxn>
                <a:cxn ang="0">
                  <a:pos x="6" y="25"/>
                </a:cxn>
                <a:cxn ang="0">
                  <a:pos x="6" y="28"/>
                </a:cxn>
                <a:cxn ang="0">
                  <a:pos x="3" y="28"/>
                </a:cxn>
                <a:cxn ang="0">
                  <a:pos x="3" y="29"/>
                </a:cxn>
                <a:cxn ang="0">
                  <a:pos x="7" y="28"/>
                </a:cxn>
                <a:cxn ang="0">
                  <a:pos x="13" y="29"/>
                </a:cxn>
                <a:cxn ang="0">
                  <a:pos x="16" y="27"/>
                </a:cxn>
                <a:cxn ang="0">
                  <a:pos x="20" y="31"/>
                </a:cxn>
                <a:cxn ang="0">
                  <a:pos x="20" y="29"/>
                </a:cxn>
                <a:cxn ang="0">
                  <a:pos x="22" y="31"/>
                </a:cxn>
                <a:cxn ang="0">
                  <a:pos x="24" y="32"/>
                </a:cxn>
                <a:cxn ang="0">
                  <a:pos x="24" y="28"/>
                </a:cxn>
                <a:cxn ang="0">
                  <a:pos x="24" y="25"/>
                </a:cxn>
                <a:cxn ang="0">
                  <a:pos x="30" y="22"/>
                </a:cxn>
                <a:cxn ang="0">
                  <a:pos x="32" y="18"/>
                </a:cxn>
                <a:cxn ang="0">
                  <a:pos x="30" y="15"/>
                </a:cxn>
                <a:cxn ang="0">
                  <a:pos x="36" y="12"/>
                </a:cxn>
                <a:cxn ang="0">
                  <a:pos x="36" y="11"/>
                </a:cxn>
                <a:cxn ang="0">
                  <a:pos x="39" y="11"/>
                </a:cxn>
                <a:cxn ang="0">
                  <a:pos x="39" y="8"/>
                </a:cxn>
                <a:cxn ang="0">
                  <a:pos x="40" y="6"/>
                </a:cxn>
                <a:cxn ang="0">
                  <a:pos x="43" y="8"/>
                </a:cxn>
                <a:cxn ang="0">
                  <a:pos x="45" y="8"/>
                </a:cxn>
                <a:cxn ang="0">
                  <a:pos x="39" y="0"/>
                </a:cxn>
              </a:cxnLst>
              <a:rect l="0" t="0" r="r" b="b"/>
              <a:pathLst>
                <a:path w="45" h="32">
                  <a:moveTo>
                    <a:pt x="36" y="0"/>
                  </a:moveTo>
                  <a:lnTo>
                    <a:pt x="35" y="0"/>
                  </a:lnTo>
                  <a:lnTo>
                    <a:pt x="35" y="3"/>
                  </a:lnTo>
                  <a:lnTo>
                    <a:pt x="29" y="2"/>
                  </a:lnTo>
                  <a:lnTo>
                    <a:pt x="29" y="3"/>
                  </a:lnTo>
                  <a:lnTo>
                    <a:pt x="27" y="5"/>
                  </a:lnTo>
                  <a:lnTo>
                    <a:pt x="22" y="3"/>
                  </a:lnTo>
                  <a:lnTo>
                    <a:pt x="19" y="5"/>
                  </a:lnTo>
                  <a:lnTo>
                    <a:pt x="17" y="8"/>
                  </a:lnTo>
                  <a:lnTo>
                    <a:pt x="14" y="9"/>
                  </a:lnTo>
                  <a:lnTo>
                    <a:pt x="3" y="8"/>
                  </a:lnTo>
                  <a:lnTo>
                    <a:pt x="0" y="11"/>
                  </a:lnTo>
                  <a:lnTo>
                    <a:pt x="0" y="12"/>
                  </a:lnTo>
                  <a:lnTo>
                    <a:pt x="0" y="13"/>
                  </a:lnTo>
                  <a:lnTo>
                    <a:pt x="0" y="13"/>
                  </a:lnTo>
                  <a:lnTo>
                    <a:pt x="1" y="13"/>
                  </a:lnTo>
                  <a:lnTo>
                    <a:pt x="0" y="18"/>
                  </a:lnTo>
                  <a:lnTo>
                    <a:pt x="1" y="19"/>
                  </a:lnTo>
                  <a:lnTo>
                    <a:pt x="1" y="21"/>
                  </a:lnTo>
                  <a:lnTo>
                    <a:pt x="3" y="22"/>
                  </a:lnTo>
                  <a:lnTo>
                    <a:pt x="4" y="22"/>
                  </a:lnTo>
                  <a:lnTo>
                    <a:pt x="4" y="24"/>
                  </a:lnTo>
                  <a:lnTo>
                    <a:pt x="6" y="25"/>
                  </a:lnTo>
                  <a:lnTo>
                    <a:pt x="6" y="25"/>
                  </a:lnTo>
                  <a:lnTo>
                    <a:pt x="6" y="27"/>
                  </a:lnTo>
                  <a:lnTo>
                    <a:pt x="6" y="28"/>
                  </a:lnTo>
                  <a:lnTo>
                    <a:pt x="4" y="28"/>
                  </a:lnTo>
                  <a:lnTo>
                    <a:pt x="3" y="28"/>
                  </a:lnTo>
                  <a:lnTo>
                    <a:pt x="1" y="28"/>
                  </a:lnTo>
                  <a:lnTo>
                    <a:pt x="3" y="29"/>
                  </a:lnTo>
                  <a:lnTo>
                    <a:pt x="7" y="29"/>
                  </a:lnTo>
                  <a:lnTo>
                    <a:pt x="7" y="28"/>
                  </a:lnTo>
                  <a:lnTo>
                    <a:pt x="9" y="29"/>
                  </a:lnTo>
                  <a:lnTo>
                    <a:pt x="13" y="29"/>
                  </a:lnTo>
                  <a:lnTo>
                    <a:pt x="14" y="25"/>
                  </a:lnTo>
                  <a:lnTo>
                    <a:pt x="16" y="27"/>
                  </a:lnTo>
                  <a:lnTo>
                    <a:pt x="19" y="31"/>
                  </a:lnTo>
                  <a:lnTo>
                    <a:pt x="20" y="31"/>
                  </a:lnTo>
                  <a:lnTo>
                    <a:pt x="20" y="29"/>
                  </a:lnTo>
                  <a:lnTo>
                    <a:pt x="20" y="29"/>
                  </a:lnTo>
                  <a:lnTo>
                    <a:pt x="20" y="31"/>
                  </a:lnTo>
                  <a:lnTo>
                    <a:pt x="22" y="31"/>
                  </a:lnTo>
                  <a:lnTo>
                    <a:pt x="23" y="32"/>
                  </a:lnTo>
                  <a:lnTo>
                    <a:pt x="24" y="32"/>
                  </a:lnTo>
                  <a:lnTo>
                    <a:pt x="26" y="31"/>
                  </a:lnTo>
                  <a:lnTo>
                    <a:pt x="24" y="28"/>
                  </a:lnTo>
                  <a:lnTo>
                    <a:pt x="26" y="27"/>
                  </a:lnTo>
                  <a:lnTo>
                    <a:pt x="24" y="25"/>
                  </a:lnTo>
                  <a:lnTo>
                    <a:pt x="27" y="22"/>
                  </a:lnTo>
                  <a:lnTo>
                    <a:pt x="30" y="22"/>
                  </a:lnTo>
                  <a:lnTo>
                    <a:pt x="32" y="21"/>
                  </a:lnTo>
                  <a:lnTo>
                    <a:pt x="32" y="18"/>
                  </a:lnTo>
                  <a:lnTo>
                    <a:pt x="30" y="16"/>
                  </a:lnTo>
                  <a:lnTo>
                    <a:pt x="30" y="15"/>
                  </a:lnTo>
                  <a:lnTo>
                    <a:pt x="30" y="13"/>
                  </a:lnTo>
                  <a:lnTo>
                    <a:pt x="36" y="12"/>
                  </a:lnTo>
                  <a:lnTo>
                    <a:pt x="36" y="11"/>
                  </a:lnTo>
                  <a:lnTo>
                    <a:pt x="36" y="11"/>
                  </a:lnTo>
                  <a:lnTo>
                    <a:pt x="39" y="11"/>
                  </a:lnTo>
                  <a:lnTo>
                    <a:pt x="39" y="11"/>
                  </a:lnTo>
                  <a:lnTo>
                    <a:pt x="39" y="11"/>
                  </a:lnTo>
                  <a:lnTo>
                    <a:pt x="39" y="8"/>
                  </a:lnTo>
                  <a:lnTo>
                    <a:pt x="39" y="8"/>
                  </a:lnTo>
                  <a:lnTo>
                    <a:pt x="40" y="6"/>
                  </a:lnTo>
                  <a:lnTo>
                    <a:pt x="40" y="6"/>
                  </a:lnTo>
                  <a:lnTo>
                    <a:pt x="43" y="8"/>
                  </a:lnTo>
                  <a:lnTo>
                    <a:pt x="43" y="8"/>
                  </a:lnTo>
                  <a:lnTo>
                    <a:pt x="45" y="8"/>
                  </a:lnTo>
                  <a:lnTo>
                    <a:pt x="40" y="0"/>
                  </a:lnTo>
                  <a:lnTo>
                    <a:pt x="39" y="0"/>
                  </a:lnTo>
                  <a:lnTo>
                    <a:pt x="36"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56" name="Freeform 1444"/>
            <p:cNvSpPr>
              <a:spLocks/>
            </p:cNvSpPr>
            <p:nvPr/>
          </p:nvSpPr>
          <p:spPr bwMode="auto">
            <a:xfrm>
              <a:off x="6386698" y="2582987"/>
              <a:ext cx="31600" cy="29409"/>
            </a:xfrm>
            <a:custGeom>
              <a:avLst/>
              <a:gdLst/>
              <a:ahLst/>
              <a:cxnLst>
                <a:cxn ang="0">
                  <a:pos x="7" y="28"/>
                </a:cxn>
                <a:cxn ang="0">
                  <a:pos x="3" y="24"/>
                </a:cxn>
                <a:cxn ang="0">
                  <a:pos x="0" y="19"/>
                </a:cxn>
                <a:cxn ang="0">
                  <a:pos x="1" y="5"/>
                </a:cxn>
                <a:cxn ang="0">
                  <a:pos x="3" y="6"/>
                </a:cxn>
                <a:cxn ang="0">
                  <a:pos x="3" y="6"/>
                </a:cxn>
                <a:cxn ang="0">
                  <a:pos x="4" y="5"/>
                </a:cxn>
                <a:cxn ang="0">
                  <a:pos x="4" y="3"/>
                </a:cxn>
                <a:cxn ang="0">
                  <a:pos x="9" y="2"/>
                </a:cxn>
                <a:cxn ang="0">
                  <a:pos x="10" y="2"/>
                </a:cxn>
                <a:cxn ang="0">
                  <a:pos x="12" y="3"/>
                </a:cxn>
                <a:cxn ang="0">
                  <a:pos x="12" y="3"/>
                </a:cxn>
                <a:cxn ang="0">
                  <a:pos x="12" y="2"/>
                </a:cxn>
                <a:cxn ang="0">
                  <a:pos x="15" y="0"/>
                </a:cxn>
                <a:cxn ang="0">
                  <a:pos x="19" y="2"/>
                </a:cxn>
                <a:cxn ang="0">
                  <a:pos x="19" y="0"/>
                </a:cxn>
                <a:cxn ang="0">
                  <a:pos x="23" y="2"/>
                </a:cxn>
                <a:cxn ang="0">
                  <a:pos x="26" y="0"/>
                </a:cxn>
                <a:cxn ang="0">
                  <a:pos x="28" y="2"/>
                </a:cxn>
                <a:cxn ang="0">
                  <a:pos x="33" y="6"/>
                </a:cxn>
                <a:cxn ang="0">
                  <a:pos x="35" y="19"/>
                </a:cxn>
                <a:cxn ang="0">
                  <a:pos x="33" y="19"/>
                </a:cxn>
                <a:cxn ang="0">
                  <a:pos x="29" y="22"/>
                </a:cxn>
                <a:cxn ang="0">
                  <a:pos x="25" y="22"/>
                </a:cxn>
                <a:cxn ang="0">
                  <a:pos x="19" y="25"/>
                </a:cxn>
                <a:cxn ang="0">
                  <a:pos x="16" y="28"/>
                </a:cxn>
                <a:cxn ang="0">
                  <a:pos x="7" y="28"/>
                </a:cxn>
              </a:cxnLst>
              <a:rect l="0" t="0" r="r" b="b"/>
              <a:pathLst>
                <a:path w="35" h="28">
                  <a:moveTo>
                    <a:pt x="7" y="28"/>
                  </a:moveTo>
                  <a:lnTo>
                    <a:pt x="3" y="24"/>
                  </a:lnTo>
                  <a:lnTo>
                    <a:pt x="0" y="19"/>
                  </a:lnTo>
                  <a:lnTo>
                    <a:pt x="1" y="5"/>
                  </a:lnTo>
                  <a:lnTo>
                    <a:pt x="3" y="6"/>
                  </a:lnTo>
                  <a:lnTo>
                    <a:pt x="3" y="6"/>
                  </a:lnTo>
                  <a:lnTo>
                    <a:pt x="4" y="5"/>
                  </a:lnTo>
                  <a:lnTo>
                    <a:pt x="4" y="3"/>
                  </a:lnTo>
                  <a:lnTo>
                    <a:pt x="9" y="2"/>
                  </a:lnTo>
                  <a:lnTo>
                    <a:pt x="10" y="2"/>
                  </a:lnTo>
                  <a:lnTo>
                    <a:pt x="12" y="3"/>
                  </a:lnTo>
                  <a:lnTo>
                    <a:pt x="12" y="3"/>
                  </a:lnTo>
                  <a:lnTo>
                    <a:pt x="12" y="2"/>
                  </a:lnTo>
                  <a:lnTo>
                    <a:pt x="15" y="0"/>
                  </a:lnTo>
                  <a:lnTo>
                    <a:pt x="19" y="2"/>
                  </a:lnTo>
                  <a:lnTo>
                    <a:pt x="19" y="0"/>
                  </a:lnTo>
                  <a:lnTo>
                    <a:pt x="23" y="2"/>
                  </a:lnTo>
                  <a:lnTo>
                    <a:pt x="26" y="0"/>
                  </a:lnTo>
                  <a:lnTo>
                    <a:pt x="28" y="2"/>
                  </a:lnTo>
                  <a:lnTo>
                    <a:pt x="33" y="6"/>
                  </a:lnTo>
                  <a:lnTo>
                    <a:pt x="35" y="19"/>
                  </a:lnTo>
                  <a:lnTo>
                    <a:pt x="33" y="19"/>
                  </a:lnTo>
                  <a:lnTo>
                    <a:pt x="29" y="22"/>
                  </a:lnTo>
                  <a:lnTo>
                    <a:pt x="25" y="22"/>
                  </a:lnTo>
                  <a:lnTo>
                    <a:pt x="19" y="25"/>
                  </a:lnTo>
                  <a:lnTo>
                    <a:pt x="16" y="28"/>
                  </a:lnTo>
                  <a:lnTo>
                    <a:pt x="7" y="28"/>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57" name="Freeform 1445"/>
            <p:cNvSpPr>
              <a:spLocks/>
            </p:cNvSpPr>
            <p:nvPr/>
          </p:nvSpPr>
          <p:spPr bwMode="auto">
            <a:xfrm>
              <a:off x="6386698" y="2582987"/>
              <a:ext cx="31600" cy="29409"/>
            </a:xfrm>
            <a:custGeom>
              <a:avLst/>
              <a:gdLst/>
              <a:ahLst/>
              <a:cxnLst>
                <a:cxn ang="0">
                  <a:pos x="7" y="28"/>
                </a:cxn>
                <a:cxn ang="0">
                  <a:pos x="3" y="24"/>
                </a:cxn>
                <a:cxn ang="0">
                  <a:pos x="0" y="19"/>
                </a:cxn>
                <a:cxn ang="0">
                  <a:pos x="1" y="5"/>
                </a:cxn>
                <a:cxn ang="0">
                  <a:pos x="3" y="6"/>
                </a:cxn>
                <a:cxn ang="0">
                  <a:pos x="3" y="6"/>
                </a:cxn>
                <a:cxn ang="0">
                  <a:pos x="4" y="5"/>
                </a:cxn>
                <a:cxn ang="0">
                  <a:pos x="4" y="3"/>
                </a:cxn>
                <a:cxn ang="0">
                  <a:pos x="9" y="2"/>
                </a:cxn>
                <a:cxn ang="0">
                  <a:pos x="10" y="2"/>
                </a:cxn>
                <a:cxn ang="0">
                  <a:pos x="12" y="3"/>
                </a:cxn>
                <a:cxn ang="0">
                  <a:pos x="12" y="3"/>
                </a:cxn>
                <a:cxn ang="0">
                  <a:pos x="12" y="2"/>
                </a:cxn>
                <a:cxn ang="0">
                  <a:pos x="15" y="0"/>
                </a:cxn>
                <a:cxn ang="0">
                  <a:pos x="19" y="2"/>
                </a:cxn>
                <a:cxn ang="0">
                  <a:pos x="19" y="0"/>
                </a:cxn>
                <a:cxn ang="0">
                  <a:pos x="23" y="2"/>
                </a:cxn>
                <a:cxn ang="0">
                  <a:pos x="26" y="0"/>
                </a:cxn>
                <a:cxn ang="0">
                  <a:pos x="28" y="2"/>
                </a:cxn>
                <a:cxn ang="0">
                  <a:pos x="33" y="6"/>
                </a:cxn>
                <a:cxn ang="0">
                  <a:pos x="35" y="19"/>
                </a:cxn>
                <a:cxn ang="0">
                  <a:pos x="33" y="19"/>
                </a:cxn>
                <a:cxn ang="0">
                  <a:pos x="29" y="22"/>
                </a:cxn>
                <a:cxn ang="0">
                  <a:pos x="25" y="22"/>
                </a:cxn>
                <a:cxn ang="0">
                  <a:pos x="19" y="25"/>
                </a:cxn>
                <a:cxn ang="0">
                  <a:pos x="16" y="28"/>
                </a:cxn>
                <a:cxn ang="0">
                  <a:pos x="7" y="28"/>
                </a:cxn>
              </a:cxnLst>
              <a:rect l="0" t="0" r="r" b="b"/>
              <a:pathLst>
                <a:path w="35" h="28">
                  <a:moveTo>
                    <a:pt x="7" y="28"/>
                  </a:moveTo>
                  <a:lnTo>
                    <a:pt x="3" y="24"/>
                  </a:lnTo>
                  <a:lnTo>
                    <a:pt x="0" y="19"/>
                  </a:lnTo>
                  <a:lnTo>
                    <a:pt x="1" y="5"/>
                  </a:lnTo>
                  <a:lnTo>
                    <a:pt x="3" y="6"/>
                  </a:lnTo>
                  <a:lnTo>
                    <a:pt x="3" y="6"/>
                  </a:lnTo>
                  <a:lnTo>
                    <a:pt x="4" y="5"/>
                  </a:lnTo>
                  <a:lnTo>
                    <a:pt x="4" y="3"/>
                  </a:lnTo>
                  <a:lnTo>
                    <a:pt x="9" y="2"/>
                  </a:lnTo>
                  <a:lnTo>
                    <a:pt x="10" y="2"/>
                  </a:lnTo>
                  <a:lnTo>
                    <a:pt x="12" y="3"/>
                  </a:lnTo>
                  <a:lnTo>
                    <a:pt x="12" y="3"/>
                  </a:lnTo>
                  <a:lnTo>
                    <a:pt x="12" y="2"/>
                  </a:lnTo>
                  <a:lnTo>
                    <a:pt x="15" y="0"/>
                  </a:lnTo>
                  <a:lnTo>
                    <a:pt x="19" y="2"/>
                  </a:lnTo>
                  <a:lnTo>
                    <a:pt x="19" y="0"/>
                  </a:lnTo>
                  <a:lnTo>
                    <a:pt x="23" y="2"/>
                  </a:lnTo>
                  <a:lnTo>
                    <a:pt x="26" y="0"/>
                  </a:lnTo>
                  <a:lnTo>
                    <a:pt x="28" y="2"/>
                  </a:lnTo>
                  <a:lnTo>
                    <a:pt x="33" y="6"/>
                  </a:lnTo>
                  <a:lnTo>
                    <a:pt x="35" y="19"/>
                  </a:lnTo>
                  <a:lnTo>
                    <a:pt x="33" y="19"/>
                  </a:lnTo>
                  <a:lnTo>
                    <a:pt x="29" y="22"/>
                  </a:lnTo>
                  <a:lnTo>
                    <a:pt x="25" y="22"/>
                  </a:lnTo>
                  <a:lnTo>
                    <a:pt x="19" y="25"/>
                  </a:lnTo>
                  <a:lnTo>
                    <a:pt x="16" y="28"/>
                  </a:lnTo>
                  <a:lnTo>
                    <a:pt x="7" y="28"/>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58" name="Freeform 1446"/>
            <p:cNvSpPr>
              <a:spLocks/>
            </p:cNvSpPr>
            <p:nvPr/>
          </p:nvSpPr>
          <p:spPr bwMode="auto">
            <a:xfrm>
              <a:off x="7426014" y="2933877"/>
              <a:ext cx="94802" cy="132851"/>
            </a:xfrm>
            <a:custGeom>
              <a:avLst/>
              <a:gdLst/>
              <a:ahLst/>
              <a:cxnLst>
                <a:cxn ang="0">
                  <a:pos x="39" y="16"/>
                </a:cxn>
                <a:cxn ang="0">
                  <a:pos x="39" y="22"/>
                </a:cxn>
                <a:cxn ang="0">
                  <a:pos x="48" y="26"/>
                </a:cxn>
                <a:cxn ang="0">
                  <a:pos x="57" y="25"/>
                </a:cxn>
                <a:cxn ang="0">
                  <a:pos x="61" y="32"/>
                </a:cxn>
                <a:cxn ang="0">
                  <a:pos x="64" y="36"/>
                </a:cxn>
                <a:cxn ang="0">
                  <a:pos x="65" y="39"/>
                </a:cxn>
                <a:cxn ang="0">
                  <a:pos x="57" y="44"/>
                </a:cxn>
                <a:cxn ang="0">
                  <a:pos x="54" y="45"/>
                </a:cxn>
                <a:cxn ang="0">
                  <a:pos x="54" y="50"/>
                </a:cxn>
                <a:cxn ang="0">
                  <a:pos x="70" y="63"/>
                </a:cxn>
                <a:cxn ang="0">
                  <a:pos x="77" y="71"/>
                </a:cxn>
                <a:cxn ang="0">
                  <a:pos x="83" y="76"/>
                </a:cxn>
                <a:cxn ang="0">
                  <a:pos x="90" y="86"/>
                </a:cxn>
                <a:cxn ang="0">
                  <a:pos x="90" y="87"/>
                </a:cxn>
                <a:cxn ang="0">
                  <a:pos x="93" y="90"/>
                </a:cxn>
                <a:cxn ang="0">
                  <a:pos x="103" y="106"/>
                </a:cxn>
                <a:cxn ang="0">
                  <a:pos x="103" y="119"/>
                </a:cxn>
                <a:cxn ang="0">
                  <a:pos x="97" y="122"/>
                </a:cxn>
                <a:cxn ang="0">
                  <a:pos x="93" y="121"/>
                </a:cxn>
                <a:cxn ang="0">
                  <a:pos x="84" y="124"/>
                </a:cxn>
                <a:cxn ang="0">
                  <a:pos x="81" y="128"/>
                </a:cxn>
                <a:cxn ang="0">
                  <a:pos x="71" y="124"/>
                </a:cxn>
                <a:cxn ang="0">
                  <a:pos x="73" y="122"/>
                </a:cxn>
                <a:cxn ang="0">
                  <a:pos x="75" y="109"/>
                </a:cxn>
                <a:cxn ang="0">
                  <a:pos x="75" y="103"/>
                </a:cxn>
                <a:cxn ang="0">
                  <a:pos x="74" y="100"/>
                </a:cxn>
                <a:cxn ang="0">
                  <a:pos x="71" y="97"/>
                </a:cxn>
                <a:cxn ang="0">
                  <a:pos x="67" y="96"/>
                </a:cxn>
                <a:cxn ang="0">
                  <a:pos x="64" y="90"/>
                </a:cxn>
                <a:cxn ang="0">
                  <a:pos x="61" y="76"/>
                </a:cxn>
                <a:cxn ang="0">
                  <a:pos x="59" y="71"/>
                </a:cxn>
                <a:cxn ang="0">
                  <a:pos x="51" y="63"/>
                </a:cxn>
                <a:cxn ang="0">
                  <a:pos x="41" y="67"/>
                </a:cxn>
                <a:cxn ang="0">
                  <a:pos x="35" y="70"/>
                </a:cxn>
                <a:cxn ang="0">
                  <a:pos x="30" y="68"/>
                </a:cxn>
                <a:cxn ang="0">
                  <a:pos x="26" y="66"/>
                </a:cxn>
                <a:cxn ang="0">
                  <a:pos x="17" y="70"/>
                </a:cxn>
                <a:cxn ang="0">
                  <a:pos x="13" y="74"/>
                </a:cxn>
                <a:cxn ang="0">
                  <a:pos x="12" y="74"/>
                </a:cxn>
                <a:cxn ang="0">
                  <a:pos x="14" y="54"/>
                </a:cxn>
                <a:cxn ang="0">
                  <a:pos x="14" y="45"/>
                </a:cxn>
                <a:cxn ang="0">
                  <a:pos x="6" y="44"/>
                </a:cxn>
                <a:cxn ang="0">
                  <a:pos x="4" y="35"/>
                </a:cxn>
                <a:cxn ang="0">
                  <a:pos x="0" y="32"/>
                </a:cxn>
                <a:cxn ang="0">
                  <a:pos x="0" y="28"/>
                </a:cxn>
                <a:cxn ang="0">
                  <a:pos x="1" y="26"/>
                </a:cxn>
                <a:cxn ang="0">
                  <a:pos x="6" y="25"/>
                </a:cxn>
                <a:cxn ang="0">
                  <a:pos x="13" y="16"/>
                </a:cxn>
                <a:cxn ang="0">
                  <a:pos x="14" y="13"/>
                </a:cxn>
                <a:cxn ang="0">
                  <a:pos x="20" y="19"/>
                </a:cxn>
                <a:cxn ang="0">
                  <a:pos x="22" y="15"/>
                </a:cxn>
                <a:cxn ang="0">
                  <a:pos x="20" y="3"/>
                </a:cxn>
                <a:cxn ang="0">
                  <a:pos x="28" y="2"/>
                </a:cxn>
              </a:cxnLst>
              <a:rect l="0" t="0" r="r" b="b"/>
              <a:pathLst>
                <a:path w="103" h="128">
                  <a:moveTo>
                    <a:pt x="28" y="2"/>
                  </a:moveTo>
                  <a:lnTo>
                    <a:pt x="39" y="16"/>
                  </a:lnTo>
                  <a:lnTo>
                    <a:pt x="38" y="19"/>
                  </a:lnTo>
                  <a:lnTo>
                    <a:pt x="39" y="22"/>
                  </a:lnTo>
                  <a:lnTo>
                    <a:pt x="42" y="25"/>
                  </a:lnTo>
                  <a:lnTo>
                    <a:pt x="48" y="26"/>
                  </a:lnTo>
                  <a:lnTo>
                    <a:pt x="52" y="25"/>
                  </a:lnTo>
                  <a:lnTo>
                    <a:pt x="57" y="25"/>
                  </a:lnTo>
                  <a:lnTo>
                    <a:pt x="61" y="31"/>
                  </a:lnTo>
                  <a:lnTo>
                    <a:pt x="61" y="32"/>
                  </a:lnTo>
                  <a:lnTo>
                    <a:pt x="64" y="34"/>
                  </a:lnTo>
                  <a:lnTo>
                    <a:pt x="64" y="36"/>
                  </a:lnTo>
                  <a:lnTo>
                    <a:pt x="65" y="38"/>
                  </a:lnTo>
                  <a:lnTo>
                    <a:pt x="65" y="39"/>
                  </a:lnTo>
                  <a:lnTo>
                    <a:pt x="61" y="44"/>
                  </a:lnTo>
                  <a:lnTo>
                    <a:pt x="57" y="44"/>
                  </a:lnTo>
                  <a:lnTo>
                    <a:pt x="55" y="44"/>
                  </a:lnTo>
                  <a:lnTo>
                    <a:pt x="54" y="45"/>
                  </a:lnTo>
                  <a:lnTo>
                    <a:pt x="54" y="48"/>
                  </a:lnTo>
                  <a:lnTo>
                    <a:pt x="54" y="50"/>
                  </a:lnTo>
                  <a:lnTo>
                    <a:pt x="70" y="60"/>
                  </a:lnTo>
                  <a:lnTo>
                    <a:pt x="70" y="63"/>
                  </a:lnTo>
                  <a:lnTo>
                    <a:pt x="75" y="68"/>
                  </a:lnTo>
                  <a:lnTo>
                    <a:pt x="77" y="71"/>
                  </a:lnTo>
                  <a:lnTo>
                    <a:pt x="81" y="76"/>
                  </a:lnTo>
                  <a:lnTo>
                    <a:pt x="83" y="76"/>
                  </a:lnTo>
                  <a:lnTo>
                    <a:pt x="87" y="80"/>
                  </a:lnTo>
                  <a:lnTo>
                    <a:pt x="90" y="86"/>
                  </a:lnTo>
                  <a:lnTo>
                    <a:pt x="90" y="87"/>
                  </a:lnTo>
                  <a:lnTo>
                    <a:pt x="90" y="87"/>
                  </a:lnTo>
                  <a:lnTo>
                    <a:pt x="90" y="90"/>
                  </a:lnTo>
                  <a:lnTo>
                    <a:pt x="93" y="90"/>
                  </a:lnTo>
                  <a:lnTo>
                    <a:pt x="99" y="95"/>
                  </a:lnTo>
                  <a:lnTo>
                    <a:pt x="103" y="106"/>
                  </a:lnTo>
                  <a:lnTo>
                    <a:pt x="103" y="118"/>
                  </a:lnTo>
                  <a:lnTo>
                    <a:pt x="103" y="119"/>
                  </a:lnTo>
                  <a:lnTo>
                    <a:pt x="100" y="121"/>
                  </a:lnTo>
                  <a:lnTo>
                    <a:pt x="97" y="122"/>
                  </a:lnTo>
                  <a:lnTo>
                    <a:pt x="94" y="122"/>
                  </a:lnTo>
                  <a:lnTo>
                    <a:pt x="93" y="121"/>
                  </a:lnTo>
                  <a:lnTo>
                    <a:pt x="90" y="121"/>
                  </a:lnTo>
                  <a:lnTo>
                    <a:pt x="84" y="124"/>
                  </a:lnTo>
                  <a:lnTo>
                    <a:pt x="84" y="128"/>
                  </a:lnTo>
                  <a:lnTo>
                    <a:pt x="81" y="128"/>
                  </a:lnTo>
                  <a:lnTo>
                    <a:pt x="74" y="127"/>
                  </a:lnTo>
                  <a:lnTo>
                    <a:pt x="71" y="124"/>
                  </a:lnTo>
                  <a:lnTo>
                    <a:pt x="71" y="122"/>
                  </a:lnTo>
                  <a:lnTo>
                    <a:pt x="73" y="122"/>
                  </a:lnTo>
                  <a:lnTo>
                    <a:pt x="75" y="121"/>
                  </a:lnTo>
                  <a:lnTo>
                    <a:pt x="75" y="109"/>
                  </a:lnTo>
                  <a:lnTo>
                    <a:pt x="75" y="106"/>
                  </a:lnTo>
                  <a:lnTo>
                    <a:pt x="75" y="103"/>
                  </a:lnTo>
                  <a:lnTo>
                    <a:pt x="75" y="102"/>
                  </a:lnTo>
                  <a:lnTo>
                    <a:pt x="74" y="100"/>
                  </a:lnTo>
                  <a:lnTo>
                    <a:pt x="71" y="99"/>
                  </a:lnTo>
                  <a:lnTo>
                    <a:pt x="71" y="97"/>
                  </a:lnTo>
                  <a:lnTo>
                    <a:pt x="68" y="97"/>
                  </a:lnTo>
                  <a:lnTo>
                    <a:pt x="67" y="96"/>
                  </a:lnTo>
                  <a:lnTo>
                    <a:pt x="65" y="93"/>
                  </a:lnTo>
                  <a:lnTo>
                    <a:pt x="64" y="90"/>
                  </a:lnTo>
                  <a:lnTo>
                    <a:pt x="64" y="81"/>
                  </a:lnTo>
                  <a:lnTo>
                    <a:pt x="61" y="76"/>
                  </a:lnTo>
                  <a:lnTo>
                    <a:pt x="59" y="74"/>
                  </a:lnTo>
                  <a:lnTo>
                    <a:pt x="59" y="71"/>
                  </a:lnTo>
                  <a:lnTo>
                    <a:pt x="55" y="70"/>
                  </a:lnTo>
                  <a:lnTo>
                    <a:pt x="51" y="63"/>
                  </a:lnTo>
                  <a:lnTo>
                    <a:pt x="42" y="64"/>
                  </a:lnTo>
                  <a:lnTo>
                    <a:pt x="41" y="67"/>
                  </a:lnTo>
                  <a:lnTo>
                    <a:pt x="39" y="68"/>
                  </a:lnTo>
                  <a:lnTo>
                    <a:pt x="35" y="70"/>
                  </a:lnTo>
                  <a:lnTo>
                    <a:pt x="32" y="70"/>
                  </a:lnTo>
                  <a:lnTo>
                    <a:pt x="30" y="68"/>
                  </a:lnTo>
                  <a:lnTo>
                    <a:pt x="29" y="66"/>
                  </a:lnTo>
                  <a:lnTo>
                    <a:pt x="26" y="66"/>
                  </a:lnTo>
                  <a:lnTo>
                    <a:pt x="20" y="67"/>
                  </a:lnTo>
                  <a:lnTo>
                    <a:pt x="17" y="70"/>
                  </a:lnTo>
                  <a:lnTo>
                    <a:pt x="14" y="71"/>
                  </a:lnTo>
                  <a:lnTo>
                    <a:pt x="13" y="74"/>
                  </a:lnTo>
                  <a:lnTo>
                    <a:pt x="12" y="76"/>
                  </a:lnTo>
                  <a:lnTo>
                    <a:pt x="12" y="74"/>
                  </a:lnTo>
                  <a:lnTo>
                    <a:pt x="10" y="71"/>
                  </a:lnTo>
                  <a:lnTo>
                    <a:pt x="14" y="54"/>
                  </a:lnTo>
                  <a:lnTo>
                    <a:pt x="13" y="50"/>
                  </a:lnTo>
                  <a:lnTo>
                    <a:pt x="14" y="45"/>
                  </a:lnTo>
                  <a:lnTo>
                    <a:pt x="13" y="44"/>
                  </a:lnTo>
                  <a:lnTo>
                    <a:pt x="6" y="44"/>
                  </a:lnTo>
                  <a:lnTo>
                    <a:pt x="6" y="44"/>
                  </a:lnTo>
                  <a:lnTo>
                    <a:pt x="4" y="35"/>
                  </a:lnTo>
                  <a:lnTo>
                    <a:pt x="3" y="31"/>
                  </a:lnTo>
                  <a:lnTo>
                    <a:pt x="0" y="32"/>
                  </a:lnTo>
                  <a:lnTo>
                    <a:pt x="0" y="31"/>
                  </a:lnTo>
                  <a:lnTo>
                    <a:pt x="0" y="28"/>
                  </a:lnTo>
                  <a:lnTo>
                    <a:pt x="1" y="28"/>
                  </a:lnTo>
                  <a:lnTo>
                    <a:pt x="1" y="26"/>
                  </a:lnTo>
                  <a:lnTo>
                    <a:pt x="3" y="26"/>
                  </a:lnTo>
                  <a:lnTo>
                    <a:pt x="6" y="25"/>
                  </a:lnTo>
                  <a:lnTo>
                    <a:pt x="6" y="22"/>
                  </a:lnTo>
                  <a:lnTo>
                    <a:pt x="13" y="16"/>
                  </a:lnTo>
                  <a:lnTo>
                    <a:pt x="13" y="15"/>
                  </a:lnTo>
                  <a:lnTo>
                    <a:pt x="14" y="13"/>
                  </a:lnTo>
                  <a:lnTo>
                    <a:pt x="16" y="20"/>
                  </a:lnTo>
                  <a:lnTo>
                    <a:pt x="20" y="19"/>
                  </a:lnTo>
                  <a:lnTo>
                    <a:pt x="22" y="19"/>
                  </a:lnTo>
                  <a:lnTo>
                    <a:pt x="22" y="15"/>
                  </a:lnTo>
                  <a:lnTo>
                    <a:pt x="20" y="10"/>
                  </a:lnTo>
                  <a:lnTo>
                    <a:pt x="20" y="3"/>
                  </a:lnTo>
                  <a:lnTo>
                    <a:pt x="22" y="0"/>
                  </a:lnTo>
                  <a:lnTo>
                    <a:pt x="28" y="2"/>
                  </a:lnTo>
                  <a:lnTo>
                    <a:pt x="28"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59" name="Freeform 1447"/>
            <p:cNvSpPr>
              <a:spLocks/>
            </p:cNvSpPr>
            <p:nvPr/>
          </p:nvSpPr>
          <p:spPr bwMode="auto">
            <a:xfrm>
              <a:off x="7426014" y="2933877"/>
              <a:ext cx="94802" cy="132851"/>
            </a:xfrm>
            <a:custGeom>
              <a:avLst/>
              <a:gdLst/>
              <a:ahLst/>
              <a:cxnLst>
                <a:cxn ang="0">
                  <a:pos x="39" y="16"/>
                </a:cxn>
                <a:cxn ang="0">
                  <a:pos x="39" y="22"/>
                </a:cxn>
                <a:cxn ang="0">
                  <a:pos x="48" y="26"/>
                </a:cxn>
                <a:cxn ang="0">
                  <a:pos x="57" y="25"/>
                </a:cxn>
                <a:cxn ang="0">
                  <a:pos x="61" y="32"/>
                </a:cxn>
                <a:cxn ang="0">
                  <a:pos x="64" y="36"/>
                </a:cxn>
                <a:cxn ang="0">
                  <a:pos x="65" y="39"/>
                </a:cxn>
                <a:cxn ang="0">
                  <a:pos x="57" y="44"/>
                </a:cxn>
                <a:cxn ang="0">
                  <a:pos x="54" y="45"/>
                </a:cxn>
                <a:cxn ang="0">
                  <a:pos x="54" y="50"/>
                </a:cxn>
                <a:cxn ang="0">
                  <a:pos x="70" y="63"/>
                </a:cxn>
                <a:cxn ang="0">
                  <a:pos x="77" y="71"/>
                </a:cxn>
                <a:cxn ang="0">
                  <a:pos x="83" y="76"/>
                </a:cxn>
                <a:cxn ang="0">
                  <a:pos x="90" y="86"/>
                </a:cxn>
                <a:cxn ang="0">
                  <a:pos x="90" y="87"/>
                </a:cxn>
                <a:cxn ang="0">
                  <a:pos x="93" y="90"/>
                </a:cxn>
                <a:cxn ang="0">
                  <a:pos x="103" y="106"/>
                </a:cxn>
                <a:cxn ang="0">
                  <a:pos x="103" y="119"/>
                </a:cxn>
                <a:cxn ang="0">
                  <a:pos x="97" y="122"/>
                </a:cxn>
                <a:cxn ang="0">
                  <a:pos x="93" y="121"/>
                </a:cxn>
                <a:cxn ang="0">
                  <a:pos x="84" y="124"/>
                </a:cxn>
                <a:cxn ang="0">
                  <a:pos x="81" y="128"/>
                </a:cxn>
                <a:cxn ang="0">
                  <a:pos x="71" y="124"/>
                </a:cxn>
                <a:cxn ang="0">
                  <a:pos x="73" y="122"/>
                </a:cxn>
                <a:cxn ang="0">
                  <a:pos x="75" y="109"/>
                </a:cxn>
                <a:cxn ang="0">
                  <a:pos x="75" y="103"/>
                </a:cxn>
                <a:cxn ang="0">
                  <a:pos x="74" y="100"/>
                </a:cxn>
                <a:cxn ang="0">
                  <a:pos x="71" y="97"/>
                </a:cxn>
                <a:cxn ang="0">
                  <a:pos x="67" y="96"/>
                </a:cxn>
                <a:cxn ang="0">
                  <a:pos x="64" y="90"/>
                </a:cxn>
                <a:cxn ang="0">
                  <a:pos x="61" y="76"/>
                </a:cxn>
                <a:cxn ang="0">
                  <a:pos x="59" y="71"/>
                </a:cxn>
                <a:cxn ang="0">
                  <a:pos x="51" y="63"/>
                </a:cxn>
                <a:cxn ang="0">
                  <a:pos x="41" y="67"/>
                </a:cxn>
                <a:cxn ang="0">
                  <a:pos x="35" y="70"/>
                </a:cxn>
                <a:cxn ang="0">
                  <a:pos x="30" y="68"/>
                </a:cxn>
                <a:cxn ang="0">
                  <a:pos x="26" y="66"/>
                </a:cxn>
                <a:cxn ang="0">
                  <a:pos x="17" y="70"/>
                </a:cxn>
                <a:cxn ang="0">
                  <a:pos x="13" y="74"/>
                </a:cxn>
                <a:cxn ang="0">
                  <a:pos x="12" y="74"/>
                </a:cxn>
                <a:cxn ang="0">
                  <a:pos x="14" y="54"/>
                </a:cxn>
                <a:cxn ang="0">
                  <a:pos x="14" y="45"/>
                </a:cxn>
                <a:cxn ang="0">
                  <a:pos x="6" y="44"/>
                </a:cxn>
                <a:cxn ang="0">
                  <a:pos x="4" y="35"/>
                </a:cxn>
                <a:cxn ang="0">
                  <a:pos x="0" y="32"/>
                </a:cxn>
                <a:cxn ang="0">
                  <a:pos x="0" y="28"/>
                </a:cxn>
                <a:cxn ang="0">
                  <a:pos x="1" y="26"/>
                </a:cxn>
                <a:cxn ang="0">
                  <a:pos x="6" y="25"/>
                </a:cxn>
                <a:cxn ang="0">
                  <a:pos x="13" y="16"/>
                </a:cxn>
                <a:cxn ang="0">
                  <a:pos x="14" y="13"/>
                </a:cxn>
                <a:cxn ang="0">
                  <a:pos x="20" y="19"/>
                </a:cxn>
                <a:cxn ang="0">
                  <a:pos x="22" y="15"/>
                </a:cxn>
                <a:cxn ang="0">
                  <a:pos x="20" y="3"/>
                </a:cxn>
                <a:cxn ang="0">
                  <a:pos x="28" y="2"/>
                </a:cxn>
              </a:cxnLst>
              <a:rect l="0" t="0" r="r" b="b"/>
              <a:pathLst>
                <a:path w="103" h="128">
                  <a:moveTo>
                    <a:pt x="28" y="2"/>
                  </a:moveTo>
                  <a:lnTo>
                    <a:pt x="39" y="16"/>
                  </a:lnTo>
                  <a:lnTo>
                    <a:pt x="38" y="19"/>
                  </a:lnTo>
                  <a:lnTo>
                    <a:pt x="39" y="22"/>
                  </a:lnTo>
                  <a:lnTo>
                    <a:pt x="42" y="25"/>
                  </a:lnTo>
                  <a:lnTo>
                    <a:pt x="48" y="26"/>
                  </a:lnTo>
                  <a:lnTo>
                    <a:pt x="52" y="25"/>
                  </a:lnTo>
                  <a:lnTo>
                    <a:pt x="57" y="25"/>
                  </a:lnTo>
                  <a:lnTo>
                    <a:pt x="61" y="31"/>
                  </a:lnTo>
                  <a:lnTo>
                    <a:pt x="61" y="32"/>
                  </a:lnTo>
                  <a:lnTo>
                    <a:pt x="64" y="34"/>
                  </a:lnTo>
                  <a:lnTo>
                    <a:pt x="64" y="36"/>
                  </a:lnTo>
                  <a:lnTo>
                    <a:pt x="65" y="38"/>
                  </a:lnTo>
                  <a:lnTo>
                    <a:pt x="65" y="39"/>
                  </a:lnTo>
                  <a:lnTo>
                    <a:pt x="61" y="44"/>
                  </a:lnTo>
                  <a:lnTo>
                    <a:pt x="57" y="44"/>
                  </a:lnTo>
                  <a:lnTo>
                    <a:pt x="55" y="44"/>
                  </a:lnTo>
                  <a:lnTo>
                    <a:pt x="54" y="45"/>
                  </a:lnTo>
                  <a:lnTo>
                    <a:pt x="54" y="48"/>
                  </a:lnTo>
                  <a:lnTo>
                    <a:pt x="54" y="50"/>
                  </a:lnTo>
                  <a:lnTo>
                    <a:pt x="70" y="60"/>
                  </a:lnTo>
                  <a:lnTo>
                    <a:pt x="70" y="63"/>
                  </a:lnTo>
                  <a:lnTo>
                    <a:pt x="75" y="68"/>
                  </a:lnTo>
                  <a:lnTo>
                    <a:pt x="77" y="71"/>
                  </a:lnTo>
                  <a:lnTo>
                    <a:pt x="81" y="76"/>
                  </a:lnTo>
                  <a:lnTo>
                    <a:pt x="83" y="76"/>
                  </a:lnTo>
                  <a:lnTo>
                    <a:pt x="87" y="80"/>
                  </a:lnTo>
                  <a:lnTo>
                    <a:pt x="90" y="86"/>
                  </a:lnTo>
                  <a:lnTo>
                    <a:pt x="90" y="87"/>
                  </a:lnTo>
                  <a:lnTo>
                    <a:pt x="90" y="87"/>
                  </a:lnTo>
                  <a:lnTo>
                    <a:pt x="90" y="90"/>
                  </a:lnTo>
                  <a:lnTo>
                    <a:pt x="93" y="90"/>
                  </a:lnTo>
                  <a:lnTo>
                    <a:pt x="99" y="95"/>
                  </a:lnTo>
                  <a:lnTo>
                    <a:pt x="103" y="106"/>
                  </a:lnTo>
                  <a:lnTo>
                    <a:pt x="103" y="118"/>
                  </a:lnTo>
                  <a:lnTo>
                    <a:pt x="103" y="119"/>
                  </a:lnTo>
                  <a:lnTo>
                    <a:pt x="100" y="121"/>
                  </a:lnTo>
                  <a:lnTo>
                    <a:pt x="97" y="122"/>
                  </a:lnTo>
                  <a:lnTo>
                    <a:pt x="94" y="122"/>
                  </a:lnTo>
                  <a:lnTo>
                    <a:pt x="93" y="121"/>
                  </a:lnTo>
                  <a:lnTo>
                    <a:pt x="90" y="121"/>
                  </a:lnTo>
                  <a:lnTo>
                    <a:pt x="84" y="124"/>
                  </a:lnTo>
                  <a:lnTo>
                    <a:pt x="84" y="128"/>
                  </a:lnTo>
                  <a:lnTo>
                    <a:pt x="81" y="128"/>
                  </a:lnTo>
                  <a:lnTo>
                    <a:pt x="74" y="127"/>
                  </a:lnTo>
                  <a:lnTo>
                    <a:pt x="71" y="124"/>
                  </a:lnTo>
                  <a:lnTo>
                    <a:pt x="71" y="122"/>
                  </a:lnTo>
                  <a:lnTo>
                    <a:pt x="73" y="122"/>
                  </a:lnTo>
                  <a:lnTo>
                    <a:pt x="75" y="121"/>
                  </a:lnTo>
                  <a:lnTo>
                    <a:pt x="75" y="109"/>
                  </a:lnTo>
                  <a:lnTo>
                    <a:pt x="75" y="106"/>
                  </a:lnTo>
                  <a:lnTo>
                    <a:pt x="75" y="103"/>
                  </a:lnTo>
                  <a:lnTo>
                    <a:pt x="75" y="102"/>
                  </a:lnTo>
                  <a:lnTo>
                    <a:pt x="74" y="100"/>
                  </a:lnTo>
                  <a:lnTo>
                    <a:pt x="71" y="99"/>
                  </a:lnTo>
                  <a:lnTo>
                    <a:pt x="71" y="97"/>
                  </a:lnTo>
                  <a:lnTo>
                    <a:pt x="68" y="97"/>
                  </a:lnTo>
                  <a:lnTo>
                    <a:pt x="67" y="96"/>
                  </a:lnTo>
                  <a:lnTo>
                    <a:pt x="65" y="93"/>
                  </a:lnTo>
                  <a:lnTo>
                    <a:pt x="64" y="90"/>
                  </a:lnTo>
                  <a:lnTo>
                    <a:pt x="64" y="81"/>
                  </a:lnTo>
                  <a:lnTo>
                    <a:pt x="61" y="76"/>
                  </a:lnTo>
                  <a:lnTo>
                    <a:pt x="59" y="74"/>
                  </a:lnTo>
                  <a:lnTo>
                    <a:pt x="59" y="71"/>
                  </a:lnTo>
                  <a:lnTo>
                    <a:pt x="55" y="70"/>
                  </a:lnTo>
                  <a:lnTo>
                    <a:pt x="51" y="63"/>
                  </a:lnTo>
                  <a:lnTo>
                    <a:pt x="42" y="64"/>
                  </a:lnTo>
                  <a:lnTo>
                    <a:pt x="41" y="67"/>
                  </a:lnTo>
                  <a:lnTo>
                    <a:pt x="39" y="68"/>
                  </a:lnTo>
                  <a:lnTo>
                    <a:pt x="35" y="70"/>
                  </a:lnTo>
                  <a:lnTo>
                    <a:pt x="32" y="70"/>
                  </a:lnTo>
                  <a:lnTo>
                    <a:pt x="30" y="68"/>
                  </a:lnTo>
                  <a:lnTo>
                    <a:pt x="29" y="66"/>
                  </a:lnTo>
                  <a:lnTo>
                    <a:pt x="26" y="66"/>
                  </a:lnTo>
                  <a:lnTo>
                    <a:pt x="20" y="67"/>
                  </a:lnTo>
                  <a:lnTo>
                    <a:pt x="17" y="70"/>
                  </a:lnTo>
                  <a:lnTo>
                    <a:pt x="14" y="71"/>
                  </a:lnTo>
                  <a:lnTo>
                    <a:pt x="13" y="74"/>
                  </a:lnTo>
                  <a:lnTo>
                    <a:pt x="12" y="76"/>
                  </a:lnTo>
                  <a:lnTo>
                    <a:pt x="12" y="74"/>
                  </a:lnTo>
                  <a:lnTo>
                    <a:pt x="10" y="71"/>
                  </a:lnTo>
                  <a:lnTo>
                    <a:pt x="14" y="54"/>
                  </a:lnTo>
                  <a:lnTo>
                    <a:pt x="13" y="50"/>
                  </a:lnTo>
                  <a:lnTo>
                    <a:pt x="14" y="45"/>
                  </a:lnTo>
                  <a:lnTo>
                    <a:pt x="13" y="44"/>
                  </a:lnTo>
                  <a:lnTo>
                    <a:pt x="6" y="44"/>
                  </a:lnTo>
                  <a:lnTo>
                    <a:pt x="6" y="44"/>
                  </a:lnTo>
                  <a:lnTo>
                    <a:pt x="4" y="35"/>
                  </a:lnTo>
                  <a:lnTo>
                    <a:pt x="3" y="31"/>
                  </a:lnTo>
                  <a:lnTo>
                    <a:pt x="0" y="32"/>
                  </a:lnTo>
                  <a:lnTo>
                    <a:pt x="0" y="31"/>
                  </a:lnTo>
                  <a:lnTo>
                    <a:pt x="0" y="28"/>
                  </a:lnTo>
                  <a:lnTo>
                    <a:pt x="1" y="28"/>
                  </a:lnTo>
                  <a:lnTo>
                    <a:pt x="1" y="26"/>
                  </a:lnTo>
                  <a:lnTo>
                    <a:pt x="3" y="26"/>
                  </a:lnTo>
                  <a:lnTo>
                    <a:pt x="6" y="25"/>
                  </a:lnTo>
                  <a:lnTo>
                    <a:pt x="6" y="22"/>
                  </a:lnTo>
                  <a:lnTo>
                    <a:pt x="13" y="16"/>
                  </a:lnTo>
                  <a:lnTo>
                    <a:pt x="13" y="15"/>
                  </a:lnTo>
                  <a:lnTo>
                    <a:pt x="14" y="13"/>
                  </a:lnTo>
                  <a:lnTo>
                    <a:pt x="16" y="20"/>
                  </a:lnTo>
                  <a:lnTo>
                    <a:pt x="20" y="19"/>
                  </a:lnTo>
                  <a:lnTo>
                    <a:pt x="22" y="19"/>
                  </a:lnTo>
                  <a:lnTo>
                    <a:pt x="22" y="15"/>
                  </a:lnTo>
                  <a:lnTo>
                    <a:pt x="20" y="10"/>
                  </a:lnTo>
                  <a:lnTo>
                    <a:pt x="20" y="3"/>
                  </a:lnTo>
                  <a:lnTo>
                    <a:pt x="22" y="0"/>
                  </a:lnTo>
                  <a:lnTo>
                    <a:pt x="28" y="2"/>
                  </a:lnTo>
                  <a:lnTo>
                    <a:pt x="28"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60" name="Freeform 1448"/>
            <p:cNvSpPr>
              <a:spLocks/>
            </p:cNvSpPr>
            <p:nvPr/>
          </p:nvSpPr>
          <p:spPr bwMode="auto">
            <a:xfrm>
              <a:off x="7742023" y="2572846"/>
              <a:ext cx="82513" cy="102427"/>
            </a:xfrm>
            <a:custGeom>
              <a:avLst/>
              <a:gdLst/>
              <a:ahLst/>
              <a:cxnLst>
                <a:cxn ang="0">
                  <a:pos x="57" y="80"/>
                </a:cxn>
                <a:cxn ang="0">
                  <a:pos x="45" y="70"/>
                </a:cxn>
                <a:cxn ang="0">
                  <a:pos x="45" y="66"/>
                </a:cxn>
                <a:cxn ang="0">
                  <a:pos x="45" y="58"/>
                </a:cxn>
                <a:cxn ang="0">
                  <a:pos x="52" y="54"/>
                </a:cxn>
                <a:cxn ang="0">
                  <a:pos x="61" y="51"/>
                </a:cxn>
                <a:cxn ang="0">
                  <a:pos x="71" y="42"/>
                </a:cxn>
                <a:cxn ang="0">
                  <a:pos x="77" y="38"/>
                </a:cxn>
                <a:cxn ang="0">
                  <a:pos x="76" y="29"/>
                </a:cxn>
                <a:cxn ang="0">
                  <a:pos x="87" y="12"/>
                </a:cxn>
                <a:cxn ang="0">
                  <a:pos x="90" y="12"/>
                </a:cxn>
                <a:cxn ang="0">
                  <a:pos x="87" y="6"/>
                </a:cxn>
                <a:cxn ang="0">
                  <a:pos x="81" y="0"/>
                </a:cxn>
                <a:cxn ang="0">
                  <a:pos x="74" y="12"/>
                </a:cxn>
                <a:cxn ang="0">
                  <a:pos x="55" y="19"/>
                </a:cxn>
                <a:cxn ang="0">
                  <a:pos x="55" y="29"/>
                </a:cxn>
                <a:cxn ang="0">
                  <a:pos x="41" y="28"/>
                </a:cxn>
                <a:cxn ang="0">
                  <a:pos x="12" y="45"/>
                </a:cxn>
                <a:cxn ang="0">
                  <a:pos x="0" y="57"/>
                </a:cxn>
                <a:cxn ang="0">
                  <a:pos x="3" y="61"/>
                </a:cxn>
                <a:cxn ang="0">
                  <a:pos x="7" y="61"/>
                </a:cxn>
                <a:cxn ang="0">
                  <a:pos x="16" y="64"/>
                </a:cxn>
                <a:cxn ang="0">
                  <a:pos x="13" y="80"/>
                </a:cxn>
                <a:cxn ang="0">
                  <a:pos x="12" y="82"/>
                </a:cxn>
                <a:cxn ang="0">
                  <a:pos x="9" y="83"/>
                </a:cxn>
                <a:cxn ang="0">
                  <a:pos x="6" y="90"/>
                </a:cxn>
                <a:cxn ang="0">
                  <a:pos x="13" y="90"/>
                </a:cxn>
                <a:cxn ang="0">
                  <a:pos x="12" y="93"/>
                </a:cxn>
                <a:cxn ang="0">
                  <a:pos x="10" y="95"/>
                </a:cxn>
                <a:cxn ang="0">
                  <a:pos x="13" y="98"/>
                </a:cxn>
                <a:cxn ang="0">
                  <a:pos x="16" y="96"/>
                </a:cxn>
                <a:cxn ang="0">
                  <a:pos x="19" y="93"/>
                </a:cxn>
                <a:cxn ang="0">
                  <a:pos x="20" y="92"/>
                </a:cxn>
                <a:cxn ang="0">
                  <a:pos x="23" y="95"/>
                </a:cxn>
                <a:cxn ang="0">
                  <a:pos x="26" y="95"/>
                </a:cxn>
                <a:cxn ang="0">
                  <a:pos x="31" y="96"/>
                </a:cxn>
                <a:cxn ang="0">
                  <a:pos x="49" y="87"/>
                </a:cxn>
                <a:cxn ang="0">
                  <a:pos x="58" y="83"/>
                </a:cxn>
              </a:cxnLst>
              <a:rect l="0" t="0" r="r" b="b"/>
              <a:pathLst>
                <a:path w="90" h="98">
                  <a:moveTo>
                    <a:pt x="58" y="83"/>
                  </a:moveTo>
                  <a:lnTo>
                    <a:pt x="57" y="80"/>
                  </a:lnTo>
                  <a:lnTo>
                    <a:pt x="48" y="71"/>
                  </a:lnTo>
                  <a:lnTo>
                    <a:pt x="45" y="70"/>
                  </a:lnTo>
                  <a:lnTo>
                    <a:pt x="44" y="69"/>
                  </a:lnTo>
                  <a:lnTo>
                    <a:pt x="45" y="66"/>
                  </a:lnTo>
                  <a:lnTo>
                    <a:pt x="45" y="67"/>
                  </a:lnTo>
                  <a:lnTo>
                    <a:pt x="45" y="58"/>
                  </a:lnTo>
                  <a:lnTo>
                    <a:pt x="51" y="57"/>
                  </a:lnTo>
                  <a:lnTo>
                    <a:pt x="52" y="54"/>
                  </a:lnTo>
                  <a:lnTo>
                    <a:pt x="58" y="54"/>
                  </a:lnTo>
                  <a:lnTo>
                    <a:pt x="61" y="51"/>
                  </a:lnTo>
                  <a:lnTo>
                    <a:pt x="61" y="50"/>
                  </a:lnTo>
                  <a:lnTo>
                    <a:pt x="71" y="42"/>
                  </a:lnTo>
                  <a:lnTo>
                    <a:pt x="76" y="40"/>
                  </a:lnTo>
                  <a:lnTo>
                    <a:pt x="77" y="38"/>
                  </a:lnTo>
                  <a:lnTo>
                    <a:pt x="77" y="31"/>
                  </a:lnTo>
                  <a:lnTo>
                    <a:pt x="76" y="29"/>
                  </a:lnTo>
                  <a:lnTo>
                    <a:pt x="77" y="26"/>
                  </a:lnTo>
                  <a:lnTo>
                    <a:pt x="87" y="12"/>
                  </a:lnTo>
                  <a:lnTo>
                    <a:pt x="89" y="12"/>
                  </a:lnTo>
                  <a:lnTo>
                    <a:pt x="90" y="12"/>
                  </a:lnTo>
                  <a:lnTo>
                    <a:pt x="89" y="6"/>
                  </a:lnTo>
                  <a:lnTo>
                    <a:pt x="87" y="6"/>
                  </a:lnTo>
                  <a:lnTo>
                    <a:pt x="84" y="3"/>
                  </a:lnTo>
                  <a:lnTo>
                    <a:pt x="81" y="0"/>
                  </a:lnTo>
                  <a:lnTo>
                    <a:pt x="78" y="2"/>
                  </a:lnTo>
                  <a:lnTo>
                    <a:pt x="74" y="12"/>
                  </a:lnTo>
                  <a:lnTo>
                    <a:pt x="67" y="18"/>
                  </a:lnTo>
                  <a:lnTo>
                    <a:pt x="55" y="19"/>
                  </a:lnTo>
                  <a:lnTo>
                    <a:pt x="54" y="21"/>
                  </a:lnTo>
                  <a:lnTo>
                    <a:pt x="55" y="29"/>
                  </a:lnTo>
                  <a:lnTo>
                    <a:pt x="45" y="31"/>
                  </a:lnTo>
                  <a:lnTo>
                    <a:pt x="41" y="28"/>
                  </a:lnTo>
                  <a:lnTo>
                    <a:pt x="36" y="26"/>
                  </a:lnTo>
                  <a:lnTo>
                    <a:pt x="12" y="45"/>
                  </a:lnTo>
                  <a:lnTo>
                    <a:pt x="7" y="47"/>
                  </a:lnTo>
                  <a:lnTo>
                    <a:pt x="0" y="57"/>
                  </a:lnTo>
                  <a:lnTo>
                    <a:pt x="0" y="57"/>
                  </a:lnTo>
                  <a:lnTo>
                    <a:pt x="3" y="61"/>
                  </a:lnTo>
                  <a:lnTo>
                    <a:pt x="4" y="63"/>
                  </a:lnTo>
                  <a:lnTo>
                    <a:pt x="7" y="61"/>
                  </a:lnTo>
                  <a:lnTo>
                    <a:pt x="15" y="63"/>
                  </a:lnTo>
                  <a:lnTo>
                    <a:pt x="16" y="64"/>
                  </a:lnTo>
                  <a:lnTo>
                    <a:pt x="13" y="77"/>
                  </a:lnTo>
                  <a:lnTo>
                    <a:pt x="13" y="80"/>
                  </a:lnTo>
                  <a:lnTo>
                    <a:pt x="16" y="80"/>
                  </a:lnTo>
                  <a:lnTo>
                    <a:pt x="12" y="82"/>
                  </a:lnTo>
                  <a:lnTo>
                    <a:pt x="12" y="83"/>
                  </a:lnTo>
                  <a:lnTo>
                    <a:pt x="9" y="83"/>
                  </a:lnTo>
                  <a:lnTo>
                    <a:pt x="9" y="87"/>
                  </a:lnTo>
                  <a:lnTo>
                    <a:pt x="6" y="90"/>
                  </a:lnTo>
                  <a:lnTo>
                    <a:pt x="10" y="92"/>
                  </a:lnTo>
                  <a:lnTo>
                    <a:pt x="13" y="90"/>
                  </a:lnTo>
                  <a:lnTo>
                    <a:pt x="13" y="92"/>
                  </a:lnTo>
                  <a:lnTo>
                    <a:pt x="12" y="93"/>
                  </a:lnTo>
                  <a:lnTo>
                    <a:pt x="10" y="93"/>
                  </a:lnTo>
                  <a:lnTo>
                    <a:pt x="10" y="95"/>
                  </a:lnTo>
                  <a:lnTo>
                    <a:pt x="12" y="95"/>
                  </a:lnTo>
                  <a:lnTo>
                    <a:pt x="13" y="98"/>
                  </a:lnTo>
                  <a:lnTo>
                    <a:pt x="16" y="98"/>
                  </a:lnTo>
                  <a:lnTo>
                    <a:pt x="16" y="96"/>
                  </a:lnTo>
                  <a:lnTo>
                    <a:pt x="17" y="96"/>
                  </a:lnTo>
                  <a:lnTo>
                    <a:pt x="19" y="93"/>
                  </a:lnTo>
                  <a:lnTo>
                    <a:pt x="19" y="92"/>
                  </a:lnTo>
                  <a:lnTo>
                    <a:pt x="20" y="92"/>
                  </a:lnTo>
                  <a:lnTo>
                    <a:pt x="22" y="95"/>
                  </a:lnTo>
                  <a:lnTo>
                    <a:pt x="23" y="95"/>
                  </a:lnTo>
                  <a:lnTo>
                    <a:pt x="25" y="96"/>
                  </a:lnTo>
                  <a:lnTo>
                    <a:pt x="26" y="95"/>
                  </a:lnTo>
                  <a:lnTo>
                    <a:pt x="29" y="95"/>
                  </a:lnTo>
                  <a:lnTo>
                    <a:pt x="31" y="96"/>
                  </a:lnTo>
                  <a:lnTo>
                    <a:pt x="41" y="87"/>
                  </a:lnTo>
                  <a:lnTo>
                    <a:pt x="49" y="87"/>
                  </a:lnTo>
                  <a:lnTo>
                    <a:pt x="54" y="86"/>
                  </a:lnTo>
                  <a:lnTo>
                    <a:pt x="58" y="8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61" name="Freeform 1449"/>
            <p:cNvSpPr>
              <a:spLocks/>
            </p:cNvSpPr>
            <p:nvPr/>
          </p:nvSpPr>
          <p:spPr bwMode="auto">
            <a:xfrm>
              <a:off x="7742023" y="2572846"/>
              <a:ext cx="82513" cy="102427"/>
            </a:xfrm>
            <a:custGeom>
              <a:avLst/>
              <a:gdLst/>
              <a:ahLst/>
              <a:cxnLst>
                <a:cxn ang="0">
                  <a:pos x="57" y="80"/>
                </a:cxn>
                <a:cxn ang="0">
                  <a:pos x="45" y="70"/>
                </a:cxn>
                <a:cxn ang="0">
                  <a:pos x="45" y="66"/>
                </a:cxn>
                <a:cxn ang="0">
                  <a:pos x="45" y="58"/>
                </a:cxn>
                <a:cxn ang="0">
                  <a:pos x="52" y="54"/>
                </a:cxn>
                <a:cxn ang="0">
                  <a:pos x="61" y="51"/>
                </a:cxn>
                <a:cxn ang="0">
                  <a:pos x="71" y="42"/>
                </a:cxn>
                <a:cxn ang="0">
                  <a:pos x="77" y="38"/>
                </a:cxn>
                <a:cxn ang="0">
                  <a:pos x="76" y="29"/>
                </a:cxn>
                <a:cxn ang="0">
                  <a:pos x="87" y="12"/>
                </a:cxn>
                <a:cxn ang="0">
                  <a:pos x="90" y="12"/>
                </a:cxn>
                <a:cxn ang="0">
                  <a:pos x="87" y="6"/>
                </a:cxn>
                <a:cxn ang="0">
                  <a:pos x="81" y="0"/>
                </a:cxn>
                <a:cxn ang="0">
                  <a:pos x="74" y="12"/>
                </a:cxn>
                <a:cxn ang="0">
                  <a:pos x="55" y="19"/>
                </a:cxn>
                <a:cxn ang="0">
                  <a:pos x="55" y="29"/>
                </a:cxn>
                <a:cxn ang="0">
                  <a:pos x="41" y="28"/>
                </a:cxn>
                <a:cxn ang="0">
                  <a:pos x="12" y="45"/>
                </a:cxn>
                <a:cxn ang="0">
                  <a:pos x="0" y="57"/>
                </a:cxn>
                <a:cxn ang="0">
                  <a:pos x="3" y="61"/>
                </a:cxn>
                <a:cxn ang="0">
                  <a:pos x="7" y="61"/>
                </a:cxn>
                <a:cxn ang="0">
                  <a:pos x="16" y="64"/>
                </a:cxn>
                <a:cxn ang="0">
                  <a:pos x="13" y="80"/>
                </a:cxn>
                <a:cxn ang="0">
                  <a:pos x="12" y="82"/>
                </a:cxn>
                <a:cxn ang="0">
                  <a:pos x="9" y="83"/>
                </a:cxn>
                <a:cxn ang="0">
                  <a:pos x="6" y="90"/>
                </a:cxn>
                <a:cxn ang="0">
                  <a:pos x="13" y="90"/>
                </a:cxn>
                <a:cxn ang="0">
                  <a:pos x="12" y="93"/>
                </a:cxn>
                <a:cxn ang="0">
                  <a:pos x="10" y="95"/>
                </a:cxn>
                <a:cxn ang="0">
                  <a:pos x="13" y="98"/>
                </a:cxn>
                <a:cxn ang="0">
                  <a:pos x="16" y="96"/>
                </a:cxn>
                <a:cxn ang="0">
                  <a:pos x="19" y="93"/>
                </a:cxn>
                <a:cxn ang="0">
                  <a:pos x="20" y="92"/>
                </a:cxn>
                <a:cxn ang="0">
                  <a:pos x="23" y="95"/>
                </a:cxn>
                <a:cxn ang="0">
                  <a:pos x="26" y="95"/>
                </a:cxn>
                <a:cxn ang="0">
                  <a:pos x="31" y="96"/>
                </a:cxn>
                <a:cxn ang="0">
                  <a:pos x="49" y="87"/>
                </a:cxn>
                <a:cxn ang="0">
                  <a:pos x="58" y="83"/>
                </a:cxn>
              </a:cxnLst>
              <a:rect l="0" t="0" r="r" b="b"/>
              <a:pathLst>
                <a:path w="90" h="98">
                  <a:moveTo>
                    <a:pt x="58" y="83"/>
                  </a:moveTo>
                  <a:lnTo>
                    <a:pt x="57" y="80"/>
                  </a:lnTo>
                  <a:lnTo>
                    <a:pt x="48" y="71"/>
                  </a:lnTo>
                  <a:lnTo>
                    <a:pt x="45" y="70"/>
                  </a:lnTo>
                  <a:lnTo>
                    <a:pt x="44" y="69"/>
                  </a:lnTo>
                  <a:lnTo>
                    <a:pt x="45" y="66"/>
                  </a:lnTo>
                  <a:lnTo>
                    <a:pt x="45" y="67"/>
                  </a:lnTo>
                  <a:lnTo>
                    <a:pt x="45" y="58"/>
                  </a:lnTo>
                  <a:lnTo>
                    <a:pt x="51" y="57"/>
                  </a:lnTo>
                  <a:lnTo>
                    <a:pt x="52" y="54"/>
                  </a:lnTo>
                  <a:lnTo>
                    <a:pt x="58" y="54"/>
                  </a:lnTo>
                  <a:lnTo>
                    <a:pt x="61" y="51"/>
                  </a:lnTo>
                  <a:lnTo>
                    <a:pt x="61" y="50"/>
                  </a:lnTo>
                  <a:lnTo>
                    <a:pt x="71" y="42"/>
                  </a:lnTo>
                  <a:lnTo>
                    <a:pt x="76" y="40"/>
                  </a:lnTo>
                  <a:lnTo>
                    <a:pt x="77" y="38"/>
                  </a:lnTo>
                  <a:lnTo>
                    <a:pt x="77" y="31"/>
                  </a:lnTo>
                  <a:lnTo>
                    <a:pt x="76" y="29"/>
                  </a:lnTo>
                  <a:lnTo>
                    <a:pt x="77" y="26"/>
                  </a:lnTo>
                  <a:lnTo>
                    <a:pt x="87" y="12"/>
                  </a:lnTo>
                  <a:lnTo>
                    <a:pt x="89" y="12"/>
                  </a:lnTo>
                  <a:lnTo>
                    <a:pt x="90" y="12"/>
                  </a:lnTo>
                  <a:lnTo>
                    <a:pt x="89" y="6"/>
                  </a:lnTo>
                  <a:lnTo>
                    <a:pt x="87" y="6"/>
                  </a:lnTo>
                  <a:lnTo>
                    <a:pt x="84" y="3"/>
                  </a:lnTo>
                  <a:lnTo>
                    <a:pt x="81" y="0"/>
                  </a:lnTo>
                  <a:lnTo>
                    <a:pt x="78" y="2"/>
                  </a:lnTo>
                  <a:lnTo>
                    <a:pt x="74" y="12"/>
                  </a:lnTo>
                  <a:lnTo>
                    <a:pt x="67" y="18"/>
                  </a:lnTo>
                  <a:lnTo>
                    <a:pt x="55" y="19"/>
                  </a:lnTo>
                  <a:lnTo>
                    <a:pt x="54" y="21"/>
                  </a:lnTo>
                  <a:lnTo>
                    <a:pt x="55" y="29"/>
                  </a:lnTo>
                  <a:lnTo>
                    <a:pt x="45" y="31"/>
                  </a:lnTo>
                  <a:lnTo>
                    <a:pt x="41" y="28"/>
                  </a:lnTo>
                  <a:lnTo>
                    <a:pt x="36" y="26"/>
                  </a:lnTo>
                  <a:lnTo>
                    <a:pt x="12" y="45"/>
                  </a:lnTo>
                  <a:lnTo>
                    <a:pt x="7" y="47"/>
                  </a:lnTo>
                  <a:lnTo>
                    <a:pt x="0" y="57"/>
                  </a:lnTo>
                  <a:lnTo>
                    <a:pt x="0" y="57"/>
                  </a:lnTo>
                  <a:lnTo>
                    <a:pt x="3" y="61"/>
                  </a:lnTo>
                  <a:lnTo>
                    <a:pt x="4" y="63"/>
                  </a:lnTo>
                  <a:lnTo>
                    <a:pt x="7" y="61"/>
                  </a:lnTo>
                  <a:lnTo>
                    <a:pt x="15" y="63"/>
                  </a:lnTo>
                  <a:lnTo>
                    <a:pt x="16" y="64"/>
                  </a:lnTo>
                  <a:lnTo>
                    <a:pt x="13" y="77"/>
                  </a:lnTo>
                  <a:lnTo>
                    <a:pt x="13" y="80"/>
                  </a:lnTo>
                  <a:lnTo>
                    <a:pt x="16" y="80"/>
                  </a:lnTo>
                  <a:lnTo>
                    <a:pt x="12" y="82"/>
                  </a:lnTo>
                  <a:lnTo>
                    <a:pt x="12" y="83"/>
                  </a:lnTo>
                  <a:lnTo>
                    <a:pt x="9" y="83"/>
                  </a:lnTo>
                  <a:lnTo>
                    <a:pt x="9" y="87"/>
                  </a:lnTo>
                  <a:lnTo>
                    <a:pt x="6" y="90"/>
                  </a:lnTo>
                  <a:lnTo>
                    <a:pt x="10" y="92"/>
                  </a:lnTo>
                  <a:lnTo>
                    <a:pt x="13" y="90"/>
                  </a:lnTo>
                  <a:lnTo>
                    <a:pt x="13" y="92"/>
                  </a:lnTo>
                  <a:lnTo>
                    <a:pt x="12" y="93"/>
                  </a:lnTo>
                  <a:lnTo>
                    <a:pt x="10" y="93"/>
                  </a:lnTo>
                  <a:lnTo>
                    <a:pt x="10" y="95"/>
                  </a:lnTo>
                  <a:lnTo>
                    <a:pt x="12" y="95"/>
                  </a:lnTo>
                  <a:lnTo>
                    <a:pt x="13" y="98"/>
                  </a:lnTo>
                  <a:lnTo>
                    <a:pt x="16" y="98"/>
                  </a:lnTo>
                  <a:lnTo>
                    <a:pt x="16" y="96"/>
                  </a:lnTo>
                  <a:lnTo>
                    <a:pt x="17" y="96"/>
                  </a:lnTo>
                  <a:lnTo>
                    <a:pt x="19" y="93"/>
                  </a:lnTo>
                  <a:lnTo>
                    <a:pt x="19" y="92"/>
                  </a:lnTo>
                  <a:lnTo>
                    <a:pt x="20" y="92"/>
                  </a:lnTo>
                  <a:lnTo>
                    <a:pt x="22" y="95"/>
                  </a:lnTo>
                  <a:lnTo>
                    <a:pt x="23" y="95"/>
                  </a:lnTo>
                  <a:lnTo>
                    <a:pt x="25" y="96"/>
                  </a:lnTo>
                  <a:lnTo>
                    <a:pt x="26" y="95"/>
                  </a:lnTo>
                  <a:lnTo>
                    <a:pt x="29" y="95"/>
                  </a:lnTo>
                  <a:lnTo>
                    <a:pt x="31" y="96"/>
                  </a:lnTo>
                  <a:lnTo>
                    <a:pt x="41" y="87"/>
                  </a:lnTo>
                  <a:lnTo>
                    <a:pt x="49" y="87"/>
                  </a:lnTo>
                  <a:lnTo>
                    <a:pt x="54" y="86"/>
                  </a:lnTo>
                  <a:lnTo>
                    <a:pt x="58" y="8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62" name="Freeform 1450"/>
            <p:cNvSpPr>
              <a:spLocks/>
            </p:cNvSpPr>
            <p:nvPr/>
          </p:nvSpPr>
          <p:spPr bwMode="auto">
            <a:xfrm>
              <a:off x="7541006" y="3210736"/>
              <a:ext cx="129914" cy="125753"/>
            </a:xfrm>
            <a:custGeom>
              <a:avLst/>
              <a:gdLst/>
              <a:ahLst/>
              <a:cxnLst>
                <a:cxn ang="0">
                  <a:pos x="123" y="3"/>
                </a:cxn>
                <a:cxn ang="0">
                  <a:pos x="122" y="6"/>
                </a:cxn>
                <a:cxn ang="0">
                  <a:pos x="126" y="10"/>
                </a:cxn>
                <a:cxn ang="0">
                  <a:pos x="122" y="10"/>
                </a:cxn>
                <a:cxn ang="0">
                  <a:pos x="119" y="15"/>
                </a:cxn>
                <a:cxn ang="0">
                  <a:pos x="120" y="17"/>
                </a:cxn>
                <a:cxn ang="0">
                  <a:pos x="129" y="29"/>
                </a:cxn>
                <a:cxn ang="0">
                  <a:pos x="128" y="35"/>
                </a:cxn>
                <a:cxn ang="0">
                  <a:pos x="135" y="51"/>
                </a:cxn>
                <a:cxn ang="0">
                  <a:pos x="128" y="48"/>
                </a:cxn>
                <a:cxn ang="0">
                  <a:pos x="126" y="52"/>
                </a:cxn>
                <a:cxn ang="0">
                  <a:pos x="119" y="71"/>
                </a:cxn>
                <a:cxn ang="0">
                  <a:pos x="113" y="80"/>
                </a:cxn>
                <a:cxn ang="0">
                  <a:pos x="106" y="89"/>
                </a:cxn>
                <a:cxn ang="0">
                  <a:pos x="109" y="99"/>
                </a:cxn>
                <a:cxn ang="0">
                  <a:pos x="106" y="102"/>
                </a:cxn>
                <a:cxn ang="0">
                  <a:pos x="103" y="105"/>
                </a:cxn>
                <a:cxn ang="0">
                  <a:pos x="103" y="108"/>
                </a:cxn>
                <a:cxn ang="0">
                  <a:pos x="83" y="121"/>
                </a:cxn>
                <a:cxn ang="0">
                  <a:pos x="78" y="112"/>
                </a:cxn>
                <a:cxn ang="0">
                  <a:pos x="68" y="109"/>
                </a:cxn>
                <a:cxn ang="0">
                  <a:pos x="59" y="105"/>
                </a:cxn>
                <a:cxn ang="0">
                  <a:pos x="58" y="108"/>
                </a:cxn>
                <a:cxn ang="0">
                  <a:pos x="45" y="110"/>
                </a:cxn>
                <a:cxn ang="0">
                  <a:pos x="42" y="112"/>
                </a:cxn>
                <a:cxn ang="0">
                  <a:pos x="38" y="103"/>
                </a:cxn>
                <a:cxn ang="0">
                  <a:pos x="32" y="105"/>
                </a:cxn>
                <a:cxn ang="0">
                  <a:pos x="27" y="105"/>
                </a:cxn>
                <a:cxn ang="0">
                  <a:pos x="22" y="103"/>
                </a:cxn>
                <a:cxn ang="0">
                  <a:pos x="19" y="97"/>
                </a:cxn>
                <a:cxn ang="0">
                  <a:pos x="16" y="86"/>
                </a:cxn>
                <a:cxn ang="0">
                  <a:pos x="7" y="71"/>
                </a:cxn>
                <a:cxn ang="0">
                  <a:pos x="4" y="68"/>
                </a:cxn>
                <a:cxn ang="0">
                  <a:pos x="1" y="57"/>
                </a:cxn>
                <a:cxn ang="0">
                  <a:pos x="7" y="35"/>
                </a:cxn>
                <a:cxn ang="0">
                  <a:pos x="19" y="48"/>
                </a:cxn>
                <a:cxn ang="0">
                  <a:pos x="29" y="48"/>
                </a:cxn>
                <a:cxn ang="0">
                  <a:pos x="39" y="48"/>
                </a:cxn>
                <a:cxn ang="0">
                  <a:pos x="48" y="41"/>
                </a:cxn>
                <a:cxn ang="0">
                  <a:pos x="56" y="42"/>
                </a:cxn>
                <a:cxn ang="0">
                  <a:pos x="77" y="41"/>
                </a:cxn>
                <a:cxn ang="0">
                  <a:pos x="93" y="16"/>
                </a:cxn>
                <a:cxn ang="0">
                  <a:pos x="116" y="0"/>
                </a:cxn>
              </a:cxnLst>
              <a:rect l="0" t="0" r="r" b="b"/>
              <a:pathLst>
                <a:path w="142" h="121">
                  <a:moveTo>
                    <a:pt x="123" y="3"/>
                  </a:moveTo>
                  <a:lnTo>
                    <a:pt x="123" y="3"/>
                  </a:lnTo>
                  <a:lnTo>
                    <a:pt x="123" y="3"/>
                  </a:lnTo>
                  <a:lnTo>
                    <a:pt x="122" y="4"/>
                  </a:lnTo>
                  <a:lnTo>
                    <a:pt x="120" y="4"/>
                  </a:lnTo>
                  <a:lnTo>
                    <a:pt x="122" y="6"/>
                  </a:lnTo>
                  <a:lnTo>
                    <a:pt x="123" y="7"/>
                  </a:lnTo>
                  <a:lnTo>
                    <a:pt x="126" y="7"/>
                  </a:lnTo>
                  <a:lnTo>
                    <a:pt x="126" y="10"/>
                  </a:lnTo>
                  <a:lnTo>
                    <a:pt x="125" y="10"/>
                  </a:lnTo>
                  <a:lnTo>
                    <a:pt x="122" y="10"/>
                  </a:lnTo>
                  <a:lnTo>
                    <a:pt x="122" y="10"/>
                  </a:lnTo>
                  <a:lnTo>
                    <a:pt x="119" y="10"/>
                  </a:lnTo>
                  <a:lnTo>
                    <a:pt x="117" y="12"/>
                  </a:lnTo>
                  <a:lnTo>
                    <a:pt x="119" y="15"/>
                  </a:lnTo>
                  <a:lnTo>
                    <a:pt x="120" y="15"/>
                  </a:lnTo>
                  <a:lnTo>
                    <a:pt x="120" y="16"/>
                  </a:lnTo>
                  <a:lnTo>
                    <a:pt x="120" y="17"/>
                  </a:lnTo>
                  <a:lnTo>
                    <a:pt x="120" y="17"/>
                  </a:lnTo>
                  <a:lnTo>
                    <a:pt x="123" y="20"/>
                  </a:lnTo>
                  <a:lnTo>
                    <a:pt x="129" y="29"/>
                  </a:lnTo>
                  <a:lnTo>
                    <a:pt x="128" y="33"/>
                  </a:lnTo>
                  <a:lnTo>
                    <a:pt x="128" y="33"/>
                  </a:lnTo>
                  <a:lnTo>
                    <a:pt x="128" y="35"/>
                  </a:lnTo>
                  <a:lnTo>
                    <a:pt x="142" y="48"/>
                  </a:lnTo>
                  <a:lnTo>
                    <a:pt x="142" y="49"/>
                  </a:lnTo>
                  <a:lnTo>
                    <a:pt x="135" y="51"/>
                  </a:lnTo>
                  <a:lnTo>
                    <a:pt x="130" y="49"/>
                  </a:lnTo>
                  <a:lnTo>
                    <a:pt x="129" y="47"/>
                  </a:lnTo>
                  <a:lnTo>
                    <a:pt x="128" y="48"/>
                  </a:lnTo>
                  <a:lnTo>
                    <a:pt x="129" y="49"/>
                  </a:lnTo>
                  <a:lnTo>
                    <a:pt x="129" y="51"/>
                  </a:lnTo>
                  <a:lnTo>
                    <a:pt x="126" y="52"/>
                  </a:lnTo>
                  <a:lnTo>
                    <a:pt x="123" y="57"/>
                  </a:lnTo>
                  <a:lnTo>
                    <a:pt x="122" y="68"/>
                  </a:lnTo>
                  <a:lnTo>
                    <a:pt x="119" y="71"/>
                  </a:lnTo>
                  <a:lnTo>
                    <a:pt x="116" y="79"/>
                  </a:lnTo>
                  <a:lnTo>
                    <a:pt x="113" y="80"/>
                  </a:lnTo>
                  <a:lnTo>
                    <a:pt x="113" y="80"/>
                  </a:lnTo>
                  <a:lnTo>
                    <a:pt x="104" y="87"/>
                  </a:lnTo>
                  <a:lnTo>
                    <a:pt x="104" y="87"/>
                  </a:lnTo>
                  <a:lnTo>
                    <a:pt x="106" y="89"/>
                  </a:lnTo>
                  <a:lnTo>
                    <a:pt x="107" y="93"/>
                  </a:lnTo>
                  <a:lnTo>
                    <a:pt x="110" y="94"/>
                  </a:lnTo>
                  <a:lnTo>
                    <a:pt x="109" y="99"/>
                  </a:lnTo>
                  <a:lnTo>
                    <a:pt x="107" y="97"/>
                  </a:lnTo>
                  <a:lnTo>
                    <a:pt x="106" y="99"/>
                  </a:lnTo>
                  <a:lnTo>
                    <a:pt x="106" y="102"/>
                  </a:lnTo>
                  <a:lnTo>
                    <a:pt x="104" y="103"/>
                  </a:lnTo>
                  <a:lnTo>
                    <a:pt x="103" y="105"/>
                  </a:lnTo>
                  <a:lnTo>
                    <a:pt x="103" y="105"/>
                  </a:lnTo>
                  <a:lnTo>
                    <a:pt x="103" y="106"/>
                  </a:lnTo>
                  <a:lnTo>
                    <a:pt x="103" y="108"/>
                  </a:lnTo>
                  <a:lnTo>
                    <a:pt x="103" y="108"/>
                  </a:lnTo>
                  <a:lnTo>
                    <a:pt x="101" y="109"/>
                  </a:lnTo>
                  <a:lnTo>
                    <a:pt x="100" y="112"/>
                  </a:lnTo>
                  <a:lnTo>
                    <a:pt x="83" y="121"/>
                  </a:lnTo>
                  <a:lnTo>
                    <a:pt x="80" y="112"/>
                  </a:lnTo>
                  <a:lnTo>
                    <a:pt x="80" y="112"/>
                  </a:lnTo>
                  <a:lnTo>
                    <a:pt x="78" y="112"/>
                  </a:lnTo>
                  <a:lnTo>
                    <a:pt x="75" y="109"/>
                  </a:lnTo>
                  <a:lnTo>
                    <a:pt x="68" y="110"/>
                  </a:lnTo>
                  <a:lnTo>
                    <a:pt x="68" y="109"/>
                  </a:lnTo>
                  <a:lnTo>
                    <a:pt x="67" y="108"/>
                  </a:lnTo>
                  <a:lnTo>
                    <a:pt x="62" y="108"/>
                  </a:lnTo>
                  <a:lnTo>
                    <a:pt x="59" y="105"/>
                  </a:lnTo>
                  <a:lnTo>
                    <a:pt x="58" y="105"/>
                  </a:lnTo>
                  <a:lnTo>
                    <a:pt x="58" y="106"/>
                  </a:lnTo>
                  <a:lnTo>
                    <a:pt x="58" y="108"/>
                  </a:lnTo>
                  <a:lnTo>
                    <a:pt x="52" y="110"/>
                  </a:lnTo>
                  <a:lnTo>
                    <a:pt x="48" y="109"/>
                  </a:lnTo>
                  <a:lnTo>
                    <a:pt x="45" y="110"/>
                  </a:lnTo>
                  <a:lnTo>
                    <a:pt x="43" y="110"/>
                  </a:lnTo>
                  <a:lnTo>
                    <a:pt x="42" y="112"/>
                  </a:lnTo>
                  <a:lnTo>
                    <a:pt x="42" y="112"/>
                  </a:lnTo>
                  <a:lnTo>
                    <a:pt x="39" y="102"/>
                  </a:lnTo>
                  <a:lnTo>
                    <a:pt x="38" y="103"/>
                  </a:lnTo>
                  <a:lnTo>
                    <a:pt x="38" y="103"/>
                  </a:lnTo>
                  <a:lnTo>
                    <a:pt x="35" y="103"/>
                  </a:lnTo>
                  <a:lnTo>
                    <a:pt x="33" y="103"/>
                  </a:lnTo>
                  <a:lnTo>
                    <a:pt x="32" y="105"/>
                  </a:lnTo>
                  <a:lnTo>
                    <a:pt x="30" y="105"/>
                  </a:lnTo>
                  <a:lnTo>
                    <a:pt x="29" y="105"/>
                  </a:lnTo>
                  <a:lnTo>
                    <a:pt x="27" y="105"/>
                  </a:lnTo>
                  <a:lnTo>
                    <a:pt x="24" y="105"/>
                  </a:lnTo>
                  <a:lnTo>
                    <a:pt x="22" y="103"/>
                  </a:lnTo>
                  <a:lnTo>
                    <a:pt x="22" y="103"/>
                  </a:lnTo>
                  <a:lnTo>
                    <a:pt x="19" y="103"/>
                  </a:lnTo>
                  <a:lnTo>
                    <a:pt x="19" y="100"/>
                  </a:lnTo>
                  <a:lnTo>
                    <a:pt x="19" y="97"/>
                  </a:lnTo>
                  <a:lnTo>
                    <a:pt x="17" y="96"/>
                  </a:lnTo>
                  <a:lnTo>
                    <a:pt x="14" y="87"/>
                  </a:lnTo>
                  <a:lnTo>
                    <a:pt x="16" y="86"/>
                  </a:lnTo>
                  <a:lnTo>
                    <a:pt x="16" y="81"/>
                  </a:lnTo>
                  <a:lnTo>
                    <a:pt x="10" y="71"/>
                  </a:lnTo>
                  <a:lnTo>
                    <a:pt x="7" y="71"/>
                  </a:lnTo>
                  <a:lnTo>
                    <a:pt x="6" y="70"/>
                  </a:lnTo>
                  <a:lnTo>
                    <a:pt x="4" y="70"/>
                  </a:lnTo>
                  <a:lnTo>
                    <a:pt x="4" y="68"/>
                  </a:lnTo>
                  <a:lnTo>
                    <a:pt x="3" y="60"/>
                  </a:lnTo>
                  <a:lnTo>
                    <a:pt x="1" y="58"/>
                  </a:lnTo>
                  <a:lnTo>
                    <a:pt x="1" y="57"/>
                  </a:lnTo>
                  <a:lnTo>
                    <a:pt x="0" y="51"/>
                  </a:lnTo>
                  <a:lnTo>
                    <a:pt x="3" y="39"/>
                  </a:lnTo>
                  <a:lnTo>
                    <a:pt x="7" y="35"/>
                  </a:lnTo>
                  <a:lnTo>
                    <a:pt x="9" y="33"/>
                  </a:lnTo>
                  <a:lnTo>
                    <a:pt x="9" y="35"/>
                  </a:lnTo>
                  <a:lnTo>
                    <a:pt x="19" y="48"/>
                  </a:lnTo>
                  <a:lnTo>
                    <a:pt x="23" y="49"/>
                  </a:lnTo>
                  <a:lnTo>
                    <a:pt x="26" y="48"/>
                  </a:lnTo>
                  <a:lnTo>
                    <a:pt x="29" y="48"/>
                  </a:lnTo>
                  <a:lnTo>
                    <a:pt x="32" y="49"/>
                  </a:lnTo>
                  <a:lnTo>
                    <a:pt x="36" y="48"/>
                  </a:lnTo>
                  <a:lnTo>
                    <a:pt x="39" y="48"/>
                  </a:lnTo>
                  <a:lnTo>
                    <a:pt x="40" y="48"/>
                  </a:lnTo>
                  <a:lnTo>
                    <a:pt x="46" y="41"/>
                  </a:lnTo>
                  <a:lnTo>
                    <a:pt x="48" y="41"/>
                  </a:lnTo>
                  <a:lnTo>
                    <a:pt x="55" y="41"/>
                  </a:lnTo>
                  <a:lnTo>
                    <a:pt x="56" y="41"/>
                  </a:lnTo>
                  <a:lnTo>
                    <a:pt x="56" y="42"/>
                  </a:lnTo>
                  <a:lnTo>
                    <a:pt x="64" y="45"/>
                  </a:lnTo>
                  <a:lnTo>
                    <a:pt x="65" y="45"/>
                  </a:lnTo>
                  <a:lnTo>
                    <a:pt x="77" y="41"/>
                  </a:lnTo>
                  <a:lnTo>
                    <a:pt x="80" y="39"/>
                  </a:lnTo>
                  <a:lnTo>
                    <a:pt x="85" y="23"/>
                  </a:lnTo>
                  <a:lnTo>
                    <a:pt x="93" y="16"/>
                  </a:lnTo>
                  <a:lnTo>
                    <a:pt x="96" y="3"/>
                  </a:lnTo>
                  <a:lnTo>
                    <a:pt x="97" y="0"/>
                  </a:lnTo>
                  <a:lnTo>
                    <a:pt x="116" y="0"/>
                  </a:lnTo>
                  <a:lnTo>
                    <a:pt x="117" y="1"/>
                  </a:lnTo>
                  <a:lnTo>
                    <a:pt x="123" y="3"/>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63" name="Freeform 1452"/>
            <p:cNvSpPr>
              <a:spLocks/>
            </p:cNvSpPr>
            <p:nvPr/>
          </p:nvSpPr>
          <p:spPr bwMode="auto">
            <a:xfrm>
              <a:off x="7827169" y="3279695"/>
              <a:ext cx="135181" cy="130824"/>
            </a:xfrm>
            <a:custGeom>
              <a:avLst/>
              <a:gdLst/>
              <a:ahLst/>
              <a:cxnLst>
                <a:cxn ang="0">
                  <a:pos x="145" y="123"/>
                </a:cxn>
                <a:cxn ang="0">
                  <a:pos x="129" y="109"/>
                </a:cxn>
                <a:cxn ang="0">
                  <a:pos x="116" y="112"/>
                </a:cxn>
                <a:cxn ang="0">
                  <a:pos x="115" y="113"/>
                </a:cxn>
                <a:cxn ang="0">
                  <a:pos x="112" y="113"/>
                </a:cxn>
                <a:cxn ang="0">
                  <a:pos x="102" y="106"/>
                </a:cxn>
                <a:cxn ang="0">
                  <a:pos x="112" y="100"/>
                </a:cxn>
                <a:cxn ang="0">
                  <a:pos x="116" y="100"/>
                </a:cxn>
                <a:cxn ang="0">
                  <a:pos x="116" y="97"/>
                </a:cxn>
                <a:cxn ang="0">
                  <a:pos x="112" y="93"/>
                </a:cxn>
                <a:cxn ang="0">
                  <a:pos x="107" y="84"/>
                </a:cxn>
                <a:cxn ang="0">
                  <a:pos x="106" y="77"/>
                </a:cxn>
                <a:cxn ang="0">
                  <a:pos x="100" y="71"/>
                </a:cxn>
                <a:cxn ang="0">
                  <a:pos x="97" y="68"/>
                </a:cxn>
                <a:cxn ang="0">
                  <a:pos x="61" y="58"/>
                </a:cxn>
                <a:cxn ang="0">
                  <a:pos x="55" y="54"/>
                </a:cxn>
                <a:cxn ang="0">
                  <a:pos x="49" y="54"/>
                </a:cxn>
                <a:cxn ang="0">
                  <a:pos x="44" y="48"/>
                </a:cxn>
                <a:cxn ang="0">
                  <a:pos x="42" y="42"/>
                </a:cxn>
                <a:cxn ang="0">
                  <a:pos x="38" y="49"/>
                </a:cxn>
                <a:cxn ang="0">
                  <a:pos x="29" y="52"/>
                </a:cxn>
                <a:cxn ang="0">
                  <a:pos x="28" y="45"/>
                </a:cxn>
                <a:cxn ang="0">
                  <a:pos x="23" y="39"/>
                </a:cxn>
                <a:cxn ang="0">
                  <a:pos x="16" y="36"/>
                </a:cxn>
                <a:cxn ang="0">
                  <a:pos x="22" y="33"/>
                </a:cxn>
                <a:cxn ang="0">
                  <a:pos x="36" y="30"/>
                </a:cxn>
                <a:cxn ang="0">
                  <a:pos x="42" y="27"/>
                </a:cxn>
                <a:cxn ang="0">
                  <a:pos x="25" y="27"/>
                </a:cxn>
                <a:cxn ang="0">
                  <a:pos x="17" y="26"/>
                </a:cxn>
                <a:cxn ang="0">
                  <a:pos x="10" y="16"/>
                </a:cxn>
                <a:cxn ang="0">
                  <a:pos x="6" y="17"/>
                </a:cxn>
                <a:cxn ang="0">
                  <a:pos x="6" y="7"/>
                </a:cxn>
                <a:cxn ang="0">
                  <a:pos x="22" y="0"/>
                </a:cxn>
                <a:cxn ang="0">
                  <a:pos x="44" y="6"/>
                </a:cxn>
                <a:cxn ang="0">
                  <a:pos x="48" y="17"/>
                </a:cxn>
                <a:cxn ang="0">
                  <a:pos x="51" y="35"/>
                </a:cxn>
                <a:cxn ang="0">
                  <a:pos x="54" y="32"/>
                </a:cxn>
                <a:cxn ang="0">
                  <a:pos x="67" y="42"/>
                </a:cxn>
                <a:cxn ang="0">
                  <a:pos x="73" y="35"/>
                </a:cxn>
                <a:cxn ang="0">
                  <a:pos x="89" y="26"/>
                </a:cxn>
                <a:cxn ang="0">
                  <a:pos x="99" y="14"/>
                </a:cxn>
                <a:cxn ang="0">
                  <a:pos x="112" y="20"/>
                </a:cxn>
                <a:cxn ang="0">
                  <a:pos x="125" y="27"/>
                </a:cxn>
                <a:cxn ang="0">
                  <a:pos x="132" y="27"/>
                </a:cxn>
                <a:cxn ang="0">
                  <a:pos x="136" y="27"/>
                </a:cxn>
                <a:cxn ang="0">
                  <a:pos x="141" y="30"/>
                </a:cxn>
                <a:cxn ang="0">
                  <a:pos x="144" y="32"/>
                </a:cxn>
                <a:cxn ang="0">
                  <a:pos x="145" y="90"/>
                </a:cxn>
                <a:cxn ang="0">
                  <a:pos x="148" y="125"/>
                </a:cxn>
              </a:cxnLst>
              <a:rect l="0" t="0" r="r" b="b"/>
              <a:pathLst>
                <a:path w="148" h="125">
                  <a:moveTo>
                    <a:pt x="148" y="125"/>
                  </a:moveTo>
                  <a:lnTo>
                    <a:pt x="148" y="125"/>
                  </a:lnTo>
                  <a:lnTo>
                    <a:pt x="145" y="123"/>
                  </a:lnTo>
                  <a:lnTo>
                    <a:pt x="132" y="112"/>
                  </a:lnTo>
                  <a:lnTo>
                    <a:pt x="131" y="110"/>
                  </a:lnTo>
                  <a:lnTo>
                    <a:pt x="129" y="109"/>
                  </a:lnTo>
                  <a:lnTo>
                    <a:pt x="123" y="112"/>
                  </a:lnTo>
                  <a:lnTo>
                    <a:pt x="119" y="110"/>
                  </a:lnTo>
                  <a:lnTo>
                    <a:pt x="116" y="112"/>
                  </a:lnTo>
                  <a:lnTo>
                    <a:pt x="115" y="110"/>
                  </a:lnTo>
                  <a:lnTo>
                    <a:pt x="115" y="113"/>
                  </a:lnTo>
                  <a:lnTo>
                    <a:pt x="115" y="113"/>
                  </a:lnTo>
                  <a:lnTo>
                    <a:pt x="115" y="113"/>
                  </a:lnTo>
                  <a:lnTo>
                    <a:pt x="112" y="113"/>
                  </a:lnTo>
                  <a:lnTo>
                    <a:pt x="112" y="113"/>
                  </a:lnTo>
                  <a:lnTo>
                    <a:pt x="99" y="115"/>
                  </a:lnTo>
                  <a:lnTo>
                    <a:pt x="99" y="112"/>
                  </a:lnTo>
                  <a:lnTo>
                    <a:pt x="102" y="106"/>
                  </a:lnTo>
                  <a:lnTo>
                    <a:pt x="106" y="100"/>
                  </a:lnTo>
                  <a:lnTo>
                    <a:pt x="109" y="100"/>
                  </a:lnTo>
                  <a:lnTo>
                    <a:pt x="112" y="100"/>
                  </a:lnTo>
                  <a:lnTo>
                    <a:pt x="115" y="102"/>
                  </a:lnTo>
                  <a:lnTo>
                    <a:pt x="116" y="102"/>
                  </a:lnTo>
                  <a:lnTo>
                    <a:pt x="116" y="100"/>
                  </a:lnTo>
                  <a:lnTo>
                    <a:pt x="113" y="97"/>
                  </a:lnTo>
                  <a:lnTo>
                    <a:pt x="113" y="97"/>
                  </a:lnTo>
                  <a:lnTo>
                    <a:pt x="116" y="97"/>
                  </a:lnTo>
                  <a:lnTo>
                    <a:pt x="113" y="96"/>
                  </a:lnTo>
                  <a:lnTo>
                    <a:pt x="110" y="94"/>
                  </a:lnTo>
                  <a:lnTo>
                    <a:pt x="112" y="93"/>
                  </a:lnTo>
                  <a:lnTo>
                    <a:pt x="112" y="89"/>
                  </a:lnTo>
                  <a:lnTo>
                    <a:pt x="110" y="87"/>
                  </a:lnTo>
                  <a:lnTo>
                    <a:pt x="107" y="84"/>
                  </a:lnTo>
                  <a:lnTo>
                    <a:pt x="107" y="78"/>
                  </a:lnTo>
                  <a:lnTo>
                    <a:pt x="107" y="77"/>
                  </a:lnTo>
                  <a:lnTo>
                    <a:pt x="106" y="77"/>
                  </a:lnTo>
                  <a:lnTo>
                    <a:pt x="103" y="73"/>
                  </a:lnTo>
                  <a:lnTo>
                    <a:pt x="102" y="73"/>
                  </a:lnTo>
                  <a:lnTo>
                    <a:pt x="100" y="71"/>
                  </a:lnTo>
                  <a:lnTo>
                    <a:pt x="99" y="70"/>
                  </a:lnTo>
                  <a:lnTo>
                    <a:pt x="99" y="70"/>
                  </a:lnTo>
                  <a:lnTo>
                    <a:pt x="97" y="68"/>
                  </a:lnTo>
                  <a:lnTo>
                    <a:pt x="90" y="65"/>
                  </a:lnTo>
                  <a:lnTo>
                    <a:pt x="87" y="65"/>
                  </a:lnTo>
                  <a:lnTo>
                    <a:pt x="61" y="58"/>
                  </a:lnTo>
                  <a:lnTo>
                    <a:pt x="59" y="57"/>
                  </a:lnTo>
                  <a:lnTo>
                    <a:pt x="57" y="55"/>
                  </a:lnTo>
                  <a:lnTo>
                    <a:pt x="55" y="54"/>
                  </a:lnTo>
                  <a:lnTo>
                    <a:pt x="55" y="52"/>
                  </a:lnTo>
                  <a:lnTo>
                    <a:pt x="49" y="51"/>
                  </a:lnTo>
                  <a:lnTo>
                    <a:pt x="49" y="54"/>
                  </a:lnTo>
                  <a:lnTo>
                    <a:pt x="48" y="52"/>
                  </a:lnTo>
                  <a:lnTo>
                    <a:pt x="45" y="49"/>
                  </a:lnTo>
                  <a:lnTo>
                    <a:pt x="44" y="48"/>
                  </a:lnTo>
                  <a:lnTo>
                    <a:pt x="42" y="46"/>
                  </a:lnTo>
                  <a:lnTo>
                    <a:pt x="41" y="45"/>
                  </a:lnTo>
                  <a:lnTo>
                    <a:pt x="42" y="42"/>
                  </a:lnTo>
                  <a:lnTo>
                    <a:pt x="42" y="39"/>
                  </a:lnTo>
                  <a:lnTo>
                    <a:pt x="42" y="38"/>
                  </a:lnTo>
                  <a:lnTo>
                    <a:pt x="38" y="49"/>
                  </a:lnTo>
                  <a:lnTo>
                    <a:pt x="35" y="52"/>
                  </a:lnTo>
                  <a:lnTo>
                    <a:pt x="30" y="54"/>
                  </a:lnTo>
                  <a:lnTo>
                    <a:pt x="29" y="52"/>
                  </a:lnTo>
                  <a:lnTo>
                    <a:pt x="28" y="52"/>
                  </a:lnTo>
                  <a:lnTo>
                    <a:pt x="28" y="46"/>
                  </a:lnTo>
                  <a:lnTo>
                    <a:pt x="28" y="45"/>
                  </a:lnTo>
                  <a:lnTo>
                    <a:pt x="28" y="42"/>
                  </a:lnTo>
                  <a:lnTo>
                    <a:pt x="26" y="42"/>
                  </a:lnTo>
                  <a:lnTo>
                    <a:pt x="23" y="39"/>
                  </a:lnTo>
                  <a:lnTo>
                    <a:pt x="20" y="38"/>
                  </a:lnTo>
                  <a:lnTo>
                    <a:pt x="17" y="38"/>
                  </a:lnTo>
                  <a:lnTo>
                    <a:pt x="16" y="36"/>
                  </a:lnTo>
                  <a:lnTo>
                    <a:pt x="16" y="35"/>
                  </a:lnTo>
                  <a:lnTo>
                    <a:pt x="19" y="33"/>
                  </a:lnTo>
                  <a:lnTo>
                    <a:pt x="22" y="33"/>
                  </a:lnTo>
                  <a:lnTo>
                    <a:pt x="26" y="33"/>
                  </a:lnTo>
                  <a:lnTo>
                    <a:pt x="33" y="30"/>
                  </a:lnTo>
                  <a:lnTo>
                    <a:pt x="36" y="30"/>
                  </a:lnTo>
                  <a:lnTo>
                    <a:pt x="39" y="32"/>
                  </a:lnTo>
                  <a:lnTo>
                    <a:pt x="41" y="30"/>
                  </a:lnTo>
                  <a:lnTo>
                    <a:pt x="42" y="27"/>
                  </a:lnTo>
                  <a:lnTo>
                    <a:pt x="42" y="26"/>
                  </a:lnTo>
                  <a:lnTo>
                    <a:pt x="42" y="25"/>
                  </a:lnTo>
                  <a:lnTo>
                    <a:pt x="25" y="27"/>
                  </a:lnTo>
                  <a:lnTo>
                    <a:pt x="23" y="27"/>
                  </a:lnTo>
                  <a:lnTo>
                    <a:pt x="20" y="27"/>
                  </a:lnTo>
                  <a:lnTo>
                    <a:pt x="17" y="26"/>
                  </a:lnTo>
                  <a:lnTo>
                    <a:pt x="14" y="19"/>
                  </a:lnTo>
                  <a:lnTo>
                    <a:pt x="13" y="17"/>
                  </a:lnTo>
                  <a:lnTo>
                    <a:pt x="10" y="16"/>
                  </a:lnTo>
                  <a:lnTo>
                    <a:pt x="7" y="17"/>
                  </a:lnTo>
                  <a:lnTo>
                    <a:pt x="6" y="16"/>
                  </a:lnTo>
                  <a:lnTo>
                    <a:pt x="6" y="17"/>
                  </a:lnTo>
                  <a:lnTo>
                    <a:pt x="0" y="16"/>
                  </a:lnTo>
                  <a:lnTo>
                    <a:pt x="4" y="7"/>
                  </a:lnTo>
                  <a:lnTo>
                    <a:pt x="6" y="7"/>
                  </a:lnTo>
                  <a:lnTo>
                    <a:pt x="13" y="6"/>
                  </a:lnTo>
                  <a:lnTo>
                    <a:pt x="17" y="1"/>
                  </a:lnTo>
                  <a:lnTo>
                    <a:pt x="22" y="0"/>
                  </a:lnTo>
                  <a:lnTo>
                    <a:pt x="29" y="1"/>
                  </a:lnTo>
                  <a:lnTo>
                    <a:pt x="36" y="6"/>
                  </a:lnTo>
                  <a:lnTo>
                    <a:pt x="44" y="6"/>
                  </a:lnTo>
                  <a:lnTo>
                    <a:pt x="45" y="10"/>
                  </a:lnTo>
                  <a:lnTo>
                    <a:pt x="46" y="13"/>
                  </a:lnTo>
                  <a:lnTo>
                    <a:pt x="48" y="17"/>
                  </a:lnTo>
                  <a:lnTo>
                    <a:pt x="46" y="23"/>
                  </a:lnTo>
                  <a:lnTo>
                    <a:pt x="48" y="30"/>
                  </a:lnTo>
                  <a:lnTo>
                    <a:pt x="51" y="35"/>
                  </a:lnTo>
                  <a:lnTo>
                    <a:pt x="51" y="33"/>
                  </a:lnTo>
                  <a:lnTo>
                    <a:pt x="51" y="30"/>
                  </a:lnTo>
                  <a:lnTo>
                    <a:pt x="54" y="32"/>
                  </a:lnTo>
                  <a:lnTo>
                    <a:pt x="57" y="41"/>
                  </a:lnTo>
                  <a:lnTo>
                    <a:pt x="61" y="42"/>
                  </a:lnTo>
                  <a:lnTo>
                    <a:pt x="67" y="42"/>
                  </a:lnTo>
                  <a:lnTo>
                    <a:pt x="68" y="39"/>
                  </a:lnTo>
                  <a:lnTo>
                    <a:pt x="73" y="38"/>
                  </a:lnTo>
                  <a:lnTo>
                    <a:pt x="73" y="35"/>
                  </a:lnTo>
                  <a:lnTo>
                    <a:pt x="77" y="32"/>
                  </a:lnTo>
                  <a:lnTo>
                    <a:pt x="80" y="27"/>
                  </a:lnTo>
                  <a:lnTo>
                    <a:pt x="89" y="26"/>
                  </a:lnTo>
                  <a:lnTo>
                    <a:pt x="90" y="23"/>
                  </a:lnTo>
                  <a:lnTo>
                    <a:pt x="90" y="22"/>
                  </a:lnTo>
                  <a:lnTo>
                    <a:pt x="99" y="14"/>
                  </a:lnTo>
                  <a:lnTo>
                    <a:pt x="102" y="16"/>
                  </a:lnTo>
                  <a:lnTo>
                    <a:pt x="102" y="17"/>
                  </a:lnTo>
                  <a:lnTo>
                    <a:pt x="112" y="20"/>
                  </a:lnTo>
                  <a:lnTo>
                    <a:pt x="113" y="22"/>
                  </a:lnTo>
                  <a:lnTo>
                    <a:pt x="119" y="23"/>
                  </a:lnTo>
                  <a:lnTo>
                    <a:pt x="125" y="27"/>
                  </a:lnTo>
                  <a:lnTo>
                    <a:pt x="128" y="27"/>
                  </a:lnTo>
                  <a:lnTo>
                    <a:pt x="131" y="27"/>
                  </a:lnTo>
                  <a:lnTo>
                    <a:pt x="132" y="27"/>
                  </a:lnTo>
                  <a:lnTo>
                    <a:pt x="134" y="29"/>
                  </a:lnTo>
                  <a:lnTo>
                    <a:pt x="135" y="27"/>
                  </a:lnTo>
                  <a:lnTo>
                    <a:pt x="136" y="27"/>
                  </a:lnTo>
                  <a:lnTo>
                    <a:pt x="139" y="30"/>
                  </a:lnTo>
                  <a:lnTo>
                    <a:pt x="141" y="30"/>
                  </a:lnTo>
                  <a:lnTo>
                    <a:pt x="141" y="30"/>
                  </a:lnTo>
                  <a:lnTo>
                    <a:pt x="141" y="30"/>
                  </a:lnTo>
                  <a:lnTo>
                    <a:pt x="142" y="32"/>
                  </a:lnTo>
                  <a:lnTo>
                    <a:pt x="144" y="32"/>
                  </a:lnTo>
                  <a:lnTo>
                    <a:pt x="144" y="32"/>
                  </a:lnTo>
                  <a:lnTo>
                    <a:pt x="145" y="32"/>
                  </a:lnTo>
                  <a:lnTo>
                    <a:pt x="145" y="90"/>
                  </a:lnTo>
                  <a:lnTo>
                    <a:pt x="145" y="91"/>
                  </a:lnTo>
                  <a:lnTo>
                    <a:pt x="147" y="96"/>
                  </a:lnTo>
                  <a:lnTo>
                    <a:pt x="148" y="125"/>
                  </a:lnTo>
                  <a:close/>
                </a:path>
              </a:pathLst>
            </a:custGeom>
            <a:solidFill>
              <a:schemeClr val="accent2">
                <a:lumMod val="60000"/>
                <a:lumOff val="40000"/>
              </a:scheme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64" name="Freeform 1454"/>
            <p:cNvSpPr>
              <a:spLocks/>
            </p:cNvSpPr>
            <p:nvPr/>
          </p:nvSpPr>
          <p:spPr bwMode="auto">
            <a:xfrm>
              <a:off x="6382309" y="2459263"/>
              <a:ext cx="123770" cy="97357"/>
            </a:xfrm>
            <a:custGeom>
              <a:avLst/>
              <a:gdLst/>
              <a:ahLst/>
              <a:cxnLst>
                <a:cxn ang="0">
                  <a:pos x="116" y="92"/>
                </a:cxn>
                <a:cxn ang="0">
                  <a:pos x="103" y="86"/>
                </a:cxn>
                <a:cxn ang="0">
                  <a:pos x="95" y="85"/>
                </a:cxn>
                <a:cxn ang="0">
                  <a:pos x="40" y="90"/>
                </a:cxn>
                <a:cxn ang="0">
                  <a:pos x="39" y="85"/>
                </a:cxn>
                <a:cxn ang="0">
                  <a:pos x="32" y="79"/>
                </a:cxn>
                <a:cxn ang="0">
                  <a:pos x="32" y="73"/>
                </a:cxn>
                <a:cxn ang="0">
                  <a:pos x="21" y="73"/>
                </a:cxn>
                <a:cxn ang="0">
                  <a:pos x="17" y="63"/>
                </a:cxn>
                <a:cxn ang="0">
                  <a:pos x="13" y="61"/>
                </a:cxn>
                <a:cxn ang="0">
                  <a:pos x="7" y="50"/>
                </a:cxn>
                <a:cxn ang="0">
                  <a:pos x="0" y="44"/>
                </a:cxn>
                <a:cxn ang="0">
                  <a:pos x="13" y="40"/>
                </a:cxn>
                <a:cxn ang="0">
                  <a:pos x="23" y="22"/>
                </a:cxn>
                <a:cxn ang="0">
                  <a:pos x="24" y="16"/>
                </a:cxn>
                <a:cxn ang="0">
                  <a:pos x="27" y="12"/>
                </a:cxn>
                <a:cxn ang="0">
                  <a:pos x="33" y="9"/>
                </a:cxn>
                <a:cxn ang="0">
                  <a:pos x="39" y="5"/>
                </a:cxn>
                <a:cxn ang="0">
                  <a:pos x="66" y="9"/>
                </a:cxn>
                <a:cxn ang="0">
                  <a:pos x="75" y="5"/>
                </a:cxn>
                <a:cxn ang="0">
                  <a:pos x="88" y="0"/>
                </a:cxn>
                <a:cxn ang="0">
                  <a:pos x="101" y="9"/>
                </a:cxn>
                <a:cxn ang="0">
                  <a:pos x="111" y="29"/>
                </a:cxn>
                <a:cxn ang="0">
                  <a:pos x="113" y="47"/>
                </a:cxn>
                <a:cxn ang="0">
                  <a:pos x="116" y="57"/>
                </a:cxn>
                <a:cxn ang="0">
                  <a:pos x="122" y="61"/>
                </a:cxn>
                <a:cxn ang="0">
                  <a:pos x="130" y="58"/>
                </a:cxn>
                <a:cxn ang="0">
                  <a:pos x="135" y="60"/>
                </a:cxn>
                <a:cxn ang="0">
                  <a:pos x="135" y="69"/>
                </a:cxn>
                <a:cxn ang="0">
                  <a:pos x="130" y="71"/>
                </a:cxn>
                <a:cxn ang="0">
                  <a:pos x="123" y="76"/>
                </a:cxn>
                <a:cxn ang="0">
                  <a:pos x="126" y="71"/>
                </a:cxn>
                <a:cxn ang="0">
                  <a:pos x="123" y="67"/>
                </a:cxn>
              </a:cxnLst>
              <a:rect l="0" t="0" r="r" b="b"/>
              <a:pathLst>
                <a:path w="135" h="93">
                  <a:moveTo>
                    <a:pt x="120" y="92"/>
                  </a:moveTo>
                  <a:lnTo>
                    <a:pt x="116" y="92"/>
                  </a:lnTo>
                  <a:lnTo>
                    <a:pt x="110" y="89"/>
                  </a:lnTo>
                  <a:lnTo>
                    <a:pt x="103" y="86"/>
                  </a:lnTo>
                  <a:lnTo>
                    <a:pt x="101" y="85"/>
                  </a:lnTo>
                  <a:lnTo>
                    <a:pt x="95" y="85"/>
                  </a:lnTo>
                  <a:lnTo>
                    <a:pt x="75" y="93"/>
                  </a:lnTo>
                  <a:lnTo>
                    <a:pt x="40" y="90"/>
                  </a:lnTo>
                  <a:lnTo>
                    <a:pt x="37" y="89"/>
                  </a:lnTo>
                  <a:lnTo>
                    <a:pt x="39" y="85"/>
                  </a:lnTo>
                  <a:lnTo>
                    <a:pt x="33" y="83"/>
                  </a:lnTo>
                  <a:lnTo>
                    <a:pt x="32" y="79"/>
                  </a:lnTo>
                  <a:lnTo>
                    <a:pt x="34" y="76"/>
                  </a:lnTo>
                  <a:lnTo>
                    <a:pt x="32" y="73"/>
                  </a:lnTo>
                  <a:lnTo>
                    <a:pt x="29" y="76"/>
                  </a:lnTo>
                  <a:lnTo>
                    <a:pt x="21" y="73"/>
                  </a:lnTo>
                  <a:lnTo>
                    <a:pt x="19" y="70"/>
                  </a:lnTo>
                  <a:lnTo>
                    <a:pt x="17" y="63"/>
                  </a:lnTo>
                  <a:lnTo>
                    <a:pt x="14" y="61"/>
                  </a:lnTo>
                  <a:lnTo>
                    <a:pt x="13" y="61"/>
                  </a:lnTo>
                  <a:lnTo>
                    <a:pt x="10" y="58"/>
                  </a:lnTo>
                  <a:lnTo>
                    <a:pt x="7" y="50"/>
                  </a:lnTo>
                  <a:lnTo>
                    <a:pt x="4" y="47"/>
                  </a:lnTo>
                  <a:lnTo>
                    <a:pt x="0" y="44"/>
                  </a:lnTo>
                  <a:lnTo>
                    <a:pt x="0" y="44"/>
                  </a:lnTo>
                  <a:lnTo>
                    <a:pt x="13" y="40"/>
                  </a:lnTo>
                  <a:lnTo>
                    <a:pt x="20" y="25"/>
                  </a:lnTo>
                  <a:lnTo>
                    <a:pt x="23" y="22"/>
                  </a:lnTo>
                  <a:lnTo>
                    <a:pt x="23" y="19"/>
                  </a:lnTo>
                  <a:lnTo>
                    <a:pt x="24" y="16"/>
                  </a:lnTo>
                  <a:lnTo>
                    <a:pt x="26" y="13"/>
                  </a:lnTo>
                  <a:lnTo>
                    <a:pt x="27" y="12"/>
                  </a:lnTo>
                  <a:lnTo>
                    <a:pt x="32" y="9"/>
                  </a:lnTo>
                  <a:lnTo>
                    <a:pt x="33" y="9"/>
                  </a:lnTo>
                  <a:lnTo>
                    <a:pt x="36" y="6"/>
                  </a:lnTo>
                  <a:lnTo>
                    <a:pt x="39" y="5"/>
                  </a:lnTo>
                  <a:lnTo>
                    <a:pt x="62" y="5"/>
                  </a:lnTo>
                  <a:lnTo>
                    <a:pt x="66" y="9"/>
                  </a:lnTo>
                  <a:lnTo>
                    <a:pt x="71" y="6"/>
                  </a:lnTo>
                  <a:lnTo>
                    <a:pt x="75" y="5"/>
                  </a:lnTo>
                  <a:lnTo>
                    <a:pt x="79" y="5"/>
                  </a:lnTo>
                  <a:lnTo>
                    <a:pt x="88" y="0"/>
                  </a:lnTo>
                  <a:lnTo>
                    <a:pt x="93" y="0"/>
                  </a:lnTo>
                  <a:lnTo>
                    <a:pt x="101" y="9"/>
                  </a:lnTo>
                  <a:lnTo>
                    <a:pt x="103" y="13"/>
                  </a:lnTo>
                  <a:lnTo>
                    <a:pt x="111" y="29"/>
                  </a:lnTo>
                  <a:lnTo>
                    <a:pt x="113" y="42"/>
                  </a:lnTo>
                  <a:lnTo>
                    <a:pt x="113" y="47"/>
                  </a:lnTo>
                  <a:lnTo>
                    <a:pt x="113" y="58"/>
                  </a:lnTo>
                  <a:lnTo>
                    <a:pt x="116" y="57"/>
                  </a:lnTo>
                  <a:lnTo>
                    <a:pt x="119" y="61"/>
                  </a:lnTo>
                  <a:lnTo>
                    <a:pt x="122" y="61"/>
                  </a:lnTo>
                  <a:lnTo>
                    <a:pt x="125" y="60"/>
                  </a:lnTo>
                  <a:lnTo>
                    <a:pt x="130" y="58"/>
                  </a:lnTo>
                  <a:lnTo>
                    <a:pt x="133" y="58"/>
                  </a:lnTo>
                  <a:lnTo>
                    <a:pt x="135" y="60"/>
                  </a:lnTo>
                  <a:lnTo>
                    <a:pt x="135" y="61"/>
                  </a:lnTo>
                  <a:lnTo>
                    <a:pt x="135" y="69"/>
                  </a:lnTo>
                  <a:lnTo>
                    <a:pt x="132" y="71"/>
                  </a:lnTo>
                  <a:lnTo>
                    <a:pt x="130" y="71"/>
                  </a:lnTo>
                  <a:lnTo>
                    <a:pt x="123" y="79"/>
                  </a:lnTo>
                  <a:lnTo>
                    <a:pt x="123" y="76"/>
                  </a:lnTo>
                  <a:lnTo>
                    <a:pt x="125" y="74"/>
                  </a:lnTo>
                  <a:lnTo>
                    <a:pt x="126" y="71"/>
                  </a:lnTo>
                  <a:lnTo>
                    <a:pt x="126" y="67"/>
                  </a:lnTo>
                  <a:lnTo>
                    <a:pt x="123" y="67"/>
                  </a:lnTo>
                  <a:lnTo>
                    <a:pt x="120" y="9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65" name="Freeform 1455"/>
            <p:cNvSpPr>
              <a:spLocks/>
            </p:cNvSpPr>
            <p:nvPr/>
          </p:nvSpPr>
          <p:spPr bwMode="auto">
            <a:xfrm>
              <a:off x="6382309" y="2459263"/>
              <a:ext cx="123770" cy="97357"/>
            </a:xfrm>
            <a:custGeom>
              <a:avLst/>
              <a:gdLst/>
              <a:ahLst/>
              <a:cxnLst>
                <a:cxn ang="0">
                  <a:pos x="116" y="92"/>
                </a:cxn>
                <a:cxn ang="0">
                  <a:pos x="103" y="86"/>
                </a:cxn>
                <a:cxn ang="0">
                  <a:pos x="95" y="85"/>
                </a:cxn>
                <a:cxn ang="0">
                  <a:pos x="40" y="90"/>
                </a:cxn>
                <a:cxn ang="0">
                  <a:pos x="39" y="85"/>
                </a:cxn>
                <a:cxn ang="0">
                  <a:pos x="32" y="79"/>
                </a:cxn>
                <a:cxn ang="0">
                  <a:pos x="32" y="73"/>
                </a:cxn>
                <a:cxn ang="0">
                  <a:pos x="21" y="73"/>
                </a:cxn>
                <a:cxn ang="0">
                  <a:pos x="17" y="63"/>
                </a:cxn>
                <a:cxn ang="0">
                  <a:pos x="13" y="61"/>
                </a:cxn>
                <a:cxn ang="0">
                  <a:pos x="7" y="50"/>
                </a:cxn>
                <a:cxn ang="0">
                  <a:pos x="0" y="44"/>
                </a:cxn>
                <a:cxn ang="0">
                  <a:pos x="13" y="40"/>
                </a:cxn>
                <a:cxn ang="0">
                  <a:pos x="23" y="22"/>
                </a:cxn>
                <a:cxn ang="0">
                  <a:pos x="24" y="16"/>
                </a:cxn>
                <a:cxn ang="0">
                  <a:pos x="27" y="12"/>
                </a:cxn>
                <a:cxn ang="0">
                  <a:pos x="33" y="9"/>
                </a:cxn>
                <a:cxn ang="0">
                  <a:pos x="39" y="5"/>
                </a:cxn>
                <a:cxn ang="0">
                  <a:pos x="66" y="9"/>
                </a:cxn>
                <a:cxn ang="0">
                  <a:pos x="75" y="5"/>
                </a:cxn>
                <a:cxn ang="0">
                  <a:pos x="88" y="0"/>
                </a:cxn>
                <a:cxn ang="0">
                  <a:pos x="101" y="9"/>
                </a:cxn>
                <a:cxn ang="0">
                  <a:pos x="111" y="29"/>
                </a:cxn>
                <a:cxn ang="0">
                  <a:pos x="113" y="47"/>
                </a:cxn>
                <a:cxn ang="0">
                  <a:pos x="116" y="57"/>
                </a:cxn>
                <a:cxn ang="0">
                  <a:pos x="122" y="61"/>
                </a:cxn>
                <a:cxn ang="0">
                  <a:pos x="130" y="58"/>
                </a:cxn>
                <a:cxn ang="0">
                  <a:pos x="135" y="60"/>
                </a:cxn>
                <a:cxn ang="0">
                  <a:pos x="135" y="69"/>
                </a:cxn>
                <a:cxn ang="0">
                  <a:pos x="130" y="71"/>
                </a:cxn>
                <a:cxn ang="0">
                  <a:pos x="123" y="76"/>
                </a:cxn>
                <a:cxn ang="0">
                  <a:pos x="126" y="71"/>
                </a:cxn>
                <a:cxn ang="0">
                  <a:pos x="123" y="67"/>
                </a:cxn>
              </a:cxnLst>
              <a:rect l="0" t="0" r="r" b="b"/>
              <a:pathLst>
                <a:path w="135" h="93">
                  <a:moveTo>
                    <a:pt x="120" y="92"/>
                  </a:moveTo>
                  <a:lnTo>
                    <a:pt x="116" y="92"/>
                  </a:lnTo>
                  <a:lnTo>
                    <a:pt x="110" y="89"/>
                  </a:lnTo>
                  <a:lnTo>
                    <a:pt x="103" y="86"/>
                  </a:lnTo>
                  <a:lnTo>
                    <a:pt x="101" y="85"/>
                  </a:lnTo>
                  <a:lnTo>
                    <a:pt x="95" y="85"/>
                  </a:lnTo>
                  <a:lnTo>
                    <a:pt x="75" y="93"/>
                  </a:lnTo>
                  <a:lnTo>
                    <a:pt x="40" y="90"/>
                  </a:lnTo>
                  <a:lnTo>
                    <a:pt x="37" y="89"/>
                  </a:lnTo>
                  <a:lnTo>
                    <a:pt x="39" y="85"/>
                  </a:lnTo>
                  <a:lnTo>
                    <a:pt x="33" y="83"/>
                  </a:lnTo>
                  <a:lnTo>
                    <a:pt x="32" y="79"/>
                  </a:lnTo>
                  <a:lnTo>
                    <a:pt x="34" y="76"/>
                  </a:lnTo>
                  <a:lnTo>
                    <a:pt x="32" y="73"/>
                  </a:lnTo>
                  <a:lnTo>
                    <a:pt x="29" y="76"/>
                  </a:lnTo>
                  <a:lnTo>
                    <a:pt x="21" y="73"/>
                  </a:lnTo>
                  <a:lnTo>
                    <a:pt x="19" y="70"/>
                  </a:lnTo>
                  <a:lnTo>
                    <a:pt x="17" y="63"/>
                  </a:lnTo>
                  <a:lnTo>
                    <a:pt x="14" y="61"/>
                  </a:lnTo>
                  <a:lnTo>
                    <a:pt x="13" y="61"/>
                  </a:lnTo>
                  <a:lnTo>
                    <a:pt x="10" y="58"/>
                  </a:lnTo>
                  <a:lnTo>
                    <a:pt x="7" y="50"/>
                  </a:lnTo>
                  <a:lnTo>
                    <a:pt x="4" y="47"/>
                  </a:lnTo>
                  <a:lnTo>
                    <a:pt x="0" y="44"/>
                  </a:lnTo>
                  <a:lnTo>
                    <a:pt x="0" y="44"/>
                  </a:lnTo>
                  <a:lnTo>
                    <a:pt x="13" y="40"/>
                  </a:lnTo>
                  <a:lnTo>
                    <a:pt x="20" y="25"/>
                  </a:lnTo>
                  <a:lnTo>
                    <a:pt x="23" y="22"/>
                  </a:lnTo>
                  <a:lnTo>
                    <a:pt x="23" y="19"/>
                  </a:lnTo>
                  <a:lnTo>
                    <a:pt x="24" y="16"/>
                  </a:lnTo>
                  <a:lnTo>
                    <a:pt x="26" y="13"/>
                  </a:lnTo>
                  <a:lnTo>
                    <a:pt x="27" y="12"/>
                  </a:lnTo>
                  <a:lnTo>
                    <a:pt x="32" y="9"/>
                  </a:lnTo>
                  <a:lnTo>
                    <a:pt x="33" y="9"/>
                  </a:lnTo>
                  <a:lnTo>
                    <a:pt x="36" y="6"/>
                  </a:lnTo>
                  <a:lnTo>
                    <a:pt x="39" y="5"/>
                  </a:lnTo>
                  <a:lnTo>
                    <a:pt x="62" y="5"/>
                  </a:lnTo>
                  <a:lnTo>
                    <a:pt x="66" y="9"/>
                  </a:lnTo>
                  <a:lnTo>
                    <a:pt x="71" y="6"/>
                  </a:lnTo>
                  <a:lnTo>
                    <a:pt x="75" y="5"/>
                  </a:lnTo>
                  <a:lnTo>
                    <a:pt x="79" y="5"/>
                  </a:lnTo>
                  <a:lnTo>
                    <a:pt x="88" y="0"/>
                  </a:lnTo>
                  <a:lnTo>
                    <a:pt x="93" y="0"/>
                  </a:lnTo>
                  <a:lnTo>
                    <a:pt x="101" y="9"/>
                  </a:lnTo>
                  <a:lnTo>
                    <a:pt x="103" y="13"/>
                  </a:lnTo>
                  <a:lnTo>
                    <a:pt x="111" y="29"/>
                  </a:lnTo>
                  <a:lnTo>
                    <a:pt x="113" y="42"/>
                  </a:lnTo>
                  <a:lnTo>
                    <a:pt x="113" y="47"/>
                  </a:lnTo>
                  <a:lnTo>
                    <a:pt x="113" y="58"/>
                  </a:lnTo>
                  <a:lnTo>
                    <a:pt x="116" y="57"/>
                  </a:lnTo>
                  <a:lnTo>
                    <a:pt x="119" y="61"/>
                  </a:lnTo>
                  <a:lnTo>
                    <a:pt x="122" y="61"/>
                  </a:lnTo>
                  <a:lnTo>
                    <a:pt x="125" y="60"/>
                  </a:lnTo>
                  <a:lnTo>
                    <a:pt x="130" y="58"/>
                  </a:lnTo>
                  <a:lnTo>
                    <a:pt x="133" y="58"/>
                  </a:lnTo>
                  <a:lnTo>
                    <a:pt x="135" y="60"/>
                  </a:lnTo>
                  <a:lnTo>
                    <a:pt x="135" y="61"/>
                  </a:lnTo>
                  <a:lnTo>
                    <a:pt x="135" y="69"/>
                  </a:lnTo>
                  <a:lnTo>
                    <a:pt x="132" y="71"/>
                  </a:lnTo>
                  <a:lnTo>
                    <a:pt x="130" y="71"/>
                  </a:lnTo>
                  <a:lnTo>
                    <a:pt x="123" y="79"/>
                  </a:lnTo>
                  <a:lnTo>
                    <a:pt x="123" y="76"/>
                  </a:lnTo>
                  <a:lnTo>
                    <a:pt x="125" y="74"/>
                  </a:lnTo>
                  <a:lnTo>
                    <a:pt x="126" y="71"/>
                  </a:lnTo>
                  <a:lnTo>
                    <a:pt x="126" y="67"/>
                  </a:lnTo>
                  <a:lnTo>
                    <a:pt x="123" y="67"/>
                  </a:lnTo>
                  <a:lnTo>
                    <a:pt x="120" y="9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66" name="Freeform 1456"/>
            <p:cNvSpPr>
              <a:spLocks/>
            </p:cNvSpPr>
            <p:nvPr/>
          </p:nvSpPr>
          <p:spPr bwMode="auto">
            <a:xfrm>
              <a:off x="6403377" y="2199646"/>
              <a:ext cx="17556" cy="19269"/>
            </a:xfrm>
            <a:custGeom>
              <a:avLst/>
              <a:gdLst/>
              <a:ahLst/>
              <a:cxnLst>
                <a:cxn ang="0">
                  <a:pos x="16" y="0"/>
                </a:cxn>
                <a:cxn ang="0">
                  <a:pos x="7" y="2"/>
                </a:cxn>
                <a:cxn ang="0">
                  <a:pos x="6" y="5"/>
                </a:cxn>
                <a:cxn ang="0">
                  <a:pos x="4" y="3"/>
                </a:cxn>
                <a:cxn ang="0">
                  <a:pos x="3" y="5"/>
                </a:cxn>
                <a:cxn ang="0">
                  <a:pos x="0" y="3"/>
                </a:cxn>
                <a:cxn ang="0">
                  <a:pos x="0" y="11"/>
                </a:cxn>
                <a:cxn ang="0">
                  <a:pos x="1" y="12"/>
                </a:cxn>
                <a:cxn ang="0">
                  <a:pos x="3" y="12"/>
                </a:cxn>
                <a:cxn ang="0">
                  <a:pos x="3" y="15"/>
                </a:cxn>
                <a:cxn ang="0">
                  <a:pos x="1" y="16"/>
                </a:cxn>
                <a:cxn ang="0">
                  <a:pos x="1" y="19"/>
                </a:cxn>
                <a:cxn ang="0">
                  <a:pos x="6" y="12"/>
                </a:cxn>
                <a:cxn ang="0">
                  <a:pos x="7" y="9"/>
                </a:cxn>
                <a:cxn ang="0">
                  <a:pos x="10" y="11"/>
                </a:cxn>
                <a:cxn ang="0">
                  <a:pos x="11" y="11"/>
                </a:cxn>
                <a:cxn ang="0">
                  <a:pos x="11" y="11"/>
                </a:cxn>
                <a:cxn ang="0">
                  <a:pos x="13" y="9"/>
                </a:cxn>
                <a:cxn ang="0">
                  <a:pos x="16" y="8"/>
                </a:cxn>
                <a:cxn ang="0">
                  <a:pos x="17" y="6"/>
                </a:cxn>
                <a:cxn ang="0">
                  <a:pos x="19" y="5"/>
                </a:cxn>
                <a:cxn ang="0">
                  <a:pos x="19" y="5"/>
                </a:cxn>
                <a:cxn ang="0">
                  <a:pos x="17" y="2"/>
                </a:cxn>
                <a:cxn ang="0">
                  <a:pos x="16" y="2"/>
                </a:cxn>
                <a:cxn ang="0">
                  <a:pos x="16" y="0"/>
                </a:cxn>
              </a:cxnLst>
              <a:rect l="0" t="0" r="r" b="b"/>
              <a:pathLst>
                <a:path w="19" h="19">
                  <a:moveTo>
                    <a:pt x="16" y="0"/>
                  </a:moveTo>
                  <a:lnTo>
                    <a:pt x="7" y="2"/>
                  </a:lnTo>
                  <a:lnTo>
                    <a:pt x="6" y="5"/>
                  </a:lnTo>
                  <a:lnTo>
                    <a:pt x="4" y="3"/>
                  </a:lnTo>
                  <a:lnTo>
                    <a:pt x="3" y="5"/>
                  </a:lnTo>
                  <a:lnTo>
                    <a:pt x="0" y="3"/>
                  </a:lnTo>
                  <a:lnTo>
                    <a:pt x="0" y="11"/>
                  </a:lnTo>
                  <a:lnTo>
                    <a:pt x="1" y="12"/>
                  </a:lnTo>
                  <a:lnTo>
                    <a:pt x="3" y="12"/>
                  </a:lnTo>
                  <a:lnTo>
                    <a:pt x="3" y="15"/>
                  </a:lnTo>
                  <a:lnTo>
                    <a:pt x="1" y="16"/>
                  </a:lnTo>
                  <a:lnTo>
                    <a:pt x="1" y="19"/>
                  </a:lnTo>
                  <a:lnTo>
                    <a:pt x="6" y="12"/>
                  </a:lnTo>
                  <a:lnTo>
                    <a:pt x="7" y="9"/>
                  </a:lnTo>
                  <a:lnTo>
                    <a:pt x="10" y="11"/>
                  </a:lnTo>
                  <a:lnTo>
                    <a:pt x="11" y="11"/>
                  </a:lnTo>
                  <a:lnTo>
                    <a:pt x="11" y="11"/>
                  </a:lnTo>
                  <a:lnTo>
                    <a:pt x="13" y="9"/>
                  </a:lnTo>
                  <a:lnTo>
                    <a:pt x="16" y="8"/>
                  </a:lnTo>
                  <a:lnTo>
                    <a:pt x="17" y="6"/>
                  </a:lnTo>
                  <a:lnTo>
                    <a:pt x="19" y="5"/>
                  </a:lnTo>
                  <a:lnTo>
                    <a:pt x="19" y="5"/>
                  </a:lnTo>
                  <a:lnTo>
                    <a:pt x="17" y="2"/>
                  </a:lnTo>
                  <a:lnTo>
                    <a:pt x="16" y="2"/>
                  </a:lnTo>
                  <a:lnTo>
                    <a:pt x="16"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67" name="Freeform 1457"/>
            <p:cNvSpPr>
              <a:spLocks/>
            </p:cNvSpPr>
            <p:nvPr/>
          </p:nvSpPr>
          <p:spPr bwMode="auto">
            <a:xfrm>
              <a:off x="6403377" y="2199646"/>
              <a:ext cx="17556" cy="19269"/>
            </a:xfrm>
            <a:custGeom>
              <a:avLst/>
              <a:gdLst/>
              <a:ahLst/>
              <a:cxnLst>
                <a:cxn ang="0">
                  <a:pos x="16" y="0"/>
                </a:cxn>
                <a:cxn ang="0">
                  <a:pos x="7" y="2"/>
                </a:cxn>
                <a:cxn ang="0">
                  <a:pos x="6" y="5"/>
                </a:cxn>
                <a:cxn ang="0">
                  <a:pos x="4" y="3"/>
                </a:cxn>
                <a:cxn ang="0">
                  <a:pos x="3" y="5"/>
                </a:cxn>
                <a:cxn ang="0">
                  <a:pos x="0" y="3"/>
                </a:cxn>
                <a:cxn ang="0">
                  <a:pos x="0" y="11"/>
                </a:cxn>
                <a:cxn ang="0">
                  <a:pos x="1" y="12"/>
                </a:cxn>
                <a:cxn ang="0">
                  <a:pos x="3" y="12"/>
                </a:cxn>
                <a:cxn ang="0">
                  <a:pos x="3" y="15"/>
                </a:cxn>
                <a:cxn ang="0">
                  <a:pos x="1" y="16"/>
                </a:cxn>
                <a:cxn ang="0">
                  <a:pos x="1" y="19"/>
                </a:cxn>
                <a:cxn ang="0">
                  <a:pos x="6" y="12"/>
                </a:cxn>
                <a:cxn ang="0">
                  <a:pos x="7" y="9"/>
                </a:cxn>
                <a:cxn ang="0">
                  <a:pos x="10" y="11"/>
                </a:cxn>
                <a:cxn ang="0">
                  <a:pos x="11" y="11"/>
                </a:cxn>
                <a:cxn ang="0">
                  <a:pos x="11" y="11"/>
                </a:cxn>
                <a:cxn ang="0">
                  <a:pos x="13" y="9"/>
                </a:cxn>
                <a:cxn ang="0">
                  <a:pos x="16" y="8"/>
                </a:cxn>
                <a:cxn ang="0">
                  <a:pos x="17" y="6"/>
                </a:cxn>
                <a:cxn ang="0">
                  <a:pos x="19" y="5"/>
                </a:cxn>
                <a:cxn ang="0">
                  <a:pos x="19" y="5"/>
                </a:cxn>
                <a:cxn ang="0">
                  <a:pos x="17" y="2"/>
                </a:cxn>
                <a:cxn ang="0">
                  <a:pos x="16" y="2"/>
                </a:cxn>
                <a:cxn ang="0">
                  <a:pos x="16" y="0"/>
                </a:cxn>
              </a:cxnLst>
              <a:rect l="0" t="0" r="r" b="b"/>
              <a:pathLst>
                <a:path w="19" h="19">
                  <a:moveTo>
                    <a:pt x="16" y="0"/>
                  </a:moveTo>
                  <a:lnTo>
                    <a:pt x="7" y="2"/>
                  </a:lnTo>
                  <a:lnTo>
                    <a:pt x="6" y="5"/>
                  </a:lnTo>
                  <a:lnTo>
                    <a:pt x="4" y="3"/>
                  </a:lnTo>
                  <a:lnTo>
                    <a:pt x="3" y="5"/>
                  </a:lnTo>
                  <a:lnTo>
                    <a:pt x="0" y="3"/>
                  </a:lnTo>
                  <a:lnTo>
                    <a:pt x="0" y="11"/>
                  </a:lnTo>
                  <a:lnTo>
                    <a:pt x="1" y="12"/>
                  </a:lnTo>
                  <a:lnTo>
                    <a:pt x="3" y="12"/>
                  </a:lnTo>
                  <a:lnTo>
                    <a:pt x="3" y="15"/>
                  </a:lnTo>
                  <a:lnTo>
                    <a:pt x="1" y="16"/>
                  </a:lnTo>
                  <a:lnTo>
                    <a:pt x="1" y="19"/>
                  </a:lnTo>
                  <a:lnTo>
                    <a:pt x="6" y="12"/>
                  </a:lnTo>
                  <a:lnTo>
                    <a:pt x="7" y="9"/>
                  </a:lnTo>
                  <a:lnTo>
                    <a:pt x="10" y="11"/>
                  </a:lnTo>
                  <a:lnTo>
                    <a:pt x="11" y="11"/>
                  </a:lnTo>
                  <a:lnTo>
                    <a:pt x="11" y="11"/>
                  </a:lnTo>
                  <a:lnTo>
                    <a:pt x="13" y="9"/>
                  </a:lnTo>
                  <a:lnTo>
                    <a:pt x="16" y="8"/>
                  </a:lnTo>
                  <a:lnTo>
                    <a:pt x="17" y="6"/>
                  </a:lnTo>
                  <a:lnTo>
                    <a:pt x="19" y="5"/>
                  </a:lnTo>
                  <a:lnTo>
                    <a:pt x="19" y="5"/>
                  </a:lnTo>
                  <a:lnTo>
                    <a:pt x="17" y="2"/>
                  </a:lnTo>
                  <a:lnTo>
                    <a:pt x="16" y="2"/>
                  </a:lnTo>
                  <a:lnTo>
                    <a:pt x="16"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68" name="Freeform 1458"/>
            <p:cNvSpPr>
              <a:spLocks/>
            </p:cNvSpPr>
            <p:nvPr/>
          </p:nvSpPr>
          <p:spPr bwMode="auto">
            <a:xfrm>
              <a:off x="6406887" y="2187476"/>
              <a:ext cx="11412" cy="11155"/>
            </a:xfrm>
            <a:custGeom>
              <a:avLst/>
              <a:gdLst/>
              <a:ahLst/>
              <a:cxnLst>
                <a:cxn ang="0">
                  <a:pos x="4" y="3"/>
                </a:cxn>
                <a:cxn ang="0">
                  <a:pos x="0" y="3"/>
                </a:cxn>
                <a:cxn ang="0">
                  <a:pos x="0" y="4"/>
                </a:cxn>
                <a:cxn ang="0">
                  <a:pos x="0" y="4"/>
                </a:cxn>
                <a:cxn ang="0">
                  <a:pos x="3" y="4"/>
                </a:cxn>
                <a:cxn ang="0">
                  <a:pos x="4" y="10"/>
                </a:cxn>
                <a:cxn ang="0">
                  <a:pos x="7" y="8"/>
                </a:cxn>
                <a:cxn ang="0">
                  <a:pos x="7" y="7"/>
                </a:cxn>
                <a:cxn ang="0">
                  <a:pos x="13" y="6"/>
                </a:cxn>
                <a:cxn ang="0">
                  <a:pos x="13" y="3"/>
                </a:cxn>
                <a:cxn ang="0">
                  <a:pos x="11" y="1"/>
                </a:cxn>
                <a:cxn ang="0">
                  <a:pos x="10" y="1"/>
                </a:cxn>
                <a:cxn ang="0">
                  <a:pos x="8" y="0"/>
                </a:cxn>
                <a:cxn ang="0">
                  <a:pos x="7" y="0"/>
                </a:cxn>
                <a:cxn ang="0">
                  <a:pos x="6" y="1"/>
                </a:cxn>
                <a:cxn ang="0">
                  <a:pos x="4" y="3"/>
                </a:cxn>
              </a:cxnLst>
              <a:rect l="0" t="0" r="r" b="b"/>
              <a:pathLst>
                <a:path w="13" h="10">
                  <a:moveTo>
                    <a:pt x="4" y="3"/>
                  </a:moveTo>
                  <a:lnTo>
                    <a:pt x="0" y="3"/>
                  </a:lnTo>
                  <a:lnTo>
                    <a:pt x="0" y="4"/>
                  </a:lnTo>
                  <a:lnTo>
                    <a:pt x="0" y="4"/>
                  </a:lnTo>
                  <a:lnTo>
                    <a:pt x="3" y="4"/>
                  </a:lnTo>
                  <a:lnTo>
                    <a:pt x="4" y="10"/>
                  </a:lnTo>
                  <a:lnTo>
                    <a:pt x="7" y="8"/>
                  </a:lnTo>
                  <a:lnTo>
                    <a:pt x="7" y="7"/>
                  </a:lnTo>
                  <a:lnTo>
                    <a:pt x="13" y="6"/>
                  </a:lnTo>
                  <a:lnTo>
                    <a:pt x="13" y="3"/>
                  </a:lnTo>
                  <a:lnTo>
                    <a:pt x="11" y="1"/>
                  </a:lnTo>
                  <a:lnTo>
                    <a:pt x="10" y="1"/>
                  </a:lnTo>
                  <a:lnTo>
                    <a:pt x="8" y="0"/>
                  </a:lnTo>
                  <a:lnTo>
                    <a:pt x="7" y="0"/>
                  </a:lnTo>
                  <a:lnTo>
                    <a:pt x="6" y="1"/>
                  </a:lnTo>
                  <a:lnTo>
                    <a:pt x="4"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69" name="Freeform 1459"/>
            <p:cNvSpPr>
              <a:spLocks/>
            </p:cNvSpPr>
            <p:nvPr/>
          </p:nvSpPr>
          <p:spPr bwMode="auto">
            <a:xfrm>
              <a:off x="6406887" y="2187476"/>
              <a:ext cx="11412" cy="11155"/>
            </a:xfrm>
            <a:custGeom>
              <a:avLst/>
              <a:gdLst/>
              <a:ahLst/>
              <a:cxnLst>
                <a:cxn ang="0">
                  <a:pos x="4" y="3"/>
                </a:cxn>
                <a:cxn ang="0">
                  <a:pos x="0" y="3"/>
                </a:cxn>
                <a:cxn ang="0">
                  <a:pos x="0" y="4"/>
                </a:cxn>
                <a:cxn ang="0">
                  <a:pos x="0" y="4"/>
                </a:cxn>
                <a:cxn ang="0">
                  <a:pos x="3" y="4"/>
                </a:cxn>
                <a:cxn ang="0">
                  <a:pos x="4" y="10"/>
                </a:cxn>
                <a:cxn ang="0">
                  <a:pos x="7" y="8"/>
                </a:cxn>
                <a:cxn ang="0">
                  <a:pos x="7" y="7"/>
                </a:cxn>
                <a:cxn ang="0">
                  <a:pos x="13" y="6"/>
                </a:cxn>
                <a:cxn ang="0">
                  <a:pos x="13" y="3"/>
                </a:cxn>
                <a:cxn ang="0">
                  <a:pos x="11" y="1"/>
                </a:cxn>
                <a:cxn ang="0">
                  <a:pos x="10" y="1"/>
                </a:cxn>
                <a:cxn ang="0">
                  <a:pos x="8" y="0"/>
                </a:cxn>
                <a:cxn ang="0">
                  <a:pos x="7" y="0"/>
                </a:cxn>
                <a:cxn ang="0">
                  <a:pos x="6" y="1"/>
                </a:cxn>
                <a:cxn ang="0">
                  <a:pos x="4" y="3"/>
                </a:cxn>
              </a:cxnLst>
              <a:rect l="0" t="0" r="r" b="b"/>
              <a:pathLst>
                <a:path w="13" h="10">
                  <a:moveTo>
                    <a:pt x="4" y="3"/>
                  </a:moveTo>
                  <a:lnTo>
                    <a:pt x="0" y="3"/>
                  </a:lnTo>
                  <a:lnTo>
                    <a:pt x="0" y="4"/>
                  </a:lnTo>
                  <a:lnTo>
                    <a:pt x="0" y="4"/>
                  </a:lnTo>
                  <a:lnTo>
                    <a:pt x="3" y="4"/>
                  </a:lnTo>
                  <a:lnTo>
                    <a:pt x="4" y="10"/>
                  </a:lnTo>
                  <a:lnTo>
                    <a:pt x="7" y="8"/>
                  </a:lnTo>
                  <a:lnTo>
                    <a:pt x="7" y="7"/>
                  </a:lnTo>
                  <a:lnTo>
                    <a:pt x="13" y="6"/>
                  </a:lnTo>
                  <a:lnTo>
                    <a:pt x="13" y="3"/>
                  </a:lnTo>
                  <a:lnTo>
                    <a:pt x="11" y="1"/>
                  </a:lnTo>
                  <a:lnTo>
                    <a:pt x="10" y="1"/>
                  </a:lnTo>
                  <a:lnTo>
                    <a:pt x="8" y="0"/>
                  </a:lnTo>
                  <a:lnTo>
                    <a:pt x="7" y="0"/>
                  </a:lnTo>
                  <a:lnTo>
                    <a:pt x="6" y="1"/>
                  </a:lnTo>
                  <a:lnTo>
                    <a:pt x="4"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70" name="Freeform 1460"/>
            <p:cNvSpPr>
              <a:spLocks/>
            </p:cNvSpPr>
            <p:nvPr/>
          </p:nvSpPr>
          <p:spPr bwMode="auto">
            <a:xfrm>
              <a:off x="6423566" y="2169221"/>
              <a:ext cx="63202" cy="59833"/>
            </a:xfrm>
            <a:custGeom>
              <a:avLst/>
              <a:gdLst/>
              <a:ahLst/>
              <a:cxnLst>
                <a:cxn ang="0">
                  <a:pos x="32" y="0"/>
                </a:cxn>
                <a:cxn ang="0">
                  <a:pos x="36" y="2"/>
                </a:cxn>
                <a:cxn ang="0">
                  <a:pos x="48" y="6"/>
                </a:cxn>
                <a:cxn ang="0">
                  <a:pos x="62" y="8"/>
                </a:cxn>
                <a:cxn ang="0">
                  <a:pos x="66" y="5"/>
                </a:cxn>
                <a:cxn ang="0">
                  <a:pos x="69" y="6"/>
                </a:cxn>
                <a:cxn ang="0">
                  <a:pos x="69" y="10"/>
                </a:cxn>
                <a:cxn ang="0">
                  <a:pos x="62" y="21"/>
                </a:cxn>
                <a:cxn ang="0">
                  <a:pos x="62" y="29"/>
                </a:cxn>
                <a:cxn ang="0">
                  <a:pos x="64" y="34"/>
                </a:cxn>
                <a:cxn ang="0">
                  <a:pos x="59" y="38"/>
                </a:cxn>
                <a:cxn ang="0">
                  <a:pos x="59" y="42"/>
                </a:cxn>
                <a:cxn ang="0">
                  <a:pos x="68" y="47"/>
                </a:cxn>
                <a:cxn ang="0">
                  <a:pos x="65" y="51"/>
                </a:cxn>
                <a:cxn ang="0">
                  <a:pos x="61" y="50"/>
                </a:cxn>
                <a:cxn ang="0">
                  <a:pos x="58" y="58"/>
                </a:cxn>
                <a:cxn ang="0">
                  <a:pos x="53" y="57"/>
                </a:cxn>
                <a:cxn ang="0">
                  <a:pos x="48" y="58"/>
                </a:cxn>
                <a:cxn ang="0">
                  <a:pos x="40" y="53"/>
                </a:cxn>
                <a:cxn ang="0">
                  <a:pos x="34" y="48"/>
                </a:cxn>
                <a:cxn ang="0">
                  <a:pos x="27" y="45"/>
                </a:cxn>
                <a:cxn ang="0">
                  <a:pos x="17" y="48"/>
                </a:cxn>
                <a:cxn ang="0">
                  <a:pos x="13" y="51"/>
                </a:cxn>
                <a:cxn ang="0">
                  <a:pos x="16" y="37"/>
                </a:cxn>
                <a:cxn ang="0">
                  <a:pos x="11" y="38"/>
                </a:cxn>
                <a:cxn ang="0">
                  <a:pos x="7" y="37"/>
                </a:cxn>
                <a:cxn ang="0">
                  <a:pos x="4" y="37"/>
                </a:cxn>
                <a:cxn ang="0">
                  <a:pos x="1" y="32"/>
                </a:cxn>
                <a:cxn ang="0">
                  <a:pos x="3" y="26"/>
                </a:cxn>
                <a:cxn ang="0">
                  <a:pos x="4" y="25"/>
                </a:cxn>
                <a:cxn ang="0">
                  <a:pos x="1" y="21"/>
                </a:cxn>
                <a:cxn ang="0">
                  <a:pos x="1" y="19"/>
                </a:cxn>
                <a:cxn ang="0">
                  <a:pos x="1" y="13"/>
                </a:cxn>
                <a:cxn ang="0">
                  <a:pos x="10" y="10"/>
                </a:cxn>
                <a:cxn ang="0">
                  <a:pos x="10" y="9"/>
                </a:cxn>
                <a:cxn ang="0">
                  <a:pos x="14" y="6"/>
                </a:cxn>
                <a:cxn ang="0">
                  <a:pos x="20" y="3"/>
                </a:cxn>
                <a:cxn ang="0">
                  <a:pos x="29" y="5"/>
                </a:cxn>
                <a:cxn ang="0">
                  <a:pos x="29" y="2"/>
                </a:cxn>
              </a:cxnLst>
              <a:rect l="0" t="0" r="r" b="b"/>
              <a:pathLst>
                <a:path w="69" h="58">
                  <a:moveTo>
                    <a:pt x="32" y="2"/>
                  </a:moveTo>
                  <a:lnTo>
                    <a:pt x="32" y="0"/>
                  </a:lnTo>
                  <a:lnTo>
                    <a:pt x="34" y="3"/>
                  </a:lnTo>
                  <a:lnTo>
                    <a:pt x="36" y="2"/>
                  </a:lnTo>
                  <a:lnTo>
                    <a:pt x="46" y="5"/>
                  </a:lnTo>
                  <a:lnTo>
                    <a:pt x="48" y="6"/>
                  </a:lnTo>
                  <a:lnTo>
                    <a:pt x="50" y="8"/>
                  </a:lnTo>
                  <a:lnTo>
                    <a:pt x="62" y="8"/>
                  </a:lnTo>
                  <a:lnTo>
                    <a:pt x="65" y="6"/>
                  </a:lnTo>
                  <a:lnTo>
                    <a:pt x="66" y="5"/>
                  </a:lnTo>
                  <a:lnTo>
                    <a:pt x="68" y="5"/>
                  </a:lnTo>
                  <a:lnTo>
                    <a:pt x="69" y="6"/>
                  </a:lnTo>
                  <a:lnTo>
                    <a:pt x="69" y="9"/>
                  </a:lnTo>
                  <a:lnTo>
                    <a:pt x="69" y="10"/>
                  </a:lnTo>
                  <a:lnTo>
                    <a:pt x="66" y="13"/>
                  </a:lnTo>
                  <a:lnTo>
                    <a:pt x="62" y="21"/>
                  </a:lnTo>
                  <a:lnTo>
                    <a:pt x="64" y="25"/>
                  </a:lnTo>
                  <a:lnTo>
                    <a:pt x="62" y="29"/>
                  </a:lnTo>
                  <a:lnTo>
                    <a:pt x="64" y="32"/>
                  </a:lnTo>
                  <a:lnTo>
                    <a:pt x="64" y="34"/>
                  </a:lnTo>
                  <a:lnTo>
                    <a:pt x="62" y="35"/>
                  </a:lnTo>
                  <a:lnTo>
                    <a:pt x="59" y="38"/>
                  </a:lnTo>
                  <a:lnTo>
                    <a:pt x="58" y="41"/>
                  </a:lnTo>
                  <a:lnTo>
                    <a:pt x="59" y="42"/>
                  </a:lnTo>
                  <a:lnTo>
                    <a:pt x="65" y="42"/>
                  </a:lnTo>
                  <a:lnTo>
                    <a:pt x="68" y="47"/>
                  </a:lnTo>
                  <a:lnTo>
                    <a:pt x="68" y="51"/>
                  </a:lnTo>
                  <a:lnTo>
                    <a:pt x="65" y="51"/>
                  </a:lnTo>
                  <a:lnTo>
                    <a:pt x="61" y="47"/>
                  </a:lnTo>
                  <a:lnTo>
                    <a:pt x="61" y="50"/>
                  </a:lnTo>
                  <a:lnTo>
                    <a:pt x="58" y="56"/>
                  </a:lnTo>
                  <a:lnTo>
                    <a:pt x="58" y="58"/>
                  </a:lnTo>
                  <a:lnTo>
                    <a:pt x="58" y="58"/>
                  </a:lnTo>
                  <a:lnTo>
                    <a:pt x="53" y="57"/>
                  </a:lnTo>
                  <a:lnTo>
                    <a:pt x="49" y="57"/>
                  </a:lnTo>
                  <a:lnTo>
                    <a:pt x="48" y="58"/>
                  </a:lnTo>
                  <a:lnTo>
                    <a:pt x="46" y="58"/>
                  </a:lnTo>
                  <a:lnTo>
                    <a:pt x="40" y="53"/>
                  </a:lnTo>
                  <a:lnTo>
                    <a:pt x="39" y="50"/>
                  </a:lnTo>
                  <a:lnTo>
                    <a:pt x="34" y="48"/>
                  </a:lnTo>
                  <a:lnTo>
                    <a:pt x="32" y="47"/>
                  </a:lnTo>
                  <a:lnTo>
                    <a:pt x="27" y="45"/>
                  </a:lnTo>
                  <a:lnTo>
                    <a:pt x="20" y="47"/>
                  </a:lnTo>
                  <a:lnTo>
                    <a:pt x="17" y="48"/>
                  </a:lnTo>
                  <a:lnTo>
                    <a:pt x="14" y="50"/>
                  </a:lnTo>
                  <a:lnTo>
                    <a:pt x="13" y="51"/>
                  </a:lnTo>
                  <a:lnTo>
                    <a:pt x="16" y="38"/>
                  </a:lnTo>
                  <a:lnTo>
                    <a:pt x="16" y="37"/>
                  </a:lnTo>
                  <a:lnTo>
                    <a:pt x="11" y="37"/>
                  </a:lnTo>
                  <a:lnTo>
                    <a:pt x="11" y="38"/>
                  </a:lnTo>
                  <a:lnTo>
                    <a:pt x="8" y="40"/>
                  </a:lnTo>
                  <a:lnTo>
                    <a:pt x="7" y="37"/>
                  </a:lnTo>
                  <a:lnTo>
                    <a:pt x="5" y="38"/>
                  </a:lnTo>
                  <a:lnTo>
                    <a:pt x="4" y="37"/>
                  </a:lnTo>
                  <a:lnTo>
                    <a:pt x="3" y="34"/>
                  </a:lnTo>
                  <a:lnTo>
                    <a:pt x="1" y="32"/>
                  </a:lnTo>
                  <a:lnTo>
                    <a:pt x="1" y="29"/>
                  </a:lnTo>
                  <a:lnTo>
                    <a:pt x="3" y="26"/>
                  </a:lnTo>
                  <a:lnTo>
                    <a:pt x="5" y="26"/>
                  </a:lnTo>
                  <a:lnTo>
                    <a:pt x="4" y="25"/>
                  </a:lnTo>
                  <a:lnTo>
                    <a:pt x="1" y="25"/>
                  </a:lnTo>
                  <a:lnTo>
                    <a:pt x="1" y="21"/>
                  </a:lnTo>
                  <a:lnTo>
                    <a:pt x="1" y="21"/>
                  </a:lnTo>
                  <a:lnTo>
                    <a:pt x="1" y="19"/>
                  </a:lnTo>
                  <a:lnTo>
                    <a:pt x="0" y="19"/>
                  </a:lnTo>
                  <a:lnTo>
                    <a:pt x="1" y="13"/>
                  </a:lnTo>
                  <a:lnTo>
                    <a:pt x="3" y="12"/>
                  </a:lnTo>
                  <a:lnTo>
                    <a:pt x="10" y="10"/>
                  </a:lnTo>
                  <a:lnTo>
                    <a:pt x="10" y="9"/>
                  </a:lnTo>
                  <a:lnTo>
                    <a:pt x="10" y="9"/>
                  </a:lnTo>
                  <a:lnTo>
                    <a:pt x="13" y="8"/>
                  </a:lnTo>
                  <a:lnTo>
                    <a:pt x="14" y="6"/>
                  </a:lnTo>
                  <a:lnTo>
                    <a:pt x="20" y="6"/>
                  </a:lnTo>
                  <a:lnTo>
                    <a:pt x="20" y="3"/>
                  </a:lnTo>
                  <a:lnTo>
                    <a:pt x="23" y="6"/>
                  </a:lnTo>
                  <a:lnTo>
                    <a:pt x="29" y="5"/>
                  </a:lnTo>
                  <a:lnTo>
                    <a:pt x="30" y="3"/>
                  </a:lnTo>
                  <a:lnTo>
                    <a:pt x="29" y="2"/>
                  </a:lnTo>
                  <a:lnTo>
                    <a:pt x="32"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71" name="Freeform 1461"/>
            <p:cNvSpPr>
              <a:spLocks/>
            </p:cNvSpPr>
            <p:nvPr/>
          </p:nvSpPr>
          <p:spPr bwMode="auto">
            <a:xfrm>
              <a:off x="6423566" y="2169221"/>
              <a:ext cx="63202" cy="59833"/>
            </a:xfrm>
            <a:custGeom>
              <a:avLst/>
              <a:gdLst/>
              <a:ahLst/>
              <a:cxnLst>
                <a:cxn ang="0">
                  <a:pos x="32" y="0"/>
                </a:cxn>
                <a:cxn ang="0">
                  <a:pos x="36" y="2"/>
                </a:cxn>
                <a:cxn ang="0">
                  <a:pos x="48" y="6"/>
                </a:cxn>
                <a:cxn ang="0">
                  <a:pos x="62" y="8"/>
                </a:cxn>
                <a:cxn ang="0">
                  <a:pos x="66" y="5"/>
                </a:cxn>
                <a:cxn ang="0">
                  <a:pos x="69" y="6"/>
                </a:cxn>
                <a:cxn ang="0">
                  <a:pos x="69" y="10"/>
                </a:cxn>
                <a:cxn ang="0">
                  <a:pos x="62" y="21"/>
                </a:cxn>
                <a:cxn ang="0">
                  <a:pos x="62" y="29"/>
                </a:cxn>
                <a:cxn ang="0">
                  <a:pos x="64" y="34"/>
                </a:cxn>
                <a:cxn ang="0">
                  <a:pos x="59" y="38"/>
                </a:cxn>
                <a:cxn ang="0">
                  <a:pos x="59" y="42"/>
                </a:cxn>
                <a:cxn ang="0">
                  <a:pos x="68" y="47"/>
                </a:cxn>
                <a:cxn ang="0">
                  <a:pos x="65" y="51"/>
                </a:cxn>
                <a:cxn ang="0">
                  <a:pos x="61" y="50"/>
                </a:cxn>
                <a:cxn ang="0">
                  <a:pos x="58" y="58"/>
                </a:cxn>
                <a:cxn ang="0">
                  <a:pos x="53" y="57"/>
                </a:cxn>
                <a:cxn ang="0">
                  <a:pos x="48" y="58"/>
                </a:cxn>
                <a:cxn ang="0">
                  <a:pos x="40" y="53"/>
                </a:cxn>
                <a:cxn ang="0">
                  <a:pos x="34" y="48"/>
                </a:cxn>
                <a:cxn ang="0">
                  <a:pos x="27" y="45"/>
                </a:cxn>
                <a:cxn ang="0">
                  <a:pos x="17" y="48"/>
                </a:cxn>
                <a:cxn ang="0">
                  <a:pos x="13" y="51"/>
                </a:cxn>
                <a:cxn ang="0">
                  <a:pos x="16" y="37"/>
                </a:cxn>
                <a:cxn ang="0">
                  <a:pos x="11" y="38"/>
                </a:cxn>
                <a:cxn ang="0">
                  <a:pos x="7" y="37"/>
                </a:cxn>
                <a:cxn ang="0">
                  <a:pos x="4" y="37"/>
                </a:cxn>
                <a:cxn ang="0">
                  <a:pos x="1" y="32"/>
                </a:cxn>
                <a:cxn ang="0">
                  <a:pos x="3" y="26"/>
                </a:cxn>
                <a:cxn ang="0">
                  <a:pos x="4" y="25"/>
                </a:cxn>
                <a:cxn ang="0">
                  <a:pos x="1" y="21"/>
                </a:cxn>
                <a:cxn ang="0">
                  <a:pos x="1" y="19"/>
                </a:cxn>
                <a:cxn ang="0">
                  <a:pos x="1" y="13"/>
                </a:cxn>
                <a:cxn ang="0">
                  <a:pos x="10" y="10"/>
                </a:cxn>
                <a:cxn ang="0">
                  <a:pos x="10" y="9"/>
                </a:cxn>
                <a:cxn ang="0">
                  <a:pos x="14" y="6"/>
                </a:cxn>
                <a:cxn ang="0">
                  <a:pos x="20" y="3"/>
                </a:cxn>
                <a:cxn ang="0">
                  <a:pos x="29" y="5"/>
                </a:cxn>
                <a:cxn ang="0">
                  <a:pos x="29" y="2"/>
                </a:cxn>
              </a:cxnLst>
              <a:rect l="0" t="0" r="r" b="b"/>
              <a:pathLst>
                <a:path w="69" h="58">
                  <a:moveTo>
                    <a:pt x="32" y="2"/>
                  </a:moveTo>
                  <a:lnTo>
                    <a:pt x="32" y="0"/>
                  </a:lnTo>
                  <a:lnTo>
                    <a:pt x="34" y="3"/>
                  </a:lnTo>
                  <a:lnTo>
                    <a:pt x="36" y="2"/>
                  </a:lnTo>
                  <a:lnTo>
                    <a:pt x="46" y="5"/>
                  </a:lnTo>
                  <a:lnTo>
                    <a:pt x="48" y="6"/>
                  </a:lnTo>
                  <a:lnTo>
                    <a:pt x="50" y="8"/>
                  </a:lnTo>
                  <a:lnTo>
                    <a:pt x="62" y="8"/>
                  </a:lnTo>
                  <a:lnTo>
                    <a:pt x="65" y="6"/>
                  </a:lnTo>
                  <a:lnTo>
                    <a:pt x="66" y="5"/>
                  </a:lnTo>
                  <a:lnTo>
                    <a:pt x="68" y="5"/>
                  </a:lnTo>
                  <a:lnTo>
                    <a:pt x="69" y="6"/>
                  </a:lnTo>
                  <a:lnTo>
                    <a:pt x="69" y="9"/>
                  </a:lnTo>
                  <a:lnTo>
                    <a:pt x="69" y="10"/>
                  </a:lnTo>
                  <a:lnTo>
                    <a:pt x="66" y="13"/>
                  </a:lnTo>
                  <a:lnTo>
                    <a:pt x="62" y="21"/>
                  </a:lnTo>
                  <a:lnTo>
                    <a:pt x="64" y="25"/>
                  </a:lnTo>
                  <a:lnTo>
                    <a:pt x="62" y="29"/>
                  </a:lnTo>
                  <a:lnTo>
                    <a:pt x="64" y="32"/>
                  </a:lnTo>
                  <a:lnTo>
                    <a:pt x="64" y="34"/>
                  </a:lnTo>
                  <a:lnTo>
                    <a:pt x="62" y="35"/>
                  </a:lnTo>
                  <a:lnTo>
                    <a:pt x="59" y="38"/>
                  </a:lnTo>
                  <a:lnTo>
                    <a:pt x="58" y="41"/>
                  </a:lnTo>
                  <a:lnTo>
                    <a:pt x="59" y="42"/>
                  </a:lnTo>
                  <a:lnTo>
                    <a:pt x="65" y="42"/>
                  </a:lnTo>
                  <a:lnTo>
                    <a:pt x="68" y="47"/>
                  </a:lnTo>
                  <a:lnTo>
                    <a:pt x="68" y="51"/>
                  </a:lnTo>
                  <a:lnTo>
                    <a:pt x="65" y="51"/>
                  </a:lnTo>
                  <a:lnTo>
                    <a:pt x="61" y="47"/>
                  </a:lnTo>
                  <a:lnTo>
                    <a:pt x="61" y="50"/>
                  </a:lnTo>
                  <a:lnTo>
                    <a:pt x="58" y="56"/>
                  </a:lnTo>
                  <a:lnTo>
                    <a:pt x="58" y="58"/>
                  </a:lnTo>
                  <a:lnTo>
                    <a:pt x="58" y="58"/>
                  </a:lnTo>
                  <a:lnTo>
                    <a:pt x="53" y="57"/>
                  </a:lnTo>
                  <a:lnTo>
                    <a:pt x="49" y="57"/>
                  </a:lnTo>
                  <a:lnTo>
                    <a:pt x="48" y="58"/>
                  </a:lnTo>
                  <a:lnTo>
                    <a:pt x="46" y="58"/>
                  </a:lnTo>
                  <a:lnTo>
                    <a:pt x="40" y="53"/>
                  </a:lnTo>
                  <a:lnTo>
                    <a:pt x="39" y="50"/>
                  </a:lnTo>
                  <a:lnTo>
                    <a:pt x="34" y="48"/>
                  </a:lnTo>
                  <a:lnTo>
                    <a:pt x="32" y="47"/>
                  </a:lnTo>
                  <a:lnTo>
                    <a:pt x="27" y="45"/>
                  </a:lnTo>
                  <a:lnTo>
                    <a:pt x="20" y="47"/>
                  </a:lnTo>
                  <a:lnTo>
                    <a:pt x="17" y="48"/>
                  </a:lnTo>
                  <a:lnTo>
                    <a:pt x="14" y="50"/>
                  </a:lnTo>
                  <a:lnTo>
                    <a:pt x="13" y="51"/>
                  </a:lnTo>
                  <a:lnTo>
                    <a:pt x="16" y="38"/>
                  </a:lnTo>
                  <a:lnTo>
                    <a:pt x="16" y="37"/>
                  </a:lnTo>
                  <a:lnTo>
                    <a:pt x="11" y="37"/>
                  </a:lnTo>
                  <a:lnTo>
                    <a:pt x="11" y="38"/>
                  </a:lnTo>
                  <a:lnTo>
                    <a:pt x="8" y="40"/>
                  </a:lnTo>
                  <a:lnTo>
                    <a:pt x="7" y="37"/>
                  </a:lnTo>
                  <a:lnTo>
                    <a:pt x="5" y="38"/>
                  </a:lnTo>
                  <a:lnTo>
                    <a:pt x="4" y="37"/>
                  </a:lnTo>
                  <a:lnTo>
                    <a:pt x="3" y="34"/>
                  </a:lnTo>
                  <a:lnTo>
                    <a:pt x="1" y="32"/>
                  </a:lnTo>
                  <a:lnTo>
                    <a:pt x="1" y="29"/>
                  </a:lnTo>
                  <a:lnTo>
                    <a:pt x="3" y="26"/>
                  </a:lnTo>
                  <a:lnTo>
                    <a:pt x="5" y="26"/>
                  </a:lnTo>
                  <a:lnTo>
                    <a:pt x="4" y="25"/>
                  </a:lnTo>
                  <a:lnTo>
                    <a:pt x="1" y="25"/>
                  </a:lnTo>
                  <a:lnTo>
                    <a:pt x="1" y="21"/>
                  </a:lnTo>
                  <a:lnTo>
                    <a:pt x="1" y="21"/>
                  </a:lnTo>
                  <a:lnTo>
                    <a:pt x="1" y="19"/>
                  </a:lnTo>
                  <a:lnTo>
                    <a:pt x="0" y="19"/>
                  </a:lnTo>
                  <a:lnTo>
                    <a:pt x="1" y="13"/>
                  </a:lnTo>
                  <a:lnTo>
                    <a:pt x="3" y="12"/>
                  </a:lnTo>
                  <a:lnTo>
                    <a:pt x="10" y="10"/>
                  </a:lnTo>
                  <a:lnTo>
                    <a:pt x="10" y="9"/>
                  </a:lnTo>
                  <a:lnTo>
                    <a:pt x="10" y="9"/>
                  </a:lnTo>
                  <a:lnTo>
                    <a:pt x="13" y="8"/>
                  </a:lnTo>
                  <a:lnTo>
                    <a:pt x="14" y="6"/>
                  </a:lnTo>
                  <a:lnTo>
                    <a:pt x="20" y="6"/>
                  </a:lnTo>
                  <a:lnTo>
                    <a:pt x="20" y="3"/>
                  </a:lnTo>
                  <a:lnTo>
                    <a:pt x="23" y="6"/>
                  </a:lnTo>
                  <a:lnTo>
                    <a:pt x="29" y="5"/>
                  </a:lnTo>
                  <a:lnTo>
                    <a:pt x="30" y="3"/>
                  </a:lnTo>
                  <a:lnTo>
                    <a:pt x="29" y="2"/>
                  </a:lnTo>
                  <a:lnTo>
                    <a:pt x="32"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72" name="Freeform 1462"/>
            <p:cNvSpPr>
              <a:spLocks/>
            </p:cNvSpPr>
            <p:nvPr/>
          </p:nvSpPr>
          <p:spPr bwMode="auto">
            <a:xfrm>
              <a:off x="6195338" y="2301059"/>
              <a:ext cx="117625" cy="178488"/>
            </a:xfrm>
            <a:custGeom>
              <a:avLst/>
              <a:gdLst/>
              <a:ahLst/>
              <a:cxnLst>
                <a:cxn ang="0">
                  <a:pos x="69" y="19"/>
                </a:cxn>
                <a:cxn ang="0">
                  <a:pos x="72" y="13"/>
                </a:cxn>
                <a:cxn ang="0">
                  <a:pos x="64" y="13"/>
                </a:cxn>
                <a:cxn ang="0">
                  <a:pos x="58" y="13"/>
                </a:cxn>
                <a:cxn ang="0">
                  <a:pos x="56" y="10"/>
                </a:cxn>
                <a:cxn ang="0">
                  <a:pos x="56" y="3"/>
                </a:cxn>
                <a:cxn ang="0">
                  <a:pos x="50" y="0"/>
                </a:cxn>
                <a:cxn ang="0">
                  <a:pos x="40" y="0"/>
                </a:cxn>
                <a:cxn ang="0">
                  <a:pos x="41" y="11"/>
                </a:cxn>
                <a:cxn ang="0">
                  <a:pos x="41" y="14"/>
                </a:cxn>
                <a:cxn ang="0">
                  <a:pos x="42" y="19"/>
                </a:cxn>
                <a:cxn ang="0">
                  <a:pos x="42" y="20"/>
                </a:cxn>
                <a:cxn ang="0">
                  <a:pos x="45" y="26"/>
                </a:cxn>
                <a:cxn ang="0">
                  <a:pos x="38" y="33"/>
                </a:cxn>
                <a:cxn ang="0">
                  <a:pos x="34" y="33"/>
                </a:cxn>
                <a:cxn ang="0">
                  <a:pos x="32" y="32"/>
                </a:cxn>
                <a:cxn ang="0">
                  <a:pos x="19" y="30"/>
                </a:cxn>
                <a:cxn ang="0">
                  <a:pos x="16" y="36"/>
                </a:cxn>
                <a:cxn ang="0">
                  <a:pos x="22" y="39"/>
                </a:cxn>
                <a:cxn ang="0">
                  <a:pos x="21" y="39"/>
                </a:cxn>
                <a:cxn ang="0">
                  <a:pos x="11" y="55"/>
                </a:cxn>
                <a:cxn ang="0">
                  <a:pos x="16" y="62"/>
                </a:cxn>
                <a:cxn ang="0">
                  <a:pos x="11" y="69"/>
                </a:cxn>
                <a:cxn ang="0">
                  <a:pos x="5" y="71"/>
                </a:cxn>
                <a:cxn ang="0">
                  <a:pos x="0" y="90"/>
                </a:cxn>
                <a:cxn ang="0">
                  <a:pos x="2" y="97"/>
                </a:cxn>
                <a:cxn ang="0">
                  <a:pos x="5" y="104"/>
                </a:cxn>
                <a:cxn ang="0">
                  <a:pos x="5" y="112"/>
                </a:cxn>
                <a:cxn ang="0">
                  <a:pos x="6" y="119"/>
                </a:cxn>
                <a:cxn ang="0">
                  <a:pos x="11" y="129"/>
                </a:cxn>
                <a:cxn ang="0">
                  <a:pos x="29" y="139"/>
                </a:cxn>
                <a:cxn ang="0">
                  <a:pos x="24" y="165"/>
                </a:cxn>
                <a:cxn ang="0">
                  <a:pos x="41" y="165"/>
                </a:cxn>
                <a:cxn ang="0">
                  <a:pos x="56" y="167"/>
                </a:cxn>
                <a:cxn ang="0">
                  <a:pos x="63" y="171"/>
                </a:cxn>
                <a:cxn ang="0">
                  <a:pos x="66" y="167"/>
                </a:cxn>
                <a:cxn ang="0">
                  <a:pos x="76" y="170"/>
                </a:cxn>
                <a:cxn ang="0">
                  <a:pos x="90" y="164"/>
                </a:cxn>
                <a:cxn ang="0">
                  <a:pos x="99" y="167"/>
                </a:cxn>
                <a:cxn ang="0">
                  <a:pos x="99" y="160"/>
                </a:cxn>
                <a:cxn ang="0">
                  <a:pos x="105" y="149"/>
                </a:cxn>
                <a:cxn ang="0">
                  <a:pos x="112" y="141"/>
                </a:cxn>
                <a:cxn ang="0">
                  <a:pos x="87" y="113"/>
                </a:cxn>
                <a:cxn ang="0">
                  <a:pos x="86" y="107"/>
                </a:cxn>
                <a:cxn ang="0">
                  <a:pos x="92" y="107"/>
                </a:cxn>
                <a:cxn ang="0">
                  <a:pos x="117" y="94"/>
                </a:cxn>
                <a:cxn ang="0">
                  <a:pos x="124" y="96"/>
                </a:cxn>
                <a:cxn ang="0">
                  <a:pos x="128" y="83"/>
                </a:cxn>
                <a:cxn ang="0">
                  <a:pos x="117" y="51"/>
                </a:cxn>
                <a:cxn ang="0">
                  <a:pos x="119" y="35"/>
                </a:cxn>
                <a:cxn ang="0">
                  <a:pos x="111" y="22"/>
                </a:cxn>
                <a:cxn ang="0">
                  <a:pos x="105" y="17"/>
                </a:cxn>
                <a:cxn ang="0">
                  <a:pos x="101" y="14"/>
                </a:cxn>
                <a:cxn ang="0">
                  <a:pos x="92" y="16"/>
                </a:cxn>
                <a:cxn ang="0">
                  <a:pos x="95" y="10"/>
                </a:cxn>
                <a:cxn ang="0">
                  <a:pos x="87" y="17"/>
                </a:cxn>
                <a:cxn ang="0">
                  <a:pos x="82" y="19"/>
                </a:cxn>
                <a:cxn ang="0">
                  <a:pos x="76" y="23"/>
                </a:cxn>
                <a:cxn ang="0">
                  <a:pos x="69" y="23"/>
                </a:cxn>
              </a:cxnLst>
              <a:rect l="0" t="0" r="r" b="b"/>
              <a:pathLst>
                <a:path w="128" h="171">
                  <a:moveTo>
                    <a:pt x="69" y="23"/>
                  </a:moveTo>
                  <a:lnTo>
                    <a:pt x="69" y="22"/>
                  </a:lnTo>
                  <a:lnTo>
                    <a:pt x="69" y="19"/>
                  </a:lnTo>
                  <a:lnTo>
                    <a:pt x="73" y="16"/>
                  </a:lnTo>
                  <a:lnTo>
                    <a:pt x="73" y="14"/>
                  </a:lnTo>
                  <a:lnTo>
                    <a:pt x="72" y="13"/>
                  </a:lnTo>
                  <a:lnTo>
                    <a:pt x="67" y="14"/>
                  </a:lnTo>
                  <a:lnTo>
                    <a:pt x="66" y="14"/>
                  </a:lnTo>
                  <a:lnTo>
                    <a:pt x="64" y="13"/>
                  </a:lnTo>
                  <a:lnTo>
                    <a:pt x="61" y="11"/>
                  </a:lnTo>
                  <a:lnTo>
                    <a:pt x="60" y="13"/>
                  </a:lnTo>
                  <a:lnTo>
                    <a:pt x="58" y="13"/>
                  </a:lnTo>
                  <a:lnTo>
                    <a:pt x="58" y="11"/>
                  </a:lnTo>
                  <a:lnTo>
                    <a:pt x="57" y="11"/>
                  </a:lnTo>
                  <a:lnTo>
                    <a:pt x="56" y="10"/>
                  </a:lnTo>
                  <a:lnTo>
                    <a:pt x="57" y="8"/>
                  </a:lnTo>
                  <a:lnTo>
                    <a:pt x="57" y="6"/>
                  </a:lnTo>
                  <a:lnTo>
                    <a:pt x="56" y="3"/>
                  </a:lnTo>
                  <a:lnTo>
                    <a:pt x="51" y="1"/>
                  </a:lnTo>
                  <a:lnTo>
                    <a:pt x="50" y="1"/>
                  </a:lnTo>
                  <a:lnTo>
                    <a:pt x="50" y="0"/>
                  </a:lnTo>
                  <a:lnTo>
                    <a:pt x="48" y="1"/>
                  </a:lnTo>
                  <a:lnTo>
                    <a:pt x="42" y="0"/>
                  </a:lnTo>
                  <a:lnTo>
                    <a:pt x="40" y="0"/>
                  </a:lnTo>
                  <a:lnTo>
                    <a:pt x="40" y="3"/>
                  </a:lnTo>
                  <a:lnTo>
                    <a:pt x="44" y="10"/>
                  </a:lnTo>
                  <a:lnTo>
                    <a:pt x="41" y="11"/>
                  </a:lnTo>
                  <a:lnTo>
                    <a:pt x="41" y="13"/>
                  </a:lnTo>
                  <a:lnTo>
                    <a:pt x="40" y="14"/>
                  </a:lnTo>
                  <a:lnTo>
                    <a:pt x="41" y="14"/>
                  </a:lnTo>
                  <a:lnTo>
                    <a:pt x="42" y="14"/>
                  </a:lnTo>
                  <a:lnTo>
                    <a:pt x="41" y="17"/>
                  </a:lnTo>
                  <a:lnTo>
                    <a:pt x="42" y="19"/>
                  </a:lnTo>
                  <a:lnTo>
                    <a:pt x="44" y="19"/>
                  </a:lnTo>
                  <a:lnTo>
                    <a:pt x="44" y="20"/>
                  </a:lnTo>
                  <a:lnTo>
                    <a:pt x="42" y="20"/>
                  </a:lnTo>
                  <a:lnTo>
                    <a:pt x="42" y="23"/>
                  </a:lnTo>
                  <a:lnTo>
                    <a:pt x="45" y="24"/>
                  </a:lnTo>
                  <a:lnTo>
                    <a:pt x="45" y="26"/>
                  </a:lnTo>
                  <a:lnTo>
                    <a:pt x="40" y="26"/>
                  </a:lnTo>
                  <a:lnTo>
                    <a:pt x="38" y="29"/>
                  </a:lnTo>
                  <a:lnTo>
                    <a:pt x="38" y="33"/>
                  </a:lnTo>
                  <a:lnTo>
                    <a:pt x="40" y="39"/>
                  </a:lnTo>
                  <a:lnTo>
                    <a:pt x="37" y="33"/>
                  </a:lnTo>
                  <a:lnTo>
                    <a:pt x="34" y="33"/>
                  </a:lnTo>
                  <a:lnTo>
                    <a:pt x="34" y="36"/>
                  </a:lnTo>
                  <a:lnTo>
                    <a:pt x="32" y="36"/>
                  </a:lnTo>
                  <a:lnTo>
                    <a:pt x="32" y="32"/>
                  </a:lnTo>
                  <a:lnTo>
                    <a:pt x="31" y="30"/>
                  </a:lnTo>
                  <a:lnTo>
                    <a:pt x="27" y="29"/>
                  </a:lnTo>
                  <a:lnTo>
                    <a:pt x="19" y="30"/>
                  </a:lnTo>
                  <a:lnTo>
                    <a:pt x="19" y="33"/>
                  </a:lnTo>
                  <a:lnTo>
                    <a:pt x="18" y="33"/>
                  </a:lnTo>
                  <a:lnTo>
                    <a:pt x="16" y="36"/>
                  </a:lnTo>
                  <a:lnTo>
                    <a:pt x="16" y="36"/>
                  </a:lnTo>
                  <a:lnTo>
                    <a:pt x="19" y="37"/>
                  </a:lnTo>
                  <a:lnTo>
                    <a:pt x="22" y="39"/>
                  </a:lnTo>
                  <a:lnTo>
                    <a:pt x="24" y="42"/>
                  </a:lnTo>
                  <a:lnTo>
                    <a:pt x="22" y="42"/>
                  </a:lnTo>
                  <a:lnTo>
                    <a:pt x="21" y="39"/>
                  </a:lnTo>
                  <a:lnTo>
                    <a:pt x="18" y="40"/>
                  </a:lnTo>
                  <a:lnTo>
                    <a:pt x="15" y="52"/>
                  </a:lnTo>
                  <a:lnTo>
                    <a:pt x="11" y="55"/>
                  </a:lnTo>
                  <a:lnTo>
                    <a:pt x="12" y="56"/>
                  </a:lnTo>
                  <a:lnTo>
                    <a:pt x="16" y="59"/>
                  </a:lnTo>
                  <a:lnTo>
                    <a:pt x="16" y="62"/>
                  </a:lnTo>
                  <a:lnTo>
                    <a:pt x="13" y="65"/>
                  </a:lnTo>
                  <a:lnTo>
                    <a:pt x="12" y="67"/>
                  </a:lnTo>
                  <a:lnTo>
                    <a:pt x="11" y="69"/>
                  </a:lnTo>
                  <a:lnTo>
                    <a:pt x="9" y="72"/>
                  </a:lnTo>
                  <a:lnTo>
                    <a:pt x="8" y="72"/>
                  </a:lnTo>
                  <a:lnTo>
                    <a:pt x="5" y="71"/>
                  </a:lnTo>
                  <a:lnTo>
                    <a:pt x="2" y="71"/>
                  </a:lnTo>
                  <a:lnTo>
                    <a:pt x="2" y="88"/>
                  </a:lnTo>
                  <a:lnTo>
                    <a:pt x="0" y="90"/>
                  </a:lnTo>
                  <a:lnTo>
                    <a:pt x="0" y="91"/>
                  </a:lnTo>
                  <a:lnTo>
                    <a:pt x="2" y="96"/>
                  </a:lnTo>
                  <a:lnTo>
                    <a:pt x="2" y="97"/>
                  </a:lnTo>
                  <a:lnTo>
                    <a:pt x="3" y="100"/>
                  </a:lnTo>
                  <a:lnTo>
                    <a:pt x="3" y="101"/>
                  </a:lnTo>
                  <a:lnTo>
                    <a:pt x="5" y="104"/>
                  </a:lnTo>
                  <a:lnTo>
                    <a:pt x="5" y="106"/>
                  </a:lnTo>
                  <a:lnTo>
                    <a:pt x="2" y="110"/>
                  </a:lnTo>
                  <a:lnTo>
                    <a:pt x="5" y="112"/>
                  </a:lnTo>
                  <a:lnTo>
                    <a:pt x="3" y="113"/>
                  </a:lnTo>
                  <a:lnTo>
                    <a:pt x="3" y="116"/>
                  </a:lnTo>
                  <a:lnTo>
                    <a:pt x="6" y="119"/>
                  </a:lnTo>
                  <a:lnTo>
                    <a:pt x="6" y="123"/>
                  </a:lnTo>
                  <a:lnTo>
                    <a:pt x="5" y="125"/>
                  </a:lnTo>
                  <a:lnTo>
                    <a:pt x="11" y="129"/>
                  </a:lnTo>
                  <a:lnTo>
                    <a:pt x="12" y="132"/>
                  </a:lnTo>
                  <a:lnTo>
                    <a:pt x="31" y="136"/>
                  </a:lnTo>
                  <a:lnTo>
                    <a:pt x="29" y="139"/>
                  </a:lnTo>
                  <a:lnTo>
                    <a:pt x="25" y="145"/>
                  </a:lnTo>
                  <a:lnTo>
                    <a:pt x="24" y="155"/>
                  </a:lnTo>
                  <a:lnTo>
                    <a:pt x="24" y="165"/>
                  </a:lnTo>
                  <a:lnTo>
                    <a:pt x="24" y="165"/>
                  </a:lnTo>
                  <a:lnTo>
                    <a:pt x="25" y="167"/>
                  </a:lnTo>
                  <a:lnTo>
                    <a:pt x="41" y="165"/>
                  </a:lnTo>
                  <a:lnTo>
                    <a:pt x="51" y="168"/>
                  </a:lnTo>
                  <a:lnTo>
                    <a:pt x="54" y="167"/>
                  </a:lnTo>
                  <a:lnTo>
                    <a:pt x="56" y="167"/>
                  </a:lnTo>
                  <a:lnTo>
                    <a:pt x="58" y="168"/>
                  </a:lnTo>
                  <a:lnTo>
                    <a:pt x="60" y="170"/>
                  </a:lnTo>
                  <a:lnTo>
                    <a:pt x="63" y="171"/>
                  </a:lnTo>
                  <a:lnTo>
                    <a:pt x="63" y="170"/>
                  </a:lnTo>
                  <a:lnTo>
                    <a:pt x="64" y="168"/>
                  </a:lnTo>
                  <a:lnTo>
                    <a:pt x="66" y="167"/>
                  </a:lnTo>
                  <a:lnTo>
                    <a:pt x="69" y="167"/>
                  </a:lnTo>
                  <a:lnTo>
                    <a:pt x="73" y="170"/>
                  </a:lnTo>
                  <a:lnTo>
                    <a:pt x="76" y="170"/>
                  </a:lnTo>
                  <a:lnTo>
                    <a:pt x="80" y="165"/>
                  </a:lnTo>
                  <a:lnTo>
                    <a:pt x="89" y="165"/>
                  </a:lnTo>
                  <a:lnTo>
                    <a:pt x="90" y="164"/>
                  </a:lnTo>
                  <a:lnTo>
                    <a:pt x="93" y="164"/>
                  </a:lnTo>
                  <a:lnTo>
                    <a:pt x="98" y="164"/>
                  </a:lnTo>
                  <a:lnTo>
                    <a:pt x="99" y="167"/>
                  </a:lnTo>
                  <a:lnTo>
                    <a:pt x="101" y="165"/>
                  </a:lnTo>
                  <a:lnTo>
                    <a:pt x="101" y="164"/>
                  </a:lnTo>
                  <a:lnTo>
                    <a:pt x="99" y="160"/>
                  </a:lnTo>
                  <a:lnTo>
                    <a:pt x="98" y="155"/>
                  </a:lnTo>
                  <a:lnTo>
                    <a:pt x="99" y="152"/>
                  </a:lnTo>
                  <a:lnTo>
                    <a:pt x="105" y="149"/>
                  </a:lnTo>
                  <a:lnTo>
                    <a:pt x="108" y="145"/>
                  </a:lnTo>
                  <a:lnTo>
                    <a:pt x="112" y="144"/>
                  </a:lnTo>
                  <a:lnTo>
                    <a:pt x="112" y="141"/>
                  </a:lnTo>
                  <a:lnTo>
                    <a:pt x="92" y="122"/>
                  </a:lnTo>
                  <a:lnTo>
                    <a:pt x="92" y="115"/>
                  </a:lnTo>
                  <a:lnTo>
                    <a:pt x="87" y="113"/>
                  </a:lnTo>
                  <a:lnTo>
                    <a:pt x="86" y="110"/>
                  </a:lnTo>
                  <a:lnTo>
                    <a:pt x="86" y="107"/>
                  </a:lnTo>
                  <a:lnTo>
                    <a:pt x="86" y="107"/>
                  </a:lnTo>
                  <a:lnTo>
                    <a:pt x="90" y="110"/>
                  </a:lnTo>
                  <a:lnTo>
                    <a:pt x="90" y="110"/>
                  </a:lnTo>
                  <a:lnTo>
                    <a:pt x="92" y="107"/>
                  </a:lnTo>
                  <a:lnTo>
                    <a:pt x="105" y="101"/>
                  </a:lnTo>
                  <a:lnTo>
                    <a:pt x="106" y="99"/>
                  </a:lnTo>
                  <a:lnTo>
                    <a:pt x="117" y="94"/>
                  </a:lnTo>
                  <a:lnTo>
                    <a:pt x="118" y="88"/>
                  </a:lnTo>
                  <a:lnTo>
                    <a:pt x="121" y="90"/>
                  </a:lnTo>
                  <a:lnTo>
                    <a:pt x="124" y="96"/>
                  </a:lnTo>
                  <a:lnTo>
                    <a:pt x="125" y="96"/>
                  </a:lnTo>
                  <a:lnTo>
                    <a:pt x="128" y="83"/>
                  </a:lnTo>
                  <a:lnTo>
                    <a:pt x="128" y="83"/>
                  </a:lnTo>
                  <a:lnTo>
                    <a:pt x="124" y="77"/>
                  </a:lnTo>
                  <a:lnTo>
                    <a:pt x="121" y="53"/>
                  </a:lnTo>
                  <a:lnTo>
                    <a:pt x="117" y="51"/>
                  </a:lnTo>
                  <a:lnTo>
                    <a:pt x="117" y="48"/>
                  </a:lnTo>
                  <a:lnTo>
                    <a:pt x="119" y="42"/>
                  </a:lnTo>
                  <a:lnTo>
                    <a:pt x="119" y="35"/>
                  </a:lnTo>
                  <a:lnTo>
                    <a:pt x="117" y="27"/>
                  </a:lnTo>
                  <a:lnTo>
                    <a:pt x="111" y="26"/>
                  </a:lnTo>
                  <a:lnTo>
                    <a:pt x="111" y="22"/>
                  </a:lnTo>
                  <a:lnTo>
                    <a:pt x="108" y="19"/>
                  </a:lnTo>
                  <a:lnTo>
                    <a:pt x="106" y="19"/>
                  </a:lnTo>
                  <a:lnTo>
                    <a:pt x="105" y="17"/>
                  </a:lnTo>
                  <a:lnTo>
                    <a:pt x="103" y="17"/>
                  </a:lnTo>
                  <a:lnTo>
                    <a:pt x="103" y="16"/>
                  </a:lnTo>
                  <a:lnTo>
                    <a:pt x="101" y="14"/>
                  </a:lnTo>
                  <a:lnTo>
                    <a:pt x="99" y="13"/>
                  </a:lnTo>
                  <a:lnTo>
                    <a:pt x="93" y="14"/>
                  </a:lnTo>
                  <a:lnTo>
                    <a:pt x="92" y="16"/>
                  </a:lnTo>
                  <a:lnTo>
                    <a:pt x="92" y="14"/>
                  </a:lnTo>
                  <a:lnTo>
                    <a:pt x="96" y="11"/>
                  </a:lnTo>
                  <a:lnTo>
                    <a:pt x="95" y="10"/>
                  </a:lnTo>
                  <a:lnTo>
                    <a:pt x="92" y="11"/>
                  </a:lnTo>
                  <a:lnTo>
                    <a:pt x="89" y="16"/>
                  </a:lnTo>
                  <a:lnTo>
                    <a:pt x="87" y="17"/>
                  </a:lnTo>
                  <a:lnTo>
                    <a:pt x="86" y="19"/>
                  </a:lnTo>
                  <a:lnTo>
                    <a:pt x="86" y="17"/>
                  </a:lnTo>
                  <a:lnTo>
                    <a:pt x="82" y="19"/>
                  </a:lnTo>
                  <a:lnTo>
                    <a:pt x="77" y="22"/>
                  </a:lnTo>
                  <a:lnTo>
                    <a:pt x="79" y="23"/>
                  </a:lnTo>
                  <a:lnTo>
                    <a:pt x="76" y="23"/>
                  </a:lnTo>
                  <a:lnTo>
                    <a:pt x="73" y="22"/>
                  </a:lnTo>
                  <a:lnTo>
                    <a:pt x="70" y="24"/>
                  </a:lnTo>
                  <a:lnTo>
                    <a:pt x="69" y="2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73" name="Freeform 1463"/>
            <p:cNvSpPr>
              <a:spLocks/>
            </p:cNvSpPr>
            <p:nvPr/>
          </p:nvSpPr>
          <p:spPr bwMode="auto">
            <a:xfrm>
              <a:off x="6195338" y="2301059"/>
              <a:ext cx="117625" cy="178488"/>
            </a:xfrm>
            <a:custGeom>
              <a:avLst/>
              <a:gdLst/>
              <a:ahLst/>
              <a:cxnLst>
                <a:cxn ang="0">
                  <a:pos x="69" y="19"/>
                </a:cxn>
                <a:cxn ang="0">
                  <a:pos x="72" y="13"/>
                </a:cxn>
                <a:cxn ang="0">
                  <a:pos x="64" y="13"/>
                </a:cxn>
                <a:cxn ang="0">
                  <a:pos x="58" y="13"/>
                </a:cxn>
                <a:cxn ang="0">
                  <a:pos x="56" y="10"/>
                </a:cxn>
                <a:cxn ang="0">
                  <a:pos x="56" y="3"/>
                </a:cxn>
                <a:cxn ang="0">
                  <a:pos x="50" y="0"/>
                </a:cxn>
                <a:cxn ang="0">
                  <a:pos x="40" y="0"/>
                </a:cxn>
                <a:cxn ang="0">
                  <a:pos x="41" y="11"/>
                </a:cxn>
                <a:cxn ang="0">
                  <a:pos x="41" y="14"/>
                </a:cxn>
                <a:cxn ang="0">
                  <a:pos x="42" y="19"/>
                </a:cxn>
                <a:cxn ang="0">
                  <a:pos x="42" y="20"/>
                </a:cxn>
                <a:cxn ang="0">
                  <a:pos x="45" y="26"/>
                </a:cxn>
                <a:cxn ang="0">
                  <a:pos x="38" y="33"/>
                </a:cxn>
                <a:cxn ang="0">
                  <a:pos x="34" y="33"/>
                </a:cxn>
                <a:cxn ang="0">
                  <a:pos x="32" y="32"/>
                </a:cxn>
                <a:cxn ang="0">
                  <a:pos x="19" y="30"/>
                </a:cxn>
                <a:cxn ang="0">
                  <a:pos x="16" y="36"/>
                </a:cxn>
                <a:cxn ang="0">
                  <a:pos x="22" y="39"/>
                </a:cxn>
                <a:cxn ang="0">
                  <a:pos x="21" y="39"/>
                </a:cxn>
                <a:cxn ang="0">
                  <a:pos x="11" y="55"/>
                </a:cxn>
                <a:cxn ang="0">
                  <a:pos x="16" y="62"/>
                </a:cxn>
                <a:cxn ang="0">
                  <a:pos x="11" y="69"/>
                </a:cxn>
                <a:cxn ang="0">
                  <a:pos x="5" y="71"/>
                </a:cxn>
                <a:cxn ang="0">
                  <a:pos x="0" y="90"/>
                </a:cxn>
                <a:cxn ang="0">
                  <a:pos x="2" y="97"/>
                </a:cxn>
                <a:cxn ang="0">
                  <a:pos x="5" y="104"/>
                </a:cxn>
                <a:cxn ang="0">
                  <a:pos x="5" y="112"/>
                </a:cxn>
                <a:cxn ang="0">
                  <a:pos x="6" y="119"/>
                </a:cxn>
                <a:cxn ang="0">
                  <a:pos x="11" y="129"/>
                </a:cxn>
                <a:cxn ang="0">
                  <a:pos x="29" y="139"/>
                </a:cxn>
                <a:cxn ang="0">
                  <a:pos x="24" y="165"/>
                </a:cxn>
                <a:cxn ang="0">
                  <a:pos x="41" y="165"/>
                </a:cxn>
                <a:cxn ang="0">
                  <a:pos x="56" y="167"/>
                </a:cxn>
                <a:cxn ang="0">
                  <a:pos x="63" y="171"/>
                </a:cxn>
                <a:cxn ang="0">
                  <a:pos x="66" y="167"/>
                </a:cxn>
                <a:cxn ang="0">
                  <a:pos x="76" y="170"/>
                </a:cxn>
                <a:cxn ang="0">
                  <a:pos x="90" y="164"/>
                </a:cxn>
                <a:cxn ang="0">
                  <a:pos x="99" y="167"/>
                </a:cxn>
                <a:cxn ang="0">
                  <a:pos x="99" y="160"/>
                </a:cxn>
                <a:cxn ang="0">
                  <a:pos x="105" y="149"/>
                </a:cxn>
                <a:cxn ang="0">
                  <a:pos x="112" y="141"/>
                </a:cxn>
                <a:cxn ang="0">
                  <a:pos x="87" y="113"/>
                </a:cxn>
                <a:cxn ang="0">
                  <a:pos x="86" y="107"/>
                </a:cxn>
                <a:cxn ang="0">
                  <a:pos x="92" y="107"/>
                </a:cxn>
                <a:cxn ang="0">
                  <a:pos x="117" y="94"/>
                </a:cxn>
                <a:cxn ang="0">
                  <a:pos x="124" y="96"/>
                </a:cxn>
                <a:cxn ang="0">
                  <a:pos x="128" y="83"/>
                </a:cxn>
                <a:cxn ang="0">
                  <a:pos x="117" y="51"/>
                </a:cxn>
                <a:cxn ang="0">
                  <a:pos x="119" y="35"/>
                </a:cxn>
                <a:cxn ang="0">
                  <a:pos x="111" y="22"/>
                </a:cxn>
                <a:cxn ang="0">
                  <a:pos x="105" y="17"/>
                </a:cxn>
                <a:cxn ang="0">
                  <a:pos x="101" y="14"/>
                </a:cxn>
                <a:cxn ang="0">
                  <a:pos x="92" y="16"/>
                </a:cxn>
                <a:cxn ang="0">
                  <a:pos x="95" y="10"/>
                </a:cxn>
                <a:cxn ang="0">
                  <a:pos x="87" y="17"/>
                </a:cxn>
                <a:cxn ang="0">
                  <a:pos x="82" y="19"/>
                </a:cxn>
                <a:cxn ang="0">
                  <a:pos x="76" y="23"/>
                </a:cxn>
                <a:cxn ang="0">
                  <a:pos x="69" y="23"/>
                </a:cxn>
              </a:cxnLst>
              <a:rect l="0" t="0" r="r" b="b"/>
              <a:pathLst>
                <a:path w="128" h="171">
                  <a:moveTo>
                    <a:pt x="69" y="23"/>
                  </a:moveTo>
                  <a:lnTo>
                    <a:pt x="69" y="22"/>
                  </a:lnTo>
                  <a:lnTo>
                    <a:pt x="69" y="19"/>
                  </a:lnTo>
                  <a:lnTo>
                    <a:pt x="73" y="16"/>
                  </a:lnTo>
                  <a:lnTo>
                    <a:pt x="73" y="14"/>
                  </a:lnTo>
                  <a:lnTo>
                    <a:pt x="72" y="13"/>
                  </a:lnTo>
                  <a:lnTo>
                    <a:pt x="67" y="14"/>
                  </a:lnTo>
                  <a:lnTo>
                    <a:pt x="66" y="14"/>
                  </a:lnTo>
                  <a:lnTo>
                    <a:pt x="64" y="13"/>
                  </a:lnTo>
                  <a:lnTo>
                    <a:pt x="61" y="11"/>
                  </a:lnTo>
                  <a:lnTo>
                    <a:pt x="60" y="13"/>
                  </a:lnTo>
                  <a:lnTo>
                    <a:pt x="58" y="13"/>
                  </a:lnTo>
                  <a:lnTo>
                    <a:pt x="58" y="11"/>
                  </a:lnTo>
                  <a:lnTo>
                    <a:pt x="57" y="11"/>
                  </a:lnTo>
                  <a:lnTo>
                    <a:pt x="56" y="10"/>
                  </a:lnTo>
                  <a:lnTo>
                    <a:pt x="57" y="8"/>
                  </a:lnTo>
                  <a:lnTo>
                    <a:pt x="57" y="6"/>
                  </a:lnTo>
                  <a:lnTo>
                    <a:pt x="56" y="3"/>
                  </a:lnTo>
                  <a:lnTo>
                    <a:pt x="51" y="1"/>
                  </a:lnTo>
                  <a:lnTo>
                    <a:pt x="50" y="1"/>
                  </a:lnTo>
                  <a:lnTo>
                    <a:pt x="50" y="0"/>
                  </a:lnTo>
                  <a:lnTo>
                    <a:pt x="48" y="1"/>
                  </a:lnTo>
                  <a:lnTo>
                    <a:pt x="42" y="0"/>
                  </a:lnTo>
                  <a:lnTo>
                    <a:pt x="40" y="0"/>
                  </a:lnTo>
                  <a:lnTo>
                    <a:pt x="40" y="3"/>
                  </a:lnTo>
                  <a:lnTo>
                    <a:pt x="44" y="10"/>
                  </a:lnTo>
                  <a:lnTo>
                    <a:pt x="41" y="11"/>
                  </a:lnTo>
                  <a:lnTo>
                    <a:pt x="41" y="13"/>
                  </a:lnTo>
                  <a:lnTo>
                    <a:pt x="40" y="14"/>
                  </a:lnTo>
                  <a:lnTo>
                    <a:pt x="41" y="14"/>
                  </a:lnTo>
                  <a:lnTo>
                    <a:pt x="42" y="14"/>
                  </a:lnTo>
                  <a:lnTo>
                    <a:pt x="41" y="17"/>
                  </a:lnTo>
                  <a:lnTo>
                    <a:pt x="42" y="19"/>
                  </a:lnTo>
                  <a:lnTo>
                    <a:pt x="44" y="19"/>
                  </a:lnTo>
                  <a:lnTo>
                    <a:pt x="44" y="20"/>
                  </a:lnTo>
                  <a:lnTo>
                    <a:pt x="42" y="20"/>
                  </a:lnTo>
                  <a:lnTo>
                    <a:pt x="42" y="23"/>
                  </a:lnTo>
                  <a:lnTo>
                    <a:pt x="45" y="24"/>
                  </a:lnTo>
                  <a:lnTo>
                    <a:pt x="45" y="26"/>
                  </a:lnTo>
                  <a:lnTo>
                    <a:pt x="40" y="26"/>
                  </a:lnTo>
                  <a:lnTo>
                    <a:pt x="38" y="29"/>
                  </a:lnTo>
                  <a:lnTo>
                    <a:pt x="38" y="33"/>
                  </a:lnTo>
                  <a:lnTo>
                    <a:pt x="40" y="39"/>
                  </a:lnTo>
                  <a:lnTo>
                    <a:pt x="37" y="33"/>
                  </a:lnTo>
                  <a:lnTo>
                    <a:pt x="34" y="33"/>
                  </a:lnTo>
                  <a:lnTo>
                    <a:pt x="34" y="36"/>
                  </a:lnTo>
                  <a:lnTo>
                    <a:pt x="32" y="36"/>
                  </a:lnTo>
                  <a:lnTo>
                    <a:pt x="32" y="32"/>
                  </a:lnTo>
                  <a:lnTo>
                    <a:pt x="31" y="30"/>
                  </a:lnTo>
                  <a:lnTo>
                    <a:pt x="27" y="29"/>
                  </a:lnTo>
                  <a:lnTo>
                    <a:pt x="19" y="30"/>
                  </a:lnTo>
                  <a:lnTo>
                    <a:pt x="19" y="33"/>
                  </a:lnTo>
                  <a:lnTo>
                    <a:pt x="18" y="33"/>
                  </a:lnTo>
                  <a:lnTo>
                    <a:pt x="16" y="36"/>
                  </a:lnTo>
                  <a:lnTo>
                    <a:pt x="16" y="36"/>
                  </a:lnTo>
                  <a:lnTo>
                    <a:pt x="19" y="37"/>
                  </a:lnTo>
                  <a:lnTo>
                    <a:pt x="22" y="39"/>
                  </a:lnTo>
                  <a:lnTo>
                    <a:pt x="24" y="42"/>
                  </a:lnTo>
                  <a:lnTo>
                    <a:pt x="22" y="42"/>
                  </a:lnTo>
                  <a:lnTo>
                    <a:pt x="21" y="39"/>
                  </a:lnTo>
                  <a:lnTo>
                    <a:pt x="18" y="40"/>
                  </a:lnTo>
                  <a:lnTo>
                    <a:pt x="15" y="52"/>
                  </a:lnTo>
                  <a:lnTo>
                    <a:pt x="11" y="55"/>
                  </a:lnTo>
                  <a:lnTo>
                    <a:pt x="12" y="56"/>
                  </a:lnTo>
                  <a:lnTo>
                    <a:pt x="16" y="59"/>
                  </a:lnTo>
                  <a:lnTo>
                    <a:pt x="16" y="62"/>
                  </a:lnTo>
                  <a:lnTo>
                    <a:pt x="13" y="65"/>
                  </a:lnTo>
                  <a:lnTo>
                    <a:pt x="12" y="67"/>
                  </a:lnTo>
                  <a:lnTo>
                    <a:pt x="11" y="69"/>
                  </a:lnTo>
                  <a:lnTo>
                    <a:pt x="9" y="72"/>
                  </a:lnTo>
                  <a:lnTo>
                    <a:pt x="8" y="72"/>
                  </a:lnTo>
                  <a:lnTo>
                    <a:pt x="5" y="71"/>
                  </a:lnTo>
                  <a:lnTo>
                    <a:pt x="2" y="71"/>
                  </a:lnTo>
                  <a:lnTo>
                    <a:pt x="2" y="88"/>
                  </a:lnTo>
                  <a:lnTo>
                    <a:pt x="0" y="90"/>
                  </a:lnTo>
                  <a:lnTo>
                    <a:pt x="0" y="91"/>
                  </a:lnTo>
                  <a:lnTo>
                    <a:pt x="2" y="96"/>
                  </a:lnTo>
                  <a:lnTo>
                    <a:pt x="2" y="97"/>
                  </a:lnTo>
                  <a:lnTo>
                    <a:pt x="3" y="100"/>
                  </a:lnTo>
                  <a:lnTo>
                    <a:pt x="3" y="101"/>
                  </a:lnTo>
                  <a:lnTo>
                    <a:pt x="5" y="104"/>
                  </a:lnTo>
                  <a:lnTo>
                    <a:pt x="5" y="106"/>
                  </a:lnTo>
                  <a:lnTo>
                    <a:pt x="2" y="110"/>
                  </a:lnTo>
                  <a:lnTo>
                    <a:pt x="5" y="112"/>
                  </a:lnTo>
                  <a:lnTo>
                    <a:pt x="3" y="113"/>
                  </a:lnTo>
                  <a:lnTo>
                    <a:pt x="3" y="116"/>
                  </a:lnTo>
                  <a:lnTo>
                    <a:pt x="6" y="119"/>
                  </a:lnTo>
                  <a:lnTo>
                    <a:pt x="6" y="123"/>
                  </a:lnTo>
                  <a:lnTo>
                    <a:pt x="5" y="125"/>
                  </a:lnTo>
                  <a:lnTo>
                    <a:pt x="11" y="129"/>
                  </a:lnTo>
                  <a:lnTo>
                    <a:pt x="12" y="132"/>
                  </a:lnTo>
                  <a:lnTo>
                    <a:pt x="31" y="136"/>
                  </a:lnTo>
                  <a:lnTo>
                    <a:pt x="29" y="139"/>
                  </a:lnTo>
                  <a:lnTo>
                    <a:pt x="25" y="145"/>
                  </a:lnTo>
                  <a:lnTo>
                    <a:pt x="24" y="155"/>
                  </a:lnTo>
                  <a:lnTo>
                    <a:pt x="24" y="165"/>
                  </a:lnTo>
                  <a:lnTo>
                    <a:pt x="24" y="165"/>
                  </a:lnTo>
                  <a:lnTo>
                    <a:pt x="25" y="167"/>
                  </a:lnTo>
                  <a:lnTo>
                    <a:pt x="41" y="165"/>
                  </a:lnTo>
                  <a:lnTo>
                    <a:pt x="51" y="168"/>
                  </a:lnTo>
                  <a:lnTo>
                    <a:pt x="54" y="167"/>
                  </a:lnTo>
                  <a:lnTo>
                    <a:pt x="56" y="167"/>
                  </a:lnTo>
                  <a:lnTo>
                    <a:pt x="58" y="168"/>
                  </a:lnTo>
                  <a:lnTo>
                    <a:pt x="60" y="170"/>
                  </a:lnTo>
                  <a:lnTo>
                    <a:pt x="63" y="171"/>
                  </a:lnTo>
                  <a:lnTo>
                    <a:pt x="63" y="170"/>
                  </a:lnTo>
                  <a:lnTo>
                    <a:pt x="64" y="168"/>
                  </a:lnTo>
                  <a:lnTo>
                    <a:pt x="66" y="167"/>
                  </a:lnTo>
                  <a:lnTo>
                    <a:pt x="69" y="167"/>
                  </a:lnTo>
                  <a:lnTo>
                    <a:pt x="73" y="170"/>
                  </a:lnTo>
                  <a:lnTo>
                    <a:pt x="76" y="170"/>
                  </a:lnTo>
                  <a:lnTo>
                    <a:pt x="80" y="165"/>
                  </a:lnTo>
                  <a:lnTo>
                    <a:pt x="89" y="165"/>
                  </a:lnTo>
                  <a:lnTo>
                    <a:pt x="90" y="164"/>
                  </a:lnTo>
                  <a:lnTo>
                    <a:pt x="93" y="164"/>
                  </a:lnTo>
                  <a:lnTo>
                    <a:pt x="98" y="164"/>
                  </a:lnTo>
                  <a:lnTo>
                    <a:pt x="99" y="167"/>
                  </a:lnTo>
                  <a:lnTo>
                    <a:pt x="101" y="165"/>
                  </a:lnTo>
                  <a:lnTo>
                    <a:pt x="101" y="164"/>
                  </a:lnTo>
                  <a:lnTo>
                    <a:pt x="99" y="160"/>
                  </a:lnTo>
                  <a:lnTo>
                    <a:pt x="98" y="155"/>
                  </a:lnTo>
                  <a:lnTo>
                    <a:pt x="99" y="152"/>
                  </a:lnTo>
                  <a:lnTo>
                    <a:pt x="105" y="149"/>
                  </a:lnTo>
                  <a:lnTo>
                    <a:pt x="108" y="145"/>
                  </a:lnTo>
                  <a:lnTo>
                    <a:pt x="112" y="144"/>
                  </a:lnTo>
                  <a:lnTo>
                    <a:pt x="112" y="141"/>
                  </a:lnTo>
                  <a:lnTo>
                    <a:pt x="92" y="122"/>
                  </a:lnTo>
                  <a:lnTo>
                    <a:pt x="92" y="115"/>
                  </a:lnTo>
                  <a:lnTo>
                    <a:pt x="87" y="113"/>
                  </a:lnTo>
                  <a:lnTo>
                    <a:pt x="86" y="110"/>
                  </a:lnTo>
                  <a:lnTo>
                    <a:pt x="86" y="107"/>
                  </a:lnTo>
                  <a:lnTo>
                    <a:pt x="86" y="107"/>
                  </a:lnTo>
                  <a:lnTo>
                    <a:pt x="90" y="110"/>
                  </a:lnTo>
                  <a:lnTo>
                    <a:pt x="90" y="110"/>
                  </a:lnTo>
                  <a:lnTo>
                    <a:pt x="92" y="107"/>
                  </a:lnTo>
                  <a:lnTo>
                    <a:pt x="105" y="101"/>
                  </a:lnTo>
                  <a:lnTo>
                    <a:pt x="106" y="99"/>
                  </a:lnTo>
                  <a:lnTo>
                    <a:pt x="117" y="94"/>
                  </a:lnTo>
                  <a:lnTo>
                    <a:pt x="118" y="88"/>
                  </a:lnTo>
                  <a:lnTo>
                    <a:pt x="121" y="90"/>
                  </a:lnTo>
                  <a:lnTo>
                    <a:pt x="124" y="96"/>
                  </a:lnTo>
                  <a:lnTo>
                    <a:pt x="125" y="96"/>
                  </a:lnTo>
                  <a:lnTo>
                    <a:pt x="128" y="83"/>
                  </a:lnTo>
                  <a:lnTo>
                    <a:pt x="128" y="83"/>
                  </a:lnTo>
                  <a:lnTo>
                    <a:pt x="124" y="77"/>
                  </a:lnTo>
                  <a:lnTo>
                    <a:pt x="121" y="53"/>
                  </a:lnTo>
                  <a:lnTo>
                    <a:pt x="117" y="51"/>
                  </a:lnTo>
                  <a:lnTo>
                    <a:pt x="117" y="48"/>
                  </a:lnTo>
                  <a:lnTo>
                    <a:pt x="119" y="42"/>
                  </a:lnTo>
                  <a:lnTo>
                    <a:pt x="119" y="35"/>
                  </a:lnTo>
                  <a:lnTo>
                    <a:pt x="117" y="27"/>
                  </a:lnTo>
                  <a:lnTo>
                    <a:pt x="111" y="26"/>
                  </a:lnTo>
                  <a:lnTo>
                    <a:pt x="111" y="22"/>
                  </a:lnTo>
                  <a:lnTo>
                    <a:pt x="108" y="19"/>
                  </a:lnTo>
                  <a:lnTo>
                    <a:pt x="106" y="19"/>
                  </a:lnTo>
                  <a:lnTo>
                    <a:pt x="105" y="17"/>
                  </a:lnTo>
                  <a:lnTo>
                    <a:pt x="103" y="17"/>
                  </a:lnTo>
                  <a:lnTo>
                    <a:pt x="103" y="16"/>
                  </a:lnTo>
                  <a:lnTo>
                    <a:pt x="101" y="14"/>
                  </a:lnTo>
                  <a:lnTo>
                    <a:pt x="99" y="13"/>
                  </a:lnTo>
                  <a:lnTo>
                    <a:pt x="93" y="14"/>
                  </a:lnTo>
                  <a:lnTo>
                    <a:pt x="92" y="16"/>
                  </a:lnTo>
                  <a:lnTo>
                    <a:pt x="92" y="14"/>
                  </a:lnTo>
                  <a:lnTo>
                    <a:pt x="96" y="11"/>
                  </a:lnTo>
                  <a:lnTo>
                    <a:pt x="95" y="10"/>
                  </a:lnTo>
                  <a:lnTo>
                    <a:pt x="92" y="11"/>
                  </a:lnTo>
                  <a:lnTo>
                    <a:pt x="89" y="16"/>
                  </a:lnTo>
                  <a:lnTo>
                    <a:pt x="87" y="17"/>
                  </a:lnTo>
                  <a:lnTo>
                    <a:pt x="86" y="19"/>
                  </a:lnTo>
                  <a:lnTo>
                    <a:pt x="86" y="17"/>
                  </a:lnTo>
                  <a:lnTo>
                    <a:pt x="82" y="19"/>
                  </a:lnTo>
                  <a:lnTo>
                    <a:pt x="77" y="22"/>
                  </a:lnTo>
                  <a:lnTo>
                    <a:pt x="79" y="23"/>
                  </a:lnTo>
                  <a:lnTo>
                    <a:pt x="76" y="23"/>
                  </a:lnTo>
                  <a:lnTo>
                    <a:pt x="73" y="22"/>
                  </a:lnTo>
                  <a:lnTo>
                    <a:pt x="70" y="24"/>
                  </a:lnTo>
                  <a:lnTo>
                    <a:pt x="69" y="23"/>
                  </a:lnTo>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74" name="Freeform 1464"/>
            <p:cNvSpPr>
              <a:spLocks/>
            </p:cNvSpPr>
            <p:nvPr/>
          </p:nvSpPr>
          <p:spPr bwMode="auto">
            <a:xfrm>
              <a:off x="6289263" y="2307143"/>
              <a:ext cx="6145" cy="11155"/>
            </a:xfrm>
            <a:custGeom>
              <a:avLst/>
              <a:gdLst/>
              <a:ahLst/>
              <a:cxnLst>
                <a:cxn ang="0">
                  <a:pos x="7" y="5"/>
                </a:cxn>
                <a:cxn ang="0">
                  <a:pos x="7" y="7"/>
                </a:cxn>
                <a:cxn ang="0">
                  <a:pos x="7" y="8"/>
                </a:cxn>
                <a:cxn ang="0">
                  <a:pos x="7" y="8"/>
                </a:cxn>
                <a:cxn ang="0">
                  <a:pos x="6" y="8"/>
                </a:cxn>
                <a:cxn ang="0">
                  <a:pos x="4" y="8"/>
                </a:cxn>
                <a:cxn ang="0">
                  <a:pos x="4" y="10"/>
                </a:cxn>
                <a:cxn ang="0">
                  <a:pos x="1" y="8"/>
                </a:cxn>
                <a:cxn ang="0">
                  <a:pos x="0" y="7"/>
                </a:cxn>
                <a:cxn ang="0">
                  <a:pos x="0" y="7"/>
                </a:cxn>
                <a:cxn ang="0">
                  <a:pos x="1" y="5"/>
                </a:cxn>
                <a:cxn ang="0">
                  <a:pos x="0" y="2"/>
                </a:cxn>
                <a:cxn ang="0">
                  <a:pos x="1" y="2"/>
                </a:cxn>
                <a:cxn ang="0">
                  <a:pos x="4" y="4"/>
                </a:cxn>
                <a:cxn ang="0">
                  <a:pos x="4" y="2"/>
                </a:cxn>
                <a:cxn ang="0">
                  <a:pos x="3" y="2"/>
                </a:cxn>
                <a:cxn ang="0">
                  <a:pos x="1" y="1"/>
                </a:cxn>
                <a:cxn ang="0">
                  <a:pos x="3" y="0"/>
                </a:cxn>
                <a:cxn ang="0">
                  <a:pos x="4" y="0"/>
                </a:cxn>
                <a:cxn ang="0">
                  <a:pos x="4" y="1"/>
                </a:cxn>
                <a:cxn ang="0">
                  <a:pos x="6" y="1"/>
                </a:cxn>
                <a:cxn ang="0">
                  <a:pos x="7" y="2"/>
                </a:cxn>
                <a:cxn ang="0">
                  <a:pos x="7" y="5"/>
                </a:cxn>
              </a:cxnLst>
              <a:rect l="0" t="0" r="r" b="b"/>
              <a:pathLst>
                <a:path w="7" h="10">
                  <a:moveTo>
                    <a:pt x="7" y="5"/>
                  </a:moveTo>
                  <a:lnTo>
                    <a:pt x="7" y="7"/>
                  </a:lnTo>
                  <a:lnTo>
                    <a:pt x="7" y="8"/>
                  </a:lnTo>
                  <a:lnTo>
                    <a:pt x="7" y="8"/>
                  </a:lnTo>
                  <a:lnTo>
                    <a:pt x="6" y="8"/>
                  </a:lnTo>
                  <a:lnTo>
                    <a:pt x="4" y="8"/>
                  </a:lnTo>
                  <a:lnTo>
                    <a:pt x="4" y="10"/>
                  </a:lnTo>
                  <a:lnTo>
                    <a:pt x="1" y="8"/>
                  </a:lnTo>
                  <a:lnTo>
                    <a:pt x="0" y="7"/>
                  </a:lnTo>
                  <a:lnTo>
                    <a:pt x="0" y="7"/>
                  </a:lnTo>
                  <a:lnTo>
                    <a:pt x="1" y="5"/>
                  </a:lnTo>
                  <a:lnTo>
                    <a:pt x="0" y="2"/>
                  </a:lnTo>
                  <a:lnTo>
                    <a:pt x="1" y="2"/>
                  </a:lnTo>
                  <a:lnTo>
                    <a:pt x="4" y="4"/>
                  </a:lnTo>
                  <a:lnTo>
                    <a:pt x="4" y="2"/>
                  </a:lnTo>
                  <a:lnTo>
                    <a:pt x="3" y="2"/>
                  </a:lnTo>
                  <a:lnTo>
                    <a:pt x="1" y="1"/>
                  </a:lnTo>
                  <a:lnTo>
                    <a:pt x="3" y="0"/>
                  </a:lnTo>
                  <a:lnTo>
                    <a:pt x="4" y="0"/>
                  </a:lnTo>
                  <a:lnTo>
                    <a:pt x="4" y="1"/>
                  </a:lnTo>
                  <a:lnTo>
                    <a:pt x="6" y="1"/>
                  </a:lnTo>
                  <a:lnTo>
                    <a:pt x="7" y="2"/>
                  </a:lnTo>
                  <a:lnTo>
                    <a:pt x="7" y="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75" name="Freeform 1465"/>
            <p:cNvSpPr>
              <a:spLocks/>
            </p:cNvSpPr>
            <p:nvPr/>
          </p:nvSpPr>
          <p:spPr bwMode="auto">
            <a:xfrm>
              <a:off x="6289263" y="2307143"/>
              <a:ext cx="6145" cy="11155"/>
            </a:xfrm>
            <a:custGeom>
              <a:avLst/>
              <a:gdLst/>
              <a:ahLst/>
              <a:cxnLst>
                <a:cxn ang="0">
                  <a:pos x="7" y="5"/>
                </a:cxn>
                <a:cxn ang="0">
                  <a:pos x="7" y="7"/>
                </a:cxn>
                <a:cxn ang="0">
                  <a:pos x="7" y="8"/>
                </a:cxn>
                <a:cxn ang="0">
                  <a:pos x="7" y="8"/>
                </a:cxn>
                <a:cxn ang="0">
                  <a:pos x="6" y="8"/>
                </a:cxn>
                <a:cxn ang="0">
                  <a:pos x="4" y="8"/>
                </a:cxn>
                <a:cxn ang="0">
                  <a:pos x="4" y="10"/>
                </a:cxn>
                <a:cxn ang="0">
                  <a:pos x="1" y="8"/>
                </a:cxn>
                <a:cxn ang="0">
                  <a:pos x="0" y="7"/>
                </a:cxn>
                <a:cxn ang="0">
                  <a:pos x="0" y="7"/>
                </a:cxn>
                <a:cxn ang="0">
                  <a:pos x="1" y="5"/>
                </a:cxn>
                <a:cxn ang="0">
                  <a:pos x="0" y="2"/>
                </a:cxn>
                <a:cxn ang="0">
                  <a:pos x="1" y="2"/>
                </a:cxn>
                <a:cxn ang="0">
                  <a:pos x="4" y="4"/>
                </a:cxn>
                <a:cxn ang="0">
                  <a:pos x="4" y="2"/>
                </a:cxn>
                <a:cxn ang="0">
                  <a:pos x="3" y="2"/>
                </a:cxn>
                <a:cxn ang="0">
                  <a:pos x="1" y="1"/>
                </a:cxn>
                <a:cxn ang="0">
                  <a:pos x="3" y="0"/>
                </a:cxn>
                <a:cxn ang="0">
                  <a:pos x="4" y="0"/>
                </a:cxn>
                <a:cxn ang="0">
                  <a:pos x="4" y="1"/>
                </a:cxn>
                <a:cxn ang="0">
                  <a:pos x="6" y="1"/>
                </a:cxn>
                <a:cxn ang="0">
                  <a:pos x="7" y="2"/>
                </a:cxn>
                <a:cxn ang="0">
                  <a:pos x="7" y="5"/>
                </a:cxn>
              </a:cxnLst>
              <a:rect l="0" t="0" r="r" b="b"/>
              <a:pathLst>
                <a:path w="7" h="10">
                  <a:moveTo>
                    <a:pt x="7" y="5"/>
                  </a:moveTo>
                  <a:lnTo>
                    <a:pt x="7" y="7"/>
                  </a:lnTo>
                  <a:lnTo>
                    <a:pt x="7" y="8"/>
                  </a:lnTo>
                  <a:lnTo>
                    <a:pt x="7" y="8"/>
                  </a:lnTo>
                  <a:lnTo>
                    <a:pt x="6" y="8"/>
                  </a:lnTo>
                  <a:lnTo>
                    <a:pt x="4" y="8"/>
                  </a:lnTo>
                  <a:lnTo>
                    <a:pt x="4" y="10"/>
                  </a:lnTo>
                  <a:lnTo>
                    <a:pt x="1" y="8"/>
                  </a:lnTo>
                  <a:lnTo>
                    <a:pt x="0" y="7"/>
                  </a:lnTo>
                  <a:lnTo>
                    <a:pt x="0" y="7"/>
                  </a:lnTo>
                  <a:lnTo>
                    <a:pt x="1" y="5"/>
                  </a:lnTo>
                  <a:lnTo>
                    <a:pt x="0" y="2"/>
                  </a:lnTo>
                  <a:lnTo>
                    <a:pt x="1" y="2"/>
                  </a:lnTo>
                  <a:lnTo>
                    <a:pt x="4" y="4"/>
                  </a:lnTo>
                  <a:lnTo>
                    <a:pt x="4" y="2"/>
                  </a:lnTo>
                  <a:lnTo>
                    <a:pt x="3" y="2"/>
                  </a:lnTo>
                  <a:lnTo>
                    <a:pt x="1" y="1"/>
                  </a:lnTo>
                  <a:lnTo>
                    <a:pt x="3" y="0"/>
                  </a:lnTo>
                  <a:lnTo>
                    <a:pt x="4" y="0"/>
                  </a:lnTo>
                  <a:lnTo>
                    <a:pt x="4" y="1"/>
                  </a:lnTo>
                  <a:lnTo>
                    <a:pt x="6" y="1"/>
                  </a:lnTo>
                  <a:lnTo>
                    <a:pt x="7" y="2"/>
                  </a:lnTo>
                  <a:lnTo>
                    <a:pt x="7" y="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76" name="Freeform 1466"/>
            <p:cNvSpPr>
              <a:spLocks/>
            </p:cNvSpPr>
            <p:nvPr/>
          </p:nvSpPr>
          <p:spPr bwMode="auto">
            <a:xfrm>
              <a:off x="5299103" y="3013994"/>
              <a:ext cx="878" cy="3043"/>
            </a:xfrm>
            <a:custGeom>
              <a:avLst/>
              <a:gdLst/>
              <a:ahLst/>
              <a:cxnLst>
                <a:cxn ang="0">
                  <a:pos x="1" y="0"/>
                </a:cxn>
                <a:cxn ang="0">
                  <a:pos x="0" y="0"/>
                </a:cxn>
                <a:cxn ang="0">
                  <a:pos x="0" y="2"/>
                </a:cxn>
                <a:cxn ang="0">
                  <a:pos x="1" y="3"/>
                </a:cxn>
                <a:cxn ang="0">
                  <a:pos x="1" y="3"/>
                </a:cxn>
                <a:cxn ang="0">
                  <a:pos x="1" y="2"/>
                </a:cxn>
                <a:cxn ang="0">
                  <a:pos x="1" y="0"/>
                </a:cxn>
              </a:cxnLst>
              <a:rect l="0" t="0" r="r" b="b"/>
              <a:pathLst>
                <a:path w="1" h="3">
                  <a:moveTo>
                    <a:pt x="1" y="0"/>
                  </a:moveTo>
                  <a:lnTo>
                    <a:pt x="0" y="0"/>
                  </a:lnTo>
                  <a:lnTo>
                    <a:pt x="0" y="2"/>
                  </a:lnTo>
                  <a:lnTo>
                    <a:pt x="1" y="3"/>
                  </a:lnTo>
                  <a:lnTo>
                    <a:pt x="1" y="3"/>
                  </a:lnTo>
                  <a:lnTo>
                    <a:pt x="1" y="2"/>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77" name="Freeform 1467"/>
            <p:cNvSpPr>
              <a:spLocks/>
            </p:cNvSpPr>
            <p:nvPr/>
          </p:nvSpPr>
          <p:spPr bwMode="auto">
            <a:xfrm>
              <a:off x="5299103" y="3013994"/>
              <a:ext cx="878" cy="3043"/>
            </a:xfrm>
            <a:custGeom>
              <a:avLst/>
              <a:gdLst/>
              <a:ahLst/>
              <a:cxnLst>
                <a:cxn ang="0">
                  <a:pos x="1" y="0"/>
                </a:cxn>
                <a:cxn ang="0">
                  <a:pos x="0" y="0"/>
                </a:cxn>
                <a:cxn ang="0">
                  <a:pos x="0" y="2"/>
                </a:cxn>
                <a:cxn ang="0">
                  <a:pos x="1" y="3"/>
                </a:cxn>
                <a:cxn ang="0">
                  <a:pos x="1" y="3"/>
                </a:cxn>
                <a:cxn ang="0">
                  <a:pos x="1" y="2"/>
                </a:cxn>
                <a:cxn ang="0">
                  <a:pos x="1" y="0"/>
                </a:cxn>
              </a:cxnLst>
              <a:rect l="0" t="0" r="r" b="b"/>
              <a:pathLst>
                <a:path w="1" h="3">
                  <a:moveTo>
                    <a:pt x="1" y="0"/>
                  </a:moveTo>
                  <a:lnTo>
                    <a:pt x="0" y="0"/>
                  </a:lnTo>
                  <a:lnTo>
                    <a:pt x="0" y="2"/>
                  </a:lnTo>
                  <a:lnTo>
                    <a:pt x="1" y="3"/>
                  </a:lnTo>
                  <a:lnTo>
                    <a:pt x="1" y="3"/>
                  </a:lnTo>
                  <a:lnTo>
                    <a:pt x="1" y="2"/>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78" name="Freeform 1468"/>
            <p:cNvSpPr>
              <a:spLocks/>
            </p:cNvSpPr>
            <p:nvPr/>
          </p:nvSpPr>
          <p:spPr bwMode="auto">
            <a:xfrm>
              <a:off x="5322804" y="3066728"/>
              <a:ext cx="2633" cy="4057"/>
            </a:xfrm>
            <a:custGeom>
              <a:avLst/>
              <a:gdLst/>
              <a:ahLst/>
              <a:cxnLst>
                <a:cxn ang="0">
                  <a:pos x="1" y="0"/>
                </a:cxn>
                <a:cxn ang="0">
                  <a:pos x="0" y="4"/>
                </a:cxn>
                <a:cxn ang="0">
                  <a:pos x="1" y="4"/>
                </a:cxn>
                <a:cxn ang="0">
                  <a:pos x="3" y="3"/>
                </a:cxn>
                <a:cxn ang="0">
                  <a:pos x="3" y="0"/>
                </a:cxn>
                <a:cxn ang="0">
                  <a:pos x="1" y="0"/>
                </a:cxn>
              </a:cxnLst>
              <a:rect l="0" t="0" r="r" b="b"/>
              <a:pathLst>
                <a:path w="3" h="4">
                  <a:moveTo>
                    <a:pt x="1" y="0"/>
                  </a:moveTo>
                  <a:lnTo>
                    <a:pt x="0" y="4"/>
                  </a:lnTo>
                  <a:lnTo>
                    <a:pt x="1" y="4"/>
                  </a:lnTo>
                  <a:lnTo>
                    <a:pt x="3" y="3"/>
                  </a:lnTo>
                  <a:lnTo>
                    <a:pt x="3" y="0"/>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79" name="Freeform 1469"/>
            <p:cNvSpPr>
              <a:spLocks/>
            </p:cNvSpPr>
            <p:nvPr/>
          </p:nvSpPr>
          <p:spPr bwMode="auto">
            <a:xfrm>
              <a:off x="5322804" y="3066728"/>
              <a:ext cx="2633" cy="4057"/>
            </a:xfrm>
            <a:custGeom>
              <a:avLst/>
              <a:gdLst/>
              <a:ahLst/>
              <a:cxnLst>
                <a:cxn ang="0">
                  <a:pos x="1" y="0"/>
                </a:cxn>
                <a:cxn ang="0">
                  <a:pos x="0" y="4"/>
                </a:cxn>
                <a:cxn ang="0">
                  <a:pos x="1" y="4"/>
                </a:cxn>
                <a:cxn ang="0">
                  <a:pos x="3" y="3"/>
                </a:cxn>
                <a:cxn ang="0">
                  <a:pos x="3" y="0"/>
                </a:cxn>
                <a:cxn ang="0">
                  <a:pos x="1" y="0"/>
                </a:cxn>
              </a:cxnLst>
              <a:rect l="0" t="0" r="r" b="b"/>
              <a:pathLst>
                <a:path w="3" h="4">
                  <a:moveTo>
                    <a:pt x="1" y="0"/>
                  </a:moveTo>
                  <a:lnTo>
                    <a:pt x="0" y="4"/>
                  </a:lnTo>
                  <a:lnTo>
                    <a:pt x="1" y="4"/>
                  </a:lnTo>
                  <a:lnTo>
                    <a:pt x="3" y="3"/>
                  </a:lnTo>
                  <a:lnTo>
                    <a:pt x="3" y="0"/>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80" name="Freeform 1470"/>
            <p:cNvSpPr>
              <a:spLocks/>
            </p:cNvSpPr>
            <p:nvPr/>
          </p:nvSpPr>
          <p:spPr bwMode="auto">
            <a:xfrm>
              <a:off x="6277852" y="3196537"/>
              <a:ext cx="249295" cy="274831"/>
            </a:xfrm>
            <a:custGeom>
              <a:avLst/>
              <a:gdLst/>
              <a:ahLst/>
              <a:cxnLst>
                <a:cxn ang="0">
                  <a:pos x="256" y="179"/>
                </a:cxn>
                <a:cxn ang="0">
                  <a:pos x="246" y="167"/>
                </a:cxn>
                <a:cxn ang="0">
                  <a:pos x="244" y="155"/>
                </a:cxn>
                <a:cxn ang="0">
                  <a:pos x="243" y="135"/>
                </a:cxn>
                <a:cxn ang="0">
                  <a:pos x="244" y="116"/>
                </a:cxn>
                <a:cxn ang="0">
                  <a:pos x="249" y="93"/>
                </a:cxn>
                <a:cxn ang="0">
                  <a:pos x="265" y="52"/>
                </a:cxn>
                <a:cxn ang="0">
                  <a:pos x="272" y="45"/>
                </a:cxn>
                <a:cxn ang="0">
                  <a:pos x="269" y="42"/>
                </a:cxn>
                <a:cxn ang="0">
                  <a:pos x="266" y="26"/>
                </a:cxn>
                <a:cxn ang="0">
                  <a:pos x="265" y="23"/>
                </a:cxn>
                <a:cxn ang="0">
                  <a:pos x="243" y="12"/>
                </a:cxn>
                <a:cxn ang="0">
                  <a:pos x="233" y="13"/>
                </a:cxn>
                <a:cxn ang="0">
                  <a:pos x="220" y="4"/>
                </a:cxn>
                <a:cxn ang="0">
                  <a:pos x="209" y="4"/>
                </a:cxn>
                <a:cxn ang="0">
                  <a:pos x="201" y="0"/>
                </a:cxn>
                <a:cxn ang="0">
                  <a:pos x="185" y="4"/>
                </a:cxn>
                <a:cxn ang="0">
                  <a:pos x="178" y="4"/>
                </a:cxn>
                <a:cxn ang="0">
                  <a:pos x="176" y="3"/>
                </a:cxn>
                <a:cxn ang="0">
                  <a:pos x="151" y="6"/>
                </a:cxn>
                <a:cxn ang="0">
                  <a:pos x="146" y="13"/>
                </a:cxn>
                <a:cxn ang="0">
                  <a:pos x="124" y="10"/>
                </a:cxn>
                <a:cxn ang="0">
                  <a:pos x="114" y="7"/>
                </a:cxn>
                <a:cxn ang="0">
                  <a:pos x="103" y="1"/>
                </a:cxn>
                <a:cxn ang="0">
                  <a:pos x="95" y="12"/>
                </a:cxn>
                <a:cxn ang="0">
                  <a:pos x="92" y="22"/>
                </a:cxn>
                <a:cxn ang="0">
                  <a:pos x="79" y="84"/>
                </a:cxn>
                <a:cxn ang="0">
                  <a:pos x="56" y="125"/>
                </a:cxn>
                <a:cxn ang="0">
                  <a:pos x="32" y="144"/>
                </a:cxn>
                <a:cxn ang="0">
                  <a:pos x="29" y="137"/>
                </a:cxn>
                <a:cxn ang="0">
                  <a:pos x="18" y="142"/>
                </a:cxn>
                <a:cxn ang="0">
                  <a:pos x="11" y="141"/>
                </a:cxn>
                <a:cxn ang="0">
                  <a:pos x="2" y="158"/>
                </a:cxn>
                <a:cxn ang="0">
                  <a:pos x="2" y="164"/>
                </a:cxn>
                <a:cxn ang="0">
                  <a:pos x="31" y="157"/>
                </a:cxn>
                <a:cxn ang="0">
                  <a:pos x="58" y="157"/>
                </a:cxn>
                <a:cxn ang="0">
                  <a:pos x="61" y="160"/>
                </a:cxn>
                <a:cxn ang="0">
                  <a:pos x="79" y="190"/>
                </a:cxn>
                <a:cxn ang="0">
                  <a:pos x="101" y="187"/>
                </a:cxn>
                <a:cxn ang="0">
                  <a:pos x="105" y="174"/>
                </a:cxn>
                <a:cxn ang="0">
                  <a:pos x="122" y="173"/>
                </a:cxn>
                <a:cxn ang="0">
                  <a:pos x="135" y="182"/>
                </a:cxn>
                <a:cxn ang="0">
                  <a:pos x="137" y="212"/>
                </a:cxn>
                <a:cxn ang="0">
                  <a:pos x="138" y="231"/>
                </a:cxn>
                <a:cxn ang="0">
                  <a:pos x="140" y="234"/>
                </a:cxn>
                <a:cxn ang="0">
                  <a:pos x="143" y="235"/>
                </a:cxn>
                <a:cxn ang="0">
                  <a:pos x="147" y="231"/>
                </a:cxn>
                <a:cxn ang="0">
                  <a:pos x="164" y="231"/>
                </a:cxn>
                <a:cxn ang="0">
                  <a:pos x="169" y="230"/>
                </a:cxn>
                <a:cxn ang="0">
                  <a:pos x="175" y="231"/>
                </a:cxn>
                <a:cxn ang="0">
                  <a:pos x="175" y="235"/>
                </a:cxn>
                <a:cxn ang="0">
                  <a:pos x="185" y="232"/>
                </a:cxn>
                <a:cxn ang="0">
                  <a:pos x="188" y="238"/>
                </a:cxn>
                <a:cxn ang="0">
                  <a:pos x="211" y="243"/>
                </a:cxn>
                <a:cxn ang="0">
                  <a:pos x="224" y="250"/>
                </a:cxn>
                <a:cxn ang="0">
                  <a:pos x="230" y="256"/>
                </a:cxn>
                <a:cxn ang="0">
                  <a:pos x="243" y="263"/>
                </a:cxn>
                <a:cxn ang="0">
                  <a:pos x="247" y="264"/>
                </a:cxn>
                <a:cxn ang="0">
                  <a:pos x="250" y="264"/>
                </a:cxn>
                <a:cxn ang="0">
                  <a:pos x="247" y="248"/>
                </a:cxn>
                <a:cxn ang="0">
                  <a:pos x="237" y="248"/>
                </a:cxn>
                <a:cxn ang="0">
                  <a:pos x="239" y="216"/>
                </a:cxn>
                <a:cxn ang="0">
                  <a:pos x="241" y="195"/>
                </a:cxn>
              </a:cxnLst>
              <a:rect l="0" t="0" r="r" b="b"/>
              <a:pathLst>
                <a:path w="272" h="264">
                  <a:moveTo>
                    <a:pt x="262" y="190"/>
                  </a:moveTo>
                  <a:lnTo>
                    <a:pt x="259" y="182"/>
                  </a:lnTo>
                  <a:lnTo>
                    <a:pt x="256" y="179"/>
                  </a:lnTo>
                  <a:lnTo>
                    <a:pt x="253" y="177"/>
                  </a:lnTo>
                  <a:lnTo>
                    <a:pt x="247" y="171"/>
                  </a:lnTo>
                  <a:lnTo>
                    <a:pt x="246" y="167"/>
                  </a:lnTo>
                  <a:lnTo>
                    <a:pt x="244" y="166"/>
                  </a:lnTo>
                  <a:lnTo>
                    <a:pt x="244" y="161"/>
                  </a:lnTo>
                  <a:lnTo>
                    <a:pt x="244" y="155"/>
                  </a:lnTo>
                  <a:lnTo>
                    <a:pt x="241" y="147"/>
                  </a:lnTo>
                  <a:lnTo>
                    <a:pt x="243" y="137"/>
                  </a:lnTo>
                  <a:lnTo>
                    <a:pt x="243" y="135"/>
                  </a:lnTo>
                  <a:lnTo>
                    <a:pt x="241" y="135"/>
                  </a:lnTo>
                  <a:lnTo>
                    <a:pt x="244" y="122"/>
                  </a:lnTo>
                  <a:lnTo>
                    <a:pt x="244" y="116"/>
                  </a:lnTo>
                  <a:lnTo>
                    <a:pt x="240" y="110"/>
                  </a:lnTo>
                  <a:lnTo>
                    <a:pt x="240" y="109"/>
                  </a:lnTo>
                  <a:lnTo>
                    <a:pt x="249" y="93"/>
                  </a:lnTo>
                  <a:lnTo>
                    <a:pt x="250" y="93"/>
                  </a:lnTo>
                  <a:lnTo>
                    <a:pt x="253" y="68"/>
                  </a:lnTo>
                  <a:lnTo>
                    <a:pt x="265" y="52"/>
                  </a:lnTo>
                  <a:lnTo>
                    <a:pt x="269" y="49"/>
                  </a:lnTo>
                  <a:lnTo>
                    <a:pt x="270" y="48"/>
                  </a:lnTo>
                  <a:lnTo>
                    <a:pt x="272" y="45"/>
                  </a:lnTo>
                  <a:lnTo>
                    <a:pt x="272" y="44"/>
                  </a:lnTo>
                  <a:lnTo>
                    <a:pt x="270" y="42"/>
                  </a:lnTo>
                  <a:lnTo>
                    <a:pt x="269" y="42"/>
                  </a:lnTo>
                  <a:lnTo>
                    <a:pt x="266" y="39"/>
                  </a:lnTo>
                  <a:lnTo>
                    <a:pt x="266" y="36"/>
                  </a:lnTo>
                  <a:lnTo>
                    <a:pt x="266" y="26"/>
                  </a:lnTo>
                  <a:lnTo>
                    <a:pt x="268" y="25"/>
                  </a:lnTo>
                  <a:lnTo>
                    <a:pt x="268" y="23"/>
                  </a:lnTo>
                  <a:lnTo>
                    <a:pt x="265" y="23"/>
                  </a:lnTo>
                  <a:lnTo>
                    <a:pt x="249" y="9"/>
                  </a:lnTo>
                  <a:lnTo>
                    <a:pt x="246" y="12"/>
                  </a:lnTo>
                  <a:lnTo>
                    <a:pt x="243" y="12"/>
                  </a:lnTo>
                  <a:lnTo>
                    <a:pt x="236" y="10"/>
                  </a:lnTo>
                  <a:lnTo>
                    <a:pt x="234" y="13"/>
                  </a:lnTo>
                  <a:lnTo>
                    <a:pt x="233" y="13"/>
                  </a:lnTo>
                  <a:lnTo>
                    <a:pt x="227" y="12"/>
                  </a:lnTo>
                  <a:lnTo>
                    <a:pt x="224" y="7"/>
                  </a:lnTo>
                  <a:lnTo>
                    <a:pt x="220" y="4"/>
                  </a:lnTo>
                  <a:lnTo>
                    <a:pt x="218" y="1"/>
                  </a:lnTo>
                  <a:lnTo>
                    <a:pt x="211" y="1"/>
                  </a:lnTo>
                  <a:lnTo>
                    <a:pt x="209" y="4"/>
                  </a:lnTo>
                  <a:lnTo>
                    <a:pt x="207" y="1"/>
                  </a:lnTo>
                  <a:lnTo>
                    <a:pt x="205" y="4"/>
                  </a:lnTo>
                  <a:lnTo>
                    <a:pt x="201" y="0"/>
                  </a:lnTo>
                  <a:lnTo>
                    <a:pt x="191" y="1"/>
                  </a:lnTo>
                  <a:lnTo>
                    <a:pt x="186" y="1"/>
                  </a:lnTo>
                  <a:lnTo>
                    <a:pt x="185" y="4"/>
                  </a:lnTo>
                  <a:lnTo>
                    <a:pt x="182" y="4"/>
                  </a:lnTo>
                  <a:lnTo>
                    <a:pt x="180" y="4"/>
                  </a:lnTo>
                  <a:lnTo>
                    <a:pt x="178" y="4"/>
                  </a:lnTo>
                  <a:lnTo>
                    <a:pt x="178" y="4"/>
                  </a:lnTo>
                  <a:lnTo>
                    <a:pt x="178" y="3"/>
                  </a:lnTo>
                  <a:lnTo>
                    <a:pt x="176" y="3"/>
                  </a:lnTo>
                  <a:lnTo>
                    <a:pt x="159" y="9"/>
                  </a:lnTo>
                  <a:lnTo>
                    <a:pt x="157" y="7"/>
                  </a:lnTo>
                  <a:lnTo>
                    <a:pt x="151" y="6"/>
                  </a:lnTo>
                  <a:lnTo>
                    <a:pt x="148" y="9"/>
                  </a:lnTo>
                  <a:lnTo>
                    <a:pt x="148" y="13"/>
                  </a:lnTo>
                  <a:lnTo>
                    <a:pt x="146" y="13"/>
                  </a:lnTo>
                  <a:lnTo>
                    <a:pt x="133" y="13"/>
                  </a:lnTo>
                  <a:lnTo>
                    <a:pt x="127" y="12"/>
                  </a:lnTo>
                  <a:lnTo>
                    <a:pt x="124" y="10"/>
                  </a:lnTo>
                  <a:lnTo>
                    <a:pt x="121" y="12"/>
                  </a:lnTo>
                  <a:lnTo>
                    <a:pt x="119" y="12"/>
                  </a:lnTo>
                  <a:lnTo>
                    <a:pt x="114" y="7"/>
                  </a:lnTo>
                  <a:lnTo>
                    <a:pt x="114" y="4"/>
                  </a:lnTo>
                  <a:lnTo>
                    <a:pt x="111" y="1"/>
                  </a:lnTo>
                  <a:lnTo>
                    <a:pt x="103" y="1"/>
                  </a:lnTo>
                  <a:lnTo>
                    <a:pt x="99" y="6"/>
                  </a:lnTo>
                  <a:lnTo>
                    <a:pt x="98" y="10"/>
                  </a:lnTo>
                  <a:lnTo>
                    <a:pt x="95" y="12"/>
                  </a:lnTo>
                  <a:lnTo>
                    <a:pt x="93" y="20"/>
                  </a:lnTo>
                  <a:lnTo>
                    <a:pt x="95" y="22"/>
                  </a:lnTo>
                  <a:lnTo>
                    <a:pt x="92" y="22"/>
                  </a:lnTo>
                  <a:lnTo>
                    <a:pt x="92" y="26"/>
                  </a:lnTo>
                  <a:lnTo>
                    <a:pt x="83" y="48"/>
                  </a:lnTo>
                  <a:lnTo>
                    <a:pt x="79" y="84"/>
                  </a:lnTo>
                  <a:lnTo>
                    <a:pt x="69" y="92"/>
                  </a:lnTo>
                  <a:lnTo>
                    <a:pt x="58" y="105"/>
                  </a:lnTo>
                  <a:lnTo>
                    <a:pt x="56" y="125"/>
                  </a:lnTo>
                  <a:lnTo>
                    <a:pt x="48" y="134"/>
                  </a:lnTo>
                  <a:lnTo>
                    <a:pt x="38" y="141"/>
                  </a:lnTo>
                  <a:lnTo>
                    <a:pt x="32" y="144"/>
                  </a:lnTo>
                  <a:lnTo>
                    <a:pt x="31" y="142"/>
                  </a:lnTo>
                  <a:lnTo>
                    <a:pt x="29" y="138"/>
                  </a:lnTo>
                  <a:lnTo>
                    <a:pt x="29" y="137"/>
                  </a:lnTo>
                  <a:lnTo>
                    <a:pt x="22" y="138"/>
                  </a:lnTo>
                  <a:lnTo>
                    <a:pt x="21" y="139"/>
                  </a:lnTo>
                  <a:lnTo>
                    <a:pt x="18" y="142"/>
                  </a:lnTo>
                  <a:lnTo>
                    <a:pt x="15" y="144"/>
                  </a:lnTo>
                  <a:lnTo>
                    <a:pt x="11" y="141"/>
                  </a:lnTo>
                  <a:lnTo>
                    <a:pt x="11" y="141"/>
                  </a:lnTo>
                  <a:lnTo>
                    <a:pt x="5" y="145"/>
                  </a:lnTo>
                  <a:lnTo>
                    <a:pt x="3" y="157"/>
                  </a:lnTo>
                  <a:lnTo>
                    <a:pt x="2" y="158"/>
                  </a:lnTo>
                  <a:lnTo>
                    <a:pt x="2" y="161"/>
                  </a:lnTo>
                  <a:lnTo>
                    <a:pt x="0" y="163"/>
                  </a:lnTo>
                  <a:lnTo>
                    <a:pt x="2" y="164"/>
                  </a:lnTo>
                  <a:lnTo>
                    <a:pt x="2" y="163"/>
                  </a:lnTo>
                  <a:lnTo>
                    <a:pt x="15" y="158"/>
                  </a:lnTo>
                  <a:lnTo>
                    <a:pt x="31" y="157"/>
                  </a:lnTo>
                  <a:lnTo>
                    <a:pt x="32" y="158"/>
                  </a:lnTo>
                  <a:lnTo>
                    <a:pt x="57" y="157"/>
                  </a:lnTo>
                  <a:lnTo>
                    <a:pt x="58" y="157"/>
                  </a:lnTo>
                  <a:lnTo>
                    <a:pt x="58" y="160"/>
                  </a:lnTo>
                  <a:lnTo>
                    <a:pt x="60" y="160"/>
                  </a:lnTo>
                  <a:lnTo>
                    <a:pt x="61" y="160"/>
                  </a:lnTo>
                  <a:lnTo>
                    <a:pt x="67" y="179"/>
                  </a:lnTo>
                  <a:lnTo>
                    <a:pt x="76" y="189"/>
                  </a:lnTo>
                  <a:lnTo>
                    <a:pt x="79" y="190"/>
                  </a:lnTo>
                  <a:lnTo>
                    <a:pt x="83" y="190"/>
                  </a:lnTo>
                  <a:lnTo>
                    <a:pt x="92" y="187"/>
                  </a:lnTo>
                  <a:lnTo>
                    <a:pt x="101" y="187"/>
                  </a:lnTo>
                  <a:lnTo>
                    <a:pt x="102" y="183"/>
                  </a:lnTo>
                  <a:lnTo>
                    <a:pt x="102" y="182"/>
                  </a:lnTo>
                  <a:lnTo>
                    <a:pt x="105" y="174"/>
                  </a:lnTo>
                  <a:lnTo>
                    <a:pt x="115" y="174"/>
                  </a:lnTo>
                  <a:lnTo>
                    <a:pt x="117" y="173"/>
                  </a:lnTo>
                  <a:lnTo>
                    <a:pt x="122" y="173"/>
                  </a:lnTo>
                  <a:lnTo>
                    <a:pt x="122" y="179"/>
                  </a:lnTo>
                  <a:lnTo>
                    <a:pt x="134" y="179"/>
                  </a:lnTo>
                  <a:lnTo>
                    <a:pt x="135" y="182"/>
                  </a:lnTo>
                  <a:lnTo>
                    <a:pt x="138" y="202"/>
                  </a:lnTo>
                  <a:lnTo>
                    <a:pt x="137" y="206"/>
                  </a:lnTo>
                  <a:lnTo>
                    <a:pt x="137" y="212"/>
                  </a:lnTo>
                  <a:lnTo>
                    <a:pt x="143" y="225"/>
                  </a:lnTo>
                  <a:lnTo>
                    <a:pt x="143" y="227"/>
                  </a:lnTo>
                  <a:lnTo>
                    <a:pt x="138" y="231"/>
                  </a:lnTo>
                  <a:lnTo>
                    <a:pt x="138" y="232"/>
                  </a:lnTo>
                  <a:lnTo>
                    <a:pt x="138" y="232"/>
                  </a:lnTo>
                  <a:lnTo>
                    <a:pt x="140" y="234"/>
                  </a:lnTo>
                  <a:lnTo>
                    <a:pt x="140" y="234"/>
                  </a:lnTo>
                  <a:lnTo>
                    <a:pt x="141" y="235"/>
                  </a:lnTo>
                  <a:lnTo>
                    <a:pt x="143" y="235"/>
                  </a:lnTo>
                  <a:lnTo>
                    <a:pt x="144" y="235"/>
                  </a:lnTo>
                  <a:lnTo>
                    <a:pt x="146" y="232"/>
                  </a:lnTo>
                  <a:lnTo>
                    <a:pt x="147" y="231"/>
                  </a:lnTo>
                  <a:lnTo>
                    <a:pt x="160" y="231"/>
                  </a:lnTo>
                  <a:lnTo>
                    <a:pt x="163" y="231"/>
                  </a:lnTo>
                  <a:lnTo>
                    <a:pt x="164" y="231"/>
                  </a:lnTo>
                  <a:lnTo>
                    <a:pt x="166" y="231"/>
                  </a:lnTo>
                  <a:lnTo>
                    <a:pt x="167" y="230"/>
                  </a:lnTo>
                  <a:lnTo>
                    <a:pt x="169" y="230"/>
                  </a:lnTo>
                  <a:lnTo>
                    <a:pt x="172" y="228"/>
                  </a:lnTo>
                  <a:lnTo>
                    <a:pt x="172" y="228"/>
                  </a:lnTo>
                  <a:lnTo>
                    <a:pt x="175" y="231"/>
                  </a:lnTo>
                  <a:lnTo>
                    <a:pt x="173" y="234"/>
                  </a:lnTo>
                  <a:lnTo>
                    <a:pt x="175" y="235"/>
                  </a:lnTo>
                  <a:lnTo>
                    <a:pt x="175" y="235"/>
                  </a:lnTo>
                  <a:lnTo>
                    <a:pt x="180" y="234"/>
                  </a:lnTo>
                  <a:lnTo>
                    <a:pt x="182" y="234"/>
                  </a:lnTo>
                  <a:lnTo>
                    <a:pt x="185" y="232"/>
                  </a:lnTo>
                  <a:lnTo>
                    <a:pt x="186" y="235"/>
                  </a:lnTo>
                  <a:lnTo>
                    <a:pt x="188" y="237"/>
                  </a:lnTo>
                  <a:lnTo>
                    <a:pt x="188" y="238"/>
                  </a:lnTo>
                  <a:lnTo>
                    <a:pt x="199" y="244"/>
                  </a:lnTo>
                  <a:lnTo>
                    <a:pt x="202" y="244"/>
                  </a:lnTo>
                  <a:lnTo>
                    <a:pt x="211" y="243"/>
                  </a:lnTo>
                  <a:lnTo>
                    <a:pt x="212" y="243"/>
                  </a:lnTo>
                  <a:lnTo>
                    <a:pt x="217" y="247"/>
                  </a:lnTo>
                  <a:lnTo>
                    <a:pt x="224" y="250"/>
                  </a:lnTo>
                  <a:lnTo>
                    <a:pt x="227" y="250"/>
                  </a:lnTo>
                  <a:lnTo>
                    <a:pt x="228" y="251"/>
                  </a:lnTo>
                  <a:lnTo>
                    <a:pt x="230" y="256"/>
                  </a:lnTo>
                  <a:lnTo>
                    <a:pt x="237" y="262"/>
                  </a:lnTo>
                  <a:lnTo>
                    <a:pt x="243" y="263"/>
                  </a:lnTo>
                  <a:lnTo>
                    <a:pt x="243" y="263"/>
                  </a:lnTo>
                  <a:lnTo>
                    <a:pt x="246" y="262"/>
                  </a:lnTo>
                  <a:lnTo>
                    <a:pt x="246" y="262"/>
                  </a:lnTo>
                  <a:lnTo>
                    <a:pt x="247" y="264"/>
                  </a:lnTo>
                  <a:lnTo>
                    <a:pt x="249" y="264"/>
                  </a:lnTo>
                  <a:lnTo>
                    <a:pt x="250" y="264"/>
                  </a:lnTo>
                  <a:lnTo>
                    <a:pt x="250" y="264"/>
                  </a:lnTo>
                  <a:lnTo>
                    <a:pt x="250" y="251"/>
                  </a:lnTo>
                  <a:lnTo>
                    <a:pt x="249" y="248"/>
                  </a:lnTo>
                  <a:lnTo>
                    <a:pt x="247" y="248"/>
                  </a:lnTo>
                  <a:lnTo>
                    <a:pt x="246" y="250"/>
                  </a:lnTo>
                  <a:lnTo>
                    <a:pt x="239" y="250"/>
                  </a:lnTo>
                  <a:lnTo>
                    <a:pt x="237" y="248"/>
                  </a:lnTo>
                  <a:lnTo>
                    <a:pt x="233" y="243"/>
                  </a:lnTo>
                  <a:lnTo>
                    <a:pt x="233" y="240"/>
                  </a:lnTo>
                  <a:lnTo>
                    <a:pt x="239" y="216"/>
                  </a:lnTo>
                  <a:lnTo>
                    <a:pt x="236" y="205"/>
                  </a:lnTo>
                  <a:lnTo>
                    <a:pt x="240" y="196"/>
                  </a:lnTo>
                  <a:lnTo>
                    <a:pt x="241" y="195"/>
                  </a:lnTo>
                  <a:lnTo>
                    <a:pt x="262" y="19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81" name="Freeform 1471"/>
            <p:cNvSpPr>
              <a:spLocks/>
            </p:cNvSpPr>
            <p:nvPr/>
          </p:nvSpPr>
          <p:spPr bwMode="auto">
            <a:xfrm>
              <a:off x="6277852" y="3196537"/>
              <a:ext cx="249295" cy="274831"/>
            </a:xfrm>
            <a:custGeom>
              <a:avLst/>
              <a:gdLst/>
              <a:ahLst/>
              <a:cxnLst>
                <a:cxn ang="0">
                  <a:pos x="256" y="179"/>
                </a:cxn>
                <a:cxn ang="0">
                  <a:pos x="246" y="167"/>
                </a:cxn>
                <a:cxn ang="0">
                  <a:pos x="244" y="155"/>
                </a:cxn>
                <a:cxn ang="0">
                  <a:pos x="243" y="135"/>
                </a:cxn>
                <a:cxn ang="0">
                  <a:pos x="244" y="116"/>
                </a:cxn>
                <a:cxn ang="0">
                  <a:pos x="249" y="93"/>
                </a:cxn>
                <a:cxn ang="0">
                  <a:pos x="265" y="52"/>
                </a:cxn>
                <a:cxn ang="0">
                  <a:pos x="272" y="45"/>
                </a:cxn>
                <a:cxn ang="0">
                  <a:pos x="269" y="42"/>
                </a:cxn>
                <a:cxn ang="0">
                  <a:pos x="266" y="26"/>
                </a:cxn>
                <a:cxn ang="0">
                  <a:pos x="265" y="23"/>
                </a:cxn>
                <a:cxn ang="0">
                  <a:pos x="243" y="12"/>
                </a:cxn>
                <a:cxn ang="0">
                  <a:pos x="233" y="13"/>
                </a:cxn>
                <a:cxn ang="0">
                  <a:pos x="220" y="4"/>
                </a:cxn>
                <a:cxn ang="0">
                  <a:pos x="209" y="4"/>
                </a:cxn>
                <a:cxn ang="0">
                  <a:pos x="201" y="0"/>
                </a:cxn>
                <a:cxn ang="0">
                  <a:pos x="185" y="4"/>
                </a:cxn>
                <a:cxn ang="0">
                  <a:pos x="178" y="4"/>
                </a:cxn>
                <a:cxn ang="0">
                  <a:pos x="176" y="3"/>
                </a:cxn>
                <a:cxn ang="0">
                  <a:pos x="151" y="6"/>
                </a:cxn>
                <a:cxn ang="0">
                  <a:pos x="146" y="13"/>
                </a:cxn>
                <a:cxn ang="0">
                  <a:pos x="124" y="10"/>
                </a:cxn>
                <a:cxn ang="0">
                  <a:pos x="114" y="7"/>
                </a:cxn>
                <a:cxn ang="0">
                  <a:pos x="103" y="1"/>
                </a:cxn>
                <a:cxn ang="0">
                  <a:pos x="95" y="12"/>
                </a:cxn>
                <a:cxn ang="0">
                  <a:pos x="92" y="22"/>
                </a:cxn>
                <a:cxn ang="0">
                  <a:pos x="79" y="84"/>
                </a:cxn>
                <a:cxn ang="0">
                  <a:pos x="56" y="125"/>
                </a:cxn>
                <a:cxn ang="0">
                  <a:pos x="32" y="144"/>
                </a:cxn>
                <a:cxn ang="0">
                  <a:pos x="29" y="137"/>
                </a:cxn>
                <a:cxn ang="0">
                  <a:pos x="18" y="142"/>
                </a:cxn>
                <a:cxn ang="0">
                  <a:pos x="11" y="141"/>
                </a:cxn>
                <a:cxn ang="0">
                  <a:pos x="2" y="158"/>
                </a:cxn>
                <a:cxn ang="0">
                  <a:pos x="2" y="164"/>
                </a:cxn>
                <a:cxn ang="0">
                  <a:pos x="31" y="157"/>
                </a:cxn>
                <a:cxn ang="0">
                  <a:pos x="58" y="157"/>
                </a:cxn>
                <a:cxn ang="0">
                  <a:pos x="61" y="160"/>
                </a:cxn>
                <a:cxn ang="0">
                  <a:pos x="79" y="190"/>
                </a:cxn>
                <a:cxn ang="0">
                  <a:pos x="101" y="187"/>
                </a:cxn>
                <a:cxn ang="0">
                  <a:pos x="105" y="174"/>
                </a:cxn>
                <a:cxn ang="0">
                  <a:pos x="122" y="173"/>
                </a:cxn>
                <a:cxn ang="0">
                  <a:pos x="135" y="182"/>
                </a:cxn>
                <a:cxn ang="0">
                  <a:pos x="137" y="212"/>
                </a:cxn>
                <a:cxn ang="0">
                  <a:pos x="138" y="231"/>
                </a:cxn>
                <a:cxn ang="0">
                  <a:pos x="140" y="234"/>
                </a:cxn>
                <a:cxn ang="0">
                  <a:pos x="143" y="235"/>
                </a:cxn>
                <a:cxn ang="0">
                  <a:pos x="147" y="231"/>
                </a:cxn>
                <a:cxn ang="0">
                  <a:pos x="164" y="231"/>
                </a:cxn>
                <a:cxn ang="0">
                  <a:pos x="169" y="230"/>
                </a:cxn>
                <a:cxn ang="0">
                  <a:pos x="175" y="231"/>
                </a:cxn>
                <a:cxn ang="0">
                  <a:pos x="175" y="235"/>
                </a:cxn>
                <a:cxn ang="0">
                  <a:pos x="185" y="232"/>
                </a:cxn>
                <a:cxn ang="0">
                  <a:pos x="188" y="238"/>
                </a:cxn>
                <a:cxn ang="0">
                  <a:pos x="211" y="243"/>
                </a:cxn>
                <a:cxn ang="0">
                  <a:pos x="224" y="250"/>
                </a:cxn>
                <a:cxn ang="0">
                  <a:pos x="230" y="256"/>
                </a:cxn>
                <a:cxn ang="0">
                  <a:pos x="243" y="263"/>
                </a:cxn>
                <a:cxn ang="0">
                  <a:pos x="247" y="264"/>
                </a:cxn>
                <a:cxn ang="0">
                  <a:pos x="250" y="264"/>
                </a:cxn>
                <a:cxn ang="0">
                  <a:pos x="247" y="248"/>
                </a:cxn>
                <a:cxn ang="0">
                  <a:pos x="237" y="248"/>
                </a:cxn>
                <a:cxn ang="0">
                  <a:pos x="239" y="216"/>
                </a:cxn>
                <a:cxn ang="0">
                  <a:pos x="241" y="195"/>
                </a:cxn>
              </a:cxnLst>
              <a:rect l="0" t="0" r="r" b="b"/>
              <a:pathLst>
                <a:path w="272" h="264">
                  <a:moveTo>
                    <a:pt x="262" y="190"/>
                  </a:moveTo>
                  <a:lnTo>
                    <a:pt x="259" y="182"/>
                  </a:lnTo>
                  <a:lnTo>
                    <a:pt x="256" y="179"/>
                  </a:lnTo>
                  <a:lnTo>
                    <a:pt x="253" y="177"/>
                  </a:lnTo>
                  <a:lnTo>
                    <a:pt x="247" y="171"/>
                  </a:lnTo>
                  <a:lnTo>
                    <a:pt x="246" y="167"/>
                  </a:lnTo>
                  <a:lnTo>
                    <a:pt x="244" y="166"/>
                  </a:lnTo>
                  <a:lnTo>
                    <a:pt x="244" y="161"/>
                  </a:lnTo>
                  <a:lnTo>
                    <a:pt x="244" y="155"/>
                  </a:lnTo>
                  <a:lnTo>
                    <a:pt x="241" y="147"/>
                  </a:lnTo>
                  <a:lnTo>
                    <a:pt x="243" y="137"/>
                  </a:lnTo>
                  <a:lnTo>
                    <a:pt x="243" y="135"/>
                  </a:lnTo>
                  <a:lnTo>
                    <a:pt x="241" y="135"/>
                  </a:lnTo>
                  <a:lnTo>
                    <a:pt x="244" y="122"/>
                  </a:lnTo>
                  <a:lnTo>
                    <a:pt x="244" y="116"/>
                  </a:lnTo>
                  <a:lnTo>
                    <a:pt x="240" y="110"/>
                  </a:lnTo>
                  <a:lnTo>
                    <a:pt x="240" y="109"/>
                  </a:lnTo>
                  <a:lnTo>
                    <a:pt x="249" y="93"/>
                  </a:lnTo>
                  <a:lnTo>
                    <a:pt x="250" y="93"/>
                  </a:lnTo>
                  <a:lnTo>
                    <a:pt x="253" y="68"/>
                  </a:lnTo>
                  <a:lnTo>
                    <a:pt x="265" y="52"/>
                  </a:lnTo>
                  <a:lnTo>
                    <a:pt x="269" y="49"/>
                  </a:lnTo>
                  <a:lnTo>
                    <a:pt x="270" y="48"/>
                  </a:lnTo>
                  <a:lnTo>
                    <a:pt x="272" y="45"/>
                  </a:lnTo>
                  <a:lnTo>
                    <a:pt x="272" y="44"/>
                  </a:lnTo>
                  <a:lnTo>
                    <a:pt x="270" y="42"/>
                  </a:lnTo>
                  <a:lnTo>
                    <a:pt x="269" y="42"/>
                  </a:lnTo>
                  <a:lnTo>
                    <a:pt x="266" y="39"/>
                  </a:lnTo>
                  <a:lnTo>
                    <a:pt x="266" y="36"/>
                  </a:lnTo>
                  <a:lnTo>
                    <a:pt x="266" y="26"/>
                  </a:lnTo>
                  <a:lnTo>
                    <a:pt x="268" y="25"/>
                  </a:lnTo>
                  <a:lnTo>
                    <a:pt x="268" y="23"/>
                  </a:lnTo>
                  <a:lnTo>
                    <a:pt x="265" y="23"/>
                  </a:lnTo>
                  <a:lnTo>
                    <a:pt x="249" y="9"/>
                  </a:lnTo>
                  <a:lnTo>
                    <a:pt x="246" y="12"/>
                  </a:lnTo>
                  <a:lnTo>
                    <a:pt x="243" y="12"/>
                  </a:lnTo>
                  <a:lnTo>
                    <a:pt x="236" y="10"/>
                  </a:lnTo>
                  <a:lnTo>
                    <a:pt x="234" y="13"/>
                  </a:lnTo>
                  <a:lnTo>
                    <a:pt x="233" y="13"/>
                  </a:lnTo>
                  <a:lnTo>
                    <a:pt x="227" y="12"/>
                  </a:lnTo>
                  <a:lnTo>
                    <a:pt x="224" y="7"/>
                  </a:lnTo>
                  <a:lnTo>
                    <a:pt x="220" y="4"/>
                  </a:lnTo>
                  <a:lnTo>
                    <a:pt x="218" y="1"/>
                  </a:lnTo>
                  <a:lnTo>
                    <a:pt x="211" y="1"/>
                  </a:lnTo>
                  <a:lnTo>
                    <a:pt x="209" y="4"/>
                  </a:lnTo>
                  <a:lnTo>
                    <a:pt x="207" y="1"/>
                  </a:lnTo>
                  <a:lnTo>
                    <a:pt x="205" y="4"/>
                  </a:lnTo>
                  <a:lnTo>
                    <a:pt x="201" y="0"/>
                  </a:lnTo>
                  <a:lnTo>
                    <a:pt x="191" y="1"/>
                  </a:lnTo>
                  <a:lnTo>
                    <a:pt x="186" y="1"/>
                  </a:lnTo>
                  <a:lnTo>
                    <a:pt x="185" y="4"/>
                  </a:lnTo>
                  <a:lnTo>
                    <a:pt x="182" y="4"/>
                  </a:lnTo>
                  <a:lnTo>
                    <a:pt x="180" y="4"/>
                  </a:lnTo>
                  <a:lnTo>
                    <a:pt x="178" y="4"/>
                  </a:lnTo>
                  <a:lnTo>
                    <a:pt x="178" y="4"/>
                  </a:lnTo>
                  <a:lnTo>
                    <a:pt x="178" y="3"/>
                  </a:lnTo>
                  <a:lnTo>
                    <a:pt x="176" y="3"/>
                  </a:lnTo>
                  <a:lnTo>
                    <a:pt x="159" y="9"/>
                  </a:lnTo>
                  <a:lnTo>
                    <a:pt x="157" y="7"/>
                  </a:lnTo>
                  <a:lnTo>
                    <a:pt x="151" y="6"/>
                  </a:lnTo>
                  <a:lnTo>
                    <a:pt x="148" y="9"/>
                  </a:lnTo>
                  <a:lnTo>
                    <a:pt x="148" y="13"/>
                  </a:lnTo>
                  <a:lnTo>
                    <a:pt x="146" y="13"/>
                  </a:lnTo>
                  <a:lnTo>
                    <a:pt x="133" y="13"/>
                  </a:lnTo>
                  <a:lnTo>
                    <a:pt x="127" y="12"/>
                  </a:lnTo>
                  <a:lnTo>
                    <a:pt x="124" y="10"/>
                  </a:lnTo>
                  <a:lnTo>
                    <a:pt x="121" y="12"/>
                  </a:lnTo>
                  <a:lnTo>
                    <a:pt x="119" y="12"/>
                  </a:lnTo>
                  <a:lnTo>
                    <a:pt x="114" y="7"/>
                  </a:lnTo>
                  <a:lnTo>
                    <a:pt x="114" y="4"/>
                  </a:lnTo>
                  <a:lnTo>
                    <a:pt x="111" y="1"/>
                  </a:lnTo>
                  <a:lnTo>
                    <a:pt x="103" y="1"/>
                  </a:lnTo>
                  <a:lnTo>
                    <a:pt x="99" y="6"/>
                  </a:lnTo>
                  <a:lnTo>
                    <a:pt x="98" y="10"/>
                  </a:lnTo>
                  <a:lnTo>
                    <a:pt x="95" y="12"/>
                  </a:lnTo>
                  <a:lnTo>
                    <a:pt x="93" y="20"/>
                  </a:lnTo>
                  <a:lnTo>
                    <a:pt x="95" y="22"/>
                  </a:lnTo>
                  <a:lnTo>
                    <a:pt x="92" y="22"/>
                  </a:lnTo>
                  <a:lnTo>
                    <a:pt x="92" y="26"/>
                  </a:lnTo>
                  <a:lnTo>
                    <a:pt x="83" y="48"/>
                  </a:lnTo>
                  <a:lnTo>
                    <a:pt x="79" y="84"/>
                  </a:lnTo>
                  <a:lnTo>
                    <a:pt x="69" y="92"/>
                  </a:lnTo>
                  <a:lnTo>
                    <a:pt x="58" y="105"/>
                  </a:lnTo>
                  <a:lnTo>
                    <a:pt x="56" y="125"/>
                  </a:lnTo>
                  <a:lnTo>
                    <a:pt x="48" y="134"/>
                  </a:lnTo>
                  <a:lnTo>
                    <a:pt x="38" y="141"/>
                  </a:lnTo>
                  <a:lnTo>
                    <a:pt x="32" y="144"/>
                  </a:lnTo>
                  <a:lnTo>
                    <a:pt x="31" y="142"/>
                  </a:lnTo>
                  <a:lnTo>
                    <a:pt x="29" y="138"/>
                  </a:lnTo>
                  <a:lnTo>
                    <a:pt x="29" y="137"/>
                  </a:lnTo>
                  <a:lnTo>
                    <a:pt x="22" y="138"/>
                  </a:lnTo>
                  <a:lnTo>
                    <a:pt x="21" y="139"/>
                  </a:lnTo>
                  <a:lnTo>
                    <a:pt x="18" y="142"/>
                  </a:lnTo>
                  <a:lnTo>
                    <a:pt x="15" y="144"/>
                  </a:lnTo>
                  <a:lnTo>
                    <a:pt x="11" y="141"/>
                  </a:lnTo>
                  <a:lnTo>
                    <a:pt x="11" y="141"/>
                  </a:lnTo>
                  <a:lnTo>
                    <a:pt x="5" y="145"/>
                  </a:lnTo>
                  <a:lnTo>
                    <a:pt x="3" y="157"/>
                  </a:lnTo>
                  <a:lnTo>
                    <a:pt x="2" y="158"/>
                  </a:lnTo>
                  <a:lnTo>
                    <a:pt x="2" y="161"/>
                  </a:lnTo>
                  <a:lnTo>
                    <a:pt x="0" y="163"/>
                  </a:lnTo>
                  <a:lnTo>
                    <a:pt x="2" y="164"/>
                  </a:lnTo>
                  <a:lnTo>
                    <a:pt x="2" y="163"/>
                  </a:lnTo>
                  <a:lnTo>
                    <a:pt x="15" y="158"/>
                  </a:lnTo>
                  <a:lnTo>
                    <a:pt x="31" y="157"/>
                  </a:lnTo>
                  <a:lnTo>
                    <a:pt x="32" y="158"/>
                  </a:lnTo>
                  <a:lnTo>
                    <a:pt x="57" y="157"/>
                  </a:lnTo>
                  <a:lnTo>
                    <a:pt x="58" y="157"/>
                  </a:lnTo>
                  <a:lnTo>
                    <a:pt x="58" y="160"/>
                  </a:lnTo>
                  <a:lnTo>
                    <a:pt x="60" y="160"/>
                  </a:lnTo>
                  <a:lnTo>
                    <a:pt x="61" y="160"/>
                  </a:lnTo>
                  <a:lnTo>
                    <a:pt x="67" y="179"/>
                  </a:lnTo>
                  <a:lnTo>
                    <a:pt x="76" y="189"/>
                  </a:lnTo>
                  <a:lnTo>
                    <a:pt x="79" y="190"/>
                  </a:lnTo>
                  <a:lnTo>
                    <a:pt x="83" y="190"/>
                  </a:lnTo>
                  <a:lnTo>
                    <a:pt x="92" y="187"/>
                  </a:lnTo>
                  <a:lnTo>
                    <a:pt x="101" y="187"/>
                  </a:lnTo>
                  <a:lnTo>
                    <a:pt x="102" y="183"/>
                  </a:lnTo>
                  <a:lnTo>
                    <a:pt x="102" y="182"/>
                  </a:lnTo>
                  <a:lnTo>
                    <a:pt x="105" y="174"/>
                  </a:lnTo>
                  <a:lnTo>
                    <a:pt x="115" y="174"/>
                  </a:lnTo>
                  <a:lnTo>
                    <a:pt x="117" y="173"/>
                  </a:lnTo>
                  <a:lnTo>
                    <a:pt x="122" y="173"/>
                  </a:lnTo>
                  <a:lnTo>
                    <a:pt x="122" y="179"/>
                  </a:lnTo>
                  <a:lnTo>
                    <a:pt x="134" y="179"/>
                  </a:lnTo>
                  <a:lnTo>
                    <a:pt x="135" y="182"/>
                  </a:lnTo>
                  <a:lnTo>
                    <a:pt x="138" y="202"/>
                  </a:lnTo>
                  <a:lnTo>
                    <a:pt x="137" y="206"/>
                  </a:lnTo>
                  <a:lnTo>
                    <a:pt x="137" y="212"/>
                  </a:lnTo>
                  <a:lnTo>
                    <a:pt x="143" y="225"/>
                  </a:lnTo>
                  <a:lnTo>
                    <a:pt x="143" y="227"/>
                  </a:lnTo>
                  <a:lnTo>
                    <a:pt x="138" y="231"/>
                  </a:lnTo>
                  <a:lnTo>
                    <a:pt x="138" y="232"/>
                  </a:lnTo>
                  <a:lnTo>
                    <a:pt x="138" y="232"/>
                  </a:lnTo>
                  <a:lnTo>
                    <a:pt x="140" y="234"/>
                  </a:lnTo>
                  <a:lnTo>
                    <a:pt x="140" y="234"/>
                  </a:lnTo>
                  <a:lnTo>
                    <a:pt x="141" y="235"/>
                  </a:lnTo>
                  <a:lnTo>
                    <a:pt x="143" y="235"/>
                  </a:lnTo>
                  <a:lnTo>
                    <a:pt x="144" y="235"/>
                  </a:lnTo>
                  <a:lnTo>
                    <a:pt x="146" y="232"/>
                  </a:lnTo>
                  <a:lnTo>
                    <a:pt x="147" y="231"/>
                  </a:lnTo>
                  <a:lnTo>
                    <a:pt x="160" y="231"/>
                  </a:lnTo>
                  <a:lnTo>
                    <a:pt x="163" y="231"/>
                  </a:lnTo>
                  <a:lnTo>
                    <a:pt x="164" y="231"/>
                  </a:lnTo>
                  <a:lnTo>
                    <a:pt x="166" y="231"/>
                  </a:lnTo>
                  <a:lnTo>
                    <a:pt x="167" y="230"/>
                  </a:lnTo>
                  <a:lnTo>
                    <a:pt x="169" y="230"/>
                  </a:lnTo>
                  <a:lnTo>
                    <a:pt x="172" y="228"/>
                  </a:lnTo>
                  <a:lnTo>
                    <a:pt x="172" y="228"/>
                  </a:lnTo>
                  <a:lnTo>
                    <a:pt x="175" y="231"/>
                  </a:lnTo>
                  <a:lnTo>
                    <a:pt x="173" y="234"/>
                  </a:lnTo>
                  <a:lnTo>
                    <a:pt x="175" y="235"/>
                  </a:lnTo>
                  <a:lnTo>
                    <a:pt x="175" y="235"/>
                  </a:lnTo>
                  <a:lnTo>
                    <a:pt x="180" y="234"/>
                  </a:lnTo>
                  <a:lnTo>
                    <a:pt x="182" y="234"/>
                  </a:lnTo>
                  <a:lnTo>
                    <a:pt x="185" y="232"/>
                  </a:lnTo>
                  <a:lnTo>
                    <a:pt x="186" y="235"/>
                  </a:lnTo>
                  <a:lnTo>
                    <a:pt x="188" y="237"/>
                  </a:lnTo>
                  <a:lnTo>
                    <a:pt x="188" y="238"/>
                  </a:lnTo>
                  <a:lnTo>
                    <a:pt x="199" y="244"/>
                  </a:lnTo>
                  <a:lnTo>
                    <a:pt x="202" y="244"/>
                  </a:lnTo>
                  <a:lnTo>
                    <a:pt x="211" y="243"/>
                  </a:lnTo>
                  <a:lnTo>
                    <a:pt x="212" y="243"/>
                  </a:lnTo>
                  <a:lnTo>
                    <a:pt x="217" y="247"/>
                  </a:lnTo>
                  <a:lnTo>
                    <a:pt x="224" y="250"/>
                  </a:lnTo>
                  <a:lnTo>
                    <a:pt x="227" y="250"/>
                  </a:lnTo>
                  <a:lnTo>
                    <a:pt x="228" y="251"/>
                  </a:lnTo>
                  <a:lnTo>
                    <a:pt x="230" y="256"/>
                  </a:lnTo>
                  <a:lnTo>
                    <a:pt x="237" y="262"/>
                  </a:lnTo>
                  <a:lnTo>
                    <a:pt x="243" y="263"/>
                  </a:lnTo>
                  <a:lnTo>
                    <a:pt x="243" y="263"/>
                  </a:lnTo>
                  <a:lnTo>
                    <a:pt x="246" y="262"/>
                  </a:lnTo>
                  <a:lnTo>
                    <a:pt x="246" y="262"/>
                  </a:lnTo>
                  <a:lnTo>
                    <a:pt x="247" y="264"/>
                  </a:lnTo>
                  <a:lnTo>
                    <a:pt x="249" y="264"/>
                  </a:lnTo>
                  <a:lnTo>
                    <a:pt x="250" y="264"/>
                  </a:lnTo>
                  <a:lnTo>
                    <a:pt x="250" y="264"/>
                  </a:lnTo>
                  <a:lnTo>
                    <a:pt x="250" y="251"/>
                  </a:lnTo>
                  <a:lnTo>
                    <a:pt x="249" y="248"/>
                  </a:lnTo>
                  <a:lnTo>
                    <a:pt x="247" y="248"/>
                  </a:lnTo>
                  <a:lnTo>
                    <a:pt x="246" y="250"/>
                  </a:lnTo>
                  <a:lnTo>
                    <a:pt x="239" y="250"/>
                  </a:lnTo>
                  <a:lnTo>
                    <a:pt x="237" y="248"/>
                  </a:lnTo>
                  <a:lnTo>
                    <a:pt x="233" y="243"/>
                  </a:lnTo>
                  <a:lnTo>
                    <a:pt x="233" y="240"/>
                  </a:lnTo>
                  <a:lnTo>
                    <a:pt x="239" y="216"/>
                  </a:lnTo>
                  <a:lnTo>
                    <a:pt x="236" y="205"/>
                  </a:lnTo>
                  <a:lnTo>
                    <a:pt x="240" y="196"/>
                  </a:lnTo>
                  <a:lnTo>
                    <a:pt x="241" y="195"/>
                  </a:lnTo>
                  <a:lnTo>
                    <a:pt x="262" y="19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82" name="Freeform 1472"/>
            <p:cNvSpPr>
              <a:spLocks/>
            </p:cNvSpPr>
            <p:nvPr/>
          </p:nvSpPr>
          <p:spPr bwMode="auto">
            <a:xfrm>
              <a:off x="5194646" y="2602255"/>
              <a:ext cx="5267" cy="3043"/>
            </a:xfrm>
            <a:custGeom>
              <a:avLst/>
              <a:gdLst/>
              <a:ahLst/>
              <a:cxnLst>
                <a:cxn ang="0">
                  <a:pos x="2" y="0"/>
                </a:cxn>
                <a:cxn ang="0">
                  <a:pos x="1" y="0"/>
                </a:cxn>
                <a:cxn ang="0">
                  <a:pos x="1" y="1"/>
                </a:cxn>
                <a:cxn ang="0">
                  <a:pos x="0" y="1"/>
                </a:cxn>
                <a:cxn ang="0">
                  <a:pos x="1" y="3"/>
                </a:cxn>
                <a:cxn ang="0">
                  <a:pos x="1" y="1"/>
                </a:cxn>
                <a:cxn ang="0">
                  <a:pos x="4" y="1"/>
                </a:cxn>
                <a:cxn ang="0">
                  <a:pos x="5" y="3"/>
                </a:cxn>
                <a:cxn ang="0">
                  <a:pos x="5" y="0"/>
                </a:cxn>
                <a:cxn ang="0">
                  <a:pos x="4" y="0"/>
                </a:cxn>
                <a:cxn ang="0">
                  <a:pos x="2" y="0"/>
                </a:cxn>
              </a:cxnLst>
              <a:rect l="0" t="0" r="r" b="b"/>
              <a:pathLst>
                <a:path w="5" h="3">
                  <a:moveTo>
                    <a:pt x="2" y="0"/>
                  </a:moveTo>
                  <a:lnTo>
                    <a:pt x="1" y="0"/>
                  </a:lnTo>
                  <a:lnTo>
                    <a:pt x="1" y="1"/>
                  </a:lnTo>
                  <a:lnTo>
                    <a:pt x="0" y="1"/>
                  </a:lnTo>
                  <a:lnTo>
                    <a:pt x="1" y="3"/>
                  </a:lnTo>
                  <a:lnTo>
                    <a:pt x="1" y="1"/>
                  </a:lnTo>
                  <a:lnTo>
                    <a:pt x="4" y="1"/>
                  </a:lnTo>
                  <a:lnTo>
                    <a:pt x="5" y="3"/>
                  </a:lnTo>
                  <a:lnTo>
                    <a:pt x="5" y="0"/>
                  </a:lnTo>
                  <a:lnTo>
                    <a:pt x="4" y="0"/>
                  </a:lnTo>
                  <a:lnTo>
                    <a:pt x="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83" name="Freeform 1473"/>
            <p:cNvSpPr>
              <a:spLocks/>
            </p:cNvSpPr>
            <p:nvPr/>
          </p:nvSpPr>
          <p:spPr bwMode="auto">
            <a:xfrm>
              <a:off x="5194646" y="2602255"/>
              <a:ext cx="5267" cy="3043"/>
            </a:xfrm>
            <a:custGeom>
              <a:avLst/>
              <a:gdLst/>
              <a:ahLst/>
              <a:cxnLst>
                <a:cxn ang="0">
                  <a:pos x="2" y="0"/>
                </a:cxn>
                <a:cxn ang="0">
                  <a:pos x="1" y="0"/>
                </a:cxn>
                <a:cxn ang="0">
                  <a:pos x="1" y="1"/>
                </a:cxn>
                <a:cxn ang="0">
                  <a:pos x="0" y="1"/>
                </a:cxn>
                <a:cxn ang="0">
                  <a:pos x="1" y="3"/>
                </a:cxn>
                <a:cxn ang="0">
                  <a:pos x="1" y="1"/>
                </a:cxn>
                <a:cxn ang="0">
                  <a:pos x="4" y="1"/>
                </a:cxn>
                <a:cxn ang="0">
                  <a:pos x="5" y="3"/>
                </a:cxn>
                <a:cxn ang="0">
                  <a:pos x="5" y="0"/>
                </a:cxn>
                <a:cxn ang="0">
                  <a:pos x="4" y="0"/>
                </a:cxn>
                <a:cxn ang="0">
                  <a:pos x="2" y="0"/>
                </a:cxn>
              </a:cxnLst>
              <a:rect l="0" t="0" r="r" b="b"/>
              <a:pathLst>
                <a:path w="5" h="3">
                  <a:moveTo>
                    <a:pt x="2" y="0"/>
                  </a:moveTo>
                  <a:lnTo>
                    <a:pt x="1" y="0"/>
                  </a:lnTo>
                  <a:lnTo>
                    <a:pt x="1" y="1"/>
                  </a:lnTo>
                  <a:lnTo>
                    <a:pt x="0" y="1"/>
                  </a:lnTo>
                  <a:lnTo>
                    <a:pt x="1" y="3"/>
                  </a:lnTo>
                  <a:lnTo>
                    <a:pt x="1" y="1"/>
                  </a:lnTo>
                  <a:lnTo>
                    <a:pt x="4" y="1"/>
                  </a:lnTo>
                  <a:lnTo>
                    <a:pt x="5" y="3"/>
                  </a:lnTo>
                  <a:lnTo>
                    <a:pt x="5" y="0"/>
                  </a:lnTo>
                  <a:lnTo>
                    <a:pt x="4" y="0"/>
                  </a:lnTo>
                  <a:lnTo>
                    <a:pt x="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84" name="Freeform 1474"/>
            <p:cNvSpPr>
              <a:spLocks/>
            </p:cNvSpPr>
            <p:nvPr/>
          </p:nvSpPr>
          <p:spPr bwMode="auto">
            <a:xfrm>
              <a:off x="5202545" y="2603270"/>
              <a:ext cx="2634" cy="3042"/>
            </a:xfrm>
            <a:custGeom>
              <a:avLst/>
              <a:gdLst/>
              <a:ahLst/>
              <a:cxnLst>
                <a:cxn ang="0">
                  <a:pos x="3" y="0"/>
                </a:cxn>
                <a:cxn ang="0">
                  <a:pos x="2" y="2"/>
                </a:cxn>
                <a:cxn ang="0">
                  <a:pos x="0" y="2"/>
                </a:cxn>
                <a:cxn ang="0">
                  <a:pos x="0" y="2"/>
                </a:cxn>
                <a:cxn ang="0">
                  <a:pos x="2" y="3"/>
                </a:cxn>
                <a:cxn ang="0">
                  <a:pos x="3" y="3"/>
                </a:cxn>
                <a:cxn ang="0">
                  <a:pos x="3" y="2"/>
                </a:cxn>
                <a:cxn ang="0">
                  <a:pos x="3" y="0"/>
                </a:cxn>
                <a:cxn ang="0">
                  <a:pos x="3" y="0"/>
                </a:cxn>
              </a:cxnLst>
              <a:rect l="0" t="0" r="r" b="b"/>
              <a:pathLst>
                <a:path w="3" h="3">
                  <a:moveTo>
                    <a:pt x="3" y="0"/>
                  </a:moveTo>
                  <a:lnTo>
                    <a:pt x="2" y="2"/>
                  </a:lnTo>
                  <a:lnTo>
                    <a:pt x="0" y="2"/>
                  </a:lnTo>
                  <a:lnTo>
                    <a:pt x="0" y="2"/>
                  </a:lnTo>
                  <a:lnTo>
                    <a:pt x="2" y="3"/>
                  </a:lnTo>
                  <a:lnTo>
                    <a:pt x="3" y="3"/>
                  </a:lnTo>
                  <a:lnTo>
                    <a:pt x="3" y="2"/>
                  </a:lnTo>
                  <a:lnTo>
                    <a:pt x="3" y="0"/>
                  </a:lnTo>
                  <a:lnTo>
                    <a:pt x="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85" name="Freeform 1475"/>
            <p:cNvSpPr>
              <a:spLocks/>
            </p:cNvSpPr>
            <p:nvPr/>
          </p:nvSpPr>
          <p:spPr bwMode="auto">
            <a:xfrm>
              <a:off x="5202545" y="2603270"/>
              <a:ext cx="2634" cy="3042"/>
            </a:xfrm>
            <a:custGeom>
              <a:avLst/>
              <a:gdLst/>
              <a:ahLst/>
              <a:cxnLst>
                <a:cxn ang="0">
                  <a:pos x="3" y="0"/>
                </a:cxn>
                <a:cxn ang="0">
                  <a:pos x="2" y="2"/>
                </a:cxn>
                <a:cxn ang="0">
                  <a:pos x="0" y="2"/>
                </a:cxn>
                <a:cxn ang="0">
                  <a:pos x="0" y="2"/>
                </a:cxn>
                <a:cxn ang="0">
                  <a:pos x="2" y="3"/>
                </a:cxn>
                <a:cxn ang="0">
                  <a:pos x="3" y="3"/>
                </a:cxn>
                <a:cxn ang="0">
                  <a:pos x="3" y="2"/>
                </a:cxn>
                <a:cxn ang="0">
                  <a:pos x="3" y="0"/>
                </a:cxn>
                <a:cxn ang="0">
                  <a:pos x="3" y="0"/>
                </a:cxn>
              </a:cxnLst>
              <a:rect l="0" t="0" r="r" b="b"/>
              <a:pathLst>
                <a:path w="3" h="3">
                  <a:moveTo>
                    <a:pt x="3" y="0"/>
                  </a:moveTo>
                  <a:lnTo>
                    <a:pt x="2" y="2"/>
                  </a:lnTo>
                  <a:lnTo>
                    <a:pt x="0" y="2"/>
                  </a:lnTo>
                  <a:lnTo>
                    <a:pt x="0" y="2"/>
                  </a:lnTo>
                  <a:lnTo>
                    <a:pt x="2" y="3"/>
                  </a:lnTo>
                  <a:lnTo>
                    <a:pt x="3" y="3"/>
                  </a:lnTo>
                  <a:lnTo>
                    <a:pt x="3" y="2"/>
                  </a:lnTo>
                  <a:lnTo>
                    <a:pt x="3" y="0"/>
                  </a:lnTo>
                  <a:lnTo>
                    <a:pt x="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86" name="Freeform 1476"/>
            <p:cNvSpPr>
              <a:spLocks/>
            </p:cNvSpPr>
            <p:nvPr/>
          </p:nvSpPr>
          <p:spPr bwMode="auto">
            <a:xfrm>
              <a:off x="4492405" y="2434924"/>
              <a:ext cx="753153" cy="457374"/>
            </a:xfrm>
            <a:custGeom>
              <a:avLst/>
              <a:gdLst/>
              <a:ahLst/>
              <a:cxnLst>
                <a:cxn ang="0">
                  <a:pos x="802" y="43"/>
                </a:cxn>
                <a:cxn ang="0">
                  <a:pos x="768" y="85"/>
                </a:cxn>
                <a:cxn ang="0">
                  <a:pos x="689" y="110"/>
                </a:cxn>
                <a:cxn ang="0">
                  <a:pos x="674" y="126"/>
                </a:cxn>
                <a:cxn ang="0">
                  <a:pos x="606" y="159"/>
                </a:cxn>
                <a:cxn ang="0">
                  <a:pos x="596" y="139"/>
                </a:cxn>
                <a:cxn ang="0">
                  <a:pos x="581" y="111"/>
                </a:cxn>
                <a:cxn ang="0">
                  <a:pos x="577" y="82"/>
                </a:cxn>
                <a:cxn ang="0">
                  <a:pos x="555" y="95"/>
                </a:cxn>
                <a:cxn ang="0">
                  <a:pos x="546" y="138"/>
                </a:cxn>
                <a:cxn ang="0">
                  <a:pos x="525" y="94"/>
                </a:cxn>
                <a:cxn ang="0">
                  <a:pos x="567" y="74"/>
                </a:cxn>
                <a:cxn ang="0">
                  <a:pos x="574" y="62"/>
                </a:cxn>
                <a:cxn ang="0">
                  <a:pos x="526" y="56"/>
                </a:cxn>
                <a:cxn ang="0">
                  <a:pos x="495" y="55"/>
                </a:cxn>
                <a:cxn ang="0">
                  <a:pos x="497" y="30"/>
                </a:cxn>
                <a:cxn ang="0">
                  <a:pos x="445" y="17"/>
                </a:cxn>
                <a:cxn ang="0">
                  <a:pos x="27" y="8"/>
                </a:cxn>
                <a:cxn ang="0">
                  <a:pos x="32" y="21"/>
                </a:cxn>
                <a:cxn ang="0">
                  <a:pos x="27" y="33"/>
                </a:cxn>
                <a:cxn ang="0">
                  <a:pos x="8" y="50"/>
                </a:cxn>
                <a:cxn ang="0">
                  <a:pos x="11" y="59"/>
                </a:cxn>
                <a:cxn ang="0">
                  <a:pos x="11" y="82"/>
                </a:cxn>
                <a:cxn ang="0">
                  <a:pos x="13" y="194"/>
                </a:cxn>
                <a:cxn ang="0">
                  <a:pos x="35" y="222"/>
                </a:cxn>
                <a:cxn ang="0">
                  <a:pos x="40" y="242"/>
                </a:cxn>
                <a:cxn ang="0">
                  <a:pos x="66" y="286"/>
                </a:cxn>
                <a:cxn ang="0">
                  <a:pos x="95" y="299"/>
                </a:cxn>
                <a:cxn ang="0">
                  <a:pos x="281" y="351"/>
                </a:cxn>
                <a:cxn ang="0">
                  <a:pos x="365" y="420"/>
                </a:cxn>
                <a:cxn ang="0">
                  <a:pos x="388" y="408"/>
                </a:cxn>
                <a:cxn ang="0">
                  <a:pos x="395" y="392"/>
                </a:cxn>
                <a:cxn ang="0">
                  <a:pos x="404" y="383"/>
                </a:cxn>
                <a:cxn ang="0">
                  <a:pos x="407" y="388"/>
                </a:cxn>
                <a:cxn ang="0">
                  <a:pos x="461" y="369"/>
                </a:cxn>
                <a:cxn ang="0">
                  <a:pos x="487" y="374"/>
                </a:cxn>
                <a:cxn ang="0">
                  <a:pos x="497" y="369"/>
                </a:cxn>
                <a:cxn ang="0">
                  <a:pos x="488" y="360"/>
                </a:cxn>
                <a:cxn ang="0">
                  <a:pos x="529" y="356"/>
                </a:cxn>
                <a:cxn ang="0">
                  <a:pos x="559" y="366"/>
                </a:cxn>
                <a:cxn ang="0">
                  <a:pos x="594" y="374"/>
                </a:cxn>
                <a:cxn ang="0">
                  <a:pos x="607" y="415"/>
                </a:cxn>
                <a:cxn ang="0">
                  <a:pos x="631" y="436"/>
                </a:cxn>
                <a:cxn ang="0">
                  <a:pos x="626" y="325"/>
                </a:cxn>
                <a:cxn ang="0">
                  <a:pos x="646" y="306"/>
                </a:cxn>
                <a:cxn ang="0">
                  <a:pos x="687" y="277"/>
                </a:cxn>
                <a:cxn ang="0">
                  <a:pos x="687" y="270"/>
                </a:cxn>
                <a:cxn ang="0">
                  <a:pos x="683" y="255"/>
                </a:cxn>
                <a:cxn ang="0">
                  <a:pos x="694" y="248"/>
                </a:cxn>
                <a:cxn ang="0">
                  <a:pos x="689" y="236"/>
                </a:cxn>
                <a:cxn ang="0">
                  <a:pos x="676" y="213"/>
                </a:cxn>
                <a:cxn ang="0">
                  <a:pos x="686" y="212"/>
                </a:cxn>
                <a:cxn ang="0">
                  <a:pos x="690" y="206"/>
                </a:cxn>
                <a:cxn ang="0">
                  <a:pos x="696" y="225"/>
                </a:cxn>
                <a:cxn ang="0">
                  <a:pos x="699" y="197"/>
                </a:cxn>
                <a:cxn ang="0">
                  <a:pos x="721" y="188"/>
                </a:cxn>
                <a:cxn ang="0">
                  <a:pos x="741" y="164"/>
                </a:cxn>
                <a:cxn ang="0">
                  <a:pos x="776" y="158"/>
                </a:cxn>
                <a:cxn ang="0">
                  <a:pos x="764" y="145"/>
                </a:cxn>
                <a:cxn ang="0">
                  <a:pos x="780" y="114"/>
                </a:cxn>
                <a:cxn ang="0">
                  <a:pos x="792" y="107"/>
                </a:cxn>
                <a:cxn ang="0">
                  <a:pos x="808" y="103"/>
                </a:cxn>
              </a:cxnLst>
              <a:rect l="0" t="0" r="r" b="b"/>
              <a:pathLst>
                <a:path w="821" h="440">
                  <a:moveTo>
                    <a:pt x="821" y="94"/>
                  </a:moveTo>
                  <a:lnTo>
                    <a:pt x="819" y="94"/>
                  </a:lnTo>
                  <a:lnTo>
                    <a:pt x="819" y="94"/>
                  </a:lnTo>
                  <a:lnTo>
                    <a:pt x="821" y="93"/>
                  </a:lnTo>
                  <a:lnTo>
                    <a:pt x="819" y="88"/>
                  </a:lnTo>
                  <a:lnTo>
                    <a:pt x="819" y="88"/>
                  </a:lnTo>
                  <a:lnTo>
                    <a:pt x="818" y="88"/>
                  </a:lnTo>
                  <a:lnTo>
                    <a:pt x="816" y="88"/>
                  </a:lnTo>
                  <a:lnTo>
                    <a:pt x="813" y="87"/>
                  </a:lnTo>
                  <a:lnTo>
                    <a:pt x="813" y="84"/>
                  </a:lnTo>
                  <a:lnTo>
                    <a:pt x="813" y="80"/>
                  </a:lnTo>
                  <a:lnTo>
                    <a:pt x="809" y="78"/>
                  </a:lnTo>
                  <a:lnTo>
                    <a:pt x="809" y="50"/>
                  </a:lnTo>
                  <a:lnTo>
                    <a:pt x="802" y="43"/>
                  </a:lnTo>
                  <a:lnTo>
                    <a:pt x="800" y="43"/>
                  </a:lnTo>
                  <a:lnTo>
                    <a:pt x="799" y="46"/>
                  </a:lnTo>
                  <a:lnTo>
                    <a:pt x="795" y="48"/>
                  </a:lnTo>
                  <a:lnTo>
                    <a:pt x="790" y="46"/>
                  </a:lnTo>
                  <a:lnTo>
                    <a:pt x="790" y="43"/>
                  </a:lnTo>
                  <a:lnTo>
                    <a:pt x="787" y="42"/>
                  </a:lnTo>
                  <a:lnTo>
                    <a:pt x="786" y="42"/>
                  </a:lnTo>
                  <a:lnTo>
                    <a:pt x="784" y="43"/>
                  </a:lnTo>
                  <a:lnTo>
                    <a:pt x="773" y="69"/>
                  </a:lnTo>
                  <a:lnTo>
                    <a:pt x="771" y="78"/>
                  </a:lnTo>
                  <a:lnTo>
                    <a:pt x="768" y="82"/>
                  </a:lnTo>
                  <a:lnTo>
                    <a:pt x="768" y="84"/>
                  </a:lnTo>
                  <a:lnTo>
                    <a:pt x="768" y="85"/>
                  </a:lnTo>
                  <a:lnTo>
                    <a:pt x="768" y="85"/>
                  </a:lnTo>
                  <a:lnTo>
                    <a:pt x="767" y="85"/>
                  </a:lnTo>
                  <a:lnTo>
                    <a:pt x="767" y="85"/>
                  </a:lnTo>
                  <a:lnTo>
                    <a:pt x="767" y="87"/>
                  </a:lnTo>
                  <a:lnTo>
                    <a:pt x="764" y="85"/>
                  </a:lnTo>
                  <a:lnTo>
                    <a:pt x="761" y="87"/>
                  </a:lnTo>
                  <a:lnTo>
                    <a:pt x="758" y="87"/>
                  </a:lnTo>
                  <a:lnTo>
                    <a:pt x="757" y="88"/>
                  </a:lnTo>
                  <a:lnTo>
                    <a:pt x="755" y="93"/>
                  </a:lnTo>
                  <a:lnTo>
                    <a:pt x="706" y="93"/>
                  </a:lnTo>
                  <a:lnTo>
                    <a:pt x="697" y="98"/>
                  </a:lnTo>
                  <a:lnTo>
                    <a:pt x="694" y="104"/>
                  </a:lnTo>
                  <a:lnTo>
                    <a:pt x="689" y="109"/>
                  </a:lnTo>
                  <a:lnTo>
                    <a:pt x="687" y="110"/>
                  </a:lnTo>
                  <a:lnTo>
                    <a:pt x="689" y="110"/>
                  </a:lnTo>
                  <a:lnTo>
                    <a:pt x="690" y="110"/>
                  </a:lnTo>
                  <a:lnTo>
                    <a:pt x="690" y="111"/>
                  </a:lnTo>
                  <a:lnTo>
                    <a:pt x="690" y="113"/>
                  </a:lnTo>
                  <a:lnTo>
                    <a:pt x="690" y="113"/>
                  </a:lnTo>
                  <a:lnTo>
                    <a:pt x="689" y="113"/>
                  </a:lnTo>
                  <a:lnTo>
                    <a:pt x="689" y="114"/>
                  </a:lnTo>
                  <a:lnTo>
                    <a:pt x="689" y="114"/>
                  </a:lnTo>
                  <a:lnTo>
                    <a:pt x="690" y="116"/>
                  </a:lnTo>
                  <a:lnTo>
                    <a:pt x="690" y="119"/>
                  </a:lnTo>
                  <a:lnTo>
                    <a:pt x="690" y="120"/>
                  </a:lnTo>
                  <a:lnTo>
                    <a:pt x="686" y="122"/>
                  </a:lnTo>
                  <a:lnTo>
                    <a:pt x="681" y="125"/>
                  </a:lnTo>
                  <a:lnTo>
                    <a:pt x="678" y="125"/>
                  </a:lnTo>
                  <a:lnTo>
                    <a:pt x="674" y="126"/>
                  </a:lnTo>
                  <a:lnTo>
                    <a:pt x="673" y="125"/>
                  </a:lnTo>
                  <a:lnTo>
                    <a:pt x="670" y="126"/>
                  </a:lnTo>
                  <a:lnTo>
                    <a:pt x="668" y="125"/>
                  </a:lnTo>
                  <a:lnTo>
                    <a:pt x="662" y="123"/>
                  </a:lnTo>
                  <a:lnTo>
                    <a:pt x="649" y="126"/>
                  </a:lnTo>
                  <a:lnTo>
                    <a:pt x="651" y="135"/>
                  </a:lnTo>
                  <a:lnTo>
                    <a:pt x="648" y="138"/>
                  </a:lnTo>
                  <a:lnTo>
                    <a:pt x="646" y="139"/>
                  </a:lnTo>
                  <a:lnTo>
                    <a:pt x="646" y="139"/>
                  </a:lnTo>
                  <a:lnTo>
                    <a:pt x="645" y="139"/>
                  </a:lnTo>
                  <a:lnTo>
                    <a:pt x="636" y="146"/>
                  </a:lnTo>
                  <a:lnTo>
                    <a:pt x="633" y="146"/>
                  </a:lnTo>
                  <a:lnTo>
                    <a:pt x="610" y="159"/>
                  </a:lnTo>
                  <a:lnTo>
                    <a:pt x="606" y="159"/>
                  </a:lnTo>
                  <a:lnTo>
                    <a:pt x="600" y="161"/>
                  </a:lnTo>
                  <a:lnTo>
                    <a:pt x="596" y="159"/>
                  </a:lnTo>
                  <a:lnTo>
                    <a:pt x="594" y="159"/>
                  </a:lnTo>
                  <a:lnTo>
                    <a:pt x="593" y="159"/>
                  </a:lnTo>
                  <a:lnTo>
                    <a:pt x="591" y="159"/>
                  </a:lnTo>
                  <a:lnTo>
                    <a:pt x="590" y="158"/>
                  </a:lnTo>
                  <a:lnTo>
                    <a:pt x="585" y="157"/>
                  </a:lnTo>
                  <a:lnTo>
                    <a:pt x="591" y="151"/>
                  </a:lnTo>
                  <a:lnTo>
                    <a:pt x="591" y="148"/>
                  </a:lnTo>
                  <a:lnTo>
                    <a:pt x="593" y="145"/>
                  </a:lnTo>
                  <a:lnTo>
                    <a:pt x="593" y="143"/>
                  </a:lnTo>
                  <a:lnTo>
                    <a:pt x="593" y="142"/>
                  </a:lnTo>
                  <a:lnTo>
                    <a:pt x="594" y="141"/>
                  </a:lnTo>
                  <a:lnTo>
                    <a:pt x="596" y="139"/>
                  </a:lnTo>
                  <a:lnTo>
                    <a:pt x="599" y="139"/>
                  </a:lnTo>
                  <a:lnTo>
                    <a:pt x="600" y="129"/>
                  </a:lnTo>
                  <a:lnTo>
                    <a:pt x="600" y="130"/>
                  </a:lnTo>
                  <a:lnTo>
                    <a:pt x="599" y="126"/>
                  </a:lnTo>
                  <a:lnTo>
                    <a:pt x="597" y="119"/>
                  </a:lnTo>
                  <a:lnTo>
                    <a:pt x="593" y="110"/>
                  </a:lnTo>
                  <a:lnTo>
                    <a:pt x="591" y="110"/>
                  </a:lnTo>
                  <a:lnTo>
                    <a:pt x="587" y="111"/>
                  </a:lnTo>
                  <a:lnTo>
                    <a:pt x="587" y="113"/>
                  </a:lnTo>
                  <a:lnTo>
                    <a:pt x="585" y="117"/>
                  </a:lnTo>
                  <a:lnTo>
                    <a:pt x="581" y="119"/>
                  </a:lnTo>
                  <a:lnTo>
                    <a:pt x="580" y="117"/>
                  </a:lnTo>
                  <a:lnTo>
                    <a:pt x="580" y="117"/>
                  </a:lnTo>
                  <a:lnTo>
                    <a:pt x="581" y="111"/>
                  </a:lnTo>
                  <a:lnTo>
                    <a:pt x="584" y="109"/>
                  </a:lnTo>
                  <a:lnTo>
                    <a:pt x="585" y="107"/>
                  </a:lnTo>
                  <a:lnTo>
                    <a:pt x="587" y="104"/>
                  </a:lnTo>
                  <a:lnTo>
                    <a:pt x="588" y="103"/>
                  </a:lnTo>
                  <a:lnTo>
                    <a:pt x="587" y="95"/>
                  </a:lnTo>
                  <a:lnTo>
                    <a:pt x="585" y="93"/>
                  </a:lnTo>
                  <a:lnTo>
                    <a:pt x="585" y="91"/>
                  </a:lnTo>
                  <a:lnTo>
                    <a:pt x="587" y="90"/>
                  </a:lnTo>
                  <a:lnTo>
                    <a:pt x="587" y="90"/>
                  </a:lnTo>
                  <a:lnTo>
                    <a:pt x="585" y="87"/>
                  </a:lnTo>
                  <a:lnTo>
                    <a:pt x="584" y="85"/>
                  </a:lnTo>
                  <a:lnTo>
                    <a:pt x="580" y="84"/>
                  </a:lnTo>
                  <a:lnTo>
                    <a:pt x="578" y="82"/>
                  </a:lnTo>
                  <a:lnTo>
                    <a:pt x="577" y="82"/>
                  </a:lnTo>
                  <a:lnTo>
                    <a:pt x="574" y="80"/>
                  </a:lnTo>
                  <a:lnTo>
                    <a:pt x="572" y="78"/>
                  </a:lnTo>
                  <a:lnTo>
                    <a:pt x="571" y="78"/>
                  </a:lnTo>
                  <a:lnTo>
                    <a:pt x="570" y="78"/>
                  </a:lnTo>
                  <a:lnTo>
                    <a:pt x="567" y="78"/>
                  </a:lnTo>
                  <a:lnTo>
                    <a:pt x="564" y="78"/>
                  </a:lnTo>
                  <a:lnTo>
                    <a:pt x="562" y="80"/>
                  </a:lnTo>
                  <a:lnTo>
                    <a:pt x="562" y="82"/>
                  </a:lnTo>
                  <a:lnTo>
                    <a:pt x="564" y="84"/>
                  </a:lnTo>
                  <a:lnTo>
                    <a:pt x="564" y="85"/>
                  </a:lnTo>
                  <a:lnTo>
                    <a:pt x="558" y="87"/>
                  </a:lnTo>
                  <a:lnTo>
                    <a:pt x="558" y="93"/>
                  </a:lnTo>
                  <a:lnTo>
                    <a:pt x="556" y="94"/>
                  </a:lnTo>
                  <a:lnTo>
                    <a:pt x="555" y="95"/>
                  </a:lnTo>
                  <a:lnTo>
                    <a:pt x="555" y="94"/>
                  </a:lnTo>
                  <a:lnTo>
                    <a:pt x="555" y="91"/>
                  </a:lnTo>
                  <a:lnTo>
                    <a:pt x="554" y="90"/>
                  </a:lnTo>
                  <a:lnTo>
                    <a:pt x="552" y="90"/>
                  </a:lnTo>
                  <a:lnTo>
                    <a:pt x="551" y="91"/>
                  </a:lnTo>
                  <a:lnTo>
                    <a:pt x="548" y="94"/>
                  </a:lnTo>
                  <a:lnTo>
                    <a:pt x="548" y="95"/>
                  </a:lnTo>
                  <a:lnTo>
                    <a:pt x="546" y="98"/>
                  </a:lnTo>
                  <a:lnTo>
                    <a:pt x="545" y="106"/>
                  </a:lnTo>
                  <a:lnTo>
                    <a:pt x="545" y="107"/>
                  </a:lnTo>
                  <a:lnTo>
                    <a:pt x="543" y="107"/>
                  </a:lnTo>
                  <a:lnTo>
                    <a:pt x="542" y="119"/>
                  </a:lnTo>
                  <a:lnTo>
                    <a:pt x="546" y="129"/>
                  </a:lnTo>
                  <a:lnTo>
                    <a:pt x="546" y="138"/>
                  </a:lnTo>
                  <a:lnTo>
                    <a:pt x="540" y="152"/>
                  </a:lnTo>
                  <a:lnTo>
                    <a:pt x="533" y="157"/>
                  </a:lnTo>
                  <a:lnTo>
                    <a:pt x="530" y="157"/>
                  </a:lnTo>
                  <a:lnTo>
                    <a:pt x="527" y="155"/>
                  </a:lnTo>
                  <a:lnTo>
                    <a:pt x="523" y="145"/>
                  </a:lnTo>
                  <a:lnTo>
                    <a:pt x="523" y="127"/>
                  </a:lnTo>
                  <a:lnTo>
                    <a:pt x="535" y="88"/>
                  </a:lnTo>
                  <a:lnTo>
                    <a:pt x="533" y="87"/>
                  </a:lnTo>
                  <a:lnTo>
                    <a:pt x="530" y="91"/>
                  </a:lnTo>
                  <a:lnTo>
                    <a:pt x="529" y="95"/>
                  </a:lnTo>
                  <a:lnTo>
                    <a:pt x="527" y="95"/>
                  </a:lnTo>
                  <a:lnTo>
                    <a:pt x="522" y="101"/>
                  </a:lnTo>
                  <a:lnTo>
                    <a:pt x="522" y="100"/>
                  </a:lnTo>
                  <a:lnTo>
                    <a:pt x="525" y="94"/>
                  </a:lnTo>
                  <a:lnTo>
                    <a:pt x="526" y="93"/>
                  </a:lnTo>
                  <a:lnTo>
                    <a:pt x="536" y="77"/>
                  </a:lnTo>
                  <a:lnTo>
                    <a:pt x="536" y="77"/>
                  </a:lnTo>
                  <a:lnTo>
                    <a:pt x="539" y="77"/>
                  </a:lnTo>
                  <a:lnTo>
                    <a:pt x="540" y="74"/>
                  </a:lnTo>
                  <a:lnTo>
                    <a:pt x="540" y="80"/>
                  </a:lnTo>
                  <a:lnTo>
                    <a:pt x="542" y="80"/>
                  </a:lnTo>
                  <a:lnTo>
                    <a:pt x="546" y="74"/>
                  </a:lnTo>
                  <a:lnTo>
                    <a:pt x="554" y="72"/>
                  </a:lnTo>
                  <a:lnTo>
                    <a:pt x="556" y="71"/>
                  </a:lnTo>
                  <a:lnTo>
                    <a:pt x="559" y="69"/>
                  </a:lnTo>
                  <a:lnTo>
                    <a:pt x="562" y="71"/>
                  </a:lnTo>
                  <a:lnTo>
                    <a:pt x="565" y="72"/>
                  </a:lnTo>
                  <a:lnTo>
                    <a:pt x="567" y="74"/>
                  </a:lnTo>
                  <a:lnTo>
                    <a:pt x="568" y="74"/>
                  </a:lnTo>
                  <a:lnTo>
                    <a:pt x="570" y="72"/>
                  </a:lnTo>
                  <a:lnTo>
                    <a:pt x="570" y="71"/>
                  </a:lnTo>
                  <a:lnTo>
                    <a:pt x="571" y="72"/>
                  </a:lnTo>
                  <a:lnTo>
                    <a:pt x="572" y="74"/>
                  </a:lnTo>
                  <a:lnTo>
                    <a:pt x="578" y="72"/>
                  </a:lnTo>
                  <a:lnTo>
                    <a:pt x="578" y="72"/>
                  </a:lnTo>
                  <a:lnTo>
                    <a:pt x="578" y="71"/>
                  </a:lnTo>
                  <a:lnTo>
                    <a:pt x="577" y="71"/>
                  </a:lnTo>
                  <a:lnTo>
                    <a:pt x="577" y="69"/>
                  </a:lnTo>
                  <a:lnTo>
                    <a:pt x="574" y="68"/>
                  </a:lnTo>
                  <a:lnTo>
                    <a:pt x="574" y="65"/>
                  </a:lnTo>
                  <a:lnTo>
                    <a:pt x="574" y="64"/>
                  </a:lnTo>
                  <a:lnTo>
                    <a:pt x="574" y="62"/>
                  </a:lnTo>
                  <a:lnTo>
                    <a:pt x="572" y="62"/>
                  </a:lnTo>
                  <a:lnTo>
                    <a:pt x="567" y="62"/>
                  </a:lnTo>
                  <a:lnTo>
                    <a:pt x="562" y="61"/>
                  </a:lnTo>
                  <a:lnTo>
                    <a:pt x="562" y="58"/>
                  </a:lnTo>
                  <a:lnTo>
                    <a:pt x="562" y="56"/>
                  </a:lnTo>
                  <a:lnTo>
                    <a:pt x="559" y="56"/>
                  </a:lnTo>
                  <a:lnTo>
                    <a:pt x="558" y="58"/>
                  </a:lnTo>
                  <a:lnTo>
                    <a:pt x="548" y="58"/>
                  </a:lnTo>
                  <a:lnTo>
                    <a:pt x="542" y="61"/>
                  </a:lnTo>
                  <a:lnTo>
                    <a:pt x="540" y="62"/>
                  </a:lnTo>
                  <a:lnTo>
                    <a:pt x="539" y="62"/>
                  </a:lnTo>
                  <a:lnTo>
                    <a:pt x="533" y="61"/>
                  </a:lnTo>
                  <a:lnTo>
                    <a:pt x="530" y="62"/>
                  </a:lnTo>
                  <a:lnTo>
                    <a:pt x="526" y="56"/>
                  </a:lnTo>
                  <a:lnTo>
                    <a:pt x="522" y="53"/>
                  </a:lnTo>
                  <a:lnTo>
                    <a:pt x="517" y="55"/>
                  </a:lnTo>
                  <a:lnTo>
                    <a:pt x="516" y="53"/>
                  </a:lnTo>
                  <a:lnTo>
                    <a:pt x="514" y="56"/>
                  </a:lnTo>
                  <a:lnTo>
                    <a:pt x="514" y="52"/>
                  </a:lnTo>
                  <a:lnTo>
                    <a:pt x="516" y="50"/>
                  </a:lnTo>
                  <a:lnTo>
                    <a:pt x="517" y="49"/>
                  </a:lnTo>
                  <a:lnTo>
                    <a:pt x="522" y="45"/>
                  </a:lnTo>
                  <a:lnTo>
                    <a:pt x="525" y="42"/>
                  </a:lnTo>
                  <a:lnTo>
                    <a:pt x="525" y="40"/>
                  </a:lnTo>
                  <a:lnTo>
                    <a:pt x="520" y="40"/>
                  </a:lnTo>
                  <a:lnTo>
                    <a:pt x="514" y="43"/>
                  </a:lnTo>
                  <a:lnTo>
                    <a:pt x="503" y="53"/>
                  </a:lnTo>
                  <a:lnTo>
                    <a:pt x="495" y="55"/>
                  </a:lnTo>
                  <a:lnTo>
                    <a:pt x="490" y="59"/>
                  </a:lnTo>
                  <a:lnTo>
                    <a:pt x="481" y="59"/>
                  </a:lnTo>
                  <a:lnTo>
                    <a:pt x="481" y="61"/>
                  </a:lnTo>
                  <a:lnTo>
                    <a:pt x="480" y="59"/>
                  </a:lnTo>
                  <a:lnTo>
                    <a:pt x="481" y="56"/>
                  </a:lnTo>
                  <a:lnTo>
                    <a:pt x="481" y="53"/>
                  </a:lnTo>
                  <a:lnTo>
                    <a:pt x="480" y="52"/>
                  </a:lnTo>
                  <a:lnTo>
                    <a:pt x="469" y="58"/>
                  </a:lnTo>
                  <a:lnTo>
                    <a:pt x="466" y="59"/>
                  </a:lnTo>
                  <a:lnTo>
                    <a:pt x="464" y="59"/>
                  </a:lnTo>
                  <a:lnTo>
                    <a:pt x="464" y="58"/>
                  </a:lnTo>
                  <a:lnTo>
                    <a:pt x="485" y="37"/>
                  </a:lnTo>
                  <a:lnTo>
                    <a:pt x="491" y="36"/>
                  </a:lnTo>
                  <a:lnTo>
                    <a:pt x="497" y="30"/>
                  </a:lnTo>
                  <a:lnTo>
                    <a:pt x="495" y="30"/>
                  </a:lnTo>
                  <a:lnTo>
                    <a:pt x="491" y="29"/>
                  </a:lnTo>
                  <a:lnTo>
                    <a:pt x="485" y="29"/>
                  </a:lnTo>
                  <a:lnTo>
                    <a:pt x="481" y="27"/>
                  </a:lnTo>
                  <a:lnTo>
                    <a:pt x="478" y="27"/>
                  </a:lnTo>
                  <a:lnTo>
                    <a:pt x="475" y="29"/>
                  </a:lnTo>
                  <a:lnTo>
                    <a:pt x="474" y="29"/>
                  </a:lnTo>
                  <a:lnTo>
                    <a:pt x="469" y="27"/>
                  </a:lnTo>
                  <a:lnTo>
                    <a:pt x="468" y="24"/>
                  </a:lnTo>
                  <a:lnTo>
                    <a:pt x="459" y="20"/>
                  </a:lnTo>
                  <a:lnTo>
                    <a:pt x="458" y="18"/>
                  </a:lnTo>
                  <a:lnTo>
                    <a:pt x="453" y="17"/>
                  </a:lnTo>
                  <a:lnTo>
                    <a:pt x="446" y="16"/>
                  </a:lnTo>
                  <a:lnTo>
                    <a:pt x="445" y="17"/>
                  </a:lnTo>
                  <a:lnTo>
                    <a:pt x="442" y="17"/>
                  </a:lnTo>
                  <a:lnTo>
                    <a:pt x="439" y="17"/>
                  </a:lnTo>
                  <a:lnTo>
                    <a:pt x="439" y="17"/>
                  </a:lnTo>
                  <a:lnTo>
                    <a:pt x="439" y="16"/>
                  </a:lnTo>
                  <a:lnTo>
                    <a:pt x="434" y="14"/>
                  </a:lnTo>
                  <a:lnTo>
                    <a:pt x="430" y="14"/>
                  </a:lnTo>
                  <a:lnTo>
                    <a:pt x="430" y="14"/>
                  </a:lnTo>
                  <a:lnTo>
                    <a:pt x="429" y="14"/>
                  </a:lnTo>
                  <a:lnTo>
                    <a:pt x="426" y="8"/>
                  </a:lnTo>
                  <a:lnTo>
                    <a:pt x="426" y="8"/>
                  </a:lnTo>
                  <a:lnTo>
                    <a:pt x="423" y="0"/>
                  </a:lnTo>
                  <a:lnTo>
                    <a:pt x="420" y="0"/>
                  </a:lnTo>
                  <a:lnTo>
                    <a:pt x="420" y="10"/>
                  </a:lnTo>
                  <a:lnTo>
                    <a:pt x="27" y="8"/>
                  </a:lnTo>
                  <a:lnTo>
                    <a:pt x="28" y="11"/>
                  </a:lnTo>
                  <a:lnTo>
                    <a:pt x="29" y="13"/>
                  </a:lnTo>
                  <a:lnTo>
                    <a:pt x="31" y="13"/>
                  </a:lnTo>
                  <a:lnTo>
                    <a:pt x="34" y="14"/>
                  </a:lnTo>
                  <a:lnTo>
                    <a:pt x="34" y="14"/>
                  </a:lnTo>
                  <a:lnTo>
                    <a:pt x="34" y="14"/>
                  </a:lnTo>
                  <a:lnTo>
                    <a:pt x="32" y="14"/>
                  </a:lnTo>
                  <a:lnTo>
                    <a:pt x="32" y="14"/>
                  </a:lnTo>
                  <a:lnTo>
                    <a:pt x="32" y="17"/>
                  </a:lnTo>
                  <a:lnTo>
                    <a:pt x="31" y="18"/>
                  </a:lnTo>
                  <a:lnTo>
                    <a:pt x="29" y="18"/>
                  </a:lnTo>
                  <a:lnTo>
                    <a:pt x="29" y="20"/>
                  </a:lnTo>
                  <a:lnTo>
                    <a:pt x="31" y="21"/>
                  </a:lnTo>
                  <a:lnTo>
                    <a:pt x="32" y="21"/>
                  </a:lnTo>
                  <a:lnTo>
                    <a:pt x="34" y="27"/>
                  </a:lnTo>
                  <a:lnTo>
                    <a:pt x="34" y="34"/>
                  </a:lnTo>
                  <a:lnTo>
                    <a:pt x="34" y="34"/>
                  </a:lnTo>
                  <a:lnTo>
                    <a:pt x="32" y="33"/>
                  </a:lnTo>
                  <a:lnTo>
                    <a:pt x="32" y="32"/>
                  </a:lnTo>
                  <a:lnTo>
                    <a:pt x="31" y="33"/>
                  </a:lnTo>
                  <a:lnTo>
                    <a:pt x="28" y="36"/>
                  </a:lnTo>
                  <a:lnTo>
                    <a:pt x="27" y="39"/>
                  </a:lnTo>
                  <a:lnTo>
                    <a:pt x="25" y="40"/>
                  </a:lnTo>
                  <a:lnTo>
                    <a:pt x="27" y="40"/>
                  </a:lnTo>
                  <a:lnTo>
                    <a:pt x="25" y="42"/>
                  </a:lnTo>
                  <a:lnTo>
                    <a:pt x="24" y="42"/>
                  </a:lnTo>
                  <a:lnTo>
                    <a:pt x="24" y="39"/>
                  </a:lnTo>
                  <a:lnTo>
                    <a:pt x="27" y="33"/>
                  </a:lnTo>
                  <a:lnTo>
                    <a:pt x="28" y="32"/>
                  </a:lnTo>
                  <a:lnTo>
                    <a:pt x="28" y="32"/>
                  </a:lnTo>
                  <a:lnTo>
                    <a:pt x="29" y="29"/>
                  </a:lnTo>
                  <a:lnTo>
                    <a:pt x="28" y="27"/>
                  </a:lnTo>
                  <a:lnTo>
                    <a:pt x="25" y="27"/>
                  </a:lnTo>
                  <a:lnTo>
                    <a:pt x="22" y="26"/>
                  </a:lnTo>
                  <a:lnTo>
                    <a:pt x="12" y="24"/>
                  </a:lnTo>
                  <a:lnTo>
                    <a:pt x="2" y="21"/>
                  </a:lnTo>
                  <a:lnTo>
                    <a:pt x="0" y="23"/>
                  </a:lnTo>
                  <a:lnTo>
                    <a:pt x="0" y="24"/>
                  </a:lnTo>
                  <a:lnTo>
                    <a:pt x="0" y="27"/>
                  </a:lnTo>
                  <a:lnTo>
                    <a:pt x="2" y="32"/>
                  </a:lnTo>
                  <a:lnTo>
                    <a:pt x="3" y="33"/>
                  </a:lnTo>
                  <a:lnTo>
                    <a:pt x="8" y="50"/>
                  </a:lnTo>
                  <a:lnTo>
                    <a:pt x="9" y="50"/>
                  </a:lnTo>
                  <a:lnTo>
                    <a:pt x="9" y="49"/>
                  </a:lnTo>
                  <a:lnTo>
                    <a:pt x="11" y="50"/>
                  </a:lnTo>
                  <a:lnTo>
                    <a:pt x="11" y="52"/>
                  </a:lnTo>
                  <a:lnTo>
                    <a:pt x="9" y="53"/>
                  </a:lnTo>
                  <a:lnTo>
                    <a:pt x="9" y="55"/>
                  </a:lnTo>
                  <a:lnTo>
                    <a:pt x="9" y="55"/>
                  </a:lnTo>
                  <a:lnTo>
                    <a:pt x="11" y="56"/>
                  </a:lnTo>
                  <a:lnTo>
                    <a:pt x="12" y="55"/>
                  </a:lnTo>
                  <a:lnTo>
                    <a:pt x="12" y="56"/>
                  </a:lnTo>
                  <a:lnTo>
                    <a:pt x="12" y="61"/>
                  </a:lnTo>
                  <a:lnTo>
                    <a:pt x="12" y="62"/>
                  </a:lnTo>
                  <a:lnTo>
                    <a:pt x="11" y="62"/>
                  </a:lnTo>
                  <a:lnTo>
                    <a:pt x="11" y="59"/>
                  </a:lnTo>
                  <a:lnTo>
                    <a:pt x="9" y="58"/>
                  </a:lnTo>
                  <a:lnTo>
                    <a:pt x="11" y="64"/>
                  </a:lnTo>
                  <a:lnTo>
                    <a:pt x="12" y="65"/>
                  </a:lnTo>
                  <a:lnTo>
                    <a:pt x="18" y="65"/>
                  </a:lnTo>
                  <a:lnTo>
                    <a:pt x="21" y="68"/>
                  </a:lnTo>
                  <a:lnTo>
                    <a:pt x="21" y="68"/>
                  </a:lnTo>
                  <a:lnTo>
                    <a:pt x="18" y="66"/>
                  </a:lnTo>
                  <a:lnTo>
                    <a:pt x="12" y="68"/>
                  </a:lnTo>
                  <a:lnTo>
                    <a:pt x="12" y="68"/>
                  </a:lnTo>
                  <a:lnTo>
                    <a:pt x="11" y="75"/>
                  </a:lnTo>
                  <a:lnTo>
                    <a:pt x="12" y="77"/>
                  </a:lnTo>
                  <a:lnTo>
                    <a:pt x="12" y="78"/>
                  </a:lnTo>
                  <a:lnTo>
                    <a:pt x="12" y="81"/>
                  </a:lnTo>
                  <a:lnTo>
                    <a:pt x="11" y="82"/>
                  </a:lnTo>
                  <a:lnTo>
                    <a:pt x="8" y="120"/>
                  </a:lnTo>
                  <a:lnTo>
                    <a:pt x="8" y="120"/>
                  </a:lnTo>
                  <a:lnTo>
                    <a:pt x="8" y="120"/>
                  </a:lnTo>
                  <a:lnTo>
                    <a:pt x="8" y="123"/>
                  </a:lnTo>
                  <a:lnTo>
                    <a:pt x="6" y="123"/>
                  </a:lnTo>
                  <a:lnTo>
                    <a:pt x="5" y="126"/>
                  </a:lnTo>
                  <a:lnTo>
                    <a:pt x="3" y="133"/>
                  </a:lnTo>
                  <a:lnTo>
                    <a:pt x="11" y="162"/>
                  </a:lnTo>
                  <a:lnTo>
                    <a:pt x="9" y="173"/>
                  </a:lnTo>
                  <a:lnTo>
                    <a:pt x="6" y="178"/>
                  </a:lnTo>
                  <a:lnTo>
                    <a:pt x="6" y="181"/>
                  </a:lnTo>
                  <a:lnTo>
                    <a:pt x="8" y="183"/>
                  </a:lnTo>
                  <a:lnTo>
                    <a:pt x="13" y="193"/>
                  </a:lnTo>
                  <a:lnTo>
                    <a:pt x="13" y="194"/>
                  </a:lnTo>
                  <a:lnTo>
                    <a:pt x="13" y="199"/>
                  </a:lnTo>
                  <a:lnTo>
                    <a:pt x="16" y="209"/>
                  </a:lnTo>
                  <a:lnTo>
                    <a:pt x="25" y="218"/>
                  </a:lnTo>
                  <a:lnTo>
                    <a:pt x="25" y="220"/>
                  </a:lnTo>
                  <a:lnTo>
                    <a:pt x="25" y="222"/>
                  </a:lnTo>
                  <a:lnTo>
                    <a:pt x="25" y="223"/>
                  </a:lnTo>
                  <a:lnTo>
                    <a:pt x="28" y="225"/>
                  </a:lnTo>
                  <a:lnTo>
                    <a:pt x="29" y="225"/>
                  </a:lnTo>
                  <a:lnTo>
                    <a:pt x="29" y="226"/>
                  </a:lnTo>
                  <a:lnTo>
                    <a:pt x="31" y="226"/>
                  </a:lnTo>
                  <a:lnTo>
                    <a:pt x="31" y="226"/>
                  </a:lnTo>
                  <a:lnTo>
                    <a:pt x="32" y="225"/>
                  </a:lnTo>
                  <a:lnTo>
                    <a:pt x="32" y="222"/>
                  </a:lnTo>
                  <a:lnTo>
                    <a:pt x="35" y="222"/>
                  </a:lnTo>
                  <a:lnTo>
                    <a:pt x="38" y="223"/>
                  </a:lnTo>
                  <a:lnTo>
                    <a:pt x="37" y="223"/>
                  </a:lnTo>
                  <a:lnTo>
                    <a:pt x="35" y="225"/>
                  </a:lnTo>
                  <a:lnTo>
                    <a:pt x="34" y="226"/>
                  </a:lnTo>
                  <a:lnTo>
                    <a:pt x="34" y="228"/>
                  </a:lnTo>
                  <a:lnTo>
                    <a:pt x="37" y="232"/>
                  </a:lnTo>
                  <a:lnTo>
                    <a:pt x="37" y="234"/>
                  </a:lnTo>
                  <a:lnTo>
                    <a:pt x="34" y="229"/>
                  </a:lnTo>
                  <a:lnTo>
                    <a:pt x="34" y="228"/>
                  </a:lnTo>
                  <a:lnTo>
                    <a:pt x="32" y="228"/>
                  </a:lnTo>
                  <a:lnTo>
                    <a:pt x="32" y="231"/>
                  </a:lnTo>
                  <a:lnTo>
                    <a:pt x="34" y="239"/>
                  </a:lnTo>
                  <a:lnTo>
                    <a:pt x="37" y="242"/>
                  </a:lnTo>
                  <a:lnTo>
                    <a:pt x="40" y="242"/>
                  </a:lnTo>
                  <a:lnTo>
                    <a:pt x="41" y="245"/>
                  </a:lnTo>
                  <a:lnTo>
                    <a:pt x="41" y="248"/>
                  </a:lnTo>
                  <a:lnTo>
                    <a:pt x="40" y="250"/>
                  </a:lnTo>
                  <a:lnTo>
                    <a:pt x="40" y="254"/>
                  </a:lnTo>
                  <a:lnTo>
                    <a:pt x="54" y="270"/>
                  </a:lnTo>
                  <a:lnTo>
                    <a:pt x="56" y="270"/>
                  </a:lnTo>
                  <a:lnTo>
                    <a:pt x="56" y="273"/>
                  </a:lnTo>
                  <a:lnTo>
                    <a:pt x="57" y="274"/>
                  </a:lnTo>
                  <a:lnTo>
                    <a:pt x="58" y="276"/>
                  </a:lnTo>
                  <a:lnTo>
                    <a:pt x="58" y="277"/>
                  </a:lnTo>
                  <a:lnTo>
                    <a:pt x="58" y="279"/>
                  </a:lnTo>
                  <a:lnTo>
                    <a:pt x="58" y="284"/>
                  </a:lnTo>
                  <a:lnTo>
                    <a:pt x="60" y="284"/>
                  </a:lnTo>
                  <a:lnTo>
                    <a:pt x="66" y="286"/>
                  </a:lnTo>
                  <a:lnTo>
                    <a:pt x="70" y="289"/>
                  </a:lnTo>
                  <a:lnTo>
                    <a:pt x="70" y="287"/>
                  </a:lnTo>
                  <a:lnTo>
                    <a:pt x="73" y="287"/>
                  </a:lnTo>
                  <a:lnTo>
                    <a:pt x="77" y="290"/>
                  </a:lnTo>
                  <a:lnTo>
                    <a:pt x="79" y="292"/>
                  </a:lnTo>
                  <a:lnTo>
                    <a:pt x="85" y="295"/>
                  </a:lnTo>
                  <a:lnTo>
                    <a:pt x="85" y="295"/>
                  </a:lnTo>
                  <a:lnTo>
                    <a:pt x="86" y="293"/>
                  </a:lnTo>
                  <a:lnTo>
                    <a:pt x="86" y="293"/>
                  </a:lnTo>
                  <a:lnTo>
                    <a:pt x="87" y="295"/>
                  </a:lnTo>
                  <a:lnTo>
                    <a:pt x="90" y="296"/>
                  </a:lnTo>
                  <a:lnTo>
                    <a:pt x="90" y="299"/>
                  </a:lnTo>
                  <a:lnTo>
                    <a:pt x="90" y="299"/>
                  </a:lnTo>
                  <a:lnTo>
                    <a:pt x="95" y="299"/>
                  </a:lnTo>
                  <a:lnTo>
                    <a:pt x="105" y="309"/>
                  </a:lnTo>
                  <a:lnTo>
                    <a:pt x="106" y="312"/>
                  </a:lnTo>
                  <a:lnTo>
                    <a:pt x="108" y="321"/>
                  </a:lnTo>
                  <a:lnTo>
                    <a:pt x="140" y="318"/>
                  </a:lnTo>
                  <a:lnTo>
                    <a:pt x="140" y="319"/>
                  </a:lnTo>
                  <a:lnTo>
                    <a:pt x="195" y="340"/>
                  </a:lnTo>
                  <a:lnTo>
                    <a:pt x="233" y="340"/>
                  </a:lnTo>
                  <a:lnTo>
                    <a:pt x="233" y="331"/>
                  </a:lnTo>
                  <a:lnTo>
                    <a:pt x="256" y="331"/>
                  </a:lnTo>
                  <a:lnTo>
                    <a:pt x="260" y="334"/>
                  </a:lnTo>
                  <a:lnTo>
                    <a:pt x="262" y="337"/>
                  </a:lnTo>
                  <a:lnTo>
                    <a:pt x="265" y="338"/>
                  </a:lnTo>
                  <a:lnTo>
                    <a:pt x="268" y="341"/>
                  </a:lnTo>
                  <a:lnTo>
                    <a:pt x="281" y="351"/>
                  </a:lnTo>
                  <a:lnTo>
                    <a:pt x="283" y="364"/>
                  </a:lnTo>
                  <a:lnTo>
                    <a:pt x="299" y="377"/>
                  </a:lnTo>
                  <a:lnTo>
                    <a:pt x="305" y="379"/>
                  </a:lnTo>
                  <a:lnTo>
                    <a:pt x="311" y="366"/>
                  </a:lnTo>
                  <a:lnTo>
                    <a:pt x="314" y="364"/>
                  </a:lnTo>
                  <a:lnTo>
                    <a:pt x="317" y="364"/>
                  </a:lnTo>
                  <a:lnTo>
                    <a:pt x="329" y="364"/>
                  </a:lnTo>
                  <a:lnTo>
                    <a:pt x="340" y="376"/>
                  </a:lnTo>
                  <a:lnTo>
                    <a:pt x="344" y="388"/>
                  </a:lnTo>
                  <a:lnTo>
                    <a:pt x="349" y="392"/>
                  </a:lnTo>
                  <a:lnTo>
                    <a:pt x="352" y="396"/>
                  </a:lnTo>
                  <a:lnTo>
                    <a:pt x="356" y="401"/>
                  </a:lnTo>
                  <a:lnTo>
                    <a:pt x="360" y="412"/>
                  </a:lnTo>
                  <a:lnTo>
                    <a:pt x="365" y="420"/>
                  </a:lnTo>
                  <a:lnTo>
                    <a:pt x="369" y="422"/>
                  </a:lnTo>
                  <a:lnTo>
                    <a:pt x="372" y="422"/>
                  </a:lnTo>
                  <a:lnTo>
                    <a:pt x="376" y="425"/>
                  </a:lnTo>
                  <a:lnTo>
                    <a:pt x="382" y="425"/>
                  </a:lnTo>
                  <a:lnTo>
                    <a:pt x="388" y="427"/>
                  </a:lnTo>
                  <a:lnTo>
                    <a:pt x="392" y="428"/>
                  </a:lnTo>
                  <a:lnTo>
                    <a:pt x="392" y="427"/>
                  </a:lnTo>
                  <a:lnTo>
                    <a:pt x="391" y="427"/>
                  </a:lnTo>
                  <a:lnTo>
                    <a:pt x="389" y="422"/>
                  </a:lnTo>
                  <a:lnTo>
                    <a:pt x="389" y="421"/>
                  </a:lnTo>
                  <a:lnTo>
                    <a:pt x="388" y="412"/>
                  </a:lnTo>
                  <a:lnTo>
                    <a:pt x="388" y="411"/>
                  </a:lnTo>
                  <a:lnTo>
                    <a:pt x="388" y="408"/>
                  </a:lnTo>
                  <a:lnTo>
                    <a:pt x="388" y="408"/>
                  </a:lnTo>
                  <a:lnTo>
                    <a:pt x="387" y="408"/>
                  </a:lnTo>
                  <a:lnTo>
                    <a:pt x="387" y="406"/>
                  </a:lnTo>
                  <a:lnTo>
                    <a:pt x="387" y="406"/>
                  </a:lnTo>
                  <a:lnTo>
                    <a:pt x="388" y="405"/>
                  </a:lnTo>
                  <a:lnTo>
                    <a:pt x="389" y="406"/>
                  </a:lnTo>
                  <a:lnTo>
                    <a:pt x="391" y="405"/>
                  </a:lnTo>
                  <a:lnTo>
                    <a:pt x="391" y="401"/>
                  </a:lnTo>
                  <a:lnTo>
                    <a:pt x="389" y="398"/>
                  </a:lnTo>
                  <a:lnTo>
                    <a:pt x="392" y="398"/>
                  </a:lnTo>
                  <a:lnTo>
                    <a:pt x="394" y="395"/>
                  </a:lnTo>
                  <a:lnTo>
                    <a:pt x="394" y="393"/>
                  </a:lnTo>
                  <a:lnTo>
                    <a:pt x="392" y="395"/>
                  </a:lnTo>
                  <a:lnTo>
                    <a:pt x="392" y="393"/>
                  </a:lnTo>
                  <a:lnTo>
                    <a:pt x="395" y="392"/>
                  </a:lnTo>
                  <a:lnTo>
                    <a:pt x="397" y="392"/>
                  </a:lnTo>
                  <a:lnTo>
                    <a:pt x="398" y="390"/>
                  </a:lnTo>
                  <a:lnTo>
                    <a:pt x="398" y="389"/>
                  </a:lnTo>
                  <a:lnTo>
                    <a:pt x="398" y="389"/>
                  </a:lnTo>
                  <a:lnTo>
                    <a:pt x="401" y="388"/>
                  </a:lnTo>
                  <a:lnTo>
                    <a:pt x="403" y="388"/>
                  </a:lnTo>
                  <a:lnTo>
                    <a:pt x="403" y="386"/>
                  </a:lnTo>
                  <a:lnTo>
                    <a:pt x="401" y="385"/>
                  </a:lnTo>
                  <a:lnTo>
                    <a:pt x="401" y="383"/>
                  </a:lnTo>
                  <a:lnTo>
                    <a:pt x="401" y="383"/>
                  </a:lnTo>
                  <a:lnTo>
                    <a:pt x="403" y="383"/>
                  </a:lnTo>
                  <a:lnTo>
                    <a:pt x="403" y="385"/>
                  </a:lnTo>
                  <a:lnTo>
                    <a:pt x="404" y="385"/>
                  </a:lnTo>
                  <a:lnTo>
                    <a:pt x="404" y="383"/>
                  </a:lnTo>
                  <a:lnTo>
                    <a:pt x="404" y="383"/>
                  </a:lnTo>
                  <a:lnTo>
                    <a:pt x="404" y="383"/>
                  </a:lnTo>
                  <a:lnTo>
                    <a:pt x="405" y="385"/>
                  </a:lnTo>
                  <a:lnTo>
                    <a:pt x="405" y="385"/>
                  </a:lnTo>
                  <a:lnTo>
                    <a:pt x="407" y="383"/>
                  </a:lnTo>
                  <a:lnTo>
                    <a:pt x="407" y="383"/>
                  </a:lnTo>
                  <a:lnTo>
                    <a:pt x="407" y="382"/>
                  </a:lnTo>
                  <a:lnTo>
                    <a:pt x="407" y="385"/>
                  </a:lnTo>
                  <a:lnTo>
                    <a:pt x="411" y="383"/>
                  </a:lnTo>
                  <a:lnTo>
                    <a:pt x="413" y="383"/>
                  </a:lnTo>
                  <a:lnTo>
                    <a:pt x="413" y="383"/>
                  </a:lnTo>
                  <a:lnTo>
                    <a:pt x="407" y="386"/>
                  </a:lnTo>
                  <a:lnTo>
                    <a:pt x="405" y="388"/>
                  </a:lnTo>
                  <a:lnTo>
                    <a:pt x="407" y="388"/>
                  </a:lnTo>
                  <a:lnTo>
                    <a:pt x="420" y="380"/>
                  </a:lnTo>
                  <a:lnTo>
                    <a:pt x="421" y="374"/>
                  </a:lnTo>
                  <a:lnTo>
                    <a:pt x="423" y="366"/>
                  </a:lnTo>
                  <a:lnTo>
                    <a:pt x="423" y="366"/>
                  </a:lnTo>
                  <a:lnTo>
                    <a:pt x="424" y="364"/>
                  </a:lnTo>
                  <a:lnTo>
                    <a:pt x="424" y="364"/>
                  </a:lnTo>
                  <a:lnTo>
                    <a:pt x="424" y="367"/>
                  </a:lnTo>
                  <a:lnTo>
                    <a:pt x="427" y="369"/>
                  </a:lnTo>
                  <a:lnTo>
                    <a:pt x="426" y="369"/>
                  </a:lnTo>
                  <a:lnTo>
                    <a:pt x="424" y="370"/>
                  </a:lnTo>
                  <a:lnTo>
                    <a:pt x="424" y="370"/>
                  </a:lnTo>
                  <a:lnTo>
                    <a:pt x="433" y="366"/>
                  </a:lnTo>
                  <a:lnTo>
                    <a:pt x="446" y="364"/>
                  </a:lnTo>
                  <a:lnTo>
                    <a:pt x="461" y="369"/>
                  </a:lnTo>
                  <a:lnTo>
                    <a:pt x="462" y="367"/>
                  </a:lnTo>
                  <a:lnTo>
                    <a:pt x="462" y="366"/>
                  </a:lnTo>
                  <a:lnTo>
                    <a:pt x="462" y="364"/>
                  </a:lnTo>
                  <a:lnTo>
                    <a:pt x="465" y="364"/>
                  </a:lnTo>
                  <a:lnTo>
                    <a:pt x="469" y="367"/>
                  </a:lnTo>
                  <a:lnTo>
                    <a:pt x="471" y="369"/>
                  </a:lnTo>
                  <a:lnTo>
                    <a:pt x="472" y="369"/>
                  </a:lnTo>
                  <a:lnTo>
                    <a:pt x="475" y="373"/>
                  </a:lnTo>
                  <a:lnTo>
                    <a:pt x="478" y="373"/>
                  </a:lnTo>
                  <a:lnTo>
                    <a:pt x="480" y="374"/>
                  </a:lnTo>
                  <a:lnTo>
                    <a:pt x="481" y="374"/>
                  </a:lnTo>
                  <a:lnTo>
                    <a:pt x="484" y="374"/>
                  </a:lnTo>
                  <a:lnTo>
                    <a:pt x="485" y="374"/>
                  </a:lnTo>
                  <a:lnTo>
                    <a:pt x="487" y="374"/>
                  </a:lnTo>
                  <a:lnTo>
                    <a:pt x="490" y="374"/>
                  </a:lnTo>
                  <a:lnTo>
                    <a:pt x="491" y="373"/>
                  </a:lnTo>
                  <a:lnTo>
                    <a:pt x="493" y="372"/>
                  </a:lnTo>
                  <a:lnTo>
                    <a:pt x="493" y="370"/>
                  </a:lnTo>
                  <a:lnTo>
                    <a:pt x="493" y="370"/>
                  </a:lnTo>
                  <a:lnTo>
                    <a:pt x="494" y="370"/>
                  </a:lnTo>
                  <a:lnTo>
                    <a:pt x="495" y="372"/>
                  </a:lnTo>
                  <a:lnTo>
                    <a:pt x="498" y="373"/>
                  </a:lnTo>
                  <a:lnTo>
                    <a:pt x="501" y="377"/>
                  </a:lnTo>
                  <a:lnTo>
                    <a:pt x="504" y="376"/>
                  </a:lnTo>
                  <a:lnTo>
                    <a:pt x="504" y="374"/>
                  </a:lnTo>
                  <a:lnTo>
                    <a:pt x="503" y="373"/>
                  </a:lnTo>
                  <a:lnTo>
                    <a:pt x="500" y="372"/>
                  </a:lnTo>
                  <a:lnTo>
                    <a:pt x="497" y="369"/>
                  </a:lnTo>
                  <a:lnTo>
                    <a:pt x="497" y="367"/>
                  </a:lnTo>
                  <a:lnTo>
                    <a:pt x="498" y="366"/>
                  </a:lnTo>
                  <a:lnTo>
                    <a:pt x="501" y="364"/>
                  </a:lnTo>
                  <a:lnTo>
                    <a:pt x="503" y="360"/>
                  </a:lnTo>
                  <a:lnTo>
                    <a:pt x="501" y="360"/>
                  </a:lnTo>
                  <a:lnTo>
                    <a:pt x="501" y="359"/>
                  </a:lnTo>
                  <a:lnTo>
                    <a:pt x="498" y="360"/>
                  </a:lnTo>
                  <a:lnTo>
                    <a:pt x="497" y="361"/>
                  </a:lnTo>
                  <a:lnTo>
                    <a:pt x="495" y="361"/>
                  </a:lnTo>
                  <a:lnTo>
                    <a:pt x="495" y="359"/>
                  </a:lnTo>
                  <a:lnTo>
                    <a:pt x="494" y="359"/>
                  </a:lnTo>
                  <a:lnTo>
                    <a:pt x="493" y="359"/>
                  </a:lnTo>
                  <a:lnTo>
                    <a:pt x="491" y="360"/>
                  </a:lnTo>
                  <a:lnTo>
                    <a:pt x="488" y="360"/>
                  </a:lnTo>
                  <a:lnTo>
                    <a:pt x="487" y="359"/>
                  </a:lnTo>
                  <a:lnTo>
                    <a:pt x="487" y="356"/>
                  </a:lnTo>
                  <a:lnTo>
                    <a:pt x="491" y="354"/>
                  </a:lnTo>
                  <a:lnTo>
                    <a:pt x="498" y="357"/>
                  </a:lnTo>
                  <a:lnTo>
                    <a:pt x="501" y="356"/>
                  </a:lnTo>
                  <a:lnTo>
                    <a:pt x="504" y="356"/>
                  </a:lnTo>
                  <a:lnTo>
                    <a:pt x="507" y="354"/>
                  </a:lnTo>
                  <a:lnTo>
                    <a:pt x="517" y="356"/>
                  </a:lnTo>
                  <a:lnTo>
                    <a:pt x="519" y="354"/>
                  </a:lnTo>
                  <a:lnTo>
                    <a:pt x="520" y="347"/>
                  </a:lnTo>
                  <a:lnTo>
                    <a:pt x="522" y="354"/>
                  </a:lnTo>
                  <a:lnTo>
                    <a:pt x="522" y="357"/>
                  </a:lnTo>
                  <a:lnTo>
                    <a:pt x="522" y="357"/>
                  </a:lnTo>
                  <a:lnTo>
                    <a:pt x="529" y="356"/>
                  </a:lnTo>
                  <a:lnTo>
                    <a:pt x="532" y="353"/>
                  </a:lnTo>
                  <a:lnTo>
                    <a:pt x="533" y="353"/>
                  </a:lnTo>
                  <a:lnTo>
                    <a:pt x="535" y="351"/>
                  </a:lnTo>
                  <a:lnTo>
                    <a:pt x="535" y="351"/>
                  </a:lnTo>
                  <a:lnTo>
                    <a:pt x="535" y="353"/>
                  </a:lnTo>
                  <a:lnTo>
                    <a:pt x="533" y="354"/>
                  </a:lnTo>
                  <a:lnTo>
                    <a:pt x="545" y="353"/>
                  </a:lnTo>
                  <a:lnTo>
                    <a:pt x="545" y="354"/>
                  </a:lnTo>
                  <a:lnTo>
                    <a:pt x="545" y="354"/>
                  </a:lnTo>
                  <a:lnTo>
                    <a:pt x="545" y="354"/>
                  </a:lnTo>
                  <a:lnTo>
                    <a:pt x="545" y="356"/>
                  </a:lnTo>
                  <a:lnTo>
                    <a:pt x="556" y="361"/>
                  </a:lnTo>
                  <a:lnTo>
                    <a:pt x="558" y="364"/>
                  </a:lnTo>
                  <a:lnTo>
                    <a:pt x="559" y="366"/>
                  </a:lnTo>
                  <a:lnTo>
                    <a:pt x="567" y="364"/>
                  </a:lnTo>
                  <a:lnTo>
                    <a:pt x="571" y="363"/>
                  </a:lnTo>
                  <a:lnTo>
                    <a:pt x="572" y="363"/>
                  </a:lnTo>
                  <a:lnTo>
                    <a:pt x="572" y="363"/>
                  </a:lnTo>
                  <a:lnTo>
                    <a:pt x="572" y="361"/>
                  </a:lnTo>
                  <a:lnTo>
                    <a:pt x="574" y="360"/>
                  </a:lnTo>
                  <a:lnTo>
                    <a:pt x="577" y="360"/>
                  </a:lnTo>
                  <a:lnTo>
                    <a:pt x="580" y="361"/>
                  </a:lnTo>
                  <a:lnTo>
                    <a:pt x="584" y="366"/>
                  </a:lnTo>
                  <a:lnTo>
                    <a:pt x="585" y="366"/>
                  </a:lnTo>
                  <a:lnTo>
                    <a:pt x="585" y="369"/>
                  </a:lnTo>
                  <a:lnTo>
                    <a:pt x="587" y="370"/>
                  </a:lnTo>
                  <a:lnTo>
                    <a:pt x="591" y="374"/>
                  </a:lnTo>
                  <a:lnTo>
                    <a:pt x="594" y="374"/>
                  </a:lnTo>
                  <a:lnTo>
                    <a:pt x="596" y="376"/>
                  </a:lnTo>
                  <a:lnTo>
                    <a:pt x="596" y="396"/>
                  </a:lnTo>
                  <a:lnTo>
                    <a:pt x="596" y="396"/>
                  </a:lnTo>
                  <a:lnTo>
                    <a:pt x="596" y="396"/>
                  </a:lnTo>
                  <a:lnTo>
                    <a:pt x="597" y="393"/>
                  </a:lnTo>
                  <a:lnTo>
                    <a:pt x="597" y="395"/>
                  </a:lnTo>
                  <a:lnTo>
                    <a:pt x="599" y="395"/>
                  </a:lnTo>
                  <a:lnTo>
                    <a:pt x="597" y="401"/>
                  </a:lnTo>
                  <a:lnTo>
                    <a:pt x="597" y="404"/>
                  </a:lnTo>
                  <a:lnTo>
                    <a:pt x="603" y="412"/>
                  </a:lnTo>
                  <a:lnTo>
                    <a:pt x="603" y="412"/>
                  </a:lnTo>
                  <a:lnTo>
                    <a:pt x="604" y="411"/>
                  </a:lnTo>
                  <a:lnTo>
                    <a:pt x="606" y="415"/>
                  </a:lnTo>
                  <a:lnTo>
                    <a:pt x="607" y="415"/>
                  </a:lnTo>
                  <a:lnTo>
                    <a:pt x="607" y="415"/>
                  </a:lnTo>
                  <a:lnTo>
                    <a:pt x="606" y="418"/>
                  </a:lnTo>
                  <a:lnTo>
                    <a:pt x="610" y="425"/>
                  </a:lnTo>
                  <a:lnTo>
                    <a:pt x="612" y="427"/>
                  </a:lnTo>
                  <a:lnTo>
                    <a:pt x="613" y="428"/>
                  </a:lnTo>
                  <a:lnTo>
                    <a:pt x="615" y="428"/>
                  </a:lnTo>
                  <a:lnTo>
                    <a:pt x="617" y="434"/>
                  </a:lnTo>
                  <a:lnTo>
                    <a:pt x="617" y="438"/>
                  </a:lnTo>
                  <a:lnTo>
                    <a:pt x="617" y="438"/>
                  </a:lnTo>
                  <a:lnTo>
                    <a:pt x="619" y="440"/>
                  </a:lnTo>
                  <a:lnTo>
                    <a:pt x="625" y="438"/>
                  </a:lnTo>
                  <a:lnTo>
                    <a:pt x="628" y="437"/>
                  </a:lnTo>
                  <a:lnTo>
                    <a:pt x="631" y="438"/>
                  </a:lnTo>
                  <a:lnTo>
                    <a:pt x="631" y="436"/>
                  </a:lnTo>
                  <a:lnTo>
                    <a:pt x="631" y="436"/>
                  </a:lnTo>
                  <a:lnTo>
                    <a:pt x="633" y="425"/>
                  </a:lnTo>
                  <a:lnTo>
                    <a:pt x="633" y="411"/>
                  </a:lnTo>
                  <a:lnTo>
                    <a:pt x="626" y="392"/>
                  </a:lnTo>
                  <a:lnTo>
                    <a:pt x="626" y="385"/>
                  </a:lnTo>
                  <a:lnTo>
                    <a:pt x="613" y="351"/>
                  </a:lnTo>
                  <a:lnTo>
                    <a:pt x="613" y="350"/>
                  </a:lnTo>
                  <a:lnTo>
                    <a:pt x="613" y="345"/>
                  </a:lnTo>
                  <a:lnTo>
                    <a:pt x="622" y="328"/>
                  </a:lnTo>
                  <a:lnTo>
                    <a:pt x="622" y="328"/>
                  </a:lnTo>
                  <a:lnTo>
                    <a:pt x="622" y="327"/>
                  </a:lnTo>
                  <a:lnTo>
                    <a:pt x="622" y="327"/>
                  </a:lnTo>
                  <a:lnTo>
                    <a:pt x="625" y="325"/>
                  </a:lnTo>
                  <a:lnTo>
                    <a:pt x="626" y="325"/>
                  </a:lnTo>
                  <a:lnTo>
                    <a:pt x="626" y="324"/>
                  </a:lnTo>
                  <a:lnTo>
                    <a:pt x="625" y="321"/>
                  </a:lnTo>
                  <a:lnTo>
                    <a:pt x="625" y="319"/>
                  </a:lnTo>
                  <a:lnTo>
                    <a:pt x="625" y="319"/>
                  </a:lnTo>
                  <a:lnTo>
                    <a:pt x="633" y="319"/>
                  </a:lnTo>
                  <a:lnTo>
                    <a:pt x="635" y="319"/>
                  </a:lnTo>
                  <a:lnTo>
                    <a:pt x="641" y="313"/>
                  </a:lnTo>
                  <a:lnTo>
                    <a:pt x="641" y="313"/>
                  </a:lnTo>
                  <a:lnTo>
                    <a:pt x="642" y="313"/>
                  </a:lnTo>
                  <a:lnTo>
                    <a:pt x="642" y="311"/>
                  </a:lnTo>
                  <a:lnTo>
                    <a:pt x="645" y="311"/>
                  </a:lnTo>
                  <a:lnTo>
                    <a:pt x="646" y="309"/>
                  </a:lnTo>
                  <a:lnTo>
                    <a:pt x="646" y="308"/>
                  </a:lnTo>
                  <a:lnTo>
                    <a:pt x="646" y="306"/>
                  </a:lnTo>
                  <a:lnTo>
                    <a:pt x="648" y="305"/>
                  </a:lnTo>
                  <a:lnTo>
                    <a:pt x="649" y="302"/>
                  </a:lnTo>
                  <a:lnTo>
                    <a:pt x="652" y="300"/>
                  </a:lnTo>
                  <a:lnTo>
                    <a:pt x="655" y="297"/>
                  </a:lnTo>
                  <a:lnTo>
                    <a:pt x="655" y="297"/>
                  </a:lnTo>
                  <a:lnTo>
                    <a:pt x="661" y="296"/>
                  </a:lnTo>
                  <a:lnTo>
                    <a:pt x="667" y="293"/>
                  </a:lnTo>
                  <a:lnTo>
                    <a:pt x="667" y="292"/>
                  </a:lnTo>
                  <a:lnTo>
                    <a:pt x="670" y="287"/>
                  </a:lnTo>
                  <a:lnTo>
                    <a:pt x="677" y="284"/>
                  </a:lnTo>
                  <a:lnTo>
                    <a:pt x="683" y="283"/>
                  </a:lnTo>
                  <a:lnTo>
                    <a:pt x="687" y="281"/>
                  </a:lnTo>
                  <a:lnTo>
                    <a:pt x="687" y="280"/>
                  </a:lnTo>
                  <a:lnTo>
                    <a:pt x="687" y="277"/>
                  </a:lnTo>
                  <a:lnTo>
                    <a:pt x="684" y="277"/>
                  </a:lnTo>
                  <a:lnTo>
                    <a:pt x="683" y="279"/>
                  </a:lnTo>
                  <a:lnTo>
                    <a:pt x="683" y="279"/>
                  </a:lnTo>
                  <a:lnTo>
                    <a:pt x="683" y="277"/>
                  </a:lnTo>
                  <a:lnTo>
                    <a:pt x="683" y="276"/>
                  </a:lnTo>
                  <a:lnTo>
                    <a:pt x="684" y="276"/>
                  </a:lnTo>
                  <a:lnTo>
                    <a:pt x="684" y="274"/>
                  </a:lnTo>
                  <a:lnTo>
                    <a:pt x="686" y="273"/>
                  </a:lnTo>
                  <a:lnTo>
                    <a:pt x="686" y="271"/>
                  </a:lnTo>
                  <a:lnTo>
                    <a:pt x="681" y="270"/>
                  </a:lnTo>
                  <a:lnTo>
                    <a:pt x="684" y="270"/>
                  </a:lnTo>
                  <a:lnTo>
                    <a:pt x="686" y="268"/>
                  </a:lnTo>
                  <a:lnTo>
                    <a:pt x="687" y="270"/>
                  </a:lnTo>
                  <a:lnTo>
                    <a:pt x="687" y="270"/>
                  </a:lnTo>
                  <a:lnTo>
                    <a:pt x="689" y="271"/>
                  </a:lnTo>
                  <a:lnTo>
                    <a:pt x="691" y="271"/>
                  </a:lnTo>
                  <a:lnTo>
                    <a:pt x="693" y="271"/>
                  </a:lnTo>
                  <a:lnTo>
                    <a:pt x="694" y="268"/>
                  </a:lnTo>
                  <a:lnTo>
                    <a:pt x="696" y="267"/>
                  </a:lnTo>
                  <a:lnTo>
                    <a:pt x="696" y="263"/>
                  </a:lnTo>
                  <a:lnTo>
                    <a:pt x="694" y="261"/>
                  </a:lnTo>
                  <a:lnTo>
                    <a:pt x="693" y="266"/>
                  </a:lnTo>
                  <a:lnTo>
                    <a:pt x="693" y="266"/>
                  </a:lnTo>
                  <a:lnTo>
                    <a:pt x="691" y="264"/>
                  </a:lnTo>
                  <a:lnTo>
                    <a:pt x="691" y="261"/>
                  </a:lnTo>
                  <a:lnTo>
                    <a:pt x="686" y="263"/>
                  </a:lnTo>
                  <a:lnTo>
                    <a:pt x="683" y="261"/>
                  </a:lnTo>
                  <a:lnTo>
                    <a:pt x="683" y="255"/>
                  </a:lnTo>
                  <a:lnTo>
                    <a:pt x="684" y="255"/>
                  </a:lnTo>
                  <a:lnTo>
                    <a:pt x="684" y="258"/>
                  </a:lnTo>
                  <a:lnTo>
                    <a:pt x="686" y="260"/>
                  </a:lnTo>
                  <a:lnTo>
                    <a:pt x="687" y="260"/>
                  </a:lnTo>
                  <a:lnTo>
                    <a:pt x="690" y="257"/>
                  </a:lnTo>
                  <a:lnTo>
                    <a:pt x="691" y="257"/>
                  </a:lnTo>
                  <a:lnTo>
                    <a:pt x="691" y="257"/>
                  </a:lnTo>
                  <a:lnTo>
                    <a:pt x="693" y="257"/>
                  </a:lnTo>
                  <a:lnTo>
                    <a:pt x="694" y="257"/>
                  </a:lnTo>
                  <a:lnTo>
                    <a:pt x="696" y="260"/>
                  </a:lnTo>
                  <a:lnTo>
                    <a:pt x="696" y="258"/>
                  </a:lnTo>
                  <a:lnTo>
                    <a:pt x="694" y="252"/>
                  </a:lnTo>
                  <a:lnTo>
                    <a:pt x="693" y="252"/>
                  </a:lnTo>
                  <a:lnTo>
                    <a:pt x="694" y="248"/>
                  </a:lnTo>
                  <a:lnTo>
                    <a:pt x="694" y="245"/>
                  </a:lnTo>
                  <a:lnTo>
                    <a:pt x="689" y="244"/>
                  </a:lnTo>
                  <a:lnTo>
                    <a:pt x="689" y="244"/>
                  </a:lnTo>
                  <a:lnTo>
                    <a:pt x="689" y="244"/>
                  </a:lnTo>
                  <a:lnTo>
                    <a:pt x="686" y="242"/>
                  </a:lnTo>
                  <a:lnTo>
                    <a:pt x="686" y="241"/>
                  </a:lnTo>
                  <a:lnTo>
                    <a:pt x="689" y="241"/>
                  </a:lnTo>
                  <a:lnTo>
                    <a:pt x="689" y="241"/>
                  </a:lnTo>
                  <a:lnTo>
                    <a:pt x="689" y="239"/>
                  </a:lnTo>
                  <a:lnTo>
                    <a:pt x="687" y="239"/>
                  </a:lnTo>
                  <a:lnTo>
                    <a:pt x="687" y="238"/>
                  </a:lnTo>
                  <a:lnTo>
                    <a:pt x="687" y="236"/>
                  </a:lnTo>
                  <a:lnTo>
                    <a:pt x="689" y="236"/>
                  </a:lnTo>
                  <a:lnTo>
                    <a:pt x="689" y="236"/>
                  </a:lnTo>
                  <a:lnTo>
                    <a:pt x="689" y="234"/>
                  </a:lnTo>
                  <a:lnTo>
                    <a:pt x="687" y="234"/>
                  </a:lnTo>
                  <a:lnTo>
                    <a:pt x="687" y="231"/>
                  </a:lnTo>
                  <a:lnTo>
                    <a:pt x="687" y="231"/>
                  </a:lnTo>
                  <a:lnTo>
                    <a:pt x="689" y="228"/>
                  </a:lnTo>
                  <a:lnTo>
                    <a:pt x="689" y="226"/>
                  </a:lnTo>
                  <a:lnTo>
                    <a:pt x="687" y="223"/>
                  </a:lnTo>
                  <a:lnTo>
                    <a:pt x="681" y="222"/>
                  </a:lnTo>
                  <a:lnTo>
                    <a:pt x="678" y="219"/>
                  </a:lnTo>
                  <a:lnTo>
                    <a:pt x="674" y="218"/>
                  </a:lnTo>
                  <a:lnTo>
                    <a:pt x="674" y="216"/>
                  </a:lnTo>
                  <a:lnTo>
                    <a:pt x="674" y="216"/>
                  </a:lnTo>
                  <a:lnTo>
                    <a:pt x="674" y="215"/>
                  </a:lnTo>
                  <a:lnTo>
                    <a:pt x="676" y="213"/>
                  </a:lnTo>
                  <a:lnTo>
                    <a:pt x="676" y="215"/>
                  </a:lnTo>
                  <a:lnTo>
                    <a:pt x="674" y="216"/>
                  </a:lnTo>
                  <a:lnTo>
                    <a:pt x="676" y="216"/>
                  </a:lnTo>
                  <a:lnTo>
                    <a:pt x="680" y="219"/>
                  </a:lnTo>
                  <a:lnTo>
                    <a:pt x="681" y="219"/>
                  </a:lnTo>
                  <a:lnTo>
                    <a:pt x="683" y="219"/>
                  </a:lnTo>
                  <a:lnTo>
                    <a:pt x="684" y="220"/>
                  </a:lnTo>
                  <a:lnTo>
                    <a:pt x="686" y="222"/>
                  </a:lnTo>
                  <a:lnTo>
                    <a:pt x="687" y="222"/>
                  </a:lnTo>
                  <a:lnTo>
                    <a:pt x="687" y="218"/>
                  </a:lnTo>
                  <a:lnTo>
                    <a:pt x="684" y="216"/>
                  </a:lnTo>
                  <a:lnTo>
                    <a:pt x="686" y="216"/>
                  </a:lnTo>
                  <a:lnTo>
                    <a:pt x="686" y="216"/>
                  </a:lnTo>
                  <a:lnTo>
                    <a:pt x="686" y="212"/>
                  </a:lnTo>
                  <a:lnTo>
                    <a:pt x="686" y="204"/>
                  </a:lnTo>
                  <a:lnTo>
                    <a:pt x="686" y="203"/>
                  </a:lnTo>
                  <a:lnTo>
                    <a:pt x="687" y="202"/>
                  </a:lnTo>
                  <a:lnTo>
                    <a:pt x="690" y="199"/>
                  </a:lnTo>
                  <a:lnTo>
                    <a:pt x="693" y="196"/>
                  </a:lnTo>
                  <a:lnTo>
                    <a:pt x="693" y="196"/>
                  </a:lnTo>
                  <a:lnTo>
                    <a:pt x="693" y="197"/>
                  </a:lnTo>
                  <a:lnTo>
                    <a:pt x="693" y="197"/>
                  </a:lnTo>
                  <a:lnTo>
                    <a:pt x="693" y="200"/>
                  </a:lnTo>
                  <a:lnTo>
                    <a:pt x="691" y="200"/>
                  </a:lnTo>
                  <a:lnTo>
                    <a:pt x="690" y="202"/>
                  </a:lnTo>
                  <a:lnTo>
                    <a:pt x="690" y="203"/>
                  </a:lnTo>
                  <a:lnTo>
                    <a:pt x="690" y="204"/>
                  </a:lnTo>
                  <a:lnTo>
                    <a:pt x="690" y="206"/>
                  </a:lnTo>
                  <a:lnTo>
                    <a:pt x="689" y="207"/>
                  </a:lnTo>
                  <a:lnTo>
                    <a:pt x="689" y="209"/>
                  </a:lnTo>
                  <a:lnTo>
                    <a:pt x="690" y="209"/>
                  </a:lnTo>
                  <a:lnTo>
                    <a:pt x="691" y="209"/>
                  </a:lnTo>
                  <a:lnTo>
                    <a:pt x="691" y="213"/>
                  </a:lnTo>
                  <a:lnTo>
                    <a:pt x="690" y="213"/>
                  </a:lnTo>
                  <a:lnTo>
                    <a:pt x="689" y="215"/>
                  </a:lnTo>
                  <a:lnTo>
                    <a:pt x="689" y="216"/>
                  </a:lnTo>
                  <a:lnTo>
                    <a:pt x="689" y="218"/>
                  </a:lnTo>
                  <a:lnTo>
                    <a:pt x="691" y="219"/>
                  </a:lnTo>
                  <a:lnTo>
                    <a:pt x="693" y="219"/>
                  </a:lnTo>
                  <a:lnTo>
                    <a:pt x="694" y="220"/>
                  </a:lnTo>
                  <a:lnTo>
                    <a:pt x="696" y="222"/>
                  </a:lnTo>
                  <a:lnTo>
                    <a:pt x="696" y="225"/>
                  </a:lnTo>
                  <a:lnTo>
                    <a:pt x="696" y="225"/>
                  </a:lnTo>
                  <a:lnTo>
                    <a:pt x="697" y="225"/>
                  </a:lnTo>
                  <a:lnTo>
                    <a:pt x="697" y="226"/>
                  </a:lnTo>
                  <a:lnTo>
                    <a:pt x="696" y="228"/>
                  </a:lnTo>
                  <a:lnTo>
                    <a:pt x="693" y="234"/>
                  </a:lnTo>
                  <a:lnTo>
                    <a:pt x="693" y="239"/>
                  </a:lnTo>
                  <a:lnTo>
                    <a:pt x="694" y="239"/>
                  </a:lnTo>
                  <a:lnTo>
                    <a:pt x="694" y="239"/>
                  </a:lnTo>
                  <a:lnTo>
                    <a:pt x="696" y="239"/>
                  </a:lnTo>
                  <a:lnTo>
                    <a:pt x="703" y="223"/>
                  </a:lnTo>
                  <a:lnTo>
                    <a:pt x="703" y="222"/>
                  </a:lnTo>
                  <a:lnTo>
                    <a:pt x="705" y="219"/>
                  </a:lnTo>
                  <a:lnTo>
                    <a:pt x="706" y="215"/>
                  </a:lnTo>
                  <a:lnTo>
                    <a:pt x="699" y="197"/>
                  </a:lnTo>
                  <a:lnTo>
                    <a:pt x="699" y="196"/>
                  </a:lnTo>
                  <a:lnTo>
                    <a:pt x="702" y="200"/>
                  </a:lnTo>
                  <a:lnTo>
                    <a:pt x="705" y="200"/>
                  </a:lnTo>
                  <a:lnTo>
                    <a:pt x="706" y="203"/>
                  </a:lnTo>
                  <a:lnTo>
                    <a:pt x="709" y="203"/>
                  </a:lnTo>
                  <a:lnTo>
                    <a:pt x="709" y="206"/>
                  </a:lnTo>
                  <a:lnTo>
                    <a:pt x="709" y="207"/>
                  </a:lnTo>
                  <a:lnTo>
                    <a:pt x="716" y="197"/>
                  </a:lnTo>
                  <a:lnTo>
                    <a:pt x="716" y="196"/>
                  </a:lnTo>
                  <a:lnTo>
                    <a:pt x="718" y="196"/>
                  </a:lnTo>
                  <a:lnTo>
                    <a:pt x="718" y="194"/>
                  </a:lnTo>
                  <a:lnTo>
                    <a:pt x="719" y="190"/>
                  </a:lnTo>
                  <a:lnTo>
                    <a:pt x="719" y="188"/>
                  </a:lnTo>
                  <a:lnTo>
                    <a:pt x="721" y="188"/>
                  </a:lnTo>
                  <a:lnTo>
                    <a:pt x="721" y="188"/>
                  </a:lnTo>
                  <a:lnTo>
                    <a:pt x="722" y="184"/>
                  </a:lnTo>
                  <a:lnTo>
                    <a:pt x="722" y="183"/>
                  </a:lnTo>
                  <a:lnTo>
                    <a:pt x="721" y="180"/>
                  </a:lnTo>
                  <a:lnTo>
                    <a:pt x="718" y="180"/>
                  </a:lnTo>
                  <a:lnTo>
                    <a:pt x="718" y="178"/>
                  </a:lnTo>
                  <a:lnTo>
                    <a:pt x="718" y="178"/>
                  </a:lnTo>
                  <a:lnTo>
                    <a:pt x="722" y="171"/>
                  </a:lnTo>
                  <a:lnTo>
                    <a:pt x="723" y="171"/>
                  </a:lnTo>
                  <a:lnTo>
                    <a:pt x="725" y="170"/>
                  </a:lnTo>
                  <a:lnTo>
                    <a:pt x="734" y="167"/>
                  </a:lnTo>
                  <a:lnTo>
                    <a:pt x="735" y="164"/>
                  </a:lnTo>
                  <a:lnTo>
                    <a:pt x="738" y="164"/>
                  </a:lnTo>
                  <a:lnTo>
                    <a:pt x="741" y="164"/>
                  </a:lnTo>
                  <a:lnTo>
                    <a:pt x="757" y="161"/>
                  </a:lnTo>
                  <a:lnTo>
                    <a:pt x="758" y="161"/>
                  </a:lnTo>
                  <a:lnTo>
                    <a:pt x="760" y="157"/>
                  </a:lnTo>
                  <a:lnTo>
                    <a:pt x="760" y="157"/>
                  </a:lnTo>
                  <a:lnTo>
                    <a:pt x="761" y="157"/>
                  </a:lnTo>
                  <a:lnTo>
                    <a:pt x="761" y="159"/>
                  </a:lnTo>
                  <a:lnTo>
                    <a:pt x="763" y="159"/>
                  </a:lnTo>
                  <a:lnTo>
                    <a:pt x="766" y="159"/>
                  </a:lnTo>
                  <a:lnTo>
                    <a:pt x="768" y="157"/>
                  </a:lnTo>
                  <a:lnTo>
                    <a:pt x="770" y="157"/>
                  </a:lnTo>
                  <a:lnTo>
                    <a:pt x="770" y="158"/>
                  </a:lnTo>
                  <a:lnTo>
                    <a:pt x="771" y="159"/>
                  </a:lnTo>
                  <a:lnTo>
                    <a:pt x="774" y="158"/>
                  </a:lnTo>
                  <a:lnTo>
                    <a:pt x="776" y="158"/>
                  </a:lnTo>
                  <a:lnTo>
                    <a:pt x="779" y="157"/>
                  </a:lnTo>
                  <a:lnTo>
                    <a:pt x="780" y="155"/>
                  </a:lnTo>
                  <a:lnTo>
                    <a:pt x="779" y="152"/>
                  </a:lnTo>
                  <a:lnTo>
                    <a:pt x="779" y="151"/>
                  </a:lnTo>
                  <a:lnTo>
                    <a:pt x="779" y="151"/>
                  </a:lnTo>
                  <a:lnTo>
                    <a:pt x="779" y="154"/>
                  </a:lnTo>
                  <a:lnTo>
                    <a:pt x="777" y="155"/>
                  </a:lnTo>
                  <a:lnTo>
                    <a:pt x="776" y="157"/>
                  </a:lnTo>
                  <a:lnTo>
                    <a:pt x="771" y="154"/>
                  </a:lnTo>
                  <a:lnTo>
                    <a:pt x="770" y="151"/>
                  </a:lnTo>
                  <a:lnTo>
                    <a:pt x="768" y="151"/>
                  </a:lnTo>
                  <a:lnTo>
                    <a:pt x="768" y="148"/>
                  </a:lnTo>
                  <a:lnTo>
                    <a:pt x="767" y="146"/>
                  </a:lnTo>
                  <a:lnTo>
                    <a:pt x="764" y="145"/>
                  </a:lnTo>
                  <a:lnTo>
                    <a:pt x="764" y="145"/>
                  </a:lnTo>
                  <a:lnTo>
                    <a:pt x="764" y="143"/>
                  </a:lnTo>
                  <a:lnTo>
                    <a:pt x="766" y="142"/>
                  </a:lnTo>
                  <a:lnTo>
                    <a:pt x="766" y="142"/>
                  </a:lnTo>
                  <a:lnTo>
                    <a:pt x="767" y="139"/>
                  </a:lnTo>
                  <a:lnTo>
                    <a:pt x="768" y="139"/>
                  </a:lnTo>
                  <a:lnTo>
                    <a:pt x="766" y="133"/>
                  </a:lnTo>
                  <a:lnTo>
                    <a:pt x="767" y="129"/>
                  </a:lnTo>
                  <a:lnTo>
                    <a:pt x="770" y="126"/>
                  </a:lnTo>
                  <a:lnTo>
                    <a:pt x="774" y="120"/>
                  </a:lnTo>
                  <a:lnTo>
                    <a:pt x="776" y="117"/>
                  </a:lnTo>
                  <a:lnTo>
                    <a:pt x="777" y="116"/>
                  </a:lnTo>
                  <a:lnTo>
                    <a:pt x="780" y="114"/>
                  </a:lnTo>
                  <a:lnTo>
                    <a:pt x="780" y="114"/>
                  </a:lnTo>
                  <a:lnTo>
                    <a:pt x="782" y="117"/>
                  </a:lnTo>
                  <a:lnTo>
                    <a:pt x="782" y="117"/>
                  </a:lnTo>
                  <a:lnTo>
                    <a:pt x="783" y="116"/>
                  </a:lnTo>
                  <a:lnTo>
                    <a:pt x="783" y="113"/>
                  </a:lnTo>
                  <a:lnTo>
                    <a:pt x="784" y="113"/>
                  </a:lnTo>
                  <a:lnTo>
                    <a:pt x="784" y="114"/>
                  </a:lnTo>
                  <a:lnTo>
                    <a:pt x="786" y="114"/>
                  </a:lnTo>
                  <a:lnTo>
                    <a:pt x="786" y="114"/>
                  </a:lnTo>
                  <a:lnTo>
                    <a:pt x="787" y="111"/>
                  </a:lnTo>
                  <a:lnTo>
                    <a:pt x="789" y="111"/>
                  </a:lnTo>
                  <a:lnTo>
                    <a:pt x="790" y="111"/>
                  </a:lnTo>
                  <a:lnTo>
                    <a:pt x="790" y="111"/>
                  </a:lnTo>
                  <a:lnTo>
                    <a:pt x="792" y="109"/>
                  </a:lnTo>
                  <a:lnTo>
                    <a:pt x="792" y="107"/>
                  </a:lnTo>
                  <a:lnTo>
                    <a:pt x="793" y="106"/>
                  </a:lnTo>
                  <a:lnTo>
                    <a:pt x="793" y="103"/>
                  </a:lnTo>
                  <a:lnTo>
                    <a:pt x="795" y="101"/>
                  </a:lnTo>
                  <a:lnTo>
                    <a:pt x="796" y="101"/>
                  </a:lnTo>
                  <a:lnTo>
                    <a:pt x="796" y="101"/>
                  </a:lnTo>
                  <a:lnTo>
                    <a:pt x="796" y="103"/>
                  </a:lnTo>
                  <a:lnTo>
                    <a:pt x="797" y="104"/>
                  </a:lnTo>
                  <a:lnTo>
                    <a:pt x="799" y="106"/>
                  </a:lnTo>
                  <a:lnTo>
                    <a:pt x="799" y="104"/>
                  </a:lnTo>
                  <a:lnTo>
                    <a:pt x="802" y="107"/>
                  </a:lnTo>
                  <a:lnTo>
                    <a:pt x="803" y="106"/>
                  </a:lnTo>
                  <a:lnTo>
                    <a:pt x="803" y="104"/>
                  </a:lnTo>
                  <a:lnTo>
                    <a:pt x="806" y="103"/>
                  </a:lnTo>
                  <a:lnTo>
                    <a:pt x="808" y="103"/>
                  </a:lnTo>
                  <a:lnTo>
                    <a:pt x="809" y="103"/>
                  </a:lnTo>
                  <a:lnTo>
                    <a:pt x="809" y="101"/>
                  </a:lnTo>
                  <a:lnTo>
                    <a:pt x="813" y="100"/>
                  </a:lnTo>
                  <a:lnTo>
                    <a:pt x="815" y="100"/>
                  </a:lnTo>
                  <a:lnTo>
                    <a:pt x="816" y="98"/>
                  </a:lnTo>
                  <a:lnTo>
                    <a:pt x="818" y="98"/>
                  </a:lnTo>
                  <a:lnTo>
                    <a:pt x="819" y="98"/>
                  </a:lnTo>
                  <a:lnTo>
                    <a:pt x="821" y="97"/>
                  </a:lnTo>
                  <a:lnTo>
                    <a:pt x="821" y="95"/>
                  </a:lnTo>
                  <a:lnTo>
                    <a:pt x="821" y="9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87" name="Rectangle 1478"/>
            <p:cNvSpPr>
              <a:spLocks noChangeArrowheads="1"/>
            </p:cNvSpPr>
            <p:nvPr/>
          </p:nvSpPr>
          <p:spPr bwMode="auto">
            <a:xfrm>
              <a:off x="5113009" y="2652962"/>
              <a:ext cx="1756" cy="2029"/>
            </a:xfrm>
            <a:prstGeom prst="rect">
              <a:avLst/>
            </a:prstGeom>
            <a:solidFill>
              <a:srgbClr val="FFFFFF">
                <a:alpha val="25882"/>
              </a:srgbClr>
            </a:solidFill>
            <a:ln w="9525">
              <a:noFill/>
              <a:miter lim="800000"/>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88" name="Freeform 1479"/>
            <p:cNvSpPr>
              <a:spLocks/>
            </p:cNvSpPr>
            <p:nvPr/>
          </p:nvSpPr>
          <p:spPr bwMode="auto">
            <a:xfrm>
              <a:off x="5113009" y="2652962"/>
              <a:ext cx="1756" cy="2029"/>
            </a:xfrm>
            <a:custGeom>
              <a:avLst/>
              <a:gdLst/>
              <a:ahLst/>
              <a:cxnLst>
                <a:cxn ang="0">
                  <a:pos x="0" y="2"/>
                </a:cxn>
                <a:cxn ang="0">
                  <a:pos x="0" y="0"/>
                </a:cxn>
                <a:cxn ang="0">
                  <a:pos x="0" y="0"/>
                </a:cxn>
                <a:cxn ang="0">
                  <a:pos x="0" y="2"/>
                </a:cxn>
              </a:cxnLst>
              <a:rect l="0" t="0" r="r" b="b"/>
              <a:pathLst>
                <a:path h="2">
                  <a:moveTo>
                    <a:pt x="0" y="2"/>
                  </a:moveTo>
                  <a:lnTo>
                    <a:pt x="0" y="0"/>
                  </a:lnTo>
                  <a:lnTo>
                    <a:pt x="0" y="0"/>
                  </a:lnTo>
                  <a:lnTo>
                    <a:pt x="0"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89" name="Freeform 1480"/>
            <p:cNvSpPr>
              <a:spLocks/>
            </p:cNvSpPr>
            <p:nvPr/>
          </p:nvSpPr>
          <p:spPr bwMode="auto">
            <a:xfrm>
              <a:off x="5112133" y="2649920"/>
              <a:ext cx="877" cy="2029"/>
            </a:xfrm>
            <a:custGeom>
              <a:avLst/>
              <a:gdLst/>
              <a:ahLst/>
              <a:cxnLst>
                <a:cxn ang="0">
                  <a:pos x="1" y="0"/>
                </a:cxn>
                <a:cxn ang="0">
                  <a:pos x="0" y="0"/>
                </a:cxn>
                <a:cxn ang="0">
                  <a:pos x="1" y="0"/>
                </a:cxn>
                <a:cxn ang="0">
                  <a:pos x="1" y="0"/>
                </a:cxn>
                <a:cxn ang="0">
                  <a:pos x="1" y="0"/>
                </a:cxn>
                <a:cxn ang="0">
                  <a:pos x="1" y="2"/>
                </a:cxn>
                <a:cxn ang="0">
                  <a:pos x="1" y="0"/>
                </a:cxn>
              </a:cxnLst>
              <a:rect l="0" t="0" r="r" b="b"/>
              <a:pathLst>
                <a:path w="1" h="2">
                  <a:moveTo>
                    <a:pt x="1" y="0"/>
                  </a:moveTo>
                  <a:lnTo>
                    <a:pt x="0" y="0"/>
                  </a:lnTo>
                  <a:lnTo>
                    <a:pt x="1" y="0"/>
                  </a:lnTo>
                  <a:lnTo>
                    <a:pt x="1" y="0"/>
                  </a:lnTo>
                  <a:lnTo>
                    <a:pt x="1" y="0"/>
                  </a:lnTo>
                  <a:lnTo>
                    <a:pt x="1" y="2"/>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90" name="Freeform 1481"/>
            <p:cNvSpPr>
              <a:spLocks/>
            </p:cNvSpPr>
            <p:nvPr/>
          </p:nvSpPr>
          <p:spPr bwMode="auto">
            <a:xfrm>
              <a:off x="5112133" y="2649920"/>
              <a:ext cx="877" cy="2029"/>
            </a:xfrm>
            <a:custGeom>
              <a:avLst/>
              <a:gdLst/>
              <a:ahLst/>
              <a:cxnLst>
                <a:cxn ang="0">
                  <a:pos x="1" y="0"/>
                </a:cxn>
                <a:cxn ang="0">
                  <a:pos x="0" y="0"/>
                </a:cxn>
                <a:cxn ang="0">
                  <a:pos x="1" y="0"/>
                </a:cxn>
                <a:cxn ang="0">
                  <a:pos x="1" y="0"/>
                </a:cxn>
                <a:cxn ang="0">
                  <a:pos x="1" y="0"/>
                </a:cxn>
                <a:cxn ang="0">
                  <a:pos x="1" y="2"/>
                </a:cxn>
                <a:cxn ang="0">
                  <a:pos x="1" y="0"/>
                </a:cxn>
              </a:cxnLst>
              <a:rect l="0" t="0" r="r" b="b"/>
              <a:pathLst>
                <a:path w="1" h="2">
                  <a:moveTo>
                    <a:pt x="1" y="0"/>
                  </a:moveTo>
                  <a:lnTo>
                    <a:pt x="0" y="0"/>
                  </a:lnTo>
                  <a:lnTo>
                    <a:pt x="1" y="0"/>
                  </a:lnTo>
                  <a:lnTo>
                    <a:pt x="1" y="0"/>
                  </a:lnTo>
                  <a:lnTo>
                    <a:pt x="1" y="0"/>
                  </a:lnTo>
                  <a:lnTo>
                    <a:pt x="1" y="2"/>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91" name="Freeform 1482"/>
            <p:cNvSpPr>
              <a:spLocks/>
            </p:cNvSpPr>
            <p:nvPr/>
          </p:nvSpPr>
          <p:spPr bwMode="auto">
            <a:xfrm>
              <a:off x="4035070" y="2940976"/>
              <a:ext cx="5267" cy="6085"/>
            </a:xfrm>
            <a:custGeom>
              <a:avLst/>
              <a:gdLst/>
              <a:ahLst/>
              <a:cxnLst>
                <a:cxn ang="0">
                  <a:pos x="1" y="0"/>
                </a:cxn>
                <a:cxn ang="0">
                  <a:pos x="4" y="0"/>
                </a:cxn>
                <a:cxn ang="0">
                  <a:pos x="6" y="0"/>
                </a:cxn>
                <a:cxn ang="0">
                  <a:pos x="6" y="2"/>
                </a:cxn>
                <a:cxn ang="0">
                  <a:pos x="6" y="3"/>
                </a:cxn>
                <a:cxn ang="0">
                  <a:pos x="4" y="6"/>
                </a:cxn>
                <a:cxn ang="0">
                  <a:pos x="3" y="6"/>
                </a:cxn>
                <a:cxn ang="0">
                  <a:pos x="1" y="5"/>
                </a:cxn>
                <a:cxn ang="0">
                  <a:pos x="0" y="5"/>
                </a:cxn>
                <a:cxn ang="0">
                  <a:pos x="0" y="3"/>
                </a:cxn>
                <a:cxn ang="0">
                  <a:pos x="1" y="0"/>
                </a:cxn>
              </a:cxnLst>
              <a:rect l="0" t="0" r="r" b="b"/>
              <a:pathLst>
                <a:path w="6" h="6">
                  <a:moveTo>
                    <a:pt x="1" y="0"/>
                  </a:moveTo>
                  <a:lnTo>
                    <a:pt x="4" y="0"/>
                  </a:lnTo>
                  <a:lnTo>
                    <a:pt x="6" y="0"/>
                  </a:lnTo>
                  <a:lnTo>
                    <a:pt x="6" y="2"/>
                  </a:lnTo>
                  <a:lnTo>
                    <a:pt x="6" y="3"/>
                  </a:lnTo>
                  <a:lnTo>
                    <a:pt x="4" y="6"/>
                  </a:lnTo>
                  <a:lnTo>
                    <a:pt x="3" y="6"/>
                  </a:lnTo>
                  <a:lnTo>
                    <a:pt x="1" y="5"/>
                  </a:lnTo>
                  <a:lnTo>
                    <a:pt x="0" y="5"/>
                  </a:lnTo>
                  <a:lnTo>
                    <a:pt x="0" y="3"/>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92" name="Freeform 1483"/>
            <p:cNvSpPr>
              <a:spLocks/>
            </p:cNvSpPr>
            <p:nvPr/>
          </p:nvSpPr>
          <p:spPr bwMode="auto">
            <a:xfrm>
              <a:off x="4035070" y="2940976"/>
              <a:ext cx="5267" cy="6085"/>
            </a:xfrm>
            <a:custGeom>
              <a:avLst/>
              <a:gdLst/>
              <a:ahLst/>
              <a:cxnLst>
                <a:cxn ang="0">
                  <a:pos x="1" y="0"/>
                </a:cxn>
                <a:cxn ang="0">
                  <a:pos x="4" y="0"/>
                </a:cxn>
                <a:cxn ang="0">
                  <a:pos x="6" y="0"/>
                </a:cxn>
                <a:cxn ang="0">
                  <a:pos x="6" y="2"/>
                </a:cxn>
                <a:cxn ang="0">
                  <a:pos x="6" y="3"/>
                </a:cxn>
                <a:cxn ang="0">
                  <a:pos x="4" y="6"/>
                </a:cxn>
                <a:cxn ang="0">
                  <a:pos x="3" y="6"/>
                </a:cxn>
                <a:cxn ang="0">
                  <a:pos x="1" y="5"/>
                </a:cxn>
                <a:cxn ang="0">
                  <a:pos x="0" y="5"/>
                </a:cxn>
                <a:cxn ang="0">
                  <a:pos x="0" y="3"/>
                </a:cxn>
                <a:cxn ang="0">
                  <a:pos x="1" y="0"/>
                </a:cxn>
              </a:cxnLst>
              <a:rect l="0" t="0" r="r" b="b"/>
              <a:pathLst>
                <a:path w="6" h="6">
                  <a:moveTo>
                    <a:pt x="1" y="0"/>
                  </a:moveTo>
                  <a:lnTo>
                    <a:pt x="4" y="0"/>
                  </a:lnTo>
                  <a:lnTo>
                    <a:pt x="6" y="0"/>
                  </a:lnTo>
                  <a:lnTo>
                    <a:pt x="6" y="2"/>
                  </a:lnTo>
                  <a:lnTo>
                    <a:pt x="6" y="3"/>
                  </a:lnTo>
                  <a:lnTo>
                    <a:pt x="4" y="6"/>
                  </a:lnTo>
                  <a:lnTo>
                    <a:pt x="3" y="6"/>
                  </a:lnTo>
                  <a:lnTo>
                    <a:pt x="1" y="5"/>
                  </a:lnTo>
                  <a:lnTo>
                    <a:pt x="0" y="5"/>
                  </a:lnTo>
                  <a:lnTo>
                    <a:pt x="0" y="3"/>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93" name="Freeform 1484"/>
            <p:cNvSpPr>
              <a:spLocks/>
            </p:cNvSpPr>
            <p:nvPr/>
          </p:nvSpPr>
          <p:spPr bwMode="auto">
            <a:xfrm>
              <a:off x="4055260" y="2950104"/>
              <a:ext cx="6144" cy="6085"/>
            </a:xfrm>
            <a:custGeom>
              <a:avLst/>
              <a:gdLst/>
              <a:ahLst/>
              <a:cxnLst>
                <a:cxn ang="0">
                  <a:pos x="1" y="2"/>
                </a:cxn>
                <a:cxn ang="0">
                  <a:pos x="1" y="2"/>
                </a:cxn>
                <a:cxn ang="0">
                  <a:pos x="3" y="0"/>
                </a:cxn>
                <a:cxn ang="0">
                  <a:pos x="7" y="4"/>
                </a:cxn>
                <a:cxn ang="0">
                  <a:pos x="3" y="6"/>
                </a:cxn>
                <a:cxn ang="0">
                  <a:pos x="1" y="4"/>
                </a:cxn>
                <a:cxn ang="0">
                  <a:pos x="0" y="2"/>
                </a:cxn>
                <a:cxn ang="0">
                  <a:pos x="1" y="2"/>
                </a:cxn>
                <a:cxn ang="0">
                  <a:pos x="1" y="2"/>
                </a:cxn>
              </a:cxnLst>
              <a:rect l="0" t="0" r="r" b="b"/>
              <a:pathLst>
                <a:path w="7" h="6">
                  <a:moveTo>
                    <a:pt x="1" y="2"/>
                  </a:moveTo>
                  <a:lnTo>
                    <a:pt x="1" y="2"/>
                  </a:lnTo>
                  <a:lnTo>
                    <a:pt x="3" y="0"/>
                  </a:lnTo>
                  <a:lnTo>
                    <a:pt x="7" y="4"/>
                  </a:lnTo>
                  <a:lnTo>
                    <a:pt x="3" y="6"/>
                  </a:lnTo>
                  <a:lnTo>
                    <a:pt x="1" y="4"/>
                  </a:lnTo>
                  <a:lnTo>
                    <a:pt x="0" y="2"/>
                  </a:lnTo>
                  <a:lnTo>
                    <a:pt x="1" y="2"/>
                  </a:lnTo>
                  <a:lnTo>
                    <a:pt x="1"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94" name="Freeform 1485"/>
            <p:cNvSpPr>
              <a:spLocks/>
            </p:cNvSpPr>
            <p:nvPr/>
          </p:nvSpPr>
          <p:spPr bwMode="auto">
            <a:xfrm>
              <a:off x="4055260" y="2950104"/>
              <a:ext cx="6144" cy="6085"/>
            </a:xfrm>
            <a:custGeom>
              <a:avLst/>
              <a:gdLst/>
              <a:ahLst/>
              <a:cxnLst>
                <a:cxn ang="0">
                  <a:pos x="1" y="2"/>
                </a:cxn>
                <a:cxn ang="0">
                  <a:pos x="1" y="2"/>
                </a:cxn>
                <a:cxn ang="0">
                  <a:pos x="3" y="0"/>
                </a:cxn>
                <a:cxn ang="0">
                  <a:pos x="7" y="4"/>
                </a:cxn>
                <a:cxn ang="0">
                  <a:pos x="3" y="6"/>
                </a:cxn>
                <a:cxn ang="0">
                  <a:pos x="1" y="4"/>
                </a:cxn>
                <a:cxn ang="0">
                  <a:pos x="0" y="2"/>
                </a:cxn>
                <a:cxn ang="0">
                  <a:pos x="1" y="2"/>
                </a:cxn>
                <a:cxn ang="0">
                  <a:pos x="1" y="2"/>
                </a:cxn>
              </a:cxnLst>
              <a:rect l="0" t="0" r="r" b="b"/>
              <a:pathLst>
                <a:path w="7" h="6">
                  <a:moveTo>
                    <a:pt x="1" y="2"/>
                  </a:moveTo>
                  <a:lnTo>
                    <a:pt x="1" y="2"/>
                  </a:lnTo>
                  <a:lnTo>
                    <a:pt x="3" y="0"/>
                  </a:lnTo>
                  <a:lnTo>
                    <a:pt x="7" y="4"/>
                  </a:lnTo>
                  <a:lnTo>
                    <a:pt x="3" y="6"/>
                  </a:lnTo>
                  <a:lnTo>
                    <a:pt x="1" y="4"/>
                  </a:lnTo>
                  <a:lnTo>
                    <a:pt x="0" y="2"/>
                  </a:lnTo>
                  <a:lnTo>
                    <a:pt x="1" y="2"/>
                  </a:lnTo>
                  <a:lnTo>
                    <a:pt x="1"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95" name="Freeform 1486"/>
            <p:cNvSpPr>
              <a:spLocks/>
            </p:cNvSpPr>
            <p:nvPr/>
          </p:nvSpPr>
          <p:spPr bwMode="auto">
            <a:xfrm>
              <a:off x="4066671" y="2957202"/>
              <a:ext cx="7901" cy="2029"/>
            </a:xfrm>
            <a:custGeom>
              <a:avLst/>
              <a:gdLst/>
              <a:ahLst/>
              <a:cxnLst>
                <a:cxn ang="0">
                  <a:pos x="0" y="0"/>
                </a:cxn>
                <a:cxn ang="0">
                  <a:pos x="0" y="2"/>
                </a:cxn>
                <a:cxn ang="0">
                  <a:pos x="0" y="0"/>
                </a:cxn>
                <a:cxn ang="0">
                  <a:pos x="7" y="0"/>
                </a:cxn>
                <a:cxn ang="0">
                  <a:pos x="8" y="0"/>
                </a:cxn>
                <a:cxn ang="0">
                  <a:pos x="8" y="2"/>
                </a:cxn>
                <a:cxn ang="0">
                  <a:pos x="6" y="2"/>
                </a:cxn>
                <a:cxn ang="0">
                  <a:pos x="3" y="2"/>
                </a:cxn>
                <a:cxn ang="0">
                  <a:pos x="1" y="2"/>
                </a:cxn>
                <a:cxn ang="0">
                  <a:pos x="0" y="0"/>
                </a:cxn>
                <a:cxn ang="0">
                  <a:pos x="0" y="0"/>
                </a:cxn>
              </a:cxnLst>
              <a:rect l="0" t="0" r="r" b="b"/>
              <a:pathLst>
                <a:path w="8" h="2">
                  <a:moveTo>
                    <a:pt x="0" y="0"/>
                  </a:moveTo>
                  <a:lnTo>
                    <a:pt x="0" y="2"/>
                  </a:lnTo>
                  <a:lnTo>
                    <a:pt x="0" y="0"/>
                  </a:lnTo>
                  <a:lnTo>
                    <a:pt x="7" y="0"/>
                  </a:lnTo>
                  <a:lnTo>
                    <a:pt x="8" y="0"/>
                  </a:lnTo>
                  <a:lnTo>
                    <a:pt x="8" y="2"/>
                  </a:lnTo>
                  <a:lnTo>
                    <a:pt x="6" y="2"/>
                  </a:lnTo>
                  <a:lnTo>
                    <a:pt x="3" y="2"/>
                  </a:lnTo>
                  <a:lnTo>
                    <a:pt x="1" y="2"/>
                  </a:lnTo>
                  <a:lnTo>
                    <a:pt x="0" y="0"/>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96" name="Freeform 1487"/>
            <p:cNvSpPr>
              <a:spLocks/>
            </p:cNvSpPr>
            <p:nvPr/>
          </p:nvSpPr>
          <p:spPr bwMode="auto">
            <a:xfrm>
              <a:off x="4066671" y="2957202"/>
              <a:ext cx="7901" cy="2029"/>
            </a:xfrm>
            <a:custGeom>
              <a:avLst/>
              <a:gdLst/>
              <a:ahLst/>
              <a:cxnLst>
                <a:cxn ang="0">
                  <a:pos x="0" y="0"/>
                </a:cxn>
                <a:cxn ang="0">
                  <a:pos x="0" y="2"/>
                </a:cxn>
                <a:cxn ang="0">
                  <a:pos x="0" y="0"/>
                </a:cxn>
                <a:cxn ang="0">
                  <a:pos x="7" y="0"/>
                </a:cxn>
                <a:cxn ang="0">
                  <a:pos x="8" y="0"/>
                </a:cxn>
                <a:cxn ang="0">
                  <a:pos x="8" y="2"/>
                </a:cxn>
                <a:cxn ang="0">
                  <a:pos x="6" y="2"/>
                </a:cxn>
                <a:cxn ang="0">
                  <a:pos x="3" y="2"/>
                </a:cxn>
                <a:cxn ang="0">
                  <a:pos x="1" y="2"/>
                </a:cxn>
                <a:cxn ang="0">
                  <a:pos x="0" y="0"/>
                </a:cxn>
                <a:cxn ang="0">
                  <a:pos x="0" y="0"/>
                </a:cxn>
              </a:cxnLst>
              <a:rect l="0" t="0" r="r" b="b"/>
              <a:pathLst>
                <a:path w="8" h="2">
                  <a:moveTo>
                    <a:pt x="0" y="0"/>
                  </a:moveTo>
                  <a:lnTo>
                    <a:pt x="0" y="2"/>
                  </a:lnTo>
                  <a:lnTo>
                    <a:pt x="0" y="0"/>
                  </a:lnTo>
                  <a:lnTo>
                    <a:pt x="7" y="0"/>
                  </a:lnTo>
                  <a:lnTo>
                    <a:pt x="8" y="0"/>
                  </a:lnTo>
                  <a:lnTo>
                    <a:pt x="8" y="2"/>
                  </a:lnTo>
                  <a:lnTo>
                    <a:pt x="6" y="2"/>
                  </a:lnTo>
                  <a:lnTo>
                    <a:pt x="3" y="2"/>
                  </a:lnTo>
                  <a:lnTo>
                    <a:pt x="1" y="2"/>
                  </a:lnTo>
                  <a:lnTo>
                    <a:pt x="0" y="0"/>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97" name="Freeform 1488"/>
            <p:cNvSpPr>
              <a:spLocks/>
            </p:cNvSpPr>
            <p:nvPr/>
          </p:nvSpPr>
          <p:spPr bwMode="auto">
            <a:xfrm>
              <a:off x="4074572" y="2960245"/>
              <a:ext cx="9656" cy="6085"/>
            </a:xfrm>
            <a:custGeom>
              <a:avLst/>
              <a:gdLst/>
              <a:ahLst/>
              <a:cxnLst>
                <a:cxn ang="0">
                  <a:pos x="5" y="2"/>
                </a:cxn>
                <a:cxn ang="0">
                  <a:pos x="5" y="2"/>
                </a:cxn>
                <a:cxn ang="0">
                  <a:pos x="6" y="0"/>
                </a:cxn>
                <a:cxn ang="0">
                  <a:pos x="11" y="3"/>
                </a:cxn>
                <a:cxn ang="0">
                  <a:pos x="11" y="5"/>
                </a:cxn>
                <a:cxn ang="0">
                  <a:pos x="8" y="6"/>
                </a:cxn>
                <a:cxn ang="0">
                  <a:pos x="6" y="6"/>
                </a:cxn>
                <a:cxn ang="0">
                  <a:pos x="5" y="6"/>
                </a:cxn>
                <a:cxn ang="0">
                  <a:pos x="3" y="3"/>
                </a:cxn>
                <a:cxn ang="0">
                  <a:pos x="2" y="2"/>
                </a:cxn>
                <a:cxn ang="0">
                  <a:pos x="0" y="0"/>
                </a:cxn>
                <a:cxn ang="0">
                  <a:pos x="2" y="0"/>
                </a:cxn>
                <a:cxn ang="0">
                  <a:pos x="2" y="0"/>
                </a:cxn>
                <a:cxn ang="0">
                  <a:pos x="5" y="2"/>
                </a:cxn>
              </a:cxnLst>
              <a:rect l="0" t="0" r="r" b="b"/>
              <a:pathLst>
                <a:path w="11" h="6">
                  <a:moveTo>
                    <a:pt x="5" y="2"/>
                  </a:moveTo>
                  <a:lnTo>
                    <a:pt x="5" y="2"/>
                  </a:lnTo>
                  <a:lnTo>
                    <a:pt x="6" y="0"/>
                  </a:lnTo>
                  <a:lnTo>
                    <a:pt x="11" y="3"/>
                  </a:lnTo>
                  <a:lnTo>
                    <a:pt x="11" y="5"/>
                  </a:lnTo>
                  <a:lnTo>
                    <a:pt x="8" y="6"/>
                  </a:lnTo>
                  <a:lnTo>
                    <a:pt x="6" y="6"/>
                  </a:lnTo>
                  <a:lnTo>
                    <a:pt x="5" y="6"/>
                  </a:lnTo>
                  <a:lnTo>
                    <a:pt x="3" y="3"/>
                  </a:lnTo>
                  <a:lnTo>
                    <a:pt x="2" y="2"/>
                  </a:lnTo>
                  <a:lnTo>
                    <a:pt x="0" y="0"/>
                  </a:lnTo>
                  <a:lnTo>
                    <a:pt x="2" y="0"/>
                  </a:lnTo>
                  <a:lnTo>
                    <a:pt x="2" y="0"/>
                  </a:lnTo>
                  <a:lnTo>
                    <a:pt x="5"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98" name="Freeform 1489"/>
            <p:cNvSpPr>
              <a:spLocks/>
            </p:cNvSpPr>
            <p:nvPr/>
          </p:nvSpPr>
          <p:spPr bwMode="auto">
            <a:xfrm>
              <a:off x="4074572" y="2960245"/>
              <a:ext cx="9656" cy="6085"/>
            </a:xfrm>
            <a:custGeom>
              <a:avLst/>
              <a:gdLst/>
              <a:ahLst/>
              <a:cxnLst>
                <a:cxn ang="0">
                  <a:pos x="5" y="2"/>
                </a:cxn>
                <a:cxn ang="0">
                  <a:pos x="5" y="2"/>
                </a:cxn>
                <a:cxn ang="0">
                  <a:pos x="6" y="0"/>
                </a:cxn>
                <a:cxn ang="0">
                  <a:pos x="11" y="3"/>
                </a:cxn>
                <a:cxn ang="0">
                  <a:pos x="11" y="5"/>
                </a:cxn>
                <a:cxn ang="0">
                  <a:pos x="8" y="6"/>
                </a:cxn>
                <a:cxn ang="0">
                  <a:pos x="6" y="6"/>
                </a:cxn>
                <a:cxn ang="0">
                  <a:pos x="5" y="6"/>
                </a:cxn>
                <a:cxn ang="0">
                  <a:pos x="3" y="3"/>
                </a:cxn>
                <a:cxn ang="0">
                  <a:pos x="2" y="2"/>
                </a:cxn>
                <a:cxn ang="0">
                  <a:pos x="0" y="0"/>
                </a:cxn>
                <a:cxn ang="0">
                  <a:pos x="2" y="0"/>
                </a:cxn>
                <a:cxn ang="0">
                  <a:pos x="2" y="0"/>
                </a:cxn>
                <a:cxn ang="0">
                  <a:pos x="5" y="2"/>
                </a:cxn>
              </a:cxnLst>
              <a:rect l="0" t="0" r="r" b="b"/>
              <a:pathLst>
                <a:path w="11" h="6">
                  <a:moveTo>
                    <a:pt x="5" y="2"/>
                  </a:moveTo>
                  <a:lnTo>
                    <a:pt x="5" y="2"/>
                  </a:lnTo>
                  <a:lnTo>
                    <a:pt x="6" y="0"/>
                  </a:lnTo>
                  <a:lnTo>
                    <a:pt x="11" y="3"/>
                  </a:lnTo>
                  <a:lnTo>
                    <a:pt x="11" y="5"/>
                  </a:lnTo>
                  <a:lnTo>
                    <a:pt x="8" y="6"/>
                  </a:lnTo>
                  <a:lnTo>
                    <a:pt x="6" y="6"/>
                  </a:lnTo>
                  <a:lnTo>
                    <a:pt x="5" y="6"/>
                  </a:lnTo>
                  <a:lnTo>
                    <a:pt x="3" y="3"/>
                  </a:lnTo>
                  <a:lnTo>
                    <a:pt x="2" y="2"/>
                  </a:lnTo>
                  <a:lnTo>
                    <a:pt x="0" y="0"/>
                  </a:lnTo>
                  <a:lnTo>
                    <a:pt x="2" y="0"/>
                  </a:lnTo>
                  <a:lnTo>
                    <a:pt x="2" y="0"/>
                  </a:lnTo>
                  <a:lnTo>
                    <a:pt x="5"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199" name="Freeform 1490"/>
            <p:cNvSpPr>
              <a:spLocks/>
            </p:cNvSpPr>
            <p:nvPr/>
          </p:nvSpPr>
          <p:spPr bwMode="auto">
            <a:xfrm>
              <a:off x="4084228" y="2973427"/>
              <a:ext cx="15800" cy="20283"/>
            </a:xfrm>
            <a:custGeom>
              <a:avLst/>
              <a:gdLst/>
              <a:ahLst/>
              <a:cxnLst>
                <a:cxn ang="0">
                  <a:pos x="1" y="0"/>
                </a:cxn>
                <a:cxn ang="0">
                  <a:pos x="1" y="1"/>
                </a:cxn>
                <a:cxn ang="0">
                  <a:pos x="1" y="0"/>
                </a:cxn>
                <a:cxn ang="0">
                  <a:pos x="3" y="0"/>
                </a:cxn>
                <a:cxn ang="0">
                  <a:pos x="4" y="1"/>
                </a:cxn>
                <a:cxn ang="0">
                  <a:pos x="5" y="1"/>
                </a:cxn>
                <a:cxn ang="0">
                  <a:pos x="10" y="3"/>
                </a:cxn>
                <a:cxn ang="0">
                  <a:pos x="11" y="4"/>
                </a:cxn>
                <a:cxn ang="0">
                  <a:pos x="13" y="6"/>
                </a:cxn>
                <a:cxn ang="0">
                  <a:pos x="14" y="7"/>
                </a:cxn>
                <a:cxn ang="0">
                  <a:pos x="16" y="9"/>
                </a:cxn>
                <a:cxn ang="0">
                  <a:pos x="16" y="10"/>
                </a:cxn>
                <a:cxn ang="0">
                  <a:pos x="17" y="12"/>
                </a:cxn>
                <a:cxn ang="0">
                  <a:pos x="16" y="14"/>
                </a:cxn>
                <a:cxn ang="0">
                  <a:pos x="11" y="13"/>
                </a:cxn>
                <a:cxn ang="0">
                  <a:pos x="10" y="14"/>
                </a:cxn>
                <a:cxn ang="0">
                  <a:pos x="7" y="17"/>
                </a:cxn>
                <a:cxn ang="0">
                  <a:pos x="5" y="19"/>
                </a:cxn>
                <a:cxn ang="0">
                  <a:pos x="4" y="20"/>
                </a:cxn>
                <a:cxn ang="0">
                  <a:pos x="3" y="19"/>
                </a:cxn>
                <a:cxn ang="0">
                  <a:pos x="1" y="16"/>
                </a:cxn>
                <a:cxn ang="0">
                  <a:pos x="0" y="7"/>
                </a:cxn>
                <a:cxn ang="0">
                  <a:pos x="1" y="4"/>
                </a:cxn>
                <a:cxn ang="0">
                  <a:pos x="1" y="3"/>
                </a:cxn>
                <a:cxn ang="0">
                  <a:pos x="1" y="0"/>
                </a:cxn>
              </a:cxnLst>
              <a:rect l="0" t="0" r="r" b="b"/>
              <a:pathLst>
                <a:path w="17" h="20">
                  <a:moveTo>
                    <a:pt x="1" y="0"/>
                  </a:moveTo>
                  <a:lnTo>
                    <a:pt x="1" y="1"/>
                  </a:lnTo>
                  <a:lnTo>
                    <a:pt x="1" y="0"/>
                  </a:lnTo>
                  <a:lnTo>
                    <a:pt x="3" y="0"/>
                  </a:lnTo>
                  <a:lnTo>
                    <a:pt x="4" y="1"/>
                  </a:lnTo>
                  <a:lnTo>
                    <a:pt x="5" y="1"/>
                  </a:lnTo>
                  <a:lnTo>
                    <a:pt x="10" y="3"/>
                  </a:lnTo>
                  <a:lnTo>
                    <a:pt x="11" y="4"/>
                  </a:lnTo>
                  <a:lnTo>
                    <a:pt x="13" y="6"/>
                  </a:lnTo>
                  <a:lnTo>
                    <a:pt x="14" y="7"/>
                  </a:lnTo>
                  <a:lnTo>
                    <a:pt x="16" y="9"/>
                  </a:lnTo>
                  <a:lnTo>
                    <a:pt x="16" y="10"/>
                  </a:lnTo>
                  <a:lnTo>
                    <a:pt x="17" y="12"/>
                  </a:lnTo>
                  <a:lnTo>
                    <a:pt x="16" y="14"/>
                  </a:lnTo>
                  <a:lnTo>
                    <a:pt x="11" y="13"/>
                  </a:lnTo>
                  <a:lnTo>
                    <a:pt x="10" y="14"/>
                  </a:lnTo>
                  <a:lnTo>
                    <a:pt x="7" y="17"/>
                  </a:lnTo>
                  <a:lnTo>
                    <a:pt x="5" y="19"/>
                  </a:lnTo>
                  <a:lnTo>
                    <a:pt x="4" y="20"/>
                  </a:lnTo>
                  <a:lnTo>
                    <a:pt x="3" y="19"/>
                  </a:lnTo>
                  <a:lnTo>
                    <a:pt x="1" y="16"/>
                  </a:lnTo>
                  <a:lnTo>
                    <a:pt x="0" y="7"/>
                  </a:lnTo>
                  <a:lnTo>
                    <a:pt x="1" y="4"/>
                  </a:lnTo>
                  <a:lnTo>
                    <a:pt x="1" y="3"/>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00" name="Freeform 1491"/>
            <p:cNvSpPr>
              <a:spLocks/>
            </p:cNvSpPr>
            <p:nvPr/>
          </p:nvSpPr>
          <p:spPr bwMode="auto">
            <a:xfrm>
              <a:off x="4084228" y="2973427"/>
              <a:ext cx="15800" cy="20283"/>
            </a:xfrm>
            <a:custGeom>
              <a:avLst/>
              <a:gdLst/>
              <a:ahLst/>
              <a:cxnLst>
                <a:cxn ang="0">
                  <a:pos x="1" y="0"/>
                </a:cxn>
                <a:cxn ang="0">
                  <a:pos x="1" y="1"/>
                </a:cxn>
                <a:cxn ang="0">
                  <a:pos x="1" y="0"/>
                </a:cxn>
                <a:cxn ang="0">
                  <a:pos x="3" y="0"/>
                </a:cxn>
                <a:cxn ang="0">
                  <a:pos x="4" y="1"/>
                </a:cxn>
                <a:cxn ang="0">
                  <a:pos x="5" y="1"/>
                </a:cxn>
                <a:cxn ang="0">
                  <a:pos x="10" y="3"/>
                </a:cxn>
                <a:cxn ang="0">
                  <a:pos x="11" y="4"/>
                </a:cxn>
                <a:cxn ang="0">
                  <a:pos x="13" y="6"/>
                </a:cxn>
                <a:cxn ang="0">
                  <a:pos x="14" y="7"/>
                </a:cxn>
                <a:cxn ang="0">
                  <a:pos x="16" y="9"/>
                </a:cxn>
                <a:cxn ang="0">
                  <a:pos x="16" y="10"/>
                </a:cxn>
                <a:cxn ang="0">
                  <a:pos x="17" y="12"/>
                </a:cxn>
                <a:cxn ang="0">
                  <a:pos x="16" y="14"/>
                </a:cxn>
                <a:cxn ang="0">
                  <a:pos x="11" y="13"/>
                </a:cxn>
                <a:cxn ang="0">
                  <a:pos x="10" y="14"/>
                </a:cxn>
                <a:cxn ang="0">
                  <a:pos x="7" y="17"/>
                </a:cxn>
                <a:cxn ang="0">
                  <a:pos x="5" y="19"/>
                </a:cxn>
                <a:cxn ang="0">
                  <a:pos x="4" y="20"/>
                </a:cxn>
                <a:cxn ang="0">
                  <a:pos x="3" y="19"/>
                </a:cxn>
                <a:cxn ang="0">
                  <a:pos x="1" y="16"/>
                </a:cxn>
                <a:cxn ang="0">
                  <a:pos x="0" y="7"/>
                </a:cxn>
                <a:cxn ang="0">
                  <a:pos x="1" y="4"/>
                </a:cxn>
                <a:cxn ang="0">
                  <a:pos x="1" y="3"/>
                </a:cxn>
                <a:cxn ang="0">
                  <a:pos x="1" y="0"/>
                </a:cxn>
              </a:cxnLst>
              <a:rect l="0" t="0" r="r" b="b"/>
              <a:pathLst>
                <a:path w="17" h="20">
                  <a:moveTo>
                    <a:pt x="1" y="0"/>
                  </a:moveTo>
                  <a:lnTo>
                    <a:pt x="1" y="1"/>
                  </a:lnTo>
                  <a:lnTo>
                    <a:pt x="1" y="0"/>
                  </a:lnTo>
                  <a:lnTo>
                    <a:pt x="3" y="0"/>
                  </a:lnTo>
                  <a:lnTo>
                    <a:pt x="4" y="1"/>
                  </a:lnTo>
                  <a:lnTo>
                    <a:pt x="5" y="1"/>
                  </a:lnTo>
                  <a:lnTo>
                    <a:pt x="10" y="3"/>
                  </a:lnTo>
                  <a:lnTo>
                    <a:pt x="11" y="4"/>
                  </a:lnTo>
                  <a:lnTo>
                    <a:pt x="13" y="6"/>
                  </a:lnTo>
                  <a:lnTo>
                    <a:pt x="14" y="7"/>
                  </a:lnTo>
                  <a:lnTo>
                    <a:pt x="16" y="9"/>
                  </a:lnTo>
                  <a:lnTo>
                    <a:pt x="16" y="10"/>
                  </a:lnTo>
                  <a:lnTo>
                    <a:pt x="17" y="12"/>
                  </a:lnTo>
                  <a:lnTo>
                    <a:pt x="16" y="14"/>
                  </a:lnTo>
                  <a:lnTo>
                    <a:pt x="11" y="13"/>
                  </a:lnTo>
                  <a:lnTo>
                    <a:pt x="10" y="14"/>
                  </a:lnTo>
                  <a:lnTo>
                    <a:pt x="7" y="17"/>
                  </a:lnTo>
                  <a:lnTo>
                    <a:pt x="5" y="19"/>
                  </a:lnTo>
                  <a:lnTo>
                    <a:pt x="4" y="20"/>
                  </a:lnTo>
                  <a:lnTo>
                    <a:pt x="3" y="19"/>
                  </a:lnTo>
                  <a:lnTo>
                    <a:pt x="1" y="16"/>
                  </a:lnTo>
                  <a:lnTo>
                    <a:pt x="0" y="7"/>
                  </a:lnTo>
                  <a:lnTo>
                    <a:pt x="1" y="4"/>
                  </a:lnTo>
                  <a:lnTo>
                    <a:pt x="1" y="3"/>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01" name="Freeform 1492"/>
            <p:cNvSpPr>
              <a:spLocks/>
            </p:cNvSpPr>
            <p:nvPr/>
          </p:nvSpPr>
          <p:spPr bwMode="auto">
            <a:xfrm>
              <a:off x="4071060" y="2962273"/>
              <a:ext cx="2633" cy="1014"/>
            </a:xfrm>
            <a:custGeom>
              <a:avLst/>
              <a:gdLst/>
              <a:ahLst/>
              <a:cxnLst>
                <a:cxn ang="0">
                  <a:pos x="0" y="0"/>
                </a:cxn>
                <a:cxn ang="0">
                  <a:pos x="0" y="0"/>
                </a:cxn>
                <a:cxn ang="0">
                  <a:pos x="2" y="0"/>
                </a:cxn>
                <a:cxn ang="0">
                  <a:pos x="3" y="1"/>
                </a:cxn>
                <a:cxn ang="0">
                  <a:pos x="2" y="1"/>
                </a:cxn>
                <a:cxn ang="0">
                  <a:pos x="2" y="1"/>
                </a:cxn>
                <a:cxn ang="0">
                  <a:pos x="0" y="1"/>
                </a:cxn>
                <a:cxn ang="0">
                  <a:pos x="0" y="0"/>
                </a:cxn>
                <a:cxn ang="0">
                  <a:pos x="0" y="1"/>
                </a:cxn>
                <a:cxn ang="0">
                  <a:pos x="0" y="1"/>
                </a:cxn>
                <a:cxn ang="0">
                  <a:pos x="0" y="0"/>
                </a:cxn>
              </a:cxnLst>
              <a:rect l="0" t="0" r="r" b="b"/>
              <a:pathLst>
                <a:path w="3" h="1">
                  <a:moveTo>
                    <a:pt x="0" y="0"/>
                  </a:moveTo>
                  <a:lnTo>
                    <a:pt x="0" y="0"/>
                  </a:lnTo>
                  <a:lnTo>
                    <a:pt x="2" y="0"/>
                  </a:lnTo>
                  <a:lnTo>
                    <a:pt x="3" y="1"/>
                  </a:lnTo>
                  <a:lnTo>
                    <a:pt x="2" y="1"/>
                  </a:lnTo>
                  <a:lnTo>
                    <a:pt x="2" y="1"/>
                  </a:lnTo>
                  <a:lnTo>
                    <a:pt x="0" y="1"/>
                  </a:lnTo>
                  <a:lnTo>
                    <a:pt x="0" y="0"/>
                  </a:lnTo>
                  <a:lnTo>
                    <a:pt x="0" y="1"/>
                  </a:lnTo>
                  <a:lnTo>
                    <a:pt x="0" y="1"/>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02" name="Freeform 1493"/>
            <p:cNvSpPr>
              <a:spLocks/>
            </p:cNvSpPr>
            <p:nvPr/>
          </p:nvSpPr>
          <p:spPr bwMode="auto">
            <a:xfrm>
              <a:off x="4071060" y="2962273"/>
              <a:ext cx="2633" cy="1014"/>
            </a:xfrm>
            <a:custGeom>
              <a:avLst/>
              <a:gdLst/>
              <a:ahLst/>
              <a:cxnLst>
                <a:cxn ang="0">
                  <a:pos x="0" y="0"/>
                </a:cxn>
                <a:cxn ang="0">
                  <a:pos x="0" y="0"/>
                </a:cxn>
                <a:cxn ang="0">
                  <a:pos x="2" y="0"/>
                </a:cxn>
                <a:cxn ang="0">
                  <a:pos x="3" y="1"/>
                </a:cxn>
                <a:cxn ang="0">
                  <a:pos x="2" y="1"/>
                </a:cxn>
                <a:cxn ang="0">
                  <a:pos x="2" y="1"/>
                </a:cxn>
                <a:cxn ang="0">
                  <a:pos x="0" y="1"/>
                </a:cxn>
                <a:cxn ang="0">
                  <a:pos x="0" y="0"/>
                </a:cxn>
                <a:cxn ang="0">
                  <a:pos x="0" y="1"/>
                </a:cxn>
                <a:cxn ang="0">
                  <a:pos x="0" y="1"/>
                </a:cxn>
                <a:cxn ang="0">
                  <a:pos x="0" y="0"/>
                </a:cxn>
              </a:cxnLst>
              <a:rect l="0" t="0" r="r" b="b"/>
              <a:pathLst>
                <a:path w="3" h="1">
                  <a:moveTo>
                    <a:pt x="0" y="0"/>
                  </a:moveTo>
                  <a:lnTo>
                    <a:pt x="0" y="0"/>
                  </a:lnTo>
                  <a:lnTo>
                    <a:pt x="2" y="0"/>
                  </a:lnTo>
                  <a:lnTo>
                    <a:pt x="3" y="1"/>
                  </a:lnTo>
                  <a:lnTo>
                    <a:pt x="2" y="1"/>
                  </a:lnTo>
                  <a:lnTo>
                    <a:pt x="2" y="1"/>
                  </a:lnTo>
                  <a:lnTo>
                    <a:pt x="0" y="1"/>
                  </a:lnTo>
                  <a:lnTo>
                    <a:pt x="0" y="0"/>
                  </a:lnTo>
                  <a:lnTo>
                    <a:pt x="0" y="1"/>
                  </a:lnTo>
                  <a:lnTo>
                    <a:pt x="0" y="1"/>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03" name="Freeform 1494"/>
            <p:cNvSpPr>
              <a:spLocks/>
            </p:cNvSpPr>
            <p:nvPr/>
          </p:nvSpPr>
          <p:spPr bwMode="auto">
            <a:xfrm>
              <a:off x="3999081" y="1928871"/>
              <a:ext cx="6144" cy="9128"/>
            </a:xfrm>
            <a:custGeom>
              <a:avLst/>
              <a:gdLst/>
              <a:ahLst/>
              <a:cxnLst>
                <a:cxn ang="0">
                  <a:pos x="0" y="2"/>
                </a:cxn>
                <a:cxn ang="0">
                  <a:pos x="1" y="2"/>
                </a:cxn>
                <a:cxn ang="0">
                  <a:pos x="3" y="0"/>
                </a:cxn>
                <a:cxn ang="0">
                  <a:pos x="3" y="0"/>
                </a:cxn>
                <a:cxn ang="0">
                  <a:pos x="4" y="3"/>
                </a:cxn>
                <a:cxn ang="0">
                  <a:pos x="7" y="8"/>
                </a:cxn>
                <a:cxn ang="0">
                  <a:pos x="6" y="9"/>
                </a:cxn>
                <a:cxn ang="0">
                  <a:pos x="1" y="8"/>
                </a:cxn>
                <a:cxn ang="0">
                  <a:pos x="1" y="8"/>
                </a:cxn>
                <a:cxn ang="0">
                  <a:pos x="0" y="3"/>
                </a:cxn>
                <a:cxn ang="0">
                  <a:pos x="0" y="2"/>
                </a:cxn>
                <a:cxn ang="0">
                  <a:pos x="0" y="2"/>
                </a:cxn>
              </a:cxnLst>
              <a:rect l="0" t="0" r="r" b="b"/>
              <a:pathLst>
                <a:path w="7" h="9">
                  <a:moveTo>
                    <a:pt x="0" y="2"/>
                  </a:moveTo>
                  <a:lnTo>
                    <a:pt x="1" y="2"/>
                  </a:lnTo>
                  <a:lnTo>
                    <a:pt x="3" y="0"/>
                  </a:lnTo>
                  <a:lnTo>
                    <a:pt x="3" y="0"/>
                  </a:lnTo>
                  <a:lnTo>
                    <a:pt x="4" y="3"/>
                  </a:lnTo>
                  <a:lnTo>
                    <a:pt x="7" y="8"/>
                  </a:lnTo>
                  <a:lnTo>
                    <a:pt x="6" y="9"/>
                  </a:lnTo>
                  <a:lnTo>
                    <a:pt x="1" y="8"/>
                  </a:lnTo>
                  <a:lnTo>
                    <a:pt x="1" y="8"/>
                  </a:lnTo>
                  <a:lnTo>
                    <a:pt x="0" y="3"/>
                  </a:lnTo>
                  <a:lnTo>
                    <a:pt x="0" y="2"/>
                  </a:lnTo>
                  <a:lnTo>
                    <a:pt x="0"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04" name="Freeform 1495"/>
            <p:cNvSpPr>
              <a:spLocks/>
            </p:cNvSpPr>
            <p:nvPr/>
          </p:nvSpPr>
          <p:spPr bwMode="auto">
            <a:xfrm>
              <a:off x="3999081" y="1928871"/>
              <a:ext cx="6144" cy="9128"/>
            </a:xfrm>
            <a:custGeom>
              <a:avLst/>
              <a:gdLst/>
              <a:ahLst/>
              <a:cxnLst>
                <a:cxn ang="0">
                  <a:pos x="0" y="2"/>
                </a:cxn>
                <a:cxn ang="0">
                  <a:pos x="1" y="2"/>
                </a:cxn>
                <a:cxn ang="0">
                  <a:pos x="3" y="0"/>
                </a:cxn>
                <a:cxn ang="0">
                  <a:pos x="3" y="0"/>
                </a:cxn>
                <a:cxn ang="0">
                  <a:pos x="4" y="3"/>
                </a:cxn>
                <a:cxn ang="0">
                  <a:pos x="7" y="8"/>
                </a:cxn>
                <a:cxn ang="0">
                  <a:pos x="6" y="9"/>
                </a:cxn>
                <a:cxn ang="0">
                  <a:pos x="1" y="8"/>
                </a:cxn>
                <a:cxn ang="0">
                  <a:pos x="1" y="8"/>
                </a:cxn>
                <a:cxn ang="0">
                  <a:pos x="0" y="3"/>
                </a:cxn>
                <a:cxn ang="0">
                  <a:pos x="0" y="2"/>
                </a:cxn>
                <a:cxn ang="0">
                  <a:pos x="0" y="2"/>
                </a:cxn>
              </a:cxnLst>
              <a:rect l="0" t="0" r="r" b="b"/>
              <a:pathLst>
                <a:path w="7" h="9">
                  <a:moveTo>
                    <a:pt x="0" y="2"/>
                  </a:moveTo>
                  <a:lnTo>
                    <a:pt x="1" y="2"/>
                  </a:lnTo>
                  <a:lnTo>
                    <a:pt x="3" y="0"/>
                  </a:lnTo>
                  <a:lnTo>
                    <a:pt x="3" y="0"/>
                  </a:lnTo>
                  <a:lnTo>
                    <a:pt x="4" y="3"/>
                  </a:lnTo>
                  <a:lnTo>
                    <a:pt x="7" y="8"/>
                  </a:lnTo>
                  <a:lnTo>
                    <a:pt x="6" y="9"/>
                  </a:lnTo>
                  <a:lnTo>
                    <a:pt x="1" y="8"/>
                  </a:lnTo>
                  <a:lnTo>
                    <a:pt x="1" y="8"/>
                  </a:lnTo>
                  <a:lnTo>
                    <a:pt x="0" y="3"/>
                  </a:lnTo>
                  <a:lnTo>
                    <a:pt x="0" y="2"/>
                  </a:lnTo>
                  <a:lnTo>
                    <a:pt x="0"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05" name="Freeform 1496"/>
            <p:cNvSpPr>
              <a:spLocks/>
            </p:cNvSpPr>
            <p:nvPr/>
          </p:nvSpPr>
          <p:spPr bwMode="auto">
            <a:xfrm>
              <a:off x="3875311" y="2041440"/>
              <a:ext cx="41256" cy="24339"/>
            </a:xfrm>
            <a:custGeom>
              <a:avLst/>
              <a:gdLst/>
              <a:ahLst/>
              <a:cxnLst>
                <a:cxn ang="0">
                  <a:pos x="30" y="23"/>
                </a:cxn>
                <a:cxn ang="0">
                  <a:pos x="30" y="22"/>
                </a:cxn>
                <a:cxn ang="0">
                  <a:pos x="30" y="21"/>
                </a:cxn>
                <a:cxn ang="0">
                  <a:pos x="23" y="19"/>
                </a:cxn>
                <a:cxn ang="0">
                  <a:pos x="16" y="13"/>
                </a:cxn>
                <a:cxn ang="0">
                  <a:pos x="14" y="13"/>
                </a:cxn>
                <a:cxn ang="0">
                  <a:pos x="10" y="13"/>
                </a:cxn>
                <a:cxn ang="0">
                  <a:pos x="8" y="15"/>
                </a:cxn>
                <a:cxn ang="0">
                  <a:pos x="7" y="15"/>
                </a:cxn>
                <a:cxn ang="0">
                  <a:pos x="4" y="15"/>
                </a:cxn>
                <a:cxn ang="0">
                  <a:pos x="3" y="13"/>
                </a:cxn>
                <a:cxn ang="0">
                  <a:pos x="1" y="10"/>
                </a:cxn>
                <a:cxn ang="0">
                  <a:pos x="0" y="9"/>
                </a:cxn>
                <a:cxn ang="0">
                  <a:pos x="3" y="2"/>
                </a:cxn>
                <a:cxn ang="0">
                  <a:pos x="1" y="0"/>
                </a:cxn>
                <a:cxn ang="0">
                  <a:pos x="4" y="3"/>
                </a:cxn>
                <a:cxn ang="0">
                  <a:pos x="11" y="5"/>
                </a:cxn>
                <a:cxn ang="0">
                  <a:pos x="13" y="6"/>
                </a:cxn>
                <a:cxn ang="0">
                  <a:pos x="16" y="6"/>
                </a:cxn>
                <a:cxn ang="0">
                  <a:pos x="16" y="5"/>
                </a:cxn>
                <a:cxn ang="0">
                  <a:pos x="19" y="5"/>
                </a:cxn>
                <a:cxn ang="0">
                  <a:pos x="19" y="3"/>
                </a:cxn>
                <a:cxn ang="0">
                  <a:pos x="20" y="3"/>
                </a:cxn>
                <a:cxn ang="0">
                  <a:pos x="23" y="3"/>
                </a:cxn>
                <a:cxn ang="0">
                  <a:pos x="24" y="5"/>
                </a:cxn>
                <a:cxn ang="0">
                  <a:pos x="26" y="5"/>
                </a:cxn>
                <a:cxn ang="0">
                  <a:pos x="27" y="7"/>
                </a:cxn>
                <a:cxn ang="0">
                  <a:pos x="27" y="9"/>
                </a:cxn>
                <a:cxn ang="0">
                  <a:pos x="33" y="12"/>
                </a:cxn>
                <a:cxn ang="0">
                  <a:pos x="35" y="13"/>
                </a:cxn>
                <a:cxn ang="0">
                  <a:pos x="37" y="15"/>
                </a:cxn>
                <a:cxn ang="0">
                  <a:pos x="40" y="15"/>
                </a:cxn>
                <a:cxn ang="0">
                  <a:pos x="42" y="13"/>
                </a:cxn>
                <a:cxn ang="0">
                  <a:pos x="43" y="15"/>
                </a:cxn>
                <a:cxn ang="0">
                  <a:pos x="45" y="15"/>
                </a:cxn>
                <a:cxn ang="0">
                  <a:pos x="45" y="16"/>
                </a:cxn>
                <a:cxn ang="0">
                  <a:pos x="45" y="18"/>
                </a:cxn>
                <a:cxn ang="0">
                  <a:pos x="45" y="19"/>
                </a:cxn>
                <a:cxn ang="0">
                  <a:pos x="42" y="21"/>
                </a:cxn>
                <a:cxn ang="0">
                  <a:pos x="39" y="19"/>
                </a:cxn>
                <a:cxn ang="0">
                  <a:pos x="37" y="19"/>
                </a:cxn>
                <a:cxn ang="0">
                  <a:pos x="35" y="23"/>
                </a:cxn>
                <a:cxn ang="0">
                  <a:pos x="30" y="23"/>
                </a:cxn>
              </a:cxnLst>
              <a:rect l="0" t="0" r="r" b="b"/>
              <a:pathLst>
                <a:path w="45" h="23">
                  <a:moveTo>
                    <a:pt x="30" y="23"/>
                  </a:moveTo>
                  <a:lnTo>
                    <a:pt x="30" y="22"/>
                  </a:lnTo>
                  <a:lnTo>
                    <a:pt x="30" y="21"/>
                  </a:lnTo>
                  <a:lnTo>
                    <a:pt x="23" y="19"/>
                  </a:lnTo>
                  <a:lnTo>
                    <a:pt x="16" y="13"/>
                  </a:lnTo>
                  <a:lnTo>
                    <a:pt x="14" y="13"/>
                  </a:lnTo>
                  <a:lnTo>
                    <a:pt x="10" y="13"/>
                  </a:lnTo>
                  <a:lnTo>
                    <a:pt x="8" y="15"/>
                  </a:lnTo>
                  <a:lnTo>
                    <a:pt x="7" y="15"/>
                  </a:lnTo>
                  <a:lnTo>
                    <a:pt x="4" y="15"/>
                  </a:lnTo>
                  <a:lnTo>
                    <a:pt x="3" y="13"/>
                  </a:lnTo>
                  <a:lnTo>
                    <a:pt x="1" y="10"/>
                  </a:lnTo>
                  <a:lnTo>
                    <a:pt x="0" y="9"/>
                  </a:lnTo>
                  <a:lnTo>
                    <a:pt x="3" y="2"/>
                  </a:lnTo>
                  <a:lnTo>
                    <a:pt x="1" y="0"/>
                  </a:lnTo>
                  <a:lnTo>
                    <a:pt x="4" y="3"/>
                  </a:lnTo>
                  <a:lnTo>
                    <a:pt x="11" y="5"/>
                  </a:lnTo>
                  <a:lnTo>
                    <a:pt x="13" y="6"/>
                  </a:lnTo>
                  <a:lnTo>
                    <a:pt x="16" y="6"/>
                  </a:lnTo>
                  <a:lnTo>
                    <a:pt x="16" y="5"/>
                  </a:lnTo>
                  <a:lnTo>
                    <a:pt x="19" y="5"/>
                  </a:lnTo>
                  <a:lnTo>
                    <a:pt x="19" y="3"/>
                  </a:lnTo>
                  <a:lnTo>
                    <a:pt x="20" y="3"/>
                  </a:lnTo>
                  <a:lnTo>
                    <a:pt x="23" y="3"/>
                  </a:lnTo>
                  <a:lnTo>
                    <a:pt x="24" y="5"/>
                  </a:lnTo>
                  <a:lnTo>
                    <a:pt x="26" y="5"/>
                  </a:lnTo>
                  <a:lnTo>
                    <a:pt x="27" y="7"/>
                  </a:lnTo>
                  <a:lnTo>
                    <a:pt x="27" y="9"/>
                  </a:lnTo>
                  <a:lnTo>
                    <a:pt x="33" y="12"/>
                  </a:lnTo>
                  <a:lnTo>
                    <a:pt x="35" y="13"/>
                  </a:lnTo>
                  <a:lnTo>
                    <a:pt x="37" y="15"/>
                  </a:lnTo>
                  <a:lnTo>
                    <a:pt x="40" y="15"/>
                  </a:lnTo>
                  <a:lnTo>
                    <a:pt x="42" y="13"/>
                  </a:lnTo>
                  <a:lnTo>
                    <a:pt x="43" y="15"/>
                  </a:lnTo>
                  <a:lnTo>
                    <a:pt x="45" y="15"/>
                  </a:lnTo>
                  <a:lnTo>
                    <a:pt x="45" y="16"/>
                  </a:lnTo>
                  <a:lnTo>
                    <a:pt x="45" y="18"/>
                  </a:lnTo>
                  <a:lnTo>
                    <a:pt x="45" y="19"/>
                  </a:lnTo>
                  <a:lnTo>
                    <a:pt x="42" y="21"/>
                  </a:lnTo>
                  <a:lnTo>
                    <a:pt x="39" y="19"/>
                  </a:lnTo>
                  <a:lnTo>
                    <a:pt x="37" y="19"/>
                  </a:lnTo>
                  <a:lnTo>
                    <a:pt x="35" y="23"/>
                  </a:lnTo>
                  <a:lnTo>
                    <a:pt x="30" y="2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06" name="Freeform 1497"/>
            <p:cNvSpPr>
              <a:spLocks/>
            </p:cNvSpPr>
            <p:nvPr/>
          </p:nvSpPr>
          <p:spPr bwMode="auto">
            <a:xfrm>
              <a:off x="3875311" y="2041440"/>
              <a:ext cx="41256" cy="24339"/>
            </a:xfrm>
            <a:custGeom>
              <a:avLst/>
              <a:gdLst/>
              <a:ahLst/>
              <a:cxnLst>
                <a:cxn ang="0">
                  <a:pos x="30" y="23"/>
                </a:cxn>
                <a:cxn ang="0">
                  <a:pos x="30" y="22"/>
                </a:cxn>
                <a:cxn ang="0">
                  <a:pos x="30" y="21"/>
                </a:cxn>
                <a:cxn ang="0">
                  <a:pos x="23" y="19"/>
                </a:cxn>
                <a:cxn ang="0">
                  <a:pos x="16" y="13"/>
                </a:cxn>
                <a:cxn ang="0">
                  <a:pos x="14" y="13"/>
                </a:cxn>
                <a:cxn ang="0">
                  <a:pos x="10" y="13"/>
                </a:cxn>
                <a:cxn ang="0">
                  <a:pos x="8" y="15"/>
                </a:cxn>
                <a:cxn ang="0">
                  <a:pos x="7" y="15"/>
                </a:cxn>
                <a:cxn ang="0">
                  <a:pos x="4" y="15"/>
                </a:cxn>
                <a:cxn ang="0">
                  <a:pos x="3" y="13"/>
                </a:cxn>
                <a:cxn ang="0">
                  <a:pos x="1" y="10"/>
                </a:cxn>
                <a:cxn ang="0">
                  <a:pos x="0" y="9"/>
                </a:cxn>
                <a:cxn ang="0">
                  <a:pos x="3" y="2"/>
                </a:cxn>
                <a:cxn ang="0">
                  <a:pos x="1" y="0"/>
                </a:cxn>
                <a:cxn ang="0">
                  <a:pos x="4" y="3"/>
                </a:cxn>
                <a:cxn ang="0">
                  <a:pos x="11" y="5"/>
                </a:cxn>
                <a:cxn ang="0">
                  <a:pos x="13" y="6"/>
                </a:cxn>
                <a:cxn ang="0">
                  <a:pos x="16" y="6"/>
                </a:cxn>
                <a:cxn ang="0">
                  <a:pos x="16" y="5"/>
                </a:cxn>
                <a:cxn ang="0">
                  <a:pos x="19" y="5"/>
                </a:cxn>
                <a:cxn ang="0">
                  <a:pos x="19" y="3"/>
                </a:cxn>
                <a:cxn ang="0">
                  <a:pos x="20" y="3"/>
                </a:cxn>
                <a:cxn ang="0">
                  <a:pos x="23" y="3"/>
                </a:cxn>
                <a:cxn ang="0">
                  <a:pos x="24" y="5"/>
                </a:cxn>
                <a:cxn ang="0">
                  <a:pos x="26" y="5"/>
                </a:cxn>
                <a:cxn ang="0">
                  <a:pos x="27" y="7"/>
                </a:cxn>
                <a:cxn ang="0">
                  <a:pos x="27" y="9"/>
                </a:cxn>
                <a:cxn ang="0">
                  <a:pos x="33" y="12"/>
                </a:cxn>
                <a:cxn ang="0">
                  <a:pos x="35" y="13"/>
                </a:cxn>
                <a:cxn ang="0">
                  <a:pos x="37" y="15"/>
                </a:cxn>
                <a:cxn ang="0">
                  <a:pos x="40" y="15"/>
                </a:cxn>
                <a:cxn ang="0">
                  <a:pos x="42" y="13"/>
                </a:cxn>
                <a:cxn ang="0">
                  <a:pos x="43" y="15"/>
                </a:cxn>
                <a:cxn ang="0">
                  <a:pos x="45" y="15"/>
                </a:cxn>
                <a:cxn ang="0">
                  <a:pos x="45" y="16"/>
                </a:cxn>
                <a:cxn ang="0">
                  <a:pos x="45" y="18"/>
                </a:cxn>
                <a:cxn ang="0">
                  <a:pos x="45" y="19"/>
                </a:cxn>
                <a:cxn ang="0">
                  <a:pos x="42" y="21"/>
                </a:cxn>
                <a:cxn ang="0">
                  <a:pos x="39" y="19"/>
                </a:cxn>
                <a:cxn ang="0">
                  <a:pos x="37" y="19"/>
                </a:cxn>
                <a:cxn ang="0">
                  <a:pos x="35" y="23"/>
                </a:cxn>
                <a:cxn ang="0">
                  <a:pos x="30" y="23"/>
                </a:cxn>
              </a:cxnLst>
              <a:rect l="0" t="0" r="r" b="b"/>
              <a:pathLst>
                <a:path w="45" h="23">
                  <a:moveTo>
                    <a:pt x="30" y="23"/>
                  </a:moveTo>
                  <a:lnTo>
                    <a:pt x="30" y="22"/>
                  </a:lnTo>
                  <a:lnTo>
                    <a:pt x="30" y="21"/>
                  </a:lnTo>
                  <a:lnTo>
                    <a:pt x="23" y="19"/>
                  </a:lnTo>
                  <a:lnTo>
                    <a:pt x="16" y="13"/>
                  </a:lnTo>
                  <a:lnTo>
                    <a:pt x="14" y="13"/>
                  </a:lnTo>
                  <a:lnTo>
                    <a:pt x="10" y="13"/>
                  </a:lnTo>
                  <a:lnTo>
                    <a:pt x="8" y="15"/>
                  </a:lnTo>
                  <a:lnTo>
                    <a:pt x="7" y="15"/>
                  </a:lnTo>
                  <a:lnTo>
                    <a:pt x="4" y="15"/>
                  </a:lnTo>
                  <a:lnTo>
                    <a:pt x="3" y="13"/>
                  </a:lnTo>
                  <a:lnTo>
                    <a:pt x="1" y="10"/>
                  </a:lnTo>
                  <a:lnTo>
                    <a:pt x="0" y="9"/>
                  </a:lnTo>
                  <a:lnTo>
                    <a:pt x="3" y="2"/>
                  </a:lnTo>
                  <a:lnTo>
                    <a:pt x="1" y="0"/>
                  </a:lnTo>
                  <a:lnTo>
                    <a:pt x="4" y="3"/>
                  </a:lnTo>
                  <a:lnTo>
                    <a:pt x="11" y="5"/>
                  </a:lnTo>
                  <a:lnTo>
                    <a:pt x="13" y="6"/>
                  </a:lnTo>
                  <a:lnTo>
                    <a:pt x="16" y="6"/>
                  </a:lnTo>
                  <a:lnTo>
                    <a:pt x="16" y="5"/>
                  </a:lnTo>
                  <a:lnTo>
                    <a:pt x="19" y="5"/>
                  </a:lnTo>
                  <a:lnTo>
                    <a:pt x="19" y="3"/>
                  </a:lnTo>
                  <a:lnTo>
                    <a:pt x="20" y="3"/>
                  </a:lnTo>
                  <a:lnTo>
                    <a:pt x="23" y="3"/>
                  </a:lnTo>
                  <a:lnTo>
                    <a:pt x="24" y="5"/>
                  </a:lnTo>
                  <a:lnTo>
                    <a:pt x="26" y="5"/>
                  </a:lnTo>
                  <a:lnTo>
                    <a:pt x="27" y="7"/>
                  </a:lnTo>
                  <a:lnTo>
                    <a:pt x="27" y="9"/>
                  </a:lnTo>
                  <a:lnTo>
                    <a:pt x="33" y="12"/>
                  </a:lnTo>
                  <a:lnTo>
                    <a:pt x="35" y="13"/>
                  </a:lnTo>
                  <a:lnTo>
                    <a:pt x="37" y="15"/>
                  </a:lnTo>
                  <a:lnTo>
                    <a:pt x="40" y="15"/>
                  </a:lnTo>
                  <a:lnTo>
                    <a:pt x="42" y="13"/>
                  </a:lnTo>
                  <a:lnTo>
                    <a:pt x="43" y="15"/>
                  </a:lnTo>
                  <a:lnTo>
                    <a:pt x="45" y="15"/>
                  </a:lnTo>
                  <a:lnTo>
                    <a:pt x="45" y="16"/>
                  </a:lnTo>
                  <a:lnTo>
                    <a:pt x="45" y="18"/>
                  </a:lnTo>
                  <a:lnTo>
                    <a:pt x="45" y="19"/>
                  </a:lnTo>
                  <a:lnTo>
                    <a:pt x="42" y="21"/>
                  </a:lnTo>
                  <a:lnTo>
                    <a:pt x="39" y="19"/>
                  </a:lnTo>
                  <a:lnTo>
                    <a:pt x="37" y="19"/>
                  </a:lnTo>
                  <a:lnTo>
                    <a:pt x="35" y="23"/>
                  </a:lnTo>
                  <a:lnTo>
                    <a:pt x="30" y="2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07" name="Freeform 1522"/>
            <p:cNvSpPr>
              <a:spLocks/>
            </p:cNvSpPr>
            <p:nvPr/>
          </p:nvSpPr>
          <p:spPr bwMode="auto">
            <a:xfrm>
              <a:off x="3791042" y="2375090"/>
              <a:ext cx="7901" cy="7099"/>
            </a:xfrm>
            <a:custGeom>
              <a:avLst/>
              <a:gdLst/>
              <a:ahLst/>
              <a:cxnLst>
                <a:cxn ang="0">
                  <a:pos x="0" y="0"/>
                </a:cxn>
                <a:cxn ang="0">
                  <a:pos x="0" y="0"/>
                </a:cxn>
                <a:cxn ang="0">
                  <a:pos x="0" y="0"/>
                </a:cxn>
                <a:cxn ang="0">
                  <a:pos x="3" y="0"/>
                </a:cxn>
                <a:cxn ang="0">
                  <a:pos x="5" y="0"/>
                </a:cxn>
                <a:cxn ang="0">
                  <a:pos x="5" y="1"/>
                </a:cxn>
                <a:cxn ang="0">
                  <a:pos x="9" y="1"/>
                </a:cxn>
                <a:cxn ang="0">
                  <a:pos x="7" y="3"/>
                </a:cxn>
                <a:cxn ang="0">
                  <a:pos x="6" y="3"/>
                </a:cxn>
                <a:cxn ang="0">
                  <a:pos x="6" y="6"/>
                </a:cxn>
                <a:cxn ang="0">
                  <a:pos x="6" y="7"/>
                </a:cxn>
                <a:cxn ang="0">
                  <a:pos x="3" y="6"/>
                </a:cxn>
                <a:cxn ang="0">
                  <a:pos x="3" y="3"/>
                </a:cxn>
                <a:cxn ang="0">
                  <a:pos x="2" y="1"/>
                </a:cxn>
                <a:cxn ang="0">
                  <a:pos x="0" y="1"/>
                </a:cxn>
                <a:cxn ang="0">
                  <a:pos x="0" y="0"/>
                </a:cxn>
              </a:cxnLst>
              <a:rect l="0" t="0" r="r" b="b"/>
              <a:pathLst>
                <a:path w="9" h="7">
                  <a:moveTo>
                    <a:pt x="0" y="0"/>
                  </a:moveTo>
                  <a:lnTo>
                    <a:pt x="0" y="0"/>
                  </a:lnTo>
                  <a:lnTo>
                    <a:pt x="0" y="0"/>
                  </a:lnTo>
                  <a:lnTo>
                    <a:pt x="3" y="0"/>
                  </a:lnTo>
                  <a:lnTo>
                    <a:pt x="5" y="0"/>
                  </a:lnTo>
                  <a:lnTo>
                    <a:pt x="5" y="1"/>
                  </a:lnTo>
                  <a:lnTo>
                    <a:pt x="9" y="1"/>
                  </a:lnTo>
                  <a:lnTo>
                    <a:pt x="7" y="3"/>
                  </a:lnTo>
                  <a:lnTo>
                    <a:pt x="6" y="3"/>
                  </a:lnTo>
                  <a:lnTo>
                    <a:pt x="6" y="6"/>
                  </a:lnTo>
                  <a:lnTo>
                    <a:pt x="6" y="7"/>
                  </a:lnTo>
                  <a:lnTo>
                    <a:pt x="3" y="6"/>
                  </a:lnTo>
                  <a:lnTo>
                    <a:pt x="3" y="3"/>
                  </a:lnTo>
                  <a:lnTo>
                    <a:pt x="2" y="1"/>
                  </a:lnTo>
                  <a:lnTo>
                    <a:pt x="0" y="1"/>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08" name="Freeform 1523"/>
            <p:cNvSpPr>
              <a:spLocks/>
            </p:cNvSpPr>
            <p:nvPr/>
          </p:nvSpPr>
          <p:spPr bwMode="auto">
            <a:xfrm>
              <a:off x="3791042" y="2375090"/>
              <a:ext cx="7901" cy="7099"/>
            </a:xfrm>
            <a:custGeom>
              <a:avLst/>
              <a:gdLst/>
              <a:ahLst/>
              <a:cxnLst>
                <a:cxn ang="0">
                  <a:pos x="0" y="0"/>
                </a:cxn>
                <a:cxn ang="0">
                  <a:pos x="0" y="0"/>
                </a:cxn>
                <a:cxn ang="0">
                  <a:pos x="0" y="0"/>
                </a:cxn>
                <a:cxn ang="0">
                  <a:pos x="3" y="0"/>
                </a:cxn>
                <a:cxn ang="0">
                  <a:pos x="5" y="0"/>
                </a:cxn>
                <a:cxn ang="0">
                  <a:pos x="5" y="1"/>
                </a:cxn>
                <a:cxn ang="0">
                  <a:pos x="9" y="1"/>
                </a:cxn>
                <a:cxn ang="0">
                  <a:pos x="7" y="3"/>
                </a:cxn>
                <a:cxn ang="0">
                  <a:pos x="6" y="3"/>
                </a:cxn>
                <a:cxn ang="0">
                  <a:pos x="6" y="6"/>
                </a:cxn>
                <a:cxn ang="0">
                  <a:pos x="6" y="7"/>
                </a:cxn>
                <a:cxn ang="0">
                  <a:pos x="3" y="6"/>
                </a:cxn>
                <a:cxn ang="0">
                  <a:pos x="3" y="3"/>
                </a:cxn>
                <a:cxn ang="0">
                  <a:pos x="2" y="1"/>
                </a:cxn>
                <a:cxn ang="0">
                  <a:pos x="0" y="1"/>
                </a:cxn>
                <a:cxn ang="0">
                  <a:pos x="0" y="0"/>
                </a:cxn>
              </a:cxnLst>
              <a:rect l="0" t="0" r="r" b="b"/>
              <a:pathLst>
                <a:path w="9" h="7">
                  <a:moveTo>
                    <a:pt x="0" y="0"/>
                  </a:moveTo>
                  <a:lnTo>
                    <a:pt x="0" y="0"/>
                  </a:lnTo>
                  <a:lnTo>
                    <a:pt x="0" y="0"/>
                  </a:lnTo>
                  <a:lnTo>
                    <a:pt x="3" y="0"/>
                  </a:lnTo>
                  <a:lnTo>
                    <a:pt x="5" y="0"/>
                  </a:lnTo>
                  <a:lnTo>
                    <a:pt x="5" y="1"/>
                  </a:lnTo>
                  <a:lnTo>
                    <a:pt x="9" y="1"/>
                  </a:lnTo>
                  <a:lnTo>
                    <a:pt x="7" y="3"/>
                  </a:lnTo>
                  <a:lnTo>
                    <a:pt x="6" y="3"/>
                  </a:lnTo>
                  <a:lnTo>
                    <a:pt x="6" y="6"/>
                  </a:lnTo>
                  <a:lnTo>
                    <a:pt x="6" y="7"/>
                  </a:lnTo>
                  <a:lnTo>
                    <a:pt x="3" y="6"/>
                  </a:lnTo>
                  <a:lnTo>
                    <a:pt x="3" y="3"/>
                  </a:lnTo>
                  <a:lnTo>
                    <a:pt x="2" y="1"/>
                  </a:lnTo>
                  <a:lnTo>
                    <a:pt x="0" y="1"/>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09" name="Freeform 1524"/>
            <p:cNvSpPr>
              <a:spLocks/>
            </p:cNvSpPr>
            <p:nvPr/>
          </p:nvSpPr>
          <p:spPr bwMode="auto">
            <a:xfrm>
              <a:off x="3798943" y="2375090"/>
              <a:ext cx="8777" cy="6085"/>
            </a:xfrm>
            <a:custGeom>
              <a:avLst/>
              <a:gdLst/>
              <a:ahLst/>
              <a:cxnLst>
                <a:cxn ang="0">
                  <a:pos x="0" y="6"/>
                </a:cxn>
                <a:cxn ang="0">
                  <a:pos x="0" y="4"/>
                </a:cxn>
                <a:cxn ang="0">
                  <a:pos x="6" y="3"/>
                </a:cxn>
                <a:cxn ang="0">
                  <a:pos x="7" y="0"/>
                </a:cxn>
                <a:cxn ang="0">
                  <a:pos x="9" y="0"/>
                </a:cxn>
                <a:cxn ang="0">
                  <a:pos x="7" y="1"/>
                </a:cxn>
                <a:cxn ang="0">
                  <a:pos x="6" y="4"/>
                </a:cxn>
                <a:cxn ang="0">
                  <a:pos x="0" y="6"/>
                </a:cxn>
              </a:cxnLst>
              <a:rect l="0" t="0" r="r" b="b"/>
              <a:pathLst>
                <a:path w="9" h="6">
                  <a:moveTo>
                    <a:pt x="0" y="6"/>
                  </a:moveTo>
                  <a:lnTo>
                    <a:pt x="0" y="4"/>
                  </a:lnTo>
                  <a:lnTo>
                    <a:pt x="6" y="3"/>
                  </a:lnTo>
                  <a:lnTo>
                    <a:pt x="7" y="0"/>
                  </a:lnTo>
                  <a:lnTo>
                    <a:pt x="9" y="0"/>
                  </a:lnTo>
                  <a:lnTo>
                    <a:pt x="7" y="1"/>
                  </a:lnTo>
                  <a:lnTo>
                    <a:pt x="6" y="4"/>
                  </a:lnTo>
                  <a:lnTo>
                    <a:pt x="0"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10" name="Freeform 1525"/>
            <p:cNvSpPr>
              <a:spLocks/>
            </p:cNvSpPr>
            <p:nvPr/>
          </p:nvSpPr>
          <p:spPr bwMode="auto">
            <a:xfrm>
              <a:off x="3798943" y="2375090"/>
              <a:ext cx="8777" cy="6085"/>
            </a:xfrm>
            <a:custGeom>
              <a:avLst/>
              <a:gdLst/>
              <a:ahLst/>
              <a:cxnLst>
                <a:cxn ang="0">
                  <a:pos x="0" y="6"/>
                </a:cxn>
                <a:cxn ang="0">
                  <a:pos x="0" y="4"/>
                </a:cxn>
                <a:cxn ang="0">
                  <a:pos x="6" y="3"/>
                </a:cxn>
                <a:cxn ang="0">
                  <a:pos x="7" y="0"/>
                </a:cxn>
                <a:cxn ang="0">
                  <a:pos x="9" y="0"/>
                </a:cxn>
                <a:cxn ang="0">
                  <a:pos x="7" y="1"/>
                </a:cxn>
                <a:cxn ang="0">
                  <a:pos x="6" y="4"/>
                </a:cxn>
                <a:cxn ang="0">
                  <a:pos x="0" y="6"/>
                </a:cxn>
              </a:cxnLst>
              <a:rect l="0" t="0" r="r" b="b"/>
              <a:pathLst>
                <a:path w="9" h="6">
                  <a:moveTo>
                    <a:pt x="0" y="6"/>
                  </a:moveTo>
                  <a:lnTo>
                    <a:pt x="0" y="4"/>
                  </a:lnTo>
                  <a:lnTo>
                    <a:pt x="6" y="3"/>
                  </a:lnTo>
                  <a:lnTo>
                    <a:pt x="7" y="0"/>
                  </a:lnTo>
                  <a:lnTo>
                    <a:pt x="9" y="0"/>
                  </a:lnTo>
                  <a:lnTo>
                    <a:pt x="7" y="1"/>
                  </a:lnTo>
                  <a:lnTo>
                    <a:pt x="6" y="4"/>
                  </a:lnTo>
                  <a:lnTo>
                    <a:pt x="0"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11" name="Freeform 1526"/>
            <p:cNvSpPr>
              <a:spLocks/>
            </p:cNvSpPr>
            <p:nvPr/>
          </p:nvSpPr>
          <p:spPr bwMode="auto">
            <a:xfrm>
              <a:off x="3808597" y="2373062"/>
              <a:ext cx="7901" cy="9128"/>
            </a:xfrm>
            <a:custGeom>
              <a:avLst/>
              <a:gdLst/>
              <a:ahLst/>
              <a:cxnLst>
                <a:cxn ang="0">
                  <a:pos x="0" y="5"/>
                </a:cxn>
                <a:cxn ang="0">
                  <a:pos x="3" y="5"/>
                </a:cxn>
                <a:cxn ang="0">
                  <a:pos x="3" y="3"/>
                </a:cxn>
                <a:cxn ang="0">
                  <a:pos x="2" y="2"/>
                </a:cxn>
                <a:cxn ang="0">
                  <a:pos x="4" y="0"/>
                </a:cxn>
                <a:cxn ang="0">
                  <a:pos x="4" y="0"/>
                </a:cxn>
                <a:cxn ang="0">
                  <a:pos x="4" y="3"/>
                </a:cxn>
                <a:cxn ang="0">
                  <a:pos x="6" y="3"/>
                </a:cxn>
                <a:cxn ang="0">
                  <a:pos x="7" y="3"/>
                </a:cxn>
                <a:cxn ang="0">
                  <a:pos x="9" y="5"/>
                </a:cxn>
                <a:cxn ang="0">
                  <a:pos x="4" y="8"/>
                </a:cxn>
                <a:cxn ang="0">
                  <a:pos x="3" y="8"/>
                </a:cxn>
                <a:cxn ang="0">
                  <a:pos x="2" y="9"/>
                </a:cxn>
                <a:cxn ang="0">
                  <a:pos x="2" y="8"/>
                </a:cxn>
                <a:cxn ang="0">
                  <a:pos x="2" y="8"/>
                </a:cxn>
                <a:cxn ang="0">
                  <a:pos x="0" y="5"/>
                </a:cxn>
              </a:cxnLst>
              <a:rect l="0" t="0" r="r" b="b"/>
              <a:pathLst>
                <a:path w="9" h="9">
                  <a:moveTo>
                    <a:pt x="0" y="5"/>
                  </a:moveTo>
                  <a:lnTo>
                    <a:pt x="3" y="5"/>
                  </a:lnTo>
                  <a:lnTo>
                    <a:pt x="3" y="3"/>
                  </a:lnTo>
                  <a:lnTo>
                    <a:pt x="2" y="2"/>
                  </a:lnTo>
                  <a:lnTo>
                    <a:pt x="4" y="0"/>
                  </a:lnTo>
                  <a:lnTo>
                    <a:pt x="4" y="0"/>
                  </a:lnTo>
                  <a:lnTo>
                    <a:pt x="4" y="3"/>
                  </a:lnTo>
                  <a:lnTo>
                    <a:pt x="6" y="3"/>
                  </a:lnTo>
                  <a:lnTo>
                    <a:pt x="7" y="3"/>
                  </a:lnTo>
                  <a:lnTo>
                    <a:pt x="9" y="5"/>
                  </a:lnTo>
                  <a:lnTo>
                    <a:pt x="4" y="8"/>
                  </a:lnTo>
                  <a:lnTo>
                    <a:pt x="3" y="8"/>
                  </a:lnTo>
                  <a:lnTo>
                    <a:pt x="2" y="9"/>
                  </a:lnTo>
                  <a:lnTo>
                    <a:pt x="2" y="8"/>
                  </a:lnTo>
                  <a:lnTo>
                    <a:pt x="2" y="8"/>
                  </a:lnTo>
                  <a:lnTo>
                    <a:pt x="0" y="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12" name="Freeform 1527"/>
            <p:cNvSpPr>
              <a:spLocks/>
            </p:cNvSpPr>
            <p:nvPr/>
          </p:nvSpPr>
          <p:spPr bwMode="auto">
            <a:xfrm>
              <a:off x="3808597" y="2373062"/>
              <a:ext cx="7901" cy="9128"/>
            </a:xfrm>
            <a:custGeom>
              <a:avLst/>
              <a:gdLst/>
              <a:ahLst/>
              <a:cxnLst>
                <a:cxn ang="0">
                  <a:pos x="0" y="5"/>
                </a:cxn>
                <a:cxn ang="0">
                  <a:pos x="3" y="5"/>
                </a:cxn>
                <a:cxn ang="0">
                  <a:pos x="3" y="3"/>
                </a:cxn>
                <a:cxn ang="0">
                  <a:pos x="2" y="2"/>
                </a:cxn>
                <a:cxn ang="0">
                  <a:pos x="4" y="0"/>
                </a:cxn>
                <a:cxn ang="0">
                  <a:pos x="4" y="0"/>
                </a:cxn>
                <a:cxn ang="0">
                  <a:pos x="4" y="3"/>
                </a:cxn>
                <a:cxn ang="0">
                  <a:pos x="6" y="3"/>
                </a:cxn>
                <a:cxn ang="0">
                  <a:pos x="7" y="3"/>
                </a:cxn>
                <a:cxn ang="0">
                  <a:pos x="9" y="5"/>
                </a:cxn>
                <a:cxn ang="0">
                  <a:pos x="4" y="8"/>
                </a:cxn>
                <a:cxn ang="0">
                  <a:pos x="3" y="8"/>
                </a:cxn>
                <a:cxn ang="0">
                  <a:pos x="2" y="9"/>
                </a:cxn>
                <a:cxn ang="0">
                  <a:pos x="2" y="8"/>
                </a:cxn>
                <a:cxn ang="0">
                  <a:pos x="2" y="8"/>
                </a:cxn>
                <a:cxn ang="0">
                  <a:pos x="0" y="5"/>
                </a:cxn>
              </a:cxnLst>
              <a:rect l="0" t="0" r="r" b="b"/>
              <a:pathLst>
                <a:path w="9" h="9">
                  <a:moveTo>
                    <a:pt x="0" y="5"/>
                  </a:moveTo>
                  <a:lnTo>
                    <a:pt x="3" y="5"/>
                  </a:lnTo>
                  <a:lnTo>
                    <a:pt x="3" y="3"/>
                  </a:lnTo>
                  <a:lnTo>
                    <a:pt x="2" y="2"/>
                  </a:lnTo>
                  <a:lnTo>
                    <a:pt x="4" y="0"/>
                  </a:lnTo>
                  <a:lnTo>
                    <a:pt x="4" y="0"/>
                  </a:lnTo>
                  <a:lnTo>
                    <a:pt x="4" y="3"/>
                  </a:lnTo>
                  <a:lnTo>
                    <a:pt x="6" y="3"/>
                  </a:lnTo>
                  <a:lnTo>
                    <a:pt x="7" y="3"/>
                  </a:lnTo>
                  <a:lnTo>
                    <a:pt x="9" y="5"/>
                  </a:lnTo>
                  <a:lnTo>
                    <a:pt x="4" y="8"/>
                  </a:lnTo>
                  <a:lnTo>
                    <a:pt x="3" y="8"/>
                  </a:lnTo>
                  <a:lnTo>
                    <a:pt x="2" y="9"/>
                  </a:lnTo>
                  <a:lnTo>
                    <a:pt x="2" y="8"/>
                  </a:lnTo>
                  <a:lnTo>
                    <a:pt x="2" y="8"/>
                  </a:lnTo>
                  <a:lnTo>
                    <a:pt x="0" y="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13" name="Freeform 1528"/>
            <p:cNvSpPr>
              <a:spLocks/>
            </p:cNvSpPr>
            <p:nvPr/>
          </p:nvSpPr>
          <p:spPr bwMode="auto">
            <a:xfrm>
              <a:off x="3837565" y="2362920"/>
              <a:ext cx="8777" cy="9128"/>
            </a:xfrm>
            <a:custGeom>
              <a:avLst/>
              <a:gdLst/>
              <a:ahLst/>
              <a:cxnLst>
                <a:cxn ang="0">
                  <a:pos x="6" y="2"/>
                </a:cxn>
                <a:cxn ang="0">
                  <a:pos x="4" y="2"/>
                </a:cxn>
                <a:cxn ang="0">
                  <a:pos x="7" y="0"/>
                </a:cxn>
                <a:cxn ang="0">
                  <a:pos x="9" y="2"/>
                </a:cxn>
                <a:cxn ang="0">
                  <a:pos x="9" y="5"/>
                </a:cxn>
                <a:cxn ang="0">
                  <a:pos x="7" y="5"/>
                </a:cxn>
                <a:cxn ang="0">
                  <a:pos x="7" y="8"/>
                </a:cxn>
                <a:cxn ang="0">
                  <a:pos x="6" y="8"/>
                </a:cxn>
                <a:cxn ang="0">
                  <a:pos x="4" y="8"/>
                </a:cxn>
                <a:cxn ang="0">
                  <a:pos x="4" y="9"/>
                </a:cxn>
                <a:cxn ang="0">
                  <a:pos x="1" y="9"/>
                </a:cxn>
                <a:cxn ang="0">
                  <a:pos x="0" y="8"/>
                </a:cxn>
                <a:cxn ang="0">
                  <a:pos x="0" y="8"/>
                </a:cxn>
                <a:cxn ang="0">
                  <a:pos x="4" y="5"/>
                </a:cxn>
                <a:cxn ang="0">
                  <a:pos x="6" y="3"/>
                </a:cxn>
                <a:cxn ang="0">
                  <a:pos x="6" y="2"/>
                </a:cxn>
              </a:cxnLst>
              <a:rect l="0" t="0" r="r" b="b"/>
              <a:pathLst>
                <a:path w="9" h="9">
                  <a:moveTo>
                    <a:pt x="6" y="2"/>
                  </a:moveTo>
                  <a:lnTo>
                    <a:pt x="4" y="2"/>
                  </a:lnTo>
                  <a:lnTo>
                    <a:pt x="7" y="0"/>
                  </a:lnTo>
                  <a:lnTo>
                    <a:pt x="9" y="2"/>
                  </a:lnTo>
                  <a:lnTo>
                    <a:pt x="9" y="5"/>
                  </a:lnTo>
                  <a:lnTo>
                    <a:pt x="7" y="5"/>
                  </a:lnTo>
                  <a:lnTo>
                    <a:pt x="7" y="8"/>
                  </a:lnTo>
                  <a:lnTo>
                    <a:pt x="6" y="8"/>
                  </a:lnTo>
                  <a:lnTo>
                    <a:pt x="4" y="8"/>
                  </a:lnTo>
                  <a:lnTo>
                    <a:pt x="4" y="9"/>
                  </a:lnTo>
                  <a:lnTo>
                    <a:pt x="1" y="9"/>
                  </a:lnTo>
                  <a:lnTo>
                    <a:pt x="0" y="8"/>
                  </a:lnTo>
                  <a:lnTo>
                    <a:pt x="0" y="8"/>
                  </a:lnTo>
                  <a:lnTo>
                    <a:pt x="4" y="5"/>
                  </a:lnTo>
                  <a:lnTo>
                    <a:pt x="6" y="3"/>
                  </a:lnTo>
                  <a:lnTo>
                    <a:pt x="6"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14" name="Freeform 1529"/>
            <p:cNvSpPr>
              <a:spLocks/>
            </p:cNvSpPr>
            <p:nvPr/>
          </p:nvSpPr>
          <p:spPr bwMode="auto">
            <a:xfrm>
              <a:off x="3837565" y="2362920"/>
              <a:ext cx="8777" cy="9128"/>
            </a:xfrm>
            <a:custGeom>
              <a:avLst/>
              <a:gdLst/>
              <a:ahLst/>
              <a:cxnLst>
                <a:cxn ang="0">
                  <a:pos x="6" y="2"/>
                </a:cxn>
                <a:cxn ang="0">
                  <a:pos x="4" y="2"/>
                </a:cxn>
                <a:cxn ang="0">
                  <a:pos x="7" y="0"/>
                </a:cxn>
                <a:cxn ang="0">
                  <a:pos x="9" y="2"/>
                </a:cxn>
                <a:cxn ang="0">
                  <a:pos x="9" y="5"/>
                </a:cxn>
                <a:cxn ang="0">
                  <a:pos x="7" y="5"/>
                </a:cxn>
                <a:cxn ang="0">
                  <a:pos x="7" y="8"/>
                </a:cxn>
                <a:cxn ang="0">
                  <a:pos x="6" y="8"/>
                </a:cxn>
                <a:cxn ang="0">
                  <a:pos x="4" y="8"/>
                </a:cxn>
                <a:cxn ang="0">
                  <a:pos x="4" y="9"/>
                </a:cxn>
                <a:cxn ang="0">
                  <a:pos x="1" y="9"/>
                </a:cxn>
                <a:cxn ang="0">
                  <a:pos x="0" y="8"/>
                </a:cxn>
                <a:cxn ang="0">
                  <a:pos x="0" y="8"/>
                </a:cxn>
                <a:cxn ang="0">
                  <a:pos x="4" y="5"/>
                </a:cxn>
                <a:cxn ang="0">
                  <a:pos x="6" y="3"/>
                </a:cxn>
                <a:cxn ang="0">
                  <a:pos x="6" y="2"/>
                </a:cxn>
              </a:cxnLst>
              <a:rect l="0" t="0" r="r" b="b"/>
              <a:pathLst>
                <a:path w="9" h="9">
                  <a:moveTo>
                    <a:pt x="6" y="2"/>
                  </a:moveTo>
                  <a:lnTo>
                    <a:pt x="4" y="2"/>
                  </a:lnTo>
                  <a:lnTo>
                    <a:pt x="7" y="0"/>
                  </a:lnTo>
                  <a:lnTo>
                    <a:pt x="9" y="2"/>
                  </a:lnTo>
                  <a:lnTo>
                    <a:pt x="9" y="5"/>
                  </a:lnTo>
                  <a:lnTo>
                    <a:pt x="7" y="5"/>
                  </a:lnTo>
                  <a:lnTo>
                    <a:pt x="7" y="8"/>
                  </a:lnTo>
                  <a:lnTo>
                    <a:pt x="6" y="8"/>
                  </a:lnTo>
                  <a:lnTo>
                    <a:pt x="4" y="8"/>
                  </a:lnTo>
                  <a:lnTo>
                    <a:pt x="4" y="9"/>
                  </a:lnTo>
                  <a:lnTo>
                    <a:pt x="1" y="9"/>
                  </a:lnTo>
                  <a:lnTo>
                    <a:pt x="0" y="8"/>
                  </a:lnTo>
                  <a:lnTo>
                    <a:pt x="0" y="8"/>
                  </a:lnTo>
                  <a:lnTo>
                    <a:pt x="4" y="5"/>
                  </a:lnTo>
                  <a:lnTo>
                    <a:pt x="6" y="3"/>
                  </a:lnTo>
                  <a:lnTo>
                    <a:pt x="6"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15" name="Freeform 1530"/>
            <p:cNvSpPr>
              <a:spLocks/>
            </p:cNvSpPr>
            <p:nvPr/>
          </p:nvSpPr>
          <p:spPr bwMode="auto">
            <a:xfrm>
              <a:off x="3847221" y="2369005"/>
              <a:ext cx="11412" cy="3043"/>
            </a:xfrm>
            <a:custGeom>
              <a:avLst/>
              <a:gdLst/>
              <a:ahLst/>
              <a:cxnLst>
                <a:cxn ang="0">
                  <a:pos x="0" y="0"/>
                </a:cxn>
                <a:cxn ang="0">
                  <a:pos x="5" y="0"/>
                </a:cxn>
                <a:cxn ang="0">
                  <a:pos x="9" y="2"/>
                </a:cxn>
                <a:cxn ang="0">
                  <a:pos x="12" y="2"/>
                </a:cxn>
                <a:cxn ang="0">
                  <a:pos x="13" y="2"/>
                </a:cxn>
                <a:cxn ang="0">
                  <a:pos x="13" y="3"/>
                </a:cxn>
                <a:cxn ang="0">
                  <a:pos x="12" y="3"/>
                </a:cxn>
                <a:cxn ang="0">
                  <a:pos x="2" y="3"/>
                </a:cxn>
                <a:cxn ang="0">
                  <a:pos x="0" y="0"/>
                </a:cxn>
              </a:cxnLst>
              <a:rect l="0" t="0" r="r" b="b"/>
              <a:pathLst>
                <a:path w="13" h="3">
                  <a:moveTo>
                    <a:pt x="0" y="0"/>
                  </a:moveTo>
                  <a:lnTo>
                    <a:pt x="5" y="0"/>
                  </a:lnTo>
                  <a:lnTo>
                    <a:pt x="9" y="2"/>
                  </a:lnTo>
                  <a:lnTo>
                    <a:pt x="12" y="2"/>
                  </a:lnTo>
                  <a:lnTo>
                    <a:pt x="13" y="2"/>
                  </a:lnTo>
                  <a:lnTo>
                    <a:pt x="13" y="3"/>
                  </a:lnTo>
                  <a:lnTo>
                    <a:pt x="12" y="3"/>
                  </a:lnTo>
                  <a:lnTo>
                    <a:pt x="2" y="3"/>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16" name="Freeform 1531"/>
            <p:cNvSpPr>
              <a:spLocks/>
            </p:cNvSpPr>
            <p:nvPr/>
          </p:nvSpPr>
          <p:spPr bwMode="auto">
            <a:xfrm>
              <a:off x="3847221" y="2369005"/>
              <a:ext cx="11412" cy="3043"/>
            </a:xfrm>
            <a:custGeom>
              <a:avLst/>
              <a:gdLst/>
              <a:ahLst/>
              <a:cxnLst>
                <a:cxn ang="0">
                  <a:pos x="0" y="0"/>
                </a:cxn>
                <a:cxn ang="0">
                  <a:pos x="5" y="0"/>
                </a:cxn>
                <a:cxn ang="0">
                  <a:pos x="9" y="2"/>
                </a:cxn>
                <a:cxn ang="0">
                  <a:pos x="12" y="2"/>
                </a:cxn>
                <a:cxn ang="0">
                  <a:pos x="13" y="2"/>
                </a:cxn>
                <a:cxn ang="0">
                  <a:pos x="13" y="3"/>
                </a:cxn>
                <a:cxn ang="0">
                  <a:pos x="12" y="3"/>
                </a:cxn>
                <a:cxn ang="0">
                  <a:pos x="2" y="3"/>
                </a:cxn>
                <a:cxn ang="0">
                  <a:pos x="0" y="0"/>
                </a:cxn>
              </a:cxnLst>
              <a:rect l="0" t="0" r="r" b="b"/>
              <a:pathLst>
                <a:path w="13" h="3">
                  <a:moveTo>
                    <a:pt x="0" y="0"/>
                  </a:moveTo>
                  <a:lnTo>
                    <a:pt x="5" y="0"/>
                  </a:lnTo>
                  <a:lnTo>
                    <a:pt x="9" y="2"/>
                  </a:lnTo>
                  <a:lnTo>
                    <a:pt x="12" y="2"/>
                  </a:lnTo>
                  <a:lnTo>
                    <a:pt x="13" y="2"/>
                  </a:lnTo>
                  <a:lnTo>
                    <a:pt x="13" y="3"/>
                  </a:lnTo>
                  <a:lnTo>
                    <a:pt x="12" y="3"/>
                  </a:lnTo>
                  <a:lnTo>
                    <a:pt x="2" y="3"/>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17" name="Freeform 1532"/>
            <p:cNvSpPr>
              <a:spLocks/>
            </p:cNvSpPr>
            <p:nvPr/>
          </p:nvSpPr>
          <p:spPr bwMode="auto">
            <a:xfrm>
              <a:off x="3864778" y="2362920"/>
              <a:ext cx="3511" cy="3043"/>
            </a:xfrm>
            <a:custGeom>
              <a:avLst/>
              <a:gdLst/>
              <a:ahLst/>
              <a:cxnLst>
                <a:cxn ang="0">
                  <a:pos x="2" y="0"/>
                </a:cxn>
                <a:cxn ang="0">
                  <a:pos x="3" y="2"/>
                </a:cxn>
                <a:cxn ang="0">
                  <a:pos x="4" y="2"/>
                </a:cxn>
                <a:cxn ang="0">
                  <a:pos x="4" y="3"/>
                </a:cxn>
                <a:cxn ang="0">
                  <a:pos x="3" y="3"/>
                </a:cxn>
                <a:cxn ang="0">
                  <a:pos x="0" y="3"/>
                </a:cxn>
                <a:cxn ang="0">
                  <a:pos x="0" y="2"/>
                </a:cxn>
                <a:cxn ang="0">
                  <a:pos x="2" y="0"/>
                </a:cxn>
                <a:cxn ang="0">
                  <a:pos x="0" y="2"/>
                </a:cxn>
                <a:cxn ang="0">
                  <a:pos x="2" y="0"/>
                </a:cxn>
              </a:cxnLst>
              <a:rect l="0" t="0" r="r" b="b"/>
              <a:pathLst>
                <a:path w="4" h="3">
                  <a:moveTo>
                    <a:pt x="2" y="0"/>
                  </a:moveTo>
                  <a:lnTo>
                    <a:pt x="3" y="2"/>
                  </a:lnTo>
                  <a:lnTo>
                    <a:pt x="4" y="2"/>
                  </a:lnTo>
                  <a:lnTo>
                    <a:pt x="4" y="3"/>
                  </a:lnTo>
                  <a:lnTo>
                    <a:pt x="3" y="3"/>
                  </a:lnTo>
                  <a:lnTo>
                    <a:pt x="0" y="3"/>
                  </a:lnTo>
                  <a:lnTo>
                    <a:pt x="0" y="2"/>
                  </a:lnTo>
                  <a:lnTo>
                    <a:pt x="2" y="0"/>
                  </a:lnTo>
                  <a:lnTo>
                    <a:pt x="0" y="2"/>
                  </a:lnTo>
                  <a:lnTo>
                    <a:pt x="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18" name="Freeform 1533"/>
            <p:cNvSpPr>
              <a:spLocks/>
            </p:cNvSpPr>
            <p:nvPr/>
          </p:nvSpPr>
          <p:spPr bwMode="auto">
            <a:xfrm>
              <a:off x="3864778" y="2362920"/>
              <a:ext cx="3511" cy="3043"/>
            </a:xfrm>
            <a:custGeom>
              <a:avLst/>
              <a:gdLst/>
              <a:ahLst/>
              <a:cxnLst>
                <a:cxn ang="0">
                  <a:pos x="2" y="0"/>
                </a:cxn>
                <a:cxn ang="0">
                  <a:pos x="3" y="2"/>
                </a:cxn>
                <a:cxn ang="0">
                  <a:pos x="4" y="2"/>
                </a:cxn>
                <a:cxn ang="0">
                  <a:pos x="4" y="3"/>
                </a:cxn>
                <a:cxn ang="0">
                  <a:pos x="3" y="3"/>
                </a:cxn>
                <a:cxn ang="0">
                  <a:pos x="0" y="3"/>
                </a:cxn>
                <a:cxn ang="0">
                  <a:pos x="0" y="2"/>
                </a:cxn>
                <a:cxn ang="0">
                  <a:pos x="2" y="0"/>
                </a:cxn>
                <a:cxn ang="0">
                  <a:pos x="0" y="2"/>
                </a:cxn>
                <a:cxn ang="0">
                  <a:pos x="2" y="0"/>
                </a:cxn>
              </a:cxnLst>
              <a:rect l="0" t="0" r="r" b="b"/>
              <a:pathLst>
                <a:path w="4" h="3">
                  <a:moveTo>
                    <a:pt x="2" y="0"/>
                  </a:moveTo>
                  <a:lnTo>
                    <a:pt x="3" y="2"/>
                  </a:lnTo>
                  <a:lnTo>
                    <a:pt x="4" y="2"/>
                  </a:lnTo>
                  <a:lnTo>
                    <a:pt x="4" y="3"/>
                  </a:lnTo>
                  <a:lnTo>
                    <a:pt x="3" y="3"/>
                  </a:lnTo>
                  <a:lnTo>
                    <a:pt x="0" y="3"/>
                  </a:lnTo>
                  <a:lnTo>
                    <a:pt x="0" y="2"/>
                  </a:lnTo>
                  <a:lnTo>
                    <a:pt x="2" y="0"/>
                  </a:lnTo>
                  <a:lnTo>
                    <a:pt x="0" y="2"/>
                  </a:lnTo>
                  <a:lnTo>
                    <a:pt x="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19" name="Freeform 1534"/>
            <p:cNvSpPr>
              <a:spLocks/>
            </p:cNvSpPr>
            <p:nvPr/>
          </p:nvSpPr>
          <p:spPr bwMode="auto">
            <a:xfrm>
              <a:off x="3909546" y="2335538"/>
              <a:ext cx="16679" cy="19269"/>
            </a:xfrm>
            <a:custGeom>
              <a:avLst/>
              <a:gdLst/>
              <a:ahLst/>
              <a:cxnLst>
                <a:cxn ang="0">
                  <a:pos x="0" y="18"/>
                </a:cxn>
                <a:cxn ang="0">
                  <a:pos x="0" y="16"/>
                </a:cxn>
                <a:cxn ang="0">
                  <a:pos x="2" y="15"/>
                </a:cxn>
                <a:cxn ang="0">
                  <a:pos x="6" y="6"/>
                </a:cxn>
                <a:cxn ang="0">
                  <a:pos x="8" y="6"/>
                </a:cxn>
                <a:cxn ang="0">
                  <a:pos x="11" y="4"/>
                </a:cxn>
                <a:cxn ang="0">
                  <a:pos x="12" y="2"/>
                </a:cxn>
                <a:cxn ang="0">
                  <a:pos x="16" y="0"/>
                </a:cxn>
                <a:cxn ang="0">
                  <a:pos x="18" y="0"/>
                </a:cxn>
                <a:cxn ang="0">
                  <a:pos x="18" y="2"/>
                </a:cxn>
                <a:cxn ang="0">
                  <a:pos x="18" y="4"/>
                </a:cxn>
                <a:cxn ang="0">
                  <a:pos x="13" y="6"/>
                </a:cxn>
                <a:cxn ang="0">
                  <a:pos x="3" y="16"/>
                </a:cxn>
                <a:cxn ang="0">
                  <a:pos x="2" y="16"/>
                </a:cxn>
                <a:cxn ang="0">
                  <a:pos x="0" y="18"/>
                </a:cxn>
                <a:cxn ang="0">
                  <a:pos x="0" y="18"/>
                </a:cxn>
              </a:cxnLst>
              <a:rect l="0" t="0" r="r" b="b"/>
              <a:pathLst>
                <a:path w="18" h="18">
                  <a:moveTo>
                    <a:pt x="0" y="18"/>
                  </a:moveTo>
                  <a:lnTo>
                    <a:pt x="0" y="16"/>
                  </a:lnTo>
                  <a:lnTo>
                    <a:pt x="2" y="15"/>
                  </a:lnTo>
                  <a:lnTo>
                    <a:pt x="6" y="6"/>
                  </a:lnTo>
                  <a:lnTo>
                    <a:pt x="8" y="6"/>
                  </a:lnTo>
                  <a:lnTo>
                    <a:pt x="11" y="4"/>
                  </a:lnTo>
                  <a:lnTo>
                    <a:pt x="12" y="2"/>
                  </a:lnTo>
                  <a:lnTo>
                    <a:pt x="16" y="0"/>
                  </a:lnTo>
                  <a:lnTo>
                    <a:pt x="18" y="0"/>
                  </a:lnTo>
                  <a:lnTo>
                    <a:pt x="18" y="2"/>
                  </a:lnTo>
                  <a:lnTo>
                    <a:pt x="18" y="4"/>
                  </a:lnTo>
                  <a:lnTo>
                    <a:pt x="13" y="6"/>
                  </a:lnTo>
                  <a:lnTo>
                    <a:pt x="3" y="16"/>
                  </a:lnTo>
                  <a:lnTo>
                    <a:pt x="2" y="16"/>
                  </a:lnTo>
                  <a:lnTo>
                    <a:pt x="0" y="18"/>
                  </a:lnTo>
                  <a:lnTo>
                    <a:pt x="0" y="18"/>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20" name="Freeform 1535"/>
            <p:cNvSpPr>
              <a:spLocks/>
            </p:cNvSpPr>
            <p:nvPr/>
          </p:nvSpPr>
          <p:spPr bwMode="auto">
            <a:xfrm>
              <a:off x="3909546" y="2335538"/>
              <a:ext cx="16679" cy="19269"/>
            </a:xfrm>
            <a:custGeom>
              <a:avLst/>
              <a:gdLst/>
              <a:ahLst/>
              <a:cxnLst>
                <a:cxn ang="0">
                  <a:pos x="0" y="18"/>
                </a:cxn>
                <a:cxn ang="0">
                  <a:pos x="0" y="16"/>
                </a:cxn>
                <a:cxn ang="0">
                  <a:pos x="2" y="15"/>
                </a:cxn>
                <a:cxn ang="0">
                  <a:pos x="6" y="6"/>
                </a:cxn>
                <a:cxn ang="0">
                  <a:pos x="8" y="6"/>
                </a:cxn>
                <a:cxn ang="0">
                  <a:pos x="11" y="4"/>
                </a:cxn>
                <a:cxn ang="0">
                  <a:pos x="12" y="2"/>
                </a:cxn>
                <a:cxn ang="0">
                  <a:pos x="16" y="0"/>
                </a:cxn>
                <a:cxn ang="0">
                  <a:pos x="18" y="0"/>
                </a:cxn>
                <a:cxn ang="0">
                  <a:pos x="18" y="2"/>
                </a:cxn>
                <a:cxn ang="0">
                  <a:pos x="18" y="4"/>
                </a:cxn>
                <a:cxn ang="0">
                  <a:pos x="13" y="6"/>
                </a:cxn>
                <a:cxn ang="0">
                  <a:pos x="3" y="16"/>
                </a:cxn>
                <a:cxn ang="0">
                  <a:pos x="2" y="16"/>
                </a:cxn>
                <a:cxn ang="0">
                  <a:pos x="0" y="18"/>
                </a:cxn>
                <a:cxn ang="0">
                  <a:pos x="0" y="18"/>
                </a:cxn>
              </a:cxnLst>
              <a:rect l="0" t="0" r="r" b="b"/>
              <a:pathLst>
                <a:path w="18" h="18">
                  <a:moveTo>
                    <a:pt x="0" y="18"/>
                  </a:moveTo>
                  <a:lnTo>
                    <a:pt x="0" y="16"/>
                  </a:lnTo>
                  <a:lnTo>
                    <a:pt x="2" y="15"/>
                  </a:lnTo>
                  <a:lnTo>
                    <a:pt x="6" y="6"/>
                  </a:lnTo>
                  <a:lnTo>
                    <a:pt x="8" y="6"/>
                  </a:lnTo>
                  <a:lnTo>
                    <a:pt x="11" y="4"/>
                  </a:lnTo>
                  <a:lnTo>
                    <a:pt x="12" y="2"/>
                  </a:lnTo>
                  <a:lnTo>
                    <a:pt x="16" y="0"/>
                  </a:lnTo>
                  <a:lnTo>
                    <a:pt x="18" y="0"/>
                  </a:lnTo>
                  <a:lnTo>
                    <a:pt x="18" y="2"/>
                  </a:lnTo>
                  <a:lnTo>
                    <a:pt x="18" y="4"/>
                  </a:lnTo>
                  <a:lnTo>
                    <a:pt x="13" y="6"/>
                  </a:lnTo>
                  <a:lnTo>
                    <a:pt x="3" y="16"/>
                  </a:lnTo>
                  <a:lnTo>
                    <a:pt x="2" y="16"/>
                  </a:lnTo>
                  <a:lnTo>
                    <a:pt x="0" y="18"/>
                  </a:lnTo>
                  <a:lnTo>
                    <a:pt x="0" y="18"/>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21" name="Freeform 1536"/>
            <p:cNvSpPr>
              <a:spLocks/>
            </p:cNvSpPr>
            <p:nvPr/>
          </p:nvSpPr>
          <p:spPr bwMode="auto">
            <a:xfrm>
              <a:off x="3928858" y="2324383"/>
              <a:ext cx="18433" cy="17241"/>
            </a:xfrm>
            <a:custGeom>
              <a:avLst/>
              <a:gdLst/>
              <a:ahLst/>
              <a:cxnLst>
                <a:cxn ang="0">
                  <a:pos x="1" y="17"/>
                </a:cxn>
                <a:cxn ang="0">
                  <a:pos x="0" y="15"/>
                </a:cxn>
                <a:cxn ang="0">
                  <a:pos x="0" y="15"/>
                </a:cxn>
                <a:cxn ang="0">
                  <a:pos x="6" y="13"/>
                </a:cxn>
                <a:cxn ang="0">
                  <a:pos x="7" y="11"/>
                </a:cxn>
                <a:cxn ang="0">
                  <a:pos x="8" y="10"/>
                </a:cxn>
                <a:cxn ang="0">
                  <a:pos x="10" y="7"/>
                </a:cxn>
                <a:cxn ang="0">
                  <a:pos x="11" y="8"/>
                </a:cxn>
                <a:cxn ang="0">
                  <a:pos x="13" y="7"/>
                </a:cxn>
                <a:cxn ang="0">
                  <a:pos x="11" y="5"/>
                </a:cxn>
                <a:cxn ang="0">
                  <a:pos x="10" y="5"/>
                </a:cxn>
                <a:cxn ang="0">
                  <a:pos x="8" y="2"/>
                </a:cxn>
                <a:cxn ang="0">
                  <a:pos x="8" y="1"/>
                </a:cxn>
                <a:cxn ang="0">
                  <a:pos x="11" y="1"/>
                </a:cxn>
                <a:cxn ang="0">
                  <a:pos x="13" y="0"/>
                </a:cxn>
                <a:cxn ang="0">
                  <a:pos x="14" y="1"/>
                </a:cxn>
                <a:cxn ang="0">
                  <a:pos x="16" y="2"/>
                </a:cxn>
                <a:cxn ang="0">
                  <a:pos x="19" y="0"/>
                </a:cxn>
                <a:cxn ang="0">
                  <a:pos x="19" y="0"/>
                </a:cxn>
                <a:cxn ang="0">
                  <a:pos x="20" y="1"/>
                </a:cxn>
                <a:cxn ang="0">
                  <a:pos x="19" y="2"/>
                </a:cxn>
                <a:cxn ang="0">
                  <a:pos x="17" y="5"/>
                </a:cxn>
                <a:cxn ang="0">
                  <a:pos x="17" y="7"/>
                </a:cxn>
                <a:cxn ang="0">
                  <a:pos x="19" y="5"/>
                </a:cxn>
                <a:cxn ang="0">
                  <a:pos x="19" y="8"/>
                </a:cxn>
                <a:cxn ang="0">
                  <a:pos x="17" y="10"/>
                </a:cxn>
                <a:cxn ang="0">
                  <a:pos x="14" y="11"/>
                </a:cxn>
                <a:cxn ang="0">
                  <a:pos x="13" y="13"/>
                </a:cxn>
                <a:cxn ang="0">
                  <a:pos x="10" y="13"/>
                </a:cxn>
                <a:cxn ang="0">
                  <a:pos x="7" y="15"/>
                </a:cxn>
                <a:cxn ang="0">
                  <a:pos x="1" y="17"/>
                </a:cxn>
              </a:cxnLst>
              <a:rect l="0" t="0" r="r" b="b"/>
              <a:pathLst>
                <a:path w="20" h="17">
                  <a:moveTo>
                    <a:pt x="1" y="17"/>
                  </a:moveTo>
                  <a:lnTo>
                    <a:pt x="0" y="15"/>
                  </a:lnTo>
                  <a:lnTo>
                    <a:pt x="0" y="15"/>
                  </a:lnTo>
                  <a:lnTo>
                    <a:pt x="6" y="13"/>
                  </a:lnTo>
                  <a:lnTo>
                    <a:pt x="7" y="11"/>
                  </a:lnTo>
                  <a:lnTo>
                    <a:pt x="8" y="10"/>
                  </a:lnTo>
                  <a:lnTo>
                    <a:pt x="10" y="7"/>
                  </a:lnTo>
                  <a:lnTo>
                    <a:pt x="11" y="8"/>
                  </a:lnTo>
                  <a:lnTo>
                    <a:pt x="13" y="7"/>
                  </a:lnTo>
                  <a:lnTo>
                    <a:pt x="11" y="5"/>
                  </a:lnTo>
                  <a:lnTo>
                    <a:pt x="10" y="5"/>
                  </a:lnTo>
                  <a:lnTo>
                    <a:pt x="8" y="2"/>
                  </a:lnTo>
                  <a:lnTo>
                    <a:pt x="8" y="1"/>
                  </a:lnTo>
                  <a:lnTo>
                    <a:pt x="11" y="1"/>
                  </a:lnTo>
                  <a:lnTo>
                    <a:pt x="13" y="0"/>
                  </a:lnTo>
                  <a:lnTo>
                    <a:pt x="14" y="1"/>
                  </a:lnTo>
                  <a:lnTo>
                    <a:pt x="16" y="2"/>
                  </a:lnTo>
                  <a:lnTo>
                    <a:pt x="19" y="0"/>
                  </a:lnTo>
                  <a:lnTo>
                    <a:pt x="19" y="0"/>
                  </a:lnTo>
                  <a:lnTo>
                    <a:pt x="20" y="1"/>
                  </a:lnTo>
                  <a:lnTo>
                    <a:pt x="19" y="2"/>
                  </a:lnTo>
                  <a:lnTo>
                    <a:pt x="17" y="5"/>
                  </a:lnTo>
                  <a:lnTo>
                    <a:pt x="17" y="7"/>
                  </a:lnTo>
                  <a:lnTo>
                    <a:pt x="19" y="5"/>
                  </a:lnTo>
                  <a:lnTo>
                    <a:pt x="19" y="8"/>
                  </a:lnTo>
                  <a:lnTo>
                    <a:pt x="17" y="10"/>
                  </a:lnTo>
                  <a:lnTo>
                    <a:pt x="14" y="11"/>
                  </a:lnTo>
                  <a:lnTo>
                    <a:pt x="13" y="13"/>
                  </a:lnTo>
                  <a:lnTo>
                    <a:pt x="10" y="13"/>
                  </a:lnTo>
                  <a:lnTo>
                    <a:pt x="7" y="15"/>
                  </a:lnTo>
                  <a:lnTo>
                    <a:pt x="1" y="1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22" name="Freeform 1537"/>
            <p:cNvSpPr>
              <a:spLocks/>
            </p:cNvSpPr>
            <p:nvPr/>
          </p:nvSpPr>
          <p:spPr bwMode="auto">
            <a:xfrm>
              <a:off x="3928858" y="2324383"/>
              <a:ext cx="18433" cy="17241"/>
            </a:xfrm>
            <a:custGeom>
              <a:avLst/>
              <a:gdLst/>
              <a:ahLst/>
              <a:cxnLst>
                <a:cxn ang="0">
                  <a:pos x="1" y="17"/>
                </a:cxn>
                <a:cxn ang="0">
                  <a:pos x="0" y="15"/>
                </a:cxn>
                <a:cxn ang="0">
                  <a:pos x="0" y="15"/>
                </a:cxn>
                <a:cxn ang="0">
                  <a:pos x="6" y="13"/>
                </a:cxn>
                <a:cxn ang="0">
                  <a:pos x="7" y="11"/>
                </a:cxn>
                <a:cxn ang="0">
                  <a:pos x="8" y="10"/>
                </a:cxn>
                <a:cxn ang="0">
                  <a:pos x="10" y="7"/>
                </a:cxn>
                <a:cxn ang="0">
                  <a:pos x="11" y="8"/>
                </a:cxn>
                <a:cxn ang="0">
                  <a:pos x="13" y="7"/>
                </a:cxn>
                <a:cxn ang="0">
                  <a:pos x="11" y="5"/>
                </a:cxn>
                <a:cxn ang="0">
                  <a:pos x="10" y="5"/>
                </a:cxn>
                <a:cxn ang="0">
                  <a:pos x="8" y="2"/>
                </a:cxn>
                <a:cxn ang="0">
                  <a:pos x="8" y="1"/>
                </a:cxn>
                <a:cxn ang="0">
                  <a:pos x="11" y="1"/>
                </a:cxn>
                <a:cxn ang="0">
                  <a:pos x="13" y="0"/>
                </a:cxn>
                <a:cxn ang="0">
                  <a:pos x="14" y="1"/>
                </a:cxn>
                <a:cxn ang="0">
                  <a:pos x="16" y="2"/>
                </a:cxn>
                <a:cxn ang="0">
                  <a:pos x="19" y="0"/>
                </a:cxn>
                <a:cxn ang="0">
                  <a:pos x="19" y="0"/>
                </a:cxn>
                <a:cxn ang="0">
                  <a:pos x="20" y="1"/>
                </a:cxn>
                <a:cxn ang="0">
                  <a:pos x="19" y="2"/>
                </a:cxn>
                <a:cxn ang="0">
                  <a:pos x="17" y="5"/>
                </a:cxn>
                <a:cxn ang="0">
                  <a:pos x="17" y="7"/>
                </a:cxn>
                <a:cxn ang="0">
                  <a:pos x="19" y="5"/>
                </a:cxn>
                <a:cxn ang="0">
                  <a:pos x="19" y="8"/>
                </a:cxn>
                <a:cxn ang="0">
                  <a:pos x="17" y="10"/>
                </a:cxn>
                <a:cxn ang="0">
                  <a:pos x="14" y="11"/>
                </a:cxn>
                <a:cxn ang="0">
                  <a:pos x="13" y="13"/>
                </a:cxn>
                <a:cxn ang="0">
                  <a:pos x="10" y="13"/>
                </a:cxn>
                <a:cxn ang="0">
                  <a:pos x="7" y="15"/>
                </a:cxn>
                <a:cxn ang="0">
                  <a:pos x="1" y="17"/>
                </a:cxn>
              </a:cxnLst>
              <a:rect l="0" t="0" r="r" b="b"/>
              <a:pathLst>
                <a:path w="20" h="17">
                  <a:moveTo>
                    <a:pt x="1" y="17"/>
                  </a:moveTo>
                  <a:lnTo>
                    <a:pt x="0" y="15"/>
                  </a:lnTo>
                  <a:lnTo>
                    <a:pt x="0" y="15"/>
                  </a:lnTo>
                  <a:lnTo>
                    <a:pt x="6" y="13"/>
                  </a:lnTo>
                  <a:lnTo>
                    <a:pt x="7" y="11"/>
                  </a:lnTo>
                  <a:lnTo>
                    <a:pt x="8" y="10"/>
                  </a:lnTo>
                  <a:lnTo>
                    <a:pt x="10" y="7"/>
                  </a:lnTo>
                  <a:lnTo>
                    <a:pt x="11" y="8"/>
                  </a:lnTo>
                  <a:lnTo>
                    <a:pt x="13" y="7"/>
                  </a:lnTo>
                  <a:lnTo>
                    <a:pt x="11" y="5"/>
                  </a:lnTo>
                  <a:lnTo>
                    <a:pt x="10" y="5"/>
                  </a:lnTo>
                  <a:lnTo>
                    <a:pt x="8" y="2"/>
                  </a:lnTo>
                  <a:lnTo>
                    <a:pt x="8" y="1"/>
                  </a:lnTo>
                  <a:lnTo>
                    <a:pt x="11" y="1"/>
                  </a:lnTo>
                  <a:lnTo>
                    <a:pt x="13" y="0"/>
                  </a:lnTo>
                  <a:lnTo>
                    <a:pt x="14" y="1"/>
                  </a:lnTo>
                  <a:lnTo>
                    <a:pt x="16" y="2"/>
                  </a:lnTo>
                  <a:lnTo>
                    <a:pt x="19" y="0"/>
                  </a:lnTo>
                  <a:lnTo>
                    <a:pt x="19" y="0"/>
                  </a:lnTo>
                  <a:lnTo>
                    <a:pt x="20" y="1"/>
                  </a:lnTo>
                  <a:lnTo>
                    <a:pt x="19" y="2"/>
                  </a:lnTo>
                  <a:lnTo>
                    <a:pt x="17" y="5"/>
                  </a:lnTo>
                  <a:lnTo>
                    <a:pt x="17" y="7"/>
                  </a:lnTo>
                  <a:lnTo>
                    <a:pt x="19" y="5"/>
                  </a:lnTo>
                  <a:lnTo>
                    <a:pt x="19" y="8"/>
                  </a:lnTo>
                  <a:lnTo>
                    <a:pt x="17" y="10"/>
                  </a:lnTo>
                  <a:lnTo>
                    <a:pt x="14" y="11"/>
                  </a:lnTo>
                  <a:lnTo>
                    <a:pt x="13" y="13"/>
                  </a:lnTo>
                  <a:lnTo>
                    <a:pt x="10" y="13"/>
                  </a:lnTo>
                  <a:lnTo>
                    <a:pt x="7" y="15"/>
                  </a:lnTo>
                  <a:lnTo>
                    <a:pt x="1" y="1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23" name="Freeform 1538"/>
            <p:cNvSpPr>
              <a:spLocks/>
            </p:cNvSpPr>
            <p:nvPr/>
          </p:nvSpPr>
          <p:spPr bwMode="auto">
            <a:xfrm>
              <a:off x="3949924" y="2318298"/>
              <a:ext cx="5267" cy="4057"/>
            </a:xfrm>
            <a:custGeom>
              <a:avLst/>
              <a:gdLst/>
              <a:ahLst/>
              <a:cxnLst>
                <a:cxn ang="0">
                  <a:pos x="1" y="0"/>
                </a:cxn>
                <a:cxn ang="0">
                  <a:pos x="3" y="0"/>
                </a:cxn>
                <a:cxn ang="0">
                  <a:pos x="4" y="1"/>
                </a:cxn>
                <a:cxn ang="0">
                  <a:pos x="6" y="3"/>
                </a:cxn>
                <a:cxn ang="0">
                  <a:pos x="3" y="4"/>
                </a:cxn>
                <a:cxn ang="0">
                  <a:pos x="1" y="4"/>
                </a:cxn>
                <a:cxn ang="0">
                  <a:pos x="0" y="3"/>
                </a:cxn>
                <a:cxn ang="0">
                  <a:pos x="0" y="0"/>
                </a:cxn>
                <a:cxn ang="0">
                  <a:pos x="1" y="0"/>
                </a:cxn>
              </a:cxnLst>
              <a:rect l="0" t="0" r="r" b="b"/>
              <a:pathLst>
                <a:path w="6" h="4">
                  <a:moveTo>
                    <a:pt x="1" y="0"/>
                  </a:moveTo>
                  <a:lnTo>
                    <a:pt x="3" y="0"/>
                  </a:lnTo>
                  <a:lnTo>
                    <a:pt x="4" y="1"/>
                  </a:lnTo>
                  <a:lnTo>
                    <a:pt x="6" y="3"/>
                  </a:lnTo>
                  <a:lnTo>
                    <a:pt x="3" y="4"/>
                  </a:lnTo>
                  <a:lnTo>
                    <a:pt x="1" y="4"/>
                  </a:lnTo>
                  <a:lnTo>
                    <a:pt x="0" y="3"/>
                  </a:lnTo>
                  <a:lnTo>
                    <a:pt x="0" y="0"/>
                  </a:lnTo>
                  <a:lnTo>
                    <a:pt x="1"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24" name="Freeform 1539"/>
            <p:cNvSpPr>
              <a:spLocks/>
            </p:cNvSpPr>
            <p:nvPr/>
          </p:nvSpPr>
          <p:spPr bwMode="auto">
            <a:xfrm>
              <a:off x="3949924" y="2318298"/>
              <a:ext cx="5267" cy="4057"/>
            </a:xfrm>
            <a:custGeom>
              <a:avLst/>
              <a:gdLst/>
              <a:ahLst/>
              <a:cxnLst>
                <a:cxn ang="0">
                  <a:pos x="1" y="0"/>
                </a:cxn>
                <a:cxn ang="0">
                  <a:pos x="3" y="0"/>
                </a:cxn>
                <a:cxn ang="0">
                  <a:pos x="4" y="1"/>
                </a:cxn>
                <a:cxn ang="0">
                  <a:pos x="6" y="3"/>
                </a:cxn>
                <a:cxn ang="0">
                  <a:pos x="3" y="4"/>
                </a:cxn>
                <a:cxn ang="0">
                  <a:pos x="1" y="4"/>
                </a:cxn>
                <a:cxn ang="0">
                  <a:pos x="0" y="3"/>
                </a:cxn>
                <a:cxn ang="0">
                  <a:pos x="0" y="0"/>
                </a:cxn>
                <a:cxn ang="0">
                  <a:pos x="1" y="0"/>
                </a:cxn>
              </a:cxnLst>
              <a:rect l="0" t="0" r="r" b="b"/>
              <a:pathLst>
                <a:path w="6" h="4">
                  <a:moveTo>
                    <a:pt x="1" y="0"/>
                  </a:moveTo>
                  <a:lnTo>
                    <a:pt x="3" y="0"/>
                  </a:lnTo>
                  <a:lnTo>
                    <a:pt x="4" y="1"/>
                  </a:lnTo>
                  <a:lnTo>
                    <a:pt x="6" y="3"/>
                  </a:lnTo>
                  <a:lnTo>
                    <a:pt x="3" y="4"/>
                  </a:lnTo>
                  <a:lnTo>
                    <a:pt x="1" y="4"/>
                  </a:lnTo>
                  <a:lnTo>
                    <a:pt x="0" y="3"/>
                  </a:lnTo>
                  <a:lnTo>
                    <a:pt x="0" y="0"/>
                  </a:lnTo>
                  <a:lnTo>
                    <a:pt x="1"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25" name="Freeform 1540"/>
            <p:cNvSpPr>
              <a:spLocks/>
            </p:cNvSpPr>
            <p:nvPr/>
          </p:nvSpPr>
          <p:spPr bwMode="auto">
            <a:xfrm>
              <a:off x="3965725" y="2295988"/>
              <a:ext cx="22823" cy="19269"/>
            </a:xfrm>
            <a:custGeom>
              <a:avLst/>
              <a:gdLst/>
              <a:ahLst/>
              <a:cxnLst>
                <a:cxn ang="0">
                  <a:pos x="0" y="12"/>
                </a:cxn>
                <a:cxn ang="0">
                  <a:pos x="5" y="6"/>
                </a:cxn>
                <a:cxn ang="0">
                  <a:pos x="6" y="3"/>
                </a:cxn>
                <a:cxn ang="0">
                  <a:pos x="11" y="3"/>
                </a:cxn>
                <a:cxn ang="0">
                  <a:pos x="13" y="3"/>
                </a:cxn>
                <a:cxn ang="0">
                  <a:pos x="18" y="0"/>
                </a:cxn>
                <a:cxn ang="0">
                  <a:pos x="19" y="0"/>
                </a:cxn>
                <a:cxn ang="0">
                  <a:pos x="21" y="6"/>
                </a:cxn>
                <a:cxn ang="0">
                  <a:pos x="24" y="8"/>
                </a:cxn>
                <a:cxn ang="0">
                  <a:pos x="25" y="8"/>
                </a:cxn>
                <a:cxn ang="0">
                  <a:pos x="25" y="8"/>
                </a:cxn>
                <a:cxn ang="0">
                  <a:pos x="25" y="9"/>
                </a:cxn>
                <a:cxn ang="0">
                  <a:pos x="25" y="9"/>
                </a:cxn>
                <a:cxn ang="0">
                  <a:pos x="24" y="9"/>
                </a:cxn>
                <a:cxn ang="0">
                  <a:pos x="21" y="11"/>
                </a:cxn>
                <a:cxn ang="0">
                  <a:pos x="18" y="11"/>
                </a:cxn>
                <a:cxn ang="0">
                  <a:pos x="12" y="11"/>
                </a:cxn>
                <a:cxn ang="0">
                  <a:pos x="5" y="18"/>
                </a:cxn>
                <a:cxn ang="0">
                  <a:pos x="2" y="15"/>
                </a:cxn>
                <a:cxn ang="0">
                  <a:pos x="0" y="12"/>
                </a:cxn>
              </a:cxnLst>
              <a:rect l="0" t="0" r="r" b="b"/>
              <a:pathLst>
                <a:path w="25" h="18">
                  <a:moveTo>
                    <a:pt x="0" y="12"/>
                  </a:moveTo>
                  <a:lnTo>
                    <a:pt x="5" y="6"/>
                  </a:lnTo>
                  <a:lnTo>
                    <a:pt x="6" y="3"/>
                  </a:lnTo>
                  <a:lnTo>
                    <a:pt x="11" y="3"/>
                  </a:lnTo>
                  <a:lnTo>
                    <a:pt x="13" y="3"/>
                  </a:lnTo>
                  <a:lnTo>
                    <a:pt x="18" y="0"/>
                  </a:lnTo>
                  <a:lnTo>
                    <a:pt x="19" y="0"/>
                  </a:lnTo>
                  <a:lnTo>
                    <a:pt x="21" y="6"/>
                  </a:lnTo>
                  <a:lnTo>
                    <a:pt x="24" y="8"/>
                  </a:lnTo>
                  <a:lnTo>
                    <a:pt x="25" y="8"/>
                  </a:lnTo>
                  <a:lnTo>
                    <a:pt x="25" y="8"/>
                  </a:lnTo>
                  <a:lnTo>
                    <a:pt x="25" y="9"/>
                  </a:lnTo>
                  <a:lnTo>
                    <a:pt x="25" y="9"/>
                  </a:lnTo>
                  <a:lnTo>
                    <a:pt x="24" y="9"/>
                  </a:lnTo>
                  <a:lnTo>
                    <a:pt x="21" y="11"/>
                  </a:lnTo>
                  <a:lnTo>
                    <a:pt x="18" y="11"/>
                  </a:lnTo>
                  <a:lnTo>
                    <a:pt x="12" y="11"/>
                  </a:lnTo>
                  <a:lnTo>
                    <a:pt x="5" y="18"/>
                  </a:lnTo>
                  <a:lnTo>
                    <a:pt x="2" y="15"/>
                  </a:lnTo>
                  <a:lnTo>
                    <a:pt x="0" y="1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26" name="Freeform 1541"/>
            <p:cNvSpPr>
              <a:spLocks/>
            </p:cNvSpPr>
            <p:nvPr/>
          </p:nvSpPr>
          <p:spPr bwMode="auto">
            <a:xfrm>
              <a:off x="3965725" y="2295988"/>
              <a:ext cx="22823" cy="19269"/>
            </a:xfrm>
            <a:custGeom>
              <a:avLst/>
              <a:gdLst/>
              <a:ahLst/>
              <a:cxnLst>
                <a:cxn ang="0">
                  <a:pos x="0" y="12"/>
                </a:cxn>
                <a:cxn ang="0">
                  <a:pos x="5" y="6"/>
                </a:cxn>
                <a:cxn ang="0">
                  <a:pos x="6" y="3"/>
                </a:cxn>
                <a:cxn ang="0">
                  <a:pos x="11" y="3"/>
                </a:cxn>
                <a:cxn ang="0">
                  <a:pos x="13" y="3"/>
                </a:cxn>
                <a:cxn ang="0">
                  <a:pos x="18" y="0"/>
                </a:cxn>
                <a:cxn ang="0">
                  <a:pos x="19" y="0"/>
                </a:cxn>
                <a:cxn ang="0">
                  <a:pos x="21" y="6"/>
                </a:cxn>
                <a:cxn ang="0">
                  <a:pos x="24" y="8"/>
                </a:cxn>
                <a:cxn ang="0">
                  <a:pos x="25" y="8"/>
                </a:cxn>
                <a:cxn ang="0">
                  <a:pos x="25" y="8"/>
                </a:cxn>
                <a:cxn ang="0">
                  <a:pos x="25" y="9"/>
                </a:cxn>
                <a:cxn ang="0">
                  <a:pos x="25" y="9"/>
                </a:cxn>
                <a:cxn ang="0">
                  <a:pos x="24" y="9"/>
                </a:cxn>
                <a:cxn ang="0">
                  <a:pos x="21" y="11"/>
                </a:cxn>
                <a:cxn ang="0">
                  <a:pos x="18" y="11"/>
                </a:cxn>
                <a:cxn ang="0">
                  <a:pos x="12" y="11"/>
                </a:cxn>
                <a:cxn ang="0">
                  <a:pos x="5" y="18"/>
                </a:cxn>
                <a:cxn ang="0">
                  <a:pos x="2" y="15"/>
                </a:cxn>
                <a:cxn ang="0">
                  <a:pos x="0" y="12"/>
                </a:cxn>
              </a:cxnLst>
              <a:rect l="0" t="0" r="r" b="b"/>
              <a:pathLst>
                <a:path w="25" h="18">
                  <a:moveTo>
                    <a:pt x="0" y="12"/>
                  </a:moveTo>
                  <a:lnTo>
                    <a:pt x="5" y="6"/>
                  </a:lnTo>
                  <a:lnTo>
                    <a:pt x="6" y="3"/>
                  </a:lnTo>
                  <a:lnTo>
                    <a:pt x="11" y="3"/>
                  </a:lnTo>
                  <a:lnTo>
                    <a:pt x="13" y="3"/>
                  </a:lnTo>
                  <a:lnTo>
                    <a:pt x="18" y="0"/>
                  </a:lnTo>
                  <a:lnTo>
                    <a:pt x="19" y="0"/>
                  </a:lnTo>
                  <a:lnTo>
                    <a:pt x="21" y="6"/>
                  </a:lnTo>
                  <a:lnTo>
                    <a:pt x="24" y="8"/>
                  </a:lnTo>
                  <a:lnTo>
                    <a:pt x="25" y="8"/>
                  </a:lnTo>
                  <a:lnTo>
                    <a:pt x="25" y="8"/>
                  </a:lnTo>
                  <a:lnTo>
                    <a:pt x="25" y="9"/>
                  </a:lnTo>
                  <a:lnTo>
                    <a:pt x="25" y="9"/>
                  </a:lnTo>
                  <a:lnTo>
                    <a:pt x="24" y="9"/>
                  </a:lnTo>
                  <a:lnTo>
                    <a:pt x="21" y="11"/>
                  </a:lnTo>
                  <a:lnTo>
                    <a:pt x="18" y="11"/>
                  </a:lnTo>
                  <a:lnTo>
                    <a:pt x="12" y="11"/>
                  </a:lnTo>
                  <a:lnTo>
                    <a:pt x="5" y="18"/>
                  </a:lnTo>
                  <a:lnTo>
                    <a:pt x="2" y="15"/>
                  </a:lnTo>
                  <a:lnTo>
                    <a:pt x="0" y="1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27" name="Freeform 1542"/>
            <p:cNvSpPr>
              <a:spLocks/>
            </p:cNvSpPr>
            <p:nvPr/>
          </p:nvSpPr>
          <p:spPr bwMode="auto">
            <a:xfrm>
              <a:off x="3993814" y="2311200"/>
              <a:ext cx="2633" cy="1014"/>
            </a:xfrm>
            <a:custGeom>
              <a:avLst/>
              <a:gdLst/>
              <a:ahLst/>
              <a:cxnLst>
                <a:cxn ang="0">
                  <a:pos x="0" y="0"/>
                </a:cxn>
                <a:cxn ang="0">
                  <a:pos x="1" y="0"/>
                </a:cxn>
                <a:cxn ang="0">
                  <a:pos x="3" y="0"/>
                </a:cxn>
                <a:cxn ang="0">
                  <a:pos x="3" y="1"/>
                </a:cxn>
                <a:cxn ang="0">
                  <a:pos x="3" y="1"/>
                </a:cxn>
                <a:cxn ang="0">
                  <a:pos x="1" y="1"/>
                </a:cxn>
                <a:cxn ang="0">
                  <a:pos x="0" y="0"/>
                </a:cxn>
              </a:cxnLst>
              <a:rect l="0" t="0" r="r" b="b"/>
              <a:pathLst>
                <a:path w="3" h="1">
                  <a:moveTo>
                    <a:pt x="0" y="0"/>
                  </a:moveTo>
                  <a:lnTo>
                    <a:pt x="1" y="0"/>
                  </a:lnTo>
                  <a:lnTo>
                    <a:pt x="3" y="0"/>
                  </a:lnTo>
                  <a:lnTo>
                    <a:pt x="3" y="1"/>
                  </a:lnTo>
                  <a:lnTo>
                    <a:pt x="3" y="1"/>
                  </a:lnTo>
                  <a:lnTo>
                    <a:pt x="1" y="1"/>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28" name="Freeform 1543"/>
            <p:cNvSpPr>
              <a:spLocks/>
            </p:cNvSpPr>
            <p:nvPr/>
          </p:nvSpPr>
          <p:spPr bwMode="auto">
            <a:xfrm>
              <a:off x="3993814" y="2311200"/>
              <a:ext cx="2633" cy="1014"/>
            </a:xfrm>
            <a:custGeom>
              <a:avLst/>
              <a:gdLst/>
              <a:ahLst/>
              <a:cxnLst>
                <a:cxn ang="0">
                  <a:pos x="0" y="0"/>
                </a:cxn>
                <a:cxn ang="0">
                  <a:pos x="1" y="0"/>
                </a:cxn>
                <a:cxn ang="0">
                  <a:pos x="3" y="0"/>
                </a:cxn>
                <a:cxn ang="0">
                  <a:pos x="3" y="1"/>
                </a:cxn>
                <a:cxn ang="0">
                  <a:pos x="3" y="1"/>
                </a:cxn>
                <a:cxn ang="0">
                  <a:pos x="1" y="1"/>
                </a:cxn>
                <a:cxn ang="0">
                  <a:pos x="0" y="0"/>
                </a:cxn>
              </a:cxnLst>
              <a:rect l="0" t="0" r="r" b="b"/>
              <a:pathLst>
                <a:path w="3" h="1">
                  <a:moveTo>
                    <a:pt x="0" y="0"/>
                  </a:moveTo>
                  <a:lnTo>
                    <a:pt x="1" y="0"/>
                  </a:lnTo>
                  <a:lnTo>
                    <a:pt x="3" y="0"/>
                  </a:lnTo>
                  <a:lnTo>
                    <a:pt x="3" y="1"/>
                  </a:lnTo>
                  <a:lnTo>
                    <a:pt x="3" y="1"/>
                  </a:lnTo>
                  <a:lnTo>
                    <a:pt x="1" y="1"/>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29" name="Freeform 1544"/>
            <p:cNvSpPr>
              <a:spLocks/>
            </p:cNvSpPr>
            <p:nvPr/>
          </p:nvSpPr>
          <p:spPr bwMode="auto">
            <a:xfrm>
              <a:off x="4020148" y="2287874"/>
              <a:ext cx="2633" cy="5071"/>
            </a:xfrm>
            <a:custGeom>
              <a:avLst/>
              <a:gdLst/>
              <a:ahLst/>
              <a:cxnLst>
                <a:cxn ang="0">
                  <a:pos x="1" y="1"/>
                </a:cxn>
                <a:cxn ang="0">
                  <a:pos x="0" y="0"/>
                </a:cxn>
                <a:cxn ang="0">
                  <a:pos x="1" y="1"/>
                </a:cxn>
                <a:cxn ang="0">
                  <a:pos x="1" y="1"/>
                </a:cxn>
                <a:cxn ang="0">
                  <a:pos x="1" y="0"/>
                </a:cxn>
                <a:cxn ang="0">
                  <a:pos x="3" y="0"/>
                </a:cxn>
                <a:cxn ang="0">
                  <a:pos x="3" y="1"/>
                </a:cxn>
                <a:cxn ang="0">
                  <a:pos x="3" y="3"/>
                </a:cxn>
                <a:cxn ang="0">
                  <a:pos x="3" y="4"/>
                </a:cxn>
                <a:cxn ang="0">
                  <a:pos x="3" y="5"/>
                </a:cxn>
                <a:cxn ang="0">
                  <a:pos x="1" y="5"/>
                </a:cxn>
                <a:cxn ang="0">
                  <a:pos x="0" y="5"/>
                </a:cxn>
                <a:cxn ang="0">
                  <a:pos x="0" y="0"/>
                </a:cxn>
                <a:cxn ang="0">
                  <a:pos x="0" y="0"/>
                </a:cxn>
                <a:cxn ang="0">
                  <a:pos x="0" y="1"/>
                </a:cxn>
                <a:cxn ang="0">
                  <a:pos x="1" y="3"/>
                </a:cxn>
                <a:cxn ang="0">
                  <a:pos x="1" y="1"/>
                </a:cxn>
              </a:cxnLst>
              <a:rect l="0" t="0" r="r" b="b"/>
              <a:pathLst>
                <a:path w="3" h="5">
                  <a:moveTo>
                    <a:pt x="1" y="1"/>
                  </a:moveTo>
                  <a:lnTo>
                    <a:pt x="0" y="0"/>
                  </a:lnTo>
                  <a:lnTo>
                    <a:pt x="1" y="1"/>
                  </a:lnTo>
                  <a:lnTo>
                    <a:pt x="1" y="1"/>
                  </a:lnTo>
                  <a:lnTo>
                    <a:pt x="1" y="0"/>
                  </a:lnTo>
                  <a:lnTo>
                    <a:pt x="3" y="0"/>
                  </a:lnTo>
                  <a:lnTo>
                    <a:pt x="3" y="1"/>
                  </a:lnTo>
                  <a:lnTo>
                    <a:pt x="3" y="3"/>
                  </a:lnTo>
                  <a:lnTo>
                    <a:pt x="3" y="4"/>
                  </a:lnTo>
                  <a:lnTo>
                    <a:pt x="3" y="5"/>
                  </a:lnTo>
                  <a:lnTo>
                    <a:pt x="1" y="5"/>
                  </a:lnTo>
                  <a:lnTo>
                    <a:pt x="0" y="5"/>
                  </a:lnTo>
                  <a:lnTo>
                    <a:pt x="0" y="0"/>
                  </a:lnTo>
                  <a:lnTo>
                    <a:pt x="0" y="0"/>
                  </a:lnTo>
                  <a:lnTo>
                    <a:pt x="0" y="1"/>
                  </a:lnTo>
                  <a:lnTo>
                    <a:pt x="1" y="3"/>
                  </a:lnTo>
                  <a:lnTo>
                    <a:pt x="1"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30" name="Freeform 1545"/>
            <p:cNvSpPr>
              <a:spLocks/>
            </p:cNvSpPr>
            <p:nvPr/>
          </p:nvSpPr>
          <p:spPr bwMode="auto">
            <a:xfrm>
              <a:off x="4020148" y="2287874"/>
              <a:ext cx="2633" cy="5071"/>
            </a:xfrm>
            <a:custGeom>
              <a:avLst/>
              <a:gdLst/>
              <a:ahLst/>
              <a:cxnLst>
                <a:cxn ang="0">
                  <a:pos x="1" y="1"/>
                </a:cxn>
                <a:cxn ang="0">
                  <a:pos x="0" y="0"/>
                </a:cxn>
                <a:cxn ang="0">
                  <a:pos x="1" y="1"/>
                </a:cxn>
                <a:cxn ang="0">
                  <a:pos x="1" y="1"/>
                </a:cxn>
                <a:cxn ang="0">
                  <a:pos x="1" y="0"/>
                </a:cxn>
                <a:cxn ang="0">
                  <a:pos x="3" y="0"/>
                </a:cxn>
                <a:cxn ang="0">
                  <a:pos x="3" y="1"/>
                </a:cxn>
                <a:cxn ang="0">
                  <a:pos x="3" y="3"/>
                </a:cxn>
                <a:cxn ang="0">
                  <a:pos x="3" y="4"/>
                </a:cxn>
                <a:cxn ang="0">
                  <a:pos x="3" y="5"/>
                </a:cxn>
                <a:cxn ang="0">
                  <a:pos x="1" y="5"/>
                </a:cxn>
                <a:cxn ang="0">
                  <a:pos x="0" y="5"/>
                </a:cxn>
                <a:cxn ang="0">
                  <a:pos x="0" y="0"/>
                </a:cxn>
                <a:cxn ang="0">
                  <a:pos x="0" y="0"/>
                </a:cxn>
                <a:cxn ang="0">
                  <a:pos x="0" y="1"/>
                </a:cxn>
                <a:cxn ang="0">
                  <a:pos x="1" y="3"/>
                </a:cxn>
                <a:cxn ang="0">
                  <a:pos x="1" y="1"/>
                </a:cxn>
              </a:cxnLst>
              <a:rect l="0" t="0" r="r" b="b"/>
              <a:pathLst>
                <a:path w="3" h="5">
                  <a:moveTo>
                    <a:pt x="1" y="1"/>
                  </a:moveTo>
                  <a:lnTo>
                    <a:pt x="0" y="0"/>
                  </a:lnTo>
                  <a:lnTo>
                    <a:pt x="1" y="1"/>
                  </a:lnTo>
                  <a:lnTo>
                    <a:pt x="1" y="1"/>
                  </a:lnTo>
                  <a:lnTo>
                    <a:pt x="1" y="0"/>
                  </a:lnTo>
                  <a:lnTo>
                    <a:pt x="3" y="0"/>
                  </a:lnTo>
                  <a:lnTo>
                    <a:pt x="3" y="1"/>
                  </a:lnTo>
                  <a:lnTo>
                    <a:pt x="3" y="3"/>
                  </a:lnTo>
                  <a:lnTo>
                    <a:pt x="3" y="4"/>
                  </a:lnTo>
                  <a:lnTo>
                    <a:pt x="3" y="5"/>
                  </a:lnTo>
                  <a:lnTo>
                    <a:pt x="1" y="5"/>
                  </a:lnTo>
                  <a:lnTo>
                    <a:pt x="0" y="5"/>
                  </a:lnTo>
                  <a:lnTo>
                    <a:pt x="0" y="0"/>
                  </a:lnTo>
                  <a:lnTo>
                    <a:pt x="0" y="0"/>
                  </a:lnTo>
                  <a:lnTo>
                    <a:pt x="0" y="1"/>
                  </a:lnTo>
                  <a:lnTo>
                    <a:pt x="1" y="3"/>
                  </a:lnTo>
                  <a:lnTo>
                    <a:pt x="1"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31" name="Freeform 1546"/>
            <p:cNvSpPr>
              <a:spLocks/>
            </p:cNvSpPr>
            <p:nvPr/>
          </p:nvSpPr>
          <p:spPr bwMode="auto">
            <a:xfrm>
              <a:off x="4049993" y="2262521"/>
              <a:ext cx="2633" cy="9127"/>
            </a:xfrm>
            <a:custGeom>
              <a:avLst/>
              <a:gdLst/>
              <a:ahLst/>
              <a:cxnLst>
                <a:cxn ang="0">
                  <a:pos x="0" y="0"/>
                </a:cxn>
                <a:cxn ang="0">
                  <a:pos x="0" y="2"/>
                </a:cxn>
                <a:cxn ang="0">
                  <a:pos x="0" y="0"/>
                </a:cxn>
                <a:cxn ang="0">
                  <a:pos x="1" y="0"/>
                </a:cxn>
                <a:cxn ang="0">
                  <a:pos x="3" y="2"/>
                </a:cxn>
                <a:cxn ang="0">
                  <a:pos x="3" y="3"/>
                </a:cxn>
                <a:cxn ang="0">
                  <a:pos x="3" y="3"/>
                </a:cxn>
                <a:cxn ang="0">
                  <a:pos x="1" y="9"/>
                </a:cxn>
                <a:cxn ang="0">
                  <a:pos x="1" y="8"/>
                </a:cxn>
                <a:cxn ang="0">
                  <a:pos x="1" y="2"/>
                </a:cxn>
                <a:cxn ang="0">
                  <a:pos x="0" y="2"/>
                </a:cxn>
                <a:cxn ang="0">
                  <a:pos x="0" y="0"/>
                </a:cxn>
              </a:cxnLst>
              <a:rect l="0" t="0" r="r" b="b"/>
              <a:pathLst>
                <a:path w="3" h="9">
                  <a:moveTo>
                    <a:pt x="0" y="0"/>
                  </a:moveTo>
                  <a:lnTo>
                    <a:pt x="0" y="2"/>
                  </a:lnTo>
                  <a:lnTo>
                    <a:pt x="0" y="0"/>
                  </a:lnTo>
                  <a:lnTo>
                    <a:pt x="1" y="0"/>
                  </a:lnTo>
                  <a:lnTo>
                    <a:pt x="3" y="2"/>
                  </a:lnTo>
                  <a:lnTo>
                    <a:pt x="3" y="3"/>
                  </a:lnTo>
                  <a:lnTo>
                    <a:pt x="3" y="3"/>
                  </a:lnTo>
                  <a:lnTo>
                    <a:pt x="1" y="9"/>
                  </a:lnTo>
                  <a:lnTo>
                    <a:pt x="1" y="8"/>
                  </a:lnTo>
                  <a:lnTo>
                    <a:pt x="1" y="2"/>
                  </a:lnTo>
                  <a:lnTo>
                    <a:pt x="0" y="2"/>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32" name="Freeform 1547"/>
            <p:cNvSpPr>
              <a:spLocks/>
            </p:cNvSpPr>
            <p:nvPr/>
          </p:nvSpPr>
          <p:spPr bwMode="auto">
            <a:xfrm>
              <a:off x="4049993" y="2262521"/>
              <a:ext cx="2633" cy="9127"/>
            </a:xfrm>
            <a:custGeom>
              <a:avLst/>
              <a:gdLst/>
              <a:ahLst/>
              <a:cxnLst>
                <a:cxn ang="0">
                  <a:pos x="0" y="0"/>
                </a:cxn>
                <a:cxn ang="0">
                  <a:pos x="0" y="2"/>
                </a:cxn>
                <a:cxn ang="0">
                  <a:pos x="0" y="0"/>
                </a:cxn>
                <a:cxn ang="0">
                  <a:pos x="1" y="0"/>
                </a:cxn>
                <a:cxn ang="0">
                  <a:pos x="3" y="2"/>
                </a:cxn>
                <a:cxn ang="0">
                  <a:pos x="3" y="3"/>
                </a:cxn>
                <a:cxn ang="0">
                  <a:pos x="3" y="3"/>
                </a:cxn>
                <a:cxn ang="0">
                  <a:pos x="1" y="9"/>
                </a:cxn>
                <a:cxn ang="0">
                  <a:pos x="1" y="8"/>
                </a:cxn>
                <a:cxn ang="0">
                  <a:pos x="1" y="2"/>
                </a:cxn>
                <a:cxn ang="0">
                  <a:pos x="0" y="2"/>
                </a:cxn>
                <a:cxn ang="0">
                  <a:pos x="0" y="0"/>
                </a:cxn>
              </a:cxnLst>
              <a:rect l="0" t="0" r="r" b="b"/>
              <a:pathLst>
                <a:path w="3" h="9">
                  <a:moveTo>
                    <a:pt x="0" y="0"/>
                  </a:moveTo>
                  <a:lnTo>
                    <a:pt x="0" y="2"/>
                  </a:lnTo>
                  <a:lnTo>
                    <a:pt x="0" y="0"/>
                  </a:lnTo>
                  <a:lnTo>
                    <a:pt x="1" y="0"/>
                  </a:lnTo>
                  <a:lnTo>
                    <a:pt x="3" y="2"/>
                  </a:lnTo>
                  <a:lnTo>
                    <a:pt x="3" y="3"/>
                  </a:lnTo>
                  <a:lnTo>
                    <a:pt x="3" y="3"/>
                  </a:lnTo>
                  <a:lnTo>
                    <a:pt x="1" y="9"/>
                  </a:lnTo>
                  <a:lnTo>
                    <a:pt x="1" y="8"/>
                  </a:lnTo>
                  <a:lnTo>
                    <a:pt x="1" y="2"/>
                  </a:lnTo>
                  <a:lnTo>
                    <a:pt x="0" y="2"/>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33" name="Freeform 1548"/>
            <p:cNvSpPr>
              <a:spLocks/>
            </p:cNvSpPr>
            <p:nvPr/>
          </p:nvSpPr>
          <p:spPr bwMode="auto">
            <a:xfrm>
              <a:off x="4100028" y="2257450"/>
              <a:ext cx="1756" cy="4057"/>
            </a:xfrm>
            <a:custGeom>
              <a:avLst/>
              <a:gdLst/>
              <a:ahLst/>
              <a:cxnLst>
                <a:cxn ang="0">
                  <a:pos x="0" y="0"/>
                </a:cxn>
                <a:cxn ang="0">
                  <a:pos x="2" y="0"/>
                </a:cxn>
                <a:cxn ang="0">
                  <a:pos x="2" y="0"/>
                </a:cxn>
                <a:cxn ang="0">
                  <a:pos x="2" y="1"/>
                </a:cxn>
                <a:cxn ang="0">
                  <a:pos x="0" y="4"/>
                </a:cxn>
                <a:cxn ang="0">
                  <a:pos x="0" y="4"/>
                </a:cxn>
                <a:cxn ang="0">
                  <a:pos x="0" y="0"/>
                </a:cxn>
              </a:cxnLst>
              <a:rect l="0" t="0" r="r" b="b"/>
              <a:pathLst>
                <a:path w="2" h="4">
                  <a:moveTo>
                    <a:pt x="0" y="0"/>
                  </a:moveTo>
                  <a:lnTo>
                    <a:pt x="2" y="0"/>
                  </a:lnTo>
                  <a:lnTo>
                    <a:pt x="2" y="0"/>
                  </a:lnTo>
                  <a:lnTo>
                    <a:pt x="2" y="1"/>
                  </a:lnTo>
                  <a:lnTo>
                    <a:pt x="0" y="4"/>
                  </a:lnTo>
                  <a:lnTo>
                    <a:pt x="0" y="4"/>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34" name="Freeform 1549"/>
            <p:cNvSpPr>
              <a:spLocks/>
            </p:cNvSpPr>
            <p:nvPr/>
          </p:nvSpPr>
          <p:spPr bwMode="auto">
            <a:xfrm>
              <a:off x="4100028" y="2257450"/>
              <a:ext cx="1756" cy="4057"/>
            </a:xfrm>
            <a:custGeom>
              <a:avLst/>
              <a:gdLst/>
              <a:ahLst/>
              <a:cxnLst>
                <a:cxn ang="0">
                  <a:pos x="0" y="0"/>
                </a:cxn>
                <a:cxn ang="0">
                  <a:pos x="2" y="0"/>
                </a:cxn>
                <a:cxn ang="0">
                  <a:pos x="2" y="0"/>
                </a:cxn>
                <a:cxn ang="0">
                  <a:pos x="2" y="1"/>
                </a:cxn>
                <a:cxn ang="0">
                  <a:pos x="0" y="4"/>
                </a:cxn>
                <a:cxn ang="0">
                  <a:pos x="0" y="4"/>
                </a:cxn>
                <a:cxn ang="0">
                  <a:pos x="0" y="0"/>
                </a:cxn>
              </a:cxnLst>
              <a:rect l="0" t="0" r="r" b="b"/>
              <a:pathLst>
                <a:path w="2" h="4">
                  <a:moveTo>
                    <a:pt x="0" y="0"/>
                  </a:moveTo>
                  <a:lnTo>
                    <a:pt x="2" y="0"/>
                  </a:lnTo>
                  <a:lnTo>
                    <a:pt x="2" y="0"/>
                  </a:lnTo>
                  <a:lnTo>
                    <a:pt x="2" y="1"/>
                  </a:lnTo>
                  <a:lnTo>
                    <a:pt x="0" y="4"/>
                  </a:lnTo>
                  <a:lnTo>
                    <a:pt x="0" y="4"/>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35" name="Freeform 1550"/>
            <p:cNvSpPr>
              <a:spLocks/>
            </p:cNvSpPr>
            <p:nvPr/>
          </p:nvSpPr>
          <p:spPr bwMode="auto">
            <a:xfrm>
              <a:off x="4105294" y="2255423"/>
              <a:ext cx="878" cy="3043"/>
            </a:xfrm>
            <a:custGeom>
              <a:avLst/>
              <a:gdLst/>
              <a:ahLst/>
              <a:cxnLst>
                <a:cxn ang="0">
                  <a:pos x="1" y="3"/>
                </a:cxn>
                <a:cxn ang="0">
                  <a:pos x="0" y="2"/>
                </a:cxn>
                <a:cxn ang="0">
                  <a:pos x="0" y="2"/>
                </a:cxn>
                <a:cxn ang="0">
                  <a:pos x="1" y="0"/>
                </a:cxn>
                <a:cxn ang="0">
                  <a:pos x="1" y="0"/>
                </a:cxn>
                <a:cxn ang="0">
                  <a:pos x="1" y="2"/>
                </a:cxn>
                <a:cxn ang="0">
                  <a:pos x="1" y="3"/>
                </a:cxn>
              </a:cxnLst>
              <a:rect l="0" t="0" r="r" b="b"/>
              <a:pathLst>
                <a:path w="1" h="3">
                  <a:moveTo>
                    <a:pt x="1" y="3"/>
                  </a:moveTo>
                  <a:lnTo>
                    <a:pt x="0" y="2"/>
                  </a:lnTo>
                  <a:lnTo>
                    <a:pt x="0" y="2"/>
                  </a:lnTo>
                  <a:lnTo>
                    <a:pt x="1" y="0"/>
                  </a:lnTo>
                  <a:lnTo>
                    <a:pt x="1" y="0"/>
                  </a:lnTo>
                  <a:lnTo>
                    <a:pt x="1" y="2"/>
                  </a:lnTo>
                  <a:lnTo>
                    <a:pt x="1"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36" name="Freeform 1551"/>
            <p:cNvSpPr>
              <a:spLocks/>
            </p:cNvSpPr>
            <p:nvPr/>
          </p:nvSpPr>
          <p:spPr bwMode="auto">
            <a:xfrm>
              <a:off x="4105294" y="2255423"/>
              <a:ext cx="878" cy="3043"/>
            </a:xfrm>
            <a:custGeom>
              <a:avLst/>
              <a:gdLst/>
              <a:ahLst/>
              <a:cxnLst>
                <a:cxn ang="0">
                  <a:pos x="1" y="3"/>
                </a:cxn>
                <a:cxn ang="0">
                  <a:pos x="0" y="2"/>
                </a:cxn>
                <a:cxn ang="0">
                  <a:pos x="0" y="2"/>
                </a:cxn>
                <a:cxn ang="0">
                  <a:pos x="1" y="0"/>
                </a:cxn>
                <a:cxn ang="0">
                  <a:pos x="1" y="0"/>
                </a:cxn>
                <a:cxn ang="0">
                  <a:pos x="1" y="2"/>
                </a:cxn>
                <a:cxn ang="0">
                  <a:pos x="1" y="3"/>
                </a:cxn>
              </a:cxnLst>
              <a:rect l="0" t="0" r="r" b="b"/>
              <a:pathLst>
                <a:path w="1" h="3">
                  <a:moveTo>
                    <a:pt x="1" y="3"/>
                  </a:moveTo>
                  <a:lnTo>
                    <a:pt x="0" y="2"/>
                  </a:lnTo>
                  <a:lnTo>
                    <a:pt x="0" y="2"/>
                  </a:lnTo>
                  <a:lnTo>
                    <a:pt x="1" y="0"/>
                  </a:lnTo>
                  <a:lnTo>
                    <a:pt x="1" y="0"/>
                  </a:lnTo>
                  <a:lnTo>
                    <a:pt x="1" y="2"/>
                  </a:lnTo>
                  <a:lnTo>
                    <a:pt x="1"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37" name="Freeform 1552"/>
            <p:cNvSpPr>
              <a:spLocks/>
            </p:cNvSpPr>
            <p:nvPr/>
          </p:nvSpPr>
          <p:spPr bwMode="auto">
            <a:xfrm>
              <a:off x="4117584" y="2241223"/>
              <a:ext cx="5267" cy="4057"/>
            </a:xfrm>
            <a:custGeom>
              <a:avLst/>
              <a:gdLst/>
              <a:ahLst/>
              <a:cxnLst>
                <a:cxn ang="0">
                  <a:pos x="3" y="1"/>
                </a:cxn>
                <a:cxn ang="0">
                  <a:pos x="1" y="4"/>
                </a:cxn>
                <a:cxn ang="0">
                  <a:pos x="0" y="1"/>
                </a:cxn>
                <a:cxn ang="0">
                  <a:pos x="1" y="0"/>
                </a:cxn>
                <a:cxn ang="0">
                  <a:pos x="1" y="0"/>
                </a:cxn>
                <a:cxn ang="0">
                  <a:pos x="3" y="0"/>
                </a:cxn>
                <a:cxn ang="0">
                  <a:pos x="6" y="0"/>
                </a:cxn>
                <a:cxn ang="0">
                  <a:pos x="6" y="0"/>
                </a:cxn>
                <a:cxn ang="0">
                  <a:pos x="3" y="1"/>
                </a:cxn>
              </a:cxnLst>
              <a:rect l="0" t="0" r="r" b="b"/>
              <a:pathLst>
                <a:path w="6" h="4">
                  <a:moveTo>
                    <a:pt x="3" y="1"/>
                  </a:moveTo>
                  <a:lnTo>
                    <a:pt x="1" y="4"/>
                  </a:lnTo>
                  <a:lnTo>
                    <a:pt x="0" y="1"/>
                  </a:lnTo>
                  <a:lnTo>
                    <a:pt x="1" y="0"/>
                  </a:lnTo>
                  <a:lnTo>
                    <a:pt x="1" y="0"/>
                  </a:lnTo>
                  <a:lnTo>
                    <a:pt x="3" y="0"/>
                  </a:lnTo>
                  <a:lnTo>
                    <a:pt x="6" y="0"/>
                  </a:lnTo>
                  <a:lnTo>
                    <a:pt x="6" y="0"/>
                  </a:lnTo>
                  <a:lnTo>
                    <a:pt x="3"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38" name="Freeform 1553"/>
            <p:cNvSpPr>
              <a:spLocks/>
            </p:cNvSpPr>
            <p:nvPr/>
          </p:nvSpPr>
          <p:spPr bwMode="auto">
            <a:xfrm>
              <a:off x="4117584" y="2241223"/>
              <a:ext cx="5267" cy="4057"/>
            </a:xfrm>
            <a:custGeom>
              <a:avLst/>
              <a:gdLst/>
              <a:ahLst/>
              <a:cxnLst>
                <a:cxn ang="0">
                  <a:pos x="3" y="1"/>
                </a:cxn>
                <a:cxn ang="0">
                  <a:pos x="1" y="4"/>
                </a:cxn>
                <a:cxn ang="0">
                  <a:pos x="0" y="1"/>
                </a:cxn>
                <a:cxn ang="0">
                  <a:pos x="1" y="0"/>
                </a:cxn>
                <a:cxn ang="0">
                  <a:pos x="1" y="0"/>
                </a:cxn>
                <a:cxn ang="0">
                  <a:pos x="3" y="0"/>
                </a:cxn>
                <a:cxn ang="0">
                  <a:pos x="6" y="0"/>
                </a:cxn>
                <a:cxn ang="0">
                  <a:pos x="6" y="0"/>
                </a:cxn>
                <a:cxn ang="0">
                  <a:pos x="3" y="1"/>
                </a:cxn>
              </a:cxnLst>
              <a:rect l="0" t="0" r="r" b="b"/>
              <a:pathLst>
                <a:path w="6" h="4">
                  <a:moveTo>
                    <a:pt x="3" y="1"/>
                  </a:moveTo>
                  <a:lnTo>
                    <a:pt x="1" y="4"/>
                  </a:lnTo>
                  <a:lnTo>
                    <a:pt x="0" y="1"/>
                  </a:lnTo>
                  <a:lnTo>
                    <a:pt x="1" y="0"/>
                  </a:lnTo>
                  <a:lnTo>
                    <a:pt x="1" y="0"/>
                  </a:lnTo>
                  <a:lnTo>
                    <a:pt x="3" y="0"/>
                  </a:lnTo>
                  <a:lnTo>
                    <a:pt x="6" y="0"/>
                  </a:lnTo>
                  <a:lnTo>
                    <a:pt x="6" y="0"/>
                  </a:lnTo>
                  <a:lnTo>
                    <a:pt x="3"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39" name="Freeform 1554"/>
            <p:cNvSpPr>
              <a:spLocks/>
            </p:cNvSpPr>
            <p:nvPr/>
          </p:nvSpPr>
          <p:spPr bwMode="auto">
            <a:xfrm>
              <a:off x="4097395" y="2218913"/>
              <a:ext cx="35112" cy="32452"/>
            </a:xfrm>
            <a:custGeom>
              <a:avLst/>
              <a:gdLst/>
              <a:ahLst/>
              <a:cxnLst>
                <a:cxn ang="0">
                  <a:pos x="0" y="16"/>
                </a:cxn>
                <a:cxn ang="0">
                  <a:pos x="3" y="15"/>
                </a:cxn>
                <a:cxn ang="0">
                  <a:pos x="6" y="9"/>
                </a:cxn>
                <a:cxn ang="0">
                  <a:pos x="9" y="9"/>
                </a:cxn>
                <a:cxn ang="0">
                  <a:pos x="12" y="10"/>
                </a:cxn>
                <a:cxn ang="0">
                  <a:pos x="13" y="15"/>
                </a:cxn>
                <a:cxn ang="0">
                  <a:pos x="16" y="12"/>
                </a:cxn>
                <a:cxn ang="0">
                  <a:pos x="16" y="9"/>
                </a:cxn>
                <a:cxn ang="0">
                  <a:pos x="13" y="5"/>
                </a:cxn>
                <a:cxn ang="0">
                  <a:pos x="15" y="2"/>
                </a:cxn>
                <a:cxn ang="0">
                  <a:pos x="18" y="5"/>
                </a:cxn>
                <a:cxn ang="0">
                  <a:pos x="19" y="8"/>
                </a:cxn>
                <a:cxn ang="0">
                  <a:pos x="22" y="3"/>
                </a:cxn>
                <a:cxn ang="0">
                  <a:pos x="25" y="3"/>
                </a:cxn>
                <a:cxn ang="0">
                  <a:pos x="23" y="0"/>
                </a:cxn>
                <a:cxn ang="0">
                  <a:pos x="26" y="0"/>
                </a:cxn>
                <a:cxn ang="0">
                  <a:pos x="28" y="5"/>
                </a:cxn>
                <a:cxn ang="0">
                  <a:pos x="31" y="2"/>
                </a:cxn>
                <a:cxn ang="0">
                  <a:pos x="34" y="3"/>
                </a:cxn>
                <a:cxn ang="0">
                  <a:pos x="34" y="6"/>
                </a:cxn>
                <a:cxn ang="0">
                  <a:pos x="34" y="8"/>
                </a:cxn>
                <a:cxn ang="0">
                  <a:pos x="38" y="9"/>
                </a:cxn>
                <a:cxn ang="0">
                  <a:pos x="35" y="13"/>
                </a:cxn>
                <a:cxn ang="0">
                  <a:pos x="28" y="12"/>
                </a:cxn>
                <a:cxn ang="0">
                  <a:pos x="32" y="15"/>
                </a:cxn>
                <a:cxn ang="0">
                  <a:pos x="32" y="18"/>
                </a:cxn>
                <a:cxn ang="0">
                  <a:pos x="29" y="15"/>
                </a:cxn>
                <a:cxn ang="0">
                  <a:pos x="28" y="16"/>
                </a:cxn>
                <a:cxn ang="0">
                  <a:pos x="25" y="18"/>
                </a:cxn>
                <a:cxn ang="0">
                  <a:pos x="25" y="18"/>
                </a:cxn>
                <a:cxn ang="0">
                  <a:pos x="20" y="23"/>
                </a:cxn>
                <a:cxn ang="0">
                  <a:pos x="18" y="23"/>
                </a:cxn>
                <a:cxn ang="0">
                  <a:pos x="18" y="28"/>
                </a:cxn>
                <a:cxn ang="0">
                  <a:pos x="12" y="31"/>
                </a:cxn>
                <a:cxn ang="0">
                  <a:pos x="15" y="25"/>
                </a:cxn>
                <a:cxn ang="0">
                  <a:pos x="12" y="23"/>
                </a:cxn>
                <a:cxn ang="0">
                  <a:pos x="10" y="21"/>
                </a:cxn>
                <a:cxn ang="0">
                  <a:pos x="7" y="22"/>
                </a:cxn>
                <a:cxn ang="0">
                  <a:pos x="10" y="22"/>
                </a:cxn>
                <a:cxn ang="0">
                  <a:pos x="9" y="28"/>
                </a:cxn>
                <a:cxn ang="0">
                  <a:pos x="5" y="19"/>
                </a:cxn>
                <a:cxn ang="0">
                  <a:pos x="2" y="16"/>
                </a:cxn>
              </a:cxnLst>
              <a:rect l="0" t="0" r="r" b="b"/>
              <a:pathLst>
                <a:path w="38" h="31">
                  <a:moveTo>
                    <a:pt x="2" y="16"/>
                  </a:moveTo>
                  <a:lnTo>
                    <a:pt x="0" y="16"/>
                  </a:lnTo>
                  <a:lnTo>
                    <a:pt x="0" y="15"/>
                  </a:lnTo>
                  <a:lnTo>
                    <a:pt x="3" y="15"/>
                  </a:lnTo>
                  <a:lnTo>
                    <a:pt x="3" y="13"/>
                  </a:lnTo>
                  <a:lnTo>
                    <a:pt x="6" y="9"/>
                  </a:lnTo>
                  <a:lnTo>
                    <a:pt x="7" y="9"/>
                  </a:lnTo>
                  <a:lnTo>
                    <a:pt x="9" y="9"/>
                  </a:lnTo>
                  <a:lnTo>
                    <a:pt x="12" y="9"/>
                  </a:lnTo>
                  <a:lnTo>
                    <a:pt x="12" y="10"/>
                  </a:lnTo>
                  <a:lnTo>
                    <a:pt x="12" y="10"/>
                  </a:lnTo>
                  <a:lnTo>
                    <a:pt x="13" y="15"/>
                  </a:lnTo>
                  <a:lnTo>
                    <a:pt x="16" y="15"/>
                  </a:lnTo>
                  <a:lnTo>
                    <a:pt x="16" y="12"/>
                  </a:lnTo>
                  <a:lnTo>
                    <a:pt x="16" y="10"/>
                  </a:lnTo>
                  <a:lnTo>
                    <a:pt x="16" y="9"/>
                  </a:lnTo>
                  <a:lnTo>
                    <a:pt x="18" y="9"/>
                  </a:lnTo>
                  <a:lnTo>
                    <a:pt x="13" y="5"/>
                  </a:lnTo>
                  <a:lnTo>
                    <a:pt x="13" y="3"/>
                  </a:lnTo>
                  <a:lnTo>
                    <a:pt x="15" y="2"/>
                  </a:lnTo>
                  <a:lnTo>
                    <a:pt x="16" y="2"/>
                  </a:lnTo>
                  <a:lnTo>
                    <a:pt x="18" y="5"/>
                  </a:lnTo>
                  <a:lnTo>
                    <a:pt x="18" y="8"/>
                  </a:lnTo>
                  <a:lnTo>
                    <a:pt x="19" y="8"/>
                  </a:lnTo>
                  <a:lnTo>
                    <a:pt x="20" y="5"/>
                  </a:lnTo>
                  <a:lnTo>
                    <a:pt x="22" y="3"/>
                  </a:lnTo>
                  <a:lnTo>
                    <a:pt x="23" y="5"/>
                  </a:lnTo>
                  <a:lnTo>
                    <a:pt x="25" y="3"/>
                  </a:lnTo>
                  <a:lnTo>
                    <a:pt x="25" y="2"/>
                  </a:lnTo>
                  <a:lnTo>
                    <a:pt x="23" y="0"/>
                  </a:lnTo>
                  <a:lnTo>
                    <a:pt x="25" y="2"/>
                  </a:lnTo>
                  <a:lnTo>
                    <a:pt x="26" y="0"/>
                  </a:lnTo>
                  <a:lnTo>
                    <a:pt x="28" y="2"/>
                  </a:lnTo>
                  <a:lnTo>
                    <a:pt x="28" y="5"/>
                  </a:lnTo>
                  <a:lnTo>
                    <a:pt x="29" y="6"/>
                  </a:lnTo>
                  <a:lnTo>
                    <a:pt x="31" y="2"/>
                  </a:lnTo>
                  <a:lnTo>
                    <a:pt x="34" y="2"/>
                  </a:lnTo>
                  <a:lnTo>
                    <a:pt x="34" y="3"/>
                  </a:lnTo>
                  <a:lnTo>
                    <a:pt x="34" y="6"/>
                  </a:lnTo>
                  <a:lnTo>
                    <a:pt x="34" y="6"/>
                  </a:lnTo>
                  <a:lnTo>
                    <a:pt x="34" y="8"/>
                  </a:lnTo>
                  <a:lnTo>
                    <a:pt x="34" y="8"/>
                  </a:lnTo>
                  <a:lnTo>
                    <a:pt x="34" y="9"/>
                  </a:lnTo>
                  <a:lnTo>
                    <a:pt x="38" y="9"/>
                  </a:lnTo>
                  <a:lnTo>
                    <a:pt x="36" y="13"/>
                  </a:lnTo>
                  <a:lnTo>
                    <a:pt x="35" y="13"/>
                  </a:lnTo>
                  <a:lnTo>
                    <a:pt x="29" y="10"/>
                  </a:lnTo>
                  <a:lnTo>
                    <a:pt x="28" y="12"/>
                  </a:lnTo>
                  <a:lnTo>
                    <a:pt x="28" y="13"/>
                  </a:lnTo>
                  <a:lnTo>
                    <a:pt x="32" y="15"/>
                  </a:lnTo>
                  <a:lnTo>
                    <a:pt x="32" y="15"/>
                  </a:lnTo>
                  <a:lnTo>
                    <a:pt x="32" y="18"/>
                  </a:lnTo>
                  <a:lnTo>
                    <a:pt x="29" y="18"/>
                  </a:lnTo>
                  <a:lnTo>
                    <a:pt x="29" y="15"/>
                  </a:lnTo>
                  <a:lnTo>
                    <a:pt x="29" y="15"/>
                  </a:lnTo>
                  <a:lnTo>
                    <a:pt x="28" y="16"/>
                  </a:lnTo>
                  <a:lnTo>
                    <a:pt x="25" y="18"/>
                  </a:lnTo>
                  <a:lnTo>
                    <a:pt x="25" y="18"/>
                  </a:lnTo>
                  <a:lnTo>
                    <a:pt x="26" y="19"/>
                  </a:lnTo>
                  <a:lnTo>
                    <a:pt x="25" y="18"/>
                  </a:lnTo>
                  <a:lnTo>
                    <a:pt x="22" y="19"/>
                  </a:lnTo>
                  <a:lnTo>
                    <a:pt x="20" y="23"/>
                  </a:lnTo>
                  <a:lnTo>
                    <a:pt x="18" y="23"/>
                  </a:lnTo>
                  <a:lnTo>
                    <a:pt x="18" y="23"/>
                  </a:lnTo>
                  <a:lnTo>
                    <a:pt x="18" y="25"/>
                  </a:lnTo>
                  <a:lnTo>
                    <a:pt x="18" y="28"/>
                  </a:lnTo>
                  <a:lnTo>
                    <a:pt x="18" y="29"/>
                  </a:lnTo>
                  <a:lnTo>
                    <a:pt x="12" y="31"/>
                  </a:lnTo>
                  <a:lnTo>
                    <a:pt x="15" y="26"/>
                  </a:lnTo>
                  <a:lnTo>
                    <a:pt x="15" y="25"/>
                  </a:lnTo>
                  <a:lnTo>
                    <a:pt x="12" y="25"/>
                  </a:lnTo>
                  <a:lnTo>
                    <a:pt x="12" y="23"/>
                  </a:lnTo>
                  <a:lnTo>
                    <a:pt x="12" y="22"/>
                  </a:lnTo>
                  <a:lnTo>
                    <a:pt x="10" y="21"/>
                  </a:lnTo>
                  <a:lnTo>
                    <a:pt x="9" y="21"/>
                  </a:lnTo>
                  <a:lnTo>
                    <a:pt x="7" y="22"/>
                  </a:lnTo>
                  <a:lnTo>
                    <a:pt x="9" y="22"/>
                  </a:lnTo>
                  <a:lnTo>
                    <a:pt x="10" y="22"/>
                  </a:lnTo>
                  <a:lnTo>
                    <a:pt x="10" y="28"/>
                  </a:lnTo>
                  <a:lnTo>
                    <a:pt x="9" y="28"/>
                  </a:lnTo>
                  <a:lnTo>
                    <a:pt x="6" y="26"/>
                  </a:lnTo>
                  <a:lnTo>
                    <a:pt x="5" y="19"/>
                  </a:lnTo>
                  <a:lnTo>
                    <a:pt x="3" y="18"/>
                  </a:lnTo>
                  <a:lnTo>
                    <a:pt x="2" y="1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40" name="Freeform 1555"/>
            <p:cNvSpPr>
              <a:spLocks/>
            </p:cNvSpPr>
            <p:nvPr/>
          </p:nvSpPr>
          <p:spPr bwMode="auto">
            <a:xfrm>
              <a:off x="4097395" y="2218913"/>
              <a:ext cx="35112" cy="32452"/>
            </a:xfrm>
            <a:custGeom>
              <a:avLst/>
              <a:gdLst/>
              <a:ahLst/>
              <a:cxnLst>
                <a:cxn ang="0">
                  <a:pos x="0" y="16"/>
                </a:cxn>
                <a:cxn ang="0">
                  <a:pos x="3" y="15"/>
                </a:cxn>
                <a:cxn ang="0">
                  <a:pos x="6" y="9"/>
                </a:cxn>
                <a:cxn ang="0">
                  <a:pos x="9" y="9"/>
                </a:cxn>
                <a:cxn ang="0">
                  <a:pos x="12" y="10"/>
                </a:cxn>
                <a:cxn ang="0">
                  <a:pos x="13" y="15"/>
                </a:cxn>
                <a:cxn ang="0">
                  <a:pos x="16" y="12"/>
                </a:cxn>
                <a:cxn ang="0">
                  <a:pos x="16" y="9"/>
                </a:cxn>
                <a:cxn ang="0">
                  <a:pos x="13" y="5"/>
                </a:cxn>
                <a:cxn ang="0">
                  <a:pos x="15" y="2"/>
                </a:cxn>
                <a:cxn ang="0">
                  <a:pos x="18" y="5"/>
                </a:cxn>
                <a:cxn ang="0">
                  <a:pos x="19" y="8"/>
                </a:cxn>
                <a:cxn ang="0">
                  <a:pos x="22" y="3"/>
                </a:cxn>
                <a:cxn ang="0">
                  <a:pos x="25" y="3"/>
                </a:cxn>
                <a:cxn ang="0">
                  <a:pos x="23" y="0"/>
                </a:cxn>
                <a:cxn ang="0">
                  <a:pos x="26" y="0"/>
                </a:cxn>
                <a:cxn ang="0">
                  <a:pos x="28" y="5"/>
                </a:cxn>
                <a:cxn ang="0">
                  <a:pos x="31" y="2"/>
                </a:cxn>
                <a:cxn ang="0">
                  <a:pos x="34" y="3"/>
                </a:cxn>
                <a:cxn ang="0">
                  <a:pos x="34" y="6"/>
                </a:cxn>
                <a:cxn ang="0">
                  <a:pos x="34" y="8"/>
                </a:cxn>
                <a:cxn ang="0">
                  <a:pos x="38" y="9"/>
                </a:cxn>
                <a:cxn ang="0">
                  <a:pos x="35" y="13"/>
                </a:cxn>
                <a:cxn ang="0">
                  <a:pos x="28" y="12"/>
                </a:cxn>
                <a:cxn ang="0">
                  <a:pos x="32" y="15"/>
                </a:cxn>
                <a:cxn ang="0">
                  <a:pos x="32" y="18"/>
                </a:cxn>
                <a:cxn ang="0">
                  <a:pos x="29" y="15"/>
                </a:cxn>
                <a:cxn ang="0">
                  <a:pos x="28" y="16"/>
                </a:cxn>
                <a:cxn ang="0">
                  <a:pos x="25" y="18"/>
                </a:cxn>
                <a:cxn ang="0">
                  <a:pos x="25" y="18"/>
                </a:cxn>
                <a:cxn ang="0">
                  <a:pos x="20" y="23"/>
                </a:cxn>
                <a:cxn ang="0">
                  <a:pos x="18" y="23"/>
                </a:cxn>
                <a:cxn ang="0">
                  <a:pos x="18" y="28"/>
                </a:cxn>
                <a:cxn ang="0">
                  <a:pos x="12" y="31"/>
                </a:cxn>
                <a:cxn ang="0">
                  <a:pos x="15" y="25"/>
                </a:cxn>
                <a:cxn ang="0">
                  <a:pos x="12" y="23"/>
                </a:cxn>
                <a:cxn ang="0">
                  <a:pos x="10" y="21"/>
                </a:cxn>
                <a:cxn ang="0">
                  <a:pos x="7" y="22"/>
                </a:cxn>
                <a:cxn ang="0">
                  <a:pos x="10" y="22"/>
                </a:cxn>
                <a:cxn ang="0">
                  <a:pos x="9" y="28"/>
                </a:cxn>
                <a:cxn ang="0">
                  <a:pos x="5" y="19"/>
                </a:cxn>
                <a:cxn ang="0">
                  <a:pos x="2" y="16"/>
                </a:cxn>
              </a:cxnLst>
              <a:rect l="0" t="0" r="r" b="b"/>
              <a:pathLst>
                <a:path w="38" h="31">
                  <a:moveTo>
                    <a:pt x="2" y="16"/>
                  </a:moveTo>
                  <a:lnTo>
                    <a:pt x="0" y="16"/>
                  </a:lnTo>
                  <a:lnTo>
                    <a:pt x="0" y="15"/>
                  </a:lnTo>
                  <a:lnTo>
                    <a:pt x="3" y="15"/>
                  </a:lnTo>
                  <a:lnTo>
                    <a:pt x="3" y="13"/>
                  </a:lnTo>
                  <a:lnTo>
                    <a:pt x="6" y="9"/>
                  </a:lnTo>
                  <a:lnTo>
                    <a:pt x="7" y="9"/>
                  </a:lnTo>
                  <a:lnTo>
                    <a:pt x="9" y="9"/>
                  </a:lnTo>
                  <a:lnTo>
                    <a:pt x="12" y="9"/>
                  </a:lnTo>
                  <a:lnTo>
                    <a:pt x="12" y="10"/>
                  </a:lnTo>
                  <a:lnTo>
                    <a:pt x="12" y="10"/>
                  </a:lnTo>
                  <a:lnTo>
                    <a:pt x="13" y="15"/>
                  </a:lnTo>
                  <a:lnTo>
                    <a:pt x="16" y="15"/>
                  </a:lnTo>
                  <a:lnTo>
                    <a:pt x="16" y="12"/>
                  </a:lnTo>
                  <a:lnTo>
                    <a:pt x="16" y="10"/>
                  </a:lnTo>
                  <a:lnTo>
                    <a:pt x="16" y="9"/>
                  </a:lnTo>
                  <a:lnTo>
                    <a:pt x="18" y="9"/>
                  </a:lnTo>
                  <a:lnTo>
                    <a:pt x="13" y="5"/>
                  </a:lnTo>
                  <a:lnTo>
                    <a:pt x="13" y="3"/>
                  </a:lnTo>
                  <a:lnTo>
                    <a:pt x="15" y="2"/>
                  </a:lnTo>
                  <a:lnTo>
                    <a:pt x="16" y="2"/>
                  </a:lnTo>
                  <a:lnTo>
                    <a:pt x="18" y="5"/>
                  </a:lnTo>
                  <a:lnTo>
                    <a:pt x="18" y="8"/>
                  </a:lnTo>
                  <a:lnTo>
                    <a:pt x="19" y="8"/>
                  </a:lnTo>
                  <a:lnTo>
                    <a:pt x="20" y="5"/>
                  </a:lnTo>
                  <a:lnTo>
                    <a:pt x="22" y="3"/>
                  </a:lnTo>
                  <a:lnTo>
                    <a:pt x="23" y="5"/>
                  </a:lnTo>
                  <a:lnTo>
                    <a:pt x="25" y="3"/>
                  </a:lnTo>
                  <a:lnTo>
                    <a:pt x="25" y="2"/>
                  </a:lnTo>
                  <a:lnTo>
                    <a:pt x="23" y="0"/>
                  </a:lnTo>
                  <a:lnTo>
                    <a:pt x="25" y="2"/>
                  </a:lnTo>
                  <a:lnTo>
                    <a:pt x="26" y="0"/>
                  </a:lnTo>
                  <a:lnTo>
                    <a:pt x="28" y="2"/>
                  </a:lnTo>
                  <a:lnTo>
                    <a:pt x="28" y="5"/>
                  </a:lnTo>
                  <a:lnTo>
                    <a:pt x="29" y="6"/>
                  </a:lnTo>
                  <a:lnTo>
                    <a:pt x="31" y="2"/>
                  </a:lnTo>
                  <a:lnTo>
                    <a:pt x="34" y="2"/>
                  </a:lnTo>
                  <a:lnTo>
                    <a:pt x="34" y="3"/>
                  </a:lnTo>
                  <a:lnTo>
                    <a:pt x="34" y="6"/>
                  </a:lnTo>
                  <a:lnTo>
                    <a:pt x="34" y="6"/>
                  </a:lnTo>
                  <a:lnTo>
                    <a:pt x="34" y="8"/>
                  </a:lnTo>
                  <a:lnTo>
                    <a:pt x="34" y="8"/>
                  </a:lnTo>
                  <a:lnTo>
                    <a:pt x="34" y="9"/>
                  </a:lnTo>
                  <a:lnTo>
                    <a:pt x="38" y="9"/>
                  </a:lnTo>
                  <a:lnTo>
                    <a:pt x="36" y="13"/>
                  </a:lnTo>
                  <a:lnTo>
                    <a:pt x="35" y="13"/>
                  </a:lnTo>
                  <a:lnTo>
                    <a:pt x="29" y="10"/>
                  </a:lnTo>
                  <a:lnTo>
                    <a:pt x="28" y="12"/>
                  </a:lnTo>
                  <a:lnTo>
                    <a:pt x="28" y="13"/>
                  </a:lnTo>
                  <a:lnTo>
                    <a:pt x="32" y="15"/>
                  </a:lnTo>
                  <a:lnTo>
                    <a:pt x="32" y="15"/>
                  </a:lnTo>
                  <a:lnTo>
                    <a:pt x="32" y="18"/>
                  </a:lnTo>
                  <a:lnTo>
                    <a:pt x="29" y="18"/>
                  </a:lnTo>
                  <a:lnTo>
                    <a:pt x="29" y="15"/>
                  </a:lnTo>
                  <a:lnTo>
                    <a:pt x="29" y="15"/>
                  </a:lnTo>
                  <a:lnTo>
                    <a:pt x="28" y="16"/>
                  </a:lnTo>
                  <a:lnTo>
                    <a:pt x="25" y="18"/>
                  </a:lnTo>
                  <a:lnTo>
                    <a:pt x="25" y="18"/>
                  </a:lnTo>
                  <a:lnTo>
                    <a:pt x="26" y="19"/>
                  </a:lnTo>
                  <a:lnTo>
                    <a:pt x="25" y="18"/>
                  </a:lnTo>
                  <a:lnTo>
                    <a:pt x="22" y="19"/>
                  </a:lnTo>
                  <a:lnTo>
                    <a:pt x="20" y="23"/>
                  </a:lnTo>
                  <a:lnTo>
                    <a:pt x="18" y="23"/>
                  </a:lnTo>
                  <a:lnTo>
                    <a:pt x="18" y="23"/>
                  </a:lnTo>
                  <a:lnTo>
                    <a:pt x="18" y="25"/>
                  </a:lnTo>
                  <a:lnTo>
                    <a:pt x="18" y="28"/>
                  </a:lnTo>
                  <a:lnTo>
                    <a:pt x="18" y="29"/>
                  </a:lnTo>
                  <a:lnTo>
                    <a:pt x="12" y="31"/>
                  </a:lnTo>
                  <a:lnTo>
                    <a:pt x="15" y="26"/>
                  </a:lnTo>
                  <a:lnTo>
                    <a:pt x="15" y="25"/>
                  </a:lnTo>
                  <a:lnTo>
                    <a:pt x="12" y="25"/>
                  </a:lnTo>
                  <a:lnTo>
                    <a:pt x="12" y="23"/>
                  </a:lnTo>
                  <a:lnTo>
                    <a:pt x="12" y="22"/>
                  </a:lnTo>
                  <a:lnTo>
                    <a:pt x="10" y="21"/>
                  </a:lnTo>
                  <a:lnTo>
                    <a:pt x="9" y="21"/>
                  </a:lnTo>
                  <a:lnTo>
                    <a:pt x="7" y="22"/>
                  </a:lnTo>
                  <a:lnTo>
                    <a:pt x="9" y="22"/>
                  </a:lnTo>
                  <a:lnTo>
                    <a:pt x="10" y="22"/>
                  </a:lnTo>
                  <a:lnTo>
                    <a:pt x="10" y="28"/>
                  </a:lnTo>
                  <a:lnTo>
                    <a:pt x="9" y="28"/>
                  </a:lnTo>
                  <a:lnTo>
                    <a:pt x="6" y="26"/>
                  </a:lnTo>
                  <a:lnTo>
                    <a:pt x="5" y="19"/>
                  </a:lnTo>
                  <a:lnTo>
                    <a:pt x="3" y="18"/>
                  </a:lnTo>
                  <a:lnTo>
                    <a:pt x="2" y="1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41" name="Freeform 1556"/>
            <p:cNvSpPr>
              <a:spLocks/>
            </p:cNvSpPr>
            <p:nvPr/>
          </p:nvSpPr>
          <p:spPr bwMode="auto">
            <a:xfrm>
              <a:off x="4115828" y="2212828"/>
              <a:ext cx="5267" cy="5071"/>
            </a:xfrm>
            <a:custGeom>
              <a:avLst/>
              <a:gdLst/>
              <a:ahLst/>
              <a:cxnLst>
                <a:cxn ang="0">
                  <a:pos x="0" y="2"/>
                </a:cxn>
                <a:cxn ang="0">
                  <a:pos x="0" y="2"/>
                </a:cxn>
                <a:cxn ang="0">
                  <a:pos x="2" y="2"/>
                </a:cxn>
                <a:cxn ang="0">
                  <a:pos x="2" y="0"/>
                </a:cxn>
                <a:cxn ang="0">
                  <a:pos x="5" y="2"/>
                </a:cxn>
                <a:cxn ang="0">
                  <a:pos x="6" y="5"/>
                </a:cxn>
                <a:cxn ang="0">
                  <a:pos x="3" y="2"/>
                </a:cxn>
                <a:cxn ang="0">
                  <a:pos x="2" y="3"/>
                </a:cxn>
                <a:cxn ang="0">
                  <a:pos x="0" y="2"/>
                </a:cxn>
              </a:cxnLst>
              <a:rect l="0" t="0" r="r" b="b"/>
              <a:pathLst>
                <a:path w="6" h="5">
                  <a:moveTo>
                    <a:pt x="0" y="2"/>
                  </a:moveTo>
                  <a:lnTo>
                    <a:pt x="0" y="2"/>
                  </a:lnTo>
                  <a:lnTo>
                    <a:pt x="2" y="2"/>
                  </a:lnTo>
                  <a:lnTo>
                    <a:pt x="2" y="0"/>
                  </a:lnTo>
                  <a:lnTo>
                    <a:pt x="5" y="2"/>
                  </a:lnTo>
                  <a:lnTo>
                    <a:pt x="6" y="5"/>
                  </a:lnTo>
                  <a:lnTo>
                    <a:pt x="3" y="2"/>
                  </a:lnTo>
                  <a:lnTo>
                    <a:pt x="2" y="3"/>
                  </a:lnTo>
                  <a:lnTo>
                    <a:pt x="0"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42" name="Freeform 1557"/>
            <p:cNvSpPr>
              <a:spLocks/>
            </p:cNvSpPr>
            <p:nvPr/>
          </p:nvSpPr>
          <p:spPr bwMode="auto">
            <a:xfrm>
              <a:off x="4115828" y="2212828"/>
              <a:ext cx="5267" cy="5071"/>
            </a:xfrm>
            <a:custGeom>
              <a:avLst/>
              <a:gdLst/>
              <a:ahLst/>
              <a:cxnLst>
                <a:cxn ang="0">
                  <a:pos x="0" y="2"/>
                </a:cxn>
                <a:cxn ang="0">
                  <a:pos x="0" y="2"/>
                </a:cxn>
                <a:cxn ang="0">
                  <a:pos x="2" y="2"/>
                </a:cxn>
                <a:cxn ang="0">
                  <a:pos x="2" y="0"/>
                </a:cxn>
                <a:cxn ang="0">
                  <a:pos x="5" y="2"/>
                </a:cxn>
                <a:cxn ang="0">
                  <a:pos x="6" y="5"/>
                </a:cxn>
                <a:cxn ang="0">
                  <a:pos x="3" y="2"/>
                </a:cxn>
                <a:cxn ang="0">
                  <a:pos x="2" y="3"/>
                </a:cxn>
                <a:cxn ang="0">
                  <a:pos x="0" y="2"/>
                </a:cxn>
              </a:cxnLst>
              <a:rect l="0" t="0" r="r" b="b"/>
              <a:pathLst>
                <a:path w="6" h="5">
                  <a:moveTo>
                    <a:pt x="0" y="2"/>
                  </a:moveTo>
                  <a:lnTo>
                    <a:pt x="0" y="2"/>
                  </a:lnTo>
                  <a:lnTo>
                    <a:pt x="2" y="2"/>
                  </a:lnTo>
                  <a:lnTo>
                    <a:pt x="2" y="0"/>
                  </a:lnTo>
                  <a:lnTo>
                    <a:pt x="5" y="2"/>
                  </a:lnTo>
                  <a:lnTo>
                    <a:pt x="6" y="5"/>
                  </a:lnTo>
                  <a:lnTo>
                    <a:pt x="3" y="2"/>
                  </a:lnTo>
                  <a:lnTo>
                    <a:pt x="2" y="3"/>
                  </a:lnTo>
                  <a:lnTo>
                    <a:pt x="0"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43" name="Freeform 1558"/>
            <p:cNvSpPr>
              <a:spLocks/>
            </p:cNvSpPr>
            <p:nvPr/>
          </p:nvSpPr>
          <p:spPr bwMode="auto">
            <a:xfrm>
              <a:off x="4120217" y="2205731"/>
              <a:ext cx="13166" cy="10141"/>
            </a:xfrm>
            <a:custGeom>
              <a:avLst/>
              <a:gdLst/>
              <a:ahLst/>
              <a:cxnLst>
                <a:cxn ang="0">
                  <a:pos x="6" y="5"/>
                </a:cxn>
                <a:cxn ang="0">
                  <a:pos x="6" y="5"/>
                </a:cxn>
                <a:cxn ang="0">
                  <a:pos x="6" y="5"/>
                </a:cxn>
                <a:cxn ang="0">
                  <a:pos x="4" y="5"/>
                </a:cxn>
                <a:cxn ang="0">
                  <a:pos x="3" y="3"/>
                </a:cxn>
                <a:cxn ang="0">
                  <a:pos x="4" y="3"/>
                </a:cxn>
                <a:cxn ang="0">
                  <a:pos x="4" y="2"/>
                </a:cxn>
                <a:cxn ang="0">
                  <a:pos x="6" y="0"/>
                </a:cxn>
                <a:cxn ang="0">
                  <a:pos x="7" y="0"/>
                </a:cxn>
                <a:cxn ang="0">
                  <a:pos x="11" y="0"/>
                </a:cxn>
                <a:cxn ang="0">
                  <a:pos x="11" y="2"/>
                </a:cxn>
                <a:cxn ang="0">
                  <a:pos x="10" y="2"/>
                </a:cxn>
                <a:cxn ang="0">
                  <a:pos x="10" y="3"/>
                </a:cxn>
                <a:cxn ang="0">
                  <a:pos x="13" y="3"/>
                </a:cxn>
                <a:cxn ang="0">
                  <a:pos x="13" y="2"/>
                </a:cxn>
                <a:cxn ang="0">
                  <a:pos x="13" y="5"/>
                </a:cxn>
                <a:cxn ang="0">
                  <a:pos x="14" y="5"/>
                </a:cxn>
                <a:cxn ang="0">
                  <a:pos x="14" y="6"/>
                </a:cxn>
                <a:cxn ang="0">
                  <a:pos x="13" y="6"/>
                </a:cxn>
                <a:cxn ang="0">
                  <a:pos x="11" y="7"/>
                </a:cxn>
                <a:cxn ang="0">
                  <a:pos x="9" y="9"/>
                </a:cxn>
                <a:cxn ang="0">
                  <a:pos x="7" y="7"/>
                </a:cxn>
                <a:cxn ang="0">
                  <a:pos x="7" y="9"/>
                </a:cxn>
                <a:cxn ang="0">
                  <a:pos x="4" y="10"/>
                </a:cxn>
                <a:cxn ang="0">
                  <a:pos x="4" y="10"/>
                </a:cxn>
                <a:cxn ang="0">
                  <a:pos x="4" y="10"/>
                </a:cxn>
                <a:cxn ang="0">
                  <a:pos x="3" y="10"/>
                </a:cxn>
                <a:cxn ang="0">
                  <a:pos x="1" y="7"/>
                </a:cxn>
                <a:cxn ang="0">
                  <a:pos x="0" y="6"/>
                </a:cxn>
                <a:cxn ang="0">
                  <a:pos x="1" y="6"/>
                </a:cxn>
                <a:cxn ang="0">
                  <a:pos x="1" y="5"/>
                </a:cxn>
                <a:cxn ang="0">
                  <a:pos x="1" y="5"/>
                </a:cxn>
                <a:cxn ang="0">
                  <a:pos x="4" y="5"/>
                </a:cxn>
                <a:cxn ang="0">
                  <a:pos x="6" y="5"/>
                </a:cxn>
              </a:cxnLst>
              <a:rect l="0" t="0" r="r" b="b"/>
              <a:pathLst>
                <a:path w="14" h="10">
                  <a:moveTo>
                    <a:pt x="6" y="5"/>
                  </a:moveTo>
                  <a:lnTo>
                    <a:pt x="6" y="5"/>
                  </a:lnTo>
                  <a:lnTo>
                    <a:pt x="6" y="5"/>
                  </a:lnTo>
                  <a:lnTo>
                    <a:pt x="4" y="5"/>
                  </a:lnTo>
                  <a:lnTo>
                    <a:pt x="3" y="3"/>
                  </a:lnTo>
                  <a:lnTo>
                    <a:pt x="4" y="3"/>
                  </a:lnTo>
                  <a:lnTo>
                    <a:pt x="4" y="2"/>
                  </a:lnTo>
                  <a:lnTo>
                    <a:pt x="6" y="0"/>
                  </a:lnTo>
                  <a:lnTo>
                    <a:pt x="7" y="0"/>
                  </a:lnTo>
                  <a:lnTo>
                    <a:pt x="11" y="0"/>
                  </a:lnTo>
                  <a:lnTo>
                    <a:pt x="11" y="2"/>
                  </a:lnTo>
                  <a:lnTo>
                    <a:pt x="10" y="2"/>
                  </a:lnTo>
                  <a:lnTo>
                    <a:pt x="10" y="3"/>
                  </a:lnTo>
                  <a:lnTo>
                    <a:pt x="13" y="3"/>
                  </a:lnTo>
                  <a:lnTo>
                    <a:pt x="13" y="2"/>
                  </a:lnTo>
                  <a:lnTo>
                    <a:pt x="13" y="5"/>
                  </a:lnTo>
                  <a:lnTo>
                    <a:pt x="14" y="5"/>
                  </a:lnTo>
                  <a:lnTo>
                    <a:pt x="14" y="6"/>
                  </a:lnTo>
                  <a:lnTo>
                    <a:pt x="13" y="6"/>
                  </a:lnTo>
                  <a:lnTo>
                    <a:pt x="11" y="7"/>
                  </a:lnTo>
                  <a:lnTo>
                    <a:pt x="9" y="9"/>
                  </a:lnTo>
                  <a:lnTo>
                    <a:pt x="7" y="7"/>
                  </a:lnTo>
                  <a:lnTo>
                    <a:pt x="7" y="9"/>
                  </a:lnTo>
                  <a:lnTo>
                    <a:pt x="4" y="10"/>
                  </a:lnTo>
                  <a:lnTo>
                    <a:pt x="4" y="10"/>
                  </a:lnTo>
                  <a:lnTo>
                    <a:pt x="4" y="10"/>
                  </a:lnTo>
                  <a:lnTo>
                    <a:pt x="3" y="10"/>
                  </a:lnTo>
                  <a:lnTo>
                    <a:pt x="1" y="7"/>
                  </a:lnTo>
                  <a:lnTo>
                    <a:pt x="0" y="6"/>
                  </a:lnTo>
                  <a:lnTo>
                    <a:pt x="1" y="6"/>
                  </a:lnTo>
                  <a:lnTo>
                    <a:pt x="1" y="5"/>
                  </a:lnTo>
                  <a:lnTo>
                    <a:pt x="1" y="5"/>
                  </a:lnTo>
                  <a:lnTo>
                    <a:pt x="4" y="5"/>
                  </a:lnTo>
                  <a:lnTo>
                    <a:pt x="6" y="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44" name="Freeform 1559"/>
            <p:cNvSpPr>
              <a:spLocks/>
            </p:cNvSpPr>
            <p:nvPr/>
          </p:nvSpPr>
          <p:spPr bwMode="auto">
            <a:xfrm>
              <a:off x="4120217" y="2205731"/>
              <a:ext cx="13166" cy="10141"/>
            </a:xfrm>
            <a:custGeom>
              <a:avLst/>
              <a:gdLst/>
              <a:ahLst/>
              <a:cxnLst>
                <a:cxn ang="0">
                  <a:pos x="6" y="5"/>
                </a:cxn>
                <a:cxn ang="0">
                  <a:pos x="6" y="5"/>
                </a:cxn>
                <a:cxn ang="0">
                  <a:pos x="6" y="5"/>
                </a:cxn>
                <a:cxn ang="0">
                  <a:pos x="4" y="5"/>
                </a:cxn>
                <a:cxn ang="0">
                  <a:pos x="3" y="3"/>
                </a:cxn>
                <a:cxn ang="0">
                  <a:pos x="4" y="3"/>
                </a:cxn>
                <a:cxn ang="0">
                  <a:pos x="4" y="2"/>
                </a:cxn>
                <a:cxn ang="0">
                  <a:pos x="6" y="0"/>
                </a:cxn>
                <a:cxn ang="0">
                  <a:pos x="7" y="0"/>
                </a:cxn>
                <a:cxn ang="0">
                  <a:pos x="11" y="0"/>
                </a:cxn>
                <a:cxn ang="0">
                  <a:pos x="11" y="2"/>
                </a:cxn>
                <a:cxn ang="0">
                  <a:pos x="10" y="2"/>
                </a:cxn>
                <a:cxn ang="0">
                  <a:pos x="10" y="3"/>
                </a:cxn>
                <a:cxn ang="0">
                  <a:pos x="13" y="3"/>
                </a:cxn>
                <a:cxn ang="0">
                  <a:pos x="13" y="2"/>
                </a:cxn>
                <a:cxn ang="0">
                  <a:pos x="13" y="5"/>
                </a:cxn>
                <a:cxn ang="0">
                  <a:pos x="14" y="5"/>
                </a:cxn>
                <a:cxn ang="0">
                  <a:pos x="14" y="6"/>
                </a:cxn>
                <a:cxn ang="0">
                  <a:pos x="13" y="6"/>
                </a:cxn>
                <a:cxn ang="0">
                  <a:pos x="11" y="7"/>
                </a:cxn>
                <a:cxn ang="0">
                  <a:pos x="9" y="9"/>
                </a:cxn>
                <a:cxn ang="0">
                  <a:pos x="7" y="7"/>
                </a:cxn>
                <a:cxn ang="0">
                  <a:pos x="7" y="9"/>
                </a:cxn>
                <a:cxn ang="0">
                  <a:pos x="4" y="10"/>
                </a:cxn>
                <a:cxn ang="0">
                  <a:pos x="4" y="10"/>
                </a:cxn>
                <a:cxn ang="0">
                  <a:pos x="4" y="10"/>
                </a:cxn>
                <a:cxn ang="0">
                  <a:pos x="3" y="10"/>
                </a:cxn>
                <a:cxn ang="0">
                  <a:pos x="1" y="7"/>
                </a:cxn>
                <a:cxn ang="0">
                  <a:pos x="0" y="6"/>
                </a:cxn>
                <a:cxn ang="0">
                  <a:pos x="1" y="6"/>
                </a:cxn>
                <a:cxn ang="0">
                  <a:pos x="1" y="5"/>
                </a:cxn>
                <a:cxn ang="0">
                  <a:pos x="1" y="5"/>
                </a:cxn>
                <a:cxn ang="0">
                  <a:pos x="4" y="5"/>
                </a:cxn>
                <a:cxn ang="0">
                  <a:pos x="6" y="5"/>
                </a:cxn>
              </a:cxnLst>
              <a:rect l="0" t="0" r="r" b="b"/>
              <a:pathLst>
                <a:path w="14" h="10">
                  <a:moveTo>
                    <a:pt x="6" y="5"/>
                  </a:moveTo>
                  <a:lnTo>
                    <a:pt x="6" y="5"/>
                  </a:lnTo>
                  <a:lnTo>
                    <a:pt x="6" y="5"/>
                  </a:lnTo>
                  <a:lnTo>
                    <a:pt x="4" y="5"/>
                  </a:lnTo>
                  <a:lnTo>
                    <a:pt x="3" y="3"/>
                  </a:lnTo>
                  <a:lnTo>
                    <a:pt x="4" y="3"/>
                  </a:lnTo>
                  <a:lnTo>
                    <a:pt x="4" y="2"/>
                  </a:lnTo>
                  <a:lnTo>
                    <a:pt x="6" y="0"/>
                  </a:lnTo>
                  <a:lnTo>
                    <a:pt x="7" y="0"/>
                  </a:lnTo>
                  <a:lnTo>
                    <a:pt x="11" y="0"/>
                  </a:lnTo>
                  <a:lnTo>
                    <a:pt x="11" y="2"/>
                  </a:lnTo>
                  <a:lnTo>
                    <a:pt x="10" y="2"/>
                  </a:lnTo>
                  <a:lnTo>
                    <a:pt x="10" y="3"/>
                  </a:lnTo>
                  <a:lnTo>
                    <a:pt x="13" y="3"/>
                  </a:lnTo>
                  <a:lnTo>
                    <a:pt x="13" y="2"/>
                  </a:lnTo>
                  <a:lnTo>
                    <a:pt x="13" y="5"/>
                  </a:lnTo>
                  <a:lnTo>
                    <a:pt x="14" y="5"/>
                  </a:lnTo>
                  <a:lnTo>
                    <a:pt x="14" y="6"/>
                  </a:lnTo>
                  <a:lnTo>
                    <a:pt x="13" y="6"/>
                  </a:lnTo>
                  <a:lnTo>
                    <a:pt x="11" y="7"/>
                  </a:lnTo>
                  <a:lnTo>
                    <a:pt x="9" y="9"/>
                  </a:lnTo>
                  <a:lnTo>
                    <a:pt x="7" y="7"/>
                  </a:lnTo>
                  <a:lnTo>
                    <a:pt x="7" y="9"/>
                  </a:lnTo>
                  <a:lnTo>
                    <a:pt x="4" y="10"/>
                  </a:lnTo>
                  <a:lnTo>
                    <a:pt x="4" y="10"/>
                  </a:lnTo>
                  <a:lnTo>
                    <a:pt x="4" y="10"/>
                  </a:lnTo>
                  <a:lnTo>
                    <a:pt x="3" y="10"/>
                  </a:lnTo>
                  <a:lnTo>
                    <a:pt x="1" y="7"/>
                  </a:lnTo>
                  <a:lnTo>
                    <a:pt x="0" y="6"/>
                  </a:lnTo>
                  <a:lnTo>
                    <a:pt x="1" y="6"/>
                  </a:lnTo>
                  <a:lnTo>
                    <a:pt x="1" y="5"/>
                  </a:lnTo>
                  <a:lnTo>
                    <a:pt x="1" y="5"/>
                  </a:lnTo>
                  <a:lnTo>
                    <a:pt x="4" y="5"/>
                  </a:lnTo>
                  <a:lnTo>
                    <a:pt x="6" y="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45" name="Freeform 1560"/>
            <p:cNvSpPr>
              <a:spLocks/>
            </p:cNvSpPr>
            <p:nvPr/>
          </p:nvSpPr>
          <p:spPr bwMode="auto">
            <a:xfrm>
              <a:off x="4126362" y="2199646"/>
              <a:ext cx="3511" cy="3042"/>
            </a:xfrm>
            <a:custGeom>
              <a:avLst/>
              <a:gdLst/>
              <a:ahLst/>
              <a:cxnLst>
                <a:cxn ang="0">
                  <a:pos x="0" y="0"/>
                </a:cxn>
                <a:cxn ang="0">
                  <a:pos x="2" y="2"/>
                </a:cxn>
                <a:cxn ang="0">
                  <a:pos x="2" y="2"/>
                </a:cxn>
                <a:cxn ang="0">
                  <a:pos x="3" y="2"/>
                </a:cxn>
                <a:cxn ang="0">
                  <a:pos x="3" y="3"/>
                </a:cxn>
                <a:cxn ang="0">
                  <a:pos x="3" y="3"/>
                </a:cxn>
                <a:cxn ang="0">
                  <a:pos x="2" y="3"/>
                </a:cxn>
                <a:cxn ang="0">
                  <a:pos x="0" y="3"/>
                </a:cxn>
                <a:cxn ang="0">
                  <a:pos x="0" y="0"/>
                </a:cxn>
              </a:cxnLst>
              <a:rect l="0" t="0" r="r" b="b"/>
              <a:pathLst>
                <a:path w="3" h="3">
                  <a:moveTo>
                    <a:pt x="0" y="0"/>
                  </a:moveTo>
                  <a:lnTo>
                    <a:pt x="2" y="2"/>
                  </a:lnTo>
                  <a:lnTo>
                    <a:pt x="2" y="2"/>
                  </a:lnTo>
                  <a:lnTo>
                    <a:pt x="3" y="2"/>
                  </a:lnTo>
                  <a:lnTo>
                    <a:pt x="3" y="3"/>
                  </a:lnTo>
                  <a:lnTo>
                    <a:pt x="3" y="3"/>
                  </a:lnTo>
                  <a:lnTo>
                    <a:pt x="2" y="3"/>
                  </a:lnTo>
                  <a:lnTo>
                    <a:pt x="0" y="3"/>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46" name="Freeform 1561"/>
            <p:cNvSpPr>
              <a:spLocks/>
            </p:cNvSpPr>
            <p:nvPr/>
          </p:nvSpPr>
          <p:spPr bwMode="auto">
            <a:xfrm>
              <a:off x="4126362" y="2199646"/>
              <a:ext cx="3511" cy="3042"/>
            </a:xfrm>
            <a:custGeom>
              <a:avLst/>
              <a:gdLst/>
              <a:ahLst/>
              <a:cxnLst>
                <a:cxn ang="0">
                  <a:pos x="0" y="0"/>
                </a:cxn>
                <a:cxn ang="0">
                  <a:pos x="2" y="2"/>
                </a:cxn>
                <a:cxn ang="0">
                  <a:pos x="2" y="2"/>
                </a:cxn>
                <a:cxn ang="0">
                  <a:pos x="3" y="2"/>
                </a:cxn>
                <a:cxn ang="0">
                  <a:pos x="3" y="3"/>
                </a:cxn>
                <a:cxn ang="0">
                  <a:pos x="3" y="3"/>
                </a:cxn>
                <a:cxn ang="0">
                  <a:pos x="2" y="3"/>
                </a:cxn>
                <a:cxn ang="0">
                  <a:pos x="0" y="3"/>
                </a:cxn>
                <a:cxn ang="0">
                  <a:pos x="0" y="0"/>
                </a:cxn>
              </a:cxnLst>
              <a:rect l="0" t="0" r="r" b="b"/>
              <a:pathLst>
                <a:path w="3" h="3">
                  <a:moveTo>
                    <a:pt x="0" y="0"/>
                  </a:moveTo>
                  <a:lnTo>
                    <a:pt x="2" y="2"/>
                  </a:lnTo>
                  <a:lnTo>
                    <a:pt x="2" y="2"/>
                  </a:lnTo>
                  <a:lnTo>
                    <a:pt x="3" y="2"/>
                  </a:lnTo>
                  <a:lnTo>
                    <a:pt x="3" y="3"/>
                  </a:lnTo>
                  <a:lnTo>
                    <a:pt x="3" y="3"/>
                  </a:lnTo>
                  <a:lnTo>
                    <a:pt x="2" y="3"/>
                  </a:lnTo>
                  <a:lnTo>
                    <a:pt x="0" y="3"/>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47" name="Freeform 1562"/>
            <p:cNvSpPr>
              <a:spLocks/>
            </p:cNvSpPr>
            <p:nvPr/>
          </p:nvSpPr>
          <p:spPr bwMode="auto">
            <a:xfrm>
              <a:off x="4187808" y="2148938"/>
              <a:ext cx="12289" cy="17240"/>
            </a:xfrm>
            <a:custGeom>
              <a:avLst/>
              <a:gdLst/>
              <a:ahLst/>
              <a:cxnLst>
                <a:cxn ang="0">
                  <a:pos x="3" y="11"/>
                </a:cxn>
                <a:cxn ang="0">
                  <a:pos x="3" y="9"/>
                </a:cxn>
                <a:cxn ang="0">
                  <a:pos x="6" y="8"/>
                </a:cxn>
                <a:cxn ang="0">
                  <a:pos x="10" y="3"/>
                </a:cxn>
                <a:cxn ang="0">
                  <a:pos x="10" y="0"/>
                </a:cxn>
                <a:cxn ang="0">
                  <a:pos x="11" y="2"/>
                </a:cxn>
                <a:cxn ang="0">
                  <a:pos x="11" y="2"/>
                </a:cxn>
                <a:cxn ang="0">
                  <a:pos x="13" y="2"/>
                </a:cxn>
                <a:cxn ang="0">
                  <a:pos x="13" y="3"/>
                </a:cxn>
                <a:cxn ang="0">
                  <a:pos x="7" y="9"/>
                </a:cxn>
                <a:cxn ang="0">
                  <a:pos x="7" y="12"/>
                </a:cxn>
                <a:cxn ang="0">
                  <a:pos x="6" y="13"/>
                </a:cxn>
                <a:cxn ang="0">
                  <a:pos x="6" y="15"/>
                </a:cxn>
                <a:cxn ang="0">
                  <a:pos x="1" y="16"/>
                </a:cxn>
                <a:cxn ang="0">
                  <a:pos x="0" y="16"/>
                </a:cxn>
                <a:cxn ang="0">
                  <a:pos x="0" y="13"/>
                </a:cxn>
                <a:cxn ang="0">
                  <a:pos x="1" y="12"/>
                </a:cxn>
                <a:cxn ang="0">
                  <a:pos x="3" y="12"/>
                </a:cxn>
                <a:cxn ang="0">
                  <a:pos x="3" y="11"/>
                </a:cxn>
              </a:cxnLst>
              <a:rect l="0" t="0" r="r" b="b"/>
              <a:pathLst>
                <a:path w="13" h="16">
                  <a:moveTo>
                    <a:pt x="3" y="11"/>
                  </a:moveTo>
                  <a:lnTo>
                    <a:pt x="3" y="9"/>
                  </a:lnTo>
                  <a:lnTo>
                    <a:pt x="6" y="8"/>
                  </a:lnTo>
                  <a:lnTo>
                    <a:pt x="10" y="3"/>
                  </a:lnTo>
                  <a:lnTo>
                    <a:pt x="10" y="0"/>
                  </a:lnTo>
                  <a:lnTo>
                    <a:pt x="11" y="2"/>
                  </a:lnTo>
                  <a:lnTo>
                    <a:pt x="11" y="2"/>
                  </a:lnTo>
                  <a:lnTo>
                    <a:pt x="13" y="2"/>
                  </a:lnTo>
                  <a:lnTo>
                    <a:pt x="13" y="3"/>
                  </a:lnTo>
                  <a:lnTo>
                    <a:pt x="7" y="9"/>
                  </a:lnTo>
                  <a:lnTo>
                    <a:pt x="7" y="12"/>
                  </a:lnTo>
                  <a:lnTo>
                    <a:pt x="6" y="13"/>
                  </a:lnTo>
                  <a:lnTo>
                    <a:pt x="6" y="15"/>
                  </a:lnTo>
                  <a:lnTo>
                    <a:pt x="1" y="16"/>
                  </a:lnTo>
                  <a:lnTo>
                    <a:pt x="0" y="16"/>
                  </a:lnTo>
                  <a:lnTo>
                    <a:pt x="0" y="13"/>
                  </a:lnTo>
                  <a:lnTo>
                    <a:pt x="1" y="12"/>
                  </a:lnTo>
                  <a:lnTo>
                    <a:pt x="3" y="12"/>
                  </a:lnTo>
                  <a:lnTo>
                    <a:pt x="3" y="1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48" name="Freeform 1563"/>
            <p:cNvSpPr>
              <a:spLocks/>
            </p:cNvSpPr>
            <p:nvPr/>
          </p:nvSpPr>
          <p:spPr bwMode="auto">
            <a:xfrm>
              <a:off x="4187808" y="2148938"/>
              <a:ext cx="12289" cy="17240"/>
            </a:xfrm>
            <a:custGeom>
              <a:avLst/>
              <a:gdLst/>
              <a:ahLst/>
              <a:cxnLst>
                <a:cxn ang="0">
                  <a:pos x="3" y="11"/>
                </a:cxn>
                <a:cxn ang="0">
                  <a:pos x="3" y="9"/>
                </a:cxn>
                <a:cxn ang="0">
                  <a:pos x="6" y="8"/>
                </a:cxn>
                <a:cxn ang="0">
                  <a:pos x="10" y="3"/>
                </a:cxn>
                <a:cxn ang="0">
                  <a:pos x="10" y="0"/>
                </a:cxn>
                <a:cxn ang="0">
                  <a:pos x="11" y="2"/>
                </a:cxn>
                <a:cxn ang="0">
                  <a:pos x="11" y="2"/>
                </a:cxn>
                <a:cxn ang="0">
                  <a:pos x="13" y="2"/>
                </a:cxn>
                <a:cxn ang="0">
                  <a:pos x="13" y="3"/>
                </a:cxn>
                <a:cxn ang="0">
                  <a:pos x="7" y="9"/>
                </a:cxn>
                <a:cxn ang="0">
                  <a:pos x="7" y="12"/>
                </a:cxn>
                <a:cxn ang="0">
                  <a:pos x="6" y="13"/>
                </a:cxn>
                <a:cxn ang="0">
                  <a:pos x="6" y="15"/>
                </a:cxn>
                <a:cxn ang="0">
                  <a:pos x="1" y="16"/>
                </a:cxn>
                <a:cxn ang="0">
                  <a:pos x="0" y="16"/>
                </a:cxn>
                <a:cxn ang="0">
                  <a:pos x="0" y="13"/>
                </a:cxn>
                <a:cxn ang="0">
                  <a:pos x="1" y="12"/>
                </a:cxn>
                <a:cxn ang="0">
                  <a:pos x="3" y="12"/>
                </a:cxn>
                <a:cxn ang="0">
                  <a:pos x="3" y="11"/>
                </a:cxn>
              </a:cxnLst>
              <a:rect l="0" t="0" r="r" b="b"/>
              <a:pathLst>
                <a:path w="13" h="16">
                  <a:moveTo>
                    <a:pt x="3" y="11"/>
                  </a:moveTo>
                  <a:lnTo>
                    <a:pt x="3" y="9"/>
                  </a:lnTo>
                  <a:lnTo>
                    <a:pt x="6" y="8"/>
                  </a:lnTo>
                  <a:lnTo>
                    <a:pt x="10" y="3"/>
                  </a:lnTo>
                  <a:lnTo>
                    <a:pt x="10" y="0"/>
                  </a:lnTo>
                  <a:lnTo>
                    <a:pt x="11" y="2"/>
                  </a:lnTo>
                  <a:lnTo>
                    <a:pt x="11" y="2"/>
                  </a:lnTo>
                  <a:lnTo>
                    <a:pt x="13" y="2"/>
                  </a:lnTo>
                  <a:lnTo>
                    <a:pt x="13" y="3"/>
                  </a:lnTo>
                  <a:lnTo>
                    <a:pt x="7" y="9"/>
                  </a:lnTo>
                  <a:lnTo>
                    <a:pt x="7" y="12"/>
                  </a:lnTo>
                  <a:lnTo>
                    <a:pt x="6" y="13"/>
                  </a:lnTo>
                  <a:lnTo>
                    <a:pt x="6" y="15"/>
                  </a:lnTo>
                  <a:lnTo>
                    <a:pt x="1" y="16"/>
                  </a:lnTo>
                  <a:lnTo>
                    <a:pt x="0" y="16"/>
                  </a:lnTo>
                  <a:lnTo>
                    <a:pt x="0" y="13"/>
                  </a:lnTo>
                  <a:lnTo>
                    <a:pt x="1" y="12"/>
                  </a:lnTo>
                  <a:lnTo>
                    <a:pt x="3" y="12"/>
                  </a:lnTo>
                  <a:lnTo>
                    <a:pt x="3" y="1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49" name="Freeform 1564"/>
            <p:cNvSpPr>
              <a:spLocks/>
            </p:cNvSpPr>
            <p:nvPr/>
          </p:nvSpPr>
          <p:spPr bwMode="auto">
            <a:xfrm>
              <a:off x="4202731" y="2144882"/>
              <a:ext cx="8777" cy="6085"/>
            </a:xfrm>
            <a:custGeom>
              <a:avLst/>
              <a:gdLst/>
              <a:ahLst/>
              <a:cxnLst>
                <a:cxn ang="0">
                  <a:pos x="1" y="4"/>
                </a:cxn>
                <a:cxn ang="0">
                  <a:pos x="0" y="4"/>
                </a:cxn>
                <a:cxn ang="0">
                  <a:pos x="0" y="4"/>
                </a:cxn>
                <a:cxn ang="0">
                  <a:pos x="1" y="3"/>
                </a:cxn>
                <a:cxn ang="0">
                  <a:pos x="1" y="1"/>
                </a:cxn>
                <a:cxn ang="0">
                  <a:pos x="3" y="0"/>
                </a:cxn>
                <a:cxn ang="0">
                  <a:pos x="4" y="1"/>
                </a:cxn>
                <a:cxn ang="0">
                  <a:pos x="4" y="1"/>
                </a:cxn>
                <a:cxn ang="0">
                  <a:pos x="6" y="3"/>
                </a:cxn>
                <a:cxn ang="0">
                  <a:pos x="7" y="3"/>
                </a:cxn>
                <a:cxn ang="0">
                  <a:pos x="9" y="3"/>
                </a:cxn>
                <a:cxn ang="0">
                  <a:pos x="9" y="4"/>
                </a:cxn>
                <a:cxn ang="0">
                  <a:pos x="3" y="6"/>
                </a:cxn>
                <a:cxn ang="0">
                  <a:pos x="3" y="4"/>
                </a:cxn>
                <a:cxn ang="0">
                  <a:pos x="3" y="4"/>
                </a:cxn>
                <a:cxn ang="0">
                  <a:pos x="1" y="4"/>
                </a:cxn>
                <a:cxn ang="0">
                  <a:pos x="1" y="4"/>
                </a:cxn>
              </a:cxnLst>
              <a:rect l="0" t="0" r="r" b="b"/>
              <a:pathLst>
                <a:path w="9" h="6">
                  <a:moveTo>
                    <a:pt x="1" y="4"/>
                  </a:moveTo>
                  <a:lnTo>
                    <a:pt x="0" y="4"/>
                  </a:lnTo>
                  <a:lnTo>
                    <a:pt x="0" y="4"/>
                  </a:lnTo>
                  <a:lnTo>
                    <a:pt x="1" y="3"/>
                  </a:lnTo>
                  <a:lnTo>
                    <a:pt x="1" y="1"/>
                  </a:lnTo>
                  <a:lnTo>
                    <a:pt x="3" y="0"/>
                  </a:lnTo>
                  <a:lnTo>
                    <a:pt x="4" y="1"/>
                  </a:lnTo>
                  <a:lnTo>
                    <a:pt x="4" y="1"/>
                  </a:lnTo>
                  <a:lnTo>
                    <a:pt x="6" y="3"/>
                  </a:lnTo>
                  <a:lnTo>
                    <a:pt x="7" y="3"/>
                  </a:lnTo>
                  <a:lnTo>
                    <a:pt x="9" y="3"/>
                  </a:lnTo>
                  <a:lnTo>
                    <a:pt x="9" y="4"/>
                  </a:lnTo>
                  <a:lnTo>
                    <a:pt x="3" y="6"/>
                  </a:lnTo>
                  <a:lnTo>
                    <a:pt x="3" y="4"/>
                  </a:lnTo>
                  <a:lnTo>
                    <a:pt x="3" y="4"/>
                  </a:lnTo>
                  <a:lnTo>
                    <a:pt x="1" y="4"/>
                  </a:lnTo>
                  <a:lnTo>
                    <a:pt x="1" y="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50" name="Freeform 1565"/>
            <p:cNvSpPr>
              <a:spLocks/>
            </p:cNvSpPr>
            <p:nvPr/>
          </p:nvSpPr>
          <p:spPr bwMode="auto">
            <a:xfrm>
              <a:off x="4202731" y="2144882"/>
              <a:ext cx="8777" cy="6085"/>
            </a:xfrm>
            <a:custGeom>
              <a:avLst/>
              <a:gdLst/>
              <a:ahLst/>
              <a:cxnLst>
                <a:cxn ang="0">
                  <a:pos x="1" y="4"/>
                </a:cxn>
                <a:cxn ang="0">
                  <a:pos x="0" y="4"/>
                </a:cxn>
                <a:cxn ang="0">
                  <a:pos x="0" y="4"/>
                </a:cxn>
                <a:cxn ang="0">
                  <a:pos x="1" y="3"/>
                </a:cxn>
                <a:cxn ang="0">
                  <a:pos x="1" y="1"/>
                </a:cxn>
                <a:cxn ang="0">
                  <a:pos x="3" y="0"/>
                </a:cxn>
                <a:cxn ang="0">
                  <a:pos x="4" y="1"/>
                </a:cxn>
                <a:cxn ang="0">
                  <a:pos x="4" y="1"/>
                </a:cxn>
                <a:cxn ang="0">
                  <a:pos x="6" y="3"/>
                </a:cxn>
                <a:cxn ang="0">
                  <a:pos x="7" y="3"/>
                </a:cxn>
                <a:cxn ang="0">
                  <a:pos x="9" y="3"/>
                </a:cxn>
                <a:cxn ang="0">
                  <a:pos x="9" y="4"/>
                </a:cxn>
                <a:cxn ang="0">
                  <a:pos x="3" y="6"/>
                </a:cxn>
                <a:cxn ang="0">
                  <a:pos x="3" y="4"/>
                </a:cxn>
                <a:cxn ang="0">
                  <a:pos x="3" y="4"/>
                </a:cxn>
                <a:cxn ang="0">
                  <a:pos x="1" y="4"/>
                </a:cxn>
                <a:cxn ang="0">
                  <a:pos x="1" y="4"/>
                </a:cxn>
              </a:cxnLst>
              <a:rect l="0" t="0" r="r" b="b"/>
              <a:pathLst>
                <a:path w="9" h="6">
                  <a:moveTo>
                    <a:pt x="1" y="4"/>
                  </a:moveTo>
                  <a:lnTo>
                    <a:pt x="0" y="4"/>
                  </a:lnTo>
                  <a:lnTo>
                    <a:pt x="0" y="4"/>
                  </a:lnTo>
                  <a:lnTo>
                    <a:pt x="1" y="3"/>
                  </a:lnTo>
                  <a:lnTo>
                    <a:pt x="1" y="1"/>
                  </a:lnTo>
                  <a:lnTo>
                    <a:pt x="3" y="0"/>
                  </a:lnTo>
                  <a:lnTo>
                    <a:pt x="4" y="1"/>
                  </a:lnTo>
                  <a:lnTo>
                    <a:pt x="4" y="1"/>
                  </a:lnTo>
                  <a:lnTo>
                    <a:pt x="6" y="3"/>
                  </a:lnTo>
                  <a:lnTo>
                    <a:pt x="7" y="3"/>
                  </a:lnTo>
                  <a:lnTo>
                    <a:pt x="9" y="3"/>
                  </a:lnTo>
                  <a:lnTo>
                    <a:pt x="9" y="4"/>
                  </a:lnTo>
                  <a:lnTo>
                    <a:pt x="3" y="6"/>
                  </a:lnTo>
                  <a:lnTo>
                    <a:pt x="3" y="4"/>
                  </a:lnTo>
                  <a:lnTo>
                    <a:pt x="3" y="4"/>
                  </a:lnTo>
                  <a:lnTo>
                    <a:pt x="1" y="4"/>
                  </a:lnTo>
                  <a:lnTo>
                    <a:pt x="1" y="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51" name="Freeform 1566"/>
            <p:cNvSpPr>
              <a:spLocks/>
            </p:cNvSpPr>
            <p:nvPr/>
          </p:nvSpPr>
          <p:spPr bwMode="auto">
            <a:xfrm>
              <a:off x="4016637" y="2193560"/>
              <a:ext cx="3511" cy="8113"/>
            </a:xfrm>
            <a:custGeom>
              <a:avLst/>
              <a:gdLst/>
              <a:ahLst/>
              <a:cxnLst>
                <a:cxn ang="0">
                  <a:pos x="4" y="1"/>
                </a:cxn>
                <a:cxn ang="0">
                  <a:pos x="4" y="0"/>
                </a:cxn>
                <a:cxn ang="0">
                  <a:pos x="2" y="7"/>
                </a:cxn>
                <a:cxn ang="0">
                  <a:pos x="1" y="7"/>
                </a:cxn>
                <a:cxn ang="0">
                  <a:pos x="0" y="7"/>
                </a:cxn>
                <a:cxn ang="0">
                  <a:pos x="0" y="4"/>
                </a:cxn>
                <a:cxn ang="0">
                  <a:pos x="0" y="4"/>
                </a:cxn>
                <a:cxn ang="0">
                  <a:pos x="1" y="2"/>
                </a:cxn>
                <a:cxn ang="0">
                  <a:pos x="4" y="1"/>
                </a:cxn>
              </a:cxnLst>
              <a:rect l="0" t="0" r="r" b="b"/>
              <a:pathLst>
                <a:path w="4" h="7">
                  <a:moveTo>
                    <a:pt x="4" y="1"/>
                  </a:moveTo>
                  <a:lnTo>
                    <a:pt x="4" y="0"/>
                  </a:lnTo>
                  <a:lnTo>
                    <a:pt x="2" y="7"/>
                  </a:lnTo>
                  <a:lnTo>
                    <a:pt x="1" y="7"/>
                  </a:lnTo>
                  <a:lnTo>
                    <a:pt x="0" y="7"/>
                  </a:lnTo>
                  <a:lnTo>
                    <a:pt x="0" y="4"/>
                  </a:lnTo>
                  <a:lnTo>
                    <a:pt x="0" y="4"/>
                  </a:lnTo>
                  <a:lnTo>
                    <a:pt x="1" y="2"/>
                  </a:lnTo>
                  <a:lnTo>
                    <a:pt x="4"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52" name="Freeform 1567"/>
            <p:cNvSpPr>
              <a:spLocks/>
            </p:cNvSpPr>
            <p:nvPr/>
          </p:nvSpPr>
          <p:spPr bwMode="auto">
            <a:xfrm>
              <a:off x="4016637" y="2193560"/>
              <a:ext cx="3511" cy="8113"/>
            </a:xfrm>
            <a:custGeom>
              <a:avLst/>
              <a:gdLst/>
              <a:ahLst/>
              <a:cxnLst>
                <a:cxn ang="0">
                  <a:pos x="4" y="1"/>
                </a:cxn>
                <a:cxn ang="0">
                  <a:pos x="4" y="0"/>
                </a:cxn>
                <a:cxn ang="0">
                  <a:pos x="2" y="7"/>
                </a:cxn>
                <a:cxn ang="0">
                  <a:pos x="1" y="7"/>
                </a:cxn>
                <a:cxn ang="0">
                  <a:pos x="0" y="7"/>
                </a:cxn>
                <a:cxn ang="0">
                  <a:pos x="0" y="4"/>
                </a:cxn>
                <a:cxn ang="0">
                  <a:pos x="0" y="4"/>
                </a:cxn>
                <a:cxn ang="0">
                  <a:pos x="1" y="2"/>
                </a:cxn>
                <a:cxn ang="0">
                  <a:pos x="4" y="1"/>
                </a:cxn>
              </a:cxnLst>
              <a:rect l="0" t="0" r="r" b="b"/>
              <a:pathLst>
                <a:path w="4" h="7">
                  <a:moveTo>
                    <a:pt x="4" y="1"/>
                  </a:moveTo>
                  <a:lnTo>
                    <a:pt x="4" y="0"/>
                  </a:lnTo>
                  <a:lnTo>
                    <a:pt x="2" y="7"/>
                  </a:lnTo>
                  <a:lnTo>
                    <a:pt x="1" y="7"/>
                  </a:lnTo>
                  <a:lnTo>
                    <a:pt x="0" y="7"/>
                  </a:lnTo>
                  <a:lnTo>
                    <a:pt x="0" y="4"/>
                  </a:lnTo>
                  <a:lnTo>
                    <a:pt x="0" y="4"/>
                  </a:lnTo>
                  <a:lnTo>
                    <a:pt x="1" y="2"/>
                  </a:lnTo>
                  <a:lnTo>
                    <a:pt x="4"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53" name="Freeform 1568"/>
            <p:cNvSpPr>
              <a:spLocks/>
            </p:cNvSpPr>
            <p:nvPr/>
          </p:nvSpPr>
          <p:spPr bwMode="auto">
            <a:xfrm>
              <a:off x="3932368" y="2148938"/>
              <a:ext cx="25456" cy="17240"/>
            </a:xfrm>
            <a:custGeom>
              <a:avLst/>
              <a:gdLst/>
              <a:ahLst/>
              <a:cxnLst>
                <a:cxn ang="0">
                  <a:pos x="0" y="3"/>
                </a:cxn>
                <a:cxn ang="0">
                  <a:pos x="10" y="3"/>
                </a:cxn>
                <a:cxn ang="0">
                  <a:pos x="16" y="0"/>
                </a:cxn>
                <a:cxn ang="0">
                  <a:pos x="19" y="0"/>
                </a:cxn>
                <a:cxn ang="0">
                  <a:pos x="20" y="2"/>
                </a:cxn>
                <a:cxn ang="0">
                  <a:pos x="25" y="2"/>
                </a:cxn>
                <a:cxn ang="0">
                  <a:pos x="26" y="2"/>
                </a:cxn>
                <a:cxn ang="0">
                  <a:pos x="26" y="9"/>
                </a:cxn>
                <a:cxn ang="0">
                  <a:pos x="28" y="9"/>
                </a:cxn>
                <a:cxn ang="0">
                  <a:pos x="28" y="11"/>
                </a:cxn>
                <a:cxn ang="0">
                  <a:pos x="26" y="12"/>
                </a:cxn>
                <a:cxn ang="0">
                  <a:pos x="25" y="12"/>
                </a:cxn>
                <a:cxn ang="0">
                  <a:pos x="23" y="13"/>
                </a:cxn>
                <a:cxn ang="0">
                  <a:pos x="22" y="13"/>
                </a:cxn>
                <a:cxn ang="0">
                  <a:pos x="20" y="15"/>
                </a:cxn>
                <a:cxn ang="0">
                  <a:pos x="19" y="16"/>
                </a:cxn>
                <a:cxn ang="0">
                  <a:pos x="9" y="12"/>
                </a:cxn>
                <a:cxn ang="0">
                  <a:pos x="7" y="12"/>
                </a:cxn>
                <a:cxn ang="0">
                  <a:pos x="6" y="11"/>
                </a:cxn>
                <a:cxn ang="0">
                  <a:pos x="2" y="8"/>
                </a:cxn>
                <a:cxn ang="0">
                  <a:pos x="2" y="6"/>
                </a:cxn>
                <a:cxn ang="0">
                  <a:pos x="0" y="5"/>
                </a:cxn>
                <a:cxn ang="0">
                  <a:pos x="0" y="3"/>
                </a:cxn>
              </a:cxnLst>
              <a:rect l="0" t="0" r="r" b="b"/>
              <a:pathLst>
                <a:path w="28" h="16">
                  <a:moveTo>
                    <a:pt x="0" y="3"/>
                  </a:moveTo>
                  <a:lnTo>
                    <a:pt x="10" y="3"/>
                  </a:lnTo>
                  <a:lnTo>
                    <a:pt x="16" y="0"/>
                  </a:lnTo>
                  <a:lnTo>
                    <a:pt x="19" y="0"/>
                  </a:lnTo>
                  <a:lnTo>
                    <a:pt x="20" y="2"/>
                  </a:lnTo>
                  <a:lnTo>
                    <a:pt x="25" y="2"/>
                  </a:lnTo>
                  <a:lnTo>
                    <a:pt x="26" y="2"/>
                  </a:lnTo>
                  <a:lnTo>
                    <a:pt x="26" y="9"/>
                  </a:lnTo>
                  <a:lnTo>
                    <a:pt x="28" y="9"/>
                  </a:lnTo>
                  <a:lnTo>
                    <a:pt x="28" y="11"/>
                  </a:lnTo>
                  <a:lnTo>
                    <a:pt x="26" y="12"/>
                  </a:lnTo>
                  <a:lnTo>
                    <a:pt x="25" y="12"/>
                  </a:lnTo>
                  <a:lnTo>
                    <a:pt x="23" y="13"/>
                  </a:lnTo>
                  <a:lnTo>
                    <a:pt x="22" y="13"/>
                  </a:lnTo>
                  <a:lnTo>
                    <a:pt x="20" y="15"/>
                  </a:lnTo>
                  <a:lnTo>
                    <a:pt x="19" y="16"/>
                  </a:lnTo>
                  <a:lnTo>
                    <a:pt x="9" y="12"/>
                  </a:lnTo>
                  <a:lnTo>
                    <a:pt x="7" y="12"/>
                  </a:lnTo>
                  <a:lnTo>
                    <a:pt x="6" y="11"/>
                  </a:lnTo>
                  <a:lnTo>
                    <a:pt x="2" y="8"/>
                  </a:lnTo>
                  <a:lnTo>
                    <a:pt x="2" y="6"/>
                  </a:lnTo>
                  <a:lnTo>
                    <a:pt x="0" y="5"/>
                  </a:lnTo>
                  <a:lnTo>
                    <a:pt x="0"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54" name="Freeform 1569"/>
            <p:cNvSpPr>
              <a:spLocks/>
            </p:cNvSpPr>
            <p:nvPr/>
          </p:nvSpPr>
          <p:spPr bwMode="auto">
            <a:xfrm>
              <a:off x="3932368" y="2148938"/>
              <a:ext cx="25456" cy="17240"/>
            </a:xfrm>
            <a:custGeom>
              <a:avLst/>
              <a:gdLst/>
              <a:ahLst/>
              <a:cxnLst>
                <a:cxn ang="0">
                  <a:pos x="0" y="3"/>
                </a:cxn>
                <a:cxn ang="0">
                  <a:pos x="10" y="3"/>
                </a:cxn>
                <a:cxn ang="0">
                  <a:pos x="16" y="0"/>
                </a:cxn>
                <a:cxn ang="0">
                  <a:pos x="19" y="0"/>
                </a:cxn>
                <a:cxn ang="0">
                  <a:pos x="20" y="2"/>
                </a:cxn>
                <a:cxn ang="0">
                  <a:pos x="25" y="2"/>
                </a:cxn>
                <a:cxn ang="0">
                  <a:pos x="26" y="2"/>
                </a:cxn>
                <a:cxn ang="0">
                  <a:pos x="26" y="9"/>
                </a:cxn>
                <a:cxn ang="0">
                  <a:pos x="28" y="9"/>
                </a:cxn>
                <a:cxn ang="0">
                  <a:pos x="28" y="11"/>
                </a:cxn>
                <a:cxn ang="0">
                  <a:pos x="26" y="12"/>
                </a:cxn>
                <a:cxn ang="0">
                  <a:pos x="25" y="12"/>
                </a:cxn>
                <a:cxn ang="0">
                  <a:pos x="23" y="13"/>
                </a:cxn>
                <a:cxn ang="0">
                  <a:pos x="22" y="13"/>
                </a:cxn>
                <a:cxn ang="0">
                  <a:pos x="20" y="15"/>
                </a:cxn>
                <a:cxn ang="0">
                  <a:pos x="19" y="16"/>
                </a:cxn>
                <a:cxn ang="0">
                  <a:pos x="9" y="12"/>
                </a:cxn>
                <a:cxn ang="0">
                  <a:pos x="7" y="12"/>
                </a:cxn>
                <a:cxn ang="0">
                  <a:pos x="6" y="11"/>
                </a:cxn>
                <a:cxn ang="0">
                  <a:pos x="2" y="8"/>
                </a:cxn>
                <a:cxn ang="0">
                  <a:pos x="2" y="6"/>
                </a:cxn>
                <a:cxn ang="0">
                  <a:pos x="0" y="5"/>
                </a:cxn>
                <a:cxn ang="0">
                  <a:pos x="0" y="3"/>
                </a:cxn>
              </a:cxnLst>
              <a:rect l="0" t="0" r="r" b="b"/>
              <a:pathLst>
                <a:path w="28" h="16">
                  <a:moveTo>
                    <a:pt x="0" y="3"/>
                  </a:moveTo>
                  <a:lnTo>
                    <a:pt x="10" y="3"/>
                  </a:lnTo>
                  <a:lnTo>
                    <a:pt x="16" y="0"/>
                  </a:lnTo>
                  <a:lnTo>
                    <a:pt x="19" y="0"/>
                  </a:lnTo>
                  <a:lnTo>
                    <a:pt x="20" y="2"/>
                  </a:lnTo>
                  <a:lnTo>
                    <a:pt x="25" y="2"/>
                  </a:lnTo>
                  <a:lnTo>
                    <a:pt x="26" y="2"/>
                  </a:lnTo>
                  <a:lnTo>
                    <a:pt x="26" y="9"/>
                  </a:lnTo>
                  <a:lnTo>
                    <a:pt x="28" y="9"/>
                  </a:lnTo>
                  <a:lnTo>
                    <a:pt x="28" y="11"/>
                  </a:lnTo>
                  <a:lnTo>
                    <a:pt x="26" y="12"/>
                  </a:lnTo>
                  <a:lnTo>
                    <a:pt x="25" y="12"/>
                  </a:lnTo>
                  <a:lnTo>
                    <a:pt x="23" y="13"/>
                  </a:lnTo>
                  <a:lnTo>
                    <a:pt x="22" y="13"/>
                  </a:lnTo>
                  <a:lnTo>
                    <a:pt x="20" y="15"/>
                  </a:lnTo>
                  <a:lnTo>
                    <a:pt x="19" y="16"/>
                  </a:lnTo>
                  <a:lnTo>
                    <a:pt x="9" y="12"/>
                  </a:lnTo>
                  <a:lnTo>
                    <a:pt x="7" y="12"/>
                  </a:lnTo>
                  <a:lnTo>
                    <a:pt x="6" y="11"/>
                  </a:lnTo>
                  <a:lnTo>
                    <a:pt x="2" y="8"/>
                  </a:lnTo>
                  <a:lnTo>
                    <a:pt x="2" y="6"/>
                  </a:lnTo>
                  <a:lnTo>
                    <a:pt x="0" y="5"/>
                  </a:lnTo>
                  <a:lnTo>
                    <a:pt x="0"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55" name="Freeform 1570"/>
            <p:cNvSpPr>
              <a:spLocks/>
            </p:cNvSpPr>
            <p:nvPr/>
          </p:nvSpPr>
          <p:spPr bwMode="auto">
            <a:xfrm>
              <a:off x="3961335" y="2134741"/>
              <a:ext cx="14045" cy="14198"/>
            </a:xfrm>
            <a:custGeom>
              <a:avLst/>
              <a:gdLst/>
              <a:ahLst/>
              <a:cxnLst>
                <a:cxn ang="0">
                  <a:pos x="0" y="6"/>
                </a:cxn>
                <a:cxn ang="0">
                  <a:pos x="0" y="4"/>
                </a:cxn>
                <a:cxn ang="0">
                  <a:pos x="4" y="1"/>
                </a:cxn>
                <a:cxn ang="0">
                  <a:pos x="4" y="0"/>
                </a:cxn>
                <a:cxn ang="0">
                  <a:pos x="13" y="3"/>
                </a:cxn>
                <a:cxn ang="0">
                  <a:pos x="15" y="6"/>
                </a:cxn>
                <a:cxn ang="0">
                  <a:pos x="15" y="7"/>
                </a:cxn>
                <a:cxn ang="0">
                  <a:pos x="9" y="14"/>
                </a:cxn>
                <a:cxn ang="0">
                  <a:pos x="6" y="9"/>
                </a:cxn>
                <a:cxn ang="0">
                  <a:pos x="3" y="7"/>
                </a:cxn>
                <a:cxn ang="0">
                  <a:pos x="0" y="6"/>
                </a:cxn>
              </a:cxnLst>
              <a:rect l="0" t="0" r="r" b="b"/>
              <a:pathLst>
                <a:path w="15" h="14">
                  <a:moveTo>
                    <a:pt x="0" y="6"/>
                  </a:moveTo>
                  <a:lnTo>
                    <a:pt x="0" y="4"/>
                  </a:lnTo>
                  <a:lnTo>
                    <a:pt x="4" y="1"/>
                  </a:lnTo>
                  <a:lnTo>
                    <a:pt x="4" y="0"/>
                  </a:lnTo>
                  <a:lnTo>
                    <a:pt x="13" y="3"/>
                  </a:lnTo>
                  <a:lnTo>
                    <a:pt x="15" y="6"/>
                  </a:lnTo>
                  <a:lnTo>
                    <a:pt x="15" y="7"/>
                  </a:lnTo>
                  <a:lnTo>
                    <a:pt x="9" y="14"/>
                  </a:lnTo>
                  <a:lnTo>
                    <a:pt x="6" y="9"/>
                  </a:lnTo>
                  <a:lnTo>
                    <a:pt x="3" y="7"/>
                  </a:lnTo>
                  <a:lnTo>
                    <a:pt x="0"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56" name="Freeform 1571"/>
            <p:cNvSpPr>
              <a:spLocks/>
            </p:cNvSpPr>
            <p:nvPr/>
          </p:nvSpPr>
          <p:spPr bwMode="auto">
            <a:xfrm>
              <a:off x="3961335" y="2134741"/>
              <a:ext cx="14045" cy="14198"/>
            </a:xfrm>
            <a:custGeom>
              <a:avLst/>
              <a:gdLst/>
              <a:ahLst/>
              <a:cxnLst>
                <a:cxn ang="0">
                  <a:pos x="0" y="6"/>
                </a:cxn>
                <a:cxn ang="0">
                  <a:pos x="0" y="4"/>
                </a:cxn>
                <a:cxn ang="0">
                  <a:pos x="4" y="1"/>
                </a:cxn>
                <a:cxn ang="0">
                  <a:pos x="4" y="0"/>
                </a:cxn>
                <a:cxn ang="0">
                  <a:pos x="13" y="3"/>
                </a:cxn>
                <a:cxn ang="0">
                  <a:pos x="15" y="6"/>
                </a:cxn>
                <a:cxn ang="0">
                  <a:pos x="15" y="7"/>
                </a:cxn>
                <a:cxn ang="0">
                  <a:pos x="9" y="14"/>
                </a:cxn>
                <a:cxn ang="0">
                  <a:pos x="6" y="9"/>
                </a:cxn>
                <a:cxn ang="0">
                  <a:pos x="3" y="7"/>
                </a:cxn>
                <a:cxn ang="0">
                  <a:pos x="0" y="6"/>
                </a:cxn>
              </a:cxnLst>
              <a:rect l="0" t="0" r="r" b="b"/>
              <a:pathLst>
                <a:path w="15" h="14">
                  <a:moveTo>
                    <a:pt x="0" y="6"/>
                  </a:moveTo>
                  <a:lnTo>
                    <a:pt x="0" y="4"/>
                  </a:lnTo>
                  <a:lnTo>
                    <a:pt x="4" y="1"/>
                  </a:lnTo>
                  <a:lnTo>
                    <a:pt x="4" y="0"/>
                  </a:lnTo>
                  <a:lnTo>
                    <a:pt x="13" y="3"/>
                  </a:lnTo>
                  <a:lnTo>
                    <a:pt x="15" y="6"/>
                  </a:lnTo>
                  <a:lnTo>
                    <a:pt x="15" y="7"/>
                  </a:lnTo>
                  <a:lnTo>
                    <a:pt x="9" y="14"/>
                  </a:lnTo>
                  <a:lnTo>
                    <a:pt x="6" y="9"/>
                  </a:lnTo>
                  <a:lnTo>
                    <a:pt x="3" y="7"/>
                  </a:lnTo>
                  <a:lnTo>
                    <a:pt x="0"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57" name="Freeform 1578"/>
            <p:cNvSpPr>
              <a:spLocks/>
            </p:cNvSpPr>
            <p:nvPr/>
          </p:nvSpPr>
          <p:spPr bwMode="auto">
            <a:xfrm>
              <a:off x="3967480" y="2065780"/>
              <a:ext cx="8777" cy="11155"/>
            </a:xfrm>
            <a:custGeom>
              <a:avLst/>
              <a:gdLst/>
              <a:ahLst/>
              <a:cxnLst>
                <a:cxn ang="0">
                  <a:pos x="9" y="2"/>
                </a:cxn>
                <a:cxn ang="0">
                  <a:pos x="10" y="2"/>
                </a:cxn>
                <a:cxn ang="0">
                  <a:pos x="9" y="5"/>
                </a:cxn>
                <a:cxn ang="0">
                  <a:pos x="9" y="8"/>
                </a:cxn>
                <a:cxn ang="0">
                  <a:pos x="9" y="9"/>
                </a:cxn>
                <a:cxn ang="0">
                  <a:pos x="3" y="8"/>
                </a:cxn>
                <a:cxn ang="0">
                  <a:pos x="0" y="11"/>
                </a:cxn>
                <a:cxn ang="0">
                  <a:pos x="0" y="11"/>
                </a:cxn>
                <a:cxn ang="0">
                  <a:pos x="0" y="5"/>
                </a:cxn>
                <a:cxn ang="0">
                  <a:pos x="6" y="0"/>
                </a:cxn>
                <a:cxn ang="0">
                  <a:pos x="9" y="2"/>
                </a:cxn>
              </a:cxnLst>
              <a:rect l="0" t="0" r="r" b="b"/>
              <a:pathLst>
                <a:path w="10" h="11">
                  <a:moveTo>
                    <a:pt x="9" y="2"/>
                  </a:moveTo>
                  <a:lnTo>
                    <a:pt x="10" y="2"/>
                  </a:lnTo>
                  <a:lnTo>
                    <a:pt x="9" y="5"/>
                  </a:lnTo>
                  <a:lnTo>
                    <a:pt x="9" y="8"/>
                  </a:lnTo>
                  <a:lnTo>
                    <a:pt x="9" y="9"/>
                  </a:lnTo>
                  <a:lnTo>
                    <a:pt x="3" y="8"/>
                  </a:lnTo>
                  <a:lnTo>
                    <a:pt x="0" y="11"/>
                  </a:lnTo>
                  <a:lnTo>
                    <a:pt x="0" y="11"/>
                  </a:lnTo>
                  <a:lnTo>
                    <a:pt x="0" y="5"/>
                  </a:lnTo>
                  <a:lnTo>
                    <a:pt x="6" y="0"/>
                  </a:lnTo>
                  <a:lnTo>
                    <a:pt x="9"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58" name="Freeform 1579"/>
            <p:cNvSpPr>
              <a:spLocks/>
            </p:cNvSpPr>
            <p:nvPr/>
          </p:nvSpPr>
          <p:spPr bwMode="auto">
            <a:xfrm>
              <a:off x="3967480" y="2065780"/>
              <a:ext cx="8777" cy="11155"/>
            </a:xfrm>
            <a:custGeom>
              <a:avLst/>
              <a:gdLst/>
              <a:ahLst/>
              <a:cxnLst>
                <a:cxn ang="0">
                  <a:pos x="9" y="2"/>
                </a:cxn>
                <a:cxn ang="0">
                  <a:pos x="10" y="2"/>
                </a:cxn>
                <a:cxn ang="0">
                  <a:pos x="9" y="5"/>
                </a:cxn>
                <a:cxn ang="0">
                  <a:pos x="9" y="8"/>
                </a:cxn>
                <a:cxn ang="0">
                  <a:pos x="9" y="9"/>
                </a:cxn>
                <a:cxn ang="0">
                  <a:pos x="3" y="8"/>
                </a:cxn>
                <a:cxn ang="0">
                  <a:pos x="0" y="11"/>
                </a:cxn>
                <a:cxn ang="0">
                  <a:pos x="0" y="11"/>
                </a:cxn>
                <a:cxn ang="0">
                  <a:pos x="0" y="5"/>
                </a:cxn>
                <a:cxn ang="0">
                  <a:pos x="6" y="0"/>
                </a:cxn>
                <a:cxn ang="0">
                  <a:pos x="9" y="2"/>
                </a:cxn>
              </a:cxnLst>
              <a:rect l="0" t="0" r="r" b="b"/>
              <a:pathLst>
                <a:path w="10" h="11">
                  <a:moveTo>
                    <a:pt x="9" y="2"/>
                  </a:moveTo>
                  <a:lnTo>
                    <a:pt x="10" y="2"/>
                  </a:lnTo>
                  <a:lnTo>
                    <a:pt x="9" y="5"/>
                  </a:lnTo>
                  <a:lnTo>
                    <a:pt x="9" y="8"/>
                  </a:lnTo>
                  <a:lnTo>
                    <a:pt x="9" y="9"/>
                  </a:lnTo>
                  <a:lnTo>
                    <a:pt x="3" y="8"/>
                  </a:lnTo>
                  <a:lnTo>
                    <a:pt x="0" y="11"/>
                  </a:lnTo>
                  <a:lnTo>
                    <a:pt x="0" y="11"/>
                  </a:lnTo>
                  <a:lnTo>
                    <a:pt x="0" y="5"/>
                  </a:lnTo>
                  <a:lnTo>
                    <a:pt x="6" y="0"/>
                  </a:lnTo>
                  <a:lnTo>
                    <a:pt x="9"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59" name="Freeform 1582"/>
            <p:cNvSpPr>
              <a:spLocks/>
            </p:cNvSpPr>
            <p:nvPr/>
          </p:nvSpPr>
          <p:spPr bwMode="auto">
            <a:xfrm>
              <a:off x="4551217" y="2742206"/>
              <a:ext cx="2634" cy="1015"/>
            </a:xfrm>
            <a:custGeom>
              <a:avLst/>
              <a:gdLst/>
              <a:ahLst/>
              <a:cxnLst>
                <a:cxn ang="0">
                  <a:pos x="0" y="0"/>
                </a:cxn>
                <a:cxn ang="0">
                  <a:pos x="0" y="0"/>
                </a:cxn>
                <a:cxn ang="0">
                  <a:pos x="2" y="0"/>
                </a:cxn>
                <a:cxn ang="0">
                  <a:pos x="3" y="1"/>
                </a:cxn>
                <a:cxn ang="0">
                  <a:pos x="3" y="1"/>
                </a:cxn>
                <a:cxn ang="0">
                  <a:pos x="3" y="1"/>
                </a:cxn>
                <a:cxn ang="0">
                  <a:pos x="2" y="1"/>
                </a:cxn>
                <a:cxn ang="0">
                  <a:pos x="0" y="0"/>
                </a:cxn>
                <a:cxn ang="0">
                  <a:pos x="2" y="1"/>
                </a:cxn>
                <a:cxn ang="0">
                  <a:pos x="0" y="0"/>
                </a:cxn>
              </a:cxnLst>
              <a:rect l="0" t="0" r="r" b="b"/>
              <a:pathLst>
                <a:path w="3" h="1">
                  <a:moveTo>
                    <a:pt x="0" y="0"/>
                  </a:moveTo>
                  <a:lnTo>
                    <a:pt x="0" y="0"/>
                  </a:lnTo>
                  <a:lnTo>
                    <a:pt x="2" y="0"/>
                  </a:lnTo>
                  <a:lnTo>
                    <a:pt x="3" y="1"/>
                  </a:lnTo>
                  <a:lnTo>
                    <a:pt x="3" y="1"/>
                  </a:lnTo>
                  <a:lnTo>
                    <a:pt x="3" y="1"/>
                  </a:lnTo>
                  <a:lnTo>
                    <a:pt x="2" y="1"/>
                  </a:lnTo>
                  <a:lnTo>
                    <a:pt x="0" y="0"/>
                  </a:lnTo>
                  <a:lnTo>
                    <a:pt x="2" y="1"/>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60" name="Freeform 1583"/>
            <p:cNvSpPr>
              <a:spLocks/>
            </p:cNvSpPr>
            <p:nvPr/>
          </p:nvSpPr>
          <p:spPr bwMode="auto">
            <a:xfrm>
              <a:off x="4551217" y="2742206"/>
              <a:ext cx="2634" cy="1015"/>
            </a:xfrm>
            <a:custGeom>
              <a:avLst/>
              <a:gdLst/>
              <a:ahLst/>
              <a:cxnLst>
                <a:cxn ang="0">
                  <a:pos x="0" y="0"/>
                </a:cxn>
                <a:cxn ang="0">
                  <a:pos x="0" y="0"/>
                </a:cxn>
                <a:cxn ang="0">
                  <a:pos x="2" y="0"/>
                </a:cxn>
                <a:cxn ang="0">
                  <a:pos x="3" y="1"/>
                </a:cxn>
                <a:cxn ang="0">
                  <a:pos x="3" y="1"/>
                </a:cxn>
                <a:cxn ang="0">
                  <a:pos x="3" y="1"/>
                </a:cxn>
                <a:cxn ang="0">
                  <a:pos x="2" y="1"/>
                </a:cxn>
                <a:cxn ang="0">
                  <a:pos x="0" y="0"/>
                </a:cxn>
                <a:cxn ang="0">
                  <a:pos x="2" y="1"/>
                </a:cxn>
                <a:cxn ang="0">
                  <a:pos x="0" y="0"/>
                </a:cxn>
              </a:cxnLst>
              <a:rect l="0" t="0" r="r" b="b"/>
              <a:pathLst>
                <a:path w="3" h="1">
                  <a:moveTo>
                    <a:pt x="0" y="0"/>
                  </a:moveTo>
                  <a:lnTo>
                    <a:pt x="0" y="0"/>
                  </a:lnTo>
                  <a:lnTo>
                    <a:pt x="2" y="0"/>
                  </a:lnTo>
                  <a:lnTo>
                    <a:pt x="3" y="1"/>
                  </a:lnTo>
                  <a:lnTo>
                    <a:pt x="3" y="1"/>
                  </a:lnTo>
                  <a:lnTo>
                    <a:pt x="3" y="1"/>
                  </a:lnTo>
                  <a:lnTo>
                    <a:pt x="2" y="1"/>
                  </a:lnTo>
                  <a:lnTo>
                    <a:pt x="0" y="0"/>
                  </a:lnTo>
                  <a:lnTo>
                    <a:pt x="2" y="1"/>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61" name="Freeform 1584"/>
            <p:cNvSpPr>
              <a:spLocks/>
            </p:cNvSpPr>
            <p:nvPr/>
          </p:nvSpPr>
          <p:spPr bwMode="auto">
            <a:xfrm>
              <a:off x="4555607" y="2739164"/>
              <a:ext cx="5267" cy="4057"/>
            </a:xfrm>
            <a:custGeom>
              <a:avLst/>
              <a:gdLst/>
              <a:ahLst/>
              <a:cxnLst>
                <a:cxn ang="0">
                  <a:pos x="0" y="0"/>
                </a:cxn>
                <a:cxn ang="0">
                  <a:pos x="3" y="2"/>
                </a:cxn>
                <a:cxn ang="0">
                  <a:pos x="5" y="2"/>
                </a:cxn>
                <a:cxn ang="0">
                  <a:pos x="5" y="2"/>
                </a:cxn>
                <a:cxn ang="0">
                  <a:pos x="4" y="2"/>
                </a:cxn>
                <a:cxn ang="0">
                  <a:pos x="3" y="3"/>
                </a:cxn>
                <a:cxn ang="0">
                  <a:pos x="1" y="3"/>
                </a:cxn>
                <a:cxn ang="0">
                  <a:pos x="0" y="0"/>
                </a:cxn>
              </a:cxnLst>
              <a:rect l="0" t="0" r="r" b="b"/>
              <a:pathLst>
                <a:path w="5" h="3">
                  <a:moveTo>
                    <a:pt x="0" y="0"/>
                  </a:moveTo>
                  <a:lnTo>
                    <a:pt x="3" y="2"/>
                  </a:lnTo>
                  <a:lnTo>
                    <a:pt x="5" y="2"/>
                  </a:lnTo>
                  <a:lnTo>
                    <a:pt x="5" y="2"/>
                  </a:lnTo>
                  <a:lnTo>
                    <a:pt x="4" y="2"/>
                  </a:lnTo>
                  <a:lnTo>
                    <a:pt x="3" y="3"/>
                  </a:lnTo>
                  <a:lnTo>
                    <a:pt x="1" y="3"/>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62" name="Freeform 1585"/>
            <p:cNvSpPr>
              <a:spLocks/>
            </p:cNvSpPr>
            <p:nvPr/>
          </p:nvSpPr>
          <p:spPr bwMode="auto">
            <a:xfrm>
              <a:off x="4555607" y="2739164"/>
              <a:ext cx="5267" cy="4057"/>
            </a:xfrm>
            <a:custGeom>
              <a:avLst/>
              <a:gdLst/>
              <a:ahLst/>
              <a:cxnLst>
                <a:cxn ang="0">
                  <a:pos x="0" y="0"/>
                </a:cxn>
                <a:cxn ang="0">
                  <a:pos x="3" y="2"/>
                </a:cxn>
                <a:cxn ang="0">
                  <a:pos x="5" y="2"/>
                </a:cxn>
                <a:cxn ang="0">
                  <a:pos x="5" y="2"/>
                </a:cxn>
                <a:cxn ang="0">
                  <a:pos x="4" y="2"/>
                </a:cxn>
                <a:cxn ang="0">
                  <a:pos x="3" y="3"/>
                </a:cxn>
                <a:cxn ang="0">
                  <a:pos x="1" y="3"/>
                </a:cxn>
                <a:cxn ang="0">
                  <a:pos x="0" y="0"/>
                </a:cxn>
              </a:cxnLst>
              <a:rect l="0" t="0" r="r" b="b"/>
              <a:pathLst>
                <a:path w="5" h="3">
                  <a:moveTo>
                    <a:pt x="0" y="0"/>
                  </a:moveTo>
                  <a:lnTo>
                    <a:pt x="3" y="2"/>
                  </a:lnTo>
                  <a:lnTo>
                    <a:pt x="5" y="2"/>
                  </a:lnTo>
                  <a:lnTo>
                    <a:pt x="5" y="2"/>
                  </a:lnTo>
                  <a:lnTo>
                    <a:pt x="4" y="2"/>
                  </a:lnTo>
                  <a:lnTo>
                    <a:pt x="3" y="3"/>
                  </a:lnTo>
                  <a:lnTo>
                    <a:pt x="1" y="3"/>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63" name="Freeform 1586"/>
            <p:cNvSpPr>
              <a:spLocks/>
            </p:cNvSpPr>
            <p:nvPr/>
          </p:nvSpPr>
          <p:spPr bwMode="auto">
            <a:xfrm>
              <a:off x="4574040" y="2752347"/>
              <a:ext cx="2634" cy="3043"/>
            </a:xfrm>
            <a:custGeom>
              <a:avLst/>
              <a:gdLst/>
              <a:ahLst/>
              <a:cxnLst>
                <a:cxn ang="0">
                  <a:pos x="0" y="0"/>
                </a:cxn>
                <a:cxn ang="0">
                  <a:pos x="0" y="0"/>
                </a:cxn>
                <a:cxn ang="0">
                  <a:pos x="0" y="0"/>
                </a:cxn>
                <a:cxn ang="0">
                  <a:pos x="1" y="0"/>
                </a:cxn>
                <a:cxn ang="0">
                  <a:pos x="1" y="1"/>
                </a:cxn>
                <a:cxn ang="0">
                  <a:pos x="3" y="1"/>
                </a:cxn>
                <a:cxn ang="0">
                  <a:pos x="1" y="3"/>
                </a:cxn>
                <a:cxn ang="0">
                  <a:pos x="1" y="3"/>
                </a:cxn>
                <a:cxn ang="0">
                  <a:pos x="1" y="1"/>
                </a:cxn>
                <a:cxn ang="0">
                  <a:pos x="0" y="0"/>
                </a:cxn>
                <a:cxn ang="0">
                  <a:pos x="0" y="0"/>
                </a:cxn>
              </a:cxnLst>
              <a:rect l="0" t="0" r="r" b="b"/>
              <a:pathLst>
                <a:path w="3" h="3">
                  <a:moveTo>
                    <a:pt x="0" y="0"/>
                  </a:moveTo>
                  <a:lnTo>
                    <a:pt x="0" y="0"/>
                  </a:lnTo>
                  <a:lnTo>
                    <a:pt x="0" y="0"/>
                  </a:lnTo>
                  <a:lnTo>
                    <a:pt x="1" y="0"/>
                  </a:lnTo>
                  <a:lnTo>
                    <a:pt x="1" y="1"/>
                  </a:lnTo>
                  <a:lnTo>
                    <a:pt x="3" y="1"/>
                  </a:lnTo>
                  <a:lnTo>
                    <a:pt x="1" y="3"/>
                  </a:lnTo>
                  <a:lnTo>
                    <a:pt x="1" y="3"/>
                  </a:lnTo>
                  <a:lnTo>
                    <a:pt x="1" y="1"/>
                  </a:lnTo>
                  <a:lnTo>
                    <a:pt x="0" y="0"/>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64" name="Freeform 1587"/>
            <p:cNvSpPr>
              <a:spLocks/>
            </p:cNvSpPr>
            <p:nvPr/>
          </p:nvSpPr>
          <p:spPr bwMode="auto">
            <a:xfrm>
              <a:off x="4574040" y="2752347"/>
              <a:ext cx="2634" cy="3043"/>
            </a:xfrm>
            <a:custGeom>
              <a:avLst/>
              <a:gdLst/>
              <a:ahLst/>
              <a:cxnLst>
                <a:cxn ang="0">
                  <a:pos x="0" y="0"/>
                </a:cxn>
                <a:cxn ang="0">
                  <a:pos x="0" y="0"/>
                </a:cxn>
                <a:cxn ang="0">
                  <a:pos x="0" y="0"/>
                </a:cxn>
                <a:cxn ang="0">
                  <a:pos x="1" y="0"/>
                </a:cxn>
                <a:cxn ang="0">
                  <a:pos x="1" y="1"/>
                </a:cxn>
                <a:cxn ang="0">
                  <a:pos x="3" y="1"/>
                </a:cxn>
                <a:cxn ang="0">
                  <a:pos x="1" y="3"/>
                </a:cxn>
                <a:cxn ang="0">
                  <a:pos x="1" y="3"/>
                </a:cxn>
                <a:cxn ang="0">
                  <a:pos x="1" y="1"/>
                </a:cxn>
                <a:cxn ang="0">
                  <a:pos x="0" y="0"/>
                </a:cxn>
                <a:cxn ang="0">
                  <a:pos x="0" y="0"/>
                </a:cxn>
              </a:cxnLst>
              <a:rect l="0" t="0" r="r" b="b"/>
              <a:pathLst>
                <a:path w="3" h="3">
                  <a:moveTo>
                    <a:pt x="0" y="0"/>
                  </a:moveTo>
                  <a:lnTo>
                    <a:pt x="0" y="0"/>
                  </a:lnTo>
                  <a:lnTo>
                    <a:pt x="0" y="0"/>
                  </a:lnTo>
                  <a:lnTo>
                    <a:pt x="1" y="0"/>
                  </a:lnTo>
                  <a:lnTo>
                    <a:pt x="1" y="1"/>
                  </a:lnTo>
                  <a:lnTo>
                    <a:pt x="3" y="1"/>
                  </a:lnTo>
                  <a:lnTo>
                    <a:pt x="1" y="3"/>
                  </a:lnTo>
                  <a:lnTo>
                    <a:pt x="1" y="3"/>
                  </a:lnTo>
                  <a:lnTo>
                    <a:pt x="1" y="1"/>
                  </a:lnTo>
                  <a:lnTo>
                    <a:pt x="0" y="0"/>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65" name="Freeform 1588"/>
            <p:cNvSpPr>
              <a:spLocks/>
            </p:cNvSpPr>
            <p:nvPr/>
          </p:nvSpPr>
          <p:spPr bwMode="auto">
            <a:xfrm>
              <a:off x="4572284" y="2758432"/>
              <a:ext cx="4389" cy="4057"/>
            </a:xfrm>
            <a:custGeom>
              <a:avLst/>
              <a:gdLst/>
              <a:ahLst/>
              <a:cxnLst>
                <a:cxn ang="0">
                  <a:pos x="0" y="1"/>
                </a:cxn>
                <a:cxn ang="0">
                  <a:pos x="0" y="0"/>
                </a:cxn>
                <a:cxn ang="0">
                  <a:pos x="0" y="1"/>
                </a:cxn>
                <a:cxn ang="0">
                  <a:pos x="2" y="2"/>
                </a:cxn>
                <a:cxn ang="0">
                  <a:pos x="3" y="2"/>
                </a:cxn>
                <a:cxn ang="0">
                  <a:pos x="5" y="4"/>
                </a:cxn>
                <a:cxn ang="0">
                  <a:pos x="3" y="4"/>
                </a:cxn>
                <a:cxn ang="0">
                  <a:pos x="0" y="1"/>
                </a:cxn>
                <a:cxn ang="0">
                  <a:pos x="0" y="1"/>
                </a:cxn>
              </a:cxnLst>
              <a:rect l="0" t="0" r="r" b="b"/>
              <a:pathLst>
                <a:path w="5" h="4">
                  <a:moveTo>
                    <a:pt x="0" y="1"/>
                  </a:moveTo>
                  <a:lnTo>
                    <a:pt x="0" y="0"/>
                  </a:lnTo>
                  <a:lnTo>
                    <a:pt x="0" y="1"/>
                  </a:lnTo>
                  <a:lnTo>
                    <a:pt x="2" y="2"/>
                  </a:lnTo>
                  <a:lnTo>
                    <a:pt x="3" y="2"/>
                  </a:lnTo>
                  <a:lnTo>
                    <a:pt x="5" y="4"/>
                  </a:lnTo>
                  <a:lnTo>
                    <a:pt x="3" y="4"/>
                  </a:lnTo>
                  <a:lnTo>
                    <a:pt x="0" y="1"/>
                  </a:lnTo>
                  <a:lnTo>
                    <a:pt x="0"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66" name="Freeform 1589"/>
            <p:cNvSpPr>
              <a:spLocks/>
            </p:cNvSpPr>
            <p:nvPr/>
          </p:nvSpPr>
          <p:spPr bwMode="auto">
            <a:xfrm>
              <a:off x="4572284" y="2758432"/>
              <a:ext cx="4389" cy="4057"/>
            </a:xfrm>
            <a:custGeom>
              <a:avLst/>
              <a:gdLst/>
              <a:ahLst/>
              <a:cxnLst>
                <a:cxn ang="0">
                  <a:pos x="0" y="1"/>
                </a:cxn>
                <a:cxn ang="0">
                  <a:pos x="0" y="0"/>
                </a:cxn>
                <a:cxn ang="0">
                  <a:pos x="0" y="1"/>
                </a:cxn>
                <a:cxn ang="0">
                  <a:pos x="2" y="2"/>
                </a:cxn>
                <a:cxn ang="0">
                  <a:pos x="3" y="2"/>
                </a:cxn>
                <a:cxn ang="0">
                  <a:pos x="5" y="4"/>
                </a:cxn>
                <a:cxn ang="0">
                  <a:pos x="3" y="4"/>
                </a:cxn>
                <a:cxn ang="0">
                  <a:pos x="0" y="1"/>
                </a:cxn>
                <a:cxn ang="0">
                  <a:pos x="0" y="1"/>
                </a:cxn>
              </a:cxnLst>
              <a:rect l="0" t="0" r="r" b="b"/>
              <a:pathLst>
                <a:path w="5" h="4">
                  <a:moveTo>
                    <a:pt x="0" y="1"/>
                  </a:moveTo>
                  <a:lnTo>
                    <a:pt x="0" y="0"/>
                  </a:lnTo>
                  <a:lnTo>
                    <a:pt x="0" y="1"/>
                  </a:lnTo>
                  <a:lnTo>
                    <a:pt x="2" y="2"/>
                  </a:lnTo>
                  <a:lnTo>
                    <a:pt x="3" y="2"/>
                  </a:lnTo>
                  <a:lnTo>
                    <a:pt x="5" y="4"/>
                  </a:lnTo>
                  <a:lnTo>
                    <a:pt x="3" y="4"/>
                  </a:lnTo>
                  <a:lnTo>
                    <a:pt x="0" y="1"/>
                  </a:lnTo>
                  <a:lnTo>
                    <a:pt x="0"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67" name="Freeform 1590"/>
            <p:cNvSpPr>
              <a:spLocks/>
            </p:cNvSpPr>
            <p:nvPr/>
          </p:nvSpPr>
          <p:spPr bwMode="auto">
            <a:xfrm>
              <a:off x="4551217" y="2742206"/>
              <a:ext cx="2634" cy="1015"/>
            </a:xfrm>
            <a:custGeom>
              <a:avLst/>
              <a:gdLst/>
              <a:ahLst/>
              <a:cxnLst>
                <a:cxn ang="0">
                  <a:pos x="0" y="0"/>
                </a:cxn>
                <a:cxn ang="0">
                  <a:pos x="0" y="0"/>
                </a:cxn>
                <a:cxn ang="0">
                  <a:pos x="2" y="0"/>
                </a:cxn>
                <a:cxn ang="0">
                  <a:pos x="3" y="1"/>
                </a:cxn>
                <a:cxn ang="0">
                  <a:pos x="3" y="1"/>
                </a:cxn>
                <a:cxn ang="0">
                  <a:pos x="3" y="1"/>
                </a:cxn>
                <a:cxn ang="0">
                  <a:pos x="2" y="1"/>
                </a:cxn>
                <a:cxn ang="0">
                  <a:pos x="0" y="0"/>
                </a:cxn>
                <a:cxn ang="0">
                  <a:pos x="2" y="1"/>
                </a:cxn>
                <a:cxn ang="0">
                  <a:pos x="0" y="0"/>
                </a:cxn>
              </a:cxnLst>
              <a:rect l="0" t="0" r="r" b="b"/>
              <a:pathLst>
                <a:path w="3" h="1">
                  <a:moveTo>
                    <a:pt x="0" y="0"/>
                  </a:moveTo>
                  <a:lnTo>
                    <a:pt x="0" y="0"/>
                  </a:lnTo>
                  <a:lnTo>
                    <a:pt x="2" y="0"/>
                  </a:lnTo>
                  <a:lnTo>
                    <a:pt x="3" y="1"/>
                  </a:lnTo>
                  <a:lnTo>
                    <a:pt x="3" y="1"/>
                  </a:lnTo>
                  <a:lnTo>
                    <a:pt x="3" y="1"/>
                  </a:lnTo>
                  <a:lnTo>
                    <a:pt x="2" y="1"/>
                  </a:lnTo>
                  <a:lnTo>
                    <a:pt x="0" y="0"/>
                  </a:lnTo>
                  <a:lnTo>
                    <a:pt x="2" y="1"/>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68" name="Freeform 1591"/>
            <p:cNvSpPr>
              <a:spLocks/>
            </p:cNvSpPr>
            <p:nvPr/>
          </p:nvSpPr>
          <p:spPr bwMode="auto">
            <a:xfrm>
              <a:off x="4551217" y="2742206"/>
              <a:ext cx="2634" cy="1015"/>
            </a:xfrm>
            <a:custGeom>
              <a:avLst/>
              <a:gdLst/>
              <a:ahLst/>
              <a:cxnLst>
                <a:cxn ang="0">
                  <a:pos x="0" y="0"/>
                </a:cxn>
                <a:cxn ang="0">
                  <a:pos x="0" y="0"/>
                </a:cxn>
                <a:cxn ang="0">
                  <a:pos x="2" y="0"/>
                </a:cxn>
                <a:cxn ang="0">
                  <a:pos x="3" y="1"/>
                </a:cxn>
                <a:cxn ang="0">
                  <a:pos x="3" y="1"/>
                </a:cxn>
                <a:cxn ang="0">
                  <a:pos x="3" y="1"/>
                </a:cxn>
                <a:cxn ang="0">
                  <a:pos x="2" y="1"/>
                </a:cxn>
                <a:cxn ang="0">
                  <a:pos x="0" y="0"/>
                </a:cxn>
                <a:cxn ang="0">
                  <a:pos x="2" y="1"/>
                </a:cxn>
                <a:cxn ang="0">
                  <a:pos x="0" y="0"/>
                </a:cxn>
              </a:cxnLst>
              <a:rect l="0" t="0" r="r" b="b"/>
              <a:pathLst>
                <a:path w="3" h="1">
                  <a:moveTo>
                    <a:pt x="0" y="0"/>
                  </a:moveTo>
                  <a:lnTo>
                    <a:pt x="0" y="0"/>
                  </a:lnTo>
                  <a:lnTo>
                    <a:pt x="2" y="0"/>
                  </a:lnTo>
                  <a:lnTo>
                    <a:pt x="3" y="1"/>
                  </a:lnTo>
                  <a:lnTo>
                    <a:pt x="3" y="1"/>
                  </a:lnTo>
                  <a:lnTo>
                    <a:pt x="3" y="1"/>
                  </a:lnTo>
                  <a:lnTo>
                    <a:pt x="2" y="1"/>
                  </a:lnTo>
                  <a:lnTo>
                    <a:pt x="0" y="0"/>
                  </a:lnTo>
                  <a:lnTo>
                    <a:pt x="2" y="1"/>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69" name="Freeform 1592"/>
            <p:cNvSpPr>
              <a:spLocks/>
            </p:cNvSpPr>
            <p:nvPr/>
          </p:nvSpPr>
          <p:spPr bwMode="auto">
            <a:xfrm>
              <a:off x="4555607" y="2739164"/>
              <a:ext cx="5267" cy="4057"/>
            </a:xfrm>
            <a:custGeom>
              <a:avLst/>
              <a:gdLst/>
              <a:ahLst/>
              <a:cxnLst>
                <a:cxn ang="0">
                  <a:pos x="0" y="0"/>
                </a:cxn>
                <a:cxn ang="0">
                  <a:pos x="3" y="2"/>
                </a:cxn>
                <a:cxn ang="0">
                  <a:pos x="5" y="2"/>
                </a:cxn>
                <a:cxn ang="0">
                  <a:pos x="5" y="2"/>
                </a:cxn>
                <a:cxn ang="0">
                  <a:pos x="4" y="2"/>
                </a:cxn>
                <a:cxn ang="0">
                  <a:pos x="3" y="3"/>
                </a:cxn>
                <a:cxn ang="0">
                  <a:pos x="1" y="3"/>
                </a:cxn>
                <a:cxn ang="0">
                  <a:pos x="0" y="0"/>
                </a:cxn>
              </a:cxnLst>
              <a:rect l="0" t="0" r="r" b="b"/>
              <a:pathLst>
                <a:path w="5" h="3">
                  <a:moveTo>
                    <a:pt x="0" y="0"/>
                  </a:moveTo>
                  <a:lnTo>
                    <a:pt x="3" y="2"/>
                  </a:lnTo>
                  <a:lnTo>
                    <a:pt x="5" y="2"/>
                  </a:lnTo>
                  <a:lnTo>
                    <a:pt x="5" y="2"/>
                  </a:lnTo>
                  <a:lnTo>
                    <a:pt x="4" y="2"/>
                  </a:lnTo>
                  <a:lnTo>
                    <a:pt x="3" y="3"/>
                  </a:lnTo>
                  <a:lnTo>
                    <a:pt x="1" y="3"/>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70" name="Freeform 1593"/>
            <p:cNvSpPr>
              <a:spLocks/>
            </p:cNvSpPr>
            <p:nvPr/>
          </p:nvSpPr>
          <p:spPr bwMode="auto">
            <a:xfrm>
              <a:off x="4555607" y="2739164"/>
              <a:ext cx="5267" cy="4057"/>
            </a:xfrm>
            <a:custGeom>
              <a:avLst/>
              <a:gdLst/>
              <a:ahLst/>
              <a:cxnLst>
                <a:cxn ang="0">
                  <a:pos x="0" y="0"/>
                </a:cxn>
                <a:cxn ang="0">
                  <a:pos x="3" y="2"/>
                </a:cxn>
                <a:cxn ang="0">
                  <a:pos x="5" y="2"/>
                </a:cxn>
                <a:cxn ang="0">
                  <a:pos x="5" y="2"/>
                </a:cxn>
                <a:cxn ang="0">
                  <a:pos x="4" y="2"/>
                </a:cxn>
                <a:cxn ang="0">
                  <a:pos x="3" y="3"/>
                </a:cxn>
                <a:cxn ang="0">
                  <a:pos x="1" y="3"/>
                </a:cxn>
                <a:cxn ang="0">
                  <a:pos x="0" y="0"/>
                </a:cxn>
              </a:cxnLst>
              <a:rect l="0" t="0" r="r" b="b"/>
              <a:pathLst>
                <a:path w="5" h="3">
                  <a:moveTo>
                    <a:pt x="0" y="0"/>
                  </a:moveTo>
                  <a:lnTo>
                    <a:pt x="3" y="2"/>
                  </a:lnTo>
                  <a:lnTo>
                    <a:pt x="5" y="2"/>
                  </a:lnTo>
                  <a:lnTo>
                    <a:pt x="5" y="2"/>
                  </a:lnTo>
                  <a:lnTo>
                    <a:pt x="4" y="2"/>
                  </a:lnTo>
                  <a:lnTo>
                    <a:pt x="3" y="3"/>
                  </a:lnTo>
                  <a:lnTo>
                    <a:pt x="1" y="3"/>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71" name="Freeform 1594"/>
            <p:cNvSpPr>
              <a:spLocks/>
            </p:cNvSpPr>
            <p:nvPr/>
          </p:nvSpPr>
          <p:spPr bwMode="auto">
            <a:xfrm>
              <a:off x="4574040" y="2752347"/>
              <a:ext cx="2634" cy="3043"/>
            </a:xfrm>
            <a:custGeom>
              <a:avLst/>
              <a:gdLst/>
              <a:ahLst/>
              <a:cxnLst>
                <a:cxn ang="0">
                  <a:pos x="0" y="0"/>
                </a:cxn>
                <a:cxn ang="0">
                  <a:pos x="0" y="0"/>
                </a:cxn>
                <a:cxn ang="0">
                  <a:pos x="0" y="0"/>
                </a:cxn>
                <a:cxn ang="0">
                  <a:pos x="1" y="0"/>
                </a:cxn>
                <a:cxn ang="0">
                  <a:pos x="1" y="1"/>
                </a:cxn>
                <a:cxn ang="0">
                  <a:pos x="3" y="1"/>
                </a:cxn>
                <a:cxn ang="0">
                  <a:pos x="1" y="3"/>
                </a:cxn>
                <a:cxn ang="0">
                  <a:pos x="1" y="3"/>
                </a:cxn>
                <a:cxn ang="0">
                  <a:pos x="1" y="1"/>
                </a:cxn>
                <a:cxn ang="0">
                  <a:pos x="0" y="0"/>
                </a:cxn>
                <a:cxn ang="0">
                  <a:pos x="0" y="0"/>
                </a:cxn>
              </a:cxnLst>
              <a:rect l="0" t="0" r="r" b="b"/>
              <a:pathLst>
                <a:path w="3" h="3">
                  <a:moveTo>
                    <a:pt x="0" y="0"/>
                  </a:moveTo>
                  <a:lnTo>
                    <a:pt x="0" y="0"/>
                  </a:lnTo>
                  <a:lnTo>
                    <a:pt x="0" y="0"/>
                  </a:lnTo>
                  <a:lnTo>
                    <a:pt x="1" y="0"/>
                  </a:lnTo>
                  <a:lnTo>
                    <a:pt x="1" y="1"/>
                  </a:lnTo>
                  <a:lnTo>
                    <a:pt x="3" y="1"/>
                  </a:lnTo>
                  <a:lnTo>
                    <a:pt x="1" y="3"/>
                  </a:lnTo>
                  <a:lnTo>
                    <a:pt x="1" y="3"/>
                  </a:lnTo>
                  <a:lnTo>
                    <a:pt x="1" y="1"/>
                  </a:lnTo>
                  <a:lnTo>
                    <a:pt x="0" y="0"/>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72" name="Freeform 1595"/>
            <p:cNvSpPr>
              <a:spLocks/>
            </p:cNvSpPr>
            <p:nvPr/>
          </p:nvSpPr>
          <p:spPr bwMode="auto">
            <a:xfrm>
              <a:off x="4574040" y="2752347"/>
              <a:ext cx="2634" cy="3043"/>
            </a:xfrm>
            <a:custGeom>
              <a:avLst/>
              <a:gdLst/>
              <a:ahLst/>
              <a:cxnLst>
                <a:cxn ang="0">
                  <a:pos x="0" y="0"/>
                </a:cxn>
                <a:cxn ang="0">
                  <a:pos x="0" y="0"/>
                </a:cxn>
                <a:cxn ang="0">
                  <a:pos x="0" y="0"/>
                </a:cxn>
                <a:cxn ang="0">
                  <a:pos x="1" y="0"/>
                </a:cxn>
                <a:cxn ang="0">
                  <a:pos x="1" y="1"/>
                </a:cxn>
                <a:cxn ang="0">
                  <a:pos x="3" y="1"/>
                </a:cxn>
                <a:cxn ang="0">
                  <a:pos x="1" y="3"/>
                </a:cxn>
                <a:cxn ang="0">
                  <a:pos x="1" y="3"/>
                </a:cxn>
                <a:cxn ang="0">
                  <a:pos x="1" y="1"/>
                </a:cxn>
                <a:cxn ang="0">
                  <a:pos x="0" y="0"/>
                </a:cxn>
                <a:cxn ang="0">
                  <a:pos x="0" y="0"/>
                </a:cxn>
              </a:cxnLst>
              <a:rect l="0" t="0" r="r" b="b"/>
              <a:pathLst>
                <a:path w="3" h="3">
                  <a:moveTo>
                    <a:pt x="0" y="0"/>
                  </a:moveTo>
                  <a:lnTo>
                    <a:pt x="0" y="0"/>
                  </a:lnTo>
                  <a:lnTo>
                    <a:pt x="0" y="0"/>
                  </a:lnTo>
                  <a:lnTo>
                    <a:pt x="1" y="0"/>
                  </a:lnTo>
                  <a:lnTo>
                    <a:pt x="1" y="1"/>
                  </a:lnTo>
                  <a:lnTo>
                    <a:pt x="3" y="1"/>
                  </a:lnTo>
                  <a:lnTo>
                    <a:pt x="1" y="3"/>
                  </a:lnTo>
                  <a:lnTo>
                    <a:pt x="1" y="3"/>
                  </a:lnTo>
                  <a:lnTo>
                    <a:pt x="1" y="1"/>
                  </a:lnTo>
                  <a:lnTo>
                    <a:pt x="0" y="0"/>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73" name="Freeform 1596"/>
            <p:cNvSpPr>
              <a:spLocks/>
            </p:cNvSpPr>
            <p:nvPr/>
          </p:nvSpPr>
          <p:spPr bwMode="auto">
            <a:xfrm>
              <a:off x="4572284" y="2758432"/>
              <a:ext cx="4389" cy="4057"/>
            </a:xfrm>
            <a:custGeom>
              <a:avLst/>
              <a:gdLst/>
              <a:ahLst/>
              <a:cxnLst>
                <a:cxn ang="0">
                  <a:pos x="0" y="1"/>
                </a:cxn>
                <a:cxn ang="0">
                  <a:pos x="0" y="0"/>
                </a:cxn>
                <a:cxn ang="0">
                  <a:pos x="0" y="1"/>
                </a:cxn>
                <a:cxn ang="0">
                  <a:pos x="2" y="2"/>
                </a:cxn>
                <a:cxn ang="0">
                  <a:pos x="3" y="2"/>
                </a:cxn>
                <a:cxn ang="0">
                  <a:pos x="5" y="4"/>
                </a:cxn>
                <a:cxn ang="0">
                  <a:pos x="3" y="4"/>
                </a:cxn>
                <a:cxn ang="0">
                  <a:pos x="0" y="1"/>
                </a:cxn>
                <a:cxn ang="0">
                  <a:pos x="0" y="1"/>
                </a:cxn>
              </a:cxnLst>
              <a:rect l="0" t="0" r="r" b="b"/>
              <a:pathLst>
                <a:path w="5" h="4">
                  <a:moveTo>
                    <a:pt x="0" y="1"/>
                  </a:moveTo>
                  <a:lnTo>
                    <a:pt x="0" y="0"/>
                  </a:lnTo>
                  <a:lnTo>
                    <a:pt x="0" y="1"/>
                  </a:lnTo>
                  <a:lnTo>
                    <a:pt x="2" y="2"/>
                  </a:lnTo>
                  <a:lnTo>
                    <a:pt x="3" y="2"/>
                  </a:lnTo>
                  <a:lnTo>
                    <a:pt x="5" y="4"/>
                  </a:lnTo>
                  <a:lnTo>
                    <a:pt x="3" y="4"/>
                  </a:lnTo>
                  <a:lnTo>
                    <a:pt x="0" y="1"/>
                  </a:lnTo>
                  <a:lnTo>
                    <a:pt x="0"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74" name="Freeform 1597"/>
            <p:cNvSpPr>
              <a:spLocks/>
            </p:cNvSpPr>
            <p:nvPr/>
          </p:nvSpPr>
          <p:spPr bwMode="auto">
            <a:xfrm>
              <a:off x="4572284" y="2758432"/>
              <a:ext cx="4389" cy="4057"/>
            </a:xfrm>
            <a:custGeom>
              <a:avLst/>
              <a:gdLst/>
              <a:ahLst/>
              <a:cxnLst>
                <a:cxn ang="0">
                  <a:pos x="0" y="1"/>
                </a:cxn>
                <a:cxn ang="0">
                  <a:pos x="0" y="0"/>
                </a:cxn>
                <a:cxn ang="0">
                  <a:pos x="0" y="1"/>
                </a:cxn>
                <a:cxn ang="0">
                  <a:pos x="2" y="2"/>
                </a:cxn>
                <a:cxn ang="0">
                  <a:pos x="3" y="2"/>
                </a:cxn>
                <a:cxn ang="0">
                  <a:pos x="5" y="4"/>
                </a:cxn>
                <a:cxn ang="0">
                  <a:pos x="3" y="4"/>
                </a:cxn>
                <a:cxn ang="0">
                  <a:pos x="0" y="1"/>
                </a:cxn>
                <a:cxn ang="0">
                  <a:pos x="0" y="1"/>
                </a:cxn>
              </a:cxnLst>
              <a:rect l="0" t="0" r="r" b="b"/>
              <a:pathLst>
                <a:path w="5" h="4">
                  <a:moveTo>
                    <a:pt x="0" y="1"/>
                  </a:moveTo>
                  <a:lnTo>
                    <a:pt x="0" y="0"/>
                  </a:lnTo>
                  <a:lnTo>
                    <a:pt x="0" y="1"/>
                  </a:lnTo>
                  <a:lnTo>
                    <a:pt x="2" y="2"/>
                  </a:lnTo>
                  <a:lnTo>
                    <a:pt x="3" y="2"/>
                  </a:lnTo>
                  <a:lnTo>
                    <a:pt x="5" y="4"/>
                  </a:lnTo>
                  <a:lnTo>
                    <a:pt x="3" y="4"/>
                  </a:lnTo>
                  <a:lnTo>
                    <a:pt x="0" y="1"/>
                  </a:lnTo>
                  <a:lnTo>
                    <a:pt x="0"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75" name="Freeform 1598"/>
            <p:cNvSpPr>
              <a:spLocks/>
            </p:cNvSpPr>
            <p:nvPr/>
          </p:nvSpPr>
          <p:spPr bwMode="auto">
            <a:xfrm>
              <a:off x="4854059" y="2839562"/>
              <a:ext cx="7900" cy="10141"/>
            </a:xfrm>
            <a:custGeom>
              <a:avLst/>
              <a:gdLst/>
              <a:ahLst/>
              <a:cxnLst>
                <a:cxn ang="0">
                  <a:pos x="1" y="6"/>
                </a:cxn>
                <a:cxn ang="0">
                  <a:pos x="1" y="6"/>
                </a:cxn>
                <a:cxn ang="0">
                  <a:pos x="3" y="4"/>
                </a:cxn>
                <a:cxn ang="0">
                  <a:pos x="4" y="3"/>
                </a:cxn>
                <a:cxn ang="0">
                  <a:pos x="4" y="3"/>
                </a:cxn>
                <a:cxn ang="0">
                  <a:pos x="6" y="1"/>
                </a:cxn>
                <a:cxn ang="0">
                  <a:pos x="7" y="1"/>
                </a:cxn>
                <a:cxn ang="0">
                  <a:pos x="7" y="0"/>
                </a:cxn>
                <a:cxn ang="0">
                  <a:pos x="9" y="1"/>
                </a:cxn>
                <a:cxn ang="0">
                  <a:pos x="7" y="1"/>
                </a:cxn>
                <a:cxn ang="0">
                  <a:pos x="0" y="10"/>
                </a:cxn>
                <a:cxn ang="0">
                  <a:pos x="0" y="10"/>
                </a:cxn>
                <a:cxn ang="0">
                  <a:pos x="0" y="10"/>
                </a:cxn>
                <a:cxn ang="0">
                  <a:pos x="1" y="6"/>
                </a:cxn>
                <a:cxn ang="0">
                  <a:pos x="1" y="6"/>
                </a:cxn>
              </a:cxnLst>
              <a:rect l="0" t="0" r="r" b="b"/>
              <a:pathLst>
                <a:path w="9" h="10">
                  <a:moveTo>
                    <a:pt x="1" y="6"/>
                  </a:moveTo>
                  <a:lnTo>
                    <a:pt x="1" y="6"/>
                  </a:lnTo>
                  <a:lnTo>
                    <a:pt x="3" y="4"/>
                  </a:lnTo>
                  <a:lnTo>
                    <a:pt x="4" y="3"/>
                  </a:lnTo>
                  <a:lnTo>
                    <a:pt x="4" y="3"/>
                  </a:lnTo>
                  <a:lnTo>
                    <a:pt x="6" y="1"/>
                  </a:lnTo>
                  <a:lnTo>
                    <a:pt x="7" y="1"/>
                  </a:lnTo>
                  <a:lnTo>
                    <a:pt x="7" y="0"/>
                  </a:lnTo>
                  <a:lnTo>
                    <a:pt x="9" y="1"/>
                  </a:lnTo>
                  <a:lnTo>
                    <a:pt x="7" y="1"/>
                  </a:lnTo>
                  <a:lnTo>
                    <a:pt x="0" y="10"/>
                  </a:lnTo>
                  <a:lnTo>
                    <a:pt x="0" y="10"/>
                  </a:lnTo>
                  <a:lnTo>
                    <a:pt x="0" y="10"/>
                  </a:lnTo>
                  <a:lnTo>
                    <a:pt x="1" y="6"/>
                  </a:lnTo>
                  <a:lnTo>
                    <a:pt x="1"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76" name="Freeform 1599"/>
            <p:cNvSpPr>
              <a:spLocks/>
            </p:cNvSpPr>
            <p:nvPr/>
          </p:nvSpPr>
          <p:spPr bwMode="auto">
            <a:xfrm>
              <a:off x="4854059" y="2839562"/>
              <a:ext cx="7900" cy="10141"/>
            </a:xfrm>
            <a:custGeom>
              <a:avLst/>
              <a:gdLst/>
              <a:ahLst/>
              <a:cxnLst>
                <a:cxn ang="0">
                  <a:pos x="1" y="6"/>
                </a:cxn>
                <a:cxn ang="0">
                  <a:pos x="1" y="6"/>
                </a:cxn>
                <a:cxn ang="0">
                  <a:pos x="3" y="4"/>
                </a:cxn>
                <a:cxn ang="0">
                  <a:pos x="4" y="3"/>
                </a:cxn>
                <a:cxn ang="0">
                  <a:pos x="4" y="3"/>
                </a:cxn>
                <a:cxn ang="0">
                  <a:pos x="6" y="1"/>
                </a:cxn>
                <a:cxn ang="0">
                  <a:pos x="7" y="1"/>
                </a:cxn>
                <a:cxn ang="0">
                  <a:pos x="7" y="0"/>
                </a:cxn>
                <a:cxn ang="0">
                  <a:pos x="9" y="1"/>
                </a:cxn>
                <a:cxn ang="0">
                  <a:pos x="7" y="1"/>
                </a:cxn>
                <a:cxn ang="0">
                  <a:pos x="0" y="10"/>
                </a:cxn>
                <a:cxn ang="0">
                  <a:pos x="0" y="10"/>
                </a:cxn>
                <a:cxn ang="0">
                  <a:pos x="0" y="10"/>
                </a:cxn>
                <a:cxn ang="0">
                  <a:pos x="1" y="6"/>
                </a:cxn>
                <a:cxn ang="0">
                  <a:pos x="1" y="6"/>
                </a:cxn>
              </a:cxnLst>
              <a:rect l="0" t="0" r="r" b="b"/>
              <a:pathLst>
                <a:path w="9" h="10">
                  <a:moveTo>
                    <a:pt x="1" y="6"/>
                  </a:moveTo>
                  <a:lnTo>
                    <a:pt x="1" y="6"/>
                  </a:lnTo>
                  <a:lnTo>
                    <a:pt x="3" y="4"/>
                  </a:lnTo>
                  <a:lnTo>
                    <a:pt x="4" y="3"/>
                  </a:lnTo>
                  <a:lnTo>
                    <a:pt x="4" y="3"/>
                  </a:lnTo>
                  <a:lnTo>
                    <a:pt x="6" y="1"/>
                  </a:lnTo>
                  <a:lnTo>
                    <a:pt x="7" y="1"/>
                  </a:lnTo>
                  <a:lnTo>
                    <a:pt x="7" y="0"/>
                  </a:lnTo>
                  <a:lnTo>
                    <a:pt x="9" y="1"/>
                  </a:lnTo>
                  <a:lnTo>
                    <a:pt x="7" y="1"/>
                  </a:lnTo>
                  <a:lnTo>
                    <a:pt x="0" y="10"/>
                  </a:lnTo>
                  <a:lnTo>
                    <a:pt x="0" y="10"/>
                  </a:lnTo>
                  <a:lnTo>
                    <a:pt x="0" y="10"/>
                  </a:lnTo>
                  <a:lnTo>
                    <a:pt x="1" y="6"/>
                  </a:lnTo>
                  <a:lnTo>
                    <a:pt x="1"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77" name="Freeform 1600"/>
            <p:cNvSpPr>
              <a:spLocks/>
            </p:cNvSpPr>
            <p:nvPr/>
          </p:nvSpPr>
          <p:spPr bwMode="auto">
            <a:xfrm>
              <a:off x="5066486" y="2890269"/>
              <a:ext cx="2633" cy="6085"/>
            </a:xfrm>
            <a:custGeom>
              <a:avLst/>
              <a:gdLst/>
              <a:ahLst/>
              <a:cxnLst>
                <a:cxn ang="0">
                  <a:pos x="3" y="0"/>
                </a:cxn>
                <a:cxn ang="0">
                  <a:pos x="3" y="0"/>
                </a:cxn>
                <a:cxn ang="0">
                  <a:pos x="0" y="3"/>
                </a:cxn>
                <a:cxn ang="0">
                  <a:pos x="0" y="5"/>
                </a:cxn>
                <a:cxn ang="0">
                  <a:pos x="3" y="0"/>
                </a:cxn>
              </a:cxnLst>
              <a:rect l="0" t="0" r="r" b="b"/>
              <a:pathLst>
                <a:path w="3" h="5">
                  <a:moveTo>
                    <a:pt x="3" y="0"/>
                  </a:moveTo>
                  <a:lnTo>
                    <a:pt x="3" y="0"/>
                  </a:lnTo>
                  <a:lnTo>
                    <a:pt x="0" y="3"/>
                  </a:lnTo>
                  <a:lnTo>
                    <a:pt x="0" y="5"/>
                  </a:lnTo>
                  <a:lnTo>
                    <a:pt x="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78" name="Freeform 1601"/>
            <p:cNvSpPr>
              <a:spLocks/>
            </p:cNvSpPr>
            <p:nvPr/>
          </p:nvSpPr>
          <p:spPr bwMode="auto">
            <a:xfrm>
              <a:off x="5066486" y="2890269"/>
              <a:ext cx="2633" cy="6085"/>
            </a:xfrm>
            <a:custGeom>
              <a:avLst/>
              <a:gdLst/>
              <a:ahLst/>
              <a:cxnLst>
                <a:cxn ang="0">
                  <a:pos x="3" y="0"/>
                </a:cxn>
                <a:cxn ang="0">
                  <a:pos x="3" y="0"/>
                </a:cxn>
                <a:cxn ang="0">
                  <a:pos x="0" y="3"/>
                </a:cxn>
                <a:cxn ang="0">
                  <a:pos x="0" y="5"/>
                </a:cxn>
                <a:cxn ang="0">
                  <a:pos x="3" y="0"/>
                </a:cxn>
              </a:cxnLst>
              <a:rect l="0" t="0" r="r" b="b"/>
              <a:pathLst>
                <a:path w="3" h="5">
                  <a:moveTo>
                    <a:pt x="3" y="0"/>
                  </a:moveTo>
                  <a:lnTo>
                    <a:pt x="3" y="0"/>
                  </a:lnTo>
                  <a:lnTo>
                    <a:pt x="0" y="3"/>
                  </a:lnTo>
                  <a:lnTo>
                    <a:pt x="0" y="5"/>
                  </a:lnTo>
                  <a:lnTo>
                    <a:pt x="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79" name="Freeform 1602"/>
            <p:cNvSpPr>
              <a:spLocks/>
            </p:cNvSpPr>
            <p:nvPr/>
          </p:nvSpPr>
          <p:spPr bwMode="auto">
            <a:xfrm>
              <a:off x="5062976" y="2896354"/>
              <a:ext cx="2633" cy="1015"/>
            </a:xfrm>
            <a:custGeom>
              <a:avLst/>
              <a:gdLst/>
              <a:ahLst/>
              <a:cxnLst>
                <a:cxn ang="0">
                  <a:pos x="3" y="0"/>
                </a:cxn>
                <a:cxn ang="0">
                  <a:pos x="0" y="1"/>
                </a:cxn>
                <a:cxn ang="0">
                  <a:pos x="0" y="1"/>
                </a:cxn>
                <a:cxn ang="0">
                  <a:pos x="3" y="1"/>
                </a:cxn>
                <a:cxn ang="0">
                  <a:pos x="3" y="0"/>
                </a:cxn>
              </a:cxnLst>
              <a:rect l="0" t="0" r="r" b="b"/>
              <a:pathLst>
                <a:path w="3" h="1">
                  <a:moveTo>
                    <a:pt x="3" y="0"/>
                  </a:moveTo>
                  <a:lnTo>
                    <a:pt x="0" y="1"/>
                  </a:lnTo>
                  <a:lnTo>
                    <a:pt x="0" y="1"/>
                  </a:lnTo>
                  <a:lnTo>
                    <a:pt x="3" y="1"/>
                  </a:lnTo>
                  <a:lnTo>
                    <a:pt x="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80" name="Freeform 1603"/>
            <p:cNvSpPr>
              <a:spLocks/>
            </p:cNvSpPr>
            <p:nvPr/>
          </p:nvSpPr>
          <p:spPr bwMode="auto">
            <a:xfrm>
              <a:off x="5062976" y="2896354"/>
              <a:ext cx="2633" cy="1015"/>
            </a:xfrm>
            <a:custGeom>
              <a:avLst/>
              <a:gdLst/>
              <a:ahLst/>
              <a:cxnLst>
                <a:cxn ang="0">
                  <a:pos x="3" y="0"/>
                </a:cxn>
                <a:cxn ang="0">
                  <a:pos x="0" y="1"/>
                </a:cxn>
                <a:cxn ang="0">
                  <a:pos x="0" y="1"/>
                </a:cxn>
                <a:cxn ang="0">
                  <a:pos x="3" y="1"/>
                </a:cxn>
                <a:cxn ang="0">
                  <a:pos x="3" y="0"/>
                </a:cxn>
              </a:cxnLst>
              <a:rect l="0" t="0" r="r" b="b"/>
              <a:pathLst>
                <a:path w="3" h="1">
                  <a:moveTo>
                    <a:pt x="3" y="0"/>
                  </a:moveTo>
                  <a:lnTo>
                    <a:pt x="0" y="1"/>
                  </a:lnTo>
                  <a:lnTo>
                    <a:pt x="0" y="1"/>
                  </a:lnTo>
                  <a:lnTo>
                    <a:pt x="3" y="1"/>
                  </a:lnTo>
                  <a:lnTo>
                    <a:pt x="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81" name="Freeform 1604"/>
            <p:cNvSpPr>
              <a:spLocks/>
            </p:cNvSpPr>
            <p:nvPr/>
          </p:nvSpPr>
          <p:spPr bwMode="auto">
            <a:xfrm>
              <a:off x="5050686" y="2897368"/>
              <a:ext cx="7022" cy="5071"/>
            </a:xfrm>
            <a:custGeom>
              <a:avLst/>
              <a:gdLst/>
              <a:ahLst/>
              <a:cxnLst>
                <a:cxn ang="0">
                  <a:pos x="7" y="3"/>
                </a:cxn>
                <a:cxn ang="0">
                  <a:pos x="6" y="3"/>
                </a:cxn>
                <a:cxn ang="0">
                  <a:pos x="3" y="5"/>
                </a:cxn>
                <a:cxn ang="0">
                  <a:pos x="0" y="5"/>
                </a:cxn>
                <a:cxn ang="0">
                  <a:pos x="0" y="3"/>
                </a:cxn>
                <a:cxn ang="0">
                  <a:pos x="3" y="3"/>
                </a:cxn>
                <a:cxn ang="0">
                  <a:pos x="6" y="0"/>
                </a:cxn>
                <a:cxn ang="0">
                  <a:pos x="7" y="2"/>
                </a:cxn>
                <a:cxn ang="0">
                  <a:pos x="7" y="3"/>
                </a:cxn>
              </a:cxnLst>
              <a:rect l="0" t="0" r="r" b="b"/>
              <a:pathLst>
                <a:path w="7" h="5">
                  <a:moveTo>
                    <a:pt x="7" y="3"/>
                  </a:moveTo>
                  <a:lnTo>
                    <a:pt x="6" y="3"/>
                  </a:lnTo>
                  <a:lnTo>
                    <a:pt x="3" y="5"/>
                  </a:lnTo>
                  <a:lnTo>
                    <a:pt x="0" y="5"/>
                  </a:lnTo>
                  <a:lnTo>
                    <a:pt x="0" y="3"/>
                  </a:lnTo>
                  <a:lnTo>
                    <a:pt x="3" y="3"/>
                  </a:lnTo>
                  <a:lnTo>
                    <a:pt x="6" y="0"/>
                  </a:lnTo>
                  <a:lnTo>
                    <a:pt x="7" y="2"/>
                  </a:lnTo>
                  <a:lnTo>
                    <a:pt x="7"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82" name="Freeform 1605"/>
            <p:cNvSpPr>
              <a:spLocks/>
            </p:cNvSpPr>
            <p:nvPr/>
          </p:nvSpPr>
          <p:spPr bwMode="auto">
            <a:xfrm>
              <a:off x="5050686" y="2897368"/>
              <a:ext cx="7022" cy="5071"/>
            </a:xfrm>
            <a:custGeom>
              <a:avLst/>
              <a:gdLst/>
              <a:ahLst/>
              <a:cxnLst>
                <a:cxn ang="0">
                  <a:pos x="7" y="3"/>
                </a:cxn>
                <a:cxn ang="0">
                  <a:pos x="6" y="3"/>
                </a:cxn>
                <a:cxn ang="0">
                  <a:pos x="3" y="5"/>
                </a:cxn>
                <a:cxn ang="0">
                  <a:pos x="0" y="5"/>
                </a:cxn>
                <a:cxn ang="0">
                  <a:pos x="0" y="3"/>
                </a:cxn>
                <a:cxn ang="0">
                  <a:pos x="3" y="3"/>
                </a:cxn>
                <a:cxn ang="0">
                  <a:pos x="6" y="0"/>
                </a:cxn>
                <a:cxn ang="0">
                  <a:pos x="7" y="2"/>
                </a:cxn>
                <a:cxn ang="0">
                  <a:pos x="7" y="3"/>
                </a:cxn>
              </a:cxnLst>
              <a:rect l="0" t="0" r="r" b="b"/>
              <a:pathLst>
                <a:path w="7" h="5">
                  <a:moveTo>
                    <a:pt x="7" y="3"/>
                  </a:moveTo>
                  <a:lnTo>
                    <a:pt x="6" y="3"/>
                  </a:lnTo>
                  <a:lnTo>
                    <a:pt x="3" y="5"/>
                  </a:lnTo>
                  <a:lnTo>
                    <a:pt x="0" y="5"/>
                  </a:lnTo>
                  <a:lnTo>
                    <a:pt x="0" y="3"/>
                  </a:lnTo>
                  <a:lnTo>
                    <a:pt x="3" y="3"/>
                  </a:lnTo>
                  <a:lnTo>
                    <a:pt x="6" y="0"/>
                  </a:lnTo>
                  <a:lnTo>
                    <a:pt x="7" y="2"/>
                  </a:lnTo>
                  <a:lnTo>
                    <a:pt x="7"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83" name="Freeform 1606"/>
            <p:cNvSpPr>
              <a:spLocks/>
            </p:cNvSpPr>
            <p:nvPr/>
          </p:nvSpPr>
          <p:spPr bwMode="auto">
            <a:xfrm>
              <a:off x="5125298" y="2719895"/>
              <a:ext cx="3511" cy="5071"/>
            </a:xfrm>
            <a:custGeom>
              <a:avLst/>
              <a:gdLst/>
              <a:ahLst/>
              <a:cxnLst>
                <a:cxn ang="0">
                  <a:pos x="0" y="3"/>
                </a:cxn>
                <a:cxn ang="0">
                  <a:pos x="0" y="5"/>
                </a:cxn>
                <a:cxn ang="0">
                  <a:pos x="4" y="2"/>
                </a:cxn>
                <a:cxn ang="0">
                  <a:pos x="4" y="0"/>
                </a:cxn>
                <a:cxn ang="0">
                  <a:pos x="0" y="3"/>
                </a:cxn>
              </a:cxnLst>
              <a:rect l="0" t="0" r="r" b="b"/>
              <a:pathLst>
                <a:path w="4" h="5">
                  <a:moveTo>
                    <a:pt x="0" y="3"/>
                  </a:moveTo>
                  <a:lnTo>
                    <a:pt x="0" y="5"/>
                  </a:lnTo>
                  <a:lnTo>
                    <a:pt x="4" y="2"/>
                  </a:lnTo>
                  <a:lnTo>
                    <a:pt x="4" y="0"/>
                  </a:lnTo>
                  <a:lnTo>
                    <a:pt x="0"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84" name="Freeform 1607"/>
            <p:cNvSpPr>
              <a:spLocks/>
            </p:cNvSpPr>
            <p:nvPr/>
          </p:nvSpPr>
          <p:spPr bwMode="auto">
            <a:xfrm>
              <a:off x="5125298" y="2719895"/>
              <a:ext cx="3511" cy="5071"/>
            </a:xfrm>
            <a:custGeom>
              <a:avLst/>
              <a:gdLst/>
              <a:ahLst/>
              <a:cxnLst>
                <a:cxn ang="0">
                  <a:pos x="0" y="3"/>
                </a:cxn>
                <a:cxn ang="0">
                  <a:pos x="0" y="5"/>
                </a:cxn>
                <a:cxn ang="0">
                  <a:pos x="4" y="2"/>
                </a:cxn>
                <a:cxn ang="0">
                  <a:pos x="4" y="0"/>
                </a:cxn>
                <a:cxn ang="0">
                  <a:pos x="0" y="3"/>
                </a:cxn>
              </a:cxnLst>
              <a:rect l="0" t="0" r="r" b="b"/>
              <a:pathLst>
                <a:path w="4" h="5">
                  <a:moveTo>
                    <a:pt x="0" y="3"/>
                  </a:moveTo>
                  <a:lnTo>
                    <a:pt x="0" y="5"/>
                  </a:lnTo>
                  <a:lnTo>
                    <a:pt x="4" y="2"/>
                  </a:lnTo>
                  <a:lnTo>
                    <a:pt x="4" y="0"/>
                  </a:lnTo>
                  <a:lnTo>
                    <a:pt x="0"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85" name="Freeform 1608"/>
            <p:cNvSpPr>
              <a:spLocks/>
            </p:cNvSpPr>
            <p:nvPr/>
          </p:nvSpPr>
          <p:spPr bwMode="auto">
            <a:xfrm>
              <a:off x="5130566" y="2705697"/>
              <a:ext cx="4389" cy="14198"/>
            </a:xfrm>
            <a:custGeom>
              <a:avLst/>
              <a:gdLst/>
              <a:ahLst/>
              <a:cxnLst>
                <a:cxn ang="0">
                  <a:pos x="0" y="14"/>
                </a:cxn>
                <a:cxn ang="0">
                  <a:pos x="0" y="14"/>
                </a:cxn>
                <a:cxn ang="0">
                  <a:pos x="3" y="13"/>
                </a:cxn>
                <a:cxn ang="0">
                  <a:pos x="4" y="7"/>
                </a:cxn>
                <a:cxn ang="0">
                  <a:pos x="0" y="0"/>
                </a:cxn>
                <a:cxn ang="0">
                  <a:pos x="0" y="0"/>
                </a:cxn>
                <a:cxn ang="0">
                  <a:pos x="3" y="7"/>
                </a:cxn>
                <a:cxn ang="0">
                  <a:pos x="3" y="13"/>
                </a:cxn>
                <a:cxn ang="0">
                  <a:pos x="0" y="14"/>
                </a:cxn>
              </a:cxnLst>
              <a:rect l="0" t="0" r="r" b="b"/>
              <a:pathLst>
                <a:path w="4" h="14">
                  <a:moveTo>
                    <a:pt x="0" y="14"/>
                  </a:moveTo>
                  <a:lnTo>
                    <a:pt x="0" y="14"/>
                  </a:lnTo>
                  <a:lnTo>
                    <a:pt x="3" y="13"/>
                  </a:lnTo>
                  <a:lnTo>
                    <a:pt x="4" y="7"/>
                  </a:lnTo>
                  <a:lnTo>
                    <a:pt x="0" y="0"/>
                  </a:lnTo>
                  <a:lnTo>
                    <a:pt x="0" y="0"/>
                  </a:lnTo>
                  <a:lnTo>
                    <a:pt x="3" y="7"/>
                  </a:lnTo>
                  <a:lnTo>
                    <a:pt x="3" y="13"/>
                  </a:lnTo>
                  <a:lnTo>
                    <a:pt x="0" y="1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86" name="Freeform 1609"/>
            <p:cNvSpPr>
              <a:spLocks/>
            </p:cNvSpPr>
            <p:nvPr/>
          </p:nvSpPr>
          <p:spPr bwMode="auto">
            <a:xfrm>
              <a:off x="5130566" y="2705697"/>
              <a:ext cx="4389" cy="14198"/>
            </a:xfrm>
            <a:custGeom>
              <a:avLst/>
              <a:gdLst/>
              <a:ahLst/>
              <a:cxnLst>
                <a:cxn ang="0">
                  <a:pos x="0" y="14"/>
                </a:cxn>
                <a:cxn ang="0">
                  <a:pos x="0" y="14"/>
                </a:cxn>
                <a:cxn ang="0">
                  <a:pos x="3" y="13"/>
                </a:cxn>
                <a:cxn ang="0">
                  <a:pos x="4" y="7"/>
                </a:cxn>
                <a:cxn ang="0">
                  <a:pos x="0" y="0"/>
                </a:cxn>
                <a:cxn ang="0">
                  <a:pos x="0" y="0"/>
                </a:cxn>
                <a:cxn ang="0">
                  <a:pos x="3" y="7"/>
                </a:cxn>
                <a:cxn ang="0">
                  <a:pos x="3" y="13"/>
                </a:cxn>
                <a:cxn ang="0">
                  <a:pos x="0" y="14"/>
                </a:cxn>
              </a:cxnLst>
              <a:rect l="0" t="0" r="r" b="b"/>
              <a:pathLst>
                <a:path w="4" h="14">
                  <a:moveTo>
                    <a:pt x="0" y="14"/>
                  </a:moveTo>
                  <a:lnTo>
                    <a:pt x="0" y="14"/>
                  </a:lnTo>
                  <a:lnTo>
                    <a:pt x="3" y="13"/>
                  </a:lnTo>
                  <a:lnTo>
                    <a:pt x="4" y="7"/>
                  </a:lnTo>
                  <a:lnTo>
                    <a:pt x="0" y="0"/>
                  </a:lnTo>
                  <a:lnTo>
                    <a:pt x="0" y="0"/>
                  </a:lnTo>
                  <a:lnTo>
                    <a:pt x="3" y="7"/>
                  </a:lnTo>
                  <a:lnTo>
                    <a:pt x="3" y="13"/>
                  </a:lnTo>
                  <a:lnTo>
                    <a:pt x="0" y="1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87" name="Freeform 1610"/>
            <p:cNvSpPr>
              <a:spLocks/>
            </p:cNvSpPr>
            <p:nvPr/>
          </p:nvSpPr>
          <p:spPr bwMode="auto">
            <a:xfrm>
              <a:off x="5155144" y="2606312"/>
              <a:ext cx="25457" cy="12170"/>
            </a:xfrm>
            <a:custGeom>
              <a:avLst/>
              <a:gdLst/>
              <a:ahLst/>
              <a:cxnLst>
                <a:cxn ang="0">
                  <a:pos x="25" y="0"/>
                </a:cxn>
                <a:cxn ang="0">
                  <a:pos x="19" y="5"/>
                </a:cxn>
                <a:cxn ang="0">
                  <a:pos x="6" y="6"/>
                </a:cxn>
                <a:cxn ang="0">
                  <a:pos x="1" y="8"/>
                </a:cxn>
                <a:cxn ang="0">
                  <a:pos x="1" y="9"/>
                </a:cxn>
                <a:cxn ang="0">
                  <a:pos x="0" y="9"/>
                </a:cxn>
                <a:cxn ang="0">
                  <a:pos x="0" y="12"/>
                </a:cxn>
                <a:cxn ang="0">
                  <a:pos x="0" y="12"/>
                </a:cxn>
                <a:cxn ang="0">
                  <a:pos x="0" y="10"/>
                </a:cxn>
                <a:cxn ang="0">
                  <a:pos x="1" y="10"/>
                </a:cxn>
                <a:cxn ang="0">
                  <a:pos x="1" y="12"/>
                </a:cxn>
                <a:cxn ang="0">
                  <a:pos x="3" y="12"/>
                </a:cxn>
                <a:cxn ang="0">
                  <a:pos x="28" y="3"/>
                </a:cxn>
                <a:cxn ang="0">
                  <a:pos x="25" y="3"/>
                </a:cxn>
                <a:cxn ang="0">
                  <a:pos x="23" y="5"/>
                </a:cxn>
                <a:cxn ang="0">
                  <a:pos x="22" y="5"/>
                </a:cxn>
                <a:cxn ang="0">
                  <a:pos x="20" y="6"/>
                </a:cxn>
                <a:cxn ang="0">
                  <a:pos x="20" y="5"/>
                </a:cxn>
                <a:cxn ang="0">
                  <a:pos x="23" y="2"/>
                </a:cxn>
                <a:cxn ang="0">
                  <a:pos x="25" y="0"/>
                </a:cxn>
              </a:cxnLst>
              <a:rect l="0" t="0" r="r" b="b"/>
              <a:pathLst>
                <a:path w="28" h="12">
                  <a:moveTo>
                    <a:pt x="25" y="0"/>
                  </a:moveTo>
                  <a:lnTo>
                    <a:pt x="19" y="5"/>
                  </a:lnTo>
                  <a:lnTo>
                    <a:pt x="6" y="6"/>
                  </a:lnTo>
                  <a:lnTo>
                    <a:pt x="1" y="8"/>
                  </a:lnTo>
                  <a:lnTo>
                    <a:pt x="1" y="9"/>
                  </a:lnTo>
                  <a:lnTo>
                    <a:pt x="0" y="9"/>
                  </a:lnTo>
                  <a:lnTo>
                    <a:pt x="0" y="12"/>
                  </a:lnTo>
                  <a:lnTo>
                    <a:pt x="0" y="12"/>
                  </a:lnTo>
                  <a:lnTo>
                    <a:pt x="0" y="10"/>
                  </a:lnTo>
                  <a:lnTo>
                    <a:pt x="1" y="10"/>
                  </a:lnTo>
                  <a:lnTo>
                    <a:pt x="1" y="12"/>
                  </a:lnTo>
                  <a:lnTo>
                    <a:pt x="3" y="12"/>
                  </a:lnTo>
                  <a:lnTo>
                    <a:pt x="28" y="3"/>
                  </a:lnTo>
                  <a:lnTo>
                    <a:pt x="25" y="3"/>
                  </a:lnTo>
                  <a:lnTo>
                    <a:pt x="23" y="5"/>
                  </a:lnTo>
                  <a:lnTo>
                    <a:pt x="22" y="5"/>
                  </a:lnTo>
                  <a:lnTo>
                    <a:pt x="20" y="6"/>
                  </a:lnTo>
                  <a:lnTo>
                    <a:pt x="20" y="5"/>
                  </a:lnTo>
                  <a:lnTo>
                    <a:pt x="23" y="2"/>
                  </a:lnTo>
                  <a:lnTo>
                    <a:pt x="25"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88" name="Freeform 1611"/>
            <p:cNvSpPr>
              <a:spLocks/>
            </p:cNvSpPr>
            <p:nvPr/>
          </p:nvSpPr>
          <p:spPr bwMode="auto">
            <a:xfrm>
              <a:off x="5155144" y="2606312"/>
              <a:ext cx="25457" cy="12170"/>
            </a:xfrm>
            <a:custGeom>
              <a:avLst/>
              <a:gdLst/>
              <a:ahLst/>
              <a:cxnLst>
                <a:cxn ang="0">
                  <a:pos x="25" y="0"/>
                </a:cxn>
                <a:cxn ang="0">
                  <a:pos x="19" y="5"/>
                </a:cxn>
                <a:cxn ang="0">
                  <a:pos x="6" y="6"/>
                </a:cxn>
                <a:cxn ang="0">
                  <a:pos x="1" y="8"/>
                </a:cxn>
                <a:cxn ang="0">
                  <a:pos x="1" y="9"/>
                </a:cxn>
                <a:cxn ang="0">
                  <a:pos x="0" y="9"/>
                </a:cxn>
                <a:cxn ang="0">
                  <a:pos x="0" y="12"/>
                </a:cxn>
                <a:cxn ang="0">
                  <a:pos x="0" y="12"/>
                </a:cxn>
                <a:cxn ang="0">
                  <a:pos x="0" y="10"/>
                </a:cxn>
                <a:cxn ang="0">
                  <a:pos x="1" y="10"/>
                </a:cxn>
                <a:cxn ang="0">
                  <a:pos x="1" y="12"/>
                </a:cxn>
                <a:cxn ang="0">
                  <a:pos x="3" y="12"/>
                </a:cxn>
                <a:cxn ang="0">
                  <a:pos x="28" y="3"/>
                </a:cxn>
                <a:cxn ang="0">
                  <a:pos x="25" y="3"/>
                </a:cxn>
                <a:cxn ang="0">
                  <a:pos x="23" y="5"/>
                </a:cxn>
                <a:cxn ang="0">
                  <a:pos x="22" y="5"/>
                </a:cxn>
                <a:cxn ang="0">
                  <a:pos x="20" y="6"/>
                </a:cxn>
                <a:cxn ang="0">
                  <a:pos x="20" y="5"/>
                </a:cxn>
                <a:cxn ang="0">
                  <a:pos x="23" y="2"/>
                </a:cxn>
                <a:cxn ang="0">
                  <a:pos x="25" y="0"/>
                </a:cxn>
              </a:cxnLst>
              <a:rect l="0" t="0" r="r" b="b"/>
              <a:pathLst>
                <a:path w="28" h="12">
                  <a:moveTo>
                    <a:pt x="25" y="0"/>
                  </a:moveTo>
                  <a:lnTo>
                    <a:pt x="19" y="5"/>
                  </a:lnTo>
                  <a:lnTo>
                    <a:pt x="6" y="6"/>
                  </a:lnTo>
                  <a:lnTo>
                    <a:pt x="1" y="8"/>
                  </a:lnTo>
                  <a:lnTo>
                    <a:pt x="1" y="9"/>
                  </a:lnTo>
                  <a:lnTo>
                    <a:pt x="0" y="9"/>
                  </a:lnTo>
                  <a:lnTo>
                    <a:pt x="0" y="12"/>
                  </a:lnTo>
                  <a:lnTo>
                    <a:pt x="0" y="12"/>
                  </a:lnTo>
                  <a:lnTo>
                    <a:pt x="0" y="10"/>
                  </a:lnTo>
                  <a:lnTo>
                    <a:pt x="1" y="10"/>
                  </a:lnTo>
                  <a:lnTo>
                    <a:pt x="1" y="12"/>
                  </a:lnTo>
                  <a:lnTo>
                    <a:pt x="3" y="12"/>
                  </a:lnTo>
                  <a:lnTo>
                    <a:pt x="28" y="3"/>
                  </a:lnTo>
                  <a:lnTo>
                    <a:pt x="25" y="3"/>
                  </a:lnTo>
                  <a:lnTo>
                    <a:pt x="23" y="5"/>
                  </a:lnTo>
                  <a:lnTo>
                    <a:pt x="22" y="5"/>
                  </a:lnTo>
                  <a:lnTo>
                    <a:pt x="20" y="6"/>
                  </a:lnTo>
                  <a:lnTo>
                    <a:pt x="20" y="5"/>
                  </a:lnTo>
                  <a:lnTo>
                    <a:pt x="23" y="2"/>
                  </a:lnTo>
                  <a:lnTo>
                    <a:pt x="25"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89" name="Freeform 1612"/>
            <p:cNvSpPr>
              <a:spLocks/>
            </p:cNvSpPr>
            <p:nvPr/>
          </p:nvSpPr>
          <p:spPr bwMode="auto">
            <a:xfrm>
              <a:off x="5220102" y="2545464"/>
              <a:ext cx="1756" cy="4057"/>
            </a:xfrm>
            <a:custGeom>
              <a:avLst/>
              <a:gdLst/>
              <a:ahLst/>
              <a:cxnLst>
                <a:cxn ang="0">
                  <a:pos x="0" y="2"/>
                </a:cxn>
                <a:cxn ang="0">
                  <a:pos x="0" y="3"/>
                </a:cxn>
                <a:cxn ang="0">
                  <a:pos x="2" y="3"/>
                </a:cxn>
                <a:cxn ang="0">
                  <a:pos x="2" y="3"/>
                </a:cxn>
                <a:cxn ang="0">
                  <a:pos x="2" y="2"/>
                </a:cxn>
                <a:cxn ang="0">
                  <a:pos x="2" y="0"/>
                </a:cxn>
                <a:cxn ang="0">
                  <a:pos x="0" y="0"/>
                </a:cxn>
                <a:cxn ang="0">
                  <a:pos x="0" y="2"/>
                </a:cxn>
              </a:cxnLst>
              <a:rect l="0" t="0" r="r" b="b"/>
              <a:pathLst>
                <a:path w="2" h="3">
                  <a:moveTo>
                    <a:pt x="0" y="2"/>
                  </a:moveTo>
                  <a:lnTo>
                    <a:pt x="0" y="3"/>
                  </a:lnTo>
                  <a:lnTo>
                    <a:pt x="2" y="3"/>
                  </a:lnTo>
                  <a:lnTo>
                    <a:pt x="2" y="3"/>
                  </a:lnTo>
                  <a:lnTo>
                    <a:pt x="2" y="2"/>
                  </a:lnTo>
                  <a:lnTo>
                    <a:pt x="2" y="0"/>
                  </a:lnTo>
                  <a:lnTo>
                    <a:pt x="0" y="0"/>
                  </a:lnTo>
                  <a:lnTo>
                    <a:pt x="0"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90" name="Freeform 1614"/>
            <p:cNvSpPr>
              <a:spLocks/>
            </p:cNvSpPr>
            <p:nvPr/>
          </p:nvSpPr>
          <p:spPr bwMode="auto">
            <a:xfrm>
              <a:off x="5220102" y="2545464"/>
              <a:ext cx="1756" cy="4057"/>
            </a:xfrm>
            <a:custGeom>
              <a:avLst/>
              <a:gdLst/>
              <a:ahLst/>
              <a:cxnLst>
                <a:cxn ang="0">
                  <a:pos x="0" y="2"/>
                </a:cxn>
                <a:cxn ang="0">
                  <a:pos x="0" y="3"/>
                </a:cxn>
                <a:cxn ang="0">
                  <a:pos x="2" y="3"/>
                </a:cxn>
                <a:cxn ang="0">
                  <a:pos x="2" y="3"/>
                </a:cxn>
                <a:cxn ang="0">
                  <a:pos x="2" y="2"/>
                </a:cxn>
                <a:cxn ang="0">
                  <a:pos x="2" y="0"/>
                </a:cxn>
                <a:cxn ang="0">
                  <a:pos x="0" y="0"/>
                </a:cxn>
                <a:cxn ang="0">
                  <a:pos x="0" y="2"/>
                </a:cxn>
              </a:cxnLst>
              <a:rect l="0" t="0" r="r" b="b"/>
              <a:pathLst>
                <a:path w="2" h="3">
                  <a:moveTo>
                    <a:pt x="0" y="2"/>
                  </a:moveTo>
                  <a:lnTo>
                    <a:pt x="0" y="3"/>
                  </a:lnTo>
                  <a:lnTo>
                    <a:pt x="2" y="3"/>
                  </a:lnTo>
                  <a:lnTo>
                    <a:pt x="2" y="3"/>
                  </a:lnTo>
                  <a:lnTo>
                    <a:pt x="2" y="2"/>
                  </a:lnTo>
                  <a:lnTo>
                    <a:pt x="2" y="0"/>
                  </a:lnTo>
                  <a:lnTo>
                    <a:pt x="0" y="0"/>
                  </a:lnTo>
                  <a:lnTo>
                    <a:pt x="0"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91" name="Freeform 1615"/>
            <p:cNvSpPr>
              <a:spLocks/>
            </p:cNvSpPr>
            <p:nvPr/>
          </p:nvSpPr>
          <p:spPr bwMode="auto">
            <a:xfrm>
              <a:off x="5221857" y="2544450"/>
              <a:ext cx="1756" cy="4057"/>
            </a:xfrm>
            <a:custGeom>
              <a:avLst/>
              <a:gdLst/>
              <a:ahLst/>
              <a:cxnLst>
                <a:cxn ang="0">
                  <a:pos x="1" y="1"/>
                </a:cxn>
                <a:cxn ang="0">
                  <a:pos x="1" y="3"/>
                </a:cxn>
                <a:cxn ang="0">
                  <a:pos x="2" y="1"/>
                </a:cxn>
                <a:cxn ang="0">
                  <a:pos x="1" y="0"/>
                </a:cxn>
                <a:cxn ang="0">
                  <a:pos x="1" y="0"/>
                </a:cxn>
                <a:cxn ang="0">
                  <a:pos x="0" y="1"/>
                </a:cxn>
                <a:cxn ang="0">
                  <a:pos x="1" y="1"/>
                </a:cxn>
              </a:cxnLst>
              <a:rect l="0" t="0" r="r" b="b"/>
              <a:pathLst>
                <a:path w="2" h="3">
                  <a:moveTo>
                    <a:pt x="1" y="1"/>
                  </a:moveTo>
                  <a:lnTo>
                    <a:pt x="1" y="3"/>
                  </a:lnTo>
                  <a:lnTo>
                    <a:pt x="2" y="1"/>
                  </a:lnTo>
                  <a:lnTo>
                    <a:pt x="1" y="0"/>
                  </a:lnTo>
                  <a:lnTo>
                    <a:pt x="1" y="0"/>
                  </a:lnTo>
                  <a:lnTo>
                    <a:pt x="0" y="1"/>
                  </a:lnTo>
                  <a:lnTo>
                    <a:pt x="1"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92" name="Freeform 1616"/>
            <p:cNvSpPr>
              <a:spLocks/>
            </p:cNvSpPr>
            <p:nvPr/>
          </p:nvSpPr>
          <p:spPr bwMode="auto">
            <a:xfrm>
              <a:off x="5221857" y="2544450"/>
              <a:ext cx="1756" cy="4057"/>
            </a:xfrm>
            <a:custGeom>
              <a:avLst/>
              <a:gdLst/>
              <a:ahLst/>
              <a:cxnLst>
                <a:cxn ang="0">
                  <a:pos x="1" y="1"/>
                </a:cxn>
                <a:cxn ang="0">
                  <a:pos x="1" y="3"/>
                </a:cxn>
                <a:cxn ang="0">
                  <a:pos x="2" y="1"/>
                </a:cxn>
                <a:cxn ang="0">
                  <a:pos x="1" y="0"/>
                </a:cxn>
                <a:cxn ang="0">
                  <a:pos x="1" y="0"/>
                </a:cxn>
                <a:cxn ang="0">
                  <a:pos x="0" y="1"/>
                </a:cxn>
                <a:cxn ang="0">
                  <a:pos x="1" y="1"/>
                </a:cxn>
              </a:cxnLst>
              <a:rect l="0" t="0" r="r" b="b"/>
              <a:pathLst>
                <a:path w="2" h="3">
                  <a:moveTo>
                    <a:pt x="1" y="1"/>
                  </a:moveTo>
                  <a:lnTo>
                    <a:pt x="1" y="3"/>
                  </a:lnTo>
                  <a:lnTo>
                    <a:pt x="2" y="1"/>
                  </a:lnTo>
                  <a:lnTo>
                    <a:pt x="1" y="0"/>
                  </a:lnTo>
                  <a:lnTo>
                    <a:pt x="1" y="0"/>
                  </a:lnTo>
                  <a:lnTo>
                    <a:pt x="0" y="1"/>
                  </a:lnTo>
                  <a:lnTo>
                    <a:pt x="1"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93" name="Freeform 1617"/>
            <p:cNvSpPr>
              <a:spLocks/>
            </p:cNvSpPr>
            <p:nvPr/>
          </p:nvSpPr>
          <p:spPr bwMode="auto">
            <a:xfrm>
              <a:off x="5222735" y="2548507"/>
              <a:ext cx="877" cy="2029"/>
            </a:xfrm>
            <a:custGeom>
              <a:avLst/>
              <a:gdLst/>
              <a:ahLst/>
              <a:cxnLst>
                <a:cxn ang="0">
                  <a:pos x="0" y="1"/>
                </a:cxn>
                <a:cxn ang="0">
                  <a:pos x="0" y="2"/>
                </a:cxn>
                <a:cxn ang="0">
                  <a:pos x="1" y="2"/>
                </a:cxn>
                <a:cxn ang="0">
                  <a:pos x="1" y="1"/>
                </a:cxn>
                <a:cxn ang="0">
                  <a:pos x="1" y="0"/>
                </a:cxn>
                <a:cxn ang="0">
                  <a:pos x="0" y="1"/>
                </a:cxn>
              </a:cxnLst>
              <a:rect l="0" t="0" r="r" b="b"/>
              <a:pathLst>
                <a:path w="1" h="2">
                  <a:moveTo>
                    <a:pt x="0" y="1"/>
                  </a:moveTo>
                  <a:lnTo>
                    <a:pt x="0" y="2"/>
                  </a:lnTo>
                  <a:lnTo>
                    <a:pt x="1" y="2"/>
                  </a:lnTo>
                  <a:lnTo>
                    <a:pt x="1" y="1"/>
                  </a:lnTo>
                  <a:lnTo>
                    <a:pt x="1" y="0"/>
                  </a:lnTo>
                  <a:lnTo>
                    <a:pt x="0" y="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94" name="Freeform 1618"/>
            <p:cNvSpPr>
              <a:spLocks/>
            </p:cNvSpPr>
            <p:nvPr/>
          </p:nvSpPr>
          <p:spPr bwMode="auto">
            <a:xfrm>
              <a:off x="5222735" y="2548507"/>
              <a:ext cx="877" cy="2029"/>
            </a:xfrm>
            <a:custGeom>
              <a:avLst/>
              <a:gdLst/>
              <a:ahLst/>
              <a:cxnLst>
                <a:cxn ang="0">
                  <a:pos x="0" y="1"/>
                </a:cxn>
                <a:cxn ang="0">
                  <a:pos x="0" y="2"/>
                </a:cxn>
                <a:cxn ang="0">
                  <a:pos x="1" y="2"/>
                </a:cxn>
                <a:cxn ang="0">
                  <a:pos x="1" y="1"/>
                </a:cxn>
                <a:cxn ang="0">
                  <a:pos x="1" y="0"/>
                </a:cxn>
                <a:cxn ang="0">
                  <a:pos x="0" y="1"/>
                </a:cxn>
              </a:cxnLst>
              <a:rect l="0" t="0" r="r" b="b"/>
              <a:pathLst>
                <a:path w="1" h="2">
                  <a:moveTo>
                    <a:pt x="0" y="1"/>
                  </a:moveTo>
                  <a:lnTo>
                    <a:pt x="0" y="2"/>
                  </a:lnTo>
                  <a:lnTo>
                    <a:pt x="1" y="2"/>
                  </a:lnTo>
                  <a:lnTo>
                    <a:pt x="1" y="1"/>
                  </a:lnTo>
                  <a:lnTo>
                    <a:pt x="1" y="0"/>
                  </a:lnTo>
                  <a:lnTo>
                    <a:pt x="0" y="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grpSp>
          <p:nvGrpSpPr>
            <p:cNvPr id="1295" name="Group 3"/>
            <p:cNvGrpSpPr/>
            <p:nvPr/>
          </p:nvGrpSpPr>
          <p:grpSpPr>
            <a:xfrm>
              <a:off x="3926223" y="1745314"/>
              <a:ext cx="583737" cy="712934"/>
              <a:chOff x="3926223" y="1745314"/>
              <a:chExt cx="583737" cy="712934"/>
            </a:xfrm>
          </p:grpSpPr>
          <p:sp>
            <p:nvSpPr>
              <p:cNvPr id="1370" name="Freeform 1096"/>
              <p:cNvSpPr>
                <a:spLocks/>
              </p:cNvSpPr>
              <p:nvPr/>
            </p:nvSpPr>
            <p:spPr bwMode="auto">
              <a:xfrm>
                <a:off x="4382679" y="2319312"/>
                <a:ext cx="17556" cy="25352"/>
              </a:xfrm>
              <a:custGeom>
                <a:avLst/>
                <a:gdLst/>
                <a:ahLst/>
                <a:cxnLst>
                  <a:cxn ang="0">
                    <a:pos x="14" y="5"/>
                  </a:cxn>
                  <a:cxn ang="0">
                    <a:pos x="17" y="3"/>
                  </a:cxn>
                  <a:cxn ang="0">
                    <a:pos x="19" y="2"/>
                  </a:cxn>
                  <a:cxn ang="0">
                    <a:pos x="19" y="2"/>
                  </a:cxn>
                  <a:cxn ang="0">
                    <a:pos x="19" y="5"/>
                  </a:cxn>
                  <a:cxn ang="0">
                    <a:pos x="14" y="23"/>
                  </a:cxn>
                  <a:cxn ang="0">
                    <a:pos x="13" y="22"/>
                  </a:cxn>
                  <a:cxn ang="0">
                    <a:pos x="11" y="22"/>
                  </a:cxn>
                  <a:cxn ang="0">
                    <a:pos x="11" y="22"/>
                  </a:cxn>
                  <a:cxn ang="0">
                    <a:pos x="10" y="25"/>
                  </a:cxn>
                  <a:cxn ang="0">
                    <a:pos x="10" y="23"/>
                  </a:cxn>
                  <a:cxn ang="0">
                    <a:pos x="9" y="22"/>
                  </a:cxn>
                  <a:cxn ang="0">
                    <a:pos x="7" y="19"/>
                  </a:cxn>
                  <a:cxn ang="0">
                    <a:pos x="9" y="20"/>
                  </a:cxn>
                  <a:cxn ang="0">
                    <a:pos x="10" y="19"/>
                  </a:cxn>
                  <a:cxn ang="0">
                    <a:pos x="9" y="18"/>
                  </a:cxn>
                  <a:cxn ang="0">
                    <a:pos x="4" y="16"/>
                  </a:cxn>
                  <a:cxn ang="0">
                    <a:pos x="3" y="15"/>
                  </a:cxn>
                  <a:cxn ang="0">
                    <a:pos x="1" y="6"/>
                  </a:cxn>
                  <a:cxn ang="0">
                    <a:pos x="0" y="6"/>
                  </a:cxn>
                  <a:cxn ang="0">
                    <a:pos x="0" y="0"/>
                  </a:cxn>
                  <a:cxn ang="0">
                    <a:pos x="6" y="2"/>
                  </a:cxn>
                  <a:cxn ang="0">
                    <a:pos x="7" y="2"/>
                  </a:cxn>
                  <a:cxn ang="0">
                    <a:pos x="6" y="6"/>
                  </a:cxn>
                  <a:cxn ang="0">
                    <a:pos x="7" y="5"/>
                  </a:cxn>
                  <a:cxn ang="0">
                    <a:pos x="9" y="3"/>
                  </a:cxn>
                  <a:cxn ang="0">
                    <a:pos x="10" y="2"/>
                  </a:cxn>
                  <a:cxn ang="0">
                    <a:pos x="11" y="5"/>
                  </a:cxn>
                  <a:cxn ang="0">
                    <a:pos x="11" y="9"/>
                  </a:cxn>
                  <a:cxn ang="0">
                    <a:pos x="10" y="9"/>
                  </a:cxn>
                  <a:cxn ang="0">
                    <a:pos x="6" y="13"/>
                  </a:cxn>
                  <a:cxn ang="0">
                    <a:pos x="9" y="12"/>
                  </a:cxn>
                  <a:cxn ang="0">
                    <a:pos x="9" y="15"/>
                  </a:cxn>
                  <a:cxn ang="0">
                    <a:pos x="10" y="15"/>
                  </a:cxn>
                  <a:cxn ang="0">
                    <a:pos x="11" y="12"/>
                  </a:cxn>
                  <a:cxn ang="0">
                    <a:pos x="14" y="7"/>
                  </a:cxn>
                  <a:cxn ang="0">
                    <a:pos x="14" y="5"/>
                  </a:cxn>
                  <a:cxn ang="0">
                    <a:pos x="14" y="5"/>
                  </a:cxn>
                </a:cxnLst>
                <a:rect l="0" t="0" r="r" b="b"/>
                <a:pathLst>
                  <a:path w="19" h="25">
                    <a:moveTo>
                      <a:pt x="14" y="5"/>
                    </a:moveTo>
                    <a:lnTo>
                      <a:pt x="17" y="3"/>
                    </a:lnTo>
                    <a:lnTo>
                      <a:pt x="19" y="2"/>
                    </a:lnTo>
                    <a:lnTo>
                      <a:pt x="19" y="2"/>
                    </a:lnTo>
                    <a:lnTo>
                      <a:pt x="19" y="5"/>
                    </a:lnTo>
                    <a:lnTo>
                      <a:pt x="14" y="23"/>
                    </a:lnTo>
                    <a:lnTo>
                      <a:pt x="13" y="22"/>
                    </a:lnTo>
                    <a:lnTo>
                      <a:pt x="11" y="22"/>
                    </a:lnTo>
                    <a:lnTo>
                      <a:pt x="11" y="22"/>
                    </a:lnTo>
                    <a:lnTo>
                      <a:pt x="10" y="25"/>
                    </a:lnTo>
                    <a:lnTo>
                      <a:pt x="10" y="23"/>
                    </a:lnTo>
                    <a:lnTo>
                      <a:pt x="9" y="22"/>
                    </a:lnTo>
                    <a:lnTo>
                      <a:pt x="7" y="19"/>
                    </a:lnTo>
                    <a:lnTo>
                      <a:pt x="9" y="20"/>
                    </a:lnTo>
                    <a:lnTo>
                      <a:pt x="10" y="19"/>
                    </a:lnTo>
                    <a:lnTo>
                      <a:pt x="9" y="18"/>
                    </a:lnTo>
                    <a:lnTo>
                      <a:pt x="4" y="16"/>
                    </a:lnTo>
                    <a:lnTo>
                      <a:pt x="3" y="15"/>
                    </a:lnTo>
                    <a:lnTo>
                      <a:pt x="1" y="6"/>
                    </a:lnTo>
                    <a:lnTo>
                      <a:pt x="0" y="6"/>
                    </a:lnTo>
                    <a:lnTo>
                      <a:pt x="0" y="0"/>
                    </a:lnTo>
                    <a:lnTo>
                      <a:pt x="6" y="2"/>
                    </a:lnTo>
                    <a:lnTo>
                      <a:pt x="7" y="2"/>
                    </a:lnTo>
                    <a:lnTo>
                      <a:pt x="6" y="6"/>
                    </a:lnTo>
                    <a:lnTo>
                      <a:pt x="7" y="5"/>
                    </a:lnTo>
                    <a:lnTo>
                      <a:pt x="9" y="3"/>
                    </a:lnTo>
                    <a:lnTo>
                      <a:pt x="10" y="2"/>
                    </a:lnTo>
                    <a:lnTo>
                      <a:pt x="11" y="5"/>
                    </a:lnTo>
                    <a:lnTo>
                      <a:pt x="11" y="9"/>
                    </a:lnTo>
                    <a:lnTo>
                      <a:pt x="10" y="9"/>
                    </a:lnTo>
                    <a:lnTo>
                      <a:pt x="6" y="13"/>
                    </a:lnTo>
                    <a:lnTo>
                      <a:pt x="9" y="12"/>
                    </a:lnTo>
                    <a:lnTo>
                      <a:pt x="9" y="15"/>
                    </a:lnTo>
                    <a:lnTo>
                      <a:pt x="10" y="15"/>
                    </a:lnTo>
                    <a:lnTo>
                      <a:pt x="11" y="12"/>
                    </a:lnTo>
                    <a:lnTo>
                      <a:pt x="14" y="7"/>
                    </a:lnTo>
                    <a:lnTo>
                      <a:pt x="14" y="5"/>
                    </a:lnTo>
                    <a:lnTo>
                      <a:pt x="14" y="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71" name="Freeform 1097"/>
              <p:cNvSpPr>
                <a:spLocks/>
              </p:cNvSpPr>
              <p:nvPr/>
            </p:nvSpPr>
            <p:spPr bwMode="auto">
              <a:xfrm>
                <a:off x="4382679" y="2319312"/>
                <a:ext cx="17556" cy="25352"/>
              </a:xfrm>
              <a:custGeom>
                <a:avLst/>
                <a:gdLst/>
                <a:ahLst/>
                <a:cxnLst>
                  <a:cxn ang="0">
                    <a:pos x="14" y="5"/>
                  </a:cxn>
                  <a:cxn ang="0">
                    <a:pos x="17" y="3"/>
                  </a:cxn>
                  <a:cxn ang="0">
                    <a:pos x="19" y="2"/>
                  </a:cxn>
                  <a:cxn ang="0">
                    <a:pos x="19" y="2"/>
                  </a:cxn>
                  <a:cxn ang="0">
                    <a:pos x="19" y="5"/>
                  </a:cxn>
                  <a:cxn ang="0">
                    <a:pos x="14" y="23"/>
                  </a:cxn>
                  <a:cxn ang="0">
                    <a:pos x="13" y="22"/>
                  </a:cxn>
                  <a:cxn ang="0">
                    <a:pos x="11" y="22"/>
                  </a:cxn>
                  <a:cxn ang="0">
                    <a:pos x="11" y="22"/>
                  </a:cxn>
                  <a:cxn ang="0">
                    <a:pos x="10" y="25"/>
                  </a:cxn>
                  <a:cxn ang="0">
                    <a:pos x="10" y="23"/>
                  </a:cxn>
                  <a:cxn ang="0">
                    <a:pos x="9" y="22"/>
                  </a:cxn>
                  <a:cxn ang="0">
                    <a:pos x="7" y="19"/>
                  </a:cxn>
                  <a:cxn ang="0">
                    <a:pos x="9" y="20"/>
                  </a:cxn>
                  <a:cxn ang="0">
                    <a:pos x="10" y="19"/>
                  </a:cxn>
                  <a:cxn ang="0">
                    <a:pos x="9" y="18"/>
                  </a:cxn>
                  <a:cxn ang="0">
                    <a:pos x="4" y="16"/>
                  </a:cxn>
                  <a:cxn ang="0">
                    <a:pos x="3" y="15"/>
                  </a:cxn>
                  <a:cxn ang="0">
                    <a:pos x="1" y="6"/>
                  </a:cxn>
                  <a:cxn ang="0">
                    <a:pos x="0" y="6"/>
                  </a:cxn>
                  <a:cxn ang="0">
                    <a:pos x="0" y="0"/>
                  </a:cxn>
                  <a:cxn ang="0">
                    <a:pos x="6" y="2"/>
                  </a:cxn>
                  <a:cxn ang="0">
                    <a:pos x="7" y="2"/>
                  </a:cxn>
                  <a:cxn ang="0">
                    <a:pos x="6" y="6"/>
                  </a:cxn>
                  <a:cxn ang="0">
                    <a:pos x="7" y="5"/>
                  </a:cxn>
                  <a:cxn ang="0">
                    <a:pos x="9" y="3"/>
                  </a:cxn>
                  <a:cxn ang="0">
                    <a:pos x="10" y="2"/>
                  </a:cxn>
                  <a:cxn ang="0">
                    <a:pos x="11" y="5"/>
                  </a:cxn>
                  <a:cxn ang="0">
                    <a:pos x="11" y="9"/>
                  </a:cxn>
                  <a:cxn ang="0">
                    <a:pos x="10" y="9"/>
                  </a:cxn>
                  <a:cxn ang="0">
                    <a:pos x="6" y="13"/>
                  </a:cxn>
                  <a:cxn ang="0">
                    <a:pos x="9" y="12"/>
                  </a:cxn>
                  <a:cxn ang="0">
                    <a:pos x="9" y="15"/>
                  </a:cxn>
                  <a:cxn ang="0">
                    <a:pos x="10" y="15"/>
                  </a:cxn>
                  <a:cxn ang="0">
                    <a:pos x="11" y="12"/>
                  </a:cxn>
                  <a:cxn ang="0">
                    <a:pos x="14" y="7"/>
                  </a:cxn>
                  <a:cxn ang="0">
                    <a:pos x="14" y="5"/>
                  </a:cxn>
                  <a:cxn ang="0">
                    <a:pos x="14" y="5"/>
                  </a:cxn>
                </a:cxnLst>
                <a:rect l="0" t="0" r="r" b="b"/>
                <a:pathLst>
                  <a:path w="19" h="25">
                    <a:moveTo>
                      <a:pt x="14" y="5"/>
                    </a:moveTo>
                    <a:lnTo>
                      <a:pt x="17" y="3"/>
                    </a:lnTo>
                    <a:lnTo>
                      <a:pt x="19" y="2"/>
                    </a:lnTo>
                    <a:lnTo>
                      <a:pt x="19" y="2"/>
                    </a:lnTo>
                    <a:lnTo>
                      <a:pt x="19" y="5"/>
                    </a:lnTo>
                    <a:lnTo>
                      <a:pt x="14" y="23"/>
                    </a:lnTo>
                    <a:lnTo>
                      <a:pt x="13" y="22"/>
                    </a:lnTo>
                    <a:lnTo>
                      <a:pt x="11" y="22"/>
                    </a:lnTo>
                    <a:lnTo>
                      <a:pt x="11" y="22"/>
                    </a:lnTo>
                    <a:lnTo>
                      <a:pt x="10" y="25"/>
                    </a:lnTo>
                    <a:lnTo>
                      <a:pt x="10" y="23"/>
                    </a:lnTo>
                    <a:lnTo>
                      <a:pt x="9" y="22"/>
                    </a:lnTo>
                    <a:lnTo>
                      <a:pt x="7" y="19"/>
                    </a:lnTo>
                    <a:lnTo>
                      <a:pt x="9" y="20"/>
                    </a:lnTo>
                    <a:lnTo>
                      <a:pt x="10" y="19"/>
                    </a:lnTo>
                    <a:lnTo>
                      <a:pt x="9" y="18"/>
                    </a:lnTo>
                    <a:lnTo>
                      <a:pt x="4" y="16"/>
                    </a:lnTo>
                    <a:lnTo>
                      <a:pt x="3" y="15"/>
                    </a:lnTo>
                    <a:lnTo>
                      <a:pt x="1" y="6"/>
                    </a:lnTo>
                    <a:lnTo>
                      <a:pt x="0" y="6"/>
                    </a:lnTo>
                    <a:lnTo>
                      <a:pt x="0" y="0"/>
                    </a:lnTo>
                    <a:lnTo>
                      <a:pt x="6" y="2"/>
                    </a:lnTo>
                    <a:lnTo>
                      <a:pt x="7" y="2"/>
                    </a:lnTo>
                    <a:lnTo>
                      <a:pt x="6" y="6"/>
                    </a:lnTo>
                    <a:lnTo>
                      <a:pt x="7" y="5"/>
                    </a:lnTo>
                    <a:lnTo>
                      <a:pt x="9" y="3"/>
                    </a:lnTo>
                    <a:lnTo>
                      <a:pt x="10" y="2"/>
                    </a:lnTo>
                    <a:lnTo>
                      <a:pt x="11" y="5"/>
                    </a:lnTo>
                    <a:lnTo>
                      <a:pt x="11" y="9"/>
                    </a:lnTo>
                    <a:lnTo>
                      <a:pt x="10" y="9"/>
                    </a:lnTo>
                    <a:lnTo>
                      <a:pt x="6" y="13"/>
                    </a:lnTo>
                    <a:lnTo>
                      <a:pt x="9" y="12"/>
                    </a:lnTo>
                    <a:lnTo>
                      <a:pt x="9" y="15"/>
                    </a:lnTo>
                    <a:lnTo>
                      <a:pt x="10" y="15"/>
                    </a:lnTo>
                    <a:lnTo>
                      <a:pt x="11" y="12"/>
                    </a:lnTo>
                    <a:lnTo>
                      <a:pt x="14" y="7"/>
                    </a:lnTo>
                    <a:lnTo>
                      <a:pt x="14" y="5"/>
                    </a:lnTo>
                    <a:lnTo>
                      <a:pt x="14" y="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72" name="Freeform 1098"/>
              <p:cNvSpPr>
                <a:spLocks/>
              </p:cNvSpPr>
              <p:nvPr/>
            </p:nvSpPr>
            <p:spPr bwMode="auto">
              <a:xfrm>
                <a:off x="4391457" y="2341623"/>
                <a:ext cx="14923" cy="27381"/>
              </a:xfrm>
              <a:custGeom>
                <a:avLst/>
                <a:gdLst/>
                <a:ahLst/>
                <a:cxnLst>
                  <a:cxn ang="0">
                    <a:pos x="3" y="13"/>
                  </a:cxn>
                  <a:cxn ang="0">
                    <a:pos x="3" y="12"/>
                  </a:cxn>
                  <a:cxn ang="0">
                    <a:pos x="3" y="7"/>
                  </a:cxn>
                  <a:cxn ang="0">
                    <a:pos x="1" y="10"/>
                  </a:cxn>
                  <a:cxn ang="0">
                    <a:pos x="1" y="9"/>
                  </a:cxn>
                  <a:cxn ang="0">
                    <a:pos x="1" y="7"/>
                  </a:cxn>
                  <a:cxn ang="0">
                    <a:pos x="3" y="6"/>
                  </a:cxn>
                  <a:cxn ang="0">
                    <a:pos x="0" y="4"/>
                  </a:cxn>
                  <a:cxn ang="0">
                    <a:pos x="7" y="0"/>
                  </a:cxn>
                  <a:cxn ang="0">
                    <a:pos x="7" y="0"/>
                  </a:cxn>
                  <a:cxn ang="0">
                    <a:pos x="10" y="4"/>
                  </a:cxn>
                  <a:cxn ang="0">
                    <a:pos x="6" y="4"/>
                  </a:cxn>
                  <a:cxn ang="0">
                    <a:pos x="6" y="6"/>
                  </a:cxn>
                  <a:cxn ang="0">
                    <a:pos x="10" y="6"/>
                  </a:cxn>
                  <a:cxn ang="0">
                    <a:pos x="10" y="9"/>
                  </a:cxn>
                  <a:cxn ang="0">
                    <a:pos x="9" y="9"/>
                  </a:cxn>
                  <a:cxn ang="0">
                    <a:pos x="7" y="9"/>
                  </a:cxn>
                  <a:cxn ang="0">
                    <a:pos x="7" y="9"/>
                  </a:cxn>
                  <a:cxn ang="0">
                    <a:pos x="7" y="12"/>
                  </a:cxn>
                  <a:cxn ang="0">
                    <a:pos x="6" y="12"/>
                  </a:cxn>
                  <a:cxn ang="0">
                    <a:pos x="7" y="16"/>
                  </a:cxn>
                  <a:cxn ang="0">
                    <a:pos x="12" y="17"/>
                  </a:cxn>
                  <a:cxn ang="0">
                    <a:pos x="12" y="19"/>
                  </a:cxn>
                  <a:cxn ang="0">
                    <a:pos x="13" y="19"/>
                  </a:cxn>
                  <a:cxn ang="0">
                    <a:pos x="16" y="25"/>
                  </a:cxn>
                  <a:cxn ang="0">
                    <a:pos x="16" y="26"/>
                  </a:cxn>
                  <a:cxn ang="0">
                    <a:pos x="16" y="26"/>
                  </a:cxn>
                  <a:cxn ang="0">
                    <a:pos x="9" y="20"/>
                  </a:cxn>
                  <a:cxn ang="0">
                    <a:pos x="9" y="20"/>
                  </a:cxn>
                  <a:cxn ang="0">
                    <a:pos x="9" y="20"/>
                  </a:cxn>
                  <a:cxn ang="0">
                    <a:pos x="9" y="19"/>
                  </a:cxn>
                  <a:cxn ang="0">
                    <a:pos x="7" y="19"/>
                  </a:cxn>
                  <a:cxn ang="0">
                    <a:pos x="4" y="13"/>
                  </a:cxn>
                  <a:cxn ang="0">
                    <a:pos x="3" y="13"/>
                  </a:cxn>
                </a:cxnLst>
                <a:rect l="0" t="0" r="r" b="b"/>
                <a:pathLst>
                  <a:path w="16" h="26">
                    <a:moveTo>
                      <a:pt x="3" y="13"/>
                    </a:moveTo>
                    <a:lnTo>
                      <a:pt x="3" y="12"/>
                    </a:lnTo>
                    <a:lnTo>
                      <a:pt x="3" y="7"/>
                    </a:lnTo>
                    <a:lnTo>
                      <a:pt x="1" y="10"/>
                    </a:lnTo>
                    <a:lnTo>
                      <a:pt x="1" y="9"/>
                    </a:lnTo>
                    <a:lnTo>
                      <a:pt x="1" y="7"/>
                    </a:lnTo>
                    <a:lnTo>
                      <a:pt x="3" y="6"/>
                    </a:lnTo>
                    <a:lnTo>
                      <a:pt x="0" y="4"/>
                    </a:lnTo>
                    <a:lnTo>
                      <a:pt x="7" y="0"/>
                    </a:lnTo>
                    <a:lnTo>
                      <a:pt x="7" y="0"/>
                    </a:lnTo>
                    <a:lnTo>
                      <a:pt x="10" y="4"/>
                    </a:lnTo>
                    <a:lnTo>
                      <a:pt x="6" y="4"/>
                    </a:lnTo>
                    <a:lnTo>
                      <a:pt x="6" y="6"/>
                    </a:lnTo>
                    <a:lnTo>
                      <a:pt x="10" y="6"/>
                    </a:lnTo>
                    <a:lnTo>
                      <a:pt x="10" y="9"/>
                    </a:lnTo>
                    <a:lnTo>
                      <a:pt x="9" y="9"/>
                    </a:lnTo>
                    <a:lnTo>
                      <a:pt x="7" y="9"/>
                    </a:lnTo>
                    <a:lnTo>
                      <a:pt x="7" y="9"/>
                    </a:lnTo>
                    <a:lnTo>
                      <a:pt x="7" y="12"/>
                    </a:lnTo>
                    <a:lnTo>
                      <a:pt x="6" y="12"/>
                    </a:lnTo>
                    <a:lnTo>
                      <a:pt x="7" y="16"/>
                    </a:lnTo>
                    <a:lnTo>
                      <a:pt x="12" y="17"/>
                    </a:lnTo>
                    <a:lnTo>
                      <a:pt x="12" y="19"/>
                    </a:lnTo>
                    <a:lnTo>
                      <a:pt x="13" y="19"/>
                    </a:lnTo>
                    <a:lnTo>
                      <a:pt x="16" y="25"/>
                    </a:lnTo>
                    <a:lnTo>
                      <a:pt x="16" y="26"/>
                    </a:lnTo>
                    <a:lnTo>
                      <a:pt x="16" y="26"/>
                    </a:lnTo>
                    <a:lnTo>
                      <a:pt x="9" y="20"/>
                    </a:lnTo>
                    <a:lnTo>
                      <a:pt x="9" y="20"/>
                    </a:lnTo>
                    <a:lnTo>
                      <a:pt x="9" y="20"/>
                    </a:lnTo>
                    <a:lnTo>
                      <a:pt x="9" y="19"/>
                    </a:lnTo>
                    <a:lnTo>
                      <a:pt x="7" y="19"/>
                    </a:lnTo>
                    <a:lnTo>
                      <a:pt x="4" y="13"/>
                    </a:lnTo>
                    <a:lnTo>
                      <a:pt x="3" y="1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73" name="Freeform 1099"/>
              <p:cNvSpPr>
                <a:spLocks/>
              </p:cNvSpPr>
              <p:nvPr/>
            </p:nvSpPr>
            <p:spPr bwMode="auto">
              <a:xfrm>
                <a:off x="4391457" y="2341623"/>
                <a:ext cx="14923" cy="27381"/>
              </a:xfrm>
              <a:custGeom>
                <a:avLst/>
                <a:gdLst/>
                <a:ahLst/>
                <a:cxnLst>
                  <a:cxn ang="0">
                    <a:pos x="3" y="13"/>
                  </a:cxn>
                  <a:cxn ang="0">
                    <a:pos x="3" y="12"/>
                  </a:cxn>
                  <a:cxn ang="0">
                    <a:pos x="3" y="7"/>
                  </a:cxn>
                  <a:cxn ang="0">
                    <a:pos x="1" y="10"/>
                  </a:cxn>
                  <a:cxn ang="0">
                    <a:pos x="1" y="9"/>
                  </a:cxn>
                  <a:cxn ang="0">
                    <a:pos x="1" y="7"/>
                  </a:cxn>
                  <a:cxn ang="0">
                    <a:pos x="3" y="6"/>
                  </a:cxn>
                  <a:cxn ang="0">
                    <a:pos x="0" y="4"/>
                  </a:cxn>
                  <a:cxn ang="0">
                    <a:pos x="7" y="0"/>
                  </a:cxn>
                  <a:cxn ang="0">
                    <a:pos x="7" y="0"/>
                  </a:cxn>
                  <a:cxn ang="0">
                    <a:pos x="10" y="4"/>
                  </a:cxn>
                  <a:cxn ang="0">
                    <a:pos x="6" y="4"/>
                  </a:cxn>
                  <a:cxn ang="0">
                    <a:pos x="6" y="6"/>
                  </a:cxn>
                  <a:cxn ang="0">
                    <a:pos x="10" y="6"/>
                  </a:cxn>
                  <a:cxn ang="0">
                    <a:pos x="10" y="9"/>
                  </a:cxn>
                  <a:cxn ang="0">
                    <a:pos x="9" y="9"/>
                  </a:cxn>
                  <a:cxn ang="0">
                    <a:pos x="7" y="9"/>
                  </a:cxn>
                  <a:cxn ang="0">
                    <a:pos x="7" y="9"/>
                  </a:cxn>
                  <a:cxn ang="0">
                    <a:pos x="7" y="12"/>
                  </a:cxn>
                  <a:cxn ang="0">
                    <a:pos x="6" y="12"/>
                  </a:cxn>
                  <a:cxn ang="0">
                    <a:pos x="7" y="16"/>
                  </a:cxn>
                  <a:cxn ang="0">
                    <a:pos x="12" y="17"/>
                  </a:cxn>
                  <a:cxn ang="0">
                    <a:pos x="12" y="19"/>
                  </a:cxn>
                  <a:cxn ang="0">
                    <a:pos x="13" y="19"/>
                  </a:cxn>
                  <a:cxn ang="0">
                    <a:pos x="16" y="25"/>
                  </a:cxn>
                  <a:cxn ang="0">
                    <a:pos x="16" y="26"/>
                  </a:cxn>
                  <a:cxn ang="0">
                    <a:pos x="16" y="26"/>
                  </a:cxn>
                  <a:cxn ang="0">
                    <a:pos x="9" y="20"/>
                  </a:cxn>
                  <a:cxn ang="0">
                    <a:pos x="9" y="20"/>
                  </a:cxn>
                  <a:cxn ang="0">
                    <a:pos x="9" y="20"/>
                  </a:cxn>
                  <a:cxn ang="0">
                    <a:pos x="9" y="19"/>
                  </a:cxn>
                  <a:cxn ang="0">
                    <a:pos x="7" y="19"/>
                  </a:cxn>
                  <a:cxn ang="0">
                    <a:pos x="4" y="13"/>
                  </a:cxn>
                  <a:cxn ang="0">
                    <a:pos x="3" y="13"/>
                  </a:cxn>
                </a:cxnLst>
                <a:rect l="0" t="0" r="r" b="b"/>
                <a:pathLst>
                  <a:path w="16" h="26">
                    <a:moveTo>
                      <a:pt x="3" y="13"/>
                    </a:moveTo>
                    <a:lnTo>
                      <a:pt x="3" y="12"/>
                    </a:lnTo>
                    <a:lnTo>
                      <a:pt x="3" y="7"/>
                    </a:lnTo>
                    <a:lnTo>
                      <a:pt x="1" y="10"/>
                    </a:lnTo>
                    <a:lnTo>
                      <a:pt x="1" y="9"/>
                    </a:lnTo>
                    <a:lnTo>
                      <a:pt x="1" y="7"/>
                    </a:lnTo>
                    <a:lnTo>
                      <a:pt x="3" y="6"/>
                    </a:lnTo>
                    <a:lnTo>
                      <a:pt x="0" y="4"/>
                    </a:lnTo>
                    <a:lnTo>
                      <a:pt x="7" y="0"/>
                    </a:lnTo>
                    <a:lnTo>
                      <a:pt x="7" y="0"/>
                    </a:lnTo>
                    <a:lnTo>
                      <a:pt x="10" y="4"/>
                    </a:lnTo>
                    <a:lnTo>
                      <a:pt x="6" y="4"/>
                    </a:lnTo>
                    <a:lnTo>
                      <a:pt x="6" y="6"/>
                    </a:lnTo>
                    <a:lnTo>
                      <a:pt x="10" y="6"/>
                    </a:lnTo>
                    <a:lnTo>
                      <a:pt x="10" y="9"/>
                    </a:lnTo>
                    <a:lnTo>
                      <a:pt x="9" y="9"/>
                    </a:lnTo>
                    <a:lnTo>
                      <a:pt x="7" y="9"/>
                    </a:lnTo>
                    <a:lnTo>
                      <a:pt x="7" y="9"/>
                    </a:lnTo>
                    <a:lnTo>
                      <a:pt x="7" y="12"/>
                    </a:lnTo>
                    <a:lnTo>
                      <a:pt x="6" y="12"/>
                    </a:lnTo>
                    <a:lnTo>
                      <a:pt x="7" y="16"/>
                    </a:lnTo>
                    <a:lnTo>
                      <a:pt x="12" y="17"/>
                    </a:lnTo>
                    <a:lnTo>
                      <a:pt x="12" y="19"/>
                    </a:lnTo>
                    <a:lnTo>
                      <a:pt x="13" y="19"/>
                    </a:lnTo>
                    <a:lnTo>
                      <a:pt x="16" y="25"/>
                    </a:lnTo>
                    <a:lnTo>
                      <a:pt x="16" y="26"/>
                    </a:lnTo>
                    <a:lnTo>
                      <a:pt x="16" y="26"/>
                    </a:lnTo>
                    <a:lnTo>
                      <a:pt x="9" y="20"/>
                    </a:lnTo>
                    <a:lnTo>
                      <a:pt x="9" y="20"/>
                    </a:lnTo>
                    <a:lnTo>
                      <a:pt x="9" y="20"/>
                    </a:lnTo>
                    <a:lnTo>
                      <a:pt x="9" y="19"/>
                    </a:lnTo>
                    <a:lnTo>
                      <a:pt x="7" y="19"/>
                    </a:lnTo>
                    <a:lnTo>
                      <a:pt x="4" y="13"/>
                    </a:lnTo>
                    <a:lnTo>
                      <a:pt x="3" y="1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74" name="Freeform 1100"/>
              <p:cNvSpPr>
                <a:spLocks/>
              </p:cNvSpPr>
              <p:nvPr/>
            </p:nvSpPr>
            <p:spPr bwMode="auto">
              <a:xfrm>
                <a:off x="4414280" y="2322354"/>
                <a:ext cx="4389" cy="6085"/>
              </a:xfrm>
              <a:custGeom>
                <a:avLst/>
                <a:gdLst/>
                <a:ahLst/>
                <a:cxnLst>
                  <a:cxn ang="0">
                    <a:pos x="0" y="3"/>
                  </a:cxn>
                  <a:cxn ang="0">
                    <a:pos x="0" y="2"/>
                  </a:cxn>
                  <a:cxn ang="0">
                    <a:pos x="3" y="0"/>
                  </a:cxn>
                  <a:cxn ang="0">
                    <a:pos x="4" y="2"/>
                  </a:cxn>
                  <a:cxn ang="0">
                    <a:pos x="4" y="3"/>
                  </a:cxn>
                  <a:cxn ang="0">
                    <a:pos x="3" y="6"/>
                  </a:cxn>
                  <a:cxn ang="0">
                    <a:pos x="1" y="3"/>
                  </a:cxn>
                  <a:cxn ang="0">
                    <a:pos x="0" y="3"/>
                  </a:cxn>
                </a:cxnLst>
                <a:rect l="0" t="0" r="r" b="b"/>
                <a:pathLst>
                  <a:path w="4" h="6">
                    <a:moveTo>
                      <a:pt x="0" y="3"/>
                    </a:moveTo>
                    <a:lnTo>
                      <a:pt x="0" y="2"/>
                    </a:lnTo>
                    <a:lnTo>
                      <a:pt x="3" y="0"/>
                    </a:lnTo>
                    <a:lnTo>
                      <a:pt x="4" y="2"/>
                    </a:lnTo>
                    <a:lnTo>
                      <a:pt x="4" y="3"/>
                    </a:lnTo>
                    <a:lnTo>
                      <a:pt x="3" y="6"/>
                    </a:lnTo>
                    <a:lnTo>
                      <a:pt x="1" y="3"/>
                    </a:lnTo>
                    <a:lnTo>
                      <a:pt x="0"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75" name="Freeform 1101"/>
              <p:cNvSpPr>
                <a:spLocks/>
              </p:cNvSpPr>
              <p:nvPr/>
            </p:nvSpPr>
            <p:spPr bwMode="auto">
              <a:xfrm>
                <a:off x="4414280" y="2322354"/>
                <a:ext cx="4389" cy="6085"/>
              </a:xfrm>
              <a:custGeom>
                <a:avLst/>
                <a:gdLst/>
                <a:ahLst/>
                <a:cxnLst>
                  <a:cxn ang="0">
                    <a:pos x="0" y="3"/>
                  </a:cxn>
                  <a:cxn ang="0">
                    <a:pos x="0" y="2"/>
                  </a:cxn>
                  <a:cxn ang="0">
                    <a:pos x="3" y="0"/>
                  </a:cxn>
                  <a:cxn ang="0">
                    <a:pos x="4" y="2"/>
                  </a:cxn>
                  <a:cxn ang="0">
                    <a:pos x="4" y="3"/>
                  </a:cxn>
                  <a:cxn ang="0">
                    <a:pos x="3" y="6"/>
                  </a:cxn>
                  <a:cxn ang="0">
                    <a:pos x="1" y="3"/>
                  </a:cxn>
                  <a:cxn ang="0">
                    <a:pos x="0" y="3"/>
                  </a:cxn>
                </a:cxnLst>
                <a:rect l="0" t="0" r="r" b="b"/>
                <a:pathLst>
                  <a:path w="4" h="6">
                    <a:moveTo>
                      <a:pt x="0" y="3"/>
                    </a:moveTo>
                    <a:lnTo>
                      <a:pt x="0" y="2"/>
                    </a:lnTo>
                    <a:lnTo>
                      <a:pt x="3" y="0"/>
                    </a:lnTo>
                    <a:lnTo>
                      <a:pt x="4" y="2"/>
                    </a:lnTo>
                    <a:lnTo>
                      <a:pt x="4" y="3"/>
                    </a:lnTo>
                    <a:lnTo>
                      <a:pt x="3" y="6"/>
                    </a:lnTo>
                    <a:lnTo>
                      <a:pt x="1" y="3"/>
                    </a:lnTo>
                    <a:lnTo>
                      <a:pt x="0"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76" name="Freeform 1102"/>
              <p:cNvSpPr>
                <a:spLocks/>
              </p:cNvSpPr>
              <p:nvPr/>
            </p:nvSpPr>
            <p:spPr bwMode="auto">
              <a:xfrm>
                <a:off x="4415158" y="2332495"/>
                <a:ext cx="9655" cy="12170"/>
              </a:xfrm>
              <a:custGeom>
                <a:avLst/>
                <a:gdLst/>
                <a:ahLst/>
                <a:cxnLst>
                  <a:cxn ang="0">
                    <a:pos x="0" y="0"/>
                  </a:cxn>
                  <a:cxn ang="0">
                    <a:pos x="5" y="2"/>
                  </a:cxn>
                  <a:cxn ang="0">
                    <a:pos x="9" y="5"/>
                  </a:cxn>
                  <a:cxn ang="0">
                    <a:pos x="10" y="9"/>
                  </a:cxn>
                  <a:cxn ang="0">
                    <a:pos x="10" y="12"/>
                  </a:cxn>
                  <a:cxn ang="0">
                    <a:pos x="9" y="12"/>
                  </a:cxn>
                  <a:cxn ang="0">
                    <a:pos x="6" y="7"/>
                  </a:cxn>
                  <a:cxn ang="0">
                    <a:pos x="5" y="6"/>
                  </a:cxn>
                  <a:cxn ang="0">
                    <a:pos x="3" y="5"/>
                  </a:cxn>
                  <a:cxn ang="0">
                    <a:pos x="2" y="3"/>
                  </a:cxn>
                  <a:cxn ang="0">
                    <a:pos x="0" y="0"/>
                  </a:cxn>
                </a:cxnLst>
                <a:rect l="0" t="0" r="r" b="b"/>
                <a:pathLst>
                  <a:path w="10" h="12">
                    <a:moveTo>
                      <a:pt x="0" y="0"/>
                    </a:moveTo>
                    <a:lnTo>
                      <a:pt x="5" y="2"/>
                    </a:lnTo>
                    <a:lnTo>
                      <a:pt x="9" y="5"/>
                    </a:lnTo>
                    <a:lnTo>
                      <a:pt x="10" y="9"/>
                    </a:lnTo>
                    <a:lnTo>
                      <a:pt x="10" y="12"/>
                    </a:lnTo>
                    <a:lnTo>
                      <a:pt x="9" y="12"/>
                    </a:lnTo>
                    <a:lnTo>
                      <a:pt x="6" y="7"/>
                    </a:lnTo>
                    <a:lnTo>
                      <a:pt x="5" y="6"/>
                    </a:lnTo>
                    <a:lnTo>
                      <a:pt x="3" y="5"/>
                    </a:lnTo>
                    <a:lnTo>
                      <a:pt x="2" y="3"/>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77" name="Freeform 1103"/>
              <p:cNvSpPr>
                <a:spLocks/>
              </p:cNvSpPr>
              <p:nvPr/>
            </p:nvSpPr>
            <p:spPr bwMode="auto">
              <a:xfrm>
                <a:off x="4415158" y="2332495"/>
                <a:ext cx="9655" cy="12170"/>
              </a:xfrm>
              <a:custGeom>
                <a:avLst/>
                <a:gdLst/>
                <a:ahLst/>
                <a:cxnLst>
                  <a:cxn ang="0">
                    <a:pos x="0" y="0"/>
                  </a:cxn>
                  <a:cxn ang="0">
                    <a:pos x="5" y="2"/>
                  </a:cxn>
                  <a:cxn ang="0">
                    <a:pos x="9" y="5"/>
                  </a:cxn>
                  <a:cxn ang="0">
                    <a:pos x="10" y="9"/>
                  </a:cxn>
                  <a:cxn ang="0">
                    <a:pos x="10" y="12"/>
                  </a:cxn>
                  <a:cxn ang="0">
                    <a:pos x="9" y="12"/>
                  </a:cxn>
                  <a:cxn ang="0">
                    <a:pos x="6" y="7"/>
                  </a:cxn>
                  <a:cxn ang="0">
                    <a:pos x="5" y="6"/>
                  </a:cxn>
                  <a:cxn ang="0">
                    <a:pos x="3" y="5"/>
                  </a:cxn>
                  <a:cxn ang="0">
                    <a:pos x="2" y="3"/>
                  </a:cxn>
                  <a:cxn ang="0">
                    <a:pos x="0" y="0"/>
                  </a:cxn>
                </a:cxnLst>
                <a:rect l="0" t="0" r="r" b="b"/>
                <a:pathLst>
                  <a:path w="10" h="12">
                    <a:moveTo>
                      <a:pt x="0" y="0"/>
                    </a:moveTo>
                    <a:lnTo>
                      <a:pt x="5" y="2"/>
                    </a:lnTo>
                    <a:lnTo>
                      <a:pt x="9" y="5"/>
                    </a:lnTo>
                    <a:lnTo>
                      <a:pt x="10" y="9"/>
                    </a:lnTo>
                    <a:lnTo>
                      <a:pt x="10" y="12"/>
                    </a:lnTo>
                    <a:lnTo>
                      <a:pt x="9" y="12"/>
                    </a:lnTo>
                    <a:lnTo>
                      <a:pt x="6" y="7"/>
                    </a:lnTo>
                    <a:lnTo>
                      <a:pt x="5" y="6"/>
                    </a:lnTo>
                    <a:lnTo>
                      <a:pt x="3" y="5"/>
                    </a:lnTo>
                    <a:lnTo>
                      <a:pt x="2" y="3"/>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78" name="Freeform 1104"/>
              <p:cNvSpPr>
                <a:spLocks/>
              </p:cNvSpPr>
              <p:nvPr/>
            </p:nvSpPr>
            <p:spPr bwMode="auto">
              <a:xfrm>
                <a:off x="4420425" y="2326411"/>
                <a:ext cx="8778" cy="16227"/>
              </a:xfrm>
              <a:custGeom>
                <a:avLst/>
                <a:gdLst/>
                <a:ahLst/>
                <a:cxnLst>
                  <a:cxn ang="0">
                    <a:pos x="5" y="6"/>
                  </a:cxn>
                  <a:cxn ang="0">
                    <a:pos x="7" y="6"/>
                  </a:cxn>
                  <a:cxn ang="0">
                    <a:pos x="7" y="8"/>
                  </a:cxn>
                  <a:cxn ang="0">
                    <a:pos x="10" y="11"/>
                  </a:cxn>
                  <a:cxn ang="0">
                    <a:pos x="10" y="15"/>
                  </a:cxn>
                  <a:cxn ang="0">
                    <a:pos x="8" y="16"/>
                  </a:cxn>
                  <a:cxn ang="0">
                    <a:pos x="2" y="5"/>
                  </a:cxn>
                  <a:cxn ang="0">
                    <a:pos x="2" y="3"/>
                  </a:cxn>
                  <a:cxn ang="0">
                    <a:pos x="1" y="3"/>
                  </a:cxn>
                  <a:cxn ang="0">
                    <a:pos x="0" y="2"/>
                  </a:cxn>
                  <a:cxn ang="0">
                    <a:pos x="0" y="0"/>
                  </a:cxn>
                  <a:cxn ang="0">
                    <a:pos x="1" y="0"/>
                  </a:cxn>
                  <a:cxn ang="0">
                    <a:pos x="4" y="3"/>
                  </a:cxn>
                  <a:cxn ang="0">
                    <a:pos x="5" y="6"/>
                  </a:cxn>
                </a:cxnLst>
                <a:rect l="0" t="0" r="r" b="b"/>
                <a:pathLst>
                  <a:path w="10" h="16">
                    <a:moveTo>
                      <a:pt x="5" y="6"/>
                    </a:moveTo>
                    <a:lnTo>
                      <a:pt x="7" y="6"/>
                    </a:lnTo>
                    <a:lnTo>
                      <a:pt x="7" y="8"/>
                    </a:lnTo>
                    <a:lnTo>
                      <a:pt x="10" y="11"/>
                    </a:lnTo>
                    <a:lnTo>
                      <a:pt x="10" y="15"/>
                    </a:lnTo>
                    <a:lnTo>
                      <a:pt x="8" y="16"/>
                    </a:lnTo>
                    <a:lnTo>
                      <a:pt x="2" y="5"/>
                    </a:lnTo>
                    <a:lnTo>
                      <a:pt x="2" y="3"/>
                    </a:lnTo>
                    <a:lnTo>
                      <a:pt x="1" y="3"/>
                    </a:lnTo>
                    <a:lnTo>
                      <a:pt x="0" y="2"/>
                    </a:lnTo>
                    <a:lnTo>
                      <a:pt x="0" y="0"/>
                    </a:lnTo>
                    <a:lnTo>
                      <a:pt x="1" y="0"/>
                    </a:lnTo>
                    <a:lnTo>
                      <a:pt x="4" y="3"/>
                    </a:lnTo>
                    <a:lnTo>
                      <a:pt x="5"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79" name="Freeform 1105"/>
              <p:cNvSpPr>
                <a:spLocks/>
              </p:cNvSpPr>
              <p:nvPr/>
            </p:nvSpPr>
            <p:spPr bwMode="auto">
              <a:xfrm>
                <a:off x="4420425" y="2326411"/>
                <a:ext cx="8778" cy="16227"/>
              </a:xfrm>
              <a:custGeom>
                <a:avLst/>
                <a:gdLst/>
                <a:ahLst/>
                <a:cxnLst>
                  <a:cxn ang="0">
                    <a:pos x="5" y="6"/>
                  </a:cxn>
                  <a:cxn ang="0">
                    <a:pos x="7" y="6"/>
                  </a:cxn>
                  <a:cxn ang="0">
                    <a:pos x="7" y="8"/>
                  </a:cxn>
                  <a:cxn ang="0">
                    <a:pos x="10" y="11"/>
                  </a:cxn>
                  <a:cxn ang="0">
                    <a:pos x="10" y="15"/>
                  </a:cxn>
                  <a:cxn ang="0">
                    <a:pos x="8" y="16"/>
                  </a:cxn>
                  <a:cxn ang="0">
                    <a:pos x="2" y="5"/>
                  </a:cxn>
                  <a:cxn ang="0">
                    <a:pos x="2" y="3"/>
                  </a:cxn>
                  <a:cxn ang="0">
                    <a:pos x="1" y="3"/>
                  </a:cxn>
                  <a:cxn ang="0">
                    <a:pos x="0" y="2"/>
                  </a:cxn>
                  <a:cxn ang="0">
                    <a:pos x="0" y="0"/>
                  </a:cxn>
                  <a:cxn ang="0">
                    <a:pos x="1" y="0"/>
                  </a:cxn>
                  <a:cxn ang="0">
                    <a:pos x="4" y="3"/>
                  </a:cxn>
                  <a:cxn ang="0">
                    <a:pos x="5" y="6"/>
                  </a:cxn>
                </a:cxnLst>
                <a:rect l="0" t="0" r="r" b="b"/>
                <a:pathLst>
                  <a:path w="10" h="16">
                    <a:moveTo>
                      <a:pt x="5" y="6"/>
                    </a:moveTo>
                    <a:lnTo>
                      <a:pt x="7" y="6"/>
                    </a:lnTo>
                    <a:lnTo>
                      <a:pt x="7" y="8"/>
                    </a:lnTo>
                    <a:lnTo>
                      <a:pt x="10" y="11"/>
                    </a:lnTo>
                    <a:lnTo>
                      <a:pt x="10" y="15"/>
                    </a:lnTo>
                    <a:lnTo>
                      <a:pt x="8" y="16"/>
                    </a:lnTo>
                    <a:lnTo>
                      <a:pt x="2" y="5"/>
                    </a:lnTo>
                    <a:lnTo>
                      <a:pt x="2" y="3"/>
                    </a:lnTo>
                    <a:lnTo>
                      <a:pt x="1" y="3"/>
                    </a:lnTo>
                    <a:lnTo>
                      <a:pt x="0" y="2"/>
                    </a:lnTo>
                    <a:lnTo>
                      <a:pt x="0" y="0"/>
                    </a:lnTo>
                    <a:lnTo>
                      <a:pt x="1" y="0"/>
                    </a:lnTo>
                    <a:lnTo>
                      <a:pt x="4" y="3"/>
                    </a:lnTo>
                    <a:lnTo>
                      <a:pt x="5"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80" name="Freeform 1106"/>
              <p:cNvSpPr>
                <a:spLocks/>
              </p:cNvSpPr>
              <p:nvPr/>
            </p:nvSpPr>
            <p:spPr bwMode="auto">
              <a:xfrm>
                <a:off x="4432714" y="2351765"/>
                <a:ext cx="2633" cy="8113"/>
              </a:xfrm>
              <a:custGeom>
                <a:avLst/>
                <a:gdLst/>
                <a:ahLst/>
                <a:cxnLst>
                  <a:cxn ang="0">
                    <a:pos x="0" y="0"/>
                  </a:cxn>
                  <a:cxn ang="0">
                    <a:pos x="0" y="0"/>
                  </a:cxn>
                  <a:cxn ang="0">
                    <a:pos x="3" y="4"/>
                  </a:cxn>
                  <a:cxn ang="0">
                    <a:pos x="3" y="7"/>
                  </a:cxn>
                  <a:cxn ang="0">
                    <a:pos x="3" y="7"/>
                  </a:cxn>
                  <a:cxn ang="0">
                    <a:pos x="0" y="2"/>
                  </a:cxn>
                  <a:cxn ang="0">
                    <a:pos x="0" y="0"/>
                  </a:cxn>
                </a:cxnLst>
                <a:rect l="0" t="0" r="r" b="b"/>
                <a:pathLst>
                  <a:path w="3" h="7">
                    <a:moveTo>
                      <a:pt x="0" y="0"/>
                    </a:moveTo>
                    <a:lnTo>
                      <a:pt x="0" y="0"/>
                    </a:lnTo>
                    <a:lnTo>
                      <a:pt x="3" y="4"/>
                    </a:lnTo>
                    <a:lnTo>
                      <a:pt x="3" y="7"/>
                    </a:lnTo>
                    <a:lnTo>
                      <a:pt x="3" y="7"/>
                    </a:lnTo>
                    <a:lnTo>
                      <a:pt x="0" y="2"/>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81" name="Freeform 1107"/>
              <p:cNvSpPr>
                <a:spLocks/>
              </p:cNvSpPr>
              <p:nvPr/>
            </p:nvSpPr>
            <p:spPr bwMode="auto">
              <a:xfrm>
                <a:off x="4432714" y="2351765"/>
                <a:ext cx="2633" cy="8113"/>
              </a:xfrm>
              <a:custGeom>
                <a:avLst/>
                <a:gdLst/>
                <a:ahLst/>
                <a:cxnLst>
                  <a:cxn ang="0">
                    <a:pos x="0" y="0"/>
                  </a:cxn>
                  <a:cxn ang="0">
                    <a:pos x="0" y="0"/>
                  </a:cxn>
                  <a:cxn ang="0">
                    <a:pos x="3" y="4"/>
                  </a:cxn>
                  <a:cxn ang="0">
                    <a:pos x="3" y="7"/>
                  </a:cxn>
                  <a:cxn ang="0">
                    <a:pos x="3" y="7"/>
                  </a:cxn>
                  <a:cxn ang="0">
                    <a:pos x="0" y="2"/>
                  </a:cxn>
                  <a:cxn ang="0">
                    <a:pos x="0" y="0"/>
                  </a:cxn>
                </a:cxnLst>
                <a:rect l="0" t="0" r="r" b="b"/>
                <a:pathLst>
                  <a:path w="3" h="7">
                    <a:moveTo>
                      <a:pt x="0" y="0"/>
                    </a:moveTo>
                    <a:lnTo>
                      <a:pt x="0" y="0"/>
                    </a:lnTo>
                    <a:lnTo>
                      <a:pt x="3" y="4"/>
                    </a:lnTo>
                    <a:lnTo>
                      <a:pt x="3" y="7"/>
                    </a:lnTo>
                    <a:lnTo>
                      <a:pt x="3" y="7"/>
                    </a:lnTo>
                    <a:lnTo>
                      <a:pt x="0" y="2"/>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82" name="Freeform 1108"/>
              <p:cNvSpPr>
                <a:spLocks/>
              </p:cNvSpPr>
              <p:nvPr/>
            </p:nvSpPr>
            <p:spPr bwMode="auto">
              <a:xfrm>
                <a:off x="4445003" y="2399429"/>
                <a:ext cx="64957" cy="58819"/>
              </a:xfrm>
              <a:custGeom>
                <a:avLst/>
                <a:gdLst/>
                <a:ahLst/>
                <a:cxnLst>
                  <a:cxn ang="0">
                    <a:pos x="12" y="10"/>
                  </a:cxn>
                  <a:cxn ang="0">
                    <a:pos x="12" y="10"/>
                  </a:cxn>
                  <a:cxn ang="0">
                    <a:pos x="6" y="6"/>
                  </a:cxn>
                  <a:cxn ang="0">
                    <a:pos x="3" y="7"/>
                  </a:cxn>
                  <a:cxn ang="0">
                    <a:pos x="0" y="5"/>
                  </a:cxn>
                  <a:cxn ang="0">
                    <a:pos x="0" y="2"/>
                  </a:cxn>
                  <a:cxn ang="0">
                    <a:pos x="4" y="0"/>
                  </a:cxn>
                  <a:cxn ang="0">
                    <a:pos x="15" y="5"/>
                  </a:cxn>
                  <a:cxn ang="0">
                    <a:pos x="39" y="13"/>
                  </a:cxn>
                  <a:cxn ang="0">
                    <a:pos x="41" y="18"/>
                  </a:cxn>
                  <a:cxn ang="0">
                    <a:pos x="48" y="26"/>
                  </a:cxn>
                  <a:cxn ang="0">
                    <a:pos x="49" y="29"/>
                  </a:cxn>
                  <a:cxn ang="0">
                    <a:pos x="55" y="34"/>
                  </a:cxn>
                  <a:cxn ang="0">
                    <a:pos x="58" y="35"/>
                  </a:cxn>
                  <a:cxn ang="0">
                    <a:pos x="64" y="39"/>
                  </a:cxn>
                  <a:cxn ang="0">
                    <a:pos x="70" y="50"/>
                  </a:cxn>
                  <a:cxn ang="0">
                    <a:pos x="70" y="52"/>
                  </a:cxn>
                  <a:cxn ang="0">
                    <a:pos x="68" y="57"/>
                  </a:cxn>
                  <a:cxn ang="0">
                    <a:pos x="57" y="51"/>
                  </a:cxn>
                  <a:cxn ang="0">
                    <a:pos x="54" y="51"/>
                  </a:cxn>
                  <a:cxn ang="0">
                    <a:pos x="51" y="48"/>
                  </a:cxn>
                  <a:cxn ang="0">
                    <a:pos x="51" y="47"/>
                  </a:cxn>
                  <a:cxn ang="0">
                    <a:pos x="49" y="48"/>
                  </a:cxn>
                  <a:cxn ang="0">
                    <a:pos x="47" y="45"/>
                  </a:cxn>
                  <a:cxn ang="0">
                    <a:pos x="48" y="44"/>
                  </a:cxn>
                  <a:cxn ang="0">
                    <a:pos x="48" y="42"/>
                  </a:cxn>
                  <a:cxn ang="0">
                    <a:pos x="44" y="42"/>
                  </a:cxn>
                  <a:cxn ang="0">
                    <a:pos x="39" y="42"/>
                  </a:cxn>
                  <a:cxn ang="0">
                    <a:pos x="41" y="41"/>
                  </a:cxn>
                  <a:cxn ang="0">
                    <a:pos x="36" y="36"/>
                  </a:cxn>
                  <a:cxn ang="0">
                    <a:pos x="33" y="34"/>
                  </a:cxn>
                  <a:cxn ang="0">
                    <a:pos x="26" y="32"/>
                  </a:cxn>
                  <a:cxn ang="0">
                    <a:pos x="26" y="29"/>
                  </a:cxn>
                  <a:cxn ang="0">
                    <a:pos x="33" y="28"/>
                  </a:cxn>
                  <a:cxn ang="0">
                    <a:pos x="28" y="26"/>
                  </a:cxn>
                  <a:cxn ang="0">
                    <a:pos x="26" y="25"/>
                  </a:cxn>
                  <a:cxn ang="0">
                    <a:pos x="25" y="23"/>
                  </a:cxn>
                  <a:cxn ang="0">
                    <a:pos x="20" y="22"/>
                  </a:cxn>
                  <a:cxn ang="0">
                    <a:pos x="19" y="23"/>
                  </a:cxn>
                  <a:cxn ang="0">
                    <a:pos x="18" y="19"/>
                  </a:cxn>
                  <a:cxn ang="0">
                    <a:pos x="18" y="18"/>
                  </a:cxn>
                  <a:cxn ang="0">
                    <a:pos x="15" y="19"/>
                  </a:cxn>
                  <a:cxn ang="0">
                    <a:pos x="12" y="16"/>
                  </a:cxn>
                  <a:cxn ang="0">
                    <a:pos x="9" y="18"/>
                  </a:cxn>
                  <a:cxn ang="0">
                    <a:pos x="6" y="16"/>
                  </a:cxn>
                  <a:cxn ang="0">
                    <a:pos x="7" y="13"/>
                  </a:cxn>
                  <a:cxn ang="0">
                    <a:pos x="6" y="10"/>
                  </a:cxn>
                  <a:cxn ang="0">
                    <a:pos x="10" y="10"/>
                  </a:cxn>
                </a:cxnLst>
                <a:rect l="0" t="0" r="r" b="b"/>
                <a:pathLst>
                  <a:path w="71" h="57">
                    <a:moveTo>
                      <a:pt x="12" y="12"/>
                    </a:moveTo>
                    <a:lnTo>
                      <a:pt x="12" y="10"/>
                    </a:lnTo>
                    <a:lnTo>
                      <a:pt x="12" y="12"/>
                    </a:lnTo>
                    <a:lnTo>
                      <a:pt x="12" y="10"/>
                    </a:lnTo>
                    <a:lnTo>
                      <a:pt x="12" y="6"/>
                    </a:lnTo>
                    <a:lnTo>
                      <a:pt x="6" y="6"/>
                    </a:lnTo>
                    <a:lnTo>
                      <a:pt x="4" y="5"/>
                    </a:lnTo>
                    <a:lnTo>
                      <a:pt x="3" y="7"/>
                    </a:lnTo>
                    <a:lnTo>
                      <a:pt x="2" y="6"/>
                    </a:lnTo>
                    <a:lnTo>
                      <a:pt x="0" y="5"/>
                    </a:lnTo>
                    <a:lnTo>
                      <a:pt x="0" y="3"/>
                    </a:lnTo>
                    <a:lnTo>
                      <a:pt x="0" y="2"/>
                    </a:lnTo>
                    <a:lnTo>
                      <a:pt x="2" y="0"/>
                    </a:lnTo>
                    <a:lnTo>
                      <a:pt x="4" y="0"/>
                    </a:lnTo>
                    <a:lnTo>
                      <a:pt x="12" y="3"/>
                    </a:lnTo>
                    <a:lnTo>
                      <a:pt x="15" y="5"/>
                    </a:lnTo>
                    <a:lnTo>
                      <a:pt x="38" y="12"/>
                    </a:lnTo>
                    <a:lnTo>
                      <a:pt x="39" y="13"/>
                    </a:lnTo>
                    <a:lnTo>
                      <a:pt x="41" y="15"/>
                    </a:lnTo>
                    <a:lnTo>
                      <a:pt x="41" y="18"/>
                    </a:lnTo>
                    <a:lnTo>
                      <a:pt x="48" y="26"/>
                    </a:lnTo>
                    <a:lnTo>
                      <a:pt x="48" y="26"/>
                    </a:lnTo>
                    <a:lnTo>
                      <a:pt x="48" y="28"/>
                    </a:lnTo>
                    <a:lnTo>
                      <a:pt x="49" y="29"/>
                    </a:lnTo>
                    <a:lnTo>
                      <a:pt x="49" y="31"/>
                    </a:lnTo>
                    <a:lnTo>
                      <a:pt x="55" y="34"/>
                    </a:lnTo>
                    <a:lnTo>
                      <a:pt x="58" y="34"/>
                    </a:lnTo>
                    <a:lnTo>
                      <a:pt x="58" y="35"/>
                    </a:lnTo>
                    <a:lnTo>
                      <a:pt x="61" y="36"/>
                    </a:lnTo>
                    <a:lnTo>
                      <a:pt x="64" y="39"/>
                    </a:lnTo>
                    <a:lnTo>
                      <a:pt x="68" y="51"/>
                    </a:lnTo>
                    <a:lnTo>
                      <a:pt x="70" y="50"/>
                    </a:lnTo>
                    <a:lnTo>
                      <a:pt x="71" y="52"/>
                    </a:lnTo>
                    <a:lnTo>
                      <a:pt x="70" y="52"/>
                    </a:lnTo>
                    <a:lnTo>
                      <a:pt x="70" y="55"/>
                    </a:lnTo>
                    <a:lnTo>
                      <a:pt x="68" y="57"/>
                    </a:lnTo>
                    <a:lnTo>
                      <a:pt x="57" y="51"/>
                    </a:lnTo>
                    <a:lnTo>
                      <a:pt x="57" y="51"/>
                    </a:lnTo>
                    <a:lnTo>
                      <a:pt x="55" y="51"/>
                    </a:lnTo>
                    <a:lnTo>
                      <a:pt x="54" y="51"/>
                    </a:lnTo>
                    <a:lnTo>
                      <a:pt x="51" y="50"/>
                    </a:lnTo>
                    <a:lnTo>
                      <a:pt x="51" y="48"/>
                    </a:lnTo>
                    <a:lnTo>
                      <a:pt x="52" y="45"/>
                    </a:lnTo>
                    <a:lnTo>
                      <a:pt x="51" y="47"/>
                    </a:lnTo>
                    <a:lnTo>
                      <a:pt x="51" y="48"/>
                    </a:lnTo>
                    <a:lnTo>
                      <a:pt x="49" y="48"/>
                    </a:lnTo>
                    <a:lnTo>
                      <a:pt x="47" y="47"/>
                    </a:lnTo>
                    <a:lnTo>
                      <a:pt x="47" y="45"/>
                    </a:lnTo>
                    <a:lnTo>
                      <a:pt x="47" y="44"/>
                    </a:lnTo>
                    <a:lnTo>
                      <a:pt x="48" y="44"/>
                    </a:lnTo>
                    <a:lnTo>
                      <a:pt x="49" y="42"/>
                    </a:lnTo>
                    <a:lnTo>
                      <a:pt x="48" y="42"/>
                    </a:lnTo>
                    <a:lnTo>
                      <a:pt x="45" y="41"/>
                    </a:lnTo>
                    <a:lnTo>
                      <a:pt x="44" y="42"/>
                    </a:lnTo>
                    <a:lnTo>
                      <a:pt x="42" y="42"/>
                    </a:lnTo>
                    <a:lnTo>
                      <a:pt x="39" y="42"/>
                    </a:lnTo>
                    <a:lnTo>
                      <a:pt x="36" y="41"/>
                    </a:lnTo>
                    <a:lnTo>
                      <a:pt x="41" y="41"/>
                    </a:lnTo>
                    <a:lnTo>
                      <a:pt x="39" y="38"/>
                    </a:lnTo>
                    <a:lnTo>
                      <a:pt x="36" y="36"/>
                    </a:lnTo>
                    <a:lnTo>
                      <a:pt x="33" y="35"/>
                    </a:lnTo>
                    <a:lnTo>
                      <a:pt x="33" y="34"/>
                    </a:lnTo>
                    <a:lnTo>
                      <a:pt x="31" y="32"/>
                    </a:lnTo>
                    <a:lnTo>
                      <a:pt x="26" y="32"/>
                    </a:lnTo>
                    <a:lnTo>
                      <a:pt x="25" y="29"/>
                    </a:lnTo>
                    <a:lnTo>
                      <a:pt x="26" y="29"/>
                    </a:lnTo>
                    <a:lnTo>
                      <a:pt x="31" y="29"/>
                    </a:lnTo>
                    <a:lnTo>
                      <a:pt x="33" y="28"/>
                    </a:lnTo>
                    <a:lnTo>
                      <a:pt x="31" y="26"/>
                    </a:lnTo>
                    <a:lnTo>
                      <a:pt x="28" y="26"/>
                    </a:lnTo>
                    <a:lnTo>
                      <a:pt x="28" y="26"/>
                    </a:lnTo>
                    <a:lnTo>
                      <a:pt x="26" y="25"/>
                    </a:lnTo>
                    <a:lnTo>
                      <a:pt x="25" y="26"/>
                    </a:lnTo>
                    <a:lnTo>
                      <a:pt x="25" y="23"/>
                    </a:lnTo>
                    <a:lnTo>
                      <a:pt x="22" y="22"/>
                    </a:lnTo>
                    <a:lnTo>
                      <a:pt x="20" y="22"/>
                    </a:lnTo>
                    <a:lnTo>
                      <a:pt x="20" y="21"/>
                    </a:lnTo>
                    <a:lnTo>
                      <a:pt x="19" y="23"/>
                    </a:lnTo>
                    <a:lnTo>
                      <a:pt x="16" y="21"/>
                    </a:lnTo>
                    <a:lnTo>
                      <a:pt x="18" y="19"/>
                    </a:lnTo>
                    <a:lnTo>
                      <a:pt x="18" y="18"/>
                    </a:lnTo>
                    <a:lnTo>
                      <a:pt x="18" y="18"/>
                    </a:lnTo>
                    <a:lnTo>
                      <a:pt x="15" y="16"/>
                    </a:lnTo>
                    <a:lnTo>
                      <a:pt x="15" y="19"/>
                    </a:lnTo>
                    <a:lnTo>
                      <a:pt x="12" y="16"/>
                    </a:lnTo>
                    <a:lnTo>
                      <a:pt x="12" y="16"/>
                    </a:lnTo>
                    <a:lnTo>
                      <a:pt x="10" y="16"/>
                    </a:lnTo>
                    <a:lnTo>
                      <a:pt x="9" y="18"/>
                    </a:lnTo>
                    <a:lnTo>
                      <a:pt x="7" y="18"/>
                    </a:lnTo>
                    <a:lnTo>
                      <a:pt x="6" y="16"/>
                    </a:lnTo>
                    <a:lnTo>
                      <a:pt x="7" y="15"/>
                    </a:lnTo>
                    <a:lnTo>
                      <a:pt x="7" y="13"/>
                    </a:lnTo>
                    <a:lnTo>
                      <a:pt x="6" y="12"/>
                    </a:lnTo>
                    <a:lnTo>
                      <a:pt x="6" y="10"/>
                    </a:lnTo>
                    <a:lnTo>
                      <a:pt x="7" y="9"/>
                    </a:lnTo>
                    <a:lnTo>
                      <a:pt x="10" y="10"/>
                    </a:lnTo>
                    <a:lnTo>
                      <a:pt x="12" y="1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83" name="Freeform 1498"/>
              <p:cNvSpPr>
                <a:spLocks/>
              </p:cNvSpPr>
              <p:nvPr/>
            </p:nvSpPr>
            <p:spPr bwMode="auto">
              <a:xfrm>
                <a:off x="4349323" y="2231082"/>
                <a:ext cx="12289" cy="34480"/>
              </a:xfrm>
              <a:custGeom>
                <a:avLst/>
                <a:gdLst/>
                <a:ahLst/>
                <a:cxnLst>
                  <a:cxn ang="0">
                    <a:pos x="10" y="6"/>
                  </a:cxn>
                  <a:cxn ang="0">
                    <a:pos x="10" y="6"/>
                  </a:cxn>
                  <a:cxn ang="0">
                    <a:pos x="11" y="9"/>
                  </a:cxn>
                  <a:cxn ang="0">
                    <a:pos x="10" y="14"/>
                  </a:cxn>
                  <a:cxn ang="0">
                    <a:pos x="10" y="11"/>
                  </a:cxn>
                  <a:cxn ang="0">
                    <a:pos x="11" y="13"/>
                  </a:cxn>
                  <a:cxn ang="0">
                    <a:pos x="13" y="14"/>
                  </a:cxn>
                  <a:cxn ang="0">
                    <a:pos x="13" y="16"/>
                  </a:cxn>
                  <a:cxn ang="0">
                    <a:pos x="11" y="16"/>
                  </a:cxn>
                  <a:cxn ang="0">
                    <a:pos x="11" y="19"/>
                  </a:cxn>
                  <a:cxn ang="0">
                    <a:pos x="13" y="20"/>
                  </a:cxn>
                  <a:cxn ang="0">
                    <a:pos x="13" y="32"/>
                  </a:cxn>
                  <a:cxn ang="0">
                    <a:pos x="13" y="33"/>
                  </a:cxn>
                  <a:cxn ang="0">
                    <a:pos x="11" y="33"/>
                  </a:cxn>
                  <a:cxn ang="0">
                    <a:pos x="11" y="30"/>
                  </a:cxn>
                  <a:cxn ang="0">
                    <a:pos x="10" y="30"/>
                  </a:cxn>
                  <a:cxn ang="0">
                    <a:pos x="8" y="25"/>
                  </a:cxn>
                  <a:cxn ang="0">
                    <a:pos x="8" y="23"/>
                  </a:cxn>
                  <a:cxn ang="0">
                    <a:pos x="10" y="19"/>
                  </a:cxn>
                  <a:cxn ang="0">
                    <a:pos x="10" y="17"/>
                  </a:cxn>
                  <a:cxn ang="0">
                    <a:pos x="10" y="20"/>
                  </a:cxn>
                  <a:cxn ang="0">
                    <a:pos x="8" y="22"/>
                  </a:cxn>
                  <a:cxn ang="0">
                    <a:pos x="7" y="22"/>
                  </a:cxn>
                  <a:cxn ang="0">
                    <a:pos x="7" y="20"/>
                  </a:cxn>
                  <a:cxn ang="0">
                    <a:pos x="5" y="19"/>
                  </a:cxn>
                  <a:cxn ang="0">
                    <a:pos x="4" y="17"/>
                  </a:cxn>
                  <a:cxn ang="0">
                    <a:pos x="4" y="17"/>
                  </a:cxn>
                  <a:cxn ang="0">
                    <a:pos x="4" y="17"/>
                  </a:cxn>
                  <a:cxn ang="0">
                    <a:pos x="4" y="14"/>
                  </a:cxn>
                  <a:cxn ang="0">
                    <a:pos x="4" y="14"/>
                  </a:cxn>
                  <a:cxn ang="0">
                    <a:pos x="5" y="13"/>
                  </a:cxn>
                  <a:cxn ang="0">
                    <a:pos x="5" y="11"/>
                  </a:cxn>
                  <a:cxn ang="0">
                    <a:pos x="4" y="10"/>
                  </a:cxn>
                  <a:cxn ang="0">
                    <a:pos x="2" y="7"/>
                  </a:cxn>
                  <a:cxn ang="0">
                    <a:pos x="0" y="6"/>
                  </a:cxn>
                  <a:cxn ang="0">
                    <a:pos x="0" y="4"/>
                  </a:cxn>
                  <a:cxn ang="0">
                    <a:pos x="0" y="3"/>
                  </a:cxn>
                  <a:cxn ang="0">
                    <a:pos x="0" y="3"/>
                  </a:cxn>
                  <a:cxn ang="0">
                    <a:pos x="1" y="0"/>
                  </a:cxn>
                  <a:cxn ang="0">
                    <a:pos x="1" y="0"/>
                  </a:cxn>
                  <a:cxn ang="0">
                    <a:pos x="2" y="1"/>
                  </a:cxn>
                  <a:cxn ang="0">
                    <a:pos x="4" y="1"/>
                  </a:cxn>
                  <a:cxn ang="0">
                    <a:pos x="7" y="4"/>
                  </a:cxn>
                  <a:cxn ang="0">
                    <a:pos x="7" y="4"/>
                  </a:cxn>
                  <a:cxn ang="0">
                    <a:pos x="8" y="6"/>
                  </a:cxn>
                  <a:cxn ang="0">
                    <a:pos x="10" y="6"/>
                  </a:cxn>
                </a:cxnLst>
                <a:rect l="0" t="0" r="r" b="b"/>
                <a:pathLst>
                  <a:path w="13" h="33">
                    <a:moveTo>
                      <a:pt x="10" y="6"/>
                    </a:moveTo>
                    <a:lnTo>
                      <a:pt x="10" y="6"/>
                    </a:lnTo>
                    <a:lnTo>
                      <a:pt x="11" y="9"/>
                    </a:lnTo>
                    <a:lnTo>
                      <a:pt x="10" y="14"/>
                    </a:lnTo>
                    <a:lnTo>
                      <a:pt x="10" y="11"/>
                    </a:lnTo>
                    <a:lnTo>
                      <a:pt x="11" y="13"/>
                    </a:lnTo>
                    <a:lnTo>
                      <a:pt x="13" y="14"/>
                    </a:lnTo>
                    <a:lnTo>
                      <a:pt x="13" y="16"/>
                    </a:lnTo>
                    <a:lnTo>
                      <a:pt x="11" y="16"/>
                    </a:lnTo>
                    <a:lnTo>
                      <a:pt x="11" y="19"/>
                    </a:lnTo>
                    <a:lnTo>
                      <a:pt x="13" y="20"/>
                    </a:lnTo>
                    <a:lnTo>
                      <a:pt x="13" y="32"/>
                    </a:lnTo>
                    <a:lnTo>
                      <a:pt x="13" y="33"/>
                    </a:lnTo>
                    <a:lnTo>
                      <a:pt x="11" y="33"/>
                    </a:lnTo>
                    <a:lnTo>
                      <a:pt x="11" y="30"/>
                    </a:lnTo>
                    <a:lnTo>
                      <a:pt x="10" y="30"/>
                    </a:lnTo>
                    <a:lnTo>
                      <a:pt x="8" y="25"/>
                    </a:lnTo>
                    <a:lnTo>
                      <a:pt x="8" y="23"/>
                    </a:lnTo>
                    <a:lnTo>
                      <a:pt x="10" y="19"/>
                    </a:lnTo>
                    <a:lnTo>
                      <a:pt x="10" y="17"/>
                    </a:lnTo>
                    <a:lnTo>
                      <a:pt x="10" y="20"/>
                    </a:lnTo>
                    <a:lnTo>
                      <a:pt x="8" y="22"/>
                    </a:lnTo>
                    <a:lnTo>
                      <a:pt x="7" y="22"/>
                    </a:lnTo>
                    <a:lnTo>
                      <a:pt x="7" y="20"/>
                    </a:lnTo>
                    <a:lnTo>
                      <a:pt x="5" y="19"/>
                    </a:lnTo>
                    <a:lnTo>
                      <a:pt x="4" y="17"/>
                    </a:lnTo>
                    <a:lnTo>
                      <a:pt x="4" y="17"/>
                    </a:lnTo>
                    <a:lnTo>
                      <a:pt x="4" y="17"/>
                    </a:lnTo>
                    <a:lnTo>
                      <a:pt x="4" y="14"/>
                    </a:lnTo>
                    <a:lnTo>
                      <a:pt x="4" y="14"/>
                    </a:lnTo>
                    <a:lnTo>
                      <a:pt x="5" y="13"/>
                    </a:lnTo>
                    <a:lnTo>
                      <a:pt x="5" y="11"/>
                    </a:lnTo>
                    <a:lnTo>
                      <a:pt x="4" y="10"/>
                    </a:lnTo>
                    <a:lnTo>
                      <a:pt x="2" y="7"/>
                    </a:lnTo>
                    <a:lnTo>
                      <a:pt x="0" y="6"/>
                    </a:lnTo>
                    <a:lnTo>
                      <a:pt x="0" y="4"/>
                    </a:lnTo>
                    <a:lnTo>
                      <a:pt x="0" y="3"/>
                    </a:lnTo>
                    <a:lnTo>
                      <a:pt x="0" y="3"/>
                    </a:lnTo>
                    <a:lnTo>
                      <a:pt x="1" y="0"/>
                    </a:lnTo>
                    <a:lnTo>
                      <a:pt x="1" y="0"/>
                    </a:lnTo>
                    <a:lnTo>
                      <a:pt x="2" y="1"/>
                    </a:lnTo>
                    <a:lnTo>
                      <a:pt x="4" y="1"/>
                    </a:lnTo>
                    <a:lnTo>
                      <a:pt x="7" y="4"/>
                    </a:lnTo>
                    <a:lnTo>
                      <a:pt x="7" y="4"/>
                    </a:lnTo>
                    <a:lnTo>
                      <a:pt x="8" y="6"/>
                    </a:lnTo>
                    <a:lnTo>
                      <a:pt x="10"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84" name="Freeform 1499"/>
              <p:cNvSpPr>
                <a:spLocks/>
              </p:cNvSpPr>
              <p:nvPr/>
            </p:nvSpPr>
            <p:spPr bwMode="auto">
              <a:xfrm>
                <a:off x="4349323" y="2231082"/>
                <a:ext cx="12289" cy="34480"/>
              </a:xfrm>
              <a:custGeom>
                <a:avLst/>
                <a:gdLst/>
                <a:ahLst/>
                <a:cxnLst>
                  <a:cxn ang="0">
                    <a:pos x="10" y="6"/>
                  </a:cxn>
                  <a:cxn ang="0">
                    <a:pos x="10" y="6"/>
                  </a:cxn>
                  <a:cxn ang="0">
                    <a:pos x="11" y="9"/>
                  </a:cxn>
                  <a:cxn ang="0">
                    <a:pos x="10" y="14"/>
                  </a:cxn>
                  <a:cxn ang="0">
                    <a:pos x="10" y="11"/>
                  </a:cxn>
                  <a:cxn ang="0">
                    <a:pos x="11" y="13"/>
                  </a:cxn>
                  <a:cxn ang="0">
                    <a:pos x="13" y="14"/>
                  </a:cxn>
                  <a:cxn ang="0">
                    <a:pos x="13" y="16"/>
                  </a:cxn>
                  <a:cxn ang="0">
                    <a:pos x="11" y="16"/>
                  </a:cxn>
                  <a:cxn ang="0">
                    <a:pos x="11" y="19"/>
                  </a:cxn>
                  <a:cxn ang="0">
                    <a:pos x="13" y="20"/>
                  </a:cxn>
                  <a:cxn ang="0">
                    <a:pos x="13" y="32"/>
                  </a:cxn>
                  <a:cxn ang="0">
                    <a:pos x="13" y="33"/>
                  </a:cxn>
                  <a:cxn ang="0">
                    <a:pos x="11" y="33"/>
                  </a:cxn>
                  <a:cxn ang="0">
                    <a:pos x="11" y="30"/>
                  </a:cxn>
                  <a:cxn ang="0">
                    <a:pos x="10" y="30"/>
                  </a:cxn>
                  <a:cxn ang="0">
                    <a:pos x="8" y="25"/>
                  </a:cxn>
                  <a:cxn ang="0">
                    <a:pos x="8" y="23"/>
                  </a:cxn>
                  <a:cxn ang="0">
                    <a:pos x="10" y="19"/>
                  </a:cxn>
                  <a:cxn ang="0">
                    <a:pos x="10" y="17"/>
                  </a:cxn>
                  <a:cxn ang="0">
                    <a:pos x="10" y="20"/>
                  </a:cxn>
                  <a:cxn ang="0">
                    <a:pos x="8" y="22"/>
                  </a:cxn>
                  <a:cxn ang="0">
                    <a:pos x="7" y="22"/>
                  </a:cxn>
                  <a:cxn ang="0">
                    <a:pos x="7" y="20"/>
                  </a:cxn>
                  <a:cxn ang="0">
                    <a:pos x="5" y="19"/>
                  </a:cxn>
                  <a:cxn ang="0">
                    <a:pos x="4" y="17"/>
                  </a:cxn>
                  <a:cxn ang="0">
                    <a:pos x="4" y="17"/>
                  </a:cxn>
                  <a:cxn ang="0">
                    <a:pos x="4" y="17"/>
                  </a:cxn>
                  <a:cxn ang="0">
                    <a:pos x="4" y="14"/>
                  </a:cxn>
                  <a:cxn ang="0">
                    <a:pos x="4" y="14"/>
                  </a:cxn>
                  <a:cxn ang="0">
                    <a:pos x="5" y="13"/>
                  </a:cxn>
                  <a:cxn ang="0">
                    <a:pos x="5" y="11"/>
                  </a:cxn>
                  <a:cxn ang="0">
                    <a:pos x="4" y="10"/>
                  </a:cxn>
                  <a:cxn ang="0">
                    <a:pos x="2" y="7"/>
                  </a:cxn>
                  <a:cxn ang="0">
                    <a:pos x="0" y="6"/>
                  </a:cxn>
                  <a:cxn ang="0">
                    <a:pos x="0" y="4"/>
                  </a:cxn>
                  <a:cxn ang="0">
                    <a:pos x="0" y="3"/>
                  </a:cxn>
                  <a:cxn ang="0">
                    <a:pos x="0" y="3"/>
                  </a:cxn>
                  <a:cxn ang="0">
                    <a:pos x="1" y="0"/>
                  </a:cxn>
                  <a:cxn ang="0">
                    <a:pos x="1" y="0"/>
                  </a:cxn>
                  <a:cxn ang="0">
                    <a:pos x="2" y="1"/>
                  </a:cxn>
                  <a:cxn ang="0">
                    <a:pos x="4" y="1"/>
                  </a:cxn>
                  <a:cxn ang="0">
                    <a:pos x="7" y="4"/>
                  </a:cxn>
                  <a:cxn ang="0">
                    <a:pos x="7" y="4"/>
                  </a:cxn>
                  <a:cxn ang="0">
                    <a:pos x="8" y="6"/>
                  </a:cxn>
                  <a:cxn ang="0">
                    <a:pos x="10" y="6"/>
                  </a:cxn>
                </a:cxnLst>
                <a:rect l="0" t="0" r="r" b="b"/>
                <a:pathLst>
                  <a:path w="13" h="33">
                    <a:moveTo>
                      <a:pt x="10" y="6"/>
                    </a:moveTo>
                    <a:lnTo>
                      <a:pt x="10" y="6"/>
                    </a:lnTo>
                    <a:lnTo>
                      <a:pt x="11" y="9"/>
                    </a:lnTo>
                    <a:lnTo>
                      <a:pt x="10" y="14"/>
                    </a:lnTo>
                    <a:lnTo>
                      <a:pt x="10" y="11"/>
                    </a:lnTo>
                    <a:lnTo>
                      <a:pt x="11" y="13"/>
                    </a:lnTo>
                    <a:lnTo>
                      <a:pt x="13" y="14"/>
                    </a:lnTo>
                    <a:lnTo>
                      <a:pt x="13" y="16"/>
                    </a:lnTo>
                    <a:lnTo>
                      <a:pt x="11" y="16"/>
                    </a:lnTo>
                    <a:lnTo>
                      <a:pt x="11" y="19"/>
                    </a:lnTo>
                    <a:lnTo>
                      <a:pt x="13" y="20"/>
                    </a:lnTo>
                    <a:lnTo>
                      <a:pt x="13" y="32"/>
                    </a:lnTo>
                    <a:lnTo>
                      <a:pt x="13" y="33"/>
                    </a:lnTo>
                    <a:lnTo>
                      <a:pt x="11" y="33"/>
                    </a:lnTo>
                    <a:lnTo>
                      <a:pt x="11" y="30"/>
                    </a:lnTo>
                    <a:lnTo>
                      <a:pt x="10" y="30"/>
                    </a:lnTo>
                    <a:lnTo>
                      <a:pt x="8" y="25"/>
                    </a:lnTo>
                    <a:lnTo>
                      <a:pt x="8" y="23"/>
                    </a:lnTo>
                    <a:lnTo>
                      <a:pt x="10" y="19"/>
                    </a:lnTo>
                    <a:lnTo>
                      <a:pt x="10" y="17"/>
                    </a:lnTo>
                    <a:lnTo>
                      <a:pt x="10" y="20"/>
                    </a:lnTo>
                    <a:lnTo>
                      <a:pt x="8" y="22"/>
                    </a:lnTo>
                    <a:lnTo>
                      <a:pt x="7" y="22"/>
                    </a:lnTo>
                    <a:lnTo>
                      <a:pt x="7" y="20"/>
                    </a:lnTo>
                    <a:lnTo>
                      <a:pt x="5" y="19"/>
                    </a:lnTo>
                    <a:lnTo>
                      <a:pt x="4" y="17"/>
                    </a:lnTo>
                    <a:lnTo>
                      <a:pt x="4" y="17"/>
                    </a:lnTo>
                    <a:lnTo>
                      <a:pt x="4" y="17"/>
                    </a:lnTo>
                    <a:lnTo>
                      <a:pt x="4" y="14"/>
                    </a:lnTo>
                    <a:lnTo>
                      <a:pt x="4" y="14"/>
                    </a:lnTo>
                    <a:lnTo>
                      <a:pt x="5" y="13"/>
                    </a:lnTo>
                    <a:lnTo>
                      <a:pt x="5" y="11"/>
                    </a:lnTo>
                    <a:lnTo>
                      <a:pt x="4" y="10"/>
                    </a:lnTo>
                    <a:lnTo>
                      <a:pt x="2" y="7"/>
                    </a:lnTo>
                    <a:lnTo>
                      <a:pt x="0" y="6"/>
                    </a:lnTo>
                    <a:lnTo>
                      <a:pt x="0" y="4"/>
                    </a:lnTo>
                    <a:lnTo>
                      <a:pt x="0" y="3"/>
                    </a:lnTo>
                    <a:lnTo>
                      <a:pt x="0" y="3"/>
                    </a:lnTo>
                    <a:lnTo>
                      <a:pt x="1" y="0"/>
                    </a:lnTo>
                    <a:lnTo>
                      <a:pt x="1" y="0"/>
                    </a:lnTo>
                    <a:lnTo>
                      <a:pt x="2" y="1"/>
                    </a:lnTo>
                    <a:lnTo>
                      <a:pt x="4" y="1"/>
                    </a:lnTo>
                    <a:lnTo>
                      <a:pt x="7" y="4"/>
                    </a:lnTo>
                    <a:lnTo>
                      <a:pt x="7" y="4"/>
                    </a:lnTo>
                    <a:lnTo>
                      <a:pt x="8" y="6"/>
                    </a:lnTo>
                    <a:lnTo>
                      <a:pt x="10"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85" name="Freeform 1500"/>
              <p:cNvSpPr>
                <a:spLocks/>
              </p:cNvSpPr>
              <p:nvPr/>
            </p:nvSpPr>
            <p:spPr bwMode="auto">
              <a:xfrm>
                <a:off x="4359856" y="2212828"/>
                <a:ext cx="13167" cy="30424"/>
              </a:xfrm>
              <a:custGeom>
                <a:avLst/>
                <a:gdLst/>
                <a:ahLst/>
                <a:cxnLst>
                  <a:cxn ang="0">
                    <a:pos x="3" y="15"/>
                  </a:cxn>
                  <a:cxn ang="0">
                    <a:pos x="3" y="16"/>
                  </a:cxn>
                  <a:cxn ang="0">
                    <a:pos x="0" y="3"/>
                  </a:cxn>
                  <a:cxn ang="0">
                    <a:pos x="0" y="2"/>
                  </a:cxn>
                  <a:cxn ang="0">
                    <a:pos x="2" y="0"/>
                  </a:cxn>
                  <a:cxn ang="0">
                    <a:pos x="7" y="0"/>
                  </a:cxn>
                  <a:cxn ang="0">
                    <a:pos x="12" y="8"/>
                  </a:cxn>
                  <a:cxn ang="0">
                    <a:pos x="13" y="12"/>
                  </a:cxn>
                  <a:cxn ang="0">
                    <a:pos x="13" y="14"/>
                  </a:cxn>
                  <a:cxn ang="0">
                    <a:pos x="15" y="16"/>
                  </a:cxn>
                  <a:cxn ang="0">
                    <a:pos x="9" y="3"/>
                  </a:cxn>
                  <a:cxn ang="0">
                    <a:pos x="7" y="3"/>
                  </a:cxn>
                  <a:cxn ang="0">
                    <a:pos x="7" y="5"/>
                  </a:cxn>
                  <a:cxn ang="0">
                    <a:pos x="7" y="5"/>
                  </a:cxn>
                  <a:cxn ang="0">
                    <a:pos x="9" y="11"/>
                  </a:cxn>
                  <a:cxn ang="0">
                    <a:pos x="9" y="12"/>
                  </a:cxn>
                  <a:cxn ang="0">
                    <a:pos x="10" y="14"/>
                  </a:cxn>
                  <a:cxn ang="0">
                    <a:pos x="12" y="15"/>
                  </a:cxn>
                  <a:cxn ang="0">
                    <a:pos x="13" y="18"/>
                  </a:cxn>
                  <a:cxn ang="0">
                    <a:pos x="12" y="18"/>
                  </a:cxn>
                  <a:cxn ang="0">
                    <a:pos x="10" y="18"/>
                  </a:cxn>
                  <a:cxn ang="0">
                    <a:pos x="10" y="19"/>
                  </a:cxn>
                  <a:cxn ang="0">
                    <a:pos x="12" y="21"/>
                  </a:cxn>
                  <a:cxn ang="0">
                    <a:pos x="12" y="22"/>
                  </a:cxn>
                  <a:cxn ang="0">
                    <a:pos x="12" y="22"/>
                  </a:cxn>
                  <a:cxn ang="0">
                    <a:pos x="9" y="21"/>
                  </a:cxn>
                  <a:cxn ang="0">
                    <a:pos x="9" y="25"/>
                  </a:cxn>
                  <a:cxn ang="0">
                    <a:pos x="9" y="27"/>
                  </a:cxn>
                  <a:cxn ang="0">
                    <a:pos x="7" y="24"/>
                  </a:cxn>
                  <a:cxn ang="0">
                    <a:pos x="6" y="29"/>
                  </a:cxn>
                  <a:cxn ang="0">
                    <a:pos x="5" y="29"/>
                  </a:cxn>
                  <a:cxn ang="0">
                    <a:pos x="3" y="29"/>
                  </a:cxn>
                  <a:cxn ang="0">
                    <a:pos x="3" y="28"/>
                  </a:cxn>
                  <a:cxn ang="0">
                    <a:pos x="3" y="22"/>
                  </a:cxn>
                  <a:cxn ang="0">
                    <a:pos x="5" y="22"/>
                  </a:cxn>
                  <a:cxn ang="0">
                    <a:pos x="6" y="22"/>
                  </a:cxn>
                  <a:cxn ang="0">
                    <a:pos x="6" y="21"/>
                  </a:cxn>
                  <a:cxn ang="0">
                    <a:pos x="5" y="19"/>
                  </a:cxn>
                  <a:cxn ang="0">
                    <a:pos x="5" y="18"/>
                  </a:cxn>
                  <a:cxn ang="0">
                    <a:pos x="6" y="18"/>
                  </a:cxn>
                  <a:cxn ang="0">
                    <a:pos x="6" y="16"/>
                  </a:cxn>
                  <a:cxn ang="0">
                    <a:pos x="6" y="16"/>
                  </a:cxn>
                  <a:cxn ang="0">
                    <a:pos x="5" y="18"/>
                  </a:cxn>
                  <a:cxn ang="0">
                    <a:pos x="3" y="15"/>
                  </a:cxn>
                </a:cxnLst>
                <a:rect l="0" t="0" r="r" b="b"/>
                <a:pathLst>
                  <a:path w="15" h="29">
                    <a:moveTo>
                      <a:pt x="3" y="15"/>
                    </a:moveTo>
                    <a:lnTo>
                      <a:pt x="3" y="16"/>
                    </a:lnTo>
                    <a:lnTo>
                      <a:pt x="0" y="3"/>
                    </a:lnTo>
                    <a:lnTo>
                      <a:pt x="0" y="2"/>
                    </a:lnTo>
                    <a:lnTo>
                      <a:pt x="2" y="0"/>
                    </a:lnTo>
                    <a:lnTo>
                      <a:pt x="7" y="0"/>
                    </a:lnTo>
                    <a:lnTo>
                      <a:pt x="12" y="8"/>
                    </a:lnTo>
                    <a:lnTo>
                      <a:pt x="13" y="12"/>
                    </a:lnTo>
                    <a:lnTo>
                      <a:pt x="13" y="14"/>
                    </a:lnTo>
                    <a:lnTo>
                      <a:pt x="15" y="16"/>
                    </a:lnTo>
                    <a:lnTo>
                      <a:pt x="9" y="3"/>
                    </a:lnTo>
                    <a:lnTo>
                      <a:pt x="7" y="3"/>
                    </a:lnTo>
                    <a:lnTo>
                      <a:pt x="7" y="5"/>
                    </a:lnTo>
                    <a:lnTo>
                      <a:pt x="7" y="5"/>
                    </a:lnTo>
                    <a:lnTo>
                      <a:pt x="9" y="11"/>
                    </a:lnTo>
                    <a:lnTo>
                      <a:pt x="9" y="12"/>
                    </a:lnTo>
                    <a:lnTo>
                      <a:pt x="10" y="14"/>
                    </a:lnTo>
                    <a:lnTo>
                      <a:pt x="12" y="15"/>
                    </a:lnTo>
                    <a:lnTo>
                      <a:pt x="13" y="18"/>
                    </a:lnTo>
                    <a:lnTo>
                      <a:pt x="12" y="18"/>
                    </a:lnTo>
                    <a:lnTo>
                      <a:pt x="10" y="18"/>
                    </a:lnTo>
                    <a:lnTo>
                      <a:pt x="10" y="19"/>
                    </a:lnTo>
                    <a:lnTo>
                      <a:pt x="12" y="21"/>
                    </a:lnTo>
                    <a:lnTo>
                      <a:pt x="12" y="22"/>
                    </a:lnTo>
                    <a:lnTo>
                      <a:pt x="12" y="22"/>
                    </a:lnTo>
                    <a:lnTo>
                      <a:pt x="9" y="21"/>
                    </a:lnTo>
                    <a:lnTo>
                      <a:pt x="9" y="25"/>
                    </a:lnTo>
                    <a:lnTo>
                      <a:pt x="9" y="27"/>
                    </a:lnTo>
                    <a:lnTo>
                      <a:pt x="7" y="24"/>
                    </a:lnTo>
                    <a:lnTo>
                      <a:pt x="6" y="29"/>
                    </a:lnTo>
                    <a:lnTo>
                      <a:pt x="5" y="29"/>
                    </a:lnTo>
                    <a:lnTo>
                      <a:pt x="3" y="29"/>
                    </a:lnTo>
                    <a:lnTo>
                      <a:pt x="3" y="28"/>
                    </a:lnTo>
                    <a:lnTo>
                      <a:pt x="3" y="22"/>
                    </a:lnTo>
                    <a:lnTo>
                      <a:pt x="5" y="22"/>
                    </a:lnTo>
                    <a:lnTo>
                      <a:pt x="6" y="22"/>
                    </a:lnTo>
                    <a:lnTo>
                      <a:pt x="6" y="21"/>
                    </a:lnTo>
                    <a:lnTo>
                      <a:pt x="5" y="19"/>
                    </a:lnTo>
                    <a:lnTo>
                      <a:pt x="5" y="18"/>
                    </a:lnTo>
                    <a:lnTo>
                      <a:pt x="6" y="18"/>
                    </a:lnTo>
                    <a:lnTo>
                      <a:pt x="6" y="16"/>
                    </a:lnTo>
                    <a:lnTo>
                      <a:pt x="6" y="16"/>
                    </a:lnTo>
                    <a:lnTo>
                      <a:pt x="5" y="18"/>
                    </a:lnTo>
                    <a:lnTo>
                      <a:pt x="3" y="1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86" name="Freeform 1501"/>
              <p:cNvSpPr>
                <a:spLocks/>
              </p:cNvSpPr>
              <p:nvPr/>
            </p:nvSpPr>
            <p:spPr bwMode="auto">
              <a:xfrm>
                <a:off x="4359856" y="2212828"/>
                <a:ext cx="13167" cy="30424"/>
              </a:xfrm>
              <a:custGeom>
                <a:avLst/>
                <a:gdLst/>
                <a:ahLst/>
                <a:cxnLst>
                  <a:cxn ang="0">
                    <a:pos x="3" y="15"/>
                  </a:cxn>
                  <a:cxn ang="0">
                    <a:pos x="3" y="16"/>
                  </a:cxn>
                  <a:cxn ang="0">
                    <a:pos x="0" y="3"/>
                  </a:cxn>
                  <a:cxn ang="0">
                    <a:pos x="0" y="2"/>
                  </a:cxn>
                  <a:cxn ang="0">
                    <a:pos x="2" y="0"/>
                  </a:cxn>
                  <a:cxn ang="0">
                    <a:pos x="7" y="0"/>
                  </a:cxn>
                  <a:cxn ang="0">
                    <a:pos x="12" y="8"/>
                  </a:cxn>
                  <a:cxn ang="0">
                    <a:pos x="13" y="12"/>
                  </a:cxn>
                  <a:cxn ang="0">
                    <a:pos x="13" y="14"/>
                  </a:cxn>
                  <a:cxn ang="0">
                    <a:pos x="15" y="16"/>
                  </a:cxn>
                  <a:cxn ang="0">
                    <a:pos x="9" y="3"/>
                  </a:cxn>
                  <a:cxn ang="0">
                    <a:pos x="7" y="3"/>
                  </a:cxn>
                  <a:cxn ang="0">
                    <a:pos x="7" y="5"/>
                  </a:cxn>
                  <a:cxn ang="0">
                    <a:pos x="7" y="5"/>
                  </a:cxn>
                  <a:cxn ang="0">
                    <a:pos x="9" y="11"/>
                  </a:cxn>
                  <a:cxn ang="0">
                    <a:pos x="9" y="12"/>
                  </a:cxn>
                  <a:cxn ang="0">
                    <a:pos x="10" y="14"/>
                  </a:cxn>
                  <a:cxn ang="0">
                    <a:pos x="12" y="15"/>
                  </a:cxn>
                  <a:cxn ang="0">
                    <a:pos x="13" y="18"/>
                  </a:cxn>
                  <a:cxn ang="0">
                    <a:pos x="12" y="18"/>
                  </a:cxn>
                  <a:cxn ang="0">
                    <a:pos x="10" y="18"/>
                  </a:cxn>
                  <a:cxn ang="0">
                    <a:pos x="10" y="19"/>
                  </a:cxn>
                  <a:cxn ang="0">
                    <a:pos x="12" y="21"/>
                  </a:cxn>
                  <a:cxn ang="0">
                    <a:pos x="12" y="22"/>
                  </a:cxn>
                  <a:cxn ang="0">
                    <a:pos x="12" y="22"/>
                  </a:cxn>
                  <a:cxn ang="0">
                    <a:pos x="9" y="21"/>
                  </a:cxn>
                  <a:cxn ang="0">
                    <a:pos x="9" y="25"/>
                  </a:cxn>
                  <a:cxn ang="0">
                    <a:pos x="9" y="27"/>
                  </a:cxn>
                  <a:cxn ang="0">
                    <a:pos x="7" y="24"/>
                  </a:cxn>
                  <a:cxn ang="0">
                    <a:pos x="6" y="29"/>
                  </a:cxn>
                  <a:cxn ang="0">
                    <a:pos x="5" y="29"/>
                  </a:cxn>
                  <a:cxn ang="0">
                    <a:pos x="3" y="29"/>
                  </a:cxn>
                  <a:cxn ang="0">
                    <a:pos x="3" y="28"/>
                  </a:cxn>
                  <a:cxn ang="0">
                    <a:pos x="3" y="22"/>
                  </a:cxn>
                  <a:cxn ang="0">
                    <a:pos x="5" y="22"/>
                  </a:cxn>
                  <a:cxn ang="0">
                    <a:pos x="6" y="22"/>
                  </a:cxn>
                  <a:cxn ang="0">
                    <a:pos x="6" y="21"/>
                  </a:cxn>
                  <a:cxn ang="0">
                    <a:pos x="5" y="19"/>
                  </a:cxn>
                  <a:cxn ang="0">
                    <a:pos x="5" y="18"/>
                  </a:cxn>
                  <a:cxn ang="0">
                    <a:pos x="6" y="18"/>
                  </a:cxn>
                  <a:cxn ang="0">
                    <a:pos x="6" y="16"/>
                  </a:cxn>
                  <a:cxn ang="0">
                    <a:pos x="6" y="16"/>
                  </a:cxn>
                  <a:cxn ang="0">
                    <a:pos x="5" y="18"/>
                  </a:cxn>
                  <a:cxn ang="0">
                    <a:pos x="3" y="15"/>
                  </a:cxn>
                </a:cxnLst>
                <a:rect l="0" t="0" r="r" b="b"/>
                <a:pathLst>
                  <a:path w="15" h="29">
                    <a:moveTo>
                      <a:pt x="3" y="15"/>
                    </a:moveTo>
                    <a:lnTo>
                      <a:pt x="3" y="16"/>
                    </a:lnTo>
                    <a:lnTo>
                      <a:pt x="0" y="3"/>
                    </a:lnTo>
                    <a:lnTo>
                      <a:pt x="0" y="2"/>
                    </a:lnTo>
                    <a:lnTo>
                      <a:pt x="2" y="0"/>
                    </a:lnTo>
                    <a:lnTo>
                      <a:pt x="7" y="0"/>
                    </a:lnTo>
                    <a:lnTo>
                      <a:pt x="12" y="8"/>
                    </a:lnTo>
                    <a:lnTo>
                      <a:pt x="13" y="12"/>
                    </a:lnTo>
                    <a:lnTo>
                      <a:pt x="13" y="14"/>
                    </a:lnTo>
                    <a:lnTo>
                      <a:pt x="15" y="16"/>
                    </a:lnTo>
                    <a:lnTo>
                      <a:pt x="9" y="3"/>
                    </a:lnTo>
                    <a:lnTo>
                      <a:pt x="7" y="3"/>
                    </a:lnTo>
                    <a:lnTo>
                      <a:pt x="7" y="5"/>
                    </a:lnTo>
                    <a:lnTo>
                      <a:pt x="7" y="5"/>
                    </a:lnTo>
                    <a:lnTo>
                      <a:pt x="9" y="11"/>
                    </a:lnTo>
                    <a:lnTo>
                      <a:pt x="9" y="12"/>
                    </a:lnTo>
                    <a:lnTo>
                      <a:pt x="10" y="14"/>
                    </a:lnTo>
                    <a:lnTo>
                      <a:pt x="12" y="15"/>
                    </a:lnTo>
                    <a:lnTo>
                      <a:pt x="13" y="18"/>
                    </a:lnTo>
                    <a:lnTo>
                      <a:pt x="12" y="18"/>
                    </a:lnTo>
                    <a:lnTo>
                      <a:pt x="10" y="18"/>
                    </a:lnTo>
                    <a:lnTo>
                      <a:pt x="10" y="19"/>
                    </a:lnTo>
                    <a:lnTo>
                      <a:pt x="12" y="21"/>
                    </a:lnTo>
                    <a:lnTo>
                      <a:pt x="12" y="22"/>
                    </a:lnTo>
                    <a:lnTo>
                      <a:pt x="12" y="22"/>
                    </a:lnTo>
                    <a:lnTo>
                      <a:pt x="9" y="21"/>
                    </a:lnTo>
                    <a:lnTo>
                      <a:pt x="9" y="25"/>
                    </a:lnTo>
                    <a:lnTo>
                      <a:pt x="9" y="27"/>
                    </a:lnTo>
                    <a:lnTo>
                      <a:pt x="7" y="24"/>
                    </a:lnTo>
                    <a:lnTo>
                      <a:pt x="6" y="29"/>
                    </a:lnTo>
                    <a:lnTo>
                      <a:pt x="5" y="29"/>
                    </a:lnTo>
                    <a:lnTo>
                      <a:pt x="3" y="29"/>
                    </a:lnTo>
                    <a:lnTo>
                      <a:pt x="3" y="28"/>
                    </a:lnTo>
                    <a:lnTo>
                      <a:pt x="3" y="22"/>
                    </a:lnTo>
                    <a:lnTo>
                      <a:pt x="5" y="22"/>
                    </a:lnTo>
                    <a:lnTo>
                      <a:pt x="6" y="22"/>
                    </a:lnTo>
                    <a:lnTo>
                      <a:pt x="6" y="21"/>
                    </a:lnTo>
                    <a:lnTo>
                      <a:pt x="5" y="19"/>
                    </a:lnTo>
                    <a:lnTo>
                      <a:pt x="5" y="18"/>
                    </a:lnTo>
                    <a:lnTo>
                      <a:pt x="6" y="18"/>
                    </a:lnTo>
                    <a:lnTo>
                      <a:pt x="6" y="16"/>
                    </a:lnTo>
                    <a:lnTo>
                      <a:pt x="6" y="16"/>
                    </a:lnTo>
                    <a:lnTo>
                      <a:pt x="5" y="18"/>
                    </a:lnTo>
                    <a:lnTo>
                      <a:pt x="3" y="1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87" name="Freeform 1502"/>
              <p:cNvSpPr>
                <a:spLocks/>
              </p:cNvSpPr>
              <p:nvPr/>
            </p:nvSpPr>
            <p:spPr bwMode="auto">
              <a:xfrm>
                <a:off x="4365123" y="2248323"/>
                <a:ext cx="7901" cy="20283"/>
              </a:xfrm>
              <a:custGeom>
                <a:avLst/>
                <a:gdLst/>
                <a:ahLst/>
                <a:cxnLst>
                  <a:cxn ang="0">
                    <a:pos x="3" y="7"/>
                  </a:cxn>
                  <a:cxn ang="0">
                    <a:pos x="3" y="6"/>
                  </a:cxn>
                  <a:cxn ang="0">
                    <a:pos x="1" y="6"/>
                  </a:cxn>
                  <a:cxn ang="0">
                    <a:pos x="1" y="4"/>
                  </a:cxn>
                  <a:cxn ang="0">
                    <a:pos x="0" y="4"/>
                  </a:cxn>
                  <a:cxn ang="0">
                    <a:pos x="0" y="3"/>
                  </a:cxn>
                  <a:cxn ang="0">
                    <a:pos x="0" y="1"/>
                  </a:cxn>
                  <a:cxn ang="0">
                    <a:pos x="1" y="1"/>
                  </a:cxn>
                  <a:cxn ang="0">
                    <a:pos x="3" y="0"/>
                  </a:cxn>
                  <a:cxn ang="0">
                    <a:pos x="6" y="3"/>
                  </a:cxn>
                  <a:cxn ang="0">
                    <a:pos x="7" y="3"/>
                  </a:cxn>
                  <a:cxn ang="0">
                    <a:pos x="9" y="7"/>
                  </a:cxn>
                  <a:cxn ang="0">
                    <a:pos x="6" y="7"/>
                  </a:cxn>
                  <a:cxn ang="0">
                    <a:pos x="6" y="20"/>
                  </a:cxn>
                  <a:cxn ang="0">
                    <a:pos x="6" y="17"/>
                  </a:cxn>
                  <a:cxn ang="0">
                    <a:pos x="4" y="16"/>
                  </a:cxn>
                  <a:cxn ang="0">
                    <a:pos x="4" y="19"/>
                  </a:cxn>
                  <a:cxn ang="0">
                    <a:pos x="3" y="16"/>
                  </a:cxn>
                  <a:cxn ang="0">
                    <a:pos x="1" y="11"/>
                  </a:cxn>
                  <a:cxn ang="0">
                    <a:pos x="4" y="11"/>
                  </a:cxn>
                  <a:cxn ang="0">
                    <a:pos x="4" y="10"/>
                  </a:cxn>
                  <a:cxn ang="0">
                    <a:pos x="4" y="9"/>
                  </a:cxn>
                  <a:cxn ang="0">
                    <a:pos x="4" y="10"/>
                  </a:cxn>
                  <a:cxn ang="0">
                    <a:pos x="3" y="9"/>
                  </a:cxn>
                  <a:cxn ang="0">
                    <a:pos x="1" y="7"/>
                  </a:cxn>
                  <a:cxn ang="0">
                    <a:pos x="3" y="7"/>
                  </a:cxn>
                </a:cxnLst>
                <a:rect l="0" t="0" r="r" b="b"/>
                <a:pathLst>
                  <a:path w="9" h="20">
                    <a:moveTo>
                      <a:pt x="3" y="7"/>
                    </a:moveTo>
                    <a:lnTo>
                      <a:pt x="3" y="6"/>
                    </a:lnTo>
                    <a:lnTo>
                      <a:pt x="1" y="6"/>
                    </a:lnTo>
                    <a:lnTo>
                      <a:pt x="1" y="4"/>
                    </a:lnTo>
                    <a:lnTo>
                      <a:pt x="0" y="4"/>
                    </a:lnTo>
                    <a:lnTo>
                      <a:pt x="0" y="3"/>
                    </a:lnTo>
                    <a:lnTo>
                      <a:pt x="0" y="1"/>
                    </a:lnTo>
                    <a:lnTo>
                      <a:pt x="1" y="1"/>
                    </a:lnTo>
                    <a:lnTo>
                      <a:pt x="3" y="0"/>
                    </a:lnTo>
                    <a:lnTo>
                      <a:pt x="6" y="3"/>
                    </a:lnTo>
                    <a:lnTo>
                      <a:pt x="7" y="3"/>
                    </a:lnTo>
                    <a:lnTo>
                      <a:pt x="9" y="7"/>
                    </a:lnTo>
                    <a:lnTo>
                      <a:pt x="6" y="7"/>
                    </a:lnTo>
                    <a:lnTo>
                      <a:pt x="6" y="20"/>
                    </a:lnTo>
                    <a:lnTo>
                      <a:pt x="6" y="17"/>
                    </a:lnTo>
                    <a:lnTo>
                      <a:pt x="4" y="16"/>
                    </a:lnTo>
                    <a:lnTo>
                      <a:pt x="4" y="19"/>
                    </a:lnTo>
                    <a:lnTo>
                      <a:pt x="3" y="16"/>
                    </a:lnTo>
                    <a:lnTo>
                      <a:pt x="1" y="11"/>
                    </a:lnTo>
                    <a:lnTo>
                      <a:pt x="4" y="11"/>
                    </a:lnTo>
                    <a:lnTo>
                      <a:pt x="4" y="10"/>
                    </a:lnTo>
                    <a:lnTo>
                      <a:pt x="4" y="9"/>
                    </a:lnTo>
                    <a:lnTo>
                      <a:pt x="4" y="10"/>
                    </a:lnTo>
                    <a:lnTo>
                      <a:pt x="3" y="9"/>
                    </a:lnTo>
                    <a:lnTo>
                      <a:pt x="1" y="7"/>
                    </a:lnTo>
                    <a:lnTo>
                      <a:pt x="3" y="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88" name="Freeform 1503"/>
              <p:cNvSpPr>
                <a:spLocks/>
              </p:cNvSpPr>
              <p:nvPr/>
            </p:nvSpPr>
            <p:spPr bwMode="auto">
              <a:xfrm>
                <a:off x="4365123" y="2248323"/>
                <a:ext cx="7901" cy="20283"/>
              </a:xfrm>
              <a:custGeom>
                <a:avLst/>
                <a:gdLst/>
                <a:ahLst/>
                <a:cxnLst>
                  <a:cxn ang="0">
                    <a:pos x="3" y="7"/>
                  </a:cxn>
                  <a:cxn ang="0">
                    <a:pos x="3" y="6"/>
                  </a:cxn>
                  <a:cxn ang="0">
                    <a:pos x="1" y="6"/>
                  </a:cxn>
                  <a:cxn ang="0">
                    <a:pos x="1" y="4"/>
                  </a:cxn>
                  <a:cxn ang="0">
                    <a:pos x="0" y="4"/>
                  </a:cxn>
                  <a:cxn ang="0">
                    <a:pos x="0" y="3"/>
                  </a:cxn>
                  <a:cxn ang="0">
                    <a:pos x="0" y="1"/>
                  </a:cxn>
                  <a:cxn ang="0">
                    <a:pos x="1" y="1"/>
                  </a:cxn>
                  <a:cxn ang="0">
                    <a:pos x="3" y="0"/>
                  </a:cxn>
                  <a:cxn ang="0">
                    <a:pos x="6" y="3"/>
                  </a:cxn>
                  <a:cxn ang="0">
                    <a:pos x="7" y="3"/>
                  </a:cxn>
                  <a:cxn ang="0">
                    <a:pos x="9" y="7"/>
                  </a:cxn>
                  <a:cxn ang="0">
                    <a:pos x="6" y="7"/>
                  </a:cxn>
                  <a:cxn ang="0">
                    <a:pos x="6" y="20"/>
                  </a:cxn>
                  <a:cxn ang="0">
                    <a:pos x="6" y="17"/>
                  </a:cxn>
                  <a:cxn ang="0">
                    <a:pos x="4" y="16"/>
                  </a:cxn>
                  <a:cxn ang="0">
                    <a:pos x="4" y="19"/>
                  </a:cxn>
                  <a:cxn ang="0">
                    <a:pos x="3" y="16"/>
                  </a:cxn>
                  <a:cxn ang="0">
                    <a:pos x="1" y="11"/>
                  </a:cxn>
                  <a:cxn ang="0">
                    <a:pos x="4" y="11"/>
                  </a:cxn>
                  <a:cxn ang="0">
                    <a:pos x="4" y="10"/>
                  </a:cxn>
                  <a:cxn ang="0">
                    <a:pos x="4" y="9"/>
                  </a:cxn>
                  <a:cxn ang="0">
                    <a:pos x="4" y="10"/>
                  </a:cxn>
                  <a:cxn ang="0">
                    <a:pos x="3" y="9"/>
                  </a:cxn>
                  <a:cxn ang="0">
                    <a:pos x="1" y="7"/>
                  </a:cxn>
                  <a:cxn ang="0">
                    <a:pos x="3" y="7"/>
                  </a:cxn>
                </a:cxnLst>
                <a:rect l="0" t="0" r="r" b="b"/>
                <a:pathLst>
                  <a:path w="9" h="20">
                    <a:moveTo>
                      <a:pt x="3" y="7"/>
                    </a:moveTo>
                    <a:lnTo>
                      <a:pt x="3" y="6"/>
                    </a:lnTo>
                    <a:lnTo>
                      <a:pt x="1" y="6"/>
                    </a:lnTo>
                    <a:lnTo>
                      <a:pt x="1" y="4"/>
                    </a:lnTo>
                    <a:lnTo>
                      <a:pt x="0" y="4"/>
                    </a:lnTo>
                    <a:lnTo>
                      <a:pt x="0" y="3"/>
                    </a:lnTo>
                    <a:lnTo>
                      <a:pt x="0" y="1"/>
                    </a:lnTo>
                    <a:lnTo>
                      <a:pt x="1" y="1"/>
                    </a:lnTo>
                    <a:lnTo>
                      <a:pt x="3" y="0"/>
                    </a:lnTo>
                    <a:lnTo>
                      <a:pt x="6" y="3"/>
                    </a:lnTo>
                    <a:lnTo>
                      <a:pt x="7" y="3"/>
                    </a:lnTo>
                    <a:lnTo>
                      <a:pt x="9" y="7"/>
                    </a:lnTo>
                    <a:lnTo>
                      <a:pt x="6" y="7"/>
                    </a:lnTo>
                    <a:lnTo>
                      <a:pt x="6" y="20"/>
                    </a:lnTo>
                    <a:lnTo>
                      <a:pt x="6" y="17"/>
                    </a:lnTo>
                    <a:lnTo>
                      <a:pt x="4" y="16"/>
                    </a:lnTo>
                    <a:lnTo>
                      <a:pt x="4" y="19"/>
                    </a:lnTo>
                    <a:lnTo>
                      <a:pt x="3" y="16"/>
                    </a:lnTo>
                    <a:lnTo>
                      <a:pt x="1" y="11"/>
                    </a:lnTo>
                    <a:lnTo>
                      <a:pt x="4" y="11"/>
                    </a:lnTo>
                    <a:lnTo>
                      <a:pt x="4" y="10"/>
                    </a:lnTo>
                    <a:lnTo>
                      <a:pt x="4" y="9"/>
                    </a:lnTo>
                    <a:lnTo>
                      <a:pt x="4" y="10"/>
                    </a:lnTo>
                    <a:lnTo>
                      <a:pt x="3" y="9"/>
                    </a:lnTo>
                    <a:lnTo>
                      <a:pt x="1" y="7"/>
                    </a:lnTo>
                    <a:lnTo>
                      <a:pt x="3" y="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89" name="Freeform 1504"/>
              <p:cNvSpPr>
                <a:spLocks/>
              </p:cNvSpPr>
              <p:nvPr/>
            </p:nvSpPr>
            <p:spPr bwMode="auto">
              <a:xfrm>
                <a:off x="4370390" y="2242239"/>
                <a:ext cx="12289" cy="17240"/>
              </a:xfrm>
              <a:custGeom>
                <a:avLst/>
                <a:gdLst/>
                <a:ahLst/>
                <a:cxnLst>
                  <a:cxn ang="0">
                    <a:pos x="3" y="6"/>
                  </a:cxn>
                  <a:cxn ang="0">
                    <a:pos x="3" y="4"/>
                  </a:cxn>
                  <a:cxn ang="0">
                    <a:pos x="1" y="3"/>
                  </a:cxn>
                  <a:cxn ang="0">
                    <a:pos x="0" y="1"/>
                  </a:cxn>
                  <a:cxn ang="0">
                    <a:pos x="0" y="1"/>
                  </a:cxn>
                  <a:cxn ang="0">
                    <a:pos x="1" y="0"/>
                  </a:cxn>
                  <a:cxn ang="0">
                    <a:pos x="7" y="3"/>
                  </a:cxn>
                  <a:cxn ang="0">
                    <a:pos x="10" y="3"/>
                  </a:cxn>
                  <a:cxn ang="0">
                    <a:pos x="11" y="3"/>
                  </a:cxn>
                  <a:cxn ang="0">
                    <a:pos x="13" y="6"/>
                  </a:cxn>
                  <a:cxn ang="0">
                    <a:pos x="13" y="6"/>
                  </a:cxn>
                  <a:cxn ang="0">
                    <a:pos x="13" y="12"/>
                  </a:cxn>
                  <a:cxn ang="0">
                    <a:pos x="13" y="13"/>
                  </a:cxn>
                  <a:cxn ang="0">
                    <a:pos x="10" y="7"/>
                  </a:cxn>
                  <a:cxn ang="0">
                    <a:pos x="9" y="7"/>
                  </a:cxn>
                  <a:cxn ang="0">
                    <a:pos x="9" y="10"/>
                  </a:cxn>
                  <a:cxn ang="0">
                    <a:pos x="11" y="13"/>
                  </a:cxn>
                  <a:cxn ang="0">
                    <a:pos x="11" y="17"/>
                  </a:cxn>
                  <a:cxn ang="0">
                    <a:pos x="10" y="17"/>
                  </a:cxn>
                  <a:cxn ang="0">
                    <a:pos x="9" y="16"/>
                  </a:cxn>
                  <a:cxn ang="0">
                    <a:pos x="7" y="17"/>
                  </a:cxn>
                  <a:cxn ang="0">
                    <a:pos x="6" y="17"/>
                  </a:cxn>
                  <a:cxn ang="0">
                    <a:pos x="4" y="7"/>
                  </a:cxn>
                  <a:cxn ang="0">
                    <a:pos x="4" y="7"/>
                  </a:cxn>
                  <a:cxn ang="0">
                    <a:pos x="4" y="7"/>
                  </a:cxn>
                  <a:cxn ang="0">
                    <a:pos x="3" y="7"/>
                  </a:cxn>
                  <a:cxn ang="0">
                    <a:pos x="1" y="6"/>
                  </a:cxn>
                  <a:cxn ang="0">
                    <a:pos x="1" y="6"/>
                  </a:cxn>
                  <a:cxn ang="0">
                    <a:pos x="3" y="6"/>
                  </a:cxn>
                </a:cxnLst>
                <a:rect l="0" t="0" r="r" b="b"/>
                <a:pathLst>
                  <a:path w="13" h="17">
                    <a:moveTo>
                      <a:pt x="3" y="6"/>
                    </a:moveTo>
                    <a:lnTo>
                      <a:pt x="3" y="4"/>
                    </a:lnTo>
                    <a:lnTo>
                      <a:pt x="1" y="3"/>
                    </a:lnTo>
                    <a:lnTo>
                      <a:pt x="0" y="1"/>
                    </a:lnTo>
                    <a:lnTo>
                      <a:pt x="0" y="1"/>
                    </a:lnTo>
                    <a:lnTo>
                      <a:pt x="1" y="0"/>
                    </a:lnTo>
                    <a:lnTo>
                      <a:pt x="7" y="3"/>
                    </a:lnTo>
                    <a:lnTo>
                      <a:pt x="10" y="3"/>
                    </a:lnTo>
                    <a:lnTo>
                      <a:pt x="11" y="3"/>
                    </a:lnTo>
                    <a:lnTo>
                      <a:pt x="13" y="6"/>
                    </a:lnTo>
                    <a:lnTo>
                      <a:pt x="13" y="6"/>
                    </a:lnTo>
                    <a:lnTo>
                      <a:pt x="13" y="12"/>
                    </a:lnTo>
                    <a:lnTo>
                      <a:pt x="13" y="13"/>
                    </a:lnTo>
                    <a:lnTo>
                      <a:pt x="10" y="7"/>
                    </a:lnTo>
                    <a:lnTo>
                      <a:pt x="9" y="7"/>
                    </a:lnTo>
                    <a:lnTo>
                      <a:pt x="9" y="10"/>
                    </a:lnTo>
                    <a:lnTo>
                      <a:pt x="11" y="13"/>
                    </a:lnTo>
                    <a:lnTo>
                      <a:pt x="11" y="17"/>
                    </a:lnTo>
                    <a:lnTo>
                      <a:pt x="10" y="17"/>
                    </a:lnTo>
                    <a:lnTo>
                      <a:pt x="9" y="16"/>
                    </a:lnTo>
                    <a:lnTo>
                      <a:pt x="7" y="17"/>
                    </a:lnTo>
                    <a:lnTo>
                      <a:pt x="6" y="17"/>
                    </a:lnTo>
                    <a:lnTo>
                      <a:pt x="4" y="7"/>
                    </a:lnTo>
                    <a:lnTo>
                      <a:pt x="4" y="7"/>
                    </a:lnTo>
                    <a:lnTo>
                      <a:pt x="4" y="7"/>
                    </a:lnTo>
                    <a:lnTo>
                      <a:pt x="3" y="7"/>
                    </a:lnTo>
                    <a:lnTo>
                      <a:pt x="1" y="6"/>
                    </a:lnTo>
                    <a:lnTo>
                      <a:pt x="1" y="6"/>
                    </a:lnTo>
                    <a:lnTo>
                      <a:pt x="3"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90" name="Freeform 1505"/>
              <p:cNvSpPr>
                <a:spLocks/>
              </p:cNvSpPr>
              <p:nvPr/>
            </p:nvSpPr>
            <p:spPr bwMode="auto">
              <a:xfrm>
                <a:off x="4370390" y="2242239"/>
                <a:ext cx="12289" cy="17240"/>
              </a:xfrm>
              <a:custGeom>
                <a:avLst/>
                <a:gdLst/>
                <a:ahLst/>
                <a:cxnLst>
                  <a:cxn ang="0">
                    <a:pos x="3" y="6"/>
                  </a:cxn>
                  <a:cxn ang="0">
                    <a:pos x="3" y="4"/>
                  </a:cxn>
                  <a:cxn ang="0">
                    <a:pos x="1" y="3"/>
                  </a:cxn>
                  <a:cxn ang="0">
                    <a:pos x="0" y="1"/>
                  </a:cxn>
                  <a:cxn ang="0">
                    <a:pos x="0" y="1"/>
                  </a:cxn>
                  <a:cxn ang="0">
                    <a:pos x="1" y="0"/>
                  </a:cxn>
                  <a:cxn ang="0">
                    <a:pos x="7" y="3"/>
                  </a:cxn>
                  <a:cxn ang="0">
                    <a:pos x="10" y="3"/>
                  </a:cxn>
                  <a:cxn ang="0">
                    <a:pos x="11" y="3"/>
                  </a:cxn>
                  <a:cxn ang="0">
                    <a:pos x="13" y="6"/>
                  </a:cxn>
                  <a:cxn ang="0">
                    <a:pos x="13" y="6"/>
                  </a:cxn>
                  <a:cxn ang="0">
                    <a:pos x="13" y="12"/>
                  </a:cxn>
                  <a:cxn ang="0">
                    <a:pos x="13" y="13"/>
                  </a:cxn>
                  <a:cxn ang="0">
                    <a:pos x="10" y="7"/>
                  </a:cxn>
                  <a:cxn ang="0">
                    <a:pos x="9" y="7"/>
                  </a:cxn>
                  <a:cxn ang="0">
                    <a:pos x="9" y="10"/>
                  </a:cxn>
                  <a:cxn ang="0">
                    <a:pos x="11" y="13"/>
                  </a:cxn>
                  <a:cxn ang="0">
                    <a:pos x="11" y="17"/>
                  </a:cxn>
                  <a:cxn ang="0">
                    <a:pos x="10" y="17"/>
                  </a:cxn>
                  <a:cxn ang="0">
                    <a:pos x="9" y="16"/>
                  </a:cxn>
                  <a:cxn ang="0">
                    <a:pos x="7" y="17"/>
                  </a:cxn>
                  <a:cxn ang="0">
                    <a:pos x="6" y="17"/>
                  </a:cxn>
                  <a:cxn ang="0">
                    <a:pos x="4" y="7"/>
                  </a:cxn>
                  <a:cxn ang="0">
                    <a:pos x="4" y="7"/>
                  </a:cxn>
                  <a:cxn ang="0">
                    <a:pos x="4" y="7"/>
                  </a:cxn>
                  <a:cxn ang="0">
                    <a:pos x="3" y="7"/>
                  </a:cxn>
                  <a:cxn ang="0">
                    <a:pos x="1" y="6"/>
                  </a:cxn>
                  <a:cxn ang="0">
                    <a:pos x="1" y="6"/>
                  </a:cxn>
                  <a:cxn ang="0">
                    <a:pos x="3" y="6"/>
                  </a:cxn>
                </a:cxnLst>
                <a:rect l="0" t="0" r="r" b="b"/>
                <a:pathLst>
                  <a:path w="13" h="17">
                    <a:moveTo>
                      <a:pt x="3" y="6"/>
                    </a:moveTo>
                    <a:lnTo>
                      <a:pt x="3" y="4"/>
                    </a:lnTo>
                    <a:lnTo>
                      <a:pt x="1" y="3"/>
                    </a:lnTo>
                    <a:lnTo>
                      <a:pt x="0" y="1"/>
                    </a:lnTo>
                    <a:lnTo>
                      <a:pt x="0" y="1"/>
                    </a:lnTo>
                    <a:lnTo>
                      <a:pt x="1" y="0"/>
                    </a:lnTo>
                    <a:lnTo>
                      <a:pt x="7" y="3"/>
                    </a:lnTo>
                    <a:lnTo>
                      <a:pt x="10" y="3"/>
                    </a:lnTo>
                    <a:lnTo>
                      <a:pt x="11" y="3"/>
                    </a:lnTo>
                    <a:lnTo>
                      <a:pt x="13" y="6"/>
                    </a:lnTo>
                    <a:lnTo>
                      <a:pt x="13" y="6"/>
                    </a:lnTo>
                    <a:lnTo>
                      <a:pt x="13" y="12"/>
                    </a:lnTo>
                    <a:lnTo>
                      <a:pt x="13" y="13"/>
                    </a:lnTo>
                    <a:lnTo>
                      <a:pt x="10" y="7"/>
                    </a:lnTo>
                    <a:lnTo>
                      <a:pt x="9" y="7"/>
                    </a:lnTo>
                    <a:lnTo>
                      <a:pt x="9" y="10"/>
                    </a:lnTo>
                    <a:lnTo>
                      <a:pt x="11" y="13"/>
                    </a:lnTo>
                    <a:lnTo>
                      <a:pt x="11" y="17"/>
                    </a:lnTo>
                    <a:lnTo>
                      <a:pt x="10" y="17"/>
                    </a:lnTo>
                    <a:lnTo>
                      <a:pt x="9" y="16"/>
                    </a:lnTo>
                    <a:lnTo>
                      <a:pt x="7" y="17"/>
                    </a:lnTo>
                    <a:lnTo>
                      <a:pt x="6" y="17"/>
                    </a:lnTo>
                    <a:lnTo>
                      <a:pt x="4" y="7"/>
                    </a:lnTo>
                    <a:lnTo>
                      <a:pt x="4" y="7"/>
                    </a:lnTo>
                    <a:lnTo>
                      <a:pt x="4" y="7"/>
                    </a:lnTo>
                    <a:lnTo>
                      <a:pt x="3" y="7"/>
                    </a:lnTo>
                    <a:lnTo>
                      <a:pt x="1" y="6"/>
                    </a:lnTo>
                    <a:lnTo>
                      <a:pt x="1" y="6"/>
                    </a:lnTo>
                    <a:lnTo>
                      <a:pt x="3"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91" name="Freeform 1506"/>
              <p:cNvSpPr>
                <a:spLocks/>
              </p:cNvSpPr>
              <p:nvPr/>
            </p:nvSpPr>
            <p:spPr bwMode="auto">
              <a:xfrm>
                <a:off x="4385313" y="2251365"/>
                <a:ext cx="2633" cy="7099"/>
              </a:xfrm>
              <a:custGeom>
                <a:avLst/>
                <a:gdLst/>
                <a:ahLst/>
                <a:cxnLst>
                  <a:cxn ang="0">
                    <a:pos x="0" y="0"/>
                  </a:cxn>
                  <a:cxn ang="0">
                    <a:pos x="0" y="0"/>
                  </a:cxn>
                  <a:cxn ang="0">
                    <a:pos x="3" y="6"/>
                  </a:cxn>
                  <a:cxn ang="0">
                    <a:pos x="3" y="6"/>
                  </a:cxn>
                  <a:cxn ang="0">
                    <a:pos x="3" y="6"/>
                  </a:cxn>
                  <a:cxn ang="0">
                    <a:pos x="1" y="6"/>
                  </a:cxn>
                  <a:cxn ang="0">
                    <a:pos x="1" y="7"/>
                  </a:cxn>
                  <a:cxn ang="0">
                    <a:pos x="0" y="7"/>
                  </a:cxn>
                  <a:cxn ang="0">
                    <a:pos x="0" y="6"/>
                  </a:cxn>
                  <a:cxn ang="0">
                    <a:pos x="0" y="0"/>
                  </a:cxn>
                  <a:cxn ang="0">
                    <a:pos x="0" y="0"/>
                  </a:cxn>
                </a:cxnLst>
                <a:rect l="0" t="0" r="r" b="b"/>
                <a:pathLst>
                  <a:path w="3" h="7">
                    <a:moveTo>
                      <a:pt x="0" y="0"/>
                    </a:moveTo>
                    <a:lnTo>
                      <a:pt x="0" y="0"/>
                    </a:lnTo>
                    <a:lnTo>
                      <a:pt x="3" y="6"/>
                    </a:lnTo>
                    <a:lnTo>
                      <a:pt x="3" y="6"/>
                    </a:lnTo>
                    <a:lnTo>
                      <a:pt x="3" y="6"/>
                    </a:lnTo>
                    <a:lnTo>
                      <a:pt x="1" y="6"/>
                    </a:lnTo>
                    <a:lnTo>
                      <a:pt x="1" y="7"/>
                    </a:lnTo>
                    <a:lnTo>
                      <a:pt x="0" y="7"/>
                    </a:lnTo>
                    <a:lnTo>
                      <a:pt x="0" y="6"/>
                    </a:lnTo>
                    <a:lnTo>
                      <a:pt x="0" y="0"/>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92" name="Freeform 1507"/>
              <p:cNvSpPr>
                <a:spLocks/>
              </p:cNvSpPr>
              <p:nvPr/>
            </p:nvSpPr>
            <p:spPr bwMode="auto">
              <a:xfrm>
                <a:off x="4385313" y="2251365"/>
                <a:ext cx="2633" cy="7099"/>
              </a:xfrm>
              <a:custGeom>
                <a:avLst/>
                <a:gdLst/>
                <a:ahLst/>
                <a:cxnLst>
                  <a:cxn ang="0">
                    <a:pos x="0" y="0"/>
                  </a:cxn>
                  <a:cxn ang="0">
                    <a:pos x="0" y="0"/>
                  </a:cxn>
                  <a:cxn ang="0">
                    <a:pos x="3" y="6"/>
                  </a:cxn>
                  <a:cxn ang="0">
                    <a:pos x="3" y="6"/>
                  </a:cxn>
                  <a:cxn ang="0">
                    <a:pos x="3" y="6"/>
                  </a:cxn>
                  <a:cxn ang="0">
                    <a:pos x="1" y="6"/>
                  </a:cxn>
                  <a:cxn ang="0">
                    <a:pos x="1" y="7"/>
                  </a:cxn>
                  <a:cxn ang="0">
                    <a:pos x="0" y="7"/>
                  </a:cxn>
                  <a:cxn ang="0">
                    <a:pos x="0" y="6"/>
                  </a:cxn>
                  <a:cxn ang="0">
                    <a:pos x="0" y="0"/>
                  </a:cxn>
                  <a:cxn ang="0">
                    <a:pos x="0" y="0"/>
                  </a:cxn>
                </a:cxnLst>
                <a:rect l="0" t="0" r="r" b="b"/>
                <a:pathLst>
                  <a:path w="3" h="7">
                    <a:moveTo>
                      <a:pt x="0" y="0"/>
                    </a:moveTo>
                    <a:lnTo>
                      <a:pt x="0" y="0"/>
                    </a:lnTo>
                    <a:lnTo>
                      <a:pt x="3" y="6"/>
                    </a:lnTo>
                    <a:lnTo>
                      <a:pt x="3" y="6"/>
                    </a:lnTo>
                    <a:lnTo>
                      <a:pt x="3" y="6"/>
                    </a:lnTo>
                    <a:lnTo>
                      <a:pt x="1" y="6"/>
                    </a:lnTo>
                    <a:lnTo>
                      <a:pt x="1" y="7"/>
                    </a:lnTo>
                    <a:lnTo>
                      <a:pt x="0" y="7"/>
                    </a:lnTo>
                    <a:lnTo>
                      <a:pt x="0" y="6"/>
                    </a:lnTo>
                    <a:lnTo>
                      <a:pt x="0" y="0"/>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93" name="Freeform 1508"/>
              <p:cNvSpPr>
                <a:spLocks/>
              </p:cNvSpPr>
              <p:nvPr/>
            </p:nvSpPr>
            <p:spPr bwMode="auto">
              <a:xfrm>
                <a:off x="4382679" y="2259478"/>
                <a:ext cx="5267" cy="5071"/>
              </a:xfrm>
              <a:custGeom>
                <a:avLst/>
                <a:gdLst/>
                <a:ahLst/>
                <a:cxnLst>
                  <a:cxn ang="0">
                    <a:pos x="4" y="2"/>
                  </a:cxn>
                  <a:cxn ang="0">
                    <a:pos x="6" y="2"/>
                  </a:cxn>
                  <a:cxn ang="0">
                    <a:pos x="6" y="5"/>
                  </a:cxn>
                  <a:cxn ang="0">
                    <a:pos x="4" y="5"/>
                  </a:cxn>
                  <a:cxn ang="0">
                    <a:pos x="3" y="5"/>
                  </a:cxn>
                  <a:cxn ang="0">
                    <a:pos x="1" y="3"/>
                  </a:cxn>
                  <a:cxn ang="0">
                    <a:pos x="0" y="2"/>
                  </a:cxn>
                  <a:cxn ang="0">
                    <a:pos x="1" y="0"/>
                  </a:cxn>
                  <a:cxn ang="0">
                    <a:pos x="3" y="0"/>
                  </a:cxn>
                  <a:cxn ang="0">
                    <a:pos x="4" y="0"/>
                  </a:cxn>
                  <a:cxn ang="0">
                    <a:pos x="4" y="2"/>
                  </a:cxn>
                </a:cxnLst>
                <a:rect l="0" t="0" r="r" b="b"/>
                <a:pathLst>
                  <a:path w="6" h="5">
                    <a:moveTo>
                      <a:pt x="4" y="2"/>
                    </a:moveTo>
                    <a:lnTo>
                      <a:pt x="6" y="2"/>
                    </a:lnTo>
                    <a:lnTo>
                      <a:pt x="6" y="5"/>
                    </a:lnTo>
                    <a:lnTo>
                      <a:pt x="4" y="5"/>
                    </a:lnTo>
                    <a:lnTo>
                      <a:pt x="3" y="5"/>
                    </a:lnTo>
                    <a:lnTo>
                      <a:pt x="1" y="3"/>
                    </a:lnTo>
                    <a:lnTo>
                      <a:pt x="0" y="2"/>
                    </a:lnTo>
                    <a:lnTo>
                      <a:pt x="1" y="0"/>
                    </a:lnTo>
                    <a:lnTo>
                      <a:pt x="3" y="0"/>
                    </a:lnTo>
                    <a:lnTo>
                      <a:pt x="4" y="0"/>
                    </a:lnTo>
                    <a:lnTo>
                      <a:pt x="4"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94" name="Freeform 1509"/>
              <p:cNvSpPr>
                <a:spLocks/>
              </p:cNvSpPr>
              <p:nvPr/>
            </p:nvSpPr>
            <p:spPr bwMode="auto">
              <a:xfrm>
                <a:off x="4382679" y="2259478"/>
                <a:ext cx="5267" cy="5071"/>
              </a:xfrm>
              <a:custGeom>
                <a:avLst/>
                <a:gdLst/>
                <a:ahLst/>
                <a:cxnLst>
                  <a:cxn ang="0">
                    <a:pos x="4" y="2"/>
                  </a:cxn>
                  <a:cxn ang="0">
                    <a:pos x="6" y="2"/>
                  </a:cxn>
                  <a:cxn ang="0">
                    <a:pos x="6" y="5"/>
                  </a:cxn>
                  <a:cxn ang="0">
                    <a:pos x="4" y="5"/>
                  </a:cxn>
                  <a:cxn ang="0">
                    <a:pos x="3" y="5"/>
                  </a:cxn>
                  <a:cxn ang="0">
                    <a:pos x="1" y="3"/>
                  </a:cxn>
                  <a:cxn ang="0">
                    <a:pos x="0" y="2"/>
                  </a:cxn>
                  <a:cxn ang="0">
                    <a:pos x="1" y="0"/>
                  </a:cxn>
                  <a:cxn ang="0">
                    <a:pos x="3" y="0"/>
                  </a:cxn>
                  <a:cxn ang="0">
                    <a:pos x="4" y="0"/>
                  </a:cxn>
                  <a:cxn ang="0">
                    <a:pos x="4" y="2"/>
                  </a:cxn>
                </a:cxnLst>
                <a:rect l="0" t="0" r="r" b="b"/>
                <a:pathLst>
                  <a:path w="6" h="5">
                    <a:moveTo>
                      <a:pt x="4" y="2"/>
                    </a:moveTo>
                    <a:lnTo>
                      <a:pt x="6" y="2"/>
                    </a:lnTo>
                    <a:lnTo>
                      <a:pt x="6" y="5"/>
                    </a:lnTo>
                    <a:lnTo>
                      <a:pt x="4" y="5"/>
                    </a:lnTo>
                    <a:lnTo>
                      <a:pt x="3" y="5"/>
                    </a:lnTo>
                    <a:lnTo>
                      <a:pt x="1" y="3"/>
                    </a:lnTo>
                    <a:lnTo>
                      <a:pt x="0" y="2"/>
                    </a:lnTo>
                    <a:lnTo>
                      <a:pt x="1" y="0"/>
                    </a:lnTo>
                    <a:lnTo>
                      <a:pt x="3" y="0"/>
                    </a:lnTo>
                    <a:lnTo>
                      <a:pt x="4" y="0"/>
                    </a:lnTo>
                    <a:lnTo>
                      <a:pt x="4"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95" name="Freeform 1510"/>
              <p:cNvSpPr>
                <a:spLocks/>
              </p:cNvSpPr>
              <p:nvPr/>
            </p:nvSpPr>
            <p:spPr bwMode="auto">
              <a:xfrm>
                <a:off x="4391457" y="2259478"/>
                <a:ext cx="6145" cy="8113"/>
              </a:xfrm>
              <a:custGeom>
                <a:avLst/>
                <a:gdLst/>
                <a:ahLst/>
                <a:cxnLst>
                  <a:cxn ang="0">
                    <a:pos x="4" y="3"/>
                  </a:cxn>
                  <a:cxn ang="0">
                    <a:pos x="6" y="6"/>
                  </a:cxn>
                  <a:cxn ang="0">
                    <a:pos x="4" y="6"/>
                  </a:cxn>
                  <a:cxn ang="0">
                    <a:pos x="4" y="8"/>
                  </a:cxn>
                  <a:cxn ang="0">
                    <a:pos x="4" y="8"/>
                  </a:cxn>
                  <a:cxn ang="0">
                    <a:pos x="1" y="5"/>
                  </a:cxn>
                  <a:cxn ang="0">
                    <a:pos x="1" y="3"/>
                  </a:cxn>
                  <a:cxn ang="0">
                    <a:pos x="0" y="0"/>
                  </a:cxn>
                  <a:cxn ang="0">
                    <a:pos x="1" y="2"/>
                  </a:cxn>
                  <a:cxn ang="0">
                    <a:pos x="3" y="3"/>
                  </a:cxn>
                  <a:cxn ang="0">
                    <a:pos x="4" y="3"/>
                  </a:cxn>
                </a:cxnLst>
                <a:rect l="0" t="0" r="r" b="b"/>
                <a:pathLst>
                  <a:path w="6" h="8">
                    <a:moveTo>
                      <a:pt x="4" y="3"/>
                    </a:moveTo>
                    <a:lnTo>
                      <a:pt x="6" y="6"/>
                    </a:lnTo>
                    <a:lnTo>
                      <a:pt x="4" y="6"/>
                    </a:lnTo>
                    <a:lnTo>
                      <a:pt x="4" y="8"/>
                    </a:lnTo>
                    <a:lnTo>
                      <a:pt x="4" y="8"/>
                    </a:lnTo>
                    <a:lnTo>
                      <a:pt x="1" y="5"/>
                    </a:lnTo>
                    <a:lnTo>
                      <a:pt x="1" y="3"/>
                    </a:lnTo>
                    <a:lnTo>
                      <a:pt x="0" y="0"/>
                    </a:lnTo>
                    <a:lnTo>
                      <a:pt x="1" y="2"/>
                    </a:lnTo>
                    <a:lnTo>
                      <a:pt x="3" y="3"/>
                    </a:lnTo>
                    <a:lnTo>
                      <a:pt x="4"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96" name="Freeform 1511"/>
              <p:cNvSpPr>
                <a:spLocks/>
              </p:cNvSpPr>
              <p:nvPr/>
            </p:nvSpPr>
            <p:spPr bwMode="auto">
              <a:xfrm>
                <a:off x="4391457" y="2259478"/>
                <a:ext cx="6145" cy="8113"/>
              </a:xfrm>
              <a:custGeom>
                <a:avLst/>
                <a:gdLst/>
                <a:ahLst/>
                <a:cxnLst>
                  <a:cxn ang="0">
                    <a:pos x="4" y="3"/>
                  </a:cxn>
                  <a:cxn ang="0">
                    <a:pos x="6" y="6"/>
                  </a:cxn>
                  <a:cxn ang="0">
                    <a:pos x="4" y="6"/>
                  </a:cxn>
                  <a:cxn ang="0">
                    <a:pos x="4" y="8"/>
                  </a:cxn>
                  <a:cxn ang="0">
                    <a:pos x="4" y="8"/>
                  </a:cxn>
                  <a:cxn ang="0">
                    <a:pos x="1" y="5"/>
                  </a:cxn>
                  <a:cxn ang="0">
                    <a:pos x="1" y="3"/>
                  </a:cxn>
                  <a:cxn ang="0">
                    <a:pos x="0" y="0"/>
                  </a:cxn>
                  <a:cxn ang="0">
                    <a:pos x="1" y="2"/>
                  </a:cxn>
                  <a:cxn ang="0">
                    <a:pos x="3" y="3"/>
                  </a:cxn>
                  <a:cxn ang="0">
                    <a:pos x="4" y="3"/>
                  </a:cxn>
                </a:cxnLst>
                <a:rect l="0" t="0" r="r" b="b"/>
                <a:pathLst>
                  <a:path w="6" h="8">
                    <a:moveTo>
                      <a:pt x="4" y="3"/>
                    </a:moveTo>
                    <a:lnTo>
                      <a:pt x="6" y="6"/>
                    </a:lnTo>
                    <a:lnTo>
                      <a:pt x="4" y="6"/>
                    </a:lnTo>
                    <a:lnTo>
                      <a:pt x="4" y="8"/>
                    </a:lnTo>
                    <a:lnTo>
                      <a:pt x="4" y="8"/>
                    </a:lnTo>
                    <a:lnTo>
                      <a:pt x="1" y="5"/>
                    </a:lnTo>
                    <a:lnTo>
                      <a:pt x="1" y="3"/>
                    </a:lnTo>
                    <a:lnTo>
                      <a:pt x="0" y="0"/>
                    </a:lnTo>
                    <a:lnTo>
                      <a:pt x="1" y="2"/>
                    </a:lnTo>
                    <a:lnTo>
                      <a:pt x="3" y="3"/>
                    </a:lnTo>
                    <a:lnTo>
                      <a:pt x="4"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97" name="Freeform 1512"/>
              <p:cNvSpPr>
                <a:spLocks/>
              </p:cNvSpPr>
              <p:nvPr/>
            </p:nvSpPr>
            <p:spPr bwMode="auto">
              <a:xfrm>
                <a:off x="4338789" y="2210799"/>
                <a:ext cx="18434" cy="23325"/>
              </a:xfrm>
              <a:custGeom>
                <a:avLst/>
                <a:gdLst/>
                <a:ahLst/>
                <a:cxnLst>
                  <a:cxn ang="0">
                    <a:pos x="19" y="5"/>
                  </a:cxn>
                  <a:cxn ang="0">
                    <a:pos x="20" y="5"/>
                  </a:cxn>
                  <a:cxn ang="0">
                    <a:pos x="20" y="5"/>
                  </a:cxn>
                  <a:cxn ang="0">
                    <a:pos x="20" y="10"/>
                  </a:cxn>
                  <a:cxn ang="0">
                    <a:pos x="17" y="8"/>
                  </a:cxn>
                  <a:cxn ang="0">
                    <a:pos x="19" y="10"/>
                  </a:cxn>
                  <a:cxn ang="0">
                    <a:pos x="19" y="13"/>
                  </a:cxn>
                  <a:cxn ang="0">
                    <a:pos x="17" y="13"/>
                  </a:cxn>
                  <a:cxn ang="0">
                    <a:pos x="12" y="10"/>
                  </a:cxn>
                  <a:cxn ang="0">
                    <a:pos x="10" y="11"/>
                  </a:cxn>
                  <a:cxn ang="0">
                    <a:pos x="14" y="13"/>
                  </a:cxn>
                  <a:cxn ang="0">
                    <a:pos x="16" y="14"/>
                  </a:cxn>
                  <a:cxn ang="0">
                    <a:pos x="19" y="14"/>
                  </a:cxn>
                  <a:cxn ang="0">
                    <a:pos x="20" y="14"/>
                  </a:cxn>
                  <a:cxn ang="0">
                    <a:pos x="20" y="20"/>
                  </a:cxn>
                  <a:cxn ang="0">
                    <a:pos x="20" y="20"/>
                  </a:cxn>
                  <a:cxn ang="0">
                    <a:pos x="20" y="21"/>
                  </a:cxn>
                  <a:cxn ang="0">
                    <a:pos x="12" y="16"/>
                  </a:cxn>
                  <a:cxn ang="0">
                    <a:pos x="12" y="14"/>
                  </a:cxn>
                  <a:cxn ang="0">
                    <a:pos x="10" y="13"/>
                  </a:cxn>
                  <a:cxn ang="0">
                    <a:pos x="9" y="16"/>
                  </a:cxn>
                  <a:cxn ang="0">
                    <a:pos x="10" y="18"/>
                  </a:cxn>
                  <a:cxn ang="0">
                    <a:pos x="10" y="23"/>
                  </a:cxn>
                  <a:cxn ang="0">
                    <a:pos x="9" y="23"/>
                  </a:cxn>
                  <a:cxn ang="0">
                    <a:pos x="7" y="23"/>
                  </a:cxn>
                  <a:cxn ang="0">
                    <a:pos x="6" y="21"/>
                  </a:cxn>
                  <a:cxn ang="0">
                    <a:pos x="6" y="20"/>
                  </a:cxn>
                  <a:cxn ang="0">
                    <a:pos x="7" y="20"/>
                  </a:cxn>
                  <a:cxn ang="0">
                    <a:pos x="6" y="18"/>
                  </a:cxn>
                  <a:cxn ang="0">
                    <a:pos x="4" y="17"/>
                  </a:cxn>
                  <a:cxn ang="0">
                    <a:pos x="4" y="16"/>
                  </a:cxn>
                  <a:cxn ang="0">
                    <a:pos x="4" y="14"/>
                  </a:cxn>
                  <a:cxn ang="0">
                    <a:pos x="3" y="14"/>
                  </a:cxn>
                  <a:cxn ang="0">
                    <a:pos x="1" y="13"/>
                  </a:cxn>
                  <a:cxn ang="0">
                    <a:pos x="1" y="10"/>
                  </a:cxn>
                  <a:cxn ang="0">
                    <a:pos x="1" y="8"/>
                  </a:cxn>
                  <a:cxn ang="0">
                    <a:pos x="3" y="10"/>
                  </a:cxn>
                  <a:cxn ang="0">
                    <a:pos x="3" y="8"/>
                  </a:cxn>
                  <a:cxn ang="0">
                    <a:pos x="1" y="4"/>
                  </a:cxn>
                  <a:cxn ang="0">
                    <a:pos x="0" y="2"/>
                  </a:cxn>
                  <a:cxn ang="0">
                    <a:pos x="1" y="1"/>
                  </a:cxn>
                  <a:cxn ang="0">
                    <a:pos x="3" y="4"/>
                  </a:cxn>
                  <a:cxn ang="0">
                    <a:pos x="3" y="4"/>
                  </a:cxn>
                  <a:cxn ang="0">
                    <a:pos x="3" y="1"/>
                  </a:cxn>
                  <a:cxn ang="0">
                    <a:pos x="6" y="1"/>
                  </a:cxn>
                  <a:cxn ang="0">
                    <a:pos x="7" y="0"/>
                  </a:cxn>
                  <a:cxn ang="0">
                    <a:pos x="12" y="1"/>
                  </a:cxn>
                  <a:cxn ang="0">
                    <a:pos x="12" y="4"/>
                  </a:cxn>
                  <a:cxn ang="0">
                    <a:pos x="13" y="4"/>
                  </a:cxn>
                  <a:cxn ang="0">
                    <a:pos x="14" y="4"/>
                  </a:cxn>
                  <a:cxn ang="0">
                    <a:pos x="17" y="4"/>
                  </a:cxn>
                  <a:cxn ang="0">
                    <a:pos x="19" y="5"/>
                  </a:cxn>
                </a:cxnLst>
                <a:rect l="0" t="0" r="r" b="b"/>
                <a:pathLst>
                  <a:path w="20" h="23">
                    <a:moveTo>
                      <a:pt x="19" y="5"/>
                    </a:moveTo>
                    <a:lnTo>
                      <a:pt x="20" y="5"/>
                    </a:lnTo>
                    <a:lnTo>
                      <a:pt x="20" y="5"/>
                    </a:lnTo>
                    <a:lnTo>
                      <a:pt x="20" y="10"/>
                    </a:lnTo>
                    <a:lnTo>
                      <a:pt x="17" y="8"/>
                    </a:lnTo>
                    <a:lnTo>
                      <a:pt x="19" y="10"/>
                    </a:lnTo>
                    <a:lnTo>
                      <a:pt x="19" y="13"/>
                    </a:lnTo>
                    <a:lnTo>
                      <a:pt x="17" y="13"/>
                    </a:lnTo>
                    <a:lnTo>
                      <a:pt x="12" y="10"/>
                    </a:lnTo>
                    <a:lnTo>
                      <a:pt x="10" y="11"/>
                    </a:lnTo>
                    <a:lnTo>
                      <a:pt x="14" y="13"/>
                    </a:lnTo>
                    <a:lnTo>
                      <a:pt x="16" y="14"/>
                    </a:lnTo>
                    <a:lnTo>
                      <a:pt x="19" y="14"/>
                    </a:lnTo>
                    <a:lnTo>
                      <a:pt x="20" y="14"/>
                    </a:lnTo>
                    <a:lnTo>
                      <a:pt x="20" y="20"/>
                    </a:lnTo>
                    <a:lnTo>
                      <a:pt x="20" y="20"/>
                    </a:lnTo>
                    <a:lnTo>
                      <a:pt x="20" y="21"/>
                    </a:lnTo>
                    <a:lnTo>
                      <a:pt x="12" y="16"/>
                    </a:lnTo>
                    <a:lnTo>
                      <a:pt x="12" y="14"/>
                    </a:lnTo>
                    <a:lnTo>
                      <a:pt x="10" y="13"/>
                    </a:lnTo>
                    <a:lnTo>
                      <a:pt x="9" y="16"/>
                    </a:lnTo>
                    <a:lnTo>
                      <a:pt x="10" y="18"/>
                    </a:lnTo>
                    <a:lnTo>
                      <a:pt x="10" y="23"/>
                    </a:lnTo>
                    <a:lnTo>
                      <a:pt x="9" y="23"/>
                    </a:lnTo>
                    <a:lnTo>
                      <a:pt x="7" y="23"/>
                    </a:lnTo>
                    <a:lnTo>
                      <a:pt x="6" y="21"/>
                    </a:lnTo>
                    <a:lnTo>
                      <a:pt x="6" y="20"/>
                    </a:lnTo>
                    <a:lnTo>
                      <a:pt x="7" y="20"/>
                    </a:lnTo>
                    <a:lnTo>
                      <a:pt x="6" y="18"/>
                    </a:lnTo>
                    <a:lnTo>
                      <a:pt x="4" y="17"/>
                    </a:lnTo>
                    <a:lnTo>
                      <a:pt x="4" y="16"/>
                    </a:lnTo>
                    <a:lnTo>
                      <a:pt x="4" y="14"/>
                    </a:lnTo>
                    <a:lnTo>
                      <a:pt x="3" y="14"/>
                    </a:lnTo>
                    <a:lnTo>
                      <a:pt x="1" y="13"/>
                    </a:lnTo>
                    <a:lnTo>
                      <a:pt x="1" y="10"/>
                    </a:lnTo>
                    <a:lnTo>
                      <a:pt x="1" y="8"/>
                    </a:lnTo>
                    <a:lnTo>
                      <a:pt x="3" y="10"/>
                    </a:lnTo>
                    <a:lnTo>
                      <a:pt x="3" y="8"/>
                    </a:lnTo>
                    <a:lnTo>
                      <a:pt x="1" y="4"/>
                    </a:lnTo>
                    <a:lnTo>
                      <a:pt x="0" y="2"/>
                    </a:lnTo>
                    <a:lnTo>
                      <a:pt x="1" y="1"/>
                    </a:lnTo>
                    <a:lnTo>
                      <a:pt x="3" y="4"/>
                    </a:lnTo>
                    <a:lnTo>
                      <a:pt x="3" y="4"/>
                    </a:lnTo>
                    <a:lnTo>
                      <a:pt x="3" y="1"/>
                    </a:lnTo>
                    <a:lnTo>
                      <a:pt x="6" y="1"/>
                    </a:lnTo>
                    <a:lnTo>
                      <a:pt x="7" y="0"/>
                    </a:lnTo>
                    <a:lnTo>
                      <a:pt x="12" y="1"/>
                    </a:lnTo>
                    <a:lnTo>
                      <a:pt x="12" y="4"/>
                    </a:lnTo>
                    <a:lnTo>
                      <a:pt x="13" y="4"/>
                    </a:lnTo>
                    <a:lnTo>
                      <a:pt x="14" y="4"/>
                    </a:lnTo>
                    <a:lnTo>
                      <a:pt x="17" y="4"/>
                    </a:lnTo>
                    <a:lnTo>
                      <a:pt x="19" y="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98" name="Freeform 1513"/>
              <p:cNvSpPr>
                <a:spLocks/>
              </p:cNvSpPr>
              <p:nvPr/>
            </p:nvSpPr>
            <p:spPr bwMode="auto">
              <a:xfrm>
                <a:off x="4338789" y="2210799"/>
                <a:ext cx="18434" cy="23325"/>
              </a:xfrm>
              <a:custGeom>
                <a:avLst/>
                <a:gdLst/>
                <a:ahLst/>
                <a:cxnLst>
                  <a:cxn ang="0">
                    <a:pos x="19" y="5"/>
                  </a:cxn>
                  <a:cxn ang="0">
                    <a:pos x="20" y="5"/>
                  </a:cxn>
                  <a:cxn ang="0">
                    <a:pos x="20" y="5"/>
                  </a:cxn>
                  <a:cxn ang="0">
                    <a:pos x="20" y="10"/>
                  </a:cxn>
                  <a:cxn ang="0">
                    <a:pos x="17" y="8"/>
                  </a:cxn>
                  <a:cxn ang="0">
                    <a:pos x="19" y="10"/>
                  </a:cxn>
                  <a:cxn ang="0">
                    <a:pos x="19" y="13"/>
                  </a:cxn>
                  <a:cxn ang="0">
                    <a:pos x="17" y="13"/>
                  </a:cxn>
                  <a:cxn ang="0">
                    <a:pos x="12" y="10"/>
                  </a:cxn>
                  <a:cxn ang="0">
                    <a:pos x="10" y="11"/>
                  </a:cxn>
                  <a:cxn ang="0">
                    <a:pos x="14" y="13"/>
                  </a:cxn>
                  <a:cxn ang="0">
                    <a:pos x="16" y="14"/>
                  </a:cxn>
                  <a:cxn ang="0">
                    <a:pos x="19" y="14"/>
                  </a:cxn>
                  <a:cxn ang="0">
                    <a:pos x="20" y="14"/>
                  </a:cxn>
                  <a:cxn ang="0">
                    <a:pos x="20" y="20"/>
                  </a:cxn>
                  <a:cxn ang="0">
                    <a:pos x="20" y="20"/>
                  </a:cxn>
                  <a:cxn ang="0">
                    <a:pos x="20" y="21"/>
                  </a:cxn>
                  <a:cxn ang="0">
                    <a:pos x="12" y="16"/>
                  </a:cxn>
                  <a:cxn ang="0">
                    <a:pos x="12" y="14"/>
                  </a:cxn>
                  <a:cxn ang="0">
                    <a:pos x="10" y="13"/>
                  </a:cxn>
                  <a:cxn ang="0">
                    <a:pos x="9" y="16"/>
                  </a:cxn>
                  <a:cxn ang="0">
                    <a:pos x="10" y="18"/>
                  </a:cxn>
                  <a:cxn ang="0">
                    <a:pos x="10" y="23"/>
                  </a:cxn>
                  <a:cxn ang="0">
                    <a:pos x="9" y="23"/>
                  </a:cxn>
                  <a:cxn ang="0">
                    <a:pos x="7" y="23"/>
                  </a:cxn>
                  <a:cxn ang="0">
                    <a:pos x="6" y="21"/>
                  </a:cxn>
                  <a:cxn ang="0">
                    <a:pos x="6" y="20"/>
                  </a:cxn>
                  <a:cxn ang="0">
                    <a:pos x="7" y="20"/>
                  </a:cxn>
                  <a:cxn ang="0">
                    <a:pos x="6" y="18"/>
                  </a:cxn>
                  <a:cxn ang="0">
                    <a:pos x="4" y="17"/>
                  </a:cxn>
                  <a:cxn ang="0">
                    <a:pos x="4" y="16"/>
                  </a:cxn>
                  <a:cxn ang="0">
                    <a:pos x="4" y="14"/>
                  </a:cxn>
                  <a:cxn ang="0">
                    <a:pos x="3" y="14"/>
                  </a:cxn>
                  <a:cxn ang="0">
                    <a:pos x="1" y="13"/>
                  </a:cxn>
                  <a:cxn ang="0">
                    <a:pos x="1" y="10"/>
                  </a:cxn>
                  <a:cxn ang="0">
                    <a:pos x="1" y="8"/>
                  </a:cxn>
                  <a:cxn ang="0">
                    <a:pos x="3" y="10"/>
                  </a:cxn>
                  <a:cxn ang="0">
                    <a:pos x="3" y="8"/>
                  </a:cxn>
                  <a:cxn ang="0">
                    <a:pos x="1" y="4"/>
                  </a:cxn>
                  <a:cxn ang="0">
                    <a:pos x="0" y="2"/>
                  </a:cxn>
                  <a:cxn ang="0">
                    <a:pos x="1" y="1"/>
                  </a:cxn>
                  <a:cxn ang="0">
                    <a:pos x="3" y="4"/>
                  </a:cxn>
                  <a:cxn ang="0">
                    <a:pos x="3" y="4"/>
                  </a:cxn>
                  <a:cxn ang="0">
                    <a:pos x="3" y="1"/>
                  </a:cxn>
                  <a:cxn ang="0">
                    <a:pos x="6" y="1"/>
                  </a:cxn>
                  <a:cxn ang="0">
                    <a:pos x="7" y="0"/>
                  </a:cxn>
                  <a:cxn ang="0">
                    <a:pos x="12" y="1"/>
                  </a:cxn>
                  <a:cxn ang="0">
                    <a:pos x="12" y="4"/>
                  </a:cxn>
                  <a:cxn ang="0">
                    <a:pos x="13" y="4"/>
                  </a:cxn>
                  <a:cxn ang="0">
                    <a:pos x="14" y="4"/>
                  </a:cxn>
                  <a:cxn ang="0">
                    <a:pos x="17" y="4"/>
                  </a:cxn>
                  <a:cxn ang="0">
                    <a:pos x="19" y="5"/>
                  </a:cxn>
                </a:cxnLst>
                <a:rect l="0" t="0" r="r" b="b"/>
                <a:pathLst>
                  <a:path w="20" h="23">
                    <a:moveTo>
                      <a:pt x="19" y="5"/>
                    </a:moveTo>
                    <a:lnTo>
                      <a:pt x="20" y="5"/>
                    </a:lnTo>
                    <a:lnTo>
                      <a:pt x="20" y="5"/>
                    </a:lnTo>
                    <a:lnTo>
                      <a:pt x="20" y="10"/>
                    </a:lnTo>
                    <a:lnTo>
                      <a:pt x="17" y="8"/>
                    </a:lnTo>
                    <a:lnTo>
                      <a:pt x="19" y="10"/>
                    </a:lnTo>
                    <a:lnTo>
                      <a:pt x="19" y="13"/>
                    </a:lnTo>
                    <a:lnTo>
                      <a:pt x="17" y="13"/>
                    </a:lnTo>
                    <a:lnTo>
                      <a:pt x="12" y="10"/>
                    </a:lnTo>
                    <a:lnTo>
                      <a:pt x="10" y="11"/>
                    </a:lnTo>
                    <a:lnTo>
                      <a:pt x="14" y="13"/>
                    </a:lnTo>
                    <a:lnTo>
                      <a:pt x="16" y="14"/>
                    </a:lnTo>
                    <a:lnTo>
                      <a:pt x="19" y="14"/>
                    </a:lnTo>
                    <a:lnTo>
                      <a:pt x="20" y="14"/>
                    </a:lnTo>
                    <a:lnTo>
                      <a:pt x="20" y="20"/>
                    </a:lnTo>
                    <a:lnTo>
                      <a:pt x="20" y="20"/>
                    </a:lnTo>
                    <a:lnTo>
                      <a:pt x="20" y="21"/>
                    </a:lnTo>
                    <a:lnTo>
                      <a:pt x="12" y="16"/>
                    </a:lnTo>
                    <a:lnTo>
                      <a:pt x="12" y="14"/>
                    </a:lnTo>
                    <a:lnTo>
                      <a:pt x="10" y="13"/>
                    </a:lnTo>
                    <a:lnTo>
                      <a:pt x="9" y="16"/>
                    </a:lnTo>
                    <a:lnTo>
                      <a:pt x="10" y="18"/>
                    </a:lnTo>
                    <a:lnTo>
                      <a:pt x="10" y="23"/>
                    </a:lnTo>
                    <a:lnTo>
                      <a:pt x="9" y="23"/>
                    </a:lnTo>
                    <a:lnTo>
                      <a:pt x="7" y="23"/>
                    </a:lnTo>
                    <a:lnTo>
                      <a:pt x="6" y="21"/>
                    </a:lnTo>
                    <a:lnTo>
                      <a:pt x="6" y="20"/>
                    </a:lnTo>
                    <a:lnTo>
                      <a:pt x="7" y="20"/>
                    </a:lnTo>
                    <a:lnTo>
                      <a:pt x="6" y="18"/>
                    </a:lnTo>
                    <a:lnTo>
                      <a:pt x="4" y="17"/>
                    </a:lnTo>
                    <a:lnTo>
                      <a:pt x="4" y="16"/>
                    </a:lnTo>
                    <a:lnTo>
                      <a:pt x="4" y="14"/>
                    </a:lnTo>
                    <a:lnTo>
                      <a:pt x="3" y="14"/>
                    </a:lnTo>
                    <a:lnTo>
                      <a:pt x="1" y="13"/>
                    </a:lnTo>
                    <a:lnTo>
                      <a:pt x="1" y="10"/>
                    </a:lnTo>
                    <a:lnTo>
                      <a:pt x="1" y="8"/>
                    </a:lnTo>
                    <a:lnTo>
                      <a:pt x="3" y="10"/>
                    </a:lnTo>
                    <a:lnTo>
                      <a:pt x="3" y="8"/>
                    </a:lnTo>
                    <a:lnTo>
                      <a:pt x="1" y="4"/>
                    </a:lnTo>
                    <a:lnTo>
                      <a:pt x="0" y="2"/>
                    </a:lnTo>
                    <a:lnTo>
                      <a:pt x="1" y="1"/>
                    </a:lnTo>
                    <a:lnTo>
                      <a:pt x="3" y="4"/>
                    </a:lnTo>
                    <a:lnTo>
                      <a:pt x="3" y="4"/>
                    </a:lnTo>
                    <a:lnTo>
                      <a:pt x="3" y="1"/>
                    </a:lnTo>
                    <a:lnTo>
                      <a:pt x="6" y="1"/>
                    </a:lnTo>
                    <a:lnTo>
                      <a:pt x="7" y="0"/>
                    </a:lnTo>
                    <a:lnTo>
                      <a:pt x="12" y="1"/>
                    </a:lnTo>
                    <a:lnTo>
                      <a:pt x="12" y="4"/>
                    </a:lnTo>
                    <a:lnTo>
                      <a:pt x="13" y="4"/>
                    </a:lnTo>
                    <a:lnTo>
                      <a:pt x="14" y="4"/>
                    </a:lnTo>
                    <a:lnTo>
                      <a:pt x="17" y="4"/>
                    </a:lnTo>
                    <a:lnTo>
                      <a:pt x="19" y="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99" name="Freeform 1514"/>
              <p:cNvSpPr>
                <a:spLocks/>
              </p:cNvSpPr>
              <p:nvPr/>
            </p:nvSpPr>
            <p:spPr bwMode="auto">
              <a:xfrm>
                <a:off x="4373024" y="2262521"/>
                <a:ext cx="21944" cy="42594"/>
              </a:xfrm>
              <a:custGeom>
                <a:avLst/>
                <a:gdLst/>
                <a:ahLst/>
                <a:cxnLst>
                  <a:cxn ang="0">
                    <a:pos x="14" y="11"/>
                  </a:cxn>
                  <a:cxn ang="0">
                    <a:pos x="19" y="15"/>
                  </a:cxn>
                  <a:cxn ang="0">
                    <a:pos x="17" y="16"/>
                  </a:cxn>
                  <a:cxn ang="0">
                    <a:pos x="19" y="18"/>
                  </a:cxn>
                  <a:cxn ang="0">
                    <a:pos x="23" y="22"/>
                  </a:cxn>
                  <a:cxn ang="0">
                    <a:pos x="17" y="21"/>
                  </a:cxn>
                  <a:cxn ang="0">
                    <a:pos x="19" y="24"/>
                  </a:cxn>
                  <a:cxn ang="0">
                    <a:pos x="21" y="25"/>
                  </a:cxn>
                  <a:cxn ang="0">
                    <a:pos x="23" y="28"/>
                  </a:cxn>
                  <a:cxn ang="0">
                    <a:pos x="23" y="29"/>
                  </a:cxn>
                  <a:cxn ang="0">
                    <a:pos x="24" y="29"/>
                  </a:cxn>
                  <a:cxn ang="0">
                    <a:pos x="24" y="32"/>
                  </a:cxn>
                  <a:cxn ang="0">
                    <a:pos x="24" y="34"/>
                  </a:cxn>
                  <a:cxn ang="0">
                    <a:pos x="24" y="37"/>
                  </a:cxn>
                  <a:cxn ang="0">
                    <a:pos x="24" y="41"/>
                  </a:cxn>
                  <a:cxn ang="0">
                    <a:pos x="21" y="41"/>
                  </a:cxn>
                  <a:cxn ang="0">
                    <a:pos x="19" y="35"/>
                  </a:cxn>
                  <a:cxn ang="0">
                    <a:pos x="17" y="31"/>
                  </a:cxn>
                  <a:cxn ang="0">
                    <a:pos x="13" y="28"/>
                  </a:cxn>
                  <a:cxn ang="0">
                    <a:pos x="11" y="27"/>
                  </a:cxn>
                  <a:cxn ang="0">
                    <a:pos x="11" y="25"/>
                  </a:cxn>
                  <a:cxn ang="0">
                    <a:pos x="11" y="19"/>
                  </a:cxn>
                  <a:cxn ang="0">
                    <a:pos x="11" y="18"/>
                  </a:cxn>
                  <a:cxn ang="0">
                    <a:pos x="7" y="19"/>
                  </a:cxn>
                  <a:cxn ang="0">
                    <a:pos x="6" y="15"/>
                  </a:cxn>
                  <a:cxn ang="0">
                    <a:pos x="7" y="6"/>
                  </a:cxn>
                  <a:cxn ang="0">
                    <a:pos x="6" y="8"/>
                  </a:cxn>
                  <a:cxn ang="0">
                    <a:pos x="3" y="11"/>
                  </a:cxn>
                  <a:cxn ang="0">
                    <a:pos x="1" y="8"/>
                  </a:cxn>
                  <a:cxn ang="0">
                    <a:pos x="3" y="2"/>
                  </a:cxn>
                  <a:cxn ang="0">
                    <a:pos x="3" y="0"/>
                  </a:cxn>
                  <a:cxn ang="0">
                    <a:pos x="6" y="2"/>
                  </a:cxn>
                  <a:cxn ang="0">
                    <a:pos x="8" y="0"/>
                  </a:cxn>
                  <a:cxn ang="0">
                    <a:pos x="10" y="5"/>
                  </a:cxn>
                  <a:cxn ang="0">
                    <a:pos x="10" y="8"/>
                  </a:cxn>
                  <a:cxn ang="0">
                    <a:pos x="14" y="9"/>
                  </a:cxn>
                </a:cxnLst>
                <a:rect l="0" t="0" r="r" b="b"/>
                <a:pathLst>
                  <a:path w="24" h="41">
                    <a:moveTo>
                      <a:pt x="14" y="9"/>
                    </a:moveTo>
                    <a:lnTo>
                      <a:pt x="14" y="11"/>
                    </a:lnTo>
                    <a:lnTo>
                      <a:pt x="17" y="13"/>
                    </a:lnTo>
                    <a:lnTo>
                      <a:pt x="19" y="15"/>
                    </a:lnTo>
                    <a:lnTo>
                      <a:pt x="19" y="16"/>
                    </a:lnTo>
                    <a:lnTo>
                      <a:pt x="17" y="16"/>
                    </a:lnTo>
                    <a:lnTo>
                      <a:pt x="17" y="18"/>
                    </a:lnTo>
                    <a:lnTo>
                      <a:pt x="19" y="18"/>
                    </a:lnTo>
                    <a:lnTo>
                      <a:pt x="19" y="18"/>
                    </a:lnTo>
                    <a:lnTo>
                      <a:pt x="23" y="22"/>
                    </a:lnTo>
                    <a:lnTo>
                      <a:pt x="17" y="19"/>
                    </a:lnTo>
                    <a:lnTo>
                      <a:pt x="17" y="21"/>
                    </a:lnTo>
                    <a:lnTo>
                      <a:pt x="20" y="24"/>
                    </a:lnTo>
                    <a:lnTo>
                      <a:pt x="19" y="24"/>
                    </a:lnTo>
                    <a:lnTo>
                      <a:pt x="20" y="25"/>
                    </a:lnTo>
                    <a:lnTo>
                      <a:pt x="21" y="25"/>
                    </a:lnTo>
                    <a:lnTo>
                      <a:pt x="23" y="27"/>
                    </a:lnTo>
                    <a:lnTo>
                      <a:pt x="23" y="28"/>
                    </a:lnTo>
                    <a:lnTo>
                      <a:pt x="23" y="28"/>
                    </a:lnTo>
                    <a:lnTo>
                      <a:pt x="23" y="29"/>
                    </a:lnTo>
                    <a:lnTo>
                      <a:pt x="24" y="28"/>
                    </a:lnTo>
                    <a:lnTo>
                      <a:pt x="24" y="29"/>
                    </a:lnTo>
                    <a:lnTo>
                      <a:pt x="24" y="31"/>
                    </a:lnTo>
                    <a:lnTo>
                      <a:pt x="24" y="32"/>
                    </a:lnTo>
                    <a:lnTo>
                      <a:pt x="23" y="35"/>
                    </a:lnTo>
                    <a:lnTo>
                      <a:pt x="24" y="34"/>
                    </a:lnTo>
                    <a:lnTo>
                      <a:pt x="24" y="35"/>
                    </a:lnTo>
                    <a:lnTo>
                      <a:pt x="24" y="37"/>
                    </a:lnTo>
                    <a:lnTo>
                      <a:pt x="24" y="37"/>
                    </a:lnTo>
                    <a:lnTo>
                      <a:pt x="24" y="41"/>
                    </a:lnTo>
                    <a:lnTo>
                      <a:pt x="24" y="40"/>
                    </a:lnTo>
                    <a:lnTo>
                      <a:pt x="21" y="41"/>
                    </a:lnTo>
                    <a:lnTo>
                      <a:pt x="20" y="34"/>
                    </a:lnTo>
                    <a:lnTo>
                      <a:pt x="19" y="35"/>
                    </a:lnTo>
                    <a:lnTo>
                      <a:pt x="19" y="35"/>
                    </a:lnTo>
                    <a:lnTo>
                      <a:pt x="17" y="31"/>
                    </a:lnTo>
                    <a:lnTo>
                      <a:pt x="16" y="29"/>
                    </a:lnTo>
                    <a:lnTo>
                      <a:pt x="13" y="28"/>
                    </a:lnTo>
                    <a:lnTo>
                      <a:pt x="11" y="28"/>
                    </a:lnTo>
                    <a:lnTo>
                      <a:pt x="11" y="27"/>
                    </a:lnTo>
                    <a:lnTo>
                      <a:pt x="8" y="25"/>
                    </a:lnTo>
                    <a:lnTo>
                      <a:pt x="11" y="25"/>
                    </a:lnTo>
                    <a:lnTo>
                      <a:pt x="10" y="21"/>
                    </a:lnTo>
                    <a:lnTo>
                      <a:pt x="11" y="19"/>
                    </a:lnTo>
                    <a:lnTo>
                      <a:pt x="11" y="19"/>
                    </a:lnTo>
                    <a:lnTo>
                      <a:pt x="11" y="18"/>
                    </a:lnTo>
                    <a:lnTo>
                      <a:pt x="8" y="19"/>
                    </a:lnTo>
                    <a:lnTo>
                      <a:pt x="7" y="19"/>
                    </a:lnTo>
                    <a:lnTo>
                      <a:pt x="6" y="18"/>
                    </a:lnTo>
                    <a:lnTo>
                      <a:pt x="6" y="15"/>
                    </a:lnTo>
                    <a:lnTo>
                      <a:pt x="7" y="13"/>
                    </a:lnTo>
                    <a:lnTo>
                      <a:pt x="7" y="6"/>
                    </a:lnTo>
                    <a:lnTo>
                      <a:pt x="7" y="5"/>
                    </a:lnTo>
                    <a:lnTo>
                      <a:pt x="6" y="8"/>
                    </a:lnTo>
                    <a:lnTo>
                      <a:pt x="4" y="8"/>
                    </a:lnTo>
                    <a:lnTo>
                      <a:pt x="3" y="11"/>
                    </a:lnTo>
                    <a:lnTo>
                      <a:pt x="0" y="11"/>
                    </a:lnTo>
                    <a:lnTo>
                      <a:pt x="1" y="8"/>
                    </a:lnTo>
                    <a:lnTo>
                      <a:pt x="4" y="3"/>
                    </a:lnTo>
                    <a:lnTo>
                      <a:pt x="3" y="2"/>
                    </a:lnTo>
                    <a:lnTo>
                      <a:pt x="1" y="0"/>
                    </a:lnTo>
                    <a:lnTo>
                      <a:pt x="3" y="0"/>
                    </a:lnTo>
                    <a:lnTo>
                      <a:pt x="4" y="0"/>
                    </a:lnTo>
                    <a:lnTo>
                      <a:pt x="6" y="2"/>
                    </a:lnTo>
                    <a:lnTo>
                      <a:pt x="7" y="0"/>
                    </a:lnTo>
                    <a:lnTo>
                      <a:pt x="8" y="0"/>
                    </a:lnTo>
                    <a:lnTo>
                      <a:pt x="10" y="2"/>
                    </a:lnTo>
                    <a:lnTo>
                      <a:pt x="10" y="5"/>
                    </a:lnTo>
                    <a:lnTo>
                      <a:pt x="10" y="6"/>
                    </a:lnTo>
                    <a:lnTo>
                      <a:pt x="10" y="8"/>
                    </a:lnTo>
                    <a:lnTo>
                      <a:pt x="11" y="8"/>
                    </a:lnTo>
                    <a:lnTo>
                      <a:pt x="14" y="9"/>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00" name="Freeform 1515"/>
              <p:cNvSpPr>
                <a:spLocks/>
              </p:cNvSpPr>
              <p:nvPr/>
            </p:nvSpPr>
            <p:spPr bwMode="auto">
              <a:xfrm>
                <a:off x="4373024" y="2262521"/>
                <a:ext cx="21944" cy="42594"/>
              </a:xfrm>
              <a:custGeom>
                <a:avLst/>
                <a:gdLst/>
                <a:ahLst/>
                <a:cxnLst>
                  <a:cxn ang="0">
                    <a:pos x="14" y="11"/>
                  </a:cxn>
                  <a:cxn ang="0">
                    <a:pos x="19" y="15"/>
                  </a:cxn>
                  <a:cxn ang="0">
                    <a:pos x="17" y="16"/>
                  </a:cxn>
                  <a:cxn ang="0">
                    <a:pos x="19" y="18"/>
                  </a:cxn>
                  <a:cxn ang="0">
                    <a:pos x="23" y="22"/>
                  </a:cxn>
                  <a:cxn ang="0">
                    <a:pos x="17" y="21"/>
                  </a:cxn>
                  <a:cxn ang="0">
                    <a:pos x="19" y="24"/>
                  </a:cxn>
                  <a:cxn ang="0">
                    <a:pos x="21" y="25"/>
                  </a:cxn>
                  <a:cxn ang="0">
                    <a:pos x="23" y="28"/>
                  </a:cxn>
                  <a:cxn ang="0">
                    <a:pos x="23" y="29"/>
                  </a:cxn>
                  <a:cxn ang="0">
                    <a:pos x="24" y="29"/>
                  </a:cxn>
                  <a:cxn ang="0">
                    <a:pos x="24" y="32"/>
                  </a:cxn>
                  <a:cxn ang="0">
                    <a:pos x="24" y="34"/>
                  </a:cxn>
                  <a:cxn ang="0">
                    <a:pos x="24" y="37"/>
                  </a:cxn>
                  <a:cxn ang="0">
                    <a:pos x="24" y="41"/>
                  </a:cxn>
                  <a:cxn ang="0">
                    <a:pos x="21" y="41"/>
                  </a:cxn>
                  <a:cxn ang="0">
                    <a:pos x="19" y="35"/>
                  </a:cxn>
                  <a:cxn ang="0">
                    <a:pos x="17" y="31"/>
                  </a:cxn>
                  <a:cxn ang="0">
                    <a:pos x="13" y="28"/>
                  </a:cxn>
                  <a:cxn ang="0">
                    <a:pos x="11" y="27"/>
                  </a:cxn>
                  <a:cxn ang="0">
                    <a:pos x="11" y="25"/>
                  </a:cxn>
                  <a:cxn ang="0">
                    <a:pos x="11" y="19"/>
                  </a:cxn>
                  <a:cxn ang="0">
                    <a:pos x="11" y="18"/>
                  </a:cxn>
                  <a:cxn ang="0">
                    <a:pos x="7" y="19"/>
                  </a:cxn>
                  <a:cxn ang="0">
                    <a:pos x="6" y="15"/>
                  </a:cxn>
                  <a:cxn ang="0">
                    <a:pos x="7" y="6"/>
                  </a:cxn>
                  <a:cxn ang="0">
                    <a:pos x="6" y="8"/>
                  </a:cxn>
                  <a:cxn ang="0">
                    <a:pos x="3" y="11"/>
                  </a:cxn>
                  <a:cxn ang="0">
                    <a:pos x="1" y="8"/>
                  </a:cxn>
                  <a:cxn ang="0">
                    <a:pos x="3" y="2"/>
                  </a:cxn>
                  <a:cxn ang="0">
                    <a:pos x="3" y="0"/>
                  </a:cxn>
                  <a:cxn ang="0">
                    <a:pos x="6" y="2"/>
                  </a:cxn>
                  <a:cxn ang="0">
                    <a:pos x="8" y="0"/>
                  </a:cxn>
                  <a:cxn ang="0">
                    <a:pos x="10" y="5"/>
                  </a:cxn>
                  <a:cxn ang="0">
                    <a:pos x="10" y="8"/>
                  </a:cxn>
                  <a:cxn ang="0">
                    <a:pos x="14" y="9"/>
                  </a:cxn>
                </a:cxnLst>
                <a:rect l="0" t="0" r="r" b="b"/>
                <a:pathLst>
                  <a:path w="24" h="41">
                    <a:moveTo>
                      <a:pt x="14" y="9"/>
                    </a:moveTo>
                    <a:lnTo>
                      <a:pt x="14" y="11"/>
                    </a:lnTo>
                    <a:lnTo>
                      <a:pt x="17" y="13"/>
                    </a:lnTo>
                    <a:lnTo>
                      <a:pt x="19" y="15"/>
                    </a:lnTo>
                    <a:lnTo>
                      <a:pt x="19" y="16"/>
                    </a:lnTo>
                    <a:lnTo>
                      <a:pt x="17" y="16"/>
                    </a:lnTo>
                    <a:lnTo>
                      <a:pt x="17" y="18"/>
                    </a:lnTo>
                    <a:lnTo>
                      <a:pt x="19" y="18"/>
                    </a:lnTo>
                    <a:lnTo>
                      <a:pt x="19" y="18"/>
                    </a:lnTo>
                    <a:lnTo>
                      <a:pt x="23" y="22"/>
                    </a:lnTo>
                    <a:lnTo>
                      <a:pt x="17" y="19"/>
                    </a:lnTo>
                    <a:lnTo>
                      <a:pt x="17" y="21"/>
                    </a:lnTo>
                    <a:lnTo>
                      <a:pt x="20" y="24"/>
                    </a:lnTo>
                    <a:lnTo>
                      <a:pt x="19" y="24"/>
                    </a:lnTo>
                    <a:lnTo>
                      <a:pt x="20" y="25"/>
                    </a:lnTo>
                    <a:lnTo>
                      <a:pt x="21" y="25"/>
                    </a:lnTo>
                    <a:lnTo>
                      <a:pt x="23" y="27"/>
                    </a:lnTo>
                    <a:lnTo>
                      <a:pt x="23" y="28"/>
                    </a:lnTo>
                    <a:lnTo>
                      <a:pt x="23" y="28"/>
                    </a:lnTo>
                    <a:lnTo>
                      <a:pt x="23" y="29"/>
                    </a:lnTo>
                    <a:lnTo>
                      <a:pt x="24" y="28"/>
                    </a:lnTo>
                    <a:lnTo>
                      <a:pt x="24" y="29"/>
                    </a:lnTo>
                    <a:lnTo>
                      <a:pt x="24" y="31"/>
                    </a:lnTo>
                    <a:lnTo>
                      <a:pt x="24" y="32"/>
                    </a:lnTo>
                    <a:lnTo>
                      <a:pt x="23" y="35"/>
                    </a:lnTo>
                    <a:lnTo>
                      <a:pt x="24" y="34"/>
                    </a:lnTo>
                    <a:lnTo>
                      <a:pt x="24" y="35"/>
                    </a:lnTo>
                    <a:lnTo>
                      <a:pt x="24" y="37"/>
                    </a:lnTo>
                    <a:lnTo>
                      <a:pt x="24" y="37"/>
                    </a:lnTo>
                    <a:lnTo>
                      <a:pt x="24" y="41"/>
                    </a:lnTo>
                    <a:lnTo>
                      <a:pt x="24" y="40"/>
                    </a:lnTo>
                    <a:lnTo>
                      <a:pt x="21" y="41"/>
                    </a:lnTo>
                    <a:lnTo>
                      <a:pt x="20" y="34"/>
                    </a:lnTo>
                    <a:lnTo>
                      <a:pt x="19" y="35"/>
                    </a:lnTo>
                    <a:lnTo>
                      <a:pt x="19" y="35"/>
                    </a:lnTo>
                    <a:lnTo>
                      <a:pt x="17" y="31"/>
                    </a:lnTo>
                    <a:lnTo>
                      <a:pt x="16" y="29"/>
                    </a:lnTo>
                    <a:lnTo>
                      <a:pt x="13" y="28"/>
                    </a:lnTo>
                    <a:lnTo>
                      <a:pt x="11" y="28"/>
                    </a:lnTo>
                    <a:lnTo>
                      <a:pt x="11" y="27"/>
                    </a:lnTo>
                    <a:lnTo>
                      <a:pt x="8" y="25"/>
                    </a:lnTo>
                    <a:lnTo>
                      <a:pt x="11" y="25"/>
                    </a:lnTo>
                    <a:lnTo>
                      <a:pt x="10" y="21"/>
                    </a:lnTo>
                    <a:lnTo>
                      <a:pt x="11" y="19"/>
                    </a:lnTo>
                    <a:lnTo>
                      <a:pt x="11" y="19"/>
                    </a:lnTo>
                    <a:lnTo>
                      <a:pt x="11" y="18"/>
                    </a:lnTo>
                    <a:lnTo>
                      <a:pt x="8" y="19"/>
                    </a:lnTo>
                    <a:lnTo>
                      <a:pt x="7" y="19"/>
                    </a:lnTo>
                    <a:lnTo>
                      <a:pt x="6" y="18"/>
                    </a:lnTo>
                    <a:lnTo>
                      <a:pt x="6" y="15"/>
                    </a:lnTo>
                    <a:lnTo>
                      <a:pt x="7" y="13"/>
                    </a:lnTo>
                    <a:lnTo>
                      <a:pt x="7" y="6"/>
                    </a:lnTo>
                    <a:lnTo>
                      <a:pt x="7" y="5"/>
                    </a:lnTo>
                    <a:lnTo>
                      <a:pt x="6" y="8"/>
                    </a:lnTo>
                    <a:lnTo>
                      <a:pt x="4" y="8"/>
                    </a:lnTo>
                    <a:lnTo>
                      <a:pt x="3" y="11"/>
                    </a:lnTo>
                    <a:lnTo>
                      <a:pt x="0" y="11"/>
                    </a:lnTo>
                    <a:lnTo>
                      <a:pt x="1" y="8"/>
                    </a:lnTo>
                    <a:lnTo>
                      <a:pt x="4" y="3"/>
                    </a:lnTo>
                    <a:lnTo>
                      <a:pt x="3" y="2"/>
                    </a:lnTo>
                    <a:lnTo>
                      <a:pt x="1" y="0"/>
                    </a:lnTo>
                    <a:lnTo>
                      <a:pt x="3" y="0"/>
                    </a:lnTo>
                    <a:lnTo>
                      <a:pt x="4" y="0"/>
                    </a:lnTo>
                    <a:lnTo>
                      <a:pt x="6" y="2"/>
                    </a:lnTo>
                    <a:lnTo>
                      <a:pt x="7" y="0"/>
                    </a:lnTo>
                    <a:lnTo>
                      <a:pt x="8" y="0"/>
                    </a:lnTo>
                    <a:lnTo>
                      <a:pt x="10" y="2"/>
                    </a:lnTo>
                    <a:lnTo>
                      <a:pt x="10" y="5"/>
                    </a:lnTo>
                    <a:lnTo>
                      <a:pt x="10" y="6"/>
                    </a:lnTo>
                    <a:lnTo>
                      <a:pt x="10" y="8"/>
                    </a:lnTo>
                    <a:lnTo>
                      <a:pt x="11" y="8"/>
                    </a:lnTo>
                    <a:lnTo>
                      <a:pt x="14" y="9"/>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01" name="Freeform 1516"/>
              <p:cNvSpPr>
                <a:spLocks/>
              </p:cNvSpPr>
              <p:nvPr/>
            </p:nvSpPr>
            <p:spPr bwMode="auto">
              <a:xfrm>
                <a:off x="4400235" y="2273676"/>
                <a:ext cx="9656" cy="21297"/>
              </a:xfrm>
              <a:custGeom>
                <a:avLst/>
                <a:gdLst/>
                <a:ahLst/>
                <a:cxnLst>
                  <a:cxn ang="0">
                    <a:pos x="4" y="16"/>
                  </a:cxn>
                  <a:cxn ang="0">
                    <a:pos x="6" y="16"/>
                  </a:cxn>
                  <a:cxn ang="0">
                    <a:pos x="6" y="16"/>
                  </a:cxn>
                  <a:cxn ang="0">
                    <a:pos x="7" y="14"/>
                  </a:cxn>
                  <a:cxn ang="0">
                    <a:pos x="7" y="16"/>
                  </a:cxn>
                  <a:cxn ang="0">
                    <a:pos x="7" y="17"/>
                  </a:cxn>
                  <a:cxn ang="0">
                    <a:pos x="7" y="18"/>
                  </a:cxn>
                  <a:cxn ang="0">
                    <a:pos x="10" y="20"/>
                  </a:cxn>
                  <a:cxn ang="0">
                    <a:pos x="11" y="20"/>
                  </a:cxn>
                  <a:cxn ang="0">
                    <a:pos x="11" y="18"/>
                  </a:cxn>
                  <a:cxn ang="0">
                    <a:pos x="11" y="18"/>
                  </a:cxn>
                  <a:cxn ang="0">
                    <a:pos x="10" y="16"/>
                  </a:cxn>
                  <a:cxn ang="0">
                    <a:pos x="11" y="8"/>
                  </a:cxn>
                  <a:cxn ang="0">
                    <a:pos x="8" y="0"/>
                  </a:cxn>
                  <a:cxn ang="0">
                    <a:pos x="7" y="0"/>
                  </a:cxn>
                  <a:cxn ang="0">
                    <a:pos x="4" y="1"/>
                  </a:cxn>
                  <a:cxn ang="0">
                    <a:pos x="3" y="2"/>
                  </a:cxn>
                  <a:cxn ang="0">
                    <a:pos x="1" y="2"/>
                  </a:cxn>
                  <a:cxn ang="0">
                    <a:pos x="3" y="4"/>
                  </a:cxn>
                  <a:cxn ang="0">
                    <a:pos x="3" y="5"/>
                  </a:cxn>
                  <a:cxn ang="0">
                    <a:pos x="1" y="5"/>
                  </a:cxn>
                  <a:cxn ang="0">
                    <a:pos x="1" y="7"/>
                  </a:cxn>
                  <a:cxn ang="0">
                    <a:pos x="1" y="8"/>
                  </a:cxn>
                  <a:cxn ang="0">
                    <a:pos x="1" y="10"/>
                  </a:cxn>
                  <a:cxn ang="0">
                    <a:pos x="1" y="10"/>
                  </a:cxn>
                  <a:cxn ang="0">
                    <a:pos x="0" y="13"/>
                  </a:cxn>
                  <a:cxn ang="0">
                    <a:pos x="0" y="14"/>
                  </a:cxn>
                  <a:cxn ang="0">
                    <a:pos x="3" y="16"/>
                  </a:cxn>
                  <a:cxn ang="0">
                    <a:pos x="3" y="14"/>
                  </a:cxn>
                  <a:cxn ang="0">
                    <a:pos x="3" y="11"/>
                  </a:cxn>
                  <a:cxn ang="0">
                    <a:pos x="4" y="13"/>
                  </a:cxn>
                  <a:cxn ang="0">
                    <a:pos x="6" y="13"/>
                  </a:cxn>
                  <a:cxn ang="0">
                    <a:pos x="6" y="8"/>
                  </a:cxn>
                  <a:cxn ang="0">
                    <a:pos x="6" y="13"/>
                  </a:cxn>
                  <a:cxn ang="0">
                    <a:pos x="6" y="14"/>
                  </a:cxn>
                  <a:cxn ang="0">
                    <a:pos x="4" y="16"/>
                  </a:cxn>
                </a:cxnLst>
                <a:rect l="0" t="0" r="r" b="b"/>
                <a:pathLst>
                  <a:path w="11" h="20">
                    <a:moveTo>
                      <a:pt x="4" y="16"/>
                    </a:moveTo>
                    <a:lnTo>
                      <a:pt x="6" y="16"/>
                    </a:lnTo>
                    <a:lnTo>
                      <a:pt x="6" y="16"/>
                    </a:lnTo>
                    <a:lnTo>
                      <a:pt x="7" y="14"/>
                    </a:lnTo>
                    <a:lnTo>
                      <a:pt x="7" y="16"/>
                    </a:lnTo>
                    <a:lnTo>
                      <a:pt x="7" y="17"/>
                    </a:lnTo>
                    <a:lnTo>
                      <a:pt x="7" y="18"/>
                    </a:lnTo>
                    <a:lnTo>
                      <a:pt x="10" y="20"/>
                    </a:lnTo>
                    <a:lnTo>
                      <a:pt x="11" y="20"/>
                    </a:lnTo>
                    <a:lnTo>
                      <a:pt x="11" y="18"/>
                    </a:lnTo>
                    <a:lnTo>
                      <a:pt x="11" y="18"/>
                    </a:lnTo>
                    <a:lnTo>
                      <a:pt x="10" y="16"/>
                    </a:lnTo>
                    <a:lnTo>
                      <a:pt x="11" y="8"/>
                    </a:lnTo>
                    <a:lnTo>
                      <a:pt x="8" y="0"/>
                    </a:lnTo>
                    <a:lnTo>
                      <a:pt x="7" y="0"/>
                    </a:lnTo>
                    <a:lnTo>
                      <a:pt x="4" y="1"/>
                    </a:lnTo>
                    <a:lnTo>
                      <a:pt x="3" y="2"/>
                    </a:lnTo>
                    <a:lnTo>
                      <a:pt x="1" y="2"/>
                    </a:lnTo>
                    <a:lnTo>
                      <a:pt x="3" y="4"/>
                    </a:lnTo>
                    <a:lnTo>
                      <a:pt x="3" y="5"/>
                    </a:lnTo>
                    <a:lnTo>
                      <a:pt x="1" y="5"/>
                    </a:lnTo>
                    <a:lnTo>
                      <a:pt x="1" y="7"/>
                    </a:lnTo>
                    <a:lnTo>
                      <a:pt x="1" y="8"/>
                    </a:lnTo>
                    <a:lnTo>
                      <a:pt x="1" y="10"/>
                    </a:lnTo>
                    <a:lnTo>
                      <a:pt x="1" y="10"/>
                    </a:lnTo>
                    <a:lnTo>
                      <a:pt x="0" y="13"/>
                    </a:lnTo>
                    <a:lnTo>
                      <a:pt x="0" y="14"/>
                    </a:lnTo>
                    <a:lnTo>
                      <a:pt x="3" y="16"/>
                    </a:lnTo>
                    <a:lnTo>
                      <a:pt x="3" y="14"/>
                    </a:lnTo>
                    <a:lnTo>
                      <a:pt x="3" y="11"/>
                    </a:lnTo>
                    <a:lnTo>
                      <a:pt x="4" y="13"/>
                    </a:lnTo>
                    <a:lnTo>
                      <a:pt x="6" y="13"/>
                    </a:lnTo>
                    <a:lnTo>
                      <a:pt x="6" y="8"/>
                    </a:lnTo>
                    <a:lnTo>
                      <a:pt x="6" y="13"/>
                    </a:lnTo>
                    <a:lnTo>
                      <a:pt x="6" y="14"/>
                    </a:lnTo>
                    <a:lnTo>
                      <a:pt x="4" y="1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02" name="Freeform 1517"/>
              <p:cNvSpPr>
                <a:spLocks/>
              </p:cNvSpPr>
              <p:nvPr/>
            </p:nvSpPr>
            <p:spPr bwMode="auto">
              <a:xfrm>
                <a:off x="4400235" y="2273676"/>
                <a:ext cx="9656" cy="21297"/>
              </a:xfrm>
              <a:custGeom>
                <a:avLst/>
                <a:gdLst/>
                <a:ahLst/>
                <a:cxnLst>
                  <a:cxn ang="0">
                    <a:pos x="4" y="16"/>
                  </a:cxn>
                  <a:cxn ang="0">
                    <a:pos x="6" y="16"/>
                  </a:cxn>
                  <a:cxn ang="0">
                    <a:pos x="6" y="16"/>
                  </a:cxn>
                  <a:cxn ang="0">
                    <a:pos x="7" y="14"/>
                  </a:cxn>
                  <a:cxn ang="0">
                    <a:pos x="7" y="16"/>
                  </a:cxn>
                  <a:cxn ang="0">
                    <a:pos x="7" y="17"/>
                  </a:cxn>
                  <a:cxn ang="0">
                    <a:pos x="7" y="18"/>
                  </a:cxn>
                  <a:cxn ang="0">
                    <a:pos x="10" y="20"/>
                  </a:cxn>
                  <a:cxn ang="0">
                    <a:pos x="11" y="20"/>
                  </a:cxn>
                  <a:cxn ang="0">
                    <a:pos x="11" y="18"/>
                  </a:cxn>
                  <a:cxn ang="0">
                    <a:pos x="11" y="18"/>
                  </a:cxn>
                  <a:cxn ang="0">
                    <a:pos x="10" y="16"/>
                  </a:cxn>
                  <a:cxn ang="0">
                    <a:pos x="11" y="8"/>
                  </a:cxn>
                  <a:cxn ang="0">
                    <a:pos x="8" y="0"/>
                  </a:cxn>
                  <a:cxn ang="0">
                    <a:pos x="7" y="0"/>
                  </a:cxn>
                  <a:cxn ang="0">
                    <a:pos x="4" y="1"/>
                  </a:cxn>
                  <a:cxn ang="0">
                    <a:pos x="3" y="2"/>
                  </a:cxn>
                  <a:cxn ang="0">
                    <a:pos x="1" y="2"/>
                  </a:cxn>
                  <a:cxn ang="0">
                    <a:pos x="3" y="4"/>
                  </a:cxn>
                  <a:cxn ang="0">
                    <a:pos x="3" y="5"/>
                  </a:cxn>
                  <a:cxn ang="0">
                    <a:pos x="1" y="5"/>
                  </a:cxn>
                  <a:cxn ang="0">
                    <a:pos x="1" y="7"/>
                  </a:cxn>
                  <a:cxn ang="0">
                    <a:pos x="1" y="8"/>
                  </a:cxn>
                  <a:cxn ang="0">
                    <a:pos x="1" y="10"/>
                  </a:cxn>
                  <a:cxn ang="0">
                    <a:pos x="1" y="10"/>
                  </a:cxn>
                  <a:cxn ang="0">
                    <a:pos x="0" y="13"/>
                  </a:cxn>
                  <a:cxn ang="0">
                    <a:pos x="0" y="14"/>
                  </a:cxn>
                  <a:cxn ang="0">
                    <a:pos x="3" y="16"/>
                  </a:cxn>
                  <a:cxn ang="0">
                    <a:pos x="3" y="14"/>
                  </a:cxn>
                  <a:cxn ang="0">
                    <a:pos x="3" y="11"/>
                  </a:cxn>
                  <a:cxn ang="0">
                    <a:pos x="4" y="13"/>
                  </a:cxn>
                  <a:cxn ang="0">
                    <a:pos x="6" y="13"/>
                  </a:cxn>
                  <a:cxn ang="0">
                    <a:pos x="6" y="8"/>
                  </a:cxn>
                  <a:cxn ang="0">
                    <a:pos x="6" y="13"/>
                  </a:cxn>
                  <a:cxn ang="0">
                    <a:pos x="6" y="14"/>
                  </a:cxn>
                  <a:cxn ang="0">
                    <a:pos x="4" y="16"/>
                  </a:cxn>
                </a:cxnLst>
                <a:rect l="0" t="0" r="r" b="b"/>
                <a:pathLst>
                  <a:path w="11" h="20">
                    <a:moveTo>
                      <a:pt x="4" y="16"/>
                    </a:moveTo>
                    <a:lnTo>
                      <a:pt x="6" y="16"/>
                    </a:lnTo>
                    <a:lnTo>
                      <a:pt x="6" y="16"/>
                    </a:lnTo>
                    <a:lnTo>
                      <a:pt x="7" y="14"/>
                    </a:lnTo>
                    <a:lnTo>
                      <a:pt x="7" y="16"/>
                    </a:lnTo>
                    <a:lnTo>
                      <a:pt x="7" y="17"/>
                    </a:lnTo>
                    <a:lnTo>
                      <a:pt x="7" y="18"/>
                    </a:lnTo>
                    <a:lnTo>
                      <a:pt x="10" y="20"/>
                    </a:lnTo>
                    <a:lnTo>
                      <a:pt x="11" y="20"/>
                    </a:lnTo>
                    <a:lnTo>
                      <a:pt x="11" y="18"/>
                    </a:lnTo>
                    <a:lnTo>
                      <a:pt x="11" y="18"/>
                    </a:lnTo>
                    <a:lnTo>
                      <a:pt x="10" y="16"/>
                    </a:lnTo>
                    <a:lnTo>
                      <a:pt x="11" y="8"/>
                    </a:lnTo>
                    <a:lnTo>
                      <a:pt x="8" y="0"/>
                    </a:lnTo>
                    <a:lnTo>
                      <a:pt x="7" y="0"/>
                    </a:lnTo>
                    <a:lnTo>
                      <a:pt x="4" y="1"/>
                    </a:lnTo>
                    <a:lnTo>
                      <a:pt x="3" y="2"/>
                    </a:lnTo>
                    <a:lnTo>
                      <a:pt x="1" y="2"/>
                    </a:lnTo>
                    <a:lnTo>
                      <a:pt x="3" y="4"/>
                    </a:lnTo>
                    <a:lnTo>
                      <a:pt x="3" y="5"/>
                    </a:lnTo>
                    <a:lnTo>
                      <a:pt x="1" y="5"/>
                    </a:lnTo>
                    <a:lnTo>
                      <a:pt x="1" y="7"/>
                    </a:lnTo>
                    <a:lnTo>
                      <a:pt x="1" y="8"/>
                    </a:lnTo>
                    <a:lnTo>
                      <a:pt x="1" y="10"/>
                    </a:lnTo>
                    <a:lnTo>
                      <a:pt x="1" y="10"/>
                    </a:lnTo>
                    <a:lnTo>
                      <a:pt x="0" y="13"/>
                    </a:lnTo>
                    <a:lnTo>
                      <a:pt x="0" y="14"/>
                    </a:lnTo>
                    <a:lnTo>
                      <a:pt x="3" y="16"/>
                    </a:lnTo>
                    <a:lnTo>
                      <a:pt x="3" y="14"/>
                    </a:lnTo>
                    <a:lnTo>
                      <a:pt x="3" y="11"/>
                    </a:lnTo>
                    <a:lnTo>
                      <a:pt x="4" y="13"/>
                    </a:lnTo>
                    <a:lnTo>
                      <a:pt x="6" y="13"/>
                    </a:lnTo>
                    <a:lnTo>
                      <a:pt x="6" y="8"/>
                    </a:lnTo>
                    <a:lnTo>
                      <a:pt x="6" y="13"/>
                    </a:lnTo>
                    <a:lnTo>
                      <a:pt x="6" y="14"/>
                    </a:lnTo>
                    <a:lnTo>
                      <a:pt x="4" y="1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03" name="Freeform 1518"/>
              <p:cNvSpPr>
                <a:spLocks/>
              </p:cNvSpPr>
              <p:nvPr/>
            </p:nvSpPr>
            <p:spPr bwMode="auto">
              <a:xfrm>
                <a:off x="4380046" y="2291930"/>
                <a:ext cx="6144" cy="13184"/>
              </a:xfrm>
              <a:custGeom>
                <a:avLst/>
                <a:gdLst/>
                <a:ahLst/>
                <a:cxnLst>
                  <a:cxn ang="0">
                    <a:pos x="3" y="6"/>
                  </a:cxn>
                  <a:cxn ang="0">
                    <a:pos x="4" y="6"/>
                  </a:cxn>
                  <a:cxn ang="0">
                    <a:pos x="7" y="12"/>
                  </a:cxn>
                  <a:cxn ang="0">
                    <a:pos x="6" y="13"/>
                  </a:cxn>
                  <a:cxn ang="0">
                    <a:pos x="4" y="12"/>
                  </a:cxn>
                  <a:cxn ang="0">
                    <a:pos x="0" y="4"/>
                  </a:cxn>
                  <a:cxn ang="0">
                    <a:pos x="0" y="1"/>
                  </a:cxn>
                  <a:cxn ang="0">
                    <a:pos x="0" y="0"/>
                  </a:cxn>
                  <a:cxn ang="0">
                    <a:pos x="3" y="1"/>
                  </a:cxn>
                  <a:cxn ang="0">
                    <a:pos x="3" y="6"/>
                  </a:cxn>
                </a:cxnLst>
                <a:rect l="0" t="0" r="r" b="b"/>
                <a:pathLst>
                  <a:path w="7" h="13">
                    <a:moveTo>
                      <a:pt x="3" y="6"/>
                    </a:moveTo>
                    <a:lnTo>
                      <a:pt x="4" y="6"/>
                    </a:lnTo>
                    <a:lnTo>
                      <a:pt x="7" y="12"/>
                    </a:lnTo>
                    <a:lnTo>
                      <a:pt x="6" y="13"/>
                    </a:lnTo>
                    <a:lnTo>
                      <a:pt x="4" y="12"/>
                    </a:lnTo>
                    <a:lnTo>
                      <a:pt x="0" y="4"/>
                    </a:lnTo>
                    <a:lnTo>
                      <a:pt x="0" y="1"/>
                    </a:lnTo>
                    <a:lnTo>
                      <a:pt x="0" y="0"/>
                    </a:lnTo>
                    <a:lnTo>
                      <a:pt x="3" y="1"/>
                    </a:lnTo>
                    <a:lnTo>
                      <a:pt x="3" y="6"/>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04" name="Freeform 1519"/>
              <p:cNvSpPr>
                <a:spLocks/>
              </p:cNvSpPr>
              <p:nvPr/>
            </p:nvSpPr>
            <p:spPr bwMode="auto">
              <a:xfrm>
                <a:off x="4380046" y="2291930"/>
                <a:ext cx="6144" cy="13184"/>
              </a:xfrm>
              <a:custGeom>
                <a:avLst/>
                <a:gdLst/>
                <a:ahLst/>
                <a:cxnLst>
                  <a:cxn ang="0">
                    <a:pos x="3" y="6"/>
                  </a:cxn>
                  <a:cxn ang="0">
                    <a:pos x="4" y="6"/>
                  </a:cxn>
                  <a:cxn ang="0">
                    <a:pos x="7" y="12"/>
                  </a:cxn>
                  <a:cxn ang="0">
                    <a:pos x="6" y="13"/>
                  </a:cxn>
                  <a:cxn ang="0">
                    <a:pos x="4" y="12"/>
                  </a:cxn>
                  <a:cxn ang="0">
                    <a:pos x="0" y="4"/>
                  </a:cxn>
                  <a:cxn ang="0">
                    <a:pos x="0" y="1"/>
                  </a:cxn>
                  <a:cxn ang="0">
                    <a:pos x="0" y="0"/>
                  </a:cxn>
                  <a:cxn ang="0">
                    <a:pos x="3" y="1"/>
                  </a:cxn>
                  <a:cxn ang="0">
                    <a:pos x="3" y="6"/>
                  </a:cxn>
                </a:cxnLst>
                <a:rect l="0" t="0" r="r" b="b"/>
                <a:pathLst>
                  <a:path w="7" h="13">
                    <a:moveTo>
                      <a:pt x="3" y="6"/>
                    </a:moveTo>
                    <a:lnTo>
                      <a:pt x="4" y="6"/>
                    </a:lnTo>
                    <a:lnTo>
                      <a:pt x="7" y="12"/>
                    </a:lnTo>
                    <a:lnTo>
                      <a:pt x="6" y="13"/>
                    </a:lnTo>
                    <a:lnTo>
                      <a:pt x="4" y="12"/>
                    </a:lnTo>
                    <a:lnTo>
                      <a:pt x="0" y="4"/>
                    </a:lnTo>
                    <a:lnTo>
                      <a:pt x="0" y="1"/>
                    </a:lnTo>
                    <a:lnTo>
                      <a:pt x="0" y="0"/>
                    </a:lnTo>
                    <a:lnTo>
                      <a:pt x="3" y="1"/>
                    </a:lnTo>
                    <a:lnTo>
                      <a:pt x="3" y="6"/>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05" name="Freeform 1520"/>
              <p:cNvSpPr>
                <a:spLocks/>
              </p:cNvSpPr>
              <p:nvPr/>
            </p:nvSpPr>
            <p:spPr bwMode="auto">
              <a:xfrm>
                <a:off x="4401113" y="2290917"/>
                <a:ext cx="4389" cy="7099"/>
              </a:xfrm>
              <a:custGeom>
                <a:avLst/>
                <a:gdLst/>
                <a:ahLst/>
                <a:cxnLst>
                  <a:cxn ang="0">
                    <a:pos x="0" y="0"/>
                  </a:cxn>
                  <a:cxn ang="0">
                    <a:pos x="3" y="2"/>
                  </a:cxn>
                  <a:cxn ang="0">
                    <a:pos x="5" y="7"/>
                  </a:cxn>
                  <a:cxn ang="0">
                    <a:pos x="3" y="7"/>
                  </a:cxn>
                  <a:cxn ang="0">
                    <a:pos x="2" y="4"/>
                  </a:cxn>
                  <a:cxn ang="0">
                    <a:pos x="2" y="4"/>
                  </a:cxn>
                  <a:cxn ang="0">
                    <a:pos x="0" y="0"/>
                  </a:cxn>
                </a:cxnLst>
                <a:rect l="0" t="0" r="r" b="b"/>
                <a:pathLst>
                  <a:path w="5" h="7">
                    <a:moveTo>
                      <a:pt x="0" y="0"/>
                    </a:moveTo>
                    <a:lnTo>
                      <a:pt x="3" y="2"/>
                    </a:lnTo>
                    <a:lnTo>
                      <a:pt x="5" y="7"/>
                    </a:lnTo>
                    <a:lnTo>
                      <a:pt x="3" y="7"/>
                    </a:lnTo>
                    <a:lnTo>
                      <a:pt x="2" y="4"/>
                    </a:lnTo>
                    <a:lnTo>
                      <a:pt x="2" y="4"/>
                    </a:lnTo>
                    <a:lnTo>
                      <a:pt x="0"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06" name="Freeform 1521"/>
              <p:cNvSpPr>
                <a:spLocks/>
              </p:cNvSpPr>
              <p:nvPr/>
            </p:nvSpPr>
            <p:spPr bwMode="auto">
              <a:xfrm>
                <a:off x="4401113" y="2290917"/>
                <a:ext cx="4389" cy="7099"/>
              </a:xfrm>
              <a:custGeom>
                <a:avLst/>
                <a:gdLst/>
                <a:ahLst/>
                <a:cxnLst>
                  <a:cxn ang="0">
                    <a:pos x="0" y="0"/>
                  </a:cxn>
                  <a:cxn ang="0">
                    <a:pos x="3" y="2"/>
                  </a:cxn>
                  <a:cxn ang="0">
                    <a:pos x="5" y="7"/>
                  </a:cxn>
                  <a:cxn ang="0">
                    <a:pos x="3" y="7"/>
                  </a:cxn>
                  <a:cxn ang="0">
                    <a:pos x="2" y="4"/>
                  </a:cxn>
                  <a:cxn ang="0">
                    <a:pos x="2" y="4"/>
                  </a:cxn>
                  <a:cxn ang="0">
                    <a:pos x="0" y="0"/>
                  </a:cxn>
                </a:cxnLst>
                <a:rect l="0" t="0" r="r" b="b"/>
                <a:pathLst>
                  <a:path w="5" h="7">
                    <a:moveTo>
                      <a:pt x="0" y="0"/>
                    </a:moveTo>
                    <a:lnTo>
                      <a:pt x="3" y="2"/>
                    </a:lnTo>
                    <a:lnTo>
                      <a:pt x="5" y="7"/>
                    </a:lnTo>
                    <a:lnTo>
                      <a:pt x="3" y="7"/>
                    </a:lnTo>
                    <a:lnTo>
                      <a:pt x="2" y="4"/>
                    </a:lnTo>
                    <a:lnTo>
                      <a:pt x="2" y="4"/>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07" name="Freeform 1580"/>
              <p:cNvSpPr>
                <a:spLocks/>
              </p:cNvSpPr>
              <p:nvPr/>
            </p:nvSpPr>
            <p:spPr bwMode="auto">
              <a:xfrm>
                <a:off x="3926223" y="1745314"/>
                <a:ext cx="388866" cy="555744"/>
              </a:xfrm>
              <a:custGeom>
                <a:avLst/>
                <a:gdLst/>
                <a:ahLst/>
                <a:cxnLst>
                  <a:cxn ang="0">
                    <a:pos x="350" y="53"/>
                  </a:cxn>
                  <a:cxn ang="0">
                    <a:pos x="313" y="51"/>
                  </a:cxn>
                  <a:cxn ang="0">
                    <a:pos x="241" y="40"/>
                  </a:cxn>
                  <a:cxn ang="0">
                    <a:pos x="215" y="21"/>
                  </a:cxn>
                  <a:cxn ang="0">
                    <a:pos x="181" y="13"/>
                  </a:cxn>
                  <a:cxn ang="0">
                    <a:pos x="174" y="18"/>
                  </a:cxn>
                  <a:cxn ang="0">
                    <a:pos x="158" y="9"/>
                  </a:cxn>
                  <a:cxn ang="0">
                    <a:pos x="129" y="19"/>
                  </a:cxn>
                  <a:cxn ang="0">
                    <a:pos x="115" y="45"/>
                  </a:cxn>
                  <a:cxn ang="0">
                    <a:pos x="90" y="47"/>
                  </a:cxn>
                  <a:cxn ang="0">
                    <a:pos x="75" y="73"/>
                  </a:cxn>
                  <a:cxn ang="0">
                    <a:pos x="27" y="118"/>
                  </a:cxn>
                  <a:cxn ang="0">
                    <a:pos x="62" y="163"/>
                  </a:cxn>
                  <a:cxn ang="0">
                    <a:pos x="91" y="175"/>
                  </a:cxn>
                  <a:cxn ang="0">
                    <a:pos x="115" y="188"/>
                  </a:cxn>
                  <a:cxn ang="0">
                    <a:pos x="103" y="195"/>
                  </a:cxn>
                  <a:cxn ang="0">
                    <a:pos x="101" y="201"/>
                  </a:cxn>
                  <a:cxn ang="0">
                    <a:pos x="77" y="208"/>
                  </a:cxn>
                  <a:cxn ang="0">
                    <a:pos x="43" y="195"/>
                  </a:cxn>
                  <a:cxn ang="0">
                    <a:pos x="11" y="214"/>
                  </a:cxn>
                  <a:cxn ang="0">
                    <a:pos x="19" y="239"/>
                  </a:cxn>
                  <a:cxn ang="0">
                    <a:pos x="71" y="265"/>
                  </a:cxn>
                  <a:cxn ang="0">
                    <a:pos x="97" y="250"/>
                  </a:cxn>
                  <a:cxn ang="0">
                    <a:pos x="104" y="282"/>
                  </a:cxn>
                  <a:cxn ang="0">
                    <a:pos x="62" y="310"/>
                  </a:cxn>
                  <a:cxn ang="0">
                    <a:pos x="33" y="343"/>
                  </a:cxn>
                  <a:cxn ang="0">
                    <a:pos x="39" y="354"/>
                  </a:cxn>
                  <a:cxn ang="0">
                    <a:pos x="45" y="370"/>
                  </a:cxn>
                  <a:cxn ang="0">
                    <a:pos x="58" y="399"/>
                  </a:cxn>
                  <a:cxn ang="0">
                    <a:pos x="78" y="396"/>
                  </a:cxn>
                  <a:cxn ang="0">
                    <a:pos x="86" y="419"/>
                  </a:cxn>
                  <a:cxn ang="0">
                    <a:pos x="94" y="432"/>
                  </a:cxn>
                  <a:cxn ang="0">
                    <a:pos x="120" y="429"/>
                  </a:cxn>
                  <a:cxn ang="0">
                    <a:pos x="152" y="429"/>
                  </a:cxn>
                  <a:cxn ang="0">
                    <a:pos x="139" y="473"/>
                  </a:cxn>
                  <a:cxn ang="0">
                    <a:pos x="106" y="509"/>
                  </a:cxn>
                  <a:cxn ang="0">
                    <a:pos x="74" y="525"/>
                  </a:cxn>
                  <a:cxn ang="0">
                    <a:pos x="71" y="531"/>
                  </a:cxn>
                  <a:cxn ang="0">
                    <a:pos x="91" y="515"/>
                  </a:cxn>
                  <a:cxn ang="0">
                    <a:pos x="113" y="510"/>
                  </a:cxn>
                  <a:cxn ang="0">
                    <a:pos x="126" y="493"/>
                  </a:cxn>
                  <a:cxn ang="0">
                    <a:pos x="154" y="486"/>
                  </a:cxn>
                  <a:cxn ang="0">
                    <a:pos x="174" y="465"/>
                  </a:cxn>
                  <a:cxn ang="0">
                    <a:pos x="199" y="442"/>
                  </a:cxn>
                  <a:cxn ang="0">
                    <a:pos x="203" y="412"/>
                  </a:cxn>
                  <a:cxn ang="0">
                    <a:pos x="212" y="391"/>
                  </a:cxn>
                  <a:cxn ang="0">
                    <a:pos x="250" y="362"/>
                  </a:cxn>
                  <a:cxn ang="0">
                    <a:pos x="250" y="371"/>
                  </a:cxn>
                  <a:cxn ang="0">
                    <a:pos x="237" y="412"/>
                  </a:cxn>
                  <a:cxn ang="0">
                    <a:pos x="239" y="417"/>
                  </a:cxn>
                  <a:cxn ang="0">
                    <a:pos x="264" y="399"/>
                  </a:cxn>
                  <a:cxn ang="0">
                    <a:pos x="282" y="387"/>
                  </a:cxn>
                  <a:cxn ang="0">
                    <a:pos x="279" y="374"/>
                  </a:cxn>
                  <a:cxn ang="0">
                    <a:pos x="296" y="371"/>
                  </a:cxn>
                  <a:cxn ang="0">
                    <a:pos x="312" y="378"/>
                  </a:cxn>
                  <a:cxn ang="0">
                    <a:pos x="331" y="391"/>
                  </a:cxn>
                  <a:cxn ang="0">
                    <a:pos x="363" y="397"/>
                  </a:cxn>
                  <a:cxn ang="0">
                    <a:pos x="409" y="404"/>
                  </a:cxn>
                  <a:cxn ang="0">
                    <a:pos x="402" y="413"/>
                  </a:cxn>
                  <a:cxn ang="0">
                    <a:pos x="424" y="415"/>
                  </a:cxn>
                </a:cxnLst>
                <a:rect l="0" t="0" r="r" b="b"/>
                <a:pathLst>
                  <a:path w="424" h="534">
                    <a:moveTo>
                      <a:pt x="385" y="381"/>
                    </a:moveTo>
                    <a:lnTo>
                      <a:pt x="385" y="70"/>
                    </a:lnTo>
                    <a:lnTo>
                      <a:pt x="385" y="69"/>
                    </a:lnTo>
                    <a:lnTo>
                      <a:pt x="382" y="69"/>
                    </a:lnTo>
                    <a:lnTo>
                      <a:pt x="382" y="70"/>
                    </a:lnTo>
                    <a:lnTo>
                      <a:pt x="382" y="73"/>
                    </a:lnTo>
                    <a:lnTo>
                      <a:pt x="380" y="72"/>
                    </a:lnTo>
                    <a:lnTo>
                      <a:pt x="377" y="67"/>
                    </a:lnTo>
                    <a:lnTo>
                      <a:pt x="370" y="64"/>
                    </a:lnTo>
                    <a:lnTo>
                      <a:pt x="370" y="63"/>
                    </a:lnTo>
                    <a:lnTo>
                      <a:pt x="364" y="61"/>
                    </a:lnTo>
                    <a:lnTo>
                      <a:pt x="364" y="60"/>
                    </a:lnTo>
                    <a:lnTo>
                      <a:pt x="363" y="59"/>
                    </a:lnTo>
                    <a:lnTo>
                      <a:pt x="354" y="53"/>
                    </a:lnTo>
                    <a:lnTo>
                      <a:pt x="353" y="54"/>
                    </a:lnTo>
                    <a:lnTo>
                      <a:pt x="351" y="54"/>
                    </a:lnTo>
                    <a:lnTo>
                      <a:pt x="350" y="53"/>
                    </a:lnTo>
                    <a:lnTo>
                      <a:pt x="350" y="56"/>
                    </a:lnTo>
                    <a:lnTo>
                      <a:pt x="350" y="57"/>
                    </a:lnTo>
                    <a:lnTo>
                      <a:pt x="347" y="54"/>
                    </a:lnTo>
                    <a:lnTo>
                      <a:pt x="345" y="54"/>
                    </a:lnTo>
                    <a:lnTo>
                      <a:pt x="344" y="54"/>
                    </a:lnTo>
                    <a:lnTo>
                      <a:pt x="338" y="56"/>
                    </a:lnTo>
                    <a:lnTo>
                      <a:pt x="337" y="57"/>
                    </a:lnTo>
                    <a:lnTo>
                      <a:pt x="334" y="59"/>
                    </a:lnTo>
                    <a:lnTo>
                      <a:pt x="331" y="59"/>
                    </a:lnTo>
                    <a:lnTo>
                      <a:pt x="329" y="57"/>
                    </a:lnTo>
                    <a:lnTo>
                      <a:pt x="329" y="59"/>
                    </a:lnTo>
                    <a:lnTo>
                      <a:pt x="324" y="59"/>
                    </a:lnTo>
                    <a:lnTo>
                      <a:pt x="324" y="57"/>
                    </a:lnTo>
                    <a:lnTo>
                      <a:pt x="325" y="56"/>
                    </a:lnTo>
                    <a:lnTo>
                      <a:pt x="319" y="56"/>
                    </a:lnTo>
                    <a:lnTo>
                      <a:pt x="316" y="53"/>
                    </a:lnTo>
                    <a:lnTo>
                      <a:pt x="313" y="51"/>
                    </a:lnTo>
                    <a:lnTo>
                      <a:pt x="300" y="51"/>
                    </a:lnTo>
                    <a:lnTo>
                      <a:pt x="292" y="48"/>
                    </a:lnTo>
                    <a:lnTo>
                      <a:pt x="289" y="47"/>
                    </a:lnTo>
                    <a:lnTo>
                      <a:pt x="286" y="45"/>
                    </a:lnTo>
                    <a:lnTo>
                      <a:pt x="283" y="44"/>
                    </a:lnTo>
                    <a:lnTo>
                      <a:pt x="279" y="44"/>
                    </a:lnTo>
                    <a:lnTo>
                      <a:pt x="277" y="41"/>
                    </a:lnTo>
                    <a:lnTo>
                      <a:pt x="267" y="37"/>
                    </a:lnTo>
                    <a:lnTo>
                      <a:pt x="261" y="38"/>
                    </a:lnTo>
                    <a:lnTo>
                      <a:pt x="260" y="40"/>
                    </a:lnTo>
                    <a:lnTo>
                      <a:pt x="252" y="41"/>
                    </a:lnTo>
                    <a:lnTo>
                      <a:pt x="252" y="40"/>
                    </a:lnTo>
                    <a:lnTo>
                      <a:pt x="255" y="40"/>
                    </a:lnTo>
                    <a:lnTo>
                      <a:pt x="254" y="38"/>
                    </a:lnTo>
                    <a:lnTo>
                      <a:pt x="252" y="37"/>
                    </a:lnTo>
                    <a:lnTo>
                      <a:pt x="250" y="37"/>
                    </a:lnTo>
                    <a:lnTo>
                      <a:pt x="241" y="40"/>
                    </a:lnTo>
                    <a:lnTo>
                      <a:pt x="232" y="38"/>
                    </a:lnTo>
                    <a:lnTo>
                      <a:pt x="235" y="37"/>
                    </a:lnTo>
                    <a:lnTo>
                      <a:pt x="235" y="35"/>
                    </a:lnTo>
                    <a:lnTo>
                      <a:pt x="226" y="35"/>
                    </a:lnTo>
                    <a:lnTo>
                      <a:pt x="223" y="34"/>
                    </a:lnTo>
                    <a:lnTo>
                      <a:pt x="229" y="34"/>
                    </a:lnTo>
                    <a:lnTo>
                      <a:pt x="228" y="32"/>
                    </a:lnTo>
                    <a:lnTo>
                      <a:pt x="226" y="31"/>
                    </a:lnTo>
                    <a:lnTo>
                      <a:pt x="225" y="29"/>
                    </a:lnTo>
                    <a:lnTo>
                      <a:pt x="226" y="27"/>
                    </a:lnTo>
                    <a:lnTo>
                      <a:pt x="228" y="24"/>
                    </a:lnTo>
                    <a:lnTo>
                      <a:pt x="222" y="21"/>
                    </a:lnTo>
                    <a:lnTo>
                      <a:pt x="218" y="21"/>
                    </a:lnTo>
                    <a:lnTo>
                      <a:pt x="219" y="25"/>
                    </a:lnTo>
                    <a:lnTo>
                      <a:pt x="218" y="24"/>
                    </a:lnTo>
                    <a:lnTo>
                      <a:pt x="216" y="25"/>
                    </a:lnTo>
                    <a:lnTo>
                      <a:pt x="215" y="21"/>
                    </a:lnTo>
                    <a:lnTo>
                      <a:pt x="213" y="18"/>
                    </a:lnTo>
                    <a:lnTo>
                      <a:pt x="209" y="19"/>
                    </a:lnTo>
                    <a:lnTo>
                      <a:pt x="205" y="22"/>
                    </a:lnTo>
                    <a:lnTo>
                      <a:pt x="203" y="19"/>
                    </a:lnTo>
                    <a:lnTo>
                      <a:pt x="202" y="21"/>
                    </a:lnTo>
                    <a:lnTo>
                      <a:pt x="200" y="24"/>
                    </a:lnTo>
                    <a:lnTo>
                      <a:pt x="197" y="24"/>
                    </a:lnTo>
                    <a:lnTo>
                      <a:pt x="196" y="22"/>
                    </a:lnTo>
                    <a:lnTo>
                      <a:pt x="193" y="22"/>
                    </a:lnTo>
                    <a:lnTo>
                      <a:pt x="192" y="21"/>
                    </a:lnTo>
                    <a:lnTo>
                      <a:pt x="193" y="19"/>
                    </a:lnTo>
                    <a:lnTo>
                      <a:pt x="190" y="12"/>
                    </a:lnTo>
                    <a:lnTo>
                      <a:pt x="186" y="11"/>
                    </a:lnTo>
                    <a:lnTo>
                      <a:pt x="186" y="13"/>
                    </a:lnTo>
                    <a:lnTo>
                      <a:pt x="183" y="11"/>
                    </a:lnTo>
                    <a:lnTo>
                      <a:pt x="184" y="13"/>
                    </a:lnTo>
                    <a:lnTo>
                      <a:pt x="181" y="13"/>
                    </a:lnTo>
                    <a:lnTo>
                      <a:pt x="180" y="15"/>
                    </a:lnTo>
                    <a:lnTo>
                      <a:pt x="180" y="19"/>
                    </a:lnTo>
                    <a:lnTo>
                      <a:pt x="183" y="22"/>
                    </a:lnTo>
                    <a:lnTo>
                      <a:pt x="181" y="24"/>
                    </a:lnTo>
                    <a:lnTo>
                      <a:pt x="183" y="28"/>
                    </a:lnTo>
                    <a:lnTo>
                      <a:pt x="180" y="27"/>
                    </a:lnTo>
                    <a:lnTo>
                      <a:pt x="180" y="25"/>
                    </a:lnTo>
                    <a:lnTo>
                      <a:pt x="178" y="24"/>
                    </a:lnTo>
                    <a:lnTo>
                      <a:pt x="177" y="25"/>
                    </a:lnTo>
                    <a:lnTo>
                      <a:pt x="176" y="22"/>
                    </a:lnTo>
                    <a:lnTo>
                      <a:pt x="174" y="25"/>
                    </a:lnTo>
                    <a:lnTo>
                      <a:pt x="170" y="22"/>
                    </a:lnTo>
                    <a:lnTo>
                      <a:pt x="168" y="22"/>
                    </a:lnTo>
                    <a:lnTo>
                      <a:pt x="167" y="22"/>
                    </a:lnTo>
                    <a:lnTo>
                      <a:pt x="170" y="18"/>
                    </a:lnTo>
                    <a:lnTo>
                      <a:pt x="171" y="19"/>
                    </a:lnTo>
                    <a:lnTo>
                      <a:pt x="174" y="18"/>
                    </a:lnTo>
                    <a:lnTo>
                      <a:pt x="178" y="13"/>
                    </a:lnTo>
                    <a:lnTo>
                      <a:pt x="178" y="11"/>
                    </a:lnTo>
                    <a:lnTo>
                      <a:pt x="178" y="9"/>
                    </a:lnTo>
                    <a:lnTo>
                      <a:pt x="176" y="8"/>
                    </a:lnTo>
                    <a:lnTo>
                      <a:pt x="171" y="8"/>
                    </a:lnTo>
                    <a:lnTo>
                      <a:pt x="171" y="8"/>
                    </a:lnTo>
                    <a:lnTo>
                      <a:pt x="170" y="5"/>
                    </a:lnTo>
                    <a:lnTo>
                      <a:pt x="168" y="3"/>
                    </a:lnTo>
                    <a:lnTo>
                      <a:pt x="167" y="5"/>
                    </a:lnTo>
                    <a:lnTo>
                      <a:pt x="164" y="3"/>
                    </a:lnTo>
                    <a:lnTo>
                      <a:pt x="162" y="0"/>
                    </a:lnTo>
                    <a:lnTo>
                      <a:pt x="161" y="2"/>
                    </a:lnTo>
                    <a:lnTo>
                      <a:pt x="160" y="3"/>
                    </a:lnTo>
                    <a:lnTo>
                      <a:pt x="158" y="5"/>
                    </a:lnTo>
                    <a:lnTo>
                      <a:pt x="158" y="6"/>
                    </a:lnTo>
                    <a:lnTo>
                      <a:pt x="158" y="6"/>
                    </a:lnTo>
                    <a:lnTo>
                      <a:pt x="158" y="9"/>
                    </a:lnTo>
                    <a:lnTo>
                      <a:pt x="157" y="11"/>
                    </a:lnTo>
                    <a:lnTo>
                      <a:pt x="155" y="9"/>
                    </a:lnTo>
                    <a:lnTo>
                      <a:pt x="155" y="9"/>
                    </a:lnTo>
                    <a:lnTo>
                      <a:pt x="151" y="16"/>
                    </a:lnTo>
                    <a:lnTo>
                      <a:pt x="144" y="22"/>
                    </a:lnTo>
                    <a:lnTo>
                      <a:pt x="138" y="22"/>
                    </a:lnTo>
                    <a:lnTo>
                      <a:pt x="139" y="24"/>
                    </a:lnTo>
                    <a:lnTo>
                      <a:pt x="132" y="25"/>
                    </a:lnTo>
                    <a:lnTo>
                      <a:pt x="126" y="24"/>
                    </a:lnTo>
                    <a:lnTo>
                      <a:pt x="128" y="25"/>
                    </a:lnTo>
                    <a:lnTo>
                      <a:pt x="126" y="27"/>
                    </a:lnTo>
                    <a:lnTo>
                      <a:pt x="126" y="29"/>
                    </a:lnTo>
                    <a:lnTo>
                      <a:pt x="122" y="27"/>
                    </a:lnTo>
                    <a:lnTo>
                      <a:pt x="123" y="25"/>
                    </a:lnTo>
                    <a:lnTo>
                      <a:pt x="125" y="22"/>
                    </a:lnTo>
                    <a:lnTo>
                      <a:pt x="128" y="21"/>
                    </a:lnTo>
                    <a:lnTo>
                      <a:pt x="129" y="19"/>
                    </a:lnTo>
                    <a:lnTo>
                      <a:pt x="120" y="24"/>
                    </a:lnTo>
                    <a:lnTo>
                      <a:pt x="117" y="27"/>
                    </a:lnTo>
                    <a:lnTo>
                      <a:pt x="116" y="28"/>
                    </a:lnTo>
                    <a:lnTo>
                      <a:pt x="116" y="29"/>
                    </a:lnTo>
                    <a:lnTo>
                      <a:pt x="113" y="31"/>
                    </a:lnTo>
                    <a:lnTo>
                      <a:pt x="115" y="32"/>
                    </a:lnTo>
                    <a:lnTo>
                      <a:pt x="116" y="32"/>
                    </a:lnTo>
                    <a:lnTo>
                      <a:pt x="117" y="35"/>
                    </a:lnTo>
                    <a:lnTo>
                      <a:pt x="120" y="37"/>
                    </a:lnTo>
                    <a:lnTo>
                      <a:pt x="122" y="37"/>
                    </a:lnTo>
                    <a:lnTo>
                      <a:pt x="119" y="38"/>
                    </a:lnTo>
                    <a:lnTo>
                      <a:pt x="117" y="38"/>
                    </a:lnTo>
                    <a:lnTo>
                      <a:pt x="116" y="41"/>
                    </a:lnTo>
                    <a:lnTo>
                      <a:pt x="117" y="43"/>
                    </a:lnTo>
                    <a:lnTo>
                      <a:pt x="117" y="45"/>
                    </a:lnTo>
                    <a:lnTo>
                      <a:pt x="116" y="47"/>
                    </a:lnTo>
                    <a:lnTo>
                      <a:pt x="115" y="45"/>
                    </a:lnTo>
                    <a:lnTo>
                      <a:pt x="115" y="43"/>
                    </a:lnTo>
                    <a:lnTo>
                      <a:pt x="112" y="44"/>
                    </a:lnTo>
                    <a:lnTo>
                      <a:pt x="113" y="41"/>
                    </a:lnTo>
                    <a:lnTo>
                      <a:pt x="113" y="38"/>
                    </a:lnTo>
                    <a:lnTo>
                      <a:pt x="115" y="37"/>
                    </a:lnTo>
                    <a:lnTo>
                      <a:pt x="115" y="34"/>
                    </a:lnTo>
                    <a:lnTo>
                      <a:pt x="112" y="34"/>
                    </a:lnTo>
                    <a:lnTo>
                      <a:pt x="104" y="38"/>
                    </a:lnTo>
                    <a:lnTo>
                      <a:pt x="104" y="40"/>
                    </a:lnTo>
                    <a:lnTo>
                      <a:pt x="107" y="38"/>
                    </a:lnTo>
                    <a:lnTo>
                      <a:pt x="106" y="41"/>
                    </a:lnTo>
                    <a:lnTo>
                      <a:pt x="94" y="48"/>
                    </a:lnTo>
                    <a:lnTo>
                      <a:pt x="90" y="50"/>
                    </a:lnTo>
                    <a:lnTo>
                      <a:pt x="87" y="53"/>
                    </a:lnTo>
                    <a:lnTo>
                      <a:pt x="88" y="50"/>
                    </a:lnTo>
                    <a:lnTo>
                      <a:pt x="88" y="48"/>
                    </a:lnTo>
                    <a:lnTo>
                      <a:pt x="90" y="47"/>
                    </a:lnTo>
                    <a:lnTo>
                      <a:pt x="87" y="45"/>
                    </a:lnTo>
                    <a:lnTo>
                      <a:pt x="84" y="53"/>
                    </a:lnTo>
                    <a:lnTo>
                      <a:pt x="84" y="56"/>
                    </a:lnTo>
                    <a:lnTo>
                      <a:pt x="88" y="60"/>
                    </a:lnTo>
                    <a:lnTo>
                      <a:pt x="91" y="61"/>
                    </a:lnTo>
                    <a:lnTo>
                      <a:pt x="91" y="63"/>
                    </a:lnTo>
                    <a:lnTo>
                      <a:pt x="84" y="59"/>
                    </a:lnTo>
                    <a:lnTo>
                      <a:pt x="83" y="57"/>
                    </a:lnTo>
                    <a:lnTo>
                      <a:pt x="80" y="57"/>
                    </a:lnTo>
                    <a:lnTo>
                      <a:pt x="74" y="66"/>
                    </a:lnTo>
                    <a:lnTo>
                      <a:pt x="75" y="67"/>
                    </a:lnTo>
                    <a:lnTo>
                      <a:pt x="83" y="67"/>
                    </a:lnTo>
                    <a:lnTo>
                      <a:pt x="81" y="69"/>
                    </a:lnTo>
                    <a:lnTo>
                      <a:pt x="74" y="69"/>
                    </a:lnTo>
                    <a:lnTo>
                      <a:pt x="72" y="69"/>
                    </a:lnTo>
                    <a:lnTo>
                      <a:pt x="72" y="70"/>
                    </a:lnTo>
                    <a:lnTo>
                      <a:pt x="75" y="73"/>
                    </a:lnTo>
                    <a:lnTo>
                      <a:pt x="78" y="76"/>
                    </a:lnTo>
                    <a:lnTo>
                      <a:pt x="77" y="76"/>
                    </a:lnTo>
                    <a:lnTo>
                      <a:pt x="72" y="73"/>
                    </a:lnTo>
                    <a:lnTo>
                      <a:pt x="72" y="75"/>
                    </a:lnTo>
                    <a:lnTo>
                      <a:pt x="70" y="83"/>
                    </a:lnTo>
                    <a:lnTo>
                      <a:pt x="70" y="85"/>
                    </a:lnTo>
                    <a:lnTo>
                      <a:pt x="70" y="80"/>
                    </a:lnTo>
                    <a:lnTo>
                      <a:pt x="64" y="93"/>
                    </a:lnTo>
                    <a:lnTo>
                      <a:pt x="58" y="99"/>
                    </a:lnTo>
                    <a:lnTo>
                      <a:pt x="32" y="105"/>
                    </a:lnTo>
                    <a:lnTo>
                      <a:pt x="29" y="105"/>
                    </a:lnTo>
                    <a:lnTo>
                      <a:pt x="32" y="104"/>
                    </a:lnTo>
                    <a:lnTo>
                      <a:pt x="32" y="102"/>
                    </a:lnTo>
                    <a:lnTo>
                      <a:pt x="26" y="104"/>
                    </a:lnTo>
                    <a:lnTo>
                      <a:pt x="25" y="118"/>
                    </a:lnTo>
                    <a:lnTo>
                      <a:pt x="26" y="118"/>
                    </a:lnTo>
                    <a:lnTo>
                      <a:pt x="27" y="118"/>
                    </a:lnTo>
                    <a:lnTo>
                      <a:pt x="26" y="120"/>
                    </a:lnTo>
                    <a:lnTo>
                      <a:pt x="22" y="121"/>
                    </a:lnTo>
                    <a:lnTo>
                      <a:pt x="22" y="122"/>
                    </a:lnTo>
                    <a:lnTo>
                      <a:pt x="20" y="122"/>
                    </a:lnTo>
                    <a:lnTo>
                      <a:pt x="22" y="121"/>
                    </a:lnTo>
                    <a:lnTo>
                      <a:pt x="23" y="120"/>
                    </a:lnTo>
                    <a:lnTo>
                      <a:pt x="17" y="122"/>
                    </a:lnTo>
                    <a:lnTo>
                      <a:pt x="17" y="124"/>
                    </a:lnTo>
                    <a:lnTo>
                      <a:pt x="26" y="127"/>
                    </a:lnTo>
                    <a:lnTo>
                      <a:pt x="30" y="133"/>
                    </a:lnTo>
                    <a:lnTo>
                      <a:pt x="36" y="137"/>
                    </a:lnTo>
                    <a:lnTo>
                      <a:pt x="39" y="137"/>
                    </a:lnTo>
                    <a:lnTo>
                      <a:pt x="56" y="153"/>
                    </a:lnTo>
                    <a:lnTo>
                      <a:pt x="56" y="154"/>
                    </a:lnTo>
                    <a:lnTo>
                      <a:pt x="59" y="156"/>
                    </a:lnTo>
                    <a:lnTo>
                      <a:pt x="61" y="162"/>
                    </a:lnTo>
                    <a:lnTo>
                      <a:pt x="62" y="163"/>
                    </a:lnTo>
                    <a:lnTo>
                      <a:pt x="61" y="163"/>
                    </a:lnTo>
                    <a:lnTo>
                      <a:pt x="62" y="170"/>
                    </a:lnTo>
                    <a:lnTo>
                      <a:pt x="75" y="176"/>
                    </a:lnTo>
                    <a:lnTo>
                      <a:pt x="74" y="175"/>
                    </a:lnTo>
                    <a:lnTo>
                      <a:pt x="75" y="173"/>
                    </a:lnTo>
                    <a:lnTo>
                      <a:pt x="75" y="172"/>
                    </a:lnTo>
                    <a:lnTo>
                      <a:pt x="80" y="172"/>
                    </a:lnTo>
                    <a:lnTo>
                      <a:pt x="80" y="170"/>
                    </a:lnTo>
                    <a:lnTo>
                      <a:pt x="80" y="169"/>
                    </a:lnTo>
                    <a:lnTo>
                      <a:pt x="81" y="169"/>
                    </a:lnTo>
                    <a:lnTo>
                      <a:pt x="81" y="169"/>
                    </a:lnTo>
                    <a:lnTo>
                      <a:pt x="78" y="175"/>
                    </a:lnTo>
                    <a:lnTo>
                      <a:pt x="80" y="176"/>
                    </a:lnTo>
                    <a:lnTo>
                      <a:pt x="83" y="175"/>
                    </a:lnTo>
                    <a:lnTo>
                      <a:pt x="87" y="173"/>
                    </a:lnTo>
                    <a:lnTo>
                      <a:pt x="90" y="173"/>
                    </a:lnTo>
                    <a:lnTo>
                      <a:pt x="91" y="175"/>
                    </a:lnTo>
                    <a:lnTo>
                      <a:pt x="93" y="176"/>
                    </a:lnTo>
                    <a:lnTo>
                      <a:pt x="93" y="178"/>
                    </a:lnTo>
                    <a:lnTo>
                      <a:pt x="90" y="179"/>
                    </a:lnTo>
                    <a:lnTo>
                      <a:pt x="88" y="184"/>
                    </a:lnTo>
                    <a:lnTo>
                      <a:pt x="91" y="188"/>
                    </a:lnTo>
                    <a:lnTo>
                      <a:pt x="96" y="191"/>
                    </a:lnTo>
                    <a:lnTo>
                      <a:pt x="97" y="189"/>
                    </a:lnTo>
                    <a:lnTo>
                      <a:pt x="97" y="186"/>
                    </a:lnTo>
                    <a:lnTo>
                      <a:pt x="97" y="186"/>
                    </a:lnTo>
                    <a:lnTo>
                      <a:pt x="97" y="189"/>
                    </a:lnTo>
                    <a:lnTo>
                      <a:pt x="99" y="189"/>
                    </a:lnTo>
                    <a:lnTo>
                      <a:pt x="99" y="188"/>
                    </a:lnTo>
                    <a:lnTo>
                      <a:pt x="103" y="188"/>
                    </a:lnTo>
                    <a:lnTo>
                      <a:pt x="107" y="191"/>
                    </a:lnTo>
                    <a:lnTo>
                      <a:pt x="110" y="189"/>
                    </a:lnTo>
                    <a:lnTo>
                      <a:pt x="113" y="186"/>
                    </a:lnTo>
                    <a:lnTo>
                      <a:pt x="115" y="188"/>
                    </a:lnTo>
                    <a:lnTo>
                      <a:pt x="117" y="186"/>
                    </a:lnTo>
                    <a:lnTo>
                      <a:pt x="120" y="186"/>
                    </a:lnTo>
                    <a:lnTo>
                      <a:pt x="120" y="188"/>
                    </a:lnTo>
                    <a:lnTo>
                      <a:pt x="113" y="191"/>
                    </a:lnTo>
                    <a:lnTo>
                      <a:pt x="113" y="192"/>
                    </a:lnTo>
                    <a:lnTo>
                      <a:pt x="113" y="192"/>
                    </a:lnTo>
                    <a:lnTo>
                      <a:pt x="115" y="192"/>
                    </a:lnTo>
                    <a:lnTo>
                      <a:pt x="120" y="189"/>
                    </a:lnTo>
                    <a:lnTo>
                      <a:pt x="122" y="191"/>
                    </a:lnTo>
                    <a:lnTo>
                      <a:pt x="122" y="192"/>
                    </a:lnTo>
                    <a:lnTo>
                      <a:pt x="120" y="194"/>
                    </a:lnTo>
                    <a:lnTo>
                      <a:pt x="115" y="195"/>
                    </a:lnTo>
                    <a:lnTo>
                      <a:pt x="112" y="195"/>
                    </a:lnTo>
                    <a:lnTo>
                      <a:pt x="112" y="197"/>
                    </a:lnTo>
                    <a:lnTo>
                      <a:pt x="106" y="198"/>
                    </a:lnTo>
                    <a:lnTo>
                      <a:pt x="104" y="198"/>
                    </a:lnTo>
                    <a:lnTo>
                      <a:pt x="103" y="195"/>
                    </a:lnTo>
                    <a:lnTo>
                      <a:pt x="101" y="195"/>
                    </a:lnTo>
                    <a:lnTo>
                      <a:pt x="100" y="194"/>
                    </a:lnTo>
                    <a:lnTo>
                      <a:pt x="99" y="194"/>
                    </a:lnTo>
                    <a:lnTo>
                      <a:pt x="99" y="192"/>
                    </a:lnTo>
                    <a:lnTo>
                      <a:pt x="97" y="192"/>
                    </a:lnTo>
                    <a:lnTo>
                      <a:pt x="96" y="194"/>
                    </a:lnTo>
                    <a:lnTo>
                      <a:pt x="90" y="194"/>
                    </a:lnTo>
                    <a:lnTo>
                      <a:pt x="88" y="191"/>
                    </a:lnTo>
                    <a:lnTo>
                      <a:pt x="86" y="186"/>
                    </a:lnTo>
                    <a:lnTo>
                      <a:pt x="88" y="194"/>
                    </a:lnTo>
                    <a:lnTo>
                      <a:pt x="87" y="197"/>
                    </a:lnTo>
                    <a:lnTo>
                      <a:pt x="87" y="199"/>
                    </a:lnTo>
                    <a:lnTo>
                      <a:pt x="90" y="199"/>
                    </a:lnTo>
                    <a:lnTo>
                      <a:pt x="88" y="199"/>
                    </a:lnTo>
                    <a:lnTo>
                      <a:pt x="90" y="197"/>
                    </a:lnTo>
                    <a:lnTo>
                      <a:pt x="100" y="199"/>
                    </a:lnTo>
                    <a:lnTo>
                      <a:pt x="101" y="201"/>
                    </a:lnTo>
                    <a:lnTo>
                      <a:pt x="101" y="202"/>
                    </a:lnTo>
                    <a:lnTo>
                      <a:pt x="99" y="205"/>
                    </a:lnTo>
                    <a:lnTo>
                      <a:pt x="100" y="204"/>
                    </a:lnTo>
                    <a:lnTo>
                      <a:pt x="99" y="202"/>
                    </a:lnTo>
                    <a:lnTo>
                      <a:pt x="94" y="201"/>
                    </a:lnTo>
                    <a:lnTo>
                      <a:pt x="90" y="208"/>
                    </a:lnTo>
                    <a:lnTo>
                      <a:pt x="90" y="211"/>
                    </a:lnTo>
                    <a:lnTo>
                      <a:pt x="90" y="211"/>
                    </a:lnTo>
                    <a:lnTo>
                      <a:pt x="87" y="211"/>
                    </a:lnTo>
                    <a:lnTo>
                      <a:pt x="87" y="210"/>
                    </a:lnTo>
                    <a:lnTo>
                      <a:pt x="86" y="208"/>
                    </a:lnTo>
                    <a:lnTo>
                      <a:pt x="83" y="208"/>
                    </a:lnTo>
                    <a:lnTo>
                      <a:pt x="83" y="210"/>
                    </a:lnTo>
                    <a:lnTo>
                      <a:pt x="81" y="208"/>
                    </a:lnTo>
                    <a:lnTo>
                      <a:pt x="78" y="208"/>
                    </a:lnTo>
                    <a:lnTo>
                      <a:pt x="77" y="208"/>
                    </a:lnTo>
                    <a:lnTo>
                      <a:pt x="77" y="208"/>
                    </a:lnTo>
                    <a:lnTo>
                      <a:pt x="77" y="207"/>
                    </a:lnTo>
                    <a:lnTo>
                      <a:pt x="74" y="207"/>
                    </a:lnTo>
                    <a:lnTo>
                      <a:pt x="74" y="208"/>
                    </a:lnTo>
                    <a:lnTo>
                      <a:pt x="72" y="208"/>
                    </a:lnTo>
                    <a:lnTo>
                      <a:pt x="64" y="208"/>
                    </a:lnTo>
                    <a:lnTo>
                      <a:pt x="61" y="207"/>
                    </a:lnTo>
                    <a:lnTo>
                      <a:pt x="61" y="204"/>
                    </a:lnTo>
                    <a:lnTo>
                      <a:pt x="56" y="204"/>
                    </a:lnTo>
                    <a:lnTo>
                      <a:pt x="61" y="199"/>
                    </a:lnTo>
                    <a:lnTo>
                      <a:pt x="61" y="197"/>
                    </a:lnTo>
                    <a:lnTo>
                      <a:pt x="61" y="194"/>
                    </a:lnTo>
                    <a:lnTo>
                      <a:pt x="61" y="191"/>
                    </a:lnTo>
                    <a:lnTo>
                      <a:pt x="58" y="189"/>
                    </a:lnTo>
                    <a:lnTo>
                      <a:pt x="59" y="189"/>
                    </a:lnTo>
                    <a:lnTo>
                      <a:pt x="64" y="189"/>
                    </a:lnTo>
                    <a:lnTo>
                      <a:pt x="48" y="189"/>
                    </a:lnTo>
                    <a:lnTo>
                      <a:pt x="43" y="195"/>
                    </a:lnTo>
                    <a:lnTo>
                      <a:pt x="41" y="195"/>
                    </a:lnTo>
                    <a:lnTo>
                      <a:pt x="39" y="197"/>
                    </a:lnTo>
                    <a:lnTo>
                      <a:pt x="38" y="195"/>
                    </a:lnTo>
                    <a:lnTo>
                      <a:pt x="32" y="201"/>
                    </a:lnTo>
                    <a:lnTo>
                      <a:pt x="35" y="202"/>
                    </a:lnTo>
                    <a:lnTo>
                      <a:pt x="36" y="205"/>
                    </a:lnTo>
                    <a:lnTo>
                      <a:pt x="35" y="207"/>
                    </a:lnTo>
                    <a:lnTo>
                      <a:pt x="29" y="207"/>
                    </a:lnTo>
                    <a:lnTo>
                      <a:pt x="27" y="205"/>
                    </a:lnTo>
                    <a:lnTo>
                      <a:pt x="27" y="204"/>
                    </a:lnTo>
                    <a:lnTo>
                      <a:pt x="19" y="208"/>
                    </a:lnTo>
                    <a:lnTo>
                      <a:pt x="17" y="211"/>
                    </a:lnTo>
                    <a:lnTo>
                      <a:pt x="17" y="210"/>
                    </a:lnTo>
                    <a:lnTo>
                      <a:pt x="16" y="211"/>
                    </a:lnTo>
                    <a:lnTo>
                      <a:pt x="16" y="214"/>
                    </a:lnTo>
                    <a:lnTo>
                      <a:pt x="13" y="215"/>
                    </a:lnTo>
                    <a:lnTo>
                      <a:pt x="11" y="214"/>
                    </a:lnTo>
                    <a:lnTo>
                      <a:pt x="9" y="215"/>
                    </a:lnTo>
                    <a:lnTo>
                      <a:pt x="7" y="217"/>
                    </a:lnTo>
                    <a:lnTo>
                      <a:pt x="7" y="218"/>
                    </a:lnTo>
                    <a:lnTo>
                      <a:pt x="9" y="220"/>
                    </a:lnTo>
                    <a:lnTo>
                      <a:pt x="3" y="223"/>
                    </a:lnTo>
                    <a:lnTo>
                      <a:pt x="1" y="223"/>
                    </a:lnTo>
                    <a:lnTo>
                      <a:pt x="3" y="220"/>
                    </a:lnTo>
                    <a:lnTo>
                      <a:pt x="0" y="221"/>
                    </a:lnTo>
                    <a:lnTo>
                      <a:pt x="0" y="224"/>
                    </a:lnTo>
                    <a:lnTo>
                      <a:pt x="10" y="231"/>
                    </a:lnTo>
                    <a:lnTo>
                      <a:pt x="17" y="234"/>
                    </a:lnTo>
                    <a:lnTo>
                      <a:pt x="19" y="233"/>
                    </a:lnTo>
                    <a:lnTo>
                      <a:pt x="17" y="231"/>
                    </a:lnTo>
                    <a:lnTo>
                      <a:pt x="27" y="234"/>
                    </a:lnTo>
                    <a:lnTo>
                      <a:pt x="23" y="237"/>
                    </a:lnTo>
                    <a:lnTo>
                      <a:pt x="20" y="240"/>
                    </a:lnTo>
                    <a:lnTo>
                      <a:pt x="19" y="239"/>
                    </a:lnTo>
                    <a:lnTo>
                      <a:pt x="19" y="237"/>
                    </a:lnTo>
                    <a:lnTo>
                      <a:pt x="17" y="236"/>
                    </a:lnTo>
                    <a:lnTo>
                      <a:pt x="17" y="239"/>
                    </a:lnTo>
                    <a:lnTo>
                      <a:pt x="20" y="245"/>
                    </a:lnTo>
                    <a:lnTo>
                      <a:pt x="23" y="247"/>
                    </a:lnTo>
                    <a:lnTo>
                      <a:pt x="23" y="250"/>
                    </a:lnTo>
                    <a:lnTo>
                      <a:pt x="23" y="253"/>
                    </a:lnTo>
                    <a:lnTo>
                      <a:pt x="25" y="258"/>
                    </a:lnTo>
                    <a:lnTo>
                      <a:pt x="26" y="258"/>
                    </a:lnTo>
                    <a:lnTo>
                      <a:pt x="27" y="259"/>
                    </a:lnTo>
                    <a:lnTo>
                      <a:pt x="41" y="261"/>
                    </a:lnTo>
                    <a:lnTo>
                      <a:pt x="46" y="263"/>
                    </a:lnTo>
                    <a:lnTo>
                      <a:pt x="54" y="259"/>
                    </a:lnTo>
                    <a:lnTo>
                      <a:pt x="59" y="261"/>
                    </a:lnTo>
                    <a:lnTo>
                      <a:pt x="64" y="259"/>
                    </a:lnTo>
                    <a:lnTo>
                      <a:pt x="68" y="261"/>
                    </a:lnTo>
                    <a:lnTo>
                      <a:pt x="71" y="265"/>
                    </a:lnTo>
                    <a:lnTo>
                      <a:pt x="71" y="263"/>
                    </a:lnTo>
                    <a:lnTo>
                      <a:pt x="72" y="261"/>
                    </a:lnTo>
                    <a:lnTo>
                      <a:pt x="70" y="261"/>
                    </a:lnTo>
                    <a:lnTo>
                      <a:pt x="68" y="259"/>
                    </a:lnTo>
                    <a:lnTo>
                      <a:pt x="67" y="258"/>
                    </a:lnTo>
                    <a:lnTo>
                      <a:pt x="71" y="258"/>
                    </a:lnTo>
                    <a:lnTo>
                      <a:pt x="72" y="259"/>
                    </a:lnTo>
                    <a:lnTo>
                      <a:pt x="74" y="261"/>
                    </a:lnTo>
                    <a:lnTo>
                      <a:pt x="75" y="268"/>
                    </a:lnTo>
                    <a:lnTo>
                      <a:pt x="77" y="268"/>
                    </a:lnTo>
                    <a:lnTo>
                      <a:pt x="80" y="261"/>
                    </a:lnTo>
                    <a:lnTo>
                      <a:pt x="86" y="255"/>
                    </a:lnTo>
                    <a:lnTo>
                      <a:pt x="90" y="253"/>
                    </a:lnTo>
                    <a:lnTo>
                      <a:pt x="90" y="250"/>
                    </a:lnTo>
                    <a:lnTo>
                      <a:pt x="94" y="252"/>
                    </a:lnTo>
                    <a:lnTo>
                      <a:pt x="96" y="252"/>
                    </a:lnTo>
                    <a:lnTo>
                      <a:pt x="97" y="250"/>
                    </a:lnTo>
                    <a:lnTo>
                      <a:pt x="100" y="249"/>
                    </a:lnTo>
                    <a:lnTo>
                      <a:pt x="103" y="252"/>
                    </a:lnTo>
                    <a:lnTo>
                      <a:pt x="104" y="252"/>
                    </a:lnTo>
                    <a:lnTo>
                      <a:pt x="104" y="256"/>
                    </a:lnTo>
                    <a:lnTo>
                      <a:pt x="101" y="261"/>
                    </a:lnTo>
                    <a:lnTo>
                      <a:pt x="99" y="262"/>
                    </a:lnTo>
                    <a:lnTo>
                      <a:pt x="97" y="261"/>
                    </a:lnTo>
                    <a:lnTo>
                      <a:pt x="94" y="261"/>
                    </a:lnTo>
                    <a:lnTo>
                      <a:pt x="94" y="263"/>
                    </a:lnTo>
                    <a:lnTo>
                      <a:pt x="94" y="265"/>
                    </a:lnTo>
                    <a:lnTo>
                      <a:pt x="96" y="263"/>
                    </a:lnTo>
                    <a:lnTo>
                      <a:pt x="99" y="265"/>
                    </a:lnTo>
                    <a:lnTo>
                      <a:pt x="103" y="274"/>
                    </a:lnTo>
                    <a:lnTo>
                      <a:pt x="101" y="277"/>
                    </a:lnTo>
                    <a:lnTo>
                      <a:pt x="101" y="277"/>
                    </a:lnTo>
                    <a:lnTo>
                      <a:pt x="103" y="278"/>
                    </a:lnTo>
                    <a:lnTo>
                      <a:pt x="104" y="282"/>
                    </a:lnTo>
                    <a:lnTo>
                      <a:pt x="104" y="285"/>
                    </a:lnTo>
                    <a:lnTo>
                      <a:pt x="100" y="292"/>
                    </a:lnTo>
                    <a:lnTo>
                      <a:pt x="97" y="294"/>
                    </a:lnTo>
                    <a:lnTo>
                      <a:pt x="96" y="295"/>
                    </a:lnTo>
                    <a:lnTo>
                      <a:pt x="93" y="295"/>
                    </a:lnTo>
                    <a:lnTo>
                      <a:pt x="91" y="297"/>
                    </a:lnTo>
                    <a:lnTo>
                      <a:pt x="88" y="295"/>
                    </a:lnTo>
                    <a:lnTo>
                      <a:pt x="84" y="297"/>
                    </a:lnTo>
                    <a:lnTo>
                      <a:pt x="83" y="297"/>
                    </a:lnTo>
                    <a:lnTo>
                      <a:pt x="86" y="295"/>
                    </a:lnTo>
                    <a:lnTo>
                      <a:pt x="86" y="294"/>
                    </a:lnTo>
                    <a:lnTo>
                      <a:pt x="83" y="294"/>
                    </a:lnTo>
                    <a:lnTo>
                      <a:pt x="72" y="307"/>
                    </a:lnTo>
                    <a:lnTo>
                      <a:pt x="70" y="308"/>
                    </a:lnTo>
                    <a:lnTo>
                      <a:pt x="67" y="307"/>
                    </a:lnTo>
                    <a:lnTo>
                      <a:pt x="65" y="307"/>
                    </a:lnTo>
                    <a:lnTo>
                      <a:pt x="62" y="310"/>
                    </a:lnTo>
                    <a:lnTo>
                      <a:pt x="56" y="311"/>
                    </a:lnTo>
                    <a:lnTo>
                      <a:pt x="56" y="313"/>
                    </a:lnTo>
                    <a:lnTo>
                      <a:pt x="56" y="314"/>
                    </a:lnTo>
                    <a:lnTo>
                      <a:pt x="56" y="314"/>
                    </a:lnTo>
                    <a:lnTo>
                      <a:pt x="56" y="317"/>
                    </a:lnTo>
                    <a:lnTo>
                      <a:pt x="56" y="319"/>
                    </a:lnTo>
                    <a:lnTo>
                      <a:pt x="52" y="317"/>
                    </a:lnTo>
                    <a:lnTo>
                      <a:pt x="49" y="319"/>
                    </a:lnTo>
                    <a:lnTo>
                      <a:pt x="46" y="322"/>
                    </a:lnTo>
                    <a:lnTo>
                      <a:pt x="45" y="324"/>
                    </a:lnTo>
                    <a:lnTo>
                      <a:pt x="43" y="323"/>
                    </a:lnTo>
                    <a:lnTo>
                      <a:pt x="42" y="323"/>
                    </a:lnTo>
                    <a:lnTo>
                      <a:pt x="38" y="329"/>
                    </a:lnTo>
                    <a:lnTo>
                      <a:pt x="36" y="329"/>
                    </a:lnTo>
                    <a:lnTo>
                      <a:pt x="35" y="330"/>
                    </a:lnTo>
                    <a:lnTo>
                      <a:pt x="33" y="338"/>
                    </a:lnTo>
                    <a:lnTo>
                      <a:pt x="33" y="343"/>
                    </a:lnTo>
                    <a:lnTo>
                      <a:pt x="32" y="345"/>
                    </a:lnTo>
                    <a:lnTo>
                      <a:pt x="29" y="346"/>
                    </a:lnTo>
                    <a:lnTo>
                      <a:pt x="27" y="345"/>
                    </a:lnTo>
                    <a:lnTo>
                      <a:pt x="27" y="346"/>
                    </a:lnTo>
                    <a:lnTo>
                      <a:pt x="27" y="348"/>
                    </a:lnTo>
                    <a:lnTo>
                      <a:pt x="30" y="349"/>
                    </a:lnTo>
                    <a:lnTo>
                      <a:pt x="29" y="351"/>
                    </a:lnTo>
                    <a:lnTo>
                      <a:pt x="26" y="352"/>
                    </a:lnTo>
                    <a:lnTo>
                      <a:pt x="26" y="355"/>
                    </a:lnTo>
                    <a:lnTo>
                      <a:pt x="26" y="355"/>
                    </a:lnTo>
                    <a:lnTo>
                      <a:pt x="32" y="354"/>
                    </a:lnTo>
                    <a:lnTo>
                      <a:pt x="33" y="352"/>
                    </a:lnTo>
                    <a:lnTo>
                      <a:pt x="35" y="352"/>
                    </a:lnTo>
                    <a:lnTo>
                      <a:pt x="41" y="351"/>
                    </a:lnTo>
                    <a:lnTo>
                      <a:pt x="41" y="352"/>
                    </a:lnTo>
                    <a:lnTo>
                      <a:pt x="39" y="352"/>
                    </a:lnTo>
                    <a:lnTo>
                      <a:pt x="39" y="354"/>
                    </a:lnTo>
                    <a:lnTo>
                      <a:pt x="35" y="354"/>
                    </a:lnTo>
                    <a:lnTo>
                      <a:pt x="32" y="355"/>
                    </a:lnTo>
                    <a:lnTo>
                      <a:pt x="30" y="356"/>
                    </a:lnTo>
                    <a:lnTo>
                      <a:pt x="30" y="358"/>
                    </a:lnTo>
                    <a:lnTo>
                      <a:pt x="33" y="361"/>
                    </a:lnTo>
                    <a:lnTo>
                      <a:pt x="38" y="358"/>
                    </a:lnTo>
                    <a:lnTo>
                      <a:pt x="39" y="359"/>
                    </a:lnTo>
                    <a:lnTo>
                      <a:pt x="38" y="361"/>
                    </a:lnTo>
                    <a:lnTo>
                      <a:pt x="36" y="362"/>
                    </a:lnTo>
                    <a:lnTo>
                      <a:pt x="38" y="365"/>
                    </a:lnTo>
                    <a:lnTo>
                      <a:pt x="39" y="367"/>
                    </a:lnTo>
                    <a:lnTo>
                      <a:pt x="39" y="368"/>
                    </a:lnTo>
                    <a:lnTo>
                      <a:pt x="41" y="371"/>
                    </a:lnTo>
                    <a:lnTo>
                      <a:pt x="41" y="371"/>
                    </a:lnTo>
                    <a:lnTo>
                      <a:pt x="42" y="371"/>
                    </a:lnTo>
                    <a:lnTo>
                      <a:pt x="45" y="367"/>
                    </a:lnTo>
                    <a:lnTo>
                      <a:pt x="45" y="370"/>
                    </a:lnTo>
                    <a:lnTo>
                      <a:pt x="46" y="370"/>
                    </a:lnTo>
                    <a:lnTo>
                      <a:pt x="49" y="370"/>
                    </a:lnTo>
                    <a:lnTo>
                      <a:pt x="48" y="374"/>
                    </a:lnTo>
                    <a:lnTo>
                      <a:pt x="56" y="375"/>
                    </a:lnTo>
                    <a:lnTo>
                      <a:pt x="59" y="374"/>
                    </a:lnTo>
                    <a:lnTo>
                      <a:pt x="61" y="374"/>
                    </a:lnTo>
                    <a:lnTo>
                      <a:pt x="62" y="377"/>
                    </a:lnTo>
                    <a:lnTo>
                      <a:pt x="61" y="378"/>
                    </a:lnTo>
                    <a:lnTo>
                      <a:pt x="56" y="381"/>
                    </a:lnTo>
                    <a:lnTo>
                      <a:pt x="51" y="390"/>
                    </a:lnTo>
                    <a:lnTo>
                      <a:pt x="49" y="391"/>
                    </a:lnTo>
                    <a:lnTo>
                      <a:pt x="49" y="394"/>
                    </a:lnTo>
                    <a:lnTo>
                      <a:pt x="52" y="399"/>
                    </a:lnTo>
                    <a:lnTo>
                      <a:pt x="54" y="399"/>
                    </a:lnTo>
                    <a:lnTo>
                      <a:pt x="55" y="397"/>
                    </a:lnTo>
                    <a:lnTo>
                      <a:pt x="58" y="397"/>
                    </a:lnTo>
                    <a:lnTo>
                      <a:pt x="58" y="399"/>
                    </a:lnTo>
                    <a:lnTo>
                      <a:pt x="56" y="399"/>
                    </a:lnTo>
                    <a:lnTo>
                      <a:pt x="58" y="400"/>
                    </a:lnTo>
                    <a:lnTo>
                      <a:pt x="61" y="400"/>
                    </a:lnTo>
                    <a:lnTo>
                      <a:pt x="61" y="400"/>
                    </a:lnTo>
                    <a:lnTo>
                      <a:pt x="56" y="401"/>
                    </a:lnTo>
                    <a:lnTo>
                      <a:pt x="55" y="401"/>
                    </a:lnTo>
                    <a:lnTo>
                      <a:pt x="56" y="404"/>
                    </a:lnTo>
                    <a:lnTo>
                      <a:pt x="59" y="406"/>
                    </a:lnTo>
                    <a:lnTo>
                      <a:pt x="61" y="406"/>
                    </a:lnTo>
                    <a:lnTo>
                      <a:pt x="62" y="407"/>
                    </a:lnTo>
                    <a:lnTo>
                      <a:pt x="64" y="407"/>
                    </a:lnTo>
                    <a:lnTo>
                      <a:pt x="65" y="407"/>
                    </a:lnTo>
                    <a:lnTo>
                      <a:pt x="67" y="407"/>
                    </a:lnTo>
                    <a:lnTo>
                      <a:pt x="70" y="409"/>
                    </a:lnTo>
                    <a:lnTo>
                      <a:pt x="71" y="409"/>
                    </a:lnTo>
                    <a:lnTo>
                      <a:pt x="77" y="400"/>
                    </a:lnTo>
                    <a:lnTo>
                      <a:pt x="78" y="396"/>
                    </a:lnTo>
                    <a:lnTo>
                      <a:pt x="81" y="394"/>
                    </a:lnTo>
                    <a:lnTo>
                      <a:pt x="80" y="393"/>
                    </a:lnTo>
                    <a:lnTo>
                      <a:pt x="78" y="391"/>
                    </a:lnTo>
                    <a:lnTo>
                      <a:pt x="77" y="388"/>
                    </a:lnTo>
                    <a:lnTo>
                      <a:pt x="81" y="381"/>
                    </a:lnTo>
                    <a:lnTo>
                      <a:pt x="90" y="375"/>
                    </a:lnTo>
                    <a:lnTo>
                      <a:pt x="93" y="374"/>
                    </a:lnTo>
                    <a:lnTo>
                      <a:pt x="80" y="388"/>
                    </a:lnTo>
                    <a:lnTo>
                      <a:pt x="80" y="390"/>
                    </a:lnTo>
                    <a:lnTo>
                      <a:pt x="80" y="391"/>
                    </a:lnTo>
                    <a:lnTo>
                      <a:pt x="81" y="393"/>
                    </a:lnTo>
                    <a:lnTo>
                      <a:pt x="83" y="397"/>
                    </a:lnTo>
                    <a:lnTo>
                      <a:pt x="90" y="412"/>
                    </a:lnTo>
                    <a:lnTo>
                      <a:pt x="90" y="413"/>
                    </a:lnTo>
                    <a:lnTo>
                      <a:pt x="87" y="417"/>
                    </a:lnTo>
                    <a:lnTo>
                      <a:pt x="87" y="417"/>
                    </a:lnTo>
                    <a:lnTo>
                      <a:pt x="86" y="419"/>
                    </a:lnTo>
                    <a:lnTo>
                      <a:pt x="86" y="420"/>
                    </a:lnTo>
                    <a:lnTo>
                      <a:pt x="87" y="425"/>
                    </a:lnTo>
                    <a:lnTo>
                      <a:pt x="88" y="423"/>
                    </a:lnTo>
                    <a:lnTo>
                      <a:pt x="90" y="423"/>
                    </a:lnTo>
                    <a:lnTo>
                      <a:pt x="91" y="425"/>
                    </a:lnTo>
                    <a:lnTo>
                      <a:pt x="90" y="425"/>
                    </a:lnTo>
                    <a:lnTo>
                      <a:pt x="88" y="426"/>
                    </a:lnTo>
                    <a:lnTo>
                      <a:pt x="90" y="431"/>
                    </a:lnTo>
                    <a:lnTo>
                      <a:pt x="91" y="431"/>
                    </a:lnTo>
                    <a:lnTo>
                      <a:pt x="91" y="432"/>
                    </a:lnTo>
                    <a:lnTo>
                      <a:pt x="90" y="432"/>
                    </a:lnTo>
                    <a:lnTo>
                      <a:pt x="88" y="435"/>
                    </a:lnTo>
                    <a:lnTo>
                      <a:pt x="86" y="435"/>
                    </a:lnTo>
                    <a:lnTo>
                      <a:pt x="84" y="436"/>
                    </a:lnTo>
                    <a:lnTo>
                      <a:pt x="88" y="438"/>
                    </a:lnTo>
                    <a:lnTo>
                      <a:pt x="93" y="436"/>
                    </a:lnTo>
                    <a:lnTo>
                      <a:pt x="94" y="432"/>
                    </a:lnTo>
                    <a:lnTo>
                      <a:pt x="96" y="432"/>
                    </a:lnTo>
                    <a:lnTo>
                      <a:pt x="100" y="429"/>
                    </a:lnTo>
                    <a:lnTo>
                      <a:pt x="103" y="429"/>
                    </a:lnTo>
                    <a:lnTo>
                      <a:pt x="106" y="426"/>
                    </a:lnTo>
                    <a:lnTo>
                      <a:pt x="110" y="419"/>
                    </a:lnTo>
                    <a:lnTo>
                      <a:pt x="110" y="423"/>
                    </a:lnTo>
                    <a:lnTo>
                      <a:pt x="110" y="425"/>
                    </a:lnTo>
                    <a:lnTo>
                      <a:pt x="110" y="428"/>
                    </a:lnTo>
                    <a:lnTo>
                      <a:pt x="110" y="429"/>
                    </a:lnTo>
                    <a:lnTo>
                      <a:pt x="112" y="431"/>
                    </a:lnTo>
                    <a:lnTo>
                      <a:pt x="113" y="429"/>
                    </a:lnTo>
                    <a:lnTo>
                      <a:pt x="113" y="431"/>
                    </a:lnTo>
                    <a:lnTo>
                      <a:pt x="115" y="432"/>
                    </a:lnTo>
                    <a:lnTo>
                      <a:pt x="117" y="429"/>
                    </a:lnTo>
                    <a:lnTo>
                      <a:pt x="119" y="429"/>
                    </a:lnTo>
                    <a:lnTo>
                      <a:pt x="119" y="429"/>
                    </a:lnTo>
                    <a:lnTo>
                      <a:pt x="120" y="429"/>
                    </a:lnTo>
                    <a:lnTo>
                      <a:pt x="120" y="431"/>
                    </a:lnTo>
                    <a:lnTo>
                      <a:pt x="122" y="432"/>
                    </a:lnTo>
                    <a:lnTo>
                      <a:pt x="128" y="442"/>
                    </a:lnTo>
                    <a:lnTo>
                      <a:pt x="129" y="444"/>
                    </a:lnTo>
                    <a:lnTo>
                      <a:pt x="129" y="442"/>
                    </a:lnTo>
                    <a:lnTo>
                      <a:pt x="132" y="441"/>
                    </a:lnTo>
                    <a:lnTo>
                      <a:pt x="132" y="436"/>
                    </a:lnTo>
                    <a:lnTo>
                      <a:pt x="131" y="433"/>
                    </a:lnTo>
                    <a:lnTo>
                      <a:pt x="132" y="431"/>
                    </a:lnTo>
                    <a:lnTo>
                      <a:pt x="133" y="428"/>
                    </a:lnTo>
                    <a:lnTo>
                      <a:pt x="135" y="426"/>
                    </a:lnTo>
                    <a:lnTo>
                      <a:pt x="136" y="426"/>
                    </a:lnTo>
                    <a:lnTo>
                      <a:pt x="136" y="428"/>
                    </a:lnTo>
                    <a:lnTo>
                      <a:pt x="135" y="432"/>
                    </a:lnTo>
                    <a:lnTo>
                      <a:pt x="139" y="436"/>
                    </a:lnTo>
                    <a:lnTo>
                      <a:pt x="142" y="436"/>
                    </a:lnTo>
                    <a:lnTo>
                      <a:pt x="152" y="429"/>
                    </a:lnTo>
                    <a:lnTo>
                      <a:pt x="157" y="425"/>
                    </a:lnTo>
                    <a:lnTo>
                      <a:pt x="160" y="423"/>
                    </a:lnTo>
                    <a:lnTo>
                      <a:pt x="161" y="425"/>
                    </a:lnTo>
                    <a:lnTo>
                      <a:pt x="157" y="431"/>
                    </a:lnTo>
                    <a:lnTo>
                      <a:pt x="155" y="432"/>
                    </a:lnTo>
                    <a:lnTo>
                      <a:pt x="155" y="432"/>
                    </a:lnTo>
                    <a:lnTo>
                      <a:pt x="155" y="433"/>
                    </a:lnTo>
                    <a:lnTo>
                      <a:pt x="154" y="436"/>
                    </a:lnTo>
                    <a:lnTo>
                      <a:pt x="151" y="438"/>
                    </a:lnTo>
                    <a:lnTo>
                      <a:pt x="149" y="445"/>
                    </a:lnTo>
                    <a:lnTo>
                      <a:pt x="152" y="445"/>
                    </a:lnTo>
                    <a:lnTo>
                      <a:pt x="149" y="449"/>
                    </a:lnTo>
                    <a:lnTo>
                      <a:pt x="146" y="464"/>
                    </a:lnTo>
                    <a:lnTo>
                      <a:pt x="142" y="471"/>
                    </a:lnTo>
                    <a:lnTo>
                      <a:pt x="141" y="471"/>
                    </a:lnTo>
                    <a:lnTo>
                      <a:pt x="139" y="471"/>
                    </a:lnTo>
                    <a:lnTo>
                      <a:pt x="139" y="473"/>
                    </a:lnTo>
                    <a:lnTo>
                      <a:pt x="135" y="477"/>
                    </a:lnTo>
                    <a:lnTo>
                      <a:pt x="135" y="477"/>
                    </a:lnTo>
                    <a:lnTo>
                      <a:pt x="132" y="484"/>
                    </a:lnTo>
                    <a:lnTo>
                      <a:pt x="131" y="484"/>
                    </a:lnTo>
                    <a:lnTo>
                      <a:pt x="129" y="486"/>
                    </a:lnTo>
                    <a:lnTo>
                      <a:pt x="129" y="484"/>
                    </a:lnTo>
                    <a:lnTo>
                      <a:pt x="125" y="487"/>
                    </a:lnTo>
                    <a:lnTo>
                      <a:pt x="122" y="489"/>
                    </a:lnTo>
                    <a:lnTo>
                      <a:pt x="117" y="492"/>
                    </a:lnTo>
                    <a:lnTo>
                      <a:pt x="116" y="492"/>
                    </a:lnTo>
                    <a:lnTo>
                      <a:pt x="107" y="502"/>
                    </a:lnTo>
                    <a:lnTo>
                      <a:pt x="106" y="508"/>
                    </a:lnTo>
                    <a:lnTo>
                      <a:pt x="106" y="508"/>
                    </a:lnTo>
                    <a:lnTo>
                      <a:pt x="109" y="509"/>
                    </a:lnTo>
                    <a:lnTo>
                      <a:pt x="110" y="510"/>
                    </a:lnTo>
                    <a:lnTo>
                      <a:pt x="107" y="510"/>
                    </a:lnTo>
                    <a:lnTo>
                      <a:pt x="106" y="509"/>
                    </a:lnTo>
                    <a:lnTo>
                      <a:pt x="104" y="508"/>
                    </a:lnTo>
                    <a:lnTo>
                      <a:pt x="104" y="509"/>
                    </a:lnTo>
                    <a:lnTo>
                      <a:pt x="103" y="510"/>
                    </a:lnTo>
                    <a:lnTo>
                      <a:pt x="101" y="509"/>
                    </a:lnTo>
                    <a:lnTo>
                      <a:pt x="100" y="508"/>
                    </a:lnTo>
                    <a:lnTo>
                      <a:pt x="101" y="506"/>
                    </a:lnTo>
                    <a:lnTo>
                      <a:pt x="101" y="505"/>
                    </a:lnTo>
                    <a:lnTo>
                      <a:pt x="99" y="506"/>
                    </a:lnTo>
                    <a:lnTo>
                      <a:pt x="97" y="505"/>
                    </a:lnTo>
                    <a:lnTo>
                      <a:pt x="96" y="505"/>
                    </a:lnTo>
                    <a:lnTo>
                      <a:pt x="80" y="515"/>
                    </a:lnTo>
                    <a:lnTo>
                      <a:pt x="78" y="518"/>
                    </a:lnTo>
                    <a:lnTo>
                      <a:pt x="77" y="519"/>
                    </a:lnTo>
                    <a:lnTo>
                      <a:pt x="77" y="519"/>
                    </a:lnTo>
                    <a:lnTo>
                      <a:pt x="77" y="521"/>
                    </a:lnTo>
                    <a:lnTo>
                      <a:pt x="74" y="524"/>
                    </a:lnTo>
                    <a:lnTo>
                      <a:pt x="74" y="525"/>
                    </a:lnTo>
                    <a:lnTo>
                      <a:pt x="72" y="525"/>
                    </a:lnTo>
                    <a:lnTo>
                      <a:pt x="71" y="525"/>
                    </a:lnTo>
                    <a:lnTo>
                      <a:pt x="71" y="525"/>
                    </a:lnTo>
                    <a:lnTo>
                      <a:pt x="70" y="525"/>
                    </a:lnTo>
                    <a:lnTo>
                      <a:pt x="68" y="526"/>
                    </a:lnTo>
                    <a:lnTo>
                      <a:pt x="67" y="526"/>
                    </a:lnTo>
                    <a:lnTo>
                      <a:pt x="65" y="528"/>
                    </a:lnTo>
                    <a:lnTo>
                      <a:pt x="65" y="528"/>
                    </a:lnTo>
                    <a:lnTo>
                      <a:pt x="67" y="528"/>
                    </a:lnTo>
                    <a:lnTo>
                      <a:pt x="67" y="531"/>
                    </a:lnTo>
                    <a:lnTo>
                      <a:pt x="67" y="534"/>
                    </a:lnTo>
                    <a:lnTo>
                      <a:pt x="68" y="534"/>
                    </a:lnTo>
                    <a:lnTo>
                      <a:pt x="70" y="532"/>
                    </a:lnTo>
                    <a:lnTo>
                      <a:pt x="70" y="531"/>
                    </a:lnTo>
                    <a:lnTo>
                      <a:pt x="70" y="528"/>
                    </a:lnTo>
                    <a:lnTo>
                      <a:pt x="71" y="528"/>
                    </a:lnTo>
                    <a:lnTo>
                      <a:pt x="71" y="531"/>
                    </a:lnTo>
                    <a:lnTo>
                      <a:pt x="72" y="531"/>
                    </a:lnTo>
                    <a:lnTo>
                      <a:pt x="77" y="529"/>
                    </a:lnTo>
                    <a:lnTo>
                      <a:pt x="77" y="525"/>
                    </a:lnTo>
                    <a:lnTo>
                      <a:pt x="77" y="524"/>
                    </a:lnTo>
                    <a:lnTo>
                      <a:pt x="78" y="526"/>
                    </a:lnTo>
                    <a:lnTo>
                      <a:pt x="78" y="526"/>
                    </a:lnTo>
                    <a:lnTo>
                      <a:pt x="78" y="528"/>
                    </a:lnTo>
                    <a:lnTo>
                      <a:pt x="80" y="528"/>
                    </a:lnTo>
                    <a:lnTo>
                      <a:pt x="81" y="529"/>
                    </a:lnTo>
                    <a:lnTo>
                      <a:pt x="83" y="528"/>
                    </a:lnTo>
                    <a:lnTo>
                      <a:pt x="84" y="528"/>
                    </a:lnTo>
                    <a:lnTo>
                      <a:pt x="84" y="528"/>
                    </a:lnTo>
                    <a:lnTo>
                      <a:pt x="86" y="526"/>
                    </a:lnTo>
                    <a:lnTo>
                      <a:pt x="86" y="525"/>
                    </a:lnTo>
                    <a:lnTo>
                      <a:pt x="88" y="524"/>
                    </a:lnTo>
                    <a:lnTo>
                      <a:pt x="90" y="516"/>
                    </a:lnTo>
                    <a:lnTo>
                      <a:pt x="91" y="515"/>
                    </a:lnTo>
                    <a:lnTo>
                      <a:pt x="94" y="515"/>
                    </a:lnTo>
                    <a:lnTo>
                      <a:pt x="94" y="518"/>
                    </a:lnTo>
                    <a:lnTo>
                      <a:pt x="93" y="521"/>
                    </a:lnTo>
                    <a:lnTo>
                      <a:pt x="93" y="521"/>
                    </a:lnTo>
                    <a:lnTo>
                      <a:pt x="97" y="521"/>
                    </a:lnTo>
                    <a:lnTo>
                      <a:pt x="100" y="518"/>
                    </a:lnTo>
                    <a:lnTo>
                      <a:pt x="104" y="519"/>
                    </a:lnTo>
                    <a:lnTo>
                      <a:pt x="103" y="518"/>
                    </a:lnTo>
                    <a:lnTo>
                      <a:pt x="104" y="516"/>
                    </a:lnTo>
                    <a:lnTo>
                      <a:pt x="104" y="516"/>
                    </a:lnTo>
                    <a:lnTo>
                      <a:pt x="106" y="518"/>
                    </a:lnTo>
                    <a:lnTo>
                      <a:pt x="107" y="515"/>
                    </a:lnTo>
                    <a:lnTo>
                      <a:pt x="107" y="515"/>
                    </a:lnTo>
                    <a:lnTo>
                      <a:pt x="109" y="513"/>
                    </a:lnTo>
                    <a:lnTo>
                      <a:pt x="112" y="513"/>
                    </a:lnTo>
                    <a:lnTo>
                      <a:pt x="113" y="512"/>
                    </a:lnTo>
                    <a:lnTo>
                      <a:pt x="113" y="510"/>
                    </a:lnTo>
                    <a:lnTo>
                      <a:pt x="115" y="510"/>
                    </a:lnTo>
                    <a:lnTo>
                      <a:pt x="116" y="509"/>
                    </a:lnTo>
                    <a:lnTo>
                      <a:pt x="117" y="509"/>
                    </a:lnTo>
                    <a:lnTo>
                      <a:pt x="119" y="512"/>
                    </a:lnTo>
                    <a:lnTo>
                      <a:pt x="119" y="516"/>
                    </a:lnTo>
                    <a:lnTo>
                      <a:pt x="119" y="516"/>
                    </a:lnTo>
                    <a:lnTo>
                      <a:pt x="122" y="508"/>
                    </a:lnTo>
                    <a:lnTo>
                      <a:pt x="122" y="509"/>
                    </a:lnTo>
                    <a:lnTo>
                      <a:pt x="128" y="508"/>
                    </a:lnTo>
                    <a:lnTo>
                      <a:pt x="131" y="506"/>
                    </a:lnTo>
                    <a:lnTo>
                      <a:pt x="132" y="506"/>
                    </a:lnTo>
                    <a:lnTo>
                      <a:pt x="133" y="505"/>
                    </a:lnTo>
                    <a:lnTo>
                      <a:pt x="133" y="500"/>
                    </a:lnTo>
                    <a:lnTo>
                      <a:pt x="131" y="499"/>
                    </a:lnTo>
                    <a:lnTo>
                      <a:pt x="129" y="497"/>
                    </a:lnTo>
                    <a:lnTo>
                      <a:pt x="128" y="496"/>
                    </a:lnTo>
                    <a:lnTo>
                      <a:pt x="126" y="493"/>
                    </a:lnTo>
                    <a:lnTo>
                      <a:pt x="128" y="493"/>
                    </a:lnTo>
                    <a:lnTo>
                      <a:pt x="131" y="497"/>
                    </a:lnTo>
                    <a:lnTo>
                      <a:pt x="132" y="499"/>
                    </a:lnTo>
                    <a:lnTo>
                      <a:pt x="136" y="494"/>
                    </a:lnTo>
                    <a:lnTo>
                      <a:pt x="139" y="493"/>
                    </a:lnTo>
                    <a:lnTo>
                      <a:pt x="144" y="493"/>
                    </a:lnTo>
                    <a:lnTo>
                      <a:pt x="145" y="492"/>
                    </a:lnTo>
                    <a:lnTo>
                      <a:pt x="144" y="492"/>
                    </a:lnTo>
                    <a:lnTo>
                      <a:pt x="142" y="492"/>
                    </a:lnTo>
                    <a:lnTo>
                      <a:pt x="142" y="490"/>
                    </a:lnTo>
                    <a:lnTo>
                      <a:pt x="146" y="489"/>
                    </a:lnTo>
                    <a:lnTo>
                      <a:pt x="146" y="490"/>
                    </a:lnTo>
                    <a:lnTo>
                      <a:pt x="149" y="490"/>
                    </a:lnTo>
                    <a:lnTo>
                      <a:pt x="149" y="486"/>
                    </a:lnTo>
                    <a:lnTo>
                      <a:pt x="149" y="484"/>
                    </a:lnTo>
                    <a:lnTo>
                      <a:pt x="151" y="484"/>
                    </a:lnTo>
                    <a:lnTo>
                      <a:pt x="154" y="486"/>
                    </a:lnTo>
                    <a:lnTo>
                      <a:pt x="158" y="483"/>
                    </a:lnTo>
                    <a:lnTo>
                      <a:pt x="158" y="481"/>
                    </a:lnTo>
                    <a:lnTo>
                      <a:pt x="160" y="481"/>
                    </a:lnTo>
                    <a:lnTo>
                      <a:pt x="160" y="480"/>
                    </a:lnTo>
                    <a:lnTo>
                      <a:pt x="160" y="480"/>
                    </a:lnTo>
                    <a:lnTo>
                      <a:pt x="161" y="480"/>
                    </a:lnTo>
                    <a:lnTo>
                      <a:pt x="162" y="480"/>
                    </a:lnTo>
                    <a:lnTo>
                      <a:pt x="164" y="478"/>
                    </a:lnTo>
                    <a:lnTo>
                      <a:pt x="165" y="476"/>
                    </a:lnTo>
                    <a:lnTo>
                      <a:pt x="165" y="473"/>
                    </a:lnTo>
                    <a:lnTo>
                      <a:pt x="164" y="473"/>
                    </a:lnTo>
                    <a:lnTo>
                      <a:pt x="162" y="471"/>
                    </a:lnTo>
                    <a:lnTo>
                      <a:pt x="164" y="470"/>
                    </a:lnTo>
                    <a:lnTo>
                      <a:pt x="168" y="467"/>
                    </a:lnTo>
                    <a:lnTo>
                      <a:pt x="170" y="468"/>
                    </a:lnTo>
                    <a:lnTo>
                      <a:pt x="170" y="465"/>
                    </a:lnTo>
                    <a:lnTo>
                      <a:pt x="174" y="465"/>
                    </a:lnTo>
                    <a:lnTo>
                      <a:pt x="174" y="464"/>
                    </a:lnTo>
                    <a:lnTo>
                      <a:pt x="174" y="463"/>
                    </a:lnTo>
                    <a:lnTo>
                      <a:pt x="176" y="460"/>
                    </a:lnTo>
                    <a:lnTo>
                      <a:pt x="177" y="460"/>
                    </a:lnTo>
                    <a:lnTo>
                      <a:pt x="178" y="461"/>
                    </a:lnTo>
                    <a:lnTo>
                      <a:pt x="180" y="458"/>
                    </a:lnTo>
                    <a:lnTo>
                      <a:pt x="181" y="458"/>
                    </a:lnTo>
                    <a:lnTo>
                      <a:pt x="184" y="455"/>
                    </a:lnTo>
                    <a:lnTo>
                      <a:pt x="184" y="454"/>
                    </a:lnTo>
                    <a:lnTo>
                      <a:pt x="192" y="452"/>
                    </a:lnTo>
                    <a:lnTo>
                      <a:pt x="193" y="449"/>
                    </a:lnTo>
                    <a:lnTo>
                      <a:pt x="194" y="451"/>
                    </a:lnTo>
                    <a:lnTo>
                      <a:pt x="197" y="448"/>
                    </a:lnTo>
                    <a:lnTo>
                      <a:pt x="197" y="447"/>
                    </a:lnTo>
                    <a:lnTo>
                      <a:pt x="196" y="445"/>
                    </a:lnTo>
                    <a:lnTo>
                      <a:pt x="199" y="444"/>
                    </a:lnTo>
                    <a:lnTo>
                      <a:pt x="199" y="442"/>
                    </a:lnTo>
                    <a:lnTo>
                      <a:pt x="197" y="442"/>
                    </a:lnTo>
                    <a:lnTo>
                      <a:pt x="199" y="439"/>
                    </a:lnTo>
                    <a:lnTo>
                      <a:pt x="200" y="439"/>
                    </a:lnTo>
                    <a:lnTo>
                      <a:pt x="202" y="438"/>
                    </a:lnTo>
                    <a:lnTo>
                      <a:pt x="206" y="435"/>
                    </a:lnTo>
                    <a:lnTo>
                      <a:pt x="207" y="433"/>
                    </a:lnTo>
                    <a:lnTo>
                      <a:pt x="207" y="429"/>
                    </a:lnTo>
                    <a:lnTo>
                      <a:pt x="207" y="429"/>
                    </a:lnTo>
                    <a:lnTo>
                      <a:pt x="203" y="428"/>
                    </a:lnTo>
                    <a:lnTo>
                      <a:pt x="203" y="426"/>
                    </a:lnTo>
                    <a:lnTo>
                      <a:pt x="200" y="425"/>
                    </a:lnTo>
                    <a:lnTo>
                      <a:pt x="197" y="426"/>
                    </a:lnTo>
                    <a:lnTo>
                      <a:pt x="196" y="425"/>
                    </a:lnTo>
                    <a:lnTo>
                      <a:pt x="197" y="416"/>
                    </a:lnTo>
                    <a:lnTo>
                      <a:pt x="202" y="416"/>
                    </a:lnTo>
                    <a:lnTo>
                      <a:pt x="203" y="415"/>
                    </a:lnTo>
                    <a:lnTo>
                      <a:pt x="203" y="412"/>
                    </a:lnTo>
                    <a:lnTo>
                      <a:pt x="205" y="412"/>
                    </a:lnTo>
                    <a:lnTo>
                      <a:pt x="205" y="409"/>
                    </a:lnTo>
                    <a:lnTo>
                      <a:pt x="205" y="407"/>
                    </a:lnTo>
                    <a:lnTo>
                      <a:pt x="206" y="407"/>
                    </a:lnTo>
                    <a:lnTo>
                      <a:pt x="206" y="406"/>
                    </a:lnTo>
                    <a:lnTo>
                      <a:pt x="209" y="406"/>
                    </a:lnTo>
                    <a:lnTo>
                      <a:pt x="209" y="407"/>
                    </a:lnTo>
                    <a:lnTo>
                      <a:pt x="210" y="407"/>
                    </a:lnTo>
                    <a:lnTo>
                      <a:pt x="213" y="406"/>
                    </a:lnTo>
                    <a:lnTo>
                      <a:pt x="212" y="404"/>
                    </a:lnTo>
                    <a:lnTo>
                      <a:pt x="210" y="403"/>
                    </a:lnTo>
                    <a:lnTo>
                      <a:pt x="212" y="401"/>
                    </a:lnTo>
                    <a:lnTo>
                      <a:pt x="216" y="401"/>
                    </a:lnTo>
                    <a:lnTo>
                      <a:pt x="218" y="399"/>
                    </a:lnTo>
                    <a:lnTo>
                      <a:pt x="218" y="397"/>
                    </a:lnTo>
                    <a:lnTo>
                      <a:pt x="218" y="396"/>
                    </a:lnTo>
                    <a:lnTo>
                      <a:pt x="212" y="391"/>
                    </a:lnTo>
                    <a:lnTo>
                      <a:pt x="213" y="390"/>
                    </a:lnTo>
                    <a:lnTo>
                      <a:pt x="216" y="393"/>
                    </a:lnTo>
                    <a:lnTo>
                      <a:pt x="219" y="393"/>
                    </a:lnTo>
                    <a:lnTo>
                      <a:pt x="223" y="387"/>
                    </a:lnTo>
                    <a:lnTo>
                      <a:pt x="225" y="383"/>
                    </a:lnTo>
                    <a:lnTo>
                      <a:pt x="231" y="377"/>
                    </a:lnTo>
                    <a:lnTo>
                      <a:pt x="231" y="372"/>
                    </a:lnTo>
                    <a:lnTo>
                      <a:pt x="239" y="368"/>
                    </a:lnTo>
                    <a:lnTo>
                      <a:pt x="245" y="361"/>
                    </a:lnTo>
                    <a:lnTo>
                      <a:pt x="245" y="359"/>
                    </a:lnTo>
                    <a:lnTo>
                      <a:pt x="245" y="358"/>
                    </a:lnTo>
                    <a:lnTo>
                      <a:pt x="252" y="332"/>
                    </a:lnTo>
                    <a:lnTo>
                      <a:pt x="254" y="332"/>
                    </a:lnTo>
                    <a:lnTo>
                      <a:pt x="252" y="346"/>
                    </a:lnTo>
                    <a:lnTo>
                      <a:pt x="248" y="355"/>
                    </a:lnTo>
                    <a:lnTo>
                      <a:pt x="248" y="361"/>
                    </a:lnTo>
                    <a:lnTo>
                      <a:pt x="250" y="362"/>
                    </a:lnTo>
                    <a:lnTo>
                      <a:pt x="254" y="362"/>
                    </a:lnTo>
                    <a:lnTo>
                      <a:pt x="260" y="356"/>
                    </a:lnTo>
                    <a:lnTo>
                      <a:pt x="264" y="355"/>
                    </a:lnTo>
                    <a:lnTo>
                      <a:pt x="266" y="355"/>
                    </a:lnTo>
                    <a:lnTo>
                      <a:pt x="264" y="358"/>
                    </a:lnTo>
                    <a:lnTo>
                      <a:pt x="261" y="358"/>
                    </a:lnTo>
                    <a:lnTo>
                      <a:pt x="260" y="361"/>
                    </a:lnTo>
                    <a:lnTo>
                      <a:pt x="258" y="362"/>
                    </a:lnTo>
                    <a:lnTo>
                      <a:pt x="255" y="364"/>
                    </a:lnTo>
                    <a:lnTo>
                      <a:pt x="255" y="367"/>
                    </a:lnTo>
                    <a:lnTo>
                      <a:pt x="258" y="370"/>
                    </a:lnTo>
                    <a:lnTo>
                      <a:pt x="270" y="374"/>
                    </a:lnTo>
                    <a:lnTo>
                      <a:pt x="258" y="371"/>
                    </a:lnTo>
                    <a:lnTo>
                      <a:pt x="254" y="374"/>
                    </a:lnTo>
                    <a:lnTo>
                      <a:pt x="252" y="372"/>
                    </a:lnTo>
                    <a:lnTo>
                      <a:pt x="251" y="370"/>
                    </a:lnTo>
                    <a:lnTo>
                      <a:pt x="250" y="371"/>
                    </a:lnTo>
                    <a:lnTo>
                      <a:pt x="238" y="377"/>
                    </a:lnTo>
                    <a:lnTo>
                      <a:pt x="237" y="380"/>
                    </a:lnTo>
                    <a:lnTo>
                      <a:pt x="238" y="387"/>
                    </a:lnTo>
                    <a:lnTo>
                      <a:pt x="237" y="391"/>
                    </a:lnTo>
                    <a:lnTo>
                      <a:pt x="235" y="393"/>
                    </a:lnTo>
                    <a:lnTo>
                      <a:pt x="234" y="396"/>
                    </a:lnTo>
                    <a:lnTo>
                      <a:pt x="232" y="399"/>
                    </a:lnTo>
                    <a:lnTo>
                      <a:pt x="232" y="400"/>
                    </a:lnTo>
                    <a:lnTo>
                      <a:pt x="231" y="403"/>
                    </a:lnTo>
                    <a:lnTo>
                      <a:pt x="229" y="406"/>
                    </a:lnTo>
                    <a:lnTo>
                      <a:pt x="231" y="407"/>
                    </a:lnTo>
                    <a:lnTo>
                      <a:pt x="234" y="409"/>
                    </a:lnTo>
                    <a:lnTo>
                      <a:pt x="241" y="404"/>
                    </a:lnTo>
                    <a:lnTo>
                      <a:pt x="242" y="406"/>
                    </a:lnTo>
                    <a:lnTo>
                      <a:pt x="239" y="410"/>
                    </a:lnTo>
                    <a:lnTo>
                      <a:pt x="238" y="412"/>
                    </a:lnTo>
                    <a:lnTo>
                      <a:pt x="237" y="412"/>
                    </a:lnTo>
                    <a:lnTo>
                      <a:pt x="237" y="413"/>
                    </a:lnTo>
                    <a:lnTo>
                      <a:pt x="237" y="415"/>
                    </a:lnTo>
                    <a:lnTo>
                      <a:pt x="234" y="413"/>
                    </a:lnTo>
                    <a:lnTo>
                      <a:pt x="234" y="413"/>
                    </a:lnTo>
                    <a:lnTo>
                      <a:pt x="232" y="415"/>
                    </a:lnTo>
                    <a:lnTo>
                      <a:pt x="232" y="416"/>
                    </a:lnTo>
                    <a:lnTo>
                      <a:pt x="231" y="413"/>
                    </a:lnTo>
                    <a:lnTo>
                      <a:pt x="229" y="416"/>
                    </a:lnTo>
                    <a:lnTo>
                      <a:pt x="231" y="417"/>
                    </a:lnTo>
                    <a:lnTo>
                      <a:pt x="229" y="417"/>
                    </a:lnTo>
                    <a:lnTo>
                      <a:pt x="229" y="420"/>
                    </a:lnTo>
                    <a:lnTo>
                      <a:pt x="231" y="420"/>
                    </a:lnTo>
                    <a:lnTo>
                      <a:pt x="232" y="422"/>
                    </a:lnTo>
                    <a:lnTo>
                      <a:pt x="235" y="420"/>
                    </a:lnTo>
                    <a:lnTo>
                      <a:pt x="239" y="420"/>
                    </a:lnTo>
                    <a:lnTo>
                      <a:pt x="239" y="417"/>
                    </a:lnTo>
                    <a:lnTo>
                      <a:pt x="239" y="417"/>
                    </a:lnTo>
                    <a:lnTo>
                      <a:pt x="241" y="417"/>
                    </a:lnTo>
                    <a:lnTo>
                      <a:pt x="242" y="419"/>
                    </a:lnTo>
                    <a:lnTo>
                      <a:pt x="248" y="412"/>
                    </a:lnTo>
                    <a:lnTo>
                      <a:pt x="250" y="412"/>
                    </a:lnTo>
                    <a:lnTo>
                      <a:pt x="251" y="410"/>
                    </a:lnTo>
                    <a:lnTo>
                      <a:pt x="251" y="417"/>
                    </a:lnTo>
                    <a:lnTo>
                      <a:pt x="254" y="412"/>
                    </a:lnTo>
                    <a:lnTo>
                      <a:pt x="254" y="409"/>
                    </a:lnTo>
                    <a:lnTo>
                      <a:pt x="257" y="407"/>
                    </a:lnTo>
                    <a:lnTo>
                      <a:pt x="258" y="407"/>
                    </a:lnTo>
                    <a:lnTo>
                      <a:pt x="260" y="406"/>
                    </a:lnTo>
                    <a:lnTo>
                      <a:pt x="258" y="403"/>
                    </a:lnTo>
                    <a:lnTo>
                      <a:pt x="260" y="401"/>
                    </a:lnTo>
                    <a:lnTo>
                      <a:pt x="260" y="400"/>
                    </a:lnTo>
                    <a:lnTo>
                      <a:pt x="261" y="407"/>
                    </a:lnTo>
                    <a:lnTo>
                      <a:pt x="263" y="400"/>
                    </a:lnTo>
                    <a:lnTo>
                      <a:pt x="264" y="399"/>
                    </a:lnTo>
                    <a:lnTo>
                      <a:pt x="264" y="396"/>
                    </a:lnTo>
                    <a:lnTo>
                      <a:pt x="266" y="400"/>
                    </a:lnTo>
                    <a:lnTo>
                      <a:pt x="266" y="399"/>
                    </a:lnTo>
                    <a:lnTo>
                      <a:pt x="267" y="399"/>
                    </a:lnTo>
                    <a:lnTo>
                      <a:pt x="268" y="400"/>
                    </a:lnTo>
                    <a:lnTo>
                      <a:pt x="273" y="400"/>
                    </a:lnTo>
                    <a:lnTo>
                      <a:pt x="276" y="399"/>
                    </a:lnTo>
                    <a:lnTo>
                      <a:pt x="277" y="399"/>
                    </a:lnTo>
                    <a:lnTo>
                      <a:pt x="277" y="394"/>
                    </a:lnTo>
                    <a:lnTo>
                      <a:pt x="279" y="396"/>
                    </a:lnTo>
                    <a:lnTo>
                      <a:pt x="280" y="394"/>
                    </a:lnTo>
                    <a:lnTo>
                      <a:pt x="282" y="393"/>
                    </a:lnTo>
                    <a:lnTo>
                      <a:pt x="282" y="393"/>
                    </a:lnTo>
                    <a:lnTo>
                      <a:pt x="280" y="391"/>
                    </a:lnTo>
                    <a:lnTo>
                      <a:pt x="279" y="391"/>
                    </a:lnTo>
                    <a:lnTo>
                      <a:pt x="280" y="388"/>
                    </a:lnTo>
                    <a:lnTo>
                      <a:pt x="282" y="387"/>
                    </a:lnTo>
                    <a:lnTo>
                      <a:pt x="283" y="387"/>
                    </a:lnTo>
                    <a:lnTo>
                      <a:pt x="284" y="384"/>
                    </a:lnTo>
                    <a:lnTo>
                      <a:pt x="283" y="381"/>
                    </a:lnTo>
                    <a:lnTo>
                      <a:pt x="280" y="384"/>
                    </a:lnTo>
                    <a:lnTo>
                      <a:pt x="279" y="384"/>
                    </a:lnTo>
                    <a:lnTo>
                      <a:pt x="276" y="385"/>
                    </a:lnTo>
                    <a:lnTo>
                      <a:pt x="276" y="383"/>
                    </a:lnTo>
                    <a:lnTo>
                      <a:pt x="279" y="383"/>
                    </a:lnTo>
                    <a:lnTo>
                      <a:pt x="280" y="381"/>
                    </a:lnTo>
                    <a:lnTo>
                      <a:pt x="280" y="378"/>
                    </a:lnTo>
                    <a:lnTo>
                      <a:pt x="279" y="380"/>
                    </a:lnTo>
                    <a:lnTo>
                      <a:pt x="279" y="378"/>
                    </a:lnTo>
                    <a:lnTo>
                      <a:pt x="276" y="378"/>
                    </a:lnTo>
                    <a:lnTo>
                      <a:pt x="276" y="377"/>
                    </a:lnTo>
                    <a:lnTo>
                      <a:pt x="274" y="377"/>
                    </a:lnTo>
                    <a:lnTo>
                      <a:pt x="276" y="374"/>
                    </a:lnTo>
                    <a:lnTo>
                      <a:pt x="279" y="374"/>
                    </a:lnTo>
                    <a:lnTo>
                      <a:pt x="280" y="371"/>
                    </a:lnTo>
                    <a:lnTo>
                      <a:pt x="277" y="370"/>
                    </a:lnTo>
                    <a:lnTo>
                      <a:pt x="280" y="367"/>
                    </a:lnTo>
                    <a:lnTo>
                      <a:pt x="282" y="367"/>
                    </a:lnTo>
                    <a:lnTo>
                      <a:pt x="282" y="368"/>
                    </a:lnTo>
                    <a:lnTo>
                      <a:pt x="283" y="368"/>
                    </a:lnTo>
                    <a:lnTo>
                      <a:pt x="284" y="365"/>
                    </a:lnTo>
                    <a:lnTo>
                      <a:pt x="287" y="362"/>
                    </a:lnTo>
                    <a:lnTo>
                      <a:pt x="287" y="365"/>
                    </a:lnTo>
                    <a:lnTo>
                      <a:pt x="284" y="372"/>
                    </a:lnTo>
                    <a:lnTo>
                      <a:pt x="286" y="374"/>
                    </a:lnTo>
                    <a:lnTo>
                      <a:pt x="287" y="374"/>
                    </a:lnTo>
                    <a:lnTo>
                      <a:pt x="289" y="372"/>
                    </a:lnTo>
                    <a:lnTo>
                      <a:pt x="289" y="365"/>
                    </a:lnTo>
                    <a:lnTo>
                      <a:pt x="290" y="370"/>
                    </a:lnTo>
                    <a:lnTo>
                      <a:pt x="290" y="371"/>
                    </a:lnTo>
                    <a:lnTo>
                      <a:pt x="296" y="371"/>
                    </a:lnTo>
                    <a:lnTo>
                      <a:pt x="297" y="371"/>
                    </a:lnTo>
                    <a:lnTo>
                      <a:pt x="300" y="371"/>
                    </a:lnTo>
                    <a:lnTo>
                      <a:pt x="302" y="368"/>
                    </a:lnTo>
                    <a:lnTo>
                      <a:pt x="305" y="367"/>
                    </a:lnTo>
                    <a:lnTo>
                      <a:pt x="308" y="367"/>
                    </a:lnTo>
                    <a:lnTo>
                      <a:pt x="308" y="367"/>
                    </a:lnTo>
                    <a:lnTo>
                      <a:pt x="303" y="368"/>
                    </a:lnTo>
                    <a:lnTo>
                      <a:pt x="303" y="374"/>
                    </a:lnTo>
                    <a:lnTo>
                      <a:pt x="305" y="375"/>
                    </a:lnTo>
                    <a:lnTo>
                      <a:pt x="309" y="374"/>
                    </a:lnTo>
                    <a:lnTo>
                      <a:pt x="309" y="374"/>
                    </a:lnTo>
                    <a:lnTo>
                      <a:pt x="302" y="378"/>
                    </a:lnTo>
                    <a:lnTo>
                      <a:pt x="306" y="378"/>
                    </a:lnTo>
                    <a:lnTo>
                      <a:pt x="311" y="375"/>
                    </a:lnTo>
                    <a:lnTo>
                      <a:pt x="312" y="375"/>
                    </a:lnTo>
                    <a:lnTo>
                      <a:pt x="308" y="380"/>
                    </a:lnTo>
                    <a:lnTo>
                      <a:pt x="312" y="378"/>
                    </a:lnTo>
                    <a:lnTo>
                      <a:pt x="313" y="380"/>
                    </a:lnTo>
                    <a:lnTo>
                      <a:pt x="316" y="380"/>
                    </a:lnTo>
                    <a:lnTo>
                      <a:pt x="316" y="381"/>
                    </a:lnTo>
                    <a:lnTo>
                      <a:pt x="315" y="384"/>
                    </a:lnTo>
                    <a:lnTo>
                      <a:pt x="316" y="384"/>
                    </a:lnTo>
                    <a:lnTo>
                      <a:pt x="321" y="388"/>
                    </a:lnTo>
                    <a:lnTo>
                      <a:pt x="322" y="390"/>
                    </a:lnTo>
                    <a:lnTo>
                      <a:pt x="325" y="390"/>
                    </a:lnTo>
                    <a:lnTo>
                      <a:pt x="325" y="388"/>
                    </a:lnTo>
                    <a:lnTo>
                      <a:pt x="325" y="387"/>
                    </a:lnTo>
                    <a:lnTo>
                      <a:pt x="325" y="385"/>
                    </a:lnTo>
                    <a:lnTo>
                      <a:pt x="325" y="385"/>
                    </a:lnTo>
                    <a:lnTo>
                      <a:pt x="327" y="385"/>
                    </a:lnTo>
                    <a:lnTo>
                      <a:pt x="328" y="385"/>
                    </a:lnTo>
                    <a:lnTo>
                      <a:pt x="329" y="388"/>
                    </a:lnTo>
                    <a:lnTo>
                      <a:pt x="329" y="390"/>
                    </a:lnTo>
                    <a:lnTo>
                      <a:pt x="331" y="391"/>
                    </a:lnTo>
                    <a:lnTo>
                      <a:pt x="332" y="393"/>
                    </a:lnTo>
                    <a:lnTo>
                      <a:pt x="334" y="394"/>
                    </a:lnTo>
                    <a:lnTo>
                      <a:pt x="334" y="393"/>
                    </a:lnTo>
                    <a:lnTo>
                      <a:pt x="335" y="394"/>
                    </a:lnTo>
                    <a:lnTo>
                      <a:pt x="337" y="393"/>
                    </a:lnTo>
                    <a:lnTo>
                      <a:pt x="338" y="394"/>
                    </a:lnTo>
                    <a:lnTo>
                      <a:pt x="340" y="397"/>
                    </a:lnTo>
                    <a:lnTo>
                      <a:pt x="340" y="397"/>
                    </a:lnTo>
                    <a:lnTo>
                      <a:pt x="340" y="399"/>
                    </a:lnTo>
                    <a:lnTo>
                      <a:pt x="341" y="399"/>
                    </a:lnTo>
                    <a:lnTo>
                      <a:pt x="343" y="399"/>
                    </a:lnTo>
                    <a:lnTo>
                      <a:pt x="347" y="399"/>
                    </a:lnTo>
                    <a:lnTo>
                      <a:pt x="356" y="397"/>
                    </a:lnTo>
                    <a:lnTo>
                      <a:pt x="356" y="396"/>
                    </a:lnTo>
                    <a:lnTo>
                      <a:pt x="358" y="397"/>
                    </a:lnTo>
                    <a:lnTo>
                      <a:pt x="360" y="396"/>
                    </a:lnTo>
                    <a:lnTo>
                      <a:pt x="363" y="397"/>
                    </a:lnTo>
                    <a:lnTo>
                      <a:pt x="364" y="399"/>
                    </a:lnTo>
                    <a:lnTo>
                      <a:pt x="374" y="400"/>
                    </a:lnTo>
                    <a:lnTo>
                      <a:pt x="379" y="399"/>
                    </a:lnTo>
                    <a:lnTo>
                      <a:pt x="380" y="400"/>
                    </a:lnTo>
                    <a:lnTo>
                      <a:pt x="380" y="400"/>
                    </a:lnTo>
                    <a:lnTo>
                      <a:pt x="379" y="401"/>
                    </a:lnTo>
                    <a:lnTo>
                      <a:pt x="377" y="401"/>
                    </a:lnTo>
                    <a:lnTo>
                      <a:pt x="385" y="404"/>
                    </a:lnTo>
                    <a:lnTo>
                      <a:pt x="395" y="407"/>
                    </a:lnTo>
                    <a:lnTo>
                      <a:pt x="399" y="404"/>
                    </a:lnTo>
                    <a:lnTo>
                      <a:pt x="403" y="400"/>
                    </a:lnTo>
                    <a:lnTo>
                      <a:pt x="403" y="397"/>
                    </a:lnTo>
                    <a:lnTo>
                      <a:pt x="405" y="397"/>
                    </a:lnTo>
                    <a:lnTo>
                      <a:pt x="409" y="401"/>
                    </a:lnTo>
                    <a:lnTo>
                      <a:pt x="412" y="403"/>
                    </a:lnTo>
                    <a:lnTo>
                      <a:pt x="411" y="403"/>
                    </a:lnTo>
                    <a:lnTo>
                      <a:pt x="409" y="404"/>
                    </a:lnTo>
                    <a:lnTo>
                      <a:pt x="409" y="410"/>
                    </a:lnTo>
                    <a:lnTo>
                      <a:pt x="409" y="412"/>
                    </a:lnTo>
                    <a:lnTo>
                      <a:pt x="408" y="410"/>
                    </a:lnTo>
                    <a:lnTo>
                      <a:pt x="408" y="404"/>
                    </a:lnTo>
                    <a:lnTo>
                      <a:pt x="408" y="403"/>
                    </a:lnTo>
                    <a:lnTo>
                      <a:pt x="408" y="401"/>
                    </a:lnTo>
                    <a:lnTo>
                      <a:pt x="406" y="400"/>
                    </a:lnTo>
                    <a:lnTo>
                      <a:pt x="406" y="400"/>
                    </a:lnTo>
                    <a:lnTo>
                      <a:pt x="405" y="401"/>
                    </a:lnTo>
                    <a:lnTo>
                      <a:pt x="405" y="401"/>
                    </a:lnTo>
                    <a:lnTo>
                      <a:pt x="405" y="406"/>
                    </a:lnTo>
                    <a:lnTo>
                      <a:pt x="405" y="406"/>
                    </a:lnTo>
                    <a:lnTo>
                      <a:pt x="405" y="407"/>
                    </a:lnTo>
                    <a:lnTo>
                      <a:pt x="403" y="410"/>
                    </a:lnTo>
                    <a:lnTo>
                      <a:pt x="403" y="410"/>
                    </a:lnTo>
                    <a:lnTo>
                      <a:pt x="401" y="413"/>
                    </a:lnTo>
                    <a:lnTo>
                      <a:pt x="402" y="413"/>
                    </a:lnTo>
                    <a:lnTo>
                      <a:pt x="406" y="415"/>
                    </a:lnTo>
                    <a:lnTo>
                      <a:pt x="406" y="416"/>
                    </a:lnTo>
                    <a:lnTo>
                      <a:pt x="408" y="416"/>
                    </a:lnTo>
                    <a:lnTo>
                      <a:pt x="409" y="416"/>
                    </a:lnTo>
                    <a:lnTo>
                      <a:pt x="409" y="417"/>
                    </a:lnTo>
                    <a:lnTo>
                      <a:pt x="409" y="417"/>
                    </a:lnTo>
                    <a:lnTo>
                      <a:pt x="414" y="419"/>
                    </a:lnTo>
                    <a:lnTo>
                      <a:pt x="418" y="423"/>
                    </a:lnTo>
                    <a:lnTo>
                      <a:pt x="418" y="422"/>
                    </a:lnTo>
                    <a:lnTo>
                      <a:pt x="418" y="420"/>
                    </a:lnTo>
                    <a:lnTo>
                      <a:pt x="422" y="422"/>
                    </a:lnTo>
                    <a:lnTo>
                      <a:pt x="422" y="420"/>
                    </a:lnTo>
                    <a:lnTo>
                      <a:pt x="422" y="417"/>
                    </a:lnTo>
                    <a:lnTo>
                      <a:pt x="422" y="416"/>
                    </a:lnTo>
                    <a:lnTo>
                      <a:pt x="422" y="416"/>
                    </a:lnTo>
                    <a:lnTo>
                      <a:pt x="424" y="416"/>
                    </a:lnTo>
                    <a:lnTo>
                      <a:pt x="424" y="415"/>
                    </a:lnTo>
                    <a:lnTo>
                      <a:pt x="411" y="397"/>
                    </a:lnTo>
                    <a:lnTo>
                      <a:pt x="411" y="397"/>
                    </a:lnTo>
                    <a:lnTo>
                      <a:pt x="411" y="390"/>
                    </a:lnTo>
                    <a:lnTo>
                      <a:pt x="402" y="390"/>
                    </a:lnTo>
                    <a:lnTo>
                      <a:pt x="399" y="394"/>
                    </a:lnTo>
                    <a:lnTo>
                      <a:pt x="398" y="394"/>
                    </a:lnTo>
                    <a:lnTo>
                      <a:pt x="393" y="391"/>
                    </a:lnTo>
                    <a:lnTo>
                      <a:pt x="390" y="394"/>
                    </a:lnTo>
                    <a:lnTo>
                      <a:pt x="385" y="391"/>
                    </a:lnTo>
                    <a:lnTo>
                      <a:pt x="385" y="38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08" name="Freeform 1619"/>
              <p:cNvSpPr>
                <a:spLocks/>
              </p:cNvSpPr>
              <p:nvPr/>
            </p:nvSpPr>
            <p:spPr bwMode="auto">
              <a:xfrm>
                <a:off x="4315089" y="2168206"/>
                <a:ext cx="107092" cy="135893"/>
              </a:xfrm>
              <a:custGeom>
                <a:avLst/>
                <a:gdLst/>
                <a:ahLst/>
                <a:cxnLst>
                  <a:cxn ang="0">
                    <a:pos x="10" y="23"/>
                  </a:cxn>
                  <a:cxn ang="0">
                    <a:pos x="22" y="17"/>
                  </a:cxn>
                  <a:cxn ang="0">
                    <a:pos x="26" y="11"/>
                  </a:cxn>
                  <a:cxn ang="0">
                    <a:pos x="33" y="4"/>
                  </a:cxn>
                  <a:cxn ang="0">
                    <a:pos x="43" y="6"/>
                  </a:cxn>
                  <a:cxn ang="0">
                    <a:pos x="54" y="19"/>
                  </a:cxn>
                  <a:cxn ang="0">
                    <a:pos x="61" y="27"/>
                  </a:cxn>
                  <a:cxn ang="0">
                    <a:pos x="84" y="70"/>
                  </a:cxn>
                  <a:cxn ang="0">
                    <a:pos x="87" y="75"/>
                  </a:cxn>
                  <a:cxn ang="0">
                    <a:pos x="103" y="91"/>
                  </a:cxn>
                  <a:cxn ang="0">
                    <a:pos x="116" y="115"/>
                  </a:cxn>
                  <a:cxn ang="0">
                    <a:pos x="116" y="122"/>
                  </a:cxn>
                  <a:cxn ang="0">
                    <a:pos x="110" y="129"/>
                  </a:cxn>
                  <a:cxn ang="0">
                    <a:pos x="106" y="131"/>
                  </a:cxn>
                  <a:cxn ang="0">
                    <a:pos x="107" y="125"/>
                  </a:cxn>
                  <a:cxn ang="0">
                    <a:pos x="110" y="122"/>
                  </a:cxn>
                  <a:cxn ang="0">
                    <a:pos x="106" y="118"/>
                  </a:cxn>
                  <a:cxn ang="0">
                    <a:pos x="104" y="107"/>
                  </a:cxn>
                  <a:cxn ang="0">
                    <a:pos x="101" y="100"/>
                  </a:cxn>
                  <a:cxn ang="0">
                    <a:pos x="99" y="100"/>
                  </a:cxn>
                  <a:cxn ang="0">
                    <a:pos x="94" y="103"/>
                  </a:cxn>
                  <a:cxn ang="0">
                    <a:pos x="91" y="107"/>
                  </a:cxn>
                  <a:cxn ang="0">
                    <a:pos x="90" y="110"/>
                  </a:cxn>
                  <a:cxn ang="0">
                    <a:pos x="85" y="106"/>
                  </a:cxn>
                  <a:cxn ang="0">
                    <a:pos x="90" y="97"/>
                  </a:cxn>
                  <a:cxn ang="0">
                    <a:pos x="90" y="93"/>
                  </a:cxn>
                  <a:cxn ang="0">
                    <a:pos x="85" y="83"/>
                  </a:cxn>
                  <a:cxn ang="0">
                    <a:pos x="81" y="78"/>
                  </a:cxn>
                  <a:cxn ang="0">
                    <a:pos x="78" y="77"/>
                  </a:cxn>
                  <a:cxn ang="0">
                    <a:pos x="77" y="71"/>
                  </a:cxn>
                  <a:cxn ang="0">
                    <a:pos x="72" y="71"/>
                  </a:cxn>
                  <a:cxn ang="0">
                    <a:pos x="70" y="71"/>
                  </a:cxn>
                  <a:cxn ang="0">
                    <a:pos x="72" y="67"/>
                  </a:cxn>
                  <a:cxn ang="0">
                    <a:pos x="68" y="64"/>
                  </a:cxn>
                  <a:cxn ang="0">
                    <a:pos x="68" y="61"/>
                  </a:cxn>
                  <a:cxn ang="0">
                    <a:pos x="65" y="59"/>
                  </a:cxn>
                  <a:cxn ang="0">
                    <a:pos x="75" y="61"/>
                  </a:cxn>
                  <a:cxn ang="0">
                    <a:pos x="71" y="57"/>
                  </a:cxn>
                  <a:cxn ang="0">
                    <a:pos x="68" y="51"/>
                  </a:cxn>
                  <a:cxn ang="0">
                    <a:pos x="65" y="51"/>
                  </a:cxn>
                  <a:cxn ang="0">
                    <a:pos x="64" y="49"/>
                  </a:cxn>
                  <a:cxn ang="0">
                    <a:pos x="65" y="46"/>
                  </a:cxn>
                  <a:cxn ang="0">
                    <a:pos x="64" y="43"/>
                  </a:cxn>
                  <a:cxn ang="0">
                    <a:pos x="59" y="43"/>
                  </a:cxn>
                  <a:cxn ang="0">
                    <a:pos x="56" y="42"/>
                  </a:cxn>
                  <a:cxn ang="0">
                    <a:pos x="46" y="30"/>
                  </a:cxn>
                  <a:cxn ang="0">
                    <a:pos x="39" y="11"/>
                  </a:cxn>
                  <a:cxn ang="0">
                    <a:pos x="45" y="38"/>
                  </a:cxn>
                  <a:cxn ang="0">
                    <a:pos x="38" y="35"/>
                  </a:cxn>
                  <a:cxn ang="0">
                    <a:pos x="35" y="32"/>
                  </a:cxn>
                  <a:cxn ang="0">
                    <a:pos x="32" y="25"/>
                  </a:cxn>
                  <a:cxn ang="0">
                    <a:pos x="27" y="27"/>
                  </a:cxn>
                  <a:cxn ang="0">
                    <a:pos x="22" y="23"/>
                  </a:cxn>
                  <a:cxn ang="0">
                    <a:pos x="19" y="23"/>
                  </a:cxn>
                  <a:cxn ang="0">
                    <a:pos x="22" y="26"/>
                  </a:cxn>
                  <a:cxn ang="0">
                    <a:pos x="24" y="30"/>
                  </a:cxn>
                  <a:cxn ang="0">
                    <a:pos x="30" y="35"/>
                  </a:cxn>
                  <a:cxn ang="0">
                    <a:pos x="24" y="38"/>
                  </a:cxn>
                  <a:cxn ang="0">
                    <a:pos x="17" y="38"/>
                  </a:cxn>
                  <a:cxn ang="0">
                    <a:pos x="10" y="29"/>
                  </a:cxn>
                  <a:cxn ang="0">
                    <a:pos x="0" y="19"/>
                  </a:cxn>
                </a:cxnLst>
                <a:rect l="0" t="0" r="r" b="b"/>
                <a:pathLst>
                  <a:path w="117" h="131">
                    <a:moveTo>
                      <a:pt x="3" y="10"/>
                    </a:moveTo>
                    <a:lnTo>
                      <a:pt x="7" y="14"/>
                    </a:lnTo>
                    <a:lnTo>
                      <a:pt x="10" y="22"/>
                    </a:lnTo>
                    <a:lnTo>
                      <a:pt x="10" y="23"/>
                    </a:lnTo>
                    <a:lnTo>
                      <a:pt x="10" y="23"/>
                    </a:lnTo>
                    <a:lnTo>
                      <a:pt x="14" y="22"/>
                    </a:lnTo>
                    <a:lnTo>
                      <a:pt x="19" y="19"/>
                    </a:lnTo>
                    <a:lnTo>
                      <a:pt x="22" y="17"/>
                    </a:lnTo>
                    <a:lnTo>
                      <a:pt x="23" y="14"/>
                    </a:lnTo>
                    <a:lnTo>
                      <a:pt x="23" y="13"/>
                    </a:lnTo>
                    <a:lnTo>
                      <a:pt x="24" y="11"/>
                    </a:lnTo>
                    <a:lnTo>
                      <a:pt x="26" y="11"/>
                    </a:lnTo>
                    <a:lnTo>
                      <a:pt x="26" y="10"/>
                    </a:lnTo>
                    <a:lnTo>
                      <a:pt x="26" y="7"/>
                    </a:lnTo>
                    <a:lnTo>
                      <a:pt x="27" y="6"/>
                    </a:lnTo>
                    <a:lnTo>
                      <a:pt x="33" y="4"/>
                    </a:lnTo>
                    <a:lnTo>
                      <a:pt x="39" y="0"/>
                    </a:lnTo>
                    <a:lnTo>
                      <a:pt x="40" y="0"/>
                    </a:lnTo>
                    <a:lnTo>
                      <a:pt x="42" y="1"/>
                    </a:lnTo>
                    <a:lnTo>
                      <a:pt x="43" y="6"/>
                    </a:lnTo>
                    <a:lnTo>
                      <a:pt x="45" y="7"/>
                    </a:lnTo>
                    <a:lnTo>
                      <a:pt x="46" y="7"/>
                    </a:lnTo>
                    <a:lnTo>
                      <a:pt x="51" y="16"/>
                    </a:lnTo>
                    <a:lnTo>
                      <a:pt x="54" y="19"/>
                    </a:lnTo>
                    <a:lnTo>
                      <a:pt x="55" y="23"/>
                    </a:lnTo>
                    <a:lnTo>
                      <a:pt x="55" y="23"/>
                    </a:lnTo>
                    <a:lnTo>
                      <a:pt x="55" y="25"/>
                    </a:lnTo>
                    <a:lnTo>
                      <a:pt x="61" y="27"/>
                    </a:lnTo>
                    <a:lnTo>
                      <a:pt x="77" y="58"/>
                    </a:lnTo>
                    <a:lnTo>
                      <a:pt x="78" y="58"/>
                    </a:lnTo>
                    <a:lnTo>
                      <a:pt x="80" y="62"/>
                    </a:lnTo>
                    <a:lnTo>
                      <a:pt x="84" y="70"/>
                    </a:lnTo>
                    <a:lnTo>
                      <a:pt x="84" y="71"/>
                    </a:lnTo>
                    <a:lnTo>
                      <a:pt x="84" y="71"/>
                    </a:lnTo>
                    <a:lnTo>
                      <a:pt x="84" y="72"/>
                    </a:lnTo>
                    <a:lnTo>
                      <a:pt x="87" y="75"/>
                    </a:lnTo>
                    <a:lnTo>
                      <a:pt x="88" y="83"/>
                    </a:lnTo>
                    <a:lnTo>
                      <a:pt x="91" y="87"/>
                    </a:lnTo>
                    <a:lnTo>
                      <a:pt x="94" y="88"/>
                    </a:lnTo>
                    <a:lnTo>
                      <a:pt x="103" y="91"/>
                    </a:lnTo>
                    <a:lnTo>
                      <a:pt x="112" y="97"/>
                    </a:lnTo>
                    <a:lnTo>
                      <a:pt x="116" y="99"/>
                    </a:lnTo>
                    <a:lnTo>
                      <a:pt x="117" y="102"/>
                    </a:lnTo>
                    <a:lnTo>
                      <a:pt x="116" y="115"/>
                    </a:lnTo>
                    <a:lnTo>
                      <a:pt x="117" y="119"/>
                    </a:lnTo>
                    <a:lnTo>
                      <a:pt x="117" y="120"/>
                    </a:lnTo>
                    <a:lnTo>
                      <a:pt x="117" y="122"/>
                    </a:lnTo>
                    <a:lnTo>
                      <a:pt x="116" y="122"/>
                    </a:lnTo>
                    <a:lnTo>
                      <a:pt x="116" y="125"/>
                    </a:lnTo>
                    <a:lnTo>
                      <a:pt x="115" y="123"/>
                    </a:lnTo>
                    <a:lnTo>
                      <a:pt x="110" y="128"/>
                    </a:lnTo>
                    <a:lnTo>
                      <a:pt x="110" y="129"/>
                    </a:lnTo>
                    <a:lnTo>
                      <a:pt x="109" y="129"/>
                    </a:lnTo>
                    <a:lnTo>
                      <a:pt x="107" y="131"/>
                    </a:lnTo>
                    <a:lnTo>
                      <a:pt x="106" y="128"/>
                    </a:lnTo>
                    <a:lnTo>
                      <a:pt x="106" y="131"/>
                    </a:lnTo>
                    <a:lnTo>
                      <a:pt x="104" y="131"/>
                    </a:lnTo>
                    <a:lnTo>
                      <a:pt x="104" y="125"/>
                    </a:lnTo>
                    <a:lnTo>
                      <a:pt x="106" y="123"/>
                    </a:lnTo>
                    <a:lnTo>
                      <a:pt x="107" y="125"/>
                    </a:lnTo>
                    <a:lnTo>
                      <a:pt x="107" y="123"/>
                    </a:lnTo>
                    <a:lnTo>
                      <a:pt x="109" y="123"/>
                    </a:lnTo>
                    <a:lnTo>
                      <a:pt x="109" y="122"/>
                    </a:lnTo>
                    <a:lnTo>
                      <a:pt x="110" y="122"/>
                    </a:lnTo>
                    <a:lnTo>
                      <a:pt x="109" y="118"/>
                    </a:lnTo>
                    <a:lnTo>
                      <a:pt x="107" y="116"/>
                    </a:lnTo>
                    <a:lnTo>
                      <a:pt x="107" y="118"/>
                    </a:lnTo>
                    <a:lnTo>
                      <a:pt x="106" y="118"/>
                    </a:lnTo>
                    <a:lnTo>
                      <a:pt x="106" y="118"/>
                    </a:lnTo>
                    <a:lnTo>
                      <a:pt x="106" y="112"/>
                    </a:lnTo>
                    <a:lnTo>
                      <a:pt x="104" y="110"/>
                    </a:lnTo>
                    <a:lnTo>
                      <a:pt x="104" y="107"/>
                    </a:lnTo>
                    <a:lnTo>
                      <a:pt x="103" y="103"/>
                    </a:lnTo>
                    <a:lnTo>
                      <a:pt x="101" y="100"/>
                    </a:lnTo>
                    <a:lnTo>
                      <a:pt x="101" y="102"/>
                    </a:lnTo>
                    <a:lnTo>
                      <a:pt x="101" y="100"/>
                    </a:lnTo>
                    <a:lnTo>
                      <a:pt x="103" y="99"/>
                    </a:lnTo>
                    <a:lnTo>
                      <a:pt x="101" y="97"/>
                    </a:lnTo>
                    <a:lnTo>
                      <a:pt x="100" y="97"/>
                    </a:lnTo>
                    <a:lnTo>
                      <a:pt x="99" y="100"/>
                    </a:lnTo>
                    <a:lnTo>
                      <a:pt x="97" y="100"/>
                    </a:lnTo>
                    <a:lnTo>
                      <a:pt x="97" y="102"/>
                    </a:lnTo>
                    <a:lnTo>
                      <a:pt x="94" y="102"/>
                    </a:lnTo>
                    <a:lnTo>
                      <a:pt x="94" y="103"/>
                    </a:lnTo>
                    <a:lnTo>
                      <a:pt x="93" y="103"/>
                    </a:lnTo>
                    <a:lnTo>
                      <a:pt x="93" y="104"/>
                    </a:lnTo>
                    <a:lnTo>
                      <a:pt x="91" y="106"/>
                    </a:lnTo>
                    <a:lnTo>
                      <a:pt x="91" y="107"/>
                    </a:lnTo>
                    <a:lnTo>
                      <a:pt x="91" y="107"/>
                    </a:lnTo>
                    <a:lnTo>
                      <a:pt x="90" y="109"/>
                    </a:lnTo>
                    <a:lnTo>
                      <a:pt x="90" y="109"/>
                    </a:lnTo>
                    <a:lnTo>
                      <a:pt x="90" y="110"/>
                    </a:lnTo>
                    <a:lnTo>
                      <a:pt x="88" y="112"/>
                    </a:lnTo>
                    <a:lnTo>
                      <a:pt x="85" y="109"/>
                    </a:lnTo>
                    <a:lnTo>
                      <a:pt x="85" y="107"/>
                    </a:lnTo>
                    <a:lnTo>
                      <a:pt x="85" y="106"/>
                    </a:lnTo>
                    <a:lnTo>
                      <a:pt x="87" y="106"/>
                    </a:lnTo>
                    <a:lnTo>
                      <a:pt x="88" y="104"/>
                    </a:lnTo>
                    <a:lnTo>
                      <a:pt x="90" y="100"/>
                    </a:lnTo>
                    <a:lnTo>
                      <a:pt x="90" y="97"/>
                    </a:lnTo>
                    <a:lnTo>
                      <a:pt x="91" y="96"/>
                    </a:lnTo>
                    <a:lnTo>
                      <a:pt x="96" y="96"/>
                    </a:lnTo>
                    <a:lnTo>
                      <a:pt x="96" y="94"/>
                    </a:lnTo>
                    <a:lnTo>
                      <a:pt x="90" y="93"/>
                    </a:lnTo>
                    <a:lnTo>
                      <a:pt x="88" y="91"/>
                    </a:lnTo>
                    <a:lnTo>
                      <a:pt x="87" y="90"/>
                    </a:lnTo>
                    <a:lnTo>
                      <a:pt x="85" y="87"/>
                    </a:lnTo>
                    <a:lnTo>
                      <a:pt x="85" y="83"/>
                    </a:lnTo>
                    <a:lnTo>
                      <a:pt x="83" y="83"/>
                    </a:lnTo>
                    <a:lnTo>
                      <a:pt x="83" y="81"/>
                    </a:lnTo>
                    <a:lnTo>
                      <a:pt x="83" y="80"/>
                    </a:lnTo>
                    <a:lnTo>
                      <a:pt x="81" y="78"/>
                    </a:lnTo>
                    <a:lnTo>
                      <a:pt x="78" y="78"/>
                    </a:lnTo>
                    <a:lnTo>
                      <a:pt x="75" y="74"/>
                    </a:lnTo>
                    <a:lnTo>
                      <a:pt x="74" y="72"/>
                    </a:lnTo>
                    <a:lnTo>
                      <a:pt x="78" y="77"/>
                    </a:lnTo>
                    <a:lnTo>
                      <a:pt x="78" y="77"/>
                    </a:lnTo>
                    <a:lnTo>
                      <a:pt x="77" y="74"/>
                    </a:lnTo>
                    <a:lnTo>
                      <a:pt x="77" y="71"/>
                    </a:lnTo>
                    <a:lnTo>
                      <a:pt x="77" y="71"/>
                    </a:lnTo>
                    <a:lnTo>
                      <a:pt x="75" y="72"/>
                    </a:lnTo>
                    <a:lnTo>
                      <a:pt x="74" y="72"/>
                    </a:lnTo>
                    <a:lnTo>
                      <a:pt x="72" y="71"/>
                    </a:lnTo>
                    <a:lnTo>
                      <a:pt x="72" y="71"/>
                    </a:lnTo>
                    <a:lnTo>
                      <a:pt x="72" y="71"/>
                    </a:lnTo>
                    <a:lnTo>
                      <a:pt x="71" y="70"/>
                    </a:lnTo>
                    <a:lnTo>
                      <a:pt x="71" y="71"/>
                    </a:lnTo>
                    <a:lnTo>
                      <a:pt x="70" y="71"/>
                    </a:lnTo>
                    <a:lnTo>
                      <a:pt x="68" y="70"/>
                    </a:lnTo>
                    <a:lnTo>
                      <a:pt x="68" y="68"/>
                    </a:lnTo>
                    <a:lnTo>
                      <a:pt x="68" y="67"/>
                    </a:lnTo>
                    <a:lnTo>
                      <a:pt x="72" y="67"/>
                    </a:lnTo>
                    <a:lnTo>
                      <a:pt x="72" y="65"/>
                    </a:lnTo>
                    <a:lnTo>
                      <a:pt x="70" y="65"/>
                    </a:lnTo>
                    <a:lnTo>
                      <a:pt x="68" y="65"/>
                    </a:lnTo>
                    <a:lnTo>
                      <a:pt x="68" y="64"/>
                    </a:lnTo>
                    <a:lnTo>
                      <a:pt x="70" y="64"/>
                    </a:lnTo>
                    <a:lnTo>
                      <a:pt x="70" y="62"/>
                    </a:lnTo>
                    <a:lnTo>
                      <a:pt x="68" y="62"/>
                    </a:lnTo>
                    <a:lnTo>
                      <a:pt x="68" y="61"/>
                    </a:lnTo>
                    <a:lnTo>
                      <a:pt x="70" y="59"/>
                    </a:lnTo>
                    <a:lnTo>
                      <a:pt x="70" y="59"/>
                    </a:lnTo>
                    <a:lnTo>
                      <a:pt x="67" y="59"/>
                    </a:lnTo>
                    <a:lnTo>
                      <a:pt x="65" y="59"/>
                    </a:lnTo>
                    <a:lnTo>
                      <a:pt x="67" y="57"/>
                    </a:lnTo>
                    <a:lnTo>
                      <a:pt x="72" y="59"/>
                    </a:lnTo>
                    <a:lnTo>
                      <a:pt x="74" y="61"/>
                    </a:lnTo>
                    <a:lnTo>
                      <a:pt x="75" y="61"/>
                    </a:lnTo>
                    <a:lnTo>
                      <a:pt x="74" y="61"/>
                    </a:lnTo>
                    <a:lnTo>
                      <a:pt x="72" y="59"/>
                    </a:lnTo>
                    <a:lnTo>
                      <a:pt x="72" y="57"/>
                    </a:lnTo>
                    <a:lnTo>
                      <a:pt x="71" y="57"/>
                    </a:lnTo>
                    <a:lnTo>
                      <a:pt x="71" y="58"/>
                    </a:lnTo>
                    <a:lnTo>
                      <a:pt x="68" y="54"/>
                    </a:lnTo>
                    <a:lnTo>
                      <a:pt x="67" y="52"/>
                    </a:lnTo>
                    <a:lnTo>
                      <a:pt x="68" y="51"/>
                    </a:lnTo>
                    <a:lnTo>
                      <a:pt x="71" y="51"/>
                    </a:lnTo>
                    <a:lnTo>
                      <a:pt x="72" y="51"/>
                    </a:lnTo>
                    <a:lnTo>
                      <a:pt x="71" y="51"/>
                    </a:lnTo>
                    <a:lnTo>
                      <a:pt x="65" y="51"/>
                    </a:lnTo>
                    <a:lnTo>
                      <a:pt x="65" y="52"/>
                    </a:lnTo>
                    <a:lnTo>
                      <a:pt x="65" y="54"/>
                    </a:lnTo>
                    <a:lnTo>
                      <a:pt x="62" y="51"/>
                    </a:lnTo>
                    <a:lnTo>
                      <a:pt x="64" y="49"/>
                    </a:lnTo>
                    <a:lnTo>
                      <a:pt x="65" y="48"/>
                    </a:lnTo>
                    <a:lnTo>
                      <a:pt x="68" y="46"/>
                    </a:lnTo>
                    <a:lnTo>
                      <a:pt x="67" y="45"/>
                    </a:lnTo>
                    <a:lnTo>
                      <a:pt x="65" y="46"/>
                    </a:lnTo>
                    <a:lnTo>
                      <a:pt x="65" y="46"/>
                    </a:lnTo>
                    <a:lnTo>
                      <a:pt x="67" y="43"/>
                    </a:lnTo>
                    <a:lnTo>
                      <a:pt x="65" y="43"/>
                    </a:lnTo>
                    <a:lnTo>
                      <a:pt x="64" y="43"/>
                    </a:lnTo>
                    <a:lnTo>
                      <a:pt x="62" y="46"/>
                    </a:lnTo>
                    <a:lnTo>
                      <a:pt x="62" y="48"/>
                    </a:lnTo>
                    <a:lnTo>
                      <a:pt x="61" y="46"/>
                    </a:lnTo>
                    <a:lnTo>
                      <a:pt x="59" y="43"/>
                    </a:lnTo>
                    <a:lnTo>
                      <a:pt x="59" y="42"/>
                    </a:lnTo>
                    <a:lnTo>
                      <a:pt x="58" y="41"/>
                    </a:lnTo>
                    <a:lnTo>
                      <a:pt x="58" y="41"/>
                    </a:lnTo>
                    <a:lnTo>
                      <a:pt x="56" y="42"/>
                    </a:lnTo>
                    <a:lnTo>
                      <a:pt x="52" y="38"/>
                    </a:lnTo>
                    <a:lnTo>
                      <a:pt x="49" y="38"/>
                    </a:lnTo>
                    <a:lnTo>
                      <a:pt x="46" y="32"/>
                    </a:lnTo>
                    <a:lnTo>
                      <a:pt x="46" y="30"/>
                    </a:lnTo>
                    <a:lnTo>
                      <a:pt x="46" y="26"/>
                    </a:lnTo>
                    <a:lnTo>
                      <a:pt x="45" y="27"/>
                    </a:lnTo>
                    <a:lnTo>
                      <a:pt x="39" y="10"/>
                    </a:lnTo>
                    <a:lnTo>
                      <a:pt x="39" y="11"/>
                    </a:lnTo>
                    <a:lnTo>
                      <a:pt x="40" y="16"/>
                    </a:lnTo>
                    <a:lnTo>
                      <a:pt x="39" y="17"/>
                    </a:lnTo>
                    <a:lnTo>
                      <a:pt x="39" y="16"/>
                    </a:lnTo>
                    <a:lnTo>
                      <a:pt x="45" y="38"/>
                    </a:lnTo>
                    <a:lnTo>
                      <a:pt x="42" y="42"/>
                    </a:lnTo>
                    <a:lnTo>
                      <a:pt x="40" y="42"/>
                    </a:lnTo>
                    <a:lnTo>
                      <a:pt x="39" y="36"/>
                    </a:lnTo>
                    <a:lnTo>
                      <a:pt x="38" y="35"/>
                    </a:lnTo>
                    <a:lnTo>
                      <a:pt x="38" y="38"/>
                    </a:lnTo>
                    <a:lnTo>
                      <a:pt x="33" y="38"/>
                    </a:lnTo>
                    <a:lnTo>
                      <a:pt x="33" y="33"/>
                    </a:lnTo>
                    <a:lnTo>
                      <a:pt x="35" y="32"/>
                    </a:lnTo>
                    <a:lnTo>
                      <a:pt x="33" y="32"/>
                    </a:lnTo>
                    <a:lnTo>
                      <a:pt x="30" y="27"/>
                    </a:lnTo>
                    <a:lnTo>
                      <a:pt x="30" y="25"/>
                    </a:lnTo>
                    <a:lnTo>
                      <a:pt x="32" y="25"/>
                    </a:lnTo>
                    <a:lnTo>
                      <a:pt x="30" y="23"/>
                    </a:lnTo>
                    <a:lnTo>
                      <a:pt x="29" y="23"/>
                    </a:lnTo>
                    <a:lnTo>
                      <a:pt x="29" y="26"/>
                    </a:lnTo>
                    <a:lnTo>
                      <a:pt x="27" y="27"/>
                    </a:lnTo>
                    <a:lnTo>
                      <a:pt x="24" y="25"/>
                    </a:lnTo>
                    <a:lnTo>
                      <a:pt x="23" y="22"/>
                    </a:lnTo>
                    <a:lnTo>
                      <a:pt x="22" y="22"/>
                    </a:lnTo>
                    <a:lnTo>
                      <a:pt x="22" y="23"/>
                    </a:lnTo>
                    <a:lnTo>
                      <a:pt x="22" y="23"/>
                    </a:lnTo>
                    <a:lnTo>
                      <a:pt x="19" y="20"/>
                    </a:lnTo>
                    <a:lnTo>
                      <a:pt x="19" y="22"/>
                    </a:lnTo>
                    <a:lnTo>
                      <a:pt x="19" y="23"/>
                    </a:lnTo>
                    <a:lnTo>
                      <a:pt x="17" y="23"/>
                    </a:lnTo>
                    <a:lnTo>
                      <a:pt x="17" y="23"/>
                    </a:lnTo>
                    <a:lnTo>
                      <a:pt x="20" y="25"/>
                    </a:lnTo>
                    <a:lnTo>
                      <a:pt x="22" y="26"/>
                    </a:lnTo>
                    <a:lnTo>
                      <a:pt x="23" y="27"/>
                    </a:lnTo>
                    <a:lnTo>
                      <a:pt x="23" y="27"/>
                    </a:lnTo>
                    <a:lnTo>
                      <a:pt x="24" y="29"/>
                    </a:lnTo>
                    <a:lnTo>
                      <a:pt x="24" y="30"/>
                    </a:lnTo>
                    <a:lnTo>
                      <a:pt x="26" y="32"/>
                    </a:lnTo>
                    <a:lnTo>
                      <a:pt x="26" y="30"/>
                    </a:lnTo>
                    <a:lnTo>
                      <a:pt x="27" y="30"/>
                    </a:lnTo>
                    <a:lnTo>
                      <a:pt x="30" y="35"/>
                    </a:lnTo>
                    <a:lnTo>
                      <a:pt x="29" y="38"/>
                    </a:lnTo>
                    <a:lnTo>
                      <a:pt x="27" y="39"/>
                    </a:lnTo>
                    <a:lnTo>
                      <a:pt x="24" y="39"/>
                    </a:lnTo>
                    <a:lnTo>
                      <a:pt x="24" y="38"/>
                    </a:lnTo>
                    <a:lnTo>
                      <a:pt x="24" y="38"/>
                    </a:lnTo>
                    <a:lnTo>
                      <a:pt x="24" y="41"/>
                    </a:lnTo>
                    <a:lnTo>
                      <a:pt x="22" y="42"/>
                    </a:lnTo>
                    <a:lnTo>
                      <a:pt x="17" y="38"/>
                    </a:lnTo>
                    <a:lnTo>
                      <a:pt x="13" y="36"/>
                    </a:lnTo>
                    <a:lnTo>
                      <a:pt x="10" y="33"/>
                    </a:lnTo>
                    <a:lnTo>
                      <a:pt x="9" y="32"/>
                    </a:lnTo>
                    <a:lnTo>
                      <a:pt x="10" y="29"/>
                    </a:lnTo>
                    <a:lnTo>
                      <a:pt x="9" y="29"/>
                    </a:lnTo>
                    <a:lnTo>
                      <a:pt x="7" y="29"/>
                    </a:lnTo>
                    <a:lnTo>
                      <a:pt x="0" y="20"/>
                    </a:lnTo>
                    <a:lnTo>
                      <a:pt x="0" y="19"/>
                    </a:lnTo>
                    <a:lnTo>
                      <a:pt x="1" y="11"/>
                    </a:lnTo>
                    <a:lnTo>
                      <a:pt x="3" y="1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409" name="Freeform 1620"/>
              <p:cNvSpPr>
                <a:spLocks/>
              </p:cNvSpPr>
              <p:nvPr/>
            </p:nvSpPr>
            <p:spPr bwMode="auto">
              <a:xfrm>
                <a:off x="4315089" y="2168206"/>
                <a:ext cx="107092" cy="135893"/>
              </a:xfrm>
              <a:custGeom>
                <a:avLst/>
                <a:gdLst/>
                <a:ahLst/>
                <a:cxnLst>
                  <a:cxn ang="0">
                    <a:pos x="10" y="23"/>
                  </a:cxn>
                  <a:cxn ang="0">
                    <a:pos x="22" y="17"/>
                  </a:cxn>
                  <a:cxn ang="0">
                    <a:pos x="26" y="11"/>
                  </a:cxn>
                  <a:cxn ang="0">
                    <a:pos x="33" y="4"/>
                  </a:cxn>
                  <a:cxn ang="0">
                    <a:pos x="43" y="6"/>
                  </a:cxn>
                  <a:cxn ang="0">
                    <a:pos x="54" y="19"/>
                  </a:cxn>
                  <a:cxn ang="0">
                    <a:pos x="61" y="27"/>
                  </a:cxn>
                  <a:cxn ang="0">
                    <a:pos x="84" y="70"/>
                  </a:cxn>
                  <a:cxn ang="0">
                    <a:pos x="87" y="75"/>
                  </a:cxn>
                  <a:cxn ang="0">
                    <a:pos x="103" y="91"/>
                  </a:cxn>
                  <a:cxn ang="0">
                    <a:pos x="116" y="115"/>
                  </a:cxn>
                  <a:cxn ang="0">
                    <a:pos x="116" y="122"/>
                  </a:cxn>
                  <a:cxn ang="0">
                    <a:pos x="110" y="129"/>
                  </a:cxn>
                  <a:cxn ang="0">
                    <a:pos x="106" y="131"/>
                  </a:cxn>
                  <a:cxn ang="0">
                    <a:pos x="107" y="125"/>
                  </a:cxn>
                  <a:cxn ang="0">
                    <a:pos x="110" y="122"/>
                  </a:cxn>
                  <a:cxn ang="0">
                    <a:pos x="106" y="118"/>
                  </a:cxn>
                  <a:cxn ang="0">
                    <a:pos x="104" y="107"/>
                  </a:cxn>
                  <a:cxn ang="0">
                    <a:pos x="101" y="100"/>
                  </a:cxn>
                  <a:cxn ang="0">
                    <a:pos x="99" y="100"/>
                  </a:cxn>
                  <a:cxn ang="0">
                    <a:pos x="94" y="103"/>
                  </a:cxn>
                  <a:cxn ang="0">
                    <a:pos x="91" y="107"/>
                  </a:cxn>
                  <a:cxn ang="0">
                    <a:pos x="90" y="110"/>
                  </a:cxn>
                  <a:cxn ang="0">
                    <a:pos x="85" y="106"/>
                  </a:cxn>
                  <a:cxn ang="0">
                    <a:pos x="90" y="97"/>
                  </a:cxn>
                  <a:cxn ang="0">
                    <a:pos x="90" y="93"/>
                  </a:cxn>
                  <a:cxn ang="0">
                    <a:pos x="85" y="83"/>
                  </a:cxn>
                  <a:cxn ang="0">
                    <a:pos x="81" y="78"/>
                  </a:cxn>
                  <a:cxn ang="0">
                    <a:pos x="78" y="77"/>
                  </a:cxn>
                  <a:cxn ang="0">
                    <a:pos x="77" y="71"/>
                  </a:cxn>
                  <a:cxn ang="0">
                    <a:pos x="72" y="71"/>
                  </a:cxn>
                  <a:cxn ang="0">
                    <a:pos x="70" y="71"/>
                  </a:cxn>
                  <a:cxn ang="0">
                    <a:pos x="72" y="67"/>
                  </a:cxn>
                  <a:cxn ang="0">
                    <a:pos x="68" y="64"/>
                  </a:cxn>
                  <a:cxn ang="0">
                    <a:pos x="68" y="61"/>
                  </a:cxn>
                  <a:cxn ang="0">
                    <a:pos x="65" y="59"/>
                  </a:cxn>
                  <a:cxn ang="0">
                    <a:pos x="75" y="61"/>
                  </a:cxn>
                  <a:cxn ang="0">
                    <a:pos x="71" y="57"/>
                  </a:cxn>
                  <a:cxn ang="0">
                    <a:pos x="68" y="51"/>
                  </a:cxn>
                  <a:cxn ang="0">
                    <a:pos x="65" y="51"/>
                  </a:cxn>
                  <a:cxn ang="0">
                    <a:pos x="64" y="49"/>
                  </a:cxn>
                  <a:cxn ang="0">
                    <a:pos x="65" y="46"/>
                  </a:cxn>
                  <a:cxn ang="0">
                    <a:pos x="64" y="43"/>
                  </a:cxn>
                  <a:cxn ang="0">
                    <a:pos x="59" y="43"/>
                  </a:cxn>
                  <a:cxn ang="0">
                    <a:pos x="56" y="42"/>
                  </a:cxn>
                  <a:cxn ang="0">
                    <a:pos x="46" y="30"/>
                  </a:cxn>
                  <a:cxn ang="0">
                    <a:pos x="39" y="11"/>
                  </a:cxn>
                  <a:cxn ang="0">
                    <a:pos x="45" y="38"/>
                  </a:cxn>
                  <a:cxn ang="0">
                    <a:pos x="38" y="35"/>
                  </a:cxn>
                  <a:cxn ang="0">
                    <a:pos x="35" y="32"/>
                  </a:cxn>
                  <a:cxn ang="0">
                    <a:pos x="32" y="25"/>
                  </a:cxn>
                  <a:cxn ang="0">
                    <a:pos x="27" y="27"/>
                  </a:cxn>
                  <a:cxn ang="0">
                    <a:pos x="22" y="23"/>
                  </a:cxn>
                  <a:cxn ang="0">
                    <a:pos x="19" y="23"/>
                  </a:cxn>
                  <a:cxn ang="0">
                    <a:pos x="22" y="26"/>
                  </a:cxn>
                  <a:cxn ang="0">
                    <a:pos x="24" y="30"/>
                  </a:cxn>
                  <a:cxn ang="0">
                    <a:pos x="30" y="35"/>
                  </a:cxn>
                  <a:cxn ang="0">
                    <a:pos x="24" y="38"/>
                  </a:cxn>
                  <a:cxn ang="0">
                    <a:pos x="17" y="38"/>
                  </a:cxn>
                  <a:cxn ang="0">
                    <a:pos x="10" y="29"/>
                  </a:cxn>
                  <a:cxn ang="0">
                    <a:pos x="0" y="19"/>
                  </a:cxn>
                </a:cxnLst>
                <a:rect l="0" t="0" r="r" b="b"/>
                <a:pathLst>
                  <a:path w="117" h="131">
                    <a:moveTo>
                      <a:pt x="3" y="10"/>
                    </a:moveTo>
                    <a:lnTo>
                      <a:pt x="7" y="14"/>
                    </a:lnTo>
                    <a:lnTo>
                      <a:pt x="10" y="22"/>
                    </a:lnTo>
                    <a:lnTo>
                      <a:pt x="10" y="23"/>
                    </a:lnTo>
                    <a:lnTo>
                      <a:pt x="10" y="23"/>
                    </a:lnTo>
                    <a:lnTo>
                      <a:pt x="14" y="22"/>
                    </a:lnTo>
                    <a:lnTo>
                      <a:pt x="19" y="19"/>
                    </a:lnTo>
                    <a:lnTo>
                      <a:pt x="22" y="17"/>
                    </a:lnTo>
                    <a:lnTo>
                      <a:pt x="23" y="14"/>
                    </a:lnTo>
                    <a:lnTo>
                      <a:pt x="23" y="13"/>
                    </a:lnTo>
                    <a:lnTo>
                      <a:pt x="24" y="11"/>
                    </a:lnTo>
                    <a:lnTo>
                      <a:pt x="26" y="11"/>
                    </a:lnTo>
                    <a:lnTo>
                      <a:pt x="26" y="10"/>
                    </a:lnTo>
                    <a:lnTo>
                      <a:pt x="26" y="7"/>
                    </a:lnTo>
                    <a:lnTo>
                      <a:pt x="27" y="6"/>
                    </a:lnTo>
                    <a:lnTo>
                      <a:pt x="33" y="4"/>
                    </a:lnTo>
                    <a:lnTo>
                      <a:pt x="39" y="0"/>
                    </a:lnTo>
                    <a:lnTo>
                      <a:pt x="40" y="0"/>
                    </a:lnTo>
                    <a:lnTo>
                      <a:pt x="42" y="1"/>
                    </a:lnTo>
                    <a:lnTo>
                      <a:pt x="43" y="6"/>
                    </a:lnTo>
                    <a:lnTo>
                      <a:pt x="45" y="7"/>
                    </a:lnTo>
                    <a:lnTo>
                      <a:pt x="46" y="7"/>
                    </a:lnTo>
                    <a:lnTo>
                      <a:pt x="51" y="16"/>
                    </a:lnTo>
                    <a:lnTo>
                      <a:pt x="54" y="19"/>
                    </a:lnTo>
                    <a:lnTo>
                      <a:pt x="55" y="23"/>
                    </a:lnTo>
                    <a:lnTo>
                      <a:pt x="55" y="23"/>
                    </a:lnTo>
                    <a:lnTo>
                      <a:pt x="55" y="25"/>
                    </a:lnTo>
                    <a:lnTo>
                      <a:pt x="61" y="27"/>
                    </a:lnTo>
                    <a:lnTo>
                      <a:pt x="77" y="58"/>
                    </a:lnTo>
                    <a:lnTo>
                      <a:pt x="78" y="58"/>
                    </a:lnTo>
                    <a:lnTo>
                      <a:pt x="80" y="62"/>
                    </a:lnTo>
                    <a:lnTo>
                      <a:pt x="84" y="70"/>
                    </a:lnTo>
                    <a:lnTo>
                      <a:pt x="84" y="71"/>
                    </a:lnTo>
                    <a:lnTo>
                      <a:pt x="84" y="71"/>
                    </a:lnTo>
                    <a:lnTo>
                      <a:pt x="84" y="72"/>
                    </a:lnTo>
                    <a:lnTo>
                      <a:pt x="87" y="75"/>
                    </a:lnTo>
                    <a:lnTo>
                      <a:pt x="88" y="83"/>
                    </a:lnTo>
                    <a:lnTo>
                      <a:pt x="91" y="87"/>
                    </a:lnTo>
                    <a:lnTo>
                      <a:pt x="94" y="88"/>
                    </a:lnTo>
                    <a:lnTo>
                      <a:pt x="103" y="91"/>
                    </a:lnTo>
                    <a:lnTo>
                      <a:pt x="112" y="97"/>
                    </a:lnTo>
                    <a:lnTo>
                      <a:pt x="116" y="99"/>
                    </a:lnTo>
                    <a:lnTo>
                      <a:pt x="117" y="102"/>
                    </a:lnTo>
                    <a:lnTo>
                      <a:pt x="116" y="115"/>
                    </a:lnTo>
                    <a:lnTo>
                      <a:pt x="117" y="119"/>
                    </a:lnTo>
                    <a:lnTo>
                      <a:pt x="117" y="120"/>
                    </a:lnTo>
                    <a:lnTo>
                      <a:pt x="117" y="122"/>
                    </a:lnTo>
                    <a:lnTo>
                      <a:pt x="116" y="122"/>
                    </a:lnTo>
                    <a:lnTo>
                      <a:pt x="116" y="125"/>
                    </a:lnTo>
                    <a:lnTo>
                      <a:pt x="115" y="123"/>
                    </a:lnTo>
                    <a:lnTo>
                      <a:pt x="110" y="128"/>
                    </a:lnTo>
                    <a:lnTo>
                      <a:pt x="110" y="129"/>
                    </a:lnTo>
                    <a:lnTo>
                      <a:pt x="109" y="129"/>
                    </a:lnTo>
                    <a:lnTo>
                      <a:pt x="107" y="131"/>
                    </a:lnTo>
                    <a:lnTo>
                      <a:pt x="106" y="128"/>
                    </a:lnTo>
                    <a:lnTo>
                      <a:pt x="106" y="131"/>
                    </a:lnTo>
                    <a:lnTo>
                      <a:pt x="104" y="131"/>
                    </a:lnTo>
                    <a:lnTo>
                      <a:pt x="104" y="125"/>
                    </a:lnTo>
                    <a:lnTo>
                      <a:pt x="106" y="123"/>
                    </a:lnTo>
                    <a:lnTo>
                      <a:pt x="107" y="125"/>
                    </a:lnTo>
                    <a:lnTo>
                      <a:pt x="107" y="123"/>
                    </a:lnTo>
                    <a:lnTo>
                      <a:pt x="109" y="123"/>
                    </a:lnTo>
                    <a:lnTo>
                      <a:pt x="109" y="122"/>
                    </a:lnTo>
                    <a:lnTo>
                      <a:pt x="110" y="122"/>
                    </a:lnTo>
                    <a:lnTo>
                      <a:pt x="109" y="118"/>
                    </a:lnTo>
                    <a:lnTo>
                      <a:pt x="107" y="116"/>
                    </a:lnTo>
                    <a:lnTo>
                      <a:pt x="107" y="118"/>
                    </a:lnTo>
                    <a:lnTo>
                      <a:pt x="106" y="118"/>
                    </a:lnTo>
                    <a:lnTo>
                      <a:pt x="106" y="118"/>
                    </a:lnTo>
                    <a:lnTo>
                      <a:pt x="106" y="112"/>
                    </a:lnTo>
                    <a:lnTo>
                      <a:pt x="104" y="110"/>
                    </a:lnTo>
                    <a:lnTo>
                      <a:pt x="104" y="107"/>
                    </a:lnTo>
                    <a:lnTo>
                      <a:pt x="103" y="103"/>
                    </a:lnTo>
                    <a:lnTo>
                      <a:pt x="101" y="100"/>
                    </a:lnTo>
                    <a:lnTo>
                      <a:pt x="101" y="102"/>
                    </a:lnTo>
                    <a:lnTo>
                      <a:pt x="101" y="100"/>
                    </a:lnTo>
                    <a:lnTo>
                      <a:pt x="103" y="99"/>
                    </a:lnTo>
                    <a:lnTo>
                      <a:pt x="101" y="97"/>
                    </a:lnTo>
                    <a:lnTo>
                      <a:pt x="100" y="97"/>
                    </a:lnTo>
                    <a:lnTo>
                      <a:pt x="99" y="100"/>
                    </a:lnTo>
                    <a:lnTo>
                      <a:pt x="97" y="100"/>
                    </a:lnTo>
                    <a:lnTo>
                      <a:pt x="97" y="102"/>
                    </a:lnTo>
                    <a:lnTo>
                      <a:pt x="94" y="102"/>
                    </a:lnTo>
                    <a:lnTo>
                      <a:pt x="94" y="103"/>
                    </a:lnTo>
                    <a:lnTo>
                      <a:pt x="93" y="103"/>
                    </a:lnTo>
                    <a:lnTo>
                      <a:pt x="93" y="104"/>
                    </a:lnTo>
                    <a:lnTo>
                      <a:pt x="91" y="106"/>
                    </a:lnTo>
                    <a:lnTo>
                      <a:pt x="91" y="107"/>
                    </a:lnTo>
                    <a:lnTo>
                      <a:pt x="91" y="107"/>
                    </a:lnTo>
                    <a:lnTo>
                      <a:pt x="90" y="109"/>
                    </a:lnTo>
                    <a:lnTo>
                      <a:pt x="90" y="109"/>
                    </a:lnTo>
                    <a:lnTo>
                      <a:pt x="90" y="110"/>
                    </a:lnTo>
                    <a:lnTo>
                      <a:pt x="88" y="112"/>
                    </a:lnTo>
                    <a:lnTo>
                      <a:pt x="85" y="109"/>
                    </a:lnTo>
                    <a:lnTo>
                      <a:pt x="85" y="107"/>
                    </a:lnTo>
                    <a:lnTo>
                      <a:pt x="85" y="106"/>
                    </a:lnTo>
                    <a:lnTo>
                      <a:pt x="87" y="106"/>
                    </a:lnTo>
                    <a:lnTo>
                      <a:pt x="88" y="104"/>
                    </a:lnTo>
                    <a:lnTo>
                      <a:pt x="90" y="100"/>
                    </a:lnTo>
                    <a:lnTo>
                      <a:pt x="90" y="97"/>
                    </a:lnTo>
                    <a:lnTo>
                      <a:pt x="91" y="96"/>
                    </a:lnTo>
                    <a:lnTo>
                      <a:pt x="96" y="96"/>
                    </a:lnTo>
                    <a:lnTo>
                      <a:pt x="96" y="94"/>
                    </a:lnTo>
                    <a:lnTo>
                      <a:pt x="90" y="93"/>
                    </a:lnTo>
                    <a:lnTo>
                      <a:pt x="88" y="91"/>
                    </a:lnTo>
                    <a:lnTo>
                      <a:pt x="87" y="90"/>
                    </a:lnTo>
                    <a:lnTo>
                      <a:pt x="85" y="87"/>
                    </a:lnTo>
                    <a:lnTo>
                      <a:pt x="85" y="83"/>
                    </a:lnTo>
                    <a:lnTo>
                      <a:pt x="83" y="83"/>
                    </a:lnTo>
                    <a:lnTo>
                      <a:pt x="83" y="81"/>
                    </a:lnTo>
                    <a:lnTo>
                      <a:pt x="83" y="80"/>
                    </a:lnTo>
                    <a:lnTo>
                      <a:pt x="81" y="78"/>
                    </a:lnTo>
                    <a:lnTo>
                      <a:pt x="78" y="78"/>
                    </a:lnTo>
                    <a:lnTo>
                      <a:pt x="75" y="74"/>
                    </a:lnTo>
                    <a:lnTo>
                      <a:pt x="74" y="72"/>
                    </a:lnTo>
                    <a:lnTo>
                      <a:pt x="78" y="77"/>
                    </a:lnTo>
                    <a:lnTo>
                      <a:pt x="78" y="77"/>
                    </a:lnTo>
                    <a:lnTo>
                      <a:pt x="77" y="74"/>
                    </a:lnTo>
                    <a:lnTo>
                      <a:pt x="77" y="71"/>
                    </a:lnTo>
                    <a:lnTo>
                      <a:pt x="77" y="71"/>
                    </a:lnTo>
                    <a:lnTo>
                      <a:pt x="75" y="72"/>
                    </a:lnTo>
                    <a:lnTo>
                      <a:pt x="74" y="72"/>
                    </a:lnTo>
                    <a:lnTo>
                      <a:pt x="72" y="71"/>
                    </a:lnTo>
                    <a:lnTo>
                      <a:pt x="72" y="71"/>
                    </a:lnTo>
                    <a:lnTo>
                      <a:pt x="72" y="71"/>
                    </a:lnTo>
                    <a:lnTo>
                      <a:pt x="71" y="70"/>
                    </a:lnTo>
                    <a:lnTo>
                      <a:pt x="71" y="71"/>
                    </a:lnTo>
                    <a:lnTo>
                      <a:pt x="70" y="71"/>
                    </a:lnTo>
                    <a:lnTo>
                      <a:pt x="68" y="70"/>
                    </a:lnTo>
                    <a:lnTo>
                      <a:pt x="68" y="68"/>
                    </a:lnTo>
                    <a:lnTo>
                      <a:pt x="68" y="67"/>
                    </a:lnTo>
                    <a:lnTo>
                      <a:pt x="72" y="67"/>
                    </a:lnTo>
                    <a:lnTo>
                      <a:pt x="72" y="65"/>
                    </a:lnTo>
                    <a:lnTo>
                      <a:pt x="70" y="65"/>
                    </a:lnTo>
                    <a:lnTo>
                      <a:pt x="68" y="65"/>
                    </a:lnTo>
                    <a:lnTo>
                      <a:pt x="68" y="64"/>
                    </a:lnTo>
                    <a:lnTo>
                      <a:pt x="70" y="64"/>
                    </a:lnTo>
                    <a:lnTo>
                      <a:pt x="70" y="62"/>
                    </a:lnTo>
                    <a:lnTo>
                      <a:pt x="68" y="62"/>
                    </a:lnTo>
                    <a:lnTo>
                      <a:pt x="68" y="61"/>
                    </a:lnTo>
                    <a:lnTo>
                      <a:pt x="70" y="59"/>
                    </a:lnTo>
                    <a:lnTo>
                      <a:pt x="70" y="59"/>
                    </a:lnTo>
                    <a:lnTo>
                      <a:pt x="67" y="59"/>
                    </a:lnTo>
                    <a:lnTo>
                      <a:pt x="65" y="59"/>
                    </a:lnTo>
                    <a:lnTo>
                      <a:pt x="67" y="57"/>
                    </a:lnTo>
                    <a:lnTo>
                      <a:pt x="72" y="59"/>
                    </a:lnTo>
                    <a:lnTo>
                      <a:pt x="74" y="61"/>
                    </a:lnTo>
                    <a:lnTo>
                      <a:pt x="75" y="61"/>
                    </a:lnTo>
                    <a:lnTo>
                      <a:pt x="74" y="61"/>
                    </a:lnTo>
                    <a:lnTo>
                      <a:pt x="72" y="59"/>
                    </a:lnTo>
                    <a:lnTo>
                      <a:pt x="72" y="57"/>
                    </a:lnTo>
                    <a:lnTo>
                      <a:pt x="71" y="57"/>
                    </a:lnTo>
                    <a:lnTo>
                      <a:pt x="71" y="58"/>
                    </a:lnTo>
                    <a:lnTo>
                      <a:pt x="68" y="54"/>
                    </a:lnTo>
                    <a:lnTo>
                      <a:pt x="67" y="52"/>
                    </a:lnTo>
                    <a:lnTo>
                      <a:pt x="68" y="51"/>
                    </a:lnTo>
                    <a:lnTo>
                      <a:pt x="71" y="51"/>
                    </a:lnTo>
                    <a:lnTo>
                      <a:pt x="72" y="51"/>
                    </a:lnTo>
                    <a:lnTo>
                      <a:pt x="71" y="51"/>
                    </a:lnTo>
                    <a:lnTo>
                      <a:pt x="65" y="51"/>
                    </a:lnTo>
                    <a:lnTo>
                      <a:pt x="65" y="52"/>
                    </a:lnTo>
                    <a:lnTo>
                      <a:pt x="65" y="54"/>
                    </a:lnTo>
                    <a:lnTo>
                      <a:pt x="62" y="51"/>
                    </a:lnTo>
                    <a:lnTo>
                      <a:pt x="64" y="49"/>
                    </a:lnTo>
                    <a:lnTo>
                      <a:pt x="65" y="48"/>
                    </a:lnTo>
                    <a:lnTo>
                      <a:pt x="68" y="46"/>
                    </a:lnTo>
                    <a:lnTo>
                      <a:pt x="67" y="45"/>
                    </a:lnTo>
                    <a:lnTo>
                      <a:pt x="65" y="46"/>
                    </a:lnTo>
                    <a:lnTo>
                      <a:pt x="65" y="46"/>
                    </a:lnTo>
                    <a:lnTo>
                      <a:pt x="67" y="43"/>
                    </a:lnTo>
                    <a:lnTo>
                      <a:pt x="65" y="43"/>
                    </a:lnTo>
                    <a:lnTo>
                      <a:pt x="64" y="43"/>
                    </a:lnTo>
                    <a:lnTo>
                      <a:pt x="62" y="46"/>
                    </a:lnTo>
                    <a:lnTo>
                      <a:pt x="62" y="48"/>
                    </a:lnTo>
                    <a:lnTo>
                      <a:pt x="61" y="46"/>
                    </a:lnTo>
                    <a:lnTo>
                      <a:pt x="59" y="43"/>
                    </a:lnTo>
                    <a:lnTo>
                      <a:pt x="59" y="42"/>
                    </a:lnTo>
                    <a:lnTo>
                      <a:pt x="58" y="41"/>
                    </a:lnTo>
                    <a:lnTo>
                      <a:pt x="58" y="41"/>
                    </a:lnTo>
                    <a:lnTo>
                      <a:pt x="56" y="42"/>
                    </a:lnTo>
                    <a:lnTo>
                      <a:pt x="52" y="38"/>
                    </a:lnTo>
                    <a:lnTo>
                      <a:pt x="49" y="38"/>
                    </a:lnTo>
                    <a:lnTo>
                      <a:pt x="46" y="32"/>
                    </a:lnTo>
                    <a:lnTo>
                      <a:pt x="46" y="30"/>
                    </a:lnTo>
                    <a:lnTo>
                      <a:pt x="46" y="26"/>
                    </a:lnTo>
                    <a:lnTo>
                      <a:pt x="45" y="27"/>
                    </a:lnTo>
                    <a:lnTo>
                      <a:pt x="39" y="10"/>
                    </a:lnTo>
                    <a:lnTo>
                      <a:pt x="39" y="11"/>
                    </a:lnTo>
                    <a:lnTo>
                      <a:pt x="40" y="16"/>
                    </a:lnTo>
                    <a:lnTo>
                      <a:pt x="39" y="17"/>
                    </a:lnTo>
                    <a:lnTo>
                      <a:pt x="39" y="16"/>
                    </a:lnTo>
                    <a:lnTo>
                      <a:pt x="45" y="38"/>
                    </a:lnTo>
                    <a:lnTo>
                      <a:pt x="42" y="42"/>
                    </a:lnTo>
                    <a:lnTo>
                      <a:pt x="40" y="42"/>
                    </a:lnTo>
                    <a:lnTo>
                      <a:pt x="39" y="36"/>
                    </a:lnTo>
                    <a:lnTo>
                      <a:pt x="38" y="35"/>
                    </a:lnTo>
                    <a:lnTo>
                      <a:pt x="38" y="38"/>
                    </a:lnTo>
                    <a:lnTo>
                      <a:pt x="33" y="38"/>
                    </a:lnTo>
                    <a:lnTo>
                      <a:pt x="33" y="33"/>
                    </a:lnTo>
                    <a:lnTo>
                      <a:pt x="35" y="32"/>
                    </a:lnTo>
                    <a:lnTo>
                      <a:pt x="33" y="32"/>
                    </a:lnTo>
                    <a:lnTo>
                      <a:pt x="30" y="27"/>
                    </a:lnTo>
                    <a:lnTo>
                      <a:pt x="30" y="25"/>
                    </a:lnTo>
                    <a:lnTo>
                      <a:pt x="32" y="25"/>
                    </a:lnTo>
                    <a:lnTo>
                      <a:pt x="30" y="23"/>
                    </a:lnTo>
                    <a:lnTo>
                      <a:pt x="29" y="23"/>
                    </a:lnTo>
                    <a:lnTo>
                      <a:pt x="29" y="26"/>
                    </a:lnTo>
                    <a:lnTo>
                      <a:pt x="27" y="27"/>
                    </a:lnTo>
                    <a:lnTo>
                      <a:pt x="24" y="25"/>
                    </a:lnTo>
                    <a:lnTo>
                      <a:pt x="23" y="22"/>
                    </a:lnTo>
                    <a:lnTo>
                      <a:pt x="22" y="22"/>
                    </a:lnTo>
                    <a:lnTo>
                      <a:pt x="22" y="23"/>
                    </a:lnTo>
                    <a:lnTo>
                      <a:pt x="22" y="23"/>
                    </a:lnTo>
                    <a:lnTo>
                      <a:pt x="19" y="20"/>
                    </a:lnTo>
                    <a:lnTo>
                      <a:pt x="19" y="22"/>
                    </a:lnTo>
                    <a:lnTo>
                      <a:pt x="19" y="23"/>
                    </a:lnTo>
                    <a:lnTo>
                      <a:pt x="17" y="23"/>
                    </a:lnTo>
                    <a:lnTo>
                      <a:pt x="17" y="23"/>
                    </a:lnTo>
                    <a:lnTo>
                      <a:pt x="20" y="25"/>
                    </a:lnTo>
                    <a:lnTo>
                      <a:pt x="22" y="26"/>
                    </a:lnTo>
                    <a:lnTo>
                      <a:pt x="23" y="27"/>
                    </a:lnTo>
                    <a:lnTo>
                      <a:pt x="23" y="27"/>
                    </a:lnTo>
                    <a:lnTo>
                      <a:pt x="24" y="29"/>
                    </a:lnTo>
                    <a:lnTo>
                      <a:pt x="24" y="30"/>
                    </a:lnTo>
                    <a:lnTo>
                      <a:pt x="26" y="32"/>
                    </a:lnTo>
                    <a:lnTo>
                      <a:pt x="26" y="30"/>
                    </a:lnTo>
                    <a:lnTo>
                      <a:pt x="27" y="30"/>
                    </a:lnTo>
                    <a:lnTo>
                      <a:pt x="30" y="35"/>
                    </a:lnTo>
                    <a:lnTo>
                      <a:pt x="29" y="38"/>
                    </a:lnTo>
                    <a:lnTo>
                      <a:pt x="27" y="39"/>
                    </a:lnTo>
                    <a:lnTo>
                      <a:pt x="24" y="39"/>
                    </a:lnTo>
                    <a:lnTo>
                      <a:pt x="24" y="38"/>
                    </a:lnTo>
                    <a:lnTo>
                      <a:pt x="24" y="38"/>
                    </a:lnTo>
                    <a:lnTo>
                      <a:pt x="24" y="41"/>
                    </a:lnTo>
                    <a:lnTo>
                      <a:pt x="22" y="42"/>
                    </a:lnTo>
                    <a:lnTo>
                      <a:pt x="17" y="38"/>
                    </a:lnTo>
                    <a:lnTo>
                      <a:pt x="13" y="36"/>
                    </a:lnTo>
                    <a:lnTo>
                      <a:pt x="10" y="33"/>
                    </a:lnTo>
                    <a:lnTo>
                      <a:pt x="9" y="32"/>
                    </a:lnTo>
                    <a:lnTo>
                      <a:pt x="10" y="29"/>
                    </a:lnTo>
                    <a:lnTo>
                      <a:pt x="9" y="29"/>
                    </a:lnTo>
                    <a:lnTo>
                      <a:pt x="7" y="29"/>
                    </a:lnTo>
                    <a:lnTo>
                      <a:pt x="0" y="20"/>
                    </a:lnTo>
                    <a:lnTo>
                      <a:pt x="0" y="19"/>
                    </a:lnTo>
                    <a:lnTo>
                      <a:pt x="1" y="11"/>
                    </a:lnTo>
                    <a:lnTo>
                      <a:pt x="3" y="1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grpSp>
        <p:sp>
          <p:nvSpPr>
            <p:cNvPr id="1296" name="Freeform 1621"/>
            <p:cNvSpPr>
              <a:spLocks/>
            </p:cNvSpPr>
            <p:nvPr/>
          </p:nvSpPr>
          <p:spPr bwMode="auto">
            <a:xfrm>
              <a:off x="6569281" y="2772630"/>
              <a:ext cx="276507" cy="257589"/>
            </a:xfrm>
            <a:custGeom>
              <a:avLst/>
              <a:gdLst/>
              <a:ahLst/>
              <a:cxnLst>
                <a:cxn ang="0">
                  <a:pos x="238" y="124"/>
                </a:cxn>
                <a:cxn ang="0">
                  <a:pos x="238" y="128"/>
                </a:cxn>
                <a:cxn ang="0">
                  <a:pos x="241" y="129"/>
                </a:cxn>
                <a:cxn ang="0">
                  <a:pos x="294" y="151"/>
                </a:cxn>
                <a:cxn ang="0">
                  <a:pos x="291" y="193"/>
                </a:cxn>
                <a:cxn ang="0">
                  <a:pos x="207" y="214"/>
                </a:cxn>
                <a:cxn ang="0">
                  <a:pos x="183" y="237"/>
                </a:cxn>
                <a:cxn ang="0">
                  <a:pos x="173" y="233"/>
                </a:cxn>
                <a:cxn ang="0">
                  <a:pos x="127" y="237"/>
                </a:cxn>
                <a:cxn ang="0">
                  <a:pos x="121" y="243"/>
                </a:cxn>
                <a:cxn ang="0">
                  <a:pos x="115" y="247"/>
                </a:cxn>
                <a:cxn ang="0">
                  <a:pos x="115" y="243"/>
                </a:cxn>
                <a:cxn ang="0">
                  <a:pos x="111" y="234"/>
                </a:cxn>
                <a:cxn ang="0">
                  <a:pos x="102" y="224"/>
                </a:cxn>
                <a:cxn ang="0">
                  <a:pos x="93" y="212"/>
                </a:cxn>
                <a:cxn ang="0">
                  <a:pos x="77" y="188"/>
                </a:cxn>
                <a:cxn ang="0">
                  <a:pos x="67" y="183"/>
                </a:cxn>
                <a:cxn ang="0">
                  <a:pos x="63" y="163"/>
                </a:cxn>
                <a:cxn ang="0">
                  <a:pos x="63" y="151"/>
                </a:cxn>
                <a:cxn ang="0">
                  <a:pos x="47" y="129"/>
                </a:cxn>
                <a:cxn ang="0">
                  <a:pos x="44" y="127"/>
                </a:cxn>
                <a:cxn ang="0">
                  <a:pos x="41" y="127"/>
                </a:cxn>
                <a:cxn ang="0">
                  <a:pos x="37" y="118"/>
                </a:cxn>
                <a:cxn ang="0">
                  <a:pos x="29" y="103"/>
                </a:cxn>
                <a:cxn ang="0">
                  <a:pos x="25" y="97"/>
                </a:cxn>
                <a:cxn ang="0">
                  <a:pos x="19" y="87"/>
                </a:cxn>
                <a:cxn ang="0">
                  <a:pos x="9" y="68"/>
                </a:cxn>
                <a:cxn ang="0">
                  <a:pos x="2" y="67"/>
                </a:cxn>
                <a:cxn ang="0">
                  <a:pos x="3" y="60"/>
                </a:cxn>
                <a:cxn ang="0">
                  <a:pos x="5" y="47"/>
                </a:cxn>
                <a:cxn ang="0">
                  <a:pos x="26" y="45"/>
                </a:cxn>
                <a:cxn ang="0">
                  <a:pos x="42" y="31"/>
                </a:cxn>
                <a:cxn ang="0">
                  <a:pos x="34" y="10"/>
                </a:cxn>
                <a:cxn ang="0">
                  <a:pos x="119" y="25"/>
                </a:cxn>
                <a:cxn ang="0">
                  <a:pos x="130" y="31"/>
                </a:cxn>
                <a:cxn ang="0">
                  <a:pos x="146" y="49"/>
                </a:cxn>
                <a:cxn ang="0">
                  <a:pos x="185" y="55"/>
                </a:cxn>
                <a:cxn ang="0">
                  <a:pos x="202" y="71"/>
                </a:cxn>
                <a:cxn ang="0">
                  <a:pos x="209" y="77"/>
                </a:cxn>
                <a:cxn ang="0">
                  <a:pos x="209" y="80"/>
                </a:cxn>
                <a:cxn ang="0">
                  <a:pos x="220" y="87"/>
                </a:cxn>
                <a:cxn ang="0">
                  <a:pos x="223" y="96"/>
                </a:cxn>
                <a:cxn ang="0">
                  <a:pos x="221" y="100"/>
                </a:cxn>
                <a:cxn ang="0">
                  <a:pos x="227" y="115"/>
                </a:cxn>
                <a:cxn ang="0">
                  <a:pos x="230" y="119"/>
                </a:cxn>
                <a:cxn ang="0">
                  <a:pos x="233" y="124"/>
                </a:cxn>
              </a:cxnLst>
              <a:rect l="0" t="0" r="r" b="b"/>
              <a:pathLst>
                <a:path w="301" h="247">
                  <a:moveTo>
                    <a:pt x="240" y="121"/>
                  </a:moveTo>
                  <a:lnTo>
                    <a:pt x="238" y="122"/>
                  </a:lnTo>
                  <a:lnTo>
                    <a:pt x="238" y="124"/>
                  </a:lnTo>
                  <a:lnTo>
                    <a:pt x="240" y="124"/>
                  </a:lnTo>
                  <a:lnTo>
                    <a:pt x="238" y="125"/>
                  </a:lnTo>
                  <a:lnTo>
                    <a:pt x="238" y="128"/>
                  </a:lnTo>
                  <a:lnTo>
                    <a:pt x="241" y="127"/>
                  </a:lnTo>
                  <a:lnTo>
                    <a:pt x="241" y="128"/>
                  </a:lnTo>
                  <a:lnTo>
                    <a:pt x="241" y="129"/>
                  </a:lnTo>
                  <a:lnTo>
                    <a:pt x="256" y="148"/>
                  </a:lnTo>
                  <a:lnTo>
                    <a:pt x="292" y="153"/>
                  </a:lnTo>
                  <a:lnTo>
                    <a:pt x="294" y="151"/>
                  </a:lnTo>
                  <a:lnTo>
                    <a:pt x="294" y="153"/>
                  </a:lnTo>
                  <a:lnTo>
                    <a:pt x="301" y="163"/>
                  </a:lnTo>
                  <a:lnTo>
                    <a:pt x="291" y="193"/>
                  </a:lnTo>
                  <a:lnTo>
                    <a:pt x="249" y="208"/>
                  </a:lnTo>
                  <a:lnTo>
                    <a:pt x="249" y="208"/>
                  </a:lnTo>
                  <a:lnTo>
                    <a:pt x="207" y="214"/>
                  </a:lnTo>
                  <a:lnTo>
                    <a:pt x="193" y="221"/>
                  </a:lnTo>
                  <a:lnTo>
                    <a:pt x="185" y="231"/>
                  </a:lnTo>
                  <a:lnTo>
                    <a:pt x="183" y="237"/>
                  </a:lnTo>
                  <a:lnTo>
                    <a:pt x="179" y="238"/>
                  </a:lnTo>
                  <a:lnTo>
                    <a:pt x="177" y="238"/>
                  </a:lnTo>
                  <a:lnTo>
                    <a:pt x="173" y="233"/>
                  </a:lnTo>
                  <a:lnTo>
                    <a:pt x="138" y="231"/>
                  </a:lnTo>
                  <a:lnTo>
                    <a:pt x="132" y="237"/>
                  </a:lnTo>
                  <a:lnTo>
                    <a:pt x="127" y="237"/>
                  </a:lnTo>
                  <a:lnTo>
                    <a:pt x="125" y="238"/>
                  </a:lnTo>
                  <a:lnTo>
                    <a:pt x="124" y="240"/>
                  </a:lnTo>
                  <a:lnTo>
                    <a:pt x="121" y="243"/>
                  </a:lnTo>
                  <a:lnTo>
                    <a:pt x="119" y="244"/>
                  </a:lnTo>
                  <a:lnTo>
                    <a:pt x="118" y="246"/>
                  </a:lnTo>
                  <a:lnTo>
                    <a:pt x="115" y="247"/>
                  </a:lnTo>
                  <a:lnTo>
                    <a:pt x="115" y="247"/>
                  </a:lnTo>
                  <a:lnTo>
                    <a:pt x="115" y="244"/>
                  </a:lnTo>
                  <a:lnTo>
                    <a:pt x="115" y="243"/>
                  </a:lnTo>
                  <a:lnTo>
                    <a:pt x="112" y="237"/>
                  </a:lnTo>
                  <a:lnTo>
                    <a:pt x="111" y="237"/>
                  </a:lnTo>
                  <a:lnTo>
                    <a:pt x="111" y="234"/>
                  </a:lnTo>
                  <a:lnTo>
                    <a:pt x="109" y="230"/>
                  </a:lnTo>
                  <a:lnTo>
                    <a:pt x="103" y="225"/>
                  </a:lnTo>
                  <a:lnTo>
                    <a:pt x="102" y="224"/>
                  </a:lnTo>
                  <a:lnTo>
                    <a:pt x="95" y="214"/>
                  </a:lnTo>
                  <a:lnTo>
                    <a:pt x="93" y="212"/>
                  </a:lnTo>
                  <a:lnTo>
                    <a:pt x="93" y="212"/>
                  </a:lnTo>
                  <a:lnTo>
                    <a:pt x="92" y="206"/>
                  </a:lnTo>
                  <a:lnTo>
                    <a:pt x="85" y="193"/>
                  </a:lnTo>
                  <a:lnTo>
                    <a:pt x="77" y="188"/>
                  </a:lnTo>
                  <a:lnTo>
                    <a:pt x="76" y="189"/>
                  </a:lnTo>
                  <a:lnTo>
                    <a:pt x="72" y="186"/>
                  </a:lnTo>
                  <a:lnTo>
                    <a:pt x="67" y="183"/>
                  </a:lnTo>
                  <a:lnTo>
                    <a:pt x="64" y="166"/>
                  </a:lnTo>
                  <a:lnTo>
                    <a:pt x="63" y="164"/>
                  </a:lnTo>
                  <a:lnTo>
                    <a:pt x="63" y="163"/>
                  </a:lnTo>
                  <a:lnTo>
                    <a:pt x="63" y="161"/>
                  </a:lnTo>
                  <a:lnTo>
                    <a:pt x="64" y="157"/>
                  </a:lnTo>
                  <a:lnTo>
                    <a:pt x="63" y="151"/>
                  </a:lnTo>
                  <a:lnTo>
                    <a:pt x="61" y="150"/>
                  </a:lnTo>
                  <a:lnTo>
                    <a:pt x="54" y="135"/>
                  </a:lnTo>
                  <a:lnTo>
                    <a:pt x="47" y="129"/>
                  </a:lnTo>
                  <a:lnTo>
                    <a:pt x="47" y="128"/>
                  </a:lnTo>
                  <a:lnTo>
                    <a:pt x="47" y="128"/>
                  </a:lnTo>
                  <a:lnTo>
                    <a:pt x="44" y="127"/>
                  </a:lnTo>
                  <a:lnTo>
                    <a:pt x="42" y="127"/>
                  </a:lnTo>
                  <a:lnTo>
                    <a:pt x="41" y="127"/>
                  </a:lnTo>
                  <a:lnTo>
                    <a:pt x="41" y="127"/>
                  </a:lnTo>
                  <a:lnTo>
                    <a:pt x="40" y="125"/>
                  </a:lnTo>
                  <a:lnTo>
                    <a:pt x="37" y="121"/>
                  </a:lnTo>
                  <a:lnTo>
                    <a:pt x="37" y="118"/>
                  </a:lnTo>
                  <a:lnTo>
                    <a:pt x="38" y="118"/>
                  </a:lnTo>
                  <a:lnTo>
                    <a:pt x="32" y="105"/>
                  </a:lnTo>
                  <a:lnTo>
                    <a:pt x="29" y="103"/>
                  </a:lnTo>
                  <a:lnTo>
                    <a:pt x="29" y="102"/>
                  </a:lnTo>
                  <a:lnTo>
                    <a:pt x="28" y="100"/>
                  </a:lnTo>
                  <a:lnTo>
                    <a:pt x="25" y="97"/>
                  </a:lnTo>
                  <a:lnTo>
                    <a:pt x="24" y="90"/>
                  </a:lnTo>
                  <a:lnTo>
                    <a:pt x="22" y="89"/>
                  </a:lnTo>
                  <a:lnTo>
                    <a:pt x="19" y="87"/>
                  </a:lnTo>
                  <a:lnTo>
                    <a:pt x="16" y="83"/>
                  </a:lnTo>
                  <a:lnTo>
                    <a:pt x="16" y="81"/>
                  </a:lnTo>
                  <a:lnTo>
                    <a:pt x="9" y="68"/>
                  </a:lnTo>
                  <a:lnTo>
                    <a:pt x="8" y="67"/>
                  </a:lnTo>
                  <a:lnTo>
                    <a:pt x="3" y="67"/>
                  </a:lnTo>
                  <a:lnTo>
                    <a:pt x="2" y="67"/>
                  </a:lnTo>
                  <a:lnTo>
                    <a:pt x="0" y="67"/>
                  </a:lnTo>
                  <a:lnTo>
                    <a:pt x="0" y="68"/>
                  </a:lnTo>
                  <a:lnTo>
                    <a:pt x="3" y="60"/>
                  </a:lnTo>
                  <a:lnTo>
                    <a:pt x="5" y="52"/>
                  </a:lnTo>
                  <a:lnTo>
                    <a:pt x="5" y="49"/>
                  </a:lnTo>
                  <a:lnTo>
                    <a:pt x="5" y="47"/>
                  </a:lnTo>
                  <a:lnTo>
                    <a:pt x="6" y="48"/>
                  </a:lnTo>
                  <a:lnTo>
                    <a:pt x="22" y="49"/>
                  </a:lnTo>
                  <a:lnTo>
                    <a:pt x="26" y="45"/>
                  </a:lnTo>
                  <a:lnTo>
                    <a:pt x="29" y="38"/>
                  </a:lnTo>
                  <a:lnTo>
                    <a:pt x="41" y="36"/>
                  </a:lnTo>
                  <a:lnTo>
                    <a:pt x="42" y="31"/>
                  </a:lnTo>
                  <a:lnTo>
                    <a:pt x="48" y="26"/>
                  </a:lnTo>
                  <a:lnTo>
                    <a:pt x="48" y="26"/>
                  </a:lnTo>
                  <a:lnTo>
                    <a:pt x="34" y="10"/>
                  </a:lnTo>
                  <a:lnTo>
                    <a:pt x="60" y="4"/>
                  </a:lnTo>
                  <a:lnTo>
                    <a:pt x="64" y="0"/>
                  </a:lnTo>
                  <a:lnTo>
                    <a:pt x="119" y="25"/>
                  </a:lnTo>
                  <a:lnTo>
                    <a:pt x="121" y="29"/>
                  </a:lnTo>
                  <a:lnTo>
                    <a:pt x="128" y="31"/>
                  </a:lnTo>
                  <a:lnTo>
                    <a:pt x="130" y="31"/>
                  </a:lnTo>
                  <a:lnTo>
                    <a:pt x="130" y="41"/>
                  </a:lnTo>
                  <a:lnTo>
                    <a:pt x="130" y="42"/>
                  </a:lnTo>
                  <a:lnTo>
                    <a:pt x="146" y="49"/>
                  </a:lnTo>
                  <a:lnTo>
                    <a:pt x="172" y="51"/>
                  </a:lnTo>
                  <a:lnTo>
                    <a:pt x="183" y="54"/>
                  </a:lnTo>
                  <a:lnTo>
                    <a:pt x="185" y="55"/>
                  </a:lnTo>
                  <a:lnTo>
                    <a:pt x="188" y="60"/>
                  </a:lnTo>
                  <a:lnTo>
                    <a:pt x="196" y="60"/>
                  </a:lnTo>
                  <a:lnTo>
                    <a:pt x="202" y="71"/>
                  </a:lnTo>
                  <a:lnTo>
                    <a:pt x="204" y="71"/>
                  </a:lnTo>
                  <a:lnTo>
                    <a:pt x="205" y="76"/>
                  </a:lnTo>
                  <a:lnTo>
                    <a:pt x="209" y="77"/>
                  </a:lnTo>
                  <a:lnTo>
                    <a:pt x="209" y="79"/>
                  </a:lnTo>
                  <a:lnTo>
                    <a:pt x="208" y="79"/>
                  </a:lnTo>
                  <a:lnTo>
                    <a:pt x="209" y="80"/>
                  </a:lnTo>
                  <a:lnTo>
                    <a:pt x="209" y="83"/>
                  </a:lnTo>
                  <a:lnTo>
                    <a:pt x="212" y="83"/>
                  </a:lnTo>
                  <a:lnTo>
                    <a:pt x="220" y="87"/>
                  </a:lnTo>
                  <a:lnTo>
                    <a:pt x="220" y="90"/>
                  </a:lnTo>
                  <a:lnTo>
                    <a:pt x="220" y="93"/>
                  </a:lnTo>
                  <a:lnTo>
                    <a:pt x="223" y="96"/>
                  </a:lnTo>
                  <a:lnTo>
                    <a:pt x="223" y="97"/>
                  </a:lnTo>
                  <a:lnTo>
                    <a:pt x="223" y="99"/>
                  </a:lnTo>
                  <a:lnTo>
                    <a:pt x="221" y="100"/>
                  </a:lnTo>
                  <a:lnTo>
                    <a:pt x="221" y="103"/>
                  </a:lnTo>
                  <a:lnTo>
                    <a:pt x="227" y="111"/>
                  </a:lnTo>
                  <a:lnTo>
                    <a:pt x="227" y="115"/>
                  </a:lnTo>
                  <a:lnTo>
                    <a:pt x="228" y="116"/>
                  </a:lnTo>
                  <a:lnTo>
                    <a:pt x="228" y="118"/>
                  </a:lnTo>
                  <a:lnTo>
                    <a:pt x="230" y="119"/>
                  </a:lnTo>
                  <a:lnTo>
                    <a:pt x="230" y="121"/>
                  </a:lnTo>
                  <a:lnTo>
                    <a:pt x="231" y="121"/>
                  </a:lnTo>
                  <a:lnTo>
                    <a:pt x="233" y="124"/>
                  </a:lnTo>
                  <a:lnTo>
                    <a:pt x="234" y="124"/>
                  </a:lnTo>
                  <a:lnTo>
                    <a:pt x="240" y="121"/>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97" name="Freeform 1622"/>
            <p:cNvSpPr>
              <a:spLocks/>
            </p:cNvSpPr>
            <p:nvPr/>
          </p:nvSpPr>
          <p:spPr bwMode="auto">
            <a:xfrm>
              <a:off x="6569718" y="2772996"/>
              <a:ext cx="276031" cy="257227"/>
            </a:xfrm>
            <a:custGeom>
              <a:avLst/>
              <a:gdLst>
                <a:gd name="T0" fmla="*/ 2147483647 w 301"/>
                <a:gd name="T1" fmla="*/ 2147483647 h 247"/>
                <a:gd name="T2" fmla="*/ 2147483647 w 301"/>
                <a:gd name="T3" fmla="*/ 2147483647 h 247"/>
                <a:gd name="T4" fmla="*/ 2147483647 w 301"/>
                <a:gd name="T5" fmla="*/ 2147483647 h 247"/>
                <a:gd name="T6" fmla="*/ 2147483647 w 301"/>
                <a:gd name="T7" fmla="*/ 2147483647 h 247"/>
                <a:gd name="T8" fmla="*/ 2147483647 w 301"/>
                <a:gd name="T9" fmla="*/ 2147483647 h 247"/>
                <a:gd name="T10" fmla="*/ 2147483647 w 301"/>
                <a:gd name="T11" fmla="*/ 2147483647 h 247"/>
                <a:gd name="T12" fmla="*/ 2147483647 w 301"/>
                <a:gd name="T13" fmla="*/ 2147483647 h 247"/>
                <a:gd name="T14" fmla="*/ 2147483647 w 301"/>
                <a:gd name="T15" fmla="*/ 2147483647 h 247"/>
                <a:gd name="T16" fmla="*/ 2147483647 w 301"/>
                <a:gd name="T17" fmla="*/ 2147483647 h 247"/>
                <a:gd name="T18" fmla="*/ 2147483647 w 301"/>
                <a:gd name="T19" fmla="*/ 2147483647 h 247"/>
                <a:gd name="T20" fmla="*/ 2147483647 w 301"/>
                <a:gd name="T21" fmla="*/ 2147483647 h 247"/>
                <a:gd name="T22" fmla="*/ 2147483647 w 301"/>
                <a:gd name="T23" fmla="*/ 2147483647 h 247"/>
                <a:gd name="T24" fmla="*/ 2147483647 w 301"/>
                <a:gd name="T25" fmla="*/ 2147483647 h 247"/>
                <a:gd name="T26" fmla="*/ 2147483647 w 301"/>
                <a:gd name="T27" fmla="*/ 2147483647 h 247"/>
                <a:gd name="T28" fmla="*/ 2147483647 w 301"/>
                <a:gd name="T29" fmla="*/ 2147483647 h 247"/>
                <a:gd name="T30" fmla="*/ 2147483647 w 301"/>
                <a:gd name="T31" fmla="*/ 2147483647 h 247"/>
                <a:gd name="T32" fmla="*/ 2147483647 w 301"/>
                <a:gd name="T33" fmla="*/ 2147483647 h 247"/>
                <a:gd name="T34" fmla="*/ 2147483647 w 301"/>
                <a:gd name="T35" fmla="*/ 2147483647 h 247"/>
                <a:gd name="T36" fmla="*/ 2147483647 w 301"/>
                <a:gd name="T37" fmla="*/ 2147483647 h 247"/>
                <a:gd name="T38" fmla="*/ 2147483647 w 301"/>
                <a:gd name="T39" fmla="*/ 2147483647 h 247"/>
                <a:gd name="T40" fmla="*/ 2147483647 w 301"/>
                <a:gd name="T41" fmla="*/ 2147483647 h 247"/>
                <a:gd name="T42" fmla="*/ 2147483647 w 301"/>
                <a:gd name="T43" fmla="*/ 2147483647 h 247"/>
                <a:gd name="T44" fmla="*/ 2147483647 w 301"/>
                <a:gd name="T45" fmla="*/ 2147483647 h 247"/>
                <a:gd name="T46" fmla="*/ 2147483647 w 301"/>
                <a:gd name="T47" fmla="*/ 2147483647 h 247"/>
                <a:gd name="T48" fmla="*/ 2147483647 w 301"/>
                <a:gd name="T49" fmla="*/ 2147483647 h 247"/>
                <a:gd name="T50" fmla="*/ 2147483647 w 301"/>
                <a:gd name="T51" fmla="*/ 2147483647 h 247"/>
                <a:gd name="T52" fmla="*/ 2147483647 w 301"/>
                <a:gd name="T53" fmla="*/ 2147483647 h 247"/>
                <a:gd name="T54" fmla="*/ 2147483647 w 301"/>
                <a:gd name="T55" fmla="*/ 2147483647 h 247"/>
                <a:gd name="T56" fmla="*/ 2147483647 w 301"/>
                <a:gd name="T57" fmla="*/ 2147483647 h 247"/>
                <a:gd name="T58" fmla="*/ 2147483647 w 301"/>
                <a:gd name="T59" fmla="*/ 2147483647 h 247"/>
                <a:gd name="T60" fmla="*/ 2147483647 w 301"/>
                <a:gd name="T61" fmla="*/ 2147483647 h 247"/>
                <a:gd name="T62" fmla="*/ 2147483647 w 301"/>
                <a:gd name="T63" fmla="*/ 2147483647 h 247"/>
                <a:gd name="T64" fmla="*/ 2147483647 w 301"/>
                <a:gd name="T65" fmla="*/ 2147483647 h 247"/>
                <a:gd name="T66" fmla="*/ 2147483647 w 301"/>
                <a:gd name="T67" fmla="*/ 2147483647 h 247"/>
                <a:gd name="T68" fmla="*/ 2147483647 w 301"/>
                <a:gd name="T69" fmla="*/ 2147483647 h 247"/>
                <a:gd name="T70" fmla="*/ 2147483647 w 301"/>
                <a:gd name="T71" fmla="*/ 2147483647 h 247"/>
                <a:gd name="T72" fmla="*/ 2147483647 w 301"/>
                <a:gd name="T73" fmla="*/ 2147483647 h 247"/>
                <a:gd name="T74" fmla="*/ 2147483647 w 301"/>
                <a:gd name="T75" fmla="*/ 2147483647 h 247"/>
                <a:gd name="T76" fmla="*/ 2147483647 w 301"/>
                <a:gd name="T77" fmla="*/ 2147483647 h 247"/>
                <a:gd name="T78" fmla="*/ 2147483647 w 301"/>
                <a:gd name="T79" fmla="*/ 2147483647 h 247"/>
                <a:gd name="T80" fmla="*/ 2147483647 w 301"/>
                <a:gd name="T81" fmla="*/ 2147483647 h 247"/>
                <a:gd name="T82" fmla="*/ 2147483647 w 301"/>
                <a:gd name="T83" fmla="*/ 2147483647 h 247"/>
                <a:gd name="T84" fmla="*/ 2147483647 w 301"/>
                <a:gd name="T85" fmla="*/ 2147483647 h 247"/>
                <a:gd name="T86" fmla="*/ 2147483647 w 301"/>
                <a:gd name="T87" fmla="*/ 2147483647 h 247"/>
                <a:gd name="T88" fmla="*/ 2147483647 w 301"/>
                <a:gd name="T89" fmla="*/ 2147483647 h 247"/>
                <a:gd name="T90" fmla="*/ 2147483647 w 301"/>
                <a:gd name="T91" fmla="*/ 2147483647 h 24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01"/>
                <a:gd name="T139" fmla="*/ 0 h 247"/>
                <a:gd name="T140" fmla="*/ 301 w 301"/>
                <a:gd name="T141" fmla="*/ 247 h 24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01" h="247">
                  <a:moveTo>
                    <a:pt x="240" y="121"/>
                  </a:moveTo>
                  <a:lnTo>
                    <a:pt x="238" y="122"/>
                  </a:lnTo>
                  <a:lnTo>
                    <a:pt x="238" y="124"/>
                  </a:lnTo>
                  <a:lnTo>
                    <a:pt x="240" y="124"/>
                  </a:lnTo>
                  <a:lnTo>
                    <a:pt x="238" y="125"/>
                  </a:lnTo>
                  <a:lnTo>
                    <a:pt x="238" y="128"/>
                  </a:lnTo>
                  <a:lnTo>
                    <a:pt x="241" y="127"/>
                  </a:lnTo>
                  <a:lnTo>
                    <a:pt x="241" y="128"/>
                  </a:lnTo>
                  <a:lnTo>
                    <a:pt x="241" y="129"/>
                  </a:lnTo>
                  <a:lnTo>
                    <a:pt x="256" y="148"/>
                  </a:lnTo>
                  <a:lnTo>
                    <a:pt x="292" y="153"/>
                  </a:lnTo>
                  <a:lnTo>
                    <a:pt x="294" y="151"/>
                  </a:lnTo>
                  <a:lnTo>
                    <a:pt x="294" y="153"/>
                  </a:lnTo>
                  <a:lnTo>
                    <a:pt x="301" y="163"/>
                  </a:lnTo>
                  <a:lnTo>
                    <a:pt x="291" y="193"/>
                  </a:lnTo>
                  <a:lnTo>
                    <a:pt x="249" y="208"/>
                  </a:lnTo>
                  <a:lnTo>
                    <a:pt x="207" y="214"/>
                  </a:lnTo>
                  <a:lnTo>
                    <a:pt x="193" y="221"/>
                  </a:lnTo>
                  <a:lnTo>
                    <a:pt x="185" y="231"/>
                  </a:lnTo>
                  <a:lnTo>
                    <a:pt x="183" y="237"/>
                  </a:lnTo>
                  <a:lnTo>
                    <a:pt x="179" y="238"/>
                  </a:lnTo>
                  <a:lnTo>
                    <a:pt x="177" y="238"/>
                  </a:lnTo>
                  <a:lnTo>
                    <a:pt x="173" y="233"/>
                  </a:lnTo>
                  <a:lnTo>
                    <a:pt x="138" y="231"/>
                  </a:lnTo>
                  <a:lnTo>
                    <a:pt x="132" y="237"/>
                  </a:lnTo>
                  <a:lnTo>
                    <a:pt x="127" y="237"/>
                  </a:lnTo>
                  <a:lnTo>
                    <a:pt x="125" y="238"/>
                  </a:lnTo>
                  <a:lnTo>
                    <a:pt x="124" y="240"/>
                  </a:lnTo>
                  <a:lnTo>
                    <a:pt x="121" y="243"/>
                  </a:lnTo>
                  <a:lnTo>
                    <a:pt x="119" y="244"/>
                  </a:lnTo>
                  <a:lnTo>
                    <a:pt x="118" y="246"/>
                  </a:lnTo>
                  <a:lnTo>
                    <a:pt x="115" y="247"/>
                  </a:lnTo>
                  <a:lnTo>
                    <a:pt x="115" y="244"/>
                  </a:lnTo>
                  <a:lnTo>
                    <a:pt x="115" y="243"/>
                  </a:lnTo>
                  <a:lnTo>
                    <a:pt x="112" y="237"/>
                  </a:lnTo>
                  <a:lnTo>
                    <a:pt x="111" y="237"/>
                  </a:lnTo>
                  <a:lnTo>
                    <a:pt x="111" y="234"/>
                  </a:lnTo>
                  <a:lnTo>
                    <a:pt x="109" y="230"/>
                  </a:lnTo>
                  <a:lnTo>
                    <a:pt x="103" y="225"/>
                  </a:lnTo>
                  <a:lnTo>
                    <a:pt x="102" y="224"/>
                  </a:lnTo>
                  <a:lnTo>
                    <a:pt x="95" y="214"/>
                  </a:lnTo>
                  <a:lnTo>
                    <a:pt x="93" y="212"/>
                  </a:lnTo>
                  <a:lnTo>
                    <a:pt x="92" y="206"/>
                  </a:lnTo>
                  <a:lnTo>
                    <a:pt x="85" y="193"/>
                  </a:lnTo>
                  <a:lnTo>
                    <a:pt x="77" y="188"/>
                  </a:lnTo>
                  <a:lnTo>
                    <a:pt x="76" y="189"/>
                  </a:lnTo>
                  <a:lnTo>
                    <a:pt x="72" y="186"/>
                  </a:lnTo>
                  <a:lnTo>
                    <a:pt x="67" y="183"/>
                  </a:lnTo>
                  <a:lnTo>
                    <a:pt x="64" y="166"/>
                  </a:lnTo>
                  <a:lnTo>
                    <a:pt x="63" y="164"/>
                  </a:lnTo>
                  <a:lnTo>
                    <a:pt x="63" y="163"/>
                  </a:lnTo>
                  <a:lnTo>
                    <a:pt x="63" y="161"/>
                  </a:lnTo>
                  <a:lnTo>
                    <a:pt x="64" y="157"/>
                  </a:lnTo>
                  <a:lnTo>
                    <a:pt x="63" y="151"/>
                  </a:lnTo>
                  <a:lnTo>
                    <a:pt x="61" y="150"/>
                  </a:lnTo>
                  <a:lnTo>
                    <a:pt x="54" y="135"/>
                  </a:lnTo>
                  <a:lnTo>
                    <a:pt x="47" y="129"/>
                  </a:lnTo>
                  <a:lnTo>
                    <a:pt x="47" y="128"/>
                  </a:lnTo>
                  <a:lnTo>
                    <a:pt x="44" y="127"/>
                  </a:lnTo>
                  <a:lnTo>
                    <a:pt x="42" y="127"/>
                  </a:lnTo>
                  <a:lnTo>
                    <a:pt x="41" y="127"/>
                  </a:lnTo>
                  <a:lnTo>
                    <a:pt x="40" y="125"/>
                  </a:lnTo>
                  <a:lnTo>
                    <a:pt x="37" y="121"/>
                  </a:lnTo>
                  <a:lnTo>
                    <a:pt x="37" y="118"/>
                  </a:lnTo>
                  <a:lnTo>
                    <a:pt x="38" y="118"/>
                  </a:lnTo>
                  <a:lnTo>
                    <a:pt x="32" y="105"/>
                  </a:lnTo>
                  <a:lnTo>
                    <a:pt x="29" y="103"/>
                  </a:lnTo>
                  <a:lnTo>
                    <a:pt x="29" y="102"/>
                  </a:lnTo>
                  <a:lnTo>
                    <a:pt x="28" y="100"/>
                  </a:lnTo>
                  <a:lnTo>
                    <a:pt x="25" y="97"/>
                  </a:lnTo>
                  <a:lnTo>
                    <a:pt x="24" y="90"/>
                  </a:lnTo>
                  <a:lnTo>
                    <a:pt x="22" y="89"/>
                  </a:lnTo>
                  <a:lnTo>
                    <a:pt x="19" y="87"/>
                  </a:lnTo>
                  <a:lnTo>
                    <a:pt x="16" y="83"/>
                  </a:lnTo>
                  <a:lnTo>
                    <a:pt x="16" y="81"/>
                  </a:lnTo>
                  <a:lnTo>
                    <a:pt x="9" y="68"/>
                  </a:lnTo>
                  <a:lnTo>
                    <a:pt x="8" y="67"/>
                  </a:lnTo>
                  <a:lnTo>
                    <a:pt x="3" y="67"/>
                  </a:lnTo>
                  <a:lnTo>
                    <a:pt x="2" y="67"/>
                  </a:lnTo>
                  <a:lnTo>
                    <a:pt x="0" y="67"/>
                  </a:lnTo>
                  <a:lnTo>
                    <a:pt x="0" y="68"/>
                  </a:lnTo>
                  <a:lnTo>
                    <a:pt x="3" y="60"/>
                  </a:lnTo>
                  <a:lnTo>
                    <a:pt x="5" y="52"/>
                  </a:lnTo>
                  <a:lnTo>
                    <a:pt x="5" y="49"/>
                  </a:lnTo>
                  <a:lnTo>
                    <a:pt x="5" y="47"/>
                  </a:lnTo>
                  <a:lnTo>
                    <a:pt x="6" y="48"/>
                  </a:lnTo>
                  <a:lnTo>
                    <a:pt x="22" y="49"/>
                  </a:lnTo>
                  <a:lnTo>
                    <a:pt x="26" y="45"/>
                  </a:lnTo>
                  <a:lnTo>
                    <a:pt x="29" y="38"/>
                  </a:lnTo>
                  <a:lnTo>
                    <a:pt x="41" y="36"/>
                  </a:lnTo>
                  <a:lnTo>
                    <a:pt x="42" y="31"/>
                  </a:lnTo>
                  <a:lnTo>
                    <a:pt x="48" y="26"/>
                  </a:lnTo>
                  <a:lnTo>
                    <a:pt x="34" y="10"/>
                  </a:lnTo>
                  <a:lnTo>
                    <a:pt x="60" y="4"/>
                  </a:lnTo>
                  <a:lnTo>
                    <a:pt x="64" y="0"/>
                  </a:lnTo>
                  <a:lnTo>
                    <a:pt x="119" y="25"/>
                  </a:lnTo>
                  <a:lnTo>
                    <a:pt x="121" y="29"/>
                  </a:lnTo>
                  <a:lnTo>
                    <a:pt x="128" y="31"/>
                  </a:lnTo>
                  <a:lnTo>
                    <a:pt x="130" y="31"/>
                  </a:lnTo>
                  <a:lnTo>
                    <a:pt x="130" y="41"/>
                  </a:lnTo>
                  <a:lnTo>
                    <a:pt x="130" y="42"/>
                  </a:lnTo>
                  <a:lnTo>
                    <a:pt x="146" y="49"/>
                  </a:lnTo>
                  <a:lnTo>
                    <a:pt x="172" y="51"/>
                  </a:lnTo>
                  <a:lnTo>
                    <a:pt x="183" y="54"/>
                  </a:lnTo>
                  <a:lnTo>
                    <a:pt x="185" y="55"/>
                  </a:lnTo>
                  <a:lnTo>
                    <a:pt x="188" y="60"/>
                  </a:lnTo>
                  <a:lnTo>
                    <a:pt x="196" y="60"/>
                  </a:lnTo>
                  <a:lnTo>
                    <a:pt x="202" y="71"/>
                  </a:lnTo>
                  <a:lnTo>
                    <a:pt x="204" y="71"/>
                  </a:lnTo>
                  <a:lnTo>
                    <a:pt x="205" y="76"/>
                  </a:lnTo>
                  <a:lnTo>
                    <a:pt x="209" y="77"/>
                  </a:lnTo>
                  <a:lnTo>
                    <a:pt x="209" y="79"/>
                  </a:lnTo>
                  <a:lnTo>
                    <a:pt x="208" y="79"/>
                  </a:lnTo>
                  <a:lnTo>
                    <a:pt x="209" y="80"/>
                  </a:lnTo>
                  <a:lnTo>
                    <a:pt x="209" y="83"/>
                  </a:lnTo>
                  <a:lnTo>
                    <a:pt x="212" y="83"/>
                  </a:lnTo>
                  <a:lnTo>
                    <a:pt x="220" y="87"/>
                  </a:lnTo>
                  <a:lnTo>
                    <a:pt x="220" y="90"/>
                  </a:lnTo>
                  <a:lnTo>
                    <a:pt x="220" y="93"/>
                  </a:lnTo>
                  <a:lnTo>
                    <a:pt x="223" y="96"/>
                  </a:lnTo>
                  <a:lnTo>
                    <a:pt x="223" y="97"/>
                  </a:lnTo>
                  <a:lnTo>
                    <a:pt x="223" y="99"/>
                  </a:lnTo>
                  <a:lnTo>
                    <a:pt x="221" y="100"/>
                  </a:lnTo>
                  <a:lnTo>
                    <a:pt x="221" y="103"/>
                  </a:lnTo>
                  <a:lnTo>
                    <a:pt x="227" y="111"/>
                  </a:lnTo>
                  <a:lnTo>
                    <a:pt x="227" y="115"/>
                  </a:lnTo>
                  <a:lnTo>
                    <a:pt x="228" y="116"/>
                  </a:lnTo>
                  <a:lnTo>
                    <a:pt x="228" y="118"/>
                  </a:lnTo>
                  <a:lnTo>
                    <a:pt x="230" y="119"/>
                  </a:lnTo>
                  <a:lnTo>
                    <a:pt x="230" y="121"/>
                  </a:lnTo>
                  <a:lnTo>
                    <a:pt x="231" y="121"/>
                  </a:lnTo>
                  <a:lnTo>
                    <a:pt x="233" y="124"/>
                  </a:lnTo>
                  <a:lnTo>
                    <a:pt x="234" y="124"/>
                  </a:lnTo>
                  <a:lnTo>
                    <a:pt x="240" y="121"/>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98" name="Freeform 1624"/>
            <p:cNvSpPr>
              <a:spLocks/>
            </p:cNvSpPr>
            <p:nvPr/>
          </p:nvSpPr>
          <p:spPr bwMode="auto">
            <a:xfrm>
              <a:off x="6472723" y="3712731"/>
              <a:ext cx="30723" cy="36509"/>
            </a:xfrm>
            <a:custGeom>
              <a:avLst/>
              <a:gdLst/>
              <a:ahLst/>
              <a:cxnLst>
                <a:cxn ang="0">
                  <a:pos x="32" y="14"/>
                </a:cxn>
                <a:cxn ang="0">
                  <a:pos x="34" y="14"/>
                </a:cxn>
                <a:cxn ang="0">
                  <a:pos x="32" y="16"/>
                </a:cxn>
                <a:cxn ang="0">
                  <a:pos x="27" y="27"/>
                </a:cxn>
                <a:cxn ang="0">
                  <a:pos x="19" y="30"/>
                </a:cxn>
                <a:cxn ang="0">
                  <a:pos x="16" y="34"/>
                </a:cxn>
                <a:cxn ang="0">
                  <a:pos x="15" y="34"/>
                </a:cxn>
                <a:cxn ang="0">
                  <a:pos x="11" y="35"/>
                </a:cxn>
                <a:cxn ang="0">
                  <a:pos x="3" y="27"/>
                </a:cxn>
                <a:cxn ang="0">
                  <a:pos x="0" y="19"/>
                </a:cxn>
                <a:cxn ang="0">
                  <a:pos x="0" y="16"/>
                </a:cxn>
                <a:cxn ang="0">
                  <a:pos x="11" y="5"/>
                </a:cxn>
                <a:cxn ang="0">
                  <a:pos x="18" y="0"/>
                </a:cxn>
                <a:cxn ang="0">
                  <a:pos x="22" y="0"/>
                </a:cxn>
                <a:cxn ang="0">
                  <a:pos x="25" y="2"/>
                </a:cxn>
                <a:cxn ang="0">
                  <a:pos x="32" y="12"/>
                </a:cxn>
                <a:cxn ang="0">
                  <a:pos x="32" y="14"/>
                </a:cxn>
              </a:cxnLst>
              <a:rect l="0" t="0" r="r" b="b"/>
              <a:pathLst>
                <a:path w="34" h="35">
                  <a:moveTo>
                    <a:pt x="32" y="14"/>
                  </a:moveTo>
                  <a:lnTo>
                    <a:pt x="34" y="14"/>
                  </a:lnTo>
                  <a:lnTo>
                    <a:pt x="32" y="16"/>
                  </a:lnTo>
                  <a:lnTo>
                    <a:pt x="27" y="27"/>
                  </a:lnTo>
                  <a:lnTo>
                    <a:pt x="19" y="30"/>
                  </a:lnTo>
                  <a:lnTo>
                    <a:pt x="16" y="34"/>
                  </a:lnTo>
                  <a:lnTo>
                    <a:pt x="15" y="34"/>
                  </a:lnTo>
                  <a:lnTo>
                    <a:pt x="11" y="35"/>
                  </a:lnTo>
                  <a:lnTo>
                    <a:pt x="3" y="27"/>
                  </a:lnTo>
                  <a:lnTo>
                    <a:pt x="0" y="19"/>
                  </a:lnTo>
                  <a:lnTo>
                    <a:pt x="0" y="16"/>
                  </a:lnTo>
                  <a:lnTo>
                    <a:pt x="11" y="5"/>
                  </a:lnTo>
                  <a:lnTo>
                    <a:pt x="18" y="0"/>
                  </a:lnTo>
                  <a:lnTo>
                    <a:pt x="22" y="0"/>
                  </a:lnTo>
                  <a:lnTo>
                    <a:pt x="25" y="2"/>
                  </a:lnTo>
                  <a:lnTo>
                    <a:pt x="32" y="12"/>
                  </a:lnTo>
                  <a:lnTo>
                    <a:pt x="32" y="14"/>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299" name="Freeform 1625"/>
            <p:cNvSpPr>
              <a:spLocks/>
            </p:cNvSpPr>
            <p:nvPr/>
          </p:nvSpPr>
          <p:spPr bwMode="auto">
            <a:xfrm>
              <a:off x="6472723" y="3712731"/>
              <a:ext cx="30723" cy="36509"/>
            </a:xfrm>
            <a:custGeom>
              <a:avLst/>
              <a:gdLst/>
              <a:ahLst/>
              <a:cxnLst>
                <a:cxn ang="0">
                  <a:pos x="32" y="14"/>
                </a:cxn>
                <a:cxn ang="0">
                  <a:pos x="34" y="14"/>
                </a:cxn>
                <a:cxn ang="0">
                  <a:pos x="32" y="16"/>
                </a:cxn>
                <a:cxn ang="0">
                  <a:pos x="27" y="27"/>
                </a:cxn>
                <a:cxn ang="0">
                  <a:pos x="19" y="30"/>
                </a:cxn>
                <a:cxn ang="0">
                  <a:pos x="16" y="34"/>
                </a:cxn>
                <a:cxn ang="0">
                  <a:pos x="15" y="34"/>
                </a:cxn>
                <a:cxn ang="0">
                  <a:pos x="11" y="35"/>
                </a:cxn>
                <a:cxn ang="0">
                  <a:pos x="3" y="27"/>
                </a:cxn>
                <a:cxn ang="0">
                  <a:pos x="0" y="19"/>
                </a:cxn>
                <a:cxn ang="0">
                  <a:pos x="0" y="16"/>
                </a:cxn>
                <a:cxn ang="0">
                  <a:pos x="11" y="5"/>
                </a:cxn>
                <a:cxn ang="0">
                  <a:pos x="18" y="0"/>
                </a:cxn>
                <a:cxn ang="0">
                  <a:pos x="22" y="0"/>
                </a:cxn>
                <a:cxn ang="0">
                  <a:pos x="25" y="2"/>
                </a:cxn>
                <a:cxn ang="0">
                  <a:pos x="32" y="12"/>
                </a:cxn>
                <a:cxn ang="0">
                  <a:pos x="32" y="14"/>
                </a:cxn>
              </a:cxnLst>
              <a:rect l="0" t="0" r="r" b="b"/>
              <a:pathLst>
                <a:path w="34" h="35">
                  <a:moveTo>
                    <a:pt x="32" y="14"/>
                  </a:moveTo>
                  <a:lnTo>
                    <a:pt x="34" y="14"/>
                  </a:lnTo>
                  <a:lnTo>
                    <a:pt x="32" y="16"/>
                  </a:lnTo>
                  <a:lnTo>
                    <a:pt x="27" y="27"/>
                  </a:lnTo>
                  <a:lnTo>
                    <a:pt x="19" y="30"/>
                  </a:lnTo>
                  <a:lnTo>
                    <a:pt x="16" y="34"/>
                  </a:lnTo>
                  <a:lnTo>
                    <a:pt x="15" y="34"/>
                  </a:lnTo>
                  <a:lnTo>
                    <a:pt x="11" y="35"/>
                  </a:lnTo>
                  <a:lnTo>
                    <a:pt x="3" y="27"/>
                  </a:lnTo>
                  <a:lnTo>
                    <a:pt x="0" y="19"/>
                  </a:lnTo>
                  <a:lnTo>
                    <a:pt x="0" y="16"/>
                  </a:lnTo>
                  <a:lnTo>
                    <a:pt x="11" y="5"/>
                  </a:lnTo>
                  <a:lnTo>
                    <a:pt x="18" y="0"/>
                  </a:lnTo>
                  <a:lnTo>
                    <a:pt x="22" y="0"/>
                  </a:lnTo>
                  <a:lnTo>
                    <a:pt x="25" y="2"/>
                  </a:lnTo>
                  <a:lnTo>
                    <a:pt x="32" y="12"/>
                  </a:lnTo>
                  <a:lnTo>
                    <a:pt x="32" y="14"/>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00" name="Freeform 1626"/>
            <p:cNvSpPr>
              <a:spLocks/>
            </p:cNvSpPr>
            <p:nvPr/>
          </p:nvSpPr>
          <p:spPr bwMode="auto">
            <a:xfrm>
              <a:off x="6540313" y="2719895"/>
              <a:ext cx="24579" cy="10141"/>
            </a:xfrm>
            <a:custGeom>
              <a:avLst/>
              <a:gdLst/>
              <a:ahLst/>
              <a:cxnLst>
                <a:cxn ang="0">
                  <a:pos x="21" y="0"/>
                </a:cxn>
                <a:cxn ang="0">
                  <a:pos x="18" y="0"/>
                </a:cxn>
                <a:cxn ang="0">
                  <a:pos x="16" y="0"/>
                </a:cxn>
                <a:cxn ang="0">
                  <a:pos x="13" y="0"/>
                </a:cxn>
                <a:cxn ang="0">
                  <a:pos x="11" y="2"/>
                </a:cxn>
                <a:cxn ang="0">
                  <a:pos x="9" y="2"/>
                </a:cxn>
                <a:cxn ang="0">
                  <a:pos x="9" y="0"/>
                </a:cxn>
                <a:cxn ang="0">
                  <a:pos x="0" y="3"/>
                </a:cxn>
                <a:cxn ang="0">
                  <a:pos x="3" y="9"/>
                </a:cxn>
                <a:cxn ang="0">
                  <a:pos x="8" y="10"/>
                </a:cxn>
                <a:cxn ang="0">
                  <a:pos x="12" y="10"/>
                </a:cxn>
                <a:cxn ang="0">
                  <a:pos x="15" y="9"/>
                </a:cxn>
                <a:cxn ang="0">
                  <a:pos x="18" y="7"/>
                </a:cxn>
                <a:cxn ang="0">
                  <a:pos x="22" y="5"/>
                </a:cxn>
                <a:cxn ang="0">
                  <a:pos x="25" y="5"/>
                </a:cxn>
                <a:cxn ang="0">
                  <a:pos x="27" y="2"/>
                </a:cxn>
                <a:cxn ang="0">
                  <a:pos x="27" y="0"/>
                </a:cxn>
                <a:cxn ang="0">
                  <a:pos x="22" y="0"/>
                </a:cxn>
                <a:cxn ang="0">
                  <a:pos x="21" y="0"/>
                </a:cxn>
              </a:cxnLst>
              <a:rect l="0" t="0" r="r" b="b"/>
              <a:pathLst>
                <a:path w="27" h="10">
                  <a:moveTo>
                    <a:pt x="21" y="0"/>
                  </a:moveTo>
                  <a:lnTo>
                    <a:pt x="18" y="0"/>
                  </a:lnTo>
                  <a:lnTo>
                    <a:pt x="16" y="0"/>
                  </a:lnTo>
                  <a:lnTo>
                    <a:pt x="13" y="0"/>
                  </a:lnTo>
                  <a:lnTo>
                    <a:pt x="11" y="2"/>
                  </a:lnTo>
                  <a:lnTo>
                    <a:pt x="9" y="2"/>
                  </a:lnTo>
                  <a:lnTo>
                    <a:pt x="9" y="0"/>
                  </a:lnTo>
                  <a:lnTo>
                    <a:pt x="0" y="3"/>
                  </a:lnTo>
                  <a:lnTo>
                    <a:pt x="3" y="9"/>
                  </a:lnTo>
                  <a:lnTo>
                    <a:pt x="8" y="10"/>
                  </a:lnTo>
                  <a:lnTo>
                    <a:pt x="12" y="10"/>
                  </a:lnTo>
                  <a:lnTo>
                    <a:pt x="15" y="9"/>
                  </a:lnTo>
                  <a:lnTo>
                    <a:pt x="18" y="7"/>
                  </a:lnTo>
                  <a:lnTo>
                    <a:pt x="22" y="5"/>
                  </a:lnTo>
                  <a:lnTo>
                    <a:pt x="25" y="5"/>
                  </a:lnTo>
                  <a:lnTo>
                    <a:pt x="27" y="2"/>
                  </a:lnTo>
                  <a:lnTo>
                    <a:pt x="27" y="0"/>
                  </a:lnTo>
                  <a:lnTo>
                    <a:pt x="22" y="0"/>
                  </a:lnTo>
                  <a:lnTo>
                    <a:pt x="21" y="0"/>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01" name="Freeform 1627"/>
            <p:cNvSpPr>
              <a:spLocks/>
            </p:cNvSpPr>
            <p:nvPr/>
          </p:nvSpPr>
          <p:spPr bwMode="auto">
            <a:xfrm>
              <a:off x="6548214" y="2711782"/>
              <a:ext cx="23700" cy="10141"/>
            </a:xfrm>
            <a:custGeom>
              <a:avLst/>
              <a:gdLst/>
              <a:ahLst/>
              <a:cxnLst>
                <a:cxn ang="0">
                  <a:pos x="22" y="4"/>
                </a:cxn>
                <a:cxn ang="0">
                  <a:pos x="23" y="1"/>
                </a:cxn>
                <a:cxn ang="0">
                  <a:pos x="25" y="0"/>
                </a:cxn>
                <a:cxn ang="0">
                  <a:pos x="23" y="0"/>
                </a:cxn>
                <a:cxn ang="0">
                  <a:pos x="16" y="4"/>
                </a:cxn>
                <a:cxn ang="0">
                  <a:pos x="3" y="5"/>
                </a:cxn>
                <a:cxn ang="0">
                  <a:pos x="2" y="5"/>
                </a:cxn>
                <a:cxn ang="0">
                  <a:pos x="2" y="8"/>
                </a:cxn>
                <a:cxn ang="0">
                  <a:pos x="0" y="8"/>
                </a:cxn>
                <a:cxn ang="0">
                  <a:pos x="0" y="10"/>
                </a:cxn>
                <a:cxn ang="0">
                  <a:pos x="2" y="10"/>
                </a:cxn>
                <a:cxn ang="0">
                  <a:pos x="4" y="8"/>
                </a:cxn>
                <a:cxn ang="0">
                  <a:pos x="7" y="8"/>
                </a:cxn>
                <a:cxn ang="0">
                  <a:pos x="9" y="8"/>
                </a:cxn>
                <a:cxn ang="0">
                  <a:pos x="12" y="8"/>
                </a:cxn>
                <a:cxn ang="0">
                  <a:pos x="13" y="8"/>
                </a:cxn>
                <a:cxn ang="0">
                  <a:pos x="18" y="8"/>
                </a:cxn>
                <a:cxn ang="0">
                  <a:pos x="19" y="4"/>
                </a:cxn>
                <a:cxn ang="0">
                  <a:pos x="22" y="4"/>
                </a:cxn>
              </a:cxnLst>
              <a:rect l="0" t="0" r="r" b="b"/>
              <a:pathLst>
                <a:path w="25" h="10">
                  <a:moveTo>
                    <a:pt x="22" y="4"/>
                  </a:moveTo>
                  <a:lnTo>
                    <a:pt x="23" y="1"/>
                  </a:lnTo>
                  <a:lnTo>
                    <a:pt x="25" y="0"/>
                  </a:lnTo>
                  <a:lnTo>
                    <a:pt x="23" y="0"/>
                  </a:lnTo>
                  <a:lnTo>
                    <a:pt x="16" y="4"/>
                  </a:lnTo>
                  <a:lnTo>
                    <a:pt x="3" y="5"/>
                  </a:lnTo>
                  <a:lnTo>
                    <a:pt x="2" y="5"/>
                  </a:lnTo>
                  <a:lnTo>
                    <a:pt x="2" y="8"/>
                  </a:lnTo>
                  <a:lnTo>
                    <a:pt x="0" y="8"/>
                  </a:lnTo>
                  <a:lnTo>
                    <a:pt x="0" y="10"/>
                  </a:lnTo>
                  <a:lnTo>
                    <a:pt x="2" y="10"/>
                  </a:lnTo>
                  <a:lnTo>
                    <a:pt x="4" y="8"/>
                  </a:lnTo>
                  <a:lnTo>
                    <a:pt x="7" y="8"/>
                  </a:lnTo>
                  <a:lnTo>
                    <a:pt x="9" y="8"/>
                  </a:lnTo>
                  <a:lnTo>
                    <a:pt x="12" y="8"/>
                  </a:lnTo>
                  <a:lnTo>
                    <a:pt x="13" y="8"/>
                  </a:lnTo>
                  <a:lnTo>
                    <a:pt x="18" y="8"/>
                  </a:lnTo>
                  <a:lnTo>
                    <a:pt x="19" y="4"/>
                  </a:lnTo>
                  <a:lnTo>
                    <a:pt x="22" y="4"/>
                  </a:lnTo>
                  <a:close/>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02" name="Freeform 1628"/>
            <p:cNvSpPr>
              <a:spLocks/>
            </p:cNvSpPr>
            <p:nvPr/>
          </p:nvSpPr>
          <p:spPr bwMode="auto">
            <a:xfrm>
              <a:off x="4998018" y="3096138"/>
              <a:ext cx="12289" cy="14198"/>
            </a:xfrm>
            <a:custGeom>
              <a:avLst/>
              <a:gdLst/>
              <a:ahLst/>
              <a:cxnLst>
                <a:cxn ang="0">
                  <a:pos x="4" y="0"/>
                </a:cxn>
                <a:cxn ang="0">
                  <a:pos x="4" y="1"/>
                </a:cxn>
                <a:cxn ang="0">
                  <a:pos x="5" y="1"/>
                </a:cxn>
                <a:cxn ang="0">
                  <a:pos x="5" y="1"/>
                </a:cxn>
                <a:cxn ang="0">
                  <a:pos x="13" y="7"/>
                </a:cxn>
                <a:cxn ang="0">
                  <a:pos x="13" y="8"/>
                </a:cxn>
                <a:cxn ang="0">
                  <a:pos x="14" y="10"/>
                </a:cxn>
                <a:cxn ang="0">
                  <a:pos x="14" y="14"/>
                </a:cxn>
                <a:cxn ang="0">
                  <a:pos x="14" y="14"/>
                </a:cxn>
                <a:cxn ang="0">
                  <a:pos x="13" y="14"/>
                </a:cxn>
                <a:cxn ang="0">
                  <a:pos x="11" y="13"/>
                </a:cxn>
                <a:cxn ang="0">
                  <a:pos x="10" y="13"/>
                </a:cxn>
                <a:cxn ang="0">
                  <a:pos x="4" y="10"/>
                </a:cxn>
                <a:cxn ang="0">
                  <a:pos x="0" y="3"/>
                </a:cxn>
                <a:cxn ang="0">
                  <a:pos x="0" y="0"/>
                </a:cxn>
                <a:cxn ang="0">
                  <a:pos x="1" y="0"/>
                </a:cxn>
                <a:cxn ang="0">
                  <a:pos x="1" y="0"/>
                </a:cxn>
                <a:cxn ang="0">
                  <a:pos x="4" y="0"/>
                </a:cxn>
                <a:cxn ang="0">
                  <a:pos x="4" y="0"/>
                </a:cxn>
              </a:cxnLst>
              <a:rect l="0" t="0" r="r" b="b"/>
              <a:pathLst>
                <a:path w="14" h="14">
                  <a:moveTo>
                    <a:pt x="4" y="0"/>
                  </a:moveTo>
                  <a:lnTo>
                    <a:pt x="4" y="1"/>
                  </a:lnTo>
                  <a:lnTo>
                    <a:pt x="5" y="1"/>
                  </a:lnTo>
                  <a:lnTo>
                    <a:pt x="5" y="1"/>
                  </a:lnTo>
                  <a:lnTo>
                    <a:pt x="13" y="7"/>
                  </a:lnTo>
                  <a:lnTo>
                    <a:pt x="13" y="8"/>
                  </a:lnTo>
                  <a:lnTo>
                    <a:pt x="14" y="10"/>
                  </a:lnTo>
                  <a:lnTo>
                    <a:pt x="14" y="14"/>
                  </a:lnTo>
                  <a:lnTo>
                    <a:pt x="14" y="14"/>
                  </a:lnTo>
                  <a:lnTo>
                    <a:pt x="13" y="14"/>
                  </a:lnTo>
                  <a:lnTo>
                    <a:pt x="11" y="13"/>
                  </a:lnTo>
                  <a:lnTo>
                    <a:pt x="10" y="13"/>
                  </a:lnTo>
                  <a:lnTo>
                    <a:pt x="4" y="10"/>
                  </a:lnTo>
                  <a:lnTo>
                    <a:pt x="0" y="3"/>
                  </a:lnTo>
                  <a:lnTo>
                    <a:pt x="0" y="0"/>
                  </a:lnTo>
                  <a:lnTo>
                    <a:pt x="1" y="0"/>
                  </a:lnTo>
                  <a:lnTo>
                    <a:pt x="1" y="0"/>
                  </a:lnTo>
                  <a:lnTo>
                    <a:pt x="4" y="0"/>
                  </a:lnTo>
                  <a:lnTo>
                    <a:pt x="4"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03" name="Freeform 1629"/>
            <p:cNvSpPr>
              <a:spLocks/>
            </p:cNvSpPr>
            <p:nvPr/>
          </p:nvSpPr>
          <p:spPr bwMode="auto">
            <a:xfrm>
              <a:off x="4998018" y="3096138"/>
              <a:ext cx="12289" cy="14198"/>
            </a:xfrm>
            <a:custGeom>
              <a:avLst/>
              <a:gdLst/>
              <a:ahLst/>
              <a:cxnLst>
                <a:cxn ang="0">
                  <a:pos x="4" y="0"/>
                </a:cxn>
                <a:cxn ang="0">
                  <a:pos x="4" y="1"/>
                </a:cxn>
                <a:cxn ang="0">
                  <a:pos x="5" y="1"/>
                </a:cxn>
                <a:cxn ang="0">
                  <a:pos x="5" y="1"/>
                </a:cxn>
                <a:cxn ang="0">
                  <a:pos x="13" y="7"/>
                </a:cxn>
                <a:cxn ang="0">
                  <a:pos x="13" y="8"/>
                </a:cxn>
                <a:cxn ang="0">
                  <a:pos x="14" y="10"/>
                </a:cxn>
                <a:cxn ang="0">
                  <a:pos x="14" y="14"/>
                </a:cxn>
                <a:cxn ang="0">
                  <a:pos x="14" y="14"/>
                </a:cxn>
                <a:cxn ang="0">
                  <a:pos x="13" y="14"/>
                </a:cxn>
                <a:cxn ang="0">
                  <a:pos x="11" y="13"/>
                </a:cxn>
                <a:cxn ang="0">
                  <a:pos x="10" y="13"/>
                </a:cxn>
                <a:cxn ang="0">
                  <a:pos x="4" y="10"/>
                </a:cxn>
                <a:cxn ang="0">
                  <a:pos x="0" y="3"/>
                </a:cxn>
                <a:cxn ang="0">
                  <a:pos x="0" y="0"/>
                </a:cxn>
                <a:cxn ang="0">
                  <a:pos x="1" y="0"/>
                </a:cxn>
                <a:cxn ang="0">
                  <a:pos x="1" y="0"/>
                </a:cxn>
                <a:cxn ang="0">
                  <a:pos x="4" y="0"/>
                </a:cxn>
                <a:cxn ang="0">
                  <a:pos x="4" y="0"/>
                </a:cxn>
              </a:cxnLst>
              <a:rect l="0" t="0" r="r" b="b"/>
              <a:pathLst>
                <a:path w="14" h="14">
                  <a:moveTo>
                    <a:pt x="4" y="0"/>
                  </a:moveTo>
                  <a:lnTo>
                    <a:pt x="4" y="1"/>
                  </a:lnTo>
                  <a:lnTo>
                    <a:pt x="5" y="1"/>
                  </a:lnTo>
                  <a:lnTo>
                    <a:pt x="5" y="1"/>
                  </a:lnTo>
                  <a:lnTo>
                    <a:pt x="13" y="7"/>
                  </a:lnTo>
                  <a:lnTo>
                    <a:pt x="13" y="8"/>
                  </a:lnTo>
                  <a:lnTo>
                    <a:pt x="14" y="10"/>
                  </a:lnTo>
                  <a:lnTo>
                    <a:pt x="14" y="14"/>
                  </a:lnTo>
                  <a:lnTo>
                    <a:pt x="14" y="14"/>
                  </a:lnTo>
                  <a:lnTo>
                    <a:pt x="13" y="14"/>
                  </a:lnTo>
                  <a:lnTo>
                    <a:pt x="11" y="13"/>
                  </a:lnTo>
                  <a:lnTo>
                    <a:pt x="10" y="13"/>
                  </a:lnTo>
                  <a:lnTo>
                    <a:pt x="4" y="10"/>
                  </a:lnTo>
                  <a:lnTo>
                    <a:pt x="0" y="3"/>
                  </a:lnTo>
                  <a:lnTo>
                    <a:pt x="0" y="0"/>
                  </a:lnTo>
                  <a:lnTo>
                    <a:pt x="1" y="0"/>
                  </a:lnTo>
                  <a:lnTo>
                    <a:pt x="1" y="0"/>
                  </a:lnTo>
                  <a:lnTo>
                    <a:pt x="4" y="0"/>
                  </a:lnTo>
                  <a:lnTo>
                    <a:pt x="4"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04" name="Freeform 1630"/>
            <p:cNvSpPr>
              <a:spLocks/>
            </p:cNvSpPr>
            <p:nvPr/>
          </p:nvSpPr>
          <p:spPr bwMode="auto">
            <a:xfrm>
              <a:off x="5205179" y="3502805"/>
              <a:ext cx="17556" cy="16226"/>
            </a:xfrm>
            <a:custGeom>
              <a:avLst/>
              <a:gdLst/>
              <a:ahLst/>
              <a:cxnLst>
                <a:cxn ang="0">
                  <a:pos x="6" y="0"/>
                </a:cxn>
                <a:cxn ang="0">
                  <a:pos x="6" y="1"/>
                </a:cxn>
                <a:cxn ang="0">
                  <a:pos x="9" y="2"/>
                </a:cxn>
                <a:cxn ang="0">
                  <a:pos x="12" y="7"/>
                </a:cxn>
                <a:cxn ang="0">
                  <a:pos x="15" y="7"/>
                </a:cxn>
                <a:cxn ang="0">
                  <a:pos x="18" y="7"/>
                </a:cxn>
                <a:cxn ang="0">
                  <a:pos x="18" y="8"/>
                </a:cxn>
                <a:cxn ang="0">
                  <a:pos x="18" y="10"/>
                </a:cxn>
                <a:cxn ang="0">
                  <a:pos x="19" y="14"/>
                </a:cxn>
                <a:cxn ang="0">
                  <a:pos x="19" y="15"/>
                </a:cxn>
                <a:cxn ang="0">
                  <a:pos x="18" y="15"/>
                </a:cxn>
                <a:cxn ang="0">
                  <a:pos x="15" y="15"/>
                </a:cxn>
                <a:cxn ang="0">
                  <a:pos x="15" y="14"/>
                </a:cxn>
                <a:cxn ang="0">
                  <a:pos x="15" y="14"/>
                </a:cxn>
                <a:cxn ang="0">
                  <a:pos x="16" y="14"/>
                </a:cxn>
                <a:cxn ang="0">
                  <a:pos x="16" y="13"/>
                </a:cxn>
                <a:cxn ang="0">
                  <a:pos x="15" y="11"/>
                </a:cxn>
                <a:cxn ang="0">
                  <a:pos x="15" y="11"/>
                </a:cxn>
                <a:cxn ang="0">
                  <a:pos x="13" y="13"/>
                </a:cxn>
                <a:cxn ang="0">
                  <a:pos x="12" y="13"/>
                </a:cxn>
                <a:cxn ang="0">
                  <a:pos x="10" y="13"/>
                </a:cxn>
                <a:cxn ang="0">
                  <a:pos x="5" y="8"/>
                </a:cxn>
                <a:cxn ang="0">
                  <a:pos x="2" y="8"/>
                </a:cxn>
                <a:cxn ang="0">
                  <a:pos x="0" y="7"/>
                </a:cxn>
                <a:cxn ang="0">
                  <a:pos x="0" y="5"/>
                </a:cxn>
                <a:cxn ang="0">
                  <a:pos x="0" y="2"/>
                </a:cxn>
                <a:cxn ang="0">
                  <a:pos x="0" y="1"/>
                </a:cxn>
                <a:cxn ang="0">
                  <a:pos x="2" y="1"/>
                </a:cxn>
                <a:cxn ang="0">
                  <a:pos x="3" y="0"/>
                </a:cxn>
                <a:cxn ang="0">
                  <a:pos x="3" y="0"/>
                </a:cxn>
                <a:cxn ang="0">
                  <a:pos x="3" y="0"/>
                </a:cxn>
                <a:cxn ang="0">
                  <a:pos x="6" y="0"/>
                </a:cxn>
              </a:cxnLst>
              <a:rect l="0" t="0" r="r" b="b"/>
              <a:pathLst>
                <a:path w="19" h="15">
                  <a:moveTo>
                    <a:pt x="6" y="0"/>
                  </a:moveTo>
                  <a:lnTo>
                    <a:pt x="6" y="1"/>
                  </a:lnTo>
                  <a:lnTo>
                    <a:pt x="9" y="2"/>
                  </a:lnTo>
                  <a:lnTo>
                    <a:pt x="12" y="7"/>
                  </a:lnTo>
                  <a:lnTo>
                    <a:pt x="15" y="7"/>
                  </a:lnTo>
                  <a:lnTo>
                    <a:pt x="18" y="7"/>
                  </a:lnTo>
                  <a:lnTo>
                    <a:pt x="18" y="8"/>
                  </a:lnTo>
                  <a:lnTo>
                    <a:pt x="18" y="10"/>
                  </a:lnTo>
                  <a:lnTo>
                    <a:pt x="19" y="14"/>
                  </a:lnTo>
                  <a:lnTo>
                    <a:pt x="19" y="15"/>
                  </a:lnTo>
                  <a:lnTo>
                    <a:pt x="18" y="15"/>
                  </a:lnTo>
                  <a:lnTo>
                    <a:pt x="15" y="15"/>
                  </a:lnTo>
                  <a:lnTo>
                    <a:pt x="15" y="14"/>
                  </a:lnTo>
                  <a:lnTo>
                    <a:pt x="15" y="14"/>
                  </a:lnTo>
                  <a:lnTo>
                    <a:pt x="16" y="14"/>
                  </a:lnTo>
                  <a:lnTo>
                    <a:pt x="16" y="13"/>
                  </a:lnTo>
                  <a:lnTo>
                    <a:pt x="15" y="11"/>
                  </a:lnTo>
                  <a:lnTo>
                    <a:pt x="15" y="11"/>
                  </a:lnTo>
                  <a:lnTo>
                    <a:pt x="13" y="13"/>
                  </a:lnTo>
                  <a:lnTo>
                    <a:pt x="12" y="13"/>
                  </a:lnTo>
                  <a:lnTo>
                    <a:pt x="10" y="13"/>
                  </a:lnTo>
                  <a:lnTo>
                    <a:pt x="5" y="8"/>
                  </a:lnTo>
                  <a:lnTo>
                    <a:pt x="2" y="8"/>
                  </a:lnTo>
                  <a:lnTo>
                    <a:pt x="0" y="7"/>
                  </a:lnTo>
                  <a:lnTo>
                    <a:pt x="0" y="5"/>
                  </a:lnTo>
                  <a:lnTo>
                    <a:pt x="0" y="2"/>
                  </a:lnTo>
                  <a:lnTo>
                    <a:pt x="0" y="1"/>
                  </a:lnTo>
                  <a:lnTo>
                    <a:pt x="2" y="1"/>
                  </a:lnTo>
                  <a:lnTo>
                    <a:pt x="3" y="0"/>
                  </a:lnTo>
                  <a:lnTo>
                    <a:pt x="3" y="0"/>
                  </a:lnTo>
                  <a:lnTo>
                    <a:pt x="3" y="0"/>
                  </a:lnTo>
                  <a:lnTo>
                    <a:pt x="6"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05" name="Freeform 1631"/>
            <p:cNvSpPr>
              <a:spLocks/>
            </p:cNvSpPr>
            <p:nvPr/>
          </p:nvSpPr>
          <p:spPr bwMode="auto">
            <a:xfrm>
              <a:off x="5205179" y="3502805"/>
              <a:ext cx="17556" cy="16226"/>
            </a:xfrm>
            <a:custGeom>
              <a:avLst/>
              <a:gdLst/>
              <a:ahLst/>
              <a:cxnLst>
                <a:cxn ang="0">
                  <a:pos x="6" y="0"/>
                </a:cxn>
                <a:cxn ang="0">
                  <a:pos x="6" y="1"/>
                </a:cxn>
                <a:cxn ang="0">
                  <a:pos x="9" y="2"/>
                </a:cxn>
                <a:cxn ang="0">
                  <a:pos x="12" y="7"/>
                </a:cxn>
                <a:cxn ang="0">
                  <a:pos x="15" y="7"/>
                </a:cxn>
                <a:cxn ang="0">
                  <a:pos x="18" y="7"/>
                </a:cxn>
                <a:cxn ang="0">
                  <a:pos x="18" y="8"/>
                </a:cxn>
                <a:cxn ang="0">
                  <a:pos x="18" y="10"/>
                </a:cxn>
                <a:cxn ang="0">
                  <a:pos x="19" y="14"/>
                </a:cxn>
                <a:cxn ang="0">
                  <a:pos x="19" y="15"/>
                </a:cxn>
                <a:cxn ang="0">
                  <a:pos x="18" y="15"/>
                </a:cxn>
                <a:cxn ang="0">
                  <a:pos x="15" y="15"/>
                </a:cxn>
                <a:cxn ang="0">
                  <a:pos x="15" y="14"/>
                </a:cxn>
                <a:cxn ang="0">
                  <a:pos x="15" y="14"/>
                </a:cxn>
                <a:cxn ang="0">
                  <a:pos x="16" y="14"/>
                </a:cxn>
                <a:cxn ang="0">
                  <a:pos x="16" y="13"/>
                </a:cxn>
                <a:cxn ang="0">
                  <a:pos x="15" y="11"/>
                </a:cxn>
                <a:cxn ang="0">
                  <a:pos x="15" y="11"/>
                </a:cxn>
                <a:cxn ang="0">
                  <a:pos x="13" y="13"/>
                </a:cxn>
                <a:cxn ang="0">
                  <a:pos x="12" y="13"/>
                </a:cxn>
                <a:cxn ang="0">
                  <a:pos x="10" y="13"/>
                </a:cxn>
                <a:cxn ang="0">
                  <a:pos x="5" y="8"/>
                </a:cxn>
                <a:cxn ang="0">
                  <a:pos x="2" y="8"/>
                </a:cxn>
                <a:cxn ang="0">
                  <a:pos x="0" y="7"/>
                </a:cxn>
                <a:cxn ang="0">
                  <a:pos x="0" y="5"/>
                </a:cxn>
                <a:cxn ang="0">
                  <a:pos x="0" y="2"/>
                </a:cxn>
                <a:cxn ang="0">
                  <a:pos x="0" y="1"/>
                </a:cxn>
                <a:cxn ang="0">
                  <a:pos x="2" y="1"/>
                </a:cxn>
                <a:cxn ang="0">
                  <a:pos x="3" y="0"/>
                </a:cxn>
                <a:cxn ang="0">
                  <a:pos x="3" y="0"/>
                </a:cxn>
                <a:cxn ang="0">
                  <a:pos x="3" y="0"/>
                </a:cxn>
                <a:cxn ang="0">
                  <a:pos x="6" y="0"/>
                </a:cxn>
              </a:cxnLst>
              <a:rect l="0" t="0" r="r" b="b"/>
              <a:pathLst>
                <a:path w="19" h="15">
                  <a:moveTo>
                    <a:pt x="6" y="0"/>
                  </a:moveTo>
                  <a:lnTo>
                    <a:pt x="6" y="1"/>
                  </a:lnTo>
                  <a:lnTo>
                    <a:pt x="9" y="2"/>
                  </a:lnTo>
                  <a:lnTo>
                    <a:pt x="12" y="7"/>
                  </a:lnTo>
                  <a:lnTo>
                    <a:pt x="15" y="7"/>
                  </a:lnTo>
                  <a:lnTo>
                    <a:pt x="18" y="7"/>
                  </a:lnTo>
                  <a:lnTo>
                    <a:pt x="18" y="8"/>
                  </a:lnTo>
                  <a:lnTo>
                    <a:pt x="18" y="10"/>
                  </a:lnTo>
                  <a:lnTo>
                    <a:pt x="19" y="14"/>
                  </a:lnTo>
                  <a:lnTo>
                    <a:pt x="19" y="15"/>
                  </a:lnTo>
                  <a:lnTo>
                    <a:pt x="18" y="15"/>
                  </a:lnTo>
                  <a:lnTo>
                    <a:pt x="15" y="15"/>
                  </a:lnTo>
                  <a:lnTo>
                    <a:pt x="15" y="14"/>
                  </a:lnTo>
                  <a:lnTo>
                    <a:pt x="15" y="14"/>
                  </a:lnTo>
                  <a:lnTo>
                    <a:pt x="16" y="14"/>
                  </a:lnTo>
                  <a:lnTo>
                    <a:pt x="16" y="13"/>
                  </a:lnTo>
                  <a:lnTo>
                    <a:pt x="15" y="11"/>
                  </a:lnTo>
                  <a:lnTo>
                    <a:pt x="15" y="11"/>
                  </a:lnTo>
                  <a:lnTo>
                    <a:pt x="13" y="13"/>
                  </a:lnTo>
                  <a:lnTo>
                    <a:pt x="12" y="13"/>
                  </a:lnTo>
                  <a:lnTo>
                    <a:pt x="10" y="13"/>
                  </a:lnTo>
                  <a:lnTo>
                    <a:pt x="5" y="8"/>
                  </a:lnTo>
                  <a:lnTo>
                    <a:pt x="2" y="8"/>
                  </a:lnTo>
                  <a:lnTo>
                    <a:pt x="0" y="7"/>
                  </a:lnTo>
                  <a:lnTo>
                    <a:pt x="0" y="5"/>
                  </a:lnTo>
                  <a:lnTo>
                    <a:pt x="0" y="2"/>
                  </a:lnTo>
                  <a:lnTo>
                    <a:pt x="0" y="1"/>
                  </a:lnTo>
                  <a:lnTo>
                    <a:pt x="2" y="1"/>
                  </a:lnTo>
                  <a:lnTo>
                    <a:pt x="3" y="0"/>
                  </a:lnTo>
                  <a:lnTo>
                    <a:pt x="3" y="0"/>
                  </a:lnTo>
                  <a:lnTo>
                    <a:pt x="3" y="0"/>
                  </a:lnTo>
                  <a:lnTo>
                    <a:pt x="6"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06" name="Freeform 1632"/>
            <p:cNvSpPr>
              <a:spLocks/>
            </p:cNvSpPr>
            <p:nvPr/>
          </p:nvSpPr>
          <p:spPr bwMode="auto">
            <a:xfrm>
              <a:off x="5436919" y="3738084"/>
              <a:ext cx="21945" cy="36509"/>
            </a:xfrm>
            <a:custGeom>
              <a:avLst/>
              <a:gdLst/>
              <a:ahLst/>
              <a:cxnLst>
                <a:cxn ang="0">
                  <a:pos x="14" y="0"/>
                </a:cxn>
                <a:cxn ang="0">
                  <a:pos x="14" y="3"/>
                </a:cxn>
                <a:cxn ang="0">
                  <a:pos x="16" y="6"/>
                </a:cxn>
                <a:cxn ang="0">
                  <a:pos x="16" y="7"/>
                </a:cxn>
                <a:cxn ang="0">
                  <a:pos x="17" y="7"/>
                </a:cxn>
                <a:cxn ang="0">
                  <a:pos x="19" y="7"/>
                </a:cxn>
                <a:cxn ang="0">
                  <a:pos x="22" y="6"/>
                </a:cxn>
                <a:cxn ang="0">
                  <a:pos x="23" y="5"/>
                </a:cxn>
                <a:cxn ang="0">
                  <a:pos x="24" y="6"/>
                </a:cxn>
                <a:cxn ang="0">
                  <a:pos x="24" y="7"/>
                </a:cxn>
                <a:cxn ang="0">
                  <a:pos x="23" y="9"/>
                </a:cxn>
                <a:cxn ang="0">
                  <a:pos x="23" y="9"/>
                </a:cxn>
                <a:cxn ang="0">
                  <a:pos x="23" y="7"/>
                </a:cxn>
                <a:cxn ang="0">
                  <a:pos x="22" y="7"/>
                </a:cxn>
                <a:cxn ang="0">
                  <a:pos x="22" y="13"/>
                </a:cxn>
                <a:cxn ang="0">
                  <a:pos x="19" y="16"/>
                </a:cxn>
                <a:cxn ang="0">
                  <a:pos x="19" y="16"/>
                </a:cxn>
                <a:cxn ang="0">
                  <a:pos x="17" y="19"/>
                </a:cxn>
                <a:cxn ang="0">
                  <a:pos x="16" y="19"/>
                </a:cxn>
                <a:cxn ang="0">
                  <a:pos x="14" y="26"/>
                </a:cxn>
                <a:cxn ang="0">
                  <a:pos x="6" y="31"/>
                </a:cxn>
                <a:cxn ang="0">
                  <a:pos x="4" y="32"/>
                </a:cxn>
                <a:cxn ang="0">
                  <a:pos x="3" y="32"/>
                </a:cxn>
                <a:cxn ang="0">
                  <a:pos x="3" y="35"/>
                </a:cxn>
                <a:cxn ang="0">
                  <a:pos x="0" y="31"/>
                </a:cxn>
                <a:cxn ang="0">
                  <a:pos x="0" y="29"/>
                </a:cxn>
                <a:cxn ang="0">
                  <a:pos x="1" y="29"/>
                </a:cxn>
                <a:cxn ang="0">
                  <a:pos x="1" y="28"/>
                </a:cxn>
                <a:cxn ang="0">
                  <a:pos x="1" y="28"/>
                </a:cxn>
                <a:cxn ang="0">
                  <a:pos x="3" y="23"/>
                </a:cxn>
                <a:cxn ang="0">
                  <a:pos x="3" y="23"/>
                </a:cxn>
                <a:cxn ang="0">
                  <a:pos x="7" y="22"/>
                </a:cxn>
                <a:cxn ang="0">
                  <a:pos x="7" y="22"/>
                </a:cxn>
                <a:cxn ang="0">
                  <a:pos x="7" y="21"/>
                </a:cxn>
                <a:cxn ang="0">
                  <a:pos x="8" y="21"/>
                </a:cxn>
                <a:cxn ang="0">
                  <a:pos x="11" y="12"/>
                </a:cxn>
                <a:cxn ang="0">
                  <a:pos x="11" y="13"/>
                </a:cxn>
                <a:cxn ang="0">
                  <a:pos x="13" y="12"/>
                </a:cxn>
                <a:cxn ang="0">
                  <a:pos x="14" y="0"/>
                </a:cxn>
              </a:cxnLst>
              <a:rect l="0" t="0" r="r" b="b"/>
              <a:pathLst>
                <a:path w="24" h="35">
                  <a:moveTo>
                    <a:pt x="14" y="0"/>
                  </a:moveTo>
                  <a:lnTo>
                    <a:pt x="14" y="3"/>
                  </a:lnTo>
                  <a:lnTo>
                    <a:pt x="16" y="6"/>
                  </a:lnTo>
                  <a:lnTo>
                    <a:pt x="16" y="7"/>
                  </a:lnTo>
                  <a:lnTo>
                    <a:pt x="17" y="7"/>
                  </a:lnTo>
                  <a:lnTo>
                    <a:pt x="19" y="7"/>
                  </a:lnTo>
                  <a:lnTo>
                    <a:pt x="22" y="6"/>
                  </a:lnTo>
                  <a:lnTo>
                    <a:pt x="23" y="5"/>
                  </a:lnTo>
                  <a:lnTo>
                    <a:pt x="24" y="6"/>
                  </a:lnTo>
                  <a:lnTo>
                    <a:pt x="24" y="7"/>
                  </a:lnTo>
                  <a:lnTo>
                    <a:pt x="23" y="9"/>
                  </a:lnTo>
                  <a:lnTo>
                    <a:pt x="23" y="9"/>
                  </a:lnTo>
                  <a:lnTo>
                    <a:pt x="23" y="7"/>
                  </a:lnTo>
                  <a:lnTo>
                    <a:pt x="22" y="7"/>
                  </a:lnTo>
                  <a:lnTo>
                    <a:pt x="22" y="13"/>
                  </a:lnTo>
                  <a:lnTo>
                    <a:pt x="19" y="16"/>
                  </a:lnTo>
                  <a:lnTo>
                    <a:pt x="19" y="16"/>
                  </a:lnTo>
                  <a:lnTo>
                    <a:pt x="17" y="19"/>
                  </a:lnTo>
                  <a:lnTo>
                    <a:pt x="16" y="19"/>
                  </a:lnTo>
                  <a:lnTo>
                    <a:pt x="14" y="26"/>
                  </a:lnTo>
                  <a:lnTo>
                    <a:pt x="6" y="31"/>
                  </a:lnTo>
                  <a:lnTo>
                    <a:pt x="4" y="32"/>
                  </a:lnTo>
                  <a:lnTo>
                    <a:pt x="3" y="32"/>
                  </a:lnTo>
                  <a:lnTo>
                    <a:pt x="3" y="35"/>
                  </a:lnTo>
                  <a:lnTo>
                    <a:pt x="0" y="31"/>
                  </a:lnTo>
                  <a:lnTo>
                    <a:pt x="0" y="29"/>
                  </a:lnTo>
                  <a:lnTo>
                    <a:pt x="1" y="29"/>
                  </a:lnTo>
                  <a:lnTo>
                    <a:pt x="1" y="28"/>
                  </a:lnTo>
                  <a:lnTo>
                    <a:pt x="1" y="28"/>
                  </a:lnTo>
                  <a:lnTo>
                    <a:pt x="3" y="23"/>
                  </a:lnTo>
                  <a:lnTo>
                    <a:pt x="3" y="23"/>
                  </a:lnTo>
                  <a:lnTo>
                    <a:pt x="7" y="22"/>
                  </a:lnTo>
                  <a:lnTo>
                    <a:pt x="7" y="22"/>
                  </a:lnTo>
                  <a:lnTo>
                    <a:pt x="7" y="21"/>
                  </a:lnTo>
                  <a:lnTo>
                    <a:pt x="8" y="21"/>
                  </a:lnTo>
                  <a:lnTo>
                    <a:pt x="11" y="12"/>
                  </a:lnTo>
                  <a:lnTo>
                    <a:pt x="11" y="13"/>
                  </a:lnTo>
                  <a:lnTo>
                    <a:pt x="13" y="12"/>
                  </a:lnTo>
                  <a:lnTo>
                    <a:pt x="14"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07" name="Freeform 1633"/>
            <p:cNvSpPr>
              <a:spLocks/>
            </p:cNvSpPr>
            <p:nvPr/>
          </p:nvSpPr>
          <p:spPr bwMode="auto">
            <a:xfrm>
              <a:off x="5436919" y="3738084"/>
              <a:ext cx="21945" cy="36509"/>
            </a:xfrm>
            <a:custGeom>
              <a:avLst/>
              <a:gdLst/>
              <a:ahLst/>
              <a:cxnLst>
                <a:cxn ang="0">
                  <a:pos x="14" y="0"/>
                </a:cxn>
                <a:cxn ang="0">
                  <a:pos x="14" y="3"/>
                </a:cxn>
                <a:cxn ang="0">
                  <a:pos x="16" y="6"/>
                </a:cxn>
                <a:cxn ang="0">
                  <a:pos x="16" y="7"/>
                </a:cxn>
                <a:cxn ang="0">
                  <a:pos x="17" y="7"/>
                </a:cxn>
                <a:cxn ang="0">
                  <a:pos x="19" y="7"/>
                </a:cxn>
                <a:cxn ang="0">
                  <a:pos x="22" y="6"/>
                </a:cxn>
                <a:cxn ang="0">
                  <a:pos x="23" y="5"/>
                </a:cxn>
                <a:cxn ang="0">
                  <a:pos x="24" y="6"/>
                </a:cxn>
                <a:cxn ang="0">
                  <a:pos x="24" y="7"/>
                </a:cxn>
                <a:cxn ang="0">
                  <a:pos x="23" y="9"/>
                </a:cxn>
                <a:cxn ang="0">
                  <a:pos x="23" y="9"/>
                </a:cxn>
                <a:cxn ang="0">
                  <a:pos x="23" y="7"/>
                </a:cxn>
                <a:cxn ang="0">
                  <a:pos x="22" y="7"/>
                </a:cxn>
                <a:cxn ang="0">
                  <a:pos x="22" y="13"/>
                </a:cxn>
                <a:cxn ang="0">
                  <a:pos x="19" y="16"/>
                </a:cxn>
                <a:cxn ang="0">
                  <a:pos x="19" y="16"/>
                </a:cxn>
                <a:cxn ang="0">
                  <a:pos x="17" y="19"/>
                </a:cxn>
                <a:cxn ang="0">
                  <a:pos x="16" y="19"/>
                </a:cxn>
                <a:cxn ang="0">
                  <a:pos x="14" y="26"/>
                </a:cxn>
                <a:cxn ang="0">
                  <a:pos x="6" y="31"/>
                </a:cxn>
                <a:cxn ang="0">
                  <a:pos x="4" y="32"/>
                </a:cxn>
                <a:cxn ang="0">
                  <a:pos x="3" y="32"/>
                </a:cxn>
                <a:cxn ang="0">
                  <a:pos x="3" y="35"/>
                </a:cxn>
                <a:cxn ang="0">
                  <a:pos x="0" y="31"/>
                </a:cxn>
                <a:cxn ang="0">
                  <a:pos x="0" y="29"/>
                </a:cxn>
                <a:cxn ang="0">
                  <a:pos x="1" y="29"/>
                </a:cxn>
                <a:cxn ang="0">
                  <a:pos x="1" y="28"/>
                </a:cxn>
                <a:cxn ang="0">
                  <a:pos x="1" y="28"/>
                </a:cxn>
                <a:cxn ang="0">
                  <a:pos x="3" y="23"/>
                </a:cxn>
                <a:cxn ang="0">
                  <a:pos x="3" y="23"/>
                </a:cxn>
                <a:cxn ang="0">
                  <a:pos x="7" y="22"/>
                </a:cxn>
                <a:cxn ang="0">
                  <a:pos x="7" y="22"/>
                </a:cxn>
                <a:cxn ang="0">
                  <a:pos x="7" y="21"/>
                </a:cxn>
                <a:cxn ang="0">
                  <a:pos x="8" y="21"/>
                </a:cxn>
                <a:cxn ang="0">
                  <a:pos x="11" y="12"/>
                </a:cxn>
                <a:cxn ang="0">
                  <a:pos x="11" y="13"/>
                </a:cxn>
                <a:cxn ang="0">
                  <a:pos x="13" y="12"/>
                </a:cxn>
                <a:cxn ang="0">
                  <a:pos x="14" y="0"/>
                </a:cxn>
              </a:cxnLst>
              <a:rect l="0" t="0" r="r" b="b"/>
              <a:pathLst>
                <a:path w="24" h="35">
                  <a:moveTo>
                    <a:pt x="14" y="0"/>
                  </a:moveTo>
                  <a:lnTo>
                    <a:pt x="14" y="3"/>
                  </a:lnTo>
                  <a:lnTo>
                    <a:pt x="16" y="6"/>
                  </a:lnTo>
                  <a:lnTo>
                    <a:pt x="16" y="7"/>
                  </a:lnTo>
                  <a:lnTo>
                    <a:pt x="17" y="7"/>
                  </a:lnTo>
                  <a:lnTo>
                    <a:pt x="19" y="7"/>
                  </a:lnTo>
                  <a:lnTo>
                    <a:pt x="22" y="6"/>
                  </a:lnTo>
                  <a:lnTo>
                    <a:pt x="23" y="5"/>
                  </a:lnTo>
                  <a:lnTo>
                    <a:pt x="24" y="6"/>
                  </a:lnTo>
                  <a:lnTo>
                    <a:pt x="24" y="7"/>
                  </a:lnTo>
                  <a:lnTo>
                    <a:pt x="23" y="9"/>
                  </a:lnTo>
                  <a:lnTo>
                    <a:pt x="23" y="9"/>
                  </a:lnTo>
                  <a:lnTo>
                    <a:pt x="23" y="7"/>
                  </a:lnTo>
                  <a:lnTo>
                    <a:pt x="22" y="7"/>
                  </a:lnTo>
                  <a:lnTo>
                    <a:pt x="22" y="13"/>
                  </a:lnTo>
                  <a:lnTo>
                    <a:pt x="19" y="16"/>
                  </a:lnTo>
                  <a:lnTo>
                    <a:pt x="19" y="16"/>
                  </a:lnTo>
                  <a:lnTo>
                    <a:pt x="17" y="19"/>
                  </a:lnTo>
                  <a:lnTo>
                    <a:pt x="16" y="19"/>
                  </a:lnTo>
                  <a:lnTo>
                    <a:pt x="14" y="26"/>
                  </a:lnTo>
                  <a:lnTo>
                    <a:pt x="6" y="31"/>
                  </a:lnTo>
                  <a:lnTo>
                    <a:pt x="4" y="32"/>
                  </a:lnTo>
                  <a:lnTo>
                    <a:pt x="3" y="32"/>
                  </a:lnTo>
                  <a:lnTo>
                    <a:pt x="3" y="35"/>
                  </a:lnTo>
                  <a:lnTo>
                    <a:pt x="0" y="31"/>
                  </a:lnTo>
                  <a:lnTo>
                    <a:pt x="0" y="29"/>
                  </a:lnTo>
                  <a:lnTo>
                    <a:pt x="1" y="29"/>
                  </a:lnTo>
                  <a:lnTo>
                    <a:pt x="1" y="28"/>
                  </a:lnTo>
                  <a:lnTo>
                    <a:pt x="1" y="28"/>
                  </a:lnTo>
                  <a:lnTo>
                    <a:pt x="3" y="23"/>
                  </a:lnTo>
                  <a:lnTo>
                    <a:pt x="3" y="23"/>
                  </a:lnTo>
                  <a:lnTo>
                    <a:pt x="7" y="22"/>
                  </a:lnTo>
                  <a:lnTo>
                    <a:pt x="7" y="22"/>
                  </a:lnTo>
                  <a:lnTo>
                    <a:pt x="7" y="21"/>
                  </a:lnTo>
                  <a:lnTo>
                    <a:pt x="8" y="21"/>
                  </a:lnTo>
                  <a:lnTo>
                    <a:pt x="11" y="12"/>
                  </a:lnTo>
                  <a:lnTo>
                    <a:pt x="11" y="13"/>
                  </a:lnTo>
                  <a:lnTo>
                    <a:pt x="13" y="12"/>
                  </a:lnTo>
                  <a:lnTo>
                    <a:pt x="14"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08" name="Freeform 1634"/>
            <p:cNvSpPr>
              <a:spLocks/>
            </p:cNvSpPr>
            <p:nvPr/>
          </p:nvSpPr>
          <p:spPr bwMode="auto">
            <a:xfrm>
              <a:off x="6586837" y="3209721"/>
              <a:ext cx="11411" cy="30424"/>
            </a:xfrm>
            <a:custGeom>
              <a:avLst/>
              <a:gdLst/>
              <a:ahLst/>
              <a:cxnLst>
                <a:cxn ang="0">
                  <a:pos x="3" y="0"/>
                </a:cxn>
                <a:cxn ang="0">
                  <a:pos x="6" y="4"/>
                </a:cxn>
                <a:cxn ang="0">
                  <a:pos x="6" y="7"/>
                </a:cxn>
                <a:cxn ang="0">
                  <a:pos x="7" y="10"/>
                </a:cxn>
                <a:cxn ang="0">
                  <a:pos x="6" y="11"/>
                </a:cxn>
                <a:cxn ang="0">
                  <a:pos x="7" y="20"/>
                </a:cxn>
                <a:cxn ang="0">
                  <a:pos x="12" y="26"/>
                </a:cxn>
                <a:cxn ang="0">
                  <a:pos x="12" y="30"/>
                </a:cxn>
                <a:cxn ang="0">
                  <a:pos x="10" y="30"/>
                </a:cxn>
                <a:cxn ang="0">
                  <a:pos x="9" y="24"/>
                </a:cxn>
                <a:cxn ang="0">
                  <a:pos x="3" y="20"/>
                </a:cxn>
                <a:cxn ang="0">
                  <a:pos x="0" y="8"/>
                </a:cxn>
                <a:cxn ang="0">
                  <a:pos x="2" y="1"/>
                </a:cxn>
                <a:cxn ang="0">
                  <a:pos x="3" y="0"/>
                </a:cxn>
              </a:cxnLst>
              <a:rect l="0" t="0" r="r" b="b"/>
              <a:pathLst>
                <a:path w="12" h="30">
                  <a:moveTo>
                    <a:pt x="3" y="0"/>
                  </a:moveTo>
                  <a:lnTo>
                    <a:pt x="6" y="4"/>
                  </a:lnTo>
                  <a:lnTo>
                    <a:pt x="6" y="7"/>
                  </a:lnTo>
                  <a:lnTo>
                    <a:pt x="7" y="10"/>
                  </a:lnTo>
                  <a:lnTo>
                    <a:pt x="6" y="11"/>
                  </a:lnTo>
                  <a:lnTo>
                    <a:pt x="7" y="20"/>
                  </a:lnTo>
                  <a:lnTo>
                    <a:pt x="12" y="26"/>
                  </a:lnTo>
                  <a:lnTo>
                    <a:pt x="12" y="30"/>
                  </a:lnTo>
                  <a:lnTo>
                    <a:pt x="10" y="30"/>
                  </a:lnTo>
                  <a:lnTo>
                    <a:pt x="9" y="24"/>
                  </a:lnTo>
                  <a:lnTo>
                    <a:pt x="3" y="20"/>
                  </a:lnTo>
                  <a:lnTo>
                    <a:pt x="0" y="8"/>
                  </a:lnTo>
                  <a:lnTo>
                    <a:pt x="2" y="1"/>
                  </a:lnTo>
                  <a:lnTo>
                    <a:pt x="3"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09" name="Freeform 1635"/>
            <p:cNvSpPr>
              <a:spLocks/>
            </p:cNvSpPr>
            <p:nvPr/>
          </p:nvSpPr>
          <p:spPr bwMode="auto">
            <a:xfrm>
              <a:off x="6586837" y="3209721"/>
              <a:ext cx="11411" cy="30424"/>
            </a:xfrm>
            <a:custGeom>
              <a:avLst/>
              <a:gdLst/>
              <a:ahLst/>
              <a:cxnLst>
                <a:cxn ang="0">
                  <a:pos x="3" y="0"/>
                </a:cxn>
                <a:cxn ang="0">
                  <a:pos x="6" y="4"/>
                </a:cxn>
                <a:cxn ang="0">
                  <a:pos x="6" y="7"/>
                </a:cxn>
                <a:cxn ang="0">
                  <a:pos x="7" y="10"/>
                </a:cxn>
                <a:cxn ang="0">
                  <a:pos x="6" y="11"/>
                </a:cxn>
                <a:cxn ang="0">
                  <a:pos x="7" y="20"/>
                </a:cxn>
                <a:cxn ang="0">
                  <a:pos x="12" y="26"/>
                </a:cxn>
                <a:cxn ang="0">
                  <a:pos x="12" y="30"/>
                </a:cxn>
                <a:cxn ang="0">
                  <a:pos x="10" y="30"/>
                </a:cxn>
                <a:cxn ang="0">
                  <a:pos x="9" y="24"/>
                </a:cxn>
                <a:cxn ang="0">
                  <a:pos x="3" y="20"/>
                </a:cxn>
                <a:cxn ang="0">
                  <a:pos x="0" y="8"/>
                </a:cxn>
                <a:cxn ang="0">
                  <a:pos x="2" y="1"/>
                </a:cxn>
                <a:cxn ang="0">
                  <a:pos x="3" y="0"/>
                </a:cxn>
              </a:cxnLst>
              <a:rect l="0" t="0" r="r" b="b"/>
              <a:pathLst>
                <a:path w="12" h="30">
                  <a:moveTo>
                    <a:pt x="3" y="0"/>
                  </a:moveTo>
                  <a:lnTo>
                    <a:pt x="6" y="4"/>
                  </a:lnTo>
                  <a:lnTo>
                    <a:pt x="6" y="7"/>
                  </a:lnTo>
                  <a:lnTo>
                    <a:pt x="7" y="10"/>
                  </a:lnTo>
                  <a:lnTo>
                    <a:pt x="6" y="11"/>
                  </a:lnTo>
                  <a:lnTo>
                    <a:pt x="7" y="20"/>
                  </a:lnTo>
                  <a:lnTo>
                    <a:pt x="12" y="26"/>
                  </a:lnTo>
                  <a:lnTo>
                    <a:pt x="12" y="30"/>
                  </a:lnTo>
                  <a:lnTo>
                    <a:pt x="10" y="30"/>
                  </a:lnTo>
                  <a:lnTo>
                    <a:pt x="9" y="24"/>
                  </a:lnTo>
                  <a:lnTo>
                    <a:pt x="3" y="20"/>
                  </a:lnTo>
                  <a:lnTo>
                    <a:pt x="0" y="8"/>
                  </a:lnTo>
                  <a:lnTo>
                    <a:pt x="2" y="1"/>
                  </a:lnTo>
                  <a:lnTo>
                    <a:pt x="3"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10" name="Freeform 1636"/>
            <p:cNvSpPr>
              <a:spLocks/>
            </p:cNvSpPr>
            <p:nvPr/>
          </p:nvSpPr>
          <p:spPr bwMode="auto">
            <a:xfrm>
              <a:off x="6878267" y="2491715"/>
              <a:ext cx="46523" cy="67947"/>
            </a:xfrm>
            <a:custGeom>
              <a:avLst/>
              <a:gdLst/>
              <a:ahLst/>
              <a:cxnLst>
                <a:cxn ang="0">
                  <a:pos x="26" y="65"/>
                </a:cxn>
                <a:cxn ang="0">
                  <a:pos x="32" y="62"/>
                </a:cxn>
                <a:cxn ang="0">
                  <a:pos x="33" y="61"/>
                </a:cxn>
                <a:cxn ang="0">
                  <a:pos x="35" y="59"/>
                </a:cxn>
                <a:cxn ang="0">
                  <a:pos x="36" y="55"/>
                </a:cxn>
                <a:cxn ang="0">
                  <a:pos x="38" y="52"/>
                </a:cxn>
                <a:cxn ang="0">
                  <a:pos x="40" y="49"/>
                </a:cxn>
                <a:cxn ang="0">
                  <a:pos x="43" y="43"/>
                </a:cxn>
                <a:cxn ang="0">
                  <a:pos x="48" y="42"/>
                </a:cxn>
                <a:cxn ang="0">
                  <a:pos x="49" y="40"/>
                </a:cxn>
                <a:cxn ang="0">
                  <a:pos x="51" y="36"/>
                </a:cxn>
                <a:cxn ang="0">
                  <a:pos x="46" y="27"/>
                </a:cxn>
                <a:cxn ang="0">
                  <a:pos x="45" y="26"/>
                </a:cxn>
                <a:cxn ang="0">
                  <a:pos x="42" y="23"/>
                </a:cxn>
                <a:cxn ang="0">
                  <a:pos x="40" y="20"/>
                </a:cxn>
                <a:cxn ang="0">
                  <a:pos x="40" y="16"/>
                </a:cxn>
                <a:cxn ang="0">
                  <a:pos x="40" y="14"/>
                </a:cxn>
                <a:cxn ang="0">
                  <a:pos x="49" y="1"/>
                </a:cxn>
                <a:cxn ang="0">
                  <a:pos x="49" y="0"/>
                </a:cxn>
                <a:cxn ang="0">
                  <a:pos x="46" y="0"/>
                </a:cxn>
                <a:cxn ang="0">
                  <a:pos x="39" y="6"/>
                </a:cxn>
                <a:cxn ang="0">
                  <a:pos x="38" y="1"/>
                </a:cxn>
                <a:cxn ang="0">
                  <a:pos x="35" y="1"/>
                </a:cxn>
                <a:cxn ang="0">
                  <a:pos x="35" y="6"/>
                </a:cxn>
                <a:cxn ang="0">
                  <a:pos x="33" y="6"/>
                </a:cxn>
                <a:cxn ang="0">
                  <a:pos x="30" y="3"/>
                </a:cxn>
                <a:cxn ang="0">
                  <a:pos x="29" y="7"/>
                </a:cxn>
                <a:cxn ang="0">
                  <a:pos x="29" y="9"/>
                </a:cxn>
                <a:cxn ang="0">
                  <a:pos x="30" y="10"/>
                </a:cxn>
                <a:cxn ang="0">
                  <a:pos x="38" y="10"/>
                </a:cxn>
                <a:cxn ang="0">
                  <a:pos x="38" y="13"/>
                </a:cxn>
                <a:cxn ang="0">
                  <a:pos x="33" y="14"/>
                </a:cxn>
                <a:cxn ang="0">
                  <a:pos x="33" y="13"/>
                </a:cxn>
                <a:cxn ang="0">
                  <a:pos x="30" y="11"/>
                </a:cxn>
                <a:cxn ang="0">
                  <a:pos x="29" y="13"/>
                </a:cxn>
                <a:cxn ang="0">
                  <a:pos x="26" y="13"/>
                </a:cxn>
                <a:cxn ang="0">
                  <a:pos x="24" y="10"/>
                </a:cxn>
                <a:cxn ang="0">
                  <a:pos x="23" y="9"/>
                </a:cxn>
                <a:cxn ang="0">
                  <a:pos x="22" y="10"/>
                </a:cxn>
                <a:cxn ang="0">
                  <a:pos x="22" y="16"/>
                </a:cxn>
                <a:cxn ang="0">
                  <a:pos x="20" y="19"/>
                </a:cxn>
                <a:cxn ang="0">
                  <a:pos x="17" y="20"/>
                </a:cxn>
                <a:cxn ang="0">
                  <a:pos x="17" y="17"/>
                </a:cxn>
                <a:cxn ang="0">
                  <a:pos x="17" y="16"/>
                </a:cxn>
                <a:cxn ang="0">
                  <a:pos x="10" y="19"/>
                </a:cxn>
                <a:cxn ang="0">
                  <a:pos x="6" y="30"/>
                </a:cxn>
                <a:cxn ang="0">
                  <a:pos x="1" y="36"/>
                </a:cxn>
                <a:cxn ang="0">
                  <a:pos x="0" y="40"/>
                </a:cxn>
                <a:cxn ang="0">
                  <a:pos x="1" y="43"/>
                </a:cxn>
                <a:cxn ang="0">
                  <a:pos x="1" y="46"/>
                </a:cxn>
                <a:cxn ang="0">
                  <a:pos x="4" y="61"/>
                </a:cxn>
                <a:cxn ang="0">
                  <a:pos x="6" y="62"/>
                </a:cxn>
                <a:cxn ang="0">
                  <a:pos x="7" y="61"/>
                </a:cxn>
                <a:cxn ang="0">
                  <a:pos x="10" y="61"/>
                </a:cxn>
                <a:cxn ang="0">
                  <a:pos x="14" y="62"/>
                </a:cxn>
                <a:cxn ang="0">
                  <a:pos x="17" y="61"/>
                </a:cxn>
                <a:cxn ang="0">
                  <a:pos x="20" y="62"/>
                </a:cxn>
                <a:cxn ang="0">
                  <a:pos x="23" y="64"/>
                </a:cxn>
                <a:cxn ang="0">
                  <a:pos x="26" y="65"/>
                </a:cxn>
              </a:cxnLst>
              <a:rect l="0" t="0" r="r" b="b"/>
              <a:pathLst>
                <a:path w="51" h="65">
                  <a:moveTo>
                    <a:pt x="26" y="65"/>
                  </a:moveTo>
                  <a:lnTo>
                    <a:pt x="32" y="62"/>
                  </a:lnTo>
                  <a:lnTo>
                    <a:pt x="33" y="61"/>
                  </a:lnTo>
                  <a:lnTo>
                    <a:pt x="35" y="59"/>
                  </a:lnTo>
                  <a:lnTo>
                    <a:pt x="36" y="55"/>
                  </a:lnTo>
                  <a:lnTo>
                    <a:pt x="38" y="52"/>
                  </a:lnTo>
                  <a:lnTo>
                    <a:pt x="40" y="49"/>
                  </a:lnTo>
                  <a:lnTo>
                    <a:pt x="43" y="43"/>
                  </a:lnTo>
                  <a:lnTo>
                    <a:pt x="48" y="42"/>
                  </a:lnTo>
                  <a:lnTo>
                    <a:pt x="49" y="40"/>
                  </a:lnTo>
                  <a:lnTo>
                    <a:pt x="51" y="36"/>
                  </a:lnTo>
                  <a:lnTo>
                    <a:pt x="46" y="27"/>
                  </a:lnTo>
                  <a:lnTo>
                    <a:pt x="45" y="26"/>
                  </a:lnTo>
                  <a:lnTo>
                    <a:pt x="42" y="23"/>
                  </a:lnTo>
                  <a:lnTo>
                    <a:pt x="40" y="20"/>
                  </a:lnTo>
                  <a:lnTo>
                    <a:pt x="40" y="16"/>
                  </a:lnTo>
                  <a:lnTo>
                    <a:pt x="40" y="14"/>
                  </a:lnTo>
                  <a:lnTo>
                    <a:pt x="49" y="1"/>
                  </a:lnTo>
                  <a:lnTo>
                    <a:pt x="49" y="0"/>
                  </a:lnTo>
                  <a:lnTo>
                    <a:pt x="46" y="0"/>
                  </a:lnTo>
                  <a:lnTo>
                    <a:pt x="39" y="6"/>
                  </a:lnTo>
                  <a:lnTo>
                    <a:pt x="38" y="1"/>
                  </a:lnTo>
                  <a:lnTo>
                    <a:pt x="35" y="1"/>
                  </a:lnTo>
                  <a:lnTo>
                    <a:pt x="35" y="6"/>
                  </a:lnTo>
                  <a:lnTo>
                    <a:pt x="33" y="6"/>
                  </a:lnTo>
                  <a:lnTo>
                    <a:pt x="30" y="3"/>
                  </a:lnTo>
                  <a:lnTo>
                    <a:pt x="29" y="7"/>
                  </a:lnTo>
                  <a:lnTo>
                    <a:pt x="29" y="9"/>
                  </a:lnTo>
                  <a:lnTo>
                    <a:pt x="30" y="10"/>
                  </a:lnTo>
                  <a:lnTo>
                    <a:pt x="38" y="10"/>
                  </a:lnTo>
                  <a:lnTo>
                    <a:pt x="38" y="13"/>
                  </a:lnTo>
                  <a:lnTo>
                    <a:pt x="33" y="14"/>
                  </a:lnTo>
                  <a:lnTo>
                    <a:pt x="33" y="13"/>
                  </a:lnTo>
                  <a:lnTo>
                    <a:pt x="30" y="11"/>
                  </a:lnTo>
                  <a:lnTo>
                    <a:pt x="29" y="13"/>
                  </a:lnTo>
                  <a:lnTo>
                    <a:pt x="26" y="13"/>
                  </a:lnTo>
                  <a:lnTo>
                    <a:pt x="24" y="10"/>
                  </a:lnTo>
                  <a:lnTo>
                    <a:pt x="23" y="9"/>
                  </a:lnTo>
                  <a:lnTo>
                    <a:pt x="22" y="10"/>
                  </a:lnTo>
                  <a:lnTo>
                    <a:pt x="22" y="16"/>
                  </a:lnTo>
                  <a:lnTo>
                    <a:pt x="20" y="19"/>
                  </a:lnTo>
                  <a:lnTo>
                    <a:pt x="17" y="20"/>
                  </a:lnTo>
                  <a:lnTo>
                    <a:pt x="17" y="17"/>
                  </a:lnTo>
                  <a:lnTo>
                    <a:pt x="17" y="16"/>
                  </a:lnTo>
                  <a:lnTo>
                    <a:pt x="10" y="19"/>
                  </a:lnTo>
                  <a:lnTo>
                    <a:pt x="6" y="30"/>
                  </a:lnTo>
                  <a:lnTo>
                    <a:pt x="1" y="36"/>
                  </a:lnTo>
                  <a:lnTo>
                    <a:pt x="0" y="40"/>
                  </a:lnTo>
                  <a:lnTo>
                    <a:pt x="1" y="43"/>
                  </a:lnTo>
                  <a:lnTo>
                    <a:pt x="1" y="46"/>
                  </a:lnTo>
                  <a:lnTo>
                    <a:pt x="4" y="61"/>
                  </a:lnTo>
                  <a:lnTo>
                    <a:pt x="6" y="62"/>
                  </a:lnTo>
                  <a:lnTo>
                    <a:pt x="7" y="61"/>
                  </a:lnTo>
                  <a:lnTo>
                    <a:pt x="10" y="61"/>
                  </a:lnTo>
                  <a:lnTo>
                    <a:pt x="14" y="62"/>
                  </a:lnTo>
                  <a:lnTo>
                    <a:pt x="17" y="61"/>
                  </a:lnTo>
                  <a:lnTo>
                    <a:pt x="20" y="62"/>
                  </a:lnTo>
                  <a:lnTo>
                    <a:pt x="23" y="64"/>
                  </a:lnTo>
                  <a:lnTo>
                    <a:pt x="26" y="6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11" name="Freeform 1637"/>
            <p:cNvSpPr>
              <a:spLocks/>
            </p:cNvSpPr>
            <p:nvPr/>
          </p:nvSpPr>
          <p:spPr bwMode="auto">
            <a:xfrm>
              <a:off x="6878267" y="2491715"/>
              <a:ext cx="46523" cy="67947"/>
            </a:xfrm>
            <a:custGeom>
              <a:avLst/>
              <a:gdLst/>
              <a:ahLst/>
              <a:cxnLst>
                <a:cxn ang="0">
                  <a:pos x="26" y="65"/>
                </a:cxn>
                <a:cxn ang="0">
                  <a:pos x="32" y="62"/>
                </a:cxn>
                <a:cxn ang="0">
                  <a:pos x="33" y="61"/>
                </a:cxn>
                <a:cxn ang="0">
                  <a:pos x="35" y="59"/>
                </a:cxn>
                <a:cxn ang="0">
                  <a:pos x="36" y="55"/>
                </a:cxn>
                <a:cxn ang="0">
                  <a:pos x="38" y="52"/>
                </a:cxn>
                <a:cxn ang="0">
                  <a:pos x="40" y="49"/>
                </a:cxn>
                <a:cxn ang="0">
                  <a:pos x="43" y="43"/>
                </a:cxn>
                <a:cxn ang="0">
                  <a:pos x="48" y="42"/>
                </a:cxn>
                <a:cxn ang="0">
                  <a:pos x="49" y="40"/>
                </a:cxn>
                <a:cxn ang="0">
                  <a:pos x="51" y="36"/>
                </a:cxn>
                <a:cxn ang="0">
                  <a:pos x="46" y="27"/>
                </a:cxn>
                <a:cxn ang="0">
                  <a:pos x="45" y="26"/>
                </a:cxn>
                <a:cxn ang="0">
                  <a:pos x="42" y="23"/>
                </a:cxn>
                <a:cxn ang="0">
                  <a:pos x="40" y="20"/>
                </a:cxn>
                <a:cxn ang="0">
                  <a:pos x="40" y="16"/>
                </a:cxn>
                <a:cxn ang="0">
                  <a:pos x="40" y="14"/>
                </a:cxn>
                <a:cxn ang="0">
                  <a:pos x="49" y="1"/>
                </a:cxn>
                <a:cxn ang="0">
                  <a:pos x="49" y="0"/>
                </a:cxn>
                <a:cxn ang="0">
                  <a:pos x="46" y="0"/>
                </a:cxn>
                <a:cxn ang="0">
                  <a:pos x="39" y="6"/>
                </a:cxn>
                <a:cxn ang="0">
                  <a:pos x="38" y="1"/>
                </a:cxn>
                <a:cxn ang="0">
                  <a:pos x="35" y="1"/>
                </a:cxn>
                <a:cxn ang="0">
                  <a:pos x="35" y="6"/>
                </a:cxn>
                <a:cxn ang="0">
                  <a:pos x="33" y="6"/>
                </a:cxn>
                <a:cxn ang="0">
                  <a:pos x="30" y="3"/>
                </a:cxn>
                <a:cxn ang="0">
                  <a:pos x="29" y="7"/>
                </a:cxn>
                <a:cxn ang="0">
                  <a:pos x="29" y="9"/>
                </a:cxn>
                <a:cxn ang="0">
                  <a:pos x="30" y="10"/>
                </a:cxn>
                <a:cxn ang="0">
                  <a:pos x="38" y="10"/>
                </a:cxn>
                <a:cxn ang="0">
                  <a:pos x="38" y="13"/>
                </a:cxn>
                <a:cxn ang="0">
                  <a:pos x="33" y="14"/>
                </a:cxn>
                <a:cxn ang="0">
                  <a:pos x="33" y="13"/>
                </a:cxn>
                <a:cxn ang="0">
                  <a:pos x="30" y="11"/>
                </a:cxn>
                <a:cxn ang="0">
                  <a:pos x="29" y="13"/>
                </a:cxn>
                <a:cxn ang="0">
                  <a:pos x="26" y="13"/>
                </a:cxn>
                <a:cxn ang="0">
                  <a:pos x="24" y="10"/>
                </a:cxn>
                <a:cxn ang="0">
                  <a:pos x="23" y="9"/>
                </a:cxn>
                <a:cxn ang="0">
                  <a:pos x="22" y="10"/>
                </a:cxn>
                <a:cxn ang="0">
                  <a:pos x="22" y="16"/>
                </a:cxn>
                <a:cxn ang="0">
                  <a:pos x="20" y="19"/>
                </a:cxn>
                <a:cxn ang="0">
                  <a:pos x="17" y="20"/>
                </a:cxn>
                <a:cxn ang="0">
                  <a:pos x="17" y="17"/>
                </a:cxn>
                <a:cxn ang="0">
                  <a:pos x="17" y="16"/>
                </a:cxn>
                <a:cxn ang="0">
                  <a:pos x="10" y="19"/>
                </a:cxn>
                <a:cxn ang="0">
                  <a:pos x="6" y="30"/>
                </a:cxn>
                <a:cxn ang="0">
                  <a:pos x="1" y="36"/>
                </a:cxn>
                <a:cxn ang="0">
                  <a:pos x="0" y="40"/>
                </a:cxn>
                <a:cxn ang="0">
                  <a:pos x="1" y="43"/>
                </a:cxn>
                <a:cxn ang="0">
                  <a:pos x="1" y="46"/>
                </a:cxn>
                <a:cxn ang="0">
                  <a:pos x="4" y="61"/>
                </a:cxn>
                <a:cxn ang="0">
                  <a:pos x="6" y="62"/>
                </a:cxn>
                <a:cxn ang="0">
                  <a:pos x="7" y="61"/>
                </a:cxn>
                <a:cxn ang="0">
                  <a:pos x="10" y="61"/>
                </a:cxn>
                <a:cxn ang="0">
                  <a:pos x="14" y="62"/>
                </a:cxn>
                <a:cxn ang="0">
                  <a:pos x="17" y="61"/>
                </a:cxn>
                <a:cxn ang="0">
                  <a:pos x="20" y="62"/>
                </a:cxn>
                <a:cxn ang="0">
                  <a:pos x="23" y="64"/>
                </a:cxn>
                <a:cxn ang="0">
                  <a:pos x="26" y="65"/>
                </a:cxn>
              </a:cxnLst>
              <a:rect l="0" t="0" r="r" b="b"/>
              <a:pathLst>
                <a:path w="51" h="65">
                  <a:moveTo>
                    <a:pt x="26" y="65"/>
                  </a:moveTo>
                  <a:lnTo>
                    <a:pt x="32" y="62"/>
                  </a:lnTo>
                  <a:lnTo>
                    <a:pt x="33" y="61"/>
                  </a:lnTo>
                  <a:lnTo>
                    <a:pt x="35" y="59"/>
                  </a:lnTo>
                  <a:lnTo>
                    <a:pt x="36" y="55"/>
                  </a:lnTo>
                  <a:lnTo>
                    <a:pt x="38" y="52"/>
                  </a:lnTo>
                  <a:lnTo>
                    <a:pt x="40" y="49"/>
                  </a:lnTo>
                  <a:lnTo>
                    <a:pt x="43" y="43"/>
                  </a:lnTo>
                  <a:lnTo>
                    <a:pt x="48" y="42"/>
                  </a:lnTo>
                  <a:lnTo>
                    <a:pt x="49" y="40"/>
                  </a:lnTo>
                  <a:lnTo>
                    <a:pt x="51" y="36"/>
                  </a:lnTo>
                  <a:lnTo>
                    <a:pt x="46" y="27"/>
                  </a:lnTo>
                  <a:lnTo>
                    <a:pt x="45" y="26"/>
                  </a:lnTo>
                  <a:lnTo>
                    <a:pt x="42" y="23"/>
                  </a:lnTo>
                  <a:lnTo>
                    <a:pt x="40" y="20"/>
                  </a:lnTo>
                  <a:lnTo>
                    <a:pt x="40" y="16"/>
                  </a:lnTo>
                  <a:lnTo>
                    <a:pt x="40" y="14"/>
                  </a:lnTo>
                  <a:lnTo>
                    <a:pt x="49" y="1"/>
                  </a:lnTo>
                  <a:lnTo>
                    <a:pt x="49" y="0"/>
                  </a:lnTo>
                  <a:lnTo>
                    <a:pt x="46" y="0"/>
                  </a:lnTo>
                  <a:lnTo>
                    <a:pt x="39" y="6"/>
                  </a:lnTo>
                  <a:lnTo>
                    <a:pt x="38" y="1"/>
                  </a:lnTo>
                  <a:lnTo>
                    <a:pt x="35" y="1"/>
                  </a:lnTo>
                  <a:lnTo>
                    <a:pt x="35" y="6"/>
                  </a:lnTo>
                  <a:lnTo>
                    <a:pt x="33" y="6"/>
                  </a:lnTo>
                  <a:lnTo>
                    <a:pt x="30" y="3"/>
                  </a:lnTo>
                  <a:lnTo>
                    <a:pt x="29" y="7"/>
                  </a:lnTo>
                  <a:lnTo>
                    <a:pt x="29" y="9"/>
                  </a:lnTo>
                  <a:lnTo>
                    <a:pt x="30" y="10"/>
                  </a:lnTo>
                  <a:lnTo>
                    <a:pt x="38" y="10"/>
                  </a:lnTo>
                  <a:lnTo>
                    <a:pt x="38" y="13"/>
                  </a:lnTo>
                  <a:lnTo>
                    <a:pt x="33" y="14"/>
                  </a:lnTo>
                  <a:lnTo>
                    <a:pt x="33" y="13"/>
                  </a:lnTo>
                  <a:lnTo>
                    <a:pt x="30" y="11"/>
                  </a:lnTo>
                  <a:lnTo>
                    <a:pt x="29" y="13"/>
                  </a:lnTo>
                  <a:lnTo>
                    <a:pt x="26" y="13"/>
                  </a:lnTo>
                  <a:lnTo>
                    <a:pt x="24" y="10"/>
                  </a:lnTo>
                  <a:lnTo>
                    <a:pt x="23" y="9"/>
                  </a:lnTo>
                  <a:lnTo>
                    <a:pt x="22" y="10"/>
                  </a:lnTo>
                  <a:lnTo>
                    <a:pt x="22" y="16"/>
                  </a:lnTo>
                  <a:lnTo>
                    <a:pt x="20" y="19"/>
                  </a:lnTo>
                  <a:lnTo>
                    <a:pt x="17" y="20"/>
                  </a:lnTo>
                  <a:lnTo>
                    <a:pt x="17" y="17"/>
                  </a:lnTo>
                  <a:lnTo>
                    <a:pt x="17" y="16"/>
                  </a:lnTo>
                  <a:lnTo>
                    <a:pt x="10" y="19"/>
                  </a:lnTo>
                  <a:lnTo>
                    <a:pt x="6" y="30"/>
                  </a:lnTo>
                  <a:lnTo>
                    <a:pt x="1" y="36"/>
                  </a:lnTo>
                  <a:lnTo>
                    <a:pt x="0" y="40"/>
                  </a:lnTo>
                  <a:lnTo>
                    <a:pt x="1" y="43"/>
                  </a:lnTo>
                  <a:lnTo>
                    <a:pt x="1" y="46"/>
                  </a:lnTo>
                  <a:lnTo>
                    <a:pt x="4" y="61"/>
                  </a:lnTo>
                  <a:lnTo>
                    <a:pt x="6" y="62"/>
                  </a:lnTo>
                  <a:lnTo>
                    <a:pt x="7" y="61"/>
                  </a:lnTo>
                  <a:lnTo>
                    <a:pt x="10" y="61"/>
                  </a:lnTo>
                  <a:lnTo>
                    <a:pt x="14" y="62"/>
                  </a:lnTo>
                  <a:lnTo>
                    <a:pt x="17" y="61"/>
                  </a:lnTo>
                  <a:lnTo>
                    <a:pt x="20" y="62"/>
                  </a:lnTo>
                  <a:lnTo>
                    <a:pt x="23" y="64"/>
                  </a:lnTo>
                  <a:lnTo>
                    <a:pt x="26" y="6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12" name="Freeform 1638"/>
            <p:cNvSpPr>
              <a:spLocks/>
            </p:cNvSpPr>
            <p:nvPr/>
          </p:nvSpPr>
          <p:spPr bwMode="auto">
            <a:xfrm>
              <a:off x="7075772" y="2491715"/>
              <a:ext cx="74613" cy="41579"/>
            </a:xfrm>
            <a:custGeom>
              <a:avLst/>
              <a:gdLst/>
              <a:ahLst/>
              <a:cxnLst>
                <a:cxn ang="0">
                  <a:pos x="22" y="0"/>
                </a:cxn>
                <a:cxn ang="0">
                  <a:pos x="26" y="1"/>
                </a:cxn>
                <a:cxn ang="0">
                  <a:pos x="33" y="0"/>
                </a:cxn>
                <a:cxn ang="0">
                  <a:pos x="55" y="4"/>
                </a:cxn>
                <a:cxn ang="0">
                  <a:pos x="64" y="3"/>
                </a:cxn>
                <a:cxn ang="0">
                  <a:pos x="68" y="6"/>
                </a:cxn>
                <a:cxn ang="0">
                  <a:pos x="74" y="1"/>
                </a:cxn>
                <a:cxn ang="0">
                  <a:pos x="77" y="0"/>
                </a:cxn>
                <a:cxn ang="0">
                  <a:pos x="80" y="0"/>
                </a:cxn>
                <a:cxn ang="0">
                  <a:pos x="81" y="1"/>
                </a:cxn>
                <a:cxn ang="0">
                  <a:pos x="81" y="6"/>
                </a:cxn>
                <a:cxn ang="0">
                  <a:pos x="78" y="9"/>
                </a:cxn>
                <a:cxn ang="0">
                  <a:pos x="76" y="9"/>
                </a:cxn>
                <a:cxn ang="0">
                  <a:pos x="74" y="7"/>
                </a:cxn>
                <a:cxn ang="0">
                  <a:pos x="71" y="9"/>
                </a:cxn>
                <a:cxn ang="0">
                  <a:pos x="65" y="10"/>
                </a:cxn>
                <a:cxn ang="0">
                  <a:pos x="57" y="7"/>
                </a:cxn>
                <a:cxn ang="0">
                  <a:pos x="32" y="6"/>
                </a:cxn>
                <a:cxn ang="0">
                  <a:pos x="29" y="6"/>
                </a:cxn>
                <a:cxn ang="0">
                  <a:pos x="29" y="4"/>
                </a:cxn>
                <a:cxn ang="0">
                  <a:pos x="28" y="3"/>
                </a:cxn>
                <a:cxn ang="0">
                  <a:pos x="28" y="6"/>
                </a:cxn>
                <a:cxn ang="0">
                  <a:pos x="26" y="7"/>
                </a:cxn>
                <a:cxn ang="0">
                  <a:pos x="23" y="7"/>
                </a:cxn>
                <a:cxn ang="0">
                  <a:pos x="20" y="10"/>
                </a:cxn>
                <a:cxn ang="0">
                  <a:pos x="19" y="13"/>
                </a:cxn>
                <a:cxn ang="0">
                  <a:pos x="13" y="16"/>
                </a:cxn>
                <a:cxn ang="0">
                  <a:pos x="10" y="27"/>
                </a:cxn>
                <a:cxn ang="0">
                  <a:pos x="12" y="36"/>
                </a:cxn>
                <a:cxn ang="0">
                  <a:pos x="15" y="40"/>
                </a:cxn>
                <a:cxn ang="0">
                  <a:pos x="10" y="40"/>
                </a:cxn>
                <a:cxn ang="0">
                  <a:pos x="4" y="30"/>
                </a:cxn>
                <a:cxn ang="0">
                  <a:pos x="2" y="27"/>
                </a:cxn>
                <a:cxn ang="0">
                  <a:pos x="0" y="23"/>
                </a:cxn>
                <a:cxn ang="0">
                  <a:pos x="3" y="14"/>
                </a:cxn>
                <a:cxn ang="0">
                  <a:pos x="6" y="13"/>
                </a:cxn>
                <a:cxn ang="0">
                  <a:pos x="19" y="0"/>
                </a:cxn>
                <a:cxn ang="0">
                  <a:pos x="22" y="0"/>
                </a:cxn>
              </a:cxnLst>
              <a:rect l="0" t="0" r="r" b="b"/>
              <a:pathLst>
                <a:path w="81" h="40">
                  <a:moveTo>
                    <a:pt x="22" y="0"/>
                  </a:moveTo>
                  <a:lnTo>
                    <a:pt x="26" y="1"/>
                  </a:lnTo>
                  <a:lnTo>
                    <a:pt x="33" y="0"/>
                  </a:lnTo>
                  <a:lnTo>
                    <a:pt x="55" y="4"/>
                  </a:lnTo>
                  <a:lnTo>
                    <a:pt x="64" y="3"/>
                  </a:lnTo>
                  <a:lnTo>
                    <a:pt x="68" y="6"/>
                  </a:lnTo>
                  <a:lnTo>
                    <a:pt x="74" y="1"/>
                  </a:lnTo>
                  <a:lnTo>
                    <a:pt x="77" y="0"/>
                  </a:lnTo>
                  <a:lnTo>
                    <a:pt x="80" y="0"/>
                  </a:lnTo>
                  <a:lnTo>
                    <a:pt x="81" y="1"/>
                  </a:lnTo>
                  <a:lnTo>
                    <a:pt x="81" y="6"/>
                  </a:lnTo>
                  <a:lnTo>
                    <a:pt x="78" y="9"/>
                  </a:lnTo>
                  <a:lnTo>
                    <a:pt x="76" y="9"/>
                  </a:lnTo>
                  <a:lnTo>
                    <a:pt x="74" y="7"/>
                  </a:lnTo>
                  <a:lnTo>
                    <a:pt x="71" y="9"/>
                  </a:lnTo>
                  <a:lnTo>
                    <a:pt x="65" y="10"/>
                  </a:lnTo>
                  <a:lnTo>
                    <a:pt x="57" y="7"/>
                  </a:lnTo>
                  <a:lnTo>
                    <a:pt x="32" y="6"/>
                  </a:lnTo>
                  <a:lnTo>
                    <a:pt x="29" y="6"/>
                  </a:lnTo>
                  <a:lnTo>
                    <a:pt x="29" y="4"/>
                  </a:lnTo>
                  <a:lnTo>
                    <a:pt x="28" y="3"/>
                  </a:lnTo>
                  <a:lnTo>
                    <a:pt x="28" y="6"/>
                  </a:lnTo>
                  <a:lnTo>
                    <a:pt x="26" y="7"/>
                  </a:lnTo>
                  <a:lnTo>
                    <a:pt x="23" y="7"/>
                  </a:lnTo>
                  <a:lnTo>
                    <a:pt x="20" y="10"/>
                  </a:lnTo>
                  <a:lnTo>
                    <a:pt x="19" y="13"/>
                  </a:lnTo>
                  <a:lnTo>
                    <a:pt x="13" y="16"/>
                  </a:lnTo>
                  <a:lnTo>
                    <a:pt x="10" y="27"/>
                  </a:lnTo>
                  <a:lnTo>
                    <a:pt x="12" y="36"/>
                  </a:lnTo>
                  <a:lnTo>
                    <a:pt x="15" y="40"/>
                  </a:lnTo>
                  <a:lnTo>
                    <a:pt x="10" y="40"/>
                  </a:lnTo>
                  <a:lnTo>
                    <a:pt x="4" y="30"/>
                  </a:lnTo>
                  <a:lnTo>
                    <a:pt x="2" y="27"/>
                  </a:lnTo>
                  <a:lnTo>
                    <a:pt x="0" y="23"/>
                  </a:lnTo>
                  <a:lnTo>
                    <a:pt x="3" y="14"/>
                  </a:lnTo>
                  <a:lnTo>
                    <a:pt x="6" y="13"/>
                  </a:lnTo>
                  <a:lnTo>
                    <a:pt x="19" y="0"/>
                  </a:lnTo>
                  <a:lnTo>
                    <a:pt x="2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13" name="Freeform 1639"/>
            <p:cNvSpPr>
              <a:spLocks/>
            </p:cNvSpPr>
            <p:nvPr/>
          </p:nvSpPr>
          <p:spPr bwMode="auto">
            <a:xfrm>
              <a:off x="7075772" y="2491715"/>
              <a:ext cx="74613" cy="41579"/>
            </a:xfrm>
            <a:custGeom>
              <a:avLst/>
              <a:gdLst/>
              <a:ahLst/>
              <a:cxnLst>
                <a:cxn ang="0">
                  <a:pos x="22" y="0"/>
                </a:cxn>
                <a:cxn ang="0">
                  <a:pos x="26" y="1"/>
                </a:cxn>
                <a:cxn ang="0">
                  <a:pos x="33" y="0"/>
                </a:cxn>
                <a:cxn ang="0">
                  <a:pos x="55" y="4"/>
                </a:cxn>
                <a:cxn ang="0">
                  <a:pos x="64" y="3"/>
                </a:cxn>
                <a:cxn ang="0">
                  <a:pos x="68" y="6"/>
                </a:cxn>
                <a:cxn ang="0">
                  <a:pos x="74" y="1"/>
                </a:cxn>
                <a:cxn ang="0">
                  <a:pos x="77" y="0"/>
                </a:cxn>
                <a:cxn ang="0">
                  <a:pos x="80" y="0"/>
                </a:cxn>
                <a:cxn ang="0">
                  <a:pos x="81" y="1"/>
                </a:cxn>
                <a:cxn ang="0">
                  <a:pos x="81" y="6"/>
                </a:cxn>
                <a:cxn ang="0">
                  <a:pos x="78" y="9"/>
                </a:cxn>
                <a:cxn ang="0">
                  <a:pos x="76" y="9"/>
                </a:cxn>
                <a:cxn ang="0">
                  <a:pos x="74" y="7"/>
                </a:cxn>
                <a:cxn ang="0">
                  <a:pos x="71" y="9"/>
                </a:cxn>
                <a:cxn ang="0">
                  <a:pos x="65" y="10"/>
                </a:cxn>
                <a:cxn ang="0">
                  <a:pos x="57" y="7"/>
                </a:cxn>
                <a:cxn ang="0">
                  <a:pos x="32" y="6"/>
                </a:cxn>
                <a:cxn ang="0">
                  <a:pos x="29" y="6"/>
                </a:cxn>
                <a:cxn ang="0">
                  <a:pos x="29" y="4"/>
                </a:cxn>
                <a:cxn ang="0">
                  <a:pos x="28" y="3"/>
                </a:cxn>
                <a:cxn ang="0">
                  <a:pos x="28" y="6"/>
                </a:cxn>
                <a:cxn ang="0">
                  <a:pos x="26" y="7"/>
                </a:cxn>
                <a:cxn ang="0">
                  <a:pos x="23" y="7"/>
                </a:cxn>
                <a:cxn ang="0">
                  <a:pos x="20" y="10"/>
                </a:cxn>
                <a:cxn ang="0">
                  <a:pos x="19" y="13"/>
                </a:cxn>
                <a:cxn ang="0">
                  <a:pos x="13" y="16"/>
                </a:cxn>
                <a:cxn ang="0">
                  <a:pos x="10" y="27"/>
                </a:cxn>
                <a:cxn ang="0">
                  <a:pos x="12" y="36"/>
                </a:cxn>
                <a:cxn ang="0">
                  <a:pos x="15" y="40"/>
                </a:cxn>
                <a:cxn ang="0">
                  <a:pos x="10" y="40"/>
                </a:cxn>
                <a:cxn ang="0">
                  <a:pos x="4" y="30"/>
                </a:cxn>
                <a:cxn ang="0">
                  <a:pos x="2" y="27"/>
                </a:cxn>
                <a:cxn ang="0">
                  <a:pos x="0" y="23"/>
                </a:cxn>
                <a:cxn ang="0">
                  <a:pos x="3" y="14"/>
                </a:cxn>
                <a:cxn ang="0">
                  <a:pos x="6" y="13"/>
                </a:cxn>
                <a:cxn ang="0">
                  <a:pos x="19" y="0"/>
                </a:cxn>
                <a:cxn ang="0">
                  <a:pos x="22" y="0"/>
                </a:cxn>
              </a:cxnLst>
              <a:rect l="0" t="0" r="r" b="b"/>
              <a:pathLst>
                <a:path w="81" h="40">
                  <a:moveTo>
                    <a:pt x="22" y="0"/>
                  </a:moveTo>
                  <a:lnTo>
                    <a:pt x="26" y="1"/>
                  </a:lnTo>
                  <a:lnTo>
                    <a:pt x="33" y="0"/>
                  </a:lnTo>
                  <a:lnTo>
                    <a:pt x="55" y="4"/>
                  </a:lnTo>
                  <a:lnTo>
                    <a:pt x="64" y="3"/>
                  </a:lnTo>
                  <a:lnTo>
                    <a:pt x="68" y="6"/>
                  </a:lnTo>
                  <a:lnTo>
                    <a:pt x="74" y="1"/>
                  </a:lnTo>
                  <a:lnTo>
                    <a:pt x="77" y="0"/>
                  </a:lnTo>
                  <a:lnTo>
                    <a:pt x="80" y="0"/>
                  </a:lnTo>
                  <a:lnTo>
                    <a:pt x="81" y="1"/>
                  </a:lnTo>
                  <a:lnTo>
                    <a:pt x="81" y="6"/>
                  </a:lnTo>
                  <a:lnTo>
                    <a:pt x="78" y="9"/>
                  </a:lnTo>
                  <a:lnTo>
                    <a:pt x="76" y="9"/>
                  </a:lnTo>
                  <a:lnTo>
                    <a:pt x="74" y="7"/>
                  </a:lnTo>
                  <a:lnTo>
                    <a:pt x="71" y="9"/>
                  </a:lnTo>
                  <a:lnTo>
                    <a:pt x="65" y="10"/>
                  </a:lnTo>
                  <a:lnTo>
                    <a:pt x="57" y="7"/>
                  </a:lnTo>
                  <a:lnTo>
                    <a:pt x="32" y="6"/>
                  </a:lnTo>
                  <a:lnTo>
                    <a:pt x="29" y="6"/>
                  </a:lnTo>
                  <a:lnTo>
                    <a:pt x="29" y="4"/>
                  </a:lnTo>
                  <a:lnTo>
                    <a:pt x="28" y="3"/>
                  </a:lnTo>
                  <a:lnTo>
                    <a:pt x="28" y="6"/>
                  </a:lnTo>
                  <a:lnTo>
                    <a:pt x="26" y="7"/>
                  </a:lnTo>
                  <a:lnTo>
                    <a:pt x="23" y="7"/>
                  </a:lnTo>
                  <a:lnTo>
                    <a:pt x="20" y="10"/>
                  </a:lnTo>
                  <a:lnTo>
                    <a:pt x="19" y="13"/>
                  </a:lnTo>
                  <a:lnTo>
                    <a:pt x="13" y="16"/>
                  </a:lnTo>
                  <a:lnTo>
                    <a:pt x="10" y="27"/>
                  </a:lnTo>
                  <a:lnTo>
                    <a:pt x="12" y="36"/>
                  </a:lnTo>
                  <a:lnTo>
                    <a:pt x="15" y="40"/>
                  </a:lnTo>
                  <a:lnTo>
                    <a:pt x="10" y="40"/>
                  </a:lnTo>
                  <a:lnTo>
                    <a:pt x="4" y="30"/>
                  </a:lnTo>
                  <a:lnTo>
                    <a:pt x="2" y="27"/>
                  </a:lnTo>
                  <a:lnTo>
                    <a:pt x="0" y="23"/>
                  </a:lnTo>
                  <a:lnTo>
                    <a:pt x="3" y="14"/>
                  </a:lnTo>
                  <a:lnTo>
                    <a:pt x="6" y="13"/>
                  </a:lnTo>
                  <a:lnTo>
                    <a:pt x="19" y="0"/>
                  </a:lnTo>
                  <a:lnTo>
                    <a:pt x="22"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14" name="Freeform 1640"/>
            <p:cNvSpPr>
              <a:spLocks/>
            </p:cNvSpPr>
            <p:nvPr/>
          </p:nvSpPr>
          <p:spPr bwMode="auto">
            <a:xfrm>
              <a:off x="6510468" y="2108373"/>
              <a:ext cx="36867" cy="54763"/>
            </a:xfrm>
            <a:custGeom>
              <a:avLst/>
              <a:gdLst/>
              <a:ahLst/>
              <a:cxnLst>
                <a:cxn ang="0">
                  <a:pos x="13" y="2"/>
                </a:cxn>
                <a:cxn ang="0">
                  <a:pos x="15" y="0"/>
                </a:cxn>
                <a:cxn ang="0">
                  <a:pos x="16" y="2"/>
                </a:cxn>
                <a:cxn ang="0">
                  <a:pos x="19" y="3"/>
                </a:cxn>
                <a:cxn ang="0">
                  <a:pos x="26" y="12"/>
                </a:cxn>
                <a:cxn ang="0">
                  <a:pos x="32" y="13"/>
                </a:cxn>
                <a:cxn ang="0">
                  <a:pos x="35" y="18"/>
                </a:cxn>
                <a:cxn ang="0">
                  <a:pos x="38" y="25"/>
                </a:cxn>
                <a:cxn ang="0">
                  <a:pos x="39" y="25"/>
                </a:cxn>
                <a:cxn ang="0">
                  <a:pos x="39" y="28"/>
                </a:cxn>
                <a:cxn ang="0">
                  <a:pos x="41" y="31"/>
                </a:cxn>
                <a:cxn ang="0">
                  <a:pos x="39" y="34"/>
                </a:cxn>
                <a:cxn ang="0">
                  <a:pos x="38" y="35"/>
                </a:cxn>
                <a:cxn ang="0">
                  <a:pos x="38" y="39"/>
                </a:cxn>
                <a:cxn ang="0">
                  <a:pos x="33" y="45"/>
                </a:cxn>
                <a:cxn ang="0">
                  <a:pos x="32" y="45"/>
                </a:cxn>
                <a:cxn ang="0">
                  <a:pos x="31" y="44"/>
                </a:cxn>
                <a:cxn ang="0">
                  <a:pos x="29" y="44"/>
                </a:cxn>
                <a:cxn ang="0">
                  <a:pos x="26" y="44"/>
                </a:cxn>
                <a:cxn ang="0">
                  <a:pos x="22" y="45"/>
                </a:cxn>
                <a:cxn ang="0">
                  <a:pos x="20" y="48"/>
                </a:cxn>
                <a:cxn ang="0">
                  <a:pos x="20" y="51"/>
                </a:cxn>
                <a:cxn ang="0">
                  <a:pos x="19" y="52"/>
                </a:cxn>
                <a:cxn ang="0">
                  <a:pos x="16" y="52"/>
                </a:cxn>
                <a:cxn ang="0">
                  <a:pos x="15" y="52"/>
                </a:cxn>
                <a:cxn ang="0">
                  <a:pos x="12" y="34"/>
                </a:cxn>
                <a:cxn ang="0">
                  <a:pos x="6" y="28"/>
                </a:cxn>
                <a:cxn ang="0">
                  <a:pos x="7" y="26"/>
                </a:cxn>
                <a:cxn ang="0">
                  <a:pos x="4" y="22"/>
                </a:cxn>
                <a:cxn ang="0">
                  <a:pos x="4" y="21"/>
                </a:cxn>
                <a:cxn ang="0">
                  <a:pos x="3" y="18"/>
                </a:cxn>
                <a:cxn ang="0">
                  <a:pos x="1" y="19"/>
                </a:cxn>
                <a:cxn ang="0">
                  <a:pos x="0" y="12"/>
                </a:cxn>
                <a:cxn ang="0">
                  <a:pos x="3" y="9"/>
                </a:cxn>
                <a:cxn ang="0">
                  <a:pos x="3" y="7"/>
                </a:cxn>
                <a:cxn ang="0">
                  <a:pos x="4" y="6"/>
                </a:cxn>
                <a:cxn ang="0">
                  <a:pos x="6" y="5"/>
                </a:cxn>
                <a:cxn ang="0">
                  <a:pos x="7" y="3"/>
                </a:cxn>
                <a:cxn ang="0">
                  <a:pos x="10" y="2"/>
                </a:cxn>
                <a:cxn ang="0">
                  <a:pos x="13" y="2"/>
                </a:cxn>
              </a:cxnLst>
              <a:rect l="0" t="0" r="r" b="b"/>
              <a:pathLst>
                <a:path w="41" h="52">
                  <a:moveTo>
                    <a:pt x="13" y="2"/>
                  </a:moveTo>
                  <a:lnTo>
                    <a:pt x="15" y="0"/>
                  </a:lnTo>
                  <a:lnTo>
                    <a:pt x="16" y="2"/>
                  </a:lnTo>
                  <a:lnTo>
                    <a:pt x="19" y="3"/>
                  </a:lnTo>
                  <a:lnTo>
                    <a:pt x="26" y="12"/>
                  </a:lnTo>
                  <a:lnTo>
                    <a:pt x="32" y="13"/>
                  </a:lnTo>
                  <a:lnTo>
                    <a:pt x="35" y="18"/>
                  </a:lnTo>
                  <a:lnTo>
                    <a:pt x="38" y="25"/>
                  </a:lnTo>
                  <a:lnTo>
                    <a:pt x="39" y="25"/>
                  </a:lnTo>
                  <a:lnTo>
                    <a:pt x="39" y="28"/>
                  </a:lnTo>
                  <a:lnTo>
                    <a:pt x="41" y="31"/>
                  </a:lnTo>
                  <a:lnTo>
                    <a:pt x="39" y="34"/>
                  </a:lnTo>
                  <a:lnTo>
                    <a:pt x="38" y="35"/>
                  </a:lnTo>
                  <a:lnTo>
                    <a:pt x="38" y="39"/>
                  </a:lnTo>
                  <a:lnTo>
                    <a:pt x="33" y="45"/>
                  </a:lnTo>
                  <a:lnTo>
                    <a:pt x="32" y="45"/>
                  </a:lnTo>
                  <a:lnTo>
                    <a:pt x="31" y="44"/>
                  </a:lnTo>
                  <a:lnTo>
                    <a:pt x="29" y="44"/>
                  </a:lnTo>
                  <a:lnTo>
                    <a:pt x="26" y="44"/>
                  </a:lnTo>
                  <a:lnTo>
                    <a:pt x="22" y="45"/>
                  </a:lnTo>
                  <a:lnTo>
                    <a:pt x="20" y="48"/>
                  </a:lnTo>
                  <a:lnTo>
                    <a:pt x="20" y="51"/>
                  </a:lnTo>
                  <a:lnTo>
                    <a:pt x="19" y="52"/>
                  </a:lnTo>
                  <a:lnTo>
                    <a:pt x="16" y="52"/>
                  </a:lnTo>
                  <a:lnTo>
                    <a:pt x="15" y="52"/>
                  </a:lnTo>
                  <a:lnTo>
                    <a:pt x="12" y="34"/>
                  </a:lnTo>
                  <a:lnTo>
                    <a:pt x="6" y="28"/>
                  </a:lnTo>
                  <a:lnTo>
                    <a:pt x="7" y="26"/>
                  </a:lnTo>
                  <a:lnTo>
                    <a:pt x="4" y="22"/>
                  </a:lnTo>
                  <a:lnTo>
                    <a:pt x="4" y="21"/>
                  </a:lnTo>
                  <a:lnTo>
                    <a:pt x="3" y="18"/>
                  </a:lnTo>
                  <a:lnTo>
                    <a:pt x="1" y="19"/>
                  </a:lnTo>
                  <a:lnTo>
                    <a:pt x="0" y="12"/>
                  </a:lnTo>
                  <a:lnTo>
                    <a:pt x="3" y="9"/>
                  </a:lnTo>
                  <a:lnTo>
                    <a:pt x="3" y="7"/>
                  </a:lnTo>
                  <a:lnTo>
                    <a:pt x="4" y="6"/>
                  </a:lnTo>
                  <a:lnTo>
                    <a:pt x="6" y="5"/>
                  </a:lnTo>
                  <a:lnTo>
                    <a:pt x="7" y="3"/>
                  </a:lnTo>
                  <a:lnTo>
                    <a:pt x="10" y="2"/>
                  </a:lnTo>
                  <a:lnTo>
                    <a:pt x="13"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15" name="Freeform 1641"/>
            <p:cNvSpPr>
              <a:spLocks/>
            </p:cNvSpPr>
            <p:nvPr/>
          </p:nvSpPr>
          <p:spPr bwMode="auto">
            <a:xfrm>
              <a:off x="6510468" y="2108373"/>
              <a:ext cx="36867" cy="54763"/>
            </a:xfrm>
            <a:custGeom>
              <a:avLst/>
              <a:gdLst/>
              <a:ahLst/>
              <a:cxnLst>
                <a:cxn ang="0">
                  <a:pos x="13" y="2"/>
                </a:cxn>
                <a:cxn ang="0">
                  <a:pos x="15" y="0"/>
                </a:cxn>
                <a:cxn ang="0">
                  <a:pos x="16" y="2"/>
                </a:cxn>
                <a:cxn ang="0">
                  <a:pos x="19" y="3"/>
                </a:cxn>
                <a:cxn ang="0">
                  <a:pos x="26" y="12"/>
                </a:cxn>
                <a:cxn ang="0">
                  <a:pos x="32" y="13"/>
                </a:cxn>
                <a:cxn ang="0">
                  <a:pos x="35" y="18"/>
                </a:cxn>
                <a:cxn ang="0">
                  <a:pos x="38" y="25"/>
                </a:cxn>
                <a:cxn ang="0">
                  <a:pos x="39" y="25"/>
                </a:cxn>
                <a:cxn ang="0">
                  <a:pos x="39" y="28"/>
                </a:cxn>
                <a:cxn ang="0">
                  <a:pos x="41" y="31"/>
                </a:cxn>
                <a:cxn ang="0">
                  <a:pos x="39" y="34"/>
                </a:cxn>
                <a:cxn ang="0">
                  <a:pos x="38" y="35"/>
                </a:cxn>
                <a:cxn ang="0">
                  <a:pos x="38" y="39"/>
                </a:cxn>
                <a:cxn ang="0">
                  <a:pos x="33" y="45"/>
                </a:cxn>
                <a:cxn ang="0">
                  <a:pos x="32" y="45"/>
                </a:cxn>
                <a:cxn ang="0">
                  <a:pos x="31" y="44"/>
                </a:cxn>
                <a:cxn ang="0">
                  <a:pos x="29" y="44"/>
                </a:cxn>
                <a:cxn ang="0">
                  <a:pos x="26" y="44"/>
                </a:cxn>
                <a:cxn ang="0">
                  <a:pos x="22" y="45"/>
                </a:cxn>
                <a:cxn ang="0">
                  <a:pos x="20" y="48"/>
                </a:cxn>
                <a:cxn ang="0">
                  <a:pos x="20" y="51"/>
                </a:cxn>
                <a:cxn ang="0">
                  <a:pos x="19" y="52"/>
                </a:cxn>
                <a:cxn ang="0">
                  <a:pos x="16" y="52"/>
                </a:cxn>
                <a:cxn ang="0">
                  <a:pos x="15" y="52"/>
                </a:cxn>
                <a:cxn ang="0">
                  <a:pos x="12" y="34"/>
                </a:cxn>
                <a:cxn ang="0">
                  <a:pos x="6" y="28"/>
                </a:cxn>
                <a:cxn ang="0">
                  <a:pos x="7" y="26"/>
                </a:cxn>
                <a:cxn ang="0">
                  <a:pos x="4" y="22"/>
                </a:cxn>
                <a:cxn ang="0">
                  <a:pos x="4" y="21"/>
                </a:cxn>
                <a:cxn ang="0">
                  <a:pos x="3" y="18"/>
                </a:cxn>
                <a:cxn ang="0">
                  <a:pos x="1" y="19"/>
                </a:cxn>
                <a:cxn ang="0">
                  <a:pos x="0" y="12"/>
                </a:cxn>
                <a:cxn ang="0">
                  <a:pos x="3" y="9"/>
                </a:cxn>
                <a:cxn ang="0">
                  <a:pos x="3" y="7"/>
                </a:cxn>
                <a:cxn ang="0">
                  <a:pos x="4" y="6"/>
                </a:cxn>
                <a:cxn ang="0">
                  <a:pos x="6" y="5"/>
                </a:cxn>
                <a:cxn ang="0">
                  <a:pos x="7" y="3"/>
                </a:cxn>
                <a:cxn ang="0">
                  <a:pos x="10" y="2"/>
                </a:cxn>
                <a:cxn ang="0">
                  <a:pos x="13" y="2"/>
                </a:cxn>
              </a:cxnLst>
              <a:rect l="0" t="0" r="r" b="b"/>
              <a:pathLst>
                <a:path w="41" h="52">
                  <a:moveTo>
                    <a:pt x="13" y="2"/>
                  </a:moveTo>
                  <a:lnTo>
                    <a:pt x="15" y="0"/>
                  </a:lnTo>
                  <a:lnTo>
                    <a:pt x="16" y="2"/>
                  </a:lnTo>
                  <a:lnTo>
                    <a:pt x="19" y="3"/>
                  </a:lnTo>
                  <a:lnTo>
                    <a:pt x="26" y="12"/>
                  </a:lnTo>
                  <a:lnTo>
                    <a:pt x="32" y="13"/>
                  </a:lnTo>
                  <a:lnTo>
                    <a:pt x="35" y="18"/>
                  </a:lnTo>
                  <a:lnTo>
                    <a:pt x="38" y="25"/>
                  </a:lnTo>
                  <a:lnTo>
                    <a:pt x="39" y="25"/>
                  </a:lnTo>
                  <a:lnTo>
                    <a:pt x="39" y="28"/>
                  </a:lnTo>
                  <a:lnTo>
                    <a:pt x="41" y="31"/>
                  </a:lnTo>
                  <a:lnTo>
                    <a:pt x="39" y="34"/>
                  </a:lnTo>
                  <a:lnTo>
                    <a:pt x="38" y="35"/>
                  </a:lnTo>
                  <a:lnTo>
                    <a:pt x="38" y="39"/>
                  </a:lnTo>
                  <a:lnTo>
                    <a:pt x="33" y="45"/>
                  </a:lnTo>
                  <a:lnTo>
                    <a:pt x="32" y="45"/>
                  </a:lnTo>
                  <a:lnTo>
                    <a:pt x="31" y="44"/>
                  </a:lnTo>
                  <a:lnTo>
                    <a:pt x="29" y="44"/>
                  </a:lnTo>
                  <a:lnTo>
                    <a:pt x="26" y="44"/>
                  </a:lnTo>
                  <a:lnTo>
                    <a:pt x="22" y="45"/>
                  </a:lnTo>
                  <a:lnTo>
                    <a:pt x="20" y="48"/>
                  </a:lnTo>
                  <a:lnTo>
                    <a:pt x="20" y="51"/>
                  </a:lnTo>
                  <a:lnTo>
                    <a:pt x="19" y="52"/>
                  </a:lnTo>
                  <a:lnTo>
                    <a:pt x="16" y="52"/>
                  </a:lnTo>
                  <a:lnTo>
                    <a:pt x="15" y="52"/>
                  </a:lnTo>
                  <a:lnTo>
                    <a:pt x="12" y="34"/>
                  </a:lnTo>
                  <a:lnTo>
                    <a:pt x="6" y="28"/>
                  </a:lnTo>
                  <a:lnTo>
                    <a:pt x="7" y="26"/>
                  </a:lnTo>
                  <a:lnTo>
                    <a:pt x="4" y="22"/>
                  </a:lnTo>
                  <a:lnTo>
                    <a:pt x="4" y="21"/>
                  </a:lnTo>
                  <a:lnTo>
                    <a:pt x="3" y="18"/>
                  </a:lnTo>
                  <a:lnTo>
                    <a:pt x="1" y="19"/>
                  </a:lnTo>
                  <a:lnTo>
                    <a:pt x="0" y="12"/>
                  </a:lnTo>
                  <a:lnTo>
                    <a:pt x="3" y="9"/>
                  </a:lnTo>
                  <a:lnTo>
                    <a:pt x="3" y="7"/>
                  </a:lnTo>
                  <a:lnTo>
                    <a:pt x="4" y="6"/>
                  </a:lnTo>
                  <a:lnTo>
                    <a:pt x="6" y="5"/>
                  </a:lnTo>
                  <a:lnTo>
                    <a:pt x="7" y="3"/>
                  </a:lnTo>
                  <a:lnTo>
                    <a:pt x="10" y="2"/>
                  </a:lnTo>
                  <a:lnTo>
                    <a:pt x="13" y="2"/>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16" name="Freeform 1642"/>
            <p:cNvSpPr>
              <a:spLocks/>
            </p:cNvSpPr>
            <p:nvPr/>
          </p:nvSpPr>
          <p:spPr bwMode="auto">
            <a:xfrm>
              <a:off x="7474293" y="2281790"/>
              <a:ext cx="76369" cy="106484"/>
            </a:xfrm>
            <a:custGeom>
              <a:avLst/>
              <a:gdLst/>
              <a:ahLst/>
              <a:cxnLst>
                <a:cxn ang="0">
                  <a:pos x="82" y="0"/>
                </a:cxn>
                <a:cxn ang="0">
                  <a:pos x="83" y="0"/>
                </a:cxn>
                <a:cxn ang="0">
                  <a:pos x="84" y="1"/>
                </a:cxn>
                <a:cxn ang="0">
                  <a:pos x="79" y="43"/>
                </a:cxn>
                <a:cxn ang="0">
                  <a:pos x="74" y="52"/>
                </a:cxn>
                <a:cxn ang="0">
                  <a:pos x="73" y="48"/>
                </a:cxn>
                <a:cxn ang="0">
                  <a:pos x="70" y="49"/>
                </a:cxn>
                <a:cxn ang="0">
                  <a:pos x="67" y="55"/>
                </a:cxn>
                <a:cxn ang="0">
                  <a:pos x="68" y="55"/>
                </a:cxn>
                <a:cxn ang="0">
                  <a:pos x="71" y="54"/>
                </a:cxn>
                <a:cxn ang="0">
                  <a:pos x="71" y="58"/>
                </a:cxn>
                <a:cxn ang="0">
                  <a:pos x="66" y="62"/>
                </a:cxn>
                <a:cxn ang="0">
                  <a:pos x="63" y="68"/>
                </a:cxn>
                <a:cxn ang="0">
                  <a:pos x="58" y="72"/>
                </a:cxn>
                <a:cxn ang="0">
                  <a:pos x="47" y="77"/>
                </a:cxn>
                <a:cxn ang="0">
                  <a:pos x="44" y="80"/>
                </a:cxn>
                <a:cxn ang="0">
                  <a:pos x="37" y="83"/>
                </a:cxn>
                <a:cxn ang="0">
                  <a:pos x="31" y="94"/>
                </a:cxn>
                <a:cxn ang="0">
                  <a:pos x="26" y="99"/>
                </a:cxn>
                <a:cxn ang="0">
                  <a:pos x="12" y="103"/>
                </a:cxn>
                <a:cxn ang="0">
                  <a:pos x="3" y="102"/>
                </a:cxn>
                <a:cxn ang="0">
                  <a:pos x="0" y="99"/>
                </a:cxn>
                <a:cxn ang="0">
                  <a:pos x="0" y="97"/>
                </a:cxn>
                <a:cxn ang="0">
                  <a:pos x="9" y="94"/>
                </a:cxn>
                <a:cxn ang="0">
                  <a:pos x="12" y="94"/>
                </a:cxn>
                <a:cxn ang="0">
                  <a:pos x="15" y="93"/>
                </a:cxn>
                <a:cxn ang="0">
                  <a:pos x="19" y="93"/>
                </a:cxn>
                <a:cxn ang="0">
                  <a:pos x="55" y="58"/>
                </a:cxn>
                <a:cxn ang="0">
                  <a:pos x="48" y="64"/>
                </a:cxn>
                <a:cxn ang="0">
                  <a:pos x="44" y="65"/>
                </a:cxn>
                <a:cxn ang="0">
                  <a:pos x="47" y="61"/>
                </a:cxn>
                <a:cxn ang="0">
                  <a:pos x="51" y="56"/>
                </a:cxn>
                <a:cxn ang="0">
                  <a:pos x="76" y="11"/>
                </a:cxn>
                <a:cxn ang="0">
                  <a:pos x="77" y="3"/>
                </a:cxn>
                <a:cxn ang="0">
                  <a:pos x="79" y="1"/>
                </a:cxn>
                <a:cxn ang="0">
                  <a:pos x="80" y="0"/>
                </a:cxn>
                <a:cxn ang="0">
                  <a:pos x="82" y="0"/>
                </a:cxn>
              </a:cxnLst>
              <a:rect l="0" t="0" r="r" b="b"/>
              <a:pathLst>
                <a:path w="84" h="103">
                  <a:moveTo>
                    <a:pt x="82" y="0"/>
                  </a:moveTo>
                  <a:lnTo>
                    <a:pt x="83" y="0"/>
                  </a:lnTo>
                  <a:lnTo>
                    <a:pt x="84" y="1"/>
                  </a:lnTo>
                  <a:lnTo>
                    <a:pt x="79" y="43"/>
                  </a:lnTo>
                  <a:lnTo>
                    <a:pt x="74" y="52"/>
                  </a:lnTo>
                  <a:lnTo>
                    <a:pt x="73" y="48"/>
                  </a:lnTo>
                  <a:lnTo>
                    <a:pt x="70" y="49"/>
                  </a:lnTo>
                  <a:lnTo>
                    <a:pt x="67" y="55"/>
                  </a:lnTo>
                  <a:lnTo>
                    <a:pt x="68" y="55"/>
                  </a:lnTo>
                  <a:lnTo>
                    <a:pt x="71" y="54"/>
                  </a:lnTo>
                  <a:lnTo>
                    <a:pt x="71" y="58"/>
                  </a:lnTo>
                  <a:lnTo>
                    <a:pt x="66" y="62"/>
                  </a:lnTo>
                  <a:lnTo>
                    <a:pt x="63" y="68"/>
                  </a:lnTo>
                  <a:lnTo>
                    <a:pt x="58" y="72"/>
                  </a:lnTo>
                  <a:lnTo>
                    <a:pt x="47" y="77"/>
                  </a:lnTo>
                  <a:lnTo>
                    <a:pt x="44" y="80"/>
                  </a:lnTo>
                  <a:lnTo>
                    <a:pt x="37" y="83"/>
                  </a:lnTo>
                  <a:lnTo>
                    <a:pt x="31" y="94"/>
                  </a:lnTo>
                  <a:lnTo>
                    <a:pt x="26" y="99"/>
                  </a:lnTo>
                  <a:lnTo>
                    <a:pt x="12" y="103"/>
                  </a:lnTo>
                  <a:lnTo>
                    <a:pt x="3" y="102"/>
                  </a:lnTo>
                  <a:lnTo>
                    <a:pt x="0" y="99"/>
                  </a:lnTo>
                  <a:lnTo>
                    <a:pt x="0" y="97"/>
                  </a:lnTo>
                  <a:lnTo>
                    <a:pt x="9" y="94"/>
                  </a:lnTo>
                  <a:lnTo>
                    <a:pt x="12" y="94"/>
                  </a:lnTo>
                  <a:lnTo>
                    <a:pt x="15" y="93"/>
                  </a:lnTo>
                  <a:lnTo>
                    <a:pt x="19" y="93"/>
                  </a:lnTo>
                  <a:lnTo>
                    <a:pt x="55" y="58"/>
                  </a:lnTo>
                  <a:lnTo>
                    <a:pt x="48" y="64"/>
                  </a:lnTo>
                  <a:lnTo>
                    <a:pt x="44" y="65"/>
                  </a:lnTo>
                  <a:lnTo>
                    <a:pt x="47" y="61"/>
                  </a:lnTo>
                  <a:lnTo>
                    <a:pt x="51" y="56"/>
                  </a:lnTo>
                  <a:lnTo>
                    <a:pt x="76" y="11"/>
                  </a:lnTo>
                  <a:lnTo>
                    <a:pt x="77" y="3"/>
                  </a:lnTo>
                  <a:lnTo>
                    <a:pt x="79" y="1"/>
                  </a:lnTo>
                  <a:lnTo>
                    <a:pt x="80" y="0"/>
                  </a:lnTo>
                  <a:lnTo>
                    <a:pt x="82" y="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17" name="Freeform 1644"/>
            <p:cNvSpPr>
              <a:spLocks/>
            </p:cNvSpPr>
            <p:nvPr/>
          </p:nvSpPr>
          <p:spPr bwMode="auto">
            <a:xfrm>
              <a:off x="6565770" y="2068822"/>
              <a:ext cx="28090" cy="65918"/>
            </a:xfrm>
            <a:custGeom>
              <a:avLst/>
              <a:gdLst/>
              <a:ahLst/>
              <a:cxnLst>
                <a:cxn ang="0">
                  <a:pos x="28" y="57"/>
                </a:cxn>
                <a:cxn ang="0">
                  <a:pos x="30" y="54"/>
                </a:cxn>
                <a:cxn ang="0">
                  <a:pos x="29" y="51"/>
                </a:cxn>
                <a:cxn ang="0">
                  <a:pos x="30" y="50"/>
                </a:cxn>
                <a:cxn ang="0">
                  <a:pos x="29" y="45"/>
                </a:cxn>
                <a:cxn ang="0">
                  <a:pos x="28" y="44"/>
                </a:cxn>
                <a:cxn ang="0">
                  <a:pos x="25" y="40"/>
                </a:cxn>
                <a:cxn ang="0">
                  <a:pos x="25" y="38"/>
                </a:cxn>
                <a:cxn ang="0">
                  <a:pos x="22" y="34"/>
                </a:cxn>
                <a:cxn ang="0">
                  <a:pos x="22" y="32"/>
                </a:cxn>
                <a:cxn ang="0">
                  <a:pos x="22" y="31"/>
                </a:cxn>
                <a:cxn ang="0">
                  <a:pos x="20" y="28"/>
                </a:cxn>
                <a:cxn ang="0">
                  <a:pos x="20" y="27"/>
                </a:cxn>
                <a:cxn ang="0">
                  <a:pos x="22" y="18"/>
                </a:cxn>
                <a:cxn ang="0">
                  <a:pos x="22" y="13"/>
                </a:cxn>
                <a:cxn ang="0">
                  <a:pos x="16" y="9"/>
                </a:cxn>
                <a:cxn ang="0">
                  <a:pos x="10" y="6"/>
                </a:cxn>
                <a:cxn ang="0">
                  <a:pos x="7" y="3"/>
                </a:cxn>
                <a:cxn ang="0">
                  <a:pos x="3" y="0"/>
                </a:cxn>
                <a:cxn ang="0">
                  <a:pos x="3" y="3"/>
                </a:cxn>
                <a:cxn ang="0">
                  <a:pos x="9" y="12"/>
                </a:cxn>
                <a:cxn ang="0">
                  <a:pos x="10" y="11"/>
                </a:cxn>
                <a:cxn ang="0">
                  <a:pos x="15" y="12"/>
                </a:cxn>
                <a:cxn ang="0">
                  <a:pos x="19" y="22"/>
                </a:cxn>
                <a:cxn ang="0">
                  <a:pos x="16" y="24"/>
                </a:cxn>
                <a:cxn ang="0">
                  <a:pos x="10" y="21"/>
                </a:cxn>
                <a:cxn ang="0">
                  <a:pos x="10" y="22"/>
                </a:cxn>
                <a:cxn ang="0">
                  <a:pos x="13" y="27"/>
                </a:cxn>
                <a:cxn ang="0">
                  <a:pos x="12" y="28"/>
                </a:cxn>
                <a:cxn ang="0">
                  <a:pos x="9" y="24"/>
                </a:cxn>
                <a:cxn ang="0">
                  <a:pos x="7" y="16"/>
                </a:cxn>
                <a:cxn ang="0">
                  <a:pos x="3" y="12"/>
                </a:cxn>
                <a:cxn ang="0">
                  <a:pos x="1" y="15"/>
                </a:cxn>
                <a:cxn ang="0">
                  <a:pos x="4" y="22"/>
                </a:cxn>
                <a:cxn ang="0">
                  <a:pos x="7" y="27"/>
                </a:cxn>
                <a:cxn ang="0">
                  <a:pos x="6" y="29"/>
                </a:cxn>
                <a:cxn ang="0">
                  <a:pos x="1" y="24"/>
                </a:cxn>
                <a:cxn ang="0">
                  <a:pos x="0" y="25"/>
                </a:cxn>
                <a:cxn ang="0">
                  <a:pos x="3" y="28"/>
                </a:cxn>
                <a:cxn ang="0">
                  <a:pos x="4" y="32"/>
                </a:cxn>
                <a:cxn ang="0">
                  <a:pos x="4" y="35"/>
                </a:cxn>
                <a:cxn ang="0">
                  <a:pos x="0" y="34"/>
                </a:cxn>
                <a:cxn ang="0">
                  <a:pos x="1" y="35"/>
                </a:cxn>
                <a:cxn ang="0">
                  <a:pos x="6" y="41"/>
                </a:cxn>
                <a:cxn ang="0">
                  <a:pos x="15" y="45"/>
                </a:cxn>
                <a:cxn ang="0">
                  <a:pos x="19" y="53"/>
                </a:cxn>
                <a:cxn ang="0">
                  <a:pos x="19" y="57"/>
                </a:cxn>
                <a:cxn ang="0">
                  <a:pos x="17" y="60"/>
                </a:cxn>
                <a:cxn ang="0">
                  <a:pos x="17" y="61"/>
                </a:cxn>
                <a:cxn ang="0">
                  <a:pos x="20" y="61"/>
                </a:cxn>
                <a:cxn ang="0">
                  <a:pos x="22" y="63"/>
                </a:cxn>
                <a:cxn ang="0">
                  <a:pos x="26" y="57"/>
                </a:cxn>
                <a:cxn ang="0">
                  <a:pos x="28" y="57"/>
                </a:cxn>
              </a:cxnLst>
              <a:rect l="0" t="0" r="r" b="b"/>
              <a:pathLst>
                <a:path w="30" h="63">
                  <a:moveTo>
                    <a:pt x="28" y="57"/>
                  </a:moveTo>
                  <a:lnTo>
                    <a:pt x="30" y="54"/>
                  </a:lnTo>
                  <a:lnTo>
                    <a:pt x="29" y="51"/>
                  </a:lnTo>
                  <a:lnTo>
                    <a:pt x="30" y="50"/>
                  </a:lnTo>
                  <a:lnTo>
                    <a:pt x="29" y="45"/>
                  </a:lnTo>
                  <a:lnTo>
                    <a:pt x="28" y="44"/>
                  </a:lnTo>
                  <a:lnTo>
                    <a:pt x="25" y="40"/>
                  </a:lnTo>
                  <a:lnTo>
                    <a:pt x="25" y="38"/>
                  </a:lnTo>
                  <a:lnTo>
                    <a:pt x="22" y="34"/>
                  </a:lnTo>
                  <a:lnTo>
                    <a:pt x="22" y="32"/>
                  </a:lnTo>
                  <a:lnTo>
                    <a:pt x="22" y="31"/>
                  </a:lnTo>
                  <a:lnTo>
                    <a:pt x="20" y="28"/>
                  </a:lnTo>
                  <a:lnTo>
                    <a:pt x="20" y="27"/>
                  </a:lnTo>
                  <a:lnTo>
                    <a:pt x="22" y="18"/>
                  </a:lnTo>
                  <a:lnTo>
                    <a:pt x="22" y="13"/>
                  </a:lnTo>
                  <a:lnTo>
                    <a:pt x="16" y="9"/>
                  </a:lnTo>
                  <a:lnTo>
                    <a:pt x="10" y="6"/>
                  </a:lnTo>
                  <a:lnTo>
                    <a:pt x="7" y="3"/>
                  </a:lnTo>
                  <a:lnTo>
                    <a:pt x="3" y="0"/>
                  </a:lnTo>
                  <a:lnTo>
                    <a:pt x="3" y="3"/>
                  </a:lnTo>
                  <a:lnTo>
                    <a:pt x="9" y="12"/>
                  </a:lnTo>
                  <a:lnTo>
                    <a:pt x="10" y="11"/>
                  </a:lnTo>
                  <a:lnTo>
                    <a:pt x="15" y="12"/>
                  </a:lnTo>
                  <a:lnTo>
                    <a:pt x="19" y="22"/>
                  </a:lnTo>
                  <a:lnTo>
                    <a:pt x="16" y="24"/>
                  </a:lnTo>
                  <a:lnTo>
                    <a:pt x="10" y="21"/>
                  </a:lnTo>
                  <a:lnTo>
                    <a:pt x="10" y="22"/>
                  </a:lnTo>
                  <a:lnTo>
                    <a:pt x="13" y="27"/>
                  </a:lnTo>
                  <a:lnTo>
                    <a:pt x="12" y="28"/>
                  </a:lnTo>
                  <a:lnTo>
                    <a:pt x="9" y="24"/>
                  </a:lnTo>
                  <a:lnTo>
                    <a:pt x="7" y="16"/>
                  </a:lnTo>
                  <a:lnTo>
                    <a:pt x="3" y="12"/>
                  </a:lnTo>
                  <a:lnTo>
                    <a:pt x="1" y="15"/>
                  </a:lnTo>
                  <a:lnTo>
                    <a:pt x="4" y="22"/>
                  </a:lnTo>
                  <a:lnTo>
                    <a:pt x="7" y="27"/>
                  </a:lnTo>
                  <a:lnTo>
                    <a:pt x="6" y="29"/>
                  </a:lnTo>
                  <a:lnTo>
                    <a:pt x="1" y="24"/>
                  </a:lnTo>
                  <a:lnTo>
                    <a:pt x="0" y="25"/>
                  </a:lnTo>
                  <a:lnTo>
                    <a:pt x="3" y="28"/>
                  </a:lnTo>
                  <a:lnTo>
                    <a:pt x="4" y="32"/>
                  </a:lnTo>
                  <a:lnTo>
                    <a:pt x="4" y="35"/>
                  </a:lnTo>
                  <a:lnTo>
                    <a:pt x="0" y="34"/>
                  </a:lnTo>
                  <a:lnTo>
                    <a:pt x="1" y="35"/>
                  </a:lnTo>
                  <a:lnTo>
                    <a:pt x="6" y="41"/>
                  </a:lnTo>
                  <a:lnTo>
                    <a:pt x="15" y="45"/>
                  </a:lnTo>
                  <a:lnTo>
                    <a:pt x="19" y="53"/>
                  </a:lnTo>
                  <a:lnTo>
                    <a:pt x="19" y="57"/>
                  </a:lnTo>
                  <a:lnTo>
                    <a:pt x="17" y="60"/>
                  </a:lnTo>
                  <a:lnTo>
                    <a:pt x="17" y="61"/>
                  </a:lnTo>
                  <a:lnTo>
                    <a:pt x="20" y="61"/>
                  </a:lnTo>
                  <a:lnTo>
                    <a:pt x="22" y="63"/>
                  </a:lnTo>
                  <a:lnTo>
                    <a:pt x="26" y="57"/>
                  </a:lnTo>
                  <a:lnTo>
                    <a:pt x="28" y="57"/>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18" name="Freeform 1645"/>
            <p:cNvSpPr>
              <a:spLocks/>
            </p:cNvSpPr>
            <p:nvPr/>
          </p:nvSpPr>
          <p:spPr bwMode="auto">
            <a:xfrm>
              <a:off x="6565770" y="2068822"/>
              <a:ext cx="28090" cy="65918"/>
            </a:xfrm>
            <a:custGeom>
              <a:avLst/>
              <a:gdLst/>
              <a:ahLst/>
              <a:cxnLst>
                <a:cxn ang="0">
                  <a:pos x="28" y="57"/>
                </a:cxn>
                <a:cxn ang="0">
                  <a:pos x="30" y="54"/>
                </a:cxn>
                <a:cxn ang="0">
                  <a:pos x="29" y="51"/>
                </a:cxn>
                <a:cxn ang="0">
                  <a:pos x="30" y="50"/>
                </a:cxn>
                <a:cxn ang="0">
                  <a:pos x="29" y="45"/>
                </a:cxn>
                <a:cxn ang="0">
                  <a:pos x="28" y="44"/>
                </a:cxn>
                <a:cxn ang="0">
                  <a:pos x="25" y="40"/>
                </a:cxn>
                <a:cxn ang="0">
                  <a:pos x="25" y="38"/>
                </a:cxn>
                <a:cxn ang="0">
                  <a:pos x="22" y="34"/>
                </a:cxn>
                <a:cxn ang="0">
                  <a:pos x="22" y="32"/>
                </a:cxn>
                <a:cxn ang="0">
                  <a:pos x="22" y="31"/>
                </a:cxn>
                <a:cxn ang="0">
                  <a:pos x="20" y="28"/>
                </a:cxn>
                <a:cxn ang="0">
                  <a:pos x="20" y="27"/>
                </a:cxn>
                <a:cxn ang="0">
                  <a:pos x="22" y="18"/>
                </a:cxn>
                <a:cxn ang="0">
                  <a:pos x="22" y="13"/>
                </a:cxn>
                <a:cxn ang="0">
                  <a:pos x="16" y="9"/>
                </a:cxn>
                <a:cxn ang="0">
                  <a:pos x="10" y="6"/>
                </a:cxn>
                <a:cxn ang="0">
                  <a:pos x="7" y="3"/>
                </a:cxn>
                <a:cxn ang="0">
                  <a:pos x="3" y="0"/>
                </a:cxn>
                <a:cxn ang="0">
                  <a:pos x="3" y="3"/>
                </a:cxn>
                <a:cxn ang="0">
                  <a:pos x="9" y="12"/>
                </a:cxn>
                <a:cxn ang="0">
                  <a:pos x="10" y="11"/>
                </a:cxn>
                <a:cxn ang="0">
                  <a:pos x="15" y="12"/>
                </a:cxn>
                <a:cxn ang="0">
                  <a:pos x="19" y="22"/>
                </a:cxn>
                <a:cxn ang="0">
                  <a:pos x="16" y="24"/>
                </a:cxn>
                <a:cxn ang="0">
                  <a:pos x="10" y="21"/>
                </a:cxn>
                <a:cxn ang="0">
                  <a:pos x="10" y="22"/>
                </a:cxn>
                <a:cxn ang="0">
                  <a:pos x="13" y="27"/>
                </a:cxn>
                <a:cxn ang="0">
                  <a:pos x="12" y="28"/>
                </a:cxn>
                <a:cxn ang="0">
                  <a:pos x="9" y="24"/>
                </a:cxn>
                <a:cxn ang="0">
                  <a:pos x="7" y="16"/>
                </a:cxn>
                <a:cxn ang="0">
                  <a:pos x="3" y="12"/>
                </a:cxn>
                <a:cxn ang="0">
                  <a:pos x="1" y="15"/>
                </a:cxn>
                <a:cxn ang="0">
                  <a:pos x="4" y="22"/>
                </a:cxn>
                <a:cxn ang="0">
                  <a:pos x="7" y="27"/>
                </a:cxn>
                <a:cxn ang="0">
                  <a:pos x="6" y="29"/>
                </a:cxn>
                <a:cxn ang="0">
                  <a:pos x="1" y="24"/>
                </a:cxn>
                <a:cxn ang="0">
                  <a:pos x="0" y="25"/>
                </a:cxn>
                <a:cxn ang="0">
                  <a:pos x="3" y="28"/>
                </a:cxn>
                <a:cxn ang="0">
                  <a:pos x="4" y="32"/>
                </a:cxn>
                <a:cxn ang="0">
                  <a:pos x="4" y="35"/>
                </a:cxn>
                <a:cxn ang="0">
                  <a:pos x="0" y="34"/>
                </a:cxn>
                <a:cxn ang="0">
                  <a:pos x="1" y="35"/>
                </a:cxn>
                <a:cxn ang="0">
                  <a:pos x="6" y="41"/>
                </a:cxn>
                <a:cxn ang="0">
                  <a:pos x="15" y="45"/>
                </a:cxn>
                <a:cxn ang="0">
                  <a:pos x="19" y="53"/>
                </a:cxn>
                <a:cxn ang="0">
                  <a:pos x="19" y="57"/>
                </a:cxn>
                <a:cxn ang="0">
                  <a:pos x="17" y="60"/>
                </a:cxn>
                <a:cxn ang="0">
                  <a:pos x="17" y="61"/>
                </a:cxn>
                <a:cxn ang="0">
                  <a:pos x="20" y="61"/>
                </a:cxn>
                <a:cxn ang="0">
                  <a:pos x="22" y="63"/>
                </a:cxn>
                <a:cxn ang="0">
                  <a:pos x="26" y="57"/>
                </a:cxn>
                <a:cxn ang="0">
                  <a:pos x="28" y="57"/>
                </a:cxn>
              </a:cxnLst>
              <a:rect l="0" t="0" r="r" b="b"/>
              <a:pathLst>
                <a:path w="30" h="63">
                  <a:moveTo>
                    <a:pt x="28" y="57"/>
                  </a:moveTo>
                  <a:lnTo>
                    <a:pt x="30" y="54"/>
                  </a:lnTo>
                  <a:lnTo>
                    <a:pt x="29" y="51"/>
                  </a:lnTo>
                  <a:lnTo>
                    <a:pt x="30" y="50"/>
                  </a:lnTo>
                  <a:lnTo>
                    <a:pt x="29" y="45"/>
                  </a:lnTo>
                  <a:lnTo>
                    <a:pt x="28" y="44"/>
                  </a:lnTo>
                  <a:lnTo>
                    <a:pt x="25" y="40"/>
                  </a:lnTo>
                  <a:lnTo>
                    <a:pt x="25" y="38"/>
                  </a:lnTo>
                  <a:lnTo>
                    <a:pt x="22" y="34"/>
                  </a:lnTo>
                  <a:lnTo>
                    <a:pt x="22" y="32"/>
                  </a:lnTo>
                  <a:lnTo>
                    <a:pt x="22" y="31"/>
                  </a:lnTo>
                  <a:lnTo>
                    <a:pt x="20" y="28"/>
                  </a:lnTo>
                  <a:lnTo>
                    <a:pt x="20" y="27"/>
                  </a:lnTo>
                  <a:lnTo>
                    <a:pt x="22" y="18"/>
                  </a:lnTo>
                  <a:lnTo>
                    <a:pt x="22" y="13"/>
                  </a:lnTo>
                  <a:lnTo>
                    <a:pt x="16" y="9"/>
                  </a:lnTo>
                  <a:lnTo>
                    <a:pt x="10" y="6"/>
                  </a:lnTo>
                  <a:lnTo>
                    <a:pt x="7" y="3"/>
                  </a:lnTo>
                  <a:lnTo>
                    <a:pt x="3" y="0"/>
                  </a:lnTo>
                  <a:lnTo>
                    <a:pt x="3" y="3"/>
                  </a:lnTo>
                  <a:lnTo>
                    <a:pt x="9" y="12"/>
                  </a:lnTo>
                  <a:lnTo>
                    <a:pt x="10" y="11"/>
                  </a:lnTo>
                  <a:lnTo>
                    <a:pt x="15" y="12"/>
                  </a:lnTo>
                  <a:lnTo>
                    <a:pt x="19" y="22"/>
                  </a:lnTo>
                  <a:lnTo>
                    <a:pt x="16" y="24"/>
                  </a:lnTo>
                  <a:lnTo>
                    <a:pt x="10" y="21"/>
                  </a:lnTo>
                  <a:lnTo>
                    <a:pt x="10" y="22"/>
                  </a:lnTo>
                  <a:lnTo>
                    <a:pt x="13" y="27"/>
                  </a:lnTo>
                  <a:lnTo>
                    <a:pt x="12" y="28"/>
                  </a:lnTo>
                  <a:lnTo>
                    <a:pt x="9" y="24"/>
                  </a:lnTo>
                  <a:lnTo>
                    <a:pt x="7" y="16"/>
                  </a:lnTo>
                  <a:lnTo>
                    <a:pt x="3" y="12"/>
                  </a:lnTo>
                  <a:lnTo>
                    <a:pt x="1" y="15"/>
                  </a:lnTo>
                  <a:lnTo>
                    <a:pt x="4" y="22"/>
                  </a:lnTo>
                  <a:lnTo>
                    <a:pt x="7" y="27"/>
                  </a:lnTo>
                  <a:lnTo>
                    <a:pt x="6" y="29"/>
                  </a:lnTo>
                  <a:lnTo>
                    <a:pt x="1" y="24"/>
                  </a:lnTo>
                  <a:lnTo>
                    <a:pt x="0" y="25"/>
                  </a:lnTo>
                  <a:lnTo>
                    <a:pt x="3" y="28"/>
                  </a:lnTo>
                  <a:lnTo>
                    <a:pt x="4" y="32"/>
                  </a:lnTo>
                  <a:lnTo>
                    <a:pt x="4" y="35"/>
                  </a:lnTo>
                  <a:lnTo>
                    <a:pt x="0" y="34"/>
                  </a:lnTo>
                  <a:lnTo>
                    <a:pt x="1" y="35"/>
                  </a:lnTo>
                  <a:lnTo>
                    <a:pt x="6" y="41"/>
                  </a:lnTo>
                  <a:lnTo>
                    <a:pt x="15" y="45"/>
                  </a:lnTo>
                  <a:lnTo>
                    <a:pt x="19" y="53"/>
                  </a:lnTo>
                  <a:lnTo>
                    <a:pt x="19" y="57"/>
                  </a:lnTo>
                  <a:lnTo>
                    <a:pt x="17" y="60"/>
                  </a:lnTo>
                  <a:lnTo>
                    <a:pt x="17" y="61"/>
                  </a:lnTo>
                  <a:lnTo>
                    <a:pt x="20" y="61"/>
                  </a:lnTo>
                  <a:lnTo>
                    <a:pt x="22" y="63"/>
                  </a:lnTo>
                  <a:lnTo>
                    <a:pt x="26" y="57"/>
                  </a:lnTo>
                  <a:lnTo>
                    <a:pt x="28" y="57"/>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19" name="Freeform 1646"/>
            <p:cNvSpPr>
              <a:spLocks/>
            </p:cNvSpPr>
            <p:nvPr/>
          </p:nvSpPr>
          <p:spPr bwMode="auto">
            <a:xfrm>
              <a:off x="4801391" y="2332495"/>
              <a:ext cx="21067" cy="15212"/>
            </a:xfrm>
            <a:custGeom>
              <a:avLst/>
              <a:gdLst/>
              <a:ahLst/>
              <a:cxnLst>
                <a:cxn ang="0">
                  <a:pos x="7" y="2"/>
                </a:cxn>
                <a:cxn ang="0">
                  <a:pos x="3" y="2"/>
                </a:cxn>
                <a:cxn ang="0">
                  <a:pos x="2" y="3"/>
                </a:cxn>
                <a:cxn ang="0">
                  <a:pos x="0" y="5"/>
                </a:cxn>
                <a:cxn ang="0">
                  <a:pos x="6" y="9"/>
                </a:cxn>
                <a:cxn ang="0">
                  <a:pos x="7" y="9"/>
                </a:cxn>
                <a:cxn ang="0">
                  <a:pos x="7" y="9"/>
                </a:cxn>
                <a:cxn ang="0">
                  <a:pos x="7" y="10"/>
                </a:cxn>
                <a:cxn ang="0">
                  <a:pos x="9" y="12"/>
                </a:cxn>
                <a:cxn ang="0">
                  <a:pos x="15" y="15"/>
                </a:cxn>
                <a:cxn ang="0">
                  <a:pos x="19" y="12"/>
                </a:cxn>
                <a:cxn ang="0">
                  <a:pos x="19" y="15"/>
                </a:cxn>
                <a:cxn ang="0">
                  <a:pos x="22" y="15"/>
                </a:cxn>
                <a:cxn ang="0">
                  <a:pos x="23" y="12"/>
                </a:cxn>
                <a:cxn ang="0">
                  <a:pos x="22" y="7"/>
                </a:cxn>
                <a:cxn ang="0">
                  <a:pos x="21" y="7"/>
                </a:cxn>
                <a:cxn ang="0">
                  <a:pos x="16" y="7"/>
                </a:cxn>
                <a:cxn ang="0">
                  <a:pos x="16" y="10"/>
                </a:cxn>
                <a:cxn ang="0">
                  <a:pos x="15" y="9"/>
                </a:cxn>
                <a:cxn ang="0">
                  <a:pos x="15" y="6"/>
                </a:cxn>
                <a:cxn ang="0">
                  <a:pos x="13" y="3"/>
                </a:cxn>
                <a:cxn ang="0">
                  <a:pos x="9" y="0"/>
                </a:cxn>
                <a:cxn ang="0">
                  <a:pos x="7" y="2"/>
                </a:cxn>
              </a:cxnLst>
              <a:rect l="0" t="0" r="r" b="b"/>
              <a:pathLst>
                <a:path w="23" h="15">
                  <a:moveTo>
                    <a:pt x="7" y="2"/>
                  </a:moveTo>
                  <a:lnTo>
                    <a:pt x="3" y="2"/>
                  </a:lnTo>
                  <a:lnTo>
                    <a:pt x="2" y="3"/>
                  </a:lnTo>
                  <a:lnTo>
                    <a:pt x="0" y="5"/>
                  </a:lnTo>
                  <a:lnTo>
                    <a:pt x="6" y="9"/>
                  </a:lnTo>
                  <a:lnTo>
                    <a:pt x="7" y="9"/>
                  </a:lnTo>
                  <a:lnTo>
                    <a:pt x="7" y="9"/>
                  </a:lnTo>
                  <a:lnTo>
                    <a:pt x="7" y="10"/>
                  </a:lnTo>
                  <a:lnTo>
                    <a:pt x="9" y="12"/>
                  </a:lnTo>
                  <a:lnTo>
                    <a:pt x="15" y="15"/>
                  </a:lnTo>
                  <a:lnTo>
                    <a:pt x="19" y="12"/>
                  </a:lnTo>
                  <a:lnTo>
                    <a:pt x="19" y="15"/>
                  </a:lnTo>
                  <a:lnTo>
                    <a:pt x="22" y="15"/>
                  </a:lnTo>
                  <a:lnTo>
                    <a:pt x="23" y="12"/>
                  </a:lnTo>
                  <a:lnTo>
                    <a:pt x="22" y="7"/>
                  </a:lnTo>
                  <a:lnTo>
                    <a:pt x="21" y="7"/>
                  </a:lnTo>
                  <a:lnTo>
                    <a:pt x="16" y="7"/>
                  </a:lnTo>
                  <a:lnTo>
                    <a:pt x="16" y="10"/>
                  </a:lnTo>
                  <a:lnTo>
                    <a:pt x="15" y="9"/>
                  </a:lnTo>
                  <a:lnTo>
                    <a:pt x="15" y="6"/>
                  </a:lnTo>
                  <a:lnTo>
                    <a:pt x="13" y="3"/>
                  </a:lnTo>
                  <a:lnTo>
                    <a:pt x="9" y="0"/>
                  </a:lnTo>
                  <a:lnTo>
                    <a:pt x="7" y="2"/>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20" name="Freeform 1650"/>
            <p:cNvSpPr>
              <a:spLocks/>
            </p:cNvSpPr>
            <p:nvPr/>
          </p:nvSpPr>
          <p:spPr bwMode="auto">
            <a:xfrm>
              <a:off x="5037518" y="2578930"/>
              <a:ext cx="5267" cy="7098"/>
            </a:xfrm>
            <a:custGeom>
              <a:avLst/>
              <a:gdLst/>
              <a:ahLst/>
              <a:cxnLst>
                <a:cxn ang="0">
                  <a:pos x="6" y="3"/>
                </a:cxn>
                <a:cxn ang="0">
                  <a:pos x="6" y="4"/>
                </a:cxn>
                <a:cxn ang="0">
                  <a:pos x="5" y="6"/>
                </a:cxn>
                <a:cxn ang="0">
                  <a:pos x="3" y="6"/>
                </a:cxn>
                <a:cxn ang="0">
                  <a:pos x="0" y="4"/>
                </a:cxn>
                <a:cxn ang="0">
                  <a:pos x="0" y="4"/>
                </a:cxn>
                <a:cxn ang="0">
                  <a:pos x="0" y="3"/>
                </a:cxn>
                <a:cxn ang="0">
                  <a:pos x="0" y="2"/>
                </a:cxn>
                <a:cxn ang="0">
                  <a:pos x="2" y="0"/>
                </a:cxn>
                <a:cxn ang="0">
                  <a:pos x="5" y="0"/>
                </a:cxn>
                <a:cxn ang="0">
                  <a:pos x="5" y="2"/>
                </a:cxn>
                <a:cxn ang="0">
                  <a:pos x="6" y="2"/>
                </a:cxn>
                <a:cxn ang="0">
                  <a:pos x="6" y="3"/>
                </a:cxn>
              </a:cxnLst>
              <a:rect l="0" t="0" r="r" b="b"/>
              <a:pathLst>
                <a:path w="6" h="6">
                  <a:moveTo>
                    <a:pt x="6" y="3"/>
                  </a:moveTo>
                  <a:lnTo>
                    <a:pt x="6" y="4"/>
                  </a:lnTo>
                  <a:lnTo>
                    <a:pt x="5" y="6"/>
                  </a:lnTo>
                  <a:lnTo>
                    <a:pt x="3" y="6"/>
                  </a:lnTo>
                  <a:lnTo>
                    <a:pt x="0" y="4"/>
                  </a:lnTo>
                  <a:lnTo>
                    <a:pt x="0" y="4"/>
                  </a:lnTo>
                  <a:lnTo>
                    <a:pt x="0" y="3"/>
                  </a:lnTo>
                  <a:lnTo>
                    <a:pt x="0" y="2"/>
                  </a:lnTo>
                  <a:lnTo>
                    <a:pt x="2" y="0"/>
                  </a:lnTo>
                  <a:lnTo>
                    <a:pt x="5" y="0"/>
                  </a:lnTo>
                  <a:lnTo>
                    <a:pt x="5" y="2"/>
                  </a:lnTo>
                  <a:lnTo>
                    <a:pt x="6" y="2"/>
                  </a:lnTo>
                  <a:lnTo>
                    <a:pt x="6"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21" name="Freeform 1651"/>
            <p:cNvSpPr>
              <a:spLocks/>
            </p:cNvSpPr>
            <p:nvPr/>
          </p:nvSpPr>
          <p:spPr bwMode="auto">
            <a:xfrm>
              <a:off x="5037518" y="2578930"/>
              <a:ext cx="5267" cy="7098"/>
            </a:xfrm>
            <a:custGeom>
              <a:avLst/>
              <a:gdLst/>
              <a:ahLst/>
              <a:cxnLst>
                <a:cxn ang="0">
                  <a:pos x="6" y="3"/>
                </a:cxn>
                <a:cxn ang="0">
                  <a:pos x="6" y="4"/>
                </a:cxn>
                <a:cxn ang="0">
                  <a:pos x="5" y="6"/>
                </a:cxn>
                <a:cxn ang="0">
                  <a:pos x="3" y="6"/>
                </a:cxn>
                <a:cxn ang="0">
                  <a:pos x="0" y="4"/>
                </a:cxn>
                <a:cxn ang="0">
                  <a:pos x="0" y="4"/>
                </a:cxn>
                <a:cxn ang="0">
                  <a:pos x="0" y="3"/>
                </a:cxn>
                <a:cxn ang="0">
                  <a:pos x="0" y="2"/>
                </a:cxn>
                <a:cxn ang="0">
                  <a:pos x="2" y="0"/>
                </a:cxn>
                <a:cxn ang="0">
                  <a:pos x="5" y="0"/>
                </a:cxn>
                <a:cxn ang="0">
                  <a:pos x="5" y="2"/>
                </a:cxn>
                <a:cxn ang="0">
                  <a:pos x="6" y="2"/>
                </a:cxn>
                <a:cxn ang="0">
                  <a:pos x="6" y="3"/>
                </a:cxn>
              </a:cxnLst>
              <a:rect l="0" t="0" r="r" b="b"/>
              <a:pathLst>
                <a:path w="6" h="6">
                  <a:moveTo>
                    <a:pt x="6" y="3"/>
                  </a:moveTo>
                  <a:lnTo>
                    <a:pt x="6" y="4"/>
                  </a:lnTo>
                  <a:lnTo>
                    <a:pt x="5" y="6"/>
                  </a:lnTo>
                  <a:lnTo>
                    <a:pt x="3" y="6"/>
                  </a:lnTo>
                  <a:lnTo>
                    <a:pt x="0" y="4"/>
                  </a:lnTo>
                  <a:lnTo>
                    <a:pt x="0" y="4"/>
                  </a:lnTo>
                  <a:lnTo>
                    <a:pt x="0" y="3"/>
                  </a:lnTo>
                  <a:lnTo>
                    <a:pt x="0" y="2"/>
                  </a:lnTo>
                  <a:lnTo>
                    <a:pt x="2" y="0"/>
                  </a:lnTo>
                  <a:lnTo>
                    <a:pt x="5" y="0"/>
                  </a:lnTo>
                  <a:lnTo>
                    <a:pt x="5" y="2"/>
                  </a:lnTo>
                  <a:lnTo>
                    <a:pt x="6" y="2"/>
                  </a:lnTo>
                  <a:lnTo>
                    <a:pt x="6"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22" name="Freeform 1652"/>
            <p:cNvSpPr>
              <a:spLocks/>
            </p:cNvSpPr>
            <p:nvPr/>
          </p:nvSpPr>
          <p:spPr bwMode="auto">
            <a:xfrm>
              <a:off x="6289263" y="3060643"/>
              <a:ext cx="26334" cy="29410"/>
            </a:xfrm>
            <a:custGeom>
              <a:avLst/>
              <a:gdLst/>
              <a:ahLst/>
              <a:cxnLst>
                <a:cxn ang="0">
                  <a:pos x="0" y="5"/>
                </a:cxn>
                <a:cxn ang="0">
                  <a:pos x="0" y="2"/>
                </a:cxn>
                <a:cxn ang="0">
                  <a:pos x="3" y="2"/>
                </a:cxn>
                <a:cxn ang="0">
                  <a:pos x="3" y="0"/>
                </a:cxn>
                <a:cxn ang="0">
                  <a:pos x="4" y="0"/>
                </a:cxn>
                <a:cxn ang="0">
                  <a:pos x="9" y="2"/>
                </a:cxn>
                <a:cxn ang="0">
                  <a:pos x="10" y="3"/>
                </a:cxn>
                <a:cxn ang="0">
                  <a:pos x="12" y="5"/>
                </a:cxn>
                <a:cxn ang="0">
                  <a:pos x="13" y="6"/>
                </a:cxn>
                <a:cxn ang="0">
                  <a:pos x="15" y="12"/>
                </a:cxn>
                <a:cxn ang="0">
                  <a:pos x="19" y="13"/>
                </a:cxn>
                <a:cxn ang="0">
                  <a:pos x="22" y="12"/>
                </a:cxn>
                <a:cxn ang="0">
                  <a:pos x="26" y="13"/>
                </a:cxn>
                <a:cxn ang="0">
                  <a:pos x="28" y="13"/>
                </a:cxn>
                <a:cxn ang="0">
                  <a:pos x="29" y="16"/>
                </a:cxn>
                <a:cxn ang="0">
                  <a:pos x="29" y="18"/>
                </a:cxn>
                <a:cxn ang="0">
                  <a:pos x="29" y="21"/>
                </a:cxn>
                <a:cxn ang="0">
                  <a:pos x="26" y="22"/>
                </a:cxn>
                <a:cxn ang="0">
                  <a:pos x="17" y="23"/>
                </a:cxn>
                <a:cxn ang="0">
                  <a:pos x="16" y="28"/>
                </a:cxn>
                <a:cxn ang="0">
                  <a:pos x="15" y="28"/>
                </a:cxn>
                <a:cxn ang="0">
                  <a:pos x="12" y="25"/>
                </a:cxn>
                <a:cxn ang="0">
                  <a:pos x="10" y="19"/>
                </a:cxn>
                <a:cxn ang="0">
                  <a:pos x="9" y="18"/>
                </a:cxn>
                <a:cxn ang="0">
                  <a:pos x="6" y="16"/>
                </a:cxn>
                <a:cxn ang="0">
                  <a:pos x="1" y="9"/>
                </a:cxn>
                <a:cxn ang="0">
                  <a:pos x="0" y="7"/>
                </a:cxn>
                <a:cxn ang="0">
                  <a:pos x="0" y="6"/>
                </a:cxn>
                <a:cxn ang="0">
                  <a:pos x="0" y="5"/>
                </a:cxn>
              </a:cxnLst>
              <a:rect l="0" t="0" r="r" b="b"/>
              <a:pathLst>
                <a:path w="29" h="28">
                  <a:moveTo>
                    <a:pt x="0" y="5"/>
                  </a:moveTo>
                  <a:lnTo>
                    <a:pt x="0" y="2"/>
                  </a:lnTo>
                  <a:lnTo>
                    <a:pt x="3" y="2"/>
                  </a:lnTo>
                  <a:lnTo>
                    <a:pt x="3" y="0"/>
                  </a:lnTo>
                  <a:lnTo>
                    <a:pt x="4" y="0"/>
                  </a:lnTo>
                  <a:lnTo>
                    <a:pt x="9" y="2"/>
                  </a:lnTo>
                  <a:lnTo>
                    <a:pt x="10" y="3"/>
                  </a:lnTo>
                  <a:lnTo>
                    <a:pt x="12" y="5"/>
                  </a:lnTo>
                  <a:lnTo>
                    <a:pt x="13" y="6"/>
                  </a:lnTo>
                  <a:lnTo>
                    <a:pt x="15" y="12"/>
                  </a:lnTo>
                  <a:lnTo>
                    <a:pt x="19" y="13"/>
                  </a:lnTo>
                  <a:lnTo>
                    <a:pt x="22" y="12"/>
                  </a:lnTo>
                  <a:lnTo>
                    <a:pt x="26" y="13"/>
                  </a:lnTo>
                  <a:lnTo>
                    <a:pt x="28" y="13"/>
                  </a:lnTo>
                  <a:lnTo>
                    <a:pt x="29" y="16"/>
                  </a:lnTo>
                  <a:lnTo>
                    <a:pt x="29" y="18"/>
                  </a:lnTo>
                  <a:lnTo>
                    <a:pt x="29" y="21"/>
                  </a:lnTo>
                  <a:lnTo>
                    <a:pt x="26" y="22"/>
                  </a:lnTo>
                  <a:lnTo>
                    <a:pt x="17" y="23"/>
                  </a:lnTo>
                  <a:lnTo>
                    <a:pt x="16" y="28"/>
                  </a:lnTo>
                  <a:lnTo>
                    <a:pt x="15" y="28"/>
                  </a:lnTo>
                  <a:lnTo>
                    <a:pt x="12" y="25"/>
                  </a:lnTo>
                  <a:lnTo>
                    <a:pt x="10" y="19"/>
                  </a:lnTo>
                  <a:lnTo>
                    <a:pt x="9" y="18"/>
                  </a:lnTo>
                  <a:lnTo>
                    <a:pt x="6" y="16"/>
                  </a:lnTo>
                  <a:lnTo>
                    <a:pt x="1" y="9"/>
                  </a:lnTo>
                  <a:lnTo>
                    <a:pt x="0" y="7"/>
                  </a:lnTo>
                  <a:lnTo>
                    <a:pt x="0" y="6"/>
                  </a:lnTo>
                  <a:lnTo>
                    <a:pt x="0" y="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23" name="Freeform 1653"/>
            <p:cNvSpPr>
              <a:spLocks/>
            </p:cNvSpPr>
            <p:nvPr/>
          </p:nvSpPr>
          <p:spPr bwMode="auto">
            <a:xfrm>
              <a:off x="6289263" y="3060643"/>
              <a:ext cx="26334" cy="29410"/>
            </a:xfrm>
            <a:custGeom>
              <a:avLst/>
              <a:gdLst/>
              <a:ahLst/>
              <a:cxnLst>
                <a:cxn ang="0">
                  <a:pos x="0" y="5"/>
                </a:cxn>
                <a:cxn ang="0">
                  <a:pos x="0" y="2"/>
                </a:cxn>
                <a:cxn ang="0">
                  <a:pos x="3" y="2"/>
                </a:cxn>
                <a:cxn ang="0">
                  <a:pos x="3" y="0"/>
                </a:cxn>
                <a:cxn ang="0">
                  <a:pos x="4" y="0"/>
                </a:cxn>
                <a:cxn ang="0">
                  <a:pos x="9" y="2"/>
                </a:cxn>
                <a:cxn ang="0">
                  <a:pos x="10" y="3"/>
                </a:cxn>
                <a:cxn ang="0">
                  <a:pos x="12" y="5"/>
                </a:cxn>
                <a:cxn ang="0">
                  <a:pos x="13" y="6"/>
                </a:cxn>
                <a:cxn ang="0">
                  <a:pos x="15" y="12"/>
                </a:cxn>
                <a:cxn ang="0">
                  <a:pos x="19" y="13"/>
                </a:cxn>
                <a:cxn ang="0">
                  <a:pos x="22" y="12"/>
                </a:cxn>
                <a:cxn ang="0">
                  <a:pos x="26" y="13"/>
                </a:cxn>
                <a:cxn ang="0">
                  <a:pos x="28" y="13"/>
                </a:cxn>
                <a:cxn ang="0">
                  <a:pos x="29" y="16"/>
                </a:cxn>
                <a:cxn ang="0">
                  <a:pos x="29" y="18"/>
                </a:cxn>
                <a:cxn ang="0">
                  <a:pos x="29" y="21"/>
                </a:cxn>
                <a:cxn ang="0">
                  <a:pos x="26" y="22"/>
                </a:cxn>
                <a:cxn ang="0">
                  <a:pos x="17" y="23"/>
                </a:cxn>
                <a:cxn ang="0">
                  <a:pos x="16" y="28"/>
                </a:cxn>
                <a:cxn ang="0">
                  <a:pos x="15" y="28"/>
                </a:cxn>
                <a:cxn ang="0">
                  <a:pos x="12" y="25"/>
                </a:cxn>
                <a:cxn ang="0">
                  <a:pos x="10" y="19"/>
                </a:cxn>
                <a:cxn ang="0">
                  <a:pos x="9" y="18"/>
                </a:cxn>
                <a:cxn ang="0">
                  <a:pos x="6" y="16"/>
                </a:cxn>
                <a:cxn ang="0">
                  <a:pos x="1" y="9"/>
                </a:cxn>
                <a:cxn ang="0">
                  <a:pos x="0" y="7"/>
                </a:cxn>
                <a:cxn ang="0">
                  <a:pos x="0" y="6"/>
                </a:cxn>
                <a:cxn ang="0">
                  <a:pos x="0" y="5"/>
                </a:cxn>
              </a:cxnLst>
              <a:rect l="0" t="0" r="r" b="b"/>
              <a:pathLst>
                <a:path w="29" h="28">
                  <a:moveTo>
                    <a:pt x="0" y="5"/>
                  </a:moveTo>
                  <a:lnTo>
                    <a:pt x="0" y="2"/>
                  </a:lnTo>
                  <a:lnTo>
                    <a:pt x="3" y="2"/>
                  </a:lnTo>
                  <a:lnTo>
                    <a:pt x="3" y="0"/>
                  </a:lnTo>
                  <a:lnTo>
                    <a:pt x="4" y="0"/>
                  </a:lnTo>
                  <a:lnTo>
                    <a:pt x="9" y="2"/>
                  </a:lnTo>
                  <a:lnTo>
                    <a:pt x="10" y="3"/>
                  </a:lnTo>
                  <a:lnTo>
                    <a:pt x="12" y="5"/>
                  </a:lnTo>
                  <a:lnTo>
                    <a:pt x="13" y="6"/>
                  </a:lnTo>
                  <a:lnTo>
                    <a:pt x="15" y="12"/>
                  </a:lnTo>
                  <a:lnTo>
                    <a:pt x="19" y="13"/>
                  </a:lnTo>
                  <a:lnTo>
                    <a:pt x="22" y="12"/>
                  </a:lnTo>
                  <a:lnTo>
                    <a:pt x="26" y="13"/>
                  </a:lnTo>
                  <a:lnTo>
                    <a:pt x="28" y="13"/>
                  </a:lnTo>
                  <a:lnTo>
                    <a:pt x="29" y="16"/>
                  </a:lnTo>
                  <a:lnTo>
                    <a:pt x="29" y="18"/>
                  </a:lnTo>
                  <a:lnTo>
                    <a:pt x="29" y="21"/>
                  </a:lnTo>
                  <a:lnTo>
                    <a:pt x="26" y="22"/>
                  </a:lnTo>
                  <a:lnTo>
                    <a:pt x="17" y="23"/>
                  </a:lnTo>
                  <a:lnTo>
                    <a:pt x="16" y="28"/>
                  </a:lnTo>
                  <a:lnTo>
                    <a:pt x="15" y="28"/>
                  </a:lnTo>
                  <a:lnTo>
                    <a:pt x="12" y="25"/>
                  </a:lnTo>
                  <a:lnTo>
                    <a:pt x="10" y="19"/>
                  </a:lnTo>
                  <a:lnTo>
                    <a:pt x="9" y="18"/>
                  </a:lnTo>
                  <a:lnTo>
                    <a:pt x="6" y="16"/>
                  </a:lnTo>
                  <a:lnTo>
                    <a:pt x="1" y="9"/>
                  </a:lnTo>
                  <a:lnTo>
                    <a:pt x="0" y="7"/>
                  </a:lnTo>
                  <a:lnTo>
                    <a:pt x="0" y="6"/>
                  </a:lnTo>
                  <a:lnTo>
                    <a:pt x="0" y="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24" name="Freeform 1654"/>
            <p:cNvSpPr>
              <a:spLocks/>
            </p:cNvSpPr>
            <p:nvPr/>
          </p:nvSpPr>
          <p:spPr bwMode="auto">
            <a:xfrm>
              <a:off x="6560504" y="3416603"/>
              <a:ext cx="17556" cy="74031"/>
            </a:xfrm>
            <a:custGeom>
              <a:avLst/>
              <a:gdLst/>
              <a:ahLst/>
              <a:cxnLst>
                <a:cxn ang="0">
                  <a:pos x="15" y="65"/>
                </a:cxn>
                <a:cxn ang="0">
                  <a:pos x="15" y="65"/>
                </a:cxn>
                <a:cxn ang="0">
                  <a:pos x="15" y="65"/>
                </a:cxn>
                <a:cxn ang="0">
                  <a:pos x="13" y="68"/>
                </a:cxn>
                <a:cxn ang="0">
                  <a:pos x="12" y="68"/>
                </a:cxn>
                <a:cxn ang="0">
                  <a:pos x="12" y="68"/>
                </a:cxn>
                <a:cxn ang="0">
                  <a:pos x="10" y="68"/>
                </a:cxn>
                <a:cxn ang="0">
                  <a:pos x="10" y="67"/>
                </a:cxn>
                <a:cxn ang="0">
                  <a:pos x="10" y="64"/>
                </a:cxn>
                <a:cxn ang="0">
                  <a:pos x="10" y="62"/>
                </a:cxn>
                <a:cxn ang="0">
                  <a:pos x="10" y="61"/>
                </a:cxn>
                <a:cxn ang="0">
                  <a:pos x="7" y="58"/>
                </a:cxn>
                <a:cxn ang="0">
                  <a:pos x="6" y="52"/>
                </a:cxn>
                <a:cxn ang="0">
                  <a:pos x="6" y="52"/>
                </a:cxn>
                <a:cxn ang="0">
                  <a:pos x="2" y="40"/>
                </a:cxn>
                <a:cxn ang="0">
                  <a:pos x="2" y="39"/>
                </a:cxn>
                <a:cxn ang="0">
                  <a:pos x="2" y="37"/>
                </a:cxn>
                <a:cxn ang="0">
                  <a:pos x="5" y="33"/>
                </a:cxn>
                <a:cxn ang="0">
                  <a:pos x="6" y="30"/>
                </a:cxn>
                <a:cxn ang="0">
                  <a:pos x="5" y="16"/>
                </a:cxn>
                <a:cxn ang="0">
                  <a:pos x="6" y="13"/>
                </a:cxn>
                <a:cxn ang="0">
                  <a:pos x="6" y="11"/>
                </a:cxn>
                <a:cxn ang="0">
                  <a:pos x="5" y="10"/>
                </a:cxn>
                <a:cxn ang="0">
                  <a:pos x="3" y="10"/>
                </a:cxn>
                <a:cxn ang="0">
                  <a:pos x="3" y="10"/>
                </a:cxn>
                <a:cxn ang="0">
                  <a:pos x="0" y="5"/>
                </a:cxn>
                <a:cxn ang="0">
                  <a:pos x="2" y="1"/>
                </a:cxn>
                <a:cxn ang="0">
                  <a:pos x="2" y="0"/>
                </a:cxn>
                <a:cxn ang="0">
                  <a:pos x="6" y="1"/>
                </a:cxn>
                <a:cxn ang="0">
                  <a:pos x="9" y="4"/>
                </a:cxn>
                <a:cxn ang="0">
                  <a:pos x="12" y="17"/>
                </a:cxn>
                <a:cxn ang="0">
                  <a:pos x="12" y="21"/>
                </a:cxn>
                <a:cxn ang="0">
                  <a:pos x="12" y="23"/>
                </a:cxn>
                <a:cxn ang="0">
                  <a:pos x="15" y="26"/>
                </a:cxn>
                <a:cxn ang="0">
                  <a:pos x="16" y="27"/>
                </a:cxn>
                <a:cxn ang="0">
                  <a:pos x="16" y="29"/>
                </a:cxn>
                <a:cxn ang="0">
                  <a:pos x="12" y="42"/>
                </a:cxn>
                <a:cxn ang="0">
                  <a:pos x="12" y="43"/>
                </a:cxn>
                <a:cxn ang="0">
                  <a:pos x="13" y="45"/>
                </a:cxn>
                <a:cxn ang="0">
                  <a:pos x="15" y="58"/>
                </a:cxn>
                <a:cxn ang="0">
                  <a:pos x="15" y="56"/>
                </a:cxn>
                <a:cxn ang="0">
                  <a:pos x="15" y="58"/>
                </a:cxn>
                <a:cxn ang="0">
                  <a:pos x="15" y="59"/>
                </a:cxn>
                <a:cxn ang="0">
                  <a:pos x="15" y="61"/>
                </a:cxn>
                <a:cxn ang="0">
                  <a:pos x="16" y="61"/>
                </a:cxn>
                <a:cxn ang="0">
                  <a:pos x="18" y="62"/>
                </a:cxn>
                <a:cxn ang="0">
                  <a:pos x="19" y="68"/>
                </a:cxn>
                <a:cxn ang="0">
                  <a:pos x="19" y="69"/>
                </a:cxn>
                <a:cxn ang="0">
                  <a:pos x="19" y="71"/>
                </a:cxn>
                <a:cxn ang="0">
                  <a:pos x="19" y="69"/>
                </a:cxn>
                <a:cxn ang="0">
                  <a:pos x="18" y="68"/>
                </a:cxn>
                <a:cxn ang="0">
                  <a:pos x="16" y="67"/>
                </a:cxn>
                <a:cxn ang="0">
                  <a:pos x="15" y="65"/>
                </a:cxn>
              </a:cxnLst>
              <a:rect l="0" t="0" r="r" b="b"/>
              <a:pathLst>
                <a:path w="19" h="71">
                  <a:moveTo>
                    <a:pt x="15" y="65"/>
                  </a:moveTo>
                  <a:lnTo>
                    <a:pt x="15" y="65"/>
                  </a:lnTo>
                  <a:lnTo>
                    <a:pt x="15" y="65"/>
                  </a:lnTo>
                  <a:lnTo>
                    <a:pt x="13" y="68"/>
                  </a:lnTo>
                  <a:lnTo>
                    <a:pt x="12" y="68"/>
                  </a:lnTo>
                  <a:lnTo>
                    <a:pt x="12" y="68"/>
                  </a:lnTo>
                  <a:lnTo>
                    <a:pt x="10" y="68"/>
                  </a:lnTo>
                  <a:lnTo>
                    <a:pt x="10" y="67"/>
                  </a:lnTo>
                  <a:lnTo>
                    <a:pt x="10" y="64"/>
                  </a:lnTo>
                  <a:lnTo>
                    <a:pt x="10" y="62"/>
                  </a:lnTo>
                  <a:lnTo>
                    <a:pt x="10" y="61"/>
                  </a:lnTo>
                  <a:lnTo>
                    <a:pt x="7" y="58"/>
                  </a:lnTo>
                  <a:lnTo>
                    <a:pt x="6" y="52"/>
                  </a:lnTo>
                  <a:lnTo>
                    <a:pt x="6" y="52"/>
                  </a:lnTo>
                  <a:lnTo>
                    <a:pt x="2" y="40"/>
                  </a:lnTo>
                  <a:lnTo>
                    <a:pt x="2" y="39"/>
                  </a:lnTo>
                  <a:lnTo>
                    <a:pt x="2" y="37"/>
                  </a:lnTo>
                  <a:lnTo>
                    <a:pt x="5" y="33"/>
                  </a:lnTo>
                  <a:lnTo>
                    <a:pt x="6" y="30"/>
                  </a:lnTo>
                  <a:lnTo>
                    <a:pt x="5" y="16"/>
                  </a:lnTo>
                  <a:lnTo>
                    <a:pt x="6" y="13"/>
                  </a:lnTo>
                  <a:lnTo>
                    <a:pt x="6" y="11"/>
                  </a:lnTo>
                  <a:lnTo>
                    <a:pt x="5" y="10"/>
                  </a:lnTo>
                  <a:lnTo>
                    <a:pt x="3" y="10"/>
                  </a:lnTo>
                  <a:lnTo>
                    <a:pt x="3" y="10"/>
                  </a:lnTo>
                  <a:lnTo>
                    <a:pt x="0" y="5"/>
                  </a:lnTo>
                  <a:lnTo>
                    <a:pt x="2" y="1"/>
                  </a:lnTo>
                  <a:lnTo>
                    <a:pt x="2" y="0"/>
                  </a:lnTo>
                  <a:lnTo>
                    <a:pt x="6" y="1"/>
                  </a:lnTo>
                  <a:lnTo>
                    <a:pt x="9" y="4"/>
                  </a:lnTo>
                  <a:lnTo>
                    <a:pt x="12" y="17"/>
                  </a:lnTo>
                  <a:lnTo>
                    <a:pt x="12" y="21"/>
                  </a:lnTo>
                  <a:lnTo>
                    <a:pt x="12" y="23"/>
                  </a:lnTo>
                  <a:lnTo>
                    <a:pt x="15" y="26"/>
                  </a:lnTo>
                  <a:lnTo>
                    <a:pt x="16" y="27"/>
                  </a:lnTo>
                  <a:lnTo>
                    <a:pt x="16" y="29"/>
                  </a:lnTo>
                  <a:lnTo>
                    <a:pt x="12" y="42"/>
                  </a:lnTo>
                  <a:lnTo>
                    <a:pt x="12" y="43"/>
                  </a:lnTo>
                  <a:lnTo>
                    <a:pt x="13" y="45"/>
                  </a:lnTo>
                  <a:lnTo>
                    <a:pt x="15" y="58"/>
                  </a:lnTo>
                  <a:lnTo>
                    <a:pt x="15" y="56"/>
                  </a:lnTo>
                  <a:lnTo>
                    <a:pt x="15" y="58"/>
                  </a:lnTo>
                  <a:lnTo>
                    <a:pt x="15" y="59"/>
                  </a:lnTo>
                  <a:lnTo>
                    <a:pt x="15" y="61"/>
                  </a:lnTo>
                  <a:lnTo>
                    <a:pt x="16" y="61"/>
                  </a:lnTo>
                  <a:lnTo>
                    <a:pt x="18" y="62"/>
                  </a:lnTo>
                  <a:lnTo>
                    <a:pt x="19" y="68"/>
                  </a:lnTo>
                  <a:lnTo>
                    <a:pt x="19" y="69"/>
                  </a:lnTo>
                  <a:lnTo>
                    <a:pt x="19" y="71"/>
                  </a:lnTo>
                  <a:lnTo>
                    <a:pt x="19" y="69"/>
                  </a:lnTo>
                  <a:lnTo>
                    <a:pt x="18" y="68"/>
                  </a:lnTo>
                  <a:lnTo>
                    <a:pt x="16" y="67"/>
                  </a:lnTo>
                  <a:lnTo>
                    <a:pt x="15" y="65"/>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25" name="Freeform 1655"/>
            <p:cNvSpPr>
              <a:spLocks/>
            </p:cNvSpPr>
            <p:nvPr/>
          </p:nvSpPr>
          <p:spPr bwMode="auto">
            <a:xfrm>
              <a:off x="6560504" y="3416603"/>
              <a:ext cx="17556" cy="74031"/>
            </a:xfrm>
            <a:custGeom>
              <a:avLst/>
              <a:gdLst/>
              <a:ahLst/>
              <a:cxnLst>
                <a:cxn ang="0">
                  <a:pos x="15" y="65"/>
                </a:cxn>
                <a:cxn ang="0">
                  <a:pos x="15" y="65"/>
                </a:cxn>
                <a:cxn ang="0">
                  <a:pos x="15" y="65"/>
                </a:cxn>
                <a:cxn ang="0">
                  <a:pos x="13" y="68"/>
                </a:cxn>
                <a:cxn ang="0">
                  <a:pos x="12" y="68"/>
                </a:cxn>
                <a:cxn ang="0">
                  <a:pos x="12" y="68"/>
                </a:cxn>
                <a:cxn ang="0">
                  <a:pos x="10" y="68"/>
                </a:cxn>
                <a:cxn ang="0">
                  <a:pos x="10" y="67"/>
                </a:cxn>
                <a:cxn ang="0">
                  <a:pos x="10" y="64"/>
                </a:cxn>
                <a:cxn ang="0">
                  <a:pos x="10" y="62"/>
                </a:cxn>
                <a:cxn ang="0">
                  <a:pos x="10" y="61"/>
                </a:cxn>
                <a:cxn ang="0">
                  <a:pos x="7" y="58"/>
                </a:cxn>
                <a:cxn ang="0">
                  <a:pos x="6" y="52"/>
                </a:cxn>
                <a:cxn ang="0">
                  <a:pos x="6" y="52"/>
                </a:cxn>
                <a:cxn ang="0">
                  <a:pos x="2" y="40"/>
                </a:cxn>
                <a:cxn ang="0">
                  <a:pos x="2" y="39"/>
                </a:cxn>
                <a:cxn ang="0">
                  <a:pos x="2" y="37"/>
                </a:cxn>
                <a:cxn ang="0">
                  <a:pos x="5" y="33"/>
                </a:cxn>
                <a:cxn ang="0">
                  <a:pos x="6" y="30"/>
                </a:cxn>
                <a:cxn ang="0">
                  <a:pos x="5" y="16"/>
                </a:cxn>
                <a:cxn ang="0">
                  <a:pos x="6" y="13"/>
                </a:cxn>
                <a:cxn ang="0">
                  <a:pos x="6" y="11"/>
                </a:cxn>
                <a:cxn ang="0">
                  <a:pos x="5" y="10"/>
                </a:cxn>
                <a:cxn ang="0">
                  <a:pos x="3" y="10"/>
                </a:cxn>
                <a:cxn ang="0">
                  <a:pos x="3" y="10"/>
                </a:cxn>
                <a:cxn ang="0">
                  <a:pos x="0" y="5"/>
                </a:cxn>
                <a:cxn ang="0">
                  <a:pos x="2" y="1"/>
                </a:cxn>
                <a:cxn ang="0">
                  <a:pos x="2" y="0"/>
                </a:cxn>
                <a:cxn ang="0">
                  <a:pos x="6" y="1"/>
                </a:cxn>
                <a:cxn ang="0">
                  <a:pos x="9" y="4"/>
                </a:cxn>
                <a:cxn ang="0">
                  <a:pos x="12" y="17"/>
                </a:cxn>
                <a:cxn ang="0">
                  <a:pos x="12" y="21"/>
                </a:cxn>
                <a:cxn ang="0">
                  <a:pos x="12" y="23"/>
                </a:cxn>
                <a:cxn ang="0">
                  <a:pos x="15" y="26"/>
                </a:cxn>
                <a:cxn ang="0">
                  <a:pos x="16" y="27"/>
                </a:cxn>
                <a:cxn ang="0">
                  <a:pos x="16" y="29"/>
                </a:cxn>
                <a:cxn ang="0">
                  <a:pos x="12" y="42"/>
                </a:cxn>
                <a:cxn ang="0">
                  <a:pos x="12" y="43"/>
                </a:cxn>
                <a:cxn ang="0">
                  <a:pos x="13" y="45"/>
                </a:cxn>
                <a:cxn ang="0">
                  <a:pos x="15" y="58"/>
                </a:cxn>
                <a:cxn ang="0">
                  <a:pos x="15" y="56"/>
                </a:cxn>
                <a:cxn ang="0">
                  <a:pos x="15" y="58"/>
                </a:cxn>
                <a:cxn ang="0">
                  <a:pos x="15" y="59"/>
                </a:cxn>
                <a:cxn ang="0">
                  <a:pos x="15" y="61"/>
                </a:cxn>
                <a:cxn ang="0">
                  <a:pos x="16" y="61"/>
                </a:cxn>
                <a:cxn ang="0">
                  <a:pos x="18" y="62"/>
                </a:cxn>
                <a:cxn ang="0">
                  <a:pos x="19" y="68"/>
                </a:cxn>
                <a:cxn ang="0">
                  <a:pos x="19" y="69"/>
                </a:cxn>
                <a:cxn ang="0">
                  <a:pos x="19" y="71"/>
                </a:cxn>
                <a:cxn ang="0">
                  <a:pos x="19" y="69"/>
                </a:cxn>
                <a:cxn ang="0">
                  <a:pos x="18" y="68"/>
                </a:cxn>
                <a:cxn ang="0">
                  <a:pos x="16" y="67"/>
                </a:cxn>
                <a:cxn ang="0">
                  <a:pos x="15" y="65"/>
                </a:cxn>
              </a:cxnLst>
              <a:rect l="0" t="0" r="r" b="b"/>
              <a:pathLst>
                <a:path w="19" h="71">
                  <a:moveTo>
                    <a:pt x="15" y="65"/>
                  </a:moveTo>
                  <a:lnTo>
                    <a:pt x="15" y="65"/>
                  </a:lnTo>
                  <a:lnTo>
                    <a:pt x="15" y="65"/>
                  </a:lnTo>
                  <a:lnTo>
                    <a:pt x="13" y="68"/>
                  </a:lnTo>
                  <a:lnTo>
                    <a:pt x="12" y="68"/>
                  </a:lnTo>
                  <a:lnTo>
                    <a:pt x="12" y="68"/>
                  </a:lnTo>
                  <a:lnTo>
                    <a:pt x="10" y="68"/>
                  </a:lnTo>
                  <a:lnTo>
                    <a:pt x="10" y="67"/>
                  </a:lnTo>
                  <a:lnTo>
                    <a:pt x="10" y="64"/>
                  </a:lnTo>
                  <a:lnTo>
                    <a:pt x="10" y="62"/>
                  </a:lnTo>
                  <a:lnTo>
                    <a:pt x="10" y="61"/>
                  </a:lnTo>
                  <a:lnTo>
                    <a:pt x="7" y="58"/>
                  </a:lnTo>
                  <a:lnTo>
                    <a:pt x="6" y="52"/>
                  </a:lnTo>
                  <a:lnTo>
                    <a:pt x="6" y="52"/>
                  </a:lnTo>
                  <a:lnTo>
                    <a:pt x="2" y="40"/>
                  </a:lnTo>
                  <a:lnTo>
                    <a:pt x="2" y="39"/>
                  </a:lnTo>
                  <a:lnTo>
                    <a:pt x="2" y="37"/>
                  </a:lnTo>
                  <a:lnTo>
                    <a:pt x="5" y="33"/>
                  </a:lnTo>
                  <a:lnTo>
                    <a:pt x="6" y="30"/>
                  </a:lnTo>
                  <a:lnTo>
                    <a:pt x="5" y="16"/>
                  </a:lnTo>
                  <a:lnTo>
                    <a:pt x="6" y="13"/>
                  </a:lnTo>
                  <a:lnTo>
                    <a:pt x="6" y="11"/>
                  </a:lnTo>
                  <a:lnTo>
                    <a:pt x="5" y="10"/>
                  </a:lnTo>
                  <a:lnTo>
                    <a:pt x="3" y="10"/>
                  </a:lnTo>
                  <a:lnTo>
                    <a:pt x="3" y="10"/>
                  </a:lnTo>
                  <a:lnTo>
                    <a:pt x="0" y="5"/>
                  </a:lnTo>
                  <a:lnTo>
                    <a:pt x="2" y="1"/>
                  </a:lnTo>
                  <a:lnTo>
                    <a:pt x="2" y="0"/>
                  </a:lnTo>
                  <a:lnTo>
                    <a:pt x="6" y="1"/>
                  </a:lnTo>
                  <a:lnTo>
                    <a:pt x="9" y="4"/>
                  </a:lnTo>
                  <a:lnTo>
                    <a:pt x="12" y="17"/>
                  </a:lnTo>
                  <a:lnTo>
                    <a:pt x="12" y="21"/>
                  </a:lnTo>
                  <a:lnTo>
                    <a:pt x="12" y="23"/>
                  </a:lnTo>
                  <a:lnTo>
                    <a:pt x="15" y="26"/>
                  </a:lnTo>
                  <a:lnTo>
                    <a:pt x="16" y="27"/>
                  </a:lnTo>
                  <a:lnTo>
                    <a:pt x="16" y="29"/>
                  </a:lnTo>
                  <a:lnTo>
                    <a:pt x="12" y="42"/>
                  </a:lnTo>
                  <a:lnTo>
                    <a:pt x="12" y="43"/>
                  </a:lnTo>
                  <a:lnTo>
                    <a:pt x="13" y="45"/>
                  </a:lnTo>
                  <a:lnTo>
                    <a:pt x="15" y="58"/>
                  </a:lnTo>
                  <a:lnTo>
                    <a:pt x="15" y="56"/>
                  </a:lnTo>
                  <a:lnTo>
                    <a:pt x="15" y="58"/>
                  </a:lnTo>
                  <a:lnTo>
                    <a:pt x="15" y="59"/>
                  </a:lnTo>
                  <a:lnTo>
                    <a:pt x="15" y="61"/>
                  </a:lnTo>
                  <a:lnTo>
                    <a:pt x="16" y="61"/>
                  </a:lnTo>
                  <a:lnTo>
                    <a:pt x="18" y="62"/>
                  </a:lnTo>
                  <a:lnTo>
                    <a:pt x="19" y="68"/>
                  </a:lnTo>
                  <a:lnTo>
                    <a:pt x="19" y="69"/>
                  </a:lnTo>
                  <a:lnTo>
                    <a:pt x="19" y="71"/>
                  </a:lnTo>
                  <a:lnTo>
                    <a:pt x="19" y="69"/>
                  </a:lnTo>
                  <a:lnTo>
                    <a:pt x="18" y="68"/>
                  </a:lnTo>
                  <a:lnTo>
                    <a:pt x="16" y="67"/>
                  </a:lnTo>
                  <a:lnTo>
                    <a:pt x="15" y="65"/>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26" name="Freeform 1656"/>
            <p:cNvSpPr>
              <a:spLocks/>
            </p:cNvSpPr>
            <p:nvPr/>
          </p:nvSpPr>
          <p:spPr bwMode="auto">
            <a:xfrm>
              <a:off x="6499057" y="3324318"/>
              <a:ext cx="26334" cy="80117"/>
            </a:xfrm>
            <a:custGeom>
              <a:avLst/>
              <a:gdLst/>
              <a:ahLst/>
              <a:cxnLst>
                <a:cxn ang="0">
                  <a:pos x="18" y="60"/>
                </a:cxn>
                <a:cxn ang="0">
                  <a:pos x="15" y="57"/>
                </a:cxn>
                <a:cxn ang="0">
                  <a:pos x="12" y="55"/>
                </a:cxn>
                <a:cxn ang="0">
                  <a:pos x="6" y="49"/>
                </a:cxn>
                <a:cxn ang="0">
                  <a:pos x="5" y="45"/>
                </a:cxn>
                <a:cxn ang="0">
                  <a:pos x="3" y="44"/>
                </a:cxn>
                <a:cxn ang="0">
                  <a:pos x="3" y="39"/>
                </a:cxn>
                <a:cxn ang="0">
                  <a:pos x="3" y="33"/>
                </a:cxn>
                <a:cxn ang="0">
                  <a:pos x="0" y="25"/>
                </a:cxn>
                <a:cxn ang="0">
                  <a:pos x="2" y="15"/>
                </a:cxn>
                <a:cxn ang="0">
                  <a:pos x="2" y="13"/>
                </a:cxn>
                <a:cxn ang="0">
                  <a:pos x="0" y="13"/>
                </a:cxn>
                <a:cxn ang="0">
                  <a:pos x="3" y="0"/>
                </a:cxn>
                <a:cxn ang="0">
                  <a:pos x="3" y="1"/>
                </a:cxn>
                <a:cxn ang="0">
                  <a:pos x="5" y="12"/>
                </a:cxn>
                <a:cxn ang="0">
                  <a:pos x="8" y="15"/>
                </a:cxn>
                <a:cxn ang="0">
                  <a:pos x="8" y="23"/>
                </a:cxn>
                <a:cxn ang="0">
                  <a:pos x="9" y="25"/>
                </a:cxn>
                <a:cxn ang="0">
                  <a:pos x="11" y="26"/>
                </a:cxn>
                <a:cxn ang="0">
                  <a:pos x="12" y="36"/>
                </a:cxn>
                <a:cxn ang="0">
                  <a:pos x="11" y="38"/>
                </a:cxn>
                <a:cxn ang="0">
                  <a:pos x="9" y="41"/>
                </a:cxn>
                <a:cxn ang="0">
                  <a:pos x="11" y="44"/>
                </a:cxn>
                <a:cxn ang="0">
                  <a:pos x="16" y="47"/>
                </a:cxn>
                <a:cxn ang="0">
                  <a:pos x="21" y="52"/>
                </a:cxn>
                <a:cxn ang="0">
                  <a:pos x="21" y="58"/>
                </a:cxn>
                <a:cxn ang="0">
                  <a:pos x="29" y="74"/>
                </a:cxn>
                <a:cxn ang="0">
                  <a:pos x="27" y="77"/>
                </a:cxn>
                <a:cxn ang="0">
                  <a:pos x="24" y="76"/>
                </a:cxn>
                <a:cxn ang="0">
                  <a:pos x="22" y="76"/>
                </a:cxn>
                <a:cxn ang="0">
                  <a:pos x="21" y="74"/>
                </a:cxn>
                <a:cxn ang="0">
                  <a:pos x="21" y="73"/>
                </a:cxn>
                <a:cxn ang="0">
                  <a:pos x="21" y="71"/>
                </a:cxn>
                <a:cxn ang="0">
                  <a:pos x="18" y="60"/>
                </a:cxn>
              </a:cxnLst>
              <a:rect l="0" t="0" r="r" b="b"/>
              <a:pathLst>
                <a:path w="29" h="77">
                  <a:moveTo>
                    <a:pt x="18" y="60"/>
                  </a:moveTo>
                  <a:lnTo>
                    <a:pt x="15" y="57"/>
                  </a:lnTo>
                  <a:lnTo>
                    <a:pt x="12" y="55"/>
                  </a:lnTo>
                  <a:lnTo>
                    <a:pt x="6" y="49"/>
                  </a:lnTo>
                  <a:lnTo>
                    <a:pt x="5" y="45"/>
                  </a:lnTo>
                  <a:lnTo>
                    <a:pt x="3" y="44"/>
                  </a:lnTo>
                  <a:lnTo>
                    <a:pt x="3" y="39"/>
                  </a:lnTo>
                  <a:lnTo>
                    <a:pt x="3" y="33"/>
                  </a:lnTo>
                  <a:lnTo>
                    <a:pt x="0" y="25"/>
                  </a:lnTo>
                  <a:lnTo>
                    <a:pt x="2" y="15"/>
                  </a:lnTo>
                  <a:lnTo>
                    <a:pt x="2" y="13"/>
                  </a:lnTo>
                  <a:lnTo>
                    <a:pt x="0" y="13"/>
                  </a:lnTo>
                  <a:lnTo>
                    <a:pt x="3" y="0"/>
                  </a:lnTo>
                  <a:lnTo>
                    <a:pt x="3" y="1"/>
                  </a:lnTo>
                  <a:lnTo>
                    <a:pt x="5" y="12"/>
                  </a:lnTo>
                  <a:lnTo>
                    <a:pt x="8" y="15"/>
                  </a:lnTo>
                  <a:lnTo>
                    <a:pt x="8" y="23"/>
                  </a:lnTo>
                  <a:lnTo>
                    <a:pt x="9" y="25"/>
                  </a:lnTo>
                  <a:lnTo>
                    <a:pt x="11" y="26"/>
                  </a:lnTo>
                  <a:lnTo>
                    <a:pt x="12" y="36"/>
                  </a:lnTo>
                  <a:lnTo>
                    <a:pt x="11" y="38"/>
                  </a:lnTo>
                  <a:lnTo>
                    <a:pt x="9" y="41"/>
                  </a:lnTo>
                  <a:lnTo>
                    <a:pt x="11" y="44"/>
                  </a:lnTo>
                  <a:lnTo>
                    <a:pt x="16" y="47"/>
                  </a:lnTo>
                  <a:lnTo>
                    <a:pt x="21" y="52"/>
                  </a:lnTo>
                  <a:lnTo>
                    <a:pt x="21" y="58"/>
                  </a:lnTo>
                  <a:lnTo>
                    <a:pt x="29" y="74"/>
                  </a:lnTo>
                  <a:lnTo>
                    <a:pt x="27" y="77"/>
                  </a:lnTo>
                  <a:lnTo>
                    <a:pt x="24" y="76"/>
                  </a:lnTo>
                  <a:lnTo>
                    <a:pt x="22" y="76"/>
                  </a:lnTo>
                  <a:lnTo>
                    <a:pt x="21" y="74"/>
                  </a:lnTo>
                  <a:lnTo>
                    <a:pt x="21" y="73"/>
                  </a:lnTo>
                  <a:lnTo>
                    <a:pt x="21" y="71"/>
                  </a:lnTo>
                  <a:lnTo>
                    <a:pt x="18" y="6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27" name="Freeform 1657"/>
            <p:cNvSpPr>
              <a:spLocks/>
            </p:cNvSpPr>
            <p:nvPr/>
          </p:nvSpPr>
          <p:spPr bwMode="auto">
            <a:xfrm>
              <a:off x="6499057" y="3324318"/>
              <a:ext cx="26334" cy="80117"/>
            </a:xfrm>
            <a:custGeom>
              <a:avLst/>
              <a:gdLst/>
              <a:ahLst/>
              <a:cxnLst>
                <a:cxn ang="0">
                  <a:pos x="18" y="60"/>
                </a:cxn>
                <a:cxn ang="0">
                  <a:pos x="15" y="57"/>
                </a:cxn>
                <a:cxn ang="0">
                  <a:pos x="12" y="55"/>
                </a:cxn>
                <a:cxn ang="0">
                  <a:pos x="6" y="49"/>
                </a:cxn>
                <a:cxn ang="0">
                  <a:pos x="5" y="45"/>
                </a:cxn>
                <a:cxn ang="0">
                  <a:pos x="3" y="44"/>
                </a:cxn>
                <a:cxn ang="0">
                  <a:pos x="3" y="39"/>
                </a:cxn>
                <a:cxn ang="0">
                  <a:pos x="3" y="33"/>
                </a:cxn>
                <a:cxn ang="0">
                  <a:pos x="0" y="25"/>
                </a:cxn>
                <a:cxn ang="0">
                  <a:pos x="2" y="15"/>
                </a:cxn>
                <a:cxn ang="0">
                  <a:pos x="2" y="13"/>
                </a:cxn>
                <a:cxn ang="0">
                  <a:pos x="0" y="13"/>
                </a:cxn>
                <a:cxn ang="0">
                  <a:pos x="3" y="0"/>
                </a:cxn>
                <a:cxn ang="0">
                  <a:pos x="3" y="1"/>
                </a:cxn>
                <a:cxn ang="0">
                  <a:pos x="5" y="12"/>
                </a:cxn>
                <a:cxn ang="0">
                  <a:pos x="8" y="15"/>
                </a:cxn>
                <a:cxn ang="0">
                  <a:pos x="8" y="23"/>
                </a:cxn>
                <a:cxn ang="0">
                  <a:pos x="9" y="25"/>
                </a:cxn>
                <a:cxn ang="0">
                  <a:pos x="11" y="26"/>
                </a:cxn>
                <a:cxn ang="0">
                  <a:pos x="12" y="36"/>
                </a:cxn>
                <a:cxn ang="0">
                  <a:pos x="11" y="38"/>
                </a:cxn>
                <a:cxn ang="0">
                  <a:pos x="9" y="41"/>
                </a:cxn>
                <a:cxn ang="0">
                  <a:pos x="11" y="44"/>
                </a:cxn>
                <a:cxn ang="0">
                  <a:pos x="16" y="47"/>
                </a:cxn>
                <a:cxn ang="0">
                  <a:pos x="21" y="52"/>
                </a:cxn>
                <a:cxn ang="0">
                  <a:pos x="21" y="58"/>
                </a:cxn>
                <a:cxn ang="0">
                  <a:pos x="29" y="74"/>
                </a:cxn>
                <a:cxn ang="0">
                  <a:pos x="27" y="77"/>
                </a:cxn>
                <a:cxn ang="0">
                  <a:pos x="24" y="76"/>
                </a:cxn>
                <a:cxn ang="0">
                  <a:pos x="22" y="76"/>
                </a:cxn>
                <a:cxn ang="0">
                  <a:pos x="21" y="74"/>
                </a:cxn>
                <a:cxn ang="0">
                  <a:pos x="21" y="73"/>
                </a:cxn>
                <a:cxn ang="0">
                  <a:pos x="21" y="71"/>
                </a:cxn>
                <a:cxn ang="0">
                  <a:pos x="18" y="60"/>
                </a:cxn>
              </a:cxnLst>
              <a:rect l="0" t="0" r="r" b="b"/>
              <a:pathLst>
                <a:path w="29" h="77">
                  <a:moveTo>
                    <a:pt x="18" y="60"/>
                  </a:moveTo>
                  <a:lnTo>
                    <a:pt x="15" y="57"/>
                  </a:lnTo>
                  <a:lnTo>
                    <a:pt x="12" y="55"/>
                  </a:lnTo>
                  <a:lnTo>
                    <a:pt x="6" y="49"/>
                  </a:lnTo>
                  <a:lnTo>
                    <a:pt x="5" y="45"/>
                  </a:lnTo>
                  <a:lnTo>
                    <a:pt x="3" y="44"/>
                  </a:lnTo>
                  <a:lnTo>
                    <a:pt x="3" y="39"/>
                  </a:lnTo>
                  <a:lnTo>
                    <a:pt x="3" y="33"/>
                  </a:lnTo>
                  <a:lnTo>
                    <a:pt x="0" y="25"/>
                  </a:lnTo>
                  <a:lnTo>
                    <a:pt x="2" y="15"/>
                  </a:lnTo>
                  <a:lnTo>
                    <a:pt x="2" y="13"/>
                  </a:lnTo>
                  <a:lnTo>
                    <a:pt x="0" y="13"/>
                  </a:lnTo>
                  <a:lnTo>
                    <a:pt x="3" y="0"/>
                  </a:lnTo>
                  <a:lnTo>
                    <a:pt x="3" y="1"/>
                  </a:lnTo>
                  <a:lnTo>
                    <a:pt x="5" y="12"/>
                  </a:lnTo>
                  <a:lnTo>
                    <a:pt x="8" y="15"/>
                  </a:lnTo>
                  <a:lnTo>
                    <a:pt x="8" y="23"/>
                  </a:lnTo>
                  <a:lnTo>
                    <a:pt x="9" y="25"/>
                  </a:lnTo>
                  <a:lnTo>
                    <a:pt x="11" y="26"/>
                  </a:lnTo>
                  <a:lnTo>
                    <a:pt x="12" y="36"/>
                  </a:lnTo>
                  <a:lnTo>
                    <a:pt x="11" y="38"/>
                  </a:lnTo>
                  <a:lnTo>
                    <a:pt x="9" y="41"/>
                  </a:lnTo>
                  <a:lnTo>
                    <a:pt x="11" y="44"/>
                  </a:lnTo>
                  <a:lnTo>
                    <a:pt x="16" y="47"/>
                  </a:lnTo>
                  <a:lnTo>
                    <a:pt x="21" y="52"/>
                  </a:lnTo>
                  <a:lnTo>
                    <a:pt x="21" y="58"/>
                  </a:lnTo>
                  <a:lnTo>
                    <a:pt x="29" y="74"/>
                  </a:lnTo>
                  <a:lnTo>
                    <a:pt x="27" y="77"/>
                  </a:lnTo>
                  <a:lnTo>
                    <a:pt x="24" y="76"/>
                  </a:lnTo>
                  <a:lnTo>
                    <a:pt x="22" y="76"/>
                  </a:lnTo>
                  <a:lnTo>
                    <a:pt x="21" y="74"/>
                  </a:lnTo>
                  <a:lnTo>
                    <a:pt x="21" y="73"/>
                  </a:lnTo>
                  <a:lnTo>
                    <a:pt x="21" y="71"/>
                  </a:lnTo>
                  <a:lnTo>
                    <a:pt x="18" y="6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28" name="Freeform 1658"/>
            <p:cNvSpPr>
              <a:spLocks/>
            </p:cNvSpPr>
            <p:nvPr/>
          </p:nvSpPr>
          <p:spPr bwMode="auto">
            <a:xfrm>
              <a:off x="6533290" y="3269554"/>
              <a:ext cx="39501" cy="47664"/>
            </a:xfrm>
            <a:custGeom>
              <a:avLst/>
              <a:gdLst/>
              <a:ahLst/>
              <a:cxnLst>
                <a:cxn ang="0">
                  <a:pos x="3" y="7"/>
                </a:cxn>
                <a:cxn ang="0">
                  <a:pos x="10" y="4"/>
                </a:cxn>
                <a:cxn ang="0">
                  <a:pos x="13" y="4"/>
                </a:cxn>
                <a:cxn ang="0">
                  <a:pos x="14" y="3"/>
                </a:cxn>
                <a:cxn ang="0">
                  <a:pos x="19" y="4"/>
                </a:cxn>
                <a:cxn ang="0">
                  <a:pos x="27" y="3"/>
                </a:cxn>
                <a:cxn ang="0">
                  <a:pos x="32" y="3"/>
                </a:cxn>
                <a:cxn ang="0">
                  <a:pos x="32" y="6"/>
                </a:cxn>
                <a:cxn ang="0">
                  <a:pos x="35" y="10"/>
                </a:cxn>
                <a:cxn ang="0">
                  <a:pos x="39" y="8"/>
                </a:cxn>
                <a:cxn ang="0">
                  <a:pos x="43" y="10"/>
                </a:cxn>
                <a:cxn ang="0">
                  <a:pos x="39" y="13"/>
                </a:cxn>
                <a:cxn ang="0">
                  <a:pos x="33" y="16"/>
                </a:cxn>
                <a:cxn ang="0">
                  <a:pos x="33" y="20"/>
                </a:cxn>
                <a:cxn ang="0">
                  <a:pos x="33" y="23"/>
                </a:cxn>
                <a:cxn ang="0">
                  <a:pos x="32" y="23"/>
                </a:cxn>
                <a:cxn ang="0">
                  <a:pos x="29" y="26"/>
                </a:cxn>
                <a:cxn ang="0">
                  <a:pos x="27" y="29"/>
                </a:cxn>
                <a:cxn ang="0">
                  <a:pos x="26" y="30"/>
                </a:cxn>
                <a:cxn ang="0">
                  <a:pos x="26" y="32"/>
                </a:cxn>
                <a:cxn ang="0">
                  <a:pos x="23" y="35"/>
                </a:cxn>
                <a:cxn ang="0">
                  <a:pos x="29" y="35"/>
                </a:cxn>
                <a:cxn ang="0">
                  <a:pos x="29" y="37"/>
                </a:cxn>
                <a:cxn ang="0">
                  <a:pos x="24" y="40"/>
                </a:cxn>
                <a:cxn ang="0">
                  <a:pos x="19" y="40"/>
                </a:cxn>
                <a:cxn ang="0">
                  <a:pos x="19" y="45"/>
                </a:cxn>
                <a:cxn ang="0">
                  <a:pos x="16" y="40"/>
                </a:cxn>
                <a:cxn ang="0">
                  <a:pos x="13" y="42"/>
                </a:cxn>
                <a:cxn ang="0">
                  <a:pos x="7" y="39"/>
                </a:cxn>
                <a:cxn ang="0">
                  <a:pos x="6" y="40"/>
                </a:cxn>
                <a:cxn ang="0">
                  <a:pos x="3" y="43"/>
                </a:cxn>
                <a:cxn ang="0">
                  <a:pos x="1" y="40"/>
                </a:cxn>
                <a:cxn ang="0">
                  <a:pos x="1" y="19"/>
                </a:cxn>
                <a:cxn ang="0">
                  <a:pos x="4" y="10"/>
                </a:cxn>
              </a:cxnLst>
              <a:rect l="0" t="0" r="r" b="b"/>
              <a:pathLst>
                <a:path w="43" h="46">
                  <a:moveTo>
                    <a:pt x="3" y="8"/>
                  </a:moveTo>
                  <a:lnTo>
                    <a:pt x="3" y="7"/>
                  </a:lnTo>
                  <a:lnTo>
                    <a:pt x="8" y="6"/>
                  </a:lnTo>
                  <a:lnTo>
                    <a:pt x="10" y="4"/>
                  </a:lnTo>
                  <a:lnTo>
                    <a:pt x="11" y="4"/>
                  </a:lnTo>
                  <a:lnTo>
                    <a:pt x="13" y="4"/>
                  </a:lnTo>
                  <a:lnTo>
                    <a:pt x="13" y="3"/>
                  </a:lnTo>
                  <a:lnTo>
                    <a:pt x="14" y="3"/>
                  </a:lnTo>
                  <a:lnTo>
                    <a:pt x="17" y="3"/>
                  </a:lnTo>
                  <a:lnTo>
                    <a:pt x="19" y="4"/>
                  </a:lnTo>
                  <a:lnTo>
                    <a:pt x="23" y="0"/>
                  </a:lnTo>
                  <a:lnTo>
                    <a:pt x="27" y="3"/>
                  </a:lnTo>
                  <a:lnTo>
                    <a:pt x="29" y="1"/>
                  </a:lnTo>
                  <a:lnTo>
                    <a:pt x="32" y="3"/>
                  </a:lnTo>
                  <a:lnTo>
                    <a:pt x="33" y="1"/>
                  </a:lnTo>
                  <a:lnTo>
                    <a:pt x="32" y="6"/>
                  </a:lnTo>
                  <a:lnTo>
                    <a:pt x="35" y="8"/>
                  </a:lnTo>
                  <a:lnTo>
                    <a:pt x="35" y="10"/>
                  </a:lnTo>
                  <a:lnTo>
                    <a:pt x="36" y="10"/>
                  </a:lnTo>
                  <a:lnTo>
                    <a:pt x="39" y="8"/>
                  </a:lnTo>
                  <a:lnTo>
                    <a:pt x="43" y="8"/>
                  </a:lnTo>
                  <a:lnTo>
                    <a:pt x="43" y="10"/>
                  </a:lnTo>
                  <a:lnTo>
                    <a:pt x="40" y="11"/>
                  </a:lnTo>
                  <a:lnTo>
                    <a:pt x="39" y="13"/>
                  </a:lnTo>
                  <a:lnTo>
                    <a:pt x="36" y="13"/>
                  </a:lnTo>
                  <a:lnTo>
                    <a:pt x="33" y="16"/>
                  </a:lnTo>
                  <a:lnTo>
                    <a:pt x="36" y="19"/>
                  </a:lnTo>
                  <a:lnTo>
                    <a:pt x="33" y="20"/>
                  </a:lnTo>
                  <a:lnTo>
                    <a:pt x="32" y="22"/>
                  </a:lnTo>
                  <a:lnTo>
                    <a:pt x="33" y="23"/>
                  </a:lnTo>
                  <a:lnTo>
                    <a:pt x="33" y="24"/>
                  </a:lnTo>
                  <a:lnTo>
                    <a:pt x="32" y="23"/>
                  </a:lnTo>
                  <a:lnTo>
                    <a:pt x="30" y="26"/>
                  </a:lnTo>
                  <a:lnTo>
                    <a:pt x="29" y="26"/>
                  </a:lnTo>
                  <a:lnTo>
                    <a:pt x="29" y="27"/>
                  </a:lnTo>
                  <a:lnTo>
                    <a:pt x="27" y="29"/>
                  </a:lnTo>
                  <a:lnTo>
                    <a:pt x="27" y="30"/>
                  </a:lnTo>
                  <a:lnTo>
                    <a:pt x="26" y="30"/>
                  </a:lnTo>
                  <a:lnTo>
                    <a:pt x="24" y="32"/>
                  </a:lnTo>
                  <a:lnTo>
                    <a:pt x="26" y="32"/>
                  </a:lnTo>
                  <a:lnTo>
                    <a:pt x="23" y="33"/>
                  </a:lnTo>
                  <a:lnTo>
                    <a:pt x="23" y="35"/>
                  </a:lnTo>
                  <a:lnTo>
                    <a:pt x="24" y="36"/>
                  </a:lnTo>
                  <a:lnTo>
                    <a:pt x="29" y="35"/>
                  </a:lnTo>
                  <a:lnTo>
                    <a:pt x="29" y="36"/>
                  </a:lnTo>
                  <a:lnTo>
                    <a:pt x="29" y="37"/>
                  </a:lnTo>
                  <a:lnTo>
                    <a:pt x="26" y="39"/>
                  </a:lnTo>
                  <a:lnTo>
                    <a:pt x="24" y="40"/>
                  </a:lnTo>
                  <a:lnTo>
                    <a:pt x="20" y="40"/>
                  </a:lnTo>
                  <a:lnTo>
                    <a:pt x="19" y="40"/>
                  </a:lnTo>
                  <a:lnTo>
                    <a:pt x="19" y="43"/>
                  </a:lnTo>
                  <a:lnTo>
                    <a:pt x="19" y="45"/>
                  </a:lnTo>
                  <a:lnTo>
                    <a:pt x="17" y="46"/>
                  </a:lnTo>
                  <a:lnTo>
                    <a:pt x="16" y="40"/>
                  </a:lnTo>
                  <a:lnTo>
                    <a:pt x="14" y="40"/>
                  </a:lnTo>
                  <a:lnTo>
                    <a:pt x="13" y="42"/>
                  </a:lnTo>
                  <a:lnTo>
                    <a:pt x="8" y="37"/>
                  </a:lnTo>
                  <a:lnTo>
                    <a:pt x="7" y="39"/>
                  </a:lnTo>
                  <a:lnTo>
                    <a:pt x="7" y="40"/>
                  </a:lnTo>
                  <a:lnTo>
                    <a:pt x="6" y="40"/>
                  </a:lnTo>
                  <a:lnTo>
                    <a:pt x="4" y="43"/>
                  </a:lnTo>
                  <a:lnTo>
                    <a:pt x="3" y="43"/>
                  </a:lnTo>
                  <a:lnTo>
                    <a:pt x="1" y="42"/>
                  </a:lnTo>
                  <a:lnTo>
                    <a:pt x="1" y="40"/>
                  </a:lnTo>
                  <a:lnTo>
                    <a:pt x="0" y="35"/>
                  </a:lnTo>
                  <a:lnTo>
                    <a:pt x="1" y="19"/>
                  </a:lnTo>
                  <a:lnTo>
                    <a:pt x="0" y="17"/>
                  </a:lnTo>
                  <a:lnTo>
                    <a:pt x="4" y="10"/>
                  </a:lnTo>
                  <a:lnTo>
                    <a:pt x="3" y="8"/>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29" name="Freeform 1659"/>
            <p:cNvSpPr>
              <a:spLocks/>
            </p:cNvSpPr>
            <p:nvPr/>
          </p:nvSpPr>
          <p:spPr bwMode="auto">
            <a:xfrm>
              <a:off x="6533290" y="3269554"/>
              <a:ext cx="39501" cy="47664"/>
            </a:xfrm>
            <a:custGeom>
              <a:avLst/>
              <a:gdLst/>
              <a:ahLst/>
              <a:cxnLst>
                <a:cxn ang="0">
                  <a:pos x="3" y="7"/>
                </a:cxn>
                <a:cxn ang="0">
                  <a:pos x="10" y="4"/>
                </a:cxn>
                <a:cxn ang="0">
                  <a:pos x="13" y="4"/>
                </a:cxn>
                <a:cxn ang="0">
                  <a:pos x="14" y="3"/>
                </a:cxn>
                <a:cxn ang="0">
                  <a:pos x="19" y="4"/>
                </a:cxn>
                <a:cxn ang="0">
                  <a:pos x="27" y="3"/>
                </a:cxn>
                <a:cxn ang="0">
                  <a:pos x="32" y="3"/>
                </a:cxn>
                <a:cxn ang="0">
                  <a:pos x="32" y="6"/>
                </a:cxn>
                <a:cxn ang="0">
                  <a:pos x="35" y="10"/>
                </a:cxn>
                <a:cxn ang="0">
                  <a:pos x="39" y="8"/>
                </a:cxn>
                <a:cxn ang="0">
                  <a:pos x="43" y="10"/>
                </a:cxn>
                <a:cxn ang="0">
                  <a:pos x="39" y="13"/>
                </a:cxn>
                <a:cxn ang="0">
                  <a:pos x="33" y="16"/>
                </a:cxn>
                <a:cxn ang="0">
                  <a:pos x="33" y="20"/>
                </a:cxn>
                <a:cxn ang="0">
                  <a:pos x="33" y="23"/>
                </a:cxn>
                <a:cxn ang="0">
                  <a:pos x="32" y="23"/>
                </a:cxn>
                <a:cxn ang="0">
                  <a:pos x="29" y="26"/>
                </a:cxn>
                <a:cxn ang="0">
                  <a:pos x="27" y="29"/>
                </a:cxn>
                <a:cxn ang="0">
                  <a:pos x="26" y="30"/>
                </a:cxn>
                <a:cxn ang="0">
                  <a:pos x="26" y="32"/>
                </a:cxn>
                <a:cxn ang="0">
                  <a:pos x="23" y="35"/>
                </a:cxn>
                <a:cxn ang="0">
                  <a:pos x="29" y="35"/>
                </a:cxn>
                <a:cxn ang="0">
                  <a:pos x="29" y="37"/>
                </a:cxn>
                <a:cxn ang="0">
                  <a:pos x="24" y="40"/>
                </a:cxn>
                <a:cxn ang="0">
                  <a:pos x="19" y="40"/>
                </a:cxn>
                <a:cxn ang="0">
                  <a:pos x="19" y="45"/>
                </a:cxn>
                <a:cxn ang="0">
                  <a:pos x="16" y="40"/>
                </a:cxn>
                <a:cxn ang="0">
                  <a:pos x="13" y="42"/>
                </a:cxn>
                <a:cxn ang="0">
                  <a:pos x="7" y="39"/>
                </a:cxn>
                <a:cxn ang="0">
                  <a:pos x="6" y="40"/>
                </a:cxn>
                <a:cxn ang="0">
                  <a:pos x="3" y="43"/>
                </a:cxn>
                <a:cxn ang="0">
                  <a:pos x="1" y="40"/>
                </a:cxn>
                <a:cxn ang="0">
                  <a:pos x="1" y="19"/>
                </a:cxn>
                <a:cxn ang="0">
                  <a:pos x="4" y="10"/>
                </a:cxn>
              </a:cxnLst>
              <a:rect l="0" t="0" r="r" b="b"/>
              <a:pathLst>
                <a:path w="43" h="46">
                  <a:moveTo>
                    <a:pt x="3" y="8"/>
                  </a:moveTo>
                  <a:lnTo>
                    <a:pt x="3" y="7"/>
                  </a:lnTo>
                  <a:lnTo>
                    <a:pt x="8" y="6"/>
                  </a:lnTo>
                  <a:lnTo>
                    <a:pt x="10" y="4"/>
                  </a:lnTo>
                  <a:lnTo>
                    <a:pt x="11" y="4"/>
                  </a:lnTo>
                  <a:lnTo>
                    <a:pt x="13" y="4"/>
                  </a:lnTo>
                  <a:lnTo>
                    <a:pt x="13" y="3"/>
                  </a:lnTo>
                  <a:lnTo>
                    <a:pt x="14" y="3"/>
                  </a:lnTo>
                  <a:lnTo>
                    <a:pt x="17" y="3"/>
                  </a:lnTo>
                  <a:lnTo>
                    <a:pt x="19" y="4"/>
                  </a:lnTo>
                  <a:lnTo>
                    <a:pt x="23" y="0"/>
                  </a:lnTo>
                  <a:lnTo>
                    <a:pt x="27" y="3"/>
                  </a:lnTo>
                  <a:lnTo>
                    <a:pt x="29" y="1"/>
                  </a:lnTo>
                  <a:lnTo>
                    <a:pt x="32" y="3"/>
                  </a:lnTo>
                  <a:lnTo>
                    <a:pt x="33" y="1"/>
                  </a:lnTo>
                  <a:lnTo>
                    <a:pt x="32" y="6"/>
                  </a:lnTo>
                  <a:lnTo>
                    <a:pt x="35" y="8"/>
                  </a:lnTo>
                  <a:lnTo>
                    <a:pt x="35" y="10"/>
                  </a:lnTo>
                  <a:lnTo>
                    <a:pt x="36" y="10"/>
                  </a:lnTo>
                  <a:lnTo>
                    <a:pt x="39" y="8"/>
                  </a:lnTo>
                  <a:lnTo>
                    <a:pt x="43" y="8"/>
                  </a:lnTo>
                  <a:lnTo>
                    <a:pt x="43" y="10"/>
                  </a:lnTo>
                  <a:lnTo>
                    <a:pt x="40" y="11"/>
                  </a:lnTo>
                  <a:lnTo>
                    <a:pt x="39" y="13"/>
                  </a:lnTo>
                  <a:lnTo>
                    <a:pt x="36" y="13"/>
                  </a:lnTo>
                  <a:lnTo>
                    <a:pt x="33" y="16"/>
                  </a:lnTo>
                  <a:lnTo>
                    <a:pt x="36" y="19"/>
                  </a:lnTo>
                  <a:lnTo>
                    <a:pt x="33" y="20"/>
                  </a:lnTo>
                  <a:lnTo>
                    <a:pt x="32" y="22"/>
                  </a:lnTo>
                  <a:lnTo>
                    <a:pt x="33" y="23"/>
                  </a:lnTo>
                  <a:lnTo>
                    <a:pt x="33" y="24"/>
                  </a:lnTo>
                  <a:lnTo>
                    <a:pt x="32" y="23"/>
                  </a:lnTo>
                  <a:lnTo>
                    <a:pt x="30" y="26"/>
                  </a:lnTo>
                  <a:lnTo>
                    <a:pt x="29" y="26"/>
                  </a:lnTo>
                  <a:lnTo>
                    <a:pt x="29" y="27"/>
                  </a:lnTo>
                  <a:lnTo>
                    <a:pt x="27" y="29"/>
                  </a:lnTo>
                  <a:lnTo>
                    <a:pt x="27" y="30"/>
                  </a:lnTo>
                  <a:lnTo>
                    <a:pt x="26" y="30"/>
                  </a:lnTo>
                  <a:lnTo>
                    <a:pt x="24" y="32"/>
                  </a:lnTo>
                  <a:lnTo>
                    <a:pt x="26" y="32"/>
                  </a:lnTo>
                  <a:lnTo>
                    <a:pt x="23" y="33"/>
                  </a:lnTo>
                  <a:lnTo>
                    <a:pt x="23" y="35"/>
                  </a:lnTo>
                  <a:lnTo>
                    <a:pt x="24" y="36"/>
                  </a:lnTo>
                  <a:lnTo>
                    <a:pt x="29" y="35"/>
                  </a:lnTo>
                  <a:lnTo>
                    <a:pt x="29" y="36"/>
                  </a:lnTo>
                  <a:lnTo>
                    <a:pt x="29" y="37"/>
                  </a:lnTo>
                  <a:lnTo>
                    <a:pt x="26" y="39"/>
                  </a:lnTo>
                  <a:lnTo>
                    <a:pt x="24" y="40"/>
                  </a:lnTo>
                  <a:lnTo>
                    <a:pt x="20" y="40"/>
                  </a:lnTo>
                  <a:lnTo>
                    <a:pt x="19" y="40"/>
                  </a:lnTo>
                  <a:lnTo>
                    <a:pt x="19" y="43"/>
                  </a:lnTo>
                  <a:lnTo>
                    <a:pt x="19" y="45"/>
                  </a:lnTo>
                  <a:lnTo>
                    <a:pt x="17" y="46"/>
                  </a:lnTo>
                  <a:lnTo>
                    <a:pt x="16" y="40"/>
                  </a:lnTo>
                  <a:lnTo>
                    <a:pt x="14" y="40"/>
                  </a:lnTo>
                  <a:lnTo>
                    <a:pt x="13" y="42"/>
                  </a:lnTo>
                  <a:lnTo>
                    <a:pt x="8" y="37"/>
                  </a:lnTo>
                  <a:lnTo>
                    <a:pt x="7" y="39"/>
                  </a:lnTo>
                  <a:lnTo>
                    <a:pt x="7" y="40"/>
                  </a:lnTo>
                  <a:lnTo>
                    <a:pt x="6" y="40"/>
                  </a:lnTo>
                  <a:lnTo>
                    <a:pt x="4" y="43"/>
                  </a:lnTo>
                  <a:lnTo>
                    <a:pt x="3" y="43"/>
                  </a:lnTo>
                  <a:lnTo>
                    <a:pt x="1" y="42"/>
                  </a:lnTo>
                  <a:lnTo>
                    <a:pt x="1" y="40"/>
                  </a:lnTo>
                  <a:lnTo>
                    <a:pt x="0" y="35"/>
                  </a:lnTo>
                  <a:lnTo>
                    <a:pt x="1" y="19"/>
                  </a:lnTo>
                  <a:lnTo>
                    <a:pt x="0" y="17"/>
                  </a:lnTo>
                  <a:lnTo>
                    <a:pt x="4" y="10"/>
                  </a:lnTo>
                  <a:lnTo>
                    <a:pt x="3" y="8"/>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30" name="Freeform 1660"/>
            <p:cNvSpPr>
              <a:spLocks/>
            </p:cNvSpPr>
            <p:nvPr/>
          </p:nvSpPr>
          <p:spPr bwMode="auto">
            <a:xfrm>
              <a:off x="6470090" y="3522073"/>
              <a:ext cx="25457" cy="19269"/>
            </a:xfrm>
            <a:custGeom>
              <a:avLst/>
              <a:gdLst/>
              <a:ahLst/>
              <a:cxnLst>
                <a:cxn ang="0">
                  <a:pos x="27" y="3"/>
                </a:cxn>
                <a:cxn ang="0">
                  <a:pos x="25" y="5"/>
                </a:cxn>
                <a:cxn ang="0">
                  <a:pos x="25" y="5"/>
                </a:cxn>
                <a:cxn ang="0">
                  <a:pos x="22" y="3"/>
                </a:cxn>
                <a:cxn ang="0">
                  <a:pos x="22" y="3"/>
                </a:cxn>
                <a:cxn ang="0">
                  <a:pos x="21" y="5"/>
                </a:cxn>
                <a:cxn ang="0">
                  <a:pos x="21" y="5"/>
                </a:cxn>
                <a:cxn ang="0">
                  <a:pos x="19" y="5"/>
                </a:cxn>
                <a:cxn ang="0">
                  <a:pos x="19" y="5"/>
                </a:cxn>
                <a:cxn ang="0">
                  <a:pos x="18" y="5"/>
                </a:cxn>
                <a:cxn ang="0">
                  <a:pos x="18" y="5"/>
                </a:cxn>
                <a:cxn ang="0">
                  <a:pos x="16" y="6"/>
                </a:cxn>
                <a:cxn ang="0">
                  <a:pos x="15" y="6"/>
                </a:cxn>
                <a:cxn ang="0">
                  <a:pos x="15" y="8"/>
                </a:cxn>
                <a:cxn ang="0">
                  <a:pos x="15" y="8"/>
                </a:cxn>
                <a:cxn ang="0">
                  <a:pos x="15" y="8"/>
                </a:cxn>
                <a:cxn ang="0">
                  <a:pos x="15" y="9"/>
                </a:cxn>
                <a:cxn ang="0">
                  <a:pos x="15" y="8"/>
                </a:cxn>
                <a:cxn ang="0">
                  <a:pos x="12" y="9"/>
                </a:cxn>
                <a:cxn ang="0">
                  <a:pos x="12" y="11"/>
                </a:cxn>
                <a:cxn ang="0">
                  <a:pos x="12" y="11"/>
                </a:cxn>
                <a:cxn ang="0">
                  <a:pos x="11" y="11"/>
                </a:cxn>
                <a:cxn ang="0">
                  <a:pos x="8" y="13"/>
                </a:cxn>
                <a:cxn ang="0">
                  <a:pos x="6" y="15"/>
                </a:cxn>
                <a:cxn ang="0">
                  <a:pos x="6" y="16"/>
                </a:cxn>
                <a:cxn ang="0">
                  <a:pos x="5" y="16"/>
                </a:cxn>
                <a:cxn ang="0">
                  <a:pos x="3" y="18"/>
                </a:cxn>
                <a:cxn ang="0">
                  <a:pos x="2" y="19"/>
                </a:cxn>
                <a:cxn ang="0">
                  <a:pos x="0" y="19"/>
                </a:cxn>
                <a:cxn ang="0">
                  <a:pos x="5" y="15"/>
                </a:cxn>
                <a:cxn ang="0">
                  <a:pos x="5" y="13"/>
                </a:cxn>
                <a:cxn ang="0">
                  <a:pos x="5" y="12"/>
                </a:cxn>
                <a:cxn ang="0">
                  <a:pos x="8" y="9"/>
                </a:cxn>
                <a:cxn ang="0">
                  <a:pos x="9" y="6"/>
                </a:cxn>
                <a:cxn ang="0">
                  <a:pos x="11" y="6"/>
                </a:cxn>
                <a:cxn ang="0">
                  <a:pos x="11" y="5"/>
                </a:cxn>
                <a:cxn ang="0">
                  <a:pos x="12" y="5"/>
                </a:cxn>
                <a:cxn ang="0">
                  <a:pos x="12" y="3"/>
                </a:cxn>
                <a:cxn ang="0">
                  <a:pos x="15" y="5"/>
                </a:cxn>
                <a:cxn ang="0">
                  <a:pos x="16" y="2"/>
                </a:cxn>
                <a:cxn ang="0">
                  <a:pos x="18" y="2"/>
                </a:cxn>
                <a:cxn ang="0">
                  <a:pos x="18" y="0"/>
                </a:cxn>
                <a:cxn ang="0">
                  <a:pos x="19" y="0"/>
                </a:cxn>
                <a:cxn ang="0">
                  <a:pos x="25" y="0"/>
                </a:cxn>
                <a:cxn ang="0">
                  <a:pos x="28" y="2"/>
                </a:cxn>
                <a:cxn ang="0">
                  <a:pos x="28" y="3"/>
                </a:cxn>
                <a:cxn ang="0">
                  <a:pos x="27" y="3"/>
                </a:cxn>
              </a:cxnLst>
              <a:rect l="0" t="0" r="r" b="b"/>
              <a:pathLst>
                <a:path w="28" h="19">
                  <a:moveTo>
                    <a:pt x="27" y="3"/>
                  </a:moveTo>
                  <a:lnTo>
                    <a:pt x="25" y="5"/>
                  </a:lnTo>
                  <a:lnTo>
                    <a:pt x="25" y="5"/>
                  </a:lnTo>
                  <a:lnTo>
                    <a:pt x="22" y="3"/>
                  </a:lnTo>
                  <a:lnTo>
                    <a:pt x="22" y="3"/>
                  </a:lnTo>
                  <a:lnTo>
                    <a:pt x="21" y="5"/>
                  </a:lnTo>
                  <a:lnTo>
                    <a:pt x="21" y="5"/>
                  </a:lnTo>
                  <a:lnTo>
                    <a:pt x="19" y="5"/>
                  </a:lnTo>
                  <a:lnTo>
                    <a:pt x="19" y="5"/>
                  </a:lnTo>
                  <a:lnTo>
                    <a:pt x="18" y="5"/>
                  </a:lnTo>
                  <a:lnTo>
                    <a:pt x="18" y="5"/>
                  </a:lnTo>
                  <a:lnTo>
                    <a:pt x="16" y="6"/>
                  </a:lnTo>
                  <a:lnTo>
                    <a:pt x="15" y="6"/>
                  </a:lnTo>
                  <a:lnTo>
                    <a:pt x="15" y="8"/>
                  </a:lnTo>
                  <a:lnTo>
                    <a:pt x="15" y="8"/>
                  </a:lnTo>
                  <a:lnTo>
                    <a:pt x="15" y="8"/>
                  </a:lnTo>
                  <a:lnTo>
                    <a:pt x="15" y="9"/>
                  </a:lnTo>
                  <a:lnTo>
                    <a:pt x="15" y="8"/>
                  </a:lnTo>
                  <a:lnTo>
                    <a:pt x="12" y="9"/>
                  </a:lnTo>
                  <a:lnTo>
                    <a:pt x="12" y="11"/>
                  </a:lnTo>
                  <a:lnTo>
                    <a:pt x="12" y="11"/>
                  </a:lnTo>
                  <a:lnTo>
                    <a:pt x="11" y="11"/>
                  </a:lnTo>
                  <a:lnTo>
                    <a:pt x="8" y="13"/>
                  </a:lnTo>
                  <a:lnTo>
                    <a:pt x="6" y="15"/>
                  </a:lnTo>
                  <a:lnTo>
                    <a:pt x="6" y="16"/>
                  </a:lnTo>
                  <a:lnTo>
                    <a:pt x="5" y="16"/>
                  </a:lnTo>
                  <a:lnTo>
                    <a:pt x="3" y="18"/>
                  </a:lnTo>
                  <a:lnTo>
                    <a:pt x="2" y="19"/>
                  </a:lnTo>
                  <a:lnTo>
                    <a:pt x="0" y="19"/>
                  </a:lnTo>
                  <a:lnTo>
                    <a:pt x="5" y="15"/>
                  </a:lnTo>
                  <a:lnTo>
                    <a:pt x="5" y="13"/>
                  </a:lnTo>
                  <a:lnTo>
                    <a:pt x="5" y="12"/>
                  </a:lnTo>
                  <a:lnTo>
                    <a:pt x="8" y="9"/>
                  </a:lnTo>
                  <a:lnTo>
                    <a:pt x="9" y="6"/>
                  </a:lnTo>
                  <a:lnTo>
                    <a:pt x="11" y="6"/>
                  </a:lnTo>
                  <a:lnTo>
                    <a:pt x="11" y="5"/>
                  </a:lnTo>
                  <a:lnTo>
                    <a:pt x="12" y="5"/>
                  </a:lnTo>
                  <a:lnTo>
                    <a:pt x="12" y="3"/>
                  </a:lnTo>
                  <a:lnTo>
                    <a:pt x="15" y="5"/>
                  </a:lnTo>
                  <a:lnTo>
                    <a:pt x="16" y="2"/>
                  </a:lnTo>
                  <a:lnTo>
                    <a:pt x="18" y="2"/>
                  </a:lnTo>
                  <a:lnTo>
                    <a:pt x="18" y="0"/>
                  </a:lnTo>
                  <a:lnTo>
                    <a:pt x="19" y="0"/>
                  </a:lnTo>
                  <a:lnTo>
                    <a:pt x="25" y="0"/>
                  </a:lnTo>
                  <a:lnTo>
                    <a:pt x="28" y="2"/>
                  </a:lnTo>
                  <a:lnTo>
                    <a:pt x="28" y="3"/>
                  </a:lnTo>
                  <a:lnTo>
                    <a:pt x="27" y="3"/>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31" name="Freeform 1661"/>
            <p:cNvSpPr>
              <a:spLocks/>
            </p:cNvSpPr>
            <p:nvPr/>
          </p:nvSpPr>
          <p:spPr bwMode="auto">
            <a:xfrm>
              <a:off x="6470090" y="3522073"/>
              <a:ext cx="25457" cy="19269"/>
            </a:xfrm>
            <a:custGeom>
              <a:avLst/>
              <a:gdLst/>
              <a:ahLst/>
              <a:cxnLst>
                <a:cxn ang="0">
                  <a:pos x="27" y="3"/>
                </a:cxn>
                <a:cxn ang="0">
                  <a:pos x="25" y="5"/>
                </a:cxn>
                <a:cxn ang="0">
                  <a:pos x="25" y="5"/>
                </a:cxn>
                <a:cxn ang="0">
                  <a:pos x="22" y="3"/>
                </a:cxn>
                <a:cxn ang="0">
                  <a:pos x="22" y="3"/>
                </a:cxn>
                <a:cxn ang="0">
                  <a:pos x="21" y="5"/>
                </a:cxn>
                <a:cxn ang="0">
                  <a:pos x="21" y="5"/>
                </a:cxn>
                <a:cxn ang="0">
                  <a:pos x="19" y="5"/>
                </a:cxn>
                <a:cxn ang="0">
                  <a:pos x="19" y="5"/>
                </a:cxn>
                <a:cxn ang="0">
                  <a:pos x="18" y="5"/>
                </a:cxn>
                <a:cxn ang="0">
                  <a:pos x="18" y="5"/>
                </a:cxn>
                <a:cxn ang="0">
                  <a:pos x="16" y="6"/>
                </a:cxn>
                <a:cxn ang="0">
                  <a:pos x="15" y="6"/>
                </a:cxn>
                <a:cxn ang="0">
                  <a:pos x="15" y="8"/>
                </a:cxn>
                <a:cxn ang="0">
                  <a:pos x="15" y="8"/>
                </a:cxn>
                <a:cxn ang="0">
                  <a:pos x="15" y="8"/>
                </a:cxn>
                <a:cxn ang="0">
                  <a:pos x="15" y="9"/>
                </a:cxn>
                <a:cxn ang="0">
                  <a:pos x="15" y="8"/>
                </a:cxn>
                <a:cxn ang="0">
                  <a:pos x="12" y="9"/>
                </a:cxn>
                <a:cxn ang="0">
                  <a:pos x="12" y="11"/>
                </a:cxn>
                <a:cxn ang="0">
                  <a:pos x="12" y="11"/>
                </a:cxn>
                <a:cxn ang="0">
                  <a:pos x="11" y="11"/>
                </a:cxn>
                <a:cxn ang="0">
                  <a:pos x="8" y="13"/>
                </a:cxn>
                <a:cxn ang="0">
                  <a:pos x="6" y="15"/>
                </a:cxn>
                <a:cxn ang="0">
                  <a:pos x="6" y="16"/>
                </a:cxn>
                <a:cxn ang="0">
                  <a:pos x="5" y="16"/>
                </a:cxn>
                <a:cxn ang="0">
                  <a:pos x="3" y="18"/>
                </a:cxn>
                <a:cxn ang="0">
                  <a:pos x="2" y="19"/>
                </a:cxn>
                <a:cxn ang="0">
                  <a:pos x="0" y="19"/>
                </a:cxn>
                <a:cxn ang="0">
                  <a:pos x="5" y="15"/>
                </a:cxn>
                <a:cxn ang="0">
                  <a:pos x="5" y="13"/>
                </a:cxn>
                <a:cxn ang="0">
                  <a:pos x="5" y="12"/>
                </a:cxn>
                <a:cxn ang="0">
                  <a:pos x="8" y="9"/>
                </a:cxn>
                <a:cxn ang="0">
                  <a:pos x="9" y="6"/>
                </a:cxn>
                <a:cxn ang="0">
                  <a:pos x="11" y="6"/>
                </a:cxn>
                <a:cxn ang="0">
                  <a:pos x="11" y="5"/>
                </a:cxn>
                <a:cxn ang="0">
                  <a:pos x="12" y="5"/>
                </a:cxn>
                <a:cxn ang="0">
                  <a:pos x="12" y="3"/>
                </a:cxn>
                <a:cxn ang="0">
                  <a:pos x="15" y="5"/>
                </a:cxn>
                <a:cxn ang="0">
                  <a:pos x="16" y="2"/>
                </a:cxn>
                <a:cxn ang="0">
                  <a:pos x="18" y="2"/>
                </a:cxn>
                <a:cxn ang="0">
                  <a:pos x="18" y="0"/>
                </a:cxn>
                <a:cxn ang="0">
                  <a:pos x="19" y="0"/>
                </a:cxn>
                <a:cxn ang="0">
                  <a:pos x="25" y="0"/>
                </a:cxn>
                <a:cxn ang="0">
                  <a:pos x="28" y="2"/>
                </a:cxn>
                <a:cxn ang="0">
                  <a:pos x="28" y="3"/>
                </a:cxn>
                <a:cxn ang="0">
                  <a:pos x="27" y="3"/>
                </a:cxn>
              </a:cxnLst>
              <a:rect l="0" t="0" r="r" b="b"/>
              <a:pathLst>
                <a:path w="28" h="19">
                  <a:moveTo>
                    <a:pt x="27" y="3"/>
                  </a:moveTo>
                  <a:lnTo>
                    <a:pt x="25" y="5"/>
                  </a:lnTo>
                  <a:lnTo>
                    <a:pt x="25" y="5"/>
                  </a:lnTo>
                  <a:lnTo>
                    <a:pt x="22" y="3"/>
                  </a:lnTo>
                  <a:lnTo>
                    <a:pt x="22" y="3"/>
                  </a:lnTo>
                  <a:lnTo>
                    <a:pt x="21" y="5"/>
                  </a:lnTo>
                  <a:lnTo>
                    <a:pt x="21" y="5"/>
                  </a:lnTo>
                  <a:lnTo>
                    <a:pt x="19" y="5"/>
                  </a:lnTo>
                  <a:lnTo>
                    <a:pt x="19" y="5"/>
                  </a:lnTo>
                  <a:lnTo>
                    <a:pt x="18" y="5"/>
                  </a:lnTo>
                  <a:lnTo>
                    <a:pt x="18" y="5"/>
                  </a:lnTo>
                  <a:lnTo>
                    <a:pt x="16" y="6"/>
                  </a:lnTo>
                  <a:lnTo>
                    <a:pt x="15" y="6"/>
                  </a:lnTo>
                  <a:lnTo>
                    <a:pt x="15" y="8"/>
                  </a:lnTo>
                  <a:lnTo>
                    <a:pt x="15" y="8"/>
                  </a:lnTo>
                  <a:lnTo>
                    <a:pt x="15" y="8"/>
                  </a:lnTo>
                  <a:lnTo>
                    <a:pt x="15" y="9"/>
                  </a:lnTo>
                  <a:lnTo>
                    <a:pt x="15" y="8"/>
                  </a:lnTo>
                  <a:lnTo>
                    <a:pt x="12" y="9"/>
                  </a:lnTo>
                  <a:lnTo>
                    <a:pt x="12" y="11"/>
                  </a:lnTo>
                  <a:lnTo>
                    <a:pt x="12" y="11"/>
                  </a:lnTo>
                  <a:lnTo>
                    <a:pt x="11" y="11"/>
                  </a:lnTo>
                  <a:lnTo>
                    <a:pt x="8" y="13"/>
                  </a:lnTo>
                  <a:lnTo>
                    <a:pt x="6" y="15"/>
                  </a:lnTo>
                  <a:lnTo>
                    <a:pt x="6" y="16"/>
                  </a:lnTo>
                  <a:lnTo>
                    <a:pt x="5" y="16"/>
                  </a:lnTo>
                  <a:lnTo>
                    <a:pt x="3" y="18"/>
                  </a:lnTo>
                  <a:lnTo>
                    <a:pt x="2" y="19"/>
                  </a:lnTo>
                  <a:lnTo>
                    <a:pt x="0" y="19"/>
                  </a:lnTo>
                  <a:lnTo>
                    <a:pt x="5" y="15"/>
                  </a:lnTo>
                  <a:lnTo>
                    <a:pt x="5" y="13"/>
                  </a:lnTo>
                  <a:lnTo>
                    <a:pt x="5" y="12"/>
                  </a:lnTo>
                  <a:lnTo>
                    <a:pt x="8" y="9"/>
                  </a:lnTo>
                  <a:lnTo>
                    <a:pt x="9" y="6"/>
                  </a:lnTo>
                  <a:lnTo>
                    <a:pt x="11" y="6"/>
                  </a:lnTo>
                  <a:lnTo>
                    <a:pt x="11" y="5"/>
                  </a:lnTo>
                  <a:lnTo>
                    <a:pt x="12" y="5"/>
                  </a:lnTo>
                  <a:lnTo>
                    <a:pt x="12" y="3"/>
                  </a:lnTo>
                  <a:lnTo>
                    <a:pt x="15" y="5"/>
                  </a:lnTo>
                  <a:lnTo>
                    <a:pt x="16" y="2"/>
                  </a:lnTo>
                  <a:lnTo>
                    <a:pt x="18" y="2"/>
                  </a:lnTo>
                  <a:lnTo>
                    <a:pt x="18" y="0"/>
                  </a:lnTo>
                  <a:lnTo>
                    <a:pt x="19" y="0"/>
                  </a:lnTo>
                  <a:lnTo>
                    <a:pt x="25" y="0"/>
                  </a:lnTo>
                  <a:lnTo>
                    <a:pt x="28" y="2"/>
                  </a:lnTo>
                  <a:lnTo>
                    <a:pt x="28" y="3"/>
                  </a:lnTo>
                  <a:lnTo>
                    <a:pt x="27" y="3"/>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32" name="Freeform 1662"/>
            <p:cNvSpPr>
              <a:spLocks/>
            </p:cNvSpPr>
            <p:nvPr/>
          </p:nvSpPr>
          <p:spPr bwMode="auto">
            <a:xfrm>
              <a:off x="6728163" y="2481574"/>
              <a:ext cx="105336" cy="212968"/>
            </a:xfrm>
            <a:custGeom>
              <a:avLst/>
              <a:gdLst/>
              <a:ahLst/>
              <a:cxnLst>
                <a:cxn ang="0">
                  <a:pos x="97" y="199"/>
                </a:cxn>
                <a:cxn ang="0">
                  <a:pos x="61" y="200"/>
                </a:cxn>
                <a:cxn ang="0">
                  <a:pos x="50" y="190"/>
                </a:cxn>
                <a:cxn ang="0">
                  <a:pos x="34" y="186"/>
                </a:cxn>
                <a:cxn ang="0">
                  <a:pos x="34" y="157"/>
                </a:cxn>
                <a:cxn ang="0">
                  <a:pos x="42" y="136"/>
                </a:cxn>
                <a:cxn ang="0">
                  <a:pos x="51" y="136"/>
                </a:cxn>
                <a:cxn ang="0">
                  <a:pos x="47" y="130"/>
                </a:cxn>
                <a:cxn ang="0">
                  <a:pos x="25" y="107"/>
                </a:cxn>
                <a:cxn ang="0">
                  <a:pos x="12" y="78"/>
                </a:cxn>
                <a:cxn ang="0">
                  <a:pos x="10" y="72"/>
                </a:cxn>
                <a:cxn ang="0">
                  <a:pos x="3" y="58"/>
                </a:cxn>
                <a:cxn ang="0">
                  <a:pos x="2" y="50"/>
                </a:cxn>
                <a:cxn ang="0">
                  <a:pos x="4" y="45"/>
                </a:cxn>
                <a:cxn ang="0">
                  <a:pos x="9" y="40"/>
                </a:cxn>
                <a:cxn ang="0">
                  <a:pos x="13" y="23"/>
                </a:cxn>
                <a:cxn ang="0">
                  <a:pos x="16" y="21"/>
                </a:cxn>
                <a:cxn ang="0">
                  <a:pos x="22" y="27"/>
                </a:cxn>
                <a:cxn ang="0">
                  <a:pos x="34" y="17"/>
                </a:cxn>
                <a:cxn ang="0">
                  <a:pos x="61" y="0"/>
                </a:cxn>
                <a:cxn ang="0">
                  <a:pos x="73" y="1"/>
                </a:cxn>
                <a:cxn ang="0">
                  <a:pos x="84" y="1"/>
                </a:cxn>
                <a:cxn ang="0">
                  <a:pos x="93" y="8"/>
                </a:cxn>
                <a:cxn ang="0">
                  <a:pos x="97" y="16"/>
                </a:cxn>
                <a:cxn ang="0">
                  <a:pos x="100" y="23"/>
                </a:cxn>
                <a:cxn ang="0">
                  <a:pos x="108" y="30"/>
                </a:cxn>
                <a:cxn ang="0">
                  <a:pos x="112" y="39"/>
                </a:cxn>
                <a:cxn ang="0">
                  <a:pos x="110" y="43"/>
                </a:cxn>
                <a:cxn ang="0">
                  <a:pos x="99" y="39"/>
                </a:cxn>
                <a:cxn ang="0">
                  <a:pos x="92" y="42"/>
                </a:cxn>
                <a:cxn ang="0">
                  <a:pos x="76" y="40"/>
                </a:cxn>
                <a:cxn ang="0">
                  <a:pos x="70" y="43"/>
                </a:cxn>
                <a:cxn ang="0">
                  <a:pos x="65" y="46"/>
                </a:cxn>
                <a:cxn ang="0">
                  <a:pos x="64" y="55"/>
                </a:cxn>
                <a:cxn ang="0">
                  <a:pos x="51" y="53"/>
                </a:cxn>
                <a:cxn ang="0">
                  <a:pos x="58" y="62"/>
                </a:cxn>
                <a:cxn ang="0">
                  <a:pos x="65" y="72"/>
                </a:cxn>
                <a:cxn ang="0">
                  <a:pos x="73" y="85"/>
                </a:cxn>
                <a:cxn ang="0">
                  <a:pos x="84" y="90"/>
                </a:cxn>
                <a:cxn ang="0">
                  <a:pos x="83" y="113"/>
                </a:cxn>
                <a:cxn ang="0">
                  <a:pos x="87" y="113"/>
                </a:cxn>
                <a:cxn ang="0">
                  <a:pos x="87" y="107"/>
                </a:cxn>
                <a:cxn ang="0">
                  <a:pos x="103" y="109"/>
                </a:cxn>
                <a:cxn ang="0">
                  <a:pos x="110" y="126"/>
                </a:cxn>
                <a:cxn ang="0">
                  <a:pos x="110" y="129"/>
                </a:cxn>
                <a:cxn ang="0">
                  <a:pos x="100" y="130"/>
                </a:cxn>
                <a:cxn ang="0">
                  <a:pos x="87" y="122"/>
                </a:cxn>
                <a:cxn ang="0">
                  <a:pos x="86" y="136"/>
                </a:cxn>
                <a:cxn ang="0">
                  <a:pos x="90" y="142"/>
                </a:cxn>
                <a:cxn ang="0">
                  <a:pos x="102" y="145"/>
                </a:cxn>
                <a:cxn ang="0">
                  <a:pos x="99" y="148"/>
                </a:cxn>
                <a:cxn ang="0">
                  <a:pos x="95" y="154"/>
                </a:cxn>
                <a:cxn ang="0">
                  <a:pos x="105" y="161"/>
                </a:cxn>
                <a:cxn ang="0">
                  <a:pos x="105" y="194"/>
                </a:cxn>
              </a:cxnLst>
              <a:rect l="0" t="0" r="r" b="b"/>
              <a:pathLst>
                <a:path w="115" h="205">
                  <a:moveTo>
                    <a:pt x="99" y="200"/>
                  </a:moveTo>
                  <a:lnTo>
                    <a:pt x="95" y="199"/>
                  </a:lnTo>
                  <a:lnTo>
                    <a:pt x="97" y="199"/>
                  </a:lnTo>
                  <a:lnTo>
                    <a:pt x="99" y="197"/>
                  </a:lnTo>
                  <a:lnTo>
                    <a:pt x="74" y="205"/>
                  </a:lnTo>
                  <a:lnTo>
                    <a:pt x="61" y="200"/>
                  </a:lnTo>
                  <a:lnTo>
                    <a:pt x="52" y="194"/>
                  </a:lnTo>
                  <a:lnTo>
                    <a:pt x="51" y="191"/>
                  </a:lnTo>
                  <a:lnTo>
                    <a:pt x="50" y="190"/>
                  </a:lnTo>
                  <a:lnTo>
                    <a:pt x="42" y="190"/>
                  </a:lnTo>
                  <a:lnTo>
                    <a:pt x="36" y="189"/>
                  </a:lnTo>
                  <a:lnTo>
                    <a:pt x="34" y="186"/>
                  </a:lnTo>
                  <a:lnTo>
                    <a:pt x="31" y="165"/>
                  </a:lnTo>
                  <a:lnTo>
                    <a:pt x="31" y="158"/>
                  </a:lnTo>
                  <a:lnTo>
                    <a:pt x="34" y="157"/>
                  </a:lnTo>
                  <a:lnTo>
                    <a:pt x="36" y="159"/>
                  </a:lnTo>
                  <a:lnTo>
                    <a:pt x="41" y="139"/>
                  </a:lnTo>
                  <a:lnTo>
                    <a:pt x="42" y="136"/>
                  </a:lnTo>
                  <a:lnTo>
                    <a:pt x="45" y="135"/>
                  </a:lnTo>
                  <a:lnTo>
                    <a:pt x="48" y="135"/>
                  </a:lnTo>
                  <a:lnTo>
                    <a:pt x="51" y="136"/>
                  </a:lnTo>
                  <a:lnTo>
                    <a:pt x="50" y="132"/>
                  </a:lnTo>
                  <a:lnTo>
                    <a:pt x="48" y="132"/>
                  </a:lnTo>
                  <a:lnTo>
                    <a:pt x="47" y="130"/>
                  </a:lnTo>
                  <a:lnTo>
                    <a:pt x="42" y="132"/>
                  </a:lnTo>
                  <a:lnTo>
                    <a:pt x="41" y="130"/>
                  </a:lnTo>
                  <a:lnTo>
                    <a:pt x="25" y="107"/>
                  </a:lnTo>
                  <a:lnTo>
                    <a:pt x="23" y="106"/>
                  </a:lnTo>
                  <a:lnTo>
                    <a:pt x="12" y="84"/>
                  </a:lnTo>
                  <a:lnTo>
                    <a:pt x="12" y="78"/>
                  </a:lnTo>
                  <a:lnTo>
                    <a:pt x="13" y="71"/>
                  </a:lnTo>
                  <a:lnTo>
                    <a:pt x="13" y="68"/>
                  </a:lnTo>
                  <a:lnTo>
                    <a:pt x="10" y="72"/>
                  </a:lnTo>
                  <a:lnTo>
                    <a:pt x="10" y="71"/>
                  </a:lnTo>
                  <a:lnTo>
                    <a:pt x="9" y="66"/>
                  </a:lnTo>
                  <a:lnTo>
                    <a:pt x="3" y="58"/>
                  </a:lnTo>
                  <a:lnTo>
                    <a:pt x="0" y="58"/>
                  </a:lnTo>
                  <a:lnTo>
                    <a:pt x="0" y="55"/>
                  </a:lnTo>
                  <a:lnTo>
                    <a:pt x="2" y="50"/>
                  </a:lnTo>
                  <a:lnTo>
                    <a:pt x="2" y="48"/>
                  </a:lnTo>
                  <a:lnTo>
                    <a:pt x="4" y="45"/>
                  </a:lnTo>
                  <a:lnTo>
                    <a:pt x="4" y="45"/>
                  </a:lnTo>
                  <a:lnTo>
                    <a:pt x="6" y="45"/>
                  </a:lnTo>
                  <a:lnTo>
                    <a:pt x="6" y="42"/>
                  </a:lnTo>
                  <a:lnTo>
                    <a:pt x="9" y="40"/>
                  </a:lnTo>
                  <a:lnTo>
                    <a:pt x="10" y="30"/>
                  </a:lnTo>
                  <a:lnTo>
                    <a:pt x="12" y="32"/>
                  </a:lnTo>
                  <a:lnTo>
                    <a:pt x="13" y="23"/>
                  </a:lnTo>
                  <a:lnTo>
                    <a:pt x="10" y="19"/>
                  </a:lnTo>
                  <a:lnTo>
                    <a:pt x="16" y="20"/>
                  </a:lnTo>
                  <a:lnTo>
                    <a:pt x="16" y="21"/>
                  </a:lnTo>
                  <a:lnTo>
                    <a:pt x="19" y="29"/>
                  </a:lnTo>
                  <a:lnTo>
                    <a:pt x="20" y="29"/>
                  </a:lnTo>
                  <a:lnTo>
                    <a:pt x="22" y="27"/>
                  </a:lnTo>
                  <a:lnTo>
                    <a:pt x="23" y="27"/>
                  </a:lnTo>
                  <a:lnTo>
                    <a:pt x="26" y="20"/>
                  </a:lnTo>
                  <a:lnTo>
                    <a:pt x="34" y="17"/>
                  </a:lnTo>
                  <a:lnTo>
                    <a:pt x="28" y="14"/>
                  </a:lnTo>
                  <a:lnTo>
                    <a:pt x="51" y="8"/>
                  </a:lnTo>
                  <a:lnTo>
                    <a:pt x="61" y="0"/>
                  </a:lnTo>
                  <a:lnTo>
                    <a:pt x="67" y="1"/>
                  </a:lnTo>
                  <a:lnTo>
                    <a:pt x="68" y="1"/>
                  </a:lnTo>
                  <a:lnTo>
                    <a:pt x="73" y="1"/>
                  </a:lnTo>
                  <a:lnTo>
                    <a:pt x="73" y="4"/>
                  </a:lnTo>
                  <a:lnTo>
                    <a:pt x="81" y="1"/>
                  </a:lnTo>
                  <a:lnTo>
                    <a:pt x="84" y="1"/>
                  </a:lnTo>
                  <a:lnTo>
                    <a:pt x="84" y="3"/>
                  </a:lnTo>
                  <a:lnTo>
                    <a:pt x="87" y="4"/>
                  </a:lnTo>
                  <a:lnTo>
                    <a:pt x="93" y="8"/>
                  </a:lnTo>
                  <a:lnTo>
                    <a:pt x="93" y="11"/>
                  </a:lnTo>
                  <a:lnTo>
                    <a:pt x="95" y="11"/>
                  </a:lnTo>
                  <a:lnTo>
                    <a:pt x="97" y="16"/>
                  </a:lnTo>
                  <a:lnTo>
                    <a:pt x="97" y="14"/>
                  </a:lnTo>
                  <a:lnTo>
                    <a:pt x="99" y="17"/>
                  </a:lnTo>
                  <a:lnTo>
                    <a:pt x="100" y="23"/>
                  </a:lnTo>
                  <a:lnTo>
                    <a:pt x="103" y="27"/>
                  </a:lnTo>
                  <a:lnTo>
                    <a:pt x="106" y="27"/>
                  </a:lnTo>
                  <a:lnTo>
                    <a:pt x="108" y="30"/>
                  </a:lnTo>
                  <a:lnTo>
                    <a:pt x="110" y="32"/>
                  </a:lnTo>
                  <a:lnTo>
                    <a:pt x="115" y="39"/>
                  </a:lnTo>
                  <a:lnTo>
                    <a:pt x="112" y="39"/>
                  </a:lnTo>
                  <a:lnTo>
                    <a:pt x="115" y="42"/>
                  </a:lnTo>
                  <a:lnTo>
                    <a:pt x="113" y="43"/>
                  </a:lnTo>
                  <a:lnTo>
                    <a:pt x="110" y="43"/>
                  </a:lnTo>
                  <a:lnTo>
                    <a:pt x="108" y="43"/>
                  </a:lnTo>
                  <a:lnTo>
                    <a:pt x="100" y="40"/>
                  </a:lnTo>
                  <a:lnTo>
                    <a:pt x="99" y="39"/>
                  </a:lnTo>
                  <a:lnTo>
                    <a:pt x="97" y="39"/>
                  </a:lnTo>
                  <a:lnTo>
                    <a:pt x="95" y="40"/>
                  </a:lnTo>
                  <a:lnTo>
                    <a:pt x="92" y="42"/>
                  </a:lnTo>
                  <a:lnTo>
                    <a:pt x="83" y="37"/>
                  </a:lnTo>
                  <a:lnTo>
                    <a:pt x="79" y="37"/>
                  </a:lnTo>
                  <a:lnTo>
                    <a:pt x="76" y="40"/>
                  </a:lnTo>
                  <a:lnTo>
                    <a:pt x="76" y="43"/>
                  </a:lnTo>
                  <a:lnTo>
                    <a:pt x="73" y="43"/>
                  </a:lnTo>
                  <a:lnTo>
                    <a:pt x="70" y="43"/>
                  </a:lnTo>
                  <a:lnTo>
                    <a:pt x="70" y="42"/>
                  </a:lnTo>
                  <a:lnTo>
                    <a:pt x="67" y="43"/>
                  </a:lnTo>
                  <a:lnTo>
                    <a:pt x="65" y="46"/>
                  </a:lnTo>
                  <a:lnTo>
                    <a:pt x="67" y="53"/>
                  </a:lnTo>
                  <a:lnTo>
                    <a:pt x="68" y="55"/>
                  </a:lnTo>
                  <a:lnTo>
                    <a:pt x="64" y="55"/>
                  </a:lnTo>
                  <a:lnTo>
                    <a:pt x="63" y="55"/>
                  </a:lnTo>
                  <a:lnTo>
                    <a:pt x="55" y="53"/>
                  </a:lnTo>
                  <a:lnTo>
                    <a:pt x="51" y="53"/>
                  </a:lnTo>
                  <a:lnTo>
                    <a:pt x="50" y="55"/>
                  </a:lnTo>
                  <a:lnTo>
                    <a:pt x="52" y="59"/>
                  </a:lnTo>
                  <a:lnTo>
                    <a:pt x="58" y="62"/>
                  </a:lnTo>
                  <a:lnTo>
                    <a:pt x="60" y="65"/>
                  </a:lnTo>
                  <a:lnTo>
                    <a:pt x="61" y="66"/>
                  </a:lnTo>
                  <a:lnTo>
                    <a:pt x="65" y="72"/>
                  </a:lnTo>
                  <a:lnTo>
                    <a:pt x="65" y="82"/>
                  </a:lnTo>
                  <a:lnTo>
                    <a:pt x="71" y="82"/>
                  </a:lnTo>
                  <a:lnTo>
                    <a:pt x="73" y="85"/>
                  </a:lnTo>
                  <a:lnTo>
                    <a:pt x="79" y="88"/>
                  </a:lnTo>
                  <a:lnTo>
                    <a:pt x="81" y="88"/>
                  </a:lnTo>
                  <a:lnTo>
                    <a:pt x="84" y="90"/>
                  </a:lnTo>
                  <a:lnTo>
                    <a:pt x="84" y="96"/>
                  </a:lnTo>
                  <a:lnTo>
                    <a:pt x="81" y="98"/>
                  </a:lnTo>
                  <a:lnTo>
                    <a:pt x="83" y="113"/>
                  </a:lnTo>
                  <a:lnTo>
                    <a:pt x="86" y="119"/>
                  </a:lnTo>
                  <a:lnTo>
                    <a:pt x="87" y="120"/>
                  </a:lnTo>
                  <a:lnTo>
                    <a:pt x="87" y="113"/>
                  </a:lnTo>
                  <a:lnTo>
                    <a:pt x="86" y="113"/>
                  </a:lnTo>
                  <a:lnTo>
                    <a:pt x="86" y="110"/>
                  </a:lnTo>
                  <a:lnTo>
                    <a:pt x="87" y="107"/>
                  </a:lnTo>
                  <a:lnTo>
                    <a:pt x="96" y="103"/>
                  </a:lnTo>
                  <a:lnTo>
                    <a:pt x="100" y="104"/>
                  </a:lnTo>
                  <a:lnTo>
                    <a:pt x="103" y="109"/>
                  </a:lnTo>
                  <a:lnTo>
                    <a:pt x="105" y="113"/>
                  </a:lnTo>
                  <a:lnTo>
                    <a:pt x="115" y="122"/>
                  </a:lnTo>
                  <a:lnTo>
                    <a:pt x="110" y="126"/>
                  </a:lnTo>
                  <a:lnTo>
                    <a:pt x="108" y="128"/>
                  </a:lnTo>
                  <a:lnTo>
                    <a:pt x="108" y="129"/>
                  </a:lnTo>
                  <a:lnTo>
                    <a:pt x="110" y="129"/>
                  </a:lnTo>
                  <a:lnTo>
                    <a:pt x="108" y="130"/>
                  </a:lnTo>
                  <a:lnTo>
                    <a:pt x="103" y="129"/>
                  </a:lnTo>
                  <a:lnTo>
                    <a:pt x="100" y="130"/>
                  </a:lnTo>
                  <a:lnTo>
                    <a:pt x="96" y="128"/>
                  </a:lnTo>
                  <a:lnTo>
                    <a:pt x="90" y="128"/>
                  </a:lnTo>
                  <a:lnTo>
                    <a:pt x="87" y="122"/>
                  </a:lnTo>
                  <a:lnTo>
                    <a:pt x="87" y="129"/>
                  </a:lnTo>
                  <a:lnTo>
                    <a:pt x="86" y="132"/>
                  </a:lnTo>
                  <a:lnTo>
                    <a:pt x="86" y="136"/>
                  </a:lnTo>
                  <a:lnTo>
                    <a:pt x="87" y="143"/>
                  </a:lnTo>
                  <a:lnTo>
                    <a:pt x="89" y="143"/>
                  </a:lnTo>
                  <a:lnTo>
                    <a:pt x="90" y="142"/>
                  </a:lnTo>
                  <a:lnTo>
                    <a:pt x="95" y="141"/>
                  </a:lnTo>
                  <a:lnTo>
                    <a:pt x="100" y="142"/>
                  </a:lnTo>
                  <a:lnTo>
                    <a:pt x="102" y="145"/>
                  </a:lnTo>
                  <a:lnTo>
                    <a:pt x="97" y="143"/>
                  </a:lnTo>
                  <a:lnTo>
                    <a:pt x="95" y="146"/>
                  </a:lnTo>
                  <a:lnTo>
                    <a:pt x="99" y="148"/>
                  </a:lnTo>
                  <a:lnTo>
                    <a:pt x="102" y="149"/>
                  </a:lnTo>
                  <a:lnTo>
                    <a:pt x="95" y="154"/>
                  </a:lnTo>
                  <a:lnTo>
                    <a:pt x="95" y="154"/>
                  </a:lnTo>
                  <a:lnTo>
                    <a:pt x="97" y="154"/>
                  </a:lnTo>
                  <a:lnTo>
                    <a:pt x="102" y="159"/>
                  </a:lnTo>
                  <a:lnTo>
                    <a:pt x="105" y="161"/>
                  </a:lnTo>
                  <a:lnTo>
                    <a:pt x="102" y="164"/>
                  </a:lnTo>
                  <a:lnTo>
                    <a:pt x="103" y="189"/>
                  </a:lnTo>
                  <a:lnTo>
                    <a:pt x="105" y="194"/>
                  </a:lnTo>
                  <a:lnTo>
                    <a:pt x="105" y="199"/>
                  </a:lnTo>
                  <a:lnTo>
                    <a:pt x="99" y="200"/>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33" name="Freeform 1663"/>
            <p:cNvSpPr>
              <a:spLocks/>
            </p:cNvSpPr>
            <p:nvPr/>
          </p:nvSpPr>
          <p:spPr bwMode="auto">
            <a:xfrm>
              <a:off x="6728163" y="2481574"/>
              <a:ext cx="105336" cy="212968"/>
            </a:xfrm>
            <a:custGeom>
              <a:avLst/>
              <a:gdLst/>
              <a:ahLst/>
              <a:cxnLst>
                <a:cxn ang="0">
                  <a:pos x="97" y="199"/>
                </a:cxn>
                <a:cxn ang="0">
                  <a:pos x="61" y="200"/>
                </a:cxn>
                <a:cxn ang="0">
                  <a:pos x="50" y="190"/>
                </a:cxn>
                <a:cxn ang="0">
                  <a:pos x="34" y="186"/>
                </a:cxn>
                <a:cxn ang="0">
                  <a:pos x="34" y="157"/>
                </a:cxn>
                <a:cxn ang="0">
                  <a:pos x="42" y="136"/>
                </a:cxn>
                <a:cxn ang="0">
                  <a:pos x="51" y="136"/>
                </a:cxn>
                <a:cxn ang="0">
                  <a:pos x="47" y="130"/>
                </a:cxn>
                <a:cxn ang="0">
                  <a:pos x="25" y="107"/>
                </a:cxn>
                <a:cxn ang="0">
                  <a:pos x="12" y="78"/>
                </a:cxn>
                <a:cxn ang="0">
                  <a:pos x="10" y="72"/>
                </a:cxn>
                <a:cxn ang="0">
                  <a:pos x="3" y="58"/>
                </a:cxn>
                <a:cxn ang="0">
                  <a:pos x="2" y="50"/>
                </a:cxn>
                <a:cxn ang="0">
                  <a:pos x="4" y="45"/>
                </a:cxn>
                <a:cxn ang="0">
                  <a:pos x="9" y="40"/>
                </a:cxn>
                <a:cxn ang="0">
                  <a:pos x="13" y="23"/>
                </a:cxn>
                <a:cxn ang="0">
                  <a:pos x="16" y="21"/>
                </a:cxn>
                <a:cxn ang="0">
                  <a:pos x="22" y="27"/>
                </a:cxn>
                <a:cxn ang="0">
                  <a:pos x="34" y="17"/>
                </a:cxn>
                <a:cxn ang="0">
                  <a:pos x="61" y="0"/>
                </a:cxn>
                <a:cxn ang="0">
                  <a:pos x="73" y="1"/>
                </a:cxn>
                <a:cxn ang="0">
                  <a:pos x="84" y="1"/>
                </a:cxn>
                <a:cxn ang="0">
                  <a:pos x="93" y="8"/>
                </a:cxn>
                <a:cxn ang="0">
                  <a:pos x="97" y="16"/>
                </a:cxn>
                <a:cxn ang="0">
                  <a:pos x="100" y="23"/>
                </a:cxn>
                <a:cxn ang="0">
                  <a:pos x="108" y="30"/>
                </a:cxn>
                <a:cxn ang="0">
                  <a:pos x="112" y="39"/>
                </a:cxn>
                <a:cxn ang="0">
                  <a:pos x="110" y="43"/>
                </a:cxn>
                <a:cxn ang="0">
                  <a:pos x="99" y="39"/>
                </a:cxn>
                <a:cxn ang="0">
                  <a:pos x="92" y="42"/>
                </a:cxn>
                <a:cxn ang="0">
                  <a:pos x="76" y="40"/>
                </a:cxn>
                <a:cxn ang="0">
                  <a:pos x="70" y="43"/>
                </a:cxn>
                <a:cxn ang="0">
                  <a:pos x="65" y="46"/>
                </a:cxn>
                <a:cxn ang="0">
                  <a:pos x="64" y="55"/>
                </a:cxn>
                <a:cxn ang="0">
                  <a:pos x="51" y="53"/>
                </a:cxn>
                <a:cxn ang="0">
                  <a:pos x="58" y="62"/>
                </a:cxn>
                <a:cxn ang="0">
                  <a:pos x="65" y="72"/>
                </a:cxn>
                <a:cxn ang="0">
                  <a:pos x="73" y="85"/>
                </a:cxn>
                <a:cxn ang="0">
                  <a:pos x="84" y="90"/>
                </a:cxn>
                <a:cxn ang="0">
                  <a:pos x="83" y="113"/>
                </a:cxn>
                <a:cxn ang="0">
                  <a:pos x="87" y="113"/>
                </a:cxn>
                <a:cxn ang="0">
                  <a:pos x="87" y="107"/>
                </a:cxn>
                <a:cxn ang="0">
                  <a:pos x="103" y="109"/>
                </a:cxn>
                <a:cxn ang="0">
                  <a:pos x="110" y="126"/>
                </a:cxn>
                <a:cxn ang="0">
                  <a:pos x="110" y="129"/>
                </a:cxn>
                <a:cxn ang="0">
                  <a:pos x="100" y="130"/>
                </a:cxn>
                <a:cxn ang="0">
                  <a:pos x="87" y="122"/>
                </a:cxn>
                <a:cxn ang="0">
                  <a:pos x="86" y="136"/>
                </a:cxn>
                <a:cxn ang="0">
                  <a:pos x="90" y="142"/>
                </a:cxn>
                <a:cxn ang="0">
                  <a:pos x="102" y="145"/>
                </a:cxn>
                <a:cxn ang="0">
                  <a:pos x="99" y="148"/>
                </a:cxn>
                <a:cxn ang="0">
                  <a:pos x="95" y="154"/>
                </a:cxn>
                <a:cxn ang="0">
                  <a:pos x="105" y="161"/>
                </a:cxn>
                <a:cxn ang="0">
                  <a:pos x="105" y="194"/>
                </a:cxn>
              </a:cxnLst>
              <a:rect l="0" t="0" r="r" b="b"/>
              <a:pathLst>
                <a:path w="115" h="205">
                  <a:moveTo>
                    <a:pt x="99" y="200"/>
                  </a:moveTo>
                  <a:lnTo>
                    <a:pt x="95" y="199"/>
                  </a:lnTo>
                  <a:lnTo>
                    <a:pt x="97" y="199"/>
                  </a:lnTo>
                  <a:lnTo>
                    <a:pt x="99" y="197"/>
                  </a:lnTo>
                  <a:lnTo>
                    <a:pt x="74" y="205"/>
                  </a:lnTo>
                  <a:lnTo>
                    <a:pt x="61" y="200"/>
                  </a:lnTo>
                  <a:lnTo>
                    <a:pt x="52" y="194"/>
                  </a:lnTo>
                  <a:lnTo>
                    <a:pt x="51" y="191"/>
                  </a:lnTo>
                  <a:lnTo>
                    <a:pt x="50" y="190"/>
                  </a:lnTo>
                  <a:lnTo>
                    <a:pt x="42" y="190"/>
                  </a:lnTo>
                  <a:lnTo>
                    <a:pt x="36" y="189"/>
                  </a:lnTo>
                  <a:lnTo>
                    <a:pt x="34" y="186"/>
                  </a:lnTo>
                  <a:lnTo>
                    <a:pt x="31" y="165"/>
                  </a:lnTo>
                  <a:lnTo>
                    <a:pt x="31" y="158"/>
                  </a:lnTo>
                  <a:lnTo>
                    <a:pt x="34" y="157"/>
                  </a:lnTo>
                  <a:lnTo>
                    <a:pt x="36" y="159"/>
                  </a:lnTo>
                  <a:lnTo>
                    <a:pt x="41" y="139"/>
                  </a:lnTo>
                  <a:lnTo>
                    <a:pt x="42" y="136"/>
                  </a:lnTo>
                  <a:lnTo>
                    <a:pt x="45" y="135"/>
                  </a:lnTo>
                  <a:lnTo>
                    <a:pt x="48" y="135"/>
                  </a:lnTo>
                  <a:lnTo>
                    <a:pt x="51" y="136"/>
                  </a:lnTo>
                  <a:lnTo>
                    <a:pt x="50" y="132"/>
                  </a:lnTo>
                  <a:lnTo>
                    <a:pt x="48" y="132"/>
                  </a:lnTo>
                  <a:lnTo>
                    <a:pt x="47" y="130"/>
                  </a:lnTo>
                  <a:lnTo>
                    <a:pt x="42" y="132"/>
                  </a:lnTo>
                  <a:lnTo>
                    <a:pt x="41" y="130"/>
                  </a:lnTo>
                  <a:lnTo>
                    <a:pt x="25" y="107"/>
                  </a:lnTo>
                  <a:lnTo>
                    <a:pt x="23" y="106"/>
                  </a:lnTo>
                  <a:lnTo>
                    <a:pt x="12" y="84"/>
                  </a:lnTo>
                  <a:lnTo>
                    <a:pt x="12" y="78"/>
                  </a:lnTo>
                  <a:lnTo>
                    <a:pt x="13" y="71"/>
                  </a:lnTo>
                  <a:lnTo>
                    <a:pt x="13" y="68"/>
                  </a:lnTo>
                  <a:lnTo>
                    <a:pt x="10" y="72"/>
                  </a:lnTo>
                  <a:lnTo>
                    <a:pt x="10" y="71"/>
                  </a:lnTo>
                  <a:lnTo>
                    <a:pt x="9" y="66"/>
                  </a:lnTo>
                  <a:lnTo>
                    <a:pt x="3" y="58"/>
                  </a:lnTo>
                  <a:lnTo>
                    <a:pt x="0" y="58"/>
                  </a:lnTo>
                  <a:lnTo>
                    <a:pt x="0" y="55"/>
                  </a:lnTo>
                  <a:lnTo>
                    <a:pt x="2" y="50"/>
                  </a:lnTo>
                  <a:lnTo>
                    <a:pt x="2" y="48"/>
                  </a:lnTo>
                  <a:lnTo>
                    <a:pt x="4" y="45"/>
                  </a:lnTo>
                  <a:lnTo>
                    <a:pt x="4" y="45"/>
                  </a:lnTo>
                  <a:lnTo>
                    <a:pt x="6" y="45"/>
                  </a:lnTo>
                  <a:lnTo>
                    <a:pt x="6" y="42"/>
                  </a:lnTo>
                  <a:lnTo>
                    <a:pt x="9" y="40"/>
                  </a:lnTo>
                  <a:lnTo>
                    <a:pt x="10" y="30"/>
                  </a:lnTo>
                  <a:lnTo>
                    <a:pt x="12" y="32"/>
                  </a:lnTo>
                  <a:lnTo>
                    <a:pt x="13" y="23"/>
                  </a:lnTo>
                  <a:lnTo>
                    <a:pt x="10" y="19"/>
                  </a:lnTo>
                  <a:lnTo>
                    <a:pt x="16" y="20"/>
                  </a:lnTo>
                  <a:lnTo>
                    <a:pt x="16" y="21"/>
                  </a:lnTo>
                  <a:lnTo>
                    <a:pt x="19" y="29"/>
                  </a:lnTo>
                  <a:lnTo>
                    <a:pt x="20" y="29"/>
                  </a:lnTo>
                  <a:lnTo>
                    <a:pt x="22" y="27"/>
                  </a:lnTo>
                  <a:lnTo>
                    <a:pt x="23" y="27"/>
                  </a:lnTo>
                  <a:lnTo>
                    <a:pt x="26" y="20"/>
                  </a:lnTo>
                  <a:lnTo>
                    <a:pt x="34" y="17"/>
                  </a:lnTo>
                  <a:lnTo>
                    <a:pt x="28" y="14"/>
                  </a:lnTo>
                  <a:lnTo>
                    <a:pt x="51" y="8"/>
                  </a:lnTo>
                  <a:lnTo>
                    <a:pt x="61" y="0"/>
                  </a:lnTo>
                  <a:lnTo>
                    <a:pt x="67" y="1"/>
                  </a:lnTo>
                  <a:lnTo>
                    <a:pt x="68" y="1"/>
                  </a:lnTo>
                  <a:lnTo>
                    <a:pt x="73" y="1"/>
                  </a:lnTo>
                  <a:lnTo>
                    <a:pt x="73" y="4"/>
                  </a:lnTo>
                  <a:lnTo>
                    <a:pt x="81" y="1"/>
                  </a:lnTo>
                  <a:lnTo>
                    <a:pt x="84" y="1"/>
                  </a:lnTo>
                  <a:lnTo>
                    <a:pt x="84" y="3"/>
                  </a:lnTo>
                  <a:lnTo>
                    <a:pt x="87" y="4"/>
                  </a:lnTo>
                  <a:lnTo>
                    <a:pt x="93" y="8"/>
                  </a:lnTo>
                  <a:lnTo>
                    <a:pt x="93" y="11"/>
                  </a:lnTo>
                  <a:lnTo>
                    <a:pt x="95" y="11"/>
                  </a:lnTo>
                  <a:lnTo>
                    <a:pt x="97" y="16"/>
                  </a:lnTo>
                  <a:lnTo>
                    <a:pt x="97" y="14"/>
                  </a:lnTo>
                  <a:lnTo>
                    <a:pt x="99" y="17"/>
                  </a:lnTo>
                  <a:lnTo>
                    <a:pt x="100" y="23"/>
                  </a:lnTo>
                  <a:lnTo>
                    <a:pt x="103" y="27"/>
                  </a:lnTo>
                  <a:lnTo>
                    <a:pt x="106" y="27"/>
                  </a:lnTo>
                  <a:lnTo>
                    <a:pt x="108" y="30"/>
                  </a:lnTo>
                  <a:lnTo>
                    <a:pt x="110" y="32"/>
                  </a:lnTo>
                  <a:lnTo>
                    <a:pt x="115" y="39"/>
                  </a:lnTo>
                  <a:lnTo>
                    <a:pt x="112" y="39"/>
                  </a:lnTo>
                  <a:lnTo>
                    <a:pt x="115" y="42"/>
                  </a:lnTo>
                  <a:lnTo>
                    <a:pt x="113" y="43"/>
                  </a:lnTo>
                  <a:lnTo>
                    <a:pt x="110" y="43"/>
                  </a:lnTo>
                  <a:lnTo>
                    <a:pt x="108" y="43"/>
                  </a:lnTo>
                  <a:lnTo>
                    <a:pt x="100" y="40"/>
                  </a:lnTo>
                  <a:lnTo>
                    <a:pt x="99" y="39"/>
                  </a:lnTo>
                  <a:lnTo>
                    <a:pt x="97" y="39"/>
                  </a:lnTo>
                  <a:lnTo>
                    <a:pt x="95" y="40"/>
                  </a:lnTo>
                  <a:lnTo>
                    <a:pt x="92" y="42"/>
                  </a:lnTo>
                  <a:lnTo>
                    <a:pt x="83" y="37"/>
                  </a:lnTo>
                  <a:lnTo>
                    <a:pt x="79" y="37"/>
                  </a:lnTo>
                  <a:lnTo>
                    <a:pt x="76" y="40"/>
                  </a:lnTo>
                  <a:lnTo>
                    <a:pt x="76" y="43"/>
                  </a:lnTo>
                  <a:lnTo>
                    <a:pt x="73" y="43"/>
                  </a:lnTo>
                  <a:lnTo>
                    <a:pt x="70" y="43"/>
                  </a:lnTo>
                  <a:lnTo>
                    <a:pt x="70" y="42"/>
                  </a:lnTo>
                  <a:lnTo>
                    <a:pt x="67" y="43"/>
                  </a:lnTo>
                  <a:lnTo>
                    <a:pt x="65" y="46"/>
                  </a:lnTo>
                  <a:lnTo>
                    <a:pt x="67" y="53"/>
                  </a:lnTo>
                  <a:lnTo>
                    <a:pt x="68" y="55"/>
                  </a:lnTo>
                  <a:lnTo>
                    <a:pt x="64" y="55"/>
                  </a:lnTo>
                  <a:lnTo>
                    <a:pt x="63" y="55"/>
                  </a:lnTo>
                  <a:lnTo>
                    <a:pt x="55" y="53"/>
                  </a:lnTo>
                  <a:lnTo>
                    <a:pt x="51" y="53"/>
                  </a:lnTo>
                  <a:lnTo>
                    <a:pt x="50" y="55"/>
                  </a:lnTo>
                  <a:lnTo>
                    <a:pt x="52" y="59"/>
                  </a:lnTo>
                  <a:lnTo>
                    <a:pt x="58" y="62"/>
                  </a:lnTo>
                  <a:lnTo>
                    <a:pt x="60" y="65"/>
                  </a:lnTo>
                  <a:lnTo>
                    <a:pt x="61" y="66"/>
                  </a:lnTo>
                  <a:lnTo>
                    <a:pt x="65" y="72"/>
                  </a:lnTo>
                  <a:lnTo>
                    <a:pt x="65" y="82"/>
                  </a:lnTo>
                  <a:lnTo>
                    <a:pt x="71" y="82"/>
                  </a:lnTo>
                  <a:lnTo>
                    <a:pt x="73" y="85"/>
                  </a:lnTo>
                  <a:lnTo>
                    <a:pt x="79" y="88"/>
                  </a:lnTo>
                  <a:lnTo>
                    <a:pt x="81" y="88"/>
                  </a:lnTo>
                  <a:lnTo>
                    <a:pt x="84" y="90"/>
                  </a:lnTo>
                  <a:lnTo>
                    <a:pt x="84" y="96"/>
                  </a:lnTo>
                  <a:lnTo>
                    <a:pt x="81" y="98"/>
                  </a:lnTo>
                  <a:lnTo>
                    <a:pt x="83" y="113"/>
                  </a:lnTo>
                  <a:lnTo>
                    <a:pt x="86" y="119"/>
                  </a:lnTo>
                  <a:lnTo>
                    <a:pt x="87" y="120"/>
                  </a:lnTo>
                  <a:lnTo>
                    <a:pt x="87" y="113"/>
                  </a:lnTo>
                  <a:lnTo>
                    <a:pt x="86" y="113"/>
                  </a:lnTo>
                  <a:lnTo>
                    <a:pt x="86" y="110"/>
                  </a:lnTo>
                  <a:lnTo>
                    <a:pt x="87" y="107"/>
                  </a:lnTo>
                  <a:lnTo>
                    <a:pt x="96" y="103"/>
                  </a:lnTo>
                  <a:lnTo>
                    <a:pt x="100" y="104"/>
                  </a:lnTo>
                  <a:lnTo>
                    <a:pt x="103" y="109"/>
                  </a:lnTo>
                  <a:lnTo>
                    <a:pt x="105" y="113"/>
                  </a:lnTo>
                  <a:lnTo>
                    <a:pt x="115" y="122"/>
                  </a:lnTo>
                  <a:lnTo>
                    <a:pt x="110" y="126"/>
                  </a:lnTo>
                  <a:lnTo>
                    <a:pt x="108" y="128"/>
                  </a:lnTo>
                  <a:lnTo>
                    <a:pt x="108" y="129"/>
                  </a:lnTo>
                  <a:lnTo>
                    <a:pt x="110" y="129"/>
                  </a:lnTo>
                  <a:lnTo>
                    <a:pt x="108" y="130"/>
                  </a:lnTo>
                  <a:lnTo>
                    <a:pt x="103" y="129"/>
                  </a:lnTo>
                  <a:lnTo>
                    <a:pt x="100" y="130"/>
                  </a:lnTo>
                  <a:lnTo>
                    <a:pt x="96" y="128"/>
                  </a:lnTo>
                  <a:lnTo>
                    <a:pt x="90" y="128"/>
                  </a:lnTo>
                  <a:lnTo>
                    <a:pt x="87" y="122"/>
                  </a:lnTo>
                  <a:lnTo>
                    <a:pt x="87" y="129"/>
                  </a:lnTo>
                  <a:lnTo>
                    <a:pt x="86" y="132"/>
                  </a:lnTo>
                  <a:lnTo>
                    <a:pt x="86" y="136"/>
                  </a:lnTo>
                  <a:lnTo>
                    <a:pt x="87" y="143"/>
                  </a:lnTo>
                  <a:lnTo>
                    <a:pt x="89" y="143"/>
                  </a:lnTo>
                  <a:lnTo>
                    <a:pt x="90" y="142"/>
                  </a:lnTo>
                  <a:lnTo>
                    <a:pt x="95" y="141"/>
                  </a:lnTo>
                  <a:lnTo>
                    <a:pt x="100" y="142"/>
                  </a:lnTo>
                  <a:lnTo>
                    <a:pt x="102" y="145"/>
                  </a:lnTo>
                  <a:lnTo>
                    <a:pt x="97" y="143"/>
                  </a:lnTo>
                  <a:lnTo>
                    <a:pt x="95" y="146"/>
                  </a:lnTo>
                  <a:lnTo>
                    <a:pt x="99" y="148"/>
                  </a:lnTo>
                  <a:lnTo>
                    <a:pt x="102" y="149"/>
                  </a:lnTo>
                  <a:lnTo>
                    <a:pt x="95" y="154"/>
                  </a:lnTo>
                  <a:lnTo>
                    <a:pt x="95" y="154"/>
                  </a:lnTo>
                  <a:lnTo>
                    <a:pt x="97" y="154"/>
                  </a:lnTo>
                  <a:lnTo>
                    <a:pt x="102" y="159"/>
                  </a:lnTo>
                  <a:lnTo>
                    <a:pt x="105" y="161"/>
                  </a:lnTo>
                  <a:lnTo>
                    <a:pt x="102" y="164"/>
                  </a:lnTo>
                  <a:lnTo>
                    <a:pt x="103" y="189"/>
                  </a:lnTo>
                  <a:lnTo>
                    <a:pt x="105" y="194"/>
                  </a:lnTo>
                  <a:lnTo>
                    <a:pt x="105" y="199"/>
                  </a:lnTo>
                  <a:lnTo>
                    <a:pt x="99" y="20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34" name="Rectangle 1664"/>
            <p:cNvSpPr>
              <a:spLocks noChangeArrowheads="1"/>
            </p:cNvSpPr>
            <p:nvPr/>
          </p:nvSpPr>
          <p:spPr bwMode="auto">
            <a:xfrm>
              <a:off x="6705341" y="2603270"/>
              <a:ext cx="878" cy="1014"/>
            </a:xfrm>
            <a:prstGeom prst="rect">
              <a:avLst/>
            </a:prstGeom>
            <a:solidFill>
              <a:srgbClr val="FFFFFF">
                <a:alpha val="25882"/>
              </a:srgbClr>
            </a:solidFill>
            <a:ln w="9525">
              <a:noFill/>
              <a:miter lim="800000"/>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35" name="Freeform 1665"/>
            <p:cNvSpPr>
              <a:spLocks/>
            </p:cNvSpPr>
            <p:nvPr/>
          </p:nvSpPr>
          <p:spPr bwMode="auto">
            <a:xfrm>
              <a:off x="6705261" y="2603305"/>
              <a:ext cx="878" cy="1014"/>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36" name="Freeform 6"/>
            <p:cNvSpPr>
              <a:spLocks/>
            </p:cNvSpPr>
            <p:nvPr/>
          </p:nvSpPr>
          <p:spPr bwMode="auto">
            <a:xfrm>
              <a:off x="7005986" y="2687443"/>
              <a:ext cx="383599" cy="472857"/>
            </a:xfrm>
            <a:custGeom>
              <a:avLst/>
              <a:gdLst/>
              <a:ahLst/>
              <a:cxnLst>
                <a:cxn ang="0">
                  <a:pos x="216" y="163"/>
                </a:cxn>
                <a:cxn ang="0">
                  <a:pos x="294" y="181"/>
                </a:cxn>
                <a:cxn ang="0">
                  <a:pos x="297" y="156"/>
                </a:cxn>
                <a:cxn ang="0">
                  <a:pos x="305" y="168"/>
                </a:cxn>
                <a:cxn ang="0">
                  <a:pos x="357" y="166"/>
                </a:cxn>
                <a:cxn ang="0">
                  <a:pos x="393" y="133"/>
                </a:cxn>
                <a:cxn ang="0">
                  <a:pos x="418" y="138"/>
                </a:cxn>
                <a:cxn ang="0">
                  <a:pos x="433" y="156"/>
                </a:cxn>
                <a:cxn ang="0">
                  <a:pos x="403" y="178"/>
                </a:cxn>
                <a:cxn ang="0">
                  <a:pos x="373" y="224"/>
                </a:cxn>
                <a:cxn ang="0">
                  <a:pos x="370" y="249"/>
                </a:cxn>
                <a:cxn ang="0">
                  <a:pos x="342" y="231"/>
                </a:cxn>
                <a:cxn ang="0">
                  <a:pos x="320" y="193"/>
                </a:cxn>
                <a:cxn ang="0">
                  <a:pos x="307" y="181"/>
                </a:cxn>
                <a:cxn ang="0">
                  <a:pos x="297" y="193"/>
                </a:cxn>
                <a:cxn ang="0">
                  <a:pos x="292" y="206"/>
                </a:cxn>
                <a:cxn ang="0">
                  <a:pos x="305" y="259"/>
                </a:cxn>
                <a:cxn ang="0">
                  <a:pos x="294" y="249"/>
                </a:cxn>
                <a:cxn ang="0">
                  <a:pos x="269" y="284"/>
                </a:cxn>
                <a:cxn ang="0">
                  <a:pos x="206" y="337"/>
                </a:cxn>
                <a:cxn ang="0">
                  <a:pos x="176" y="354"/>
                </a:cxn>
                <a:cxn ang="0">
                  <a:pos x="174" y="430"/>
                </a:cxn>
                <a:cxn ang="0">
                  <a:pos x="149" y="450"/>
                </a:cxn>
                <a:cxn ang="0">
                  <a:pos x="126" y="450"/>
                </a:cxn>
                <a:cxn ang="0">
                  <a:pos x="88" y="359"/>
                </a:cxn>
                <a:cxn ang="0">
                  <a:pos x="76" y="337"/>
                </a:cxn>
                <a:cxn ang="0">
                  <a:pos x="65" y="286"/>
                </a:cxn>
                <a:cxn ang="0">
                  <a:pos x="60" y="246"/>
                </a:cxn>
                <a:cxn ang="0">
                  <a:pos x="13" y="249"/>
                </a:cxn>
                <a:cxn ang="0">
                  <a:pos x="33" y="231"/>
                </a:cxn>
                <a:cxn ang="0">
                  <a:pos x="3" y="218"/>
                </a:cxn>
                <a:cxn ang="0">
                  <a:pos x="35" y="211"/>
                </a:cxn>
                <a:cxn ang="0">
                  <a:pos x="30" y="188"/>
                </a:cxn>
                <a:cxn ang="0">
                  <a:pos x="35" y="153"/>
                </a:cxn>
                <a:cxn ang="0">
                  <a:pos x="71" y="138"/>
                </a:cxn>
                <a:cxn ang="0">
                  <a:pos x="91" y="105"/>
                </a:cxn>
                <a:cxn ang="0">
                  <a:pos x="96" y="93"/>
                </a:cxn>
                <a:cxn ang="0">
                  <a:pos x="98" y="78"/>
                </a:cxn>
                <a:cxn ang="0">
                  <a:pos x="91" y="60"/>
                </a:cxn>
                <a:cxn ang="0">
                  <a:pos x="88" y="45"/>
                </a:cxn>
                <a:cxn ang="0">
                  <a:pos x="91" y="27"/>
                </a:cxn>
                <a:cxn ang="0">
                  <a:pos x="73" y="15"/>
                </a:cxn>
                <a:cxn ang="0">
                  <a:pos x="111" y="2"/>
                </a:cxn>
                <a:cxn ang="0">
                  <a:pos x="138" y="25"/>
                </a:cxn>
                <a:cxn ang="0">
                  <a:pos x="166" y="15"/>
                </a:cxn>
                <a:cxn ang="0">
                  <a:pos x="176" y="37"/>
                </a:cxn>
                <a:cxn ang="0">
                  <a:pos x="161" y="63"/>
                </a:cxn>
                <a:cxn ang="0">
                  <a:pos x="159" y="75"/>
                </a:cxn>
                <a:cxn ang="0">
                  <a:pos x="161" y="103"/>
                </a:cxn>
              </a:cxnLst>
              <a:rect l="0" t="0" r="r" b="b"/>
              <a:pathLst>
                <a:path w="433" h="462">
                  <a:moveTo>
                    <a:pt x="191" y="118"/>
                  </a:moveTo>
                  <a:lnTo>
                    <a:pt x="181" y="125"/>
                  </a:lnTo>
                  <a:lnTo>
                    <a:pt x="176" y="141"/>
                  </a:lnTo>
                  <a:lnTo>
                    <a:pt x="216" y="163"/>
                  </a:lnTo>
                  <a:lnTo>
                    <a:pt x="239" y="166"/>
                  </a:lnTo>
                  <a:lnTo>
                    <a:pt x="249" y="173"/>
                  </a:lnTo>
                  <a:lnTo>
                    <a:pt x="282" y="181"/>
                  </a:lnTo>
                  <a:lnTo>
                    <a:pt x="294" y="181"/>
                  </a:lnTo>
                  <a:lnTo>
                    <a:pt x="297" y="176"/>
                  </a:lnTo>
                  <a:lnTo>
                    <a:pt x="292" y="171"/>
                  </a:lnTo>
                  <a:lnTo>
                    <a:pt x="294" y="168"/>
                  </a:lnTo>
                  <a:lnTo>
                    <a:pt x="297" y="156"/>
                  </a:lnTo>
                  <a:lnTo>
                    <a:pt x="305" y="153"/>
                  </a:lnTo>
                  <a:lnTo>
                    <a:pt x="305" y="163"/>
                  </a:lnTo>
                  <a:lnTo>
                    <a:pt x="307" y="166"/>
                  </a:lnTo>
                  <a:lnTo>
                    <a:pt x="305" y="168"/>
                  </a:lnTo>
                  <a:lnTo>
                    <a:pt x="307" y="173"/>
                  </a:lnTo>
                  <a:lnTo>
                    <a:pt x="320" y="176"/>
                  </a:lnTo>
                  <a:lnTo>
                    <a:pt x="352" y="171"/>
                  </a:lnTo>
                  <a:lnTo>
                    <a:pt x="357" y="166"/>
                  </a:lnTo>
                  <a:lnTo>
                    <a:pt x="350" y="163"/>
                  </a:lnTo>
                  <a:lnTo>
                    <a:pt x="350" y="158"/>
                  </a:lnTo>
                  <a:lnTo>
                    <a:pt x="370" y="151"/>
                  </a:lnTo>
                  <a:lnTo>
                    <a:pt x="393" y="133"/>
                  </a:lnTo>
                  <a:lnTo>
                    <a:pt x="403" y="133"/>
                  </a:lnTo>
                  <a:lnTo>
                    <a:pt x="413" y="128"/>
                  </a:lnTo>
                  <a:lnTo>
                    <a:pt x="415" y="138"/>
                  </a:lnTo>
                  <a:lnTo>
                    <a:pt x="418" y="138"/>
                  </a:lnTo>
                  <a:lnTo>
                    <a:pt x="418" y="146"/>
                  </a:lnTo>
                  <a:lnTo>
                    <a:pt x="428" y="148"/>
                  </a:lnTo>
                  <a:lnTo>
                    <a:pt x="433" y="151"/>
                  </a:lnTo>
                  <a:lnTo>
                    <a:pt x="433" y="156"/>
                  </a:lnTo>
                  <a:lnTo>
                    <a:pt x="428" y="158"/>
                  </a:lnTo>
                  <a:lnTo>
                    <a:pt x="428" y="168"/>
                  </a:lnTo>
                  <a:lnTo>
                    <a:pt x="415" y="168"/>
                  </a:lnTo>
                  <a:lnTo>
                    <a:pt x="403" y="178"/>
                  </a:lnTo>
                  <a:lnTo>
                    <a:pt x="400" y="191"/>
                  </a:lnTo>
                  <a:lnTo>
                    <a:pt x="393" y="201"/>
                  </a:lnTo>
                  <a:lnTo>
                    <a:pt x="385" y="218"/>
                  </a:lnTo>
                  <a:lnTo>
                    <a:pt x="373" y="224"/>
                  </a:lnTo>
                  <a:lnTo>
                    <a:pt x="373" y="236"/>
                  </a:lnTo>
                  <a:lnTo>
                    <a:pt x="370" y="239"/>
                  </a:lnTo>
                  <a:lnTo>
                    <a:pt x="367" y="239"/>
                  </a:lnTo>
                  <a:lnTo>
                    <a:pt x="370" y="249"/>
                  </a:lnTo>
                  <a:lnTo>
                    <a:pt x="362" y="254"/>
                  </a:lnTo>
                  <a:lnTo>
                    <a:pt x="355" y="224"/>
                  </a:lnTo>
                  <a:lnTo>
                    <a:pt x="347" y="234"/>
                  </a:lnTo>
                  <a:lnTo>
                    <a:pt x="342" y="231"/>
                  </a:lnTo>
                  <a:lnTo>
                    <a:pt x="340" y="221"/>
                  </a:lnTo>
                  <a:lnTo>
                    <a:pt x="357" y="201"/>
                  </a:lnTo>
                  <a:lnTo>
                    <a:pt x="325" y="198"/>
                  </a:lnTo>
                  <a:lnTo>
                    <a:pt x="320" y="193"/>
                  </a:lnTo>
                  <a:lnTo>
                    <a:pt x="317" y="183"/>
                  </a:lnTo>
                  <a:lnTo>
                    <a:pt x="315" y="186"/>
                  </a:lnTo>
                  <a:lnTo>
                    <a:pt x="312" y="186"/>
                  </a:lnTo>
                  <a:lnTo>
                    <a:pt x="307" y="181"/>
                  </a:lnTo>
                  <a:lnTo>
                    <a:pt x="305" y="186"/>
                  </a:lnTo>
                  <a:lnTo>
                    <a:pt x="302" y="178"/>
                  </a:lnTo>
                  <a:lnTo>
                    <a:pt x="294" y="188"/>
                  </a:lnTo>
                  <a:lnTo>
                    <a:pt x="297" y="193"/>
                  </a:lnTo>
                  <a:lnTo>
                    <a:pt x="302" y="193"/>
                  </a:lnTo>
                  <a:lnTo>
                    <a:pt x="305" y="198"/>
                  </a:lnTo>
                  <a:lnTo>
                    <a:pt x="297" y="198"/>
                  </a:lnTo>
                  <a:lnTo>
                    <a:pt x="292" y="206"/>
                  </a:lnTo>
                  <a:lnTo>
                    <a:pt x="302" y="213"/>
                  </a:lnTo>
                  <a:lnTo>
                    <a:pt x="302" y="226"/>
                  </a:lnTo>
                  <a:lnTo>
                    <a:pt x="307" y="256"/>
                  </a:lnTo>
                  <a:lnTo>
                    <a:pt x="305" y="259"/>
                  </a:lnTo>
                  <a:lnTo>
                    <a:pt x="305" y="254"/>
                  </a:lnTo>
                  <a:lnTo>
                    <a:pt x="305" y="256"/>
                  </a:lnTo>
                  <a:lnTo>
                    <a:pt x="297" y="259"/>
                  </a:lnTo>
                  <a:lnTo>
                    <a:pt x="294" y="249"/>
                  </a:lnTo>
                  <a:lnTo>
                    <a:pt x="292" y="254"/>
                  </a:lnTo>
                  <a:lnTo>
                    <a:pt x="279" y="261"/>
                  </a:lnTo>
                  <a:lnTo>
                    <a:pt x="279" y="271"/>
                  </a:lnTo>
                  <a:lnTo>
                    <a:pt x="269" y="284"/>
                  </a:lnTo>
                  <a:lnTo>
                    <a:pt x="249" y="294"/>
                  </a:lnTo>
                  <a:lnTo>
                    <a:pt x="237" y="309"/>
                  </a:lnTo>
                  <a:lnTo>
                    <a:pt x="211" y="329"/>
                  </a:lnTo>
                  <a:lnTo>
                    <a:pt x="206" y="337"/>
                  </a:lnTo>
                  <a:lnTo>
                    <a:pt x="194" y="339"/>
                  </a:lnTo>
                  <a:lnTo>
                    <a:pt x="189" y="349"/>
                  </a:lnTo>
                  <a:lnTo>
                    <a:pt x="181" y="349"/>
                  </a:lnTo>
                  <a:lnTo>
                    <a:pt x="176" y="354"/>
                  </a:lnTo>
                  <a:lnTo>
                    <a:pt x="176" y="379"/>
                  </a:lnTo>
                  <a:lnTo>
                    <a:pt x="181" y="387"/>
                  </a:lnTo>
                  <a:lnTo>
                    <a:pt x="174" y="410"/>
                  </a:lnTo>
                  <a:lnTo>
                    <a:pt x="174" y="430"/>
                  </a:lnTo>
                  <a:lnTo>
                    <a:pt x="166" y="430"/>
                  </a:lnTo>
                  <a:lnTo>
                    <a:pt x="161" y="440"/>
                  </a:lnTo>
                  <a:lnTo>
                    <a:pt x="161" y="445"/>
                  </a:lnTo>
                  <a:lnTo>
                    <a:pt x="149" y="450"/>
                  </a:lnTo>
                  <a:lnTo>
                    <a:pt x="146" y="457"/>
                  </a:lnTo>
                  <a:lnTo>
                    <a:pt x="141" y="462"/>
                  </a:lnTo>
                  <a:lnTo>
                    <a:pt x="136" y="462"/>
                  </a:lnTo>
                  <a:lnTo>
                    <a:pt x="126" y="450"/>
                  </a:lnTo>
                  <a:lnTo>
                    <a:pt x="113" y="412"/>
                  </a:lnTo>
                  <a:lnTo>
                    <a:pt x="103" y="400"/>
                  </a:lnTo>
                  <a:lnTo>
                    <a:pt x="98" y="379"/>
                  </a:lnTo>
                  <a:lnTo>
                    <a:pt x="88" y="359"/>
                  </a:lnTo>
                  <a:lnTo>
                    <a:pt x="86" y="352"/>
                  </a:lnTo>
                  <a:lnTo>
                    <a:pt x="83" y="352"/>
                  </a:lnTo>
                  <a:lnTo>
                    <a:pt x="81" y="347"/>
                  </a:lnTo>
                  <a:lnTo>
                    <a:pt x="76" y="337"/>
                  </a:lnTo>
                  <a:lnTo>
                    <a:pt x="71" y="307"/>
                  </a:lnTo>
                  <a:lnTo>
                    <a:pt x="71" y="296"/>
                  </a:lnTo>
                  <a:lnTo>
                    <a:pt x="68" y="296"/>
                  </a:lnTo>
                  <a:lnTo>
                    <a:pt x="65" y="286"/>
                  </a:lnTo>
                  <a:lnTo>
                    <a:pt x="68" y="274"/>
                  </a:lnTo>
                  <a:lnTo>
                    <a:pt x="63" y="254"/>
                  </a:lnTo>
                  <a:lnTo>
                    <a:pt x="71" y="246"/>
                  </a:lnTo>
                  <a:lnTo>
                    <a:pt x="60" y="246"/>
                  </a:lnTo>
                  <a:lnTo>
                    <a:pt x="55" y="264"/>
                  </a:lnTo>
                  <a:lnTo>
                    <a:pt x="45" y="269"/>
                  </a:lnTo>
                  <a:lnTo>
                    <a:pt x="35" y="269"/>
                  </a:lnTo>
                  <a:lnTo>
                    <a:pt x="13" y="249"/>
                  </a:lnTo>
                  <a:lnTo>
                    <a:pt x="13" y="246"/>
                  </a:lnTo>
                  <a:lnTo>
                    <a:pt x="28" y="244"/>
                  </a:lnTo>
                  <a:lnTo>
                    <a:pt x="33" y="239"/>
                  </a:lnTo>
                  <a:lnTo>
                    <a:pt x="33" y="231"/>
                  </a:lnTo>
                  <a:lnTo>
                    <a:pt x="23" y="239"/>
                  </a:lnTo>
                  <a:lnTo>
                    <a:pt x="13" y="239"/>
                  </a:lnTo>
                  <a:lnTo>
                    <a:pt x="0" y="224"/>
                  </a:lnTo>
                  <a:lnTo>
                    <a:pt x="3" y="218"/>
                  </a:lnTo>
                  <a:lnTo>
                    <a:pt x="10" y="218"/>
                  </a:lnTo>
                  <a:lnTo>
                    <a:pt x="13" y="213"/>
                  </a:lnTo>
                  <a:lnTo>
                    <a:pt x="28" y="216"/>
                  </a:lnTo>
                  <a:lnTo>
                    <a:pt x="35" y="211"/>
                  </a:lnTo>
                  <a:lnTo>
                    <a:pt x="40" y="216"/>
                  </a:lnTo>
                  <a:lnTo>
                    <a:pt x="45" y="213"/>
                  </a:lnTo>
                  <a:lnTo>
                    <a:pt x="38" y="193"/>
                  </a:lnTo>
                  <a:lnTo>
                    <a:pt x="30" y="188"/>
                  </a:lnTo>
                  <a:lnTo>
                    <a:pt x="33" y="178"/>
                  </a:lnTo>
                  <a:lnTo>
                    <a:pt x="20" y="176"/>
                  </a:lnTo>
                  <a:lnTo>
                    <a:pt x="23" y="168"/>
                  </a:lnTo>
                  <a:lnTo>
                    <a:pt x="35" y="153"/>
                  </a:lnTo>
                  <a:lnTo>
                    <a:pt x="43" y="158"/>
                  </a:lnTo>
                  <a:lnTo>
                    <a:pt x="55" y="156"/>
                  </a:lnTo>
                  <a:lnTo>
                    <a:pt x="63" y="143"/>
                  </a:lnTo>
                  <a:lnTo>
                    <a:pt x="71" y="138"/>
                  </a:lnTo>
                  <a:lnTo>
                    <a:pt x="78" y="123"/>
                  </a:lnTo>
                  <a:lnTo>
                    <a:pt x="83" y="120"/>
                  </a:lnTo>
                  <a:lnTo>
                    <a:pt x="86" y="115"/>
                  </a:lnTo>
                  <a:lnTo>
                    <a:pt x="91" y="105"/>
                  </a:lnTo>
                  <a:lnTo>
                    <a:pt x="101" y="103"/>
                  </a:lnTo>
                  <a:lnTo>
                    <a:pt x="96" y="100"/>
                  </a:lnTo>
                  <a:lnTo>
                    <a:pt x="98" y="95"/>
                  </a:lnTo>
                  <a:lnTo>
                    <a:pt x="96" y="93"/>
                  </a:lnTo>
                  <a:lnTo>
                    <a:pt x="98" y="88"/>
                  </a:lnTo>
                  <a:lnTo>
                    <a:pt x="108" y="83"/>
                  </a:lnTo>
                  <a:lnTo>
                    <a:pt x="106" y="78"/>
                  </a:lnTo>
                  <a:lnTo>
                    <a:pt x="98" y="78"/>
                  </a:lnTo>
                  <a:lnTo>
                    <a:pt x="98" y="73"/>
                  </a:lnTo>
                  <a:lnTo>
                    <a:pt x="91" y="70"/>
                  </a:lnTo>
                  <a:lnTo>
                    <a:pt x="86" y="65"/>
                  </a:lnTo>
                  <a:lnTo>
                    <a:pt x="91" y="60"/>
                  </a:lnTo>
                  <a:lnTo>
                    <a:pt x="88" y="55"/>
                  </a:lnTo>
                  <a:lnTo>
                    <a:pt x="91" y="50"/>
                  </a:lnTo>
                  <a:lnTo>
                    <a:pt x="86" y="47"/>
                  </a:lnTo>
                  <a:lnTo>
                    <a:pt x="88" y="45"/>
                  </a:lnTo>
                  <a:lnTo>
                    <a:pt x="83" y="42"/>
                  </a:lnTo>
                  <a:lnTo>
                    <a:pt x="88" y="40"/>
                  </a:lnTo>
                  <a:lnTo>
                    <a:pt x="93" y="37"/>
                  </a:lnTo>
                  <a:lnTo>
                    <a:pt x="91" y="27"/>
                  </a:lnTo>
                  <a:lnTo>
                    <a:pt x="86" y="25"/>
                  </a:lnTo>
                  <a:lnTo>
                    <a:pt x="81" y="20"/>
                  </a:lnTo>
                  <a:lnTo>
                    <a:pt x="73" y="20"/>
                  </a:lnTo>
                  <a:lnTo>
                    <a:pt x="73" y="15"/>
                  </a:lnTo>
                  <a:lnTo>
                    <a:pt x="83" y="7"/>
                  </a:lnTo>
                  <a:lnTo>
                    <a:pt x="91" y="7"/>
                  </a:lnTo>
                  <a:lnTo>
                    <a:pt x="103" y="0"/>
                  </a:lnTo>
                  <a:lnTo>
                    <a:pt x="111" y="2"/>
                  </a:lnTo>
                  <a:lnTo>
                    <a:pt x="118" y="7"/>
                  </a:lnTo>
                  <a:lnTo>
                    <a:pt x="126" y="15"/>
                  </a:lnTo>
                  <a:lnTo>
                    <a:pt x="131" y="20"/>
                  </a:lnTo>
                  <a:lnTo>
                    <a:pt x="138" y="25"/>
                  </a:lnTo>
                  <a:lnTo>
                    <a:pt x="141" y="27"/>
                  </a:lnTo>
                  <a:lnTo>
                    <a:pt x="154" y="25"/>
                  </a:lnTo>
                  <a:lnTo>
                    <a:pt x="156" y="20"/>
                  </a:lnTo>
                  <a:lnTo>
                    <a:pt x="166" y="15"/>
                  </a:lnTo>
                  <a:lnTo>
                    <a:pt x="176" y="22"/>
                  </a:lnTo>
                  <a:lnTo>
                    <a:pt x="176" y="25"/>
                  </a:lnTo>
                  <a:lnTo>
                    <a:pt x="181" y="25"/>
                  </a:lnTo>
                  <a:lnTo>
                    <a:pt x="176" y="37"/>
                  </a:lnTo>
                  <a:lnTo>
                    <a:pt x="171" y="42"/>
                  </a:lnTo>
                  <a:lnTo>
                    <a:pt x="169" y="50"/>
                  </a:lnTo>
                  <a:lnTo>
                    <a:pt x="161" y="50"/>
                  </a:lnTo>
                  <a:lnTo>
                    <a:pt x="161" y="63"/>
                  </a:lnTo>
                  <a:lnTo>
                    <a:pt x="169" y="65"/>
                  </a:lnTo>
                  <a:lnTo>
                    <a:pt x="171" y="73"/>
                  </a:lnTo>
                  <a:lnTo>
                    <a:pt x="161" y="80"/>
                  </a:lnTo>
                  <a:lnTo>
                    <a:pt x="159" y="75"/>
                  </a:lnTo>
                  <a:lnTo>
                    <a:pt x="154" y="78"/>
                  </a:lnTo>
                  <a:lnTo>
                    <a:pt x="159" y="88"/>
                  </a:lnTo>
                  <a:lnTo>
                    <a:pt x="159" y="95"/>
                  </a:lnTo>
                  <a:lnTo>
                    <a:pt x="161" y="103"/>
                  </a:lnTo>
                  <a:lnTo>
                    <a:pt x="169" y="103"/>
                  </a:lnTo>
                  <a:lnTo>
                    <a:pt x="191" y="118"/>
                  </a:lnTo>
                  <a:close/>
                </a:path>
              </a:pathLst>
            </a:custGeom>
            <a:solidFill>
              <a:srgbClr val="FFFFFF">
                <a:alpha val="25882"/>
              </a:srgbClr>
            </a:solidFill>
            <a:ln w="9525">
              <a:noFill/>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grpSp>
          <p:nvGrpSpPr>
            <p:cNvPr id="1337" name="Group 4"/>
            <p:cNvGrpSpPr/>
            <p:nvPr/>
          </p:nvGrpSpPr>
          <p:grpSpPr>
            <a:xfrm>
              <a:off x="8007647" y="3840925"/>
              <a:ext cx="422570" cy="201367"/>
              <a:chOff x="8007647" y="3840925"/>
              <a:chExt cx="422570" cy="201367"/>
            </a:xfrm>
          </p:grpSpPr>
          <p:sp>
            <p:nvSpPr>
              <p:cNvPr id="1365" name="Freeform 183"/>
              <p:cNvSpPr>
                <a:spLocks/>
              </p:cNvSpPr>
              <p:nvPr/>
            </p:nvSpPr>
            <p:spPr bwMode="auto">
              <a:xfrm>
                <a:off x="8007647" y="3932075"/>
                <a:ext cx="48604" cy="59360"/>
              </a:xfrm>
              <a:custGeom>
                <a:avLst/>
                <a:gdLst>
                  <a:gd name="T0" fmla="*/ 0 w 53"/>
                  <a:gd name="T1" fmla="*/ 0 h 57"/>
                  <a:gd name="T2" fmla="*/ 0 w 53"/>
                  <a:gd name="T3" fmla="*/ 2147483647 h 57"/>
                  <a:gd name="T4" fmla="*/ 2147483647 w 53"/>
                  <a:gd name="T5" fmla="*/ 2147483647 h 57"/>
                  <a:gd name="T6" fmla="*/ 2147483647 w 53"/>
                  <a:gd name="T7" fmla="*/ 2147483647 h 57"/>
                  <a:gd name="T8" fmla="*/ 2147483647 w 53"/>
                  <a:gd name="T9" fmla="*/ 2147483647 h 57"/>
                  <a:gd name="T10" fmla="*/ 2147483647 w 53"/>
                  <a:gd name="T11" fmla="*/ 2147483647 h 57"/>
                  <a:gd name="T12" fmla="*/ 2147483647 w 53"/>
                  <a:gd name="T13" fmla="*/ 2147483647 h 57"/>
                  <a:gd name="T14" fmla="*/ 2147483647 w 53"/>
                  <a:gd name="T15" fmla="*/ 2147483647 h 57"/>
                  <a:gd name="T16" fmla="*/ 2147483647 w 53"/>
                  <a:gd name="T17" fmla="*/ 2147483647 h 57"/>
                  <a:gd name="T18" fmla="*/ 2147483647 w 53"/>
                  <a:gd name="T19" fmla="*/ 2147483647 h 57"/>
                  <a:gd name="T20" fmla="*/ 2147483647 w 53"/>
                  <a:gd name="T21" fmla="*/ 2147483647 h 57"/>
                  <a:gd name="T22" fmla="*/ 2147483647 w 53"/>
                  <a:gd name="T23" fmla="*/ 2147483647 h 57"/>
                  <a:gd name="T24" fmla="*/ 2147483647 w 53"/>
                  <a:gd name="T25" fmla="*/ 2147483647 h 57"/>
                  <a:gd name="T26" fmla="*/ 2147483647 w 53"/>
                  <a:gd name="T27" fmla="*/ 2147483647 h 57"/>
                  <a:gd name="T28" fmla="*/ 2147483647 w 53"/>
                  <a:gd name="T29" fmla="*/ 2147483647 h 57"/>
                  <a:gd name="T30" fmla="*/ 2147483647 w 53"/>
                  <a:gd name="T31" fmla="*/ 2147483647 h 57"/>
                  <a:gd name="T32" fmla="*/ 2147483647 w 53"/>
                  <a:gd name="T33" fmla="*/ 2147483647 h 57"/>
                  <a:gd name="T34" fmla="*/ 2147483647 w 53"/>
                  <a:gd name="T35" fmla="*/ 2147483647 h 57"/>
                  <a:gd name="T36" fmla="*/ 2147483647 w 53"/>
                  <a:gd name="T37" fmla="*/ 2147483647 h 57"/>
                  <a:gd name="T38" fmla="*/ 2147483647 w 53"/>
                  <a:gd name="T39" fmla="*/ 2147483647 h 57"/>
                  <a:gd name="T40" fmla="*/ 2147483647 w 53"/>
                  <a:gd name="T41" fmla="*/ 2147483647 h 57"/>
                  <a:gd name="T42" fmla="*/ 2147483647 w 53"/>
                  <a:gd name="T43" fmla="*/ 2147483647 h 57"/>
                  <a:gd name="T44" fmla="*/ 2147483647 w 53"/>
                  <a:gd name="T45" fmla="*/ 2147483647 h 57"/>
                  <a:gd name="T46" fmla="*/ 2147483647 w 53"/>
                  <a:gd name="T47" fmla="*/ 2147483647 h 57"/>
                  <a:gd name="T48" fmla="*/ 2147483647 w 53"/>
                  <a:gd name="T49" fmla="*/ 2147483647 h 57"/>
                  <a:gd name="T50" fmla="*/ 2147483647 w 53"/>
                  <a:gd name="T51" fmla="*/ 2147483647 h 57"/>
                  <a:gd name="T52" fmla="*/ 2147483647 w 53"/>
                  <a:gd name="T53" fmla="*/ 2147483647 h 57"/>
                  <a:gd name="T54" fmla="*/ 2147483647 w 53"/>
                  <a:gd name="T55" fmla="*/ 2147483647 h 57"/>
                  <a:gd name="T56" fmla="*/ 2147483647 w 53"/>
                  <a:gd name="T57" fmla="*/ 2147483647 h 57"/>
                  <a:gd name="T58" fmla="*/ 2147483647 w 53"/>
                  <a:gd name="T59" fmla="*/ 2147483647 h 57"/>
                  <a:gd name="T60" fmla="*/ 2147483647 w 53"/>
                  <a:gd name="T61" fmla="*/ 2147483647 h 57"/>
                  <a:gd name="T62" fmla="*/ 2147483647 w 53"/>
                  <a:gd name="T63" fmla="*/ 2147483647 h 57"/>
                  <a:gd name="T64" fmla="*/ 2147483647 w 53"/>
                  <a:gd name="T65" fmla="*/ 2147483647 h 57"/>
                  <a:gd name="T66" fmla="*/ 2147483647 w 53"/>
                  <a:gd name="T67" fmla="*/ 2147483647 h 57"/>
                  <a:gd name="T68" fmla="*/ 2147483647 w 53"/>
                  <a:gd name="T69" fmla="*/ 2147483647 h 57"/>
                  <a:gd name="T70" fmla="*/ 2147483647 w 53"/>
                  <a:gd name="T71" fmla="*/ 2147483647 h 57"/>
                  <a:gd name="T72" fmla="*/ 2147483647 w 53"/>
                  <a:gd name="T73" fmla="*/ 2147483647 h 57"/>
                  <a:gd name="T74" fmla="*/ 2147483647 w 53"/>
                  <a:gd name="T75" fmla="*/ 2147483647 h 57"/>
                  <a:gd name="T76" fmla="*/ 2147483647 w 53"/>
                  <a:gd name="T77" fmla="*/ 2147483647 h 57"/>
                  <a:gd name="T78" fmla="*/ 2147483647 w 53"/>
                  <a:gd name="T79" fmla="*/ 2147483647 h 57"/>
                  <a:gd name="T80" fmla="*/ 2147483647 w 53"/>
                  <a:gd name="T81" fmla="*/ 2147483647 h 57"/>
                  <a:gd name="T82" fmla="*/ 2147483647 w 53"/>
                  <a:gd name="T83" fmla="*/ 2147483647 h 57"/>
                  <a:gd name="T84" fmla="*/ 2147483647 w 53"/>
                  <a:gd name="T85" fmla="*/ 2147483647 h 57"/>
                  <a:gd name="T86" fmla="*/ 2147483647 w 53"/>
                  <a:gd name="T87" fmla="*/ 2147483647 h 57"/>
                  <a:gd name="T88" fmla="*/ 2147483647 w 53"/>
                  <a:gd name="T89" fmla="*/ 2147483647 h 57"/>
                  <a:gd name="T90" fmla="*/ 2147483647 w 53"/>
                  <a:gd name="T91" fmla="*/ 2147483647 h 57"/>
                  <a:gd name="T92" fmla="*/ 2147483647 w 53"/>
                  <a:gd name="T93" fmla="*/ 2147483647 h 57"/>
                  <a:gd name="T94" fmla="*/ 2147483647 w 53"/>
                  <a:gd name="T95" fmla="*/ 2147483647 h 57"/>
                  <a:gd name="T96" fmla="*/ 2147483647 w 53"/>
                  <a:gd name="T97" fmla="*/ 2147483647 h 57"/>
                  <a:gd name="T98" fmla="*/ 2147483647 w 53"/>
                  <a:gd name="T99" fmla="*/ 2147483647 h 57"/>
                  <a:gd name="T100" fmla="*/ 2147483647 w 53"/>
                  <a:gd name="T101" fmla="*/ 2147483647 h 57"/>
                  <a:gd name="T102" fmla="*/ 2147483647 w 53"/>
                  <a:gd name="T103" fmla="*/ 2147483647 h 57"/>
                  <a:gd name="T104" fmla="*/ 0 w 53"/>
                  <a:gd name="T105" fmla="*/ 2147483647 h 57"/>
                  <a:gd name="T106" fmla="*/ 0 w 53"/>
                  <a:gd name="T107" fmla="*/ 0 h 5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
                  <a:gd name="T163" fmla="*/ 0 h 57"/>
                  <a:gd name="T164" fmla="*/ 53 w 53"/>
                  <a:gd name="T165" fmla="*/ 57 h 5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 h="57">
                    <a:moveTo>
                      <a:pt x="0" y="0"/>
                    </a:moveTo>
                    <a:lnTo>
                      <a:pt x="0" y="2"/>
                    </a:lnTo>
                    <a:lnTo>
                      <a:pt x="5" y="3"/>
                    </a:lnTo>
                    <a:lnTo>
                      <a:pt x="6" y="3"/>
                    </a:lnTo>
                    <a:lnTo>
                      <a:pt x="8" y="3"/>
                    </a:lnTo>
                    <a:lnTo>
                      <a:pt x="18" y="9"/>
                    </a:lnTo>
                    <a:lnTo>
                      <a:pt x="27" y="10"/>
                    </a:lnTo>
                    <a:lnTo>
                      <a:pt x="32" y="7"/>
                    </a:lnTo>
                    <a:lnTo>
                      <a:pt x="38" y="6"/>
                    </a:lnTo>
                    <a:lnTo>
                      <a:pt x="41" y="3"/>
                    </a:lnTo>
                    <a:lnTo>
                      <a:pt x="44" y="5"/>
                    </a:lnTo>
                    <a:lnTo>
                      <a:pt x="45" y="3"/>
                    </a:lnTo>
                    <a:lnTo>
                      <a:pt x="48" y="3"/>
                    </a:lnTo>
                    <a:lnTo>
                      <a:pt x="50" y="6"/>
                    </a:lnTo>
                    <a:lnTo>
                      <a:pt x="51" y="28"/>
                    </a:lnTo>
                    <a:lnTo>
                      <a:pt x="53" y="29"/>
                    </a:lnTo>
                    <a:lnTo>
                      <a:pt x="51" y="32"/>
                    </a:lnTo>
                    <a:lnTo>
                      <a:pt x="51" y="28"/>
                    </a:lnTo>
                    <a:lnTo>
                      <a:pt x="50" y="25"/>
                    </a:lnTo>
                    <a:lnTo>
                      <a:pt x="47" y="32"/>
                    </a:lnTo>
                    <a:lnTo>
                      <a:pt x="47" y="35"/>
                    </a:lnTo>
                    <a:lnTo>
                      <a:pt x="45" y="35"/>
                    </a:lnTo>
                    <a:lnTo>
                      <a:pt x="45" y="41"/>
                    </a:lnTo>
                    <a:lnTo>
                      <a:pt x="44" y="41"/>
                    </a:lnTo>
                    <a:lnTo>
                      <a:pt x="43" y="41"/>
                    </a:lnTo>
                    <a:lnTo>
                      <a:pt x="41" y="41"/>
                    </a:lnTo>
                    <a:lnTo>
                      <a:pt x="40" y="42"/>
                    </a:lnTo>
                    <a:lnTo>
                      <a:pt x="40" y="44"/>
                    </a:lnTo>
                    <a:lnTo>
                      <a:pt x="40" y="47"/>
                    </a:lnTo>
                    <a:lnTo>
                      <a:pt x="37" y="47"/>
                    </a:lnTo>
                    <a:lnTo>
                      <a:pt x="37" y="50"/>
                    </a:lnTo>
                    <a:lnTo>
                      <a:pt x="35" y="48"/>
                    </a:lnTo>
                    <a:lnTo>
                      <a:pt x="34" y="48"/>
                    </a:lnTo>
                    <a:lnTo>
                      <a:pt x="32" y="50"/>
                    </a:lnTo>
                    <a:lnTo>
                      <a:pt x="32" y="54"/>
                    </a:lnTo>
                    <a:lnTo>
                      <a:pt x="31" y="57"/>
                    </a:lnTo>
                    <a:lnTo>
                      <a:pt x="29" y="57"/>
                    </a:lnTo>
                    <a:lnTo>
                      <a:pt x="27" y="55"/>
                    </a:lnTo>
                    <a:lnTo>
                      <a:pt x="25" y="55"/>
                    </a:lnTo>
                    <a:lnTo>
                      <a:pt x="24" y="55"/>
                    </a:lnTo>
                    <a:lnTo>
                      <a:pt x="21" y="54"/>
                    </a:lnTo>
                    <a:lnTo>
                      <a:pt x="19" y="54"/>
                    </a:lnTo>
                    <a:lnTo>
                      <a:pt x="18" y="53"/>
                    </a:lnTo>
                    <a:lnTo>
                      <a:pt x="19" y="53"/>
                    </a:lnTo>
                    <a:lnTo>
                      <a:pt x="21" y="51"/>
                    </a:lnTo>
                    <a:lnTo>
                      <a:pt x="18" y="51"/>
                    </a:lnTo>
                    <a:lnTo>
                      <a:pt x="16" y="50"/>
                    </a:lnTo>
                    <a:lnTo>
                      <a:pt x="9" y="39"/>
                    </a:lnTo>
                    <a:lnTo>
                      <a:pt x="6" y="28"/>
                    </a:lnTo>
                    <a:lnTo>
                      <a:pt x="9" y="34"/>
                    </a:lnTo>
                    <a:lnTo>
                      <a:pt x="12" y="31"/>
                    </a:lnTo>
                    <a:lnTo>
                      <a:pt x="9" y="29"/>
                    </a:lnTo>
                    <a:lnTo>
                      <a:pt x="0" y="10"/>
                    </a:lnTo>
                    <a:lnTo>
                      <a:pt x="0" y="0"/>
                    </a:lnTo>
                  </a:path>
                </a:pathLst>
              </a:custGeom>
              <a:solidFill>
                <a:srgbClr val="FFFFFF">
                  <a:alpha val="25882"/>
                </a:srgbClr>
              </a:solidFill>
              <a:ln w="1">
                <a:noFill/>
                <a:prstDash val="solid"/>
                <a:round/>
                <a:headEnd/>
                <a:tailEnd/>
              </a:ln>
            </p:spPr>
            <p:txBody>
              <a:bodyPr/>
              <a:lstStyle/>
              <a:p>
                <a:pPr marL="0" marR="0" lvl="0" indent="0" algn="l" defTabSz="82004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34B"/>
                  </a:solidFill>
                  <a:effectLst/>
                  <a:uLnTx/>
                  <a:uFillTx/>
                  <a:latin typeface="Calibri" pitchFamily="34" charset="0"/>
                  <a:ea typeface="+mn-ea"/>
                  <a:cs typeface="Arial" pitchFamily="34" charset="0"/>
                </a:endParaRPr>
              </a:p>
            </p:txBody>
          </p:sp>
          <p:sp>
            <p:nvSpPr>
              <p:cNvPr id="1366" name="Freeform 281"/>
              <p:cNvSpPr>
                <a:spLocks/>
              </p:cNvSpPr>
              <p:nvPr/>
            </p:nvSpPr>
            <p:spPr bwMode="auto">
              <a:xfrm>
                <a:off x="8358406" y="3840925"/>
                <a:ext cx="71811" cy="113527"/>
              </a:xfrm>
              <a:custGeom>
                <a:avLst/>
                <a:gdLst>
                  <a:gd name="T0" fmla="*/ 19 w 73"/>
                  <a:gd name="T1" fmla="*/ 86 h 115"/>
                  <a:gd name="T2" fmla="*/ 37 w 73"/>
                  <a:gd name="T3" fmla="*/ 95 h 115"/>
                  <a:gd name="T4" fmla="*/ 30 w 73"/>
                  <a:gd name="T5" fmla="*/ 125 h 115"/>
                  <a:gd name="T6" fmla="*/ 37 w 73"/>
                  <a:gd name="T7" fmla="*/ 136 h 115"/>
                  <a:gd name="T8" fmla="*/ 48 w 73"/>
                  <a:gd name="T9" fmla="*/ 125 h 115"/>
                  <a:gd name="T10" fmla="*/ 68 w 73"/>
                  <a:gd name="T11" fmla="*/ 86 h 115"/>
                  <a:gd name="T12" fmla="*/ 78 w 73"/>
                  <a:gd name="T13" fmla="*/ 86 h 115"/>
                  <a:gd name="T14" fmla="*/ 87 w 73"/>
                  <a:gd name="T15" fmla="*/ 77 h 115"/>
                  <a:gd name="T16" fmla="*/ 87 w 73"/>
                  <a:gd name="T17" fmla="*/ 58 h 115"/>
                  <a:gd name="T18" fmla="*/ 78 w 73"/>
                  <a:gd name="T19" fmla="*/ 48 h 115"/>
                  <a:gd name="T20" fmla="*/ 68 w 73"/>
                  <a:gd name="T21" fmla="*/ 58 h 115"/>
                  <a:gd name="T22" fmla="*/ 48 w 73"/>
                  <a:gd name="T23" fmla="*/ 58 h 115"/>
                  <a:gd name="T24" fmla="*/ 48 w 73"/>
                  <a:gd name="T25" fmla="*/ 38 h 115"/>
                  <a:gd name="T26" fmla="*/ 37 w 73"/>
                  <a:gd name="T27" fmla="*/ 38 h 115"/>
                  <a:gd name="T28" fmla="*/ 37 w 73"/>
                  <a:gd name="T29" fmla="*/ 48 h 115"/>
                  <a:gd name="T30" fmla="*/ 30 w 73"/>
                  <a:gd name="T31" fmla="*/ 38 h 115"/>
                  <a:gd name="T32" fmla="*/ 30 w 73"/>
                  <a:gd name="T33" fmla="*/ 11 h 115"/>
                  <a:gd name="T34" fmla="*/ 0 w 73"/>
                  <a:gd name="T35" fmla="*/ 0 h 115"/>
                  <a:gd name="T36" fmla="*/ 30 w 73"/>
                  <a:gd name="T37" fmla="*/ 38 h 115"/>
                  <a:gd name="T38" fmla="*/ 30 w 73"/>
                  <a:gd name="T39" fmla="*/ 77 h 115"/>
                  <a:gd name="T40" fmla="*/ 19 w 73"/>
                  <a:gd name="T41" fmla="*/ 86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3"/>
                  <a:gd name="T64" fmla="*/ 0 h 115"/>
                  <a:gd name="T65" fmla="*/ 73 w 73"/>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solidFill>
                <a:srgbClr val="FFFFFF">
                  <a:alpha val="25882"/>
                </a:srgbClr>
              </a:solidFill>
              <a:ln w="6350" cap="rnd">
                <a:noFill/>
                <a:round/>
                <a:headEnd/>
                <a:tailEnd/>
              </a:ln>
            </p:spPr>
            <p:txBody>
              <a:bodyPr/>
              <a:lstStyle/>
              <a:p>
                <a:pPr marL="0" marR="0" lvl="0" indent="0" algn="l" defTabSz="9138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263147"/>
                  </a:solidFill>
                  <a:effectLst/>
                  <a:uLnTx/>
                  <a:uFillTx/>
                  <a:latin typeface="Calibri" pitchFamily="34" charset="0"/>
                  <a:ea typeface="+mn-ea"/>
                  <a:cs typeface="Arial" pitchFamily="34" charset="0"/>
                </a:endParaRPr>
              </a:p>
            </p:txBody>
          </p:sp>
          <p:sp>
            <p:nvSpPr>
              <p:cNvPr id="1367" name="Freeform 282"/>
              <p:cNvSpPr>
                <a:spLocks/>
              </p:cNvSpPr>
              <p:nvPr/>
            </p:nvSpPr>
            <p:spPr bwMode="auto">
              <a:xfrm>
                <a:off x="8358406" y="3840925"/>
                <a:ext cx="71811" cy="113527"/>
              </a:xfrm>
              <a:custGeom>
                <a:avLst/>
                <a:gdLst>
                  <a:gd name="T0" fmla="*/ 19 w 73"/>
                  <a:gd name="T1" fmla="*/ 86 h 115"/>
                  <a:gd name="T2" fmla="*/ 37 w 73"/>
                  <a:gd name="T3" fmla="*/ 95 h 115"/>
                  <a:gd name="T4" fmla="*/ 30 w 73"/>
                  <a:gd name="T5" fmla="*/ 125 h 115"/>
                  <a:gd name="T6" fmla="*/ 37 w 73"/>
                  <a:gd name="T7" fmla="*/ 136 h 115"/>
                  <a:gd name="T8" fmla="*/ 48 w 73"/>
                  <a:gd name="T9" fmla="*/ 125 h 115"/>
                  <a:gd name="T10" fmla="*/ 68 w 73"/>
                  <a:gd name="T11" fmla="*/ 86 h 115"/>
                  <a:gd name="T12" fmla="*/ 78 w 73"/>
                  <a:gd name="T13" fmla="*/ 86 h 115"/>
                  <a:gd name="T14" fmla="*/ 87 w 73"/>
                  <a:gd name="T15" fmla="*/ 77 h 115"/>
                  <a:gd name="T16" fmla="*/ 87 w 73"/>
                  <a:gd name="T17" fmla="*/ 58 h 115"/>
                  <a:gd name="T18" fmla="*/ 78 w 73"/>
                  <a:gd name="T19" fmla="*/ 48 h 115"/>
                  <a:gd name="T20" fmla="*/ 68 w 73"/>
                  <a:gd name="T21" fmla="*/ 58 h 115"/>
                  <a:gd name="T22" fmla="*/ 48 w 73"/>
                  <a:gd name="T23" fmla="*/ 58 h 115"/>
                  <a:gd name="T24" fmla="*/ 48 w 73"/>
                  <a:gd name="T25" fmla="*/ 38 h 115"/>
                  <a:gd name="T26" fmla="*/ 37 w 73"/>
                  <a:gd name="T27" fmla="*/ 38 h 115"/>
                  <a:gd name="T28" fmla="*/ 37 w 73"/>
                  <a:gd name="T29" fmla="*/ 48 h 115"/>
                  <a:gd name="T30" fmla="*/ 30 w 73"/>
                  <a:gd name="T31" fmla="*/ 38 h 115"/>
                  <a:gd name="T32" fmla="*/ 30 w 73"/>
                  <a:gd name="T33" fmla="*/ 11 h 115"/>
                  <a:gd name="T34" fmla="*/ 0 w 73"/>
                  <a:gd name="T35" fmla="*/ 0 h 115"/>
                  <a:gd name="T36" fmla="*/ 30 w 73"/>
                  <a:gd name="T37" fmla="*/ 38 h 115"/>
                  <a:gd name="T38" fmla="*/ 30 w 73"/>
                  <a:gd name="T39" fmla="*/ 77 h 115"/>
                  <a:gd name="T40" fmla="*/ 19 w 73"/>
                  <a:gd name="T41" fmla="*/ 86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3"/>
                  <a:gd name="T64" fmla="*/ 0 h 115"/>
                  <a:gd name="T65" fmla="*/ 73 w 73"/>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solidFill>
                <a:srgbClr val="FFFFFF">
                  <a:alpha val="25882"/>
                </a:srgbClr>
              </a:solidFill>
              <a:ln w="6350" cap="rnd">
                <a:noFill/>
                <a:round/>
                <a:headEnd type="none" w="sm" len="sm"/>
                <a:tailEnd type="none" w="sm" len="sm"/>
              </a:ln>
            </p:spPr>
            <p:txBody>
              <a:bodyPr/>
              <a:lstStyle/>
              <a:p>
                <a:pPr marL="0" marR="0" lvl="0" indent="0" algn="l" defTabSz="9138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263147"/>
                  </a:solidFill>
                  <a:effectLst/>
                  <a:uLnTx/>
                  <a:uFillTx/>
                  <a:latin typeface="Calibri" pitchFamily="34" charset="0"/>
                  <a:ea typeface="+mn-ea"/>
                  <a:cs typeface="Arial" pitchFamily="34" charset="0"/>
                </a:endParaRPr>
              </a:p>
            </p:txBody>
          </p:sp>
          <p:sp>
            <p:nvSpPr>
              <p:cNvPr id="1368" name="Freeform 283"/>
              <p:cNvSpPr>
                <a:spLocks/>
              </p:cNvSpPr>
              <p:nvPr/>
            </p:nvSpPr>
            <p:spPr bwMode="auto">
              <a:xfrm>
                <a:off x="8280068" y="3937051"/>
                <a:ext cx="104452" cy="105241"/>
              </a:xfrm>
              <a:custGeom>
                <a:avLst/>
                <a:gdLst>
                  <a:gd name="T0" fmla="*/ 0 w 107"/>
                  <a:gd name="T1" fmla="*/ 107 h 106"/>
                  <a:gd name="T2" fmla="*/ 11 w 107"/>
                  <a:gd name="T3" fmla="*/ 116 h 106"/>
                  <a:gd name="T4" fmla="*/ 18 w 107"/>
                  <a:gd name="T5" fmla="*/ 116 h 106"/>
                  <a:gd name="T6" fmla="*/ 38 w 107"/>
                  <a:gd name="T7" fmla="*/ 126 h 106"/>
                  <a:gd name="T8" fmla="*/ 59 w 107"/>
                  <a:gd name="T9" fmla="*/ 116 h 106"/>
                  <a:gd name="T10" fmla="*/ 67 w 107"/>
                  <a:gd name="T11" fmla="*/ 96 h 106"/>
                  <a:gd name="T12" fmla="*/ 78 w 107"/>
                  <a:gd name="T13" fmla="*/ 78 h 106"/>
                  <a:gd name="T14" fmla="*/ 97 w 107"/>
                  <a:gd name="T15" fmla="*/ 59 h 106"/>
                  <a:gd name="T16" fmla="*/ 106 w 107"/>
                  <a:gd name="T17" fmla="*/ 59 h 106"/>
                  <a:gd name="T18" fmla="*/ 97 w 107"/>
                  <a:gd name="T19" fmla="*/ 48 h 106"/>
                  <a:gd name="T20" fmla="*/ 127 w 107"/>
                  <a:gd name="T21" fmla="*/ 20 h 106"/>
                  <a:gd name="T22" fmla="*/ 127 w 107"/>
                  <a:gd name="T23" fmla="*/ 10 h 106"/>
                  <a:gd name="T24" fmla="*/ 116 w 107"/>
                  <a:gd name="T25" fmla="*/ 10 h 106"/>
                  <a:gd name="T26" fmla="*/ 116 w 107"/>
                  <a:gd name="T27" fmla="*/ 0 h 106"/>
                  <a:gd name="T28" fmla="*/ 106 w 107"/>
                  <a:gd name="T29" fmla="*/ 10 h 106"/>
                  <a:gd name="T30" fmla="*/ 106 w 107"/>
                  <a:gd name="T31" fmla="*/ 0 h 106"/>
                  <a:gd name="T32" fmla="*/ 97 w 107"/>
                  <a:gd name="T33" fmla="*/ 0 h 106"/>
                  <a:gd name="T34" fmla="*/ 86 w 107"/>
                  <a:gd name="T35" fmla="*/ 0 h 106"/>
                  <a:gd name="T36" fmla="*/ 86 w 107"/>
                  <a:gd name="T37" fmla="*/ 20 h 106"/>
                  <a:gd name="T38" fmla="*/ 78 w 107"/>
                  <a:gd name="T39" fmla="*/ 20 h 106"/>
                  <a:gd name="T40" fmla="*/ 67 w 107"/>
                  <a:gd name="T41" fmla="*/ 40 h 106"/>
                  <a:gd name="T42" fmla="*/ 29 w 107"/>
                  <a:gd name="T43" fmla="*/ 66 h 106"/>
                  <a:gd name="T44" fmla="*/ 0 w 107"/>
                  <a:gd name="T45" fmla="*/ 107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106"/>
                  <a:gd name="T71" fmla="*/ 107 w 107"/>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solidFill>
                <a:srgbClr val="FFFFFF">
                  <a:alpha val="25882"/>
                </a:srgbClr>
              </a:solidFill>
              <a:ln w="6350" cap="rnd">
                <a:noFill/>
                <a:round/>
                <a:headEnd/>
                <a:tailEnd/>
              </a:ln>
            </p:spPr>
            <p:txBody>
              <a:bodyPr/>
              <a:lstStyle/>
              <a:p>
                <a:pPr marL="0" marR="0" lvl="0" indent="0" algn="l" defTabSz="9138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263147"/>
                  </a:solidFill>
                  <a:effectLst/>
                  <a:uLnTx/>
                  <a:uFillTx/>
                  <a:latin typeface="Calibri" pitchFamily="34" charset="0"/>
                  <a:ea typeface="+mn-ea"/>
                  <a:cs typeface="Arial" pitchFamily="34" charset="0"/>
                </a:endParaRPr>
              </a:p>
            </p:txBody>
          </p:sp>
          <p:sp>
            <p:nvSpPr>
              <p:cNvPr id="1369" name="Freeform 284"/>
              <p:cNvSpPr>
                <a:spLocks/>
              </p:cNvSpPr>
              <p:nvPr/>
            </p:nvSpPr>
            <p:spPr bwMode="auto">
              <a:xfrm>
                <a:off x="8280068" y="3937051"/>
                <a:ext cx="104452" cy="105241"/>
              </a:xfrm>
              <a:custGeom>
                <a:avLst/>
                <a:gdLst>
                  <a:gd name="T0" fmla="*/ 0 w 107"/>
                  <a:gd name="T1" fmla="*/ 107 h 106"/>
                  <a:gd name="T2" fmla="*/ 11 w 107"/>
                  <a:gd name="T3" fmla="*/ 116 h 106"/>
                  <a:gd name="T4" fmla="*/ 18 w 107"/>
                  <a:gd name="T5" fmla="*/ 116 h 106"/>
                  <a:gd name="T6" fmla="*/ 38 w 107"/>
                  <a:gd name="T7" fmla="*/ 126 h 106"/>
                  <a:gd name="T8" fmla="*/ 59 w 107"/>
                  <a:gd name="T9" fmla="*/ 116 h 106"/>
                  <a:gd name="T10" fmla="*/ 67 w 107"/>
                  <a:gd name="T11" fmla="*/ 96 h 106"/>
                  <a:gd name="T12" fmla="*/ 78 w 107"/>
                  <a:gd name="T13" fmla="*/ 78 h 106"/>
                  <a:gd name="T14" fmla="*/ 97 w 107"/>
                  <a:gd name="T15" fmla="*/ 59 h 106"/>
                  <a:gd name="T16" fmla="*/ 106 w 107"/>
                  <a:gd name="T17" fmla="*/ 59 h 106"/>
                  <a:gd name="T18" fmla="*/ 97 w 107"/>
                  <a:gd name="T19" fmla="*/ 48 h 106"/>
                  <a:gd name="T20" fmla="*/ 127 w 107"/>
                  <a:gd name="T21" fmla="*/ 20 h 106"/>
                  <a:gd name="T22" fmla="*/ 127 w 107"/>
                  <a:gd name="T23" fmla="*/ 10 h 106"/>
                  <a:gd name="T24" fmla="*/ 116 w 107"/>
                  <a:gd name="T25" fmla="*/ 10 h 106"/>
                  <a:gd name="T26" fmla="*/ 116 w 107"/>
                  <a:gd name="T27" fmla="*/ 0 h 106"/>
                  <a:gd name="T28" fmla="*/ 106 w 107"/>
                  <a:gd name="T29" fmla="*/ 10 h 106"/>
                  <a:gd name="T30" fmla="*/ 106 w 107"/>
                  <a:gd name="T31" fmla="*/ 0 h 106"/>
                  <a:gd name="T32" fmla="*/ 97 w 107"/>
                  <a:gd name="T33" fmla="*/ 0 h 106"/>
                  <a:gd name="T34" fmla="*/ 86 w 107"/>
                  <a:gd name="T35" fmla="*/ 0 h 106"/>
                  <a:gd name="T36" fmla="*/ 86 w 107"/>
                  <a:gd name="T37" fmla="*/ 20 h 106"/>
                  <a:gd name="T38" fmla="*/ 78 w 107"/>
                  <a:gd name="T39" fmla="*/ 20 h 106"/>
                  <a:gd name="T40" fmla="*/ 67 w 107"/>
                  <a:gd name="T41" fmla="*/ 40 h 106"/>
                  <a:gd name="T42" fmla="*/ 29 w 107"/>
                  <a:gd name="T43" fmla="*/ 66 h 106"/>
                  <a:gd name="T44" fmla="*/ 0 w 107"/>
                  <a:gd name="T45" fmla="*/ 107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106"/>
                  <a:gd name="T71" fmla="*/ 107 w 107"/>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solidFill>
                <a:srgbClr val="FFFFFF">
                  <a:alpha val="25882"/>
                </a:srgbClr>
              </a:solidFill>
              <a:ln w="6350" cap="rnd">
                <a:noFill/>
                <a:round/>
                <a:headEnd type="none" w="sm" len="sm"/>
                <a:tailEnd type="none" w="sm" len="sm"/>
              </a:ln>
            </p:spPr>
            <p:txBody>
              <a:bodyPr/>
              <a:lstStyle/>
              <a:p>
                <a:pPr marL="0" marR="0" lvl="0" indent="0" algn="l" defTabSz="9138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263147"/>
                  </a:solidFill>
                  <a:effectLst/>
                  <a:uLnTx/>
                  <a:uFillTx/>
                  <a:latin typeface="Calibri" pitchFamily="34" charset="0"/>
                  <a:ea typeface="+mn-ea"/>
                  <a:cs typeface="Arial" pitchFamily="34" charset="0"/>
                </a:endParaRPr>
              </a:p>
            </p:txBody>
          </p:sp>
        </p:grpSp>
        <p:grpSp>
          <p:nvGrpSpPr>
            <p:cNvPr id="1338" name="Group 5"/>
            <p:cNvGrpSpPr/>
            <p:nvPr/>
          </p:nvGrpSpPr>
          <p:grpSpPr>
            <a:xfrm>
              <a:off x="4694453" y="2453084"/>
              <a:ext cx="111906" cy="129265"/>
              <a:chOff x="4694453" y="2453084"/>
              <a:chExt cx="111906" cy="129265"/>
            </a:xfrm>
          </p:grpSpPr>
          <p:sp>
            <p:nvSpPr>
              <p:cNvPr id="1363" name="Teardrop 1362"/>
              <p:cNvSpPr/>
              <p:nvPr/>
            </p:nvSpPr>
            <p:spPr bwMode="auto">
              <a:xfrm rot="13518115" flipH="1">
                <a:off x="4685773" y="2461764"/>
                <a:ext cx="129265" cy="111906"/>
              </a:xfrm>
              <a:prstGeom prst="teardrop">
                <a:avLst>
                  <a:gd name="adj" fmla="val 122412"/>
                </a:avLst>
              </a:prstGeom>
              <a:solidFill>
                <a:schemeClr val="bg1"/>
              </a:solidFill>
              <a:ln w="1270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marL="0" marR="0" lvl="0" indent="0" algn="ctr" defTabSz="914310" rtl="0" eaLnBrk="0" fontAlgn="auto" latinLnBrk="0" hangingPunct="0">
                  <a:lnSpc>
                    <a:spcPct val="85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B1B3B4">
                      <a:lumMod val="50000"/>
                    </a:srgbClr>
                  </a:solidFill>
                  <a:effectLst/>
                  <a:uLnTx/>
                  <a:uFillTx/>
                  <a:latin typeface="Calibri" pitchFamily="34" charset="0"/>
                  <a:ea typeface="+mn-ea"/>
                  <a:cs typeface="Arial" pitchFamily="34" charset="0"/>
                </a:endParaRPr>
              </a:p>
            </p:txBody>
          </p:sp>
          <p:sp>
            <p:nvSpPr>
              <p:cNvPr id="1364" name="Oval 1363"/>
              <p:cNvSpPr/>
              <p:nvPr/>
            </p:nvSpPr>
            <p:spPr bwMode="auto">
              <a:xfrm>
                <a:off x="4715898" y="2473168"/>
                <a:ext cx="69016" cy="79734"/>
              </a:xfrm>
              <a:prstGeom prst="ellipse">
                <a:avLst/>
              </a:prstGeom>
              <a:solidFill>
                <a:srgbClr val="FF0000"/>
              </a:solidFill>
              <a:ln w="635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310" rtl="0" eaLnBrk="0" fontAlgn="base" latinLnBrk="0" hangingPunct="0">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9F958F">
                      <a:lumMod val="50000"/>
                    </a:srgbClr>
                  </a:solidFill>
                  <a:effectLst/>
                  <a:uLnTx/>
                  <a:uFillTx/>
                  <a:latin typeface="Calibri" pitchFamily="34" charset="0"/>
                  <a:ea typeface="+mn-ea"/>
                  <a:cs typeface="Arial" pitchFamily="34" charset="0"/>
                </a:endParaRPr>
              </a:p>
            </p:txBody>
          </p:sp>
        </p:grpSp>
        <p:grpSp>
          <p:nvGrpSpPr>
            <p:cNvPr id="1339" name="Group 6"/>
            <p:cNvGrpSpPr/>
            <p:nvPr/>
          </p:nvGrpSpPr>
          <p:grpSpPr>
            <a:xfrm>
              <a:off x="5420822" y="3276190"/>
              <a:ext cx="111906" cy="129265"/>
              <a:chOff x="5420822" y="3276190"/>
              <a:chExt cx="111906" cy="129265"/>
            </a:xfrm>
          </p:grpSpPr>
          <p:sp>
            <p:nvSpPr>
              <p:cNvPr id="1361" name="Teardrop 1360"/>
              <p:cNvSpPr/>
              <p:nvPr/>
            </p:nvSpPr>
            <p:spPr bwMode="auto">
              <a:xfrm rot="13518115" flipH="1">
                <a:off x="5412142" y="3284870"/>
                <a:ext cx="129265" cy="111906"/>
              </a:xfrm>
              <a:prstGeom prst="teardrop">
                <a:avLst>
                  <a:gd name="adj" fmla="val 122412"/>
                </a:avLst>
              </a:prstGeom>
              <a:solidFill>
                <a:schemeClr val="bg1"/>
              </a:solidFill>
              <a:ln w="1270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marL="0" marR="0" lvl="0" indent="0" algn="ctr" defTabSz="914310" rtl="0" eaLnBrk="0" fontAlgn="auto" latinLnBrk="0" hangingPunct="0">
                  <a:lnSpc>
                    <a:spcPct val="85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B1B3B4">
                      <a:lumMod val="50000"/>
                    </a:srgbClr>
                  </a:solidFill>
                  <a:effectLst/>
                  <a:uLnTx/>
                  <a:uFillTx/>
                  <a:latin typeface="Calibri" pitchFamily="34" charset="0"/>
                  <a:ea typeface="+mn-ea"/>
                  <a:cs typeface="Arial" pitchFamily="34" charset="0"/>
                </a:endParaRPr>
              </a:p>
            </p:txBody>
          </p:sp>
          <p:sp>
            <p:nvSpPr>
              <p:cNvPr id="1362" name="Oval 1361"/>
              <p:cNvSpPr/>
              <p:nvPr/>
            </p:nvSpPr>
            <p:spPr bwMode="auto">
              <a:xfrm>
                <a:off x="5442267" y="3296274"/>
                <a:ext cx="69016" cy="79734"/>
              </a:xfrm>
              <a:prstGeom prst="ellipse">
                <a:avLst/>
              </a:prstGeom>
              <a:solidFill>
                <a:srgbClr val="FF0000"/>
              </a:solidFill>
              <a:ln w="635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310" rtl="0" eaLnBrk="0" fontAlgn="base" latinLnBrk="0" hangingPunct="0">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9F958F">
                      <a:lumMod val="50000"/>
                    </a:srgbClr>
                  </a:solidFill>
                  <a:effectLst/>
                  <a:uLnTx/>
                  <a:uFillTx/>
                  <a:latin typeface="Calibri" pitchFamily="34" charset="0"/>
                  <a:ea typeface="+mn-ea"/>
                  <a:cs typeface="Arial" pitchFamily="34" charset="0"/>
                </a:endParaRPr>
              </a:p>
            </p:txBody>
          </p:sp>
        </p:grpSp>
        <p:grpSp>
          <p:nvGrpSpPr>
            <p:cNvPr id="1340" name="Group 7"/>
            <p:cNvGrpSpPr/>
            <p:nvPr/>
          </p:nvGrpSpPr>
          <p:grpSpPr>
            <a:xfrm>
              <a:off x="7098985" y="2762814"/>
              <a:ext cx="111906" cy="129265"/>
              <a:chOff x="7098985" y="2762814"/>
              <a:chExt cx="111906" cy="129265"/>
            </a:xfrm>
          </p:grpSpPr>
          <p:sp>
            <p:nvSpPr>
              <p:cNvPr id="1359" name="Teardrop 1358"/>
              <p:cNvSpPr/>
              <p:nvPr/>
            </p:nvSpPr>
            <p:spPr bwMode="auto">
              <a:xfrm rot="13518115" flipH="1">
                <a:off x="7090305" y="2771494"/>
                <a:ext cx="129265" cy="111906"/>
              </a:xfrm>
              <a:prstGeom prst="teardrop">
                <a:avLst>
                  <a:gd name="adj" fmla="val 122412"/>
                </a:avLst>
              </a:prstGeom>
              <a:solidFill>
                <a:schemeClr val="bg1"/>
              </a:solidFill>
              <a:ln w="1270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marL="0" marR="0" lvl="0" indent="0" algn="ctr" defTabSz="914310" rtl="0" eaLnBrk="0" fontAlgn="auto" latinLnBrk="0" hangingPunct="0">
                  <a:lnSpc>
                    <a:spcPct val="85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B1B3B4">
                      <a:lumMod val="50000"/>
                    </a:srgbClr>
                  </a:solidFill>
                  <a:effectLst/>
                  <a:uLnTx/>
                  <a:uFillTx/>
                  <a:latin typeface="Calibri" pitchFamily="34" charset="0"/>
                  <a:ea typeface="+mn-ea"/>
                  <a:cs typeface="Arial" pitchFamily="34" charset="0"/>
                </a:endParaRPr>
              </a:p>
            </p:txBody>
          </p:sp>
          <p:sp>
            <p:nvSpPr>
              <p:cNvPr id="1360" name="Oval 1359"/>
              <p:cNvSpPr/>
              <p:nvPr/>
            </p:nvSpPr>
            <p:spPr bwMode="auto">
              <a:xfrm>
                <a:off x="7120430" y="2782898"/>
                <a:ext cx="69016" cy="79734"/>
              </a:xfrm>
              <a:prstGeom prst="ellipse">
                <a:avLst/>
              </a:prstGeom>
              <a:solidFill>
                <a:srgbClr val="FF0000"/>
              </a:solidFill>
              <a:ln w="635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310" rtl="0" eaLnBrk="0" fontAlgn="base" latinLnBrk="0" hangingPunct="0">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9F958F">
                      <a:lumMod val="50000"/>
                    </a:srgbClr>
                  </a:solidFill>
                  <a:effectLst/>
                  <a:uLnTx/>
                  <a:uFillTx/>
                  <a:latin typeface="Calibri" pitchFamily="34" charset="0"/>
                  <a:ea typeface="+mn-ea"/>
                  <a:cs typeface="Arial" pitchFamily="34" charset="0"/>
                </a:endParaRPr>
              </a:p>
            </p:txBody>
          </p:sp>
        </p:grpSp>
        <p:grpSp>
          <p:nvGrpSpPr>
            <p:cNvPr id="1341" name="Group 8"/>
            <p:cNvGrpSpPr/>
            <p:nvPr/>
          </p:nvGrpSpPr>
          <p:grpSpPr>
            <a:xfrm>
              <a:off x="7446401" y="3179455"/>
              <a:ext cx="111906" cy="129265"/>
              <a:chOff x="7446401" y="3179455"/>
              <a:chExt cx="111906" cy="129265"/>
            </a:xfrm>
          </p:grpSpPr>
          <p:sp>
            <p:nvSpPr>
              <p:cNvPr id="1357" name="Teardrop 1356"/>
              <p:cNvSpPr/>
              <p:nvPr/>
            </p:nvSpPr>
            <p:spPr bwMode="auto">
              <a:xfrm rot="13518115" flipH="1">
                <a:off x="7437721" y="3188135"/>
                <a:ext cx="129265" cy="111906"/>
              </a:xfrm>
              <a:prstGeom prst="teardrop">
                <a:avLst>
                  <a:gd name="adj" fmla="val 122412"/>
                </a:avLst>
              </a:prstGeom>
              <a:solidFill>
                <a:schemeClr val="bg1"/>
              </a:solidFill>
              <a:ln w="1270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marL="0" marR="0" lvl="0" indent="0" algn="ctr" defTabSz="914310" rtl="0" eaLnBrk="0" fontAlgn="auto" latinLnBrk="0" hangingPunct="0">
                  <a:lnSpc>
                    <a:spcPct val="85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B1B3B4">
                      <a:lumMod val="50000"/>
                    </a:srgbClr>
                  </a:solidFill>
                  <a:effectLst/>
                  <a:uLnTx/>
                  <a:uFillTx/>
                  <a:latin typeface="Calibri" pitchFamily="34" charset="0"/>
                  <a:ea typeface="+mn-ea"/>
                  <a:cs typeface="Arial" pitchFamily="34" charset="0"/>
                </a:endParaRPr>
              </a:p>
            </p:txBody>
          </p:sp>
          <p:sp>
            <p:nvSpPr>
              <p:cNvPr id="1358" name="Oval 1357"/>
              <p:cNvSpPr/>
              <p:nvPr/>
            </p:nvSpPr>
            <p:spPr bwMode="auto">
              <a:xfrm>
                <a:off x="7459034" y="3199539"/>
                <a:ext cx="69016" cy="79733"/>
              </a:xfrm>
              <a:prstGeom prst="ellipse">
                <a:avLst/>
              </a:prstGeom>
              <a:solidFill>
                <a:srgbClr val="FF0000"/>
              </a:solidFill>
              <a:ln w="635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310" rtl="0" eaLnBrk="0" fontAlgn="base" latinLnBrk="0" hangingPunct="0">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9F958F">
                      <a:lumMod val="50000"/>
                    </a:srgbClr>
                  </a:solidFill>
                  <a:effectLst/>
                  <a:uLnTx/>
                  <a:uFillTx/>
                  <a:latin typeface="Calibri" pitchFamily="34" charset="0"/>
                  <a:ea typeface="+mn-ea"/>
                  <a:cs typeface="Arial" pitchFamily="34" charset="0"/>
                </a:endParaRPr>
              </a:p>
            </p:txBody>
          </p:sp>
        </p:grpSp>
        <p:sp>
          <p:nvSpPr>
            <p:cNvPr id="1342" name="Afgeronde rechthoek 21"/>
            <p:cNvSpPr>
              <a:spLocks/>
            </p:cNvSpPr>
            <p:nvPr/>
          </p:nvSpPr>
          <p:spPr>
            <a:xfrm>
              <a:off x="5148363" y="2561676"/>
              <a:ext cx="519838" cy="473423"/>
            </a:xfrm>
            <a:prstGeom prst="roundRect">
              <a:avLst>
                <a:gd name="adj" fmla="val 0"/>
              </a:avLst>
            </a:prstGeom>
            <a:solidFill>
              <a:srgbClr val="0070C0"/>
            </a:solidFill>
            <a:ln w="12700" cap="flat" cmpd="sng" algn="ctr">
              <a:noFill/>
              <a:prstDash val="solid"/>
              <a:round/>
              <a:headEnd type="none" w="med" len="med"/>
              <a:tailEnd type="none" w="med" len="med"/>
            </a:ln>
            <a:effectLst/>
          </p:spPr>
          <p:txBody>
            <a:bodyPr vert="horz" wrap="square" lIns="91440" tIns="45720" rIns="91440" bIns="45720" anchor="ctr" anchorCtr="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US" sz="500" b="1" i="0" u="none" strike="noStrike" kern="0" cap="none" spc="0" normalizeH="0" baseline="0" noProof="0" dirty="0">
                  <a:ln>
                    <a:noFill/>
                  </a:ln>
                  <a:solidFill>
                    <a:prstClr val="white"/>
                  </a:solidFill>
                  <a:effectLst/>
                  <a:uLnTx/>
                  <a:uFillTx/>
                  <a:latin typeface="Calibri" pitchFamily="34" charset="0"/>
                  <a:ea typeface="+mn-ea"/>
                  <a:cs typeface="Arial" pitchFamily="34" charset="0"/>
                </a:rPr>
                <a:t>USA</a:t>
              </a:r>
            </a:p>
          </p:txBody>
        </p:sp>
        <p:sp>
          <p:nvSpPr>
            <p:cNvPr id="1343" name="TextBox 1342"/>
            <p:cNvSpPr txBox="1"/>
            <p:nvPr/>
          </p:nvSpPr>
          <p:spPr>
            <a:xfrm>
              <a:off x="6978859" y="3741349"/>
              <a:ext cx="596200" cy="539313"/>
            </a:xfrm>
            <a:prstGeom prst="roundRect">
              <a:avLst>
                <a:gd name="adj" fmla="val 5936"/>
              </a:avLst>
            </a:prstGeom>
            <a:solidFill>
              <a:schemeClr val="accent3">
                <a:lumMod val="20000"/>
                <a:lumOff val="80000"/>
                <a:alpha val="30196"/>
              </a:schemeClr>
            </a:solidFill>
            <a:ln w="6350" cap="flat" cmpd="sng" algn="ctr">
              <a:solidFill>
                <a:schemeClr val="accent3"/>
              </a:solidFill>
              <a:prstDash val="solid"/>
              <a:round/>
              <a:headEnd type="none" w="med" len="med"/>
              <a:tailEnd type="none" w="med" len="med"/>
            </a:ln>
            <a:effectLst/>
          </p:spPr>
          <p:txBody>
            <a:bodyPr vert="horz" wrap="square" lIns="45720" tIns="27432" rIns="45720" bIns="27432" numCol="1" rtlCol="0" anchor="ctr" anchorCtr="0" compatLnSpc="1">
              <a:prstTxWarp prst="textNoShape">
                <a:avLst/>
              </a:prstTxWarp>
            </a:bodyPr>
            <a:lstStyle/>
            <a:p>
              <a:pPr marL="0" marR="0" lvl="0" indent="0" algn="ctr" defTabSz="913856" rtl="0" eaLnBrk="0" fontAlgn="base" latinLnBrk="0" hangingPunct="0">
                <a:lnSpc>
                  <a:spcPct val="100000"/>
                </a:lnSpc>
                <a:spcBef>
                  <a:spcPct val="0"/>
                </a:spcBef>
                <a:spcAft>
                  <a:spcPct val="0"/>
                </a:spcAft>
                <a:buClrTx/>
                <a:buSzTx/>
                <a:buFontTx/>
                <a:buNone/>
                <a:tabLst/>
                <a:defRPr/>
              </a:pPr>
              <a:r>
                <a:rPr kumimoji="0" lang="en-US" sz="400" b="1" i="0" u="none" strike="noStrike" kern="0" cap="none" spc="0" normalizeH="0" baseline="0" noProof="0" dirty="0">
                  <a:ln>
                    <a:noFill/>
                  </a:ln>
                  <a:solidFill>
                    <a:srgbClr val="B1B3B4">
                      <a:lumMod val="50000"/>
                    </a:srgbClr>
                  </a:solidFill>
                  <a:effectLst/>
                  <a:uLnTx/>
                  <a:uFillTx/>
                  <a:latin typeface="Calibri" pitchFamily="34" charset="0"/>
                  <a:ea typeface="+mn-ea"/>
                  <a:cs typeface="Arial" pitchFamily="34" charset="0"/>
                </a:rPr>
                <a:t>Prime Delivery Hub</a:t>
              </a:r>
            </a:p>
          </p:txBody>
        </p:sp>
        <p:sp>
          <p:nvSpPr>
            <p:cNvPr id="1344" name="Afgeronde rechthoek 21"/>
            <p:cNvSpPr>
              <a:spLocks/>
            </p:cNvSpPr>
            <p:nvPr/>
          </p:nvSpPr>
          <p:spPr>
            <a:xfrm>
              <a:off x="5663810" y="3387585"/>
              <a:ext cx="1204626" cy="325478"/>
            </a:xfrm>
            <a:prstGeom prst="roundRect">
              <a:avLst>
                <a:gd name="adj" fmla="val 0"/>
              </a:avLst>
            </a:prstGeom>
            <a:solidFill>
              <a:srgbClr val="0070C0"/>
            </a:solidFill>
            <a:ln w="12700" cap="flat" cmpd="sng" algn="ctr">
              <a:noFill/>
              <a:prstDash val="solid"/>
              <a:round/>
              <a:headEnd type="none" w="med" len="med"/>
              <a:tailEnd type="none" w="med" len="med"/>
            </a:ln>
            <a:effectLst/>
          </p:spPr>
          <p:txBody>
            <a:bodyPr vert="horz" wrap="square" lIns="91440" tIns="45720" rIns="91440" bIns="45720" anchor="ctr" anchorCtr="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US" sz="500" b="1" i="0" u="none" strike="noStrike" kern="0" cap="none" spc="0" normalizeH="0" baseline="0" noProof="0" dirty="0">
                  <a:ln>
                    <a:noFill/>
                  </a:ln>
                  <a:solidFill>
                    <a:prstClr val="white"/>
                  </a:solidFill>
                  <a:effectLst/>
                  <a:uLnTx/>
                  <a:uFillTx/>
                  <a:latin typeface="Calibri" pitchFamily="34" charset="0"/>
                  <a:ea typeface="+mn-ea"/>
                  <a:cs typeface="Arial" pitchFamily="34" charset="0"/>
                </a:rPr>
                <a:t>LATAM : Brazil</a:t>
              </a:r>
            </a:p>
          </p:txBody>
        </p:sp>
        <p:sp>
          <p:nvSpPr>
            <p:cNvPr id="1345" name="Afgeronde rechthoek 21"/>
            <p:cNvSpPr>
              <a:spLocks/>
            </p:cNvSpPr>
            <p:nvPr/>
          </p:nvSpPr>
          <p:spPr>
            <a:xfrm>
              <a:off x="8204547" y="2414199"/>
              <a:ext cx="1338473" cy="325478"/>
            </a:xfrm>
            <a:prstGeom prst="roundRect">
              <a:avLst>
                <a:gd name="adj" fmla="val 0"/>
              </a:avLst>
            </a:prstGeom>
            <a:solidFill>
              <a:srgbClr val="0070C0"/>
            </a:solidFill>
            <a:ln w="12700" cap="flat" cmpd="sng" algn="ctr">
              <a:noFill/>
              <a:prstDash val="solid"/>
              <a:round/>
              <a:headEnd type="none" w="med" len="med"/>
              <a:tailEnd type="none" w="med" len="med"/>
            </a:ln>
            <a:effectLst/>
          </p:spPr>
          <p:txBody>
            <a:bodyPr vert="horz" wrap="square" lIns="91440" tIns="45720" rIns="91440" bIns="45720" anchor="ctr" anchorCtr="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US" sz="500" b="1" i="0" u="none" strike="noStrike" kern="0" cap="none" spc="0" normalizeH="0" baseline="0" noProof="0" dirty="0">
                  <a:ln>
                    <a:noFill/>
                  </a:ln>
                  <a:solidFill>
                    <a:prstClr val="white"/>
                  </a:solidFill>
                  <a:effectLst/>
                  <a:uLnTx/>
                  <a:uFillTx/>
                  <a:latin typeface="Calibri" pitchFamily="34" charset="0"/>
                  <a:ea typeface="+mn-ea"/>
                  <a:cs typeface="Arial" pitchFamily="34" charset="0"/>
                </a:rPr>
                <a:t>ASPAC : Singapore</a:t>
              </a:r>
            </a:p>
          </p:txBody>
        </p:sp>
        <p:sp>
          <p:nvSpPr>
            <p:cNvPr id="1346" name="Afgeronde rechthoek 21"/>
            <p:cNvSpPr>
              <a:spLocks/>
            </p:cNvSpPr>
            <p:nvPr/>
          </p:nvSpPr>
          <p:spPr>
            <a:xfrm>
              <a:off x="6978764" y="3417683"/>
              <a:ext cx="596389" cy="325478"/>
            </a:xfrm>
            <a:prstGeom prst="roundRect">
              <a:avLst>
                <a:gd name="adj" fmla="val 0"/>
              </a:avLst>
            </a:prstGeom>
            <a:solidFill>
              <a:schemeClr val="tx1"/>
            </a:solidFill>
            <a:ln w="12700" cap="flat" cmpd="sng" algn="ctr">
              <a:noFill/>
              <a:prstDash val="solid"/>
              <a:round/>
              <a:headEnd type="none" w="med" len="med"/>
              <a:tailEnd type="none" w="med" len="med"/>
            </a:ln>
            <a:effectLst/>
          </p:spPr>
          <p:txBody>
            <a:bodyPr vert="horz" wrap="square" lIns="91440" tIns="45720" rIns="91440" bIns="45720" anchor="ctr" anchorCtr="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US" sz="500" b="1" i="0" u="none" strike="noStrike" kern="0" cap="none" spc="0" normalizeH="0" baseline="0" noProof="0" dirty="0">
                  <a:ln>
                    <a:noFill/>
                  </a:ln>
                  <a:solidFill>
                    <a:prstClr val="white"/>
                  </a:solidFill>
                  <a:effectLst/>
                  <a:uLnTx/>
                  <a:uFillTx/>
                  <a:latin typeface="Calibri" pitchFamily="34" charset="0"/>
                  <a:ea typeface="+mn-ea"/>
                  <a:cs typeface="Arial" pitchFamily="34" charset="0"/>
                </a:rPr>
                <a:t>India </a:t>
              </a:r>
            </a:p>
          </p:txBody>
        </p:sp>
        <p:cxnSp>
          <p:nvCxnSpPr>
            <p:cNvPr id="1347" name="Straight Connector 1801"/>
            <p:cNvCxnSpPr>
              <a:stCxn id="1359" idx="7"/>
              <a:endCxn id="1346" idx="0"/>
            </p:cNvCxnSpPr>
            <p:nvPr/>
          </p:nvCxnSpPr>
          <p:spPr>
            <a:xfrm rot="10800000" flipH="1" flipV="1">
              <a:off x="7158268" y="2935225"/>
              <a:ext cx="118692" cy="482458"/>
            </a:xfrm>
            <a:prstGeom prst="bentConnector4">
              <a:avLst>
                <a:gd name="adj1" fmla="val -346154"/>
                <a:gd name="adj2" fmla="val 45034"/>
              </a:avLst>
            </a:prstGeom>
            <a:ln w="19050" cap="rnd">
              <a:solidFill>
                <a:schemeClr val="bg2">
                  <a:lumMod val="50000"/>
                </a:schemeClr>
              </a:solidFill>
              <a:prstDash val="sysDot"/>
              <a:tailEnd type="oval"/>
            </a:ln>
          </p:spPr>
          <p:style>
            <a:lnRef idx="1">
              <a:schemeClr val="accent1"/>
            </a:lnRef>
            <a:fillRef idx="0">
              <a:schemeClr val="accent1"/>
            </a:fillRef>
            <a:effectRef idx="0">
              <a:schemeClr val="accent1"/>
            </a:effectRef>
            <a:fontRef idx="minor">
              <a:schemeClr val="tx1"/>
            </a:fontRef>
          </p:style>
        </p:cxnSp>
        <p:grpSp>
          <p:nvGrpSpPr>
            <p:cNvPr id="1348" name="Group 9"/>
            <p:cNvGrpSpPr/>
            <p:nvPr/>
          </p:nvGrpSpPr>
          <p:grpSpPr>
            <a:xfrm>
              <a:off x="6278361" y="2259378"/>
              <a:ext cx="111906" cy="129265"/>
              <a:chOff x="6278361" y="2259378"/>
              <a:chExt cx="111906" cy="129265"/>
            </a:xfrm>
          </p:grpSpPr>
          <p:sp>
            <p:nvSpPr>
              <p:cNvPr id="1355" name="Teardrop 1354"/>
              <p:cNvSpPr/>
              <p:nvPr/>
            </p:nvSpPr>
            <p:spPr bwMode="auto">
              <a:xfrm rot="13518115" flipH="1">
                <a:off x="6269681" y="2268058"/>
                <a:ext cx="129265" cy="111906"/>
              </a:xfrm>
              <a:prstGeom prst="teardrop">
                <a:avLst>
                  <a:gd name="adj" fmla="val 122412"/>
                </a:avLst>
              </a:prstGeom>
              <a:solidFill>
                <a:schemeClr val="bg1"/>
              </a:solidFill>
              <a:ln w="1270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wrap="none" anchor="ctr"/>
              <a:lstStyle/>
              <a:p>
                <a:pPr marL="0" marR="0" lvl="0" indent="0" algn="ctr" defTabSz="914310" rtl="0" eaLnBrk="0" fontAlgn="auto" latinLnBrk="0" hangingPunct="0">
                  <a:lnSpc>
                    <a:spcPct val="85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B1B3B4">
                      <a:lumMod val="50000"/>
                    </a:srgbClr>
                  </a:solidFill>
                  <a:effectLst/>
                  <a:uLnTx/>
                  <a:uFillTx/>
                  <a:latin typeface="Calibri" pitchFamily="34" charset="0"/>
                  <a:ea typeface="+mn-ea"/>
                  <a:cs typeface="Arial" pitchFamily="34" charset="0"/>
                </a:endParaRPr>
              </a:p>
            </p:txBody>
          </p:sp>
          <p:sp>
            <p:nvSpPr>
              <p:cNvPr id="1356" name="Oval 1355"/>
              <p:cNvSpPr/>
              <p:nvPr/>
            </p:nvSpPr>
            <p:spPr bwMode="auto">
              <a:xfrm>
                <a:off x="6299805" y="2279462"/>
                <a:ext cx="69016" cy="79734"/>
              </a:xfrm>
              <a:prstGeom prst="ellipse">
                <a:avLst/>
              </a:prstGeom>
              <a:solidFill>
                <a:srgbClr val="FF0000"/>
              </a:solidFill>
              <a:ln w="635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310" rtl="0" eaLnBrk="0" fontAlgn="base" latinLnBrk="0" hangingPunct="0">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9F958F">
                      <a:lumMod val="50000"/>
                    </a:srgbClr>
                  </a:solidFill>
                  <a:effectLst/>
                  <a:uLnTx/>
                  <a:uFillTx/>
                  <a:latin typeface="Calibri" pitchFamily="34" charset="0"/>
                  <a:ea typeface="+mn-ea"/>
                  <a:cs typeface="Arial" pitchFamily="34" charset="0"/>
                </a:endParaRPr>
              </a:p>
            </p:txBody>
          </p:sp>
        </p:grpSp>
        <p:sp>
          <p:nvSpPr>
            <p:cNvPr id="1349" name="Rectangle 1348"/>
            <p:cNvSpPr/>
            <p:nvPr/>
          </p:nvSpPr>
          <p:spPr bwMode="auto">
            <a:xfrm>
              <a:off x="7496019" y="1204032"/>
              <a:ext cx="1141947" cy="325478"/>
            </a:xfrm>
            <a:prstGeom prst="rect">
              <a:avLst/>
            </a:prstGeom>
            <a:solidFill>
              <a:srgbClr val="0070C0"/>
            </a:solidFill>
            <a:ln w="63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115876" marR="0" lvl="0" indent="-115876" algn="ctr" defTabSz="914152" rtl="0" eaLnBrk="0" fontAlgn="base" latinLnBrk="0" hangingPunct="0">
                <a:lnSpc>
                  <a:spcPct val="100000"/>
                </a:lnSpc>
                <a:spcBef>
                  <a:spcPct val="0"/>
                </a:spcBef>
                <a:spcAft>
                  <a:spcPct val="0"/>
                </a:spcAft>
                <a:buClrTx/>
                <a:buSzTx/>
                <a:buFontTx/>
                <a:buNone/>
                <a:tabLst/>
                <a:defRPr/>
              </a:pPr>
              <a:r>
                <a:rPr kumimoji="0" lang="nl-NL" sz="500" b="1" i="0" u="none" strike="noStrike" kern="0" cap="none" spc="0" normalizeH="0" baseline="0" noProof="0" dirty="0">
                  <a:ln>
                    <a:noFill/>
                  </a:ln>
                  <a:solidFill>
                    <a:prstClr val="white"/>
                  </a:solidFill>
                  <a:effectLst/>
                  <a:uLnTx/>
                  <a:uFillTx/>
                  <a:latin typeface="Calibri" pitchFamily="34" charset="0"/>
                  <a:ea typeface="+mn-ea"/>
                  <a:cs typeface="Arial" pitchFamily="34" charset="0"/>
                </a:rPr>
                <a:t>EMEA : Belgium</a:t>
              </a:r>
            </a:p>
          </p:txBody>
        </p:sp>
        <p:sp>
          <p:nvSpPr>
            <p:cNvPr id="1350" name="Rectangle 2820"/>
            <p:cNvSpPr/>
            <p:nvPr/>
          </p:nvSpPr>
          <p:spPr>
            <a:xfrm>
              <a:off x="4004527" y="4331514"/>
              <a:ext cx="4930722" cy="355068"/>
            </a:xfrm>
            <a:prstGeom prst="rect">
              <a:avLst/>
            </a:prstGeom>
            <a:solidFill>
              <a:schemeClr val="tx1">
                <a:lumMod val="25000"/>
                <a:lumOff val="75000"/>
              </a:schemeClr>
            </a:solidFill>
          </p:spPr>
          <p:txBody>
            <a:bodyPr wrap="square" anchor="ctr">
              <a:spAutoFit/>
            </a:bodyPr>
            <a:lstStyle/>
            <a:p>
              <a:pPr marL="0" marR="0" lvl="0" indent="0" algn="ctr" defTabSz="820045"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00234B"/>
                  </a:solidFill>
                  <a:effectLst/>
                  <a:uLnTx/>
                  <a:uFillTx/>
                  <a:latin typeface="Calibri" pitchFamily="34" charset="0"/>
                  <a:ea typeface="+mn-ea"/>
                  <a:cs typeface="+mn-cs"/>
                </a:rPr>
                <a:t>24x7 “Follow- the-Sun” support model with local language support</a:t>
              </a:r>
            </a:p>
          </p:txBody>
        </p:sp>
        <p:cxnSp>
          <p:nvCxnSpPr>
            <p:cNvPr id="1351" name="Straight Connector 1801"/>
            <p:cNvCxnSpPr>
              <a:stCxn id="1357" idx="1"/>
              <a:endCxn id="1345" idx="1"/>
            </p:cNvCxnSpPr>
            <p:nvPr/>
          </p:nvCxnSpPr>
          <p:spPr>
            <a:xfrm flipV="1">
              <a:off x="7560523" y="2576939"/>
              <a:ext cx="644024" cy="669865"/>
            </a:xfrm>
            <a:prstGeom prst="bentConnector3">
              <a:avLst>
                <a:gd name="adj1" fmla="val 50000"/>
              </a:avLst>
            </a:prstGeom>
            <a:ln w="19050" cap="rnd">
              <a:solidFill>
                <a:schemeClr val="bg2">
                  <a:lumMod val="50000"/>
                </a:schemeClr>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352" name="Straight Connector 1801"/>
            <p:cNvCxnSpPr>
              <a:stCxn id="1361" idx="7"/>
              <a:endCxn id="1344" idx="1"/>
            </p:cNvCxnSpPr>
            <p:nvPr/>
          </p:nvCxnSpPr>
          <p:spPr>
            <a:xfrm rot="10800000" flipH="1" flipV="1">
              <a:off x="5480104" y="3448599"/>
              <a:ext cx="183706" cy="101723"/>
            </a:xfrm>
            <a:prstGeom prst="bentConnector3">
              <a:avLst>
                <a:gd name="adj1" fmla="val -258348"/>
              </a:avLst>
            </a:prstGeom>
            <a:ln w="19050" cap="rnd">
              <a:solidFill>
                <a:schemeClr val="bg2">
                  <a:lumMod val="50000"/>
                </a:schemeClr>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353" name="Straight Connector 1801"/>
            <p:cNvCxnSpPr>
              <a:stCxn id="1363" idx="7"/>
              <a:endCxn id="1342" idx="1"/>
            </p:cNvCxnSpPr>
            <p:nvPr/>
          </p:nvCxnSpPr>
          <p:spPr>
            <a:xfrm rot="10800000" flipH="1" flipV="1">
              <a:off x="4753736" y="2625494"/>
              <a:ext cx="394626" cy="172892"/>
            </a:xfrm>
            <a:prstGeom prst="bentConnector3">
              <a:avLst>
                <a:gd name="adj1" fmla="val -120266"/>
              </a:avLst>
            </a:prstGeom>
            <a:ln w="19050" cap="rnd">
              <a:solidFill>
                <a:schemeClr val="bg2">
                  <a:lumMod val="50000"/>
                </a:schemeClr>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354" name="Straight Connector 1801"/>
            <p:cNvCxnSpPr>
              <a:stCxn id="1356" idx="7"/>
              <a:endCxn id="1349" idx="1"/>
            </p:cNvCxnSpPr>
            <p:nvPr/>
          </p:nvCxnSpPr>
          <p:spPr>
            <a:xfrm rot="5400000" flipH="1" flipV="1">
              <a:off x="6465183" y="1260303"/>
              <a:ext cx="924367" cy="1137308"/>
            </a:xfrm>
            <a:prstGeom prst="bentConnector2">
              <a:avLst/>
            </a:prstGeom>
            <a:ln w="19050" cap="rnd">
              <a:solidFill>
                <a:schemeClr val="bg2">
                  <a:lumMod val="50000"/>
                </a:schemeClr>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2788" name="Rounded Rectangle 2787"/>
          <p:cNvSpPr/>
          <p:nvPr/>
        </p:nvSpPr>
        <p:spPr bwMode="auto">
          <a:xfrm>
            <a:off x="118533" y="1094691"/>
            <a:ext cx="5724706" cy="2011733"/>
          </a:xfrm>
          <a:prstGeom prst="roundRect">
            <a:avLst>
              <a:gd name="adj" fmla="val 5283"/>
            </a:avLst>
          </a:prstGeom>
          <a:solidFill>
            <a:schemeClr val="bg1">
              <a:lumMod val="95000"/>
            </a:schemeClr>
          </a:solidFill>
          <a:ln w="9525" cap="flat" cmpd="sng" algn="ctr">
            <a:solidFill>
              <a:schemeClr val="accent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365AC"/>
                </a:solidFill>
                <a:effectLst/>
                <a:uLnTx/>
                <a:uFillTx/>
                <a:latin typeface="Calibri" pitchFamily="34" charset="0"/>
                <a:ea typeface="+mn-ea"/>
                <a:cs typeface="+mn-cs"/>
              </a:rPr>
              <a:t>Service Start date </a:t>
            </a:r>
            <a:r>
              <a:rPr kumimoji="0" lang="en-US" sz="1100" b="1" i="0" u="none" strike="noStrike" kern="1200" cap="none" spc="0" normalizeH="0" baseline="0" noProof="0" dirty="0">
                <a:ln>
                  <a:noFill/>
                </a:ln>
                <a:solidFill>
                  <a:srgbClr val="00234B"/>
                </a:solidFill>
                <a:effectLst/>
                <a:uLnTx/>
                <a:uFillTx/>
                <a:latin typeface="Calibri" pitchFamily="34" charset="0"/>
                <a:ea typeface="+mn-ea"/>
                <a:cs typeface="+mn-cs"/>
              </a:rPr>
              <a:t>: </a:t>
            </a:r>
            <a:r>
              <a:rPr kumimoji="0" lang="en-US" sz="1100" b="0" i="0" u="none" strike="noStrike" kern="1200" cap="none" spc="0" normalizeH="0" baseline="0" noProof="0" dirty="0">
                <a:ln>
                  <a:noFill/>
                </a:ln>
                <a:solidFill>
                  <a:srgbClr val="00234B"/>
                </a:solidFill>
                <a:effectLst/>
                <a:uLnTx/>
                <a:uFillTx/>
                <a:latin typeface="Calibri" pitchFamily="34" charset="0"/>
                <a:ea typeface="+mn-ea"/>
                <a:cs typeface="+mn-cs"/>
              </a:rPr>
              <a:t>September 2016  </a:t>
            </a:r>
            <a:r>
              <a:rPr kumimoji="0" lang="en-US" sz="1100" b="1" i="0" u="none" strike="noStrike" kern="1200" cap="none" spc="0" normalizeH="0" baseline="0" noProof="0" dirty="0">
                <a:ln>
                  <a:noFill/>
                </a:ln>
                <a:solidFill>
                  <a:srgbClr val="0365AC"/>
                </a:solidFill>
                <a:effectLst/>
                <a:uLnTx/>
                <a:uFillTx/>
                <a:latin typeface="Calibri" pitchFamily="34" charset="0"/>
                <a:ea typeface="+mn-ea"/>
                <a:cs typeface="+mn-cs"/>
              </a:rPr>
              <a:t># Applications Supported </a:t>
            </a:r>
            <a:r>
              <a:rPr kumimoji="0" lang="en-US" sz="1100" b="1" i="0" u="none" strike="noStrike" kern="1200" cap="none" spc="0" normalizeH="0" baseline="0" noProof="0" dirty="0">
                <a:ln>
                  <a:noFill/>
                </a:ln>
                <a:solidFill>
                  <a:srgbClr val="00234B"/>
                </a:solidFill>
                <a:effectLst/>
                <a:uLnTx/>
                <a:uFillTx/>
                <a:latin typeface="Calibri" pitchFamily="34" charset="0"/>
                <a:ea typeface="+mn-ea"/>
                <a:cs typeface="+mn-cs"/>
              </a:rPr>
              <a:t>: </a:t>
            </a:r>
            <a:r>
              <a:rPr kumimoji="0" lang="en-US" sz="1100" b="0" i="0" u="none" strike="noStrike" kern="1200" cap="none" spc="0" normalizeH="0" baseline="0" noProof="0" dirty="0">
                <a:ln>
                  <a:noFill/>
                </a:ln>
                <a:solidFill>
                  <a:srgbClr val="00234B"/>
                </a:solidFill>
                <a:effectLst/>
                <a:uLnTx/>
                <a:uFillTx/>
                <a:latin typeface="Calibri" pitchFamily="34" charset="0"/>
                <a:ea typeface="+mn-ea"/>
                <a:cs typeface="+mn-cs"/>
              </a:rPr>
              <a:t>65+</a:t>
            </a:r>
          </a:p>
          <a:p>
            <a:pPr marL="0" marR="0" lvl="0" indent="0" algn="l" defTabSz="820045" rtl="0" eaLnBrk="0" fontAlgn="base" latinLnBrk="0" hangingPunct="0">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365AC"/>
                </a:solidFill>
                <a:effectLst/>
                <a:uLnTx/>
                <a:uFillTx/>
                <a:latin typeface="Calibri" pitchFamily="34" charset="0"/>
                <a:ea typeface="+mn-ea"/>
                <a:cs typeface="+mn-cs"/>
              </a:rPr>
              <a:t>Sectors Supported </a:t>
            </a:r>
            <a:r>
              <a:rPr kumimoji="0" lang="en-US" sz="1100" b="1" i="0" u="none" strike="noStrike" kern="1200" cap="none" spc="0" normalizeH="0" baseline="0" noProof="0" dirty="0">
                <a:ln>
                  <a:noFill/>
                </a:ln>
                <a:solidFill>
                  <a:srgbClr val="00234B"/>
                </a:solidFill>
                <a:effectLst/>
                <a:uLnTx/>
                <a:uFillTx/>
                <a:latin typeface="Calibri" pitchFamily="34" charset="0"/>
                <a:ea typeface="+mn-ea"/>
                <a:cs typeface="+mn-cs"/>
              </a:rPr>
              <a:t>: </a:t>
            </a:r>
            <a:r>
              <a:rPr kumimoji="0" lang="en-US" sz="1100" b="0" i="0" u="none" strike="noStrike" kern="1200" cap="none" spc="0" normalizeH="0" baseline="0" noProof="0" dirty="0">
                <a:ln>
                  <a:noFill/>
                </a:ln>
                <a:solidFill>
                  <a:srgbClr val="00234B"/>
                </a:solidFill>
                <a:effectLst/>
                <a:uLnTx/>
                <a:uFillTx/>
                <a:latin typeface="Calibri" pitchFamily="34" charset="0"/>
                <a:ea typeface="+mn-ea"/>
                <a:cs typeface="+mn-cs"/>
              </a:rPr>
              <a:t>Consumer, Pharma, Consumer Medical Tech &amp; Devices, Corporate</a:t>
            </a:r>
          </a:p>
          <a:p>
            <a:pPr marL="0" marR="0" lvl="0" indent="0" algn="l" defTabSz="820045" rtl="0" eaLnBrk="0" fontAlgn="base" latinLnBrk="0" hangingPunct="0">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365AC"/>
                </a:solidFill>
                <a:effectLst/>
                <a:uLnTx/>
                <a:uFillTx/>
                <a:latin typeface="Calibri" pitchFamily="34" charset="0"/>
                <a:ea typeface="+mn-ea"/>
                <a:cs typeface="+mn-cs"/>
              </a:rPr>
              <a:t>Business Scope </a:t>
            </a:r>
            <a:r>
              <a:rPr kumimoji="0" lang="en-US" sz="1100" b="1" i="0" u="none" strike="noStrike" kern="1200" cap="none" spc="0" normalizeH="0" baseline="0" noProof="0" dirty="0">
                <a:ln>
                  <a:noFill/>
                </a:ln>
                <a:solidFill>
                  <a:srgbClr val="00234B"/>
                </a:solidFill>
                <a:effectLst/>
                <a:uLnTx/>
                <a:uFillTx/>
                <a:latin typeface="Calibri" pitchFamily="34" charset="0"/>
                <a:ea typeface="+mn-ea"/>
                <a:cs typeface="+mn-cs"/>
              </a:rPr>
              <a:t>: </a:t>
            </a:r>
            <a:r>
              <a:rPr kumimoji="0" lang="en-US" sz="1100" b="0" i="0" u="none" strike="noStrike" kern="1200" cap="none" spc="0" normalizeH="0" baseline="0" noProof="0" dirty="0">
                <a:ln>
                  <a:noFill/>
                </a:ln>
                <a:solidFill>
                  <a:srgbClr val="00234B"/>
                </a:solidFill>
                <a:effectLst/>
                <a:uLnTx/>
                <a:uFillTx/>
                <a:latin typeface="Calibri" pitchFamily="34" charset="0"/>
                <a:ea typeface="+mn-ea"/>
                <a:cs typeface="+mn-cs"/>
              </a:rPr>
              <a:t>Sales/Retailers Data Processing, Reporting (Supply Chain, Sales Performance, Retailer POS &amp; Billing) and addressing business user’s concerns. </a:t>
            </a:r>
          </a:p>
          <a:p>
            <a:pPr marL="0" marR="0" lvl="0" indent="0" algn="l" defTabSz="820045" rtl="0" eaLnBrk="0" fontAlgn="base" latinLnBrk="0" hangingPunct="0">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365AC"/>
                </a:solidFill>
                <a:effectLst/>
                <a:uLnTx/>
                <a:uFillTx/>
                <a:latin typeface="Calibri" pitchFamily="34" charset="0"/>
                <a:ea typeface="+mn-ea"/>
                <a:cs typeface="+mn-cs"/>
              </a:rPr>
              <a:t>Scope Of Service </a:t>
            </a:r>
            <a:r>
              <a:rPr kumimoji="0" lang="en-US" sz="1100" b="1" i="0" u="none" strike="noStrike" kern="1200" cap="none" spc="0" normalizeH="0" baseline="0" noProof="0" dirty="0">
                <a:ln>
                  <a:noFill/>
                </a:ln>
                <a:solidFill>
                  <a:srgbClr val="00234B"/>
                </a:solidFill>
                <a:effectLst/>
                <a:uLnTx/>
                <a:uFillTx/>
                <a:latin typeface="Calibri" pitchFamily="34" charset="0"/>
                <a:ea typeface="+mn-ea"/>
                <a:cs typeface="+mn-cs"/>
              </a:rPr>
              <a:t>: </a:t>
            </a:r>
            <a:r>
              <a:rPr kumimoji="0" lang="en-US" sz="1100" b="0" i="0" u="none" strike="noStrike" kern="1200" cap="none" spc="0" normalizeH="0" baseline="0" noProof="0" dirty="0">
                <a:ln>
                  <a:noFill/>
                </a:ln>
                <a:solidFill>
                  <a:srgbClr val="00234B"/>
                </a:solidFill>
                <a:effectLst/>
                <a:uLnTx/>
                <a:uFillTx/>
                <a:latin typeface="Calibri" pitchFamily="34" charset="0"/>
                <a:ea typeface="+mn-ea"/>
                <a:cs typeface="+mn-cs"/>
              </a:rPr>
              <a:t>24x7</a:t>
            </a:r>
            <a:r>
              <a:rPr kumimoji="0" lang="en-US" sz="1100" b="1" i="0" u="none" strike="noStrike" kern="1200" cap="none" spc="0" normalizeH="0" baseline="0" noProof="0" dirty="0">
                <a:ln>
                  <a:noFill/>
                </a:ln>
                <a:solidFill>
                  <a:srgbClr val="00234B"/>
                </a:solidFill>
                <a:effectLst/>
                <a:uLnTx/>
                <a:uFillTx/>
                <a:latin typeface="Calibri" pitchFamily="34" charset="0"/>
                <a:ea typeface="+mn-ea"/>
                <a:cs typeface="+mn-cs"/>
              </a:rPr>
              <a:t> </a:t>
            </a:r>
            <a:r>
              <a:rPr kumimoji="0" lang="en-US" sz="1100" b="0" i="0" u="none" strike="noStrike" kern="1200" cap="none" spc="0" normalizeH="0" baseline="0" noProof="0" dirty="0">
                <a:ln>
                  <a:noFill/>
                </a:ln>
                <a:solidFill>
                  <a:srgbClr val="00234B"/>
                </a:solidFill>
                <a:effectLst/>
                <a:uLnTx/>
                <a:uFillTx/>
                <a:latin typeface="Calibri" pitchFamily="34" charset="0"/>
                <a:ea typeface="+mn-ea"/>
                <a:cs typeface="+mn-cs"/>
              </a:rPr>
              <a:t>Application Monitoring (KTLO), L2 and L3</a:t>
            </a:r>
          </a:p>
          <a:p>
            <a:pPr marL="0" marR="0" lvl="0" indent="0" algn="l" defTabSz="820045" rtl="0" eaLnBrk="0" fontAlgn="base" latinLnBrk="0" hangingPunct="0">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365AC"/>
                </a:solidFill>
                <a:effectLst/>
                <a:uLnTx/>
                <a:uFillTx/>
                <a:latin typeface="Calibri" pitchFamily="34" charset="0"/>
                <a:ea typeface="+mn-ea"/>
                <a:cs typeface="+mn-cs"/>
              </a:rPr>
              <a:t>Regions Supported  </a:t>
            </a:r>
            <a:r>
              <a:rPr kumimoji="0" lang="en-US" sz="1100" b="1" i="0" u="none" strike="noStrike" kern="1200" cap="none" spc="0" normalizeH="0" baseline="0" noProof="0" dirty="0">
                <a:ln>
                  <a:noFill/>
                </a:ln>
                <a:solidFill>
                  <a:srgbClr val="00234B"/>
                </a:solidFill>
                <a:effectLst/>
                <a:uLnTx/>
                <a:uFillTx/>
                <a:latin typeface="Calibri" pitchFamily="34" charset="0"/>
                <a:ea typeface="+mn-ea"/>
                <a:cs typeface="+mn-cs"/>
              </a:rPr>
              <a:t>: </a:t>
            </a:r>
            <a:r>
              <a:rPr kumimoji="0" lang="en-US" sz="1100" b="0" i="0" u="none" strike="noStrike" kern="1200" cap="none" spc="0" normalizeH="0" baseline="0" noProof="0" dirty="0">
                <a:ln>
                  <a:noFill/>
                </a:ln>
                <a:solidFill>
                  <a:srgbClr val="00234B"/>
                </a:solidFill>
                <a:effectLst/>
                <a:uLnTx/>
                <a:uFillTx/>
                <a:latin typeface="Calibri" pitchFamily="34" charset="0"/>
                <a:ea typeface="+mn-ea"/>
                <a:cs typeface="+mn-cs"/>
              </a:rPr>
              <a:t>USA, EMEA, LATAM, ASPAC </a:t>
            </a:r>
          </a:p>
          <a:p>
            <a:pPr marL="0" marR="0" lvl="0" indent="0" algn="l" defTabSz="820045" rtl="0" eaLnBrk="0" fontAlgn="base" latinLnBrk="0" hangingPunct="0">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365AC"/>
                </a:solidFill>
                <a:effectLst/>
                <a:uLnTx/>
                <a:uFillTx/>
                <a:latin typeface="Calibri" pitchFamily="34" charset="0"/>
                <a:ea typeface="+mn-ea"/>
                <a:cs typeface="+mn-cs"/>
              </a:rPr>
              <a:t>Total Support Resources </a:t>
            </a:r>
            <a:r>
              <a:rPr kumimoji="0" lang="en-US" sz="1100" b="1" i="0" u="none" strike="noStrike" kern="1200" cap="none" spc="0" normalizeH="0" baseline="0" noProof="0" dirty="0">
                <a:ln>
                  <a:noFill/>
                </a:ln>
                <a:solidFill>
                  <a:srgbClr val="00234B"/>
                </a:solidFill>
                <a:effectLst/>
                <a:uLnTx/>
                <a:uFillTx/>
                <a:latin typeface="Calibri" pitchFamily="34" charset="0"/>
                <a:ea typeface="+mn-ea"/>
                <a:cs typeface="+mn-cs"/>
              </a:rPr>
              <a:t>: </a:t>
            </a:r>
            <a:r>
              <a:rPr kumimoji="0" lang="en-US" sz="1100" b="0" i="0" u="none" strike="noStrike" kern="1200" cap="none" spc="0" normalizeH="0" baseline="0" noProof="0" dirty="0">
                <a:ln>
                  <a:noFill/>
                </a:ln>
                <a:solidFill>
                  <a:srgbClr val="00234B"/>
                </a:solidFill>
                <a:effectLst/>
                <a:uLnTx/>
                <a:uFillTx/>
                <a:latin typeface="Calibri" pitchFamily="34" charset="0"/>
                <a:ea typeface="+mn-ea"/>
                <a:cs typeface="+mn-cs"/>
              </a:rPr>
              <a:t>78 (offshore)+</a:t>
            </a:r>
            <a:r>
              <a:rPr lang="en-US" sz="1100" dirty="0">
                <a:solidFill>
                  <a:srgbClr val="00234B"/>
                </a:solidFill>
                <a:latin typeface="Calibri" pitchFamily="34" charset="0"/>
              </a:rPr>
              <a:t>20</a:t>
            </a:r>
            <a:r>
              <a:rPr kumimoji="0" lang="en-US" sz="1100" b="0" i="0" u="none" strike="noStrike" kern="1200" cap="none" spc="0" normalizeH="0" baseline="0" noProof="0" dirty="0">
                <a:ln>
                  <a:noFill/>
                </a:ln>
                <a:solidFill>
                  <a:srgbClr val="00234B"/>
                </a:solidFill>
                <a:effectLst/>
                <a:uLnTx/>
                <a:uFillTx/>
                <a:latin typeface="Calibri" pitchFamily="34" charset="0"/>
                <a:ea typeface="+mn-ea"/>
                <a:cs typeface="+mn-cs"/>
              </a:rPr>
              <a:t> (Onshore)</a:t>
            </a:r>
          </a:p>
          <a:p>
            <a:pPr marL="0" marR="0" lvl="0" indent="0" algn="l" defTabSz="820045" rtl="0" eaLnBrk="0" fontAlgn="base" latinLnBrk="0" hangingPunct="0">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365AC"/>
                </a:solidFill>
                <a:effectLst/>
                <a:uLnTx/>
                <a:uFillTx/>
                <a:latin typeface="Calibri" pitchFamily="34" charset="0"/>
                <a:ea typeface="+mn-ea"/>
                <a:cs typeface="+mn-cs"/>
              </a:rPr>
              <a:t>Technologies</a:t>
            </a:r>
            <a:r>
              <a:rPr kumimoji="0" lang="en-US" sz="1100" b="1" i="0" u="none" strike="noStrike" kern="1200" cap="none" spc="0" normalizeH="0" baseline="0" noProof="0" dirty="0">
                <a:ln>
                  <a:noFill/>
                </a:ln>
                <a:solidFill>
                  <a:srgbClr val="00234B"/>
                </a:solidFill>
                <a:effectLst/>
                <a:uLnTx/>
                <a:uFillTx/>
                <a:latin typeface="Calibri" pitchFamily="34" charset="0"/>
                <a:ea typeface="+mn-ea"/>
                <a:cs typeface="+mn-cs"/>
              </a:rPr>
              <a:t> : </a:t>
            </a:r>
            <a:r>
              <a:rPr kumimoji="0" lang="en-US" sz="1000" b="0" i="1" u="none" strike="noStrike" kern="1200" cap="none" spc="0" normalizeH="0" baseline="0" noProof="0" dirty="0">
                <a:ln>
                  <a:noFill/>
                </a:ln>
                <a:solidFill>
                  <a:srgbClr val="D03833"/>
                </a:solidFill>
                <a:effectLst/>
                <a:uLnTx/>
                <a:uFillTx/>
                <a:latin typeface="Calibri" pitchFamily="34" charset="0"/>
                <a:ea typeface="+mn-ea"/>
                <a:cs typeface="+mn-cs"/>
              </a:rPr>
              <a:t>BI Reporting : </a:t>
            </a:r>
            <a:r>
              <a:rPr kumimoji="0" lang="en-US" sz="1000" b="0" i="0" u="none" strike="noStrike" kern="1200" cap="none" spc="0" normalizeH="0" baseline="0" noProof="0" dirty="0">
                <a:ln>
                  <a:noFill/>
                </a:ln>
                <a:solidFill>
                  <a:srgbClr val="00234B"/>
                </a:solidFill>
                <a:effectLst/>
                <a:uLnTx/>
                <a:uFillTx/>
                <a:latin typeface="Calibri" pitchFamily="34" charset="0"/>
                <a:ea typeface="+mn-ea"/>
                <a:cs typeface="+mn-cs"/>
              </a:rPr>
              <a:t>Spotfire/Tableau/Microstrategy/Cognos/Qlikview/Qliksense/ SSRS</a:t>
            </a:r>
          </a:p>
          <a:p>
            <a:pPr marL="0" marR="0" lvl="0" indent="0" algn="l" defTabSz="820045" rtl="0" eaLnBrk="0" fontAlgn="base" latinLnBrk="0" hangingPunct="0">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D03833"/>
                </a:solidFill>
                <a:effectLst/>
                <a:uLnTx/>
                <a:uFillTx/>
                <a:latin typeface="Calibri" pitchFamily="34" charset="0"/>
                <a:ea typeface="+mn-ea"/>
                <a:cs typeface="+mn-cs"/>
              </a:rPr>
              <a:t>ETL Data Extraction &amp; Processing :</a:t>
            </a:r>
            <a:r>
              <a:rPr kumimoji="0" lang="en-US" sz="1000" b="0" i="1" u="none" strike="noStrike" kern="1200" cap="none" spc="0" normalizeH="0" baseline="0" noProof="0" dirty="0">
                <a:ln>
                  <a:noFill/>
                </a:ln>
                <a:solidFill>
                  <a:srgbClr val="00234B"/>
                </a:solidFill>
                <a:effectLst/>
                <a:uLnTx/>
                <a:uFillTx/>
                <a:latin typeface="Calibri" pitchFamily="34" charset="0"/>
                <a:ea typeface="+mn-ea"/>
                <a:cs typeface="+mn-cs"/>
              </a:rPr>
              <a:t> </a:t>
            </a:r>
            <a:r>
              <a:rPr kumimoji="0" lang="en-US" sz="1000" b="0" i="0" u="none" strike="noStrike" kern="1200" cap="none" spc="0" normalizeH="0" baseline="0" noProof="0" dirty="0">
                <a:ln>
                  <a:noFill/>
                </a:ln>
                <a:solidFill>
                  <a:srgbClr val="00234B"/>
                </a:solidFill>
                <a:effectLst/>
                <a:uLnTx/>
                <a:uFillTx/>
                <a:latin typeface="Calibri" pitchFamily="34" charset="0"/>
                <a:ea typeface="+mn-ea"/>
                <a:cs typeface="+mn-cs"/>
              </a:rPr>
              <a:t>Informatica/Alteryx/Talend/Cognos DM/Kalido/MDM</a:t>
            </a:r>
          </a:p>
          <a:p>
            <a:pPr marL="0" marR="0" lvl="0" indent="0" algn="l" defTabSz="820045" rtl="0" eaLnBrk="0" fontAlgn="base" latinLnBrk="0" hangingPunct="0">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D03833"/>
                </a:solidFill>
                <a:effectLst/>
                <a:uLnTx/>
                <a:uFillTx/>
                <a:latin typeface="Calibri" pitchFamily="34" charset="0"/>
                <a:ea typeface="+mn-ea"/>
                <a:cs typeface="+mn-cs"/>
              </a:rPr>
              <a:t>Database :</a:t>
            </a:r>
            <a:r>
              <a:rPr kumimoji="0" lang="en-US" sz="1000" b="0" i="0" u="none" strike="noStrike" kern="1200" cap="none" spc="0" normalizeH="0" baseline="0" noProof="0" dirty="0">
                <a:ln>
                  <a:noFill/>
                </a:ln>
                <a:solidFill>
                  <a:srgbClr val="00234B"/>
                </a:solidFill>
                <a:effectLst/>
                <a:uLnTx/>
                <a:uFillTx/>
                <a:latin typeface="Calibri" pitchFamily="34" charset="0"/>
                <a:ea typeface="+mn-ea"/>
                <a:cs typeface="+mn-cs"/>
              </a:rPr>
              <a:t> AWS/RedShift, Oracle, SQL Server, Tera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D03833"/>
                </a:solidFill>
                <a:effectLst/>
                <a:uLnTx/>
                <a:uFillTx/>
                <a:latin typeface="Calibri" pitchFamily="34" charset="0"/>
                <a:ea typeface="+mn-ea"/>
                <a:cs typeface="+mn-cs"/>
              </a:rPr>
              <a:t>Development tools : </a:t>
            </a:r>
            <a:r>
              <a:rPr kumimoji="0" lang="en-US" sz="1000" b="0" i="0" u="none" strike="noStrike" kern="1200" cap="none" spc="0" normalizeH="0" baseline="0" noProof="0" dirty="0">
                <a:ln>
                  <a:noFill/>
                </a:ln>
                <a:solidFill>
                  <a:srgbClr val="00234B"/>
                </a:solidFill>
                <a:effectLst/>
                <a:uLnTx/>
                <a:uFillTx/>
                <a:latin typeface="Calibri" pitchFamily="34" charset="0"/>
                <a:ea typeface="+mn-ea"/>
                <a:cs typeface="+mn-cs"/>
              </a:rPr>
              <a:t>.NET, MVC, Python Script, Shell Script, Windows Power Shell, Angular JS</a:t>
            </a:r>
          </a:p>
          <a:p>
            <a:pPr marL="0" marR="0" lvl="0" indent="0" algn="l" defTabSz="820045" rtl="0" eaLnBrk="0" fontAlgn="base" latinLnBrk="0" hangingPunct="0">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234B"/>
              </a:solidFill>
              <a:effectLst/>
              <a:uLnTx/>
              <a:uFillTx/>
              <a:latin typeface="Calibri" pitchFamily="34" charset="0"/>
              <a:ea typeface="+mn-ea"/>
              <a:cs typeface="+mn-cs"/>
            </a:endParaRPr>
          </a:p>
        </p:txBody>
      </p:sp>
      <p:pic>
        <p:nvPicPr>
          <p:cNvPr id="3" name="Picture 2"/>
          <p:cNvPicPr>
            <a:picLocks noChangeAspect="1"/>
          </p:cNvPicPr>
          <p:nvPr/>
        </p:nvPicPr>
        <p:blipFill rotWithShape="1">
          <a:blip r:embed="rId3"/>
          <a:srcRect l="7404" r="7393" b="6675"/>
          <a:stretch/>
        </p:blipFill>
        <p:spPr>
          <a:xfrm>
            <a:off x="219003" y="3248942"/>
            <a:ext cx="2103120" cy="1434786"/>
          </a:xfrm>
          <a:prstGeom prst="rect">
            <a:avLst/>
          </a:prstGeom>
        </p:spPr>
      </p:pic>
      <p:pic>
        <p:nvPicPr>
          <p:cNvPr id="5" name="Picture 4"/>
          <p:cNvPicPr>
            <a:picLocks noChangeAspect="1"/>
          </p:cNvPicPr>
          <p:nvPr/>
        </p:nvPicPr>
        <p:blipFill rotWithShape="1">
          <a:blip r:embed="rId4"/>
          <a:srcRect l="7272" r="8485" b="6685"/>
          <a:stretch/>
        </p:blipFill>
        <p:spPr>
          <a:xfrm>
            <a:off x="2414422" y="3248941"/>
            <a:ext cx="2103120" cy="1451741"/>
          </a:xfrm>
          <a:prstGeom prst="rect">
            <a:avLst/>
          </a:prstGeom>
        </p:spPr>
      </p:pic>
      <p:pic>
        <p:nvPicPr>
          <p:cNvPr id="6" name="Picture 5"/>
          <p:cNvPicPr>
            <a:picLocks noChangeAspect="1"/>
          </p:cNvPicPr>
          <p:nvPr/>
        </p:nvPicPr>
        <p:blipFill rotWithShape="1">
          <a:blip r:embed="rId5"/>
          <a:srcRect l="9653" r="9928" b="7625"/>
          <a:stretch/>
        </p:blipFill>
        <p:spPr>
          <a:xfrm>
            <a:off x="4609841" y="3248940"/>
            <a:ext cx="2103120" cy="1451742"/>
          </a:xfrm>
          <a:prstGeom prst="rect">
            <a:avLst/>
          </a:prstGeom>
        </p:spPr>
      </p:pic>
      <p:pic>
        <p:nvPicPr>
          <p:cNvPr id="7" name="Picture 6"/>
          <p:cNvPicPr>
            <a:picLocks noChangeAspect="1"/>
          </p:cNvPicPr>
          <p:nvPr/>
        </p:nvPicPr>
        <p:blipFill rotWithShape="1">
          <a:blip r:embed="rId6"/>
          <a:srcRect l="17882" r="17512" b="7690"/>
          <a:stretch/>
        </p:blipFill>
        <p:spPr>
          <a:xfrm>
            <a:off x="6805260" y="3248939"/>
            <a:ext cx="2011680" cy="1456876"/>
          </a:xfrm>
          <a:prstGeom prst="rect">
            <a:avLst/>
          </a:prstGeom>
        </p:spPr>
      </p:pic>
    </p:spTree>
    <p:extLst>
      <p:ext uri="{BB962C8B-B14F-4D97-AF65-F5344CB8AC3E}">
        <p14:creationId xmlns:p14="http://schemas.microsoft.com/office/powerpoint/2010/main" val="909223289"/>
      </p:ext>
    </p:extLst>
  </p:cSld>
  <p:clrMapOvr>
    <a:masterClrMapping/>
  </p:clrMapOvr>
  <p:transition>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2" y="1"/>
            <a:ext cx="9143998" cy="761576"/>
          </a:xfrm>
        </p:spPr>
        <p:txBody>
          <a:bodyPr vert="horz" lIns="254749" tIns="28305" rIns="141527" bIns="28305" rtlCol="0" anchor="ctr">
            <a:noAutofit/>
          </a:bodyPr>
          <a:lstStyle/>
          <a:p>
            <a:r>
              <a:rPr lang="en-US" sz="2400" dirty="0">
                <a:solidFill>
                  <a:srgbClr val="00234B"/>
                </a:solidFill>
              </a:rPr>
              <a:t>Meaningful Innovations </a:t>
            </a:r>
            <a:r>
              <a:rPr lang="en-US" sz="2000" i="1" dirty="0">
                <a:solidFill>
                  <a:srgbClr val="00234B"/>
                </a:solidFill>
              </a:rPr>
              <a:t>focused on Continuous Service Improvement</a:t>
            </a:r>
            <a:endParaRPr lang="en-US" sz="2400" b="1" i="1" dirty="0"/>
          </a:p>
        </p:txBody>
      </p:sp>
      <p:sp>
        <p:nvSpPr>
          <p:cNvPr id="48" name="TextBox 47"/>
          <p:cNvSpPr txBox="1"/>
          <p:nvPr/>
        </p:nvSpPr>
        <p:spPr>
          <a:xfrm>
            <a:off x="1234073" y="875038"/>
            <a:ext cx="1828800" cy="261610"/>
          </a:xfrm>
          <a:prstGeom prst="rect">
            <a:avLst/>
          </a:prstGeom>
          <a:ln/>
        </p:spPr>
        <p:style>
          <a:lnRef idx="1">
            <a:schemeClr val="dk1"/>
          </a:lnRef>
          <a:fillRef idx="3">
            <a:schemeClr val="dk1"/>
          </a:fillRef>
          <a:effectRef idx="2">
            <a:schemeClr val="dk1"/>
          </a:effectRef>
          <a:fontRef idx="minor">
            <a:schemeClr val="lt1"/>
          </a:fontRef>
        </p:style>
        <p:txBody>
          <a:bodyPr wrap="square" rtlCol="0" anchor="ctr">
            <a:spAutoFit/>
          </a:bodyPr>
          <a:lstStyle/>
          <a:p>
            <a:pPr algn="ctr"/>
            <a:r>
              <a:rPr lang="en-US" sz="1100" b="1" dirty="0">
                <a:latin typeface="Calibri" panose="020F0502020204030204" pitchFamily="34" charset="0"/>
              </a:rPr>
              <a:t>HOT-SPOT ANALYSIS</a:t>
            </a:r>
          </a:p>
        </p:txBody>
      </p:sp>
      <p:pic>
        <p:nvPicPr>
          <p:cNvPr id="51" name="Picture 50"/>
          <p:cNvPicPr>
            <a:picLocks noChangeAspect="1"/>
          </p:cNvPicPr>
          <p:nvPr/>
        </p:nvPicPr>
        <p:blipFill>
          <a:blip r:embed="rId3"/>
          <a:stretch>
            <a:fillRect/>
          </a:stretch>
        </p:blipFill>
        <p:spPr>
          <a:xfrm>
            <a:off x="33743" y="1126152"/>
            <a:ext cx="4550172" cy="2560320"/>
          </a:xfrm>
          <a:prstGeom prst="rect">
            <a:avLst/>
          </a:prstGeom>
        </p:spPr>
      </p:pic>
      <p:grpSp>
        <p:nvGrpSpPr>
          <p:cNvPr id="72" name="Group 71"/>
          <p:cNvGrpSpPr/>
          <p:nvPr/>
        </p:nvGrpSpPr>
        <p:grpSpPr>
          <a:xfrm>
            <a:off x="1157062" y="3743450"/>
            <a:ext cx="2183992" cy="1014984"/>
            <a:chOff x="275070" y="3574567"/>
            <a:chExt cx="2183992" cy="1107256"/>
          </a:xfrm>
        </p:grpSpPr>
        <p:pic>
          <p:nvPicPr>
            <p:cNvPr id="49" name="Picture 48"/>
            <p:cNvPicPr>
              <a:picLocks noChangeAspect="1"/>
            </p:cNvPicPr>
            <p:nvPr/>
          </p:nvPicPr>
          <p:blipFill rotWithShape="1">
            <a:blip r:embed="rId4"/>
            <a:srcRect l="23409" t="1443" r="23370" b="9873"/>
            <a:stretch/>
          </p:blipFill>
          <p:spPr>
            <a:xfrm>
              <a:off x="275070" y="3574569"/>
              <a:ext cx="1102434" cy="1097280"/>
            </a:xfrm>
            <a:prstGeom prst="rect">
              <a:avLst/>
            </a:prstGeom>
            <a:noFill/>
          </p:spPr>
        </p:pic>
        <p:pic>
          <p:nvPicPr>
            <p:cNvPr id="50" name="Picture 49"/>
            <p:cNvPicPr>
              <a:picLocks noChangeAspect="1"/>
            </p:cNvPicPr>
            <p:nvPr/>
          </p:nvPicPr>
          <p:blipFill rotWithShape="1">
            <a:blip r:embed="rId5"/>
            <a:srcRect l="21141" t="964" r="21520" b="9027"/>
            <a:stretch/>
          </p:blipFill>
          <p:spPr>
            <a:xfrm>
              <a:off x="1369153" y="3574567"/>
              <a:ext cx="1089909" cy="1107256"/>
            </a:xfrm>
            <a:prstGeom prst="rect">
              <a:avLst/>
            </a:prstGeom>
          </p:spPr>
        </p:pic>
      </p:grpSp>
      <p:pic>
        <p:nvPicPr>
          <p:cNvPr id="53" name="Picture 52"/>
          <p:cNvPicPr>
            <a:picLocks noChangeAspect="1"/>
          </p:cNvPicPr>
          <p:nvPr/>
        </p:nvPicPr>
        <p:blipFill rotWithShape="1">
          <a:blip r:embed="rId6"/>
          <a:srcRect l="4207" t="92086" r="4367" b="3231"/>
          <a:stretch/>
        </p:blipFill>
        <p:spPr>
          <a:xfrm>
            <a:off x="631906" y="4717306"/>
            <a:ext cx="3108960" cy="105550"/>
          </a:xfrm>
          <a:prstGeom prst="rect">
            <a:avLst/>
          </a:prstGeom>
        </p:spPr>
      </p:pic>
      <p:sp>
        <p:nvSpPr>
          <p:cNvPr id="54" name="TextBox 53"/>
          <p:cNvSpPr txBox="1"/>
          <p:nvPr/>
        </p:nvSpPr>
        <p:spPr>
          <a:xfrm>
            <a:off x="1331114" y="3576878"/>
            <a:ext cx="1828800" cy="230832"/>
          </a:xfrm>
          <a:prstGeom prst="rect">
            <a:avLst/>
          </a:prstGeom>
          <a:noFill/>
        </p:spPr>
        <p:txBody>
          <a:bodyPr wrap="square" rtlCol="0" anchor="ctr">
            <a:spAutoFit/>
          </a:bodyPr>
          <a:lstStyle/>
          <a:p>
            <a:pPr algn="ctr"/>
            <a:r>
              <a:rPr lang="en-US" sz="900" b="1" u="sng" dirty="0">
                <a:latin typeface="Calibri" panose="020F0502020204030204" pitchFamily="34" charset="0"/>
              </a:rPr>
              <a:t>Cross-Skill, Mutualize &amp; Optimize</a:t>
            </a:r>
            <a:endParaRPr lang="en-US" sz="900" b="1" u="sng" dirty="0">
              <a:solidFill>
                <a:schemeClr val="tx2">
                  <a:lumMod val="50000"/>
                </a:schemeClr>
              </a:solidFill>
              <a:latin typeface="Calibri" panose="020F0502020204030204" pitchFamily="34" charset="0"/>
            </a:endParaRPr>
          </a:p>
        </p:txBody>
      </p:sp>
      <p:sp>
        <p:nvSpPr>
          <p:cNvPr id="56" name="TextBox 55"/>
          <p:cNvSpPr txBox="1"/>
          <p:nvPr/>
        </p:nvSpPr>
        <p:spPr>
          <a:xfrm>
            <a:off x="5913151" y="850862"/>
            <a:ext cx="2261740" cy="261610"/>
          </a:xfrm>
          <a:prstGeom prst="rect">
            <a:avLst/>
          </a:prstGeom>
          <a:ln/>
        </p:spPr>
        <p:style>
          <a:lnRef idx="1">
            <a:schemeClr val="dk1"/>
          </a:lnRef>
          <a:fillRef idx="3">
            <a:schemeClr val="dk1"/>
          </a:fillRef>
          <a:effectRef idx="2">
            <a:schemeClr val="dk1"/>
          </a:effectRef>
          <a:fontRef idx="minor">
            <a:schemeClr val="lt1"/>
          </a:fontRef>
        </p:style>
        <p:txBody>
          <a:bodyPr wrap="square" rtlCol="0" anchor="ctr">
            <a:spAutoFit/>
          </a:bodyPr>
          <a:lstStyle/>
          <a:p>
            <a:pPr algn="ctr"/>
            <a:r>
              <a:rPr lang="en-US" sz="1100" b="1" dirty="0">
                <a:latin typeface="Calibri" panose="020F0502020204030204" pitchFamily="34" charset="0"/>
              </a:rPr>
              <a:t>INITIATIVES</a:t>
            </a:r>
          </a:p>
        </p:txBody>
      </p:sp>
      <p:pic>
        <p:nvPicPr>
          <p:cNvPr id="58" name="Picture 57"/>
          <p:cNvPicPr>
            <a:picLocks noChangeAspect="1"/>
          </p:cNvPicPr>
          <p:nvPr/>
        </p:nvPicPr>
        <p:blipFill>
          <a:blip r:embed="rId7"/>
          <a:stretch>
            <a:fillRect/>
          </a:stretch>
        </p:blipFill>
        <p:spPr>
          <a:xfrm>
            <a:off x="5580101" y="3999254"/>
            <a:ext cx="2926080" cy="812208"/>
          </a:xfrm>
          <a:prstGeom prst="rect">
            <a:avLst/>
          </a:prstGeom>
        </p:spPr>
      </p:pic>
      <p:sp>
        <p:nvSpPr>
          <p:cNvPr id="59" name="TextBox 58"/>
          <p:cNvSpPr txBox="1"/>
          <p:nvPr/>
        </p:nvSpPr>
        <p:spPr>
          <a:xfrm>
            <a:off x="8581443" y="6072345"/>
            <a:ext cx="2066692" cy="507831"/>
          </a:xfrm>
          <a:prstGeom prst="rect">
            <a:avLst/>
          </a:prstGeom>
          <a:noFill/>
        </p:spPr>
        <p:txBody>
          <a:bodyPr wrap="square" rtlCol="0">
            <a:spAutoFit/>
          </a:bodyPr>
          <a:lstStyle/>
          <a:p>
            <a:r>
              <a:rPr lang="en-US" sz="900" b="1" i="1" u="sng" dirty="0">
                <a:latin typeface="Calibri" panose="020F0502020204030204" pitchFamily="34" charset="0"/>
              </a:rPr>
              <a:t>Performance Tuning</a:t>
            </a:r>
          </a:p>
          <a:p>
            <a:pPr marL="171450" indent="-171450">
              <a:buFont typeface="Wingdings" panose="05000000000000000000" pitchFamily="2" charset="2"/>
              <a:buChar char="§"/>
            </a:pPr>
            <a:r>
              <a:rPr lang="en-US" sz="900" dirty="0">
                <a:latin typeface="Calibri" panose="020F0502020204030204" pitchFamily="34" charset="0"/>
              </a:rPr>
              <a:t>Performance tuning/Optimization of Long Running Jobs</a:t>
            </a:r>
          </a:p>
        </p:txBody>
      </p:sp>
      <p:sp>
        <p:nvSpPr>
          <p:cNvPr id="60" name="TextBox 59"/>
          <p:cNvSpPr txBox="1"/>
          <p:nvPr/>
        </p:nvSpPr>
        <p:spPr>
          <a:xfrm>
            <a:off x="2566900" y="5479013"/>
            <a:ext cx="2066693" cy="1477328"/>
          </a:xfrm>
          <a:prstGeom prst="rect">
            <a:avLst/>
          </a:prstGeom>
          <a:noFill/>
        </p:spPr>
        <p:txBody>
          <a:bodyPr wrap="square" rtlCol="0">
            <a:spAutoFit/>
          </a:bodyPr>
          <a:lstStyle/>
          <a:p>
            <a:r>
              <a:rPr lang="en-US" sz="900" b="1" i="1" u="sng" dirty="0">
                <a:latin typeface="Calibri" panose="020F0502020204030204" pitchFamily="34" charset="0"/>
              </a:rPr>
              <a:t>Lean &amp; Process Optimization</a:t>
            </a:r>
          </a:p>
          <a:p>
            <a:pPr marL="171450" indent="-171450">
              <a:buFont typeface="Wingdings" panose="05000000000000000000" pitchFamily="2" charset="2"/>
              <a:buChar char="§"/>
            </a:pPr>
            <a:r>
              <a:rPr lang="en-US" sz="900" dirty="0">
                <a:latin typeface="Calibri" panose="020F0502020204030204" pitchFamily="34" charset="0"/>
              </a:rPr>
              <a:t>Permanent Fixes done for Recurring Incidents</a:t>
            </a:r>
          </a:p>
          <a:p>
            <a:pPr marL="171450" indent="-171450">
              <a:buFont typeface="Wingdings" panose="05000000000000000000" pitchFamily="2" charset="2"/>
              <a:buChar char="§"/>
            </a:pPr>
            <a:r>
              <a:rPr lang="en-US" sz="900" dirty="0">
                <a:latin typeface="Calibri" panose="020F0502020204030204" pitchFamily="34" charset="0"/>
              </a:rPr>
              <a:t>Documentation of Year end activities, Traceability Matrix, SOP for frequent SRs, GCC Management Guide</a:t>
            </a:r>
          </a:p>
          <a:p>
            <a:pPr marL="171450" indent="-171450">
              <a:buFont typeface="Wingdings" panose="05000000000000000000" pitchFamily="2" charset="2"/>
              <a:buChar char="§"/>
            </a:pPr>
            <a:r>
              <a:rPr lang="en-US" sz="900" dirty="0">
                <a:latin typeface="Calibri" panose="020F0502020204030204" pitchFamily="34" charset="0"/>
              </a:rPr>
              <a:t>Others : Table Partioning, Source Control, removal of unused reports, reorganize Cognos folder structure</a:t>
            </a:r>
          </a:p>
        </p:txBody>
      </p:sp>
      <p:pic>
        <p:nvPicPr>
          <p:cNvPr id="17" name="Picture 16"/>
          <p:cNvPicPr>
            <a:picLocks noChangeAspect="1"/>
          </p:cNvPicPr>
          <p:nvPr/>
        </p:nvPicPr>
        <p:blipFill rotWithShape="1">
          <a:blip r:embed="rId8">
            <a:extLst>
              <a:ext uri="{28A0092B-C50C-407E-A947-70E740481C1C}">
                <a14:useLocalDpi xmlns:a14="http://schemas.microsoft.com/office/drawing/2010/main" val="0"/>
              </a:ext>
            </a:extLst>
          </a:blip>
          <a:srcRect l="15458" t="9124" r="15223" b="8291"/>
          <a:stretch/>
        </p:blipFill>
        <p:spPr>
          <a:xfrm>
            <a:off x="5758206" y="1308411"/>
            <a:ext cx="1151291" cy="1371600"/>
          </a:xfrm>
          <a:prstGeom prst="rect">
            <a:avLst/>
          </a:prstGeom>
        </p:spPr>
      </p:pic>
      <p:pic>
        <p:nvPicPr>
          <p:cNvPr id="19" name="Picture 18"/>
          <p:cNvPicPr>
            <a:picLocks noChangeAspect="1"/>
          </p:cNvPicPr>
          <p:nvPr/>
        </p:nvPicPr>
        <p:blipFill rotWithShape="1">
          <a:blip r:embed="rId9" cstate="print">
            <a:extLst>
              <a:ext uri="{28A0092B-C50C-407E-A947-70E740481C1C}">
                <a14:useLocalDpi xmlns:a14="http://schemas.microsoft.com/office/drawing/2010/main" val="0"/>
              </a:ext>
            </a:extLst>
          </a:blip>
          <a:srcRect l="19048" r="20591"/>
          <a:stretch/>
        </p:blipFill>
        <p:spPr>
          <a:xfrm>
            <a:off x="7007144" y="1347067"/>
            <a:ext cx="1489086" cy="1371600"/>
          </a:xfrm>
          <a:prstGeom prst="rect">
            <a:avLst/>
          </a:prstGeom>
        </p:spPr>
      </p:pic>
      <p:sp>
        <p:nvSpPr>
          <p:cNvPr id="69" name="Rectangle 68"/>
          <p:cNvSpPr/>
          <p:nvPr/>
        </p:nvSpPr>
        <p:spPr>
          <a:xfrm>
            <a:off x="5605579" y="2709214"/>
            <a:ext cx="1509580" cy="307777"/>
          </a:xfrm>
          <a:prstGeom prst="rect">
            <a:avLst/>
          </a:prstGeom>
          <a:noFill/>
        </p:spPr>
        <p:txBody>
          <a:bodyPr wrap="none" lIns="91440" tIns="45720" rIns="91440" bIns="45720">
            <a:spAutoFit/>
          </a:bodyPr>
          <a:lstStyle/>
          <a:p>
            <a:pPr algn="ctr"/>
            <a:r>
              <a:rPr lang="en-US" sz="1400" b="1" cap="none" spc="0" dirty="0">
                <a:ln w="0"/>
                <a:effectLst>
                  <a:reflection blurRad="6350" stA="53000" endA="300" endPos="35500" dir="5400000" sy="-90000" algn="bl" rotWithShape="0"/>
                </a:effectLst>
                <a:latin typeface="Calibri" panose="020F0502020204030204" pitchFamily="34" charset="0"/>
              </a:rPr>
              <a:t>Health-Check BOT</a:t>
            </a:r>
          </a:p>
        </p:txBody>
      </p:sp>
      <p:sp>
        <p:nvSpPr>
          <p:cNvPr id="70" name="Rectangle 69"/>
          <p:cNvSpPr/>
          <p:nvPr/>
        </p:nvSpPr>
        <p:spPr>
          <a:xfrm>
            <a:off x="7151558" y="2705500"/>
            <a:ext cx="1264898" cy="307777"/>
          </a:xfrm>
          <a:prstGeom prst="rect">
            <a:avLst/>
          </a:prstGeom>
          <a:noFill/>
        </p:spPr>
        <p:txBody>
          <a:bodyPr wrap="none" lIns="91440" tIns="45720" rIns="91440" bIns="45720">
            <a:spAutoFit/>
          </a:bodyPr>
          <a:lstStyle/>
          <a:p>
            <a:pPr algn="ctr"/>
            <a:r>
              <a:rPr lang="en-US" sz="1400" b="1" cap="none" spc="0" dirty="0">
                <a:ln w="0"/>
                <a:effectLst>
                  <a:reflection blurRad="6350" stA="53000" endA="300" endPos="35500" dir="5400000" sy="-90000" algn="bl" rotWithShape="0"/>
                </a:effectLst>
                <a:latin typeface="Calibri" panose="020F0502020204030204" pitchFamily="34" charset="0"/>
              </a:rPr>
              <a:t>Reporting BOT</a:t>
            </a:r>
          </a:p>
        </p:txBody>
      </p:sp>
      <p:grpSp>
        <p:nvGrpSpPr>
          <p:cNvPr id="77" name="Group 76"/>
          <p:cNvGrpSpPr/>
          <p:nvPr/>
        </p:nvGrpSpPr>
        <p:grpSpPr>
          <a:xfrm>
            <a:off x="5237199" y="3144023"/>
            <a:ext cx="3431596" cy="769441"/>
            <a:chOff x="5815534" y="2995536"/>
            <a:chExt cx="3431596" cy="769441"/>
          </a:xfrm>
        </p:grpSpPr>
        <p:pic>
          <p:nvPicPr>
            <p:cNvPr id="9" name="Picture 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15534" y="3031954"/>
              <a:ext cx="1443791" cy="685800"/>
            </a:xfrm>
            <a:prstGeom prst="rect">
              <a:avLst/>
            </a:prstGeom>
          </p:spPr>
        </p:pic>
        <p:sp>
          <p:nvSpPr>
            <p:cNvPr id="73" name="Rectangle 72"/>
            <p:cNvSpPr/>
            <p:nvPr/>
          </p:nvSpPr>
          <p:spPr>
            <a:xfrm>
              <a:off x="7445034" y="2995536"/>
              <a:ext cx="1802096" cy="769441"/>
            </a:xfrm>
            <a:prstGeom prst="rect">
              <a:avLst/>
            </a:prstGeom>
            <a:noFill/>
          </p:spPr>
          <p:txBody>
            <a:bodyPr wrap="none" lIns="91440" tIns="45720" rIns="91440" bIns="45720">
              <a:spAutoFit/>
            </a:bodyPr>
            <a:lstStyle/>
            <a:p>
              <a:r>
                <a:rPr lang="en-US" sz="1100" b="1" dirty="0">
                  <a:ln w="0"/>
                  <a:effectLst>
                    <a:outerShdw blurRad="38100" dist="19050" dir="2700000" algn="tl" rotWithShape="0">
                      <a:schemeClr val="dk1">
                        <a:alpha val="40000"/>
                      </a:schemeClr>
                    </a:outerShdw>
                  </a:effectLst>
                  <a:latin typeface="Calibri" panose="020F0502020204030204" pitchFamily="34" charset="0"/>
                </a:rPr>
                <a:t>Automate Manual Jobs</a:t>
              </a:r>
            </a:p>
            <a:p>
              <a:r>
                <a:rPr lang="en-US" sz="1100" b="1" dirty="0">
                  <a:ln w="0"/>
                  <a:effectLst>
                    <a:outerShdw blurRad="38100" dist="19050" dir="2700000" algn="tl" rotWithShape="0">
                      <a:schemeClr val="dk1">
                        <a:alpha val="40000"/>
                      </a:schemeClr>
                    </a:outerShdw>
                  </a:effectLst>
                  <a:latin typeface="Calibri" panose="020F0502020204030204" pitchFamily="34" charset="0"/>
                </a:rPr>
                <a:t>Automate Recurring SRs</a:t>
              </a:r>
            </a:p>
            <a:p>
              <a:r>
                <a:rPr lang="en-US" sz="1100" b="1" dirty="0">
                  <a:ln w="0"/>
                  <a:effectLst>
                    <a:outerShdw blurRad="38100" dist="19050" dir="2700000" algn="tl" rotWithShape="0">
                      <a:schemeClr val="dk1">
                        <a:alpha val="40000"/>
                      </a:schemeClr>
                    </a:outerShdw>
                  </a:effectLst>
                  <a:latin typeface="Calibri" panose="020F0502020204030204" pitchFamily="34" charset="0"/>
                </a:rPr>
                <a:t>Lean &amp; Process Automation</a:t>
              </a:r>
            </a:p>
            <a:p>
              <a:r>
                <a:rPr lang="en-US" sz="1100" b="1" dirty="0">
                  <a:ln w="0"/>
                  <a:effectLst>
                    <a:outerShdw blurRad="38100" dist="19050" dir="2700000" algn="tl" rotWithShape="0">
                      <a:schemeClr val="dk1">
                        <a:alpha val="40000"/>
                      </a:schemeClr>
                    </a:outerShdw>
                  </a:effectLst>
                  <a:latin typeface="Calibri" panose="020F0502020204030204" pitchFamily="34" charset="0"/>
                </a:rPr>
                <a:t>Performance Tuning</a:t>
              </a:r>
            </a:p>
          </p:txBody>
        </p:sp>
      </p:grpSp>
      <p:sp>
        <p:nvSpPr>
          <p:cNvPr id="83" name="Isosceles Triangle 82"/>
          <p:cNvSpPr/>
          <p:nvPr/>
        </p:nvSpPr>
        <p:spPr>
          <a:xfrm rot="5400000">
            <a:off x="3378553" y="2792826"/>
            <a:ext cx="2743200" cy="274320"/>
          </a:xfrm>
          <a:prstGeom prst="triangle">
            <a:avLst>
              <a:gd name="adj" fmla="val 48156"/>
            </a:avLst>
          </a:prstGeom>
          <a:gradFill rotWithShape="1">
            <a:gsLst>
              <a:gs pos="0">
                <a:srgbClr val="0096D6">
                  <a:tint val="50000"/>
                  <a:satMod val="300000"/>
                </a:srgbClr>
              </a:gs>
              <a:gs pos="35000">
                <a:srgbClr val="0096D6">
                  <a:tint val="37000"/>
                  <a:satMod val="300000"/>
                </a:srgbClr>
              </a:gs>
              <a:gs pos="100000">
                <a:srgbClr val="0096D6">
                  <a:tint val="15000"/>
                  <a:satMod val="350000"/>
                </a:srgbClr>
              </a:gs>
            </a:gsLst>
            <a:lin ang="16200000" scaled="1"/>
          </a:gra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HP Simplified"/>
              <a:ea typeface="+mn-ea"/>
              <a:cs typeface="+mn-cs"/>
            </a:endParaRPr>
          </a:p>
        </p:txBody>
      </p:sp>
      <p:sp>
        <p:nvSpPr>
          <p:cNvPr id="84" name="Isosceles Triangle 83"/>
          <p:cNvSpPr/>
          <p:nvPr/>
        </p:nvSpPr>
        <p:spPr>
          <a:xfrm rot="5400000">
            <a:off x="6479320" y="3446582"/>
            <a:ext cx="640080" cy="91440"/>
          </a:xfrm>
          <a:prstGeom prst="triangle">
            <a:avLst>
              <a:gd name="adj" fmla="val 48156"/>
            </a:avLst>
          </a:prstGeom>
          <a:gradFill rotWithShape="1">
            <a:gsLst>
              <a:gs pos="0">
                <a:srgbClr val="0096D6">
                  <a:tint val="50000"/>
                  <a:satMod val="300000"/>
                </a:srgbClr>
              </a:gs>
              <a:gs pos="35000">
                <a:srgbClr val="0096D6">
                  <a:tint val="37000"/>
                  <a:satMod val="300000"/>
                </a:srgbClr>
              </a:gs>
              <a:gs pos="100000">
                <a:srgbClr val="0096D6">
                  <a:tint val="15000"/>
                  <a:satMod val="350000"/>
                </a:srgbClr>
              </a:gs>
            </a:gsLst>
            <a:lin ang="16200000" scaled="1"/>
          </a:gra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HP Simplified"/>
              <a:ea typeface="+mn-ea"/>
              <a:cs typeface="+mn-cs"/>
            </a:endParaRPr>
          </a:p>
        </p:txBody>
      </p:sp>
      <p:sp>
        <p:nvSpPr>
          <p:cNvPr id="5" name="TextBox 4"/>
          <p:cNvSpPr txBox="1"/>
          <p:nvPr/>
        </p:nvSpPr>
        <p:spPr>
          <a:xfrm>
            <a:off x="1487424" y="4496040"/>
            <a:ext cx="441710" cy="200055"/>
          </a:xfrm>
          <a:prstGeom prst="rect">
            <a:avLst/>
          </a:prstGeom>
          <a:noFill/>
        </p:spPr>
        <p:txBody>
          <a:bodyPr wrap="square" rtlCol="0">
            <a:spAutoFit/>
          </a:bodyPr>
          <a:lstStyle/>
          <a:p>
            <a:pPr algn="ctr"/>
            <a:r>
              <a:rPr lang="en-US" sz="700" b="1" dirty="0">
                <a:solidFill>
                  <a:schemeClr val="bg1"/>
                </a:solidFill>
                <a:latin typeface="Calibri" panose="020F0502020204030204" pitchFamily="34" charset="0"/>
              </a:rPr>
              <a:t>Before</a:t>
            </a:r>
          </a:p>
        </p:txBody>
      </p:sp>
      <p:sp>
        <p:nvSpPr>
          <p:cNvPr id="29" name="TextBox 28"/>
          <p:cNvSpPr txBox="1"/>
          <p:nvPr/>
        </p:nvSpPr>
        <p:spPr>
          <a:xfrm>
            <a:off x="2530776" y="4492139"/>
            <a:ext cx="441710" cy="200055"/>
          </a:xfrm>
          <a:prstGeom prst="rect">
            <a:avLst/>
          </a:prstGeom>
          <a:noFill/>
        </p:spPr>
        <p:txBody>
          <a:bodyPr wrap="square" rtlCol="0">
            <a:spAutoFit/>
          </a:bodyPr>
          <a:lstStyle/>
          <a:p>
            <a:pPr algn="ctr"/>
            <a:r>
              <a:rPr lang="en-US" sz="700" b="1" dirty="0">
                <a:solidFill>
                  <a:schemeClr val="bg1"/>
                </a:solidFill>
                <a:latin typeface="Calibri" panose="020F0502020204030204" pitchFamily="34" charset="0"/>
              </a:rPr>
              <a:t>After</a:t>
            </a:r>
          </a:p>
        </p:txBody>
      </p:sp>
      <p:sp>
        <p:nvSpPr>
          <p:cNvPr id="2" name="TextBox 1"/>
          <p:cNvSpPr txBox="1"/>
          <p:nvPr/>
        </p:nvSpPr>
        <p:spPr>
          <a:xfrm>
            <a:off x="8506181" y="4563374"/>
            <a:ext cx="637819" cy="261610"/>
          </a:xfrm>
          <a:prstGeom prst="rect">
            <a:avLst/>
          </a:prstGeom>
          <a:noFill/>
        </p:spPr>
        <p:txBody>
          <a:bodyPr wrap="square" rtlCol="0">
            <a:spAutoFit/>
          </a:bodyPr>
          <a:lstStyle/>
          <a:p>
            <a:r>
              <a:rPr lang="en-US" sz="1100" b="1" dirty="0">
                <a:solidFill>
                  <a:schemeClr val="tx2">
                    <a:lumMod val="50000"/>
                  </a:schemeClr>
                </a:solidFill>
                <a:latin typeface="Calibri" panose="020F0502020204030204" pitchFamily="34" charset="0"/>
                <a:hlinkClick r:id="" action="ppaction://noaction"/>
              </a:rPr>
              <a:t>Details</a:t>
            </a:r>
            <a:endParaRPr lang="en-US" sz="1100" b="1" dirty="0">
              <a:solidFill>
                <a:schemeClr val="tx2">
                  <a:lumMod val="50000"/>
                </a:schemeClr>
              </a:solidFill>
              <a:latin typeface="Calibri" panose="020F0502020204030204" pitchFamily="34" charset="0"/>
            </a:endParaRPr>
          </a:p>
        </p:txBody>
      </p:sp>
    </p:spTree>
    <p:extLst>
      <p:ext uri="{BB962C8B-B14F-4D97-AF65-F5344CB8AC3E}">
        <p14:creationId xmlns:p14="http://schemas.microsoft.com/office/powerpoint/2010/main" val="5873810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         Reporting BOT</a:t>
            </a: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4694" y="954973"/>
            <a:ext cx="2651760" cy="3821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Table 4"/>
          <p:cNvGraphicFramePr>
            <a:graphicFrameLocks noGrp="1"/>
          </p:cNvGraphicFramePr>
          <p:nvPr>
            <p:extLst/>
          </p:nvPr>
        </p:nvGraphicFramePr>
        <p:xfrm>
          <a:off x="3381670" y="875322"/>
          <a:ext cx="5410637" cy="3905774"/>
        </p:xfrm>
        <a:graphic>
          <a:graphicData uri="http://schemas.openxmlformats.org/drawingml/2006/table">
            <a:tbl>
              <a:tblPr firstRow="1" bandRow="1"/>
              <a:tblGrid>
                <a:gridCol w="5410637">
                  <a:extLst>
                    <a:ext uri="{9D8B030D-6E8A-4147-A177-3AD203B41FA5}">
                      <a16:colId xmlns:a16="http://schemas.microsoft.com/office/drawing/2014/main" val="2382525918"/>
                    </a:ext>
                  </a:extLst>
                </a:gridCol>
              </a:tblGrid>
              <a:tr h="785834">
                <a:tc>
                  <a:txBody>
                    <a:bodyPr/>
                    <a:lstStyle>
                      <a:lvl1pPr marL="0" algn="l" defTabSz="782874" rtl="0" eaLnBrk="1" latinLnBrk="0" hangingPunct="1">
                        <a:defRPr sz="1500" b="1" kern="1200">
                          <a:solidFill>
                            <a:schemeClr val="lt1"/>
                          </a:solidFill>
                          <a:latin typeface="Calibri"/>
                        </a:defRPr>
                      </a:lvl1pPr>
                      <a:lvl2pPr marL="391438" algn="l" defTabSz="782874" rtl="0" eaLnBrk="1" latinLnBrk="0" hangingPunct="1">
                        <a:defRPr sz="1500" b="1" kern="1200">
                          <a:solidFill>
                            <a:schemeClr val="lt1"/>
                          </a:solidFill>
                          <a:latin typeface="Calibri"/>
                        </a:defRPr>
                      </a:lvl2pPr>
                      <a:lvl3pPr marL="782874" algn="l" defTabSz="782874" rtl="0" eaLnBrk="1" latinLnBrk="0" hangingPunct="1">
                        <a:defRPr sz="1500" b="1" kern="1200">
                          <a:solidFill>
                            <a:schemeClr val="lt1"/>
                          </a:solidFill>
                          <a:latin typeface="Calibri"/>
                        </a:defRPr>
                      </a:lvl3pPr>
                      <a:lvl4pPr marL="1174311" algn="l" defTabSz="782874" rtl="0" eaLnBrk="1" latinLnBrk="0" hangingPunct="1">
                        <a:defRPr sz="1500" b="1" kern="1200">
                          <a:solidFill>
                            <a:schemeClr val="lt1"/>
                          </a:solidFill>
                          <a:latin typeface="Calibri"/>
                        </a:defRPr>
                      </a:lvl4pPr>
                      <a:lvl5pPr marL="1565748" algn="l" defTabSz="782874" rtl="0" eaLnBrk="1" latinLnBrk="0" hangingPunct="1">
                        <a:defRPr sz="1500" b="1" kern="1200">
                          <a:solidFill>
                            <a:schemeClr val="lt1"/>
                          </a:solidFill>
                          <a:latin typeface="Calibri"/>
                        </a:defRPr>
                      </a:lvl5pPr>
                      <a:lvl6pPr marL="1957185" algn="l" defTabSz="782874" rtl="0" eaLnBrk="1" latinLnBrk="0" hangingPunct="1">
                        <a:defRPr sz="1500" b="1" kern="1200">
                          <a:solidFill>
                            <a:schemeClr val="lt1"/>
                          </a:solidFill>
                          <a:latin typeface="Calibri"/>
                        </a:defRPr>
                      </a:lvl6pPr>
                      <a:lvl7pPr marL="2348622" algn="l" defTabSz="782874" rtl="0" eaLnBrk="1" latinLnBrk="0" hangingPunct="1">
                        <a:defRPr sz="1500" b="1" kern="1200">
                          <a:solidFill>
                            <a:schemeClr val="lt1"/>
                          </a:solidFill>
                          <a:latin typeface="Calibri"/>
                        </a:defRPr>
                      </a:lvl7pPr>
                      <a:lvl8pPr marL="2740060" algn="l" defTabSz="782874" rtl="0" eaLnBrk="1" latinLnBrk="0" hangingPunct="1">
                        <a:defRPr sz="1500" b="1" kern="1200">
                          <a:solidFill>
                            <a:schemeClr val="lt1"/>
                          </a:solidFill>
                          <a:latin typeface="Calibri"/>
                        </a:defRPr>
                      </a:lvl8pPr>
                      <a:lvl9pPr marL="3131497" algn="l" defTabSz="782874" rtl="0" eaLnBrk="1" latinLnBrk="0" hangingPunct="1">
                        <a:defRPr sz="1500" b="1" kern="1200">
                          <a:solidFill>
                            <a:schemeClr val="lt1"/>
                          </a:solidFill>
                          <a:latin typeface="Calibri"/>
                        </a:defRPr>
                      </a:lvl9pPr>
                    </a:lstStyle>
                    <a:p>
                      <a:r>
                        <a:rPr lang="en-US" sz="1200" i="1" dirty="0"/>
                        <a:t>What is Reporting BOT ?</a:t>
                      </a:r>
                    </a:p>
                    <a:p>
                      <a:r>
                        <a:rPr lang="en-US" sz="1200" dirty="0"/>
                        <a:t>Generation</a:t>
                      </a:r>
                      <a:r>
                        <a:rPr lang="en-US" sz="1200" baseline="0" dirty="0"/>
                        <a:t> of SLT (Service Level Target) </a:t>
                      </a:r>
                      <a:r>
                        <a:rPr lang="en-US" sz="1200" dirty="0"/>
                        <a:t>daily/weekly/monthly reports to find status of jobs for</a:t>
                      </a:r>
                      <a:r>
                        <a:rPr lang="en-US" sz="1200" baseline="0" dirty="0"/>
                        <a:t> different source system of global applications.</a:t>
                      </a:r>
                      <a:endParaRPr lang="en-US" sz="1200" dirty="0"/>
                    </a:p>
                  </a:txBody>
                  <a:tcPr marL="70902" marR="70902" marT="35451" marB="35451">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12C2E9"/>
                    </a:solidFill>
                  </a:tcPr>
                </a:tc>
                <a:extLst>
                  <a:ext uri="{0D108BD9-81ED-4DB2-BD59-A6C34878D82A}">
                    <a16:rowId xmlns:a16="http://schemas.microsoft.com/office/drawing/2014/main" val="2367596873"/>
                  </a:ext>
                </a:extLst>
              </a:tr>
              <a:tr h="432054">
                <a:tc>
                  <a:txBody>
                    <a:bodyPr/>
                    <a:lstStyle>
                      <a:lvl1pPr marL="0" algn="l" defTabSz="782874" rtl="0" eaLnBrk="1" latinLnBrk="0" hangingPunct="1">
                        <a:defRPr sz="1500" kern="1200">
                          <a:solidFill>
                            <a:schemeClr val="dk1"/>
                          </a:solidFill>
                          <a:latin typeface="Calibri"/>
                        </a:defRPr>
                      </a:lvl1pPr>
                      <a:lvl2pPr marL="391438" algn="l" defTabSz="782874" rtl="0" eaLnBrk="1" latinLnBrk="0" hangingPunct="1">
                        <a:defRPr sz="1500" kern="1200">
                          <a:solidFill>
                            <a:schemeClr val="dk1"/>
                          </a:solidFill>
                          <a:latin typeface="Calibri"/>
                        </a:defRPr>
                      </a:lvl2pPr>
                      <a:lvl3pPr marL="782874" algn="l" defTabSz="782874" rtl="0" eaLnBrk="1" latinLnBrk="0" hangingPunct="1">
                        <a:defRPr sz="1500" kern="1200">
                          <a:solidFill>
                            <a:schemeClr val="dk1"/>
                          </a:solidFill>
                          <a:latin typeface="Calibri"/>
                        </a:defRPr>
                      </a:lvl3pPr>
                      <a:lvl4pPr marL="1174311" algn="l" defTabSz="782874" rtl="0" eaLnBrk="1" latinLnBrk="0" hangingPunct="1">
                        <a:defRPr sz="1500" kern="1200">
                          <a:solidFill>
                            <a:schemeClr val="dk1"/>
                          </a:solidFill>
                          <a:latin typeface="Calibri"/>
                        </a:defRPr>
                      </a:lvl4pPr>
                      <a:lvl5pPr marL="1565748" algn="l" defTabSz="782874" rtl="0" eaLnBrk="1" latinLnBrk="0" hangingPunct="1">
                        <a:defRPr sz="1500" kern="1200">
                          <a:solidFill>
                            <a:schemeClr val="dk1"/>
                          </a:solidFill>
                          <a:latin typeface="Calibri"/>
                        </a:defRPr>
                      </a:lvl5pPr>
                      <a:lvl6pPr marL="1957185" algn="l" defTabSz="782874" rtl="0" eaLnBrk="1" latinLnBrk="0" hangingPunct="1">
                        <a:defRPr sz="1500" kern="1200">
                          <a:solidFill>
                            <a:schemeClr val="dk1"/>
                          </a:solidFill>
                          <a:latin typeface="Calibri"/>
                        </a:defRPr>
                      </a:lvl6pPr>
                      <a:lvl7pPr marL="2348622" algn="l" defTabSz="782874" rtl="0" eaLnBrk="1" latinLnBrk="0" hangingPunct="1">
                        <a:defRPr sz="1500" kern="1200">
                          <a:solidFill>
                            <a:schemeClr val="dk1"/>
                          </a:solidFill>
                          <a:latin typeface="Calibri"/>
                        </a:defRPr>
                      </a:lvl7pPr>
                      <a:lvl8pPr marL="2740060" algn="l" defTabSz="782874" rtl="0" eaLnBrk="1" latinLnBrk="0" hangingPunct="1">
                        <a:defRPr sz="1500" kern="1200">
                          <a:solidFill>
                            <a:schemeClr val="dk1"/>
                          </a:solidFill>
                          <a:latin typeface="Calibri"/>
                        </a:defRPr>
                      </a:lvl8pPr>
                      <a:lvl9pPr marL="3131497" algn="l" defTabSz="782874" rtl="0" eaLnBrk="1" latinLnBrk="0" hangingPunct="1">
                        <a:defRPr sz="1500" kern="1200">
                          <a:solidFill>
                            <a:schemeClr val="dk1"/>
                          </a:solidFill>
                          <a:latin typeface="Calibri"/>
                        </a:defRPr>
                      </a:lvl9pPr>
                    </a:lstStyle>
                    <a:p>
                      <a:r>
                        <a:rPr lang="en-US" sz="1200" b="1" i="1" dirty="0"/>
                        <a:t>Technologies</a:t>
                      </a:r>
                      <a:r>
                        <a:rPr lang="en-US" sz="1200" b="1" i="1" baseline="0" dirty="0"/>
                        <a:t> used:</a:t>
                      </a:r>
                    </a:p>
                    <a:p>
                      <a:r>
                        <a:rPr lang="en-US" sz="1200" baseline="0" dirty="0"/>
                        <a:t>Microsoft .NET C#, Selenium driver, SQL Server 2008, </a:t>
                      </a:r>
                      <a:r>
                        <a:rPr lang="en-US" sz="1200" baseline="0" dirty="0" err="1"/>
                        <a:t>AutoIT</a:t>
                      </a:r>
                      <a:endParaRPr lang="en-US" sz="1200" dirty="0"/>
                    </a:p>
                  </a:txBody>
                  <a:tcPr marL="70902" marR="70902" marT="35451" marB="35451">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12C2E9">
                        <a:tint val="40000"/>
                      </a:srgbClr>
                    </a:solidFill>
                  </a:tcPr>
                </a:tc>
                <a:extLst>
                  <a:ext uri="{0D108BD9-81ED-4DB2-BD59-A6C34878D82A}">
                    <a16:rowId xmlns:a16="http://schemas.microsoft.com/office/drawing/2014/main" val="3267393568"/>
                  </a:ext>
                </a:extLst>
              </a:tr>
              <a:tr h="1523556">
                <a:tc>
                  <a:txBody>
                    <a:bodyPr/>
                    <a:lstStyle>
                      <a:lvl1pPr marL="0" algn="l" defTabSz="782874" rtl="0" eaLnBrk="1" latinLnBrk="0" hangingPunct="1">
                        <a:defRPr sz="1500" kern="1200">
                          <a:solidFill>
                            <a:schemeClr val="dk1"/>
                          </a:solidFill>
                          <a:latin typeface="Calibri"/>
                        </a:defRPr>
                      </a:lvl1pPr>
                      <a:lvl2pPr marL="391438" algn="l" defTabSz="782874" rtl="0" eaLnBrk="1" latinLnBrk="0" hangingPunct="1">
                        <a:defRPr sz="1500" kern="1200">
                          <a:solidFill>
                            <a:schemeClr val="dk1"/>
                          </a:solidFill>
                          <a:latin typeface="Calibri"/>
                        </a:defRPr>
                      </a:lvl2pPr>
                      <a:lvl3pPr marL="782874" algn="l" defTabSz="782874" rtl="0" eaLnBrk="1" latinLnBrk="0" hangingPunct="1">
                        <a:defRPr sz="1500" kern="1200">
                          <a:solidFill>
                            <a:schemeClr val="dk1"/>
                          </a:solidFill>
                          <a:latin typeface="Calibri"/>
                        </a:defRPr>
                      </a:lvl3pPr>
                      <a:lvl4pPr marL="1174311" algn="l" defTabSz="782874" rtl="0" eaLnBrk="1" latinLnBrk="0" hangingPunct="1">
                        <a:defRPr sz="1500" kern="1200">
                          <a:solidFill>
                            <a:schemeClr val="dk1"/>
                          </a:solidFill>
                          <a:latin typeface="Calibri"/>
                        </a:defRPr>
                      </a:lvl4pPr>
                      <a:lvl5pPr marL="1565748" algn="l" defTabSz="782874" rtl="0" eaLnBrk="1" latinLnBrk="0" hangingPunct="1">
                        <a:defRPr sz="1500" kern="1200">
                          <a:solidFill>
                            <a:schemeClr val="dk1"/>
                          </a:solidFill>
                          <a:latin typeface="Calibri"/>
                        </a:defRPr>
                      </a:lvl5pPr>
                      <a:lvl6pPr marL="1957185" algn="l" defTabSz="782874" rtl="0" eaLnBrk="1" latinLnBrk="0" hangingPunct="1">
                        <a:defRPr sz="1500" kern="1200">
                          <a:solidFill>
                            <a:schemeClr val="dk1"/>
                          </a:solidFill>
                          <a:latin typeface="Calibri"/>
                        </a:defRPr>
                      </a:lvl6pPr>
                      <a:lvl7pPr marL="2348622" algn="l" defTabSz="782874" rtl="0" eaLnBrk="1" latinLnBrk="0" hangingPunct="1">
                        <a:defRPr sz="1500" kern="1200">
                          <a:solidFill>
                            <a:schemeClr val="dk1"/>
                          </a:solidFill>
                          <a:latin typeface="Calibri"/>
                        </a:defRPr>
                      </a:lvl7pPr>
                      <a:lvl8pPr marL="2740060" algn="l" defTabSz="782874" rtl="0" eaLnBrk="1" latinLnBrk="0" hangingPunct="1">
                        <a:defRPr sz="1500" kern="1200">
                          <a:solidFill>
                            <a:schemeClr val="dk1"/>
                          </a:solidFill>
                          <a:latin typeface="Calibri"/>
                        </a:defRPr>
                      </a:lvl8pPr>
                      <a:lvl9pPr marL="3131497" algn="l" defTabSz="782874" rtl="0" eaLnBrk="1" latinLnBrk="0" hangingPunct="1">
                        <a:defRPr sz="1500" kern="1200">
                          <a:solidFill>
                            <a:schemeClr val="dk1"/>
                          </a:solidFill>
                          <a:latin typeface="Calibri"/>
                        </a:defRPr>
                      </a:lvl9pPr>
                    </a:lstStyle>
                    <a:p>
                      <a:r>
                        <a:rPr lang="en-US" sz="1200" b="1" i="1" dirty="0"/>
                        <a:t>Benefits:</a:t>
                      </a:r>
                    </a:p>
                    <a:p>
                      <a:pPr marL="285750" indent="-285750">
                        <a:buFont typeface="Arial" panose="020B0604020202020204" pitchFamily="34" charset="0"/>
                        <a:buChar char="•"/>
                      </a:pPr>
                      <a:r>
                        <a:rPr lang="en-US" sz="1200" dirty="0"/>
                        <a:t>Tool to automate the Service Level Target report/email for BI global applications</a:t>
                      </a:r>
                    </a:p>
                    <a:p>
                      <a:pPr marL="285750" indent="-285750">
                        <a:buFont typeface="Arial" panose="020B0604020202020204" pitchFamily="34" charset="0"/>
                        <a:buChar char="•"/>
                      </a:pPr>
                      <a:r>
                        <a:rPr lang="en-US" sz="1200" dirty="0"/>
                        <a:t>Reduced manual effort of 1800 hours annually</a:t>
                      </a:r>
                    </a:p>
                    <a:p>
                      <a:pPr marL="285750" indent="-285750">
                        <a:buFont typeface="Arial" panose="020B0604020202020204" pitchFamily="34" charset="0"/>
                        <a:buChar char="•"/>
                      </a:pPr>
                      <a:r>
                        <a:rPr lang="en-US" sz="1200" dirty="0"/>
                        <a:t>Robust and scalable to accommodate new applications</a:t>
                      </a:r>
                    </a:p>
                    <a:p>
                      <a:pPr marL="285750" indent="-285750">
                        <a:buFont typeface="Arial" panose="020B0604020202020204" pitchFamily="34" charset="0"/>
                        <a:buChar char="•"/>
                      </a:pPr>
                      <a:r>
                        <a:rPr lang="en-US" sz="1200" dirty="0"/>
                        <a:t>Reduces human efforts</a:t>
                      </a:r>
                    </a:p>
                    <a:p>
                      <a:pPr marL="285750" indent="-285750">
                        <a:buFont typeface="Arial" panose="020B0604020202020204" pitchFamily="34" charset="0"/>
                        <a:buChar char="•"/>
                      </a:pPr>
                      <a:r>
                        <a:rPr lang="en-US" sz="1200" dirty="0"/>
                        <a:t>Primarily source technologies used are C#, SQL Server &amp; </a:t>
                      </a:r>
                      <a:r>
                        <a:rPr lang="en-US" sz="1200" dirty="0" err="1"/>
                        <a:t>AutoIT</a:t>
                      </a:r>
                      <a:endParaRPr lang="en-US" sz="1200" dirty="0"/>
                    </a:p>
                    <a:p>
                      <a:endParaRPr lang="en-US" sz="1200" dirty="0"/>
                    </a:p>
                  </a:txBody>
                  <a:tcPr marL="70902" marR="70902" marT="35451" marB="3545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2C2E9">
                        <a:tint val="20000"/>
                      </a:srgbClr>
                    </a:solidFill>
                  </a:tcPr>
                </a:tc>
                <a:extLst>
                  <a:ext uri="{0D108BD9-81ED-4DB2-BD59-A6C34878D82A}">
                    <a16:rowId xmlns:a16="http://schemas.microsoft.com/office/drawing/2014/main" val="3708789554"/>
                  </a:ext>
                </a:extLst>
              </a:tr>
              <a:tr h="1159722">
                <a:tc>
                  <a:txBody>
                    <a:bodyPr/>
                    <a:lstStyle>
                      <a:lvl1pPr marL="0" algn="l" defTabSz="782874" rtl="0" eaLnBrk="1" latinLnBrk="0" hangingPunct="1">
                        <a:defRPr sz="1500" kern="1200">
                          <a:solidFill>
                            <a:schemeClr val="dk1"/>
                          </a:solidFill>
                          <a:latin typeface="Calibri"/>
                        </a:defRPr>
                      </a:lvl1pPr>
                      <a:lvl2pPr marL="391438" algn="l" defTabSz="782874" rtl="0" eaLnBrk="1" latinLnBrk="0" hangingPunct="1">
                        <a:defRPr sz="1500" kern="1200">
                          <a:solidFill>
                            <a:schemeClr val="dk1"/>
                          </a:solidFill>
                          <a:latin typeface="Calibri"/>
                        </a:defRPr>
                      </a:lvl2pPr>
                      <a:lvl3pPr marL="782874" algn="l" defTabSz="782874" rtl="0" eaLnBrk="1" latinLnBrk="0" hangingPunct="1">
                        <a:defRPr sz="1500" kern="1200">
                          <a:solidFill>
                            <a:schemeClr val="dk1"/>
                          </a:solidFill>
                          <a:latin typeface="Calibri"/>
                        </a:defRPr>
                      </a:lvl3pPr>
                      <a:lvl4pPr marL="1174311" algn="l" defTabSz="782874" rtl="0" eaLnBrk="1" latinLnBrk="0" hangingPunct="1">
                        <a:defRPr sz="1500" kern="1200">
                          <a:solidFill>
                            <a:schemeClr val="dk1"/>
                          </a:solidFill>
                          <a:latin typeface="Calibri"/>
                        </a:defRPr>
                      </a:lvl4pPr>
                      <a:lvl5pPr marL="1565748" algn="l" defTabSz="782874" rtl="0" eaLnBrk="1" latinLnBrk="0" hangingPunct="1">
                        <a:defRPr sz="1500" kern="1200">
                          <a:solidFill>
                            <a:schemeClr val="dk1"/>
                          </a:solidFill>
                          <a:latin typeface="Calibri"/>
                        </a:defRPr>
                      </a:lvl5pPr>
                      <a:lvl6pPr marL="1957185" algn="l" defTabSz="782874" rtl="0" eaLnBrk="1" latinLnBrk="0" hangingPunct="1">
                        <a:defRPr sz="1500" kern="1200">
                          <a:solidFill>
                            <a:schemeClr val="dk1"/>
                          </a:solidFill>
                          <a:latin typeface="Calibri"/>
                        </a:defRPr>
                      </a:lvl6pPr>
                      <a:lvl7pPr marL="2348622" algn="l" defTabSz="782874" rtl="0" eaLnBrk="1" latinLnBrk="0" hangingPunct="1">
                        <a:defRPr sz="1500" kern="1200">
                          <a:solidFill>
                            <a:schemeClr val="dk1"/>
                          </a:solidFill>
                          <a:latin typeface="Calibri"/>
                        </a:defRPr>
                      </a:lvl7pPr>
                      <a:lvl8pPr marL="2740060" algn="l" defTabSz="782874" rtl="0" eaLnBrk="1" latinLnBrk="0" hangingPunct="1">
                        <a:defRPr sz="1500" kern="1200">
                          <a:solidFill>
                            <a:schemeClr val="dk1"/>
                          </a:solidFill>
                          <a:latin typeface="Calibri"/>
                        </a:defRPr>
                      </a:lvl8pPr>
                      <a:lvl9pPr marL="3131497" algn="l" defTabSz="782874" rtl="0" eaLnBrk="1" latinLnBrk="0" hangingPunct="1">
                        <a:defRPr sz="1500" kern="1200">
                          <a:solidFill>
                            <a:schemeClr val="dk1"/>
                          </a:solidFill>
                          <a:latin typeface="Calibri"/>
                        </a:defRPr>
                      </a:lvl9pPr>
                    </a:lstStyle>
                    <a:p>
                      <a:r>
                        <a:rPr lang="en-US" sz="1200" b="1" i="1" dirty="0">
                          <a:solidFill>
                            <a:schemeClr val="bg1"/>
                          </a:solidFill>
                        </a:rPr>
                        <a:t>Client Appreciation:</a:t>
                      </a:r>
                    </a:p>
                    <a:p>
                      <a:r>
                        <a:rPr lang="en-US" sz="1200" dirty="0">
                          <a:solidFill>
                            <a:schemeClr val="bg1"/>
                          </a:solidFill>
                        </a:rPr>
                        <a:t>Team,</a:t>
                      </a:r>
                      <a:r>
                        <a:rPr lang="en-US" sz="1200" baseline="0" dirty="0">
                          <a:solidFill>
                            <a:schemeClr val="bg1"/>
                          </a:solidFill>
                        </a:rPr>
                        <a:t> appreciate the efforts put in to automate the SLT email communications. I am sure this will help to avoid human errors and reduce manual effort for the team.</a:t>
                      </a:r>
                    </a:p>
                    <a:p>
                      <a:pPr algn="r"/>
                      <a:r>
                        <a:rPr lang="en-US" sz="1200" baseline="0" dirty="0">
                          <a:solidFill>
                            <a:schemeClr val="bg1"/>
                          </a:solidFill>
                        </a:rPr>
                        <a:t>                                                                                                                                                                             IT Manager</a:t>
                      </a:r>
                      <a:endParaRPr lang="en-US" sz="1200" dirty="0">
                        <a:solidFill>
                          <a:schemeClr val="bg1"/>
                        </a:solidFill>
                      </a:endParaRPr>
                    </a:p>
                  </a:txBody>
                  <a:tcPr marL="70902" marR="70902" marT="35451" marB="3545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F4527"/>
                    </a:solidFill>
                  </a:tcPr>
                </a:tc>
                <a:extLst>
                  <a:ext uri="{0D108BD9-81ED-4DB2-BD59-A6C34878D82A}">
                    <a16:rowId xmlns:a16="http://schemas.microsoft.com/office/drawing/2014/main" val="3359447206"/>
                  </a:ext>
                </a:extLst>
              </a:tr>
            </a:tbl>
          </a:graphicData>
        </a:graphic>
      </p:graphicFrame>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19048" r="20591"/>
          <a:stretch/>
        </p:blipFill>
        <p:spPr>
          <a:xfrm>
            <a:off x="13161" y="2"/>
            <a:ext cx="822960" cy="758030"/>
          </a:xfrm>
          <a:prstGeom prst="rect">
            <a:avLst/>
          </a:prstGeom>
        </p:spPr>
      </p:pic>
    </p:spTree>
    <p:extLst>
      <p:ext uri="{BB962C8B-B14F-4D97-AF65-F5344CB8AC3E}">
        <p14:creationId xmlns:p14="http://schemas.microsoft.com/office/powerpoint/2010/main" val="2648736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        </a:t>
            </a:r>
            <a:r>
              <a:rPr lang="en-US" sz="2400" dirty="0" err="1"/>
              <a:t>HealthCheck</a:t>
            </a:r>
            <a:r>
              <a:rPr lang="en-US" sz="2400" dirty="0"/>
              <a:t> BOT</a:t>
            </a:r>
          </a:p>
        </p:txBody>
      </p:sp>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l="15458" t="9124" r="15223" b="8291"/>
          <a:stretch/>
        </p:blipFill>
        <p:spPr>
          <a:xfrm>
            <a:off x="100647" y="1"/>
            <a:ext cx="640080" cy="762564"/>
          </a:xfrm>
          <a:prstGeom prst="rect">
            <a:avLst/>
          </a:prstGeom>
        </p:spPr>
      </p:pic>
      <p:graphicFrame>
        <p:nvGraphicFramePr>
          <p:cNvPr id="4" name="Table 3"/>
          <p:cNvGraphicFramePr>
            <a:graphicFrameLocks noGrp="1"/>
          </p:cNvGraphicFramePr>
          <p:nvPr>
            <p:extLst/>
          </p:nvPr>
        </p:nvGraphicFramePr>
        <p:xfrm>
          <a:off x="3624430" y="1032159"/>
          <a:ext cx="5113169" cy="3775938"/>
        </p:xfrm>
        <a:graphic>
          <a:graphicData uri="http://schemas.openxmlformats.org/drawingml/2006/table">
            <a:tbl>
              <a:tblPr firstRow="1" bandRow="1"/>
              <a:tblGrid>
                <a:gridCol w="5113169">
                  <a:extLst>
                    <a:ext uri="{9D8B030D-6E8A-4147-A177-3AD203B41FA5}">
                      <a16:colId xmlns:a16="http://schemas.microsoft.com/office/drawing/2014/main" val="2382525918"/>
                    </a:ext>
                  </a:extLst>
                </a:gridCol>
              </a:tblGrid>
              <a:tr h="1061569">
                <a:tc>
                  <a:txBody>
                    <a:bodyPr/>
                    <a:lstStyle>
                      <a:lvl1pPr marL="0" algn="l" defTabSz="782874" rtl="0" eaLnBrk="1" latinLnBrk="0" hangingPunct="1">
                        <a:defRPr sz="1500" b="1" kern="1200">
                          <a:solidFill>
                            <a:schemeClr val="lt1"/>
                          </a:solidFill>
                          <a:latin typeface="Calibri"/>
                        </a:defRPr>
                      </a:lvl1pPr>
                      <a:lvl2pPr marL="391438" algn="l" defTabSz="782874" rtl="0" eaLnBrk="1" latinLnBrk="0" hangingPunct="1">
                        <a:defRPr sz="1500" b="1" kern="1200">
                          <a:solidFill>
                            <a:schemeClr val="lt1"/>
                          </a:solidFill>
                          <a:latin typeface="Calibri"/>
                        </a:defRPr>
                      </a:lvl2pPr>
                      <a:lvl3pPr marL="782874" algn="l" defTabSz="782874" rtl="0" eaLnBrk="1" latinLnBrk="0" hangingPunct="1">
                        <a:defRPr sz="1500" b="1" kern="1200">
                          <a:solidFill>
                            <a:schemeClr val="lt1"/>
                          </a:solidFill>
                          <a:latin typeface="Calibri"/>
                        </a:defRPr>
                      </a:lvl3pPr>
                      <a:lvl4pPr marL="1174311" algn="l" defTabSz="782874" rtl="0" eaLnBrk="1" latinLnBrk="0" hangingPunct="1">
                        <a:defRPr sz="1500" b="1" kern="1200">
                          <a:solidFill>
                            <a:schemeClr val="lt1"/>
                          </a:solidFill>
                          <a:latin typeface="Calibri"/>
                        </a:defRPr>
                      </a:lvl4pPr>
                      <a:lvl5pPr marL="1565748" algn="l" defTabSz="782874" rtl="0" eaLnBrk="1" latinLnBrk="0" hangingPunct="1">
                        <a:defRPr sz="1500" b="1" kern="1200">
                          <a:solidFill>
                            <a:schemeClr val="lt1"/>
                          </a:solidFill>
                          <a:latin typeface="Calibri"/>
                        </a:defRPr>
                      </a:lvl5pPr>
                      <a:lvl6pPr marL="1957185" algn="l" defTabSz="782874" rtl="0" eaLnBrk="1" latinLnBrk="0" hangingPunct="1">
                        <a:defRPr sz="1500" b="1" kern="1200">
                          <a:solidFill>
                            <a:schemeClr val="lt1"/>
                          </a:solidFill>
                          <a:latin typeface="Calibri"/>
                        </a:defRPr>
                      </a:lvl6pPr>
                      <a:lvl7pPr marL="2348622" algn="l" defTabSz="782874" rtl="0" eaLnBrk="1" latinLnBrk="0" hangingPunct="1">
                        <a:defRPr sz="1500" b="1" kern="1200">
                          <a:solidFill>
                            <a:schemeClr val="lt1"/>
                          </a:solidFill>
                          <a:latin typeface="Calibri"/>
                        </a:defRPr>
                      </a:lvl7pPr>
                      <a:lvl8pPr marL="2740060" algn="l" defTabSz="782874" rtl="0" eaLnBrk="1" latinLnBrk="0" hangingPunct="1">
                        <a:defRPr sz="1500" b="1" kern="1200">
                          <a:solidFill>
                            <a:schemeClr val="lt1"/>
                          </a:solidFill>
                          <a:latin typeface="Calibri"/>
                        </a:defRPr>
                      </a:lvl8pPr>
                      <a:lvl9pPr marL="3131497" algn="l" defTabSz="782874" rtl="0" eaLnBrk="1" latinLnBrk="0" hangingPunct="1">
                        <a:defRPr sz="1500" b="1" kern="1200">
                          <a:solidFill>
                            <a:schemeClr val="lt1"/>
                          </a:solidFill>
                          <a:latin typeface="Calibri"/>
                        </a:defRPr>
                      </a:lvl9pPr>
                    </a:lstStyle>
                    <a:p>
                      <a:r>
                        <a:rPr lang="en-US" sz="1200" b="0" i="0" dirty="0">
                          <a:latin typeface="Calibri" panose="020F0502020204030204" pitchFamily="34" charset="0"/>
                        </a:rPr>
                        <a:t>What is Health-Check BOT ?</a:t>
                      </a:r>
                    </a:p>
                    <a:p>
                      <a:r>
                        <a:rPr lang="en-US" sz="1200" b="0" i="0" dirty="0">
                          <a:latin typeface="Calibri" panose="020F0502020204030204" pitchFamily="34" charset="0"/>
                        </a:rPr>
                        <a:t>A</a:t>
                      </a:r>
                      <a:r>
                        <a:rPr lang="en-US" sz="1200" b="0" i="0" baseline="0" dirty="0">
                          <a:latin typeface="Calibri" panose="020F0502020204030204" pitchFamily="34" charset="0"/>
                        </a:rPr>
                        <a:t> bot that runs every 30 minutes to check the service running status, incase if service is not running it attempts to restart the service and if it fails in the retry attempt then send notification email to application support team and business user</a:t>
                      </a:r>
                      <a:endParaRPr lang="en-US" sz="1200" b="0" i="0" dirty="0">
                        <a:latin typeface="Calibri" panose="020F0502020204030204" pitchFamily="34" charset="0"/>
                      </a:endParaRPr>
                    </a:p>
                  </a:txBody>
                  <a:tcPr marL="70902" marR="70902" marT="35451" marB="35451">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12C2E9"/>
                    </a:solidFill>
                  </a:tcPr>
                </a:tc>
                <a:extLst>
                  <a:ext uri="{0D108BD9-81ED-4DB2-BD59-A6C34878D82A}">
                    <a16:rowId xmlns:a16="http://schemas.microsoft.com/office/drawing/2014/main" val="2367596873"/>
                  </a:ext>
                </a:extLst>
              </a:tr>
              <a:tr h="470462">
                <a:tc>
                  <a:txBody>
                    <a:bodyPr/>
                    <a:lstStyle>
                      <a:lvl1pPr marL="0" algn="l" defTabSz="782874" rtl="0" eaLnBrk="1" latinLnBrk="0" hangingPunct="1">
                        <a:defRPr sz="1500" kern="1200">
                          <a:solidFill>
                            <a:schemeClr val="dk1"/>
                          </a:solidFill>
                          <a:latin typeface="Calibri"/>
                        </a:defRPr>
                      </a:lvl1pPr>
                      <a:lvl2pPr marL="391438" algn="l" defTabSz="782874" rtl="0" eaLnBrk="1" latinLnBrk="0" hangingPunct="1">
                        <a:defRPr sz="1500" kern="1200">
                          <a:solidFill>
                            <a:schemeClr val="dk1"/>
                          </a:solidFill>
                          <a:latin typeface="Calibri"/>
                        </a:defRPr>
                      </a:lvl2pPr>
                      <a:lvl3pPr marL="782874" algn="l" defTabSz="782874" rtl="0" eaLnBrk="1" latinLnBrk="0" hangingPunct="1">
                        <a:defRPr sz="1500" kern="1200">
                          <a:solidFill>
                            <a:schemeClr val="dk1"/>
                          </a:solidFill>
                          <a:latin typeface="Calibri"/>
                        </a:defRPr>
                      </a:lvl3pPr>
                      <a:lvl4pPr marL="1174311" algn="l" defTabSz="782874" rtl="0" eaLnBrk="1" latinLnBrk="0" hangingPunct="1">
                        <a:defRPr sz="1500" kern="1200">
                          <a:solidFill>
                            <a:schemeClr val="dk1"/>
                          </a:solidFill>
                          <a:latin typeface="Calibri"/>
                        </a:defRPr>
                      </a:lvl4pPr>
                      <a:lvl5pPr marL="1565748" algn="l" defTabSz="782874" rtl="0" eaLnBrk="1" latinLnBrk="0" hangingPunct="1">
                        <a:defRPr sz="1500" kern="1200">
                          <a:solidFill>
                            <a:schemeClr val="dk1"/>
                          </a:solidFill>
                          <a:latin typeface="Calibri"/>
                        </a:defRPr>
                      </a:lvl5pPr>
                      <a:lvl6pPr marL="1957185" algn="l" defTabSz="782874" rtl="0" eaLnBrk="1" latinLnBrk="0" hangingPunct="1">
                        <a:defRPr sz="1500" kern="1200">
                          <a:solidFill>
                            <a:schemeClr val="dk1"/>
                          </a:solidFill>
                          <a:latin typeface="Calibri"/>
                        </a:defRPr>
                      </a:lvl6pPr>
                      <a:lvl7pPr marL="2348622" algn="l" defTabSz="782874" rtl="0" eaLnBrk="1" latinLnBrk="0" hangingPunct="1">
                        <a:defRPr sz="1500" kern="1200">
                          <a:solidFill>
                            <a:schemeClr val="dk1"/>
                          </a:solidFill>
                          <a:latin typeface="Calibri"/>
                        </a:defRPr>
                      </a:lvl7pPr>
                      <a:lvl8pPr marL="2740060" algn="l" defTabSz="782874" rtl="0" eaLnBrk="1" latinLnBrk="0" hangingPunct="1">
                        <a:defRPr sz="1500" kern="1200">
                          <a:solidFill>
                            <a:schemeClr val="dk1"/>
                          </a:solidFill>
                          <a:latin typeface="Calibri"/>
                        </a:defRPr>
                      </a:lvl8pPr>
                      <a:lvl9pPr marL="3131497" algn="l" defTabSz="782874" rtl="0" eaLnBrk="1" latinLnBrk="0" hangingPunct="1">
                        <a:defRPr sz="1500" kern="1200">
                          <a:solidFill>
                            <a:schemeClr val="dk1"/>
                          </a:solidFill>
                          <a:latin typeface="Calibri"/>
                        </a:defRPr>
                      </a:lvl9pPr>
                    </a:lstStyle>
                    <a:p>
                      <a:r>
                        <a:rPr lang="en-US" sz="1200" b="0" i="0" dirty="0">
                          <a:latin typeface="Calibri" panose="020F0502020204030204" pitchFamily="34" charset="0"/>
                        </a:rPr>
                        <a:t>Technologies</a:t>
                      </a:r>
                      <a:r>
                        <a:rPr lang="en-US" sz="1200" b="0" i="0" baseline="0" dirty="0">
                          <a:latin typeface="Calibri" panose="020F0502020204030204" pitchFamily="34" charset="0"/>
                        </a:rPr>
                        <a:t> used:</a:t>
                      </a:r>
                    </a:p>
                    <a:p>
                      <a:r>
                        <a:rPr lang="en-US" sz="1200" b="0" i="0" baseline="0" dirty="0">
                          <a:latin typeface="Calibri" panose="020F0502020204030204" pitchFamily="34" charset="0"/>
                        </a:rPr>
                        <a:t>Windows </a:t>
                      </a:r>
                      <a:r>
                        <a:rPr lang="en-US" sz="1200" b="0" i="0" baseline="0" dirty="0" err="1">
                          <a:latin typeface="Calibri" panose="020F0502020204030204" pitchFamily="34" charset="0"/>
                        </a:rPr>
                        <a:t>Powershell</a:t>
                      </a:r>
                      <a:r>
                        <a:rPr lang="en-US" sz="1200" b="0" i="0" baseline="0" dirty="0">
                          <a:latin typeface="Calibri" panose="020F0502020204030204" pitchFamily="34" charset="0"/>
                        </a:rPr>
                        <a:t> script</a:t>
                      </a:r>
                      <a:endParaRPr lang="en-US" sz="1200" b="0" i="0" dirty="0">
                        <a:latin typeface="Calibri" panose="020F0502020204030204" pitchFamily="34" charset="0"/>
                      </a:endParaRPr>
                    </a:p>
                  </a:txBody>
                  <a:tcPr marL="70902" marR="70902" marT="35451" marB="35451">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12C2E9">
                        <a:tint val="40000"/>
                      </a:srgbClr>
                    </a:solidFill>
                  </a:tcPr>
                </a:tc>
                <a:extLst>
                  <a:ext uri="{0D108BD9-81ED-4DB2-BD59-A6C34878D82A}">
                    <a16:rowId xmlns:a16="http://schemas.microsoft.com/office/drawing/2014/main" val="3267393568"/>
                  </a:ext>
                </a:extLst>
              </a:tr>
              <a:tr h="1258605">
                <a:tc>
                  <a:txBody>
                    <a:bodyPr/>
                    <a:lstStyle>
                      <a:lvl1pPr marL="0" algn="l" defTabSz="782874" rtl="0" eaLnBrk="1" latinLnBrk="0" hangingPunct="1">
                        <a:defRPr sz="1500" kern="1200">
                          <a:solidFill>
                            <a:schemeClr val="dk1"/>
                          </a:solidFill>
                          <a:latin typeface="Calibri"/>
                        </a:defRPr>
                      </a:lvl1pPr>
                      <a:lvl2pPr marL="391438" algn="l" defTabSz="782874" rtl="0" eaLnBrk="1" latinLnBrk="0" hangingPunct="1">
                        <a:defRPr sz="1500" kern="1200">
                          <a:solidFill>
                            <a:schemeClr val="dk1"/>
                          </a:solidFill>
                          <a:latin typeface="Calibri"/>
                        </a:defRPr>
                      </a:lvl2pPr>
                      <a:lvl3pPr marL="782874" algn="l" defTabSz="782874" rtl="0" eaLnBrk="1" latinLnBrk="0" hangingPunct="1">
                        <a:defRPr sz="1500" kern="1200">
                          <a:solidFill>
                            <a:schemeClr val="dk1"/>
                          </a:solidFill>
                          <a:latin typeface="Calibri"/>
                        </a:defRPr>
                      </a:lvl3pPr>
                      <a:lvl4pPr marL="1174311" algn="l" defTabSz="782874" rtl="0" eaLnBrk="1" latinLnBrk="0" hangingPunct="1">
                        <a:defRPr sz="1500" kern="1200">
                          <a:solidFill>
                            <a:schemeClr val="dk1"/>
                          </a:solidFill>
                          <a:latin typeface="Calibri"/>
                        </a:defRPr>
                      </a:lvl4pPr>
                      <a:lvl5pPr marL="1565748" algn="l" defTabSz="782874" rtl="0" eaLnBrk="1" latinLnBrk="0" hangingPunct="1">
                        <a:defRPr sz="1500" kern="1200">
                          <a:solidFill>
                            <a:schemeClr val="dk1"/>
                          </a:solidFill>
                          <a:latin typeface="Calibri"/>
                        </a:defRPr>
                      </a:lvl5pPr>
                      <a:lvl6pPr marL="1957185" algn="l" defTabSz="782874" rtl="0" eaLnBrk="1" latinLnBrk="0" hangingPunct="1">
                        <a:defRPr sz="1500" kern="1200">
                          <a:solidFill>
                            <a:schemeClr val="dk1"/>
                          </a:solidFill>
                          <a:latin typeface="Calibri"/>
                        </a:defRPr>
                      </a:lvl6pPr>
                      <a:lvl7pPr marL="2348622" algn="l" defTabSz="782874" rtl="0" eaLnBrk="1" latinLnBrk="0" hangingPunct="1">
                        <a:defRPr sz="1500" kern="1200">
                          <a:solidFill>
                            <a:schemeClr val="dk1"/>
                          </a:solidFill>
                          <a:latin typeface="Calibri"/>
                        </a:defRPr>
                      </a:lvl7pPr>
                      <a:lvl8pPr marL="2740060" algn="l" defTabSz="782874" rtl="0" eaLnBrk="1" latinLnBrk="0" hangingPunct="1">
                        <a:defRPr sz="1500" kern="1200">
                          <a:solidFill>
                            <a:schemeClr val="dk1"/>
                          </a:solidFill>
                          <a:latin typeface="Calibri"/>
                        </a:defRPr>
                      </a:lvl8pPr>
                      <a:lvl9pPr marL="3131497" algn="l" defTabSz="782874" rtl="0" eaLnBrk="1" latinLnBrk="0" hangingPunct="1">
                        <a:defRPr sz="1500" kern="1200">
                          <a:solidFill>
                            <a:schemeClr val="dk1"/>
                          </a:solidFill>
                          <a:latin typeface="Calibri"/>
                        </a:defRPr>
                      </a:lvl9pPr>
                    </a:lstStyle>
                    <a:p>
                      <a:r>
                        <a:rPr lang="en-US" sz="1200" b="0" i="0" dirty="0">
                          <a:latin typeface="Calibri" panose="020F0502020204030204" pitchFamily="34" charset="0"/>
                        </a:rPr>
                        <a:t>Benefits:</a:t>
                      </a:r>
                    </a:p>
                    <a:p>
                      <a:pPr marL="285750" indent="-285750">
                        <a:buFont typeface="Arial" panose="020B0604020202020204" pitchFamily="34" charset="0"/>
                        <a:buChar char="•"/>
                      </a:pPr>
                      <a:r>
                        <a:rPr lang="en-US" sz="1200" b="0" i="0" dirty="0">
                          <a:latin typeface="Calibri" panose="020F0502020204030204" pitchFamily="34" charset="0"/>
                        </a:rPr>
                        <a:t>Reduces</a:t>
                      </a:r>
                      <a:r>
                        <a:rPr lang="en-US" sz="1200" b="0" i="0" baseline="0" dirty="0">
                          <a:latin typeface="Calibri" panose="020F0502020204030204" pitchFamily="34" charset="0"/>
                        </a:rPr>
                        <a:t> application downtime</a:t>
                      </a:r>
                    </a:p>
                    <a:p>
                      <a:pPr marL="285750" indent="-285750">
                        <a:buFont typeface="Arial" panose="020B0604020202020204" pitchFamily="34" charset="0"/>
                        <a:buChar char="•"/>
                      </a:pPr>
                      <a:r>
                        <a:rPr lang="en-US" sz="1200" b="0" i="0" baseline="0" dirty="0">
                          <a:latin typeface="Calibri" panose="020F0502020204030204" pitchFamily="34" charset="0"/>
                        </a:rPr>
                        <a:t>Reduces manual intervention to investigate the problem</a:t>
                      </a:r>
                    </a:p>
                    <a:p>
                      <a:pPr marL="285750" indent="-285750">
                        <a:buFont typeface="Arial" panose="020B0604020202020204" pitchFamily="34" charset="0"/>
                        <a:buChar char="•"/>
                      </a:pPr>
                      <a:r>
                        <a:rPr lang="en-US" sz="1200" b="0" i="0" baseline="0" dirty="0">
                          <a:latin typeface="Calibri" panose="020F0502020204030204" pitchFamily="34" charset="0"/>
                        </a:rPr>
                        <a:t>Proactively resolving the issues prior to business user notifying the application support team</a:t>
                      </a:r>
                    </a:p>
                    <a:p>
                      <a:pPr marL="285750" indent="-285750">
                        <a:buFont typeface="Arial" panose="020B0604020202020204" pitchFamily="34" charset="0"/>
                        <a:buChar char="•"/>
                      </a:pPr>
                      <a:r>
                        <a:rPr lang="en-US" sz="1200" b="0" i="0" baseline="0" dirty="0">
                          <a:latin typeface="Calibri" panose="020F0502020204030204" pitchFamily="34" charset="0"/>
                        </a:rPr>
                        <a:t>Monitor application beyond the support team coverage hours</a:t>
                      </a:r>
                      <a:endParaRPr lang="en-US" sz="1200" b="0" i="0" dirty="0">
                        <a:latin typeface="Calibri" panose="020F0502020204030204" pitchFamily="34" charset="0"/>
                      </a:endParaRPr>
                    </a:p>
                  </a:txBody>
                  <a:tcPr marL="70902" marR="70902" marT="35451" marB="35451">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2C2E9">
                        <a:tint val="20000"/>
                      </a:srgbClr>
                    </a:solidFill>
                  </a:tcPr>
                </a:tc>
                <a:extLst>
                  <a:ext uri="{0D108BD9-81ED-4DB2-BD59-A6C34878D82A}">
                    <a16:rowId xmlns:a16="http://schemas.microsoft.com/office/drawing/2014/main" val="3708789554"/>
                  </a:ext>
                </a:extLst>
              </a:tr>
              <a:tr h="864534">
                <a:tc>
                  <a:txBody>
                    <a:bodyPr/>
                    <a:lstStyle/>
                    <a:p>
                      <a:pPr marL="0" marR="0" lvl="0" indent="0" algn="l" defTabSz="78287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dirty="0">
                          <a:solidFill>
                            <a:schemeClr val="bg1"/>
                          </a:solidFill>
                          <a:latin typeface="Calibri" panose="020F0502020204030204" pitchFamily="34" charset="0"/>
                        </a:rPr>
                        <a:t>Client Appreciation:</a:t>
                      </a:r>
                    </a:p>
                    <a:p>
                      <a:pPr marL="0" indent="0" algn="l">
                        <a:buFont typeface="Arial" panose="020B0604020202020204" pitchFamily="34" charset="0"/>
                        <a:buNone/>
                      </a:pPr>
                      <a:r>
                        <a:rPr lang="en-US" sz="1200" b="0" i="0" dirty="0">
                          <a:solidFill>
                            <a:schemeClr val="bg1"/>
                          </a:solidFill>
                          <a:latin typeface="Calibri" panose="020F0502020204030204" pitchFamily="34" charset="0"/>
                        </a:rPr>
                        <a:t>It is wonderful to see team is doing right things at right time. Thank you &amp; Keep up the good work."</a:t>
                      </a:r>
                    </a:p>
                    <a:p>
                      <a:pPr marL="0" indent="0" algn="r">
                        <a:buFont typeface="Arial" panose="020B0604020202020204" pitchFamily="34" charset="0"/>
                        <a:buNone/>
                      </a:pPr>
                      <a:r>
                        <a:rPr lang="en-US" sz="1200" b="0" i="0" dirty="0">
                          <a:solidFill>
                            <a:schemeClr val="bg1"/>
                          </a:solidFill>
                          <a:latin typeface="Calibri" panose="020F0502020204030204" pitchFamily="34" charset="0"/>
                        </a:rPr>
                        <a:t>  </a:t>
                      </a:r>
                      <a:br>
                        <a:rPr lang="en-US" sz="1200" b="0" i="0" dirty="0">
                          <a:solidFill>
                            <a:schemeClr val="bg1"/>
                          </a:solidFill>
                          <a:latin typeface="Calibri" panose="020F0502020204030204" pitchFamily="34" charset="0"/>
                        </a:rPr>
                      </a:br>
                      <a:r>
                        <a:rPr lang="en-US" sz="1200" b="0" i="0" dirty="0">
                          <a:solidFill>
                            <a:schemeClr val="bg1"/>
                          </a:solidFill>
                          <a:latin typeface="Calibri" panose="020F0502020204030204" pitchFamily="34" charset="0"/>
                        </a:rPr>
                        <a:t>IT Manager</a:t>
                      </a:r>
                    </a:p>
                  </a:txBody>
                  <a:tcPr marL="70902" marR="70902" marT="35451" marB="3545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F4527"/>
                    </a:solidFill>
                  </a:tcPr>
                </a:tc>
                <a:extLst>
                  <a:ext uri="{0D108BD9-81ED-4DB2-BD59-A6C34878D82A}">
                    <a16:rowId xmlns:a16="http://schemas.microsoft.com/office/drawing/2014/main" val="1662223713"/>
                  </a:ext>
                </a:extLst>
              </a:tr>
            </a:tbl>
          </a:graphicData>
        </a:graphic>
      </p:graphicFrame>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687" y="1089823"/>
            <a:ext cx="3108960" cy="3747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326749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332532" y="62048"/>
            <a:ext cx="6336956" cy="653705"/>
          </a:xfrm>
          <a:prstGeom prst="rect">
            <a:avLst/>
          </a:prstGeom>
          <a:noFill/>
        </p:spPr>
        <p:txBody>
          <a:bodyPr wrap="square" rtlCol="0">
            <a:spAutoFit/>
          </a:bodyPr>
          <a:lstStyle/>
          <a:p>
            <a:pPr defTabSz="694944">
              <a:defRPr/>
            </a:pPr>
            <a:r>
              <a:rPr lang="en-US" sz="2128" b="1" kern="0" dirty="0">
                <a:solidFill>
                  <a:srgbClr val="FF0000"/>
                </a:solidFill>
                <a:latin typeface="Arial" pitchFamily="34" charset="0"/>
                <a:ea typeface="MS PGothic" pitchFamily="34" charset="-128"/>
              </a:rPr>
              <a:t>ASO Highlights – </a:t>
            </a:r>
          </a:p>
          <a:p>
            <a:pPr defTabSz="694944">
              <a:defRPr/>
            </a:pPr>
            <a:r>
              <a:rPr lang="en-US" sz="1520" b="1" kern="0" dirty="0">
                <a:solidFill>
                  <a:srgbClr val="FF0000"/>
                </a:solidFill>
                <a:latin typeface="Arial" pitchFamily="34" charset="0"/>
                <a:ea typeface="MS PGothic" pitchFamily="34" charset="-128"/>
              </a:rPr>
              <a:t>Key Initiatives completed in 2017</a:t>
            </a:r>
          </a:p>
        </p:txBody>
      </p:sp>
      <p:sp>
        <p:nvSpPr>
          <p:cNvPr id="18" name="Content Placeholder 2"/>
          <p:cNvSpPr txBox="1">
            <a:spLocks/>
          </p:cNvSpPr>
          <p:nvPr/>
        </p:nvSpPr>
        <p:spPr>
          <a:xfrm>
            <a:off x="1448042" y="1041552"/>
            <a:ext cx="5820163" cy="3612184"/>
          </a:xfrm>
          <a:prstGeom prst="rect">
            <a:avLst/>
          </a:prstGeom>
        </p:spPr>
        <p:txBody>
          <a:bodyPr>
            <a:normAutofit/>
          </a:bodyPr>
          <a:lstStyle>
            <a:lvl1pPr marL="206375" indent="-206375" algn="l" defTabSz="455613" rtl="0" eaLnBrk="1" fontAlgn="base" hangingPunct="1">
              <a:spcBef>
                <a:spcPts val="0"/>
              </a:spcBef>
              <a:spcAft>
                <a:spcPts val="600"/>
              </a:spcAft>
              <a:buClr>
                <a:schemeClr val="tx1">
                  <a:lumMod val="65000"/>
                  <a:lumOff val="35000"/>
                </a:schemeClr>
              </a:buClr>
              <a:buSzPct val="120000"/>
              <a:buFont typeface="Arial" pitchFamily="34" charset="0"/>
              <a:buChar char="•"/>
              <a:defRPr sz="1000" kern="1200">
                <a:solidFill>
                  <a:schemeClr val="accent3"/>
                </a:solidFill>
                <a:latin typeface="Georgia" panose="02040502050405020303" pitchFamily="18" charset="0"/>
                <a:ea typeface="MS PGothic" pitchFamily="34" charset="-128"/>
                <a:cs typeface="Arial"/>
              </a:defRPr>
            </a:lvl1pPr>
            <a:lvl2pPr marL="457200" indent="-146050" algn="l" defTabSz="455613" rtl="0" eaLnBrk="1" fontAlgn="base" hangingPunct="1">
              <a:spcBef>
                <a:spcPts val="0"/>
              </a:spcBef>
              <a:spcAft>
                <a:spcPts val="600"/>
              </a:spcAft>
              <a:buClr>
                <a:schemeClr val="tx1">
                  <a:lumMod val="65000"/>
                  <a:lumOff val="35000"/>
                </a:schemeClr>
              </a:buClr>
              <a:buFont typeface="Arial" pitchFamily="34" charset="0"/>
              <a:buChar char="–"/>
              <a:defRPr sz="1000" kern="1200">
                <a:solidFill>
                  <a:schemeClr val="accent3"/>
                </a:solidFill>
                <a:latin typeface="Georgia" panose="02040502050405020303" pitchFamily="18" charset="0"/>
                <a:ea typeface="MS PGothic" pitchFamily="34" charset="-128"/>
                <a:cs typeface="Arial"/>
              </a:defRPr>
            </a:lvl2pPr>
            <a:lvl3pPr marL="912813" indent="-234950" algn="l" defTabSz="455613" rtl="0" eaLnBrk="1" fontAlgn="base" hangingPunct="1">
              <a:spcBef>
                <a:spcPts val="0"/>
              </a:spcBef>
              <a:spcAft>
                <a:spcPts val="600"/>
              </a:spcAft>
              <a:buClr>
                <a:schemeClr val="tx1">
                  <a:lumMod val="65000"/>
                  <a:lumOff val="35000"/>
                </a:schemeClr>
              </a:buClr>
              <a:buFont typeface="Arial" pitchFamily="34" charset="0"/>
              <a:buChar char="•"/>
              <a:defRPr sz="1000" kern="1200">
                <a:solidFill>
                  <a:schemeClr val="accent3"/>
                </a:solidFill>
                <a:latin typeface="Georgia" panose="02040502050405020303" pitchFamily="18" charset="0"/>
                <a:ea typeface="MS PGothic" pitchFamily="34" charset="-128"/>
                <a:cs typeface="Arial"/>
              </a:defRPr>
            </a:lvl3pPr>
            <a:lvl4pPr marL="1185863" indent="-234950" algn="l" defTabSz="455613" rtl="0" eaLnBrk="1" fontAlgn="base" hangingPunct="1">
              <a:spcBef>
                <a:spcPts val="0"/>
              </a:spcBef>
              <a:spcAft>
                <a:spcPts val="600"/>
              </a:spcAft>
              <a:buClr>
                <a:schemeClr val="tx1">
                  <a:lumMod val="65000"/>
                  <a:lumOff val="35000"/>
                </a:schemeClr>
              </a:buClr>
              <a:buFont typeface="Arial" pitchFamily="34" charset="0"/>
              <a:buChar char="–"/>
              <a:defRPr sz="1000" kern="1200">
                <a:solidFill>
                  <a:schemeClr val="accent3"/>
                </a:solidFill>
                <a:latin typeface="Georgia" panose="02040502050405020303" pitchFamily="18" charset="0"/>
                <a:ea typeface="MS PGothic" pitchFamily="34" charset="-128"/>
                <a:cs typeface="Arial"/>
              </a:defRPr>
            </a:lvl4pPr>
            <a:lvl5pPr marL="1460500" indent="-234950" algn="l" defTabSz="455613" rtl="0" eaLnBrk="1" fontAlgn="base" hangingPunct="1">
              <a:spcBef>
                <a:spcPts val="0"/>
              </a:spcBef>
              <a:spcAft>
                <a:spcPts val="600"/>
              </a:spcAft>
              <a:buClr>
                <a:schemeClr val="tx1">
                  <a:lumMod val="65000"/>
                  <a:lumOff val="35000"/>
                </a:schemeClr>
              </a:buClr>
              <a:buFont typeface="Arial" pitchFamily="34" charset="0"/>
              <a:buChar char="»"/>
              <a:defRPr sz="1000" kern="1200">
                <a:solidFill>
                  <a:schemeClr val="accent3"/>
                </a:solidFill>
                <a:latin typeface="Georgia" panose="02040502050405020303" pitchFamily="18" charset="0"/>
                <a:ea typeface="MS PGothic" pitchFamily="34" charset="-128"/>
                <a:cs typeface="Arial"/>
              </a:defRPr>
            </a:lvl5pPr>
            <a:lvl6pPr marL="2511954" indent="-228355" algn="l" defTabSz="456720" rtl="0" eaLnBrk="1" latinLnBrk="0" hangingPunct="1">
              <a:spcBef>
                <a:spcPct val="20000"/>
              </a:spcBef>
              <a:buFont typeface="Arial"/>
              <a:buChar char="•"/>
              <a:defRPr sz="2000" kern="1200">
                <a:solidFill>
                  <a:schemeClr val="tx1"/>
                </a:solidFill>
                <a:latin typeface="+mn-lt"/>
                <a:ea typeface="+mn-ea"/>
                <a:cs typeface="+mn-cs"/>
              </a:defRPr>
            </a:lvl6pPr>
            <a:lvl7pPr marL="2968677" indent="-228355" algn="l" defTabSz="456720" rtl="0" eaLnBrk="1" latinLnBrk="0" hangingPunct="1">
              <a:spcBef>
                <a:spcPct val="20000"/>
              </a:spcBef>
              <a:buFont typeface="Arial"/>
              <a:buChar char="•"/>
              <a:defRPr sz="2000" kern="1200">
                <a:solidFill>
                  <a:schemeClr val="tx1"/>
                </a:solidFill>
                <a:latin typeface="+mn-lt"/>
                <a:ea typeface="+mn-ea"/>
                <a:cs typeface="+mn-cs"/>
              </a:defRPr>
            </a:lvl7pPr>
            <a:lvl8pPr marL="3425399" indent="-228355" algn="l" defTabSz="456720" rtl="0" eaLnBrk="1" latinLnBrk="0" hangingPunct="1">
              <a:spcBef>
                <a:spcPct val="20000"/>
              </a:spcBef>
              <a:buFont typeface="Arial"/>
              <a:buChar char="•"/>
              <a:defRPr sz="2000" kern="1200">
                <a:solidFill>
                  <a:schemeClr val="tx1"/>
                </a:solidFill>
                <a:latin typeface="+mn-lt"/>
                <a:ea typeface="+mn-ea"/>
                <a:cs typeface="+mn-cs"/>
              </a:defRPr>
            </a:lvl8pPr>
            <a:lvl9pPr marL="3882124" indent="-228355" algn="l" defTabSz="456720" rtl="0" eaLnBrk="1" latinLnBrk="0" hangingPunct="1">
              <a:spcBef>
                <a:spcPct val="20000"/>
              </a:spcBef>
              <a:buFont typeface="Arial"/>
              <a:buChar char="•"/>
              <a:defRPr sz="2000" kern="1200">
                <a:solidFill>
                  <a:schemeClr val="tx1"/>
                </a:solidFill>
                <a:latin typeface="+mn-lt"/>
                <a:ea typeface="+mn-ea"/>
                <a:cs typeface="+mn-cs"/>
              </a:defRPr>
            </a:lvl9pPr>
          </a:lstStyle>
          <a:p>
            <a:pPr marL="347472" indent="-347472" defTabSz="346266">
              <a:spcAft>
                <a:spcPts val="456"/>
              </a:spcAft>
              <a:buClr>
                <a:srgbClr val="000000">
                  <a:lumMod val="65000"/>
                  <a:lumOff val="35000"/>
                </a:srgbClr>
              </a:buClr>
              <a:buFont typeface="+mj-lt"/>
              <a:buAutoNum type="arabicPeriod"/>
              <a:defRPr/>
            </a:pPr>
            <a:endParaRPr lang="en-US" sz="1216">
              <a:solidFill>
                <a:srgbClr val="595959"/>
              </a:solidFill>
            </a:endParaRPr>
          </a:p>
        </p:txBody>
      </p:sp>
      <p:pic>
        <p:nvPicPr>
          <p:cNvPr id="5" name="Picture 3" descr="D:\Users\MHERREMA\Downloads\ITAS-ApplicationSupport-0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09303" y="17691"/>
            <a:ext cx="1517806" cy="32428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Table 5"/>
          <p:cNvGraphicFramePr>
            <a:graphicFrameLocks noGrp="1"/>
          </p:cNvGraphicFramePr>
          <p:nvPr>
            <p:extLst/>
          </p:nvPr>
        </p:nvGraphicFramePr>
        <p:xfrm>
          <a:off x="1332532" y="718222"/>
          <a:ext cx="6410882" cy="4111708"/>
        </p:xfrm>
        <a:graphic>
          <a:graphicData uri="http://schemas.openxmlformats.org/drawingml/2006/table">
            <a:tbl>
              <a:tblPr firstRow="1" bandRow="1">
                <a:tableStyleId>{5C22544A-7EE6-4342-B048-85BDC9FD1C3A}</a:tableStyleId>
              </a:tblPr>
              <a:tblGrid>
                <a:gridCol w="4318014">
                  <a:extLst>
                    <a:ext uri="{9D8B030D-6E8A-4147-A177-3AD203B41FA5}">
                      <a16:colId xmlns:a16="http://schemas.microsoft.com/office/drawing/2014/main" val="758269977"/>
                    </a:ext>
                  </a:extLst>
                </a:gridCol>
                <a:gridCol w="2092868">
                  <a:extLst>
                    <a:ext uri="{9D8B030D-6E8A-4147-A177-3AD203B41FA5}">
                      <a16:colId xmlns:a16="http://schemas.microsoft.com/office/drawing/2014/main" val="1331217844"/>
                    </a:ext>
                  </a:extLst>
                </a:gridCol>
              </a:tblGrid>
              <a:tr h="191098">
                <a:tc>
                  <a:txBody>
                    <a:bodyPr/>
                    <a:lstStyle/>
                    <a:p>
                      <a:pPr algn="ctr"/>
                      <a:r>
                        <a:rPr lang="en-US" sz="800" kern="1200" dirty="0">
                          <a:solidFill>
                            <a:srgbClr val="FF0000"/>
                          </a:solidFill>
                        </a:rPr>
                        <a:t>Highlight</a:t>
                      </a:r>
                      <a:endParaRPr lang="en-US" sz="800" b="1" dirty="0">
                        <a:solidFill>
                          <a:srgbClr val="FF0000"/>
                        </a:solidFill>
                      </a:endParaRPr>
                    </a:p>
                  </a:txBody>
                  <a:tcPr marL="69490" marR="69490" marT="34745" marB="34745"/>
                </a:tc>
                <a:tc>
                  <a:txBody>
                    <a:bodyPr/>
                    <a:lstStyle/>
                    <a:p>
                      <a:pPr algn="ctr"/>
                      <a:r>
                        <a:rPr lang="en-US" sz="800" kern="1200" dirty="0">
                          <a:solidFill>
                            <a:srgbClr val="FF0000"/>
                          </a:solidFill>
                        </a:rPr>
                        <a:t>Benefit gained</a:t>
                      </a:r>
                      <a:endParaRPr lang="en-US" sz="800" b="1" dirty="0">
                        <a:solidFill>
                          <a:srgbClr val="FF0000"/>
                        </a:solidFill>
                      </a:endParaRPr>
                    </a:p>
                  </a:txBody>
                  <a:tcPr marL="69490" marR="69490" marT="34745" marB="34745"/>
                </a:tc>
                <a:extLst>
                  <a:ext uri="{0D108BD9-81ED-4DB2-BD59-A6C34878D82A}">
                    <a16:rowId xmlns:a16="http://schemas.microsoft.com/office/drawing/2014/main" val="2189249968"/>
                  </a:ext>
                </a:extLst>
              </a:tr>
              <a:tr h="799137">
                <a:tc>
                  <a:txBody>
                    <a:bodyPr/>
                    <a:lstStyle/>
                    <a:p>
                      <a:pPr marL="0" marR="0" indent="0">
                        <a:spcBef>
                          <a:spcPts val="0"/>
                        </a:spcBef>
                        <a:spcAft>
                          <a:spcPts val="0"/>
                        </a:spcAft>
                        <a:buNone/>
                      </a:pPr>
                      <a:r>
                        <a:rPr lang="en-US" sz="800" b="0" i="0" dirty="0">
                          <a:effectLst/>
                          <a:latin typeface="+mn-lt"/>
                        </a:rPr>
                        <a:t>Using Smart Analytics, identified permanent fixes for recurring incidents/failures</a:t>
                      </a:r>
                    </a:p>
                    <a:p>
                      <a:pPr marL="285750" marR="0" indent="-285750" algn="l" defTabSz="456720" rtl="0" eaLnBrk="1" fontAlgn="auto" latinLnBrk="0" hangingPunct="1">
                        <a:lnSpc>
                          <a:spcPct val="100000"/>
                        </a:lnSpc>
                        <a:spcBef>
                          <a:spcPts val="0"/>
                        </a:spcBef>
                        <a:spcAft>
                          <a:spcPts val="0"/>
                        </a:spcAft>
                        <a:buClrTx/>
                        <a:buSzTx/>
                        <a:buFontTx/>
                        <a:buChar char="-"/>
                        <a:tabLst/>
                        <a:defRPr/>
                      </a:pPr>
                      <a:r>
                        <a:rPr lang="en-US" sz="800" b="0" i="0" dirty="0">
                          <a:effectLst/>
                          <a:latin typeface="+mn-lt"/>
                        </a:rPr>
                        <a:t>Param file issue causing workflow to fail</a:t>
                      </a:r>
                      <a:endParaRPr lang="en-US" sz="800" b="0" i="0" baseline="0" dirty="0">
                        <a:effectLst/>
                        <a:latin typeface="+mn-lt"/>
                      </a:endParaRPr>
                    </a:p>
                    <a:p>
                      <a:pPr marL="285750" marR="0" indent="-285750">
                        <a:spcBef>
                          <a:spcPts val="0"/>
                        </a:spcBef>
                        <a:spcAft>
                          <a:spcPts val="0"/>
                        </a:spcAft>
                        <a:buFontTx/>
                        <a:buChar char="-"/>
                      </a:pPr>
                      <a:r>
                        <a:rPr lang="en-US" sz="800" b="0" i="0" dirty="0">
                          <a:effectLst/>
                          <a:latin typeface="+mn-lt"/>
                        </a:rPr>
                        <a:t>Implementation of RDT renumbering logic to handle reps that are not end dated in the same quarter</a:t>
                      </a:r>
                    </a:p>
                    <a:p>
                      <a:pPr marL="285750" marR="0" indent="-285750">
                        <a:spcBef>
                          <a:spcPts val="0"/>
                        </a:spcBef>
                        <a:spcAft>
                          <a:spcPts val="0"/>
                        </a:spcAft>
                        <a:buFontTx/>
                        <a:buChar char="-"/>
                      </a:pPr>
                      <a:r>
                        <a:rPr lang="en-US" sz="800" b="0" i="0" dirty="0">
                          <a:effectLst/>
                          <a:latin typeface="+mn-lt"/>
                        </a:rPr>
                        <a:t>Historical sales numbers was missing in Sales and Planning tool in BSC Canada</a:t>
                      </a:r>
                    </a:p>
                    <a:p>
                      <a:pPr marL="285750" marR="0" indent="-285750">
                        <a:spcBef>
                          <a:spcPts val="0"/>
                        </a:spcBef>
                        <a:spcAft>
                          <a:spcPts val="0"/>
                        </a:spcAft>
                        <a:buFontTx/>
                        <a:buChar char="-"/>
                      </a:pPr>
                      <a:r>
                        <a:rPr lang="en-US" sz="800" b="0" i="0" baseline="0" dirty="0">
                          <a:effectLst/>
                          <a:latin typeface="+mn-lt"/>
                        </a:rPr>
                        <a:t>ANIMAS Emailing issue in JJDC</a:t>
                      </a:r>
                      <a:endParaRPr lang="en-US" sz="800" b="0" i="0" dirty="0">
                        <a:effectLst/>
                        <a:latin typeface="+mn-lt"/>
                      </a:endParaRPr>
                    </a:p>
                  </a:txBody>
                  <a:tcPr marL="69490" marR="69490" marT="34745" marB="34745"/>
                </a:tc>
                <a:tc>
                  <a:txBody>
                    <a:bodyPr/>
                    <a:lstStyle/>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i="0" strike="noStrike" kern="1200" baseline="0" dirty="0">
                        <a:solidFill>
                          <a:schemeClr val="dk1"/>
                        </a:solidFill>
                        <a:effectLst/>
                        <a:latin typeface="+mn-lt"/>
                        <a:ea typeface="+mn-ea"/>
                        <a:cs typeface="+mn-cs"/>
                      </a:endParaRPr>
                    </a:p>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strike="noStrike" kern="1200" baseline="0" dirty="0">
                          <a:solidFill>
                            <a:schemeClr val="dk1"/>
                          </a:solidFill>
                          <a:effectLst/>
                          <a:latin typeface="+mn-lt"/>
                          <a:ea typeface="+mn-ea"/>
                          <a:cs typeface="+mn-cs"/>
                        </a:rPr>
                        <a:t>Effort saving of 4 tickets per month</a:t>
                      </a:r>
                    </a:p>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strike="noStrike" kern="1200" baseline="0" dirty="0">
                          <a:solidFill>
                            <a:schemeClr val="dk1"/>
                          </a:solidFill>
                          <a:effectLst/>
                          <a:latin typeface="+mn-lt"/>
                          <a:ea typeface="+mn-ea"/>
                          <a:cs typeface="+mn-cs"/>
                        </a:rPr>
                        <a:t>Reduction of 20 hours/month</a:t>
                      </a:r>
                    </a:p>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i="0" strike="noStrike" kern="1200" baseline="0" dirty="0">
                        <a:solidFill>
                          <a:schemeClr val="dk1"/>
                        </a:solidFill>
                        <a:effectLst/>
                        <a:latin typeface="+mn-lt"/>
                        <a:ea typeface="+mn-ea"/>
                        <a:cs typeface="+mn-cs"/>
                      </a:endParaRPr>
                    </a:p>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strike="noStrike" kern="1200" baseline="0" dirty="0">
                          <a:solidFill>
                            <a:schemeClr val="dk1"/>
                          </a:solidFill>
                          <a:effectLst/>
                          <a:latin typeface="+mn-lt"/>
                          <a:ea typeface="+mn-ea"/>
                          <a:cs typeface="+mn-cs"/>
                        </a:rPr>
                        <a:t>Reduction of 15 tickets per month</a:t>
                      </a:r>
                    </a:p>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strike="noStrike" kern="1200" baseline="0" dirty="0">
                          <a:solidFill>
                            <a:schemeClr val="dk1"/>
                          </a:solidFill>
                          <a:effectLst/>
                          <a:latin typeface="+mn-lt"/>
                          <a:ea typeface="+mn-ea"/>
                          <a:cs typeface="+mn-cs"/>
                        </a:rPr>
                        <a:t>Reduction of 12 tickets per month</a:t>
                      </a:r>
                    </a:p>
                  </a:txBody>
                  <a:tcPr marL="69490" marR="69490" marT="34745" marB="34745"/>
                </a:tc>
                <a:extLst>
                  <a:ext uri="{0D108BD9-81ED-4DB2-BD59-A6C34878D82A}">
                    <a16:rowId xmlns:a16="http://schemas.microsoft.com/office/drawing/2014/main" val="2856535891"/>
                  </a:ext>
                </a:extLst>
              </a:tr>
              <a:tr h="1163960">
                <a:tc>
                  <a:txBody>
                    <a:bodyPr/>
                    <a:lstStyle/>
                    <a:p>
                      <a:pPr marL="0" marR="0" lvl="0" indent="0" algn="l" defTabSz="456720" rtl="0" eaLnBrk="1" fontAlgn="auto" latinLnBrk="0" hangingPunct="1">
                        <a:lnSpc>
                          <a:spcPct val="100000"/>
                        </a:lnSpc>
                        <a:spcBef>
                          <a:spcPts val="0"/>
                        </a:spcBef>
                        <a:spcAft>
                          <a:spcPts val="0"/>
                        </a:spcAft>
                        <a:buClrTx/>
                        <a:buSzTx/>
                        <a:buFontTx/>
                        <a:buNone/>
                        <a:tabLst/>
                        <a:defRPr/>
                      </a:pPr>
                      <a:r>
                        <a:rPr lang="en-US" sz="800" b="0" i="0" baseline="0" dirty="0">
                          <a:effectLst/>
                          <a:latin typeface="+mn-lt"/>
                          <a:ea typeface="DengXian" panose="02010600030101010101" pitchFamily="2" charset="-122"/>
                        </a:rPr>
                        <a:t>Using </a:t>
                      </a:r>
                      <a:r>
                        <a:rPr lang="en-US" sz="800" b="0" i="0" dirty="0">
                          <a:effectLst/>
                          <a:latin typeface="+mn-lt"/>
                          <a:ea typeface="DengXian" panose="02010600030101010101" pitchFamily="2" charset="-122"/>
                        </a:rPr>
                        <a:t>Smart Analytics data analysis results, </a:t>
                      </a:r>
                      <a:r>
                        <a:rPr lang="en-US" sz="800" b="0" i="0" baseline="0" dirty="0">
                          <a:effectLst/>
                          <a:latin typeface="+mn-lt"/>
                          <a:ea typeface="DengXian" panose="02010600030101010101" pitchFamily="2" charset="-122"/>
                        </a:rPr>
                        <a:t>identified manual process that can be automated</a:t>
                      </a:r>
                    </a:p>
                    <a:p>
                      <a:pPr marL="285750" marR="0" lvl="0" indent="-285750" algn="l" defTabSz="456720" rtl="0" eaLnBrk="1" fontAlgn="auto" latinLnBrk="0" hangingPunct="1">
                        <a:lnSpc>
                          <a:spcPct val="100000"/>
                        </a:lnSpc>
                        <a:spcBef>
                          <a:spcPts val="0"/>
                        </a:spcBef>
                        <a:spcAft>
                          <a:spcPts val="0"/>
                        </a:spcAft>
                        <a:buClrTx/>
                        <a:buSzTx/>
                        <a:buFontTx/>
                        <a:buChar char="-"/>
                        <a:tabLst/>
                        <a:defRPr/>
                      </a:pPr>
                      <a:r>
                        <a:rPr lang="en-US" sz="800" b="0" i="0" baseline="0" dirty="0">
                          <a:effectLst/>
                          <a:latin typeface="+mn-lt"/>
                        </a:rPr>
                        <a:t>Health check Automation in Consumer Edge</a:t>
                      </a:r>
                      <a:endParaRPr lang="en-US" sz="800" b="0" i="0" baseline="0" dirty="0">
                        <a:effectLst/>
                        <a:latin typeface="+mn-lt"/>
                        <a:ea typeface="DengXian" panose="02010600030101010101" pitchFamily="2" charset="-122"/>
                      </a:endParaRPr>
                    </a:p>
                    <a:p>
                      <a:pPr marL="285750" marR="0" lvl="0" indent="-285750" algn="l" defTabSz="456720" rtl="0" eaLnBrk="1" fontAlgn="auto" latinLnBrk="0" hangingPunct="1">
                        <a:lnSpc>
                          <a:spcPct val="100000"/>
                        </a:lnSpc>
                        <a:spcBef>
                          <a:spcPts val="0"/>
                        </a:spcBef>
                        <a:spcAft>
                          <a:spcPts val="0"/>
                        </a:spcAft>
                        <a:buClrTx/>
                        <a:buSzTx/>
                        <a:buFontTx/>
                        <a:buChar char="-"/>
                        <a:tabLst/>
                        <a:defRPr/>
                      </a:pPr>
                      <a:r>
                        <a:rPr lang="en-US" sz="800" b="0" i="0" baseline="0" dirty="0">
                          <a:effectLst/>
                          <a:latin typeface="+mn-lt"/>
                          <a:ea typeface="DengXian" panose="02010600030101010101" pitchFamily="2" charset="-122"/>
                        </a:rPr>
                        <a:t>Automate POS Manual download process in Consumer Edge</a:t>
                      </a:r>
                    </a:p>
                    <a:p>
                      <a:pPr marL="285750" marR="0" lvl="0" indent="-285750" algn="l" defTabSz="456720" rtl="0" eaLnBrk="1" fontAlgn="auto" latinLnBrk="0" hangingPunct="1">
                        <a:lnSpc>
                          <a:spcPct val="100000"/>
                        </a:lnSpc>
                        <a:spcBef>
                          <a:spcPts val="0"/>
                        </a:spcBef>
                        <a:spcAft>
                          <a:spcPts val="0"/>
                        </a:spcAft>
                        <a:buClrTx/>
                        <a:buSzTx/>
                        <a:buFontTx/>
                        <a:buChar char="-"/>
                        <a:tabLst/>
                        <a:defRPr/>
                      </a:pPr>
                      <a:r>
                        <a:rPr lang="en-US" sz="800" b="0" i="0" dirty="0">
                          <a:effectLst/>
                          <a:latin typeface="+mn-lt"/>
                          <a:ea typeface="DengXian" panose="02010600030101010101" pitchFamily="2" charset="-122"/>
                        </a:rPr>
                        <a:t>Automate the year-end data load activity using SSIS scripts for MIRA application for NA,ASPAC &amp; EMEA</a:t>
                      </a:r>
                    </a:p>
                    <a:p>
                      <a:pPr marL="285750" marR="0" lvl="0" indent="-285750" algn="l" defTabSz="456720" rtl="0" eaLnBrk="1" fontAlgn="auto" latinLnBrk="0" hangingPunct="1">
                        <a:lnSpc>
                          <a:spcPct val="100000"/>
                        </a:lnSpc>
                        <a:spcBef>
                          <a:spcPts val="0"/>
                        </a:spcBef>
                        <a:spcAft>
                          <a:spcPts val="0"/>
                        </a:spcAft>
                        <a:buClrTx/>
                        <a:buSzTx/>
                        <a:buFontTx/>
                        <a:buChar char="-"/>
                        <a:tabLst/>
                        <a:defRPr/>
                      </a:pPr>
                      <a:r>
                        <a:rPr lang="en-US" sz="800" b="0" i="0" dirty="0">
                          <a:effectLst/>
                          <a:latin typeface="+mn-lt"/>
                          <a:ea typeface="DengXian" panose="02010600030101010101" pitchFamily="2" charset="-122"/>
                        </a:rPr>
                        <a:t>Automation of daily and monthly reporting (SCG Trending Daily in GBI)</a:t>
                      </a:r>
                    </a:p>
                    <a:p>
                      <a:pPr marL="285750" marR="0" lvl="0" indent="-285750" algn="l" defTabSz="456720" rtl="0" eaLnBrk="1" fontAlgn="auto" latinLnBrk="0" hangingPunct="1">
                        <a:lnSpc>
                          <a:spcPct val="100000"/>
                        </a:lnSpc>
                        <a:spcBef>
                          <a:spcPts val="0"/>
                        </a:spcBef>
                        <a:spcAft>
                          <a:spcPts val="0"/>
                        </a:spcAft>
                        <a:buClrTx/>
                        <a:buSzTx/>
                        <a:buFontTx/>
                        <a:buChar char="-"/>
                        <a:tabLst/>
                        <a:defRPr/>
                      </a:pPr>
                      <a:r>
                        <a:rPr lang="en-US" sz="800" b="0" i="0" kern="1200" dirty="0">
                          <a:solidFill>
                            <a:schemeClr val="dk1"/>
                          </a:solidFill>
                          <a:effectLst/>
                          <a:latin typeface="+mn-lt"/>
                          <a:ea typeface="+mn-ea"/>
                          <a:cs typeface="+mn-cs"/>
                        </a:rPr>
                        <a:t>Automating data sync between QA &amp; Prod in consumer edge</a:t>
                      </a:r>
                    </a:p>
                    <a:p>
                      <a:pPr marL="285750" marR="0" lvl="0" indent="-285750" algn="l" defTabSz="456720" rtl="0" eaLnBrk="1" fontAlgn="auto" latinLnBrk="0" hangingPunct="1">
                        <a:lnSpc>
                          <a:spcPct val="100000"/>
                        </a:lnSpc>
                        <a:spcBef>
                          <a:spcPts val="0"/>
                        </a:spcBef>
                        <a:spcAft>
                          <a:spcPts val="0"/>
                        </a:spcAft>
                        <a:buClrTx/>
                        <a:buSzTx/>
                        <a:buFontTx/>
                        <a:buChar char="-"/>
                        <a:tabLst/>
                        <a:defRPr/>
                      </a:pPr>
                      <a:r>
                        <a:rPr lang="en-US" sz="800" b="0" i="0" dirty="0" err="1">
                          <a:effectLst/>
                          <a:latin typeface="+mn-lt"/>
                          <a:ea typeface="DengXian" panose="02010600030101010101" pitchFamily="2" charset="-122"/>
                        </a:rPr>
                        <a:t>Cognos</a:t>
                      </a:r>
                      <a:r>
                        <a:rPr lang="en-US" sz="800" b="0" i="0" dirty="0">
                          <a:effectLst/>
                          <a:latin typeface="+mn-lt"/>
                          <a:ea typeface="DengXian" panose="02010600030101010101" pitchFamily="2" charset="-122"/>
                        </a:rPr>
                        <a:t> Monthly report in Consumer Edge</a:t>
                      </a:r>
                    </a:p>
                  </a:txBody>
                  <a:tcPr marL="69490" marR="69490" marT="34745" marB="34745"/>
                </a:tc>
                <a:tc>
                  <a:txBody>
                    <a:bodyPr/>
                    <a:lstStyle/>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i="0" strike="noStrike" kern="1200" baseline="0" dirty="0">
                        <a:effectLst/>
                        <a:latin typeface="+mn-lt"/>
                      </a:endParaRPr>
                    </a:p>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strike="noStrike" kern="1200" baseline="0" dirty="0">
                          <a:effectLst/>
                          <a:latin typeface="+mn-lt"/>
                        </a:rPr>
                        <a:t>Elimination of manual validation</a:t>
                      </a:r>
                    </a:p>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strike="noStrike" kern="1200" baseline="0" dirty="0">
                          <a:effectLst/>
                          <a:latin typeface="+mn-lt"/>
                        </a:rPr>
                        <a:t>Reduction of 30 hours/month</a:t>
                      </a:r>
                    </a:p>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strike="noStrike" kern="1200" baseline="0" dirty="0">
                          <a:effectLst/>
                          <a:latin typeface="+mn-lt"/>
                        </a:rPr>
                        <a:t>No manual work for year-end</a:t>
                      </a:r>
                    </a:p>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i="0" strike="noStrike" kern="1200" baseline="0" dirty="0">
                        <a:effectLst/>
                        <a:latin typeface="+mn-lt"/>
                      </a:endParaRPr>
                    </a:p>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strike="noStrike" kern="1200" baseline="0" dirty="0">
                          <a:effectLst/>
                          <a:latin typeface="+mn-lt"/>
                        </a:rPr>
                        <a:t>Reduction of 21 hours per month</a:t>
                      </a:r>
                    </a:p>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strike="noStrike" kern="1200" baseline="0" dirty="0">
                          <a:effectLst/>
                          <a:latin typeface="+mn-lt"/>
                        </a:rPr>
                        <a:t>Reduces 96 hours per month</a:t>
                      </a:r>
                    </a:p>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strike="noStrike" kern="1200" baseline="0" dirty="0">
                          <a:effectLst/>
                          <a:latin typeface="+mn-lt"/>
                        </a:rPr>
                        <a:t>Removed manual selection of date range for monthly report </a:t>
                      </a:r>
                    </a:p>
                  </a:txBody>
                  <a:tcPr marL="69490" marR="69490" marT="34745" marB="34745"/>
                </a:tc>
                <a:extLst>
                  <a:ext uri="{0D108BD9-81ED-4DB2-BD59-A6C34878D82A}">
                    <a16:rowId xmlns:a16="http://schemas.microsoft.com/office/drawing/2014/main" val="1920582734"/>
                  </a:ext>
                </a:extLst>
              </a:tr>
              <a:tr h="677529">
                <a:tc>
                  <a:txBody>
                    <a:bodyPr/>
                    <a:lstStyle/>
                    <a:p>
                      <a:pPr marL="0" marR="0">
                        <a:spcBef>
                          <a:spcPts val="0"/>
                        </a:spcBef>
                        <a:spcAft>
                          <a:spcPts val="0"/>
                        </a:spcAft>
                      </a:pPr>
                      <a:r>
                        <a:rPr lang="en-US" sz="800" b="0" i="0" kern="1200" dirty="0">
                          <a:solidFill>
                            <a:schemeClr val="dk1"/>
                          </a:solidFill>
                          <a:effectLst/>
                          <a:latin typeface="+mn-lt"/>
                          <a:ea typeface="+mn-ea"/>
                          <a:cs typeface="+mn-cs"/>
                        </a:rPr>
                        <a:t>Using Smart Analytics, identified recurring SRs for Automation</a:t>
                      </a:r>
                    </a:p>
                    <a:p>
                      <a:pPr marL="285750" marR="0" indent="-285750">
                        <a:spcBef>
                          <a:spcPts val="0"/>
                        </a:spcBef>
                        <a:spcAft>
                          <a:spcPts val="0"/>
                        </a:spcAft>
                        <a:buFontTx/>
                        <a:buChar char="-"/>
                      </a:pPr>
                      <a:r>
                        <a:rPr lang="en-US" sz="800" b="0" i="0" kern="1200" dirty="0">
                          <a:solidFill>
                            <a:schemeClr val="dk1"/>
                          </a:solidFill>
                          <a:effectLst/>
                          <a:latin typeface="+mn-lt"/>
                          <a:ea typeface="+mn-ea"/>
                          <a:cs typeface="+mn-cs"/>
                        </a:rPr>
                        <a:t>Automation of User Creation in MIRA</a:t>
                      </a:r>
                    </a:p>
                    <a:p>
                      <a:pPr marL="285750" marR="0" indent="-285750">
                        <a:spcBef>
                          <a:spcPts val="0"/>
                        </a:spcBef>
                        <a:spcAft>
                          <a:spcPts val="0"/>
                        </a:spcAft>
                        <a:buFontTx/>
                        <a:buChar char="-"/>
                      </a:pPr>
                      <a:r>
                        <a:rPr lang="en-US" sz="800" b="0" i="0" kern="1200" dirty="0">
                          <a:solidFill>
                            <a:schemeClr val="dk1"/>
                          </a:solidFill>
                          <a:effectLst/>
                          <a:latin typeface="+mn-lt"/>
                          <a:ea typeface="+mn-ea"/>
                          <a:cs typeface="+mn-cs"/>
                        </a:rPr>
                        <a:t>Automation of monitoring of production windows services in MIRA</a:t>
                      </a:r>
                    </a:p>
                    <a:p>
                      <a:pPr marL="285750" marR="0" indent="-285750">
                        <a:spcBef>
                          <a:spcPts val="0"/>
                        </a:spcBef>
                        <a:spcAft>
                          <a:spcPts val="0"/>
                        </a:spcAft>
                        <a:buFontTx/>
                        <a:buChar char="-"/>
                      </a:pPr>
                      <a:r>
                        <a:rPr lang="en-US" sz="800" b="0" i="0" kern="1200" dirty="0">
                          <a:solidFill>
                            <a:schemeClr val="dk1"/>
                          </a:solidFill>
                          <a:effectLst/>
                          <a:latin typeface="+mn-lt"/>
                          <a:ea typeface="+mn-ea"/>
                          <a:cs typeface="+mn-cs"/>
                        </a:rPr>
                        <a:t>Trigger SSIS job only when source files are available across app</a:t>
                      </a:r>
                    </a:p>
                    <a:p>
                      <a:pPr marL="285750" marR="0" indent="-285750">
                        <a:spcBef>
                          <a:spcPts val="0"/>
                        </a:spcBef>
                        <a:spcAft>
                          <a:spcPts val="0"/>
                        </a:spcAft>
                        <a:buFontTx/>
                        <a:buChar char="-"/>
                      </a:pPr>
                      <a:r>
                        <a:rPr lang="en-US" sz="800" b="0" i="0" kern="1200" dirty="0" err="1">
                          <a:solidFill>
                            <a:schemeClr val="dk1"/>
                          </a:solidFill>
                          <a:effectLst/>
                          <a:latin typeface="+mn-lt"/>
                          <a:ea typeface="+mn-ea"/>
                          <a:cs typeface="+mn-cs"/>
                        </a:rPr>
                        <a:t>iQlik</a:t>
                      </a:r>
                      <a:r>
                        <a:rPr lang="en-US" sz="800" b="0" i="0" kern="1200" dirty="0">
                          <a:solidFill>
                            <a:schemeClr val="dk1"/>
                          </a:solidFill>
                          <a:effectLst/>
                          <a:latin typeface="+mn-lt"/>
                          <a:ea typeface="+mn-ea"/>
                          <a:cs typeface="+mn-cs"/>
                        </a:rPr>
                        <a:t> validation automation to capture consolidated reports of table loaded</a:t>
                      </a:r>
                    </a:p>
                  </a:txBody>
                  <a:tcPr marL="69490" marR="69490" marT="34745" marB="34745"/>
                </a:tc>
                <a:tc>
                  <a:txBody>
                    <a:bodyPr/>
                    <a:lstStyle/>
                    <a:p>
                      <a:pPr marL="0" marR="0" lvl="0" indent="0" algn="l" defTabSz="45672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b="0" i="0" strike="noStrike" kern="1200" baseline="0" dirty="0">
                        <a:effectLst/>
                        <a:latin typeface="+mn-lt"/>
                      </a:endParaRPr>
                    </a:p>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strike="noStrike" kern="1200" baseline="0" dirty="0">
                          <a:effectLst/>
                          <a:latin typeface="+mn-lt"/>
                        </a:rPr>
                        <a:t>Reduction of 15 SR per month</a:t>
                      </a:r>
                    </a:p>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strike="noStrike" kern="1200" baseline="0" dirty="0">
                          <a:effectLst/>
                          <a:latin typeface="+mn-lt"/>
                        </a:rPr>
                        <a:t>Reduction of 10 hours per month</a:t>
                      </a:r>
                    </a:p>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strike="noStrike" kern="1200" baseline="0" dirty="0">
                          <a:effectLst/>
                          <a:latin typeface="+mn-lt"/>
                        </a:rPr>
                        <a:t>Reduction of 30 hours per month</a:t>
                      </a:r>
                    </a:p>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strike="noStrike" kern="1200" baseline="0" dirty="0">
                          <a:effectLst/>
                          <a:latin typeface="+mn-lt"/>
                        </a:rPr>
                        <a:t>Reduction of 48 SR per month</a:t>
                      </a:r>
                    </a:p>
                  </a:txBody>
                  <a:tcPr marL="69490" marR="69490" marT="34745" marB="34745"/>
                </a:tc>
                <a:extLst>
                  <a:ext uri="{0D108BD9-81ED-4DB2-BD59-A6C34878D82A}">
                    <a16:rowId xmlns:a16="http://schemas.microsoft.com/office/drawing/2014/main" val="2077332144"/>
                  </a:ext>
                </a:extLst>
              </a:tr>
              <a:tr h="350498">
                <a:tc>
                  <a:txBody>
                    <a:bodyPr/>
                    <a:lstStyle/>
                    <a:p>
                      <a:pPr marL="0" marR="0" indent="0">
                        <a:spcBef>
                          <a:spcPts val="0"/>
                        </a:spcBef>
                        <a:spcAft>
                          <a:spcPts val="0"/>
                        </a:spcAft>
                        <a:buFontTx/>
                        <a:buNone/>
                      </a:pPr>
                      <a:r>
                        <a:rPr lang="en-US" sz="800" b="0" i="0" dirty="0">
                          <a:effectLst/>
                          <a:latin typeface="+mn-lt"/>
                        </a:rPr>
                        <a:t>Other automations</a:t>
                      </a:r>
                    </a:p>
                    <a:p>
                      <a:pPr marL="171450" marR="0" indent="-171450">
                        <a:spcBef>
                          <a:spcPts val="0"/>
                        </a:spcBef>
                        <a:spcAft>
                          <a:spcPts val="0"/>
                        </a:spcAft>
                        <a:buFontTx/>
                        <a:buChar char="-"/>
                      </a:pPr>
                      <a:r>
                        <a:rPr lang="en-US" sz="800" b="0" i="0" dirty="0">
                          <a:effectLst/>
                          <a:latin typeface="+mn-lt"/>
                        </a:rPr>
                        <a:t>SLT Reporting</a:t>
                      </a:r>
                      <a:r>
                        <a:rPr lang="en-US" sz="800" b="0" i="0" baseline="0" dirty="0">
                          <a:effectLst/>
                          <a:latin typeface="+mn-lt"/>
                        </a:rPr>
                        <a:t> Automation</a:t>
                      </a:r>
                    </a:p>
                  </a:txBody>
                  <a:tcPr marL="69490" marR="69490" marT="34745" marB="34745"/>
                </a:tc>
                <a:tc>
                  <a:txBody>
                    <a:bodyPr/>
                    <a:lstStyle/>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strike="noStrike" kern="1200" baseline="0" dirty="0">
                          <a:solidFill>
                            <a:schemeClr val="dk1"/>
                          </a:solidFill>
                          <a:effectLst/>
                          <a:latin typeface="+mn-lt"/>
                          <a:ea typeface="+mn-ea"/>
                          <a:cs typeface="+mn-cs"/>
                        </a:rPr>
                        <a:t>Reduction of manual effort (600 hours/month)</a:t>
                      </a:r>
                    </a:p>
                  </a:txBody>
                  <a:tcPr marL="69490" marR="69490" marT="34745" marB="34745"/>
                </a:tc>
                <a:extLst>
                  <a:ext uri="{0D108BD9-81ED-4DB2-BD59-A6C34878D82A}">
                    <a16:rowId xmlns:a16="http://schemas.microsoft.com/office/drawing/2014/main" val="10004"/>
                  </a:ext>
                </a:extLst>
              </a:tr>
              <a:tr h="920745">
                <a:tc>
                  <a:txBody>
                    <a:bodyPr/>
                    <a:lstStyle/>
                    <a:p>
                      <a:pPr marL="0" marR="0" indent="0">
                        <a:spcBef>
                          <a:spcPts val="0"/>
                        </a:spcBef>
                        <a:spcAft>
                          <a:spcPts val="0"/>
                        </a:spcAft>
                        <a:buFontTx/>
                        <a:buNone/>
                      </a:pPr>
                      <a:r>
                        <a:rPr lang="en-US" sz="800" b="0" i="0" dirty="0">
                          <a:effectLst/>
                          <a:latin typeface="+mn-lt"/>
                        </a:rPr>
                        <a:t>Long Running Jobs have been identified and are being optimized for better performance</a:t>
                      </a:r>
                      <a:r>
                        <a:rPr lang="en-US" sz="800" b="0" i="0" baseline="0" dirty="0">
                          <a:effectLst/>
                          <a:latin typeface="+mn-lt"/>
                        </a:rPr>
                        <a:t> across multiple applications</a:t>
                      </a:r>
                    </a:p>
                    <a:p>
                      <a:pPr marL="171450" marR="0" indent="-171450">
                        <a:spcBef>
                          <a:spcPts val="0"/>
                        </a:spcBef>
                        <a:spcAft>
                          <a:spcPts val="0"/>
                        </a:spcAft>
                        <a:buFontTx/>
                        <a:buChar char="-"/>
                      </a:pPr>
                      <a:r>
                        <a:rPr lang="en-US" sz="800" b="0" i="0" baseline="0" dirty="0">
                          <a:effectLst/>
                          <a:latin typeface="+mn-lt"/>
                        </a:rPr>
                        <a:t>DBL Jobs connection for Push Down Optimization changed to optimize the job execution time</a:t>
                      </a:r>
                    </a:p>
                    <a:p>
                      <a:pPr marL="171450" marR="0" indent="-171450">
                        <a:spcBef>
                          <a:spcPts val="0"/>
                        </a:spcBef>
                        <a:spcAft>
                          <a:spcPts val="0"/>
                        </a:spcAft>
                        <a:buFontTx/>
                        <a:buChar char="-"/>
                      </a:pPr>
                      <a:r>
                        <a:rPr lang="en-US" sz="800" b="0" i="0" baseline="0" dirty="0">
                          <a:effectLst/>
                          <a:latin typeface="+mn-lt"/>
                        </a:rPr>
                        <a:t>EMS Job had unwanted dependency leading to long running jobs, team analyzed &amp; changed schedules to run with correct dependency.</a:t>
                      </a:r>
                    </a:p>
                    <a:p>
                      <a:pPr marL="171450" marR="0" indent="-171450">
                        <a:spcBef>
                          <a:spcPts val="0"/>
                        </a:spcBef>
                        <a:spcAft>
                          <a:spcPts val="0"/>
                        </a:spcAft>
                        <a:buFontTx/>
                        <a:buChar char="-"/>
                      </a:pPr>
                      <a:r>
                        <a:rPr lang="en-US" sz="800" b="0" i="0" baseline="0" dirty="0">
                          <a:effectLst/>
                          <a:latin typeface="+mn-lt"/>
                        </a:rPr>
                        <a:t>Canada Performance Load job was optimized in BSC Canada to reduce job execution by an hour</a:t>
                      </a:r>
                      <a:endParaRPr lang="en-US" sz="800" b="0" i="0" dirty="0">
                        <a:effectLst/>
                        <a:latin typeface="+mn-lt"/>
                      </a:endParaRPr>
                    </a:p>
                  </a:txBody>
                  <a:tcPr marL="69490" marR="69490" marT="34745" marB="34745"/>
                </a:tc>
                <a:tc>
                  <a:txBody>
                    <a:bodyPr/>
                    <a:lstStyle/>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i="0" strike="noStrike" kern="1200" baseline="0" dirty="0">
                        <a:solidFill>
                          <a:schemeClr val="dk1"/>
                        </a:solidFill>
                        <a:effectLst/>
                        <a:latin typeface="+mn-lt"/>
                        <a:ea typeface="+mn-ea"/>
                        <a:cs typeface="+mn-cs"/>
                      </a:endParaRPr>
                    </a:p>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i="0" strike="noStrike" kern="1200" baseline="0" dirty="0">
                        <a:solidFill>
                          <a:schemeClr val="dk1"/>
                        </a:solidFill>
                        <a:effectLst/>
                        <a:latin typeface="+mn-lt"/>
                        <a:ea typeface="+mn-ea"/>
                        <a:cs typeface="+mn-cs"/>
                      </a:endParaRPr>
                    </a:p>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strike="noStrike" kern="1200" baseline="0" dirty="0">
                          <a:solidFill>
                            <a:schemeClr val="dk1"/>
                          </a:solidFill>
                          <a:effectLst/>
                          <a:latin typeface="+mn-lt"/>
                          <a:ea typeface="+mn-ea"/>
                          <a:cs typeface="+mn-cs"/>
                        </a:rPr>
                        <a:t>PDP jobs completes by 5AM EST. </a:t>
                      </a:r>
                    </a:p>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strike="noStrike" kern="1200" baseline="0" dirty="0">
                          <a:solidFill>
                            <a:schemeClr val="dk1"/>
                          </a:solidFill>
                          <a:effectLst/>
                          <a:latin typeface="+mn-lt"/>
                          <a:ea typeface="+mn-ea"/>
                          <a:cs typeface="+mn-cs"/>
                        </a:rPr>
                        <a:t>Batch window time reduced by 3 hours</a:t>
                      </a:r>
                    </a:p>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i="0" strike="noStrike" kern="1200" baseline="0" dirty="0">
                        <a:solidFill>
                          <a:schemeClr val="dk1"/>
                        </a:solidFill>
                        <a:effectLst/>
                        <a:latin typeface="+mn-lt"/>
                        <a:ea typeface="+mn-ea"/>
                        <a:cs typeface="+mn-cs"/>
                      </a:endParaRPr>
                    </a:p>
                    <a:p>
                      <a:pPr marL="171450" marR="0" lvl="0" indent="-171450" algn="l" defTabSz="4567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strike="noStrike" kern="1200" baseline="0" dirty="0">
                          <a:solidFill>
                            <a:schemeClr val="dk1"/>
                          </a:solidFill>
                          <a:effectLst/>
                          <a:latin typeface="+mn-lt"/>
                          <a:ea typeface="+mn-ea"/>
                          <a:cs typeface="+mn-cs"/>
                        </a:rPr>
                        <a:t>SLT breach prevented by reducing job execution time</a:t>
                      </a:r>
                    </a:p>
                  </a:txBody>
                  <a:tcPr marL="69490" marR="69490" marT="34745" marB="34745"/>
                </a:tc>
                <a:extLst>
                  <a:ext uri="{0D108BD9-81ED-4DB2-BD59-A6C34878D82A}">
                    <a16:rowId xmlns:a16="http://schemas.microsoft.com/office/drawing/2014/main" val="1146836074"/>
                  </a:ext>
                </a:extLst>
              </a:tr>
            </a:tbl>
          </a:graphicData>
        </a:graphic>
      </p:graphicFrame>
    </p:spTree>
    <p:extLst>
      <p:ext uri="{BB962C8B-B14F-4D97-AF65-F5344CB8AC3E}">
        <p14:creationId xmlns:p14="http://schemas.microsoft.com/office/powerpoint/2010/main" val="26025672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332532" y="62048"/>
            <a:ext cx="6336956" cy="653705"/>
          </a:xfrm>
          <a:prstGeom prst="rect">
            <a:avLst/>
          </a:prstGeom>
          <a:noFill/>
        </p:spPr>
        <p:txBody>
          <a:bodyPr wrap="square" rtlCol="0">
            <a:spAutoFit/>
          </a:bodyPr>
          <a:lstStyle/>
          <a:p>
            <a:pPr defTabSz="694944">
              <a:defRPr/>
            </a:pPr>
            <a:r>
              <a:rPr lang="en-US" sz="2128" b="1" kern="0" dirty="0">
                <a:solidFill>
                  <a:srgbClr val="FF0000"/>
                </a:solidFill>
              </a:rPr>
              <a:t>ASO Highlights – </a:t>
            </a:r>
          </a:p>
          <a:p>
            <a:pPr defTabSz="694944">
              <a:defRPr/>
            </a:pPr>
            <a:r>
              <a:rPr lang="en-US" sz="1520" b="1" kern="0" dirty="0">
                <a:solidFill>
                  <a:srgbClr val="FF0000"/>
                </a:solidFill>
              </a:rPr>
              <a:t>Key Initiatives completed in Jan 2018</a:t>
            </a:r>
          </a:p>
        </p:txBody>
      </p:sp>
      <p:sp>
        <p:nvSpPr>
          <p:cNvPr id="18" name="Content Placeholder 2"/>
          <p:cNvSpPr txBox="1">
            <a:spLocks/>
          </p:cNvSpPr>
          <p:nvPr/>
        </p:nvSpPr>
        <p:spPr>
          <a:xfrm>
            <a:off x="1448042" y="1041552"/>
            <a:ext cx="5820163" cy="3612184"/>
          </a:xfrm>
          <a:prstGeom prst="rect">
            <a:avLst/>
          </a:prstGeom>
        </p:spPr>
        <p:txBody>
          <a:bodyPr>
            <a:normAutofit/>
          </a:bodyPr>
          <a:lstStyle>
            <a:lvl1pPr marL="206375" indent="-206375" algn="l" defTabSz="455613" rtl="0" eaLnBrk="1" fontAlgn="base" hangingPunct="1">
              <a:spcBef>
                <a:spcPts val="0"/>
              </a:spcBef>
              <a:spcAft>
                <a:spcPts val="600"/>
              </a:spcAft>
              <a:buClr>
                <a:schemeClr val="tx1">
                  <a:lumMod val="65000"/>
                  <a:lumOff val="35000"/>
                </a:schemeClr>
              </a:buClr>
              <a:buSzPct val="120000"/>
              <a:buFont typeface="Arial" pitchFamily="34" charset="0"/>
              <a:buChar char="•"/>
              <a:defRPr sz="1000" kern="1200">
                <a:solidFill>
                  <a:schemeClr val="accent3"/>
                </a:solidFill>
                <a:latin typeface="Georgia" panose="02040502050405020303" pitchFamily="18" charset="0"/>
                <a:ea typeface="MS PGothic" pitchFamily="34" charset="-128"/>
                <a:cs typeface="Arial"/>
              </a:defRPr>
            </a:lvl1pPr>
            <a:lvl2pPr marL="457200" indent="-146050" algn="l" defTabSz="455613" rtl="0" eaLnBrk="1" fontAlgn="base" hangingPunct="1">
              <a:spcBef>
                <a:spcPts val="0"/>
              </a:spcBef>
              <a:spcAft>
                <a:spcPts val="600"/>
              </a:spcAft>
              <a:buClr>
                <a:schemeClr val="tx1">
                  <a:lumMod val="65000"/>
                  <a:lumOff val="35000"/>
                </a:schemeClr>
              </a:buClr>
              <a:buFont typeface="Arial" pitchFamily="34" charset="0"/>
              <a:buChar char="–"/>
              <a:defRPr sz="1000" kern="1200">
                <a:solidFill>
                  <a:schemeClr val="accent3"/>
                </a:solidFill>
                <a:latin typeface="Georgia" panose="02040502050405020303" pitchFamily="18" charset="0"/>
                <a:ea typeface="MS PGothic" pitchFamily="34" charset="-128"/>
                <a:cs typeface="Arial"/>
              </a:defRPr>
            </a:lvl2pPr>
            <a:lvl3pPr marL="912813" indent="-234950" algn="l" defTabSz="455613" rtl="0" eaLnBrk="1" fontAlgn="base" hangingPunct="1">
              <a:spcBef>
                <a:spcPts val="0"/>
              </a:spcBef>
              <a:spcAft>
                <a:spcPts val="600"/>
              </a:spcAft>
              <a:buClr>
                <a:schemeClr val="tx1">
                  <a:lumMod val="65000"/>
                  <a:lumOff val="35000"/>
                </a:schemeClr>
              </a:buClr>
              <a:buFont typeface="Arial" pitchFamily="34" charset="0"/>
              <a:buChar char="•"/>
              <a:defRPr sz="1000" kern="1200">
                <a:solidFill>
                  <a:schemeClr val="accent3"/>
                </a:solidFill>
                <a:latin typeface="Georgia" panose="02040502050405020303" pitchFamily="18" charset="0"/>
                <a:ea typeface="MS PGothic" pitchFamily="34" charset="-128"/>
                <a:cs typeface="Arial"/>
              </a:defRPr>
            </a:lvl3pPr>
            <a:lvl4pPr marL="1185863" indent="-234950" algn="l" defTabSz="455613" rtl="0" eaLnBrk="1" fontAlgn="base" hangingPunct="1">
              <a:spcBef>
                <a:spcPts val="0"/>
              </a:spcBef>
              <a:spcAft>
                <a:spcPts val="600"/>
              </a:spcAft>
              <a:buClr>
                <a:schemeClr val="tx1">
                  <a:lumMod val="65000"/>
                  <a:lumOff val="35000"/>
                </a:schemeClr>
              </a:buClr>
              <a:buFont typeface="Arial" pitchFamily="34" charset="0"/>
              <a:buChar char="–"/>
              <a:defRPr sz="1000" kern="1200">
                <a:solidFill>
                  <a:schemeClr val="accent3"/>
                </a:solidFill>
                <a:latin typeface="Georgia" panose="02040502050405020303" pitchFamily="18" charset="0"/>
                <a:ea typeface="MS PGothic" pitchFamily="34" charset="-128"/>
                <a:cs typeface="Arial"/>
              </a:defRPr>
            </a:lvl4pPr>
            <a:lvl5pPr marL="1460500" indent="-234950" algn="l" defTabSz="455613" rtl="0" eaLnBrk="1" fontAlgn="base" hangingPunct="1">
              <a:spcBef>
                <a:spcPts val="0"/>
              </a:spcBef>
              <a:spcAft>
                <a:spcPts val="600"/>
              </a:spcAft>
              <a:buClr>
                <a:schemeClr val="tx1">
                  <a:lumMod val="65000"/>
                  <a:lumOff val="35000"/>
                </a:schemeClr>
              </a:buClr>
              <a:buFont typeface="Arial" pitchFamily="34" charset="0"/>
              <a:buChar char="»"/>
              <a:defRPr sz="1000" kern="1200">
                <a:solidFill>
                  <a:schemeClr val="accent3"/>
                </a:solidFill>
                <a:latin typeface="Georgia" panose="02040502050405020303" pitchFamily="18" charset="0"/>
                <a:ea typeface="MS PGothic" pitchFamily="34" charset="-128"/>
                <a:cs typeface="Arial"/>
              </a:defRPr>
            </a:lvl5pPr>
            <a:lvl6pPr marL="2511954" indent="-228355" algn="l" defTabSz="456720" rtl="0" eaLnBrk="1" latinLnBrk="0" hangingPunct="1">
              <a:spcBef>
                <a:spcPct val="20000"/>
              </a:spcBef>
              <a:buFont typeface="Arial"/>
              <a:buChar char="•"/>
              <a:defRPr sz="2000" kern="1200">
                <a:solidFill>
                  <a:schemeClr val="tx1"/>
                </a:solidFill>
                <a:latin typeface="+mn-lt"/>
                <a:ea typeface="+mn-ea"/>
                <a:cs typeface="+mn-cs"/>
              </a:defRPr>
            </a:lvl6pPr>
            <a:lvl7pPr marL="2968677" indent="-228355" algn="l" defTabSz="456720" rtl="0" eaLnBrk="1" latinLnBrk="0" hangingPunct="1">
              <a:spcBef>
                <a:spcPct val="20000"/>
              </a:spcBef>
              <a:buFont typeface="Arial"/>
              <a:buChar char="•"/>
              <a:defRPr sz="2000" kern="1200">
                <a:solidFill>
                  <a:schemeClr val="tx1"/>
                </a:solidFill>
                <a:latin typeface="+mn-lt"/>
                <a:ea typeface="+mn-ea"/>
                <a:cs typeface="+mn-cs"/>
              </a:defRPr>
            </a:lvl7pPr>
            <a:lvl8pPr marL="3425399" indent="-228355" algn="l" defTabSz="456720" rtl="0" eaLnBrk="1" latinLnBrk="0" hangingPunct="1">
              <a:spcBef>
                <a:spcPct val="20000"/>
              </a:spcBef>
              <a:buFont typeface="Arial"/>
              <a:buChar char="•"/>
              <a:defRPr sz="2000" kern="1200">
                <a:solidFill>
                  <a:schemeClr val="tx1"/>
                </a:solidFill>
                <a:latin typeface="+mn-lt"/>
                <a:ea typeface="+mn-ea"/>
                <a:cs typeface="+mn-cs"/>
              </a:defRPr>
            </a:lvl8pPr>
            <a:lvl9pPr marL="3882124" indent="-228355" algn="l" defTabSz="456720" rtl="0" eaLnBrk="1" latinLnBrk="0" hangingPunct="1">
              <a:spcBef>
                <a:spcPct val="20000"/>
              </a:spcBef>
              <a:buFont typeface="Arial"/>
              <a:buChar char="•"/>
              <a:defRPr sz="2000" kern="1200">
                <a:solidFill>
                  <a:schemeClr val="tx1"/>
                </a:solidFill>
                <a:latin typeface="+mn-lt"/>
                <a:ea typeface="+mn-ea"/>
                <a:cs typeface="+mn-cs"/>
              </a:defRPr>
            </a:lvl9pPr>
          </a:lstStyle>
          <a:p>
            <a:pPr marL="347472" indent="-347472" defTabSz="346266">
              <a:spcAft>
                <a:spcPts val="456"/>
              </a:spcAft>
              <a:buFont typeface="+mj-lt"/>
              <a:buAutoNum type="arabicPeriod"/>
              <a:defRPr/>
            </a:pPr>
            <a:endParaRPr lang="en-US" sz="1216"/>
          </a:p>
        </p:txBody>
      </p:sp>
      <p:pic>
        <p:nvPicPr>
          <p:cNvPr id="5" name="Picture 3" descr="D:\Users\MHERREMA\Downloads\ITAS-ApplicationSupport-0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09303" y="17691"/>
            <a:ext cx="1517806" cy="32428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Table 6"/>
          <p:cNvGraphicFramePr>
            <a:graphicFrameLocks noGrp="1"/>
          </p:cNvGraphicFramePr>
          <p:nvPr>
            <p:extLst/>
          </p:nvPr>
        </p:nvGraphicFramePr>
        <p:xfrm>
          <a:off x="1332532" y="778916"/>
          <a:ext cx="6410881" cy="3962481"/>
        </p:xfrm>
        <a:graphic>
          <a:graphicData uri="http://schemas.openxmlformats.org/drawingml/2006/table">
            <a:tbl>
              <a:tblPr firstRow="1" bandRow="1">
                <a:tableStyleId>{5C22544A-7EE6-4342-B048-85BDC9FD1C3A}</a:tableStyleId>
              </a:tblPr>
              <a:tblGrid>
                <a:gridCol w="4107523">
                  <a:extLst>
                    <a:ext uri="{9D8B030D-6E8A-4147-A177-3AD203B41FA5}">
                      <a16:colId xmlns:a16="http://schemas.microsoft.com/office/drawing/2014/main" val="758269977"/>
                    </a:ext>
                  </a:extLst>
                </a:gridCol>
                <a:gridCol w="2303358">
                  <a:extLst>
                    <a:ext uri="{9D8B030D-6E8A-4147-A177-3AD203B41FA5}">
                      <a16:colId xmlns:a16="http://schemas.microsoft.com/office/drawing/2014/main" val="1331217844"/>
                    </a:ext>
                  </a:extLst>
                </a:gridCol>
              </a:tblGrid>
              <a:tr h="301124">
                <a:tc>
                  <a:txBody>
                    <a:bodyPr/>
                    <a:lstStyle/>
                    <a:p>
                      <a:pPr algn="ctr"/>
                      <a:r>
                        <a:rPr lang="en-US" sz="1500" kern="1200" dirty="0">
                          <a:solidFill>
                            <a:srgbClr val="FF0000"/>
                          </a:solidFill>
                        </a:rPr>
                        <a:t>Highlight</a:t>
                      </a:r>
                      <a:endParaRPr lang="en-US" sz="1500" b="1" dirty="0">
                        <a:solidFill>
                          <a:srgbClr val="FF0000"/>
                        </a:solidFill>
                      </a:endParaRPr>
                    </a:p>
                  </a:txBody>
                  <a:tcPr marL="69490" marR="69490" marT="34745" marB="34745"/>
                </a:tc>
                <a:tc>
                  <a:txBody>
                    <a:bodyPr/>
                    <a:lstStyle/>
                    <a:p>
                      <a:pPr algn="ctr"/>
                      <a:r>
                        <a:rPr lang="en-US" sz="1500" kern="1200" dirty="0">
                          <a:solidFill>
                            <a:srgbClr val="FF0000"/>
                          </a:solidFill>
                        </a:rPr>
                        <a:t>Benefit gained</a:t>
                      </a:r>
                      <a:endParaRPr lang="en-US" sz="1500" b="1" dirty="0">
                        <a:solidFill>
                          <a:srgbClr val="FF0000"/>
                        </a:solidFill>
                      </a:endParaRPr>
                    </a:p>
                  </a:txBody>
                  <a:tcPr marL="69490" marR="69490" marT="34745" marB="34745"/>
                </a:tc>
                <a:extLst>
                  <a:ext uri="{0D108BD9-81ED-4DB2-BD59-A6C34878D82A}">
                    <a16:rowId xmlns:a16="http://schemas.microsoft.com/office/drawing/2014/main" val="2189249968"/>
                  </a:ext>
                </a:extLst>
              </a:tr>
              <a:tr h="1042353">
                <a:tc>
                  <a:txBody>
                    <a:bodyPr/>
                    <a:lstStyle/>
                    <a:p>
                      <a:pPr marL="0" marR="0">
                        <a:spcBef>
                          <a:spcPts val="0"/>
                        </a:spcBef>
                        <a:spcAft>
                          <a:spcPts val="0"/>
                        </a:spcAft>
                      </a:pPr>
                      <a:r>
                        <a:rPr lang="en-US" sz="1400" dirty="0">
                          <a:effectLst/>
                          <a:latin typeface="Calibri" panose="020F0502020204030204" pitchFamily="34" charset="0"/>
                          <a:ea typeface="Calibri" panose="020F0502020204030204" pitchFamily="34" charset="0"/>
                          <a:cs typeface="Calibri" panose="020F0502020204030204" pitchFamily="34" charset="0"/>
                        </a:rPr>
                        <a:t>JSC-EDW</a:t>
                      </a:r>
                    </a:p>
                    <a:p>
                      <a:pPr marL="0" marR="0">
                        <a:spcBef>
                          <a:spcPts val="0"/>
                        </a:spcBef>
                        <a:spcAft>
                          <a:spcPts val="0"/>
                        </a:spcAft>
                      </a:pPr>
                      <a:r>
                        <a:rPr lang="en-US" sz="1400" dirty="0">
                          <a:effectLst/>
                          <a:latin typeface="Calibri" panose="020F0502020204030204" pitchFamily="34" charset="0"/>
                          <a:ea typeface="Calibri" panose="020F0502020204030204" pitchFamily="34" charset="0"/>
                          <a:cs typeface="Calibri" panose="020F0502020204030204" pitchFamily="34" charset="0"/>
                        </a:rPr>
                        <a:t>Handled recurring connectivity issues with Tidal scheduling. Added an event in Tidal to re-run the job in case if it fails</a:t>
                      </a:r>
                    </a:p>
                    <a:p>
                      <a:pPr marL="0" marR="0">
                        <a:spcBef>
                          <a:spcPts val="0"/>
                        </a:spcBef>
                        <a:spcAft>
                          <a:spcPts val="0"/>
                        </a:spcAft>
                      </a:pPr>
                      <a:endParaRPr lang="en-US" sz="1400" dirty="0">
                        <a:effectLst/>
                        <a:latin typeface="Calibri" panose="020F0502020204030204" pitchFamily="34" charset="0"/>
                        <a:ea typeface="Calibri" panose="020F0502020204030204" pitchFamily="34" charset="0"/>
                        <a:cs typeface="Calibri" panose="020F0502020204030204" pitchFamily="34" charset="0"/>
                      </a:endParaRPr>
                    </a:p>
                  </a:txBody>
                  <a:tcPr marL="52118" marR="52118" marT="0" marB="0"/>
                </a:tc>
                <a:tc>
                  <a:txBody>
                    <a:bodyPr/>
                    <a:lstStyle/>
                    <a:p>
                      <a:pPr marL="0" marR="0">
                        <a:spcBef>
                          <a:spcPts val="0"/>
                        </a:spcBef>
                        <a:spcAft>
                          <a:spcPts val="0"/>
                        </a:spcAft>
                      </a:pPr>
                      <a:r>
                        <a:rPr lang="en-US" sz="1400">
                          <a:effectLst/>
                          <a:latin typeface="Calibri" panose="020F0502020204030204" pitchFamily="34" charset="0"/>
                          <a:ea typeface="Calibri" panose="020F0502020204030204" pitchFamily="34" charset="0"/>
                          <a:cs typeface="Calibri" panose="020F0502020204030204" pitchFamily="34" charset="0"/>
                        </a:rPr>
                        <a:t>10-15 Incidents/Incidents per month</a:t>
                      </a:r>
                    </a:p>
                  </a:txBody>
                  <a:tcPr marL="52118" marR="52118" marT="0" marB="0"/>
                </a:tc>
                <a:extLst>
                  <a:ext uri="{0D108BD9-81ED-4DB2-BD59-A6C34878D82A}">
                    <a16:rowId xmlns:a16="http://schemas.microsoft.com/office/drawing/2014/main" val="2856535891"/>
                  </a:ext>
                </a:extLst>
              </a:tr>
              <a:tr h="1042353">
                <a:tc>
                  <a:txBody>
                    <a:bodyPr/>
                    <a:lstStyle/>
                    <a:p>
                      <a:pPr marL="0" marR="0">
                        <a:spcBef>
                          <a:spcPts val="0"/>
                        </a:spcBef>
                        <a:spcAft>
                          <a:spcPts val="0"/>
                        </a:spcAft>
                      </a:pPr>
                      <a:r>
                        <a:rPr lang="en-US" sz="1400" dirty="0">
                          <a:effectLst/>
                          <a:latin typeface="Calibri" panose="020F0502020204030204" pitchFamily="34" charset="0"/>
                          <a:ea typeface="Calibri" panose="020F0502020204030204" pitchFamily="34" charset="0"/>
                          <a:cs typeface="Calibri" panose="020F0502020204030204" pitchFamily="34" charset="0"/>
                        </a:rPr>
                        <a:t>JSC-EDW (Finance Absorption)</a:t>
                      </a:r>
                    </a:p>
                    <a:p>
                      <a:pPr marL="0" marR="0">
                        <a:spcBef>
                          <a:spcPts val="0"/>
                        </a:spcBef>
                        <a:spcAft>
                          <a:spcPts val="0"/>
                        </a:spcAft>
                      </a:pPr>
                      <a:r>
                        <a:rPr lang="en-US" sz="1400" dirty="0">
                          <a:effectLst/>
                          <a:latin typeface="Calibri" panose="020F0502020204030204" pitchFamily="34" charset="0"/>
                          <a:ea typeface="Calibri" panose="020F0502020204030204" pitchFamily="34" charset="0"/>
                          <a:cs typeface="Calibri" panose="020F0502020204030204" pitchFamily="34" charset="0"/>
                        </a:rPr>
                        <a:t>Replaced windows scheduler with Tidal scheduler. Windows scheduler had issues with auto-triggering jobs at defined interval</a:t>
                      </a:r>
                    </a:p>
                    <a:p>
                      <a:pPr marL="0" marR="0">
                        <a:spcBef>
                          <a:spcPts val="0"/>
                        </a:spcBef>
                        <a:spcAft>
                          <a:spcPts val="0"/>
                        </a:spcAft>
                      </a:pPr>
                      <a:endParaRPr lang="en-US" sz="1400" dirty="0">
                        <a:effectLst/>
                        <a:latin typeface="Calibri" panose="020F0502020204030204" pitchFamily="34" charset="0"/>
                        <a:ea typeface="Calibri" panose="020F0502020204030204" pitchFamily="34" charset="0"/>
                        <a:cs typeface="Calibri" panose="020F0502020204030204" pitchFamily="34" charset="0"/>
                      </a:endParaRPr>
                    </a:p>
                  </a:txBody>
                  <a:tcPr marL="52118" marR="52118" marT="0" marB="0"/>
                </a:tc>
                <a:tc>
                  <a:txBody>
                    <a:bodyPr/>
                    <a:lstStyle/>
                    <a:p>
                      <a:pPr marL="0" marR="0">
                        <a:spcBef>
                          <a:spcPts val="0"/>
                        </a:spcBef>
                        <a:spcAft>
                          <a:spcPts val="0"/>
                        </a:spcAft>
                      </a:pPr>
                      <a:r>
                        <a:rPr lang="en-US" sz="1400">
                          <a:effectLst/>
                          <a:latin typeface="Calibri" panose="020F0502020204030204" pitchFamily="34" charset="0"/>
                          <a:ea typeface="Calibri" panose="020F0502020204030204" pitchFamily="34" charset="0"/>
                          <a:cs typeface="Calibri" panose="020F0502020204030204" pitchFamily="34" charset="0"/>
                        </a:rPr>
                        <a:t>5-10 SRs/month</a:t>
                      </a:r>
                    </a:p>
                  </a:txBody>
                  <a:tcPr marL="52118" marR="52118" marT="0" marB="0"/>
                </a:tc>
                <a:extLst>
                  <a:ext uri="{0D108BD9-81ED-4DB2-BD59-A6C34878D82A}">
                    <a16:rowId xmlns:a16="http://schemas.microsoft.com/office/drawing/2014/main" val="1920582734"/>
                  </a:ext>
                </a:extLst>
              </a:tr>
              <a:tr h="833882">
                <a:tc>
                  <a:txBody>
                    <a:bodyPr/>
                    <a:lstStyle/>
                    <a:p>
                      <a:pPr marL="0" marR="0">
                        <a:spcBef>
                          <a:spcPts val="0"/>
                        </a:spcBef>
                        <a:spcAft>
                          <a:spcPts val="0"/>
                        </a:spcAft>
                      </a:pPr>
                      <a:r>
                        <a:rPr lang="en-US" sz="1400" dirty="0">
                          <a:effectLst/>
                          <a:latin typeface="Calibri" panose="020F0502020204030204" pitchFamily="34" charset="0"/>
                          <a:ea typeface="Calibri" panose="020F0502020204030204" pitchFamily="34" charset="0"/>
                          <a:cs typeface="Calibri" panose="020F0502020204030204" pitchFamily="34" charset="0"/>
                        </a:rPr>
                        <a:t>JSC-EDW</a:t>
                      </a:r>
                    </a:p>
                    <a:p>
                      <a:pPr marL="0" marR="0">
                        <a:spcBef>
                          <a:spcPts val="0"/>
                        </a:spcBef>
                        <a:spcAft>
                          <a:spcPts val="0"/>
                        </a:spcAft>
                      </a:pPr>
                      <a:r>
                        <a:rPr lang="en-US" sz="1400" dirty="0">
                          <a:effectLst/>
                          <a:latin typeface="Calibri" panose="020F0502020204030204" pitchFamily="34" charset="0"/>
                          <a:ea typeface="Calibri" panose="020F0502020204030204" pitchFamily="34" charset="0"/>
                          <a:cs typeface="Calibri" panose="020F0502020204030204" pitchFamily="34" charset="0"/>
                        </a:rPr>
                        <a:t>Alert script to check the </a:t>
                      </a:r>
                      <a:r>
                        <a:rPr lang="en-US" sz="1400" dirty="0" err="1">
                          <a:effectLst/>
                          <a:latin typeface="Calibri" panose="020F0502020204030204" pitchFamily="34" charset="0"/>
                          <a:ea typeface="Calibri" panose="020F0502020204030204" pitchFamily="34" charset="0"/>
                          <a:cs typeface="Calibri" panose="020F0502020204030204" pitchFamily="34" charset="0"/>
                        </a:rPr>
                        <a:t>unix</a:t>
                      </a:r>
                      <a:r>
                        <a:rPr lang="en-US" sz="1400" dirty="0">
                          <a:effectLst/>
                          <a:latin typeface="Calibri" panose="020F0502020204030204" pitchFamily="34" charset="0"/>
                          <a:ea typeface="Calibri" panose="020F0502020204030204" pitchFamily="34" charset="0"/>
                          <a:cs typeface="Calibri" panose="020F0502020204030204" pitchFamily="34" charset="0"/>
                        </a:rPr>
                        <a:t> space before running the jobs. Send an alert if it crosses 75% threshold</a:t>
                      </a:r>
                    </a:p>
                    <a:p>
                      <a:pPr marL="0" marR="0">
                        <a:spcBef>
                          <a:spcPts val="0"/>
                        </a:spcBef>
                        <a:spcAft>
                          <a:spcPts val="0"/>
                        </a:spcAft>
                      </a:pPr>
                      <a:endParaRPr lang="en-US" sz="1400" dirty="0">
                        <a:effectLst/>
                        <a:latin typeface="Calibri" panose="020F0502020204030204" pitchFamily="34" charset="0"/>
                        <a:ea typeface="Calibri" panose="020F0502020204030204" pitchFamily="34" charset="0"/>
                        <a:cs typeface="Calibri" panose="020F0502020204030204" pitchFamily="34" charset="0"/>
                      </a:endParaRPr>
                    </a:p>
                  </a:txBody>
                  <a:tcPr marL="52118" marR="52118" marT="0" marB="0"/>
                </a:tc>
                <a:tc>
                  <a:txBody>
                    <a:bodyPr/>
                    <a:lstStyle/>
                    <a:p>
                      <a:pPr marL="0" marR="0">
                        <a:spcBef>
                          <a:spcPts val="0"/>
                        </a:spcBef>
                        <a:spcAft>
                          <a:spcPts val="0"/>
                        </a:spcAft>
                      </a:pPr>
                      <a:r>
                        <a:rPr lang="en-US" sz="1400">
                          <a:effectLst/>
                          <a:latin typeface="Calibri" panose="020F0502020204030204" pitchFamily="34" charset="0"/>
                          <a:ea typeface="Calibri" panose="020F0502020204030204" pitchFamily="34" charset="0"/>
                          <a:cs typeface="Calibri" panose="020F0502020204030204" pitchFamily="34" charset="0"/>
                        </a:rPr>
                        <a:t>1-2 incidents/Month</a:t>
                      </a:r>
                    </a:p>
                  </a:txBody>
                  <a:tcPr marL="52118" marR="52118" marT="0" marB="0"/>
                </a:tc>
                <a:extLst>
                  <a:ext uri="{0D108BD9-81ED-4DB2-BD59-A6C34878D82A}">
                    <a16:rowId xmlns:a16="http://schemas.microsoft.com/office/drawing/2014/main" val="2077332144"/>
                  </a:ext>
                </a:extLst>
              </a:tr>
              <a:tr h="674317">
                <a:tc>
                  <a:txBody>
                    <a:bodyPr/>
                    <a:lstStyle/>
                    <a:p>
                      <a:pPr marL="0" marR="0">
                        <a:spcBef>
                          <a:spcPts val="0"/>
                        </a:spcBef>
                        <a:spcAft>
                          <a:spcPts val="0"/>
                        </a:spcAft>
                      </a:pPr>
                      <a:r>
                        <a:rPr lang="en-US" sz="1400">
                          <a:effectLst/>
                          <a:latin typeface="Calibri" panose="020F0502020204030204" pitchFamily="34" charset="0"/>
                          <a:ea typeface="Calibri" panose="020F0502020204030204" pitchFamily="34" charset="0"/>
                          <a:cs typeface="Calibri" panose="020F0502020204030204" pitchFamily="34" charset="0"/>
                        </a:rPr>
                        <a:t>Business Panaroma</a:t>
                      </a:r>
                    </a:p>
                    <a:p>
                      <a:pPr marL="0" marR="0">
                        <a:spcBef>
                          <a:spcPts val="0"/>
                        </a:spcBef>
                        <a:spcAft>
                          <a:spcPts val="0"/>
                        </a:spcAft>
                      </a:pPr>
                      <a:r>
                        <a:rPr lang="en-US" sz="1400">
                          <a:effectLst/>
                          <a:latin typeface="Calibri" panose="020F0502020204030204" pitchFamily="34" charset="0"/>
                          <a:ea typeface="Calibri" panose="020F0502020204030204" pitchFamily="34" charset="0"/>
                          <a:cs typeface="Calibri" panose="020F0502020204030204" pitchFamily="34" charset="0"/>
                        </a:rPr>
                        <a:t>GFK datasets Auto refresh</a:t>
                      </a:r>
                    </a:p>
                  </a:txBody>
                  <a:tcPr marL="52118" marR="52118" marT="0" marB="0"/>
                </a:tc>
                <a:tc>
                  <a:txBody>
                    <a:bodyPr/>
                    <a:lstStyle/>
                    <a:p>
                      <a:pPr marL="0" marR="0">
                        <a:spcBef>
                          <a:spcPts val="0"/>
                        </a:spcBef>
                        <a:spcAft>
                          <a:spcPts val="0"/>
                        </a:spcAft>
                      </a:pPr>
                      <a:r>
                        <a:rPr lang="en-US" sz="1400" dirty="0">
                          <a:effectLst/>
                          <a:latin typeface="Calibri" panose="020F0502020204030204" pitchFamily="34" charset="0"/>
                          <a:ea typeface="Calibri" panose="020F0502020204030204" pitchFamily="34" charset="0"/>
                          <a:cs typeface="Calibri" panose="020F0502020204030204" pitchFamily="34" charset="0"/>
                        </a:rPr>
                        <a:t>10 SRs/Month</a:t>
                      </a:r>
                    </a:p>
                  </a:txBody>
                  <a:tcPr marL="52118" marR="52118" marT="0" marB="0"/>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9190952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2" y="1"/>
            <a:ext cx="9143998" cy="761576"/>
          </a:xfrm>
        </p:spPr>
        <p:txBody>
          <a:bodyPr vert="horz" lIns="254749" tIns="28305" rIns="141527" bIns="28305" rtlCol="0" anchor="ctr">
            <a:noAutofit/>
          </a:bodyPr>
          <a:lstStyle/>
          <a:p>
            <a:r>
              <a:rPr lang="en-US" sz="2400" dirty="0">
                <a:solidFill>
                  <a:srgbClr val="00234B"/>
                </a:solidFill>
              </a:rPr>
              <a:t>Meaningful Innovations </a:t>
            </a:r>
            <a:r>
              <a:rPr lang="en-US" sz="2000" i="1" dirty="0">
                <a:solidFill>
                  <a:srgbClr val="00234B"/>
                </a:solidFill>
              </a:rPr>
              <a:t>focused on Continuous Service Improvement</a:t>
            </a:r>
            <a:endParaRPr lang="en-US" sz="2400" b="1" i="1" dirty="0"/>
          </a:p>
        </p:txBody>
      </p:sp>
      <p:pic>
        <p:nvPicPr>
          <p:cNvPr id="14" name="Picture 13"/>
          <p:cNvPicPr>
            <a:picLocks noChangeAspect="1"/>
          </p:cNvPicPr>
          <p:nvPr/>
        </p:nvPicPr>
        <p:blipFill>
          <a:blip r:embed="rId3"/>
          <a:stretch>
            <a:fillRect/>
          </a:stretch>
        </p:blipFill>
        <p:spPr>
          <a:xfrm>
            <a:off x="230647" y="1083780"/>
            <a:ext cx="2916789" cy="1828800"/>
          </a:xfrm>
          <a:prstGeom prst="rect">
            <a:avLst/>
          </a:prstGeom>
          <a:ln w="6350">
            <a:solidFill>
              <a:schemeClr val="tx1"/>
            </a:solidFill>
          </a:ln>
        </p:spPr>
      </p:pic>
      <p:pic>
        <p:nvPicPr>
          <p:cNvPr id="15" name="Picture 14"/>
          <p:cNvPicPr>
            <a:picLocks noChangeAspect="1"/>
          </p:cNvPicPr>
          <p:nvPr/>
        </p:nvPicPr>
        <p:blipFill>
          <a:blip r:embed="rId4"/>
          <a:stretch>
            <a:fillRect/>
          </a:stretch>
        </p:blipFill>
        <p:spPr>
          <a:xfrm>
            <a:off x="230647" y="2951739"/>
            <a:ext cx="2916789" cy="1828800"/>
          </a:xfrm>
          <a:prstGeom prst="rect">
            <a:avLst/>
          </a:prstGeom>
          <a:ln w="6350">
            <a:solidFill>
              <a:schemeClr val="tx1"/>
            </a:solidFill>
          </a:ln>
        </p:spPr>
      </p:pic>
      <p:pic>
        <p:nvPicPr>
          <p:cNvPr id="30" name="Picture 2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86298" y="484366"/>
            <a:ext cx="1120137" cy="822960"/>
          </a:xfrm>
          <a:prstGeom prst="rect">
            <a:avLst/>
          </a:prstGeom>
        </p:spPr>
      </p:pic>
      <p:grpSp>
        <p:nvGrpSpPr>
          <p:cNvPr id="6" name="Group 5"/>
          <p:cNvGrpSpPr/>
          <p:nvPr/>
        </p:nvGrpSpPr>
        <p:grpSpPr>
          <a:xfrm>
            <a:off x="5601874" y="1003712"/>
            <a:ext cx="3474720" cy="1188720"/>
            <a:chOff x="5054449" y="1436277"/>
            <a:chExt cx="3200037" cy="1060457"/>
          </a:xfrm>
        </p:grpSpPr>
        <p:sp>
          <p:nvSpPr>
            <p:cNvPr id="31" name="TextBox 30"/>
            <p:cNvSpPr txBox="1"/>
            <p:nvPr/>
          </p:nvSpPr>
          <p:spPr>
            <a:xfrm>
              <a:off x="5054449" y="1436277"/>
              <a:ext cx="1182027" cy="261610"/>
            </a:xfrm>
            <a:prstGeom prst="rect">
              <a:avLst/>
            </a:prstGeom>
            <a:noFill/>
          </p:spPr>
          <p:txBody>
            <a:bodyPr wrap="square" rtlCol="0">
              <a:spAutoFit/>
            </a:bodyPr>
            <a:lstStyle/>
            <a:p>
              <a:r>
                <a:rPr lang="en-US" sz="1100" b="1" dirty="0">
                  <a:solidFill>
                    <a:srgbClr val="002060"/>
                  </a:solidFill>
                  <a:latin typeface="Calibri" panose="020F0502020204030204" pitchFamily="34" charset="0"/>
                </a:rPr>
                <a:t>SLA Compliance</a:t>
              </a:r>
            </a:p>
          </p:txBody>
        </p:sp>
        <p:grpSp>
          <p:nvGrpSpPr>
            <p:cNvPr id="32" name="Group 31"/>
            <p:cNvGrpSpPr/>
            <p:nvPr/>
          </p:nvGrpSpPr>
          <p:grpSpPr>
            <a:xfrm>
              <a:off x="5137736" y="1664853"/>
              <a:ext cx="3116750" cy="831881"/>
              <a:chOff x="5829111" y="1486435"/>
              <a:chExt cx="3116750" cy="831881"/>
            </a:xfrm>
          </p:grpSpPr>
          <p:pic>
            <p:nvPicPr>
              <p:cNvPr id="33" name="Picture 32"/>
              <p:cNvPicPr>
                <a:picLocks noChangeAspect="1"/>
              </p:cNvPicPr>
              <p:nvPr/>
            </p:nvPicPr>
            <p:blipFill>
              <a:blip r:embed="rId6"/>
              <a:stretch>
                <a:fillRect/>
              </a:stretch>
            </p:blipFill>
            <p:spPr>
              <a:xfrm>
                <a:off x="5829111" y="1487185"/>
                <a:ext cx="3116750" cy="831131"/>
              </a:xfrm>
              <a:prstGeom prst="rect">
                <a:avLst/>
              </a:prstGeom>
            </p:spPr>
          </p:pic>
          <p:sp>
            <p:nvSpPr>
              <p:cNvPr id="34" name="Oval 33"/>
              <p:cNvSpPr/>
              <p:nvPr/>
            </p:nvSpPr>
            <p:spPr bwMode="auto">
              <a:xfrm>
                <a:off x="6710427" y="1676006"/>
                <a:ext cx="365760" cy="182880"/>
              </a:xfrm>
              <a:prstGeom prst="ellipse">
                <a:avLst/>
              </a:prstGeom>
              <a:solidFill>
                <a:schemeClr val="bg1"/>
              </a:solidFill>
              <a:ln w="6350" cap="flat" cmpd="sng" algn="ctr">
                <a:solidFill>
                  <a:srgbClr val="FF3B3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900" b="1" u="none" strike="noStrike" cap="none" normalizeH="0" baseline="0" dirty="0">
                    <a:ln>
                      <a:noFill/>
                    </a:ln>
                    <a:solidFill>
                      <a:schemeClr val="bg2">
                        <a:lumMod val="50000"/>
                      </a:schemeClr>
                    </a:solidFill>
                    <a:effectLst/>
                    <a:latin typeface="Calibri" panose="020F0502020204030204" pitchFamily="34" charset="0"/>
                    <a:cs typeface="Arial" charset="0"/>
                  </a:rPr>
                  <a:t>89.7%</a:t>
                </a:r>
              </a:p>
            </p:txBody>
          </p:sp>
          <p:sp>
            <p:nvSpPr>
              <p:cNvPr id="35" name="Oval 34"/>
              <p:cNvSpPr/>
              <p:nvPr/>
            </p:nvSpPr>
            <p:spPr bwMode="auto">
              <a:xfrm>
                <a:off x="8520633" y="1486435"/>
                <a:ext cx="365760" cy="182880"/>
              </a:xfrm>
              <a:prstGeom prst="ellipse">
                <a:avLst/>
              </a:prstGeom>
              <a:solidFill>
                <a:schemeClr val="bg1"/>
              </a:solidFill>
              <a:ln w="6350" cap="flat" cmpd="sng" algn="ctr">
                <a:solidFill>
                  <a:srgbClr val="00B05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900" b="1" u="none" strike="noStrike" cap="none" normalizeH="0" baseline="0" dirty="0">
                    <a:ln>
                      <a:noFill/>
                    </a:ln>
                    <a:solidFill>
                      <a:schemeClr val="bg2">
                        <a:lumMod val="50000"/>
                      </a:schemeClr>
                    </a:solidFill>
                    <a:effectLst/>
                    <a:latin typeface="Calibri" panose="020F0502020204030204" pitchFamily="34" charset="0"/>
                    <a:cs typeface="Arial" charset="0"/>
                  </a:rPr>
                  <a:t>98.36%</a:t>
                </a:r>
              </a:p>
            </p:txBody>
          </p:sp>
        </p:grpSp>
      </p:grpSp>
      <p:grpSp>
        <p:nvGrpSpPr>
          <p:cNvPr id="7" name="Group 6"/>
          <p:cNvGrpSpPr/>
          <p:nvPr/>
        </p:nvGrpSpPr>
        <p:grpSpPr>
          <a:xfrm>
            <a:off x="5609664" y="2192432"/>
            <a:ext cx="3474720" cy="1384039"/>
            <a:chOff x="5035867" y="2443601"/>
            <a:chExt cx="3218619" cy="1149041"/>
          </a:xfrm>
        </p:grpSpPr>
        <p:grpSp>
          <p:nvGrpSpPr>
            <p:cNvPr id="36" name="Group 35"/>
            <p:cNvGrpSpPr/>
            <p:nvPr/>
          </p:nvGrpSpPr>
          <p:grpSpPr>
            <a:xfrm>
              <a:off x="5137736" y="2674931"/>
              <a:ext cx="3116750" cy="917711"/>
              <a:chOff x="5829111" y="2362701"/>
              <a:chExt cx="3116750" cy="917711"/>
            </a:xfrm>
          </p:grpSpPr>
          <p:pic>
            <p:nvPicPr>
              <p:cNvPr id="37" name="Picture 36"/>
              <p:cNvPicPr>
                <a:picLocks noChangeAspect="1"/>
              </p:cNvPicPr>
              <p:nvPr/>
            </p:nvPicPr>
            <p:blipFill>
              <a:blip r:embed="rId7"/>
              <a:stretch>
                <a:fillRect/>
              </a:stretch>
            </p:blipFill>
            <p:spPr>
              <a:xfrm>
                <a:off x="5829111" y="2362701"/>
                <a:ext cx="3116750" cy="917711"/>
              </a:xfrm>
              <a:prstGeom prst="rect">
                <a:avLst/>
              </a:prstGeom>
              <a:ln w="6350">
                <a:solidFill>
                  <a:schemeClr val="tx1"/>
                </a:solidFill>
              </a:ln>
            </p:spPr>
          </p:pic>
          <p:sp>
            <p:nvSpPr>
              <p:cNvPr id="38" name="Oval 37"/>
              <p:cNvSpPr/>
              <p:nvPr/>
            </p:nvSpPr>
            <p:spPr bwMode="auto">
              <a:xfrm>
                <a:off x="6335004" y="2497478"/>
                <a:ext cx="365760" cy="182880"/>
              </a:xfrm>
              <a:prstGeom prst="ellipse">
                <a:avLst/>
              </a:prstGeom>
              <a:solidFill>
                <a:schemeClr val="bg1"/>
              </a:solidFill>
              <a:ln w="6350" cap="flat" cmpd="sng" algn="ctr">
                <a:solidFill>
                  <a:srgbClr val="FF3B3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900" b="1" u="none" strike="noStrike" cap="none" normalizeH="0" baseline="0" dirty="0">
                    <a:ln>
                      <a:noFill/>
                    </a:ln>
                    <a:solidFill>
                      <a:schemeClr val="bg2">
                        <a:lumMod val="50000"/>
                      </a:schemeClr>
                    </a:solidFill>
                    <a:effectLst/>
                    <a:latin typeface="Calibri" panose="020F0502020204030204" pitchFamily="34" charset="0"/>
                    <a:cs typeface="Arial" charset="0"/>
                  </a:rPr>
                  <a:t>89.8%</a:t>
                </a:r>
              </a:p>
            </p:txBody>
          </p:sp>
          <p:sp>
            <p:nvSpPr>
              <p:cNvPr id="39" name="Oval 38"/>
              <p:cNvSpPr/>
              <p:nvPr/>
            </p:nvSpPr>
            <p:spPr bwMode="auto">
              <a:xfrm>
                <a:off x="8479748" y="2419420"/>
                <a:ext cx="365760" cy="182880"/>
              </a:xfrm>
              <a:prstGeom prst="ellipse">
                <a:avLst/>
              </a:prstGeom>
              <a:solidFill>
                <a:schemeClr val="bg1"/>
              </a:solidFill>
              <a:ln w="6350" cap="flat" cmpd="sng" algn="ctr">
                <a:solidFill>
                  <a:srgbClr val="00B05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900" b="1" u="none" strike="noStrike" cap="none" normalizeH="0" baseline="0" dirty="0">
                    <a:ln>
                      <a:noFill/>
                    </a:ln>
                    <a:solidFill>
                      <a:schemeClr val="bg2">
                        <a:lumMod val="50000"/>
                      </a:schemeClr>
                    </a:solidFill>
                    <a:effectLst/>
                    <a:latin typeface="Calibri" panose="020F0502020204030204" pitchFamily="34" charset="0"/>
                    <a:cs typeface="Arial" charset="0"/>
                  </a:rPr>
                  <a:t>98.3%</a:t>
                </a:r>
              </a:p>
            </p:txBody>
          </p:sp>
        </p:grpSp>
        <p:sp>
          <p:nvSpPr>
            <p:cNvPr id="57" name="TextBox 56"/>
            <p:cNvSpPr txBox="1"/>
            <p:nvPr/>
          </p:nvSpPr>
          <p:spPr>
            <a:xfrm>
              <a:off x="5035867" y="2443601"/>
              <a:ext cx="1182027" cy="261610"/>
            </a:xfrm>
            <a:prstGeom prst="rect">
              <a:avLst/>
            </a:prstGeom>
            <a:noFill/>
          </p:spPr>
          <p:txBody>
            <a:bodyPr wrap="square" rtlCol="0">
              <a:spAutoFit/>
            </a:bodyPr>
            <a:lstStyle/>
            <a:p>
              <a:r>
                <a:rPr lang="en-US" sz="1100" b="1" dirty="0">
                  <a:solidFill>
                    <a:srgbClr val="002060"/>
                  </a:solidFill>
                  <a:latin typeface="Calibri" panose="020F0502020204030204" pitchFamily="34" charset="0"/>
                </a:rPr>
                <a:t>SLT Compliance</a:t>
              </a:r>
            </a:p>
          </p:txBody>
        </p:sp>
      </p:grpSp>
      <p:grpSp>
        <p:nvGrpSpPr>
          <p:cNvPr id="8" name="Group 7"/>
          <p:cNvGrpSpPr/>
          <p:nvPr/>
        </p:nvGrpSpPr>
        <p:grpSpPr>
          <a:xfrm>
            <a:off x="5628280" y="3557389"/>
            <a:ext cx="3185163" cy="1223150"/>
            <a:chOff x="5069323" y="3562438"/>
            <a:chExt cx="3185163" cy="1223150"/>
          </a:xfrm>
        </p:grpSpPr>
        <p:grpSp>
          <p:nvGrpSpPr>
            <p:cNvPr id="40" name="Group 39"/>
            <p:cNvGrpSpPr/>
            <p:nvPr/>
          </p:nvGrpSpPr>
          <p:grpSpPr>
            <a:xfrm>
              <a:off x="5137736" y="3785971"/>
              <a:ext cx="3116750" cy="999617"/>
              <a:chOff x="5829111" y="3332493"/>
              <a:chExt cx="3116750" cy="999617"/>
            </a:xfrm>
          </p:grpSpPr>
          <p:grpSp>
            <p:nvGrpSpPr>
              <p:cNvPr id="41" name="Group 40"/>
              <p:cNvGrpSpPr/>
              <p:nvPr/>
            </p:nvGrpSpPr>
            <p:grpSpPr>
              <a:xfrm>
                <a:off x="5829111" y="3332493"/>
                <a:ext cx="1554480" cy="999617"/>
                <a:chOff x="5829111" y="2388357"/>
                <a:chExt cx="1561912" cy="999617"/>
              </a:xfrm>
            </p:grpSpPr>
            <p:grpSp>
              <p:nvGrpSpPr>
                <p:cNvPr id="45" name="Group 44"/>
                <p:cNvGrpSpPr/>
                <p:nvPr/>
              </p:nvGrpSpPr>
              <p:grpSpPr>
                <a:xfrm>
                  <a:off x="5829111" y="2388357"/>
                  <a:ext cx="1561912" cy="999617"/>
                  <a:chOff x="5829111" y="2589077"/>
                  <a:chExt cx="1561912" cy="999617"/>
                </a:xfrm>
              </p:grpSpPr>
              <p:pic>
                <p:nvPicPr>
                  <p:cNvPr id="55" name="Picture 54"/>
                  <p:cNvPicPr>
                    <a:picLocks noChangeAspect="1"/>
                  </p:cNvPicPr>
                  <p:nvPr/>
                </p:nvPicPr>
                <p:blipFill>
                  <a:blip r:embed="rId8"/>
                  <a:stretch>
                    <a:fillRect/>
                  </a:stretch>
                </p:blipFill>
                <p:spPr>
                  <a:xfrm>
                    <a:off x="5829111" y="2589077"/>
                    <a:ext cx="1561912" cy="999617"/>
                  </a:xfrm>
                  <a:prstGeom prst="rect">
                    <a:avLst/>
                  </a:prstGeom>
                </p:spPr>
              </p:pic>
              <p:sp>
                <p:nvSpPr>
                  <p:cNvPr id="56" name="Oval 55"/>
                  <p:cNvSpPr/>
                  <p:nvPr/>
                </p:nvSpPr>
                <p:spPr bwMode="auto">
                  <a:xfrm>
                    <a:off x="6394480" y="2809713"/>
                    <a:ext cx="274320" cy="182880"/>
                  </a:xfrm>
                  <a:prstGeom prst="ellipse">
                    <a:avLst/>
                  </a:prstGeom>
                  <a:solidFill>
                    <a:schemeClr val="bg1"/>
                  </a:solidFill>
                  <a:ln w="6350" cap="flat" cmpd="sng" algn="ctr">
                    <a:solidFill>
                      <a:srgbClr val="FF3B3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900" b="1" u="none" strike="noStrike" cap="none" normalizeH="0" baseline="0" dirty="0">
                        <a:ln>
                          <a:noFill/>
                        </a:ln>
                        <a:solidFill>
                          <a:schemeClr val="bg2">
                            <a:lumMod val="50000"/>
                          </a:schemeClr>
                        </a:solidFill>
                        <a:effectLst/>
                        <a:latin typeface="Calibri" panose="020F0502020204030204" pitchFamily="34" charset="0"/>
                        <a:cs typeface="Arial" charset="0"/>
                      </a:rPr>
                      <a:t>4.02</a:t>
                    </a:r>
                  </a:p>
                </p:txBody>
              </p:sp>
            </p:grpSp>
            <p:sp>
              <p:nvSpPr>
                <p:cNvPr id="46" name="Oval 45"/>
                <p:cNvSpPr/>
                <p:nvPr/>
              </p:nvSpPr>
              <p:spPr bwMode="auto">
                <a:xfrm>
                  <a:off x="7193643" y="2947245"/>
                  <a:ext cx="182880" cy="182880"/>
                </a:xfrm>
                <a:prstGeom prst="ellipse">
                  <a:avLst/>
                </a:prstGeom>
                <a:solidFill>
                  <a:schemeClr val="bg1"/>
                </a:solidFill>
                <a:ln w="6350" cap="flat" cmpd="sng" algn="ctr">
                  <a:solidFill>
                    <a:srgbClr val="00B05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lang="en-US" sz="900" b="1" dirty="0">
                      <a:solidFill>
                        <a:schemeClr val="bg2">
                          <a:lumMod val="50000"/>
                        </a:schemeClr>
                      </a:solidFill>
                      <a:latin typeface="Calibri" panose="020F0502020204030204" pitchFamily="34" charset="0"/>
                      <a:cs typeface="Arial" charset="0"/>
                    </a:rPr>
                    <a:t>1.6</a:t>
                  </a:r>
                  <a:endParaRPr kumimoji="0" lang="en-US" sz="900" b="1" u="none" strike="noStrike" cap="none" normalizeH="0" baseline="0" dirty="0">
                    <a:ln>
                      <a:noFill/>
                    </a:ln>
                    <a:solidFill>
                      <a:schemeClr val="bg2">
                        <a:lumMod val="50000"/>
                      </a:schemeClr>
                    </a:solidFill>
                    <a:effectLst/>
                    <a:latin typeface="Calibri" panose="020F0502020204030204" pitchFamily="34" charset="0"/>
                    <a:cs typeface="Arial" charset="0"/>
                  </a:endParaRPr>
                </a:p>
              </p:txBody>
            </p:sp>
          </p:grpSp>
          <p:pic>
            <p:nvPicPr>
              <p:cNvPr id="42" name="Picture 41"/>
              <p:cNvPicPr>
                <a:picLocks noChangeAspect="1"/>
              </p:cNvPicPr>
              <p:nvPr/>
            </p:nvPicPr>
            <p:blipFill>
              <a:blip r:embed="rId9"/>
              <a:stretch>
                <a:fillRect/>
              </a:stretch>
            </p:blipFill>
            <p:spPr>
              <a:xfrm>
                <a:off x="7391381" y="3332493"/>
                <a:ext cx="1554480" cy="999101"/>
              </a:xfrm>
              <a:prstGeom prst="rect">
                <a:avLst/>
              </a:prstGeom>
            </p:spPr>
          </p:pic>
          <p:sp>
            <p:nvSpPr>
              <p:cNvPr id="43" name="Oval 42"/>
              <p:cNvSpPr/>
              <p:nvPr/>
            </p:nvSpPr>
            <p:spPr bwMode="auto">
              <a:xfrm>
                <a:off x="7935204" y="3454255"/>
                <a:ext cx="274320" cy="182880"/>
              </a:xfrm>
              <a:prstGeom prst="ellipse">
                <a:avLst/>
              </a:prstGeom>
              <a:solidFill>
                <a:schemeClr val="bg1"/>
              </a:solidFill>
              <a:ln w="6350" cap="flat" cmpd="sng" algn="ctr">
                <a:solidFill>
                  <a:srgbClr val="FF3B3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900" b="1" u="none" strike="noStrike" cap="none" normalizeH="0" baseline="0" dirty="0">
                    <a:ln>
                      <a:noFill/>
                    </a:ln>
                    <a:solidFill>
                      <a:schemeClr val="bg2">
                        <a:lumMod val="50000"/>
                      </a:schemeClr>
                    </a:solidFill>
                    <a:effectLst/>
                    <a:latin typeface="Calibri" panose="020F0502020204030204" pitchFamily="34" charset="0"/>
                    <a:cs typeface="Arial" charset="0"/>
                  </a:rPr>
                  <a:t>8.85</a:t>
                </a:r>
              </a:p>
            </p:txBody>
          </p:sp>
          <p:sp>
            <p:nvSpPr>
              <p:cNvPr id="44" name="Oval 43"/>
              <p:cNvSpPr/>
              <p:nvPr/>
            </p:nvSpPr>
            <p:spPr bwMode="auto">
              <a:xfrm>
                <a:off x="8661884" y="3642337"/>
                <a:ext cx="274320" cy="182880"/>
              </a:xfrm>
              <a:prstGeom prst="ellipse">
                <a:avLst/>
              </a:prstGeom>
              <a:solidFill>
                <a:schemeClr val="bg1"/>
              </a:solidFill>
              <a:ln w="6350" cap="flat" cmpd="sng" algn="ctr">
                <a:solidFill>
                  <a:srgbClr val="00B05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900" b="1" u="none" strike="noStrike" cap="none" normalizeH="0" baseline="0" dirty="0">
                    <a:ln>
                      <a:noFill/>
                    </a:ln>
                    <a:solidFill>
                      <a:schemeClr val="bg2">
                        <a:lumMod val="50000"/>
                      </a:schemeClr>
                    </a:solidFill>
                    <a:effectLst/>
                    <a:latin typeface="Calibri" panose="020F0502020204030204" pitchFamily="34" charset="0"/>
                    <a:cs typeface="Arial" charset="0"/>
                  </a:rPr>
                  <a:t>6.1</a:t>
                </a:r>
              </a:p>
            </p:txBody>
          </p:sp>
        </p:grpSp>
        <p:sp>
          <p:nvSpPr>
            <p:cNvPr id="58" name="TextBox 57"/>
            <p:cNvSpPr txBox="1"/>
            <p:nvPr/>
          </p:nvSpPr>
          <p:spPr>
            <a:xfrm>
              <a:off x="5069323" y="3562438"/>
              <a:ext cx="1182027" cy="261610"/>
            </a:xfrm>
            <a:prstGeom prst="rect">
              <a:avLst/>
            </a:prstGeom>
            <a:noFill/>
          </p:spPr>
          <p:txBody>
            <a:bodyPr wrap="square" rtlCol="0">
              <a:spAutoFit/>
            </a:bodyPr>
            <a:lstStyle/>
            <a:p>
              <a:r>
                <a:rPr lang="en-US" sz="1100" b="1" dirty="0">
                  <a:solidFill>
                    <a:srgbClr val="002060"/>
                  </a:solidFill>
                  <a:latin typeface="Calibri" panose="020F0502020204030204" pitchFamily="34" charset="0"/>
                </a:rPr>
                <a:t>MTTR &amp; AET</a:t>
              </a:r>
            </a:p>
          </p:txBody>
        </p:sp>
      </p:grpSp>
      <p:grpSp>
        <p:nvGrpSpPr>
          <p:cNvPr id="75" name="Group 74"/>
          <p:cNvGrpSpPr/>
          <p:nvPr/>
        </p:nvGrpSpPr>
        <p:grpSpPr>
          <a:xfrm>
            <a:off x="3206021" y="1296964"/>
            <a:ext cx="2433410" cy="3426443"/>
            <a:chOff x="3206021" y="1296964"/>
            <a:chExt cx="2433410" cy="3426443"/>
          </a:xfrm>
        </p:grpSpPr>
        <p:sp>
          <p:nvSpPr>
            <p:cNvPr id="9" name="Ribbon: Tilted Up 8"/>
            <p:cNvSpPr/>
            <p:nvPr/>
          </p:nvSpPr>
          <p:spPr bwMode="auto">
            <a:xfrm>
              <a:off x="3230083" y="1296964"/>
              <a:ext cx="2409346" cy="380470"/>
            </a:xfrm>
            <a:prstGeom prst="ribbon2">
              <a:avLst>
                <a:gd name="adj1" fmla="val 16667"/>
                <a:gd name="adj2" fmla="val 66709"/>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000" b="1" u="none" strike="noStrike" cap="none" normalizeH="0" baseline="0" dirty="0">
                  <a:ln>
                    <a:noFill/>
                  </a:ln>
                  <a:solidFill>
                    <a:schemeClr val="bg2">
                      <a:lumMod val="50000"/>
                    </a:schemeClr>
                  </a:solidFill>
                  <a:effectLst/>
                  <a:latin typeface="Calibri" panose="020F0502020204030204" pitchFamily="34" charset="0"/>
                  <a:cs typeface="Arial" charset="0"/>
                </a:rPr>
                <a:t>Annual Estimated </a:t>
              </a:r>
              <a:r>
                <a:rPr lang="en-US" sz="1000" b="1" dirty="0">
                  <a:solidFill>
                    <a:schemeClr val="bg2">
                      <a:lumMod val="50000"/>
                    </a:schemeClr>
                  </a:solidFill>
                  <a:latin typeface="Calibri" panose="020F0502020204030204" pitchFamily="34" charset="0"/>
                  <a:cs typeface="Arial" charset="0"/>
                </a:rPr>
                <a:t>S</a:t>
              </a:r>
              <a:r>
                <a:rPr kumimoji="0" lang="en-US" sz="1000" b="1" u="none" strike="noStrike" cap="none" normalizeH="0" baseline="0" dirty="0">
                  <a:ln>
                    <a:noFill/>
                  </a:ln>
                  <a:solidFill>
                    <a:schemeClr val="bg2">
                      <a:lumMod val="50000"/>
                    </a:schemeClr>
                  </a:solidFill>
                  <a:effectLst/>
                  <a:latin typeface="Calibri" panose="020F0502020204030204" pitchFamily="34" charset="0"/>
                  <a:cs typeface="Arial" charset="0"/>
                </a:rPr>
                <a:t>avings</a:t>
              </a:r>
            </a:p>
            <a:p>
              <a:pPr marL="0" marR="0" indent="0" algn="ctr" defTabSz="914400" rtl="0" eaLnBrk="0" fontAlgn="base" latinLnBrk="0" hangingPunct="0">
                <a:lnSpc>
                  <a:spcPct val="85000"/>
                </a:lnSpc>
                <a:spcBef>
                  <a:spcPct val="0"/>
                </a:spcBef>
                <a:spcAft>
                  <a:spcPct val="0"/>
                </a:spcAft>
                <a:buClrTx/>
                <a:buSzTx/>
                <a:buFontTx/>
                <a:buNone/>
                <a:tabLst/>
              </a:pPr>
              <a:r>
                <a:rPr kumimoji="0" lang="en-US" sz="1400" b="1" u="none" strike="noStrike" cap="none" normalizeH="0" baseline="0" dirty="0">
                  <a:ln>
                    <a:noFill/>
                  </a:ln>
                  <a:solidFill>
                    <a:schemeClr val="bg2">
                      <a:lumMod val="50000"/>
                    </a:schemeClr>
                  </a:solidFill>
                  <a:effectLst/>
                  <a:latin typeface="Calibri" panose="020F0502020204030204" pitchFamily="34" charset="0"/>
                  <a:cs typeface="Arial" charset="0"/>
                </a:rPr>
                <a:t>15393 </a:t>
              </a:r>
              <a:r>
                <a:rPr kumimoji="0" lang="en-US" sz="1400" b="1" u="none" strike="noStrike" cap="none" normalizeH="0" baseline="0" dirty="0" err="1">
                  <a:ln>
                    <a:noFill/>
                  </a:ln>
                  <a:solidFill>
                    <a:schemeClr val="bg2">
                      <a:lumMod val="50000"/>
                    </a:schemeClr>
                  </a:solidFill>
                  <a:effectLst/>
                  <a:latin typeface="Calibri" panose="020F0502020204030204" pitchFamily="34" charset="0"/>
                  <a:cs typeface="Arial" charset="0"/>
                </a:rPr>
                <a:t>hrs</a:t>
              </a:r>
              <a:endParaRPr kumimoji="0" lang="en-US" sz="1000" b="1" u="none" strike="noStrike" cap="none" normalizeH="0" baseline="0" dirty="0">
                <a:ln>
                  <a:noFill/>
                </a:ln>
                <a:solidFill>
                  <a:schemeClr val="bg2">
                    <a:lumMod val="50000"/>
                  </a:schemeClr>
                </a:solidFill>
                <a:effectLst/>
                <a:latin typeface="Calibri" panose="020F0502020204030204" pitchFamily="34" charset="0"/>
                <a:cs typeface="Arial" charset="0"/>
              </a:endParaRPr>
            </a:p>
          </p:txBody>
        </p:sp>
        <p:sp>
          <p:nvSpPr>
            <p:cNvPr id="59" name="Ribbon: Tilted Up 58"/>
            <p:cNvSpPr/>
            <p:nvPr/>
          </p:nvSpPr>
          <p:spPr bwMode="auto">
            <a:xfrm>
              <a:off x="3206021" y="1786246"/>
              <a:ext cx="2409346" cy="380470"/>
            </a:xfrm>
            <a:prstGeom prst="ribbon2">
              <a:avLst>
                <a:gd name="adj1" fmla="val 16667"/>
                <a:gd name="adj2" fmla="val 66709"/>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000" b="1" u="none" strike="noStrike" cap="none" normalizeH="0" baseline="0" dirty="0">
                  <a:ln>
                    <a:noFill/>
                  </a:ln>
                  <a:solidFill>
                    <a:schemeClr val="bg2">
                      <a:lumMod val="50000"/>
                    </a:schemeClr>
                  </a:solidFill>
                  <a:effectLst/>
                  <a:latin typeface="Calibri" panose="020F0502020204030204" pitchFamily="34" charset="0"/>
                  <a:cs typeface="Arial" charset="0"/>
                </a:rPr>
                <a:t>Achieved </a:t>
              </a:r>
              <a:r>
                <a:rPr lang="en-US" sz="1000" b="1" dirty="0">
                  <a:solidFill>
                    <a:schemeClr val="bg2">
                      <a:lumMod val="50000"/>
                    </a:schemeClr>
                  </a:solidFill>
                  <a:latin typeface="Calibri" panose="020F0502020204030204" pitchFamily="34" charset="0"/>
                  <a:cs typeface="Arial" charset="0"/>
                </a:rPr>
                <a:t>S</a:t>
              </a:r>
              <a:r>
                <a:rPr kumimoji="0" lang="en-US" sz="1000" b="1" u="none" strike="noStrike" cap="none" normalizeH="0" baseline="0" dirty="0">
                  <a:ln>
                    <a:noFill/>
                  </a:ln>
                  <a:solidFill>
                    <a:schemeClr val="bg2">
                      <a:lumMod val="50000"/>
                    </a:schemeClr>
                  </a:solidFill>
                  <a:effectLst/>
                  <a:latin typeface="Calibri" panose="020F0502020204030204" pitchFamily="34" charset="0"/>
                  <a:cs typeface="Arial" charset="0"/>
                </a:rPr>
                <a:t>avings YTD</a:t>
              </a:r>
            </a:p>
            <a:p>
              <a:pPr marL="0" marR="0" indent="0" algn="ctr" defTabSz="914400" rtl="0" eaLnBrk="0" fontAlgn="base" latinLnBrk="0" hangingPunct="0">
                <a:lnSpc>
                  <a:spcPct val="85000"/>
                </a:lnSpc>
                <a:spcBef>
                  <a:spcPct val="0"/>
                </a:spcBef>
                <a:spcAft>
                  <a:spcPct val="0"/>
                </a:spcAft>
                <a:buClrTx/>
                <a:buSzTx/>
                <a:buFontTx/>
                <a:buNone/>
                <a:tabLst/>
              </a:pPr>
              <a:r>
                <a:rPr kumimoji="0" lang="en-US" sz="1400" b="1" u="none" strike="noStrike" cap="none" normalizeH="0" baseline="0" dirty="0">
                  <a:ln>
                    <a:noFill/>
                  </a:ln>
                  <a:solidFill>
                    <a:schemeClr val="bg2">
                      <a:lumMod val="50000"/>
                    </a:schemeClr>
                  </a:solidFill>
                  <a:effectLst/>
                  <a:latin typeface="Calibri" panose="020F0502020204030204" pitchFamily="34" charset="0"/>
                  <a:cs typeface="Arial" charset="0"/>
                </a:rPr>
                <a:t>9222 </a:t>
              </a:r>
              <a:r>
                <a:rPr kumimoji="0" lang="en-US" sz="1400" b="1" u="none" strike="noStrike" cap="none" normalizeH="0" baseline="0" dirty="0" err="1">
                  <a:ln>
                    <a:noFill/>
                  </a:ln>
                  <a:solidFill>
                    <a:schemeClr val="bg2">
                      <a:lumMod val="50000"/>
                    </a:schemeClr>
                  </a:solidFill>
                  <a:effectLst/>
                  <a:latin typeface="Calibri" panose="020F0502020204030204" pitchFamily="34" charset="0"/>
                  <a:cs typeface="Arial" charset="0"/>
                </a:rPr>
                <a:t>hrs</a:t>
              </a:r>
              <a:endParaRPr kumimoji="0" lang="en-US" sz="1000" b="1" u="none" strike="noStrike" cap="none" normalizeH="0" baseline="0" dirty="0">
                <a:ln>
                  <a:noFill/>
                </a:ln>
                <a:solidFill>
                  <a:schemeClr val="bg2">
                    <a:lumMod val="50000"/>
                  </a:schemeClr>
                </a:solidFill>
                <a:effectLst/>
                <a:latin typeface="Calibri" panose="020F0502020204030204" pitchFamily="34" charset="0"/>
                <a:cs typeface="Arial" charset="0"/>
              </a:endParaRPr>
            </a:p>
          </p:txBody>
        </p:sp>
        <p:sp>
          <p:nvSpPr>
            <p:cNvPr id="60" name="Ribbon: Tilted Up 59"/>
            <p:cNvSpPr/>
            <p:nvPr/>
          </p:nvSpPr>
          <p:spPr bwMode="auto">
            <a:xfrm>
              <a:off x="3230084" y="2275527"/>
              <a:ext cx="2409346" cy="380470"/>
            </a:xfrm>
            <a:prstGeom prst="ribbon2">
              <a:avLst>
                <a:gd name="adj1" fmla="val 16667"/>
                <a:gd name="adj2" fmla="val 66709"/>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000" b="1" u="none" strike="noStrike" cap="none" normalizeH="0" baseline="0" dirty="0">
                  <a:ln>
                    <a:noFill/>
                  </a:ln>
                  <a:solidFill>
                    <a:schemeClr val="bg2">
                      <a:lumMod val="50000"/>
                    </a:schemeClr>
                  </a:solidFill>
                  <a:effectLst/>
                  <a:latin typeface="Calibri" panose="020F0502020204030204" pitchFamily="34" charset="0"/>
                  <a:cs typeface="Arial" charset="0"/>
                </a:rPr>
                <a:t>Estimated Ticket Reduction</a:t>
              </a:r>
            </a:p>
            <a:p>
              <a:pPr marL="0" marR="0" indent="0" algn="ctr" defTabSz="914400" rtl="0" eaLnBrk="0" fontAlgn="base" latinLnBrk="0" hangingPunct="0">
                <a:lnSpc>
                  <a:spcPct val="85000"/>
                </a:lnSpc>
                <a:spcBef>
                  <a:spcPct val="0"/>
                </a:spcBef>
                <a:spcAft>
                  <a:spcPct val="0"/>
                </a:spcAft>
                <a:buClrTx/>
                <a:buSzTx/>
                <a:buFontTx/>
                <a:buNone/>
                <a:tabLst/>
              </a:pPr>
              <a:r>
                <a:rPr lang="en-US" sz="1400" b="1" dirty="0">
                  <a:solidFill>
                    <a:schemeClr val="bg2">
                      <a:lumMod val="50000"/>
                    </a:schemeClr>
                  </a:solidFill>
                  <a:latin typeface="Calibri" panose="020F0502020204030204" pitchFamily="34" charset="0"/>
                  <a:cs typeface="Arial" charset="0"/>
                </a:rPr>
                <a:t>116/month</a:t>
              </a:r>
              <a:endParaRPr kumimoji="0" lang="en-US" sz="1000" b="1" u="none" strike="noStrike" cap="none" normalizeH="0" baseline="0" dirty="0">
                <a:ln>
                  <a:noFill/>
                </a:ln>
                <a:solidFill>
                  <a:schemeClr val="bg2">
                    <a:lumMod val="50000"/>
                  </a:schemeClr>
                </a:solidFill>
                <a:effectLst/>
                <a:latin typeface="Calibri" panose="020F0502020204030204" pitchFamily="34" charset="0"/>
                <a:cs typeface="Arial" charset="0"/>
              </a:endParaRPr>
            </a:p>
          </p:txBody>
        </p:sp>
        <p:sp>
          <p:nvSpPr>
            <p:cNvPr id="61" name="Ribbon: Tilted Up 60"/>
            <p:cNvSpPr/>
            <p:nvPr/>
          </p:nvSpPr>
          <p:spPr bwMode="auto">
            <a:xfrm>
              <a:off x="3230085" y="2764809"/>
              <a:ext cx="2409346" cy="380470"/>
            </a:xfrm>
            <a:prstGeom prst="ribbon2">
              <a:avLst>
                <a:gd name="adj1" fmla="val 16667"/>
                <a:gd name="adj2" fmla="val 66709"/>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000" b="1" u="none" strike="noStrike" cap="none" normalizeH="0" baseline="0" dirty="0">
                  <a:ln>
                    <a:noFill/>
                  </a:ln>
                  <a:solidFill>
                    <a:schemeClr val="bg2">
                      <a:lumMod val="50000"/>
                    </a:schemeClr>
                  </a:solidFill>
                  <a:effectLst/>
                  <a:latin typeface="Calibri" panose="020F0502020204030204" pitchFamily="34" charset="0"/>
                  <a:cs typeface="Arial" charset="0"/>
                </a:rPr>
                <a:t>Achieved Ticket Reduction</a:t>
              </a:r>
            </a:p>
            <a:p>
              <a:pPr marL="0" marR="0" indent="0" algn="ctr" defTabSz="914400" rtl="0" eaLnBrk="0" fontAlgn="base" latinLnBrk="0" hangingPunct="0">
                <a:lnSpc>
                  <a:spcPct val="85000"/>
                </a:lnSpc>
                <a:spcBef>
                  <a:spcPct val="0"/>
                </a:spcBef>
                <a:spcAft>
                  <a:spcPct val="0"/>
                </a:spcAft>
                <a:buClrTx/>
                <a:buSzTx/>
                <a:buFontTx/>
                <a:buNone/>
                <a:tabLst/>
              </a:pPr>
              <a:r>
                <a:rPr lang="en-US" sz="1400" b="1" dirty="0">
                  <a:solidFill>
                    <a:schemeClr val="bg2">
                      <a:lumMod val="50000"/>
                    </a:schemeClr>
                  </a:solidFill>
                  <a:latin typeface="Calibri" panose="020F0502020204030204" pitchFamily="34" charset="0"/>
                  <a:cs typeface="Arial" charset="0"/>
                </a:rPr>
                <a:t>80/month</a:t>
              </a:r>
              <a:endParaRPr kumimoji="0" lang="en-US" sz="1000" b="1" u="none" strike="noStrike" cap="none" normalizeH="0" baseline="0" dirty="0">
                <a:ln>
                  <a:noFill/>
                </a:ln>
                <a:solidFill>
                  <a:schemeClr val="bg2">
                    <a:lumMod val="50000"/>
                  </a:schemeClr>
                </a:solidFill>
                <a:effectLst/>
                <a:latin typeface="Calibri" panose="020F0502020204030204" pitchFamily="34" charset="0"/>
                <a:cs typeface="Arial" charset="0"/>
              </a:endParaRPr>
            </a:p>
          </p:txBody>
        </p:sp>
        <p:grpSp>
          <p:nvGrpSpPr>
            <p:cNvPr id="63" name="Group 62"/>
            <p:cNvGrpSpPr/>
            <p:nvPr/>
          </p:nvGrpSpPr>
          <p:grpSpPr>
            <a:xfrm>
              <a:off x="3282841" y="3249507"/>
              <a:ext cx="1095053" cy="727944"/>
              <a:chOff x="3282841" y="3249507"/>
              <a:chExt cx="1095053" cy="727944"/>
            </a:xfrm>
          </p:grpSpPr>
          <p:sp>
            <p:nvSpPr>
              <p:cNvPr id="10" name="Star: 10 Points 9"/>
              <p:cNvSpPr/>
              <p:nvPr/>
            </p:nvSpPr>
            <p:spPr bwMode="auto">
              <a:xfrm>
                <a:off x="3282841" y="3261194"/>
                <a:ext cx="713874" cy="716257"/>
              </a:xfrm>
              <a:prstGeom prst="star10">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000" b="1" u="none" strike="noStrike" cap="none" normalizeH="0" baseline="0" dirty="0">
                    <a:ln>
                      <a:noFill/>
                    </a:ln>
                    <a:solidFill>
                      <a:schemeClr val="bg2">
                        <a:lumMod val="50000"/>
                      </a:schemeClr>
                    </a:solidFill>
                    <a:effectLst/>
                    <a:latin typeface="Calibri" panose="020F0502020204030204" pitchFamily="34" charset="0"/>
                    <a:cs typeface="Arial" charset="0"/>
                  </a:rPr>
                  <a:t>SLA </a:t>
                </a:r>
              </a:p>
              <a:p>
                <a:pPr marL="0" marR="0" indent="0" algn="ctr" defTabSz="914400" rtl="0" eaLnBrk="0" fontAlgn="base" latinLnBrk="0" hangingPunct="0">
                  <a:lnSpc>
                    <a:spcPct val="85000"/>
                  </a:lnSpc>
                  <a:spcBef>
                    <a:spcPct val="0"/>
                  </a:spcBef>
                  <a:spcAft>
                    <a:spcPct val="0"/>
                  </a:spcAft>
                  <a:buClrTx/>
                  <a:buSzTx/>
                  <a:buFontTx/>
                  <a:buNone/>
                  <a:tabLst/>
                </a:pPr>
                <a:r>
                  <a:rPr kumimoji="0" lang="en-US" sz="1000" b="1" u="none" strike="noStrike" cap="none" normalizeH="0" baseline="0" dirty="0">
                    <a:ln>
                      <a:noFill/>
                    </a:ln>
                    <a:solidFill>
                      <a:schemeClr val="bg2">
                        <a:lumMod val="50000"/>
                      </a:schemeClr>
                    </a:solidFill>
                    <a:effectLst/>
                    <a:latin typeface="Calibri" panose="020F0502020204030204" pitchFamily="34" charset="0"/>
                    <a:cs typeface="Arial" charset="0"/>
                  </a:rPr>
                  <a:t>Compliance</a:t>
                </a:r>
              </a:p>
              <a:p>
                <a:pPr marL="0" marR="0" indent="0" algn="ctr" defTabSz="914400" rtl="0" eaLnBrk="0" fontAlgn="base" latinLnBrk="0" hangingPunct="0">
                  <a:lnSpc>
                    <a:spcPct val="85000"/>
                  </a:lnSpc>
                  <a:spcBef>
                    <a:spcPct val="0"/>
                  </a:spcBef>
                  <a:spcAft>
                    <a:spcPct val="0"/>
                  </a:spcAft>
                  <a:buClrTx/>
                  <a:buSzTx/>
                  <a:buFontTx/>
                  <a:buNone/>
                  <a:tabLst/>
                </a:pPr>
                <a:r>
                  <a:rPr lang="en-US" sz="1400" b="1" dirty="0">
                    <a:solidFill>
                      <a:schemeClr val="bg2">
                        <a:lumMod val="50000"/>
                      </a:schemeClr>
                    </a:solidFill>
                    <a:latin typeface="Calibri" panose="020F0502020204030204" pitchFamily="34" charset="0"/>
                    <a:cs typeface="Arial" charset="0"/>
                  </a:rPr>
                  <a:t>98.4%</a:t>
                </a:r>
                <a:endParaRPr kumimoji="0" lang="en-US" sz="1400" b="1" u="none" strike="noStrike" cap="none" normalizeH="0" baseline="0" dirty="0">
                  <a:ln>
                    <a:noFill/>
                  </a:ln>
                  <a:solidFill>
                    <a:schemeClr val="bg2">
                      <a:lumMod val="50000"/>
                    </a:schemeClr>
                  </a:solidFill>
                  <a:effectLst/>
                  <a:latin typeface="Calibri" panose="020F0502020204030204" pitchFamily="34" charset="0"/>
                  <a:cs typeface="Arial" charset="0"/>
                </a:endParaRPr>
              </a:p>
            </p:txBody>
          </p:sp>
          <p:sp>
            <p:nvSpPr>
              <p:cNvPr id="62" name="Wave 61"/>
              <p:cNvSpPr/>
              <p:nvPr/>
            </p:nvSpPr>
            <p:spPr bwMode="auto">
              <a:xfrm>
                <a:off x="3737814" y="3249507"/>
                <a:ext cx="640080" cy="274320"/>
              </a:xfrm>
              <a:prstGeom prst="wave">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900" b="1" u="none" strike="noStrike" cap="none" normalizeH="0" baseline="0" dirty="0">
                    <a:ln>
                      <a:noFill/>
                    </a:ln>
                    <a:solidFill>
                      <a:schemeClr val="bg2">
                        <a:lumMod val="50000"/>
                      </a:schemeClr>
                    </a:solidFill>
                    <a:effectLst/>
                    <a:latin typeface="Calibri" panose="020F0502020204030204" pitchFamily="34" charset="0"/>
                    <a:cs typeface="Arial" charset="0"/>
                  </a:rPr>
                  <a:t>Target 100%</a:t>
                </a:r>
              </a:p>
            </p:txBody>
          </p:sp>
        </p:grpSp>
        <p:grpSp>
          <p:nvGrpSpPr>
            <p:cNvPr id="64" name="Group 63"/>
            <p:cNvGrpSpPr/>
            <p:nvPr/>
          </p:nvGrpSpPr>
          <p:grpSpPr>
            <a:xfrm>
              <a:off x="3282842" y="3995461"/>
              <a:ext cx="1095053" cy="727944"/>
              <a:chOff x="3282841" y="3249507"/>
              <a:chExt cx="1095053" cy="727944"/>
            </a:xfrm>
          </p:grpSpPr>
          <p:sp>
            <p:nvSpPr>
              <p:cNvPr id="65" name="Star: 10 Points 64"/>
              <p:cNvSpPr/>
              <p:nvPr/>
            </p:nvSpPr>
            <p:spPr bwMode="auto">
              <a:xfrm>
                <a:off x="3282841" y="3261194"/>
                <a:ext cx="713874" cy="716257"/>
              </a:xfrm>
              <a:prstGeom prst="star10">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000" b="1" u="none" strike="noStrike" cap="none" normalizeH="0" baseline="0" dirty="0">
                    <a:ln>
                      <a:noFill/>
                    </a:ln>
                    <a:solidFill>
                      <a:schemeClr val="bg2">
                        <a:lumMod val="50000"/>
                      </a:schemeClr>
                    </a:solidFill>
                    <a:effectLst/>
                    <a:latin typeface="Calibri" panose="020F0502020204030204" pitchFamily="34" charset="0"/>
                    <a:cs typeface="Arial" charset="0"/>
                  </a:rPr>
                  <a:t>SLT </a:t>
                </a:r>
              </a:p>
              <a:p>
                <a:pPr marL="0" marR="0" indent="0" algn="ctr" defTabSz="914400" rtl="0" eaLnBrk="0" fontAlgn="base" latinLnBrk="0" hangingPunct="0">
                  <a:lnSpc>
                    <a:spcPct val="85000"/>
                  </a:lnSpc>
                  <a:spcBef>
                    <a:spcPct val="0"/>
                  </a:spcBef>
                  <a:spcAft>
                    <a:spcPct val="0"/>
                  </a:spcAft>
                  <a:buClrTx/>
                  <a:buSzTx/>
                  <a:buFontTx/>
                  <a:buNone/>
                  <a:tabLst/>
                </a:pPr>
                <a:r>
                  <a:rPr kumimoji="0" lang="en-US" sz="1000" b="1" u="none" strike="noStrike" cap="none" normalizeH="0" baseline="0" dirty="0">
                    <a:ln>
                      <a:noFill/>
                    </a:ln>
                    <a:solidFill>
                      <a:schemeClr val="bg2">
                        <a:lumMod val="50000"/>
                      </a:schemeClr>
                    </a:solidFill>
                    <a:effectLst/>
                    <a:latin typeface="Calibri" panose="020F0502020204030204" pitchFamily="34" charset="0"/>
                    <a:cs typeface="Arial" charset="0"/>
                  </a:rPr>
                  <a:t>Compliance</a:t>
                </a:r>
              </a:p>
              <a:p>
                <a:pPr marL="0" marR="0" indent="0" algn="ctr" defTabSz="914400" rtl="0" eaLnBrk="0" fontAlgn="base" latinLnBrk="0" hangingPunct="0">
                  <a:lnSpc>
                    <a:spcPct val="85000"/>
                  </a:lnSpc>
                  <a:spcBef>
                    <a:spcPct val="0"/>
                  </a:spcBef>
                  <a:spcAft>
                    <a:spcPct val="0"/>
                  </a:spcAft>
                  <a:buClrTx/>
                  <a:buSzTx/>
                  <a:buFontTx/>
                  <a:buNone/>
                  <a:tabLst/>
                </a:pPr>
                <a:r>
                  <a:rPr lang="en-US" sz="1400" b="1" dirty="0">
                    <a:solidFill>
                      <a:schemeClr val="bg2">
                        <a:lumMod val="50000"/>
                      </a:schemeClr>
                    </a:solidFill>
                    <a:latin typeface="Calibri" panose="020F0502020204030204" pitchFamily="34" charset="0"/>
                    <a:cs typeface="Arial" charset="0"/>
                  </a:rPr>
                  <a:t>98.3%</a:t>
                </a:r>
                <a:endParaRPr kumimoji="0" lang="en-US" sz="1400" b="1" u="none" strike="noStrike" cap="none" normalizeH="0" baseline="0" dirty="0">
                  <a:ln>
                    <a:noFill/>
                  </a:ln>
                  <a:solidFill>
                    <a:schemeClr val="bg2">
                      <a:lumMod val="50000"/>
                    </a:schemeClr>
                  </a:solidFill>
                  <a:effectLst/>
                  <a:latin typeface="Calibri" panose="020F0502020204030204" pitchFamily="34" charset="0"/>
                  <a:cs typeface="Arial" charset="0"/>
                </a:endParaRPr>
              </a:p>
            </p:txBody>
          </p:sp>
          <p:sp>
            <p:nvSpPr>
              <p:cNvPr id="66" name="Wave 65"/>
              <p:cNvSpPr/>
              <p:nvPr/>
            </p:nvSpPr>
            <p:spPr bwMode="auto">
              <a:xfrm>
                <a:off x="3737814" y="3249507"/>
                <a:ext cx="640080" cy="274320"/>
              </a:xfrm>
              <a:prstGeom prst="wave">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900" b="1" u="none" strike="noStrike" cap="none" normalizeH="0" baseline="0" dirty="0">
                    <a:ln>
                      <a:noFill/>
                    </a:ln>
                    <a:solidFill>
                      <a:schemeClr val="bg2">
                        <a:lumMod val="50000"/>
                      </a:schemeClr>
                    </a:solidFill>
                    <a:effectLst/>
                    <a:latin typeface="Calibri" panose="020F0502020204030204" pitchFamily="34" charset="0"/>
                    <a:cs typeface="Arial" charset="0"/>
                  </a:rPr>
                  <a:t>Target 100%</a:t>
                </a:r>
              </a:p>
            </p:txBody>
          </p:sp>
        </p:grpSp>
        <p:grpSp>
          <p:nvGrpSpPr>
            <p:cNvPr id="69" name="Group 68"/>
            <p:cNvGrpSpPr/>
            <p:nvPr/>
          </p:nvGrpSpPr>
          <p:grpSpPr>
            <a:xfrm>
              <a:off x="4534120" y="3249509"/>
              <a:ext cx="1095053" cy="727944"/>
              <a:chOff x="3282841" y="3249507"/>
              <a:chExt cx="1095053" cy="727944"/>
            </a:xfrm>
          </p:grpSpPr>
          <p:sp>
            <p:nvSpPr>
              <p:cNvPr id="70" name="Star: 10 Points 69"/>
              <p:cNvSpPr/>
              <p:nvPr/>
            </p:nvSpPr>
            <p:spPr bwMode="auto">
              <a:xfrm>
                <a:off x="3282841" y="3261194"/>
                <a:ext cx="713874" cy="716257"/>
              </a:xfrm>
              <a:prstGeom prst="star10">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100" b="1" u="none" strike="noStrike" cap="none" normalizeH="0" baseline="0" dirty="0">
                  <a:ln>
                    <a:noFill/>
                  </a:ln>
                  <a:solidFill>
                    <a:schemeClr val="bg2">
                      <a:lumMod val="50000"/>
                    </a:schemeClr>
                  </a:solidFill>
                  <a:effectLst/>
                  <a:latin typeface="Calibri" panose="020F0502020204030204" pitchFamily="34" charset="0"/>
                  <a:cs typeface="Arial" charset="0"/>
                </a:endParaRPr>
              </a:p>
              <a:p>
                <a:pPr marL="0" marR="0" indent="0" algn="ctr" defTabSz="914400" rtl="0" eaLnBrk="0" fontAlgn="base" latinLnBrk="0" hangingPunct="0">
                  <a:lnSpc>
                    <a:spcPct val="85000"/>
                  </a:lnSpc>
                  <a:spcBef>
                    <a:spcPct val="0"/>
                  </a:spcBef>
                  <a:spcAft>
                    <a:spcPct val="0"/>
                  </a:spcAft>
                  <a:buClrTx/>
                  <a:buSzTx/>
                  <a:buFontTx/>
                  <a:buNone/>
                  <a:tabLst/>
                </a:pPr>
                <a:r>
                  <a:rPr kumimoji="0" lang="en-US" sz="1000" b="1" u="none" strike="noStrike" cap="none" normalizeH="0" baseline="0" dirty="0">
                    <a:ln>
                      <a:noFill/>
                    </a:ln>
                    <a:solidFill>
                      <a:schemeClr val="bg2">
                        <a:lumMod val="50000"/>
                      </a:schemeClr>
                    </a:solidFill>
                    <a:effectLst/>
                    <a:latin typeface="Calibri" panose="020F0502020204030204" pitchFamily="34" charset="0"/>
                    <a:cs typeface="Arial" charset="0"/>
                  </a:rPr>
                  <a:t>MTTR</a:t>
                </a:r>
                <a:endParaRPr kumimoji="0" lang="en-US" sz="1100" b="1" u="none" strike="noStrike" cap="none" normalizeH="0" baseline="0" dirty="0">
                  <a:ln>
                    <a:noFill/>
                  </a:ln>
                  <a:solidFill>
                    <a:schemeClr val="bg2">
                      <a:lumMod val="50000"/>
                    </a:schemeClr>
                  </a:solidFill>
                  <a:effectLst/>
                  <a:latin typeface="Calibri" panose="020F0502020204030204" pitchFamily="34" charset="0"/>
                  <a:cs typeface="Arial" charset="0"/>
                </a:endParaRPr>
              </a:p>
              <a:p>
                <a:pPr marL="0" marR="0" indent="0" algn="ctr" defTabSz="914400" rtl="0" eaLnBrk="0" fontAlgn="base" latinLnBrk="0" hangingPunct="0">
                  <a:lnSpc>
                    <a:spcPct val="85000"/>
                  </a:lnSpc>
                  <a:spcBef>
                    <a:spcPct val="0"/>
                  </a:spcBef>
                  <a:spcAft>
                    <a:spcPct val="0"/>
                  </a:spcAft>
                  <a:buClrTx/>
                  <a:buSzTx/>
                  <a:buFontTx/>
                  <a:buNone/>
                  <a:tabLst/>
                </a:pPr>
                <a:r>
                  <a:rPr lang="en-US" sz="1400" b="1" dirty="0">
                    <a:solidFill>
                      <a:schemeClr val="bg2">
                        <a:lumMod val="50000"/>
                      </a:schemeClr>
                    </a:solidFill>
                    <a:latin typeface="Calibri" panose="020F0502020204030204" pitchFamily="34" charset="0"/>
                    <a:cs typeface="Arial" charset="0"/>
                  </a:rPr>
                  <a:t>1.6</a:t>
                </a:r>
                <a:endParaRPr kumimoji="0" lang="en-US" sz="1400" b="1" u="none" strike="noStrike" cap="none" normalizeH="0" baseline="0" dirty="0">
                  <a:ln>
                    <a:noFill/>
                  </a:ln>
                  <a:solidFill>
                    <a:schemeClr val="bg2">
                      <a:lumMod val="50000"/>
                    </a:schemeClr>
                  </a:solidFill>
                  <a:effectLst/>
                  <a:latin typeface="Calibri" panose="020F0502020204030204" pitchFamily="34" charset="0"/>
                  <a:cs typeface="Arial" charset="0"/>
                </a:endParaRPr>
              </a:p>
            </p:txBody>
          </p:sp>
          <p:sp>
            <p:nvSpPr>
              <p:cNvPr id="71" name="Wave 70"/>
              <p:cNvSpPr/>
              <p:nvPr/>
            </p:nvSpPr>
            <p:spPr bwMode="auto">
              <a:xfrm>
                <a:off x="3737814" y="3249507"/>
                <a:ext cx="640080" cy="274320"/>
              </a:xfrm>
              <a:prstGeom prst="wave">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900" b="1" u="none" strike="noStrike" cap="none" normalizeH="0" baseline="0" dirty="0">
                    <a:ln>
                      <a:noFill/>
                    </a:ln>
                    <a:solidFill>
                      <a:schemeClr val="bg2">
                        <a:lumMod val="50000"/>
                      </a:schemeClr>
                    </a:solidFill>
                    <a:effectLst/>
                    <a:latin typeface="Calibri" panose="020F0502020204030204" pitchFamily="34" charset="0"/>
                    <a:cs typeface="Arial" charset="0"/>
                  </a:rPr>
                  <a:t>Target &lt;</a:t>
                </a:r>
                <a:r>
                  <a:rPr kumimoji="0" lang="en-US" sz="900" b="1" u="none" strike="noStrike" cap="none" normalizeH="0" dirty="0">
                    <a:ln>
                      <a:noFill/>
                    </a:ln>
                    <a:solidFill>
                      <a:schemeClr val="bg2">
                        <a:lumMod val="50000"/>
                      </a:schemeClr>
                    </a:solidFill>
                    <a:effectLst/>
                    <a:latin typeface="Calibri" panose="020F0502020204030204" pitchFamily="34" charset="0"/>
                    <a:cs typeface="Arial" charset="0"/>
                  </a:rPr>
                  <a:t> 2</a:t>
                </a:r>
                <a:endParaRPr kumimoji="0" lang="en-US" sz="900" b="1" u="none" strike="noStrike" cap="none" normalizeH="0" baseline="0" dirty="0">
                  <a:ln>
                    <a:noFill/>
                  </a:ln>
                  <a:solidFill>
                    <a:schemeClr val="bg2">
                      <a:lumMod val="50000"/>
                    </a:schemeClr>
                  </a:solidFill>
                  <a:effectLst/>
                  <a:latin typeface="Calibri" panose="020F0502020204030204" pitchFamily="34" charset="0"/>
                  <a:cs typeface="Arial" charset="0"/>
                </a:endParaRPr>
              </a:p>
            </p:txBody>
          </p:sp>
        </p:grpSp>
        <p:grpSp>
          <p:nvGrpSpPr>
            <p:cNvPr id="72" name="Group 71"/>
            <p:cNvGrpSpPr/>
            <p:nvPr/>
          </p:nvGrpSpPr>
          <p:grpSpPr>
            <a:xfrm>
              <a:off x="4534121" y="3995463"/>
              <a:ext cx="1095053" cy="727944"/>
              <a:chOff x="3282841" y="3249507"/>
              <a:chExt cx="1095053" cy="727944"/>
            </a:xfrm>
          </p:grpSpPr>
          <p:sp>
            <p:nvSpPr>
              <p:cNvPr id="73" name="Star: 10 Points 72"/>
              <p:cNvSpPr/>
              <p:nvPr/>
            </p:nvSpPr>
            <p:spPr bwMode="auto">
              <a:xfrm>
                <a:off x="3282841" y="3261194"/>
                <a:ext cx="713874" cy="716257"/>
              </a:xfrm>
              <a:prstGeom prst="star10">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100" b="1" u="none" strike="noStrike" cap="none" normalizeH="0" baseline="0" dirty="0">
                  <a:ln>
                    <a:noFill/>
                  </a:ln>
                  <a:solidFill>
                    <a:schemeClr val="bg2">
                      <a:lumMod val="50000"/>
                    </a:schemeClr>
                  </a:solidFill>
                  <a:effectLst/>
                  <a:latin typeface="Calibri" panose="020F0502020204030204" pitchFamily="34" charset="0"/>
                  <a:cs typeface="Arial" charset="0"/>
                </a:endParaRPr>
              </a:p>
              <a:p>
                <a:pPr marL="0" marR="0" indent="0" algn="ctr" defTabSz="914400" rtl="0" eaLnBrk="0" fontAlgn="base" latinLnBrk="0" hangingPunct="0">
                  <a:lnSpc>
                    <a:spcPct val="85000"/>
                  </a:lnSpc>
                  <a:spcBef>
                    <a:spcPct val="0"/>
                  </a:spcBef>
                  <a:spcAft>
                    <a:spcPct val="0"/>
                  </a:spcAft>
                  <a:buClrTx/>
                  <a:buSzTx/>
                  <a:buFontTx/>
                  <a:buNone/>
                  <a:tabLst/>
                </a:pPr>
                <a:r>
                  <a:rPr lang="en-US" sz="1000" b="1" dirty="0">
                    <a:solidFill>
                      <a:schemeClr val="bg2">
                        <a:lumMod val="50000"/>
                      </a:schemeClr>
                    </a:solidFill>
                    <a:latin typeface="Calibri" panose="020F0502020204030204" pitchFamily="34" charset="0"/>
                    <a:cs typeface="Arial" charset="0"/>
                  </a:rPr>
                  <a:t>Effort/Ticket</a:t>
                </a:r>
                <a:endParaRPr kumimoji="0" lang="en-US" sz="1100" b="1" u="none" strike="noStrike" cap="none" normalizeH="0" baseline="0" dirty="0">
                  <a:ln>
                    <a:noFill/>
                  </a:ln>
                  <a:solidFill>
                    <a:schemeClr val="bg2">
                      <a:lumMod val="50000"/>
                    </a:schemeClr>
                  </a:solidFill>
                  <a:effectLst/>
                  <a:latin typeface="Calibri" panose="020F0502020204030204" pitchFamily="34" charset="0"/>
                  <a:cs typeface="Arial" charset="0"/>
                </a:endParaRPr>
              </a:p>
              <a:p>
                <a:pPr marL="0" marR="0" indent="0" algn="ctr" defTabSz="914400" rtl="0" eaLnBrk="0" fontAlgn="base" latinLnBrk="0" hangingPunct="0">
                  <a:lnSpc>
                    <a:spcPct val="85000"/>
                  </a:lnSpc>
                  <a:spcBef>
                    <a:spcPct val="0"/>
                  </a:spcBef>
                  <a:spcAft>
                    <a:spcPct val="0"/>
                  </a:spcAft>
                  <a:buClrTx/>
                  <a:buSzTx/>
                  <a:buFontTx/>
                  <a:buNone/>
                  <a:tabLst/>
                </a:pPr>
                <a:r>
                  <a:rPr lang="en-US" sz="1400" b="1" dirty="0">
                    <a:solidFill>
                      <a:schemeClr val="bg2">
                        <a:lumMod val="50000"/>
                      </a:schemeClr>
                    </a:solidFill>
                    <a:latin typeface="Calibri" panose="020F0502020204030204" pitchFamily="34" charset="0"/>
                    <a:cs typeface="Arial" charset="0"/>
                  </a:rPr>
                  <a:t>6.1 </a:t>
                </a:r>
                <a:r>
                  <a:rPr lang="en-US" sz="1400" b="1" dirty="0" err="1">
                    <a:solidFill>
                      <a:schemeClr val="bg2">
                        <a:lumMod val="50000"/>
                      </a:schemeClr>
                    </a:solidFill>
                    <a:latin typeface="Calibri" panose="020F0502020204030204" pitchFamily="34" charset="0"/>
                    <a:cs typeface="Arial" charset="0"/>
                  </a:rPr>
                  <a:t>Hrs</a:t>
                </a:r>
                <a:endParaRPr kumimoji="0" lang="en-US" sz="1400" b="1" u="none" strike="noStrike" cap="none" normalizeH="0" baseline="0" dirty="0">
                  <a:ln>
                    <a:noFill/>
                  </a:ln>
                  <a:solidFill>
                    <a:schemeClr val="bg2">
                      <a:lumMod val="50000"/>
                    </a:schemeClr>
                  </a:solidFill>
                  <a:effectLst/>
                  <a:latin typeface="Calibri" panose="020F0502020204030204" pitchFamily="34" charset="0"/>
                  <a:cs typeface="Arial" charset="0"/>
                </a:endParaRPr>
              </a:p>
            </p:txBody>
          </p:sp>
          <p:sp>
            <p:nvSpPr>
              <p:cNvPr id="74" name="Wave 73"/>
              <p:cNvSpPr/>
              <p:nvPr/>
            </p:nvSpPr>
            <p:spPr bwMode="auto">
              <a:xfrm>
                <a:off x="3737814" y="3249507"/>
                <a:ext cx="640080" cy="274320"/>
              </a:xfrm>
              <a:prstGeom prst="wave">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900" b="1" u="none" strike="noStrike" cap="none" normalizeH="0" baseline="0" dirty="0">
                    <a:ln>
                      <a:noFill/>
                    </a:ln>
                    <a:solidFill>
                      <a:schemeClr val="bg2">
                        <a:lumMod val="50000"/>
                      </a:schemeClr>
                    </a:solidFill>
                    <a:effectLst/>
                    <a:latin typeface="Calibri" panose="020F0502020204030204" pitchFamily="34" charset="0"/>
                    <a:cs typeface="Arial" charset="0"/>
                  </a:rPr>
                  <a:t>Target 5*</a:t>
                </a:r>
              </a:p>
            </p:txBody>
          </p:sp>
        </p:grpSp>
      </p:grpSp>
      <p:sp>
        <p:nvSpPr>
          <p:cNvPr id="2" name="TextBox 1"/>
          <p:cNvSpPr txBox="1"/>
          <p:nvPr/>
        </p:nvSpPr>
        <p:spPr>
          <a:xfrm>
            <a:off x="3767393" y="4645245"/>
            <a:ext cx="1095053" cy="246221"/>
          </a:xfrm>
          <a:prstGeom prst="rect">
            <a:avLst/>
          </a:prstGeom>
          <a:noFill/>
        </p:spPr>
        <p:txBody>
          <a:bodyPr wrap="square" rtlCol="0">
            <a:spAutoFit/>
          </a:bodyPr>
          <a:lstStyle/>
          <a:p>
            <a:r>
              <a:rPr lang="en-US" sz="1000" b="1" dirty="0">
                <a:solidFill>
                  <a:schemeClr val="tx2">
                    <a:lumMod val="50000"/>
                  </a:schemeClr>
                </a:solidFill>
                <a:latin typeface="Calibri" panose="020F0502020204030204" pitchFamily="34" charset="0"/>
              </a:rPr>
              <a:t>* Per McKinsey</a:t>
            </a:r>
          </a:p>
        </p:txBody>
      </p:sp>
    </p:spTree>
    <p:extLst>
      <p:ext uri="{BB962C8B-B14F-4D97-AF65-F5344CB8AC3E}">
        <p14:creationId xmlns:p14="http://schemas.microsoft.com/office/powerpoint/2010/main" val="6862123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Group 2015 Template (External)">
  <a:themeElements>
    <a:clrScheme name="Capgemini">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47D0FF"/>
      </a:hlink>
      <a:folHlink>
        <a:srgbClr val="BA006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tx2">
              <a:lumMod val="50000"/>
            </a:schemeClr>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sz="1600" b="1" i="0" u="none" strike="noStrike" cap="none" normalizeH="0" baseline="0" dirty="0" smtClean="0">
            <a:ln>
              <a:noFill/>
            </a:ln>
            <a:solidFill>
              <a:schemeClr val="bg2">
                <a:lumMod val="50000"/>
              </a:schemeClr>
            </a:solidFill>
            <a:effectLst/>
            <a:latin typeface="+mn-lt"/>
            <a:cs typeface="Arial" charset="0"/>
          </a:defRPr>
        </a:defPPr>
      </a:lstStyle>
    </a:spDef>
    <a:lnDef>
      <a:spPr bwMode="auto">
        <a:solidFill>
          <a:schemeClr val="tx2"/>
        </a:solidFill>
        <a:ln w="9525" cap="flat" cmpd="sng" algn="ctr">
          <a:solidFill>
            <a:schemeClr val="bg1">
              <a:lumMod val="50000"/>
            </a:schemeClr>
          </a:solidFill>
          <a:prstDash val="dash"/>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Group Template_Closing Slides">
  <a:themeElements>
    <a:clrScheme name="Capgemini">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47D0FF"/>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ITAS 2016 KO-GSD-Linskey Town Hall">
  <a:themeElements>
    <a:clrScheme name="JJ colors">
      <a:dk1>
        <a:srgbClr val="000000"/>
      </a:dk1>
      <a:lt1>
        <a:srgbClr val="FFFFFF"/>
      </a:lt1>
      <a:dk2>
        <a:srgbClr val="000000"/>
      </a:dk2>
      <a:lt2>
        <a:srgbClr val="FFFFFF"/>
      </a:lt2>
      <a:accent1>
        <a:srgbClr val="E5E5E5"/>
      </a:accent1>
      <a:accent2>
        <a:srgbClr val="12C2E9"/>
      </a:accent2>
      <a:accent3>
        <a:srgbClr val="595959"/>
      </a:accent3>
      <a:accent4>
        <a:srgbClr val="0A8CAA"/>
      </a:accent4>
      <a:accent5>
        <a:srgbClr val="F30617"/>
      </a:accent5>
      <a:accent6>
        <a:srgbClr val="808080"/>
      </a:accent6>
      <a:hlink>
        <a:srgbClr val="0DB9E1"/>
      </a:hlink>
      <a:folHlink>
        <a:srgbClr val="82828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roup 2015 Template (External)</Template>
  <TotalTime>21788</TotalTime>
  <Words>1407</Words>
  <Application>Microsoft Office PowerPoint</Application>
  <PresentationFormat>Custom</PresentationFormat>
  <Paragraphs>225</Paragraphs>
  <Slides>8</Slides>
  <Notes>5</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2</vt:i4>
      </vt:variant>
      <vt:variant>
        <vt:lpstr>Slide Titles</vt:lpstr>
      </vt:variant>
      <vt:variant>
        <vt:i4>8</vt:i4>
      </vt:variant>
    </vt:vector>
  </HeadingPairs>
  <TitlesOfParts>
    <vt:vector size="25" baseType="lpstr">
      <vt:lpstr>MS PGothic</vt:lpstr>
      <vt:lpstr>MS PGothic</vt:lpstr>
      <vt:lpstr>Arial</vt:lpstr>
      <vt:lpstr>Arial Narrow</vt:lpstr>
      <vt:lpstr>Calibri</vt:lpstr>
      <vt:lpstr>Courier New</vt:lpstr>
      <vt:lpstr>DengXian</vt:lpstr>
      <vt:lpstr>Georgia</vt:lpstr>
      <vt:lpstr>Helvetica Light</vt:lpstr>
      <vt:lpstr>HP Simplified</vt:lpstr>
      <vt:lpstr>Symbol</vt:lpstr>
      <vt:lpstr>Wingdings</vt:lpstr>
      <vt:lpstr>Group 2015 Template (External)</vt:lpstr>
      <vt:lpstr>Group Template_Closing Slides</vt:lpstr>
      <vt:lpstr>ITAS 2016 KO-GSD-Linskey Town Hall</vt:lpstr>
      <vt:lpstr>think-cell Slide</vt:lpstr>
      <vt:lpstr>think-cell Folie</vt:lpstr>
      <vt:lpstr>Johnson and Johnson Data &amp; Analytics Capability Overview </vt:lpstr>
      <vt:lpstr>BI-AM Engagement Overview</vt:lpstr>
      <vt:lpstr>Meaningful Innovations focused on Continuous Service Improvement</vt:lpstr>
      <vt:lpstr>         Reporting BOT</vt:lpstr>
      <vt:lpstr>        HealthCheck BOT</vt:lpstr>
      <vt:lpstr>PowerPoint Presentation</vt:lpstr>
      <vt:lpstr>PowerPoint Presentation</vt:lpstr>
      <vt:lpstr>Meaningful Innovations focused on Continuous Service Improvement</vt:lpstr>
    </vt:vector>
  </TitlesOfParts>
  <Company>Capgemini India Pvt. 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Max. two lines</dc:title>
  <dc:creator>Banerjee, Tanmoy</dc:creator>
  <cp:lastModifiedBy>Gomathi, Sathyamurthy</cp:lastModifiedBy>
  <cp:revision>1155</cp:revision>
  <dcterms:created xsi:type="dcterms:W3CDTF">2015-05-21T10:53:02Z</dcterms:created>
  <dcterms:modified xsi:type="dcterms:W3CDTF">2018-03-05T05:06:31Z</dcterms:modified>
</cp:coreProperties>
</file>